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lsx" ContentType="application/vnd.openxmlformats-officedocument.spreadsheetml.sheet"/>
  <Default Extension="xml" ContentType="application/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notesSlides/notesSlide6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notesSlides/notesSlide7.xml" ContentType="application/vnd.openxmlformats-officedocument.presentationml.notes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notesSlides/notesSlide10.xml" ContentType="application/vnd.openxmlformats-officedocument.presentationml.notesSlid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4.xml" ContentType="application/vnd.openxmlformats-officedocument.presentationml.notesSlide+xml"/>
  <Override PartName="/ppt/slideLayouts/slideLayout25.xml" ContentType="application/vnd.openxmlformats-officedocument.presentationml.slideLayout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Masters/notesMaster1.xml" ContentType="application/vnd.openxmlformats-officedocument.presentationml.notesMaster+xml"/>
  <Override PartName="/ppt/charts/chart14.xml" ContentType="application/vnd.openxmlformats-officedocument.drawingml.chart+xml"/>
  <Override PartName="/ppt/theme/theme1.xml" ContentType="application/vnd.openxmlformats-officedocument.theme+xml"/>
  <Override PartName="/ppt/charts/chart9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9.xml" ContentType="application/vnd.openxmlformats-officedocument.themeOverride+xml"/>
  <Override PartName="/ppt/charts/style2.xml" ContentType="application/vnd.ms-office.chartstyle+xml"/>
  <Override PartName="/ppt/charts/colors2.xml" ContentType="application/vnd.ms-office.chartcolorstyle+xml"/>
  <Override PartName="/ppt/theme/themeOverride12.xml" ContentType="application/vnd.openxmlformats-officedocument.themeOverrid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30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heme/theme5.xml" ContentType="application/vnd.openxmlformats-officedocument.theme+xml"/>
  <Override PartName="/ppt/theme/theme6.xml" ContentType="application/vnd.openxmlformats-officedocument.them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41.xml" ContentType="application/vnd.openxmlformats-officedocument.drawingml.chart+xml"/>
  <Override PartName="/ppt/charts/style12.xml" ContentType="application/vnd.ms-office.chartstyle+xml"/>
  <Override PartName="/ppt/charts/chart10.xml" ContentType="application/vnd.openxmlformats-officedocument.drawingml.chart+xml"/>
  <Override PartName="/ppt/charts/colors12.xml" ContentType="application/vnd.ms-office.chartcolorstyl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theme/themeOverride31.xml" ContentType="application/vnd.openxmlformats-officedocument.themeOverride+xml"/>
  <Override PartName="/ppt/charts/chart11.xml" ContentType="application/vnd.openxmlformats-officedocument.drawingml.chart+xml"/>
  <Override PartName="/ppt/charts/chart1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13.xml" ContentType="application/vnd.openxmlformats-officedocument.themeOverride+xml"/>
  <Override PartName="/ppt/theme/theme7.xml" ContentType="application/vnd.openxmlformats-officedocument.theme+xml"/>
  <Override PartName="/ppt/charts/chart16.xml" ContentType="application/vnd.openxmlformats-officedocument.drawingml.chart+xml"/>
  <Override PartName="/ppt/charts/chart12.xml" ContentType="application/vnd.openxmlformats-officedocument.drawingml.chart+xml"/>
  <Override PartName="/ppt/theme/themeOverride10.xml" ContentType="application/vnd.openxmlformats-officedocument.themeOverride+xml"/>
  <Override PartName="/ppt/charts/chart13.xml" ContentType="application/vnd.openxmlformats-officedocument.drawingml.chart+xml"/>
  <Override PartName="/ppt/theme/themeOverride11.xml" ContentType="application/vnd.openxmlformats-officedocument.themeOverride+xml"/>
  <Override PartName="/ppt/charts/chart40.xml" ContentType="application/vnd.openxmlformats-officedocument.drawingml.chart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charts/style11.xml" ContentType="application/vnd.ms-office.chartstyle+xml"/>
  <Override PartName="/ppt/charts/colors11.xml" ContentType="application/vnd.ms-office.chartcolorstyle+xml"/>
  <Override PartName="/ppt/charts/chart42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32.xml" ContentType="application/vnd.openxmlformats-officedocument.themeOverride+xml"/>
  <Override PartName="/ppt/charts/chart43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heme/themeOverride33.xml" ContentType="application/vnd.openxmlformats-officedocument.themeOverride+xml"/>
  <Override PartName="/ppt/charts/chart44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heme/themeOverride34.xml" ContentType="application/vnd.openxmlformats-officedocument.themeOverride+xml"/>
  <Override PartName="/ppt/charts/chart45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heme/themeOverride35.xml" ContentType="application/vnd.openxmlformats-officedocument.themeOverride+xml"/>
  <Override PartName="/ppt/theme/themeOverride18.xml" ContentType="application/vnd.openxmlformats-officedocument.themeOverride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theme/themeOverride19.xml" ContentType="application/vnd.openxmlformats-officedocument.themeOverride+xml"/>
  <Override PartName="/ppt/charts/chart25.xml" ContentType="application/vnd.openxmlformats-officedocument.drawingml.chart+xml"/>
  <Override PartName="/ppt/charts/chart24.xml" ContentType="application/vnd.openxmlformats-officedocument.drawingml.chart+xml"/>
  <Override PartName="/ppt/charts/chart23.xml" ContentType="application/vnd.openxmlformats-officedocument.drawingml.chart+xml"/>
  <Override PartName="/ppt/charts/chart22.xml" ContentType="application/vnd.openxmlformats-officedocument.drawingml.chart+xml"/>
  <Override PartName="/ppt/charts/chart21.xml" ContentType="application/vnd.openxmlformats-officedocument.drawingml.chart+xml"/>
  <Override PartName="/ppt/charts/colors8.xml" ContentType="application/vnd.ms-office.chartcolorstyle+xml"/>
  <Override PartName="/ppt/charts/style8.xml" ContentType="application/vnd.ms-office.chartstyle+xml"/>
  <Override PartName="/ppt/charts/chart20.xml" ContentType="application/vnd.openxmlformats-officedocument.drawingml.chart+xml"/>
  <Override PartName="/ppt/theme/themeOverride17.xml" ContentType="application/vnd.openxmlformats-officedocument.themeOverride+xml"/>
  <Override PartName="/ppt/charts/colors7.xml" ContentType="application/vnd.ms-office.chartcolorstyle+xml"/>
  <Override PartName="/ppt/charts/style7.xml" ContentType="application/vnd.ms-office.chartstyle+xml"/>
  <Override PartName="/ppt/charts/chart19.xml" ContentType="application/vnd.openxmlformats-officedocument.drawingml.chart+xml"/>
  <Override PartName="/ppt/theme/themeOverride16.xml" ContentType="application/vnd.openxmlformats-officedocument.themeOverride+xml"/>
  <Override PartName="/ppt/charts/colors6.xml" ContentType="application/vnd.ms-office.chartcolorstyle+xml"/>
  <Override PartName="/ppt/charts/style6.xml" ContentType="application/vnd.ms-office.chartstyle+xml"/>
  <Override PartName="/ppt/charts/chart18.xml" ContentType="application/vnd.openxmlformats-officedocument.drawingml.chart+xml"/>
  <Override PartName="/ppt/theme/themeOverride15.xml" ContentType="application/vnd.openxmlformats-officedocument.themeOverride+xml"/>
  <Override PartName="/ppt/charts/colors5.xml" ContentType="application/vnd.ms-office.chartcolorstyle+xml"/>
  <Override PartName="/ppt/charts/style5.xml" ContentType="application/vnd.ms-office.chartstyle+xml"/>
  <Override PartName="/ppt/charts/chart17.xml" ContentType="application/vnd.openxmlformats-officedocument.drawingml.chart+xml"/>
  <Override PartName="/ppt/theme/themeOverride14.xml" ContentType="application/vnd.openxmlformats-officedocument.themeOverride+xml"/>
  <Override PartName="/ppt/charts/colors4.xml" ContentType="application/vnd.ms-office.chartcolorstyle+xml"/>
  <Override PartName="/ppt/charts/style4.xml" ContentType="application/vnd.ms-office.chartstyle+xml"/>
  <Override PartName="/ppt/charts/chart28.xml" ContentType="application/vnd.openxmlformats-officedocument.drawingml.chart+xml"/>
  <Override PartName="/ppt/theme/themeOverride20.xml" ContentType="application/vnd.openxmlformats-officedocument.themeOverride+xml"/>
  <Override PartName="/ppt/charts/chart29.xml" ContentType="application/vnd.openxmlformats-officedocument.drawingml.chart+xml"/>
  <Override PartName="/ppt/theme/themeOverride21.xml" ContentType="application/vnd.openxmlformats-officedocument.themeOverride+xml"/>
  <Override PartName="/ppt/charts/chart30.xml" ContentType="application/vnd.openxmlformats-officedocument.drawingml.chart+xml"/>
  <Override PartName="/ppt/theme/themeOverride22.xml" ContentType="application/vnd.openxmlformats-officedocument.themeOverride+xml"/>
  <Override PartName="/ppt/charts/chart31.xml" ContentType="application/vnd.openxmlformats-officedocument.drawingml.chart+xml"/>
  <Override PartName="/ppt/theme/themeOverride23.xml" ContentType="application/vnd.openxmlformats-officedocument.themeOverride+xml"/>
  <Override PartName="/ppt/charts/chart32.xml" ContentType="application/vnd.openxmlformats-officedocument.drawingml.chart+xml"/>
  <Override PartName="/ppt/theme/themeOverride24.xml" ContentType="application/vnd.openxmlformats-officedocument.themeOverride+xml"/>
  <Override PartName="/ppt/charts/chart33.xml" ContentType="application/vnd.openxmlformats-officedocument.drawingml.chart+xml"/>
  <Override PartName="/ppt/theme/themeOverride25.xml" ContentType="application/vnd.openxmlformats-officedocument.themeOverride+xml"/>
  <Override PartName="/ppt/charts/chart37.xml" ContentType="application/vnd.openxmlformats-officedocument.drawingml.chart+xml"/>
  <Override PartName="/ppt/charts/chart34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26.xml" ContentType="application/vnd.openxmlformats-officedocument.themeOverride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theme/themeOverride27.xml" ContentType="application/vnd.openxmlformats-officedocument.themeOverride+xml"/>
  <Override PartName="/ppt/charts/chart38.xml" ContentType="application/vnd.openxmlformats-officedocument.drawingml.chart+xml"/>
  <Override PartName="/ppt/theme/themeOverride28.xml" ContentType="application/vnd.openxmlformats-officedocument.themeOverride+xml"/>
  <Override PartName="/ppt/charts/chart39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29.xml" ContentType="application/vnd.openxmlformats-officedocument.themeOverr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175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.xml" ContentType="application/vnd.openxmlformats-officedocument.presentationml.tag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177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74.xml" ContentType="application/vnd.openxmlformats-officedocument.presentationml.tags+xml"/>
  <Override PartName="/ppt/tags/tag178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179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180.xml" ContentType="application/vnd.openxmlformats-officedocument.presentationml.tags+xml"/>
  <Override PartName="/ppt/tags/tag28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82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181.xml" ContentType="application/vnd.openxmlformats-officedocument.presentationml.tags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6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162.xml" ContentType="application/vnd.openxmlformats-officedocument.presentationml.tags+xml"/>
  <Override PartName="/ppt/tags/tag161.xml" ContentType="application/vnd.openxmlformats-officedocument.presentationml.tags+xml"/>
  <Override PartName="/ppt/tags/tag160.xml" ContentType="application/vnd.openxmlformats-officedocument.presentationml.tags+xml"/>
  <Override PartName="/ppt/tags/tag159.xml" ContentType="application/vnd.openxmlformats-officedocument.presentationml.tags+xml"/>
  <Override PartName="/ppt/tags/tag158.xml" ContentType="application/vnd.openxmlformats-officedocument.presentationml.tags+xml"/>
  <Override PartName="/ppt/tags/tag157.xml" ContentType="application/vnd.openxmlformats-officedocument.presentationml.tags+xml"/>
  <Override PartName="/ppt/tags/tag156.xml" ContentType="application/vnd.openxmlformats-officedocument.presentationml.tags+xml"/>
  <Override PartName="/ppt/tags/tag155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154.xml" ContentType="application/vnd.openxmlformats-officedocument.presentationml.tags+xml"/>
  <Override PartName="/ppt/tags/tag176.xml" ContentType="application/vnd.openxmlformats-officedocument.presentationml.tags+xml"/>
  <Override PartName="/ppt/tags/tag36.xml" ContentType="application/vnd.openxmlformats-officedocument.presentationml.tags+xml"/>
  <Override PartName="/ppt/tags/tag153.xml" ContentType="application/vnd.openxmlformats-officedocument.presentationml.tags+xml"/>
  <Override PartName="/ppt/tags/tag152.xml" ContentType="application/vnd.openxmlformats-officedocument.presentationml.tags+xml"/>
  <Override PartName="/ppt/tags/tag151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150.xml" ContentType="application/vnd.openxmlformats-officedocument.presentationml.tags+xml"/>
  <Override PartName="/ppt/tags/tag149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148.xml" ContentType="application/vnd.openxmlformats-officedocument.presentationml.tags+xml"/>
  <Override PartName="/ppt/tags/tag147.xml" ContentType="application/vnd.openxmlformats-officedocument.presentationml.tags+xml"/>
  <Override PartName="/ppt/tags/tag146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64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79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165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215.xml" ContentType="application/vnd.openxmlformats-officedocument.presentationml.tags+xml"/>
  <Override PartName="/ppt/tags/tag89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166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167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168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232.xml" ContentType="application/vnd.openxmlformats-officedocument.presentationml.tags+xml"/>
  <Override PartName="/ppt/tags/tag99.xml" ContentType="application/vnd.openxmlformats-officedocument.presentationml.tags+xml"/>
  <Override PartName="/ppt/tags/tag233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234.xml" ContentType="application/vnd.openxmlformats-officedocument.presentationml.tags+xml"/>
  <Override PartName="/ppt/tags/tag103.xml" ContentType="application/vnd.openxmlformats-officedocument.presentationml.tags+xml"/>
  <Override PartName="/ppt/tags/tag235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236.xml" ContentType="application/vnd.openxmlformats-officedocument.presentationml.tags+xml"/>
  <Override PartName="/ppt/tags/tag107.xml" ContentType="application/vnd.openxmlformats-officedocument.presentationml.tags+xml"/>
  <Override PartName="/ppt/tags/tag237.xml" ContentType="application/vnd.openxmlformats-officedocument.presentationml.tags+xml"/>
  <Override PartName="/ppt/tags/tag108.xml" ContentType="application/vnd.openxmlformats-officedocument.presentationml.tags+xml"/>
  <Override PartName="/ppt/tags/tag238.xml" ContentType="application/vnd.openxmlformats-officedocument.presentationml.tags+xml"/>
  <Override PartName="/ppt/tags/tag130.xml" ContentType="application/vnd.openxmlformats-officedocument.presentationml.tags+xml"/>
  <Override PartName="/ppt/tags/tag239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69.xml" ContentType="application/vnd.openxmlformats-officedocument.presentationml.tags+xml"/>
  <Override PartName="/ppt/tags/tag111.xml" ContentType="application/vnd.openxmlformats-officedocument.presentationml.tags+xml"/>
  <Override PartName="/ppt/tags/tag122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127.xml" ContentType="application/vnd.openxmlformats-officedocument.presentationml.tags+xml"/>
  <Override PartName="/ppt/tags/tag244.xml" ContentType="application/vnd.openxmlformats-officedocument.presentationml.tags+xml"/>
  <Override PartName="/ppt/tags/tag128.xml" ContentType="application/vnd.openxmlformats-officedocument.presentationml.tags+xml"/>
  <Override PartName="/ppt/tags/tag170.xml" ContentType="application/vnd.openxmlformats-officedocument.presentationml.tags+xml"/>
  <Override PartName="/ppt/tags/tag129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245.xml" ContentType="application/vnd.openxmlformats-officedocument.presentationml.tags+xml"/>
  <Override PartName="/ppt/tags/tag144.xml" ContentType="application/vnd.openxmlformats-officedocument.presentationml.tags+xml"/>
  <Override PartName="/ppt/tags/tag246.xml" ContentType="application/vnd.openxmlformats-officedocument.presentationml.tags+xml"/>
  <Override PartName="/ppt/tags/tag145.xml" ContentType="application/vnd.openxmlformats-officedocument.presentationml.tags+xml"/>
  <Override PartName="/ppt/tags/tag171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47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173.xml" ContentType="application/vnd.openxmlformats-officedocument.presentationml.tags+xml"/>
  <Override PartName="/ppt/tags/tag250.xml" ContentType="application/vnd.openxmlformats-officedocument.presentationml.tags+xml"/>
  <Override PartName="/ppt/tags/tag258.xml" ContentType="application/vnd.openxmlformats-officedocument.presentationml.tags+xml"/>
  <Override PartName="/ppt/tags/tag251.xml" ContentType="application/vnd.openxmlformats-officedocument.presentationml.tags+xml"/>
  <Override PartName="/ppt/tags/tag259.xml" ContentType="application/vnd.openxmlformats-officedocument.presentationml.tags+xml"/>
  <Override PartName="/ppt/tags/tag252.xml" ContentType="application/vnd.openxmlformats-officedocument.presentationml.tags+xml"/>
  <Override PartName="/ppt/tags/tag260.xml" ContentType="application/vnd.openxmlformats-officedocument.presentationml.tags+xml"/>
  <Override PartName="/ppt/tags/tag172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174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03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4" r:id="rId2"/>
    <p:sldMasterId id="2147483686" r:id="rId3"/>
    <p:sldMasterId id="2147483710" r:id="rId4"/>
    <p:sldMasterId id="2147483715" r:id="rId5"/>
    <p:sldMasterId id="2147483737" r:id="rId6"/>
  </p:sldMasterIdLst>
  <p:notesMasterIdLst>
    <p:notesMasterId r:id="rId61"/>
  </p:notesMasterIdLst>
  <p:sldIdLst>
    <p:sldId id="266" r:id="rId7"/>
    <p:sldId id="5117" r:id="rId8"/>
    <p:sldId id="2145707024" r:id="rId9"/>
    <p:sldId id="5060" r:id="rId10"/>
    <p:sldId id="345" r:id="rId11"/>
    <p:sldId id="5061" r:id="rId12"/>
    <p:sldId id="348" r:id="rId13"/>
    <p:sldId id="5936" r:id="rId14"/>
    <p:sldId id="5157" r:id="rId15"/>
    <p:sldId id="5938" r:id="rId16"/>
    <p:sldId id="2147479077" r:id="rId17"/>
    <p:sldId id="2147479078" r:id="rId18"/>
    <p:sldId id="5941" r:id="rId19"/>
    <p:sldId id="2145707028" r:id="rId20"/>
    <p:sldId id="2147479074" r:id="rId21"/>
    <p:sldId id="2145707029" r:id="rId22"/>
    <p:sldId id="2145707030" r:id="rId23"/>
    <p:sldId id="2145707031" r:id="rId24"/>
    <p:sldId id="2145707032" r:id="rId25"/>
    <p:sldId id="2145707033" r:id="rId26"/>
    <p:sldId id="2145707034" r:id="rId27"/>
    <p:sldId id="2147479075" r:id="rId28"/>
    <p:sldId id="2145707035" r:id="rId29"/>
    <p:sldId id="2145707036" r:id="rId30"/>
    <p:sldId id="2147479076" r:id="rId31"/>
    <p:sldId id="2145707025" r:id="rId32"/>
    <p:sldId id="5279" r:id="rId33"/>
    <p:sldId id="5280" r:id="rId34"/>
    <p:sldId id="5281" r:id="rId35"/>
    <p:sldId id="5282" r:id="rId36"/>
    <p:sldId id="5931" r:id="rId37"/>
    <p:sldId id="2147479079" r:id="rId38"/>
    <p:sldId id="5933" r:id="rId39"/>
    <p:sldId id="5270" r:id="rId40"/>
    <p:sldId id="5935" r:id="rId41"/>
    <p:sldId id="5469" r:id="rId42"/>
    <p:sldId id="5287" r:id="rId43"/>
    <p:sldId id="5496" r:id="rId44"/>
    <p:sldId id="5134" r:id="rId45"/>
    <p:sldId id="5506" r:id="rId46"/>
    <p:sldId id="5019" r:id="rId47"/>
    <p:sldId id="2147479069" r:id="rId48"/>
    <p:sldId id="5178" r:id="rId49"/>
    <p:sldId id="2147479073" r:id="rId50"/>
    <p:sldId id="294" r:id="rId51"/>
    <p:sldId id="5486" r:id="rId52"/>
    <p:sldId id="5278" r:id="rId53"/>
    <p:sldId id="5929" r:id="rId54"/>
    <p:sldId id="5930" r:id="rId55"/>
    <p:sldId id="5924" r:id="rId56"/>
    <p:sldId id="5925" r:id="rId57"/>
    <p:sldId id="5470" r:id="rId58"/>
    <p:sldId id="5352" r:id="rId59"/>
    <p:sldId id="2145707027" r:id="rId60"/>
  </p:sldIdLst>
  <p:sldSz cx="12192000" cy="6858000"/>
  <p:notesSz cx="6669088" cy="9872663"/>
  <p:custDataLst>
    <p:tags r:id="rId62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E8EC"/>
    <a:srgbClr val="2C2F7A"/>
    <a:srgbClr val="E7E6E6"/>
    <a:srgbClr val="D71440"/>
    <a:srgbClr val="F9C3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5172" autoAdjust="0"/>
  </p:normalViewPr>
  <p:slideViewPr>
    <p:cSldViewPr snapToGrid="0">
      <p:cViewPr varScale="1">
        <p:scale>
          <a:sx n="109" d="100"/>
          <a:sy n="109" d="100"/>
        </p:scale>
        <p:origin x="522" y="1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presProps" Target="presProps.xml"/><Relationship Id="rId68" Type="http://schemas.openxmlformats.org/officeDocument/2006/relationships/customXml" Target="../customXml/item2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61" Type="http://schemas.openxmlformats.org/officeDocument/2006/relationships/notesMaster" Target="notesMasters/notesMaster1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viewProps" Target="viewProps.xml"/><Relationship Id="rId69" Type="http://schemas.openxmlformats.org/officeDocument/2006/relationships/customXml" Target="../customXml/item3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customXml" Target="../customXml/item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0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11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6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7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5.xlsx"/><Relationship Id="rId1" Type="http://schemas.openxmlformats.org/officeDocument/2006/relationships/themeOverride" Target="../theme/themeOverride18.xml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6.xlsx"/><Relationship Id="rId1" Type="http://schemas.openxmlformats.org/officeDocument/2006/relationships/themeOverride" Target="../theme/themeOverride19.xml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7.xlsx"/><Relationship Id="rId1" Type="http://schemas.openxmlformats.org/officeDocument/2006/relationships/themeOverride" Target="../theme/themeOverride20.xml"/></Relationships>
</file>

<file path=ppt/charts/_rels/chart2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8.xlsx"/><Relationship Id="rId1" Type="http://schemas.openxmlformats.org/officeDocument/2006/relationships/themeOverride" Target="../theme/themeOverride21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9.xlsx"/><Relationship Id="rId1" Type="http://schemas.openxmlformats.org/officeDocument/2006/relationships/themeOverride" Target="../theme/themeOverride22.xml"/></Relationships>
</file>

<file path=ppt/charts/_rels/chart3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0.xlsx"/><Relationship Id="rId1" Type="http://schemas.openxmlformats.org/officeDocument/2006/relationships/themeOverride" Target="../theme/themeOverride23.xml"/></Relationships>
</file>

<file path=ppt/charts/_rels/chart3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1.xlsx"/><Relationship Id="rId1" Type="http://schemas.openxmlformats.org/officeDocument/2006/relationships/themeOverride" Target="../theme/themeOverride24.xml"/></Relationships>
</file>

<file path=ppt/charts/_rels/chart3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2.xlsx"/><Relationship Id="rId1" Type="http://schemas.openxmlformats.org/officeDocument/2006/relationships/themeOverride" Target="../theme/themeOverride25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6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Microsoft_Excel_Worksheet33.xlsx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.xlsx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5.xlsx"/></Relationships>
</file>

<file path=ppt/charts/_rels/chart3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6.xlsx"/><Relationship Id="rId1" Type="http://schemas.openxmlformats.org/officeDocument/2006/relationships/themeOverride" Target="../theme/themeOverride27.xml"/></Relationships>
</file>

<file path=ppt/charts/_rels/chart3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7.xlsx"/><Relationship Id="rId1" Type="http://schemas.openxmlformats.org/officeDocument/2006/relationships/themeOverride" Target="../theme/themeOverride28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9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Microsoft_Excel_Worksheet38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0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package" Target="../embeddings/Microsoft_Excel_Worksheet39.xlsx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1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package" Target="../embeddings/Microsoft_Excel_Worksheet40.xlsx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2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package" Target="../embeddings/Microsoft_Excel_Worksheet41.xlsx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3.xml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package" Target="../embeddings/Microsoft_Excel_Worksheet42.xlsx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4.xml"/><Relationship Id="rId2" Type="http://schemas.microsoft.com/office/2011/relationships/chartColorStyle" Target="colors15.xml"/><Relationship Id="rId1" Type="http://schemas.microsoft.com/office/2011/relationships/chartStyle" Target="style15.xml"/><Relationship Id="rId4" Type="http://schemas.openxmlformats.org/officeDocument/2006/relationships/package" Target="../embeddings/Microsoft_Excel_Worksheet43.xlsx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5.xml"/><Relationship Id="rId2" Type="http://schemas.microsoft.com/office/2011/relationships/chartColorStyle" Target="colors16.xml"/><Relationship Id="rId1" Type="http://schemas.microsoft.com/office/2011/relationships/chartStyle" Target="style16.xml"/><Relationship Id="rId4" Type="http://schemas.openxmlformats.org/officeDocument/2006/relationships/package" Target="../embeddings/Microsoft_Excel_Worksheet44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8614564831261103E-2"/>
          <c:y val="5.4888507718696397E-2"/>
          <c:w val="0.88987566607460034"/>
          <c:h val="0.93825042881646659"/>
        </c:manualLayout>
      </c:layout>
      <c:barChart>
        <c:barDir val="bar"/>
        <c:grouping val="clustered"/>
        <c:varyColors val="0"/>
        <c:ser>
          <c:idx val="5"/>
          <c:order val="0"/>
          <c:tx>
            <c:strRef>
              <c:f>Sheet1!$B$1</c:f>
              <c:strCache>
                <c:ptCount val="1"/>
                <c:pt idx="0">
                  <c:v>31</c:v>
                </c:pt>
              </c:strCache>
            </c:strRef>
          </c:tx>
          <c:spPr>
            <a:solidFill>
              <a:srgbClr val="C00000"/>
            </a:solidFill>
            <a:ln w="24393">
              <a:noFill/>
            </a:ln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 b="0">
                    <a:latin typeface="+mn-lt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28</c:f>
              <c:strCache>
                <c:ptCount val="27"/>
                <c:pt idx="0">
                  <c:v>nemelanomový kožní ZN (C44)</c:v>
                </c:pt>
                <c:pt idx="1">
                  <c:v>ZN prostaty (C61)</c:v>
                </c:pt>
                <c:pt idx="2">
                  <c:v>ZN tlustého střeva a konečníku (C18–C20)</c:v>
                </c:pt>
                <c:pt idx="3">
                  <c:v>ZN prsu (C50) u žen</c:v>
                </c:pt>
                <c:pt idx="4">
                  <c:v>ZN průdušnice, průdušky a plíce (C33, C34)</c:v>
                </c:pt>
                <c:pt idx="5">
                  <c:v>ZN ledviny (C64)</c:v>
                </c:pt>
                <c:pt idx="6">
                  <c:v>zhoubný melanom kůže (C43)</c:v>
                </c:pt>
                <c:pt idx="7">
                  <c:v>ZN slinivky břišní (C25)</c:v>
                </c:pt>
                <c:pt idx="8">
                  <c:v>ZN močového měchýře (C67)</c:v>
                </c:pt>
                <c:pt idx="9">
                  <c:v>ZN dělohy (C54, C55)</c:v>
                </c:pt>
                <c:pt idx="10">
                  <c:v>non-Hodgkinův lymfom (C82–C86)</c:v>
                </c:pt>
                <c:pt idx="11">
                  <c:v>ZN hlavy a krku (C00–C14, C30–C31)</c:v>
                </c:pt>
                <c:pt idx="12">
                  <c:v>ZN žaludku (C16)</c:v>
                </c:pt>
                <c:pt idx="13">
                  <c:v>ZN štítné žlázy (C73)</c:v>
                </c:pt>
                <c:pt idx="14">
                  <c:v>leukémie (C91–C95)</c:v>
                </c:pt>
                <c:pt idx="15">
                  <c:v>ZN jater a intrahepatálních žlučových cest (C22)</c:v>
                </c:pt>
                <c:pt idx="16">
                  <c:v>ZN mozku, míchy a jiných částí CNS (C70–C72)</c:v>
                </c:pt>
                <c:pt idx="17">
                  <c:v>ZN vaječníku (C56)</c:v>
                </c:pt>
                <c:pt idx="18">
                  <c:v>ZN žlučníku a žlučových cest (C23, C24)</c:v>
                </c:pt>
                <c:pt idx="19">
                  <c:v>ZN jícnu (C15)</c:v>
                </c:pt>
                <c:pt idx="20">
                  <c:v>mnohočetný myelom (C90)</c:v>
                </c:pt>
                <c:pt idx="21">
                  <c:v>ZN hrdla děložního (C53)</c:v>
                </c:pt>
                <c:pt idx="22">
                  <c:v>ZN hrtanu (C32)</c:v>
                </c:pt>
                <c:pt idx="23">
                  <c:v>ZN poj. a měk. tkání a perif. nervů (C47, C49)</c:v>
                </c:pt>
                <c:pt idx="24">
                  <c:v>ZN varlete (C62)</c:v>
                </c:pt>
                <c:pt idx="25">
                  <c:v>Hodgkinův lymfom (C81)</c:v>
                </c:pt>
                <c:pt idx="26">
                  <c:v>ostatní zhoubné novotvary</c:v>
                </c:pt>
              </c:strCache>
            </c:strRef>
          </c:cat>
          <c:val>
            <c:numRef>
              <c:f>Sheet1!$B$2:$B$28</c:f>
              <c:numCache>
                <c:formatCode>General</c:formatCode>
                <c:ptCount val="27"/>
                <c:pt idx="0">
                  <c:v>258.59050000000002</c:v>
                </c:pt>
                <c:pt idx="1">
                  <c:v>72.364440000000002</c:v>
                </c:pt>
                <c:pt idx="2">
                  <c:v>71.527680000000004</c:v>
                </c:pt>
                <c:pt idx="3">
                  <c:v>68.676490000000001</c:v>
                </c:pt>
                <c:pt idx="4">
                  <c:v>63.438980000000001</c:v>
                </c:pt>
                <c:pt idx="5">
                  <c:v>34.648159999999997</c:v>
                </c:pt>
                <c:pt idx="6">
                  <c:v>26.807379999999998</c:v>
                </c:pt>
                <c:pt idx="7">
                  <c:v>25.07188</c:v>
                </c:pt>
                <c:pt idx="8">
                  <c:v>18.68769</c:v>
                </c:pt>
                <c:pt idx="9">
                  <c:v>18.346789999999999</c:v>
                </c:pt>
                <c:pt idx="10">
                  <c:v>16.797229999999999</c:v>
                </c:pt>
                <c:pt idx="11">
                  <c:v>16.549299999999999</c:v>
                </c:pt>
                <c:pt idx="12">
                  <c:v>14.59685</c:v>
                </c:pt>
                <c:pt idx="13">
                  <c:v>11.497730000000001</c:v>
                </c:pt>
                <c:pt idx="14">
                  <c:v>11.18782</c:v>
                </c:pt>
                <c:pt idx="15">
                  <c:v>9.9171820000000004</c:v>
                </c:pt>
                <c:pt idx="16">
                  <c:v>9.1114110000000004</c:v>
                </c:pt>
                <c:pt idx="17">
                  <c:v>8.9254639999999998</c:v>
                </c:pt>
                <c:pt idx="18">
                  <c:v>8.1196929999999998</c:v>
                </c:pt>
                <c:pt idx="19">
                  <c:v>7.7168070000000002</c:v>
                </c:pt>
                <c:pt idx="20">
                  <c:v>7.0350010000000003</c:v>
                </c:pt>
                <c:pt idx="21">
                  <c:v>6.3841859999999997</c:v>
                </c:pt>
                <c:pt idx="22">
                  <c:v>4.5557059999999998</c:v>
                </c:pt>
                <c:pt idx="23">
                  <c:v>3.9978639999999999</c:v>
                </c:pt>
                <c:pt idx="24">
                  <c:v>3.8738990000000002</c:v>
                </c:pt>
                <c:pt idx="25">
                  <c:v>3.4090310000000001</c:v>
                </c:pt>
                <c:pt idx="26">
                  <c:v>34.059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E5-4FAB-BF16-DD089BAC2FD6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ČR</c:v>
                </c:pt>
              </c:strCache>
            </c:strRef>
          </c:tx>
          <c:spPr>
            <a:solidFill>
              <a:srgbClr val="CC9900"/>
            </a:solidFill>
            <a:ln w="24393">
              <a:noFill/>
            </a:ln>
          </c:spPr>
          <c:invertIfNegative val="0"/>
          <c:dLbls>
            <c:delete val="1"/>
          </c:dLbls>
          <c:cat>
            <c:strRef>
              <c:f>Sheet1!$A$2:$A$28</c:f>
              <c:strCache>
                <c:ptCount val="27"/>
                <c:pt idx="0">
                  <c:v>nemelanomový kožní ZN (C44)</c:v>
                </c:pt>
                <c:pt idx="1">
                  <c:v>ZN prostaty (C61)</c:v>
                </c:pt>
                <c:pt idx="2">
                  <c:v>ZN tlustého střeva a konečníku (C18–C20)</c:v>
                </c:pt>
                <c:pt idx="3">
                  <c:v>ZN prsu (C50) u žen</c:v>
                </c:pt>
                <c:pt idx="4">
                  <c:v>ZN průdušnice, průdušky a plíce (C33, C34)</c:v>
                </c:pt>
                <c:pt idx="5">
                  <c:v>ZN ledviny (C64)</c:v>
                </c:pt>
                <c:pt idx="6">
                  <c:v>zhoubný melanom kůže (C43)</c:v>
                </c:pt>
                <c:pt idx="7">
                  <c:v>ZN slinivky břišní (C25)</c:v>
                </c:pt>
                <c:pt idx="8">
                  <c:v>ZN močového měchýře (C67)</c:v>
                </c:pt>
                <c:pt idx="9">
                  <c:v>ZN dělohy (C54, C55)</c:v>
                </c:pt>
                <c:pt idx="10">
                  <c:v>non-Hodgkinův lymfom (C82–C86)</c:v>
                </c:pt>
                <c:pt idx="11">
                  <c:v>ZN hlavy a krku (C00–C14, C30–C31)</c:v>
                </c:pt>
                <c:pt idx="12">
                  <c:v>ZN žaludku (C16)</c:v>
                </c:pt>
                <c:pt idx="13">
                  <c:v>ZN štítné žlázy (C73)</c:v>
                </c:pt>
                <c:pt idx="14">
                  <c:v>leukémie (C91–C95)</c:v>
                </c:pt>
                <c:pt idx="15">
                  <c:v>ZN jater a intrahepatálních žlučových cest (C22)</c:v>
                </c:pt>
                <c:pt idx="16">
                  <c:v>ZN mozku, míchy a jiných částí CNS (C70–C72)</c:v>
                </c:pt>
                <c:pt idx="17">
                  <c:v>ZN vaječníku (C56)</c:v>
                </c:pt>
                <c:pt idx="18">
                  <c:v>ZN žlučníku a žlučových cest (C23, C24)</c:v>
                </c:pt>
                <c:pt idx="19">
                  <c:v>ZN jícnu (C15)</c:v>
                </c:pt>
                <c:pt idx="20">
                  <c:v>mnohočetný myelom (C90)</c:v>
                </c:pt>
                <c:pt idx="21">
                  <c:v>ZN hrdla děložního (C53)</c:v>
                </c:pt>
                <c:pt idx="22">
                  <c:v>ZN hrtanu (C32)</c:v>
                </c:pt>
                <c:pt idx="23">
                  <c:v>ZN poj. a měk. tkání a perif. nervů (C47, C49)</c:v>
                </c:pt>
                <c:pt idx="24">
                  <c:v>ZN varlete (C62)</c:v>
                </c:pt>
                <c:pt idx="25">
                  <c:v>Hodgkinův lymfom (C81)</c:v>
                </c:pt>
                <c:pt idx="26">
                  <c:v>ostatní zhoubné novotvary</c:v>
                </c:pt>
              </c:strCache>
            </c:strRef>
          </c:cat>
          <c:val>
            <c:numRef>
              <c:f>Sheet1!$C$2:$C$28</c:f>
              <c:numCache>
                <c:formatCode>General</c:formatCode>
                <c:ptCount val="27"/>
                <c:pt idx="0">
                  <c:v>248.97069999999999</c:v>
                </c:pt>
                <c:pt idx="1">
                  <c:v>76.426100000000005</c:v>
                </c:pt>
                <c:pt idx="2">
                  <c:v>66.623810000000006</c:v>
                </c:pt>
                <c:pt idx="3">
                  <c:v>71.938919999999996</c:v>
                </c:pt>
                <c:pt idx="4">
                  <c:v>61.803959999999996</c:v>
                </c:pt>
                <c:pt idx="5">
                  <c:v>30.133870000000002</c:v>
                </c:pt>
                <c:pt idx="6">
                  <c:v>25.665369999999999</c:v>
                </c:pt>
                <c:pt idx="7">
                  <c:v>24.22072</c:v>
                </c:pt>
                <c:pt idx="8">
                  <c:v>20.33905</c:v>
                </c:pt>
                <c:pt idx="9">
                  <c:v>18.27768</c:v>
                </c:pt>
                <c:pt idx="10">
                  <c:v>18.161809999999999</c:v>
                </c:pt>
                <c:pt idx="11">
                  <c:v>19.213989999999999</c:v>
                </c:pt>
                <c:pt idx="12">
                  <c:v>14.04279</c:v>
                </c:pt>
                <c:pt idx="13">
                  <c:v>10.80775</c:v>
                </c:pt>
                <c:pt idx="14">
                  <c:v>14.55486</c:v>
                </c:pt>
                <c:pt idx="15">
                  <c:v>10.041510000000001</c:v>
                </c:pt>
                <c:pt idx="16">
                  <c:v>8.7164710000000003</c:v>
                </c:pt>
                <c:pt idx="17">
                  <c:v>9.0416559999999997</c:v>
                </c:pt>
                <c:pt idx="18">
                  <c:v>7.8493089999999999</c:v>
                </c:pt>
                <c:pt idx="19">
                  <c:v>7.4381550000000001</c:v>
                </c:pt>
                <c:pt idx="20">
                  <c:v>6.7391920000000001</c:v>
                </c:pt>
                <c:pt idx="21">
                  <c:v>7.2045440000000003</c:v>
                </c:pt>
                <c:pt idx="22">
                  <c:v>4.2311509999999997</c:v>
                </c:pt>
                <c:pt idx="23">
                  <c:v>3.4219249999999999</c:v>
                </c:pt>
                <c:pt idx="24">
                  <c:v>4.7002410000000001</c:v>
                </c:pt>
                <c:pt idx="25">
                  <c:v>2.8612600000000001</c:v>
                </c:pt>
                <c:pt idx="26">
                  <c:v>35.83209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BE5-4FAB-BF16-DD089BAC2FD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"/>
        <c:axId val="201892000"/>
        <c:axId val="1"/>
      </c:barChart>
      <c:catAx>
        <c:axId val="20189200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3049">
            <a:solidFill>
              <a:schemeClr val="tx1"/>
            </a:solidFill>
            <a:prstDash val="solid"/>
          </a:ln>
        </c:spPr>
        <c:crossAx val="1"/>
        <c:crosses val="autoZero"/>
        <c:auto val="1"/>
        <c:lblAlgn val="ctr"/>
        <c:lblOffset val="100"/>
        <c:tickMarkSkip val="1"/>
        <c:noMultiLvlLbl val="0"/>
      </c:catAx>
      <c:valAx>
        <c:axId val="1"/>
        <c:scaling>
          <c:orientation val="minMax"/>
          <c:max val="300"/>
        </c:scaling>
        <c:delete val="0"/>
        <c:axPos val="t"/>
        <c:numFmt formatCode="#,##0" sourceLinked="0"/>
        <c:majorTickMark val="out"/>
        <c:minorTickMark val="none"/>
        <c:tickLblPos val="nextTo"/>
        <c:spPr>
          <a:ln w="304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Arial"/>
              </a:defRPr>
            </a:pPr>
            <a:endParaRPr lang="cs-CZ"/>
          </a:p>
        </c:txPr>
        <c:crossAx val="201892000"/>
        <c:crosses val="autoZero"/>
        <c:crossBetween val="between"/>
        <c:majorUnit val="50"/>
      </c:valAx>
      <c:spPr>
        <a:noFill/>
        <a:ln w="2439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537" b="1" i="0" u="none" strike="noStrike" baseline="0">
          <a:solidFill>
            <a:schemeClr val="tx1"/>
          </a:solidFill>
          <a:latin typeface="Tahoma"/>
          <a:ea typeface="Tahoma"/>
          <a:cs typeface="Tahoma"/>
        </a:defRPr>
      </a:pPr>
      <a:endParaRPr lang="cs-CZ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756914697373464"/>
          <c:y val="9.5982142857142863E-2"/>
          <c:w val="0.78270063975706416"/>
          <c:h val="0.8883928571428571"/>
        </c:manualLayout>
      </c:layout>
      <c:scatterChart>
        <c:scatterStyle val="lineMarker"/>
        <c:varyColors val="0"/>
        <c:ser>
          <c:idx val="8"/>
          <c:order val="0"/>
          <c:tx>
            <c:strRef>
              <c:f>Sheet1!$B$1</c:f>
              <c:strCache>
                <c:ptCount val="1"/>
                <c:pt idx="0">
                  <c:v>Kohorta 2010-2014</c:v>
                </c:pt>
              </c:strCache>
            </c:strRef>
          </c:tx>
          <c:spPr>
            <a:ln w="19050">
              <a:noFill/>
            </a:ln>
          </c:spPr>
          <c:marker>
            <c:symbol val="circle"/>
            <c:size val="8"/>
            <c:spPr>
              <a:solidFill>
                <a:srgbClr val="C00000"/>
              </a:solidFill>
              <a:ln>
                <a:solidFill>
                  <a:srgbClr val="C00000"/>
                </a:solidFill>
                <a:prstDash val="solid"/>
              </a:ln>
            </c:spPr>
          </c:marker>
          <c:xVal>
            <c:numRef>
              <c:f>Sheet1!$A$2:$A$26</c:f>
              <c:numCache>
                <c:formatCode>General</c:formatCode>
                <c:ptCount val="25"/>
                <c:pt idx="0">
                  <c:v>0.90710000000000002</c:v>
                </c:pt>
                <c:pt idx="1">
                  <c:v>0.95709999999999995</c:v>
                </c:pt>
                <c:pt idx="2">
                  <c:v>0.9486</c:v>
                </c:pt>
                <c:pt idx="3">
                  <c:v>0.83940000000000003</c:v>
                </c:pt>
                <c:pt idx="4">
                  <c:v>0.85729999999999995</c:v>
                </c:pt>
                <c:pt idx="5">
                  <c:v>0.80740000000000001</c:v>
                </c:pt>
                <c:pt idx="6">
                  <c:v>0.78700000000000003</c:v>
                </c:pt>
                <c:pt idx="7">
                  <c:v>0.68110000000000004</c:v>
                </c:pt>
                <c:pt idx="8">
                  <c:v>0.62860000000000005</c:v>
                </c:pt>
                <c:pt idx="9">
                  <c:v>0.63739999999999997</c:v>
                </c:pt>
                <c:pt idx="10">
                  <c:v>0.6381</c:v>
                </c:pt>
                <c:pt idx="11">
                  <c:v>0.57369999999999999</c:v>
                </c:pt>
                <c:pt idx="12">
                  <c:v>0.56759999999999999</c:v>
                </c:pt>
                <c:pt idx="13">
                  <c:v>0.49769999999999998</c:v>
                </c:pt>
                <c:pt idx="14">
                  <c:v>0.47720000000000001</c:v>
                </c:pt>
                <c:pt idx="15">
                  <c:v>0.38080000000000003</c:v>
                </c:pt>
                <c:pt idx="16">
                  <c:v>0.37140000000000001</c:v>
                </c:pt>
                <c:pt idx="17">
                  <c:v>0.3997</c:v>
                </c:pt>
                <c:pt idx="18">
                  <c:v>0.21010000000000001</c:v>
                </c:pt>
                <c:pt idx="19">
                  <c:v>0.1676</c:v>
                </c:pt>
                <c:pt idx="20">
                  <c:v>0.1069</c:v>
                </c:pt>
                <c:pt idx="21">
                  <c:v>0.1089</c:v>
                </c:pt>
                <c:pt idx="22">
                  <c:v>9.4899999999999998E-2</c:v>
                </c:pt>
                <c:pt idx="23">
                  <c:v>5.2900000000000003E-2</c:v>
                </c:pt>
                <c:pt idx="24">
                  <c:v>6.1199999999999997E-2</c:v>
                </c:pt>
              </c:numCache>
            </c:numRef>
          </c:xVal>
          <c:yVal>
            <c:numRef>
              <c:f>Sheet1!$B$2:$B$26</c:f>
              <c:numCache>
                <c:formatCode>General</c:formatCode>
                <c:ptCount val="2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455-4B86-BABD-9343ACD16095}"/>
            </c:ext>
          </c:extLst>
        </c:ser>
        <c:ser>
          <c:idx val="7"/>
          <c:order val="1"/>
          <c:tx>
            <c:strRef>
              <c:f>Sheet1!$C$1</c:f>
              <c:strCache>
                <c:ptCount val="1"/>
                <c:pt idx="0">
                  <c:v>Kohorta 2015-2019</c:v>
                </c:pt>
              </c:strCache>
            </c:strRef>
          </c:tx>
          <c:spPr>
            <a:ln w="19050">
              <a:noFill/>
            </a:ln>
          </c:spPr>
          <c:marker>
            <c:symbol val="circle"/>
            <c:size val="8"/>
            <c:spPr>
              <a:solidFill>
                <a:schemeClr val="tx1"/>
              </a:solidFill>
              <a:ln>
                <a:solidFill>
                  <a:schemeClr val="tx1"/>
                </a:solidFill>
                <a:prstDash val="solid"/>
              </a:ln>
            </c:spPr>
          </c:marker>
          <c:xVal>
            <c:numRef>
              <c:f>Sheet1!$A$27:$A$51</c:f>
              <c:numCache>
                <c:formatCode>General</c:formatCode>
                <c:ptCount val="25"/>
                <c:pt idx="0">
                  <c:v>0.95140000000000002</c:v>
                </c:pt>
                <c:pt idx="1">
                  <c:v>0.97819999999999996</c:v>
                </c:pt>
                <c:pt idx="2">
                  <c:v>0.96350000000000002</c:v>
                </c:pt>
                <c:pt idx="3">
                  <c:v>0.90339999999999998</c:v>
                </c:pt>
                <c:pt idx="4">
                  <c:v>0.89129999999999998</c:v>
                </c:pt>
                <c:pt idx="5">
                  <c:v>0.86639999999999995</c:v>
                </c:pt>
                <c:pt idx="6">
                  <c:v>0.81499999999999995</c:v>
                </c:pt>
                <c:pt idx="7">
                  <c:v>0.7419</c:v>
                </c:pt>
                <c:pt idx="8">
                  <c:v>0.6411</c:v>
                </c:pt>
                <c:pt idx="9">
                  <c:v>0.67269999999999996</c:v>
                </c:pt>
                <c:pt idx="10">
                  <c:v>0.64680000000000004</c:v>
                </c:pt>
                <c:pt idx="11">
                  <c:v>0.61150000000000004</c:v>
                </c:pt>
                <c:pt idx="12">
                  <c:v>0.58199999999999996</c:v>
                </c:pt>
                <c:pt idx="13">
                  <c:v>0.55630000000000002</c:v>
                </c:pt>
                <c:pt idx="14">
                  <c:v>0.52710000000000001</c:v>
                </c:pt>
                <c:pt idx="15">
                  <c:v>0.48120000000000002</c:v>
                </c:pt>
                <c:pt idx="16">
                  <c:v>0.35799999999999998</c:v>
                </c:pt>
                <c:pt idx="17">
                  <c:v>0.44019999999999998</c:v>
                </c:pt>
                <c:pt idx="18">
                  <c:v>0.26569999999999999</c:v>
                </c:pt>
                <c:pt idx="19">
                  <c:v>0.2089</c:v>
                </c:pt>
                <c:pt idx="20">
                  <c:v>0.1653</c:v>
                </c:pt>
                <c:pt idx="21">
                  <c:v>0.1459</c:v>
                </c:pt>
                <c:pt idx="22">
                  <c:v>0.15129999999999999</c:v>
                </c:pt>
                <c:pt idx="23">
                  <c:v>9.8199999999999996E-2</c:v>
                </c:pt>
                <c:pt idx="24">
                  <c:v>0.10879999999999999</c:v>
                </c:pt>
              </c:numCache>
            </c:numRef>
          </c:xVal>
          <c:yVal>
            <c:numRef>
              <c:f>Sheet1!$C$27:$C$51</c:f>
              <c:numCache>
                <c:formatCode>General</c:formatCode>
                <c:ptCount val="2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B455-4B86-BABD-9343ACD16095}"/>
            </c:ext>
          </c:extLst>
        </c:ser>
        <c:ser>
          <c:idx val="0"/>
          <c:order val="2"/>
          <c:tx>
            <c:strRef>
              <c:f>Sheet1!$D$1</c:f>
              <c:strCache>
                <c:ptCount val="1"/>
                <c:pt idx="0">
                  <c:v>Perioda 2020-2022</c:v>
                </c:pt>
              </c:strCache>
            </c:strRef>
          </c:tx>
          <c:spPr>
            <a:ln w="19050">
              <a:noFill/>
            </a:ln>
          </c:spPr>
          <c:marker>
            <c:symbol val="square"/>
            <c:size val="8"/>
            <c:spPr>
              <a:solidFill>
                <a:srgbClr val="FFC000"/>
              </a:solidFill>
              <a:ln>
                <a:solidFill>
                  <a:srgbClr val="C00000"/>
                </a:solidFill>
                <a:prstDash val="solid"/>
              </a:ln>
            </c:spPr>
          </c:marker>
          <c:xVal>
            <c:numRef>
              <c:f>Sheet1!$A$52:$A$76</c:f>
              <c:numCache>
                <c:formatCode>General</c:formatCode>
                <c:ptCount val="25"/>
                <c:pt idx="0">
                  <c:v>0.98480000000000001</c:v>
                </c:pt>
                <c:pt idx="1">
                  <c:v>0.97829999999999995</c:v>
                </c:pt>
                <c:pt idx="2">
                  <c:v>0.96719999999999995</c:v>
                </c:pt>
                <c:pt idx="3">
                  <c:v>0.92600000000000005</c:v>
                </c:pt>
                <c:pt idx="4">
                  <c:v>0.91039999999999999</c:v>
                </c:pt>
                <c:pt idx="5">
                  <c:v>0.87719999999999998</c:v>
                </c:pt>
                <c:pt idx="6">
                  <c:v>0.82589999999999997</c:v>
                </c:pt>
                <c:pt idx="7">
                  <c:v>0.80579999999999996</c:v>
                </c:pt>
                <c:pt idx="8">
                  <c:v>0.70220000000000005</c:v>
                </c:pt>
                <c:pt idx="9">
                  <c:v>0.69399999999999995</c:v>
                </c:pt>
                <c:pt idx="10">
                  <c:v>0.67710000000000004</c:v>
                </c:pt>
                <c:pt idx="11">
                  <c:v>0.64710000000000001</c:v>
                </c:pt>
                <c:pt idx="12">
                  <c:v>0.61339999999999995</c:v>
                </c:pt>
                <c:pt idx="13">
                  <c:v>0.58230000000000004</c:v>
                </c:pt>
                <c:pt idx="14">
                  <c:v>0.56179999999999997</c:v>
                </c:pt>
                <c:pt idx="15">
                  <c:v>0.52270000000000005</c:v>
                </c:pt>
                <c:pt idx="16">
                  <c:v>0.4743</c:v>
                </c:pt>
                <c:pt idx="17">
                  <c:v>0.47189999999999999</c:v>
                </c:pt>
                <c:pt idx="18">
                  <c:v>0.31480000000000002</c:v>
                </c:pt>
                <c:pt idx="19">
                  <c:v>0.247</c:v>
                </c:pt>
                <c:pt idx="20">
                  <c:v>0.2072</c:v>
                </c:pt>
                <c:pt idx="21">
                  <c:v>0.18770000000000001</c:v>
                </c:pt>
                <c:pt idx="22">
                  <c:v>0.1767</c:v>
                </c:pt>
                <c:pt idx="23">
                  <c:v>0.14000000000000001</c:v>
                </c:pt>
                <c:pt idx="24">
                  <c:v>0.1232</c:v>
                </c:pt>
              </c:numCache>
            </c:numRef>
          </c:xVal>
          <c:yVal>
            <c:numRef>
              <c:f>Sheet1!$D$52:$D$76</c:f>
              <c:numCache>
                <c:formatCode>General</c:formatCode>
                <c:ptCount val="2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B455-4B86-BABD-9343ACD160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58932352"/>
        <c:axId val="1"/>
        <c:extLst>
          <c:ext xmlns:c15="http://schemas.microsoft.com/office/drawing/2012/chart" uri="{02D57815-91ED-43cb-92C2-25804820EDAC}">
            <c15:filteredScatterSeries>
              <c15:ser>
                <c:idx val="2"/>
                <c:order val="3"/>
                <c:tx>
                  <c:str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ln w="19050">
                    <a:noFill/>
                  </a:ln>
                </c:spPr>
                <c:marker>
                  <c:symbol val="plus"/>
                  <c:size val="6"/>
                  <c:spPr>
                    <a:noFill/>
                    <a:ln>
                      <a:solidFill>
                        <a:srgbClr val="C00000"/>
                      </a:solidFill>
                    </a:ln>
                  </c:spPr>
                </c:marker>
                <c:xVal>
                  <c:numRef>
                    <c:extLst>
                      <c:ext uri="{02D57815-91ED-43cb-92C2-25804820EDAC}">
                        <c15:formulaRef>
                          <c15:sqref>Sheet1!$A$59:$A$77</c15:sqref>
                        </c15:formulaRef>
                      </c:ext>
                    </c:extLst>
                    <c:numCache>
                      <c:formatCode>General</c:formatCode>
                      <c:ptCount val="19"/>
                      <c:pt idx="0">
                        <c:v>0.80579999999999996</c:v>
                      </c:pt>
                      <c:pt idx="1">
                        <c:v>0.70220000000000005</c:v>
                      </c:pt>
                      <c:pt idx="2">
                        <c:v>0.69399999999999995</c:v>
                      </c:pt>
                      <c:pt idx="3">
                        <c:v>0.67710000000000004</c:v>
                      </c:pt>
                      <c:pt idx="4">
                        <c:v>0.64710000000000001</c:v>
                      </c:pt>
                      <c:pt idx="5">
                        <c:v>0.61339999999999995</c:v>
                      </c:pt>
                      <c:pt idx="6">
                        <c:v>0.58230000000000004</c:v>
                      </c:pt>
                      <c:pt idx="7">
                        <c:v>0.56179999999999997</c:v>
                      </c:pt>
                      <c:pt idx="8">
                        <c:v>0.52270000000000005</c:v>
                      </c:pt>
                      <c:pt idx="9">
                        <c:v>0.4743</c:v>
                      </c:pt>
                      <c:pt idx="10">
                        <c:v>0.47189999999999999</c:v>
                      </c:pt>
                      <c:pt idx="11">
                        <c:v>0.31480000000000002</c:v>
                      </c:pt>
                      <c:pt idx="12">
                        <c:v>0.247</c:v>
                      </c:pt>
                      <c:pt idx="13">
                        <c:v>0.2072</c:v>
                      </c:pt>
                      <c:pt idx="14">
                        <c:v>0.18770000000000001</c:v>
                      </c:pt>
                      <c:pt idx="15">
                        <c:v>0.1767</c:v>
                      </c:pt>
                      <c:pt idx="16">
                        <c:v>0.14000000000000001</c:v>
                      </c:pt>
                      <c:pt idx="17">
                        <c:v>0.1232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2-20F5-4966-9C6C-4ADAFC8366C3}"/>
                  </c:ext>
                </c:extLst>
              </c15:ser>
            </c15:filteredScatterSeries>
            <c15:filteredScatterSeries>
              <c15:ser>
                <c:idx val="1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ln w="19050">
                    <a:noFill/>
                  </a:ln>
                </c:spPr>
                <c:marker>
                  <c:symbol val="plus"/>
                  <c:size val="6"/>
                  <c:spPr>
                    <a:noFill/>
                    <a:ln>
                      <a:solidFill>
                        <a:srgbClr val="C00000"/>
                      </a:solidFill>
                    </a:ln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78:$A$96</c15:sqref>
                        </c15:formulaRef>
                      </c:ext>
                    </c:extLst>
                    <c:numCache>
                      <c:formatCode>General</c:formatCode>
                      <c:ptCount val="19"/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1-0E0A-45F8-A7D3-F9E8CAE758E8}"/>
                  </c:ext>
                </c:extLst>
              </c15:ser>
            </c15:filteredScatterSeries>
          </c:ext>
        </c:extLst>
      </c:scatterChart>
      <c:valAx>
        <c:axId val="1458932352"/>
        <c:scaling>
          <c:orientation val="minMax"/>
          <c:max val="1"/>
          <c:min val="0"/>
        </c:scaling>
        <c:delete val="0"/>
        <c:axPos val="t"/>
        <c:majorGridlines>
          <c:spPr>
            <a:ln w="9525">
              <a:solidFill>
                <a:srgbClr val="C0C0C0"/>
              </a:solidFill>
              <a:prstDash val="sysDash"/>
            </a:ln>
          </c:spPr>
        </c:majorGridlines>
        <c:numFmt formatCode="0\ %" sourceLinked="0"/>
        <c:majorTickMark val="out"/>
        <c:minorTickMark val="none"/>
        <c:tickLblPos val="nextTo"/>
        <c:spPr>
          <a:ln w="316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997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cs-CZ"/>
          </a:p>
        </c:txPr>
        <c:crossAx val="1"/>
        <c:crosses val="autoZero"/>
        <c:crossBetween val="midCat"/>
        <c:majorUnit val="0.2"/>
      </c:valAx>
      <c:valAx>
        <c:axId val="1"/>
        <c:scaling>
          <c:orientation val="maxMin"/>
          <c:max val="25"/>
          <c:min val="0"/>
        </c:scaling>
        <c:delete val="0"/>
        <c:axPos val="l"/>
        <c:majorGridlines>
          <c:spPr>
            <a:ln w="9525">
              <a:solidFill>
                <a:schemeClr val="tx1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none"/>
        <c:spPr>
          <a:ln w="6330">
            <a:noFill/>
          </a:ln>
        </c:spPr>
        <c:crossAx val="1458932352"/>
        <c:crosses val="autoZero"/>
        <c:crossBetween val="midCat"/>
        <c:majorUnit val="1"/>
      </c:valAx>
      <c:spPr>
        <a:noFill/>
        <a:ln w="2531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47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58381502890173E-2"/>
          <c:y val="9.5982142857142863E-2"/>
          <c:w val="0.87668593448940269"/>
          <c:h val="0.8883928571428571"/>
        </c:manualLayout>
      </c:layout>
      <c:scatterChart>
        <c:scatterStyle val="lineMarker"/>
        <c:varyColors val="0"/>
        <c:ser>
          <c:idx val="8"/>
          <c:order val="0"/>
          <c:tx>
            <c:strRef>
              <c:f>Sheet1!$B$1</c:f>
              <c:strCache>
                <c:ptCount val="1"/>
                <c:pt idx="0">
                  <c:v>ČR</c:v>
                </c:pt>
              </c:strCache>
            </c:strRef>
          </c:tx>
          <c:spPr>
            <a:ln w="18989">
              <a:noFill/>
            </a:ln>
          </c:spPr>
          <c:marker>
            <c:symbol val="square"/>
            <c:size val="10"/>
            <c:spPr>
              <a:solidFill>
                <a:srgbClr val="002060"/>
              </a:solidFill>
              <a:ln>
                <a:solidFill>
                  <a:schemeClr val="tx1"/>
                </a:solidFill>
              </a:ln>
            </c:spPr>
          </c:marker>
          <c:dPt>
            <c:idx val="7"/>
            <c:marker>
              <c:spPr>
                <a:solidFill>
                  <a:srgbClr val="C00000"/>
                </a:solidFill>
                <a:ln>
                  <a:solidFill>
                    <a:schemeClr val="tx1"/>
                  </a:solidFill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B8EC-4B35-832F-C40E600460FC}"/>
              </c:ext>
            </c:extLst>
          </c:dPt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00-FB68-4A8D-9473-EEB04198498B}"/>
              </c:ext>
            </c:extLst>
          </c:dPt>
          <c:xVal>
            <c:numRef>
              <c:f>Sheet1!$A$2:$A$266</c:f>
              <c:numCache>
                <c:formatCode>General</c:formatCode>
                <c:ptCount val="265"/>
                <c:pt idx="0">
                  <c:v>0.94399999999999995</c:v>
                </c:pt>
                <c:pt idx="1">
                  <c:v>0.93899999999999995</c:v>
                </c:pt>
                <c:pt idx="2">
                  <c:v>0.93</c:v>
                </c:pt>
                <c:pt idx="3">
                  <c:v>0.92800000000000005</c:v>
                </c:pt>
                <c:pt idx="4">
                  <c:v>0.92200000000000004</c:v>
                </c:pt>
                <c:pt idx="5">
                  <c:v>0.91800000000000004</c:v>
                </c:pt>
                <c:pt idx="6">
                  <c:v>0.91200000000000003</c:v>
                </c:pt>
                <c:pt idx="7">
                  <c:v>0.91039999999999999</c:v>
                </c:pt>
                <c:pt idx="8">
                  <c:v>0.90800000000000003</c:v>
                </c:pt>
                <c:pt idx="9">
                  <c:v>0.9</c:v>
                </c:pt>
                <c:pt idx="10">
                  <c:v>0.89800000000000002</c:v>
                </c:pt>
                <c:pt idx="11">
                  <c:v>0.88800000000000001</c:v>
                </c:pt>
                <c:pt idx="12">
                  <c:v>0.88100000000000001</c:v>
                </c:pt>
                <c:pt idx="13">
                  <c:v>0.875</c:v>
                </c:pt>
                <c:pt idx="14">
                  <c:v>0.86899999999999999</c:v>
                </c:pt>
                <c:pt idx="15">
                  <c:v>0.878</c:v>
                </c:pt>
                <c:pt idx="16">
                  <c:v>0.89900000000000002</c:v>
                </c:pt>
                <c:pt idx="17">
                  <c:v>0.86699999999999999</c:v>
                </c:pt>
                <c:pt idx="18">
                  <c:v>0.86499999999999999</c:v>
                </c:pt>
                <c:pt idx="19">
                  <c:v>0.88100000000000001</c:v>
                </c:pt>
                <c:pt idx="20">
                  <c:v>0.85699999999999998</c:v>
                </c:pt>
                <c:pt idx="21">
                  <c:v>0.84499999999999997</c:v>
                </c:pt>
                <c:pt idx="22">
                  <c:v>0.90342913275853798</c:v>
                </c:pt>
                <c:pt idx="23">
                  <c:v>0.86499999999999999</c:v>
                </c:pt>
                <c:pt idx="24">
                  <c:v>0.83799999999999997</c:v>
                </c:pt>
                <c:pt idx="25">
                  <c:v>0.82299999999999995</c:v>
                </c:pt>
                <c:pt idx="26">
                  <c:v>0.84199999999999997</c:v>
                </c:pt>
                <c:pt idx="27">
                  <c:v>0.78200000000000003</c:v>
                </c:pt>
                <c:pt idx="28">
                  <c:v>0.80900000000000005</c:v>
                </c:pt>
                <c:pt idx="29">
                  <c:v>0.81299999999999994</c:v>
                </c:pt>
                <c:pt idx="30">
                  <c:v>0.99299999999999999</c:v>
                </c:pt>
                <c:pt idx="31">
                  <c:v>0.97199999999999998</c:v>
                </c:pt>
                <c:pt idx="32">
                  <c:v>0.98</c:v>
                </c:pt>
                <c:pt idx="33">
                  <c:v>0.97699999999999998</c:v>
                </c:pt>
                <c:pt idx="34">
                  <c:v>0.95799999999999996</c:v>
                </c:pt>
                <c:pt idx="35">
                  <c:v>0.96599999999999997</c:v>
                </c:pt>
                <c:pt idx="36">
                  <c:v>0.96299999999999997</c:v>
                </c:pt>
                <c:pt idx="37">
                  <c:v>0.91689110249444905</c:v>
                </c:pt>
                <c:pt idx="38">
                  <c:v>0.94499999999999995</c:v>
                </c:pt>
                <c:pt idx="39">
                  <c:v>0.94799999999999995</c:v>
                </c:pt>
                <c:pt idx="40">
                  <c:v>0.95499999999999996</c:v>
                </c:pt>
                <c:pt idx="41">
                  <c:v>0.92700000000000005</c:v>
                </c:pt>
                <c:pt idx="42">
                  <c:v>0.95499999999999996</c:v>
                </c:pt>
                <c:pt idx="43">
                  <c:v>0.92900000000000005</c:v>
                </c:pt>
                <c:pt idx="44">
                  <c:v>0.91600000000000004</c:v>
                </c:pt>
              </c:numCache>
            </c:numRef>
          </c:xVal>
          <c:yVal>
            <c:numRef>
              <c:f>Sheet1!$B$2:$B$266</c:f>
              <c:numCache>
                <c:formatCode>General</c:formatCode>
                <c:ptCount val="26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455-4B86-BABD-9343ACD16095}"/>
            </c:ext>
          </c:extLst>
        </c:ser>
        <c:ser>
          <c:idx val="0"/>
          <c:order val="2"/>
          <c:tx>
            <c:strRef>
              <c:f>Sheet1!$C$1</c:f>
              <c:strCache>
                <c:ptCount val="1"/>
                <c:pt idx="0">
                  <c:v>ČR_low</c:v>
                </c:pt>
              </c:strCache>
            </c:strRef>
          </c:tx>
          <c:spPr>
            <a:ln w="19050">
              <a:noFill/>
            </a:ln>
          </c:spPr>
          <c:marker>
            <c:symbol val="plus"/>
            <c:size val="10"/>
            <c:spPr>
              <a:noFill/>
              <a:ln>
                <a:solidFill>
                  <a:schemeClr val="tx1"/>
                </a:solidFill>
              </a:ln>
            </c:spPr>
          </c:marker>
          <c:xVal>
            <c:numRef>
              <c:f>Sheet1!$A$17:$A$31</c:f>
              <c:numCache>
                <c:formatCode>General</c:formatCode>
                <c:ptCount val="15"/>
                <c:pt idx="0">
                  <c:v>0.878</c:v>
                </c:pt>
                <c:pt idx="1">
                  <c:v>0.89900000000000002</c:v>
                </c:pt>
                <c:pt idx="2">
                  <c:v>0.86699999999999999</c:v>
                </c:pt>
                <c:pt idx="3">
                  <c:v>0.86499999999999999</c:v>
                </c:pt>
                <c:pt idx="4">
                  <c:v>0.88100000000000001</c:v>
                </c:pt>
                <c:pt idx="5">
                  <c:v>0.85699999999999998</c:v>
                </c:pt>
                <c:pt idx="6">
                  <c:v>0.84499999999999997</c:v>
                </c:pt>
                <c:pt idx="7">
                  <c:v>0.90342913275853798</c:v>
                </c:pt>
                <c:pt idx="8">
                  <c:v>0.86499999999999999</c:v>
                </c:pt>
                <c:pt idx="9">
                  <c:v>0.83799999999999997</c:v>
                </c:pt>
                <c:pt idx="10">
                  <c:v>0.82299999999999995</c:v>
                </c:pt>
                <c:pt idx="11">
                  <c:v>0.84199999999999997</c:v>
                </c:pt>
                <c:pt idx="12">
                  <c:v>0.78200000000000003</c:v>
                </c:pt>
                <c:pt idx="13">
                  <c:v>0.80900000000000005</c:v>
                </c:pt>
                <c:pt idx="14">
                  <c:v>0.81299999999999994</c:v>
                </c:pt>
              </c:numCache>
            </c:numRef>
          </c:xVal>
          <c:yVal>
            <c:numRef>
              <c:f>Sheet1!$C$17:$C$31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77E6-46C6-BA62-E0C855890E1D}"/>
            </c:ext>
          </c:extLst>
        </c:ser>
        <c:ser>
          <c:idx val="1"/>
          <c:order val="3"/>
          <c:tx>
            <c:strRef>
              <c:f>Sheet1!$D$1</c:f>
              <c:strCache>
                <c:ptCount val="1"/>
                <c:pt idx="0">
                  <c:v>ČR_upp</c:v>
                </c:pt>
              </c:strCache>
            </c:strRef>
          </c:tx>
          <c:spPr>
            <a:ln w="19050">
              <a:noFill/>
            </a:ln>
          </c:spPr>
          <c:marker>
            <c:symbol val="plus"/>
            <c:size val="10"/>
            <c:spPr>
              <a:noFill/>
              <a:ln>
                <a:solidFill>
                  <a:schemeClr val="tx1"/>
                </a:solidFill>
              </a:ln>
            </c:spPr>
          </c:marker>
          <c:xVal>
            <c:numRef>
              <c:f>Sheet1!$A$32:$A$56</c:f>
              <c:numCache>
                <c:formatCode>General</c:formatCode>
                <c:ptCount val="25"/>
                <c:pt idx="0">
                  <c:v>0.99299999999999999</c:v>
                </c:pt>
                <c:pt idx="1">
                  <c:v>0.97199999999999998</c:v>
                </c:pt>
                <c:pt idx="2">
                  <c:v>0.98</c:v>
                </c:pt>
                <c:pt idx="3">
                  <c:v>0.97699999999999998</c:v>
                </c:pt>
                <c:pt idx="4">
                  <c:v>0.95799999999999996</c:v>
                </c:pt>
                <c:pt idx="5">
                  <c:v>0.96599999999999997</c:v>
                </c:pt>
                <c:pt idx="6">
                  <c:v>0.96299999999999997</c:v>
                </c:pt>
                <c:pt idx="7">
                  <c:v>0.91689110249444905</c:v>
                </c:pt>
                <c:pt idx="8">
                  <c:v>0.94499999999999995</c:v>
                </c:pt>
                <c:pt idx="9">
                  <c:v>0.94799999999999995</c:v>
                </c:pt>
                <c:pt idx="10">
                  <c:v>0.95499999999999996</c:v>
                </c:pt>
                <c:pt idx="11">
                  <c:v>0.92700000000000005</c:v>
                </c:pt>
                <c:pt idx="12">
                  <c:v>0.95499999999999996</c:v>
                </c:pt>
                <c:pt idx="13">
                  <c:v>0.92900000000000005</c:v>
                </c:pt>
                <c:pt idx="14">
                  <c:v>0.91600000000000004</c:v>
                </c:pt>
              </c:numCache>
            </c:numRef>
          </c:xVal>
          <c:yVal>
            <c:numRef>
              <c:f>Sheet1!$D$32:$D$56</c:f>
              <c:numCache>
                <c:formatCode>General</c:formatCode>
                <c:ptCount val="2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77E6-46C6-BA62-E0C855890E1D}"/>
            </c:ext>
          </c:extLst>
        </c:ser>
        <c:ser>
          <c:idx val="2"/>
          <c:order val="4"/>
          <c:tx>
            <c:strRef>
              <c:f>Sheet1!$E$1</c:f>
              <c:strCache>
                <c:ptCount val="1"/>
                <c:pt idx="0">
                  <c:v>CZ</c:v>
                </c:pt>
              </c:strCache>
            </c:strRef>
          </c:tx>
          <c:spPr>
            <a:ln w="50800">
              <a:solidFill>
                <a:schemeClr val="tx1"/>
              </a:solidFill>
              <a:prstDash val="dash"/>
            </a:ln>
          </c:spPr>
          <c:marker>
            <c:symbol val="none"/>
          </c:marker>
          <c:xVal>
            <c:numRef>
              <c:f>Sheet1!$A$57:$A$81</c:f>
              <c:numCache>
                <c:formatCode>General</c:formatCode>
                <c:ptCount val="25"/>
              </c:numCache>
            </c:numRef>
          </c:xVal>
          <c:yVal>
            <c:numRef>
              <c:f>Sheet1!$E$57:$E$81</c:f>
              <c:numCache>
                <c:formatCode>General</c:formatCode>
                <c:ptCount val="25"/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77E6-46C6-BA62-E0C855890E1D}"/>
            </c:ext>
          </c:extLst>
        </c:ser>
        <c:ser>
          <c:idx val="3"/>
          <c:order val="5"/>
          <c:tx>
            <c:strRef>
              <c:f>Sheet1!$F$1</c:f>
              <c:strCache>
                <c:ptCount val="1"/>
              </c:strCache>
            </c:strRef>
          </c:tx>
          <c:spPr>
            <a:ln w="19050">
              <a:noFill/>
            </a:ln>
          </c:spPr>
          <c:marker>
            <c:symbol val="plus"/>
            <c:size val="10"/>
            <c:spPr>
              <a:noFill/>
              <a:ln>
                <a:solidFill>
                  <a:srgbClr val="FF0000"/>
                </a:solidFill>
              </a:ln>
            </c:spPr>
          </c:marker>
          <c:xVal>
            <c:numRef>
              <c:f>Sheet1!$A$82:$A$106</c:f>
              <c:numCache>
                <c:formatCode>General</c:formatCode>
                <c:ptCount val="25"/>
              </c:numCache>
            </c:numRef>
          </c:xVal>
          <c:yVal>
            <c:numRef>
              <c:f>Sheet1!$F$82:$F$106</c:f>
              <c:numCache>
                <c:formatCode>General</c:formatCode>
                <c:ptCount val="25"/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77E6-46C6-BA62-E0C855890E1D}"/>
            </c:ext>
          </c:extLst>
        </c:ser>
        <c:ser>
          <c:idx val="5"/>
          <c:order val="6"/>
          <c:tx>
            <c:strRef>
              <c:f>Sheet1!$G$1</c:f>
              <c:strCache>
                <c:ptCount val="1"/>
              </c:strCache>
            </c:strRef>
          </c:tx>
          <c:spPr>
            <a:ln w="19050">
              <a:noFill/>
            </a:ln>
          </c:spPr>
          <c:marker>
            <c:symbol val="plus"/>
            <c:size val="10"/>
            <c:spPr>
              <a:noFill/>
              <a:ln>
                <a:solidFill>
                  <a:srgbClr val="FF0000"/>
                </a:solidFill>
              </a:ln>
            </c:spPr>
          </c:marker>
          <c:xVal>
            <c:numRef>
              <c:f>Sheet1!$A$107:$A$131</c:f>
              <c:numCache>
                <c:formatCode>General</c:formatCode>
                <c:ptCount val="25"/>
              </c:numCache>
            </c:numRef>
          </c:xVal>
          <c:yVal>
            <c:numRef>
              <c:f>Sheet1!$G$107:$G$131</c:f>
              <c:numCache>
                <c:formatCode>General</c:formatCode>
                <c:ptCount val="25"/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77E6-46C6-BA62-E0C855890E1D}"/>
            </c:ext>
          </c:extLst>
        </c:ser>
        <c:ser>
          <c:idx val="6"/>
          <c:order val="7"/>
          <c:tx>
            <c:strRef>
              <c:f>Sheet1!$E:$E</c:f>
              <c:strCache>
                <c:ptCount val="1048576"/>
                <c:pt idx="0">
                  <c:v>CZ</c:v>
                </c:pt>
                <c:pt idx="1">
                  <c:v>0.9104</c:v>
                </c:pt>
                <c:pt idx="2">
                  <c:v>0.9104</c:v>
                </c:pt>
                <c:pt idx="3">
                  <c:v>0.9104</c:v>
                </c:pt>
                <c:pt idx="4">
                  <c:v>0.9104</c:v>
                </c:pt>
                <c:pt idx="5">
                  <c:v>0.9104</c:v>
                </c:pt>
                <c:pt idx="6">
                  <c:v>0.9104</c:v>
                </c:pt>
                <c:pt idx="7">
                  <c:v>0.9104</c:v>
                </c:pt>
                <c:pt idx="8">
                  <c:v>0.9104</c:v>
                </c:pt>
                <c:pt idx="9">
                  <c:v>0.9104</c:v>
                </c:pt>
                <c:pt idx="10">
                  <c:v>0.9104</c:v>
                </c:pt>
                <c:pt idx="11">
                  <c:v>0.9104</c:v>
                </c:pt>
                <c:pt idx="12">
                  <c:v>0.9104</c:v>
                </c:pt>
                <c:pt idx="13">
                  <c:v>0.9104</c:v>
                </c:pt>
                <c:pt idx="14">
                  <c:v>0.9104</c:v>
                </c:pt>
                <c:pt idx="15">
                  <c:v>0.9104</c:v>
                </c:pt>
                <c:pt idx="16">
                  <c:v>0.9104</c:v>
                </c:pt>
                <c:pt idx="17">
                  <c:v>0.9104</c:v>
                </c:pt>
                <c:pt idx="18">
                  <c:v>0.9104</c:v>
                </c:pt>
                <c:pt idx="19">
                  <c:v>0.9104</c:v>
                </c:pt>
                <c:pt idx="20">
                  <c:v>0.9104</c:v>
                </c:pt>
                <c:pt idx="21">
                  <c:v>0.9104</c:v>
                </c:pt>
                <c:pt idx="22">
                  <c:v>0.9104</c:v>
                </c:pt>
                <c:pt idx="23">
                  <c:v>0.9104</c:v>
                </c:pt>
                <c:pt idx="24">
                  <c:v>0.9104</c:v>
                </c:pt>
                <c:pt idx="25">
                  <c:v>0.9104</c:v>
                </c:pt>
                <c:pt idx="26">
                  <c:v>0.9104</c:v>
                </c:pt>
                <c:pt idx="27">
                  <c:v>0.9104</c:v>
                </c:pt>
                <c:pt idx="28">
                  <c:v>0.9104</c:v>
                </c:pt>
                <c:pt idx="29">
                  <c:v>0.9104</c:v>
                </c:pt>
                <c:pt idx="30">
                  <c:v>0.9104</c:v>
                </c:pt>
                <c:pt idx="31">
                  <c:v>0.9104</c:v>
                </c:pt>
                <c:pt idx="32">
                  <c:v>0.9104</c:v>
                </c:pt>
                <c:pt idx="33">
                  <c:v>0.9104</c:v>
                </c:pt>
                <c:pt idx="34">
                  <c:v>0.9104</c:v>
                </c:pt>
                <c:pt idx="35">
                  <c:v>0.9104</c:v>
                </c:pt>
                <c:pt idx="36">
                  <c:v>0.9104</c:v>
                </c:pt>
                <c:pt idx="37">
                  <c:v>0.9104</c:v>
                </c:pt>
                <c:pt idx="38">
                  <c:v>0.9104</c:v>
                </c:pt>
                <c:pt idx="39">
                  <c:v>0.9104</c:v>
                </c:pt>
                <c:pt idx="40">
                  <c:v>0.9104</c:v>
                </c:pt>
                <c:pt idx="41">
                  <c:v>0.9104</c:v>
                </c:pt>
                <c:pt idx="42">
                  <c:v>0.9104</c:v>
                </c:pt>
                <c:pt idx="43">
                  <c:v>0.9104</c:v>
                </c:pt>
                <c:pt idx="44">
                  <c:v>0.9104</c:v>
                </c:pt>
                <c:pt idx="45">
                  <c:v>0.9104</c:v>
                </c:pt>
              </c:strCache>
            </c:strRef>
          </c:tx>
          <c:spPr>
            <a:ln w="19050" cap="sq">
              <a:solidFill>
                <a:srgbClr val="C00000"/>
              </a:solidFill>
              <a:prstDash val="dash"/>
              <a:miter lim="800000"/>
            </a:ln>
          </c:spPr>
          <c:marker>
            <c:symbol val="none"/>
          </c:marker>
          <c:xVal>
            <c:numRef>
              <c:f>Sheet1!$E$2:$E$16</c:f>
              <c:numCache>
                <c:formatCode>General</c:formatCode>
                <c:ptCount val="15"/>
                <c:pt idx="0">
                  <c:v>0.91039999999999999</c:v>
                </c:pt>
                <c:pt idx="1">
                  <c:v>0.91039999999999999</c:v>
                </c:pt>
                <c:pt idx="2">
                  <c:v>0.91039999999999999</c:v>
                </c:pt>
                <c:pt idx="3">
                  <c:v>0.91039999999999999</c:v>
                </c:pt>
                <c:pt idx="4">
                  <c:v>0.91039999999999999</c:v>
                </c:pt>
                <c:pt idx="5">
                  <c:v>0.91039999999999999</c:v>
                </c:pt>
                <c:pt idx="6">
                  <c:v>0.91039999999999999</c:v>
                </c:pt>
                <c:pt idx="7">
                  <c:v>0.91039999999999999</c:v>
                </c:pt>
                <c:pt idx="8">
                  <c:v>0.91039999999999999</c:v>
                </c:pt>
                <c:pt idx="9">
                  <c:v>0.91039999999999999</c:v>
                </c:pt>
                <c:pt idx="10">
                  <c:v>0.91039999999999999</c:v>
                </c:pt>
                <c:pt idx="11">
                  <c:v>0.91039999999999999</c:v>
                </c:pt>
                <c:pt idx="12">
                  <c:v>0.91039999999999999</c:v>
                </c:pt>
                <c:pt idx="13">
                  <c:v>0.91039999999999999</c:v>
                </c:pt>
                <c:pt idx="14">
                  <c:v>0.91039999999999999</c:v>
                </c:pt>
              </c:numCache>
            </c:numRef>
          </c:xVal>
          <c:yVal>
            <c:numRef>
              <c:f>Sheet1!$B$2:$B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B8EC-4B35-832F-C40E60046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58932352"/>
        <c:axId val="1"/>
        <c:extLst>
          <c:ext xmlns:c15="http://schemas.microsoft.com/office/drawing/2012/chart" uri="{02D57815-91ED-43cb-92C2-25804820EDAC}">
            <c15:filteredScatterSeries>
              <c15:ser>
                <c:idx val="4"/>
                <c:order val="1"/>
                <c:tx>
                  <c:str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ln w="19050">
                    <a:noFill/>
                  </a:ln>
                </c:spPr>
                <c:marker>
                  <c:symbol val="square"/>
                  <c:size val="10"/>
                  <c:spPr>
                    <a:solidFill>
                      <a:srgbClr val="FF0000"/>
                    </a:solidFill>
                    <a:ln w="6350">
                      <a:solidFill>
                        <a:schemeClr val="tx1"/>
                      </a:solidFill>
                    </a:ln>
                  </c:spPr>
                </c:marker>
                <c:xVal>
                  <c:numRef>
                    <c:extLst>
                      <c:ext uri="{02D57815-91ED-43cb-92C2-25804820EDAC}">
                        <c15:formulaRef>
                          <c15:sqref>Sheet1!$A$2:$A$266</c15:sqref>
                        </c15:formulaRef>
                      </c:ext>
                    </c:extLst>
                    <c:numCache>
                      <c:formatCode>General</c:formatCode>
                      <c:ptCount val="265"/>
                      <c:pt idx="0">
                        <c:v>0.94399999999999995</c:v>
                      </c:pt>
                      <c:pt idx="1">
                        <c:v>0.93899999999999995</c:v>
                      </c:pt>
                      <c:pt idx="2">
                        <c:v>0.93</c:v>
                      </c:pt>
                      <c:pt idx="3">
                        <c:v>0.92800000000000005</c:v>
                      </c:pt>
                      <c:pt idx="4">
                        <c:v>0.92200000000000004</c:v>
                      </c:pt>
                      <c:pt idx="5">
                        <c:v>0.91800000000000004</c:v>
                      </c:pt>
                      <c:pt idx="6">
                        <c:v>0.91200000000000003</c:v>
                      </c:pt>
                      <c:pt idx="7">
                        <c:v>0.91039999999999999</c:v>
                      </c:pt>
                      <c:pt idx="8">
                        <c:v>0.90800000000000003</c:v>
                      </c:pt>
                      <c:pt idx="9">
                        <c:v>0.9</c:v>
                      </c:pt>
                      <c:pt idx="10">
                        <c:v>0.89800000000000002</c:v>
                      </c:pt>
                      <c:pt idx="11">
                        <c:v>0.88800000000000001</c:v>
                      </c:pt>
                      <c:pt idx="12">
                        <c:v>0.88100000000000001</c:v>
                      </c:pt>
                      <c:pt idx="13">
                        <c:v>0.875</c:v>
                      </c:pt>
                      <c:pt idx="14">
                        <c:v>0.86899999999999999</c:v>
                      </c:pt>
                      <c:pt idx="15">
                        <c:v>0.878</c:v>
                      </c:pt>
                      <c:pt idx="16">
                        <c:v>0.89900000000000002</c:v>
                      </c:pt>
                      <c:pt idx="17">
                        <c:v>0.86699999999999999</c:v>
                      </c:pt>
                      <c:pt idx="18">
                        <c:v>0.86499999999999999</c:v>
                      </c:pt>
                      <c:pt idx="19">
                        <c:v>0.88100000000000001</c:v>
                      </c:pt>
                      <c:pt idx="20">
                        <c:v>0.85699999999999998</c:v>
                      </c:pt>
                      <c:pt idx="21">
                        <c:v>0.84499999999999997</c:v>
                      </c:pt>
                      <c:pt idx="22">
                        <c:v>0.90342913275853798</c:v>
                      </c:pt>
                      <c:pt idx="23">
                        <c:v>0.86499999999999999</c:v>
                      </c:pt>
                      <c:pt idx="24">
                        <c:v>0.83799999999999997</c:v>
                      </c:pt>
                      <c:pt idx="25">
                        <c:v>0.82299999999999995</c:v>
                      </c:pt>
                      <c:pt idx="26">
                        <c:v>0.84199999999999997</c:v>
                      </c:pt>
                      <c:pt idx="27">
                        <c:v>0.78200000000000003</c:v>
                      </c:pt>
                      <c:pt idx="28">
                        <c:v>0.80900000000000005</c:v>
                      </c:pt>
                      <c:pt idx="29">
                        <c:v>0.81299999999999994</c:v>
                      </c:pt>
                      <c:pt idx="30">
                        <c:v>0.99299999999999999</c:v>
                      </c:pt>
                      <c:pt idx="31">
                        <c:v>0.97199999999999998</c:v>
                      </c:pt>
                      <c:pt idx="32">
                        <c:v>0.98</c:v>
                      </c:pt>
                      <c:pt idx="33">
                        <c:v>0.97699999999999998</c:v>
                      </c:pt>
                      <c:pt idx="34">
                        <c:v>0.95799999999999996</c:v>
                      </c:pt>
                      <c:pt idx="35">
                        <c:v>0.96599999999999997</c:v>
                      </c:pt>
                      <c:pt idx="36">
                        <c:v>0.96299999999999997</c:v>
                      </c:pt>
                      <c:pt idx="37">
                        <c:v>0.91689110249444905</c:v>
                      </c:pt>
                      <c:pt idx="38">
                        <c:v>0.94499999999999995</c:v>
                      </c:pt>
                      <c:pt idx="39">
                        <c:v>0.94799999999999995</c:v>
                      </c:pt>
                      <c:pt idx="40">
                        <c:v>0.95499999999999996</c:v>
                      </c:pt>
                      <c:pt idx="41">
                        <c:v>0.92700000000000005</c:v>
                      </c:pt>
                      <c:pt idx="42">
                        <c:v>0.95499999999999996</c:v>
                      </c:pt>
                      <c:pt idx="43">
                        <c:v>0.92900000000000005</c:v>
                      </c:pt>
                      <c:pt idx="44">
                        <c:v>0.91600000000000004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4-92BF-4A47-AE06-D2CDCCFC9767}"/>
                  </c:ext>
                </c:extLst>
              </c15:ser>
            </c15:filteredScatterSeries>
          </c:ext>
        </c:extLst>
      </c:scatterChart>
      <c:valAx>
        <c:axId val="1458932352"/>
        <c:scaling>
          <c:orientation val="minMax"/>
          <c:max val="1"/>
          <c:min val="0"/>
        </c:scaling>
        <c:delete val="0"/>
        <c:axPos val="t"/>
        <c:majorGridlines>
          <c:spPr>
            <a:ln w="9525">
              <a:solidFill>
                <a:srgbClr val="C0C0C0"/>
              </a:solidFill>
              <a:prstDash val="sysDash"/>
            </a:ln>
          </c:spPr>
        </c:majorGridlines>
        <c:numFmt formatCode="0\ %" sourceLinked="0"/>
        <c:majorTickMark val="out"/>
        <c:minorTickMark val="none"/>
        <c:tickLblPos val="nextTo"/>
        <c:spPr>
          <a:ln w="316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997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cs-CZ"/>
          </a:p>
        </c:txPr>
        <c:crossAx val="1"/>
        <c:crosses val="autoZero"/>
        <c:crossBetween val="midCat"/>
        <c:majorUnit val="0.2"/>
      </c:valAx>
      <c:valAx>
        <c:axId val="1"/>
        <c:scaling>
          <c:orientation val="maxMin"/>
          <c:min val="0"/>
        </c:scaling>
        <c:delete val="0"/>
        <c:axPos val="l"/>
        <c:majorGridlines>
          <c:spPr>
            <a:ln w="9525">
              <a:solidFill>
                <a:schemeClr val="tx1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none"/>
        <c:spPr>
          <a:ln w="6330">
            <a:noFill/>
          </a:ln>
        </c:spPr>
        <c:crossAx val="1458932352"/>
        <c:crosses val="autoZero"/>
        <c:crossBetween val="midCat"/>
        <c:majorUnit val="1"/>
      </c:valAx>
      <c:spPr>
        <a:noFill/>
        <a:ln w="2531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47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9553250647036122"/>
          <c:y val="0.1513741818872098"/>
          <c:w val="0.63946058329738675"/>
          <c:h val="0.8082071259377863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léčba v KOC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List1!$A$2:$A$15</c:f>
              <c:strCache>
                <c:ptCount val="14"/>
                <c:pt idx="0">
                  <c:v>Hl. m. Praha</c:v>
                </c:pt>
                <c:pt idx="1">
                  <c:v>Středočeský kraj</c:v>
                </c:pt>
                <c:pt idx="2">
                  <c:v>Jihomoravský kraj</c:v>
                </c:pt>
                <c:pt idx="3">
                  <c:v>Moravskoslezský kraj</c:v>
                </c:pt>
                <c:pt idx="4">
                  <c:v>Ústecký kraj</c:v>
                </c:pt>
                <c:pt idx="5">
                  <c:v>Jihočeský kraj</c:v>
                </c:pt>
                <c:pt idx="6">
                  <c:v>Zlínský kraj</c:v>
                </c:pt>
                <c:pt idx="7">
                  <c:v>Královéhradecký kraj</c:v>
                </c:pt>
                <c:pt idx="8">
                  <c:v>Olomoucký kraj</c:v>
                </c:pt>
                <c:pt idx="9">
                  <c:v>Plzeňský kraj</c:v>
                </c:pt>
                <c:pt idx="10">
                  <c:v>Pardubický kraj</c:v>
                </c:pt>
                <c:pt idx="11">
                  <c:v>Vysočina</c:v>
                </c:pt>
                <c:pt idx="12">
                  <c:v>Liberecký kraj</c:v>
                </c:pt>
                <c:pt idx="13">
                  <c:v>Karlovarský kraj</c:v>
                </c:pt>
              </c:strCache>
            </c:strRef>
          </c:cat>
          <c:val>
            <c:numRef>
              <c:f>List1!$B$2:$B$15</c:f>
              <c:numCache>
                <c:formatCode>General</c:formatCode>
                <c:ptCount val="14"/>
                <c:pt idx="0">
                  <c:v>787.8</c:v>
                </c:pt>
                <c:pt idx="1">
                  <c:v>631.20000000000005</c:v>
                </c:pt>
                <c:pt idx="2">
                  <c:v>754</c:v>
                </c:pt>
                <c:pt idx="3">
                  <c:v>602.4</c:v>
                </c:pt>
                <c:pt idx="4">
                  <c:v>412</c:v>
                </c:pt>
                <c:pt idx="5">
                  <c:v>306.8</c:v>
                </c:pt>
                <c:pt idx="6">
                  <c:v>323.8</c:v>
                </c:pt>
                <c:pt idx="7">
                  <c:v>283.60000000000002</c:v>
                </c:pt>
                <c:pt idx="8">
                  <c:v>308.2</c:v>
                </c:pt>
                <c:pt idx="9">
                  <c:v>376</c:v>
                </c:pt>
                <c:pt idx="10">
                  <c:v>324.60000000000002</c:v>
                </c:pt>
                <c:pt idx="11">
                  <c:v>226.6</c:v>
                </c:pt>
                <c:pt idx="12">
                  <c:v>228.8</c:v>
                </c:pt>
                <c:pt idx="13">
                  <c:v>89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BE-4860-B2D7-6FDE2933679A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léčba pouze mimo KOC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List1!$A$2:$A$15</c:f>
              <c:strCache>
                <c:ptCount val="14"/>
                <c:pt idx="0">
                  <c:v>Hl. m. Praha</c:v>
                </c:pt>
                <c:pt idx="1">
                  <c:v>Středočeský kraj</c:v>
                </c:pt>
                <c:pt idx="2">
                  <c:v>Jihomoravský kraj</c:v>
                </c:pt>
                <c:pt idx="3">
                  <c:v>Moravskoslezský kraj</c:v>
                </c:pt>
                <c:pt idx="4">
                  <c:v>Ústecký kraj</c:v>
                </c:pt>
                <c:pt idx="5">
                  <c:v>Jihočeský kraj</c:v>
                </c:pt>
                <c:pt idx="6">
                  <c:v>Zlínský kraj</c:v>
                </c:pt>
                <c:pt idx="7">
                  <c:v>Královéhradecký kraj</c:v>
                </c:pt>
                <c:pt idx="8">
                  <c:v>Olomoucký kraj</c:v>
                </c:pt>
                <c:pt idx="9">
                  <c:v>Plzeňský kraj</c:v>
                </c:pt>
                <c:pt idx="10">
                  <c:v>Pardubický kraj</c:v>
                </c:pt>
                <c:pt idx="11">
                  <c:v>Vysočina</c:v>
                </c:pt>
                <c:pt idx="12">
                  <c:v>Liberecký kraj</c:v>
                </c:pt>
                <c:pt idx="13">
                  <c:v>Karlovarský kraj</c:v>
                </c:pt>
              </c:strCache>
            </c:strRef>
          </c:cat>
          <c:val>
            <c:numRef>
              <c:f>List1!$C$2:$C$15</c:f>
              <c:numCache>
                <c:formatCode>General</c:formatCode>
                <c:ptCount val="14"/>
                <c:pt idx="0">
                  <c:v>159.19999999999999</c:v>
                </c:pt>
                <c:pt idx="1">
                  <c:v>306.2</c:v>
                </c:pt>
                <c:pt idx="2">
                  <c:v>123.4</c:v>
                </c:pt>
                <c:pt idx="3">
                  <c:v>183.6</c:v>
                </c:pt>
                <c:pt idx="4">
                  <c:v>129.80000000000001</c:v>
                </c:pt>
                <c:pt idx="5">
                  <c:v>122.4</c:v>
                </c:pt>
                <c:pt idx="6">
                  <c:v>95.8</c:v>
                </c:pt>
                <c:pt idx="7">
                  <c:v>127.8</c:v>
                </c:pt>
                <c:pt idx="8">
                  <c:v>100</c:v>
                </c:pt>
                <c:pt idx="9">
                  <c:v>26.2</c:v>
                </c:pt>
                <c:pt idx="10">
                  <c:v>32</c:v>
                </c:pt>
                <c:pt idx="11">
                  <c:v>96.8</c:v>
                </c:pt>
                <c:pt idx="12">
                  <c:v>74.599999999999994</c:v>
                </c:pt>
                <c:pt idx="13">
                  <c:v>92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5BE-4860-B2D7-6FDE293367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672919520"/>
        <c:axId val="672897056"/>
      </c:barChart>
      <c:catAx>
        <c:axId val="67291952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72897056"/>
        <c:crosses val="autoZero"/>
        <c:auto val="1"/>
        <c:lblAlgn val="ctr"/>
        <c:lblOffset val="100"/>
        <c:noMultiLvlLbl val="0"/>
      </c:catAx>
      <c:valAx>
        <c:axId val="672897056"/>
        <c:scaling>
          <c:orientation val="minMax"/>
          <c:min val="0"/>
        </c:scaling>
        <c:delete val="0"/>
        <c:axPos val="t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729195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5593775753963336"/>
          <c:y val="2.0546647505874042E-2"/>
          <c:w val="0.51641109212886238"/>
          <c:h val="5.3728242120119181E-2"/>
        </c:manualLayout>
      </c:layout>
      <c:overlay val="0"/>
      <c:txPr>
        <a:bodyPr/>
        <a:lstStyle/>
        <a:p>
          <a:pPr>
            <a:defRPr b="1"/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cs-CZ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9778507191182152"/>
          <c:y val="0.13329213538786594"/>
          <c:w val="0.65522854138760855"/>
          <c:h val="0.84351225209015956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léčba v KOC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Plzeňský kraj</c:v>
                </c:pt>
                <c:pt idx="1">
                  <c:v>Pardubický kraj</c:v>
                </c:pt>
                <c:pt idx="2">
                  <c:v>Jihomoravský kraj</c:v>
                </c:pt>
                <c:pt idx="3">
                  <c:v>Hl. m. Praha</c:v>
                </c:pt>
                <c:pt idx="4">
                  <c:v>Zlínský kraj</c:v>
                </c:pt>
                <c:pt idx="5">
                  <c:v>Česká republika</c:v>
                </c:pt>
                <c:pt idx="6">
                  <c:v>Moravskoslezský kraj</c:v>
                </c:pt>
                <c:pt idx="7">
                  <c:v>Ústecký kraj</c:v>
                </c:pt>
                <c:pt idx="8">
                  <c:v>Olomoucký kraj</c:v>
                </c:pt>
                <c:pt idx="9">
                  <c:v>Liberecký kraj</c:v>
                </c:pt>
                <c:pt idx="10">
                  <c:v>Jihočeský kraj</c:v>
                </c:pt>
                <c:pt idx="11">
                  <c:v>Vysočina</c:v>
                </c:pt>
                <c:pt idx="12">
                  <c:v>Královéhradecký kraj</c:v>
                </c:pt>
                <c:pt idx="13">
                  <c:v>Středočeský kraj</c:v>
                </c:pt>
                <c:pt idx="14">
                  <c:v>Karlovarský kraj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0.93485827946295375</c:v>
                </c:pt>
                <c:pt idx="1">
                  <c:v>0.91026360067302303</c:v>
                </c:pt>
                <c:pt idx="2">
                  <c:v>0.85935719170275815</c:v>
                </c:pt>
                <c:pt idx="3">
                  <c:v>0.83189017951425548</c:v>
                </c:pt>
                <c:pt idx="4">
                  <c:v>0.77168732125834127</c:v>
                </c:pt>
                <c:pt idx="5">
                  <c:v>0.77102943171029437</c:v>
                </c:pt>
                <c:pt idx="6">
                  <c:v>0.76641221374045798</c:v>
                </c:pt>
                <c:pt idx="7">
                  <c:v>0.76042820228866748</c:v>
                </c:pt>
                <c:pt idx="8">
                  <c:v>0.75502204801567863</c:v>
                </c:pt>
                <c:pt idx="9">
                  <c:v>0.75411997363216887</c:v>
                </c:pt>
                <c:pt idx="10">
                  <c:v>0.71481826654240443</c:v>
                </c:pt>
                <c:pt idx="11">
                  <c:v>0.70068027210884354</c:v>
                </c:pt>
                <c:pt idx="12">
                  <c:v>0.68935342732134175</c:v>
                </c:pt>
                <c:pt idx="13">
                  <c:v>0.67335182419458073</c:v>
                </c:pt>
                <c:pt idx="14">
                  <c:v>0.492849284928492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F8-4F61-ACC2-1879E8EAC35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léčba pouze mimo KOC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List1!$A$2:$A$16</c:f>
              <c:strCache>
                <c:ptCount val="15"/>
                <c:pt idx="0">
                  <c:v>Plzeňský kraj</c:v>
                </c:pt>
                <c:pt idx="1">
                  <c:v>Pardubický kraj</c:v>
                </c:pt>
                <c:pt idx="2">
                  <c:v>Jihomoravský kraj</c:v>
                </c:pt>
                <c:pt idx="3">
                  <c:v>Hl. m. Praha</c:v>
                </c:pt>
                <c:pt idx="4">
                  <c:v>Zlínský kraj</c:v>
                </c:pt>
                <c:pt idx="5">
                  <c:v>Česká republika</c:v>
                </c:pt>
                <c:pt idx="6">
                  <c:v>Moravskoslezský kraj</c:v>
                </c:pt>
                <c:pt idx="7">
                  <c:v>Ústecký kraj</c:v>
                </c:pt>
                <c:pt idx="8">
                  <c:v>Olomoucký kraj</c:v>
                </c:pt>
                <c:pt idx="9">
                  <c:v>Liberecký kraj</c:v>
                </c:pt>
                <c:pt idx="10">
                  <c:v>Jihočeský kraj</c:v>
                </c:pt>
                <c:pt idx="11">
                  <c:v>Vysočina</c:v>
                </c:pt>
                <c:pt idx="12">
                  <c:v>Královéhradecký kraj</c:v>
                </c:pt>
                <c:pt idx="13">
                  <c:v>Středočeský kraj</c:v>
                </c:pt>
                <c:pt idx="14">
                  <c:v>Karlovarský kraj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  <c:pt idx="0">
                  <c:v>6.5141720537046241E-2</c:v>
                </c:pt>
                <c:pt idx="1">
                  <c:v>8.9736399326976996E-2</c:v>
                </c:pt>
                <c:pt idx="2">
                  <c:v>0.14064280829724185</c:v>
                </c:pt>
                <c:pt idx="3">
                  <c:v>0.16810982048574444</c:v>
                </c:pt>
                <c:pt idx="4">
                  <c:v>0.2283126787416587</c:v>
                </c:pt>
                <c:pt idx="5">
                  <c:v>0.22897056828970569</c:v>
                </c:pt>
                <c:pt idx="6">
                  <c:v>0.23358778625954199</c:v>
                </c:pt>
                <c:pt idx="7">
                  <c:v>0.23957179771133263</c:v>
                </c:pt>
                <c:pt idx="8">
                  <c:v>0.24497795198432143</c:v>
                </c:pt>
                <c:pt idx="9">
                  <c:v>0.24588002636783124</c:v>
                </c:pt>
                <c:pt idx="10">
                  <c:v>0.28518173345759551</c:v>
                </c:pt>
                <c:pt idx="11">
                  <c:v>0.29931972789115646</c:v>
                </c:pt>
                <c:pt idx="12">
                  <c:v>0.31064657267865819</c:v>
                </c:pt>
                <c:pt idx="13">
                  <c:v>0.32664817580541922</c:v>
                </c:pt>
                <c:pt idx="14">
                  <c:v>0.507150715071507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8F8-4F61-ACC2-1879E8EAC3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672919520"/>
        <c:axId val="672897056"/>
      </c:barChart>
      <c:catAx>
        <c:axId val="67291952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72897056"/>
        <c:crosses val="autoZero"/>
        <c:auto val="1"/>
        <c:lblAlgn val="ctr"/>
        <c:lblOffset val="100"/>
        <c:noMultiLvlLbl val="0"/>
      </c:catAx>
      <c:valAx>
        <c:axId val="672897056"/>
        <c:scaling>
          <c:orientation val="minMax"/>
        </c:scaling>
        <c:delete val="0"/>
        <c:axPos val="t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729195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4998560763986897"/>
          <c:y val="9.647896535196222E-3"/>
          <c:w val="0.52372979580969747"/>
          <c:h val="5.6577425868895158E-2"/>
        </c:manualLayout>
      </c:layout>
      <c:overlay val="0"/>
      <c:txPr>
        <a:bodyPr/>
        <a:lstStyle/>
        <a:p>
          <a:pPr>
            <a:defRPr b="1"/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cs-CZ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250361500761521"/>
          <c:y val="0.10741931645121987"/>
          <c:w val="0.86246143004170095"/>
          <c:h val="0.723906573926013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kraj</c:v>
                </c:pt>
              </c:strCache>
            </c:strRef>
          </c:tx>
          <c:spPr>
            <a:solidFill>
              <a:srgbClr val="6598C7"/>
            </a:solidFill>
            <a:ln>
              <a:noFill/>
            </a:ln>
            <a:effectLst/>
          </c:spPr>
          <c:invertIfNegative val="0"/>
          <c:dLbls>
            <c:numFmt formatCode="0.0\ %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0"/>
              <a:lstStyle/>
              <a:p>
                <a:pPr algn="ctr">
                  <a:defRPr lang="en-US"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Sheet1!$B$2:$B$13</c:f>
              <c:numCache>
                <c:formatCode>0.0%</c:formatCode>
                <c:ptCount val="12"/>
                <c:pt idx="0">
                  <c:v>2.1538461538461538E-2</c:v>
                </c:pt>
                <c:pt idx="1">
                  <c:v>3.7940379403794036E-2</c:v>
                </c:pt>
                <c:pt idx="2">
                  <c:v>0.25831202046035806</c:v>
                </c:pt>
                <c:pt idx="3">
                  <c:v>0.56571428571428573</c:v>
                </c:pt>
                <c:pt idx="4">
                  <c:v>0.5984455958549223</c:v>
                </c:pt>
                <c:pt idx="5">
                  <c:v>0.62204724409448819</c:v>
                </c:pt>
                <c:pt idx="6">
                  <c:v>0.65873015873015872</c:v>
                </c:pt>
                <c:pt idx="7">
                  <c:v>0.69750000000000001</c:v>
                </c:pt>
                <c:pt idx="8">
                  <c:v>0.75549450549450547</c:v>
                </c:pt>
                <c:pt idx="9">
                  <c:v>0.73414634146341462</c:v>
                </c:pt>
                <c:pt idx="10">
                  <c:v>0.72520661157024791</c:v>
                </c:pt>
                <c:pt idx="11">
                  <c:v>0.762376237623762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026-4FF8-9B74-4D4161884DF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ČR</c:v>
                </c:pt>
              </c:strCache>
            </c:strRef>
          </c:tx>
          <c:spPr>
            <a:solidFill>
              <a:srgbClr val="2E5980"/>
            </a:solidFill>
            <a:ln>
              <a:noFill/>
            </a:ln>
            <a:effectLst/>
          </c:spPr>
          <c:invertIfNegative val="0"/>
          <c:dLbls>
            <c:numFmt formatCode="0.0\ %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Sheet1!$C$2:$C$13</c:f>
              <c:numCache>
                <c:formatCode>0.0%</c:formatCode>
                <c:ptCount val="12"/>
                <c:pt idx="0">
                  <c:v>0.19816940287665263</c:v>
                </c:pt>
                <c:pt idx="1">
                  <c:v>0.29697986577181207</c:v>
                </c:pt>
                <c:pt idx="2">
                  <c:v>0.38049957422651148</c:v>
                </c:pt>
                <c:pt idx="3">
                  <c:v>0.45758426966292137</c:v>
                </c:pt>
                <c:pt idx="4">
                  <c:v>0.49080348499515974</c:v>
                </c:pt>
                <c:pt idx="5">
                  <c:v>0.58953974895397487</c:v>
                </c:pt>
                <c:pt idx="6">
                  <c:v>0.67292225201072386</c:v>
                </c:pt>
                <c:pt idx="7">
                  <c:v>0.72365751386446642</c:v>
                </c:pt>
                <c:pt idx="8">
                  <c:v>0.72844827586206895</c:v>
                </c:pt>
                <c:pt idx="9">
                  <c:v>0.74366458803237367</c:v>
                </c:pt>
                <c:pt idx="10">
                  <c:v>0.76534485015050391</c:v>
                </c:pt>
                <c:pt idx="11">
                  <c:v>0.809331651954602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0F-4F58-A914-5187636E9B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axId val="454197832"/>
        <c:axId val="573333936"/>
      </c:barChart>
      <c:catAx>
        <c:axId val="45419783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/>
                  <a:t>Rok diagnózy</a:t>
                </a:r>
                <a:r>
                  <a:rPr lang="cs-CZ" baseline="0" dirty="0"/>
                  <a:t> dle NOR</a:t>
                </a:r>
                <a:endParaRPr lang="cs-CZ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73333936"/>
        <c:crosses val="autoZero"/>
        <c:auto val="1"/>
        <c:lblAlgn val="ctr"/>
        <c:lblOffset val="100"/>
        <c:noMultiLvlLbl val="0"/>
      </c:catAx>
      <c:valAx>
        <c:axId val="573333936"/>
        <c:scaling>
          <c:orientation val="minMax"/>
          <c:min val="0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541978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cs-CZ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250361500761521"/>
          <c:y val="0.10741931645121987"/>
          <c:w val="0.86246143004170095"/>
          <c:h val="0.723906573926013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kraj</c:v>
                </c:pt>
              </c:strCache>
            </c:strRef>
          </c:tx>
          <c:spPr>
            <a:solidFill>
              <a:sysClr val="window" lastClr="FFFFFF">
                <a:lumMod val="50000"/>
              </a:sysClr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Sheet1!$B$2:$B$13</c:f>
              <c:numCache>
                <c:formatCode>0.0%</c:formatCode>
                <c:ptCount val="12"/>
                <c:pt idx="0">
                  <c:v>4.7619047619047616E-2</c:v>
                </c:pt>
                <c:pt idx="1">
                  <c:v>0</c:v>
                </c:pt>
                <c:pt idx="2">
                  <c:v>0.42857142857142855</c:v>
                </c:pt>
                <c:pt idx="3">
                  <c:v>0.33333333333333331</c:v>
                </c:pt>
                <c:pt idx="4">
                  <c:v>0.36363636363636365</c:v>
                </c:pt>
                <c:pt idx="5">
                  <c:v>0.2857142857142857</c:v>
                </c:pt>
                <c:pt idx="6">
                  <c:v>0.41666666666666669</c:v>
                </c:pt>
                <c:pt idx="7">
                  <c:v>0.7142857142857143</c:v>
                </c:pt>
                <c:pt idx="8">
                  <c:v>0</c:v>
                </c:pt>
                <c:pt idx="9">
                  <c:v>0.54545454545454541</c:v>
                </c:pt>
                <c:pt idx="10">
                  <c:v>0.2</c:v>
                </c:pt>
                <c:pt idx="11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59-487A-8993-27DA4317F2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ČR</c:v>
                </c:pt>
              </c:strCache>
            </c:strRef>
          </c:tx>
          <c:spPr>
            <a:solidFill>
              <a:sysClr val="window" lastClr="FFFFFF">
                <a:lumMod val="75000"/>
              </a:sysClr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Sheet1!$C$2:$C$13</c:f>
              <c:numCache>
                <c:formatCode>0.0%</c:formatCode>
                <c:ptCount val="12"/>
                <c:pt idx="0">
                  <c:v>0.10928961748633879</c:v>
                </c:pt>
                <c:pt idx="1">
                  <c:v>0.22807017543859648</c:v>
                </c:pt>
                <c:pt idx="2">
                  <c:v>0.22272727272727272</c:v>
                </c:pt>
                <c:pt idx="3">
                  <c:v>0.52247191011235961</c:v>
                </c:pt>
                <c:pt idx="4">
                  <c:v>0.53809523809523807</c:v>
                </c:pt>
                <c:pt idx="5">
                  <c:v>0.43736263736263736</c:v>
                </c:pt>
                <c:pt idx="6">
                  <c:v>0.57374100719424459</c:v>
                </c:pt>
                <c:pt idx="7">
                  <c:v>0.54085603112840464</c:v>
                </c:pt>
                <c:pt idx="8">
                  <c:v>0.49327354260089684</c:v>
                </c:pt>
                <c:pt idx="9">
                  <c:v>0.63194444444444442</c:v>
                </c:pt>
                <c:pt idx="10">
                  <c:v>0.59011627906976749</c:v>
                </c:pt>
                <c:pt idx="11">
                  <c:v>0.578397212543554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159-487A-8993-27DA4317F2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54197832"/>
        <c:axId val="573333936"/>
      </c:barChart>
      <c:catAx>
        <c:axId val="4541978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73333936"/>
        <c:crosses val="autoZero"/>
        <c:auto val="1"/>
        <c:lblAlgn val="ctr"/>
        <c:lblOffset val="100"/>
        <c:noMultiLvlLbl val="0"/>
      </c:catAx>
      <c:valAx>
        <c:axId val="573333936"/>
        <c:scaling>
          <c:orientation val="minMax"/>
          <c:max val="1"/>
          <c:min val="0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54197832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cs-CZ"/>
    </a:p>
  </c:txPr>
  <c:externalData r:id="rId4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250361500761521"/>
          <c:y val="0.10741931645121987"/>
          <c:w val="0.86246143004170095"/>
          <c:h val="0.723906573926013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kraj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Sheet1!$B$2:$B$13</c:f>
              <c:numCache>
                <c:formatCode>0.0%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.11538461538461539</c:v>
                </c:pt>
                <c:pt idx="3">
                  <c:v>0.36363636363636365</c:v>
                </c:pt>
                <c:pt idx="4">
                  <c:v>0.375</c:v>
                </c:pt>
                <c:pt idx="5">
                  <c:v>0.28125</c:v>
                </c:pt>
                <c:pt idx="6">
                  <c:v>0.4</c:v>
                </c:pt>
                <c:pt idx="7">
                  <c:v>0.48484848484848486</c:v>
                </c:pt>
                <c:pt idx="8">
                  <c:v>0.55555555555555558</c:v>
                </c:pt>
                <c:pt idx="9">
                  <c:v>0.63888888888888884</c:v>
                </c:pt>
                <c:pt idx="10">
                  <c:v>0.48275862068965519</c:v>
                </c:pt>
                <c:pt idx="11">
                  <c:v>0.717948717948717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35-42C4-81CA-9E62B57FBB2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ČR</c:v>
                </c:pt>
              </c:strCache>
            </c:strRef>
          </c:tx>
          <c:spPr>
            <a:solidFill>
              <a:sysClr val="window" lastClr="FFFFFF">
                <a:lumMod val="75000"/>
              </a:sysClr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Sheet1!$C$2:$C$13</c:f>
              <c:numCache>
                <c:formatCode>0.0%</c:formatCode>
                <c:ptCount val="12"/>
                <c:pt idx="0">
                  <c:v>9.1796875E-2</c:v>
                </c:pt>
                <c:pt idx="1">
                  <c:v>0.16837782340862423</c:v>
                </c:pt>
                <c:pt idx="2">
                  <c:v>0.26849894291754756</c:v>
                </c:pt>
                <c:pt idx="3">
                  <c:v>0.29898989898989897</c:v>
                </c:pt>
                <c:pt idx="4">
                  <c:v>0.30232558139534882</c:v>
                </c:pt>
                <c:pt idx="5">
                  <c:v>0.33181818181818185</c:v>
                </c:pt>
                <c:pt idx="6">
                  <c:v>0.46650717703349281</c:v>
                </c:pt>
                <c:pt idx="7">
                  <c:v>0.50198412698412698</c:v>
                </c:pt>
                <c:pt idx="8">
                  <c:v>0.49896907216494846</c:v>
                </c:pt>
                <c:pt idx="9">
                  <c:v>0.53036437246963564</c:v>
                </c:pt>
                <c:pt idx="10">
                  <c:v>0.55711422845691383</c:v>
                </c:pt>
                <c:pt idx="11">
                  <c:v>0.628336755646817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335-42C4-81CA-9E62B57FBB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54197832"/>
        <c:axId val="573333936"/>
      </c:barChart>
      <c:catAx>
        <c:axId val="4541978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73333936"/>
        <c:crosses val="autoZero"/>
        <c:auto val="1"/>
        <c:lblAlgn val="ctr"/>
        <c:lblOffset val="100"/>
        <c:noMultiLvlLbl val="0"/>
      </c:catAx>
      <c:valAx>
        <c:axId val="573333936"/>
        <c:scaling>
          <c:orientation val="minMax"/>
          <c:max val="1"/>
          <c:min val="0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54197832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cs-CZ"/>
    </a:p>
  </c:txPr>
  <c:externalData r:id="rId4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250361500761521"/>
          <c:y val="0.10741931645121987"/>
          <c:w val="0.86246143004170095"/>
          <c:h val="0.723906573926013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kraj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Sheet1!$B$2:$B$13</c:f>
              <c:numCache>
                <c:formatCode>0.0%</c:formatCode>
                <c:ptCount val="12"/>
                <c:pt idx="0">
                  <c:v>0</c:v>
                </c:pt>
                <c:pt idx="1">
                  <c:v>0.05</c:v>
                </c:pt>
                <c:pt idx="2">
                  <c:v>0.17499999999999999</c:v>
                </c:pt>
                <c:pt idx="3">
                  <c:v>0.55102040816326525</c:v>
                </c:pt>
                <c:pt idx="4">
                  <c:v>0.56097560975609762</c:v>
                </c:pt>
                <c:pt idx="5">
                  <c:v>0.80434782608695654</c:v>
                </c:pt>
                <c:pt idx="6">
                  <c:v>0.73469387755102045</c:v>
                </c:pt>
                <c:pt idx="7">
                  <c:v>0.64102564102564108</c:v>
                </c:pt>
                <c:pt idx="8">
                  <c:v>0.77142857142857146</c:v>
                </c:pt>
                <c:pt idx="9">
                  <c:v>0.65789473684210531</c:v>
                </c:pt>
                <c:pt idx="10">
                  <c:v>0.76190476190476186</c:v>
                </c:pt>
                <c:pt idx="11">
                  <c:v>0.764705882352941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98-495E-9CEA-5FAD8A54DE7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ČR</c:v>
                </c:pt>
              </c:strCache>
            </c:strRef>
          </c:tx>
          <c:spPr>
            <a:solidFill>
              <a:sysClr val="window" lastClr="FFFFFF">
                <a:lumMod val="75000"/>
              </a:sysClr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Sheet1!$C$2:$C$13</c:f>
              <c:numCache>
                <c:formatCode>0.0%</c:formatCode>
                <c:ptCount val="12"/>
                <c:pt idx="0">
                  <c:v>0.20895522388059701</c:v>
                </c:pt>
                <c:pt idx="1">
                  <c:v>0.31021437578814626</c:v>
                </c:pt>
                <c:pt idx="2">
                  <c:v>0.35679012345679012</c:v>
                </c:pt>
                <c:pt idx="3">
                  <c:v>0.4156010230179028</c:v>
                </c:pt>
                <c:pt idx="4">
                  <c:v>0.44400000000000001</c:v>
                </c:pt>
                <c:pt idx="5">
                  <c:v>0.57530529172320222</c:v>
                </c:pt>
                <c:pt idx="6">
                  <c:v>0.58562691131498468</c:v>
                </c:pt>
                <c:pt idx="7">
                  <c:v>0.6681096681096681</c:v>
                </c:pt>
                <c:pt idx="8">
                  <c:v>0.66210045662100458</c:v>
                </c:pt>
                <c:pt idx="9">
                  <c:v>0.68279569892473113</c:v>
                </c:pt>
                <c:pt idx="10">
                  <c:v>0.71369863013698631</c:v>
                </c:pt>
                <c:pt idx="11">
                  <c:v>0.784044016506189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098-495E-9CEA-5FAD8A54DE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54197832"/>
        <c:axId val="573333936"/>
      </c:barChart>
      <c:catAx>
        <c:axId val="4541978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73333936"/>
        <c:crosses val="autoZero"/>
        <c:auto val="1"/>
        <c:lblAlgn val="ctr"/>
        <c:lblOffset val="100"/>
        <c:noMultiLvlLbl val="0"/>
      </c:catAx>
      <c:valAx>
        <c:axId val="573333936"/>
        <c:scaling>
          <c:orientation val="minMax"/>
          <c:max val="1"/>
          <c:min val="0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54197832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cs-CZ"/>
    </a:p>
  </c:txPr>
  <c:externalData r:id="rId4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250361500761521"/>
          <c:y val="0.10741931645121987"/>
          <c:w val="0.86246143004170095"/>
          <c:h val="0.723906573926013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kraj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Sheet1!$B$2:$B$13</c:f>
              <c:numCache>
                <c:formatCode>0.0%</c:formatCode>
                <c:ptCount val="12"/>
                <c:pt idx="0">
                  <c:v>5.2631578947368418E-2</c:v>
                </c:pt>
                <c:pt idx="1">
                  <c:v>4.6875E-2</c:v>
                </c:pt>
                <c:pt idx="2">
                  <c:v>0.22480620155038761</c:v>
                </c:pt>
                <c:pt idx="3">
                  <c:v>0.64220183486238536</c:v>
                </c:pt>
                <c:pt idx="4">
                  <c:v>0.5714285714285714</c:v>
                </c:pt>
                <c:pt idx="5">
                  <c:v>0.625</c:v>
                </c:pt>
                <c:pt idx="6">
                  <c:v>0.76851851851851849</c:v>
                </c:pt>
                <c:pt idx="7">
                  <c:v>0.6696428571428571</c:v>
                </c:pt>
                <c:pt idx="8">
                  <c:v>0.80645161290322576</c:v>
                </c:pt>
                <c:pt idx="9">
                  <c:v>0.734375</c:v>
                </c:pt>
                <c:pt idx="10">
                  <c:v>0.76571428571428568</c:v>
                </c:pt>
                <c:pt idx="11">
                  <c:v>0.801369863013698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FC-427C-B853-E98F5FE566D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ČR</c:v>
                </c:pt>
              </c:strCache>
            </c:strRef>
          </c:tx>
          <c:spPr>
            <a:solidFill>
              <a:sysClr val="window" lastClr="FFFFFF">
                <a:lumMod val="75000"/>
              </a:sysClr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Sheet1!$C$2:$C$13</c:f>
              <c:numCache>
                <c:formatCode>0.0%</c:formatCode>
                <c:ptCount val="12"/>
                <c:pt idx="0">
                  <c:v>0.20008972633467922</c:v>
                </c:pt>
                <c:pt idx="1">
                  <c:v>0.29141104294478526</c:v>
                </c:pt>
                <c:pt idx="2">
                  <c:v>0.38606741573033709</c:v>
                </c:pt>
                <c:pt idx="3">
                  <c:v>0.46251129177958444</c:v>
                </c:pt>
                <c:pt idx="4">
                  <c:v>0.49612403100775193</c:v>
                </c:pt>
                <c:pt idx="5">
                  <c:v>0.607176581680831</c:v>
                </c:pt>
                <c:pt idx="6">
                  <c:v>0.7060505002382087</c:v>
                </c:pt>
                <c:pt idx="7">
                  <c:v>0.74914529914529915</c:v>
                </c:pt>
                <c:pt idx="8">
                  <c:v>0.74978127734033251</c:v>
                </c:pt>
                <c:pt idx="9">
                  <c:v>0.76265418970650789</c:v>
                </c:pt>
                <c:pt idx="10">
                  <c:v>0.78609846917666526</c:v>
                </c:pt>
                <c:pt idx="11">
                  <c:v>0.837606837606837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EFC-427C-B853-E98F5FE566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54197832"/>
        <c:axId val="573333936"/>
      </c:barChart>
      <c:catAx>
        <c:axId val="4541978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73333936"/>
        <c:crosses val="autoZero"/>
        <c:auto val="1"/>
        <c:lblAlgn val="ctr"/>
        <c:lblOffset val="100"/>
        <c:noMultiLvlLbl val="0"/>
      </c:catAx>
      <c:valAx>
        <c:axId val="573333936"/>
        <c:scaling>
          <c:orientation val="minMax"/>
          <c:max val="1"/>
          <c:min val="0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54197832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cs-CZ"/>
    </a:p>
  </c:txPr>
  <c:externalData r:id="rId4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250361500761521"/>
          <c:y val="0.10741931645121987"/>
          <c:w val="0.86246143004170095"/>
          <c:h val="0.723906573926013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kraj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Sheet1!$B$2:$B$13</c:f>
              <c:numCache>
                <c:formatCode>0.0%</c:formatCode>
                <c:ptCount val="12"/>
                <c:pt idx="0">
                  <c:v>6.9444444444444441E-3</c:v>
                </c:pt>
                <c:pt idx="1">
                  <c:v>3.9215686274509803E-2</c:v>
                </c:pt>
                <c:pt idx="2">
                  <c:v>0.30890052356020942</c:v>
                </c:pt>
                <c:pt idx="3">
                  <c:v>0.57333333333333336</c:v>
                </c:pt>
                <c:pt idx="4">
                  <c:v>0.68108108108108112</c:v>
                </c:pt>
                <c:pt idx="5">
                  <c:v>0.66081871345029242</c:v>
                </c:pt>
                <c:pt idx="6">
                  <c:v>0.6333333333333333</c:v>
                </c:pt>
                <c:pt idx="7">
                  <c:v>0.75</c:v>
                </c:pt>
                <c:pt idx="8">
                  <c:v>0.77011494252873558</c:v>
                </c:pt>
                <c:pt idx="9">
                  <c:v>0.77889447236180909</c:v>
                </c:pt>
                <c:pt idx="10">
                  <c:v>0.74137931034482762</c:v>
                </c:pt>
                <c:pt idx="11">
                  <c:v>0.752650176678445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29-46A2-A117-779CC24A816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ČR</c:v>
                </c:pt>
              </c:strCache>
            </c:strRef>
          </c:tx>
          <c:spPr>
            <a:solidFill>
              <a:sysClr val="window" lastClr="FFFFFF">
                <a:lumMod val="75000"/>
              </a:sysClr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Sheet1!$C$2:$C$13</c:f>
              <c:numCache>
                <c:formatCode>0.0%</c:formatCode>
                <c:ptCount val="12"/>
                <c:pt idx="0">
                  <c:v>0.21698717948717949</c:v>
                </c:pt>
                <c:pt idx="1">
                  <c:v>0.31929824561403508</c:v>
                </c:pt>
                <c:pt idx="2">
                  <c:v>0.40794544915505487</c:v>
                </c:pt>
                <c:pt idx="3">
                  <c:v>0.48313253012048191</c:v>
                </c:pt>
                <c:pt idx="4">
                  <c:v>0.51833670228125905</c:v>
                </c:pt>
                <c:pt idx="5">
                  <c:v>0.63516230968112608</c:v>
                </c:pt>
                <c:pt idx="6">
                  <c:v>0.71105896157230863</c:v>
                </c:pt>
                <c:pt idx="7">
                  <c:v>0.76006528835690967</c:v>
                </c:pt>
                <c:pt idx="8">
                  <c:v>0.77538370720188898</c:v>
                </c:pt>
                <c:pt idx="9">
                  <c:v>0.78450430435990004</c:v>
                </c:pt>
                <c:pt idx="10">
                  <c:v>0.8062700964630225</c:v>
                </c:pt>
                <c:pt idx="11">
                  <c:v>0.833415354330708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0FB-4F9D-B7CC-0C1E50BB7B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54197832"/>
        <c:axId val="573333936"/>
      </c:barChart>
      <c:catAx>
        <c:axId val="4541978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73333936"/>
        <c:crosses val="autoZero"/>
        <c:auto val="1"/>
        <c:lblAlgn val="ctr"/>
        <c:lblOffset val="100"/>
        <c:noMultiLvlLbl val="0"/>
      </c:catAx>
      <c:valAx>
        <c:axId val="573333936"/>
        <c:scaling>
          <c:orientation val="minMax"/>
          <c:max val="1"/>
          <c:min val="0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54197832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cs-CZ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193321616871705"/>
          <c:y val="6.4837905236907731E-2"/>
          <c:w val="0.87873462214411246"/>
          <c:h val="0.80049875311720697"/>
        </c:manualLayout>
      </c:layout>
      <c:areaChart>
        <c:grouping val="stacked"/>
        <c:varyColors val="0"/>
        <c:ser>
          <c:idx val="5"/>
          <c:order val="0"/>
          <c:tx>
            <c:strRef>
              <c:f>Sheet1!$A$2</c:f>
              <c:strCache>
                <c:ptCount val="1"/>
                <c:pt idx="0">
                  <c:v>min</c:v>
                </c:pt>
              </c:strCache>
            </c:strRef>
          </c:tx>
          <c:spPr>
            <a:noFill/>
            <a:ln w="25401">
              <a:noFill/>
            </a:ln>
          </c:spPr>
          <c:cat>
            <c:numRef>
              <c:f>Sheet1!$B$1:$AV$1</c:f>
              <c:numCache>
                <c:formatCode>General</c:formatCode>
                <c:ptCount val="47"/>
                <c:pt idx="0">
                  <c:v>1977</c:v>
                </c:pt>
                <c:pt idx="1">
                  <c:v>1978</c:v>
                </c:pt>
                <c:pt idx="2">
                  <c:v>1979</c:v>
                </c:pt>
                <c:pt idx="3">
                  <c:v>1980</c:v>
                </c:pt>
                <c:pt idx="4">
                  <c:v>1981</c:v>
                </c:pt>
                <c:pt idx="5">
                  <c:v>1982</c:v>
                </c:pt>
                <c:pt idx="6">
                  <c:v>1983</c:v>
                </c:pt>
                <c:pt idx="7">
                  <c:v>1984</c:v>
                </c:pt>
                <c:pt idx="8">
                  <c:v>1985</c:v>
                </c:pt>
                <c:pt idx="9">
                  <c:v>1986</c:v>
                </c:pt>
                <c:pt idx="10">
                  <c:v>1987</c:v>
                </c:pt>
                <c:pt idx="11">
                  <c:v>1988</c:v>
                </c:pt>
                <c:pt idx="12">
                  <c:v>1989</c:v>
                </c:pt>
                <c:pt idx="13">
                  <c:v>1990</c:v>
                </c:pt>
                <c:pt idx="14">
                  <c:v>1991</c:v>
                </c:pt>
                <c:pt idx="15">
                  <c:v>1992</c:v>
                </c:pt>
                <c:pt idx="16">
                  <c:v>1993</c:v>
                </c:pt>
                <c:pt idx="17">
                  <c:v>1994</c:v>
                </c:pt>
                <c:pt idx="18">
                  <c:v>1995</c:v>
                </c:pt>
                <c:pt idx="19">
                  <c:v>1996</c:v>
                </c:pt>
                <c:pt idx="20">
                  <c:v>1997</c:v>
                </c:pt>
                <c:pt idx="21">
                  <c:v>1998</c:v>
                </c:pt>
                <c:pt idx="22">
                  <c:v>1999</c:v>
                </c:pt>
                <c:pt idx="23">
                  <c:v>2000</c:v>
                </c:pt>
                <c:pt idx="24">
                  <c:v>2001</c:v>
                </c:pt>
                <c:pt idx="25">
                  <c:v>2002</c:v>
                </c:pt>
                <c:pt idx="26">
                  <c:v>2003</c:v>
                </c:pt>
                <c:pt idx="27">
                  <c:v>2004</c:v>
                </c:pt>
                <c:pt idx="28">
                  <c:v>2005</c:v>
                </c:pt>
                <c:pt idx="29">
                  <c:v>2006</c:v>
                </c:pt>
                <c:pt idx="30">
                  <c:v>2007</c:v>
                </c:pt>
                <c:pt idx="31">
                  <c:v>2008</c:v>
                </c:pt>
                <c:pt idx="32">
                  <c:v>2009</c:v>
                </c:pt>
                <c:pt idx="33">
                  <c:v>2010</c:v>
                </c:pt>
                <c:pt idx="34">
                  <c:v>2011</c:v>
                </c:pt>
                <c:pt idx="35">
                  <c:v>2012</c:v>
                </c:pt>
                <c:pt idx="36">
                  <c:v>2013</c:v>
                </c:pt>
                <c:pt idx="37">
                  <c:v>2014</c:v>
                </c:pt>
                <c:pt idx="38">
                  <c:v>2015</c:v>
                </c:pt>
                <c:pt idx="39">
                  <c:v>2016</c:v>
                </c:pt>
                <c:pt idx="40">
                  <c:v>2017</c:v>
                </c:pt>
                <c:pt idx="41">
                  <c:v>2018</c:v>
                </c:pt>
                <c:pt idx="42">
                  <c:v>2019</c:v>
                </c:pt>
                <c:pt idx="43">
                  <c:v>2020</c:v>
                </c:pt>
                <c:pt idx="44">
                  <c:v>2021</c:v>
                </c:pt>
                <c:pt idx="45">
                  <c:v>2022</c:v>
                </c:pt>
                <c:pt idx="46">
                  <c:v>2023</c:v>
                </c:pt>
              </c:numCache>
            </c:numRef>
          </c:cat>
          <c:val>
            <c:numRef>
              <c:f>Sheet1!$B$2:$AV$2</c:f>
              <c:numCache>
                <c:formatCode>General</c:formatCode>
                <c:ptCount val="47"/>
                <c:pt idx="0">
                  <c:v>39.902520000000003</c:v>
                </c:pt>
                <c:pt idx="1">
                  <c:v>38.04439</c:v>
                </c:pt>
                <c:pt idx="2">
                  <c:v>34.87923</c:v>
                </c:pt>
                <c:pt idx="3">
                  <c:v>37.389470000000003</c:v>
                </c:pt>
                <c:pt idx="4">
                  <c:v>40.566409999999998</c:v>
                </c:pt>
                <c:pt idx="5">
                  <c:v>43.175699999999999</c:v>
                </c:pt>
                <c:pt idx="6">
                  <c:v>41.976460000000003</c:v>
                </c:pt>
                <c:pt idx="7">
                  <c:v>41.394159999999999</c:v>
                </c:pt>
                <c:pt idx="8">
                  <c:v>42.741370000000003</c:v>
                </c:pt>
                <c:pt idx="9">
                  <c:v>51.913849999999996</c:v>
                </c:pt>
                <c:pt idx="10">
                  <c:v>50.819989999999997</c:v>
                </c:pt>
                <c:pt idx="11">
                  <c:v>53.403039999999997</c:v>
                </c:pt>
                <c:pt idx="12">
                  <c:v>52.430280000000003</c:v>
                </c:pt>
                <c:pt idx="13">
                  <c:v>50.439689999999999</c:v>
                </c:pt>
                <c:pt idx="14">
                  <c:v>59.4148</c:v>
                </c:pt>
                <c:pt idx="15">
                  <c:v>61.22343</c:v>
                </c:pt>
                <c:pt idx="16">
                  <c:v>67.563400000000001</c:v>
                </c:pt>
                <c:pt idx="17">
                  <c:v>69.432050000000004</c:v>
                </c:pt>
                <c:pt idx="18">
                  <c:v>71.270189999999999</c:v>
                </c:pt>
                <c:pt idx="19">
                  <c:v>67.567570000000003</c:v>
                </c:pt>
                <c:pt idx="20">
                  <c:v>70.659630000000007</c:v>
                </c:pt>
                <c:pt idx="21">
                  <c:v>69.581000000000003</c:v>
                </c:pt>
                <c:pt idx="22">
                  <c:v>79.010249999999999</c:v>
                </c:pt>
                <c:pt idx="23">
                  <c:v>73.610600000000005</c:v>
                </c:pt>
                <c:pt idx="24">
                  <c:v>81.278260000000003</c:v>
                </c:pt>
                <c:pt idx="25">
                  <c:v>95.744519999999994</c:v>
                </c:pt>
                <c:pt idx="26">
                  <c:v>97.323750000000004</c:v>
                </c:pt>
                <c:pt idx="27">
                  <c:v>90.885069999999999</c:v>
                </c:pt>
                <c:pt idx="28">
                  <c:v>95.446680000000001</c:v>
                </c:pt>
                <c:pt idx="29">
                  <c:v>99.174869999999999</c:v>
                </c:pt>
                <c:pt idx="30">
                  <c:v>109.5556</c:v>
                </c:pt>
                <c:pt idx="31">
                  <c:v>103.2817</c:v>
                </c:pt>
                <c:pt idx="32">
                  <c:v>98.232129999999998</c:v>
                </c:pt>
                <c:pt idx="33">
                  <c:v>110.00830000000001</c:v>
                </c:pt>
                <c:pt idx="34">
                  <c:v>112.50149999999999</c:v>
                </c:pt>
                <c:pt idx="35">
                  <c:v>102.1874</c:v>
                </c:pt>
                <c:pt idx="36">
                  <c:v>115.5489</c:v>
                </c:pt>
                <c:pt idx="37">
                  <c:v>122.2694</c:v>
                </c:pt>
                <c:pt idx="38">
                  <c:v>108.92</c:v>
                </c:pt>
                <c:pt idx="39">
                  <c:v>120.5513</c:v>
                </c:pt>
                <c:pt idx="40">
                  <c:v>118.8917</c:v>
                </c:pt>
                <c:pt idx="41">
                  <c:v>118.685</c:v>
                </c:pt>
                <c:pt idx="42">
                  <c:v>125.15219999999999</c:v>
                </c:pt>
                <c:pt idx="43">
                  <c:v>106.1564</c:v>
                </c:pt>
                <c:pt idx="44">
                  <c:v>121.15389999999999</c:v>
                </c:pt>
                <c:pt idx="45">
                  <c:v>128.0292</c:v>
                </c:pt>
                <c:pt idx="46">
                  <c:v>133.5122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FDD-4191-A44E-6DDA4A55BD78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hranice max</c:v>
                </c:pt>
              </c:strCache>
            </c:strRef>
          </c:tx>
          <c:spPr>
            <a:solidFill>
              <a:srgbClr val="CC9900">
                <a:alpha val="30000"/>
              </a:srgbClr>
            </a:solidFill>
            <a:ln w="25401">
              <a:noFill/>
            </a:ln>
          </c:spPr>
          <c:cat>
            <c:numRef>
              <c:f>Sheet1!$B$1:$AV$1</c:f>
              <c:numCache>
                <c:formatCode>General</c:formatCode>
                <c:ptCount val="47"/>
                <c:pt idx="0">
                  <c:v>1977</c:v>
                </c:pt>
                <c:pt idx="1">
                  <c:v>1978</c:v>
                </c:pt>
                <c:pt idx="2">
                  <c:v>1979</c:v>
                </c:pt>
                <c:pt idx="3">
                  <c:v>1980</c:v>
                </c:pt>
                <c:pt idx="4">
                  <c:v>1981</c:v>
                </c:pt>
                <c:pt idx="5">
                  <c:v>1982</c:v>
                </c:pt>
                <c:pt idx="6">
                  <c:v>1983</c:v>
                </c:pt>
                <c:pt idx="7">
                  <c:v>1984</c:v>
                </c:pt>
                <c:pt idx="8">
                  <c:v>1985</c:v>
                </c:pt>
                <c:pt idx="9">
                  <c:v>1986</c:v>
                </c:pt>
                <c:pt idx="10">
                  <c:v>1987</c:v>
                </c:pt>
                <c:pt idx="11">
                  <c:v>1988</c:v>
                </c:pt>
                <c:pt idx="12">
                  <c:v>1989</c:v>
                </c:pt>
                <c:pt idx="13">
                  <c:v>1990</c:v>
                </c:pt>
                <c:pt idx="14">
                  <c:v>1991</c:v>
                </c:pt>
                <c:pt idx="15">
                  <c:v>1992</c:v>
                </c:pt>
                <c:pt idx="16">
                  <c:v>1993</c:v>
                </c:pt>
                <c:pt idx="17">
                  <c:v>1994</c:v>
                </c:pt>
                <c:pt idx="18">
                  <c:v>1995</c:v>
                </c:pt>
                <c:pt idx="19">
                  <c:v>1996</c:v>
                </c:pt>
                <c:pt idx="20">
                  <c:v>1997</c:v>
                </c:pt>
                <c:pt idx="21">
                  <c:v>1998</c:v>
                </c:pt>
                <c:pt idx="22">
                  <c:v>1999</c:v>
                </c:pt>
                <c:pt idx="23">
                  <c:v>2000</c:v>
                </c:pt>
                <c:pt idx="24">
                  <c:v>2001</c:v>
                </c:pt>
                <c:pt idx="25">
                  <c:v>2002</c:v>
                </c:pt>
                <c:pt idx="26">
                  <c:v>2003</c:v>
                </c:pt>
                <c:pt idx="27">
                  <c:v>2004</c:v>
                </c:pt>
                <c:pt idx="28">
                  <c:v>2005</c:v>
                </c:pt>
                <c:pt idx="29">
                  <c:v>2006</c:v>
                </c:pt>
                <c:pt idx="30">
                  <c:v>2007</c:v>
                </c:pt>
                <c:pt idx="31">
                  <c:v>2008</c:v>
                </c:pt>
                <c:pt idx="32">
                  <c:v>2009</c:v>
                </c:pt>
                <c:pt idx="33">
                  <c:v>2010</c:v>
                </c:pt>
                <c:pt idx="34">
                  <c:v>2011</c:v>
                </c:pt>
                <c:pt idx="35">
                  <c:v>2012</c:v>
                </c:pt>
                <c:pt idx="36">
                  <c:v>2013</c:v>
                </c:pt>
                <c:pt idx="37">
                  <c:v>2014</c:v>
                </c:pt>
                <c:pt idx="38">
                  <c:v>2015</c:v>
                </c:pt>
                <c:pt idx="39">
                  <c:v>2016</c:v>
                </c:pt>
                <c:pt idx="40">
                  <c:v>2017</c:v>
                </c:pt>
                <c:pt idx="41">
                  <c:v>2018</c:v>
                </c:pt>
                <c:pt idx="42">
                  <c:v>2019</c:v>
                </c:pt>
                <c:pt idx="43">
                  <c:v>2020</c:v>
                </c:pt>
                <c:pt idx="44">
                  <c:v>2021</c:v>
                </c:pt>
                <c:pt idx="45">
                  <c:v>2022</c:v>
                </c:pt>
                <c:pt idx="46">
                  <c:v>2023</c:v>
                </c:pt>
              </c:numCache>
            </c:numRef>
          </c:cat>
          <c:val>
            <c:numRef>
              <c:f>Sheet1!$B$3:$AV$3</c:f>
              <c:numCache>
                <c:formatCode>General</c:formatCode>
                <c:ptCount val="47"/>
                <c:pt idx="0">
                  <c:v>40.14472</c:v>
                </c:pt>
                <c:pt idx="1">
                  <c:v>40.08222</c:v>
                </c:pt>
                <c:pt idx="2">
                  <c:v>46.308320000000002</c:v>
                </c:pt>
                <c:pt idx="3">
                  <c:v>41.98565</c:v>
                </c:pt>
                <c:pt idx="4">
                  <c:v>42.158110000000001</c:v>
                </c:pt>
                <c:pt idx="5">
                  <c:v>32.409730000000003</c:v>
                </c:pt>
                <c:pt idx="6">
                  <c:v>40.913559999999997</c:v>
                </c:pt>
                <c:pt idx="7">
                  <c:v>49.222020000000001</c:v>
                </c:pt>
                <c:pt idx="8">
                  <c:v>39.321260000000002</c:v>
                </c:pt>
                <c:pt idx="9">
                  <c:v>31.007750000000001</c:v>
                </c:pt>
                <c:pt idx="10">
                  <c:v>37.723770000000002</c:v>
                </c:pt>
                <c:pt idx="11">
                  <c:v>33.561340000000001</c:v>
                </c:pt>
                <c:pt idx="12">
                  <c:v>41.884430000000002</c:v>
                </c:pt>
                <c:pt idx="13">
                  <c:v>44.287280000000003</c:v>
                </c:pt>
                <c:pt idx="14">
                  <c:v>38.226750000000003</c:v>
                </c:pt>
                <c:pt idx="15">
                  <c:v>37.104990000000001</c:v>
                </c:pt>
                <c:pt idx="16">
                  <c:v>32.970610000000001</c:v>
                </c:pt>
                <c:pt idx="17">
                  <c:v>34.998640000000002</c:v>
                </c:pt>
                <c:pt idx="18">
                  <c:v>35.159930000000003</c:v>
                </c:pt>
                <c:pt idx="19">
                  <c:v>37.712769999999999</c:v>
                </c:pt>
                <c:pt idx="20">
                  <c:v>32.681739999999998</c:v>
                </c:pt>
                <c:pt idx="21">
                  <c:v>35.967089999999999</c:v>
                </c:pt>
                <c:pt idx="22">
                  <c:v>43.337029999999999</c:v>
                </c:pt>
                <c:pt idx="23">
                  <c:v>49.949599999999997</c:v>
                </c:pt>
                <c:pt idx="24">
                  <c:v>53.334960000000002</c:v>
                </c:pt>
                <c:pt idx="25">
                  <c:v>42.920780000000001</c:v>
                </c:pt>
                <c:pt idx="26">
                  <c:v>50.249009999999998</c:v>
                </c:pt>
                <c:pt idx="27">
                  <c:v>43.745049999999999</c:v>
                </c:pt>
                <c:pt idx="28">
                  <c:v>39.633560000000003</c:v>
                </c:pt>
                <c:pt idx="29">
                  <c:v>38.895530000000001</c:v>
                </c:pt>
                <c:pt idx="30">
                  <c:v>38.931199999999997</c:v>
                </c:pt>
                <c:pt idx="31">
                  <c:v>49.590350000000001</c:v>
                </c:pt>
                <c:pt idx="32">
                  <c:v>45.356169999999999</c:v>
                </c:pt>
                <c:pt idx="33">
                  <c:v>37.874890000000001</c:v>
                </c:pt>
                <c:pt idx="34">
                  <c:v>33.773269999999997</c:v>
                </c:pt>
                <c:pt idx="35">
                  <c:v>51.074069999999999</c:v>
                </c:pt>
                <c:pt idx="36">
                  <c:v>41.149549999999998</c:v>
                </c:pt>
                <c:pt idx="37">
                  <c:v>34.475529999999999</c:v>
                </c:pt>
                <c:pt idx="38">
                  <c:v>49.308100000000003</c:v>
                </c:pt>
                <c:pt idx="39">
                  <c:v>34.537979999999997</c:v>
                </c:pt>
                <c:pt idx="40">
                  <c:v>40.194659999999999</c:v>
                </c:pt>
                <c:pt idx="41">
                  <c:v>40.049990000000001</c:v>
                </c:pt>
                <c:pt idx="42">
                  <c:v>29.863769999999999</c:v>
                </c:pt>
                <c:pt idx="43">
                  <c:v>39.823779999999999</c:v>
                </c:pt>
                <c:pt idx="44">
                  <c:v>42.837769999999999</c:v>
                </c:pt>
                <c:pt idx="45">
                  <c:v>29.624130000000001</c:v>
                </c:pt>
                <c:pt idx="46">
                  <c:v>34.55084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FDD-4191-A44E-6DDA4A55BD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7724760"/>
        <c:axId val="1"/>
      </c:areaChart>
      <c:lineChart>
        <c:grouping val="standard"/>
        <c:varyColors val="0"/>
        <c:ser>
          <c:idx val="2"/>
          <c:order val="2"/>
          <c:tx>
            <c:strRef>
              <c:f>Sheet1!$A$4</c:f>
              <c:strCache>
                <c:ptCount val="1"/>
                <c:pt idx="0">
                  <c:v>ČR</c:v>
                </c:pt>
              </c:strCache>
            </c:strRef>
          </c:tx>
          <c:spPr>
            <a:ln w="25401">
              <a:solidFill>
                <a:srgbClr val="CC9900"/>
              </a:solidFill>
              <a:prstDash val="solid"/>
            </a:ln>
          </c:spPr>
          <c:marker>
            <c:symbol val="none"/>
          </c:marker>
          <c:cat>
            <c:numRef>
              <c:f>Sheet1!$B$1:$AV$1</c:f>
              <c:numCache>
                <c:formatCode>General</c:formatCode>
                <c:ptCount val="47"/>
                <c:pt idx="0">
                  <c:v>1977</c:v>
                </c:pt>
                <c:pt idx="1">
                  <c:v>1978</c:v>
                </c:pt>
                <c:pt idx="2">
                  <c:v>1979</c:v>
                </c:pt>
                <c:pt idx="3">
                  <c:v>1980</c:v>
                </c:pt>
                <c:pt idx="4">
                  <c:v>1981</c:v>
                </c:pt>
                <c:pt idx="5">
                  <c:v>1982</c:v>
                </c:pt>
                <c:pt idx="6">
                  <c:v>1983</c:v>
                </c:pt>
                <c:pt idx="7">
                  <c:v>1984</c:v>
                </c:pt>
                <c:pt idx="8">
                  <c:v>1985</c:v>
                </c:pt>
                <c:pt idx="9">
                  <c:v>1986</c:v>
                </c:pt>
                <c:pt idx="10">
                  <c:v>1987</c:v>
                </c:pt>
                <c:pt idx="11">
                  <c:v>1988</c:v>
                </c:pt>
                <c:pt idx="12">
                  <c:v>1989</c:v>
                </c:pt>
                <c:pt idx="13">
                  <c:v>1990</c:v>
                </c:pt>
                <c:pt idx="14">
                  <c:v>1991</c:v>
                </c:pt>
                <c:pt idx="15">
                  <c:v>1992</c:v>
                </c:pt>
                <c:pt idx="16">
                  <c:v>1993</c:v>
                </c:pt>
                <c:pt idx="17">
                  <c:v>1994</c:v>
                </c:pt>
                <c:pt idx="18">
                  <c:v>1995</c:v>
                </c:pt>
                <c:pt idx="19">
                  <c:v>1996</c:v>
                </c:pt>
                <c:pt idx="20">
                  <c:v>1997</c:v>
                </c:pt>
                <c:pt idx="21">
                  <c:v>1998</c:v>
                </c:pt>
                <c:pt idx="22">
                  <c:v>1999</c:v>
                </c:pt>
                <c:pt idx="23">
                  <c:v>2000</c:v>
                </c:pt>
                <c:pt idx="24">
                  <c:v>2001</c:v>
                </c:pt>
                <c:pt idx="25">
                  <c:v>2002</c:v>
                </c:pt>
                <c:pt idx="26">
                  <c:v>2003</c:v>
                </c:pt>
                <c:pt idx="27">
                  <c:v>2004</c:v>
                </c:pt>
                <c:pt idx="28">
                  <c:v>2005</c:v>
                </c:pt>
                <c:pt idx="29">
                  <c:v>2006</c:v>
                </c:pt>
                <c:pt idx="30">
                  <c:v>2007</c:v>
                </c:pt>
                <c:pt idx="31">
                  <c:v>2008</c:v>
                </c:pt>
                <c:pt idx="32">
                  <c:v>2009</c:v>
                </c:pt>
                <c:pt idx="33">
                  <c:v>2010</c:v>
                </c:pt>
                <c:pt idx="34">
                  <c:v>2011</c:v>
                </c:pt>
                <c:pt idx="35">
                  <c:v>2012</c:v>
                </c:pt>
                <c:pt idx="36">
                  <c:v>2013</c:v>
                </c:pt>
                <c:pt idx="37">
                  <c:v>2014</c:v>
                </c:pt>
                <c:pt idx="38">
                  <c:v>2015</c:v>
                </c:pt>
                <c:pt idx="39">
                  <c:v>2016</c:v>
                </c:pt>
                <c:pt idx="40">
                  <c:v>2017</c:v>
                </c:pt>
                <c:pt idx="41">
                  <c:v>2018</c:v>
                </c:pt>
                <c:pt idx="42">
                  <c:v>2019</c:v>
                </c:pt>
                <c:pt idx="43">
                  <c:v>2020</c:v>
                </c:pt>
                <c:pt idx="44">
                  <c:v>2021</c:v>
                </c:pt>
                <c:pt idx="45">
                  <c:v>2022</c:v>
                </c:pt>
                <c:pt idx="46">
                  <c:v>2023</c:v>
                </c:pt>
              </c:numCache>
            </c:numRef>
          </c:cat>
          <c:val>
            <c:numRef>
              <c:f>Sheet1!$B$4:$AV$4</c:f>
              <c:numCache>
                <c:formatCode>General</c:formatCode>
                <c:ptCount val="47"/>
                <c:pt idx="0">
                  <c:v>53.589480000000002</c:v>
                </c:pt>
                <c:pt idx="1">
                  <c:v>52.263770000000001</c:v>
                </c:pt>
                <c:pt idx="2">
                  <c:v>52.269030000000001</c:v>
                </c:pt>
                <c:pt idx="3">
                  <c:v>53.257620000000003</c:v>
                </c:pt>
                <c:pt idx="4">
                  <c:v>55.621510000000001</c:v>
                </c:pt>
                <c:pt idx="5">
                  <c:v>57.426729999999999</c:v>
                </c:pt>
                <c:pt idx="6">
                  <c:v>56.794800000000002</c:v>
                </c:pt>
                <c:pt idx="7">
                  <c:v>60.323560000000001</c:v>
                </c:pt>
                <c:pt idx="8">
                  <c:v>58.799500000000002</c:v>
                </c:pt>
                <c:pt idx="9">
                  <c:v>60.80986</c:v>
                </c:pt>
                <c:pt idx="10">
                  <c:v>66.976039999999998</c:v>
                </c:pt>
                <c:pt idx="11">
                  <c:v>63.31908</c:v>
                </c:pt>
                <c:pt idx="12">
                  <c:v>66.848190000000002</c:v>
                </c:pt>
                <c:pt idx="13">
                  <c:v>65.486930000000001</c:v>
                </c:pt>
                <c:pt idx="14">
                  <c:v>72.647350000000003</c:v>
                </c:pt>
                <c:pt idx="15">
                  <c:v>76.385800000000003</c:v>
                </c:pt>
                <c:pt idx="16">
                  <c:v>78.872230000000002</c:v>
                </c:pt>
                <c:pt idx="17">
                  <c:v>87.454660000000004</c:v>
                </c:pt>
                <c:pt idx="18">
                  <c:v>86.656940000000006</c:v>
                </c:pt>
                <c:pt idx="19">
                  <c:v>86.460509999999999</c:v>
                </c:pt>
                <c:pt idx="20">
                  <c:v>87.169910000000002</c:v>
                </c:pt>
                <c:pt idx="21">
                  <c:v>90.043180000000007</c:v>
                </c:pt>
                <c:pt idx="22">
                  <c:v>97.178749999999994</c:v>
                </c:pt>
                <c:pt idx="23">
                  <c:v>95.293599999999998</c:v>
                </c:pt>
                <c:pt idx="24">
                  <c:v>100.7008</c:v>
                </c:pt>
                <c:pt idx="25">
                  <c:v>106.52809999999999</c:v>
                </c:pt>
                <c:pt idx="26">
                  <c:v>114.1692</c:v>
                </c:pt>
                <c:pt idx="27">
                  <c:v>110.82689999999999</c:v>
                </c:pt>
                <c:pt idx="28">
                  <c:v>109.5819</c:v>
                </c:pt>
                <c:pt idx="29">
                  <c:v>115.0829</c:v>
                </c:pt>
                <c:pt idx="30">
                  <c:v>127.6092</c:v>
                </c:pt>
                <c:pt idx="31">
                  <c:v>123.5056</c:v>
                </c:pt>
                <c:pt idx="32">
                  <c:v>114.99760000000001</c:v>
                </c:pt>
                <c:pt idx="33">
                  <c:v>125.10120000000001</c:v>
                </c:pt>
                <c:pt idx="34">
                  <c:v>125.6254</c:v>
                </c:pt>
                <c:pt idx="35">
                  <c:v>130.32</c:v>
                </c:pt>
                <c:pt idx="36">
                  <c:v>136.24719999999999</c:v>
                </c:pt>
                <c:pt idx="37">
                  <c:v>133.95230000000001</c:v>
                </c:pt>
                <c:pt idx="38">
                  <c:v>134.988</c:v>
                </c:pt>
                <c:pt idx="39">
                  <c:v>137.0556</c:v>
                </c:pt>
                <c:pt idx="40">
                  <c:v>135.78720000000001</c:v>
                </c:pt>
                <c:pt idx="41">
                  <c:v>134.15350000000001</c:v>
                </c:pt>
                <c:pt idx="42">
                  <c:v>140.65690000000001</c:v>
                </c:pt>
                <c:pt idx="43">
                  <c:v>131.47819999999999</c:v>
                </c:pt>
                <c:pt idx="44">
                  <c:v>145.2817</c:v>
                </c:pt>
                <c:pt idx="45">
                  <c:v>143.24160000000001</c:v>
                </c:pt>
                <c:pt idx="46">
                  <c:v>147.0294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FDD-4191-A44E-6DDA4A55BD78}"/>
            </c:ext>
          </c:extLst>
        </c:ser>
        <c:ser>
          <c:idx val="0"/>
          <c:order val="3"/>
          <c:tx>
            <c:strRef>
              <c:f>Sheet1!$A$5</c:f>
              <c:strCache>
                <c:ptCount val="1"/>
                <c:pt idx="0">
                  <c:v>31</c:v>
                </c:pt>
              </c:strCache>
            </c:strRef>
          </c:tx>
          <c:spPr>
            <a:ln w="25400">
              <a:solidFill>
                <a:srgbClr val="C00000"/>
              </a:solidFill>
            </a:ln>
          </c:spPr>
          <c:marker>
            <c:symbol val="none"/>
          </c:marker>
          <c:cat>
            <c:numRef>
              <c:f>Sheet1!$B$1:$AV$1</c:f>
              <c:numCache>
                <c:formatCode>General</c:formatCode>
                <c:ptCount val="47"/>
                <c:pt idx="0">
                  <c:v>1977</c:v>
                </c:pt>
                <c:pt idx="1">
                  <c:v>1978</c:v>
                </c:pt>
                <c:pt idx="2">
                  <c:v>1979</c:v>
                </c:pt>
                <c:pt idx="3">
                  <c:v>1980</c:v>
                </c:pt>
                <c:pt idx="4">
                  <c:v>1981</c:v>
                </c:pt>
                <c:pt idx="5">
                  <c:v>1982</c:v>
                </c:pt>
                <c:pt idx="6">
                  <c:v>1983</c:v>
                </c:pt>
                <c:pt idx="7">
                  <c:v>1984</c:v>
                </c:pt>
                <c:pt idx="8">
                  <c:v>1985</c:v>
                </c:pt>
                <c:pt idx="9">
                  <c:v>1986</c:v>
                </c:pt>
                <c:pt idx="10">
                  <c:v>1987</c:v>
                </c:pt>
                <c:pt idx="11">
                  <c:v>1988</c:v>
                </c:pt>
                <c:pt idx="12">
                  <c:v>1989</c:v>
                </c:pt>
                <c:pt idx="13">
                  <c:v>1990</c:v>
                </c:pt>
                <c:pt idx="14">
                  <c:v>1991</c:v>
                </c:pt>
                <c:pt idx="15">
                  <c:v>1992</c:v>
                </c:pt>
                <c:pt idx="16">
                  <c:v>1993</c:v>
                </c:pt>
                <c:pt idx="17">
                  <c:v>1994</c:v>
                </c:pt>
                <c:pt idx="18">
                  <c:v>1995</c:v>
                </c:pt>
                <c:pt idx="19">
                  <c:v>1996</c:v>
                </c:pt>
                <c:pt idx="20">
                  <c:v>1997</c:v>
                </c:pt>
                <c:pt idx="21">
                  <c:v>1998</c:v>
                </c:pt>
                <c:pt idx="22">
                  <c:v>1999</c:v>
                </c:pt>
                <c:pt idx="23">
                  <c:v>2000</c:v>
                </c:pt>
                <c:pt idx="24">
                  <c:v>2001</c:v>
                </c:pt>
                <c:pt idx="25">
                  <c:v>2002</c:v>
                </c:pt>
                <c:pt idx="26">
                  <c:v>2003</c:v>
                </c:pt>
                <c:pt idx="27">
                  <c:v>2004</c:v>
                </c:pt>
                <c:pt idx="28">
                  <c:v>2005</c:v>
                </c:pt>
                <c:pt idx="29">
                  <c:v>2006</c:v>
                </c:pt>
                <c:pt idx="30">
                  <c:v>2007</c:v>
                </c:pt>
                <c:pt idx="31">
                  <c:v>2008</c:v>
                </c:pt>
                <c:pt idx="32">
                  <c:v>2009</c:v>
                </c:pt>
                <c:pt idx="33">
                  <c:v>2010</c:v>
                </c:pt>
                <c:pt idx="34">
                  <c:v>2011</c:v>
                </c:pt>
                <c:pt idx="35">
                  <c:v>2012</c:v>
                </c:pt>
                <c:pt idx="36">
                  <c:v>2013</c:v>
                </c:pt>
                <c:pt idx="37">
                  <c:v>2014</c:v>
                </c:pt>
                <c:pt idx="38">
                  <c:v>2015</c:v>
                </c:pt>
                <c:pt idx="39">
                  <c:v>2016</c:v>
                </c:pt>
                <c:pt idx="40">
                  <c:v>2017</c:v>
                </c:pt>
                <c:pt idx="41">
                  <c:v>2018</c:v>
                </c:pt>
                <c:pt idx="42">
                  <c:v>2019</c:v>
                </c:pt>
                <c:pt idx="43">
                  <c:v>2020</c:v>
                </c:pt>
                <c:pt idx="44">
                  <c:v>2021</c:v>
                </c:pt>
                <c:pt idx="45">
                  <c:v>2022</c:v>
                </c:pt>
                <c:pt idx="46">
                  <c:v>2023</c:v>
                </c:pt>
              </c:numCache>
            </c:numRef>
          </c:cat>
          <c:val>
            <c:numRef>
              <c:f>Sheet1!$B$5:$AV$5</c:f>
              <c:numCache>
                <c:formatCode>General</c:formatCode>
                <c:ptCount val="47"/>
                <c:pt idx="0">
                  <c:v>51.765189999999997</c:v>
                </c:pt>
                <c:pt idx="1">
                  <c:v>41.765059999999998</c:v>
                </c:pt>
                <c:pt idx="2">
                  <c:v>47.282829999999997</c:v>
                </c:pt>
                <c:pt idx="3">
                  <c:v>51.516390000000001</c:v>
                </c:pt>
                <c:pt idx="4">
                  <c:v>57.242440000000002</c:v>
                </c:pt>
                <c:pt idx="5">
                  <c:v>50.797199999999997</c:v>
                </c:pt>
                <c:pt idx="6">
                  <c:v>50.736789999999999</c:v>
                </c:pt>
                <c:pt idx="7">
                  <c:v>62.099600000000002</c:v>
                </c:pt>
                <c:pt idx="8">
                  <c:v>57.948619999999998</c:v>
                </c:pt>
                <c:pt idx="9">
                  <c:v>51.913849999999996</c:v>
                </c:pt>
                <c:pt idx="10">
                  <c:v>59.47692</c:v>
                </c:pt>
                <c:pt idx="11">
                  <c:v>60.92268</c:v>
                </c:pt>
                <c:pt idx="12">
                  <c:v>65.845439999999996</c:v>
                </c:pt>
                <c:pt idx="13">
                  <c:v>56.81747</c:v>
                </c:pt>
                <c:pt idx="14">
                  <c:v>72.707819999999998</c:v>
                </c:pt>
                <c:pt idx="15">
                  <c:v>81.745069999999998</c:v>
                </c:pt>
                <c:pt idx="16">
                  <c:v>68.381219999999999</c:v>
                </c:pt>
                <c:pt idx="17">
                  <c:v>86.755799999999994</c:v>
                </c:pt>
                <c:pt idx="18">
                  <c:v>75.428470000000004</c:v>
                </c:pt>
                <c:pt idx="19">
                  <c:v>83.960949999999997</c:v>
                </c:pt>
                <c:pt idx="20">
                  <c:v>81.132980000000003</c:v>
                </c:pt>
                <c:pt idx="21">
                  <c:v>82.699510000000004</c:v>
                </c:pt>
                <c:pt idx="22">
                  <c:v>89.656859999999995</c:v>
                </c:pt>
                <c:pt idx="23">
                  <c:v>99.781610000000001</c:v>
                </c:pt>
                <c:pt idx="24">
                  <c:v>89.533670000000001</c:v>
                </c:pt>
                <c:pt idx="25">
                  <c:v>100.2672</c:v>
                </c:pt>
                <c:pt idx="26">
                  <c:v>111.6075</c:v>
                </c:pt>
                <c:pt idx="27">
                  <c:v>100.2212</c:v>
                </c:pt>
                <c:pt idx="28">
                  <c:v>103.52419999999999</c:v>
                </c:pt>
                <c:pt idx="29">
                  <c:v>102.6739</c:v>
                </c:pt>
                <c:pt idx="30">
                  <c:v>136.6909</c:v>
                </c:pt>
                <c:pt idx="31">
                  <c:v>112.7911</c:v>
                </c:pt>
                <c:pt idx="32">
                  <c:v>98.232129999999998</c:v>
                </c:pt>
                <c:pt idx="33">
                  <c:v>113.1729</c:v>
                </c:pt>
                <c:pt idx="34">
                  <c:v>118.98860000000001</c:v>
                </c:pt>
                <c:pt idx="35">
                  <c:v>102.1874</c:v>
                </c:pt>
                <c:pt idx="36">
                  <c:v>115.5489</c:v>
                </c:pt>
                <c:pt idx="37">
                  <c:v>122.2694</c:v>
                </c:pt>
                <c:pt idx="38">
                  <c:v>108.92</c:v>
                </c:pt>
                <c:pt idx="39">
                  <c:v>120.8715</c:v>
                </c:pt>
                <c:pt idx="40">
                  <c:v>118.8917</c:v>
                </c:pt>
                <c:pt idx="41">
                  <c:v>118.685</c:v>
                </c:pt>
                <c:pt idx="42">
                  <c:v>125.15219999999999</c:v>
                </c:pt>
                <c:pt idx="43">
                  <c:v>115.1564</c:v>
                </c:pt>
                <c:pt idx="44">
                  <c:v>129.37090000000001</c:v>
                </c:pt>
                <c:pt idx="45">
                  <c:v>150.917</c:v>
                </c:pt>
                <c:pt idx="46">
                  <c:v>156.95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FDD-4191-A44E-6DDA4A55BD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7724760"/>
        <c:axId val="1"/>
      </c:lineChart>
      <c:catAx>
        <c:axId val="1677247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cs-CZ"/>
          </a:p>
        </c:txPr>
        <c:crossAx val="1"/>
        <c:crosses val="autoZero"/>
        <c:auto val="1"/>
        <c:lblAlgn val="ctr"/>
        <c:lblOffset val="100"/>
        <c:tickLblSkip val="2"/>
        <c:tickMarkSkip val="1"/>
        <c:noMultiLvlLbl val="0"/>
      </c:catAx>
      <c:valAx>
        <c:axId val="1"/>
        <c:scaling>
          <c:orientation val="minMax"/>
        </c:scaling>
        <c:delete val="0"/>
        <c:axPos val="l"/>
        <c:majorGridlines>
          <c:spPr>
            <a:ln w="12700">
              <a:solidFill>
                <a:srgbClr val="EAEAEA"/>
              </a:solidFill>
              <a:prstDash val="solid"/>
            </a:ln>
          </c:spPr>
        </c:majorGridlines>
        <c:numFmt formatCode="General" sourceLinked="0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cs-CZ"/>
          </a:p>
        </c:txPr>
        <c:crossAx val="167724760"/>
        <c:crosses val="autoZero"/>
        <c:crossBetween val="midCat"/>
      </c:valAx>
      <c:spPr>
        <a:noFill/>
        <a:ln w="2540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00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305578298246284E-2"/>
          <c:y val="8.9209977715476965E-2"/>
          <c:w val="0.90502323617343194"/>
          <c:h val="0.82016721686766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Typ I - FN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bg2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solidFill>
                  <a:schemeClr val="bg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3DE-4B2D-A144-D6A891202155}"/>
              </c:ext>
            </c:extLst>
          </c:dPt>
          <c:cat>
            <c:numRef>
              <c:f>List1!$A$2:$A$100</c:f>
              <c:numCache>
                <c:formatCode>General</c:formatCode>
                <c:ptCount val="9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 formatCode="###0">
                  <c:v>66</c:v>
                </c:pt>
                <c:pt idx="66" formatCode="###0">
                  <c:v>67</c:v>
                </c:pt>
                <c:pt idx="67" formatCode="###0">
                  <c:v>68</c:v>
                </c:pt>
                <c:pt idx="68" formatCode="###0">
                  <c:v>69</c:v>
                </c:pt>
                <c:pt idx="69" formatCode="###0">
                  <c:v>70</c:v>
                </c:pt>
                <c:pt idx="70" formatCode="###0">
                  <c:v>71</c:v>
                </c:pt>
                <c:pt idx="71" formatCode="###0">
                  <c:v>72</c:v>
                </c:pt>
                <c:pt idx="72" formatCode="###0">
                  <c:v>73</c:v>
                </c:pt>
                <c:pt idx="73" formatCode="###0">
                  <c:v>74</c:v>
                </c:pt>
                <c:pt idx="74" formatCode="###0">
                  <c:v>75</c:v>
                </c:pt>
                <c:pt idx="75" formatCode="###0">
                  <c:v>76</c:v>
                </c:pt>
                <c:pt idx="76" formatCode="###0">
                  <c:v>77</c:v>
                </c:pt>
                <c:pt idx="77" formatCode="###0">
                  <c:v>78</c:v>
                </c:pt>
                <c:pt idx="78" formatCode="###0">
                  <c:v>79</c:v>
                </c:pt>
                <c:pt idx="79" formatCode="###0">
                  <c:v>80</c:v>
                </c:pt>
                <c:pt idx="80" formatCode="###0">
                  <c:v>81</c:v>
                </c:pt>
                <c:pt idx="81" formatCode="###0">
                  <c:v>82</c:v>
                </c:pt>
                <c:pt idx="82" formatCode="###0">
                  <c:v>83</c:v>
                </c:pt>
                <c:pt idx="83" formatCode="###0">
                  <c:v>84</c:v>
                </c:pt>
                <c:pt idx="84" formatCode="###0">
                  <c:v>85</c:v>
                </c:pt>
                <c:pt idx="85" formatCode="###0">
                  <c:v>86</c:v>
                </c:pt>
                <c:pt idx="86" formatCode="###0">
                  <c:v>87</c:v>
                </c:pt>
                <c:pt idx="87" formatCode="###0">
                  <c:v>88</c:v>
                </c:pt>
                <c:pt idx="88" formatCode="###0">
                  <c:v>89</c:v>
                </c:pt>
                <c:pt idx="89" formatCode="###0">
                  <c:v>90</c:v>
                </c:pt>
                <c:pt idx="90" formatCode="###0">
                  <c:v>91</c:v>
                </c:pt>
                <c:pt idx="91" formatCode="###0">
                  <c:v>92</c:v>
                </c:pt>
                <c:pt idx="92" formatCode="###0">
                  <c:v>93</c:v>
                </c:pt>
                <c:pt idx="93" formatCode="###0">
                  <c:v>94</c:v>
                </c:pt>
                <c:pt idx="94">
                  <c:v>95</c:v>
                </c:pt>
                <c:pt idx="95">
                  <c:v>96</c:v>
                </c:pt>
                <c:pt idx="96">
                  <c:v>97</c:v>
                </c:pt>
                <c:pt idx="97">
                  <c:v>98</c:v>
                </c:pt>
                <c:pt idx="98">
                  <c:v>99</c:v>
                </c:pt>
              </c:numCache>
            </c:numRef>
          </c:cat>
          <c:val>
            <c:numRef>
              <c:f>List1!$B$2:$B$100</c:f>
              <c:numCache>
                <c:formatCode>General</c:formatCode>
                <c:ptCount val="99"/>
                <c:pt idx="0">
                  <c:v>0</c:v>
                </c:pt>
                <c:pt idx="1">
                  <c:v>454.8</c:v>
                </c:pt>
                <c:pt idx="2">
                  <c:v>0</c:v>
                </c:pt>
                <c:pt idx="3">
                  <c:v>343.2</c:v>
                </c:pt>
                <c:pt idx="4">
                  <c:v>327.39999999999998</c:v>
                </c:pt>
                <c:pt idx="5">
                  <c:v>281</c:v>
                </c:pt>
                <c:pt idx="6">
                  <c:v>0</c:v>
                </c:pt>
                <c:pt idx="7">
                  <c:v>0</c:v>
                </c:pt>
                <c:pt idx="8">
                  <c:v>213.2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57.19999999999999</c:v>
                </c:pt>
                <c:pt idx="14">
                  <c:v>0</c:v>
                </c:pt>
                <c:pt idx="15">
                  <c:v>127</c:v>
                </c:pt>
                <c:pt idx="16">
                  <c:v>118.6</c:v>
                </c:pt>
                <c:pt idx="17">
                  <c:v>0</c:v>
                </c:pt>
                <c:pt idx="18">
                  <c:v>113.4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84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9.4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.2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3DE-4B2D-A144-D6A891202155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Typ I - Spec ZZ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solidFill>
                <a:schemeClr val="bg2"/>
              </a:solidFill>
            </a:ln>
            <a:effectLst/>
          </c:spPr>
          <c:invertIfNegative val="0"/>
          <c:cat>
            <c:numRef>
              <c:f>List1!$A$2:$A$100</c:f>
              <c:numCache>
                <c:formatCode>General</c:formatCode>
                <c:ptCount val="9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 formatCode="###0">
                  <c:v>66</c:v>
                </c:pt>
                <c:pt idx="66" formatCode="###0">
                  <c:v>67</c:v>
                </c:pt>
                <c:pt idx="67" formatCode="###0">
                  <c:v>68</c:v>
                </c:pt>
                <c:pt idx="68" formatCode="###0">
                  <c:v>69</c:v>
                </c:pt>
                <c:pt idx="69" formatCode="###0">
                  <c:v>70</c:v>
                </c:pt>
                <c:pt idx="70" formatCode="###0">
                  <c:v>71</c:v>
                </c:pt>
                <c:pt idx="71" formatCode="###0">
                  <c:v>72</c:v>
                </c:pt>
                <c:pt idx="72" formatCode="###0">
                  <c:v>73</c:v>
                </c:pt>
                <c:pt idx="73" formatCode="###0">
                  <c:v>74</c:v>
                </c:pt>
                <c:pt idx="74" formatCode="###0">
                  <c:v>75</c:v>
                </c:pt>
                <c:pt idx="75" formatCode="###0">
                  <c:v>76</c:v>
                </c:pt>
                <c:pt idx="76" formatCode="###0">
                  <c:v>77</c:v>
                </c:pt>
                <c:pt idx="77" formatCode="###0">
                  <c:v>78</c:v>
                </c:pt>
                <c:pt idx="78" formatCode="###0">
                  <c:v>79</c:v>
                </c:pt>
                <c:pt idx="79" formatCode="###0">
                  <c:v>80</c:v>
                </c:pt>
                <c:pt idx="80" formatCode="###0">
                  <c:v>81</c:v>
                </c:pt>
                <c:pt idx="81" formatCode="###0">
                  <c:v>82</c:v>
                </c:pt>
                <c:pt idx="82" formatCode="###0">
                  <c:v>83</c:v>
                </c:pt>
                <c:pt idx="83" formatCode="###0">
                  <c:v>84</c:v>
                </c:pt>
                <c:pt idx="84" formatCode="###0">
                  <c:v>85</c:v>
                </c:pt>
                <c:pt idx="85" formatCode="###0">
                  <c:v>86</c:v>
                </c:pt>
                <c:pt idx="86" formatCode="###0">
                  <c:v>87</c:v>
                </c:pt>
                <c:pt idx="87" formatCode="###0">
                  <c:v>88</c:v>
                </c:pt>
                <c:pt idx="88" formatCode="###0">
                  <c:v>89</c:v>
                </c:pt>
                <c:pt idx="89" formatCode="###0">
                  <c:v>90</c:v>
                </c:pt>
                <c:pt idx="90" formatCode="###0">
                  <c:v>91</c:v>
                </c:pt>
                <c:pt idx="91" formatCode="###0">
                  <c:v>92</c:v>
                </c:pt>
                <c:pt idx="92" formatCode="###0">
                  <c:v>93</c:v>
                </c:pt>
                <c:pt idx="93" formatCode="###0">
                  <c:v>94</c:v>
                </c:pt>
                <c:pt idx="94">
                  <c:v>95</c:v>
                </c:pt>
                <c:pt idx="95">
                  <c:v>96</c:v>
                </c:pt>
                <c:pt idx="96">
                  <c:v>97</c:v>
                </c:pt>
                <c:pt idx="97">
                  <c:v>98</c:v>
                </c:pt>
                <c:pt idx="98">
                  <c:v>99</c:v>
                </c:pt>
              </c:numCache>
            </c:numRef>
          </c:cat>
          <c:val>
            <c:numRef>
              <c:f>List1!$C$2:$C$100</c:f>
              <c:numCache>
                <c:formatCode>General</c:formatCode>
                <c:ptCount val="99"/>
                <c:pt idx="0">
                  <c:v>942</c:v>
                </c:pt>
                <c:pt idx="1">
                  <c:v>0</c:v>
                </c:pt>
                <c:pt idx="2">
                  <c:v>357.4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17.6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3DE-4B2D-A144-D6A891202155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Typ I - VK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bg2"/>
              </a:solidFill>
            </a:ln>
            <a:effectLst/>
          </c:spPr>
          <c:invertIfNegative val="0"/>
          <c:cat>
            <c:numRef>
              <c:f>List1!$A$2:$A$100</c:f>
              <c:numCache>
                <c:formatCode>General</c:formatCode>
                <c:ptCount val="9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 formatCode="###0">
                  <c:v>66</c:v>
                </c:pt>
                <c:pt idx="66" formatCode="###0">
                  <c:v>67</c:v>
                </c:pt>
                <c:pt idx="67" formatCode="###0">
                  <c:v>68</c:v>
                </c:pt>
                <c:pt idx="68" formatCode="###0">
                  <c:v>69</c:v>
                </c:pt>
                <c:pt idx="69" formatCode="###0">
                  <c:v>70</c:v>
                </c:pt>
                <c:pt idx="70" formatCode="###0">
                  <c:v>71</c:v>
                </c:pt>
                <c:pt idx="71" formatCode="###0">
                  <c:v>72</c:v>
                </c:pt>
                <c:pt idx="72" formatCode="###0">
                  <c:v>73</c:v>
                </c:pt>
                <c:pt idx="73" formatCode="###0">
                  <c:v>74</c:v>
                </c:pt>
                <c:pt idx="74" formatCode="###0">
                  <c:v>75</c:v>
                </c:pt>
                <c:pt idx="75" formatCode="###0">
                  <c:v>76</c:v>
                </c:pt>
                <c:pt idx="76" formatCode="###0">
                  <c:v>77</c:v>
                </c:pt>
                <c:pt idx="77" formatCode="###0">
                  <c:v>78</c:v>
                </c:pt>
                <c:pt idx="78" formatCode="###0">
                  <c:v>79</c:v>
                </c:pt>
                <c:pt idx="79" formatCode="###0">
                  <c:v>80</c:v>
                </c:pt>
                <c:pt idx="80" formatCode="###0">
                  <c:v>81</c:v>
                </c:pt>
                <c:pt idx="81" formatCode="###0">
                  <c:v>82</c:v>
                </c:pt>
                <c:pt idx="82" formatCode="###0">
                  <c:v>83</c:v>
                </c:pt>
                <c:pt idx="83" formatCode="###0">
                  <c:v>84</c:v>
                </c:pt>
                <c:pt idx="84" formatCode="###0">
                  <c:v>85</c:v>
                </c:pt>
                <c:pt idx="85" formatCode="###0">
                  <c:v>86</c:v>
                </c:pt>
                <c:pt idx="86" formatCode="###0">
                  <c:v>87</c:v>
                </c:pt>
                <c:pt idx="87" formatCode="###0">
                  <c:v>88</c:v>
                </c:pt>
                <c:pt idx="88" formatCode="###0">
                  <c:v>89</c:v>
                </c:pt>
                <c:pt idx="89" formatCode="###0">
                  <c:v>90</c:v>
                </c:pt>
                <c:pt idx="90" formatCode="###0">
                  <c:v>91</c:v>
                </c:pt>
                <c:pt idx="91" formatCode="###0">
                  <c:v>92</c:v>
                </c:pt>
                <c:pt idx="92" formatCode="###0">
                  <c:v>93</c:v>
                </c:pt>
                <c:pt idx="93" formatCode="###0">
                  <c:v>94</c:v>
                </c:pt>
                <c:pt idx="94">
                  <c:v>95</c:v>
                </c:pt>
                <c:pt idx="95">
                  <c:v>96</c:v>
                </c:pt>
                <c:pt idx="96">
                  <c:v>97</c:v>
                </c:pt>
                <c:pt idx="97">
                  <c:v>98</c:v>
                </c:pt>
                <c:pt idx="98">
                  <c:v>99</c:v>
                </c:pt>
              </c:numCache>
            </c:numRef>
          </c:cat>
          <c:val>
            <c:numRef>
              <c:f>List1!$D$2:$D$100</c:f>
              <c:numCache>
                <c:formatCode>General</c:formatCode>
                <c:ptCount val="9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236.8</c:v>
                </c:pt>
                <c:pt idx="8">
                  <c:v>0</c:v>
                </c:pt>
                <c:pt idx="9">
                  <c:v>211.4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32.6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03</c:v>
                </c:pt>
                <c:pt idx="22">
                  <c:v>0</c:v>
                </c:pt>
                <c:pt idx="23">
                  <c:v>98.8</c:v>
                </c:pt>
                <c:pt idx="24">
                  <c:v>96.4</c:v>
                </c:pt>
                <c:pt idx="25">
                  <c:v>0</c:v>
                </c:pt>
                <c:pt idx="26">
                  <c:v>93.2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44.6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1.2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3DE-4B2D-A144-D6A891202155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Typ II</c:v>
                </c:pt>
              </c:strCache>
            </c:strRef>
          </c:tx>
          <c:spPr>
            <a:solidFill>
              <a:srgbClr val="A6A6A6"/>
            </a:solidFill>
            <a:ln>
              <a:solidFill>
                <a:schemeClr val="bg2"/>
              </a:solidFill>
            </a:ln>
            <a:effectLst/>
          </c:spPr>
          <c:invertIfNegative val="0"/>
          <c:cat>
            <c:numRef>
              <c:f>List1!$A$2:$A$100</c:f>
              <c:numCache>
                <c:formatCode>General</c:formatCode>
                <c:ptCount val="9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 formatCode="###0">
                  <c:v>66</c:v>
                </c:pt>
                <c:pt idx="66" formatCode="###0">
                  <c:v>67</c:v>
                </c:pt>
                <c:pt idx="67" formatCode="###0">
                  <c:v>68</c:v>
                </c:pt>
                <c:pt idx="68" formatCode="###0">
                  <c:v>69</c:v>
                </c:pt>
                <c:pt idx="69" formatCode="###0">
                  <c:v>70</c:v>
                </c:pt>
                <c:pt idx="70" formatCode="###0">
                  <c:v>71</c:v>
                </c:pt>
                <c:pt idx="71" formatCode="###0">
                  <c:v>72</c:v>
                </c:pt>
                <c:pt idx="72" formatCode="###0">
                  <c:v>73</c:v>
                </c:pt>
                <c:pt idx="73" formatCode="###0">
                  <c:v>74</c:v>
                </c:pt>
                <c:pt idx="74" formatCode="###0">
                  <c:v>75</c:v>
                </c:pt>
                <c:pt idx="75" formatCode="###0">
                  <c:v>76</c:v>
                </c:pt>
                <c:pt idx="76" formatCode="###0">
                  <c:v>77</c:v>
                </c:pt>
                <c:pt idx="77" formatCode="###0">
                  <c:v>78</c:v>
                </c:pt>
                <c:pt idx="78" formatCode="###0">
                  <c:v>79</c:v>
                </c:pt>
                <c:pt idx="79" formatCode="###0">
                  <c:v>80</c:v>
                </c:pt>
                <c:pt idx="80" formatCode="###0">
                  <c:v>81</c:v>
                </c:pt>
                <c:pt idx="81" formatCode="###0">
                  <c:v>82</c:v>
                </c:pt>
                <c:pt idx="82" formatCode="###0">
                  <c:v>83</c:v>
                </c:pt>
                <c:pt idx="83" formatCode="###0">
                  <c:v>84</c:v>
                </c:pt>
                <c:pt idx="84" formatCode="###0">
                  <c:v>85</c:v>
                </c:pt>
                <c:pt idx="85" formatCode="###0">
                  <c:v>86</c:v>
                </c:pt>
                <c:pt idx="86" formatCode="###0">
                  <c:v>87</c:v>
                </c:pt>
                <c:pt idx="87" formatCode="###0">
                  <c:v>88</c:v>
                </c:pt>
                <c:pt idx="88" formatCode="###0">
                  <c:v>89</c:v>
                </c:pt>
                <c:pt idx="89" formatCode="###0">
                  <c:v>90</c:v>
                </c:pt>
                <c:pt idx="90" formatCode="###0">
                  <c:v>91</c:v>
                </c:pt>
                <c:pt idx="91" formatCode="###0">
                  <c:v>92</c:v>
                </c:pt>
                <c:pt idx="92" formatCode="###0">
                  <c:v>93</c:v>
                </c:pt>
                <c:pt idx="93" formatCode="###0">
                  <c:v>94</c:v>
                </c:pt>
                <c:pt idx="94">
                  <c:v>95</c:v>
                </c:pt>
                <c:pt idx="95">
                  <c:v>96</c:v>
                </c:pt>
                <c:pt idx="96">
                  <c:v>97</c:v>
                </c:pt>
                <c:pt idx="97">
                  <c:v>98</c:v>
                </c:pt>
                <c:pt idx="98">
                  <c:v>99</c:v>
                </c:pt>
              </c:numCache>
            </c:numRef>
          </c:cat>
          <c:val>
            <c:numRef>
              <c:f>List1!$E$2:$E$100</c:f>
              <c:numCache>
                <c:formatCode>General</c:formatCode>
                <c:ptCount val="9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256.60000000000002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75.6</c:v>
                </c:pt>
                <c:pt idx="11">
                  <c:v>172</c:v>
                </c:pt>
                <c:pt idx="12">
                  <c:v>161.6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13</c:v>
                </c:pt>
                <c:pt idx="20">
                  <c:v>103.6</c:v>
                </c:pt>
                <c:pt idx="21">
                  <c:v>0</c:v>
                </c:pt>
                <c:pt idx="22">
                  <c:v>101.2</c:v>
                </c:pt>
                <c:pt idx="23">
                  <c:v>0</c:v>
                </c:pt>
                <c:pt idx="24">
                  <c:v>0</c:v>
                </c:pt>
                <c:pt idx="25">
                  <c:v>94.6</c:v>
                </c:pt>
                <c:pt idx="26">
                  <c:v>0</c:v>
                </c:pt>
                <c:pt idx="27">
                  <c:v>91.2</c:v>
                </c:pt>
                <c:pt idx="28">
                  <c:v>85</c:v>
                </c:pt>
                <c:pt idx="29">
                  <c:v>0</c:v>
                </c:pt>
                <c:pt idx="30">
                  <c:v>72.2</c:v>
                </c:pt>
                <c:pt idx="31">
                  <c:v>70.400000000000006</c:v>
                </c:pt>
                <c:pt idx="32">
                  <c:v>66.8</c:v>
                </c:pt>
                <c:pt idx="33">
                  <c:v>64.8</c:v>
                </c:pt>
                <c:pt idx="34">
                  <c:v>64.2</c:v>
                </c:pt>
                <c:pt idx="35">
                  <c:v>60.2</c:v>
                </c:pt>
                <c:pt idx="36">
                  <c:v>59.2</c:v>
                </c:pt>
                <c:pt idx="37">
                  <c:v>57.6</c:v>
                </c:pt>
                <c:pt idx="38">
                  <c:v>57.2</c:v>
                </c:pt>
                <c:pt idx="39">
                  <c:v>56.2</c:v>
                </c:pt>
                <c:pt idx="40">
                  <c:v>55.4</c:v>
                </c:pt>
                <c:pt idx="41">
                  <c:v>55</c:v>
                </c:pt>
                <c:pt idx="42">
                  <c:v>50.8</c:v>
                </c:pt>
                <c:pt idx="43">
                  <c:v>48.8</c:v>
                </c:pt>
                <c:pt idx="44">
                  <c:v>48.6</c:v>
                </c:pt>
                <c:pt idx="45">
                  <c:v>47.4</c:v>
                </c:pt>
                <c:pt idx="46">
                  <c:v>46.6</c:v>
                </c:pt>
                <c:pt idx="47">
                  <c:v>45.2</c:v>
                </c:pt>
                <c:pt idx="48">
                  <c:v>0</c:v>
                </c:pt>
                <c:pt idx="49">
                  <c:v>43.8</c:v>
                </c:pt>
                <c:pt idx="50">
                  <c:v>37.799999999999997</c:v>
                </c:pt>
                <c:pt idx="51">
                  <c:v>32.799999999999997</c:v>
                </c:pt>
                <c:pt idx="52">
                  <c:v>27.6</c:v>
                </c:pt>
                <c:pt idx="53">
                  <c:v>25.6</c:v>
                </c:pt>
                <c:pt idx="54">
                  <c:v>25.4</c:v>
                </c:pt>
                <c:pt idx="55">
                  <c:v>21.6</c:v>
                </c:pt>
                <c:pt idx="56">
                  <c:v>16.399999999999999</c:v>
                </c:pt>
                <c:pt idx="57">
                  <c:v>15.6</c:v>
                </c:pt>
                <c:pt idx="58">
                  <c:v>13.8</c:v>
                </c:pt>
                <c:pt idx="59">
                  <c:v>12.6</c:v>
                </c:pt>
                <c:pt idx="60">
                  <c:v>12.4</c:v>
                </c:pt>
                <c:pt idx="61">
                  <c:v>0</c:v>
                </c:pt>
                <c:pt idx="62">
                  <c:v>9.4</c:v>
                </c:pt>
                <c:pt idx="63">
                  <c:v>9</c:v>
                </c:pt>
                <c:pt idx="64">
                  <c:v>9</c:v>
                </c:pt>
                <c:pt idx="65">
                  <c:v>8.1999999999999993</c:v>
                </c:pt>
                <c:pt idx="66">
                  <c:v>7.6</c:v>
                </c:pt>
                <c:pt idx="67">
                  <c:v>6.4</c:v>
                </c:pt>
                <c:pt idx="68">
                  <c:v>6.4</c:v>
                </c:pt>
                <c:pt idx="69">
                  <c:v>6.2</c:v>
                </c:pt>
                <c:pt idx="70">
                  <c:v>5.2</c:v>
                </c:pt>
                <c:pt idx="71">
                  <c:v>4.5999999999999996</c:v>
                </c:pt>
                <c:pt idx="72">
                  <c:v>4.4000000000000004</c:v>
                </c:pt>
                <c:pt idx="73">
                  <c:v>3.6</c:v>
                </c:pt>
                <c:pt idx="74">
                  <c:v>3.4</c:v>
                </c:pt>
                <c:pt idx="75">
                  <c:v>3.4</c:v>
                </c:pt>
                <c:pt idx="76">
                  <c:v>3</c:v>
                </c:pt>
                <c:pt idx="77">
                  <c:v>1.6</c:v>
                </c:pt>
                <c:pt idx="78">
                  <c:v>1.4</c:v>
                </c:pt>
                <c:pt idx="79">
                  <c:v>1.4</c:v>
                </c:pt>
                <c:pt idx="80">
                  <c:v>1.4</c:v>
                </c:pt>
                <c:pt idx="81">
                  <c:v>0</c:v>
                </c:pt>
                <c:pt idx="82">
                  <c:v>0.8</c:v>
                </c:pt>
                <c:pt idx="83">
                  <c:v>0.6</c:v>
                </c:pt>
                <c:pt idx="84">
                  <c:v>0.6</c:v>
                </c:pt>
                <c:pt idx="85">
                  <c:v>0.4</c:v>
                </c:pt>
                <c:pt idx="86">
                  <c:v>0.4</c:v>
                </c:pt>
                <c:pt idx="87">
                  <c:v>0.4</c:v>
                </c:pt>
                <c:pt idx="88">
                  <c:v>0.4</c:v>
                </c:pt>
                <c:pt idx="89">
                  <c:v>0.4</c:v>
                </c:pt>
                <c:pt idx="90">
                  <c:v>0.4</c:v>
                </c:pt>
                <c:pt idx="91">
                  <c:v>0.4</c:v>
                </c:pt>
                <c:pt idx="92">
                  <c:v>0.2</c:v>
                </c:pt>
                <c:pt idx="93">
                  <c:v>0.2</c:v>
                </c:pt>
                <c:pt idx="94">
                  <c:v>0.2</c:v>
                </c:pt>
                <c:pt idx="95">
                  <c:v>0</c:v>
                </c:pt>
                <c:pt idx="96">
                  <c:v>0.2</c:v>
                </c:pt>
                <c:pt idx="97">
                  <c:v>0.2</c:v>
                </c:pt>
                <c:pt idx="98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3DE-4B2D-A144-D6A8912021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190600031"/>
        <c:axId val="1416453231"/>
      </c:barChart>
      <c:catAx>
        <c:axId val="11906000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16453231"/>
        <c:crosses val="autoZero"/>
        <c:auto val="1"/>
        <c:lblAlgn val="ctr"/>
        <c:lblOffset val="100"/>
        <c:tickLblSkip val="2"/>
        <c:noMultiLvlLbl val="0"/>
      </c:catAx>
      <c:valAx>
        <c:axId val="1416453231"/>
        <c:scaling>
          <c:orientation val="minMax"/>
          <c:max val="1000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300" dirty="0">
                    <a:solidFill>
                      <a:schemeClr val="tx1"/>
                    </a:solidFill>
                  </a:rPr>
                  <a:t>Průměrný počet HP za 1 rok</a:t>
                </a:r>
              </a:p>
            </c:rich>
          </c:tx>
          <c:layout>
            <c:manualLayout>
              <c:xMode val="edge"/>
              <c:yMode val="edge"/>
              <c:x val="1.0534397562910773E-2"/>
              <c:y val="0.1551255785405019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90600031"/>
        <c:crosses val="autoZero"/>
        <c:crossBetween val="between"/>
        <c:majorUnit val="100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3266959194468845E-2"/>
          <c:y val="7.131897832510338E-2"/>
          <c:w val="0.8745461197344413"/>
          <c:h val="0.60224853264784184"/>
        </c:manualLayout>
      </c:layout>
      <c:barChart>
        <c:barDir val="col"/>
        <c:grouping val="clustered"/>
        <c:varyColors val="0"/>
        <c:ser>
          <c:idx val="3"/>
          <c:order val="0"/>
          <c:tx>
            <c:strRef>
              <c:f>Sheet1!$B$1</c:f>
              <c:strCache>
                <c:ptCount val="1"/>
                <c:pt idx="0">
                  <c:v>počet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2"/>
            <c:invertIfNegative val="0"/>
            <c:bubble3D val="0"/>
            <c:spPr>
              <a:solidFill>
                <a:srgbClr val="D71440"/>
              </a:solidFill>
            </c:spPr>
            <c:extLst>
              <c:ext xmlns:c16="http://schemas.microsoft.com/office/drawing/2014/chart" uri="{C3380CC4-5D6E-409C-BE32-E72D297353CC}">
                <c16:uniqueId val="{00000008-588D-4AA9-9A60-65166A37F5EF}"/>
              </c:ext>
            </c:extLst>
          </c:dPt>
          <c:dPt>
            <c:idx val="3"/>
            <c:invertIfNegative val="0"/>
            <c:bubble3D val="0"/>
            <c:spPr>
              <a:solidFill>
                <a:srgbClr val="2C2F7A"/>
              </a:solidFill>
            </c:spPr>
            <c:extLst>
              <c:ext xmlns:c16="http://schemas.microsoft.com/office/drawing/2014/chart" uri="{C3380CC4-5D6E-409C-BE32-E72D297353CC}">
                <c16:uniqueId val="{00000006-F5C0-4BC7-95E2-132142B7E422}"/>
              </c:ext>
            </c:extLst>
          </c:dPt>
          <c:dPt>
            <c:idx val="4"/>
            <c:invertIfNegative val="0"/>
            <c:bubble3D val="0"/>
            <c:spPr>
              <a:solidFill>
                <a:srgbClr val="2C2F7A"/>
              </a:solidFill>
            </c:spPr>
            <c:extLst>
              <c:ext xmlns:c16="http://schemas.microsoft.com/office/drawing/2014/chart" uri="{C3380CC4-5D6E-409C-BE32-E72D297353CC}">
                <c16:uniqueId val="{00000000-E771-4EFA-A224-1D7CC9CBA1F2}"/>
              </c:ext>
            </c:extLst>
          </c:dPt>
          <c:dPt>
            <c:idx val="6"/>
            <c:invertIfNegative val="0"/>
            <c:bubble3D val="0"/>
            <c:spPr>
              <a:solidFill>
                <a:srgbClr val="2C2F79"/>
              </a:solidFill>
            </c:spPr>
            <c:extLst>
              <c:ext xmlns:c16="http://schemas.microsoft.com/office/drawing/2014/chart" uri="{C3380CC4-5D6E-409C-BE32-E72D297353CC}">
                <c16:uniqueId val="{00000002-D864-4D4F-A02A-5D2C3D97038D}"/>
              </c:ext>
            </c:extLst>
          </c:dPt>
          <c:dPt>
            <c:idx val="9"/>
            <c:invertIfNegative val="0"/>
            <c:bubble3D val="0"/>
            <c:spPr>
              <a:solidFill>
                <a:srgbClr val="2C2F7A"/>
              </a:solidFill>
            </c:spPr>
            <c:extLst>
              <c:ext xmlns:c16="http://schemas.microsoft.com/office/drawing/2014/chart" uri="{C3380CC4-5D6E-409C-BE32-E72D297353CC}">
                <c16:uniqueId val="{00000004-BA2A-4F07-9C7E-799FC234DE74}"/>
              </c:ext>
            </c:extLst>
          </c:dPt>
          <c:dLbls>
            <c:numFmt formatCode="0.0\ 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5</c:f>
              <c:strCache>
                <c:ptCount val="14"/>
                <c:pt idx="0">
                  <c:v>Kraj Vysočina</c:v>
                </c:pt>
                <c:pt idx="1">
                  <c:v>Olomoucký kraj</c:v>
                </c:pt>
                <c:pt idx="2">
                  <c:v>Jihočeský kraj</c:v>
                </c:pt>
                <c:pt idx="3">
                  <c:v>Pardubický kraj</c:v>
                </c:pt>
                <c:pt idx="4">
                  <c:v>Zlínský kraj</c:v>
                </c:pt>
                <c:pt idx="5">
                  <c:v>Královéhradecký kraj</c:v>
                </c:pt>
                <c:pt idx="6">
                  <c:v>Jihomoravský kraj</c:v>
                </c:pt>
                <c:pt idx="7">
                  <c:v>Středočeský kraj</c:v>
                </c:pt>
                <c:pt idx="8">
                  <c:v>Ústecký kraj</c:v>
                </c:pt>
                <c:pt idx="9">
                  <c:v>Moravskoslezský kraj</c:v>
                </c:pt>
                <c:pt idx="10">
                  <c:v>Plzeňský kraj</c:v>
                </c:pt>
                <c:pt idx="11">
                  <c:v>Liberecký kraj</c:v>
                </c:pt>
                <c:pt idx="12">
                  <c:v>Hlavní město Praha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0.0%</c:formatCode>
                <c:ptCount val="14"/>
                <c:pt idx="0">
                  <c:v>0.65811045226244602</c:v>
                </c:pt>
                <c:pt idx="1">
                  <c:v>0.63788283078492258</c:v>
                </c:pt>
                <c:pt idx="2">
                  <c:v>0.63142811654195197</c:v>
                </c:pt>
                <c:pt idx="3">
                  <c:v>0.61623176128320312</c:v>
                </c:pt>
                <c:pt idx="4">
                  <c:v>0.60564692498553452</c:v>
                </c:pt>
                <c:pt idx="5">
                  <c:v>0.6039392376280357</c:v>
                </c:pt>
                <c:pt idx="6">
                  <c:v>0.59621107749935032</c:v>
                </c:pt>
                <c:pt idx="7">
                  <c:v>0.59112641278048461</c:v>
                </c:pt>
                <c:pt idx="8">
                  <c:v>0.58802470368415793</c:v>
                </c:pt>
                <c:pt idx="9">
                  <c:v>0.5777497441268179</c:v>
                </c:pt>
                <c:pt idx="10">
                  <c:v>0.55322483538957001</c:v>
                </c:pt>
                <c:pt idx="11">
                  <c:v>0.55189575011459624</c:v>
                </c:pt>
                <c:pt idx="12">
                  <c:v>0.52882482863322711</c:v>
                </c:pt>
                <c:pt idx="13">
                  <c:v>0.528513467823734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975-442C-9DC4-FE6F1A8529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328231464"/>
        <c:axId val="328226368"/>
      </c:barChart>
      <c:catAx>
        <c:axId val="328231464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r>
                  <a:rPr lang="cs-CZ" b="0" dirty="0">
                    <a:solidFill>
                      <a:schemeClr val="tx1"/>
                    </a:solidFill>
                  </a:rPr>
                  <a:t>Kraj</a:t>
                </a:r>
              </a:p>
            </c:rich>
          </c:tx>
          <c:layout>
            <c:manualLayout>
              <c:xMode val="edge"/>
              <c:yMode val="edge"/>
              <c:x val="0.92035765135750458"/>
              <c:y val="0.86884454099687991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spPr>
          <a:ln w="316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900"/>
            </a:pPr>
            <a:endParaRPr lang="cs-CZ"/>
          </a:p>
        </c:txPr>
        <c:crossAx val="328226368"/>
        <c:crosses val="autoZero"/>
        <c:auto val="1"/>
        <c:lblAlgn val="ctr"/>
        <c:lblOffset val="240"/>
        <c:tickLblSkip val="1"/>
        <c:tickMarkSkip val="1"/>
        <c:noMultiLvlLbl val="0"/>
      </c:catAx>
      <c:valAx>
        <c:axId val="328226368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r>
                  <a:rPr lang="cs-CZ" b="0" dirty="0">
                    <a:solidFill>
                      <a:schemeClr val="tx1"/>
                    </a:solidFill>
                  </a:rPr>
                  <a:t>Pokrytí</a:t>
                </a:r>
                <a:r>
                  <a:rPr lang="cs-CZ" b="0" baseline="0" dirty="0">
                    <a:solidFill>
                      <a:schemeClr val="tx1"/>
                    </a:solidFill>
                  </a:rPr>
                  <a:t> ve skupině</a:t>
                </a:r>
                <a:endParaRPr lang="cs-CZ" b="0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1.5185501930636889E-2"/>
              <c:y val="0.16183215458168157"/>
            </c:manualLayout>
          </c:layout>
          <c:overlay val="0"/>
        </c:title>
        <c:numFmt formatCode="0\ %" sourceLinked="0"/>
        <c:majorTickMark val="out"/>
        <c:minorTickMark val="none"/>
        <c:tickLblPos val="nextTo"/>
        <c:spPr>
          <a:ln w="316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32823146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 algn="ctr">
        <a:defRPr lang="en-US" sz="1197" b="1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cs-CZ" sz="1200" dirty="0"/>
              <a:t>Počet center</a:t>
            </a:r>
          </a:p>
        </c:rich>
      </c:tx>
      <c:layout>
        <c:manualLayout>
          <c:xMode val="edge"/>
          <c:yMode val="edge"/>
          <c:x val="0.45571432097633569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3220207975570453"/>
          <c:y val="7.131897832510338E-2"/>
          <c:w val="0.84508478759904226"/>
          <c:h val="0.52082878560367019"/>
        </c:manualLayout>
      </c:layout>
      <c:barChart>
        <c:barDir val="col"/>
        <c:grouping val="clustered"/>
        <c:varyColors val="0"/>
        <c:ser>
          <c:idx val="3"/>
          <c:order val="0"/>
          <c:tx>
            <c:strRef>
              <c:f>Sheet1!$B$1</c:f>
              <c:strCache>
                <c:ptCount val="1"/>
                <c:pt idx="0">
                  <c:v>počet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rgbClr val="2C2F7A"/>
              </a:solidFill>
            </c:spPr>
            <c:extLst>
              <c:ext xmlns:c16="http://schemas.microsoft.com/office/drawing/2014/chart" uri="{C3380CC4-5D6E-409C-BE32-E72D297353CC}">
                <c16:uniqueId val="{00000004-4D52-4700-9ACE-150753CFB83E}"/>
              </c:ext>
            </c:extLst>
          </c:dPt>
          <c:dPt>
            <c:idx val="2"/>
            <c:invertIfNegative val="0"/>
            <c:bubble3D val="0"/>
            <c:spPr>
              <a:solidFill>
                <a:srgbClr val="2C2F79"/>
              </a:solidFill>
            </c:spPr>
            <c:extLst>
              <c:ext xmlns:c16="http://schemas.microsoft.com/office/drawing/2014/chart" uri="{C3380CC4-5D6E-409C-BE32-E72D297353CC}">
                <c16:uniqueId val="{00000002-DF57-48F3-B17A-0519C683E4C9}"/>
              </c:ext>
            </c:extLst>
          </c:dPt>
          <c:dPt>
            <c:idx val="8"/>
            <c:invertIfNegative val="0"/>
            <c:bubble3D val="0"/>
            <c:spPr>
              <a:solidFill>
                <a:srgbClr val="2C2F7A"/>
              </a:solidFill>
            </c:spPr>
            <c:extLst>
              <c:ext xmlns:c16="http://schemas.microsoft.com/office/drawing/2014/chart" uri="{C3380CC4-5D6E-409C-BE32-E72D297353CC}">
                <c16:uniqueId val="{00000000-BEEE-4A4B-A320-8B6146040DA6}"/>
              </c:ext>
            </c:extLst>
          </c:dPt>
          <c:dPt>
            <c:idx val="11"/>
            <c:invertIfNegative val="0"/>
            <c:bubble3D val="0"/>
            <c:spPr>
              <a:solidFill>
                <a:srgbClr val="2C2F7A"/>
              </a:solidFill>
            </c:spPr>
            <c:extLst>
              <c:ext xmlns:c16="http://schemas.microsoft.com/office/drawing/2014/chart" uri="{C3380CC4-5D6E-409C-BE32-E72D297353CC}">
                <c16:uniqueId val="{00000006-2702-4369-9256-057B754A2178}"/>
              </c:ext>
            </c:extLst>
          </c:dPt>
          <c:dPt>
            <c:idx val="13"/>
            <c:invertIfNegative val="0"/>
            <c:bubble3D val="0"/>
            <c:spPr>
              <a:solidFill>
                <a:srgbClr val="D71440"/>
              </a:solidFill>
            </c:spPr>
            <c:extLst>
              <c:ext xmlns:c16="http://schemas.microsoft.com/office/drawing/2014/chart" uri="{C3380CC4-5D6E-409C-BE32-E72D297353CC}">
                <c16:uniqueId val="{00000008-FB96-4D2C-B01D-498CF87F66C3}"/>
              </c:ext>
            </c:extLst>
          </c:dPt>
          <c:cat>
            <c:strRef>
              <c:f>Sheet1!$A$2:$A$15</c:f>
              <c:strCache>
                <c:ptCount val="14"/>
                <c:pt idx="0">
                  <c:v>Hlavní město Praha</c:v>
                </c:pt>
                <c:pt idx="1">
                  <c:v>Moravskoslezský kraj</c:v>
                </c:pt>
                <c:pt idx="2">
                  <c:v>Jihomoravský kraj</c:v>
                </c:pt>
                <c:pt idx="3">
                  <c:v>Královéhradecký kraj</c:v>
                </c:pt>
                <c:pt idx="4">
                  <c:v>Olomoucký kraj</c:v>
                </c:pt>
                <c:pt idx="5">
                  <c:v>Kraj Vysočina</c:v>
                </c:pt>
                <c:pt idx="6">
                  <c:v>Plzeňský kraj</c:v>
                </c:pt>
                <c:pt idx="7">
                  <c:v>Středočeský kraj</c:v>
                </c:pt>
                <c:pt idx="8">
                  <c:v>Zlínský kraj</c:v>
                </c:pt>
                <c:pt idx="9">
                  <c:v>Ústecký kraj</c:v>
                </c:pt>
                <c:pt idx="10">
                  <c:v>Liberecký kraj</c:v>
                </c:pt>
                <c:pt idx="11">
                  <c:v>Pardubický kraj</c:v>
                </c:pt>
                <c:pt idx="12">
                  <c:v>Karlovarský kraj</c:v>
                </c:pt>
                <c:pt idx="13">
                  <c:v>Jihočeský kraj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11</c:v>
                </c:pt>
                <c:pt idx="1">
                  <c:v>9</c:v>
                </c:pt>
                <c:pt idx="2">
                  <c:v>8</c:v>
                </c:pt>
                <c:pt idx="3">
                  <c:v>6</c:v>
                </c:pt>
                <c:pt idx="4">
                  <c:v>6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4</c:v>
                </c:pt>
                <c:pt idx="9">
                  <c:v>4</c:v>
                </c:pt>
                <c:pt idx="10">
                  <c:v>3</c:v>
                </c:pt>
                <c:pt idx="11">
                  <c:v>3</c:v>
                </c:pt>
                <c:pt idx="12">
                  <c:v>2</c:v>
                </c:pt>
                <c:pt idx="1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18-497C-8ED2-1F2628D888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328231464"/>
        <c:axId val="328226368"/>
      </c:barChart>
      <c:catAx>
        <c:axId val="328231464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r>
                  <a:rPr lang="cs-CZ" b="0" dirty="0">
                    <a:solidFill>
                      <a:schemeClr val="tx1"/>
                    </a:solidFill>
                  </a:rPr>
                  <a:t>Kraj</a:t>
                </a:r>
              </a:p>
            </c:rich>
          </c:tx>
          <c:layout>
            <c:manualLayout>
              <c:xMode val="edge"/>
              <c:yMode val="edge"/>
              <c:x val="0.92035769823442903"/>
              <c:y val="0.82885804656231854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spPr>
          <a:ln w="316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900"/>
            </a:pPr>
            <a:endParaRPr lang="cs-CZ"/>
          </a:p>
        </c:txPr>
        <c:crossAx val="328226368"/>
        <c:crosses val="autoZero"/>
        <c:auto val="1"/>
        <c:lblAlgn val="ctr"/>
        <c:lblOffset val="240"/>
        <c:tickLblSkip val="1"/>
        <c:tickMarkSkip val="1"/>
        <c:noMultiLvlLbl val="0"/>
      </c:catAx>
      <c:valAx>
        <c:axId val="328226368"/>
        <c:scaling>
          <c:orientation val="minMax"/>
          <c:max val="14"/>
          <c:min val="0"/>
        </c:scaling>
        <c:delete val="0"/>
        <c:axPos val="l"/>
        <c:title>
          <c:tx>
            <c:rich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r>
                  <a:rPr lang="cs-CZ" b="0" dirty="0">
                    <a:solidFill>
                      <a:schemeClr val="tx1"/>
                    </a:solidFill>
                  </a:rPr>
                  <a:t>Počet center</a:t>
                </a:r>
              </a:p>
            </c:rich>
          </c:tx>
          <c:layout>
            <c:manualLayout>
              <c:xMode val="edge"/>
              <c:yMode val="edge"/>
              <c:x val="1.8861952600752491E-2"/>
              <c:y val="0.1569442637602356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spPr>
          <a:ln w="316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900"/>
            </a:pPr>
            <a:endParaRPr lang="cs-CZ"/>
          </a:p>
        </c:txPr>
        <c:crossAx val="328231464"/>
        <c:crosses val="autoZero"/>
        <c:crossBetween val="between"/>
      </c:valAx>
      <c:spPr>
        <a:noFill/>
        <a:ln w="25396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 algn="ctr">
        <a:defRPr lang="en-US" sz="1197" b="1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cs-CZ" sz="1200" dirty="0"/>
              <a:t>Počet žen z cílové populace na</a:t>
            </a:r>
            <a:r>
              <a:rPr lang="cs-CZ" sz="1200" baseline="0" dirty="0"/>
              <a:t> 1 mamografické screeningové centrum</a:t>
            </a:r>
            <a:endParaRPr lang="cs-CZ" sz="1200" dirty="0"/>
          </a:p>
        </c:rich>
      </c:tx>
      <c:layout>
        <c:manualLayout>
          <c:xMode val="edge"/>
          <c:yMode val="edge"/>
          <c:x val="0.17982531180467645"/>
          <c:y val="4.667164987589751E-3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3220207975570453"/>
          <c:y val="7.131897832510338E-2"/>
          <c:w val="0.84508478759904226"/>
          <c:h val="0.52082878560367019"/>
        </c:manualLayout>
      </c:layout>
      <c:barChart>
        <c:barDir val="col"/>
        <c:grouping val="clustered"/>
        <c:varyColors val="0"/>
        <c:ser>
          <c:idx val="3"/>
          <c:order val="0"/>
          <c:tx>
            <c:strRef>
              <c:f>Sheet1!$B$1</c:f>
              <c:strCache>
                <c:ptCount val="1"/>
                <c:pt idx="0">
                  <c:v>počet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rgbClr val="2C2F7A"/>
              </a:solidFill>
            </c:spPr>
            <c:extLst>
              <c:ext xmlns:c16="http://schemas.microsoft.com/office/drawing/2014/chart" uri="{C3380CC4-5D6E-409C-BE32-E72D297353CC}">
                <c16:uniqueId val="{00000004-0A62-4BD5-A358-C73C04149588}"/>
              </c:ext>
            </c:extLst>
          </c:dPt>
          <c:dPt>
            <c:idx val="2"/>
            <c:invertIfNegative val="0"/>
            <c:bubble3D val="0"/>
            <c:spPr>
              <a:solidFill>
                <a:srgbClr val="2C2F79"/>
              </a:solidFill>
            </c:spPr>
            <c:extLst>
              <c:ext xmlns:c16="http://schemas.microsoft.com/office/drawing/2014/chart" uri="{C3380CC4-5D6E-409C-BE32-E72D297353CC}">
                <c16:uniqueId val="{00000002-A479-473A-B608-715EA5090769}"/>
              </c:ext>
            </c:extLst>
          </c:dPt>
          <c:dPt>
            <c:idx val="8"/>
            <c:invertIfNegative val="0"/>
            <c:bubble3D val="0"/>
            <c:spPr>
              <a:solidFill>
                <a:srgbClr val="2C2F7A"/>
              </a:solidFill>
            </c:spPr>
            <c:extLst>
              <c:ext xmlns:c16="http://schemas.microsoft.com/office/drawing/2014/chart" uri="{C3380CC4-5D6E-409C-BE32-E72D297353CC}">
                <c16:uniqueId val="{00000000-8208-4FF6-A9FE-E388A21586F8}"/>
              </c:ext>
            </c:extLst>
          </c:dPt>
          <c:dPt>
            <c:idx val="11"/>
            <c:invertIfNegative val="0"/>
            <c:bubble3D val="0"/>
            <c:spPr>
              <a:solidFill>
                <a:srgbClr val="2C2F7A"/>
              </a:solidFill>
            </c:spPr>
            <c:extLst>
              <c:ext xmlns:c16="http://schemas.microsoft.com/office/drawing/2014/chart" uri="{C3380CC4-5D6E-409C-BE32-E72D297353CC}">
                <c16:uniqueId val="{00000006-12ED-4546-B328-02FB63A28867}"/>
              </c:ext>
            </c:extLst>
          </c:dPt>
          <c:dPt>
            <c:idx val="13"/>
            <c:invertIfNegative val="0"/>
            <c:bubble3D val="0"/>
            <c:spPr>
              <a:solidFill>
                <a:srgbClr val="D71440"/>
              </a:solidFill>
            </c:spPr>
            <c:extLst>
              <c:ext xmlns:c16="http://schemas.microsoft.com/office/drawing/2014/chart" uri="{C3380CC4-5D6E-409C-BE32-E72D297353CC}">
                <c16:uniqueId val="{00000008-6239-4344-BE5C-3297750F7455}"/>
              </c:ext>
            </c:extLst>
          </c:dPt>
          <c:cat>
            <c:strRef>
              <c:f>Sheet1!$A$2:$A$15</c:f>
              <c:strCache>
                <c:ptCount val="14"/>
                <c:pt idx="0">
                  <c:v>Hlavní město Praha</c:v>
                </c:pt>
                <c:pt idx="1">
                  <c:v>Moravskoslezský kraj</c:v>
                </c:pt>
                <c:pt idx="2">
                  <c:v>Jihomoravský kraj</c:v>
                </c:pt>
                <c:pt idx="3">
                  <c:v>Královéhradecký kraj</c:v>
                </c:pt>
                <c:pt idx="4">
                  <c:v>Olomoucký kraj</c:v>
                </c:pt>
                <c:pt idx="5">
                  <c:v>Kraj Vysočina</c:v>
                </c:pt>
                <c:pt idx="6">
                  <c:v>Plzeňský kraj</c:v>
                </c:pt>
                <c:pt idx="7">
                  <c:v>Středočeský kraj</c:v>
                </c:pt>
                <c:pt idx="8">
                  <c:v>Zlínský kraj</c:v>
                </c:pt>
                <c:pt idx="9">
                  <c:v>Ústecký kraj</c:v>
                </c:pt>
                <c:pt idx="10">
                  <c:v>Liberecký kraj</c:v>
                </c:pt>
                <c:pt idx="11">
                  <c:v>Pardubický kraj</c:v>
                </c:pt>
                <c:pt idx="12">
                  <c:v>Karlovarský kraj</c:v>
                </c:pt>
                <c:pt idx="13">
                  <c:v>Jihočeský kraj</c:v>
                </c:pt>
              </c:strCache>
            </c:strRef>
          </c:cat>
          <c:val>
            <c:numRef>
              <c:f>Sheet1!$B$2:$B$15</c:f>
              <c:numCache>
                <c:formatCode>0</c:formatCode>
                <c:ptCount val="14"/>
                <c:pt idx="0">
                  <c:v>30297.090909090908</c:v>
                </c:pt>
                <c:pt idx="1">
                  <c:v>35475.888888888891</c:v>
                </c:pt>
                <c:pt idx="2">
                  <c:v>39021.25</c:v>
                </c:pt>
                <c:pt idx="3">
                  <c:v>24755.833333333332</c:v>
                </c:pt>
                <c:pt idx="4">
                  <c:v>28175.666666666668</c:v>
                </c:pt>
                <c:pt idx="5">
                  <c:v>26889.8</c:v>
                </c:pt>
                <c:pt idx="6">
                  <c:v>31452.2</c:v>
                </c:pt>
                <c:pt idx="7">
                  <c:v>71129</c:v>
                </c:pt>
                <c:pt idx="8">
                  <c:v>39312</c:v>
                </c:pt>
                <c:pt idx="9">
                  <c:v>52788</c:v>
                </c:pt>
                <c:pt idx="10">
                  <c:v>38961.333333333336</c:v>
                </c:pt>
                <c:pt idx="11">
                  <c:v>45508.333333333336</c:v>
                </c:pt>
                <c:pt idx="12">
                  <c:v>39820</c:v>
                </c:pt>
                <c:pt idx="13">
                  <c:v>8556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F0-45A6-832B-B3A0F99D6C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328231464"/>
        <c:axId val="328226368"/>
      </c:barChart>
      <c:catAx>
        <c:axId val="328231464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r>
                  <a:rPr lang="cs-CZ" b="0" dirty="0">
                    <a:solidFill>
                      <a:schemeClr val="tx1"/>
                    </a:solidFill>
                  </a:rPr>
                  <a:t>Kraj</a:t>
                </a:r>
              </a:p>
            </c:rich>
          </c:tx>
          <c:layout>
            <c:manualLayout>
              <c:xMode val="edge"/>
              <c:yMode val="edge"/>
              <c:x val="0.92035769823442903"/>
              <c:y val="0.82885804656231854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spPr>
          <a:ln w="316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900"/>
            </a:pPr>
            <a:endParaRPr lang="cs-CZ"/>
          </a:p>
        </c:txPr>
        <c:crossAx val="328226368"/>
        <c:crosses val="autoZero"/>
        <c:auto val="1"/>
        <c:lblAlgn val="ctr"/>
        <c:lblOffset val="240"/>
        <c:tickLblSkip val="1"/>
        <c:tickMarkSkip val="1"/>
        <c:noMultiLvlLbl val="0"/>
      </c:catAx>
      <c:valAx>
        <c:axId val="328226368"/>
        <c:scaling>
          <c:orientation val="minMax"/>
          <c:max val="100000"/>
          <c:min val="0"/>
        </c:scaling>
        <c:delete val="0"/>
        <c:axPos val="l"/>
        <c:title>
          <c:tx>
            <c:rich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r>
                  <a:rPr lang="cs-CZ" b="0" dirty="0">
                    <a:solidFill>
                      <a:schemeClr val="tx1"/>
                    </a:solidFill>
                  </a:rPr>
                  <a:t>Počet žen na 1 centrum</a:t>
                </a:r>
              </a:p>
            </c:rich>
          </c:tx>
          <c:layout>
            <c:manualLayout>
              <c:xMode val="edge"/>
              <c:yMode val="edge"/>
              <c:x val="2.0653264736892215E-2"/>
              <c:y val="2.9278191697738234E-3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spPr>
          <a:ln w="316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900"/>
            </a:pPr>
            <a:endParaRPr lang="cs-CZ"/>
          </a:p>
        </c:txPr>
        <c:crossAx val="328231464"/>
        <c:crosses val="autoZero"/>
        <c:crossBetween val="between"/>
      </c:valAx>
      <c:spPr>
        <a:noFill/>
        <a:ln w="25396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 algn="ctr">
        <a:defRPr lang="en-US" sz="1197" b="1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3266959194468845E-2"/>
          <c:y val="7.1318953650543221E-2"/>
          <c:w val="0.8745461197344413"/>
          <c:h val="0.60224853264784184"/>
        </c:manualLayout>
      </c:layout>
      <c:barChart>
        <c:barDir val="col"/>
        <c:grouping val="clustered"/>
        <c:varyColors val="0"/>
        <c:ser>
          <c:idx val="3"/>
          <c:order val="0"/>
          <c:tx>
            <c:strRef>
              <c:f>Sheet1!$B$1</c:f>
              <c:strCache>
                <c:ptCount val="1"/>
                <c:pt idx="0">
                  <c:v>průměrná objednávací doba 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rgbClr val="2C2F7A"/>
              </a:solidFill>
            </c:spPr>
            <c:extLst>
              <c:ext xmlns:c16="http://schemas.microsoft.com/office/drawing/2014/chart" uri="{C3380CC4-5D6E-409C-BE32-E72D297353CC}">
                <c16:uniqueId val="{00000000-B449-4A4F-8020-B9B1065E8D3D}"/>
              </c:ext>
            </c:extLst>
          </c:dPt>
          <c:dPt>
            <c:idx val="2"/>
            <c:invertIfNegative val="0"/>
            <c:bubble3D val="0"/>
            <c:spPr>
              <a:solidFill>
                <a:srgbClr val="2C2F7A"/>
              </a:solidFill>
            </c:spPr>
            <c:extLst>
              <c:ext xmlns:c16="http://schemas.microsoft.com/office/drawing/2014/chart" uri="{C3380CC4-5D6E-409C-BE32-E72D297353CC}">
                <c16:uniqueId val="{00000004-E8A4-41A7-8D65-C665D9725951}"/>
              </c:ext>
            </c:extLst>
          </c:dPt>
          <c:dPt>
            <c:idx val="5"/>
            <c:invertIfNegative val="0"/>
            <c:bubble3D val="0"/>
            <c:spPr>
              <a:solidFill>
                <a:srgbClr val="2C2F7A"/>
              </a:solidFill>
            </c:spPr>
            <c:extLst>
              <c:ext xmlns:c16="http://schemas.microsoft.com/office/drawing/2014/chart" uri="{C3380CC4-5D6E-409C-BE32-E72D297353CC}">
                <c16:uniqueId val="{00000006-312F-4195-930C-D29EC0B0ACD0}"/>
              </c:ext>
            </c:extLst>
          </c:dPt>
          <c:dPt>
            <c:idx val="6"/>
            <c:invertIfNegative val="0"/>
            <c:bubble3D val="0"/>
            <c:spPr>
              <a:solidFill>
                <a:srgbClr val="D71440"/>
              </a:solidFill>
            </c:spPr>
            <c:extLst>
              <c:ext xmlns:c16="http://schemas.microsoft.com/office/drawing/2014/chart" uri="{C3380CC4-5D6E-409C-BE32-E72D297353CC}">
                <c16:uniqueId val="{00000008-E2CC-4F11-8A0D-D036A2C2EFA8}"/>
              </c:ext>
            </c:extLst>
          </c:dPt>
          <c:dPt>
            <c:idx val="10"/>
            <c:invertIfNegative val="0"/>
            <c:bubble3D val="0"/>
            <c:spPr>
              <a:solidFill>
                <a:srgbClr val="2C2F79"/>
              </a:solidFill>
            </c:spPr>
            <c:extLst>
              <c:ext xmlns:c16="http://schemas.microsoft.com/office/drawing/2014/chart" uri="{C3380CC4-5D6E-409C-BE32-E72D297353CC}">
                <c16:uniqueId val="{00000002-8BB7-4C5C-B110-BDA315A94C56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>
                    <a:solidFill>
                      <a:schemeClr val="tx1"/>
                    </a:solidFill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5</c:f>
              <c:strCache>
                <c:ptCount val="14"/>
                <c:pt idx="0">
                  <c:v>Karlovarský kraj</c:v>
                </c:pt>
                <c:pt idx="1">
                  <c:v>Moravskoslezský kraj</c:v>
                </c:pt>
                <c:pt idx="2">
                  <c:v>Ústecký kraj</c:v>
                </c:pt>
                <c:pt idx="3">
                  <c:v>Zlínský kraj</c:v>
                </c:pt>
                <c:pt idx="4">
                  <c:v>Pardubický kraj</c:v>
                </c:pt>
                <c:pt idx="5">
                  <c:v>Hlavní město Praha</c:v>
                </c:pt>
                <c:pt idx="6">
                  <c:v>Jihočeský kraj</c:v>
                </c:pt>
                <c:pt idx="7">
                  <c:v>Liberecký kraj</c:v>
                </c:pt>
                <c:pt idx="8">
                  <c:v>Jihomoravský kraj</c:v>
                </c:pt>
                <c:pt idx="9">
                  <c:v>Plzeňský kraj</c:v>
                </c:pt>
                <c:pt idx="10">
                  <c:v>Středočeský kraj</c:v>
                </c:pt>
                <c:pt idx="11">
                  <c:v>Královéhradecký kraj</c:v>
                </c:pt>
                <c:pt idx="12">
                  <c:v>Olomoucký kraj</c:v>
                </c:pt>
                <c:pt idx="13">
                  <c:v>Kraj Vysočina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62</c:v>
                </c:pt>
                <c:pt idx="1">
                  <c:v>29.444444444444443</c:v>
                </c:pt>
                <c:pt idx="2">
                  <c:v>27</c:v>
                </c:pt>
                <c:pt idx="3">
                  <c:v>35</c:v>
                </c:pt>
                <c:pt idx="4">
                  <c:v>17.666666666666668</c:v>
                </c:pt>
                <c:pt idx="5">
                  <c:v>21.181818181818183</c:v>
                </c:pt>
                <c:pt idx="6">
                  <c:v>27</c:v>
                </c:pt>
                <c:pt idx="7">
                  <c:v>17.666666666666668</c:v>
                </c:pt>
                <c:pt idx="8">
                  <c:v>14.75</c:v>
                </c:pt>
                <c:pt idx="9">
                  <c:v>19.399999999999999</c:v>
                </c:pt>
                <c:pt idx="10">
                  <c:v>14.2</c:v>
                </c:pt>
                <c:pt idx="11">
                  <c:v>16.833333333333332</c:v>
                </c:pt>
                <c:pt idx="12">
                  <c:v>12</c:v>
                </c:pt>
                <c:pt idx="13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CD5-4B00-BF0A-25604D019E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328231464"/>
        <c:axId val="328226368"/>
      </c:barChart>
      <c:catAx>
        <c:axId val="328231464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r>
                  <a:rPr lang="cs-CZ" b="0" dirty="0">
                    <a:solidFill>
                      <a:schemeClr val="tx1"/>
                    </a:solidFill>
                  </a:rPr>
                  <a:t>Kraj</a:t>
                </a:r>
              </a:p>
            </c:rich>
          </c:tx>
          <c:layout>
            <c:manualLayout>
              <c:xMode val="edge"/>
              <c:yMode val="edge"/>
              <c:x val="0.92035765135750458"/>
              <c:y val="0.86884454099687991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spPr>
          <a:ln w="316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900">
                <a:solidFill>
                  <a:schemeClr val="tx1"/>
                </a:solidFill>
              </a:defRPr>
            </a:pPr>
            <a:endParaRPr lang="cs-CZ"/>
          </a:p>
        </c:txPr>
        <c:crossAx val="328226368"/>
        <c:crosses val="autoZero"/>
        <c:auto val="1"/>
        <c:lblAlgn val="ctr"/>
        <c:lblOffset val="240"/>
        <c:tickLblSkip val="1"/>
        <c:tickMarkSkip val="1"/>
        <c:noMultiLvlLbl val="0"/>
      </c:catAx>
      <c:valAx>
        <c:axId val="328226368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r>
                  <a:rPr lang="cs-CZ" b="0" dirty="0">
                    <a:solidFill>
                      <a:schemeClr val="tx1"/>
                    </a:solidFill>
                  </a:rPr>
                  <a:t>Průměrná objednávací doba v regionu ve dnech</a:t>
                </a:r>
              </a:p>
            </c:rich>
          </c:tx>
          <c:layout>
            <c:manualLayout>
              <c:xMode val="edge"/>
              <c:yMode val="edge"/>
              <c:x val="1.4001719746558762E-2"/>
              <c:y val="2.5085105575116472E-2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spPr>
          <a:ln w="316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328231464"/>
        <c:crosses val="autoZero"/>
        <c:crossBetween val="between"/>
        <c:minorUnit val="2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 algn="ctr">
        <a:defRPr lang="en-US" sz="1197" b="1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3266959194468845E-2"/>
          <c:y val="7.1318953650543221E-2"/>
          <c:w val="0.8745461197344413"/>
          <c:h val="0.60224853264784184"/>
        </c:manualLayout>
      </c:layout>
      <c:barChart>
        <c:barDir val="col"/>
        <c:grouping val="clustered"/>
        <c:varyColors val="0"/>
        <c:ser>
          <c:idx val="3"/>
          <c:order val="0"/>
          <c:tx>
            <c:strRef>
              <c:f>Sheet1!$B$1</c:f>
              <c:strCache>
                <c:ptCount val="1"/>
                <c:pt idx="0">
                  <c:v>průměrná objednávací doba 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rgbClr val="2C2F7A"/>
              </a:solidFill>
            </c:spPr>
            <c:extLst>
              <c:ext xmlns:c16="http://schemas.microsoft.com/office/drawing/2014/chart" uri="{C3380CC4-5D6E-409C-BE32-E72D297353CC}">
                <c16:uniqueId val="{00000000-B449-4A4F-8020-B9B1065E8D3D}"/>
              </c:ext>
            </c:extLst>
          </c:dPt>
          <c:dPt>
            <c:idx val="2"/>
            <c:invertIfNegative val="0"/>
            <c:bubble3D val="0"/>
            <c:spPr>
              <a:solidFill>
                <a:srgbClr val="2C2F7A"/>
              </a:solidFill>
            </c:spPr>
            <c:extLst>
              <c:ext xmlns:c16="http://schemas.microsoft.com/office/drawing/2014/chart" uri="{C3380CC4-5D6E-409C-BE32-E72D297353CC}">
                <c16:uniqueId val="{00000004-E8A4-41A7-8D65-C665D9725951}"/>
              </c:ext>
            </c:extLst>
          </c:dPt>
          <c:dPt>
            <c:idx val="5"/>
            <c:invertIfNegative val="0"/>
            <c:bubble3D val="0"/>
            <c:spPr>
              <a:solidFill>
                <a:srgbClr val="2C2F7A"/>
              </a:solidFill>
            </c:spPr>
            <c:extLst>
              <c:ext xmlns:c16="http://schemas.microsoft.com/office/drawing/2014/chart" uri="{C3380CC4-5D6E-409C-BE32-E72D297353CC}">
                <c16:uniqueId val="{00000006-440A-4B3C-90D0-DF2756223EAD}"/>
              </c:ext>
            </c:extLst>
          </c:dPt>
          <c:dPt>
            <c:idx val="6"/>
            <c:invertIfNegative val="0"/>
            <c:bubble3D val="0"/>
            <c:spPr>
              <a:solidFill>
                <a:srgbClr val="D71440"/>
              </a:solidFill>
            </c:spPr>
            <c:extLst>
              <c:ext xmlns:c16="http://schemas.microsoft.com/office/drawing/2014/chart" uri="{C3380CC4-5D6E-409C-BE32-E72D297353CC}">
                <c16:uniqueId val="{00000009-0362-44F2-ADAD-C146950C68E4}"/>
              </c:ext>
            </c:extLst>
          </c:dPt>
          <c:dPt>
            <c:idx val="10"/>
            <c:invertIfNegative val="0"/>
            <c:bubble3D val="0"/>
            <c:spPr>
              <a:solidFill>
                <a:srgbClr val="2C2F79"/>
              </a:solidFill>
            </c:spPr>
            <c:extLst>
              <c:ext xmlns:c16="http://schemas.microsoft.com/office/drawing/2014/chart" uri="{C3380CC4-5D6E-409C-BE32-E72D297353CC}">
                <c16:uniqueId val="{00000002-8BB7-4C5C-B110-BDA315A94C56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>
                    <a:solidFill>
                      <a:schemeClr val="tx1"/>
                    </a:solidFill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5</c:f>
              <c:strCache>
                <c:ptCount val="14"/>
                <c:pt idx="0">
                  <c:v>Karlovarský kraj</c:v>
                </c:pt>
                <c:pt idx="1">
                  <c:v>Moravskoslezský kraj</c:v>
                </c:pt>
                <c:pt idx="2">
                  <c:v>Ústecký kraj</c:v>
                </c:pt>
                <c:pt idx="3">
                  <c:v>Zlínský kraj</c:v>
                </c:pt>
                <c:pt idx="4">
                  <c:v>Pardubický kraj</c:v>
                </c:pt>
                <c:pt idx="5">
                  <c:v>Hlavní město Praha</c:v>
                </c:pt>
                <c:pt idx="6">
                  <c:v>Jihočeský kraj</c:v>
                </c:pt>
                <c:pt idx="7">
                  <c:v>Liberecký kraj</c:v>
                </c:pt>
                <c:pt idx="8">
                  <c:v>Jihomoravský kraj</c:v>
                </c:pt>
                <c:pt idx="9">
                  <c:v>Plzeňský kraj</c:v>
                </c:pt>
                <c:pt idx="10">
                  <c:v>Středočeský kraj</c:v>
                </c:pt>
                <c:pt idx="11">
                  <c:v>Královéhradecký kraj</c:v>
                </c:pt>
                <c:pt idx="12">
                  <c:v>Olomoucký kraj</c:v>
                </c:pt>
                <c:pt idx="13">
                  <c:v>Kraj Vysočina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42.5</c:v>
                </c:pt>
                <c:pt idx="1">
                  <c:v>35.333333333333336</c:v>
                </c:pt>
                <c:pt idx="2">
                  <c:v>31.75</c:v>
                </c:pt>
                <c:pt idx="3">
                  <c:v>27.75</c:v>
                </c:pt>
                <c:pt idx="4">
                  <c:v>22.666666666666668</c:v>
                </c:pt>
                <c:pt idx="5">
                  <c:v>21.727272727272727</c:v>
                </c:pt>
                <c:pt idx="6">
                  <c:v>20.5</c:v>
                </c:pt>
                <c:pt idx="7">
                  <c:v>20.333333333333332</c:v>
                </c:pt>
                <c:pt idx="8">
                  <c:v>16.875</c:v>
                </c:pt>
                <c:pt idx="9">
                  <c:v>16</c:v>
                </c:pt>
                <c:pt idx="10">
                  <c:v>15.2</c:v>
                </c:pt>
                <c:pt idx="11">
                  <c:v>14.666666666666666</c:v>
                </c:pt>
                <c:pt idx="12">
                  <c:v>12.666666666666666</c:v>
                </c:pt>
                <c:pt idx="13">
                  <c:v>1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CD5-4B00-BF0A-25604D019E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328231464"/>
        <c:axId val="328226368"/>
      </c:barChart>
      <c:catAx>
        <c:axId val="328231464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r>
                  <a:rPr lang="cs-CZ" b="0" dirty="0">
                    <a:solidFill>
                      <a:schemeClr val="tx1"/>
                    </a:solidFill>
                  </a:rPr>
                  <a:t>Kraj</a:t>
                </a:r>
              </a:p>
            </c:rich>
          </c:tx>
          <c:layout>
            <c:manualLayout>
              <c:xMode val="edge"/>
              <c:yMode val="edge"/>
              <c:x val="0.92035765135750458"/>
              <c:y val="0.86884454099687991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spPr>
          <a:ln w="316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900">
                <a:solidFill>
                  <a:schemeClr val="tx1"/>
                </a:solidFill>
              </a:defRPr>
            </a:pPr>
            <a:endParaRPr lang="cs-CZ"/>
          </a:p>
        </c:txPr>
        <c:crossAx val="328226368"/>
        <c:crosses val="autoZero"/>
        <c:auto val="1"/>
        <c:lblAlgn val="ctr"/>
        <c:lblOffset val="240"/>
        <c:tickLblSkip val="1"/>
        <c:tickMarkSkip val="1"/>
        <c:noMultiLvlLbl val="0"/>
      </c:catAx>
      <c:valAx>
        <c:axId val="328226368"/>
        <c:scaling>
          <c:orientation val="minMax"/>
          <c:max val="70"/>
        </c:scaling>
        <c:delete val="0"/>
        <c:axPos val="l"/>
        <c:title>
          <c:tx>
            <c:rich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r>
                  <a:rPr lang="cs-CZ" b="0" dirty="0">
                    <a:solidFill>
                      <a:schemeClr val="tx1"/>
                    </a:solidFill>
                  </a:rPr>
                  <a:t>Průměrná objednávací doba v regionu ve dnech</a:t>
                </a:r>
              </a:p>
            </c:rich>
          </c:tx>
          <c:layout>
            <c:manualLayout>
              <c:xMode val="edge"/>
              <c:yMode val="edge"/>
              <c:x val="1.4001719746558762E-2"/>
              <c:y val="2.5085105575116472E-2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spPr>
          <a:ln w="316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328231464"/>
        <c:crosses val="autoZero"/>
        <c:crossBetween val="between"/>
        <c:minorUnit val="2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 algn="ctr">
        <a:defRPr lang="en-US" sz="1197" b="1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8614564831261103E-2"/>
          <c:y val="5.4888507718696397E-2"/>
          <c:w val="0.88987566607460034"/>
          <c:h val="0.93825042881646659"/>
        </c:manualLayout>
      </c:layout>
      <c:barChart>
        <c:barDir val="bar"/>
        <c:grouping val="clustered"/>
        <c:varyColors val="0"/>
        <c:ser>
          <c:idx val="5"/>
          <c:order val="0"/>
          <c:tx>
            <c:strRef>
              <c:f>Sheet1!$B$1</c:f>
              <c:strCache>
                <c:ptCount val="1"/>
                <c:pt idx="0">
                  <c:v>31</c:v>
                </c:pt>
              </c:strCache>
            </c:strRef>
          </c:tx>
          <c:spPr>
            <a:solidFill>
              <a:srgbClr val="C00000"/>
            </a:solidFill>
            <a:ln w="24393">
              <a:noFill/>
            </a:ln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 b="0">
                    <a:latin typeface="+mn-lt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28</c:f>
              <c:strCache>
                <c:ptCount val="27"/>
                <c:pt idx="0">
                  <c:v>nemelanomový kožní ZN (C44)</c:v>
                </c:pt>
                <c:pt idx="1">
                  <c:v>ZN prostaty (C61)</c:v>
                </c:pt>
                <c:pt idx="2">
                  <c:v>ZN tlustého střeva a konečníku (C18–C20)</c:v>
                </c:pt>
                <c:pt idx="3">
                  <c:v>ZN prsu (C50) u žen</c:v>
                </c:pt>
                <c:pt idx="4">
                  <c:v>ZN průdušnice, průdušky a plíce (C33, C34)</c:v>
                </c:pt>
                <c:pt idx="5">
                  <c:v>ZN ledviny (C64)</c:v>
                </c:pt>
                <c:pt idx="6">
                  <c:v>zhoubný melanom kůže (C43)</c:v>
                </c:pt>
                <c:pt idx="7">
                  <c:v>ZN slinivky břišní (C25)</c:v>
                </c:pt>
                <c:pt idx="8">
                  <c:v>ZN močového měchýře (C67)</c:v>
                </c:pt>
                <c:pt idx="9">
                  <c:v>ZN dělohy (C54, C55)</c:v>
                </c:pt>
                <c:pt idx="10">
                  <c:v>non-Hodgkinův lymfom (C82–C86)</c:v>
                </c:pt>
                <c:pt idx="11">
                  <c:v>ZN hlavy a krku (C00–C14, C30–C31)</c:v>
                </c:pt>
                <c:pt idx="12">
                  <c:v>ZN žaludku (C16)</c:v>
                </c:pt>
                <c:pt idx="13">
                  <c:v>ZN štítné žlázy (C73)</c:v>
                </c:pt>
                <c:pt idx="14">
                  <c:v>leukémie (C91–C95)</c:v>
                </c:pt>
                <c:pt idx="15">
                  <c:v>ZN jater a intrahepatálních žlučových cest (C22)</c:v>
                </c:pt>
                <c:pt idx="16">
                  <c:v>ZN mozku, míchy a jiných částí CNS (C70–C72)</c:v>
                </c:pt>
                <c:pt idx="17">
                  <c:v>ZN vaječníku (C56)</c:v>
                </c:pt>
                <c:pt idx="18">
                  <c:v>ZN žlučníku a žlučových cest (C23, C24)</c:v>
                </c:pt>
                <c:pt idx="19">
                  <c:v>ZN jícnu (C15)</c:v>
                </c:pt>
                <c:pt idx="20">
                  <c:v>mnohočetný myelom (C90)</c:v>
                </c:pt>
                <c:pt idx="21">
                  <c:v>ZN hrdla děložního (C53)</c:v>
                </c:pt>
                <c:pt idx="22">
                  <c:v>ZN hrtanu (C32)</c:v>
                </c:pt>
                <c:pt idx="23">
                  <c:v>ZN poj. a měk. tkání a perif. nervů (C47, C49)</c:v>
                </c:pt>
                <c:pt idx="24">
                  <c:v>ZN varlete (C62)</c:v>
                </c:pt>
                <c:pt idx="25">
                  <c:v>Hodgkinův lymfom (C81)</c:v>
                </c:pt>
                <c:pt idx="26">
                  <c:v>ostatní zhoubné novotvary</c:v>
                </c:pt>
              </c:strCache>
            </c:strRef>
          </c:cat>
          <c:val>
            <c:numRef>
              <c:f>Sheet1!$B$2:$B$28</c:f>
              <c:numCache>
                <c:formatCode>General</c:formatCode>
                <c:ptCount val="27"/>
                <c:pt idx="0">
                  <c:v>258.59050000000002</c:v>
                </c:pt>
                <c:pt idx="1">
                  <c:v>72.364440000000002</c:v>
                </c:pt>
                <c:pt idx="2">
                  <c:v>71.527680000000004</c:v>
                </c:pt>
                <c:pt idx="3">
                  <c:v>68.676490000000001</c:v>
                </c:pt>
                <c:pt idx="4">
                  <c:v>63.438980000000001</c:v>
                </c:pt>
                <c:pt idx="5">
                  <c:v>34.648159999999997</c:v>
                </c:pt>
                <c:pt idx="6">
                  <c:v>26.807379999999998</c:v>
                </c:pt>
                <c:pt idx="7">
                  <c:v>25.07188</c:v>
                </c:pt>
                <c:pt idx="8">
                  <c:v>18.68769</c:v>
                </c:pt>
                <c:pt idx="9">
                  <c:v>18.346789999999999</c:v>
                </c:pt>
                <c:pt idx="10">
                  <c:v>16.797229999999999</c:v>
                </c:pt>
                <c:pt idx="11">
                  <c:v>16.549299999999999</c:v>
                </c:pt>
                <c:pt idx="12">
                  <c:v>14.59685</c:v>
                </c:pt>
                <c:pt idx="13">
                  <c:v>11.497730000000001</c:v>
                </c:pt>
                <c:pt idx="14">
                  <c:v>11.18782</c:v>
                </c:pt>
                <c:pt idx="15">
                  <c:v>9.9171820000000004</c:v>
                </c:pt>
                <c:pt idx="16">
                  <c:v>9.1114110000000004</c:v>
                </c:pt>
                <c:pt idx="17">
                  <c:v>8.9254639999999998</c:v>
                </c:pt>
                <c:pt idx="18">
                  <c:v>8.1196929999999998</c:v>
                </c:pt>
                <c:pt idx="19">
                  <c:v>7.7168070000000002</c:v>
                </c:pt>
                <c:pt idx="20">
                  <c:v>7.0350010000000003</c:v>
                </c:pt>
                <c:pt idx="21">
                  <c:v>6.3841859999999997</c:v>
                </c:pt>
                <c:pt idx="22">
                  <c:v>4.5557059999999998</c:v>
                </c:pt>
                <c:pt idx="23">
                  <c:v>3.9978639999999999</c:v>
                </c:pt>
                <c:pt idx="24">
                  <c:v>3.8738990000000002</c:v>
                </c:pt>
                <c:pt idx="25">
                  <c:v>3.4090310000000001</c:v>
                </c:pt>
                <c:pt idx="26">
                  <c:v>34.059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4BF-44FB-B81E-83D63D41A316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ČR</c:v>
                </c:pt>
              </c:strCache>
            </c:strRef>
          </c:tx>
          <c:spPr>
            <a:solidFill>
              <a:srgbClr val="CC9900"/>
            </a:solidFill>
            <a:ln w="24393">
              <a:noFill/>
            </a:ln>
          </c:spPr>
          <c:invertIfNegative val="0"/>
          <c:dLbls>
            <c:delete val="1"/>
          </c:dLbls>
          <c:cat>
            <c:strRef>
              <c:f>Sheet1!$A$2:$A$28</c:f>
              <c:strCache>
                <c:ptCount val="27"/>
                <c:pt idx="0">
                  <c:v>nemelanomový kožní ZN (C44)</c:v>
                </c:pt>
                <c:pt idx="1">
                  <c:v>ZN prostaty (C61)</c:v>
                </c:pt>
                <c:pt idx="2">
                  <c:v>ZN tlustého střeva a konečníku (C18–C20)</c:v>
                </c:pt>
                <c:pt idx="3">
                  <c:v>ZN prsu (C50) u žen</c:v>
                </c:pt>
                <c:pt idx="4">
                  <c:v>ZN průdušnice, průdušky a plíce (C33, C34)</c:v>
                </c:pt>
                <c:pt idx="5">
                  <c:v>ZN ledviny (C64)</c:v>
                </c:pt>
                <c:pt idx="6">
                  <c:v>zhoubný melanom kůže (C43)</c:v>
                </c:pt>
                <c:pt idx="7">
                  <c:v>ZN slinivky břišní (C25)</c:v>
                </c:pt>
                <c:pt idx="8">
                  <c:v>ZN močového měchýře (C67)</c:v>
                </c:pt>
                <c:pt idx="9">
                  <c:v>ZN dělohy (C54, C55)</c:v>
                </c:pt>
                <c:pt idx="10">
                  <c:v>non-Hodgkinův lymfom (C82–C86)</c:v>
                </c:pt>
                <c:pt idx="11">
                  <c:v>ZN hlavy a krku (C00–C14, C30–C31)</c:v>
                </c:pt>
                <c:pt idx="12">
                  <c:v>ZN žaludku (C16)</c:v>
                </c:pt>
                <c:pt idx="13">
                  <c:v>ZN štítné žlázy (C73)</c:v>
                </c:pt>
                <c:pt idx="14">
                  <c:v>leukémie (C91–C95)</c:v>
                </c:pt>
                <c:pt idx="15">
                  <c:v>ZN jater a intrahepatálních žlučových cest (C22)</c:v>
                </c:pt>
                <c:pt idx="16">
                  <c:v>ZN mozku, míchy a jiných částí CNS (C70–C72)</c:v>
                </c:pt>
                <c:pt idx="17">
                  <c:v>ZN vaječníku (C56)</c:v>
                </c:pt>
                <c:pt idx="18">
                  <c:v>ZN žlučníku a žlučových cest (C23, C24)</c:v>
                </c:pt>
                <c:pt idx="19">
                  <c:v>ZN jícnu (C15)</c:v>
                </c:pt>
                <c:pt idx="20">
                  <c:v>mnohočetný myelom (C90)</c:v>
                </c:pt>
                <c:pt idx="21">
                  <c:v>ZN hrdla děložního (C53)</c:v>
                </c:pt>
                <c:pt idx="22">
                  <c:v>ZN hrtanu (C32)</c:v>
                </c:pt>
                <c:pt idx="23">
                  <c:v>ZN poj. a měk. tkání a perif. nervů (C47, C49)</c:v>
                </c:pt>
                <c:pt idx="24">
                  <c:v>ZN varlete (C62)</c:v>
                </c:pt>
                <c:pt idx="25">
                  <c:v>Hodgkinův lymfom (C81)</c:v>
                </c:pt>
                <c:pt idx="26">
                  <c:v>ostatní zhoubné novotvary</c:v>
                </c:pt>
              </c:strCache>
            </c:strRef>
          </c:cat>
          <c:val>
            <c:numRef>
              <c:f>Sheet1!$C$2:$C$28</c:f>
              <c:numCache>
                <c:formatCode>General</c:formatCode>
                <c:ptCount val="27"/>
                <c:pt idx="0">
                  <c:v>248.97069999999999</c:v>
                </c:pt>
                <c:pt idx="1">
                  <c:v>76.426100000000005</c:v>
                </c:pt>
                <c:pt idx="2">
                  <c:v>66.623810000000006</c:v>
                </c:pt>
                <c:pt idx="3">
                  <c:v>71.938919999999996</c:v>
                </c:pt>
                <c:pt idx="4">
                  <c:v>61.803959999999996</c:v>
                </c:pt>
                <c:pt idx="5">
                  <c:v>30.133870000000002</c:v>
                </c:pt>
                <c:pt idx="6">
                  <c:v>25.665369999999999</c:v>
                </c:pt>
                <c:pt idx="7">
                  <c:v>24.22072</c:v>
                </c:pt>
                <c:pt idx="8">
                  <c:v>20.33905</c:v>
                </c:pt>
                <c:pt idx="9">
                  <c:v>18.27768</c:v>
                </c:pt>
                <c:pt idx="10">
                  <c:v>18.161809999999999</c:v>
                </c:pt>
                <c:pt idx="11">
                  <c:v>19.213989999999999</c:v>
                </c:pt>
                <c:pt idx="12">
                  <c:v>14.04279</c:v>
                </c:pt>
                <c:pt idx="13">
                  <c:v>10.80775</c:v>
                </c:pt>
                <c:pt idx="14">
                  <c:v>14.55486</c:v>
                </c:pt>
                <c:pt idx="15">
                  <c:v>10.041510000000001</c:v>
                </c:pt>
                <c:pt idx="16">
                  <c:v>8.7164710000000003</c:v>
                </c:pt>
                <c:pt idx="17">
                  <c:v>9.0416559999999997</c:v>
                </c:pt>
                <c:pt idx="18">
                  <c:v>7.8493089999999999</c:v>
                </c:pt>
                <c:pt idx="19">
                  <c:v>7.4381550000000001</c:v>
                </c:pt>
                <c:pt idx="20">
                  <c:v>6.7391920000000001</c:v>
                </c:pt>
                <c:pt idx="21">
                  <c:v>7.2045440000000003</c:v>
                </c:pt>
                <c:pt idx="22">
                  <c:v>4.2311509999999997</c:v>
                </c:pt>
                <c:pt idx="23">
                  <c:v>3.4219249999999999</c:v>
                </c:pt>
                <c:pt idx="24">
                  <c:v>4.7002410000000001</c:v>
                </c:pt>
                <c:pt idx="25">
                  <c:v>2.8612600000000001</c:v>
                </c:pt>
                <c:pt idx="26">
                  <c:v>35.83209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BF-44FB-B81E-83D63D41A31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"/>
        <c:axId val="201892000"/>
        <c:axId val="1"/>
      </c:barChart>
      <c:catAx>
        <c:axId val="20189200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3049">
            <a:solidFill>
              <a:schemeClr val="tx1"/>
            </a:solidFill>
            <a:prstDash val="solid"/>
          </a:ln>
        </c:spPr>
        <c:crossAx val="1"/>
        <c:crosses val="autoZero"/>
        <c:auto val="1"/>
        <c:lblAlgn val="ctr"/>
        <c:lblOffset val="100"/>
        <c:tickMarkSkip val="1"/>
        <c:noMultiLvlLbl val="0"/>
      </c:catAx>
      <c:valAx>
        <c:axId val="1"/>
        <c:scaling>
          <c:orientation val="minMax"/>
          <c:max val="300"/>
        </c:scaling>
        <c:delete val="0"/>
        <c:axPos val="t"/>
        <c:numFmt formatCode="#,##0" sourceLinked="0"/>
        <c:majorTickMark val="out"/>
        <c:minorTickMark val="none"/>
        <c:tickLblPos val="nextTo"/>
        <c:spPr>
          <a:ln w="304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Arial"/>
              </a:defRPr>
            </a:pPr>
            <a:endParaRPr lang="cs-CZ"/>
          </a:p>
        </c:txPr>
        <c:crossAx val="201892000"/>
        <c:crosses val="autoZero"/>
        <c:crossBetween val="between"/>
        <c:majorUnit val="50"/>
      </c:valAx>
      <c:spPr>
        <a:noFill/>
        <a:ln w="2439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537" b="1" i="0" u="none" strike="noStrike" baseline="0">
          <a:solidFill>
            <a:schemeClr val="tx1"/>
          </a:solidFill>
          <a:latin typeface="Tahoma"/>
          <a:ea typeface="Tahoma"/>
          <a:cs typeface="Tahoma"/>
        </a:defRPr>
      </a:pPr>
      <a:endParaRPr lang="cs-CZ"/>
    </a:p>
  </c:txPr>
  <c:externalData r:id="rId2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1349693251533742E-2"/>
          <c:y val="0.10052910052910052"/>
          <c:w val="0.81288343558282206"/>
          <c:h val="0.87830687830687826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inc 5 let</c:v>
                </c:pt>
              </c:strCache>
            </c:strRef>
          </c:tx>
          <c:spPr>
            <a:solidFill>
              <a:srgbClr val="F0E1B3"/>
            </a:solidFill>
            <a:ln w="25399">
              <a:noFill/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D7A-4D4E-B649-14F742768D60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D7A-4D4E-B649-14F742768D60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ED7A-4D4E-B649-14F742768D60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ED7A-4D4E-B649-14F742768D60}"/>
              </c:ext>
            </c:extLst>
          </c:dPt>
          <c:dLbls>
            <c:numFmt formatCode="0.0" sourceLinked="0"/>
            <c:spPr>
              <a:noFill/>
              <a:ln w="253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 i="0" u="none" strike="noStrike" baseline="0">
                    <a:solidFill>
                      <a:schemeClr val="tx1"/>
                    </a:solidFill>
                    <a:latin typeface="+mn-lt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Karlovarský kraj</c:v>
                </c:pt>
                <c:pt idx="2">
                  <c:v>Liberecký kraj</c:v>
                </c:pt>
                <c:pt idx="3">
                  <c:v>Královéhradecký kraj</c:v>
                </c:pt>
                <c:pt idx="4">
                  <c:v>Jihočeský kraj</c:v>
                </c:pt>
                <c:pt idx="5">
                  <c:v>Moravskoslezský kraj</c:v>
                </c:pt>
                <c:pt idx="6">
                  <c:v>Plzeňský kraj</c:v>
                </c:pt>
                <c:pt idx="7">
                  <c:v>Česká republika</c:v>
                </c:pt>
                <c:pt idx="8">
                  <c:v>Středočeský kraj</c:v>
                </c:pt>
                <c:pt idx="9">
                  <c:v>Kraj Vysočina</c:v>
                </c:pt>
                <c:pt idx="10">
                  <c:v>Olomoucký kraj</c:v>
                </c:pt>
                <c:pt idx="11">
                  <c:v>Hl. m. Praha</c:v>
                </c:pt>
                <c:pt idx="12">
                  <c:v>Pardubický kraj</c:v>
                </c:pt>
                <c:pt idx="13">
                  <c:v>Jihomoravský kraj</c:v>
                </c:pt>
                <c:pt idx="14">
                  <c:v>Zlín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88.888540000000006</c:v>
                </c:pt>
                <c:pt idx="1">
                  <c:v>78.613709999999998</c:v>
                </c:pt>
                <c:pt idx="2">
                  <c:v>76.963300000000004</c:v>
                </c:pt>
                <c:pt idx="3">
                  <c:v>67.729870000000005</c:v>
                </c:pt>
                <c:pt idx="4">
                  <c:v>63.438980000000001</c:v>
                </c:pt>
                <c:pt idx="5">
                  <c:v>62.115929999999999</c:v>
                </c:pt>
                <c:pt idx="6">
                  <c:v>61.90925</c:v>
                </c:pt>
                <c:pt idx="7">
                  <c:v>61.803959999999996</c:v>
                </c:pt>
                <c:pt idx="8">
                  <c:v>60.702730000000003</c:v>
                </c:pt>
                <c:pt idx="9">
                  <c:v>57.429769999999998</c:v>
                </c:pt>
                <c:pt idx="10">
                  <c:v>56.377249999999997</c:v>
                </c:pt>
                <c:pt idx="11">
                  <c:v>56.352319999999999</c:v>
                </c:pt>
                <c:pt idx="12">
                  <c:v>55.268880000000003</c:v>
                </c:pt>
                <c:pt idx="13">
                  <c:v>52.529739999999997</c:v>
                </c:pt>
                <c:pt idx="14">
                  <c:v>45.524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7A-4D4E-B649-14F742768D60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rgbClr val="CC9900"/>
            </a:solidFill>
            <a:ln w="25399">
              <a:noFill/>
            </a:ln>
          </c:spPr>
          <c:invertIfNegative val="0"/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Karlovarský kraj</c:v>
                </c:pt>
                <c:pt idx="2">
                  <c:v>Liberecký kraj</c:v>
                </c:pt>
                <c:pt idx="3">
                  <c:v>Královéhradecký kraj</c:v>
                </c:pt>
                <c:pt idx="4">
                  <c:v>Jihočeský kraj</c:v>
                </c:pt>
                <c:pt idx="5">
                  <c:v>Moravskoslezský kraj</c:v>
                </c:pt>
                <c:pt idx="6">
                  <c:v>Plzeňský kraj</c:v>
                </c:pt>
                <c:pt idx="7">
                  <c:v>Česká republika</c:v>
                </c:pt>
                <c:pt idx="8">
                  <c:v>Středočeský kraj</c:v>
                </c:pt>
                <c:pt idx="9">
                  <c:v>Kraj Vysočina</c:v>
                </c:pt>
                <c:pt idx="10">
                  <c:v>Olomoucký kraj</c:v>
                </c:pt>
                <c:pt idx="11">
                  <c:v>Hl. m. Praha</c:v>
                </c:pt>
                <c:pt idx="12">
                  <c:v>Pardubický kraj</c:v>
                </c:pt>
                <c:pt idx="13">
                  <c:v>Jihomoravský kraj</c:v>
                </c:pt>
                <c:pt idx="14">
                  <c:v>Zlín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7">
                  <c:v>61.80395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D7A-4D4E-B649-14F742768D60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</c:strCache>
            </c:strRef>
          </c:tx>
          <c:spPr>
            <a:solidFill>
              <a:srgbClr val="C00000"/>
            </a:solidFill>
            <a:ln w="25399">
              <a:noFill/>
            </a:ln>
          </c:spPr>
          <c:invertIfNegative val="0"/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Karlovarský kraj</c:v>
                </c:pt>
                <c:pt idx="2">
                  <c:v>Liberecký kraj</c:v>
                </c:pt>
                <c:pt idx="3">
                  <c:v>Královéhradecký kraj</c:v>
                </c:pt>
                <c:pt idx="4">
                  <c:v>Jihočeský kraj</c:v>
                </c:pt>
                <c:pt idx="5">
                  <c:v>Moravskoslezský kraj</c:v>
                </c:pt>
                <c:pt idx="6">
                  <c:v>Plzeňský kraj</c:v>
                </c:pt>
                <c:pt idx="7">
                  <c:v>Česká republika</c:v>
                </c:pt>
                <c:pt idx="8">
                  <c:v>Středočeský kraj</c:v>
                </c:pt>
                <c:pt idx="9">
                  <c:v>Kraj Vysočina</c:v>
                </c:pt>
                <c:pt idx="10">
                  <c:v>Olomoucký kraj</c:v>
                </c:pt>
                <c:pt idx="11">
                  <c:v>Hl. m. Praha</c:v>
                </c:pt>
                <c:pt idx="12">
                  <c:v>Pardubický kraj</c:v>
                </c:pt>
                <c:pt idx="13">
                  <c:v>Jihomoravský kraj</c:v>
                </c:pt>
                <c:pt idx="14">
                  <c:v>Zlín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4">
                  <c:v>63.43898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D7A-4D4E-B649-14F742768D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402645200"/>
        <c:axId val="402644808"/>
      </c:barChart>
      <c:catAx>
        <c:axId val="40264520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12700">
            <a:solidFill>
              <a:srgbClr val="000000"/>
            </a:solidFill>
            <a:prstDash val="solid"/>
          </a:ln>
        </c:spPr>
        <c:crossAx val="40264480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402644808"/>
        <c:scaling>
          <c:orientation val="minMax"/>
          <c:max val="100"/>
          <c:min val="0"/>
        </c:scaling>
        <c:delete val="0"/>
        <c:axPos val="t"/>
        <c:numFmt formatCode="0" sourceLinked="0"/>
        <c:majorTickMark val="out"/>
        <c:minorTickMark val="none"/>
        <c:tickLblPos val="nextTo"/>
        <c:spPr>
          <a:ln w="127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cs-CZ"/>
          </a:p>
        </c:txPr>
        <c:crossAx val="402645200"/>
        <c:crosses val="autoZero"/>
        <c:crossBetween val="between"/>
        <c:majorUnit val="25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5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2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1349693251533742E-2"/>
          <c:y val="0.10052910052910052"/>
          <c:w val="0.81288343558282206"/>
          <c:h val="0.87830687830687826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inc 5 let</c:v>
                </c:pt>
              </c:strCache>
            </c:strRef>
          </c:tx>
          <c:spPr>
            <a:solidFill>
              <a:srgbClr val="CC9900">
                <a:alpha val="29804"/>
              </a:srgbClr>
            </a:solidFill>
            <a:ln w="25399">
              <a:noFill/>
            </a:ln>
          </c:spPr>
          <c:invertIfNegative val="0"/>
          <c:dPt>
            <c:idx val="7"/>
            <c:invertIfNegative val="0"/>
            <c:bubble3D val="0"/>
            <c:spPr>
              <a:solidFill>
                <a:srgbClr val="CC9900">
                  <a:alpha val="30000"/>
                </a:srgbClr>
              </a:solidFill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1-A7B4-4F8F-A384-7A6FA1628C25}"/>
              </c:ext>
            </c:extLst>
          </c:dPt>
          <c:dLbls>
            <c:numFmt formatCode="0.0" sourceLinked="0"/>
            <c:spPr>
              <a:noFill/>
              <a:ln w="253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 i="0" u="none" strike="noStrike" baseline="0">
                    <a:solidFill>
                      <a:schemeClr val="tx1"/>
                    </a:solidFill>
                    <a:latin typeface="+mn-lt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Písek</c:v>
                </c:pt>
                <c:pt idx="1">
                  <c:v>Jindřichův Hradec</c:v>
                </c:pt>
                <c:pt idx="2">
                  <c:v>Prachatice</c:v>
                </c:pt>
                <c:pt idx="3">
                  <c:v>Tábor</c:v>
                </c:pt>
                <c:pt idx="4">
                  <c:v>Jihočeský kraj</c:v>
                </c:pt>
                <c:pt idx="5">
                  <c:v>Česká republika</c:v>
                </c:pt>
                <c:pt idx="6">
                  <c:v>Český Krumlov</c:v>
                </c:pt>
                <c:pt idx="7">
                  <c:v>České Budějovice</c:v>
                </c:pt>
                <c:pt idx="8">
                  <c:v>Strakonice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78.390020000000007</c:v>
                </c:pt>
                <c:pt idx="1">
                  <c:v>68.729740000000007</c:v>
                </c:pt>
                <c:pt idx="2">
                  <c:v>68.650869999999998</c:v>
                </c:pt>
                <c:pt idx="3">
                  <c:v>68.272260000000003</c:v>
                </c:pt>
                <c:pt idx="4">
                  <c:v>63.438980000000001</c:v>
                </c:pt>
                <c:pt idx="5">
                  <c:v>61.803959999999996</c:v>
                </c:pt>
                <c:pt idx="6">
                  <c:v>61.303280000000001</c:v>
                </c:pt>
                <c:pt idx="7">
                  <c:v>56.320619999999998</c:v>
                </c:pt>
                <c:pt idx="8">
                  <c:v>52.49654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B0E-4AC5-914B-E303EE86027A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rgbClr val="CC9900"/>
            </a:solidFill>
            <a:ln w="25399">
              <a:noFill/>
            </a:ln>
          </c:spPr>
          <c:invertIfNegative val="0"/>
          <c:cat>
            <c:strRef>
              <c:f>Sheet1!$A$2:$A$10</c:f>
              <c:strCache>
                <c:ptCount val="9"/>
                <c:pt idx="0">
                  <c:v>Písek</c:v>
                </c:pt>
                <c:pt idx="1">
                  <c:v>Jindřichův Hradec</c:v>
                </c:pt>
                <c:pt idx="2">
                  <c:v>Prachatice</c:v>
                </c:pt>
                <c:pt idx="3">
                  <c:v>Tábor</c:v>
                </c:pt>
                <c:pt idx="4">
                  <c:v>Jihočeský kraj</c:v>
                </c:pt>
                <c:pt idx="5">
                  <c:v>Česká republika</c:v>
                </c:pt>
                <c:pt idx="6">
                  <c:v>Český Krumlov</c:v>
                </c:pt>
                <c:pt idx="7">
                  <c:v>České Budějovice</c:v>
                </c:pt>
                <c:pt idx="8">
                  <c:v>Strakonice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5">
                  <c:v>61.80395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B0E-4AC5-914B-E303EE86027A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</c:strCache>
            </c:strRef>
          </c:tx>
          <c:spPr>
            <a:solidFill>
              <a:srgbClr val="C00000"/>
            </a:solidFill>
            <a:ln w="25399">
              <a:noFill/>
            </a:ln>
          </c:spPr>
          <c:invertIfNegative val="0"/>
          <c:cat>
            <c:strRef>
              <c:f>Sheet1!$A$2:$A$10</c:f>
              <c:strCache>
                <c:ptCount val="9"/>
                <c:pt idx="0">
                  <c:v>Písek</c:v>
                </c:pt>
                <c:pt idx="1">
                  <c:v>Jindřichův Hradec</c:v>
                </c:pt>
                <c:pt idx="2">
                  <c:v>Prachatice</c:v>
                </c:pt>
                <c:pt idx="3">
                  <c:v>Tábor</c:v>
                </c:pt>
                <c:pt idx="4">
                  <c:v>Jihočeský kraj</c:v>
                </c:pt>
                <c:pt idx="5">
                  <c:v>Česká republika</c:v>
                </c:pt>
                <c:pt idx="6">
                  <c:v>Český Krumlov</c:v>
                </c:pt>
                <c:pt idx="7">
                  <c:v>České Budějovice</c:v>
                </c:pt>
                <c:pt idx="8">
                  <c:v>Strakonice</c:v>
                </c:pt>
              </c:strCache>
            </c:strRef>
          </c:cat>
          <c:val>
            <c:numRef>
              <c:f>Sheet1!$D$2:$D$10</c:f>
              <c:numCache>
                <c:formatCode>General</c:formatCode>
                <c:ptCount val="9"/>
                <c:pt idx="4">
                  <c:v>63.43898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B0E-4AC5-914B-E303EE8602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402645200"/>
        <c:axId val="402644808"/>
      </c:barChart>
      <c:catAx>
        <c:axId val="40264520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12700">
            <a:solidFill>
              <a:srgbClr val="000000"/>
            </a:solidFill>
            <a:prstDash val="solid"/>
          </a:ln>
        </c:spPr>
        <c:crossAx val="40264480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402644808"/>
        <c:scaling>
          <c:orientation val="minMax"/>
          <c:max val="100"/>
          <c:min val="0"/>
        </c:scaling>
        <c:delete val="0"/>
        <c:axPos val="t"/>
        <c:numFmt formatCode="0" sourceLinked="0"/>
        <c:majorTickMark val="out"/>
        <c:minorTickMark val="none"/>
        <c:tickLblPos val="nextTo"/>
        <c:spPr>
          <a:ln w="127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cs-CZ"/>
          </a:p>
        </c:txPr>
        <c:crossAx val="402645200"/>
        <c:crosses val="autoZero"/>
        <c:crossBetween val="between"/>
        <c:majorUnit val="25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5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2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193321616871705"/>
          <c:y val="6.4837905236907731E-2"/>
          <c:w val="0.87873462214411246"/>
          <c:h val="0.80049875311720697"/>
        </c:manualLayout>
      </c:layout>
      <c:areaChart>
        <c:grouping val="stacked"/>
        <c:varyColors val="0"/>
        <c:ser>
          <c:idx val="5"/>
          <c:order val="0"/>
          <c:tx>
            <c:strRef>
              <c:f>Sheet1!$A$2</c:f>
              <c:strCache>
                <c:ptCount val="1"/>
                <c:pt idx="0">
                  <c:v>min</c:v>
                </c:pt>
              </c:strCache>
            </c:strRef>
          </c:tx>
          <c:spPr>
            <a:noFill/>
            <a:ln w="25401">
              <a:noFill/>
            </a:ln>
          </c:spPr>
          <c:cat>
            <c:numRef>
              <c:f>Sheet1!$B$1:$AV$1</c:f>
              <c:numCache>
                <c:formatCode>General</c:formatCode>
                <c:ptCount val="47"/>
                <c:pt idx="0">
                  <c:v>1977</c:v>
                </c:pt>
                <c:pt idx="1">
                  <c:v>1978</c:v>
                </c:pt>
                <c:pt idx="2">
                  <c:v>1979</c:v>
                </c:pt>
                <c:pt idx="3">
                  <c:v>1980</c:v>
                </c:pt>
                <c:pt idx="4">
                  <c:v>1981</c:v>
                </c:pt>
                <c:pt idx="5">
                  <c:v>1982</c:v>
                </c:pt>
                <c:pt idx="6">
                  <c:v>1983</c:v>
                </c:pt>
                <c:pt idx="7">
                  <c:v>1984</c:v>
                </c:pt>
                <c:pt idx="8">
                  <c:v>1985</c:v>
                </c:pt>
                <c:pt idx="9">
                  <c:v>1986</c:v>
                </c:pt>
                <c:pt idx="10">
                  <c:v>1987</c:v>
                </c:pt>
                <c:pt idx="11">
                  <c:v>1988</c:v>
                </c:pt>
                <c:pt idx="12">
                  <c:v>1989</c:v>
                </c:pt>
                <c:pt idx="13">
                  <c:v>1990</c:v>
                </c:pt>
                <c:pt idx="14">
                  <c:v>1991</c:v>
                </c:pt>
                <c:pt idx="15">
                  <c:v>1992</c:v>
                </c:pt>
                <c:pt idx="16">
                  <c:v>1993</c:v>
                </c:pt>
                <c:pt idx="17">
                  <c:v>1994</c:v>
                </c:pt>
                <c:pt idx="18">
                  <c:v>1995</c:v>
                </c:pt>
                <c:pt idx="19">
                  <c:v>1996</c:v>
                </c:pt>
                <c:pt idx="20">
                  <c:v>1997</c:v>
                </c:pt>
                <c:pt idx="21">
                  <c:v>1998</c:v>
                </c:pt>
                <c:pt idx="22">
                  <c:v>1999</c:v>
                </c:pt>
                <c:pt idx="23">
                  <c:v>2000</c:v>
                </c:pt>
                <c:pt idx="24">
                  <c:v>2001</c:v>
                </c:pt>
                <c:pt idx="25">
                  <c:v>2002</c:v>
                </c:pt>
                <c:pt idx="26">
                  <c:v>2003</c:v>
                </c:pt>
                <c:pt idx="27">
                  <c:v>2004</c:v>
                </c:pt>
                <c:pt idx="28">
                  <c:v>2005</c:v>
                </c:pt>
                <c:pt idx="29">
                  <c:v>2006</c:v>
                </c:pt>
                <c:pt idx="30">
                  <c:v>2007</c:v>
                </c:pt>
                <c:pt idx="31">
                  <c:v>2008</c:v>
                </c:pt>
                <c:pt idx="32">
                  <c:v>2009</c:v>
                </c:pt>
                <c:pt idx="33">
                  <c:v>2010</c:v>
                </c:pt>
                <c:pt idx="34">
                  <c:v>2011</c:v>
                </c:pt>
                <c:pt idx="35">
                  <c:v>2012</c:v>
                </c:pt>
                <c:pt idx="36">
                  <c:v>2013</c:v>
                </c:pt>
                <c:pt idx="37">
                  <c:v>2014</c:v>
                </c:pt>
                <c:pt idx="38">
                  <c:v>2015</c:v>
                </c:pt>
                <c:pt idx="39">
                  <c:v>2016</c:v>
                </c:pt>
                <c:pt idx="40">
                  <c:v>2017</c:v>
                </c:pt>
                <c:pt idx="41">
                  <c:v>2018</c:v>
                </c:pt>
                <c:pt idx="42">
                  <c:v>2019</c:v>
                </c:pt>
                <c:pt idx="43">
                  <c:v>2020</c:v>
                </c:pt>
                <c:pt idx="44">
                  <c:v>2021</c:v>
                </c:pt>
                <c:pt idx="45">
                  <c:v>2022</c:v>
                </c:pt>
                <c:pt idx="46">
                  <c:v>2023</c:v>
                </c:pt>
              </c:numCache>
            </c:numRef>
          </c:cat>
          <c:val>
            <c:numRef>
              <c:f>Sheet1!$B$2:$AV$2</c:f>
              <c:numCache>
                <c:formatCode>General</c:formatCode>
                <c:ptCount val="47"/>
                <c:pt idx="0">
                  <c:v>44.5349</c:v>
                </c:pt>
                <c:pt idx="1">
                  <c:v>37.007719999999999</c:v>
                </c:pt>
                <c:pt idx="2">
                  <c:v>40.5274</c:v>
                </c:pt>
                <c:pt idx="3">
                  <c:v>40.206699999999998</c:v>
                </c:pt>
                <c:pt idx="4">
                  <c:v>48.013199999999998</c:v>
                </c:pt>
                <c:pt idx="5">
                  <c:v>43.394019999999998</c:v>
                </c:pt>
                <c:pt idx="6">
                  <c:v>37.079610000000002</c:v>
                </c:pt>
                <c:pt idx="7">
                  <c:v>43.936210000000003</c:v>
                </c:pt>
                <c:pt idx="8">
                  <c:v>42.012920000000001</c:v>
                </c:pt>
                <c:pt idx="9">
                  <c:v>43.064300000000003</c:v>
                </c:pt>
                <c:pt idx="10">
                  <c:v>48.977919999999997</c:v>
                </c:pt>
                <c:pt idx="11">
                  <c:v>45.415619999999997</c:v>
                </c:pt>
                <c:pt idx="12">
                  <c:v>47.225580000000001</c:v>
                </c:pt>
                <c:pt idx="13">
                  <c:v>45.043759999999999</c:v>
                </c:pt>
                <c:pt idx="14">
                  <c:v>46.193939999999998</c:v>
                </c:pt>
                <c:pt idx="15">
                  <c:v>40.617699999999999</c:v>
                </c:pt>
                <c:pt idx="16">
                  <c:v>46.811799999999998</c:v>
                </c:pt>
                <c:pt idx="17">
                  <c:v>46.938899999999997</c:v>
                </c:pt>
                <c:pt idx="18">
                  <c:v>48.171349999999997</c:v>
                </c:pt>
                <c:pt idx="19">
                  <c:v>47.642609999999998</c:v>
                </c:pt>
                <c:pt idx="20">
                  <c:v>39.845950000000002</c:v>
                </c:pt>
                <c:pt idx="21">
                  <c:v>46.317030000000003</c:v>
                </c:pt>
                <c:pt idx="22">
                  <c:v>45.985120000000002</c:v>
                </c:pt>
                <c:pt idx="23">
                  <c:v>43.474119999999999</c:v>
                </c:pt>
                <c:pt idx="24">
                  <c:v>48.173920000000003</c:v>
                </c:pt>
                <c:pt idx="25">
                  <c:v>44.822040000000001</c:v>
                </c:pt>
                <c:pt idx="26">
                  <c:v>41.870669999999997</c:v>
                </c:pt>
                <c:pt idx="27">
                  <c:v>41.77328</c:v>
                </c:pt>
                <c:pt idx="28">
                  <c:v>36.92118</c:v>
                </c:pt>
                <c:pt idx="29">
                  <c:v>40.008879999999998</c:v>
                </c:pt>
                <c:pt idx="30">
                  <c:v>42.881360000000001</c:v>
                </c:pt>
                <c:pt idx="31">
                  <c:v>49.738869999999999</c:v>
                </c:pt>
                <c:pt idx="32">
                  <c:v>46.338340000000002</c:v>
                </c:pt>
                <c:pt idx="33">
                  <c:v>43.864179999999998</c:v>
                </c:pt>
                <c:pt idx="34">
                  <c:v>44.097990000000003</c:v>
                </c:pt>
                <c:pt idx="35">
                  <c:v>45.895029999999998</c:v>
                </c:pt>
                <c:pt idx="36">
                  <c:v>46.198900000000002</c:v>
                </c:pt>
                <c:pt idx="37">
                  <c:v>46.942030000000003</c:v>
                </c:pt>
                <c:pt idx="38">
                  <c:v>41.037709999999997</c:v>
                </c:pt>
                <c:pt idx="39">
                  <c:v>44.679920000000003</c:v>
                </c:pt>
                <c:pt idx="40">
                  <c:v>44.233519999999999</c:v>
                </c:pt>
                <c:pt idx="41">
                  <c:v>43.749789999999997</c:v>
                </c:pt>
                <c:pt idx="42">
                  <c:v>48.737789999999997</c:v>
                </c:pt>
                <c:pt idx="43">
                  <c:v>42.141550000000002</c:v>
                </c:pt>
                <c:pt idx="44">
                  <c:v>45.199590000000001</c:v>
                </c:pt>
                <c:pt idx="45">
                  <c:v>42.294980000000002</c:v>
                </c:pt>
                <c:pt idx="46">
                  <c:v>49.22834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D0-453C-A69E-2E79517C936B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hranice max</c:v>
                </c:pt>
              </c:strCache>
            </c:strRef>
          </c:tx>
          <c:spPr>
            <a:solidFill>
              <a:srgbClr val="CC9900">
                <a:alpha val="30000"/>
              </a:srgbClr>
            </a:solidFill>
            <a:ln w="25401">
              <a:noFill/>
            </a:ln>
          </c:spPr>
          <c:cat>
            <c:numRef>
              <c:f>Sheet1!$B$1:$AV$1</c:f>
              <c:numCache>
                <c:formatCode>General</c:formatCode>
                <c:ptCount val="47"/>
                <c:pt idx="0">
                  <c:v>1977</c:v>
                </c:pt>
                <c:pt idx="1">
                  <c:v>1978</c:v>
                </c:pt>
                <c:pt idx="2">
                  <c:v>1979</c:v>
                </c:pt>
                <c:pt idx="3">
                  <c:v>1980</c:v>
                </c:pt>
                <c:pt idx="4">
                  <c:v>1981</c:v>
                </c:pt>
                <c:pt idx="5">
                  <c:v>1982</c:v>
                </c:pt>
                <c:pt idx="6">
                  <c:v>1983</c:v>
                </c:pt>
                <c:pt idx="7">
                  <c:v>1984</c:v>
                </c:pt>
                <c:pt idx="8">
                  <c:v>1985</c:v>
                </c:pt>
                <c:pt idx="9">
                  <c:v>1986</c:v>
                </c:pt>
                <c:pt idx="10">
                  <c:v>1987</c:v>
                </c:pt>
                <c:pt idx="11">
                  <c:v>1988</c:v>
                </c:pt>
                <c:pt idx="12">
                  <c:v>1989</c:v>
                </c:pt>
                <c:pt idx="13">
                  <c:v>1990</c:v>
                </c:pt>
                <c:pt idx="14">
                  <c:v>1991</c:v>
                </c:pt>
                <c:pt idx="15">
                  <c:v>1992</c:v>
                </c:pt>
                <c:pt idx="16">
                  <c:v>1993</c:v>
                </c:pt>
                <c:pt idx="17">
                  <c:v>1994</c:v>
                </c:pt>
                <c:pt idx="18">
                  <c:v>1995</c:v>
                </c:pt>
                <c:pt idx="19">
                  <c:v>1996</c:v>
                </c:pt>
                <c:pt idx="20">
                  <c:v>1997</c:v>
                </c:pt>
                <c:pt idx="21">
                  <c:v>1998</c:v>
                </c:pt>
                <c:pt idx="22">
                  <c:v>1999</c:v>
                </c:pt>
                <c:pt idx="23">
                  <c:v>2000</c:v>
                </c:pt>
                <c:pt idx="24">
                  <c:v>2001</c:v>
                </c:pt>
                <c:pt idx="25">
                  <c:v>2002</c:v>
                </c:pt>
                <c:pt idx="26">
                  <c:v>2003</c:v>
                </c:pt>
                <c:pt idx="27">
                  <c:v>2004</c:v>
                </c:pt>
                <c:pt idx="28">
                  <c:v>2005</c:v>
                </c:pt>
                <c:pt idx="29">
                  <c:v>2006</c:v>
                </c:pt>
                <c:pt idx="30">
                  <c:v>2007</c:v>
                </c:pt>
                <c:pt idx="31">
                  <c:v>2008</c:v>
                </c:pt>
                <c:pt idx="32">
                  <c:v>2009</c:v>
                </c:pt>
                <c:pt idx="33">
                  <c:v>2010</c:v>
                </c:pt>
                <c:pt idx="34">
                  <c:v>2011</c:v>
                </c:pt>
                <c:pt idx="35">
                  <c:v>2012</c:v>
                </c:pt>
                <c:pt idx="36">
                  <c:v>2013</c:v>
                </c:pt>
                <c:pt idx="37">
                  <c:v>2014</c:v>
                </c:pt>
                <c:pt idx="38">
                  <c:v>2015</c:v>
                </c:pt>
                <c:pt idx="39">
                  <c:v>2016</c:v>
                </c:pt>
                <c:pt idx="40">
                  <c:v>2017</c:v>
                </c:pt>
                <c:pt idx="41">
                  <c:v>2018</c:v>
                </c:pt>
                <c:pt idx="42">
                  <c:v>2019</c:v>
                </c:pt>
                <c:pt idx="43">
                  <c:v>2020</c:v>
                </c:pt>
                <c:pt idx="44">
                  <c:v>2021</c:v>
                </c:pt>
                <c:pt idx="45">
                  <c:v>2022</c:v>
                </c:pt>
                <c:pt idx="46">
                  <c:v>2023</c:v>
                </c:pt>
              </c:numCache>
            </c:numRef>
          </c:cat>
          <c:val>
            <c:numRef>
              <c:f>Sheet1!$B$3:$AV$3</c:f>
              <c:numCache>
                <c:formatCode>General</c:formatCode>
                <c:ptCount val="47"/>
                <c:pt idx="0">
                  <c:v>24.748930000000001</c:v>
                </c:pt>
                <c:pt idx="1">
                  <c:v>31.79269</c:v>
                </c:pt>
                <c:pt idx="2">
                  <c:v>32.592300000000002</c:v>
                </c:pt>
                <c:pt idx="3">
                  <c:v>26.293559999999999</c:v>
                </c:pt>
                <c:pt idx="4">
                  <c:v>22.750979999999998</c:v>
                </c:pt>
                <c:pt idx="5">
                  <c:v>32.212440000000001</c:v>
                </c:pt>
                <c:pt idx="6">
                  <c:v>38.479280000000003</c:v>
                </c:pt>
                <c:pt idx="7">
                  <c:v>33.625</c:v>
                </c:pt>
                <c:pt idx="8">
                  <c:v>38.312519999999999</c:v>
                </c:pt>
                <c:pt idx="9">
                  <c:v>25.43262</c:v>
                </c:pt>
                <c:pt idx="10">
                  <c:v>26.20026</c:v>
                </c:pt>
                <c:pt idx="11">
                  <c:v>27.01127</c:v>
                </c:pt>
                <c:pt idx="12">
                  <c:v>27.770009999999999</c:v>
                </c:pt>
                <c:pt idx="13">
                  <c:v>31.270209999999999</c:v>
                </c:pt>
                <c:pt idx="14">
                  <c:v>33.723990000000001</c:v>
                </c:pt>
                <c:pt idx="15">
                  <c:v>36.46781</c:v>
                </c:pt>
                <c:pt idx="16">
                  <c:v>27.698250000000002</c:v>
                </c:pt>
                <c:pt idx="17">
                  <c:v>29.034389999999998</c:v>
                </c:pt>
                <c:pt idx="18">
                  <c:v>28.618680000000001</c:v>
                </c:pt>
                <c:pt idx="19">
                  <c:v>40.856450000000002</c:v>
                </c:pt>
                <c:pt idx="20">
                  <c:v>37.903579999999998</c:v>
                </c:pt>
                <c:pt idx="21">
                  <c:v>33.295409999999997</c:v>
                </c:pt>
                <c:pt idx="22">
                  <c:v>31.457190000000001</c:v>
                </c:pt>
                <c:pt idx="23">
                  <c:v>34.989699999999999</c:v>
                </c:pt>
                <c:pt idx="24">
                  <c:v>29.1572</c:v>
                </c:pt>
                <c:pt idx="25">
                  <c:v>44.392829999999996</c:v>
                </c:pt>
                <c:pt idx="26">
                  <c:v>36.069850000000002</c:v>
                </c:pt>
                <c:pt idx="27">
                  <c:v>43.172820000000002</c:v>
                </c:pt>
                <c:pt idx="28">
                  <c:v>43.883020000000002</c:v>
                </c:pt>
                <c:pt idx="29">
                  <c:v>38.101599999999998</c:v>
                </c:pt>
                <c:pt idx="30">
                  <c:v>41.428829999999998</c:v>
                </c:pt>
                <c:pt idx="31">
                  <c:v>34.285380000000004</c:v>
                </c:pt>
                <c:pt idx="32">
                  <c:v>43.283110000000001</c:v>
                </c:pt>
                <c:pt idx="33">
                  <c:v>39.030569999999997</c:v>
                </c:pt>
                <c:pt idx="34">
                  <c:v>43.520200000000003</c:v>
                </c:pt>
                <c:pt idx="35">
                  <c:v>39.19932</c:v>
                </c:pt>
                <c:pt idx="36">
                  <c:v>38.320900000000002</c:v>
                </c:pt>
                <c:pt idx="37">
                  <c:v>43.990319999999997</c:v>
                </c:pt>
                <c:pt idx="38">
                  <c:v>52.427750000000003</c:v>
                </c:pt>
                <c:pt idx="39">
                  <c:v>48.486629999999998</c:v>
                </c:pt>
                <c:pt idx="40">
                  <c:v>46.151000000000003</c:v>
                </c:pt>
                <c:pt idx="41">
                  <c:v>42.286920000000002</c:v>
                </c:pt>
                <c:pt idx="42">
                  <c:v>40.472079999999998</c:v>
                </c:pt>
                <c:pt idx="43">
                  <c:v>44.37715</c:v>
                </c:pt>
                <c:pt idx="44">
                  <c:v>38.102989999999998</c:v>
                </c:pt>
                <c:pt idx="45">
                  <c:v>51.643230000000003</c:v>
                </c:pt>
                <c:pt idx="46">
                  <c:v>42.18675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D0-453C-A69E-2E79517C93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7724760"/>
        <c:axId val="1"/>
      </c:areaChart>
      <c:lineChart>
        <c:grouping val="standard"/>
        <c:varyColors val="0"/>
        <c:ser>
          <c:idx val="2"/>
          <c:order val="2"/>
          <c:tx>
            <c:strRef>
              <c:f>Sheet1!$A$4</c:f>
              <c:strCache>
                <c:ptCount val="1"/>
                <c:pt idx="0">
                  <c:v>ČR</c:v>
                </c:pt>
              </c:strCache>
            </c:strRef>
          </c:tx>
          <c:spPr>
            <a:ln w="25401">
              <a:solidFill>
                <a:srgbClr val="CC9900"/>
              </a:solidFill>
              <a:prstDash val="solid"/>
            </a:ln>
          </c:spPr>
          <c:marker>
            <c:symbol val="none"/>
          </c:marker>
          <c:cat>
            <c:numRef>
              <c:f>Sheet1!$B$1:$AV$1</c:f>
              <c:numCache>
                <c:formatCode>General</c:formatCode>
                <c:ptCount val="47"/>
                <c:pt idx="0">
                  <c:v>1977</c:v>
                </c:pt>
                <c:pt idx="1">
                  <c:v>1978</c:v>
                </c:pt>
                <c:pt idx="2">
                  <c:v>1979</c:v>
                </c:pt>
                <c:pt idx="3">
                  <c:v>1980</c:v>
                </c:pt>
                <c:pt idx="4">
                  <c:v>1981</c:v>
                </c:pt>
                <c:pt idx="5">
                  <c:v>1982</c:v>
                </c:pt>
                <c:pt idx="6">
                  <c:v>1983</c:v>
                </c:pt>
                <c:pt idx="7">
                  <c:v>1984</c:v>
                </c:pt>
                <c:pt idx="8">
                  <c:v>1985</c:v>
                </c:pt>
                <c:pt idx="9">
                  <c:v>1986</c:v>
                </c:pt>
                <c:pt idx="10">
                  <c:v>1987</c:v>
                </c:pt>
                <c:pt idx="11">
                  <c:v>1988</c:v>
                </c:pt>
                <c:pt idx="12">
                  <c:v>1989</c:v>
                </c:pt>
                <c:pt idx="13">
                  <c:v>1990</c:v>
                </c:pt>
                <c:pt idx="14">
                  <c:v>1991</c:v>
                </c:pt>
                <c:pt idx="15">
                  <c:v>1992</c:v>
                </c:pt>
                <c:pt idx="16">
                  <c:v>1993</c:v>
                </c:pt>
                <c:pt idx="17">
                  <c:v>1994</c:v>
                </c:pt>
                <c:pt idx="18">
                  <c:v>1995</c:v>
                </c:pt>
                <c:pt idx="19">
                  <c:v>1996</c:v>
                </c:pt>
                <c:pt idx="20">
                  <c:v>1997</c:v>
                </c:pt>
                <c:pt idx="21">
                  <c:v>1998</c:v>
                </c:pt>
                <c:pt idx="22">
                  <c:v>1999</c:v>
                </c:pt>
                <c:pt idx="23">
                  <c:v>2000</c:v>
                </c:pt>
                <c:pt idx="24">
                  <c:v>2001</c:v>
                </c:pt>
                <c:pt idx="25">
                  <c:v>2002</c:v>
                </c:pt>
                <c:pt idx="26">
                  <c:v>2003</c:v>
                </c:pt>
                <c:pt idx="27">
                  <c:v>2004</c:v>
                </c:pt>
                <c:pt idx="28">
                  <c:v>2005</c:v>
                </c:pt>
                <c:pt idx="29">
                  <c:v>2006</c:v>
                </c:pt>
                <c:pt idx="30">
                  <c:v>2007</c:v>
                </c:pt>
                <c:pt idx="31">
                  <c:v>2008</c:v>
                </c:pt>
                <c:pt idx="32">
                  <c:v>2009</c:v>
                </c:pt>
                <c:pt idx="33">
                  <c:v>2010</c:v>
                </c:pt>
                <c:pt idx="34">
                  <c:v>2011</c:v>
                </c:pt>
                <c:pt idx="35">
                  <c:v>2012</c:v>
                </c:pt>
                <c:pt idx="36">
                  <c:v>2013</c:v>
                </c:pt>
                <c:pt idx="37">
                  <c:v>2014</c:v>
                </c:pt>
                <c:pt idx="38">
                  <c:v>2015</c:v>
                </c:pt>
                <c:pt idx="39">
                  <c:v>2016</c:v>
                </c:pt>
                <c:pt idx="40">
                  <c:v>2017</c:v>
                </c:pt>
                <c:pt idx="41">
                  <c:v>2018</c:v>
                </c:pt>
                <c:pt idx="42">
                  <c:v>2019</c:v>
                </c:pt>
                <c:pt idx="43">
                  <c:v>2020</c:v>
                </c:pt>
                <c:pt idx="44">
                  <c:v>2021</c:v>
                </c:pt>
                <c:pt idx="45">
                  <c:v>2022</c:v>
                </c:pt>
                <c:pt idx="46">
                  <c:v>2023</c:v>
                </c:pt>
              </c:numCache>
            </c:numRef>
          </c:cat>
          <c:val>
            <c:numRef>
              <c:f>Sheet1!$B$4:$AV$4</c:f>
              <c:numCache>
                <c:formatCode>General</c:formatCode>
                <c:ptCount val="47"/>
                <c:pt idx="0">
                  <c:v>53.655430000000003</c:v>
                </c:pt>
                <c:pt idx="1">
                  <c:v>51.913469999999997</c:v>
                </c:pt>
                <c:pt idx="2">
                  <c:v>52.909799999999997</c:v>
                </c:pt>
                <c:pt idx="3">
                  <c:v>54.200020000000002</c:v>
                </c:pt>
                <c:pt idx="4">
                  <c:v>55.730899999999998</c:v>
                </c:pt>
                <c:pt idx="5">
                  <c:v>55.294029999999999</c:v>
                </c:pt>
                <c:pt idx="6">
                  <c:v>55.827100000000002</c:v>
                </c:pt>
                <c:pt idx="7">
                  <c:v>56.416260000000001</c:v>
                </c:pt>
                <c:pt idx="8">
                  <c:v>55.172289999999997</c:v>
                </c:pt>
                <c:pt idx="9">
                  <c:v>54.369059999999998</c:v>
                </c:pt>
                <c:pt idx="10">
                  <c:v>57.26249</c:v>
                </c:pt>
                <c:pt idx="11">
                  <c:v>56.042859999999997</c:v>
                </c:pt>
                <c:pt idx="12">
                  <c:v>57.120759999999997</c:v>
                </c:pt>
                <c:pt idx="13">
                  <c:v>56.548749999999998</c:v>
                </c:pt>
                <c:pt idx="14">
                  <c:v>58.843600000000002</c:v>
                </c:pt>
                <c:pt idx="15">
                  <c:v>56.988849999999999</c:v>
                </c:pt>
                <c:pt idx="16">
                  <c:v>57.818480000000001</c:v>
                </c:pt>
                <c:pt idx="17">
                  <c:v>58.493670000000002</c:v>
                </c:pt>
                <c:pt idx="18">
                  <c:v>57.391719999999999</c:v>
                </c:pt>
                <c:pt idx="19">
                  <c:v>61.568420000000003</c:v>
                </c:pt>
                <c:pt idx="20">
                  <c:v>57.698050000000002</c:v>
                </c:pt>
                <c:pt idx="21">
                  <c:v>59.417520000000003</c:v>
                </c:pt>
                <c:pt idx="22">
                  <c:v>58.466659999999997</c:v>
                </c:pt>
                <c:pt idx="23">
                  <c:v>59.6252</c:v>
                </c:pt>
                <c:pt idx="24">
                  <c:v>58.791930000000001</c:v>
                </c:pt>
                <c:pt idx="25">
                  <c:v>59.162179999999999</c:v>
                </c:pt>
                <c:pt idx="26">
                  <c:v>59.578589999999998</c:v>
                </c:pt>
                <c:pt idx="27">
                  <c:v>62.369430000000001</c:v>
                </c:pt>
                <c:pt idx="28">
                  <c:v>61.959580000000003</c:v>
                </c:pt>
                <c:pt idx="29">
                  <c:v>61.129989999999999</c:v>
                </c:pt>
                <c:pt idx="30">
                  <c:v>63.636519999999997</c:v>
                </c:pt>
                <c:pt idx="31">
                  <c:v>63.3384</c:v>
                </c:pt>
                <c:pt idx="32">
                  <c:v>62.28857</c:v>
                </c:pt>
                <c:pt idx="33">
                  <c:v>63.467179999999999</c:v>
                </c:pt>
                <c:pt idx="34">
                  <c:v>62.924709999999997</c:v>
                </c:pt>
                <c:pt idx="35">
                  <c:v>62.592260000000003</c:v>
                </c:pt>
                <c:pt idx="36">
                  <c:v>62.127049999999997</c:v>
                </c:pt>
                <c:pt idx="37">
                  <c:v>61.635480000000001</c:v>
                </c:pt>
                <c:pt idx="38">
                  <c:v>62.78134</c:v>
                </c:pt>
                <c:pt idx="39">
                  <c:v>65.393410000000003</c:v>
                </c:pt>
                <c:pt idx="40">
                  <c:v>63.600580000000001</c:v>
                </c:pt>
                <c:pt idx="41">
                  <c:v>61.234110000000001</c:v>
                </c:pt>
                <c:pt idx="42">
                  <c:v>65.158770000000004</c:v>
                </c:pt>
                <c:pt idx="43">
                  <c:v>59.578580000000002</c:v>
                </c:pt>
                <c:pt idx="44">
                  <c:v>60.12847</c:v>
                </c:pt>
                <c:pt idx="45">
                  <c:v>62.18676</c:v>
                </c:pt>
                <c:pt idx="46">
                  <c:v>61.94129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BD0-453C-A69E-2E79517C936B}"/>
            </c:ext>
          </c:extLst>
        </c:ser>
        <c:ser>
          <c:idx val="0"/>
          <c:order val="3"/>
          <c:tx>
            <c:strRef>
              <c:f>Sheet1!$A$5</c:f>
              <c:strCache>
                <c:ptCount val="1"/>
                <c:pt idx="0">
                  <c:v>31</c:v>
                </c:pt>
              </c:strCache>
            </c:strRef>
          </c:tx>
          <c:spPr>
            <a:ln w="25400">
              <a:solidFill>
                <a:srgbClr val="C00000"/>
              </a:solidFill>
            </a:ln>
          </c:spPr>
          <c:marker>
            <c:symbol val="none"/>
          </c:marker>
          <c:cat>
            <c:numRef>
              <c:f>Sheet1!$B$1:$AV$1</c:f>
              <c:numCache>
                <c:formatCode>General</c:formatCode>
                <c:ptCount val="47"/>
                <c:pt idx="0">
                  <c:v>1977</c:v>
                </c:pt>
                <c:pt idx="1">
                  <c:v>1978</c:v>
                </c:pt>
                <c:pt idx="2">
                  <c:v>1979</c:v>
                </c:pt>
                <c:pt idx="3">
                  <c:v>1980</c:v>
                </c:pt>
                <c:pt idx="4">
                  <c:v>1981</c:v>
                </c:pt>
                <c:pt idx="5">
                  <c:v>1982</c:v>
                </c:pt>
                <c:pt idx="6">
                  <c:v>1983</c:v>
                </c:pt>
                <c:pt idx="7">
                  <c:v>1984</c:v>
                </c:pt>
                <c:pt idx="8">
                  <c:v>1985</c:v>
                </c:pt>
                <c:pt idx="9">
                  <c:v>1986</c:v>
                </c:pt>
                <c:pt idx="10">
                  <c:v>1987</c:v>
                </c:pt>
                <c:pt idx="11">
                  <c:v>1988</c:v>
                </c:pt>
                <c:pt idx="12">
                  <c:v>1989</c:v>
                </c:pt>
                <c:pt idx="13">
                  <c:v>1990</c:v>
                </c:pt>
                <c:pt idx="14">
                  <c:v>1991</c:v>
                </c:pt>
                <c:pt idx="15">
                  <c:v>1992</c:v>
                </c:pt>
                <c:pt idx="16">
                  <c:v>1993</c:v>
                </c:pt>
                <c:pt idx="17">
                  <c:v>1994</c:v>
                </c:pt>
                <c:pt idx="18">
                  <c:v>1995</c:v>
                </c:pt>
                <c:pt idx="19">
                  <c:v>1996</c:v>
                </c:pt>
                <c:pt idx="20">
                  <c:v>1997</c:v>
                </c:pt>
                <c:pt idx="21">
                  <c:v>1998</c:v>
                </c:pt>
                <c:pt idx="22">
                  <c:v>1999</c:v>
                </c:pt>
                <c:pt idx="23">
                  <c:v>2000</c:v>
                </c:pt>
                <c:pt idx="24">
                  <c:v>2001</c:v>
                </c:pt>
                <c:pt idx="25">
                  <c:v>2002</c:v>
                </c:pt>
                <c:pt idx="26">
                  <c:v>2003</c:v>
                </c:pt>
                <c:pt idx="27">
                  <c:v>2004</c:v>
                </c:pt>
                <c:pt idx="28">
                  <c:v>2005</c:v>
                </c:pt>
                <c:pt idx="29">
                  <c:v>2006</c:v>
                </c:pt>
                <c:pt idx="30">
                  <c:v>2007</c:v>
                </c:pt>
                <c:pt idx="31">
                  <c:v>2008</c:v>
                </c:pt>
                <c:pt idx="32">
                  <c:v>2009</c:v>
                </c:pt>
                <c:pt idx="33">
                  <c:v>2010</c:v>
                </c:pt>
                <c:pt idx="34">
                  <c:v>2011</c:v>
                </c:pt>
                <c:pt idx="35">
                  <c:v>2012</c:v>
                </c:pt>
                <c:pt idx="36">
                  <c:v>2013</c:v>
                </c:pt>
                <c:pt idx="37">
                  <c:v>2014</c:v>
                </c:pt>
                <c:pt idx="38">
                  <c:v>2015</c:v>
                </c:pt>
                <c:pt idx="39">
                  <c:v>2016</c:v>
                </c:pt>
                <c:pt idx="40">
                  <c:v>2017</c:v>
                </c:pt>
                <c:pt idx="41">
                  <c:v>2018</c:v>
                </c:pt>
                <c:pt idx="42">
                  <c:v>2019</c:v>
                </c:pt>
                <c:pt idx="43">
                  <c:v>2020</c:v>
                </c:pt>
                <c:pt idx="44">
                  <c:v>2021</c:v>
                </c:pt>
                <c:pt idx="45">
                  <c:v>2022</c:v>
                </c:pt>
                <c:pt idx="46">
                  <c:v>2023</c:v>
                </c:pt>
              </c:numCache>
            </c:numRef>
          </c:cat>
          <c:val>
            <c:numRef>
              <c:f>Sheet1!$B$5:$AV$5</c:f>
              <c:numCache>
                <c:formatCode>General</c:formatCode>
                <c:ptCount val="47"/>
                <c:pt idx="0">
                  <c:v>62.180309999999999</c:v>
                </c:pt>
                <c:pt idx="1">
                  <c:v>68.800409999999999</c:v>
                </c:pt>
                <c:pt idx="2">
                  <c:v>73.119699999999995</c:v>
                </c:pt>
                <c:pt idx="3">
                  <c:v>64.801969999999997</c:v>
                </c:pt>
                <c:pt idx="4">
                  <c:v>63.968000000000004</c:v>
                </c:pt>
                <c:pt idx="5">
                  <c:v>64.82499</c:v>
                </c:pt>
                <c:pt idx="6">
                  <c:v>75.558880000000002</c:v>
                </c:pt>
                <c:pt idx="7">
                  <c:v>70.626260000000002</c:v>
                </c:pt>
                <c:pt idx="8">
                  <c:v>56.352130000000002</c:v>
                </c:pt>
                <c:pt idx="9">
                  <c:v>60.995780000000003</c:v>
                </c:pt>
                <c:pt idx="10">
                  <c:v>68.375630000000001</c:v>
                </c:pt>
                <c:pt idx="11">
                  <c:v>58.708289999999998</c:v>
                </c:pt>
                <c:pt idx="12">
                  <c:v>62.09825</c:v>
                </c:pt>
                <c:pt idx="13">
                  <c:v>65.704390000000004</c:v>
                </c:pt>
                <c:pt idx="14">
                  <c:v>62.216180000000001</c:v>
                </c:pt>
                <c:pt idx="15">
                  <c:v>58.61477</c:v>
                </c:pt>
                <c:pt idx="16">
                  <c:v>63.437480000000001</c:v>
                </c:pt>
                <c:pt idx="17">
                  <c:v>58.083869999999997</c:v>
                </c:pt>
                <c:pt idx="18">
                  <c:v>60.748109999999997</c:v>
                </c:pt>
                <c:pt idx="19">
                  <c:v>67.664829999999995</c:v>
                </c:pt>
                <c:pt idx="20">
                  <c:v>56.97533</c:v>
                </c:pt>
                <c:pt idx="21">
                  <c:v>64.635360000000006</c:v>
                </c:pt>
                <c:pt idx="22">
                  <c:v>57.325899999999997</c:v>
                </c:pt>
                <c:pt idx="23">
                  <c:v>57.668559999999999</c:v>
                </c:pt>
                <c:pt idx="24">
                  <c:v>61.08081</c:v>
                </c:pt>
                <c:pt idx="25">
                  <c:v>68.184219999999996</c:v>
                </c:pt>
                <c:pt idx="26">
                  <c:v>64.16431</c:v>
                </c:pt>
                <c:pt idx="27">
                  <c:v>62.677779999999998</c:v>
                </c:pt>
                <c:pt idx="28">
                  <c:v>63.181469999999997</c:v>
                </c:pt>
                <c:pt idx="29">
                  <c:v>67.585729999999998</c:v>
                </c:pt>
                <c:pt idx="30">
                  <c:v>65.09478</c:v>
                </c:pt>
                <c:pt idx="31">
                  <c:v>69.64864</c:v>
                </c:pt>
                <c:pt idx="32">
                  <c:v>60.752099999999999</c:v>
                </c:pt>
                <c:pt idx="33">
                  <c:v>62.704770000000003</c:v>
                </c:pt>
                <c:pt idx="34">
                  <c:v>66.519159999999999</c:v>
                </c:pt>
                <c:pt idx="35">
                  <c:v>58.769820000000003</c:v>
                </c:pt>
                <c:pt idx="36">
                  <c:v>61.120950000000001</c:v>
                </c:pt>
                <c:pt idx="37">
                  <c:v>61.233049999999999</c:v>
                </c:pt>
                <c:pt idx="38">
                  <c:v>62.451749999999997</c:v>
                </c:pt>
                <c:pt idx="39">
                  <c:v>63.762419999999999</c:v>
                </c:pt>
                <c:pt idx="40">
                  <c:v>65.083389999999994</c:v>
                </c:pt>
                <c:pt idx="41">
                  <c:v>60.382989999999999</c:v>
                </c:pt>
                <c:pt idx="42">
                  <c:v>66.703469999999996</c:v>
                </c:pt>
                <c:pt idx="43">
                  <c:v>61.5137</c:v>
                </c:pt>
                <c:pt idx="44">
                  <c:v>62.393329999999999</c:v>
                </c:pt>
                <c:pt idx="45">
                  <c:v>64.053709999999995</c:v>
                </c:pt>
                <c:pt idx="46">
                  <c:v>62.53076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BD0-453C-A69E-2E79517C936B}"/>
            </c:ext>
          </c:extLst>
        </c:ser>
        <c:ser>
          <c:idx val="3"/>
          <c:order val="4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marker>
            <c:symbol val="none"/>
          </c:marker>
          <c:cat>
            <c:numRef>
              <c:f>Sheet1!$B$1:$AV$1</c:f>
              <c:numCache>
                <c:formatCode>General</c:formatCode>
                <c:ptCount val="47"/>
                <c:pt idx="0">
                  <c:v>1977</c:v>
                </c:pt>
                <c:pt idx="1">
                  <c:v>1978</c:v>
                </c:pt>
                <c:pt idx="2">
                  <c:v>1979</c:v>
                </c:pt>
                <c:pt idx="3">
                  <c:v>1980</c:v>
                </c:pt>
                <c:pt idx="4">
                  <c:v>1981</c:v>
                </c:pt>
                <c:pt idx="5">
                  <c:v>1982</c:v>
                </c:pt>
                <c:pt idx="6">
                  <c:v>1983</c:v>
                </c:pt>
                <c:pt idx="7">
                  <c:v>1984</c:v>
                </c:pt>
                <c:pt idx="8">
                  <c:v>1985</c:v>
                </c:pt>
                <c:pt idx="9">
                  <c:v>1986</c:v>
                </c:pt>
                <c:pt idx="10">
                  <c:v>1987</c:v>
                </c:pt>
                <c:pt idx="11">
                  <c:v>1988</c:v>
                </c:pt>
                <c:pt idx="12">
                  <c:v>1989</c:v>
                </c:pt>
                <c:pt idx="13">
                  <c:v>1990</c:v>
                </c:pt>
                <c:pt idx="14">
                  <c:v>1991</c:v>
                </c:pt>
                <c:pt idx="15">
                  <c:v>1992</c:v>
                </c:pt>
                <c:pt idx="16">
                  <c:v>1993</c:v>
                </c:pt>
                <c:pt idx="17">
                  <c:v>1994</c:v>
                </c:pt>
                <c:pt idx="18">
                  <c:v>1995</c:v>
                </c:pt>
                <c:pt idx="19">
                  <c:v>1996</c:v>
                </c:pt>
                <c:pt idx="20">
                  <c:v>1997</c:v>
                </c:pt>
                <c:pt idx="21">
                  <c:v>1998</c:v>
                </c:pt>
                <c:pt idx="22">
                  <c:v>1999</c:v>
                </c:pt>
                <c:pt idx="23">
                  <c:v>2000</c:v>
                </c:pt>
                <c:pt idx="24">
                  <c:v>2001</c:v>
                </c:pt>
                <c:pt idx="25">
                  <c:v>2002</c:v>
                </c:pt>
                <c:pt idx="26">
                  <c:v>2003</c:v>
                </c:pt>
                <c:pt idx="27">
                  <c:v>2004</c:v>
                </c:pt>
                <c:pt idx="28">
                  <c:v>2005</c:v>
                </c:pt>
                <c:pt idx="29">
                  <c:v>2006</c:v>
                </c:pt>
                <c:pt idx="30">
                  <c:v>2007</c:v>
                </c:pt>
                <c:pt idx="31">
                  <c:v>2008</c:v>
                </c:pt>
                <c:pt idx="32">
                  <c:v>2009</c:v>
                </c:pt>
                <c:pt idx="33">
                  <c:v>2010</c:v>
                </c:pt>
                <c:pt idx="34">
                  <c:v>2011</c:v>
                </c:pt>
                <c:pt idx="35">
                  <c:v>2012</c:v>
                </c:pt>
                <c:pt idx="36">
                  <c:v>2013</c:v>
                </c:pt>
                <c:pt idx="37">
                  <c:v>2014</c:v>
                </c:pt>
                <c:pt idx="38">
                  <c:v>2015</c:v>
                </c:pt>
                <c:pt idx="39">
                  <c:v>2016</c:v>
                </c:pt>
                <c:pt idx="40">
                  <c:v>2017</c:v>
                </c:pt>
                <c:pt idx="41">
                  <c:v>2018</c:v>
                </c:pt>
                <c:pt idx="42">
                  <c:v>2019</c:v>
                </c:pt>
                <c:pt idx="43">
                  <c:v>2020</c:v>
                </c:pt>
                <c:pt idx="44">
                  <c:v>2021</c:v>
                </c:pt>
                <c:pt idx="45">
                  <c:v>2022</c:v>
                </c:pt>
                <c:pt idx="46">
                  <c:v>2023</c:v>
                </c:pt>
              </c:numCache>
            </c:num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BD0-453C-A69E-2E79517C936B}"/>
            </c:ext>
          </c:extLst>
        </c:ser>
        <c:ser>
          <c:idx val="4"/>
          <c:order val="5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marker>
            <c:symbol val="none"/>
          </c:marker>
          <c:cat>
            <c:numRef>
              <c:f>Sheet1!$B$1:$AV$1</c:f>
              <c:numCache>
                <c:formatCode>General</c:formatCode>
                <c:ptCount val="47"/>
                <c:pt idx="0">
                  <c:v>1977</c:v>
                </c:pt>
                <c:pt idx="1">
                  <c:v>1978</c:v>
                </c:pt>
                <c:pt idx="2">
                  <c:v>1979</c:v>
                </c:pt>
                <c:pt idx="3">
                  <c:v>1980</c:v>
                </c:pt>
                <c:pt idx="4">
                  <c:v>1981</c:v>
                </c:pt>
                <c:pt idx="5">
                  <c:v>1982</c:v>
                </c:pt>
                <c:pt idx="6">
                  <c:v>1983</c:v>
                </c:pt>
                <c:pt idx="7">
                  <c:v>1984</c:v>
                </c:pt>
                <c:pt idx="8">
                  <c:v>1985</c:v>
                </c:pt>
                <c:pt idx="9">
                  <c:v>1986</c:v>
                </c:pt>
                <c:pt idx="10">
                  <c:v>1987</c:v>
                </c:pt>
                <c:pt idx="11">
                  <c:v>1988</c:v>
                </c:pt>
                <c:pt idx="12">
                  <c:v>1989</c:v>
                </c:pt>
                <c:pt idx="13">
                  <c:v>1990</c:v>
                </c:pt>
                <c:pt idx="14">
                  <c:v>1991</c:v>
                </c:pt>
                <c:pt idx="15">
                  <c:v>1992</c:v>
                </c:pt>
                <c:pt idx="16">
                  <c:v>1993</c:v>
                </c:pt>
                <c:pt idx="17">
                  <c:v>1994</c:v>
                </c:pt>
                <c:pt idx="18">
                  <c:v>1995</c:v>
                </c:pt>
                <c:pt idx="19">
                  <c:v>1996</c:v>
                </c:pt>
                <c:pt idx="20">
                  <c:v>1997</c:v>
                </c:pt>
                <c:pt idx="21">
                  <c:v>1998</c:v>
                </c:pt>
                <c:pt idx="22">
                  <c:v>1999</c:v>
                </c:pt>
                <c:pt idx="23">
                  <c:v>2000</c:v>
                </c:pt>
                <c:pt idx="24">
                  <c:v>2001</c:v>
                </c:pt>
                <c:pt idx="25">
                  <c:v>2002</c:v>
                </c:pt>
                <c:pt idx="26">
                  <c:v>2003</c:v>
                </c:pt>
                <c:pt idx="27">
                  <c:v>2004</c:v>
                </c:pt>
                <c:pt idx="28">
                  <c:v>2005</c:v>
                </c:pt>
                <c:pt idx="29">
                  <c:v>2006</c:v>
                </c:pt>
                <c:pt idx="30">
                  <c:v>2007</c:v>
                </c:pt>
                <c:pt idx="31">
                  <c:v>2008</c:v>
                </c:pt>
                <c:pt idx="32">
                  <c:v>2009</c:v>
                </c:pt>
                <c:pt idx="33">
                  <c:v>2010</c:v>
                </c:pt>
                <c:pt idx="34">
                  <c:v>2011</c:v>
                </c:pt>
                <c:pt idx="35">
                  <c:v>2012</c:v>
                </c:pt>
                <c:pt idx="36">
                  <c:v>2013</c:v>
                </c:pt>
                <c:pt idx="37">
                  <c:v>2014</c:v>
                </c:pt>
                <c:pt idx="38">
                  <c:v>2015</c:v>
                </c:pt>
                <c:pt idx="39">
                  <c:v>2016</c:v>
                </c:pt>
                <c:pt idx="40">
                  <c:v>2017</c:v>
                </c:pt>
                <c:pt idx="41">
                  <c:v>2018</c:v>
                </c:pt>
                <c:pt idx="42">
                  <c:v>2019</c:v>
                </c:pt>
                <c:pt idx="43">
                  <c:v>2020</c:v>
                </c:pt>
                <c:pt idx="44">
                  <c:v>2021</c:v>
                </c:pt>
                <c:pt idx="45">
                  <c:v>2022</c:v>
                </c:pt>
                <c:pt idx="46">
                  <c:v>2023</c:v>
                </c:pt>
              </c:numCache>
            </c:num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BD0-453C-A69E-2E79517C936B}"/>
            </c:ext>
          </c:extLst>
        </c:ser>
        <c:ser>
          <c:idx val="6"/>
          <c:order val="6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marker>
            <c:symbol val="none"/>
          </c:marker>
          <c:cat>
            <c:numRef>
              <c:f>Sheet1!$B$1:$AV$1</c:f>
              <c:numCache>
                <c:formatCode>General</c:formatCode>
                <c:ptCount val="47"/>
                <c:pt idx="0">
                  <c:v>1977</c:v>
                </c:pt>
                <c:pt idx="1">
                  <c:v>1978</c:v>
                </c:pt>
                <c:pt idx="2">
                  <c:v>1979</c:v>
                </c:pt>
                <c:pt idx="3">
                  <c:v>1980</c:v>
                </c:pt>
                <c:pt idx="4">
                  <c:v>1981</c:v>
                </c:pt>
                <c:pt idx="5">
                  <c:v>1982</c:v>
                </c:pt>
                <c:pt idx="6">
                  <c:v>1983</c:v>
                </c:pt>
                <c:pt idx="7">
                  <c:v>1984</c:v>
                </c:pt>
                <c:pt idx="8">
                  <c:v>1985</c:v>
                </c:pt>
                <c:pt idx="9">
                  <c:v>1986</c:v>
                </c:pt>
                <c:pt idx="10">
                  <c:v>1987</c:v>
                </c:pt>
                <c:pt idx="11">
                  <c:v>1988</c:v>
                </c:pt>
                <c:pt idx="12">
                  <c:v>1989</c:v>
                </c:pt>
                <c:pt idx="13">
                  <c:v>1990</c:v>
                </c:pt>
                <c:pt idx="14">
                  <c:v>1991</c:v>
                </c:pt>
                <c:pt idx="15">
                  <c:v>1992</c:v>
                </c:pt>
                <c:pt idx="16">
                  <c:v>1993</c:v>
                </c:pt>
                <c:pt idx="17">
                  <c:v>1994</c:v>
                </c:pt>
                <c:pt idx="18">
                  <c:v>1995</c:v>
                </c:pt>
                <c:pt idx="19">
                  <c:v>1996</c:v>
                </c:pt>
                <c:pt idx="20">
                  <c:v>1997</c:v>
                </c:pt>
                <c:pt idx="21">
                  <c:v>1998</c:v>
                </c:pt>
                <c:pt idx="22">
                  <c:v>1999</c:v>
                </c:pt>
                <c:pt idx="23">
                  <c:v>2000</c:v>
                </c:pt>
                <c:pt idx="24">
                  <c:v>2001</c:v>
                </c:pt>
                <c:pt idx="25">
                  <c:v>2002</c:v>
                </c:pt>
                <c:pt idx="26">
                  <c:v>2003</c:v>
                </c:pt>
                <c:pt idx="27">
                  <c:v>2004</c:v>
                </c:pt>
                <c:pt idx="28">
                  <c:v>2005</c:v>
                </c:pt>
                <c:pt idx="29">
                  <c:v>2006</c:v>
                </c:pt>
                <c:pt idx="30">
                  <c:v>2007</c:v>
                </c:pt>
                <c:pt idx="31">
                  <c:v>2008</c:v>
                </c:pt>
                <c:pt idx="32">
                  <c:v>2009</c:v>
                </c:pt>
                <c:pt idx="33">
                  <c:v>2010</c:v>
                </c:pt>
                <c:pt idx="34">
                  <c:v>2011</c:v>
                </c:pt>
                <c:pt idx="35">
                  <c:v>2012</c:v>
                </c:pt>
                <c:pt idx="36">
                  <c:v>2013</c:v>
                </c:pt>
                <c:pt idx="37">
                  <c:v>2014</c:v>
                </c:pt>
                <c:pt idx="38">
                  <c:v>2015</c:v>
                </c:pt>
                <c:pt idx="39">
                  <c:v>2016</c:v>
                </c:pt>
                <c:pt idx="40">
                  <c:v>2017</c:v>
                </c:pt>
                <c:pt idx="41">
                  <c:v>2018</c:v>
                </c:pt>
                <c:pt idx="42">
                  <c:v>2019</c:v>
                </c:pt>
                <c:pt idx="43">
                  <c:v>2020</c:v>
                </c:pt>
                <c:pt idx="44">
                  <c:v>2021</c:v>
                </c:pt>
                <c:pt idx="45">
                  <c:v>2022</c:v>
                </c:pt>
                <c:pt idx="46">
                  <c:v>2023</c:v>
                </c:pt>
              </c:numCache>
            </c:num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7BD0-453C-A69E-2E79517C936B}"/>
            </c:ext>
          </c:extLst>
        </c:ser>
        <c:ser>
          <c:idx val="7"/>
          <c:order val="7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marker>
            <c:symbol val="none"/>
          </c:marker>
          <c:cat>
            <c:numRef>
              <c:f>Sheet1!$B$1:$AV$1</c:f>
              <c:numCache>
                <c:formatCode>General</c:formatCode>
                <c:ptCount val="47"/>
                <c:pt idx="0">
                  <c:v>1977</c:v>
                </c:pt>
                <c:pt idx="1">
                  <c:v>1978</c:v>
                </c:pt>
                <c:pt idx="2">
                  <c:v>1979</c:v>
                </c:pt>
                <c:pt idx="3">
                  <c:v>1980</c:v>
                </c:pt>
                <c:pt idx="4">
                  <c:v>1981</c:v>
                </c:pt>
                <c:pt idx="5">
                  <c:v>1982</c:v>
                </c:pt>
                <c:pt idx="6">
                  <c:v>1983</c:v>
                </c:pt>
                <c:pt idx="7">
                  <c:v>1984</c:v>
                </c:pt>
                <c:pt idx="8">
                  <c:v>1985</c:v>
                </c:pt>
                <c:pt idx="9">
                  <c:v>1986</c:v>
                </c:pt>
                <c:pt idx="10">
                  <c:v>1987</c:v>
                </c:pt>
                <c:pt idx="11">
                  <c:v>1988</c:v>
                </c:pt>
                <c:pt idx="12">
                  <c:v>1989</c:v>
                </c:pt>
                <c:pt idx="13">
                  <c:v>1990</c:v>
                </c:pt>
                <c:pt idx="14">
                  <c:v>1991</c:v>
                </c:pt>
                <c:pt idx="15">
                  <c:v>1992</c:v>
                </c:pt>
                <c:pt idx="16">
                  <c:v>1993</c:v>
                </c:pt>
                <c:pt idx="17">
                  <c:v>1994</c:v>
                </c:pt>
                <c:pt idx="18">
                  <c:v>1995</c:v>
                </c:pt>
                <c:pt idx="19">
                  <c:v>1996</c:v>
                </c:pt>
                <c:pt idx="20">
                  <c:v>1997</c:v>
                </c:pt>
                <c:pt idx="21">
                  <c:v>1998</c:v>
                </c:pt>
                <c:pt idx="22">
                  <c:v>1999</c:v>
                </c:pt>
                <c:pt idx="23">
                  <c:v>2000</c:v>
                </c:pt>
                <c:pt idx="24">
                  <c:v>2001</c:v>
                </c:pt>
                <c:pt idx="25">
                  <c:v>2002</c:v>
                </c:pt>
                <c:pt idx="26">
                  <c:v>2003</c:v>
                </c:pt>
                <c:pt idx="27">
                  <c:v>2004</c:v>
                </c:pt>
                <c:pt idx="28">
                  <c:v>2005</c:v>
                </c:pt>
                <c:pt idx="29">
                  <c:v>2006</c:v>
                </c:pt>
                <c:pt idx="30">
                  <c:v>2007</c:v>
                </c:pt>
                <c:pt idx="31">
                  <c:v>2008</c:v>
                </c:pt>
                <c:pt idx="32">
                  <c:v>2009</c:v>
                </c:pt>
                <c:pt idx="33">
                  <c:v>2010</c:v>
                </c:pt>
                <c:pt idx="34">
                  <c:v>2011</c:v>
                </c:pt>
                <c:pt idx="35">
                  <c:v>2012</c:v>
                </c:pt>
                <c:pt idx="36">
                  <c:v>2013</c:v>
                </c:pt>
                <c:pt idx="37">
                  <c:v>2014</c:v>
                </c:pt>
                <c:pt idx="38">
                  <c:v>2015</c:v>
                </c:pt>
                <c:pt idx="39">
                  <c:v>2016</c:v>
                </c:pt>
                <c:pt idx="40">
                  <c:v>2017</c:v>
                </c:pt>
                <c:pt idx="41">
                  <c:v>2018</c:v>
                </c:pt>
                <c:pt idx="42">
                  <c:v>2019</c:v>
                </c:pt>
                <c:pt idx="43">
                  <c:v>2020</c:v>
                </c:pt>
                <c:pt idx="44">
                  <c:v>2021</c:v>
                </c:pt>
                <c:pt idx="45">
                  <c:v>2022</c:v>
                </c:pt>
                <c:pt idx="46">
                  <c:v>2023</c:v>
                </c:pt>
              </c:numCache>
            </c:num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7BD0-453C-A69E-2E79517C93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7724760"/>
        <c:axId val="1"/>
      </c:lineChart>
      <c:catAx>
        <c:axId val="1677247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cs-CZ"/>
          </a:p>
        </c:txPr>
        <c:crossAx val="1"/>
        <c:crosses val="autoZero"/>
        <c:auto val="1"/>
        <c:lblAlgn val="ctr"/>
        <c:lblOffset val="100"/>
        <c:tickLblSkip val="2"/>
        <c:tickMarkSkip val="1"/>
        <c:noMultiLvlLbl val="0"/>
      </c:catAx>
      <c:valAx>
        <c:axId val="1"/>
        <c:scaling>
          <c:orientation val="minMax"/>
        </c:scaling>
        <c:delete val="0"/>
        <c:axPos val="l"/>
        <c:majorGridlines>
          <c:spPr>
            <a:ln w="12700">
              <a:solidFill>
                <a:srgbClr val="EAEAEA"/>
              </a:solidFill>
              <a:prstDash val="solid"/>
            </a:ln>
          </c:spPr>
        </c:majorGridlines>
        <c:numFmt formatCode="General" sourceLinked="0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cs-CZ"/>
          </a:p>
        </c:txPr>
        <c:crossAx val="167724760"/>
        <c:crosses val="autoZero"/>
        <c:crossBetween val="midCat"/>
      </c:valAx>
      <c:spPr>
        <a:noFill/>
        <a:ln w="2540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00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1349693251533742E-2"/>
          <c:y val="0.10052910052910052"/>
          <c:w val="0.81288343558282206"/>
          <c:h val="0.87830687830687826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inc 5 let</c:v>
                </c:pt>
              </c:strCache>
            </c:strRef>
          </c:tx>
          <c:spPr>
            <a:solidFill>
              <a:srgbClr val="F0E1B3"/>
            </a:solidFill>
            <a:ln w="25399">
              <a:noFill/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D7A-4D4E-B649-14F742768D60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D7A-4D4E-B649-14F742768D60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ED7A-4D4E-B649-14F742768D60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ED7A-4D4E-B649-14F742768D60}"/>
              </c:ext>
            </c:extLst>
          </c:dPt>
          <c:dLbls>
            <c:numFmt formatCode="0.0" sourceLinked="0"/>
            <c:spPr>
              <a:noFill/>
              <a:ln w="253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 i="0" u="none" strike="noStrike" baseline="0">
                    <a:solidFill>
                      <a:schemeClr val="tx1"/>
                    </a:solidFill>
                    <a:latin typeface="+mn-lt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6</c:f>
              <c:strCache>
                <c:ptCount val="15"/>
                <c:pt idx="0">
                  <c:v>Královéhradecký kraj</c:v>
                </c:pt>
                <c:pt idx="1">
                  <c:v>Jihomoravský kraj</c:v>
                </c:pt>
                <c:pt idx="2">
                  <c:v>Zlínský kraj</c:v>
                </c:pt>
                <c:pt idx="3">
                  <c:v>Hl. m. Praha</c:v>
                </c:pt>
                <c:pt idx="4">
                  <c:v>Česká republika</c:v>
                </c:pt>
                <c:pt idx="5">
                  <c:v>Plzeňský kraj</c:v>
                </c:pt>
                <c:pt idx="6">
                  <c:v>Ústecký kraj</c:v>
                </c:pt>
                <c:pt idx="7">
                  <c:v>Kraj Vysočina</c:v>
                </c:pt>
                <c:pt idx="8">
                  <c:v>Liberecký kraj</c:v>
                </c:pt>
                <c:pt idx="9">
                  <c:v>Pardubický kraj</c:v>
                </c:pt>
                <c:pt idx="10">
                  <c:v>Moravskoslezský kraj</c:v>
                </c:pt>
                <c:pt idx="11">
                  <c:v>Středočeský kraj</c:v>
                </c:pt>
                <c:pt idx="12">
                  <c:v>Jihočeský kraj</c:v>
                </c:pt>
                <c:pt idx="13">
                  <c:v>Olomou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57.1369</c:v>
                </c:pt>
                <c:pt idx="1">
                  <c:v>152.0761</c:v>
                </c:pt>
                <c:pt idx="2">
                  <c:v>148.32900000000001</c:v>
                </c:pt>
                <c:pt idx="3">
                  <c:v>145.66749999999999</c:v>
                </c:pt>
                <c:pt idx="4">
                  <c:v>141.5523</c:v>
                </c:pt>
                <c:pt idx="5">
                  <c:v>141.40899999999999</c:v>
                </c:pt>
                <c:pt idx="6">
                  <c:v>139.7602</c:v>
                </c:pt>
                <c:pt idx="7">
                  <c:v>139.37029999999999</c:v>
                </c:pt>
                <c:pt idx="8">
                  <c:v>139.07820000000001</c:v>
                </c:pt>
                <c:pt idx="9">
                  <c:v>138.05789999999999</c:v>
                </c:pt>
                <c:pt idx="10">
                  <c:v>137.3364</c:v>
                </c:pt>
                <c:pt idx="11">
                  <c:v>136.38050000000001</c:v>
                </c:pt>
                <c:pt idx="12">
                  <c:v>135.64590000000001</c:v>
                </c:pt>
                <c:pt idx="13">
                  <c:v>135.03380000000001</c:v>
                </c:pt>
                <c:pt idx="14">
                  <c:v>124.71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7A-4D4E-B649-14F742768D60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rgbClr val="CC9900"/>
            </a:solidFill>
            <a:ln w="25399">
              <a:noFill/>
            </a:ln>
          </c:spPr>
          <c:invertIfNegative val="0"/>
          <c:cat>
            <c:strRef>
              <c:f>Sheet1!$A$2:$A$16</c:f>
              <c:strCache>
                <c:ptCount val="15"/>
                <c:pt idx="0">
                  <c:v>Královéhradecký kraj</c:v>
                </c:pt>
                <c:pt idx="1">
                  <c:v>Jihomoravský kraj</c:v>
                </c:pt>
                <c:pt idx="2">
                  <c:v>Zlínský kraj</c:v>
                </c:pt>
                <c:pt idx="3">
                  <c:v>Hl. m. Praha</c:v>
                </c:pt>
                <c:pt idx="4">
                  <c:v>Česká republika</c:v>
                </c:pt>
                <c:pt idx="5">
                  <c:v>Plzeňský kraj</c:v>
                </c:pt>
                <c:pt idx="6">
                  <c:v>Ústecký kraj</c:v>
                </c:pt>
                <c:pt idx="7">
                  <c:v>Kraj Vysočina</c:v>
                </c:pt>
                <c:pt idx="8">
                  <c:v>Liberecký kraj</c:v>
                </c:pt>
                <c:pt idx="9">
                  <c:v>Pardubický kraj</c:v>
                </c:pt>
                <c:pt idx="10">
                  <c:v>Moravskoslezský kraj</c:v>
                </c:pt>
                <c:pt idx="11">
                  <c:v>Středočeský kraj</c:v>
                </c:pt>
                <c:pt idx="12">
                  <c:v>Jihočeský kraj</c:v>
                </c:pt>
                <c:pt idx="13">
                  <c:v>Olomou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4">
                  <c:v>141.55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D7A-4D4E-B649-14F742768D60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</c:strCache>
            </c:strRef>
          </c:tx>
          <c:spPr>
            <a:solidFill>
              <a:srgbClr val="C00000"/>
            </a:solidFill>
            <a:ln w="25399">
              <a:noFill/>
            </a:ln>
          </c:spPr>
          <c:invertIfNegative val="0"/>
          <c:cat>
            <c:strRef>
              <c:f>Sheet1!$A$2:$A$16</c:f>
              <c:strCache>
                <c:ptCount val="15"/>
                <c:pt idx="0">
                  <c:v>Královéhradecký kraj</c:v>
                </c:pt>
                <c:pt idx="1">
                  <c:v>Jihomoravský kraj</c:v>
                </c:pt>
                <c:pt idx="2">
                  <c:v>Zlínský kraj</c:v>
                </c:pt>
                <c:pt idx="3">
                  <c:v>Hl. m. Praha</c:v>
                </c:pt>
                <c:pt idx="4">
                  <c:v>Česká republika</c:v>
                </c:pt>
                <c:pt idx="5">
                  <c:v>Plzeňský kraj</c:v>
                </c:pt>
                <c:pt idx="6">
                  <c:v>Ústecký kraj</c:v>
                </c:pt>
                <c:pt idx="7">
                  <c:v>Kraj Vysočina</c:v>
                </c:pt>
                <c:pt idx="8">
                  <c:v>Liberecký kraj</c:v>
                </c:pt>
                <c:pt idx="9">
                  <c:v>Pardubický kraj</c:v>
                </c:pt>
                <c:pt idx="10">
                  <c:v>Moravskoslezský kraj</c:v>
                </c:pt>
                <c:pt idx="11">
                  <c:v>Středočeský kraj</c:v>
                </c:pt>
                <c:pt idx="12">
                  <c:v>Jihočeský kraj</c:v>
                </c:pt>
                <c:pt idx="13">
                  <c:v>Olomou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12">
                  <c:v>135.6459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D7A-4D4E-B649-14F742768D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402645200"/>
        <c:axId val="402644808"/>
      </c:barChart>
      <c:catAx>
        <c:axId val="40264520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12700">
            <a:solidFill>
              <a:srgbClr val="000000"/>
            </a:solidFill>
            <a:prstDash val="solid"/>
          </a:ln>
        </c:spPr>
        <c:crossAx val="40264480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402644808"/>
        <c:scaling>
          <c:orientation val="minMax"/>
          <c:max val="200"/>
          <c:min val="0"/>
        </c:scaling>
        <c:delete val="0"/>
        <c:axPos val="t"/>
        <c:numFmt formatCode="0" sourceLinked="0"/>
        <c:majorTickMark val="out"/>
        <c:minorTickMark val="none"/>
        <c:tickLblPos val="nextTo"/>
        <c:spPr>
          <a:ln w="127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cs-CZ"/>
          </a:p>
        </c:txPr>
        <c:crossAx val="402645200"/>
        <c:crosses val="autoZero"/>
        <c:crossBetween val="between"/>
        <c:majorUnit val="50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5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2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8614564831261103E-2"/>
          <c:y val="5.4888507718696397E-2"/>
          <c:w val="0.88987566607460034"/>
          <c:h val="0.93825042881646659"/>
        </c:manualLayout>
      </c:layout>
      <c:barChart>
        <c:barDir val="bar"/>
        <c:grouping val="clustered"/>
        <c:varyColors val="0"/>
        <c:ser>
          <c:idx val="5"/>
          <c:order val="0"/>
          <c:tx>
            <c:strRef>
              <c:f>Sheet1!$B$1</c:f>
              <c:strCache>
                <c:ptCount val="1"/>
                <c:pt idx="0">
                  <c:v>31</c:v>
                </c:pt>
              </c:strCache>
            </c:strRef>
          </c:tx>
          <c:spPr>
            <a:solidFill>
              <a:srgbClr val="C00000"/>
            </a:solidFill>
            <a:ln w="24393">
              <a:noFill/>
            </a:ln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 b="0">
                    <a:latin typeface="+mn-lt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28</c:f>
              <c:strCache>
                <c:ptCount val="27"/>
                <c:pt idx="0">
                  <c:v>ZN průdušnice, průdušky a plíce (C33, C34)</c:v>
                </c:pt>
                <c:pt idx="1">
                  <c:v>ZN tlustého střeva a konečníku (C18–C20)</c:v>
                </c:pt>
                <c:pt idx="2">
                  <c:v>ZN slinivky břišní (C25)</c:v>
                </c:pt>
                <c:pt idx="3">
                  <c:v>ZN prsu (C50) u žen</c:v>
                </c:pt>
                <c:pt idx="4">
                  <c:v>ZN prostaty (C61)</c:v>
                </c:pt>
                <c:pt idx="5">
                  <c:v>ZN ledviny (C64)</c:v>
                </c:pt>
                <c:pt idx="6">
                  <c:v>leukémie (C91–C95)</c:v>
                </c:pt>
                <c:pt idx="7">
                  <c:v>ZN žaludku (C16)</c:v>
                </c:pt>
                <c:pt idx="8">
                  <c:v>ZN jater a intrahepatálních žlučových cest (C22)</c:v>
                </c:pt>
                <c:pt idx="9">
                  <c:v>ZN močového měchýře (C67)</c:v>
                </c:pt>
                <c:pt idx="10">
                  <c:v>ZN mozku, míchy a jiných částí CNS (C70–C72)</c:v>
                </c:pt>
                <c:pt idx="11">
                  <c:v>ZN hlavy a krku (C00–C14, C30–C31)</c:v>
                </c:pt>
                <c:pt idx="12">
                  <c:v>ZN žlučníku a žlučových cest (C23, C24)</c:v>
                </c:pt>
                <c:pt idx="13">
                  <c:v>ZN vaječníku (C56)</c:v>
                </c:pt>
                <c:pt idx="14">
                  <c:v>non-Hodgkinův lymfom (C82–C86)</c:v>
                </c:pt>
                <c:pt idx="15">
                  <c:v>ZN jícnu (C15)</c:v>
                </c:pt>
                <c:pt idx="16">
                  <c:v>ZN dělohy (C54, C55)</c:v>
                </c:pt>
                <c:pt idx="17">
                  <c:v>mnohočetný myelom (C90)</c:v>
                </c:pt>
                <c:pt idx="18">
                  <c:v>zhoubný melanom kůže (C43)</c:v>
                </c:pt>
                <c:pt idx="19">
                  <c:v>ZN hrdla děložního (C53)</c:v>
                </c:pt>
                <c:pt idx="20">
                  <c:v>nemelanomový kožní ZN (C44)</c:v>
                </c:pt>
                <c:pt idx="21">
                  <c:v>ZN hrtanu (C32)</c:v>
                </c:pt>
                <c:pt idx="22">
                  <c:v>ZN poj. a měk. tkání a perif. nervů (C47, C49)</c:v>
                </c:pt>
                <c:pt idx="23">
                  <c:v>ZN štítné žlázy (C73)</c:v>
                </c:pt>
                <c:pt idx="24">
                  <c:v>Hodgkinův lymfom (C81)</c:v>
                </c:pt>
                <c:pt idx="25">
                  <c:v>ZN varlete (C62)</c:v>
                </c:pt>
                <c:pt idx="26">
                  <c:v>ostatní zhoubné novotvary</c:v>
                </c:pt>
              </c:strCache>
            </c:strRef>
          </c:cat>
          <c:val>
            <c:numRef>
              <c:f>Sheet1!$B$2:$B$28</c:f>
              <c:numCache>
                <c:formatCode>General</c:formatCode>
                <c:ptCount val="27"/>
                <c:pt idx="0">
                  <c:v>49.430959999999999</c:v>
                </c:pt>
                <c:pt idx="1">
                  <c:v>32.323819999999998</c:v>
                </c:pt>
                <c:pt idx="2">
                  <c:v>23.584299999999999</c:v>
                </c:pt>
                <c:pt idx="3">
                  <c:v>16.921189999999999</c:v>
                </c:pt>
                <c:pt idx="4">
                  <c:v>15.30965</c:v>
                </c:pt>
                <c:pt idx="5">
                  <c:v>9.8242089999999997</c:v>
                </c:pt>
                <c:pt idx="6">
                  <c:v>8.9254639999999998</c:v>
                </c:pt>
                <c:pt idx="7">
                  <c:v>8.8944729999999996</c:v>
                </c:pt>
                <c:pt idx="8">
                  <c:v>8.5535700000000006</c:v>
                </c:pt>
                <c:pt idx="9">
                  <c:v>8.4915870000000009</c:v>
                </c:pt>
                <c:pt idx="10">
                  <c:v>7.4998690000000003</c:v>
                </c:pt>
                <c:pt idx="11">
                  <c:v>7.2829309999999996</c:v>
                </c:pt>
                <c:pt idx="12">
                  <c:v>6.3841859999999997</c:v>
                </c:pt>
                <c:pt idx="13">
                  <c:v>5.8573360000000001</c:v>
                </c:pt>
                <c:pt idx="14">
                  <c:v>5.733371</c:v>
                </c:pt>
                <c:pt idx="15">
                  <c:v>5.5164330000000001</c:v>
                </c:pt>
                <c:pt idx="16">
                  <c:v>4.2767850000000003</c:v>
                </c:pt>
                <c:pt idx="17">
                  <c:v>4.2767850000000003</c:v>
                </c:pt>
                <c:pt idx="18">
                  <c:v>3.8738990000000002</c:v>
                </c:pt>
                <c:pt idx="19">
                  <c:v>2.8201990000000001</c:v>
                </c:pt>
                <c:pt idx="20">
                  <c:v>1.952445</c:v>
                </c:pt>
                <c:pt idx="21">
                  <c:v>1.7045159999999999</c:v>
                </c:pt>
                <c:pt idx="22">
                  <c:v>1.4565859999999999</c:v>
                </c:pt>
                <c:pt idx="23">
                  <c:v>0.83676200000000001</c:v>
                </c:pt>
                <c:pt idx="24">
                  <c:v>0.43387700000000001</c:v>
                </c:pt>
                <c:pt idx="25">
                  <c:v>0.24793000000000001</c:v>
                </c:pt>
                <c:pt idx="26">
                  <c:v>25.75367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C4-4092-A543-E8012930D598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ČR</c:v>
                </c:pt>
              </c:strCache>
            </c:strRef>
          </c:tx>
          <c:spPr>
            <a:solidFill>
              <a:srgbClr val="858585"/>
            </a:solidFill>
            <a:ln w="24393">
              <a:noFill/>
            </a:ln>
          </c:spPr>
          <c:invertIfNegative val="0"/>
          <c:dLbls>
            <c:delete val="1"/>
          </c:dLbls>
          <c:cat>
            <c:strRef>
              <c:f>Sheet1!$A$2:$A$28</c:f>
              <c:strCache>
                <c:ptCount val="27"/>
                <c:pt idx="0">
                  <c:v>ZN průdušnice, průdušky a plíce (C33, C34)</c:v>
                </c:pt>
                <c:pt idx="1">
                  <c:v>ZN tlustého střeva a konečníku (C18–C20)</c:v>
                </c:pt>
                <c:pt idx="2">
                  <c:v>ZN slinivky břišní (C25)</c:v>
                </c:pt>
                <c:pt idx="3">
                  <c:v>ZN prsu (C50) u žen</c:v>
                </c:pt>
                <c:pt idx="4">
                  <c:v>ZN prostaty (C61)</c:v>
                </c:pt>
                <c:pt idx="5">
                  <c:v>ZN ledviny (C64)</c:v>
                </c:pt>
                <c:pt idx="6">
                  <c:v>leukémie (C91–C95)</c:v>
                </c:pt>
                <c:pt idx="7">
                  <c:v>ZN žaludku (C16)</c:v>
                </c:pt>
                <c:pt idx="8">
                  <c:v>ZN jater a intrahepatálních žlučových cest (C22)</c:v>
                </c:pt>
                <c:pt idx="9">
                  <c:v>ZN močového měchýře (C67)</c:v>
                </c:pt>
                <c:pt idx="10">
                  <c:v>ZN mozku, míchy a jiných částí CNS (C70–C72)</c:v>
                </c:pt>
                <c:pt idx="11">
                  <c:v>ZN hlavy a krku (C00–C14, C30–C31)</c:v>
                </c:pt>
                <c:pt idx="12">
                  <c:v>ZN žlučníku a žlučových cest (C23, C24)</c:v>
                </c:pt>
                <c:pt idx="13">
                  <c:v>ZN vaječníku (C56)</c:v>
                </c:pt>
                <c:pt idx="14">
                  <c:v>non-Hodgkinův lymfom (C82–C86)</c:v>
                </c:pt>
                <c:pt idx="15">
                  <c:v>ZN jícnu (C15)</c:v>
                </c:pt>
                <c:pt idx="16">
                  <c:v>ZN dělohy (C54, C55)</c:v>
                </c:pt>
                <c:pt idx="17">
                  <c:v>mnohočetný myelom (C90)</c:v>
                </c:pt>
                <c:pt idx="18">
                  <c:v>zhoubný melanom kůže (C43)</c:v>
                </c:pt>
                <c:pt idx="19">
                  <c:v>ZN hrdla děložního (C53)</c:v>
                </c:pt>
                <c:pt idx="20">
                  <c:v>nemelanomový kožní ZN (C44)</c:v>
                </c:pt>
                <c:pt idx="21">
                  <c:v>ZN hrtanu (C32)</c:v>
                </c:pt>
                <c:pt idx="22">
                  <c:v>ZN poj. a měk. tkání a perif. nervů (C47, C49)</c:v>
                </c:pt>
                <c:pt idx="23">
                  <c:v>ZN štítné žlázy (C73)</c:v>
                </c:pt>
                <c:pt idx="24">
                  <c:v>Hodgkinův lymfom (C81)</c:v>
                </c:pt>
                <c:pt idx="25">
                  <c:v>ZN varlete (C62)</c:v>
                </c:pt>
                <c:pt idx="26">
                  <c:v>ostatní zhoubné novotvary</c:v>
                </c:pt>
              </c:strCache>
            </c:strRef>
          </c:cat>
          <c:val>
            <c:numRef>
              <c:f>Sheet1!$C$2:$C$28</c:f>
              <c:numCache>
                <c:formatCode>General</c:formatCode>
                <c:ptCount val="27"/>
                <c:pt idx="0">
                  <c:v>47.518219999999999</c:v>
                </c:pt>
                <c:pt idx="1">
                  <c:v>30.502040000000001</c:v>
                </c:pt>
                <c:pt idx="2">
                  <c:v>21.821079999999998</c:v>
                </c:pt>
                <c:pt idx="3">
                  <c:v>16.100429999999999</c:v>
                </c:pt>
                <c:pt idx="4">
                  <c:v>13.8316</c:v>
                </c:pt>
                <c:pt idx="5">
                  <c:v>8.6959129999999991</c:v>
                </c:pt>
                <c:pt idx="6">
                  <c:v>8.6454529999999998</c:v>
                </c:pt>
                <c:pt idx="7">
                  <c:v>8.9612940000000005</c:v>
                </c:pt>
                <c:pt idx="8">
                  <c:v>8.2791519999999998</c:v>
                </c:pt>
                <c:pt idx="9">
                  <c:v>8.5221070000000001</c:v>
                </c:pt>
                <c:pt idx="10">
                  <c:v>7.2026750000000002</c:v>
                </c:pt>
                <c:pt idx="11">
                  <c:v>8.1109519999999993</c:v>
                </c:pt>
                <c:pt idx="12">
                  <c:v>6.1430189999999998</c:v>
                </c:pt>
                <c:pt idx="13">
                  <c:v>5.8253079999999997</c:v>
                </c:pt>
                <c:pt idx="14">
                  <c:v>5.5804850000000004</c:v>
                </c:pt>
                <c:pt idx="15">
                  <c:v>5.3730390000000003</c:v>
                </c:pt>
                <c:pt idx="16">
                  <c:v>3.9097029999999999</c:v>
                </c:pt>
                <c:pt idx="17">
                  <c:v>3.7415039999999999</c:v>
                </c:pt>
                <c:pt idx="18">
                  <c:v>3.9545569999999999</c:v>
                </c:pt>
                <c:pt idx="19">
                  <c:v>2.5585010000000001</c:v>
                </c:pt>
                <c:pt idx="20">
                  <c:v>1.867014</c:v>
                </c:pt>
                <c:pt idx="21">
                  <c:v>1.986623</c:v>
                </c:pt>
                <c:pt idx="22">
                  <c:v>1.302611</c:v>
                </c:pt>
                <c:pt idx="23">
                  <c:v>0.70830700000000002</c:v>
                </c:pt>
                <c:pt idx="24">
                  <c:v>0.50459799999999999</c:v>
                </c:pt>
                <c:pt idx="25">
                  <c:v>0.29154600000000003</c:v>
                </c:pt>
                <c:pt idx="26">
                  <c:v>26.17744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6C4-4092-A543-E8012930D59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"/>
        <c:axId val="201892000"/>
        <c:axId val="1"/>
      </c:barChart>
      <c:catAx>
        <c:axId val="20189200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3049">
            <a:solidFill>
              <a:schemeClr val="tx1"/>
            </a:solidFill>
            <a:prstDash val="solid"/>
          </a:ln>
        </c:spPr>
        <c:crossAx val="1"/>
        <c:crosses val="autoZero"/>
        <c:auto val="1"/>
        <c:lblAlgn val="ctr"/>
        <c:lblOffset val="100"/>
        <c:tickMarkSkip val="1"/>
        <c:noMultiLvlLbl val="0"/>
      </c:catAx>
      <c:valAx>
        <c:axId val="1"/>
        <c:scaling>
          <c:orientation val="minMax"/>
          <c:max val="50"/>
        </c:scaling>
        <c:delete val="0"/>
        <c:axPos val="t"/>
        <c:numFmt formatCode="#,##0" sourceLinked="0"/>
        <c:majorTickMark val="out"/>
        <c:minorTickMark val="none"/>
        <c:tickLblPos val="nextTo"/>
        <c:spPr>
          <a:ln w="304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Arial"/>
              </a:defRPr>
            </a:pPr>
            <a:endParaRPr lang="cs-CZ"/>
          </a:p>
        </c:txPr>
        <c:crossAx val="201892000"/>
        <c:crosses val="autoZero"/>
        <c:crossBetween val="between"/>
      </c:valAx>
      <c:spPr>
        <a:noFill/>
        <a:ln w="2439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537" b="1" i="0" u="none" strike="noStrike" baseline="0">
          <a:solidFill>
            <a:schemeClr val="tx1"/>
          </a:solidFill>
          <a:latin typeface="Tahoma"/>
          <a:ea typeface="Tahoma"/>
          <a:cs typeface="Tahoma"/>
        </a:defRPr>
      </a:pPr>
      <a:endParaRPr lang="cs-CZ"/>
    </a:p>
  </c:txPr>
  <c:externalData r:id="rId2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193321616871705"/>
          <c:y val="6.4837905236907731E-2"/>
          <c:w val="0.87873462214411246"/>
          <c:h val="0.80049875311720697"/>
        </c:manualLayout>
      </c:layout>
      <c:areaChart>
        <c:grouping val="stacked"/>
        <c:varyColors val="0"/>
        <c:ser>
          <c:idx val="5"/>
          <c:order val="0"/>
          <c:tx>
            <c:strRef>
              <c:f>Sheet1!$A$2</c:f>
              <c:strCache>
                <c:ptCount val="1"/>
                <c:pt idx="0">
                  <c:v>min</c:v>
                </c:pt>
              </c:strCache>
            </c:strRef>
          </c:tx>
          <c:spPr>
            <a:noFill/>
            <a:ln w="25401">
              <a:noFill/>
            </a:ln>
          </c:spPr>
          <c:cat>
            <c:numRef>
              <c:f>Sheet1!$B$1:$AS$1</c:f>
              <c:numCache>
                <c:formatCode>General</c:formatCode>
                <c:ptCount val="44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  <c:pt idx="40">
                  <c:v>2020</c:v>
                </c:pt>
                <c:pt idx="41">
                  <c:v>2021</c:v>
                </c:pt>
                <c:pt idx="42">
                  <c:v>2022</c:v>
                </c:pt>
                <c:pt idx="43">
                  <c:v>2023</c:v>
                </c:pt>
              </c:numCache>
            </c:numRef>
          </c:cat>
          <c:val>
            <c:numRef>
              <c:f>Sheet1!$B$2:$AS$2</c:f>
              <c:numCache>
                <c:formatCode>General</c:formatCode>
                <c:ptCount val="44"/>
                <c:pt idx="0">
                  <c:v>38.170920000000002</c:v>
                </c:pt>
                <c:pt idx="1">
                  <c:v>40.236409999999999</c:v>
                </c:pt>
                <c:pt idx="2">
                  <c:v>38.622149999999998</c:v>
                </c:pt>
                <c:pt idx="3">
                  <c:v>40.619030000000002</c:v>
                </c:pt>
                <c:pt idx="4">
                  <c:v>38.886069999999997</c:v>
                </c:pt>
                <c:pt idx="5">
                  <c:v>40.332410000000003</c:v>
                </c:pt>
                <c:pt idx="6">
                  <c:v>39.983130000000003</c:v>
                </c:pt>
                <c:pt idx="7">
                  <c:v>42.939549999999997</c:v>
                </c:pt>
                <c:pt idx="8">
                  <c:v>42.566670000000002</c:v>
                </c:pt>
                <c:pt idx="9">
                  <c:v>42.736269999999998</c:v>
                </c:pt>
                <c:pt idx="10">
                  <c:v>41.668309999999998</c:v>
                </c:pt>
                <c:pt idx="11">
                  <c:v>40.838120000000004</c:v>
                </c:pt>
                <c:pt idx="12">
                  <c:v>43.589939999999999</c:v>
                </c:pt>
                <c:pt idx="13">
                  <c:v>41.732219999999998</c:v>
                </c:pt>
                <c:pt idx="14">
                  <c:v>45.362589999999997</c:v>
                </c:pt>
                <c:pt idx="15">
                  <c:v>43.0045</c:v>
                </c:pt>
                <c:pt idx="16">
                  <c:v>41.479050000000001</c:v>
                </c:pt>
                <c:pt idx="17">
                  <c:v>39.179070000000003</c:v>
                </c:pt>
                <c:pt idx="18">
                  <c:v>39.062429999999999</c:v>
                </c:pt>
                <c:pt idx="19">
                  <c:v>39.66216</c:v>
                </c:pt>
                <c:pt idx="20">
                  <c:v>38.959499999999998</c:v>
                </c:pt>
                <c:pt idx="21">
                  <c:v>45.724429999999998</c:v>
                </c:pt>
                <c:pt idx="22">
                  <c:v>39.092910000000003</c:v>
                </c:pt>
                <c:pt idx="23">
                  <c:v>39.675840000000001</c:v>
                </c:pt>
                <c:pt idx="24">
                  <c:v>36.361359999999998</c:v>
                </c:pt>
                <c:pt idx="25">
                  <c:v>35.396909999999998</c:v>
                </c:pt>
                <c:pt idx="26">
                  <c:v>36.618299999999998</c:v>
                </c:pt>
                <c:pt idx="27">
                  <c:v>35.593220000000002</c:v>
                </c:pt>
                <c:pt idx="28">
                  <c:v>38.065460000000002</c:v>
                </c:pt>
                <c:pt idx="29">
                  <c:v>39.404499999999999</c:v>
                </c:pt>
                <c:pt idx="30">
                  <c:v>37.428510000000003</c:v>
                </c:pt>
                <c:pt idx="31">
                  <c:v>40.366619999999998</c:v>
                </c:pt>
                <c:pt idx="32">
                  <c:v>37.565930000000002</c:v>
                </c:pt>
                <c:pt idx="33">
                  <c:v>37.33417</c:v>
                </c:pt>
                <c:pt idx="34">
                  <c:v>33.627560000000003</c:v>
                </c:pt>
                <c:pt idx="35">
                  <c:v>34.369079999999997</c:v>
                </c:pt>
                <c:pt idx="36">
                  <c:v>36.976489999999998</c:v>
                </c:pt>
                <c:pt idx="37">
                  <c:v>34.817570000000003</c:v>
                </c:pt>
                <c:pt idx="38">
                  <c:v>33.284149999999997</c:v>
                </c:pt>
                <c:pt idx="39">
                  <c:v>33.635939999999998</c:v>
                </c:pt>
                <c:pt idx="40">
                  <c:v>36.637349999999998</c:v>
                </c:pt>
                <c:pt idx="41">
                  <c:v>31.936389999999999</c:v>
                </c:pt>
                <c:pt idx="42">
                  <c:v>31.764389999999999</c:v>
                </c:pt>
                <c:pt idx="43">
                  <c:v>33.39265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E1-4AE8-A1BD-69513B5D8FA3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hranice max</c:v>
                </c:pt>
              </c:strCache>
            </c:strRef>
          </c:tx>
          <c:spPr>
            <a:solidFill>
              <a:srgbClr val="C8C8C8"/>
            </a:solidFill>
            <a:ln w="25401">
              <a:noFill/>
            </a:ln>
          </c:spPr>
          <c:cat>
            <c:numRef>
              <c:f>Sheet1!$B$1:$AS$1</c:f>
              <c:numCache>
                <c:formatCode>General</c:formatCode>
                <c:ptCount val="44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  <c:pt idx="40">
                  <c:v>2020</c:v>
                </c:pt>
                <c:pt idx="41">
                  <c:v>2021</c:v>
                </c:pt>
                <c:pt idx="42">
                  <c:v>2022</c:v>
                </c:pt>
                <c:pt idx="43">
                  <c:v>2023</c:v>
                </c:pt>
              </c:numCache>
            </c:numRef>
          </c:cat>
          <c:val>
            <c:numRef>
              <c:f>Sheet1!$B$3:$AS$3</c:f>
              <c:numCache>
                <c:formatCode>General</c:formatCode>
                <c:ptCount val="44"/>
                <c:pt idx="0">
                  <c:v>25.49418</c:v>
                </c:pt>
                <c:pt idx="1">
                  <c:v>22.254339999999999</c:v>
                </c:pt>
                <c:pt idx="2">
                  <c:v>27.07142</c:v>
                </c:pt>
                <c:pt idx="3">
                  <c:v>27.785720000000001</c:v>
                </c:pt>
                <c:pt idx="4">
                  <c:v>35.443429999999999</c:v>
                </c:pt>
                <c:pt idx="5">
                  <c:v>25.417860000000001</c:v>
                </c:pt>
                <c:pt idx="6">
                  <c:v>30.245920000000002</c:v>
                </c:pt>
                <c:pt idx="7">
                  <c:v>23.213809999999999</c:v>
                </c:pt>
                <c:pt idx="8">
                  <c:v>25.292760000000001</c:v>
                </c:pt>
                <c:pt idx="9">
                  <c:v>23.453050000000001</c:v>
                </c:pt>
                <c:pt idx="10">
                  <c:v>24.20956</c:v>
                </c:pt>
                <c:pt idx="11">
                  <c:v>28.570519999999998</c:v>
                </c:pt>
                <c:pt idx="12">
                  <c:v>30.530740000000002</c:v>
                </c:pt>
                <c:pt idx="13">
                  <c:v>21.995080000000002</c:v>
                </c:pt>
                <c:pt idx="14">
                  <c:v>19.22101</c:v>
                </c:pt>
                <c:pt idx="15">
                  <c:v>39.920760000000001</c:v>
                </c:pt>
                <c:pt idx="16">
                  <c:v>33.58126</c:v>
                </c:pt>
                <c:pt idx="17">
                  <c:v>36.930169999999997</c:v>
                </c:pt>
                <c:pt idx="18">
                  <c:v>35.831330000000001</c:v>
                </c:pt>
                <c:pt idx="19">
                  <c:v>29.576509999999999</c:v>
                </c:pt>
                <c:pt idx="20">
                  <c:v>33.26661</c:v>
                </c:pt>
                <c:pt idx="21">
                  <c:v>26.99973</c:v>
                </c:pt>
                <c:pt idx="22">
                  <c:v>33.990859999999998</c:v>
                </c:pt>
                <c:pt idx="23">
                  <c:v>31.434640000000002</c:v>
                </c:pt>
                <c:pt idx="24">
                  <c:v>37.119759999999999</c:v>
                </c:pt>
                <c:pt idx="25">
                  <c:v>35.929510000000001</c:v>
                </c:pt>
                <c:pt idx="26">
                  <c:v>34.810879999999997</c:v>
                </c:pt>
                <c:pt idx="27">
                  <c:v>33.453919999999997</c:v>
                </c:pt>
                <c:pt idx="28">
                  <c:v>26.900500000000001</c:v>
                </c:pt>
                <c:pt idx="29">
                  <c:v>32.235250000000001</c:v>
                </c:pt>
                <c:pt idx="30">
                  <c:v>31.009239999999998</c:v>
                </c:pt>
                <c:pt idx="31">
                  <c:v>34.096769999999999</c:v>
                </c:pt>
                <c:pt idx="32">
                  <c:v>29.87565</c:v>
                </c:pt>
                <c:pt idx="33">
                  <c:v>32.291739999999997</c:v>
                </c:pt>
                <c:pt idx="34">
                  <c:v>42.634369999999997</c:v>
                </c:pt>
                <c:pt idx="35">
                  <c:v>34.306260000000002</c:v>
                </c:pt>
                <c:pt idx="36">
                  <c:v>30.291779999999999</c:v>
                </c:pt>
                <c:pt idx="37">
                  <c:v>39.365960000000001</c:v>
                </c:pt>
                <c:pt idx="38">
                  <c:v>39.59113</c:v>
                </c:pt>
                <c:pt idx="39">
                  <c:v>40.705620000000003</c:v>
                </c:pt>
                <c:pt idx="40">
                  <c:v>32.02646</c:v>
                </c:pt>
                <c:pt idx="41">
                  <c:v>40.484319999999997</c:v>
                </c:pt>
                <c:pt idx="42">
                  <c:v>38.349800000000002</c:v>
                </c:pt>
                <c:pt idx="43">
                  <c:v>34.89184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3E1-4AE8-A1BD-69513B5D8F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7724760"/>
        <c:axId val="1"/>
      </c:areaChart>
      <c:lineChart>
        <c:grouping val="standard"/>
        <c:varyColors val="0"/>
        <c:ser>
          <c:idx val="2"/>
          <c:order val="2"/>
          <c:tx>
            <c:strRef>
              <c:f>Sheet1!$A$4</c:f>
              <c:strCache>
                <c:ptCount val="1"/>
                <c:pt idx="0">
                  <c:v>ČR</c:v>
                </c:pt>
              </c:strCache>
            </c:strRef>
          </c:tx>
          <c:spPr>
            <a:ln w="25401">
              <a:solidFill>
                <a:srgbClr val="7F7F7F"/>
              </a:solidFill>
              <a:prstDash val="solid"/>
            </a:ln>
          </c:spPr>
          <c:marker>
            <c:symbol val="none"/>
          </c:marker>
          <c:cat>
            <c:numRef>
              <c:f>Sheet1!$B$1:$AS$1</c:f>
              <c:numCache>
                <c:formatCode>General</c:formatCode>
                <c:ptCount val="44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  <c:pt idx="40">
                  <c:v>2020</c:v>
                </c:pt>
                <c:pt idx="41">
                  <c:v>2021</c:v>
                </c:pt>
                <c:pt idx="42">
                  <c:v>2022</c:v>
                </c:pt>
                <c:pt idx="43">
                  <c:v>2023</c:v>
                </c:pt>
              </c:numCache>
            </c:numRef>
          </c:cat>
          <c:val>
            <c:numRef>
              <c:f>Sheet1!$B$4:$AS$4</c:f>
              <c:numCache>
                <c:formatCode>General</c:formatCode>
                <c:ptCount val="44"/>
                <c:pt idx="0">
                  <c:v>48.801310000000001</c:v>
                </c:pt>
                <c:pt idx="1">
                  <c:v>49.250790000000002</c:v>
                </c:pt>
                <c:pt idx="2">
                  <c:v>50.081449999999997</c:v>
                </c:pt>
                <c:pt idx="3">
                  <c:v>52.118209999999998</c:v>
                </c:pt>
                <c:pt idx="4">
                  <c:v>51.258479999999999</c:v>
                </c:pt>
                <c:pt idx="5">
                  <c:v>50.24982</c:v>
                </c:pt>
                <c:pt idx="6">
                  <c:v>51.787880000000001</c:v>
                </c:pt>
                <c:pt idx="7">
                  <c:v>51.368110000000001</c:v>
                </c:pt>
                <c:pt idx="8">
                  <c:v>50.934890000000003</c:v>
                </c:pt>
                <c:pt idx="9">
                  <c:v>52.401710000000001</c:v>
                </c:pt>
                <c:pt idx="10">
                  <c:v>52.669469999999997</c:v>
                </c:pt>
                <c:pt idx="11">
                  <c:v>53.23668</c:v>
                </c:pt>
                <c:pt idx="12">
                  <c:v>53.412509999999997</c:v>
                </c:pt>
                <c:pt idx="13">
                  <c:v>52.339619999999996</c:v>
                </c:pt>
                <c:pt idx="14">
                  <c:v>53.811079999999997</c:v>
                </c:pt>
                <c:pt idx="15">
                  <c:v>56.094619999999999</c:v>
                </c:pt>
                <c:pt idx="16">
                  <c:v>54.171680000000002</c:v>
                </c:pt>
                <c:pt idx="17">
                  <c:v>53.971209999999999</c:v>
                </c:pt>
                <c:pt idx="18">
                  <c:v>52.773479999999999</c:v>
                </c:pt>
                <c:pt idx="19">
                  <c:v>54.683630000000001</c:v>
                </c:pt>
                <c:pt idx="20">
                  <c:v>55.741039999999998</c:v>
                </c:pt>
                <c:pt idx="21">
                  <c:v>55.114379999999997</c:v>
                </c:pt>
                <c:pt idx="22">
                  <c:v>54.535080000000001</c:v>
                </c:pt>
                <c:pt idx="23">
                  <c:v>54.5794</c:v>
                </c:pt>
                <c:pt idx="24">
                  <c:v>55.73668</c:v>
                </c:pt>
                <c:pt idx="25">
                  <c:v>54.162109999999998</c:v>
                </c:pt>
                <c:pt idx="26">
                  <c:v>53.853999999999999</c:v>
                </c:pt>
                <c:pt idx="27">
                  <c:v>53.048189999999998</c:v>
                </c:pt>
                <c:pt idx="28">
                  <c:v>51.88073</c:v>
                </c:pt>
                <c:pt idx="29">
                  <c:v>51.994509999999998</c:v>
                </c:pt>
                <c:pt idx="30">
                  <c:v>52.979640000000003</c:v>
                </c:pt>
                <c:pt idx="31">
                  <c:v>53.25497</c:v>
                </c:pt>
                <c:pt idx="32">
                  <c:v>53.248150000000003</c:v>
                </c:pt>
                <c:pt idx="33">
                  <c:v>51.623489999999997</c:v>
                </c:pt>
                <c:pt idx="34">
                  <c:v>49.967779999999998</c:v>
                </c:pt>
                <c:pt idx="35">
                  <c:v>49.900680000000001</c:v>
                </c:pt>
                <c:pt idx="36">
                  <c:v>50.476640000000003</c:v>
                </c:pt>
                <c:pt idx="37">
                  <c:v>51.588709999999999</c:v>
                </c:pt>
                <c:pt idx="38">
                  <c:v>49.64038</c:v>
                </c:pt>
                <c:pt idx="39">
                  <c:v>49.9938</c:v>
                </c:pt>
                <c:pt idx="40">
                  <c:v>49.569380000000002</c:v>
                </c:pt>
                <c:pt idx="41">
                  <c:v>46.643839999999997</c:v>
                </c:pt>
                <c:pt idx="42">
                  <c:v>46.21951</c:v>
                </c:pt>
                <c:pt idx="43">
                  <c:v>45.20114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3E1-4AE8-A1BD-69513B5D8FA3}"/>
            </c:ext>
          </c:extLst>
        </c:ser>
        <c:ser>
          <c:idx val="0"/>
          <c:order val="3"/>
          <c:tx>
            <c:strRef>
              <c:f>Sheet1!$A$5</c:f>
              <c:strCache>
                <c:ptCount val="1"/>
                <c:pt idx="0">
                  <c:v>31</c:v>
                </c:pt>
              </c:strCache>
            </c:strRef>
          </c:tx>
          <c:spPr>
            <a:ln w="25400">
              <a:solidFill>
                <a:srgbClr val="C00000"/>
              </a:solidFill>
            </a:ln>
          </c:spPr>
          <c:marker>
            <c:symbol val="none"/>
          </c:marker>
          <c:cat>
            <c:numRef>
              <c:f>Sheet1!$B$1:$AS$1</c:f>
              <c:numCache>
                <c:formatCode>General</c:formatCode>
                <c:ptCount val="44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  <c:pt idx="40">
                  <c:v>2020</c:v>
                </c:pt>
                <c:pt idx="41">
                  <c:v>2021</c:v>
                </c:pt>
                <c:pt idx="42">
                  <c:v>2022</c:v>
                </c:pt>
                <c:pt idx="43">
                  <c:v>2023</c:v>
                </c:pt>
              </c:numCache>
            </c:numRef>
          </c:cat>
          <c:val>
            <c:numRef>
              <c:f>Sheet1!$B$5:$AS$5</c:f>
              <c:numCache>
                <c:formatCode>General</c:formatCode>
                <c:ptCount val="44"/>
                <c:pt idx="0">
                  <c:v>63.665100000000002</c:v>
                </c:pt>
                <c:pt idx="1">
                  <c:v>56.174939999999999</c:v>
                </c:pt>
                <c:pt idx="2">
                  <c:v>59.63899</c:v>
                </c:pt>
                <c:pt idx="3">
                  <c:v>64.718530000000001</c:v>
                </c:pt>
                <c:pt idx="4">
                  <c:v>67.070710000000005</c:v>
                </c:pt>
                <c:pt idx="5">
                  <c:v>54.414520000000003</c:v>
                </c:pt>
                <c:pt idx="6">
                  <c:v>57.44576</c:v>
                </c:pt>
                <c:pt idx="7">
                  <c:v>59.828670000000002</c:v>
                </c:pt>
                <c:pt idx="8">
                  <c:v>53.400419999999997</c:v>
                </c:pt>
                <c:pt idx="9">
                  <c:v>56.00074</c:v>
                </c:pt>
                <c:pt idx="10">
                  <c:v>58.510480000000001</c:v>
                </c:pt>
                <c:pt idx="11">
                  <c:v>59.169510000000002</c:v>
                </c:pt>
                <c:pt idx="12">
                  <c:v>59.575670000000002</c:v>
                </c:pt>
                <c:pt idx="13">
                  <c:v>57.045789999999997</c:v>
                </c:pt>
                <c:pt idx="14">
                  <c:v>58.562579999999997</c:v>
                </c:pt>
                <c:pt idx="15">
                  <c:v>54.529800000000002</c:v>
                </c:pt>
                <c:pt idx="16">
                  <c:v>57.451270000000001</c:v>
                </c:pt>
                <c:pt idx="17">
                  <c:v>56.656140000000001</c:v>
                </c:pt>
                <c:pt idx="18">
                  <c:v>52.187069999999999</c:v>
                </c:pt>
                <c:pt idx="19">
                  <c:v>56.367809999999999</c:v>
                </c:pt>
                <c:pt idx="20">
                  <c:v>57.189320000000002</c:v>
                </c:pt>
                <c:pt idx="21">
                  <c:v>53.885429999999999</c:v>
                </c:pt>
                <c:pt idx="22">
                  <c:v>56.660130000000002</c:v>
                </c:pt>
                <c:pt idx="23">
                  <c:v>64.64434</c:v>
                </c:pt>
                <c:pt idx="24">
                  <c:v>52.924349999999997</c:v>
                </c:pt>
                <c:pt idx="25">
                  <c:v>56.320860000000003</c:v>
                </c:pt>
                <c:pt idx="26">
                  <c:v>57.249090000000002</c:v>
                </c:pt>
                <c:pt idx="27">
                  <c:v>55.275129999999997</c:v>
                </c:pt>
                <c:pt idx="28">
                  <c:v>53.575870000000002</c:v>
                </c:pt>
                <c:pt idx="29">
                  <c:v>51.49015</c:v>
                </c:pt>
                <c:pt idx="30">
                  <c:v>51.888199999999998</c:v>
                </c:pt>
                <c:pt idx="31">
                  <c:v>52.680660000000003</c:v>
                </c:pt>
                <c:pt idx="32">
                  <c:v>51.384309999999999</c:v>
                </c:pt>
                <c:pt idx="33">
                  <c:v>45.408619999999999</c:v>
                </c:pt>
                <c:pt idx="34">
                  <c:v>54.16769</c:v>
                </c:pt>
                <c:pt idx="35">
                  <c:v>51.310859999999998</c:v>
                </c:pt>
                <c:pt idx="36">
                  <c:v>52.482579999999999</c:v>
                </c:pt>
                <c:pt idx="37">
                  <c:v>50.377049999999997</c:v>
                </c:pt>
                <c:pt idx="38">
                  <c:v>51.021279999999997</c:v>
                </c:pt>
                <c:pt idx="39">
                  <c:v>50.37744</c:v>
                </c:pt>
                <c:pt idx="40">
                  <c:v>53.436149999999998</c:v>
                </c:pt>
                <c:pt idx="41">
                  <c:v>46.519959999999998</c:v>
                </c:pt>
                <c:pt idx="42">
                  <c:v>46.962449999999997</c:v>
                </c:pt>
                <c:pt idx="43">
                  <c:v>49.84114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3E1-4AE8-A1BD-69513B5D8F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7724760"/>
        <c:axId val="1"/>
      </c:lineChart>
      <c:catAx>
        <c:axId val="1677247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cs-CZ"/>
          </a:p>
        </c:txPr>
        <c:crossAx val="1"/>
        <c:crosses val="autoZero"/>
        <c:auto val="1"/>
        <c:lblAlgn val="ctr"/>
        <c:lblOffset val="100"/>
        <c:tickLblSkip val="2"/>
        <c:tickMarkSkip val="1"/>
        <c:noMultiLvlLbl val="0"/>
      </c:catAx>
      <c:valAx>
        <c:axId val="1"/>
        <c:scaling>
          <c:orientation val="minMax"/>
        </c:scaling>
        <c:delete val="0"/>
        <c:axPos val="l"/>
        <c:majorGridlines>
          <c:spPr>
            <a:ln w="12700">
              <a:solidFill>
                <a:srgbClr val="EAEAEA"/>
              </a:solidFill>
              <a:prstDash val="solid"/>
            </a:ln>
          </c:spPr>
        </c:majorGridlines>
        <c:numFmt formatCode="General" sourceLinked="0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cs-CZ"/>
          </a:p>
        </c:txPr>
        <c:crossAx val="167724760"/>
        <c:crosses val="autoZero"/>
        <c:crossBetween val="midCat"/>
      </c:valAx>
      <c:spPr>
        <a:noFill/>
        <a:ln w="2540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00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2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1349693251533742E-2"/>
          <c:y val="0.10052910052910052"/>
          <c:w val="0.81288343558282206"/>
          <c:h val="0.87830687830687826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mort 5 let</c:v>
                </c:pt>
              </c:strCache>
            </c:strRef>
          </c:tx>
          <c:spPr>
            <a:solidFill>
              <a:srgbClr val="C8C8C8"/>
            </a:solidFill>
            <a:ln w="25399">
              <a:noFill/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D7A-4D4E-B649-14F742768D60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D7A-4D4E-B649-14F742768D60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ED7A-4D4E-B649-14F742768D60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ED7A-4D4E-B649-14F742768D60}"/>
              </c:ext>
            </c:extLst>
          </c:dPt>
          <c:dLbls>
            <c:numFmt formatCode="0.0" sourceLinked="0"/>
            <c:spPr>
              <a:noFill/>
              <a:ln w="253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 i="0" u="none" strike="noStrike" baseline="0">
                    <a:solidFill>
                      <a:schemeClr val="tx1"/>
                    </a:solidFill>
                    <a:latin typeface="+mn-lt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Karlovarský kraj</c:v>
                </c:pt>
                <c:pt idx="2">
                  <c:v>Liberecký kraj</c:v>
                </c:pt>
                <c:pt idx="3">
                  <c:v>Plzeňský kraj</c:v>
                </c:pt>
                <c:pt idx="4">
                  <c:v>Jihočeský kraj</c:v>
                </c:pt>
                <c:pt idx="5">
                  <c:v>Moravskoslezský kraj</c:v>
                </c:pt>
                <c:pt idx="6">
                  <c:v>Česká republika</c:v>
                </c:pt>
                <c:pt idx="7">
                  <c:v>Středočeský kraj</c:v>
                </c:pt>
                <c:pt idx="8">
                  <c:v>Pardubický kraj</c:v>
                </c:pt>
                <c:pt idx="9">
                  <c:v>Kraj Vysočina</c:v>
                </c:pt>
                <c:pt idx="10">
                  <c:v>Hl. m. Praha</c:v>
                </c:pt>
                <c:pt idx="11">
                  <c:v>Královéhradecký kraj</c:v>
                </c:pt>
                <c:pt idx="12">
                  <c:v>Olomoucký kraj</c:v>
                </c:pt>
                <c:pt idx="13">
                  <c:v>Jihomoravský kraj</c:v>
                </c:pt>
                <c:pt idx="14">
                  <c:v>Zlín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70.721900000000005</c:v>
                </c:pt>
                <c:pt idx="1">
                  <c:v>63.946460000000002</c:v>
                </c:pt>
                <c:pt idx="2">
                  <c:v>59.264890000000001</c:v>
                </c:pt>
                <c:pt idx="3">
                  <c:v>51.113079999999997</c:v>
                </c:pt>
                <c:pt idx="4">
                  <c:v>49.430959999999999</c:v>
                </c:pt>
                <c:pt idx="5">
                  <c:v>49.273040000000002</c:v>
                </c:pt>
                <c:pt idx="6">
                  <c:v>47.518219999999999</c:v>
                </c:pt>
                <c:pt idx="7">
                  <c:v>45.37764</c:v>
                </c:pt>
                <c:pt idx="8">
                  <c:v>44.32985</c:v>
                </c:pt>
                <c:pt idx="9">
                  <c:v>44.267150000000001</c:v>
                </c:pt>
                <c:pt idx="10">
                  <c:v>43.064529999999998</c:v>
                </c:pt>
                <c:pt idx="11">
                  <c:v>42.902850000000001</c:v>
                </c:pt>
                <c:pt idx="12">
                  <c:v>42.473399999999998</c:v>
                </c:pt>
                <c:pt idx="13">
                  <c:v>40.660119999999999</c:v>
                </c:pt>
                <c:pt idx="14">
                  <c:v>33.47910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7A-4D4E-B649-14F742768D60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rgbClr val="7F7F7F"/>
            </a:solidFill>
            <a:ln w="25399">
              <a:noFill/>
            </a:ln>
          </c:spPr>
          <c:invertIfNegative val="0"/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Karlovarský kraj</c:v>
                </c:pt>
                <c:pt idx="2">
                  <c:v>Liberecký kraj</c:v>
                </c:pt>
                <c:pt idx="3">
                  <c:v>Plzeňský kraj</c:v>
                </c:pt>
                <c:pt idx="4">
                  <c:v>Jihočeský kraj</c:v>
                </c:pt>
                <c:pt idx="5">
                  <c:v>Moravskoslezský kraj</c:v>
                </c:pt>
                <c:pt idx="6">
                  <c:v>Česká republika</c:v>
                </c:pt>
                <c:pt idx="7">
                  <c:v>Středočeský kraj</c:v>
                </c:pt>
                <c:pt idx="8">
                  <c:v>Pardubický kraj</c:v>
                </c:pt>
                <c:pt idx="9">
                  <c:v>Kraj Vysočina</c:v>
                </c:pt>
                <c:pt idx="10">
                  <c:v>Hl. m. Praha</c:v>
                </c:pt>
                <c:pt idx="11">
                  <c:v>Královéhradecký kraj</c:v>
                </c:pt>
                <c:pt idx="12">
                  <c:v>Olomoucký kraj</c:v>
                </c:pt>
                <c:pt idx="13">
                  <c:v>Jihomoravský kraj</c:v>
                </c:pt>
                <c:pt idx="14">
                  <c:v>Zlín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6">
                  <c:v>47.51821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D7A-4D4E-B649-14F742768D60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</c:strCache>
            </c:strRef>
          </c:tx>
          <c:spPr>
            <a:solidFill>
              <a:srgbClr val="C00000"/>
            </a:solidFill>
            <a:ln w="25399">
              <a:noFill/>
            </a:ln>
          </c:spPr>
          <c:invertIfNegative val="0"/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Karlovarský kraj</c:v>
                </c:pt>
                <c:pt idx="2">
                  <c:v>Liberecký kraj</c:v>
                </c:pt>
                <c:pt idx="3">
                  <c:v>Plzeňský kraj</c:v>
                </c:pt>
                <c:pt idx="4">
                  <c:v>Jihočeský kraj</c:v>
                </c:pt>
                <c:pt idx="5">
                  <c:v>Moravskoslezský kraj</c:v>
                </c:pt>
                <c:pt idx="6">
                  <c:v>Česká republika</c:v>
                </c:pt>
                <c:pt idx="7">
                  <c:v>Středočeský kraj</c:v>
                </c:pt>
                <c:pt idx="8">
                  <c:v>Pardubický kraj</c:v>
                </c:pt>
                <c:pt idx="9">
                  <c:v>Kraj Vysočina</c:v>
                </c:pt>
                <c:pt idx="10">
                  <c:v>Hl. m. Praha</c:v>
                </c:pt>
                <c:pt idx="11">
                  <c:v>Královéhradecký kraj</c:v>
                </c:pt>
                <c:pt idx="12">
                  <c:v>Olomoucký kraj</c:v>
                </c:pt>
                <c:pt idx="13">
                  <c:v>Jihomoravský kraj</c:v>
                </c:pt>
                <c:pt idx="14">
                  <c:v>Zlín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4">
                  <c:v>49.43095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D7A-4D4E-B649-14F742768D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402645200"/>
        <c:axId val="402644808"/>
      </c:barChart>
      <c:catAx>
        <c:axId val="40264520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12700">
            <a:solidFill>
              <a:srgbClr val="000000"/>
            </a:solidFill>
            <a:prstDash val="solid"/>
          </a:ln>
        </c:spPr>
        <c:crossAx val="40264480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402644808"/>
        <c:scaling>
          <c:orientation val="minMax"/>
          <c:max val="80"/>
          <c:min val="0"/>
        </c:scaling>
        <c:delete val="0"/>
        <c:axPos val="t"/>
        <c:numFmt formatCode="0" sourceLinked="0"/>
        <c:majorTickMark val="out"/>
        <c:minorTickMark val="none"/>
        <c:tickLblPos val="nextTo"/>
        <c:spPr>
          <a:ln w="127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cs-CZ"/>
          </a:p>
        </c:txPr>
        <c:crossAx val="402645200"/>
        <c:crosses val="autoZero"/>
        <c:crossBetween val="between"/>
        <c:majorUnit val="20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5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2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1349693251533742E-2"/>
          <c:y val="0.10052910052910052"/>
          <c:w val="0.81288343558282206"/>
          <c:h val="0.87830687830687826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m 5 let</c:v>
                </c:pt>
              </c:strCache>
            </c:strRef>
          </c:tx>
          <c:spPr>
            <a:solidFill>
              <a:srgbClr val="C8C8C8"/>
            </a:solidFill>
            <a:ln w="25399">
              <a:noFill/>
            </a:ln>
          </c:spPr>
          <c:invertIfNegative val="0"/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871E-4324-B818-48D10DFAA03A}"/>
              </c:ext>
            </c:extLst>
          </c:dPt>
          <c:dLbls>
            <c:numFmt formatCode="0.0" sourceLinked="0"/>
            <c:spPr>
              <a:noFill/>
              <a:ln w="253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 i="0" u="none" strike="noStrike" baseline="0">
                    <a:solidFill>
                      <a:schemeClr val="tx1"/>
                    </a:solidFill>
                    <a:latin typeface="+mn-lt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Písek</c:v>
                </c:pt>
                <c:pt idx="1">
                  <c:v>Jindřichův Hradec</c:v>
                </c:pt>
                <c:pt idx="2">
                  <c:v>Prachatice</c:v>
                </c:pt>
                <c:pt idx="3">
                  <c:v>Jihočeský kraj</c:v>
                </c:pt>
                <c:pt idx="4">
                  <c:v>Tábor</c:v>
                </c:pt>
                <c:pt idx="5">
                  <c:v>Česká republika</c:v>
                </c:pt>
                <c:pt idx="6">
                  <c:v>České Budějovice</c:v>
                </c:pt>
                <c:pt idx="7">
                  <c:v>Strakonice</c:v>
                </c:pt>
                <c:pt idx="8">
                  <c:v>Český Krumlov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60.81503</c:v>
                </c:pt>
                <c:pt idx="1">
                  <c:v>54.983789999999999</c:v>
                </c:pt>
                <c:pt idx="2">
                  <c:v>49.820920000000001</c:v>
                </c:pt>
                <c:pt idx="3">
                  <c:v>49.430959999999999</c:v>
                </c:pt>
                <c:pt idx="4">
                  <c:v>48.237949999999998</c:v>
                </c:pt>
                <c:pt idx="5">
                  <c:v>47.518219999999999</c:v>
                </c:pt>
                <c:pt idx="6">
                  <c:v>46.697490000000002</c:v>
                </c:pt>
                <c:pt idx="7">
                  <c:v>45.722799999999999</c:v>
                </c:pt>
                <c:pt idx="8">
                  <c:v>42.71665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B0E-4AC5-914B-E303EE86027A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rgbClr val="7F7F7F"/>
            </a:solidFill>
            <a:ln w="25399">
              <a:noFill/>
            </a:ln>
          </c:spPr>
          <c:invertIfNegative val="0"/>
          <c:cat>
            <c:strRef>
              <c:f>Sheet1!$A$2:$A$10</c:f>
              <c:strCache>
                <c:ptCount val="9"/>
                <c:pt idx="0">
                  <c:v>Písek</c:v>
                </c:pt>
                <c:pt idx="1">
                  <c:v>Jindřichův Hradec</c:v>
                </c:pt>
                <c:pt idx="2">
                  <c:v>Prachatice</c:v>
                </c:pt>
                <c:pt idx="3">
                  <c:v>Jihočeský kraj</c:v>
                </c:pt>
                <c:pt idx="4">
                  <c:v>Tábor</c:v>
                </c:pt>
                <c:pt idx="5">
                  <c:v>Česká republika</c:v>
                </c:pt>
                <c:pt idx="6">
                  <c:v>České Budějovice</c:v>
                </c:pt>
                <c:pt idx="7">
                  <c:v>Strakonice</c:v>
                </c:pt>
                <c:pt idx="8">
                  <c:v>Český Krumlov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5">
                  <c:v>47.51821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B0E-4AC5-914B-E303EE86027A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</c:strCache>
            </c:strRef>
          </c:tx>
          <c:spPr>
            <a:solidFill>
              <a:srgbClr val="C00000"/>
            </a:solidFill>
            <a:ln w="25399">
              <a:noFill/>
            </a:ln>
          </c:spPr>
          <c:invertIfNegative val="0"/>
          <c:cat>
            <c:strRef>
              <c:f>Sheet1!$A$2:$A$10</c:f>
              <c:strCache>
                <c:ptCount val="9"/>
                <c:pt idx="0">
                  <c:v>Písek</c:v>
                </c:pt>
                <c:pt idx="1">
                  <c:v>Jindřichův Hradec</c:v>
                </c:pt>
                <c:pt idx="2">
                  <c:v>Prachatice</c:v>
                </c:pt>
                <c:pt idx="3">
                  <c:v>Jihočeský kraj</c:v>
                </c:pt>
                <c:pt idx="4">
                  <c:v>Tábor</c:v>
                </c:pt>
                <c:pt idx="5">
                  <c:v>Česká republika</c:v>
                </c:pt>
                <c:pt idx="6">
                  <c:v>České Budějovice</c:v>
                </c:pt>
                <c:pt idx="7">
                  <c:v>Strakonice</c:v>
                </c:pt>
                <c:pt idx="8">
                  <c:v>Český Krumlov</c:v>
                </c:pt>
              </c:strCache>
            </c:strRef>
          </c:cat>
          <c:val>
            <c:numRef>
              <c:f>Sheet1!$D$2:$D$10</c:f>
              <c:numCache>
                <c:formatCode>General</c:formatCode>
                <c:ptCount val="9"/>
                <c:pt idx="3">
                  <c:v>49.43095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B0E-4AC5-914B-E303EE8602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402645200"/>
        <c:axId val="402644808"/>
      </c:barChart>
      <c:catAx>
        <c:axId val="40264520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12700">
            <a:solidFill>
              <a:srgbClr val="000000"/>
            </a:solidFill>
            <a:prstDash val="solid"/>
          </a:ln>
        </c:spPr>
        <c:crossAx val="40264480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402644808"/>
        <c:scaling>
          <c:orientation val="minMax"/>
          <c:max val="80"/>
        </c:scaling>
        <c:delete val="0"/>
        <c:axPos val="t"/>
        <c:numFmt formatCode="0" sourceLinked="0"/>
        <c:majorTickMark val="out"/>
        <c:minorTickMark val="none"/>
        <c:tickLblPos val="nextTo"/>
        <c:spPr>
          <a:ln w="127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cs-CZ"/>
          </a:p>
        </c:txPr>
        <c:crossAx val="402645200"/>
        <c:crosses val="autoZero"/>
        <c:crossBetween val="between"/>
        <c:majorUnit val="20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5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2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1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Královéhradecký kraj</c:v>
                </c:pt>
                <c:pt idx="1">
                  <c:v>Ústecký kraj</c:v>
                </c:pt>
                <c:pt idx="2">
                  <c:v>Plzeňský kraj</c:v>
                </c:pt>
                <c:pt idx="3">
                  <c:v>Olomoucký kraj</c:v>
                </c:pt>
                <c:pt idx="4">
                  <c:v>Liberecký kraj</c:v>
                </c:pt>
                <c:pt idx="5">
                  <c:v>Hl. m. Praha</c:v>
                </c:pt>
                <c:pt idx="6">
                  <c:v>Zlínský kraj</c:v>
                </c:pt>
                <c:pt idx="7">
                  <c:v>Středočeský kraj</c:v>
                </c:pt>
                <c:pt idx="8">
                  <c:v>Česká republika</c:v>
                </c:pt>
                <c:pt idx="9">
                  <c:v>Jihočeský kraj</c:v>
                </c:pt>
                <c:pt idx="10">
                  <c:v>Kraj Vysočina</c:v>
                </c:pt>
                <c:pt idx="11">
                  <c:v>Pardubický kraj</c:v>
                </c:pt>
                <c:pt idx="12">
                  <c:v>Moravskoslezský kraj</c:v>
                </c:pt>
                <c:pt idx="13">
                  <c:v>Karlovarský kraj</c:v>
                </c:pt>
                <c:pt idx="14">
                  <c:v>Jihomoravský kraj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13.772779999999999</c:v>
                </c:pt>
                <c:pt idx="1">
                  <c:v>11.57574</c:v>
                </c:pt>
                <c:pt idx="2">
                  <c:v>12.479559999999999</c:v>
                </c:pt>
                <c:pt idx="3">
                  <c:v>12.27477</c:v>
                </c:pt>
                <c:pt idx="4">
                  <c:v>11.99532</c:v>
                </c:pt>
                <c:pt idx="5">
                  <c:v>12.406219999999999</c:v>
                </c:pt>
                <c:pt idx="6">
                  <c:v>10.23503</c:v>
                </c:pt>
                <c:pt idx="7">
                  <c:v>11.32208</c:v>
                </c:pt>
                <c:pt idx="8">
                  <c:v>10.940429999999999</c:v>
                </c:pt>
                <c:pt idx="9">
                  <c:v>8.9887639999999998</c:v>
                </c:pt>
                <c:pt idx="10">
                  <c:v>10.231920000000001</c:v>
                </c:pt>
                <c:pt idx="11">
                  <c:v>9.7577850000000002</c:v>
                </c:pt>
                <c:pt idx="12">
                  <c:v>9.2432429999999997</c:v>
                </c:pt>
                <c:pt idx="13">
                  <c:v>8.8055800000000009</c:v>
                </c:pt>
                <c:pt idx="14">
                  <c:v>9.266899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B65-4E09-8A10-3E5001B4B41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Královéhradecký kraj</c:v>
                </c:pt>
                <c:pt idx="1">
                  <c:v>Ústecký kraj</c:v>
                </c:pt>
                <c:pt idx="2">
                  <c:v>Plzeňský kraj</c:v>
                </c:pt>
                <c:pt idx="3">
                  <c:v>Olomoucký kraj</c:v>
                </c:pt>
                <c:pt idx="4">
                  <c:v>Liberecký kraj</c:v>
                </c:pt>
                <c:pt idx="5">
                  <c:v>Hl. m. Praha</c:v>
                </c:pt>
                <c:pt idx="6">
                  <c:v>Zlínský kraj</c:v>
                </c:pt>
                <c:pt idx="7">
                  <c:v>Středočeský kraj</c:v>
                </c:pt>
                <c:pt idx="8">
                  <c:v>Česká republika</c:v>
                </c:pt>
                <c:pt idx="9">
                  <c:v>Jihočeský kraj</c:v>
                </c:pt>
                <c:pt idx="10">
                  <c:v>Kraj Vysočina</c:v>
                </c:pt>
                <c:pt idx="11">
                  <c:v>Pardubický kraj</c:v>
                </c:pt>
                <c:pt idx="12">
                  <c:v>Moravskoslezský kraj</c:v>
                </c:pt>
                <c:pt idx="13">
                  <c:v>Karlovarský kraj</c:v>
                </c:pt>
                <c:pt idx="14">
                  <c:v>Jihomoravský kraj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  <c:pt idx="0">
                  <c:v>6.9131830000000001</c:v>
                </c:pt>
                <c:pt idx="1">
                  <c:v>7.6433119999999999</c:v>
                </c:pt>
                <c:pt idx="2">
                  <c:v>6.5940050000000001</c:v>
                </c:pt>
                <c:pt idx="3">
                  <c:v>6.475225</c:v>
                </c:pt>
                <c:pt idx="4">
                  <c:v>6.6120539999999997</c:v>
                </c:pt>
                <c:pt idx="5">
                  <c:v>6.0825290000000001</c:v>
                </c:pt>
                <c:pt idx="6">
                  <c:v>7.5056859999999999</c:v>
                </c:pt>
                <c:pt idx="7">
                  <c:v>6.2587900000000003</c:v>
                </c:pt>
                <c:pt idx="8">
                  <c:v>6.452979</c:v>
                </c:pt>
                <c:pt idx="9">
                  <c:v>7.962872</c:v>
                </c:pt>
                <c:pt idx="10">
                  <c:v>6.684857</c:v>
                </c:pt>
                <c:pt idx="11">
                  <c:v>5.8131490000000001</c:v>
                </c:pt>
                <c:pt idx="12">
                  <c:v>5.594595</c:v>
                </c:pt>
                <c:pt idx="13">
                  <c:v>5.8413250000000003</c:v>
                </c:pt>
                <c:pt idx="14">
                  <c:v>5.331641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B65-4E09-8A10-3E5001B4B41C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3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Královéhradecký kraj</c:v>
                </c:pt>
                <c:pt idx="1">
                  <c:v>Ústecký kraj</c:v>
                </c:pt>
                <c:pt idx="2">
                  <c:v>Plzeňský kraj</c:v>
                </c:pt>
                <c:pt idx="3">
                  <c:v>Olomoucký kraj</c:v>
                </c:pt>
                <c:pt idx="4">
                  <c:v>Liberecký kraj</c:v>
                </c:pt>
                <c:pt idx="5">
                  <c:v>Hl. m. Praha</c:v>
                </c:pt>
                <c:pt idx="6">
                  <c:v>Zlínský kraj</c:v>
                </c:pt>
                <c:pt idx="7">
                  <c:v>Středočeský kraj</c:v>
                </c:pt>
                <c:pt idx="8">
                  <c:v>Česká republika</c:v>
                </c:pt>
                <c:pt idx="9">
                  <c:v>Jihočeský kraj</c:v>
                </c:pt>
                <c:pt idx="10">
                  <c:v>Kraj Vysočina</c:v>
                </c:pt>
                <c:pt idx="11">
                  <c:v>Pardubický kraj</c:v>
                </c:pt>
                <c:pt idx="12">
                  <c:v>Moravskoslezský kraj</c:v>
                </c:pt>
                <c:pt idx="13">
                  <c:v>Karlovarský kraj</c:v>
                </c:pt>
                <c:pt idx="14">
                  <c:v>Jihomoravský kraj</c:v>
                </c:pt>
              </c:strCache>
            </c:strRef>
          </c:cat>
          <c:val>
            <c:numRef>
              <c:f>List1!$D$2:$D$16</c:f>
              <c:numCache>
                <c:formatCode>General</c:formatCode>
                <c:ptCount val="15"/>
                <c:pt idx="0">
                  <c:v>21.811360000000001</c:v>
                </c:pt>
                <c:pt idx="1">
                  <c:v>19.46829</c:v>
                </c:pt>
                <c:pt idx="2">
                  <c:v>19.400539999999999</c:v>
                </c:pt>
                <c:pt idx="3">
                  <c:v>17.96171</c:v>
                </c:pt>
                <c:pt idx="4">
                  <c:v>18.431830000000001</c:v>
                </c:pt>
                <c:pt idx="5">
                  <c:v>15.30011</c:v>
                </c:pt>
                <c:pt idx="6">
                  <c:v>20.773309999999999</c:v>
                </c:pt>
                <c:pt idx="7">
                  <c:v>15.588369999999999</c:v>
                </c:pt>
                <c:pt idx="8">
                  <c:v>18.31569</c:v>
                </c:pt>
                <c:pt idx="9">
                  <c:v>20.322420000000001</c:v>
                </c:pt>
                <c:pt idx="10">
                  <c:v>17.121420000000001</c:v>
                </c:pt>
                <c:pt idx="11">
                  <c:v>17.093430000000001</c:v>
                </c:pt>
                <c:pt idx="12">
                  <c:v>18.37838</c:v>
                </c:pt>
                <c:pt idx="13">
                  <c:v>23.278120000000001</c:v>
                </c:pt>
                <c:pt idx="14">
                  <c:v>18.59727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B65-4E09-8A10-3E5001B4B41C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4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Královéhradecký kraj</c:v>
                </c:pt>
                <c:pt idx="1">
                  <c:v>Ústecký kraj</c:v>
                </c:pt>
                <c:pt idx="2">
                  <c:v>Plzeňský kraj</c:v>
                </c:pt>
                <c:pt idx="3">
                  <c:v>Olomoucký kraj</c:v>
                </c:pt>
                <c:pt idx="4">
                  <c:v>Liberecký kraj</c:v>
                </c:pt>
                <c:pt idx="5">
                  <c:v>Hl. m. Praha</c:v>
                </c:pt>
                <c:pt idx="6">
                  <c:v>Zlínský kraj</c:v>
                </c:pt>
                <c:pt idx="7">
                  <c:v>Středočeský kraj</c:v>
                </c:pt>
                <c:pt idx="8">
                  <c:v>Česká republika</c:v>
                </c:pt>
                <c:pt idx="9">
                  <c:v>Jihočeský kraj</c:v>
                </c:pt>
                <c:pt idx="10">
                  <c:v>Kraj Vysočina</c:v>
                </c:pt>
                <c:pt idx="11">
                  <c:v>Pardubický kraj</c:v>
                </c:pt>
                <c:pt idx="12">
                  <c:v>Moravskoslezský kraj</c:v>
                </c:pt>
                <c:pt idx="13">
                  <c:v>Karlovarský kraj</c:v>
                </c:pt>
                <c:pt idx="14">
                  <c:v>Jihomoravský kraj</c:v>
                </c:pt>
              </c:strCache>
            </c:strRef>
          </c:cat>
          <c:val>
            <c:numRef>
              <c:f>List1!$E$2:$E$16</c:f>
              <c:numCache>
                <c:formatCode>General</c:formatCode>
                <c:ptCount val="15"/>
                <c:pt idx="0">
                  <c:v>50.321539999999999</c:v>
                </c:pt>
                <c:pt idx="1">
                  <c:v>48.296869999999998</c:v>
                </c:pt>
                <c:pt idx="2">
                  <c:v>50.84469</c:v>
                </c:pt>
                <c:pt idx="3">
                  <c:v>53.322069999999997</c:v>
                </c:pt>
                <c:pt idx="4">
                  <c:v>47.162080000000003</c:v>
                </c:pt>
                <c:pt idx="5">
                  <c:v>48.043939999999999</c:v>
                </c:pt>
                <c:pt idx="6">
                  <c:v>51.478389999999997</c:v>
                </c:pt>
                <c:pt idx="7">
                  <c:v>42.920769999999997</c:v>
                </c:pt>
                <c:pt idx="8">
                  <c:v>47.732080000000003</c:v>
                </c:pt>
                <c:pt idx="9">
                  <c:v>48.949680000000001</c:v>
                </c:pt>
                <c:pt idx="10">
                  <c:v>48.840380000000003</c:v>
                </c:pt>
                <c:pt idx="11">
                  <c:v>43.875430000000001</c:v>
                </c:pt>
                <c:pt idx="12">
                  <c:v>42.67568</c:v>
                </c:pt>
                <c:pt idx="13">
                  <c:v>44.027900000000002</c:v>
                </c:pt>
                <c:pt idx="14">
                  <c:v>53.2212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B65-4E09-8A10-3E5001B4B41C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X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Královéhradecký kraj</c:v>
                </c:pt>
                <c:pt idx="1">
                  <c:v>Ústecký kraj</c:v>
                </c:pt>
                <c:pt idx="2">
                  <c:v>Plzeňský kraj</c:v>
                </c:pt>
                <c:pt idx="3">
                  <c:v>Olomoucký kraj</c:v>
                </c:pt>
                <c:pt idx="4">
                  <c:v>Liberecký kraj</c:v>
                </c:pt>
                <c:pt idx="5">
                  <c:v>Hl. m. Praha</c:v>
                </c:pt>
                <c:pt idx="6">
                  <c:v>Zlínský kraj</c:v>
                </c:pt>
                <c:pt idx="7">
                  <c:v>Středočeský kraj</c:v>
                </c:pt>
                <c:pt idx="8">
                  <c:v>Česká republika</c:v>
                </c:pt>
                <c:pt idx="9">
                  <c:v>Jihočeský kraj</c:v>
                </c:pt>
                <c:pt idx="10">
                  <c:v>Kraj Vysočina</c:v>
                </c:pt>
                <c:pt idx="11">
                  <c:v>Pardubický kraj</c:v>
                </c:pt>
                <c:pt idx="12">
                  <c:v>Moravskoslezský kraj</c:v>
                </c:pt>
                <c:pt idx="13">
                  <c:v>Karlovarský kraj</c:v>
                </c:pt>
                <c:pt idx="14">
                  <c:v>Jihomoravský kraj</c:v>
                </c:pt>
              </c:strCache>
            </c:strRef>
          </c:cat>
          <c:val>
            <c:numRef>
              <c:f>List1!$F$2:$F$16</c:f>
              <c:numCache>
                <c:formatCode>General</c:formatCode>
                <c:ptCount val="15"/>
                <c:pt idx="0">
                  <c:v>3.1082529999999999</c:v>
                </c:pt>
                <c:pt idx="1">
                  <c:v>7.3386870000000002</c:v>
                </c:pt>
                <c:pt idx="2">
                  <c:v>7.4659399999999998</c:v>
                </c:pt>
                <c:pt idx="3">
                  <c:v>4.6171170000000004</c:v>
                </c:pt>
                <c:pt idx="4">
                  <c:v>9.4207140000000003</c:v>
                </c:pt>
                <c:pt idx="5">
                  <c:v>7.4758839999999998</c:v>
                </c:pt>
                <c:pt idx="6">
                  <c:v>4.3214560000000004</c:v>
                </c:pt>
                <c:pt idx="7">
                  <c:v>8.6029070000000001</c:v>
                </c:pt>
                <c:pt idx="8">
                  <c:v>7.5869369999999998</c:v>
                </c:pt>
                <c:pt idx="9">
                  <c:v>5.715681</c:v>
                </c:pt>
                <c:pt idx="10">
                  <c:v>7.6398359999999998</c:v>
                </c:pt>
                <c:pt idx="11">
                  <c:v>10.31142</c:v>
                </c:pt>
                <c:pt idx="12">
                  <c:v>10.86486</c:v>
                </c:pt>
                <c:pt idx="13">
                  <c:v>8.9799480000000003</c:v>
                </c:pt>
                <c:pt idx="14">
                  <c:v>6.981911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B65-4E09-8A10-3E5001B4B41C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Y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Královéhradecký kraj</c:v>
                </c:pt>
                <c:pt idx="1">
                  <c:v>Ústecký kraj</c:v>
                </c:pt>
                <c:pt idx="2">
                  <c:v>Plzeňský kraj</c:v>
                </c:pt>
                <c:pt idx="3">
                  <c:v>Olomoucký kraj</c:v>
                </c:pt>
                <c:pt idx="4">
                  <c:v>Liberecký kraj</c:v>
                </c:pt>
                <c:pt idx="5">
                  <c:v>Hl. m. Praha</c:v>
                </c:pt>
                <c:pt idx="6">
                  <c:v>Zlínský kraj</c:v>
                </c:pt>
                <c:pt idx="7">
                  <c:v>Středočeský kraj</c:v>
                </c:pt>
                <c:pt idx="8">
                  <c:v>Česká republika</c:v>
                </c:pt>
                <c:pt idx="9">
                  <c:v>Jihočeský kraj</c:v>
                </c:pt>
                <c:pt idx="10">
                  <c:v>Kraj Vysočina</c:v>
                </c:pt>
                <c:pt idx="11">
                  <c:v>Pardubický kraj</c:v>
                </c:pt>
                <c:pt idx="12">
                  <c:v>Moravskoslezský kraj</c:v>
                </c:pt>
                <c:pt idx="13">
                  <c:v>Karlovarský kraj</c:v>
                </c:pt>
                <c:pt idx="14">
                  <c:v>Jihomoravský kraj</c:v>
                </c:pt>
              </c:strCache>
            </c:strRef>
          </c:cat>
          <c:val>
            <c:numRef>
              <c:f>List1!$G$2:$G$16</c:f>
              <c:numCache>
                <c:formatCode>General</c:formatCode>
                <c:ptCount val="15"/>
                <c:pt idx="0">
                  <c:v>4.072883</c:v>
                </c:pt>
                <c:pt idx="1">
                  <c:v>5.677098</c:v>
                </c:pt>
                <c:pt idx="2">
                  <c:v>3.2152590000000001</c:v>
                </c:pt>
                <c:pt idx="3">
                  <c:v>5.3490989999999998</c:v>
                </c:pt>
                <c:pt idx="4">
                  <c:v>6.377999</c:v>
                </c:pt>
                <c:pt idx="5">
                  <c:v>10.691319999999999</c:v>
                </c:pt>
                <c:pt idx="6">
                  <c:v>5.6861259999999998</c:v>
                </c:pt>
                <c:pt idx="7">
                  <c:v>15.307079999999999</c:v>
                </c:pt>
                <c:pt idx="8">
                  <c:v>8.9718780000000002</c:v>
                </c:pt>
                <c:pt idx="9">
                  <c:v>8.0605759999999993</c:v>
                </c:pt>
                <c:pt idx="10">
                  <c:v>9.4815830000000005</c:v>
                </c:pt>
                <c:pt idx="11">
                  <c:v>13.14879</c:v>
                </c:pt>
                <c:pt idx="12">
                  <c:v>13.24324</c:v>
                </c:pt>
                <c:pt idx="13">
                  <c:v>9.0671320000000009</c:v>
                </c:pt>
                <c:pt idx="14">
                  <c:v>6.601079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B65-4E09-8A10-3E5001B4B4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372726336"/>
        <c:axId val="372726728"/>
      </c:barChart>
      <c:catAx>
        <c:axId val="372726336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72726728"/>
        <c:crosses val="autoZero"/>
        <c:auto val="1"/>
        <c:lblAlgn val="ctr"/>
        <c:lblOffset val="100"/>
        <c:noMultiLvlLbl val="0"/>
      </c:catAx>
      <c:valAx>
        <c:axId val="372726728"/>
        <c:scaling>
          <c:orientation val="minMax"/>
          <c:max val="1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72726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 b="0">
          <a:solidFill>
            <a:schemeClr val="tx1"/>
          </a:solidFill>
        </a:defRPr>
      </a:pPr>
      <a:endParaRPr lang="cs-CZ"/>
    </a:p>
  </c:txPr>
  <c:externalData r:id="rId4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756914697373464"/>
          <c:y val="9.5982142857142863E-2"/>
          <c:w val="0.78270063975706416"/>
          <c:h val="0.8883928571428571"/>
        </c:manualLayout>
      </c:layout>
      <c:scatterChart>
        <c:scatterStyle val="lineMarker"/>
        <c:varyColors val="0"/>
        <c:ser>
          <c:idx val="8"/>
          <c:order val="0"/>
          <c:tx>
            <c:strRef>
              <c:f>Sheet1!$B$1</c:f>
              <c:strCache>
                <c:ptCount val="1"/>
                <c:pt idx="0">
                  <c:v>Kohorta 2010-2014</c:v>
                </c:pt>
              </c:strCache>
            </c:strRef>
          </c:tx>
          <c:spPr>
            <a:ln w="19050">
              <a:noFill/>
            </a:ln>
          </c:spPr>
          <c:marker>
            <c:symbol val="circle"/>
            <c:size val="8"/>
            <c:spPr>
              <a:solidFill>
                <a:srgbClr val="C00000"/>
              </a:solidFill>
              <a:ln>
                <a:solidFill>
                  <a:srgbClr val="C00000"/>
                </a:solidFill>
                <a:prstDash val="solid"/>
              </a:ln>
            </c:spPr>
          </c:marker>
          <c:xVal>
            <c:numRef>
              <c:f>Sheet1!$A$2:$A$26</c:f>
              <c:numCache>
                <c:formatCode>General</c:formatCode>
                <c:ptCount val="25"/>
                <c:pt idx="0">
                  <c:v>0.90710000000000002</c:v>
                </c:pt>
                <c:pt idx="1">
                  <c:v>0.95709999999999995</c:v>
                </c:pt>
                <c:pt idx="2">
                  <c:v>0.9486</c:v>
                </c:pt>
                <c:pt idx="3">
                  <c:v>0.83940000000000003</c:v>
                </c:pt>
                <c:pt idx="4">
                  <c:v>0.85729999999999995</c:v>
                </c:pt>
                <c:pt idx="5">
                  <c:v>0.80740000000000001</c:v>
                </c:pt>
                <c:pt idx="6">
                  <c:v>0.78700000000000003</c:v>
                </c:pt>
                <c:pt idx="7">
                  <c:v>0.68110000000000004</c:v>
                </c:pt>
                <c:pt idx="8">
                  <c:v>0.62860000000000005</c:v>
                </c:pt>
                <c:pt idx="9">
                  <c:v>0.63739999999999997</c:v>
                </c:pt>
                <c:pt idx="10">
                  <c:v>0.6381</c:v>
                </c:pt>
                <c:pt idx="11">
                  <c:v>0.57369999999999999</c:v>
                </c:pt>
                <c:pt idx="12">
                  <c:v>0.56759999999999999</c:v>
                </c:pt>
                <c:pt idx="13">
                  <c:v>0.49769999999999998</c:v>
                </c:pt>
                <c:pt idx="14">
                  <c:v>0.47720000000000001</c:v>
                </c:pt>
                <c:pt idx="15">
                  <c:v>0.38080000000000003</c:v>
                </c:pt>
                <c:pt idx="16">
                  <c:v>0.37140000000000001</c:v>
                </c:pt>
                <c:pt idx="17">
                  <c:v>0.3997</c:v>
                </c:pt>
                <c:pt idx="18">
                  <c:v>0.21010000000000001</c:v>
                </c:pt>
                <c:pt idx="19">
                  <c:v>0.1676</c:v>
                </c:pt>
                <c:pt idx="20">
                  <c:v>0.1069</c:v>
                </c:pt>
                <c:pt idx="21">
                  <c:v>0.1089</c:v>
                </c:pt>
                <c:pt idx="22">
                  <c:v>9.4899999999999998E-2</c:v>
                </c:pt>
                <c:pt idx="23">
                  <c:v>5.2900000000000003E-2</c:v>
                </c:pt>
                <c:pt idx="24">
                  <c:v>6.1199999999999997E-2</c:v>
                </c:pt>
              </c:numCache>
            </c:numRef>
          </c:xVal>
          <c:yVal>
            <c:numRef>
              <c:f>Sheet1!$B$2:$B$26</c:f>
              <c:numCache>
                <c:formatCode>General</c:formatCode>
                <c:ptCount val="2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455-4B86-BABD-9343ACD16095}"/>
            </c:ext>
          </c:extLst>
        </c:ser>
        <c:ser>
          <c:idx val="7"/>
          <c:order val="1"/>
          <c:tx>
            <c:strRef>
              <c:f>Sheet1!$C$1</c:f>
              <c:strCache>
                <c:ptCount val="1"/>
                <c:pt idx="0">
                  <c:v>Kohorta 2015-2019</c:v>
                </c:pt>
              </c:strCache>
            </c:strRef>
          </c:tx>
          <c:spPr>
            <a:ln w="19050">
              <a:noFill/>
            </a:ln>
          </c:spPr>
          <c:marker>
            <c:symbol val="circle"/>
            <c:size val="8"/>
            <c:spPr>
              <a:solidFill>
                <a:schemeClr val="tx1"/>
              </a:solidFill>
              <a:ln>
                <a:solidFill>
                  <a:schemeClr val="tx1"/>
                </a:solidFill>
                <a:prstDash val="solid"/>
              </a:ln>
            </c:spPr>
          </c:marker>
          <c:xVal>
            <c:numRef>
              <c:f>Sheet1!$A$27:$A$51</c:f>
              <c:numCache>
                <c:formatCode>General</c:formatCode>
                <c:ptCount val="25"/>
                <c:pt idx="0">
                  <c:v>0.95140000000000002</c:v>
                </c:pt>
                <c:pt idx="1">
                  <c:v>0.97819999999999996</c:v>
                </c:pt>
                <c:pt idx="2">
                  <c:v>0.96350000000000002</c:v>
                </c:pt>
                <c:pt idx="3">
                  <c:v>0.90339999999999998</c:v>
                </c:pt>
                <c:pt idx="4">
                  <c:v>0.89129999999999998</c:v>
                </c:pt>
                <c:pt idx="5">
                  <c:v>0.86639999999999995</c:v>
                </c:pt>
                <c:pt idx="6">
                  <c:v>0.81499999999999995</c:v>
                </c:pt>
                <c:pt idx="7">
                  <c:v>0.7419</c:v>
                </c:pt>
                <c:pt idx="8">
                  <c:v>0.6411</c:v>
                </c:pt>
                <c:pt idx="9">
                  <c:v>0.67269999999999996</c:v>
                </c:pt>
                <c:pt idx="10">
                  <c:v>0.64680000000000004</c:v>
                </c:pt>
                <c:pt idx="11">
                  <c:v>0.61150000000000004</c:v>
                </c:pt>
                <c:pt idx="12">
                  <c:v>0.58199999999999996</c:v>
                </c:pt>
                <c:pt idx="13">
                  <c:v>0.55630000000000002</c:v>
                </c:pt>
                <c:pt idx="14">
                  <c:v>0.52710000000000001</c:v>
                </c:pt>
                <c:pt idx="15">
                  <c:v>0.48120000000000002</c:v>
                </c:pt>
                <c:pt idx="16">
                  <c:v>0.35799999999999998</c:v>
                </c:pt>
                <c:pt idx="17">
                  <c:v>0.44019999999999998</c:v>
                </c:pt>
                <c:pt idx="18">
                  <c:v>0.26569999999999999</c:v>
                </c:pt>
                <c:pt idx="19">
                  <c:v>0.2089</c:v>
                </c:pt>
                <c:pt idx="20">
                  <c:v>0.1653</c:v>
                </c:pt>
                <c:pt idx="21">
                  <c:v>0.1459</c:v>
                </c:pt>
                <c:pt idx="22">
                  <c:v>0.15129999999999999</c:v>
                </c:pt>
                <c:pt idx="23">
                  <c:v>9.8199999999999996E-2</c:v>
                </c:pt>
                <c:pt idx="24">
                  <c:v>0.10879999999999999</c:v>
                </c:pt>
              </c:numCache>
            </c:numRef>
          </c:xVal>
          <c:yVal>
            <c:numRef>
              <c:f>Sheet1!$C$27:$C$51</c:f>
              <c:numCache>
                <c:formatCode>General</c:formatCode>
                <c:ptCount val="2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B455-4B86-BABD-9343ACD16095}"/>
            </c:ext>
          </c:extLst>
        </c:ser>
        <c:ser>
          <c:idx val="0"/>
          <c:order val="2"/>
          <c:tx>
            <c:strRef>
              <c:f>Sheet1!$D$1</c:f>
              <c:strCache>
                <c:ptCount val="1"/>
                <c:pt idx="0">
                  <c:v>Perioda 2020-2022</c:v>
                </c:pt>
              </c:strCache>
            </c:strRef>
          </c:tx>
          <c:spPr>
            <a:ln w="19050">
              <a:noFill/>
            </a:ln>
          </c:spPr>
          <c:marker>
            <c:symbol val="square"/>
            <c:size val="8"/>
            <c:spPr>
              <a:solidFill>
                <a:srgbClr val="FFC000"/>
              </a:solidFill>
              <a:ln>
                <a:solidFill>
                  <a:srgbClr val="C00000"/>
                </a:solidFill>
                <a:prstDash val="solid"/>
              </a:ln>
            </c:spPr>
          </c:marker>
          <c:xVal>
            <c:numRef>
              <c:f>Sheet1!$A$52:$A$76</c:f>
              <c:numCache>
                <c:formatCode>General</c:formatCode>
                <c:ptCount val="25"/>
                <c:pt idx="0">
                  <c:v>0.98480000000000001</c:v>
                </c:pt>
                <c:pt idx="1">
                  <c:v>0.97829999999999995</c:v>
                </c:pt>
                <c:pt idx="2">
                  <c:v>0.96719999999999995</c:v>
                </c:pt>
                <c:pt idx="3">
                  <c:v>0.92600000000000005</c:v>
                </c:pt>
                <c:pt idx="4">
                  <c:v>0.91039999999999999</c:v>
                </c:pt>
                <c:pt idx="5">
                  <c:v>0.87719999999999998</c:v>
                </c:pt>
                <c:pt idx="6">
                  <c:v>0.82589999999999997</c:v>
                </c:pt>
                <c:pt idx="7">
                  <c:v>0.80579999999999996</c:v>
                </c:pt>
                <c:pt idx="8">
                  <c:v>0.70220000000000005</c:v>
                </c:pt>
                <c:pt idx="9">
                  <c:v>0.69399999999999995</c:v>
                </c:pt>
                <c:pt idx="10">
                  <c:v>0.67710000000000004</c:v>
                </c:pt>
                <c:pt idx="11">
                  <c:v>0.64710000000000001</c:v>
                </c:pt>
                <c:pt idx="12">
                  <c:v>0.61339999999999995</c:v>
                </c:pt>
                <c:pt idx="13">
                  <c:v>0.58230000000000004</c:v>
                </c:pt>
                <c:pt idx="14">
                  <c:v>0.56179999999999997</c:v>
                </c:pt>
                <c:pt idx="15">
                  <c:v>0.52270000000000005</c:v>
                </c:pt>
                <c:pt idx="16">
                  <c:v>0.4743</c:v>
                </c:pt>
                <c:pt idx="17">
                  <c:v>0.47189999999999999</c:v>
                </c:pt>
                <c:pt idx="18">
                  <c:v>0.31480000000000002</c:v>
                </c:pt>
                <c:pt idx="19">
                  <c:v>0.247</c:v>
                </c:pt>
                <c:pt idx="20">
                  <c:v>0.2072</c:v>
                </c:pt>
                <c:pt idx="21">
                  <c:v>0.18770000000000001</c:v>
                </c:pt>
                <c:pt idx="22">
                  <c:v>0.1767</c:v>
                </c:pt>
                <c:pt idx="23">
                  <c:v>0.14000000000000001</c:v>
                </c:pt>
                <c:pt idx="24">
                  <c:v>0.1232</c:v>
                </c:pt>
              </c:numCache>
            </c:numRef>
          </c:xVal>
          <c:yVal>
            <c:numRef>
              <c:f>Sheet1!$D$52:$D$76</c:f>
              <c:numCache>
                <c:formatCode>General</c:formatCode>
                <c:ptCount val="2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B455-4B86-BABD-9343ACD160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58932352"/>
        <c:axId val="1"/>
        <c:extLst>
          <c:ext xmlns:c15="http://schemas.microsoft.com/office/drawing/2012/chart" uri="{02D57815-91ED-43cb-92C2-25804820EDAC}">
            <c15:filteredScatterSeries>
              <c15:ser>
                <c:idx val="2"/>
                <c:order val="3"/>
                <c:tx>
                  <c:str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ln w="19050">
                    <a:noFill/>
                  </a:ln>
                </c:spPr>
                <c:marker>
                  <c:symbol val="plus"/>
                  <c:size val="6"/>
                  <c:spPr>
                    <a:noFill/>
                    <a:ln>
                      <a:solidFill>
                        <a:srgbClr val="C00000"/>
                      </a:solidFill>
                    </a:ln>
                  </c:spPr>
                </c:marker>
                <c:xVal>
                  <c:numRef>
                    <c:extLst>
                      <c:ext uri="{02D57815-91ED-43cb-92C2-25804820EDAC}">
                        <c15:formulaRef>
                          <c15:sqref>Sheet1!$A$59:$A$77</c15:sqref>
                        </c15:formulaRef>
                      </c:ext>
                    </c:extLst>
                    <c:numCache>
                      <c:formatCode>General</c:formatCode>
                      <c:ptCount val="19"/>
                      <c:pt idx="0">
                        <c:v>0.80579999999999996</c:v>
                      </c:pt>
                      <c:pt idx="1">
                        <c:v>0.70220000000000005</c:v>
                      </c:pt>
                      <c:pt idx="2">
                        <c:v>0.69399999999999995</c:v>
                      </c:pt>
                      <c:pt idx="3">
                        <c:v>0.67710000000000004</c:v>
                      </c:pt>
                      <c:pt idx="4">
                        <c:v>0.64710000000000001</c:v>
                      </c:pt>
                      <c:pt idx="5">
                        <c:v>0.61339999999999995</c:v>
                      </c:pt>
                      <c:pt idx="6">
                        <c:v>0.58230000000000004</c:v>
                      </c:pt>
                      <c:pt idx="7">
                        <c:v>0.56179999999999997</c:v>
                      </c:pt>
                      <c:pt idx="8">
                        <c:v>0.52270000000000005</c:v>
                      </c:pt>
                      <c:pt idx="9">
                        <c:v>0.4743</c:v>
                      </c:pt>
                      <c:pt idx="10">
                        <c:v>0.47189999999999999</c:v>
                      </c:pt>
                      <c:pt idx="11">
                        <c:v>0.31480000000000002</c:v>
                      </c:pt>
                      <c:pt idx="12">
                        <c:v>0.247</c:v>
                      </c:pt>
                      <c:pt idx="13">
                        <c:v>0.2072</c:v>
                      </c:pt>
                      <c:pt idx="14">
                        <c:v>0.18770000000000001</c:v>
                      </c:pt>
                      <c:pt idx="15">
                        <c:v>0.1767</c:v>
                      </c:pt>
                      <c:pt idx="16">
                        <c:v>0.14000000000000001</c:v>
                      </c:pt>
                      <c:pt idx="17">
                        <c:v>0.1232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2-20F5-4966-9C6C-4ADAFC8366C3}"/>
                  </c:ext>
                </c:extLst>
              </c15:ser>
            </c15:filteredScatterSeries>
            <c15:filteredScatterSeries>
              <c15:ser>
                <c:idx val="1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ln w="19050">
                    <a:noFill/>
                  </a:ln>
                </c:spPr>
                <c:marker>
                  <c:symbol val="plus"/>
                  <c:size val="6"/>
                  <c:spPr>
                    <a:noFill/>
                    <a:ln>
                      <a:solidFill>
                        <a:srgbClr val="C00000"/>
                      </a:solidFill>
                    </a:ln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78:$A$96</c15:sqref>
                        </c15:formulaRef>
                      </c:ext>
                    </c:extLst>
                    <c:numCache>
                      <c:formatCode>General</c:formatCode>
                      <c:ptCount val="19"/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1-0E0A-45F8-A7D3-F9E8CAE758E8}"/>
                  </c:ext>
                </c:extLst>
              </c15:ser>
            </c15:filteredScatterSeries>
          </c:ext>
        </c:extLst>
      </c:scatterChart>
      <c:valAx>
        <c:axId val="1458932352"/>
        <c:scaling>
          <c:orientation val="minMax"/>
          <c:max val="1"/>
          <c:min val="0"/>
        </c:scaling>
        <c:delete val="0"/>
        <c:axPos val="t"/>
        <c:majorGridlines>
          <c:spPr>
            <a:ln w="9525">
              <a:solidFill>
                <a:srgbClr val="C0C0C0"/>
              </a:solidFill>
              <a:prstDash val="sysDash"/>
            </a:ln>
          </c:spPr>
        </c:majorGridlines>
        <c:numFmt formatCode="0\ %" sourceLinked="0"/>
        <c:majorTickMark val="out"/>
        <c:minorTickMark val="none"/>
        <c:tickLblPos val="nextTo"/>
        <c:spPr>
          <a:ln w="316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997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cs-CZ"/>
          </a:p>
        </c:txPr>
        <c:crossAx val="1"/>
        <c:crosses val="autoZero"/>
        <c:crossBetween val="midCat"/>
        <c:majorUnit val="0.2"/>
      </c:valAx>
      <c:valAx>
        <c:axId val="1"/>
        <c:scaling>
          <c:orientation val="maxMin"/>
          <c:max val="25"/>
          <c:min val="0"/>
        </c:scaling>
        <c:delete val="0"/>
        <c:axPos val="l"/>
        <c:majorGridlines>
          <c:spPr>
            <a:ln w="9525">
              <a:solidFill>
                <a:schemeClr val="tx1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none"/>
        <c:spPr>
          <a:ln w="6330">
            <a:noFill/>
          </a:ln>
        </c:spPr>
        <c:crossAx val="1458932352"/>
        <c:crosses val="autoZero"/>
        <c:crossBetween val="midCat"/>
        <c:majorUnit val="1"/>
      </c:valAx>
      <c:spPr>
        <a:noFill/>
        <a:ln w="2531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47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58381502890173E-2"/>
          <c:y val="9.5982142857142863E-2"/>
          <c:w val="0.87668593448940269"/>
          <c:h val="0.8883928571428571"/>
        </c:manualLayout>
      </c:layout>
      <c:scatterChart>
        <c:scatterStyle val="lineMarker"/>
        <c:varyColors val="0"/>
        <c:ser>
          <c:idx val="8"/>
          <c:order val="0"/>
          <c:tx>
            <c:strRef>
              <c:f>Sheet1!$B$1</c:f>
              <c:strCache>
                <c:ptCount val="1"/>
                <c:pt idx="0">
                  <c:v>ČR</c:v>
                </c:pt>
              </c:strCache>
            </c:strRef>
          </c:tx>
          <c:spPr>
            <a:ln w="18989">
              <a:noFill/>
            </a:ln>
          </c:spPr>
          <c:marker>
            <c:symbol val="square"/>
            <c:size val="10"/>
            <c:spPr>
              <a:solidFill>
                <a:srgbClr val="002060"/>
              </a:solidFill>
              <a:ln>
                <a:solidFill>
                  <a:schemeClr val="tx1"/>
                </a:solidFill>
              </a:ln>
            </c:spPr>
          </c:marker>
          <c:dPt>
            <c:idx val="7"/>
            <c:marker>
              <c:spPr>
                <a:solidFill>
                  <a:srgbClr val="C00000"/>
                </a:solidFill>
                <a:ln>
                  <a:solidFill>
                    <a:schemeClr val="tx1"/>
                  </a:solidFill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B8EC-4B35-832F-C40E600460FC}"/>
              </c:ext>
            </c:extLst>
          </c:dPt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00-FB68-4A8D-9473-EEB04198498B}"/>
              </c:ext>
            </c:extLst>
          </c:dPt>
          <c:xVal>
            <c:numRef>
              <c:f>Sheet1!$A$2:$A$266</c:f>
              <c:numCache>
                <c:formatCode>General</c:formatCode>
                <c:ptCount val="265"/>
                <c:pt idx="0">
                  <c:v>0.26700000000000002</c:v>
                </c:pt>
                <c:pt idx="1">
                  <c:v>0.25900000000000001</c:v>
                </c:pt>
                <c:pt idx="2">
                  <c:v>0.23200000000000001</c:v>
                </c:pt>
                <c:pt idx="3">
                  <c:v>0.22600000000000001</c:v>
                </c:pt>
                <c:pt idx="4">
                  <c:v>0.219</c:v>
                </c:pt>
                <c:pt idx="5">
                  <c:v>0.21199999999999999</c:v>
                </c:pt>
                <c:pt idx="6">
                  <c:v>0.21</c:v>
                </c:pt>
                <c:pt idx="7">
                  <c:v>0.2072</c:v>
                </c:pt>
                <c:pt idx="8">
                  <c:v>0.20499999999999999</c:v>
                </c:pt>
                <c:pt idx="9">
                  <c:v>0.20300000000000001</c:v>
                </c:pt>
                <c:pt idx="10">
                  <c:v>0.20200000000000001</c:v>
                </c:pt>
                <c:pt idx="11">
                  <c:v>0.193</c:v>
                </c:pt>
                <c:pt idx="12">
                  <c:v>0.161</c:v>
                </c:pt>
                <c:pt idx="13">
                  <c:v>0.14899999999999999</c:v>
                </c:pt>
                <c:pt idx="14">
                  <c:v>0.14299999999999999</c:v>
                </c:pt>
                <c:pt idx="15">
                  <c:v>0.20200000000000001</c:v>
                </c:pt>
                <c:pt idx="16">
                  <c:v>0.21299999999999999</c:v>
                </c:pt>
                <c:pt idx="17">
                  <c:v>0.16200000000000001</c:v>
                </c:pt>
                <c:pt idx="18">
                  <c:v>0.159</c:v>
                </c:pt>
                <c:pt idx="19">
                  <c:v>0.17499999999999999</c:v>
                </c:pt>
                <c:pt idx="20">
                  <c:v>0.14699999999999999</c:v>
                </c:pt>
                <c:pt idx="21">
                  <c:v>0.17100000000000001</c:v>
                </c:pt>
                <c:pt idx="22">
                  <c:v>0.19961292968688499</c:v>
                </c:pt>
                <c:pt idx="23">
                  <c:v>0.14599999999999999</c:v>
                </c:pt>
                <c:pt idx="24">
                  <c:v>0.14599999999999999</c:v>
                </c:pt>
                <c:pt idx="25">
                  <c:v>0.157</c:v>
                </c:pt>
                <c:pt idx="26">
                  <c:v>0.13200000000000001</c:v>
                </c:pt>
                <c:pt idx="27">
                  <c:v>0.107</c:v>
                </c:pt>
                <c:pt idx="28">
                  <c:v>0.11600000000000001</c:v>
                </c:pt>
                <c:pt idx="29">
                  <c:v>8.5000000000000006E-2</c:v>
                </c:pt>
                <c:pt idx="30">
                  <c:v>0.33400000000000002</c:v>
                </c:pt>
                <c:pt idx="31">
                  <c:v>0.30599999999999999</c:v>
                </c:pt>
                <c:pt idx="32">
                  <c:v>0.308</c:v>
                </c:pt>
                <c:pt idx="33">
                  <c:v>0.30099999999999999</c:v>
                </c:pt>
                <c:pt idx="34">
                  <c:v>0.26800000000000002</c:v>
                </c:pt>
                <c:pt idx="35">
                  <c:v>0.28799999999999998</c:v>
                </c:pt>
                <c:pt idx="36">
                  <c:v>0.254</c:v>
                </c:pt>
                <c:pt idx="37">
                  <c:v>0.21488978329198899</c:v>
                </c:pt>
                <c:pt idx="38">
                  <c:v>0.27200000000000002</c:v>
                </c:pt>
                <c:pt idx="39">
                  <c:v>0.26600000000000001</c:v>
                </c:pt>
                <c:pt idx="40">
                  <c:v>0.25</c:v>
                </c:pt>
                <c:pt idx="41">
                  <c:v>0.26600000000000001</c:v>
                </c:pt>
                <c:pt idx="42">
                  <c:v>0.22700000000000001</c:v>
                </c:pt>
                <c:pt idx="43">
                  <c:v>0.186</c:v>
                </c:pt>
                <c:pt idx="44">
                  <c:v>0.217</c:v>
                </c:pt>
              </c:numCache>
            </c:numRef>
          </c:xVal>
          <c:yVal>
            <c:numRef>
              <c:f>Sheet1!$B$2:$B$266</c:f>
              <c:numCache>
                <c:formatCode>General</c:formatCode>
                <c:ptCount val="26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455-4B86-BABD-9343ACD16095}"/>
            </c:ext>
          </c:extLst>
        </c:ser>
        <c:ser>
          <c:idx val="0"/>
          <c:order val="2"/>
          <c:tx>
            <c:strRef>
              <c:f>Sheet1!$C$1</c:f>
              <c:strCache>
                <c:ptCount val="1"/>
                <c:pt idx="0">
                  <c:v>ČR_low</c:v>
                </c:pt>
              </c:strCache>
            </c:strRef>
          </c:tx>
          <c:spPr>
            <a:ln w="19050">
              <a:noFill/>
            </a:ln>
          </c:spPr>
          <c:marker>
            <c:symbol val="plus"/>
            <c:size val="10"/>
            <c:spPr>
              <a:noFill/>
              <a:ln>
                <a:solidFill>
                  <a:schemeClr val="tx1"/>
                </a:solidFill>
              </a:ln>
            </c:spPr>
          </c:marker>
          <c:xVal>
            <c:numRef>
              <c:f>Sheet1!$A$17:$A$31</c:f>
              <c:numCache>
                <c:formatCode>General</c:formatCode>
                <c:ptCount val="15"/>
                <c:pt idx="0">
                  <c:v>0.20200000000000001</c:v>
                </c:pt>
                <c:pt idx="1">
                  <c:v>0.21299999999999999</c:v>
                </c:pt>
                <c:pt idx="2">
                  <c:v>0.16200000000000001</c:v>
                </c:pt>
                <c:pt idx="3">
                  <c:v>0.159</c:v>
                </c:pt>
                <c:pt idx="4">
                  <c:v>0.17499999999999999</c:v>
                </c:pt>
                <c:pt idx="5">
                  <c:v>0.14699999999999999</c:v>
                </c:pt>
                <c:pt idx="6">
                  <c:v>0.17100000000000001</c:v>
                </c:pt>
                <c:pt idx="7">
                  <c:v>0.19961292968688499</c:v>
                </c:pt>
                <c:pt idx="8">
                  <c:v>0.14599999999999999</c:v>
                </c:pt>
                <c:pt idx="9">
                  <c:v>0.14599999999999999</c:v>
                </c:pt>
                <c:pt idx="10">
                  <c:v>0.157</c:v>
                </c:pt>
                <c:pt idx="11">
                  <c:v>0.13200000000000001</c:v>
                </c:pt>
                <c:pt idx="12">
                  <c:v>0.107</c:v>
                </c:pt>
                <c:pt idx="13">
                  <c:v>0.11600000000000001</c:v>
                </c:pt>
                <c:pt idx="14">
                  <c:v>8.5000000000000006E-2</c:v>
                </c:pt>
              </c:numCache>
            </c:numRef>
          </c:xVal>
          <c:yVal>
            <c:numRef>
              <c:f>Sheet1!$C$17:$C$31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77E6-46C6-BA62-E0C855890E1D}"/>
            </c:ext>
          </c:extLst>
        </c:ser>
        <c:ser>
          <c:idx val="1"/>
          <c:order val="3"/>
          <c:tx>
            <c:strRef>
              <c:f>Sheet1!$D$1</c:f>
              <c:strCache>
                <c:ptCount val="1"/>
                <c:pt idx="0">
                  <c:v>ČR_upp</c:v>
                </c:pt>
              </c:strCache>
            </c:strRef>
          </c:tx>
          <c:spPr>
            <a:ln w="19050">
              <a:noFill/>
            </a:ln>
          </c:spPr>
          <c:marker>
            <c:symbol val="plus"/>
            <c:size val="10"/>
            <c:spPr>
              <a:noFill/>
              <a:ln>
                <a:solidFill>
                  <a:schemeClr val="tx1"/>
                </a:solidFill>
              </a:ln>
            </c:spPr>
          </c:marker>
          <c:xVal>
            <c:numRef>
              <c:f>Sheet1!$A$32:$A$56</c:f>
              <c:numCache>
                <c:formatCode>General</c:formatCode>
                <c:ptCount val="25"/>
                <c:pt idx="0">
                  <c:v>0.33400000000000002</c:v>
                </c:pt>
                <c:pt idx="1">
                  <c:v>0.30599999999999999</c:v>
                </c:pt>
                <c:pt idx="2">
                  <c:v>0.308</c:v>
                </c:pt>
                <c:pt idx="3">
                  <c:v>0.30099999999999999</c:v>
                </c:pt>
                <c:pt idx="4">
                  <c:v>0.26800000000000002</c:v>
                </c:pt>
                <c:pt idx="5">
                  <c:v>0.28799999999999998</c:v>
                </c:pt>
                <c:pt idx="6">
                  <c:v>0.254</c:v>
                </c:pt>
                <c:pt idx="7">
                  <c:v>0.21488978329198899</c:v>
                </c:pt>
                <c:pt idx="8">
                  <c:v>0.27200000000000002</c:v>
                </c:pt>
                <c:pt idx="9">
                  <c:v>0.26600000000000001</c:v>
                </c:pt>
                <c:pt idx="10">
                  <c:v>0.25</c:v>
                </c:pt>
                <c:pt idx="11">
                  <c:v>0.26600000000000001</c:v>
                </c:pt>
                <c:pt idx="12">
                  <c:v>0.22700000000000001</c:v>
                </c:pt>
                <c:pt idx="13">
                  <c:v>0.186</c:v>
                </c:pt>
                <c:pt idx="14">
                  <c:v>0.217</c:v>
                </c:pt>
              </c:numCache>
            </c:numRef>
          </c:xVal>
          <c:yVal>
            <c:numRef>
              <c:f>Sheet1!$D$32:$D$56</c:f>
              <c:numCache>
                <c:formatCode>General</c:formatCode>
                <c:ptCount val="2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77E6-46C6-BA62-E0C855890E1D}"/>
            </c:ext>
          </c:extLst>
        </c:ser>
        <c:ser>
          <c:idx val="2"/>
          <c:order val="4"/>
          <c:tx>
            <c:strRef>
              <c:f>Sheet1!$E$1</c:f>
              <c:strCache>
                <c:ptCount val="1"/>
                <c:pt idx="0">
                  <c:v>CZ</c:v>
                </c:pt>
              </c:strCache>
            </c:strRef>
          </c:tx>
          <c:spPr>
            <a:ln w="19050" cap="sq">
              <a:solidFill>
                <a:srgbClr val="C00000"/>
              </a:solidFill>
              <a:prstDash val="dash"/>
              <a:miter lim="800000"/>
            </a:ln>
          </c:spPr>
          <c:marker>
            <c:symbol val="none"/>
          </c:marker>
          <c:xVal>
            <c:numRef>
              <c:f>Sheet1!$E$2:$E$16</c:f>
              <c:numCache>
                <c:formatCode>General</c:formatCode>
                <c:ptCount val="15"/>
                <c:pt idx="0">
                  <c:v>0.2072</c:v>
                </c:pt>
                <c:pt idx="1">
                  <c:v>0.2072</c:v>
                </c:pt>
                <c:pt idx="2">
                  <c:v>0.2072</c:v>
                </c:pt>
                <c:pt idx="3">
                  <c:v>0.2072</c:v>
                </c:pt>
                <c:pt idx="4">
                  <c:v>0.2072</c:v>
                </c:pt>
                <c:pt idx="5">
                  <c:v>0.2072</c:v>
                </c:pt>
                <c:pt idx="6">
                  <c:v>0.2072</c:v>
                </c:pt>
                <c:pt idx="7">
                  <c:v>0.2072</c:v>
                </c:pt>
                <c:pt idx="8">
                  <c:v>0.2072</c:v>
                </c:pt>
                <c:pt idx="9">
                  <c:v>0.2072</c:v>
                </c:pt>
                <c:pt idx="10">
                  <c:v>0.2072</c:v>
                </c:pt>
                <c:pt idx="11">
                  <c:v>0.2072</c:v>
                </c:pt>
                <c:pt idx="12">
                  <c:v>0.2072</c:v>
                </c:pt>
                <c:pt idx="13">
                  <c:v>0.2072</c:v>
                </c:pt>
                <c:pt idx="14">
                  <c:v>0.2072</c:v>
                </c:pt>
              </c:numCache>
            </c:numRef>
          </c:xVal>
          <c:yVal>
            <c:numRef>
              <c:f>Sheet1!$B$2:$B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77E6-46C6-BA62-E0C855890E1D}"/>
            </c:ext>
          </c:extLst>
        </c:ser>
        <c:ser>
          <c:idx val="3"/>
          <c:order val="5"/>
          <c:tx>
            <c:strRef>
              <c:f>Sheet1!$F$1</c:f>
              <c:strCache>
                <c:ptCount val="1"/>
              </c:strCache>
            </c:strRef>
          </c:tx>
          <c:spPr>
            <a:ln w="19050">
              <a:noFill/>
            </a:ln>
          </c:spPr>
          <c:marker>
            <c:symbol val="plus"/>
            <c:size val="10"/>
            <c:spPr>
              <a:noFill/>
              <a:ln>
                <a:solidFill>
                  <a:srgbClr val="FF0000"/>
                </a:solidFill>
              </a:ln>
            </c:spPr>
          </c:marker>
          <c:xVal>
            <c:numRef>
              <c:f>Sheet1!$A$82:$A$106</c:f>
              <c:numCache>
                <c:formatCode>General</c:formatCode>
                <c:ptCount val="25"/>
              </c:numCache>
            </c:numRef>
          </c:xVal>
          <c:yVal>
            <c:numRef>
              <c:f>Sheet1!$F$82:$F$106</c:f>
              <c:numCache>
                <c:formatCode>General</c:formatCode>
                <c:ptCount val="25"/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77E6-46C6-BA62-E0C855890E1D}"/>
            </c:ext>
          </c:extLst>
        </c:ser>
        <c:ser>
          <c:idx val="5"/>
          <c:order val="6"/>
          <c:tx>
            <c:strRef>
              <c:f>Sheet1!$G$1</c:f>
              <c:strCache>
                <c:ptCount val="1"/>
              </c:strCache>
            </c:strRef>
          </c:tx>
          <c:spPr>
            <a:ln w="19050">
              <a:noFill/>
            </a:ln>
          </c:spPr>
          <c:marker>
            <c:symbol val="plus"/>
            <c:size val="10"/>
            <c:spPr>
              <a:noFill/>
              <a:ln>
                <a:solidFill>
                  <a:srgbClr val="FF0000"/>
                </a:solidFill>
              </a:ln>
            </c:spPr>
          </c:marker>
          <c:xVal>
            <c:numRef>
              <c:f>Sheet1!$A$107:$A$131</c:f>
              <c:numCache>
                <c:formatCode>General</c:formatCode>
                <c:ptCount val="25"/>
              </c:numCache>
            </c:numRef>
          </c:xVal>
          <c:yVal>
            <c:numRef>
              <c:f>Sheet1!$G$107:$G$131</c:f>
              <c:numCache>
                <c:formatCode>General</c:formatCode>
                <c:ptCount val="25"/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77E6-46C6-BA62-E0C855890E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58932352"/>
        <c:axId val="1"/>
        <c:extLst>
          <c:ext xmlns:c15="http://schemas.microsoft.com/office/drawing/2012/chart" uri="{02D57815-91ED-43cb-92C2-25804820EDAC}">
            <c15:filteredScatterSeries>
              <c15:ser>
                <c:idx val="4"/>
                <c:order val="1"/>
                <c:tx>
                  <c:str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ln w="19050">
                    <a:noFill/>
                  </a:ln>
                </c:spPr>
                <c:marker>
                  <c:symbol val="square"/>
                  <c:size val="10"/>
                  <c:spPr>
                    <a:solidFill>
                      <a:srgbClr val="FF0000"/>
                    </a:solidFill>
                    <a:ln w="6350">
                      <a:solidFill>
                        <a:schemeClr val="tx1"/>
                      </a:solidFill>
                    </a:ln>
                  </c:spPr>
                </c:marker>
                <c:xVal>
                  <c:numRef>
                    <c:extLst>
                      <c:ext uri="{02D57815-91ED-43cb-92C2-25804820EDAC}">
                        <c15:formulaRef>
                          <c15:sqref>Sheet1!$A$2:$A$266</c15:sqref>
                        </c15:formulaRef>
                      </c:ext>
                    </c:extLst>
                    <c:numCache>
                      <c:formatCode>General</c:formatCode>
                      <c:ptCount val="265"/>
                      <c:pt idx="0">
                        <c:v>0.26700000000000002</c:v>
                      </c:pt>
                      <c:pt idx="1">
                        <c:v>0.25900000000000001</c:v>
                      </c:pt>
                      <c:pt idx="2">
                        <c:v>0.23200000000000001</c:v>
                      </c:pt>
                      <c:pt idx="3">
                        <c:v>0.22600000000000001</c:v>
                      </c:pt>
                      <c:pt idx="4">
                        <c:v>0.219</c:v>
                      </c:pt>
                      <c:pt idx="5">
                        <c:v>0.21199999999999999</c:v>
                      </c:pt>
                      <c:pt idx="6">
                        <c:v>0.21</c:v>
                      </c:pt>
                      <c:pt idx="7">
                        <c:v>0.2072</c:v>
                      </c:pt>
                      <c:pt idx="8">
                        <c:v>0.20499999999999999</c:v>
                      </c:pt>
                      <c:pt idx="9">
                        <c:v>0.20300000000000001</c:v>
                      </c:pt>
                      <c:pt idx="10">
                        <c:v>0.20200000000000001</c:v>
                      </c:pt>
                      <c:pt idx="11">
                        <c:v>0.193</c:v>
                      </c:pt>
                      <c:pt idx="12">
                        <c:v>0.161</c:v>
                      </c:pt>
                      <c:pt idx="13">
                        <c:v>0.14899999999999999</c:v>
                      </c:pt>
                      <c:pt idx="14">
                        <c:v>0.14299999999999999</c:v>
                      </c:pt>
                      <c:pt idx="15">
                        <c:v>0.20200000000000001</c:v>
                      </c:pt>
                      <c:pt idx="16">
                        <c:v>0.21299999999999999</c:v>
                      </c:pt>
                      <c:pt idx="17">
                        <c:v>0.16200000000000001</c:v>
                      </c:pt>
                      <c:pt idx="18">
                        <c:v>0.159</c:v>
                      </c:pt>
                      <c:pt idx="19">
                        <c:v>0.17499999999999999</c:v>
                      </c:pt>
                      <c:pt idx="20">
                        <c:v>0.14699999999999999</c:v>
                      </c:pt>
                      <c:pt idx="21">
                        <c:v>0.17100000000000001</c:v>
                      </c:pt>
                      <c:pt idx="22">
                        <c:v>0.19961292968688499</c:v>
                      </c:pt>
                      <c:pt idx="23">
                        <c:v>0.14599999999999999</c:v>
                      </c:pt>
                      <c:pt idx="24">
                        <c:v>0.14599999999999999</c:v>
                      </c:pt>
                      <c:pt idx="25">
                        <c:v>0.157</c:v>
                      </c:pt>
                      <c:pt idx="26">
                        <c:v>0.13200000000000001</c:v>
                      </c:pt>
                      <c:pt idx="27">
                        <c:v>0.107</c:v>
                      </c:pt>
                      <c:pt idx="28">
                        <c:v>0.11600000000000001</c:v>
                      </c:pt>
                      <c:pt idx="29">
                        <c:v>8.5000000000000006E-2</c:v>
                      </c:pt>
                      <c:pt idx="30">
                        <c:v>0.33400000000000002</c:v>
                      </c:pt>
                      <c:pt idx="31">
                        <c:v>0.30599999999999999</c:v>
                      </c:pt>
                      <c:pt idx="32">
                        <c:v>0.308</c:v>
                      </c:pt>
                      <c:pt idx="33">
                        <c:v>0.30099999999999999</c:v>
                      </c:pt>
                      <c:pt idx="34">
                        <c:v>0.26800000000000002</c:v>
                      </c:pt>
                      <c:pt idx="35">
                        <c:v>0.28799999999999998</c:v>
                      </c:pt>
                      <c:pt idx="36">
                        <c:v>0.254</c:v>
                      </c:pt>
                      <c:pt idx="37">
                        <c:v>0.21488978329198899</c:v>
                      </c:pt>
                      <c:pt idx="38">
                        <c:v>0.27200000000000002</c:v>
                      </c:pt>
                      <c:pt idx="39">
                        <c:v>0.26600000000000001</c:v>
                      </c:pt>
                      <c:pt idx="40">
                        <c:v>0.25</c:v>
                      </c:pt>
                      <c:pt idx="41">
                        <c:v>0.26600000000000001</c:v>
                      </c:pt>
                      <c:pt idx="42">
                        <c:v>0.22700000000000001</c:v>
                      </c:pt>
                      <c:pt idx="43">
                        <c:v>0.186</c:v>
                      </c:pt>
                      <c:pt idx="44">
                        <c:v>0.217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4-92BF-4A47-AE06-D2CDCCFC9767}"/>
                  </c:ext>
                </c:extLst>
              </c15:ser>
            </c15:filteredScatterSeries>
          </c:ext>
        </c:extLst>
      </c:scatterChart>
      <c:valAx>
        <c:axId val="1458932352"/>
        <c:scaling>
          <c:orientation val="minMax"/>
          <c:max val="1"/>
          <c:min val="0"/>
        </c:scaling>
        <c:delete val="0"/>
        <c:axPos val="t"/>
        <c:majorGridlines>
          <c:spPr>
            <a:ln w="9525">
              <a:solidFill>
                <a:srgbClr val="C0C0C0"/>
              </a:solidFill>
              <a:prstDash val="sysDash"/>
            </a:ln>
          </c:spPr>
        </c:majorGridlines>
        <c:numFmt formatCode="0\ %" sourceLinked="0"/>
        <c:majorTickMark val="out"/>
        <c:minorTickMark val="none"/>
        <c:tickLblPos val="nextTo"/>
        <c:spPr>
          <a:ln w="316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997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cs-CZ"/>
          </a:p>
        </c:txPr>
        <c:crossAx val="1"/>
        <c:crosses val="autoZero"/>
        <c:crossBetween val="midCat"/>
        <c:majorUnit val="0.2"/>
      </c:valAx>
      <c:valAx>
        <c:axId val="1"/>
        <c:scaling>
          <c:orientation val="maxMin"/>
          <c:min val="0"/>
        </c:scaling>
        <c:delete val="0"/>
        <c:axPos val="l"/>
        <c:majorGridlines>
          <c:spPr>
            <a:ln w="9525">
              <a:solidFill>
                <a:schemeClr val="tx1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none"/>
        <c:spPr>
          <a:ln w="6330">
            <a:noFill/>
          </a:ln>
        </c:spPr>
        <c:crossAx val="1458932352"/>
        <c:crosses val="autoZero"/>
        <c:crossBetween val="midCat"/>
        <c:majorUnit val="1"/>
      </c:valAx>
      <c:spPr>
        <a:noFill/>
        <a:ln w="2531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47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9553250647036122"/>
          <c:y val="0.1513741818872098"/>
          <c:w val="0.63946058329738675"/>
          <c:h val="0.8082071259377863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léčba v KOC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List1!$A$2:$A$15</c:f>
              <c:strCache>
                <c:ptCount val="14"/>
                <c:pt idx="0">
                  <c:v>Středočeský kraj</c:v>
                </c:pt>
                <c:pt idx="1">
                  <c:v>Hl. m. Praha</c:v>
                </c:pt>
                <c:pt idx="2">
                  <c:v>Moravskoslezský kraj</c:v>
                </c:pt>
                <c:pt idx="3">
                  <c:v>Ústecký kraj</c:v>
                </c:pt>
                <c:pt idx="4">
                  <c:v>Jihomoravský kraj</c:v>
                </c:pt>
                <c:pt idx="5">
                  <c:v>Jihočeský kraj</c:v>
                </c:pt>
                <c:pt idx="6">
                  <c:v>Olomoucký kraj</c:v>
                </c:pt>
                <c:pt idx="7">
                  <c:v>Královéhradecký kraj</c:v>
                </c:pt>
                <c:pt idx="8">
                  <c:v>Liberecký kraj</c:v>
                </c:pt>
                <c:pt idx="9">
                  <c:v>Plzeňský kraj</c:v>
                </c:pt>
                <c:pt idx="10">
                  <c:v>Vysočina</c:v>
                </c:pt>
                <c:pt idx="11">
                  <c:v>Pardubický kraj</c:v>
                </c:pt>
                <c:pt idx="12">
                  <c:v>Zlínský kraj</c:v>
                </c:pt>
                <c:pt idx="13">
                  <c:v>Karlovarský kraj</c:v>
                </c:pt>
              </c:strCache>
            </c:strRef>
          </c:cat>
          <c:val>
            <c:numRef>
              <c:f>List1!$B$2:$B$15</c:f>
              <c:numCache>
                <c:formatCode>General</c:formatCode>
                <c:ptCount val="14"/>
                <c:pt idx="0">
                  <c:v>508.4</c:v>
                </c:pt>
                <c:pt idx="1">
                  <c:v>571</c:v>
                </c:pt>
                <c:pt idx="2">
                  <c:v>424.8</c:v>
                </c:pt>
                <c:pt idx="3">
                  <c:v>443.6</c:v>
                </c:pt>
                <c:pt idx="4">
                  <c:v>386.6</c:v>
                </c:pt>
                <c:pt idx="5">
                  <c:v>239.4</c:v>
                </c:pt>
                <c:pt idx="6">
                  <c:v>231.6</c:v>
                </c:pt>
                <c:pt idx="7">
                  <c:v>229</c:v>
                </c:pt>
                <c:pt idx="8">
                  <c:v>241.4</c:v>
                </c:pt>
                <c:pt idx="9">
                  <c:v>248.4</c:v>
                </c:pt>
                <c:pt idx="10">
                  <c:v>175.2</c:v>
                </c:pt>
                <c:pt idx="11">
                  <c:v>198.4</c:v>
                </c:pt>
                <c:pt idx="12">
                  <c:v>167.4</c:v>
                </c:pt>
                <c:pt idx="13">
                  <c:v>73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BE-4860-B2D7-6FDE2933679A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léčba pouze mimo KOC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List1!$A$2:$A$15</c:f>
              <c:strCache>
                <c:ptCount val="14"/>
                <c:pt idx="0">
                  <c:v>Středočeský kraj</c:v>
                </c:pt>
                <c:pt idx="1">
                  <c:v>Hl. m. Praha</c:v>
                </c:pt>
                <c:pt idx="2">
                  <c:v>Moravskoslezský kraj</c:v>
                </c:pt>
                <c:pt idx="3">
                  <c:v>Ústecký kraj</c:v>
                </c:pt>
                <c:pt idx="4">
                  <c:v>Jihomoravský kraj</c:v>
                </c:pt>
                <c:pt idx="5">
                  <c:v>Jihočeský kraj</c:v>
                </c:pt>
                <c:pt idx="6">
                  <c:v>Olomoucký kraj</c:v>
                </c:pt>
                <c:pt idx="7">
                  <c:v>Královéhradecký kraj</c:v>
                </c:pt>
                <c:pt idx="8">
                  <c:v>Liberecký kraj</c:v>
                </c:pt>
                <c:pt idx="9">
                  <c:v>Plzeňský kraj</c:v>
                </c:pt>
                <c:pt idx="10">
                  <c:v>Vysočina</c:v>
                </c:pt>
                <c:pt idx="11">
                  <c:v>Pardubický kraj</c:v>
                </c:pt>
                <c:pt idx="12">
                  <c:v>Zlínský kraj</c:v>
                </c:pt>
                <c:pt idx="13">
                  <c:v>Karlovarský kraj</c:v>
                </c:pt>
              </c:strCache>
            </c:strRef>
          </c:cat>
          <c:val>
            <c:numRef>
              <c:f>List1!$C$2:$C$15</c:f>
              <c:numCache>
                <c:formatCode>General</c:formatCode>
                <c:ptCount val="14"/>
                <c:pt idx="0">
                  <c:v>177</c:v>
                </c:pt>
                <c:pt idx="1">
                  <c:v>39.4</c:v>
                </c:pt>
                <c:pt idx="2">
                  <c:v>147.4</c:v>
                </c:pt>
                <c:pt idx="3">
                  <c:v>79.599999999999994</c:v>
                </c:pt>
                <c:pt idx="4">
                  <c:v>109.6</c:v>
                </c:pt>
                <c:pt idx="5">
                  <c:v>82.8</c:v>
                </c:pt>
                <c:pt idx="6">
                  <c:v>59.8</c:v>
                </c:pt>
                <c:pt idx="7">
                  <c:v>49.4</c:v>
                </c:pt>
                <c:pt idx="8">
                  <c:v>29.2</c:v>
                </c:pt>
                <c:pt idx="9">
                  <c:v>18.600000000000001</c:v>
                </c:pt>
                <c:pt idx="10">
                  <c:v>61</c:v>
                </c:pt>
                <c:pt idx="11">
                  <c:v>36.4</c:v>
                </c:pt>
                <c:pt idx="12">
                  <c:v>54.8</c:v>
                </c:pt>
                <c:pt idx="13">
                  <c:v>97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5BE-4860-B2D7-6FDE293367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672919520"/>
        <c:axId val="672897056"/>
      </c:barChart>
      <c:catAx>
        <c:axId val="67291952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72897056"/>
        <c:crosses val="autoZero"/>
        <c:auto val="1"/>
        <c:lblAlgn val="ctr"/>
        <c:lblOffset val="100"/>
        <c:noMultiLvlLbl val="0"/>
      </c:catAx>
      <c:valAx>
        <c:axId val="672897056"/>
        <c:scaling>
          <c:orientation val="minMax"/>
          <c:min val="0"/>
        </c:scaling>
        <c:delete val="0"/>
        <c:axPos val="t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729195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5593775753963336"/>
          <c:y val="2.0546647505874042E-2"/>
          <c:w val="0.51641109212886238"/>
          <c:h val="5.3728242120119181E-2"/>
        </c:manualLayout>
      </c:layout>
      <c:overlay val="0"/>
      <c:txPr>
        <a:bodyPr/>
        <a:lstStyle/>
        <a:p>
          <a:pPr>
            <a:defRPr b="1"/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cs-CZ"/>
    </a:p>
  </c:txPr>
  <c:externalData r:id="rId2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9778507191182152"/>
          <c:y val="0.13329213538786594"/>
          <c:w val="0.65522854138760855"/>
          <c:h val="0.84351225209015956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léčba v KOC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Hl. m. Praha</c:v>
                </c:pt>
                <c:pt idx="1">
                  <c:v>Plzeňský kraj</c:v>
                </c:pt>
                <c:pt idx="2">
                  <c:v>Liberecký kraj</c:v>
                </c:pt>
                <c:pt idx="3">
                  <c:v>Ústecký kraj</c:v>
                </c:pt>
                <c:pt idx="4">
                  <c:v>Pardubický kraj</c:v>
                </c:pt>
                <c:pt idx="5">
                  <c:v>Královéhradecký kraj</c:v>
                </c:pt>
                <c:pt idx="6">
                  <c:v>Česká republika</c:v>
                </c:pt>
                <c:pt idx="7">
                  <c:v>Olomoucký kraj</c:v>
                </c:pt>
                <c:pt idx="8">
                  <c:v>Jihomoravský kraj</c:v>
                </c:pt>
                <c:pt idx="9">
                  <c:v>Zlínský kraj</c:v>
                </c:pt>
                <c:pt idx="10">
                  <c:v>Jihočeský kraj</c:v>
                </c:pt>
                <c:pt idx="11">
                  <c:v>Moravskoslezský kraj</c:v>
                </c:pt>
                <c:pt idx="12">
                  <c:v>Středočeský kraj</c:v>
                </c:pt>
                <c:pt idx="13">
                  <c:v>Vysočina</c:v>
                </c:pt>
                <c:pt idx="14">
                  <c:v>Karlovarský kraj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0.93545216251638275</c:v>
                </c:pt>
                <c:pt idx="1">
                  <c:v>0.93033707865168547</c:v>
                </c:pt>
                <c:pt idx="2">
                  <c:v>0.89209164818920916</c:v>
                </c:pt>
                <c:pt idx="3">
                  <c:v>0.84785932721712531</c:v>
                </c:pt>
                <c:pt idx="4">
                  <c:v>0.84497444633730834</c:v>
                </c:pt>
                <c:pt idx="5">
                  <c:v>0.82255747126436785</c:v>
                </c:pt>
                <c:pt idx="6">
                  <c:v>0.79768700968656769</c:v>
                </c:pt>
                <c:pt idx="7">
                  <c:v>0.79478380233356216</c:v>
                </c:pt>
                <c:pt idx="8">
                  <c:v>0.77912132204756146</c:v>
                </c:pt>
                <c:pt idx="9">
                  <c:v>0.75337533753375341</c:v>
                </c:pt>
                <c:pt idx="10">
                  <c:v>0.74301675977653636</c:v>
                </c:pt>
                <c:pt idx="11">
                  <c:v>0.74239776301992311</c:v>
                </c:pt>
                <c:pt idx="12">
                  <c:v>0.74175663845929385</c:v>
                </c:pt>
                <c:pt idx="13">
                  <c:v>0.74174428450465701</c:v>
                </c:pt>
                <c:pt idx="14">
                  <c:v>0.429742388758782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F8-4F61-ACC2-1879E8EAC35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léčba pouze mimo KOC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List1!$A$2:$A$16</c:f>
              <c:strCache>
                <c:ptCount val="15"/>
                <c:pt idx="0">
                  <c:v>Hl. m. Praha</c:v>
                </c:pt>
                <c:pt idx="1">
                  <c:v>Plzeňský kraj</c:v>
                </c:pt>
                <c:pt idx="2">
                  <c:v>Liberecký kraj</c:v>
                </c:pt>
                <c:pt idx="3">
                  <c:v>Ústecký kraj</c:v>
                </c:pt>
                <c:pt idx="4">
                  <c:v>Pardubický kraj</c:v>
                </c:pt>
                <c:pt idx="5">
                  <c:v>Královéhradecký kraj</c:v>
                </c:pt>
                <c:pt idx="6">
                  <c:v>Česká republika</c:v>
                </c:pt>
                <c:pt idx="7">
                  <c:v>Olomoucký kraj</c:v>
                </c:pt>
                <c:pt idx="8">
                  <c:v>Jihomoravský kraj</c:v>
                </c:pt>
                <c:pt idx="9">
                  <c:v>Zlínský kraj</c:v>
                </c:pt>
                <c:pt idx="10">
                  <c:v>Jihočeský kraj</c:v>
                </c:pt>
                <c:pt idx="11">
                  <c:v>Moravskoslezský kraj</c:v>
                </c:pt>
                <c:pt idx="12">
                  <c:v>Středočeský kraj</c:v>
                </c:pt>
                <c:pt idx="13">
                  <c:v>Vysočina</c:v>
                </c:pt>
                <c:pt idx="14">
                  <c:v>Karlovarský kraj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  <c:pt idx="0">
                  <c:v>6.4547837483617296E-2</c:v>
                </c:pt>
                <c:pt idx="1">
                  <c:v>6.9662921348314616E-2</c:v>
                </c:pt>
                <c:pt idx="2">
                  <c:v>0.10790835181079082</c:v>
                </c:pt>
                <c:pt idx="3">
                  <c:v>0.1521406727828746</c:v>
                </c:pt>
                <c:pt idx="4">
                  <c:v>0.15502555366269163</c:v>
                </c:pt>
                <c:pt idx="5">
                  <c:v>0.17744252873563218</c:v>
                </c:pt>
                <c:pt idx="6">
                  <c:v>0.20231299031343225</c:v>
                </c:pt>
                <c:pt idx="7">
                  <c:v>0.20521619766643789</c:v>
                </c:pt>
                <c:pt idx="8">
                  <c:v>0.22087867795243851</c:v>
                </c:pt>
                <c:pt idx="9">
                  <c:v>0.24662466246624662</c:v>
                </c:pt>
                <c:pt idx="10">
                  <c:v>0.25698324022346369</c:v>
                </c:pt>
                <c:pt idx="11">
                  <c:v>0.25760223698007689</c:v>
                </c:pt>
                <c:pt idx="12">
                  <c:v>0.25824336154070615</c:v>
                </c:pt>
                <c:pt idx="13">
                  <c:v>0.25825571549534293</c:v>
                </c:pt>
                <c:pt idx="14">
                  <c:v>0.570257611241217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8F8-4F61-ACC2-1879E8EAC3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672919520"/>
        <c:axId val="672897056"/>
      </c:barChart>
      <c:catAx>
        <c:axId val="67291952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72897056"/>
        <c:crosses val="autoZero"/>
        <c:auto val="1"/>
        <c:lblAlgn val="ctr"/>
        <c:lblOffset val="100"/>
        <c:noMultiLvlLbl val="0"/>
      </c:catAx>
      <c:valAx>
        <c:axId val="672897056"/>
        <c:scaling>
          <c:orientation val="minMax"/>
        </c:scaling>
        <c:delete val="0"/>
        <c:axPos val="t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729195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4998560763986897"/>
          <c:y val="9.647896535196222E-3"/>
          <c:w val="0.52372979580969747"/>
          <c:h val="5.6577425868895158E-2"/>
        </c:manualLayout>
      </c:layout>
      <c:overlay val="0"/>
      <c:txPr>
        <a:bodyPr/>
        <a:lstStyle/>
        <a:p>
          <a:pPr>
            <a:defRPr b="1"/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cs-CZ"/>
    </a:p>
  </c:txPr>
  <c:externalData r:id="rId2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250361500761521"/>
          <c:y val="0.10741931645121987"/>
          <c:w val="0.86246143004170095"/>
          <c:h val="0.723906573926013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kraj</c:v>
                </c:pt>
              </c:strCache>
            </c:strRef>
          </c:tx>
          <c:spPr>
            <a:solidFill>
              <a:srgbClr val="6598C7"/>
            </a:solidFill>
            <a:ln>
              <a:noFill/>
            </a:ln>
            <a:effectLst/>
          </c:spPr>
          <c:invertIfNegative val="0"/>
          <c:dLbls>
            <c:numFmt formatCode="0.0\ %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0"/>
              <a:lstStyle/>
              <a:p>
                <a:pPr algn="ctr">
                  <a:defRPr lang="en-US"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Sheet1!$B$2:$B$13</c:f>
              <c:numCache>
                <c:formatCode>0.0%</c:formatCode>
                <c:ptCount val="12"/>
                <c:pt idx="0">
                  <c:v>2.9411764705882353E-2</c:v>
                </c:pt>
                <c:pt idx="1">
                  <c:v>5.9125964010282778E-2</c:v>
                </c:pt>
                <c:pt idx="2">
                  <c:v>0.19794344473007713</c:v>
                </c:pt>
                <c:pt idx="3">
                  <c:v>0.44974874371859297</c:v>
                </c:pt>
                <c:pt idx="4">
                  <c:v>0.43596059113300495</c:v>
                </c:pt>
                <c:pt idx="5">
                  <c:v>0.44471153846153844</c:v>
                </c:pt>
                <c:pt idx="6">
                  <c:v>0.50645994832041341</c:v>
                </c:pt>
                <c:pt idx="7">
                  <c:v>0.55188679245283023</c:v>
                </c:pt>
                <c:pt idx="8">
                  <c:v>0.54755784061696655</c:v>
                </c:pt>
                <c:pt idx="9">
                  <c:v>0.53589743589743588</c:v>
                </c:pt>
                <c:pt idx="10">
                  <c:v>0.63592233009708743</c:v>
                </c:pt>
                <c:pt idx="11">
                  <c:v>0.630541871921182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026-4FF8-9B74-4D4161884DF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ČR</c:v>
                </c:pt>
              </c:strCache>
            </c:strRef>
          </c:tx>
          <c:spPr>
            <a:solidFill>
              <a:srgbClr val="2E5980"/>
            </a:solidFill>
            <a:ln>
              <a:noFill/>
            </a:ln>
            <a:effectLst/>
          </c:spPr>
          <c:invertIfNegative val="0"/>
          <c:dLbls>
            <c:numFmt formatCode="0.0\ %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Sheet1!$C$2:$C$13</c:f>
              <c:numCache>
                <c:formatCode>0.0%</c:formatCode>
                <c:ptCount val="12"/>
                <c:pt idx="0">
                  <c:v>8.056655498020103E-2</c:v>
                </c:pt>
                <c:pt idx="1">
                  <c:v>0.15048320294523701</c:v>
                </c:pt>
                <c:pt idx="2">
                  <c:v>0.21163939487496142</c:v>
                </c:pt>
                <c:pt idx="3">
                  <c:v>0.25712121212121214</c:v>
                </c:pt>
                <c:pt idx="4">
                  <c:v>0.30007251631617116</c:v>
                </c:pt>
                <c:pt idx="5">
                  <c:v>0.3163614708947447</c:v>
                </c:pt>
                <c:pt idx="6">
                  <c:v>0.32639210242171834</c:v>
                </c:pt>
                <c:pt idx="7">
                  <c:v>0.39089848308051339</c:v>
                </c:pt>
                <c:pt idx="8">
                  <c:v>0.40413354531001588</c:v>
                </c:pt>
                <c:pt idx="9">
                  <c:v>0.43252372526942257</c:v>
                </c:pt>
                <c:pt idx="10">
                  <c:v>0.44466343238326256</c:v>
                </c:pt>
                <c:pt idx="11">
                  <c:v>0.493000150534397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0F-4F58-A914-5187636E9B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axId val="454197832"/>
        <c:axId val="573333936"/>
      </c:barChart>
      <c:catAx>
        <c:axId val="45419783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/>
                  <a:t>Rok diagnózy</a:t>
                </a:r>
                <a:r>
                  <a:rPr lang="cs-CZ" baseline="0" dirty="0"/>
                  <a:t> dle NOR</a:t>
                </a:r>
                <a:endParaRPr lang="cs-CZ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73333936"/>
        <c:crosses val="autoZero"/>
        <c:auto val="1"/>
        <c:lblAlgn val="ctr"/>
        <c:lblOffset val="100"/>
        <c:noMultiLvlLbl val="0"/>
      </c:catAx>
      <c:valAx>
        <c:axId val="573333936"/>
        <c:scaling>
          <c:orientation val="minMax"/>
          <c:min val="0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541978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cs-CZ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1349693251533742E-2"/>
          <c:y val="0.10052910052910052"/>
          <c:w val="0.81288343558282206"/>
          <c:h val="0.87830687830687826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inc 5 let</c:v>
                </c:pt>
              </c:strCache>
            </c:strRef>
          </c:tx>
          <c:spPr>
            <a:solidFill>
              <a:srgbClr val="CC9900">
                <a:alpha val="29804"/>
              </a:srgbClr>
            </a:solidFill>
            <a:ln w="25399">
              <a:noFill/>
            </a:ln>
          </c:spPr>
          <c:invertIfNegative val="0"/>
          <c:dPt>
            <c:idx val="7"/>
            <c:invertIfNegative val="0"/>
            <c:bubble3D val="0"/>
            <c:spPr>
              <a:solidFill>
                <a:srgbClr val="CC9900">
                  <a:alpha val="30000"/>
                </a:srgbClr>
              </a:solidFill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1-320E-4DB5-A083-7C86FE26AF51}"/>
              </c:ext>
            </c:extLst>
          </c:dPt>
          <c:dLbls>
            <c:numFmt formatCode="0.0" sourceLinked="0"/>
            <c:spPr>
              <a:noFill/>
              <a:ln w="253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 i="0" u="none" strike="noStrike" baseline="0">
                    <a:solidFill>
                      <a:schemeClr val="tx1"/>
                    </a:solidFill>
                    <a:latin typeface="+mn-lt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Písek</c:v>
                </c:pt>
                <c:pt idx="1">
                  <c:v>Česká republika</c:v>
                </c:pt>
                <c:pt idx="2">
                  <c:v>Český Krumlov</c:v>
                </c:pt>
                <c:pt idx="3">
                  <c:v>Prachatice</c:v>
                </c:pt>
                <c:pt idx="4">
                  <c:v>Tábor</c:v>
                </c:pt>
                <c:pt idx="5">
                  <c:v>Jihočeský kraj</c:v>
                </c:pt>
                <c:pt idx="6">
                  <c:v>Jindřichův Hradec</c:v>
                </c:pt>
                <c:pt idx="7">
                  <c:v>České Budějovice</c:v>
                </c:pt>
                <c:pt idx="8">
                  <c:v>Strakonice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48.17179999999999</c:v>
                </c:pt>
                <c:pt idx="1">
                  <c:v>141.5523</c:v>
                </c:pt>
                <c:pt idx="2">
                  <c:v>141.2216</c:v>
                </c:pt>
                <c:pt idx="3">
                  <c:v>139.02529999999999</c:v>
                </c:pt>
                <c:pt idx="4">
                  <c:v>136.49940000000001</c:v>
                </c:pt>
                <c:pt idx="5">
                  <c:v>135.64590000000001</c:v>
                </c:pt>
                <c:pt idx="6">
                  <c:v>133.4074</c:v>
                </c:pt>
                <c:pt idx="7">
                  <c:v>132.33519999999999</c:v>
                </c:pt>
                <c:pt idx="8">
                  <c:v>126.73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20E-4DB5-A083-7C86FE26AF51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rgbClr val="CC9900"/>
            </a:solidFill>
            <a:ln w="25399">
              <a:noFill/>
            </a:ln>
          </c:spPr>
          <c:invertIfNegative val="0"/>
          <c:cat>
            <c:strRef>
              <c:f>Sheet1!$A$2:$A$10</c:f>
              <c:strCache>
                <c:ptCount val="9"/>
                <c:pt idx="0">
                  <c:v>Písek</c:v>
                </c:pt>
                <c:pt idx="1">
                  <c:v>Česká republika</c:v>
                </c:pt>
                <c:pt idx="2">
                  <c:v>Český Krumlov</c:v>
                </c:pt>
                <c:pt idx="3">
                  <c:v>Prachatice</c:v>
                </c:pt>
                <c:pt idx="4">
                  <c:v>Tábor</c:v>
                </c:pt>
                <c:pt idx="5">
                  <c:v>Jihočeský kraj</c:v>
                </c:pt>
                <c:pt idx="6">
                  <c:v>Jindřichův Hradec</c:v>
                </c:pt>
                <c:pt idx="7">
                  <c:v>České Budějovice</c:v>
                </c:pt>
                <c:pt idx="8">
                  <c:v>Strakonice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1">
                  <c:v>141.55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20E-4DB5-A083-7C86FE26AF51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</c:strCache>
            </c:strRef>
          </c:tx>
          <c:spPr>
            <a:solidFill>
              <a:srgbClr val="C00000"/>
            </a:solidFill>
            <a:ln w="25399">
              <a:noFill/>
            </a:ln>
          </c:spPr>
          <c:invertIfNegative val="0"/>
          <c:cat>
            <c:strRef>
              <c:f>Sheet1!$A$2:$A$10</c:f>
              <c:strCache>
                <c:ptCount val="9"/>
                <c:pt idx="0">
                  <c:v>Písek</c:v>
                </c:pt>
                <c:pt idx="1">
                  <c:v>Česká republika</c:v>
                </c:pt>
                <c:pt idx="2">
                  <c:v>Český Krumlov</c:v>
                </c:pt>
                <c:pt idx="3">
                  <c:v>Prachatice</c:v>
                </c:pt>
                <c:pt idx="4">
                  <c:v>Tábor</c:v>
                </c:pt>
                <c:pt idx="5">
                  <c:v>Jihočeský kraj</c:v>
                </c:pt>
                <c:pt idx="6">
                  <c:v>Jindřichův Hradec</c:v>
                </c:pt>
                <c:pt idx="7">
                  <c:v>České Budějovice</c:v>
                </c:pt>
                <c:pt idx="8">
                  <c:v>Strakonice</c:v>
                </c:pt>
              </c:strCache>
            </c:strRef>
          </c:cat>
          <c:val>
            <c:numRef>
              <c:f>Sheet1!$D$2:$D$10</c:f>
              <c:numCache>
                <c:formatCode>General</c:formatCode>
                <c:ptCount val="9"/>
                <c:pt idx="5">
                  <c:v>135.6459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20E-4DB5-A083-7C86FE26AF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402645200"/>
        <c:axId val="402644808"/>
      </c:barChart>
      <c:catAx>
        <c:axId val="40264520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12700">
            <a:solidFill>
              <a:srgbClr val="000000"/>
            </a:solidFill>
            <a:prstDash val="solid"/>
          </a:ln>
        </c:spPr>
        <c:crossAx val="40264480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402644808"/>
        <c:scaling>
          <c:orientation val="minMax"/>
          <c:max val="200"/>
          <c:min val="0"/>
        </c:scaling>
        <c:delete val="0"/>
        <c:axPos val="t"/>
        <c:numFmt formatCode="0" sourceLinked="0"/>
        <c:majorTickMark val="out"/>
        <c:minorTickMark val="none"/>
        <c:tickLblPos val="nextTo"/>
        <c:spPr>
          <a:ln w="127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cs-CZ"/>
          </a:p>
        </c:txPr>
        <c:crossAx val="402645200"/>
        <c:crosses val="autoZero"/>
        <c:crossBetween val="between"/>
        <c:majorUnit val="50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5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2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4832777777777778"/>
          <c:y val="0.10215963945420746"/>
          <c:w val="0.83483240740740727"/>
          <c:h val="0.5687955889251291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Zařazení pacienti podle věku</c:v>
                </c:pt>
              </c:strCache>
            </c:strRef>
          </c:tx>
          <c:spPr>
            <a:solidFill>
              <a:srgbClr val="2C2F7A"/>
            </a:solidFill>
            <a:ln>
              <a:solidFill>
                <a:srgbClr val="2C2F7A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2C2F7A"/>
              </a:solidFill>
              <a:ln>
                <a:solidFill>
                  <a:srgbClr val="2C2F7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0FC-4AC8-95C9-42F69E1EFCF2}"/>
              </c:ext>
            </c:extLst>
          </c:dPt>
          <c:dPt>
            <c:idx val="2"/>
            <c:invertIfNegative val="0"/>
            <c:bubble3D val="0"/>
            <c:spPr>
              <a:solidFill>
                <a:srgbClr val="2C2F7A"/>
              </a:solidFill>
              <a:ln>
                <a:solidFill>
                  <a:srgbClr val="2C2F7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0FC-4AC8-95C9-42F69E1EFCF2}"/>
              </c:ext>
            </c:extLst>
          </c:dPt>
          <c:dPt>
            <c:idx val="3"/>
            <c:invertIfNegative val="0"/>
            <c:bubble3D val="0"/>
            <c:spPr>
              <a:solidFill>
                <a:srgbClr val="2C2F7A"/>
              </a:solidFill>
              <a:ln>
                <a:solidFill>
                  <a:srgbClr val="2C2F7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0FC-4AC8-95C9-42F69E1EFCF2}"/>
              </c:ext>
            </c:extLst>
          </c:dPt>
          <c:dPt>
            <c:idx val="8"/>
            <c:invertIfNegative val="0"/>
            <c:bubble3D val="0"/>
            <c:spPr>
              <a:solidFill>
                <a:srgbClr val="DA2B47"/>
              </a:solidFill>
              <a:ln>
                <a:solidFill>
                  <a:srgbClr val="DA2B47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0FC-4AC8-95C9-42F69E1EFCF2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4E2D0043-B835-4D65-9D4E-F04064350444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0FC-4AC8-95C9-42F69E1EFCF2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9CFE0BF4-11E6-47F7-9B5F-35579169F7AB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80FC-4AC8-95C9-42F69E1EFCF2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C72D6AE-E762-472E-B15D-D2A071D3765F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0FC-4AC8-95C9-42F69E1EFCF2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884A31B6-095B-4B33-B07D-53F5294A9CE6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0FC-4AC8-95C9-42F69E1EFCF2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DD3718B7-4213-4EFD-A842-E294D6594632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80FC-4AC8-95C9-42F69E1EFCF2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F07B8B03-38CE-45DD-9D3B-B4875A1627F1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80FC-4AC8-95C9-42F69E1EFCF2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37E48E88-43FB-4D91-B8F5-CDCCE168CF09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80FC-4AC8-95C9-42F69E1EFCF2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C6AF63F9-1C0E-45D4-BCC2-3418EC97635C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80FC-4AC8-95C9-42F69E1EFCF2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A097BCE8-5B0F-4BCC-A6AB-32F5CBDABAF0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0FC-4AC8-95C9-42F69E1EFCF2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914BCD28-C7B5-44EE-A271-0160E3DE4489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80FC-4AC8-95C9-42F69E1EFCF2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8104F912-3E9A-4898-8486-57C6CA1565A2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80FC-4AC8-95C9-42F69E1EFCF2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CC820DFD-487F-4F5E-A759-46FD18B93D18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80FC-4AC8-95C9-42F69E1EFCF2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7DE926CB-60D7-4A46-AF71-0A1BC45011C2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80FC-4AC8-95C9-42F69E1EFCF2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07A9A3A9-F21D-4C91-BB37-7769C5DB7D13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80FC-4AC8-95C9-42F69E1EFCF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accent6">
                        <a:lumMod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5</c:f>
              <c:strCache>
                <c:ptCount val="14"/>
                <c:pt idx="0">
                  <c:v>Hlavní město Praha</c:v>
                </c:pt>
                <c:pt idx="1">
                  <c:v>Královéhradecký kraj</c:v>
                </c:pt>
                <c:pt idx="2">
                  <c:v>Ústecký kraj</c:v>
                </c:pt>
                <c:pt idx="3">
                  <c:v>Vysočina</c:v>
                </c:pt>
                <c:pt idx="4">
                  <c:v>Karlovarský kraj</c:v>
                </c:pt>
                <c:pt idx="5">
                  <c:v>Středočeský kraj</c:v>
                </c:pt>
                <c:pt idx="6">
                  <c:v>Jihomoravský kraj</c:v>
                </c:pt>
                <c:pt idx="7">
                  <c:v>Pardubický kraj</c:v>
                </c:pt>
                <c:pt idx="8">
                  <c:v>Jihočeský kraj</c:v>
                </c:pt>
                <c:pt idx="9">
                  <c:v>Olomoucký kraj</c:v>
                </c:pt>
                <c:pt idx="10">
                  <c:v>Zlínský kraj</c:v>
                </c:pt>
                <c:pt idx="11">
                  <c:v>Moravskoslezský kraj</c:v>
                </c:pt>
                <c:pt idx="12">
                  <c:v>Liberecký kraj</c:v>
                </c:pt>
                <c:pt idx="13">
                  <c:v>Plzeňský kraj</c:v>
                </c:pt>
              </c:strCache>
            </c:strRef>
          </c:cat>
          <c:val>
            <c:numRef>
              <c:f>List1!$B$2:$B$15</c:f>
              <c:numCache>
                <c:formatCode>0.0%</c:formatCode>
                <c:ptCount val="14"/>
                <c:pt idx="0">
                  <c:v>0.56802721088435371</c:v>
                </c:pt>
                <c:pt idx="1">
                  <c:v>0.5061224489795918</c:v>
                </c:pt>
                <c:pt idx="2">
                  <c:v>0.50335570469798663</c:v>
                </c:pt>
                <c:pt idx="3">
                  <c:v>0.47004608294930877</c:v>
                </c:pt>
                <c:pt idx="4">
                  <c:v>0.46296296296296297</c:v>
                </c:pt>
                <c:pt idx="5">
                  <c:v>0.45070422535211269</c:v>
                </c:pt>
                <c:pt idx="6">
                  <c:v>0.44015444015444016</c:v>
                </c:pt>
                <c:pt idx="7">
                  <c:v>0.42857142857142855</c:v>
                </c:pt>
                <c:pt idx="8">
                  <c:v>0.41818181818181815</c:v>
                </c:pt>
                <c:pt idx="9">
                  <c:v>0.39350180505415161</c:v>
                </c:pt>
                <c:pt idx="10">
                  <c:v>0.38976377952755903</c:v>
                </c:pt>
                <c:pt idx="11">
                  <c:v>0.38174273858921159</c:v>
                </c:pt>
                <c:pt idx="12">
                  <c:v>0.37696335078534032</c:v>
                </c:pt>
                <c:pt idx="13">
                  <c:v>0.3662551440329218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List1!$C$2:$C$15</c15:f>
                <c15:dlblRangeCache>
                  <c:ptCount val="14"/>
                </c15:dlblRangeCache>
              </c15:datalabelsRange>
            </c:ext>
            <c:ext xmlns:c16="http://schemas.microsoft.com/office/drawing/2014/chart" uri="{C3380CC4-5D6E-409C-BE32-E72D297353CC}">
              <c16:uniqueId val="{00000012-80FC-4AC8-95C9-42F69E1EFC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5"/>
        <c:axId val="721060200"/>
        <c:axId val="721057848"/>
      </c:barChart>
      <c:catAx>
        <c:axId val="7210602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6">
                <a:lumMod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21057848"/>
        <c:crosses val="autoZero"/>
        <c:auto val="1"/>
        <c:lblAlgn val="ctr"/>
        <c:lblOffset val="100"/>
        <c:noMultiLvlLbl val="0"/>
      </c:catAx>
      <c:valAx>
        <c:axId val="721057848"/>
        <c:scaling>
          <c:orientation val="minMax"/>
          <c:max val="0.70000000000000007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bg2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100" b="1" dirty="0">
                    <a:solidFill>
                      <a:schemeClr val="bg2">
                        <a:lumMod val="10000"/>
                      </a:schemeClr>
                    </a:solidFill>
                    <a:latin typeface="Arial (Základní text)"/>
                  </a:rPr>
                  <a:t>Podíl</a:t>
                </a:r>
                <a:r>
                  <a:rPr lang="cs-CZ" sz="1100" b="1" baseline="0" dirty="0">
                    <a:solidFill>
                      <a:schemeClr val="bg2">
                        <a:lumMod val="10000"/>
                      </a:schemeClr>
                    </a:solidFill>
                    <a:latin typeface="Arial (Základní text)"/>
                  </a:rPr>
                  <a:t> zapojených IČZ v rámci kraje</a:t>
                </a:r>
                <a:endParaRPr lang="cs-CZ" sz="1100" b="1" dirty="0">
                  <a:solidFill>
                    <a:schemeClr val="bg2">
                      <a:lumMod val="10000"/>
                    </a:schemeClr>
                  </a:solidFill>
                  <a:latin typeface="Arial (Základní text)"/>
                </a:endParaRPr>
              </a:p>
            </c:rich>
          </c:tx>
          <c:layout>
            <c:manualLayout>
              <c:xMode val="edge"/>
              <c:yMode val="edge"/>
              <c:x val="3.7388546958492544E-2"/>
              <c:y val="6.2069225089956291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bg2">
                      <a:lumMod val="10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0%" sourceLinked="0"/>
        <c:majorTickMark val="out"/>
        <c:minorTickMark val="none"/>
        <c:tickLblPos val="nextTo"/>
        <c:spPr>
          <a:noFill/>
          <a:ln>
            <a:solidFill>
              <a:schemeClr val="accent6">
                <a:lumMod val="2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21060200"/>
        <c:crosses val="autoZero"/>
        <c:crossBetween val="between"/>
        <c:majorUnit val="5.000000000000001E-2"/>
        <c:minorUnit val="1.0000000000000002E-3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accent6">
              <a:lumMod val="25000"/>
            </a:schemeClr>
          </a:solidFill>
        </a:defRPr>
      </a:pPr>
      <a:endParaRPr lang="cs-CZ"/>
    </a:p>
  </c:txPr>
  <c:externalData r:id="rId4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1" i="0" u="none" strike="noStrike" kern="1200" spc="0" baseline="0">
                <a:solidFill>
                  <a:schemeClr val="accent6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sz="1400" dirty="0">
                <a:solidFill>
                  <a:schemeClr val="accent6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íl</a:t>
            </a:r>
            <a:r>
              <a:rPr lang="cs-CZ" sz="1400" baseline="0" dirty="0">
                <a:solidFill>
                  <a:schemeClr val="accent6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slovených osob v jednotlivých krajích</a:t>
            </a:r>
            <a:endParaRPr lang="en-US" sz="1400" dirty="0">
              <a:solidFill>
                <a:schemeClr val="accent6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24370324074074073"/>
          <c:y val="2.450426965010044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1" i="0" u="none" strike="noStrike" kern="1200" spc="0" baseline="0">
              <a:solidFill>
                <a:schemeClr val="accent6">
                  <a:lumMod val="10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14832777777777778"/>
          <c:y val="0.10215963945420746"/>
          <c:w val="0.83483240740740727"/>
          <c:h val="0.5292391252641808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Zařazení pacienti podle věku</c:v>
                </c:pt>
              </c:strCache>
            </c:strRef>
          </c:tx>
          <c:spPr>
            <a:solidFill>
              <a:srgbClr val="2C2F7A"/>
            </a:solidFill>
            <a:ln>
              <a:solidFill>
                <a:srgbClr val="2C2F7A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2C2F7A"/>
              </a:solidFill>
              <a:ln>
                <a:solidFill>
                  <a:srgbClr val="2C2F7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AF0-4FAA-9B77-2AFEEB415B5B}"/>
              </c:ext>
            </c:extLst>
          </c:dPt>
          <c:dPt>
            <c:idx val="2"/>
            <c:invertIfNegative val="0"/>
            <c:bubble3D val="0"/>
            <c:spPr>
              <a:solidFill>
                <a:srgbClr val="DA2B47"/>
              </a:solidFill>
              <a:ln>
                <a:solidFill>
                  <a:srgbClr val="DA2B47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AF0-4FAA-9B77-2AFEEB415B5B}"/>
              </c:ext>
            </c:extLst>
          </c:dPt>
          <c:dPt>
            <c:idx val="3"/>
            <c:invertIfNegative val="0"/>
            <c:bubble3D val="0"/>
            <c:spPr>
              <a:solidFill>
                <a:srgbClr val="2C2F7A"/>
              </a:solidFill>
              <a:ln>
                <a:solidFill>
                  <a:srgbClr val="2C2F7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AF0-4FAA-9B77-2AFEEB415B5B}"/>
              </c:ext>
            </c:extLst>
          </c:dPt>
          <c:dPt>
            <c:idx val="8"/>
            <c:invertIfNegative val="0"/>
            <c:bubble3D val="0"/>
            <c:spPr>
              <a:solidFill>
                <a:srgbClr val="2C2F7A"/>
              </a:solidFill>
              <a:ln>
                <a:solidFill>
                  <a:srgbClr val="2C2F7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AF0-4FAA-9B77-2AFEEB415B5B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4BD5234C-7936-48D1-BBD6-9CEB8ACC5278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EAF0-4FAA-9B77-2AFEEB415B5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665B2622-F63B-4342-A355-7E07A81EC48B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EAF0-4FAA-9B77-2AFEEB415B5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536F0225-31B7-48A0-946B-D9F841CB6880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EAF0-4FAA-9B77-2AFEEB415B5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3FF2671E-C05D-40E5-850F-7566C8FC7F8A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EAF0-4FAA-9B77-2AFEEB415B5B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3D84D861-9E2D-41B9-8480-8653A35EC837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EAF0-4FAA-9B77-2AFEEB415B5B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8DBFF25A-6B2B-48E4-978F-1DA1D8AF3F8C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EAF0-4FAA-9B77-2AFEEB415B5B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22D47473-5F36-4E85-9245-EE4BA16A1F9D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EAF0-4FAA-9B77-2AFEEB415B5B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780C0388-0207-4787-8CAB-CB92CDCE272D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EAF0-4FAA-9B77-2AFEEB415B5B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AA094980-72C5-477B-9559-CD7EFB357AF6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EAF0-4FAA-9B77-2AFEEB415B5B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0855BF0B-9C7E-4B7C-BA26-44172BEED90C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EAF0-4FAA-9B77-2AFEEB415B5B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A2F2C553-1091-4E9C-886F-1954BCBF7EAF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EAF0-4FAA-9B77-2AFEEB415B5B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6F9622FD-9473-43E5-81E1-CAB56E7161F7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EAF0-4FAA-9B77-2AFEEB415B5B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84BECA3A-26F4-4EF6-B78E-2B941C9CAABD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EAF0-4FAA-9B77-2AFEEB415B5B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7F73BC98-90C2-4ECD-A1C5-E52147DCD22B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EAF0-4FAA-9B77-2AFEEB415B5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accent6">
                        <a:lumMod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5</c:f>
              <c:strCache>
                <c:ptCount val="14"/>
                <c:pt idx="0">
                  <c:v>Ústecký kraj</c:v>
                </c:pt>
                <c:pt idx="1">
                  <c:v>Hlavní město Praha</c:v>
                </c:pt>
                <c:pt idx="2">
                  <c:v>Jihočeský kraj</c:v>
                </c:pt>
                <c:pt idx="3">
                  <c:v>Královéhradecký kraj</c:v>
                </c:pt>
                <c:pt idx="4">
                  <c:v>Středočeský kraj</c:v>
                </c:pt>
                <c:pt idx="5">
                  <c:v>Moravskoslezský kraj</c:v>
                </c:pt>
                <c:pt idx="6">
                  <c:v>Karlovarský kraj</c:v>
                </c:pt>
                <c:pt idx="7">
                  <c:v>Kraj Vysočina</c:v>
                </c:pt>
                <c:pt idx="8">
                  <c:v>Jihomoravský kraj</c:v>
                </c:pt>
                <c:pt idx="9">
                  <c:v>Pardubický kraj</c:v>
                </c:pt>
                <c:pt idx="10">
                  <c:v>Liberecký kraj</c:v>
                </c:pt>
                <c:pt idx="11">
                  <c:v>Olomoucký kraj</c:v>
                </c:pt>
                <c:pt idx="12">
                  <c:v>Plzeňský kraj</c:v>
                </c:pt>
                <c:pt idx="13">
                  <c:v>Zlínský kraj</c:v>
                </c:pt>
              </c:strCache>
            </c:strRef>
          </c:cat>
          <c:val>
            <c:numRef>
              <c:f>List1!$B$2:$B$15</c:f>
              <c:numCache>
                <c:formatCode>0.0%</c:formatCode>
                <c:ptCount val="14"/>
                <c:pt idx="0">
                  <c:v>1.8418059552075306E-2</c:v>
                </c:pt>
                <c:pt idx="1">
                  <c:v>1.6969536021852118E-2</c:v>
                </c:pt>
                <c:pt idx="2">
                  <c:v>1.530566482580116E-2</c:v>
                </c:pt>
                <c:pt idx="3">
                  <c:v>1.473566484297071E-2</c:v>
                </c:pt>
                <c:pt idx="4">
                  <c:v>1.3668954411257237E-2</c:v>
                </c:pt>
                <c:pt idx="5">
                  <c:v>1.2969193529899604E-2</c:v>
                </c:pt>
                <c:pt idx="6">
                  <c:v>1.2561261300104917E-2</c:v>
                </c:pt>
                <c:pt idx="7">
                  <c:v>1.1911423774882085E-2</c:v>
                </c:pt>
                <c:pt idx="8">
                  <c:v>1.1708641383840913E-2</c:v>
                </c:pt>
                <c:pt idx="9">
                  <c:v>1.0880252220335264E-2</c:v>
                </c:pt>
                <c:pt idx="10">
                  <c:v>1.0067405328781786E-2</c:v>
                </c:pt>
                <c:pt idx="11">
                  <c:v>7.9931805514573285E-3</c:v>
                </c:pt>
                <c:pt idx="12">
                  <c:v>7.7963520324908437E-3</c:v>
                </c:pt>
                <c:pt idx="13">
                  <c:v>6.5131265081483222E-3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List1!$C$2:$C$16</c15:f>
                <c15:dlblRangeCache>
                  <c:ptCount val="15"/>
                </c15:dlblRangeCache>
              </c15:datalabelsRange>
            </c:ext>
            <c:ext xmlns:c16="http://schemas.microsoft.com/office/drawing/2014/chart" uri="{C3380CC4-5D6E-409C-BE32-E72D297353CC}">
              <c16:uniqueId val="{00000012-EAF0-4FAA-9B77-2AFEEB415B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5"/>
        <c:axId val="721060200"/>
        <c:axId val="721057848"/>
      </c:barChart>
      <c:catAx>
        <c:axId val="7210602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6">
                <a:lumMod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21057848"/>
        <c:crosses val="autoZero"/>
        <c:auto val="1"/>
        <c:lblAlgn val="ctr"/>
        <c:lblOffset val="100"/>
        <c:noMultiLvlLbl val="0"/>
      </c:catAx>
      <c:valAx>
        <c:axId val="721057848"/>
        <c:scaling>
          <c:orientation val="minMax"/>
          <c:max val="2.0000000000000004E-2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2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100" b="1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odíl</a:t>
                </a:r>
                <a:r>
                  <a:rPr lang="cs-CZ" sz="1100" b="1" baseline="0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osob v rámci kraje bydliště</a:t>
                </a:r>
                <a:endParaRPr lang="cs-CZ" sz="1100" b="1" dirty="0">
                  <a:solidFill>
                    <a:schemeClr val="bg2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c:rich>
          </c:tx>
          <c:layout>
            <c:manualLayout>
              <c:xMode val="edge"/>
              <c:yMode val="edge"/>
              <c:x val="3.3960396361456986E-2"/>
              <c:y val="6.0694198102202043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1" i="0" u="none" strike="noStrike" kern="1200" baseline="0">
                  <a:solidFill>
                    <a:schemeClr val="bg2">
                      <a:lumMod val="10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0.0%" sourceLinked="0"/>
        <c:majorTickMark val="out"/>
        <c:minorTickMark val="none"/>
        <c:tickLblPos val="nextTo"/>
        <c:spPr>
          <a:noFill/>
          <a:ln>
            <a:solidFill>
              <a:schemeClr val="accent6">
                <a:lumMod val="2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21060200"/>
        <c:crosses val="autoZero"/>
        <c:crossBetween val="between"/>
        <c:majorUnit val="2.0000000000000005E-3"/>
        <c:minorUnit val="1.0000000000000002E-3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accent6">
              <a:lumMod val="25000"/>
            </a:schemeClr>
          </a:solidFill>
        </a:defRPr>
      </a:pPr>
      <a:endParaRPr lang="cs-CZ"/>
    </a:p>
  </c:txPr>
  <c:externalData r:id="rId4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1" i="0" u="none" strike="noStrike" kern="1200" spc="0" baseline="0">
                <a:solidFill>
                  <a:schemeClr val="accent6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sz="1400" b="1" i="0" u="none" strike="noStrike" kern="1200" spc="0" baseline="0" dirty="0">
                <a:solidFill>
                  <a:schemeClr val="accent6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val mezi oslovením u praktického lékaře a návštěvou pneumologa</a:t>
            </a:r>
            <a:endParaRPr lang="en-US" sz="1400" b="1" i="0" u="none" strike="noStrike" kern="1200" spc="0" baseline="0" dirty="0">
              <a:solidFill>
                <a:schemeClr val="accent6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7.9149429636220583E-2"/>
          <c:y val="2.314362395437972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1" i="0" u="none" strike="noStrike" kern="1200" spc="0" baseline="0">
              <a:solidFill>
                <a:schemeClr val="accent6">
                  <a:lumMod val="10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1048399661514189"/>
          <c:y val="0.1688928737228296"/>
          <c:w val="0.69548031709262337"/>
          <c:h val="0.4408106373198225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edián čekací doby</c:v>
                </c:pt>
              </c:strCache>
            </c:strRef>
          </c:tx>
          <c:spPr>
            <a:solidFill>
              <a:srgbClr val="2C2F7A"/>
            </a:solidFill>
            <a:ln>
              <a:solidFill>
                <a:srgbClr val="2C2F7A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2C2F7A"/>
              </a:solidFill>
              <a:ln>
                <a:solidFill>
                  <a:srgbClr val="2C2F7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941-4D28-912C-0B43AC76816E}"/>
              </c:ext>
            </c:extLst>
          </c:dPt>
          <c:dPt>
            <c:idx val="2"/>
            <c:invertIfNegative val="0"/>
            <c:bubble3D val="0"/>
            <c:spPr>
              <a:solidFill>
                <a:srgbClr val="2C2F7A"/>
              </a:solidFill>
              <a:ln>
                <a:solidFill>
                  <a:srgbClr val="2C2F7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941-4D28-912C-0B43AC76816E}"/>
              </c:ext>
            </c:extLst>
          </c:dPt>
          <c:dPt>
            <c:idx val="3"/>
            <c:invertIfNegative val="0"/>
            <c:bubble3D val="0"/>
            <c:spPr>
              <a:solidFill>
                <a:srgbClr val="2C2F7A"/>
              </a:solidFill>
              <a:ln>
                <a:solidFill>
                  <a:srgbClr val="2C2F7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941-4D28-912C-0B43AC76816E}"/>
              </c:ext>
            </c:extLst>
          </c:dPt>
          <c:dPt>
            <c:idx val="8"/>
            <c:invertIfNegative val="0"/>
            <c:bubble3D val="0"/>
            <c:spPr>
              <a:solidFill>
                <a:srgbClr val="2C2F7A"/>
              </a:solidFill>
              <a:ln>
                <a:solidFill>
                  <a:srgbClr val="2C2F7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941-4D28-912C-0B43AC76816E}"/>
              </c:ext>
            </c:extLst>
          </c:dPt>
          <c:dPt>
            <c:idx val="10"/>
            <c:invertIfNegative val="0"/>
            <c:bubble3D val="0"/>
            <c:spPr>
              <a:solidFill>
                <a:srgbClr val="DA2B47">
                  <a:lumMod val="60000"/>
                  <a:lumOff val="40000"/>
                </a:srgbClr>
              </a:solidFill>
              <a:ln>
                <a:solidFill>
                  <a:srgbClr val="2C2F7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501E-483F-957F-CA8FFB328052}"/>
              </c:ext>
            </c:extLst>
          </c:dPt>
          <c:cat>
            <c:strRef>
              <c:f>List1!$A$2:$A$15</c:f>
              <c:strCache>
                <c:ptCount val="14"/>
                <c:pt idx="0">
                  <c:v>Olomoucký kraj</c:v>
                </c:pt>
                <c:pt idx="1">
                  <c:v>Ústecký kraj</c:v>
                </c:pt>
                <c:pt idx="2">
                  <c:v>Moravskoslezský kraj</c:v>
                </c:pt>
                <c:pt idx="3">
                  <c:v>Plzeňský kraj</c:v>
                </c:pt>
                <c:pt idx="4">
                  <c:v>Zlínský kraj</c:v>
                </c:pt>
                <c:pt idx="5">
                  <c:v>Královéhradecký kraj</c:v>
                </c:pt>
                <c:pt idx="6">
                  <c:v>Liberecký kraj</c:v>
                </c:pt>
                <c:pt idx="7">
                  <c:v>Hlavní město Praha</c:v>
                </c:pt>
                <c:pt idx="8">
                  <c:v>Jihomoravský kraj</c:v>
                </c:pt>
                <c:pt idx="9">
                  <c:v>Karlovarský kraj</c:v>
                </c:pt>
                <c:pt idx="10">
                  <c:v>Jihočeský kraj</c:v>
                </c:pt>
                <c:pt idx="11">
                  <c:v>Kraj Vysočina</c:v>
                </c:pt>
                <c:pt idx="12">
                  <c:v>Středočeský kraj</c:v>
                </c:pt>
                <c:pt idx="13">
                  <c:v>Pardubický kraj</c:v>
                </c:pt>
              </c:strCache>
            </c:strRef>
          </c:cat>
          <c:val>
            <c:numRef>
              <c:f>List1!$B$2:$B$15</c:f>
              <c:numCache>
                <c:formatCode>General</c:formatCode>
                <c:ptCount val="14"/>
                <c:pt idx="0">
                  <c:v>41</c:v>
                </c:pt>
                <c:pt idx="1">
                  <c:v>52</c:v>
                </c:pt>
                <c:pt idx="2">
                  <c:v>55</c:v>
                </c:pt>
                <c:pt idx="3">
                  <c:v>55</c:v>
                </c:pt>
                <c:pt idx="4">
                  <c:v>57</c:v>
                </c:pt>
                <c:pt idx="5">
                  <c:v>57</c:v>
                </c:pt>
                <c:pt idx="6">
                  <c:v>62</c:v>
                </c:pt>
                <c:pt idx="7">
                  <c:v>64</c:v>
                </c:pt>
                <c:pt idx="8">
                  <c:v>65</c:v>
                </c:pt>
                <c:pt idx="9">
                  <c:v>68</c:v>
                </c:pt>
                <c:pt idx="10">
                  <c:v>68</c:v>
                </c:pt>
                <c:pt idx="11">
                  <c:v>71</c:v>
                </c:pt>
                <c:pt idx="12">
                  <c:v>76</c:v>
                </c:pt>
                <c:pt idx="13">
                  <c:v>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F941-4D28-912C-0B43AC7681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5"/>
        <c:axId val="721060200"/>
        <c:axId val="721057848"/>
      </c:barChart>
      <c:lineChart>
        <c:grouping val="stacked"/>
        <c:varyColors val="0"/>
        <c:ser>
          <c:idx val="1"/>
          <c:order val="1"/>
          <c:tx>
            <c:strRef>
              <c:f>List1!$C$1</c:f>
              <c:strCache>
                <c:ptCount val="1"/>
                <c:pt idx="0">
                  <c:v>Počet vyšetřených osob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DA2B47"/>
              </a:solidFill>
              <a:ln w="9525">
                <a:solidFill>
                  <a:srgbClr val="DA2B47"/>
                </a:solidFill>
              </a:ln>
              <a:effectLst/>
            </c:spPr>
          </c:marker>
          <c:dLbls>
            <c:dLbl>
              <c:idx val="1"/>
              <c:layout>
                <c:manualLayout>
                  <c:x val="-2.2722429827959623E-2"/>
                  <c:y val="-2.668859587862260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733-4F47-A2B2-B959FF1AB478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AE36-458C-B7C6-365B77325727}"/>
                </c:ext>
              </c:extLst>
            </c:dLbl>
            <c:dLbl>
              <c:idx val="10"/>
              <c:layout>
                <c:manualLayout>
                  <c:x val="-2.5139861219143852E-2"/>
                  <c:y val="-3.255255493307705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t" anchorCtr="0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772619A-78C2-4972-A045-9A551B3046BB}" type="VALUE">
                      <a:rPr lang="en-US" b="1">
                        <a:solidFill>
                          <a:schemeClr val="bg2">
                            <a:lumMod val="10000"/>
                          </a:schemeClr>
                        </a:solidFill>
                      </a:rPr>
                      <a:pPr>
                        <a:defRPr b="1">
                          <a:solidFill>
                            <a:schemeClr val="bg2">
                              <a:lumMod val="10000"/>
                            </a:schemeClr>
                          </a:solidFill>
                        </a:defRPr>
                      </a:pPr>
                      <a:t>[HODNOTA]</a:t>
                    </a:fld>
                    <a:endParaRPr lang="cs-C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7658-46CE-AC94-DF6CFB3C999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t" anchorCtr="0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5</c:f>
              <c:strCache>
                <c:ptCount val="14"/>
                <c:pt idx="0">
                  <c:v>Olomoucký kraj</c:v>
                </c:pt>
                <c:pt idx="1">
                  <c:v>Ústecký kraj</c:v>
                </c:pt>
                <c:pt idx="2">
                  <c:v>Moravskoslezský kraj</c:v>
                </c:pt>
                <c:pt idx="3">
                  <c:v>Plzeňský kraj</c:v>
                </c:pt>
                <c:pt idx="4">
                  <c:v>Zlínský kraj</c:v>
                </c:pt>
                <c:pt idx="5">
                  <c:v>Královéhradecký kraj</c:v>
                </c:pt>
                <c:pt idx="6">
                  <c:v>Liberecký kraj</c:v>
                </c:pt>
                <c:pt idx="7">
                  <c:v>Hlavní město Praha</c:v>
                </c:pt>
                <c:pt idx="8">
                  <c:v>Jihomoravský kraj</c:v>
                </c:pt>
                <c:pt idx="9">
                  <c:v>Karlovarský kraj</c:v>
                </c:pt>
                <c:pt idx="10">
                  <c:v>Jihočeský kraj</c:v>
                </c:pt>
                <c:pt idx="11">
                  <c:v>Kraj Vysočina</c:v>
                </c:pt>
                <c:pt idx="12">
                  <c:v>Středočeský kraj</c:v>
                </c:pt>
                <c:pt idx="13">
                  <c:v>Pardubický kraj</c:v>
                </c:pt>
              </c:strCache>
            </c:strRef>
          </c:cat>
          <c:val>
            <c:numRef>
              <c:f>List1!$C$2:$C$15</c:f>
              <c:numCache>
                <c:formatCode>General</c:formatCode>
                <c:ptCount val="14"/>
                <c:pt idx="0">
                  <c:v>200</c:v>
                </c:pt>
                <c:pt idx="1">
                  <c:v>507</c:v>
                </c:pt>
                <c:pt idx="2">
                  <c:v>602</c:v>
                </c:pt>
                <c:pt idx="3">
                  <c:v>144</c:v>
                </c:pt>
                <c:pt idx="4">
                  <c:v>130</c:v>
                </c:pt>
                <c:pt idx="5">
                  <c:v>244</c:v>
                </c:pt>
                <c:pt idx="6">
                  <c:v>193</c:v>
                </c:pt>
                <c:pt idx="7">
                  <c:v>1127</c:v>
                </c:pt>
                <c:pt idx="8">
                  <c:v>530</c:v>
                </c:pt>
                <c:pt idx="9">
                  <c:v>171</c:v>
                </c:pt>
                <c:pt idx="10">
                  <c:v>263</c:v>
                </c:pt>
                <c:pt idx="11">
                  <c:v>186</c:v>
                </c:pt>
                <c:pt idx="12">
                  <c:v>536</c:v>
                </c:pt>
                <c:pt idx="13">
                  <c:v>1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7658-46CE-AC94-DF6CFB3C99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60883023"/>
        <c:axId val="1776381167"/>
      </c:lineChart>
      <c:catAx>
        <c:axId val="7210602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6">
                <a:lumMod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21057848"/>
        <c:crosses val="autoZero"/>
        <c:auto val="1"/>
        <c:lblAlgn val="ctr"/>
        <c:lblOffset val="100"/>
        <c:noMultiLvlLbl val="0"/>
      </c:catAx>
      <c:valAx>
        <c:axId val="7210578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2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100" b="0" i="0" u="none" strike="noStrike" kern="1200" baseline="0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edián rozdílu doby mezi vyšetřeními (dny)</a:t>
                </a:r>
              </a:p>
            </c:rich>
          </c:tx>
          <c:layout>
            <c:manualLayout>
              <c:xMode val="edge"/>
              <c:yMode val="edge"/>
              <c:x val="3.4545615461729982E-2"/>
              <c:y val="7.0654112617420856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1" i="0" u="none" strike="noStrike" kern="1200" baseline="0">
                  <a:solidFill>
                    <a:schemeClr val="bg2">
                      <a:lumMod val="10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accent6">
                <a:lumMod val="2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21060200"/>
        <c:crosses val="autoZero"/>
        <c:crossBetween val="between"/>
      </c:valAx>
      <c:valAx>
        <c:axId val="1776381167"/>
        <c:scaling>
          <c:orientation val="minMax"/>
        </c:scaling>
        <c:delete val="0"/>
        <c:axPos val="r"/>
        <c:title>
          <c:tx>
            <c:rich>
              <a:bodyPr rot="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bg2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100" b="0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očet</a:t>
                </a:r>
                <a:r>
                  <a:rPr lang="cs-CZ" sz="1100" b="0" baseline="0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vyšetřených osob</a:t>
                </a:r>
                <a:endParaRPr lang="cs-CZ" sz="1100" b="0" dirty="0">
                  <a:solidFill>
                    <a:schemeClr val="bg2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c:rich>
          </c:tx>
          <c:layout>
            <c:manualLayout>
              <c:xMode val="edge"/>
              <c:yMode val="edge"/>
              <c:x val="0.85755372260299989"/>
              <c:y val="0.2162423137428023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5400000" spcFirstLastPara="1" vertOverflow="ellipsis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bg2">
                      <a:lumMod val="10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accent6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760883023"/>
        <c:crosses val="max"/>
        <c:crossBetween val="between"/>
      </c:valAx>
      <c:catAx>
        <c:axId val="176088302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776381167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accent6">
              <a:lumMod val="25000"/>
            </a:schemeClr>
          </a:solidFill>
        </a:defRPr>
      </a:pPr>
      <a:endParaRPr lang="cs-CZ"/>
    </a:p>
  </c:txPr>
  <c:externalData r:id="rId4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1" i="0" u="none" strike="noStrike" kern="1200" spc="0" baseline="0">
                <a:solidFill>
                  <a:schemeClr val="accent6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sz="1400" b="1" i="0" u="none" strike="noStrike" kern="1200" spc="0" baseline="0" dirty="0">
                <a:solidFill>
                  <a:schemeClr val="accent6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val mezi vyšetřením u pneumologa a následným LDCT</a:t>
            </a:r>
            <a:endParaRPr lang="en-US" sz="1400" b="1" i="0" u="none" strike="noStrike" kern="1200" spc="0" baseline="0" dirty="0">
              <a:solidFill>
                <a:schemeClr val="accent6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12632165153752881"/>
          <c:y val="2.314362395437972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1" i="0" u="none" strike="noStrike" kern="1200" spc="0" baseline="0">
              <a:solidFill>
                <a:schemeClr val="accent6">
                  <a:lumMod val="10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1048399661514189"/>
          <c:y val="0.1688928737228296"/>
          <c:w val="0.69548031709262337"/>
          <c:h val="0.4408106373198225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edián čekací doby</c:v>
                </c:pt>
              </c:strCache>
            </c:strRef>
          </c:tx>
          <c:spPr>
            <a:solidFill>
              <a:srgbClr val="2C2F7A"/>
            </a:solidFill>
            <a:ln>
              <a:solidFill>
                <a:srgbClr val="2C2F7A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2C2F7A"/>
              </a:solidFill>
              <a:ln>
                <a:solidFill>
                  <a:srgbClr val="2C2F7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941-4D28-912C-0B43AC76816E}"/>
              </c:ext>
            </c:extLst>
          </c:dPt>
          <c:dPt>
            <c:idx val="2"/>
            <c:invertIfNegative val="0"/>
            <c:bubble3D val="0"/>
            <c:spPr>
              <a:solidFill>
                <a:srgbClr val="2C2F7A"/>
              </a:solidFill>
              <a:ln>
                <a:solidFill>
                  <a:srgbClr val="2C2F7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941-4D28-912C-0B43AC76816E}"/>
              </c:ext>
            </c:extLst>
          </c:dPt>
          <c:dPt>
            <c:idx val="3"/>
            <c:invertIfNegative val="0"/>
            <c:bubble3D val="0"/>
            <c:spPr>
              <a:solidFill>
                <a:srgbClr val="DA2B47">
                  <a:lumMod val="60000"/>
                  <a:lumOff val="40000"/>
                </a:srgbClr>
              </a:solidFill>
              <a:ln>
                <a:solidFill>
                  <a:srgbClr val="2C2F7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941-4D28-912C-0B43AC76816E}"/>
              </c:ext>
            </c:extLst>
          </c:dPt>
          <c:dPt>
            <c:idx val="8"/>
            <c:invertIfNegative val="0"/>
            <c:bubble3D val="0"/>
            <c:spPr>
              <a:solidFill>
                <a:srgbClr val="2C2F7A"/>
              </a:solidFill>
              <a:ln>
                <a:solidFill>
                  <a:srgbClr val="2C2F7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941-4D28-912C-0B43AC76816E}"/>
              </c:ext>
            </c:extLst>
          </c:dPt>
          <c:cat>
            <c:strRef>
              <c:f>List1!$A$2:$A$15</c:f>
              <c:strCache>
                <c:ptCount val="14"/>
                <c:pt idx="0">
                  <c:v>Kraj Vysočina</c:v>
                </c:pt>
                <c:pt idx="1">
                  <c:v>Jihomoravský kraj</c:v>
                </c:pt>
                <c:pt idx="2">
                  <c:v>Královéhradecký kraj</c:v>
                </c:pt>
                <c:pt idx="3">
                  <c:v>Jihočeský kraj</c:v>
                </c:pt>
                <c:pt idx="4">
                  <c:v>Hlavní město Praha</c:v>
                </c:pt>
                <c:pt idx="5">
                  <c:v>Olomoucký kraj</c:v>
                </c:pt>
                <c:pt idx="6">
                  <c:v>Středočeský kraj</c:v>
                </c:pt>
                <c:pt idx="7">
                  <c:v>Liberecký kraj</c:v>
                </c:pt>
                <c:pt idx="8">
                  <c:v>Zlínský kraj</c:v>
                </c:pt>
                <c:pt idx="9">
                  <c:v>Plzeňský kraj</c:v>
                </c:pt>
                <c:pt idx="10">
                  <c:v>Moravskoslezský kraj</c:v>
                </c:pt>
                <c:pt idx="11">
                  <c:v>Ústecký kraj</c:v>
                </c:pt>
                <c:pt idx="12">
                  <c:v>Pardubický kraj</c:v>
                </c:pt>
                <c:pt idx="13">
                  <c:v>Karlovarský kraj*</c:v>
                </c:pt>
              </c:strCache>
            </c:strRef>
          </c:cat>
          <c:val>
            <c:numRef>
              <c:f>List1!$B$2:$B$15</c:f>
              <c:numCache>
                <c:formatCode>General</c:formatCode>
                <c:ptCount val="14"/>
                <c:pt idx="0">
                  <c:v>38</c:v>
                </c:pt>
                <c:pt idx="1">
                  <c:v>39</c:v>
                </c:pt>
                <c:pt idx="2">
                  <c:v>42</c:v>
                </c:pt>
                <c:pt idx="3">
                  <c:v>49</c:v>
                </c:pt>
                <c:pt idx="4">
                  <c:v>49</c:v>
                </c:pt>
                <c:pt idx="5">
                  <c:v>58</c:v>
                </c:pt>
                <c:pt idx="6">
                  <c:v>78</c:v>
                </c:pt>
                <c:pt idx="7">
                  <c:v>83</c:v>
                </c:pt>
                <c:pt idx="8">
                  <c:v>99</c:v>
                </c:pt>
                <c:pt idx="9">
                  <c:v>100</c:v>
                </c:pt>
                <c:pt idx="10">
                  <c:v>111</c:v>
                </c:pt>
                <c:pt idx="11">
                  <c:v>205</c:v>
                </c:pt>
                <c:pt idx="12">
                  <c:v>2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F941-4D28-912C-0B43AC7681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5"/>
        <c:axId val="721060200"/>
        <c:axId val="721057848"/>
      </c:barChart>
      <c:lineChart>
        <c:grouping val="stacked"/>
        <c:varyColors val="0"/>
        <c:ser>
          <c:idx val="1"/>
          <c:order val="1"/>
          <c:tx>
            <c:strRef>
              <c:f>List1!$C$1</c:f>
              <c:strCache>
                <c:ptCount val="1"/>
                <c:pt idx="0">
                  <c:v>Počet vyšetřených osob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DA2B47"/>
              </a:solidFill>
              <a:ln w="9525">
                <a:solidFill>
                  <a:srgbClr val="DA2B47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4570285137701774E-2"/>
                  <c:y val="-2.054725558989133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13B-4082-B9D8-65F1C767CB71}"/>
                </c:ext>
              </c:extLst>
            </c:dLbl>
            <c:dLbl>
              <c:idx val="1"/>
              <c:layout>
                <c:manualLayout>
                  <c:x val="-2.2722429827959623E-2"/>
                  <c:y val="-2.668859587862260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733-4F47-A2B2-B959FF1AB478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F13B-4082-B9D8-65F1C767CB71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F13B-4082-B9D8-65F1C767CB71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F13B-4082-B9D8-65F1C767CB71}"/>
                </c:ext>
              </c:extLst>
            </c:dLbl>
            <c:dLbl>
              <c:idx val="5"/>
              <c:layout>
                <c:manualLayout>
                  <c:x val="-2.4570285137701833E-2"/>
                  <c:y val="-2.922611457278373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13B-4082-B9D8-65F1C767CB71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F13B-4082-B9D8-65F1C767CB71}"/>
                </c:ext>
              </c:extLst>
            </c:dLbl>
            <c:dLbl>
              <c:idx val="10"/>
              <c:layout>
                <c:manualLayout>
                  <c:x val="-2.1886651768382909E-2"/>
                  <c:y val="-3.2552597671991285E-2"/>
                </c:manualLayout>
              </c:layout>
              <c:tx>
                <c:rich>
                  <a:bodyPr/>
                  <a:lstStyle/>
                  <a:p>
                    <a:fld id="{9772619A-78C2-4972-A045-9A551B3046BB}" type="VALUE">
                      <a:rPr lang="en-US" b="1">
                        <a:solidFill>
                          <a:schemeClr val="bg1"/>
                        </a:solidFill>
                      </a:rPr>
                      <a:pPr/>
                      <a:t>[HODNOTA]</a:t>
                    </a:fld>
                    <a:endParaRPr lang="cs-CZ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7658-46CE-AC94-DF6CFB3C999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t" anchorCtr="0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5</c:f>
              <c:strCache>
                <c:ptCount val="14"/>
                <c:pt idx="0">
                  <c:v>Kraj Vysočina</c:v>
                </c:pt>
                <c:pt idx="1">
                  <c:v>Jihomoravský kraj</c:v>
                </c:pt>
                <c:pt idx="2">
                  <c:v>Královéhradecký kraj</c:v>
                </c:pt>
                <c:pt idx="3">
                  <c:v>Jihočeský kraj</c:v>
                </c:pt>
                <c:pt idx="4">
                  <c:v>Hlavní město Praha</c:v>
                </c:pt>
                <c:pt idx="5">
                  <c:v>Olomoucký kraj</c:v>
                </c:pt>
                <c:pt idx="6">
                  <c:v>Středočeský kraj</c:v>
                </c:pt>
                <c:pt idx="7">
                  <c:v>Liberecký kraj</c:v>
                </c:pt>
                <c:pt idx="8">
                  <c:v>Zlínský kraj</c:v>
                </c:pt>
                <c:pt idx="9">
                  <c:v>Plzeňský kraj</c:v>
                </c:pt>
                <c:pt idx="10">
                  <c:v>Moravskoslezský kraj</c:v>
                </c:pt>
                <c:pt idx="11">
                  <c:v>Ústecký kraj</c:v>
                </c:pt>
                <c:pt idx="12">
                  <c:v>Pardubický kraj</c:v>
                </c:pt>
                <c:pt idx="13">
                  <c:v>Karlovarský kraj*</c:v>
                </c:pt>
              </c:strCache>
            </c:strRef>
          </c:cat>
          <c:val>
            <c:numRef>
              <c:f>List1!$C$2:$C$15</c:f>
              <c:numCache>
                <c:formatCode>General</c:formatCode>
                <c:ptCount val="14"/>
                <c:pt idx="0">
                  <c:v>168</c:v>
                </c:pt>
                <c:pt idx="1">
                  <c:v>611</c:v>
                </c:pt>
                <c:pt idx="2">
                  <c:v>377</c:v>
                </c:pt>
                <c:pt idx="3">
                  <c:v>337</c:v>
                </c:pt>
                <c:pt idx="4">
                  <c:v>1893</c:v>
                </c:pt>
                <c:pt idx="5">
                  <c:v>259</c:v>
                </c:pt>
                <c:pt idx="6">
                  <c:v>621</c:v>
                </c:pt>
                <c:pt idx="7">
                  <c:v>172</c:v>
                </c:pt>
                <c:pt idx="8">
                  <c:v>214</c:v>
                </c:pt>
                <c:pt idx="9">
                  <c:v>210</c:v>
                </c:pt>
                <c:pt idx="10">
                  <c:v>400</c:v>
                </c:pt>
                <c:pt idx="11">
                  <c:v>418</c:v>
                </c:pt>
                <c:pt idx="12">
                  <c:v>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7658-46CE-AC94-DF6CFB3C99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60883023"/>
        <c:axId val="1776381167"/>
      </c:lineChart>
      <c:catAx>
        <c:axId val="7210602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6">
                <a:lumMod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21057848"/>
        <c:crosses val="autoZero"/>
        <c:auto val="1"/>
        <c:lblAlgn val="ctr"/>
        <c:lblOffset val="100"/>
        <c:noMultiLvlLbl val="0"/>
      </c:catAx>
      <c:valAx>
        <c:axId val="7210578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2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100" b="0" i="0" u="none" strike="noStrike" kern="1200" baseline="0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edián rozdílu doby mezi vyšetřeními (dny)</a:t>
                </a:r>
              </a:p>
            </c:rich>
          </c:tx>
          <c:layout>
            <c:manualLayout>
              <c:xMode val="edge"/>
              <c:yMode val="edge"/>
              <c:x val="3.4545615461729982E-2"/>
              <c:y val="7.0654112617420856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1" i="0" u="none" strike="noStrike" kern="1200" baseline="0">
                  <a:solidFill>
                    <a:schemeClr val="bg2">
                      <a:lumMod val="10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accent6">
                <a:lumMod val="2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21060200"/>
        <c:crosses val="autoZero"/>
        <c:crossBetween val="between"/>
      </c:valAx>
      <c:valAx>
        <c:axId val="1776381167"/>
        <c:scaling>
          <c:orientation val="minMax"/>
        </c:scaling>
        <c:delete val="0"/>
        <c:axPos val="r"/>
        <c:title>
          <c:tx>
            <c:rich>
              <a:bodyPr rot="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bg2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100" b="0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očet</a:t>
                </a:r>
                <a:r>
                  <a:rPr lang="cs-CZ" sz="1100" b="0" baseline="0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vyšetřených osob</a:t>
                </a:r>
                <a:endParaRPr lang="cs-CZ" sz="1100" b="0" dirty="0">
                  <a:solidFill>
                    <a:schemeClr val="bg2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c:rich>
          </c:tx>
          <c:layout>
            <c:manualLayout>
              <c:xMode val="edge"/>
              <c:yMode val="edge"/>
              <c:x val="0.85755372260299989"/>
              <c:y val="0.2162423137428023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5400000" spcFirstLastPara="1" vertOverflow="ellipsis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bg2">
                      <a:lumMod val="10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accent6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760883023"/>
        <c:crosses val="max"/>
        <c:crossBetween val="between"/>
      </c:valAx>
      <c:catAx>
        <c:axId val="176088302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776381167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accent6">
              <a:lumMod val="25000"/>
            </a:schemeClr>
          </a:solidFill>
        </a:defRPr>
      </a:pPr>
      <a:endParaRPr lang="cs-CZ"/>
    </a:p>
  </c:txPr>
  <c:externalData r:id="rId4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accent6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sz="1400" b="1" dirty="0">
                <a:solidFill>
                  <a:schemeClr val="bg2">
                    <a:lumMod val="10000"/>
                  </a:schemeClr>
                </a:solidFill>
                <a:latin typeface="Arial (Základní text)"/>
              </a:rPr>
              <a:t>Výsledek LDCT </a:t>
            </a:r>
            <a:r>
              <a:rPr lang="cs-CZ" sz="1400" b="1" dirty="0">
                <a:solidFill>
                  <a:srgbClr val="C00000"/>
                </a:solidFill>
                <a:latin typeface="Arial (Základní text)"/>
              </a:rPr>
              <a:t>v</a:t>
            </a:r>
            <a:r>
              <a:rPr lang="cs-CZ" sz="1400" b="1" baseline="0" dirty="0">
                <a:solidFill>
                  <a:srgbClr val="C00000"/>
                </a:solidFill>
                <a:latin typeface="Arial (Základní text)"/>
              </a:rPr>
              <a:t> Jihočeském kraji </a:t>
            </a:r>
            <a:r>
              <a:rPr lang="cs-CZ" sz="1400" b="1" baseline="0" dirty="0">
                <a:solidFill>
                  <a:schemeClr val="bg2">
                    <a:lumMod val="10000"/>
                  </a:schemeClr>
                </a:solidFill>
                <a:latin typeface="Arial (Základní text)"/>
              </a:rPr>
              <a:t>(N = 632)</a:t>
            </a:r>
            <a:endParaRPr lang="cs-CZ" sz="1400" b="1" dirty="0">
              <a:solidFill>
                <a:schemeClr val="bg2">
                  <a:lumMod val="10000"/>
                </a:schemeClr>
              </a:solidFill>
              <a:latin typeface="Arial (Základní text)"/>
            </a:endParaRPr>
          </a:p>
        </c:rich>
      </c:tx>
      <c:layout>
        <c:manualLayout>
          <c:xMode val="edge"/>
          <c:yMode val="edge"/>
          <c:x val="0.13376908013016486"/>
          <c:y val="2.5202122548150102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accent6">
                  <a:lumMod val="2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27687871741167863"/>
          <c:y val="0.20171268153388522"/>
          <c:w val="0.45735501577170767"/>
          <c:h val="0.65833161381636307"/>
        </c:manualLayout>
      </c:layout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Výsledek CT vstupního vyšetření</c:v>
                </c:pt>
              </c:strCache>
            </c:strRef>
          </c:tx>
          <c:spPr>
            <a:solidFill>
              <a:schemeClr val="accent1"/>
            </a:solidFill>
          </c:spPr>
          <c:dPt>
            <c:idx val="0"/>
            <c:bubble3D val="0"/>
            <c:spPr>
              <a:solidFill>
                <a:srgbClr val="E7E6E6">
                  <a:lumMod val="9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E9B-4377-BB78-D4A3B2A87822}"/>
              </c:ext>
            </c:extLst>
          </c:dPt>
          <c:dPt>
            <c:idx val="1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E9B-4377-BB78-D4A3B2A87822}"/>
              </c:ext>
            </c:extLst>
          </c:dPt>
          <c:dPt>
            <c:idx val="2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E9B-4377-BB78-D4A3B2A87822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E9B-4377-BB78-D4A3B2A87822}"/>
              </c:ext>
            </c:extLst>
          </c:dPt>
          <c:dPt>
            <c:idx val="4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6E9B-4377-BB78-D4A3B2A87822}"/>
              </c:ext>
            </c:extLst>
          </c:dPt>
          <c:dLbls>
            <c:dLbl>
              <c:idx val="0"/>
              <c:layout>
                <c:manualLayout>
                  <c:x val="0.1509430423633201"/>
                  <c:y val="-2.2739232575194918E-2"/>
                </c:manualLayout>
              </c:layout>
              <c:tx>
                <c:rich>
                  <a:bodyPr/>
                  <a:lstStyle/>
                  <a:p>
                    <a:fld id="{D5841C55-CB2C-4B3E-8412-7917087E23DF}" type="PERCENTAGE">
                      <a:rPr lang="en-US" sz="110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/>
                      <a:t>[PROCENTO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E9B-4377-BB78-D4A3B2A87822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72A49D2D-B4E7-4065-B37A-B612B017C45D}" type="PERCENTAGE">
                      <a:rPr lang="en-US" sz="110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/>
                      <a:t>[PROCENTO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6E9B-4377-BB78-D4A3B2A87822}"/>
                </c:ext>
              </c:extLst>
            </c:dLbl>
            <c:dLbl>
              <c:idx val="2"/>
              <c:layout>
                <c:manualLayout>
                  <c:x val="-9.1483383904574472E-2"/>
                  <c:y val="-3.5997424087504783E-3"/>
                </c:manualLayout>
              </c:layout>
              <c:tx>
                <c:rich>
                  <a:bodyPr/>
                  <a:lstStyle/>
                  <a:p>
                    <a:fld id="{F78D6D12-C656-410C-BE7E-DE3897CC3F55}" type="PERCENTAGE">
                      <a:rPr lang="en-US" sz="110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/>
                      <a:t>[PROCENTO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6E9B-4377-BB78-D4A3B2A87822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2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accent6">
                      <a:lumMod val="2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4</c:f>
              <c:strCache>
                <c:ptCount val="3"/>
                <c:pt idx="0">
                  <c:v>Neurčitý (N = 53)</c:v>
                </c:pt>
                <c:pt idx="1">
                  <c:v>Negativní (N = 562)</c:v>
                </c:pt>
                <c:pt idx="2">
                  <c:v>Pozitivní (N = 17)</c:v>
                </c:pt>
              </c:strCache>
            </c:strRef>
          </c:cat>
          <c:val>
            <c:numRef>
              <c:f>List1!$B$2:$B$4</c:f>
              <c:numCache>
                <c:formatCode>General</c:formatCode>
                <c:ptCount val="3"/>
                <c:pt idx="0">
                  <c:v>53</c:v>
                </c:pt>
                <c:pt idx="1">
                  <c:v>562</c:v>
                </c:pt>
                <c:pt idx="2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E9B-4377-BB78-D4A3B2A878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2350346259461811"/>
          <c:y val="0.89010580512343107"/>
          <c:w val="0.76764417666065876"/>
          <c:h val="7.64979542170412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bg2">
                  <a:lumMod val="10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 w="31750">
      <a:solidFill>
        <a:srgbClr val="DA2B47"/>
      </a:solidFill>
    </a:ln>
    <a:effectLst/>
  </c:spPr>
  <c:txPr>
    <a:bodyPr/>
    <a:lstStyle/>
    <a:p>
      <a:pPr>
        <a:defRPr sz="1000">
          <a:solidFill>
            <a:schemeClr val="accent6">
              <a:lumMod val="25000"/>
            </a:schemeClr>
          </a:solidFill>
        </a:defRPr>
      </a:pPr>
      <a:endParaRPr lang="cs-CZ"/>
    </a:p>
  </c:txPr>
  <c:externalData r:id="rId4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accent6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sz="1400" b="1" dirty="0">
                <a:solidFill>
                  <a:schemeClr val="bg2">
                    <a:lumMod val="10000"/>
                  </a:schemeClr>
                </a:solidFill>
                <a:latin typeface="Arial (Základní text)"/>
              </a:rPr>
              <a:t>Výsledek LDCT</a:t>
            </a:r>
            <a:r>
              <a:rPr lang="cs-CZ" sz="1400" b="1" baseline="0" dirty="0">
                <a:solidFill>
                  <a:schemeClr val="bg2">
                    <a:lumMod val="10000"/>
                  </a:schemeClr>
                </a:solidFill>
                <a:latin typeface="Arial (Základní text)"/>
              </a:rPr>
              <a:t>  (N = 13 274)</a:t>
            </a:r>
            <a:endParaRPr lang="cs-CZ" sz="1400" b="1" dirty="0">
              <a:solidFill>
                <a:schemeClr val="bg2">
                  <a:lumMod val="10000"/>
                </a:schemeClr>
              </a:solidFill>
              <a:latin typeface="Arial (Základní text)"/>
            </a:endParaRPr>
          </a:p>
        </c:rich>
      </c:tx>
      <c:layout>
        <c:manualLayout>
          <c:xMode val="edge"/>
          <c:yMode val="edge"/>
          <c:x val="0.2484508668251674"/>
          <c:y val="2.5202122548150102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accent6">
                  <a:lumMod val="2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22394861500705379"/>
          <c:y val="0.19247871450800788"/>
          <c:w val="0.45735501577170767"/>
          <c:h val="0.65833161381636307"/>
        </c:manualLayout>
      </c:layout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Výsledek CT vstupního vyšetření</c:v>
                </c:pt>
              </c:strCache>
            </c:strRef>
          </c:tx>
          <c:spPr>
            <a:solidFill>
              <a:schemeClr val="accent1"/>
            </a:solidFill>
          </c:spPr>
          <c:dPt>
            <c:idx val="0"/>
            <c:bubble3D val="0"/>
            <c:spPr>
              <a:solidFill>
                <a:srgbClr val="E7E6E6">
                  <a:lumMod val="9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114-430C-B907-09654765C665}"/>
              </c:ext>
            </c:extLst>
          </c:dPt>
          <c:dPt>
            <c:idx val="1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114-430C-B907-09654765C665}"/>
              </c:ext>
            </c:extLst>
          </c:dPt>
          <c:dPt>
            <c:idx val="2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114-430C-B907-09654765C665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114-430C-B907-09654765C665}"/>
              </c:ext>
            </c:extLst>
          </c:dPt>
          <c:dPt>
            <c:idx val="4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114-430C-B907-09654765C665}"/>
              </c:ext>
            </c:extLst>
          </c:dPt>
          <c:dLbls>
            <c:dLbl>
              <c:idx val="0"/>
              <c:layout>
                <c:manualLayout>
                  <c:x val="0.1509430423633201"/>
                  <c:y val="-2.2739232575194918E-2"/>
                </c:manualLayout>
              </c:layout>
              <c:tx>
                <c:rich>
                  <a:bodyPr/>
                  <a:lstStyle/>
                  <a:p>
                    <a:fld id="{D5841C55-CB2C-4B3E-8412-7917087E23DF}" type="PERCENTAGE">
                      <a:rPr lang="en-US" sz="110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/>
                      <a:t>[PROCENTO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114-430C-B907-09654765C66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72A49D2D-B4E7-4065-B37A-B612B017C45D}" type="PERCENTAGE">
                      <a:rPr lang="en-US" sz="110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/>
                      <a:t>[PROCENTO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3114-430C-B907-09654765C665}"/>
                </c:ext>
              </c:extLst>
            </c:dLbl>
            <c:dLbl>
              <c:idx val="2"/>
              <c:layout>
                <c:manualLayout>
                  <c:x val="-9.1483383904574472E-2"/>
                  <c:y val="-3.5997424087504783E-3"/>
                </c:manualLayout>
              </c:layout>
              <c:tx>
                <c:rich>
                  <a:bodyPr/>
                  <a:lstStyle/>
                  <a:p>
                    <a:fld id="{F78D6D12-C656-410C-BE7E-DE3897CC3F55}" type="PERCENTAGE">
                      <a:rPr lang="en-US" sz="110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/>
                      <a:t>[PROCENTO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3114-430C-B907-09654765C665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2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accent6">
                      <a:lumMod val="2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4</c:f>
              <c:strCache>
                <c:ptCount val="3"/>
                <c:pt idx="0">
                  <c:v>Neurčitý (N = 949)</c:v>
                </c:pt>
                <c:pt idx="1">
                  <c:v>Negativní (N = 11 839)</c:v>
                </c:pt>
                <c:pt idx="2">
                  <c:v>Pozitivní (N = 486)</c:v>
                </c:pt>
              </c:strCache>
            </c:strRef>
          </c:cat>
          <c:val>
            <c:numRef>
              <c:f>List1!$B$2:$B$4</c:f>
              <c:numCache>
                <c:formatCode>General</c:formatCode>
                <c:ptCount val="3"/>
                <c:pt idx="0">
                  <c:v>949</c:v>
                </c:pt>
                <c:pt idx="1">
                  <c:v>11839</c:v>
                </c:pt>
                <c:pt idx="2">
                  <c:v>4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114-430C-B907-09654765C6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2627596945963592E-2"/>
          <c:y val="0.8776080715677298"/>
          <c:w val="0.76764417666065876"/>
          <c:h val="7.64979542170412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bg2">
                  <a:lumMod val="10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accent6">
              <a:lumMod val="25000"/>
            </a:schemeClr>
          </a:solidFill>
        </a:defRPr>
      </a:pPr>
      <a:endParaRPr lang="cs-CZ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8614564831261103E-2"/>
          <c:y val="5.4888507718696397E-2"/>
          <c:w val="0.88987566607460034"/>
          <c:h val="0.93825042881646659"/>
        </c:manualLayout>
      </c:layout>
      <c:barChart>
        <c:barDir val="bar"/>
        <c:grouping val="clustered"/>
        <c:varyColors val="0"/>
        <c:ser>
          <c:idx val="5"/>
          <c:order val="0"/>
          <c:tx>
            <c:strRef>
              <c:f>Sheet1!$B$1</c:f>
              <c:strCache>
                <c:ptCount val="1"/>
                <c:pt idx="0">
                  <c:v>31</c:v>
                </c:pt>
              </c:strCache>
            </c:strRef>
          </c:tx>
          <c:spPr>
            <a:solidFill>
              <a:srgbClr val="C00000"/>
            </a:solidFill>
            <a:ln w="24393">
              <a:noFill/>
            </a:ln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 b="0">
                    <a:latin typeface="+mn-lt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28</c:f>
              <c:strCache>
                <c:ptCount val="27"/>
                <c:pt idx="0">
                  <c:v>ZN průdušnice, průdušky a plíce (C33, C34)</c:v>
                </c:pt>
                <c:pt idx="1">
                  <c:v>ZN tlustého střeva a konečníku (C18–C20)</c:v>
                </c:pt>
                <c:pt idx="2">
                  <c:v>ZN slinivky břišní (C25)</c:v>
                </c:pt>
                <c:pt idx="3">
                  <c:v>ZN prsu (C50) u žen</c:v>
                </c:pt>
                <c:pt idx="4">
                  <c:v>ZN prostaty (C61)</c:v>
                </c:pt>
                <c:pt idx="5">
                  <c:v>ZN ledviny (C64)</c:v>
                </c:pt>
                <c:pt idx="6">
                  <c:v>leukémie (C91–C95)</c:v>
                </c:pt>
                <c:pt idx="7">
                  <c:v>ZN žaludku (C16)</c:v>
                </c:pt>
                <c:pt idx="8">
                  <c:v>ZN jater a intrahepatálních žlučových cest (C22)</c:v>
                </c:pt>
                <c:pt idx="9">
                  <c:v>ZN močového měchýře (C67)</c:v>
                </c:pt>
                <c:pt idx="10">
                  <c:v>ZN mozku, míchy a jiných částí CNS (C70–C72)</c:v>
                </c:pt>
                <c:pt idx="11">
                  <c:v>ZN hlavy a krku (C00–C14, C30–C31)</c:v>
                </c:pt>
                <c:pt idx="12">
                  <c:v>ZN žlučníku a žlučových cest (C23, C24)</c:v>
                </c:pt>
                <c:pt idx="13">
                  <c:v>ZN vaječníku (C56)</c:v>
                </c:pt>
                <c:pt idx="14">
                  <c:v>non-Hodgkinův lymfom (C82–C86)</c:v>
                </c:pt>
                <c:pt idx="15">
                  <c:v>ZN jícnu (C15)</c:v>
                </c:pt>
                <c:pt idx="16">
                  <c:v>ZN dělohy (C54, C55)</c:v>
                </c:pt>
                <c:pt idx="17">
                  <c:v>mnohočetný myelom (C90)</c:v>
                </c:pt>
                <c:pt idx="18">
                  <c:v>zhoubný melanom kůže (C43)</c:v>
                </c:pt>
                <c:pt idx="19">
                  <c:v>ZN hrdla děložního (C53)</c:v>
                </c:pt>
                <c:pt idx="20">
                  <c:v>nemelanomový kožní ZN (C44)</c:v>
                </c:pt>
                <c:pt idx="21">
                  <c:v>ZN hrtanu (C32)</c:v>
                </c:pt>
                <c:pt idx="22">
                  <c:v>ZN poj. a měk. tkání a perif. nervů (C47, C49)</c:v>
                </c:pt>
                <c:pt idx="23">
                  <c:v>ZN štítné žlázy (C73)</c:v>
                </c:pt>
                <c:pt idx="24">
                  <c:v>Hodgkinův lymfom (C81)</c:v>
                </c:pt>
                <c:pt idx="25">
                  <c:v>ZN varlete (C62)</c:v>
                </c:pt>
                <c:pt idx="26">
                  <c:v>ostatní zhoubné novotvary</c:v>
                </c:pt>
              </c:strCache>
            </c:strRef>
          </c:cat>
          <c:val>
            <c:numRef>
              <c:f>Sheet1!$B$2:$B$28</c:f>
              <c:numCache>
                <c:formatCode>General</c:formatCode>
                <c:ptCount val="27"/>
                <c:pt idx="0">
                  <c:v>49.430959999999999</c:v>
                </c:pt>
                <c:pt idx="1">
                  <c:v>32.323819999999998</c:v>
                </c:pt>
                <c:pt idx="2">
                  <c:v>23.584299999999999</c:v>
                </c:pt>
                <c:pt idx="3">
                  <c:v>16.921189999999999</c:v>
                </c:pt>
                <c:pt idx="4">
                  <c:v>15.30965</c:v>
                </c:pt>
                <c:pt idx="5">
                  <c:v>9.8242089999999997</c:v>
                </c:pt>
                <c:pt idx="6">
                  <c:v>8.9254639999999998</c:v>
                </c:pt>
                <c:pt idx="7">
                  <c:v>8.8944729999999996</c:v>
                </c:pt>
                <c:pt idx="8">
                  <c:v>8.5535700000000006</c:v>
                </c:pt>
                <c:pt idx="9">
                  <c:v>8.4915870000000009</c:v>
                </c:pt>
                <c:pt idx="10">
                  <c:v>7.4998690000000003</c:v>
                </c:pt>
                <c:pt idx="11">
                  <c:v>7.2829309999999996</c:v>
                </c:pt>
                <c:pt idx="12">
                  <c:v>6.3841859999999997</c:v>
                </c:pt>
                <c:pt idx="13">
                  <c:v>5.8573360000000001</c:v>
                </c:pt>
                <c:pt idx="14">
                  <c:v>5.733371</c:v>
                </c:pt>
                <c:pt idx="15">
                  <c:v>5.5164330000000001</c:v>
                </c:pt>
                <c:pt idx="16">
                  <c:v>4.2767850000000003</c:v>
                </c:pt>
                <c:pt idx="17">
                  <c:v>4.2767850000000003</c:v>
                </c:pt>
                <c:pt idx="18">
                  <c:v>3.8738990000000002</c:v>
                </c:pt>
                <c:pt idx="19">
                  <c:v>2.8201990000000001</c:v>
                </c:pt>
                <c:pt idx="20">
                  <c:v>1.952445</c:v>
                </c:pt>
                <c:pt idx="21">
                  <c:v>1.7045159999999999</c:v>
                </c:pt>
                <c:pt idx="22">
                  <c:v>1.4565859999999999</c:v>
                </c:pt>
                <c:pt idx="23">
                  <c:v>0.83676200000000001</c:v>
                </c:pt>
                <c:pt idx="24">
                  <c:v>0.43387700000000001</c:v>
                </c:pt>
                <c:pt idx="25">
                  <c:v>0.24793000000000001</c:v>
                </c:pt>
                <c:pt idx="26">
                  <c:v>25.75367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B9-4BEA-80DF-8FBBD1F488BE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ČR</c:v>
                </c:pt>
              </c:strCache>
            </c:strRef>
          </c:tx>
          <c:spPr>
            <a:solidFill>
              <a:srgbClr val="858585"/>
            </a:solidFill>
            <a:ln w="24393">
              <a:noFill/>
            </a:ln>
          </c:spPr>
          <c:invertIfNegative val="0"/>
          <c:dLbls>
            <c:delete val="1"/>
          </c:dLbls>
          <c:cat>
            <c:strRef>
              <c:f>Sheet1!$A$2:$A$28</c:f>
              <c:strCache>
                <c:ptCount val="27"/>
                <c:pt idx="0">
                  <c:v>ZN průdušnice, průdušky a plíce (C33, C34)</c:v>
                </c:pt>
                <c:pt idx="1">
                  <c:v>ZN tlustého střeva a konečníku (C18–C20)</c:v>
                </c:pt>
                <c:pt idx="2">
                  <c:v>ZN slinivky břišní (C25)</c:v>
                </c:pt>
                <c:pt idx="3">
                  <c:v>ZN prsu (C50) u žen</c:v>
                </c:pt>
                <c:pt idx="4">
                  <c:v>ZN prostaty (C61)</c:v>
                </c:pt>
                <c:pt idx="5">
                  <c:v>ZN ledviny (C64)</c:v>
                </c:pt>
                <c:pt idx="6">
                  <c:v>leukémie (C91–C95)</c:v>
                </c:pt>
                <c:pt idx="7">
                  <c:v>ZN žaludku (C16)</c:v>
                </c:pt>
                <c:pt idx="8">
                  <c:v>ZN jater a intrahepatálních žlučových cest (C22)</c:v>
                </c:pt>
                <c:pt idx="9">
                  <c:v>ZN močového měchýře (C67)</c:v>
                </c:pt>
                <c:pt idx="10">
                  <c:v>ZN mozku, míchy a jiných částí CNS (C70–C72)</c:v>
                </c:pt>
                <c:pt idx="11">
                  <c:v>ZN hlavy a krku (C00–C14, C30–C31)</c:v>
                </c:pt>
                <c:pt idx="12">
                  <c:v>ZN žlučníku a žlučových cest (C23, C24)</c:v>
                </c:pt>
                <c:pt idx="13">
                  <c:v>ZN vaječníku (C56)</c:v>
                </c:pt>
                <c:pt idx="14">
                  <c:v>non-Hodgkinův lymfom (C82–C86)</c:v>
                </c:pt>
                <c:pt idx="15">
                  <c:v>ZN jícnu (C15)</c:v>
                </c:pt>
                <c:pt idx="16">
                  <c:v>ZN dělohy (C54, C55)</c:v>
                </c:pt>
                <c:pt idx="17">
                  <c:v>mnohočetný myelom (C90)</c:v>
                </c:pt>
                <c:pt idx="18">
                  <c:v>zhoubný melanom kůže (C43)</c:v>
                </c:pt>
                <c:pt idx="19">
                  <c:v>ZN hrdla děložního (C53)</c:v>
                </c:pt>
                <c:pt idx="20">
                  <c:v>nemelanomový kožní ZN (C44)</c:v>
                </c:pt>
                <c:pt idx="21">
                  <c:v>ZN hrtanu (C32)</c:v>
                </c:pt>
                <c:pt idx="22">
                  <c:v>ZN poj. a měk. tkání a perif. nervů (C47, C49)</c:v>
                </c:pt>
                <c:pt idx="23">
                  <c:v>ZN štítné žlázy (C73)</c:v>
                </c:pt>
                <c:pt idx="24">
                  <c:v>Hodgkinův lymfom (C81)</c:v>
                </c:pt>
                <c:pt idx="25">
                  <c:v>ZN varlete (C62)</c:v>
                </c:pt>
                <c:pt idx="26">
                  <c:v>ostatní zhoubné novotvary</c:v>
                </c:pt>
              </c:strCache>
            </c:strRef>
          </c:cat>
          <c:val>
            <c:numRef>
              <c:f>Sheet1!$C$2:$C$28</c:f>
              <c:numCache>
                <c:formatCode>General</c:formatCode>
                <c:ptCount val="27"/>
                <c:pt idx="0">
                  <c:v>47.518219999999999</c:v>
                </c:pt>
                <c:pt idx="1">
                  <c:v>30.502040000000001</c:v>
                </c:pt>
                <c:pt idx="2">
                  <c:v>21.821079999999998</c:v>
                </c:pt>
                <c:pt idx="3">
                  <c:v>16.100429999999999</c:v>
                </c:pt>
                <c:pt idx="4">
                  <c:v>13.8316</c:v>
                </c:pt>
                <c:pt idx="5">
                  <c:v>8.6959129999999991</c:v>
                </c:pt>
                <c:pt idx="6">
                  <c:v>8.6454529999999998</c:v>
                </c:pt>
                <c:pt idx="7">
                  <c:v>8.9612940000000005</c:v>
                </c:pt>
                <c:pt idx="8">
                  <c:v>8.2791519999999998</c:v>
                </c:pt>
                <c:pt idx="9">
                  <c:v>8.5221070000000001</c:v>
                </c:pt>
                <c:pt idx="10">
                  <c:v>7.2026750000000002</c:v>
                </c:pt>
                <c:pt idx="11">
                  <c:v>8.1109519999999993</c:v>
                </c:pt>
                <c:pt idx="12">
                  <c:v>6.1430189999999998</c:v>
                </c:pt>
                <c:pt idx="13">
                  <c:v>5.8253079999999997</c:v>
                </c:pt>
                <c:pt idx="14">
                  <c:v>5.5804850000000004</c:v>
                </c:pt>
                <c:pt idx="15">
                  <c:v>5.3730390000000003</c:v>
                </c:pt>
                <c:pt idx="16">
                  <c:v>3.9097029999999999</c:v>
                </c:pt>
                <c:pt idx="17">
                  <c:v>3.7415039999999999</c:v>
                </c:pt>
                <c:pt idx="18">
                  <c:v>3.9545569999999999</c:v>
                </c:pt>
                <c:pt idx="19">
                  <c:v>2.5585010000000001</c:v>
                </c:pt>
                <c:pt idx="20">
                  <c:v>1.867014</c:v>
                </c:pt>
                <c:pt idx="21">
                  <c:v>1.986623</c:v>
                </c:pt>
                <c:pt idx="22">
                  <c:v>1.302611</c:v>
                </c:pt>
                <c:pt idx="23">
                  <c:v>0.70830700000000002</c:v>
                </c:pt>
                <c:pt idx="24">
                  <c:v>0.50459799999999999</c:v>
                </c:pt>
                <c:pt idx="25">
                  <c:v>0.29154600000000003</c:v>
                </c:pt>
                <c:pt idx="26">
                  <c:v>26.17744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3B9-4BEA-80DF-8FBBD1F488B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"/>
        <c:axId val="201892000"/>
        <c:axId val="1"/>
      </c:barChart>
      <c:catAx>
        <c:axId val="20189200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3049">
            <a:solidFill>
              <a:schemeClr val="tx1"/>
            </a:solidFill>
            <a:prstDash val="solid"/>
          </a:ln>
        </c:spPr>
        <c:crossAx val="1"/>
        <c:crosses val="autoZero"/>
        <c:auto val="1"/>
        <c:lblAlgn val="ctr"/>
        <c:lblOffset val="100"/>
        <c:tickMarkSkip val="1"/>
        <c:noMultiLvlLbl val="0"/>
      </c:catAx>
      <c:valAx>
        <c:axId val="1"/>
        <c:scaling>
          <c:orientation val="minMax"/>
          <c:max val="50"/>
        </c:scaling>
        <c:delete val="0"/>
        <c:axPos val="t"/>
        <c:numFmt formatCode="#,##0" sourceLinked="0"/>
        <c:majorTickMark val="out"/>
        <c:minorTickMark val="none"/>
        <c:tickLblPos val="nextTo"/>
        <c:spPr>
          <a:ln w="304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Arial"/>
              </a:defRPr>
            </a:pPr>
            <a:endParaRPr lang="cs-CZ"/>
          </a:p>
        </c:txPr>
        <c:crossAx val="201892000"/>
        <c:crosses val="autoZero"/>
        <c:crossBetween val="between"/>
      </c:valAx>
      <c:spPr>
        <a:noFill/>
        <a:ln w="2439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537" b="1" i="0" u="none" strike="noStrike" baseline="0">
          <a:solidFill>
            <a:schemeClr val="tx1"/>
          </a:solidFill>
          <a:latin typeface="Tahoma"/>
          <a:ea typeface="Tahoma"/>
          <a:cs typeface="Tahoma"/>
        </a:defRPr>
      </a:pPr>
      <a:endParaRPr lang="cs-CZ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193321616871705"/>
          <c:y val="6.4837905236907731E-2"/>
          <c:w val="0.87873462214411246"/>
          <c:h val="0.80049875311720697"/>
        </c:manualLayout>
      </c:layout>
      <c:areaChart>
        <c:grouping val="stacked"/>
        <c:varyColors val="0"/>
        <c:ser>
          <c:idx val="5"/>
          <c:order val="0"/>
          <c:tx>
            <c:strRef>
              <c:f>Sheet1!$A$2</c:f>
              <c:strCache>
                <c:ptCount val="1"/>
                <c:pt idx="0">
                  <c:v>min</c:v>
                </c:pt>
              </c:strCache>
            </c:strRef>
          </c:tx>
          <c:spPr>
            <a:noFill/>
            <a:ln w="25401">
              <a:noFill/>
            </a:ln>
          </c:spPr>
          <c:cat>
            <c:numRef>
              <c:f>Sheet1!$B$1:$AS$1</c:f>
              <c:numCache>
                <c:formatCode>General</c:formatCode>
                <c:ptCount val="44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  <c:pt idx="40">
                  <c:v>2020</c:v>
                </c:pt>
                <c:pt idx="41">
                  <c:v>2021</c:v>
                </c:pt>
                <c:pt idx="42">
                  <c:v>2022</c:v>
                </c:pt>
                <c:pt idx="43">
                  <c:v>2023</c:v>
                </c:pt>
              </c:numCache>
            </c:numRef>
          </c:cat>
          <c:val>
            <c:numRef>
              <c:f>Sheet1!$B$2:$AS$2</c:f>
              <c:numCache>
                <c:formatCode>General</c:formatCode>
                <c:ptCount val="44"/>
                <c:pt idx="0">
                  <c:v>16.05988</c:v>
                </c:pt>
                <c:pt idx="1">
                  <c:v>13.31085</c:v>
                </c:pt>
                <c:pt idx="2">
                  <c:v>19.404820000000001</c:v>
                </c:pt>
                <c:pt idx="3">
                  <c:v>20.611820000000002</c:v>
                </c:pt>
                <c:pt idx="4">
                  <c:v>23.036999999999999</c:v>
                </c:pt>
                <c:pt idx="5">
                  <c:v>22.718710000000002</c:v>
                </c:pt>
                <c:pt idx="6">
                  <c:v>19.227429999999998</c:v>
                </c:pt>
                <c:pt idx="7">
                  <c:v>20.50638</c:v>
                </c:pt>
                <c:pt idx="8">
                  <c:v>23.674620000000001</c:v>
                </c:pt>
                <c:pt idx="9">
                  <c:v>25.455860000000001</c:v>
                </c:pt>
                <c:pt idx="10">
                  <c:v>23.619720000000001</c:v>
                </c:pt>
                <c:pt idx="11">
                  <c:v>28.915990000000001</c:v>
                </c:pt>
                <c:pt idx="12">
                  <c:v>27.680800000000001</c:v>
                </c:pt>
                <c:pt idx="13">
                  <c:v>27.678080000000001</c:v>
                </c:pt>
                <c:pt idx="14">
                  <c:v>27.253699999999998</c:v>
                </c:pt>
                <c:pt idx="15">
                  <c:v>31.009499999999999</c:v>
                </c:pt>
                <c:pt idx="16">
                  <c:v>31.015429999999999</c:v>
                </c:pt>
                <c:pt idx="17">
                  <c:v>28.916779999999999</c:v>
                </c:pt>
                <c:pt idx="18">
                  <c:v>25.71472</c:v>
                </c:pt>
                <c:pt idx="19">
                  <c:v>29.158380000000001</c:v>
                </c:pt>
                <c:pt idx="20">
                  <c:v>28.044910000000002</c:v>
                </c:pt>
                <c:pt idx="21">
                  <c:v>29.329529999999998</c:v>
                </c:pt>
                <c:pt idx="22">
                  <c:v>26.603259999999999</c:v>
                </c:pt>
                <c:pt idx="23">
                  <c:v>29.91001</c:v>
                </c:pt>
                <c:pt idx="24">
                  <c:v>28.842759999999998</c:v>
                </c:pt>
                <c:pt idx="25">
                  <c:v>29.866150000000001</c:v>
                </c:pt>
                <c:pt idx="26">
                  <c:v>25.952390000000001</c:v>
                </c:pt>
                <c:pt idx="27">
                  <c:v>24.29345</c:v>
                </c:pt>
                <c:pt idx="28">
                  <c:v>25.58098</c:v>
                </c:pt>
                <c:pt idx="29">
                  <c:v>24.855650000000001</c:v>
                </c:pt>
                <c:pt idx="30">
                  <c:v>23.476739999999999</c:v>
                </c:pt>
                <c:pt idx="31">
                  <c:v>25.633369999999999</c:v>
                </c:pt>
                <c:pt idx="32">
                  <c:v>24.602450000000001</c:v>
                </c:pt>
                <c:pt idx="33">
                  <c:v>26.832070000000002</c:v>
                </c:pt>
                <c:pt idx="34">
                  <c:v>20.052070000000001</c:v>
                </c:pt>
                <c:pt idx="35">
                  <c:v>25.682839999999999</c:v>
                </c:pt>
                <c:pt idx="36">
                  <c:v>24.556750000000001</c:v>
                </c:pt>
                <c:pt idx="37">
                  <c:v>25.666080000000001</c:v>
                </c:pt>
                <c:pt idx="38">
                  <c:v>23.031130000000001</c:v>
                </c:pt>
                <c:pt idx="39">
                  <c:v>26.5486</c:v>
                </c:pt>
                <c:pt idx="40">
                  <c:v>28.110510000000001</c:v>
                </c:pt>
                <c:pt idx="41">
                  <c:v>29.579650000000001</c:v>
                </c:pt>
                <c:pt idx="42">
                  <c:v>23.317830000000001</c:v>
                </c:pt>
                <c:pt idx="43">
                  <c:v>25.34533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E1-4AE8-A1BD-69513B5D8FA3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hranice max</c:v>
                </c:pt>
              </c:strCache>
            </c:strRef>
          </c:tx>
          <c:spPr>
            <a:solidFill>
              <a:srgbClr val="C8C8C8"/>
            </a:solidFill>
            <a:ln w="25401">
              <a:noFill/>
            </a:ln>
          </c:spPr>
          <c:cat>
            <c:numRef>
              <c:f>Sheet1!$B$1:$AS$1</c:f>
              <c:numCache>
                <c:formatCode>General</c:formatCode>
                <c:ptCount val="44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  <c:pt idx="40">
                  <c:v>2020</c:v>
                </c:pt>
                <c:pt idx="41">
                  <c:v>2021</c:v>
                </c:pt>
                <c:pt idx="42">
                  <c:v>2022</c:v>
                </c:pt>
                <c:pt idx="43">
                  <c:v>2023</c:v>
                </c:pt>
              </c:numCache>
            </c:numRef>
          </c:cat>
          <c:val>
            <c:numRef>
              <c:f>Sheet1!$B$3:$AS$3</c:f>
              <c:numCache>
                <c:formatCode>General</c:formatCode>
                <c:ptCount val="44"/>
                <c:pt idx="0">
                  <c:v>16.670500000000001</c:v>
                </c:pt>
                <c:pt idx="1">
                  <c:v>25.991219999999998</c:v>
                </c:pt>
                <c:pt idx="2">
                  <c:v>19.494800000000001</c:v>
                </c:pt>
                <c:pt idx="3">
                  <c:v>25.262419999999999</c:v>
                </c:pt>
                <c:pt idx="4">
                  <c:v>16.745709999999999</c:v>
                </c:pt>
                <c:pt idx="5">
                  <c:v>19.493919999999999</c:v>
                </c:pt>
                <c:pt idx="6">
                  <c:v>26.073779999999999</c:v>
                </c:pt>
                <c:pt idx="7">
                  <c:v>29.710129999999999</c:v>
                </c:pt>
                <c:pt idx="8">
                  <c:v>23.08043</c:v>
                </c:pt>
                <c:pt idx="9">
                  <c:v>27.062049999999999</c:v>
                </c:pt>
                <c:pt idx="10">
                  <c:v>34.769359999999999</c:v>
                </c:pt>
                <c:pt idx="11">
                  <c:v>19.361470000000001</c:v>
                </c:pt>
                <c:pt idx="12">
                  <c:v>25.981079999999999</c:v>
                </c:pt>
                <c:pt idx="13">
                  <c:v>29.10502</c:v>
                </c:pt>
                <c:pt idx="14">
                  <c:v>18.590129999999998</c:v>
                </c:pt>
                <c:pt idx="15">
                  <c:v>26.419070000000001</c:v>
                </c:pt>
                <c:pt idx="16">
                  <c:v>15.740970000000001</c:v>
                </c:pt>
                <c:pt idx="17">
                  <c:v>19.158709999999999</c:v>
                </c:pt>
                <c:pt idx="18">
                  <c:v>22.621870000000001</c:v>
                </c:pt>
                <c:pt idx="19">
                  <c:v>18.53632</c:v>
                </c:pt>
                <c:pt idx="20">
                  <c:v>17.688410000000001</c:v>
                </c:pt>
                <c:pt idx="21">
                  <c:v>15.54322</c:v>
                </c:pt>
                <c:pt idx="22">
                  <c:v>21.150120000000001</c:v>
                </c:pt>
                <c:pt idx="23">
                  <c:v>15.23199</c:v>
                </c:pt>
                <c:pt idx="24">
                  <c:v>22.15597</c:v>
                </c:pt>
                <c:pt idx="25">
                  <c:v>16.465720000000001</c:v>
                </c:pt>
                <c:pt idx="26">
                  <c:v>23.103200000000001</c:v>
                </c:pt>
                <c:pt idx="27">
                  <c:v>15.206300000000001</c:v>
                </c:pt>
                <c:pt idx="28">
                  <c:v>10.36275</c:v>
                </c:pt>
                <c:pt idx="29">
                  <c:v>8.4103469999999998</c:v>
                </c:pt>
                <c:pt idx="30">
                  <c:v>13.104889999999999</c:v>
                </c:pt>
                <c:pt idx="31">
                  <c:v>13.132580000000001</c:v>
                </c:pt>
                <c:pt idx="32">
                  <c:v>13.219530000000001</c:v>
                </c:pt>
                <c:pt idx="33">
                  <c:v>10.46358</c:v>
                </c:pt>
                <c:pt idx="34">
                  <c:v>17.022950000000002</c:v>
                </c:pt>
                <c:pt idx="35">
                  <c:v>13.22067</c:v>
                </c:pt>
                <c:pt idx="36">
                  <c:v>10.441280000000001</c:v>
                </c:pt>
                <c:pt idx="37">
                  <c:v>10.161799999999999</c:v>
                </c:pt>
                <c:pt idx="38">
                  <c:v>10.691549999999999</c:v>
                </c:pt>
                <c:pt idx="39">
                  <c:v>10.995480000000001</c:v>
                </c:pt>
                <c:pt idx="40">
                  <c:v>10.580410000000001</c:v>
                </c:pt>
                <c:pt idx="41">
                  <c:v>11.10383</c:v>
                </c:pt>
                <c:pt idx="42">
                  <c:v>14.325939999999999</c:v>
                </c:pt>
                <c:pt idx="43">
                  <c:v>9.299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3E1-4AE8-A1BD-69513B5D8F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7724760"/>
        <c:axId val="1"/>
      </c:areaChart>
      <c:lineChart>
        <c:grouping val="standard"/>
        <c:varyColors val="0"/>
        <c:ser>
          <c:idx val="2"/>
          <c:order val="2"/>
          <c:tx>
            <c:strRef>
              <c:f>Sheet1!$A$4</c:f>
              <c:strCache>
                <c:ptCount val="1"/>
                <c:pt idx="0">
                  <c:v>ČR</c:v>
                </c:pt>
              </c:strCache>
            </c:strRef>
          </c:tx>
          <c:spPr>
            <a:ln w="25401">
              <a:solidFill>
                <a:srgbClr val="7F7F7F"/>
              </a:solidFill>
              <a:prstDash val="solid"/>
            </a:ln>
          </c:spPr>
          <c:marker>
            <c:symbol val="none"/>
          </c:marker>
          <c:cat>
            <c:numRef>
              <c:f>Sheet1!$B$1:$AS$1</c:f>
              <c:numCache>
                <c:formatCode>General</c:formatCode>
                <c:ptCount val="44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  <c:pt idx="40">
                  <c:v>2020</c:v>
                </c:pt>
                <c:pt idx="41">
                  <c:v>2021</c:v>
                </c:pt>
                <c:pt idx="42">
                  <c:v>2022</c:v>
                </c:pt>
                <c:pt idx="43">
                  <c:v>2023</c:v>
                </c:pt>
              </c:numCache>
            </c:numRef>
          </c:cat>
          <c:val>
            <c:numRef>
              <c:f>Sheet1!$B$4:$AS$4</c:f>
              <c:numCache>
                <c:formatCode>General</c:formatCode>
                <c:ptCount val="44"/>
                <c:pt idx="0">
                  <c:v>20.979700000000001</c:v>
                </c:pt>
                <c:pt idx="1">
                  <c:v>23.91311</c:v>
                </c:pt>
                <c:pt idx="2">
                  <c:v>26.97344</c:v>
                </c:pt>
                <c:pt idx="3">
                  <c:v>30.522500000000001</c:v>
                </c:pt>
                <c:pt idx="4">
                  <c:v>30.47195</c:v>
                </c:pt>
                <c:pt idx="5">
                  <c:v>29.42794</c:v>
                </c:pt>
                <c:pt idx="6">
                  <c:v>32.227730000000001</c:v>
                </c:pt>
                <c:pt idx="7">
                  <c:v>33.347119999999997</c:v>
                </c:pt>
                <c:pt idx="8">
                  <c:v>32.523319999999998</c:v>
                </c:pt>
                <c:pt idx="9">
                  <c:v>33.921559999999999</c:v>
                </c:pt>
                <c:pt idx="10">
                  <c:v>34.264229999999998</c:v>
                </c:pt>
                <c:pt idx="11">
                  <c:v>36.32367</c:v>
                </c:pt>
                <c:pt idx="12">
                  <c:v>37.015560000000001</c:v>
                </c:pt>
                <c:pt idx="13">
                  <c:v>38.353999999999999</c:v>
                </c:pt>
                <c:pt idx="14">
                  <c:v>37.348860000000002</c:v>
                </c:pt>
                <c:pt idx="15">
                  <c:v>38.620899999999999</c:v>
                </c:pt>
                <c:pt idx="16">
                  <c:v>35.693489999999997</c:v>
                </c:pt>
                <c:pt idx="17">
                  <c:v>36.708089999999999</c:v>
                </c:pt>
                <c:pt idx="18">
                  <c:v>36.179920000000003</c:v>
                </c:pt>
                <c:pt idx="19">
                  <c:v>35.890419999999999</c:v>
                </c:pt>
                <c:pt idx="20">
                  <c:v>36.771000000000001</c:v>
                </c:pt>
                <c:pt idx="21">
                  <c:v>36.089860000000002</c:v>
                </c:pt>
                <c:pt idx="22">
                  <c:v>37.527389999999997</c:v>
                </c:pt>
                <c:pt idx="23">
                  <c:v>37.050040000000003</c:v>
                </c:pt>
                <c:pt idx="24">
                  <c:v>38.16478</c:v>
                </c:pt>
                <c:pt idx="25">
                  <c:v>36.546379999999999</c:v>
                </c:pt>
                <c:pt idx="26">
                  <c:v>36.336950000000002</c:v>
                </c:pt>
                <c:pt idx="27">
                  <c:v>31.850169999999999</c:v>
                </c:pt>
                <c:pt idx="28">
                  <c:v>31.22437</c:v>
                </c:pt>
                <c:pt idx="29">
                  <c:v>30.088090000000001</c:v>
                </c:pt>
                <c:pt idx="30">
                  <c:v>30.89724</c:v>
                </c:pt>
                <c:pt idx="31">
                  <c:v>32.281230000000001</c:v>
                </c:pt>
                <c:pt idx="32">
                  <c:v>31.374030000000001</c:v>
                </c:pt>
                <c:pt idx="33">
                  <c:v>31.63148</c:v>
                </c:pt>
                <c:pt idx="34">
                  <c:v>29.520299999999999</c:v>
                </c:pt>
                <c:pt idx="35">
                  <c:v>30.003540000000001</c:v>
                </c:pt>
                <c:pt idx="36">
                  <c:v>31.36476</c:v>
                </c:pt>
                <c:pt idx="37">
                  <c:v>30.10061</c:v>
                </c:pt>
                <c:pt idx="38">
                  <c:v>30.04045</c:v>
                </c:pt>
                <c:pt idx="39">
                  <c:v>32.148040000000002</c:v>
                </c:pt>
                <c:pt idx="40">
                  <c:v>31.514959999999999</c:v>
                </c:pt>
                <c:pt idx="41">
                  <c:v>33.527979999999999</c:v>
                </c:pt>
                <c:pt idx="42">
                  <c:v>30.907060000000001</c:v>
                </c:pt>
                <c:pt idx="43">
                  <c:v>30.375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3E1-4AE8-A1BD-69513B5D8FA3}"/>
            </c:ext>
          </c:extLst>
        </c:ser>
        <c:ser>
          <c:idx val="0"/>
          <c:order val="3"/>
          <c:tx>
            <c:strRef>
              <c:f>Sheet1!$A$5</c:f>
              <c:strCache>
                <c:ptCount val="1"/>
                <c:pt idx="0">
                  <c:v>31</c:v>
                </c:pt>
              </c:strCache>
            </c:strRef>
          </c:tx>
          <c:spPr>
            <a:ln w="25400">
              <a:solidFill>
                <a:srgbClr val="C00000"/>
              </a:solidFill>
            </a:ln>
          </c:spPr>
          <c:marker>
            <c:symbol val="none"/>
          </c:marker>
          <c:cat>
            <c:numRef>
              <c:f>Sheet1!$B$1:$AS$1</c:f>
              <c:numCache>
                <c:formatCode>General</c:formatCode>
                <c:ptCount val="44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  <c:pt idx="40">
                  <c:v>2020</c:v>
                </c:pt>
                <c:pt idx="41">
                  <c:v>2021</c:v>
                </c:pt>
                <c:pt idx="42">
                  <c:v>2022</c:v>
                </c:pt>
                <c:pt idx="43">
                  <c:v>2023</c:v>
                </c:pt>
              </c:numCache>
            </c:numRef>
          </c:cat>
          <c:val>
            <c:numRef>
              <c:f>Sheet1!$B$5:$AS$5</c:f>
              <c:numCache>
                <c:formatCode>General</c:formatCode>
                <c:ptCount val="44"/>
                <c:pt idx="0">
                  <c:v>19.398150000000001</c:v>
                </c:pt>
                <c:pt idx="1">
                  <c:v>26.395130000000002</c:v>
                </c:pt>
                <c:pt idx="2">
                  <c:v>24.446149999999999</c:v>
                </c:pt>
                <c:pt idx="3">
                  <c:v>20.611820000000002</c:v>
                </c:pt>
                <c:pt idx="4">
                  <c:v>28.19829</c:v>
                </c:pt>
                <c:pt idx="5">
                  <c:v>26.59937</c:v>
                </c:pt>
                <c:pt idx="6">
                  <c:v>31.971329999999998</c:v>
                </c:pt>
                <c:pt idx="7">
                  <c:v>30.371189999999999</c:v>
                </c:pt>
                <c:pt idx="8">
                  <c:v>23.674620000000001</c:v>
                </c:pt>
                <c:pt idx="9">
                  <c:v>31.820039999999999</c:v>
                </c:pt>
                <c:pt idx="10">
                  <c:v>31.70478</c:v>
                </c:pt>
                <c:pt idx="11">
                  <c:v>32.104750000000003</c:v>
                </c:pt>
                <c:pt idx="12">
                  <c:v>36.470880000000001</c:v>
                </c:pt>
                <c:pt idx="13">
                  <c:v>36.386339999999997</c:v>
                </c:pt>
                <c:pt idx="14">
                  <c:v>33.198970000000003</c:v>
                </c:pt>
                <c:pt idx="15">
                  <c:v>38.809669999999997</c:v>
                </c:pt>
                <c:pt idx="16">
                  <c:v>31.015429999999999</c:v>
                </c:pt>
                <c:pt idx="17">
                  <c:v>36.65081</c:v>
                </c:pt>
                <c:pt idx="18">
                  <c:v>40.723239999999997</c:v>
                </c:pt>
                <c:pt idx="19">
                  <c:v>36.050829999999998</c:v>
                </c:pt>
                <c:pt idx="20">
                  <c:v>34.515650000000001</c:v>
                </c:pt>
                <c:pt idx="21">
                  <c:v>31.415320000000001</c:v>
                </c:pt>
                <c:pt idx="22">
                  <c:v>35.832149999999999</c:v>
                </c:pt>
                <c:pt idx="23">
                  <c:v>36.78331</c:v>
                </c:pt>
                <c:pt idx="24">
                  <c:v>38.01493</c:v>
                </c:pt>
                <c:pt idx="25">
                  <c:v>34.194360000000003</c:v>
                </c:pt>
                <c:pt idx="26">
                  <c:v>26.294540000000001</c:v>
                </c:pt>
                <c:pt idx="27">
                  <c:v>32.768369999999997</c:v>
                </c:pt>
                <c:pt idx="28">
                  <c:v>31.071919999999999</c:v>
                </c:pt>
                <c:pt idx="29">
                  <c:v>30.058409999999999</c:v>
                </c:pt>
                <c:pt idx="30">
                  <c:v>30.921559999999999</c:v>
                </c:pt>
                <c:pt idx="31">
                  <c:v>30.986609999999999</c:v>
                </c:pt>
                <c:pt idx="32">
                  <c:v>31.894860000000001</c:v>
                </c:pt>
                <c:pt idx="33">
                  <c:v>33.456519999999998</c:v>
                </c:pt>
                <c:pt idx="34">
                  <c:v>28.47795</c:v>
                </c:pt>
                <c:pt idx="35">
                  <c:v>25.682839999999999</c:v>
                </c:pt>
                <c:pt idx="36">
                  <c:v>25.658149999999999</c:v>
                </c:pt>
                <c:pt idx="37">
                  <c:v>30.880970000000001</c:v>
                </c:pt>
                <c:pt idx="38">
                  <c:v>31.443829999999998</c:v>
                </c:pt>
                <c:pt idx="39">
                  <c:v>32.594929999999998</c:v>
                </c:pt>
                <c:pt idx="40">
                  <c:v>32.857970000000002</c:v>
                </c:pt>
                <c:pt idx="41">
                  <c:v>33.275700000000001</c:v>
                </c:pt>
                <c:pt idx="42">
                  <c:v>36.742379999999997</c:v>
                </c:pt>
                <c:pt idx="43">
                  <c:v>31.632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3E1-4AE8-A1BD-69513B5D8F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7724760"/>
        <c:axId val="1"/>
      </c:lineChart>
      <c:catAx>
        <c:axId val="1677247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cs-CZ"/>
          </a:p>
        </c:txPr>
        <c:crossAx val="1"/>
        <c:crosses val="autoZero"/>
        <c:auto val="1"/>
        <c:lblAlgn val="ctr"/>
        <c:lblOffset val="100"/>
        <c:tickLblSkip val="2"/>
        <c:tickMarkSkip val="1"/>
        <c:noMultiLvlLbl val="0"/>
      </c:catAx>
      <c:valAx>
        <c:axId val="1"/>
        <c:scaling>
          <c:orientation val="minMax"/>
        </c:scaling>
        <c:delete val="0"/>
        <c:axPos val="l"/>
        <c:majorGridlines>
          <c:spPr>
            <a:ln w="12700">
              <a:solidFill>
                <a:srgbClr val="EAEAEA"/>
              </a:solidFill>
              <a:prstDash val="solid"/>
            </a:ln>
          </c:spPr>
        </c:majorGridlines>
        <c:numFmt formatCode="General" sourceLinked="0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cs-CZ"/>
          </a:p>
        </c:txPr>
        <c:crossAx val="167724760"/>
        <c:crosses val="autoZero"/>
        <c:crossBetween val="midCat"/>
      </c:valAx>
      <c:spPr>
        <a:noFill/>
        <a:ln w="2540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00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1349693251533742E-2"/>
          <c:y val="0.10052910052910052"/>
          <c:w val="0.81288343558282206"/>
          <c:h val="0.87830687830687826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mort 5 let</c:v>
                </c:pt>
              </c:strCache>
            </c:strRef>
          </c:tx>
          <c:spPr>
            <a:solidFill>
              <a:srgbClr val="C8C8C8"/>
            </a:solidFill>
            <a:ln w="25399">
              <a:noFill/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D7A-4D4E-B649-14F742768D60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D7A-4D4E-B649-14F742768D60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ED7A-4D4E-B649-14F742768D60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ED7A-4D4E-B649-14F742768D60}"/>
              </c:ext>
            </c:extLst>
          </c:dPt>
          <c:dLbls>
            <c:numFmt formatCode="0.0" sourceLinked="0"/>
            <c:spPr>
              <a:noFill/>
              <a:ln w="253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 i="0" u="none" strike="noStrike" baseline="0">
                    <a:solidFill>
                      <a:schemeClr val="tx1"/>
                    </a:solidFill>
                    <a:latin typeface="+mn-lt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6</c:f>
              <c:strCache>
                <c:ptCount val="15"/>
                <c:pt idx="0">
                  <c:v>Hl. m. Praha</c:v>
                </c:pt>
                <c:pt idx="1">
                  <c:v>Jihočeský kraj</c:v>
                </c:pt>
                <c:pt idx="2">
                  <c:v>Karlovarský kraj</c:v>
                </c:pt>
                <c:pt idx="3">
                  <c:v>Ústecký kraj</c:v>
                </c:pt>
                <c:pt idx="4">
                  <c:v>Liberecký kraj</c:v>
                </c:pt>
                <c:pt idx="5">
                  <c:v>Česká republika</c:v>
                </c:pt>
                <c:pt idx="6">
                  <c:v>Jihomoravský kraj</c:v>
                </c:pt>
                <c:pt idx="7">
                  <c:v>Středočeský kraj</c:v>
                </c:pt>
                <c:pt idx="8">
                  <c:v>Olomoucký kraj</c:v>
                </c:pt>
                <c:pt idx="9">
                  <c:v>Zlínský kraj</c:v>
                </c:pt>
                <c:pt idx="10">
                  <c:v>Plzeňský kraj</c:v>
                </c:pt>
                <c:pt idx="11">
                  <c:v>Moravskoslezský kraj</c:v>
                </c:pt>
                <c:pt idx="12">
                  <c:v>Pardubický kraj</c:v>
                </c:pt>
                <c:pt idx="13">
                  <c:v>Královéhradecký kraj</c:v>
                </c:pt>
                <c:pt idx="14">
                  <c:v>Kraj Vysočina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35.049590000000002</c:v>
                </c:pt>
                <c:pt idx="1">
                  <c:v>33.421779999999998</c:v>
                </c:pt>
                <c:pt idx="2">
                  <c:v>33.303040000000003</c:v>
                </c:pt>
                <c:pt idx="3">
                  <c:v>32.37218</c:v>
                </c:pt>
                <c:pt idx="4">
                  <c:v>32.265439999999998</c:v>
                </c:pt>
                <c:pt idx="5">
                  <c:v>31.68038</c:v>
                </c:pt>
                <c:pt idx="6">
                  <c:v>31.652509999999999</c:v>
                </c:pt>
                <c:pt idx="7">
                  <c:v>31.582550000000001</c:v>
                </c:pt>
                <c:pt idx="8">
                  <c:v>31.348240000000001</c:v>
                </c:pt>
                <c:pt idx="9">
                  <c:v>31.319929999999999</c:v>
                </c:pt>
                <c:pt idx="10">
                  <c:v>30.964500000000001</c:v>
                </c:pt>
                <c:pt idx="11">
                  <c:v>30.669280000000001</c:v>
                </c:pt>
                <c:pt idx="12">
                  <c:v>29.6434</c:v>
                </c:pt>
                <c:pt idx="13">
                  <c:v>29.253070000000001</c:v>
                </c:pt>
                <c:pt idx="14">
                  <c:v>27.11058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7A-4D4E-B649-14F742768D60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rgbClr val="7F7F7F"/>
            </a:solidFill>
            <a:ln w="25399">
              <a:noFill/>
            </a:ln>
          </c:spPr>
          <c:invertIfNegative val="0"/>
          <c:cat>
            <c:strRef>
              <c:f>Sheet1!$A$2:$A$16</c:f>
              <c:strCache>
                <c:ptCount val="15"/>
                <c:pt idx="0">
                  <c:v>Hl. m. Praha</c:v>
                </c:pt>
                <c:pt idx="1">
                  <c:v>Jihočeský kraj</c:v>
                </c:pt>
                <c:pt idx="2">
                  <c:v>Karlovarský kraj</c:v>
                </c:pt>
                <c:pt idx="3">
                  <c:v>Ústecký kraj</c:v>
                </c:pt>
                <c:pt idx="4">
                  <c:v>Liberecký kraj</c:v>
                </c:pt>
                <c:pt idx="5">
                  <c:v>Česká republika</c:v>
                </c:pt>
                <c:pt idx="6">
                  <c:v>Jihomoravský kraj</c:v>
                </c:pt>
                <c:pt idx="7">
                  <c:v>Středočeský kraj</c:v>
                </c:pt>
                <c:pt idx="8">
                  <c:v>Olomoucký kraj</c:v>
                </c:pt>
                <c:pt idx="9">
                  <c:v>Zlínský kraj</c:v>
                </c:pt>
                <c:pt idx="10">
                  <c:v>Plzeňský kraj</c:v>
                </c:pt>
                <c:pt idx="11">
                  <c:v>Moravskoslezský kraj</c:v>
                </c:pt>
                <c:pt idx="12">
                  <c:v>Pardubický kraj</c:v>
                </c:pt>
                <c:pt idx="13">
                  <c:v>Královéhradecký kraj</c:v>
                </c:pt>
                <c:pt idx="14">
                  <c:v>Kraj Vysočina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5">
                  <c:v>31.680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D7A-4D4E-B649-14F742768D60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</c:strCache>
            </c:strRef>
          </c:tx>
          <c:spPr>
            <a:solidFill>
              <a:srgbClr val="C00000"/>
            </a:solidFill>
            <a:ln w="25399">
              <a:noFill/>
            </a:ln>
          </c:spPr>
          <c:invertIfNegative val="0"/>
          <c:cat>
            <c:strRef>
              <c:f>Sheet1!$A$2:$A$16</c:f>
              <c:strCache>
                <c:ptCount val="15"/>
                <c:pt idx="0">
                  <c:v>Hl. m. Praha</c:v>
                </c:pt>
                <c:pt idx="1">
                  <c:v>Jihočeský kraj</c:v>
                </c:pt>
                <c:pt idx="2">
                  <c:v>Karlovarský kraj</c:v>
                </c:pt>
                <c:pt idx="3">
                  <c:v>Ústecký kraj</c:v>
                </c:pt>
                <c:pt idx="4">
                  <c:v>Liberecký kraj</c:v>
                </c:pt>
                <c:pt idx="5">
                  <c:v>Česká republika</c:v>
                </c:pt>
                <c:pt idx="6">
                  <c:v>Jihomoravský kraj</c:v>
                </c:pt>
                <c:pt idx="7">
                  <c:v>Středočeský kraj</c:v>
                </c:pt>
                <c:pt idx="8">
                  <c:v>Olomoucký kraj</c:v>
                </c:pt>
                <c:pt idx="9">
                  <c:v>Zlínský kraj</c:v>
                </c:pt>
                <c:pt idx="10">
                  <c:v>Plzeňský kraj</c:v>
                </c:pt>
                <c:pt idx="11">
                  <c:v>Moravskoslezský kraj</c:v>
                </c:pt>
                <c:pt idx="12">
                  <c:v>Pardubický kraj</c:v>
                </c:pt>
                <c:pt idx="13">
                  <c:v>Královéhradecký kraj</c:v>
                </c:pt>
                <c:pt idx="14">
                  <c:v>Kraj Vysočina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1">
                  <c:v>33.42177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D7A-4D4E-B649-14F742768D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402645200"/>
        <c:axId val="402644808"/>
      </c:barChart>
      <c:catAx>
        <c:axId val="40264520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12700">
            <a:solidFill>
              <a:srgbClr val="000000"/>
            </a:solidFill>
            <a:prstDash val="solid"/>
          </a:ln>
        </c:spPr>
        <c:crossAx val="40264480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402644808"/>
        <c:scaling>
          <c:orientation val="minMax"/>
          <c:max val="40"/>
          <c:min val="0"/>
        </c:scaling>
        <c:delete val="0"/>
        <c:axPos val="t"/>
        <c:numFmt formatCode="0" sourceLinked="0"/>
        <c:majorTickMark val="out"/>
        <c:minorTickMark val="none"/>
        <c:tickLblPos val="nextTo"/>
        <c:spPr>
          <a:ln w="127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cs-CZ"/>
          </a:p>
        </c:txPr>
        <c:crossAx val="402645200"/>
        <c:crosses val="autoZero"/>
        <c:crossBetween val="between"/>
        <c:majorUnit val="10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5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1349693251533742E-2"/>
          <c:y val="0.10052910052910052"/>
          <c:w val="0.81288343558282206"/>
          <c:h val="0.87830687830687826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m 5 let</c:v>
                </c:pt>
              </c:strCache>
            </c:strRef>
          </c:tx>
          <c:spPr>
            <a:solidFill>
              <a:srgbClr val="C8C8C8"/>
            </a:solidFill>
            <a:ln w="25399">
              <a:noFill/>
            </a:ln>
          </c:spPr>
          <c:invertIfNegative val="0"/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563-4A13-8AD2-45FA7C2BC4A2}"/>
              </c:ext>
            </c:extLst>
          </c:dPt>
          <c:dLbls>
            <c:numFmt formatCode="0.0" sourceLinked="0"/>
            <c:spPr>
              <a:noFill/>
              <a:ln w="253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 i="0" u="none" strike="noStrike" baseline="0">
                    <a:solidFill>
                      <a:schemeClr val="tx1"/>
                    </a:solidFill>
                    <a:latin typeface="+mn-lt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Písek</c:v>
                </c:pt>
                <c:pt idx="1">
                  <c:v>Prachatice</c:v>
                </c:pt>
                <c:pt idx="2">
                  <c:v>České Budějovice</c:v>
                </c:pt>
                <c:pt idx="3">
                  <c:v>Tábor</c:v>
                </c:pt>
                <c:pt idx="4">
                  <c:v>Jihočeský kraj</c:v>
                </c:pt>
                <c:pt idx="5">
                  <c:v>Česká republika</c:v>
                </c:pt>
                <c:pt idx="6">
                  <c:v>Strakonice</c:v>
                </c:pt>
                <c:pt idx="7">
                  <c:v>Český Krumlov</c:v>
                </c:pt>
                <c:pt idx="8">
                  <c:v>Jindřichův Hradec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39.659370000000003</c:v>
                </c:pt>
                <c:pt idx="1">
                  <c:v>34.559950000000001</c:v>
                </c:pt>
                <c:pt idx="2">
                  <c:v>33.927019999999999</c:v>
                </c:pt>
                <c:pt idx="3">
                  <c:v>33.741430000000001</c:v>
                </c:pt>
                <c:pt idx="4">
                  <c:v>33.421779999999998</c:v>
                </c:pt>
                <c:pt idx="5">
                  <c:v>31.68038</c:v>
                </c:pt>
                <c:pt idx="6">
                  <c:v>31.26605</c:v>
                </c:pt>
                <c:pt idx="7">
                  <c:v>30.871700000000001</c:v>
                </c:pt>
                <c:pt idx="8">
                  <c:v>29.74328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563-4A13-8AD2-45FA7C2BC4A2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rgbClr val="7F7F7F"/>
            </a:solidFill>
            <a:ln w="25399">
              <a:noFill/>
            </a:ln>
          </c:spPr>
          <c:invertIfNegative val="0"/>
          <c:cat>
            <c:strRef>
              <c:f>Sheet1!$A$2:$A$10</c:f>
              <c:strCache>
                <c:ptCount val="9"/>
                <c:pt idx="0">
                  <c:v>Písek</c:v>
                </c:pt>
                <c:pt idx="1">
                  <c:v>Prachatice</c:v>
                </c:pt>
                <c:pt idx="2">
                  <c:v>České Budějovice</c:v>
                </c:pt>
                <c:pt idx="3">
                  <c:v>Tábor</c:v>
                </c:pt>
                <c:pt idx="4">
                  <c:v>Jihočeský kraj</c:v>
                </c:pt>
                <c:pt idx="5">
                  <c:v>Česká republika</c:v>
                </c:pt>
                <c:pt idx="6">
                  <c:v>Strakonice</c:v>
                </c:pt>
                <c:pt idx="7">
                  <c:v>Český Krumlov</c:v>
                </c:pt>
                <c:pt idx="8">
                  <c:v>Jindřichův Hradec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5">
                  <c:v>31.680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563-4A13-8AD2-45FA7C2BC4A2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</c:strCache>
            </c:strRef>
          </c:tx>
          <c:spPr>
            <a:solidFill>
              <a:srgbClr val="C00000"/>
            </a:solidFill>
            <a:ln w="25399">
              <a:noFill/>
            </a:ln>
          </c:spPr>
          <c:invertIfNegative val="0"/>
          <c:cat>
            <c:strRef>
              <c:f>Sheet1!$A$2:$A$10</c:f>
              <c:strCache>
                <c:ptCount val="9"/>
                <c:pt idx="0">
                  <c:v>Písek</c:v>
                </c:pt>
                <c:pt idx="1">
                  <c:v>Prachatice</c:v>
                </c:pt>
                <c:pt idx="2">
                  <c:v>České Budějovice</c:v>
                </c:pt>
                <c:pt idx="3">
                  <c:v>Tábor</c:v>
                </c:pt>
                <c:pt idx="4">
                  <c:v>Jihočeský kraj</c:v>
                </c:pt>
                <c:pt idx="5">
                  <c:v>Česká republika</c:v>
                </c:pt>
                <c:pt idx="6">
                  <c:v>Strakonice</c:v>
                </c:pt>
                <c:pt idx="7">
                  <c:v>Český Krumlov</c:v>
                </c:pt>
                <c:pt idx="8">
                  <c:v>Jindřichův Hradec</c:v>
                </c:pt>
              </c:strCache>
            </c:strRef>
          </c:cat>
          <c:val>
            <c:numRef>
              <c:f>Sheet1!$D$2:$D$10</c:f>
              <c:numCache>
                <c:formatCode>General</c:formatCode>
                <c:ptCount val="9"/>
                <c:pt idx="4">
                  <c:v>33.42177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563-4A13-8AD2-45FA7C2BC4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402645200"/>
        <c:axId val="402644808"/>
      </c:barChart>
      <c:catAx>
        <c:axId val="40264520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12700">
            <a:solidFill>
              <a:srgbClr val="000000"/>
            </a:solidFill>
            <a:prstDash val="solid"/>
          </a:ln>
        </c:spPr>
        <c:crossAx val="40264480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402644808"/>
        <c:scaling>
          <c:orientation val="minMax"/>
          <c:max val="40"/>
        </c:scaling>
        <c:delete val="0"/>
        <c:axPos val="t"/>
        <c:numFmt formatCode="0" sourceLinked="0"/>
        <c:majorTickMark val="out"/>
        <c:minorTickMark val="none"/>
        <c:tickLblPos val="nextTo"/>
        <c:spPr>
          <a:ln w="127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cs-CZ"/>
          </a:p>
        </c:txPr>
        <c:crossAx val="402645200"/>
        <c:crosses val="autoZero"/>
        <c:crossBetween val="between"/>
        <c:majorUnit val="10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5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1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Plzeňský kraj</c:v>
                </c:pt>
                <c:pt idx="1">
                  <c:v>Královéhradecký kraj</c:v>
                </c:pt>
                <c:pt idx="2">
                  <c:v>Jihočeský kraj</c:v>
                </c:pt>
                <c:pt idx="3">
                  <c:v>Zlínský kraj</c:v>
                </c:pt>
                <c:pt idx="4">
                  <c:v>Olomoucký kraj</c:v>
                </c:pt>
                <c:pt idx="5">
                  <c:v>Pardubický kraj</c:v>
                </c:pt>
                <c:pt idx="6">
                  <c:v>Kraj Vysočina</c:v>
                </c:pt>
                <c:pt idx="7">
                  <c:v>Liberecký kraj</c:v>
                </c:pt>
                <c:pt idx="8">
                  <c:v>Jihomoravský kraj</c:v>
                </c:pt>
                <c:pt idx="9">
                  <c:v>Česká republika</c:v>
                </c:pt>
                <c:pt idx="10">
                  <c:v>Hl. m. Praha</c:v>
                </c:pt>
                <c:pt idx="11">
                  <c:v>Karlovarský kraj</c:v>
                </c:pt>
                <c:pt idx="12">
                  <c:v>Ústecký kraj</c:v>
                </c:pt>
                <c:pt idx="13">
                  <c:v>Středočeský kraj</c:v>
                </c:pt>
                <c:pt idx="14">
                  <c:v>Moravskoslezský kraj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52.996699999999997</c:v>
                </c:pt>
                <c:pt idx="1">
                  <c:v>52.025489999999998</c:v>
                </c:pt>
                <c:pt idx="2">
                  <c:v>50.541519999999998</c:v>
                </c:pt>
                <c:pt idx="3">
                  <c:v>50.639850000000003</c:v>
                </c:pt>
                <c:pt idx="4">
                  <c:v>50.898200000000003</c:v>
                </c:pt>
                <c:pt idx="5">
                  <c:v>50.79627</c:v>
                </c:pt>
                <c:pt idx="6">
                  <c:v>51.257689999999997</c:v>
                </c:pt>
                <c:pt idx="7">
                  <c:v>44.168259999999997</c:v>
                </c:pt>
                <c:pt idx="8">
                  <c:v>48.579419999999999</c:v>
                </c:pt>
                <c:pt idx="9">
                  <c:v>48.76211</c:v>
                </c:pt>
                <c:pt idx="10">
                  <c:v>46.54824</c:v>
                </c:pt>
                <c:pt idx="11">
                  <c:v>52.32432</c:v>
                </c:pt>
                <c:pt idx="12">
                  <c:v>44.026470000000003</c:v>
                </c:pt>
                <c:pt idx="13">
                  <c:v>47.365169999999999</c:v>
                </c:pt>
                <c:pt idx="14">
                  <c:v>48.54881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B65-4E09-8A10-3E5001B4B41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Plzeňský kraj</c:v>
                </c:pt>
                <c:pt idx="1">
                  <c:v>Královéhradecký kraj</c:v>
                </c:pt>
                <c:pt idx="2">
                  <c:v>Jihočeský kraj</c:v>
                </c:pt>
                <c:pt idx="3">
                  <c:v>Zlínský kraj</c:v>
                </c:pt>
                <c:pt idx="4">
                  <c:v>Olomoucký kraj</c:v>
                </c:pt>
                <c:pt idx="5">
                  <c:v>Pardubický kraj</c:v>
                </c:pt>
                <c:pt idx="6">
                  <c:v>Kraj Vysočina</c:v>
                </c:pt>
                <c:pt idx="7">
                  <c:v>Liberecký kraj</c:v>
                </c:pt>
                <c:pt idx="8">
                  <c:v>Jihomoravský kraj</c:v>
                </c:pt>
                <c:pt idx="9">
                  <c:v>Česká republika</c:v>
                </c:pt>
                <c:pt idx="10">
                  <c:v>Hl. m. Praha</c:v>
                </c:pt>
                <c:pt idx="11">
                  <c:v>Karlovarský kraj</c:v>
                </c:pt>
                <c:pt idx="12">
                  <c:v>Ústecký kraj</c:v>
                </c:pt>
                <c:pt idx="13">
                  <c:v>Středočeský kraj</c:v>
                </c:pt>
                <c:pt idx="14">
                  <c:v>Moravskoslezský kraj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  <c:pt idx="0">
                  <c:v>30.438890000000001</c:v>
                </c:pt>
                <c:pt idx="1">
                  <c:v>30.177510000000002</c:v>
                </c:pt>
                <c:pt idx="2">
                  <c:v>31.317689999999999</c:v>
                </c:pt>
                <c:pt idx="3">
                  <c:v>31.215720000000001</c:v>
                </c:pt>
                <c:pt idx="4">
                  <c:v>30.308610000000002</c:v>
                </c:pt>
                <c:pt idx="5">
                  <c:v>30.313009999999998</c:v>
                </c:pt>
                <c:pt idx="6">
                  <c:v>29.68139</c:v>
                </c:pt>
                <c:pt idx="7">
                  <c:v>36.711280000000002</c:v>
                </c:pt>
                <c:pt idx="8">
                  <c:v>31.855360000000001</c:v>
                </c:pt>
                <c:pt idx="9">
                  <c:v>31.231649999999998</c:v>
                </c:pt>
                <c:pt idx="10">
                  <c:v>32.983449999999998</c:v>
                </c:pt>
                <c:pt idx="11">
                  <c:v>26.59459</c:v>
                </c:pt>
                <c:pt idx="12">
                  <c:v>34.517589999999998</c:v>
                </c:pt>
                <c:pt idx="13">
                  <c:v>30.177029999999998</c:v>
                </c:pt>
                <c:pt idx="14">
                  <c:v>28.85584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B65-4E09-8A10-3E5001B4B41C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3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Plzeňský kraj</c:v>
                </c:pt>
                <c:pt idx="1">
                  <c:v>Královéhradecký kraj</c:v>
                </c:pt>
                <c:pt idx="2">
                  <c:v>Jihočeský kraj</c:v>
                </c:pt>
                <c:pt idx="3">
                  <c:v>Zlínský kraj</c:v>
                </c:pt>
                <c:pt idx="4">
                  <c:v>Olomoucký kraj</c:v>
                </c:pt>
                <c:pt idx="5">
                  <c:v>Pardubický kraj</c:v>
                </c:pt>
                <c:pt idx="6">
                  <c:v>Kraj Vysočina</c:v>
                </c:pt>
                <c:pt idx="7">
                  <c:v>Liberecký kraj</c:v>
                </c:pt>
                <c:pt idx="8">
                  <c:v>Jihomoravský kraj</c:v>
                </c:pt>
                <c:pt idx="9">
                  <c:v>Česká republika</c:v>
                </c:pt>
                <c:pt idx="10">
                  <c:v>Hl. m. Praha</c:v>
                </c:pt>
                <c:pt idx="11">
                  <c:v>Karlovarský kraj</c:v>
                </c:pt>
                <c:pt idx="12">
                  <c:v>Ústecký kraj</c:v>
                </c:pt>
                <c:pt idx="13">
                  <c:v>Středočeský kraj</c:v>
                </c:pt>
                <c:pt idx="14">
                  <c:v>Moravskoslezský kraj</c:v>
                </c:pt>
              </c:strCache>
            </c:strRef>
          </c:cat>
          <c:val>
            <c:numRef>
              <c:f>List1!$D$2:$D$16</c:f>
              <c:numCache>
                <c:formatCode>General</c:formatCode>
                <c:ptCount val="15"/>
                <c:pt idx="0">
                  <c:v>10.004720000000001</c:v>
                </c:pt>
                <c:pt idx="1">
                  <c:v>10.19572</c:v>
                </c:pt>
                <c:pt idx="2">
                  <c:v>8.5288810000000002</c:v>
                </c:pt>
                <c:pt idx="3">
                  <c:v>11.06033</c:v>
                </c:pt>
                <c:pt idx="4">
                  <c:v>7.8304929999999997</c:v>
                </c:pt>
                <c:pt idx="5">
                  <c:v>9.3355300000000003</c:v>
                </c:pt>
                <c:pt idx="6">
                  <c:v>8.6640580000000007</c:v>
                </c:pt>
                <c:pt idx="7">
                  <c:v>6.8833650000000004</c:v>
                </c:pt>
                <c:pt idx="8">
                  <c:v>9.5566080000000007</c:v>
                </c:pt>
                <c:pt idx="9">
                  <c:v>9.3185769999999994</c:v>
                </c:pt>
                <c:pt idx="10">
                  <c:v>8.8615259999999996</c:v>
                </c:pt>
                <c:pt idx="11">
                  <c:v>9.2972970000000004</c:v>
                </c:pt>
                <c:pt idx="12">
                  <c:v>12.469519999999999</c:v>
                </c:pt>
                <c:pt idx="13">
                  <c:v>8.1720869999999994</c:v>
                </c:pt>
                <c:pt idx="14">
                  <c:v>9.426721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B65-4E09-8A10-3E5001B4B41C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4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Plzeňský kraj</c:v>
                </c:pt>
                <c:pt idx="1">
                  <c:v>Královéhradecký kraj</c:v>
                </c:pt>
                <c:pt idx="2">
                  <c:v>Jihočeský kraj</c:v>
                </c:pt>
                <c:pt idx="3">
                  <c:v>Zlínský kraj</c:v>
                </c:pt>
                <c:pt idx="4">
                  <c:v>Olomoucký kraj</c:v>
                </c:pt>
                <c:pt idx="5">
                  <c:v>Pardubický kraj</c:v>
                </c:pt>
                <c:pt idx="6">
                  <c:v>Kraj Vysočina</c:v>
                </c:pt>
                <c:pt idx="7">
                  <c:v>Liberecký kraj</c:v>
                </c:pt>
                <c:pt idx="8">
                  <c:v>Jihomoravský kraj</c:v>
                </c:pt>
                <c:pt idx="9">
                  <c:v>Česká republika</c:v>
                </c:pt>
                <c:pt idx="10">
                  <c:v>Hl. m. Praha</c:v>
                </c:pt>
                <c:pt idx="11">
                  <c:v>Karlovarský kraj</c:v>
                </c:pt>
                <c:pt idx="12">
                  <c:v>Ústecký kraj</c:v>
                </c:pt>
                <c:pt idx="13">
                  <c:v>Středočeský kraj</c:v>
                </c:pt>
                <c:pt idx="14">
                  <c:v>Moravskoslezský kraj</c:v>
                </c:pt>
              </c:strCache>
            </c:strRef>
          </c:cat>
          <c:val>
            <c:numRef>
              <c:f>List1!$E$2:$E$16</c:f>
              <c:numCache>
                <c:formatCode>General</c:formatCode>
                <c:ptCount val="15"/>
                <c:pt idx="0">
                  <c:v>5.7574329999999998</c:v>
                </c:pt>
                <c:pt idx="1">
                  <c:v>6.2357760000000004</c:v>
                </c:pt>
                <c:pt idx="2">
                  <c:v>8.0324910000000003</c:v>
                </c:pt>
                <c:pt idx="3">
                  <c:v>5.3473490000000004</c:v>
                </c:pt>
                <c:pt idx="4">
                  <c:v>8.1068630000000006</c:v>
                </c:pt>
                <c:pt idx="5">
                  <c:v>5.7660629999999999</c:v>
                </c:pt>
                <c:pt idx="6">
                  <c:v>6.428172</c:v>
                </c:pt>
                <c:pt idx="7">
                  <c:v>5.6086679999999998</c:v>
                </c:pt>
                <c:pt idx="8">
                  <c:v>7.6194579999999998</c:v>
                </c:pt>
                <c:pt idx="9">
                  <c:v>6.6193850000000003</c:v>
                </c:pt>
                <c:pt idx="10">
                  <c:v>7.630198</c:v>
                </c:pt>
                <c:pt idx="11">
                  <c:v>5.1891889999999998</c:v>
                </c:pt>
                <c:pt idx="12">
                  <c:v>6.8965519999999998</c:v>
                </c:pt>
                <c:pt idx="13">
                  <c:v>5.990119</c:v>
                </c:pt>
                <c:pt idx="14">
                  <c:v>5.780763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B65-4E09-8A10-3E5001B4B41C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X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6</c:f>
              <c:strCache>
                <c:ptCount val="15"/>
                <c:pt idx="0">
                  <c:v>Plzeňský kraj</c:v>
                </c:pt>
                <c:pt idx="1">
                  <c:v>Královéhradecký kraj</c:v>
                </c:pt>
                <c:pt idx="2">
                  <c:v>Jihočeský kraj</c:v>
                </c:pt>
                <c:pt idx="3">
                  <c:v>Zlínský kraj</c:v>
                </c:pt>
                <c:pt idx="4">
                  <c:v>Olomoucký kraj</c:v>
                </c:pt>
                <c:pt idx="5">
                  <c:v>Pardubický kraj</c:v>
                </c:pt>
                <c:pt idx="6">
                  <c:v>Kraj Vysočina</c:v>
                </c:pt>
                <c:pt idx="7">
                  <c:v>Liberecký kraj</c:v>
                </c:pt>
                <c:pt idx="8">
                  <c:v>Jihomoravský kraj</c:v>
                </c:pt>
                <c:pt idx="9">
                  <c:v>Česká republika</c:v>
                </c:pt>
                <c:pt idx="10">
                  <c:v>Hl. m. Praha</c:v>
                </c:pt>
                <c:pt idx="11">
                  <c:v>Karlovarský kraj</c:v>
                </c:pt>
                <c:pt idx="12">
                  <c:v>Ústecký kraj</c:v>
                </c:pt>
                <c:pt idx="13">
                  <c:v>Středočeský kraj</c:v>
                </c:pt>
                <c:pt idx="14">
                  <c:v>Moravskoslezský kraj</c:v>
                </c:pt>
              </c:strCache>
            </c:strRef>
          </c:cat>
          <c:val>
            <c:numRef>
              <c:f>List1!$F$2:$F$16</c:f>
              <c:numCache>
                <c:formatCode>General</c:formatCode>
                <c:ptCount val="15"/>
                <c:pt idx="0">
                  <c:v>0.330345</c:v>
                </c:pt>
                <c:pt idx="1">
                  <c:v>0.18206600000000001</c:v>
                </c:pt>
                <c:pt idx="2">
                  <c:v>0.180505</c:v>
                </c:pt>
                <c:pt idx="3">
                  <c:v>0.228519</c:v>
                </c:pt>
                <c:pt idx="4">
                  <c:v>0.50667899999999999</c:v>
                </c:pt>
                <c:pt idx="5">
                  <c:v>0.43931900000000002</c:v>
                </c:pt>
                <c:pt idx="6">
                  <c:v>0.614869</c:v>
                </c:pt>
                <c:pt idx="7">
                  <c:v>1.0197579999999999</c:v>
                </c:pt>
                <c:pt idx="8">
                  <c:v>0.49504999999999999</c:v>
                </c:pt>
                <c:pt idx="9">
                  <c:v>0.56633699999999998</c:v>
                </c:pt>
                <c:pt idx="10">
                  <c:v>0.70650000000000002</c:v>
                </c:pt>
                <c:pt idx="11">
                  <c:v>0.54054100000000005</c:v>
                </c:pt>
                <c:pt idx="12">
                  <c:v>0.48763499999999999</c:v>
                </c:pt>
                <c:pt idx="13">
                  <c:v>0.67929200000000001</c:v>
                </c:pt>
                <c:pt idx="14">
                  <c:v>1.0074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B65-4E09-8A10-3E5001B4B41C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Y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6</c:f>
              <c:strCache>
                <c:ptCount val="15"/>
                <c:pt idx="0">
                  <c:v>Plzeňský kraj</c:v>
                </c:pt>
                <c:pt idx="1">
                  <c:v>Královéhradecký kraj</c:v>
                </c:pt>
                <c:pt idx="2">
                  <c:v>Jihočeský kraj</c:v>
                </c:pt>
                <c:pt idx="3">
                  <c:v>Zlínský kraj</c:v>
                </c:pt>
                <c:pt idx="4">
                  <c:v>Olomoucký kraj</c:v>
                </c:pt>
                <c:pt idx="5">
                  <c:v>Pardubický kraj</c:v>
                </c:pt>
                <c:pt idx="6">
                  <c:v>Kraj Vysočina</c:v>
                </c:pt>
                <c:pt idx="7">
                  <c:v>Liberecký kraj</c:v>
                </c:pt>
                <c:pt idx="8">
                  <c:v>Jihomoravský kraj</c:v>
                </c:pt>
                <c:pt idx="9">
                  <c:v>Česká republika</c:v>
                </c:pt>
                <c:pt idx="10">
                  <c:v>Hl. m. Praha</c:v>
                </c:pt>
                <c:pt idx="11">
                  <c:v>Karlovarský kraj</c:v>
                </c:pt>
                <c:pt idx="12">
                  <c:v>Ústecký kraj</c:v>
                </c:pt>
                <c:pt idx="13">
                  <c:v>Středočeský kraj</c:v>
                </c:pt>
                <c:pt idx="14">
                  <c:v>Moravskoslezský kraj</c:v>
                </c:pt>
              </c:strCache>
            </c:strRef>
          </c:cat>
          <c:val>
            <c:numRef>
              <c:f>List1!$G$2:$G$16</c:f>
              <c:numCache>
                <c:formatCode>General</c:formatCode>
                <c:ptCount val="15"/>
                <c:pt idx="0">
                  <c:v>0.47192099999999998</c:v>
                </c:pt>
                <c:pt idx="1">
                  <c:v>1.183432</c:v>
                </c:pt>
                <c:pt idx="2">
                  <c:v>1.398917</c:v>
                </c:pt>
                <c:pt idx="3">
                  <c:v>1.508227</c:v>
                </c:pt>
                <c:pt idx="4">
                  <c:v>2.349148</c:v>
                </c:pt>
                <c:pt idx="5">
                  <c:v>3.3498079999999999</c:v>
                </c:pt>
                <c:pt idx="6">
                  <c:v>3.3538290000000002</c:v>
                </c:pt>
                <c:pt idx="7">
                  <c:v>5.6086679999999998</c:v>
                </c:pt>
                <c:pt idx="8">
                  <c:v>1.894102</c:v>
                </c:pt>
                <c:pt idx="9">
                  <c:v>3.501935</c:v>
                </c:pt>
                <c:pt idx="10">
                  <c:v>3.2700849999999999</c:v>
                </c:pt>
                <c:pt idx="11">
                  <c:v>6.0540539999999998</c:v>
                </c:pt>
                <c:pt idx="12">
                  <c:v>1.6022289999999999</c:v>
                </c:pt>
                <c:pt idx="13">
                  <c:v>7.6163030000000003</c:v>
                </c:pt>
                <c:pt idx="14">
                  <c:v>6.380427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B65-4E09-8A10-3E5001B4B4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372726336"/>
        <c:axId val="372726728"/>
      </c:barChart>
      <c:catAx>
        <c:axId val="372726336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72726728"/>
        <c:crosses val="autoZero"/>
        <c:auto val="1"/>
        <c:lblAlgn val="ctr"/>
        <c:lblOffset val="100"/>
        <c:noMultiLvlLbl val="0"/>
      </c:catAx>
      <c:valAx>
        <c:axId val="372726728"/>
        <c:scaling>
          <c:orientation val="minMax"/>
          <c:max val="1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72726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 b="0">
          <a:solidFill>
            <a:schemeClr val="tx1"/>
          </a:solidFill>
        </a:defRPr>
      </a:pPr>
      <a:endParaRPr lang="cs-CZ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7CC9A5-5438-441F-BF1D-E82C0D67BAC3}" type="datetimeFigureOut">
              <a:rPr lang="cs-CZ" smtClean="0"/>
              <a:t>13.05.2025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373063" y="1233488"/>
            <a:ext cx="5922962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66909" y="4751219"/>
            <a:ext cx="533527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9377317"/>
            <a:ext cx="2889938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777607" y="9377317"/>
            <a:ext cx="2889938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73D133-0F03-4048-B977-122E57A7AC0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803965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032FB2-C134-1A40-AEFF-BA4E7FB1B3E0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62717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/>
              <a:t>MC1-</a:t>
            </a:r>
            <a:r>
              <a:rPr lang="cs-CZ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UZIS/002608/2025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099900-E466-46CB-AE73-C74111AA0FA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24560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/>
              <a:t>MC1-</a:t>
            </a:r>
            <a:r>
              <a:rPr lang="cs-CZ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UZIS/002608/2025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099900-E466-46CB-AE73-C74111AA0FA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08542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/>
              <a:t>MC1-</a:t>
            </a:r>
            <a:r>
              <a:rPr lang="cs-CZ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UZIS/002608/2025</a:t>
            </a:r>
            <a:endParaRPr lang="cs-CZ" dirty="0"/>
          </a:p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099900-E466-46CB-AE73-C74111AA0FA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20616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2018-22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73D133-0F03-4048-B977-122E57A7AC05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5520913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032FB2-C134-1A40-AEFF-BA4E7FB1B3E0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52486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73D133-0F03-4048-B977-122E57A7AC05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74314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73D133-0F03-4048-B977-122E57A7AC05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809954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032FB2-C134-1A40-AEFF-BA4E7FB1B3E0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227465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73D133-0F03-4048-B977-122E57A7AC05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54772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032FB2-C134-1A40-AEFF-BA4E7FB1B3E0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3675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032FB2-C134-1A40-AEFF-BA4E7FB1B3E0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6793967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032FB2-C134-1A40-AEFF-BA4E7FB1B3E0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14404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032FB2-C134-1A40-AEFF-BA4E7FB1B3E0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656910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032FB2-C134-1A40-AEFF-BA4E7FB1B3E0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209210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73D133-0F03-4048-B977-122E57A7AC05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91297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MZ1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0DC179-AD8F-41E7-B142-EA1416109C2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692380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MZ1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0DC179-AD8F-41E7-B142-EA1416109C2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424993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MZ1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0DC179-AD8F-41E7-B142-EA1416109C2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911863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MZ1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0DC179-AD8F-41E7-B142-EA1416109C2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672917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MZ1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0DC179-AD8F-41E7-B142-EA1416109C2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75558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K1250106</a:t>
            </a:r>
          </a:p>
          <a:p>
            <a:r>
              <a:rPr lang="cs-CZ" dirty="0"/>
              <a:t>V rámci ČR se postupně přežití zlepšuje, ale patří k </a:t>
            </a:r>
            <a:r>
              <a:rPr lang="cs-CZ" dirty="0" err="1"/>
              <a:t>nejnižsím</a:t>
            </a:r>
            <a:endParaRPr lang="cs-CZ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14943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MZ1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0DC179-AD8F-41E7-B142-EA1416109C2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692380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K1250228</a:t>
            </a:r>
          </a:p>
          <a:p>
            <a:r>
              <a:rPr lang="cs-CZ" dirty="0"/>
              <a:t>Odpovídá průměru ČR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980108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/>
              <a:t>MC1-</a:t>
            </a:r>
            <a:r>
              <a:rPr lang="cs-CZ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UZIS/002608/2025</a:t>
            </a:r>
            <a:endParaRPr lang="cs-CZ" dirty="0"/>
          </a:p>
          <a:p>
            <a:r>
              <a:rPr lang="cs-CZ" dirty="0"/>
              <a:t>O něco méně léčených v KOC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099900-E466-46CB-AE73-C74111AA0FA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379305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/>
              <a:t>MC1-</a:t>
            </a:r>
            <a:r>
              <a:rPr lang="cs-CZ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UZIS/002608/2025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099900-E466-46CB-AE73-C74111AA0FA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29099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032FB2-C134-1A40-AEFF-BA4E7FB1B3E0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5276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032FB2-C134-1A40-AEFF-BA4E7FB1B3E0}" type="slidenum">
              <a:rPr lang="cs-CZ" smtClean="0"/>
              <a:t>3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7109700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032FB2-C134-1A40-AEFF-BA4E7FB1B3E0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456902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032FB2-C134-1A40-AEFF-BA4E7FB1B3E0}" type="slidenum">
              <a:rPr lang="cs-CZ" smtClean="0"/>
              <a:t>4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3980895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032FB2-C134-1A40-AEFF-BA4E7FB1B3E0}" type="slidenum">
              <a:rPr lang="cs-CZ" smtClean="0"/>
              <a:t>4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5046694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032FB2-C134-1A40-AEFF-BA4E7FB1B3E0}" type="slidenum">
              <a:rPr lang="cs-CZ" smtClean="0"/>
              <a:t>4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5919460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032FB2-C134-1A40-AEFF-BA4E7FB1B3E0}" type="slidenum">
              <a:rPr lang="cs-CZ" smtClean="0"/>
              <a:t>4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086948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MZ1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0DC179-AD8F-41E7-B142-EA1416109C2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424993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LDCT vyšetření bylo provedeno celkem u 13 134 osob.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032FB2-C134-1A40-AEFF-BA4E7FB1B3E0}" type="slidenum">
              <a:rPr lang="cs-CZ" smtClean="0"/>
              <a:t>4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4015390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i="0" u="none" strike="noStrike" kern="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+mj-lt"/>
              </a:rPr>
              <a:t>Z celkového počtu </a:t>
            </a:r>
            <a:r>
              <a:rPr lang="cs-CZ" sz="1000" kern="0" dirty="0">
                <a:solidFill>
                  <a:srgbClr val="DDDCE0">
                    <a:lumMod val="10000"/>
                  </a:srgbClr>
                </a:solidFill>
                <a:latin typeface="+mj-lt"/>
              </a:rPr>
              <a:t>486</a:t>
            </a:r>
            <a:r>
              <a:rPr kumimoji="0" lang="cs-CZ" sz="1000" i="0" u="none" strike="noStrike" kern="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+mj-lt"/>
              </a:rPr>
              <a:t> pozitivních pacientů na základě LDCT, mělo </a:t>
            </a:r>
            <a:r>
              <a:rPr lang="cs-CZ" sz="1000" b="1" kern="0" dirty="0">
                <a:solidFill>
                  <a:srgbClr val="C00000"/>
                </a:solidFill>
                <a:latin typeface="+mj-lt"/>
              </a:rPr>
              <a:t>126</a:t>
            </a:r>
            <a:r>
              <a:rPr kumimoji="0" lang="cs-CZ" sz="10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j-lt"/>
              </a:rPr>
              <a:t> (26 %) pacientů záznam v NOR</a:t>
            </a:r>
            <a:r>
              <a:rPr kumimoji="0" lang="cs-CZ" sz="1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*</a:t>
            </a:r>
            <a:r>
              <a:rPr kumimoji="0" lang="cs-CZ" sz="10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j-lt"/>
              </a:rPr>
              <a:t>.</a:t>
            </a:r>
          </a:p>
          <a:p>
            <a:pPr algn="l">
              <a:defRPr/>
            </a:pPr>
            <a:r>
              <a:rPr lang="cs-CZ" sz="1000" b="1" kern="0" dirty="0">
                <a:solidFill>
                  <a:srgbClr val="274073"/>
                </a:solidFill>
                <a:latin typeface="+mj-lt"/>
              </a:rPr>
              <a:t>Celkem </a:t>
            </a:r>
            <a:r>
              <a:rPr lang="cs-CZ" sz="1000" b="1" kern="0" dirty="0">
                <a:solidFill>
                  <a:schemeClr val="accent1"/>
                </a:solidFill>
                <a:latin typeface="+mj-lt"/>
              </a:rPr>
              <a:t>58 % (N = 73) osob </a:t>
            </a:r>
            <a:r>
              <a:rPr lang="cs-CZ" sz="1000" kern="0" dirty="0">
                <a:solidFill>
                  <a:schemeClr val="bg2">
                    <a:lumMod val="10000"/>
                  </a:schemeClr>
                </a:solidFill>
                <a:latin typeface="+mj-lt"/>
              </a:rPr>
              <a:t>mělo</a:t>
            </a:r>
            <a:r>
              <a:rPr lang="cs-CZ" sz="1000" kern="0" dirty="0">
                <a:latin typeface="+mj-lt"/>
              </a:rPr>
              <a:t> onemocnění diagnostikováno</a:t>
            </a:r>
            <a:r>
              <a:rPr lang="cs-CZ" sz="1000" b="1" kern="0" dirty="0">
                <a:solidFill>
                  <a:srgbClr val="274073"/>
                </a:solidFill>
                <a:latin typeface="+mj-lt"/>
              </a:rPr>
              <a:t> </a:t>
            </a:r>
            <a:r>
              <a:rPr lang="cs-CZ" sz="1000" b="1" kern="0" dirty="0">
                <a:solidFill>
                  <a:schemeClr val="accent1"/>
                </a:solidFill>
                <a:latin typeface="+mj-lt"/>
              </a:rPr>
              <a:t>ve stadiu I a II. </a:t>
            </a:r>
            <a:r>
              <a:rPr lang="cs-CZ" sz="1000" dirty="0"/>
              <a:t> </a:t>
            </a:r>
          </a:p>
          <a:p>
            <a:pPr algn="l">
              <a:defRPr/>
            </a:pPr>
            <a:r>
              <a:rPr lang="cs-CZ" sz="1000" kern="0" dirty="0">
                <a:solidFill>
                  <a:schemeClr val="bg2">
                    <a:lumMod val="10000"/>
                  </a:schemeClr>
                </a:solidFill>
                <a:latin typeface="+mj-lt"/>
              </a:rPr>
              <a:t>Pět pozitivních pacientů na základě LDCT se záznamem v </a:t>
            </a:r>
            <a:r>
              <a:rPr lang="cs-CZ" sz="1000" kern="0" dirty="0" err="1">
                <a:solidFill>
                  <a:schemeClr val="bg2">
                    <a:lumMod val="10000"/>
                  </a:schemeClr>
                </a:solidFill>
                <a:latin typeface="+mj-lt"/>
              </a:rPr>
              <a:t>NORu</a:t>
            </a:r>
            <a:r>
              <a:rPr lang="cs-CZ" sz="1000" kern="0" dirty="0">
                <a:solidFill>
                  <a:schemeClr val="bg2">
                    <a:lumMod val="10000"/>
                  </a:schemeClr>
                </a:solidFill>
                <a:latin typeface="+mj-lt"/>
              </a:rPr>
              <a:t> žije v Jihočeském kraji</a:t>
            </a:r>
            <a:r>
              <a:rPr lang="cs-CZ" sz="1000" dirty="0"/>
              <a:t>.</a:t>
            </a:r>
            <a:endParaRPr kumimoji="0" lang="cs-CZ" sz="10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</a:endParaRPr>
          </a:p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032FB2-C134-1A40-AEFF-BA4E7FB1B3E0}" type="slidenum">
              <a:rPr lang="cs-CZ" smtClean="0"/>
              <a:t>4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8754029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Solidní základna, hodnoty nad průměrem ČR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73D133-0F03-4048-B977-122E57A7AC05}" type="slidenum">
              <a:rPr lang="cs-CZ" smtClean="0"/>
              <a:t>4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470861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032FB2-C134-1A40-AEFF-BA4E7FB1B3E0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59556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MZ1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0DC179-AD8F-41E7-B142-EA1416109C2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91186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MZ1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0DC179-AD8F-41E7-B142-EA1416109C2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67291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MZ1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0DC179-AD8F-41E7-B142-EA1416109C2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7555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K1250106</a:t>
            </a:r>
          </a:p>
          <a:p>
            <a:r>
              <a:rPr lang="cs-CZ" dirty="0"/>
              <a:t>Nádor s dobrým přežitím, v čase se zvyšuj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0289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/>
              <a:t>HK1250228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7104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image" Target="../media/image4.emf"/><Relationship Id="rId18" Type="http://schemas.openxmlformats.org/officeDocument/2006/relationships/image" Target="../media/image9.emf"/><Relationship Id="rId3" Type="http://schemas.openxmlformats.org/officeDocument/2006/relationships/tags" Target="../tags/tag4.xml"/><Relationship Id="rId21" Type="http://schemas.openxmlformats.org/officeDocument/2006/relationships/image" Target="../media/image12.jpeg"/><Relationship Id="rId7" Type="http://schemas.openxmlformats.org/officeDocument/2006/relationships/tags" Target="../tags/tag8.xml"/><Relationship Id="rId12" Type="http://schemas.openxmlformats.org/officeDocument/2006/relationships/image" Target="../media/image3.png"/><Relationship Id="rId17" Type="http://schemas.openxmlformats.org/officeDocument/2006/relationships/image" Target="../media/image8.emf"/><Relationship Id="rId2" Type="http://schemas.openxmlformats.org/officeDocument/2006/relationships/tags" Target="../tags/tag3.xml"/><Relationship Id="rId16" Type="http://schemas.openxmlformats.org/officeDocument/2006/relationships/image" Target="../media/image7.emf"/><Relationship Id="rId20" Type="http://schemas.openxmlformats.org/officeDocument/2006/relationships/image" Target="../media/image11.emf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image" Target="../media/image2.emf"/><Relationship Id="rId5" Type="http://schemas.openxmlformats.org/officeDocument/2006/relationships/tags" Target="../tags/tag6.xml"/><Relationship Id="rId15" Type="http://schemas.openxmlformats.org/officeDocument/2006/relationships/image" Target="../media/image6.emf"/><Relationship Id="rId10" Type="http://schemas.openxmlformats.org/officeDocument/2006/relationships/image" Target="../media/image1.emf"/><Relationship Id="rId19" Type="http://schemas.openxmlformats.org/officeDocument/2006/relationships/image" Target="../media/image10.emf"/><Relationship Id="rId4" Type="http://schemas.openxmlformats.org/officeDocument/2006/relationships/tags" Target="../tags/tag5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5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if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1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7" Type="http://schemas.openxmlformats.org/officeDocument/2006/relationships/image" Target="../media/image22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1.png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jpeg"/><Relationship Id="rId4" Type="http://schemas.openxmlformats.org/officeDocument/2006/relationships/image" Target="../media/image2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4.emf"/><Relationship Id="rId18" Type="http://schemas.openxmlformats.org/officeDocument/2006/relationships/image" Target="../media/image9.emf"/><Relationship Id="rId3" Type="http://schemas.openxmlformats.org/officeDocument/2006/relationships/tags" Target="../tags/tag12.xml"/><Relationship Id="rId21" Type="http://schemas.openxmlformats.org/officeDocument/2006/relationships/image" Target="../media/image12.jpeg"/><Relationship Id="rId7" Type="http://schemas.openxmlformats.org/officeDocument/2006/relationships/tags" Target="../tags/tag16.xml"/><Relationship Id="rId12" Type="http://schemas.openxmlformats.org/officeDocument/2006/relationships/image" Target="../media/image3.png"/><Relationship Id="rId17" Type="http://schemas.openxmlformats.org/officeDocument/2006/relationships/image" Target="../media/image8.emf"/><Relationship Id="rId2" Type="http://schemas.openxmlformats.org/officeDocument/2006/relationships/tags" Target="../tags/tag11.xml"/><Relationship Id="rId16" Type="http://schemas.openxmlformats.org/officeDocument/2006/relationships/image" Target="../media/image7.emf"/><Relationship Id="rId20" Type="http://schemas.openxmlformats.org/officeDocument/2006/relationships/image" Target="../media/image11.emf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2.emf"/><Relationship Id="rId5" Type="http://schemas.openxmlformats.org/officeDocument/2006/relationships/tags" Target="../tags/tag14.xml"/><Relationship Id="rId15" Type="http://schemas.openxmlformats.org/officeDocument/2006/relationships/image" Target="../media/image6.emf"/><Relationship Id="rId10" Type="http://schemas.openxmlformats.org/officeDocument/2006/relationships/image" Target="../media/image1.emf"/><Relationship Id="rId19" Type="http://schemas.openxmlformats.org/officeDocument/2006/relationships/image" Target="../media/image10.emf"/><Relationship Id="rId4" Type="http://schemas.openxmlformats.org/officeDocument/2006/relationships/tags" Target="../tags/tag13.xml"/><Relationship Id="rId9" Type="http://schemas.openxmlformats.org/officeDocument/2006/relationships/slideMaster" Target="../slideMasters/slideMaster4.xml"/><Relationship Id="rId14" Type="http://schemas.openxmlformats.org/officeDocument/2006/relationships/image" Target="../media/image5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if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.emf"/><Relationship Id="rId4" Type="http://schemas.openxmlformats.org/officeDocument/2006/relationships/image" Target="../media/image2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emf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7" Type="http://schemas.openxmlformats.org/officeDocument/2006/relationships/image" Target="../media/image22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1.png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7" Type="http://schemas.openxmlformats.org/officeDocument/2006/relationships/image" Target="../media/image22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1.png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1.emf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.emf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image" Target="../media/image4.emf"/><Relationship Id="rId18" Type="http://schemas.openxmlformats.org/officeDocument/2006/relationships/image" Target="../media/image9.emf"/><Relationship Id="rId3" Type="http://schemas.openxmlformats.org/officeDocument/2006/relationships/tags" Target="../tags/tag20.xml"/><Relationship Id="rId21" Type="http://schemas.openxmlformats.org/officeDocument/2006/relationships/image" Target="../media/image12.jpeg"/><Relationship Id="rId7" Type="http://schemas.openxmlformats.org/officeDocument/2006/relationships/tags" Target="../tags/tag24.xml"/><Relationship Id="rId12" Type="http://schemas.openxmlformats.org/officeDocument/2006/relationships/image" Target="../media/image3.png"/><Relationship Id="rId17" Type="http://schemas.openxmlformats.org/officeDocument/2006/relationships/image" Target="../media/image8.emf"/><Relationship Id="rId2" Type="http://schemas.openxmlformats.org/officeDocument/2006/relationships/tags" Target="../tags/tag19.xml"/><Relationship Id="rId16" Type="http://schemas.openxmlformats.org/officeDocument/2006/relationships/image" Target="../media/image7.emf"/><Relationship Id="rId20" Type="http://schemas.openxmlformats.org/officeDocument/2006/relationships/image" Target="../media/image11.emf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image" Target="../media/image2.emf"/><Relationship Id="rId5" Type="http://schemas.openxmlformats.org/officeDocument/2006/relationships/tags" Target="../tags/tag22.xml"/><Relationship Id="rId15" Type="http://schemas.openxmlformats.org/officeDocument/2006/relationships/image" Target="../media/image6.emf"/><Relationship Id="rId10" Type="http://schemas.openxmlformats.org/officeDocument/2006/relationships/image" Target="../media/image1.emf"/><Relationship Id="rId19" Type="http://schemas.openxmlformats.org/officeDocument/2006/relationships/image" Target="../media/image10.emf"/><Relationship Id="rId4" Type="http://schemas.openxmlformats.org/officeDocument/2006/relationships/tags" Target="../tags/tag21.xml"/><Relationship Id="rId9" Type="http://schemas.openxmlformats.org/officeDocument/2006/relationships/slideMaster" Target="../slideMasters/slideMaster6.xml"/><Relationship Id="rId14" Type="http://schemas.openxmlformats.org/officeDocument/2006/relationships/image" Target="../media/image5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if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3.png"/><Relationship Id="rId5" Type="http://schemas.openxmlformats.org/officeDocument/2006/relationships/image" Target="../media/image1.emf"/><Relationship Id="rId4" Type="http://schemas.openxmlformats.org/officeDocument/2006/relationships/image" Target="../media/image2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33.png"/><Relationship Id="rId4" Type="http://schemas.openxmlformats.org/officeDocument/2006/relationships/image" Target="../media/image2.emf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image" Target="../media/image4.emf"/><Relationship Id="rId18" Type="http://schemas.openxmlformats.org/officeDocument/2006/relationships/image" Target="../media/image9.emf"/><Relationship Id="rId3" Type="http://schemas.openxmlformats.org/officeDocument/2006/relationships/tags" Target="../tags/tag28.xml"/><Relationship Id="rId21" Type="http://schemas.openxmlformats.org/officeDocument/2006/relationships/image" Target="../media/image12.jpeg"/><Relationship Id="rId7" Type="http://schemas.openxmlformats.org/officeDocument/2006/relationships/tags" Target="../tags/tag32.xml"/><Relationship Id="rId12" Type="http://schemas.openxmlformats.org/officeDocument/2006/relationships/image" Target="../media/image3.png"/><Relationship Id="rId17" Type="http://schemas.openxmlformats.org/officeDocument/2006/relationships/image" Target="../media/image8.emf"/><Relationship Id="rId2" Type="http://schemas.openxmlformats.org/officeDocument/2006/relationships/tags" Target="../tags/tag27.xml"/><Relationship Id="rId16" Type="http://schemas.openxmlformats.org/officeDocument/2006/relationships/image" Target="../media/image7.emf"/><Relationship Id="rId20" Type="http://schemas.openxmlformats.org/officeDocument/2006/relationships/image" Target="../media/image11.emf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image" Target="../media/image2.emf"/><Relationship Id="rId5" Type="http://schemas.openxmlformats.org/officeDocument/2006/relationships/tags" Target="../tags/tag30.xml"/><Relationship Id="rId15" Type="http://schemas.openxmlformats.org/officeDocument/2006/relationships/image" Target="../media/image6.emf"/><Relationship Id="rId10" Type="http://schemas.openxmlformats.org/officeDocument/2006/relationships/image" Target="../media/image1.emf"/><Relationship Id="rId19" Type="http://schemas.openxmlformats.org/officeDocument/2006/relationships/image" Target="../media/image10.emf"/><Relationship Id="rId4" Type="http://schemas.openxmlformats.org/officeDocument/2006/relationships/tags" Target="../tags/tag29.xml"/><Relationship Id="rId9" Type="http://schemas.openxmlformats.org/officeDocument/2006/relationships/slideMaster" Target="../slideMasters/slideMaster6.xml"/><Relationship Id="rId14" Type="http://schemas.openxmlformats.org/officeDocument/2006/relationships/image" Target="../media/image5.emf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image" Target="../media/image4.emf"/><Relationship Id="rId18" Type="http://schemas.openxmlformats.org/officeDocument/2006/relationships/image" Target="../media/image9.emf"/><Relationship Id="rId3" Type="http://schemas.openxmlformats.org/officeDocument/2006/relationships/tags" Target="../tags/tag36.xml"/><Relationship Id="rId21" Type="http://schemas.openxmlformats.org/officeDocument/2006/relationships/image" Target="../media/image12.jpeg"/><Relationship Id="rId7" Type="http://schemas.openxmlformats.org/officeDocument/2006/relationships/tags" Target="../tags/tag40.xml"/><Relationship Id="rId12" Type="http://schemas.openxmlformats.org/officeDocument/2006/relationships/image" Target="../media/image3.png"/><Relationship Id="rId17" Type="http://schemas.openxmlformats.org/officeDocument/2006/relationships/image" Target="../media/image8.emf"/><Relationship Id="rId2" Type="http://schemas.openxmlformats.org/officeDocument/2006/relationships/tags" Target="../tags/tag35.xml"/><Relationship Id="rId16" Type="http://schemas.openxmlformats.org/officeDocument/2006/relationships/image" Target="../media/image7.emf"/><Relationship Id="rId20" Type="http://schemas.openxmlformats.org/officeDocument/2006/relationships/image" Target="../media/image11.emf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image" Target="../media/image2.emf"/><Relationship Id="rId5" Type="http://schemas.openxmlformats.org/officeDocument/2006/relationships/tags" Target="../tags/tag38.xml"/><Relationship Id="rId15" Type="http://schemas.openxmlformats.org/officeDocument/2006/relationships/image" Target="../media/image6.emf"/><Relationship Id="rId10" Type="http://schemas.openxmlformats.org/officeDocument/2006/relationships/image" Target="../media/image1.emf"/><Relationship Id="rId19" Type="http://schemas.openxmlformats.org/officeDocument/2006/relationships/image" Target="../media/image10.emf"/><Relationship Id="rId4" Type="http://schemas.openxmlformats.org/officeDocument/2006/relationships/tags" Target="../tags/tag37.xml"/><Relationship Id="rId9" Type="http://schemas.openxmlformats.org/officeDocument/2006/relationships/slideMaster" Target="../slideMasters/slideMaster6.xml"/><Relationship Id="rId1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zadi seda">
            <a:extLst>
              <a:ext uri="{FF2B5EF4-FFF2-40B4-BE49-F238E27FC236}">
                <a16:creationId xmlns:a16="http://schemas.microsoft.com/office/drawing/2014/main" id="{C6DB6EA3-D18B-4247-B7E0-D3F0ED4ABC66}"/>
              </a:ext>
            </a:extLst>
          </p:cNvPr>
          <p:cNvSpPr/>
          <p:nvPr userDrawn="1"/>
        </p:nvSpPr>
        <p:spPr bwMode="gray">
          <a:xfrm>
            <a:off x="0" y="1899462"/>
            <a:ext cx="12192000" cy="4028858"/>
          </a:xfrm>
          <a:prstGeom prst="rect">
            <a:avLst/>
          </a:prstGeom>
          <a:solidFill>
            <a:schemeClr val="bg1">
              <a:lumMod val="95000"/>
              <a:alpha val="6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2" name="Linka cervena">
            <a:extLst>
              <a:ext uri="{FF2B5EF4-FFF2-40B4-BE49-F238E27FC236}">
                <a16:creationId xmlns:a16="http://schemas.microsoft.com/office/drawing/2014/main" id="{B9205121-7638-4ABD-95F5-177B33D17428}"/>
              </a:ext>
            </a:extLst>
          </p:cNvPr>
          <p:cNvSpPr/>
          <p:nvPr userDrawn="1"/>
        </p:nvSpPr>
        <p:spPr>
          <a:xfrm flipV="1">
            <a:off x="5552" y="5881971"/>
            <a:ext cx="12173011" cy="36000"/>
          </a:xfrm>
          <a:prstGeom prst="rect">
            <a:avLst/>
          </a:prstGeom>
          <a:solidFill>
            <a:srgbClr val="D71440"/>
          </a:solidFill>
          <a:ln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8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805" y="6275298"/>
            <a:ext cx="3763463" cy="324000"/>
          </a:xfrm>
          <a:prstGeom prst="rect">
            <a:avLst/>
          </a:prstGeom>
        </p:spPr>
      </p:pic>
      <p:pic>
        <p:nvPicPr>
          <p:cNvPr id="6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9537" y="6124324"/>
            <a:ext cx="822458" cy="540000"/>
          </a:xfrm>
          <a:prstGeom prst="rect">
            <a:avLst/>
          </a:prstGeom>
        </p:spPr>
      </p:pic>
      <p:pic>
        <p:nvPicPr>
          <p:cNvPr id="11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113" y="2607870"/>
            <a:ext cx="5715760" cy="2224771"/>
          </a:xfrm>
          <a:prstGeom prst="rect">
            <a:avLst/>
          </a:prstGeom>
        </p:spPr>
      </p:pic>
      <p:pic>
        <p:nvPicPr>
          <p:cNvPr id="61" name="Ikona 7">
            <a:extLst>
              <a:ext uri="{FF2B5EF4-FFF2-40B4-BE49-F238E27FC236}">
                <a16:creationId xmlns:a16="http://schemas.microsoft.com/office/drawing/2014/main" id="{1E522FD7-51BC-4B8E-A68D-8A0B5E4169E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5605" y="3727037"/>
            <a:ext cx="791389" cy="792000"/>
          </a:xfrm>
          <a:prstGeom prst="rect">
            <a:avLst/>
          </a:prstGeom>
        </p:spPr>
      </p:pic>
      <p:pic>
        <p:nvPicPr>
          <p:cNvPr id="62" name="Ikona 6">
            <a:extLst>
              <a:ext uri="{FF2B5EF4-FFF2-40B4-BE49-F238E27FC236}">
                <a16:creationId xmlns:a16="http://schemas.microsoft.com/office/drawing/2014/main" id="{E01AA11B-D042-44CE-8E91-BAD234FB490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5916" y="2819547"/>
            <a:ext cx="791389" cy="792000"/>
          </a:xfrm>
          <a:prstGeom prst="rect">
            <a:avLst/>
          </a:prstGeom>
        </p:spPr>
      </p:pic>
      <p:pic>
        <p:nvPicPr>
          <p:cNvPr id="63" name="Ikona 5">
            <a:extLst>
              <a:ext uri="{FF2B5EF4-FFF2-40B4-BE49-F238E27FC236}">
                <a16:creationId xmlns:a16="http://schemas.microsoft.com/office/drawing/2014/main" id="{6E1D9AE5-9B01-4D1E-A130-EA1856689D6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4327" y="2821182"/>
            <a:ext cx="791389" cy="792000"/>
          </a:xfrm>
          <a:prstGeom prst="rect">
            <a:avLst/>
          </a:prstGeom>
        </p:spPr>
      </p:pic>
      <p:pic>
        <p:nvPicPr>
          <p:cNvPr id="64" name="Ikona 4">
            <a:extLst>
              <a:ext uri="{FF2B5EF4-FFF2-40B4-BE49-F238E27FC236}">
                <a16:creationId xmlns:a16="http://schemas.microsoft.com/office/drawing/2014/main" id="{78221017-9FB8-4EF8-A88B-38444E30A279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4197" y="2826357"/>
            <a:ext cx="788298" cy="792000"/>
          </a:xfrm>
          <a:prstGeom prst="rect">
            <a:avLst/>
          </a:prstGeom>
        </p:spPr>
      </p:pic>
      <p:pic>
        <p:nvPicPr>
          <p:cNvPr id="65" name="Ikona 3">
            <a:extLst>
              <a:ext uri="{FF2B5EF4-FFF2-40B4-BE49-F238E27FC236}">
                <a16:creationId xmlns:a16="http://schemas.microsoft.com/office/drawing/2014/main" id="{D435ECA9-9699-4A70-9ABD-16C688E3468C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1468" y="2827327"/>
            <a:ext cx="788298" cy="792000"/>
          </a:xfrm>
          <a:prstGeom prst="rect">
            <a:avLst/>
          </a:prstGeom>
        </p:spPr>
      </p:pic>
      <p:pic>
        <p:nvPicPr>
          <p:cNvPr id="66" name="Ikona 2">
            <a:extLst>
              <a:ext uri="{FF2B5EF4-FFF2-40B4-BE49-F238E27FC236}">
                <a16:creationId xmlns:a16="http://schemas.microsoft.com/office/drawing/2014/main" id="{06B998D0-4DD3-4617-8B85-7A97769C7BF7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1592" y="3720280"/>
            <a:ext cx="791389" cy="792000"/>
          </a:xfrm>
          <a:prstGeom prst="rect">
            <a:avLst/>
          </a:prstGeom>
        </p:spPr>
      </p:pic>
      <p:pic>
        <p:nvPicPr>
          <p:cNvPr id="67" name="Ikona 1">
            <a:extLst>
              <a:ext uri="{FF2B5EF4-FFF2-40B4-BE49-F238E27FC236}">
                <a16:creationId xmlns:a16="http://schemas.microsoft.com/office/drawing/2014/main" id="{CDFE4053-986D-4CF5-BB65-55DDA986CB79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5004" y="3714480"/>
            <a:ext cx="794492" cy="792000"/>
          </a:xfrm>
          <a:prstGeom prst="rect">
            <a:avLst/>
          </a:prstGeom>
        </p:spPr>
      </p:pic>
      <p:pic>
        <p:nvPicPr>
          <p:cNvPr id="9" name="Vlajka CR">
            <a:extLst>
              <a:ext uri="{FF2B5EF4-FFF2-40B4-BE49-F238E27FC236}">
                <a16:creationId xmlns:a16="http://schemas.microsoft.com/office/drawing/2014/main" id="{471DD38C-87B2-4EF0-9C4F-92FAABA3B665}"/>
              </a:ext>
            </a:extLst>
          </p:cNvPr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525177" y="249066"/>
            <a:ext cx="540000" cy="36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" name="Vlajka EU">
            <a:extLst>
              <a:ext uri="{FF2B5EF4-FFF2-40B4-BE49-F238E27FC236}">
                <a16:creationId xmlns:a16="http://schemas.microsoft.com/office/drawing/2014/main" id="{F0605D3E-9EE4-4CE0-8944-A11CBF44BE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118"/>
          <a:stretch/>
        </p:blipFill>
        <p:spPr>
          <a:xfrm>
            <a:off x="10876478" y="245794"/>
            <a:ext cx="538775" cy="360000"/>
          </a:xfrm>
          <a:prstGeom prst="rect">
            <a:avLst/>
          </a:prstGeom>
        </p:spPr>
      </p:pic>
      <p:sp>
        <p:nvSpPr>
          <p:cNvPr id="41" name="Podnadpis">
            <a:extLst>
              <a:ext uri="{FF2B5EF4-FFF2-40B4-BE49-F238E27FC236}">
                <a16:creationId xmlns:a16="http://schemas.microsoft.com/office/drawing/2014/main" id="{A48B58A5-C806-4673-B1BA-E9829457EA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0806" y="5471177"/>
            <a:ext cx="8608732" cy="468000"/>
          </a:xfrm>
          <a:noFill/>
        </p:spPr>
        <p:txBody>
          <a:bodyPr anchor="ctr"/>
          <a:lstStyle>
            <a:lvl1pPr marL="0" indent="0">
              <a:buNone/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cs-CZ" dirty="0"/>
              <a:t>Vložte podnadpis</a:t>
            </a:r>
          </a:p>
        </p:txBody>
      </p:sp>
      <p:sp>
        <p:nvSpPr>
          <p:cNvPr id="13" name="Nadpis">
            <a:extLst>
              <a:ext uri="{FF2B5EF4-FFF2-40B4-BE49-F238E27FC236}">
                <a16:creationId xmlns:a16="http://schemas.microsoft.com/office/drawing/2014/main" id="{99BDED9C-93B2-4C0D-BE31-6A2F4570EB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391" y="240974"/>
            <a:ext cx="8648147" cy="1598025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defRPr lang="cs-CZ" sz="3600" b="1" kern="1200">
                <a:solidFill>
                  <a:srgbClr val="2E598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29" name="Ovál 29">
            <a:extLst>
              <a:ext uri="{FF2B5EF4-FFF2-40B4-BE49-F238E27FC236}">
                <a16:creationId xmlns:a16="http://schemas.microsoft.com/office/drawing/2014/main" id="{E411B488-D6A9-4125-9226-91E8FF7C26F2}"/>
              </a:ext>
            </a:extLst>
          </p:cNvPr>
          <p:cNvSpPr/>
          <p:nvPr userDrawn="1"/>
        </p:nvSpPr>
        <p:spPr>
          <a:xfrm>
            <a:off x="8139289" y="752121"/>
            <a:ext cx="1747911" cy="1747911"/>
          </a:xfrm>
          <a:prstGeom prst="ellipse">
            <a:avLst/>
          </a:prstGeom>
          <a:solidFill>
            <a:schemeClr val="bg1"/>
          </a:solidFill>
          <a:ln w="19050"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Ovál 30">
            <a:extLst>
              <a:ext uri="{FF2B5EF4-FFF2-40B4-BE49-F238E27FC236}">
                <a16:creationId xmlns:a16="http://schemas.microsoft.com/office/drawing/2014/main" id="{822DE0E7-21EC-4CAD-9CAC-791515B7EB64}"/>
              </a:ext>
            </a:extLst>
          </p:cNvPr>
          <p:cNvSpPr/>
          <p:nvPr userDrawn="1"/>
        </p:nvSpPr>
        <p:spPr>
          <a:xfrm>
            <a:off x="8256659" y="869491"/>
            <a:ext cx="1513171" cy="1513171"/>
          </a:xfrm>
          <a:prstGeom prst="ellipse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7F79A67F-5DE8-F2B4-3423-2F232835C53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294400" y="1162800"/>
            <a:ext cx="1457522" cy="882000"/>
            <a:chOff x="3727418" y="1998630"/>
            <a:chExt cx="4732781" cy="2863977"/>
          </a:xfrm>
        </p:grpSpPr>
        <p:sp>
          <p:nvSpPr>
            <p:cNvPr id="24" name="Volný tvar: obrazec 23">
              <a:extLst>
                <a:ext uri="{FF2B5EF4-FFF2-40B4-BE49-F238E27FC236}">
                  <a16:creationId xmlns:a16="http://schemas.microsoft.com/office/drawing/2014/main" id="{D2F943EE-94F2-FEAE-751F-68C16F8C70E6}"/>
                </a:ext>
              </a:extLst>
            </p:cNvPr>
            <p:cNvSpPr>
              <a:spLocks noChangeAspect="1"/>
            </p:cNvSpPr>
            <p:nvPr userDrawn="1">
              <p:custDataLst>
                <p:tags r:id="rId2"/>
              </p:custDataLst>
            </p:nvPr>
          </p:nvSpPr>
          <p:spPr>
            <a:xfrm>
              <a:off x="4319492" y="1998630"/>
              <a:ext cx="1182528" cy="1101852"/>
            </a:xfrm>
            <a:custGeom>
              <a:avLst/>
              <a:gdLst>
                <a:gd name="connsiteX0" fmla="*/ 1180148 w 1182528"/>
                <a:gd name="connsiteY0" fmla="*/ 147257 h 1101852"/>
                <a:gd name="connsiteX1" fmla="*/ 1175290 w 1182528"/>
                <a:gd name="connsiteY1" fmla="*/ 146304 h 1101852"/>
                <a:gd name="connsiteX2" fmla="*/ 1165003 w 1182528"/>
                <a:gd name="connsiteY2" fmla="*/ 154019 h 1101852"/>
                <a:gd name="connsiteX3" fmla="*/ 1158526 w 1182528"/>
                <a:gd name="connsiteY3" fmla="*/ 153257 h 1101852"/>
                <a:gd name="connsiteX4" fmla="*/ 1154144 w 1182528"/>
                <a:gd name="connsiteY4" fmla="*/ 156972 h 1101852"/>
                <a:gd name="connsiteX5" fmla="*/ 1146239 w 1182528"/>
                <a:gd name="connsiteY5" fmla="*/ 158020 h 1101852"/>
                <a:gd name="connsiteX6" fmla="*/ 1134428 w 1182528"/>
                <a:gd name="connsiteY6" fmla="*/ 165926 h 1101852"/>
                <a:gd name="connsiteX7" fmla="*/ 1130903 w 1182528"/>
                <a:gd name="connsiteY7" fmla="*/ 163163 h 1101852"/>
                <a:gd name="connsiteX8" fmla="*/ 1122617 w 1182528"/>
                <a:gd name="connsiteY8" fmla="*/ 161068 h 1101852"/>
                <a:gd name="connsiteX9" fmla="*/ 1120045 w 1182528"/>
                <a:gd name="connsiteY9" fmla="*/ 153353 h 1101852"/>
                <a:gd name="connsiteX10" fmla="*/ 1126331 w 1182528"/>
                <a:gd name="connsiteY10" fmla="*/ 139732 h 1101852"/>
                <a:gd name="connsiteX11" fmla="*/ 1134809 w 1182528"/>
                <a:gd name="connsiteY11" fmla="*/ 130588 h 1101852"/>
                <a:gd name="connsiteX12" fmla="*/ 1135571 w 1182528"/>
                <a:gd name="connsiteY12" fmla="*/ 124111 h 1101852"/>
                <a:gd name="connsiteX13" fmla="*/ 1143381 w 1182528"/>
                <a:gd name="connsiteY13" fmla="*/ 110300 h 1101852"/>
                <a:gd name="connsiteX14" fmla="*/ 1141190 w 1182528"/>
                <a:gd name="connsiteY14" fmla="*/ 105728 h 1101852"/>
                <a:gd name="connsiteX15" fmla="*/ 1143953 w 1182528"/>
                <a:gd name="connsiteY15" fmla="*/ 102203 h 1101852"/>
                <a:gd name="connsiteX16" fmla="*/ 1143381 w 1182528"/>
                <a:gd name="connsiteY16" fmla="*/ 97441 h 1101852"/>
                <a:gd name="connsiteX17" fmla="*/ 1145953 w 1182528"/>
                <a:gd name="connsiteY17" fmla="*/ 92297 h 1101852"/>
                <a:gd name="connsiteX18" fmla="*/ 1146048 w 1182528"/>
                <a:gd name="connsiteY18" fmla="*/ 81058 h 1101852"/>
                <a:gd name="connsiteX19" fmla="*/ 1142905 w 1182528"/>
                <a:gd name="connsiteY19" fmla="*/ 81439 h 1101852"/>
                <a:gd name="connsiteX20" fmla="*/ 1135571 w 1182528"/>
                <a:gd name="connsiteY20" fmla="*/ 74390 h 1101852"/>
                <a:gd name="connsiteX21" fmla="*/ 1133189 w 1182528"/>
                <a:gd name="connsiteY21" fmla="*/ 68294 h 1101852"/>
                <a:gd name="connsiteX22" fmla="*/ 1124140 w 1182528"/>
                <a:gd name="connsiteY22" fmla="*/ 59817 h 1101852"/>
                <a:gd name="connsiteX23" fmla="*/ 1122140 w 1182528"/>
                <a:gd name="connsiteY23" fmla="*/ 56864 h 1101852"/>
                <a:gd name="connsiteX24" fmla="*/ 1119188 w 1182528"/>
                <a:gd name="connsiteY24" fmla="*/ 58865 h 1101852"/>
                <a:gd name="connsiteX25" fmla="*/ 1103662 w 1182528"/>
                <a:gd name="connsiteY25" fmla="*/ 62389 h 1101852"/>
                <a:gd name="connsiteX26" fmla="*/ 1101852 w 1182528"/>
                <a:gd name="connsiteY26" fmla="*/ 61055 h 1101852"/>
                <a:gd name="connsiteX27" fmla="*/ 1101661 w 1182528"/>
                <a:gd name="connsiteY27" fmla="*/ 59436 h 1101852"/>
                <a:gd name="connsiteX28" fmla="*/ 1102805 w 1182528"/>
                <a:gd name="connsiteY28" fmla="*/ 56102 h 1101852"/>
                <a:gd name="connsiteX29" fmla="*/ 1105757 w 1182528"/>
                <a:gd name="connsiteY29" fmla="*/ 54102 h 1101852"/>
                <a:gd name="connsiteX30" fmla="*/ 1105567 w 1182528"/>
                <a:gd name="connsiteY30" fmla="*/ 52578 h 1101852"/>
                <a:gd name="connsiteX31" fmla="*/ 1100042 w 1182528"/>
                <a:gd name="connsiteY31" fmla="*/ 46863 h 1101852"/>
                <a:gd name="connsiteX32" fmla="*/ 1078516 w 1182528"/>
                <a:gd name="connsiteY32" fmla="*/ 41529 h 1101852"/>
                <a:gd name="connsiteX33" fmla="*/ 1078706 w 1182528"/>
                <a:gd name="connsiteY33" fmla="*/ 30290 h 1101852"/>
                <a:gd name="connsiteX34" fmla="*/ 1083564 w 1182528"/>
                <a:gd name="connsiteY34" fmla="*/ 18479 h 1101852"/>
                <a:gd name="connsiteX35" fmla="*/ 1079659 w 1182528"/>
                <a:gd name="connsiteY35" fmla="*/ 12573 h 1101852"/>
                <a:gd name="connsiteX36" fmla="*/ 1072134 w 1182528"/>
                <a:gd name="connsiteY36" fmla="*/ 16764 h 1101852"/>
                <a:gd name="connsiteX37" fmla="*/ 1074896 w 1182528"/>
                <a:gd name="connsiteY37" fmla="*/ 26003 h 1101852"/>
                <a:gd name="connsiteX38" fmla="*/ 1073372 w 1182528"/>
                <a:gd name="connsiteY38" fmla="*/ 39053 h 1101852"/>
                <a:gd name="connsiteX39" fmla="*/ 1061942 w 1182528"/>
                <a:gd name="connsiteY39" fmla="*/ 37243 h 1101852"/>
                <a:gd name="connsiteX40" fmla="*/ 1061276 w 1182528"/>
                <a:gd name="connsiteY40" fmla="*/ 32576 h 1101852"/>
                <a:gd name="connsiteX41" fmla="*/ 1059561 w 1182528"/>
                <a:gd name="connsiteY41" fmla="*/ 31147 h 1101852"/>
                <a:gd name="connsiteX42" fmla="*/ 1054036 w 1182528"/>
                <a:gd name="connsiteY42" fmla="*/ 25432 h 1101852"/>
                <a:gd name="connsiteX43" fmla="*/ 1047464 w 1182528"/>
                <a:gd name="connsiteY43" fmla="*/ 24670 h 1101852"/>
                <a:gd name="connsiteX44" fmla="*/ 1032891 w 1182528"/>
                <a:gd name="connsiteY44" fmla="*/ 36195 h 1101852"/>
                <a:gd name="connsiteX45" fmla="*/ 1031557 w 1182528"/>
                <a:gd name="connsiteY45" fmla="*/ 37910 h 1101852"/>
                <a:gd name="connsiteX46" fmla="*/ 1024223 w 1182528"/>
                <a:gd name="connsiteY46" fmla="*/ 43625 h 1101852"/>
                <a:gd name="connsiteX47" fmla="*/ 1017746 w 1182528"/>
                <a:gd name="connsiteY47" fmla="*/ 42863 h 1101852"/>
                <a:gd name="connsiteX48" fmla="*/ 1009269 w 1182528"/>
                <a:gd name="connsiteY48" fmla="*/ 39148 h 1101852"/>
                <a:gd name="connsiteX49" fmla="*/ 1004126 w 1182528"/>
                <a:gd name="connsiteY49" fmla="*/ 36576 h 1101852"/>
                <a:gd name="connsiteX50" fmla="*/ 998982 w 1182528"/>
                <a:gd name="connsiteY50" fmla="*/ 34100 h 1101852"/>
                <a:gd name="connsiteX51" fmla="*/ 997363 w 1182528"/>
                <a:gd name="connsiteY51" fmla="*/ 21431 h 1101852"/>
                <a:gd name="connsiteX52" fmla="*/ 992410 w 1182528"/>
                <a:gd name="connsiteY52" fmla="*/ 20479 h 1101852"/>
                <a:gd name="connsiteX53" fmla="*/ 985076 w 1182528"/>
                <a:gd name="connsiteY53" fmla="*/ 13335 h 1101852"/>
                <a:gd name="connsiteX54" fmla="*/ 974217 w 1182528"/>
                <a:gd name="connsiteY54" fmla="*/ 16383 h 1101852"/>
                <a:gd name="connsiteX55" fmla="*/ 972884 w 1182528"/>
                <a:gd name="connsiteY55" fmla="*/ 18098 h 1101852"/>
                <a:gd name="connsiteX56" fmla="*/ 966597 w 1182528"/>
                <a:gd name="connsiteY56" fmla="*/ 18955 h 1101852"/>
                <a:gd name="connsiteX57" fmla="*/ 960406 w 1182528"/>
                <a:gd name="connsiteY57" fmla="*/ 8477 h 1101852"/>
                <a:gd name="connsiteX58" fmla="*/ 951357 w 1182528"/>
                <a:gd name="connsiteY58" fmla="*/ 0 h 1101852"/>
                <a:gd name="connsiteX59" fmla="*/ 943451 w 1182528"/>
                <a:gd name="connsiteY59" fmla="*/ 1048 h 1101852"/>
                <a:gd name="connsiteX60" fmla="*/ 939356 w 1182528"/>
                <a:gd name="connsiteY60" fmla="*/ 6382 h 1101852"/>
                <a:gd name="connsiteX61" fmla="*/ 934402 w 1182528"/>
                <a:gd name="connsiteY61" fmla="*/ 18193 h 1101852"/>
                <a:gd name="connsiteX62" fmla="*/ 924497 w 1182528"/>
                <a:gd name="connsiteY62" fmla="*/ 16288 h 1101852"/>
                <a:gd name="connsiteX63" fmla="*/ 925163 w 1182528"/>
                <a:gd name="connsiteY63" fmla="*/ 21050 h 1101852"/>
                <a:gd name="connsiteX64" fmla="*/ 928497 w 1182528"/>
                <a:gd name="connsiteY64" fmla="*/ 22193 h 1101852"/>
                <a:gd name="connsiteX65" fmla="*/ 932498 w 1182528"/>
                <a:gd name="connsiteY65" fmla="*/ 28099 h 1101852"/>
                <a:gd name="connsiteX66" fmla="*/ 931735 w 1182528"/>
                <a:gd name="connsiteY66" fmla="*/ 34576 h 1101852"/>
                <a:gd name="connsiteX67" fmla="*/ 927735 w 1182528"/>
                <a:gd name="connsiteY67" fmla="*/ 41529 h 1101852"/>
                <a:gd name="connsiteX68" fmla="*/ 929735 w 1182528"/>
                <a:gd name="connsiteY68" fmla="*/ 44482 h 1101852"/>
                <a:gd name="connsiteX69" fmla="*/ 919448 w 1182528"/>
                <a:gd name="connsiteY69" fmla="*/ 52197 h 1101852"/>
                <a:gd name="connsiteX70" fmla="*/ 916114 w 1182528"/>
                <a:gd name="connsiteY70" fmla="*/ 51054 h 1101852"/>
                <a:gd name="connsiteX71" fmla="*/ 915352 w 1182528"/>
                <a:gd name="connsiteY71" fmla="*/ 57531 h 1101852"/>
                <a:gd name="connsiteX72" fmla="*/ 920877 w 1182528"/>
                <a:gd name="connsiteY72" fmla="*/ 63246 h 1101852"/>
                <a:gd name="connsiteX73" fmla="*/ 914019 w 1182528"/>
                <a:gd name="connsiteY73" fmla="*/ 72104 h 1101852"/>
                <a:gd name="connsiteX74" fmla="*/ 913067 w 1182528"/>
                <a:gd name="connsiteY74" fmla="*/ 77057 h 1101852"/>
                <a:gd name="connsiteX75" fmla="*/ 916781 w 1182528"/>
                <a:gd name="connsiteY75" fmla="*/ 81439 h 1101852"/>
                <a:gd name="connsiteX76" fmla="*/ 924877 w 1182528"/>
                <a:gd name="connsiteY76" fmla="*/ 82010 h 1101852"/>
                <a:gd name="connsiteX77" fmla="*/ 932212 w 1182528"/>
                <a:gd name="connsiteY77" fmla="*/ 89059 h 1101852"/>
                <a:gd name="connsiteX78" fmla="*/ 935355 w 1182528"/>
                <a:gd name="connsiteY78" fmla="*/ 88678 h 1101852"/>
                <a:gd name="connsiteX79" fmla="*/ 940118 w 1182528"/>
                <a:gd name="connsiteY79" fmla="*/ 88106 h 1101852"/>
                <a:gd name="connsiteX80" fmla="*/ 948976 w 1182528"/>
                <a:gd name="connsiteY80" fmla="*/ 82106 h 1101852"/>
                <a:gd name="connsiteX81" fmla="*/ 956881 w 1182528"/>
                <a:gd name="connsiteY81" fmla="*/ 81153 h 1101852"/>
                <a:gd name="connsiteX82" fmla="*/ 960596 w 1182528"/>
                <a:gd name="connsiteY82" fmla="*/ 85439 h 1101852"/>
                <a:gd name="connsiteX83" fmla="*/ 959453 w 1182528"/>
                <a:gd name="connsiteY83" fmla="*/ 88773 h 1101852"/>
                <a:gd name="connsiteX84" fmla="*/ 960215 w 1182528"/>
                <a:gd name="connsiteY84" fmla="*/ 95155 h 1101852"/>
                <a:gd name="connsiteX85" fmla="*/ 955548 w 1182528"/>
                <a:gd name="connsiteY85" fmla="*/ 95726 h 1101852"/>
                <a:gd name="connsiteX86" fmla="*/ 952119 w 1182528"/>
                <a:gd name="connsiteY86" fmla="*/ 94583 h 1101852"/>
                <a:gd name="connsiteX87" fmla="*/ 942118 w 1182528"/>
                <a:gd name="connsiteY87" fmla="*/ 103822 h 1101852"/>
                <a:gd name="connsiteX88" fmla="*/ 954119 w 1182528"/>
                <a:gd name="connsiteY88" fmla="*/ 110300 h 1101852"/>
                <a:gd name="connsiteX89" fmla="*/ 954405 w 1182528"/>
                <a:gd name="connsiteY89" fmla="*/ 111919 h 1101852"/>
                <a:gd name="connsiteX90" fmla="*/ 950023 w 1182528"/>
                <a:gd name="connsiteY90" fmla="*/ 115634 h 1101852"/>
                <a:gd name="connsiteX91" fmla="*/ 958882 w 1182528"/>
                <a:gd name="connsiteY91" fmla="*/ 122587 h 1101852"/>
                <a:gd name="connsiteX92" fmla="*/ 971740 w 1182528"/>
                <a:gd name="connsiteY92" fmla="*/ 122491 h 1101852"/>
                <a:gd name="connsiteX93" fmla="*/ 975551 w 1182528"/>
                <a:gd name="connsiteY93" fmla="*/ 126873 h 1101852"/>
                <a:gd name="connsiteX94" fmla="*/ 978884 w 1182528"/>
                <a:gd name="connsiteY94" fmla="*/ 128016 h 1101852"/>
                <a:gd name="connsiteX95" fmla="*/ 984218 w 1182528"/>
                <a:gd name="connsiteY95" fmla="*/ 132207 h 1101852"/>
                <a:gd name="connsiteX96" fmla="*/ 988695 w 1182528"/>
                <a:gd name="connsiteY96" fmla="*/ 130016 h 1101852"/>
                <a:gd name="connsiteX97" fmla="*/ 989362 w 1182528"/>
                <a:gd name="connsiteY97" fmla="*/ 134684 h 1101852"/>
                <a:gd name="connsiteX98" fmla="*/ 992696 w 1182528"/>
                <a:gd name="connsiteY98" fmla="*/ 135922 h 1101852"/>
                <a:gd name="connsiteX99" fmla="*/ 1001744 w 1182528"/>
                <a:gd name="connsiteY99" fmla="*/ 131540 h 1101852"/>
                <a:gd name="connsiteX100" fmla="*/ 1007269 w 1182528"/>
                <a:gd name="connsiteY100" fmla="*/ 137255 h 1101852"/>
                <a:gd name="connsiteX101" fmla="*/ 1011079 w 1182528"/>
                <a:gd name="connsiteY101" fmla="*/ 141542 h 1101852"/>
                <a:gd name="connsiteX102" fmla="*/ 1009936 w 1182528"/>
                <a:gd name="connsiteY102" fmla="*/ 144971 h 1101852"/>
                <a:gd name="connsiteX103" fmla="*/ 1010888 w 1182528"/>
                <a:gd name="connsiteY103" fmla="*/ 152781 h 1101852"/>
                <a:gd name="connsiteX104" fmla="*/ 1003173 w 1182528"/>
                <a:gd name="connsiteY104" fmla="*/ 155448 h 1101852"/>
                <a:gd name="connsiteX105" fmla="*/ 1006602 w 1182528"/>
                <a:gd name="connsiteY105" fmla="*/ 156591 h 1101852"/>
                <a:gd name="connsiteX106" fmla="*/ 1005364 w 1182528"/>
                <a:gd name="connsiteY106" fmla="*/ 159925 h 1101852"/>
                <a:gd name="connsiteX107" fmla="*/ 1002030 w 1182528"/>
                <a:gd name="connsiteY107" fmla="*/ 158782 h 1101852"/>
                <a:gd name="connsiteX108" fmla="*/ 1002221 w 1182528"/>
                <a:gd name="connsiteY108" fmla="*/ 160306 h 1101852"/>
                <a:gd name="connsiteX109" fmla="*/ 1000697 w 1182528"/>
                <a:gd name="connsiteY109" fmla="*/ 160496 h 1101852"/>
                <a:gd name="connsiteX110" fmla="*/ 1001839 w 1182528"/>
                <a:gd name="connsiteY110" fmla="*/ 170021 h 1101852"/>
                <a:gd name="connsiteX111" fmla="*/ 1001459 w 1182528"/>
                <a:gd name="connsiteY111" fmla="*/ 179642 h 1101852"/>
                <a:gd name="connsiteX112" fmla="*/ 1000125 w 1182528"/>
                <a:gd name="connsiteY112" fmla="*/ 181451 h 1101852"/>
                <a:gd name="connsiteX113" fmla="*/ 992219 w 1182528"/>
                <a:gd name="connsiteY113" fmla="*/ 182499 h 1101852"/>
                <a:gd name="connsiteX114" fmla="*/ 980599 w 1182528"/>
                <a:gd name="connsiteY114" fmla="*/ 179165 h 1101852"/>
                <a:gd name="connsiteX115" fmla="*/ 979170 w 1182528"/>
                <a:gd name="connsiteY115" fmla="*/ 180880 h 1101852"/>
                <a:gd name="connsiteX116" fmla="*/ 975646 w 1182528"/>
                <a:gd name="connsiteY116" fmla="*/ 178118 h 1101852"/>
                <a:gd name="connsiteX117" fmla="*/ 976408 w 1182528"/>
                <a:gd name="connsiteY117" fmla="*/ 184499 h 1101852"/>
                <a:gd name="connsiteX118" fmla="*/ 973646 w 1182528"/>
                <a:gd name="connsiteY118" fmla="*/ 188024 h 1101852"/>
                <a:gd name="connsiteX119" fmla="*/ 959644 w 1182528"/>
                <a:gd name="connsiteY119" fmla="*/ 191453 h 1101852"/>
                <a:gd name="connsiteX120" fmla="*/ 956310 w 1182528"/>
                <a:gd name="connsiteY120" fmla="*/ 190214 h 1101852"/>
                <a:gd name="connsiteX121" fmla="*/ 944309 w 1182528"/>
                <a:gd name="connsiteY121" fmla="*/ 196596 h 1101852"/>
                <a:gd name="connsiteX122" fmla="*/ 936022 w 1182528"/>
                <a:gd name="connsiteY122" fmla="*/ 194405 h 1101852"/>
                <a:gd name="connsiteX123" fmla="*/ 930307 w 1182528"/>
                <a:gd name="connsiteY123" fmla="*/ 187166 h 1101852"/>
                <a:gd name="connsiteX124" fmla="*/ 920210 w 1182528"/>
                <a:gd name="connsiteY124" fmla="*/ 183642 h 1101852"/>
                <a:gd name="connsiteX125" fmla="*/ 908399 w 1182528"/>
                <a:gd name="connsiteY125" fmla="*/ 191548 h 1101852"/>
                <a:gd name="connsiteX126" fmla="*/ 903827 w 1182528"/>
                <a:gd name="connsiteY126" fmla="*/ 193739 h 1101852"/>
                <a:gd name="connsiteX127" fmla="*/ 895540 w 1182528"/>
                <a:gd name="connsiteY127" fmla="*/ 191548 h 1101852"/>
                <a:gd name="connsiteX128" fmla="*/ 896969 w 1182528"/>
                <a:gd name="connsiteY128" fmla="*/ 202597 h 1101852"/>
                <a:gd name="connsiteX129" fmla="*/ 888302 w 1182528"/>
                <a:gd name="connsiteY129" fmla="*/ 222980 h 1101852"/>
                <a:gd name="connsiteX130" fmla="*/ 884968 w 1182528"/>
                <a:gd name="connsiteY130" fmla="*/ 221742 h 1101852"/>
                <a:gd name="connsiteX131" fmla="*/ 873347 w 1182528"/>
                <a:gd name="connsiteY131" fmla="*/ 231267 h 1101852"/>
                <a:gd name="connsiteX132" fmla="*/ 870204 w 1182528"/>
                <a:gd name="connsiteY132" fmla="*/ 231648 h 1101852"/>
                <a:gd name="connsiteX133" fmla="*/ 865823 w 1182528"/>
                <a:gd name="connsiteY133" fmla="*/ 235458 h 1101852"/>
                <a:gd name="connsiteX134" fmla="*/ 846773 w 1182528"/>
                <a:gd name="connsiteY134" fmla="*/ 236315 h 1101852"/>
                <a:gd name="connsiteX135" fmla="*/ 826198 w 1182528"/>
                <a:gd name="connsiteY135" fmla="*/ 251746 h 1101852"/>
                <a:gd name="connsiteX136" fmla="*/ 821341 w 1182528"/>
                <a:gd name="connsiteY136" fmla="*/ 250793 h 1101852"/>
                <a:gd name="connsiteX137" fmla="*/ 814006 w 1182528"/>
                <a:gd name="connsiteY137" fmla="*/ 256508 h 1101852"/>
                <a:gd name="connsiteX138" fmla="*/ 807720 w 1182528"/>
                <a:gd name="connsiteY138" fmla="*/ 257270 h 1101852"/>
                <a:gd name="connsiteX139" fmla="*/ 803148 w 1182528"/>
                <a:gd name="connsiteY139" fmla="*/ 259461 h 1101852"/>
                <a:gd name="connsiteX140" fmla="*/ 796861 w 1182528"/>
                <a:gd name="connsiteY140" fmla="*/ 260318 h 1101852"/>
                <a:gd name="connsiteX141" fmla="*/ 790003 w 1182528"/>
                <a:gd name="connsiteY141" fmla="*/ 269177 h 1101852"/>
                <a:gd name="connsiteX142" fmla="*/ 788956 w 1182528"/>
                <a:gd name="connsiteY142" fmla="*/ 274130 h 1101852"/>
                <a:gd name="connsiteX143" fmla="*/ 784669 w 1182528"/>
                <a:gd name="connsiteY143" fmla="*/ 277844 h 1101852"/>
                <a:gd name="connsiteX144" fmla="*/ 778383 w 1182528"/>
                <a:gd name="connsiteY144" fmla="*/ 278702 h 1101852"/>
                <a:gd name="connsiteX145" fmla="*/ 774764 w 1182528"/>
                <a:gd name="connsiteY145" fmla="*/ 275939 h 1101852"/>
                <a:gd name="connsiteX146" fmla="*/ 768477 w 1182528"/>
                <a:gd name="connsiteY146" fmla="*/ 276701 h 1101852"/>
                <a:gd name="connsiteX147" fmla="*/ 762190 w 1182528"/>
                <a:gd name="connsiteY147" fmla="*/ 277559 h 1101852"/>
                <a:gd name="connsiteX148" fmla="*/ 758285 w 1182528"/>
                <a:gd name="connsiteY148" fmla="*/ 284417 h 1101852"/>
                <a:gd name="connsiteX149" fmla="*/ 747522 w 1182528"/>
                <a:gd name="connsiteY149" fmla="*/ 276225 h 1101852"/>
                <a:gd name="connsiteX150" fmla="*/ 737902 w 1182528"/>
                <a:gd name="connsiteY150" fmla="*/ 275844 h 1101852"/>
                <a:gd name="connsiteX151" fmla="*/ 737330 w 1182528"/>
                <a:gd name="connsiteY151" fmla="*/ 271082 h 1101852"/>
                <a:gd name="connsiteX152" fmla="*/ 728567 w 1182528"/>
                <a:gd name="connsiteY152" fmla="*/ 265748 h 1101852"/>
                <a:gd name="connsiteX153" fmla="*/ 724281 w 1182528"/>
                <a:gd name="connsiteY153" fmla="*/ 269558 h 1101852"/>
                <a:gd name="connsiteX154" fmla="*/ 715423 w 1182528"/>
                <a:gd name="connsiteY154" fmla="*/ 275463 h 1101852"/>
                <a:gd name="connsiteX155" fmla="*/ 705898 w 1182528"/>
                <a:gd name="connsiteY155" fmla="*/ 276701 h 1101852"/>
                <a:gd name="connsiteX156" fmla="*/ 702945 w 1182528"/>
                <a:gd name="connsiteY156" fmla="*/ 278606 h 1101852"/>
                <a:gd name="connsiteX157" fmla="*/ 703993 w 1182528"/>
                <a:gd name="connsiteY157" fmla="*/ 286512 h 1101852"/>
                <a:gd name="connsiteX158" fmla="*/ 699611 w 1182528"/>
                <a:gd name="connsiteY158" fmla="*/ 290322 h 1101852"/>
                <a:gd name="connsiteX159" fmla="*/ 696944 w 1182528"/>
                <a:gd name="connsiteY159" fmla="*/ 293846 h 1101852"/>
                <a:gd name="connsiteX160" fmla="*/ 692753 w 1182528"/>
                <a:gd name="connsiteY160" fmla="*/ 299180 h 1101852"/>
                <a:gd name="connsiteX161" fmla="*/ 678180 w 1182528"/>
                <a:gd name="connsiteY161" fmla="*/ 297847 h 1101852"/>
                <a:gd name="connsiteX162" fmla="*/ 669512 w 1182528"/>
                <a:gd name="connsiteY162" fmla="*/ 292513 h 1101852"/>
                <a:gd name="connsiteX163" fmla="*/ 665131 w 1182528"/>
                <a:gd name="connsiteY163" fmla="*/ 296323 h 1101852"/>
                <a:gd name="connsiteX164" fmla="*/ 664178 w 1182528"/>
                <a:gd name="connsiteY164" fmla="*/ 301276 h 1101852"/>
                <a:gd name="connsiteX165" fmla="*/ 665988 w 1182528"/>
                <a:gd name="connsiteY165" fmla="*/ 302609 h 1101852"/>
                <a:gd name="connsiteX166" fmla="*/ 661988 w 1182528"/>
                <a:gd name="connsiteY166" fmla="*/ 309563 h 1101852"/>
                <a:gd name="connsiteX167" fmla="*/ 661226 w 1182528"/>
                <a:gd name="connsiteY167" fmla="*/ 316039 h 1101852"/>
                <a:gd name="connsiteX168" fmla="*/ 657130 w 1182528"/>
                <a:gd name="connsiteY168" fmla="*/ 321374 h 1101852"/>
                <a:gd name="connsiteX169" fmla="*/ 659702 w 1182528"/>
                <a:gd name="connsiteY169" fmla="*/ 329089 h 1101852"/>
                <a:gd name="connsiteX170" fmla="*/ 667417 w 1182528"/>
                <a:gd name="connsiteY170" fmla="*/ 339281 h 1101852"/>
                <a:gd name="connsiteX171" fmla="*/ 663893 w 1182528"/>
                <a:gd name="connsiteY171" fmla="*/ 349377 h 1101852"/>
                <a:gd name="connsiteX172" fmla="*/ 655034 w 1182528"/>
                <a:gd name="connsiteY172" fmla="*/ 355378 h 1101852"/>
                <a:gd name="connsiteX173" fmla="*/ 652081 w 1182528"/>
                <a:gd name="connsiteY173" fmla="*/ 357283 h 1101852"/>
                <a:gd name="connsiteX174" fmla="*/ 644747 w 1182528"/>
                <a:gd name="connsiteY174" fmla="*/ 350234 h 1101852"/>
                <a:gd name="connsiteX175" fmla="*/ 639985 w 1182528"/>
                <a:gd name="connsiteY175" fmla="*/ 350806 h 1101852"/>
                <a:gd name="connsiteX176" fmla="*/ 639413 w 1182528"/>
                <a:gd name="connsiteY176" fmla="*/ 358902 h 1101852"/>
                <a:gd name="connsiteX177" fmla="*/ 635889 w 1182528"/>
                <a:gd name="connsiteY177" fmla="*/ 368999 h 1101852"/>
                <a:gd name="connsiteX178" fmla="*/ 628174 w 1182528"/>
                <a:gd name="connsiteY178" fmla="*/ 371570 h 1101852"/>
                <a:gd name="connsiteX179" fmla="*/ 621316 w 1182528"/>
                <a:gd name="connsiteY179" fmla="*/ 367665 h 1101852"/>
                <a:gd name="connsiteX180" fmla="*/ 618554 w 1182528"/>
                <a:gd name="connsiteY180" fmla="*/ 371189 h 1101852"/>
                <a:gd name="connsiteX181" fmla="*/ 615410 w 1182528"/>
                <a:gd name="connsiteY181" fmla="*/ 371570 h 1101852"/>
                <a:gd name="connsiteX182" fmla="*/ 606266 w 1182528"/>
                <a:gd name="connsiteY182" fmla="*/ 363188 h 1101852"/>
                <a:gd name="connsiteX183" fmla="*/ 602742 w 1182528"/>
                <a:gd name="connsiteY183" fmla="*/ 360426 h 1101852"/>
                <a:gd name="connsiteX184" fmla="*/ 596265 w 1182528"/>
                <a:gd name="connsiteY184" fmla="*/ 359569 h 1101852"/>
                <a:gd name="connsiteX185" fmla="*/ 591693 w 1182528"/>
                <a:gd name="connsiteY185" fmla="*/ 361760 h 1101852"/>
                <a:gd name="connsiteX186" fmla="*/ 589502 w 1182528"/>
                <a:gd name="connsiteY186" fmla="*/ 357283 h 1101852"/>
                <a:gd name="connsiteX187" fmla="*/ 586740 w 1182528"/>
                <a:gd name="connsiteY187" fmla="*/ 360807 h 1101852"/>
                <a:gd name="connsiteX188" fmla="*/ 583025 w 1182528"/>
                <a:gd name="connsiteY188" fmla="*/ 356521 h 1101852"/>
                <a:gd name="connsiteX189" fmla="*/ 578644 w 1182528"/>
                <a:gd name="connsiteY189" fmla="*/ 360236 h 1101852"/>
                <a:gd name="connsiteX190" fmla="*/ 573500 w 1182528"/>
                <a:gd name="connsiteY190" fmla="*/ 357664 h 1101852"/>
                <a:gd name="connsiteX191" fmla="*/ 568833 w 1182528"/>
                <a:gd name="connsiteY191" fmla="*/ 358331 h 1101852"/>
                <a:gd name="connsiteX192" fmla="*/ 564642 w 1182528"/>
                <a:gd name="connsiteY192" fmla="*/ 363664 h 1101852"/>
                <a:gd name="connsiteX193" fmla="*/ 561689 w 1182528"/>
                <a:gd name="connsiteY193" fmla="*/ 365570 h 1101852"/>
                <a:gd name="connsiteX194" fmla="*/ 555403 w 1182528"/>
                <a:gd name="connsiteY194" fmla="*/ 366427 h 1101852"/>
                <a:gd name="connsiteX195" fmla="*/ 547878 w 1182528"/>
                <a:gd name="connsiteY195" fmla="*/ 357759 h 1101852"/>
                <a:gd name="connsiteX196" fmla="*/ 539591 w 1182528"/>
                <a:gd name="connsiteY196" fmla="*/ 368427 h 1101852"/>
                <a:gd name="connsiteX197" fmla="*/ 534924 w 1182528"/>
                <a:gd name="connsiteY197" fmla="*/ 368999 h 1101852"/>
                <a:gd name="connsiteX198" fmla="*/ 537305 w 1182528"/>
                <a:gd name="connsiteY198" fmla="*/ 375190 h 1101852"/>
                <a:gd name="connsiteX199" fmla="*/ 534543 w 1182528"/>
                <a:gd name="connsiteY199" fmla="*/ 378714 h 1101852"/>
                <a:gd name="connsiteX200" fmla="*/ 522827 w 1182528"/>
                <a:gd name="connsiteY200" fmla="*/ 375380 h 1101852"/>
                <a:gd name="connsiteX201" fmla="*/ 517112 w 1182528"/>
                <a:gd name="connsiteY201" fmla="*/ 368046 h 1101852"/>
                <a:gd name="connsiteX202" fmla="*/ 504825 w 1182528"/>
                <a:gd name="connsiteY202" fmla="*/ 360045 h 1101852"/>
                <a:gd name="connsiteX203" fmla="*/ 490633 w 1182528"/>
                <a:gd name="connsiteY203" fmla="*/ 361855 h 1101852"/>
                <a:gd name="connsiteX204" fmla="*/ 484727 w 1182528"/>
                <a:gd name="connsiteY204" fmla="*/ 365760 h 1101852"/>
                <a:gd name="connsiteX205" fmla="*/ 477298 w 1182528"/>
                <a:gd name="connsiteY205" fmla="*/ 369951 h 1101852"/>
                <a:gd name="connsiteX206" fmla="*/ 478250 w 1182528"/>
                <a:gd name="connsiteY206" fmla="*/ 377857 h 1101852"/>
                <a:gd name="connsiteX207" fmla="*/ 467201 w 1182528"/>
                <a:gd name="connsiteY207" fmla="*/ 379286 h 1101852"/>
                <a:gd name="connsiteX208" fmla="*/ 461296 w 1182528"/>
                <a:gd name="connsiteY208" fmla="*/ 383191 h 1101852"/>
                <a:gd name="connsiteX209" fmla="*/ 451199 w 1182528"/>
                <a:gd name="connsiteY209" fmla="*/ 379667 h 1101852"/>
                <a:gd name="connsiteX210" fmla="*/ 441389 w 1182528"/>
                <a:gd name="connsiteY210" fmla="*/ 377762 h 1101852"/>
                <a:gd name="connsiteX211" fmla="*/ 438436 w 1182528"/>
                <a:gd name="connsiteY211" fmla="*/ 379762 h 1101852"/>
                <a:gd name="connsiteX212" fmla="*/ 433292 w 1182528"/>
                <a:gd name="connsiteY212" fmla="*/ 377190 h 1101852"/>
                <a:gd name="connsiteX213" fmla="*/ 428530 w 1182528"/>
                <a:gd name="connsiteY213" fmla="*/ 377762 h 1101852"/>
                <a:gd name="connsiteX214" fmla="*/ 422434 w 1182528"/>
                <a:gd name="connsiteY214" fmla="*/ 380143 h 1101852"/>
                <a:gd name="connsiteX215" fmla="*/ 416909 w 1182528"/>
                <a:gd name="connsiteY215" fmla="*/ 387287 h 1101852"/>
                <a:gd name="connsiteX216" fmla="*/ 408813 w 1182528"/>
                <a:gd name="connsiteY216" fmla="*/ 386715 h 1101852"/>
                <a:gd name="connsiteX217" fmla="*/ 409861 w 1182528"/>
                <a:gd name="connsiteY217" fmla="*/ 394621 h 1101852"/>
                <a:gd name="connsiteX218" fmla="*/ 417576 w 1182528"/>
                <a:gd name="connsiteY218" fmla="*/ 404813 h 1101852"/>
                <a:gd name="connsiteX219" fmla="*/ 419767 w 1182528"/>
                <a:gd name="connsiteY219" fmla="*/ 409385 h 1101852"/>
                <a:gd name="connsiteX220" fmla="*/ 420910 w 1182528"/>
                <a:gd name="connsiteY220" fmla="*/ 418814 h 1101852"/>
                <a:gd name="connsiteX221" fmla="*/ 418147 w 1182528"/>
                <a:gd name="connsiteY221" fmla="*/ 422434 h 1101852"/>
                <a:gd name="connsiteX222" fmla="*/ 419005 w 1182528"/>
                <a:gd name="connsiteY222" fmla="*/ 428720 h 1101852"/>
                <a:gd name="connsiteX223" fmla="*/ 417576 w 1182528"/>
                <a:gd name="connsiteY223" fmla="*/ 430435 h 1101852"/>
                <a:gd name="connsiteX224" fmla="*/ 412718 w 1182528"/>
                <a:gd name="connsiteY224" fmla="*/ 429482 h 1101852"/>
                <a:gd name="connsiteX225" fmla="*/ 398716 w 1182528"/>
                <a:gd name="connsiteY225" fmla="*/ 445675 h 1101852"/>
                <a:gd name="connsiteX226" fmla="*/ 401288 w 1182528"/>
                <a:gd name="connsiteY226" fmla="*/ 453390 h 1101852"/>
                <a:gd name="connsiteX227" fmla="*/ 407575 w 1182528"/>
                <a:gd name="connsiteY227" fmla="*/ 452628 h 1101852"/>
                <a:gd name="connsiteX228" fmla="*/ 407194 w 1182528"/>
                <a:gd name="connsiteY228" fmla="*/ 462248 h 1101852"/>
                <a:gd name="connsiteX229" fmla="*/ 402908 w 1182528"/>
                <a:gd name="connsiteY229" fmla="*/ 466058 h 1101852"/>
                <a:gd name="connsiteX230" fmla="*/ 391858 w 1182528"/>
                <a:gd name="connsiteY230" fmla="*/ 467487 h 1101852"/>
                <a:gd name="connsiteX231" fmla="*/ 387477 w 1182528"/>
                <a:gd name="connsiteY231" fmla="*/ 471202 h 1101852"/>
                <a:gd name="connsiteX232" fmla="*/ 386906 w 1182528"/>
                <a:gd name="connsiteY232" fmla="*/ 479298 h 1101852"/>
                <a:gd name="connsiteX233" fmla="*/ 373761 w 1182528"/>
                <a:gd name="connsiteY233" fmla="*/ 489013 h 1101852"/>
                <a:gd name="connsiteX234" fmla="*/ 374142 w 1182528"/>
                <a:gd name="connsiteY234" fmla="*/ 492157 h 1101852"/>
                <a:gd name="connsiteX235" fmla="*/ 369856 w 1182528"/>
                <a:gd name="connsiteY235" fmla="*/ 495872 h 1101852"/>
                <a:gd name="connsiteX236" fmla="*/ 364331 w 1182528"/>
                <a:gd name="connsiteY236" fmla="*/ 503015 h 1101852"/>
                <a:gd name="connsiteX237" fmla="*/ 350329 w 1182528"/>
                <a:gd name="connsiteY237" fmla="*/ 493586 h 1101852"/>
                <a:gd name="connsiteX238" fmla="*/ 342233 w 1182528"/>
                <a:gd name="connsiteY238" fmla="*/ 493014 h 1101852"/>
                <a:gd name="connsiteX239" fmla="*/ 338614 w 1182528"/>
                <a:gd name="connsiteY239" fmla="*/ 490252 h 1101852"/>
                <a:gd name="connsiteX240" fmla="*/ 340233 w 1182528"/>
                <a:gd name="connsiteY240" fmla="*/ 490061 h 1101852"/>
                <a:gd name="connsiteX241" fmla="*/ 338233 w 1182528"/>
                <a:gd name="connsiteY241" fmla="*/ 487109 h 1101852"/>
                <a:gd name="connsiteX242" fmla="*/ 331756 w 1182528"/>
                <a:gd name="connsiteY242" fmla="*/ 486347 h 1101852"/>
                <a:gd name="connsiteX243" fmla="*/ 329946 w 1182528"/>
                <a:gd name="connsiteY243" fmla="*/ 484918 h 1101852"/>
                <a:gd name="connsiteX244" fmla="*/ 330899 w 1182528"/>
                <a:gd name="connsiteY244" fmla="*/ 480060 h 1101852"/>
                <a:gd name="connsiteX245" fmla="*/ 324326 w 1182528"/>
                <a:gd name="connsiteY245" fmla="*/ 466439 h 1101852"/>
                <a:gd name="connsiteX246" fmla="*/ 316611 w 1182528"/>
                <a:gd name="connsiteY246" fmla="*/ 456152 h 1101852"/>
                <a:gd name="connsiteX247" fmla="*/ 316039 w 1182528"/>
                <a:gd name="connsiteY247" fmla="*/ 451485 h 1101852"/>
                <a:gd name="connsiteX248" fmla="*/ 311087 w 1182528"/>
                <a:gd name="connsiteY248" fmla="*/ 450437 h 1101852"/>
                <a:gd name="connsiteX249" fmla="*/ 309753 w 1182528"/>
                <a:gd name="connsiteY249" fmla="*/ 452247 h 1101852"/>
                <a:gd name="connsiteX250" fmla="*/ 305943 w 1182528"/>
                <a:gd name="connsiteY250" fmla="*/ 447961 h 1101852"/>
                <a:gd name="connsiteX251" fmla="*/ 300799 w 1182528"/>
                <a:gd name="connsiteY251" fmla="*/ 445389 h 1101852"/>
                <a:gd name="connsiteX252" fmla="*/ 303657 w 1182528"/>
                <a:gd name="connsiteY252" fmla="*/ 467487 h 1101852"/>
                <a:gd name="connsiteX253" fmla="*/ 305848 w 1182528"/>
                <a:gd name="connsiteY253" fmla="*/ 471964 h 1101852"/>
                <a:gd name="connsiteX254" fmla="*/ 301466 w 1182528"/>
                <a:gd name="connsiteY254" fmla="*/ 475774 h 1101852"/>
                <a:gd name="connsiteX255" fmla="*/ 300514 w 1182528"/>
                <a:gd name="connsiteY255" fmla="*/ 480727 h 1101852"/>
                <a:gd name="connsiteX256" fmla="*/ 297561 w 1182528"/>
                <a:gd name="connsiteY256" fmla="*/ 482632 h 1101852"/>
                <a:gd name="connsiteX257" fmla="*/ 294418 w 1182528"/>
                <a:gd name="connsiteY257" fmla="*/ 483108 h 1101852"/>
                <a:gd name="connsiteX258" fmla="*/ 293084 w 1182528"/>
                <a:gd name="connsiteY258" fmla="*/ 484823 h 1101852"/>
                <a:gd name="connsiteX259" fmla="*/ 277463 w 1182528"/>
                <a:gd name="connsiteY259" fmla="*/ 488442 h 1101852"/>
                <a:gd name="connsiteX260" fmla="*/ 279464 w 1182528"/>
                <a:gd name="connsiteY260" fmla="*/ 491395 h 1101852"/>
                <a:gd name="connsiteX261" fmla="*/ 276701 w 1182528"/>
                <a:gd name="connsiteY261" fmla="*/ 494919 h 1101852"/>
                <a:gd name="connsiteX262" fmla="*/ 268605 w 1182528"/>
                <a:gd name="connsiteY262" fmla="*/ 494348 h 1101852"/>
                <a:gd name="connsiteX263" fmla="*/ 268986 w 1182528"/>
                <a:gd name="connsiteY263" fmla="*/ 497491 h 1101852"/>
                <a:gd name="connsiteX264" fmla="*/ 266224 w 1182528"/>
                <a:gd name="connsiteY264" fmla="*/ 501110 h 1101852"/>
                <a:gd name="connsiteX265" fmla="*/ 267081 w 1182528"/>
                <a:gd name="connsiteY265" fmla="*/ 507397 h 1101852"/>
                <a:gd name="connsiteX266" fmla="*/ 266510 w 1182528"/>
                <a:gd name="connsiteY266" fmla="*/ 515493 h 1101852"/>
                <a:gd name="connsiteX267" fmla="*/ 268224 w 1182528"/>
                <a:gd name="connsiteY267" fmla="*/ 516827 h 1101852"/>
                <a:gd name="connsiteX268" fmla="*/ 267652 w 1182528"/>
                <a:gd name="connsiteY268" fmla="*/ 524923 h 1101852"/>
                <a:gd name="connsiteX269" fmla="*/ 258413 w 1182528"/>
                <a:gd name="connsiteY269" fmla="*/ 527780 h 1101852"/>
                <a:gd name="connsiteX270" fmla="*/ 250317 w 1182528"/>
                <a:gd name="connsiteY270" fmla="*/ 527209 h 1101852"/>
                <a:gd name="connsiteX271" fmla="*/ 246031 w 1182528"/>
                <a:gd name="connsiteY271" fmla="*/ 530924 h 1101852"/>
                <a:gd name="connsiteX272" fmla="*/ 241268 w 1182528"/>
                <a:gd name="connsiteY272" fmla="*/ 518732 h 1101852"/>
                <a:gd name="connsiteX273" fmla="*/ 240792 w 1182528"/>
                <a:gd name="connsiteY273" fmla="*/ 515588 h 1101852"/>
                <a:gd name="connsiteX274" fmla="*/ 237077 w 1182528"/>
                <a:gd name="connsiteY274" fmla="*/ 511207 h 1101852"/>
                <a:gd name="connsiteX275" fmla="*/ 225838 w 1182528"/>
                <a:gd name="connsiteY275" fmla="*/ 511016 h 1101852"/>
                <a:gd name="connsiteX276" fmla="*/ 220504 w 1182528"/>
                <a:gd name="connsiteY276" fmla="*/ 506921 h 1101852"/>
                <a:gd name="connsiteX277" fmla="*/ 214789 w 1182528"/>
                <a:gd name="connsiteY277" fmla="*/ 512445 h 1101852"/>
                <a:gd name="connsiteX278" fmla="*/ 215360 w 1182528"/>
                <a:gd name="connsiteY278" fmla="*/ 517208 h 1101852"/>
                <a:gd name="connsiteX279" fmla="*/ 210883 w 1182528"/>
                <a:gd name="connsiteY279" fmla="*/ 519398 h 1101852"/>
                <a:gd name="connsiteX280" fmla="*/ 206693 w 1182528"/>
                <a:gd name="connsiteY280" fmla="*/ 524732 h 1101852"/>
                <a:gd name="connsiteX281" fmla="*/ 205359 w 1182528"/>
                <a:gd name="connsiteY281" fmla="*/ 526447 h 1101852"/>
                <a:gd name="connsiteX282" fmla="*/ 206312 w 1182528"/>
                <a:gd name="connsiteY282" fmla="*/ 534353 h 1101852"/>
                <a:gd name="connsiteX283" fmla="*/ 197834 w 1182528"/>
                <a:gd name="connsiteY283" fmla="*/ 543497 h 1101852"/>
                <a:gd name="connsiteX284" fmla="*/ 198501 w 1182528"/>
                <a:gd name="connsiteY284" fmla="*/ 548259 h 1101852"/>
                <a:gd name="connsiteX285" fmla="*/ 200692 w 1182528"/>
                <a:gd name="connsiteY285" fmla="*/ 552736 h 1101852"/>
                <a:gd name="connsiteX286" fmla="*/ 201454 w 1182528"/>
                <a:gd name="connsiteY286" fmla="*/ 559022 h 1101852"/>
                <a:gd name="connsiteX287" fmla="*/ 197168 w 1182528"/>
                <a:gd name="connsiteY287" fmla="*/ 562832 h 1101852"/>
                <a:gd name="connsiteX288" fmla="*/ 196120 w 1182528"/>
                <a:gd name="connsiteY288" fmla="*/ 567785 h 1101852"/>
                <a:gd name="connsiteX289" fmla="*/ 188309 w 1182528"/>
                <a:gd name="connsiteY289" fmla="*/ 581597 h 1101852"/>
                <a:gd name="connsiteX290" fmla="*/ 187738 w 1182528"/>
                <a:gd name="connsiteY290" fmla="*/ 589693 h 1101852"/>
                <a:gd name="connsiteX291" fmla="*/ 177260 w 1182528"/>
                <a:gd name="connsiteY291" fmla="*/ 595789 h 1101852"/>
                <a:gd name="connsiteX292" fmla="*/ 178879 w 1182528"/>
                <a:gd name="connsiteY292" fmla="*/ 608457 h 1101852"/>
                <a:gd name="connsiteX293" fmla="*/ 177546 w 1182528"/>
                <a:gd name="connsiteY293" fmla="*/ 610267 h 1101852"/>
                <a:gd name="connsiteX294" fmla="*/ 172593 w 1182528"/>
                <a:gd name="connsiteY294" fmla="*/ 609219 h 1101852"/>
                <a:gd name="connsiteX295" fmla="*/ 164497 w 1182528"/>
                <a:gd name="connsiteY295" fmla="*/ 608648 h 1101852"/>
                <a:gd name="connsiteX296" fmla="*/ 149257 w 1182528"/>
                <a:gd name="connsiteY296" fmla="*/ 602552 h 1101852"/>
                <a:gd name="connsiteX297" fmla="*/ 143351 w 1182528"/>
                <a:gd name="connsiteY297" fmla="*/ 606552 h 1101852"/>
                <a:gd name="connsiteX298" fmla="*/ 138398 w 1182528"/>
                <a:gd name="connsiteY298" fmla="*/ 605600 h 1101852"/>
                <a:gd name="connsiteX299" fmla="*/ 140779 w 1182528"/>
                <a:gd name="connsiteY299" fmla="*/ 598837 h 1101852"/>
                <a:gd name="connsiteX300" fmla="*/ 137255 w 1182528"/>
                <a:gd name="connsiteY300" fmla="*/ 596075 h 1101852"/>
                <a:gd name="connsiteX301" fmla="*/ 134874 w 1182528"/>
                <a:gd name="connsiteY301" fmla="*/ 589979 h 1101852"/>
                <a:gd name="connsiteX302" fmla="*/ 126016 w 1182528"/>
                <a:gd name="connsiteY302" fmla="*/ 595979 h 1101852"/>
                <a:gd name="connsiteX303" fmla="*/ 114586 w 1182528"/>
                <a:gd name="connsiteY303" fmla="*/ 607028 h 1101852"/>
                <a:gd name="connsiteX304" fmla="*/ 106680 w 1182528"/>
                <a:gd name="connsiteY304" fmla="*/ 607981 h 1101852"/>
                <a:gd name="connsiteX305" fmla="*/ 102299 w 1182528"/>
                <a:gd name="connsiteY305" fmla="*/ 611791 h 1101852"/>
                <a:gd name="connsiteX306" fmla="*/ 82772 w 1182528"/>
                <a:gd name="connsiteY306" fmla="*/ 609505 h 1101852"/>
                <a:gd name="connsiteX307" fmla="*/ 79057 w 1182528"/>
                <a:gd name="connsiteY307" fmla="*/ 605123 h 1101852"/>
                <a:gd name="connsiteX308" fmla="*/ 74866 w 1182528"/>
                <a:gd name="connsiteY308" fmla="*/ 597599 h 1101852"/>
                <a:gd name="connsiteX309" fmla="*/ 70295 w 1182528"/>
                <a:gd name="connsiteY309" fmla="*/ 599789 h 1101852"/>
                <a:gd name="connsiteX310" fmla="*/ 65437 w 1182528"/>
                <a:gd name="connsiteY310" fmla="*/ 598837 h 1101852"/>
                <a:gd name="connsiteX311" fmla="*/ 65246 w 1182528"/>
                <a:gd name="connsiteY311" fmla="*/ 610076 h 1101852"/>
                <a:gd name="connsiteX312" fmla="*/ 59150 w 1182528"/>
                <a:gd name="connsiteY312" fmla="*/ 625316 h 1101852"/>
                <a:gd name="connsiteX313" fmla="*/ 56864 w 1182528"/>
                <a:gd name="connsiteY313" fmla="*/ 644843 h 1101852"/>
                <a:gd name="connsiteX314" fmla="*/ 54864 w 1182528"/>
                <a:gd name="connsiteY314" fmla="*/ 654749 h 1101852"/>
                <a:gd name="connsiteX315" fmla="*/ 57626 w 1182528"/>
                <a:gd name="connsiteY315" fmla="*/ 663988 h 1101852"/>
                <a:gd name="connsiteX316" fmla="*/ 54102 w 1182528"/>
                <a:gd name="connsiteY316" fmla="*/ 674084 h 1101852"/>
                <a:gd name="connsiteX317" fmla="*/ 40957 w 1182528"/>
                <a:gd name="connsiteY317" fmla="*/ 683800 h 1101852"/>
                <a:gd name="connsiteX318" fmla="*/ 36766 w 1182528"/>
                <a:gd name="connsiteY318" fmla="*/ 689134 h 1101852"/>
                <a:gd name="connsiteX319" fmla="*/ 33242 w 1182528"/>
                <a:gd name="connsiteY319" fmla="*/ 699135 h 1101852"/>
                <a:gd name="connsiteX320" fmla="*/ 30289 w 1182528"/>
                <a:gd name="connsiteY320" fmla="*/ 701135 h 1101852"/>
                <a:gd name="connsiteX321" fmla="*/ 16574 w 1182528"/>
                <a:gd name="connsiteY321" fmla="*/ 706088 h 1101852"/>
                <a:gd name="connsiteX322" fmla="*/ 5524 w 1182528"/>
                <a:gd name="connsiteY322" fmla="*/ 707517 h 1101852"/>
                <a:gd name="connsiteX323" fmla="*/ 952 w 1182528"/>
                <a:gd name="connsiteY323" fmla="*/ 709708 h 1101852"/>
                <a:gd name="connsiteX324" fmla="*/ 0 w 1182528"/>
                <a:gd name="connsiteY324" fmla="*/ 714661 h 1101852"/>
                <a:gd name="connsiteX325" fmla="*/ 4858 w 1182528"/>
                <a:gd name="connsiteY325" fmla="*/ 715613 h 1101852"/>
                <a:gd name="connsiteX326" fmla="*/ 5143 w 1182528"/>
                <a:gd name="connsiteY326" fmla="*/ 717137 h 1101852"/>
                <a:gd name="connsiteX327" fmla="*/ 16954 w 1182528"/>
                <a:gd name="connsiteY327" fmla="*/ 722090 h 1101852"/>
                <a:gd name="connsiteX328" fmla="*/ 20955 w 1182528"/>
                <a:gd name="connsiteY328" fmla="*/ 727996 h 1101852"/>
                <a:gd name="connsiteX329" fmla="*/ 23336 w 1182528"/>
                <a:gd name="connsiteY329" fmla="*/ 734092 h 1101852"/>
                <a:gd name="connsiteX330" fmla="*/ 34099 w 1182528"/>
                <a:gd name="connsiteY330" fmla="*/ 731139 h 1101852"/>
                <a:gd name="connsiteX331" fmla="*/ 36100 w 1182528"/>
                <a:gd name="connsiteY331" fmla="*/ 734092 h 1101852"/>
                <a:gd name="connsiteX332" fmla="*/ 39052 w 1182528"/>
                <a:gd name="connsiteY332" fmla="*/ 732092 h 1101852"/>
                <a:gd name="connsiteX333" fmla="*/ 37909 w 1182528"/>
                <a:gd name="connsiteY333" fmla="*/ 735425 h 1101852"/>
                <a:gd name="connsiteX334" fmla="*/ 39719 w 1182528"/>
                <a:gd name="connsiteY334" fmla="*/ 736854 h 1101852"/>
                <a:gd name="connsiteX335" fmla="*/ 48577 w 1182528"/>
                <a:gd name="connsiteY335" fmla="*/ 730853 h 1101852"/>
                <a:gd name="connsiteX336" fmla="*/ 56197 w 1182528"/>
                <a:gd name="connsiteY336" fmla="*/ 728282 h 1101852"/>
                <a:gd name="connsiteX337" fmla="*/ 58864 w 1182528"/>
                <a:gd name="connsiteY337" fmla="*/ 735997 h 1101852"/>
                <a:gd name="connsiteX338" fmla="*/ 72676 w 1182528"/>
                <a:gd name="connsiteY338" fmla="*/ 743903 h 1101852"/>
                <a:gd name="connsiteX339" fmla="*/ 73628 w 1182528"/>
                <a:gd name="connsiteY339" fmla="*/ 738950 h 1101852"/>
                <a:gd name="connsiteX340" fmla="*/ 88201 w 1182528"/>
                <a:gd name="connsiteY340" fmla="*/ 740283 h 1101852"/>
                <a:gd name="connsiteX341" fmla="*/ 87820 w 1182528"/>
                <a:gd name="connsiteY341" fmla="*/ 737140 h 1101852"/>
                <a:gd name="connsiteX342" fmla="*/ 97155 w 1182528"/>
                <a:gd name="connsiteY342" fmla="*/ 747141 h 1101852"/>
                <a:gd name="connsiteX343" fmla="*/ 103632 w 1182528"/>
                <a:gd name="connsiteY343" fmla="*/ 747903 h 1101852"/>
                <a:gd name="connsiteX344" fmla="*/ 106585 w 1182528"/>
                <a:gd name="connsiteY344" fmla="*/ 745998 h 1101852"/>
                <a:gd name="connsiteX345" fmla="*/ 108395 w 1182528"/>
                <a:gd name="connsiteY345" fmla="*/ 747332 h 1101852"/>
                <a:gd name="connsiteX346" fmla="*/ 116300 w 1182528"/>
                <a:gd name="connsiteY346" fmla="*/ 759143 h 1101852"/>
                <a:gd name="connsiteX347" fmla="*/ 116491 w 1182528"/>
                <a:gd name="connsiteY347" fmla="*/ 760762 h 1101852"/>
                <a:gd name="connsiteX348" fmla="*/ 110204 w 1182528"/>
                <a:gd name="connsiteY348" fmla="*/ 761524 h 1101852"/>
                <a:gd name="connsiteX349" fmla="*/ 108204 w 1182528"/>
                <a:gd name="connsiteY349" fmla="*/ 771430 h 1101852"/>
                <a:gd name="connsiteX350" fmla="*/ 103727 w 1182528"/>
                <a:gd name="connsiteY350" fmla="*/ 773621 h 1101852"/>
                <a:gd name="connsiteX351" fmla="*/ 104299 w 1182528"/>
                <a:gd name="connsiteY351" fmla="*/ 778288 h 1101852"/>
                <a:gd name="connsiteX352" fmla="*/ 104299 w 1182528"/>
                <a:gd name="connsiteY352" fmla="*/ 778288 h 1101852"/>
                <a:gd name="connsiteX353" fmla="*/ 107251 w 1182528"/>
                <a:gd name="connsiteY353" fmla="*/ 776288 h 1101852"/>
                <a:gd name="connsiteX354" fmla="*/ 111062 w 1182528"/>
                <a:gd name="connsiteY354" fmla="*/ 780669 h 1101852"/>
                <a:gd name="connsiteX355" fmla="*/ 115729 w 1182528"/>
                <a:gd name="connsiteY355" fmla="*/ 780098 h 1101852"/>
                <a:gd name="connsiteX356" fmla="*/ 117539 w 1182528"/>
                <a:gd name="connsiteY356" fmla="*/ 781431 h 1101852"/>
                <a:gd name="connsiteX357" fmla="*/ 116205 w 1182528"/>
                <a:gd name="connsiteY357" fmla="*/ 783241 h 1101852"/>
                <a:gd name="connsiteX358" fmla="*/ 121253 w 1182528"/>
                <a:gd name="connsiteY358" fmla="*/ 785813 h 1101852"/>
                <a:gd name="connsiteX359" fmla="*/ 122682 w 1182528"/>
                <a:gd name="connsiteY359" fmla="*/ 784003 h 1101852"/>
                <a:gd name="connsiteX360" fmla="*/ 125825 w 1182528"/>
                <a:gd name="connsiteY360" fmla="*/ 783622 h 1101852"/>
                <a:gd name="connsiteX361" fmla="*/ 123634 w 1182528"/>
                <a:gd name="connsiteY361" fmla="*/ 779050 h 1101852"/>
                <a:gd name="connsiteX362" fmla="*/ 125254 w 1182528"/>
                <a:gd name="connsiteY362" fmla="*/ 778859 h 1101852"/>
                <a:gd name="connsiteX363" fmla="*/ 131159 w 1182528"/>
                <a:gd name="connsiteY363" fmla="*/ 774859 h 1101852"/>
                <a:gd name="connsiteX364" fmla="*/ 136112 w 1182528"/>
                <a:gd name="connsiteY364" fmla="*/ 775907 h 1101852"/>
                <a:gd name="connsiteX365" fmla="*/ 144208 w 1182528"/>
                <a:gd name="connsiteY365" fmla="*/ 776478 h 1101852"/>
                <a:gd name="connsiteX366" fmla="*/ 146304 w 1182528"/>
                <a:gd name="connsiteY366" fmla="*/ 780955 h 1101852"/>
                <a:gd name="connsiteX367" fmla="*/ 147923 w 1182528"/>
                <a:gd name="connsiteY367" fmla="*/ 780764 h 1101852"/>
                <a:gd name="connsiteX368" fmla="*/ 149733 w 1182528"/>
                <a:gd name="connsiteY368" fmla="*/ 782193 h 1101852"/>
                <a:gd name="connsiteX369" fmla="*/ 154400 w 1182528"/>
                <a:gd name="connsiteY369" fmla="*/ 781526 h 1101852"/>
                <a:gd name="connsiteX370" fmla="*/ 157829 w 1182528"/>
                <a:gd name="connsiteY370" fmla="*/ 782765 h 1101852"/>
                <a:gd name="connsiteX371" fmla="*/ 167259 w 1182528"/>
                <a:gd name="connsiteY371" fmla="*/ 781526 h 1101852"/>
                <a:gd name="connsiteX372" fmla="*/ 167830 w 1182528"/>
                <a:gd name="connsiteY372" fmla="*/ 786289 h 1101852"/>
                <a:gd name="connsiteX373" fmla="*/ 170402 w 1182528"/>
                <a:gd name="connsiteY373" fmla="*/ 781145 h 1101852"/>
                <a:gd name="connsiteX374" fmla="*/ 175355 w 1182528"/>
                <a:gd name="connsiteY374" fmla="*/ 782098 h 1101852"/>
                <a:gd name="connsiteX375" fmla="*/ 179451 w 1182528"/>
                <a:gd name="connsiteY375" fmla="*/ 776764 h 1101852"/>
                <a:gd name="connsiteX376" fmla="*/ 185642 w 1182528"/>
                <a:gd name="connsiteY376" fmla="*/ 774383 h 1101852"/>
                <a:gd name="connsiteX377" fmla="*/ 185833 w 1182528"/>
                <a:gd name="connsiteY377" fmla="*/ 776002 h 1101852"/>
                <a:gd name="connsiteX378" fmla="*/ 183261 w 1182528"/>
                <a:gd name="connsiteY378" fmla="*/ 781050 h 1101852"/>
                <a:gd name="connsiteX379" fmla="*/ 193548 w 1182528"/>
                <a:gd name="connsiteY379" fmla="*/ 786194 h 1101852"/>
                <a:gd name="connsiteX380" fmla="*/ 196691 w 1182528"/>
                <a:gd name="connsiteY380" fmla="*/ 798576 h 1101852"/>
                <a:gd name="connsiteX381" fmla="*/ 203645 w 1182528"/>
                <a:gd name="connsiteY381" fmla="*/ 802576 h 1101852"/>
                <a:gd name="connsiteX382" fmla="*/ 200882 w 1182528"/>
                <a:gd name="connsiteY382" fmla="*/ 806101 h 1101852"/>
                <a:gd name="connsiteX383" fmla="*/ 203454 w 1182528"/>
                <a:gd name="connsiteY383" fmla="*/ 813816 h 1101852"/>
                <a:gd name="connsiteX384" fmla="*/ 202025 w 1182528"/>
                <a:gd name="connsiteY384" fmla="*/ 815531 h 1101852"/>
                <a:gd name="connsiteX385" fmla="*/ 202501 w 1182528"/>
                <a:gd name="connsiteY385" fmla="*/ 818769 h 1101852"/>
                <a:gd name="connsiteX386" fmla="*/ 197929 w 1182528"/>
                <a:gd name="connsiteY386" fmla="*/ 820865 h 1101852"/>
                <a:gd name="connsiteX387" fmla="*/ 194977 w 1182528"/>
                <a:gd name="connsiteY387" fmla="*/ 822865 h 1101852"/>
                <a:gd name="connsiteX388" fmla="*/ 194977 w 1182528"/>
                <a:gd name="connsiteY388" fmla="*/ 822865 h 1101852"/>
                <a:gd name="connsiteX389" fmla="*/ 192214 w 1182528"/>
                <a:gd name="connsiteY389" fmla="*/ 826484 h 1101852"/>
                <a:gd name="connsiteX390" fmla="*/ 192595 w 1182528"/>
                <a:gd name="connsiteY390" fmla="*/ 829628 h 1101852"/>
                <a:gd name="connsiteX391" fmla="*/ 194596 w 1182528"/>
                <a:gd name="connsiteY391" fmla="*/ 832580 h 1101852"/>
                <a:gd name="connsiteX392" fmla="*/ 193453 w 1182528"/>
                <a:gd name="connsiteY392" fmla="*/ 835914 h 1101852"/>
                <a:gd name="connsiteX393" fmla="*/ 196596 w 1182528"/>
                <a:gd name="connsiteY393" fmla="*/ 835533 h 1101852"/>
                <a:gd name="connsiteX394" fmla="*/ 195643 w 1182528"/>
                <a:gd name="connsiteY394" fmla="*/ 840486 h 1101852"/>
                <a:gd name="connsiteX395" fmla="*/ 200597 w 1182528"/>
                <a:gd name="connsiteY395" fmla="*/ 841439 h 1101852"/>
                <a:gd name="connsiteX396" fmla="*/ 199739 w 1182528"/>
                <a:gd name="connsiteY396" fmla="*/ 847916 h 1101852"/>
                <a:gd name="connsiteX397" fmla="*/ 198215 w 1182528"/>
                <a:gd name="connsiteY397" fmla="*/ 848106 h 1101852"/>
                <a:gd name="connsiteX398" fmla="*/ 193643 w 1182528"/>
                <a:gd name="connsiteY398" fmla="*/ 850297 h 1101852"/>
                <a:gd name="connsiteX399" fmla="*/ 194310 w 1182528"/>
                <a:gd name="connsiteY399" fmla="*/ 855059 h 1101852"/>
                <a:gd name="connsiteX400" fmla="*/ 195834 w 1182528"/>
                <a:gd name="connsiteY400" fmla="*/ 854869 h 1101852"/>
                <a:gd name="connsiteX401" fmla="*/ 193262 w 1182528"/>
                <a:gd name="connsiteY401" fmla="*/ 860012 h 1101852"/>
                <a:gd name="connsiteX402" fmla="*/ 190119 w 1182528"/>
                <a:gd name="connsiteY402" fmla="*/ 860393 h 1101852"/>
                <a:gd name="connsiteX403" fmla="*/ 191929 w 1182528"/>
                <a:gd name="connsiteY403" fmla="*/ 861727 h 1101852"/>
                <a:gd name="connsiteX404" fmla="*/ 189928 w 1182528"/>
                <a:gd name="connsiteY404" fmla="*/ 871633 h 1101852"/>
                <a:gd name="connsiteX405" fmla="*/ 186785 w 1182528"/>
                <a:gd name="connsiteY405" fmla="*/ 872014 h 1101852"/>
                <a:gd name="connsiteX406" fmla="*/ 186976 w 1182528"/>
                <a:gd name="connsiteY406" fmla="*/ 873633 h 1101852"/>
                <a:gd name="connsiteX407" fmla="*/ 190214 w 1182528"/>
                <a:gd name="connsiteY407" fmla="*/ 873252 h 1101852"/>
                <a:gd name="connsiteX408" fmla="*/ 200025 w 1182528"/>
                <a:gd name="connsiteY408" fmla="*/ 875157 h 1101852"/>
                <a:gd name="connsiteX409" fmla="*/ 197453 w 1182528"/>
                <a:gd name="connsiteY409" fmla="*/ 880301 h 1101852"/>
                <a:gd name="connsiteX410" fmla="*/ 196501 w 1182528"/>
                <a:gd name="connsiteY410" fmla="*/ 885253 h 1101852"/>
                <a:gd name="connsiteX411" fmla="*/ 199835 w 1182528"/>
                <a:gd name="connsiteY411" fmla="*/ 886397 h 1101852"/>
                <a:gd name="connsiteX412" fmla="*/ 201073 w 1182528"/>
                <a:gd name="connsiteY412" fmla="*/ 895922 h 1101852"/>
                <a:gd name="connsiteX413" fmla="*/ 202120 w 1182528"/>
                <a:gd name="connsiteY413" fmla="*/ 903732 h 1101852"/>
                <a:gd name="connsiteX414" fmla="*/ 199168 w 1182528"/>
                <a:gd name="connsiteY414" fmla="*/ 905732 h 1101852"/>
                <a:gd name="connsiteX415" fmla="*/ 194405 w 1182528"/>
                <a:gd name="connsiteY415" fmla="*/ 906399 h 1101852"/>
                <a:gd name="connsiteX416" fmla="*/ 191643 w 1182528"/>
                <a:gd name="connsiteY416" fmla="*/ 909923 h 1101852"/>
                <a:gd name="connsiteX417" fmla="*/ 193453 w 1182528"/>
                <a:gd name="connsiteY417" fmla="*/ 911257 h 1101852"/>
                <a:gd name="connsiteX418" fmla="*/ 192024 w 1182528"/>
                <a:gd name="connsiteY418" fmla="*/ 913067 h 1101852"/>
                <a:gd name="connsiteX419" fmla="*/ 196405 w 1182528"/>
                <a:gd name="connsiteY419" fmla="*/ 922115 h 1101852"/>
                <a:gd name="connsiteX420" fmla="*/ 199739 w 1182528"/>
                <a:gd name="connsiteY420" fmla="*/ 923353 h 1101852"/>
                <a:gd name="connsiteX421" fmla="*/ 205835 w 1182528"/>
                <a:gd name="connsiteY421" fmla="*/ 920972 h 1101852"/>
                <a:gd name="connsiteX422" fmla="*/ 207454 w 1182528"/>
                <a:gd name="connsiteY422" fmla="*/ 920687 h 1101852"/>
                <a:gd name="connsiteX423" fmla="*/ 207835 w 1182528"/>
                <a:gd name="connsiteY423" fmla="*/ 923925 h 1101852"/>
                <a:gd name="connsiteX424" fmla="*/ 214598 w 1182528"/>
                <a:gd name="connsiteY424" fmla="*/ 926211 h 1101852"/>
                <a:gd name="connsiteX425" fmla="*/ 213170 w 1182528"/>
                <a:gd name="connsiteY425" fmla="*/ 928021 h 1101852"/>
                <a:gd name="connsiteX426" fmla="*/ 210217 w 1182528"/>
                <a:gd name="connsiteY426" fmla="*/ 930021 h 1101852"/>
                <a:gd name="connsiteX427" fmla="*/ 212217 w 1182528"/>
                <a:gd name="connsiteY427" fmla="*/ 932974 h 1101852"/>
                <a:gd name="connsiteX428" fmla="*/ 210883 w 1182528"/>
                <a:gd name="connsiteY428" fmla="*/ 934688 h 1101852"/>
                <a:gd name="connsiteX429" fmla="*/ 209455 w 1182528"/>
                <a:gd name="connsiteY429" fmla="*/ 936498 h 1101852"/>
                <a:gd name="connsiteX430" fmla="*/ 210312 w 1182528"/>
                <a:gd name="connsiteY430" fmla="*/ 942880 h 1101852"/>
                <a:gd name="connsiteX431" fmla="*/ 203930 w 1182528"/>
                <a:gd name="connsiteY431" fmla="*/ 943642 h 1101852"/>
                <a:gd name="connsiteX432" fmla="*/ 204787 w 1182528"/>
                <a:gd name="connsiteY432" fmla="*/ 949928 h 1101852"/>
                <a:gd name="connsiteX433" fmla="*/ 213074 w 1182528"/>
                <a:gd name="connsiteY433" fmla="*/ 952119 h 1101852"/>
                <a:gd name="connsiteX434" fmla="*/ 216218 w 1182528"/>
                <a:gd name="connsiteY434" fmla="*/ 951738 h 1101852"/>
                <a:gd name="connsiteX435" fmla="*/ 216408 w 1182528"/>
                <a:gd name="connsiteY435" fmla="*/ 953262 h 1101852"/>
                <a:gd name="connsiteX436" fmla="*/ 212312 w 1182528"/>
                <a:gd name="connsiteY436" fmla="*/ 958596 h 1101852"/>
                <a:gd name="connsiteX437" fmla="*/ 215646 w 1182528"/>
                <a:gd name="connsiteY437" fmla="*/ 959834 h 1101852"/>
                <a:gd name="connsiteX438" fmla="*/ 217170 w 1182528"/>
                <a:gd name="connsiteY438" fmla="*/ 959549 h 1101852"/>
                <a:gd name="connsiteX439" fmla="*/ 224314 w 1182528"/>
                <a:gd name="connsiteY439" fmla="*/ 965073 h 1101852"/>
                <a:gd name="connsiteX440" fmla="*/ 221742 w 1182528"/>
                <a:gd name="connsiteY440" fmla="*/ 970217 h 1101852"/>
                <a:gd name="connsiteX441" fmla="*/ 221742 w 1182528"/>
                <a:gd name="connsiteY441" fmla="*/ 970217 h 1101852"/>
                <a:gd name="connsiteX442" fmla="*/ 227362 w 1182528"/>
                <a:gd name="connsiteY442" fmla="*/ 975932 h 1101852"/>
                <a:gd name="connsiteX443" fmla="*/ 228314 w 1182528"/>
                <a:gd name="connsiteY443" fmla="*/ 983837 h 1101852"/>
                <a:gd name="connsiteX444" fmla="*/ 230124 w 1182528"/>
                <a:gd name="connsiteY444" fmla="*/ 985171 h 1101852"/>
                <a:gd name="connsiteX445" fmla="*/ 229362 w 1182528"/>
                <a:gd name="connsiteY445" fmla="*/ 991743 h 1101852"/>
                <a:gd name="connsiteX446" fmla="*/ 226600 w 1182528"/>
                <a:gd name="connsiteY446" fmla="*/ 995267 h 1101852"/>
                <a:gd name="connsiteX447" fmla="*/ 236220 w 1182528"/>
                <a:gd name="connsiteY447" fmla="*/ 995648 h 1101852"/>
                <a:gd name="connsiteX448" fmla="*/ 233077 w 1182528"/>
                <a:gd name="connsiteY448" fmla="*/ 1008888 h 1101852"/>
                <a:gd name="connsiteX449" fmla="*/ 224790 w 1182528"/>
                <a:gd name="connsiteY449" fmla="*/ 1006697 h 1101852"/>
                <a:gd name="connsiteX450" fmla="*/ 220313 w 1182528"/>
                <a:gd name="connsiteY450" fmla="*/ 1008888 h 1101852"/>
                <a:gd name="connsiteX451" fmla="*/ 221837 w 1182528"/>
                <a:gd name="connsiteY451" fmla="*/ 1008698 h 1101852"/>
                <a:gd name="connsiteX452" fmla="*/ 220885 w 1182528"/>
                <a:gd name="connsiteY452" fmla="*/ 1013651 h 1101852"/>
                <a:gd name="connsiteX453" fmla="*/ 229362 w 1182528"/>
                <a:gd name="connsiteY453" fmla="*/ 1017365 h 1101852"/>
                <a:gd name="connsiteX454" fmla="*/ 229743 w 1182528"/>
                <a:gd name="connsiteY454" fmla="*/ 1020509 h 1101852"/>
                <a:gd name="connsiteX455" fmla="*/ 228219 w 1182528"/>
                <a:gd name="connsiteY455" fmla="*/ 1020699 h 1101852"/>
                <a:gd name="connsiteX456" fmla="*/ 233362 w 1182528"/>
                <a:gd name="connsiteY456" fmla="*/ 1023271 h 1101852"/>
                <a:gd name="connsiteX457" fmla="*/ 230410 w 1182528"/>
                <a:gd name="connsiteY457" fmla="*/ 1025271 h 1101852"/>
                <a:gd name="connsiteX458" fmla="*/ 232791 w 1182528"/>
                <a:gd name="connsiteY458" fmla="*/ 1031367 h 1101852"/>
                <a:gd name="connsiteX459" fmla="*/ 229648 w 1182528"/>
                <a:gd name="connsiteY459" fmla="*/ 1031748 h 1101852"/>
                <a:gd name="connsiteX460" fmla="*/ 220885 w 1182528"/>
                <a:gd name="connsiteY460" fmla="*/ 1026509 h 1101852"/>
                <a:gd name="connsiteX461" fmla="*/ 223837 w 1182528"/>
                <a:gd name="connsiteY461" fmla="*/ 1024509 h 1101852"/>
                <a:gd name="connsiteX462" fmla="*/ 220504 w 1182528"/>
                <a:gd name="connsiteY462" fmla="*/ 1023271 h 1101852"/>
                <a:gd name="connsiteX463" fmla="*/ 219170 w 1182528"/>
                <a:gd name="connsiteY463" fmla="*/ 1025081 h 1101852"/>
                <a:gd name="connsiteX464" fmla="*/ 217360 w 1182528"/>
                <a:gd name="connsiteY464" fmla="*/ 1023747 h 1101852"/>
                <a:gd name="connsiteX465" fmla="*/ 217551 w 1182528"/>
                <a:gd name="connsiteY465" fmla="*/ 1025271 h 1101852"/>
                <a:gd name="connsiteX466" fmla="*/ 209074 w 1182528"/>
                <a:gd name="connsiteY466" fmla="*/ 1021556 h 1101852"/>
                <a:gd name="connsiteX467" fmla="*/ 207931 w 1182528"/>
                <a:gd name="connsiteY467" fmla="*/ 1024890 h 1101852"/>
                <a:gd name="connsiteX468" fmla="*/ 207740 w 1182528"/>
                <a:gd name="connsiteY468" fmla="*/ 1023366 h 1101852"/>
                <a:gd name="connsiteX469" fmla="*/ 200025 w 1182528"/>
                <a:gd name="connsiteY469" fmla="*/ 1025938 h 1101852"/>
                <a:gd name="connsiteX470" fmla="*/ 198787 w 1182528"/>
                <a:gd name="connsiteY470" fmla="*/ 1029272 h 1101852"/>
                <a:gd name="connsiteX471" fmla="*/ 202216 w 1182528"/>
                <a:gd name="connsiteY471" fmla="*/ 1030415 h 1101852"/>
                <a:gd name="connsiteX472" fmla="*/ 200977 w 1182528"/>
                <a:gd name="connsiteY472" fmla="*/ 1033844 h 1101852"/>
                <a:gd name="connsiteX473" fmla="*/ 193072 w 1182528"/>
                <a:gd name="connsiteY473" fmla="*/ 1034796 h 1101852"/>
                <a:gd name="connsiteX474" fmla="*/ 196691 w 1182528"/>
                <a:gd name="connsiteY474" fmla="*/ 1037558 h 1101852"/>
                <a:gd name="connsiteX475" fmla="*/ 199835 w 1182528"/>
                <a:gd name="connsiteY475" fmla="*/ 1037177 h 1101852"/>
                <a:gd name="connsiteX476" fmla="*/ 205549 w 1182528"/>
                <a:gd name="connsiteY476" fmla="*/ 1044416 h 1101852"/>
                <a:gd name="connsiteX477" fmla="*/ 208121 w 1182528"/>
                <a:gd name="connsiteY477" fmla="*/ 1039368 h 1101852"/>
                <a:gd name="connsiteX478" fmla="*/ 213455 w 1182528"/>
                <a:gd name="connsiteY478" fmla="*/ 1043464 h 1101852"/>
                <a:gd name="connsiteX479" fmla="*/ 221170 w 1182528"/>
                <a:gd name="connsiteY479" fmla="*/ 1040892 h 1101852"/>
                <a:gd name="connsiteX480" fmla="*/ 226124 w 1182528"/>
                <a:gd name="connsiteY480" fmla="*/ 1041845 h 1101852"/>
                <a:gd name="connsiteX481" fmla="*/ 228505 w 1182528"/>
                <a:gd name="connsiteY481" fmla="*/ 1047941 h 1101852"/>
                <a:gd name="connsiteX482" fmla="*/ 228695 w 1182528"/>
                <a:gd name="connsiteY482" fmla="*/ 1049560 h 1101852"/>
                <a:gd name="connsiteX483" fmla="*/ 235553 w 1182528"/>
                <a:gd name="connsiteY483" fmla="*/ 1053465 h 1101852"/>
                <a:gd name="connsiteX484" fmla="*/ 231076 w 1182528"/>
                <a:gd name="connsiteY484" fmla="*/ 1055656 h 1101852"/>
                <a:gd name="connsiteX485" fmla="*/ 229648 w 1182528"/>
                <a:gd name="connsiteY485" fmla="*/ 1057466 h 1101852"/>
                <a:gd name="connsiteX486" fmla="*/ 237553 w 1182528"/>
                <a:gd name="connsiteY486" fmla="*/ 1056418 h 1101852"/>
                <a:gd name="connsiteX487" fmla="*/ 239363 w 1182528"/>
                <a:gd name="connsiteY487" fmla="*/ 1057847 h 1101852"/>
                <a:gd name="connsiteX488" fmla="*/ 240983 w 1182528"/>
                <a:gd name="connsiteY488" fmla="*/ 1070420 h 1101852"/>
                <a:gd name="connsiteX489" fmla="*/ 239744 w 1182528"/>
                <a:gd name="connsiteY489" fmla="*/ 1073753 h 1101852"/>
                <a:gd name="connsiteX490" fmla="*/ 243173 w 1182528"/>
                <a:gd name="connsiteY490" fmla="*/ 1074992 h 1101852"/>
                <a:gd name="connsiteX491" fmla="*/ 246126 w 1182528"/>
                <a:gd name="connsiteY491" fmla="*/ 1072991 h 1101852"/>
                <a:gd name="connsiteX492" fmla="*/ 259080 w 1182528"/>
                <a:gd name="connsiteY492" fmla="*/ 1074515 h 1101852"/>
                <a:gd name="connsiteX493" fmla="*/ 258699 w 1182528"/>
                <a:gd name="connsiteY493" fmla="*/ 1071372 h 1101852"/>
                <a:gd name="connsiteX494" fmla="*/ 260318 w 1182528"/>
                <a:gd name="connsiteY494" fmla="*/ 1071182 h 1101852"/>
                <a:gd name="connsiteX495" fmla="*/ 261461 w 1182528"/>
                <a:gd name="connsiteY495" fmla="*/ 1080611 h 1101852"/>
                <a:gd name="connsiteX496" fmla="*/ 259366 w 1182528"/>
                <a:gd name="connsiteY496" fmla="*/ 1088898 h 1101852"/>
                <a:gd name="connsiteX497" fmla="*/ 265843 w 1182528"/>
                <a:gd name="connsiteY497" fmla="*/ 1089660 h 1101852"/>
                <a:gd name="connsiteX498" fmla="*/ 268414 w 1182528"/>
                <a:gd name="connsiteY498" fmla="*/ 1084517 h 1101852"/>
                <a:gd name="connsiteX499" fmla="*/ 271558 w 1182528"/>
                <a:gd name="connsiteY499" fmla="*/ 1084136 h 1101852"/>
                <a:gd name="connsiteX500" fmla="*/ 272510 w 1182528"/>
                <a:gd name="connsiteY500" fmla="*/ 1079183 h 1101852"/>
                <a:gd name="connsiteX501" fmla="*/ 273749 w 1182528"/>
                <a:gd name="connsiteY501" fmla="*/ 1075849 h 1101852"/>
                <a:gd name="connsiteX502" fmla="*/ 276892 w 1182528"/>
                <a:gd name="connsiteY502" fmla="*/ 1075468 h 1101852"/>
                <a:gd name="connsiteX503" fmla="*/ 281178 w 1182528"/>
                <a:gd name="connsiteY503" fmla="*/ 1071753 h 1101852"/>
                <a:gd name="connsiteX504" fmla="*/ 283178 w 1182528"/>
                <a:gd name="connsiteY504" fmla="*/ 1074706 h 1101852"/>
                <a:gd name="connsiteX505" fmla="*/ 280035 w 1182528"/>
                <a:gd name="connsiteY505" fmla="*/ 1075087 h 1101852"/>
                <a:gd name="connsiteX506" fmla="*/ 278701 w 1182528"/>
                <a:gd name="connsiteY506" fmla="*/ 1076801 h 1101852"/>
                <a:gd name="connsiteX507" fmla="*/ 283750 w 1182528"/>
                <a:gd name="connsiteY507" fmla="*/ 1079373 h 1101852"/>
                <a:gd name="connsiteX508" fmla="*/ 282988 w 1182528"/>
                <a:gd name="connsiteY508" fmla="*/ 1085945 h 1101852"/>
                <a:gd name="connsiteX509" fmla="*/ 286226 w 1182528"/>
                <a:gd name="connsiteY509" fmla="*/ 1085469 h 1101852"/>
                <a:gd name="connsiteX510" fmla="*/ 287941 w 1182528"/>
                <a:gd name="connsiteY510" fmla="*/ 1086898 h 1101852"/>
                <a:gd name="connsiteX511" fmla="*/ 291084 w 1182528"/>
                <a:gd name="connsiteY511" fmla="*/ 1086517 h 1101852"/>
                <a:gd name="connsiteX512" fmla="*/ 291179 w 1182528"/>
                <a:gd name="connsiteY512" fmla="*/ 1099280 h 1101852"/>
                <a:gd name="connsiteX513" fmla="*/ 296323 w 1182528"/>
                <a:gd name="connsiteY513" fmla="*/ 1101852 h 1101852"/>
                <a:gd name="connsiteX514" fmla="*/ 302228 w 1182528"/>
                <a:gd name="connsiteY514" fmla="*/ 1097852 h 1101852"/>
                <a:gd name="connsiteX515" fmla="*/ 305372 w 1182528"/>
                <a:gd name="connsiteY515" fmla="*/ 1097471 h 1101852"/>
                <a:gd name="connsiteX516" fmla="*/ 308705 w 1182528"/>
                <a:gd name="connsiteY516" fmla="*/ 1098709 h 1101852"/>
                <a:gd name="connsiteX517" fmla="*/ 308515 w 1182528"/>
                <a:gd name="connsiteY517" fmla="*/ 1097090 h 1101852"/>
                <a:gd name="connsiteX518" fmla="*/ 314611 w 1182528"/>
                <a:gd name="connsiteY518" fmla="*/ 1094708 h 1101852"/>
                <a:gd name="connsiteX519" fmla="*/ 315373 w 1182528"/>
                <a:gd name="connsiteY519" fmla="*/ 1088231 h 1101852"/>
                <a:gd name="connsiteX520" fmla="*/ 317183 w 1182528"/>
                <a:gd name="connsiteY520" fmla="*/ 1089565 h 1101852"/>
                <a:gd name="connsiteX521" fmla="*/ 317945 w 1182528"/>
                <a:gd name="connsiteY521" fmla="*/ 1083088 h 1101852"/>
                <a:gd name="connsiteX522" fmla="*/ 315944 w 1182528"/>
                <a:gd name="connsiteY522" fmla="*/ 1080135 h 1101852"/>
                <a:gd name="connsiteX523" fmla="*/ 320326 w 1182528"/>
                <a:gd name="connsiteY523" fmla="*/ 1076325 h 1101852"/>
                <a:gd name="connsiteX524" fmla="*/ 323660 w 1182528"/>
                <a:gd name="connsiteY524" fmla="*/ 1077563 h 1101852"/>
                <a:gd name="connsiteX525" fmla="*/ 326422 w 1182528"/>
                <a:gd name="connsiteY525" fmla="*/ 1073944 h 1101852"/>
                <a:gd name="connsiteX526" fmla="*/ 329565 w 1182528"/>
                <a:gd name="connsiteY526" fmla="*/ 1073563 h 1101852"/>
                <a:gd name="connsiteX527" fmla="*/ 330327 w 1182528"/>
                <a:gd name="connsiteY527" fmla="*/ 1067086 h 1101852"/>
                <a:gd name="connsiteX528" fmla="*/ 340043 w 1182528"/>
                <a:gd name="connsiteY528" fmla="*/ 1067467 h 1101852"/>
                <a:gd name="connsiteX529" fmla="*/ 340043 w 1182528"/>
                <a:gd name="connsiteY529" fmla="*/ 1067467 h 1101852"/>
                <a:gd name="connsiteX530" fmla="*/ 340233 w 1182528"/>
                <a:gd name="connsiteY530" fmla="*/ 1068991 h 1101852"/>
                <a:gd name="connsiteX531" fmla="*/ 350234 w 1182528"/>
                <a:gd name="connsiteY531" fmla="*/ 1072515 h 1101852"/>
                <a:gd name="connsiteX532" fmla="*/ 354997 w 1182528"/>
                <a:gd name="connsiteY532" fmla="*/ 1071944 h 1101852"/>
                <a:gd name="connsiteX533" fmla="*/ 355949 w 1182528"/>
                <a:gd name="connsiteY533" fmla="*/ 1066991 h 1101852"/>
                <a:gd name="connsiteX534" fmla="*/ 354235 w 1182528"/>
                <a:gd name="connsiteY534" fmla="*/ 1065657 h 1101852"/>
                <a:gd name="connsiteX535" fmla="*/ 355378 w 1182528"/>
                <a:gd name="connsiteY535" fmla="*/ 1062228 h 1101852"/>
                <a:gd name="connsiteX536" fmla="*/ 357187 w 1182528"/>
                <a:gd name="connsiteY536" fmla="*/ 1063657 h 1101852"/>
                <a:gd name="connsiteX537" fmla="*/ 361855 w 1182528"/>
                <a:gd name="connsiteY537" fmla="*/ 1062990 h 1101852"/>
                <a:gd name="connsiteX538" fmla="*/ 360712 w 1182528"/>
                <a:gd name="connsiteY538" fmla="*/ 1053560 h 1101852"/>
                <a:gd name="connsiteX539" fmla="*/ 360521 w 1182528"/>
                <a:gd name="connsiteY539" fmla="*/ 1051941 h 1101852"/>
                <a:gd name="connsiteX540" fmla="*/ 360902 w 1182528"/>
                <a:gd name="connsiteY540" fmla="*/ 1042321 h 1101852"/>
                <a:gd name="connsiteX541" fmla="*/ 361283 w 1182528"/>
                <a:gd name="connsiteY541" fmla="*/ 1045464 h 1101852"/>
                <a:gd name="connsiteX542" fmla="*/ 362617 w 1182528"/>
                <a:gd name="connsiteY542" fmla="*/ 1043654 h 1101852"/>
                <a:gd name="connsiteX543" fmla="*/ 364808 w 1182528"/>
                <a:gd name="connsiteY543" fmla="*/ 1048226 h 1101852"/>
                <a:gd name="connsiteX544" fmla="*/ 369760 w 1182528"/>
                <a:gd name="connsiteY544" fmla="*/ 1049179 h 1101852"/>
                <a:gd name="connsiteX545" fmla="*/ 374714 w 1182528"/>
                <a:gd name="connsiteY545" fmla="*/ 1050131 h 1101852"/>
                <a:gd name="connsiteX546" fmla="*/ 375666 w 1182528"/>
                <a:gd name="connsiteY546" fmla="*/ 1045274 h 1101852"/>
                <a:gd name="connsiteX547" fmla="*/ 374904 w 1182528"/>
                <a:gd name="connsiteY547" fmla="*/ 1038892 h 1101852"/>
                <a:gd name="connsiteX548" fmla="*/ 374047 w 1182528"/>
                <a:gd name="connsiteY548" fmla="*/ 1032605 h 1101852"/>
                <a:gd name="connsiteX549" fmla="*/ 368903 w 1182528"/>
                <a:gd name="connsiteY549" fmla="*/ 1030034 h 1101852"/>
                <a:gd name="connsiteX550" fmla="*/ 368903 w 1182528"/>
                <a:gd name="connsiteY550" fmla="*/ 1030034 h 1101852"/>
                <a:gd name="connsiteX551" fmla="*/ 378428 w 1182528"/>
                <a:gd name="connsiteY551" fmla="*/ 1028891 h 1101852"/>
                <a:gd name="connsiteX552" fmla="*/ 379381 w 1182528"/>
                <a:gd name="connsiteY552" fmla="*/ 1023938 h 1101852"/>
                <a:gd name="connsiteX553" fmla="*/ 374809 w 1182528"/>
                <a:gd name="connsiteY553" fmla="*/ 1013270 h 1101852"/>
                <a:gd name="connsiteX554" fmla="*/ 377571 w 1182528"/>
                <a:gd name="connsiteY554" fmla="*/ 1009745 h 1101852"/>
                <a:gd name="connsiteX555" fmla="*/ 374999 w 1182528"/>
                <a:gd name="connsiteY555" fmla="*/ 1002030 h 1101852"/>
                <a:gd name="connsiteX556" fmla="*/ 378714 w 1182528"/>
                <a:gd name="connsiteY556" fmla="*/ 1006316 h 1101852"/>
                <a:gd name="connsiteX557" fmla="*/ 378524 w 1182528"/>
                <a:gd name="connsiteY557" fmla="*/ 1004792 h 1101852"/>
                <a:gd name="connsiteX558" fmla="*/ 386429 w 1182528"/>
                <a:gd name="connsiteY558" fmla="*/ 1003745 h 1101852"/>
                <a:gd name="connsiteX559" fmla="*/ 389382 w 1182528"/>
                <a:gd name="connsiteY559" fmla="*/ 1001840 h 1101852"/>
                <a:gd name="connsiteX560" fmla="*/ 389191 w 1182528"/>
                <a:gd name="connsiteY560" fmla="*/ 1000220 h 1101852"/>
                <a:gd name="connsiteX561" fmla="*/ 392335 w 1182528"/>
                <a:gd name="connsiteY561" fmla="*/ 999839 h 1101852"/>
                <a:gd name="connsiteX562" fmla="*/ 392335 w 1182528"/>
                <a:gd name="connsiteY562" fmla="*/ 999839 h 1101852"/>
                <a:gd name="connsiteX563" fmla="*/ 391954 w 1182528"/>
                <a:gd name="connsiteY563" fmla="*/ 996696 h 1101852"/>
                <a:gd name="connsiteX564" fmla="*/ 396621 w 1182528"/>
                <a:gd name="connsiteY564" fmla="*/ 996029 h 1101852"/>
                <a:gd name="connsiteX565" fmla="*/ 394906 w 1182528"/>
                <a:gd name="connsiteY565" fmla="*/ 994696 h 1101852"/>
                <a:gd name="connsiteX566" fmla="*/ 394049 w 1182528"/>
                <a:gd name="connsiteY566" fmla="*/ 988409 h 1101852"/>
                <a:gd name="connsiteX567" fmla="*/ 395668 w 1182528"/>
                <a:gd name="connsiteY567" fmla="*/ 988124 h 1101852"/>
                <a:gd name="connsiteX568" fmla="*/ 399002 w 1182528"/>
                <a:gd name="connsiteY568" fmla="*/ 989362 h 1101852"/>
                <a:gd name="connsiteX569" fmla="*/ 400145 w 1182528"/>
                <a:gd name="connsiteY569" fmla="*/ 986028 h 1101852"/>
                <a:gd name="connsiteX570" fmla="*/ 406527 w 1182528"/>
                <a:gd name="connsiteY570" fmla="*/ 985171 h 1101852"/>
                <a:gd name="connsiteX571" fmla="*/ 408813 w 1182528"/>
                <a:gd name="connsiteY571" fmla="*/ 978503 h 1101852"/>
                <a:gd name="connsiteX572" fmla="*/ 416528 w 1182528"/>
                <a:gd name="connsiteY572" fmla="*/ 975932 h 1101852"/>
                <a:gd name="connsiteX573" fmla="*/ 419672 w 1182528"/>
                <a:gd name="connsiteY573" fmla="*/ 975455 h 1101852"/>
                <a:gd name="connsiteX574" fmla="*/ 419481 w 1182528"/>
                <a:gd name="connsiteY574" fmla="*/ 973931 h 1101852"/>
                <a:gd name="connsiteX575" fmla="*/ 422434 w 1182528"/>
                <a:gd name="connsiteY575" fmla="*/ 971931 h 1101852"/>
                <a:gd name="connsiteX576" fmla="*/ 422434 w 1182528"/>
                <a:gd name="connsiteY576" fmla="*/ 971931 h 1101852"/>
                <a:gd name="connsiteX577" fmla="*/ 430149 w 1182528"/>
                <a:gd name="connsiteY577" fmla="*/ 982123 h 1101852"/>
                <a:gd name="connsiteX578" fmla="*/ 433578 w 1182528"/>
                <a:gd name="connsiteY578" fmla="*/ 983361 h 1101852"/>
                <a:gd name="connsiteX579" fmla="*/ 436531 w 1182528"/>
                <a:gd name="connsiteY579" fmla="*/ 981361 h 1101852"/>
                <a:gd name="connsiteX580" fmla="*/ 444341 w 1182528"/>
                <a:gd name="connsiteY580" fmla="*/ 980313 h 1101852"/>
                <a:gd name="connsiteX581" fmla="*/ 451485 w 1182528"/>
                <a:gd name="connsiteY581" fmla="*/ 973074 h 1101852"/>
                <a:gd name="connsiteX582" fmla="*/ 456629 w 1182528"/>
                <a:gd name="connsiteY582" fmla="*/ 975551 h 1101852"/>
                <a:gd name="connsiteX583" fmla="*/ 456152 w 1182528"/>
                <a:gd name="connsiteY583" fmla="*/ 972407 h 1101852"/>
                <a:gd name="connsiteX584" fmla="*/ 469583 w 1182528"/>
                <a:gd name="connsiteY584" fmla="*/ 964311 h 1101852"/>
                <a:gd name="connsiteX585" fmla="*/ 465391 w 1182528"/>
                <a:gd name="connsiteY585" fmla="*/ 956786 h 1101852"/>
                <a:gd name="connsiteX586" fmla="*/ 473774 w 1182528"/>
                <a:gd name="connsiteY586" fmla="*/ 958977 h 1101852"/>
                <a:gd name="connsiteX587" fmla="*/ 476726 w 1182528"/>
                <a:gd name="connsiteY587" fmla="*/ 956977 h 1101852"/>
                <a:gd name="connsiteX588" fmla="*/ 480441 w 1182528"/>
                <a:gd name="connsiteY588" fmla="*/ 948500 h 1101852"/>
                <a:gd name="connsiteX589" fmla="*/ 478631 w 1182528"/>
                <a:gd name="connsiteY589" fmla="*/ 947166 h 1101852"/>
                <a:gd name="connsiteX590" fmla="*/ 479965 w 1182528"/>
                <a:gd name="connsiteY590" fmla="*/ 945356 h 1101852"/>
                <a:gd name="connsiteX591" fmla="*/ 480251 w 1182528"/>
                <a:gd name="connsiteY591" fmla="*/ 946880 h 1101852"/>
                <a:gd name="connsiteX592" fmla="*/ 484918 w 1182528"/>
                <a:gd name="connsiteY592" fmla="*/ 946309 h 1101852"/>
                <a:gd name="connsiteX593" fmla="*/ 489109 w 1182528"/>
                <a:gd name="connsiteY593" fmla="*/ 940975 h 1101852"/>
                <a:gd name="connsiteX594" fmla="*/ 501491 w 1182528"/>
                <a:gd name="connsiteY594" fmla="*/ 924973 h 1101852"/>
                <a:gd name="connsiteX595" fmla="*/ 503491 w 1182528"/>
                <a:gd name="connsiteY595" fmla="*/ 927926 h 1101852"/>
                <a:gd name="connsiteX596" fmla="*/ 502063 w 1182528"/>
                <a:gd name="connsiteY596" fmla="*/ 929735 h 1101852"/>
                <a:gd name="connsiteX597" fmla="*/ 502063 w 1182528"/>
                <a:gd name="connsiteY597" fmla="*/ 942499 h 1101852"/>
                <a:gd name="connsiteX598" fmla="*/ 511397 w 1182528"/>
                <a:gd name="connsiteY598" fmla="*/ 939737 h 1101852"/>
                <a:gd name="connsiteX599" fmla="*/ 514731 w 1182528"/>
                <a:gd name="connsiteY599" fmla="*/ 940880 h 1101852"/>
                <a:gd name="connsiteX600" fmla="*/ 520065 w 1182528"/>
                <a:gd name="connsiteY600" fmla="*/ 945071 h 1101852"/>
                <a:gd name="connsiteX601" fmla="*/ 523208 w 1182528"/>
                <a:gd name="connsiteY601" fmla="*/ 944690 h 1101852"/>
                <a:gd name="connsiteX602" fmla="*/ 533876 w 1182528"/>
                <a:gd name="connsiteY602" fmla="*/ 940118 h 1101852"/>
                <a:gd name="connsiteX603" fmla="*/ 551593 w 1182528"/>
                <a:gd name="connsiteY603" fmla="*/ 941070 h 1101852"/>
                <a:gd name="connsiteX604" fmla="*/ 556736 w 1182528"/>
                <a:gd name="connsiteY604" fmla="*/ 943547 h 1101852"/>
                <a:gd name="connsiteX605" fmla="*/ 559118 w 1182528"/>
                <a:gd name="connsiteY605" fmla="*/ 936879 h 1101852"/>
                <a:gd name="connsiteX606" fmla="*/ 559879 w 1182528"/>
                <a:gd name="connsiteY606" fmla="*/ 930307 h 1101852"/>
                <a:gd name="connsiteX607" fmla="*/ 561880 w 1182528"/>
                <a:gd name="connsiteY607" fmla="*/ 933355 h 1101852"/>
                <a:gd name="connsiteX608" fmla="*/ 565595 w 1182528"/>
                <a:gd name="connsiteY608" fmla="*/ 924782 h 1101852"/>
                <a:gd name="connsiteX609" fmla="*/ 567595 w 1182528"/>
                <a:gd name="connsiteY609" fmla="*/ 927735 h 1101852"/>
                <a:gd name="connsiteX610" fmla="*/ 566833 w 1182528"/>
                <a:gd name="connsiteY610" fmla="*/ 934307 h 1101852"/>
                <a:gd name="connsiteX611" fmla="*/ 569976 w 1182528"/>
                <a:gd name="connsiteY611" fmla="*/ 933926 h 1101852"/>
                <a:gd name="connsiteX612" fmla="*/ 572548 w 1182528"/>
                <a:gd name="connsiteY612" fmla="*/ 928783 h 1101852"/>
                <a:gd name="connsiteX613" fmla="*/ 575691 w 1182528"/>
                <a:gd name="connsiteY613" fmla="*/ 928307 h 1101852"/>
                <a:gd name="connsiteX614" fmla="*/ 583978 w 1182528"/>
                <a:gd name="connsiteY614" fmla="*/ 917639 h 1101852"/>
                <a:gd name="connsiteX615" fmla="*/ 589407 w 1182528"/>
                <a:gd name="connsiteY615" fmla="*/ 910590 h 1101852"/>
                <a:gd name="connsiteX616" fmla="*/ 591788 w 1182528"/>
                <a:gd name="connsiteY616" fmla="*/ 903827 h 1101852"/>
                <a:gd name="connsiteX617" fmla="*/ 594931 w 1182528"/>
                <a:gd name="connsiteY617" fmla="*/ 903446 h 1101852"/>
                <a:gd name="connsiteX618" fmla="*/ 600837 w 1182528"/>
                <a:gd name="connsiteY618" fmla="*/ 899446 h 1101852"/>
                <a:gd name="connsiteX619" fmla="*/ 603980 w 1182528"/>
                <a:gd name="connsiteY619" fmla="*/ 899065 h 1101852"/>
                <a:gd name="connsiteX620" fmla="*/ 607981 w 1182528"/>
                <a:gd name="connsiteY620" fmla="*/ 904970 h 1101852"/>
                <a:gd name="connsiteX621" fmla="*/ 609124 w 1182528"/>
                <a:gd name="connsiteY621" fmla="*/ 901637 h 1101852"/>
                <a:gd name="connsiteX622" fmla="*/ 610933 w 1182528"/>
                <a:gd name="connsiteY622" fmla="*/ 902970 h 1101852"/>
                <a:gd name="connsiteX623" fmla="*/ 617506 w 1182528"/>
                <a:gd name="connsiteY623" fmla="*/ 916591 h 1101852"/>
                <a:gd name="connsiteX624" fmla="*/ 616744 w 1182528"/>
                <a:gd name="connsiteY624" fmla="*/ 923163 h 1101852"/>
                <a:gd name="connsiteX625" fmla="*/ 618649 w 1182528"/>
                <a:gd name="connsiteY625" fmla="*/ 926116 h 1101852"/>
                <a:gd name="connsiteX626" fmla="*/ 618649 w 1182528"/>
                <a:gd name="connsiteY626" fmla="*/ 926116 h 1101852"/>
                <a:gd name="connsiteX627" fmla="*/ 635794 w 1182528"/>
                <a:gd name="connsiteY627" fmla="*/ 922306 h 1101852"/>
                <a:gd name="connsiteX628" fmla="*/ 636175 w 1182528"/>
                <a:gd name="connsiteY628" fmla="*/ 912590 h 1101852"/>
                <a:gd name="connsiteX629" fmla="*/ 639127 w 1182528"/>
                <a:gd name="connsiteY629" fmla="*/ 910590 h 1101852"/>
                <a:gd name="connsiteX630" fmla="*/ 636746 w 1182528"/>
                <a:gd name="connsiteY630" fmla="*/ 904494 h 1101852"/>
                <a:gd name="connsiteX631" fmla="*/ 642461 w 1182528"/>
                <a:gd name="connsiteY631" fmla="*/ 898970 h 1101852"/>
                <a:gd name="connsiteX632" fmla="*/ 646462 w 1182528"/>
                <a:gd name="connsiteY632" fmla="*/ 892112 h 1101852"/>
                <a:gd name="connsiteX633" fmla="*/ 652748 w 1182528"/>
                <a:gd name="connsiteY633" fmla="*/ 891254 h 1101852"/>
                <a:gd name="connsiteX634" fmla="*/ 668274 w 1182528"/>
                <a:gd name="connsiteY634" fmla="*/ 887635 h 1101852"/>
                <a:gd name="connsiteX635" fmla="*/ 671513 w 1182528"/>
                <a:gd name="connsiteY635" fmla="*/ 887254 h 1101852"/>
                <a:gd name="connsiteX636" fmla="*/ 670274 w 1182528"/>
                <a:gd name="connsiteY636" fmla="*/ 890588 h 1101852"/>
                <a:gd name="connsiteX637" fmla="*/ 679323 w 1182528"/>
                <a:gd name="connsiteY637" fmla="*/ 886301 h 1101852"/>
                <a:gd name="connsiteX638" fmla="*/ 680561 w 1182528"/>
                <a:gd name="connsiteY638" fmla="*/ 882872 h 1101852"/>
                <a:gd name="connsiteX639" fmla="*/ 685228 w 1182528"/>
                <a:gd name="connsiteY639" fmla="*/ 882301 h 1101852"/>
                <a:gd name="connsiteX640" fmla="*/ 689801 w 1182528"/>
                <a:gd name="connsiteY640" fmla="*/ 880110 h 1101852"/>
                <a:gd name="connsiteX641" fmla="*/ 690563 w 1182528"/>
                <a:gd name="connsiteY641" fmla="*/ 873633 h 1101852"/>
                <a:gd name="connsiteX642" fmla="*/ 693706 w 1182528"/>
                <a:gd name="connsiteY642" fmla="*/ 873252 h 1101852"/>
                <a:gd name="connsiteX643" fmla="*/ 693515 w 1182528"/>
                <a:gd name="connsiteY643" fmla="*/ 871633 h 1101852"/>
                <a:gd name="connsiteX644" fmla="*/ 696849 w 1182528"/>
                <a:gd name="connsiteY644" fmla="*/ 872776 h 1101852"/>
                <a:gd name="connsiteX645" fmla="*/ 699611 w 1182528"/>
                <a:gd name="connsiteY645" fmla="*/ 869251 h 1101852"/>
                <a:gd name="connsiteX646" fmla="*/ 700850 w 1182528"/>
                <a:gd name="connsiteY646" fmla="*/ 865918 h 1101852"/>
                <a:gd name="connsiteX647" fmla="*/ 699230 w 1182528"/>
                <a:gd name="connsiteY647" fmla="*/ 853250 h 1101852"/>
                <a:gd name="connsiteX648" fmla="*/ 696087 w 1182528"/>
                <a:gd name="connsiteY648" fmla="*/ 853631 h 1101852"/>
                <a:gd name="connsiteX649" fmla="*/ 697611 w 1182528"/>
                <a:gd name="connsiteY649" fmla="*/ 853440 h 1101852"/>
                <a:gd name="connsiteX650" fmla="*/ 697421 w 1182528"/>
                <a:gd name="connsiteY650" fmla="*/ 851916 h 1101852"/>
                <a:gd name="connsiteX651" fmla="*/ 703993 w 1182528"/>
                <a:gd name="connsiteY651" fmla="*/ 852678 h 1101852"/>
                <a:gd name="connsiteX652" fmla="*/ 704183 w 1182528"/>
                <a:gd name="connsiteY652" fmla="*/ 854202 h 1101852"/>
                <a:gd name="connsiteX653" fmla="*/ 710470 w 1182528"/>
                <a:gd name="connsiteY653" fmla="*/ 853440 h 1101852"/>
                <a:gd name="connsiteX654" fmla="*/ 710851 w 1182528"/>
                <a:gd name="connsiteY654" fmla="*/ 856583 h 1101852"/>
                <a:gd name="connsiteX655" fmla="*/ 723710 w 1182528"/>
                <a:gd name="connsiteY655" fmla="*/ 856583 h 1101852"/>
                <a:gd name="connsiteX656" fmla="*/ 726853 w 1182528"/>
                <a:gd name="connsiteY656" fmla="*/ 856202 h 1101852"/>
                <a:gd name="connsiteX657" fmla="*/ 726662 w 1182528"/>
                <a:gd name="connsiteY657" fmla="*/ 854583 h 1101852"/>
                <a:gd name="connsiteX658" fmla="*/ 724662 w 1182528"/>
                <a:gd name="connsiteY658" fmla="*/ 851630 h 1101852"/>
                <a:gd name="connsiteX659" fmla="*/ 726281 w 1182528"/>
                <a:gd name="connsiteY659" fmla="*/ 851440 h 1101852"/>
                <a:gd name="connsiteX660" fmla="*/ 725996 w 1182528"/>
                <a:gd name="connsiteY660" fmla="*/ 849821 h 1101852"/>
                <a:gd name="connsiteX661" fmla="*/ 724281 w 1182528"/>
                <a:gd name="connsiteY661" fmla="*/ 848487 h 1101852"/>
                <a:gd name="connsiteX662" fmla="*/ 726567 w 1182528"/>
                <a:gd name="connsiteY662" fmla="*/ 841724 h 1101852"/>
                <a:gd name="connsiteX663" fmla="*/ 722662 w 1182528"/>
                <a:gd name="connsiteY663" fmla="*/ 835819 h 1101852"/>
                <a:gd name="connsiteX664" fmla="*/ 719519 w 1182528"/>
                <a:gd name="connsiteY664" fmla="*/ 836295 h 1101852"/>
                <a:gd name="connsiteX665" fmla="*/ 717709 w 1182528"/>
                <a:gd name="connsiteY665" fmla="*/ 822008 h 1101852"/>
                <a:gd name="connsiteX666" fmla="*/ 725424 w 1182528"/>
                <a:gd name="connsiteY666" fmla="*/ 819436 h 1101852"/>
                <a:gd name="connsiteX667" fmla="*/ 723614 w 1182528"/>
                <a:gd name="connsiteY667" fmla="*/ 818102 h 1101852"/>
                <a:gd name="connsiteX668" fmla="*/ 728377 w 1182528"/>
                <a:gd name="connsiteY668" fmla="*/ 817531 h 1101852"/>
                <a:gd name="connsiteX669" fmla="*/ 730853 w 1182528"/>
                <a:gd name="connsiteY669" fmla="*/ 812387 h 1101852"/>
                <a:gd name="connsiteX670" fmla="*/ 733997 w 1182528"/>
                <a:gd name="connsiteY670" fmla="*/ 811911 h 1101852"/>
                <a:gd name="connsiteX671" fmla="*/ 736759 w 1182528"/>
                <a:gd name="connsiteY671" fmla="*/ 808387 h 1101852"/>
                <a:gd name="connsiteX672" fmla="*/ 744474 w 1182528"/>
                <a:gd name="connsiteY672" fmla="*/ 805815 h 1101852"/>
                <a:gd name="connsiteX673" fmla="*/ 750189 w 1182528"/>
                <a:gd name="connsiteY673" fmla="*/ 813054 h 1101852"/>
                <a:gd name="connsiteX674" fmla="*/ 753618 w 1182528"/>
                <a:gd name="connsiteY674" fmla="*/ 814292 h 1101852"/>
                <a:gd name="connsiteX675" fmla="*/ 752951 w 1182528"/>
                <a:gd name="connsiteY675" fmla="*/ 809530 h 1101852"/>
                <a:gd name="connsiteX676" fmla="*/ 756094 w 1182528"/>
                <a:gd name="connsiteY676" fmla="*/ 809149 h 1101852"/>
                <a:gd name="connsiteX677" fmla="*/ 755904 w 1182528"/>
                <a:gd name="connsiteY677" fmla="*/ 807530 h 1101852"/>
                <a:gd name="connsiteX678" fmla="*/ 768001 w 1182528"/>
                <a:gd name="connsiteY678" fmla="*/ 814007 h 1101852"/>
                <a:gd name="connsiteX679" fmla="*/ 777811 w 1182528"/>
                <a:gd name="connsiteY679" fmla="*/ 816007 h 1101852"/>
                <a:gd name="connsiteX680" fmla="*/ 779812 w 1182528"/>
                <a:gd name="connsiteY680" fmla="*/ 818960 h 1101852"/>
                <a:gd name="connsiteX681" fmla="*/ 782955 w 1182528"/>
                <a:gd name="connsiteY681" fmla="*/ 818578 h 1101852"/>
                <a:gd name="connsiteX682" fmla="*/ 783431 w 1182528"/>
                <a:gd name="connsiteY682" fmla="*/ 821722 h 1101852"/>
                <a:gd name="connsiteX683" fmla="*/ 784955 w 1182528"/>
                <a:gd name="connsiteY683" fmla="*/ 821531 h 1101852"/>
                <a:gd name="connsiteX684" fmla="*/ 797814 w 1182528"/>
                <a:gd name="connsiteY684" fmla="*/ 821436 h 1101852"/>
                <a:gd name="connsiteX685" fmla="*/ 812197 w 1182528"/>
                <a:gd name="connsiteY685" fmla="*/ 821246 h 1101852"/>
                <a:gd name="connsiteX686" fmla="*/ 812578 w 1182528"/>
                <a:gd name="connsiteY686" fmla="*/ 824389 h 1101852"/>
                <a:gd name="connsiteX687" fmla="*/ 819150 w 1182528"/>
                <a:gd name="connsiteY687" fmla="*/ 825151 h 1101852"/>
                <a:gd name="connsiteX688" fmla="*/ 828770 w 1182528"/>
                <a:gd name="connsiteY688" fmla="*/ 825532 h 1101852"/>
                <a:gd name="connsiteX689" fmla="*/ 830580 w 1182528"/>
                <a:gd name="connsiteY689" fmla="*/ 826865 h 1101852"/>
                <a:gd name="connsiteX690" fmla="*/ 831914 w 1182528"/>
                <a:gd name="connsiteY690" fmla="*/ 825151 h 1101852"/>
                <a:gd name="connsiteX691" fmla="*/ 847725 w 1182528"/>
                <a:gd name="connsiteY691" fmla="*/ 823151 h 1101852"/>
                <a:gd name="connsiteX692" fmla="*/ 849059 w 1182528"/>
                <a:gd name="connsiteY692" fmla="*/ 821341 h 1101852"/>
                <a:gd name="connsiteX693" fmla="*/ 857440 w 1182528"/>
                <a:gd name="connsiteY693" fmla="*/ 823532 h 1101852"/>
                <a:gd name="connsiteX694" fmla="*/ 859727 w 1182528"/>
                <a:gd name="connsiteY694" fmla="*/ 816769 h 1101852"/>
                <a:gd name="connsiteX695" fmla="*/ 857536 w 1182528"/>
                <a:gd name="connsiteY695" fmla="*/ 812197 h 1101852"/>
                <a:gd name="connsiteX696" fmla="*/ 867632 w 1182528"/>
                <a:gd name="connsiteY696" fmla="*/ 815816 h 1101852"/>
                <a:gd name="connsiteX697" fmla="*/ 866299 w 1182528"/>
                <a:gd name="connsiteY697" fmla="*/ 817531 h 1101852"/>
                <a:gd name="connsiteX698" fmla="*/ 870204 w 1182528"/>
                <a:gd name="connsiteY698" fmla="*/ 823436 h 1101852"/>
                <a:gd name="connsiteX699" fmla="*/ 871442 w 1182528"/>
                <a:gd name="connsiteY699" fmla="*/ 820103 h 1101852"/>
                <a:gd name="connsiteX700" fmla="*/ 878300 w 1182528"/>
                <a:gd name="connsiteY700" fmla="*/ 824008 h 1101852"/>
                <a:gd name="connsiteX701" fmla="*/ 877919 w 1182528"/>
                <a:gd name="connsiteY701" fmla="*/ 820865 h 1101852"/>
                <a:gd name="connsiteX702" fmla="*/ 881253 w 1182528"/>
                <a:gd name="connsiteY702" fmla="*/ 822008 h 1101852"/>
                <a:gd name="connsiteX703" fmla="*/ 882206 w 1182528"/>
                <a:gd name="connsiteY703" fmla="*/ 817150 h 1101852"/>
                <a:gd name="connsiteX704" fmla="*/ 897827 w 1182528"/>
                <a:gd name="connsiteY704" fmla="*/ 826389 h 1101852"/>
                <a:gd name="connsiteX705" fmla="*/ 902780 w 1182528"/>
                <a:gd name="connsiteY705" fmla="*/ 827342 h 1101852"/>
                <a:gd name="connsiteX706" fmla="*/ 903160 w 1182528"/>
                <a:gd name="connsiteY706" fmla="*/ 830485 h 1101852"/>
                <a:gd name="connsiteX707" fmla="*/ 904970 w 1182528"/>
                <a:gd name="connsiteY707" fmla="*/ 831818 h 1101852"/>
                <a:gd name="connsiteX708" fmla="*/ 908494 w 1182528"/>
                <a:gd name="connsiteY708" fmla="*/ 821817 h 1101852"/>
                <a:gd name="connsiteX709" fmla="*/ 910114 w 1182528"/>
                <a:gd name="connsiteY709" fmla="*/ 821626 h 1101852"/>
                <a:gd name="connsiteX710" fmla="*/ 914400 w 1182528"/>
                <a:gd name="connsiteY710" fmla="*/ 817817 h 1101852"/>
                <a:gd name="connsiteX711" fmla="*/ 914019 w 1182528"/>
                <a:gd name="connsiteY711" fmla="*/ 814673 h 1101852"/>
                <a:gd name="connsiteX712" fmla="*/ 917734 w 1182528"/>
                <a:gd name="connsiteY712" fmla="*/ 806196 h 1101852"/>
                <a:gd name="connsiteX713" fmla="*/ 919544 w 1182528"/>
                <a:gd name="connsiteY713" fmla="*/ 807530 h 1101852"/>
                <a:gd name="connsiteX714" fmla="*/ 923639 w 1182528"/>
                <a:gd name="connsiteY714" fmla="*/ 802196 h 1101852"/>
                <a:gd name="connsiteX715" fmla="*/ 930783 w 1182528"/>
                <a:gd name="connsiteY715" fmla="*/ 807720 h 1101852"/>
                <a:gd name="connsiteX716" fmla="*/ 935736 w 1182528"/>
                <a:gd name="connsiteY716" fmla="*/ 808673 h 1101852"/>
                <a:gd name="connsiteX717" fmla="*/ 937069 w 1182528"/>
                <a:gd name="connsiteY717" fmla="*/ 806958 h 1101852"/>
                <a:gd name="connsiteX718" fmla="*/ 936879 w 1182528"/>
                <a:gd name="connsiteY718" fmla="*/ 805339 h 1101852"/>
                <a:gd name="connsiteX719" fmla="*/ 942023 w 1182528"/>
                <a:gd name="connsiteY719" fmla="*/ 807911 h 1101852"/>
                <a:gd name="connsiteX720" fmla="*/ 946785 w 1182528"/>
                <a:gd name="connsiteY720" fmla="*/ 807339 h 1101852"/>
                <a:gd name="connsiteX721" fmla="*/ 944594 w 1182528"/>
                <a:gd name="connsiteY721" fmla="*/ 802767 h 1101852"/>
                <a:gd name="connsiteX722" fmla="*/ 956024 w 1182528"/>
                <a:gd name="connsiteY722" fmla="*/ 804482 h 1101852"/>
                <a:gd name="connsiteX723" fmla="*/ 955453 w 1182528"/>
                <a:gd name="connsiteY723" fmla="*/ 799814 h 1101852"/>
                <a:gd name="connsiteX724" fmla="*/ 958786 w 1182528"/>
                <a:gd name="connsiteY724" fmla="*/ 800957 h 1101852"/>
                <a:gd name="connsiteX725" fmla="*/ 960120 w 1182528"/>
                <a:gd name="connsiteY725" fmla="*/ 799148 h 1101852"/>
                <a:gd name="connsiteX726" fmla="*/ 966692 w 1182528"/>
                <a:gd name="connsiteY726" fmla="*/ 799910 h 1101852"/>
                <a:gd name="connsiteX727" fmla="*/ 966883 w 1182528"/>
                <a:gd name="connsiteY727" fmla="*/ 801529 h 1101852"/>
                <a:gd name="connsiteX728" fmla="*/ 970217 w 1182528"/>
                <a:gd name="connsiteY728" fmla="*/ 802672 h 1101852"/>
                <a:gd name="connsiteX729" fmla="*/ 970407 w 1182528"/>
                <a:gd name="connsiteY729" fmla="*/ 804291 h 1101852"/>
                <a:gd name="connsiteX730" fmla="*/ 973741 w 1182528"/>
                <a:gd name="connsiteY730" fmla="*/ 805434 h 1101852"/>
                <a:gd name="connsiteX731" fmla="*/ 974407 w 1182528"/>
                <a:gd name="connsiteY731" fmla="*/ 810197 h 1101852"/>
                <a:gd name="connsiteX732" fmla="*/ 975551 w 1182528"/>
                <a:gd name="connsiteY732" fmla="*/ 806863 h 1101852"/>
                <a:gd name="connsiteX733" fmla="*/ 978884 w 1182528"/>
                <a:gd name="connsiteY733" fmla="*/ 808006 h 1101852"/>
                <a:gd name="connsiteX734" fmla="*/ 975360 w 1182528"/>
                <a:gd name="connsiteY734" fmla="*/ 805244 h 1101852"/>
                <a:gd name="connsiteX735" fmla="*/ 978503 w 1182528"/>
                <a:gd name="connsiteY735" fmla="*/ 804863 h 1101852"/>
                <a:gd name="connsiteX736" fmla="*/ 980313 w 1182528"/>
                <a:gd name="connsiteY736" fmla="*/ 806196 h 1101852"/>
                <a:gd name="connsiteX737" fmla="*/ 978884 w 1182528"/>
                <a:gd name="connsiteY737" fmla="*/ 808006 h 1101852"/>
                <a:gd name="connsiteX738" fmla="*/ 979075 w 1182528"/>
                <a:gd name="connsiteY738" fmla="*/ 809625 h 1101852"/>
                <a:gd name="connsiteX739" fmla="*/ 983456 w 1182528"/>
                <a:gd name="connsiteY739" fmla="*/ 805815 h 1101852"/>
                <a:gd name="connsiteX740" fmla="*/ 984980 w 1182528"/>
                <a:gd name="connsiteY740" fmla="*/ 805625 h 1101852"/>
                <a:gd name="connsiteX741" fmla="*/ 990124 w 1182528"/>
                <a:gd name="connsiteY741" fmla="*/ 795338 h 1101852"/>
                <a:gd name="connsiteX742" fmla="*/ 988505 w 1182528"/>
                <a:gd name="connsiteY742" fmla="*/ 795528 h 1101852"/>
                <a:gd name="connsiteX743" fmla="*/ 989552 w 1182528"/>
                <a:gd name="connsiteY743" fmla="*/ 790575 h 1101852"/>
                <a:gd name="connsiteX744" fmla="*/ 987933 w 1182528"/>
                <a:gd name="connsiteY744" fmla="*/ 790861 h 1101852"/>
                <a:gd name="connsiteX745" fmla="*/ 989362 w 1182528"/>
                <a:gd name="connsiteY745" fmla="*/ 789051 h 1101852"/>
                <a:gd name="connsiteX746" fmla="*/ 985933 w 1182528"/>
                <a:gd name="connsiteY746" fmla="*/ 787908 h 1101852"/>
                <a:gd name="connsiteX747" fmla="*/ 987361 w 1182528"/>
                <a:gd name="connsiteY747" fmla="*/ 786098 h 1101852"/>
                <a:gd name="connsiteX748" fmla="*/ 986123 w 1182528"/>
                <a:gd name="connsiteY748" fmla="*/ 776573 h 1101852"/>
                <a:gd name="connsiteX749" fmla="*/ 992886 w 1182528"/>
                <a:gd name="connsiteY749" fmla="*/ 778955 h 1101852"/>
                <a:gd name="connsiteX750" fmla="*/ 992600 w 1182528"/>
                <a:gd name="connsiteY750" fmla="*/ 764572 h 1101852"/>
                <a:gd name="connsiteX751" fmla="*/ 992029 w 1182528"/>
                <a:gd name="connsiteY751" fmla="*/ 759809 h 1101852"/>
                <a:gd name="connsiteX752" fmla="*/ 993553 w 1182528"/>
                <a:gd name="connsiteY752" fmla="*/ 759619 h 1101852"/>
                <a:gd name="connsiteX753" fmla="*/ 994791 w 1182528"/>
                <a:gd name="connsiteY753" fmla="*/ 756285 h 1101852"/>
                <a:gd name="connsiteX754" fmla="*/ 991172 w 1182528"/>
                <a:gd name="connsiteY754" fmla="*/ 753523 h 1101852"/>
                <a:gd name="connsiteX755" fmla="*/ 987838 w 1182528"/>
                <a:gd name="connsiteY755" fmla="*/ 752380 h 1101852"/>
                <a:gd name="connsiteX756" fmla="*/ 987266 w 1182528"/>
                <a:gd name="connsiteY756" fmla="*/ 747617 h 1101852"/>
                <a:gd name="connsiteX757" fmla="*/ 983742 w 1182528"/>
                <a:gd name="connsiteY757" fmla="*/ 744855 h 1101852"/>
                <a:gd name="connsiteX758" fmla="*/ 983266 w 1182528"/>
                <a:gd name="connsiteY758" fmla="*/ 741712 h 1101852"/>
                <a:gd name="connsiteX759" fmla="*/ 987647 w 1182528"/>
                <a:gd name="connsiteY759" fmla="*/ 737902 h 1101852"/>
                <a:gd name="connsiteX760" fmla="*/ 989648 w 1182528"/>
                <a:gd name="connsiteY760" fmla="*/ 740855 h 1101852"/>
                <a:gd name="connsiteX761" fmla="*/ 992600 w 1182528"/>
                <a:gd name="connsiteY761" fmla="*/ 738950 h 1101852"/>
                <a:gd name="connsiteX762" fmla="*/ 988981 w 1182528"/>
                <a:gd name="connsiteY762" fmla="*/ 736187 h 1101852"/>
                <a:gd name="connsiteX763" fmla="*/ 988600 w 1182528"/>
                <a:gd name="connsiteY763" fmla="*/ 733044 h 1101852"/>
                <a:gd name="connsiteX764" fmla="*/ 985076 w 1182528"/>
                <a:gd name="connsiteY764" fmla="*/ 730282 h 1101852"/>
                <a:gd name="connsiteX765" fmla="*/ 986219 w 1182528"/>
                <a:gd name="connsiteY765" fmla="*/ 726853 h 1101852"/>
                <a:gd name="connsiteX766" fmla="*/ 988028 w 1182528"/>
                <a:gd name="connsiteY766" fmla="*/ 728282 h 1101852"/>
                <a:gd name="connsiteX767" fmla="*/ 987552 w 1182528"/>
                <a:gd name="connsiteY767" fmla="*/ 725138 h 1101852"/>
                <a:gd name="connsiteX768" fmla="*/ 985838 w 1182528"/>
                <a:gd name="connsiteY768" fmla="*/ 723710 h 1101852"/>
                <a:gd name="connsiteX769" fmla="*/ 985647 w 1182528"/>
                <a:gd name="connsiteY769" fmla="*/ 722186 h 1101852"/>
                <a:gd name="connsiteX770" fmla="*/ 982027 w 1182528"/>
                <a:gd name="connsiteY770" fmla="*/ 719423 h 1101852"/>
                <a:gd name="connsiteX771" fmla="*/ 981837 w 1182528"/>
                <a:gd name="connsiteY771" fmla="*/ 717804 h 1101852"/>
                <a:gd name="connsiteX772" fmla="*/ 984790 w 1182528"/>
                <a:gd name="connsiteY772" fmla="*/ 715804 h 1101852"/>
                <a:gd name="connsiteX773" fmla="*/ 987933 w 1182528"/>
                <a:gd name="connsiteY773" fmla="*/ 715423 h 1101852"/>
                <a:gd name="connsiteX774" fmla="*/ 989171 w 1182528"/>
                <a:gd name="connsiteY774" fmla="*/ 712089 h 1101852"/>
                <a:gd name="connsiteX775" fmla="*/ 992124 w 1182528"/>
                <a:gd name="connsiteY775" fmla="*/ 710089 h 1101852"/>
                <a:gd name="connsiteX776" fmla="*/ 1004792 w 1182528"/>
                <a:gd name="connsiteY776" fmla="*/ 721328 h 1101852"/>
                <a:gd name="connsiteX777" fmla="*/ 1019937 w 1182528"/>
                <a:gd name="connsiteY777" fmla="*/ 727424 h 1101852"/>
                <a:gd name="connsiteX778" fmla="*/ 1021175 w 1182528"/>
                <a:gd name="connsiteY778" fmla="*/ 724091 h 1101852"/>
                <a:gd name="connsiteX779" fmla="*/ 1024509 w 1182528"/>
                <a:gd name="connsiteY779" fmla="*/ 725234 h 1101852"/>
                <a:gd name="connsiteX780" fmla="*/ 1020889 w 1182528"/>
                <a:gd name="connsiteY780" fmla="*/ 722471 h 1101852"/>
                <a:gd name="connsiteX781" fmla="*/ 1023652 w 1182528"/>
                <a:gd name="connsiteY781" fmla="*/ 718947 h 1101852"/>
                <a:gd name="connsiteX782" fmla="*/ 1021937 w 1182528"/>
                <a:gd name="connsiteY782" fmla="*/ 717518 h 1101852"/>
                <a:gd name="connsiteX783" fmla="*/ 1017175 w 1182528"/>
                <a:gd name="connsiteY783" fmla="*/ 718090 h 1101852"/>
                <a:gd name="connsiteX784" fmla="*/ 1015365 w 1182528"/>
                <a:gd name="connsiteY784" fmla="*/ 716756 h 1101852"/>
                <a:gd name="connsiteX785" fmla="*/ 1019556 w 1182528"/>
                <a:gd name="connsiteY785" fmla="*/ 711422 h 1101852"/>
                <a:gd name="connsiteX786" fmla="*/ 1023080 w 1182528"/>
                <a:gd name="connsiteY786" fmla="*/ 714185 h 1101852"/>
                <a:gd name="connsiteX787" fmla="*/ 1024223 w 1182528"/>
                <a:gd name="connsiteY787" fmla="*/ 710851 h 1101852"/>
                <a:gd name="connsiteX788" fmla="*/ 1020889 w 1182528"/>
                <a:gd name="connsiteY788" fmla="*/ 709613 h 1101852"/>
                <a:gd name="connsiteX789" fmla="*/ 1022509 w 1182528"/>
                <a:gd name="connsiteY789" fmla="*/ 709422 h 1101852"/>
                <a:gd name="connsiteX790" fmla="*/ 1026985 w 1182528"/>
                <a:gd name="connsiteY790" fmla="*/ 707231 h 1101852"/>
                <a:gd name="connsiteX791" fmla="*/ 1024985 w 1182528"/>
                <a:gd name="connsiteY791" fmla="*/ 691515 h 1101852"/>
                <a:gd name="connsiteX792" fmla="*/ 1035653 w 1182528"/>
                <a:gd name="connsiteY792" fmla="*/ 699707 h 1101852"/>
                <a:gd name="connsiteX793" fmla="*/ 1043559 w 1182528"/>
                <a:gd name="connsiteY793" fmla="*/ 698754 h 1101852"/>
                <a:gd name="connsiteX794" fmla="*/ 1042606 w 1182528"/>
                <a:gd name="connsiteY794" fmla="*/ 690848 h 1101852"/>
                <a:gd name="connsiteX795" fmla="*/ 1051274 w 1182528"/>
                <a:gd name="connsiteY795" fmla="*/ 696182 h 1101852"/>
                <a:gd name="connsiteX796" fmla="*/ 1059371 w 1182528"/>
                <a:gd name="connsiteY796" fmla="*/ 696754 h 1101852"/>
                <a:gd name="connsiteX797" fmla="*/ 1057942 w 1182528"/>
                <a:gd name="connsiteY797" fmla="*/ 685705 h 1101852"/>
                <a:gd name="connsiteX798" fmla="*/ 1059085 w 1182528"/>
                <a:gd name="connsiteY798" fmla="*/ 682276 h 1101852"/>
                <a:gd name="connsiteX799" fmla="*/ 1058513 w 1182528"/>
                <a:gd name="connsiteY799" fmla="*/ 677609 h 1101852"/>
                <a:gd name="connsiteX800" fmla="*/ 1059656 w 1182528"/>
                <a:gd name="connsiteY800" fmla="*/ 674275 h 1101852"/>
                <a:gd name="connsiteX801" fmla="*/ 1054799 w 1182528"/>
                <a:gd name="connsiteY801" fmla="*/ 673227 h 1101852"/>
                <a:gd name="connsiteX802" fmla="*/ 1057942 w 1182528"/>
                <a:gd name="connsiteY802" fmla="*/ 672846 h 1101852"/>
                <a:gd name="connsiteX803" fmla="*/ 1058323 w 1182528"/>
                <a:gd name="connsiteY803" fmla="*/ 663226 h 1101852"/>
                <a:gd name="connsiteX804" fmla="*/ 1047560 w 1182528"/>
                <a:gd name="connsiteY804" fmla="*/ 642080 h 1101852"/>
                <a:gd name="connsiteX805" fmla="*/ 1060037 w 1182528"/>
                <a:gd name="connsiteY805" fmla="*/ 638937 h 1101852"/>
                <a:gd name="connsiteX806" fmla="*/ 1056989 w 1182528"/>
                <a:gd name="connsiteY806" fmla="*/ 628078 h 1101852"/>
                <a:gd name="connsiteX807" fmla="*/ 1068896 w 1182528"/>
                <a:gd name="connsiteY807" fmla="*/ 632936 h 1101852"/>
                <a:gd name="connsiteX808" fmla="*/ 1066324 w 1182528"/>
                <a:gd name="connsiteY808" fmla="*/ 625316 h 1101852"/>
                <a:gd name="connsiteX809" fmla="*/ 1064133 w 1182528"/>
                <a:gd name="connsiteY809" fmla="*/ 620744 h 1101852"/>
                <a:gd name="connsiteX810" fmla="*/ 1060704 w 1182528"/>
                <a:gd name="connsiteY810" fmla="*/ 619601 h 1101852"/>
                <a:gd name="connsiteX811" fmla="*/ 1061276 w 1182528"/>
                <a:gd name="connsiteY811" fmla="*/ 611505 h 1101852"/>
                <a:gd name="connsiteX812" fmla="*/ 1056418 w 1182528"/>
                <a:gd name="connsiteY812" fmla="*/ 610457 h 1101852"/>
                <a:gd name="connsiteX813" fmla="*/ 1057751 w 1182528"/>
                <a:gd name="connsiteY813" fmla="*/ 608743 h 1101852"/>
                <a:gd name="connsiteX814" fmla="*/ 1057561 w 1182528"/>
                <a:gd name="connsiteY814" fmla="*/ 607124 h 1101852"/>
                <a:gd name="connsiteX815" fmla="*/ 1054418 w 1182528"/>
                <a:gd name="connsiteY815" fmla="*/ 607505 h 1101852"/>
                <a:gd name="connsiteX816" fmla="*/ 1049465 w 1182528"/>
                <a:gd name="connsiteY816" fmla="*/ 606552 h 1101852"/>
                <a:gd name="connsiteX817" fmla="*/ 1049655 w 1182528"/>
                <a:gd name="connsiteY817" fmla="*/ 608171 h 1101852"/>
                <a:gd name="connsiteX818" fmla="*/ 1047845 w 1182528"/>
                <a:gd name="connsiteY818" fmla="*/ 606743 h 1101852"/>
                <a:gd name="connsiteX819" fmla="*/ 1047845 w 1182528"/>
                <a:gd name="connsiteY819" fmla="*/ 606743 h 1101852"/>
                <a:gd name="connsiteX820" fmla="*/ 1047655 w 1182528"/>
                <a:gd name="connsiteY820" fmla="*/ 605219 h 1101852"/>
                <a:gd name="connsiteX821" fmla="*/ 1046321 w 1182528"/>
                <a:gd name="connsiteY821" fmla="*/ 606933 h 1101852"/>
                <a:gd name="connsiteX822" fmla="*/ 1038035 w 1182528"/>
                <a:gd name="connsiteY822" fmla="*/ 604838 h 1101852"/>
                <a:gd name="connsiteX823" fmla="*/ 1038797 w 1182528"/>
                <a:gd name="connsiteY823" fmla="*/ 598265 h 1101852"/>
                <a:gd name="connsiteX824" fmla="*/ 1037368 w 1182528"/>
                <a:gd name="connsiteY824" fmla="*/ 600075 h 1101852"/>
                <a:gd name="connsiteX825" fmla="*/ 1035463 w 1182528"/>
                <a:gd name="connsiteY825" fmla="*/ 597122 h 1101852"/>
                <a:gd name="connsiteX826" fmla="*/ 1036415 w 1182528"/>
                <a:gd name="connsiteY826" fmla="*/ 592169 h 1101852"/>
                <a:gd name="connsiteX827" fmla="*/ 1036225 w 1182528"/>
                <a:gd name="connsiteY827" fmla="*/ 590645 h 1101852"/>
                <a:gd name="connsiteX828" fmla="*/ 1034606 w 1182528"/>
                <a:gd name="connsiteY828" fmla="*/ 590836 h 1101852"/>
                <a:gd name="connsiteX829" fmla="*/ 1033081 w 1182528"/>
                <a:gd name="connsiteY829" fmla="*/ 591026 h 1101852"/>
                <a:gd name="connsiteX830" fmla="*/ 1034415 w 1182528"/>
                <a:gd name="connsiteY830" fmla="*/ 589217 h 1101852"/>
                <a:gd name="connsiteX831" fmla="*/ 1032605 w 1182528"/>
                <a:gd name="connsiteY831" fmla="*/ 587883 h 1101852"/>
                <a:gd name="connsiteX832" fmla="*/ 1033844 w 1182528"/>
                <a:gd name="connsiteY832" fmla="*/ 584549 h 1101852"/>
                <a:gd name="connsiteX833" fmla="*/ 1030700 w 1182528"/>
                <a:gd name="connsiteY833" fmla="*/ 584930 h 1101852"/>
                <a:gd name="connsiteX834" fmla="*/ 1032034 w 1182528"/>
                <a:gd name="connsiteY834" fmla="*/ 583121 h 1101852"/>
                <a:gd name="connsiteX835" fmla="*/ 1030510 w 1182528"/>
                <a:gd name="connsiteY835" fmla="*/ 583311 h 1101852"/>
                <a:gd name="connsiteX836" fmla="*/ 1027843 w 1182528"/>
                <a:gd name="connsiteY836" fmla="*/ 575596 h 1101852"/>
                <a:gd name="connsiteX837" fmla="*/ 1020985 w 1182528"/>
                <a:gd name="connsiteY837" fmla="*/ 571691 h 1101852"/>
                <a:gd name="connsiteX838" fmla="*/ 1022128 w 1182528"/>
                <a:gd name="connsiteY838" fmla="*/ 568357 h 1101852"/>
                <a:gd name="connsiteX839" fmla="*/ 1020985 w 1182528"/>
                <a:gd name="connsiteY839" fmla="*/ 558927 h 1101852"/>
                <a:gd name="connsiteX840" fmla="*/ 1018985 w 1182528"/>
                <a:gd name="connsiteY840" fmla="*/ 555974 h 1101852"/>
                <a:gd name="connsiteX841" fmla="*/ 1018603 w 1182528"/>
                <a:gd name="connsiteY841" fmla="*/ 552736 h 1101852"/>
                <a:gd name="connsiteX842" fmla="*/ 1016984 w 1182528"/>
                <a:gd name="connsiteY842" fmla="*/ 553022 h 1101852"/>
                <a:gd name="connsiteX843" fmla="*/ 1015746 w 1182528"/>
                <a:gd name="connsiteY843" fmla="*/ 543497 h 1101852"/>
                <a:gd name="connsiteX844" fmla="*/ 1012603 w 1182528"/>
                <a:gd name="connsiteY844" fmla="*/ 543878 h 1101852"/>
                <a:gd name="connsiteX845" fmla="*/ 1014031 w 1182528"/>
                <a:gd name="connsiteY845" fmla="*/ 542163 h 1101852"/>
                <a:gd name="connsiteX846" fmla="*/ 1012412 w 1182528"/>
                <a:gd name="connsiteY846" fmla="*/ 542354 h 1101852"/>
                <a:gd name="connsiteX847" fmla="*/ 1013174 w 1182528"/>
                <a:gd name="connsiteY847" fmla="*/ 535781 h 1101852"/>
                <a:gd name="connsiteX848" fmla="*/ 1003078 w 1182528"/>
                <a:gd name="connsiteY848" fmla="*/ 532257 h 1101852"/>
                <a:gd name="connsiteX849" fmla="*/ 1004316 w 1182528"/>
                <a:gd name="connsiteY849" fmla="*/ 528923 h 1101852"/>
                <a:gd name="connsiteX850" fmla="*/ 1000315 w 1182528"/>
                <a:gd name="connsiteY850" fmla="*/ 523018 h 1101852"/>
                <a:gd name="connsiteX851" fmla="*/ 995363 w 1182528"/>
                <a:gd name="connsiteY851" fmla="*/ 522065 h 1101852"/>
                <a:gd name="connsiteX852" fmla="*/ 997934 w 1182528"/>
                <a:gd name="connsiteY852" fmla="*/ 516922 h 1101852"/>
                <a:gd name="connsiteX853" fmla="*/ 994981 w 1182528"/>
                <a:gd name="connsiteY853" fmla="*/ 506063 h 1101852"/>
                <a:gd name="connsiteX854" fmla="*/ 987838 w 1182528"/>
                <a:gd name="connsiteY854" fmla="*/ 500539 h 1101852"/>
                <a:gd name="connsiteX855" fmla="*/ 987457 w 1182528"/>
                <a:gd name="connsiteY855" fmla="*/ 497396 h 1101852"/>
                <a:gd name="connsiteX856" fmla="*/ 988790 w 1182528"/>
                <a:gd name="connsiteY856" fmla="*/ 495586 h 1101852"/>
                <a:gd name="connsiteX857" fmla="*/ 981742 w 1182528"/>
                <a:gd name="connsiteY857" fmla="*/ 490157 h 1101852"/>
                <a:gd name="connsiteX858" fmla="*/ 985266 w 1182528"/>
                <a:gd name="connsiteY858" fmla="*/ 480060 h 1101852"/>
                <a:gd name="connsiteX859" fmla="*/ 984790 w 1182528"/>
                <a:gd name="connsiteY859" fmla="*/ 476917 h 1101852"/>
                <a:gd name="connsiteX860" fmla="*/ 982027 w 1182528"/>
                <a:gd name="connsiteY860" fmla="*/ 467582 h 1101852"/>
                <a:gd name="connsiteX861" fmla="*/ 981837 w 1182528"/>
                <a:gd name="connsiteY861" fmla="*/ 466058 h 1101852"/>
                <a:gd name="connsiteX862" fmla="*/ 981456 w 1182528"/>
                <a:gd name="connsiteY862" fmla="*/ 462915 h 1101852"/>
                <a:gd name="connsiteX863" fmla="*/ 982218 w 1182528"/>
                <a:gd name="connsiteY863" fmla="*/ 456343 h 1101852"/>
                <a:gd name="connsiteX864" fmla="*/ 980599 w 1182528"/>
                <a:gd name="connsiteY864" fmla="*/ 456533 h 1101852"/>
                <a:gd name="connsiteX865" fmla="*/ 975931 w 1182528"/>
                <a:gd name="connsiteY865" fmla="*/ 457200 h 1101852"/>
                <a:gd name="connsiteX866" fmla="*/ 970978 w 1182528"/>
                <a:gd name="connsiteY866" fmla="*/ 456248 h 1101852"/>
                <a:gd name="connsiteX867" fmla="*/ 971169 w 1182528"/>
                <a:gd name="connsiteY867" fmla="*/ 444913 h 1101852"/>
                <a:gd name="connsiteX868" fmla="*/ 977456 w 1182528"/>
                <a:gd name="connsiteY868" fmla="*/ 431292 h 1101852"/>
                <a:gd name="connsiteX869" fmla="*/ 979170 w 1182528"/>
                <a:gd name="connsiteY869" fmla="*/ 432721 h 1101852"/>
                <a:gd name="connsiteX870" fmla="*/ 993553 w 1182528"/>
                <a:gd name="connsiteY870" fmla="*/ 419672 h 1101852"/>
                <a:gd name="connsiteX871" fmla="*/ 992981 w 1182528"/>
                <a:gd name="connsiteY871" fmla="*/ 414909 h 1101852"/>
                <a:gd name="connsiteX872" fmla="*/ 986028 w 1182528"/>
                <a:gd name="connsiteY872" fmla="*/ 411004 h 1101852"/>
                <a:gd name="connsiteX873" fmla="*/ 986600 w 1182528"/>
                <a:gd name="connsiteY873" fmla="*/ 402908 h 1101852"/>
                <a:gd name="connsiteX874" fmla="*/ 990790 w 1182528"/>
                <a:gd name="connsiteY874" fmla="*/ 397574 h 1101852"/>
                <a:gd name="connsiteX875" fmla="*/ 989933 w 1182528"/>
                <a:gd name="connsiteY875" fmla="*/ 391192 h 1101852"/>
                <a:gd name="connsiteX876" fmla="*/ 993839 w 1182528"/>
                <a:gd name="connsiteY876" fmla="*/ 384334 h 1101852"/>
                <a:gd name="connsiteX877" fmla="*/ 1003173 w 1182528"/>
                <a:gd name="connsiteY877" fmla="*/ 381572 h 1101852"/>
                <a:gd name="connsiteX878" fmla="*/ 1012222 w 1182528"/>
                <a:gd name="connsiteY878" fmla="*/ 377190 h 1101852"/>
                <a:gd name="connsiteX879" fmla="*/ 1015936 w 1182528"/>
                <a:gd name="connsiteY879" fmla="*/ 368713 h 1101852"/>
                <a:gd name="connsiteX880" fmla="*/ 1015746 w 1182528"/>
                <a:gd name="connsiteY880" fmla="*/ 367094 h 1101852"/>
                <a:gd name="connsiteX881" fmla="*/ 1018318 w 1182528"/>
                <a:gd name="connsiteY881" fmla="*/ 361950 h 1101852"/>
                <a:gd name="connsiteX882" fmla="*/ 1020699 w 1182528"/>
                <a:gd name="connsiteY882" fmla="*/ 368046 h 1101852"/>
                <a:gd name="connsiteX883" fmla="*/ 1019461 w 1182528"/>
                <a:gd name="connsiteY883" fmla="*/ 371475 h 1101852"/>
                <a:gd name="connsiteX884" fmla="*/ 1021080 w 1182528"/>
                <a:gd name="connsiteY884" fmla="*/ 371189 h 1101852"/>
                <a:gd name="connsiteX885" fmla="*/ 1027367 w 1182528"/>
                <a:gd name="connsiteY885" fmla="*/ 370427 h 1101852"/>
                <a:gd name="connsiteX886" fmla="*/ 1030129 w 1182528"/>
                <a:gd name="connsiteY886" fmla="*/ 366903 h 1101852"/>
                <a:gd name="connsiteX887" fmla="*/ 1021271 w 1182528"/>
                <a:gd name="connsiteY887" fmla="*/ 359950 h 1101852"/>
                <a:gd name="connsiteX888" fmla="*/ 1022032 w 1182528"/>
                <a:gd name="connsiteY888" fmla="*/ 353473 h 1101852"/>
                <a:gd name="connsiteX889" fmla="*/ 1024985 w 1182528"/>
                <a:gd name="connsiteY889" fmla="*/ 351473 h 1101852"/>
                <a:gd name="connsiteX890" fmla="*/ 1025938 w 1182528"/>
                <a:gd name="connsiteY890" fmla="*/ 346520 h 1101852"/>
                <a:gd name="connsiteX891" fmla="*/ 1027462 w 1182528"/>
                <a:gd name="connsiteY891" fmla="*/ 333566 h 1101852"/>
                <a:gd name="connsiteX892" fmla="*/ 1032986 w 1182528"/>
                <a:gd name="connsiteY892" fmla="*/ 326422 h 1101852"/>
                <a:gd name="connsiteX893" fmla="*/ 1032796 w 1182528"/>
                <a:gd name="connsiteY893" fmla="*/ 324803 h 1101852"/>
                <a:gd name="connsiteX894" fmla="*/ 1037558 w 1182528"/>
                <a:gd name="connsiteY894" fmla="*/ 324231 h 1101852"/>
                <a:gd name="connsiteX895" fmla="*/ 1042702 w 1182528"/>
                <a:gd name="connsiteY895" fmla="*/ 326803 h 1101852"/>
                <a:gd name="connsiteX896" fmla="*/ 1048036 w 1182528"/>
                <a:gd name="connsiteY896" fmla="*/ 318040 h 1101852"/>
                <a:gd name="connsiteX897" fmla="*/ 1042416 w 1182528"/>
                <a:gd name="connsiteY897" fmla="*/ 312420 h 1101852"/>
                <a:gd name="connsiteX898" fmla="*/ 1043654 w 1182528"/>
                <a:gd name="connsiteY898" fmla="*/ 308991 h 1101852"/>
                <a:gd name="connsiteX899" fmla="*/ 1049560 w 1182528"/>
                <a:gd name="connsiteY899" fmla="*/ 305086 h 1101852"/>
                <a:gd name="connsiteX900" fmla="*/ 1049369 w 1182528"/>
                <a:gd name="connsiteY900" fmla="*/ 303467 h 1101852"/>
                <a:gd name="connsiteX901" fmla="*/ 1049179 w 1182528"/>
                <a:gd name="connsiteY901" fmla="*/ 301943 h 1101852"/>
                <a:gd name="connsiteX902" fmla="*/ 1047369 w 1182528"/>
                <a:gd name="connsiteY902" fmla="*/ 300514 h 1101852"/>
                <a:gd name="connsiteX903" fmla="*/ 1045750 w 1182528"/>
                <a:gd name="connsiteY903" fmla="*/ 300704 h 1101852"/>
                <a:gd name="connsiteX904" fmla="*/ 1044035 w 1182528"/>
                <a:gd name="connsiteY904" fmla="*/ 299371 h 1101852"/>
                <a:gd name="connsiteX905" fmla="*/ 1044988 w 1182528"/>
                <a:gd name="connsiteY905" fmla="*/ 294418 h 1101852"/>
                <a:gd name="connsiteX906" fmla="*/ 1043178 w 1182528"/>
                <a:gd name="connsiteY906" fmla="*/ 293084 h 1101852"/>
                <a:gd name="connsiteX907" fmla="*/ 1045750 w 1182528"/>
                <a:gd name="connsiteY907" fmla="*/ 287941 h 1101852"/>
                <a:gd name="connsiteX908" fmla="*/ 1049274 w 1182528"/>
                <a:gd name="connsiteY908" fmla="*/ 290703 h 1101852"/>
                <a:gd name="connsiteX909" fmla="*/ 1048893 w 1182528"/>
                <a:gd name="connsiteY909" fmla="*/ 287465 h 1101852"/>
                <a:gd name="connsiteX910" fmla="*/ 1045559 w 1182528"/>
                <a:gd name="connsiteY910" fmla="*/ 286322 h 1101852"/>
                <a:gd name="connsiteX911" fmla="*/ 1044131 w 1182528"/>
                <a:gd name="connsiteY911" fmla="*/ 288131 h 1101852"/>
                <a:gd name="connsiteX912" fmla="*/ 1040797 w 1182528"/>
                <a:gd name="connsiteY912" fmla="*/ 286893 h 1101852"/>
                <a:gd name="connsiteX913" fmla="*/ 1042226 w 1182528"/>
                <a:gd name="connsiteY913" fmla="*/ 285179 h 1101852"/>
                <a:gd name="connsiteX914" fmla="*/ 1038415 w 1182528"/>
                <a:gd name="connsiteY914" fmla="*/ 280797 h 1101852"/>
                <a:gd name="connsiteX915" fmla="*/ 1044511 w 1182528"/>
                <a:gd name="connsiteY915" fmla="*/ 278416 h 1101852"/>
                <a:gd name="connsiteX916" fmla="*/ 1050036 w 1182528"/>
                <a:gd name="connsiteY916" fmla="*/ 284131 h 1101852"/>
                <a:gd name="connsiteX917" fmla="*/ 1054227 w 1182528"/>
                <a:gd name="connsiteY917" fmla="*/ 278797 h 1101852"/>
                <a:gd name="connsiteX918" fmla="*/ 1061942 w 1182528"/>
                <a:gd name="connsiteY918" fmla="*/ 276225 h 1101852"/>
                <a:gd name="connsiteX919" fmla="*/ 1063657 w 1182528"/>
                <a:gd name="connsiteY919" fmla="*/ 277559 h 1101852"/>
                <a:gd name="connsiteX920" fmla="*/ 1066800 w 1182528"/>
                <a:gd name="connsiteY920" fmla="*/ 277178 h 1101852"/>
                <a:gd name="connsiteX921" fmla="*/ 1065848 w 1182528"/>
                <a:gd name="connsiteY921" fmla="*/ 282131 h 1101852"/>
                <a:gd name="connsiteX922" fmla="*/ 1063085 w 1182528"/>
                <a:gd name="connsiteY922" fmla="*/ 285655 h 1101852"/>
                <a:gd name="connsiteX923" fmla="*/ 1067657 w 1182528"/>
                <a:gd name="connsiteY923" fmla="*/ 283464 h 1101852"/>
                <a:gd name="connsiteX924" fmla="*/ 1069372 w 1182528"/>
                <a:gd name="connsiteY924" fmla="*/ 284893 h 1101852"/>
                <a:gd name="connsiteX925" fmla="*/ 1070801 w 1182528"/>
                <a:gd name="connsiteY925" fmla="*/ 283083 h 1101852"/>
                <a:gd name="connsiteX926" fmla="*/ 1073944 w 1182528"/>
                <a:gd name="connsiteY926" fmla="*/ 282702 h 1101852"/>
                <a:gd name="connsiteX927" fmla="*/ 1082611 w 1182528"/>
                <a:gd name="connsiteY927" fmla="*/ 288036 h 1101852"/>
                <a:gd name="connsiteX928" fmla="*/ 1084993 w 1182528"/>
                <a:gd name="connsiteY928" fmla="*/ 294132 h 1101852"/>
                <a:gd name="connsiteX929" fmla="*/ 1093280 w 1182528"/>
                <a:gd name="connsiteY929" fmla="*/ 296323 h 1101852"/>
                <a:gd name="connsiteX930" fmla="*/ 1095280 w 1182528"/>
                <a:gd name="connsiteY930" fmla="*/ 299276 h 1101852"/>
                <a:gd name="connsiteX931" fmla="*/ 1101661 w 1182528"/>
                <a:gd name="connsiteY931" fmla="*/ 298418 h 1101852"/>
                <a:gd name="connsiteX932" fmla="*/ 1105376 w 1182528"/>
                <a:gd name="connsiteY932" fmla="*/ 302800 h 1101852"/>
                <a:gd name="connsiteX933" fmla="*/ 1106329 w 1182528"/>
                <a:gd name="connsiteY933" fmla="*/ 297847 h 1101852"/>
                <a:gd name="connsiteX934" fmla="*/ 1106519 w 1182528"/>
                <a:gd name="connsiteY934" fmla="*/ 299371 h 1101852"/>
                <a:gd name="connsiteX935" fmla="*/ 1111282 w 1182528"/>
                <a:gd name="connsiteY935" fmla="*/ 298799 h 1101852"/>
                <a:gd name="connsiteX936" fmla="*/ 1118997 w 1182528"/>
                <a:gd name="connsiteY936" fmla="*/ 296228 h 1101852"/>
                <a:gd name="connsiteX937" fmla="*/ 1121093 w 1182528"/>
                <a:gd name="connsiteY937" fmla="*/ 287941 h 1101852"/>
                <a:gd name="connsiteX938" fmla="*/ 1119950 w 1182528"/>
                <a:gd name="connsiteY938" fmla="*/ 278416 h 1101852"/>
                <a:gd name="connsiteX939" fmla="*/ 1122426 w 1182528"/>
                <a:gd name="connsiteY939" fmla="*/ 273272 h 1101852"/>
                <a:gd name="connsiteX940" fmla="*/ 1121474 w 1182528"/>
                <a:gd name="connsiteY940" fmla="*/ 265462 h 1101852"/>
                <a:gd name="connsiteX941" fmla="*/ 1125760 w 1182528"/>
                <a:gd name="connsiteY941" fmla="*/ 261652 h 1101852"/>
                <a:gd name="connsiteX942" fmla="*/ 1123188 w 1182528"/>
                <a:gd name="connsiteY942" fmla="*/ 253937 h 1101852"/>
                <a:gd name="connsiteX943" fmla="*/ 1124426 w 1182528"/>
                <a:gd name="connsiteY943" fmla="*/ 250603 h 1101852"/>
                <a:gd name="connsiteX944" fmla="*/ 1139190 w 1182528"/>
                <a:gd name="connsiteY944" fmla="*/ 253556 h 1101852"/>
                <a:gd name="connsiteX945" fmla="*/ 1143572 w 1182528"/>
                <a:gd name="connsiteY945" fmla="*/ 249746 h 1101852"/>
                <a:gd name="connsiteX946" fmla="*/ 1148239 w 1182528"/>
                <a:gd name="connsiteY946" fmla="*/ 249174 h 1101852"/>
                <a:gd name="connsiteX947" fmla="*/ 1151192 w 1182528"/>
                <a:gd name="connsiteY947" fmla="*/ 247174 h 1101852"/>
                <a:gd name="connsiteX948" fmla="*/ 1158716 w 1182528"/>
                <a:gd name="connsiteY948" fmla="*/ 230219 h 1101852"/>
                <a:gd name="connsiteX949" fmla="*/ 1159288 w 1182528"/>
                <a:gd name="connsiteY949" fmla="*/ 222123 h 1101852"/>
                <a:gd name="connsiteX950" fmla="*/ 1162050 w 1182528"/>
                <a:gd name="connsiteY950" fmla="*/ 218599 h 1101852"/>
                <a:gd name="connsiteX951" fmla="*/ 1168813 w 1182528"/>
                <a:gd name="connsiteY951" fmla="*/ 196882 h 1101852"/>
                <a:gd name="connsiteX952" fmla="*/ 1171956 w 1182528"/>
                <a:gd name="connsiteY952" fmla="*/ 183642 h 1101852"/>
                <a:gd name="connsiteX953" fmla="*/ 1182243 w 1182528"/>
                <a:gd name="connsiteY953" fmla="*/ 175927 h 1101852"/>
                <a:gd name="connsiteX954" fmla="*/ 1182529 w 1182528"/>
                <a:gd name="connsiteY954" fmla="*/ 153353 h 1101852"/>
                <a:gd name="connsiteX955" fmla="*/ 1180148 w 1182528"/>
                <a:gd name="connsiteY955" fmla="*/ 147257 h 1101852"/>
                <a:gd name="connsiteX956" fmla="*/ 1180148 w 1182528"/>
                <a:gd name="connsiteY956" fmla="*/ 147257 h 1101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</a:cxnLst>
              <a:rect l="l" t="t" r="r" b="b"/>
              <a:pathLst>
                <a:path w="1182528" h="1101852">
                  <a:moveTo>
                    <a:pt x="1180148" y="147257"/>
                  </a:moveTo>
                  <a:lnTo>
                    <a:pt x="1175290" y="146304"/>
                  </a:lnTo>
                  <a:lnTo>
                    <a:pt x="1165003" y="154019"/>
                  </a:lnTo>
                  <a:lnTo>
                    <a:pt x="1158526" y="153257"/>
                  </a:lnTo>
                  <a:lnTo>
                    <a:pt x="1154144" y="156972"/>
                  </a:lnTo>
                  <a:lnTo>
                    <a:pt x="1146239" y="158020"/>
                  </a:lnTo>
                  <a:lnTo>
                    <a:pt x="1134428" y="165926"/>
                  </a:lnTo>
                  <a:lnTo>
                    <a:pt x="1130903" y="163163"/>
                  </a:lnTo>
                  <a:lnTo>
                    <a:pt x="1122617" y="161068"/>
                  </a:lnTo>
                  <a:lnTo>
                    <a:pt x="1120045" y="153353"/>
                  </a:lnTo>
                  <a:lnTo>
                    <a:pt x="1126331" y="139732"/>
                  </a:lnTo>
                  <a:lnTo>
                    <a:pt x="1134809" y="130588"/>
                  </a:lnTo>
                  <a:lnTo>
                    <a:pt x="1135571" y="124111"/>
                  </a:lnTo>
                  <a:lnTo>
                    <a:pt x="1143381" y="110300"/>
                  </a:lnTo>
                  <a:lnTo>
                    <a:pt x="1141190" y="105728"/>
                  </a:lnTo>
                  <a:lnTo>
                    <a:pt x="1143953" y="102203"/>
                  </a:lnTo>
                  <a:lnTo>
                    <a:pt x="1143381" y="97441"/>
                  </a:lnTo>
                  <a:lnTo>
                    <a:pt x="1145953" y="92297"/>
                  </a:lnTo>
                  <a:lnTo>
                    <a:pt x="1146048" y="81058"/>
                  </a:lnTo>
                  <a:lnTo>
                    <a:pt x="1142905" y="81439"/>
                  </a:lnTo>
                  <a:lnTo>
                    <a:pt x="1135571" y="74390"/>
                  </a:lnTo>
                  <a:lnTo>
                    <a:pt x="1133189" y="68294"/>
                  </a:lnTo>
                  <a:lnTo>
                    <a:pt x="1124140" y="59817"/>
                  </a:lnTo>
                  <a:lnTo>
                    <a:pt x="1122140" y="56864"/>
                  </a:lnTo>
                  <a:lnTo>
                    <a:pt x="1119188" y="58865"/>
                  </a:lnTo>
                  <a:lnTo>
                    <a:pt x="1103662" y="62389"/>
                  </a:lnTo>
                  <a:lnTo>
                    <a:pt x="1101852" y="61055"/>
                  </a:lnTo>
                  <a:lnTo>
                    <a:pt x="1101661" y="59436"/>
                  </a:lnTo>
                  <a:lnTo>
                    <a:pt x="1102805" y="56102"/>
                  </a:lnTo>
                  <a:lnTo>
                    <a:pt x="1105757" y="54102"/>
                  </a:lnTo>
                  <a:lnTo>
                    <a:pt x="1105567" y="52578"/>
                  </a:lnTo>
                  <a:lnTo>
                    <a:pt x="1100042" y="46863"/>
                  </a:lnTo>
                  <a:lnTo>
                    <a:pt x="1078516" y="41529"/>
                  </a:lnTo>
                  <a:lnTo>
                    <a:pt x="1078706" y="30290"/>
                  </a:lnTo>
                  <a:lnTo>
                    <a:pt x="1083564" y="18479"/>
                  </a:lnTo>
                  <a:lnTo>
                    <a:pt x="1079659" y="12573"/>
                  </a:lnTo>
                  <a:lnTo>
                    <a:pt x="1072134" y="16764"/>
                  </a:lnTo>
                  <a:lnTo>
                    <a:pt x="1074896" y="26003"/>
                  </a:lnTo>
                  <a:lnTo>
                    <a:pt x="1073372" y="39053"/>
                  </a:lnTo>
                  <a:lnTo>
                    <a:pt x="1061942" y="37243"/>
                  </a:lnTo>
                  <a:lnTo>
                    <a:pt x="1061276" y="32576"/>
                  </a:lnTo>
                  <a:lnTo>
                    <a:pt x="1059561" y="31147"/>
                  </a:lnTo>
                  <a:lnTo>
                    <a:pt x="1054036" y="25432"/>
                  </a:lnTo>
                  <a:lnTo>
                    <a:pt x="1047464" y="24670"/>
                  </a:lnTo>
                  <a:lnTo>
                    <a:pt x="1032891" y="36195"/>
                  </a:lnTo>
                  <a:lnTo>
                    <a:pt x="1031557" y="37910"/>
                  </a:lnTo>
                  <a:lnTo>
                    <a:pt x="1024223" y="43625"/>
                  </a:lnTo>
                  <a:lnTo>
                    <a:pt x="1017746" y="42863"/>
                  </a:lnTo>
                  <a:lnTo>
                    <a:pt x="1009269" y="39148"/>
                  </a:lnTo>
                  <a:lnTo>
                    <a:pt x="1004126" y="36576"/>
                  </a:lnTo>
                  <a:lnTo>
                    <a:pt x="998982" y="34100"/>
                  </a:lnTo>
                  <a:lnTo>
                    <a:pt x="997363" y="21431"/>
                  </a:lnTo>
                  <a:lnTo>
                    <a:pt x="992410" y="20479"/>
                  </a:lnTo>
                  <a:lnTo>
                    <a:pt x="985076" y="13335"/>
                  </a:lnTo>
                  <a:lnTo>
                    <a:pt x="974217" y="16383"/>
                  </a:lnTo>
                  <a:lnTo>
                    <a:pt x="972884" y="18098"/>
                  </a:lnTo>
                  <a:lnTo>
                    <a:pt x="966597" y="18955"/>
                  </a:lnTo>
                  <a:lnTo>
                    <a:pt x="960406" y="8477"/>
                  </a:lnTo>
                  <a:lnTo>
                    <a:pt x="951357" y="0"/>
                  </a:lnTo>
                  <a:lnTo>
                    <a:pt x="943451" y="1048"/>
                  </a:lnTo>
                  <a:lnTo>
                    <a:pt x="939356" y="6382"/>
                  </a:lnTo>
                  <a:lnTo>
                    <a:pt x="934402" y="18193"/>
                  </a:lnTo>
                  <a:lnTo>
                    <a:pt x="924497" y="16288"/>
                  </a:lnTo>
                  <a:lnTo>
                    <a:pt x="925163" y="21050"/>
                  </a:lnTo>
                  <a:lnTo>
                    <a:pt x="928497" y="22193"/>
                  </a:lnTo>
                  <a:lnTo>
                    <a:pt x="932498" y="28099"/>
                  </a:lnTo>
                  <a:lnTo>
                    <a:pt x="931735" y="34576"/>
                  </a:lnTo>
                  <a:lnTo>
                    <a:pt x="927735" y="41529"/>
                  </a:lnTo>
                  <a:lnTo>
                    <a:pt x="929735" y="44482"/>
                  </a:lnTo>
                  <a:lnTo>
                    <a:pt x="919448" y="52197"/>
                  </a:lnTo>
                  <a:lnTo>
                    <a:pt x="916114" y="51054"/>
                  </a:lnTo>
                  <a:lnTo>
                    <a:pt x="915352" y="57531"/>
                  </a:lnTo>
                  <a:lnTo>
                    <a:pt x="920877" y="63246"/>
                  </a:lnTo>
                  <a:lnTo>
                    <a:pt x="914019" y="72104"/>
                  </a:lnTo>
                  <a:lnTo>
                    <a:pt x="913067" y="77057"/>
                  </a:lnTo>
                  <a:lnTo>
                    <a:pt x="916781" y="81439"/>
                  </a:lnTo>
                  <a:lnTo>
                    <a:pt x="924877" y="82010"/>
                  </a:lnTo>
                  <a:lnTo>
                    <a:pt x="932212" y="89059"/>
                  </a:lnTo>
                  <a:lnTo>
                    <a:pt x="935355" y="88678"/>
                  </a:lnTo>
                  <a:lnTo>
                    <a:pt x="940118" y="88106"/>
                  </a:lnTo>
                  <a:lnTo>
                    <a:pt x="948976" y="82106"/>
                  </a:lnTo>
                  <a:lnTo>
                    <a:pt x="956881" y="81153"/>
                  </a:lnTo>
                  <a:lnTo>
                    <a:pt x="960596" y="85439"/>
                  </a:lnTo>
                  <a:lnTo>
                    <a:pt x="959453" y="88773"/>
                  </a:lnTo>
                  <a:lnTo>
                    <a:pt x="960215" y="95155"/>
                  </a:lnTo>
                  <a:lnTo>
                    <a:pt x="955548" y="95726"/>
                  </a:lnTo>
                  <a:lnTo>
                    <a:pt x="952119" y="94583"/>
                  </a:lnTo>
                  <a:lnTo>
                    <a:pt x="942118" y="103822"/>
                  </a:lnTo>
                  <a:lnTo>
                    <a:pt x="954119" y="110300"/>
                  </a:lnTo>
                  <a:lnTo>
                    <a:pt x="954405" y="111919"/>
                  </a:lnTo>
                  <a:lnTo>
                    <a:pt x="950023" y="115634"/>
                  </a:lnTo>
                  <a:lnTo>
                    <a:pt x="958882" y="122587"/>
                  </a:lnTo>
                  <a:lnTo>
                    <a:pt x="971740" y="122491"/>
                  </a:lnTo>
                  <a:lnTo>
                    <a:pt x="975551" y="126873"/>
                  </a:lnTo>
                  <a:lnTo>
                    <a:pt x="978884" y="128016"/>
                  </a:lnTo>
                  <a:lnTo>
                    <a:pt x="984218" y="132207"/>
                  </a:lnTo>
                  <a:lnTo>
                    <a:pt x="988695" y="130016"/>
                  </a:lnTo>
                  <a:lnTo>
                    <a:pt x="989362" y="134684"/>
                  </a:lnTo>
                  <a:lnTo>
                    <a:pt x="992696" y="135922"/>
                  </a:lnTo>
                  <a:lnTo>
                    <a:pt x="1001744" y="131540"/>
                  </a:lnTo>
                  <a:lnTo>
                    <a:pt x="1007269" y="137255"/>
                  </a:lnTo>
                  <a:lnTo>
                    <a:pt x="1011079" y="141542"/>
                  </a:lnTo>
                  <a:lnTo>
                    <a:pt x="1009936" y="144971"/>
                  </a:lnTo>
                  <a:lnTo>
                    <a:pt x="1010888" y="152781"/>
                  </a:lnTo>
                  <a:lnTo>
                    <a:pt x="1003173" y="155448"/>
                  </a:lnTo>
                  <a:lnTo>
                    <a:pt x="1006602" y="156591"/>
                  </a:lnTo>
                  <a:lnTo>
                    <a:pt x="1005364" y="159925"/>
                  </a:lnTo>
                  <a:lnTo>
                    <a:pt x="1002030" y="158782"/>
                  </a:lnTo>
                  <a:lnTo>
                    <a:pt x="1002221" y="160306"/>
                  </a:lnTo>
                  <a:lnTo>
                    <a:pt x="1000697" y="160496"/>
                  </a:lnTo>
                  <a:lnTo>
                    <a:pt x="1001839" y="170021"/>
                  </a:lnTo>
                  <a:lnTo>
                    <a:pt x="1001459" y="179642"/>
                  </a:lnTo>
                  <a:lnTo>
                    <a:pt x="1000125" y="181451"/>
                  </a:lnTo>
                  <a:lnTo>
                    <a:pt x="992219" y="182499"/>
                  </a:lnTo>
                  <a:lnTo>
                    <a:pt x="980599" y="179165"/>
                  </a:lnTo>
                  <a:lnTo>
                    <a:pt x="979170" y="180880"/>
                  </a:lnTo>
                  <a:lnTo>
                    <a:pt x="975646" y="178118"/>
                  </a:lnTo>
                  <a:lnTo>
                    <a:pt x="976408" y="184499"/>
                  </a:lnTo>
                  <a:lnTo>
                    <a:pt x="973646" y="188024"/>
                  </a:lnTo>
                  <a:lnTo>
                    <a:pt x="959644" y="191453"/>
                  </a:lnTo>
                  <a:lnTo>
                    <a:pt x="956310" y="190214"/>
                  </a:lnTo>
                  <a:lnTo>
                    <a:pt x="944309" y="196596"/>
                  </a:lnTo>
                  <a:lnTo>
                    <a:pt x="936022" y="194405"/>
                  </a:lnTo>
                  <a:lnTo>
                    <a:pt x="930307" y="187166"/>
                  </a:lnTo>
                  <a:lnTo>
                    <a:pt x="920210" y="183642"/>
                  </a:lnTo>
                  <a:lnTo>
                    <a:pt x="908399" y="191548"/>
                  </a:lnTo>
                  <a:lnTo>
                    <a:pt x="903827" y="193739"/>
                  </a:lnTo>
                  <a:lnTo>
                    <a:pt x="895540" y="191548"/>
                  </a:lnTo>
                  <a:lnTo>
                    <a:pt x="896969" y="202597"/>
                  </a:lnTo>
                  <a:lnTo>
                    <a:pt x="888302" y="222980"/>
                  </a:lnTo>
                  <a:lnTo>
                    <a:pt x="884968" y="221742"/>
                  </a:lnTo>
                  <a:lnTo>
                    <a:pt x="873347" y="231267"/>
                  </a:lnTo>
                  <a:lnTo>
                    <a:pt x="870204" y="231648"/>
                  </a:lnTo>
                  <a:lnTo>
                    <a:pt x="865823" y="235458"/>
                  </a:lnTo>
                  <a:lnTo>
                    <a:pt x="846773" y="236315"/>
                  </a:lnTo>
                  <a:lnTo>
                    <a:pt x="826198" y="251746"/>
                  </a:lnTo>
                  <a:lnTo>
                    <a:pt x="821341" y="250793"/>
                  </a:lnTo>
                  <a:lnTo>
                    <a:pt x="814006" y="256508"/>
                  </a:lnTo>
                  <a:lnTo>
                    <a:pt x="807720" y="257270"/>
                  </a:lnTo>
                  <a:lnTo>
                    <a:pt x="803148" y="259461"/>
                  </a:lnTo>
                  <a:lnTo>
                    <a:pt x="796861" y="260318"/>
                  </a:lnTo>
                  <a:lnTo>
                    <a:pt x="790003" y="269177"/>
                  </a:lnTo>
                  <a:lnTo>
                    <a:pt x="788956" y="274130"/>
                  </a:lnTo>
                  <a:lnTo>
                    <a:pt x="784669" y="277844"/>
                  </a:lnTo>
                  <a:lnTo>
                    <a:pt x="778383" y="278702"/>
                  </a:lnTo>
                  <a:lnTo>
                    <a:pt x="774764" y="275939"/>
                  </a:lnTo>
                  <a:lnTo>
                    <a:pt x="768477" y="276701"/>
                  </a:lnTo>
                  <a:lnTo>
                    <a:pt x="762190" y="277559"/>
                  </a:lnTo>
                  <a:lnTo>
                    <a:pt x="758285" y="284417"/>
                  </a:lnTo>
                  <a:lnTo>
                    <a:pt x="747522" y="276225"/>
                  </a:lnTo>
                  <a:lnTo>
                    <a:pt x="737902" y="275844"/>
                  </a:lnTo>
                  <a:lnTo>
                    <a:pt x="737330" y="271082"/>
                  </a:lnTo>
                  <a:lnTo>
                    <a:pt x="728567" y="265748"/>
                  </a:lnTo>
                  <a:lnTo>
                    <a:pt x="724281" y="269558"/>
                  </a:lnTo>
                  <a:lnTo>
                    <a:pt x="715423" y="275463"/>
                  </a:lnTo>
                  <a:lnTo>
                    <a:pt x="705898" y="276701"/>
                  </a:lnTo>
                  <a:lnTo>
                    <a:pt x="702945" y="278606"/>
                  </a:lnTo>
                  <a:lnTo>
                    <a:pt x="703993" y="286512"/>
                  </a:lnTo>
                  <a:lnTo>
                    <a:pt x="699611" y="290322"/>
                  </a:lnTo>
                  <a:lnTo>
                    <a:pt x="696944" y="293846"/>
                  </a:lnTo>
                  <a:lnTo>
                    <a:pt x="692753" y="299180"/>
                  </a:lnTo>
                  <a:lnTo>
                    <a:pt x="678180" y="297847"/>
                  </a:lnTo>
                  <a:lnTo>
                    <a:pt x="669512" y="292513"/>
                  </a:lnTo>
                  <a:lnTo>
                    <a:pt x="665131" y="296323"/>
                  </a:lnTo>
                  <a:lnTo>
                    <a:pt x="664178" y="301276"/>
                  </a:lnTo>
                  <a:lnTo>
                    <a:pt x="665988" y="302609"/>
                  </a:lnTo>
                  <a:lnTo>
                    <a:pt x="661988" y="309563"/>
                  </a:lnTo>
                  <a:lnTo>
                    <a:pt x="661226" y="316039"/>
                  </a:lnTo>
                  <a:lnTo>
                    <a:pt x="657130" y="321374"/>
                  </a:lnTo>
                  <a:lnTo>
                    <a:pt x="659702" y="329089"/>
                  </a:lnTo>
                  <a:lnTo>
                    <a:pt x="667417" y="339281"/>
                  </a:lnTo>
                  <a:lnTo>
                    <a:pt x="663893" y="349377"/>
                  </a:lnTo>
                  <a:lnTo>
                    <a:pt x="655034" y="355378"/>
                  </a:lnTo>
                  <a:lnTo>
                    <a:pt x="652081" y="357283"/>
                  </a:lnTo>
                  <a:lnTo>
                    <a:pt x="644747" y="350234"/>
                  </a:lnTo>
                  <a:lnTo>
                    <a:pt x="639985" y="350806"/>
                  </a:lnTo>
                  <a:lnTo>
                    <a:pt x="639413" y="358902"/>
                  </a:lnTo>
                  <a:lnTo>
                    <a:pt x="635889" y="368999"/>
                  </a:lnTo>
                  <a:lnTo>
                    <a:pt x="628174" y="371570"/>
                  </a:lnTo>
                  <a:lnTo>
                    <a:pt x="621316" y="367665"/>
                  </a:lnTo>
                  <a:lnTo>
                    <a:pt x="618554" y="371189"/>
                  </a:lnTo>
                  <a:lnTo>
                    <a:pt x="615410" y="371570"/>
                  </a:lnTo>
                  <a:lnTo>
                    <a:pt x="606266" y="363188"/>
                  </a:lnTo>
                  <a:lnTo>
                    <a:pt x="602742" y="360426"/>
                  </a:lnTo>
                  <a:lnTo>
                    <a:pt x="596265" y="359569"/>
                  </a:lnTo>
                  <a:lnTo>
                    <a:pt x="591693" y="361760"/>
                  </a:lnTo>
                  <a:lnTo>
                    <a:pt x="589502" y="357283"/>
                  </a:lnTo>
                  <a:lnTo>
                    <a:pt x="586740" y="360807"/>
                  </a:lnTo>
                  <a:lnTo>
                    <a:pt x="583025" y="356521"/>
                  </a:lnTo>
                  <a:lnTo>
                    <a:pt x="578644" y="360236"/>
                  </a:lnTo>
                  <a:lnTo>
                    <a:pt x="573500" y="357664"/>
                  </a:lnTo>
                  <a:lnTo>
                    <a:pt x="568833" y="358331"/>
                  </a:lnTo>
                  <a:lnTo>
                    <a:pt x="564642" y="363664"/>
                  </a:lnTo>
                  <a:lnTo>
                    <a:pt x="561689" y="365570"/>
                  </a:lnTo>
                  <a:lnTo>
                    <a:pt x="555403" y="366427"/>
                  </a:lnTo>
                  <a:lnTo>
                    <a:pt x="547878" y="357759"/>
                  </a:lnTo>
                  <a:lnTo>
                    <a:pt x="539591" y="368427"/>
                  </a:lnTo>
                  <a:lnTo>
                    <a:pt x="534924" y="368999"/>
                  </a:lnTo>
                  <a:lnTo>
                    <a:pt x="537305" y="375190"/>
                  </a:lnTo>
                  <a:lnTo>
                    <a:pt x="534543" y="378714"/>
                  </a:lnTo>
                  <a:lnTo>
                    <a:pt x="522827" y="375380"/>
                  </a:lnTo>
                  <a:lnTo>
                    <a:pt x="517112" y="368046"/>
                  </a:lnTo>
                  <a:lnTo>
                    <a:pt x="504825" y="360045"/>
                  </a:lnTo>
                  <a:lnTo>
                    <a:pt x="490633" y="361855"/>
                  </a:lnTo>
                  <a:lnTo>
                    <a:pt x="484727" y="365760"/>
                  </a:lnTo>
                  <a:lnTo>
                    <a:pt x="477298" y="369951"/>
                  </a:lnTo>
                  <a:lnTo>
                    <a:pt x="478250" y="377857"/>
                  </a:lnTo>
                  <a:lnTo>
                    <a:pt x="467201" y="379286"/>
                  </a:lnTo>
                  <a:lnTo>
                    <a:pt x="461296" y="383191"/>
                  </a:lnTo>
                  <a:lnTo>
                    <a:pt x="451199" y="379667"/>
                  </a:lnTo>
                  <a:lnTo>
                    <a:pt x="441389" y="377762"/>
                  </a:lnTo>
                  <a:lnTo>
                    <a:pt x="438436" y="379762"/>
                  </a:lnTo>
                  <a:lnTo>
                    <a:pt x="433292" y="377190"/>
                  </a:lnTo>
                  <a:lnTo>
                    <a:pt x="428530" y="377762"/>
                  </a:lnTo>
                  <a:lnTo>
                    <a:pt x="422434" y="380143"/>
                  </a:lnTo>
                  <a:lnTo>
                    <a:pt x="416909" y="387287"/>
                  </a:lnTo>
                  <a:lnTo>
                    <a:pt x="408813" y="386715"/>
                  </a:lnTo>
                  <a:lnTo>
                    <a:pt x="409861" y="394621"/>
                  </a:lnTo>
                  <a:lnTo>
                    <a:pt x="417576" y="404813"/>
                  </a:lnTo>
                  <a:lnTo>
                    <a:pt x="419767" y="409385"/>
                  </a:lnTo>
                  <a:lnTo>
                    <a:pt x="420910" y="418814"/>
                  </a:lnTo>
                  <a:lnTo>
                    <a:pt x="418147" y="422434"/>
                  </a:lnTo>
                  <a:lnTo>
                    <a:pt x="419005" y="428720"/>
                  </a:lnTo>
                  <a:lnTo>
                    <a:pt x="417576" y="430435"/>
                  </a:lnTo>
                  <a:lnTo>
                    <a:pt x="412718" y="429482"/>
                  </a:lnTo>
                  <a:lnTo>
                    <a:pt x="398716" y="445675"/>
                  </a:lnTo>
                  <a:lnTo>
                    <a:pt x="401288" y="453390"/>
                  </a:lnTo>
                  <a:lnTo>
                    <a:pt x="407575" y="452628"/>
                  </a:lnTo>
                  <a:lnTo>
                    <a:pt x="407194" y="462248"/>
                  </a:lnTo>
                  <a:lnTo>
                    <a:pt x="402908" y="466058"/>
                  </a:lnTo>
                  <a:lnTo>
                    <a:pt x="391858" y="467487"/>
                  </a:lnTo>
                  <a:lnTo>
                    <a:pt x="387477" y="471202"/>
                  </a:lnTo>
                  <a:lnTo>
                    <a:pt x="386906" y="479298"/>
                  </a:lnTo>
                  <a:lnTo>
                    <a:pt x="373761" y="489013"/>
                  </a:lnTo>
                  <a:lnTo>
                    <a:pt x="374142" y="492157"/>
                  </a:lnTo>
                  <a:lnTo>
                    <a:pt x="369856" y="495872"/>
                  </a:lnTo>
                  <a:lnTo>
                    <a:pt x="364331" y="503015"/>
                  </a:lnTo>
                  <a:lnTo>
                    <a:pt x="350329" y="493586"/>
                  </a:lnTo>
                  <a:lnTo>
                    <a:pt x="342233" y="493014"/>
                  </a:lnTo>
                  <a:lnTo>
                    <a:pt x="338614" y="490252"/>
                  </a:lnTo>
                  <a:lnTo>
                    <a:pt x="340233" y="490061"/>
                  </a:lnTo>
                  <a:lnTo>
                    <a:pt x="338233" y="487109"/>
                  </a:lnTo>
                  <a:lnTo>
                    <a:pt x="331756" y="486347"/>
                  </a:lnTo>
                  <a:lnTo>
                    <a:pt x="329946" y="484918"/>
                  </a:lnTo>
                  <a:lnTo>
                    <a:pt x="330899" y="480060"/>
                  </a:lnTo>
                  <a:lnTo>
                    <a:pt x="324326" y="466439"/>
                  </a:lnTo>
                  <a:lnTo>
                    <a:pt x="316611" y="456152"/>
                  </a:lnTo>
                  <a:lnTo>
                    <a:pt x="316039" y="451485"/>
                  </a:lnTo>
                  <a:lnTo>
                    <a:pt x="311087" y="450437"/>
                  </a:lnTo>
                  <a:lnTo>
                    <a:pt x="309753" y="452247"/>
                  </a:lnTo>
                  <a:lnTo>
                    <a:pt x="305943" y="447961"/>
                  </a:lnTo>
                  <a:lnTo>
                    <a:pt x="300799" y="445389"/>
                  </a:lnTo>
                  <a:lnTo>
                    <a:pt x="303657" y="467487"/>
                  </a:lnTo>
                  <a:lnTo>
                    <a:pt x="305848" y="471964"/>
                  </a:lnTo>
                  <a:lnTo>
                    <a:pt x="301466" y="475774"/>
                  </a:lnTo>
                  <a:lnTo>
                    <a:pt x="300514" y="480727"/>
                  </a:lnTo>
                  <a:lnTo>
                    <a:pt x="297561" y="482632"/>
                  </a:lnTo>
                  <a:lnTo>
                    <a:pt x="294418" y="483108"/>
                  </a:lnTo>
                  <a:lnTo>
                    <a:pt x="293084" y="484823"/>
                  </a:lnTo>
                  <a:lnTo>
                    <a:pt x="277463" y="488442"/>
                  </a:lnTo>
                  <a:lnTo>
                    <a:pt x="279464" y="491395"/>
                  </a:lnTo>
                  <a:lnTo>
                    <a:pt x="276701" y="494919"/>
                  </a:lnTo>
                  <a:lnTo>
                    <a:pt x="268605" y="494348"/>
                  </a:lnTo>
                  <a:lnTo>
                    <a:pt x="268986" y="497491"/>
                  </a:lnTo>
                  <a:lnTo>
                    <a:pt x="266224" y="501110"/>
                  </a:lnTo>
                  <a:lnTo>
                    <a:pt x="267081" y="507397"/>
                  </a:lnTo>
                  <a:lnTo>
                    <a:pt x="266510" y="515493"/>
                  </a:lnTo>
                  <a:lnTo>
                    <a:pt x="268224" y="516827"/>
                  </a:lnTo>
                  <a:lnTo>
                    <a:pt x="267652" y="524923"/>
                  </a:lnTo>
                  <a:lnTo>
                    <a:pt x="258413" y="527780"/>
                  </a:lnTo>
                  <a:lnTo>
                    <a:pt x="250317" y="527209"/>
                  </a:lnTo>
                  <a:lnTo>
                    <a:pt x="246031" y="530924"/>
                  </a:lnTo>
                  <a:lnTo>
                    <a:pt x="241268" y="518732"/>
                  </a:lnTo>
                  <a:lnTo>
                    <a:pt x="240792" y="515588"/>
                  </a:lnTo>
                  <a:lnTo>
                    <a:pt x="237077" y="511207"/>
                  </a:lnTo>
                  <a:lnTo>
                    <a:pt x="225838" y="511016"/>
                  </a:lnTo>
                  <a:lnTo>
                    <a:pt x="220504" y="506921"/>
                  </a:lnTo>
                  <a:lnTo>
                    <a:pt x="214789" y="512445"/>
                  </a:lnTo>
                  <a:lnTo>
                    <a:pt x="215360" y="517208"/>
                  </a:lnTo>
                  <a:lnTo>
                    <a:pt x="210883" y="519398"/>
                  </a:lnTo>
                  <a:lnTo>
                    <a:pt x="206693" y="524732"/>
                  </a:lnTo>
                  <a:lnTo>
                    <a:pt x="205359" y="526447"/>
                  </a:lnTo>
                  <a:lnTo>
                    <a:pt x="206312" y="534353"/>
                  </a:lnTo>
                  <a:lnTo>
                    <a:pt x="197834" y="543497"/>
                  </a:lnTo>
                  <a:lnTo>
                    <a:pt x="198501" y="548259"/>
                  </a:lnTo>
                  <a:lnTo>
                    <a:pt x="200692" y="552736"/>
                  </a:lnTo>
                  <a:lnTo>
                    <a:pt x="201454" y="559022"/>
                  </a:lnTo>
                  <a:lnTo>
                    <a:pt x="197168" y="562832"/>
                  </a:lnTo>
                  <a:lnTo>
                    <a:pt x="196120" y="567785"/>
                  </a:lnTo>
                  <a:lnTo>
                    <a:pt x="188309" y="581597"/>
                  </a:lnTo>
                  <a:lnTo>
                    <a:pt x="187738" y="589693"/>
                  </a:lnTo>
                  <a:lnTo>
                    <a:pt x="177260" y="595789"/>
                  </a:lnTo>
                  <a:lnTo>
                    <a:pt x="178879" y="608457"/>
                  </a:lnTo>
                  <a:lnTo>
                    <a:pt x="177546" y="610267"/>
                  </a:lnTo>
                  <a:lnTo>
                    <a:pt x="172593" y="609219"/>
                  </a:lnTo>
                  <a:lnTo>
                    <a:pt x="164497" y="608648"/>
                  </a:lnTo>
                  <a:lnTo>
                    <a:pt x="149257" y="602552"/>
                  </a:lnTo>
                  <a:lnTo>
                    <a:pt x="143351" y="606552"/>
                  </a:lnTo>
                  <a:lnTo>
                    <a:pt x="138398" y="605600"/>
                  </a:lnTo>
                  <a:lnTo>
                    <a:pt x="140779" y="598837"/>
                  </a:lnTo>
                  <a:lnTo>
                    <a:pt x="137255" y="596075"/>
                  </a:lnTo>
                  <a:lnTo>
                    <a:pt x="134874" y="589979"/>
                  </a:lnTo>
                  <a:lnTo>
                    <a:pt x="126016" y="595979"/>
                  </a:lnTo>
                  <a:lnTo>
                    <a:pt x="114586" y="607028"/>
                  </a:lnTo>
                  <a:lnTo>
                    <a:pt x="106680" y="607981"/>
                  </a:lnTo>
                  <a:lnTo>
                    <a:pt x="102299" y="611791"/>
                  </a:lnTo>
                  <a:lnTo>
                    <a:pt x="82772" y="609505"/>
                  </a:lnTo>
                  <a:lnTo>
                    <a:pt x="79057" y="605123"/>
                  </a:lnTo>
                  <a:lnTo>
                    <a:pt x="74866" y="597599"/>
                  </a:lnTo>
                  <a:lnTo>
                    <a:pt x="70295" y="599789"/>
                  </a:lnTo>
                  <a:lnTo>
                    <a:pt x="65437" y="598837"/>
                  </a:lnTo>
                  <a:lnTo>
                    <a:pt x="65246" y="610076"/>
                  </a:lnTo>
                  <a:lnTo>
                    <a:pt x="59150" y="625316"/>
                  </a:lnTo>
                  <a:lnTo>
                    <a:pt x="56864" y="644843"/>
                  </a:lnTo>
                  <a:lnTo>
                    <a:pt x="54864" y="654749"/>
                  </a:lnTo>
                  <a:lnTo>
                    <a:pt x="57626" y="663988"/>
                  </a:lnTo>
                  <a:lnTo>
                    <a:pt x="54102" y="674084"/>
                  </a:lnTo>
                  <a:lnTo>
                    <a:pt x="40957" y="683800"/>
                  </a:lnTo>
                  <a:lnTo>
                    <a:pt x="36766" y="689134"/>
                  </a:lnTo>
                  <a:lnTo>
                    <a:pt x="33242" y="699135"/>
                  </a:lnTo>
                  <a:lnTo>
                    <a:pt x="30289" y="701135"/>
                  </a:lnTo>
                  <a:lnTo>
                    <a:pt x="16574" y="706088"/>
                  </a:lnTo>
                  <a:lnTo>
                    <a:pt x="5524" y="707517"/>
                  </a:lnTo>
                  <a:lnTo>
                    <a:pt x="952" y="709708"/>
                  </a:lnTo>
                  <a:lnTo>
                    <a:pt x="0" y="714661"/>
                  </a:lnTo>
                  <a:lnTo>
                    <a:pt x="4858" y="715613"/>
                  </a:lnTo>
                  <a:lnTo>
                    <a:pt x="5143" y="717137"/>
                  </a:lnTo>
                  <a:lnTo>
                    <a:pt x="16954" y="722090"/>
                  </a:lnTo>
                  <a:lnTo>
                    <a:pt x="20955" y="727996"/>
                  </a:lnTo>
                  <a:lnTo>
                    <a:pt x="23336" y="734092"/>
                  </a:lnTo>
                  <a:lnTo>
                    <a:pt x="34099" y="731139"/>
                  </a:lnTo>
                  <a:lnTo>
                    <a:pt x="36100" y="734092"/>
                  </a:lnTo>
                  <a:lnTo>
                    <a:pt x="39052" y="732092"/>
                  </a:lnTo>
                  <a:lnTo>
                    <a:pt x="37909" y="735425"/>
                  </a:lnTo>
                  <a:lnTo>
                    <a:pt x="39719" y="736854"/>
                  </a:lnTo>
                  <a:lnTo>
                    <a:pt x="48577" y="730853"/>
                  </a:lnTo>
                  <a:lnTo>
                    <a:pt x="56197" y="728282"/>
                  </a:lnTo>
                  <a:lnTo>
                    <a:pt x="58864" y="735997"/>
                  </a:lnTo>
                  <a:lnTo>
                    <a:pt x="72676" y="743903"/>
                  </a:lnTo>
                  <a:lnTo>
                    <a:pt x="73628" y="738950"/>
                  </a:lnTo>
                  <a:lnTo>
                    <a:pt x="88201" y="740283"/>
                  </a:lnTo>
                  <a:lnTo>
                    <a:pt x="87820" y="737140"/>
                  </a:lnTo>
                  <a:lnTo>
                    <a:pt x="97155" y="747141"/>
                  </a:lnTo>
                  <a:lnTo>
                    <a:pt x="103632" y="747903"/>
                  </a:lnTo>
                  <a:lnTo>
                    <a:pt x="106585" y="745998"/>
                  </a:lnTo>
                  <a:lnTo>
                    <a:pt x="108395" y="747332"/>
                  </a:lnTo>
                  <a:lnTo>
                    <a:pt x="116300" y="759143"/>
                  </a:lnTo>
                  <a:lnTo>
                    <a:pt x="116491" y="760762"/>
                  </a:lnTo>
                  <a:lnTo>
                    <a:pt x="110204" y="761524"/>
                  </a:lnTo>
                  <a:lnTo>
                    <a:pt x="108204" y="771430"/>
                  </a:lnTo>
                  <a:lnTo>
                    <a:pt x="103727" y="773621"/>
                  </a:lnTo>
                  <a:lnTo>
                    <a:pt x="104299" y="778288"/>
                  </a:lnTo>
                  <a:lnTo>
                    <a:pt x="104299" y="778288"/>
                  </a:lnTo>
                  <a:lnTo>
                    <a:pt x="107251" y="776288"/>
                  </a:lnTo>
                  <a:lnTo>
                    <a:pt x="111062" y="780669"/>
                  </a:lnTo>
                  <a:lnTo>
                    <a:pt x="115729" y="780098"/>
                  </a:lnTo>
                  <a:lnTo>
                    <a:pt x="117539" y="781431"/>
                  </a:lnTo>
                  <a:lnTo>
                    <a:pt x="116205" y="783241"/>
                  </a:lnTo>
                  <a:lnTo>
                    <a:pt x="121253" y="785813"/>
                  </a:lnTo>
                  <a:lnTo>
                    <a:pt x="122682" y="784003"/>
                  </a:lnTo>
                  <a:lnTo>
                    <a:pt x="125825" y="783622"/>
                  </a:lnTo>
                  <a:lnTo>
                    <a:pt x="123634" y="779050"/>
                  </a:lnTo>
                  <a:lnTo>
                    <a:pt x="125254" y="778859"/>
                  </a:lnTo>
                  <a:lnTo>
                    <a:pt x="131159" y="774859"/>
                  </a:lnTo>
                  <a:lnTo>
                    <a:pt x="136112" y="775907"/>
                  </a:lnTo>
                  <a:lnTo>
                    <a:pt x="144208" y="776478"/>
                  </a:lnTo>
                  <a:lnTo>
                    <a:pt x="146304" y="780955"/>
                  </a:lnTo>
                  <a:lnTo>
                    <a:pt x="147923" y="780764"/>
                  </a:lnTo>
                  <a:lnTo>
                    <a:pt x="149733" y="782193"/>
                  </a:lnTo>
                  <a:lnTo>
                    <a:pt x="154400" y="781526"/>
                  </a:lnTo>
                  <a:lnTo>
                    <a:pt x="157829" y="782765"/>
                  </a:lnTo>
                  <a:lnTo>
                    <a:pt x="167259" y="781526"/>
                  </a:lnTo>
                  <a:lnTo>
                    <a:pt x="167830" y="786289"/>
                  </a:lnTo>
                  <a:lnTo>
                    <a:pt x="170402" y="781145"/>
                  </a:lnTo>
                  <a:lnTo>
                    <a:pt x="175355" y="782098"/>
                  </a:lnTo>
                  <a:lnTo>
                    <a:pt x="179451" y="776764"/>
                  </a:lnTo>
                  <a:lnTo>
                    <a:pt x="185642" y="774383"/>
                  </a:lnTo>
                  <a:lnTo>
                    <a:pt x="185833" y="776002"/>
                  </a:lnTo>
                  <a:lnTo>
                    <a:pt x="183261" y="781050"/>
                  </a:lnTo>
                  <a:lnTo>
                    <a:pt x="193548" y="786194"/>
                  </a:lnTo>
                  <a:lnTo>
                    <a:pt x="196691" y="798576"/>
                  </a:lnTo>
                  <a:lnTo>
                    <a:pt x="203645" y="802576"/>
                  </a:lnTo>
                  <a:lnTo>
                    <a:pt x="200882" y="806101"/>
                  </a:lnTo>
                  <a:lnTo>
                    <a:pt x="203454" y="813816"/>
                  </a:lnTo>
                  <a:lnTo>
                    <a:pt x="202025" y="815531"/>
                  </a:lnTo>
                  <a:lnTo>
                    <a:pt x="202501" y="818769"/>
                  </a:lnTo>
                  <a:lnTo>
                    <a:pt x="197929" y="820865"/>
                  </a:lnTo>
                  <a:lnTo>
                    <a:pt x="194977" y="822865"/>
                  </a:lnTo>
                  <a:lnTo>
                    <a:pt x="194977" y="822865"/>
                  </a:lnTo>
                  <a:lnTo>
                    <a:pt x="192214" y="826484"/>
                  </a:lnTo>
                  <a:lnTo>
                    <a:pt x="192595" y="829628"/>
                  </a:lnTo>
                  <a:lnTo>
                    <a:pt x="194596" y="832580"/>
                  </a:lnTo>
                  <a:lnTo>
                    <a:pt x="193453" y="835914"/>
                  </a:lnTo>
                  <a:lnTo>
                    <a:pt x="196596" y="835533"/>
                  </a:lnTo>
                  <a:lnTo>
                    <a:pt x="195643" y="840486"/>
                  </a:lnTo>
                  <a:lnTo>
                    <a:pt x="200597" y="841439"/>
                  </a:lnTo>
                  <a:lnTo>
                    <a:pt x="199739" y="847916"/>
                  </a:lnTo>
                  <a:lnTo>
                    <a:pt x="198215" y="848106"/>
                  </a:lnTo>
                  <a:lnTo>
                    <a:pt x="193643" y="850297"/>
                  </a:lnTo>
                  <a:lnTo>
                    <a:pt x="194310" y="855059"/>
                  </a:lnTo>
                  <a:lnTo>
                    <a:pt x="195834" y="854869"/>
                  </a:lnTo>
                  <a:lnTo>
                    <a:pt x="193262" y="860012"/>
                  </a:lnTo>
                  <a:lnTo>
                    <a:pt x="190119" y="860393"/>
                  </a:lnTo>
                  <a:lnTo>
                    <a:pt x="191929" y="861727"/>
                  </a:lnTo>
                  <a:lnTo>
                    <a:pt x="189928" y="871633"/>
                  </a:lnTo>
                  <a:lnTo>
                    <a:pt x="186785" y="872014"/>
                  </a:lnTo>
                  <a:lnTo>
                    <a:pt x="186976" y="873633"/>
                  </a:lnTo>
                  <a:lnTo>
                    <a:pt x="190214" y="873252"/>
                  </a:lnTo>
                  <a:lnTo>
                    <a:pt x="200025" y="875157"/>
                  </a:lnTo>
                  <a:lnTo>
                    <a:pt x="197453" y="880301"/>
                  </a:lnTo>
                  <a:lnTo>
                    <a:pt x="196501" y="885253"/>
                  </a:lnTo>
                  <a:lnTo>
                    <a:pt x="199835" y="886397"/>
                  </a:lnTo>
                  <a:lnTo>
                    <a:pt x="201073" y="895922"/>
                  </a:lnTo>
                  <a:lnTo>
                    <a:pt x="202120" y="903732"/>
                  </a:lnTo>
                  <a:lnTo>
                    <a:pt x="199168" y="905732"/>
                  </a:lnTo>
                  <a:lnTo>
                    <a:pt x="194405" y="906399"/>
                  </a:lnTo>
                  <a:lnTo>
                    <a:pt x="191643" y="909923"/>
                  </a:lnTo>
                  <a:lnTo>
                    <a:pt x="193453" y="911257"/>
                  </a:lnTo>
                  <a:lnTo>
                    <a:pt x="192024" y="913067"/>
                  </a:lnTo>
                  <a:lnTo>
                    <a:pt x="196405" y="922115"/>
                  </a:lnTo>
                  <a:lnTo>
                    <a:pt x="199739" y="923353"/>
                  </a:lnTo>
                  <a:lnTo>
                    <a:pt x="205835" y="920972"/>
                  </a:lnTo>
                  <a:lnTo>
                    <a:pt x="207454" y="920687"/>
                  </a:lnTo>
                  <a:lnTo>
                    <a:pt x="207835" y="923925"/>
                  </a:lnTo>
                  <a:lnTo>
                    <a:pt x="214598" y="926211"/>
                  </a:lnTo>
                  <a:lnTo>
                    <a:pt x="213170" y="928021"/>
                  </a:lnTo>
                  <a:lnTo>
                    <a:pt x="210217" y="930021"/>
                  </a:lnTo>
                  <a:lnTo>
                    <a:pt x="212217" y="932974"/>
                  </a:lnTo>
                  <a:lnTo>
                    <a:pt x="210883" y="934688"/>
                  </a:lnTo>
                  <a:lnTo>
                    <a:pt x="209455" y="936498"/>
                  </a:lnTo>
                  <a:lnTo>
                    <a:pt x="210312" y="942880"/>
                  </a:lnTo>
                  <a:lnTo>
                    <a:pt x="203930" y="943642"/>
                  </a:lnTo>
                  <a:lnTo>
                    <a:pt x="204787" y="949928"/>
                  </a:lnTo>
                  <a:lnTo>
                    <a:pt x="213074" y="952119"/>
                  </a:lnTo>
                  <a:lnTo>
                    <a:pt x="216218" y="951738"/>
                  </a:lnTo>
                  <a:lnTo>
                    <a:pt x="216408" y="953262"/>
                  </a:lnTo>
                  <a:lnTo>
                    <a:pt x="212312" y="958596"/>
                  </a:lnTo>
                  <a:lnTo>
                    <a:pt x="215646" y="959834"/>
                  </a:lnTo>
                  <a:lnTo>
                    <a:pt x="217170" y="959549"/>
                  </a:lnTo>
                  <a:lnTo>
                    <a:pt x="224314" y="965073"/>
                  </a:lnTo>
                  <a:lnTo>
                    <a:pt x="221742" y="970217"/>
                  </a:lnTo>
                  <a:lnTo>
                    <a:pt x="221742" y="970217"/>
                  </a:lnTo>
                  <a:lnTo>
                    <a:pt x="227362" y="975932"/>
                  </a:lnTo>
                  <a:lnTo>
                    <a:pt x="228314" y="983837"/>
                  </a:lnTo>
                  <a:lnTo>
                    <a:pt x="230124" y="985171"/>
                  </a:lnTo>
                  <a:lnTo>
                    <a:pt x="229362" y="991743"/>
                  </a:lnTo>
                  <a:lnTo>
                    <a:pt x="226600" y="995267"/>
                  </a:lnTo>
                  <a:lnTo>
                    <a:pt x="236220" y="995648"/>
                  </a:lnTo>
                  <a:lnTo>
                    <a:pt x="233077" y="1008888"/>
                  </a:lnTo>
                  <a:lnTo>
                    <a:pt x="224790" y="1006697"/>
                  </a:lnTo>
                  <a:lnTo>
                    <a:pt x="220313" y="1008888"/>
                  </a:lnTo>
                  <a:lnTo>
                    <a:pt x="221837" y="1008698"/>
                  </a:lnTo>
                  <a:lnTo>
                    <a:pt x="220885" y="1013651"/>
                  </a:lnTo>
                  <a:lnTo>
                    <a:pt x="229362" y="1017365"/>
                  </a:lnTo>
                  <a:lnTo>
                    <a:pt x="229743" y="1020509"/>
                  </a:lnTo>
                  <a:lnTo>
                    <a:pt x="228219" y="1020699"/>
                  </a:lnTo>
                  <a:lnTo>
                    <a:pt x="233362" y="1023271"/>
                  </a:lnTo>
                  <a:lnTo>
                    <a:pt x="230410" y="1025271"/>
                  </a:lnTo>
                  <a:lnTo>
                    <a:pt x="232791" y="1031367"/>
                  </a:lnTo>
                  <a:lnTo>
                    <a:pt x="229648" y="1031748"/>
                  </a:lnTo>
                  <a:lnTo>
                    <a:pt x="220885" y="1026509"/>
                  </a:lnTo>
                  <a:lnTo>
                    <a:pt x="223837" y="1024509"/>
                  </a:lnTo>
                  <a:lnTo>
                    <a:pt x="220504" y="1023271"/>
                  </a:lnTo>
                  <a:lnTo>
                    <a:pt x="219170" y="1025081"/>
                  </a:lnTo>
                  <a:lnTo>
                    <a:pt x="217360" y="1023747"/>
                  </a:lnTo>
                  <a:lnTo>
                    <a:pt x="217551" y="1025271"/>
                  </a:lnTo>
                  <a:lnTo>
                    <a:pt x="209074" y="1021556"/>
                  </a:lnTo>
                  <a:lnTo>
                    <a:pt x="207931" y="1024890"/>
                  </a:lnTo>
                  <a:lnTo>
                    <a:pt x="207740" y="1023366"/>
                  </a:lnTo>
                  <a:lnTo>
                    <a:pt x="200025" y="1025938"/>
                  </a:lnTo>
                  <a:lnTo>
                    <a:pt x="198787" y="1029272"/>
                  </a:lnTo>
                  <a:lnTo>
                    <a:pt x="202216" y="1030415"/>
                  </a:lnTo>
                  <a:lnTo>
                    <a:pt x="200977" y="1033844"/>
                  </a:lnTo>
                  <a:lnTo>
                    <a:pt x="193072" y="1034796"/>
                  </a:lnTo>
                  <a:lnTo>
                    <a:pt x="196691" y="1037558"/>
                  </a:lnTo>
                  <a:lnTo>
                    <a:pt x="199835" y="1037177"/>
                  </a:lnTo>
                  <a:lnTo>
                    <a:pt x="205549" y="1044416"/>
                  </a:lnTo>
                  <a:lnTo>
                    <a:pt x="208121" y="1039368"/>
                  </a:lnTo>
                  <a:lnTo>
                    <a:pt x="213455" y="1043464"/>
                  </a:lnTo>
                  <a:lnTo>
                    <a:pt x="221170" y="1040892"/>
                  </a:lnTo>
                  <a:lnTo>
                    <a:pt x="226124" y="1041845"/>
                  </a:lnTo>
                  <a:lnTo>
                    <a:pt x="228505" y="1047941"/>
                  </a:lnTo>
                  <a:lnTo>
                    <a:pt x="228695" y="1049560"/>
                  </a:lnTo>
                  <a:lnTo>
                    <a:pt x="235553" y="1053465"/>
                  </a:lnTo>
                  <a:lnTo>
                    <a:pt x="231076" y="1055656"/>
                  </a:lnTo>
                  <a:lnTo>
                    <a:pt x="229648" y="1057466"/>
                  </a:lnTo>
                  <a:lnTo>
                    <a:pt x="237553" y="1056418"/>
                  </a:lnTo>
                  <a:lnTo>
                    <a:pt x="239363" y="1057847"/>
                  </a:lnTo>
                  <a:lnTo>
                    <a:pt x="240983" y="1070420"/>
                  </a:lnTo>
                  <a:lnTo>
                    <a:pt x="239744" y="1073753"/>
                  </a:lnTo>
                  <a:lnTo>
                    <a:pt x="243173" y="1074992"/>
                  </a:lnTo>
                  <a:lnTo>
                    <a:pt x="246126" y="1072991"/>
                  </a:lnTo>
                  <a:lnTo>
                    <a:pt x="259080" y="1074515"/>
                  </a:lnTo>
                  <a:lnTo>
                    <a:pt x="258699" y="1071372"/>
                  </a:lnTo>
                  <a:lnTo>
                    <a:pt x="260318" y="1071182"/>
                  </a:lnTo>
                  <a:lnTo>
                    <a:pt x="261461" y="1080611"/>
                  </a:lnTo>
                  <a:lnTo>
                    <a:pt x="259366" y="1088898"/>
                  </a:lnTo>
                  <a:lnTo>
                    <a:pt x="265843" y="1089660"/>
                  </a:lnTo>
                  <a:lnTo>
                    <a:pt x="268414" y="1084517"/>
                  </a:lnTo>
                  <a:lnTo>
                    <a:pt x="271558" y="1084136"/>
                  </a:lnTo>
                  <a:lnTo>
                    <a:pt x="272510" y="1079183"/>
                  </a:lnTo>
                  <a:lnTo>
                    <a:pt x="273749" y="1075849"/>
                  </a:lnTo>
                  <a:lnTo>
                    <a:pt x="276892" y="1075468"/>
                  </a:lnTo>
                  <a:lnTo>
                    <a:pt x="281178" y="1071753"/>
                  </a:lnTo>
                  <a:lnTo>
                    <a:pt x="283178" y="1074706"/>
                  </a:lnTo>
                  <a:lnTo>
                    <a:pt x="280035" y="1075087"/>
                  </a:lnTo>
                  <a:lnTo>
                    <a:pt x="278701" y="1076801"/>
                  </a:lnTo>
                  <a:lnTo>
                    <a:pt x="283750" y="1079373"/>
                  </a:lnTo>
                  <a:lnTo>
                    <a:pt x="282988" y="1085945"/>
                  </a:lnTo>
                  <a:lnTo>
                    <a:pt x="286226" y="1085469"/>
                  </a:lnTo>
                  <a:lnTo>
                    <a:pt x="287941" y="1086898"/>
                  </a:lnTo>
                  <a:lnTo>
                    <a:pt x="291084" y="1086517"/>
                  </a:lnTo>
                  <a:lnTo>
                    <a:pt x="291179" y="1099280"/>
                  </a:lnTo>
                  <a:lnTo>
                    <a:pt x="296323" y="1101852"/>
                  </a:lnTo>
                  <a:lnTo>
                    <a:pt x="302228" y="1097852"/>
                  </a:lnTo>
                  <a:lnTo>
                    <a:pt x="305372" y="1097471"/>
                  </a:lnTo>
                  <a:lnTo>
                    <a:pt x="308705" y="1098709"/>
                  </a:lnTo>
                  <a:lnTo>
                    <a:pt x="308515" y="1097090"/>
                  </a:lnTo>
                  <a:lnTo>
                    <a:pt x="314611" y="1094708"/>
                  </a:lnTo>
                  <a:lnTo>
                    <a:pt x="315373" y="1088231"/>
                  </a:lnTo>
                  <a:lnTo>
                    <a:pt x="317183" y="1089565"/>
                  </a:lnTo>
                  <a:lnTo>
                    <a:pt x="317945" y="1083088"/>
                  </a:lnTo>
                  <a:lnTo>
                    <a:pt x="315944" y="1080135"/>
                  </a:lnTo>
                  <a:lnTo>
                    <a:pt x="320326" y="1076325"/>
                  </a:lnTo>
                  <a:lnTo>
                    <a:pt x="323660" y="1077563"/>
                  </a:lnTo>
                  <a:lnTo>
                    <a:pt x="326422" y="1073944"/>
                  </a:lnTo>
                  <a:lnTo>
                    <a:pt x="329565" y="1073563"/>
                  </a:lnTo>
                  <a:lnTo>
                    <a:pt x="330327" y="1067086"/>
                  </a:lnTo>
                  <a:lnTo>
                    <a:pt x="340043" y="1067467"/>
                  </a:lnTo>
                  <a:lnTo>
                    <a:pt x="340043" y="1067467"/>
                  </a:lnTo>
                  <a:lnTo>
                    <a:pt x="340233" y="1068991"/>
                  </a:lnTo>
                  <a:lnTo>
                    <a:pt x="350234" y="1072515"/>
                  </a:lnTo>
                  <a:lnTo>
                    <a:pt x="354997" y="1071944"/>
                  </a:lnTo>
                  <a:lnTo>
                    <a:pt x="355949" y="1066991"/>
                  </a:lnTo>
                  <a:lnTo>
                    <a:pt x="354235" y="1065657"/>
                  </a:lnTo>
                  <a:lnTo>
                    <a:pt x="355378" y="1062228"/>
                  </a:lnTo>
                  <a:lnTo>
                    <a:pt x="357187" y="1063657"/>
                  </a:lnTo>
                  <a:lnTo>
                    <a:pt x="361855" y="1062990"/>
                  </a:lnTo>
                  <a:lnTo>
                    <a:pt x="360712" y="1053560"/>
                  </a:lnTo>
                  <a:lnTo>
                    <a:pt x="360521" y="1051941"/>
                  </a:lnTo>
                  <a:lnTo>
                    <a:pt x="360902" y="1042321"/>
                  </a:lnTo>
                  <a:lnTo>
                    <a:pt x="361283" y="1045464"/>
                  </a:lnTo>
                  <a:lnTo>
                    <a:pt x="362617" y="1043654"/>
                  </a:lnTo>
                  <a:lnTo>
                    <a:pt x="364808" y="1048226"/>
                  </a:lnTo>
                  <a:lnTo>
                    <a:pt x="369760" y="1049179"/>
                  </a:lnTo>
                  <a:lnTo>
                    <a:pt x="374714" y="1050131"/>
                  </a:lnTo>
                  <a:lnTo>
                    <a:pt x="375666" y="1045274"/>
                  </a:lnTo>
                  <a:lnTo>
                    <a:pt x="374904" y="1038892"/>
                  </a:lnTo>
                  <a:lnTo>
                    <a:pt x="374047" y="1032605"/>
                  </a:lnTo>
                  <a:lnTo>
                    <a:pt x="368903" y="1030034"/>
                  </a:lnTo>
                  <a:lnTo>
                    <a:pt x="368903" y="1030034"/>
                  </a:lnTo>
                  <a:lnTo>
                    <a:pt x="378428" y="1028891"/>
                  </a:lnTo>
                  <a:lnTo>
                    <a:pt x="379381" y="1023938"/>
                  </a:lnTo>
                  <a:lnTo>
                    <a:pt x="374809" y="1013270"/>
                  </a:lnTo>
                  <a:lnTo>
                    <a:pt x="377571" y="1009745"/>
                  </a:lnTo>
                  <a:lnTo>
                    <a:pt x="374999" y="1002030"/>
                  </a:lnTo>
                  <a:lnTo>
                    <a:pt x="378714" y="1006316"/>
                  </a:lnTo>
                  <a:lnTo>
                    <a:pt x="378524" y="1004792"/>
                  </a:lnTo>
                  <a:lnTo>
                    <a:pt x="386429" y="1003745"/>
                  </a:lnTo>
                  <a:lnTo>
                    <a:pt x="389382" y="1001840"/>
                  </a:lnTo>
                  <a:lnTo>
                    <a:pt x="389191" y="1000220"/>
                  </a:lnTo>
                  <a:lnTo>
                    <a:pt x="392335" y="999839"/>
                  </a:lnTo>
                  <a:lnTo>
                    <a:pt x="392335" y="999839"/>
                  </a:lnTo>
                  <a:lnTo>
                    <a:pt x="391954" y="996696"/>
                  </a:lnTo>
                  <a:lnTo>
                    <a:pt x="396621" y="996029"/>
                  </a:lnTo>
                  <a:lnTo>
                    <a:pt x="394906" y="994696"/>
                  </a:lnTo>
                  <a:lnTo>
                    <a:pt x="394049" y="988409"/>
                  </a:lnTo>
                  <a:lnTo>
                    <a:pt x="395668" y="988124"/>
                  </a:lnTo>
                  <a:lnTo>
                    <a:pt x="399002" y="989362"/>
                  </a:lnTo>
                  <a:lnTo>
                    <a:pt x="400145" y="986028"/>
                  </a:lnTo>
                  <a:lnTo>
                    <a:pt x="406527" y="985171"/>
                  </a:lnTo>
                  <a:lnTo>
                    <a:pt x="408813" y="978503"/>
                  </a:lnTo>
                  <a:lnTo>
                    <a:pt x="416528" y="975932"/>
                  </a:lnTo>
                  <a:lnTo>
                    <a:pt x="419672" y="975455"/>
                  </a:lnTo>
                  <a:lnTo>
                    <a:pt x="419481" y="973931"/>
                  </a:lnTo>
                  <a:lnTo>
                    <a:pt x="422434" y="971931"/>
                  </a:lnTo>
                  <a:lnTo>
                    <a:pt x="422434" y="971931"/>
                  </a:lnTo>
                  <a:lnTo>
                    <a:pt x="430149" y="982123"/>
                  </a:lnTo>
                  <a:lnTo>
                    <a:pt x="433578" y="983361"/>
                  </a:lnTo>
                  <a:lnTo>
                    <a:pt x="436531" y="981361"/>
                  </a:lnTo>
                  <a:lnTo>
                    <a:pt x="444341" y="980313"/>
                  </a:lnTo>
                  <a:lnTo>
                    <a:pt x="451485" y="973074"/>
                  </a:lnTo>
                  <a:lnTo>
                    <a:pt x="456629" y="975551"/>
                  </a:lnTo>
                  <a:lnTo>
                    <a:pt x="456152" y="972407"/>
                  </a:lnTo>
                  <a:lnTo>
                    <a:pt x="469583" y="964311"/>
                  </a:lnTo>
                  <a:lnTo>
                    <a:pt x="465391" y="956786"/>
                  </a:lnTo>
                  <a:lnTo>
                    <a:pt x="473774" y="958977"/>
                  </a:lnTo>
                  <a:lnTo>
                    <a:pt x="476726" y="956977"/>
                  </a:lnTo>
                  <a:lnTo>
                    <a:pt x="480441" y="948500"/>
                  </a:lnTo>
                  <a:lnTo>
                    <a:pt x="478631" y="947166"/>
                  </a:lnTo>
                  <a:lnTo>
                    <a:pt x="479965" y="945356"/>
                  </a:lnTo>
                  <a:lnTo>
                    <a:pt x="480251" y="946880"/>
                  </a:lnTo>
                  <a:lnTo>
                    <a:pt x="484918" y="946309"/>
                  </a:lnTo>
                  <a:lnTo>
                    <a:pt x="489109" y="940975"/>
                  </a:lnTo>
                  <a:lnTo>
                    <a:pt x="501491" y="924973"/>
                  </a:lnTo>
                  <a:lnTo>
                    <a:pt x="503491" y="927926"/>
                  </a:lnTo>
                  <a:lnTo>
                    <a:pt x="502063" y="929735"/>
                  </a:lnTo>
                  <a:lnTo>
                    <a:pt x="502063" y="942499"/>
                  </a:lnTo>
                  <a:lnTo>
                    <a:pt x="511397" y="939737"/>
                  </a:lnTo>
                  <a:lnTo>
                    <a:pt x="514731" y="940880"/>
                  </a:lnTo>
                  <a:lnTo>
                    <a:pt x="520065" y="945071"/>
                  </a:lnTo>
                  <a:lnTo>
                    <a:pt x="523208" y="944690"/>
                  </a:lnTo>
                  <a:lnTo>
                    <a:pt x="533876" y="940118"/>
                  </a:lnTo>
                  <a:lnTo>
                    <a:pt x="551593" y="941070"/>
                  </a:lnTo>
                  <a:lnTo>
                    <a:pt x="556736" y="943547"/>
                  </a:lnTo>
                  <a:lnTo>
                    <a:pt x="559118" y="936879"/>
                  </a:lnTo>
                  <a:lnTo>
                    <a:pt x="559879" y="930307"/>
                  </a:lnTo>
                  <a:lnTo>
                    <a:pt x="561880" y="933355"/>
                  </a:lnTo>
                  <a:lnTo>
                    <a:pt x="565595" y="924782"/>
                  </a:lnTo>
                  <a:lnTo>
                    <a:pt x="567595" y="927735"/>
                  </a:lnTo>
                  <a:lnTo>
                    <a:pt x="566833" y="934307"/>
                  </a:lnTo>
                  <a:lnTo>
                    <a:pt x="569976" y="933926"/>
                  </a:lnTo>
                  <a:lnTo>
                    <a:pt x="572548" y="928783"/>
                  </a:lnTo>
                  <a:lnTo>
                    <a:pt x="575691" y="928307"/>
                  </a:lnTo>
                  <a:lnTo>
                    <a:pt x="583978" y="917639"/>
                  </a:lnTo>
                  <a:lnTo>
                    <a:pt x="589407" y="910590"/>
                  </a:lnTo>
                  <a:lnTo>
                    <a:pt x="591788" y="903827"/>
                  </a:lnTo>
                  <a:lnTo>
                    <a:pt x="594931" y="903446"/>
                  </a:lnTo>
                  <a:lnTo>
                    <a:pt x="600837" y="899446"/>
                  </a:lnTo>
                  <a:lnTo>
                    <a:pt x="603980" y="899065"/>
                  </a:lnTo>
                  <a:lnTo>
                    <a:pt x="607981" y="904970"/>
                  </a:lnTo>
                  <a:lnTo>
                    <a:pt x="609124" y="901637"/>
                  </a:lnTo>
                  <a:lnTo>
                    <a:pt x="610933" y="902970"/>
                  </a:lnTo>
                  <a:lnTo>
                    <a:pt x="617506" y="916591"/>
                  </a:lnTo>
                  <a:lnTo>
                    <a:pt x="616744" y="923163"/>
                  </a:lnTo>
                  <a:lnTo>
                    <a:pt x="618649" y="926116"/>
                  </a:lnTo>
                  <a:lnTo>
                    <a:pt x="618649" y="926116"/>
                  </a:lnTo>
                  <a:lnTo>
                    <a:pt x="635794" y="922306"/>
                  </a:lnTo>
                  <a:lnTo>
                    <a:pt x="636175" y="912590"/>
                  </a:lnTo>
                  <a:lnTo>
                    <a:pt x="639127" y="910590"/>
                  </a:lnTo>
                  <a:lnTo>
                    <a:pt x="636746" y="904494"/>
                  </a:lnTo>
                  <a:lnTo>
                    <a:pt x="642461" y="898970"/>
                  </a:lnTo>
                  <a:lnTo>
                    <a:pt x="646462" y="892112"/>
                  </a:lnTo>
                  <a:lnTo>
                    <a:pt x="652748" y="891254"/>
                  </a:lnTo>
                  <a:lnTo>
                    <a:pt x="668274" y="887635"/>
                  </a:lnTo>
                  <a:lnTo>
                    <a:pt x="671513" y="887254"/>
                  </a:lnTo>
                  <a:lnTo>
                    <a:pt x="670274" y="890588"/>
                  </a:lnTo>
                  <a:lnTo>
                    <a:pt x="679323" y="886301"/>
                  </a:lnTo>
                  <a:lnTo>
                    <a:pt x="680561" y="882872"/>
                  </a:lnTo>
                  <a:lnTo>
                    <a:pt x="685228" y="882301"/>
                  </a:lnTo>
                  <a:lnTo>
                    <a:pt x="689801" y="880110"/>
                  </a:lnTo>
                  <a:lnTo>
                    <a:pt x="690563" y="873633"/>
                  </a:lnTo>
                  <a:lnTo>
                    <a:pt x="693706" y="873252"/>
                  </a:lnTo>
                  <a:lnTo>
                    <a:pt x="693515" y="871633"/>
                  </a:lnTo>
                  <a:lnTo>
                    <a:pt x="696849" y="872776"/>
                  </a:lnTo>
                  <a:lnTo>
                    <a:pt x="699611" y="869251"/>
                  </a:lnTo>
                  <a:lnTo>
                    <a:pt x="700850" y="865918"/>
                  </a:lnTo>
                  <a:lnTo>
                    <a:pt x="699230" y="853250"/>
                  </a:lnTo>
                  <a:lnTo>
                    <a:pt x="696087" y="853631"/>
                  </a:lnTo>
                  <a:lnTo>
                    <a:pt x="697611" y="853440"/>
                  </a:lnTo>
                  <a:lnTo>
                    <a:pt x="697421" y="851916"/>
                  </a:lnTo>
                  <a:lnTo>
                    <a:pt x="703993" y="852678"/>
                  </a:lnTo>
                  <a:lnTo>
                    <a:pt x="704183" y="854202"/>
                  </a:lnTo>
                  <a:lnTo>
                    <a:pt x="710470" y="853440"/>
                  </a:lnTo>
                  <a:lnTo>
                    <a:pt x="710851" y="856583"/>
                  </a:lnTo>
                  <a:lnTo>
                    <a:pt x="723710" y="856583"/>
                  </a:lnTo>
                  <a:lnTo>
                    <a:pt x="726853" y="856202"/>
                  </a:lnTo>
                  <a:lnTo>
                    <a:pt x="726662" y="854583"/>
                  </a:lnTo>
                  <a:lnTo>
                    <a:pt x="724662" y="851630"/>
                  </a:lnTo>
                  <a:lnTo>
                    <a:pt x="726281" y="851440"/>
                  </a:lnTo>
                  <a:lnTo>
                    <a:pt x="725996" y="849821"/>
                  </a:lnTo>
                  <a:lnTo>
                    <a:pt x="724281" y="848487"/>
                  </a:lnTo>
                  <a:lnTo>
                    <a:pt x="726567" y="841724"/>
                  </a:lnTo>
                  <a:lnTo>
                    <a:pt x="722662" y="835819"/>
                  </a:lnTo>
                  <a:lnTo>
                    <a:pt x="719519" y="836295"/>
                  </a:lnTo>
                  <a:lnTo>
                    <a:pt x="717709" y="822008"/>
                  </a:lnTo>
                  <a:lnTo>
                    <a:pt x="725424" y="819436"/>
                  </a:lnTo>
                  <a:lnTo>
                    <a:pt x="723614" y="818102"/>
                  </a:lnTo>
                  <a:lnTo>
                    <a:pt x="728377" y="817531"/>
                  </a:lnTo>
                  <a:lnTo>
                    <a:pt x="730853" y="812387"/>
                  </a:lnTo>
                  <a:lnTo>
                    <a:pt x="733997" y="811911"/>
                  </a:lnTo>
                  <a:lnTo>
                    <a:pt x="736759" y="808387"/>
                  </a:lnTo>
                  <a:lnTo>
                    <a:pt x="744474" y="805815"/>
                  </a:lnTo>
                  <a:lnTo>
                    <a:pt x="750189" y="813054"/>
                  </a:lnTo>
                  <a:lnTo>
                    <a:pt x="753618" y="814292"/>
                  </a:lnTo>
                  <a:lnTo>
                    <a:pt x="752951" y="809530"/>
                  </a:lnTo>
                  <a:lnTo>
                    <a:pt x="756094" y="809149"/>
                  </a:lnTo>
                  <a:lnTo>
                    <a:pt x="755904" y="807530"/>
                  </a:lnTo>
                  <a:lnTo>
                    <a:pt x="768001" y="814007"/>
                  </a:lnTo>
                  <a:lnTo>
                    <a:pt x="777811" y="816007"/>
                  </a:lnTo>
                  <a:lnTo>
                    <a:pt x="779812" y="818960"/>
                  </a:lnTo>
                  <a:lnTo>
                    <a:pt x="782955" y="818578"/>
                  </a:lnTo>
                  <a:lnTo>
                    <a:pt x="783431" y="821722"/>
                  </a:lnTo>
                  <a:lnTo>
                    <a:pt x="784955" y="821531"/>
                  </a:lnTo>
                  <a:lnTo>
                    <a:pt x="797814" y="821436"/>
                  </a:lnTo>
                  <a:lnTo>
                    <a:pt x="812197" y="821246"/>
                  </a:lnTo>
                  <a:lnTo>
                    <a:pt x="812578" y="824389"/>
                  </a:lnTo>
                  <a:lnTo>
                    <a:pt x="819150" y="825151"/>
                  </a:lnTo>
                  <a:lnTo>
                    <a:pt x="828770" y="825532"/>
                  </a:lnTo>
                  <a:lnTo>
                    <a:pt x="830580" y="826865"/>
                  </a:lnTo>
                  <a:lnTo>
                    <a:pt x="831914" y="825151"/>
                  </a:lnTo>
                  <a:lnTo>
                    <a:pt x="847725" y="823151"/>
                  </a:lnTo>
                  <a:lnTo>
                    <a:pt x="849059" y="821341"/>
                  </a:lnTo>
                  <a:lnTo>
                    <a:pt x="857440" y="823532"/>
                  </a:lnTo>
                  <a:lnTo>
                    <a:pt x="859727" y="816769"/>
                  </a:lnTo>
                  <a:lnTo>
                    <a:pt x="857536" y="812197"/>
                  </a:lnTo>
                  <a:lnTo>
                    <a:pt x="867632" y="815816"/>
                  </a:lnTo>
                  <a:lnTo>
                    <a:pt x="866299" y="817531"/>
                  </a:lnTo>
                  <a:lnTo>
                    <a:pt x="870204" y="823436"/>
                  </a:lnTo>
                  <a:lnTo>
                    <a:pt x="871442" y="820103"/>
                  </a:lnTo>
                  <a:lnTo>
                    <a:pt x="878300" y="824008"/>
                  </a:lnTo>
                  <a:lnTo>
                    <a:pt x="877919" y="820865"/>
                  </a:lnTo>
                  <a:lnTo>
                    <a:pt x="881253" y="822008"/>
                  </a:lnTo>
                  <a:lnTo>
                    <a:pt x="882206" y="817150"/>
                  </a:lnTo>
                  <a:lnTo>
                    <a:pt x="897827" y="826389"/>
                  </a:lnTo>
                  <a:lnTo>
                    <a:pt x="902780" y="827342"/>
                  </a:lnTo>
                  <a:lnTo>
                    <a:pt x="903160" y="830485"/>
                  </a:lnTo>
                  <a:lnTo>
                    <a:pt x="904970" y="831818"/>
                  </a:lnTo>
                  <a:lnTo>
                    <a:pt x="908494" y="821817"/>
                  </a:lnTo>
                  <a:lnTo>
                    <a:pt x="910114" y="821626"/>
                  </a:lnTo>
                  <a:lnTo>
                    <a:pt x="914400" y="817817"/>
                  </a:lnTo>
                  <a:lnTo>
                    <a:pt x="914019" y="814673"/>
                  </a:lnTo>
                  <a:lnTo>
                    <a:pt x="917734" y="806196"/>
                  </a:lnTo>
                  <a:lnTo>
                    <a:pt x="919544" y="807530"/>
                  </a:lnTo>
                  <a:lnTo>
                    <a:pt x="923639" y="802196"/>
                  </a:lnTo>
                  <a:lnTo>
                    <a:pt x="930783" y="807720"/>
                  </a:lnTo>
                  <a:lnTo>
                    <a:pt x="935736" y="808673"/>
                  </a:lnTo>
                  <a:lnTo>
                    <a:pt x="937069" y="806958"/>
                  </a:lnTo>
                  <a:lnTo>
                    <a:pt x="936879" y="805339"/>
                  </a:lnTo>
                  <a:lnTo>
                    <a:pt x="942023" y="807911"/>
                  </a:lnTo>
                  <a:lnTo>
                    <a:pt x="946785" y="807339"/>
                  </a:lnTo>
                  <a:lnTo>
                    <a:pt x="944594" y="802767"/>
                  </a:lnTo>
                  <a:lnTo>
                    <a:pt x="956024" y="804482"/>
                  </a:lnTo>
                  <a:lnTo>
                    <a:pt x="955453" y="799814"/>
                  </a:lnTo>
                  <a:lnTo>
                    <a:pt x="958786" y="800957"/>
                  </a:lnTo>
                  <a:lnTo>
                    <a:pt x="960120" y="799148"/>
                  </a:lnTo>
                  <a:lnTo>
                    <a:pt x="966692" y="799910"/>
                  </a:lnTo>
                  <a:lnTo>
                    <a:pt x="966883" y="801529"/>
                  </a:lnTo>
                  <a:lnTo>
                    <a:pt x="970217" y="802672"/>
                  </a:lnTo>
                  <a:lnTo>
                    <a:pt x="970407" y="804291"/>
                  </a:lnTo>
                  <a:lnTo>
                    <a:pt x="973741" y="805434"/>
                  </a:lnTo>
                  <a:lnTo>
                    <a:pt x="974407" y="810197"/>
                  </a:lnTo>
                  <a:lnTo>
                    <a:pt x="975551" y="806863"/>
                  </a:lnTo>
                  <a:lnTo>
                    <a:pt x="978884" y="808006"/>
                  </a:lnTo>
                  <a:lnTo>
                    <a:pt x="975360" y="805244"/>
                  </a:lnTo>
                  <a:lnTo>
                    <a:pt x="978503" y="804863"/>
                  </a:lnTo>
                  <a:lnTo>
                    <a:pt x="980313" y="806196"/>
                  </a:lnTo>
                  <a:lnTo>
                    <a:pt x="978884" y="808006"/>
                  </a:lnTo>
                  <a:lnTo>
                    <a:pt x="979075" y="809625"/>
                  </a:lnTo>
                  <a:lnTo>
                    <a:pt x="983456" y="805815"/>
                  </a:lnTo>
                  <a:lnTo>
                    <a:pt x="984980" y="805625"/>
                  </a:lnTo>
                  <a:lnTo>
                    <a:pt x="990124" y="795338"/>
                  </a:lnTo>
                  <a:lnTo>
                    <a:pt x="988505" y="795528"/>
                  </a:lnTo>
                  <a:lnTo>
                    <a:pt x="989552" y="790575"/>
                  </a:lnTo>
                  <a:lnTo>
                    <a:pt x="987933" y="790861"/>
                  </a:lnTo>
                  <a:lnTo>
                    <a:pt x="989362" y="789051"/>
                  </a:lnTo>
                  <a:lnTo>
                    <a:pt x="985933" y="787908"/>
                  </a:lnTo>
                  <a:lnTo>
                    <a:pt x="987361" y="786098"/>
                  </a:lnTo>
                  <a:lnTo>
                    <a:pt x="986123" y="776573"/>
                  </a:lnTo>
                  <a:lnTo>
                    <a:pt x="992886" y="778955"/>
                  </a:lnTo>
                  <a:lnTo>
                    <a:pt x="992600" y="764572"/>
                  </a:lnTo>
                  <a:lnTo>
                    <a:pt x="992029" y="759809"/>
                  </a:lnTo>
                  <a:lnTo>
                    <a:pt x="993553" y="759619"/>
                  </a:lnTo>
                  <a:lnTo>
                    <a:pt x="994791" y="756285"/>
                  </a:lnTo>
                  <a:lnTo>
                    <a:pt x="991172" y="753523"/>
                  </a:lnTo>
                  <a:lnTo>
                    <a:pt x="987838" y="752380"/>
                  </a:lnTo>
                  <a:lnTo>
                    <a:pt x="987266" y="747617"/>
                  </a:lnTo>
                  <a:lnTo>
                    <a:pt x="983742" y="744855"/>
                  </a:lnTo>
                  <a:lnTo>
                    <a:pt x="983266" y="741712"/>
                  </a:lnTo>
                  <a:lnTo>
                    <a:pt x="987647" y="737902"/>
                  </a:lnTo>
                  <a:lnTo>
                    <a:pt x="989648" y="740855"/>
                  </a:lnTo>
                  <a:lnTo>
                    <a:pt x="992600" y="738950"/>
                  </a:lnTo>
                  <a:lnTo>
                    <a:pt x="988981" y="736187"/>
                  </a:lnTo>
                  <a:lnTo>
                    <a:pt x="988600" y="733044"/>
                  </a:lnTo>
                  <a:lnTo>
                    <a:pt x="985076" y="730282"/>
                  </a:lnTo>
                  <a:lnTo>
                    <a:pt x="986219" y="726853"/>
                  </a:lnTo>
                  <a:lnTo>
                    <a:pt x="988028" y="728282"/>
                  </a:lnTo>
                  <a:lnTo>
                    <a:pt x="987552" y="725138"/>
                  </a:lnTo>
                  <a:lnTo>
                    <a:pt x="985838" y="723710"/>
                  </a:lnTo>
                  <a:lnTo>
                    <a:pt x="985647" y="722186"/>
                  </a:lnTo>
                  <a:lnTo>
                    <a:pt x="982027" y="719423"/>
                  </a:lnTo>
                  <a:lnTo>
                    <a:pt x="981837" y="717804"/>
                  </a:lnTo>
                  <a:lnTo>
                    <a:pt x="984790" y="715804"/>
                  </a:lnTo>
                  <a:lnTo>
                    <a:pt x="987933" y="715423"/>
                  </a:lnTo>
                  <a:lnTo>
                    <a:pt x="989171" y="712089"/>
                  </a:lnTo>
                  <a:lnTo>
                    <a:pt x="992124" y="710089"/>
                  </a:lnTo>
                  <a:lnTo>
                    <a:pt x="1004792" y="721328"/>
                  </a:lnTo>
                  <a:lnTo>
                    <a:pt x="1019937" y="727424"/>
                  </a:lnTo>
                  <a:lnTo>
                    <a:pt x="1021175" y="724091"/>
                  </a:lnTo>
                  <a:lnTo>
                    <a:pt x="1024509" y="725234"/>
                  </a:lnTo>
                  <a:lnTo>
                    <a:pt x="1020889" y="722471"/>
                  </a:lnTo>
                  <a:lnTo>
                    <a:pt x="1023652" y="718947"/>
                  </a:lnTo>
                  <a:lnTo>
                    <a:pt x="1021937" y="717518"/>
                  </a:lnTo>
                  <a:lnTo>
                    <a:pt x="1017175" y="718090"/>
                  </a:lnTo>
                  <a:lnTo>
                    <a:pt x="1015365" y="716756"/>
                  </a:lnTo>
                  <a:lnTo>
                    <a:pt x="1019556" y="711422"/>
                  </a:lnTo>
                  <a:lnTo>
                    <a:pt x="1023080" y="714185"/>
                  </a:lnTo>
                  <a:lnTo>
                    <a:pt x="1024223" y="710851"/>
                  </a:lnTo>
                  <a:lnTo>
                    <a:pt x="1020889" y="709613"/>
                  </a:lnTo>
                  <a:lnTo>
                    <a:pt x="1022509" y="709422"/>
                  </a:lnTo>
                  <a:lnTo>
                    <a:pt x="1026985" y="707231"/>
                  </a:lnTo>
                  <a:lnTo>
                    <a:pt x="1024985" y="691515"/>
                  </a:lnTo>
                  <a:lnTo>
                    <a:pt x="1035653" y="699707"/>
                  </a:lnTo>
                  <a:lnTo>
                    <a:pt x="1043559" y="698754"/>
                  </a:lnTo>
                  <a:lnTo>
                    <a:pt x="1042606" y="690848"/>
                  </a:lnTo>
                  <a:lnTo>
                    <a:pt x="1051274" y="696182"/>
                  </a:lnTo>
                  <a:lnTo>
                    <a:pt x="1059371" y="696754"/>
                  </a:lnTo>
                  <a:lnTo>
                    <a:pt x="1057942" y="685705"/>
                  </a:lnTo>
                  <a:lnTo>
                    <a:pt x="1059085" y="682276"/>
                  </a:lnTo>
                  <a:lnTo>
                    <a:pt x="1058513" y="677609"/>
                  </a:lnTo>
                  <a:lnTo>
                    <a:pt x="1059656" y="674275"/>
                  </a:lnTo>
                  <a:lnTo>
                    <a:pt x="1054799" y="673227"/>
                  </a:lnTo>
                  <a:lnTo>
                    <a:pt x="1057942" y="672846"/>
                  </a:lnTo>
                  <a:lnTo>
                    <a:pt x="1058323" y="663226"/>
                  </a:lnTo>
                  <a:lnTo>
                    <a:pt x="1047560" y="642080"/>
                  </a:lnTo>
                  <a:lnTo>
                    <a:pt x="1060037" y="638937"/>
                  </a:lnTo>
                  <a:lnTo>
                    <a:pt x="1056989" y="628078"/>
                  </a:lnTo>
                  <a:lnTo>
                    <a:pt x="1068896" y="632936"/>
                  </a:lnTo>
                  <a:lnTo>
                    <a:pt x="1066324" y="625316"/>
                  </a:lnTo>
                  <a:lnTo>
                    <a:pt x="1064133" y="620744"/>
                  </a:lnTo>
                  <a:lnTo>
                    <a:pt x="1060704" y="619601"/>
                  </a:lnTo>
                  <a:lnTo>
                    <a:pt x="1061276" y="611505"/>
                  </a:lnTo>
                  <a:lnTo>
                    <a:pt x="1056418" y="610457"/>
                  </a:lnTo>
                  <a:lnTo>
                    <a:pt x="1057751" y="608743"/>
                  </a:lnTo>
                  <a:lnTo>
                    <a:pt x="1057561" y="607124"/>
                  </a:lnTo>
                  <a:lnTo>
                    <a:pt x="1054418" y="607505"/>
                  </a:lnTo>
                  <a:lnTo>
                    <a:pt x="1049465" y="606552"/>
                  </a:lnTo>
                  <a:lnTo>
                    <a:pt x="1049655" y="608171"/>
                  </a:lnTo>
                  <a:lnTo>
                    <a:pt x="1047845" y="606743"/>
                  </a:lnTo>
                  <a:lnTo>
                    <a:pt x="1047845" y="606743"/>
                  </a:lnTo>
                  <a:lnTo>
                    <a:pt x="1047655" y="605219"/>
                  </a:lnTo>
                  <a:lnTo>
                    <a:pt x="1046321" y="606933"/>
                  </a:lnTo>
                  <a:lnTo>
                    <a:pt x="1038035" y="604838"/>
                  </a:lnTo>
                  <a:lnTo>
                    <a:pt x="1038797" y="598265"/>
                  </a:lnTo>
                  <a:lnTo>
                    <a:pt x="1037368" y="600075"/>
                  </a:lnTo>
                  <a:lnTo>
                    <a:pt x="1035463" y="597122"/>
                  </a:lnTo>
                  <a:lnTo>
                    <a:pt x="1036415" y="592169"/>
                  </a:lnTo>
                  <a:lnTo>
                    <a:pt x="1036225" y="590645"/>
                  </a:lnTo>
                  <a:lnTo>
                    <a:pt x="1034606" y="590836"/>
                  </a:lnTo>
                  <a:lnTo>
                    <a:pt x="1033081" y="591026"/>
                  </a:lnTo>
                  <a:lnTo>
                    <a:pt x="1034415" y="589217"/>
                  </a:lnTo>
                  <a:lnTo>
                    <a:pt x="1032605" y="587883"/>
                  </a:lnTo>
                  <a:lnTo>
                    <a:pt x="1033844" y="584549"/>
                  </a:lnTo>
                  <a:lnTo>
                    <a:pt x="1030700" y="584930"/>
                  </a:lnTo>
                  <a:lnTo>
                    <a:pt x="1032034" y="583121"/>
                  </a:lnTo>
                  <a:lnTo>
                    <a:pt x="1030510" y="583311"/>
                  </a:lnTo>
                  <a:lnTo>
                    <a:pt x="1027843" y="575596"/>
                  </a:lnTo>
                  <a:lnTo>
                    <a:pt x="1020985" y="571691"/>
                  </a:lnTo>
                  <a:lnTo>
                    <a:pt x="1022128" y="568357"/>
                  </a:lnTo>
                  <a:lnTo>
                    <a:pt x="1020985" y="558927"/>
                  </a:lnTo>
                  <a:lnTo>
                    <a:pt x="1018985" y="555974"/>
                  </a:lnTo>
                  <a:lnTo>
                    <a:pt x="1018603" y="552736"/>
                  </a:lnTo>
                  <a:lnTo>
                    <a:pt x="1016984" y="553022"/>
                  </a:lnTo>
                  <a:lnTo>
                    <a:pt x="1015746" y="543497"/>
                  </a:lnTo>
                  <a:lnTo>
                    <a:pt x="1012603" y="543878"/>
                  </a:lnTo>
                  <a:lnTo>
                    <a:pt x="1014031" y="542163"/>
                  </a:lnTo>
                  <a:lnTo>
                    <a:pt x="1012412" y="542354"/>
                  </a:lnTo>
                  <a:lnTo>
                    <a:pt x="1013174" y="535781"/>
                  </a:lnTo>
                  <a:lnTo>
                    <a:pt x="1003078" y="532257"/>
                  </a:lnTo>
                  <a:lnTo>
                    <a:pt x="1004316" y="528923"/>
                  </a:lnTo>
                  <a:lnTo>
                    <a:pt x="1000315" y="523018"/>
                  </a:lnTo>
                  <a:lnTo>
                    <a:pt x="995363" y="522065"/>
                  </a:lnTo>
                  <a:lnTo>
                    <a:pt x="997934" y="516922"/>
                  </a:lnTo>
                  <a:lnTo>
                    <a:pt x="994981" y="506063"/>
                  </a:lnTo>
                  <a:lnTo>
                    <a:pt x="987838" y="500539"/>
                  </a:lnTo>
                  <a:lnTo>
                    <a:pt x="987457" y="497396"/>
                  </a:lnTo>
                  <a:lnTo>
                    <a:pt x="988790" y="495586"/>
                  </a:lnTo>
                  <a:lnTo>
                    <a:pt x="981742" y="490157"/>
                  </a:lnTo>
                  <a:lnTo>
                    <a:pt x="985266" y="480060"/>
                  </a:lnTo>
                  <a:lnTo>
                    <a:pt x="984790" y="476917"/>
                  </a:lnTo>
                  <a:lnTo>
                    <a:pt x="982027" y="467582"/>
                  </a:lnTo>
                  <a:lnTo>
                    <a:pt x="981837" y="466058"/>
                  </a:lnTo>
                  <a:lnTo>
                    <a:pt x="981456" y="462915"/>
                  </a:lnTo>
                  <a:lnTo>
                    <a:pt x="982218" y="456343"/>
                  </a:lnTo>
                  <a:lnTo>
                    <a:pt x="980599" y="456533"/>
                  </a:lnTo>
                  <a:lnTo>
                    <a:pt x="975931" y="457200"/>
                  </a:lnTo>
                  <a:lnTo>
                    <a:pt x="970978" y="456248"/>
                  </a:lnTo>
                  <a:lnTo>
                    <a:pt x="971169" y="444913"/>
                  </a:lnTo>
                  <a:lnTo>
                    <a:pt x="977456" y="431292"/>
                  </a:lnTo>
                  <a:lnTo>
                    <a:pt x="979170" y="432721"/>
                  </a:lnTo>
                  <a:lnTo>
                    <a:pt x="993553" y="419672"/>
                  </a:lnTo>
                  <a:lnTo>
                    <a:pt x="992981" y="414909"/>
                  </a:lnTo>
                  <a:lnTo>
                    <a:pt x="986028" y="411004"/>
                  </a:lnTo>
                  <a:lnTo>
                    <a:pt x="986600" y="402908"/>
                  </a:lnTo>
                  <a:lnTo>
                    <a:pt x="990790" y="397574"/>
                  </a:lnTo>
                  <a:lnTo>
                    <a:pt x="989933" y="391192"/>
                  </a:lnTo>
                  <a:lnTo>
                    <a:pt x="993839" y="384334"/>
                  </a:lnTo>
                  <a:lnTo>
                    <a:pt x="1003173" y="381572"/>
                  </a:lnTo>
                  <a:lnTo>
                    <a:pt x="1012222" y="377190"/>
                  </a:lnTo>
                  <a:lnTo>
                    <a:pt x="1015936" y="368713"/>
                  </a:lnTo>
                  <a:lnTo>
                    <a:pt x="1015746" y="367094"/>
                  </a:lnTo>
                  <a:lnTo>
                    <a:pt x="1018318" y="361950"/>
                  </a:lnTo>
                  <a:lnTo>
                    <a:pt x="1020699" y="368046"/>
                  </a:lnTo>
                  <a:lnTo>
                    <a:pt x="1019461" y="371475"/>
                  </a:lnTo>
                  <a:lnTo>
                    <a:pt x="1021080" y="371189"/>
                  </a:lnTo>
                  <a:lnTo>
                    <a:pt x="1027367" y="370427"/>
                  </a:lnTo>
                  <a:lnTo>
                    <a:pt x="1030129" y="366903"/>
                  </a:lnTo>
                  <a:lnTo>
                    <a:pt x="1021271" y="359950"/>
                  </a:lnTo>
                  <a:lnTo>
                    <a:pt x="1022032" y="353473"/>
                  </a:lnTo>
                  <a:lnTo>
                    <a:pt x="1024985" y="351473"/>
                  </a:lnTo>
                  <a:lnTo>
                    <a:pt x="1025938" y="346520"/>
                  </a:lnTo>
                  <a:lnTo>
                    <a:pt x="1027462" y="333566"/>
                  </a:lnTo>
                  <a:lnTo>
                    <a:pt x="1032986" y="326422"/>
                  </a:lnTo>
                  <a:lnTo>
                    <a:pt x="1032796" y="324803"/>
                  </a:lnTo>
                  <a:lnTo>
                    <a:pt x="1037558" y="324231"/>
                  </a:lnTo>
                  <a:lnTo>
                    <a:pt x="1042702" y="326803"/>
                  </a:lnTo>
                  <a:lnTo>
                    <a:pt x="1048036" y="318040"/>
                  </a:lnTo>
                  <a:lnTo>
                    <a:pt x="1042416" y="312420"/>
                  </a:lnTo>
                  <a:lnTo>
                    <a:pt x="1043654" y="308991"/>
                  </a:lnTo>
                  <a:lnTo>
                    <a:pt x="1049560" y="305086"/>
                  </a:lnTo>
                  <a:lnTo>
                    <a:pt x="1049369" y="303467"/>
                  </a:lnTo>
                  <a:lnTo>
                    <a:pt x="1049179" y="301943"/>
                  </a:lnTo>
                  <a:lnTo>
                    <a:pt x="1047369" y="300514"/>
                  </a:lnTo>
                  <a:lnTo>
                    <a:pt x="1045750" y="300704"/>
                  </a:lnTo>
                  <a:lnTo>
                    <a:pt x="1044035" y="299371"/>
                  </a:lnTo>
                  <a:lnTo>
                    <a:pt x="1044988" y="294418"/>
                  </a:lnTo>
                  <a:lnTo>
                    <a:pt x="1043178" y="293084"/>
                  </a:lnTo>
                  <a:lnTo>
                    <a:pt x="1045750" y="287941"/>
                  </a:lnTo>
                  <a:lnTo>
                    <a:pt x="1049274" y="290703"/>
                  </a:lnTo>
                  <a:lnTo>
                    <a:pt x="1048893" y="287465"/>
                  </a:lnTo>
                  <a:lnTo>
                    <a:pt x="1045559" y="286322"/>
                  </a:lnTo>
                  <a:lnTo>
                    <a:pt x="1044131" y="288131"/>
                  </a:lnTo>
                  <a:lnTo>
                    <a:pt x="1040797" y="286893"/>
                  </a:lnTo>
                  <a:lnTo>
                    <a:pt x="1042226" y="285179"/>
                  </a:lnTo>
                  <a:lnTo>
                    <a:pt x="1038415" y="280797"/>
                  </a:lnTo>
                  <a:lnTo>
                    <a:pt x="1044511" y="278416"/>
                  </a:lnTo>
                  <a:lnTo>
                    <a:pt x="1050036" y="284131"/>
                  </a:lnTo>
                  <a:lnTo>
                    <a:pt x="1054227" y="278797"/>
                  </a:lnTo>
                  <a:lnTo>
                    <a:pt x="1061942" y="276225"/>
                  </a:lnTo>
                  <a:lnTo>
                    <a:pt x="1063657" y="277559"/>
                  </a:lnTo>
                  <a:lnTo>
                    <a:pt x="1066800" y="277178"/>
                  </a:lnTo>
                  <a:lnTo>
                    <a:pt x="1065848" y="282131"/>
                  </a:lnTo>
                  <a:lnTo>
                    <a:pt x="1063085" y="285655"/>
                  </a:lnTo>
                  <a:lnTo>
                    <a:pt x="1067657" y="283464"/>
                  </a:lnTo>
                  <a:lnTo>
                    <a:pt x="1069372" y="284893"/>
                  </a:lnTo>
                  <a:lnTo>
                    <a:pt x="1070801" y="283083"/>
                  </a:lnTo>
                  <a:lnTo>
                    <a:pt x="1073944" y="282702"/>
                  </a:lnTo>
                  <a:lnTo>
                    <a:pt x="1082611" y="288036"/>
                  </a:lnTo>
                  <a:lnTo>
                    <a:pt x="1084993" y="294132"/>
                  </a:lnTo>
                  <a:lnTo>
                    <a:pt x="1093280" y="296323"/>
                  </a:lnTo>
                  <a:lnTo>
                    <a:pt x="1095280" y="299276"/>
                  </a:lnTo>
                  <a:lnTo>
                    <a:pt x="1101661" y="298418"/>
                  </a:lnTo>
                  <a:lnTo>
                    <a:pt x="1105376" y="302800"/>
                  </a:lnTo>
                  <a:lnTo>
                    <a:pt x="1106329" y="297847"/>
                  </a:lnTo>
                  <a:lnTo>
                    <a:pt x="1106519" y="299371"/>
                  </a:lnTo>
                  <a:lnTo>
                    <a:pt x="1111282" y="298799"/>
                  </a:lnTo>
                  <a:lnTo>
                    <a:pt x="1118997" y="296228"/>
                  </a:lnTo>
                  <a:lnTo>
                    <a:pt x="1121093" y="287941"/>
                  </a:lnTo>
                  <a:lnTo>
                    <a:pt x="1119950" y="278416"/>
                  </a:lnTo>
                  <a:lnTo>
                    <a:pt x="1122426" y="273272"/>
                  </a:lnTo>
                  <a:lnTo>
                    <a:pt x="1121474" y="265462"/>
                  </a:lnTo>
                  <a:lnTo>
                    <a:pt x="1125760" y="261652"/>
                  </a:lnTo>
                  <a:lnTo>
                    <a:pt x="1123188" y="253937"/>
                  </a:lnTo>
                  <a:lnTo>
                    <a:pt x="1124426" y="250603"/>
                  </a:lnTo>
                  <a:lnTo>
                    <a:pt x="1139190" y="253556"/>
                  </a:lnTo>
                  <a:lnTo>
                    <a:pt x="1143572" y="249746"/>
                  </a:lnTo>
                  <a:lnTo>
                    <a:pt x="1148239" y="249174"/>
                  </a:lnTo>
                  <a:lnTo>
                    <a:pt x="1151192" y="247174"/>
                  </a:lnTo>
                  <a:lnTo>
                    <a:pt x="1158716" y="230219"/>
                  </a:lnTo>
                  <a:lnTo>
                    <a:pt x="1159288" y="222123"/>
                  </a:lnTo>
                  <a:lnTo>
                    <a:pt x="1162050" y="218599"/>
                  </a:lnTo>
                  <a:lnTo>
                    <a:pt x="1168813" y="196882"/>
                  </a:lnTo>
                  <a:lnTo>
                    <a:pt x="1171956" y="183642"/>
                  </a:lnTo>
                  <a:lnTo>
                    <a:pt x="1182243" y="175927"/>
                  </a:lnTo>
                  <a:lnTo>
                    <a:pt x="1182529" y="153353"/>
                  </a:lnTo>
                  <a:lnTo>
                    <a:pt x="1180148" y="147257"/>
                  </a:lnTo>
                  <a:lnTo>
                    <a:pt x="1180148" y="147257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5" name="Volný tvar: obrazec 24">
              <a:extLst>
                <a:ext uri="{FF2B5EF4-FFF2-40B4-BE49-F238E27FC236}">
                  <a16:creationId xmlns:a16="http://schemas.microsoft.com/office/drawing/2014/main" id="{7432A541-4ECE-B9BA-D289-5EA65630F5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15107" y="2323813"/>
              <a:ext cx="1029843" cy="845819"/>
            </a:xfrm>
            <a:custGeom>
              <a:avLst/>
              <a:gdLst>
                <a:gd name="connsiteX0" fmla="*/ 1029843 w 1029843"/>
                <a:gd name="connsiteY0" fmla="*/ 713994 h 845819"/>
                <a:gd name="connsiteX1" fmla="*/ 1026319 w 1029843"/>
                <a:gd name="connsiteY1" fmla="*/ 711232 h 845819"/>
                <a:gd name="connsiteX2" fmla="*/ 1024128 w 1029843"/>
                <a:gd name="connsiteY2" fmla="*/ 706660 h 845819"/>
                <a:gd name="connsiteX3" fmla="*/ 1013651 w 1029843"/>
                <a:gd name="connsiteY3" fmla="*/ 699992 h 845819"/>
                <a:gd name="connsiteX4" fmla="*/ 1011079 w 1029843"/>
                <a:gd name="connsiteY4" fmla="*/ 692277 h 845819"/>
                <a:gd name="connsiteX5" fmla="*/ 1010888 w 1029843"/>
                <a:gd name="connsiteY5" fmla="*/ 690753 h 845819"/>
                <a:gd name="connsiteX6" fmla="*/ 1014603 w 1029843"/>
                <a:gd name="connsiteY6" fmla="*/ 682276 h 845819"/>
                <a:gd name="connsiteX7" fmla="*/ 1012412 w 1029843"/>
                <a:gd name="connsiteY7" fmla="*/ 677704 h 845819"/>
                <a:gd name="connsiteX8" fmla="*/ 1009079 w 1029843"/>
                <a:gd name="connsiteY8" fmla="*/ 676561 h 845819"/>
                <a:gd name="connsiteX9" fmla="*/ 1010222 w 1029843"/>
                <a:gd name="connsiteY9" fmla="*/ 673132 h 845819"/>
                <a:gd name="connsiteX10" fmla="*/ 1007650 w 1029843"/>
                <a:gd name="connsiteY10" fmla="*/ 665512 h 845819"/>
                <a:gd name="connsiteX11" fmla="*/ 1008602 w 1029843"/>
                <a:gd name="connsiteY11" fmla="*/ 660559 h 845819"/>
                <a:gd name="connsiteX12" fmla="*/ 1008031 w 1029843"/>
                <a:gd name="connsiteY12" fmla="*/ 655796 h 845819"/>
                <a:gd name="connsiteX13" fmla="*/ 1010984 w 1029843"/>
                <a:gd name="connsiteY13" fmla="*/ 653796 h 845819"/>
                <a:gd name="connsiteX14" fmla="*/ 1012126 w 1029843"/>
                <a:gd name="connsiteY14" fmla="*/ 650462 h 845819"/>
                <a:gd name="connsiteX15" fmla="*/ 1009555 w 1029843"/>
                <a:gd name="connsiteY15" fmla="*/ 642747 h 845819"/>
                <a:gd name="connsiteX16" fmla="*/ 1006412 w 1029843"/>
                <a:gd name="connsiteY16" fmla="*/ 643223 h 845819"/>
                <a:gd name="connsiteX17" fmla="*/ 1008793 w 1029843"/>
                <a:gd name="connsiteY17" fmla="*/ 636461 h 845819"/>
                <a:gd name="connsiteX18" fmla="*/ 1003649 w 1029843"/>
                <a:gd name="connsiteY18" fmla="*/ 633889 h 845819"/>
                <a:gd name="connsiteX19" fmla="*/ 1002601 w 1029843"/>
                <a:gd name="connsiteY19" fmla="*/ 625983 h 845819"/>
                <a:gd name="connsiteX20" fmla="*/ 995458 w 1029843"/>
                <a:gd name="connsiteY20" fmla="*/ 620554 h 845819"/>
                <a:gd name="connsiteX21" fmla="*/ 994886 w 1029843"/>
                <a:gd name="connsiteY21" fmla="*/ 615791 h 845819"/>
                <a:gd name="connsiteX22" fmla="*/ 988600 w 1029843"/>
                <a:gd name="connsiteY22" fmla="*/ 616553 h 845819"/>
                <a:gd name="connsiteX23" fmla="*/ 983647 w 1029843"/>
                <a:gd name="connsiteY23" fmla="*/ 615601 h 845819"/>
                <a:gd name="connsiteX24" fmla="*/ 977551 w 1029843"/>
                <a:gd name="connsiteY24" fmla="*/ 605123 h 845819"/>
                <a:gd name="connsiteX25" fmla="*/ 978503 w 1029843"/>
                <a:gd name="connsiteY25" fmla="*/ 600265 h 845819"/>
                <a:gd name="connsiteX26" fmla="*/ 973550 w 1029843"/>
                <a:gd name="connsiteY26" fmla="*/ 599218 h 845819"/>
                <a:gd name="connsiteX27" fmla="*/ 972502 w 1029843"/>
                <a:gd name="connsiteY27" fmla="*/ 591407 h 845819"/>
                <a:gd name="connsiteX28" fmla="*/ 969169 w 1029843"/>
                <a:gd name="connsiteY28" fmla="*/ 590169 h 845819"/>
                <a:gd name="connsiteX29" fmla="*/ 964406 w 1029843"/>
                <a:gd name="connsiteY29" fmla="*/ 590836 h 845819"/>
                <a:gd name="connsiteX30" fmla="*/ 962501 w 1029843"/>
                <a:gd name="connsiteY30" fmla="*/ 587788 h 845819"/>
                <a:gd name="connsiteX31" fmla="*/ 960692 w 1029843"/>
                <a:gd name="connsiteY31" fmla="*/ 586454 h 845819"/>
                <a:gd name="connsiteX32" fmla="*/ 960120 w 1029843"/>
                <a:gd name="connsiteY32" fmla="*/ 581692 h 845819"/>
                <a:gd name="connsiteX33" fmla="*/ 953167 w 1029843"/>
                <a:gd name="connsiteY33" fmla="*/ 577786 h 845819"/>
                <a:gd name="connsiteX34" fmla="*/ 952595 w 1029843"/>
                <a:gd name="connsiteY34" fmla="*/ 573024 h 845819"/>
                <a:gd name="connsiteX35" fmla="*/ 943070 w 1029843"/>
                <a:gd name="connsiteY35" fmla="*/ 561404 h 845819"/>
                <a:gd name="connsiteX36" fmla="*/ 944213 w 1029843"/>
                <a:gd name="connsiteY36" fmla="*/ 558070 h 845819"/>
                <a:gd name="connsiteX37" fmla="*/ 942023 w 1029843"/>
                <a:gd name="connsiteY37" fmla="*/ 553593 h 845819"/>
                <a:gd name="connsiteX38" fmla="*/ 941642 w 1029843"/>
                <a:gd name="connsiteY38" fmla="*/ 550355 h 845819"/>
                <a:gd name="connsiteX39" fmla="*/ 930783 w 1029843"/>
                <a:gd name="connsiteY39" fmla="*/ 540544 h 845819"/>
                <a:gd name="connsiteX40" fmla="*/ 926401 w 1029843"/>
                <a:gd name="connsiteY40" fmla="*/ 531495 h 845819"/>
                <a:gd name="connsiteX41" fmla="*/ 922687 w 1029843"/>
                <a:gd name="connsiteY41" fmla="*/ 527113 h 845819"/>
                <a:gd name="connsiteX42" fmla="*/ 922020 w 1029843"/>
                <a:gd name="connsiteY42" fmla="*/ 522446 h 845819"/>
                <a:gd name="connsiteX43" fmla="*/ 918305 w 1029843"/>
                <a:gd name="connsiteY43" fmla="*/ 518065 h 845819"/>
                <a:gd name="connsiteX44" fmla="*/ 907256 w 1029843"/>
                <a:gd name="connsiteY44" fmla="*/ 519494 h 845819"/>
                <a:gd name="connsiteX45" fmla="*/ 903923 w 1029843"/>
                <a:gd name="connsiteY45" fmla="*/ 518350 h 845819"/>
                <a:gd name="connsiteX46" fmla="*/ 900970 w 1029843"/>
                <a:gd name="connsiteY46" fmla="*/ 520255 h 845819"/>
                <a:gd name="connsiteX47" fmla="*/ 899732 w 1029843"/>
                <a:gd name="connsiteY47" fmla="*/ 523684 h 845819"/>
                <a:gd name="connsiteX48" fmla="*/ 896588 w 1029843"/>
                <a:gd name="connsiteY48" fmla="*/ 524065 h 845819"/>
                <a:gd name="connsiteX49" fmla="*/ 885730 w 1029843"/>
                <a:gd name="connsiteY49" fmla="*/ 514255 h 845819"/>
                <a:gd name="connsiteX50" fmla="*/ 878776 w 1029843"/>
                <a:gd name="connsiteY50" fmla="*/ 497491 h 845819"/>
                <a:gd name="connsiteX51" fmla="*/ 869728 w 1029843"/>
                <a:gd name="connsiteY51" fmla="*/ 489013 h 845819"/>
                <a:gd name="connsiteX52" fmla="*/ 869251 w 1029843"/>
                <a:gd name="connsiteY52" fmla="*/ 485870 h 845819"/>
                <a:gd name="connsiteX53" fmla="*/ 873443 w 1029843"/>
                <a:gd name="connsiteY53" fmla="*/ 480536 h 845819"/>
                <a:gd name="connsiteX54" fmla="*/ 871061 w 1029843"/>
                <a:gd name="connsiteY54" fmla="*/ 474440 h 845819"/>
                <a:gd name="connsiteX55" fmla="*/ 873824 w 1029843"/>
                <a:gd name="connsiteY55" fmla="*/ 470821 h 845819"/>
                <a:gd name="connsiteX56" fmla="*/ 869823 w 1029843"/>
                <a:gd name="connsiteY56" fmla="*/ 464915 h 845819"/>
                <a:gd name="connsiteX57" fmla="*/ 869061 w 1029843"/>
                <a:gd name="connsiteY57" fmla="*/ 458629 h 845819"/>
                <a:gd name="connsiteX58" fmla="*/ 867061 w 1029843"/>
                <a:gd name="connsiteY58" fmla="*/ 455676 h 845819"/>
                <a:gd name="connsiteX59" fmla="*/ 862489 w 1029843"/>
                <a:gd name="connsiteY59" fmla="*/ 457867 h 845819"/>
                <a:gd name="connsiteX60" fmla="*/ 858965 w 1029843"/>
                <a:gd name="connsiteY60" fmla="*/ 455105 h 845819"/>
                <a:gd name="connsiteX61" fmla="*/ 852868 w 1029843"/>
                <a:gd name="connsiteY61" fmla="*/ 457486 h 845819"/>
                <a:gd name="connsiteX62" fmla="*/ 844391 w 1029843"/>
                <a:gd name="connsiteY62" fmla="*/ 453771 h 845819"/>
                <a:gd name="connsiteX63" fmla="*/ 838200 w 1029843"/>
                <a:gd name="connsiteY63" fmla="*/ 456152 h 845819"/>
                <a:gd name="connsiteX64" fmla="*/ 831342 w 1029843"/>
                <a:gd name="connsiteY64" fmla="*/ 452152 h 845819"/>
                <a:gd name="connsiteX65" fmla="*/ 829723 w 1029843"/>
                <a:gd name="connsiteY65" fmla="*/ 452438 h 845819"/>
                <a:gd name="connsiteX66" fmla="*/ 825246 w 1029843"/>
                <a:gd name="connsiteY66" fmla="*/ 454533 h 845819"/>
                <a:gd name="connsiteX67" fmla="*/ 821531 w 1029843"/>
                <a:gd name="connsiteY67" fmla="*/ 463105 h 845819"/>
                <a:gd name="connsiteX68" fmla="*/ 821912 w 1029843"/>
                <a:gd name="connsiteY68" fmla="*/ 466249 h 845819"/>
                <a:gd name="connsiteX69" fmla="*/ 816007 w 1029843"/>
                <a:gd name="connsiteY69" fmla="*/ 470154 h 845819"/>
                <a:gd name="connsiteX70" fmla="*/ 811244 w 1029843"/>
                <a:gd name="connsiteY70" fmla="*/ 470821 h 845819"/>
                <a:gd name="connsiteX71" fmla="*/ 809816 w 1029843"/>
                <a:gd name="connsiteY71" fmla="*/ 459772 h 845819"/>
                <a:gd name="connsiteX72" fmla="*/ 802672 w 1029843"/>
                <a:gd name="connsiteY72" fmla="*/ 454247 h 845819"/>
                <a:gd name="connsiteX73" fmla="*/ 803720 w 1029843"/>
                <a:gd name="connsiteY73" fmla="*/ 449294 h 845819"/>
                <a:gd name="connsiteX74" fmla="*/ 801148 w 1029843"/>
                <a:gd name="connsiteY74" fmla="*/ 441579 h 845819"/>
                <a:gd name="connsiteX75" fmla="*/ 799148 w 1029843"/>
                <a:gd name="connsiteY75" fmla="*/ 438626 h 845819"/>
                <a:gd name="connsiteX76" fmla="*/ 789623 w 1029843"/>
                <a:gd name="connsiteY76" fmla="*/ 439865 h 845819"/>
                <a:gd name="connsiteX77" fmla="*/ 789242 w 1029843"/>
                <a:gd name="connsiteY77" fmla="*/ 436721 h 845819"/>
                <a:gd name="connsiteX78" fmla="*/ 792956 w 1029843"/>
                <a:gd name="connsiteY78" fmla="*/ 428244 h 845819"/>
                <a:gd name="connsiteX79" fmla="*/ 791242 w 1029843"/>
                <a:gd name="connsiteY79" fmla="*/ 426815 h 845819"/>
                <a:gd name="connsiteX80" fmla="*/ 784289 w 1029843"/>
                <a:gd name="connsiteY80" fmla="*/ 422910 h 845819"/>
                <a:gd name="connsiteX81" fmla="*/ 783717 w 1029843"/>
                <a:gd name="connsiteY81" fmla="*/ 418148 h 845819"/>
                <a:gd name="connsiteX82" fmla="*/ 778764 w 1029843"/>
                <a:gd name="connsiteY82" fmla="*/ 417195 h 845819"/>
                <a:gd name="connsiteX83" fmla="*/ 771620 w 1029843"/>
                <a:gd name="connsiteY83" fmla="*/ 424529 h 845819"/>
                <a:gd name="connsiteX84" fmla="*/ 763143 w 1029843"/>
                <a:gd name="connsiteY84" fmla="*/ 420815 h 845819"/>
                <a:gd name="connsiteX85" fmla="*/ 765715 w 1029843"/>
                <a:gd name="connsiteY85" fmla="*/ 415671 h 845819"/>
                <a:gd name="connsiteX86" fmla="*/ 760762 w 1029843"/>
                <a:gd name="connsiteY86" fmla="*/ 401860 h 845819"/>
                <a:gd name="connsiteX87" fmla="*/ 757238 w 1029843"/>
                <a:gd name="connsiteY87" fmla="*/ 399098 h 845819"/>
                <a:gd name="connsiteX88" fmla="*/ 752475 w 1029843"/>
                <a:gd name="connsiteY88" fmla="*/ 399669 h 845819"/>
                <a:gd name="connsiteX89" fmla="*/ 751904 w 1029843"/>
                <a:gd name="connsiteY89" fmla="*/ 395002 h 845819"/>
                <a:gd name="connsiteX90" fmla="*/ 753237 w 1029843"/>
                <a:gd name="connsiteY90" fmla="*/ 393192 h 845819"/>
                <a:gd name="connsiteX91" fmla="*/ 755618 w 1029843"/>
                <a:gd name="connsiteY91" fmla="*/ 386429 h 845819"/>
                <a:gd name="connsiteX92" fmla="*/ 759524 w 1029843"/>
                <a:gd name="connsiteY92" fmla="*/ 379571 h 845819"/>
                <a:gd name="connsiteX93" fmla="*/ 762286 w 1029843"/>
                <a:gd name="connsiteY93" fmla="*/ 375952 h 845819"/>
                <a:gd name="connsiteX94" fmla="*/ 763619 w 1029843"/>
                <a:gd name="connsiteY94" fmla="*/ 374237 h 845819"/>
                <a:gd name="connsiteX95" fmla="*/ 768382 w 1029843"/>
                <a:gd name="connsiteY95" fmla="*/ 373571 h 845819"/>
                <a:gd name="connsiteX96" fmla="*/ 768953 w 1029843"/>
                <a:gd name="connsiteY96" fmla="*/ 378333 h 845819"/>
                <a:gd name="connsiteX97" fmla="*/ 771334 w 1029843"/>
                <a:gd name="connsiteY97" fmla="*/ 384429 h 845819"/>
                <a:gd name="connsiteX98" fmla="*/ 777716 w 1029843"/>
                <a:gd name="connsiteY98" fmla="*/ 383667 h 845819"/>
                <a:gd name="connsiteX99" fmla="*/ 778478 w 1029843"/>
                <a:gd name="connsiteY99" fmla="*/ 377095 h 845819"/>
                <a:gd name="connsiteX100" fmla="*/ 776097 w 1029843"/>
                <a:gd name="connsiteY100" fmla="*/ 370999 h 845819"/>
                <a:gd name="connsiteX101" fmla="*/ 772477 w 1029843"/>
                <a:gd name="connsiteY101" fmla="*/ 368236 h 845819"/>
                <a:gd name="connsiteX102" fmla="*/ 769144 w 1029843"/>
                <a:gd name="connsiteY102" fmla="*/ 367094 h 845819"/>
                <a:gd name="connsiteX103" fmla="*/ 772097 w 1029843"/>
                <a:gd name="connsiteY103" fmla="*/ 365093 h 845819"/>
                <a:gd name="connsiteX104" fmla="*/ 780002 w 1029843"/>
                <a:gd name="connsiteY104" fmla="*/ 364141 h 845819"/>
                <a:gd name="connsiteX105" fmla="*/ 777621 w 1029843"/>
                <a:gd name="connsiteY105" fmla="*/ 358045 h 845819"/>
                <a:gd name="connsiteX106" fmla="*/ 785908 w 1029843"/>
                <a:gd name="connsiteY106" fmla="*/ 360140 h 845819"/>
                <a:gd name="connsiteX107" fmla="*/ 793433 w 1029843"/>
                <a:gd name="connsiteY107" fmla="*/ 355949 h 845819"/>
                <a:gd name="connsiteX108" fmla="*/ 789242 w 1029843"/>
                <a:gd name="connsiteY108" fmla="*/ 348520 h 845819"/>
                <a:gd name="connsiteX109" fmla="*/ 796576 w 1029843"/>
                <a:gd name="connsiteY109" fmla="*/ 342805 h 845819"/>
                <a:gd name="connsiteX110" fmla="*/ 799719 w 1029843"/>
                <a:gd name="connsiteY110" fmla="*/ 342329 h 845819"/>
                <a:gd name="connsiteX111" fmla="*/ 803243 w 1029843"/>
                <a:gd name="connsiteY111" fmla="*/ 345091 h 845819"/>
                <a:gd name="connsiteX112" fmla="*/ 806387 w 1029843"/>
                <a:gd name="connsiteY112" fmla="*/ 344710 h 845819"/>
                <a:gd name="connsiteX113" fmla="*/ 802481 w 1029843"/>
                <a:gd name="connsiteY113" fmla="*/ 338804 h 845819"/>
                <a:gd name="connsiteX114" fmla="*/ 803815 w 1029843"/>
                <a:gd name="connsiteY114" fmla="*/ 336994 h 845819"/>
                <a:gd name="connsiteX115" fmla="*/ 805815 w 1029843"/>
                <a:gd name="connsiteY115" fmla="*/ 339947 h 845819"/>
                <a:gd name="connsiteX116" fmla="*/ 812483 w 1029843"/>
                <a:gd name="connsiteY116" fmla="*/ 342329 h 845819"/>
                <a:gd name="connsiteX117" fmla="*/ 815435 w 1029843"/>
                <a:gd name="connsiteY117" fmla="*/ 340328 h 845819"/>
                <a:gd name="connsiteX118" fmla="*/ 819055 w 1029843"/>
                <a:gd name="connsiteY118" fmla="*/ 343090 h 845819"/>
                <a:gd name="connsiteX119" fmla="*/ 824293 w 1029843"/>
                <a:gd name="connsiteY119" fmla="*/ 334423 h 845819"/>
                <a:gd name="connsiteX120" fmla="*/ 823722 w 1029843"/>
                <a:gd name="connsiteY120" fmla="*/ 329660 h 845819"/>
                <a:gd name="connsiteX121" fmla="*/ 829818 w 1029843"/>
                <a:gd name="connsiteY121" fmla="*/ 327279 h 845819"/>
                <a:gd name="connsiteX122" fmla="*/ 831247 w 1029843"/>
                <a:gd name="connsiteY122" fmla="*/ 325469 h 845819"/>
                <a:gd name="connsiteX123" fmla="*/ 828389 w 1029843"/>
                <a:gd name="connsiteY123" fmla="*/ 316230 h 845819"/>
                <a:gd name="connsiteX124" fmla="*/ 829627 w 1029843"/>
                <a:gd name="connsiteY124" fmla="*/ 312896 h 845819"/>
                <a:gd name="connsiteX125" fmla="*/ 835724 w 1029843"/>
                <a:gd name="connsiteY125" fmla="*/ 310515 h 845819"/>
                <a:gd name="connsiteX126" fmla="*/ 837343 w 1029843"/>
                <a:gd name="connsiteY126" fmla="*/ 310325 h 845819"/>
                <a:gd name="connsiteX127" fmla="*/ 844201 w 1029843"/>
                <a:gd name="connsiteY127" fmla="*/ 314230 h 845819"/>
                <a:gd name="connsiteX128" fmla="*/ 846201 w 1029843"/>
                <a:gd name="connsiteY128" fmla="*/ 317182 h 845819"/>
                <a:gd name="connsiteX129" fmla="*/ 853345 w 1029843"/>
                <a:gd name="connsiteY129" fmla="*/ 322707 h 845819"/>
                <a:gd name="connsiteX130" fmla="*/ 863727 w 1029843"/>
                <a:gd name="connsiteY130" fmla="*/ 316516 h 845819"/>
                <a:gd name="connsiteX131" fmla="*/ 872776 w 1029843"/>
                <a:gd name="connsiteY131" fmla="*/ 299371 h 845819"/>
                <a:gd name="connsiteX132" fmla="*/ 881825 w 1029843"/>
                <a:gd name="connsiteY132" fmla="*/ 294989 h 845819"/>
                <a:gd name="connsiteX133" fmla="*/ 891921 w 1029843"/>
                <a:gd name="connsiteY133" fmla="*/ 285750 h 845819"/>
                <a:gd name="connsiteX134" fmla="*/ 891540 w 1029843"/>
                <a:gd name="connsiteY134" fmla="*/ 282511 h 845819"/>
                <a:gd name="connsiteX135" fmla="*/ 889540 w 1029843"/>
                <a:gd name="connsiteY135" fmla="*/ 279559 h 845819"/>
                <a:gd name="connsiteX136" fmla="*/ 891064 w 1029843"/>
                <a:gd name="connsiteY136" fmla="*/ 279368 h 845819"/>
                <a:gd name="connsiteX137" fmla="*/ 881825 w 1029843"/>
                <a:gd name="connsiteY137" fmla="*/ 269367 h 845819"/>
                <a:gd name="connsiteX138" fmla="*/ 888111 w 1029843"/>
                <a:gd name="connsiteY138" fmla="*/ 268510 h 845819"/>
                <a:gd name="connsiteX139" fmla="*/ 898589 w 1029843"/>
                <a:gd name="connsiteY139" fmla="*/ 262414 h 845819"/>
                <a:gd name="connsiteX140" fmla="*/ 898970 w 1029843"/>
                <a:gd name="connsiteY140" fmla="*/ 252698 h 845819"/>
                <a:gd name="connsiteX141" fmla="*/ 892778 w 1029843"/>
                <a:gd name="connsiteY141" fmla="*/ 242316 h 845819"/>
                <a:gd name="connsiteX142" fmla="*/ 893921 w 1029843"/>
                <a:gd name="connsiteY142" fmla="*/ 238982 h 845819"/>
                <a:gd name="connsiteX143" fmla="*/ 903637 w 1029843"/>
                <a:gd name="connsiteY143" fmla="*/ 239268 h 845819"/>
                <a:gd name="connsiteX144" fmla="*/ 908209 w 1029843"/>
                <a:gd name="connsiteY144" fmla="*/ 237172 h 845819"/>
                <a:gd name="connsiteX145" fmla="*/ 921163 w 1029843"/>
                <a:gd name="connsiteY145" fmla="*/ 225838 h 845819"/>
                <a:gd name="connsiteX146" fmla="*/ 920401 w 1029843"/>
                <a:gd name="connsiteY146" fmla="*/ 219551 h 845819"/>
                <a:gd name="connsiteX147" fmla="*/ 917734 w 1029843"/>
                <a:gd name="connsiteY147" fmla="*/ 211836 h 845819"/>
                <a:gd name="connsiteX148" fmla="*/ 908685 w 1029843"/>
                <a:gd name="connsiteY148" fmla="*/ 203359 h 845819"/>
                <a:gd name="connsiteX149" fmla="*/ 906113 w 1029843"/>
                <a:gd name="connsiteY149" fmla="*/ 195739 h 845819"/>
                <a:gd name="connsiteX150" fmla="*/ 897446 w 1029843"/>
                <a:gd name="connsiteY150" fmla="*/ 190405 h 845819"/>
                <a:gd name="connsiteX151" fmla="*/ 893445 w 1029843"/>
                <a:gd name="connsiteY151" fmla="*/ 184499 h 845819"/>
                <a:gd name="connsiteX152" fmla="*/ 885158 w 1029843"/>
                <a:gd name="connsiteY152" fmla="*/ 182309 h 845819"/>
                <a:gd name="connsiteX153" fmla="*/ 875252 w 1029843"/>
                <a:gd name="connsiteY153" fmla="*/ 167545 h 845819"/>
                <a:gd name="connsiteX154" fmla="*/ 874395 w 1029843"/>
                <a:gd name="connsiteY154" fmla="*/ 161258 h 845819"/>
                <a:gd name="connsiteX155" fmla="*/ 872871 w 1029843"/>
                <a:gd name="connsiteY155" fmla="*/ 161449 h 845819"/>
                <a:gd name="connsiteX156" fmla="*/ 869728 w 1029843"/>
                <a:gd name="connsiteY156" fmla="*/ 161830 h 845819"/>
                <a:gd name="connsiteX157" fmla="*/ 867727 w 1029843"/>
                <a:gd name="connsiteY157" fmla="*/ 158877 h 845819"/>
                <a:gd name="connsiteX158" fmla="*/ 863156 w 1029843"/>
                <a:gd name="connsiteY158" fmla="*/ 148209 h 845819"/>
                <a:gd name="connsiteX159" fmla="*/ 855250 w 1029843"/>
                <a:gd name="connsiteY159" fmla="*/ 149257 h 845819"/>
                <a:gd name="connsiteX160" fmla="*/ 854678 w 1029843"/>
                <a:gd name="connsiteY160" fmla="*/ 144494 h 845819"/>
                <a:gd name="connsiteX161" fmla="*/ 848297 w 1029843"/>
                <a:gd name="connsiteY161" fmla="*/ 132493 h 845819"/>
                <a:gd name="connsiteX162" fmla="*/ 834866 w 1029843"/>
                <a:gd name="connsiteY162" fmla="*/ 127825 h 845819"/>
                <a:gd name="connsiteX163" fmla="*/ 828580 w 1029843"/>
                <a:gd name="connsiteY163" fmla="*/ 128588 h 845819"/>
                <a:gd name="connsiteX164" fmla="*/ 824675 w 1029843"/>
                <a:gd name="connsiteY164" fmla="*/ 135541 h 845819"/>
                <a:gd name="connsiteX165" fmla="*/ 818102 w 1029843"/>
                <a:gd name="connsiteY165" fmla="*/ 134779 h 845819"/>
                <a:gd name="connsiteX166" fmla="*/ 806863 w 1029843"/>
                <a:gd name="connsiteY166" fmla="*/ 134588 h 845819"/>
                <a:gd name="connsiteX167" fmla="*/ 805720 w 1029843"/>
                <a:gd name="connsiteY167" fmla="*/ 125063 h 845819"/>
                <a:gd name="connsiteX168" fmla="*/ 804101 w 1029843"/>
                <a:gd name="connsiteY168" fmla="*/ 125254 h 845819"/>
                <a:gd name="connsiteX169" fmla="*/ 800957 w 1029843"/>
                <a:gd name="connsiteY169" fmla="*/ 125730 h 845819"/>
                <a:gd name="connsiteX170" fmla="*/ 792861 w 1029843"/>
                <a:gd name="connsiteY170" fmla="*/ 125158 h 845819"/>
                <a:gd name="connsiteX171" fmla="*/ 789908 w 1029843"/>
                <a:gd name="connsiteY171" fmla="*/ 127064 h 845819"/>
                <a:gd name="connsiteX172" fmla="*/ 774859 w 1029843"/>
                <a:gd name="connsiteY172" fmla="*/ 122587 h 845819"/>
                <a:gd name="connsiteX173" fmla="*/ 771716 w 1029843"/>
                <a:gd name="connsiteY173" fmla="*/ 122968 h 845819"/>
                <a:gd name="connsiteX174" fmla="*/ 763524 w 1029843"/>
                <a:gd name="connsiteY174" fmla="*/ 146494 h 845819"/>
                <a:gd name="connsiteX175" fmla="*/ 765143 w 1029843"/>
                <a:gd name="connsiteY175" fmla="*/ 159163 h 845819"/>
                <a:gd name="connsiteX176" fmla="*/ 763524 w 1029843"/>
                <a:gd name="connsiteY176" fmla="*/ 159353 h 845819"/>
                <a:gd name="connsiteX177" fmla="*/ 765524 w 1029843"/>
                <a:gd name="connsiteY177" fmla="*/ 162306 h 845819"/>
                <a:gd name="connsiteX178" fmla="*/ 762952 w 1029843"/>
                <a:gd name="connsiteY178" fmla="*/ 167449 h 845819"/>
                <a:gd name="connsiteX179" fmla="*/ 747141 w 1029843"/>
                <a:gd name="connsiteY179" fmla="*/ 169450 h 845819"/>
                <a:gd name="connsiteX180" fmla="*/ 741235 w 1029843"/>
                <a:gd name="connsiteY180" fmla="*/ 173355 h 845819"/>
                <a:gd name="connsiteX181" fmla="*/ 736092 w 1029843"/>
                <a:gd name="connsiteY181" fmla="*/ 170878 h 845819"/>
                <a:gd name="connsiteX182" fmla="*/ 737711 w 1029843"/>
                <a:gd name="connsiteY182" fmla="*/ 170593 h 845819"/>
                <a:gd name="connsiteX183" fmla="*/ 734759 w 1029843"/>
                <a:gd name="connsiteY183" fmla="*/ 159829 h 845819"/>
                <a:gd name="connsiteX184" fmla="*/ 730568 w 1029843"/>
                <a:gd name="connsiteY184" fmla="*/ 152305 h 845819"/>
                <a:gd name="connsiteX185" fmla="*/ 714947 w 1029843"/>
                <a:gd name="connsiteY185" fmla="*/ 143066 h 845819"/>
                <a:gd name="connsiteX186" fmla="*/ 707231 w 1029843"/>
                <a:gd name="connsiteY186" fmla="*/ 145637 h 845819"/>
                <a:gd name="connsiteX187" fmla="*/ 704850 w 1029843"/>
                <a:gd name="connsiteY187" fmla="*/ 139541 h 845819"/>
                <a:gd name="connsiteX188" fmla="*/ 701516 w 1029843"/>
                <a:gd name="connsiteY188" fmla="*/ 138398 h 845819"/>
                <a:gd name="connsiteX189" fmla="*/ 699516 w 1029843"/>
                <a:gd name="connsiteY189" fmla="*/ 135445 h 845819"/>
                <a:gd name="connsiteX190" fmla="*/ 691706 w 1029843"/>
                <a:gd name="connsiteY190" fmla="*/ 136398 h 845819"/>
                <a:gd name="connsiteX191" fmla="*/ 688086 w 1029843"/>
                <a:gd name="connsiteY191" fmla="*/ 133636 h 845819"/>
                <a:gd name="connsiteX192" fmla="*/ 681800 w 1029843"/>
                <a:gd name="connsiteY192" fmla="*/ 134493 h 845819"/>
                <a:gd name="connsiteX193" fmla="*/ 679609 w 1029843"/>
                <a:gd name="connsiteY193" fmla="*/ 142780 h 845819"/>
                <a:gd name="connsiteX194" fmla="*/ 676656 w 1029843"/>
                <a:gd name="connsiteY194" fmla="*/ 144780 h 845819"/>
                <a:gd name="connsiteX195" fmla="*/ 673513 w 1029843"/>
                <a:gd name="connsiteY195" fmla="*/ 145161 h 845819"/>
                <a:gd name="connsiteX196" fmla="*/ 672560 w 1029843"/>
                <a:gd name="connsiteY196" fmla="*/ 150114 h 845819"/>
                <a:gd name="connsiteX197" fmla="*/ 664083 w 1029843"/>
                <a:gd name="connsiteY197" fmla="*/ 159163 h 845819"/>
                <a:gd name="connsiteX198" fmla="*/ 659321 w 1029843"/>
                <a:gd name="connsiteY198" fmla="*/ 159734 h 845819"/>
                <a:gd name="connsiteX199" fmla="*/ 659797 w 1029843"/>
                <a:gd name="connsiteY199" fmla="*/ 162973 h 845819"/>
                <a:gd name="connsiteX200" fmla="*/ 655606 w 1029843"/>
                <a:gd name="connsiteY200" fmla="*/ 168307 h 845819"/>
                <a:gd name="connsiteX201" fmla="*/ 653129 w 1029843"/>
                <a:gd name="connsiteY201" fmla="*/ 186214 h 845819"/>
                <a:gd name="connsiteX202" fmla="*/ 653510 w 1029843"/>
                <a:gd name="connsiteY202" fmla="*/ 189357 h 845819"/>
                <a:gd name="connsiteX203" fmla="*/ 652367 w 1029843"/>
                <a:gd name="connsiteY203" fmla="*/ 192786 h 845819"/>
                <a:gd name="connsiteX204" fmla="*/ 642271 w 1029843"/>
                <a:gd name="connsiteY204" fmla="*/ 189167 h 845819"/>
                <a:gd name="connsiteX205" fmla="*/ 631603 w 1029843"/>
                <a:gd name="connsiteY205" fmla="*/ 206597 h 845819"/>
                <a:gd name="connsiteX206" fmla="*/ 626269 w 1029843"/>
                <a:gd name="connsiteY206" fmla="*/ 202501 h 845819"/>
                <a:gd name="connsiteX207" fmla="*/ 624364 w 1029843"/>
                <a:gd name="connsiteY207" fmla="*/ 199549 h 845819"/>
                <a:gd name="connsiteX208" fmla="*/ 619411 w 1029843"/>
                <a:gd name="connsiteY208" fmla="*/ 198596 h 845819"/>
                <a:gd name="connsiteX209" fmla="*/ 609124 w 1029843"/>
                <a:gd name="connsiteY209" fmla="*/ 193453 h 845819"/>
                <a:gd name="connsiteX210" fmla="*/ 605600 w 1029843"/>
                <a:gd name="connsiteY210" fmla="*/ 190691 h 845819"/>
                <a:gd name="connsiteX211" fmla="*/ 605123 w 1029843"/>
                <a:gd name="connsiteY211" fmla="*/ 187547 h 845819"/>
                <a:gd name="connsiteX212" fmla="*/ 610648 w 1029843"/>
                <a:gd name="connsiteY212" fmla="*/ 180403 h 845819"/>
                <a:gd name="connsiteX213" fmla="*/ 618363 w 1029843"/>
                <a:gd name="connsiteY213" fmla="*/ 177832 h 845819"/>
                <a:gd name="connsiteX214" fmla="*/ 628555 w 1029843"/>
                <a:gd name="connsiteY214" fmla="*/ 170117 h 845819"/>
                <a:gd name="connsiteX215" fmla="*/ 626650 w 1029843"/>
                <a:gd name="connsiteY215" fmla="*/ 167164 h 845819"/>
                <a:gd name="connsiteX216" fmla="*/ 618363 w 1029843"/>
                <a:gd name="connsiteY216" fmla="*/ 164973 h 845819"/>
                <a:gd name="connsiteX217" fmla="*/ 617125 w 1029843"/>
                <a:gd name="connsiteY217" fmla="*/ 155543 h 845819"/>
                <a:gd name="connsiteX218" fmla="*/ 613791 w 1029843"/>
                <a:gd name="connsiteY218" fmla="*/ 154400 h 845819"/>
                <a:gd name="connsiteX219" fmla="*/ 616268 w 1029843"/>
                <a:gd name="connsiteY219" fmla="*/ 149257 h 845819"/>
                <a:gd name="connsiteX220" fmla="*/ 614743 w 1029843"/>
                <a:gd name="connsiteY220" fmla="*/ 136589 h 845819"/>
                <a:gd name="connsiteX221" fmla="*/ 612076 w 1029843"/>
                <a:gd name="connsiteY221" fmla="*/ 128873 h 845819"/>
                <a:gd name="connsiteX222" fmla="*/ 612934 w 1029843"/>
                <a:gd name="connsiteY222" fmla="*/ 122396 h 845819"/>
                <a:gd name="connsiteX223" fmla="*/ 609505 w 1029843"/>
                <a:gd name="connsiteY223" fmla="*/ 121253 h 845819"/>
                <a:gd name="connsiteX224" fmla="*/ 605600 w 1029843"/>
                <a:gd name="connsiteY224" fmla="*/ 115348 h 845819"/>
                <a:gd name="connsiteX225" fmla="*/ 606552 w 1029843"/>
                <a:gd name="connsiteY225" fmla="*/ 110395 h 845819"/>
                <a:gd name="connsiteX226" fmla="*/ 606171 w 1029843"/>
                <a:gd name="connsiteY226" fmla="*/ 107251 h 845819"/>
                <a:gd name="connsiteX227" fmla="*/ 587597 w 1029843"/>
                <a:gd name="connsiteY227" fmla="*/ 99917 h 845819"/>
                <a:gd name="connsiteX228" fmla="*/ 578072 w 1029843"/>
                <a:gd name="connsiteY228" fmla="*/ 101155 h 845819"/>
                <a:gd name="connsiteX229" fmla="*/ 576739 w 1029843"/>
                <a:gd name="connsiteY229" fmla="*/ 102965 h 845819"/>
                <a:gd name="connsiteX230" fmla="*/ 572452 w 1029843"/>
                <a:gd name="connsiteY230" fmla="*/ 106680 h 845819"/>
                <a:gd name="connsiteX231" fmla="*/ 565880 w 1029843"/>
                <a:gd name="connsiteY231" fmla="*/ 105918 h 845819"/>
                <a:gd name="connsiteX232" fmla="*/ 563309 w 1029843"/>
                <a:gd name="connsiteY232" fmla="*/ 111062 h 845819"/>
                <a:gd name="connsiteX233" fmla="*/ 556641 w 1029843"/>
                <a:gd name="connsiteY233" fmla="*/ 108680 h 845819"/>
                <a:gd name="connsiteX234" fmla="*/ 549116 w 1029843"/>
                <a:gd name="connsiteY234" fmla="*/ 112871 h 845819"/>
                <a:gd name="connsiteX235" fmla="*/ 533972 w 1029843"/>
                <a:gd name="connsiteY235" fmla="*/ 119634 h 845819"/>
                <a:gd name="connsiteX236" fmla="*/ 533019 w 1029843"/>
                <a:gd name="connsiteY236" fmla="*/ 124587 h 845819"/>
                <a:gd name="connsiteX237" fmla="*/ 517970 w 1029843"/>
                <a:gd name="connsiteY237" fmla="*/ 120015 h 845819"/>
                <a:gd name="connsiteX238" fmla="*/ 518732 w 1029843"/>
                <a:gd name="connsiteY238" fmla="*/ 113538 h 845819"/>
                <a:gd name="connsiteX239" fmla="*/ 518160 w 1029843"/>
                <a:gd name="connsiteY239" fmla="*/ 108775 h 845819"/>
                <a:gd name="connsiteX240" fmla="*/ 514731 w 1029843"/>
                <a:gd name="connsiteY240" fmla="*/ 94774 h 845819"/>
                <a:gd name="connsiteX241" fmla="*/ 511016 w 1029843"/>
                <a:gd name="connsiteY241" fmla="*/ 90488 h 845819"/>
                <a:gd name="connsiteX242" fmla="*/ 509778 w 1029843"/>
                <a:gd name="connsiteY242" fmla="*/ 80963 h 845819"/>
                <a:gd name="connsiteX243" fmla="*/ 506444 w 1029843"/>
                <a:gd name="connsiteY243" fmla="*/ 79819 h 845819"/>
                <a:gd name="connsiteX244" fmla="*/ 498539 w 1029843"/>
                <a:gd name="connsiteY244" fmla="*/ 68008 h 845819"/>
                <a:gd name="connsiteX245" fmla="*/ 494538 w 1029843"/>
                <a:gd name="connsiteY245" fmla="*/ 62103 h 845819"/>
                <a:gd name="connsiteX246" fmla="*/ 496634 w 1029843"/>
                <a:gd name="connsiteY246" fmla="*/ 40957 h 845819"/>
                <a:gd name="connsiteX247" fmla="*/ 487966 w 1029843"/>
                <a:gd name="connsiteY247" fmla="*/ 35623 h 845819"/>
                <a:gd name="connsiteX248" fmla="*/ 485394 w 1029843"/>
                <a:gd name="connsiteY248" fmla="*/ 28003 h 845819"/>
                <a:gd name="connsiteX249" fmla="*/ 466630 w 1029843"/>
                <a:gd name="connsiteY249" fmla="*/ 32004 h 845819"/>
                <a:gd name="connsiteX250" fmla="*/ 465677 w 1029843"/>
                <a:gd name="connsiteY250" fmla="*/ 36862 h 845819"/>
                <a:gd name="connsiteX251" fmla="*/ 459962 w 1029843"/>
                <a:gd name="connsiteY251" fmla="*/ 42481 h 845819"/>
                <a:gd name="connsiteX252" fmla="*/ 446913 w 1029843"/>
                <a:gd name="connsiteY252" fmla="*/ 40862 h 845819"/>
                <a:gd name="connsiteX253" fmla="*/ 436340 w 1029843"/>
                <a:gd name="connsiteY253" fmla="*/ 45434 h 845819"/>
                <a:gd name="connsiteX254" fmla="*/ 431959 w 1029843"/>
                <a:gd name="connsiteY254" fmla="*/ 49244 h 845819"/>
                <a:gd name="connsiteX255" fmla="*/ 430435 w 1029843"/>
                <a:gd name="connsiteY255" fmla="*/ 49435 h 845819"/>
                <a:gd name="connsiteX256" fmla="*/ 420148 w 1029843"/>
                <a:gd name="connsiteY256" fmla="*/ 44291 h 845819"/>
                <a:gd name="connsiteX257" fmla="*/ 409289 w 1029843"/>
                <a:gd name="connsiteY257" fmla="*/ 47339 h 845819"/>
                <a:gd name="connsiteX258" fmla="*/ 404336 w 1029843"/>
                <a:gd name="connsiteY258" fmla="*/ 46292 h 845819"/>
                <a:gd name="connsiteX259" fmla="*/ 397383 w 1029843"/>
                <a:gd name="connsiteY259" fmla="*/ 42386 h 845819"/>
                <a:gd name="connsiteX260" fmla="*/ 394621 w 1029843"/>
                <a:gd name="connsiteY260" fmla="*/ 33147 h 845819"/>
                <a:gd name="connsiteX261" fmla="*/ 390906 w 1029843"/>
                <a:gd name="connsiteY261" fmla="*/ 28766 h 845819"/>
                <a:gd name="connsiteX262" fmla="*/ 382619 w 1029843"/>
                <a:gd name="connsiteY262" fmla="*/ 26670 h 845819"/>
                <a:gd name="connsiteX263" fmla="*/ 377285 w 1029843"/>
                <a:gd name="connsiteY263" fmla="*/ 22479 h 845819"/>
                <a:gd name="connsiteX264" fmla="*/ 369189 w 1029843"/>
                <a:gd name="connsiteY264" fmla="*/ 21907 h 845819"/>
                <a:gd name="connsiteX265" fmla="*/ 350996 w 1029843"/>
                <a:gd name="connsiteY265" fmla="*/ 17812 h 845819"/>
                <a:gd name="connsiteX266" fmla="*/ 348043 w 1029843"/>
                <a:gd name="connsiteY266" fmla="*/ 6953 h 845819"/>
                <a:gd name="connsiteX267" fmla="*/ 337947 w 1029843"/>
                <a:gd name="connsiteY267" fmla="*/ 3429 h 845819"/>
                <a:gd name="connsiteX268" fmla="*/ 321564 w 1029843"/>
                <a:gd name="connsiteY268" fmla="*/ 762 h 845819"/>
                <a:gd name="connsiteX269" fmla="*/ 309372 w 1029843"/>
                <a:gd name="connsiteY269" fmla="*/ 5524 h 845819"/>
                <a:gd name="connsiteX270" fmla="*/ 302228 w 1029843"/>
                <a:gd name="connsiteY270" fmla="*/ 0 h 845819"/>
                <a:gd name="connsiteX271" fmla="*/ 292703 w 1029843"/>
                <a:gd name="connsiteY271" fmla="*/ 1238 h 845819"/>
                <a:gd name="connsiteX272" fmla="*/ 292989 w 1029843"/>
                <a:gd name="connsiteY272" fmla="*/ 15621 h 845819"/>
                <a:gd name="connsiteX273" fmla="*/ 293942 w 1029843"/>
                <a:gd name="connsiteY273" fmla="*/ 23527 h 845819"/>
                <a:gd name="connsiteX274" fmla="*/ 297942 w 1029843"/>
                <a:gd name="connsiteY274" fmla="*/ 29432 h 845819"/>
                <a:gd name="connsiteX275" fmla="*/ 313754 w 1029843"/>
                <a:gd name="connsiteY275" fmla="*/ 40195 h 845819"/>
                <a:gd name="connsiteX276" fmla="*/ 318325 w 1029843"/>
                <a:gd name="connsiteY276" fmla="*/ 50864 h 845819"/>
                <a:gd name="connsiteX277" fmla="*/ 316135 w 1029843"/>
                <a:gd name="connsiteY277" fmla="*/ 59150 h 845819"/>
                <a:gd name="connsiteX278" fmla="*/ 308324 w 1029843"/>
                <a:gd name="connsiteY278" fmla="*/ 72962 h 845819"/>
                <a:gd name="connsiteX279" fmla="*/ 307086 w 1029843"/>
                <a:gd name="connsiteY279" fmla="*/ 76391 h 845819"/>
                <a:gd name="connsiteX280" fmla="*/ 314230 w 1029843"/>
                <a:gd name="connsiteY280" fmla="*/ 81820 h 845819"/>
                <a:gd name="connsiteX281" fmla="*/ 312706 w 1029843"/>
                <a:gd name="connsiteY281" fmla="*/ 94869 h 845819"/>
                <a:gd name="connsiteX282" fmla="*/ 314706 w 1029843"/>
                <a:gd name="connsiteY282" fmla="*/ 97822 h 845819"/>
                <a:gd name="connsiteX283" fmla="*/ 311182 w 1029843"/>
                <a:gd name="connsiteY283" fmla="*/ 107918 h 845819"/>
                <a:gd name="connsiteX284" fmla="*/ 311753 w 1029843"/>
                <a:gd name="connsiteY284" fmla="*/ 112681 h 845819"/>
                <a:gd name="connsiteX285" fmla="*/ 313563 w 1029843"/>
                <a:gd name="connsiteY285" fmla="*/ 114014 h 845819"/>
                <a:gd name="connsiteX286" fmla="*/ 319945 w 1029843"/>
                <a:gd name="connsiteY286" fmla="*/ 138874 h 845819"/>
                <a:gd name="connsiteX287" fmla="*/ 326993 w 1029843"/>
                <a:gd name="connsiteY287" fmla="*/ 144399 h 845819"/>
                <a:gd name="connsiteX288" fmla="*/ 319945 w 1029843"/>
                <a:gd name="connsiteY288" fmla="*/ 151733 h 845819"/>
                <a:gd name="connsiteX289" fmla="*/ 314801 w 1029843"/>
                <a:gd name="connsiteY289" fmla="*/ 161925 h 845819"/>
                <a:gd name="connsiteX290" fmla="*/ 314992 w 1029843"/>
                <a:gd name="connsiteY290" fmla="*/ 163544 h 845819"/>
                <a:gd name="connsiteX291" fmla="*/ 325469 w 1029843"/>
                <a:gd name="connsiteY291" fmla="*/ 170212 h 845819"/>
                <a:gd name="connsiteX292" fmla="*/ 329660 w 1029843"/>
                <a:gd name="connsiteY292" fmla="*/ 177737 h 845819"/>
                <a:gd name="connsiteX293" fmla="*/ 330518 w 1029843"/>
                <a:gd name="connsiteY293" fmla="*/ 184023 h 845819"/>
                <a:gd name="connsiteX294" fmla="*/ 339185 w 1029843"/>
                <a:gd name="connsiteY294" fmla="*/ 189357 h 845819"/>
                <a:gd name="connsiteX295" fmla="*/ 333470 w 1029843"/>
                <a:gd name="connsiteY295" fmla="*/ 194881 h 845819"/>
                <a:gd name="connsiteX296" fmla="*/ 326803 w 1029843"/>
                <a:gd name="connsiteY296" fmla="*/ 205359 h 845819"/>
                <a:gd name="connsiteX297" fmla="*/ 328994 w 1029843"/>
                <a:gd name="connsiteY297" fmla="*/ 209931 h 845819"/>
                <a:gd name="connsiteX298" fmla="*/ 318516 w 1029843"/>
                <a:gd name="connsiteY298" fmla="*/ 228886 h 845819"/>
                <a:gd name="connsiteX299" fmla="*/ 325660 w 1029843"/>
                <a:gd name="connsiteY299" fmla="*/ 234315 h 845819"/>
                <a:gd name="connsiteX300" fmla="*/ 335375 w 1029843"/>
                <a:gd name="connsiteY300" fmla="*/ 234696 h 845819"/>
                <a:gd name="connsiteX301" fmla="*/ 332804 w 1029843"/>
                <a:gd name="connsiteY301" fmla="*/ 239840 h 845819"/>
                <a:gd name="connsiteX302" fmla="*/ 328232 w 1029843"/>
                <a:gd name="connsiteY302" fmla="*/ 242030 h 845819"/>
                <a:gd name="connsiteX303" fmla="*/ 339281 w 1029843"/>
                <a:gd name="connsiteY303" fmla="*/ 253460 h 845819"/>
                <a:gd name="connsiteX304" fmla="*/ 334423 w 1029843"/>
                <a:gd name="connsiteY304" fmla="*/ 252508 h 845819"/>
                <a:gd name="connsiteX305" fmla="*/ 334613 w 1029843"/>
                <a:gd name="connsiteY305" fmla="*/ 254032 h 845819"/>
                <a:gd name="connsiteX306" fmla="*/ 341090 w 1029843"/>
                <a:gd name="connsiteY306" fmla="*/ 254889 h 845819"/>
                <a:gd name="connsiteX307" fmla="*/ 343472 w 1029843"/>
                <a:gd name="connsiteY307" fmla="*/ 260985 h 845819"/>
                <a:gd name="connsiteX308" fmla="*/ 348806 w 1029843"/>
                <a:gd name="connsiteY308" fmla="*/ 265081 h 845819"/>
                <a:gd name="connsiteX309" fmla="*/ 349187 w 1029843"/>
                <a:gd name="connsiteY309" fmla="*/ 268224 h 845819"/>
                <a:gd name="connsiteX310" fmla="*/ 352806 w 1029843"/>
                <a:gd name="connsiteY310" fmla="*/ 270986 h 845819"/>
                <a:gd name="connsiteX311" fmla="*/ 356997 w 1029843"/>
                <a:gd name="connsiteY311" fmla="*/ 278511 h 845819"/>
                <a:gd name="connsiteX312" fmla="*/ 358521 w 1029843"/>
                <a:gd name="connsiteY312" fmla="*/ 278320 h 845819"/>
                <a:gd name="connsiteX313" fmla="*/ 359283 w 1029843"/>
                <a:gd name="connsiteY313" fmla="*/ 284607 h 845819"/>
                <a:gd name="connsiteX314" fmla="*/ 363284 w 1029843"/>
                <a:gd name="connsiteY314" fmla="*/ 290513 h 845819"/>
                <a:gd name="connsiteX315" fmla="*/ 362141 w 1029843"/>
                <a:gd name="connsiteY315" fmla="*/ 293846 h 845819"/>
                <a:gd name="connsiteX316" fmla="*/ 340043 w 1029843"/>
                <a:gd name="connsiteY316" fmla="*/ 296704 h 845819"/>
                <a:gd name="connsiteX317" fmla="*/ 335471 w 1029843"/>
                <a:gd name="connsiteY317" fmla="*/ 298894 h 845819"/>
                <a:gd name="connsiteX318" fmla="*/ 334137 w 1029843"/>
                <a:gd name="connsiteY318" fmla="*/ 300609 h 845819"/>
                <a:gd name="connsiteX319" fmla="*/ 331946 w 1029843"/>
                <a:gd name="connsiteY319" fmla="*/ 296132 h 845819"/>
                <a:gd name="connsiteX320" fmla="*/ 329184 w 1029843"/>
                <a:gd name="connsiteY320" fmla="*/ 299657 h 845819"/>
                <a:gd name="connsiteX321" fmla="*/ 331184 w 1029843"/>
                <a:gd name="connsiteY321" fmla="*/ 302609 h 845819"/>
                <a:gd name="connsiteX322" fmla="*/ 328041 w 1029843"/>
                <a:gd name="connsiteY322" fmla="*/ 302990 h 845819"/>
                <a:gd name="connsiteX323" fmla="*/ 326803 w 1029843"/>
                <a:gd name="connsiteY323" fmla="*/ 293561 h 845819"/>
                <a:gd name="connsiteX324" fmla="*/ 323660 w 1029843"/>
                <a:gd name="connsiteY324" fmla="*/ 293942 h 845819"/>
                <a:gd name="connsiteX325" fmla="*/ 323850 w 1029843"/>
                <a:gd name="connsiteY325" fmla="*/ 295561 h 845819"/>
                <a:gd name="connsiteX326" fmla="*/ 320516 w 1029843"/>
                <a:gd name="connsiteY326" fmla="*/ 294323 h 845819"/>
                <a:gd name="connsiteX327" fmla="*/ 320040 w 1029843"/>
                <a:gd name="connsiteY327" fmla="*/ 291179 h 845819"/>
                <a:gd name="connsiteX328" fmla="*/ 318707 w 1029843"/>
                <a:gd name="connsiteY328" fmla="*/ 292989 h 845819"/>
                <a:gd name="connsiteX329" fmla="*/ 318325 w 1029843"/>
                <a:gd name="connsiteY329" fmla="*/ 289846 h 845819"/>
                <a:gd name="connsiteX330" fmla="*/ 316706 w 1029843"/>
                <a:gd name="connsiteY330" fmla="*/ 290036 h 845819"/>
                <a:gd name="connsiteX331" fmla="*/ 310801 w 1029843"/>
                <a:gd name="connsiteY331" fmla="*/ 293942 h 845819"/>
                <a:gd name="connsiteX332" fmla="*/ 309277 w 1029843"/>
                <a:gd name="connsiteY332" fmla="*/ 294227 h 845819"/>
                <a:gd name="connsiteX333" fmla="*/ 304705 w 1029843"/>
                <a:gd name="connsiteY333" fmla="*/ 296323 h 845819"/>
                <a:gd name="connsiteX334" fmla="*/ 301371 w 1029843"/>
                <a:gd name="connsiteY334" fmla="*/ 295180 h 845819"/>
                <a:gd name="connsiteX335" fmla="*/ 302324 w 1029843"/>
                <a:gd name="connsiteY335" fmla="*/ 303086 h 845819"/>
                <a:gd name="connsiteX336" fmla="*/ 294418 w 1029843"/>
                <a:gd name="connsiteY336" fmla="*/ 304133 h 845819"/>
                <a:gd name="connsiteX337" fmla="*/ 292227 w 1029843"/>
                <a:gd name="connsiteY337" fmla="*/ 299561 h 845819"/>
                <a:gd name="connsiteX338" fmla="*/ 287750 w 1029843"/>
                <a:gd name="connsiteY338" fmla="*/ 301752 h 845819"/>
                <a:gd name="connsiteX339" fmla="*/ 285750 w 1029843"/>
                <a:gd name="connsiteY339" fmla="*/ 298799 h 845819"/>
                <a:gd name="connsiteX340" fmla="*/ 279464 w 1029843"/>
                <a:gd name="connsiteY340" fmla="*/ 299561 h 845819"/>
                <a:gd name="connsiteX341" fmla="*/ 278606 w 1029843"/>
                <a:gd name="connsiteY341" fmla="*/ 293275 h 845819"/>
                <a:gd name="connsiteX342" fmla="*/ 267557 w 1029843"/>
                <a:gd name="connsiteY342" fmla="*/ 281845 h 845819"/>
                <a:gd name="connsiteX343" fmla="*/ 268319 w 1029843"/>
                <a:gd name="connsiteY343" fmla="*/ 275368 h 845819"/>
                <a:gd name="connsiteX344" fmla="*/ 270129 w 1029843"/>
                <a:gd name="connsiteY344" fmla="*/ 276701 h 845819"/>
                <a:gd name="connsiteX345" fmla="*/ 269748 w 1029843"/>
                <a:gd name="connsiteY345" fmla="*/ 273558 h 845819"/>
                <a:gd name="connsiteX346" fmla="*/ 267748 w 1029843"/>
                <a:gd name="connsiteY346" fmla="*/ 270605 h 845819"/>
                <a:gd name="connsiteX347" fmla="*/ 254318 w 1029843"/>
                <a:gd name="connsiteY347" fmla="*/ 265938 h 845819"/>
                <a:gd name="connsiteX348" fmla="*/ 254889 w 1029843"/>
                <a:gd name="connsiteY348" fmla="*/ 270605 h 845819"/>
                <a:gd name="connsiteX349" fmla="*/ 256508 w 1029843"/>
                <a:gd name="connsiteY349" fmla="*/ 270415 h 845819"/>
                <a:gd name="connsiteX350" fmla="*/ 253746 w 1029843"/>
                <a:gd name="connsiteY350" fmla="*/ 274034 h 845819"/>
                <a:gd name="connsiteX351" fmla="*/ 257461 w 1029843"/>
                <a:gd name="connsiteY351" fmla="*/ 278320 h 845819"/>
                <a:gd name="connsiteX352" fmla="*/ 256508 w 1029843"/>
                <a:gd name="connsiteY352" fmla="*/ 283273 h 845819"/>
                <a:gd name="connsiteX353" fmla="*/ 254699 w 1029843"/>
                <a:gd name="connsiteY353" fmla="*/ 281845 h 845819"/>
                <a:gd name="connsiteX354" fmla="*/ 253365 w 1029843"/>
                <a:gd name="connsiteY354" fmla="*/ 283655 h 845819"/>
                <a:gd name="connsiteX355" fmla="*/ 248031 w 1029843"/>
                <a:gd name="connsiteY355" fmla="*/ 279559 h 845819"/>
                <a:gd name="connsiteX356" fmla="*/ 247841 w 1029843"/>
                <a:gd name="connsiteY356" fmla="*/ 290798 h 845819"/>
                <a:gd name="connsiteX357" fmla="*/ 240125 w 1029843"/>
                <a:gd name="connsiteY357" fmla="*/ 293370 h 845819"/>
                <a:gd name="connsiteX358" fmla="*/ 238411 w 1029843"/>
                <a:gd name="connsiteY358" fmla="*/ 292036 h 845819"/>
                <a:gd name="connsiteX359" fmla="*/ 229076 w 1029843"/>
                <a:gd name="connsiteY359" fmla="*/ 294799 h 845819"/>
                <a:gd name="connsiteX360" fmla="*/ 228124 w 1029843"/>
                <a:gd name="connsiteY360" fmla="*/ 299752 h 845819"/>
                <a:gd name="connsiteX361" fmla="*/ 226790 w 1029843"/>
                <a:gd name="connsiteY361" fmla="*/ 301466 h 845819"/>
                <a:gd name="connsiteX362" fmla="*/ 230505 w 1029843"/>
                <a:gd name="connsiteY362" fmla="*/ 305848 h 845819"/>
                <a:gd name="connsiteX363" fmla="*/ 231743 w 1029843"/>
                <a:gd name="connsiteY363" fmla="*/ 315278 h 845819"/>
                <a:gd name="connsiteX364" fmla="*/ 238697 w 1029843"/>
                <a:gd name="connsiteY364" fmla="*/ 319183 h 845819"/>
                <a:gd name="connsiteX365" fmla="*/ 237649 w 1029843"/>
                <a:gd name="connsiteY365" fmla="*/ 324136 h 845819"/>
                <a:gd name="connsiteX366" fmla="*/ 232982 w 1029843"/>
                <a:gd name="connsiteY366" fmla="*/ 324803 h 845819"/>
                <a:gd name="connsiteX367" fmla="*/ 234887 w 1029843"/>
                <a:gd name="connsiteY367" fmla="*/ 327755 h 845819"/>
                <a:gd name="connsiteX368" fmla="*/ 232124 w 1029843"/>
                <a:gd name="connsiteY368" fmla="*/ 331280 h 845819"/>
                <a:gd name="connsiteX369" fmla="*/ 231172 w 1029843"/>
                <a:gd name="connsiteY369" fmla="*/ 336232 h 845819"/>
                <a:gd name="connsiteX370" fmla="*/ 226219 w 1029843"/>
                <a:gd name="connsiteY370" fmla="*/ 335280 h 845819"/>
                <a:gd name="connsiteX371" fmla="*/ 223838 w 1029843"/>
                <a:gd name="connsiteY371" fmla="*/ 329089 h 845819"/>
                <a:gd name="connsiteX372" fmla="*/ 220885 w 1029843"/>
                <a:gd name="connsiteY372" fmla="*/ 331089 h 845819"/>
                <a:gd name="connsiteX373" fmla="*/ 218123 w 1029843"/>
                <a:gd name="connsiteY373" fmla="*/ 334709 h 845819"/>
                <a:gd name="connsiteX374" fmla="*/ 221933 w 1029843"/>
                <a:gd name="connsiteY374" fmla="*/ 338995 h 845819"/>
                <a:gd name="connsiteX375" fmla="*/ 222123 w 1029843"/>
                <a:gd name="connsiteY375" fmla="*/ 340614 h 845819"/>
                <a:gd name="connsiteX376" fmla="*/ 218789 w 1029843"/>
                <a:gd name="connsiteY376" fmla="*/ 339376 h 845819"/>
                <a:gd name="connsiteX377" fmla="*/ 218980 w 1029843"/>
                <a:gd name="connsiteY377" fmla="*/ 340995 h 845819"/>
                <a:gd name="connsiteX378" fmla="*/ 213836 w 1029843"/>
                <a:gd name="connsiteY378" fmla="*/ 338423 h 845819"/>
                <a:gd name="connsiteX379" fmla="*/ 212693 w 1029843"/>
                <a:gd name="connsiteY379" fmla="*/ 341757 h 845819"/>
                <a:gd name="connsiteX380" fmla="*/ 207740 w 1029843"/>
                <a:gd name="connsiteY380" fmla="*/ 340805 h 845819"/>
                <a:gd name="connsiteX381" fmla="*/ 203168 w 1029843"/>
                <a:gd name="connsiteY381" fmla="*/ 342995 h 845819"/>
                <a:gd name="connsiteX382" fmla="*/ 196691 w 1029843"/>
                <a:gd name="connsiteY382" fmla="*/ 342233 h 845819"/>
                <a:gd name="connsiteX383" fmla="*/ 196025 w 1029843"/>
                <a:gd name="connsiteY383" fmla="*/ 337471 h 845819"/>
                <a:gd name="connsiteX384" fmla="*/ 192691 w 1029843"/>
                <a:gd name="connsiteY384" fmla="*/ 336328 h 845819"/>
                <a:gd name="connsiteX385" fmla="*/ 195834 w 1029843"/>
                <a:gd name="connsiteY385" fmla="*/ 335947 h 845819"/>
                <a:gd name="connsiteX386" fmla="*/ 195453 w 1029843"/>
                <a:gd name="connsiteY386" fmla="*/ 332708 h 845819"/>
                <a:gd name="connsiteX387" fmla="*/ 190691 w 1029843"/>
                <a:gd name="connsiteY387" fmla="*/ 333375 h 845819"/>
                <a:gd name="connsiteX388" fmla="*/ 188786 w 1029843"/>
                <a:gd name="connsiteY388" fmla="*/ 330422 h 845819"/>
                <a:gd name="connsiteX389" fmla="*/ 196882 w 1029843"/>
                <a:gd name="connsiteY389" fmla="*/ 330994 h 845819"/>
                <a:gd name="connsiteX390" fmla="*/ 196596 w 1029843"/>
                <a:gd name="connsiteY390" fmla="*/ 329375 h 845819"/>
                <a:gd name="connsiteX391" fmla="*/ 193262 w 1029843"/>
                <a:gd name="connsiteY391" fmla="*/ 328232 h 845819"/>
                <a:gd name="connsiteX392" fmla="*/ 191072 w 1029843"/>
                <a:gd name="connsiteY392" fmla="*/ 323659 h 845819"/>
                <a:gd name="connsiteX393" fmla="*/ 194215 w 1029843"/>
                <a:gd name="connsiteY393" fmla="*/ 323279 h 845819"/>
                <a:gd name="connsiteX394" fmla="*/ 190119 w 1029843"/>
                <a:gd name="connsiteY394" fmla="*/ 315754 h 845819"/>
                <a:gd name="connsiteX395" fmla="*/ 191262 w 1029843"/>
                <a:gd name="connsiteY395" fmla="*/ 312420 h 845819"/>
                <a:gd name="connsiteX396" fmla="*/ 187928 w 1029843"/>
                <a:gd name="connsiteY396" fmla="*/ 311277 h 845819"/>
                <a:gd name="connsiteX397" fmla="*/ 182023 w 1029843"/>
                <a:gd name="connsiteY397" fmla="*/ 315182 h 845819"/>
                <a:gd name="connsiteX398" fmla="*/ 181832 w 1029843"/>
                <a:gd name="connsiteY398" fmla="*/ 326422 h 845819"/>
                <a:gd name="connsiteX399" fmla="*/ 174879 w 1029843"/>
                <a:gd name="connsiteY399" fmla="*/ 322517 h 845819"/>
                <a:gd name="connsiteX400" fmla="*/ 172784 w 1029843"/>
                <a:gd name="connsiteY400" fmla="*/ 318040 h 845819"/>
                <a:gd name="connsiteX401" fmla="*/ 166021 w 1029843"/>
                <a:gd name="connsiteY401" fmla="*/ 315659 h 845819"/>
                <a:gd name="connsiteX402" fmla="*/ 164402 w 1029843"/>
                <a:gd name="connsiteY402" fmla="*/ 315849 h 845819"/>
                <a:gd name="connsiteX403" fmla="*/ 160306 w 1029843"/>
                <a:gd name="connsiteY403" fmla="*/ 308324 h 845819"/>
                <a:gd name="connsiteX404" fmla="*/ 161449 w 1029843"/>
                <a:gd name="connsiteY404" fmla="*/ 304990 h 845819"/>
                <a:gd name="connsiteX405" fmla="*/ 153162 w 1029843"/>
                <a:gd name="connsiteY405" fmla="*/ 302895 h 845819"/>
                <a:gd name="connsiteX406" fmla="*/ 152019 w 1029843"/>
                <a:gd name="connsiteY406" fmla="*/ 306229 h 845819"/>
                <a:gd name="connsiteX407" fmla="*/ 150400 w 1029843"/>
                <a:gd name="connsiteY407" fmla="*/ 306419 h 845819"/>
                <a:gd name="connsiteX408" fmla="*/ 148209 w 1029843"/>
                <a:gd name="connsiteY408" fmla="*/ 301847 h 845819"/>
                <a:gd name="connsiteX409" fmla="*/ 144113 w 1029843"/>
                <a:gd name="connsiteY409" fmla="*/ 307181 h 845819"/>
                <a:gd name="connsiteX410" fmla="*/ 142113 w 1029843"/>
                <a:gd name="connsiteY410" fmla="*/ 304229 h 845819"/>
                <a:gd name="connsiteX411" fmla="*/ 133826 w 1029843"/>
                <a:gd name="connsiteY411" fmla="*/ 302133 h 845819"/>
                <a:gd name="connsiteX412" fmla="*/ 134969 w 1029843"/>
                <a:gd name="connsiteY412" fmla="*/ 298704 h 845819"/>
                <a:gd name="connsiteX413" fmla="*/ 126302 w 1029843"/>
                <a:gd name="connsiteY413" fmla="*/ 293465 h 845819"/>
                <a:gd name="connsiteX414" fmla="*/ 124968 w 1029843"/>
                <a:gd name="connsiteY414" fmla="*/ 295180 h 845819"/>
                <a:gd name="connsiteX415" fmla="*/ 121349 w 1029843"/>
                <a:gd name="connsiteY415" fmla="*/ 292513 h 845819"/>
                <a:gd name="connsiteX416" fmla="*/ 116681 w 1029843"/>
                <a:gd name="connsiteY416" fmla="*/ 293084 h 845819"/>
                <a:gd name="connsiteX417" fmla="*/ 115253 w 1029843"/>
                <a:gd name="connsiteY417" fmla="*/ 294894 h 845819"/>
                <a:gd name="connsiteX418" fmla="*/ 111538 w 1029843"/>
                <a:gd name="connsiteY418" fmla="*/ 290513 h 845819"/>
                <a:gd name="connsiteX419" fmla="*/ 110300 w 1029843"/>
                <a:gd name="connsiteY419" fmla="*/ 293846 h 845819"/>
                <a:gd name="connsiteX420" fmla="*/ 107156 w 1029843"/>
                <a:gd name="connsiteY420" fmla="*/ 294323 h 845819"/>
                <a:gd name="connsiteX421" fmla="*/ 106013 w 1029843"/>
                <a:gd name="connsiteY421" fmla="*/ 297656 h 845819"/>
                <a:gd name="connsiteX422" fmla="*/ 104394 w 1029843"/>
                <a:gd name="connsiteY422" fmla="*/ 297847 h 845819"/>
                <a:gd name="connsiteX423" fmla="*/ 101632 w 1029843"/>
                <a:gd name="connsiteY423" fmla="*/ 301371 h 845819"/>
                <a:gd name="connsiteX424" fmla="*/ 103442 w 1029843"/>
                <a:gd name="connsiteY424" fmla="*/ 302800 h 845819"/>
                <a:gd name="connsiteX425" fmla="*/ 95726 w 1029843"/>
                <a:gd name="connsiteY425" fmla="*/ 305371 h 845819"/>
                <a:gd name="connsiteX426" fmla="*/ 96583 w 1029843"/>
                <a:gd name="connsiteY426" fmla="*/ 311658 h 845819"/>
                <a:gd name="connsiteX427" fmla="*/ 91631 w 1029843"/>
                <a:gd name="connsiteY427" fmla="*/ 310705 h 845819"/>
                <a:gd name="connsiteX428" fmla="*/ 93631 w 1029843"/>
                <a:gd name="connsiteY428" fmla="*/ 313658 h 845819"/>
                <a:gd name="connsiteX429" fmla="*/ 92869 w 1029843"/>
                <a:gd name="connsiteY429" fmla="*/ 320135 h 845819"/>
                <a:gd name="connsiteX430" fmla="*/ 93250 w 1029843"/>
                <a:gd name="connsiteY430" fmla="*/ 323279 h 845819"/>
                <a:gd name="connsiteX431" fmla="*/ 88487 w 1029843"/>
                <a:gd name="connsiteY431" fmla="*/ 323945 h 845819"/>
                <a:gd name="connsiteX432" fmla="*/ 85344 w 1029843"/>
                <a:gd name="connsiteY432" fmla="*/ 324326 h 845819"/>
                <a:gd name="connsiteX433" fmla="*/ 80772 w 1029843"/>
                <a:gd name="connsiteY433" fmla="*/ 326517 h 845819"/>
                <a:gd name="connsiteX434" fmla="*/ 71723 w 1029843"/>
                <a:gd name="connsiteY434" fmla="*/ 318040 h 845819"/>
                <a:gd name="connsiteX435" fmla="*/ 63246 w 1029843"/>
                <a:gd name="connsiteY435" fmla="*/ 314325 h 845819"/>
                <a:gd name="connsiteX436" fmla="*/ 54959 w 1029843"/>
                <a:gd name="connsiteY436" fmla="*/ 312134 h 845819"/>
                <a:gd name="connsiteX437" fmla="*/ 51149 w 1029843"/>
                <a:gd name="connsiteY437" fmla="*/ 307848 h 845819"/>
                <a:gd name="connsiteX438" fmla="*/ 47625 w 1029843"/>
                <a:gd name="connsiteY438" fmla="*/ 305086 h 845819"/>
                <a:gd name="connsiteX439" fmla="*/ 35528 w 1029843"/>
                <a:gd name="connsiteY439" fmla="*/ 298609 h 845819"/>
                <a:gd name="connsiteX440" fmla="*/ 34195 w 1029843"/>
                <a:gd name="connsiteY440" fmla="*/ 300419 h 845819"/>
                <a:gd name="connsiteX441" fmla="*/ 29242 w 1029843"/>
                <a:gd name="connsiteY441" fmla="*/ 299371 h 845819"/>
                <a:gd name="connsiteX442" fmla="*/ 28670 w 1029843"/>
                <a:gd name="connsiteY442" fmla="*/ 294704 h 845819"/>
                <a:gd name="connsiteX443" fmla="*/ 26670 w 1029843"/>
                <a:gd name="connsiteY443" fmla="*/ 291751 h 845819"/>
                <a:gd name="connsiteX444" fmla="*/ 25527 w 1029843"/>
                <a:gd name="connsiteY444" fmla="*/ 295084 h 845819"/>
                <a:gd name="connsiteX445" fmla="*/ 23908 w 1029843"/>
                <a:gd name="connsiteY445" fmla="*/ 295275 h 845819"/>
                <a:gd name="connsiteX446" fmla="*/ 24289 w 1029843"/>
                <a:gd name="connsiteY446" fmla="*/ 298418 h 845819"/>
                <a:gd name="connsiteX447" fmla="*/ 22765 w 1029843"/>
                <a:gd name="connsiteY447" fmla="*/ 298609 h 845819"/>
                <a:gd name="connsiteX448" fmla="*/ 23336 w 1029843"/>
                <a:gd name="connsiteY448" fmla="*/ 303371 h 845819"/>
                <a:gd name="connsiteX449" fmla="*/ 16859 w 1029843"/>
                <a:gd name="connsiteY449" fmla="*/ 302609 h 845819"/>
                <a:gd name="connsiteX450" fmla="*/ 17240 w 1029843"/>
                <a:gd name="connsiteY450" fmla="*/ 305753 h 845819"/>
                <a:gd name="connsiteX451" fmla="*/ 9335 w 1029843"/>
                <a:gd name="connsiteY451" fmla="*/ 306705 h 845819"/>
                <a:gd name="connsiteX452" fmla="*/ 4953 w 1029843"/>
                <a:gd name="connsiteY452" fmla="*/ 310515 h 845819"/>
                <a:gd name="connsiteX453" fmla="*/ 6001 w 1029843"/>
                <a:gd name="connsiteY453" fmla="*/ 318421 h 845819"/>
                <a:gd name="connsiteX454" fmla="*/ 8001 w 1029843"/>
                <a:gd name="connsiteY454" fmla="*/ 321373 h 845819"/>
                <a:gd name="connsiteX455" fmla="*/ 11335 w 1029843"/>
                <a:gd name="connsiteY455" fmla="*/ 322517 h 845819"/>
                <a:gd name="connsiteX456" fmla="*/ 18860 w 1029843"/>
                <a:gd name="connsiteY456" fmla="*/ 331184 h 845819"/>
                <a:gd name="connsiteX457" fmla="*/ 19431 w 1029843"/>
                <a:gd name="connsiteY457" fmla="*/ 335947 h 845819"/>
                <a:gd name="connsiteX458" fmla="*/ 18288 w 1029843"/>
                <a:gd name="connsiteY458" fmla="*/ 339280 h 845819"/>
                <a:gd name="connsiteX459" fmla="*/ 16954 w 1029843"/>
                <a:gd name="connsiteY459" fmla="*/ 341090 h 845819"/>
                <a:gd name="connsiteX460" fmla="*/ 20288 w 1029843"/>
                <a:gd name="connsiteY460" fmla="*/ 342233 h 845819"/>
                <a:gd name="connsiteX461" fmla="*/ 25622 w 1029843"/>
                <a:gd name="connsiteY461" fmla="*/ 346329 h 845819"/>
                <a:gd name="connsiteX462" fmla="*/ 24194 w 1029843"/>
                <a:gd name="connsiteY462" fmla="*/ 348139 h 845819"/>
                <a:gd name="connsiteX463" fmla="*/ 24670 w 1029843"/>
                <a:gd name="connsiteY463" fmla="*/ 351282 h 845819"/>
                <a:gd name="connsiteX464" fmla="*/ 21241 w 1029843"/>
                <a:gd name="connsiteY464" fmla="*/ 350139 h 845819"/>
                <a:gd name="connsiteX465" fmla="*/ 19907 w 1029843"/>
                <a:gd name="connsiteY465" fmla="*/ 351949 h 845819"/>
                <a:gd name="connsiteX466" fmla="*/ 21431 w 1029843"/>
                <a:gd name="connsiteY466" fmla="*/ 351663 h 845819"/>
                <a:gd name="connsiteX467" fmla="*/ 21908 w 1029843"/>
                <a:gd name="connsiteY467" fmla="*/ 354902 h 845819"/>
                <a:gd name="connsiteX468" fmla="*/ 20669 w 1029843"/>
                <a:gd name="connsiteY468" fmla="*/ 358235 h 845819"/>
                <a:gd name="connsiteX469" fmla="*/ 22289 w 1029843"/>
                <a:gd name="connsiteY469" fmla="*/ 358045 h 845819"/>
                <a:gd name="connsiteX470" fmla="*/ 21527 w 1029843"/>
                <a:gd name="connsiteY470" fmla="*/ 364522 h 845819"/>
                <a:gd name="connsiteX471" fmla="*/ 19907 w 1029843"/>
                <a:gd name="connsiteY471" fmla="*/ 364712 h 845819"/>
                <a:gd name="connsiteX472" fmla="*/ 20574 w 1029843"/>
                <a:gd name="connsiteY472" fmla="*/ 369475 h 845819"/>
                <a:gd name="connsiteX473" fmla="*/ 16193 w 1029843"/>
                <a:gd name="connsiteY473" fmla="*/ 373190 h 845819"/>
                <a:gd name="connsiteX474" fmla="*/ 18574 w 1029843"/>
                <a:gd name="connsiteY474" fmla="*/ 379381 h 845819"/>
                <a:gd name="connsiteX475" fmla="*/ 23146 w 1029843"/>
                <a:gd name="connsiteY475" fmla="*/ 377190 h 845819"/>
                <a:gd name="connsiteX476" fmla="*/ 23527 w 1029843"/>
                <a:gd name="connsiteY476" fmla="*/ 380333 h 845819"/>
                <a:gd name="connsiteX477" fmla="*/ 26479 w 1029843"/>
                <a:gd name="connsiteY477" fmla="*/ 378333 h 845819"/>
                <a:gd name="connsiteX478" fmla="*/ 28289 w 1029843"/>
                <a:gd name="connsiteY478" fmla="*/ 379667 h 845819"/>
                <a:gd name="connsiteX479" fmla="*/ 34195 w 1029843"/>
                <a:gd name="connsiteY479" fmla="*/ 388620 h 845819"/>
                <a:gd name="connsiteX480" fmla="*/ 34576 w 1029843"/>
                <a:gd name="connsiteY480" fmla="*/ 391763 h 845819"/>
                <a:gd name="connsiteX481" fmla="*/ 29813 w 1029843"/>
                <a:gd name="connsiteY481" fmla="*/ 392335 h 845819"/>
                <a:gd name="connsiteX482" fmla="*/ 30480 w 1029843"/>
                <a:gd name="connsiteY482" fmla="*/ 397097 h 845819"/>
                <a:gd name="connsiteX483" fmla="*/ 33814 w 1029843"/>
                <a:gd name="connsiteY483" fmla="*/ 398240 h 845819"/>
                <a:gd name="connsiteX484" fmla="*/ 32671 w 1029843"/>
                <a:gd name="connsiteY484" fmla="*/ 401574 h 845819"/>
                <a:gd name="connsiteX485" fmla="*/ 39338 w 1029843"/>
                <a:gd name="connsiteY485" fmla="*/ 403955 h 845819"/>
                <a:gd name="connsiteX486" fmla="*/ 34100 w 1029843"/>
                <a:gd name="connsiteY486" fmla="*/ 425482 h 845819"/>
                <a:gd name="connsiteX487" fmla="*/ 32290 w 1029843"/>
                <a:gd name="connsiteY487" fmla="*/ 424053 h 845819"/>
                <a:gd name="connsiteX488" fmla="*/ 31147 w 1029843"/>
                <a:gd name="connsiteY488" fmla="*/ 427482 h 845819"/>
                <a:gd name="connsiteX489" fmla="*/ 29147 w 1029843"/>
                <a:gd name="connsiteY489" fmla="*/ 424529 h 845819"/>
                <a:gd name="connsiteX490" fmla="*/ 28004 w 1029843"/>
                <a:gd name="connsiteY490" fmla="*/ 427863 h 845819"/>
                <a:gd name="connsiteX491" fmla="*/ 21622 w 1029843"/>
                <a:gd name="connsiteY491" fmla="*/ 428625 h 845819"/>
                <a:gd name="connsiteX492" fmla="*/ 22479 w 1029843"/>
                <a:gd name="connsiteY492" fmla="*/ 435007 h 845819"/>
                <a:gd name="connsiteX493" fmla="*/ 24003 w 1029843"/>
                <a:gd name="connsiteY493" fmla="*/ 434816 h 845819"/>
                <a:gd name="connsiteX494" fmla="*/ 24479 w 1029843"/>
                <a:gd name="connsiteY494" fmla="*/ 437959 h 845819"/>
                <a:gd name="connsiteX495" fmla="*/ 21527 w 1029843"/>
                <a:gd name="connsiteY495" fmla="*/ 439865 h 845819"/>
                <a:gd name="connsiteX496" fmla="*/ 26861 w 1029843"/>
                <a:gd name="connsiteY496" fmla="*/ 444055 h 845819"/>
                <a:gd name="connsiteX497" fmla="*/ 25622 w 1029843"/>
                <a:gd name="connsiteY497" fmla="*/ 447389 h 845819"/>
                <a:gd name="connsiteX498" fmla="*/ 22479 w 1029843"/>
                <a:gd name="connsiteY498" fmla="*/ 447770 h 845819"/>
                <a:gd name="connsiteX499" fmla="*/ 21146 w 1029843"/>
                <a:gd name="connsiteY499" fmla="*/ 449580 h 845819"/>
                <a:gd name="connsiteX500" fmla="*/ 19526 w 1029843"/>
                <a:gd name="connsiteY500" fmla="*/ 449771 h 845819"/>
                <a:gd name="connsiteX501" fmla="*/ 20955 w 1029843"/>
                <a:gd name="connsiteY501" fmla="*/ 447961 h 845819"/>
                <a:gd name="connsiteX502" fmla="*/ 19145 w 1029843"/>
                <a:gd name="connsiteY502" fmla="*/ 446627 h 845819"/>
                <a:gd name="connsiteX503" fmla="*/ 17717 w 1029843"/>
                <a:gd name="connsiteY503" fmla="*/ 448437 h 845819"/>
                <a:gd name="connsiteX504" fmla="*/ 14383 w 1029843"/>
                <a:gd name="connsiteY504" fmla="*/ 447199 h 845819"/>
                <a:gd name="connsiteX505" fmla="*/ 13049 w 1029843"/>
                <a:gd name="connsiteY505" fmla="*/ 449009 h 845819"/>
                <a:gd name="connsiteX506" fmla="*/ 9430 w 1029843"/>
                <a:gd name="connsiteY506" fmla="*/ 446246 h 845819"/>
                <a:gd name="connsiteX507" fmla="*/ 6953 w 1029843"/>
                <a:gd name="connsiteY507" fmla="*/ 451390 h 845819"/>
                <a:gd name="connsiteX508" fmla="*/ 0 w 1029843"/>
                <a:gd name="connsiteY508" fmla="*/ 460248 h 845819"/>
                <a:gd name="connsiteX509" fmla="*/ 5525 w 1029843"/>
                <a:gd name="connsiteY509" fmla="*/ 465963 h 845819"/>
                <a:gd name="connsiteX510" fmla="*/ 9525 w 1029843"/>
                <a:gd name="connsiteY510" fmla="*/ 471869 h 845819"/>
                <a:gd name="connsiteX511" fmla="*/ 12668 w 1029843"/>
                <a:gd name="connsiteY511" fmla="*/ 471488 h 845819"/>
                <a:gd name="connsiteX512" fmla="*/ 18002 w 1029843"/>
                <a:gd name="connsiteY512" fmla="*/ 475679 h 845819"/>
                <a:gd name="connsiteX513" fmla="*/ 16478 w 1029843"/>
                <a:gd name="connsiteY513" fmla="*/ 475869 h 845819"/>
                <a:gd name="connsiteX514" fmla="*/ 12287 w 1029843"/>
                <a:gd name="connsiteY514" fmla="*/ 481203 h 845819"/>
                <a:gd name="connsiteX515" fmla="*/ 15050 w 1029843"/>
                <a:gd name="connsiteY515" fmla="*/ 490442 h 845819"/>
                <a:gd name="connsiteX516" fmla="*/ 17240 w 1029843"/>
                <a:gd name="connsiteY516" fmla="*/ 495014 h 845819"/>
                <a:gd name="connsiteX517" fmla="*/ 20860 w 1029843"/>
                <a:gd name="connsiteY517" fmla="*/ 497681 h 845819"/>
                <a:gd name="connsiteX518" fmla="*/ 27718 w 1029843"/>
                <a:gd name="connsiteY518" fmla="*/ 501682 h 845819"/>
                <a:gd name="connsiteX519" fmla="*/ 34481 w 1029843"/>
                <a:gd name="connsiteY519" fmla="*/ 503968 h 845819"/>
                <a:gd name="connsiteX520" fmla="*/ 37433 w 1029843"/>
                <a:gd name="connsiteY520" fmla="*/ 502063 h 845819"/>
                <a:gd name="connsiteX521" fmla="*/ 42767 w 1029843"/>
                <a:gd name="connsiteY521" fmla="*/ 493300 h 845819"/>
                <a:gd name="connsiteX522" fmla="*/ 46673 w 1029843"/>
                <a:gd name="connsiteY522" fmla="*/ 499205 h 845819"/>
                <a:gd name="connsiteX523" fmla="*/ 55150 w 1029843"/>
                <a:gd name="connsiteY523" fmla="*/ 502920 h 845819"/>
                <a:gd name="connsiteX524" fmla="*/ 58579 w 1029843"/>
                <a:gd name="connsiteY524" fmla="*/ 504158 h 845819"/>
                <a:gd name="connsiteX525" fmla="*/ 57150 w 1029843"/>
                <a:gd name="connsiteY525" fmla="*/ 505968 h 845819"/>
                <a:gd name="connsiteX526" fmla="*/ 55817 w 1029843"/>
                <a:gd name="connsiteY526" fmla="*/ 507682 h 845819"/>
                <a:gd name="connsiteX527" fmla="*/ 54197 w 1029843"/>
                <a:gd name="connsiteY527" fmla="*/ 507873 h 845819"/>
                <a:gd name="connsiteX528" fmla="*/ 53626 w 1029843"/>
                <a:gd name="connsiteY528" fmla="*/ 515969 h 845819"/>
                <a:gd name="connsiteX529" fmla="*/ 56960 w 1029843"/>
                <a:gd name="connsiteY529" fmla="*/ 517207 h 845819"/>
                <a:gd name="connsiteX530" fmla="*/ 61150 w 1029843"/>
                <a:gd name="connsiteY530" fmla="*/ 511873 h 845819"/>
                <a:gd name="connsiteX531" fmla="*/ 62865 w 1029843"/>
                <a:gd name="connsiteY531" fmla="*/ 513207 h 845819"/>
                <a:gd name="connsiteX532" fmla="*/ 63056 w 1029843"/>
                <a:gd name="connsiteY532" fmla="*/ 514826 h 845819"/>
                <a:gd name="connsiteX533" fmla="*/ 67056 w 1029843"/>
                <a:gd name="connsiteY533" fmla="*/ 520732 h 845819"/>
                <a:gd name="connsiteX534" fmla="*/ 68675 w 1029843"/>
                <a:gd name="connsiteY534" fmla="*/ 520541 h 845819"/>
                <a:gd name="connsiteX535" fmla="*/ 70580 w 1029843"/>
                <a:gd name="connsiteY535" fmla="*/ 523494 h 845819"/>
                <a:gd name="connsiteX536" fmla="*/ 73819 w 1029843"/>
                <a:gd name="connsiteY536" fmla="*/ 523018 h 845819"/>
                <a:gd name="connsiteX537" fmla="*/ 77533 w 1029843"/>
                <a:gd name="connsiteY537" fmla="*/ 527399 h 845819"/>
                <a:gd name="connsiteX538" fmla="*/ 78105 w 1029843"/>
                <a:gd name="connsiteY538" fmla="*/ 532162 h 845819"/>
                <a:gd name="connsiteX539" fmla="*/ 74771 w 1029843"/>
                <a:gd name="connsiteY539" fmla="*/ 530924 h 845819"/>
                <a:gd name="connsiteX540" fmla="*/ 68866 w 1029843"/>
                <a:gd name="connsiteY540" fmla="*/ 534924 h 845819"/>
                <a:gd name="connsiteX541" fmla="*/ 69247 w 1029843"/>
                <a:gd name="connsiteY541" fmla="*/ 538067 h 845819"/>
                <a:gd name="connsiteX542" fmla="*/ 72866 w 1029843"/>
                <a:gd name="connsiteY542" fmla="*/ 540830 h 845819"/>
                <a:gd name="connsiteX543" fmla="*/ 73438 w 1029843"/>
                <a:gd name="connsiteY543" fmla="*/ 545592 h 845819"/>
                <a:gd name="connsiteX544" fmla="*/ 70866 w 1029843"/>
                <a:gd name="connsiteY544" fmla="*/ 550640 h 845819"/>
                <a:gd name="connsiteX545" fmla="*/ 74486 w 1029843"/>
                <a:gd name="connsiteY545" fmla="*/ 553403 h 845819"/>
                <a:gd name="connsiteX546" fmla="*/ 84677 w 1029843"/>
                <a:gd name="connsiteY546" fmla="*/ 558546 h 845819"/>
                <a:gd name="connsiteX547" fmla="*/ 85154 w 1029843"/>
                <a:gd name="connsiteY547" fmla="*/ 561689 h 845819"/>
                <a:gd name="connsiteX548" fmla="*/ 86868 w 1029843"/>
                <a:gd name="connsiteY548" fmla="*/ 563118 h 845819"/>
                <a:gd name="connsiteX549" fmla="*/ 88106 w 1029843"/>
                <a:gd name="connsiteY549" fmla="*/ 559689 h 845819"/>
                <a:gd name="connsiteX550" fmla="*/ 89630 w 1029843"/>
                <a:gd name="connsiteY550" fmla="*/ 559499 h 845819"/>
                <a:gd name="connsiteX551" fmla="*/ 90011 w 1029843"/>
                <a:gd name="connsiteY551" fmla="*/ 562642 h 845819"/>
                <a:gd name="connsiteX552" fmla="*/ 91821 w 1029843"/>
                <a:gd name="connsiteY552" fmla="*/ 564071 h 845819"/>
                <a:gd name="connsiteX553" fmla="*/ 93250 w 1029843"/>
                <a:gd name="connsiteY553" fmla="*/ 562261 h 845819"/>
                <a:gd name="connsiteX554" fmla="*/ 94774 w 1029843"/>
                <a:gd name="connsiteY554" fmla="*/ 562070 h 845819"/>
                <a:gd name="connsiteX555" fmla="*/ 94393 w 1029843"/>
                <a:gd name="connsiteY555" fmla="*/ 558927 h 845819"/>
                <a:gd name="connsiteX556" fmla="*/ 104013 w 1029843"/>
                <a:gd name="connsiteY556" fmla="*/ 559308 h 845819"/>
                <a:gd name="connsiteX557" fmla="*/ 108204 w 1029843"/>
                <a:gd name="connsiteY557" fmla="*/ 553974 h 845819"/>
                <a:gd name="connsiteX558" fmla="*/ 111347 w 1029843"/>
                <a:gd name="connsiteY558" fmla="*/ 553593 h 845819"/>
                <a:gd name="connsiteX559" fmla="*/ 113157 w 1029843"/>
                <a:gd name="connsiteY559" fmla="*/ 554927 h 845819"/>
                <a:gd name="connsiteX560" fmla="*/ 113348 w 1029843"/>
                <a:gd name="connsiteY560" fmla="*/ 556546 h 845819"/>
                <a:gd name="connsiteX561" fmla="*/ 116872 w 1029843"/>
                <a:gd name="connsiteY561" fmla="*/ 559308 h 845819"/>
                <a:gd name="connsiteX562" fmla="*/ 117062 w 1029843"/>
                <a:gd name="connsiteY562" fmla="*/ 560832 h 845819"/>
                <a:gd name="connsiteX563" fmla="*/ 120015 w 1029843"/>
                <a:gd name="connsiteY563" fmla="*/ 558832 h 845819"/>
                <a:gd name="connsiteX564" fmla="*/ 123635 w 1029843"/>
                <a:gd name="connsiteY564" fmla="*/ 561594 h 845819"/>
                <a:gd name="connsiteX565" fmla="*/ 124968 w 1029843"/>
                <a:gd name="connsiteY565" fmla="*/ 559880 h 845819"/>
                <a:gd name="connsiteX566" fmla="*/ 131731 w 1029843"/>
                <a:gd name="connsiteY566" fmla="*/ 562165 h 845819"/>
                <a:gd name="connsiteX567" fmla="*/ 138589 w 1029843"/>
                <a:gd name="connsiteY567" fmla="*/ 566071 h 845819"/>
                <a:gd name="connsiteX568" fmla="*/ 137255 w 1029843"/>
                <a:gd name="connsiteY568" fmla="*/ 567880 h 845819"/>
                <a:gd name="connsiteX569" fmla="*/ 140779 w 1029843"/>
                <a:gd name="connsiteY569" fmla="*/ 570643 h 845819"/>
                <a:gd name="connsiteX570" fmla="*/ 142113 w 1029843"/>
                <a:gd name="connsiteY570" fmla="*/ 568833 h 845819"/>
                <a:gd name="connsiteX571" fmla="*/ 146495 w 1029843"/>
                <a:gd name="connsiteY571" fmla="*/ 565118 h 845819"/>
                <a:gd name="connsiteX572" fmla="*/ 148876 w 1029843"/>
                <a:gd name="connsiteY572" fmla="*/ 558355 h 845819"/>
                <a:gd name="connsiteX573" fmla="*/ 155353 w 1029843"/>
                <a:gd name="connsiteY573" fmla="*/ 559213 h 845819"/>
                <a:gd name="connsiteX574" fmla="*/ 159734 w 1029843"/>
                <a:gd name="connsiteY574" fmla="*/ 555403 h 845819"/>
                <a:gd name="connsiteX575" fmla="*/ 164402 w 1029843"/>
                <a:gd name="connsiteY575" fmla="*/ 554831 h 845819"/>
                <a:gd name="connsiteX576" fmla="*/ 165830 w 1029843"/>
                <a:gd name="connsiteY576" fmla="*/ 553022 h 845819"/>
                <a:gd name="connsiteX577" fmla="*/ 170498 w 1029843"/>
                <a:gd name="connsiteY577" fmla="*/ 552450 h 845819"/>
                <a:gd name="connsiteX578" fmla="*/ 171736 w 1029843"/>
                <a:gd name="connsiteY578" fmla="*/ 549116 h 845819"/>
                <a:gd name="connsiteX579" fmla="*/ 172117 w 1029843"/>
                <a:gd name="connsiteY579" fmla="*/ 552259 h 845819"/>
                <a:gd name="connsiteX580" fmla="*/ 173736 w 1029843"/>
                <a:gd name="connsiteY580" fmla="*/ 552069 h 845819"/>
                <a:gd name="connsiteX581" fmla="*/ 174689 w 1029843"/>
                <a:gd name="connsiteY581" fmla="*/ 559880 h 845819"/>
                <a:gd name="connsiteX582" fmla="*/ 176308 w 1029843"/>
                <a:gd name="connsiteY582" fmla="*/ 559689 h 845819"/>
                <a:gd name="connsiteX583" fmla="*/ 176498 w 1029843"/>
                <a:gd name="connsiteY583" fmla="*/ 561308 h 845819"/>
                <a:gd name="connsiteX584" fmla="*/ 181166 w 1029843"/>
                <a:gd name="connsiteY584" fmla="*/ 560642 h 845819"/>
                <a:gd name="connsiteX585" fmla="*/ 184785 w 1029843"/>
                <a:gd name="connsiteY585" fmla="*/ 563404 h 845819"/>
                <a:gd name="connsiteX586" fmla="*/ 184975 w 1029843"/>
                <a:gd name="connsiteY586" fmla="*/ 565023 h 845819"/>
                <a:gd name="connsiteX587" fmla="*/ 189738 w 1029843"/>
                <a:gd name="connsiteY587" fmla="*/ 564452 h 845819"/>
                <a:gd name="connsiteX588" fmla="*/ 191929 w 1029843"/>
                <a:gd name="connsiteY588" fmla="*/ 568928 h 845819"/>
                <a:gd name="connsiteX589" fmla="*/ 187547 w 1029843"/>
                <a:gd name="connsiteY589" fmla="*/ 572738 h 845819"/>
                <a:gd name="connsiteX590" fmla="*/ 189738 w 1029843"/>
                <a:gd name="connsiteY590" fmla="*/ 577215 h 845819"/>
                <a:gd name="connsiteX591" fmla="*/ 189929 w 1029843"/>
                <a:gd name="connsiteY591" fmla="*/ 578834 h 845819"/>
                <a:gd name="connsiteX592" fmla="*/ 188404 w 1029843"/>
                <a:gd name="connsiteY592" fmla="*/ 579025 h 845819"/>
                <a:gd name="connsiteX593" fmla="*/ 191167 w 1029843"/>
                <a:gd name="connsiteY593" fmla="*/ 588264 h 845819"/>
                <a:gd name="connsiteX594" fmla="*/ 190214 w 1029843"/>
                <a:gd name="connsiteY594" fmla="*/ 593217 h 845819"/>
                <a:gd name="connsiteX595" fmla="*/ 191929 w 1029843"/>
                <a:gd name="connsiteY595" fmla="*/ 594551 h 845819"/>
                <a:gd name="connsiteX596" fmla="*/ 195929 w 1029843"/>
                <a:gd name="connsiteY596" fmla="*/ 600551 h 845819"/>
                <a:gd name="connsiteX597" fmla="*/ 191548 w 1029843"/>
                <a:gd name="connsiteY597" fmla="*/ 604266 h 845819"/>
                <a:gd name="connsiteX598" fmla="*/ 186881 w 1029843"/>
                <a:gd name="connsiteY598" fmla="*/ 604838 h 845819"/>
                <a:gd name="connsiteX599" fmla="*/ 184118 w 1029843"/>
                <a:gd name="connsiteY599" fmla="*/ 608457 h 845819"/>
                <a:gd name="connsiteX600" fmla="*/ 187452 w 1029843"/>
                <a:gd name="connsiteY600" fmla="*/ 609600 h 845819"/>
                <a:gd name="connsiteX601" fmla="*/ 189262 w 1029843"/>
                <a:gd name="connsiteY601" fmla="*/ 623792 h 845819"/>
                <a:gd name="connsiteX602" fmla="*/ 185547 w 1029843"/>
                <a:gd name="connsiteY602" fmla="*/ 632270 h 845819"/>
                <a:gd name="connsiteX603" fmla="*/ 192024 w 1029843"/>
                <a:gd name="connsiteY603" fmla="*/ 633032 h 845819"/>
                <a:gd name="connsiteX604" fmla="*/ 192881 w 1029843"/>
                <a:gd name="connsiteY604" fmla="*/ 639413 h 845819"/>
                <a:gd name="connsiteX605" fmla="*/ 194405 w 1029843"/>
                <a:gd name="connsiteY605" fmla="*/ 639223 h 845819"/>
                <a:gd name="connsiteX606" fmla="*/ 201168 w 1029843"/>
                <a:gd name="connsiteY606" fmla="*/ 641509 h 845819"/>
                <a:gd name="connsiteX607" fmla="*/ 199168 w 1029843"/>
                <a:gd name="connsiteY607" fmla="*/ 651415 h 845819"/>
                <a:gd name="connsiteX608" fmla="*/ 201930 w 1029843"/>
                <a:gd name="connsiteY608" fmla="*/ 647890 h 845819"/>
                <a:gd name="connsiteX609" fmla="*/ 202311 w 1029843"/>
                <a:gd name="connsiteY609" fmla="*/ 651034 h 845819"/>
                <a:gd name="connsiteX610" fmla="*/ 204121 w 1029843"/>
                <a:gd name="connsiteY610" fmla="*/ 652367 h 845819"/>
                <a:gd name="connsiteX611" fmla="*/ 201549 w 1029843"/>
                <a:gd name="connsiteY611" fmla="*/ 657511 h 845819"/>
                <a:gd name="connsiteX612" fmla="*/ 207454 w 1029843"/>
                <a:gd name="connsiteY612" fmla="*/ 653510 h 845819"/>
                <a:gd name="connsiteX613" fmla="*/ 203549 w 1029843"/>
                <a:gd name="connsiteY613" fmla="*/ 660463 h 845819"/>
                <a:gd name="connsiteX614" fmla="*/ 204311 w 1029843"/>
                <a:gd name="connsiteY614" fmla="*/ 666750 h 845819"/>
                <a:gd name="connsiteX615" fmla="*/ 201835 w 1029843"/>
                <a:gd name="connsiteY615" fmla="*/ 671894 h 845819"/>
                <a:gd name="connsiteX616" fmla="*/ 200025 w 1029843"/>
                <a:gd name="connsiteY616" fmla="*/ 670560 h 845819"/>
                <a:gd name="connsiteX617" fmla="*/ 197263 w 1029843"/>
                <a:gd name="connsiteY617" fmla="*/ 674084 h 845819"/>
                <a:gd name="connsiteX618" fmla="*/ 199073 w 1029843"/>
                <a:gd name="connsiteY618" fmla="*/ 675513 h 845819"/>
                <a:gd name="connsiteX619" fmla="*/ 201073 w 1029843"/>
                <a:gd name="connsiteY619" fmla="*/ 678466 h 845819"/>
                <a:gd name="connsiteX620" fmla="*/ 199454 w 1029843"/>
                <a:gd name="connsiteY620" fmla="*/ 678656 h 845819"/>
                <a:gd name="connsiteX621" fmla="*/ 198501 w 1029843"/>
                <a:gd name="connsiteY621" fmla="*/ 683609 h 845819"/>
                <a:gd name="connsiteX622" fmla="*/ 196691 w 1029843"/>
                <a:gd name="connsiteY622" fmla="*/ 682180 h 845819"/>
                <a:gd name="connsiteX623" fmla="*/ 197072 w 1029843"/>
                <a:gd name="connsiteY623" fmla="*/ 685324 h 845819"/>
                <a:gd name="connsiteX624" fmla="*/ 192596 w 1029843"/>
                <a:gd name="connsiteY624" fmla="*/ 687515 h 845819"/>
                <a:gd name="connsiteX625" fmla="*/ 191548 w 1029843"/>
                <a:gd name="connsiteY625" fmla="*/ 692468 h 845819"/>
                <a:gd name="connsiteX626" fmla="*/ 186690 w 1029843"/>
                <a:gd name="connsiteY626" fmla="*/ 691515 h 845819"/>
                <a:gd name="connsiteX627" fmla="*/ 185833 w 1029843"/>
                <a:gd name="connsiteY627" fmla="*/ 697992 h 845819"/>
                <a:gd name="connsiteX628" fmla="*/ 183928 w 1029843"/>
                <a:gd name="connsiteY628" fmla="*/ 695039 h 845819"/>
                <a:gd name="connsiteX629" fmla="*/ 182499 w 1029843"/>
                <a:gd name="connsiteY629" fmla="*/ 696849 h 845819"/>
                <a:gd name="connsiteX630" fmla="*/ 183166 w 1029843"/>
                <a:gd name="connsiteY630" fmla="*/ 701611 h 845819"/>
                <a:gd name="connsiteX631" fmla="*/ 179927 w 1029843"/>
                <a:gd name="connsiteY631" fmla="*/ 701993 h 845819"/>
                <a:gd name="connsiteX632" fmla="*/ 178213 w 1029843"/>
                <a:gd name="connsiteY632" fmla="*/ 700564 h 845819"/>
                <a:gd name="connsiteX633" fmla="*/ 176594 w 1029843"/>
                <a:gd name="connsiteY633" fmla="*/ 700754 h 845819"/>
                <a:gd name="connsiteX634" fmla="*/ 175641 w 1029843"/>
                <a:gd name="connsiteY634" fmla="*/ 705707 h 845819"/>
                <a:gd name="connsiteX635" fmla="*/ 180404 w 1029843"/>
                <a:gd name="connsiteY635" fmla="*/ 705136 h 845819"/>
                <a:gd name="connsiteX636" fmla="*/ 189071 w 1029843"/>
                <a:gd name="connsiteY636" fmla="*/ 710470 h 845819"/>
                <a:gd name="connsiteX637" fmla="*/ 189262 w 1029843"/>
                <a:gd name="connsiteY637" fmla="*/ 711994 h 845819"/>
                <a:gd name="connsiteX638" fmla="*/ 179261 w 1029843"/>
                <a:gd name="connsiteY638" fmla="*/ 721328 h 845819"/>
                <a:gd name="connsiteX639" fmla="*/ 171545 w 1029843"/>
                <a:gd name="connsiteY639" fmla="*/ 723900 h 845819"/>
                <a:gd name="connsiteX640" fmla="*/ 171736 w 1029843"/>
                <a:gd name="connsiteY640" fmla="*/ 725519 h 845819"/>
                <a:gd name="connsiteX641" fmla="*/ 183166 w 1029843"/>
                <a:gd name="connsiteY641" fmla="*/ 727234 h 845819"/>
                <a:gd name="connsiteX642" fmla="*/ 192405 w 1029843"/>
                <a:gd name="connsiteY642" fmla="*/ 724472 h 845819"/>
                <a:gd name="connsiteX643" fmla="*/ 199739 w 1029843"/>
                <a:gd name="connsiteY643" fmla="*/ 731520 h 845819"/>
                <a:gd name="connsiteX644" fmla="*/ 201740 w 1029843"/>
                <a:gd name="connsiteY644" fmla="*/ 734473 h 845819"/>
                <a:gd name="connsiteX645" fmla="*/ 208502 w 1029843"/>
                <a:gd name="connsiteY645" fmla="*/ 736854 h 845819"/>
                <a:gd name="connsiteX646" fmla="*/ 209645 w 1029843"/>
                <a:gd name="connsiteY646" fmla="*/ 733520 h 845819"/>
                <a:gd name="connsiteX647" fmla="*/ 209264 w 1029843"/>
                <a:gd name="connsiteY647" fmla="*/ 730282 h 845819"/>
                <a:gd name="connsiteX648" fmla="*/ 212789 w 1029843"/>
                <a:gd name="connsiteY648" fmla="*/ 733044 h 845819"/>
                <a:gd name="connsiteX649" fmla="*/ 215932 w 1029843"/>
                <a:gd name="connsiteY649" fmla="*/ 732663 h 845819"/>
                <a:gd name="connsiteX650" fmla="*/ 214789 w 1029843"/>
                <a:gd name="connsiteY650" fmla="*/ 735997 h 845819"/>
                <a:gd name="connsiteX651" fmla="*/ 225457 w 1029843"/>
                <a:gd name="connsiteY651" fmla="*/ 744284 h 845819"/>
                <a:gd name="connsiteX652" fmla="*/ 232124 w 1029843"/>
                <a:gd name="connsiteY652" fmla="*/ 746665 h 845819"/>
                <a:gd name="connsiteX653" fmla="*/ 233553 w 1029843"/>
                <a:gd name="connsiteY653" fmla="*/ 744855 h 845819"/>
                <a:gd name="connsiteX654" fmla="*/ 235363 w 1029843"/>
                <a:gd name="connsiteY654" fmla="*/ 746188 h 845819"/>
                <a:gd name="connsiteX655" fmla="*/ 233744 w 1029843"/>
                <a:gd name="connsiteY655" fmla="*/ 746474 h 845819"/>
                <a:gd name="connsiteX656" fmla="*/ 240506 w 1029843"/>
                <a:gd name="connsiteY656" fmla="*/ 748760 h 845819"/>
                <a:gd name="connsiteX657" fmla="*/ 232220 w 1029843"/>
                <a:gd name="connsiteY657" fmla="*/ 759428 h 845819"/>
                <a:gd name="connsiteX658" fmla="*/ 232982 w 1029843"/>
                <a:gd name="connsiteY658" fmla="*/ 765810 h 845819"/>
                <a:gd name="connsiteX659" fmla="*/ 243078 w 1029843"/>
                <a:gd name="connsiteY659" fmla="*/ 782098 h 845819"/>
                <a:gd name="connsiteX660" fmla="*/ 255365 w 1029843"/>
                <a:gd name="connsiteY660" fmla="*/ 777335 h 845819"/>
                <a:gd name="connsiteX661" fmla="*/ 259461 w 1029843"/>
                <a:gd name="connsiteY661" fmla="*/ 772001 h 845819"/>
                <a:gd name="connsiteX662" fmla="*/ 261080 w 1029843"/>
                <a:gd name="connsiteY662" fmla="*/ 771811 h 845819"/>
                <a:gd name="connsiteX663" fmla="*/ 265367 w 1029843"/>
                <a:gd name="connsiteY663" fmla="*/ 768096 h 845819"/>
                <a:gd name="connsiteX664" fmla="*/ 265176 w 1029843"/>
                <a:gd name="connsiteY664" fmla="*/ 766477 h 845819"/>
                <a:gd name="connsiteX665" fmla="*/ 270129 w 1029843"/>
                <a:gd name="connsiteY665" fmla="*/ 767429 h 845819"/>
                <a:gd name="connsiteX666" fmla="*/ 273082 w 1029843"/>
                <a:gd name="connsiteY666" fmla="*/ 765524 h 845819"/>
                <a:gd name="connsiteX667" fmla="*/ 268319 w 1029843"/>
                <a:gd name="connsiteY667" fmla="*/ 766096 h 845819"/>
                <a:gd name="connsiteX668" fmla="*/ 267748 w 1029843"/>
                <a:gd name="connsiteY668" fmla="*/ 761333 h 845819"/>
                <a:gd name="connsiteX669" fmla="*/ 278987 w 1029843"/>
                <a:gd name="connsiteY669" fmla="*/ 761524 h 845819"/>
                <a:gd name="connsiteX670" fmla="*/ 280702 w 1029843"/>
                <a:gd name="connsiteY670" fmla="*/ 762857 h 845819"/>
                <a:gd name="connsiteX671" fmla="*/ 280511 w 1029843"/>
                <a:gd name="connsiteY671" fmla="*/ 761333 h 845819"/>
                <a:gd name="connsiteX672" fmla="*/ 285083 w 1029843"/>
                <a:gd name="connsiteY672" fmla="*/ 759143 h 845819"/>
                <a:gd name="connsiteX673" fmla="*/ 287846 w 1029843"/>
                <a:gd name="connsiteY673" fmla="*/ 755618 h 845819"/>
                <a:gd name="connsiteX674" fmla="*/ 291370 w 1029843"/>
                <a:gd name="connsiteY674" fmla="*/ 758380 h 845819"/>
                <a:gd name="connsiteX675" fmla="*/ 292799 w 1029843"/>
                <a:gd name="connsiteY675" fmla="*/ 756571 h 845819"/>
                <a:gd name="connsiteX676" fmla="*/ 290608 w 1029843"/>
                <a:gd name="connsiteY676" fmla="*/ 751999 h 845819"/>
                <a:gd name="connsiteX677" fmla="*/ 288798 w 1029843"/>
                <a:gd name="connsiteY677" fmla="*/ 750665 h 845819"/>
                <a:gd name="connsiteX678" fmla="*/ 289941 w 1029843"/>
                <a:gd name="connsiteY678" fmla="*/ 747332 h 845819"/>
                <a:gd name="connsiteX679" fmla="*/ 290513 w 1029843"/>
                <a:gd name="connsiteY679" fmla="*/ 739235 h 845819"/>
                <a:gd name="connsiteX680" fmla="*/ 291941 w 1029843"/>
                <a:gd name="connsiteY680" fmla="*/ 737426 h 845819"/>
                <a:gd name="connsiteX681" fmla="*/ 302419 w 1029843"/>
                <a:gd name="connsiteY681" fmla="*/ 731234 h 845819"/>
                <a:gd name="connsiteX682" fmla="*/ 305562 w 1029843"/>
                <a:gd name="connsiteY682" fmla="*/ 730853 h 845819"/>
                <a:gd name="connsiteX683" fmla="*/ 307467 w 1029843"/>
                <a:gd name="connsiteY683" fmla="*/ 733806 h 845819"/>
                <a:gd name="connsiteX684" fmla="*/ 308896 w 1029843"/>
                <a:gd name="connsiteY684" fmla="*/ 732092 h 845819"/>
                <a:gd name="connsiteX685" fmla="*/ 309467 w 1029843"/>
                <a:gd name="connsiteY685" fmla="*/ 736759 h 845819"/>
                <a:gd name="connsiteX686" fmla="*/ 312801 w 1029843"/>
                <a:gd name="connsiteY686" fmla="*/ 737997 h 845819"/>
                <a:gd name="connsiteX687" fmla="*/ 317373 w 1029843"/>
                <a:gd name="connsiteY687" fmla="*/ 735806 h 845819"/>
                <a:gd name="connsiteX688" fmla="*/ 316802 w 1029843"/>
                <a:gd name="connsiteY688" fmla="*/ 731044 h 845819"/>
                <a:gd name="connsiteX689" fmla="*/ 318135 w 1029843"/>
                <a:gd name="connsiteY689" fmla="*/ 729234 h 845819"/>
                <a:gd name="connsiteX690" fmla="*/ 319945 w 1029843"/>
                <a:gd name="connsiteY690" fmla="*/ 730663 h 845819"/>
                <a:gd name="connsiteX691" fmla="*/ 326041 w 1029843"/>
                <a:gd name="connsiteY691" fmla="*/ 728282 h 845819"/>
                <a:gd name="connsiteX692" fmla="*/ 320897 w 1029843"/>
                <a:gd name="connsiteY692" fmla="*/ 725710 h 845819"/>
                <a:gd name="connsiteX693" fmla="*/ 321850 w 1029843"/>
                <a:gd name="connsiteY693" fmla="*/ 720757 h 845819"/>
                <a:gd name="connsiteX694" fmla="*/ 325088 w 1029843"/>
                <a:gd name="connsiteY694" fmla="*/ 720376 h 845819"/>
                <a:gd name="connsiteX695" fmla="*/ 331946 w 1029843"/>
                <a:gd name="connsiteY695" fmla="*/ 724281 h 845819"/>
                <a:gd name="connsiteX696" fmla="*/ 331756 w 1029843"/>
                <a:gd name="connsiteY696" fmla="*/ 735521 h 845819"/>
                <a:gd name="connsiteX697" fmla="*/ 334899 w 1029843"/>
                <a:gd name="connsiteY697" fmla="*/ 735140 h 845819"/>
                <a:gd name="connsiteX698" fmla="*/ 335566 w 1029843"/>
                <a:gd name="connsiteY698" fmla="*/ 739902 h 845819"/>
                <a:gd name="connsiteX699" fmla="*/ 337090 w 1029843"/>
                <a:gd name="connsiteY699" fmla="*/ 739711 h 845819"/>
                <a:gd name="connsiteX700" fmla="*/ 338709 w 1029843"/>
                <a:gd name="connsiteY700" fmla="*/ 739521 h 845819"/>
                <a:gd name="connsiteX701" fmla="*/ 338519 w 1029843"/>
                <a:gd name="connsiteY701" fmla="*/ 737902 h 845819"/>
                <a:gd name="connsiteX702" fmla="*/ 339852 w 1029843"/>
                <a:gd name="connsiteY702" fmla="*/ 736092 h 845819"/>
                <a:gd name="connsiteX703" fmla="*/ 343472 w 1029843"/>
                <a:gd name="connsiteY703" fmla="*/ 738854 h 845819"/>
                <a:gd name="connsiteX704" fmla="*/ 345186 w 1029843"/>
                <a:gd name="connsiteY704" fmla="*/ 740283 h 845819"/>
                <a:gd name="connsiteX705" fmla="*/ 346615 w 1029843"/>
                <a:gd name="connsiteY705" fmla="*/ 738473 h 845819"/>
                <a:gd name="connsiteX706" fmla="*/ 343472 w 1029843"/>
                <a:gd name="connsiteY706" fmla="*/ 738854 h 845819"/>
                <a:gd name="connsiteX707" fmla="*/ 342614 w 1029843"/>
                <a:gd name="connsiteY707" fmla="*/ 732568 h 845819"/>
                <a:gd name="connsiteX708" fmla="*/ 344234 w 1029843"/>
                <a:gd name="connsiteY708" fmla="*/ 732377 h 845819"/>
                <a:gd name="connsiteX709" fmla="*/ 344615 w 1029843"/>
                <a:gd name="connsiteY709" fmla="*/ 735521 h 845819"/>
                <a:gd name="connsiteX710" fmla="*/ 346043 w 1029843"/>
                <a:gd name="connsiteY710" fmla="*/ 733711 h 845819"/>
                <a:gd name="connsiteX711" fmla="*/ 347758 w 1029843"/>
                <a:gd name="connsiteY711" fmla="*/ 735140 h 845819"/>
                <a:gd name="connsiteX712" fmla="*/ 350901 w 1029843"/>
                <a:gd name="connsiteY712" fmla="*/ 734759 h 845819"/>
                <a:gd name="connsiteX713" fmla="*/ 352901 w 1029843"/>
                <a:gd name="connsiteY713" fmla="*/ 737711 h 845819"/>
                <a:gd name="connsiteX714" fmla="*/ 357473 w 1029843"/>
                <a:gd name="connsiteY714" fmla="*/ 735521 h 845819"/>
                <a:gd name="connsiteX715" fmla="*/ 355854 w 1029843"/>
                <a:gd name="connsiteY715" fmla="*/ 735711 h 845819"/>
                <a:gd name="connsiteX716" fmla="*/ 357188 w 1029843"/>
                <a:gd name="connsiteY716" fmla="*/ 733901 h 845819"/>
                <a:gd name="connsiteX717" fmla="*/ 362331 w 1029843"/>
                <a:gd name="connsiteY717" fmla="*/ 736473 h 845819"/>
                <a:gd name="connsiteX718" fmla="*/ 363760 w 1029843"/>
                <a:gd name="connsiteY718" fmla="*/ 734663 h 845819"/>
                <a:gd name="connsiteX719" fmla="*/ 365379 w 1029843"/>
                <a:gd name="connsiteY719" fmla="*/ 734473 h 845819"/>
                <a:gd name="connsiteX720" fmla="*/ 365570 w 1029843"/>
                <a:gd name="connsiteY720" fmla="*/ 736092 h 845819"/>
                <a:gd name="connsiteX721" fmla="*/ 363950 w 1029843"/>
                <a:gd name="connsiteY721" fmla="*/ 736282 h 845819"/>
                <a:gd name="connsiteX722" fmla="*/ 364141 w 1029843"/>
                <a:gd name="connsiteY722" fmla="*/ 737807 h 845819"/>
                <a:gd name="connsiteX723" fmla="*/ 368903 w 1029843"/>
                <a:gd name="connsiteY723" fmla="*/ 737235 h 845819"/>
                <a:gd name="connsiteX724" fmla="*/ 374047 w 1029843"/>
                <a:gd name="connsiteY724" fmla="*/ 739807 h 845819"/>
                <a:gd name="connsiteX725" fmla="*/ 373856 w 1029843"/>
                <a:gd name="connsiteY725" fmla="*/ 738188 h 845819"/>
                <a:gd name="connsiteX726" fmla="*/ 377381 w 1029843"/>
                <a:gd name="connsiteY726" fmla="*/ 740950 h 845819"/>
                <a:gd name="connsiteX727" fmla="*/ 377952 w 1029843"/>
                <a:gd name="connsiteY727" fmla="*/ 732854 h 845819"/>
                <a:gd name="connsiteX728" fmla="*/ 379762 w 1029843"/>
                <a:gd name="connsiteY728" fmla="*/ 734282 h 845819"/>
                <a:gd name="connsiteX729" fmla="*/ 381476 w 1029843"/>
                <a:gd name="connsiteY729" fmla="*/ 735616 h 845819"/>
                <a:gd name="connsiteX730" fmla="*/ 391763 w 1029843"/>
                <a:gd name="connsiteY730" fmla="*/ 740759 h 845819"/>
                <a:gd name="connsiteX731" fmla="*/ 391954 w 1029843"/>
                <a:gd name="connsiteY731" fmla="*/ 742283 h 845819"/>
                <a:gd name="connsiteX732" fmla="*/ 397097 w 1029843"/>
                <a:gd name="connsiteY732" fmla="*/ 744855 h 845819"/>
                <a:gd name="connsiteX733" fmla="*/ 397288 w 1029843"/>
                <a:gd name="connsiteY733" fmla="*/ 746474 h 845819"/>
                <a:gd name="connsiteX734" fmla="*/ 400907 w 1029843"/>
                <a:gd name="connsiteY734" fmla="*/ 749236 h 845819"/>
                <a:gd name="connsiteX735" fmla="*/ 402050 w 1029843"/>
                <a:gd name="connsiteY735" fmla="*/ 745807 h 845819"/>
                <a:gd name="connsiteX736" fmla="*/ 403670 w 1029843"/>
                <a:gd name="connsiteY736" fmla="*/ 745617 h 845819"/>
                <a:gd name="connsiteX737" fmla="*/ 407194 w 1029843"/>
                <a:gd name="connsiteY737" fmla="*/ 748379 h 845819"/>
                <a:gd name="connsiteX738" fmla="*/ 409956 w 1029843"/>
                <a:gd name="connsiteY738" fmla="*/ 744855 h 845819"/>
                <a:gd name="connsiteX739" fmla="*/ 409575 w 1029843"/>
                <a:gd name="connsiteY739" fmla="*/ 741712 h 845819"/>
                <a:gd name="connsiteX740" fmla="*/ 411099 w 1029843"/>
                <a:gd name="connsiteY740" fmla="*/ 741521 h 845819"/>
                <a:gd name="connsiteX741" fmla="*/ 413671 w 1029843"/>
                <a:gd name="connsiteY741" fmla="*/ 736378 h 845819"/>
                <a:gd name="connsiteX742" fmla="*/ 416814 w 1029843"/>
                <a:gd name="connsiteY742" fmla="*/ 735902 h 845819"/>
                <a:gd name="connsiteX743" fmla="*/ 418052 w 1029843"/>
                <a:gd name="connsiteY743" fmla="*/ 732568 h 845819"/>
                <a:gd name="connsiteX744" fmla="*/ 421386 w 1029843"/>
                <a:gd name="connsiteY744" fmla="*/ 733711 h 845819"/>
                <a:gd name="connsiteX745" fmla="*/ 421576 w 1029843"/>
                <a:gd name="connsiteY745" fmla="*/ 735330 h 845819"/>
                <a:gd name="connsiteX746" fmla="*/ 424529 w 1029843"/>
                <a:gd name="connsiteY746" fmla="*/ 733330 h 845819"/>
                <a:gd name="connsiteX747" fmla="*/ 429482 w 1029843"/>
                <a:gd name="connsiteY747" fmla="*/ 734282 h 845819"/>
                <a:gd name="connsiteX748" fmla="*/ 433197 w 1029843"/>
                <a:gd name="connsiteY748" fmla="*/ 738664 h 845819"/>
                <a:gd name="connsiteX749" fmla="*/ 436912 w 1029843"/>
                <a:gd name="connsiteY749" fmla="*/ 730186 h 845819"/>
                <a:gd name="connsiteX750" fmla="*/ 438912 w 1029843"/>
                <a:gd name="connsiteY750" fmla="*/ 733139 h 845819"/>
                <a:gd name="connsiteX751" fmla="*/ 438722 w 1029843"/>
                <a:gd name="connsiteY751" fmla="*/ 731520 h 845819"/>
                <a:gd name="connsiteX752" fmla="*/ 441865 w 1029843"/>
                <a:gd name="connsiteY752" fmla="*/ 731139 h 845819"/>
                <a:gd name="connsiteX753" fmla="*/ 443103 w 1029843"/>
                <a:gd name="connsiteY753" fmla="*/ 727805 h 845819"/>
                <a:gd name="connsiteX754" fmla="*/ 444817 w 1029843"/>
                <a:gd name="connsiteY754" fmla="*/ 716375 h 845819"/>
                <a:gd name="connsiteX755" fmla="*/ 443008 w 1029843"/>
                <a:gd name="connsiteY755" fmla="*/ 714947 h 845819"/>
                <a:gd name="connsiteX756" fmla="*/ 442246 w 1029843"/>
                <a:gd name="connsiteY756" fmla="*/ 708660 h 845819"/>
                <a:gd name="connsiteX757" fmla="*/ 446723 w 1029843"/>
                <a:gd name="connsiteY757" fmla="*/ 706469 h 845819"/>
                <a:gd name="connsiteX758" fmla="*/ 446532 w 1029843"/>
                <a:gd name="connsiteY758" fmla="*/ 704850 h 845819"/>
                <a:gd name="connsiteX759" fmla="*/ 451295 w 1029843"/>
                <a:gd name="connsiteY759" fmla="*/ 704279 h 845819"/>
                <a:gd name="connsiteX760" fmla="*/ 452247 w 1029843"/>
                <a:gd name="connsiteY760" fmla="*/ 699326 h 845819"/>
                <a:gd name="connsiteX761" fmla="*/ 460534 w 1029843"/>
                <a:gd name="connsiteY761" fmla="*/ 701516 h 845819"/>
                <a:gd name="connsiteX762" fmla="*/ 462915 w 1029843"/>
                <a:gd name="connsiteY762" fmla="*/ 694754 h 845819"/>
                <a:gd name="connsiteX763" fmla="*/ 467201 w 1029843"/>
                <a:gd name="connsiteY763" fmla="*/ 691039 h 845819"/>
                <a:gd name="connsiteX764" fmla="*/ 472631 w 1029843"/>
                <a:gd name="connsiteY764" fmla="*/ 695134 h 845819"/>
                <a:gd name="connsiteX765" fmla="*/ 476345 w 1029843"/>
                <a:gd name="connsiteY765" fmla="*/ 699516 h 845819"/>
                <a:gd name="connsiteX766" fmla="*/ 485966 w 1029843"/>
                <a:gd name="connsiteY766" fmla="*/ 699897 h 845819"/>
                <a:gd name="connsiteX767" fmla="*/ 486442 w 1029843"/>
                <a:gd name="connsiteY767" fmla="*/ 703040 h 845819"/>
                <a:gd name="connsiteX768" fmla="*/ 485204 w 1029843"/>
                <a:gd name="connsiteY768" fmla="*/ 706374 h 845819"/>
                <a:gd name="connsiteX769" fmla="*/ 490347 w 1029843"/>
                <a:gd name="connsiteY769" fmla="*/ 708946 h 845819"/>
                <a:gd name="connsiteX770" fmla="*/ 486632 w 1029843"/>
                <a:gd name="connsiteY770" fmla="*/ 717423 h 845819"/>
                <a:gd name="connsiteX771" fmla="*/ 486251 w 1029843"/>
                <a:gd name="connsiteY771" fmla="*/ 727043 h 845819"/>
                <a:gd name="connsiteX772" fmla="*/ 488442 w 1029843"/>
                <a:gd name="connsiteY772" fmla="*/ 731615 h 845819"/>
                <a:gd name="connsiteX773" fmla="*/ 495205 w 1029843"/>
                <a:gd name="connsiteY773" fmla="*/ 733997 h 845819"/>
                <a:gd name="connsiteX774" fmla="*/ 495586 w 1029843"/>
                <a:gd name="connsiteY774" fmla="*/ 737140 h 845819"/>
                <a:gd name="connsiteX775" fmla="*/ 497110 w 1029843"/>
                <a:gd name="connsiteY775" fmla="*/ 736949 h 845819"/>
                <a:gd name="connsiteX776" fmla="*/ 508349 w 1029843"/>
                <a:gd name="connsiteY776" fmla="*/ 737140 h 845819"/>
                <a:gd name="connsiteX777" fmla="*/ 509016 w 1029843"/>
                <a:gd name="connsiteY777" fmla="*/ 741807 h 845819"/>
                <a:gd name="connsiteX778" fmla="*/ 511969 w 1029843"/>
                <a:gd name="connsiteY778" fmla="*/ 739902 h 845819"/>
                <a:gd name="connsiteX779" fmla="*/ 511588 w 1029843"/>
                <a:gd name="connsiteY779" fmla="*/ 736663 h 845819"/>
                <a:gd name="connsiteX780" fmla="*/ 520446 w 1029843"/>
                <a:gd name="connsiteY780" fmla="*/ 730758 h 845819"/>
                <a:gd name="connsiteX781" fmla="*/ 521017 w 1029843"/>
                <a:gd name="connsiteY781" fmla="*/ 722662 h 845819"/>
                <a:gd name="connsiteX782" fmla="*/ 533781 w 1029843"/>
                <a:gd name="connsiteY782" fmla="*/ 722662 h 845819"/>
                <a:gd name="connsiteX783" fmla="*/ 545021 w 1029843"/>
                <a:gd name="connsiteY783" fmla="*/ 722852 h 845819"/>
                <a:gd name="connsiteX784" fmla="*/ 544449 w 1029843"/>
                <a:gd name="connsiteY784" fmla="*/ 705231 h 845819"/>
                <a:gd name="connsiteX785" fmla="*/ 565118 w 1029843"/>
                <a:gd name="connsiteY785" fmla="*/ 704183 h 845819"/>
                <a:gd name="connsiteX786" fmla="*/ 566547 w 1029843"/>
                <a:gd name="connsiteY786" fmla="*/ 702469 h 845819"/>
                <a:gd name="connsiteX787" fmla="*/ 565690 w 1029843"/>
                <a:gd name="connsiteY787" fmla="*/ 696087 h 845819"/>
                <a:gd name="connsiteX788" fmla="*/ 570643 w 1029843"/>
                <a:gd name="connsiteY788" fmla="*/ 697135 h 845819"/>
                <a:gd name="connsiteX789" fmla="*/ 583311 w 1029843"/>
                <a:gd name="connsiteY789" fmla="*/ 708279 h 845819"/>
                <a:gd name="connsiteX790" fmla="*/ 587407 w 1029843"/>
                <a:gd name="connsiteY790" fmla="*/ 702945 h 845819"/>
                <a:gd name="connsiteX791" fmla="*/ 588074 w 1029843"/>
                <a:gd name="connsiteY791" fmla="*/ 707707 h 845819"/>
                <a:gd name="connsiteX792" fmla="*/ 592741 w 1029843"/>
                <a:gd name="connsiteY792" fmla="*/ 707136 h 845819"/>
                <a:gd name="connsiteX793" fmla="*/ 598075 w 1029843"/>
                <a:gd name="connsiteY793" fmla="*/ 711232 h 845819"/>
                <a:gd name="connsiteX794" fmla="*/ 617220 w 1029843"/>
                <a:gd name="connsiteY794" fmla="*/ 710375 h 845819"/>
                <a:gd name="connsiteX795" fmla="*/ 617315 w 1029843"/>
                <a:gd name="connsiteY795" fmla="*/ 723233 h 845819"/>
                <a:gd name="connsiteX796" fmla="*/ 630555 w 1029843"/>
                <a:gd name="connsiteY796" fmla="*/ 726377 h 845819"/>
                <a:gd name="connsiteX797" fmla="*/ 631698 w 1029843"/>
                <a:gd name="connsiteY797" fmla="*/ 735806 h 845819"/>
                <a:gd name="connsiteX798" fmla="*/ 631793 w 1029843"/>
                <a:gd name="connsiteY798" fmla="*/ 761429 h 845819"/>
                <a:gd name="connsiteX799" fmla="*/ 662368 w 1029843"/>
                <a:gd name="connsiteY799" fmla="*/ 762381 h 845819"/>
                <a:gd name="connsiteX800" fmla="*/ 668846 w 1029843"/>
                <a:gd name="connsiteY800" fmla="*/ 763143 h 845819"/>
                <a:gd name="connsiteX801" fmla="*/ 674465 w 1029843"/>
                <a:gd name="connsiteY801" fmla="*/ 781717 h 845819"/>
                <a:gd name="connsiteX802" fmla="*/ 675418 w 1029843"/>
                <a:gd name="connsiteY802" fmla="*/ 789623 h 845819"/>
                <a:gd name="connsiteX803" fmla="*/ 677418 w 1029843"/>
                <a:gd name="connsiteY803" fmla="*/ 792575 h 845819"/>
                <a:gd name="connsiteX804" fmla="*/ 680561 w 1029843"/>
                <a:gd name="connsiteY804" fmla="*/ 792099 h 845819"/>
                <a:gd name="connsiteX805" fmla="*/ 687134 w 1029843"/>
                <a:gd name="connsiteY805" fmla="*/ 792956 h 845819"/>
                <a:gd name="connsiteX806" fmla="*/ 689039 w 1029843"/>
                <a:gd name="connsiteY806" fmla="*/ 795909 h 845819"/>
                <a:gd name="connsiteX807" fmla="*/ 693801 w 1029843"/>
                <a:gd name="connsiteY807" fmla="*/ 795242 h 845819"/>
                <a:gd name="connsiteX808" fmla="*/ 695611 w 1029843"/>
                <a:gd name="connsiteY808" fmla="*/ 796671 h 845819"/>
                <a:gd name="connsiteX809" fmla="*/ 701707 w 1029843"/>
                <a:gd name="connsiteY809" fmla="*/ 794290 h 845819"/>
                <a:gd name="connsiteX810" fmla="*/ 710565 w 1029843"/>
                <a:gd name="connsiteY810" fmla="*/ 801148 h 845819"/>
                <a:gd name="connsiteX811" fmla="*/ 713613 w 1029843"/>
                <a:gd name="connsiteY811" fmla="*/ 812006 h 845819"/>
                <a:gd name="connsiteX812" fmla="*/ 722471 w 1029843"/>
                <a:gd name="connsiteY812" fmla="*/ 818864 h 845819"/>
                <a:gd name="connsiteX813" fmla="*/ 724091 w 1029843"/>
                <a:gd name="connsiteY813" fmla="*/ 818674 h 845819"/>
                <a:gd name="connsiteX814" fmla="*/ 725234 w 1029843"/>
                <a:gd name="connsiteY814" fmla="*/ 815340 h 845819"/>
                <a:gd name="connsiteX815" fmla="*/ 728186 w 1029843"/>
                <a:gd name="connsiteY815" fmla="*/ 813340 h 845819"/>
                <a:gd name="connsiteX816" fmla="*/ 734092 w 1029843"/>
                <a:gd name="connsiteY816" fmla="*/ 822198 h 845819"/>
                <a:gd name="connsiteX817" fmla="*/ 735711 w 1029843"/>
                <a:gd name="connsiteY817" fmla="*/ 822007 h 845819"/>
                <a:gd name="connsiteX818" fmla="*/ 738854 w 1029843"/>
                <a:gd name="connsiteY818" fmla="*/ 821627 h 845819"/>
                <a:gd name="connsiteX819" fmla="*/ 740664 w 1029843"/>
                <a:gd name="connsiteY819" fmla="*/ 822960 h 845819"/>
                <a:gd name="connsiteX820" fmla="*/ 741998 w 1029843"/>
                <a:gd name="connsiteY820" fmla="*/ 821150 h 845819"/>
                <a:gd name="connsiteX821" fmla="*/ 743807 w 1029843"/>
                <a:gd name="connsiteY821" fmla="*/ 822579 h 845819"/>
                <a:gd name="connsiteX822" fmla="*/ 746951 w 1029843"/>
                <a:gd name="connsiteY822" fmla="*/ 822198 h 845819"/>
                <a:gd name="connsiteX823" fmla="*/ 751523 w 1029843"/>
                <a:gd name="connsiteY823" fmla="*/ 832866 h 845819"/>
                <a:gd name="connsiteX824" fmla="*/ 756666 w 1029843"/>
                <a:gd name="connsiteY824" fmla="*/ 835343 h 845819"/>
                <a:gd name="connsiteX825" fmla="*/ 758285 w 1029843"/>
                <a:gd name="connsiteY825" fmla="*/ 835152 h 845819"/>
                <a:gd name="connsiteX826" fmla="*/ 757047 w 1029843"/>
                <a:gd name="connsiteY826" fmla="*/ 838486 h 845819"/>
                <a:gd name="connsiteX827" fmla="*/ 759047 w 1029843"/>
                <a:gd name="connsiteY827" fmla="*/ 841438 h 845819"/>
                <a:gd name="connsiteX828" fmla="*/ 762762 w 1029843"/>
                <a:gd name="connsiteY828" fmla="*/ 845820 h 845819"/>
                <a:gd name="connsiteX829" fmla="*/ 764191 w 1029843"/>
                <a:gd name="connsiteY829" fmla="*/ 844010 h 845819"/>
                <a:gd name="connsiteX830" fmla="*/ 769144 w 1029843"/>
                <a:gd name="connsiteY830" fmla="*/ 844963 h 845819"/>
                <a:gd name="connsiteX831" fmla="*/ 771716 w 1029843"/>
                <a:gd name="connsiteY831" fmla="*/ 839915 h 845819"/>
                <a:gd name="connsiteX832" fmla="*/ 778193 w 1029843"/>
                <a:gd name="connsiteY832" fmla="*/ 840677 h 845819"/>
                <a:gd name="connsiteX833" fmla="*/ 780955 w 1029843"/>
                <a:gd name="connsiteY833" fmla="*/ 837057 h 845819"/>
                <a:gd name="connsiteX834" fmla="*/ 784670 w 1029843"/>
                <a:gd name="connsiteY834" fmla="*/ 841438 h 845819"/>
                <a:gd name="connsiteX835" fmla="*/ 793528 w 1029843"/>
                <a:gd name="connsiteY835" fmla="*/ 835438 h 845819"/>
                <a:gd name="connsiteX836" fmla="*/ 793337 w 1029843"/>
                <a:gd name="connsiteY836" fmla="*/ 833914 h 845819"/>
                <a:gd name="connsiteX837" fmla="*/ 794576 w 1029843"/>
                <a:gd name="connsiteY837" fmla="*/ 830580 h 845819"/>
                <a:gd name="connsiteX838" fmla="*/ 792575 w 1029843"/>
                <a:gd name="connsiteY838" fmla="*/ 827627 h 845819"/>
                <a:gd name="connsiteX839" fmla="*/ 794099 w 1029843"/>
                <a:gd name="connsiteY839" fmla="*/ 827437 h 845819"/>
                <a:gd name="connsiteX840" fmla="*/ 794385 w 1029843"/>
                <a:gd name="connsiteY840" fmla="*/ 828961 h 845819"/>
                <a:gd name="connsiteX841" fmla="*/ 799052 w 1029843"/>
                <a:gd name="connsiteY841" fmla="*/ 828389 h 845819"/>
                <a:gd name="connsiteX842" fmla="*/ 800862 w 1029843"/>
                <a:gd name="connsiteY842" fmla="*/ 829723 h 845819"/>
                <a:gd name="connsiteX843" fmla="*/ 796766 w 1029843"/>
                <a:gd name="connsiteY843" fmla="*/ 835057 h 845819"/>
                <a:gd name="connsiteX844" fmla="*/ 796957 w 1029843"/>
                <a:gd name="connsiteY844" fmla="*/ 836676 h 845819"/>
                <a:gd name="connsiteX845" fmla="*/ 797528 w 1029843"/>
                <a:gd name="connsiteY845" fmla="*/ 841438 h 845819"/>
                <a:gd name="connsiteX846" fmla="*/ 809911 w 1029843"/>
                <a:gd name="connsiteY846" fmla="*/ 838200 h 845819"/>
                <a:gd name="connsiteX847" fmla="*/ 813054 w 1029843"/>
                <a:gd name="connsiteY847" fmla="*/ 837819 h 845819"/>
                <a:gd name="connsiteX848" fmla="*/ 814673 w 1029843"/>
                <a:gd name="connsiteY848" fmla="*/ 837629 h 845819"/>
                <a:gd name="connsiteX849" fmla="*/ 816102 w 1029843"/>
                <a:gd name="connsiteY849" fmla="*/ 835819 h 845819"/>
                <a:gd name="connsiteX850" fmla="*/ 822770 w 1029843"/>
                <a:gd name="connsiteY850" fmla="*/ 838200 h 845819"/>
                <a:gd name="connsiteX851" fmla="*/ 820960 w 1029843"/>
                <a:gd name="connsiteY851" fmla="*/ 836771 h 845819"/>
                <a:gd name="connsiteX852" fmla="*/ 822198 w 1029843"/>
                <a:gd name="connsiteY852" fmla="*/ 833438 h 845819"/>
                <a:gd name="connsiteX853" fmla="*/ 820388 w 1029843"/>
                <a:gd name="connsiteY853" fmla="*/ 832104 h 845819"/>
                <a:gd name="connsiteX854" fmla="*/ 827151 w 1029843"/>
                <a:gd name="connsiteY854" fmla="*/ 834390 h 845819"/>
                <a:gd name="connsiteX855" fmla="*/ 828484 w 1029843"/>
                <a:gd name="connsiteY855" fmla="*/ 832676 h 845819"/>
                <a:gd name="connsiteX856" fmla="*/ 833818 w 1029843"/>
                <a:gd name="connsiteY856" fmla="*/ 836771 h 845819"/>
                <a:gd name="connsiteX857" fmla="*/ 837152 w 1029843"/>
                <a:gd name="connsiteY857" fmla="*/ 837914 h 845819"/>
                <a:gd name="connsiteX858" fmla="*/ 857345 w 1029843"/>
                <a:gd name="connsiteY858" fmla="*/ 844963 h 845819"/>
                <a:gd name="connsiteX859" fmla="*/ 855917 w 1029843"/>
                <a:gd name="connsiteY859" fmla="*/ 833914 h 845819"/>
                <a:gd name="connsiteX860" fmla="*/ 852583 w 1029843"/>
                <a:gd name="connsiteY860" fmla="*/ 832771 h 845819"/>
                <a:gd name="connsiteX861" fmla="*/ 850201 w 1029843"/>
                <a:gd name="connsiteY861" fmla="*/ 826675 h 845819"/>
                <a:gd name="connsiteX862" fmla="*/ 845058 w 1029843"/>
                <a:gd name="connsiteY862" fmla="*/ 824103 h 845819"/>
                <a:gd name="connsiteX863" fmla="*/ 844391 w 1029843"/>
                <a:gd name="connsiteY863" fmla="*/ 819340 h 845819"/>
                <a:gd name="connsiteX864" fmla="*/ 846201 w 1029843"/>
                <a:gd name="connsiteY864" fmla="*/ 820769 h 845819"/>
                <a:gd name="connsiteX865" fmla="*/ 847344 w 1029843"/>
                <a:gd name="connsiteY865" fmla="*/ 817436 h 845819"/>
                <a:gd name="connsiteX866" fmla="*/ 845153 w 1029843"/>
                <a:gd name="connsiteY866" fmla="*/ 812863 h 845819"/>
                <a:gd name="connsiteX867" fmla="*/ 849916 w 1029843"/>
                <a:gd name="connsiteY867" fmla="*/ 812292 h 845819"/>
                <a:gd name="connsiteX868" fmla="*/ 851345 w 1029843"/>
                <a:gd name="connsiteY868" fmla="*/ 810482 h 845819"/>
                <a:gd name="connsiteX869" fmla="*/ 856679 w 1029843"/>
                <a:gd name="connsiteY869" fmla="*/ 814578 h 845819"/>
                <a:gd name="connsiteX870" fmla="*/ 859250 w 1029843"/>
                <a:gd name="connsiteY870" fmla="*/ 809434 h 845819"/>
                <a:gd name="connsiteX871" fmla="*/ 865537 w 1029843"/>
                <a:gd name="connsiteY871" fmla="*/ 808673 h 845819"/>
                <a:gd name="connsiteX872" fmla="*/ 866680 w 1029843"/>
                <a:gd name="connsiteY872" fmla="*/ 805339 h 845819"/>
                <a:gd name="connsiteX873" fmla="*/ 872585 w 1029843"/>
                <a:gd name="connsiteY873" fmla="*/ 801338 h 845819"/>
                <a:gd name="connsiteX874" fmla="*/ 867251 w 1029843"/>
                <a:gd name="connsiteY874" fmla="*/ 797243 h 845819"/>
                <a:gd name="connsiteX875" fmla="*/ 863537 w 1029843"/>
                <a:gd name="connsiteY875" fmla="*/ 792861 h 845819"/>
                <a:gd name="connsiteX876" fmla="*/ 862108 w 1029843"/>
                <a:gd name="connsiteY876" fmla="*/ 794671 h 845819"/>
                <a:gd name="connsiteX877" fmla="*/ 859726 w 1029843"/>
                <a:gd name="connsiteY877" fmla="*/ 788575 h 845819"/>
                <a:gd name="connsiteX878" fmla="*/ 863632 w 1029843"/>
                <a:gd name="connsiteY878" fmla="*/ 781622 h 845819"/>
                <a:gd name="connsiteX879" fmla="*/ 869823 w 1029843"/>
                <a:gd name="connsiteY879" fmla="*/ 779240 h 845819"/>
                <a:gd name="connsiteX880" fmla="*/ 869156 w 1029843"/>
                <a:gd name="connsiteY880" fmla="*/ 774573 h 845819"/>
                <a:gd name="connsiteX881" fmla="*/ 873919 w 1029843"/>
                <a:gd name="connsiteY881" fmla="*/ 773906 h 845819"/>
                <a:gd name="connsiteX882" fmla="*/ 885158 w 1029843"/>
                <a:gd name="connsiteY882" fmla="*/ 774097 h 845819"/>
                <a:gd name="connsiteX883" fmla="*/ 897541 w 1029843"/>
                <a:gd name="connsiteY883" fmla="*/ 758095 h 845819"/>
                <a:gd name="connsiteX884" fmla="*/ 897350 w 1029843"/>
                <a:gd name="connsiteY884" fmla="*/ 756476 h 845819"/>
                <a:gd name="connsiteX885" fmla="*/ 902113 w 1029843"/>
                <a:gd name="connsiteY885" fmla="*/ 755904 h 845819"/>
                <a:gd name="connsiteX886" fmla="*/ 903923 w 1029843"/>
                <a:gd name="connsiteY886" fmla="*/ 757238 h 845819"/>
                <a:gd name="connsiteX887" fmla="*/ 907256 w 1029843"/>
                <a:gd name="connsiteY887" fmla="*/ 758476 h 845819"/>
                <a:gd name="connsiteX888" fmla="*/ 906875 w 1029843"/>
                <a:gd name="connsiteY888" fmla="*/ 755332 h 845819"/>
                <a:gd name="connsiteX889" fmla="*/ 910018 w 1029843"/>
                <a:gd name="connsiteY889" fmla="*/ 754856 h 845819"/>
                <a:gd name="connsiteX890" fmla="*/ 909542 w 1029843"/>
                <a:gd name="connsiteY890" fmla="*/ 751713 h 845819"/>
                <a:gd name="connsiteX891" fmla="*/ 912781 w 1029843"/>
                <a:gd name="connsiteY891" fmla="*/ 751332 h 845819"/>
                <a:gd name="connsiteX892" fmla="*/ 915734 w 1029843"/>
                <a:gd name="connsiteY892" fmla="*/ 749332 h 845819"/>
                <a:gd name="connsiteX893" fmla="*/ 919448 w 1029843"/>
                <a:gd name="connsiteY893" fmla="*/ 753713 h 845819"/>
                <a:gd name="connsiteX894" fmla="*/ 922210 w 1029843"/>
                <a:gd name="connsiteY894" fmla="*/ 750094 h 845819"/>
                <a:gd name="connsiteX895" fmla="*/ 921830 w 1029843"/>
                <a:gd name="connsiteY895" fmla="*/ 746951 h 845819"/>
                <a:gd name="connsiteX896" fmla="*/ 918496 w 1029843"/>
                <a:gd name="connsiteY896" fmla="*/ 745807 h 845819"/>
                <a:gd name="connsiteX897" fmla="*/ 926116 w 1029843"/>
                <a:gd name="connsiteY897" fmla="*/ 743236 h 845819"/>
                <a:gd name="connsiteX898" fmla="*/ 925735 w 1029843"/>
                <a:gd name="connsiteY898" fmla="*/ 740093 h 845819"/>
                <a:gd name="connsiteX899" fmla="*/ 927354 w 1029843"/>
                <a:gd name="connsiteY899" fmla="*/ 739807 h 845819"/>
                <a:gd name="connsiteX900" fmla="*/ 927735 w 1029843"/>
                <a:gd name="connsiteY900" fmla="*/ 743045 h 845819"/>
                <a:gd name="connsiteX901" fmla="*/ 937165 w 1029843"/>
                <a:gd name="connsiteY901" fmla="*/ 741807 h 845819"/>
                <a:gd name="connsiteX902" fmla="*/ 937355 w 1029843"/>
                <a:gd name="connsiteY902" fmla="*/ 743426 h 845819"/>
                <a:gd name="connsiteX903" fmla="*/ 939927 w 1029843"/>
                <a:gd name="connsiteY903" fmla="*/ 738283 h 845819"/>
                <a:gd name="connsiteX904" fmla="*/ 941546 w 1029843"/>
                <a:gd name="connsiteY904" fmla="*/ 737997 h 845819"/>
                <a:gd name="connsiteX905" fmla="*/ 944309 w 1029843"/>
                <a:gd name="connsiteY905" fmla="*/ 734473 h 845819"/>
                <a:gd name="connsiteX906" fmla="*/ 951929 w 1029843"/>
                <a:gd name="connsiteY906" fmla="*/ 731901 h 845819"/>
                <a:gd name="connsiteX907" fmla="*/ 954500 w 1029843"/>
                <a:gd name="connsiteY907" fmla="*/ 726757 h 845819"/>
                <a:gd name="connsiteX908" fmla="*/ 954881 w 1029843"/>
                <a:gd name="connsiteY908" fmla="*/ 704279 h 845819"/>
                <a:gd name="connsiteX909" fmla="*/ 960596 w 1029843"/>
                <a:gd name="connsiteY909" fmla="*/ 698754 h 845819"/>
                <a:gd name="connsiteX910" fmla="*/ 967073 w 1029843"/>
                <a:gd name="connsiteY910" fmla="*/ 699516 h 845819"/>
                <a:gd name="connsiteX911" fmla="*/ 968502 w 1029843"/>
                <a:gd name="connsiteY911" fmla="*/ 697706 h 845819"/>
                <a:gd name="connsiteX912" fmla="*/ 972217 w 1029843"/>
                <a:gd name="connsiteY912" fmla="*/ 702088 h 845819"/>
                <a:gd name="connsiteX913" fmla="*/ 975360 w 1029843"/>
                <a:gd name="connsiteY913" fmla="*/ 701707 h 845819"/>
                <a:gd name="connsiteX914" fmla="*/ 983837 w 1029843"/>
                <a:gd name="connsiteY914" fmla="*/ 705422 h 845819"/>
                <a:gd name="connsiteX915" fmla="*/ 986885 w 1029843"/>
                <a:gd name="connsiteY915" fmla="*/ 716185 h 845819"/>
                <a:gd name="connsiteX916" fmla="*/ 989838 w 1029843"/>
                <a:gd name="connsiteY916" fmla="*/ 714280 h 845819"/>
                <a:gd name="connsiteX917" fmla="*/ 993553 w 1029843"/>
                <a:gd name="connsiteY917" fmla="*/ 718566 h 845819"/>
                <a:gd name="connsiteX918" fmla="*/ 995363 w 1029843"/>
                <a:gd name="connsiteY918" fmla="*/ 719995 h 845819"/>
                <a:gd name="connsiteX919" fmla="*/ 998315 w 1029843"/>
                <a:gd name="connsiteY919" fmla="*/ 717995 h 845819"/>
                <a:gd name="connsiteX920" fmla="*/ 1019080 w 1029843"/>
                <a:gd name="connsiteY920" fmla="*/ 729805 h 845819"/>
                <a:gd name="connsiteX921" fmla="*/ 1020413 w 1029843"/>
                <a:gd name="connsiteY921" fmla="*/ 727996 h 845819"/>
                <a:gd name="connsiteX922" fmla="*/ 1022223 w 1029843"/>
                <a:gd name="connsiteY922" fmla="*/ 729329 h 845819"/>
                <a:gd name="connsiteX923" fmla="*/ 1026509 w 1029843"/>
                <a:gd name="connsiteY923" fmla="*/ 725615 h 845819"/>
                <a:gd name="connsiteX924" fmla="*/ 1029272 w 1029843"/>
                <a:gd name="connsiteY924" fmla="*/ 722090 h 845819"/>
                <a:gd name="connsiteX925" fmla="*/ 1027081 w 1029843"/>
                <a:gd name="connsiteY925" fmla="*/ 717518 h 845819"/>
                <a:gd name="connsiteX926" fmla="*/ 1029843 w 1029843"/>
                <a:gd name="connsiteY926" fmla="*/ 713994 h 845819"/>
                <a:gd name="connsiteX927" fmla="*/ 1029843 w 1029843"/>
                <a:gd name="connsiteY927" fmla="*/ 713994 h 845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</a:cxnLst>
              <a:rect l="l" t="t" r="r" b="b"/>
              <a:pathLst>
                <a:path w="1029843" h="845819">
                  <a:moveTo>
                    <a:pt x="1029843" y="713994"/>
                  </a:moveTo>
                  <a:lnTo>
                    <a:pt x="1026319" y="711232"/>
                  </a:lnTo>
                  <a:lnTo>
                    <a:pt x="1024128" y="706660"/>
                  </a:lnTo>
                  <a:lnTo>
                    <a:pt x="1013651" y="699992"/>
                  </a:lnTo>
                  <a:lnTo>
                    <a:pt x="1011079" y="692277"/>
                  </a:lnTo>
                  <a:lnTo>
                    <a:pt x="1010888" y="690753"/>
                  </a:lnTo>
                  <a:lnTo>
                    <a:pt x="1014603" y="682276"/>
                  </a:lnTo>
                  <a:lnTo>
                    <a:pt x="1012412" y="677704"/>
                  </a:lnTo>
                  <a:lnTo>
                    <a:pt x="1009079" y="676561"/>
                  </a:lnTo>
                  <a:lnTo>
                    <a:pt x="1010222" y="673132"/>
                  </a:lnTo>
                  <a:lnTo>
                    <a:pt x="1007650" y="665512"/>
                  </a:lnTo>
                  <a:lnTo>
                    <a:pt x="1008602" y="660559"/>
                  </a:lnTo>
                  <a:lnTo>
                    <a:pt x="1008031" y="655796"/>
                  </a:lnTo>
                  <a:lnTo>
                    <a:pt x="1010984" y="653796"/>
                  </a:lnTo>
                  <a:lnTo>
                    <a:pt x="1012126" y="650462"/>
                  </a:lnTo>
                  <a:lnTo>
                    <a:pt x="1009555" y="642747"/>
                  </a:lnTo>
                  <a:lnTo>
                    <a:pt x="1006412" y="643223"/>
                  </a:lnTo>
                  <a:lnTo>
                    <a:pt x="1008793" y="636461"/>
                  </a:lnTo>
                  <a:lnTo>
                    <a:pt x="1003649" y="633889"/>
                  </a:lnTo>
                  <a:lnTo>
                    <a:pt x="1002601" y="625983"/>
                  </a:lnTo>
                  <a:lnTo>
                    <a:pt x="995458" y="620554"/>
                  </a:lnTo>
                  <a:lnTo>
                    <a:pt x="994886" y="615791"/>
                  </a:lnTo>
                  <a:lnTo>
                    <a:pt x="988600" y="616553"/>
                  </a:lnTo>
                  <a:lnTo>
                    <a:pt x="983647" y="615601"/>
                  </a:lnTo>
                  <a:lnTo>
                    <a:pt x="977551" y="605123"/>
                  </a:lnTo>
                  <a:lnTo>
                    <a:pt x="978503" y="600265"/>
                  </a:lnTo>
                  <a:lnTo>
                    <a:pt x="973550" y="599218"/>
                  </a:lnTo>
                  <a:lnTo>
                    <a:pt x="972502" y="591407"/>
                  </a:lnTo>
                  <a:lnTo>
                    <a:pt x="969169" y="590169"/>
                  </a:lnTo>
                  <a:lnTo>
                    <a:pt x="964406" y="590836"/>
                  </a:lnTo>
                  <a:lnTo>
                    <a:pt x="962501" y="587788"/>
                  </a:lnTo>
                  <a:lnTo>
                    <a:pt x="960692" y="586454"/>
                  </a:lnTo>
                  <a:lnTo>
                    <a:pt x="960120" y="581692"/>
                  </a:lnTo>
                  <a:lnTo>
                    <a:pt x="953167" y="577786"/>
                  </a:lnTo>
                  <a:lnTo>
                    <a:pt x="952595" y="573024"/>
                  </a:lnTo>
                  <a:lnTo>
                    <a:pt x="943070" y="561404"/>
                  </a:lnTo>
                  <a:lnTo>
                    <a:pt x="944213" y="558070"/>
                  </a:lnTo>
                  <a:lnTo>
                    <a:pt x="942023" y="553593"/>
                  </a:lnTo>
                  <a:lnTo>
                    <a:pt x="941642" y="550355"/>
                  </a:lnTo>
                  <a:lnTo>
                    <a:pt x="930783" y="540544"/>
                  </a:lnTo>
                  <a:lnTo>
                    <a:pt x="926401" y="531495"/>
                  </a:lnTo>
                  <a:lnTo>
                    <a:pt x="922687" y="527113"/>
                  </a:lnTo>
                  <a:lnTo>
                    <a:pt x="922020" y="522446"/>
                  </a:lnTo>
                  <a:lnTo>
                    <a:pt x="918305" y="518065"/>
                  </a:lnTo>
                  <a:lnTo>
                    <a:pt x="907256" y="519494"/>
                  </a:lnTo>
                  <a:lnTo>
                    <a:pt x="903923" y="518350"/>
                  </a:lnTo>
                  <a:lnTo>
                    <a:pt x="900970" y="520255"/>
                  </a:lnTo>
                  <a:lnTo>
                    <a:pt x="899732" y="523684"/>
                  </a:lnTo>
                  <a:lnTo>
                    <a:pt x="896588" y="524065"/>
                  </a:lnTo>
                  <a:lnTo>
                    <a:pt x="885730" y="514255"/>
                  </a:lnTo>
                  <a:lnTo>
                    <a:pt x="878776" y="497491"/>
                  </a:lnTo>
                  <a:lnTo>
                    <a:pt x="869728" y="489013"/>
                  </a:lnTo>
                  <a:lnTo>
                    <a:pt x="869251" y="485870"/>
                  </a:lnTo>
                  <a:lnTo>
                    <a:pt x="873443" y="480536"/>
                  </a:lnTo>
                  <a:lnTo>
                    <a:pt x="871061" y="474440"/>
                  </a:lnTo>
                  <a:lnTo>
                    <a:pt x="873824" y="470821"/>
                  </a:lnTo>
                  <a:lnTo>
                    <a:pt x="869823" y="464915"/>
                  </a:lnTo>
                  <a:lnTo>
                    <a:pt x="869061" y="458629"/>
                  </a:lnTo>
                  <a:lnTo>
                    <a:pt x="867061" y="455676"/>
                  </a:lnTo>
                  <a:lnTo>
                    <a:pt x="862489" y="457867"/>
                  </a:lnTo>
                  <a:lnTo>
                    <a:pt x="858965" y="455105"/>
                  </a:lnTo>
                  <a:lnTo>
                    <a:pt x="852868" y="457486"/>
                  </a:lnTo>
                  <a:lnTo>
                    <a:pt x="844391" y="453771"/>
                  </a:lnTo>
                  <a:lnTo>
                    <a:pt x="838200" y="456152"/>
                  </a:lnTo>
                  <a:lnTo>
                    <a:pt x="831342" y="452152"/>
                  </a:lnTo>
                  <a:lnTo>
                    <a:pt x="829723" y="452438"/>
                  </a:lnTo>
                  <a:lnTo>
                    <a:pt x="825246" y="454533"/>
                  </a:lnTo>
                  <a:lnTo>
                    <a:pt x="821531" y="463105"/>
                  </a:lnTo>
                  <a:lnTo>
                    <a:pt x="821912" y="466249"/>
                  </a:lnTo>
                  <a:lnTo>
                    <a:pt x="816007" y="470154"/>
                  </a:lnTo>
                  <a:lnTo>
                    <a:pt x="811244" y="470821"/>
                  </a:lnTo>
                  <a:lnTo>
                    <a:pt x="809816" y="459772"/>
                  </a:lnTo>
                  <a:lnTo>
                    <a:pt x="802672" y="454247"/>
                  </a:lnTo>
                  <a:lnTo>
                    <a:pt x="803720" y="449294"/>
                  </a:lnTo>
                  <a:lnTo>
                    <a:pt x="801148" y="441579"/>
                  </a:lnTo>
                  <a:lnTo>
                    <a:pt x="799148" y="438626"/>
                  </a:lnTo>
                  <a:lnTo>
                    <a:pt x="789623" y="439865"/>
                  </a:lnTo>
                  <a:lnTo>
                    <a:pt x="789242" y="436721"/>
                  </a:lnTo>
                  <a:lnTo>
                    <a:pt x="792956" y="428244"/>
                  </a:lnTo>
                  <a:lnTo>
                    <a:pt x="791242" y="426815"/>
                  </a:lnTo>
                  <a:lnTo>
                    <a:pt x="784289" y="422910"/>
                  </a:lnTo>
                  <a:lnTo>
                    <a:pt x="783717" y="418148"/>
                  </a:lnTo>
                  <a:lnTo>
                    <a:pt x="778764" y="417195"/>
                  </a:lnTo>
                  <a:lnTo>
                    <a:pt x="771620" y="424529"/>
                  </a:lnTo>
                  <a:lnTo>
                    <a:pt x="763143" y="420815"/>
                  </a:lnTo>
                  <a:lnTo>
                    <a:pt x="765715" y="415671"/>
                  </a:lnTo>
                  <a:lnTo>
                    <a:pt x="760762" y="401860"/>
                  </a:lnTo>
                  <a:lnTo>
                    <a:pt x="757238" y="399098"/>
                  </a:lnTo>
                  <a:lnTo>
                    <a:pt x="752475" y="399669"/>
                  </a:lnTo>
                  <a:lnTo>
                    <a:pt x="751904" y="395002"/>
                  </a:lnTo>
                  <a:lnTo>
                    <a:pt x="753237" y="393192"/>
                  </a:lnTo>
                  <a:lnTo>
                    <a:pt x="755618" y="386429"/>
                  </a:lnTo>
                  <a:lnTo>
                    <a:pt x="759524" y="379571"/>
                  </a:lnTo>
                  <a:lnTo>
                    <a:pt x="762286" y="375952"/>
                  </a:lnTo>
                  <a:lnTo>
                    <a:pt x="763619" y="374237"/>
                  </a:lnTo>
                  <a:lnTo>
                    <a:pt x="768382" y="373571"/>
                  </a:lnTo>
                  <a:lnTo>
                    <a:pt x="768953" y="378333"/>
                  </a:lnTo>
                  <a:lnTo>
                    <a:pt x="771334" y="384429"/>
                  </a:lnTo>
                  <a:lnTo>
                    <a:pt x="777716" y="383667"/>
                  </a:lnTo>
                  <a:lnTo>
                    <a:pt x="778478" y="377095"/>
                  </a:lnTo>
                  <a:lnTo>
                    <a:pt x="776097" y="370999"/>
                  </a:lnTo>
                  <a:lnTo>
                    <a:pt x="772477" y="368236"/>
                  </a:lnTo>
                  <a:lnTo>
                    <a:pt x="769144" y="367094"/>
                  </a:lnTo>
                  <a:lnTo>
                    <a:pt x="772097" y="365093"/>
                  </a:lnTo>
                  <a:lnTo>
                    <a:pt x="780002" y="364141"/>
                  </a:lnTo>
                  <a:lnTo>
                    <a:pt x="777621" y="358045"/>
                  </a:lnTo>
                  <a:lnTo>
                    <a:pt x="785908" y="360140"/>
                  </a:lnTo>
                  <a:lnTo>
                    <a:pt x="793433" y="355949"/>
                  </a:lnTo>
                  <a:lnTo>
                    <a:pt x="789242" y="348520"/>
                  </a:lnTo>
                  <a:lnTo>
                    <a:pt x="796576" y="342805"/>
                  </a:lnTo>
                  <a:lnTo>
                    <a:pt x="799719" y="342329"/>
                  </a:lnTo>
                  <a:lnTo>
                    <a:pt x="803243" y="345091"/>
                  </a:lnTo>
                  <a:lnTo>
                    <a:pt x="806387" y="344710"/>
                  </a:lnTo>
                  <a:lnTo>
                    <a:pt x="802481" y="338804"/>
                  </a:lnTo>
                  <a:lnTo>
                    <a:pt x="803815" y="336994"/>
                  </a:lnTo>
                  <a:lnTo>
                    <a:pt x="805815" y="339947"/>
                  </a:lnTo>
                  <a:lnTo>
                    <a:pt x="812483" y="342329"/>
                  </a:lnTo>
                  <a:lnTo>
                    <a:pt x="815435" y="340328"/>
                  </a:lnTo>
                  <a:lnTo>
                    <a:pt x="819055" y="343090"/>
                  </a:lnTo>
                  <a:lnTo>
                    <a:pt x="824293" y="334423"/>
                  </a:lnTo>
                  <a:lnTo>
                    <a:pt x="823722" y="329660"/>
                  </a:lnTo>
                  <a:lnTo>
                    <a:pt x="829818" y="327279"/>
                  </a:lnTo>
                  <a:lnTo>
                    <a:pt x="831247" y="325469"/>
                  </a:lnTo>
                  <a:lnTo>
                    <a:pt x="828389" y="316230"/>
                  </a:lnTo>
                  <a:lnTo>
                    <a:pt x="829627" y="312896"/>
                  </a:lnTo>
                  <a:lnTo>
                    <a:pt x="835724" y="310515"/>
                  </a:lnTo>
                  <a:lnTo>
                    <a:pt x="837343" y="310325"/>
                  </a:lnTo>
                  <a:lnTo>
                    <a:pt x="844201" y="314230"/>
                  </a:lnTo>
                  <a:lnTo>
                    <a:pt x="846201" y="317182"/>
                  </a:lnTo>
                  <a:lnTo>
                    <a:pt x="853345" y="322707"/>
                  </a:lnTo>
                  <a:lnTo>
                    <a:pt x="863727" y="316516"/>
                  </a:lnTo>
                  <a:lnTo>
                    <a:pt x="872776" y="299371"/>
                  </a:lnTo>
                  <a:lnTo>
                    <a:pt x="881825" y="294989"/>
                  </a:lnTo>
                  <a:lnTo>
                    <a:pt x="891921" y="285750"/>
                  </a:lnTo>
                  <a:lnTo>
                    <a:pt x="891540" y="282511"/>
                  </a:lnTo>
                  <a:lnTo>
                    <a:pt x="889540" y="279559"/>
                  </a:lnTo>
                  <a:lnTo>
                    <a:pt x="891064" y="279368"/>
                  </a:lnTo>
                  <a:lnTo>
                    <a:pt x="881825" y="269367"/>
                  </a:lnTo>
                  <a:lnTo>
                    <a:pt x="888111" y="268510"/>
                  </a:lnTo>
                  <a:lnTo>
                    <a:pt x="898589" y="262414"/>
                  </a:lnTo>
                  <a:lnTo>
                    <a:pt x="898970" y="252698"/>
                  </a:lnTo>
                  <a:lnTo>
                    <a:pt x="892778" y="242316"/>
                  </a:lnTo>
                  <a:lnTo>
                    <a:pt x="893921" y="238982"/>
                  </a:lnTo>
                  <a:lnTo>
                    <a:pt x="903637" y="239268"/>
                  </a:lnTo>
                  <a:lnTo>
                    <a:pt x="908209" y="237172"/>
                  </a:lnTo>
                  <a:lnTo>
                    <a:pt x="921163" y="225838"/>
                  </a:lnTo>
                  <a:lnTo>
                    <a:pt x="920401" y="219551"/>
                  </a:lnTo>
                  <a:lnTo>
                    <a:pt x="917734" y="211836"/>
                  </a:lnTo>
                  <a:lnTo>
                    <a:pt x="908685" y="203359"/>
                  </a:lnTo>
                  <a:lnTo>
                    <a:pt x="906113" y="195739"/>
                  </a:lnTo>
                  <a:lnTo>
                    <a:pt x="897446" y="190405"/>
                  </a:lnTo>
                  <a:lnTo>
                    <a:pt x="893445" y="184499"/>
                  </a:lnTo>
                  <a:lnTo>
                    <a:pt x="885158" y="182309"/>
                  </a:lnTo>
                  <a:lnTo>
                    <a:pt x="875252" y="167545"/>
                  </a:lnTo>
                  <a:lnTo>
                    <a:pt x="874395" y="161258"/>
                  </a:lnTo>
                  <a:lnTo>
                    <a:pt x="872871" y="161449"/>
                  </a:lnTo>
                  <a:lnTo>
                    <a:pt x="869728" y="161830"/>
                  </a:lnTo>
                  <a:lnTo>
                    <a:pt x="867727" y="158877"/>
                  </a:lnTo>
                  <a:lnTo>
                    <a:pt x="863156" y="148209"/>
                  </a:lnTo>
                  <a:lnTo>
                    <a:pt x="855250" y="149257"/>
                  </a:lnTo>
                  <a:lnTo>
                    <a:pt x="854678" y="144494"/>
                  </a:lnTo>
                  <a:lnTo>
                    <a:pt x="848297" y="132493"/>
                  </a:lnTo>
                  <a:lnTo>
                    <a:pt x="834866" y="127825"/>
                  </a:lnTo>
                  <a:lnTo>
                    <a:pt x="828580" y="128588"/>
                  </a:lnTo>
                  <a:lnTo>
                    <a:pt x="824675" y="135541"/>
                  </a:lnTo>
                  <a:lnTo>
                    <a:pt x="818102" y="134779"/>
                  </a:lnTo>
                  <a:lnTo>
                    <a:pt x="806863" y="134588"/>
                  </a:lnTo>
                  <a:lnTo>
                    <a:pt x="805720" y="125063"/>
                  </a:lnTo>
                  <a:lnTo>
                    <a:pt x="804101" y="125254"/>
                  </a:lnTo>
                  <a:lnTo>
                    <a:pt x="800957" y="125730"/>
                  </a:lnTo>
                  <a:lnTo>
                    <a:pt x="792861" y="125158"/>
                  </a:lnTo>
                  <a:lnTo>
                    <a:pt x="789908" y="127064"/>
                  </a:lnTo>
                  <a:lnTo>
                    <a:pt x="774859" y="122587"/>
                  </a:lnTo>
                  <a:lnTo>
                    <a:pt x="771716" y="122968"/>
                  </a:lnTo>
                  <a:lnTo>
                    <a:pt x="763524" y="146494"/>
                  </a:lnTo>
                  <a:lnTo>
                    <a:pt x="765143" y="159163"/>
                  </a:lnTo>
                  <a:lnTo>
                    <a:pt x="763524" y="159353"/>
                  </a:lnTo>
                  <a:lnTo>
                    <a:pt x="765524" y="162306"/>
                  </a:lnTo>
                  <a:lnTo>
                    <a:pt x="762952" y="167449"/>
                  </a:lnTo>
                  <a:lnTo>
                    <a:pt x="747141" y="169450"/>
                  </a:lnTo>
                  <a:lnTo>
                    <a:pt x="741235" y="173355"/>
                  </a:lnTo>
                  <a:lnTo>
                    <a:pt x="736092" y="170878"/>
                  </a:lnTo>
                  <a:lnTo>
                    <a:pt x="737711" y="170593"/>
                  </a:lnTo>
                  <a:lnTo>
                    <a:pt x="734759" y="159829"/>
                  </a:lnTo>
                  <a:lnTo>
                    <a:pt x="730568" y="152305"/>
                  </a:lnTo>
                  <a:lnTo>
                    <a:pt x="714947" y="143066"/>
                  </a:lnTo>
                  <a:lnTo>
                    <a:pt x="707231" y="145637"/>
                  </a:lnTo>
                  <a:lnTo>
                    <a:pt x="704850" y="139541"/>
                  </a:lnTo>
                  <a:lnTo>
                    <a:pt x="701516" y="138398"/>
                  </a:lnTo>
                  <a:lnTo>
                    <a:pt x="699516" y="135445"/>
                  </a:lnTo>
                  <a:lnTo>
                    <a:pt x="691706" y="136398"/>
                  </a:lnTo>
                  <a:lnTo>
                    <a:pt x="688086" y="133636"/>
                  </a:lnTo>
                  <a:lnTo>
                    <a:pt x="681800" y="134493"/>
                  </a:lnTo>
                  <a:lnTo>
                    <a:pt x="679609" y="142780"/>
                  </a:lnTo>
                  <a:lnTo>
                    <a:pt x="676656" y="144780"/>
                  </a:lnTo>
                  <a:lnTo>
                    <a:pt x="673513" y="145161"/>
                  </a:lnTo>
                  <a:lnTo>
                    <a:pt x="672560" y="150114"/>
                  </a:lnTo>
                  <a:lnTo>
                    <a:pt x="664083" y="159163"/>
                  </a:lnTo>
                  <a:lnTo>
                    <a:pt x="659321" y="159734"/>
                  </a:lnTo>
                  <a:lnTo>
                    <a:pt x="659797" y="162973"/>
                  </a:lnTo>
                  <a:lnTo>
                    <a:pt x="655606" y="168307"/>
                  </a:lnTo>
                  <a:lnTo>
                    <a:pt x="653129" y="186214"/>
                  </a:lnTo>
                  <a:lnTo>
                    <a:pt x="653510" y="189357"/>
                  </a:lnTo>
                  <a:lnTo>
                    <a:pt x="652367" y="192786"/>
                  </a:lnTo>
                  <a:lnTo>
                    <a:pt x="642271" y="189167"/>
                  </a:lnTo>
                  <a:lnTo>
                    <a:pt x="631603" y="206597"/>
                  </a:lnTo>
                  <a:lnTo>
                    <a:pt x="626269" y="202501"/>
                  </a:lnTo>
                  <a:lnTo>
                    <a:pt x="624364" y="199549"/>
                  </a:lnTo>
                  <a:lnTo>
                    <a:pt x="619411" y="198596"/>
                  </a:lnTo>
                  <a:lnTo>
                    <a:pt x="609124" y="193453"/>
                  </a:lnTo>
                  <a:lnTo>
                    <a:pt x="605600" y="190691"/>
                  </a:lnTo>
                  <a:lnTo>
                    <a:pt x="605123" y="187547"/>
                  </a:lnTo>
                  <a:lnTo>
                    <a:pt x="610648" y="180403"/>
                  </a:lnTo>
                  <a:lnTo>
                    <a:pt x="618363" y="177832"/>
                  </a:lnTo>
                  <a:lnTo>
                    <a:pt x="628555" y="170117"/>
                  </a:lnTo>
                  <a:lnTo>
                    <a:pt x="626650" y="167164"/>
                  </a:lnTo>
                  <a:lnTo>
                    <a:pt x="618363" y="164973"/>
                  </a:lnTo>
                  <a:lnTo>
                    <a:pt x="617125" y="155543"/>
                  </a:lnTo>
                  <a:lnTo>
                    <a:pt x="613791" y="154400"/>
                  </a:lnTo>
                  <a:lnTo>
                    <a:pt x="616268" y="149257"/>
                  </a:lnTo>
                  <a:lnTo>
                    <a:pt x="614743" y="136589"/>
                  </a:lnTo>
                  <a:lnTo>
                    <a:pt x="612076" y="128873"/>
                  </a:lnTo>
                  <a:lnTo>
                    <a:pt x="612934" y="122396"/>
                  </a:lnTo>
                  <a:lnTo>
                    <a:pt x="609505" y="121253"/>
                  </a:lnTo>
                  <a:lnTo>
                    <a:pt x="605600" y="115348"/>
                  </a:lnTo>
                  <a:lnTo>
                    <a:pt x="606552" y="110395"/>
                  </a:lnTo>
                  <a:lnTo>
                    <a:pt x="606171" y="107251"/>
                  </a:lnTo>
                  <a:lnTo>
                    <a:pt x="587597" y="99917"/>
                  </a:lnTo>
                  <a:lnTo>
                    <a:pt x="578072" y="101155"/>
                  </a:lnTo>
                  <a:lnTo>
                    <a:pt x="576739" y="102965"/>
                  </a:lnTo>
                  <a:lnTo>
                    <a:pt x="572452" y="106680"/>
                  </a:lnTo>
                  <a:lnTo>
                    <a:pt x="565880" y="105918"/>
                  </a:lnTo>
                  <a:lnTo>
                    <a:pt x="563309" y="111062"/>
                  </a:lnTo>
                  <a:lnTo>
                    <a:pt x="556641" y="108680"/>
                  </a:lnTo>
                  <a:lnTo>
                    <a:pt x="549116" y="112871"/>
                  </a:lnTo>
                  <a:lnTo>
                    <a:pt x="533972" y="119634"/>
                  </a:lnTo>
                  <a:lnTo>
                    <a:pt x="533019" y="124587"/>
                  </a:lnTo>
                  <a:lnTo>
                    <a:pt x="517970" y="120015"/>
                  </a:lnTo>
                  <a:lnTo>
                    <a:pt x="518732" y="113538"/>
                  </a:lnTo>
                  <a:lnTo>
                    <a:pt x="518160" y="108775"/>
                  </a:lnTo>
                  <a:lnTo>
                    <a:pt x="514731" y="94774"/>
                  </a:lnTo>
                  <a:lnTo>
                    <a:pt x="511016" y="90488"/>
                  </a:lnTo>
                  <a:lnTo>
                    <a:pt x="509778" y="80963"/>
                  </a:lnTo>
                  <a:lnTo>
                    <a:pt x="506444" y="79819"/>
                  </a:lnTo>
                  <a:lnTo>
                    <a:pt x="498539" y="68008"/>
                  </a:lnTo>
                  <a:lnTo>
                    <a:pt x="494538" y="62103"/>
                  </a:lnTo>
                  <a:lnTo>
                    <a:pt x="496634" y="40957"/>
                  </a:lnTo>
                  <a:lnTo>
                    <a:pt x="487966" y="35623"/>
                  </a:lnTo>
                  <a:lnTo>
                    <a:pt x="485394" y="28003"/>
                  </a:lnTo>
                  <a:lnTo>
                    <a:pt x="466630" y="32004"/>
                  </a:lnTo>
                  <a:lnTo>
                    <a:pt x="465677" y="36862"/>
                  </a:lnTo>
                  <a:lnTo>
                    <a:pt x="459962" y="42481"/>
                  </a:lnTo>
                  <a:lnTo>
                    <a:pt x="446913" y="40862"/>
                  </a:lnTo>
                  <a:lnTo>
                    <a:pt x="436340" y="45434"/>
                  </a:lnTo>
                  <a:lnTo>
                    <a:pt x="431959" y="49244"/>
                  </a:lnTo>
                  <a:lnTo>
                    <a:pt x="430435" y="49435"/>
                  </a:lnTo>
                  <a:lnTo>
                    <a:pt x="420148" y="44291"/>
                  </a:lnTo>
                  <a:lnTo>
                    <a:pt x="409289" y="47339"/>
                  </a:lnTo>
                  <a:lnTo>
                    <a:pt x="404336" y="46292"/>
                  </a:lnTo>
                  <a:lnTo>
                    <a:pt x="397383" y="42386"/>
                  </a:lnTo>
                  <a:lnTo>
                    <a:pt x="394621" y="33147"/>
                  </a:lnTo>
                  <a:lnTo>
                    <a:pt x="390906" y="28766"/>
                  </a:lnTo>
                  <a:lnTo>
                    <a:pt x="382619" y="26670"/>
                  </a:lnTo>
                  <a:lnTo>
                    <a:pt x="377285" y="22479"/>
                  </a:lnTo>
                  <a:lnTo>
                    <a:pt x="369189" y="21907"/>
                  </a:lnTo>
                  <a:lnTo>
                    <a:pt x="350996" y="17812"/>
                  </a:lnTo>
                  <a:lnTo>
                    <a:pt x="348043" y="6953"/>
                  </a:lnTo>
                  <a:lnTo>
                    <a:pt x="337947" y="3429"/>
                  </a:lnTo>
                  <a:lnTo>
                    <a:pt x="321564" y="762"/>
                  </a:lnTo>
                  <a:lnTo>
                    <a:pt x="309372" y="5524"/>
                  </a:lnTo>
                  <a:lnTo>
                    <a:pt x="302228" y="0"/>
                  </a:lnTo>
                  <a:lnTo>
                    <a:pt x="292703" y="1238"/>
                  </a:lnTo>
                  <a:lnTo>
                    <a:pt x="292989" y="15621"/>
                  </a:lnTo>
                  <a:lnTo>
                    <a:pt x="293942" y="23527"/>
                  </a:lnTo>
                  <a:lnTo>
                    <a:pt x="297942" y="29432"/>
                  </a:lnTo>
                  <a:lnTo>
                    <a:pt x="313754" y="40195"/>
                  </a:lnTo>
                  <a:lnTo>
                    <a:pt x="318325" y="50864"/>
                  </a:lnTo>
                  <a:lnTo>
                    <a:pt x="316135" y="59150"/>
                  </a:lnTo>
                  <a:lnTo>
                    <a:pt x="308324" y="72962"/>
                  </a:lnTo>
                  <a:lnTo>
                    <a:pt x="307086" y="76391"/>
                  </a:lnTo>
                  <a:lnTo>
                    <a:pt x="314230" y="81820"/>
                  </a:lnTo>
                  <a:lnTo>
                    <a:pt x="312706" y="94869"/>
                  </a:lnTo>
                  <a:lnTo>
                    <a:pt x="314706" y="97822"/>
                  </a:lnTo>
                  <a:lnTo>
                    <a:pt x="311182" y="107918"/>
                  </a:lnTo>
                  <a:lnTo>
                    <a:pt x="311753" y="112681"/>
                  </a:lnTo>
                  <a:lnTo>
                    <a:pt x="313563" y="114014"/>
                  </a:lnTo>
                  <a:lnTo>
                    <a:pt x="319945" y="138874"/>
                  </a:lnTo>
                  <a:lnTo>
                    <a:pt x="326993" y="144399"/>
                  </a:lnTo>
                  <a:lnTo>
                    <a:pt x="319945" y="151733"/>
                  </a:lnTo>
                  <a:lnTo>
                    <a:pt x="314801" y="161925"/>
                  </a:lnTo>
                  <a:lnTo>
                    <a:pt x="314992" y="163544"/>
                  </a:lnTo>
                  <a:lnTo>
                    <a:pt x="325469" y="170212"/>
                  </a:lnTo>
                  <a:lnTo>
                    <a:pt x="329660" y="177737"/>
                  </a:lnTo>
                  <a:lnTo>
                    <a:pt x="330518" y="184023"/>
                  </a:lnTo>
                  <a:lnTo>
                    <a:pt x="339185" y="189357"/>
                  </a:lnTo>
                  <a:lnTo>
                    <a:pt x="333470" y="194881"/>
                  </a:lnTo>
                  <a:lnTo>
                    <a:pt x="326803" y="205359"/>
                  </a:lnTo>
                  <a:lnTo>
                    <a:pt x="328994" y="209931"/>
                  </a:lnTo>
                  <a:lnTo>
                    <a:pt x="318516" y="228886"/>
                  </a:lnTo>
                  <a:lnTo>
                    <a:pt x="325660" y="234315"/>
                  </a:lnTo>
                  <a:lnTo>
                    <a:pt x="335375" y="234696"/>
                  </a:lnTo>
                  <a:lnTo>
                    <a:pt x="332804" y="239840"/>
                  </a:lnTo>
                  <a:lnTo>
                    <a:pt x="328232" y="242030"/>
                  </a:lnTo>
                  <a:lnTo>
                    <a:pt x="339281" y="253460"/>
                  </a:lnTo>
                  <a:lnTo>
                    <a:pt x="334423" y="252508"/>
                  </a:lnTo>
                  <a:lnTo>
                    <a:pt x="334613" y="254032"/>
                  </a:lnTo>
                  <a:lnTo>
                    <a:pt x="341090" y="254889"/>
                  </a:lnTo>
                  <a:lnTo>
                    <a:pt x="343472" y="260985"/>
                  </a:lnTo>
                  <a:lnTo>
                    <a:pt x="348806" y="265081"/>
                  </a:lnTo>
                  <a:lnTo>
                    <a:pt x="349187" y="268224"/>
                  </a:lnTo>
                  <a:lnTo>
                    <a:pt x="352806" y="270986"/>
                  </a:lnTo>
                  <a:lnTo>
                    <a:pt x="356997" y="278511"/>
                  </a:lnTo>
                  <a:lnTo>
                    <a:pt x="358521" y="278320"/>
                  </a:lnTo>
                  <a:lnTo>
                    <a:pt x="359283" y="284607"/>
                  </a:lnTo>
                  <a:lnTo>
                    <a:pt x="363284" y="290513"/>
                  </a:lnTo>
                  <a:lnTo>
                    <a:pt x="362141" y="293846"/>
                  </a:lnTo>
                  <a:lnTo>
                    <a:pt x="340043" y="296704"/>
                  </a:lnTo>
                  <a:lnTo>
                    <a:pt x="335471" y="298894"/>
                  </a:lnTo>
                  <a:lnTo>
                    <a:pt x="334137" y="300609"/>
                  </a:lnTo>
                  <a:lnTo>
                    <a:pt x="331946" y="296132"/>
                  </a:lnTo>
                  <a:lnTo>
                    <a:pt x="329184" y="299657"/>
                  </a:lnTo>
                  <a:lnTo>
                    <a:pt x="331184" y="302609"/>
                  </a:lnTo>
                  <a:lnTo>
                    <a:pt x="328041" y="302990"/>
                  </a:lnTo>
                  <a:lnTo>
                    <a:pt x="326803" y="293561"/>
                  </a:lnTo>
                  <a:lnTo>
                    <a:pt x="323660" y="293942"/>
                  </a:lnTo>
                  <a:lnTo>
                    <a:pt x="323850" y="295561"/>
                  </a:lnTo>
                  <a:lnTo>
                    <a:pt x="320516" y="294323"/>
                  </a:lnTo>
                  <a:lnTo>
                    <a:pt x="320040" y="291179"/>
                  </a:lnTo>
                  <a:lnTo>
                    <a:pt x="318707" y="292989"/>
                  </a:lnTo>
                  <a:lnTo>
                    <a:pt x="318325" y="289846"/>
                  </a:lnTo>
                  <a:lnTo>
                    <a:pt x="316706" y="290036"/>
                  </a:lnTo>
                  <a:lnTo>
                    <a:pt x="310801" y="293942"/>
                  </a:lnTo>
                  <a:lnTo>
                    <a:pt x="309277" y="294227"/>
                  </a:lnTo>
                  <a:lnTo>
                    <a:pt x="304705" y="296323"/>
                  </a:lnTo>
                  <a:lnTo>
                    <a:pt x="301371" y="295180"/>
                  </a:lnTo>
                  <a:lnTo>
                    <a:pt x="302324" y="303086"/>
                  </a:lnTo>
                  <a:lnTo>
                    <a:pt x="294418" y="304133"/>
                  </a:lnTo>
                  <a:lnTo>
                    <a:pt x="292227" y="299561"/>
                  </a:lnTo>
                  <a:lnTo>
                    <a:pt x="287750" y="301752"/>
                  </a:lnTo>
                  <a:lnTo>
                    <a:pt x="285750" y="298799"/>
                  </a:lnTo>
                  <a:lnTo>
                    <a:pt x="279464" y="299561"/>
                  </a:lnTo>
                  <a:lnTo>
                    <a:pt x="278606" y="293275"/>
                  </a:lnTo>
                  <a:lnTo>
                    <a:pt x="267557" y="281845"/>
                  </a:lnTo>
                  <a:lnTo>
                    <a:pt x="268319" y="275368"/>
                  </a:lnTo>
                  <a:lnTo>
                    <a:pt x="270129" y="276701"/>
                  </a:lnTo>
                  <a:lnTo>
                    <a:pt x="269748" y="273558"/>
                  </a:lnTo>
                  <a:lnTo>
                    <a:pt x="267748" y="270605"/>
                  </a:lnTo>
                  <a:lnTo>
                    <a:pt x="254318" y="265938"/>
                  </a:lnTo>
                  <a:lnTo>
                    <a:pt x="254889" y="270605"/>
                  </a:lnTo>
                  <a:lnTo>
                    <a:pt x="256508" y="270415"/>
                  </a:lnTo>
                  <a:lnTo>
                    <a:pt x="253746" y="274034"/>
                  </a:lnTo>
                  <a:lnTo>
                    <a:pt x="257461" y="278320"/>
                  </a:lnTo>
                  <a:lnTo>
                    <a:pt x="256508" y="283273"/>
                  </a:lnTo>
                  <a:lnTo>
                    <a:pt x="254699" y="281845"/>
                  </a:lnTo>
                  <a:lnTo>
                    <a:pt x="253365" y="283655"/>
                  </a:lnTo>
                  <a:lnTo>
                    <a:pt x="248031" y="279559"/>
                  </a:lnTo>
                  <a:lnTo>
                    <a:pt x="247841" y="290798"/>
                  </a:lnTo>
                  <a:lnTo>
                    <a:pt x="240125" y="293370"/>
                  </a:lnTo>
                  <a:lnTo>
                    <a:pt x="238411" y="292036"/>
                  </a:lnTo>
                  <a:lnTo>
                    <a:pt x="229076" y="294799"/>
                  </a:lnTo>
                  <a:lnTo>
                    <a:pt x="228124" y="299752"/>
                  </a:lnTo>
                  <a:lnTo>
                    <a:pt x="226790" y="301466"/>
                  </a:lnTo>
                  <a:lnTo>
                    <a:pt x="230505" y="305848"/>
                  </a:lnTo>
                  <a:lnTo>
                    <a:pt x="231743" y="315278"/>
                  </a:lnTo>
                  <a:lnTo>
                    <a:pt x="238697" y="319183"/>
                  </a:lnTo>
                  <a:lnTo>
                    <a:pt x="237649" y="324136"/>
                  </a:lnTo>
                  <a:lnTo>
                    <a:pt x="232982" y="324803"/>
                  </a:lnTo>
                  <a:lnTo>
                    <a:pt x="234887" y="327755"/>
                  </a:lnTo>
                  <a:lnTo>
                    <a:pt x="232124" y="331280"/>
                  </a:lnTo>
                  <a:lnTo>
                    <a:pt x="231172" y="336232"/>
                  </a:lnTo>
                  <a:lnTo>
                    <a:pt x="226219" y="335280"/>
                  </a:lnTo>
                  <a:lnTo>
                    <a:pt x="223838" y="329089"/>
                  </a:lnTo>
                  <a:lnTo>
                    <a:pt x="220885" y="331089"/>
                  </a:lnTo>
                  <a:lnTo>
                    <a:pt x="218123" y="334709"/>
                  </a:lnTo>
                  <a:lnTo>
                    <a:pt x="221933" y="338995"/>
                  </a:lnTo>
                  <a:lnTo>
                    <a:pt x="222123" y="340614"/>
                  </a:lnTo>
                  <a:lnTo>
                    <a:pt x="218789" y="339376"/>
                  </a:lnTo>
                  <a:lnTo>
                    <a:pt x="218980" y="340995"/>
                  </a:lnTo>
                  <a:lnTo>
                    <a:pt x="213836" y="338423"/>
                  </a:lnTo>
                  <a:lnTo>
                    <a:pt x="212693" y="341757"/>
                  </a:lnTo>
                  <a:lnTo>
                    <a:pt x="207740" y="340805"/>
                  </a:lnTo>
                  <a:lnTo>
                    <a:pt x="203168" y="342995"/>
                  </a:lnTo>
                  <a:lnTo>
                    <a:pt x="196691" y="342233"/>
                  </a:lnTo>
                  <a:lnTo>
                    <a:pt x="196025" y="337471"/>
                  </a:lnTo>
                  <a:lnTo>
                    <a:pt x="192691" y="336328"/>
                  </a:lnTo>
                  <a:lnTo>
                    <a:pt x="195834" y="335947"/>
                  </a:lnTo>
                  <a:lnTo>
                    <a:pt x="195453" y="332708"/>
                  </a:lnTo>
                  <a:lnTo>
                    <a:pt x="190691" y="333375"/>
                  </a:lnTo>
                  <a:lnTo>
                    <a:pt x="188786" y="330422"/>
                  </a:lnTo>
                  <a:lnTo>
                    <a:pt x="196882" y="330994"/>
                  </a:lnTo>
                  <a:lnTo>
                    <a:pt x="196596" y="329375"/>
                  </a:lnTo>
                  <a:lnTo>
                    <a:pt x="193262" y="328232"/>
                  </a:lnTo>
                  <a:lnTo>
                    <a:pt x="191072" y="323659"/>
                  </a:lnTo>
                  <a:lnTo>
                    <a:pt x="194215" y="323279"/>
                  </a:lnTo>
                  <a:lnTo>
                    <a:pt x="190119" y="315754"/>
                  </a:lnTo>
                  <a:lnTo>
                    <a:pt x="191262" y="312420"/>
                  </a:lnTo>
                  <a:lnTo>
                    <a:pt x="187928" y="311277"/>
                  </a:lnTo>
                  <a:lnTo>
                    <a:pt x="182023" y="315182"/>
                  </a:lnTo>
                  <a:lnTo>
                    <a:pt x="181832" y="326422"/>
                  </a:lnTo>
                  <a:lnTo>
                    <a:pt x="174879" y="322517"/>
                  </a:lnTo>
                  <a:lnTo>
                    <a:pt x="172784" y="318040"/>
                  </a:lnTo>
                  <a:lnTo>
                    <a:pt x="166021" y="315659"/>
                  </a:lnTo>
                  <a:lnTo>
                    <a:pt x="164402" y="315849"/>
                  </a:lnTo>
                  <a:lnTo>
                    <a:pt x="160306" y="308324"/>
                  </a:lnTo>
                  <a:lnTo>
                    <a:pt x="161449" y="304990"/>
                  </a:lnTo>
                  <a:lnTo>
                    <a:pt x="153162" y="302895"/>
                  </a:lnTo>
                  <a:lnTo>
                    <a:pt x="152019" y="306229"/>
                  </a:lnTo>
                  <a:lnTo>
                    <a:pt x="150400" y="306419"/>
                  </a:lnTo>
                  <a:lnTo>
                    <a:pt x="148209" y="301847"/>
                  </a:lnTo>
                  <a:lnTo>
                    <a:pt x="144113" y="307181"/>
                  </a:lnTo>
                  <a:lnTo>
                    <a:pt x="142113" y="304229"/>
                  </a:lnTo>
                  <a:lnTo>
                    <a:pt x="133826" y="302133"/>
                  </a:lnTo>
                  <a:lnTo>
                    <a:pt x="134969" y="298704"/>
                  </a:lnTo>
                  <a:lnTo>
                    <a:pt x="126302" y="293465"/>
                  </a:lnTo>
                  <a:lnTo>
                    <a:pt x="124968" y="295180"/>
                  </a:lnTo>
                  <a:lnTo>
                    <a:pt x="121349" y="292513"/>
                  </a:lnTo>
                  <a:lnTo>
                    <a:pt x="116681" y="293084"/>
                  </a:lnTo>
                  <a:lnTo>
                    <a:pt x="115253" y="294894"/>
                  </a:lnTo>
                  <a:lnTo>
                    <a:pt x="111538" y="290513"/>
                  </a:lnTo>
                  <a:lnTo>
                    <a:pt x="110300" y="293846"/>
                  </a:lnTo>
                  <a:lnTo>
                    <a:pt x="107156" y="294323"/>
                  </a:lnTo>
                  <a:lnTo>
                    <a:pt x="106013" y="297656"/>
                  </a:lnTo>
                  <a:lnTo>
                    <a:pt x="104394" y="297847"/>
                  </a:lnTo>
                  <a:lnTo>
                    <a:pt x="101632" y="301371"/>
                  </a:lnTo>
                  <a:lnTo>
                    <a:pt x="103442" y="302800"/>
                  </a:lnTo>
                  <a:lnTo>
                    <a:pt x="95726" y="305371"/>
                  </a:lnTo>
                  <a:lnTo>
                    <a:pt x="96583" y="311658"/>
                  </a:lnTo>
                  <a:lnTo>
                    <a:pt x="91631" y="310705"/>
                  </a:lnTo>
                  <a:lnTo>
                    <a:pt x="93631" y="313658"/>
                  </a:lnTo>
                  <a:lnTo>
                    <a:pt x="92869" y="320135"/>
                  </a:lnTo>
                  <a:lnTo>
                    <a:pt x="93250" y="323279"/>
                  </a:lnTo>
                  <a:lnTo>
                    <a:pt x="88487" y="323945"/>
                  </a:lnTo>
                  <a:lnTo>
                    <a:pt x="85344" y="324326"/>
                  </a:lnTo>
                  <a:lnTo>
                    <a:pt x="80772" y="326517"/>
                  </a:lnTo>
                  <a:lnTo>
                    <a:pt x="71723" y="318040"/>
                  </a:lnTo>
                  <a:lnTo>
                    <a:pt x="63246" y="314325"/>
                  </a:lnTo>
                  <a:lnTo>
                    <a:pt x="54959" y="312134"/>
                  </a:lnTo>
                  <a:lnTo>
                    <a:pt x="51149" y="307848"/>
                  </a:lnTo>
                  <a:lnTo>
                    <a:pt x="47625" y="305086"/>
                  </a:lnTo>
                  <a:lnTo>
                    <a:pt x="35528" y="298609"/>
                  </a:lnTo>
                  <a:lnTo>
                    <a:pt x="34195" y="300419"/>
                  </a:lnTo>
                  <a:lnTo>
                    <a:pt x="29242" y="299371"/>
                  </a:lnTo>
                  <a:lnTo>
                    <a:pt x="28670" y="294704"/>
                  </a:lnTo>
                  <a:lnTo>
                    <a:pt x="26670" y="291751"/>
                  </a:lnTo>
                  <a:lnTo>
                    <a:pt x="25527" y="295084"/>
                  </a:lnTo>
                  <a:lnTo>
                    <a:pt x="23908" y="295275"/>
                  </a:lnTo>
                  <a:lnTo>
                    <a:pt x="24289" y="298418"/>
                  </a:lnTo>
                  <a:lnTo>
                    <a:pt x="22765" y="298609"/>
                  </a:lnTo>
                  <a:lnTo>
                    <a:pt x="23336" y="303371"/>
                  </a:lnTo>
                  <a:lnTo>
                    <a:pt x="16859" y="302609"/>
                  </a:lnTo>
                  <a:lnTo>
                    <a:pt x="17240" y="305753"/>
                  </a:lnTo>
                  <a:lnTo>
                    <a:pt x="9335" y="306705"/>
                  </a:lnTo>
                  <a:lnTo>
                    <a:pt x="4953" y="310515"/>
                  </a:lnTo>
                  <a:lnTo>
                    <a:pt x="6001" y="318421"/>
                  </a:lnTo>
                  <a:lnTo>
                    <a:pt x="8001" y="321373"/>
                  </a:lnTo>
                  <a:lnTo>
                    <a:pt x="11335" y="322517"/>
                  </a:lnTo>
                  <a:lnTo>
                    <a:pt x="18860" y="331184"/>
                  </a:lnTo>
                  <a:lnTo>
                    <a:pt x="19431" y="335947"/>
                  </a:lnTo>
                  <a:lnTo>
                    <a:pt x="18288" y="339280"/>
                  </a:lnTo>
                  <a:lnTo>
                    <a:pt x="16954" y="341090"/>
                  </a:lnTo>
                  <a:lnTo>
                    <a:pt x="20288" y="342233"/>
                  </a:lnTo>
                  <a:lnTo>
                    <a:pt x="25622" y="346329"/>
                  </a:lnTo>
                  <a:lnTo>
                    <a:pt x="24194" y="348139"/>
                  </a:lnTo>
                  <a:lnTo>
                    <a:pt x="24670" y="351282"/>
                  </a:lnTo>
                  <a:lnTo>
                    <a:pt x="21241" y="350139"/>
                  </a:lnTo>
                  <a:lnTo>
                    <a:pt x="19907" y="351949"/>
                  </a:lnTo>
                  <a:lnTo>
                    <a:pt x="21431" y="351663"/>
                  </a:lnTo>
                  <a:lnTo>
                    <a:pt x="21908" y="354902"/>
                  </a:lnTo>
                  <a:lnTo>
                    <a:pt x="20669" y="358235"/>
                  </a:lnTo>
                  <a:lnTo>
                    <a:pt x="22289" y="358045"/>
                  </a:lnTo>
                  <a:lnTo>
                    <a:pt x="21527" y="364522"/>
                  </a:lnTo>
                  <a:lnTo>
                    <a:pt x="19907" y="364712"/>
                  </a:lnTo>
                  <a:lnTo>
                    <a:pt x="20574" y="369475"/>
                  </a:lnTo>
                  <a:lnTo>
                    <a:pt x="16193" y="373190"/>
                  </a:lnTo>
                  <a:lnTo>
                    <a:pt x="18574" y="379381"/>
                  </a:lnTo>
                  <a:lnTo>
                    <a:pt x="23146" y="377190"/>
                  </a:lnTo>
                  <a:lnTo>
                    <a:pt x="23527" y="380333"/>
                  </a:lnTo>
                  <a:lnTo>
                    <a:pt x="26479" y="378333"/>
                  </a:lnTo>
                  <a:lnTo>
                    <a:pt x="28289" y="379667"/>
                  </a:lnTo>
                  <a:lnTo>
                    <a:pt x="34195" y="388620"/>
                  </a:lnTo>
                  <a:lnTo>
                    <a:pt x="34576" y="391763"/>
                  </a:lnTo>
                  <a:lnTo>
                    <a:pt x="29813" y="392335"/>
                  </a:lnTo>
                  <a:lnTo>
                    <a:pt x="30480" y="397097"/>
                  </a:lnTo>
                  <a:lnTo>
                    <a:pt x="33814" y="398240"/>
                  </a:lnTo>
                  <a:lnTo>
                    <a:pt x="32671" y="401574"/>
                  </a:lnTo>
                  <a:lnTo>
                    <a:pt x="39338" y="403955"/>
                  </a:lnTo>
                  <a:lnTo>
                    <a:pt x="34100" y="425482"/>
                  </a:lnTo>
                  <a:lnTo>
                    <a:pt x="32290" y="424053"/>
                  </a:lnTo>
                  <a:lnTo>
                    <a:pt x="31147" y="427482"/>
                  </a:lnTo>
                  <a:lnTo>
                    <a:pt x="29147" y="424529"/>
                  </a:lnTo>
                  <a:lnTo>
                    <a:pt x="28004" y="427863"/>
                  </a:lnTo>
                  <a:lnTo>
                    <a:pt x="21622" y="428625"/>
                  </a:lnTo>
                  <a:lnTo>
                    <a:pt x="22479" y="435007"/>
                  </a:lnTo>
                  <a:lnTo>
                    <a:pt x="24003" y="434816"/>
                  </a:lnTo>
                  <a:lnTo>
                    <a:pt x="24479" y="437959"/>
                  </a:lnTo>
                  <a:lnTo>
                    <a:pt x="21527" y="439865"/>
                  </a:lnTo>
                  <a:lnTo>
                    <a:pt x="26861" y="444055"/>
                  </a:lnTo>
                  <a:lnTo>
                    <a:pt x="25622" y="447389"/>
                  </a:lnTo>
                  <a:lnTo>
                    <a:pt x="22479" y="447770"/>
                  </a:lnTo>
                  <a:lnTo>
                    <a:pt x="21146" y="449580"/>
                  </a:lnTo>
                  <a:lnTo>
                    <a:pt x="19526" y="449771"/>
                  </a:lnTo>
                  <a:lnTo>
                    <a:pt x="20955" y="447961"/>
                  </a:lnTo>
                  <a:lnTo>
                    <a:pt x="19145" y="446627"/>
                  </a:lnTo>
                  <a:lnTo>
                    <a:pt x="17717" y="448437"/>
                  </a:lnTo>
                  <a:lnTo>
                    <a:pt x="14383" y="447199"/>
                  </a:lnTo>
                  <a:lnTo>
                    <a:pt x="13049" y="449009"/>
                  </a:lnTo>
                  <a:lnTo>
                    <a:pt x="9430" y="446246"/>
                  </a:lnTo>
                  <a:lnTo>
                    <a:pt x="6953" y="451390"/>
                  </a:lnTo>
                  <a:lnTo>
                    <a:pt x="0" y="460248"/>
                  </a:lnTo>
                  <a:lnTo>
                    <a:pt x="5525" y="465963"/>
                  </a:lnTo>
                  <a:lnTo>
                    <a:pt x="9525" y="471869"/>
                  </a:lnTo>
                  <a:lnTo>
                    <a:pt x="12668" y="471488"/>
                  </a:lnTo>
                  <a:lnTo>
                    <a:pt x="18002" y="475679"/>
                  </a:lnTo>
                  <a:lnTo>
                    <a:pt x="16478" y="475869"/>
                  </a:lnTo>
                  <a:lnTo>
                    <a:pt x="12287" y="481203"/>
                  </a:lnTo>
                  <a:lnTo>
                    <a:pt x="15050" y="490442"/>
                  </a:lnTo>
                  <a:lnTo>
                    <a:pt x="17240" y="495014"/>
                  </a:lnTo>
                  <a:lnTo>
                    <a:pt x="20860" y="497681"/>
                  </a:lnTo>
                  <a:lnTo>
                    <a:pt x="27718" y="501682"/>
                  </a:lnTo>
                  <a:lnTo>
                    <a:pt x="34481" y="503968"/>
                  </a:lnTo>
                  <a:lnTo>
                    <a:pt x="37433" y="502063"/>
                  </a:lnTo>
                  <a:lnTo>
                    <a:pt x="42767" y="493300"/>
                  </a:lnTo>
                  <a:lnTo>
                    <a:pt x="46673" y="499205"/>
                  </a:lnTo>
                  <a:lnTo>
                    <a:pt x="55150" y="502920"/>
                  </a:lnTo>
                  <a:lnTo>
                    <a:pt x="58579" y="504158"/>
                  </a:lnTo>
                  <a:lnTo>
                    <a:pt x="57150" y="505968"/>
                  </a:lnTo>
                  <a:lnTo>
                    <a:pt x="55817" y="507682"/>
                  </a:lnTo>
                  <a:lnTo>
                    <a:pt x="54197" y="507873"/>
                  </a:lnTo>
                  <a:lnTo>
                    <a:pt x="53626" y="515969"/>
                  </a:lnTo>
                  <a:lnTo>
                    <a:pt x="56960" y="517207"/>
                  </a:lnTo>
                  <a:lnTo>
                    <a:pt x="61150" y="511873"/>
                  </a:lnTo>
                  <a:lnTo>
                    <a:pt x="62865" y="513207"/>
                  </a:lnTo>
                  <a:lnTo>
                    <a:pt x="63056" y="514826"/>
                  </a:lnTo>
                  <a:lnTo>
                    <a:pt x="67056" y="520732"/>
                  </a:lnTo>
                  <a:lnTo>
                    <a:pt x="68675" y="520541"/>
                  </a:lnTo>
                  <a:lnTo>
                    <a:pt x="70580" y="523494"/>
                  </a:lnTo>
                  <a:lnTo>
                    <a:pt x="73819" y="523018"/>
                  </a:lnTo>
                  <a:lnTo>
                    <a:pt x="77533" y="527399"/>
                  </a:lnTo>
                  <a:lnTo>
                    <a:pt x="78105" y="532162"/>
                  </a:lnTo>
                  <a:lnTo>
                    <a:pt x="74771" y="530924"/>
                  </a:lnTo>
                  <a:lnTo>
                    <a:pt x="68866" y="534924"/>
                  </a:lnTo>
                  <a:lnTo>
                    <a:pt x="69247" y="538067"/>
                  </a:lnTo>
                  <a:lnTo>
                    <a:pt x="72866" y="540830"/>
                  </a:lnTo>
                  <a:lnTo>
                    <a:pt x="73438" y="545592"/>
                  </a:lnTo>
                  <a:lnTo>
                    <a:pt x="70866" y="550640"/>
                  </a:lnTo>
                  <a:lnTo>
                    <a:pt x="74486" y="553403"/>
                  </a:lnTo>
                  <a:lnTo>
                    <a:pt x="84677" y="558546"/>
                  </a:lnTo>
                  <a:lnTo>
                    <a:pt x="85154" y="561689"/>
                  </a:lnTo>
                  <a:lnTo>
                    <a:pt x="86868" y="563118"/>
                  </a:lnTo>
                  <a:lnTo>
                    <a:pt x="88106" y="559689"/>
                  </a:lnTo>
                  <a:lnTo>
                    <a:pt x="89630" y="559499"/>
                  </a:lnTo>
                  <a:lnTo>
                    <a:pt x="90011" y="562642"/>
                  </a:lnTo>
                  <a:lnTo>
                    <a:pt x="91821" y="564071"/>
                  </a:lnTo>
                  <a:lnTo>
                    <a:pt x="93250" y="562261"/>
                  </a:lnTo>
                  <a:lnTo>
                    <a:pt x="94774" y="562070"/>
                  </a:lnTo>
                  <a:lnTo>
                    <a:pt x="94393" y="558927"/>
                  </a:lnTo>
                  <a:lnTo>
                    <a:pt x="104013" y="559308"/>
                  </a:lnTo>
                  <a:lnTo>
                    <a:pt x="108204" y="553974"/>
                  </a:lnTo>
                  <a:lnTo>
                    <a:pt x="111347" y="553593"/>
                  </a:lnTo>
                  <a:lnTo>
                    <a:pt x="113157" y="554927"/>
                  </a:lnTo>
                  <a:lnTo>
                    <a:pt x="113348" y="556546"/>
                  </a:lnTo>
                  <a:lnTo>
                    <a:pt x="116872" y="559308"/>
                  </a:lnTo>
                  <a:lnTo>
                    <a:pt x="117062" y="560832"/>
                  </a:lnTo>
                  <a:lnTo>
                    <a:pt x="120015" y="558832"/>
                  </a:lnTo>
                  <a:lnTo>
                    <a:pt x="123635" y="561594"/>
                  </a:lnTo>
                  <a:lnTo>
                    <a:pt x="124968" y="559880"/>
                  </a:lnTo>
                  <a:lnTo>
                    <a:pt x="131731" y="562165"/>
                  </a:lnTo>
                  <a:lnTo>
                    <a:pt x="138589" y="566071"/>
                  </a:lnTo>
                  <a:lnTo>
                    <a:pt x="137255" y="567880"/>
                  </a:lnTo>
                  <a:lnTo>
                    <a:pt x="140779" y="570643"/>
                  </a:lnTo>
                  <a:lnTo>
                    <a:pt x="142113" y="568833"/>
                  </a:lnTo>
                  <a:lnTo>
                    <a:pt x="146495" y="565118"/>
                  </a:lnTo>
                  <a:lnTo>
                    <a:pt x="148876" y="558355"/>
                  </a:lnTo>
                  <a:lnTo>
                    <a:pt x="155353" y="559213"/>
                  </a:lnTo>
                  <a:lnTo>
                    <a:pt x="159734" y="555403"/>
                  </a:lnTo>
                  <a:lnTo>
                    <a:pt x="164402" y="554831"/>
                  </a:lnTo>
                  <a:lnTo>
                    <a:pt x="165830" y="553022"/>
                  </a:lnTo>
                  <a:lnTo>
                    <a:pt x="170498" y="552450"/>
                  </a:lnTo>
                  <a:lnTo>
                    <a:pt x="171736" y="549116"/>
                  </a:lnTo>
                  <a:lnTo>
                    <a:pt x="172117" y="552259"/>
                  </a:lnTo>
                  <a:lnTo>
                    <a:pt x="173736" y="552069"/>
                  </a:lnTo>
                  <a:lnTo>
                    <a:pt x="174689" y="559880"/>
                  </a:lnTo>
                  <a:lnTo>
                    <a:pt x="176308" y="559689"/>
                  </a:lnTo>
                  <a:lnTo>
                    <a:pt x="176498" y="561308"/>
                  </a:lnTo>
                  <a:lnTo>
                    <a:pt x="181166" y="560642"/>
                  </a:lnTo>
                  <a:lnTo>
                    <a:pt x="184785" y="563404"/>
                  </a:lnTo>
                  <a:lnTo>
                    <a:pt x="184975" y="565023"/>
                  </a:lnTo>
                  <a:lnTo>
                    <a:pt x="189738" y="564452"/>
                  </a:lnTo>
                  <a:lnTo>
                    <a:pt x="191929" y="568928"/>
                  </a:lnTo>
                  <a:lnTo>
                    <a:pt x="187547" y="572738"/>
                  </a:lnTo>
                  <a:lnTo>
                    <a:pt x="189738" y="577215"/>
                  </a:lnTo>
                  <a:lnTo>
                    <a:pt x="189929" y="578834"/>
                  </a:lnTo>
                  <a:lnTo>
                    <a:pt x="188404" y="579025"/>
                  </a:lnTo>
                  <a:lnTo>
                    <a:pt x="191167" y="588264"/>
                  </a:lnTo>
                  <a:lnTo>
                    <a:pt x="190214" y="593217"/>
                  </a:lnTo>
                  <a:lnTo>
                    <a:pt x="191929" y="594551"/>
                  </a:lnTo>
                  <a:lnTo>
                    <a:pt x="195929" y="600551"/>
                  </a:lnTo>
                  <a:lnTo>
                    <a:pt x="191548" y="604266"/>
                  </a:lnTo>
                  <a:lnTo>
                    <a:pt x="186881" y="604838"/>
                  </a:lnTo>
                  <a:lnTo>
                    <a:pt x="184118" y="608457"/>
                  </a:lnTo>
                  <a:lnTo>
                    <a:pt x="187452" y="609600"/>
                  </a:lnTo>
                  <a:lnTo>
                    <a:pt x="189262" y="623792"/>
                  </a:lnTo>
                  <a:lnTo>
                    <a:pt x="185547" y="632270"/>
                  </a:lnTo>
                  <a:lnTo>
                    <a:pt x="192024" y="633032"/>
                  </a:lnTo>
                  <a:lnTo>
                    <a:pt x="192881" y="639413"/>
                  </a:lnTo>
                  <a:lnTo>
                    <a:pt x="194405" y="639223"/>
                  </a:lnTo>
                  <a:lnTo>
                    <a:pt x="201168" y="641509"/>
                  </a:lnTo>
                  <a:lnTo>
                    <a:pt x="199168" y="651415"/>
                  </a:lnTo>
                  <a:lnTo>
                    <a:pt x="201930" y="647890"/>
                  </a:lnTo>
                  <a:lnTo>
                    <a:pt x="202311" y="651034"/>
                  </a:lnTo>
                  <a:lnTo>
                    <a:pt x="204121" y="652367"/>
                  </a:lnTo>
                  <a:lnTo>
                    <a:pt x="201549" y="657511"/>
                  </a:lnTo>
                  <a:lnTo>
                    <a:pt x="207454" y="653510"/>
                  </a:lnTo>
                  <a:lnTo>
                    <a:pt x="203549" y="660463"/>
                  </a:lnTo>
                  <a:lnTo>
                    <a:pt x="204311" y="666750"/>
                  </a:lnTo>
                  <a:lnTo>
                    <a:pt x="201835" y="671894"/>
                  </a:lnTo>
                  <a:lnTo>
                    <a:pt x="200025" y="670560"/>
                  </a:lnTo>
                  <a:lnTo>
                    <a:pt x="197263" y="674084"/>
                  </a:lnTo>
                  <a:lnTo>
                    <a:pt x="199073" y="675513"/>
                  </a:lnTo>
                  <a:lnTo>
                    <a:pt x="201073" y="678466"/>
                  </a:lnTo>
                  <a:lnTo>
                    <a:pt x="199454" y="678656"/>
                  </a:lnTo>
                  <a:lnTo>
                    <a:pt x="198501" y="683609"/>
                  </a:lnTo>
                  <a:lnTo>
                    <a:pt x="196691" y="682180"/>
                  </a:lnTo>
                  <a:lnTo>
                    <a:pt x="197072" y="685324"/>
                  </a:lnTo>
                  <a:lnTo>
                    <a:pt x="192596" y="687515"/>
                  </a:lnTo>
                  <a:lnTo>
                    <a:pt x="191548" y="692468"/>
                  </a:lnTo>
                  <a:lnTo>
                    <a:pt x="186690" y="691515"/>
                  </a:lnTo>
                  <a:lnTo>
                    <a:pt x="185833" y="697992"/>
                  </a:lnTo>
                  <a:lnTo>
                    <a:pt x="183928" y="695039"/>
                  </a:lnTo>
                  <a:lnTo>
                    <a:pt x="182499" y="696849"/>
                  </a:lnTo>
                  <a:lnTo>
                    <a:pt x="183166" y="701611"/>
                  </a:lnTo>
                  <a:lnTo>
                    <a:pt x="179927" y="701993"/>
                  </a:lnTo>
                  <a:lnTo>
                    <a:pt x="178213" y="700564"/>
                  </a:lnTo>
                  <a:lnTo>
                    <a:pt x="176594" y="700754"/>
                  </a:lnTo>
                  <a:lnTo>
                    <a:pt x="175641" y="705707"/>
                  </a:lnTo>
                  <a:lnTo>
                    <a:pt x="180404" y="705136"/>
                  </a:lnTo>
                  <a:lnTo>
                    <a:pt x="189071" y="710470"/>
                  </a:lnTo>
                  <a:lnTo>
                    <a:pt x="189262" y="711994"/>
                  </a:lnTo>
                  <a:lnTo>
                    <a:pt x="179261" y="721328"/>
                  </a:lnTo>
                  <a:lnTo>
                    <a:pt x="171545" y="723900"/>
                  </a:lnTo>
                  <a:lnTo>
                    <a:pt x="171736" y="725519"/>
                  </a:lnTo>
                  <a:lnTo>
                    <a:pt x="183166" y="727234"/>
                  </a:lnTo>
                  <a:lnTo>
                    <a:pt x="192405" y="724472"/>
                  </a:lnTo>
                  <a:lnTo>
                    <a:pt x="199739" y="731520"/>
                  </a:lnTo>
                  <a:lnTo>
                    <a:pt x="201740" y="734473"/>
                  </a:lnTo>
                  <a:lnTo>
                    <a:pt x="208502" y="736854"/>
                  </a:lnTo>
                  <a:lnTo>
                    <a:pt x="209645" y="733520"/>
                  </a:lnTo>
                  <a:lnTo>
                    <a:pt x="209264" y="730282"/>
                  </a:lnTo>
                  <a:lnTo>
                    <a:pt x="212789" y="733044"/>
                  </a:lnTo>
                  <a:lnTo>
                    <a:pt x="215932" y="732663"/>
                  </a:lnTo>
                  <a:lnTo>
                    <a:pt x="214789" y="735997"/>
                  </a:lnTo>
                  <a:lnTo>
                    <a:pt x="225457" y="744284"/>
                  </a:lnTo>
                  <a:lnTo>
                    <a:pt x="232124" y="746665"/>
                  </a:lnTo>
                  <a:lnTo>
                    <a:pt x="233553" y="744855"/>
                  </a:lnTo>
                  <a:lnTo>
                    <a:pt x="235363" y="746188"/>
                  </a:lnTo>
                  <a:lnTo>
                    <a:pt x="233744" y="746474"/>
                  </a:lnTo>
                  <a:lnTo>
                    <a:pt x="240506" y="748760"/>
                  </a:lnTo>
                  <a:lnTo>
                    <a:pt x="232220" y="759428"/>
                  </a:lnTo>
                  <a:lnTo>
                    <a:pt x="232982" y="765810"/>
                  </a:lnTo>
                  <a:lnTo>
                    <a:pt x="243078" y="782098"/>
                  </a:lnTo>
                  <a:lnTo>
                    <a:pt x="255365" y="777335"/>
                  </a:lnTo>
                  <a:lnTo>
                    <a:pt x="259461" y="772001"/>
                  </a:lnTo>
                  <a:lnTo>
                    <a:pt x="261080" y="771811"/>
                  </a:lnTo>
                  <a:lnTo>
                    <a:pt x="265367" y="768096"/>
                  </a:lnTo>
                  <a:lnTo>
                    <a:pt x="265176" y="766477"/>
                  </a:lnTo>
                  <a:lnTo>
                    <a:pt x="270129" y="767429"/>
                  </a:lnTo>
                  <a:lnTo>
                    <a:pt x="273082" y="765524"/>
                  </a:lnTo>
                  <a:lnTo>
                    <a:pt x="268319" y="766096"/>
                  </a:lnTo>
                  <a:lnTo>
                    <a:pt x="267748" y="761333"/>
                  </a:lnTo>
                  <a:lnTo>
                    <a:pt x="278987" y="761524"/>
                  </a:lnTo>
                  <a:lnTo>
                    <a:pt x="280702" y="762857"/>
                  </a:lnTo>
                  <a:lnTo>
                    <a:pt x="280511" y="761333"/>
                  </a:lnTo>
                  <a:lnTo>
                    <a:pt x="285083" y="759143"/>
                  </a:lnTo>
                  <a:lnTo>
                    <a:pt x="287846" y="755618"/>
                  </a:lnTo>
                  <a:lnTo>
                    <a:pt x="291370" y="758380"/>
                  </a:lnTo>
                  <a:lnTo>
                    <a:pt x="292799" y="756571"/>
                  </a:lnTo>
                  <a:lnTo>
                    <a:pt x="290608" y="751999"/>
                  </a:lnTo>
                  <a:lnTo>
                    <a:pt x="288798" y="750665"/>
                  </a:lnTo>
                  <a:lnTo>
                    <a:pt x="289941" y="747332"/>
                  </a:lnTo>
                  <a:lnTo>
                    <a:pt x="290513" y="739235"/>
                  </a:lnTo>
                  <a:lnTo>
                    <a:pt x="291941" y="737426"/>
                  </a:lnTo>
                  <a:lnTo>
                    <a:pt x="302419" y="731234"/>
                  </a:lnTo>
                  <a:lnTo>
                    <a:pt x="305562" y="730853"/>
                  </a:lnTo>
                  <a:lnTo>
                    <a:pt x="307467" y="733806"/>
                  </a:lnTo>
                  <a:lnTo>
                    <a:pt x="308896" y="732092"/>
                  </a:lnTo>
                  <a:lnTo>
                    <a:pt x="309467" y="736759"/>
                  </a:lnTo>
                  <a:lnTo>
                    <a:pt x="312801" y="737997"/>
                  </a:lnTo>
                  <a:lnTo>
                    <a:pt x="317373" y="735806"/>
                  </a:lnTo>
                  <a:lnTo>
                    <a:pt x="316802" y="731044"/>
                  </a:lnTo>
                  <a:lnTo>
                    <a:pt x="318135" y="729234"/>
                  </a:lnTo>
                  <a:lnTo>
                    <a:pt x="319945" y="730663"/>
                  </a:lnTo>
                  <a:lnTo>
                    <a:pt x="326041" y="728282"/>
                  </a:lnTo>
                  <a:lnTo>
                    <a:pt x="320897" y="725710"/>
                  </a:lnTo>
                  <a:lnTo>
                    <a:pt x="321850" y="720757"/>
                  </a:lnTo>
                  <a:lnTo>
                    <a:pt x="325088" y="720376"/>
                  </a:lnTo>
                  <a:lnTo>
                    <a:pt x="331946" y="724281"/>
                  </a:lnTo>
                  <a:lnTo>
                    <a:pt x="331756" y="735521"/>
                  </a:lnTo>
                  <a:lnTo>
                    <a:pt x="334899" y="735140"/>
                  </a:lnTo>
                  <a:lnTo>
                    <a:pt x="335566" y="739902"/>
                  </a:lnTo>
                  <a:lnTo>
                    <a:pt x="337090" y="739711"/>
                  </a:lnTo>
                  <a:lnTo>
                    <a:pt x="338709" y="739521"/>
                  </a:lnTo>
                  <a:lnTo>
                    <a:pt x="338519" y="737902"/>
                  </a:lnTo>
                  <a:lnTo>
                    <a:pt x="339852" y="736092"/>
                  </a:lnTo>
                  <a:lnTo>
                    <a:pt x="343472" y="738854"/>
                  </a:lnTo>
                  <a:lnTo>
                    <a:pt x="345186" y="740283"/>
                  </a:lnTo>
                  <a:lnTo>
                    <a:pt x="346615" y="738473"/>
                  </a:lnTo>
                  <a:lnTo>
                    <a:pt x="343472" y="738854"/>
                  </a:lnTo>
                  <a:lnTo>
                    <a:pt x="342614" y="732568"/>
                  </a:lnTo>
                  <a:lnTo>
                    <a:pt x="344234" y="732377"/>
                  </a:lnTo>
                  <a:lnTo>
                    <a:pt x="344615" y="735521"/>
                  </a:lnTo>
                  <a:lnTo>
                    <a:pt x="346043" y="733711"/>
                  </a:lnTo>
                  <a:lnTo>
                    <a:pt x="347758" y="735140"/>
                  </a:lnTo>
                  <a:lnTo>
                    <a:pt x="350901" y="734759"/>
                  </a:lnTo>
                  <a:lnTo>
                    <a:pt x="352901" y="737711"/>
                  </a:lnTo>
                  <a:lnTo>
                    <a:pt x="357473" y="735521"/>
                  </a:lnTo>
                  <a:lnTo>
                    <a:pt x="355854" y="735711"/>
                  </a:lnTo>
                  <a:lnTo>
                    <a:pt x="357188" y="733901"/>
                  </a:lnTo>
                  <a:lnTo>
                    <a:pt x="362331" y="736473"/>
                  </a:lnTo>
                  <a:lnTo>
                    <a:pt x="363760" y="734663"/>
                  </a:lnTo>
                  <a:lnTo>
                    <a:pt x="365379" y="734473"/>
                  </a:lnTo>
                  <a:lnTo>
                    <a:pt x="365570" y="736092"/>
                  </a:lnTo>
                  <a:lnTo>
                    <a:pt x="363950" y="736282"/>
                  </a:lnTo>
                  <a:lnTo>
                    <a:pt x="364141" y="737807"/>
                  </a:lnTo>
                  <a:lnTo>
                    <a:pt x="368903" y="737235"/>
                  </a:lnTo>
                  <a:lnTo>
                    <a:pt x="374047" y="739807"/>
                  </a:lnTo>
                  <a:lnTo>
                    <a:pt x="373856" y="738188"/>
                  </a:lnTo>
                  <a:lnTo>
                    <a:pt x="377381" y="740950"/>
                  </a:lnTo>
                  <a:lnTo>
                    <a:pt x="377952" y="732854"/>
                  </a:lnTo>
                  <a:lnTo>
                    <a:pt x="379762" y="734282"/>
                  </a:lnTo>
                  <a:lnTo>
                    <a:pt x="381476" y="735616"/>
                  </a:lnTo>
                  <a:lnTo>
                    <a:pt x="391763" y="740759"/>
                  </a:lnTo>
                  <a:lnTo>
                    <a:pt x="391954" y="742283"/>
                  </a:lnTo>
                  <a:lnTo>
                    <a:pt x="397097" y="744855"/>
                  </a:lnTo>
                  <a:lnTo>
                    <a:pt x="397288" y="746474"/>
                  </a:lnTo>
                  <a:lnTo>
                    <a:pt x="400907" y="749236"/>
                  </a:lnTo>
                  <a:lnTo>
                    <a:pt x="402050" y="745807"/>
                  </a:lnTo>
                  <a:lnTo>
                    <a:pt x="403670" y="745617"/>
                  </a:lnTo>
                  <a:lnTo>
                    <a:pt x="407194" y="748379"/>
                  </a:lnTo>
                  <a:lnTo>
                    <a:pt x="409956" y="744855"/>
                  </a:lnTo>
                  <a:lnTo>
                    <a:pt x="409575" y="741712"/>
                  </a:lnTo>
                  <a:lnTo>
                    <a:pt x="411099" y="741521"/>
                  </a:lnTo>
                  <a:lnTo>
                    <a:pt x="413671" y="736378"/>
                  </a:lnTo>
                  <a:lnTo>
                    <a:pt x="416814" y="735902"/>
                  </a:lnTo>
                  <a:lnTo>
                    <a:pt x="418052" y="732568"/>
                  </a:lnTo>
                  <a:lnTo>
                    <a:pt x="421386" y="733711"/>
                  </a:lnTo>
                  <a:lnTo>
                    <a:pt x="421576" y="735330"/>
                  </a:lnTo>
                  <a:lnTo>
                    <a:pt x="424529" y="733330"/>
                  </a:lnTo>
                  <a:lnTo>
                    <a:pt x="429482" y="734282"/>
                  </a:lnTo>
                  <a:lnTo>
                    <a:pt x="433197" y="738664"/>
                  </a:lnTo>
                  <a:lnTo>
                    <a:pt x="436912" y="730186"/>
                  </a:lnTo>
                  <a:lnTo>
                    <a:pt x="438912" y="733139"/>
                  </a:lnTo>
                  <a:lnTo>
                    <a:pt x="438722" y="731520"/>
                  </a:lnTo>
                  <a:lnTo>
                    <a:pt x="441865" y="731139"/>
                  </a:lnTo>
                  <a:lnTo>
                    <a:pt x="443103" y="727805"/>
                  </a:lnTo>
                  <a:lnTo>
                    <a:pt x="444817" y="716375"/>
                  </a:lnTo>
                  <a:lnTo>
                    <a:pt x="443008" y="714947"/>
                  </a:lnTo>
                  <a:lnTo>
                    <a:pt x="442246" y="708660"/>
                  </a:lnTo>
                  <a:lnTo>
                    <a:pt x="446723" y="706469"/>
                  </a:lnTo>
                  <a:lnTo>
                    <a:pt x="446532" y="704850"/>
                  </a:lnTo>
                  <a:lnTo>
                    <a:pt x="451295" y="704279"/>
                  </a:lnTo>
                  <a:lnTo>
                    <a:pt x="452247" y="699326"/>
                  </a:lnTo>
                  <a:lnTo>
                    <a:pt x="460534" y="701516"/>
                  </a:lnTo>
                  <a:lnTo>
                    <a:pt x="462915" y="694754"/>
                  </a:lnTo>
                  <a:lnTo>
                    <a:pt x="467201" y="691039"/>
                  </a:lnTo>
                  <a:lnTo>
                    <a:pt x="472631" y="695134"/>
                  </a:lnTo>
                  <a:lnTo>
                    <a:pt x="476345" y="699516"/>
                  </a:lnTo>
                  <a:lnTo>
                    <a:pt x="485966" y="699897"/>
                  </a:lnTo>
                  <a:lnTo>
                    <a:pt x="486442" y="703040"/>
                  </a:lnTo>
                  <a:lnTo>
                    <a:pt x="485204" y="706374"/>
                  </a:lnTo>
                  <a:lnTo>
                    <a:pt x="490347" y="708946"/>
                  </a:lnTo>
                  <a:lnTo>
                    <a:pt x="486632" y="717423"/>
                  </a:lnTo>
                  <a:lnTo>
                    <a:pt x="486251" y="727043"/>
                  </a:lnTo>
                  <a:lnTo>
                    <a:pt x="488442" y="731615"/>
                  </a:lnTo>
                  <a:lnTo>
                    <a:pt x="495205" y="733997"/>
                  </a:lnTo>
                  <a:lnTo>
                    <a:pt x="495586" y="737140"/>
                  </a:lnTo>
                  <a:lnTo>
                    <a:pt x="497110" y="736949"/>
                  </a:lnTo>
                  <a:lnTo>
                    <a:pt x="508349" y="737140"/>
                  </a:lnTo>
                  <a:lnTo>
                    <a:pt x="509016" y="741807"/>
                  </a:lnTo>
                  <a:lnTo>
                    <a:pt x="511969" y="739902"/>
                  </a:lnTo>
                  <a:lnTo>
                    <a:pt x="511588" y="736663"/>
                  </a:lnTo>
                  <a:lnTo>
                    <a:pt x="520446" y="730758"/>
                  </a:lnTo>
                  <a:lnTo>
                    <a:pt x="521017" y="722662"/>
                  </a:lnTo>
                  <a:lnTo>
                    <a:pt x="533781" y="722662"/>
                  </a:lnTo>
                  <a:lnTo>
                    <a:pt x="545021" y="722852"/>
                  </a:lnTo>
                  <a:lnTo>
                    <a:pt x="544449" y="705231"/>
                  </a:lnTo>
                  <a:lnTo>
                    <a:pt x="565118" y="704183"/>
                  </a:lnTo>
                  <a:lnTo>
                    <a:pt x="566547" y="702469"/>
                  </a:lnTo>
                  <a:lnTo>
                    <a:pt x="565690" y="696087"/>
                  </a:lnTo>
                  <a:lnTo>
                    <a:pt x="570643" y="697135"/>
                  </a:lnTo>
                  <a:lnTo>
                    <a:pt x="583311" y="708279"/>
                  </a:lnTo>
                  <a:lnTo>
                    <a:pt x="587407" y="702945"/>
                  </a:lnTo>
                  <a:lnTo>
                    <a:pt x="588074" y="707707"/>
                  </a:lnTo>
                  <a:lnTo>
                    <a:pt x="592741" y="707136"/>
                  </a:lnTo>
                  <a:lnTo>
                    <a:pt x="598075" y="711232"/>
                  </a:lnTo>
                  <a:lnTo>
                    <a:pt x="617220" y="710375"/>
                  </a:lnTo>
                  <a:lnTo>
                    <a:pt x="617315" y="723233"/>
                  </a:lnTo>
                  <a:lnTo>
                    <a:pt x="630555" y="726377"/>
                  </a:lnTo>
                  <a:lnTo>
                    <a:pt x="631698" y="735806"/>
                  </a:lnTo>
                  <a:lnTo>
                    <a:pt x="631793" y="761429"/>
                  </a:lnTo>
                  <a:lnTo>
                    <a:pt x="662368" y="762381"/>
                  </a:lnTo>
                  <a:lnTo>
                    <a:pt x="668846" y="763143"/>
                  </a:lnTo>
                  <a:lnTo>
                    <a:pt x="674465" y="781717"/>
                  </a:lnTo>
                  <a:lnTo>
                    <a:pt x="675418" y="789623"/>
                  </a:lnTo>
                  <a:lnTo>
                    <a:pt x="677418" y="792575"/>
                  </a:lnTo>
                  <a:lnTo>
                    <a:pt x="680561" y="792099"/>
                  </a:lnTo>
                  <a:lnTo>
                    <a:pt x="687134" y="792956"/>
                  </a:lnTo>
                  <a:lnTo>
                    <a:pt x="689039" y="795909"/>
                  </a:lnTo>
                  <a:lnTo>
                    <a:pt x="693801" y="795242"/>
                  </a:lnTo>
                  <a:lnTo>
                    <a:pt x="695611" y="796671"/>
                  </a:lnTo>
                  <a:lnTo>
                    <a:pt x="701707" y="794290"/>
                  </a:lnTo>
                  <a:lnTo>
                    <a:pt x="710565" y="801148"/>
                  </a:lnTo>
                  <a:lnTo>
                    <a:pt x="713613" y="812006"/>
                  </a:lnTo>
                  <a:lnTo>
                    <a:pt x="722471" y="818864"/>
                  </a:lnTo>
                  <a:lnTo>
                    <a:pt x="724091" y="818674"/>
                  </a:lnTo>
                  <a:lnTo>
                    <a:pt x="725234" y="815340"/>
                  </a:lnTo>
                  <a:lnTo>
                    <a:pt x="728186" y="813340"/>
                  </a:lnTo>
                  <a:lnTo>
                    <a:pt x="734092" y="822198"/>
                  </a:lnTo>
                  <a:lnTo>
                    <a:pt x="735711" y="822007"/>
                  </a:lnTo>
                  <a:lnTo>
                    <a:pt x="738854" y="821627"/>
                  </a:lnTo>
                  <a:lnTo>
                    <a:pt x="740664" y="822960"/>
                  </a:lnTo>
                  <a:lnTo>
                    <a:pt x="741998" y="821150"/>
                  </a:lnTo>
                  <a:lnTo>
                    <a:pt x="743807" y="822579"/>
                  </a:lnTo>
                  <a:lnTo>
                    <a:pt x="746951" y="822198"/>
                  </a:lnTo>
                  <a:lnTo>
                    <a:pt x="751523" y="832866"/>
                  </a:lnTo>
                  <a:lnTo>
                    <a:pt x="756666" y="835343"/>
                  </a:lnTo>
                  <a:lnTo>
                    <a:pt x="758285" y="835152"/>
                  </a:lnTo>
                  <a:lnTo>
                    <a:pt x="757047" y="838486"/>
                  </a:lnTo>
                  <a:lnTo>
                    <a:pt x="759047" y="841438"/>
                  </a:lnTo>
                  <a:lnTo>
                    <a:pt x="762762" y="845820"/>
                  </a:lnTo>
                  <a:lnTo>
                    <a:pt x="764191" y="844010"/>
                  </a:lnTo>
                  <a:lnTo>
                    <a:pt x="769144" y="844963"/>
                  </a:lnTo>
                  <a:lnTo>
                    <a:pt x="771716" y="839915"/>
                  </a:lnTo>
                  <a:lnTo>
                    <a:pt x="778193" y="840677"/>
                  </a:lnTo>
                  <a:lnTo>
                    <a:pt x="780955" y="837057"/>
                  </a:lnTo>
                  <a:lnTo>
                    <a:pt x="784670" y="841438"/>
                  </a:lnTo>
                  <a:lnTo>
                    <a:pt x="793528" y="835438"/>
                  </a:lnTo>
                  <a:lnTo>
                    <a:pt x="793337" y="833914"/>
                  </a:lnTo>
                  <a:lnTo>
                    <a:pt x="794576" y="830580"/>
                  </a:lnTo>
                  <a:lnTo>
                    <a:pt x="792575" y="827627"/>
                  </a:lnTo>
                  <a:lnTo>
                    <a:pt x="794099" y="827437"/>
                  </a:lnTo>
                  <a:lnTo>
                    <a:pt x="794385" y="828961"/>
                  </a:lnTo>
                  <a:lnTo>
                    <a:pt x="799052" y="828389"/>
                  </a:lnTo>
                  <a:lnTo>
                    <a:pt x="800862" y="829723"/>
                  </a:lnTo>
                  <a:lnTo>
                    <a:pt x="796766" y="835057"/>
                  </a:lnTo>
                  <a:lnTo>
                    <a:pt x="796957" y="836676"/>
                  </a:lnTo>
                  <a:lnTo>
                    <a:pt x="797528" y="841438"/>
                  </a:lnTo>
                  <a:lnTo>
                    <a:pt x="809911" y="838200"/>
                  </a:lnTo>
                  <a:lnTo>
                    <a:pt x="813054" y="837819"/>
                  </a:lnTo>
                  <a:lnTo>
                    <a:pt x="814673" y="837629"/>
                  </a:lnTo>
                  <a:lnTo>
                    <a:pt x="816102" y="835819"/>
                  </a:lnTo>
                  <a:lnTo>
                    <a:pt x="822770" y="838200"/>
                  </a:lnTo>
                  <a:lnTo>
                    <a:pt x="820960" y="836771"/>
                  </a:lnTo>
                  <a:lnTo>
                    <a:pt x="822198" y="833438"/>
                  </a:lnTo>
                  <a:lnTo>
                    <a:pt x="820388" y="832104"/>
                  </a:lnTo>
                  <a:lnTo>
                    <a:pt x="827151" y="834390"/>
                  </a:lnTo>
                  <a:lnTo>
                    <a:pt x="828484" y="832676"/>
                  </a:lnTo>
                  <a:lnTo>
                    <a:pt x="833818" y="836771"/>
                  </a:lnTo>
                  <a:lnTo>
                    <a:pt x="837152" y="837914"/>
                  </a:lnTo>
                  <a:lnTo>
                    <a:pt x="857345" y="844963"/>
                  </a:lnTo>
                  <a:lnTo>
                    <a:pt x="855917" y="833914"/>
                  </a:lnTo>
                  <a:lnTo>
                    <a:pt x="852583" y="832771"/>
                  </a:lnTo>
                  <a:lnTo>
                    <a:pt x="850201" y="826675"/>
                  </a:lnTo>
                  <a:lnTo>
                    <a:pt x="845058" y="824103"/>
                  </a:lnTo>
                  <a:lnTo>
                    <a:pt x="844391" y="819340"/>
                  </a:lnTo>
                  <a:lnTo>
                    <a:pt x="846201" y="820769"/>
                  </a:lnTo>
                  <a:lnTo>
                    <a:pt x="847344" y="817436"/>
                  </a:lnTo>
                  <a:lnTo>
                    <a:pt x="845153" y="812863"/>
                  </a:lnTo>
                  <a:lnTo>
                    <a:pt x="849916" y="812292"/>
                  </a:lnTo>
                  <a:lnTo>
                    <a:pt x="851345" y="810482"/>
                  </a:lnTo>
                  <a:lnTo>
                    <a:pt x="856679" y="814578"/>
                  </a:lnTo>
                  <a:lnTo>
                    <a:pt x="859250" y="809434"/>
                  </a:lnTo>
                  <a:lnTo>
                    <a:pt x="865537" y="808673"/>
                  </a:lnTo>
                  <a:lnTo>
                    <a:pt x="866680" y="805339"/>
                  </a:lnTo>
                  <a:lnTo>
                    <a:pt x="872585" y="801338"/>
                  </a:lnTo>
                  <a:lnTo>
                    <a:pt x="867251" y="797243"/>
                  </a:lnTo>
                  <a:lnTo>
                    <a:pt x="863537" y="792861"/>
                  </a:lnTo>
                  <a:lnTo>
                    <a:pt x="862108" y="794671"/>
                  </a:lnTo>
                  <a:lnTo>
                    <a:pt x="859726" y="788575"/>
                  </a:lnTo>
                  <a:lnTo>
                    <a:pt x="863632" y="781622"/>
                  </a:lnTo>
                  <a:lnTo>
                    <a:pt x="869823" y="779240"/>
                  </a:lnTo>
                  <a:lnTo>
                    <a:pt x="869156" y="774573"/>
                  </a:lnTo>
                  <a:lnTo>
                    <a:pt x="873919" y="773906"/>
                  </a:lnTo>
                  <a:lnTo>
                    <a:pt x="885158" y="774097"/>
                  </a:lnTo>
                  <a:lnTo>
                    <a:pt x="897541" y="758095"/>
                  </a:lnTo>
                  <a:lnTo>
                    <a:pt x="897350" y="756476"/>
                  </a:lnTo>
                  <a:lnTo>
                    <a:pt x="902113" y="755904"/>
                  </a:lnTo>
                  <a:lnTo>
                    <a:pt x="903923" y="757238"/>
                  </a:lnTo>
                  <a:lnTo>
                    <a:pt x="907256" y="758476"/>
                  </a:lnTo>
                  <a:lnTo>
                    <a:pt x="906875" y="755332"/>
                  </a:lnTo>
                  <a:lnTo>
                    <a:pt x="910018" y="754856"/>
                  </a:lnTo>
                  <a:lnTo>
                    <a:pt x="909542" y="751713"/>
                  </a:lnTo>
                  <a:lnTo>
                    <a:pt x="912781" y="751332"/>
                  </a:lnTo>
                  <a:lnTo>
                    <a:pt x="915734" y="749332"/>
                  </a:lnTo>
                  <a:lnTo>
                    <a:pt x="919448" y="753713"/>
                  </a:lnTo>
                  <a:lnTo>
                    <a:pt x="922210" y="750094"/>
                  </a:lnTo>
                  <a:lnTo>
                    <a:pt x="921830" y="746951"/>
                  </a:lnTo>
                  <a:lnTo>
                    <a:pt x="918496" y="745807"/>
                  </a:lnTo>
                  <a:lnTo>
                    <a:pt x="926116" y="743236"/>
                  </a:lnTo>
                  <a:lnTo>
                    <a:pt x="925735" y="740093"/>
                  </a:lnTo>
                  <a:lnTo>
                    <a:pt x="927354" y="739807"/>
                  </a:lnTo>
                  <a:lnTo>
                    <a:pt x="927735" y="743045"/>
                  </a:lnTo>
                  <a:lnTo>
                    <a:pt x="937165" y="741807"/>
                  </a:lnTo>
                  <a:lnTo>
                    <a:pt x="937355" y="743426"/>
                  </a:lnTo>
                  <a:lnTo>
                    <a:pt x="939927" y="738283"/>
                  </a:lnTo>
                  <a:lnTo>
                    <a:pt x="941546" y="737997"/>
                  </a:lnTo>
                  <a:lnTo>
                    <a:pt x="944309" y="734473"/>
                  </a:lnTo>
                  <a:lnTo>
                    <a:pt x="951929" y="731901"/>
                  </a:lnTo>
                  <a:lnTo>
                    <a:pt x="954500" y="726757"/>
                  </a:lnTo>
                  <a:lnTo>
                    <a:pt x="954881" y="704279"/>
                  </a:lnTo>
                  <a:lnTo>
                    <a:pt x="960596" y="698754"/>
                  </a:lnTo>
                  <a:lnTo>
                    <a:pt x="967073" y="699516"/>
                  </a:lnTo>
                  <a:lnTo>
                    <a:pt x="968502" y="697706"/>
                  </a:lnTo>
                  <a:lnTo>
                    <a:pt x="972217" y="702088"/>
                  </a:lnTo>
                  <a:lnTo>
                    <a:pt x="975360" y="701707"/>
                  </a:lnTo>
                  <a:lnTo>
                    <a:pt x="983837" y="705422"/>
                  </a:lnTo>
                  <a:lnTo>
                    <a:pt x="986885" y="716185"/>
                  </a:lnTo>
                  <a:lnTo>
                    <a:pt x="989838" y="714280"/>
                  </a:lnTo>
                  <a:lnTo>
                    <a:pt x="993553" y="718566"/>
                  </a:lnTo>
                  <a:lnTo>
                    <a:pt x="995363" y="719995"/>
                  </a:lnTo>
                  <a:lnTo>
                    <a:pt x="998315" y="717995"/>
                  </a:lnTo>
                  <a:lnTo>
                    <a:pt x="1019080" y="729805"/>
                  </a:lnTo>
                  <a:lnTo>
                    <a:pt x="1020413" y="727996"/>
                  </a:lnTo>
                  <a:lnTo>
                    <a:pt x="1022223" y="729329"/>
                  </a:lnTo>
                  <a:lnTo>
                    <a:pt x="1026509" y="725615"/>
                  </a:lnTo>
                  <a:lnTo>
                    <a:pt x="1029272" y="722090"/>
                  </a:lnTo>
                  <a:lnTo>
                    <a:pt x="1027081" y="717518"/>
                  </a:lnTo>
                  <a:lnTo>
                    <a:pt x="1029843" y="713994"/>
                  </a:lnTo>
                  <a:lnTo>
                    <a:pt x="1029843" y="713994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6" name="Volný tvar: obrazec 25">
              <a:extLst>
                <a:ext uri="{FF2B5EF4-FFF2-40B4-BE49-F238E27FC236}">
                  <a16:creationId xmlns:a16="http://schemas.microsoft.com/office/drawing/2014/main" id="{93082A9C-BB53-3AF7-4878-4160FF2E5D63}"/>
                </a:ext>
              </a:extLst>
            </p:cNvPr>
            <p:cNvSpPr>
              <a:spLocks noChangeAspect="1"/>
            </p:cNvSpPr>
            <p:nvPr userDrawn="1">
              <p:custDataLst>
                <p:tags r:id="rId3"/>
              </p:custDataLst>
            </p:nvPr>
          </p:nvSpPr>
          <p:spPr>
            <a:xfrm>
              <a:off x="3926585" y="3069811"/>
              <a:ext cx="1004887" cy="1332642"/>
            </a:xfrm>
            <a:custGeom>
              <a:avLst/>
              <a:gdLst>
                <a:gd name="connsiteX0" fmla="*/ 999744 w 1004887"/>
                <a:gd name="connsiteY0" fmla="*/ 252508 h 1332642"/>
                <a:gd name="connsiteX1" fmla="*/ 997363 w 1004887"/>
                <a:gd name="connsiteY1" fmla="*/ 246412 h 1332642"/>
                <a:gd name="connsiteX2" fmla="*/ 998315 w 1004887"/>
                <a:gd name="connsiteY2" fmla="*/ 241459 h 1332642"/>
                <a:gd name="connsiteX3" fmla="*/ 997934 w 1004887"/>
                <a:gd name="connsiteY3" fmla="*/ 238315 h 1332642"/>
                <a:gd name="connsiteX4" fmla="*/ 996125 w 1004887"/>
                <a:gd name="connsiteY4" fmla="*/ 236982 h 1332642"/>
                <a:gd name="connsiteX5" fmla="*/ 994124 w 1004887"/>
                <a:gd name="connsiteY5" fmla="*/ 234029 h 1332642"/>
                <a:gd name="connsiteX6" fmla="*/ 995363 w 1004887"/>
                <a:gd name="connsiteY6" fmla="*/ 230600 h 1332642"/>
                <a:gd name="connsiteX7" fmla="*/ 996506 w 1004887"/>
                <a:gd name="connsiteY7" fmla="*/ 227266 h 1332642"/>
                <a:gd name="connsiteX8" fmla="*/ 995648 w 1004887"/>
                <a:gd name="connsiteY8" fmla="*/ 220980 h 1332642"/>
                <a:gd name="connsiteX9" fmla="*/ 993934 w 1004887"/>
                <a:gd name="connsiteY9" fmla="*/ 219551 h 1332642"/>
                <a:gd name="connsiteX10" fmla="*/ 996506 w 1004887"/>
                <a:gd name="connsiteY10" fmla="*/ 214408 h 1332642"/>
                <a:gd name="connsiteX11" fmla="*/ 1004126 w 1004887"/>
                <a:gd name="connsiteY11" fmla="*/ 211836 h 1332642"/>
                <a:gd name="connsiteX12" fmla="*/ 993077 w 1004887"/>
                <a:gd name="connsiteY12" fmla="*/ 213265 h 1332642"/>
                <a:gd name="connsiteX13" fmla="*/ 987933 w 1004887"/>
                <a:gd name="connsiteY13" fmla="*/ 210693 h 1332642"/>
                <a:gd name="connsiteX14" fmla="*/ 975741 w 1004887"/>
                <a:gd name="connsiteY14" fmla="*/ 202692 h 1332642"/>
                <a:gd name="connsiteX15" fmla="*/ 971741 w 1004887"/>
                <a:gd name="connsiteY15" fmla="*/ 196786 h 1332642"/>
                <a:gd name="connsiteX16" fmla="*/ 958691 w 1004887"/>
                <a:gd name="connsiteY16" fmla="*/ 195167 h 1332642"/>
                <a:gd name="connsiteX17" fmla="*/ 953548 w 1004887"/>
                <a:gd name="connsiteY17" fmla="*/ 192691 h 1332642"/>
                <a:gd name="connsiteX18" fmla="*/ 947642 w 1004887"/>
                <a:gd name="connsiteY18" fmla="*/ 196596 h 1332642"/>
                <a:gd name="connsiteX19" fmla="*/ 941165 w 1004887"/>
                <a:gd name="connsiteY19" fmla="*/ 195834 h 1332642"/>
                <a:gd name="connsiteX20" fmla="*/ 942499 w 1004887"/>
                <a:gd name="connsiteY20" fmla="*/ 194024 h 1332642"/>
                <a:gd name="connsiteX21" fmla="*/ 940784 w 1004887"/>
                <a:gd name="connsiteY21" fmla="*/ 192691 h 1332642"/>
                <a:gd name="connsiteX22" fmla="*/ 942118 w 1004887"/>
                <a:gd name="connsiteY22" fmla="*/ 190881 h 1332642"/>
                <a:gd name="connsiteX23" fmla="*/ 945737 w 1004887"/>
                <a:gd name="connsiteY23" fmla="*/ 193643 h 1332642"/>
                <a:gd name="connsiteX24" fmla="*/ 947261 w 1004887"/>
                <a:gd name="connsiteY24" fmla="*/ 193453 h 1332642"/>
                <a:gd name="connsiteX25" fmla="*/ 947452 w 1004887"/>
                <a:gd name="connsiteY25" fmla="*/ 182213 h 1332642"/>
                <a:gd name="connsiteX26" fmla="*/ 948214 w 1004887"/>
                <a:gd name="connsiteY26" fmla="*/ 175736 h 1332642"/>
                <a:gd name="connsiteX27" fmla="*/ 946404 w 1004887"/>
                <a:gd name="connsiteY27" fmla="*/ 174307 h 1332642"/>
                <a:gd name="connsiteX28" fmla="*/ 945452 w 1004887"/>
                <a:gd name="connsiteY28" fmla="*/ 166402 h 1332642"/>
                <a:gd name="connsiteX29" fmla="*/ 939356 w 1004887"/>
                <a:gd name="connsiteY29" fmla="*/ 168783 h 1332642"/>
                <a:gd name="connsiteX30" fmla="*/ 934212 w 1004887"/>
                <a:gd name="connsiteY30" fmla="*/ 166211 h 1332642"/>
                <a:gd name="connsiteX31" fmla="*/ 927449 w 1004887"/>
                <a:gd name="connsiteY31" fmla="*/ 163925 h 1332642"/>
                <a:gd name="connsiteX32" fmla="*/ 918210 w 1004887"/>
                <a:gd name="connsiteY32" fmla="*/ 166687 h 1332642"/>
                <a:gd name="connsiteX33" fmla="*/ 913638 w 1004887"/>
                <a:gd name="connsiteY33" fmla="*/ 168878 h 1332642"/>
                <a:gd name="connsiteX34" fmla="*/ 913638 w 1004887"/>
                <a:gd name="connsiteY34" fmla="*/ 168878 h 1332642"/>
                <a:gd name="connsiteX35" fmla="*/ 912114 w 1004887"/>
                <a:gd name="connsiteY35" fmla="*/ 169069 h 1332642"/>
                <a:gd name="connsiteX36" fmla="*/ 911066 w 1004887"/>
                <a:gd name="connsiteY36" fmla="*/ 161163 h 1332642"/>
                <a:gd name="connsiteX37" fmla="*/ 906685 w 1004887"/>
                <a:gd name="connsiteY37" fmla="*/ 152114 h 1332642"/>
                <a:gd name="connsiteX38" fmla="*/ 903351 w 1004887"/>
                <a:gd name="connsiteY38" fmla="*/ 150971 h 1332642"/>
                <a:gd name="connsiteX39" fmla="*/ 900398 w 1004887"/>
                <a:gd name="connsiteY39" fmla="*/ 152876 h 1332642"/>
                <a:gd name="connsiteX40" fmla="*/ 898684 w 1004887"/>
                <a:gd name="connsiteY40" fmla="*/ 151543 h 1332642"/>
                <a:gd name="connsiteX41" fmla="*/ 894683 w 1004887"/>
                <a:gd name="connsiteY41" fmla="*/ 145637 h 1332642"/>
                <a:gd name="connsiteX42" fmla="*/ 891540 w 1004887"/>
                <a:gd name="connsiteY42" fmla="*/ 146018 h 1332642"/>
                <a:gd name="connsiteX43" fmla="*/ 889540 w 1004887"/>
                <a:gd name="connsiteY43" fmla="*/ 130207 h 1332642"/>
                <a:gd name="connsiteX44" fmla="*/ 884587 w 1004887"/>
                <a:gd name="connsiteY44" fmla="*/ 129254 h 1332642"/>
                <a:gd name="connsiteX45" fmla="*/ 880586 w 1004887"/>
                <a:gd name="connsiteY45" fmla="*/ 123349 h 1332642"/>
                <a:gd name="connsiteX46" fmla="*/ 877443 w 1004887"/>
                <a:gd name="connsiteY46" fmla="*/ 123730 h 1332642"/>
                <a:gd name="connsiteX47" fmla="*/ 874109 w 1004887"/>
                <a:gd name="connsiteY47" fmla="*/ 122587 h 1332642"/>
                <a:gd name="connsiteX48" fmla="*/ 871347 w 1004887"/>
                <a:gd name="connsiteY48" fmla="*/ 126111 h 1332642"/>
                <a:gd name="connsiteX49" fmla="*/ 868204 w 1004887"/>
                <a:gd name="connsiteY49" fmla="*/ 126587 h 1332642"/>
                <a:gd name="connsiteX50" fmla="*/ 864870 w 1004887"/>
                <a:gd name="connsiteY50" fmla="*/ 125349 h 1332642"/>
                <a:gd name="connsiteX51" fmla="*/ 863441 w 1004887"/>
                <a:gd name="connsiteY51" fmla="*/ 127159 h 1332642"/>
                <a:gd name="connsiteX52" fmla="*/ 865632 w 1004887"/>
                <a:gd name="connsiteY52" fmla="*/ 131731 h 1332642"/>
                <a:gd name="connsiteX53" fmla="*/ 846677 w 1004887"/>
                <a:gd name="connsiteY53" fmla="*/ 134112 h 1332642"/>
                <a:gd name="connsiteX54" fmla="*/ 841534 w 1004887"/>
                <a:gd name="connsiteY54" fmla="*/ 131540 h 1332642"/>
                <a:gd name="connsiteX55" fmla="*/ 820484 w 1004887"/>
                <a:gd name="connsiteY55" fmla="*/ 129445 h 1332642"/>
                <a:gd name="connsiteX56" fmla="*/ 820007 w 1004887"/>
                <a:gd name="connsiteY56" fmla="*/ 126302 h 1332642"/>
                <a:gd name="connsiteX57" fmla="*/ 816674 w 1004887"/>
                <a:gd name="connsiteY57" fmla="*/ 125063 h 1332642"/>
                <a:gd name="connsiteX58" fmla="*/ 816293 w 1004887"/>
                <a:gd name="connsiteY58" fmla="*/ 121920 h 1332642"/>
                <a:gd name="connsiteX59" fmla="*/ 810959 w 1004887"/>
                <a:gd name="connsiteY59" fmla="*/ 117824 h 1332642"/>
                <a:gd name="connsiteX60" fmla="*/ 812292 w 1004887"/>
                <a:gd name="connsiteY60" fmla="*/ 116015 h 1332642"/>
                <a:gd name="connsiteX61" fmla="*/ 810387 w 1004887"/>
                <a:gd name="connsiteY61" fmla="*/ 113062 h 1332642"/>
                <a:gd name="connsiteX62" fmla="*/ 805244 w 1004887"/>
                <a:gd name="connsiteY62" fmla="*/ 110490 h 1332642"/>
                <a:gd name="connsiteX63" fmla="*/ 801624 w 1004887"/>
                <a:gd name="connsiteY63" fmla="*/ 107728 h 1332642"/>
                <a:gd name="connsiteX64" fmla="*/ 800100 w 1004887"/>
                <a:gd name="connsiteY64" fmla="*/ 107918 h 1332642"/>
                <a:gd name="connsiteX65" fmla="*/ 796481 w 1004887"/>
                <a:gd name="connsiteY65" fmla="*/ 105251 h 1332642"/>
                <a:gd name="connsiteX66" fmla="*/ 787241 w 1004887"/>
                <a:gd name="connsiteY66" fmla="*/ 108013 h 1332642"/>
                <a:gd name="connsiteX67" fmla="*/ 784479 w 1004887"/>
                <a:gd name="connsiteY67" fmla="*/ 98774 h 1332642"/>
                <a:gd name="connsiteX68" fmla="*/ 779717 w 1004887"/>
                <a:gd name="connsiteY68" fmla="*/ 99346 h 1332642"/>
                <a:gd name="connsiteX69" fmla="*/ 774573 w 1004887"/>
                <a:gd name="connsiteY69" fmla="*/ 96774 h 1332642"/>
                <a:gd name="connsiteX70" fmla="*/ 775145 w 1004887"/>
                <a:gd name="connsiteY70" fmla="*/ 88678 h 1332642"/>
                <a:gd name="connsiteX71" fmla="*/ 778478 w 1004887"/>
                <a:gd name="connsiteY71" fmla="*/ 89821 h 1332642"/>
                <a:gd name="connsiteX72" fmla="*/ 779717 w 1004887"/>
                <a:gd name="connsiteY72" fmla="*/ 86487 h 1332642"/>
                <a:gd name="connsiteX73" fmla="*/ 790956 w 1004887"/>
                <a:gd name="connsiteY73" fmla="*/ 86677 h 1332642"/>
                <a:gd name="connsiteX74" fmla="*/ 799433 w 1004887"/>
                <a:gd name="connsiteY74" fmla="*/ 90392 h 1332642"/>
                <a:gd name="connsiteX75" fmla="*/ 799052 w 1004887"/>
                <a:gd name="connsiteY75" fmla="*/ 87249 h 1332642"/>
                <a:gd name="connsiteX76" fmla="*/ 792290 w 1004887"/>
                <a:gd name="connsiteY76" fmla="*/ 84868 h 1332642"/>
                <a:gd name="connsiteX77" fmla="*/ 790766 w 1004887"/>
                <a:gd name="connsiteY77" fmla="*/ 85058 h 1332642"/>
                <a:gd name="connsiteX78" fmla="*/ 788003 w 1004887"/>
                <a:gd name="connsiteY78" fmla="*/ 75819 h 1332642"/>
                <a:gd name="connsiteX79" fmla="*/ 784574 w 1004887"/>
                <a:gd name="connsiteY79" fmla="*/ 74676 h 1332642"/>
                <a:gd name="connsiteX80" fmla="*/ 772001 w 1004887"/>
                <a:gd name="connsiteY80" fmla="*/ 76295 h 1332642"/>
                <a:gd name="connsiteX81" fmla="*/ 768001 w 1004887"/>
                <a:gd name="connsiteY81" fmla="*/ 83153 h 1332642"/>
                <a:gd name="connsiteX82" fmla="*/ 761714 w 1004887"/>
                <a:gd name="connsiteY82" fmla="*/ 84011 h 1332642"/>
                <a:gd name="connsiteX83" fmla="*/ 758190 w 1004887"/>
                <a:gd name="connsiteY83" fmla="*/ 81248 h 1332642"/>
                <a:gd name="connsiteX84" fmla="*/ 759333 w 1004887"/>
                <a:gd name="connsiteY84" fmla="*/ 77915 h 1332642"/>
                <a:gd name="connsiteX85" fmla="*/ 758952 w 1004887"/>
                <a:gd name="connsiteY85" fmla="*/ 74676 h 1332642"/>
                <a:gd name="connsiteX86" fmla="*/ 755999 w 1004887"/>
                <a:gd name="connsiteY86" fmla="*/ 76676 h 1332642"/>
                <a:gd name="connsiteX87" fmla="*/ 753809 w 1004887"/>
                <a:gd name="connsiteY87" fmla="*/ 72200 h 1332642"/>
                <a:gd name="connsiteX88" fmla="*/ 749522 w 1004887"/>
                <a:gd name="connsiteY88" fmla="*/ 75914 h 1332642"/>
                <a:gd name="connsiteX89" fmla="*/ 734663 w 1004887"/>
                <a:gd name="connsiteY89" fmla="*/ 72961 h 1332642"/>
                <a:gd name="connsiteX90" fmla="*/ 732568 w 1004887"/>
                <a:gd name="connsiteY90" fmla="*/ 81248 h 1332642"/>
                <a:gd name="connsiteX91" fmla="*/ 729329 w 1004887"/>
                <a:gd name="connsiteY91" fmla="*/ 81725 h 1332642"/>
                <a:gd name="connsiteX92" fmla="*/ 727043 w 1004887"/>
                <a:gd name="connsiteY92" fmla="*/ 88392 h 1332642"/>
                <a:gd name="connsiteX93" fmla="*/ 725424 w 1004887"/>
                <a:gd name="connsiteY93" fmla="*/ 88582 h 1332642"/>
                <a:gd name="connsiteX94" fmla="*/ 720471 w 1004887"/>
                <a:gd name="connsiteY94" fmla="*/ 87630 h 1332642"/>
                <a:gd name="connsiteX95" fmla="*/ 719519 w 1004887"/>
                <a:gd name="connsiteY95" fmla="*/ 79724 h 1332642"/>
                <a:gd name="connsiteX96" fmla="*/ 708470 w 1004887"/>
                <a:gd name="connsiteY96" fmla="*/ 81153 h 1332642"/>
                <a:gd name="connsiteX97" fmla="*/ 703898 w 1004887"/>
                <a:gd name="connsiteY97" fmla="*/ 83344 h 1332642"/>
                <a:gd name="connsiteX98" fmla="*/ 702374 w 1004887"/>
                <a:gd name="connsiteY98" fmla="*/ 83534 h 1332642"/>
                <a:gd name="connsiteX99" fmla="*/ 701707 w 1004887"/>
                <a:gd name="connsiteY99" fmla="*/ 78772 h 1332642"/>
                <a:gd name="connsiteX100" fmla="*/ 705898 w 1004887"/>
                <a:gd name="connsiteY100" fmla="*/ 73438 h 1332642"/>
                <a:gd name="connsiteX101" fmla="*/ 705231 w 1004887"/>
                <a:gd name="connsiteY101" fmla="*/ 68771 h 1332642"/>
                <a:gd name="connsiteX102" fmla="*/ 711137 w 1004887"/>
                <a:gd name="connsiteY102" fmla="*/ 64770 h 1332642"/>
                <a:gd name="connsiteX103" fmla="*/ 712565 w 1004887"/>
                <a:gd name="connsiteY103" fmla="*/ 62960 h 1332642"/>
                <a:gd name="connsiteX104" fmla="*/ 710565 w 1004887"/>
                <a:gd name="connsiteY104" fmla="*/ 60007 h 1332642"/>
                <a:gd name="connsiteX105" fmla="*/ 714661 w 1004887"/>
                <a:gd name="connsiteY105" fmla="*/ 54673 h 1332642"/>
                <a:gd name="connsiteX106" fmla="*/ 714089 w 1004887"/>
                <a:gd name="connsiteY106" fmla="*/ 50006 h 1332642"/>
                <a:gd name="connsiteX107" fmla="*/ 719042 w 1004887"/>
                <a:gd name="connsiteY107" fmla="*/ 50959 h 1332642"/>
                <a:gd name="connsiteX108" fmla="*/ 725329 w 1004887"/>
                <a:gd name="connsiteY108" fmla="*/ 50102 h 1332642"/>
                <a:gd name="connsiteX109" fmla="*/ 725710 w 1004887"/>
                <a:gd name="connsiteY109" fmla="*/ 40481 h 1332642"/>
                <a:gd name="connsiteX110" fmla="*/ 723329 w 1004887"/>
                <a:gd name="connsiteY110" fmla="*/ 34385 h 1332642"/>
                <a:gd name="connsiteX111" fmla="*/ 723138 w 1004887"/>
                <a:gd name="connsiteY111" fmla="*/ 32766 h 1332642"/>
                <a:gd name="connsiteX112" fmla="*/ 718185 w 1004887"/>
                <a:gd name="connsiteY112" fmla="*/ 31813 h 1332642"/>
                <a:gd name="connsiteX113" fmla="*/ 715613 w 1004887"/>
                <a:gd name="connsiteY113" fmla="*/ 24098 h 1332642"/>
                <a:gd name="connsiteX114" fmla="*/ 711518 w 1004887"/>
                <a:gd name="connsiteY114" fmla="*/ 29432 h 1332642"/>
                <a:gd name="connsiteX115" fmla="*/ 709517 w 1004887"/>
                <a:gd name="connsiteY115" fmla="*/ 26479 h 1332642"/>
                <a:gd name="connsiteX116" fmla="*/ 710089 w 1004887"/>
                <a:gd name="connsiteY116" fmla="*/ 18383 h 1332642"/>
                <a:gd name="connsiteX117" fmla="*/ 708279 w 1004887"/>
                <a:gd name="connsiteY117" fmla="*/ 17050 h 1332642"/>
                <a:gd name="connsiteX118" fmla="*/ 707517 w 1004887"/>
                <a:gd name="connsiteY118" fmla="*/ 23527 h 1332642"/>
                <a:gd name="connsiteX119" fmla="*/ 701421 w 1004887"/>
                <a:gd name="connsiteY119" fmla="*/ 25908 h 1332642"/>
                <a:gd name="connsiteX120" fmla="*/ 701612 w 1004887"/>
                <a:gd name="connsiteY120" fmla="*/ 27527 h 1332642"/>
                <a:gd name="connsiteX121" fmla="*/ 698278 w 1004887"/>
                <a:gd name="connsiteY121" fmla="*/ 26289 h 1332642"/>
                <a:gd name="connsiteX122" fmla="*/ 695135 w 1004887"/>
                <a:gd name="connsiteY122" fmla="*/ 26670 h 1332642"/>
                <a:gd name="connsiteX123" fmla="*/ 689229 w 1004887"/>
                <a:gd name="connsiteY123" fmla="*/ 30671 h 1332642"/>
                <a:gd name="connsiteX124" fmla="*/ 684086 w 1004887"/>
                <a:gd name="connsiteY124" fmla="*/ 28099 h 1332642"/>
                <a:gd name="connsiteX125" fmla="*/ 683990 w 1004887"/>
                <a:gd name="connsiteY125" fmla="*/ 15335 h 1332642"/>
                <a:gd name="connsiteX126" fmla="*/ 680847 w 1004887"/>
                <a:gd name="connsiteY126" fmla="*/ 15716 h 1332642"/>
                <a:gd name="connsiteX127" fmla="*/ 679133 w 1004887"/>
                <a:gd name="connsiteY127" fmla="*/ 14288 h 1332642"/>
                <a:gd name="connsiteX128" fmla="*/ 675894 w 1004887"/>
                <a:gd name="connsiteY128" fmla="*/ 14764 h 1332642"/>
                <a:gd name="connsiteX129" fmla="*/ 676656 w 1004887"/>
                <a:gd name="connsiteY129" fmla="*/ 8192 h 1332642"/>
                <a:gd name="connsiteX130" fmla="*/ 671608 w 1004887"/>
                <a:gd name="connsiteY130" fmla="*/ 5620 h 1332642"/>
                <a:gd name="connsiteX131" fmla="*/ 672941 w 1004887"/>
                <a:gd name="connsiteY131" fmla="*/ 3905 h 1332642"/>
                <a:gd name="connsiteX132" fmla="*/ 676085 w 1004887"/>
                <a:gd name="connsiteY132" fmla="*/ 3524 h 1332642"/>
                <a:gd name="connsiteX133" fmla="*/ 674084 w 1004887"/>
                <a:gd name="connsiteY133" fmla="*/ 571 h 1332642"/>
                <a:gd name="connsiteX134" fmla="*/ 669798 w 1004887"/>
                <a:gd name="connsiteY134" fmla="*/ 4286 h 1332642"/>
                <a:gd name="connsiteX135" fmla="*/ 666655 w 1004887"/>
                <a:gd name="connsiteY135" fmla="*/ 4667 h 1332642"/>
                <a:gd name="connsiteX136" fmla="*/ 665417 w 1004887"/>
                <a:gd name="connsiteY136" fmla="*/ 8001 h 1332642"/>
                <a:gd name="connsiteX137" fmla="*/ 664464 w 1004887"/>
                <a:gd name="connsiteY137" fmla="*/ 12954 h 1332642"/>
                <a:gd name="connsiteX138" fmla="*/ 661321 w 1004887"/>
                <a:gd name="connsiteY138" fmla="*/ 13335 h 1332642"/>
                <a:gd name="connsiteX139" fmla="*/ 658749 w 1004887"/>
                <a:gd name="connsiteY139" fmla="*/ 18479 h 1332642"/>
                <a:gd name="connsiteX140" fmla="*/ 652272 w 1004887"/>
                <a:gd name="connsiteY140" fmla="*/ 17717 h 1332642"/>
                <a:gd name="connsiteX141" fmla="*/ 654368 w 1004887"/>
                <a:gd name="connsiteY141" fmla="*/ 9430 h 1332642"/>
                <a:gd name="connsiteX142" fmla="*/ 653225 w 1004887"/>
                <a:gd name="connsiteY142" fmla="*/ 0 h 1332642"/>
                <a:gd name="connsiteX143" fmla="*/ 651605 w 1004887"/>
                <a:gd name="connsiteY143" fmla="*/ 190 h 1332642"/>
                <a:gd name="connsiteX144" fmla="*/ 651986 w 1004887"/>
                <a:gd name="connsiteY144" fmla="*/ 3334 h 1332642"/>
                <a:gd name="connsiteX145" fmla="*/ 639032 w 1004887"/>
                <a:gd name="connsiteY145" fmla="*/ 1810 h 1332642"/>
                <a:gd name="connsiteX146" fmla="*/ 636080 w 1004887"/>
                <a:gd name="connsiteY146" fmla="*/ 3810 h 1332642"/>
                <a:gd name="connsiteX147" fmla="*/ 636270 w 1004887"/>
                <a:gd name="connsiteY147" fmla="*/ 5334 h 1332642"/>
                <a:gd name="connsiteX148" fmla="*/ 633317 w 1004887"/>
                <a:gd name="connsiteY148" fmla="*/ 7334 h 1332642"/>
                <a:gd name="connsiteX149" fmla="*/ 629888 w 1004887"/>
                <a:gd name="connsiteY149" fmla="*/ 6191 h 1332642"/>
                <a:gd name="connsiteX150" fmla="*/ 627983 w 1004887"/>
                <a:gd name="connsiteY150" fmla="*/ 3238 h 1332642"/>
                <a:gd name="connsiteX151" fmla="*/ 623221 w 1004887"/>
                <a:gd name="connsiteY151" fmla="*/ 3810 h 1332642"/>
                <a:gd name="connsiteX152" fmla="*/ 623411 w 1004887"/>
                <a:gd name="connsiteY152" fmla="*/ 5429 h 1332642"/>
                <a:gd name="connsiteX153" fmla="*/ 626745 w 1004887"/>
                <a:gd name="connsiteY153" fmla="*/ 6572 h 1332642"/>
                <a:gd name="connsiteX154" fmla="*/ 628745 w 1004887"/>
                <a:gd name="connsiteY154" fmla="*/ 9525 h 1332642"/>
                <a:gd name="connsiteX155" fmla="*/ 619887 w 1004887"/>
                <a:gd name="connsiteY155" fmla="*/ 28289 h 1332642"/>
                <a:gd name="connsiteX156" fmla="*/ 623507 w 1004887"/>
                <a:gd name="connsiteY156" fmla="*/ 31052 h 1332642"/>
                <a:gd name="connsiteX157" fmla="*/ 631127 w 1004887"/>
                <a:gd name="connsiteY157" fmla="*/ 28480 h 1332642"/>
                <a:gd name="connsiteX158" fmla="*/ 631603 w 1004887"/>
                <a:gd name="connsiteY158" fmla="*/ 31623 h 1332642"/>
                <a:gd name="connsiteX159" fmla="*/ 633317 w 1004887"/>
                <a:gd name="connsiteY159" fmla="*/ 32956 h 1332642"/>
                <a:gd name="connsiteX160" fmla="*/ 633984 w 1004887"/>
                <a:gd name="connsiteY160" fmla="*/ 37719 h 1332642"/>
                <a:gd name="connsiteX161" fmla="*/ 631222 w 1004887"/>
                <a:gd name="connsiteY161" fmla="*/ 41243 h 1332642"/>
                <a:gd name="connsiteX162" fmla="*/ 630460 w 1004887"/>
                <a:gd name="connsiteY162" fmla="*/ 47815 h 1332642"/>
                <a:gd name="connsiteX163" fmla="*/ 624269 w 1004887"/>
                <a:gd name="connsiteY163" fmla="*/ 50197 h 1332642"/>
                <a:gd name="connsiteX164" fmla="*/ 622935 w 1004887"/>
                <a:gd name="connsiteY164" fmla="*/ 51911 h 1332642"/>
                <a:gd name="connsiteX165" fmla="*/ 619220 w 1004887"/>
                <a:gd name="connsiteY165" fmla="*/ 47625 h 1332642"/>
                <a:gd name="connsiteX166" fmla="*/ 617411 w 1004887"/>
                <a:gd name="connsiteY166" fmla="*/ 46292 h 1332642"/>
                <a:gd name="connsiteX167" fmla="*/ 621792 w 1004887"/>
                <a:gd name="connsiteY167" fmla="*/ 55340 h 1332642"/>
                <a:gd name="connsiteX168" fmla="*/ 620363 w 1004887"/>
                <a:gd name="connsiteY168" fmla="*/ 57055 h 1332642"/>
                <a:gd name="connsiteX169" fmla="*/ 615410 w 1004887"/>
                <a:gd name="connsiteY169" fmla="*/ 56102 h 1332642"/>
                <a:gd name="connsiteX170" fmla="*/ 610934 w 1004887"/>
                <a:gd name="connsiteY170" fmla="*/ 58293 h 1332642"/>
                <a:gd name="connsiteX171" fmla="*/ 604361 w 1004887"/>
                <a:gd name="connsiteY171" fmla="*/ 57531 h 1332642"/>
                <a:gd name="connsiteX172" fmla="*/ 602837 w 1004887"/>
                <a:gd name="connsiteY172" fmla="*/ 57721 h 1332642"/>
                <a:gd name="connsiteX173" fmla="*/ 603599 w 1004887"/>
                <a:gd name="connsiteY173" fmla="*/ 64008 h 1332642"/>
                <a:gd name="connsiteX174" fmla="*/ 598932 w 1004887"/>
                <a:gd name="connsiteY174" fmla="*/ 64675 h 1332642"/>
                <a:gd name="connsiteX175" fmla="*/ 598075 w 1004887"/>
                <a:gd name="connsiteY175" fmla="*/ 58293 h 1332642"/>
                <a:gd name="connsiteX176" fmla="*/ 597122 w 1004887"/>
                <a:gd name="connsiteY176" fmla="*/ 63246 h 1332642"/>
                <a:gd name="connsiteX177" fmla="*/ 593789 w 1004887"/>
                <a:gd name="connsiteY177" fmla="*/ 62103 h 1332642"/>
                <a:gd name="connsiteX178" fmla="*/ 591788 w 1004887"/>
                <a:gd name="connsiteY178" fmla="*/ 59150 h 1332642"/>
                <a:gd name="connsiteX179" fmla="*/ 585502 w 1004887"/>
                <a:gd name="connsiteY179" fmla="*/ 59912 h 1332642"/>
                <a:gd name="connsiteX180" fmla="*/ 589026 w 1004887"/>
                <a:gd name="connsiteY180" fmla="*/ 62675 h 1332642"/>
                <a:gd name="connsiteX181" fmla="*/ 586073 w 1004887"/>
                <a:gd name="connsiteY181" fmla="*/ 64675 h 1332642"/>
                <a:gd name="connsiteX182" fmla="*/ 584930 w 1004887"/>
                <a:gd name="connsiteY182" fmla="*/ 68008 h 1332642"/>
                <a:gd name="connsiteX183" fmla="*/ 588264 w 1004887"/>
                <a:gd name="connsiteY183" fmla="*/ 69247 h 1332642"/>
                <a:gd name="connsiteX184" fmla="*/ 591788 w 1004887"/>
                <a:gd name="connsiteY184" fmla="*/ 71914 h 1332642"/>
                <a:gd name="connsiteX185" fmla="*/ 588645 w 1004887"/>
                <a:gd name="connsiteY185" fmla="*/ 72390 h 1332642"/>
                <a:gd name="connsiteX186" fmla="*/ 593598 w 1004887"/>
                <a:gd name="connsiteY186" fmla="*/ 86201 h 1332642"/>
                <a:gd name="connsiteX187" fmla="*/ 593979 w 1004887"/>
                <a:gd name="connsiteY187" fmla="*/ 89344 h 1332642"/>
                <a:gd name="connsiteX188" fmla="*/ 589312 w 1004887"/>
                <a:gd name="connsiteY188" fmla="*/ 89916 h 1332642"/>
                <a:gd name="connsiteX189" fmla="*/ 584168 w 1004887"/>
                <a:gd name="connsiteY189" fmla="*/ 100203 h 1332642"/>
                <a:gd name="connsiteX190" fmla="*/ 585407 w 1004887"/>
                <a:gd name="connsiteY190" fmla="*/ 109633 h 1332642"/>
                <a:gd name="connsiteX191" fmla="*/ 589598 w 1004887"/>
                <a:gd name="connsiteY191" fmla="*/ 117157 h 1332642"/>
                <a:gd name="connsiteX192" fmla="*/ 586550 w 1004887"/>
                <a:gd name="connsiteY192" fmla="*/ 119158 h 1332642"/>
                <a:gd name="connsiteX193" fmla="*/ 582073 w 1004887"/>
                <a:gd name="connsiteY193" fmla="*/ 121348 h 1332642"/>
                <a:gd name="connsiteX194" fmla="*/ 570167 w 1004887"/>
                <a:gd name="connsiteY194" fmla="*/ 116396 h 1332642"/>
                <a:gd name="connsiteX195" fmla="*/ 560927 w 1004887"/>
                <a:gd name="connsiteY195" fmla="*/ 106394 h 1332642"/>
                <a:gd name="connsiteX196" fmla="*/ 555593 w 1004887"/>
                <a:gd name="connsiteY196" fmla="*/ 102203 h 1332642"/>
                <a:gd name="connsiteX197" fmla="*/ 553593 w 1004887"/>
                <a:gd name="connsiteY197" fmla="*/ 99250 h 1332642"/>
                <a:gd name="connsiteX198" fmla="*/ 554546 w 1004887"/>
                <a:gd name="connsiteY198" fmla="*/ 94298 h 1332642"/>
                <a:gd name="connsiteX199" fmla="*/ 553022 w 1004887"/>
                <a:gd name="connsiteY199" fmla="*/ 94583 h 1332642"/>
                <a:gd name="connsiteX200" fmla="*/ 552641 w 1004887"/>
                <a:gd name="connsiteY200" fmla="*/ 104204 h 1332642"/>
                <a:gd name="connsiteX201" fmla="*/ 550831 w 1004887"/>
                <a:gd name="connsiteY201" fmla="*/ 102870 h 1332642"/>
                <a:gd name="connsiteX202" fmla="*/ 550069 w 1004887"/>
                <a:gd name="connsiteY202" fmla="*/ 96488 h 1332642"/>
                <a:gd name="connsiteX203" fmla="*/ 548259 w 1004887"/>
                <a:gd name="connsiteY203" fmla="*/ 95155 h 1332642"/>
                <a:gd name="connsiteX204" fmla="*/ 546640 w 1004887"/>
                <a:gd name="connsiteY204" fmla="*/ 95345 h 1332642"/>
                <a:gd name="connsiteX205" fmla="*/ 544735 w 1004887"/>
                <a:gd name="connsiteY205" fmla="*/ 92392 h 1332642"/>
                <a:gd name="connsiteX206" fmla="*/ 543116 w 1004887"/>
                <a:gd name="connsiteY206" fmla="*/ 92583 h 1332642"/>
                <a:gd name="connsiteX207" fmla="*/ 539591 w 1004887"/>
                <a:gd name="connsiteY207" fmla="*/ 89821 h 1332642"/>
                <a:gd name="connsiteX208" fmla="*/ 539782 w 1004887"/>
                <a:gd name="connsiteY208" fmla="*/ 91440 h 1332642"/>
                <a:gd name="connsiteX209" fmla="*/ 538163 w 1004887"/>
                <a:gd name="connsiteY209" fmla="*/ 91631 h 1332642"/>
                <a:gd name="connsiteX210" fmla="*/ 537401 w 1004887"/>
                <a:gd name="connsiteY210" fmla="*/ 85344 h 1332642"/>
                <a:gd name="connsiteX211" fmla="*/ 535781 w 1004887"/>
                <a:gd name="connsiteY211" fmla="*/ 85534 h 1332642"/>
                <a:gd name="connsiteX212" fmla="*/ 534448 w 1004887"/>
                <a:gd name="connsiteY212" fmla="*/ 87249 h 1332642"/>
                <a:gd name="connsiteX213" fmla="*/ 527685 w 1004887"/>
                <a:gd name="connsiteY213" fmla="*/ 84963 h 1332642"/>
                <a:gd name="connsiteX214" fmla="*/ 529304 w 1004887"/>
                <a:gd name="connsiteY214" fmla="*/ 84773 h 1332642"/>
                <a:gd name="connsiteX215" fmla="*/ 528923 w 1004887"/>
                <a:gd name="connsiteY215" fmla="*/ 81534 h 1332642"/>
                <a:gd name="connsiteX216" fmla="*/ 521399 w 1004887"/>
                <a:gd name="connsiteY216" fmla="*/ 85725 h 1332642"/>
                <a:gd name="connsiteX217" fmla="*/ 516446 w 1004887"/>
                <a:gd name="connsiteY217" fmla="*/ 84773 h 1332642"/>
                <a:gd name="connsiteX218" fmla="*/ 516636 w 1004887"/>
                <a:gd name="connsiteY218" fmla="*/ 86296 h 1332642"/>
                <a:gd name="connsiteX219" fmla="*/ 512921 w 1004887"/>
                <a:gd name="connsiteY219" fmla="*/ 82010 h 1332642"/>
                <a:gd name="connsiteX220" fmla="*/ 508730 w 1004887"/>
                <a:gd name="connsiteY220" fmla="*/ 87344 h 1332642"/>
                <a:gd name="connsiteX221" fmla="*/ 503206 w 1004887"/>
                <a:gd name="connsiteY221" fmla="*/ 81629 h 1332642"/>
                <a:gd name="connsiteX222" fmla="*/ 500444 w 1004887"/>
                <a:gd name="connsiteY222" fmla="*/ 85154 h 1332642"/>
                <a:gd name="connsiteX223" fmla="*/ 496919 w 1004887"/>
                <a:gd name="connsiteY223" fmla="*/ 82486 h 1332642"/>
                <a:gd name="connsiteX224" fmla="*/ 496157 w 1004887"/>
                <a:gd name="connsiteY224" fmla="*/ 76105 h 1332642"/>
                <a:gd name="connsiteX225" fmla="*/ 494729 w 1004887"/>
                <a:gd name="connsiteY225" fmla="*/ 77915 h 1332642"/>
                <a:gd name="connsiteX226" fmla="*/ 493967 w 1004887"/>
                <a:gd name="connsiteY226" fmla="*/ 71628 h 1332642"/>
                <a:gd name="connsiteX227" fmla="*/ 488252 w 1004887"/>
                <a:gd name="connsiteY227" fmla="*/ 77152 h 1332642"/>
                <a:gd name="connsiteX228" fmla="*/ 486823 w 1004887"/>
                <a:gd name="connsiteY228" fmla="*/ 78962 h 1332642"/>
                <a:gd name="connsiteX229" fmla="*/ 483870 w 1004887"/>
                <a:gd name="connsiteY229" fmla="*/ 80867 h 1332642"/>
                <a:gd name="connsiteX230" fmla="*/ 483679 w 1004887"/>
                <a:gd name="connsiteY230" fmla="*/ 79343 h 1332642"/>
                <a:gd name="connsiteX231" fmla="*/ 482346 w 1004887"/>
                <a:gd name="connsiteY231" fmla="*/ 81058 h 1332642"/>
                <a:gd name="connsiteX232" fmla="*/ 483489 w 1004887"/>
                <a:gd name="connsiteY232" fmla="*/ 90583 h 1332642"/>
                <a:gd name="connsiteX233" fmla="*/ 478822 w 1004887"/>
                <a:gd name="connsiteY233" fmla="*/ 91154 h 1332642"/>
                <a:gd name="connsiteX234" fmla="*/ 473678 w 1004887"/>
                <a:gd name="connsiteY234" fmla="*/ 88582 h 1332642"/>
                <a:gd name="connsiteX235" fmla="*/ 471106 w 1004887"/>
                <a:gd name="connsiteY235" fmla="*/ 93726 h 1332642"/>
                <a:gd name="connsiteX236" fmla="*/ 472916 w 1004887"/>
                <a:gd name="connsiteY236" fmla="*/ 95155 h 1332642"/>
                <a:gd name="connsiteX237" fmla="*/ 476060 w 1004887"/>
                <a:gd name="connsiteY237" fmla="*/ 94679 h 1332642"/>
                <a:gd name="connsiteX238" fmla="*/ 476250 w 1004887"/>
                <a:gd name="connsiteY238" fmla="*/ 96298 h 1332642"/>
                <a:gd name="connsiteX239" fmla="*/ 472059 w 1004887"/>
                <a:gd name="connsiteY239" fmla="*/ 101632 h 1332642"/>
                <a:gd name="connsiteX240" fmla="*/ 463772 w 1004887"/>
                <a:gd name="connsiteY240" fmla="*/ 99536 h 1332642"/>
                <a:gd name="connsiteX241" fmla="*/ 460820 w 1004887"/>
                <a:gd name="connsiteY241" fmla="*/ 101441 h 1332642"/>
                <a:gd name="connsiteX242" fmla="*/ 459867 w 1004887"/>
                <a:gd name="connsiteY242" fmla="*/ 106394 h 1332642"/>
                <a:gd name="connsiteX243" fmla="*/ 456914 w 1004887"/>
                <a:gd name="connsiteY243" fmla="*/ 108394 h 1332642"/>
                <a:gd name="connsiteX244" fmla="*/ 450437 w 1004887"/>
                <a:gd name="connsiteY244" fmla="*/ 107632 h 1332642"/>
                <a:gd name="connsiteX245" fmla="*/ 451009 w 1004887"/>
                <a:gd name="connsiteY245" fmla="*/ 112300 h 1332642"/>
                <a:gd name="connsiteX246" fmla="*/ 448247 w 1004887"/>
                <a:gd name="connsiteY246" fmla="*/ 115919 h 1332642"/>
                <a:gd name="connsiteX247" fmla="*/ 443294 w 1004887"/>
                <a:gd name="connsiteY247" fmla="*/ 114967 h 1332642"/>
                <a:gd name="connsiteX248" fmla="*/ 443484 w 1004887"/>
                <a:gd name="connsiteY248" fmla="*/ 116491 h 1332642"/>
                <a:gd name="connsiteX249" fmla="*/ 439007 w 1004887"/>
                <a:gd name="connsiteY249" fmla="*/ 118681 h 1332642"/>
                <a:gd name="connsiteX250" fmla="*/ 439388 w 1004887"/>
                <a:gd name="connsiteY250" fmla="*/ 121825 h 1332642"/>
                <a:gd name="connsiteX251" fmla="*/ 436626 w 1004887"/>
                <a:gd name="connsiteY251" fmla="*/ 125444 h 1332642"/>
                <a:gd name="connsiteX252" fmla="*/ 432911 w 1004887"/>
                <a:gd name="connsiteY252" fmla="*/ 121063 h 1332642"/>
                <a:gd name="connsiteX253" fmla="*/ 423386 w 1004887"/>
                <a:gd name="connsiteY253" fmla="*/ 122301 h 1332642"/>
                <a:gd name="connsiteX254" fmla="*/ 425006 w 1004887"/>
                <a:gd name="connsiteY254" fmla="*/ 134874 h 1332642"/>
                <a:gd name="connsiteX255" fmla="*/ 421862 w 1004887"/>
                <a:gd name="connsiteY255" fmla="*/ 135350 h 1332642"/>
                <a:gd name="connsiteX256" fmla="*/ 423291 w 1004887"/>
                <a:gd name="connsiteY256" fmla="*/ 133540 h 1332642"/>
                <a:gd name="connsiteX257" fmla="*/ 418148 w 1004887"/>
                <a:gd name="connsiteY257" fmla="*/ 130969 h 1332642"/>
                <a:gd name="connsiteX258" fmla="*/ 415766 w 1004887"/>
                <a:gd name="connsiteY258" fmla="*/ 137731 h 1332642"/>
                <a:gd name="connsiteX259" fmla="*/ 405670 w 1004887"/>
                <a:gd name="connsiteY259" fmla="*/ 134207 h 1332642"/>
                <a:gd name="connsiteX260" fmla="*/ 397764 w 1004887"/>
                <a:gd name="connsiteY260" fmla="*/ 135160 h 1332642"/>
                <a:gd name="connsiteX261" fmla="*/ 393478 w 1004887"/>
                <a:gd name="connsiteY261" fmla="*/ 138970 h 1332642"/>
                <a:gd name="connsiteX262" fmla="*/ 392906 w 1004887"/>
                <a:gd name="connsiteY262" fmla="*/ 146971 h 1332642"/>
                <a:gd name="connsiteX263" fmla="*/ 400812 w 1004887"/>
                <a:gd name="connsiteY263" fmla="*/ 158877 h 1332642"/>
                <a:gd name="connsiteX264" fmla="*/ 400812 w 1004887"/>
                <a:gd name="connsiteY264" fmla="*/ 158877 h 1332642"/>
                <a:gd name="connsiteX265" fmla="*/ 401193 w 1004887"/>
                <a:gd name="connsiteY265" fmla="*/ 162020 h 1332642"/>
                <a:gd name="connsiteX266" fmla="*/ 397859 w 1004887"/>
                <a:gd name="connsiteY266" fmla="*/ 160782 h 1332642"/>
                <a:gd name="connsiteX267" fmla="*/ 394907 w 1004887"/>
                <a:gd name="connsiteY267" fmla="*/ 162782 h 1332642"/>
                <a:gd name="connsiteX268" fmla="*/ 398240 w 1004887"/>
                <a:gd name="connsiteY268" fmla="*/ 163925 h 1332642"/>
                <a:gd name="connsiteX269" fmla="*/ 393764 w 1004887"/>
                <a:gd name="connsiteY269" fmla="*/ 166116 h 1332642"/>
                <a:gd name="connsiteX270" fmla="*/ 398907 w 1004887"/>
                <a:gd name="connsiteY270" fmla="*/ 168688 h 1332642"/>
                <a:gd name="connsiteX271" fmla="*/ 399479 w 1004887"/>
                <a:gd name="connsiteY271" fmla="*/ 173450 h 1332642"/>
                <a:gd name="connsiteX272" fmla="*/ 395288 w 1004887"/>
                <a:gd name="connsiteY272" fmla="*/ 178784 h 1332642"/>
                <a:gd name="connsiteX273" fmla="*/ 393954 w 1004887"/>
                <a:gd name="connsiteY273" fmla="*/ 180594 h 1332642"/>
                <a:gd name="connsiteX274" fmla="*/ 390620 w 1004887"/>
                <a:gd name="connsiteY274" fmla="*/ 179356 h 1332642"/>
                <a:gd name="connsiteX275" fmla="*/ 387858 w 1004887"/>
                <a:gd name="connsiteY275" fmla="*/ 182975 h 1332642"/>
                <a:gd name="connsiteX276" fmla="*/ 384905 w 1004887"/>
                <a:gd name="connsiteY276" fmla="*/ 184880 h 1332642"/>
                <a:gd name="connsiteX277" fmla="*/ 380714 w 1004887"/>
                <a:gd name="connsiteY277" fmla="*/ 190310 h 1332642"/>
                <a:gd name="connsiteX278" fmla="*/ 377571 w 1004887"/>
                <a:gd name="connsiteY278" fmla="*/ 190690 h 1332642"/>
                <a:gd name="connsiteX279" fmla="*/ 377762 w 1004887"/>
                <a:gd name="connsiteY279" fmla="*/ 192215 h 1332642"/>
                <a:gd name="connsiteX280" fmla="*/ 378047 w 1004887"/>
                <a:gd name="connsiteY280" fmla="*/ 193834 h 1332642"/>
                <a:gd name="connsiteX281" fmla="*/ 371285 w 1004887"/>
                <a:gd name="connsiteY281" fmla="*/ 191452 h 1332642"/>
                <a:gd name="connsiteX282" fmla="*/ 372142 w 1004887"/>
                <a:gd name="connsiteY282" fmla="*/ 197739 h 1332642"/>
                <a:gd name="connsiteX283" fmla="*/ 372332 w 1004887"/>
                <a:gd name="connsiteY283" fmla="*/ 199358 h 1332642"/>
                <a:gd name="connsiteX284" fmla="*/ 368903 w 1004887"/>
                <a:gd name="connsiteY284" fmla="*/ 198215 h 1332642"/>
                <a:gd name="connsiteX285" fmla="*/ 360236 w 1004887"/>
                <a:gd name="connsiteY285" fmla="*/ 192881 h 1332642"/>
                <a:gd name="connsiteX286" fmla="*/ 356521 w 1004887"/>
                <a:gd name="connsiteY286" fmla="*/ 188500 h 1332642"/>
                <a:gd name="connsiteX287" fmla="*/ 356045 w 1004887"/>
                <a:gd name="connsiteY287" fmla="*/ 185356 h 1332642"/>
                <a:gd name="connsiteX288" fmla="*/ 350901 w 1004887"/>
                <a:gd name="connsiteY288" fmla="*/ 182785 h 1332642"/>
                <a:gd name="connsiteX289" fmla="*/ 344424 w 1004887"/>
                <a:gd name="connsiteY289" fmla="*/ 182023 h 1332642"/>
                <a:gd name="connsiteX290" fmla="*/ 337757 w 1004887"/>
                <a:gd name="connsiteY290" fmla="*/ 192500 h 1332642"/>
                <a:gd name="connsiteX291" fmla="*/ 327851 w 1004887"/>
                <a:gd name="connsiteY291" fmla="*/ 190595 h 1332642"/>
                <a:gd name="connsiteX292" fmla="*/ 321564 w 1004887"/>
                <a:gd name="connsiteY292" fmla="*/ 191357 h 1332642"/>
                <a:gd name="connsiteX293" fmla="*/ 318611 w 1004887"/>
                <a:gd name="connsiteY293" fmla="*/ 193357 h 1332642"/>
                <a:gd name="connsiteX294" fmla="*/ 317564 w 1004887"/>
                <a:gd name="connsiteY294" fmla="*/ 185452 h 1332642"/>
                <a:gd name="connsiteX295" fmla="*/ 310515 w 1004887"/>
                <a:gd name="connsiteY295" fmla="*/ 179927 h 1332642"/>
                <a:gd name="connsiteX296" fmla="*/ 304610 w 1004887"/>
                <a:gd name="connsiteY296" fmla="*/ 183928 h 1332642"/>
                <a:gd name="connsiteX297" fmla="*/ 299466 w 1004887"/>
                <a:gd name="connsiteY297" fmla="*/ 181356 h 1332642"/>
                <a:gd name="connsiteX298" fmla="*/ 299847 w 1004887"/>
                <a:gd name="connsiteY298" fmla="*/ 184499 h 1332642"/>
                <a:gd name="connsiteX299" fmla="*/ 296704 w 1004887"/>
                <a:gd name="connsiteY299" fmla="*/ 184976 h 1332642"/>
                <a:gd name="connsiteX300" fmla="*/ 294704 w 1004887"/>
                <a:gd name="connsiteY300" fmla="*/ 182023 h 1332642"/>
                <a:gd name="connsiteX301" fmla="*/ 295847 w 1004887"/>
                <a:gd name="connsiteY301" fmla="*/ 178594 h 1332642"/>
                <a:gd name="connsiteX302" fmla="*/ 292894 w 1004887"/>
                <a:gd name="connsiteY302" fmla="*/ 180594 h 1332642"/>
                <a:gd name="connsiteX303" fmla="*/ 293942 w 1004887"/>
                <a:gd name="connsiteY303" fmla="*/ 175641 h 1332642"/>
                <a:gd name="connsiteX304" fmla="*/ 290513 w 1004887"/>
                <a:gd name="connsiteY304" fmla="*/ 174498 h 1332642"/>
                <a:gd name="connsiteX305" fmla="*/ 284226 w 1004887"/>
                <a:gd name="connsiteY305" fmla="*/ 175260 h 1332642"/>
                <a:gd name="connsiteX306" fmla="*/ 280702 w 1004887"/>
                <a:gd name="connsiteY306" fmla="*/ 172498 h 1332642"/>
                <a:gd name="connsiteX307" fmla="*/ 275749 w 1004887"/>
                <a:gd name="connsiteY307" fmla="*/ 171545 h 1332642"/>
                <a:gd name="connsiteX308" fmla="*/ 274796 w 1004887"/>
                <a:gd name="connsiteY308" fmla="*/ 176498 h 1332642"/>
                <a:gd name="connsiteX309" fmla="*/ 270224 w 1004887"/>
                <a:gd name="connsiteY309" fmla="*/ 178689 h 1332642"/>
                <a:gd name="connsiteX310" fmla="*/ 264509 w 1004887"/>
                <a:gd name="connsiteY310" fmla="*/ 184214 h 1332642"/>
                <a:gd name="connsiteX311" fmla="*/ 260794 w 1004887"/>
                <a:gd name="connsiteY311" fmla="*/ 179927 h 1332642"/>
                <a:gd name="connsiteX312" fmla="*/ 258794 w 1004887"/>
                <a:gd name="connsiteY312" fmla="*/ 176974 h 1332642"/>
                <a:gd name="connsiteX313" fmla="*/ 257365 w 1004887"/>
                <a:gd name="connsiteY313" fmla="*/ 178689 h 1332642"/>
                <a:gd name="connsiteX314" fmla="*/ 256032 w 1004887"/>
                <a:gd name="connsiteY314" fmla="*/ 180499 h 1332642"/>
                <a:gd name="connsiteX315" fmla="*/ 249936 w 1004887"/>
                <a:gd name="connsiteY315" fmla="*/ 182880 h 1332642"/>
                <a:gd name="connsiteX316" fmla="*/ 244602 w 1004887"/>
                <a:gd name="connsiteY316" fmla="*/ 178784 h 1332642"/>
                <a:gd name="connsiteX317" fmla="*/ 243364 w 1004887"/>
                <a:gd name="connsiteY317" fmla="*/ 182118 h 1332642"/>
                <a:gd name="connsiteX318" fmla="*/ 234982 w 1004887"/>
                <a:gd name="connsiteY318" fmla="*/ 191167 h 1332642"/>
                <a:gd name="connsiteX319" fmla="*/ 230219 w 1004887"/>
                <a:gd name="connsiteY319" fmla="*/ 191833 h 1332642"/>
                <a:gd name="connsiteX320" fmla="*/ 223266 w 1004887"/>
                <a:gd name="connsiteY320" fmla="*/ 187833 h 1332642"/>
                <a:gd name="connsiteX321" fmla="*/ 216599 w 1004887"/>
                <a:gd name="connsiteY321" fmla="*/ 185547 h 1332642"/>
                <a:gd name="connsiteX322" fmla="*/ 215170 w 1004887"/>
                <a:gd name="connsiteY322" fmla="*/ 187261 h 1332642"/>
                <a:gd name="connsiteX323" fmla="*/ 220694 w 1004887"/>
                <a:gd name="connsiteY323" fmla="*/ 192977 h 1332642"/>
                <a:gd name="connsiteX324" fmla="*/ 221933 w 1004887"/>
                <a:gd name="connsiteY324" fmla="*/ 202502 h 1332642"/>
                <a:gd name="connsiteX325" fmla="*/ 207550 w 1004887"/>
                <a:gd name="connsiteY325" fmla="*/ 202692 h 1332642"/>
                <a:gd name="connsiteX326" fmla="*/ 195072 w 1004887"/>
                <a:gd name="connsiteY326" fmla="*/ 205931 h 1332642"/>
                <a:gd name="connsiteX327" fmla="*/ 195358 w 1004887"/>
                <a:gd name="connsiteY327" fmla="*/ 207455 h 1332642"/>
                <a:gd name="connsiteX328" fmla="*/ 198882 w 1004887"/>
                <a:gd name="connsiteY328" fmla="*/ 210217 h 1332642"/>
                <a:gd name="connsiteX329" fmla="*/ 200311 w 1004887"/>
                <a:gd name="connsiteY329" fmla="*/ 221266 h 1332642"/>
                <a:gd name="connsiteX330" fmla="*/ 200882 w 1004887"/>
                <a:gd name="connsiteY330" fmla="*/ 226028 h 1332642"/>
                <a:gd name="connsiteX331" fmla="*/ 192596 w 1004887"/>
                <a:gd name="connsiteY331" fmla="*/ 223837 h 1332642"/>
                <a:gd name="connsiteX332" fmla="*/ 193929 w 1004887"/>
                <a:gd name="connsiteY332" fmla="*/ 222123 h 1332642"/>
                <a:gd name="connsiteX333" fmla="*/ 192024 w 1004887"/>
                <a:gd name="connsiteY333" fmla="*/ 219170 h 1332642"/>
                <a:gd name="connsiteX334" fmla="*/ 190214 w 1004887"/>
                <a:gd name="connsiteY334" fmla="*/ 204883 h 1332642"/>
                <a:gd name="connsiteX335" fmla="*/ 184594 w 1004887"/>
                <a:gd name="connsiteY335" fmla="*/ 199168 h 1332642"/>
                <a:gd name="connsiteX336" fmla="*/ 174593 w 1004887"/>
                <a:gd name="connsiteY336" fmla="*/ 195644 h 1332642"/>
                <a:gd name="connsiteX337" fmla="*/ 160401 w 1004887"/>
                <a:gd name="connsiteY337" fmla="*/ 197453 h 1332642"/>
                <a:gd name="connsiteX338" fmla="*/ 160782 w 1004887"/>
                <a:gd name="connsiteY338" fmla="*/ 200692 h 1332642"/>
                <a:gd name="connsiteX339" fmla="*/ 157448 w 1004887"/>
                <a:gd name="connsiteY339" fmla="*/ 199453 h 1332642"/>
                <a:gd name="connsiteX340" fmla="*/ 157829 w 1004887"/>
                <a:gd name="connsiteY340" fmla="*/ 202597 h 1332642"/>
                <a:gd name="connsiteX341" fmla="*/ 153067 w 1004887"/>
                <a:gd name="connsiteY341" fmla="*/ 203264 h 1332642"/>
                <a:gd name="connsiteX342" fmla="*/ 150114 w 1004887"/>
                <a:gd name="connsiteY342" fmla="*/ 205169 h 1332642"/>
                <a:gd name="connsiteX343" fmla="*/ 149924 w 1004887"/>
                <a:gd name="connsiteY343" fmla="*/ 216408 h 1332642"/>
                <a:gd name="connsiteX344" fmla="*/ 143256 w 1004887"/>
                <a:gd name="connsiteY344" fmla="*/ 214122 h 1332642"/>
                <a:gd name="connsiteX345" fmla="*/ 139351 w 1004887"/>
                <a:gd name="connsiteY345" fmla="*/ 220980 h 1332642"/>
                <a:gd name="connsiteX346" fmla="*/ 136684 w 1004887"/>
                <a:gd name="connsiteY346" fmla="*/ 213360 h 1332642"/>
                <a:gd name="connsiteX347" fmla="*/ 129635 w 1004887"/>
                <a:gd name="connsiteY347" fmla="*/ 207836 h 1332642"/>
                <a:gd name="connsiteX348" fmla="*/ 118586 w 1004887"/>
                <a:gd name="connsiteY348" fmla="*/ 209264 h 1332642"/>
                <a:gd name="connsiteX349" fmla="*/ 108490 w 1004887"/>
                <a:gd name="connsiteY349" fmla="*/ 205740 h 1332642"/>
                <a:gd name="connsiteX350" fmla="*/ 106299 w 1004887"/>
                <a:gd name="connsiteY350" fmla="*/ 214027 h 1332642"/>
                <a:gd name="connsiteX351" fmla="*/ 100870 w 1004887"/>
                <a:gd name="connsiteY351" fmla="*/ 221075 h 1332642"/>
                <a:gd name="connsiteX352" fmla="*/ 97631 w 1004887"/>
                <a:gd name="connsiteY352" fmla="*/ 221552 h 1332642"/>
                <a:gd name="connsiteX353" fmla="*/ 87630 w 1004887"/>
                <a:gd name="connsiteY353" fmla="*/ 230791 h 1332642"/>
                <a:gd name="connsiteX354" fmla="*/ 85058 w 1004887"/>
                <a:gd name="connsiteY354" fmla="*/ 235934 h 1332642"/>
                <a:gd name="connsiteX355" fmla="*/ 86106 w 1004887"/>
                <a:gd name="connsiteY355" fmla="*/ 243840 h 1332642"/>
                <a:gd name="connsiteX356" fmla="*/ 82201 w 1004887"/>
                <a:gd name="connsiteY356" fmla="*/ 250793 h 1332642"/>
                <a:gd name="connsiteX357" fmla="*/ 79820 w 1004887"/>
                <a:gd name="connsiteY357" fmla="*/ 257461 h 1332642"/>
                <a:gd name="connsiteX358" fmla="*/ 70295 w 1004887"/>
                <a:gd name="connsiteY358" fmla="*/ 258699 h 1332642"/>
                <a:gd name="connsiteX359" fmla="*/ 70009 w 1004887"/>
                <a:gd name="connsiteY359" fmla="*/ 281178 h 1332642"/>
                <a:gd name="connsiteX360" fmla="*/ 68199 w 1004887"/>
                <a:gd name="connsiteY360" fmla="*/ 279749 h 1332642"/>
                <a:gd name="connsiteX361" fmla="*/ 64865 w 1004887"/>
                <a:gd name="connsiteY361" fmla="*/ 278606 h 1332642"/>
                <a:gd name="connsiteX362" fmla="*/ 62865 w 1004887"/>
                <a:gd name="connsiteY362" fmla="*/ 275653 h 1332642"/>
                <a:gd name="connsiteX363" fmla="*/ 59722 w 1004887"/>
                <a:gd name="connsiteY363" fmla="*/ 276035 h 1332642"/>
                <a:gd name="connsiteX364" fmla="*/ 55626 w 1004887"/>
                <a:gd name="connsiteY364" fmla="*/ 281369 h 1332642"/>
                <a:gd name="connsiteX365" fmla="*/ 51435 w 1004887"/>
                <a:gd name="connsiteY365" fmla="*/ 286703 h 1332642"/>
                <a:gd name="connsiteX366" fmla="*/ 54007 w 1004887"/>
                <a:gd name="connsiteY366" fmla="*/ 294418 h 1332642"/>
                <a:gd name="connsiteX367" fmla="*/ 53245 w 1004887"/>
                <a:gd name="connsiteY367" fmla="*/ 300990 h 1332642"/>
                <a:gd name="connsiteX368" fmla="*/ 50959 w 1004887"/>
                <a:gd name="connsiteY368" fmla="*/ 307657 h 1332642"/>
                <a:gd name="connsiteX369" fmla="*/ 46387 w 1004887"/>
                <a:gd name="connsiteY369" fmla="*/ 309848 h 1332642"/>
                <a:gd name="connsiteX370" fmla="*/ 45053 w 1004887"/>
                <a:gd name="connsiteY370" fmla="*/ 311658 h 1332642"/>
                <a:gd name="connsiteX371" fmla="*/ 49816 w 1004887"/>
                <a:gd name="connsiteY371" fmla="*/ 323850 h 1332642"/>
                <a:gd name="connsiteX372" fmla="*/ 45625 w 1004887"/>
                <a:gd name="connsiteY372" fmla="*/ 329184 h 1332642"/>
                <a:gd name="connsiteX373" fmla="*/ 52578 w 1004887"/>
                <a:gd name="connsiteY373" fmla="*/ 333089 h 1332642"/>
                <a:gd name="connsiteX374" fmla="*/ 51340 w 1004887"/>
                <a:gd name="connsiteY374" fmla="*/ 336423 h 1332642"/>
                <a:gd name="connsiteX375" fmla="*/ 50197 w 1004887"/>
                <a:gd name="connsiteY375" fmla="*/ 339852 h 1332642"/>
                <a:gd name="connsiteX376" fmla="*/ 48196 w 1004887"/>
                <a:gd name="connsiteY376" fmla="*/ 336899 h 1332642"/>
                <a:gd name="connsiteX377" fmla="*/ 3524 w 1004887"/>
                <a:gd name="connsiteY377" fmla="*/ 363379 h 1332642"/>
                <a:gd name="connsiteX378" fmla="*/ 0 w 1004887"/>
                <a:gd name="connsiteY378" fmla="*/ 373475 h 1332642"/>
                <a:gd name="connsiteX379" fmla="*/ 2381 w 1004887"/>
                <a:gd name="connsiteY379" fmla="*/ 379571 h 1332642"/>
                <a:gd name="connsiteX380" fmla="*/ 1333 w 1004887"/>
                <a:gd name="connsiteY380" fmla="*/ 384524 h 1332642"/>
                <a:gd name="connsiteX381" fmla="*/ 3715 w 1004887"/>
                <a:gd name="connsiteY381" fmla="*/ 390620 h 1332642"/>
                <a:gd name="connsiteX382" fmla="*/ 7525 w 1004887"/>
                <a:gd name="connsiteY382" fmla="*/ 395002 h 1332642"/>
                <a:gd name="connsiteX383" fmla="*/ 6382 w 1004887"/>
                <a:gd name="connsiteY383" fmla="*/ 398336 h 1332642"/>
                <a:gd name="connsiteX384" fmla="*/ 14669 w 1004887"/>
                <a:gd name="connsiteY384" fmla="*/ 400526 h 1332642"/>
                <a:gd name="connsiteX385" fmla="*/ 16573 w 1004887"/>
                <a:gd name="connsiteY385" fmla="*/ 403479 h 1332642"/>
                <a:gd name="connsiteX386" fmla="*/ 17621 w 1004887"/>
                <a:gd name="connsiteY386" fmla="*/ 411290 h 1332642"/>
                <a:gd name="connsiteX387" fmla="*/ 24765 w 1004887"/>
                <a:gd name="connsiteY387" fmla="*/ 429673 h 1332642"/>
                <a:gd name="connsiteX388" fmla="*/ 30099 w 1004887"/>
                <a:gd name="connsiteY388" fmla="*/ 433769 h 1332642"/>
                <a:gd name="connsiteX389" fmla="*/ 38195 w 1004887"/>
                <a:gd name="connsiteY389" fmla="*/ 434340 h 1332642"/>
                <a:gd name="connsiteX390" fmla="*/ 55626 w 1004887"/>
                <a:gd name="connsiteY390" fmla="*/ 445008 h 1332642"/>
                <a:gd name="connsiteX391" fmla="*/ 56388 w 1004887"/>
                <a:gd name="connsiteY391" fmla="*/ 451294 h 1332642"/>
                <a:gd name="connsiteX392" fmla="*/ 63341 w 1004887"/>
                <a:gd name="connsiteY392" fmla="*/ 455200 h 1332642"/>
                <a:gd name="connsiteX393" fmla="*/ 68008 w 1004887"/>
                <a:gd name="connsiteY393" fmla="*/ 454628 h 1332642"/>
                <a:gd name="connsiteX394" fmla="*/ 69818 w 1004887"/>
                <a:gd name="connsiteY394" fmla="*/ 455962 h 1332642"/>
                <a:gd name="connsiteX395" fmla="*/ 77533 w 1004887"/>
                <a:gd name="connsiteY395" fmla="*/ 453390 h 1332642"/>
                <a:gd name="connsiteX396" fmla="*/ 82487 w 1004887"/>
                <a:gd name="connsiteY396" fmla="*/ 454343 h 1332642"/>
                <a:gd name="connsiteX397" fmla="*/ 82106 w 1004887"/>
                <a:gd name="connsiteY397" fmla="*/ 464058 h 1332642"/>
                <a:gd name="connsiteX398" fmla="*/ 87058 w 1004887"/>
                <a:gd name="connsiteY398" fmla="*/ 477869 h 1332642"/>
                <a:gd name="connsiteX399" fmla="*/ 81534 w 1004887"/>
                <a:gd name="connsiteY399" fmla="*/ 485013 h 1332642"/>
                <a:gd name="connsiteX400" fmla="*/ 84106 w 1004887"/>
                <a:gd name="connsiteY400" fmla="*/ 492633 h 1332642"/>
                <a:gd name="connsiteX401" fmla="*/ 78391 w 1004887"/>
                <a:gd name="connsiteY401" fmla="*/ 498253 h 1332642"/>
                <a:gd name="connsiteX402" fmla="*/ 77248 w 1004887"/>
                <a:gd name="connsiteY402" fmla="*/ 501586 h 1332642"/>
                <a:gd name="connsiteX403" fmla="*/ 79248 w 1004887"/>
                <a:gd name="connsiteY403" fmla="*/ 504539 h 1332642"/>
                <a:gd name="connsiteX404" fmla="*/ 84106 w 1004887"/>
                <a:gd name="connsiteY404" fmla="*/ 505492 h 1332642"/>
                <a:gd name="connsiteX405" fmla="*/ 85916 w 1004887"/>
                <a:gd name="connsiteY405" fmla="*/ 506825 h 1332642"/>
                <a:gd name="connsiteX406" fmla="*/ 84773 w 1004887"/>
                <a:gd name="connsiteY406" fmla="*/ 510254 h 1332642"/>
                <a:gd name="connsiteX407" fmla="*/ 80582 w 1004887"/>
                <a:gd name="connsiteY407" fmla="*/ 515588 h 1332642"/>
                <a:gd name="connsiteX408" fmla="*/ 81439 w 1004887"/>
                <a:gd name="connsiteY408" fmla="*/ 521875 h 1332642"/>
                <a:gd name="connsiteX409" fmla="*/ 89726 w 1004887"/>
                <a:gd name="connsiteY409" fmla="*/ 524065 h 1332642"/>
                <a:gd name="connsiteX410" fmla="*/ 88297 w 1004887"/>
                <a:gd name="connsiteY410" fmla="*/ 525780 h 1332642"/>
                <a:gd name="connsiteX411" fmla="*/ 83820 w 1004887"/>
                <a:gd name="connsiteY411" fmla="*/ 527971 h 1332642"/>
                <a:gd name="connsiteX412" fmla="*/ 84392 w 1004887"/>
                <a:gd name="connsiteY412" fmla="*/ 532733 h 1332642"/>
                <a:gd name="connsiteX413" fmla="*/ 90964 w 1004887"/>
                <a:gd name="connsiteY413" fmla="*/ 533495 h 1332642"/>
                <a:gd name="connsiteX414" fmla="*/ 96869 w 1004887"/>
                <a:gd name="connsiteY414" fmla="*/ 529495 h 1332642"/>
                <a:gd name="connsiteX415" fmla="*/ 104965 w 1004887"/>
                <a:gd name="connsiteY415" fmla="*/ 530066 h 1332642"/>
                <a:gd name="connsiteX416" fmla="*/ 106870 w 1004887"/>
                <a:gd name="connsiteY416" fmla="*/ 533114 h 1332642"/>
                <a:gd name="connsiteX417" fmla="*/ 105537 w 1004887"/>
                <a:gd name="connsiteY417" fmla="*/ 534829 h 1332642"/>
                <a:gd name="connsiteX418" fmla="*/ 104108 w 1004887"/>
                <a:gd name="connsiteY418" fmla="*/ 536639 h 1332642"/>
                <a:gd name="connsiteX419" fmla="*/ 108299 w 1004887"/>
                <a:gd name="connsiteY419" fmla="*/ 544068 h 1332642"/>
                <a:gd name="connsiteX420" fmla="*/ 108585 w 1004887"/>
                <a:gd name="connsiteY420" fmla="*/ 558546 h 1332642"/>
                <a:gd name="connsiteX421" fmla="*/ 118205 w 1004887"/>
                <a:gd name="connsiteY421" fmla="*/ 571690 h 1332642"/>
                <a:gd name="connsiteX422" fmla="*/ 114110 w 1004887"/>
                <a:gd name="connsiteY422" fmla="*/ 589883 h 1332642"/>
                <a:gd name="connsiteX423" fmla="*/ 115729 w 1004887"/>
                <a:gd name="connsiteY423" fmla="*/ 602456 h 1332642"/>
                <a:gd name="connsiteX424" fmla="*/ 119348 w 1004887"/>
                <a:gd name="connsiteY424" fmla="*/ 605219 h 1332642"/>
                <a:gd name="connsiteX425" fmla="*/ 121920 w 1004887"/>
                <a:gd name="connsiteY425" fmla="*/ 612934 h 1332642"/>
                <a:gd name="connsiteX426" fmla="*/ 126016 w 1004887"/>
                <a:gd name="connsiteY426" fmla="*/ 620458 h 1332642"/>
                <a:gd name="connsiteX427" fmla="*/ 129445 w 1004887"/>
                <a:gd name="connsiteY427" fmla="*/ 621602 h 1332642"/>
                <a:gd name="connsiteX428" fmla="*/ 125254 w 1004887"/>
                <a:gd name="connsiteY428" fmla="*/ 626936 h 1332642"/>
                <a:gd name="connsiteX429" fmla="*/ 135922 w 1004887"/>
                <a:gd name="connsiteY429" fmla="*/ 635222 h 1332642"/>
                <a:gd name="connsiteX430" fmla="*/ 140875 w 1004887"/>
                <a:gd name="connsiteY430" fmla="*/ 636175 h 1332642"/>
                <a:gd name="connsiteX431" fmla="*/ 142875 w 1004887"/>
                <a:gd name="connsiteY431" fmla="*/ 639128 h 1332642"/>
                <a:gd name="connsiteX432" fmla="*/ 145828 w 1004887"/>
                <a:gd name="connsiteY432" fmla="*/ 637127 h 1332642"/>
                <a:gd name="connsiteX433" fmla="*/ 147828 w 1004887"/>
                <a:gd name="connsiteY433" fmla="*/ 640080 h 1332642"/>
                <a:gd name="connsiteX434" fmla="*/ 152495 w 1004887"/>
                <a:gd name="connsiteY434" fmla="*/ 639508 h 1332642"/>
                <a:gd name="connsiteX435" fmla="*/ 153734 w 1004887"/>
                <a:gd name="connsiteY435" fmla="*/ 636175 h 1332642"/>
                <a:gd name="connsiteX436" fmla="*/ 158210 w 1004887"/>
                <a:gd name="connsiteY436" fmla="*/ 633984 h 1332642"/>
                <a:gd name="connsiteX437" fmla="*/ 162973 w 1004887"/>
                <a:gd name="connsiteY437" fmla="*/ 646176 h 1332642"/>
                <a:gd name="connsiteX438" fmla="*/ 162020 w 1004887"/>
                <a:gd name="connsiteY438" fmla="*/ 651129 h 1332642"/>
                <a:gd name="connsiteX439" fmla="*/ 161639 w 1004887"/>
                <a:gd name="connsiteY439" fmla="*/ 660845 h 1332642"/>
                <a:gd name="connsiteX440" fmla="*/ 159544 w 1004887"/>
                <a:gd name="connsiteY440" fmla="*/ 669131 h 1332642"/>
                <a:gd name="connsiteX441" fmla="*/ 162306 w 1004887"/>
                <a:gd name="connsiteY441" fmla="*/ 678370 h 1332642"/>
                <a:gd name="connsiteX442" fmla="*/ 161735 w 1004887"/>
                <a:gd name="connsiteY442" fmla="*/ 686467 h 1332642"/>
                <a:gd name="connsiteX443" fmla="*/ 153638 w 1004887"/>
                <a:gd name="connsiteY443" fmla="*/ 698754 h 1332642"/>
                <a:gd name="connsiteX444" fmla="*/ 156782 w 1004887"/>
                <a:gd name="connsiteY444" fmla="*/ 698278 h 1332642"/>
                <a:gd name="connsiteX445" fmla="*/ 161163 w 1004887"/>
                <a:gd name="connsiteY445" fmla="*/ 707327 h 1332642"/>
                <a:gd name="connsiteX446" fmla="*/ 164497 w 1004887"/>
                <a:gd name="connsiteY446" fmla="*/ 708565 h 1332642"/>
                <a:gd name="connsiteX447" fmla="*/ 170116 w 1004887"/>
                <a:gd name="connsiteY447" fmla="*/ 727043 h 1332642"/>
                <a:gd name="connsiteX448" fmla="*/ 168974 w 1004887"/>
                <a:gd name="connsiteY448" fmla="*/ 730472 h 1332642"/>
                <a:gd name="connsiteX449" fmla="*/ 170307 w 1004887"/>
                <a:gd name="connsiteY449" fmla="*/ 741521 h 1332642"/>
                <a:gd name="connsiteX450" fmla="*/ 167831 w 1004887"/>
                <a:gd name="connsiteY450" fmla="*/ 746665 h 1332642"/>
                <a:gd name="connsiteX451" fmla="*/ 185166 w 1004887"/>
                <a:gd name="connsiteY451" fmla="*/ 757237 h 1332642"/>
                <a:gd name="connsiteX452" fmla="*/ 206312 w 1004887"/>
                <a:gd name="connsiteY452" fmla="*/ 759333 h 1332642"/>
                <a:gd name="connsiteX453" fmla="*/ 209455 w 1004887"/>
                <a:gd name="connsiteY453" fmla="*/ 771811 h 1332642"/>
                <a:gd name="connsiteX454" fmla="*/ 222885 w 1004887"/>
                <a:gd name="connsiteY454" fmla="*/ 776478 h 1332642"/>
                <a:gd name="connsiteX455" fmla="*/ 239744 w 1004887"/>
                <a:gd name="connsiteY455" fmla="*/ 795147 h 1332642"/>
                <a:gd name="connsiteX456" fmla="*/ 241554 w 1004887"/>
                <a:gd name="connsiteY456" fmla="*/ 809435 h 1332642"/>
                <a:gd name="connsiteX457" fmla="*/ 239363 w 1004887"/>
                <a:gd name="connsiteY457" fmla="*/ 817721 h 1332642"/>
                <a:gd name="connsiteX458" fmla="*/ 245745 w 1004887"/>
                <a:gd name="connsiteY458" fmla="*/ 829723 h 1332642"/>
                <a:gd name="connsiteX459" fmla="*/ 252413 w 1004887"/>
                <a:gd name="connsiteY459" fmla="*/ 832009 h 1332642"/>
                <a:gd name="connsiteX460" fmla="*/ 254603 w 1004887"/>
                <a:gd name="connsiteY460" fmla="*/ 836581 h 1332642"/>
                <a:gd name="connsiteX461" fmla="*/ 252698 w 1004887"/>
                <a:gd name="connsiteY461" fmla="*/ 846487 h 1332642"/>
                <a:gd name="connsiteX462" fmla="*/ 253079 w 1004887"/>
                <a:gd name="connsiteY462" fmla="*/ 849630 h 1332642"/>
                <a:gd name="connsiteX463" fmla="*/ 256413 w 1004887"/>
                <a:gd name="connsiteY463" fmla="*/ 850773 h 1332642"/>
                <a:gd name="connsiteX464" fmla="*/ 266700 w 1004887"/>
                <a:gd name="connsiteY464" fmla="*/ 855916 h 1332642"/>
                <a:gd name="connsiteX465" fmla="*/ 276797 w 1004887"/>
                <a:gd name="connsiteY465" fmla="*/ 859441 h 1332642"/>
                <a:gd name="connsiteX466" fmla="*/ 294323 w 1004887"/>
                <a:gd name="connsiteY466" fmla="*/ 858774 h 1332642"/>
                <a:gd name="connsiteX467" fmla="*/ 299085 w 1004887"/>
                <a:gd name="connsiteY467" fmla="*/ 858203 h 1332642"/>
                <a:gd name="connsiteX468" fmla="*/ 300419 w 1004887"/>
                <a:gd name="connsiteY468" fmla="*/ 856393 h 1332642"/>
                <a:gd name="connsiteX469" fmla="*/ 302038 w 1004887"/>
                <a:gd name="connsiteY469" fmla="*/ 856202 h 1332642"/>
                <a:gd name="connsiteX470" fmla="*/ 306229 w 1004887"/>
                <a:gd name="connsiteY470" fmla="*/ 863727 h 1332642"/>
                <a:gd name="connsiteX471" fmla="*/ 310706 w 1004887"/>
                <a:gd name="connsiteY471" fmla="*/ 861536 h 1332642"/>
                <a:gd name="connsiteX472" fmla="*/ 321374 w 1004887"/>
                <a:gd name="connsiteY472" fmla="*/ 869823 h 1332642"/>
                <a:gd name="connsiteX473" fmla="*/ 329660 w 1004887"/>
                <a:gd name="connsiteY473" fmla="*/ 871919 h 1332642"/>
                <a:gd name="connsiteX474" fmla="*/ 328517 w 1004887"/>
                <a:gd name="connsiteY474" fmla="*/ 862489 h 1332642"/>
                <a:gd name="connsiteX475" fmla="*/ 326136 w 1004887"/>
                <a:gd name="connsiteY475" fmla="*/ 856393 h 1332642"/>
                <a:gd name="connsiteX476" fmla="*/ 325279 w 1004887"/>
                <a:gd name="connsiteY476" fmla="*/ 850011 h 1332642"/>
                <a:gd name="connsiteX477" fmla="*/ 341662 w 1004887"/>
                <a:gd name="connsiteY477" fmla="*/ 852773 h 1332642"/>
                <a:gd name="connsiteX478" fmla="*/ 348615 w 1004887"/>
                <a:gd name="connsiteY478" fmla="*/ 856678 h 1332642"/>
                <a:gd name="connsiteX479" fmla="*/ 352139 w 1004887"/>
                <a:gd name="connsiteY479" fmla="*/ 859441 h 1332642"/>
                <a:gd name="connsiteX480" fmla="*/ 359855 w 1004887"/>
                <a:gd name="connsiteY480" fmla="*/ 856869 h 1332642"/>
                <a:gd name="connsiteX481" fmla="*/ 366808 w 1004887"/>
                <a:gd name="connsiteY481" fmla="*/ 860774 h 1332642"/>
                <a:gd name="connsiteX482" fmla="*/ 371475 w 1004887"/>
                <a:gd name="connsiteY482" fmla="*/ 860203 h 1332642"/>
                <a:gd name="connsiteX483" fmla="*/ 374809 w 1004887"/>
                <a:gd name="connsiteY483" fmla="*/ 861346 h 1332642"/>
                <a:gd name="connsiteX484" fmla="*/ 380429 w 1004887"/>
                <a:gd name="connsiteY484" fmla="*/ 867061 h 1332642"/>
                <a:gd name="connsiteX485" fmla="*/ 383572 w 1004887"/>
                <a:gd name="connsiteY485" fmla="*/ 866680 h 1332642"/>
                <a:gd name="connsiteX486" fmla="*/ 390430 w 1004887"/>
                <a:gd name="connsiteY486" fmla="*/ 870585 h 1332642"/>
                <a:gd name="connsiteX487" fmla="*/ 400145 w 1004887"/>
                <a:gd name="connsiteY487" fmla="*/ 883825 h 1332642"/>
                <a:gd name="connsiteX488" fmla="*/ 404336 w 1004887"/>
                <a:gd name="connsiteY488" fmla="*/ 891254 h 1332642"/>
                <a:gd name="connsiteX489" fmla="*/ 411671 w 1004887"/>
                <a:gd name="connsiteY489" fmla="*/ 898398 h 1332642"/>
                <a:gd name="connsiteX490" fmla="*/ 414052 w 1004887"/>
                <a:gd name="connsiteY490" fmla="*/ 904494 h 1332642"/>
                <a:gd name="connsiteX491" fmla="*/ 428816 w 1004887"/>
                <a:gd name="connsiteY491" fmla="*/ 907447 h 1332642"/>
                <a:gd name="connsiteX492" fmla="*/ 429673 w 1004887"/>
                <a:gd name="connsiteY492" fmla="*/ 926592 h 1332642"/>
                <a:gd name="connsiteX493" fmla="*/ 428339 w 1004887"/>
                <a:gd name="connsiteY493" fmla="*/ 928307 h 1332642"/>
                <a:gd name="connsiteX494" fmla="*/ 425958 w 1004887"/>
                <a:gd name="connsiteY494" fmla="*/ 935069 h 1332642"/>
                <a:gd name="connsiteX495" fmla="*/ 431292 w 1004887"/>
                <a:gd name="connsiteY495" fmla="*/ 952024 h 1332642"/>
                <a:gd name="connsiteX496" fmla="*/ 445960 w 1004887"/>
                <a:gd name="connsiteY496" fmla="*/ 953357 h 1332642"/>
                <a:gd name="connsiteX497" fmla="*/ 447866 w 1004887"/>
                <a:gd name="connsiteY497" fmla="*/ 956310 h 1332642"/>
                <a:gd name="connsiteX498" fmla="*/ 446913 w 1004887"/>
                <a:gd name="connsiteY498" fmla="*/ 961263 h 1332642"/>
                <a:gd name="connsiteX499" fmla="*/ 449294 w 1004887"/>
                <a:gd name="connsiteY499" fmla="*/ 967359 h 1332642"/>
                <a:gd name="connsiteX500" fmla="*/ 454438 w 1004887"/>
                <a:gd name="connsiteY500" fmla="*/ 969931 h 1332642"/>
                <a:gd name="connsiteX501" fmla="*/ 458152 w 1004887"/>
                <a:gd name="connsiteY501" fmla="*/ 974217 h 1332642"/>
                <a:gd name="connsiteX502" fmla="*/ 464534 w 1004887"/>
                <a:gd name="connsiteY502" fmla="*/ 973455 h 1332642"/>
                <a:gd name="connsiteX503" fmla="*/ 466725 w 1004887"/>
                <a:gd name="connsiteY503" fmla="*/ 977932 h 1332642"/>
                <a:gd name="connsiteX504" fmla="*/ 469106 w 1004887"/>
                <a:gd name="connsiteY504" fmla="*/ 984028 h 1332642"/>
                <a:gd name="connsiteX505" fmla="*/ 467106 w 1004887"/>
                <a:gd name="connsiteY505" fmla="*/ 993934 h 1332642"/>
                <a:gd name="connsiteX506" fmla="*/ 486537 w 1004887"/>
                <a:gd name="connsiteY506" fmla="*/ 1007555 h 1332642"/>
                <a:gd name="connsiteX507" fmla="*/ 485966 w 1004887"/>
                <a:gd name="connsiteY507" fmla="*/ 1015651 h 1332642"/>
                <a:gd name="connsiteX508" fmla="*/ 483394 w 1004887"/>
                <a:gd name="connsiteY508" fmla="*/ 1020699 h 1332642"/>
                <a:gd name="connsiteX509" fmla="*/ 483775 w 1004887"/>
                <a:gd name="connsiteY509" fmla="*/ 1023937 h 1332642"/>
                <a:gd name="connsiteX510" fmla="*/ 492824 w 1004887"/>
                <a:gd name="connsiteY510" fmla="*/ 1032320 h 1332642"/>
                <a:gd name="connsiteX511" fmla="*/ 497586 w 1004887"/>
                <a:gd name="connsiteY511" fmla="*/ 1031748 h 1332642"/>
                <a:gd name="connsiteX512" fmla="*/ 503301 w 1004887"/>
                <a:gd name="connsiteY512" fmla="*/ 1039082 h 1332642"/>
                <a:gd name="connsiteX513" fmla="*/ 505111 w 1004887"/>
                <a:gd name="connsiteY513" fmla="*/ 1040416 h 1332642"/>
                <a:gd name="connsiteX514" fmla="*/ 509302 w 1004887"/>
                <a:gd name="connsiteY514" fmla="*/ 1047940 h 1332642"/>
                <a:gd name="connsiteX515" fmla="*/ 520351 w 1004887"/>
                <a:gd name="connsiteY515" fmla="*/ 1059371 h 1332642"/>
                <a:gd name="connsiteX516" fmla="*/ 526828 w 1004887"/>
                <a:gd name="connsiteY516" fmla="*/ 1060133 h 1332642"/>
                <a:gd name="connsiteX517" fmla="*/ 528828 w 1004887"/>
                <a:gd name="connsiteY517" fmla="*/ 1063085 h 1332642"/>
                <a:gd name="connsiteX518" fmla="*/ 530066 w 1004887"/>
                <a:gd name="connsiteY518" fmla="*/ 1072515 h 1332642"/>
                <a:gd name="connsiteX519" fmla="*/ 524732 w 1004887"/>
                <a:gd name="connsiteY519" fmla="*/ 1094041 h 1332642"/>
                <a:gd name="connsiteX520" fmla="*/ 534257 w 1004887"/>
                <a:gd name="connsiteY520" fmla="*/ 1105662 h 1332642"/>
                <a:gd name="connsiteX521" fmla="*/ 550450 w 1004887"/>
                <a:gd name="connsiteY521" fmla="*/ 1119664 h 1332642"/>
                <a:gd name="connsiteX522" fmla="*/ 571024 w 1004887"/>
                <a:gd name="connsiteY522" fmla="*/ 1129856 h 1332642"/>
                <a:gd name="connsiteX523" fmla="*/ 587978 w 1004887"/>
                <a:gd name="connsiteY523" fmla="*/ 1124522 h 1332642"/>
                <a:gd name="connsiteX524" fmla="*/ 603790 w 1004887"/>
                <a:gd name="connsiteY524" fmla="*/ 1122426 h 1332642"/>
                <a:gd name="connsiteX525" fmla="*/ 608933 w 1004887"/>
                <a:gd name="connsiteY525" fmla="*/ 1124998 h 1332642"/>
                <a:gd name="connsiteX526" fmla="*/ 623792 w 1004887"/>
                <a:gd name="connsiteY526" fmla="*/ 1140809 h 1332642"/>
                <a:gd name="connsiteX527" fmla="*/ 628841 w 1004887"/>
                <a:gd name="connsiteY527" fmla="*/ 1143286 h 1332642"/>
                <a:gd name="connsiteX528" fmla="*/ 634270 w 1004887"/>
                <a:gd name="connsiteY528" fmla="*/ 1147477 h 1332642"/>
                <a:gd name="connsiteX529" fmla="*/ 634841 w 1004887"/>
                <a:gd name="connsiteY529" fmla="*/ 1152239 h 1332642"/>
                <a:gd name="connsiteX530" fmla="*/ 641509 w 1004887"/>
                <a:gd name="connsiteY530" fmla="*/ 1154525 h 1332642"/>
                <a:gd name="connsiteX531" fmla="*/ 647319 w 1004887"/>
                <a:gd name="connsiteY531" fmla="*/ 1161860 h 1332642"/>
                <a:gd name="connsiteX532" fmla="*/ 649891 w 1004887"/>
                <a:gd name="connsiteY532" fmla="*/ 1169480 h 1332642"/>
                <a:gd name="connsiteX533" fmla="*/ 655225 w 1004887"/>
                <a:gd name="connsiteY533" fmla="*/ 1173671 h 1332642"/>
                <a:gd name="connsiteX534" fmla="*/ 661130 w 1004887"/>
                <a:gd name="connsiteY534" fmla="*/ 1182529 h 1332642"/>
                <a:gd name="connsiteX535" fmla="*/ 662940 w 1004887"/>
                <a:gd name="connsiteY535" fmla="*/ 1183862 h 1332642"/>
                <a:gd name="connsiteX536" fmla="*/ 666464 w 1004887"/>
                <a:gd name="connsiteY536" fmla="*/ 1186625 h 1332642"/>
                <a:gd name="connsiteX537" fmla="*/ 671227 w 1004887"/>
                <a:gd name="connsiteY537" fmla="*/ 1198912 h 1332642"/>
                <a:gd name="connsiteX538" fmla="*/ 675989 w 1004887"/>
                <a:gd name="connsiteY538" fmla="*/ 1198245 h 1332642"/>
                <a:gd name="connsiteX539" fmla="*/ 676561 w 1004887"/>
                <a:gd name="connsiteY539" fmla="*/ 1203008 h 1332642"/>
                <a:gd name="connsiteX540" fmla="*/ 681323 w 1004887"/>
                <a:gd name="connsiteY540" fmla="*/ 1202436 h 1332642"/>
                <a:gd name="connsiteX541" fmla="*/ 684848 w 1004887"/>
                <a:gd name="connsiteY541" fmla="*/ 1205198 h 1332642"/>
                <a:gd name="connsiteX542" fmla="*/ 684086 w 1004887"/>
                <a:gd name="connsiteY542" fmla="*/ 1211675 h 1332642"/>
                <a:gd name="connsiteX543" fmla="*/ 681323 w 1004887"/>
                <a:gd name="connsiteY543" fmla="*/ 1215200 h 1332642"/>
                <a:gd name="connsiteX544" fmla="*/ 681323 w 1004887"/>
                <a:gd name="connsiteY544" fmla="*/ 1215200 h 1332642"/>
                <a:gd name="connsiteX545" fmla="*/ 685324 w 1004887"/>
                <a:gd name="connsiteY545" fmla="*/ 1221105 h 1332642"/>
                <a:gd name="connsiteX546" fmla="*/ 690467 w 1004887"/>
                <a:gd name="connsiteY546" fmla="*/ 1236536 h 1332642"/>
                <a:gd name="connsiteX547" fmla="*/ 687705 w 1004887"/>
                <a:gd name="connsiteY547" fmla="*/ 1240060 h 1332642"/>
                <a:gd name="connsiteX548" fmla="*/ 685610 w 1004887"/>
                <a:gd name="connsiteY548" fmla="*/ 1248347 h 1332642"/>
                <a:gd name="connsiteX549" fmla="*/ 691706 w 1004887"/>
                <a:gd name="connsiteY549" fmla="*/ 1258824 h 1332642"/>
                <a:gd name="connsiteX550" fmla="*/ 691896 w 1004887"/>
                <a:gd name="connsiteY550" fmla="*/ 1260348 h 1332642"/>
                <a:gd name="connsiteX551" fmla="*/ 688181 w 1004887"/>
                <a:gd name="connsiteY551" fmla="*/ 1268921 h 1332642"/>
                <a:gd name="connsiteX552" fmla="*/ 686276 w 1004887"/>
                <a:gd name="connsiteY552" fmla="*/ 1278731 h 1332642"/>
                <a:gd name="connsiteX553" fmla="*/ 703802 w 1004887"/>
                <a:gd name="connsiteY553" fmla="*/ 1290923 h 1332642"/>
                <a:gd name="connsiteX554" fmla="*/ 704469 w 1004887"/>
                <a:gd name="connsiteY554" fmla="*/ 1295686 h 1332642"/>
                <a:gd name="connsiteX555" fmla="*/ 709327 w 1004887"/>
                <a:gd name="connsiteY555" fmla="*/ 1296638 h 1332642"/>
                <a:gd name="connsiteX556" fmla="*/ 716661 w 1004887"/>
                <a:gd name="connsiteY556" fmla="*/ 1303687 h 1332642"/>
                <a:gd name="connsiteX557" fmla="*/ 728567 w 1004887"/>
                <a:gd name="connsiteY557" fmla="*/ 1308640 h 1332642"/>
                <a:gd name="connsiteX558" fmla="*/ 734282 w 1004887"/>
                <a:gd name="connsiteY558" fmla="*/ 1315974 h 1332642"/>
                <a:gd name="connsiteX559" fmla="*/ 744569 w 1004887"/>
                <a:gd name="connsiteY559" fmla="*/ 1321022 h 1332642"/>
                <a:gd name="connsiteX560" fmla="*/ 745141 w 1004887"/>
                <a:gd name="connsiteY560" fmla="*/ 1325785 h 1332642"/>
                <a:gd name="connsiteX561" fmla="*/ 753999 w 1004887"/>
                <a:gd name="connsiteY561" fmla="*/ 1332643 h 1332642"/>
                <a:gd name="connsiteX562" fmla="*/ 761905 w 1004887"/>
                <a:gd name="connsiteY562" fmla="*/ 1331690 h 1332642"/>
                <a:gd name="connsiteX563" fmla="*/ 760857 w 1004887"/>
                <a:gd name="connsiteY563" fmla="*/ 1310926 h 1332642"/>
                <a:gd name="connsiteX564" fmla="*/ 762857 w 1004887"/>
                <a:gd name="connsiteY564" fmla="*/ 1301020 h 1332642"/>
                <a:gd name="connsiteX565" fmla="*/ 767810 w 1004887"/>
                <a:gd name="connsiteY565" fmla="*/ 1302068 h 1332642"/>
                <a:gd name="connsiteX566" fmla="*/ 775049 w 1004887"/>
                <a:gd name="connsiteY566" fmla="*/ 1296257 h 1332642"/>
                <a:gd name="connsiteX567" fmla="*/ 779812 w 1004887"/>
                <a:gd name="connsiteY567" fmla="*/ 1295686 h 1332642"/>
                <a:gd name="connsiteX568" fmla="*/ 788861 w 1004887"/>
                <a:gd name="connsiteY568" fmla="*/ 1304163 h 1332642"/>
                <a:gd name="connsiteX569" fmla="*/ 793623 w 1004887"/>
                <a:gd name="connsiteY569" fmla="*/ 1303591 h 1332642"/>
                <a:gd name="connsiteX570" fmla="*/ 792671 w 1004887"/>
                <a:gd name="connsiteY570" fmla="*/ 1295686 h 1332642"/>
                <a:gd name="connsiteX571" fmla="*/ 793623 w 1004887"/>
                <a:gd name="connsiteY571" fmla="*/ 1290733 h 1332642"/>
                <a:gd name="connsiteX572" fmla="*/ 786860 w 1004887"/>
                <a:gd name="connsiteY572" fmla="*/ 1288352 h 1332642"/>
                <a:gd name="connsiteX573" fmla="*/ 782955 w 1004887"/>
                <a:gd name="connsiteY573" fmla="*/ 1282446 h 1332642"/>
                <a:gd name="connsiteX574" fmla="*/ 785051 w 1004887"/>
                <a:gd name="connsiteY574" fmla="*/ 1274159 h 1332642"/>
                <a:gd name="connsiteX575" fmla="*/ 784479 w 1004887"/>
                <a:gd name="connsiteY575" fmla="*/ 1269397 h 1332642"/>
                <a:gd name="connsiteX576" fmla="*/ 789813 w 1004887"/>
                <a:gd name="connsiteY576" fmla="*/ 1260729 h 1332642"/>
                <a:gd name="connsiteX577" fmla="*/ 789146 w 1004887"/>
                <a:gd name="connsiteY577" fmla="*/ 1255966 h 1332642"/>
                <a:gd name="connsiteX578" fmla="*/ 790004 w 1004887"/>
                <a:gd name="connsiteY578" fmla="*/ 1249490 h 1332642"/>
                <a:gd name="connsiteX579" fmla="*/ 788003 w 1004887"/>
                <a:gd name="connsiteY579" fmla="*/ 1246537 h 1332642"/>
                <a:gd name="connsiteX580" fmla="*/ 796195 w 1004887"/>
                <a:gd name="connsiteY580" fmla="*/ 1235869 h 1332642"/>
                <a:gd name="connsiteX581" fmla="*/ 798005 w 1004887"/>
                <a:gd name="connsiteY581" fmla="*/ 1224439 h 1332642"/>
                <a:gd name="connsiteX582" fmla="*/ 807625 w 1004887"/>
                <a:gd name="connsiteY582" fmla="*/ 1211961 h 1332642"/>
                <a:gd name="connsiteX583" fmla="*/ 807244 w 1004887"/>
                <a:gd name="connsiteY583" fmla="*/ 1208818 h 1332642"/>
                <a:gd name="connsiteX584" fmla="*/ 808768 w 1004887"/>
                <a:gd name="connsiteY584" fmla="*/ 1208627 h 1332642"/>
                <a:gd name="connsiteX585" fmla="*/ 810768 w 1004887"/>
                <a:gd name="connsiteY585" fmla="*/ 1211580 h 1332642"/>
                <a:gd name="connsiteX586" fmla="*/ 814102 w 1004887"/>
                <a:gd name="connsiteY586" fmla="*/ 1212723 h 1332642"/>
                <a:gd name="connsiteX587" fmla="*/ 817912 w 1004887"/>
                <a:gd name="connsiteY587" fmla="*/ 1217105 h 1332642"/>
                <a:gd name="connsiteX588" fmla="*/ 830675 w 1004887"/>
                <a:gd name="connsiteY588" fmla="*/ 1204246 h 1332642"/>
                <a:gd name="connsiteX589" fmla="*/ 832866 w 1004887"/>
                <a:gd name="connsiteY589" fmla="*/ 1195959 h 1332642"/>
                <a:gd name="connsiteX590" fmla="*/ 834009 w 1004887"/>
                <a:gd name="connsiteY590" fmla="*/ 1192530 h 1332642"/>
                <a:gd name="connsiteX591" fmla="*/ 833247 w 1004887"/>
                <a:gd name="connsiteY591" fmla="*/ 1186244 h 1332642"/>
                <a:gd name="connsiteX592" fmla="*/ 825341 w 1004887"/>
                <a:gd name="connsiteY592" fmla="*/ 1174433 h 1332642"/>
                <a:gd name="connsiteX593" fmla="*/ 827437 w 1004887"/>
                <a:gd name="connsiteY593" fmla="*/ 1166146 h 1332642"/>
                <a:gd name="connsiteX594" fmla="*/ 825437 w 1004887"/>
                <a:gd name="connsiteY594" fmla="*/ 1163193 h 1332642"/>
                <a:gd name="connsiteX595" fmla="*/ 818388 w 1004887"/>
                <a:gd name="connsiteY595" fmla="*/ 1157669 h 1332642"/>
                <a:gd name="connsiteX596" fmla="*/ 815531 w 1004887"/>
                <a:gd name="connsiteY596" fmla="*/ 1148429 h 1332642"/>
                <a:gd name="connsiteX597" fmla="*/ 815340 w 1004887"/>
                <a:gd name="connsiteY597" fmla="*/ 1146810 h 1332642"/>
                <a:gd name="connsiteX598" fmla="*/ 826199 w 1004887"/>
                <a:gd name="connsiteY598" fmla="*/ 1143857 h 1332642"/>
                <a:gd name="connsiteX599" fmla="*/ 827342 w 1004887"/>
                <a:gd name="connsiteY599" fmla="*/ 1140524 h 1332642"/>
                <a:gd name="connsiteX600" fmla="*/ 825818 w 1004887"/>
                <a:gd name="connsiteY600" fmla="*/ 1127855 h 1332642"/>
                <a:gd name="connsiteX601" fmla="*/ 822389 w 1004887"/>
                <a:gd name="connsiteY601" fmla="*/ 1126712 h 1332642"/>
                <a:gd name="connsiteX602" fmla="*/ 823436 w 1004887"/>
                <a:gd name="connsiteY602" fmla="*/ 1121759 h 1332642"/>
                <a:gd name="connsiteX603" fmla="*/ 824579 w 1004887"/>
                <a:gd name="connsiteY603" fmla="*/ 1118426 h 1332642"/>
                <a:gd name="connsiteX604" fmla="*/ 824389 w 1004887"/>
                <a:gd name="connsiteY604" fmla="*/ 1116806 h 1332642"/>
                <a:gd name="connsiteX605" fmla="*/ 826675 w 1004887"/>
                <a:gd name="connsiteY605" fmla="*/ 1110139 h 1332642"/>
                <a:gd name="connsiteX606" fmla="*/ 829723 w 1004887"/>
                <a:gd name="connsiteY606" fmla="*/ 1108139 h 1332642"/>
                <a:gd name="connsiteX607" fmla="*/ 831056 w 1004887"/>
                <a:gd name="connsiteY607" fmla="*/ 1106329 h 1332642"/>
                <a:gd name="connsiteX608" fmla="*/ 829056 w 1004887"/>
                <a:gd name="connsiteY608" fmla="*/ 1103376 h 1332642"/>
                <a:gd name="connsiteX609" fmla="*/ 822389 w 1004887"/>
                <a:gd name="connsiteY609" fmla="*/ 1100995 h 1332642"/>
                <a:gd name="connsiteX610" fmla="*/ 822198 w 1004887"/>
                <a:gd name="connsiteY610" fmla="*/ 1099471 h 1332642"/>
                <a:gd name="connsiteX611" fmla="*/ 823532 w 1004887"/>
                <a:gd name="connsiteY611" fmla="*/ 1097661 h 1332642"/>
                <a:gd name="connsiteX612" fmla="*/ 836581 w 1004887"/>
                <a:gd name="connsiteY612" fmla="*/ 1099185 h 1332642"/>
                <a:gd name="connsiteX613" fmla="*/ 836771 w 1004887"/>
                <a:gd name="connsiteY613" fmla="*/ 1100804 h 1332642"/>
                <a:gd name="connsiteX614" fmla="*/ 833819 w 1004887"/>
                <a:gd name="connsiteY614" fmla="*/ 1102805 h 1332642"/>
                <a:gd name="connsiteX615" fmla="*/ 842296 w 1004887"/>
                <a:gd name="connsiteY615" fmla="*/ 1106519 h 1332642"/>
                <a:gd name="connsiteX616" fmla="*/ 847058 w 1004887"/>
                <a:gd name="connsiteY616" fmla="*/ 1105948 h 1332642"/>
                <a:gd name="connsiteX617" fmla="*/ 849059 w 1004887"/>
                <a:gd name="connsiteY617" fmla="*/ 1108901 h 1332642"/>
                <a:gd name="connsiteX618" fmla="*/ 850964 w 1004887"/>
                <a:gd name="connsiteY618" fmla="*/ 1111853 h 1332642"/>
                <a:gd name="connsiteX619" fmla="*/ 861060 w 1004887"/>
                <a:gd name="connsiteY619" fmla="*/ 1102519 h 1332642"/>
                <a:gd name="connsiteX620" fmla="*/ 862013 w 1004887"/>
                <a:gd name="connsiteY620" fmla="*/ 1097566 h 1332642"/>
                <a:gd name="connsiteX621" fmla="*/ 866966 w 1004887"/>
                <a:gd name="connsiteY621" fmla="*/ 1098518 h 1332642"/>
                <a:gd name="connsiteX622" fmla="*/ 869918 w 1004887"/>
                <a:gd name="connsiteY622" fmla="*/ 1096613 h 1332642"/>
                <a:gd name="connsiteX623" fmla="*/ 869537 w 1004887"/>
                <a:gd name="connsiteY623" fmla="*/ 1093470 h 1332642"/>
                <a:gd name="connsiteX624" fmla="*/ 872490 w 1004887"/>
                <a:gd name="connsiteY624" fmla="*/ 1091470 h 1332642"/>
                <a:gd name="connsiteX625" fmla="*/ 871823 w 1004887"/>
                <a:gd name="connsiteY625" fmla="*/ 1086707 h 1332642"/>
                <a:gd name="connsiteX626" fmla="*/ 879920 w 1004887"/>
                <a:gd name="connsiteY626" fmla="*/ 1087279 h 1332642"/>
                <a:gd name="connsiteX627" fmla="*/ 884301 w 1004887"/>
                <a:gd name="connsiteY627" fmla="*/ 1083564 h 1332642"/>
                <a:gd name="connsiteX628" fmla="*/ 886016 w 1004887"/>
                <a:gd name="connsiteY628" fmla="*/ 1084898 h 1332642"/>
                <a:gd name="connsiteX629" fmla="*/ 888778 w 1004887"/>
                <a:gd name="connsiteY629" fmla="*/ 1081373 h 1332642"/>
                <a:gd name="connsiteX630" fmla="*/ 892397 w 1004887"/>
                <a:gd name="connsiteY630" fmla="*/ 1084136 h 1332642"/>
                <a:gd name="connsiteX631" fmla="*/ 893921 w 1004887"/>
                <a:gd name="connsiteY631" fmla="*/ 1083850 h 1332642"/>
                <a:gd name="connsiteX632" fmla="*/ 894588 w 1004887"/>
                <a:gd name="connsiteY632" fmla="*/ 1088612 h 1332642"/>
                <a:gd name="connsiteX633" fmla="*/ 895731 w 1004887"/>
                <a:gd name="connsiteY633" fmla="*/ 1085279 h 1332642"/>
                <a:gd name="connsiteX634" fmla="*/ 898493 w 1004887"/>
                <a:gd name="connsiteY634" fmla="*/ 1081754 h 1332642"/>
                <a:gd name="connsiteX635" fmla="*/ 898303 w 1004887"/>
                <a:gd name="connsiteY635" fmla="*/ 1080135 h 1332642"/>
                <a:gd name="connsiteX636" fmla="*/ 895350 w 1004887"/>
                <a:gd name="connsiteY636" fmla="*/ 1082135 h 1332642"/>
                <a:gd name="connsiteX637" fmla="*/ 895160 w 1004887"/>
                <a:gd name="connsiteY637" fmla="*/ 1080516 h 1332642"/>
                <a:gd name="connsiteX638" fmla="*/ 893731 w 1004887"/>
                <a:gd name="connsiteY638" fmla="*/ 1082326 h 1332642"/>
                <a:gd name="connsiteX639" fmla="*/ 891731 w 1004887"/>
                <a:gd name="connsiteY639" fmla="*/ 1079373 h 1332642"/>
                <a:gd name="connsiteX640" fmla="*/ 896302 w 1004887"/>
                <a:gd name="connsiteY640" fmla="*/ 1077182 h 1332642"/>
                <a:gd name="connsiteX641" fmla="*/ 896112 w 1004887"/>
                <a:gd name="connsiteY641" fmla="*/ 1075563 h 1332642"/>
                <a:gd name="connsiteX642" fmla="*/ 895445 w 1004887"/>
                <a:gd name="connsiteY642" fmla="*/ 1058037 h 1332642"/>
                <a:gd name="connsiteX643" fmla="*/ 902303 w 1004887"/>
                <a:gd name="connsiteY643" fmla="*/ 1049179 h 1332642"/>
                <a:gd name="connsiteX644" fmla="*/ 905542 w 1004887"/>
                <a:gd name="connsiteY644" fmla="*/ 1048703 h 1332642"/>
                <a:gd name="connsiteX645" fmla="*/ 910685 w 1004887"/>
                <a:gd name="connsiteY645" fmla="*/ 1051274 h 1332642"/>
                <a:gd name="connsiteX646" fmla="*/ 914972 w 1004887"/>
                <a:gd name="connsiteY646" fmla="*/ 1047560 h 1332642"/>
                <a:gd name="connsiteX647" fmla="*/ 912400 w 1004887"/>
                <a:gd name="connsiteY647" fmla="*/ 1039844 h 1332642"/>
                <a:gd name="connsiteX648" fmla="*/ 911352 w 1004887"/>
                <a:gd name="connsiteY648" fmla="*/ 1031939 h 1332642"/>
                <a:gd name="connsiteX649" fmla="*/ 908018 w 1004887"/>
                <a:gd name="connsiteY649" fmla="*/ 1030795 h 1332642"/>
                <a:gd name="connsiteX650" fmla="*/ 909161 w 1004887"/>
                <a:gd name="connsiteY650" fmla="*/ 1027462 h 1332642"/>
                <a:gd name="connsiteX651" fmla="*/ 907637 w 1004887"/>
                <a:gd name="connsiteY651" fmla="*/ 1027652 h 1332642"/>
                <a:gd name="connsiteX652" fmla="*/ 899351 w 1004887"/>
                <a:gd name="connsiteY652" fmla="*/ 1025461 h 1332642"/>
                <a:gd name="connsiteX653" fmla="*/ 899732 w 1004887"/>
                <a:gd name="connsiteY653" fmla="*/ 1015841 h 1332642"/>
                <a:gd name="connsiteX654" fmla="*/ 896969 w 1004887"/>
                <a:gd name="connsiteY654" fmla="*/ 1019365 h 1332642"/>
                <a:gd name="connsiteX655" fmla="*/ 896112 w 1004887"/>
                <a:gd name="connsiteY655" fmla="*/ 1013079 h 1332642"/>
                <a:gd name="connsiteX656" fmla="*/ 897731 w 1004887"/>
                <a:gd name="connsiteY656" fmla="*/ 1012889 h 1332642"/>
                <a:gd name="connsiteX657" fmla="*/ 894588 w 1004887"/>
                <a:gd name="connsiteY657" fmla="*/ 1013270 h 1332642"/>
                <a:gd name="connsiteX658" fmla="*/ 893921 w 1004887"/>
                <a:gd name="connsiteY658" fmla="*/ 1008507 h 1332642"/>
                <a:gd name="connsiteX659" fmla="*/ 895350 w 1004887"/>
                <a:gd name="connsiteY659" fmla="*/ 1006697 h 1332642"/>
                <a:gd name="connsiteX660" fmla="*/ 898684 w 1004887"/>
                <a:gd name="connsiteY660" fmla="*/ 1007936 h 1332642"/>
                <a:gd name="connsiteX661" fmla="*/ 898303 w 1004887"/>
                <a:gd name="connsiteY661" fmla="*/ 1004792 h 1332642"/>
                <a:gd name="connsiteX662" fmla="*/ 896493 w 1004887"/>
                <a:gd name="connsiteY662" fmla="*/ 1003364 h 1332642"/>
                <a:gd name="connsiteX663" fmla="*/ 902208 w 1004887"/>
                <a:gd name="connsiteY663" fmla="*/ 997839 h 1332642"/>
                <a:gd name="connsiteX664" fmla="*/ 908971 w 1004887"/>
                <a:gd name="connsiteY664" fmla="*/ 1000220 h 1332642"/>
                <a:gd name="connsiteX665" fmla="*/ 908114 w 1004887"/>
                <a:gd name="connsiteY665" fmla="*/ 993839 h 1332642"/>
                <a:gd name="connsiteX666" fmla="*/ 906399 w 1004887"/>
                <a:gd name="connsiteY666" fmla="*/ 992505 h 1332642"/>
                <a:gd name="connsiteX667" fmla="*/ 907352 w 1004887"/>
                <a:gd name="connsiteY667" fmla="*/ 987552 h 1332642"/>
                <a:gd name="connsiteX668" fmla="*/ 912495 w 1004887"/>
                <a:gd name="connsiteY668" fmla="*/ 990124 h 1332642"/>
                <a:gd name="connsiteX669" fmla="*/ 912686 w 1004887"/>
                <a:gd name="connsiteY669" fmla="*/ 991743 h 1332642"/>
                <a:gd name="connsiteX670" fmla="*/ 919163 w 1004887"/>
                <a:gd name="connsiteY670" fmla="*/ 992505 h 1332642"/>
                <a:gd name="connsiteX671" fmla="*/ 920782 w 1004887"/>
                <a:gd name="connsiteY671" fmla="*/ 992315 h 1332642"/>
                <a:gd name="connsiteX672" fmla="*/ 916781 w 1004887"/>
                <a:gd name="connsiteY672" fmla="*/ 986314 h 1332642"/>
                <a:gd name="connsiteX673" fmla="*/ 916591 w 1004887"/>
                <a:gd name="connsiteY673" fmla="*/ 984790 h 1332642"/>
                <a:gd name="connsiteX674" fmla="*/ 923639 w 1004887"/>
                <a:gd name="connsiteY674" fmla="*/ 977456 h 1332642"/>
                <a:gd name="connsiteX675" fmla="*/ 926878 w 1004887"/>
                <a:gd name="connsiteY675" fmla="*/ 977074 h 1332642"/>
                <a:gd name="connsiteX676" fmla="*/ 924877 w 1004887"/>
                <a:gd name="connsiteY676" fmla="*/ 974122 h 1332642"/>
                <a:gd name="connsiteX677" fmla="*/ 921925 w 1004887"/>
                <a:gd name="connsiteY677" fmla="*/ 976122 h 1332642"/>
                <a:gd name="connsiteX678" fmla="*/ 912209 w 1004887"/>
                <a:gd name="connsiteY678" fmla="*/ 975741 h 1332642"/>
                <a:gd name="connsiteX679" fmla="*/ 910495 w 1004887"/>
                <a:gd name="connsiteY679" fmla="*/ 974312 h 1332642"/>
                <a:gd name="connsiteX680" fmla="*/ 907256 w 1004887"/>
                <a:gd name="connsiteY680" fmla="*/ 974789 h 1332642"/>
                <a:gd name="connsiteX681" fmla="*/ 904304 w 1004887"/>
                <a:gd name="connsiteY681" fmla="*/ 963930 h 1332642"/>
                <a:gd name="connsiteX682" fmla="*/ 904685 w 1004887"/>
                <a:gd name="connsiteY682" fmla="*/ 954215 h 1332642"/>
                <a:gd name="connsiteX683" fmla="*/ 901160 w 1004887"/>
                <a:gd name="connsiteY683" fmla="*/ 951452 h 1332642"/>
                <a:gd name="connsiteX684" fmla="*/ 902494 w 1004887"/>
                <a:gd name="connsiteY684" fmla="*/ 949738 h 1332642"/>
                <a:gd name="connsiteX685" fmla="*/ 909066 w 1004887"/>
                <a:gd name="connsiteY685" fmla="*/ 950500 h 1332642"/>
                <a:gd name="connsiteX686" fmla="*/ 913543 w 1004887"/>
                <a:gd name="connsiteY686" fmla="*/ 948309 h 1332642"/>
                <a:gd name="connsiteX687" fmla="*/ 917353 w 1004887"/>
                <a:gd name="connsiteY687" fmla="*/ 952595 h 1332642"/>
                <a:gd name="connsiteX688" fmla="*/ 920496 w 1004887"/>
                <a:gd name="connsiteY688" fmla="*/ 952214 h 1332642"/>
                <a:gd name="connsiteX689" fmla="*/ 923639 w 1004887"/>
                <a:gd name="connsiteY689" fmla="*/ 951833 h 1332642"/>
                <a:gd name="connsiteX690" fmla="*/ 924401 w 1004887"/>
                <a:gd name="connsiteY690" fmla="*/ 945261 h 1332642"/>
                <a:gd name="connsiteX691" fmla="*/ 927354 w 1004887"/>
                <a:gd name="connsiteY691" fmla="*/ 943356 h 1332642"/>
                <a:gd name="connsiteX692" fmla="*/ 928116 w 1004887"/>
                <a:gd name="connsiteY692" fmla="*/ 936784 h 1332642"/>
                <a:gd name="connsiteX693" fmla="*/ 924782 w 1004887"/>
                <a:gd name="connsiteY693" fmla="*/ 935641 h 1332642"/>
                <a:gd name="connsiteX694" fmla="*/ 921639 w 1004887"/>
                <a:gd name="connsiteY694" fmla="*/ 936022 h 1332642"/>
                <a:gd name="connsiteX695" fmla="*/ 917448 w 1004887"/>
                <a:gd name="connsiteY695" fmla="*/ 928497 h 1332642"/>
                <a:gd name="connsiteX696" fmla="*/ 919067 w 1004887"/>
                <a:gd name="connsiteY696" fmla="*/ 928307 h 1332642"/>
                <a:gd name="connsiteX697" fmla="*/ 922020 w 1004887"/>
                <a:gd name="connsiteY697" fmla="*/ 926402 h 1332642"/>
                <a:gd name="connsiteX698" fmla="*/ 918972 w 1004887"/>
                <a:gd name="connsiteY698" fmla="*/ 915543 h 1332642"/>
                <a:gd name="connsiteX699" fmla="*/ 927449 w 1004887"/>
                <a:gd name="connsiteY699" fmla="*/ 919258 h 1332642"/>
                <a:gd name="connsiteX700" fmla="*/ 929450 w 1004887"/>
                <a:gd name="connsiteY700" fmla="*/ 909352 h 1332642"/>
                <a:gd name="connsiteX701" fmla="*/ 934022 w 1004887"/>
                <a:gd name="connsiteY701" fmla="*/ 907161 h 1332642"/>
                <a:gd name="connsiteX702" fmla="*/ 937165 w 1004887"/>
                <a:gd name="connsiteY702" fmla="*/ 906780 h 1332642"/>
                <a:gd name="connsiteX703" fmla="*/ 938117 w 1004887"/>
                <a:gd name="connsiteY703" fmla="*/ 901827 h 1332642"/>
                <a:gd name="connsiteX704" fmla="*/ 942594 w 1004887"/>
                <a:gd name="connsiteY704" fmla="*/ 899636 h 1332642"/>
                <a:gd name="connsiteX705" fmla="*/ 950976 w 1004887"/>
                <a:gd name="connsiteY705" fmla="*/ 901827 h 1332642"/>
                <a:gd name="connsiteX706" fmla="*/ 952310 w 1004887"/>
                <a:gd name="connsiteY706" fmla="*/ 900017 h 1332642"/>
                <a:gd name="connsiteX707" fmla="*/ 953452 w 1004887"/>
                <a:gd name="connsiteY707" fmla="*/ 896683 h 1332642"/>
                <a:gd name="connsiteX708" fmla="*/ 950881 w 1004887"/>
                <a:gd name="connsiteY708" fmla="*/ 888968 h 1332642"/>
                <a:gd name="connsiteX709" fmla="*/ 954024 w 1004887"/>
                <a:gd name="connsiteY709" fmla="*/ 888587 h 1332642"/>
                <a:gd name="connsiteX710" fmla="*/ 952119 w 1004887"/>
                <a:gd name="connsiteY710" fmla="*/ 885635 h 1332642"/>
                <a:gd name="connsiteX711" fmla="*/ 954405 w 1004887"/>
                <a:gd name="connsiteY711" fmla="*/ 878967 h 1332642"/>
                <a:gd name="connsiteX712" fmla="*/ 958120 w 1004887"/>
                <a:gd name="connsiteY712" fmla="*/ 870395 h 1332642"/>
                <a:gd name="connsiteX713" fmla="*/ 966026 w 1004887"/>
                <a:gd name="connsiteY713" fmla="*/ 869442 h 1332642"/>
                <a:gd name="connsiteX714" fmla="*/ 964311 w 1004887"/>
                <a:gd name="connsiteY714" fmla="*/ 868013 h 1332642"/>
                <a:gd name="connsiteX715" fmla="*/ 963263 w 1004887"/>
                <a:gd name="connsiteY715" fmla="*/ 860203 h 1332642"/>
                <a:gd name="connsiteX716" fmla="*/ 960692 w 1004887"/>
                <a:gd name="connsiteY716" fmla="*/ 865251 h 1332642"/>
                <a:gd name="connsiteX717" fmla="*/ 958977 w 1004887"/>
                <a:gd name="connsiteY717" fmla="*/ 863918 h 1332642"/>
                <a:gd name="connsiteX718" fmla="*/ 963073 w 1004887"/>
                <a:gd name="connsiteY718" fmla="*/ 858583 h 1332642"/>
                <a:gd name="connsiteX719" fmla="*/ 964597 w 1004887"/>
                <a:gd name="connsiteY719" fmla="*/ 858393 h 1332642"/>
                <a:gd name="connsiteX720" fmla="*/ 964216 w 1004887"/>
                <a:gd name="connsiteY720" fmla="*/ 855250 h 1332642"/>
                <a:gd name="connsiteX721" fmla="*/ 967550 w 1004887"/>
                <a:gd name="connsiteY721" fmla="*/ 856393 h 1332642"/>
                <a:gd name="connsiteX722" fmla="*/ 965645 w 1004887"/>
                <a:gd name="connsiteY722" fmla="*/ 853440 h 1332642"/>
                <a:gd name="connsiteX723" fmla="*/ 966407 w 1004887"/>
                <a:gd name="connsiteY723" fmla="*/ 846963 h 1332642"/>
                <a:gd name="connsiteX724" fmla="*/ 963073 w 1004887"/>
                <a:gd name="connsiteY724" fmla="*/ 845725 h 1332642"/>
                <a:gd name="connsiteX725" fmla="*/ 964216 w 1004887"/>
                <a:gd name="connsiteY725" fmla="*/ 842391 h 1332642"/>
                <a:gd name="connsiteX726" fmla="*/ 961263 w 1004887"/>
                <a:gd name="connsiteY726" fmla="*/ 844391 h 1332642"/>
                <a:gd name="connsiteX727" fmla="*/ 957453 w 1004887"/>
                <a:gd name="connsiteY727" fmla="*/ 840010 h 1332642"/>
                <a:gd name="connsiteX728" fmla="*/ 954310 w 1004887"/>
                <a:gd name="connsiteY728" fmla="*/ 840486 h 1332642"/>
                <a:gd name="connsiteX729" fmla="*/ 954119 w 1004887"/>
                <a:gd name="connsiteY729" fmla="*/ 838867 h 1332642"/>
                <a:gd name="connsiteX730" fmla="*/ 957263 w 1004887"/>
                <a:gd name="connsiteY730" fmla="*/ 838486 h 1332642"/>
                <a:gd name="connsiteX731" fmla="*/ 953929 w 1004887"/>
                <a:gd name="connsiteY731" fmla="*/ 837343 h 1332642"/>
                <a:gd name="connsiteX732" fmla="*/ 956882 w 1004887"/>
                <a:gd name="connsiteY732" fmla="*/ 835343 h 1332642"/>
                <a:gd name="connsiteX733" fmla="*/ 954881 w 1004887"/>
                <a:gd name="connsiteY733" fmla="*/ 832390 h 1332642"/>
                <a:gd name="connsiteX734" fmla="*/ 949357 w 1004887"/>
                <a:gd name="connsiteY734" fmla="*/ 826675 h 1332642"/>
                <a:gd name="connsiteX735" fmla="*/ 950309 w 1004887"/>
                <a:gd name="connsiteY735" fmla="*/ 821722 h 1332642"/>
                <a:gd name="connsiteX736" fmla="*/ 946404 w 1004887"/>
                <a:gd name="connsiteY736" fmla="*/ 815816 h 1332642"/>
                <a:gd name="connsiteX737" fmla="*/ 947738 w 1004887"/>
                <a:gd name="connsiteY737" fmla="*/ 814007 h 1332642"/>
                <a:gd name="connsiteX738" fmla="*/ 946214 w 1004887"/>
                <a:gd name="connsiteY738" fmla="*/ 814197 h 1332642"/>
                <a:gd name="connsiteX739" fmla="*/ 947547 w 1004887"/>
                <a:gd name="connsiteY739" fmla="*/ 812482 h 1332642"/>
                <a:gd name="connsiteX740" fmla="*/ 946023 w 1004887"/>
                <a:gd name="connsiteY740" fmla="*/ 812673 h 1332642"/>
                <a:gd name="connsiteX741" fmla="*/ 945547 w 1004887"/>
                <a:gd name="connsiteY741" fmla="*/ 809530 h 1332642"/>
                <a:gd name="connsiteX742" fmla="*/ 947166 w 1004887"/>
                <a:gd name="connsiteY742" fmla="*/ 809244 h 1332642"/>
                <a:gd name="connsiteX743" fmla="*/ 951071 w 1004887"/>
                <a:gd name="connsiteY743" fmla="*/ 802386 h 1332642"/>
                <a:gd name="connsiteX744" fmla="*/ 949357 w 1004887"/>
                <a:gd name="connsiteY744" fmla="*/ 800957 h 1332642"/>
                <a:gd name="connsiteX745" fmla="*/ 948500 w 1004887"/>
                <a:gd name="connsiteY745" fmla="*/ 794671 h 1332642"/>
                <a:gd name="connsiteX746" fmla="*/ 951071 w 1004887"/>
                <a:gd name="connsiteY746" fmla="*/ 789527 h 1332642"/>
                <a:gd name="connsiteX747" fmla="*/ 949262 w 1004887"/>
                <a:gd name="connsiteY747" fmla="*/ 788194 h 1332642"/>
                <a:gd name="connsiteX748" fmla="*/ 952405 w 1004887"/>
                <a:gd name="connsiteY748" fmla="*/ 787813 h 1332642"/>
                <a:gd name="connsiteX749" fmla="*/ 956405 w 1004887"/>
                <a:gd name="connsiteY749" fmla="*/ 780860 h 1332642"/>
                <a:gd name="connsiteX750" fmla="*/ 957929 w 1004887"/>
                <a:gd name="connsiteY750" fmla="*/ 780669 h 1332642"/>
                <a:gd name="connsiteX751" fmla="*/ 956120 w 1004887"/>
                <a:gd name="connsiteY751" fmla="*/ 779240 h 1332642"/>
                <a:gd name="connsiteX752" fmla="*/ 958691 w 1004887"/>
                <a:gd name="connsiteY752" fmla="*/ 774097 h 1332642"/>
                <a:gd name="connsiteX753" fmla="*/ 965264 w 1004887"/>
                <a:gd name="connsiteY753" fmla="*/ 774954 h 1332642"/>
                <a:gd name="connsiteX754" fmla="*/ 968407 w 1004887"/>
                <a:gd name="connsiteY754" fmla="*/ 774478 h 1332642"/>
                <a:gd name="connsiteX755" fmla="*/ 968216 w 1004887"/>
                <a:gd name="connsiteY755" fmla="*/ 772954 h 1332642"/>
                <a:gd name="connsiteX756" fmla="*/ 960120 w 1004887"/>
                <a:gd name="connsiteY756" fmla="*/ 772382 h 1332642"/>
                <a:gd name="connsiteX757" fmla="*/ 958120 w 1004887"/>
                <a:gd name="connsiteY757" fmla="*/ 769430 h 1332642"/>
                <a:gd name="connsiteX758" fmla="*/ 961263 w 1004887"/>
                <a:gd name="connsiteY758" fmla="*/ 769049 h 1332642"/>
                <a:gd name="connsiteX759" fmla="*/ 961073 w 1004887"/>
                <a:gd name="connsiteY759" fmla="*/ 767429 h 1332642"/>
                <a:gd name="connsiteX760" fmla="*/ 957929 w 1004887"/>
                <a:gd name="connsiteY760" fmla="*/ 767810 h 1332642"/>
                <a:gd name="connsiteX761" fmla="*/ 957548 w 1004887"/>
                <a:gd name="connsiteY761" fmla="*/ 764667 h 1332642"/>
                <a:gd name="connsiteX762" fmla="*/ 955739 w 1004887"/>
                <a:gd name="connsiteY762" fmla="*/ 763333 h 1332642"/>
                <a:gd name="connsiteX763" fmla="*/ 955358 w 1004887"/>
                <a:gd name="connsiteY763" fmla="*/ 760190 h 1332642"/>
                <a:gd name="connsiteX764" fmla="*/ 953738 w 1004887"/>
                <a:gd name="connsiteY764" fmla="*/ 760381 h 1332642"/>
                <a:gd name="connsiteX765" fmla="*/ 951548 w 1004887"/>
                <a:gd name="connsiteY765" fmla="*/ 755809 h 1332642"/>
                <a:gd name="connsiteX766" fmla="*/ 949833 w 1004887"/>
                <a:gd name="connsiteY766" fmla="*/ 754380 h 1332642"/>
                <a:gd name="connsiteX767" fmla="*/ 950976 w 1004887"/>
                <a:gd name="connsiteY767" fmla="*/ 751046 h 1332642"/>
                <a:gd name="connsiteX768" fmla="*/ 950595 w 1004887"/>
                <a:gd name="connsiteY768" fmla="*/ 747903 h 1332642"/>
                <a:gd name="connsiteX769" fmla="*/ 951929 w 1004887"/>
                <a:gd name="connsiteY769" fmla="*/ 746093 h 1332642"/>
                <a:gd name="connsiteX770" fmla="*/ 948595 w 1004887"/>
                <a:gd name="connsiteY770" fmla="*/ 744950 h 1332642"/>
                <a:gd name="connsiteX771" fmla="*/ 949547 w 1004887"/>
                <a:gd name="connsiteY771" fmla="*/ 739997 h 1332642"/>
                <a:gd name="connsiteX772" fmla="*/ 952500 w 1004887"/>
                <a:gd name="connsiteY772" fmla="*/ 738092 h 1332642"/>
                <a:gd name="connsiteX773" fmla="*/ 950119 w 1004887"/>
                <a:gd name="connsiteY773" fmla="*/ 731901 h 1332642"/>
                <a:gd name="connsiteX774" fmla="*/ 951357 w 1004887"/>
                <a:gd name="connsiteY774" fmla="*/ 728567 h 1332642"/>
                <a:gd name="connsiteX775" fmla="*/ 948119 w 1004887"/>
                <a:gd name="connsiteY775" fmla="*/ 728948 h 1332642"/>
                <a:gd name="connsiteX776" fmla="*/ 950881 w 1004887"/>
                <a:gd name="connsiteY776" fmla="*/ 725424 h 1332642"/>
                <a:gd name="connsiteX777" fmla="*/ 950500 w 1004887"/>
                <a:gd name="connsiteY777" fmla="*/ 722281 h 1332642"/>
                <a:gd name="connsiteX778" fmla="*/ 948881 w 1004887"/>
                <a:gd name="connsiteY778" fmla="*/ 722471 h 1332642"/>
                <a:gd name="connsiteX779" fmla="*/ 947738 w 1004887"/>
                <a:gd name="connsiteY779" fmla="*/ 725805 h 1332642"/>
                <a:gd name="connsiteX780" fmla="*/ 948881 w 1004887"/>
                <a:gd name="connsiteY780" fmla="*/ 722471 h 1332642"/>
                <a:gd name="connsiteX781" fmla="*/ 946976 w 1004887"/>
                <a:gd name="connsiteY781" fmla="*/ 719519 h 1332642"/>
                <a:gd name="connsiteX782" fmla="*/ 953452 w 1004887"/>
                <a:gd name="connsiteY782" fmla="*/ 720281 h 1332642"/>
                <a:gd name="connsiteX783" fmla="*/ 953262 w 1004887"/>
                <a:gd name="connsiteY783" fmla="*/ 718757 h 1332642"/>
                <a:gd name="connsiteX784" fmla="*/ 946785 w 1004887"/>
                <a:gd name="connsiteY784" fmla="*/ 717899 h 1332642"/>
                <a:gd name="connsiteX785" fmla="*/ 946976 w 1004887"/>
                <a:gd name="connsiteY785" fmla="*/ 719519 h 1332642"/>
                <a:gd name="connsiteX786" fmla="*/ 946785 w 1004887"/>
                <a:gd name="connsiteY786" fmla="*/ 717899 h 1332642"/>
                <a:gd name="connsiteX787" fmla="*/ 943547 w 1004887"/>
                <a:gd name="connsiteY787" fmla="*/ 718376 h 1332642"/>
                <a:gd name="connsiteX788" fmla="*/ 940213 w 1004887"/>
                <a:gd name="connsiteY788" fmla="*/ 717137 h 1332642"/>
                <a:gd name="connsiteX789" fmla="*/ 939451 w 1004887"/>
                <a:gd name="connsiteY789" fmla="*/ 710851 h 1332642"/>
                <a:gd name="connsiteX790" fmla="*/ 940784 w 1004887"/>
                <a:gd name="connsiteY790" fmla="*/ 709041 h 1332642"/>
                <a:gd name="connsiteX791" fmla="*/ 938784 w 1004887"/>
                <a:gd name="connsiteY791" fmla="*/ 706088 h 1332642"/>
                <a:gd name="connsiteX792" fmla="*/ 942023 w 1004887"/>
                <a:gd name="connsiteY792" fmla="*/ 705707 h 1332642"/>
                <a:gd name="connsiteX793" fmla="*/ 943166 w 1004887"/>
                <a:gd name="connsiteY793" fmla="*/ 702374 h 1332642"/>
                <a:gd name="connsiteX794" fmla="*/ 946499 w 1004887"/>
                <a:gd name="connsiteY794" fmla="*/ 703516 h 1332642"/>
                <a:gd name="connsiteX795" fmla="*/ 947738 w 1004887"/>
                <a:gd name="connsiteY795" fmla="*/ 700183 h 1332642"/>
                <a:gd name="connsiteX796" fmla="*/ 947261 w 1004887"/>
                <a:gd name="connsiteY796" fmla="*/ 697040 h 1332642"/>
                <a:gd name="connsiteX797" fmla="*/ 942118 w 1004887"/>
                <a:gd name="connsiteY797" fmla="*/ 694468 h 1332642"/>
                <a:gd name="connsiteX798" fmla="*/ 943356 w 1004887"/>
                <a:gd name="connsiteY798" fmla="*/ 691134 h 1332642"/>
                <a:gd name="connsiteX799" fmla="*/ 947642 w 1004887"/>
                <a:gd name="connsiteY799" fmla="*/ 687324 h 1332642"/>
                <a:gd name="connsiteX800" fmla="*/ 948881 w 1004887"/>
                <a:gd name="connsiteY800" fmla="*/ 683990 h 1332642"/>
                <a:gd name="connsiteX801" fmla="*/ 952214 w 1004887"/>
                <a:gd name="connsiteY801" fmla="*/ 685133 h 1332642"/>
                <a:gd name="connsiteX802" fmla="*/ 952976 w 1004887"/>
                <a:gd name="connsiteY802" fmla="*/ 678656 h 1332642"/>
                <a:gd name="connsiteX803" fmla="*/ 954310 w 1004887"/>
                <a:gd name="connsiteY803" fmla="*/ 676847 h 1332642"/>
                <a:gd name="connsiteX804" fmla="*/ 956120 w 1004887"/>
                <a:gd name="connsiteY804" fmla="*/ 665416 h 1332642"/>
                <a:gd name="connsiteX805" fmla="*/ 956691 w 1004887"/>
                <a:gd name="connsiteY805" fmla="*/ 657320 h 1332642"/>
                <a:gd name="connsiteX806" fmla="*/ 951548 w 1004887"/>
                <a:gd name="connsiteY806" fmla="*/ 654749 h 1332642"/>
                <a:gd name="connsiteX807" fmla="*/ 952119 w 1004887"/>
                <a:gd name="connsiteY807" fmla="*/ 646652 h 1332642"/>
                <a:gd name="connsiteX808" fmla="*/ 941642 w 1004887"/>
                <a:gd name="connsiteY808" fmla="*/ 639985 h 1332642"/>
                <a:gd name="connsiteX809" fmla="*/ 938498 w 1004887"/>
                <a:gd name="connsiteY809" fmla="*/ 640366 h 1332642"/>
                <a:gd name="connsiteX810" fmla="*/ 933164 w 1004887"/>
                <a:gd name="connsiteY810" fmla="*/ 649129 h 1332642"/>
                <a:gd name="connsiteX811" fmla="*/ 931355 w 1004887"/>
                <a:gd name="connsiteY811" fmla="*/ 647700 h 1332642"/>
                <a:gd name="connsiteX812" fmla="*/ 935736 w 1004887"/>
                <a:gd name="connsiteY812" fmla="*/ 643985 h 1332642"/>
                <a:gd name="connsiteX813" fmla="*/ 937451 w 1004887"/>
                <a:gd name="connsiteY813" fmla="*/ 632555 h 1332642"/>
                <a:gd name="connsiteX814" fmla="*/ 935450 w 1004887"/>
                <a:gd name="connsiteY814" fmla="*/ 629603 h 1332642"/>
                <a:gd name="connsiteX815" fmla="*/ 933736 w 1004887"/>
                <a:gd name="connsiteY815" fmla="*/ 628174 h 1332642"/>
                <a:gd name="connsiteX816" fmla="*/ 936403 w 1004887"/>
                <a:gd name="connsiteY816" fmla="*/ 611791 h 1332642"/>
                <a:gd name="connsiteX817" fmla="*/ 933641 w 1004887"/>
                <a:gd name="connsiteY817" fmla="*/ 602552 h 1332642"/>
                <a:gd name="connsiteX818" fmla="*/ 937736 w 1004887"/>
                <a:gd name="connsiteY818" fmla="*/ 597218 h 1332642"/>
                <a:gd name="connsiteX819" fmla="*/ 941737 w 1004887"/>
                <a:gd name="connsiteY819" fmla="*/ 590264 h 1332642"/>
                <a:gd name="connsiteX820" fmla="*/ 941261 w 1004887"/>
                <a:gd name="connsiteY820" fmla="*/ 574262 h 1332642"/>
                <a:gd name="connsiteX821" fmla="*/ 943832 w 1004887"/>
                <a:gd name="connsiteY821" fmla="*/ 569119 h 1332642"/>
                <a:gd name="connsiteX822" fmla="*/ 944594 w 1004887"/>
                <a:gd name="connsiteY822" fmla="*/ 562642 h 1332642"/>
                <a:gd name="connsiteX823" fmla="*/ 940880 w 1004887"/>
                <a:gd name="connsiteY823" fmla="*/ 558356 h 1332642"/>
                <a:gd name="connsiteX824" fmla="*/ 936308 w 1004887"/>
                <a:gd name="connsiteY824" fmla="*/ 560451 h 1332642"/>
                <a:gd name="connsiteX825" fmla="*/ 929640 w 1004887"/>
                <a:gd name="connsiteY825" fmla="*/ 558165 h 1332642"/>
                <a:gd name="connsiteX826" fmla="*/ 928973 w 1004887"/>
                <a:gd name="connsiteY826" fmla="*/ 553403 h 1332642"/>
                <a:gd name="connsiteX827" fmla="*/ 925449 w 1004887"/>
                <a:gd name="connsiteY827" fmla="*/ 550640 h 1332642"/>
                <a:gd name="connsiteX828" fmla="*/ 921068 w 1004887"/>
                <a:gd name="connsiteY828" fmla="*/ 554450 h 1332642"/>
                <a:gd name="connsiteX829" fmla="*/ 919544 w 1004887"/>
                <a:gd name="connsiteY829" fmla="*/ 554641 h 1332642"/>
                <a:gd name="connsiteX830" fmla="*/ 912590 w 1004887"/>
                <a:gd name="connsiteY830" fmla="*/ 550640 h 1332642"/>
                <a:gd name="connsiteX831" fmla="*/ 912209 w 1004887"/>
                <a:gd name="connsiteY831" fmla="*/ 547497 h 1332642"/>
                <a:gd name="connsiteX832" fmla="*/ 915352 w 1004887"/>
                <a:gd name="connsiteY832" fmla="*/ 547116 h 1332642"/>
                <a:gd name="connsiteX833" fmla="*/ 916496 w 1004887"/>
                <a:gd name="connsiteY833" fmla="*/ 543782 h 1332642"/>
                <a:gd name="connsiteX834" fmla="*/ 906875 w 1004887"/>
                <a:gd name="connsiteY834" fmla="*/ 543401 h 1332642"/>
                <a:gd name="connsiteX835" fmla="*/ 906494 w 1004887"/>
                <a:gd name="connsiteY835" fmla="*/ 540258 h 1332642"/>
                <a:gd name="connsiteX836" fmla="*/ 901732 w 1004887"/>
                <a:gd name="connsiteY836" fmla="*/ 540830 h 1332642"/>
                <a:gd name="connsiteX837" fmla="*/ 898208 w 1004887"/>
                <a:gd name="connsiteY837" fmla="*/ 538067 h 1332642"/>
                <a:gd name="connsiteX838" fmla="*/ 895064 w 1004887"/>
                <a:gd name="connsiteY838" fmla="*/ 538544 h 1332642"/>
                <a:gd name="connsiteX839" fmla="*/ 892588 w 1004887"/>
                <a:gd name="connsiteY839" fmla="*/ 532352 h 1332642"/>
                <a:gd name="connsiteX840" fmla="*/ 889254 w 1004887"/>
                <a:gd name="connsiteY840" fmla="*/ 531209 h 1332642"/>
                <a:gd name="connsiteX841" fmla="*/ 897350 w 1004887"/>
                <a:gd name="connsiteY841" fmla="*/ 531781 h 1332642"/>
                <a:gd name="connsiteX842" fmla="*/ 904494 w 1004887"/>
                <a:gd name="connsiteY842" fmla="*/ 537305 h 1332642"/>
                <a:gd name="connsiteX843" fmla="*/ 912400 w 1004887"/>
                <a:gd name="connsiteY843" fmla="*/ 536257 h 1332642"/>
                <a:gd name="connsiteX844" fmla="*/ 913733 w 1004887"/>
                <a:gd name="connsiteY844" fmla="*/ 534543 h 1332642"/>
                <a:gd name="connsiteX845" fmla="*/ 918496 w 1004887"/>
                <a:gd name="connsiteY845" fmla="*/ 533876 h 1332642"/>
                <a:gd name="connsiteX846" fmla="*/ 921449 w 1004887"/>
                <a:gd name="connsiteY846" fmla="*/ 531876 h 1332642"/>
                <a:gd name="connsiteX847" fmla="*/ 918115 w 1004887"/>
                <a:gd name="connsiteY847" fmla="*/ 530733 h 1332642"/>
                <a:gd name="connsiteX848" fmla="*/ 911543 w 1004887"/>
                <a:gd name="connsiteY848" fmla="*/ 517112 h 1332642"/>
                <a:gd name="connsiteX849" fmla="*/ 901827 w 1004887"/>
                <a:gd name="connsiteY849" fmla="*/ 516731 h 1332642"/>
                <a:gd name="connsiteX850" fmla="*/ 898112 w 1004887"/>
                <a:gd name="connsiteY850" fmla="*/ 512445 h 1332642"/>
                <a:gd name="connsiteX851" fmla="*/ 900684 w 1004887"/>
                <a:gd name="connsiteY851" fmla="*/ 507302 h 1332642"/>
                <a:gd name="connsiteX852" fmla="*/ 898684 w 1004887"/>
                <a:gd name="connsiteY852" fmla="*/ 504349 h 1332642"/>
                <a:gd name="connsiteX853" fmla="*/ 899827 w 1004887"/>
                <a:gd name="connsiteY853" fmla="*/ 501015 h 1332642"/>
                <a:gd name="connsiteX854" fmla="*/ 901827 w 1004887"/>
                <a:gd name="connsiteY854" fmla="*/ 503968 h 1332642"/>
                <a:gd name="connsiteX855" fmla="*/ 902018 w 1004887"/>
                <a:gd name="connsiteY855" fmla="*/ 505492 h 1332642"/>
                <a:gd name="connsiteX856" fmla="*/ 903827 w 1004887"/>
                <a:gd name="connsiteY856" fmla="*/ 506920 h 1332642"/>
                <a:gd name="connsiteX857" fmla="*/ 906590 w 1004887"/>
                <a:gd name="connsiteY857" fmla="*/ 503301 h 1332642"/>
                <a:gd name="connsiteX858" fmla="*/ 906780 w 1004887"/>
                <a:gd name="connsiteY858" fmla="*/ 504920 h 1332642"/>
                <a:gd name="connsiteX859" fmla="*/ 908399 w 1004887"/>
                <a:gd name="connsiteY859" fmla="*/ 504730 h 1332642"/>
                <a:gd name="connsiteX860" fmla="*/ 908399 w 1004887"/>
                <a:gd name="connsiteY860" fmla="*/ 504730 h 1332642"/>
                <a:gd name="connsiteX861" fmla="*/ 909733 w 1004887"/>
                <a:gd name="connsiteY861" fmla="*/ 502920 h 1332642"/>
                <a:gd name="connsiteX862" fmla="*/ 917448 w 1004887"/>
                <a:gd name="connsiteY862" fmla="*/ 500348 h 1332642"/>
                <a:gd name="connsiteX863" fmla="*/ 920782 w 1004887"/>
                <a:gd name="connsiteY863" fmla="*/ 501491 h 1332642"/>
                <a:gd name="connsiteX864" fmla="*/ 927830 w 1004887"/>
                <a:gd name="connsiteY864" fmla="*/ 494252 h 1332642"/>
                <a:gd name="connsiteX865" fmla="*/ 923163 w 1004887"/>
                <a:gd name="connsiteY865" fmla="*/ 494824 h 1332642"/>
                <a:gd name="connsiteX866" fmla="*/ 922496 w 1004887"/>
                <a:gd name="connsiteY866" fmla="*/ 490061 h 1332642"/>
                <a:gd name="connsiteX867" fmla="*/ 917829 w 1004887"/>
                <a:gd name="connsiteY867" fmla="*/ 490728 h 1332642"/>
                <a:gd name="connsiteX868" fmla="*/ 917639 w 1004887"/>
                <a:gd name="connsiteY868" fmla="*/ 489109 h 1332642"/>
                <a:gd name="connsiteX869" fmla="*/ 914210 w 1004887"/>
                <a:gd name="connsiteY869" fmla="*/ 487966 h 1332642"/>
                <a:gd name="connsiteX870" fmla="*/ 909733 w 1004887"/>
                <a:gd name="connsiteY870" fmla="*/ 490157 h 1332642"/>
                <a:gd name="connsiteX871" fmla="*/ 912495 w 1004887"/>
                <a:gd name="connsiteY871" fmla="*/ 486537 h 1332642"/>
                <a:gd name="connsiteX872" fmla="*/ 909066 w 1004887"/>
                <a:gd name="connsiteY872" fmla="*/ 485394 h 1332642"/>
                <a:gd name="connsiteX873" fmla="*/ 904780 w 1004887"/>
                <a:gd name="connsiteY873" fmla="*/ 489109 h 1332642"/>
                <a:gd name="connsiteX874" fmla="*/ 902780 w 1004887"/>
                <a:gd name="connsiteY874" fmla="*/ 486156 h 1332642"/>
                <a:gd name="connsiteX875" fmla="*/ 899827 w 1004887"/>
                <a:gd name="connsiteY875" fmla="*/ 488156 h 1332642"/>
                <a:gd name="connsiteX876" fmla="*/ 898684 w 1004887"/>
                <a:gd name="connsiteY876" fmla="*/ 491490 h 1332642"/>
                <a:gd name="connsiteX877" fmla="*/ 895731 w 1004887"/>
                <a:gd name="connsiteY877" fmla="*/ 493490 h 1332642"/>
                <a:gd name="connsiteX878" fmla="*/ 896112 w 1004887"/>
                <a:gd name="connsiteY878" fmla="*/ 496633 h 1332642"/>
                <a:gd name="connsiteX879" fmla="*/ 891159 w 1004887"/>
                <a:gd name="connsiteY879" fmla="*/ 495681 h 1332642"/>
                <a:gd name="connsiteX880" fmla="*/ 888397 w 1004887"/>
                <a:gd name="connsiteY880" fmla="*/ 486442 h 1332642"/>
                <a:gd name="connsiteX881" fmla="*/ 891731 w 1004887"/>
                <a:gd name="connsiteY881" fmla="*/ 487585 h 1332642"/>
                <a:gd name="connsiteX882" fmla="*/ 891540 w 1004887"/>
                <a:gd name="connsiteY882" fmla="*/ 486061 h 1332642"/>
                <a:gd name="connsiteX883" fmla="*/ 888206 w 1004887"/>
                <a:gd name="connsiteY883" fmla="*/ 484823 h 1332642"/>
                <a:gd name="connsiteX884" fmla="*/ 892302 w 1004887"/>
                <a:gd name="connsiteY884" fmla="*/ 479489 h 1332642"/>
                <a:gd name="connsiteX885" fmla="*/ 888397 w 1004887"/>
                <a:gd name="connsiteY885" fmla="*/ 473583 h 1332642"/>
                <a:gd name="connsiteX886" fmla="*/ 890873 w 1004887"/>
                <a:gd name="connsiteY886" fmla="*/ 468440 h 1332642"/>
                <a:gd name="connsiteX887" fmla="*/ 900017 w 1004887"/>
                <a:gd name="connsiteY887" fmla="*/ 464058 h 1332642"/>
                <a:gd name="connsiteX888" fmla="*/ 907447 w 1004887"/>
                <a:gd name="connsiteY888" fmla="*/ 447103 h 1332642"/>
                <a:gd name="connsiteX889" fmla="*/ 930116 w 1004887"/>
                <a:gd name="connsiteY889" fmla="*/ 436245 h 1332642"/>
                <a:gd name="connsiteX890" fmla="*/ 934593 w 1004887"/>
                <a:gd name="connsiteY890" fmla="*/ 434054 h 1332642"/>
                <a:gd name="connsiteX891" fmla="*/ 940975 w 1004887"/>
                <a:gd name="connsiteY891" fmla="*/ 433197 h 1332642"/>
                <a:gd name="connsiteX892" fmla="*/ 937832 w 1004887"/>
                <a:gd name="connsiteY892" fmla="*/ 433578 h 1332642"/>
                <a:gd name="connsiteX893" fmla="*/ 938594 w 1004887"/>
                <a:gd name="connsiteY893" fmla="*/ 439960 h 1332642"/>
                <a:gd name="connsiteX894" fmla="*/ 940403 w 1004887"/>
                <a:gd name="connsiteY894" fmla="*/ 441293 h 1332642"/>
                <a:gd name="connsiteX895" fmla="*/ 945261 w 1004887"/>
                <a:gd name="connsiteY895" fmla="*/ 442246 h 1332642"/>
                <a:gd name="connsiteX896" fmla="*/ 947452 w 1004887"/>
                <a:gd name="connsiteY896" fmla="*/ 446818 h 1332642"/>
                <a:gd name="connsiteX897" fmla="*/ 949071 w 1004887"/>
                <a:gd name="connsiteY897" fmla="*/ 446627 h 1332642"/>
                <a:gd name="connsiteX898" fmla="*/ 949262 w 1004887"/>
                <a:gd name="connsiteY898" fmla="*/ 448151 h 1332642"/>
                <a:gd name="connsiteX899" fmla="*/ 954024 w 1004887"/>
                <a:gd name="connsiteY899" fmla="*/ 447580 h 1332642"/>
                <a:gd name="connsiteX900" fmla="*/ 955739 w 1004887"/>
                <a:gd name="connsiteY900" fmla="*/ 448913 h 1332642"/>
                <a:gd name="connsiteX901" fmla="*/ 956786 w 1004887"/>
                <a:gd name="connsiteY901" fmla="*/ 444056 h 1332642"/>
                <a:gd name="connsiteX902" fmla="*/ 958310 w 1004887"/>
                <a:gd name="connsiteY902" fmla="*/ 443865 h 1332642"/>
                <a:gd name="connsiteX903" fmla="*/ 957929 w 1004887"/>
                <a:gd name="connsiteY903" fmla="*/ 440627 h 1332642"/>
                <a:gd name="connsiteX904" fmla="*/ 959263 w 1004887"/>
                <a:gd name="connsiteY904" fmla="*/ 438912 h 1332642"/>
                <a:gd name="connsiteX905" fmla="*/ 960120 w 1004887"/>
                <a:gd name="connsiteY905" fmla="*/ 432340 h 1332642"/>
                <a:gd name="connsiteX906" fmla="*/ 963073 w 1004887"/>
                <a:gd name="connsiteY906" fmla="*/ 430435 h 1332642"/>
                <a:gd name="connsiteX907" fmla="*/ 965359 w 1004887"/>
                <a:gd name="connsiteY907" fmla="*/ 423672 h 1332642"/>
                <a:gd name="connsiteX908" fmla="*/ 968502 w 1004887"/>
                <a:gd name="connsiteY908" fmla="*/ 423291 h 1332642"/>
                <a:gd name="connsiteX909" fmla="*/ 974693 w 1004887"/>
                <a:gd name="connsiteY909" fmla="*/ 420910 h 1332642"/>
                <a:gd name="connsiteX910" fmla="*/ 974217 w 1004887"/>
                <a:gd name="connsiteY910" fmla="*/ 417766 h 1332642"/>
                <a:gd name="connsiteX911" fmla="*/ 976027 w 1004887"/>
                <a:gd name="connsiteY911" fmla="*/ 419100 h 1332642"/>
                <a:gd name="connsiteX912" fmla="*/ 977456 w 1004887"/>
                <a:gd name="connsiteY912" fmla="*/ 417386 h 1332642"/>
                <a:gd name="connsiteX913" fmla="*/ 980599 w 1004887"/>
                <a:gd name="connsiteY913" fmla="*/ 416909 h 1332642"/>
                <a:gd name="connsiteX914" fmla="*/ 984885 w 1004887"/>
                <a:gd name="connsiteY914" fmla="*/ 413194 h 1332642"/>
                <a:gd name="connsiteX915" fmla="*/ 986695 w 1004887"/>
                <a:gd name="connsiteY915" fmla="*/ 414528 h 1332642"/>
                <a:gd name="connsiteX916" fmla="*/ 990600 w 1004887"/>
                <a:gd name="connsiteY916" fmla="*/ 407670 h 1332642"/>
                <a:gd name="connsiteX917" fmla="*/ 988409 w 1004887"/>
                <a:gd name="connsiteY917" fmla="*/ 403098 h 1332642"/>
                <a:gd name="connsiteX918" fmla="*/ 983266 w 1004887"/>
                <a:gd name="connsiteY918" fmla="*/ 400526 h 1332642"/>
                <a:gd name="connsiteX919" fmla="*/ 981266 w 1004887"/>
                <a:gd name="connsiteY919" fmla="*/ 397573 h 1332642"/>
                <a:gd name="connsiteX920" fmla="*/ 977932 w 1004887"/>
                <a:gd name="connsiteY920" fmla="*/ 396431 h 1332642"/>
                <a:gd name="connsiteX921" fmla="*/ 974979 w 1004887"/>
                <a:gd name="connsiteY921" fmla="*/ 398431 h 1332642"/>
                <a:gd name="connsiteX922" fmla="*/ 973646 w 1004887"/>
                <a:gd name="connsiteY922" fmla="*/ 400145 h 1332642"/>
                <a:gd name="connsiteX923" fmla="*/ 967740 w 1004887"/>
                <a:gd name="connsiteY923" fmla="*/ 404146 h 1332642"/>
                <a:gd name="connsiteX924" fmla="*/ 965930 w 1004887"/>
                <a:gd name="connsiteY924" fmla="*/ 402717 h 1332642"/>
                <a:gd name="connsiteX925" fmla="*/ 966502 w 1004887"/>
                <a:gd name="connsiteY925" fmla="*/ 394716 h 1332642"/>
                <a:gd name="connsiteX926" fmla="*/ 975741 w 1004887"/>
                <a:gd name="connsiteY926" fmla="*/ 391858 h 1332642"/>
                <a:gd name="connsiteX927" fmla="*/ 978884 w 1004887"/>
                <a:gd name="connsiteY927" fmla="*/ 378619 h 1332642"/>
                <a:gd name="connsiteX928" fmla="*/ 978122 w 1004887"/>
                <a:gd name="connsiteY928" fmla="*/ 372332 h 1332642"/>
                <a:gd name="connsiteX929" fmla="*/ 974312 w 1004887"/>
                <a:gd name="connsiteY929" fmla="*/ 368046 h 1332642"/>
                <a:gd name="connsiteX930" fmla="*/ 973931 w 1004887"/>
                <a:gd name="connsiteY930" fmla="*/ 364903 h 1332642"/>
                <a:gd name="connsiteX931" fmla="*/ 971550 w 1004887"/>
                <a:gd name="connsiteY931" fmla="*/ 358711 h 1332642"/>
                <a:gd name="connsiteX932" fmla="*/ 972502 w 1004887"/>
                <a:gd name="connsiteY932" fmla="*/ 353854 h 1332642"/>
                <a:gd name="connsiteX933" fmla="*/ 982027 w 1004887"/>
                <a:gd name="connsiteY933" fmla="*/ 352615 h 1332642"/>
                <a:gd name="connsiteX934" fmla="*/ 981170 w 1004887"/>
                <a:gd name="connsiteY934" fmla="*/ 346329 h 1332642"/>
                <a:gd name="connsiteX935" fmla="*/ 987076 w 1004887"/>
                <a:gd name="connsiteY935" fmla="*/ 342328 h 1332642"/>
                <a:gd name="connsiteX936" fmla="*/ 983933 w 1004887"/>
                <a:gd name="connsiteY936" fmla="*/ 342710 h 1332642"/>
                <a:gd name="connsiteX937" fmla="*/ 986123 w 1004887"/>
                <a:gd name="connsiteY937" fmla="*/ 334423 h 1332642"/>
                <a:gd name="connsiteX938" fmla="*/ 979170 w 1004887"/>
                <a:gd name="connsiteY938" fmla="*/ 330518 h 1332642"/>
                <a:gd name="connsiteX939" fmla="*/ 978122 w 1004887"/>
                <a:gd name="connsiteY939" fmla="*/ 322612 h 1332642"/>
                <a:gd name="connsiteX940" fmla="*/ 985076 w 1004887"/>
                <a:gd name="connsiteY940" fmla="*/ 313753 h 1332642"/>
                <a:gd name="connsiteX941" fmla="*/ 983075 w 1004887"/>
                <a:gd name="connsiteY941" fmla="*/ 310801 h 1332642"/>
                <a:gd name="connsiteX942" fmla="*/ 979361 w 1004887"/>
                <a:gd name="connsiteY942" fmla="*/ 306419 h 1332642"/>
                <a:gd name="connsiteX943" fmla="*/ 982027 w 1004887"/>
                <a:gd name="connsiteY943" fmla="*/ 302895 h 1332642"/>
                <a:gd name="connsiteX944" fmla="*/ 985457 w 1004887"/>
                <a:gd name="connsiteY944" fmla="*/ 304038 h 1332642"/>
                <a:gd name="connsiteX945" fmla="*/ 989171 w 1004887"/>
                <a:gd name="connsiteY945" fmla="*/ 295561 h 1332642"/>
                <a:gd name="connsiteX946" fmla="*/ 985171 w 1004887"/>
                <a:gd name="connsiteY946" fmla="*/ 289655 h 1332642"/>
                <a:gd name="connsiteX947" fmla="*/ 988314 w 1004887"/>
                <a:gd name="connsiteY947" fmla="*/ 289274 h 1332642"/>
                <a:gd name="connsiteX948" fmla="*/ 987171 w 1004887"/>
                <a:gd name="connsiteY948" fmla="*/ 279749 h 1332642"/>
                <a:gd name="connsiteX949" fmla="*/ 988886 w 1004887"/>
                <a:gd name="connsiteY949" fmla="*/ 281178 h 1332642"/>
                <a:gd name="connsiteX950" fmla="*/ 992124 w 1004887"/>
                <a:gd name="connsiteY950" fmla="*/ 280797 h 1332642"/>
                <a:gd name="connsiteX951" fmla="*/ 991838 w 1004887"/>
                <a:gd name="connsiteY951" fmla="*/ 279178 h 1332642"/>
                <a:gd name="connsiteX952" fmla="*/ 992124 w 1004887"/>
                <a:gd name="connsiteY952" fmla="*/ 280797 h 1332642"/>
                <a:gd name="connsiteX953" fmla="*/ 993648 w 1004887"/>
                <a:gd name="connsiteY953" fmla="*/ 280511 h 1332642"/>
                <a:gd name="connsiteX954" fmla="*/ 995077 w 1004887"/>
                <a:gd name="connsiteY954" fmla="*/ 278797 h 1332642"/>
                <a:gd name="connsiteX955" fmla="*/ 998411 w 1004887"/>
                <a:gd name="connsiteY955" fmla="*/ 279940 h 1332642"/>
                <a:gd name="connsiteX956" fmla="*/ 1001363 w 1004887"/>
                <a:gd name="connsiteY956" fmla="*/ 277940 h 1332642"/>
                <a:gd name="connsiteX957" fmla="*/ 1001935 w 1004887"/>
                <a:gd name="connsiteY957" fmla="*/ 282702 h 1332642"/>
                <a:gd name="connsiteX958" fmla="*/ 1004888 w 1004887"/>
                <a:gd name="connsiteY958" fmla="*/ 280702 h 1332642"/>
                <a:gd name="connsiteX959" fmla="*/ 1001363 w 1004887"/>
                <a:gd name="connsiteY959" fmla="*/ 265176 h 1332642"/>
                <a:gd name="connsiteX960" fmla="*/ 999744 w 1004887"/>
                <a:gd name="connsiteY960" fmla="*/ 252508 h 1332642"/>
                <a:gd name="connsiteX961" fmla="*/ 999744 w 1004887"/>
                <a:gd name="connsiteY961" fmla="*/ 252508 h 133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</a:cxnLst>
              <a:rect l="l" t="t" r="r" b="b"/>
              <a:pathLst>
                <a:path w="1004887" h="1332642">
                  <a:moveTo>
                    <a:pt x="999744" y="252508"/>
                  </a:moveTo>
                  <a:lnTo>
                    <a:pt x="997363" y="246412"/>
                  </a:lnTo>
                  <a:lnTo>
                    <a:pt x="998315" y="241459"/>
                  </a:lnTo>
                  <a:lnTo>
                    <a:pt x="997934" y="238315"/>
                  </a:lnTo>
                  <a:lnTo>
                    <a:pt x="996125" y="236982"/>
                  </a:lnTo>
                  <a:lnTo>
                    <a:pt x="994124" y="234029"/>
                  </a:lnTo>
                  <a:lnTo>
                    <a:pt x="995363" y="230600"/>
                  </a:lnTo>
                  <a:lnTo>
                    <a:pt x="996506" y="227266"/>
                  </a:lnTo>
                  <a:lnTo>
                    <a:pt x="995648" y="220980"/>
                  </a:lnTo>
                  <a:lnTo>
                    <a:pt x="993934" y="219551"/>
                  </a:lnTo>
                  <a:lnTo>
                    <a:pt x="996506" y="214408"/>
                  </a:lnTo>
                  <a:lnTo>
                    <a:pt x="1004126" y="211836"/>
                  </a:lnTo>
                  <a:lnTo>
                    <a:pt x="993077" y="213265"/>
                  </a:lnTo>
                  <a:lnTo>
                    <a:pt x="987933" y="210693"/>
                  </a:lnTo>
                  <a:lnTo>
                    <a:pt x="975741" y="202692"/>
                  </a:lnTo>
                  <a:lnTo>
                    <a:pt x="971741" y="196786"/>
                  </a:lnTo>
                  <a:lnTo>
                    <a:pt x="958691" y="195167"/>
                  </a:lnTo>
                  <a:lnTo>
                    <a:pt x="953548" y="192691"/>
                  </a:lnTo>
                  <a:lnTo>
                    <a:pt x="947642" y="196596"/>
                  </a:lnTo>
                  <a:lnTo>
                    <a:pt x="941165" y="195834"/>
                  </a:lnTo>
                  <a:lnTo>
                    <a:pt x="942499" y="194024"/>
                  </a:lnTo>
                  <a:lnTo>
                    <a:pt x="940784" y="192691"/>
                  </a:lnTo>
                  <a:lnTo>
                    <a:pt x="942118" y="190881"/>
                  </a:lnTo>
                  <a:lnTo>
                    <a:pt x="945737" y="193643"/>
                  </a:lnTo>
                  <a:lnTo>
                    <a:pt x="947261" y="193453"/>
                  </a:lnTo>
                  <a:lnTo>
                    <a:pt x="947452" y="182213"/>
                  </a:lnTo>
                  <a:lnTo>
                    <a:pt x="948214" y="175736"/>
                  </a:lnTo>
                  <a:lnTo>
                    <a:pt x="946404" y="174307"/>
                  </a:lnTo>
                  <a:lnTo>
                    <a:pt x="945452" y="166402"/>
                  </a:lnTo>
                  <a:lnTo>
                    <a:pt x="939356" y="168783"/>
                  </a:lnTo>
                  <a:lnTo>
                    <a:pt x="934212" y="166211"/>
                  </a:lnTo>
                  <a:lnTo>
                    <a:pt x="927449" y="163925"/>
                  </a:lnTo>
                  <a:lnTo>
                    <a:pt x="918210" y="166687"/>
                  </a:lnTo>
                  <a:lnTo>
                    <a:pt x="913638" y="168878"/>
                  </a:lnTo>
                  <a:lnTo>
                    <a:pt x="913638" y="168878"/>
                  </a:lnTo>
                  <a:lnTo>
                    <a:pt x="912114" y="169069"/>
                  </a:lnTo>
                  <a:lnTo>
                    <a:pt x="911066" y="161163"/>
                  </a:lnTo>
                  <a:lnTo>
                    <a:pt x="906685" y="152114"/>
                  </a:lnTo>
                  <a:lnTo>
                    <a:pt x="903351" y="150971"/>
                  </a:lnTo>
                  <a:lnTo>
                    <a:pt x="900398" y="152876"/>
                  </a:lnTo>
                  <a:lnTo>
                    <a:pt x="898684" y="151543"/>
                  </a:lnTo>
                  <a:lnTo>
                    <a:pt x="894683" y="145637"/>
                  </a:lnTo>
                  <a:lnTo>
                    <a:pt x="891540" y="146018"/>
                  </a:lnTo>
                  <a:lnTo>
                    <a:pt x="889540" y="130207"/>
                  </a:lnTo>
                  <a:lnTo>
                    <a:pt x="884587" y="129254"/>
                  </a:lnTo>
                  <a:lnTo>
                    <a:pt x="880586" y="123349"/>
                  </a:lnTo>
                  <a:lnTo>
                    <a:pt x="877443" y="123730"/>
                  </a:lnTo>
                  <a:lnTo>
                    <a:pt x="874109" y="122587"/>
                  </a:lnTo>
                  <a:lnTo>
                    <a:pt x="871347" y="126111"/>
                  </a:lnTo>
                  <a:lnTo>
                    <a:pt x="868204" y="126587"/>
                  </a:lnTo>
                  <a:lnTo>
                    <a:pt x="864870" y="125349"/>
                  </a:lnTo>
                  <a:lnTo>
                    <a:pt x="863441" y="127159"/>
                  </a:lnTo>
                  <a:lnTo>
                    <a:pt x="865632" y="131731"/>
                  </a:lnTo>
                  <a:lnTo>
                    <a:pt x="846677" y="134112"/>
                  </a:lnTo>
                  <a:lnTo>
                    <a:pt x="841534" y="131540"/>
                  </a:lnTo>
                  <a:lnTo>
                    <a:pt x="820484" y="129445"/>
                  </a:lnTo>
                  <a:lnTo>
                    <a:pt x="820007" y="126302"/>
                  </a:lnTo>
                  <a:lnTo>
                    <a:pt x="816674" y="125063"/>
                  </a:lnTo>
                  <a:lnTo>
                    <a:pt x="816293" y="121920"/>
                  </a:lnTo>
                  <a:lnTo>
                    <a:pt x="810959" y="117824"/>
                  </a:lnTo>
                  <a:lnTo>
                    <a:pt x="812292" y="116015"/>
                  </a:lnTo>
                  <a:lnTo>
                    <a:pt x="810387" y="113062"/>
                  </a:lnTo>
                  <a:lnTo>
                    <a:pt x="805244" y="110490"/>
                  </a:lnTo>
                  <a:lnTo>
                    <a:pt x="801624" y="107728"/>
                  </a:lnTo>
                  <a:lnTo>
                    <a:pt x="800100" y="107918"/>
                  </a:lnTo>
                  <a:lnTo>
                    <a:pt x="796481" y="105251"/>
                  </a:lnTo>
                  <a:lnTo>
                    <a:pt x="787241" y="108013"/>
                  </a:lnTo>
                  <a:lnTo>
                    <a:pt x="784479" y="98774"/>
                  </a:lnTo>
                  <a:lnTo>
                    <a:pt x="779717" y="99346"/>
                  </a:lnTo>
                  <a:lnTo>
                    <a:pt x="774573" y="96774"/>
                  </a:lnTo>
                  <a:lnTo>
                    <a:pt x="775145" y="88678"/>
                  </a:lnTo>
                  <a:lnTo>
                    <a:pt x="778478" y="89821"/>
                  </a:lnTo>
                  <a:lnTo>
                    <a:pt x="779717" y="86487"/>
                  </a:lnTo>
                  <a:lnTo>
                    <a:pt x="790956" y="86677"/>
                  </a:lnTo>
                  <a:lnTo>
                    <a:pt x="799433" y="90392"/>
                  </a:lnTo>
                  <a:lnTo>
                    <a:pt x="799052" y="87249"/>
                  </a:lnTo>
                  <a:lnTo>
                    <a:pt x="792290" y="84868"/>
                  </a:lnTo>
                  <a:lnTo>
                    <a:pt x="790766" y="85058"/>
                  </a:lnTo>
                  <a:lnTo>
                    <a:pt x="788003" y="75819"/>
                  </a:lnTo>
                  <a:lnTo>
                    <a:pt x="784574" y="74676"/>
                  </a:lnTo>
                  <a:lnTo>
                    <a:pt x="772001" y="76295"/>
                  </a:lnTo>
                  <a:lnTo>
                    <a:pt x="768001" y="83153"/>
                  </a:lnTo>
                  <a:lnTo>
                    <a:pt x="761714" y="84011"/>
                  </a:lnTo>
                  <a:lnTo>
                    <a:pt x="758190" y="81248"/>
                  </a:lnTo>
                  <a:lnTo>
                    <a:pt x="759333" y="77915"/>
                  </a:lnTo>
                  <a:lnTo>
                    <a:pt x="758952" y="74676"/>
                  </a:lnTo>
                  <a:lnTo>
                    <a:pt x="755999" y="76676"/>
                  </a:lnTo>
                  <a:lnTo>
                    <a:pt x="753809" y="72200"/>
                  </a:lnTo>
                  <a:lnTo>
                    <a:pt x="749522" y="75914"/>
                  </a:lnTo>
                  <a:lnTo>
                    <a:pt x="734663" y="72961"/>
                  </a:lnTo>
                  <a:lnTo>
                    <a:pt x="732568" y="81248"/>
                  </a:lnTo>
                  <a:lnTo>
                    <a:pt x="729329" y="81725"/>
                  </a:lnTo>
                  <a:lnTo>
                    <a:pt x="727043" y="88392"/>
                  </a:lnTo>
                  <a:lnTo>
                    <a:pt x="725424" y="88582"/>
                  </a:lnTo>
                  <a:lnTo>
                    <a:pt x="720471" y="87630"/>
                  </a:lnTo>
                  <a:lnTo>
                    <a:pt x="719519" y="79724"/>
                  </a:lnTo>
                  <a:lnTo>
                    <a:pt x="708470" y="81153"/>
                  </a:lnTo>
                  <a:lnTo>
                    <a:pt x="703898" y="83344"/>
                  </a:lnTo>
                  <a:lnTo>
                    <a:pt x="702374" y="83534"/>
                  </a:lnTo>
                  <a:lnTo>
                    <a:pt x="701707" y="78772"/>
                  </a:lnTo>
                  <a:lnTo>
                    <a:pt x="705898" y="73438"/>
                  </a:lnTo>
                  <a:lnTo>
                    <a:pt x="705231" y="68771"/>
                  </a:lnTo>
                  <a:lnTo>
                    <a:pt x="711137" y="64770"/>
                  </a:lnTo>
                  <a:lnTo>
                    <a:pt x="712565" y="62960"/>
                  </a:lnTo>
                  <a:lnTo>
                    <a:pt x="710565" y="60007"/>
                  </a:lnTo>
                  <a:lnTo>
                    <a:pt x="714661" y="54673"/>
                  </a:lnTo>
                  <a:lnTo>
                    <a:pt x="714089" y="50006"/>
                  </a:lnTo>
                  <a:lnTo>
                    <a:pt x="719042" y="50959"/>
                  </a:lnTo>
                  <a:lnTo>
                    <a:pt x="725329" y="50102"/>
                  </a:lnTo>
                  <a:lnTo>
                    <a:pt x="725710" y="40481"/>
                  </a:lnTo>
                  <a:lnTo>
                    <a:pt x="723329" y="34385"/>
                  </a:lnTo>
                  <a:lnTo>
                    <a:pt x="723138" y="32766"/>
                  </a:lnTo>
                  <a:lnTo>
                    <a:pt x="718185" y="31813"/>
                  </a:lnTo>
                  <a:lnTo>
                    <a:pt x="715613" y="24098"/>
                  </a:lnTo>
                  <a:lnTo>
                    <a:pt x="711518" y="29432"/>
                  </a:lnTo>
                  <a:lnTo>
                    <a:pt x="709517" y="26479"/>
                  </a:lnTo>
                  <a:lnTo>
                    <a:pt x="710089" y="18383"/>
                  </a:lnTo>
                  <a:lnTo>
                    <a:pt x="708279" y="17050"/>
                  </a:lnTo>
                  <a:lnTo>
                    <a:pt x="707517" y="23527"/>
                  </a:lnTo>
                  <a:lnTo>
                    <a:pt x="701421" y="25908"/>
                  </a:lnTo>
                  <a:lnTo>
                    <a:pt x="701612" y="27527"/>
                  </a:lnTo>
                  <a:lnTo>
                    <a:pt x="698278" y="26289"/>
                  </a:lnTo>
                  <a:lnTo>
                    <a:pt x="695135" y="26670"/>
                  </a:lnTo>
                  <a:lnTo>
                    <a:pt x="689229" y="30671"/>
                  </a:lnTo>
                  <a:lnTo>
                    <a:pt x="684086" y="28099"/>
                  </a:lnTo>
                  <a:lnTo>
                    <a:pt x="683990" y="15335"/>
                  </a:lnTo>
                  <a:lnTo>
                    <a:pt x="680847" y="15716"/>
                  </a:lnTo>
                  <a:lnTo>
                    <a:pt x="679133" y="14288"/>
                  </a:lnTo>
                  <a:lnTo>
                    <a:pt x="675894" y="14764"/>
                  </a:lnTo>
                  <a:lnTo>
                    <a:pt x="676656" y="8192"/>
                  </a:lnTo>
                  <a:lnTo>
                    <a:pt x="671608" y="5620"/>
                  </a:lnTo>
                  <a:lnTo>
                    <a:pt x="672941" y="3905"/>
                  </a:lnTo>
                  <a:lnTo>
                    <a:pt x="676085" y="3524"/>
                  </a:lnTo>
                  <a:lnTo>
                    <a:pt x="674084" y="571"/>
                  </a:lnTo>
                  <a:lnTo>
                    <a:pt x="669798" y="4286"/>
                  </a:lnTo>
                  <a:lnTo>
                    <a:pt x="666655" y="4667"/>
                  </a:lnTo>
                  <a:lnTo>
                    <a:pt x="665417" y="8001"/>
                  </a:lnTo>
                  <a:lnTo>
                    <a:pt x="664464" y="12954"/>
                  </a:lnTo>
                  <a:lnTo>
                    <a:pt x="661321" y="13335"/>
                  </a:lnTo>
                  <a:lnTo>
                    <a:pt x="658749" y="18479"/>
                  </a:lnTo>
                  <a:lnTo>
                    <a:pt x="652272" y="17717"/>
                  </a:lnTo>
                  <a:lnTo>
                    <a:pt x="654368" y="9430"/>
                  </a:lnTo>
                  <a:lnTo>
                    <a:pt x="653225" y="0"/>
                  </a:lnTo>
                  <a:lnTo>
                    <a:pt x="651605" y="190"/>
                  </a:lnTo>
                  <a:lnTo>
                    <a:pt x="651986" y="3334"/>
                  </a:lnTo>
                  <a:lnTo>
                    <a:pt x="639032" y="1810"/>
                  </a:lnTo>
                  <a:lnTo>
                    <a:pt x="636080" y="3810"/>
                  </a:lnTo>
                  <a:lnTo>
                    <a:pt x="636270" y="5334"/>
                  </a:lnTo>
                  <a:lnTo>
                    <a:pt x="633317" y="7334"/>
                  </a:lnTo>
                  <a:lnTo>
                    <a:pt x="629888" y="6191"/>
                  </a:lnTo>
                  <a:lnTo>
                    <a:pt x="627983" y="3238"/>
                  </a:lnTo>
                  <a:lnTo>
                    <a:pt x="623221" y="3810"/>
                  </a:lnTo>
                  <a:lnTo>
                    <a:pt x="623411" y="5429"/>
                  </a:lnTo>
                  <a:lnTo>
                    <a:pt x="626745" y="6572"/>
                  </a:lnTo>
                  <a:lnTo>
                    <a:pt x="628745" y="9525"/>
                  </a:lnTo>
                  <a:lnTo>
                    <a:pt x="619887" y="28289"/>
                  </a:lnTo>
                  <a:lnTo>
                    <a:pt x="623507" y="31052"/>
                  </a:lnTo>
                  <a:lnTo>
                    <a:pt x="631127" y="28480"/>
                  </a:lnTo>
                  <a:lnTo>
                    <a:pt x="631603" y="31623"/>
                  </a:lnTo>
                  <a:lnTo>
                    <a:pt x="633317" y="32956"/>
                  </a:lnTo>
                  <a:lnTo>
                    <a:pt x="633984" y="37719"/>
                  </a:lnTo>
                  <a:lnTo>
                    <a:pt x="631222" y="41243"/>
                  </a:lnTo>
                  <a:lnTo>
                    <a:pt x="630460" y="47815"/>
                  </a:lnTo>
                  <a:lnTo>
                    <a:pt x="624269" y="50197"/>
                  </a:lnTo>
                  <a:lnTo>
                    <a:pt x="622935" y="51911"/>
                  </a:lnTo>
                  <a:lnTo>
                    <a:pt x="619220" y="47625"/>
                  </a:lnTo>
                  <a:lnTo>
                    <a:pt x="617411" y="46292"/>
                  </a:lnTo>
                  <a:lnTo>
                    <a:pt x="621792" y="55340"/>
                  </a:lnTo>
                  <a:lnTo>
                    <a:pt x="620363" y="57055"/>
                  </a:lnTo>
                  <a:lnTo>
                    <a:pt x="615410" y="56102"/>
                  </a:lnTo>
                  <a:lnTo>
                    <a:pt x="610934" y="58293"/>
                  </a:lnTo>
                  <a:lnTo>
                    <a:pt x="604361" y="57531"/>
                  </a:lnTo>
                  <a:lnTo>
                    <a:pt x="602837" y="57721"/>
                  </a:lnTo>
                  <a:lnTo>
                    <a:pt x="603599" y="64008"/>
                  </a:lnTo>
                  <a:lnTo>
                    <a:pt x="598932" y="64675"/>
                  </a:lnTo>
                  <a:lnTo>
                    <a:pt x="598075" y="58293"/>
                  </a:lnTo>
                  <a:lnTo>
                    <a:pt x="597122" y="63246"/>
                  </a:lnTo>
                  <a:lnTo>
                    <a:pt x="593789" y="62103"/>
                  </a:lnTo>
                  <a:lnTo>
                    <a:pt x="591788" y="59150"/>
                  </a:lnTo>
                  <a:lnTo>
                    <a:pt x="585502" y="59912"/>
                  </a:lnTo>
                  <a:lnTo>
                    <a:pt x="589026" y="62675"/>
                  </a:lnTo>
                  <a:lnTo>
                    <a:pt x="586073" y="64675"/>
                  </a:lnTo>
                  <a:lnTo>
                    <a:pt x="584930" y="68008"/>
                  </a:lnTo>
                  <a:lnTo>
                    <a:pt x="588264" y="69247"/>
                  </a:lnTo>
                  <a:lnTo>
                    <a:pt x="591788" y="71914"/>
                  </a:lnTo>
                  <a:lnTo>
                    <a:pt x="588645" y="72390"/>
                  </a:lnTo>
                  <a:lnTo>
                    <a:pt x="593598" y="86201"/>
                  </a:lnTo>
                  <a:lnTo>
                    <a:pt x="593979" y="89344"/>
                  </a:lnTo>
                  <a:lnTo>
                    <a:pt x="589312" y="89916"/>
                  </a:lnTo>
                  <a:lnTo>
                    <a:pt x="584168" y="100203"/>
                  </a:lnTo>
                  <a:lnTo>
                    <a:pt x="585407" y="109633"/>
                  </a:lnTo>
                  <a:lnTo>
                    <a:pt x="589598" y="117157"/>
                  </a:lnTo>
                  <a:lnTo>
                    <a:pt x="586550" y="119158"/>
                  </a:lnTo>
                  <a:lnTo>
                    <a:pt x="582073" y="121348"/>
                  </a:lnTo>
                  <a:lnTo>
                    <a:pt x="570167" y="116396"/>
                  </a:lnTo>
                  <a:lnTo>
                    <a:pt x="560927" y="106394"/>
                  </a:lnTo>
                  <a:lnTo>
                    <a:pt x="555593" y="102203"/>
                  </a:lnTo>
                  <a:lnTo>
                    <a:pt x="553593" y="99250"/>
                  </a:lnTo>
                  <a:lnTo>
                    <a:pt x="554546" y="94298"/>
                  </a:lnTo>
                  <a:lnTo>
                    <a:pt x="553022" y="94583"/>
                  </a:lnTo>
                  <a:lnTo>
                    <a:pt x="552641" y="104204"/>
                  </a:lnTo>
                  <a:lnTo>
                    <a:pt x="550831" y="102870"/>
                  </a:lnTo>
                  <a:lnTo>
                    <a:pt x="550069" y="96488"/>
                  </a:lnTo>
                  <a:lnTo>
                    <a:pt x="548259" y="95155"/>
                  </a:lnTo>
                  <a:lnTo>
                    <a:pt x="546640" y="95345"/>
                  </a:lnTo>
                  <a:lnTo>
                    <a:pt x="544735" y="92392"/>
                  </a:lnTo>
                  <a:lnTo>
                    <a:pt x="543116" y="92583"/>
                  </a:lnTo>
                  <a:lnTo>
                    <a:pt x="539591" y="89821"/>
                  </a:lnTo>
                  <a:lnTo>
                    <a:pt x="539782" y="91440"/>
                  </a:lnTo>
                  <a:lnTo>
                    <a:pt x="538163" y="91631"/>
                  </a:lnTo>
                  <a:lnTo>
                    <a:pt x="537401" y="85344"/>
                  </a:lnTo>
                  <a:lnTo>
                    <a:pt x="535781" y="85534"/>
                  </a:lnTo>
                  <a:lnTo>
                    <a:pt x="534448" y="87249"/>
                  </a:lnTo>
                  <a:lnTo>
                    <a:pt x="527685" y="84963"/>
                  </a:lnTo>
                  <a:lnTo>
                    <a:pt x="529304" y="84773"/>
                  </a:lnTo>
                  <a:lnTo>
                    <a:pt x="528923" y="81534"/>
                  </a:lnTo>
                  <a:lnTo>
                    <a:pt x="521399" y="85725"/>
                  </a:lnTo>
                  <a:lnTo>
                    <a:pt x="516446" y="84773"/>
                  </a:lnTo>
                  <a:lnTo>
                    <a:pt x="516636" y="86296"/>
                  </a:lnTo>
                  <a:lnTo>
                    <a:pt x="512921" y="82010"/>
                  </a:lnTo>
                  <a:lnTo>
                    <a:pt x="508730" y="87344"/>
                  </a:lnTo>
                  <a:lnTo>
                    <a:pt x="503206" y="81629"/>
                  </a:lnTo>
                  <a:lnTo>
                    <a:pt x="500444" y="85154"/>
                  </a:lnTo>
                  <a:lnTo>
                    <a:pt x="496919" y="82486"/>
                  </a:lnTo>
                  <a:lnTo>
                    <a:pt x="496157" y="76105"/>
                  </a:lnTo>
                  <a:lnTo>
                    <a:pt x="494729" y="77915"/>
                  </a:lnTo>
                  <a:lnTo>
                    <a:pt x="493967" y="71628"/>
                  </a:lnTo>
                  <a:lnTo>
                    <a:pt x="488252" y="77152"/>
                  </a:lnTo>
                  <a:lnTo>
                    <a:pt x="486823" y="78962"/>
                  </a:lnTo>
                  <a:lnTo>
                    <a:pt x="483870" y="80867"/>
                  </a:lnTo>
                  <a:lnTo>
                    <a:pt x="483679" y="79343"/>
                  </a:lnTo>
                  <a:lnTo>
                    <a:pt x="482346" y="81058"/>
                  </a:lnTo>
                  <a:lnTo>
                    <a:pt x="483489" y="90583"/>
                  </a:lnTo>
                  <a:lnTo>
                    <a:pt x="478822" y="91154"/>
                  </a:lnTo>
                  <a:lnTo>
                    <a:pt x="473678" y="88582"/>
                  </a:lnTo>
                  <a:lnTo>
                    <a:pt x="471106" y="93726"/>
                  </a:lnTo>
                  <a:lnTo>
                    <a:pt x="472916" y="95155"/>
                  </a:lnTo>
                  <a:lnTo>
                    <a:pt x="476060" y="94679"/>
                  </a:lnTo>
                  <a:lnTo>
                    <a:pt x="476250" y="96298"/>
                  </a:lnTo>
                  <a:lnTo>
                    <a:pt x="472059" y="101632"/>
                  </a:lnTo>
                  <a:lnTo>
                    <a:pt x="463772" y="99536"/>
                  </a:lnTo>
                  <a:lnTo>
                    <a:pt x="460820" y="101441"/>
                  </a:lnTo>
                  <a:lnTo>
                    <a:pt x="459867" y="106394"/>
                  </a:lnTo>
                  <a:lnTo>
                    <a:pt x="456914" y="108394"/>
                  </a:lnTo>
                  <a:lnTo>
                    <a:pt x="450437" y="107632"/>
                  </a:lnTo>
                  <a:lnTo>
                    <a:pt x="451009" y="112300"/>
                  </a:lnTo>
                  <a:lnTo>
                    <a:pt x="448247" y="115919"/>
                  </a:lnTo>
                  <a:lnTo>
                    <a:pt x="443294" y="114967"/>
                  </a:lnTo>
                  <a:lnTo>
                    <a:pt x="443484" y="116491"/>
                  </a:lnTo>
                  <a:lnTo>
                    <a:pt x="439007" y="118681"/>
                  </a:lnTo>
                  <a:lnTo>
                    <a:pt x="439388" y="121825"/>
                  </a:lnTo>
                  <a:lnTo>
                    <a:pt x="436626" y="125444"/>
                  </a:lnTo>
                  <a:lnTo>
                    <a:pt x="432911" y="121063"/>
                  </a:lnTo>
                  <a:lnTo>
                    <a:pt x="423386" y="122301"/>
                  </a:lnTo>
                  <a:lnTo>
                    <a:pt x="425006" y="134874"/>
                  </a:lnTo>
                  <a:lnTo>
                    <a:pt x="421862" y="135350"/>
                  </a:lnTo>
                  <a:lnTo>
                    <a:pt x="423291" y="133540"/>
                  </a:lnTo>
                  <a:lnTo>
                    <a:pt x="418148" y="130969"/>
                  </a:lnTo>
                  <a:lnTo>
                    <a:pt x="415766" y="137731"/>
                  </a:lnTo>
                  <a:lnTo>
                    <a:pt x="405670" y="134207"/>
                  </a:lnTo>
                  <a:lnTo>
                    <a:pt x="397764" y="135160"/>
                  </a:lnTo>
                  <a:lnTo>
                    <a:pt x="393478" y="138970"/>
                  </a:lnTo>
                  <a:lnTo>
                    <a:pt x="392906" y="146971"/>
                  </a:lnTo>
                  <a:lnTo>
                    <a:pt x="400812" y="158877"/>
                  </a:lnTo>
                  <a:lnTo>
                    <a:pt x="400812" y="158877"/>
                  </a:lnTo>
                  <a:lnTo>
                    <a:pt x="401193" y="162020"/>
                  </a:lnTo>
                  <a:lnTo>
                    <a:pt x="397859" y="160782"/>
                  </a:lnTo>
                  <a:lnTo>
                    <a:pt x="394907" y="162782"/>
                  </a:lnTo>
                  <a:lnTo>
                    <a:pt x="398240" y="163925"/>
                  </a:lnTo>
                  <a:lnTo>
                    <a:pt x="393764" y="166116"/>
                  </a:lnTo>
                  <a:lnTo>
                    <a:pt x="398907" y="168688"/>
                  </a:lnTo>
                  <a:lnTo>
                    <a:pt x="399479" y="173450"/>
                  </a:lnTo>
                  <a:lnTo>
                    <a:pt x="395288" y="178784"/>
                  </a:lnTo>
                  <a:lnTo>
                    <a:pt x="393954" y="180594"/>
                  </a:lnTo>
                  <a:lnTo>
                    <a:pt x="390620" y="179356"/>
                  </a:lnTo>
                  <a:lnTo>
                    <a:pt x="387858" y="182975"/>
                  </a:lnTo>
                  <a:lnTo>
                    <a:pt x="384905" y="184880"/>
                  </a:lnTo>
                  <a:lnTo>
                    <a:pt x="380714" y="190310"/>
                  </a:lnTo>
                  <a:lnTo>
                    <a:pt x="377571" y="190690"/>
                  </a:lnTo>
                  <a:lnTo>
                    <a:pt x="377762" y="192215"/>
                  </a:lnTo>
                  <a:lnTo>
                    <a:pt x="378047" y="193834"/>
                  </a:lnTo>
                  <a:lnTo>
                    <a:pt x="371285" y="191452"/>
                  </a:lnTo>
                  <a:lnTo>
                    <a:pt x="372142" y="197739"/>
                  </a:lnTo>
                  <a:lnTo>
                    <a:pt x="372332" y="199358"/>
                  </a:lnTo>
                  <a:lnTo>
                    <a:pt x="368903" y="198215"/>
                  </a:lnTo>
                  <a:lnTo>
                    <a:pt x="360236" y="192881"/>
                  </a:lnTo>
                  <a:lnTo>
                    <a:pt x="356521" y="188500"/>
                  </a:lnTo>
                  <a:lnTo>
                    <a:pt x="356045" y="185356"/>
                  </a:lnTo>
                  <a:lnTo>
                    <a:pt x="350901" y="182785"/>
                  </a:lnTo>
                  <a:lnTo>
                    <a:pt x="344424" y="182023"/>
                  </a:lnTo>
                  <a:lnTo>
                    <a:pt x="337757" y="192500"/>
                  </a:lnTo>
                  <a:lnTo>
                    <a:pt x="327851" y="190595"/>
                  </a:lnTo>
                  <a:lnTo>
                    <a:pt x="321564" y="191357"/>
                  </a:lnTo>
                  <a:lnTo>
                    <a:pt x="318611" y="193357"/>
                  </a:lnTo>
                  <a:lnTo>
                    <a:pt x="317564" y="185452"/>
                  </a:lnTo>
                  <a:lnTo>
                    <a:pt x="310515" y="179927"/>
                  </a:lnTo>
                  <a:lnTo>
                    <a:pt x="304610" y="183928"/>
                  </a:lnTo>
                  <a:lnTo>
                    <a:pt x="299466" y="181356"/>
                  </a:lnTo>
                  <a:lnTo>
                    <a:pt x="299847" y="184499"/>
                  </a:lnTo>
                  <a:lnTo>
                    <a:pt x="296704" y="184976"/>
                  </a:lnTo>
                  <a:lnTo>
                    <a:pt x="294704" y="182023"/>
                  </a:lnTo>
                  <a:lnTo>
                    <a:pt x="295847" y="178594"/>
                  </a:lnTo>
                  <a:lnTo>
                    <a:pt x="292894" y="180594"/>
                  </a:lnTo>
                  <a:lnTo>
                    <a:pt x="293942" y="175641"/>
                  </a:lnTo>
                  <a:lnTo>
                    <a:pt x="290513" y="174498"/>
                  </a:lnTo>
                  <a:lnTo>
                    <a:pt x="284226" y="175260"/>
                  </a:lnTo>
                  <a:lnTo>
                    <a:pt x="280702" y="172498"/>
                  </a:lnTo>
                  <a:lnTo>
                    <a:pt x="275749" y="171545"/>
                  </a:lnTo>
                  <a:lnTo>
                    <a:pt x="274796" y="176498"/>
                  </a:lnTo>
                  <a:lnTo>
                    <a:pt x="270224" y="178689"/>
                  </a:lnTo>
                  <a:lnTo>
                    <a:pt x="264509" y="184214"/>
                  </a:lnTo>
                  <a:lnTo>
                    <a:pt x="260794" y="179927"/>
                  </a:lnTo>
                  <a:lnTo>
                    <a:pt x="258794" y="176974"/>
                  </a:lnTo>
                  <a:lnTo>
                    <a:pt x="257365" y="178689"/>
                  </a:lnTo>
                  <a:lnTo>
                    <a:pt x="256032" y="180499"/>
                  </a:lnTo>
                  <a:lnTo>
                    <a:pt x="249936" y="182880"/>
                  </a:lnTo>
                  <a:lnTo>
                    <a:pt x="244602" y="178784"/>
                  </a:lnTo>
                  <a:lnTo>
                    <a:pt x="243364" y="182118"/>
                  </a:lnTo>
                  <a:lnTo>
                    <a:pt x="234982" y="191167"/>
                  </a:lnTo>
                  <a:lnTo>
                    <a:pt x="230219" y="191833"/>
                  </a:lnTo>
                  <a:lnTo>
                    <a:pt x="223266" y="187833"/>
                  </a:lnTo>
                  <a:lnTo>
                    <a:pt x="216599" y="185547"/>
                  </a:lnTo>
                  <a:lnTo>
                    <a:pt x="215170" y="187261"/>
                  </a:lnTo>
                  <a:lnTo>
                    <a:pt x="220694" y="192977"/>
                  </a:lnTo>
                  <a:lnTo>
                    <a:pt x="221933" y="202502"/>
                  </a:lnTo>
                  <a:lnTo>
                    <a:pt x="207550" y="202692"/>
                  </a:lnTo>
                  <a:lnTo>
                    <a:pt x="195072" y="205931"/>
                  </a:lnTo>
                  <a:lnTo>
                    <a:pt x="195358" y="207455"/>
                  </a:lnTo>
                  <a:lnTo>
                    <a:pt x="198882" y="210217"/>
                  </a:lnTo>
                  <a:lnTo>
                    <a:pt x="200311" y="221266"/>
                  </a:lnTo>
                  <a:lnTo>
                    <a:pt x="200882" y="226028"/>
                  </a:lnTo>
                  <a:lnTo>
                    <a:pt x="192596" y="223837"/>
                  </a:lnTo>
                  <a:lnTo>
                    <a:pt x="193929" y="222123"/>
                  </a:lnTo>
                  <a:lnTo>
                    <a:pt x="192024" y="219170"/>
                  </a:lnTo>
                  <a:lnTo>
                    <a:pt x="190214" y="204883"/>
                  </a:lnTo>
                  <a:lnTo>
                    <a:pt x="184594" y="199168"/>
                  </a:lnTo>
                  <a:lnTo>
                    <a:pt x="174593" y="195644"/>
                  </a:lnTo>
                  <a:lnTo>
                    <a:pt x="160401" y="197453"/>
                  </a:lnTo>
                  <a:lnTo>
                    <a:pt x="160782" y="200692"/>
                  </a:lnTo>
                  <a:lnTo>
                    <a:pt x="157448" y="199453"/>
                  </a:lnTo>
                  <a:lnTo>
                    <a:pt x="157829" y="202597"/>
                  </a:lnTo>
                  <a:lnTo>
                    <a:pt x="153067" y="203264"/>
                  </a:lnTo>
                  <a:lnTo>
                    <a:pt x="150114" y="205169"/>
                  </a:lnTo>
                  <a:lnTo>
                    <a:pt x="149924" y="216408"/>
                  </a:lnTo>
                  <a:lnTo>
                    <a:pt x="143256" y="214122"/>
                  </a:lnTo>
                  <a:lnTo>
                    <a:pt x="139351" y="220980"/>
                  </a:lnTo>
                  <a:lnTo>
                    <a:pt x="136684" y="213360"/>
                  </a:lnTo>
                  <a:lnTo>
                    <a:pt x="129635" y="207836"/>
                  </a:lnTo>
                  <a:lnTo>
                    <a:pt x="118586" y="209264"/>
                  </a:lnTo>
                  <a:lnTo>
                    <a:pt x="108490" y="205740"/>
                  </a:lnTo>
                  <a:lnTo>
                    <a:pt x="106299" y="214027"/>
                  </a:lnTo>
                  <a:lnTo>
                    <a:pt x="100870" y="221075"/>
                  </a:lnTo>
                  <a:lnTo>
                    <a:pt x="97631" y="221552"/>
                  </a:lnTo>
                  <a:lnTo>
                    <a:pt x="87630" y="230791"/>
                  </a:lnTo>
                  <a:lnTo>
                    <a:pt x="85058" y="235934"/>
                  </a:lnTo>
                  <a:lnTo>
                    <a:pt x="86106" y="243840"/>
                  </a:lnTo>
                  <a:lnTo>
                    <a:pt x="82201" y="250793"/>
                  </a:lnTo>
                  <a:lnTo>
                    <a:pt x="79820" y="257461"/>
                  </a:lnTo>
                  <a:lnTo>
                    <a:pt x="70295" y="258699"/>
                  </a:lnTo>
                  <a:lnTo>
                    <a:pt x="70009" y="281178"/>
                  </a:lnTo>
                  <a:lnTo>
                    <a:pt x="68199" y="279749"/>
                  </a:lnTo>
                  <a:lnTo>
                    <a:pt x="64865" y="278606"/>
                  </a:lnTo>
                  <a:lnTo>
                    <a:pt x="62865" y="275653"/>
                  </a:lnTo>
                  <a:lnTo>
                    <a:pt x="59722" y="276035"/>
                  </a:lnTo>
                  <a:lnTo>
                    <a:pt x="55626" y="281369"/>
                  </a:lnTo>
                  <a:lnTo>
                    <a:pt x="51435" y="286703"/>
                  </a:lnTo>
                  <a:lnTo>
                    <a:pt x="54007" y="294418"/>
                  </a:lnTo>
                  <a:lnTo>
                    <a:pt x="53245" y="300990"/>
                  </a:lnTo>
                  <a:lnTo>
                    <a:pt x="50959" y="307657"/>
                  </a:lnTo>
                  <a:lnTo>
                    <a:pt x="46387" y="309848"/>
                  </a:lnTo>
                  <a:lnTo>
                    <a:pt x="45053" y="311658"/>
                  </a:lnTo>
                  <a:lnTo>
                    <a:pt x="49816" y="323850"/>
                  </a:lnTo>
                  <a:lnTo>
                    <a:pt x="45625" y="329184"/>
                  </a:lnTo>
                  <a:lnTo>
                    <a:pt x="52578" y="333089"/>
                  </a:lnTo>
                  <a:lnTo>
                    <a:pt x="51340" y="336423"/>
                  </a:lnTo>
                  <a:lnTo>
                    <a:pt x="50197" y="339852"/>
                  </a:lnTo>
                  <a:lnTo>
                    <a:pt x="48196" y="336899"/>
                  </a:lnTo>
                  <a:lnTo>
                    <a:pt x="3524" y="363379"/>
                  </a:lnTo>
                  <a:lnTo>
                    <a:pt x="0" y="373475"/>
                  </a:lnTo>
                  <a:lnTo>
                    <a:pt x="2381" y="379571"/>
                  </a:lnTo>
                  <a:lnTo>
                    <a:pt x="1333" y="384524"/>
                  </a:lnTo>
                  <a:lnTo>
                    <a:pt x="3715" y="390620"/>
                  </a:lnTo>
                  <a:lnTo>
                    <a:pt x="7525" y="395002"/>
                  </a:lnTo>
                  <a:lnTo>
                    <a:pt x="6382" y="398336"/>
                  </a:lnTo>
                  <a:lnTo>
                    <a:pt x="14669" y="400526"/>
                  </a:lnTo>
                  <a:lnTo>
                    <a:pt x="16573" y="403479"/>
                  </a:lnTo>
                  <a:lnTo>
                    <a:pt x="17621" y="411290"/>
                  </a:lnTo>
                  <a:lnTo>
                    <a:pt x="24765" y="429673"/>
                  </a:lnTo>
                  <a:lnTo>
                    <a:pt x="30099" y="433769"/>
                  </a:lnTo>
                  <a:lnTo>
                    <a:pt x="38195" y="434340"/>
                  </a:lnTo>
                  <a:lnTo>
                    <a:pt x="55626" y="445008"/>
                  </a:lnTo>
                  <a:lnTo>
                    <a:pt x="56388" y="451294"/>
                  </a:lnTo>
                  <a:lnTo>
                    <a:pt x="63341" y="455200"/>
                  </a:lnTo>
                  <a:lnTo>
                    <a:pt x="68008" y="454628"/>
                  </a:lnTo>
                  <a:lnTo>
                    <a:pt x="69818" y="455962"/>
                  </a:lnTo>
                  <a:lnTo>
                    <a:pt x="77533" y="453390"/>
                  </a:lnTo>
                  <a:lnTo>
                    <a:pt x="82487" y="454343"/>
                  </a:lnTo>
                  <a:lnTo>
                    <a:pt x="82106" y="464058"/>
                  </a:lnTo>
                  <a:lnTo>
                    <a:pt x="87058" y="477869"/>
                  </a:lnTo>
                  <a:lnTo>
                    <a:pt x="81534" y="485013"/>
                  </a:lnTo>
                  <a:lnTo>
                    <a:pt x="84106" y="492633"/>
                  </a:lnTo>
                  <a:lnTo>
                    <a:pt x="78391" y="498253"/>
                  </a:lnTo>
                  <a:lnTo>
                    <a:pt x="77248" y="501586"/>
                  </a:lnTo>
                  <a:lnTo>
                    <a:pt x="79248" y="504539"/>
                  </a:lnTo>
                  <a:lnTo>
                    <a:pt x="84106" y="505492"/>
                  </a:lnTo>
                  <a:lnTo>
                    <a:pt x="85916" y="506825"/>
                  </a:lnTo>
                  <a:lnTo>
                    <a:pt x="84773" y="510254"/>
                  </a:lnTo>
                  <a:lnTo>
                    <a:pt x="80582" y="515588"/>
                  </a:lnTo>
                  <a:lnTo>
                    <a:pt x="81439" y="521875"/>
                  </a:lnTo>
                  <a:lnTo>
                    <a:pt x="89726" y="524065"/>
                  </a:lnTo>
                  <a:lnTo>
                    <a:pt x="88297" y="525780"/>
                  </a:lnTo>
                  <a:lnTo>
                    <a:pt x="83820" y="527971"/>
                  </a:lnTo>
                  <a:lnTo>
                    <a:pt x="84392" y="532733"/>
                  </a:lnTo>
                  <a:lnTo>
                    <a:pt x="90964" y="533495"/>
                  </a:lnTo>
                  <a:lnTo>
                    <a:pt x="96869" y="529495"/>
                  </a:lnTo>
                  <a:lnTo>
                    <a:pt x="104965" y="530066"/>
                  </a:lnTo>
                  <a:lnTo>
                    <a:pt x="106870" y="533114"/>
                  </a:lnTo>
                  <a:lnTo>
                    <a:pt x="105537" y="534829"/>
                  </a:lnTo>
                  <a:lnTo>
                    <a:pt x="104108" y="536639"/>
                  </a:lnTo>
                  <a:lnTo>
                    <a:pt x="108299" y="544068"/>
                  </a:lnTo>
                  <a:lnTo>
                    <a:pt x="108585" y="558546"/>
                  </a:lnTo>
                  <a:lnTo>
                    <a:pt x="118205" y="571690"/>
                  </a:lnTo>
                  <a:lnTo>
                    <a:pt x="114110" y="589883"/>
                  </a:lnTo>
                  <a:lnTo>
                    <a:pt x="115729" y="602456"/>
                  </a:lnTo>
                  <a:lnTo>
                    <a:pt x="119348" y="605219"/>
                  </a:lnTo>
                  <a:lnTo>
                    <a:pt x="121920" y="612934"/>
                  </a:lnTo>
                  <a:lnTo>
                    <a:pt x="126016" y="620458"/>
                  </a:lnTo>
                  <a:lnTo>
                    <a:pt x="129445" y="621602"/>
                  </a:lnTo>
                  <a:lnTo>
                    <a:pt x="125254" y="626936"/>
                  </a:lnTo>
                  <a:lnTo>
                    <a:pt x="135922" y="635222"/>
                  </a:lnTo>
                  <a:lnTo>
                    <a:pt x="140875" y="636175"/>
                  </a:lnTo>
                  <a:lnTo>
                    <a:pt x="142875" y="639128"/>
                  </a:lnTo>
                  <a:lnTo>
                    <a:pt x="145828" y="637127"/>
                  </a:lnTo>
                  <a:lnTo>
                    <a:pt x="147828" y="640080"/>
                  </a:lnTo>
                  <a:lnTo>
                    <a:pt x="152495" y="639508"/>
                  </a:lnTo>
                  <a:lnTo>
                    <a:pt x="153734" y="636175"/>
                  </a:lnTo>
                  <a:lnTo>
                    <a:pt x="158210" y="633984"/>
                  </a:lnTo>
                  <a:lnTo>
                    <a:pt x="162973" y="646176"/>
                  </a:lnTo>
                  <a:lnTo>
                    <a:pt x="162020" y="651129"/>
                  </a:lnTo>
                  <a:lnTo>
                    <a:pt x="161639" y="660845"/>
                  </a:lnTo>
                  <a:lnTo>
                    <a:pt x="159544" y="669131"/>
                  </a:lnTo>
                  <a:lnTo>
                    <a:pt x="162306" y="678370"/>
                  </a:lnTo>
                  <a:lnTo>
                    <a:pt x="161735" y="686467"/>
                  </a:lnTo>
                  <a:lnTo>
                    <a:pt x="153638" y="698754"/>
                  </a:lnTo>
                  <a:lnTo>
                    <a:pt x="156782" y="698278"/>
                  </a:lnTo>
                  <a:lnTo>
                    <a:pt x="161163" y="707327"/>
                  </a:lnTo>
                  <a:lnTo>
                    <a:pt x="164497" y="708565"/>
                  </a:lnTo>
                  <a:lnTo>
                    <a:pt x="170116" y="727043"/>
                  </a:lnTo>
                  <a:lnTo>
                    <a:pt x="168974" y="730472"/>
                  </a:lnTo>
                  <a:lnTo>
                    <a:pt x="170307" y="741521"/>
                  </a:lnTo>
                  <a:lnTo>
                    <a:pt x="167831" y="746665"/>
                  </a:lnTo>
                  <a:lnTo>
                    <a:pt x="185166" y="757237"/>
                  </a:lnTo>
                  <a:lnTo>
                    <a:pt x="206312" y="759333"/>
                  </a:lnTo>
                  <a:lnTo>
                    <a:pt x="209455" y="771811"/>
                  </a:lnTo>
                  <a:lnTo>
                    <a:pt x="222885" y="776478"/>
                  </a:lnTo>
                  <a:lnTo>
                    <a:pt x="239744" y="795147"/>
                  </a:lnTo>
                  <a:lnTo>
                    <a:pt x="241554" y="809435"/>
                  </a:lnTo>
                  <a:lnTo>
                    <a:pt x="239363" y="817721"/>
                  </a:lnTo>
                  <a:lnTo>
                    <a:pt x="245745" y="829723"/>
                  </a:lnTo>
                  <a:lnTo>
                    <a:pt x="252413" y="832009"/>
                  </a:lnTo>
                  <a:lnTo>
                    <a:pt x="254603" y="836581"/>
                  </a:lnTo>
                  <a:lnTo>
                    <a:pt x="252698" y="846487"/>
                  </a:lnTo>
                  <a:lnTo>
                    <a:pt x="253079" y="849630"/>
                  </a:lnTo>
                  <a:lnTo>
                    <a:pt x="256413" y="850773"/>
                  </a:lnTo>
                  <a:lnTo>
                    <a:pt x="266700" y="855916"/>
                  </a:lnTo>
                  <a:lnTo>
                    <a:pt x="276797" y="859441"/>
                  </a:lnTo>
                  <a:lnTo>
                    <a:pt x="294323" y="858774"/>
                  </a:lnTo>
                  <a:lnTo>
                    <a:pt x="299085" y="858203"/>
                  </a:lnTo>
                  <a:lnTo>
                    <a:pt x="300419" y="856393"/>
                  </a:lnTo>
                  <a:lnTo>
                    <a:pt x="302038" y="856202"/>
                  </a:lnTo>
                  <a:lnTo>
                    <a:pt x="306229" y="863727"/>
                  </a:lnTo>
                  <a:lnTo>
                    <a:pt x="310706" y="861536"/>
                  </a:lnTo>
                  <a:lnTo>
                    <a:pt x="321374" y="869823"/>
                  </a:lnTo>
                  <a:lnTo>
                    <a:pt x="329660" y="871919"/>
                  </a:lnTo>
                  <a:lnTo>
                    <a:pt x="328517" y="862489"/>
                  </a:lnTo>
                  <a:lnTo>
                    <a:pt x="326136" y="856393"/>
                  </a:lnTo>
                  <a:lnTo>
                    <a:pt x="325279" y="850011"/>
                  </a:lnTo>
                  <a:lnTo>
                    <a:pt x="341662" y="852773"/>
                  </a:lnTo>
                  <a:lnTo>
                    <a:pt x="348615" y="856678"/>
                  </a:lnTo>
                  <a:lnTo>
                    <a:pt x="352139" y="859441"/>
                  </a:lnTo>
                  <a:lnTo>
                    <a:pt x="359855" y="856869"/>
                  </a:lnTo>
                  <a:lnTo>
                    <a:pt x="366808" y="860774"/>
                  </a:lnTo>
                  <a:lnTo>
                    <a:pt x="371475" y="860203"/>
                  </a:lnTo>
                  <a:lnTo>
                    <a:pt x="374809" y="861346"/>
                  </a:lnTo>
                  <a:lnTo>
                    <a:pt x="380429" y="867061"/>
                  </a:lnTo>
                  <a:lnTo>
                    <a:pt x="383572" y="866680"/>
                  </a:lnTo>
                  <a:lnTo>
                    <a:pt x="390430" y="870585"/>
                  </a:lnTo>
                  <a:lnTo>
                    <a:pt x="400145" y="883825"/>
                  </a:lnTo>
                  <a:lnTo>
                    <a:pt x="404336" y="891254"/>
                  </a:lnTo>
                  <a:lnTo>
                    <a:pt x="411671" y="898398"/>
                  </a:lnTo>
                  <a:lnTo>
                    <a:pt x="414052" y="904494"/>
                  </a:lnTo>
                  <a:lnTo>
                    <a:pt x="428816" y="907447"/>
                  </a:lnTo>
                  <a:lnTo>
                    <a:pt x="429673" y="926592"/>
                  </a:lnTo>
                  <a:lnTo>
                    <a:pt x="428339" y="928307"/>
                  </a:lnTo>
                  <a:lnTo>
                    <a:pt x="425958" y="935069"/>
                  </a:lnTo>
                  <a:lnTo>
                    <a:pt x="431292" y="952024"/>
                  </a:lnTo>
                  <a:lnTo>
                    <a:pt x="445960" y="953357"/>
                  </a:lnTo>
                  <a:lnTo>
                    <a:pt x="447866" y="956310"/>
                  </a:lnTo>
                  <a:lnTo>
                    <a:pt x="446913" y="961263"/>
                  </a:lnTo>
                  <a:lnTo>
                    <a:pt x="449294" y="967359"/>
                  </a:lnTo>
                  <a:lnTo>
                    <a:pt x="454438" y="969931"/>
                  </a:lnTo>
                  <a:lnTo>
                    <a:pt x="458152" y="974217"/>
                  </a:lnTo>
                  <a:lnTo>
                    <a:pt x="464534" y="973455"/>
                  </a:lnTo>
                  <a:lnTo>
                    <a:pt x="466725" y="977932"/>
                  </a:lnTo>
                  <a:lnTo>
                    <a:pt x="469106" y="984028"/>
                  </a:lnTo>
                  <a:lnTo>
                    <a:pt x="467106" y="993934"/>
                  </a:lnTo>
                  <a:lnTo>
                    <a:pt x="486537" y="1007555"/>
                  </a:lnTo>
                  <a:lnTo>
                    <a:pt x="485966" y="1015651"/>
                  </a:lnTo>
                  <a:lnTo>
                    <a:pt x="483394" y="1020699"/>
                  </a:lnTo>
                  <a:lnTo>
                    <a:pt x="483775" y="1023937"/>
                  </a:lnTo>
                  <a:lnTo>
                    <a:pt x="492824" y="1032320"/>
                  </a:lnTo>
                  <a:lnTo>
                    <a:pt x="497586" y="1031748"/>
                  </a:lnTo>
                  <a:lnTo>
                    <a:pt x="503301" y="1039082"/>
                  </a:lnTo>
                  <a:lnTo>
                    <a:pt x="505111" y="1040416"/>
                  </a:lnTo>
                  <a:lnTo>
                    <a:pt x="509302" y="1047940"/>
                  </a:lnTo>
                  <a:lnTo>
                    <a:pt x="520351" y="1059371"/>
                  </a:lnTo>
                  <a:lnTo>
                    <a:pt x="526828" y="1060133"/>
                  </a:lnTo>
                  <a:lnTo>
                    <a:pt x="528828" y="1063085"/>
                  </a:lnTo>
                  <a:lnTo>
                    <a:pt x="530066" y="1072515"/>
                  </a:lnTo>
                  <a:lnTo>
                    <a:pt x="524732" y="1094041"/>
                  </a:lnTo>
                  <a:lnTo>
                    <a:pt x="534257" y="1105662"/>
                  </a:lnTo>
                  <a:lnTo>
                    <a:pt x="550450" y="1119664"/>
                  </a:lnTo>
                  <a:lnTo>
                    <a:pt x="571024" y="1129856"/>
                  </a:lnTo>
                  <a:lnTo>
                    <a:pt x="587978" y="1124522"/>
                  </a:lnTo>
                  <a:lnTo>
                    <a:pt x="603790" y="1122426"/>
                  </a:lnTo>
                  <a:lnTo>
                    <a:pt x="608933" y="1124998"/>
                  </a:lnTo>
                  <a:lnTo>
                    <a:pt x="623792" y="1140809"/>
                  </a:lnTo>
                  <a:lnTo>
                    <a:pt x="628841" y="1143286"/>
                  </a:lnTo>
                  <a:lnTo>
                    <a:pt x="634270" y="1147477"/>
                  </a:lnTo>
                  <a:lnTo>
                    <a:pt x="634841" y="1152239"/>
                  </a:lnTo>
                  <a:lnTo>
                    <a:pt x="641509" y="1154525"/>
                  </a:lnTo>
                  <a:lnTo>
                    <a:pt x="647319" y="1161860"/>
                  </a:lnTo>
                  <a:lnTo>
                    <a:pt x="649891" y="1169480"/>
                  </a:lnTo>
                  <a:lnTo>
                    <a:pt x="655225" y="1173671"/>
                  </a:lnTo>
                  <a:lnTo>
                    <a:pt x="661130" y="1182529"/>
                  </a:lnTo>
                  <a:lnTo>
                    <a:pt x="662940" y="1183862"/>
                  </a:lnTo>
                  <a:lnTo>
                    <a:pt x="666464" y="1186625"/>
                  </a:lnTo>
                  <a:lnTo>
                    <a:pt x="671227" y="1198912"/>
                  </a:lnTo>
                  <a:lnTo>
                    <a:pt x="675989" y="1198245"/>
                  </a:lnTo>
                  <a:lnTo>
                    <a:pt x="676561" y="1203008"/>
                  </a:lnTo>
                  <a:lnTo>
                    <a:pt x="681323" y="1202436"/>
                  </a:lnTo>
                  <a:lnTo>
                    <a:pt x="684848" y="1205198"/>
                  </a:lnTo>
                  <a:lnTo>
                    <a:pt x="684086" y="1211675"/>
                  </a:lnTo>
                  <a:lnTo>
                    <a:pt x="681323" y="1215200"/>
                  </a:lnTo>
                  <a:lnTo>
                    <a:pt x="681323" y="1215200"/>
                  </a:lnTo>
                  <a:lnTo>
                    <a:pt x="685324" y="1221105"/>
                  </a:lnTo>
                  <a:lnTo>
                    <a:pt x="690467" y="1236536"/>
                  </a:lnTo>
                  <a:lnTo>
                    <a:pt x="687705" y="1240060"/>
                  </a:lnTo>
                  <a:lnTo>
                    <a:pt x="685610" y="1248347"/>
                  </a:lnTo>
                  <a:lnTo>
                    <a:pt x="691706" y="1258824"/>
                  </a:lnTo>
                  <a:lnTo>
                    <a:pt x="691896" y="1260348"/>
                  </a:lnTo>
                  <a:lnTo>
                    <a:pt x="688181" y="1268921"/>
                  </a:lnTo>
                  <a:lnTo>
                    <a:pt x="686276" y="1278731"/>
                  </a:lnTo>
                  <a:lnTo>
                    <a:pt x="703802" y="1290923"/>
                  </a:lnTo>
                  <a:lnTo>
                    <a:pt x="704469" y="1295686"/>
                  </a:lnTo>
                  <a:lnTo>
                    <a:pt x="709327" y="1296638"/>
                  </a:lnTo>
                  <a:lnTo>
                    <a:pt x="716661" y="1303687"/>
                  </a:lnTo>
                  <a:lnTo>
                    <a:pt x="728567" y="1308640"/>
                  </a:lnTo>
                  <a:lnTo>
                    <a:pt x="734282" y="1315974"/>
                  </a:lnTo>
                  <a:lnTo>
                    <a:pt x="744569" y="1321022"/>
                  </a:lnTo>
                  <a:lnTo>
                    <a:pt x="745141" y="1325785"/>
                  </a:lnTo>
                  <a:lnTo>
                    <a:pt x="753999" y="1332643"/>
                  </a:lnTo>
                  <a:lnTo>
                    <a:pt x="761905" y="1331690"/>
                  </a:lnTo>
                  <a:lnTo>
                    <a:pt x="760857" y="1310926"/>
                  </a:lnTo>
                  <a:lnTo>
                    <a:pt x="762857" y="1301020"/>
                  </a:lnTo>
                  <a:lnTo>
                    <a:pt x="767810" y="1302068"/>
                  </a:lnTo>
                  <a:lnTo>
                    <a:pt x="775049" y="1296257"/>
                  </a:lnTo>
                  <a:lnTo>
                    <a:pt x="779812" y="1295686"/>
                  </a:lnTo>
                  <a:lnTo>
                    <a:pt x="788861" y="1304163"/>
                  </a:lnTo>
                  <a:lnTo>
                    <a:pt x="793623" y="1303591"/>
                  </a:lnTo>
                  <a:lnTo>
                    <a:pt x="792671" y="1295686"/>
                  </a:lnTo>
                  <a:lnTo>
                    <a:pt x="793623" y="1290733"/>
                  </a:lnTo>
                  <a:lnTo>
                    <a:pt x="786860" y="1288352"/>
                  </a:lnTo>
                  <a:lnTo>
                    <a:pt x="782955" y="1282446"/>
                  </a:lnTo>
                  <a:lnTo>
                    <a:pt x="785051" y="1274159"/>
                  </a:lnTo>
                  <a:lnTo>
                    <a:pt x="784479" y="1269397"/>
                  </a:lnTo>
                  <a:lnTo>
                    <a:pt x="789813" y="1260729"/>
                  </a:lnTo>
                  <a:lnTo>
                    <a:pt x="789146" y="1255966"/>
                  </a:lnTo>
                  <a:lnTo>
                    <a:pt x="790004" y="1249490"/>
                  </a:lnTo>
                  <a:lnTo>
                    <a:pt x="788003" y="1246537"/>
                  </a:lnTo>
                  <a:lnTo>
                    <a:pt x="796195" y="1235869"/>
                  </a:lnTo>
                  <a:lnTo>
                    <a:pt x="798005" y="1224439"/>
                  </a:lnTo>
                  <a:lnTo>
                    <a:pt x="807625" y="1211961"/>
                  </a:lnTo>
                  <a:lnTo>
                    <a:pt x="807244" y="1208818"/>
                  </a:lnTo>
                  <a:lnTo>
                    <a:pt x="808768" y="1208627"/>
                  </a:lnTo>
                  <a:lnTo>
                    <a:pt x="810768" y="1211580"/>
                  </a:lnTo>
                  <a:lnTo>
                    <a:pt x="814102" y="1212723"/>
                  </a:lnTo>
                  <a:lnTo>
                    <a:pt x="817912" y="1217105"/>
                  </a:lnTo>
                  <a:lnTo>
                    <a:pt x="830675" y="1204246"/>
                  </a:lnTo>
                  <a:lnTo>
                    <a:pt x="832866" y="1195959"/>
                  </a:lnTo>
                  <a:lnTo>
                    <a:pt x="834009" y="1192530"/>
                  </a:lnTo>
                  <a:lnTo>
                    <a:pt x="833247" y="1186244"/>
                  </a:lnTo>
                  <a:lnTo>
                    <a:pt x="825341" y="1174433"/>
                  </a:lnTo>
                  <a:lnTo>
                    <a:pt x="827437" y="1166146"/>
                  </a:lnTo>
                  <a:lnTo>
                    <a:pt x="825437" y="1163193"/>
                  </a:lnTo>
                  <a:lnTo>
                    <a:pt x="818388" y="1157669"/>
                  </a:lnTo>
                  <a:lnTo>
                    <a:pt x="815531" y="1148429"/>
                  </a:lnTo>
                  <a:lnTo>
                    <a:pt x="815340" y="1146810"/>
                  </a:lnTo>
                  <a:lnTo>
                    <a:pt x="826199" y="1143857"/>
                  </a:lnTo>
                  <a:lnTo>
                    <a:pt x="827342" y="1140524"/>
                  </a:lnTo>
                  <a:lnTo>
                    <a:pt x="825818" y="1127855"/>
                  </a:lnTo>
                  <a:lnTo>
                    <a:pt x="822389" y="1126712"/>
                  </a:lnTo>
                  <a:lnTo>
                    <a:pt x="823436" y="1121759"/>
                  </a:lnTo>
                  <a:lnTo>
                    <a:pt x="824579" y="1118426"/>
                  </a:lnTo>
                  <a:lnTo>
                    <a:pt x="824389" y="1116806"/>
                  </a:lnTo>
                  <a:lnTo>
                    <a:pt x="826675" y="1110139"/>
                  </a:lnTo>
                  <a:lnTo>
                    <a:pt x="829723" y="1108139"/>
                  </a:lnTo>
                  <a:lnTo>
                    <a:pt x="831056" y="1106329"/>
                  </a:lnTo>
                  <a:lnTo>
                    <a:pt x="829056" y="1103376"/>
                  </a:lnTo>
                  <a:lnTo>
                    <a:pt x="822389" y="1100995"/>
                  </a:lnTo>
                  <a:lnTo>
                    <a:pt x="822198" y="1099471"/>
                  </a:lnTo>
                  <a:lnTo>
                    <a:pt x="823532" y="1097661"/>
                  </a:lnTo>
                  <a:lnTo>
                    <a:pt x="836581" y="1099185"/>
                  </a:lnTo>
                  <a:lnTo>
                    <a:pt x="836771" y="1100804"/>
                  </a:lnTo>
                  <a:lnTo>
                    <a:pt x="833819" y="1102805"/>
                  </a:lnTo>
                  <a:lnTo>
                    <a:pt x="842296" y="1106519"/>
                  </a:lnTo>
                  <a:lnTo>
                    <a:pt x="847058" y="1105948"/>
                  </a:lnTo>
                  <a:lnTo>
                    <a:pt x="849059" y="1108901"/>
                  </a:lnTo>
                  <a:lnTo>
                    <a:pt x="850964" y="1111853"/>
                  </a:lnTo>
                  <a:lnTo>
                    <a:pt x="861060" y="1102519"/>
                  </a:lnTo>
                  <a:lnTo>
                    <a:pt x="862013" y="1097566"/>
                  </a:lnTo>
                  <a:lnTo>
                    <a:pt x="866966" y="1098518"/>
                  </a:lnTo>
                  <a:lnTo>
                    <a:pt x="869918" y="1096613"/>
                  </a:lnTo>
                  <a:lnTo>
                    <a:pt x="869537" y="1093470"/>
                  </a:lnTo>
                  <a:lnTo>
                    <a:pt x="872490" y="1091470"/>
                  </a:lnTo>
                  <a:lnTo>
                    <a:pt x="871823" y="1086707"/>
                  </a:lnTo>
                  <a:lnTo>
                    <a:pt x="879920" y="1087279"/>
                  </a:lnTo>
                  <a:lnTo>
                    <a:pt x="884301" y="1083564"/>
                  </a:lnTo>
                  <a:lnTo>
                    <a:pt x="886016" y="1084898"/>
                  </a:lnTo>
                  <a:lnTo>
                    <a:pt x="888778" y="1081373"/>
                  </a:lnTo>
                  <a:lnTo>
                    <a:pt x="892397" y="1084136"/>
                  </a:lnTo>
                  <a:lnTo>
                    <a:pt x="893921" y="1083850"/>
                  </a:lnTo>
                  <a:lnTo>
                    <a:pt x="894588" y="1088612"/>
                  </a:lnTo>
                  <a:lnTo>
                    <a:pt x="895731" y="1085279"/>
                  </a:lnTo>
                  <a:lnTo>
                    <a:pt x="898493" y="1081754"/>
                  </a:lnTo>
                  <a:lnTo>
                    <a:pt x="898303" y="1080135"/>
                  </a:lnTo>
                  <a:lnTo>
                    <a:pt x="895350" y="1082135"/>
                  </a:lnTo>
                  <a:lnTo>
                    <a:pt x="895160" y="1080516"/>
                  </a:lnTo>
                  <a:lnTo>
                    <a:pt x="893731" y="1082326"/>
                  </a:lnTo>
                  <a:lnTo>
                    <a:pt x="891731" y="1079373"/>
                  </a:lnTo>
                  <a:lnTo>
                    <a:pt x="896302" y="1077182"/>
                  </a:lnTo>
                  <a:lnTo>
                    <a:pt x="896112" y="1075563"/>
                  </a:lnTo>
                  <a:lnTo>
                    <a:pt x="895445" y="1058037"/>
                  </a:lnTo>
                  <a:lnTo>
                    <a:pt x="902303" y="1049179"/>
                  </a:lnTo>
                  <a:lnTo>
                    <a:pt x="905542" y="1048703"/>
                  </a:lnTo>
                  <a:lnTo>
                    <a:pt x="910685" y="1051274"/>
                  </a:lnTo>
                  <a:lnTo>
                    <a:pt x="914972" y="1047560"/>
                  </a:lnTo>
                  <a:lnTo>
                    <a:pt x="912400" y="1039844"/>
                  </a:lnTo>
                  <a:lnTo>
                    <a:pt x="911352" y="1031939"/>
                  </a:lnTo>
                  <a:lnTo>
                    <a:pt x="908018" y="1030795"/>
                  </a:lnTo>
                  <a:lnTo>
                    <a:pt x="909161" y="1027462"/>
                  </a:lnTo>
                  <a:lnTo>
                    <a:pt x="907637" y="1027652"/>
                  </a:lnTo>
                  <a:lnTo>
                    <a:pt x="899351" y="1025461"/>
                  </a:lnTo>
                  <a:lnTo>
                    <a:pt x="899732" y="1015841"/>
                  </a:lnTo>
                  <a:lnTo>
                    <a:pt x="896969" y="1019365"/>
                  </a:lnTo>
                  <a:lnTo>
                    <a:pt x="896112" y="1013079"/>
                  </a:lnTo>
                  <a:lnTo>
                    <a:pt x="897731" y="1012889"/>
                  </a:lnTo>
                  <a:lnTo>
                    <a:pt x="894588" y="1013270"/>
                  </a:lnTo>
                  <a:lnTo>
                    <a:pt x="893921" y="1008507"/>
                  </a:lnTo>
                  <a:lnTo>
                    <a:pt x="895350" y="1006697"/>
                  </a:lnTo>
                  <a:lnTo>
                    <a:pt x="898684" y="1007936"/>
                  </a:lnTo>
                  <a:lnTo>
                    <a:pt x="898303" y="1004792"/>
                  </a:lnTo>
                  <a:lnTo>
                    <a:pt x="896493" y="1003364"/>
                  </a:lnTo>
                  <a:lnTo>
                    <a:pt x="902208" y="997839"/>
                  </a:lnTo>
                  <a:lnTo>
                    <a:pt x="908971" y="1000220"/>
                  </a:lnTo>
                  <a:lnTo>
                    <a:pt x="908114" y="993839"/>
                  </a:lnTo>
                  <a:lnTo>
                    <a:pt x="906399" y="992505"/>
                  </a:lnTo>
                  <a:lnTo>
                    <a:pt x="907352" y="987552"/>
                  </a:lnTo>
                  <a:lnTo>
                    <a:pt x="912495" y="990124"/>
                  </a:lnTo>
                  <a:lnTo>
                    <a:pt x="912686" y="991743"/>
                  </a:lnTo>
                  <a:lnTo>
                    <a:pt x="919163" y="992505"/>
                  </a:lnTo>
                  <a:lnTo>
                    <a:pt x="920782" y="992315"/>
                  </a:lnTo>
                  <a:lnTo>
                    <a:pt x="916781" y="986314"/>
                  </a:lnTo>
                  <a:lnTo>
                    <a:pt x="916591" y="984790"/>
                  </a:lnTo>
                  <a:lnTo>
                    <a:pt x="923639" y="977456"/>
                  </a:lnTo>
                  <a:lnTo>
                    <a:pt x="926878" y="977074"/>
                  </a:lnTo>
                  <a:lnTo>
                    <a:pt x="924877" y="974122"/>
                  </a:lnTo>
                  <a:lnTo>
                    <a:pt x="921925" y="976122"/>
                  </a:lnTo>
                  <a:lnTo>
                    <a:pt x="912209" y="975741"/>
                  </a:lnTo>
                  <a:lnTo>
                    <a:pt x="910495" y="974312"/>
                  </a:lnTo>
                  <a:lnTo>
                    <a:pt x="907256" y="974789"/>
                  </a:lnTo>
                  <a:lnTo>
                    <a:pt x="904304" y="963930"/>
                  </a:lnTo>
                  <a:lnTo>
                    <a:pt x="904685" y="954215"/>
                  </a:lnTo>
                  <a:lnTo>
                    <a:pt x="901160" y="951452"/>
                  </a:lnTo>
                  <a:lnTo>
                    <a:pt x="902494" y="949738"/>
                  </a:lnTo>
                  <a:lnTo>
                    <a:pt x="909066" y="950500"/>
                  </a:lnTo>
                  <a:lnTo>
                    <a:pt x="913543" y="948309"/>
                  </a:lnTo>
                  <a:lnTo>
                    <a:pt x="917353" y="952595"/>
                  </a:lnTo>
                  <a:lnTo>
                    <a:pt x="920496" y="952214"/>
                  </a:lnTo>
                  <a:lnTo>
                    <a:pt x="923639" y="951833"/>
                  </a:lnTo>
                  <a:lnTo>
                    <a:pt x="924401" y="945261"/>
                  </a:lnTo>
                  <a:lnTo>
                    <a:pt x="927354" y="943356"/>
                  </a:lnTo>
                  <a:lnTo>
                    <a:pt x="928116" y="936784"/>
                  </a:lnTo>
                  <a:lnTo>
                    <a:pt x="924782" y="935641"/>
                  </a:lnTo>
                  <a:lnTo>
                    <a:pt x="921639" y="936022"/>
                  </a:lnTo>
                  <a:lnTo>
                    <a:pt x="917448" y="928497"/>
                  </a:lnTo>
                  <a:lnTo>
                    <a:pt x="919067" y="928307"/>
                  </a:lnTo>
                  <a:lnTo>
                    <a:pt x="922020" y="926402"/>
                  </a:lnTo>
                  <a:lnTo>
                    <a:pt x="918972" y="915543"/>
                  </a:lnTo>
                  <a:lnTo>
                    <a:pt x="927449" y="919258"/>
                  </a:lnTo>
                  <a:lnTo>
                    <a:pt x="929450" y="909352"/>
                  </a:lnTo>
                  <a:lnTo>
                    <a:pt x="934022" y="907161"/>
                  </a:lnTo>
                  <a:lnTo>
                    <a:pt x="937165" y="906780"/>
                  </a:lnTo>
                  <a:lnTo>
                    <a:pt x="938117" y="901827"/>
                  </a:lnTo>
                  <a:lnTo>
                    <a:pt x="942594" y="899636"/>
                  </a:lnTo>
                  <a:lnTo>
                    <a:pt x="950976" y="901827"/>
                  </a:lnTo>
                  <a:lnTo>
                    <a:pt x="952310" y="900017"/>
                  </a:lnTo>
                  <a:lnTo>
                    <a:pt x="953452" y="896683"/>
                  </a:lnTo>
                  <a:lnTo>
                    <a:pt x="950881" y="888968"/>
                  </a:lnTo>
                  <a:lnTo>
                    <a:pt x="954024" y="888587"/>
                  </a:lnTo>
                  <a:lnTo>
                    <a:pt x="952119" y="885635"/>
                  </a:lnTo>
                  <a:lnTo>
                    <a:pt x="954405" y="878967"/>
                  </a:lnTo>
                  <a:lnTo>
                    <a:pt x="958120" y="870395"/>
                  </a:lnTo>
                  <a:lnTo>
                    <a:pt x="966026" y="869442"/>
                  </a:lnTo>
                  <a:lnTo>
                    <a:pt x="964311" y="868013"/>
                  </a:lnTo>
                  <a:lnTo>
                    <a:pt x="963263" y="860203"/>
                  </a:lnTo>
                  <a:lnTo>
                    <a:pt x="960692" y="865251"/>
                  </a:lnTo>
                  <a:lnTo>
                    <a:pt x="958977" y="863918"/>
                  </a:lnTo>
                  <a:lnTo>
                    <a:pt x="963073" y="858583"/>
                  </a:lnTo>
                  <a:lnTo>
                    <a:pt x="964597" y="858393"/>
                  </a:lnTo>
                  <a:lnTo>
                    <a:pt x="964216" y="855250"/>
                  </a:lnTo>
                  <a:lnTo>
                    <a:pt x="967550" y="856393"/>
                  </a:lnTo>
                  <a:lnTo>
                    <a:pt x="965645" y="853440"/>
                  </a:lnTo>
                  <a:lnTo>
                    <a:pt x="966407" y="846963"/>
                  </a:lnTo>
                  <a:lnTo>
                    <a:pt x="963073" y="845725"/>
                  </a:lnTo>
                  <a:lnTo>
                    <a:pt x="964216" y="842391"/>
                  </a:lnTo>
                  <a:lnTo>
                    <a:pt x="961263" y="844391"/>
                  </a:lnTo>
                  <a:lnTo>
                    <a:pt x="957453" y="840010"/>
                  </a:lnTo>
                  <a:lnTo>
                    <a:pt x="954310" y="840486"/>
                  </a:lnTo>
                  <a:lnTo>
                    <a:pt x="954119" y="838867"/>
                  </a:lnTo>
                  <a:lnTo>
                    <a:pt x="957263" y="838486"/>
                  </a:lnTo>
                  <a:lnTo>
                    <a:pt x="953929" y="837343"/>
                  </a:lnTo>
                  <a:lnTo>
                    <a:pt x="956882" y="835343"/>
                  </a:lnTo>
                  <a:lnTo>
                    <a:pt x="954881" y="832390"/>
                  </a:lnTo>
                  <a:lnTo>
                    <a:pt x="949357" y="826675"/>
                  </a:lnTo>
                  <a:lnTo>
                    <a:pt x="950309" y="821722"/>
                  </a:lnTo>
                  <a:lnTo>
                    <a:pt x="946404" y="815816"/>
                  </a:lnTo>
                  <a:lnTo>
                    <a:pt x="947738" y="814007"/>
                  </a:lnTo>
                  <a:lnTo>
                    <a:pt x="946214" y="814197"/>
                  </a:lnTo>
                  <a:lnTo>
                    <a:pt x="947547" y="812482"/>
                  </a:lnTo>
                  <a:lnTo>
                    <a:pt x="946023" y="812673"/>
                  </a:lnTo>
                  <a:lnTo>
                    <a:pt x="945547" y="809530"/>
                  </a:lnTo>
                  <a:lnTo>
                    <a:pt x="947166" y="809244"/>
                  </a:lnTo>
                  <a:lnTo>
                    <a:pt x="951071" y="802386"/>
                  </a:lnTo>
                  <a:lnTo>
                    <a:pt x="949357" y="800957"/>
                  </a:lnTo>
                  <a:lnTo>
                    <a:pt x="948500" y="794671"/>
                  </a:lnTo>
                  <a:lnTo>
                    <a:pt x="951071" y="789527"/>
                  </a:lnTo>
                  <a:lnTo>
                    <a:pt x="949262" y="788194"/>
                  </a:lnTo>
                  <a:lnTo>
                    <a:pt x="952405" y="787813"/>
                  </a:lnTo>
                  <a:lnTo>
                    <a:pt x="956405" y="780860"/>
                  </a:lnTo>
                  <a:lnTo>
                    <a:pt x="957929" y="780669"/>
                  </a:lnTo>
                  <a:lnTo>
                    <a:pt x="956120" y="779240"/>
                  </a:lnTo>
                  <a:lnTo>
                    <a:pt x="958691" y="774097"/>
                  </a:lnTo>
                  <a:lnTo>
                    <a:pt x="965264" y="774954"/>
                  </a:lnTo>
                  <a:lnTo>
                    <a:pt x="968407" y="774478"/>
                  </a:lnTo>
                  <a:lnTo>
                    <a:pt x="968216" y="772954"/>
                  </a:lnTo>
                  <a:lnTo>
                    <a:pt x="960120" y="772382"/>
                  </a:lnTo>
                  <a:lnTo>
                    <a:pt x="958120" y="769430"/>
                  </a:lnTo>
                  <a:lnTo>
                    <a:pt x="961263" y="769049"/>
                  </a:lnTo>
                  <a:lnTo>
                    <a:pt x="961073" y="767429"/>
                  </a:lnTo>
                  <a:lnTo>
                    <a:pt x="957929" y="767810"/>
                  </a:lnTo>
                  <a:lnTo>
                    <a:pt x="957548" y="764667"/>
                  </a:lnTo>
                  <a:lnTo>
                    <a:pt x="955739" y="763333"/>
                  </a:lnTo>
                  <a:lnTo>
                    <a:pt x="955358" y="760190"/>
                  </a:lnTo>
                  <a:lnTo>
                    <a:pt x="953738" y="760381"/>
                  </a:lnTo>
                  <a:lnTo>
                    <a:pt x="951548" y="755809"/>
                  </a:lnTo>
                  <a:lnTo>
                    <a:pt x="949833" y="754380"/>
                  </a:lnTo>
                  <a:lnTo>
                    <a:pt x="950976" y="751046"/>
                  </a:lnTo>
                  <a:lnTo>
                    <a:pt x="950595" y="747903"/>
                  </a:lnTo>
                  <a:lnTo>
                    <a:pt x="951929" y="746093"/>
                  </a:lnTo>
                  <a:lnTo>
                    <a:pt x="948595" y="744950"/>
                  </a:lnTo>
                  <a:lnTo>
                    <a:pt x="949547" y="739997"/>
                  </a:lnTo>
                  <a:lnTo>
                    <a:pt x="952500" y="738092"/>
                  </a:lnTo>
                  <a:lnTo>
                    <a:pt x="950119" y="731901"/>
                  </a:lnTo>
                  <a:lnTo>
                    <a:pt x="951357" y="728567"/>
                  </a:lnTo>
                  <a:lnTo>
                    <a:pt x="948119" y="728948"/>
                  </a:lnTo>
                  <a:lnTo>
                    <a:pt x="950881" y="725424"/>
                  </a:lnTo>
                  <a:lnTo>
                    <a:pt x="950500" y="722281"/>
                  </a:lnTo>
                  <a:lnTo>
                    <a:pt x="948881" y="722471"/>
                  </a:lnTo>
                  <a:lnTo>
                    <a:pt x="947738" y="725805"/>
                  </a:lnTo>
                  <a:lnTo>
                    <a:pt x="948881" y="722471"/>
                  </a:lnTo>
                  <a:lnTo>
                    <a:pt x="946976" y="719519"/>
                  </a:lnTo>
                  <a:lnTo>
                    <a:pt x="953452" y="720281"/>
                  </a:lnTo>
                  <a:lnTo>
                    <a:pt x="953262" y="718757"/>
                  </a:lnTo>
                  <a:lnTo>
                    <a:pt x="946785" y="717899"/>
                  </a:lnTo>
                  <a:lnTo>
                    <a:pt x="946976" y="719519"/>
                  </a:lnTo>
                  <a:lnTo>
                    <a:pt x="946785" y="717899"/>
                  </a:lnTo>
                  <a:lnTo>
                    <a:pt x="943547" y="718376"/>
                  </a:lnTo>
                  <a:lnTo>
                    <a:pt x="940213" y="717137"/>
                  </a:lnTo>
                  <a:lnTo>
                    <a:pt x="939451" y="710851"/>
                  </a:lnTo>
                  <a:lnTo>
                    <a:pt x="940784" y="709041"/>
                  </a:lnTo>
                  <a:lnTo>
                    <a:pt x="938784" y="706088"/>
                  </a:lnTo>
                  <a:lnTo>
                    <a:pt x="942023" y="705707"/>
                  </a:lnTo>
                  <a:lnTo>
                    <a:pt x="943166" y="702374"/>
                  </a:lnTo>
                  <a:lnTo>
                    <a:pt x="946499" y="703516"/>
                  </a:lnTo>
                  <a:lnTo>
                    <a:pt x="947738" y="700183"/>
                  </a:lnTo>
                  <a:lnTo>
                    <a:pt x="947261" y="697040"/>
                  </a:lnTo>
                  <a:lnTo>
                    <a:pt x="942118" y="694468"/>
                  </a:lnTo>
                  <a:lnTo>
                    <a:pt x="943356" y="691134"/>
                  </a:lnTo>
                  <a:lnTo>
                    <a:pt x="947642" y="687324"/>
                  </a:lnTo>
                  <a:lnTo>
                    <a:pt x="948881" y="683990"/>
                  </a:lnTo>
                  <a:lnTo>
                    <a:pt x="952214" y="685133"/>
                  </a:lnTo>
                  <a:lnTo>
                    <a:pt x="952976" y="678656"/>
                  </a:lnTo>
                  <a:lnTo>
                    <a:pt x="954310" y="676847"/>
                  </a:lnTo>
                  <a:lnTo>
                    <a:pt x="956120" y="665416"/>
                  </a:lnTo>
                  <a:lnTo>
                    <a:pt x="956691" y="657320"/>
                  </a:lnTo>
                  <a:lnTo>
                    <a:pt x="951548" y="654749"/>
                  </a:lnTo>
                  <a:lnTo>
                    <a:pt x="952119" y="646652"/>
                  </a:lnTo>
                  <a:lnTo>
                    <a:pt x="941642" y="639985"/>
                  </a:lnTo>
                  <a:lnTo>
                    <a:pt x="938498" y="640366"/>
                  </a:lnTo>
                  <a:lnTo>
                    <a:pt x="933164" y="649129"/>
                  </a:lnTo>
                  <a:lnTo>
                    <a:pt x="931355" y="647700"/>
                  </a:lnTo>
                  <a:lnTo>
                    <a:pt x="935736" y="643985"/>
                  </a:lnTo>
                  <a:lnTo>
                    <a:pt x="937451" y="632555"/>
                  </a:lnTo>
                  <a:lnTo>
                    <a:pt x="935450" y="629603"/>
                  </a:lnTo>
                  <a:lnTo>
                    <a:pt x="933736" y="628174"/>
                  </a:lnTo>
                  <a:lnTo>
                    <a:pt x="936403" y="611791"/>
                  </a:lnTo>
                  <a:lnTo>
                    <a:pt x="933641" y="602552"/>
                  </a:lnTo>
                  <a:lnTo>
                    <a:pt x="937736" y="597218"/>
                  </a:lnTo>
                  <a:lnTo>
                    <a:pt x="941737" y="590264"/>
                  </a:lnTo>
                  <a:lnTo>
                    <a:pt x="941261" y="574262"/>
                  </a:lnTo>
                  <a:lnTo>
                    <a:pt x="943832" y="569119"/>
                  </a:lnTo>
                  <a:lnTo>
                    <a:pt x="944594" y="562642"/>
                  </a:lnTo>
                  <a:lnTo>
                    <a:pt x="940880" y="558356"/>
                  </a:lnTo>
                  <a:lnTo>
                    <a:pt x="936308" y="560451"/>
                  </a:lnTo>
                  <a:lnTo>
                    <a:pt x="929640" y="558165"/>
                  </a:lnTo>
                  <a:lnTo>
                    <a:pt x="928973" y="553403"/>
                  </a:lnTo>
                  <a:lnTo>
                    <a:pt x="925449" y="550640"/>
                  </a:lnTo>
                  <a:lnTo>
                    <a:pt x="921068" y="554450"/>
                  </a:lnTo>
                  <a:lnTo>
                    <a:pt x="919544" y="554641"/>
                  </a:lnTo>
                  <a:lnTo>
                    <a:pt x="912590" y="550640"/>
                  </a:lnTo>
                  <a:lnTo>
                    <a:pt x="912209" y="547497"/>
                  </a:lnTo>
                  <a:lnTo>
                    <a:pt x="915352" y="547116"/>
                  </a:lnTo>
                  <a:lnTo>
                    <a:pt x="916496" y="543782"/>
                  </a:lnTo>
                  <a:lnTo>
                    <a:pt x="906875" y="543401"/>
                  </a:lnTo>
                  <a:lnTo>
                    <a:pt x="906494" y="540258"/>
                  </a:lnTo>
                  <a:lnTo>
                    <a:pt x="901732" y="540830"/>
                  </a:lnTo>
                  <a:lnTo>
                    <a:pt x="898208" y="538067"/>
                  </a:lnTo>
                  <a:lnTo>
                    <a:pt x="895064" y="538544"/>
                  </a:lnTo>
                  <a:lnTo>
                    <a:pt x="892588" y="532352"/>
                  </a:lnTo>
                  <a:lnTo>
                    <a:pt x="889254" y="531209"/>
                  </a:lnTo>
                  <a:lnTo>
                    <a:pt x="897350" y="531781"/>
                  </a:lnTo>
                  <a:lnTo>
                    <a:pt x="904494" y="537305"/>
                  </a:lnTo>
                  <a:lnTo>
                    <a:pt x="912400" y="536257"/>
                  </a:lnTo>
                  <a:lnTo>
                    <a:pt x="913733" y="534543"/>
                  </a:lnTo>
                  <a:lnTo>
                    <a:pt x="918496" y="533876"/>
                  </a:lnTo>
                  <a:lnTo>
                    <a:pt x="921449" y="531876"/>
                  </a:lnTo>
                  <a:lnTo>
                    <a:pt x="918115" y="530733"/>
                  </a:lnTo>
                  <a:lnTo>
                    <a:pt x="911543" y="517112"/>
                  </a:lnTo>
                  <a:lnTo>
                    <a:pt x="901827" y="516731"/>
                  </a:lnTo>
                  <a:lnTo>
                    <a:pt x="898112" y="512445"/>
                  </a:lnTo>
                  <a:lnTo>
                    <a:pt x="900684" y="507302"/>
                  </a:lnTo>
                  <a:lnTo>
                    <a:pt x="898684" y="504349"/>
                  </a:lnTo>
                  <a:lnTo>
                    <a:pt x="899827" y="501015"/>
                  </a:lnTo>
                  <a:lnTo>
                    <a:pt x="901827" y="503968"/>
                  </a:lnTo>
                  <a:lnTo>
                    <a:pt x="902018" y="505492"/>
                  </a:lnTo>
                  <a:lnTo>
                    <a:pt x="903827" y="506920"/>
                  </a:lnTo>
                  <a:lnTo>
                    <a:pt x="906590" y="503301"/>
                  </a:lnTo>
                  <a:lnTo>
                    <a:pt x="906780" y="504920"/>
                  </a:lnTo>
                  <a:lnTo>
                    <a:pt x="908399" y="504730"/>
                  </a:lnTo>
                  <a:lnTo>
                    <a:pt x="908399" y="504730"/>
                  </a:lnTo>
                  <a:lnTo>
                    <a:pt x="909733" y="502920"/>
                  </a:lnTo>
                  <a:lnTo>
                    <a:pt x="917448" y="500348"/>
                  </a:lnTo>
                  <a:lnTo>
                    <a:pt x="920782" y="501491"/>
                  </a:lnTo>
                  <a:lnTo>
                    <a:pt x="927830" y="494252"/>
                  </a:lnTo>
                  <a:lnTo>
                    <a:pt x="923163" y="494824"/>
                  </a:lnTo>
                  <a:lnTo>
                    <a:pt x="922496" y="490061"/>
                  </a:lnTo>
                  <a:lnTo>
                    <a:pt x="917829" y="490728"/>
                  </a:lnTo>
                  <a:lnTo>
                    <a:pt x="917639" y="489109"/>
                  </a:lnTo>
                  <a:lnTo>
                    <a:pt x="914210" y="487966"/>
                  </a:lnTo>
                  <a:lnTo>
                    <a:pt x="909733" y="490157"/>
                  </a:lnTo>
                  <a:lnTo>
                    <a:pt x="912495" y="486537"/>
                  </a:lnTo>
                  <a:lnTo>
                    <a:pt x="909066" y="485394"/>
                  </a:lnTo>
                  <a:lnTo>
                    <a:pt x="904780" y="489109"/>
                  </a:lnTo>
                  <a:lnTo>
                    <a:pt x="902780" y="486156"/>
                  </a:lnTo>
                  <a:lnTo>
                    <a:pt x="899827" y="488156"/>
                  </a:lnTo>
                  <a:lnTo>
                    <a:pt x="898684" y="491490"/>
                  </a:lnTo>
                  <a:lnTo>
                    <a:pt x="895731" y="493490"/>
                  </a:lnTo>
                  <a:lnTo>
                    <a:pt x="896112" y="496633"/>
                  </a:lnTo>
                  <a:lnTo>
                    <a:pt x="891159" y="495681"/>
                  </a:lnTo>
                  <a:lnTo>
                    <a:pt x="888397" y="486442"/>
                  </a:lnTo>
                  <a:lnTo>
                    <a:pt x="891731" y="487585"/>
                  </a:lnTo>
                  <a:lnTo>
                    <a:pt x="891540" y="486061"/>
                  </a:lnTo>
                  <a:lnTo>
                    <a:pt x="888206" y="484823"/>
                  </a:lnTo>
                  <a:lnTo>
                    <a:pt x="892302" y="479489"/>
                  </a:lnTo>
                  <a:lnTo>
                    <a:pt x="888397" y="473583"/>
                  </a:lnTo>
                  <a:lnTo>
                    <a:pt x="890873" y="468440"/>
                  </a:lnTo>
                  <a:lnTo>
                    <a:pt x="900017" y="464058"/>
                  </a:lnTo>
                  <a:lnTo>
                    <a:pt x="907447" y="447103"/>
                  </a:lnTo>
                  <a:lnTo>
                    <a:pt x="930116" y="436245"/>
                  </a:lnTo>
                  <a:lnTo>
                    <a:pt x="934593" y="434054"/>
                  </a:lnTo>
                  <a:lnTo>
                    <a:pt x="940975" y="433197"/>
                  </a:lnTo>
                  <a:lnTo>
                    <a:pt x="937832" y="433578"/>
                  </a:lnTo>
                  <a:lnTo>
                    <a:pt x="938594" y="439960"/>
                  </a:lnTo>
                  <a:lnTo>
                    <a:pt x="940403" y="441293"/>
                  </a:lnTo>
                  <a:lnTo>
                    <a:pt x="945261" y="442246"/>
                  </a:lnTo>
                  <a:lnTo>
                    <a:pt x="947452" y="446818"/>
                  </a:lnTo>
                  <a:lnTo>
                    <a:pt x="949071" y="446627"/>
                  </a:lnTo>
                  <a:lnTo>
                    <a:pt x="949262" y="448151"/>
                  </a:lnTo>
                  <a:lnTo>
                    <a:pt x="954024" y="447580"/>
                  </a:lnTo>
                  <a:lnTo>
                    <a:pt x="955739" y="448913"/>
                  </a:lnTo>
                  <a:lnTo>
                    <a:pt x="956786" y="444056"/>
                  </a:lnTo>
                  <a:lnTo>
                    <a:pt x="958310" y="443865"/>
                  </a:lnTo>
                  <a:lnTo>
                    <a:pt x="957929" y="440627"/>
                  </a:lnTo>
                  <a:lnTo>
                    <a:pt x="959263" y="438912"/>
                  </a:lnTo>
                  <a:lnTo>
                    <a:pt x="960120" y="432340"/>
                  </a:lnTo>
                  <a:lnTo>
                    <a:pt x="963073" y="430435"/>
                  </a:lnTo>
                  <a:lnTo>
                    <a:pt x="965359" y="423672"/>
                  </a:lnTo>
                  <a:lnTo>
                    <a:pt x="968502" y="423291"/>
                  </a:lnTo>
                  <a:lnTo>
                    <a:pt x="974693" y="420910"/>
                  </a:lnTo>
                  <a:lnTo>
                    <a:pt x="974217" y="417766"/>
                  </a:lnTo>
                  <a:lnTo>
                    <a:pt x="976027" y="419100"/>
                  </a:lnTo>
                  <a:lnTo>
                    <a:pt x="977456" y="417386"/>
                  </a:lnTo>
                  <a:lnTo>
                    <a:pt x="980599" y="416909"/>
                  </a:lnTo>
                  <a:lnTo>
                    <a:pt x="984885" y="413194"/>
                  </a:lnTo>
                  <a:lnTo>
                    <a:pt x="986695" y="414528"/>
                  </a:lnTo>
                  <a:lnTo>
                    <a:pt x="990600" y="407670"/>
                  </a:lnTo>
                  <a:lnTo>
                    <a:pt x="988409" y="403098"/>
                  </a:lnTo>
                  <a:lnTo>
                    <a:pt x="983266" y="400526"/>
                  </a:lnTo>
                  <a:lnTo>
                    <a:pt x="981266" y="397573"/>
                  </a:lnTo>
                  <a:lnTo>
                    <a:pt x="977932" y="396431"/>
                  </a:lnTo>
                  <a:lnTo>
                    <a:pt x="974979" y="398431"/>
                  </a:lnTo>
                  <a:lnTo>
                    <a:pt x="973646" y="400145"/>
                  </a:lnTo>
                  <a:lnTo>
                    <a:pt x="967740" y="404146"/>
                  </a:lnTo>
                  <a:lnTo>
                    <a:pt x="965930" y="402717"/>
                  </a:lnTo>
                  <a:lnTo>
                    <a:pt x="966502" y="394716"/>
                  </a:lnTo>
                  <a:lnTo>
                    <a:pt x="975741" y="391858"/>
                  </a:lnTo>
                  <a:lnTo>
                    <a:pt x="978884" y="378619"/>
                  </a:lnTo>
                  <a:lnTo>
                    <a:pt x="978122" y="372332"/>
                  </a:lnTo>
                  <a:lnTo>
                    <a:pt x="974312" y="368046"/>
                  </a:lnTo>
                  <a:lnTo>
                    <a:pt x="973931" y="364903"/>
                  </a:lnTo>
                  <a:lnTo>
                    <a:pt x="971550" y="358711"/>
                  </a:lnTo>
                  <a:lnTo>
                    <a:pt x="972502" y="353854"/>
                  </a:lnTo>
                  <a:lnTo>
                    <a:pt x="982027" y="352615"/>
                  </a:lnTo>
                  <a:lnTo>
                    <a:pt x="981170" y="346329"/>
                  </a:lnTo>
                  <a:lnTo>
                    <a:pt x="987076" y="342328"/>
                  </a:lnTo>
                  <a:lnTo>
                    <a:pt x="983933" y="342710"/>
                  </a:lnTo>
                  <a:lnTo>
                    <a:pt x="986123" y="334423"/>
                  </a:lnTo>
                  <a:lnTo>
                    <a:pt x="979170" y="330518"/>
                  </a:lnTo>
                  <a:lnTo>
                    <a:pt x="978122" y="322612"/>
                  </a:lnTo>
                  <a:lnTo>
                    <a:pt x="985076" y="313753"/>
                  </a:lnTo>
                  <a:lnTo>
                    <a:pt x="983075" y="310801"/>
                  </a:lnTo>
                  <a:lnTo>
                    <a:pt x="979361" y="306419"/>
                  </a:lnTo>
                  <a:lnTo>
                    <a:pt x="982027" y="302895"/>
                  </a:lnTo>
                  <a:lnTo>
                    <a:pt x="985457" y="304038"/>
                  </a:lnTo>
                  <a:lnTo>
                    <a:pt x="989171" y="295561"/>
                  </a:lnTo>
                  <a:lnTo>
                    <a:pt x="985171" y="289655"/>
                  </a:lnTo>
                  <a:lnTo>
                    <a:pt x="988314" y="289274"/>
                  </a:lnTo>
                  <a:lnTo>
                    <a:pt x="987171" y="279749"/>
                  </a:lnTo>
                  <a:lnTo>
                    <a:pt x="988886" y="281178"/>
                  </a:lnTo>
                  <a:lnTo>
                    <a:pt x="992124" y="280797"/>
                  </a:lnTo>
                  <a:lnTo>
                    <a:pt x="991838" y="279178"/>
                  </a:lnTo>
                  <a:lnTo>
                    <a:pt x="992124" y="280797"/>
                  </a:lnTo>
                  <a:lnTo>
                    <a:pt x="993648" y="280511"/>
                  </a:lnTo>
                  <a:lnTo>
                    <a:pt x="995077" y="278797"/>
                  </a:lnTo>
                  <a:lnTo>
                    <a:pt x="998411" y="279940"/>
                  </a:lnTo>
                  <a:lnTo>
                    <a:pt x="1001363" y="277940"/>
                  </a:lnTo>
                  <a:lnTo>
                    <a:pt x="1001935" y="282702"/>
                  </a:lnTo>
                  <a:lnTo>
                    <a:pt x="1004888" y="280702"/>
                  </a:lnTo>
                  <a:lnTo>
                    <a:pt x="1001363" y="265176"/>
                  </a:lnTo>
                  <a:lnTo>
                    <a:pt x="999744" y="252508"/>
                  </a:lnTo>
                  <a:lnTo>
                    <a:pt x="999744" y="252508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7" name="Volný tvar: obrazec 26">
              <a:extLst>
                <a:ext uri="{FF2B5EF4-FFF2-40B4-BE49-F238E27FC236}">
                  <a16:creationId xmlns:a16="http://schemas.microsoft.com/office/drawing/2014/main" id="{B535F71C-1701-6A94-B8BF-016E74F3926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25" y="2971418"/>
              <a:ext cx="1044701" cy="731424"/>
            </a:xfrm>
            <a:custGeom>
              <a:avLst/>
              <a:gdLst>
                <a:gd name="connsiteX0" fmla="*/ 1038797 w 1044701"/>
                <a:gd name="connsiteY0" fmla="*/ 17907 h 731424"/>
                <a:gd name="connsiteX1" fmla="*/ 1039558 w 1044701"/>
                <a:gd name="connsiteY1" fmla="*/ 11430 h 731424"/>
                <a:gd name="connsiteX2" fmla="*/ 1037463 w 1044701"/>
                <a:gd name="connsiteY2" fmla="*/ 6953 h 731424"/>
                <a:gd name="connsiteX3" fmla="*/ 1028509 w 1044701"/>
                <a:gd name="connsiteY3" fmla="*/ 0 h 731424"/>
                <a:gd name="connsiteX4" fmla="*/ 1019651 w 1044701"/>
                <a:gd name="connsiteY4" fmla="*/ 6001 h 731424"/>
                <a:gd name="connsiteX5" fmla="*/ 1018889 w 1044701"/>
                <a:gd name="connsiteY5" fmla="*/ 12478 h 731424"/>
                <a:gd name="connsiteX6" fmla="*/ 1017270 w 1044701"/>
                <a:gd name="connsiteY6" fmla="*/ 12668 h 731424"/>
                <a:gd name="connsiteX7" fmla="*/ 1012984 w 1044701"/>
                <a:gd name="connsiteY7" fmla="*/ 16478 h 731424"/>
                <a:gd name="connsiteX8" fmla="*/ 1010412 w 1044701"/>
                <a:gd name="connsiteY8" fmla="*/ 21527 h 731424"/>
                <a:gd name="connsiteX9" fmla="*/ 1006888 w 1044701"/>
                <a:gd name="connsiteY9" fmla="*/ 18860 h 731424"/>
                <a:gd name="connsiteX10" fmla="*/ 1002316 w 1044701"/>
                <a:gd name="connsiteY10" fmla="*/ 20955 h 731424"/>
                <a:gd name="connsiteX11" fmla="*/ 995839 w 1044701"/>
                <a:gd name="connsiteY11" fmla="*/ 33052 h 731424"/>
                <a:gd name="connsiteX12" fmla="*/ 994696 w 1044701"/>
                <a:gd name="connsiteY12" fmla="*/ 49244 h 731424"/>
                <a:gd name="connsiteX13" fmla="*/ 989362 w 1044701"/>
                <a:gd name="connsiteY13" fmla="*/ 57912 h 731424"/>
                <a:gd name="connsiteX14" fmla="*/ 982313 w 1044701"/>
                <a:gd name="connsiteY14" fmla="*/ 65246 h 731424"/>
                <a:gd name="connsiteX15" fmla="*/ 984504 w 1044701"/>
                <a:gd name="connsiteY15" fmla="*/ 69818 h 731424"/>
                <a:gd name="connsiteX16" fmla="*/ 983361 w 1044701"/>
                <a:gd name="connsiteY16" fmla="*/ 73152 h 731424"/>
                <a:gd name="connsiteX17" fmla="*/ 972883 w 1044701"/>
                <a:gd name="connsiteY17" fmla="*/ 79248 h 731424"/>
                <a:gd name="connsiteX18" fmla="*/ 965549 w 1044701"/>
                <a:gd name="connsiteY18" fmla="*/ 85058 h 731424"/>
                <a:gd name="connsiteX19" fmla="*/ 962215 w 1044701"/>
                <a:gd name="connsiteY19" fmla="*/ 83820 h 731424"/>
                <a:gd name="connsiteX20" fmla="*/ 959263 w 1044701"/>
                <a:gd name="connsiteY20" fmla="*/ 85820 h 731424"/>
                <a:gd name="connsiteX21" fmla="*/ 947452 w 1044701"/>
                <a:gd name="connsiteY21" fmla="*/ 106585 h 731424"/>
                <a:gd name="connsiteX22" fmla="*/ 944308 w 1044701"/>
                <a:gd name="connsiteY22" fmla="*/ 119825 h 731424"/>
                <a:gd name="connsiteX23" fmla="*/ 941641 w 1044701"/>
                <a:gd name="connsiteY23" fmla="*/ 123349 h 731424"/>
                <a:gd name="connsiteX24" fmla="*/ 932783 w 1044701"/>
                <a:gd name="connsiteY24" fmla="*/ 129254 h 731424"/>
                <a:gd name="connsiteX25" fmla="*/ 924401 w 1044701"/>
                <a:gd name="connsiteY25" fmla="*/ 127159 h 731424"/>
                <a:gd name="connsiteX26" fmla="*/ 917734 w 1044701"/>
                <a:gd name="connsiteY26" fmla="*/ 124777 h 731424"/>
                <a:gd name="connsiteX27" fmla="*/ 914209 w 1044701"/>
                <a:gd name="connsiteY27" fmla="*/ 122015 h 731424"/>
                <a:gd name="connsiteX28" fmla="*/ 893826 w 1044701"/>
                <a:gd name="connsiteY28" fmla="*/ 113443 h 731424"/>
                <a:gd name="connsiteX29" fmla="*/ 887349 w 1044701"/>
                <a:gd name="connsiteY29" fmla="*/ 112586 h 731424"/>
                <a:gd name="connsiteX30" fmla="*/ 882396 w 1044701"/>
                <a:gd name="connsiteY30" fmla="*/ 111633 h 731424"/>
                <a:gd name="connsiteX31" fmla="*/ 878205 w 1044701"/>
                <a:gd name="connsiteY31" fmla="*/ 104204 h 731424"/>
                <a:gd name="connsiteX32" fmla="*/ 867537 w 1044701"/>
                <a:gd name="connsiteY32" fmla="*/ 95917 h 731424"/>
                <a:gd name="connsiteX33" fmla="*/ 866775 w 1044701"/>
                <a:gd name="connsiteY33" fmla="*/ 89630 h 731424"/>
                <a:gd name="connsiteX34" fmla="*/ 859822 w 1044701"/>
                <a:gd name="connsiteY34" fmla="*/ 85630 h 731424"/>
                <a:gd name="connsiteX35" fmla="*/ 855821 w 1044701"/>
                <a:gd name="connsiteY35" fmla="*/ 79724 h 731424"/>
                <a:gd name="connsiteX36" fmla="*/ 844391 w 1044701"/>
                <a:gd name="connsiteY36" fmla="*/ 78010 h 731424"/>
                <a:gd name="connsiteX37" fmla="*/ 840105 w 1044701"/>
                <a:gd name="connsiteY37" fmla="*/ 81725 h 731424"/>
                <a:gd name="connsiteX38" fmla="*/ 838295 w 1044701"/>
                <a:gd name="connsiteY38" fmla="*/ 80391 h 731424"/>
                <a:gd name="connsiteX39" fmla="*/ 836962 w 1044701"/>
                <a:gd name="connsiteY39" fmla="*/ 82201 h 731424"/>
                <a:gd name="connsiteX40" fmla="*/ 816197 w 1044701"/>
                <a:gd name="connsiteY40" fmla="*/ 70390 h 731424"/>
                <a:gd name="connsiteX41" fmla="*/ 813245 w 1044701"/>
                <a:gd name="connsiteY41" fmla="*/ 72390 h 731424"/>
                <a:gd name="connsiteX42" fmla="*/ 811435 w 1044701"/>
                <a:gd name="connsiteY42" fmla="*/ 70961 h 731424"/>
                <a:gd name="connsiteX43" fmla="*/ 807720 w 1044701"/>
                <a:gd name="connsiteY43" fmla="*/ 66675 h 731424"/>
                <a:gd name="connsiteX44" fmla="*/ 804767 w 1044701"/>
                <a:gd name="connsiteY44" fmla="*/ 68580 h 731424"/>
                <a:gd name="connsiteX45" fmla="*/ 801719 w 1044701"/>
                <a:gd name="connsiteY45" fmla="*/ 57817 h 731424"/>
                <a:gd name="connsiteX46" fmla="*/ 793242 w 1044701"/>
                <a:gd name="connsiteY46" fmla="*/ 54102 h 731424"/>
                <a:gd name="connsiteX47" fmla="*/ 790099 w 1044701"/>
                <a:gd name="connsiteY47" fmla="*/ 54483 h 731424"/>
                <a:gd name="connsiteX48" fmla="*/ 786384 w 1044701"/>
                <a:gd name="connsiteY48" fmla="*/ 50102 h 731424"/>
                <a:gd name="connsiteX49" fmla="*/ 784955 w 1044701"/>
                <a:gd name="connsiteY49" fmla="*/ 51911 h 731424"/>
                <a:gd name="connsiteX50" fmla="*/ 778478 w 1044701"/>
                <a:gd name="connsiteY50" fmla="*/ 51149 h 731424"/>
                <a:gd name="connsiteX51" fmla="*/ 772763 w 1044701"/>
                <a:gd name="connsiteY51" fmla="*/ 56674 h 731424"/>
                <a:gd name="connsiteX52" fmla="*/ 772382 w 1044701"/>
                <a:gd name="connsiteY52" fmla="*/ 79153 h 731424"/>
                <a:gd name="connsiteX53" fmla="*/ 769811 w 1044701"/>
                <a:gd name="connsiteY53" fmla="*/ 84296 h 731424"/>
                <a:gd name="connsiteX54" fmla="*/ 762190 w 1044701"/>
                <a:gd name="connsiteY54" fmla="*/ 86868 h 731424"/>
                <a:gd name="connsiteX55" fmla="*/ 759428 w 1044701"/>
                <a:gd name="connsiteY55" fmla="*/ 90392 h 731424"/>
                <a:gd name="connsiteX56" fmla="*/ 757809 w 1044701"/>
                <a:gd name="connsiteY56" fmla="*/ 90678 h 731424"/>
                <a:gd name="connsiteX57" fmla="*/ 755237 w 1044701"/>
                <a:gd name="connsiteY57" fmla="*/ 95821 h 731424"/>
                <a:gd name="connsiteX58" fmla="*/ 755047 w 1044701"/>
                <a:gd name="connsiteY58" fmla="*/ 94202 h 731424"/>
                <a:gd name="connsiteX59" fmla="*/ 745617 w 1044701"/>
                <a:gd name="connsiteY59" fmla="*/ 95441 h 731424"/>
                <a:gd name="connsiteX60" fmla="*/ 745236 w 1044701"/>
                <a:gd name="connsiteY60" fmla="*/ 92202 h 731424"/>
                <a:gd name="connsiteX61" fmla="*/ 743617 w 1044701"/>
                <a:gd name="connsiteY61" fmla="*/ 92488 h 731424"/>
                <a:gd name="connsiteX62" fmla="*/ 743998 w 1044701"/>
                <a:gd name="connsiteY62" fmla="*/ 95631 h 731424"/>
                <a:gd name="connsiteX63" fmla="*/ 736378 w 1044701"/>
                <a:gd name="connsiteY63" fmla="*/ 98203 h 731424"/>
                <a:gd name="connsiteX64" fmla="*/ 739712 w 1044701"/>
                <a:gd name="connsiteY64" fmla="*/ 99346 h 731424"/>
                <a:gd name="connsiteX65" fmla="*/ 740092 w 1044701"/>
                <a:gd name="connsiteY65" fmla="*/ 102489 h 731424"/>
                <a:gd name="connsiteX66" fmla="*/ 737330 w 1044701"/>
                <a:gd name="connsiteY66" fmla="*/ 106108 h 731424"/>
                <a:gd name="connsiteX67" fmla="*/ 733615 w 1044701"/>
                <a:gd name="connsiteY67" fmla="*/ 101727 h 731424"/>
                <a:gd name="connsiteX68" fmla="*/ 730663 w 1044701"/>
                <a:gd name="connsiteY68" fmla="*/ 103727 h 731424"/>
                <a:gd name="connsiteX69" fmla="*/ 727424 w 1044701"/>
                <a:gd name="connsiteY69" fmla="*/ 104108 h 731424"/>
                <a:gd name="connsiteX70" fmla="*/ 727900 w 1044701"/>
                <a:gd name="connsiteY70" fmla="*/ 107252 h 731424"/>
                <a:gd name="connsiteX71" fmla="*/ 724757 w 1044701"/>
                <a:gd name="connsiteY71" fmla="*/ 107728 h 731424"/>
                <a:gd name="connsiteX72" fmla="*/ 725138 w 1044701"/>
                <a:gd name="connsiteY72" fmla="*/ 110871 h 731424"/>
                <a:gd name="connsiteX73" fmla="*/ 721805 w 1044701"/>
                <a:gd name="connsiteY73" fmla="*/ 109633 h 731424"/>
                <a:gd name="connsiteX74" fmla="*/ 719995 w 1044701"/>
                <a:gd name="connsiteY74" fmla="*/ 108299 h 731424"/>
                <a:gd name="connsiteX75" fmla="*/ 715232 w 1044701"/>
                <a:gd name="connsiteY75" fmla="*/ 108871 h 731424"/>
                <a:gd name="connsiteX76" fmla="*/ 715423 w 1044701"/>
                <a:gd name="connsiteY76" fmla="*/ 110490 h 731424"/>
                <a:gd name="connsiteX77" fmla="*/ 703040 w 1044701"/>
                <a:gd name="connsiteY77" fmla="*/ 126492 h 731424"/>
                <a:gd name="connsiteX78" fmla="*/ 691801 w 1044701"/>
                <a:gd name="connsiteY78" fmla="*/ 126302 h 731424"/>
                <a:gd name="connsiteX79" fmla="*/ 687038 w 1044701"/>
                <a:gd name="connsiteY79" fmla="*/ 126968 h 731424"/>
                <a:gd name="connsiteX80" fmla="*/ 687705 w 1044701"/>
                <a:gd name="connsiteY80" fmla="*/ 131636 h 731424"/>
                <a:gd name="connsiteX81" fmla="*/ 681514 w 1044701"/>
                <a:gd name="connsiteY81" fmla="*/ 134017 h 731424"/>
                <a:gd name="connsiteX82" fmla="*/ 677608 w 1044701"/>
                <a:gd name="connsiteY82" fmla="*/ 140970 h 731424"/>
                <a:gd name="connsiteX83" fmla="*/ 679990 w 1044701"/>
                <a:gd name="connsiteY83" fmla="*/ 147066 h 731424"/>
                <a:gd name="connsiteX84" fmla="*/ 681419 w 1044701"/>
                <a:gd name="connsiteY84" fmla="*/ 145256 h 731424"/>
                <a:gd name="connsiteX85" fmla="*/ 685133 w 1044701"/>
                <a:gd name="connsiteY85" fmla="*/ 149638 h 731424"/>
                <a:gd name="connsiteX86" fmla="*/ 690467 w 1044701"/>
                <a:gd name="connsiteY86" fmla="*/ 153734 h 731424"/>
                <a:gd name="connsiteX87" fmla="*/ 684562 w 1044701"/>
                <a:gd name="connsiteY87" fmla="*/ 157734 h 731424"/>
                <a:gd name="connsiteX88" fmla="*/ 683419 w 1044701"/>
                <a:gd name="connsiteY88" fmla="*/ 161068 h 731424"/>
                <a:gd name="connsiteX89" fmla="*/ 677132 w 1044701"/>
                <a:gd name="connsiteY89" fmla="*/ 161830 h 731424"/>
                <a:gd name="connsiteX90" fmla="*/ 674561 w 1044701"/>
                <a:gd name="connsiteY90" fmla="*/ 166973 h 731424"/>
                <a:gd name="connsiteX91" fmla="*/ 669227 w 1044701"/>
                <a:gd name="connsiteY91" fmla="*/ 162877 h 731424"/>
                <a:gd name="connsiteX92" fmla="*/ 667798 w 1044701"/>
                <a:gd name="connsiteY92" fmla="*/ 164687 h 731424"/>
                <a:gd name="connsiteX93" fmla="*/ 663035 w 1044701"/>
                <a:gd name="connsiteY93" fmla="*/ 165259 h 731424"/>
                <a:gd name="connsiteX94" fmla="*/ 665226 w 1044701"/>
                <a:gd name="connsiteY94" fmla="*/ 169831 h 731424"/>
                <a:gd name="connsiteX95" fmla="*/ 664083 w 1044701"/>
                <a:gd name="connsiteY95" fmla="*/ 173165 h 731424"/>
                <a:gd name="connsiteX96" fmla="*/ 662273 w 1044701"/>
                <a:gd name="connsiteY96" fmla="*/ 171736 h 731424"/>
                <a:gd name="connsiteX97" fmla="*/ 662940 w 1044701"/>
                <a:gd name="connsiteY97" fmla="*/ 176498 h 731424"/>
                <a:gd name="connsiteX98" fmla="*/ 668083 w 1044701"/>
                <a:gd name="connsiteY98" fmla="*/ 179070 h 731424"/>
                <a:gd name="connsiteX99" fmla="*/ 670465 w 1044701"/>
                <a:gd name="connsiteY99" fmla="*/ 185166 h 731424"/>
                <a:gd name="connsiteX100" fmla="*/ 673798 w 1044701"/>
                <a:gd name="connsiteY100" fmla="*/ 186309 h 731424"/>
                <a:gd name="connsiteX101" fmla="*/ 675227 w 1044701"/>
                <a:gd name="connsiteY101" fmla="*/ 197358 h 731424"/>
                <a:gd name="connsiteX102" fmla="*/ 655034 w 1044701"/>
                <a:gd name="connsiteY102" fmla="*/ 190310 h 731424"/>
                <a:gd name="connsiteX103" fmla="*/ 651700 w 1044701"/>
                <a:gd name="connsiteY103" fmla="*/ 189167 h 731424"/>
                <a:gd name="connsiteX104" fmla="*/ 646366 w 1044701"/>
                <a:gd name="connsiteY104" fmla="*/ 185071 h 731424"/>
                <a:gd name="connsiteX105" fmla="*/ 645033 w 1044701"/>
                <a:gd name="connsiteY105" fmla="*/ 186785 h 731424"/>
                <a:gd name="connsiteX106" fmla="*/ 638270 w 1044701"/>
                <a:gd name="connsiteY106" fmla="*/ 184499 h 731424"/>
                <a:gd name="connsiteX107" fmla="*/ 640080 w 1044701"/>
                <a:gd name="connsiteY107" fmla="*/ 185833 h 731424"/>
                <a:gd name="connsiteX108" fmla="*/ 638842 w 1044701"/>
                <a:gd name="connsiteY108" fmla="*/ 189167 h 731424"/>
                <a:gd name="connsiteX109" fmla="*/ 640652 w 1044701"/>
                <a:gd name="connsiteY109" fmla="*/ 190595 h 731424"/>
                <a:gd name="connsiteX110" fmla="*/ 633984 w 1044701"/>
                <a:gd name="connsiteY110" fmla="*/ 188214 h 731424"/>
                <a:gd name="connsiteX111" fmla="*/ 632555 w 1044701"/>
                <a:gd name="connsiteY111" fmla="*/ 190024 h 731424"/>
                <a:gd name="connsiteX112" fmla="*/ 630936 w 1044701"/>
                <a:gd name="connsiteY112" fmla="*/ 190214 h 731424"/>
                <a:gd name="connsiteX113" fmla="*/ 627793 w 1044701"/>
                <a:gd name="connsiteY113" fmla="*/ 190595 h 731424"/>
                <a:gd name="connsiteX114" fmla="*/ 615410 w 1044701"/>
                <a:gd name="connsiteY114" fmla="*/ 193834 h 731424"/>
                <a:gd name="connsiteX115" fmla="*/ 614839 w 1044701"/>
                <a:gd name="connsiteY115" fmla="*/ 189071 h 731424"/>
                <a:gd name="connsiteX116" fmla="*/ 614648 w 1044701"/>
                <a:gd name="connsiteY116" fmla="*/ 187452 h 731424"/>
                <a:gd name="connsiteX117" fmla="*/ 618744 w 1044701"/>
                <a:gd name="connsiteY117" fmla="*/ 182118 h 731424"/>
                <a:gd name="connsiteX118" fmla="*/ 616934 w 1044701"/>
                <a:gd name="connsiteY118" fmla="*/ 180785 h 731424"/>
                <a:gd name="connsiteX119" fmla="*/ 612267 w 1044701"/>
                <a:gd name="connsiteY119" fmla="*/ 181356 h 731424"/>
                <a:gd name="connsiteX120" fmla="*/ 611981 w 1044701"/>
                <a:gd name="connsiteY120" fmla="*/ 179832 h 731424"/>
                <a:gd name="connsiteX121" fmla="*/ 610457 w 1044701"/>
                <a:gd name="connsiteY121" fmla="*/ 180023 h 731424"/>
                <a:gd name="connsiteX122" fmla="*/ 612457 w 1044701"/>
                <a:gd name="connsiteY122" fmla="*/ 182975 h 731424"/>
                <a:gd name="connsiteX123" fmla="*/ 611219 w 1044701"/>
                <a:gd name="connsiteY123" fmla="*/ 186309 h 731424"/>
                <a:gd name="connsiteX124" fmla="*/ 611410 w 1044701"/>
                <a:gd name="connsiteY124" fmla="*/ 187833 h 731424"/>
                <a:gd name="connsiteX125" fmla="*/ 602552 w 1044701"/>
                <a:gd name="connsiteY125" fmla="*/ 193834 h 731424"/>
                <a:gd name="connsiteX126" fmla="*/ 598837 w 1044701"/>
                <a:gd name="connsiteY126" fmla="*/ 189452 h 731424"/>
                <a:gd name="connsiteX127" fmla="*/ 596074 w 1044701"/>
                <a:gd name="connsiteY127" fmla="*/ 193072 h 731424"/>
                <a:gd name="connsiteX128" fmla="*/ 589597 w 1044701"/>
                <a:gd name="connsiteY128" fmla="*/ 192310 h 731424"/>
                <a:gd name="connsiteX129" fmla="*/ 587026 w 1044701"/>
                <a:gd name="connsiteY129" fmla="*/ 197358 h 731424"/>
                <a:gd name="connsiteX130" fmla="*/ 582073 w 1044701"/>
                <a:gd name="connsiteY130" fmla="*/ 196406 h 731424"/>
                <a:gd name="connsiteX131" fmla="*/ 580644 w 1044701"/>
                <a:gd name="connsiteY131" fmla="*/ 198215 h 731424"/>
                <a:gd name="connsiteX132" fmla="*/ 576929 w 1044701"/>
                <a:gd name="connsiteY132" fmla="*/ 193834 h 731424"/>
                <a:gd name="connsiteX133" fmla="*/ 574929 w 1044701"/>
                <a:gd name="connsiteY133" fmla="*/ 190881 h 731424"/>
                <a:gd name="connsiteX134" fmla="*/ 576167 w 1044701"/>
                <a:gd name="connsiteY134" fmla="*/ 187547 h 731424"/>
                <a:gd name="connsiteX135" fmla="*/ 574548 w 1044701"/>
                <a:gd name="connsiteY135" fmla="*/ 187738 h 731424"/>
                <a:gd name="connsiteX136" fmla="*/ 569405 w 1044701"/>
                <a:gd name="connsiteY136" fmla="*/ 185261 h 731424"/>
                <a:gd name="connsiteX137" fmla="*/ 564832 w 1044701"/>
                <a:gd name="connsiteY137" fmla="*/ 174593 h 731424"/>
                <a:gd name="connsiteX138" fmla="*/ 561689 w 1044701"/>
                <a:gd name="connsiteY138" fmla="*/ 174974 h 731424"/>
                <a:gd name="connsiteX139" fmla="*/ 559880 w 1044701"/>
                <a:gd name="connsiteY139" fmla="*/ 173546 h 731424"/>
                <a:gd name="connsiteX140" fmla="*/ 558546 w 1044701"/>
                <a:gd name="connsiteY140" fmla="*/ 175355 h 731424"/>
                <a:gd name="connsiteX141" fmla="*/ 556736 w 1044701"/>
                <a:gd name="connsiteY141" fmla="*/ 174022 h 731424"/>
                <a:gd name="connsiteX142" fmla="*/ 553593 w 1044701"/>
                <a:gd name="connsiteY142" fmla="*/ 174403 h 731424"/>
                <a:gd name="connsiteX143" fmla="*/ 551974 w 1044701"/>
                <a:gd name="connsiteY143" fmla="*/ 174593 h 731424"/>
                <a:gd name="connsiteX144" fmla="*/ 546068 w 1044701"/>
                <a:gd name="connsiteY144" fmla="*/ 165735 h 731424"/>
                <a:gd name="connsiteX145" fmla="*/ 543115 w 1044701"/>
                <a:gd name="connsiteY145" fmla="*/ 167735 h 731424"/>
                <a:gd name="connsiteX146" fmla="*/ 541972 w 1044701"/>
                <a:gd name="connsiteY146" fmla="*/ 171069 h 731424"/>
                <a:gd name="connsiteX147" fmla="*/ 540353 w 1044701"/>
                <a:gd name="connsiteY147" fmla="*/ 171260 h 731424"/>
                <a:gd name="connsiteX148" fmla="*/ 531495 w 1044701"/>
                <a:gd name="connsiteY148" fmla="*/ 164402 h 731424"/>
                <a:gd name="connsiteX149" fmla="*/ 528447 w 1044701"/>
                <a:gd name="connsiteY149" fmla="*/ 153543 h 731424"/>
                <a:gd name="connsiteX150" fmla="*/ 519589 w 1044701"/>
                <a:gd name="connsiteY150" fmla="*/ 146685 h 731424"/>
                <a:gd name="connsiteX151" fmla="*/ 513493 w 1044701"/>
                <a:gd name="connsiteY151" fmla="*/ 149066 h 731424"/>
                <a:gd name="connsiteX152" fmla="*/ 511683 w 1044701"/>
                <a:gd name="connsiteY152" fmla="*/ 147638 h 731424"/>
                <a:gd name="connsiteX153" fmla="*/ 506921 w 1044701"/>
                <a:gd name="connsiteY153" fmla="*/ 148304 h 731424"/>
                <a:gd name="connsiteX154" fmla="*/ 505015 w 1044701"/>
                <a:gd name="connsiteY154" fmla="*/ 145352 h 731424"/>
                <a:gd name="connsiteX155" fmla="*/ 498443 w 1044701"/>
                <a:gd name="connsiteY155" fmla="*/ 144494 h 731424"/>
                <a:gd name="connsiteX156" fmla="*/ 495300 w 1044701"/>
                <a:gd name="connsiteY156" fmla="*/ 144971 h 731424"/>
                <a:gd name="connsiteX157" fmla="*/ 493300 w 1044701"/>
                <a:gd name="connsiteY157" fmla="*/ 142018 h 731424"/>
                <a:gd name="connsiteX158" fmla="*/ 492347 w 1044701"/>
                <a:gd name="connsiteY158" fmla="*/ 134112 h 731424"/>
                <a:gd name="connsiteX159" fmla="*/ 486728 w 1044701"/>
                <a:gd name="connsiteY159" fmla="*/ 115538 h 731424"/>
                <a:gd name="connsiteX160" fmla="*/ 480250 w 1044701"/>
                <a:gd name="connsiteY160" fmla="*/ 114776 h 731424"/>
                <a:gd name="connsiteX161" fmla="*/ 449675 w 1044701"/>
                <a:gd name="connsiteY161" fmla="*/ 113824 h 731424"/>
                <a:gd name="connsiteX162" fmla="*/ 449580 w 1044701"/>
                <a:gd name="connsiteY162" fmla="*/ 88202 h 731424"/>
                <a:gd name="connsiteX163" fmla="*/ 448437 w 1044701"/>
                <a:gd name="connsiteY163" fmla="*/ 78772 h 731424"/>
                <a:gd name="connsiteX164" fmla="*/ 435197 w 1044701"/>
                <a:gd name="connsiteY164" fmla="*/ 75629 h 731424"/>
                <a:gd name="connsiteX165" fmla="*/ 435102 w 1044701"/>
                <a:gd name="connsiteY165" fmla="*/ 62770 h 731424"/>
                <a:gd name="connsiteX166" fmla="*/ 415957 w 1044701"/>
                <a:gd name="connsiteY166" fmla="*/ 63627 h 731424"/>
                <a:gd name="connsiteX167" fmla="*/ 410623 w 1044701"/>
                <a:gd name="connsiteY167" fmla="*/ 59531 h 731424"/>
                <a:gd name="connsiteX168" fmla="*/ 405955 w 1044701"/>
                <a:gd name="connsiteY168" fmla="*/ 60103 h 731424"/>
                <a:gd name="connsiteX169" fmla="*/ 405289 w 1044701"/>
                <a:gd name="connsiteY169" fmla="*/ 55340 h 731424"/>
                <a:gd name="connsiteX170" fmla="*/ 401193 w 1044701"/>
                <a:gd name="connsiteY170" fmla="*/ 60674 h 731424"/>
                <a:gd name="connsiteX171" fmla="*/ 388525 w 1044701"/>
                <a:gd name="connsiteY171" fmla="*/ 49530 h 731424"/>
                <a:gd name="connsiteX172" fmla="*/ 383572 w 1044701"/>
                <a:gd name="connsiteY172" fmla="*/ 48482 h 731424"/>
                <a:gd name="connsiteX173" fmla="*/ 384429 w 1044701"/>
                <a:gd name="connsiteY173" fmla="*/ 54864 h 731424"/>
                <a:gd name="connsiteX174" fmla="*/ 383000 w 1044701"/>
                <a:gd name="connsiteY174" fmla="*/ 56579 h 731424"/>
                <a:gd name="connsiteX175" fmla="*/ 362331 w 1044701"/>
                <a:gd name="connsiteY175" fmla="*/ 57626 h 731424"/>
                <a:gd name="connsiteX176" fmla="*/ 362903 w 1044701"/>
                <a:gd name="connsiteY176" fmla="*/ 75248 h 731424"/>
                <a:gd name="connsiteX177" fmla="*/ 351663 w 1044701"/>
                <a:gd name="connsiteY177" fmla="*/ 75057 h 731424"/>
                <a:gd name="connsiteX178" fmla="*/ 338899 w 1044701"/>
                <a:gd name="connsiteY178" fmla="*/ 75057 h 731424"/>
                <a:gd name="connsiteX179" fmla="*/ 338328 w 1044701"/>
                <a:gd name="connsiteY179" fmla="*/ 83153 h 731424"/>
                <a:gd name="connsiteX180" fmla="*/ 329470 w 1044701"/>
                <a:gd name="connsiteY180" fmla="*/ 89059 h 731424"/>
                <a:gd name="connsiteX181" fmla="*/ 329851 w 1044701"/>
                <a:gd name="connsiteY181" fmla="*/ 92297 h 731424"/>
                <a:gd name="connsiteX182" fmla="*/ 326898 w 1044701"/>
                <a:gd name="connsiteY182" fmla="*/ 94202 h 731424"/>
                <a:gd name="connsiteX183" fmla="*/ 326231 w 1044701"/>
                <a:gd name="connsiteY183" fmla="*/ 89535 h 731424"/>
                <a:gd name="connsiteX184" fmla="*/ 314992 w 1044701"/>
                <a:gd name="connsiteY184" fmla="*/ 89344 h 731424"/>
                <a:gd name="connsiteX185" fmla="*/ 313468 w 1044701"/>
                <a:gd name="connsiteY185" fmla="*/ 89535 h 731424"/>
                <a:gd name="connsiteX186" fmla="*/ 313087 w 1044701"/>
                <a:gd name="connsiteY186" fmla="*/ 86392 h 731424"/>
                <a:gd name="connsiteX187" fmla="*/ 306324 w 1044701"/>
                <a:gd name="connsiteY187" fmla="*/ 84011 h 731424"/>
                <a:gd name="connsiteX188" fmla="*/ 304133 w 1044701"/>
                <a:gd name="connsiteY188" fmla="*/ 79439 h 731424"/>
                <a:gd name="connsiteX189" fmla="*/ 304514 w 1044701"/>
                <a:gd name="connsiteY189" fmla="*/ 69818 h 731424"/>
                <a:gd name="connsiteX190" fmla="*/ 308229 w 1044701"/>
                <a:gd name="connsiteY190" fmla="*/ 61341 h 731424"/>
                <a:gd name="connsiteX191" fmla="*/ 303086 w 1044701"/>
                <a:gd name="connsiteY191" fmla="*/ 58769 h 731424"/>
                <a:gd name="connsiteX192" fmla="*/ 304324 w 1044701"/>
                <a:gd name="connsiteY192" fmla="*/ 55435 h 731424"/>
                <a:gd name="connsiteX193" fmla="*/ 303847 w 1044701"/>
                <a:gd name="connsiteY193" fmla="*/ 52292 h 731424"/>
                <a:gd name="connsiteX194" fmla="*/ 294227 w 1044701"/>
                <a:gd name="connsiteY194" fmla="*/ 51911 h 731424"/>
                <a:gd name="connsiteX195" fmla="*/ 290513 w 1044701"/>
                <a:gd name="connsiteY195" fmla="*/ 47530 h 731424"/>
                <a:gd name="connsiteX196" fmla="*/ 285083 w 1044701"/>
                <a:gd name="connsiteY196" fmla="*/ 43434 h 731424"/>
                <a:gd name="connsiteX197" fmla="*/ 280797 w 1044701"/>
                <a:gd name="connsiteY197" fmla="*/ 47149 h 731424"/>
                <a:gd name="connsiteX198" fmla="*/ 278416 w 1044701"/>
                <a:gd name="connsiteY198" fmla="*/ 53912 h 731424"/>
                <a:gd name="connsiteX199" fmla="*/ 270129 w 1044701"/>
                <a:gd name="connsiteY199" fmla="*/ 51721 h 731424"/>
                <a:gd name="connsiteX200" fmla="*/ 269177 w 1044701"/>
                <a:gd name="connsiteY200" fmla="*/ 56674 h 731424"/>
                <a:gd name="connsiteX201" fmla="*/ 264414 w 1044701"/>
                <a:gd name="connsiteY201" fmla="*/ 57245 h 731424"/>
                <a:gd name="connsiteX202" fmla="*/ 264605 w 1044701"/>
                <a:gd name="connsiteY202" fmla="*/ 58865 h 731424"/>
                <a:gd name="connsiteX203" fmla="*/ 260128 w 1044701"/>
                <a:gd name="connsiteY203" fmla="*/ 61055 h 731424"/>
                <a:gd name="connsiteX204" fmla="*/ 260890 w 1044701"/>
                <a:gd name="connsiteY204" fmla="*/ 67342 h 731424"/>
                <a:gd name="connsiteX205" fmla="*/ 262699 w 1044701"/>
                <a:gd name="connsiteY205" fmla="*/ 68771 h 731424"/>
                <a:gd name="connsiteX206" fmla="*/ 260985 w 1044701"/>
                <a:gd name="connsiteY206" fmla="*/ 80200 h 731424"/>
                <a:gd name="connsiteX207" fmla="*/ 259747 w 1044701"/>
                <a:gd name="connsiteY207" fmla="*/ 83534 h 731424"/>
                <a:gd name="connsiteX208" fmla="*/ 256604 w 1044701"/>
                <a:gd name="connsiteY208" fmla="*/ 83915 h 731424"/>
                <a:gd name="connsiteX209" fmla="*/ 256794 w 1044701"/>
                <a:gd name="connsiteY209" fmla="*/ 85535 h 731424"/>
                <a:gd name="connsiteX210" fmla="*/ 254794 w 1044701"/>
                <a:gd name="connsiteY210" fmla="*/ 82582 h 731424"/>
                <a:gd name="connsiteX211" fmla="*/ 251079 w 1044701"/>
                <a:gd name="connsiteY211" fmla="*/ 91059 h 731424"/>
                <a:gd name="connsiteX212" fmla="*/ 247364 w 1044701"/>
                <a:gd name="connsiteY212" fmla="*/ 86677 h 731424"/>
                <a:gd name="connsiteX213" fmla="*/ 242411 w 1044701"/>
                <a:gd name="connsiteY213" fmla="*/ 85725 h 731424"/>
                <a:gd name="connsiteX214" fmla="*/ 239458 w 1044701"/>
                <a:gd name="connsiteY214" fmla="*/ 87725 h 731424"/>
                <a:gd name="connsiteX215" fmla="*/ 239268 w 1044701"/>
                <a:gd name="connsiteY215" fmla="*/ 86106 h 731424"/>
                <a:gd name="connsiteX216" fmla="*/ 235934 w 1044701"/>
                <a:gd name="connsiteY216" fmla="*/ 84963 h 731424"/>
                <a:gd name="connsiteX217" fmla="*/ 234696 w 1044701"/>
                <a:gd name="connsiteY217" fmla="*/ 88297 h 731424"/>
                <a:gd name="connsiteX218" fmla="*/ 231553 w 1044701"/>
                <a:gd name="connsiteY218" fmla="*/ 88773 h 731424"/>
                <a:gd name="connsiteX219" fmla="*/ 228981 w 1044701"/>
                <a:gd name="connsiteY219" fmla="*/ 93917 h 731424"/>
                <a:gd name="connsiteX220" fmla="*/ 227457 w 1044701"/>
                <a:gd name="connsiteY220" fmla="*/ 94107 h 731424"/>
                <a:gd name="connsiteX221" fmla="*/ 227838 w 1044701"/>
                <a:gd name="connsiteY221" fmla="*/ 97250 h 731424"/>
                <a:gd name="connsiteX222" fmla="*/ 225076 w 1044701"/>
                <a:gd name="connsiteY222" fmla="*/ 100775 h 731424"/>
                <a:gd name="connsiteX223" fmla="*/ 221552 w 1044701"/>
                <a:gd name="connsiteY223" fmla="*/ 98012 h 731424"/>
                <a:gd name="connsiteX224" fmla="*/ 219932 w 1044701"/>
                <a:gd name="connsiteY224" fmla="*/ 98203 h 731424"/>
                <a:gd name="connsiteX225" fmla="*/ 218789 w 1044701"/>
                <a:gd name="connsiteY225" fmla="*/ 101632 h 731424"/>
                <a:gd name="connsiteX226" fmla="*/ 215170 w 1044701"/>
                <a:gd name="connsiteY226" fmla="*/ 98869 h 731424"/>
                <a:gd name="connsiteX227" fmla="*/ 214979 w 1044701"/>
                <a:gd name="connsiteY227" fmla="*/ 97250 h 731424"/>
                <a:gd name="connsiteX228" fmla="*/ 209836 w 1044701"/>
                <a:gd name="connsiteY228" fmla="*/ 94679 h 731424"/>
                <a:gd name="connsiteX229" fmla="*/ 209645 w 1044701"/>
                <a:gd name="connsiteY229" fmla="*/ 93154 h 731424"/>
                <a:gd name="connsiteX230" fmla="*/ 199358 w 1044701"/>
                <a:gd name="connsiteY230" fmla="*/ 88011 h 731424"/>
                <a:gd name="connsiteX231" fmla="*/ 197644 w 1044701"/>
                <a:gd name="connsiteY231" fmla="*/ 86677 h 731424"/>
                <a:gd name="connsiteX232" fmla="*/ 195834 w 1044701"/>
                <a:gd name="connsiteY232" fmla="*/ 85249 h 731424"/>
                <a:gd name="connsiteX233" fmla="*/ 195263 w 1044701"/>
                <a:gd name="connsiteY233" fmla="*/ 93345 h 731424"/>
                <a:gd name="connsiteX234" fmla="*/ 191738 w 1044701"/>
                <a:gd name="connsiteY234" fmla="*/ 90583 h 731424"/>
                <a:gd name="connsiteX235" fmla="*/ 191929 w 1044701"/>
                <a:gd name="connsiteY235" fmla="*/ 92202 h 731424"/>
                <a:gd name="connsiteX236" fmla="*/ 186785 w 1044701"/>
                <a:gd name="connsiteY236" fmla="*/ 89630 h 731424"/>
                <a:gd name="connsiteX237" fmla="*/ 182023 w 1044701"/>
                <a:gd name="connsiteY237" fmla="*/ 90202 h 731424"/>
                <a:gd name="connsiteX238" fmla="*/ 181832 w 1044701"/>
                <a:gd name="connsiteY238" fmla="*/ 88678 h 731424"/>
                <a:gd name="connsiteX239" fmla="*/ 183452 w 1044701"/>
                <a:gd name="connsiteY239" fmla="*/ 88487 h 731424"/>
                <a:gd name="connsiteX240" fmla="*/ 183261 w 1044701"/>
                <a:gd name="connsiteY240" fmla="*/ 86868 h 731424"/>
                <a:gd name="connsiteX241" fmla="*/ 181642 w 1044701"/>
                <a:gd name="connsiteY241" fmla="*/ 87058 h 731424"/>
                <a:gd name="connsiteX242" fmla="*/ 180213 w 1044701"/>
                <a:gd name="connsiteY242" fmla="*/ 88868 h 731424"/>
                <a:gd name="connsiteX243" fmla="*/ 175070 w 1044701"/>
                <a:gd name="connsiteY243" fmla="*/ 86296 h 731424"/>
                <a:gd name="connsiteX244" fmla="*/ 173736 w 1044701"/>
                <a:gd name="connsiteY244" fmla="*/ 88106 h 731424"/>
                <a:gd name="connsiteX245" fmla="*/ 175355 w 1044701"/>
                <a:gd name="connsiteY245" fmla="*/ 87916 h 731424"/>
                <a:gd name="connsiteX246" fmla="*/ 170783 w 1044701"/>
                <a:gd name="connsiteY246" fmla="*/ 90106 h 731424"/>
                <a:gd name="connsiteX247" fmla="*/ 168783 w 1044701"/>
                <a:gd name="connsiteY247" fmla="*/ 87154 h 731424"/>
                <a:gd name="connsiteX248" fmla="*/ 165640 w 1044701"/>
                <a:gd name="connsiteY248" fmla="*/ 87535 h 731424"/>
                <a:gd name="connsiteX249" fmla="*/ 163925 w 1044701"/>
                <a:gd name="connsiteY249" fmla="*/ 86106 h 731424"/>
                <a:gd name="connsiteX250" fmla="*/ 162496 w 1044701"/>
                <a:gd name="connsiteY250" fmla="*/ 87916 h 731424"/>
                <a:gd name="connsiteX251" fmla="*/ 162115 w 1044701"/>
                <a:gd name="connsiteY251" fmla="*/ 84773 h 731424"/>
                <a:gd name="connsiteX252" fmla="*/ 160496 w 1044701"/>
                <a:gd name="connsiteY252" fmla="*/ 84963 h 731424"/>
                <a:gd name="connsiteX253" fmla="*/ 161354 w 1044701"/>
                <a:gd name="connsiteY253" fmla="*/ 91250 h 731424"/>
                <a:gd name="connsiteX254" fmla="*/ 164497 w 1044701"/>
                <a:gd name="connsiteY254" fmla="*/ 90869 h 731424"/>
                <a:gd name="connsiteX255" fmla="*/ 163068 w 1044701"/>
                <a:gd name="connsiteY255" fmla="*/ 92678 h 731424"/>
                <a:gd name="connsiteX256" fmla="*/ 161354 w 1044701"/>
                <a:gd name="connsiteY256" fmla="*/ 91250 h 731424"/>
                <a:gd name="connsiteX257" fmla="*/ 157734 w 1044701"/>
                <a:gd name="connsiteY257" fmla="*/ 88487 h 731424"/>
                <a:gd name="connsiteX258" fmla="*/ 156400 w 1044701"/>
                <a:gd name="connsiteY258" fmla="*/ 90297 h 731424"/>
                <a:gd name="connsiteX259" fmla="*/ 156591 w 1044701"/>
                <a:gd name="connsiteY259" fmla="*/ 91916 h 731424"/>
                <a:gd name="connsiteX260" fmla="*/ 154972 w 1044701"/>
                <a:gd name="connsiteY260" fmla="*/ 92107 h 731424"/>
                <a:gd name="connsiteX261" fmla="*/ 153448 w 1044701"/>
                <a:gd name="connsiteY261" fmla="*/ 92297 h 731424"/>
                <a:gd name="connsiteX262" fmla="*/ 152781 w 1044701"/>
                <a:gd name="connsiteY262" fmla="*/ 87535 h 731424"/>
                <a:gd name="connsiteX263" fmla="*/ 149638 w 1044701"/>
                <a:gd name="connsiteY263" fmla="*/ 87916 h 731424"/>
                <a:gd name="connsiteX264" fmla="*/ 149828 w 1044701"/>
                <a:gd name="connsiteY264" fmla="*/ 76676 h 731424"/>
                <a:gd name="connsiteX265" fmla="*/ 142970 w 1044701"/>
                <a:gd name="connsiteY265" fmla="*/ 72771 h 731424"/>
                <a:gd name="connsiteX266" fmla="*/ 139732 w 1044701"/>
                <a:gd name="connsiteY266" fmla="*/ 73152 h 731424"/>
                <a:gd name="connsiteX267" fmla="*/ 138779 w 1044701"/>
                <a:gd name="connsiteY267" fmla="*/ 78105 h 731424"/>
                <a:gd name="connsiteX268" fmla="*/ 143923 w 1044701"/>
                <a:gd name="connsiteY268" fmla="*/ 80677 h 731424"/>
                <a:gd name="connsiteX269" fmla="*/ 137827 w 1044701"/>
                <a:gd name="connsiteY269" fmla="*/ 83058 h 731424"/>
                <a:gd name="connsiteX270" fmla="*/ 136017 w 1044701"/>
                <a:gd name="connsiteY270" fmla="*/ 81629 h 731424"/>
                <a:gd name="connsiteX271" fmla="*/ 134684 w 1044701"/>
                <a:gd name="connsiteY271" fmla="*/ 83439 h 731424"/>
                <a:gd name="connsiteX272" fmla="*/ 135255 w 1044701"/>
                <a:gd name="connsiteY272" fmla="*/ 88202 h 731424"/>
                <a:gd name="connsiteX273" fmla="*/ 130683 w 1044701"/>
                <a:gd name="connsiteY273" fmla="*/ 90392 h 731424"/>
                <a:gd name="connsiteX274" fmla="*/ 127349 w 1044701"/>
                <a:gd name="connsiteY274" fmla="*/ 89154 h 731424"/>
                <a:gd name="connsiteX275" fmla="*/ 126778 w 1044701"/>
                <a:gd name="connsiteY275" fmla="*/ 84487 h 731424"/>
                <a:gd name="connsiteX276" fmla="*/ 125349 w 1044701"/>
                <a:gd name="connsiteY276" fmla="*/ 86201 h 731424"/>
                <a:gd name="connsiteX277" fmla="*/ 123444 w 1044701"/>
                <a:gd name="connsiteY277" fmla="*/ 83248 h 731424"/>
                <a:gd name="connsiteX278" fmla="*/ 120301 w 1044701"/>
                <a:gd name="connsiteY278" fmla="*/ 83629 h 731424"/>
                <a:gd name="connsiteX279" fmla="*/ 109823 w 1044701"/>
                <a:gd name="connsiteY279" fmla="*/ 89821 h 731424"/>
                <a:gd name="connsiteX280" fmla="*/ 108394 w 1044701"/>
                <a:gd name="connsiteY280" fmla="*/ 91631 h 731424"/>
                <a:gd name="connsiteX281" fmla="*/ 107823 w 1044701"/>
                <a:gd name="connsiteY281" fmla="*/ 99727 h 731424"/>
                <a:gd name="connsiteX282" fmla="*/ 106680 w 1044701"/>
                <a:gd name="connsiteY282" fmla="*/ 103061 h 731424"/>
                <a:gd name="connsiteX283" fmla="*/ 108490 w 1044701"/>
                <a:gd name="connsiteY283" fmla="*/ 104394 h 731424"/>
                <a:gd name="connsiteX284" fmla="*/ 110680 w 1044701"/>
                <a:gd name="connsiteY284" fmla="*/ 108966 h 731424"/>
                <a:gd name="connsiteX285" fmla="*/ 109252 w 1044701"/>
                <a:gd name="connsiteY285" fmla="*/ 110776 h 731424"/>
                <a:gd name="connsiteX286" fmla="*/ 105727 w 1044701"/>
                <a:gd name="connsiteY286" fmla="*/ 108014 h 731424"/>
                <a:gd name="connsiteX287" fmla="*/ 102965 w 1044701"/>
                <a:gd name="connsiteY287" fmla="*/ 111538 h 731424"/>
                <a:gd name="connsiteX288" fmla="*/ 98393 w 1044701"/>
                <a:gd name="connsiteY288" fmla="*/ 113729 h 731424"/>
                <a:gd name="connsiteX289" fmla="*/ 98584 w 1044701"/>
                <a:gd name="connsiteY289" fmla="*/ 115252 h 731424"/>
                <a:gd name="connsiteX290" fmla="*/ 96869 w 1044701"/>
                <a:gd name="connsiteY290" fmla="*/ 113919 h 731424"/>
                <a:gd name="connsiteX291" fmla="*/ 85630 w 1044701"/>
                <a:gd name="connsiteY291" fmla="*/ 113729 h 731424"/>
                <a:gd name="connsiteX292" fmla="*/ 86201 w 1044701"/>
                <a:gd name="connsiteY292" fmla="*/ 118491 h 731424"/>
                <a:gd name="connsiteX293" fmla="*/ 90964 w 1044701"/>
                <a:gd name="connsiteY293" fmla="*/ 117919 h 731424"/>
                <a:gd name="connsiteX294" fmla="*/ 88011 w 1044701"/>
                <a:gd name="connsiteY294" fmla="*/ 119825 h 731424"/>
                <a:gd name="connsiteX295" fmla="*/ 83058 w 1044701"/>
                <a:gd name="connsiteY295" fmla="*/ 118872 h 731424"/>
                <a:gd name="connsiteX296" fmla="*/ 83248 w 1044701"/>
                <a:gd name="connsiteY296" fmla="*/ 120491 h 731424"/>
                <a:gd name="connsiteX297" fmla="*/ 78962 w 1044701"/>
                <a:gd name="connsiteY297" fmla="*/ 124206 h 731424"/>
                <a:gd name="connsiteX298" fmla="*/ 77343 w 1044701"/>
                <a:gd name="connsiteY298" fmla="*/ 124396 h 731424"/>
                <a:gd name="connsiteX299" fmla="*/ 73247 w 1044701"/>
                <a:gd name="connsiteY299" fmla="*/ 129731 h 731424"/>
                <a:gd name="connsiteX300" fmla="*/ 60960 w 1044701"/>
                <a:gd name="connsiteY300" fmla="*/ 134493 h 731424"/>
                <a:gd name="connsiteX301" fmla="*/ 50863 w 1044701"/>
                <a:gd name="connsiteY301" fmla="*/ 118205 h 731424"/>
                <a:gd name="connsiteX302" fmla="*/ 49054 w 1044701"/>
                <a:gd name="connsiteY302" fmla="*/ 116777 h 731424"/>
                <a:gd name="connsiteX303" fmla="*/ 47530 w 1044701"/>
                <a:gd name="connsiteY303" fmla="*/ 116967 h 731424"/>
                <a:gd name="connsiteX304" fmla="*/ 50292 w 1044701"/>
                <a:gd name="connsiteY304" fmla="*/ 126302 h 731424"/>
                <a:gd name="connsiteX305" fmla="*/ 44386 w 1044701"/>
                <a:gd name="connsiteY305" fmla="*/ 130207 h 731424"/>
                <a:gd name="connsiteX306" fmla="*/ 39243 w 1044701"/>
                <a:gd name="connsiteY306" fmla="*/ 127635 h 731424"/>
                <a:gd name="connsiteX307" fmla="*/ 38671 w 1044701"/>
                <a:gd name="connsiteY307" fmla="*/ 122968 h 731424"/>
                <a:gd name="connsiteX308" fmla="*/ 35147 w 1044701"/>
                <a:gd name="connsiteY308" fmla="*/ 120206 h 731424"/>
                <a:gd name="connsiteX309" fmla="*/ 29146 w 1044701"/>
                <a:gd name="connsiteY309" fmla="*/ 124111 h 731424"/>
                <a:gd name="connsiteX310" fmla="*/ 25622 w 1044701"/>
                <a:gd name="connsiteY310" fmla="*/ 134207 h 731424"/>
                <a:gd name="connsiteX311" fmla="*/ 32766 w 1044701"/>
                <a:gd name="connsiteY311" fmla="*/ 139732 h 731424"/>
                <a:gd name="connsiteX312" fmla="*/ 37147 w 1044701"/>
                <a:gd name="connsiteY312" fmla="*/ 135922 h 731424"/>
                <a:gd name="connsiteX313" fmla="*/ 41243 w 1044701"/>
                <a:gd name="connsiteY313" fmla="*/ 143446 h 731424"/>
                <a:gd name="connsiteX314" fmla="*/ 44386 w 1044701"/>
                <a:gd name="connsiteY314" fmla="*/ 143066 h 731424"/>
                <a:gd name="connsiteX315" fmla="*/ 39910 w 1044701"/>
                <a:gd name="connsiteY315" fmla="*/ 145256 h 731424"/>
                <a:gd name="connsiteX316" fmla="*/ 36100 w 1044701"/>
                <a:gd name="connsiteY316" fmla="*/ 140875 h 731424"/>
                <a:gd name="connsiteX317" fmla="*/ 33338 w 1044701"/>
                <a:gd name="connsiteY317" fmla="*/ 144494 h 731424"/>
                <a:gd name="connsiteX318" fmla="*/ 30194 w 1044701"/>
                <a:gd name="connsiteY318" fmla="*/ 144875 h 731424"/>
                <a:gd name="connsiteX319" fmla="*/ 28861 w 1044701"/>
                <a:gd name="connsiteY319" fmla="*/ 146685 h 731424"/>
                <a:gd name="connsiteX320" fmla="*/ 31432 w 1044701"/>
                <a:gd name="connsiteY320" fmla="*/ 154305 h 731424"/>
                <a:gd name="connsiteX321" fmla="*/ 33623 w 1044701"/>
                <a:gd name="connsiteY321" fmla="*/ 158877 h 731424"/>
                <a:gd name="connsiteX322" fmla="*/ 33814 w 1044701"/>
                <a:gd name="connsiteY322" fmla="*/ 173260 h 731424"/>
                <a:gd name="connsiteX323" fmla="*/ 27337 w 1044701"/>
                <a:gd name="connsiteY323" fmla="*/ 172498 h 731424"/>
                <a:gd name="connsiteX324" fmla="*/ 22765 w 1044701"/>
                <a:gd name="connsiteY324" fmla="*/ 174689 h 731424"/>
                <a:gd name="connsiteX325" fmla="*/ 21050 w 1044701"/>
                <a:gd name="connsiteY325" fmla="*/ 173260 h 731424"/>
                <a:gd name="connsiteX326" fmla="*/ 21431 w 1044701"/>
                <a:gd name="connsiteY326" fmla="*/ 176403 h 731424"/>
                <a:gd name="connsiteX327" fmla="*/ 18288 w 1044701"/>
                <a:gd name="connsiteY327" fmla="*/ 176879 h 731424"/>
                <a:gd name="connsiteX328" fmla="*/ 16478 w 1044701"/>
                <a:gd name="connsiteY328" fmla="*/ 175450 h 731424"/>
                <a:gd name="connsiteX329" fmla="*/ 13144 w 1044701"/>
                <a:gd name="connsiteY329" fmla="*/ 174308 h 731424"/>
                <a:gd name="connsiteX330" fmla="*/ 11906 w 1044701"/>
                <a:gd name="connsiteY330" fmla="*/ 177641 h 731424"/>
                <a:gd name="connsiteX331" fmla="*/ 8954 w 1044701"/>
                <a:gd name="connsiteY331" fmla="*/ 179642 h 731424"/>
                <a:gd name="connsiteX332" fmla="*/ 9239 w 1044701"/>
                <a:gd name="connsiteY332" fmla="*/ 181261 h 731424"/>
                <a:gd name="connsiteX333" fmla="*/ 12763 w 1044701"/>
                <a:gd name="connsiteY333" fmla="*/ 183928 h 731424"/>
                <a:gd name="connsiteX334" fmla="*/ 24003 w 1044701"/>
                <a:gd name="connsiteY334" fmla="*/ 184118 h 731424"/>
                <a:gd name="connsiteX335" fmla="*/ 22860 w 1044701"/>
                <a:gd name="connsiteY335" fmla="*/ 187547 h 731424"/>
                <a:gd name="connsiteX336" fmla="*/ 27337 w 1044701"/>
                <a:gd name="connsiteY336" fmla="*/ 185356 h 731424"/>
                <a:gd name="connsiteX337" fmla="*/ 28004 w 1044701"/>
                <a:gd name="connsiteY337" fmla="*/ 190024 h 731424"/>
                <a:gd name="connsiteX338" fmla="*/ 26575 w 1044701"/>
                <a:gd name="connsiteY338" fmla="*/ 191834 h 731424"/>
                <a:gd name="connsiteX339" fmla="*/ 24765 w 1044701"/>
                <a:gd name="connsiteY339" fmla="*/ 190500 h 731424"/>
                <a:gd name="connsiteX340" fmla="*/ 23431 w 1044701"/>
                <a:gd name="connsiteY340" fmla="*/ 192215 h 731424"/>
                <a:gd name="connsiteX341" fmla="*/ 18288 w 1044701"/>
                <a:gd name="connsiteY341" fmla="*/ 189643 h 731424"/>
                <a:gd name="connsiteX342" fmla="*/ 18479 w 1044701"/>
                <a:gd name="connsiteY342" fmla="*/ 191262 h 731424"/>
                <a:gd name="connsiteX343" fmla="*/ 21812 w 1044701"/>
                <a:gd name="connsiteY343" fmla="*/ 192405 h 731424"/>
                <a:gd name="connsiteX344" fmla="*/ 20288 w 1044701"/>
                <a:gd name="connsiteY344" fmla="*/ 192596 h 731424"/>
                <a:gd name="connsiteX345" fmla="*/ 15145 w 1044701"/>
                <a:gd name="connsiteY345" fmla="*/ 190119 h 731424"/>
                <a:gd name="connsiteX346" fmla="*/ 11811 w 1044701"/>
                <a:gd name="connsiteY346" fmla="*/ 188881 h 731424"/>
                <a:gd name="connsiteX347" fmla="*/ 6096 w 1044701"/>
                <a:gd name="connsiteY347" fmla="*/ 194405 h 731424"/>
                <a:gd name="connsiteX348" fmla="*/ 0 w 1044701"/>
                <a:gd name="connsiteY348" fmla="*/ 196787 h 731424"/>
                <a:gd name="connsiteX349" fmla="*/ 5334 w 1044701"/>
                <a:gd name="connsiteY349" fmla="*/ 200977 h 731424"/>
                <a:gd name="connsiteX350" fmla="*/ 5715 w 1044701"/>
                <a:gd name="connsiteY350" fmla="*/ 204121 h 731424"/>
                <a:gd name="connsiteX351" fmla="*/ 7239 w 1044701"/>
                <a:gd name="connsiteY351" fmla="*/ 203930 h 731424"/>
                <a:gd name="connsiteX352" fmla="*/ 8096 w 1044701"/>
                <a:gd name="connsiteY352" fmla="*/ 210217 h 731424"/>
                <a:gd name="connsiteX353" fmla="*/ 11621 w 1044701"/>
                <a:gd name="connsiteY353" fmla="*/ 212979 h 731424"/>
                <a:gd name="connsiteX354" fmla="*/ 13240 w 1044701"/>
                <a:gd name="connsiteY354" fmla="*/ 212789 h 731424"/>
                <a:gd name="connsiteX355" fmla="*/ 11811 w 1044701"/>
                <a:gd name="connsiteY355" fmla="*/ 214598 h 731424"/>
                <a:gd name="connsiteX356" fmla="*/ 14954 w 1044701"/>
                <a:gd name="connsiteY356" fmla="*/ 214122 h 731424"/>
                <a:gd name="connsiteX357" fmla="*/ 15430 w 1044701"/>
                <a:gd name="connsiteY357" fmla="*/ 217265 h 731424"/>
                <a:gd name="connsiteX358" fmla="*/ 20574 w 1044701"/>
                <a:gd name="connsiteY358" fmla="*/ 219837 h 731424"/>
                <a:gd name="connsiteX359" fmla="*/ 25717 w 1044701"/>
                <a:gd name="connsiteY359" fmla="*/ 222409 h 731424"/>
                <a:gd name="connsiteX360" fmla="*/ 27432 w 1044701"/>
                <a:gd name="connsiteY360" fmla="*/ 223838 h 731424"/>
                <a:gd name="connsiteX361" fmla="*/ 31623 w 1044701"/>
                <a:gd name="connsiteY361" fmla="*/ 218504 h 731424"/>
                <a:gd name="connsiteX362" fmla="*/ 39910 w 1044701"/>
                <a:gd name="connsiteY362" fmla="*/ 220599 h 731424"/>
                <a:gd name="connsiteX363" fmla="*/ 38481 w 1044701"/>
                <a:gd name="connsiteY363" fmla="*/ 222409 h 731424"/>
                <a:gd name="connsiteX364" fmla="*/ 36767 w 1044701"/>
                <a:gd name="connsiteY364" fmla="*/ 220980 h 731424"/>
                <a:gd name="connsiteX365" fmla="*/ 40481 w 1044701"/>
                <a:gd name="connsiteY365" fmla="*/ 225362 h 731424"/>
                <a:gd name="connsiteX366" fmla="*/ 43434 w 1044701"/>
                <a:gd name="connsiteY366" fmla="*/ 223361 h 731424"/>
                <a:gd name="connsiteX367" fmla="*/ 48577 w 1044701"/>
                <a:gd name="connsiteY367" fmla="*/ 225933 h 731424"/>
                <a:gd name="connsiteX368" fmla="*/ 44196 w 1044701"/>
                <a:gd name="connsiteY368" fmla="*/ 229648 h 731424"/>
                <a:gd name="connsiteX369" fmla="*/ 41053 w 1044701"/>
                <a:gd name="connsiteY369" fmla="*/ 230029 h 731424"/>
                <a:gd name="connsiteX370" fmla="*/ 43053 w 1044701"/>
                <a:gd name="connsiteY370" fmla="*/ 232981 h 731424"/>
                <a:gd name="connsiteX371" fmla="*/ 46387 w 1044701"/>
                <a:gd name="connsiteY371" fmla="*/ 234220 h 731424"/>
                <a:gd name="connsiteX372" fmla="*/ 49625 w 1044701"/>
                <a:gd name="connsiteY372" fmla="*/ 233839 h 731424"/>
                <a:gd name="connsiteX373" fmla="*/ 49816 w 1044701"/>
                <a:gd name="connsiteY373" fmla="*/ 235363 h 731424"/>
                <a:gd name="connsiteX374" fmla="*/ 51149 w 1044701"/>
                <a:gd name="connsiteY374" fmla="*/ 233648 h 731424"/>
                <a:gd name="connsiteX375" fmla="*/ 52959 w 1044701"/>
                <a:gd name="connsiteY375" fmla="*/ 234982 h 731424"/>
                <a:gd name="connsiteX376" fmla="*/ 58102 w 1044701"/>
                <a:gd name="connsiteY376" fmla="*/ 237554 h 731424"/>
                <a:gd name="connsiteX377" fmla="*/ 65342 w 1044701"/>
                <a:gd name="connsiteY377" fmla="*/ 231839 h 731424"/>
                <a:gd name="connsiteX378" fmla="*/ 67151 w 1044701"/>
                <a:gd name="connsiteY378" fmla="*/ 233172 h 731424"/>
                <a:gd name="connsiteX379" fmla="*/ 67532 w 1044701"/>
                <a:gd name="connsiteY379" fmla="*/ 236315 h 731424"/>
                <a:gd name="connsiteX380" fmla="*/ 69342 w 1044701"/>
                <a:gd name="connsiteY380" fmla="*/ 237744 h 731424"/>
                <a:gd name="connsiteX381" fmla="*/ 66389 w 1044701"/>
                <a:gd name="connsiteY381" fmla="*/ 239649 h 731424"/>
                <a:gd name="connsiteX382" fmla="*/ 67151 w 1044701"/>
                <a:gd name="connsiteY382" fmla="*/ 246031 h 731424"/>
                <a:gd name="connsiteX383" fmla="*/ 70294 w 1044701"/>
                <a:gd name="connsiteY383" fmla="*/ 245555 h 731424"/>
                <a:gd name="connsiteX384" fmla="*/ 73819 w 1044701"/>
                <a:gd name="connsiteY384" fmla="*/ 235553 h 731424"/>
                <a:gd name="connsiteX385" fmla="*/ 75819 w 1044701"/>
                <a:gd name="connsiteY385" fmla="*/ 238506 h 731424"/>
                <a:gd name="connsiteX386" fmla="*/ 74676 w 1044701"/>
                <a:gd name="connsiteY386" fmla="*/ 241840 h 731424"/>
                <a:gd name="connsiteX387" fmla="*/ 77819 w 1044701"/>
                <a:gd name="connsiteY387" fmla="*/ 241459 h 731424"/>
                <a:gd name="connsiteX388" fmla="*/ 76867 w 1044701"/>
                <a:gd name="connsiteY388" fmla="*/ 246412 h 731424"/>
                <a:gd name="connsiteX389" fmla="*/ 77438 w 1044701"/>
                <a:gd name="connsiteY389" fmla="*/ 251079 h 731424"/>
                <a:gd name="connsiteX390" fmla="*/ 76105 w 1044701"/>
                <a:gd name="connsiteY390" fmla="*/ 252889 h 731424"/>
                <a:gd name="connsiteX391" fmla="*/ 68580 w 1044701"/>
                <a:gd name="connsiteY391" fmla="*/ 257080 h 731424"/>
                <a:gd name="connsiteX392" fmla="*/ 68771 w 1044701"/>
                <a:gd name="connsiteY392" fmla="*/ 258604 h 731424"/>
                <a:gd name="connsiteX393" fmla="*/ 70771 w 1044701"/>
                <a:gd name="connsiteY393" fmla="*/ 261556 h 731424"/>
                <a:gd name="connsiteX394" fmla="*/ 79438 w 1044701"/>
                <a:gd name="connsiteY394" fmla="*/ 266890 h 731424"/>
                <a:gd name="connsiteX395" fmla="*/ 98774 w 1044701"/>
                <a:gd name="connsiteY395" fmla="*/ 280416 h 731424"/>
                <a:gd name="connsiteX396" fmla="*/ 100203 w 1044701"/>
                <a:gd name="connsiteY396" fmla="*/ 278702 h 731424"/>
                <a:gd name="connsiteX397" fmla="*/ 103346 w 1044701"/>
                <a:gd name="connsiteY397" fmla="*/ 278225 h 731424"/>
                <a:gd name="connsiteX398" fmla="*/ 105537 w 1044701"/>
                <a:gd name="connsiteY398" fmla="*/ 282797 h 731424"/>
                <a:gd name="connsiteX399" fmla="*/ 106871 w 1044701"/>
                <a:gd name="connsiteY399" fmla="*/ 280988 h 731424"/>
                <a:gd name="connsiteX400" fmla="*/ 108680 w 1044701"/>
                <a:gd name="connsiteY400" fmla="*/ 282416 h 731424"/>
                <a:gd name="connsiteX401" fmla="*/ 110490 w 1044701"/>
                <a:gd name="connsiteY401" fmla="*/ 283750 h 731424"/>
                <a:gd name="connsiteX402" fmla="*/ 109252 w 1044701"/>
                <a:gd name="connsiteY402" fmla="*/ 287179 h 731424"/>
                <a:gd name="connsiteX403" fmla="*/ 112681 w 1044701"/>
                <a:gd name="connsiteY403" fmla="*/ 288322 h 731424"/>
                <a:gd name="connsiteX404" fmla="*/ 115443 w 1044701"/>
                <a:gd name="connsiteY404" fmla="*/ 284798 h 731424"/>
                <a:gd name="connsiteX405" fmla="*/ 119348 w 1044701"/>
                <a:gd name="connsiteY405" fmla="*/ 290703 h 731424"/>
                <a:gd name="connsiteX406" fmla="*/ 116776 w 1044701"/>
                <a:gd name="connsiteY406" fmla="*/ 295847 h 731424"/>
                <a:gd name="connsiteX407" fmla="*/ 118586 w 1044701"/>
                <a:gd name="connsiteY407" fmla="*/ 297180 h 731424"/>
                <a:gd name="connsiteX408" fmla="*/ 117634 w 1044701"/>
                <a:gd name="connsiteY408" fmla="*/ 302133 h 731424"/>
                <a:gd name="connsiteX409" fmla="*/ 119634 w 1044701"/>
                <a:gd name="connsiteY409" fmla="*/ 305086 h 731424"/>
                <a:gd name="connsiteX410" fmla="*/ 116205 w 1044701"/>
                <a:gd name="connsiteY410" fmla="*/ 303943 h 731424"/>
                <a:gd name="connsiteX411" fmla="*/ 111728 w 1044701"/>
                <a:gd name="connsiteY411" fmla="*/ 306038 h 731424"/>
                <a:gd name="connsiteX412" fmla="*/ 107537 w 1044701"/>
                <a:gd name="connsiteY412" fmla="*/ 311372 h 731424"/>
                <a:gd name="connsiteX413" fmla="*/ 117062 w 1044701"/>
                <a:gd name="connsiteY413" fmla="*/ 322993 h 731424"/>
                <a:gd name="connsiteX414" fmla="*/ 118872 w 1044701"/>
                <a:gd name="connsiteY414" fmla="*/ 324422 h 731424"/>
                <a:gd name="connsiteX415" fmla="*/ 120682 w 1044701"/>
                <a:gd name="connsiteY415" fmla="*/ 325755 h 731424"/>
                <a:gd name="connsiteX416" fmla="*/ 121063 w 1044701"/>
                <a:gd name="connsiteY416" fmla="*/ 328898 h 731424"/>
                <a:gd name="connsiteX417" fmla="*/ 119825 w 1044701"/>
                <a:gd name="connsiteY417" fmla="*/ 332327 h 731424"/>
                <a:gd name="connsiteX418" fmla="*/ 118491 w 1044701"/>
                <a:gd name="connsiteY418" fmla="*/ 334042 h 731424"/>
                <a:gd name="connsiteX419" fmla="*/ 114967 w 1044701"/>
                <a:gd name="connsiteY419" fmla="*/ 331280 h 731424"/>
                <a:gd name="connsiteX420" fmla="*/ 115919 w 1044701"/>
                <a:gd name="connsiteY420" fmla="*/ 339185 h 731424"/>
                <a:gd name="connsiteX421" fmla="*/ 114395 w 1044701"/>
                <a:gd name="connsiteY421" fmla="*/ 339376 h 731424"/>
                <a:gd name="connsiteX422" fmla="*/ 113347 w 1044701"/>
                <a:gd name="connsiteY422" fmla="*/ 344329 h 731424"/>
                <a:gd name="connsiteX423" fmla="*/ 111823 w 1044701"/>
                <a:gd name="connsiteY423" fmla="*/ 344519 h 731424"/>
                <a:gd name="connsiteX424" fmla="*/ 112014 w 1044701"/>
                <a:gd name="connsiteY424" fmla="*/ 346139 h 731424"/>
                <a:gd name="connsiteX425" fmla="*/ 106680 w 1044701"/>
                <a:gd name="connsiteY425" fmla="*/ 354806 h 731424"/>
                <a:gd name="connsiteX426" fmla="*/ 110300 w 1044701"/>
                <a:gd name="connsiteY426" fmla="*/ 357569 h 731424"/>
                <a:gd name="connsiteX427" fmla="*/ 107251 w 1044701"/>
                <a:gd name="connsiteY427" fmla="*/ 359569 h 731424"/>
                <a:gd name="connsiteX428" fmla="*/ 98012 w 1044701"/>
                <a:gd name="connsiteY428" fmla="*/ 362331 h 731424"/>
                <a:gd name="connsiteX429" fmla="*/ 96488 w 1044701"/>
                <a:gd name="connsiteY429" fmla="*/ 362522 h 731424"/>
                <a:gd name="connsiteX430" fmla="*/ 96869 w 1044701"/>
                <a:gd name="connsiteY430" fmla="*/ 365665 h 731424"/>
                <a:gd name="connsiteX431" fmla="*/ 96869 w 1044701"/>
                <a:gd name="connsiteY431" fmla="*/ 365665 h 731424"/>
                <a:gd name="connsiteX432" fmla="*/ 95726 w 1044701"/>
                <a:gd name="connsiteY432" fmla="*/ 369094 h 731424"/>
                <a:gd name="connsiteX433" fmla="*/ 100775 w 1044701"/>
                <a:gd name="connsiteY433" fmla="*/ 371570 h 731424"/>
                <a:gd name="connsiteX434" fmla="*/ 100013 w 1044701"/>
                <a:gd name="connsiteY434" fmla="*/ 378143 h 731424"/>
                <a:gd name="connsiteX435" fmla="*/ 99060 w 1044701"/>
                <a:gd name="connsiteY435" fmla="*/ 383095 h 731424"/>
                <a:gd name="connsiteX436" fmla="*/ 100870 w 1044701"/>
                <a:gd name="connsiteY436" fmla="*/ 384429 h 731424"/>
                <a:gd name="connsiteX437" fmla="*/ 100108 w 1044701"/>
                <a:gd name="connsiteY437" fmla="*/ 390906 h 731424"/>
                <a:gd name="connsiteX438" fmla="*/ 98488 w 1044701"/>
                <a:gd name="connsiteY438" fmla="*/ 391192 h 731424"/>
                <a:gd name="connsiteX439" fmla="*/ 96488 w 1044701"/>
                <a:gd name="connsiteY439" fmla="*/ 388239 h 731424"/>
                <a:gd name="connsiteX440" fmla="*/ 93917 w 1044701"/>
                <a:gd name="connsiteY440" fmla="*/ 393287 h 731424"/>
                <a:gd name="connsiteX441" fmla="*/ 97536 w 1044701"/>
                <a:gd name="connsiteY441" fmla="*/ 396049 h 731424"/>
                <a:gd name="connsiteX442" fmla="*/ 98298 w 1044701"/>
                <a:gd name="connsiteY442" fmla="*/ 402431 h 731424"/>
                <a:gd name="connsiteX443" fmla="*/ 95155 w 1044701"/>
                <a:gd name="connsiteY443" fmla="*/ 402812 h 731424"/>
                <a:gd name="connsiteX444" fmla="*/ 105823 w 1044701"/>
                <a:gd name="connsiteY444" fmla="*/ 411099 h 731424"/>
                <a:gd name="connsiteX445" fmla="*/ 110966 w 1044701"/>
                <a:gd name="connsiteY445" fmla="*/ 413576 h 731424"/>
                <a:gd name="connsiteX446" fmla="*/ 114776 w 1044701"/>
                <a:gd name="connsiteY446" fmla="*/ 417957 h 731424"/>
                <a:gd name="connsiteX447" fmla="*/ 118491 w 1044701"/>
                <a:gd name="connsiteY447" fmla="*/ 422243 h 731424"/>
                <a:gd name="connsiteX448" fmla="*/ 122015 w 1044701"/>
                <a:gd name="connsiteY448" fmla="*/ 425006 h 731424"/>
                <a:gd name="connsiteX449" fmla="*/ 128588 w 1044701"/>
                <a:gd name="connsiteY449" fmla="*/ 425768 h 731424"/>
                <a:gd name="connsiteX450" fmla="*/ 137827 w 1044701"/>
                <a:gd name="connsiteY450" fmla="*/ 435864 h 731424"/>
                <a:gd name="connsiteX451" fmla="*/ 142589 w 1044701"/>
                <a:gd name="connsiteY451" fmla="*/ 435293 h 731424"/>
                <a:gd name="connsiteX452" fmla="*/ 142970 w 1044701"/>
                <a:gd name="connsiteY452" fmla="*/ 438436 h 731424"/>
                <a:gd name="connsiteX453" fmla="*/ 144971 w 1044701"/>
                <a:gd name="connsiteY453" fmla="*/ 441389 h 731424"/>
                <a:gd name="connsiteX454" fmla="*/ 151257 w 1044701"/>
                <a:gd name="connsiteY454" fmla="*/ 440531 h 731424"/>
                <a:gd name="connsiteX455" fmla="*/ 150304 w 1044701"/>
                <a:gd name="connsiteY455" fmla="*/ 445484 h 731424"/>
                <a:gd name="connsiteX456" fmla="*/ 150495 w 1044701"/>
                <a:gd name="connsiteY456" fmla="*/ 447103 h 731424"/>
                <a:gd name="connsiteX457" fmla="*/ 154305 w 1044701"/>
                <a:gd name="connsiteY457" fmla="*/ 451390 h 731424"/>
                <a:gd name="connsiteX458" fmla="*/ 157448 w 1044701"/>
                <a:gd name="connsiteY458" fmla="*/ 451009 h 731424"/>
                <a:gd name="connsiteX459" fmla="*/ 159258 w 1044701"/>
                <a:gd name="connsiteY459" fmla="*/ 452342 h 731424"/>
                <a:gd name="connsiteX460" fmla="*/ 162401 w 1044701"/>
                <a:gd name="connsiteY460" fmla="*/ 451961 h 731424"/>
                <a:gd name="connsiteX461" fmla="*/ 160972 w 1044701"/>
                <a:gd name="connsiteY461" fmla="*/ 453771 h 731424"/>
                <a:gd name="connsiteX462" fmla="*/ 163163 w 1044701"/>
                <a:gd name="connsiteY462" fmla="*/ 458248 h 731424"/>
                <a:gd name="connsiteX463" fmla="*/ 160401 w 1044701"/>
                <a:gd name="connsiteY463" fmla="*/ 461867 h 731424"/>
                <a:gd name="connsiteX464" fmla="*/ 162401 w 1044701"/>
                <a:gd name="connsiteY464" fmla="*/ 464820 h 731424"/>
                <a:gd name="connsiteX465" fmla="*/ 163354 w 1044701"/>
                <a:gd name="connsiteY465" fmla="*/ 459867 h 731424"/>
                <a:gd name="connsiteX466" fmla="*/ 163735 w 1044701"/>
                <a:gd name="connsiteY466" fmla="*/ 463010 h 731424"/>
                <a:gd name="connsiteX467" fmla="*/ 166497 w 1044701"/>
                <a:gd name="connsiteY467" fmla="*/ 459486 h 731424"/>
                <a:gd name="connsiteX468" fmla="*/ 168497 w 1044701"/>
                <a:gd name="connsiteY468" fmla="*/ 462439 h 731424"/>
                <a:gd name="connsiteX469" fmla="*/ 171450 w 1044701"/>
                <a:gd name="connsiteY469" fmla="*/ 460439 h 731424"/>
                <a:gd name="connsiteX470" fmla="*/ 174784 w 1044701"/>
                <a:gd name="connsiteY470" fmla="*/ 461582 h 731424"/>
                <a:gd name="connsiteX471" fmla="*/ 181165 w 1044701"/>
                <a:gd name="connsiteY471" fmla="*/ 460819 h 731424"/>
                <a:gd name="connsiteX472" fmla="*/ 181356 w 1044701"/>
                <a:gd name="connsiteY472" fmla="*/ 462344 h 731424"/>
                <a:gd name="connsiteX473" fmla="*/ 184499 w 1044701"/>
                <a:gd name="connsiteY473" fmla="*/ 461963 h 731424"/>
                <a:gd name="connsiteX474" fmla="*/ 184309 w 1044701"/>
                <a:gd name="connsiteY474" fmla="*/ 460439 h 731424"/>
                <a:gd name="connsiteX475" fmla="*/ 189071 w 1044701"/>
                <a:gd name="connsiteY475" fmla="*/ 459772 h 731424"/>
                <a:gd name="connsiteX476" fmla="*/ 188595 w 1044701"/>
                <a:gd name="connsiteY476" fmla="*/ 456628 h 731424"/>
                <a:gd name="connsiteX477" fmla="*/ 194977 w 1044701"/>
                <a:gd name="connsiteY477" fmla="*/ 455867 h 731424"/>
                <a:gd name="connsiteX478" fmla="*/ 193738 w 1044701"/>
                <a:gd name="connsiteY478" fmla="*/ 459200 h 731424"/>
                <a:gd name="connsiteX479" fmla="*/ 197929 w 1044701"/>
                <a:gd name="connsiteY479" fmla="*/ 466725 h 731424"/>
                <a:gd name="connsiteX480" fmla="*/ 199263 w 1044701"/>
                <a:gd name="connsiteY480" fmla="*/ 464915 h 731424"/>
                <a:gd name="connsiteX481" fmla="*/ 201073 w 1044701"/>
                <a:gd name="connsiteY481" fmla="*/ 466249 h 731424"/>
                <a:gd name="connsiteX482" fmla="*/ 207359 w 1044701"/>
                <a:gd name="connsiteY482" fmla="*/ 465487 h 731424"/>
                <a:gd name="connsiteX483" fmla="*/ 207931 w 1044701"/>
                <a:gd name="connsiteY483" fmla="*/ 457390 h 731424"/>
                <a:gd name="connsiteX484" fmla="*/ 210693 w 1044701"/>
                <a:gd name="connsiteY484" fmla="*/ 453866 h 731424"/>
                <a:gd name="connsiteX485" fmla="*/ 214694 w 1044701"/>
                <a:gd name="connsiteY485" fmla="*/ 459772 h 731424"/>
                <a:gd name="connsiteX486" fmla="*/ 216503 w 1044701"/>
                <a:gd name="connsiteY486" fmla="*/ 461105 h 731424"/>
                <a:gd name="connsiteX487" fmla="*/ 219646 w 1044701"/>
                <a:gd name="connsiteY487" fmla="*/ 460724 h 731424"/>
                <a:gd name="connsiteX488" fmla="*/ 219837 w 1044701"/>
                <a:gd name="connsiteY488" fmla="*/ 462344 h 731424"/>
                <a:gd name="connsiteX489" fmla="*/ 227743 w 1044701"/>
                <a:gd name="connsiteY489" fmla="*/ 461296 h 731424"/>
                <a:gd name="connsiteX490" fmla="*/ 229648 w 1044701"/>
                <a:gd name="connsiteY490" fmla="*/ 464248 h 731424"/>
                <a:gd name="connsiteX491" fmla="*/ 226504 w 1044701"/>
                <a:gd name="connsiteY491" fmla="*/ 464630 h 731424"/>
                <a:gd name="connsiteX492" fmla="*/ 226886 w 1044701"/>
                <a:gd name="connsiteY492" fmla="*/ 467773 h 731424"/>
                <a:gd name="connsiteX493" fmla="*/ 230696 w 1044701"/>
                <a:gd name="connsiteY493" fmla="*/ 472154 h 731424"/>
                <a:gd name="connsiteX494" fmla="*/ 235077 w 1044701"/>
                <a:gd name="connsiteY494" fmla="*/ 468344 h 731424"/>
                <a:gd name="connsiteX495" fmla="*/ 235648 w 1044701"/>
                <a:gd name="connsiteY495" fmla="*/ 473107 h 731424"/>
                <a:gd name="connsiteX496" fmla="*/ 240602 w 1044701"/>
                <a:gd name="connsiteY496" fmla="*/ 474059 h 731424"/>
                <a:gd name="connsiteX497" fmla="*/ 244697 w 1044701"/>
                <a:gd name="connsiteY497" fmla="*/ 468725 h 731424"/>
                <a:gd name="connsiteX498" fmla="*/ 243554 w 1044701"/>
                <a:gd name="connsiteY498" fmla="*/ 472059 h 731424"/>
                <a:gd name="connsiteX499" fmla="*/ 246888 w 1044701"/>
                <a:gd name="connsiteY499" fmla="*/ 473297 h 731424"/>
                <a:gd name="connsiteX500" fmla="*/ 247650 w 1044701"/>
                <a:gd name="connsiteY500" fmla="*/ 479584 h 731424"/>
                <a:gd name="connsiteX501" fmla="*/ 249269 w 1044701"/>
                <a:gd name="connsiteY501" fmla="*/ 479393 h 731424"/>
                <a:gd name="connsiteX502" fmla="*/ 251079 w 1044701"/>
                <a:gd name="connsiteY502" fmla="*/ 480727 h 731424"/>
                <a:gd name="connsiteX503" fmla="*/ 252603 w 1044701"/>
                <a:gd name="connsiteY503" fmla="*/ 480536 h 731424"/>
                <a:gd name="connsiteX504" fmla="*/ 251460 w 1044701"/>
                <a:gd name="connsiteY504" fmla="*/ 483965 h 731424"/>
                <a:gd name="connsiteX505" fmla="*/ 249841 w 1044701"/>
                <a:gd name="connsiteY505" fmla="*/ 484156 h 731424"/>
                <a:gd name="connsiteX506" fmla="*/ 251650 w 1044701"/>
                <a:gd name="connsiteY506" fmla="*/ 485489 h 731424"/>
                <a:gd name="connsiteX507" fmla="*/ 253174 w 1044701"/>
                <a:gd name="connsiteY507" fmla="*/ 485299 h 731424"/>
                <a:gd name="connsiteX508" fmla="*/ 253460 w 1044701"/>
                <a:gd name="connsiteY508" fmla="*/ 486918 h 731424"/>
                <a:gd name="connsiteX509" fmla="*/ 256413 w 1044701"/>
                <a:gd name="connsiteY509" fmla="*/ 484918 h 731424"/>
                <a:gd name="connsiteX510" fmla="*/ 258128 w 1044701"/>
                <a:gd name="connsiteY510" fmla="*/ 486251 h 731424"/>
                <a:gd name="connsiteX511" fmla="*/ 260318 w 1044701"/>
                <a:gd name="connsiteY511" fmla="*/ 490823 h 731424"/>
                <a:gd name="connsiteX512" fmla="*/ 258985 w 1044701"/>
                <a:gd name="connsiteY512" fmla="*/ 492633 h 731424"/>
                <a:gd name="connsiteX513" fmla="*/ 267462 w 1044701"/>
                <a:gd name="connsiteY513" fmla="*/ 496348 h 731424"/>
                <a:gd name="connsiteX514" fmla="*/ 267271 w 1044701"/>
                <a:gd name="connsiteY514" fmla="*/ 494728 h 731424"/>
                <a:gd name="connsiteX515" fmla="*/ 276701 w 1044701"/>
                <a:gd name="connsiteY515" fmla="*/ 493490 h 731424"/>
                <a:gd name="connsiteX516" fmla="*/ 282035 w 1044701"/>
                <a:gd name="connsiteY516" fmla="*/ 497681 h 731424"/>
                <a:gd name="connsiteX517" fmla="*/ 286798 w 1044701"/>
                <a:gd name="connsiteY517" fmla="*/ 497015 h 731424"/>
                <a:gd name="connsiteX518" fmla="*/ 291941 w 1044701"/>
                <a:gd name="connsiteY518" fmla="*/ 499586 h 731424"/>
                <a:gd name="connsiteX519" fmla="*/ 291560 w 1044701"/>
                <a:gd name="connsiteY519" fmla="*/ 496443 h 731424"/>
                <a:gd name="connsiteX520" fmla="*/ 296228 w 1044701"/>
                <a:gd name="connsiteY520" fmla="*/ 495872 h 731424"/>
                <a:gd name="connsiteX521" fmla="*/ 293941 w 1044701"/>
                <a:gd name="connsiteY521" fmla="*/ 502539 h 731424"/>
                <a:gd name="connsiteX522" fmla="*/ 290608 w 1044701"/>
                <a:gd name="connsiteY522" fmla="*/ 514255 h 731424"/>
                <a:gd name="connsiteX523" fmla="*/ 292132 w 1044701"/>
                <a:gd name="connsiteY523" fmla="*/ 514064 h 731424"/>
                <a:gd name="connsiteX524" fmla="*/ 291560 w 1044701"/>
                <a:gd name="connsiteY524" fmla="*/ 522065 h 731424"/>
                <a:gd name="connsiteX525" fmla="*/ 293561 w 1044701"/>
                <a:gd name="connsiteY525" fmla="*/ 525113 h 731424"/>
                <a:gd name="connsiteX526" fmla="*/ 296704 w 1044701"/>
                <a:gd name="connsiteY526" fmla="*/ 524637 h 731424"/>
                <a:gd name="connsiteX527" fmla="*/ 301085 w 1044701"/>
                <a:gd name="connsiteY527" fmla="*/ 520922 h 731424"/>
                <a:gd name="connsiteX528" fmla="*/ 302800 w 1044701"/>
                <a:gd name="connsiteY528" fmla="*/ 522256 h 731424"/>
                <a:gd name="connsiteX529" fmla="*/ 302609 w 1044701"/>
                <a:gd name="connsiteY529" fmla="*/ 520732 h 731424"/>
                <a:gd name="connsiteX530" fmla="*/ 305562 w 1044701"/>
                <a:gd name="connsiteY530" fmla="*/ 518732 h 731424"/>
                <a:gd name="connsiteX531" fmla="*/ 309372 w 1044701"/>
                <a:gd name="connsiteY531" fmla="*/ 523018 h 731424"/>
                <a:gd name="connsiteX532" fmla="*/ 313849 w 1044701"/>
                <a:gd name="connsiteY532" fmla="*/ 520827 h 731424"/>
                <a:gd name="connsiteX533" fmla="*/ 315849 w 1044701"/>
                <a:gd name="connsiteY533" fmla="*/ 523875 h 731424"/>
                <a:gd name="connsiteX534" fmla="*/ 320992 w 1044701"/>
                <a:gd name="connsiteY534" fmla="*/ 526352 h 731424"/>
                <a:gd name="connsiteX535" fmla="*/ 321183 w 1044701"/>
                <a:gd name="connsiteY535" fmla="*/ 527971 h 731424"/>
                <a:gd name="connsiteX536" fmla="*/ 324326 w 1044701"/>
                <a:gd name="connsiteY536" fmla="*/ 527590 h 731424"/>
                <a:gd name="connsiteX537" fmla="*/ 330708 w 1044701"/>
                <a:gd name="connsiteY537" fmla="*/ 539591 h 731424"/>
                <a:gd name="connsiteX538" fmla="*/ 342138 w 1044701"/>
                <a:gd name="connsiteY538" fmla="*/ 541306 h 731424"/>
                <a:gd name="connsiteX539" fmla="*/ 344329 w 1044701"/>
                <a:gd name="connsiteY539" fmla="*/ 545878 h 731424"/>
                <a:gd name="connsiteX540" fmla="*/ 350234 w 1044701"/>
                <a:gd name="connsiteY540" fmla="*/ 541877 h 731424"/>
                <a:gd name="connsiteX541" fmla="*/ 354521 w 1044701"/>
                <a:gd name="connsiteY541" fmla="*/ 538163 h 731424"/>
                <a:gd name="connsiteX542" fmla="*/ 354616 w 1044701"/>
                <a:gd name="connsiteY542" fmla="*/ 550926 h 731424"/>
                <a:gd name="connsiteX543" fmla="*/ 350044 w 1044701"/>
                <a:gd name="connsiteY543" fmla="*/ 553117 h 731424"/>
                <a:gd name="connsiteX544" fmla="*/ 343567 w 1044701"/>
                <a:gd name="connsiteY544" fmla="*/ 565214 h 731424"/>
                <a:gd name="connsiteX545" fmla="*/ 349282 w 1044701"/>
                <a:gd name="connsiteY545" fmla="*/ 572453 h 731424"/>
                <a:gd name="connsiteX546" fmla="*/ 348139 w 1044701"/>
                <a:gd name="connsiteY546" fmla="*/ 575882 h 731424"/>
                <a:gd name="connsiteX547" fmla="*/ 358807 w 1044701"/>
                <a:gd name="connsiteY547" fmla="*/ 584073 h 731424"/>
                <a:gd name="connsiteX548" fmla="*/ 366713 w 1044701"/>
                <a:gd name="connsiteY548" fmla="*/ 583120 h 731424"/>
                <a:gd name="connsiteX549" fmla="*/ 377190 w 1044701"/>
                <a:gd name="connsiteY549" fmla="*/ 589788 h 731424"/>
                <a:gd name="connsiteX550" fmla="*/ 382143 w 1044701"/>
                <a:gd name="connsiteY550" fmla="*/ 590740 h 731424"/>
                <a:gd name="connsiteX551" fmla="*/ 382333 w 1044701"/>
                <a:gd name="connsiteY551" fmla="*/ 592360 h 731424"/>
                <a:gd name="connsiteX552" fmla="*/ 384143 w 1044701"/>
                <a:gd name="connsiteY552" fmla="*/ 593693 h 731424"/>
                <a:gd name="connsiteX553" fmla="*/ 393382 w 1044701"/>
                <a:gd name="connsiteY553" fmla="*/ 603790 h 731424"/>
                <a:gd name="connsiteX554" fmla="*/ 396526 w 1044701"/>
                <a:gd name="connsiteY554" fmla="*/ 603314 h 731424"/>
                <a:gd name="connsiteX555" fmla="*/ 399479 w 1044701"/>
                <a:gd name="connsiteY555" fmla="*/ 601409 h 731424"/>
                <a:gd name="connsiteX556" fmla="*/ 404241 w 1044701"/>
                <a:gd name="connsiteY556" fmla="*/ 600742 h 731424"/>
                <a:gd name="connsiteX557" fmla="*/ 409384 w 1044701"/>
                <a:gd name="connsiteY557" fmla="*/ 603314 h 731424"/>
                <a:gd name="connsiteX558" fmla="*/ 414147 w 1044701"/>
                <a:gd name="connsiteY558" fmla="*/ 602742 h 731424"/>
                <a:gd name="connsiteX559" fmla="*/ 413956 w 1044701"/>
                <a:gd name="connsiteY559" fmla="*/ 601123 h 731424"/>
                <a:gd name="connsiteX560" fmla="*/ 421577 w 1044701"/>
                <a:gd name="connsiteY560" fmla="*/ 598551 h 731424"/>
                <a:gd name="connsiteX561" fmla="*/ 416623 w 1044701"/>
                <a:gd name="connsiteY561" fmla="*/ 584740 h 731424"/>
                <a:gd name="connsiteX562" fmla="*/ 428054 w 1044701"/>
                <a:gd name="connsiteY562" fmla="*/ 586549 h 731424"/>
                <a:gd name="connsiteX563" fmla="*/ 429482 w 1044701"/>
                <a:gd name="connsiteY563" fmla="*/ 584740 h 731424"/>
                <a:gd name="connsiteX564" fmla="*/ 431006 w 1044701"/>
                <a:gd name="connsiteY564" fmla="*/ 584549 h 731424"/>
                <a:gd name="connsiteX565" fmla="*/ 428244 w 1044701"/>
                <a:gd name="connsiteY565" fmla="*/ 575215 h 731424"/>
                <a:gd name="connsiteX566" fmla="*/ 430244 w 1044701"/>
                <a:gd name="connsiteY566" fmla="*/ 565404 h 731424"/>
                <a:gd name="connsiteX567" fmla="*/ 445961 w 1044701"/>
                <a:gd name="connsiteY567" fmla="*/ 550545 h 731424"/>
                <a:gd name="connsiteX568" fmla="*/ 446722 w 1044701"/>
                <a:gd name="connsiteY568" fmla="*/ 544068 h 731424"/>
                <a:gd name="connsiteX569" fmla="*/ 451485 w 1044701"/>
                <a:gd name="connsiteY569" fmla="*/ 543401 h 731424"/>
                <a:gd name="connsiteX570" fmla="*/ 453485 w 1044701"/>
                <a:gd name="connsiteY570" fmla="*/ 546354 h 731424"/>
                <a:gd name="connsiteX571" fmla="*/ 456438 w 1044701"/>
                <a:gd name="connsiteY571" fmla="*/ 544449 h 731424"/>
                <a:gd name="connsiteX572" fmla="*/ 455200 w 1044701"/>
                <a:gd name="connsiteY572" fmla="*/ 547783 h 731424"/>
                <a:gd name="connsiteX573" fmla="*/ 453866 w 1044701"/>
                <a:gd name="connsiteY573" fmla="*/ 549593 h 731424"/>
                <a:gd name="connsiteX574" fmla="*/ 456057 w 1044701"/>
                <a:gd name="connsiteY574" fmla="*/ 554069 h 731424"/>
                <a:gd name="connsiteX575" fmla="*/ 454438 w 1044701"/>
                <a:gd name="connsiteY575" fmla="*/ 554260 h 731424"/>
                <a:gd name="connsiteX576" fmla="*/ 455105 w 1044701"/>
                <a:gd name="connsiteY576" fmla="*/ 559022 h 731424"/>
                <a:gd name="connsiteX577" fmla="*/ 464153 w 1044701"/>
                <a:gd name="connsiteY577" fmla="*/ 567499 h 731424"/>
                <a:gd name="connsiteX578" fmla="*/ 469106 w 1044701"/>
                <a:gd name="connsiteY578" fmla="*/ 568452 h 731424"/>
                <a:gd name="connsiteX579" fmla="*/ 473773 w 1044701"/>
                <a:gd name="connsiteY579" fmla="*/ 567881 h 731424"/>
                <a:gd name="connsiteX580" fmla="*/ 475774 w 1044701"/>
                <a:gd name="connsiteY580" fmla="*/ 570833 h 731424"/>
                <a:gd name="connsiteX581" fmla="*/ 482537 w 1044701"/>
                <a:gd name="connsiteY581" fmla="*/ 573119 h 731424"/>
                <a:gd name="connsiteX582" fmla="*/ 484251 w 1044701"/>
                <a:gd name="connsiteY582" fmla="*/ 574548 h 731424"/>
                <a:gd name="connsiteX583" fmla="*/ 486823 w 1044701"/>
                <a:gd name="connsiteY583" fmla="*/ 569405 h 731424"/>
                <a:gd name="connsiteX584" fmla="*/ 490252 w 1044701"/>
                <a:gd name="connsiteY584" fmla="*/ 570548 h 731424"/>
                <a:gd name="connsiteX585" fmla="*/ 493395 w 1044701"/>
                <a:gd name="connsiteY585" fmla="*/ 570167 h 731424"/>
                <a:gd name="connsiteX586" fmla="*/ 498538 w 1044701"/>
                <a:gd name="connsiteY586" fmla="*/ 572738 h 731424"/>
                <a:gd name="connsiteX587" fmla="*/ 500063 w 1044701"/>
                <a:gd name="connsiteY587" fmla="*/ 572548 h 731424"/>
                <a:gd name="connsiteX588" fmla="*/ 503872 w 1044701"/>
                <a:gd name="connsiteY588" fmla="*/ 576834 h 731424"/>
                <a:gd name="connsiteX589" fmla="*/ 507397 w 1044701"/>
                <a:gd name="connsiteY589" fmla="*/ 579596 h 731424"/>
                <a:gd name="connsiteX590" fmla="*/ 507587 w 1044701"/>
                <a:gd name="connsiteY590" fmla="*/ 581215 h 731424"/>
                <a:gd name="connsiteX591" fmla="*/ 513112 w 1044701"/>
                <a:gd name="connsiteY591" fmla="*/ 586931 h 731424"/>
                <a:gd name="connsiteX592" fmla="*/ 516541 w 1044701"/>
                <a:gd name="connsiteY592" fmla="*/ 600932 h 731424"/>
                <a:gd name="connsiteX593" fmla="*/ 522065 w 1044701"/>
                <a:gd name="connsiteY593" fmla="*/ 606647 h 731424"/>
                <a:gd name="connsiteX594" fmla="*/ 526161 w 1044701"/>
                <a:gd name="connsiteY594" fmla="*/ 601313 h 731424"/>
                <a:gd name="connsiteX595" fmla="*/ 529590 w 1044701"/>
                <a:gd name="connsiteY595" fmla="*/ 602456 h 731424"/>
                <a:gd name="connsiteX596" fmla="*/ 529399 w 1044701"/>
                <a:gd name="connsiteY596" fmla="*/ 600837 h 731424"/>
                <a:gd name="connsiteX597" fmla="*/ 539210 w 1044701"/>
                <a:gd name="connsiteY597" fmla="*/ 602837 h 731424"/>
                <a:gd name="connsiteX598" fmla="*/ 548069 w 1044701"/>
                <a:gd name="connsiteY598" fmla="*/ 596836 h 731424"/>
                <a:gd name="connsiteX599" fmla="*/ 551879 w 1044701"/>
                <a:gd name="connsiteY599" fmla="*/ 601218 h 731424"/>
                <a:gd name="connsiteX600" fmla="*/ 555784 w 1044701"/>
                <a:gd name="connsiteY600" fmla="*/ 607124 h 731424"/>
                <a:gd name="connsiteX601" fmla="*/ 554641 w 1044701"/>
                <a:gd name="connsiteY601" fmla="*/ 610457 h 731424"/>
                <a:gd name="connsiteX602" fmla="*/ 557974 w 1044701"/>
                <a:gd name="connsiteY602" fmla="*/ 611695 h 731424"/>
                <a:gd name="connsiteX603" fmla="*/ 562356 w 1044701"/>
                <a:gd name="connsiteY603" fmla="*/ 607886 h 731424"/>
                <a:gd name="connsiteX604" fmla="*/ 568642 w 1044701"/>
                <a:gd name="connsiteY604" fmla="*/ 607124 h 731424"/>
                <a:gd name="connsiteX605" fmla="*/ 572357 w 1044701"/>
                <a:gd name="connsiteY605" fmla="*/ 611410 h 731424"/>
                <a:gd name="connsiteX606" fmla="*/ 579501 w 1044701"/>
                <a:gd name="connsiteY606" fmla="*/ 616934 h 731424"/>
                <a:gd name="connsiteX607" fmla="*/ 582644 w 1044701"/>
                <a:gd name="connsiteY607" fmla="*/ 616553 h 731424"/>
                <a:gd name="connsiteX608" fmla="*/ 583692 w 1044701"/>
                <a:gd name="connsiteY608" fmla="*/ 611600 h 731424"/>
                <a:gd name="connsiteX609" fmla="*/ 586835 w 1044701"/>
                <a:gd name="connsiteY609" fmla="*/ 611219 h 731424"/>
                <a:gd name="connsiteX610" fmla="*/ 589216 w 1044701"/>
                <a:gd name="connsiteY610" fmla="*/ 617315 h 731424"/>
                <a:gd name="connsiteX611" fmla="*/ 594550 w 1044701"/>
                <a:gd name="connsiteY611" fmla="*/ 621411 h 731424"/>
                <a:gd name="connsiteX612" fmla="*/ 594931 w 1044701"/>
                <a:gd name="connsiteY612" fmla="*/ 624554 h 731424"/>
                <a:gd name="connsiteX613" fmla="*/ 599694 w 1044701"/>
                <a:gd name="connsiteY613" fmla="*/ 623983 h 731424"/>
                <a:gd name="connsiteX614" fmla="*/ 601408 w 1044701"/>
                <a:gd name="connsiteY614" fmla="*/ 625316 h 731424"/>
                <a:gd name="connsiteX615" fmla="*/ 602837 w 1044701"/>
                <a:gd name="connsiteY615" fmla="*/ 623602 h 731424"/>
                <a:gd name="connsiteX616" fmla="*/ 609695 w 1044701"/>
                <a:gd name="connsiteY616" fmla="*/ 627507 h 731424"/>
                <a:gd name="connsiteX617" fmla="*/ 617982 w 1044701"/>
                <a:gd name="connsiteY617" fmla="*/ 629698 h 731424"/>
                <a:gd name="connsiteX618" fmla="*/ 621792 w 1044701"/>
                <a:gd name="connsiteY618" fmla="*/ 633984 h 731424"/>
                <a:gd name="connsiteX619" fmla="*/ 631507 w 1044701"/>
                <a:gd name="connsiteY619" fmla="*/ 647224 h 731424"/>
                <a:gd name="connsiteX620" fmla="*/ 637222 w 1044701"/>
                <a:gd name="connsiteY620" fmla="*/ 654463 h 731424"/>
                <a:gd name="connsiteX621" fmla="*/ 642366 w 1044701"/>
                <a:gd name="connsiteY621" fmla="*/ 657035 h 731424"/>
                <a:gd name="connsiteX622" fmla="*/ 640366 w 1044701"/>
                <a:gd name="connsiteY622" fmla="*/ 666940 h 731424"/>
                <a:gd name="connsiteX623" fmla="*/ 647129 w 1044701"/>
                <a:gd name="connsiteY623" fmla="*/ 669227 h 731424"/>
                <a:gd name="connsiteX624" fmla="*/ 650653 w 1044701"/>
                <a:gd name="connsiteY624" fmla="*/ 671989 h 731424"/>
                <a:gd name="connsiteX625" fmla="*/ 653034 w 1044701"/>
                <a:gd name="connsiteY625" fmla="*/ 678085 h 731424"/>
                <a:gd name="connsiteX626" fmla="*/ 657987 w 1044701"/>
                <a:gd name="connsiteY626" fmla="*/ 679132 h 731424"/>
                <a:gd name="connsiteX627" fmla="*/ 661130 w 1044701"/>
                <a:gd name="connsiteY627" fmla="*/ 678656 h 731424"/>
                <a:gd name="connsiteX628" fmla="*/ 663702 w 1044701"/>
                <a:gd name="connsiteY628" fmla="*/ 673513 h 731424"/>
                <a:gd name="connsiteX629" fmla="*/ 670846 w 1044701"/>
                <a:gd name="connsiteY629" fmla="*/ 679037 h 731424"/>
                <a:gd name="connsiteX630" fmla="*/ 673798 w 1044701"/>
                <a:gd name="connsiteY630" fmla="*/ 677037 h 731424"/>
                <a:gd name="connsiteX631" fmla="*/ 682657 w 1044701"/>
                <a:gd name="connsiteY631" fmla="*/ 683990 h 731424"/>
                <a:gd name="connsiteX632" fmla="*/ 688943 w 1044701"/>
                <a:gd name="connsiteY632" fmla="*/ 683133 h 731424"/>
                <a:gd name="connsiteX633" fmla="*/ 695706 w 1044701"/>
                <a:gd name="connsiteY633" fmla="*/ 685514 h 731424"/>
                <a:gd name="connsiteX634" fmla="*/ 698087 w 1044701"/>
                <a:gd name="connsiteY634" fmla="*/ 691610 h 731424"/>
                <a:gd name="connsiteX635" fmla="*/ 703802 w 1044701"/>
                <a:gd name="connsiteY635" fmla="*/ 698945 h 731424"/>
                <a:gd name="connsiteX636" fmla="*/ 710184 w 1044701"/>
                <a:gd name="connsiteY636" fmla="*/ 698087 h 731424"/>
                <a:gd name="connsiteX637" fmla="*/ 715708 w 1044701"/>
                <a:gd name="connsiteY637" fmla="*/ 703802 h 731424"/>
                <a:gd name="connsiteX638" fmla="*/ 716280 w 1044701"/>
                <a:gd name="connsiteY638" fmla="*/ 708565 h 731424"/>
                <a:gd name="connsiteX639" fmla="*/ 725996 w 1044701"/>
                <a:gd name="connsiteY639" fmla="*/ 721709 h 731424"/>
                <a:gd name="connsiteX640" fmla="*/ 729329 w 1044701"/>
                <a:gd name="connsiteY640" fmla="*/ 722948 h 731424"/>
                <a:gd name="connsiteX641" fmla="*/ 733330 w 1044701"/>
                <a:gd name="connsiteY641" fmla="*/ 728853 h 731424"/>
                <a:gd name="connsiteX642" fmla="*/ 738378 w 1044701"/>
                <a:gd name="connsiteY642" fmla="*/ 731425 h 731424"/>
                <a:gd name="connsiteX643" fmla="*/ 737616 w 1044701"/>
                <a:gd name="connsiteY643" fmla="*/ 725043 h 731424"/>
                <a:gd name="connsiteX644" fmla="*/ 746284 w 1044701"/>
                <a:gd name="connsiteY644" fmla="*/ 717518 h 731424"/>
                <a:gd name="connsiteX645" fmla="*/ 743712 w 1044701"/>
                <a:gd name="connsiteY645" fmla="*/ 709898 h 731424"/>
                <a:gd name="connsiteX646" fmla="*/ 744664 w 1044701"/>
                <a:gd name="connsiteY646" fmla="*/ 704945 h 731424"/>
                <a:gd name="connsiteX647" fmla="*/ 751427 w 1044701"/>
                <a:gd name="connsiteY647" fmla="*/ 707327 h 731424"/>
                <a:gd name="connsiteX648" fmla="*/ 755904 w 1044701"/>
                <a:gd name="connsiteY648" fmla="*/ 705136 h 731424"/>
                <a:gd name="connsiteX649" fmla="*/ 758476 w 1044701"/>
                <a:gd name="connsiteY649" fmla="*/ 699992 h 731424"/>
                <a:gd name="connsiteX650" fmla="*/ 760286 w 1044701"/>
                <a:gd name="connsiteY650" fmla="*/ 701326 h 731424"/>
                <a:gd name="connsiteX651" fmla="*/ 761809 w 1044701"/>
                <a:gd name="connsiteY651" fmla="*/ 701135 h 731424"/>
                <a:gd name="connsiteX652" fmla="*/ 766953 w 1044701"/>
                <a:gd name="connsiteY652" fmla="*/ 703707 h 731424"/>
                <a:gd name="connsiteX653" fmla="*/ 765048 w 1044701"/>
                <a:gd name="connsiteY653" fmla="*/ 713613 h 731424"/>
                <a:gd name="connsiteX654" fmla="*/ 768191 w 1044701"/>
                <a:gd name="connsiteY654" fmla="*/ 713137 h 731424"/>
                <a:gd name="connsiteX655" fmla="*/ 771144 w 1044701"/>
                <a:gd name="connsiteY655" fmla="*/ 711232 h 731424"/>
                <a:gd name="connsiteX656" fmla="*/ 774287 w 1044701"/>
                <a:gd name="connsiteY656" fmla="*/ 710756 h 731424"/>
                <a:gd name="connsiteX657" fmla="*/ 777240 w 1044701"/>
                <a:gd name="connsiteY657" fmla="*/ 708851 h 731424"/>
                <a:gd name="connsiteX658" fmla="*/ 783812 w 1044701"/>
                <a:gd name="connsiteY658" fmla="*/ 709613 h 731424"/>
                <a:gd name="connsiteX659" fmla="*/ 793813 w 1044701"/>
                <a:gd name="connsiteY659" fmla="*/ 700278 h 731424"/>
                <a:gd name="connsiteX660" fmla="*/ 796957 w 1044701"/>
                <a:gd name="connsiteY660" fmla="*/ 699897 h 731424"/>
                <a:gd name="connsiteX661" fmla="*/ 804481 w 1044701"/>
                <a:gd name="connsiteY661" fmla="*/ 708565 h 731424"/>
                <a:gd name="connsiteX662" fmla="*/ 806291 w 1044701"/>
                <a:gd name="connsiteY662" fmla="*/ 709898 h 731424"/>
                <a:gd name="connsiteX663" fmla="*/ 809244 w 1044701"/>
                <a:gd name="connsiteY663" fmla="*/ 707898 h 731424"/>
                <a:gd name="connsiteX664" fmla="*/ 810958 w 1044701"/>
                <a:gd name="connsiteY664" fmla="*/ 709327 h 731424"/>
                <a:gd name="connsiteX665" fmla="*/ 814388 w 1044701"/>
                <a:gd name="connsiteY665" fmla="*/ 710470 h 731424"/>
                <a:gd name="connsiteX666" fmla="*/ 813911 w 1044701"/>
                <a:gd name="connsiteY666" fmla="*/ 707327 h 731424"/>
                <a:gd name="connsiteX667" fmla="*/ 826961 w 1044701"/>
                <a:gd name="connsiteY667" fmla="*/ 708851 h 731424"/>
                <a:gd name="connsiteX668" fmla="*/ 829913 w 1044701"/>
                <a:gd name="connsiteY668" fmla="*/ 706945 h 731424"/>
                <a:gd name="connsiteX669" fmla="*/ 830294 w 1044701"/>
                <a:gd name="connsiteY669" fmla="*/ 710089 h 731424"/>
                <a:gd name="connsiteX670" fmla="*/ 833247 w 1044701"/>
                <a:gd name="connsiteY670" fmla="*/ 708089 h 731424"/>
                <a:gd name="connsiteX671" fmla="*/ 832866 w 1044701"/>
                <a:gd name="connsiteY671" fmla="*/ 704945 h 731424"/>
                <a:gd name="connsiteX672" fmla="*/ 830485 w 1044701"/>
                <a:gd name="connsiteY672" fmla="*/ 698849 h 731424"/>
                <a:gd name="connsiteX673" fmla="*/ 834390 w 1044701"/>
                <a:gd name="connsiteY673" fmla="*/ 691896 h 731424"/>
                <a:gd name="connsiteX674" fmla="*/ 834199 w 1044701"/>
                <a:gd name="connsiteY674" fmla="*/ 690277 h 731424"/>
                <a:gd name="connsiteX675" fmla="*/ 835628 w 1044701"/>
                <a:gd name="connsiteY675" fmla="*/ 688562 h 731424"/>
                <a:gd name="connsiteX676" fmla="*/ 834962 w 1044701"/>
                <a:gd name="connsiteY676" fmla="*/ 683800 h 731424"/>
                <a:gd name="connsiteX677" fmla="*/ 834009 w 1044701"/>
                <a:gd name="connsiteY677" fmla="*/ 675894 h 731424"/>
                <a:gd name="connsiteX678" fmla="*/ 838105 w 1044701"/>
                <a:gd name="connsiteY678" fmla="*/ 670560 h 731424"/>
                <a:gd name="connsiteX679" fmla="*/ 837724 w 1044701"/>
                <a:gd name="connsiteY679" fmla="*/ 667417 h 731424"/>
                <a:gd name="connsiteX680" fmla="*/ 840677 w 1044701"/>
                <a:gd name="connsiteY680" fmla="*/ 665417 h 731424"/>
                <a:gd name="connsiteX681" fmla="*/ 845439 w 1044701"/>
                <a:gd name="connsiteY681" fmla="*/ 664845 h 731424"/>
                <a:gd name="connsiteX682" fmla="*/ 848963 w 1044701"/>
                <a:gd name="connsiteY682" fmla="*/ 667607 h 731424"/>
                <a:gd name="connsiteX683" fmla="*/ 850582 w 1044701"/>
                <a:gd name="connsiteY683" fmla="*/ 667417 h 731424"/>
                <a:gd name="connsiteX684" fmla="*/ 854869 w 1044701"/>
                <a:gd name="connsiteY684" fmla="*/ 663607 h 731424"/>
                <a:gd name="connsiteX685" fmla="*/ 855536 w 1044701"/>
                <a:gd name="connsiteY685" fmla="*/ 668369 h 731424"/>
                <a:gd name="connsiteX686" fmla="*/ 862394 w 1044701"/>
                <a:gd name="connsiteY686" fmla="*/ 672274 h 731424"/>
                <a:gd name="connsiteX687" fmla="*/ 866775 w 1044701"/>
                <a:gd name="connsiteY687" fmla="*/ 668560 h 731424"/>
                <a:gd name="connsiteX688" fmla="*/ 871919 w 1044701"/>
                <a:gd name="connsiteY688" fmla="*/ 671132 h 731424"/>
                <a:gd name="connsiteX689" fmla="*/ 875252 w 1044701"/>
                <a:gd name="connsiteY689" fmla="*/ 672274 h 731424"/>
                <a:gd name="connsiteX690" fmla="*/ 875252 w 1044701"/>
                <a:gd name="connsiteY690" fmla="*/ 672274 h 731424"/>
                <a:gd name="connsiteX691" fmla="*/ 883158 w 1044701"/>
                <a:gd name="connsiteY691" fmla="*/ 671227 h 731424"/>
                <a:gd name="connsiteX692" fmla="*/ 882872 w 1044701"/>
                <a:gd name="connsiteY692" fmla="*/ 669703 h 731424"/>
                <a:gd name="connsiteX693" fmla="*/ 886111 w 1044701"/>
                <a:gd name="connsiteY693" fmla="*/ 669322 h 731424"/>
                <a:gd name="connsiteX694" fmla="*/ 884111 w 1044701"/>
                <a:gd name="connsiteY694" fmla="*/ 666369 h 731424"/>
                <a:gd name="connsiteX695" fmla="*/ 885063 w 1044701"/>
                <a:gd name="connsiteY695" fmla="*/ 661416 h 731424"/>
                <a:gd name="connsiteX696" fmla="*/ 886682 w 1044701"/>
                <a:gd name="connsiteY696" fmla="*/ 661226 h 731424"/>
                <a:gd name="connsiteX697" fmla="*/ 896683 w 1044701"/>
                <a:gd name="connsiteY697" fmla="*/ 664750 h 731424"/>
                <a:gd name="connsiteX698" fmla="*/ 909352 w 1044701"/>
                <a:gd name="connsiteY698" fmla="*/ 675894 h 731424"/>
                <a:gd name="connsiteX699" fmla="*/ 914876 w 1044701"/>
                <a:gd name="connsiteY699" fmla="*/ 668845 h 731424"/>
                <a:gd name="connsiteX700" fmla="*/ 921639 w 1044701"/>
                <a:gd name="connsiteY700" fmla="*/ 671132 h 731424"/>
                <a:gd name="connsiteX701" fmla="*/ 921163 w 1044701"/>
                <a:gd name="connsiteY701" fmla="*/ 667988 h 731424"/>
                <a:gd name="connsiteX702" fmla="*/ 917829 w 1044701"/>
                <a:gd name="connsiteY702" fmla="*/ 666845 h 731424"/>
                <a:gd name="connsiteX703" fmla="*/ 919258 w 1044701"/>
                <a:gd name="connsiteY703" fmla="*/ 665036 h 731424"/>
                <a:gd name="connsiteX704" fmla="*/ 927925 w 1044701"/>
                <a:gd name="connsiteY704" fmla="*/ 670370 h 731424"/>
                <a:gd name="connsiteX705" fmla="*/ 931259 w 1044701"/>
                <a:gd name="connsiteY705" fmla="*/ 671513 h 731424"/>
                <a:gd name="connsiteX706" fmla="*/ 932688 w 1044701"/>
                <a:gd name="connsiteY706" fmla="*/ 669798 h 731424"/>
                <a:gd name="connsiteX707" fmla="*/ 936022 w 1044701"/>
                <a:gd name="connsiteY707" fmla="*/ 670941 h 731424"/>
                <a:gd name="connsiteX708" fmla="*/ 941927 w 1044701"/>
                <a:gd name="connsiteY708" fmla="*/ 666940 h 731424"/>
                <a:gd name="connsiteX709" fmla="*/ 939165 w 1044701"/>
                <a:gd name="connsiteY709" fmla="*/ 670560 h 731424"/>
                <a:gd name="connsiteX710" fmla="*/ 953929 w 1044701"/>
                <a:gd name="connsiteY710" fmla="*/ 673418 h 731424"/>
                <a:gd name="connsiteX711" fmla="*/ 956310 w 1044701"/>
                <a:gd name="connsiteY711" fmla="*/ 679609 h 731424"/>
                <a:gd name="connsiteX712" fmla="*/ 959739 w 1044701"/>
                <a:gd name="connsiteY712" fmla="*/ 680752 h 731424"/>
                <a:gd name="connsiteX713" fmla="*/ 961263 w 1044701"/>
                <a:gd name="connsiteY713" fmla="*/ 680561 h 731424"/>
                <a:gd name="connsiteX714" fmla="*/ 980027 w 1044701"/>
                <a:gd name="connsiteY714" fmla="*/ 689420 h 731424"/>
                <a:gd name="connsiteX715" fmla="*/ 983361 w 1044701"/>
                <a:gd name="connsiteY715" fmla="*/ 690563 h 731424"/>
                <a:gd name="connsiteX716" fmla="*/ 995458 w 1044701"/>
                <a:gd name="connsiteY716" fmla="*/ 697040 h 731424"/>
                <a:gd name="connsiteX717" fmla="*/ 1002411 w 1044701"/>
                <a:gd name="connsiteY717" fmla="*/ 700945 h 731424"/>
                <a:gd name="connsiteX718" fmla="*/ 1016413 w 1044701"/>
                <a:gd name="connsiteY718" fmla="*/ 697611 h 731424"/>
                <a:gd name="connsiteX719" fmla="*/ 1014031 w 1044701"/>
                <a:gd name="connsiteY719" fmla="*/ 691515 h 731424"/>
                <a:gd name="connsiteX720" fmla="*/ 1016984 w 1044701"/>
                <a:gd name="connsiteY720" fmla="*/ 689515 h 731424"/>
                <a:gd name="connsiteX721" fmla="*/ 1018127 w 1044701"/>
                <a:gd name="connsiteY721" fmla="*/ 686086 h 731424"/>
                <a:gd name="connsiteX722" fmla="*/ 1014413 w 1044701"/>
                <a:gd name="connsiteY722" fmla="*/ 681799 h 731424"/>
                <a:gd name="connsiteX723" fmla="*/ 1018699 w 1044701"/>
                <a:gd name="connsiteY723" fmla="*/ 678085 h 731424"/>
                <a:gd name="connsiteX724" fmla="*/ 1019270 w 1044701"/>
                <a:gd name="connsiteY724" fmla="*/ 669989 h 731424"/>
                <a:gd name="connsiteX725" fmla="*/ 1020794 w 1044701"/>
                <a:gd name="connsiteY725" fmla="*/ 669798 h 731424"/>
                <a:gd name="connsiteX726" fmla="*/ 1022032 w 1044701"/>
                <a:gd name="connsiteY726" fmla="*/ 666369 h 731424"/>
                <a:gd name="connsiteX727" fmla="*/ 1021652 w 1044701"/>
                <a:gd name="connsiteY727" fmla="*/ 663226 h 731424"/>
                <a:gd name="connsiteX728" fmla="*/ 1023366 w 1044701"/>
                <a:gd name="connsiteY728" fmla="*/ 664655 h 731424"/>
                <a:gd name="connsiteX729" fmla="*/ 1023842 w 1044701"/>
                <a:gd name="connsiteY729" fmla="*/ 667798 h 731424"/>
                <a:gd name="connsiteX730" fmla="*/ 1027366 w 1044701"/>
                <a:gd name="connsiteY730" fmla="*/ 670560 h 731424"/>
                <a:gd name="connsiteX731" fmla="*/ 1028700 w 1044701"/>
                <a:gd name="connsiteY731" fmla="*/ 668750 h 731424"/>
                <a:gd name="connsiteX732" fmla="*/ 1021461 w 1044701"/>
                <a:gd name="connsiteY732" fmla="*/ 661702 h 731424"/>
                <a:gd name="connsiteX733" fmla="*/ 1015460 w 1044701"/>
                <a:gd name="connsiteY733" fmla="*/ 652844 h 731424"/>
                <a:gd name="connsiteX734" fmla="*/ 1014698 w 1044701"/>
                <a:gd name="connsiteY734" fmla="*/ 646462 h 731424"/>
                <a:gd name="connsiteX735" fmla="*/ 1016032 w 1044701"/>
                <a:gd name="connsiteY735" fmla="*/ 644747 h 731424"/>
                <a:gd name="connsiteX736" fmla="*/ 1014413 w 1044701"/>
                <a:gd name="connsiteY736" fmla="*/ 632079 h 731424"/>
                <a:gd name="connsiteX737" fmla="*/ 1019175 w 1044701"/>
                <a:gd name="connsiteY737" fmla="*/ 631507 h 731424"/>
                <a:gd name="connsiteX738" fmla="*/ 1018604 w 1044701"/>
                <a:gd name="connsiteY738" fmla="*/ 626745 h 731424"/>
                <a:gd name="connsiteX739" fmla="*/ 1022699 w 1044701"/>
                <a:gd name="connsiteY739" fmla="*/ 621411 h 731424"/>
                <a:gd name="connsiteX740" fmla="*/ 1029176 w 1044701"/>
                <a:gd name="connsiteY740" fmla="*/ 622173 h 731424"/>
                <a:gd name="connsiteX741" fmla="*/ 1030605 w 1044701"/>
                <a:gd name="connsiteY741" fmla="*/ 620363 h 731424"/>
                <a:gd name="connsiteX742" fmla="*/ 1031938 w 1044701"/>
                <a:gd name="connsiteY742" fmla="*/ 618649 h 731424"/>
                <a:gd name="connsiteX743" fmla="*/ 1029748 w 1044701"/>
                <a:gd name="connsiteY743" fmla="*/ 614077 h 731424"/>
                <a:gd name="connsiteX744" fmla="*/ 1035939 w 1044701"/>
                <a:gd name="connsiteY744" fmla="*/ 611695 h 731424"/>
                <a:gd name="connsiteX745" fmla="*/ 1039082 w 1044701"/>
                <a:gd name="connsiteY745" fmla="*/ 611315 h 731424"/>
                <a:gd name="connsiteX746" fmla="*/ 1044607 w 1044701"/>
                <a:gd name="connsiteY746" fmla="*/ 604171 h 731424"/>
                <a:gd name="connsiteX747" fmla="*/ 1042225 w 1044701"/>
                <a:gd name="connsiteY747" fmla="*/ 598075 h 731424"/>
                <a:gd name="connsiteX748" fmla="*/ 1044702 w 1044701"/>
                <a:gd name="connsiteY748" fmla="*/ 580073 h 731424"/>
                <a:gd name="connsiteX749" fmla="*/ 1044130 w 1044701"/>
                <a:gd name="connsiteY749" fmla="*/ 575405 h 731424"/>
                <a:gd name="connsiteX750" fmla="*/ 1041178 w 1044701"/>
                <a:gd name="connsiteY750" fmla="*/ 577310 h 731424"/>
                <a:gd name="connsiteX751" fmla="*/ 1040702 w 1044701"/>
                <a:gd name="connsiteY751" fmla="*/ 574167 h 731424"/>
                <a:gd name="connsiteX752" fmla="*/ 1038987 w 1044701"/>
                <a:gd name="connsiteY752" fmla="*/ 572834 h 731424"/>
                <a:gd name="connsiteX753" fmla="*/ 1042702 w 1044701"/>
                <a:gd name="connsiteY753" fmla="*/ 564356 h 731424"/>
                <a:gd name="connsiteX754" fmla="*/ 1043464 w 1044701"/>
                <a:gd name="connsiteY754" fmla="*/ 557784 h 731424"/>
                <a:gd name="connsiteX755" fmla="*/ 1036511 w 1044701"/>
                <a:gd name="connsiteY755" fmla="*/ 553879 h 731424"/>
                <a:gd name="connsiteX756" fmla="*/ 1032605 w 1044701"/>
                <a:gd name="connsiteY756" fmla="*/ 547973 h 731424"/>
                <a:gd name="connsiteX757" fmla="*/ 1026319 w 1044701"/>
                <a:gd name="connsiteY757" fmla="*/ 548735 h 731424"/>
                <a:gd name="connsiteX758" fmla="*/ 1021747 w 1044701"/>
                <a:gd name="connsiteY758" fmla="*/ 550926 h 731424"/>
                <a:gd name="connsiteX759" fmla="*/ 1019937 w 1044701"/>
                <a:gd name="connsiteY759" fmla="*/ 549593 h 731424"/>
                <a:gd name="connsiteX760" fmla="*/ 1019365 w 1044701"/>
                <a:gd name="connsiteY760" fmla="*/ 544830 h 731424"/>
                <a:gd name="connsiteX761" fmla="*/ 1014603 w 1044701"/>
                <a:gd name="connsiteY761" fmla="*/ 545497 h 731424"/>
                <a:gd name="connsiteX762" fmla="*/ 1013650 w 1044701"/>
                <a:gd name="connsiteY762" fmla="*/ 550355 h 731424"/>
                <a:gd name="connsiteX763" fmla="*/ 1008888 w 1044701"/>
                <a:gd name="connsiteY763" fmla="*/ 551021 h 731424"/>
                <a:gd name="connsiteX764" fmla="*/ 1005745 w 1044701"/>
                <a:gd name="connsiteY764" fmla="*/ 551402 h 731424"/>
                <a:gd name="connsiteX765" fmla="*/ 1003554 w 1044701"/>
                <a:gd name="connsiteY765" fmla="*/ 546830 h 731424"/>
                <a:gd name="connsiteX766" fmla="*/ 1007936 w 1044701"/>
                <a:gd name="connsiteY766" fmla="*/ 543115 h 731424"/>
                <a:gd name="connsiteX767" fmla="*/ 1011841 w 1044701"/>
                <a:gd name="connsiteY767" fmla="*/ 536162 h 731424"/>
                <a:gd name="connsiteX768" fmla="*/ 1014984 w 1044701"/>
                <a:gd name="connsiteY768" fmla="*/ 535781 h 731424"/>
                <a:gd name="connsiteX769" fmla="*/ 1018699 w 1044701"/>
                <a:gd name="connsiteY769" fmla="*/ 527304 h 731424"/>
                <a:gd name="connsiteX770" fmla="*/ 1013555 w 1044701"/>
                <a:gd name="connsiteY770" fmla="*/ 524732 h 731424"/>
                <a:gd name="connsiteX771" fmla="*/ 1004316 w 1044701"/>
                <a:gd name="connsiteY771" fmla="*/ 514731 h 731424"/>
                <a:gd name="connsiteX772" fmla="*/ 1004125 w 1044701"/>
                <a:gd name="connsiteY772" fmla="*/ 513112 h 731424"/>
                <a:gd name="connsiteX773" fmla="*/ 1008602 w 1044701"/>
                <a:gd name="connsiteY773" fmla="*/ 510921 h 731424"/>
                <a:gd name="connsiteX774" fmla="*/ 1008412 w 1044701"/>
                <a:gd name="connsiteY774" fmla="*/ 509397 h 731424"/>
                <a:gd name="connsiteX775" fmla="*/ 1008031 w 1044701"/>
                <a:gd name="connsiteY775" fmla="*/ 506159 h 731424"/>
                <a:gd name="connsiteX776" fmla="*/ 1010983 w 1044701"/>
                <a:gd name="connsiteY776" fmla="*/ 504253 h 731424"/>
                <a:gd name="connsiteX777" fmla="*/ 1006983 w 1044701"/>
                <a:gd name="connsiteY777" fmla="*/ 498348 h 731424"/>
                <a:gd name="connsiteX778" fmla="*/ 1002125 w 1044701"/>
                <a:gd name="connsiteY778" fmla="*/ 497300 h 731424"/>
                <a:gd name="connsiteX779" fmla="*/ 996791 w 1044701"/>
                <a:gd name="connsiteY779" fmla="*/ 493205 h 731424"/>
                <a:gd name="connsiteX780" fmla="*/ 985075 w 1044701"/>
                <a:gd name="connsiteY780" fmla="*/ 477012 h 731424"/>
                <a:gd name="connsiteX781" fmla="*/ 976979 w 1044701"/>
                <a:gd name="connsiteY781" fmla="*/ 463677 h 731424"/>
                <a:gd name="connsiteX782" fmla="*/ 979265 w 1044701"/>
                <a:gd name="connsiteY782" fmla="*/ 456914 h 731424"/>
                <a:gd name="connsiteX783" fmla="*/ 976884 w 1044701"/>
                <a:gd name="connsiteY783" fmla="*/ 450818 h 731424"/>
                <a:gd name="connsiteX784" fmla="*/ 979646 w 1044701"/>
                <a:gd name="connsiteY784" fmla="*/ 447294 h 731424"/>
                <a:gd name="connsiteX785" fmla="*/ 974503 w 1044701"/>
                <a:gd name="connsiteY785" fmla="*/ 444722 h 731424"/>
                <a:gd name="connsiteX786" fmla="*/ 972598 w 1044701"/>
                <a:gd name="connsiteY786" fmla="*/ 441769 h 731424"/>
                <a:gd name="connsiteX787" fmla="*/ 968978 w 1044701"/>
                <a:gd name="connsiteY787" fmla="*/ 439007 h 731424"/>
                <a:gd name="connsiteX788" fmla="*/ 968788 w 1044701"/>
                <a:gd name="connsiteY788" fmla="*/ 437388 h 731424"/>
                <a:gd name="connsiteX789" fmla="*/ 963835 w 1044701"/>
                <a:gd name="connsiteY789" fmla="*/ 436436 h 731424"/>
                <a:gd name="connsiteX790" fmla="*/ 961263 w 1044701"/>
                <a:gd name="connsiteY790" fmla="*/ 428720 h 731424"/>
                <a:gd name="connsiteX791" fmla="*/ 965168 w 1044701"/>
                <a:gd name="connsiteY791" fmla="*/ 421862 h 731424"/>
                <a:gd name="connsiteX792" fmla="*/ 961644 w 1044701"/>
                <a:gd name="connsiteY792" fmla="*/ 419100 h 731424"/>
                <a:gd name="connsiteX793" fmla="*/ 962406 w 1044701"/>
                <a:gd name="connsiteY793" fmla="*/ 412623 h 731424"/>
                <a:gd name="connsiteX794" fmla="*/ 962406 w 1044701"/>
                <a:gd name="connsiteY794" fmla="*/ 399764 h 731424"/>
                <a:gd name="connsiteX795" fmla="*/ 965168 w 1044701"/>
                <a:gd name="connsiteY795" fmla="*/ 396240 h 731424"/>
                <a:gd name="connsiteX796" fmla="*/ 971074 w 1044701"/>
                <a:gd name="connsiteY796" fmla="*/ 392240 h 731424"/>
                <a:gd name="connsiteX797" fmla="*/ 974217 w 1044701"/>
                <a:gd name="connsiteY797" fmla="*/ 391859 h 731424"/>
                <a:gd name="connsiteX798" fmla="*/ 983075 w 1044701"/>
                <a:gd name="connsiteY798" fmla="*/ 385858 h 731424"/>
                <a:gd name="connsiteX799" fmla="*/ 981265 w 1044701"/>
                <a:gd name="connsiteY799" fmla="*/ 384524 h 731424"/>
                <a:gd name="connsiteX800" fmla="*/ 984218 w 1044701"/>
                <a:gd name="connsiteY800" fmla="*/ 382524 h 731424"/>
                <a:gd name="connsiteX801" fmla="*/ 977551 w 1044701"/>
                <a:gd name="connsiteY801" fmla="*/ 380143 h 731424"/>
                <a:gd name="connsiteX802" fmla="*/ 976503 w 1044701"/>
                <a:gd name="connsiteY802" fmla="*/ 372332 h 731424"/>
                <a:gd name="connsiteX803" fmla="*/ 970216 w 1044701"/>
                <a:gd name="connsiteY803" fmla="*/ 360236 h 731424"/>
                <a:gd name="connsiteX804" fmla="*/ 974122 w 1044701"/>
                <a:gd name="connsiteY804" fmla="*/ 353378 h 731424"/>
                <a:gd name="connsiteX805" fmla="*/ 972122 w 1044701"/>
                <a:gd name="connsiteY805" fmla="*/ 350425 h 731424"/>
                <a:gd name="connsiteX806" fmla="*/ 971359 w 1044701"/>
                <a:gd name="connsiteY806" fmla="*/ 344043 h 731424"/>
                <a:gd name="connsiteX807" fmla="*/ 973931 w 1044701"/>
                <a:gd name="connsiteY807" fmla="*/ 338995 h 731424"/>
                <a:gd name="connsiteX808" fmla="*/ 971740 w 1044701"/>
                <a:gd name="connsiteY808" fmla="*/ 334423 h 731424"/>
                <a:gd name="connsiteX809" fmla="*/ 974217 w 1044701"/>
                <a:gd name="connsiteY809" fmla="*/ 329279 h 731424"/>
                <a:gd name="connsiteX810" fmla="*/ 965740 w 1044701"/>
                <a:gd name="connsiteY810" fmla="*/ 325565 h 731424"/>
                <a:gd name="connsiteX811" fmla="*/ 969455 w 1044701"/>
                <a:gd name="connsiteY811" fmla="*/ 317087 h 731424"/>
                <a:gd name="connsiteX812" fmla="*/ 962597 w 1044701"/>
                <a:gd name="connsiteY812" fmla="*/ 313087 h 731424"/>
                <a:gd name="connsiteX813" fmla="*/ 961168 w 1044701"/>
                <a:gd name="connsiteY813" fmla="*/ 302133 h 731424"/>
                <a:gd name="connsiteX814" fmla="*/ 956024 w 1044701"/>
                <a:gd name="connsiteY814" fmla="*/ 299561 h 731424"/>
                <a:gd name="connsiteX815" fmla="*/ 955453 w 1044701"/>
                <a:gd name="connsiteY815" fmla="*/ 294799 h 731424"/>
                <a:gd name="connsiteX816" fmla="*/ 955834 w 1044701"/>
                <a:gd name="connsiteY816" fmla="*/ 285083 h 731424"/>
                <a:gd name="connsiteX817" fmla="*/ 957929 w 1044701"/>
                <a:gd name="connsiteY817" fmla="*/ 276797 h 731424"/>
                <a:gd name="connsiteX818" fmla="*/ 952405 w 1044701"/>
                <a:gd name="connsiteY818" fmla="*/ 271082 h 731424"/>
                <a:gd name="connsiteX819" fmla="*/ 953357 w 1044701"/>
                <a:gd name="connsiteY819" fmla="*/ 266224 h 731424"/>
                <a:gd name="connsiteX820" fmla="*/ 949452 w 1044701"/>
                <a:gd name="connsiteY820" fmla="*/ 260318 h 731424"/>
                <a:gd name="connsiteX821" fmla="*/ 944118 w 1044701"/>
                <a:gd name="connsiteY821" fmla="*/ 256127 h 731424"/>
                <a:gd name="connsiteX822" fmla="*/ 940308 w 1044701"/>
                <a:gd name="connsiteY822" fmla="*/ 238982 h 731424"/>
                <a:gd name="connsiteX823" fmla="*/ 946404 w 1044701"/>
                <a:gd name="connsiteY823" fmla="*/ 236601 h 731424"/>
                <a:gd name="connsiteX824" fmla="*/ 959453 w 1044701"/>
                <a:gd name="connsiteY824" fmla="*/ 238125 h 731424"/>
                <a:gd name="connsiteX825" fmla="*/ 965168 w 1044701"/>
                <a:gd name="connsiteY825" fmla="*/ 245459 h 731424"/>
                <a:gd name="connsiteX826" fmla="*/ 969740 w 1044701"/>
                <a:gd name="connsiteY826" fmla="*/ 243269 h 731424"/>
                <a:gd name="connsiteX827" fmla="*/ 969550 w 1044701"/>
                <a:gd name="connsiteY827" fmla="*/ 241649 h 731424"/>
                <a:gd name="connsiteX828" fmla="*/ 973455 w 1044701"/>
                <a:gd name="connsiteY828" fmla="*/ 234791 h 731424"/>
                <a:gd name="connsiteX829" fmla="*/ 977741 w 1044701"/>
                <a:gd name="connsiteY829" fmla="*/ 230981 h 731424"/>
                <a:gd name="connsiteX830" fmla="*/ 978980 w 1044701"/>
                <a:gd name="connsiteY830" fmla="*/ 227648 h 731424"/>
                <a:gd name="connsiteX831" fmla="*/ 978122 w 1044701"/>
                <a:gd name="connsiteY831" fmla="*/ 221361 h 731424"/>
                <a:gd name="connsiteX832" fmla="*/ 979361 w 1044701"/>
                <a:gd name="connsiteY832" fmla="*/ 218027 h 731424"/>
                <a:gd name="connsiteX833" fmla="*/ 984218 w 1044701"/>
                <a:gd name="connsiteY833" fmla="*/ 218980 h 731424"/>
                <a:gd name="connsiteX834" fmla="*/ 986599 w 1044701"/>
                <a:gd name="connsiteY834" fmla="*/ 212217 h 731424"/>
                <a:gd name="connsiteX835" fmla="*/ 995648 w 1044701"/>
                <a:gd name="connsiteY835" fmla="*/ 207836 h 731424"/>
                <a:gd name="connsiteX836" fmla="*/ 996887 w 1044701"/>
                <a:gd name="connsiteY836" fmla="*/ 204502 h 731424"/>
                <a:gd name="connsiteX837" fmla="*/ 1004697 w 1044701"/>
                <a:gd name="connsiteY837" fmla="*/ 203549 h 731424"/>
                <a:gd name="connsiteX838" fmla="*/ 1005935 w 1044701"/>
                <a:gd name="connsiteY838" fmla="*/ 200120 h 731424"/>
                <a:gd name="connsiteX839" fmla="*/ 1005554 w 1044701"/>
                <a:gd name="connsiteY839" fmla="*/ 196977 h 731424"/>
                <a:gd name="connsiteX840" fmla="*/ 1006507 w 1044701"/>
                <a:gd name="connsiteY840" fmla="*/ 192024 h 731424"/>
                <a:gd name="connsiteX841" fmla="*/ 1012412 w 1044701"/>
                <a:gd name="connsiteY841" fmla="*/ 188119 h 731424"/>
                <a:gd name="connsiteX842" fmla="*/ 1004697 w 1044701"/>
                <a:gd name="connsiteY842" fmla="*/ 177832 h 731424"/>
                <a:gd name="connsiteX843" fmla="*/ 1008602 w 1044701"/>
                <a:gd name="connsiteY843" fmla="*/ 170974 h 731424"/>
                <a:gd name="connsiteX844" fmla="*/ 997744 w 1044701"/>
                <a:gd name="connsiteY844" fmla="*/ 161068 h 731424"/>
                <a:gd name="connsiteX845" fmla="*/ 1000315 w 1044701"/>
                <a:gd name="connsiteY845" fmla="*/ 155924 h 731424"/>
                <a:gd name="connsiteX846" fmla="*/ 1007173 w 1044701"/>
                <a:gd name="connsiteY846" fmla="*/ 147066 h 731424"/>
                <a:gd name="connsiteX847" fmla="*/ 1014508 w 1044701"/>
                <a:gd name="connsiteY847" fmla="*/ 141351 h 731424"/>
                <a:gd name="connsiteX848" fmla="*/ 1010698 w 1044701"/>
                <a:gd name="connsiteY848" fmla="*/ 136969 h 731424"/>
                <a:gd name="connsiteX849" fmla="*/ 1009936 w 1044701"/>
                <a:gd name="connsiteY849" fmla="*/ 130683 h 731424"/>
                <a:gd name="connsiteX850" fmla="*/ 1003363 w 1044701"/>
                <a:gd name="connsiteY850" fmla="*/ 117062 h 731424"/>
                <a:gd name="connsiteX851" fmla="*/ 1001363 w 1044701"/>
                <a:gd name="connsiteY851" fmla="*/ 114110 h 731424"/>
                <a:gd name="connsiteX852" fmla="*/ 1002792 w 1044701"/>
                <a:gd name="connsiteY852" fmla="*/ 112395 h 731424"/>
                <a:gd name="connsiteX853" fmla="*/ 1010603 w 1044701"/>
                <a:gd name="connsiteY853" fmla="*/ 111347 h 731424"/>
                <a:gd name="connsiteX854" fmla="*/ 1016317 w 1044701"/>
                <a:gd name="connsiteY854" fmla="*/ 105823 h 731424"/>
                <a:gd name="connsiteX855" fmla="*/ 1014508 w 1044701"/>
                <a:gd name="connsiteY855" fmla="*/ 91631 h 731424"/>
                <a:gd name="connsiteX856" fmla="*/ 1017651 w 1044701"/>
                <a:gd name="connsiteY856" fmla="*/ 91250 h 731424"/>
                <a:gd name="connsiteX857" fmla="*/ 1018318 w 1044701"/>
                <a:gd name="connsiteY857" fmla="*/ 95917 h 731424"/>
                <a:gd name="connsiteX858" fmla="*/ 1019842 w 1044701"/>
                <a:gd name="connsiteY858" fmla="*/ 95726 h 731424"/>
                <a:gd name="connsiteX859" fmla="*/ 1022223 w 1044701"/>
                <a:gd name="connsiteY859" fmla="*/ 89059 h 731424"/>
                <a:gd name="connsiteX860" fmla="*/ 1021461 w 1044701"/>
                <a:gd name="connsiteY860" fmla="*/ 82677 h 731424"/>
                <a:gd name="connsiteX861" fmla="*/ 1023366 w 1044701"/>
                <a:gd name="connsiteY861" fmla="*/ 72866 h 731424"/>
                <a:gd name="connsiteX862" fmla="*/ 1026128 w 1044701"/>
                <a:gd name="connsiteY862" fmla="*/ 69247 h 731424"/>
                <a:gd name="connsiteX863" fmla="*/ 1026700 w 1044701"/>
                <a:gd name="connsiteY863" fmla="*/ 61246 h 731424"/>
                <a:gd name="connsiteX864" fmla="*/ 1030414 w 1044701"/>
                <a:gd name="connsiteY864" fmla="*/ 52673 h 731424"/>
                <a:gd name="connsiteX865" fmla="*/ 1031177 w 1044701"/>
                <a:gd name="connsiteY865" fmla="*/ 46196 h 731424"/>
                <a:gd name="connsiteX866" fmla="*/ 1038511 w 1044701"/>
                <a:gd name="connsiteY866" fmla="*/ 40481 h 731424"/>
                <a:gd name="connsiteX867" fmla="*/ 1041082 w 1044701"/>
                <a:gd name="connsiteY867" fmla="*/ 35338 h 731424"/>
                <a:gd name="connsiteX868" fmla="*/ 1040035 w 1044701"/>
                <a:gd name="connsiteY868" fmla="*/ 27432 h 731424"/>
                <a:gd name="connsiteX869" fmla="*/ 1040987 w 1044701"/>
                <a:gd name="connsiteY869" fmla="*/ 22479 h 731424"/>
                <a:gd name="connsiteX870" fmla="*/ 1038797 w 1044701"/>
                <a:gd name="connsiteY870" fmla="*/ 17907 h 731424"/>
                <a:gd name="connsiteX871" fmla="*/ 1038797 w 1044701"/>
                <a:gd name="connsiteY871" fmla="*/ 17907 h 731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</a:cxnLst>
              <a:rect l="l" t="t" r="r" b="b"/>
              <a:pathLst>
                <a:path w="1044701" h="731424">
                  <a:moveTo>
                    <a:pt x="1038797" y="17907"/>
                  </a:moveTo>
                  <a:lnTo>
                    <a:pt x="1039558" y="11430"/>
                  </a:lnTo>
                  <a:lnTo>
                    <a:pt x="1037463" y="6953"/>
                  </a:lnTo>
                  <a:lnTo>
                    <a:pt x="1028509" y="0"/>
                  </a:lnTo>
                  <a:lnTo>
                    <a:pt x="1019651" y="6001"/>
                  </a:lnTo>
                  <a:lnTo>
                    <a:pt x="1018889" y="12478"/>
                  </a:lnTo>
                  <a:lnTo>
                    <a:pt x="1017270" y="12668"/>
                  </a:lnTo>
                  <a:lnTo>
                    <a:pt x="1012984" y="16478"/>
                  </a:lnTo>
                  <a:lnTo>
                    <a:pt x="1010412" y="21527"/>
                  </a:lnTo>
                  <a:lnTo>
                    <a:pt x="1006888" y="18860"/>
                  </a:lnTo>
                  <a:lnTo>
                    <a:pt x="1002316" y="20955"/>
                  </a:lnTo>
                  <a:lnTo>
                    <a:pt x="995839" y="33052"/>
                  </a:lnTo>
                  <a:lnTo>
                    <a:pt x="994696" y="49244"/>
                  </a:lnTo>
                  <a:lnTo>
                    <a:pt x="989362" y="57912"/>
                  </a:lnTo>
                  <a:lnTo>
                    <a:pt x="982313" y="65246"/>
                  </a:lnTo>
                  <a:lnTo>
                    <a:pt x="984504" y="69818"/>
                  </a:lnTo>
                  <a:lnTo>
                    <a:pt x="983361" y="73152"/>
                  </a:lnTo>
                  <a:lnTo>
                    <a:pt x="972883" y="79248"/>
                  </a:lnTo>
                  <a:lnTo>
                    <a:pt x="965549" y="85058"/>
                  </a:lnTo>
                  <a:lnTo>
                    <a:pt x="962215" y="83820"/>
                  </a:lnTo>
                  <a:lnTo>
                    <a:pt x="959263" y="85820"/>
                  </a:lnTo>
                  <a:lnTo>
                    <a:pt x="947452" y="106585"/>
                  </a:lnTo>
                  <a:lnTo>
                    <a:pt x="944308" y="119825"/>
                  </a:lnTo>
                  <a:lnTo>
                    <a:pt x="941641" y="123349"/>
                  </a:lnTo>
                  <a:lnTo>
                    <a:pt x="932783" y="129254"/>
                  </a:lnTo>
                  <a:lnTo>
                    <a:pt x="924401" y="127159"/>
                  </a:lnTo>
                  <a:lnTo>
                    <a:pt x="917734" y="124777"/>
                  </a:lnTo>
                  <a:lnTo>
                    <a:pt x="914209" y="122015"/>
                  </a:lnTo>
                  <a:lnTo>
                    <a:pt x="893826" y="113443"/>
                  </a:lnTo>
                  <a:lnTo>
                    <a:pt x="887349" y="112586"/>
                  </a:lnTo>
                  <a:lnTo>
                    <a:pt x="882396" y="111633"/>
                  </a:lnTo>
                  <a:lnTo>
                    <a:pt x="878205" y="104204"/>
                  </a:lnTo>
                  <a:lnTo>
                    <a:pt x="867537" y="95917"/>
                  </a:lnTo>
                  <a:lnTo>
                    <a:pt x="866775" y="89630"/>
                  </a:lnTo>
                  <a:lnTo>
                    <a:pt x="859822" y="85630"/>
                  </a:lnTo>
                  <a:lnTo>
                    <a:pt x="855821" y="79724"/>
                  </a:lnTo>
                  <a:lnTo>
                    <a:pt x="844391" y="78010"/>
                  </a:lnTo>
                  <a:lnTo>
                    <a:pt x="840105" y="81725"/>
                  </a:lnTo>
                  <a:lnTo>
                    <a:pt x="838295" y="80391"/>
                  </a:lnTo>
                  <a:lnTo>
                    <a:pt x="836962" y="82201"/>
                  </a:lnTo>
                  <a:lnTo>
                    <a:pt x="816197" y="70390"/>
                  </a:lnTo>
                  <a:lnTo>
                    <a:pt x="813245" y="72390"/>
                  </a:lnTo>
                  <a:lnTo>
                    <a:pt x="811435" y="70961"/>
                  </a:lnTo>
                  <a:lnTo>
                    <a:pt x="807720" y="66675"/>
                  </a:lnTo>
                  <a:lnTo>
                    <a:pt x="804767" y="68580"/>
                  </a:lnTo>
                  <a:lnTo>
                    <a:pt x="801719" y="57817"/>
                  </a:lnTo>
                  <a:lnTo>
                    <a:pt x="793242" y="54102"/>
                  </a:lnTo>
                  <a:lnTo>
                    <a:pt x="790099" y="54483"/>
                  </a:lnTo>
                  <a:lnTo>
                    <a:pt x="786384" y="50102"/>
                  </a:lnTo>
                  <a:lnTo>
                    <a:pt x="784955" y="51911"/>
                  </a:lnTo>
                  <a:lnTo>
                    <a:pt x="778478" y="51149"/>
                  </a:lnTo>
                  <a:lnTo>
                    <a:pt x="772763" y="56674"/>
                  </a:lnTo>
                  <a:lnTo>
                    <a:pt x="772382" y="79153"/>
                  </a:lnTo>
                  <a:lnTo>
                    <a:pt x="769811" y="84296"/>
                  </a:lnTo>
                  <a:lnTo>
                    <a:pt x="762190" y="86868"/>
                  </a:lnTo>
                  <a:lnTo>
                    <a:pt x="759428" y="90392"/>
                  </a:lnTo>
                  <a:lnTo>
                    <a:pt x="757809" y="90678"/>
                  </a:lnTo>
                  <a:lnTo>
                    <a:pt x="755237" y="95821"/>
                  </a:lnTo>
                  <a:lnTo>
                    <a:pt x="755047" y="94202"/>
                  </a:lnTo>
                  <a:lnTo>
                    <a:pt x="745617" y="95441"/>
                  </a:lnTo>
                  <a:lnTo>
                    <a:pt x="745236" y="92202"/>
                  </a:lnTo>
                  <a:lnTo>
                    <a:pt x="743617" y="92488"/>
                  </a:lnTo>
                  <a:lnTo>
                    <a:pt x="743998" y="95631"/>
                  </a:lnTo>
                  <a:lnTo>
                    <a:pt x="736378" y="98203"/>
                  </a:lnTo>
                  <a:lnTo>
                    <a:pt x="739712" y="99346"/>
                  </a:lnTo>
                  <a:lnTo>
                    <a:pt x="740092" y="102489"/>
                  </a:lnTo>
                  <a:lnTo>
                    <a:pt x="737330" y="106108"/>
                  </a:lnTo>
                  <a:lnTo>
                    <a:pt x="733615" y="101727"/>
                  </a:lnTo>
                  <a:lnTo>
                    <a:pt x="730663" y="103727"/>
                  </a:lnTo>
                  <a:lnTo>
                    <a:pt x="727424" y="104108"/>
                  </a:lnTo>
                  <a:lnTo>
                    <a:pt x="727900" y="107252"/>
                  </a:lnTo>
                  <a:lnTo>
                    <a:pt x="724757" y="107728"/>
                  </a:lnTo>
                  <a:lnTo>
                    <a:pt x="725138" y="110871"/>
                  </a:lnTo>
                  <a:lnTo>
                    <a:pt x="721805" y="109633"/>
                  </a:lnTo>
                  <a:lnTo>
                    <a:pt x="719995" y="108299"/>
                  </a:lnTo>
                  <a:lnTo>
                    <a:pt x="715232" y="108871"/>
                  </a:lnTo>
                  <a:lnTo>
                    <a:pt x="715423" y="110490"/>
                  </a:lnTo>
                  <a:lnTo>
                    <a:pt x="703040" y="126492"/>
                  </a:lnTo>
                  <a:lnTo>
                    <a:pt x="691801" y="126302"/>
                  </a:lnTo>
                  <a:lnTo>
                    <a:pt x="687038" y="126968"/>
                  </a:lnTo>
                  <a:lnTo>
                    <a:pt x="687705" y="131636"/>
                  </a:lnTo>
                  <a:lnTo>
                    <a:pt x="681514" y="134017"/>
                  </a:lnTo>
                  <a:lnTo>
                    <a:pt x="677608" y="140970"/>
                  </a:lnTo>
                  <a:lnTo>
                    <a:pt x="679990" y="147066"/>
                  </a:lnTo>
                  <a:lnTo>
                    <a:pt x="681419" y="145256"/>
                  </a:lnTo>
                  <a:lnTo>
                    <a:pt x="685133" y="149638"/>
                  </a:lnTo>
                  <a:lnTo>
                    <a:pt x="690467" y="153734"/>
                  </a:lnTo>
                  <a:lnTo>
                    <a:pt x="684562" y="157734"/>
                  </a:lnTo>
                  <a:lnTo>
                    <a:pt x="683419" y="161068"/>
                  </a:lnTo>
                  <a:lnTo>
                    <a:pt x="677132" y="161830"/>
                  </a:lnTo>
                  <a:lnTo>
                    <a:pt x="674561" y="166973"/>
                  </a:lnTo>
                  <a:lnTo>
                    <a:pt x="669227" y="162877"/>
                  </a:lnTo>
                  <a:lnTo>
                    <a:pt x="667798" y="164687"/>
                  </a:lnTo>
                  <a:lnTo>
                    <a:pt x="663035" y="165259"/>
                  </a:lnTo>
                  <a:lnTo>
                    <a:pt x="665226" y="169831"/>
                  </a:lnTo>
                  <a:lnTo>
                    <a:pt x="664083" y="173165"/>
                  </a:lnTo>
                  <a:lnTo>
                    <a:pt x="662273" y="171736"/>
                  </a:lnTo>
                  <a:lnTo>
                    <a:pt x="662940" y="176498"/>
                  </a:lnTo>
                  <a:lnTo>
                    <a:pt x="668083" y="179070"/>
                  </a:lnTo>
                  <a:lnTo>
                    <a:pt x="670465" y="185166"/>
                  </a:lnTo>
                  <a:lnTo>
                    <a:pt x="673798" y="186309"/>
                  </a:lnTo>
                  <a:lnTo>
                    <a:pt x="675227" y="197358"/>
                  </a:lnTo>
                  <a:lnTo>
                    <a:pt x="655034" y="190310"/>
                  </a:lnTo>
                  <a:lnTo>
                    <a:pt x="651700" y="189167"/>
                  </a:lnTo>
                  <a:lnTo>
                    <a:pt x="646366" y="185071"/>
                  </a:lnTo>
                  <a:lnTo>
                    <a:pt x="645033" y="186785"/>
                  </a:lnTo>
                  <a:lnTo>
                    <a:pt x="638270" y="184499"/>
                  </a:lnTo>
                  <a:lnTo>
                    <a:pt x="640080" y="185833"/>
                  </a:lnTo>
                  <a:lnTo>
                    <a:pt x="638842" y="189167"/>
                  </a:lnTo>
                  <a:lnTo>
                    <a:pt x="640652" y="190595"/>
                  </a:lnTo>
                  <a:lnTo>
                    <a:pt x="633984" y="188214"/>
                  </a:lnTo>
                  <a:lnTo>
                    <a:pt x="632555" y="190024"/>
                  </a:lnTo>
                  <a:lnTo>
                    <a:pt x="630936" y="190214"/>
                  </a:lnTo>
                  <a:lnTo>
                    <a:pt x="627793" y="190595"/>
                  </a:lnTo>
                  <a:lnTo>
                    <a:pt x="615410" y="193834"/>
                  </a:lnTo>
                  <a:lnTo>
                    <a:pt x="614839" y="189071"/>
                  </a:lnTo>
                  <a:lnTo>
                    <a:pt x="614648" y="187452"/>
                  </a:lnTo>
                  <a:lnTo>
                    <a:pt x="618744" y="182118"/>
                  </a:lnTo>
                  <a:lnTo>
                    <a:pt x="616934" y="180785"/>
                  </a:lnTo>
                  <a:lnTo>
                    <a:pt x="612267" y="181356"/>
                  </a:lnTo>
                  <a:lnTo>
                    <a:pt x="611981" y="179832"/>
                  </a:lnTo>
                  <a:lnTo>
                    <a:pt x="610457" y="180023"/>
                  </a:lnTo>
                  <a:lnTo>
                    <a:pt x="612457" y="182975"/>
                  </a:lnTo>
                  <a:lnTo>
                    <a:pt x="611219" y="186309"/>
                  </a:lnTo>
                  <a:lnTo>
                    <a:pt x="611410" y="187833"/>
                  </a:lnTo>
                  <a:lnTo>
                    <a:pt x="602552" y="193834"/>
                  </a:lnTo>
                  <a:lnTo>
                    <a:pt x="598837" y="189452"/>
                  </a:lnTo>
                  <a:lnTo>
                    <a:pt x="596074" y="193072"/>
                  </a:lnTo>
                  <a:lnTo>
                    <a:pt x="589597" y="192310"/>
                  </a:lnTo>
                  <a:lnTo>
                    <a:pt x="587026" y="197358"/>
                  </a:lnTo>
                  <a:lnTo>
                    <a:pt x="582073" y="196406"/>
                  </a:lnTo>
                  <a:lnTo>
                    <a:pt x="580644" y="198215"/>
                  </a:lnTo>
                  <a:lnTo>
                    <a:pt x="576929" y="193834"/>
                  </a:lnTo>
                  <a:lnTo>
                    <a:pt x="574929" y="190881"/>
                  </a:lnTo>
                  <a:lnTo>
                    <a:pt x="576167" y="187547"/>
                  </a:lnTo>
                  <a:lnTo>
                    <a:pt x="574548" y="187738"/>
                  </a:lnTo>
                  <a:lnTo>
                    <a:pt x="569405" y="185261"/>
                  </a:lnTo>
                  <a:lnTo>
                    <a:pt x="564832" y="174593"/>
                  </a:lnTo>
                  <a:lnTo>
                    <a:pt x="561689" y="174974"/>
                  </a:lnTo>
                  <a:lnTo>
                    <a:pt x="559880" y="173546"/>
                  </a:lnTo>
                  <a:lnTo>
                    <a:pt x="558546" y="175355"/>
                  </a:lnTo>
                  <a:lnTo>
                    <a:pt x="556736" y="174022"/>
                  </a:lnTo>
                  <a:lnTo>
                    <a:pt x="553593" y="174403"/>
                  </a:lnTo>
                  <a:lnTo>
                    <a:pt x="551974" y="174593"/>
                  </a:lnTo>
                  <a:lnTo>
                    <a:pt x="546068" y="165735"/>
                  </a:lnTo>
                  <a:lnTo>
                    <a:pt x="543115" y="167735"/>
                  </a:lnTo>
                  <a:lnTo>
                    <a:pt x="541972" y="171069"/>
                  </a:lnTo>
                  <a:lnTo>
                    <a:pt x="540353" y="171260"/>
                  </a:lnTo>
                  <a:lnTo>
                    <a:pt x="531495" y="164402"/>
                  </a:lnTo>
                  <a:lnTo>
                    <a:pt x="528447" y="153543"/>
                  </a:lnTo>
                  <a:lnTo>
                    <a:pt x="519589" y="146685"/>
                  </a:lnTo>
                  <a:lnTo>
                    <a:pt x="513493" y="149066"/>
                  </a:lnTo>
                  <a:lnTo>
                    <a:pt x="511683" y="147638"/>
                  </a:lnTo>
                  <a:lnTo>
                    <a:pt x="506921" y="148304"/>
                  </a:lnTo>
                  <a:lnTo>
                    <a:pt x="505015" y="145352"/>
                  </a:lnTo>
                  <a:lnTo>
                    <a:pt x="498443" y="144494"/>
                  </a:lnTo>
                  <a:lnTo>
                    <a:pt x="495300" y="144971"/>
                  </a:lnTo>
                  <a:lnTo>
                    <a:pt x="493300" y="142018"/>
                  </a:lnTo>
                  <a:lnTo>
                    <a:pt x="492347" y="134112"/>
                  </a:lnTo>
                  <a:lnTo>
                    <a:pt x="486728" y="115538"/>
                  </a:lnTo>
                  <a:lnTo>
                    <a:pt x="480250" y="114776"/>
                  </a:lnTo>
                  <a:lnTo>
                    <a:pt x="449675" y="113824"/>
                  </a:lnTo>
                  <a:lnTo>
                    <a:pt x="449580" y="88202"/>
                  </a:lnTo>
                  <a:lnTo>
                    <a:pt x="448437" y="78772"/>
                  </a:lnTo>
                  <a:lnTo>
                    <a:pt x="435197" y="75629"/>
                  </a:lnTo>
                  <a:lnTo>
                    <a:pt x="435102" y="62770"/>
                  </a:lnTo>
                  <a:lnTo>
                    <a:pt x="415957" y="63627"/>
                  </a:lnTo>
                  <a:lnTo>
                    <a:pt x="410623" y="59531"/>
                  </a:lnTo>
                  <a:lnTo>
                    <a:pt x="405955" y="60103"/>
                  </a:lnTo>
                  <a:lnTo>
                    <a:pt x="405289" y="55340"/>
                  </a:lnTo>
                  <a:lnTo>
                    <a:pt x="401193" y="60674"/>
                  </a:lnTo>
                  <a:lnTo>
                    <a:pt x="388525" y="49530"/>
                  </a:lnTo>
                  <a:lnTo>
                    <a:pt x="383572" y="48482"/>
                  </a:lnTo>
                  <a:lnTo>
                    <a:pt x="384429" y="54864"/>
                  </a:lnTo>
                  <a:lnTo>
                    <a:pt x="383000" y="56579"/>
                  </a:lnTo>
                  <a:lnTo>
                    <a:pt x="362331" y="57626"/>
                  </a:lnTo>
                  <a:lnTo>
                    <a:pt x="362903" y="75248"/>
                  </a:lnTo>
                  <a:lnTo>
                    <a:pt x="351663" y="75057"/>
                  </a:lnTo>
                  <a:lnTo>
                    <a:pt x="338899" y="75057"/>
                  </a:lnTo>
                  <a:lnTo>
                    <a:pt x="338328" y="83153"/>
                  </a:lnTo>
                  <a:lnTo>
                    <a:pt x="329470" y="89059"/>
                  </a:lnTo>
                  <a:lnTo>
                    <a:pt x="329851" y="92297"/>
                  </a:lnTo>
                  <a:lnTo>
                    <a:pt x="326898" y="94202"/>
                  </a:lnTo>
                  <a:lnTo>
                    <a:pt x="326231" y="89535"/>
                  </a:lnTo>
                  <a:lnTo>
                    <a:pt x="314992" y="89344"/>
                  </a:lnTo>
                  <a:lnTo>
                    <a:pt x="313468" y="89535"/>
                  </a:lnTo>
                  <a:lnTo>
                    <a:pt x="313087" y="86392"/>
                  </a:lnTo>
                  <a:lnTo>
                    <a:pt x="306324" y="84011"/>
                  </a:lnTo>
                  <a:lnTo>
                    <a:pt x="304133" y="79439"/>
                  </a:lnTo>
                  <a:lnTo>
                    <a:pt x="304514" y="69818"/>
                  </a:lnTo>
                  <a:lnTo>
                    <a:pt x="308229" y="61341"/>
                  </a:lnTo>
                  <a:lnTo>
                    <a:pt x="303086" y="58769"/>
                  </a:lnTo>
                  <a:lnTo>
                    <a:pt x="304324" y="55435"/>
                  </a:lnTo>
                  <a:lnTo>
                    <a:pt x="303847" y="52292"/>
                  </a:lnTo>
                  <a:lnTo>
                    <a:pt x="294227" y="51911"/>
                  </a:lnTo>
                  <a:lnTo>
                    <a:pt x="290513" y="47530"/>
                  </a:lnTo>
                  <a:lnTo>
                    <a:pt x="285083" y="43434"/>
                  </a:lnTo>
                  <a:lnTo>
                    <a:pt x="280797" y="47149"/>
                  </a:lnTo>
                  <a:lnTo>
                    <a:pt x="278416" y="53912"/>
                  </a:lnTo>
                  <a:lnTo>
                    <a:pt x="270129" y="51721"/>
                  </a:lnTo>
                  <a:lnTo>
                    <a:pt x="269177" y="56674"/>
                  </a:lnTo>
                  <a:lnTo>
                    <a:pt x="264414" y="57245"/>
                  </a:lnTo>
                  <a:lnTo>
                    <a:pt x="264605" y="58865"/>
                  </a:lnTo>
                  <a:lnTo>
                    <a:pt x="260128" y="61055"/>
                  </a:lnTo>
                  <a:lnTo>
                    <a:pt x="260890" y="67342"/>
                  </a:lnTo>
                  <a:lnTo>
                    <a:pt x="262699" y="68771"/>
                  </a:lnTo>
                  <a:lnTo>
                    <a:pt x="260985" y="80200"/>
                  </a:lnTo>
                  <a:lnTo>
                    <a:pt x="259747" y="83534"/>
                  </a:lnTo>
                  <a:lnTo>
                    <a:pt x="256604" y="83915"/>
                  </a:lnTo>
                  <a:lnTo>
                    <a:pt x="256794" y="85535"/>
                  </a:lnTo>
                  <a:lnTo>
                    <a:pt x="254794" y="82582"/>
                  </a:lnTo>
                  <a:lnTo>
                    <a:pt x="251079" y="91059"/>
                  </a:lnTo>
                  <a:lnTo>
                    <a:pt x="247364" y="86677"/>
                  </a:lnTo>
                  <a:lnTo>
                    <a:pt x="242411" y="85725"/>
                  </a:lnTo>
                  <a:lnTo>
                    <a:pt x="239458" y="87725"/>
                  </a:lnTo>
                  <a:lnTo>
                    <a:pt x="239268" y="86106"/>
                  </a:lnTo>
                  <a:lnTo>
                    <a:pt x="235934" y="84963"/>
                  </a:lnTo>
                  <a:lnTo>
                    <a:pt x="234696" y="88297"/>
                  </a:lnTo>
                  <a:lnTo>
                    <a:pt x="231553" y="88773"/>
                  </a:lnTo>
                  <a:lnTo>
                    <a:pt x="228981" y="93917"/>
                  </a:lnTo>
                  <a:lnTo>
                    <a:pt x="227457" y="94107"/>
                  </a:lnTo>
                  <a:lnTo>
                    <a:pt x="227838" y="97250"/>
                  </a:lnTo>
                  <a:lnTo>
                    <a:pt x="225076" y="100775"/>
                  </a:lnTo>
                  <a:lnTo>
                    <a:pt x="221552" y="98012"/>
                  </a:lnTo>
                  <a:lnTo>
                    <a:pt x="219932" y="98203"/>
                  </a:lnTo>
                  <a:lnTo>
                    <a:pt x="218789" y="101632"/>
                  </a:lnTo>
                  <a:lnTo>
                    <a:pt x="215170" y="98869"/>
                  </a:lnTo>
                  <a:lnTo>
                    <a:pt x="214979" y="97250"/>
                  </a:lnTo>
                  <a:lnTo>
                    <a:pt x="209836" y="94679"/>
                  </a:lnTo>
                  <a:lnTo>
                    <a:pt x="209645" y="93154"/>
                  </a:lnTo>
                  <a:lnTo>
                    <a:pt x="199358" y="88011"/>
                  </a:lnTo>
                  <a:lnTo>
                    <a:pt x="197644" y="86677"/>
                  </a:lnTo>
                  <a:lnTo>
                    <a:pt x="195834" y="85249"/>
                  </a:lnTo>
                  <a:lnTo>
                    <a:pt x="195263" y="93345"/>
                  </a:lnTo>
                  <a:lnTo>
                    <a:pt x="191738" y="90583"/>
                  </a:lnTo>
                  <a:lnTo>
                    <a:pt x="191929" y="92202"/>
                  </a:lnTo>
                  <a:lnTo>
                    <a:pt x="186785" y="89630"/>
                  </a:lnTo>
                  <a:lnTo>
                    <a:pt x="182023" y="90202"/>
                  </a:lnTo>
                  <a:lnTo>
                    <a:pt x="181832" y="88678"/>
                  </a:lnTo>
                  <a:lnTo>
                    <a:pt x="183452" y="88487"/>
                  </a:lnTo>
                  <a:lnTo>
                    <a:pt x="183261" y="86868"/>
                  </a:lnTo>
                  <a:lnTo>
                    <a:pt x="181642" y="87058"/>
                  </a:lnTo>
                  <a:lnTo>
                    <a:pt x="180213" y="88868"/>
                  </a:lnTo>
                  <a:lnTo>
                    <a:pt x="175070" y="86296"/>
                  </a:lnTo>
                  <a:lnTo>
                    <a:pt x="173736" y="88106"/>
                  </a:lnTo>
                  <a:lnTo>
                    <a:pt x="175355" y="87916"/>
                  </a:lnTo>
                  <a:lnTo>
                    <a:pt x="170783" y="90106"/>
                  </a:lnTo>
                  <a:lnTo>
                    <a:pt x="168783" y="87154"/>
                  </a:lnTo>
                  <a:lnTo>
                    <a:pt x="165640" y="87535"/>
                  </a:lnTo>
                  <a:lnTo>
                    <a:pt x="163925" y="86106"/>
                  </a:lnTo>
                  <a:lnTo>
                    <a:pt x="162496" y="87916"/>
                  </a:lnTo>
                  <a:lnTo>
                    <a:pt x="162115" y="84773"/>
                  </a:lnTo>
                  <a:lnTo>
                    <a:pt x="160496" y="84963"/>
                  </a:lnTo>
                  <a:lnTo>
                    <a:pt x="161354" y="91250"/>
                  </a:lnTo>
                  <a:lnTo>
                    <a:pt x="164497" y="90869"/>
                  </a:lnTo>
                  <a:lnTo>
                    <a:pt x="163068" y="92678"/>
                  </a:lnTo>
                  <a:lnTo>
                    <a:pt x="161354" y="91250"/>
                  </a:lnTo>
                  <a:lnTo>
                    <a:pt x="157734" y="88487"/>
                  </a:lnTo>
                  <a:lnTo>
                    <a:pt x="156400" y="90297"/>
                  </a:lnTo>
                  <a:lnTo>
                    <a:pt x="156591" y="91916"/>
                  </a:lnTo>
                  <a:lnTo>
                    <a:pt x="154972" y="92107"/>
                  </a:lnTo>
                  <a:lnTo>
                    <a:pt x="153448" y="92297"/>
                  </a:lnTo>
                  <a:lnTo>
                    <a:pt x="152781" y="87535"/>
                  </a:lnTo>
                  <a:lnTo>
                    <a:pt x="149638" y="87916"/>
                  </a:lnTo>
                  <a:lnTo>
                    <a:pt x="149828" y="76676"/>
                  </a:lnTo>
                  <a:lnTo>
                    <a:pt x="142970" y="72771"/>
                  </a:lnTo>
                  <a:lnTo>
                    <a:pt x="139732" y="73152"/>
                  </a:lnTo>
                  <a:lnTo>
                    <a:pt x="138779" y="78105"/>
                  </a:lnTo>
                  <a:lnTo>
                    <a:pt x="143923" y="80677"/>
                  </a:lnTo>
                  <a:lnTo>
                    <a:pt x="137827" y="83058"/>
                  </a:lnTo>
                  <a:lnTo>
                    <a:pt x="136017" y="81629"/>
                  </a:lnTo>
                  <a:lnTo>
                    <a:pt x="134684" y="83439"/>
                  </a:lnTo>
                  <a:lnTo>
                    <a:pt x="135255" y="88202"/>
                  </a:lnTo>
                  <a:lnTo>
                    <a:pt x="130683" y="90392"/>
                  </a:lnTo>
                  <a:lnTo>
                    <a:pt x="127349" y="89154"/>
                  </a:lnTo>
                  <a:lnTo>
                    <a:pt x="126778" y="84487"/>
                  </a:lnTo>
                  <a:lnTo>
                    <a:pt x="125349" y="86201"/>
                  </a:lnTo>
                  <a:lnTo>
                    <a:pt x="123444" y="83248"/>
                  </a:lnTo>
                  <a:lnTo>
                    <a:pt x="120301" y="83629"/>
                  </a:lnTo>
                  <a:lnTo>
                    <a:pt x="109823" y="89821"/>
                  </a:lnTo>
                  <a:lnTo>
                    <a:pt x="108394" y="91631"/>
                  </a:lnTo>
                  <a:lnTo>
                    <a:pt x="107823" y="99727"/>
                  </a:lnTo>
                  <a:lnTo>
                    <a:pt x="106680" y="103061"/>
                  </a:lnTo>
                  <a:lnTo>
                    <a:pt x="108490" y="104394"/>
                  </a:lnTo>
                  <a:lnTo>
                    <a:pt x="110680" y="108966"/>
                  </a:lnTo>
                  <a:lnTo>
                    <a:pt x="109252" y="110776"/>
                  </a:lnTo>
                  <a:lnTo>
                    <a:pt x="105727" y="108014"/>
                  </a:lnTo>
                  <a:lnTo>
                    <a:pt x="102965" y="111538"/>
                  </a:lnTo>
                  <a:lnTo>
                    <a:pt x="98393" y="113729"/>
                  </a:lnTo>
                  <a:lnTo>
                    <a:pt x="98584" y="115252"/>
                  </a:lnTo>
                  <a:lnTo>
                    <a:pt x="96869" y="113919"/>
                  </a:lnTo>
                  <a:lnTo>
                    <a:pt x="85630" y="113729"/>
                  </a:lnTo>
                  <a:lnTo>
                    <a:pt x="86201" y="118491"/>
                  </a:lnTo>
                  <a:lnTo>
                    <a:pt x="90964" y="117919"/>
                  </a:lnTo>
                  <a:lnTo>
                    <a:pt x="88011" y="119825"/>
                  </a:lnTo>
                  <a:lnTo>
                    <a:pt x="83058" y="118872"/>
                  </a:lnTo>
                  <a:lnTo>
                    <a:pt x="83248" y="120491"/>
                  </a:lnTo>
                  <a:lnTo>
                    <a:pt x="78962" y="124206"/>
                  </a:lnTo>
                  <a:lnTo>
                    <a:pt x="77343" y="124396"/>
                  </a:lnTo>
                  <a:lnTo>
                    <a:pt x="73247" y="129731"/>
                  </a:lnTo>
                  <a:lnTo>
                    <a:pt x="60960" y="134493"/>
                  </a:lnTo>
                  <a:lnTo>
                    <a:pt x="50863" y="118205"/>
                  </a:lnTo>
                  <a:lnTo>
                    <a:pt x="49054" y="116777"/>
                  </a:lnTo>
                  <a:lnTo>
                    <a:pt x="47530" y="116967"/>
                  </a:lnTo>
                  <a:lnTo>
                    <a:pt x="50292" y="126302"/>
                  </a:lnTo>
                  <a:lnTo>
                    <a:pt x="44386" y="130207"/>
                  </a:lnTo>
                  <a:lnTo>
                    <a:pt x="39243" y="127635"/>
                  </a:lnTo>
                  <a:lnTo>
                    <a:pt x="38671" y="122968"/>
                  </a:lnTo>
                  <a:lnTo>
                    <a:pt x="35147" y="120206"/>
                  </a:lnTo>
                  <a:lnTo>
                    <a:pt x="29146" y="124111"/>
                  </a:lnTo>
                  <a:lnTo>
                    <a:pt x="25622" y="134207"/>
                  </a:lnTo>
                  <a:lnTo>
                    <a:pt x="32766" y="139732"/>
                  </a:lnTo>
                  <a:lnTo>
                    <a:pt x="37147" y="135922"/>
                  </a:lnTo>
                  <a:lnTo>
                    <a:pt x="41243" y="143446"/>
                  </a:lnTo>
                  <a:lnTo>
                    <a:pt x="44386" y="143066"/>
                  </a:lnTo>
                  <a:lnTo>
                    <a:pt x="39910" y="145256"/>
                  </a:lnTo>
                  <a:lnTo>
                    <a:pt x="36100" y="140875"/>
                  </a:lnTo>
                  <a:lnTo>
                    <a:pt x="33338" y="144494"/>
                  </a:lnTo>
                  <a:lnTo>
                    <a:pt x="30194" y="144875"/>
                  </a:lnTo>
                  <a:lnTo>
                    <a:pt x="28861" y="146685"/>
                  </a:lnTo>
                  <a:lnTo>
                    <a:pt x="31432" y="154305"/>
                  </a:lnTo>
                  <a:lnTo>
                    <a:pt x="33623" y="158877"/>
                  </a:lnTo>
                  <a:lnTo>
                    <a:pt x="33814" y="173260"/>
                  </a:lnTo>
                  <a:lnTo>
                    <a:pt x="27337" y="172498"/>
                  </a:lnTo>
                  <a:lnTo>
                    <a:pt x="22765" y="174689"/>
                  </a:lnTo>
                  <a:lnTo>
                    <a:pt x="21050" y="173260"/>
                  </a:lnTo>
                  <a:lnTo>
                    <a:pt x="21431" y="176403"/>
                  </a:lnTo>
                  <a:lnTo>
                    <a:pt x="18288" y="176879"/>
                  </a:lnTo>
                  <a:lnTo>
                    <a:pt x="16478" y="175450"/>
                  </a:lnTo>
                  <a:lnTo>
                    <a:pt x="13144" y="174308"/>
                  </a:lnTo>
                  <a:lnTo>
                    <a:pt x="11906" y="177641"/>
                  </a:lnTo>
                  <a:lnTo>
                    <a:pt x="8954" y="179642"/>
                  </a:lnTo>
                  <a:lnTo>
                    <a:pt x="9239" y="181261"/>
                  </a:lnTo>
                  <a:lnTo>
                    <a:pt x="12763" y="183928"/>
                  </a:lnTo>
                  <a:lnTo>
                    <a:pt x="24003" y="184118"/>
                  </a:lnTo>
                  <a:lnTo>
                    <a:pt x="22860" y="187547"/>
                  </a:lnTo>
                  <a:lnTo>
                    <a:pt x="27337" y="185356"/>
                  </a:lnTo>
                  <a:lnTo>
                    <a:pt x="28004" y="190024"/>
                  </a:lnTo>
                  <a:lnTo>
                    <a:pt x="26575" y="191834"/>
                  </a:lnTo>
                  <a:lnTo>
                    <a:pt x="24765" y="190500"/>
                  </a:lnTo>
                  <a:lnTo>
                    <a:pt x="23431" y="192215"/>
                  </a:lnTo>
                  <a:lnTo>
                    <a:pt x="18288" y="189643"/>
                  </a:lnTo>
                  <a:lnTo>
                    <a:pt x="18479" y="191262"/>
                  </a:lnTo>
                  <a:lnTo>
                    <a:pt x="21812" y="192405"/>
                  </a:lnTo>
                  <a:lnTo>
                    <a:pt x="20288" y="192596"/>
                  </a:lnTo>
                  <a:lnTo>
                    <a:pt x="15145" y="190119"/>
                  </a:lnTo>
                  <a:lnTo>
                    <a:pt x="11811" y="188881"/>
                  </a:lnTo>
                  <a:lnTo>
                    <a:pt x="6096" y="194405"/>
                  </a:lnTo>
                  <a:lnTo>
                    <a:pt x="0" y="196787"/>
                  </a:lnTo>
                  <a:lnTo>
                    <a:pt x="5334" y="200977"/>
                  </a:lnTo>
                  <a:lnTo>
                    <a:pt x="5715" y="204121"/>
                  </a:lnTo>
                  <a:lnTo>
                    <a:pt x="7239" y="203930"/>
                  </a:lnTo>
                  <a:lnTo>
                    <a:pt x="8096" y="210217"/>
                  </a:lnTo>
                  <a:lnTo>
                    <a:pt x="11621" y="212979"/>
                  </a:lnTo>
                  <a:lnTo>
                    <a:pt x="13240" y="212789"/>
                  </a:lnTo>
                  <a:lnTo>
                    <a:pt x="11811" y="214598"/>
                  </a:lnTo>
                  <a:lnTo>
                    <a:pt x="14954" y="214122"/>
                  </a:lnTo>
                  <a:lnTo>
                    <a:pt x="15430" y="217265"/>
                  </a:lnTo>
                  <a:lnTo>
                    <a:pt x="20574" y="219837"/>
                  </a:lnTo>
                  <a:lnTo>
                    <a:pt x="25717" y="222409"/>
                  </a:lnTo>
                  <a:lnTo>
                    <a:pt x="27432" y="223838"/>
                  </a:lnTo>
                  <a:lnTo>
                    <a:pt x="31623" y="218504"/>
                  </a:lnTo>
                  <a:lnTo>
                    <a:pt x="39910" y="220599"/>
                  </a:lnTo>
                  <a:lnTo>
                    <a:pt x="38481" y="222409"/>
                  </a:lnTo>
                  <a:lnTo>
                    <a:pt x="36767" y="220980"/>
                  </a:lnTo>
                  <a:lnTo>
                    <a:pt x="40481" y="225362"/>
                  </a:lnTo>
                  <a:lnTo>
                    <a:pt x="43434" y="223361"/>
                  </a:lnTo>
                  <a:lnTo>
                    <a:pt x="48577" y="225933"/>
                  </a:lnTo>
                  <a:lnTo>
                    <a:pt x="44196" y="229648"/>
                  </a:lnTo>
                  <a:lnTo>
                    <a:pt x="41053" y="230029"/>
                  </a:lnTo>
                  <a:lnTo>
                    <a:pt x="43053" y="232981"/>
                  </a:lnTo>
                  <a:lnTo>
                    <a:pt x="46387" y="234220"/>
                  </a:lnTo>
                  <a:lnTo>
                    <a:pt x="49625" y="233839"/>
                  </a:lnTo>
                  <a:lnTo>
                    <a:pt x="49816" y="235363"/>
                  </a:lnTo>
                  <a:lnTo>
                    <a:pt x="51149" y="233648"/>
                  </a:lnTo>
                  <a:lnTo>
                    <a:pt x="52959" y="234982"/>
                  </a:lnTo>
                  <a:lnTo>
                    <a:pt x="58102" y="237554"/>
                  </a:lnTo>
                  <a:lnTo>
                    <a:pt x="65342" y="231839"/>
                  </a:lnTo>
                  <a:lnTo>
                    <a:pt x="67151" y="233172"/>
                  </a:lnTo>
                  <a:lnTo>
                    <a:pt x="67532" y="236315"/>
                  </a:lnTo>
                  <a:lnTo>
                    <a:pt x="69342" y="237744"/>
                  </a:lnTo>
                  <a:lnTo>
                    <a:pt x="66389" y="239649"/>
                  </a:lnTo>
                  <a:lnTo>
                    <a:pt x="67151" y="246031"/>
                  </a:lnTo>
                  <a:lnTo>
                    <a:pt x="70294" y="245555"/>
                  </a:lnTo>
                  <a:lnTo>
                    <a:pt x="73819" y="235553"/>
                  </a:lnTo>
                  <a:lnTo>
                    <a:pt x="75819" y="238506"/>
                  </a:lnTo>
                  <a:lnTo>
                    <a:pt x="74676" y="241840"/>
                  </a:lnTo>
                  <a:lnTo>
                    <a:pt x="77819" y="241459"/>
                  </a:lnTo>
                  <a:lnTo>
                    <a:pt x="76867" y="246412"/>
                  </a:lnTo>
                  <a:lnTo>
                    <a:pt x="77438" y="251079"/>
                  </a:lnTo>
                  <a:lnTo>
                    <a:pt x="76105" y="252889"/>
                  </a:lnTo>
                  <a:lnTo>
                    <a:pt x="68580" y="257080"/>
                  </a:lnTo>
                  <a:lnTo>
                    <a:pt x="68771" y="258604"/>
                  </a:lnTo>
                  <a:lnTo>
                    <a:pt x="70771" y="261556"/>
                  </a:lnTo>
                  <a:lnTo>
                    <a:pt x="79438" y="266890"/>
                  </a:lnTo>
                  <a:lnTo>
                    <a:pt x="98774" y="280416"/>
                  </a:lnTo>
                  <a:lnTo>
                    <a:pt x="100203" y="278702"/>
                  </a:lnTo>
                  <a:lnTo>
                    <a:pt x="103346" y="278225"/>
                  </a:lnTo>
                  <a:lnTo>
                    <a:pt x="105537" y="282797"/>
                  </a:lnTo>
                  <a:lnTo>
                    <a:pt x="106871" y="280988"/>
                  </a:lnTo>
                  <a:lnTo>
                    <a:pt x="108680" y="282416"/>
                  </a:lnTo>
                  <a:lnTo>
                    <a:pt x="110490" y="283750"/>
                  </a:lnTo>
                  <a:lnTo>
                    <a:pt x="109252" y="287179"/>
                  </a:lnTo>
                  <a:lnTo>
                    <a:pt x="112681" y="288322"/>
                  </a:lnTo>
                  <a:lnTo>
                    <a:pt x="115443" y="284798"/>
                  </a:lnTo>
                  <a:lnTo>
                    <a:pt x="119348" y="290703"/>
                  </a:lnTo>
                  <a:lnTo>
                    <a:pt x="116776" y="295847"/>
                  </a:lnTo>
                  <a:lnTo>
                    <a:pt x="118586" y="297180"/>
                  </a:lnTo>
                  <a:lnTo>
                    <a:pt x="117634" y="302133"/>
                  </a:lnTo>
                  <a:lnTo>
                    <a:pt x="119634" y="305086"/>
                  </a:lnTo>
                  <a:lnTo>
                    <a:pt x="116205" y="303943"/>
                  </a:lnTo>
                  <a:lnTo>
                    <a:pt x="111728" y="306038"/>
                  </a:lnTo>
                  <a:lnTo>
                    <a:pt x="107537" y="311372"/>
                  </a:lnTo>
                  <a:lnTo>
                    <a:pt x="117062" y="322993"/>
                  </a:lnTo>
                  <a:lnTo>
                    <a:pt x="118872" y="324422"/>
                  </a:lnTo>
                  <a:lnTo>
                    <a:pt x="120682" y="325755"/>
                  </a:lnTo>
                  <a:lnTo>
                    <a:pt x="121063" y="328898"/>
                  </a:lnTo>
                  <a:lnTo>
                    <a:pt x="119825" y="332327"/>
                  </a:lnTo>
                  <a:lnTo>
                    <a:pt x="118491" y="334042"/>
                  </a:lnTo>
                  <a:lnTo>
                    <a:pt x="114967" y="331280"/>
                  </a:lnTo>
                  <a:lnTo>
                    <a:pt x="115919" y="339185"/>
                  </a:lnTo>
                  <a:lnTo>
                    <a:pt x="114395" y="339376"/>
                  </a:lnTo>
                  <a:lnTo>
                    <a:pt x="113347" y="344329"/>
                  </a:lnTo>
                  <a:lnTo>
                    <a:pt x="111823" y="344519"/>
                  </a:lnTo>
                  <a:lnTo>
                    <a:pt x="112014" y="346139"/>
                  </a:lnTo>
                  <a:lnTo>
                    <a:pt x="106680" y="354806"/>
                  </a:lnTo>
                  <a:lnTo>
                    <a:pt x="110300" y="357569"/>
                  </a:lnTo>
                  <a:lnTo>
                    <a:pt x="107251" y="359569"/>
                  </a:lnTo>
                  <a:lnTo>
                    <a:pt x="98012" y="362331"/>
                  </a:lnTo>
                  <a:lnTo>
                    <a:pt x="96488" y="362522"/>
                  </a:lnTo>
                  <a:lnTo>
                    <a:pt x="96869" y="365665"/>
                  </a:lnTo>
                  <a:lnTo>
                    <a:pt x="96869" y="365665"/>
                  </a:lnTo>
                  <a:lnTo>
                    <a:pt x="95726" y="369094"/>
                  </a:lnTo>
                  <a:lnTo>
                    <a:pt x="100775" y="371570"/>
                  </a:lnTo>
                  <a:lnTo>
                    <a:pt x="100013" y="378143"/>
                  </a:lnTo>
                  <a:lnTo>
                    <a:pt x="99060" y="383095"/>
                  </a:lnTo>
                  <a:lnTo>
                    <a:pt x="100870" y="384429"/>
                  </a:lnTo>
                  <a:lnTo>
                    <a:pt x="100108" y="390906"/>
                  </a:lnTo>
                  <a:lnTo>
                    <a:pt x="98488" y="391192"/>
                  </a:lnTo>
                  <a:lnTo>
                    <a:pt x="96488" y="388239"/>
                  </a:lnTo>
                  <a:lnTo>
                    <a:pt x="93917" y="393287"/>
                  </a:lnTo>
                  <a:lnTo>
                    <a:pt x="97536" y="396049"/>
                  </a:lnTo>
                  <a:lnTo>
                    <a:pt x="98298" y="402431"/>
                  </a:lnTo>
                  <a:lnTo>
                    <a:pt x="95155" y="402812"/>
                  </a:lnTo>
                  <a:lnTo>
                    <a:pt x="105823" y="411099"/>
                  </a:lnTo>
                  <a:lnTo>
                    <a:pt x="110966" y="413576"/>
                  </a:lnTo>
                  <a:lnTo>
                    <a:pt x="114776" y="417957"/>
                  </a:lnTo>
                  <a:lnTo>
                    <a:pt x="118491" y="422243"/>
                  </a:lnTo>
                  <a:lnTo>
                    <a:pt x="122015" y="425006"/>
                  </a:lnTo>
                  <a:lnTo>
                    <a:pt x="128588" y="425768"/>
                  </a:lnTo>
                  <a:lnTo>
                    <a:pt x="137827" y="435864"/>
                  </a:lnTo>
                  <a:lnTo>
                    <a:pt x="142589" y="435293"/>
                  </a:lnTo>
                  <a:lnTo>
                    <a:pt x="142970" y="438436"/>
                  </a:lnTo>
                  <a:lnTo>
                    <a:pt x="144971" y="441389"/>
                  </a:lnTo>
                  <a:lnTo>
                    <a:pt x="151257" y="440531"/>
                  </a:lnTo>
                  <a:lnTo>
                    <a:pt x="150304" y="445484"/>
                  </a:lnTo>
                  <a:lnTo>
                    <a:pt x="150495" y="447103"/>
                  </a:lnTo>
                  <a:lnTo>
                    <a:pt x="154305" y="451390"/>
                  </a:lnTo>
                  <a:lnTo>
                    <a:pt x="157448" y="451009"/>
                  </a:lnTo>
                  <a:lnTo>
                    <a:pt x="159258" y="452342"/>
                  </a:lnTo>
                  <a:lnTo>
                    <a:pt x="162401" y="451961"/>
                  </a:lnTo>
                  <a:lnTo>
                    <a:pt x="160972" y="453771"/>
                  </a:lnTo>
                  <a:lnTo>
                    <a:pt x="163163" y="458248"/>
                  </a:lnTo>
                  <a:lnTo>
                    <a:pt x="160401" y="461867"/>
                  </a:lnTo>
                  <a:lnTo>
                    <a:pt x="162401" y="464820"/>
                  </a:lnTo>
                  <a:lnTo>
                    <a:pt x="163354" y="459867"/>
                  </a:lnTo>
                  <a:lnTo>
                    <a:pt x="163735" y="463010"/>
                  </a:lnTo>
                  <a:lnTo>
                    <a:pt x="166497" y="459486"/>
                  </a:lnTo>
                  <a:lnTo>
                    <a:pt x="168497" y="462439"/>
                  </a:lnTo>
                  <a:lnTo>
                    <a:pt x="171450" y="460439"/>
                  </a:lnTo>
                  <a:lnTo>
                    <a:pt x="174784" y="461582"/>
                  </a:lnTo>
                  <a:lnTo>
                    <a:pt x="181165" y="460819"/>
                  </a:lnTo>
                  <a:lnTo>
                    <a:pt x="181356" y="462344"/>
                  </a:lnTo>
                  <a:lnTo>
                    <a:pt x="184499" y="461963"/>
                  </a:lnTo>
                  <a:lnTo>
                    <a:pt x="184309" y="460439"/>
                  </a:lnTo>
                  <a:lnTo>
                    <a:pt x="189071" y="459772"/>
                  </a:lnTo>
                  <a:lnTo>
                    <a:pt x="188595" y="456628"/>
                  </a:lnTo>
                  <a:lnTo>
                    <a:pt x="194977" y="455867"/>
                  </a:lnTo>
                  <a:lnTo>
                    <a:pt x="193738" y="459200"/>
                  </a:lnTo>
                  <a:lnTo>
                    <a:pt x="197929" y="466725"/>
                  </a:lnTo>
                  <a:lnTo>
                    <a:pt x="199263" y="464915"/>
                  </a:lnTo>
                  <a:lnTo>
                    <a:pt x="201073" y="466249"/>
                  </a:lnTo>
                  <a:lnTo>
                    <a:pt x="207359" y="465487"/>
                  </a:lnTo>
                  <a:lnTo>
                    <a:pt x="207931" y="457390"/>
                  </a:lnTo>
                  <a:lnTo>
                    <a:pt x="210693" y="453866"/>
                  </a:lnTo>
                  <a:lnTo>
                    <a:pt x="214694" y="459772"/>
                  </a:lnTo>
                  <a:lnTo>
                    <a:pt x="216503" y="461105"/>
                  </a:lnTo>
                  <a:lnTo>
                    <a:pt x="219646" y="460724"/>
                  </a:lnTo>
                  <a:lnTo>
                    <a:pt x="219837" y="462344"/>
                  </a:lnTo>
                  <a:lnTo>
                    <a:pt x="227743" y="461296"/>
                  </a:lnTo>
                  <a:lnTo>
                    <a:pt x="229648" y="464248"/>
                  </a:lnTo>
                  <a:lnTo>
                    <a:pt x="226504" y="464630"/>
                  </a:lnTo>
                  <a:lnTo>
                    <a:pt x="226886" y="467773"/>
                  </a:lnTo>
                  <a:lnTo>
                    <a:pt x="230696" y="472154"/>
                  </a:lnTo>
                  <a:lnTo>
                    <a:pt x="235077" y="468344"/>
                  </a:lnTo>
                  <a:lnTo>
                    <a:pt x="235648" y="473107"/>
                  </a:lnTo>
                  <a:lnTo>
                    <a:pt x="240602" y="474059"/>
                  </a:lnTo>
                  <a:lnTo>
                    <a:pt x="244697" y="468725"/>
                  </a:lnTo>
                  <a:lnTo>
                    <a:pt x="243554" y="472059"/>
                  </a:lnTo>
                  <a:lnTo>
                    <a:pt x="246888" y="473297"/>
                  </a:lnTo>
                  <a:lnTo>
                    <a:pt x="247650" y="479584"/>
                  </a:lnTo>
                  <a:lnTo>
                    <a:pt x="249269" y="479393"/>
                  </a:lnTo>
                  <a:lnTo>
                    <a:pt x="251079" y="480727"/>
                  </a:lnTo>
                  <a:lnTo>
                    <a:pt x="252603" y="480536"/>
                  </a:lnTo>
                  <a:lnTo>
                    <a:pt x="251460" y="483965"/>
                  </a:lnTo>
                  <a:lnTo>
                    <a:pt x="249841" y="484156"/>
                  </a:lnTo>
                  <a:lnTo>
                    <a:pt x="251650" y="485489"/>
                  </a:lnTo>
                  <a:lnTo>
                    <a:pt x="253174" y="485299"/>
                  </a:lnTo>
                  <a:lnTo>
                    <a:pt x="253460" y="486918"/>
                  </a:lnTo>
                  <a:lnTo>
                    <a:pt x="256413" y="484918"/>
                  </a:lnTo>
                  <a:lnTo>
                    <a:pt x="258128" y="486251"/>
                  </a:lnTo>
                  <a:lnTo>
                    <a:pt x="260318" y="490823"/>
                  </a:lnTo>
                  <a:lnTo>
                    <a:pt x="258985" y="492633"/>
                  </a:lnTo>
                  <a:lnTo>
                    <a:pt x="267462" y="496348"/>
                  </a:lnTo>
                  <a:lnTo>
                    <a:pt x="267271" y="494728"/>
                  </a:lnTo>
                  <a:lnTo>
                    <a:pt x="276701" y="493490"/>
                  </a:lnTo>
                  <a:lnTo>
                    <a:pt x="282035" y="497681"/>
                  </a:lnTo>
                  <a:lnTo>
                    <a:pt x="286798" y="497015"/>
                  </a:lnTo>
                  <a:lnTo>
                    <a:pt x="291941" y="499586"/>
                  </a:lnTo>
                  <a:lnTo>
                    <a:pt x="291560" y="496443"/>
                  </a:lnTo>
                  <a:lnTo>
                    <a:pt x="296228" y="495872"/>
                  </a:lnTo>
                  <a:lnTo>
                    <a:pt x="293941" y="502539"/>
                  </a:lnTo>
                  <a:lnTo>
                    <a:pt x="290608" y="514255"/>
                  </a:lnTo>
                  <a:lnTo>
                    <a:pt x="292132" y="514064"/>
                  </a:lnTo>
                  <a:lnTo>
                    <a:pt x="291560" y="522065"/>
                  </a:lnTo>
                  <a:lnTo>
                    <a:pt x="293561" y="525113"/>
                  </a:lnTo>
                  <a:lnTo>
                    <a:pt x="296704" y="524637"/>
                  </a:lnTo>
                  <a:lnTo>
                    <a:pt x="301085" y="520922"/>
                  </a:lnTo>
                  <a:lnTo>
                    <a:pt x="302800" y="522256"/>
                  </a:lnTo>
                  <a:lnTo>
                    <a:pt x="302609" y="520732"/>
                  </a:lnTo>
                  <a:lnTo>
                    <a:pt x="305562" y="518732"/>
                  </a:lnTo>
                  <a:lnTo>
                    <a:pt x="309372" y="523018"/>
                  </a:lnTo>
                  <a:lnTo>
                    <a:pt x="313849" y="520827"/>
                  </a:lnTo>
                  <a:lnTo>
                    <a:pt x="315849" y="523875"/>
                  </a:lnTo>
                  <a:lnTo>
                    <a:pt x="320992" y="526352"/>
                  </a:lnTo>
                  <a:lnTo>
                    <a:pt x="321183" y="527971"/>
                  </a:lnTo>
                  <a:lnTo>
                    <a:pt x="324326" y="527590"/>
                  </a:lnTo>
                  <a:lnTo>
                    <a:pt x="330708" y="539591"/>
                  </a:lnTo>
                  <a:lnTo>
                    <a:pt x="342138" y="541306"/>
                  </a:lnTo>
                  <a:lnTo>
                    <a:pt x="344329" y="545878"/>
                  </a:lnTo>
                  <a:lnTo>
                    <a:pt x="350234" y="541877"/>
                  </a:lnTo>
                  <a:lnTo>
                    <a:pt x="354521" y="538163"/>
                  </a:lnTo>
                  <a:lnTo>
                    <a:pt x="354616" y="550926"/>
                  </a:lnTo>
                  <a:lnTo>
                    <a:pt x="350044" y="553117"/>
                  </a:lnTo>
                  <a:lnTo>
                    <a:pt x="343567" y="565214"/>
                  </a:lnTo>
                  <a:lnTo>
                    <a:pt x="349282" y="572453"/>
                  </a:lnTo>
                  <a:lnTo>
                    <a:pt x="348139" y="575882"/>
                  </a:lnTo>
                  <a:lnTo>
                    <a:pt x="358807" y="584073"/>
                  </a:lnTo>
                  <a:lnTo>
                    <a:pt x="366713" y="583120"/>
                  </a:lnTo>
                  <a:lnTo>
                    <a:pt x="377190" y="589788"/>
                  </a:lnTo>
                  <a:lnTo>
                    <a:pt x="382143" y="590740"/>
                  </a:lnTo>
                  <a:lnTo>
                    <a:pt x="382333" y="592360"/>
                  </a:lnTo>
                  <a:lnTo>
                    <a:pt x="384143" y="593693"/>
                  </a:lnTo>
                  <a:lnTo>
                    <a:pt x="393382" y="603790"/>
                  </a:lnTo>
                  <a:lnTo>
                    <a:pt x="396526" y="603314"/>
                  </a:lnTo>
                  <a:lnTo>
                    <a:pt x="399479" y="601409"/>
                  </a:lnTo>
                  <a:lnTo>
                    <a:pt x="404241" y="600742"/>
                  </a:lnTo>
                  <a:lnTo>
                    <a:pt x="409384" y="603314"/>
                  </a:lnTo>
                  <a:lnTo>
                    <a:pt x="414147" y="602742"/>
                  </a:lnTo>
                  <a:lnTo>
                    <a:pt x="413956" y="601123"/>
                  </a:lnTo>
                  <a:lnTo>
                    <a:pt x="421577" y="598551"/>
                  </a:lnTo>
                  <a:lnTo>
                    <a:pt x="416623" y="584740"/>
                  </a:lnTo>
                  <a:lnTo>
                    <a:pt x="428054" y="586549"/>
                  </a:lnTo>
                  <a:lnTo>
                    <a:pt x="429482" y="584740"/>
                  </a:lnTo>
                  <a:lnTo>
                    <a:pt x="431006" y="584549"/>
                  </a:lnTo>
                  <a:lnTo>
                    <a:pt x="428244" y="575215"/>
                  </a:lnTo>
                  <a:lnTo>
                    <a:pt x="430244" y="565404"/>
                  </a:lnTo>
                  <a:lnTo>
                    <a:pt x="445961" y="550545"/>
                  </a:lnTo>
                  <a:lnTo>
                    <a:pt x="446722" y="544068"/>
                  </a:lnTo>
                  <a:lnTo>
                    <a:pt x="451485" y="543401"/>
                  </a:lnTo>
                  <a:lnTo>
                    <a:pt x="453485" y="546354"/>
                  </a:lnTo>
                  <a:lnTo>
                    <a:pt x="456438" y="544449"/>
                  </a:lnTo>
                  <a:lnTo>
                    <a:pt x="455200" y="547783"/>
                  </a:lnTo>
                  <a:lnTo>
                    <a:pt x="453866" y="549593"/>
                  </a:lnTo>
                  <a:lnTo>
                    <a:pt x="456057" y="554069"/>
                  </a:lnTo>
                  <a:lnTo>
                    <a:pt x="454438" y="554260"/>
                  </a:lnTo>
                  <a:lnTo>
                    <a:pt x="455105" y="559022"/>
                  </a:lnTo>
                  <a:lnTo>
                    <a:pt x="464153" y="567499"/>
                  </a:lnTo>
                  <a:lnTo>
                    <a:pt x="469106" y="568452"/>
                  </a:lnTo>
                  <a:lnTo>
                    <a:pt x="473773" y="567881"/>
                  </a:lnTo>
                  <a:lnTo>
                    <a:pt x="475774" y="570833"/>
                  </a:lnTo>
                  <a:lnTo>
                    <a:pt x="482537" y="573119"/>
                  </a:lnTo>
                  <a:lnTo>
                    <a:pt x="484251" y="574548"/>
                  </a:lnTo>
                  <a:lnTo>
                    <a:pt x="486823" y="569405"/>
                  </a:lnTo>
                  <a:lnTo>
                    <a:pt x="490252" y="570548"/>
                  </a:lnTo>
                  <a:lnTo>
                    <a:pt x="493395" y="570167"/>
                  </a:lnTo>
                  <a:lnTo>
                    <a:pt x="498538" y="572738"/>
                  </a:lnTo>
                  <a:lnTo>
                    <a:pt x="500063" y="572548"/>
                  </a:lnTo>
                  <a:lnTo>
                    <a:pt x="503872" y="576834"/>
                  </a:lnTo>
                  <a:lnTo>
                    <a:pt x="507397" y="579596"/>
                  </a:lnTo>
                  <a:lnTo>
                    <a:pt x="507587" y="581215"/>
                  </a:lnTo>
                  <a:lnTo>
                    <a:pt x="513112" y="586931"/>
                  </a:lnTo>
                  <a:lnTo>
                    <a:pt x="516541" y="600932"/>
                  </a:lnTo>
                  <a:lnTo>
                    <a:pt x="522065" y="606647"/>
                  </a:lnTo>
                  <a:lnTo>
                    <a:pt x="526161" y="601313"/>
                  </a:lnTo>
                  <a:lnTo>
                    <a:pt x="529590" y="602456"/>
                  </a:lnTo>
                  <a:lnTo>
                    <a:pt x="529399" y="600837"/>
                  </a:lnTo>
                  <a:lnTo>
                    <a:pt x="539210" y="602837"/>
                  </a:lnTo>
                  <a:lnTo>
                    <a:pt x="548069" y="596836"/>
                  </a:lnTo>
                  <a:lnTo>
                    <a:pt x="551879" y="601218"/>
                  </a:lnTo>
                  <a:lnTo>
                    <a:pt x="555784" y="607124"/>
                  </a:lnTo>
                  <a:lnTo>
                    <a:pt x="554641" y="610457"/>
                  </a:lnTo>
                  <a:lnTo>
                    <a:pt x="557974" y="611695"/>
                  </a:lnTo>
                  <a:lnTo>
                    <a:pt x="562356" y="607886"/>
                  </a:lnTo>
                  <a:lnTo>
                    <a:pt x="568642" y="607124"/>
                  </a:lnTo>
                  <a:lnTo>
                    <a:pt x="572357" y="611410"/>
                  </a:lnTo>
                  <a:lnTo>
                    <a:pt x="579501" y="616934"/>
                  </a:lnTo>
                  <a:lnTo>
                    <a:pt x="582644" y="616553"/>
                  </a:lnTo>
                  <a:lnTo>
                    <a:pt x="583692" y="611600"/>
                  </a:lnTo>
                  <a:lnTo>
                    <a:pt x="586835" y="611219"/>
                  </a:lnTo>
                  <a:lnTo>
                    <a:pt x="589216" y="617315"/>
                  </a:lnTo>
                  <a:lnTo>
                    <a:pt x="594550" y="621411"/>
                  </a:lnTo>
                  <a:lnTo>
                    <a:pt x="594931" y="624554"/>
                  </a:lnTo>
                  <a:lnTo>
                    <a:pt x="599694" y="623983"/>
                  </a:lnTo>
                  <a:lnTo>
                    <a:pt x="601408" y="625316"/>
                  </a:lnTo>
                  <a:lnTo>
                    <a:pt x="602837" y="623602"/>
                  </a:lnTo>
                  <a:lnTo>
                    <a:pt x="609695" y="627507"/>
                  </a:lnTo>
                  <a:lnTo>
                    <a:pt x="617982" y="629698"/>
                  </a:lnTo>
                  <a:lnTo>
                    <a:pt x="621792" y="633984"/>
                  </a:lnTo>
                  <a:lnTo>
                    <a:pt x="631507" y="647224"/>
                  </a:lnTo>
                  <a:lnTo>
                    <a:pt x="637222" y="654463"/>
                  </a:lnTo>
                  <a:lnTo>
                    <a:pt x="642366" y="657035"/>
                  </a:lnTo>
                  <a:lnTo>
                    <a:pt x="640366" y="666940"/>
                  </a:lnTo>
                  <a:lnTo>
                    <a:pt x="647129" y="669227"/>
                  </a:lnTo>
                  <a:lnTo>
                    <a:pt x="650653" y="671989"/>
                  </a:lnTo>
                  <a:lnTo>
                    <a:pt x="653034" y="678085"/>
                  </a:lnTo>
                  <a:lnTo>
                    <a:pt x="657987" y="679132"/>
                  </a:lnTo>
                  <a:lnTo>
                    <a:pt x="661130" y="678656"/>
                  </a:lnTo>
                  <a:lnTo>
                    <a:pt x="663702" y="673513"/>
                  </a:lnTo>
                  <a:lnTo>
                    <a:pt x="670846" y="679037"/>
                  </a:lnTo>
                  <a:lnTo>
                    <a:pt x="673798" y="677037"/>
                  </a:lnTo>
                  <a:lnTo>
                    <a:pt x="682657" y="683990"/>
                  </a:lnTo>
                  <a:lnTo>
                    <a:pt x="688943" y="683133"/>
                  </a:lnTo>
                  <a:lnTo>
                    <a:pt x="695706" y="685514"/>
                  </a:lnTo>
                  <a:lnTo>
                    <a:pt x="698087" y="691610"/>
                  </a:lnTo>
                  <a:lnTo>
                    <a:pt x="703802" y="698945"/>
                  </a:lnTo>
                  <a:lnTo>
                    <a:pt x="710184" y="698087"/>
                  </a:lnTo>
                  <a:lnTo>
                    <a:pt x="715708" y="703802"/>
                  </a:lnTo>
                  <a:lnTo>
                    <a:pt x="716280" y="708565"/>
                  </a:lnTo>
                  <a:lnTo>
                    <a:pt x="725996" y="721709"/>
                  </a:lnTo>
                  <a:lnTo>
                    <a:pt x="729329" y="722948"/>
                  </a:lnTo>
                  <a:lnTo>
                    <a:pt x="733330" y="728853"/>
                  </a:lnTo>
                  <a:lnTo>
                    <a:pt x="738378" y="731425"/>
                  </a:lnTo>
                  <a:lnTo>
                    <a:pt x="737616" y="725043"/>
                  </a:lnTo>
                  <a:lnTo>
                    <a:pt x="746284" y="717518"/>
                  </a:lnTo>
                  <a:lnTo>
                    <a:pt x="743712" y="709898"/>
                  </a:lnTo>
                  <a:lnTo>
                    <a:pt x="744664" y="704945"/>
                  </a:lnTo>
                  <a:lnTo>
                    <a:pt x="751427" y="707327"/>
                  </a:lnTo>
                  <a:lnTo>
                    <a:pt x="755904" y="705136"/>
                  </a:lnTo>
                  <a:lnTo>
                    <a:pt x="758476" y="699992"/>
                  </a:lnTo>
                  <a:lnTo>
                    <a:pt x="760286" y="701326"/>
                  </a:lnTo>
                  <a:lnTo>
                    <a:pt x="761809" y="701135"/>
                  </a:lnTo>
                  <a:lnTo>
                    <a:pt x="766953" y="703707"/>
                  </a:lnTo>
                  <a:lnTo>
                    <a:pt x="765048" y="713613"/>
                  </a:lnTo>
                  <a:lnTo>
                    <a:pt x="768191" y="713137"/>
                  </a:lnTo>
                  <a:lnTo>
                    <a:pt x="771144" y="711232"/>
                  </a:lnTo>
                  <a:lnTo>
                    <a:pt x="774287" y="710756"/>
                  </a:lnTo>
                  <a:lnTo>
                    <a:pt x="777240" y="708851"/>
                  </a:lnTo>
                  <a:lnTo>
                    <a:pt x="783812" y="709613"/>
                  </a:lnTo>
                  <a:lnTo>
                    <a:pt x="793813" y="700278"/>
                  </a:lnTo>
                  <a:lnTo>
                    <a:pt x="796957" y="699897"/>
                  </a:lnTo>
                  <a:lnTo>
                    <a:pt x="804481" y="708565"/>
                  </a:lnTo>
                  <a:lnTo>
                    <a:pt x="806291" y="709898"/>
                  </a:lnTo>
                  <a:lnTo>
                    <a:pt x="809244" y="707898"/>
                  </a:lnTo>
                  <a:lnTo>
                    <a:pt x="810958" y="709327"/>
                  </a:lnTo>
                  <a:lnTo>
                    <a:pt x="814388" y="710470"/>
                  </a:lnTo>
                  <a:lnTo>
                    <a:pt x="813911" y="707327"/>
                  </a:lnTo>
                  <a:lnTo>
                    <a:pt x="826961" y="708851"/>
                  </a:lnTo>
                  <a:lnTo>
                    <a:pt x="829913" y="706945"/>
                  </a:lnTo>
                  <a:lnTo>
                    <a:pt x="830294" y="710089"/>
                  </a:lnTo>
                  <a:lnTo>
                    <a:pt x="833247" y="708089"/>
                  </a:lnTo>
                  <a:lnTo>
                    <a:pt x="832866" y="704945"/>
                  </a:lnTo>
                  <a:lnTo>
                    <a:pt x="830485" y="698849"/>
                  </a:lnTo>
                  <a:lnTo>
                    <a:pt x="834390" y="691896"/>
                  </a:lnTo>
                  <a:lnTo>
                    <a:pt x="834199" y="690277"/>
                  </a:lnTo>
                  <a:lnTo>
                    <a:pt x="835628" y="688562"/>
                  </a:lnTo>
                  <a:lnTo>
                    <a:pt x="834962" y="683800"/>
                  </a:lnTo>
                  <a:lnTo>
                    <a:pt x="834009" y="675894"/>
                  </a:lnTo>
                  <a:lnTo>
                    <a:pt x="838105" y="670560"/>
                  </a:lnTo>
                  <a:lnTo>
                    <a:pt x="837724" y="667417"/>
                  </a:lnTo>
                  <a:lnTo>
                    <a:pt x="840677" y="665417"/>
                  </a:lnTo>
                  <a:lnTo>
                    <a:pt x="845439" y="664845"/>
                  </a:lnTo>
                  <a:lnTo>
                    <a:pt x="848963" y="667607"/>
                  </a:lnTo>
                  <a:lnTo>
                    <a:pt x="850582" y="667417"/>
                  </a:lnTo>
                  <a:lnTo>
                    <a:pt x="854869" y="663607"/>
                  </a:lnTo>
                  <a:lnTo>
                    <a:pt x="855536" y="668369"/>
                  </a:lnTo>
                  <a:lnTo>
                    <a:pt x="862394" y="672274"/>
                  </a:lnTo>
                  <a:lnTo>
                    <a:pt x="866775" y="668560"/>
                  </a:lnTo>
                  <a:lnTo>
                    <a:pt x="871919" y="671132"/>
                  </a:lnTo>
                  <a:lnTo>
                    <a:pt x="875252" y="672274"/>
                  </a:lnTo>
                  <a:lnTo>
                    <a:pt x="875252" y="672274"/>
                  </a:lnTo>
                  <a:lnTo>
                    <a:pt x="883158" y="671227"/>
                  </a:lnTo>
                  <a:lnTo>
                    <a:pt x="882872" y="669703"/>
                  </a:lnTo>
                  <a:lnTo>
                    <a:pt x="886111" y="669322"/>
                  </a:lnTo>
                  <a:lnTo>
                    <a:pt x="884111" y="666369"/>
                  </a:lnTo>
                  <a:lnTo>
                    <a:pt x="885063" y="661416"/>
                  </a:lnTo>
                  <a:lnTo>
                    <a:pt x="886682" y="661226"/>
                  </a:lnTo>
                  <a:lnTo>
                    <a:pt x="896683" y="664750"/>
                  </a:lnTo>
                  <a:lnTo>
                    <a:pt x="909352" y="675894"/>
                  </a:lnTo>
                  <a:lnTo>
                    <a:pt x="914876" y="668845"/>
                  </a:lnTo>
                  <a:lnTo>
                    <a:pt x="921639" y="671132"/>
                  </a:lnTo>
                  <a:lnTo>
                    <a:pt x="921163" y="667988"/>
                  </a:lnTo>
                  <a:lnTo>
                    <a:pt x="917829" y="666845"/>
                  </a:lnTo>
                  <a:lnTo>
                    <a:pt x="919258" y="665036"/>
                  </a:lnTo>
                  <a:lnTo>
                    <a:pt x="927925" y="670370"/>
                  </a:lnTo>
                  <a:lnTo>
                    <a:pt x="931259" y="671513"/>
                  </a:lnTo>
                  <a:lnTo>
                    <a:pt x="932688" y="669798"/>
                  </a:lnTo>
                  <a:lnTo>
                    <a:pt x="936022" y="670941"/>
                  </a:lnTo>
                  <a:lnTo>
                    <a:pt x="941927" y="666940"/>
                  </a:lnTo>
                  <a:lnTo>
                    <a:pt x="939165" y="670560"/>
                  </a:lnTo>
                  <a:lnTo>
                    <a:pt x="953929" y="673418"/>
                  </a:lnTo>
                  <a:lnTo>
                    <a:pt x="956310" y="679609"/>
                  </a:lnTo>
                  <a:lnTo>
                    <a:pt x="959739" y="680752"/>
                  </a:lnTo>
                  <a:lnTo>
                    <a:pt x="961263" y="680561"/>
                  </a:lnTo>
                  <a:lnTo>
                    <a:pt x="980027" y="689420"/>
                  </a:lnTo>
                  <a:lnTo>
                    <a:pt x="983361" y="690563"/>
                  </a:lnTo>
                  <a:lnTo>
                    <a:pt x="995458" y="697040"/>
                  </a:lnTo>
                  <a:lnTo>
                    <a:pt x="1002411" y="700945"/>
                  </a:lnTo>
                  <a:lnTo>
                    <a:pt x="1016413" y="697611"/>
                  </a:lnTo>
                  <a:lnTo>
                    <a:pt x="1014031" y="691515"/>
                  </a:lnTo>
                  <a:lnTo>
                    <a:pt x="1016984" y="689515"/>
                  </a:lnTo>
                  <a:lnTo>
                    <a:pt x="1018127" y="686086"/>
                  </a:lnTo>
                  <a:lnTo>
                    <a:pt x="1014413" y="681799"/>
                  </a:lnTo>
                  <a:lnTo>
                    <a:pt x="1018699" y="678085"/>
                  </a:lnTo>
                  <a:lnTo>
                    <a:pt x="1019270" y="669989"/>
                  </a:lnTo>
                  <a:lnTo>
                    <a:pt x="1020794" y="669798"/>
                  </a:lnTo>
                  <a:lnTo>
                    <a:pt x="1022032" y="666369"/>
                  </a:lnTo>
                  <a:lnTo>
                    <a:pt x="1021652" y="663226"/>
                  </a:lnTo>
                  <a:lnTo>
                    <a:pt x="1023366" y="664655"/>
                  </a:lnTo>
                  <a:lnTo>
                    <a:pt x="1023842" y="667798"/>
                  </a:lnTo>
                  <a:lnTo>
                    <a:pt x="1027366" y="670560"/>
                  </a:lnTo>
                  <a:lnTo>
                    <a:pt x="1028700" y="668750"/>
                  </a:lnTo>
                  <a:lnTo>
                    <a:pt x="1021461" y="661702"/>
                  </a:lnTo>
                  <a:lnTo>
                    <a:pt x="1015460" y="652844"/>
                  </a:lnTo>
                  <a:lnTo>
                    <a:pt x="1014698" y="646462"/>
                  </a:lnTo>
                  <a:lnTo>
                    <a:pt x="1016032" y="644747"/>
                  </a:lnTo>
                  <a:lnTo>
                    <a:pt x="1014413" y="632079"/>
                  </a:lnTo>
                  <a:lnTo>
                    <a:pt x="1019175" y="631507"/>
                  </a:lnTo>
                  <a:lnTo>
                    <a:pt x="1018604" y="626745"/>
                  </a:lnTo>
                  <a:lnTo>
                    <a:pt x="1022699" y="621411"/>
                  </a:lnTo>
                  <a:lnTo>
                    <a:pt x="1029176" y="622173"/>
                  </a:lnTo>
                  <a:lnTo>
                    <a:pt x="1030605" y="620363"/>
                  </a:lnTo>
                  <a:lnTo>
                    <a:pt x="1031938" y="618649"/>
                  </a:lnTo>
                  <a:lnTo>
                    <a:pt x="1029748" y="614077"/>
                  </a:lnTo>
                  <a:lnTo>
                    <a:pt x="1035939" y="611695"/>
                  </a:lnTo>
                  <a:lnTo>
                    <a:pt x="1039082" y="611315"/>
                  </a:lnTo>
                  <a:lnTo>
                    <a:pt x="1044607" y="604171"/>
                  </a:lnTo>
                  <a:lnTo>
                    <a:pt x="1042225" y="598075"/>
                  </a:lnTo>
                  <a:lnTo>
                    <a:pt x="1044702" y="580073"/>
                  </a:lnTo>
                  <a:lnTo>
                    <a:pt x="1044130" y="575405"/>
                  </a:lnTo>
                  <a:lnTo>
                    <a:pt x="1041178" y="577310"/>
                  </a:lnTo>
                  <a:lnTo>
                    <a:pt x="1040702" y="574167"/>
                  </a:lnTo>
                  <a:lnTo>
                    <a:pt x="1038987" y="572834"/>
                  </a:lnTo>
                  <a:lnTo>
                    <a:pt x="1042702" y="564356"/>
                  </a:lnTo>
                  <a:lnTo>
                    <a:pt x="1043464" y="557784"/>
                  </a:lnTo>
                  <a:lnTo>
                    <a:pt x="1036511" y="553879"/>
                  </a:lnTo>
                  <a:lnTo>
                    <a:pt x="1032605" y="547973"/>
                  </a:lnTo>
                  <a:lnTo>
                    <a:pt x="1026319" y="548735"/>
                  </a:lnTo>
                  <a:lnTo>
                    <a:pt x="1021747" y="550926"/>
                  </a:lnTo>
                  <a:lnTo>
                    <a:pt x="1019937" y="549593"/>
                  </a:lnTo>
                  <a:lnTo>
                    <a:pt x="1019365" y="544830"/>
                  </a:lnTo>
                  <a:lnTo>
                    <a:pt x="1014603" y="545497"/>
                  </a:lnTo>
                  <a:lnTo>
                    <a:pt x="1013650" y="550355"/>
                  </a:lnTo>
                  <a:lnTo>
                    <a:pt x="1008888" y="551021"/>
                  </a:lnTo>
                  <a:lnTo>
                    <a:pt x="1005745" y="551402"/>
                  </a:lnTo>
                  <a:lnTo>
                    <a:pt x="1003554" y="546830"/>
                  </a:lnTo>
                  <a:lnTo>
                    <a:pt x="1007936" y="543115"/>
                  </a:lnTo>
                  <a:lnTo>
                    <a:pt x="1011841" y="536162"/>
                  </a:lnTo>
                  <a:lnTo>
                    <a:pt x="1014984" y="535781"/>
                  </a:lnTo>
                  <a:lnTo>
                    <a:pt x="1018699" y="527304"/>
                  </a:lnTo>
                  <a:lnTo>
                    <a:pt x="1013555" y="524732"/>
                  </a:lnTo>
                  <a:lnTo>
                    <a:pt x="1004316" y="514731"/>
                  </a:lnTo>
                  <a:lnTo>
                    <a:pt x="1004125" y="513112"/>
                  </a:lnTo>
                  <a:lnTo>
                    <a:pt x="1008602" y="510921"/>
                  </a:lnTo>
                  <a:lnTo>
                    <a:pt x="1008412" y="509397"/>
                  </a:lnTo>
                  <a:lnTo>
                    <a:pt x="1008031" y="506159"/>
                  </a:lnTo>
                  <a:lnTo>
                    <a:pt x="1010983" y="504253"/>
                  </a:lnTo>
                  <a:lnTo>
                    <a:pt x="1006983" y="498348"/>
                  </a:lnTo>
                  <a:lnTo>
                    <a:pt x="1002125" y="497300"/>
                  </a:lnTo>
                  <a:lnTo>
                    <a:pt x="996791" y="493205"/>
                  </a:lnTo>
                  <a:lnTo>
                    <a:pt x="985075" y="477012"/>
                  </a:lnTo>
                  <a:lnTo>
                    <a:pt x="976979" y="463677"/>
                  </a:lnTo>
                  <a:lnTo>
                    <a:pt x="979265" y="456914"/>
                  </a:lnTo>
                  <a:lnTo>
                    <a:pt x="976884" y="450818"/>
                  </a:lnTo>
                  <a:lnTo>
                    <a:pt x="979646" y="447294"/>
                  </a:lnTo>
                  <a:lnTo>
                    <a:pt x="974503" y="444722"/>
                  </a:lnTo>
                  <a:lnTo>
                    <a:pt x="972598" y="441769"/>
                  </a:lnTo>
                  <a:lnTo>
                    <a:pt x="968978" y="439007"/>
                  </a:lnTo>
                  <a:lnTo>
                    <a:pt x="968788" y="437388"/>
                  </a:lnTo>
                  <a:lnTo>
                    <a:pt x="963835" y="436436"/>
                  </a:lnTo>
                  <a:lnTo>
                    <a:pt x="961263" y="428720"/>
                  </a:lnTo>
                  <a:lnTo>
                    <a:pt x="965168" y="421862"/>
                  </a:lnTo>
                  <a:lnTo>
                    <a:pt x="961644" y="419100"/>
                  </a:lnTo>
                  <a:lnTo>
                    <a:pt x="962406" y="412623"/>
                  </a:lnTo>
                  <a:lnTo>
                    <a:pt x="962406" y="399764"/>
                  </a:lnTo>
                  <a:lnTo>
                    <a:pt x="965168" y="396240"/>
                  </a:lnTo>
                  <a:lnTo>
                    <a:pt x="971074" y="392240"/>
                  </a:lnTo>
                  <a:lnTo>
                    <a:pt x="974217" y="391859"/>
                  </a:lnTo>
                  <a:lnTo>
                    <a:pt x="983075" y="385858"/>
                  </a:lnTo>
                  <a:lnTo>
                    <a:pt x="981265" y="384524"/>
                  </a:lnTo>
                  <a:lnTo>
                    <a:pt x="984218" y="382524"/>
                  </a:lnTo>
                  <a:lnTo>
                    <a:pt x="977551" y="380143"/>
                  </a:lnTo>
                  <a:lnTo>
                    <a:pt x="976503" y="372332"/>
                  </a:lnTo>
                  <a:lnTo>
                    <a:pt x="970216" y="360236"/>
                  </a:lnTo>
                  <a:lnTo>
                    <a:pt x="974122" y="353378"/>
                  </a:lnTo>
                  <a:lnTo>
                    <a:pt x="972122" y="350425"/>
                  </a:lnTo>
                  <a:lnTo>
                    <a:pt x="971359" y="344043"/>
                  </a:lnTo>
                  <a:lnTo>
                    <a:pt x="973931" y="338995"/>
                  </a:lnTo>
                  <a:lnTo>
                    <a:pt x="971740" y="334423"/>
                  </a:lnTo>
                  <a:lnTo>
                    <a:pt x="974217" y="329279"/>
                  </a:lnTo>
                  <a:lnTo>
                    <a:pt x="965740" y="325565"/>
                  </a:lnTo>
                  <a:lnTo>
                    <a:pt x="969455" y="317087"/>
                  </a:lnTo>
                  <a:lnTo>
                    <a:pt x="962597" y="313087"/>
                  </a:lnTo>
                  <a:lnTo>
                    <a:pt x="961168" y="302133"/>
                  </a:lnTo>
                  <a:lnTo>
                    <a:pt x="956024" y="299561"/>
                  </a:lnTo>
                  <a:lnTo>
                    <a:pt x="955453" y="294799"/>
                  </a:lnTo>
                  <a:lnTo>
                    <a:pt x="955834" y="285083"/>
                  </a:lnTo>
                  <a:lnTo>
                    <a:pt x="957929" y="276797"/>
                  </a:lnTo>
                  <a:lnTo>
                    <a:pt x="952405" y="271082"/>
                  </a:lnTo>
                  <a:lnTo>
                    <a:pt x="953357" y="266224"/>
                  </a:lnTo>
                  <a:lnTo>
                    <a:pt x="949452" y="260318"/>
                  </a:lnTo>
                  <a:lnTo>
                    <a:pt x="944118" y="256127"/>
                  </a:lnTo>
                  <a:lnTo>
                    <a:pt x="940308" y="238982"/>
                  </a:lnTo>
                  <a:lnTo>
                    <a:pt x="946404" y="236601"/>
                  </a:lnTo>
                  <a:lnTo>
                    <a:pt x="959453" y="238125"/>
                  </a:lnTo>
                  <a:lnTo>
                    <a:pt x="965168" y="245459"/>
                  </a:lnTo>
                  <a:lnTo>
                    <a:pt x="969740" y="243269"/>
                  </a:lnTo>
                  <a:lnTo>
                    <a:pt x="969550" y="241649"/>
                  </a:lnTo>
                  <a:lnTo>
                    <a:pt x="973455" y="234791"/>
                  </a:lnTo>
                  <a:lnTo>
                    <a:pt x="977741" y="230981"/>
                  </a:lnTo>
                  <a:lnTo>
                    <a:pt x="978980" y="227648"/>
                  </a:lnTo>
                  <a:lnTo>
                    <a:pt x="978122" y="221361"/>
                  </a:lnTo>
                  <a:lnTo>
                    <a:pt x="979361" y="218027"/>
                  </a:lnTo>
                  <a:lnTo>
                    <a:pt x="984218" y="218980"/>
                  </a:lnTo>
                  <a:lnTo>
                    <a:pt x="986599" y="212217"/>
                  </a:lnTo>
                  <a:lnTo>
                    <a:pt x="995648" y="207836"/>
                  </a:lnTo>
                  <a:lnTo>
                    <a:pt x="996887" y="204502"/>
                  </a:lnTo>
                  <a:lnTo>
                    <a:pt x="1004697" y="203549"/>
                  </a:lnTo>
                  <a:lnTo>
                    <a:pt x="1005935" y="200120"/>
                  </a:lnTo>
                  <a:lnTo>
                    <a:pt x="1005554" y="196977"/>
                  </a:lnTo>
                  <a:lnTo>
                    <a:pt x="1006507" y="192024"/>
                  </a:lnTo>
                  <a:lnTo>
                    <a:pt x="1012412" y="188119"/>
                  </a:lnTo>
                  <a:lnTo>
                    <a:pt x="1004697" y="177832"/>
                  </a:lnTo>
                  <a:lnTo>
                    <a:pt x="1008602" y="170974"/>
                  </a:lnTo>
                  <a:lnTo>
                    <a:pt x="997744" y="161068"/>
                  </a:lnTo>
                  <a:lnTo>
                    <a:pt x="1000315" y="155924"/>
                  </a:lnTo>
                  <a:lnTo>
                    <a:pt x="1007173" y="147066"/>
                  </a:lnTo>
                  <a:lnTo>
                    <a:pt x="1014508" y="141351"/>
                  </a:lnTo>
                  <a:lnTo>
                    <a:pt x="1010698" y="136969"/>
                  </a:lnTo>
                  <a:lnTo>
                    <a:pt x="1009936" y="130683"/>
                  </a:lnTo>
                  <a:lnTo>
                    <a:pt x="1003363" y="117062"/>
                  </a:lnTo>
                  <a:lnTo>
                    <a:pt x="1001363" y="114110"/>
                  </a:lnTo>
                  <a:lnTo>
                    <a:pt x="1002792" y="112395"/>
                  </a:lnTo>
                  <a:lnTo>
                    <a:pt x="1010603" y="111347"/>
                  </a:lnTo>
                  <a:lnTo>
                    <a:pt x="1016317" y="105823"/>
                  </a:lnTo>
                  <a:lnTo>
                    <a:pt x="1014508" y="91631"/>
                  </a:lnTo>
                  <a:lnTo>
                    <a:pt x="1017651" y="91250"/>
                  </a:lnTo>
                  <a:lnTo>
                    <a:pt x="1018318" y="95917"/>
                  </a:lnTo>
                  <a:lnTo>
                    <a:pt x="1019842" y="95726"/>
                  </a:lnTo>
                  <a:lnTo>
                    <a:pt x="1022223" y="89059"/>
                  </a:lnTo>
                  <a:lnTo>
                    <a:pt x="1021461" y="82677"/>
                  </a:lnTo>
                  <a:lnTo>
                    <a:pt x="1023366" y="72866"/>
                  </a:lnTo>
                  <a:lnTo>
                    <a:pt x="1026128" y="69247"/>
                  </a:lnTo>
                  <a:lnTo>
                    <a:pt x="1026700" y="61246"/>
                  </a:lnTo>
                  <a:lnTo>
                    <a:pt x="1030414" y="52673"/>
                  </a:lnTo>
                  <a:lnTo>
                    <a:pt x="1031177" y="46196"/>
                  </a:lnTo>
                  <a:lnTo>
                    <a:pt x="1038511" y="40481"/>
                  </a:lnTo>
                  <a:lnTo>
                    <a:pt x="1041082" y="35338"/>
                  </a:lnTo>
                  <a:lnTo>
                    <a:pt x="1040035" y="27432"/>
                  </a:lnTo>
                  <a:lnTo>
                    <a:pt x="1040987" y="22479"/>
                  </a:lnTo>
                  <a:lnTo>
                    <a:pt x="1038797" y="17907"/>
                  </a:lnTo>
                  <a:lnTo>
                    <a:pt x="1038797" y="17907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8" name="Volný tvar: obrazec 27">
              <a:extLst>
                <a:ext uri="{FF2B5EF4-FFF2-40B4-BE49-F238E27FC236}">
                  <a16:creationId xmlns:a16="http://schemas.microsoft.com/office/drawing/2014/main" id="{A6E92542-F8EC-D18B-A503-67876A64BF2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243286" y="2823209"/>
              <a:ext cx="1216913" cy="1049655"/>
            </a:xfrm>
            <a:custGeom>
              <a:avLst/>
              <a:gdLst>
                <a:gd name="connsiteX0" fmla="*/ 1209770 w 1216913"/>
                <a:gd name="connsiteY0" fmla="*/ 853249 h 1049655"/>
                <a:gd name="connsiteX1" fmla="*/ 1205674 w 1216913"/>
                <a:gd name="connsiteY1" fmla="*/ 845725 h 1049655"/>
                <a:gd name="connsiteX2" fmla="*/ 1200912 w 1216913"/>
                <a:gd name="connsiteY2" fmla="*/ 846296 h 1049655"/>
                <a:gd name="connsiteX3" fmla="*/ 1200722 w 1216913"/>
                <a:gd name="connsiteY3" fmla="*/ 844772 h 1049655"/>
                <a:gd name="connsiteX4" fmla="*/ 1199674 w 1216913"/>
                <a:gd name="connsiteY4" fmla="*/ 836866 h 1049655"/>
                <a:gd name="connsiteX5" fmla="*/ 1195959 w 1216913"/>
                <a:gd name="connsiteY5" fmla="*/ 832580 h 1049655"/>
                <a:gd name="connsiteX6" fmla="*/ 1196911 w 1216913"/>
                <a:gd name="connsiteY6" fmla="*/ 827627 h 1049655"/>
                <a:gd name="connsiteX7" fmla="*/ 1194340 w 1216913"/>
                <a:gd name="connsiteY7" fmla="*/ 819912 h 1049655"/>
                <a:gd name="connsiteX8" fmla="*/ 1197292 w 1216913"/>
                <a:gd name="connsiteY8" fmla="*/ 817912 h 1049655"/>
                <a:gd name="connsiteX9" fmla="*/ 1199007 w 1216913"/>
                <a:gd name="connsiteY9" fmla="*/ 806482 h 1049655"/>
                <a:gd name="connsiteX10" fmla="*/ 1192721 w 1216913"/>
                <a:gd name="connsiteY10" fmla="*/ 807244 h 1049655"/>
                <a:gd name="connsiteX11" fmla="*/ 1190911 w 1216913"/>
                <a:gd name="connsiteY11" fmla="*/ 805910 h 1049655"/>
                <a:gd name="connsiteX12" fmla="*/ 1187958 w 1216913"/>
                <a:gd name="connsiteY12" fmla="*/ 795052 h 1049655"/>
                <a:gd name="connsiteX13" fmla="*/ 1188530 w 1216913"/>
                <a:gd name="connsiteY13" fmla="*/ 786956 h 1049655"/>
                <a:gd name="connsiteX14" fmla="*/ 1183005 w 1216913"/>
                <a:gd name="connsiteY14" fmla="*/ 781240 h 1049655"/>
                <a:gd name="connsiteX15" fmla="*/ 1185577 w 1216913"/>
                <a:gd name="connsiteY15" fmla="*/ 776097 h 1049655"/>
                <a:gd name="connsiteX16" fmla="*/ 1181005 w 1216913"/>
                <a:gd name="connsiteY16" fmla="*/ 765524 h 1049655"/>
                <a:gd name="connsiteX17" fmla="*/ 1179195 w 1216913"/>
                <a:gd name="connsiteY17" fmla="*/ 764095 h 1049655"/>
                <a:gd name="connsiteX18" fmla="*/ 1178433 w 1216913"/>
                <a:gd name="connsiteY18" fmla="*/ 757809 h 1049655"/>
                <a:gd name="connsiteX19" fmla="*/ 1173671 w 1216913"/>
                <a:gd name="connsiteY19" fmla="*/ 745617 h 1049655"/>
                <a:gd name="connsiteX20" fmla="*/ 1174432 w 1216913"/>
                <a:gd name="connsiteY20" fmla="*/ 739045 h 1049655"/>
                <a:gd name="connsiteX21" fmla="*/ 1173004 w 1216913"/>
                <a:gd name="connsiteY21" fmla="*/ 727996 h 1049655"/>
                <a:gd name="connsiteX22" fmla="*/ 1173766 w 1216913"/>
                <a:gd name="connsiteY22" fmla="*/ 721519 h 1049655"/>
                <a:gd name="connsiteX23" fmla="*/ 1171194 w 1216913"/>
                <a:gd name="connsiteY23" fmla="*/ 713803 h 1049655"/>
                <a:gd name="connsiteX24" fmla="*/ 1169384 w 1216913"/>
                <a:gd name="connsiteY24" fmla="*/ 712470 h 1049655"/>
                <a:gd name="connsiteX25" fmla="*/ 1163098 w 1216913"/>
                <a:gd name="connsiteY25" fmla="*/ 713232 h 1049655"/>
                <a:gd name="connsiteX26" fmla="*/ 1152620 w 1216913"/>
                <a:gd name="connsiteY26" fmla="*/ 706565 h 1049655"/>
                <a:gd name="connsiteX27" fmla="*/ 1143381 w 1216913"/>
                <a:gd name="connsiteY27" fmla="*/ 709327 h 1049655"/>
                <a:gd name="connsiteX28" fmla="*/ 1141571 w 1216913"/>
                <a:gd name="connsiteY28" fmla="*/ 707993 h 1049655"/>
                <a:gd name="connsiteX29" fmla="*/ 1131570 w 1216913"/>
                <a:gd name="connsiteY29" fmla="*/ 717232 h 1049655"/>
                <a:gd name="connsiteX30" fmla="*/ 1124998 w 1216913"/>
                <a:gd name="connsiteY30" fmla="*/ 716470 h 1049655"/>
                <a:gd name="connsiteX31" fmla="*/ 1122616 w 1216913"/>
                <a:gd name="connsiteY31" fmla="*/ 710374 h 1049655"/>
                <a:gd name="connsiteX32" fmla="*/ 1117473 w 1216913"/>
                <a:gd name="connsiteY32" fmla="*/ 707803 h 1049655"/>
                <a:gd name="connsiteX33" fmla="*/ 1112996 w 1216913"/>
                <a:gd name="connsiteY33" fmla="*/ 709994 h 1049655"/>
                <a:gd name="connsiteX34" fmla="*/ 1108043 w 1216913"/>
                <a:gd name="connsiteY34" fmla="*/ 709041 h 1049655"/>
                <a:gd name="connsiteX35" fmla="*/ 1108996 w 1216913"/>
                <a:gd name="connsiteY35" fmla="*/ 704088 h 1049655"/>
                <a:gd name="connsiteX36" fmla="*/ 1105472 w 1216913"/>
                <a:gd name="connsiteY36" fmla="*/ 701326 h 1049655"/>
                <a:gd name="connsiteX37" fmla="*/ 1106424 w 1216913"/>
                <a:gd name="connsiteY37" fmla="*/ 696373 h 1049655"/>
                <a:gd name="connsiteX38" fmla="*/ 1101661 w 1216913"/>
                <a:gd name="connsiteY38" fmla="*/ 697040 h 1049655"/>
                <a:gd name="connsiteX39" fmla="*/ 1102709 w 1216913"/>
                <a:gd name="connsiteY39" fmla="*/ 692086 h 1049655"/>
                <a:gd name="connsiteX40" fmla="*/ 1101852 w 1216913"/>
                <a:gd name="connsiteY40" fmla="*/ 685800 h 1049655"/>
                <a:gd name="connsiteX41" fmla="*/ 1090422 w 1216913"/>
                <a:gd name="connsiteY41" fmla="*/ 683990 h 1049655"/>
                <a:gd name="connsiteX42" fmla="*/ 1081183 w 1216913"/>
                <a:gd name="connsiteY42" fmla="*/ 686753 h 1049655"/>
                <a:gd name="connsiteX43" fmla="*/ 1077754 w 1216913"/>
                <a:gd name="connsiteY43" fmla="*/ 685610 h 1049655"/>
                <a:gd name="connsiteX44" fmla="*/ 1073467 w 1216913"/>
                <a:gd name="connsiteY44" fmla="*/ 689420 h 1049655"/>
                <a:gd name="connsiteX45" fmla="*/ 1072420 w 1216913"/>
                <a:gd name="connsiteY45" fmla="*/ 681514 h 1049655"/>
                <a:gd name="connsiteX46" fmla="*/ 1069086 w 1216913"/>
                <a:gd name="connsiteY46" fmla="*/ 680276 h 1049655"/>
                <a:gd name="connsiteX47" fmla="*/ 1065943 w 1216913"/>
                <a:gd name="connsiteY47" fmla="*/ 680752 h 1049655"/>
                <a:gd name="connsiteX48" fmla="*/ 1062990 w 1216913"/>
                <a:gd name="connsiteY48" fmla="*/ 682657 h 1049655"/>
                <a:gd name="connsiteX49" fmla="*/ 1062609 w 1216913"/>
                <a:gd name="connsiteY49" fmla="*/ 679514 h 1049655"/>
                <a:gd name="connsiteX50" fmla="*/ 1054513 w 1216913"/>
                <a:gd name="connsiteY50" fmla="*/ 678942 h 1049655"/>
                <a:gd name="connsiteX51" fmla="*/ 1050893 w 1216913"/>
                <a:gd name="connsiteY51" fmla="*/ 676180 h 1049655"/>
                <a:gd name="connsiteX52" fmla="*/ 1050512 w 1216913"/>
                <a:gd name="connsiteY52" fmla="*/ 673036 h 1049655"/>
                <a:gd name="connsiteX53" fmla="*/ 1048702 w 1216913"/>
                <a:gd name="connsiteY53" fmla="*/ 671703 h 1049655"/>
                <a:gd name="connsiteX54" fmla="*/ 1044988 w 1216913"/>
                <a:gd name="connsiteY54" fmla="*/ 667322 h 1049655"/>
                <a:gd name="connsiteX55" fmla="*/ 1041844 w 1216913"/>
                <a:gd name="connsiteY55" fmla="*/ 667703 h 1049655"/>
                <a:gd name="connsiteX56" fmla="*/ 1044607 w 1216913"/>
                <a:gd name="connsiteY56" fmla="*/ 664178 h 1049655"/>
                <a:gd name="connsiteX57" fmla="*/ 1042416 w 1216913"/>
                <a:gd name="connsiteY57" fmla="*/ 659606 h 1049655"/>
                <a:gd name="connsiteX58" fmla="*/ 1044702 w 1216913"/>
                <a:gd name="connsiteY58" fmla="*/ 640080 h 1049655"/>
                <a:gd name="connsiteX59" fmla="*/ 1040987 w 1216913"/>
                <a:gd name="connsiteY59" fmla="*/ 635794 h 1049655"/>
                <a:gd name="connsiteX60" fmla="*/ 1036034 w 1216913"/>
                <a:gd name="connsiteY60" fmla="*/ 634841 h 1049655"/>
                <a:gd name="connsiteX61" fmla="*/ 1032510 w 1216913"/>
                <a:gd name="connsiteY61" fmla="*/ 632079 h 1049655"/>
                <a:gd name="connsiteX62" fmla="*/ 1033272 w 1216913"/>
                <a:gd name="connsiteY62" fmla="*/ 625507 h 1049655"/>
                <a:gd name="connsiteX63" fmla="*/ 1030033 w 1216913"/>
                <a:gd name="connsiteY63" fmla="*/ 613124 h 1049655"/>
                <a:gd name="connsiteX64" fmla="*/ 1024890 w 1216913"/>
                <a:gd name="connsiteY64" fmla="*/ 610553 h 1049655"/>
                <a:gd name="connsiteX65" fmla="*/ 1023938 w 1216913"/>
                <a:gd name="connsiteY65" fmla="*/ 602647 h 1049655"/>
                <a:gd name="connsiteX66" fmla="*/ 1020127 w 1216913"/>
                <a:gd name="connsiteY66" fmla="*/ 598361 h 1049655"/>
                <a:gd name="connsiteX67" fmla="*/ 1020889 w 1216913"/>
                <a:gd name="connsiteY67" fmla="*/ 591788 h 1049655"/>
                <a:gd name="connsiteX68" fmla="*/ 1018699 w 1216913"/>
                <a:gd name="connsiteY68" fmla="*/ 587311 h 1049655"/>
                <a:gd name="connsiteX69" fmla="*/ 1016794 w 1216913"/>
                <a:gd name="connsiteY69" fmla="*/ 584359 h 1049655"/>
                <a:gd name="connsiteX70" fmla="*/ 1016127 w 1216913"/>
                <a:gd name="connsiteY70" fmla="*/ 579596 h 1049655"/>
                <a:gd name="connsiteX71" fmla="*/ 1009079 w 1216913"/>
                <a:gd name="connsiteY71" fmla="*/ 574072 h 1049655"/>
                <a:gd name="connsiteX72" fmla="*/ 1006221 w 1216913"/>
                <a:gd name="connsiteY72" fmla="*/ 564832 h 1049655"/>
                <a:gd name="connsiteX73" fmla="*/ 1007459 w 1216913"/>
                <a:gd name="connsiteY73" fmla="*/ 561499 h 1049655"/>
                <a:gd name="connsiteX74" fmla="*/ 1003840 w 1216913"/>
                <a:gd name="connsiteY74" fmla="*/ 558736 h 1049655"/>
                <a:gd name="connsiteX75" fmla="*/ 1003268 w 1216913"/>
                <a:gd name="connsiteY75" fmla="*/ 553974 h 1049655"/>
                <a:gd name="connsiteX76" fmla="*/ 999744 w 1216913"/>
                <a:gd name="connsiteY76" fmla="*/ 551212 h 1049655"/>
                <a:gd name="connsiteX77" fmla="*/ 996124 w 1216913"/>
                <a:gd name="connsiteY77" fmla="*/ 548449 h 1049655"/>
                <a:gd name="connsiteX78" fmla="*/ 996886 w 1216913"/>
                <a:gd name="connsiteY78" fmla="*/ 541973 h 1049655"/>
                <a:gd name="connsiteX79" fmla="*/ 1007173 w 1216913"/>
                <a:gd name="connsiteY79" fmla="*/ 534257 h 1049655"/>
                <a:gd name="connsiteX80" fmla="*/ 1011079 w 1216913"/>
                <a:gd name="connsiteY80" fmla="*/ 527304 h 1049655"/>
                <a:gd name="connsiteX81" fmla="*/ 1009364 w 1216913"/>
                <a:gd name="connsiteY81" fmla="*/ 525970 h 1049655"/>
                <a:gd name="connsiteX82" fmla="*/ 1007173 w 1216913"/>
                <a:gd name="connsiteY82" fmla="*/ 521398 h 1049655"/>
                <a:gd name="connsiteX83" fmla="*/ 1010317 w 1216913"/>
                <a:gd name="connsiteY83" fmla="*/ 521018 h 1049655"/>
                <a:gd name="connsiteX84" fmla="*/ 1011269 w 1216913"/>
                <a:gd name="connsiteY84" fmla="*/ 516065 h 1049655"/>
                <a:gd name="connsiteX85" fmla="*/ 1020794 w 1216913"/>
                <a:gd name="connsiteY85" fmla="*/ 514922 h 1049655"/>
                <a:gd name="connsiteX86" fmla="*/ 1021747 w 1216913"/>
                <a:gd name="connsiteY86" fmla="*/ 509969 h 1049655"/>
                <a:gd name="connsiteX87" fmla="*/ 1017937 w 1216913"/>
                <a:gd name="connsiteY87" fmla="*/ 505587 h 1049655"/>
                <a:gd name="connsiteX88" fmla="*/ 1009650 w 1216913"/>
                <a:gd name="connsiteY88" fmla="*/ 503491 h 1049655"/>
                <a:gd name="connsiteX89" fmla="*/ 1001744 w 1216913"/>
                <a:gd name="connsiteY89" fmla="*/ 504444 h 1049655"/>
                <a:gd name="connsiteX90" fmla="*/ 1001363 w 1216913"/>
                <a:gd name="connsiteY90" fmla="*/ 501301 h 1049655"/>
                <a:gd name="connsiteX91" fmla="*/ 996029 w 1216913"/>
                <a:gd name="connsiteY91" fmla="*/ 497205 h 1049655"/>
                <a:gd name="connsiteX92" fmla="*/ 995648 w 1216913"/>
                <a:gd name="connsiteY92" fmla="*/ 493966 h 1049655"/>
                <a:gd name="connsiteX93" fmla="*/ 991838 w 1216913"/>
                <a:gd name="connsiteY93" fmla="*/ 489680 h 1049655"/>
                <a:gd name="connsiteX94" fmla="*/ 991457 w 1216913"/>
                <a:gd name="connsiteY94" fmla="*/ 486537 h 1049655"/>
                <a:gd name="connsiteX95" fmla="*/ 995839 w 1216913"/>
                <a:gd name="connsiteY95" fmla="*/ 482727 h 1049655"/>
                <a:gd name="connsiteX96" fmla="*/ 996982 w 1216913"/>
                <a:gd name="connsiteY96" fmla="*/ 479393 h 1049655"/>
                <a:gd name="connsiteX97" fmla="*/ 994791 w 1216913"/>
                <a:gd name="connsiteY97" fmla="*/ 474916 h 1049655"/>
                <a:gd name="connsiteX98" fmla="*/ 997363 w 1216913"/>
                <a:gd name="connsiteY98" fmla="*/ 469773 h 1049655"/>
                <a:gd name="connsiteX99" fmla="*/ 1000887 w 1216913"/>
                <a:gd name="connsiteY99" fmla="*/ 459677 h 1049655"/>
                <a:gd name="connsiteX100" fmla="*/ 995743 w 1216913"/>
                <a:gd name="connsiteY100" fmla="*/ 457105 h 1049655"/>
                <a:gd name="connsiteX101" fmla="*/ 996886 w 1216913"/>
                <a:gd name="connsiteY101" fmla="*/ 453771 h 1049655"/>
                <a:gd name="connsiteX102" fmla="*/ 995172 w 1216913"/>
                <a:gd name="connsiteY102" fmla="*/ 452342 h 1049655"/>
                <a:gd name="connsiteX103" fmla="*/ 998315 w 1216913"/>
                <a:gd name="connsiteY103" fmla="*/ 451961 h 1049655"/>
                <a:gd name="connsiteX104" fmla="*/ 993743 w 1216913"/>
                <a:gd name="connsiteY104" fmla="*/ 441293 h 1049655"/>
                <a:gd name="connsiteX105" fmla="*/ 992124 w 1216913"/>
                <a:gd name="connsiteY105" fmla="*/ 441579 h 1049655"/>
                <a:gd name="connsiteX106" fmla="*/ 984694 w 1216913"/>
                <a:gd name="connsiteY106" fmla="*/ 445675 h 1049655"/>
                <a:gd name="connsiteX107" fmla="*/ 974026 w 1216913"/>
                <a:gd name="connsiteY107" fmla="*/ 437388 h 1049655"/>
                <a:gd name="connsiteX108" fmla="*/ 969264 w 1216913"/>
                <a:gd name="connsiteY108" fmla="*/ 438055 h 1049655"/>
                <a:gd name="connsiteX109" fmla="*/ 972979 w 1216913"/>
                <a:gd name="connsiteY109" fmla="*/ 442341 h 1049655"/>
                <a:gd name="connsiteX110" fmla="*/ 971264 w 1216913"/>
                <a:gd name="connsiteY110" fmla="*/ 453771 h 1049655"/>
                <a:gd name="connsiteX111" fmla="*/ 976408 w 1216913"/>
                <a:gd name="connsiteY111" fmla="*/ 456343 h 1049655"/>
                <a:gd name="connsiteX112" fmla="*/ 970883 w 1216913"/>
                <a:gd name="connsiteY112" fmla="*/ 463486 h 1049655"/>
                <a:gd name="connsiteX113" fmla="*/ 966597 w 1216913"/>
                <a:gd name="connsiteY113" fmla="*/ 467297 h 1049655"/>
                <a:gd name="connsiteX114" fmla="*/ 963454 w 1216913"/>
                <a:gd name="connsiteY114" fmla="*/ 467678 h 1049655"/>
                <a:gd name="connsiteX115" fmla="*/ 960215 w 1216913"/>
                <a:gd name="connsiteY115" fmla="*/ 468058 h 1049655"/>
                <a:gd name="connsiteX116" fmla="*/ 958310 w 1216913"/>
                <a:gd name="connsiteY116" fmla="*/ 465106 h 1049655"/>
                <a:gd name="connsiteX117" fmla="*/ 953929 w 1216913"/>
                <a:gd name="connsiteY117" fmla="*/ 468820 h 1049655"/>
                <a:gd name="connsiteX118" fmla="*/ 955357 w 1216913"/>
                <a:gd name="connsiteY118" fmla="*/ 467106 h 1049655"/>
                <a:gd name="connsiteX119" fmla="*/ 951738 w 1216913"/>
                <a:gd name="connsiteY119" fmla="*/ 464344 h 1049655"/>
                <a:gd name="connsiteX120" fmla="*/ 947261 w 1216913"/>
                <a:gd name="connsiteY120" fmla="*/ 466535 h 1049655"/>
                <a:gd name="connsiteX121" fmla="*/ 940117 w 1216913"/>
                <a:gd name="connsiteY121" fmla="*/ 461010 h 1049655"/>
                <a:gd name="connsiteX122" fmla="*/ 937546 w 1216913"/>
                <a:gd name="connsiteY122" fmla="*/ 466153 h 1049655"/>
                <a:gd name="connsiteX123" fmla="*/ 933831 w 1216913"/>
                <a:gd name="connsiteY123" fmla="*/ 461772 h 1049655"/>
                <a:gd name="connsiteX124" fmla="*/ 931640 w 1216913"/>
                <a:gd name="connsiteY124" fmla="*/ 457295 h 1049655"/>
                <a:gd name="connsiteX125" fmla="*/ 928021 w 1216913"/>
                <a:gd name="connsiteY125" fmla="*/ 454533 h 1049655"/>
                <a:gd name="connsiteX126" fmla="*/ 921163 w 1216913"/>
                <a:gd name="connsiteY126" fmla="*/ 450628 h 1049655"/>
                <a:gd name="connsiteX127" fmla="*/ 918591 w 1216913"/>
                <a:gd name="connsiteY127" fmla="*/ 442912 h 1049655"/>
                <a:gd name="connsiteX128" fmla="*/ 905732 w 1216913"/>
                <a:gd name="connsiteY128" fmla="*/ 442912 h 1049655"/>
                <a:gd name="connsiteX129" fmla="*/ 900398 w 1216913"/>
                <a:gd name="connsiteY129" fmla="*/ 438817 h 1049655"/>
                <a:gd name="connsiteX130" fmla="*/ 897064 w 1216913"/>
                <a:gd name="connsiteY130" fmla="*/ 437578 h 1049655"/>
                <a:gd name="connsiteX131" fmla="*/ 895636 w 1216913"/>
                <a:gd name="connsiteY131" fmla="*/ 426529 h 1049655"/>
                <a:gd name="connsiteX132" fmla="*/ 875157 w 1216913"/>
                <a:gd name="connsiteY132" fmla="*/ 429197 h 1049655"/>
                <a:gd name="connsiteX133" fmla="*/ 872204 w 1216913"/>
                <a:gd name="connsiteY133" fmla="*/ 431197 h 1049655"/>
                <a:gd name="connsiteX134" fmla="*/ 862489 w 1216913"/>
                <a:gd name="connsiteY134" fmla="*/ 430816 h 1049655"/>
                <a:gd name="connsiteX135" fmla="*/ 851249 w 1216913"/>
                <a:gd name="connsiteY135" fmla="*/ 430625 h 1049655"/>
                <a:gd name="connsiteX136" fmla="*/ 847439 w 1216913"/>
                <a:gd name="connsiteY136" fmla="*/ 426339 h 1049655"/>
                <a:gd name="connsiteX137" fmla="*/ 827151 w 1216913"/>
                <a:gd name="connsiteY137" fmla="*/ 417671 h 1049655"/>
                <a:gd name="connsiteX138" fmla="*/ 826770 w 1216913"/>
                <a:gd name="connsiteY138" fmla="*/ 427291 h 1049655"/>
                <a:gd name="connsiteX139" fmla="*/ 830104 w 1216913"/>
                <a:gd name="connsiteY139" fmla="*/ 428530 h 1049655"/>
                <a:gd name="connsiteX140" fmla="*/ 836676 w 1216913"/>
                <a:gd name="connsiteY140" fmla="*/ 429292 h 1049655"/>
                <a:gd name="connsiteX141" fmla="*/ 838581 w 1216913"/>
                <a:gd name="connsiteY141" fmla="*/ 432244 h 1049655"/>
                <a:gd name="connsiteX142" fmla="*/ 830961 w 1216913"/>
                <a:gd name="connsiteY142" fmla="*/ 434816 h 1049655"/>
                <a:gd name="connsiteX143" fmla="*/ 832961 w 1216913"/>
                <a:gd name="connsiteY143" fmla="*/ 437769 h 1049655"/>
                <a:gd name="connsiteX144" fmla="*/ 834676 w 1216913"/>
                <a:gd name="connsiteY144" fmla="*/ 439103 h 1049655"/>
                <a:gd name="connsiteX145" fmla="*/ 830389 w 1216913"/>
                <a:gd name="connsiteY145" fmla="*/ 442912 h 1049655"/>
                <a:gd name="connsiteX146" fmla="*/ 826770 w 1216913"/>
                <a:gd name="connsiteY146" fmla="*/ 440150 h 1049655"/>
                <a:gd name="connsiteX147" fmla="*/ 826389 w 1216913"/>
                <a:gd name="connsiteY147" fmla="*/ 437007 h 1049655"/>
                <a:gd name="connsiteX148" fmla="*/ 823246 w 1216913"/>
                <a:gd name="connsiteY148" fmla="*/ 437388 h 1049655"/>
                <a:gd name="connsiteX149" fmla="*/ 824198 w 1216913"/>
                <a:gd name="connsiteY149" fmla="*/ 445294 h 1049655"/>
                <a:gd name="connsiteX150" fmla="*/ 819150 w 1216913"/>
                <a:gd name="connsiteY150" fmla="*/ 455581 h 1049655"/>
                <a:gd name="connsiteX151" fmla="*/ 814197 w 1216913"/>
                <a:gd name="connsiteY151" fmla="*/ 454628 h 1049655"/>
                <a:gd name="connsiteX152" fmla="*/ 813816 w 1216913"/>
                <a:gd name="connsiteY152" fmla="*/ 451390 h 1049655"/>
                <a:gd name="connsiteX153" fmla="*/ 805148 w 1216913"/>
                <a:gd name="connsiteY153" fmla="*/ 446151 h 1049655"/>
                <a:gd name="connsiteX154" fmla="*/ 802767 w 1216913"/>
                <a:gd name="connsiteY154" fmla="*/ 440055 h 1049655"/>
                <a:gd name="connsiteX155" fmla="*/ 796385 w 1216913"/>
                <a:gd name="connsiteY155" fmla="*/ 440817 h 1049655"/>
                <a:gd name="connsiteX156" fmla="*/ 788289 w 1216913"/>
                <a:gd name="connsiteY156" fmla="*/ 427387 h 1049655"/>
                <a:gd name="connsiteX157" fmla="*/ 789813 w 1216913"/>
                <a:gd name="connsiteY157" fmla="*/ 414433 h 1049655"/>
                <a:gd name="connsiteX158" fmla="*/ 786860 w 1216913"/>
                <a:gd name="connsiteY158" fmla="*/ 403574 h 1049655"/>
                <a:gd name="connsiteX159" fmla="*/ 784860 w 1216913"/>
                <a:gd name="connsiteY159" fmla="*/ 400622 h 1049655"/>
                <a:gd name="connsiteX160" fmla="*/ 758380 w 1216913"/>
                <a:gd name="connsiteY160" fmla="*/ 394335 h 1049655"/>
                <a:gd name="connsiteX161" fmla="*/ 749141 w 1216913"/>
                <a:gd name="connsiteY161" fmla="*/ 397097 h 1049655"/>
                <a:gd name="connsiteX162" fmla="*/ 746188 w 1216913"/>
                <a:gd name="connsiteY162" fmla="*/ 399098 h 1049655"/>
                <a:gd name="connsiteX163" fmla="*/ 742188 w 1216913"/>
                <a:gd name="connsiteY163" fmla="*/ 393192 h 1049655"/>
                <a:gd name="connsiteX164" fmla="*/ 743236 w 1216913"/>
                <a:gd name="connsiteY164" fmla="*/ 388239 h 1049655"/>
                <a:gd name="connsiteX165" fmla="*/ 740378 w 1216913"/>
                <a:gd name="connsiteY165" fmla="*/ 379000 h 1049655"/>
                <a:gd name="connsiteX166" fmla="*/ 735235 w 1216913"/>
                <a:gd name="connsiteY166" fmla="*/ 363569 h 1049655"/>
                <a:gd name="connsiteX167" fmla="*/ 724567 w 1216913"/>
                <a:gd name="connsiteY167" fmla="*/ 368141 h 1049655"/>
                <a:gd name="connsiteX168" fmla="*/ 722471 w 1216913"/>
                <a:gd name="connsiteY168" fmla="*/ 363665 h 1049655"/>
                <a:gd name="connsiteX169" fmla="*/ 719233 w 1216913"/>
                <a:gd name="connsiteY169" fmla="*/ 364046 h 1049655"/>
                <a:gd name="connsiteX170" fmla="*/ 717518 w 1216913"/>
                <a:gd name="connsiteY170" fmla="*/ 362712 h 1049655"/>
                <a:gd name="connsiteX171" fmla="*/ 711232 w 1216913"/>
                <a:gd name="connsiteY171" fmla="*/ 363474 h 1049655"/>
                <a:gd name="connsiteX172" fmla="*/ 711422 w 1216913"/>
                <a:gd name="connsiteY172" fmla="*/ 365093 h 1049655"/>
                <a:gd name="connsiteX173" fmla="*/ 708184 w 1216913"/>
                <a:gd name="connsiteY173" fmla="*/ 365474 h 1049655"/>
                <a:gd name="connsiteX174" fmla="*/ 708469 w 1216913"/>
                <a:gd name="connsiteY174" fmla="*/ 366998 h 1049655"/>
                <a:gd name="connsiteX175" fmla="*/ 709231 w 1216913"/>
                <a:gd name="connsiteY175" fmla="*/ 373380 h 1049655"/>
                <a:gd name="connsiteX176" fmla="*/ 708279 w 1216913"/>
                <a:gd name="connsiteY176" fmla="*/ 378238 h 1049655"/>
                <a:gd name="connsiteX177" fmla="*/ 699421 w 1216913"/>
                <a:gd name="connsiteY177" fmla="*/ 384238 h 1049655"/>
                <a:gd name="connsiteX178" fmla="*/ 693230 w 1216913"/>
                <a:gd name="connsiteY178" fmla="*/ 373761 h 1049655"/>
                <a:gd name="connsiteX179" fmla="*/ 686372 w 1216913"/>
                <a:gd name="connsiteY179" fmla="*/ 369856 h 1049655"/>
                <a:gd name="connsiteX180" fmla="*/ 684371 w 1216913"/>
                <a:gd name="connsiteY180" fmla="*/ 366903 h 1049655"/>
                <a:gd name="connsiteX181" fmla="*/ 671893 w 1216913"/>
                <a:gd name="connsiteY181" fmla="*/ 370046 h 1049655"/>
                <a:gd name="connsiteX182" fmla="*/ 664845 w 1216913"/>
                <a:gd name="connsiteY182" fmla="*/ 364522 h 1049655"/>
                <a:gd name="connsiteX183" fmla="*/ 659035 w 1216913"/>
                <a:gd name="connsiteY183" fmla="*/ 357283 h 1049655"/>
                <a:gd name="connsiteX184" fmla="*/ 654748 w 1216913"/>
                <a:gd name="connsiteY184" fmla="*/ 348234 h 1049655"/>
                <a:gd name="connsiteX185" fmla="*/ 657701 w 1216913"/>
                <a:gd name="connsiteY185" fmla="*/ 346234 h 1049655"/>
                <a:gd name="connsiteX186" fmla="*/ 661606 w 1216913"/>
                <a:gd name="connsiteY186" fmla="*/ 339280 h 1049655"/>
                <a:gd name="connsiteX187" fmla="*/ 654463 w 1216913"/>
                <a:gd name="connsiteY187" fmla="*/ 333851 h 1049655"/>
                <a:gd name="connsiteX188" fmla="*/ 652272 w 1216913"/>
                <a:gd name="connsiteY188" fmla="*/ 329279 h 1049655"/>
                <a:gd name="connsiteX189" fmla="*/ 649129 w 1216913"/>
                <a:gd name="connsiteY189" fmla="*/ 329660 h 1049655"/>
                <a:gd name="connsiteX190" fmla="*/ 650462 w 1216913"/>
                <a:gd name="connsiteY190" fmla="*/ 315087 h 1049655"/>
                <a:gd name="connsiteX191" fmla="*/ 648748 w 1216913"/>
                <a:gd name="connsiteY191" fmla="*/ 313658 h 1049655"/>
                <a:gd name="connsiteX192" fmla="*/ 643985 w 1216913"/>
                <a:gd name="connsiteY192" fmla="*/ 314325 h 1049655"/>
                <a:gd name="connsiteX193" fmla="*/ 635508 w 1216913"/>
                <a:gd name="connsiteY193" fmla="*/ 310610 h 1049655"/>
                <a:gd name="connsiteX194" fmla="*/ 634841 w 1216913"/>
                <a:gd name="connsiteY194" fmla="*/ 305848 h 1049655"/>
                <a:gd name="connsiteX195" fmla="*/ 633127 w 1216913"/>
                <a:gd name="connsiteY195" fmla="*/ 304419 h 1049655"/>
                <a:gd name="connsiteX196" fmla="*/ 630746 w 1216913"/>
                <a:gd name="connsiteY196" fmla="*/ 298323 h 1049655"/>
                <a:gd name="connsiteX197" fmla="*/ 622840 w 1216913"/>
                <a:gd name="connsiteY197" fmla="*/ 299371 h 1049655"/>
                <a:gd name="connsiteX198" fmla="*/ 620649 w 1216913"/>
                <a:gd name="connsiteY198" fmla="*/ 294799 h 1049655"/>
                <a:gd name="connsiteX199" fmla="*/ 615696 w 1216913"/>
                <a:gd name="connsiteY199" fmla="*/ 293846 h 1049655"/>
                <a:gd name="connsiteX200" fmla="*/ 613886 w 1216913"/>
                <a:gd name="connsiteY200" fmla="*/ 292513 h 1049655"/>
                <a:gd name="connsiteX201" fmla="*/ 610552 w 1216913"/>
                <a:gd name="connsiteY201" fmla="*/ 291275 h 1049655"/>
                <a:gd name="connsiteX202" fmla="*/ 596170 w 1216913"/>
                <a:gd name="connsiteY202" fmla="*/ 304324 h 1049655"/>
                <a:gd name="connsiteX203" fmla="*/ 591693 w 1216913"/>
                <a:gd name="connsiteY203" fmla="*/ 306515 h 1049655"/>
                <a:gd name="connsiteX204" fmla="*/ 592646 w 1216913"/>
                <a:gd name="connsiteY204" fmla="*/ 314420 h 1049655"/>
                <a:gd name="connsiteX205" fmla="*/ 592264 w 1216913"/>
                <a:gd name="connsiteY205" fmla="*/ 324136 h 1049655"/>
                <a:gd name="connsiteX206" fmla="*/ 596646 w 1216913"/>
                <a:gd name="connsiteY206" fmla="*/ 333184 h 1049655"/>
                <a:gd name="connsiteX207" fmla="*/ 602932 w 1216913"/>
                <a:gd name="connsiteY207" fmla="*/ 332327 h 1049655"/>
                <a:gd name="connsiteX208" fmla="*/ 604933 w 1216913"/>
                <a:gd name="connsiteY208" fmla="*/ 322517 h 1049655"/>
                <a:gd name="connsiteX209" fmla="*/ 611410 w 1216913"/>
                <a:gd name="connsiteY209" fmla="*/ 323278 h 1049655"/>
                <a:gd name="connsiteX210" fmla="*/ 615029 w 1216913"/>
                <a:gd name="connsiteY210" fmla="*/ 326041 h 1049655"/>
                <a:gd name="connsiteX211" fmla="*/ 619697 w 1216913"/>
                <a:gd name="connsiteY211" fmla="*/ 325374 h 1049655"/>
                <a:gd name="connsiteX212" fmla="*/ 624078 w 1216913"/>
                <a:gd name="connsiteY212" fmla="*/ 334518 h 1049655"/>
                <a:gd name="connsiteX213" fmla="*/ 622744 w 1216913"/>
                <a:gd name="connsiteY213" fmla="*/ 336232 h 1049655"/>
                <a:gd name="connsiteX214" fmla="*/ 622935 w 1216913"/>
                <a:gd name="connsiteY214" fmla="*/ 337852 h 1049655"/>
                <a:gd name="connsiteX215" fmla="*/ 618554 w 1216913"/>
                <a:gd name="connsiteY215" fmla="*/ 341567 h 1049655"/>
                <a:gd name="connsiteX216" fmla="*/ 622173 w 1216913"/>
                <a:gd name="connsiteY216" fmla="*/ 344329 h 1049655"/>
                <a:gd name="connsiteX217" fmla="*/ 622744 w 1216913"/>
                <a:gd name="connsiteY217" fmla="*/ 349091 h 1049655"/>
                <a:gd name="connsiteX218" fmla="*/ 619601 w 1216913"/>
                <a:gd name="connsiteY218" fmla="*/ 349472 h 1049655"/>
                <a:gd name="connsiteX219" fmla="*/ 618172 w 1216913"/>
                <a:gd name="connsiteY219" fmla="*/ 351282 h 1049655"/>
                <a:gd name="connsiteX220" fmla="*/ 621982 w 1216913"/>
                <a:gd name="connsiteY220" fmla="*/ 355568 h 1049655"/>
                <a:gd name="connsiteX221" fmla="*/ 621030 w 1216913"/>
                <a:gd name="connsiteY221" fmla="*/ 360521 h 1049655"/>
                <a:gd name="connsiteX222" fmla="*/ 617410 w 1216913"/>
                <a:gd name="connsiteY222" fmla="*/ 357759 h 1049655"/>
                <a:gd name="connsiteX223" fmla="*/ 617220 w 1216913"/>
                <a:gd name="connsiteY223" fmla="*/ 356235 h 1049655"/>
                <a:gd name="connsiteX224" fmla="*/ 613696 w 1216913"/>
                <a:gd name="connsiteY224" fmla="*/ 353473 h 1049655"/>
                <a:gd name="connsiteX225" fmla="*/ 594741 w 1216913"/>
                <a:gd name="connsiteY225" fmla="*/ 355854 h 1049655"/>
                <a:gd name="connsiteX226" fmla="*/ 593503 w 1216913"/>
                <a:gd name="connsiteY226" fmla="*/ 346424 h 1049655"/>
                <a:gd name="connsiteX227" fmla="*/ 582930 w 1216913"/>
                <a:gd name="connsiteY227" fmla="*/ 350996 h 1049655"/>
                <a:gd name="connsiteX228" fmla="*/ 577786 w 1216913"/>
                <a:gd name="connsiteY228" fmla="*/ 361188 h 1049655"/>
                <a:gd name="connsiteX229" fmla="*/ 569309 w 1216913"/>
                <a:gd name="connsiteY229" fmla="*/ 357473 h 1049655"/>
                <a:gd name="connsiteX230" fmla="*/ 563404 w 1216913"/>
                <a:gd name="connsiteY230" fmla="*/ 361474 h 1049655"/>
                <a:gd name="connsiteX231" fmla="*/ 558641 w 1216913"/>
                <a:gd name="connsiteY231" fmla="*/ 362045 h 1049655"/>
                <a:gd name="connsiteX232" fmla="*/ 539591 w 1216913"/>
                <a:gd name="connsiteY232" fmla="*/ 388525 h 1049655"/>
                <a:gd name="connsiteX233" fmla="*/ 537019 w 1216913"/>
                <a:gd name="connsiteY233" fmla="*/ 393668 h 1049655"/>
                <a:gd name="connsiteX234" fmla="*/ 529304 w 1216913"/>
                <a:gd name="connsiteY234" fmla="*/ 396240 h 1049655"/>
                <a:gd name="connsiteX235" fmla="*/ 515874 w 1216913"/>
                <a:gd name="connsiteY235" fmla="*/ 391573 h 1049655"/>
                <a:gd name="connsiteX236" fmla="*/ 509778 w 1216913"/>
                <a:gd name="connsiteY236" fmla="*/ 393954 h 1049655"/>
                <a:gd name="connsiteX237" fmla="*/ 500920 w 1216913"/>
                <a:gd name="connsiteY237" fmla="*/ 399860 h 1049655"/>
                <a:gd name="connsiteX238" fmla="*/ 495205 w 1216913"/>
                <a:gd name="connsiteY238" fmla="*/ 392620 h 1049655"/>
                <a:gd name="connsiteX239" fmla="*/ 492061 w 1216913"/>
                <a:gd name="connsiteY239" fmla="*/ 393002 h 1049655"/>
                <a:gd name="connsiteX240" fmla="*/ 491395 w 1216913"/>
                <a:gd name="connsiteY240" fmla="*/ 388239 h 1049655"/>
                <a:gd name="connsiteX241" fmla="*/ 488251 w 1216913"/>
                <a:gd name="connsiteY241" fmla="*/ 388620 h 1049655"/>
                <a:gd name="connsiteX242" fmla="*/ 487871 w 1216913"/>
                <a:gd name="connsiteY242" fmla="*/ 385477 h 1049655"/>
                <a:gd name="connsiteX243" fmla="*/ 482917 w 1216913"/>
                <a:gd name="connsiteY243" fmla="*/ 384524 h 1049655"/>
                <a:gd name="connsiteX244" fmla="*/ 479012 w 1216913"/>
                <a:gd name="connsiteY244" fmla="*/ 378619 h 1049655"/>
                <a:gd name="connsiteX245" fmla="*/ 477393 w 1216913"/>
                <a:gd name="connsiteY245" fmla="*/ 378809 h 1049655"/>
                <a:gd name="connsiteX246" fmla="*/ 476059 w 1216913"/>
                <a:gd name="connsiteY246" fmla="*/ 380619 h 1049655"/>
                <a:gd name="connsiteX247" fmla="*/ 472249 w 1216913"/>
                <a:gd name="connsiteY247" fmla="*/ 376238 h 1049655"/>
                <a:gd name="connsiteX248" fmla="*/ 475964 w 1216913"/>
                <a:gd name="connsiteY248" fmla="*/ 367760 h 1049655"/>
                <a:gd name="connsiteX249" fmla="*/ 470059 w 1216913"/>
                <a:gd name="connsiteY249" fmla="*/ 358902 h 1049655"/>
                <a:gd name="connsiteX250" fmla="*/ 468249 w 1216913"/>
                <a:gd name="connsiteY250" fmla="*/ 357569 h 1049655"/>
                <a:gd name="connsiteX251" fmla="*/ 453866 w 1216913"/>
                <a:gd name="connsiteY251" fmla="*/ 357759 h 1049655"/>
                <a:gd name="connsiteX252" fmla="*/ 451866 w 1216913"/>
                <a:gd name="connsiteY252" fmla="*/ 354806 h 1049655"/>
                <a:gd name="connsiteX253" fmla="*/ 448723 w 1216913"/>
                <a:gd name="connsiteY253" fmla="*/ 355187 h 1049655"/>
                <a:gd name="connsiteX254" fmla="*/ 448342 w 1216913"/>
                <a:gd name="connsiteY254" fmla="*/ 352044 h 1049655"/>
                <a:gd name="connsiteX255" fmla="*/ 444532 w 1216913"/>
                <a:gd name="connsiteY255" fmla="*/ 347758 h 1049655"/>
                <a:gd name="connsiteX256" fmla="*/ 441579 w 1216913"/>
                <a:gd name="connsiteY256" fmla="*/ 349663 h 1049655"/>
                <a:gd name="connsiteX257" fmla="*/ 439864 w 1216913"/>
                <a:gd name="connsiteY257" fmla="*/ 348329 h 1049655"/>
                <a:gd name="connsiteX258" fmla="*/ 434911 w 1216913"/>
                <a:gd name="connsiteY258" fmla="*/ 347377 h 1049655"/>
                <a:gd name="connsiteX259" fmla="*/ 430911 w 1216913"/>
                <a:gd name="connsiteY259" fmla="*/ 341471 h 1049655"/>
                <a:gd name="connsiteX260" fmla="*/ 433673 w 1216913"/>
                <a:gd name="connsiteY260" fmla="*/ 337852 h 1049655"/>
                <a:gd name="connsiteX261" fmla="*/ 434816 w 1216913"/>
                <a:gd name="connsiteY261" fmla="*/ 334518 h 1049655"/>
                <a:gd name="connsiteX262" fmla="*/ 432721 w 1216913"/>
                <a:gd name="connsiteY262" fmla="*/ 330041 h 1049655"/>
                <a:gd name="connsiteX263" fmla="*/ 427958 w 1216913"/>
                <a:gd name="connsiteY263" fmla="*/ 330613 h 1049655"/>
                <a:gd name="connsiteX264" fmla="*/ 431863 w 1216913"/>
                <a:gd name="connsiteY264" fmla="*/ 323659 h 1049655"/>
                <a:gd name="connsiteX265" fmla="*/ 428339 w 1216913"/>
                <a:gd name="connsiteY265" fmla="*/ 320897 h 1049655"/>
                <a:gd name="connsiteX266" fmla="*/ 429673 w 1216913"/>
                <a:gd name="connsiteY266" fmla="*/ 319183 h 1049655"/>
                <a:gd name="connsiteX267" fmla="*/ 428911 w 1216913"/>
                <a:gd name="connsiteY267" fmla="*/ 312801 h 1049655"/>
                <a:gd name="connsiteX268" fmla="*/ 422148 w 1216913"/>
                <a:gd name="connsiteY268" fmla="*/ 310515 h 1049655"/>
                <a:gd name="connsiteX269" fmla="*/ 423386 w 1216913"/>
                <a:gd name="connsiteY269" fmla="*/ 307086 h 1049655"/>
                <a:gd name="connsiteX270" fmla="*/ 419386 w 1216913"/>
                <a:gd name="connsiteY270" fmla="*/ 301180 h 1049655"/>
                <a:gd name="connsiteX271" fmla="*/ 417862 w 1216913"/>
                <a:gd name="connsiteY271" fmla="*/ 301466 h 1049655"/>
                <a:gd name="connsiteX272" fmla="*/ 420814 w 1216913"/>
                <a:gd name="connsiteY272" fmla="*/ 299466 h 1049655"/>
                <a:gd name="connsiteX273" fmla="*/ 420529 w 1216913"/>
                <a:gd name="connsiteY273" fmla="*/ 297847 h 1049655"/>
                <a:gd name="connsiteX274" fmla="*/ 419005 w 1216913"/>
                <a:gd name="connsiteY274" fmla="*/ 298037 h 1049655"/>
                <a:gd name="connsiteX275" fmla="*/ 420148 w 1216913"/>
                <a:gd name="connsiteY275" fmla="*/ 294703 h 1049655"/>
                <a:gd name="connsiteX276" fmla="*/ 416623 w 1216913"/>
                <a:gd name="connsiteY276" fmla="*/ 291941 h 1049655"/>
                <a:gd name="connsiteX277" fmla="*/ 416052 w 1216913"/>
                <a:gd name="connsiteY277" fmla="*/ 287179 h 1049655"/>
                <a:gd name="connsiteX278" fmla="*/ 413861 w 1216913"/>
                <a:gd name="connsiteY278" fmla="*/ 282702 h 1049655"/>
                <a:gd name="connsiteX279" fmla="*/ 408527 w 1216913"/>
                <a:gd name="connsiteY279" fmla="*/ 278511 h 1049655"/>
                <a:gd name="connsiteX280" fmla="*/ 405289 w 1216913"/>
                <a:gd name="connsiteY280" fmla="*/ 278987 h 1049655"/>
                <a:gd name="connsiteX281" fmla="*/ 405098 w 1216913"/>
                <a:gd name="connsiteY281" fmla="*/ 277368 h 1049655"/>
                <a:gd name="connsiteX282" fmla="*/ 398050 w 1216913"/>
                <a:gd name="connsiteY282" fmla="*/ 271844 h 1049655"/>
                <a:gd name="connsiteX283" fmla="*/ 399955 w 1216913"/>
                <a:gd name="connsiteY283" fmla="*/ 262033 h 1049655"/>
                <a:gd name="connsiteX284" fmla="*/ 379952 w 1216913"/>
                <a:gd name="connsiteY284" fmla="*/ 243650 h 1049655"/>
                <a:gd name="connsiteX285" fmla="*/ 374618 w 1216913"/>
                <a:gd name="connsiteY285" fmla="*/ 239554 h 1049655"/>
                <a:gd name="connsiteX286" fmla="*/ 364998 w 1216913"/>
                <a:gd name="connsiteY286" fmla="*/ 239173 h 1049655"/>
                <a:gd name="connsiteX287" fmla="*/ 360712 w 1216913"/>
                <a:gd name="connsiteY287" fmla="*/ 255746 h 1049655"/>
                <a:gd name="connsiteX288" fmla="*/ 350234 w 1216913"/>
                <a:gd name="connsiteY288" fmla="*/ 249079 h 1049655"/>
                <a:gd name="connsiteX289" fmla="*/ 343471 w 1216913"/>
                <a:gd name="connsiteY289" fmla="*/ 246698 h 1049655"/>
                <a:gd name="connsiteX290" fmla="*/ 334327 w 1216913"/>
                <a:gd name="connsiteY290" fmla="*/ 225457 h 1049655"/>
                <a:gd name="connsiteX291" fmla="*/ 325660 w 1216913"/>
                <a:gd name="connsiteY291" fmla="*/ 220123 h 1049655"/>
                <a:gd name="connsiteX292" fmla="*/ 318706 w 1216913"/>
                <a:gd name="connsiteY292" fmla="*/ 216217 h 1049655"/>
                <a:gd name="connsiteX293" fmla="*/ 318516 w 1216913"/>
                <a:gd name="connsiteY293" fmla="*/ 214598 h 1049655"/>
                <a:gd name="connsiteX294" fmla="*/ 313658 w 1216913"/>
                <a:gd name="connsiteY294" fmla="*/ 213646 h 1049655"/>
                <a:gd name="connsiteX295" fmla="*/ 309086 w 1216913"/>
                <a:gd name="connsiteY295" fmla="*/ 202978 h 1049655"/>
                <a:gd name="connsiteX296" fmla="*/ 301085 w 1216913"/>
                <a:gd name="connsiteY296" fmla="*/ 191167 h 1049655"/>
                <a:gd name="connsiteX297" fmla="*/ 306229 w 1216913"/>
                <a:gd name="connsiteY297" fmla="*/ 180880 h 1049655"/>
                <a:gd name="connsiteX298" fmla="*/ 309181 w 1216913"/>
                <a:gd name="connsiteY298" fmla="*/ 178975 h 1049655"/>
                <a:gd name="connsiteX299" fmla="*/ 317278 w 1216913"/>
                <a:gd name="connsiteY299" fmla="*/ 179546 h 1049655"/>
                <a:gd name="connsiteX300" fmla="*/ 322421 w 1216913"/>
                <a:gd name="connsiteY300" fmla="*/ 182023 h 1049655"/>
                <a:gd name="connsiteX301" fmla="*/ 326517 w 1216913"/>
                <a:gd name="connsiteY301" fmla="*/ 176689 h 1049655"/>
                <a:gd name="connsiteX302" fmla="*/ 331089 w 1216913"/>
                <a:gd name="connsiteY302" fmla="*/ 174593 h 1049655"/>
                <a:gd name="connsiteX303" fmla="*/ 337185 w 1216913"/>
                <a:gd name="connsiteY303" fmla="*/ 172212 h 1049655"/>
                <a:gd name="connsiteX304" fmla="*/ 349853 w 1216913"/>
                <a:gd name="connsiteY304" fmla="*/ 170593 h 1049655"/>
                <a:gd name="connsiteX305" fmla="*/ 358711 w 1216913"/>
                <a:gd name="connsiteY305" fmla="*/ 164592 h 1049655"/>
                <a:gd name="connsiteX306" fmla="*/ 362045 w 1216913"/>
                <a:gd name="connsiteY306" fmla="*/ 165830 h 1049655"/>
                <a:gd name="connsiteX307" fmla="*/ 366617 w 1216913"/>
                <a:gd name="connsiteY307" fmla="*/ 163640 h 1049655"/>
                <a:gd name="connsiteX308" fmla="*/ 369951 w 1216913"/>
                <a:gd name="connsiteY308" fmla="*/ 164782 h 1049655"/>
                <a:gd name="connsiteX309" fmla="*/ 377380 w 1216913"/>
                <a:gd name="connsiteY309" fmla="*/ 160592 h 1049655"/>
                <a:gd name="connsiteX310" fmla="*/ 376809 w 1216913"/>
                <a:gd name="connsiteY310" fmla="*/ 155924 h 1049655"/>
                <a:gd name="connsiteX311" fmla="*/ 381381 w 1216913"/>
                <a:gd name="connsiteY311" fmla="*/ 153734 h 1049655"/>
                <a:gd name="connsiteX312" fmla="*/ 380333 w 1216913"/>
                <a:gd name="connsiteY312" fmla="*/ 145828 h 1049655"/>
                <a:gd name="connsiteX313" fmla="*/ 384715 w 1216913"/>
                <a:gd name="connsiteY313" fmla="*/ 142018 h 1049655"/>
                <a:gd name="connsiteX314" fmla="*/ 385858 w 1216913"/>
                <a:gd name="connsiteY314" fmla="*/ 138684 h 1049655"/>
                <a:gd name="connsiteX315" fmla="*/ 388810 w 1216913"/>
                <a:gd name="connsiteY315" fmla="*/ 136684 h 1049655"/>
                <a:gd name="connsiteX316" fmla="*/ 392335 w 1216913"/>
                <a:gd name="connsiteY316" fmla="*/ 139446 h 1049655"/>
                <a:gd name="connsiteX317" fmla="*/ 400621 w 1216913"/>
                <a:gd name="connsiteY317" fmla="*/ 141637 h 1049655"/>
                <a:gd name="connsiteX318" fmla="*/ 406527 w 1216913"/>
                <a:gd name="connsiteY318" fmla="*/ 137636 h 1049655"/>
                <a:gd name="connsiteX319" fmla="*/ 412909 w 1216913"/>
                <a:gd name="connsiteY319" fmla="*/ 136874 h 1049655"/>
                <a:gd name="connsiteX320" fmla="*/ 412051 w 1216913"/>
                <a:gd name="connsiteY320" fmla="*/ 130588 h 1049655"/>
                <a:gd name="connsiteX321" fmla="*/ 412813 w 1216913"/>
                <a:gd name="connsiteY321" fmla="*/ 124015 h 1049655"/>
                <a:gd name="connsiteX322" fmla="*/ 412051 w 1216913"/>
                <a:gd name="connsiteY322" fmla="*/ 117729 h 1049655"/>
                <a:gd name="connsiteX323" fmla="*/ 416528 w 1216913"/>
                <a:gd name="connsiteY323" fmla="*/ 102679 h 1049655"/>
                <a:gd name="connsiteX324" fmla="*/ 400336 w 1216913"/>
                <a:gd name="connsiteY324" fmla="*/ 88773 h 1049655"/>
                <a:gd name="connsiteX325" fmla="*/ 387858 w 1216913"/>
                <a:gd name="connsiteY325" fmla="*/ 79153 h 1049655"/>
                <a:gd name="connsiteX326" fmla="*/ 388620 w 1216913"/>
                <a:gd name="connsiteY326" fmla="*/ 72580 h 1049655"/>
                <a:gd name="connsiteX327" fmla="*/ 388620 w 1216913"/>
                <a:gd name="connsiteY327" fmla="*/ 59722 h 1049655"/>
                <a:gd name="connsiteX328" fmla="*/ 394335 w 1216913"/>
                <a:gd name="connsiteY328" fmla="*/ 54197 h 1049655"/>
                <a:gd name="connsiteX329" fmla="*/ 398812 w 1216913"/>
                <a:gd name="connsiteY329" fmla="*/ 39243 h 1049655"/>
                <a:gd name="connsiteX330" fmla="*/ 403193 w 1216913"/>
                <a:gd name="connsiteY330" fmla="*/ 35433 h 1049655"/>
                <a:gd name="connsiteX331" fmla="*/ 402812 w 1216913"/>
                <a:gd name="connsiteY331" fmla="*/ 32290 h 1049655"/>
                <a:gd name="connsiteX332" fmla="*/ 405765 w 1216913"/>
                <a:gd name="connsiteY332" fmla="*/ 30290 h 1049655"/>
                <a:gd name="connsiteX333" fmla="*/ 403765 w 1216913"/>
                <a:gd name="connsiteY333" fmla="*/ 27337 h 1049655"/>
                <a:gd name="connsiteX334" fmla="*/ 394240 w 1216913"/>
                <a:gd name="connsiteY334" fmla="*/ 28575 h 1049655"/>
                <a:gd name="connsiteX335" fmla="*/ 392335 w 1216913"/>
                <a:gd name="connsiteY335" fmla="*/ 25622 h 1049655"/>
                <a:gd name="connsiteX336" fmla="*/ 387382 w 1216913"/>
                <a:gd name="connsiteY336" fmla="*/ 24670 h 1049655"/>
                <a:gd name="connsiteX337" fmla="*/ 381952 w 1216913"/>
                <a:gd name="connsiteY337" fmla="*/ 7715 h 1049655"/>
                <a:gd name="connsiteX338" fmla="*/ 366617 w 1216913"/>
                <a:gd name="connsiteY338" fmla="*/ 0 h 1049655"/>
                <a:gd name="connsiteX339" fmla="*/ 358711 w 1216913"/>
                <a:gd name="connsiteY339" fmla="*/ 1048 h 1049655"/>
                <a:gd name="connsiteX340" fmla="*/ 360331 w 1216913"/>
                <a:gd name="connsiteY340" fmla="*/ 13621 h 1049655"/>
                <a:gd name="connsiteX341" fmla="*/ 358330 w 1216913"/>
                <a:gd name="connsiteY341" fmla="*/ 23527 h 1049655"/>
                <a:gd name="connsiteX342" fmla="*/ 360521 w 1216913"/>
                <a:gd name="connsiteY342" fmla="*/ 28099 h 1049655"/>
                <a:gd name="connsiteX343" fmla="*/ 360712 w 1216913"/>
                <a:gd name="connsiteY343" fmla="*/ 29623 h 1049655"/>
                <a:gd name="connsiteX344" fmla="*/ 359378 w 1216913"/>
                <a:gd name="connsiteY344" fmla="*/ 31432 h 1049655"/>
                <a:gd name="connsiteX345" fmla="*/ 340614 w 1216913"/>
                <a:gd name="connsiteY345" fmla="*/ 48196 h 1049655"/>
                <a:gd name="connsiteX346" fmla="*/ 335375 w 1216913"/>
                <a:gd name="connsiteY346" fmla="*/ 56959 h 1049655"/>
                <a:gd name="connsiteX347" fmla="*/ 323279 w 1216913"/>
                <a:gd name="connsiteY347" fmla="*/ 63246 h 1049655"/>
                <a:gd name="connsiteX348" fmla="*/ 312706 w 1216913"/>
                <a:gd name="connsiteY348" fmla="*/ 67818 h 1049655"/>
                <a:gd name="connsiteX349" fmla="*/ 309753 w 1216913"/>
                <a:gd name="connsiteY349" fmla="*/ 69818 h 1049655"/>
                <a:gd name="connsiteX350" fmla="*/ 303181 w 1216913"/>
                <a:gd name="connsiteY350" fmla="*/ 69056 h 1049655"/>
                <a:gd name="connsiteX351" fmla="*/ 302800 w 1216913"/>
                <a:gd name="connsiteY351" fmla="*/ 65913 h 1049655"/>
                <a:gd name="connsiteX352" fmla="*/ 299466 w 1216913"/>
                <a:gd name="connsiteY352" fmla="*/ 64675 h 1049655"/>
                <a:gd name="connsiteX353" fmla="*/ 298609 w 1216913"/>
                <a:gd name="connsiteY353" fmla="*/ 58388 h 1049655"/>
                <a:gd name="connsiteX354" fmla="*/ 295084 w 1216913"/>
                <a:gd name="connsiteY354" fmla="*/ 55626 h 1049655"/>
                <a:gd name="connsiteX355" fmla="*/ 287179 w 1216913"/>
                <a:gd name="connsiteY355" fmla="*/ 56674 h 1049655"/>
                <a:gd name="connsiteX356" fmla="*/ 285845 w 1216913"/>
                <a:gd name="connsiteY356" fmla="*/ 58388 h 1049655"/>
                <a:gd name="connsiteX357" fmla="*/ 279749 w 1216913"/>
                <a:gd name="connsiteY357" fmla="*/ 60865 h 1049655"/>
                <a:gd name="connsiteX358" fmla="*/ 275558 w 1216913"/>
                <a:gd name="connsiteY358" fmla="*/ 66199 h 1049655"/>
                <a:gd name="connsiteX359" fmla="*/ 272224 w 1216913"/>
                <a:gd name="connsiteY359" fmla="*/ 64960 h 1049655"/>
                <a:gd name="connsiteX360" fmla="*/ 266129 w 1216913"/>
                <a:gd name="connsiteY360" fmla="*/ 67342 h 1049655"/>
                <a:gd name="connsiteX361" fmla="*/ 261175 w 1216913"/>
                <a:gd name="connsiteY361" fmla="*/ 66389 h 1049655"/>
                <a:gd name="connsiteX362" fmla="*/ 256032 w 1216913"/>
                <a:gd name="connsiteY362" fmla="*/ 63817 h 1049655"/>
                <a:gd name="connsiteX363" fmla="*/ 251079 w 1216913"/>
                <a:gd name="connsiteY363" fmla="*/ 62865 h 1049655"/>
                <a:gd name="connsiteX364" fmla="*/ 249364 w 1216913"/>
                <a:gd name="connsiteY364" fmla="*/ 61436 h 1049655"/>
                <a:gd name="connsiteX365" fmla="*/ 244602 w 1216913"/>
                <a:gd name="connsiteY365" fmla="*/ 62103 h 1049655"/>
                <a:gd name="connsiteX366" fmla="*/ 228409 w 1216913"/>
                <a:gd name="connsiteY366" fmla="*/ 60960 h 1049655"/>
                <a:gd name="connsiteX367" fmla="*/ 214789 w 1216913"/>
                <a:gd name="connsiteY367" fmla="*/ 67437 h 1049655"/>
                <a:gd name="connsiteX368" fmla="*/ 211836 w 1216913"/>
                <a:gd name="connsiteY368" fmla="*/ 69437 h 1049655"/>
                <a:gd name="connsiteX369" fmla="*/ 210121 w 1216913"/>
                <a:gd name="connsiteY369" fmla="*/ 68104 h 1049655"/>
                <a:gd name="connsiteX370" fmla="*/ 205740 w 1216913"/>
                <a:gd name="connsiteY370" fmla="*/ 71819 h 1049655"/>
                <a:gd name="connsiteX371" fmla="*/ 202216 w 1216913"/>
                <a:gd name="connsiteY371" fmla="*/ 69056 h 1049655"/>
                <a:gd name="connsiteX372" fmla="*/ 200596 w 1216913"/>
                <a:gd name="connsiteY372" fmla="*/ 69247 h 1049655"/>
                <a:gd name="connsiteX373" fmla="*/ 202025 w 1216913"/>
                <a:gd name="connsiteY373" fmla="*/ 80296 h 1049655"/>
                <a:gd name="connsiteX374" fmla="*/ 200882 w 1216913"/>
                <a:gd name="connsiteY374" fmla="*/ 83725 h 1049655"/>
                <a:gd name="connsiteX375" fmla="*/ 196310 w 1216913"/>
                <a:gd name="connsiteY375" fmla="*/ 85915 h 1049655"/>
                <a:gd name="connsiteX376" fmla="*/ 190405 w 1216913"/>
                <a:gd name="connsiteY376" fmla="*/ 89821 h 1049655"/>
                <a:gd name="connsiteX377" fmla="*/ 183451 w 1216913"/>
                <a:gd name="connsiteY377" fmla="*/ 85915 h 1049655"/>
                <a:gd name="connsiteX378" fmla="*/ 181927 w 1216913"/>
                <a:gd name="connsiteY378" fmla="*/ 98965 h 1049655"/>
                <a:gd name="connsiteX379" fmla="*/ 179546 w 1216913"/>
                <a:gd name="connsiteY379" fmla="*/ 105632 h 1049655"/>
                <a:gd name="connsiteX380" fmla="*/ 182404 w 1216913"/>
                <a:gd name="connsiteY380" fmla="*/ 114967 h 1049655"/>
                <a:gd name="connsiteX381" fmla="*/ 181546 w 1216913"/>
                <a:gd name="connsiteY381" fmla="*/ 121444 h 1049655"/>
                <a:gd name="connsiteX382" fmla="*/ 182404 w 1216913"/>
                <a:gd name="connsiteY382" fmla="*/ 127730 h 1049655"/>
                <a:gd name="connsiteX383" fmla="*/ 179641 w 1216913"/>
                <a:gd name="connsiteY383" fmla="*/ 131350 h 1049655"/>
                <a:gd name="connsiteX384" fmla="*/ 180213 w 1216913"/>
                <a:gd name="connsiteY384" fmla="*/ 136017 h 1049655"/>
                <a:gd name="connsiteX385" fmla="*/ 174307 w 1216913"/>
                <a:gd name="connsiteY385" fmla="*/ 140017 h 1049655"/>
                <a:gd name="connsiteX386" fmla="*/ 166021 w 1216913"/>
                <a:gd name="connsiteY386" fmla="*/ 137827 h 1049655"/>
                <a:gd name="connsiteX387" fmla="*/ 163068 w 1216913"/>
                <a:gd name="connsiteY387" fmla="*/ 139827 h 1049655"/>
                <a:gd name="connsiteX388" fmla="*/ 157734 w 1216913"/>
                <a:gd name="connsiteY388" fmla="*/ 135731 h 1049655"/>
                <a:gd name="connsiteX389" fmla="*/ 150019 w 1216913"/>
                <a:gd name="connsiteY389" fmla="*/ 125444 h 1049655"/>
                <a:gd name="connsiteX390" fmla="*/ 148209 w 1216913"/>
                <a:gd name="connsiteY390" fmla="*/ 124111 h 1049655"/>
                <a:gd name="connsiteX391" fmla="*/ 144971 w 1216913"/>
                <a:gd name="connsiteY391" fmla="*/ 135731 h 1049655"/>
                <a:gd name="connsiteX392" fmla="*/ 136493 w 1216913"/>
                <a:gd name="connsiteY392" fmla="*/ 144780 h 1049655"/>
                <a:gd name="connsiteX393" fmla="*/ 129159 w 1216913"/>
                <a:gd name="connsiteY393" fmla="*/ 163354 h 1049655"/>
                <a:gd name="connsiteX394" fmla="*/ 121920 w 1216913"/>
                <a:gd name="connsiteY394" fmla="*/ 169164 h 1049655"/>
                <a:gd name="connsiteX395" fmla="*/ 108299 w 1216913"/>
                <a:gd name="connsiteY395" fmla="*/ 162877 h 1049655"/>
                <a:gd name="connsiteX396" fmla="*/ 102394 w 1216913"/>
                <a:gd name="connsiteY396" fmla="*/ 166783 h 1049655"/>
                <a:gd name="connsiteX397" fmla="*/ 98488 w 1216913"/>
                <a:gd name="connsiteY397" fmla="*/ 173736 h 1049655"/>
                <a:gd name="connsiteX398" fmla="*/ 99250 w 1216913"/>
                <a:gd name="connsiteY398" fmla="*/ 180023 h 1049655"/>
                <a:gd name="connsiteX399" fmla="*/ 94964 w 1216913"/>
                <a:gd name="connsiteY399" fmla="*/ 183832 h 1049655"/>
                <a:gd name="connsiteX400" fmla="*/ 91916 w 1216913"/>
                <a:gd name="connsiteY400" fmla="*/ 185738 h 1049655"/>
                <a:gd name="connsiteX401" fmla="*/ 86582 w 1216913"/>
                <a:gd name="connsiteY401" fmla="*/ 181642 h 1049655"/>
                <a:gd name="connsiteX402" fmla="*/ 81534 w 1216913"/>
                <a:gd name="connsiteY402" fmla="*/ 191929 h 1049655"/>
                <a:gd name="connsiteX403" fmla="*/ 77343 w 1216913"/>
                <a:gd name="connsiteY403" fmla="*/ 197263 h 1049655"/>
                <a:gd name="connsiteX404" fmla="*/ 69342 w 1216913"/>
                <a:gd name="connsiteY404" fmla="*/ 209550 h 1049655"/>
                <a:gd name="connsiteX405" fmla="*/ 66199 w 1216913"/>
                <a:gd name="connsiteY405" fmla="*/ 209931 h 1049655"/>
                <a:gd name="connsiteX406" fmla="*/ 55912 w 1216913"/>
                <a:gd name="connsiteY406" fmla="*/ 217646 h 1049655"/>
                <a:gd name="connsiteX407" fmla="*/ 58483 w 1216913"/>
                <a:gd name="connsiteY407" fmla="*/ 225361 h 1049655"/>
                <a:gd name="connsiteX408" fmla="*/ 59912 w 1216913"/>
                <a:gd name="connsiteY408" fmla="*/ 236411 h 1049655"/>
                <a:gd name="connsiteX409" fmla="*/ 63913 w 1216913"/>
                <a:gd name="connsiteY409" fmla="*/ 242316 h 1049655"/>
                <a:gd name="connsiteX410" fmla="*/ 59912 w 1216913"/>
                <a:gd name="connsiteY410" fmla="*/ 249174 h 1049655"/>
                <a:gd name="connsiteX411" fmla="*/ 44196 w 1216913"/>
                <a:gd name="connsiteY411" fmla="*/ 264033 h 1049655"/>
                <a:gd name="connsiteX412" fmla="*/ 51721 w 1216913"/>
                <a:gd name="connsiteY412" fmla="*/ 285559 h 1049655"/>
                <a:gd name="connsiteX413" fmla="*/ 51340 w 1216913"/>
                <a:gd name="connsiteY413" fmla="*/ 295180 h 1049655"/>
                <a:gd name="connsiteX414" fmla="*/ 53721 w 1216913"/>
                <a:gd name="connsiteY414" fmla="*/ 301276 h 1049655"/>
                <a:gd name="connsiteX415" fmla="*/ 54769 w 1216913"/>
                <a:gd name="connsiteY415" fmla="*/ 309182 h 1049655"/>
                <a:gd name="connsiteX416" fmla="*/ 47530 w 1216913"/>
                <a:gd name="connsiteY416" fmla="*/ 327755 h 1049655"/>
                <a:gd name="connsiteX417" fmla="*/ 39814 w 1216913"/>
                <a:gd name="connsiteY417" fmla="*/ 330327 h 1049655"/>
                <a:gd name="connsiteX418" fmla="*/ 37242 w 1216913"/>
                <a:gd name="connsiteY418" fmla="*/ 335471 h 1049655"/>
                <a:gd name="connsiteX419" fmla="*/ 31718 w 1216913"/>
                <a:gd name="connsiteY419" fmla="*/ 342614 h 1049655"/>
                <a:gd name="connsiteX420" fmla="*/ 24098 w 1216913"/>
                <a:gd name="connsiteY420" fmla="*/ 345186 h 1049655"/>
                <a:gd name="connsiteX421" fmla="*/ 19526 w 1216913"/>
                <a:gd name="connsiteY421" fmla="*/ 360140 h 1049655"/>
                <a:gd name="connsiteX422" fmla="*/ 11049 w 1216913"/>
                <a:gd name="connsiteY422" fmla="*/ 369284 h 1049655"/>
                <a:gd name="connsiteX423" fmla="*/ 12668 w 1216913"/>
                <a:gd name="connsiteY423" fmla="*/ 381857 h 1049655"/>
                <a:gd name="connsiteX424" fmla="*/ 15049 w 1216913"/>
                <a:gd name="connsiteY424" fmla="*/ 388048 h 1049655"/>
                <a:gd name="connsiteX425" fmla="*/ 14288 w 1216913"/>
                <a:gd name="connsiteY425" fmla="*/ 394526 h 1049655"/>
                <a:gd name="connsiteX426" fmla="*/ 5429 w 1216913"/>
                <a:gd name="connsiteY426" fmla="*/ 400431 h 1049655"/>
                <a:gd name="connsiteX427" fmla="*/ 3905 w 1216913"/>
                <a:gd name="connsiteY427" fmla="*/ 400622 h 1049655"/>
                <a:gd name="connsiteX428" fmla="*/ 6286 w 1216913"/>
                <a:gd name="connsiteY428" fmla="*/ 406813 h 1049655"/>
                <a:gd name="connsiteX429" fmla="*/ 14764 w 1216913"/>
                <a:gd name="connsiteY429" fmla="*/ 410528 h 1049655"/>
                <a:gd name="connsiteX430" fmla="*/ 29432 w 1216913"/>
                <a:gd name="connsiteY430" fmla="*/ 424720 h 1049655"/>
                <a:gd name="connsiteX431" fmla="*/ 33528 w 1216913"/>
                <a:gd name="connsiteY431" fmla="*/ 432149 h 1049655"/>
                <a:gd name="connsiteX432" fmla="*/ 33718 w 1216913"/>
                <a:gd name="connsiteY432" fmla="*/ 433769 h 1049655"/>
                <a:gd name="connsiteX433" fmla="*/ 36100 w 1216913"/>
                <a:gd name="connsiteY433" fmla="*/ 439865 h 1049655"/>
                <a:gd name="connsiteX434" fmla="*/ 33338 w 1216913"/>
                <a:gd name="connsiteY434" fmla="*/ 443389 h 1049655"/>
                <a:gd name="connsiteX435" fmla="*/ 35338 w 1216913"/>
                <a:gd name="connsiteY435" fmla="*/ 446341 h 1049655"/>
                <a:gd name="connsiteX436" fmla="*/ 32766 w 1216913"/>
                <a:gd name="connsiteY436" fmla="*/ 451485 h 1049655"/>
                <a:gd name="connsiteX437" fmla="*/ 31051 w 1216913"/>
                <a:gd name="connsiteY437" fmla="*/ 450152 h 1049655"/>
                <a:gd name="connsiteX438" fmla="*/ 28861 w 1216913"/>
                <a:gd name="connsiteY438" fmla="*/ 458438 h 1049655"/>
                <a:gd name="connsiteX439" fmla="*/ 22574 w 1216913"/>
                <a:gd name="connsiteY439" fmla="*/ 459200 h 1049655"/>
                <a:gd name="connsiteX440" fmla="*/ 21622 w 1216913"/>
                <a:gd name="connsiteY440" fmla="*/ 464153 h 1049655"/>
                <a:gd name="connsiteX441" fmla="*/ 17050 w 1216913"/>
                <a:gd name="connsiteY441" fmla="*/ 466344 h 1049655"/>
                <a:gd name="connsiteX442" fmla="*/ 17431 w 1216913"/>
                <a:gd name="connsiteY442" fmla="*/ 469487 h 1049655"/>
                <a:gd name="connsiteX443" fmla="*/ 9811 w 1216913"/>
                <a:gd name="connsiteY443" fmla="*/ 472059 h 1049655"/>
                <a:gd name="connsiteX444" fmla="*/ 12097 w 1216913"/>
                <a:gd name="connsiteY444" fmla="*/ 478155 h 1049655"/>
                <a:gd name="connsiteX445" fmla="*/ 10954 w 1216913"/>
                <a:gd name="connsiteY445" fmla="*/ 481584 h 1049655"/>
                <a:gd name="connsiteX446" fmla="*/ 19240 w 1216913"/>
                <a:gd name="connsiteY446" fmla="*/ 483679 h 1049655"/>
                <a:gd name="connsiteX447" fmla="*/ 16954 w 1216913"/>
                <a:gd name="connsiteY447" fmla="*/ 490442 h 1049655"/>
                <a:gd name="connsiteX448" fmla="*/ 17335 w 1216913"/>
                <a:gd name="connsiteY448" fmla="*/ 493586 h 1049655"/>
                <a:gd name="connsiteX449" fmla="*/ 15907 w 1216913"/>
                <a:gd name="connsiteY449" fmla="*/ 495395 h 1049655"/>
                <a:gd name="connsiteX450" fmla="*/ 14192 w 1216913"/>
                <a:gd name="connsiteY450" fmla="*/ 493966 h 1049655"/>
                <a:gd name="connsiteX451" fmla="*/ 13144 w 1216913"/>
                <a:gd name="connsiteY451" fmla="*/ 498919 h 1049655"/>
                <a:gd name="connsiteX452" fmla="*/ 13430 w 1216913"/>
                <a:gd name="connsiteY452" fmla="*/ 500539 h 1049655"/>
                <a:gd name="connsiteX453" fmla="*/ 7715 w 1216913"/>
                <a:gd name="connsiteY453" fmla="*/ 506063 h 1049655"/>
                <a:gd name="connsiteX454" fmla="*/ 6477 w 1216913"/>
                <a:gd name="connsiteY454" fmla="*/ 509397 h 1049655"/>
                <a:gd name="connsiteX455" fmla="*/ 1714 w 1216913"/>
                <a:gd name="connsiteY455" fmla="*/ 509969 h 1049655"/>
                <a:gd name="connsiteX456" fmla="*/ 4191 w 1216913"/>
                <a:gd name="connsiteY456" fmla="*/ 516065 h 1049655"/>
                <a:gd name="connsiteX457" fmla="*/ 952 w 1216913"/>
                <a:gd name="connsiteY457" fmla="*/ 516541 h 1049655"/>
                <a:gd name="connsiteX458" fmla="*/ 0 w 1216913"/>
                <a:gd name="connsiteY458" fmla="*/ 521398 h 1049655"/>
                <a:gd name="connsiteX459" fmla="*/ 8477 w 1216913"/>
                <a:gd name="connsiteY459" fmla="*/ 525208 h 1049655"/>
                <a:gd name="connsiteX460" fmla="*/ 10858 w 1216913"/>
                <a:gd name="connsiteY460" fmla="*/ 531304 h 1049655"/>
                <a:gd name="connsiteX461" fmla="*/ 10287 w 1216913"/>
                <a:gd name="connsiteY461" fmla="*/ 539401 h 1049655"/>
                <a:gd name="connsiteX462" fmla="*/ 12859 w 1216913"/>
                <a:gd name="connsiteY462" fmla="*/ 534257 h 1049655"/>
                <a:gd name="connsiteX463" fmla="*/ 16192 w 1216913"/>
                <a:gd name="connsiteY463" fmla="*/ 535400 h 1049655"/>
                <a:gd name="connsiteX464" fmla="*/ 18192 w 1216913"/>
                <a:gd name="connsiteY464" fmla="*/ 538353 h 1049655"/>
                <a:gd name="connsiteX465" fmla="*/ 19050 w 1216913"/>
                <a:gd name="connsiteY465" fmla="*/ 544640 h 1049655"/>
                <a:gd name="connsiteX466" fmla="*/ 23622 w 1216913"/>
                <a:gd name="connsiteY466" fmla="*/ 555307 h 1049655"/>
                <a:gd name="connsiteX467" fmla="*/ 26956 w 1216913"/>
                <a:gd name="connsiteY467" fmla="*/ 556546 h 1049655"/>
                <a:gd name="connsiteX468" fmla="*/ 29146 w 1216913"/>
                <a:gd name="connsiteY468" fmla="*/ 561023 h 1049655"/>
                <a:gd name="connsiteX469" fmla="*/ 36195 w 1216913"/>
                <a:gd name="connsiteY469" fmla="*/ 553688 h 1049655"/>
                <a:gd name="connsiteX470" fmla="*/ 39338 w 1216913"/>
                <a:gd name="connsiteY470" fmla="*/ 553307 h 1049655"/>
                <a:gd name="connsiteX471" fmla="*/ 44291 w 1216913"/>
                <a:gd name="connsiteY471" fmla="*/ 554260 h 1049655"/>
                <a:gd name="connsiteX472" fmla="*/ 43720 w 1216913"/>
                <a:gd name="connsiteY472" fmla="*/ 549593 h 1049655"/>
                <a:gd name="connsiteX473" fmla="*/ 45053 w 1216913"/>
                <a:gd name="connsiteY473" fmla="*/ 547783 h 1049655"/>
                <a:gd name="connsiteX474" fmla="*/ 50197 w 1216913"/>
                <a:gd name="connsiteY474" fmla="*/ 550354 h 1049655"/>
                <a:gd name="connsiteX475" fmla="*/ 53911 w 1216913"/>
                <a:gd name="connsiteY475" fmla="*/ 541877 h 1049655"/>
                <a:gd name="connsiteX476" fmla="*/ 57055 w 1216913"/>
                <a:gd name="connsiteY476" fmla="*/ 541401 h 1049655"/>
                <a:gd name="connsiteX477" fmla="*/ 54578 w 1216913"/>
                <a:gd name="connsiteY477" fmla="*/ 559403 h 1049655"/>
                <a:gd name="connsiteX478" fmla="*/ 48482 w 1216913"/>
                <a:gd name="connsiteY478" fmla="*/ 574643 h 1049655"/>
                <a:gd name="connsiteX479" fmla="*/ 46101 w 1216913"/>
                <a:gd name="connsiteY479" fmla="*/ 581311 h 1049655"/>
                <a:gd name="connsiteX480" fmla="*/ 49244 w 1216913"/>
                <a:gd name="connsiteY480" fmla="*/ 580930 h 1049655"/>
                <a:gd name="connsiteX481" fmla="*/ 49721 w 1216913"/>
                <a:gd name="connsiteY481" fmla="*/ 584073 h 1049655"/>
                <a:gd name="connsiteX482" fmla="*/ 51435 w 1216913"/>
                <a:gd name="connsiteY482" fmla="*/ 585407 h 1049655"/>
                <a:gd name="connsiteX483" fmla="*/ 51911 w 1216913"/>
                <a:gd name="connsiteY483" fmla="*/ 588645 h 1049655"/>
                <a:gd name="connsiteX484" fmla="*/ 53245 w 1216913"/>
                <a:gd name="connsiteY484" fmla="*/ 586835 h 1049655"/>
                <a:gd name="connsiteX485" fmla="*/ 56197 w 1216913"/>
                <a:gd name="connsiteY485" fmla="*/ 584835 h 1049655"/>
                <a:gd name="connsiteX486" fmla="*/ 58007 w 1216913"/>
                <a:gd name="connsiteY486" fmla="*/ 586264 h 1049655"/>
                <a:gd name="connsiteX487" fmla="*/ 59531 w 1216913"/>
                <a:gd name="connsiteY487" fmla="*/ 585978 h 1049655"/>
                <a:gd name="connsiteX488" fmla="*/ 59150 w 1216913"/>
                <a:gd name="connsiteY488" fmla="*/ 582835 h 1049655"/>
                <a:gd name="connsiteX489" fmla="*/ 62293 w 1216913"/>
                <a:gd name="connsiteY489" fmla="*/ 582454 h 1049655"/>
                <a:gd name="connsiteX490" fmla="*/ 63532 w 1216913"/>
                <a:gd name="connsiteY490" fmla="*/ 579120 h 1049655"/>
                <a:gd name="connsiteX491" fmla="*/ 65437 w 1216913"/>
                <a:gd name="connsiteY491" fmla="*/ 582073 h 1049655"/>
                <a:gd name="connsiteX492" fmla="*/ 70009 w 1216913"/>
                <a:gd name="connsiteY492" fmla="*/ 579882 h 1049655"/>
                <a:gd name="connsiteX493" fmla="*/ 73533 w 1216913"/>
                <a:gd name="connsiteY493" fmla="*/ 582644 h 1049655"/>
                <a:gd name="connsiteX494" fmla="*/ 76486 w 1216913"/>
                <a:gd name="connsiteY494" fmla="*/ 580644 h 1049655"/>
                <a:gd name="connsiteX495" fmla="*/ 78867 w 1216913"/>
                <a:gd name="connsiteY495" fmla="*/ 586740 h 1049655"/>
                <a:gd name="connsiteX496" fmla="*/ 85439 w 1216913"/>
                <a:gd name="connsiteY496" fmla="*/ 587502 h 1049655"/>
                <a:gd name="connsiteX497" fmla="*/ 88963 w 1216913"/>
                <a:gd name="connsiteY497" fmla="*/ 590264 h 1049655"/>
                <a:gd name="connsiteX498" fmla="*/ 93535 w 1216913"/>
                <a:gd name="connsiteY498" fmla="*/ 588074 h 1049655"/>
                <a:gd name="connsiteX499" fmla="*/ 95536 w 1216913"/>
                <a:gd name="connsiteY499" fmla="*/ 591026 h 1049655"/>
                <a:gd name="connsiteX500" fmla="*/ 96107 w 1216913"/>
                <a:gd name="connsiteY500" fmla="*/ 595789 h 1049655"/>
                <a:gd name="connsiteX501" fmla="*/ 97250 w 1216913"/>
                <a:gd name="connsiteY501" fmla="*/ 592455 h 1049655"/>
                <a:gd name="connsiteX502" fmla="*/ 98869 w 1216913"/>
                <a:gd name="connsiteY502" fmla="*/ 592265 h 1049655"/>
                <a:gd name="connsiteX503" fmla="*/ 104204 w 1216913"/>
                <a:gd name="connsiteY503" fmla="*/ 596360 h 1049655"/>
                <a:gd name="connsiteX504" fmla="*/ 104394 w 1216913"/>
                <a:gd name="connsiteY504" fmla="*/ 597979 h 1049655"/>
                <a:gd name="connsiteX505" fmla="*/ 104584 w 1216913"/>
                <a:gd name="connsiteY505" fmla="*/ 599503 h 1049655"/>
                <a:gd name="connsiteX506" fmla="*/ 109538 w 1216913"/>
                <a:gd name="connsiteY506" fmla="*/ 600551 h 1049655"/>
                <a:gd name="connsiteX507" fmla="*/ 115633 w 1216913"/>
                <a:gd name="connsiteY507" fmla="*/ 598075 h 1049655"/>
                <a:gd name="connsiteX508" fmla="*/ 127254 w 1216913"/>
                <a:gd name="connsiteY508" fmla="*/ 601408 h 1049655"/>
                <a:gd name="connsiteX509" fmla="*/ 126301 w 1216913"/>
                <a:gd name="connsiteY509" fmla="*/ 606361 h 1049655"/>
                <a:gd name="connsiteX510" fmla="*/ 128302 w 1216913"/>
                <a:gd name="connsiteY510" fmla="*/ 609314 h 1049655"/>
                <a:gd name="connsiteX511" fmla="*/ 130873 w 1216913"/>
                <a:gd name="connsiteY511" fmla="*/ 604171 h 1049655"/>
                <a:gd name="connsiteX512" fmla="*/ 133636 w 1216913"/>
                <a:gd name="connsiteY512" fmla="*/ 600647 h 1049655"/>
                <a:gd name="connsiteX513" fmla="*/ 143065 w 1216913"/>
                <a:gd name="connsiteY513" fmla="*/ 599408 h 1049655"/>
                <a:gd name="connsiteX514" fmla="*/ 150400 w 1216913"/>
                <a:gd name="connsiteY514" fmla="*/ 593693 h 1049655"/>
                <a:gd name="connsiteX515" fmla="*/ 157829 w 1216913"/>
                <a:gd name="connsiteY515" fmla="*/ 602361 h 1049655"/>
                <a:gd name="connsiteX516" fmla="*/ 159258 w 1216913"/>
                <a:gd name="connsiteY516" fmla="*/ 600551 h 1049655"/>
                <a:gd name="connsiteX517" fmla="*/ 161258 w 1216913"/>
                <a:gd name="connsiteY517" fmla="*/ 603504 h 1049655"/>
                <a:gd name="connsiteX518" fmla="*/ 172688 w 1216913"/>
                <a:gd name="connsiteY518" fmla="*/ 618077 h 1049655"/>
                <a:gd name="connsiteX519" fmla="*/ 174688 w 1216913"/>
                <a:gd name="connsiteY519" fmla="*/ 621030 h 1049655"/>
                <a:gd name="connsiteX520" fmla="*/ 177832 w 1216913"/>
                <a:gd name="connsiteY520" fmla="*/ 620649 h 1049655"/>
                <a:gd name="connsiteX521" fmla="*/ 180022 w 1216913"/>
                <a:gd name="connsiteY521" fmla="*/ 625221 h 1049655"/>
                <a:gd name="connsiteX522" fmla="*/ 186976 w 1216913"/>
                <a:gd name="connsiteY522" fmla="*/ 629126 h 1049655"/>
                <a:gd name="connsiteX523" fmla="*/ 189357 w 1216913"/>
                <a:gd name="connsiteY523" fmla="*/ 635222 h 1049655"/>
                <a:gd name="connsiteX524" fmla="*/ 186404 w 1216913"/>
                <a:gd name="connsiteY524" fmla="*/ 637223 h 1049655"/>
                <a:gd name="connsiteX525" fmla="*/ 186785 w 1216913"/>
                <a:gd name="connsiteY525" fmla="*/ 640366 h 1049655"/>
                <a:gd name="connsiteX526" fmla="*/ 193929 w 1216913"/>
                <a:gd name="connsiteY526" fmla="*/ 645890 h 1049655"/>
                <a:gd name="connsiteX527" fmla="*/ 195834 w 1216913"/>
                <a:gd name="connsiteY527" fmla="*/ 648843 h 1049655"/>
                <a:gd name="connsiteX528" fmla="*/ 189738 w 1216913"/>
                <a:gd name="connsiteY528" fmla="*/ 651224 h 1049655"/>
                <a:gd name="connsiteX529" fmla="*/ 196882 w 1216913"/>
                <a:gd name="connsiteY529" fmla="*/ 656749 h 1049655"/>
                <a:gd name="connsiteX530" fmla="*/ 199072 w 1216913"/>
                <a:gd name="connsiteY530" fmla="*/ 661226 h 1049655"/>
                <a:gd name="connsiteX531" fmla="*/ 198691 w 1216913"/>
                <a:gd name="connsiteY531" fmla="*/ 658082 h 1049655"/>
                <a:gd name="connsiteX532" fmla="*/ 203359 w 1216913"/>
                <a:gd name="connsiteY532" fmla="*/ 657511 h 1049655"/>
                <a:gd name="connsiteX533" fmla="*/ 207740 w 1216913"/>
                <a:gd name="connsiteY533" fmla="*/ 653701 h 1049655"/>
                <a:gd name="connsiteX534" fmla="*/ 215170 w 1216913"/>
                <a:gd name="connsiteY534" fmla="*/ 649605 h 1049655"/>
                <a:gd name="connsiteX535" fmla="*/ 230219 w 1216913"/>
                <a:gd name="connsiteY535" fmla="*/ 654082 h 1049655"/>
                <a:gd name="connsiteX536" fmla="*/ 235363 w 1216913"/>
                <a:gd name="connsiteY536" fmla="*/ 656653 h 1049655"/>
                <a:gd name="connsiteX537" fmla="*/ 238125 w 1216913"/>
                <a:gd name="connsiteY537" fmla="*/ 653034 h 1049655"/>
                <a:gd name="connsiteX538" fmla="*/ 241459 w 1216913"/>
                <a:gd name="connsiteY538" fmla="*/ 654272 h 1049655"/>
                <a:gd name="connsiteX539" fmla="*/ 249746 w 1216913"/>
                <a:gd name="connsiteY539" fmla="*/ 669227 h 1049655"/>
                <a:gd name="connsiteX540" fmla="*/ 253174 w 1216913"/>
                <a:gd name="connsiteY540" fmla="*/ 670370 h 1049655"/>
                <a:gd name="connsiteX541" fmla="*/ 266319 w 1216913"/>
                <a:gd name="connsiteY541" fmla="*/ 673513 h 1049655"/>
                <a:gd name="connsiteX542" fmla="*/ 274225 w 1216913"/>
                <a:gd name="connsiteY542" fmla="*/ 659702 h 1049655"/>
                <a:gd name="connsiteX543" fmla="*/ 272415 w 1216913"/>
                <a:gd name="connsiteY543" fmla="*/ 658368 h 1049655"/>
                <a:gd name="connsiteX544" fmla="*/ 273653 w 1216913"/>
                <a:gd name="connsiteY544" fmla="*/ 654939 h 1049655"/>
                <a:gd name="connsiteX545" fmla="*/ 276225 w 1216913"/>
                <a:gd name="connsiteY545" fmla="*/ 649795 h 1049655"/>
                <a:gd name="connsiteX546" fmla="*/ 279559 w 1216913"/>
                <a:gd name="connsiteY546" fmla="*/ 651034 h 1049655"/>
                <a:gd name="connsiteX547" fmla="*/ 281559 w 1216913"/>
                <a:gd name="connsiteY547" fmla="*/ 653986 h 1049655"/>
                <a:gd name="connsiteX548" fmla="*/ 289846 w 1216913"/>
                <a:gd name="connsiteY548" fmla="*/ 656082 h 1049655"/>
                <a:gd name="connsiteX549" fmla="*/ 298323 w 1216913"/>
                <a:gd name="connsiteY549" fmla="*/ 659797 h 1049655"/>
                <a:gd name="connsiteX550" fmla="*/ 310134 w 1216913"/>
                <a:gd name="connsiteY550" fmla="*/ 677608 h 1049655"/>
                <a:gd name="connsiteX551" fmla="*/ 316897 w 1216913"/>
                <a:gd name="connsiteY551" fmla="*/ 679895 h 1049655"/>
                <a:gd name="connsiteX552" fmla="*/ 329565 w 1216913"/>
                <a:gd name="connsiteY552" fmla="*/ 678275 h 1049655"/>
                <a:gd name="connsiteX553" fmla="*/ 330327 w 1216913"/>
                <a:gd name="connsiteY553" fmla="*/ 671798 h 1049655"/>
                <a:gd name="connsiteX554" fmla="*/ 336423 w 1216913"/>
                <a:gd name="connsiteY554" fmla="*/ 669417 h 1049655"/>
                <a:gd name="connsiteX555" fmla="*/ 340519 w 1216913"/>
                <a:gd name="connsiteY555" fmla="*/ 664083 h 1049655"/>
                <a:gd name="connsiteX556" fmla="*/ 343852 w 1216913"/>
                <a:gd name="connsiteY556" fmla="*/ 665226 h 1049655"/>
                <a:gd name="connsiteX557" fmla="*/ 346234 w 1216913"/>
                <a:gd name="connsiteY557" fmla="*/ 658558 h 1049655"/>
                <a:gd name="connsiteX558" fmla="*/ 354901 w 1216913"/>
                <a:gd name="connsiteY558" fmla="*/ 663893 h 1049655"/>
                <a:gd name="connsiteX559" fmla="*/ 359664 w 1216913"/>
                <a:gd name="connsiteY559" fmla="*/ 663226 h 1049655"/>
                <a:gd name="connsiteX560" fmla="*/ 365569 w 1216913"/>
                <a:gd name="connsiteY560" fmla="*/ 672084 h 1049655"/>
                <a:gd name="connsiteX561" fmla="*/ 371761 w 1216913"/>
                <a:gd name="connsiteY561" fmla="*/ 669703 h 1049655"/>
                <a:gd name="connsiteX562" fmla="*/ 375094 w 1216913"/>
                <a:gd name="connsiteY562" fmla="*/ 670941 h 1049655"/>
                <a:gd name="connsiteX563" fmla="*/ 378619 w 1216913"/>
                <a:gd name="connsiteY563" fmla="*/ 673703 h 1049655"/>
                <a:gd name="connsiteX564" fmla="*/ 376047 w 1216913"/>
                <a:gd name="connsiteY564" fmla="*/ 678847 h 1049655"/>
                <a:gd name="connsiteX565" fmla="*/ 379476 w 1216913"/>
                <a:gd name="connsiteY565" fmla="*/ 679990 h 1049655"/>
                <a:gd name="connsiteX566" fmla="*/ 381190 w 1216913"/>
                <a:gd name="connsiteY566" fmla="*/ 681323 h 1049655"/>
                <a:gd name="connsiteX567" fmla="*/ 384810 w 1216913"/>
                <a:gd name="connsiteY567" fmla="*/ 684086 h 1049655"/>
                <a:gd name="connsiteX568" fmla="*/ 387953 w 1216913"/>
                <a:gd name="connsiteY568" fmla="*/ 683704 h 1049655"/>
                <a:gd name="connsiteX569" fmla="*/ 390334 w 1216913"/>
                <a:gd name="connsiteY569" fmla="*/ 677037 h 1049655"/>
                <a:gd name="connsiteX570" fmla="*/ 391858 w 1216913"/>
                <a:gd name="connsiteY570" fmla="*/ 676751 h 1049655"/>
                <a:gd name="connsiteX571" fmla="*/ 391287 w 1216913"/>
                <a:gd name="connsiteY571" fmla="*/ 684848 h 1049655"/>
                <a:gd name="connsiteX572" fmla="*/ 393287 w 1216913"/>
                <a:gd name="connsiteY572" fmla="*/ 687800 h 1049655"/>
                <a:gd name="connsiteX573" fmla="*/ 391668 w 1216913"/>
                <a:gd name="connsiteY573" fmla="*/ 687991 h 1049655"/>
                <a:gd name="connsiteX574" fmla="*/ 390715 w 1216913"/>
                <a:gd name="connsiteY574" fmla="*/ 692944 h 1049655"/>
                <a:gd name="connsiteX575" fmla="*/ 389096 w 1216913"/>
                <a:gd name="connsiteY575" fmla="*/ 693134 h 1049655"/>
                <a:gd name="connsiteX576" fmla="*/ 382905 w 1216913"/>
                <a:gd name="connsiteY576" fmla="*/ 706755 h 1049655"/>
                <a:gd name="connsiteX577" fmla="*/ 381857 w 1216913"/>
                <a:gd name="connsiteY577" fmla="*/ 711708 h 1049655"/>
                <a:gd name="connsiteX578" fmla="*/ 385096 w 1216913"/>
                <a:gd name="connsiteY578" fmla="*/ 724186 h 1049655"/>
                <a:gd name="connsiteX579" fmla="*/ 386715 w 1216913"/>
                <a:gd name="connsiteY579" fmla="*/ 736759 h 1049655"/>
                <a:gd name="connsiteX580" fmla="*/ 389096 w 1216913"/>
                <a:gd name="connsiteY580" fmla="*/ 742855 h 1049655"/>
                <a:gd name="connsiteX581" fmla="*/ 409861 w 1216913"/>
                <a:gd name="connsiteY581" fmla="*/ 754666 h 1049655"/>
                <a:gd name="connsiteX582" fmla="*/ 410242 w 1216913"/>
                <a:gd name="connsiteY582" fmla="*/ 757809 h 1049655"/>
                <a:gd name="connsiteX583" fmla="*/ 411956 w 1216913"/>
                <a:gd name="connsiteY583" fmla="*/ 759238 h 1049655"/>
                <a:gd name="connsiteX584" fmla="*/ 414528 w 1216913"/>
                <a:gd name="connsiteY584" fmla="*/ 754094 h 1049655"/>
                <a:gd name="connsiteX585" fmla="*/ 416338 w 1216913"/>
                <a:gd name="connsiteY585" fmla="*/ 755428 h 1049655"/>
                <a:gd name="connsiteX586" fmla="*/ 417671 w 1216913"/>
                <a:gd name="connsiteY586" fmla="*/ 753713 h 1049655"/>
                <a:gd name="connsiteX587" fmla="*/ 419290 w 1216913"/>
                <a:gd name="connsiteY587" fmla="*/ 753523 h 1049655"/>
                <a:gd name="connsiteX588" fmla="*/ 419671 w 1216913"/>
                <a:gd name="connsiteY588" fmla="*/ 743807 h 1049655"/>
                <a:gd name="connsiteX589" fmla="*/ 422243 w 1216913"/>
                <a:gd name="connsiteY589" fmla="*/ 738664 h 1049655"/>
                <a:gd name="connsiteX590" fmla="*/ 422243 w 1216913"/>
                <a:gd name="connsiteY590" fmla="*/ 738664 h 1049655"/>
                <a:gd name="connsiteX591" fmla="*/ 429292 w 1216913"/>
                <a:gd name="connsiteY591" fmla="*/ 744188 h 1049655"/>
                <a:gd name="connsiteX592" fmla="*/ 437864 w 1216913"/>
                <a:gd name="connsiteY592" fmla="*/ 760762 h 1049655"/>
                <a:gd name="connsiteX593" fmla="*/ 448532 w 1216913"/>
                <a:gd name="connsiteY593" fmla="*/ 769049 h 1049655"/>
                <a:gd name="connsiteX594" fmla="*/ 444817 w 1216913"/>
                <a:gd name="connsiteY594" fmla="*/ 777526 h 1049655"/>
                <a:gd name="connsiteX595" fmla="*/ 450151 w 1216913"/>
                <a:gd name="connsiteY595" fmla="*/ 781622 h 1049655"/>
                <a:gd name="connsiteX596" fmla="*/ 451294 w 1216913"/>
                <a:gd name="connsiteY596" fmla="*/ 791051 h 1049655"/>
                <a:gd name="connsiteX597" fmla="*/ 453104 w 1216913"/>
                <a:gd name="connsiteY597" fmla="*/ 792480 h 1049655"/>
                <a:gd name="connsiteX598" fmla="*/ 455866 w 1216913"/>
                <a:gd name="connsiteY598" fmla="*/ 788956 h 1049655"/>
                <a:gd name="connsiteX599" fmla="*/ 459010 w 1216913"/>
                <a:gd name="connsiteY599" fmla="*/ 788479 h 1049655"/>
                <a:gd name="connsiteX600" fmla="*/ 464820 w 1216913"/>
                <a:gd name="connsiteY600" fmla="*/ 795814 h 1049655"/>
                <a:gd name="connsiteX601" fmla="*/ 473488 w 1216913"/>
                <a:gd name="connsiteY601" fmla="*/ 801148 h 1049655"/>
                <a:gd name="connsiteX602" fmla="*/ 479965 w 1216913"/>
                <a:gd name="connsiteY602" fmla="*/ 801910 h 1049655"/>
                <a:gd name="connsiteX603" fmla="*/ 484537 w 1216913"/>
                <a:gd name="connsiteY603" fmla="*/ 812482 h 1049655"/>
                <a:gd name="connsiteX604" fmla="*/ 490061 w 1216913"/>
                <a:gd name="connsiteY604" fmla="*/ 818198 h 1049655"/>
                <a:gd name="connsiteX605" fmla="*/ 493681 w 1216913"/>
                <a:gd name="connsiteY605" fmla="*/ 820960 h 1049655"/>
                <a:gd name="connsiteX606" fmla="*/ 495586 w 1216913"/>
                <a:gd name="connsiteY606" fmla="*/ 823912 h 1049655"/>
                <a:gd name="connsiteX607" fmla="*/ 497967 w 1216913"/>
                <a:gd name="connsiteY607" fmla="*/ 830008 h 1049655"/>
                <a:gd name="connsiteX608" fmla="*/ 501110 w 1216913"/>
                <a:gd name="connsiteY608" fmla="*/ 829628 h 1049655"/>
                <a:gd name="connsiteX609" fmla="*/ 501777 w 1216913"/>
                <a:gd name="connsiteY609" fmla="*/ 834390 h 1049655"/>
                <a:gd name="connsiteX610" fmla="*/ 503301 w 1216913"/>
                <a:gd name="connsiteY610" fmla="*/ 834199 h 1049655"/>
                <a:gd name="connsiteX611" fmla="*/ 501967 w 1216913"/>
                <a:gd name="connsiteY611" fmla="*/ 836009 h 1049655"/>
                <a:gd name="connsiteX612" fmla="*/ 504158 w 1216913"/>
                <a:gd name="connsiteY612" fmla="*/ 840486 h 1049655"/>
                <a:gd name="connsiteX613" fmla="*/ 507111 w 1216913"/>
                <a:gd name="connsiteY613" fmla="*/ 838486 h 1049655"/>
                <a:gd name="connsiteX614" fmla="*/ 508921 w 1216913"/>
                <a:gd name="connsiteY614" fmla="*/ 839915 h 1049655"/>
                <a:gd name="connsiteX615" fmla="*/ 508063 w 1216913"/>
                <a:gd name="connsiteY615" fmla="*/ 846391 h 1049655"/>
                <a:gd name="connsiteX616" fmla="*/ 513207 w 1216913"/>
                <a:gd name="connsiteY616" fmla="*/ 848963 h 1049655"/>
                <a:gd name="connsiteX617" fmla="*/ 516350 w 1216913"/>
                <a:gd name="connsiteY617" fmla="*/ 848582 h 1049655"/>
                <a:gd name="connsiteX618" fmla="*/ 513397 w 1216913"/>
                <a:gd name="connsiteY618" fmla="*/ 850582 h 1049655"/>
                <a:gd name="connsiteX619" fmla="*/ 515017 w 1216913"/>
                <a:gd name="connsiteY619" fmla="*/ 850297 h 1049655"/>
                <a:gd name="connsiteX620" fmla="*/ 513874 w 1216913"/>
                <a:gd name="connsiteY620" fmla="*/ 853726 h 1049655"/>
                <a:gd name="connsiteX621" fmla="*/ 517207 w 1216913"/>
                <a:gd name="connsiteY621" fmla="*/ 854869 h 1049655"/>
                <a:gd name="connsiteX622" fmla="*/ 513302 w 1216913"/>
                <a:gd name="connsiteY622" fmla="*/ 861822 h 1049655"/>
                <a:gd name="connsiteX623" fmla="*/ 508349 w 1216913"/>
                <a:gd name="connsiteY623" fmla="*/ 860774 h 1049655"/>
                <a:gd name="connsiteX624" fmla="*/ 501205 w 1216913"/>
                <a:gd name="connsiteY624" fmla="*/ 868108 h 1049655"/>
                <a:gd name="connsiteX625" fmla="*/ 501682 w 1216913"/>
                <a:gd name="connsiteY625" fmla="*/ 871252 h 1049655"/>
                <a:gd name="connsiteX626" fmla="*/ 504825 w 1216913"/>
                <a:gd name="connsiteY626" fmla="*/ 870871 h 1049655"/>
                <a:gd name="connsiteX627" fmla="*/ 508730 w 1216913"/>
                <a:gd name="connsiteY627" fmla="*/ 876776 h 1049655"/>
                <a:gd name="connsiteX628" fmla="*/ 509588 w 1216913"/>
                <a:gd name="connsiteY628" fmla="*/ 883063 h 1049655"/>
                <a:gd name="connsiteX629" fmla="*/ 516731 w 1216913"/>
                <a:gd name="connsiteY629" fmla="*/ 888587 h 1049655"/>
                <a:gd name="connsiteX630" fmla="*/ 521398 w 1216913"/>
                <a:gd name="connsiteY630" fmla="*/ 875157 h 1049655"/>
                <a:gd name="connsiteX631" fmla="*/ 522732 w 1216913"/>
                <a:gd name="connsiteY631" fmla="*/ 873443 h 1049655"/>
                <a:gd name="connsiteX632" fmla="*/ 527494 w 1216913"/>
                <a:gd name="connsiteY632" fmla="*/ 872776 h 1049655"/>
                <a:gd name="connsiteX633" fmla="*/ 526923 w 1216913"/>
                <a:gd name="connsiteY633" fmla="*/ 868108 h 1049655"/>
                <a:gd name="connsiteX634" fmla="*/ 529685 w 1216913"/>
                <a:gd name="connsiteY634" fmla="*/ 864489 h 1049655"/>
                <a:gd name="connsiteX635" fmla="*/ 539972 w 1216913"/>
                <a:gd name="connsiteY635" fmla="*/ 869632 h 1049655"/>
                <a:gd name="connsiteX636" fmla="*/ 540925 w 1216913"/>
                <a:gd name="connsiteY636" fmla="*/ 864679 h 1049655"/>
                <a:gd name="connsiteX637" fmla="*/ 544068 w 1216913"/>
                <a:gd name="connsiteY637" fmla="*/ 864299 h 1049655"/>
                <a:gd name="connsiteX638" fmla="*/ 544258 w 1216913"/>
                <a:gd name="connsiteY638" fmla="*/ 865823 h 1049655"/>
                <a:gd name="connsiteX639" fmla="*/ 541687 w 1216913"/>
                <a:gd name="connsiteY639" fmla="*/ 870966 h 1049655"/>
                <a:gd name="connsiteX640" fmla="*/ 548830 w 1216913"/>
                <a:gd name="connsiteY640" fmla="*/ 876490 h 1049655"/>
                <a:gd name="connsiteX641" fmla="*/ 546449 w 1216913"/>
                <a:gd name="connsiteY641" fmla="*/ 883253 h 1049655"/>
                <a:gd name="connsiteX642" fmla="*/ 548068 w 1216913"/>
                <a:gd name="connsiteY642" fmla="*/ 883063 h 1049655"/>
                <a:gd name="connsiteX643" fmla="*/ 548449 w 1216913"/>
                <a:gd name="connsiteY643" fmla="*/ 886206 h 1049655"/>
                <a:gd name="connsiteX644" fmla="*/ 550259 w 1216913"/>
                <a:gd name="connsiteY644" fmla="*/ 887540 h 1049655"/>
                <a:gd name="connsiteX645" fmla="*/ 549497 w 1216913"/>
                <a:gd name="connsiteY645" fmla="*/ 894016 h 1049655"/>
                <a:gd name="connsiteX646" fmla="*/ 554164 w 1216913"/>
                <a:gd name="connsiteY646" fmla="*/ 893445 h 1049655"/>
                <a:gd name="connsiteX647" fmla="*/ 554641 w 1216913"/>
                <a:gd name="connsiteY647" fmla="*/ 896588 h 1049655"/>
                <a:gd name="connsiteX648" fmla="*/ 576643 w 1216913"/>
                <a:gd name="connsiteY648" fmla="*/ 893826 h 1049655"/>
                <a:gd name="connsiteX649" fmla="*/ 583216 w 1216913"/>
                <a:gd name="connsiteY649" fmla="*/ 894588 h 1049655"/>
                <a:gd name="connsiteX650" fmla="*/ 590264 w 1216913"/>
                <a:gd name="connsiteY650" fmla="*/ 900112 h 1049655"/>
                <a:gd name="connsiteX651" fmla="*/ 591502 w 1216913"/>
                <a:gd name="connsiteY651" fmla="*/ 896683 h 1049655"/>
                <a:gd name="connsiteX652" fmla="*/ 594646 w 1216913"/>
                <a:gd name="connsiteY652" fmla="*/ 896303 h 1049655"/>
                <a:gd name="connsiteX653" fmla="*/ 600551 w 1216913"/>
                <a:gd name="connsiteY653" fmla="*/ 905161 h 1049655"/>
                <a:gd name="connsiteX654" fmla="*/ 607885 w 1216913"/>
                <a:gd name="connsiteY654" fmla="*/ 912304 h 1049655"/>
                <a:gd name="connsiteX655" fmla="*/ 609314 w 1216913"/>
                <a:gd name="connsiteY655" fmla="*/ 923353 h 1049655"/>
                <a:gd name="connsiteX656" fmla="*/ 608933 w 1216913"/>
                <a:gd name="connsiteY656" fmla="*/ 932974 h 1049655"/>
                <a:gd name="connsiteX657" fmla="*/ 615696 w 1216913"/>
                <a:gd name="connsiteY657" fmla="*/ 935355 h 1049655"/>
                <a:gd name="connsiteX658" fmla="*/ 617030 w 1216913"/>
                <a:gd name="connsiteY658" fmla="*/ 933545 h 1049655"/>
                <a:gd name="connsiteX659" fmla="*/ 623316 w 1216913"/>
                <a:gd name="connsiteY659" fmla="*/ 932783 h 1049655"/>
                <a:gd name="connsiteX660" fmla="*/ 638365 w 1216913"/>
                <a:gd name="connsiteY660" fmla="*/ 924401 h 1049655"/>
                <a:gd name="connsiteX661" fmla="*/ 652367 w 1216913"/>
                <a:gd name="connsiteY661" fmla="*/ 921068 h 1049655"/>
                <a:gd name="connsiteX662" fmla="*/ 659987 w 1216913"/>
                <a:gd name="connsiteY662" fmla="*/ 918496 h 1049655"/>
                <a:gd name="connsiteX663" fmla="*/ 668083 w 1216913"/>
                <a:gd name="connsiteY663" fmla="*/ 919067 h 1049655"/>
                <a:gd name="connsiteX664" fmla="*/ 669703 w 1216913"/>
                <a:gd name="connsiteY664" fmla="*/ 918877 h 1049655"/>
                <a:gd name="connsiteX665" fmla="*/ 673989 w 1216913"/>
                <a:gd name="connsiteY665" fmla="*/ 915067 h 1049655"/>
                <a:gd name="connsiteX666" fmla="*/ 682276 w 1216913"/>
                <a:gd name="connsiteY666" fmla="*/ 917257 h 1049655"/>
                <a:gd name="connsiteX667" fmla="*/ 685229 w 1216913"/>
                <a:gd name="connsiteY667" fmla="*/ 915257 h 1049655"/>
                <a:gd name="connsiteX668" fmla="*/ 691801 w 1216913"/>
                <a:gd name="connsiteY668" fmla="*/ 916019 h 1049655"/>
                <a:gd name="connsiteX669" fmla="*/ 702373 w 1216913"/>
                <a:gd name="connsiteY669" fmla="*/ 911447 h 1049655"/>
                <a:gd name="connsiteX670" fmla="*/ 710374 w 1216913"/>
                <a:gd name="connsiteY670" fmla="*/ 923258 h 1049655"/>
                <a:gd name="connsiteX671" fmla="*/ 725900 w 1216913"/>
                <a:gd name="connsiteY671" fmla="*/ 919734 h 1049655"/>
                <a:gd name="connsiteX672" fmla="*/ 730282 w 1216913"/>
                <a:gd name="connsiteY672" fmla="*/ 915924 h 1049655"/>
                <a:gd name="connsiteX673" fmla="*/ 733806 w 1216913"/>
                <a:gd name="connsiteY673" fmla="*/ 918686 h 1049655"/>
                <a:gd name="connsiteX674" fmla="*/ 738378 w 1216913"/>
                <a:gd name="connsiteY674" fmla="*/ 929354 h 1049655"/>
                <a:gd name="connsiteX675" fmla="*/ 749617 w 1216913"/>
                <a:gd name="connsiteY675" fmla="*/ 942308 h 1049655"/>
                <a:gd name="connsiteX676" fmla="*/ 758190 w 1216913"/>
                <a:gd name="connsiteY676" fmla="*/ 946023 h 1049655"/>
                <a:gd name="connsiteX677" fmla="*/ 767239 w 1216913"/>
                <a:gd name="connsiteY677" fmla="*/ 941641 h 1049655"/>
                <a:gd name="connsiteX678" fmla="*/ 770382 w 1216913"/>
                <a:gd name="connsiteY678" fmla="*/ 941261 h 1049655"/>
                <a:gd name="connsiteX679" fmla="*/ 774382 w 1216913"/>
                <a:gd name="connsiteY679" fmla="*/ 947166 h 1049655"/>
                <a:gd name="connsiteX680" fmla="*/ 794290 w 1216913"/>
                <a:gd name="connsiteY680" fmla="*/ 952690 h 1049655"/>
                <a:gd name="connsiteX681" fmla="*/ 798766 w 1216913"/>
                <a:gd name="connsiteY681" fmla="*/ 950500 h 1049655"/>
                <a:gd name="connsiteX682" fmla="*/ 803910 w 1216913"/>
                <a:gd name="connsiteY682" fmla="*/ 940213 h 1049655"/>
                <a:gd name="connsiteX683" fmla="*/ 808672 w 1216913"/>
                <a:gd name="connsiteY683" fmla="*/ 939641 h 1049655"/>
                <a:gd name="connsiteX684" fmla="*/ 820102 w 1216913"/>
                <a:gd name="connsiteY684" fmla="*/ 941356 h 1049655"/>
                <a:gd name="connsiteX685" fmla="*/ 826770 w 1216913"/>
                <a:gd name="connsiteY685" fmla="*/ 943737 h 1049655"/>
                <a:gd name="connsiteX686" fmla="*/ 830580 w 1216913"/>
                <a:gd name="connsiteY686" fmla="*/ 948023 h 1049655"/>
                <a:gd name="connsiteX687" fmla="*/ 833342 w 1216913"/>
                <a:gd name="connsiteY687" fmla="*/ 970121 h 1049655"/>
                <a:gd name="connsiteX688" fmla="*/ 838962 w 1216913"/>
                <a:gd name="connsiteY688" fmla="*/ 975836 h 1049655"/>
                <a:gd name="connsiteX689" fmla="*/ 845058 w 1216913"/>
                <a:gd name="connsiteY689" fmla="*/ 986314 h 1049655"/>
                <a:gd name="connsiteX690" fmla="*/ 850011 w 1216913"/>
                <a:gd name="connsiteY690" fmla="*/ 987266 h 1049655"/>
                <a:gd name="connsiteX691" fmla="*/ 858679 w 1216913"/>
                <a:gd name="connsiteY691" fmla="*/ 992600 h 1049655"/>
                <a:gd name="connsiteX692" fmla="*/ 864965 w 1216913"/>
                <a:gd name="connsiteY692" fmla="*/ 991743 h 1049655"/>
                <a:gd name="connsiteX693" fmla="*/ 869347 w 1216913"/>
                <a:gd name="connsiteY693" fmla="*/ 1000792 h 1049655"/>
                <a:gd name="connsiteX694" fmla="*/ 871347 w 1216913"/>
                <a:gd name="connsiteY694" fmla="*/ 1003840 h 1049655"/>
                <a:gd name="connsiteX695" fmla="*/ 869728 w 1216913"/>
                <a:gd name="connsiteY695" fmla="*/ 1004030 h 1049655"/>
                <a:gd name="connsiteX696" fmla="*/ 871728 w 1216913"/>
                <a:gd name="connsiteY696" fmla="*/ 1006983 h 1049655"/>
                <a:gd name="connsiteX697" fmla="*/ 876490 w 1216913"/>
                <a:gd name="connsiteY697" fmla="*/ 1006316 h 1049655"/>
                <a:gd name="connsiteX698" fmla="*/ 881253 w 1216913"/>
                <a:gd name="connsiteY698" fmla="*/ 1018603 h 1049655"/>
                <a:gd name="connsiteX699" fmla="*/ 876014 w 1216913"/>
                <a:gd name="connsiteY699" fmla="*/ 1040130 h 1049655"/>
                <a:gd name="connsiteX700" fmla="*/ 883825 w 1216913"/>
                <a:gd name="connsiteY700" fmla="*/ 1039082 h 1049655"/>
                <a:gd name="connsiteX701" fmla="*/ 888778 w 1216913"/>
                <a:gd name="connsiteY701" fmla="*/ 1040035 h 1049655"/>
                <a:gd name="connsiteX702" fmla="*/ 895922 w 1216913"/>
                <a:gd name="connsiteY702" fmla="*/ 1045559 h 1049655"/>
                <a:gd name="connsiteX703" fmla="*/ 900684 w 1216913"/>
                <a:gd name="connsiteY703" fmla="*/ 1044988 h 1049655"/>
                <a:gd name="connsiteX704" fmla="*/ 905827 w 1216913"/>
                <a:gd name="connsiteY704" fmla="*/ 1047560 h 1049655"/>
                <a:gd name="connsiteX705" fmla="*/ 910114 w 1216913"/>
                <a:gd name="connsiteY705" fmla="*/ 1043749 h 1049655"/>
                <a:gd name="connsiteX706" fmla="*/ 926878 w 1216913"/>
                <a:gd name="connsiteY706" fmla="*/ 1049655 h 1049655"/>
                <a:gd name="connsiteX707" fmla="*/ 936403 w 1216913"/>
                <a:gd name="connsiteY707" fmla="*/ 1048417 h 1049655"/>
                <a:gd name="connsiteX708" fmla="*/ 937355 w 1216913"/>
                <a:gd name="connsiteY708" fmla="*/ 1043464 h 1049655"/>
                <a:gd name="connsiteX709" fmla="*/ 940117 w 1216913"/>
                <a:gd name="connsiteY709" fmla="*/ 1039940 h 1049655"/>
                <a:gd name="connsiteX710" fmla="*/ 955072 w 1216913"/>
                <a:gd name="connsiteY710" fmla="*/ 1031653 h 1049655"/>
                <a:gd name="connsiteX711" fmla="*/ 956024 w 1216913"/>
                <a:gd name="connsiteY711" fmla="*/ 1026700 h 1049655"/>
                <a:gd name="connsiteX712" fmla="*/ 955262 w 1216913"/>
                <a:gd name="connsiteY712" fmla="*/ 1020413 h 1049655"/>
                <a:gd name="connsiteX713" fmla="*/ 958024 w 1216913"/>
                <a:gd name="connsiteY713" fmla="*/ 1016794 h 1049655"/>
                <a:gd name="connsiteX714" fmla="*/ 959167 w 1216913"/>
                <a:gd name="connsiteY714" fmla="*/ 1013460 h 1049655"/>
                <a:gd name="connsiteX715" fmla="*/ 968026 w 1216913"/>
                <a:gd name="connsiteY715" fmla="*/ 1007554 h 1049655"/>
                <a:gd name="connsiteX716" fmla="*/ 962692 w 1216913"/>
                <a:gd name="connsiteY716" fmla="*/ 1003364 h 1049655"/>
                <a:gd name="connsiteX717" fmla="*/ 967073 w 1216913"/>
                <a:gd name="connsiteY717" fmla="*/ 999649 h 1049655"/>
                <a:gd name="connsiteX718" fmla="*/ 971740 w 1216913"/>
                <a:gd name="connsiteY718" fmla="*/ 998982 h 1049655"/>
                <a:gd name="connsiteX719" fmla="*/ 972598 w 1216913"/>
                <a:gd name="connsiteY719" fmla="*/ 992505 h 1049655"/>
                <a:gd name="connsiteX720" fmla="*/ 984409 w 1216913"/>
                <a:gd name="connsiteY720" fmla="*/ 984599 h 1049655"/>
                <a:gd name="connsiteX721" fmla="*/ 987933 w 1216913"/>
                <a:gd name="connsiteY721" fmla="*/ 974503 h 1049655"/>
                <a:gd name="connsiteX722" fmla="*/ 990886 w 1216913"/>
                <a:gd name="connsiteY722" fmla="*/ 972503 h 1049655"/>
                <a:gd name="connsiteX723" fmla="*/ 993172 w 1216913"/>
                <a:gd name="connsiteY723" fmla="*/ 965835 h 1049655"/>
                <a:gd name="connsiteX724" fmla="*/ 999554 w 1216913"/>
                <a:gd name="connsiteY724" fmla="*/ 964978 h 1049655"/>
                <a:gd name="connsiteX725" fmla="*/ 1000887 w 1216913"/>
                <a:gd name="connsiteY725" fmla="*/ 963263 h 1049655"/>
                <a:gd name="connsiteX726" fmla="*/ 1002030 w 1216913"/>
                <a:gd name="connsiteY726" fmla="*/ 959834 h 1049655"/>
                <a:gd name="connsiteX727" fmla="*/ 998315 w 1216913"/>
                <a:gd name="connsiteY727" fmla="*/ 955548 h 1049655"/>
                <a:gd name="connsiteX728" fmla="*/ 997458 w 1216913"/>
                <a:gd name="connsiteY728" fmla="*/ 949261 h 1049655"/>
                <a:gd name="connsiteX729" fmla="*/ 993743 w 1216913"/>
                <a:gd name="connsiteY729" fmla="*/ 944880 h 1049655"/>
                <a:gd name="connsiteX730" fmla="*/ 991552 w 1216913"/>
                <a:gd name="connsiteY730" fmla="*/ 940403 h 1049655"/>
                <a:gd name="connsiteX731" fmla="*/ 992505 w 1216913"/>
                <a:gd name="connsiteY731" fmla="*/ 935450 h 1049655"/>
                <a:gd name="connsiteX732" fmla="*/ 997077 w 1216913"/>
                <a:gd name="connsiteY732" fmla="*/ 933260 h 1049655"/>
                <a:gd name="connsiteX733" fmla="*/ 996886 w 1216913"/>
                <a:gd name="connsiteY733" fmla="*/ 931640 h 1049655"/>
                <a:gd name="connsiteX734" fmla="*/ 997648 w 1216913"/>
                <a:gd name="connsiteY734" fmla="*/ 925163 h 1049655"/>
                <a:gd name="connsiteX735" fmla="*/ 1002221 w 1216913"/>
                <a:gd name="connsiteY735" fmla="*/ 922973 h 1049655"/>
                <a:gd name="connsiteX736" fmla="*/ 1003554 w 1216913"/>
                <a:gd name="connsiteY736" fmla="*/ 921163 h 1049655"/>
                <a:gd name="connsiteX737" fmla="*/ 1015555 w 1216913"/>
                <a:gd name="connsiteY737" fmla="*/ 914876 h 1049655"/>
                <a:gd name="connsiteX738" fmla="*/ 1023842 w 1216913"/>
                <a:gd name="connsiteY738" fmla="*/ 916972 h 1049655"/>
                <a:gd name="connsiteX739" fmla="*/ 1031367 w 1216913"/>
                <a:gd name="connsiteY739" fmla="*/ 912876 h 1049655"/>
                <a:gd name="connsiteX740" fmla="*/ 1034320 w 1216913"/>
                <a:gd name="connsiteY740" fmla="*/ 910876 h 1049655"/>
                <a:gd name="connsiteX741" fmla="*/ 1036130 w 1216913"/>
                <a:gd name="connsiteY741" fmla="*/ 912209 h 1049655"/>
                <a:gd name="connsiteX742" fmla="*/ 1038320 w 1216913"/>
                <a:gd name="connsiteY742" fmla="*/ 916781 h 1049655"/>
                <a:gd name="connsiteX743" fmla="*/ 1039463 w 1216913"/>
                <a:gd name="connsiteY743" fmla="*/ 926211 h 1049655"/>
                <a:gd name="connsiteX744" fmla="*/ 1049369 w 1216913"/>
                <a:gd name="connsiteY744" fmla="*/ 928211 h 1049655"/>
                <a:gd name="connsiteX745" fmla="*/ 1058418 w 1216913"/>
                <a:gd name="connsiteY745" fmla="*/ 923830 h 1049655"/>
                <a:gd name="connsiteX746" fmla="*/ 1065181 w 1216913"/>
                <a:gd name="connsiteY746" fmla="*/ 926211 h 1049655"/>
                <a:gd name="connsiteX747" fmla="*/ 1066133 w 1216913"/>
                <a:gd name="connsiteY747" fmla="*/ 921258 h 1049655"/>
                <a:gd name="connsiteX748" fmla="*/ 1074039 w 1216913"/>
                <a:gd name="connsiteY748" fmla="*/ 920210 h 1049655"/>
                <a:gd name="connsiteX749" fmla="*/ 1076992 w 1216913"/>
                <a:gd name="connsiteY749" fmla="*/ 918305 h 1049655"/>
                <a:gd name="connsiteX750" fmla="*/ 1081659 w 1216913"/>
                <a:gd name="connsiteY750" fmla="*/ 917639 h 1049655"/>
                <a:gd name="connsiteX751" fmla="*/ 1085850 w 1216913"/>
                <a:gd name="connsiteY751" fmla="*/ 912304 h 1049655"/>
                <a:gd name="connsiteX752" fmla="*/ 1087374 w 1216913"/>
                <a:gd name="connsiteY752" fmla="*/ 912114 h 1049655"/>
                <a:gd name="connsiteX753" fmla="*/ 1094137 w 1216913"/>
                <a:gd name="connsiteY753" fmla="*/ 914495 h 1049655"/>
                <a:gd name="connsiteX754" fmla="*/ 1094708 w 1216913"/>
                <a:gd name="connsiteY754" fmla="*/ 919162 h 1049655"/>
                <a:gd name="connsiteX755" fmla="*/ 1098042 w 1216913"/>
                <a:gd name="connsiteY755" fmla="*/ 920401 h 1049655"/>
                <a:gd name="connsiteX756" fmla="*/ 1102995 w 1216913"/>
                <a:gd name="connsiteY756" fmla="*/ 921353 h 1049655"/>
                <a:gd name="connsiteX757" fmla="*/ 1113663 w 1216913"/>
                <a:gd name="connsiteY757" fmla="*/ 916781 h 1049655"/>
                <a:gd name="connsiteX758" fmla="*/ 1120616 w 1216913"/>
                <a:gd name="connsiteY758" fmla="*/ 920686 h 1049655"/>
                <a:gd name="connsiteX759" fmla="*/ 1131475 w 1216913"/>
                <a:gd name="connsiteY759" fmla="*/ 930593 h 1049655"/>
                <a:gd name="connsiteX760" fmla="*/ 1139761 w 1216913"/>
                <a:gd name="connsiteY760" fmla="*/ 932688 h 1049655"/>
                <a:gd name="connsiteX761" fmla="*/ 1142524 w 1216913"/>
                <a:gd name="connsiteY761" fmla="*/ 929164 h 1049655"/>
                <a:gd name="connsiteX762" fmla="*/ 1145857 w 1216913"/>
                <a:gd name="connsiteY762" fmla="*/ 930307 h 1049655"/>
                <a:gd name="connsiteX763" fmla="*/ 1161383 w 1216913"/>
                <a:gd name="connsiteY763" fmla="*/ 913924 h 1049655"/>
                <a:gd name="connsiteX764" fmla="*/ 1168717 w 1216913"/>
                <a:gd name="connsiteY764" fmla="*/ 908209 h 1049655"/>
                <a:gd name="connsiteX765" fmla="*/ 1168908 w 1216913"/>
                <a:gd name="connsiteY765" fmla="*/ 909733 h 1049655"/>
                <a:gd name="connsiteX766" fmla="*/ 1176623 w 1216913"/>
                <a:gd name="connsiteY766" fmla="*/ 907161 h 1049655"/>
                <a:gd name="connsiteX767" fmla="*/ 1181862 w 1216913"/>
                <a:gd name="connsiteY767" fmla="*/ 898493 h 1049655"/>
                <a:gd name="connsiteX768" fmla="*/ 1189958 w 1216913"/>
                <a:gd name="connsiteY768" fmla="*/ 899065 h 1049655"/>
                <a:gd name="connsiteX769" fmla="*/ 1202817 w 1216913"/>
                <a:gd name="connsiteY769" fmla="*/ 898970 h 1049655"/>
                <a:gd name="connsiteX770" fmla="*/ 1212056 w 1216913"/>
                <a:gd name="connsiteY770" fmla="*/ 896207 h 1049655"/>
                <a:gd name="connsiteX771" fmla="*/ 1211866 w 1216913"/>
                <a:gd name="connsiteY771" fmla="*/ 894683 h 1049655"/>
                <a:gd name="connsiteX772" fmla="*/ 1205579 w 1216913"/>
                <a:gd name="connsiteY772" fmla="*/ 895445 h 1049655"/>
                <a:gd name="connsiteX773" fmla="*/ 1201579 w 1216913"/>
                <a:gd name="connsiteY773" fmla="*/ 889540 h 1049655"/>
                <a:gd name="connsiteX774" fmla="*/ 1205770 w 1216913"/>
                <a:gd name="connsiteY774" fmla="*/ 884206 h 1049655"/>
                <a:gd name="connsiteX775" fmla="*/ 1205103 w 1216913"/>
                <a:gd name="connsiteY775" fmla="*/ 879443 h 1049655"/>
                <a:gd name="connsiteX776" fmla="*/ 1204913 w 1216913"/>
                <a:gd name="connsiteY776" fmla="*/ 877919 h 1049655"/>
                <a:gd name="connsiteX777" fmla="*/ 1207865 w 1216913"/>
                <a:gd name="connsiteY777" fmla="*/ 875919 h 1049655"/>
                <a:gd name="connsiteX778" fmla="*/ 1209675 w 1216913"/>
                <a:gd name="connsiteY778" fmla="*/ 877253 h 1049655"/>
                <a:gd name="connsiteX779" fmla="*/ 1215390 w 1216913"/>
                <a:gd name="connsiteY779" fmla="*/ 871728 h 1049655"/>
                <a:gd name="connsiteX780" fmla="*/ 1216914 w 1216913"/>
                <a:gd name="connsiteY780" fmla="*/ 858774 h 1049655"/>
                <a:gd name="connsiteX781" fmla="*/ 1209770 w 1216913"/>
                <a:gd name="connsiteY781" fmla="*/ 853249 h 1049655"/>
                <a:gd name="connsiteX782" fmla="*/ 1209770 w 1216913"/>
                <a:gd name="connsiteY782" fmla="*/ 853249 h 1049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</a:cxnLst>
              <a:rect l="l" t="t" r="r" b="b"/>
              <a:pathLst>
                <a:path w="1216913" h="1049655">
                  <a:moveTo>
                    <a:pt x="1209770" y="853249"/>
                  </a:moveTo>
                  <a:lnTo>
                    <a:pt x="1205674" y="845725"/>
                  </a:lnTo>
                  <a:lnTo>
                    <a:pt x="1200912" y="846296"/>
                  </a:lnTo>
                  <a:lnTo>
                    <a:pt x="1200722" y="844772"/>
                  </a:lnTo>
                  <a:lnTo>
                    <a:pt x="1199674" y="836866"/>
                  </a:lnTo>
                  <a:lnTo>
                    <a:pt x="1195959" y="832580"/>
                  </a:lnTo>
                  <a:lnTo>
                    <a:pt x="1196911" y="827627"/>
                  </a:lnTo>
                  <a:lnTo>
                    <a:pt x="1194340" y="819912"/>
                  </a:lnTo>
                  <a:lnTo>
                    <a:pt x="1197292" y="817912"/>
                  </a:lnTo>
                  <a:lnTo>
                    <a:pt x="1199007" y="806482"/>
                  </a:lnTo>
                  <a:lnTo>
                    <a:pt x="1192721" y="807244"/>
                  </a:lnTo>
                  <a:lnTo>
                    <a:pt x="1190911" y="805910"/>
                  </a:lnTo>
                  <a:lnTo>
                    <a:pt x="1187958" y="795052"/>
                  </a:lnTo>
                  <a:lnTo>
                    <a:pt x="1188530" y="786956"/>
                  </a:lnTo>
                  <a:lnTo>
                    <a:pt x="1183005" y="781240"/>
                  </a:lnTo>
                  <a:lnTo>
                    <a:pt x="1185577" y="776097"/>
                  </a:lnTo>
                  <a:lnTo>
                    <a:pt x="1181005" y="765524"/>
                  </a:lnTo>
                  <a:lnTo>
                    <a:pt x="1179195" y="764095"/>
                  </a:lnTo>
                  <a:lnTo>
                    <a:pt x="1178433" y="757809"/>
                  </a:lnTo>
                  <a:lnTo>
                    <a:pt x="1173671" y="745617"/>
                  </a:lnTo>
                  <a:lnTo>
                    <a:pt x="1174432" y="739045"/>
                  </a:lnTo>
                  <a:lnTo>
                    <a:pt x="1173004" y="727996"/>
                  </a:lnTo>
                  <a:lnTo>
                    <a:pt x="1173766" y="721519"/>
                  </a:lnTo>
                  <a:lnTo>
                    <a:pt x="1171194" y="713803"/>
                  </a:lnTo>
                  <a:lnTo>
                    <a:pt x="1169384" y="712470"/>
                  </a:lnTo>
                  <a:lnTo>
                    <a:pt x="1163098" y="713232"/>
                  </a:lnTo>
                  <a:lnTo>
                    <a:pt x="1152620" y="706565"/>
                  </a:lnTo>
                  <a:lnTo>
                    <a:pt x="1143381" y="709327"/>
                  </a:lnTo>
                  <a:lnTo>
                    <a:pt x="1141571" y="707993"/>
                  </a:lnTo>
                  <a:lnTo>
                    <a:pt x="1131570" y="717232"/>
                  </a:lnTo>
                  <a:lnTo>
                    <a:pt x="1124998" y="716470"/>
                  </a:lnTo>
                  <a:lnTo>
                    <a:pt x="1122616" y="710374"/>
                  </a:lnTo>
                  <a:lnTo>
                    <a:pt x="1117473" y="707803"/>
                  </a:lnTo>
                  <a:lnTo>
                    <a:pt x="1112996" y="709994"/>
                  </a:lnTo>
                  <a:lnTo>
                    <a:pt x="1108043" y="709041"/>
                  </a:lnTo>
                  <a:lnTo>
                    <a:pt x="1108996" y="704088"/>
                  </a:lnTo>
                  <a:lnTo>
                    <a:pt x="1105472" y="701326"/>
                  </a:lnTo>
                  <a:lnTo>
                    <a:pt x="1106424" y="696373"/>
                  </a:lnTo>
                  <a:lnTo>
                    <a:pt x="1101661" y="697040"/>
                  </a:lnTo>
                  <a:lnTo>
                    <a:pt x="1102709" y="692086"/>
                  </a:lnTo>
                  <a:lnTo>
                    <a:pt x="1101852" y="685800"/>
                  </a:lnTo>
                  <a:lnTo>
                    <a:pt x="1090422" y="683990"/>
                  </a:lnTo>
                  <a:lnTo>
                    <a:pt x="1081183" y="686753"/>
                  </a:lnTo>
                  <a:lnTo>
                    <a:pt x="1077754" y="685610"/>
                  </a:lnTo>
                  <a:lnTo>
                    <a:pt x="1073467" y="689420"/>
                  </a:lnTo>
                  <a:lnTo>
                    <a:pt x="1072420" y="681514"/>
                  </a:lnTo>
                  <a:lnTo>
                    <a:pt x="1069086" y="680276"/>
                  </a:lnTo>
                  <a:lnTo>
                    <a:pt x="1065943" y="680752"/>
                  </a:lnTo>
                  <a:lnTo>
                    <a:pt x="1062990" y="682657"/>
                  </a:lnTo>
                  <a:lnTo>
                    <a:pt x="1062609" y="679514"/>
                  </a:lnTo>
                  <a:lnTo>
                    <a:pt x="1054513" y="678942"/>
                  </a:lnTo>
                  <a:lnTo>
                    <a:pt x="1050893" y="676180"/>
                  </a:lnTo>
                  <a:lnTo>
                    <a:pt x="1050512" y="673036"/>
                  </a:lnTo>
                  <a:lnTo>
                    <a:pt x="1048702" y="671703"/>
                  </a:lnTo>
                  <a:lnTo>
                    <a:pt x="1044988" y="667322"/>
                  </a:lnTo>
                  <a:lnTo>
                    <a:pt x="1041844" y="667703"/>
                  </a:lnTo>
                  <a:lnTo>
                    <a:pt x="1044607" y="664178"/>
                  </a:lnTo>
                  <a:lnTo>
                    <a:pt x="1042416" y="659606"/>
                  </a:lnTo>
                  <a:lnTo>
                    <a:pt x="1044702" y="640080"/>
                  </a:lnTo>
                  <a:lnTo>
                    <a:pt x="1040987" y="635794"/>
                  </a:lnTo>
                  <a:lnTo>
                    <a:pt x="1036034" y="634841"/>
                  </a:lnTo>
                  <a:lnTo>
                    <a:pt x="1032510" y="632079"/>
                  </a:lnTo>
                  <a:lnTo>
                    <a:pt x="1033272" y="625507"/>
                  </a:lnTo>
                  <a:lnTo>
                    <a:pt x="1030033" y="613124"/>
                  </a:lnTo>
                  <a:lnTo>
                    <a:pt x="1024890" y="610553"/>
                  </a:lnTo>
                  <a:lnTo>
                    <a:pt x="1023938" y="602647"/>
                  </a:lnTo>
                  <a:lnTo>
                    <a:pt x="1020127" y="598361"/>
                  </a:lnTo>
                  <a:lnTo>
                    <a:pt x="1020889" y="591788"/>
                  </a:lnTo>
                  <a:lnTo>
                    <a:pt x="1018699" y="587311"/>
                  </a:lnTo>
                  <a:lnTo>
                    <a:pt x="1016794" y="584359"/>
                  </a:lnTo>
                  <a:lnTo>
                    <a:pt x="1016127" y="579596"/>
                  </a:lnTo>
                  <a:lnTo>
                    <a:pt x="1009079" y="574072"/>
                  </a:lnTo>
                  <a:lnTo>
                    <a:pt x="1006221" y="564832"/>
                  </a:lnTo>
                  <a:lnTo>
                    <a:pt x="1007459" y="561499"/>
                  </a:lnTo>
                  <a:lnTo>
                    <a:pt x="1003840" y="558736"/>
                  </a:lnTo>
                  <a:lnTo>
                    <a:pt x="1003268" y="553974"/>
                  </a:lnTo>
                  <a:lnTo>
                    <a:pt x="999744" y="551212"/>
                  </a:lnTo>
                  <a:lnTo>
                    <a:pt x="996124" y="548449"/>
                  </a:lnTo>
                  <a:lnTo>
                    <a:pt x="996886" y="541973"/>
                  </a:lnTo>
                  <a:lnTo>
                    <a:pt x="1007173" y="534257"/>
                  </a:lnTo>
                  <a:lnTo>
                    <a:pt x="1011079" y="527304"/>
                  </a:lnTo>
                  <a:lnTo>
                    <a:pt x="1009364" y="525970"/>
                  </a:lnTo>
                  <a:lnTo>
                    <a:pt x="1007173" y="521398"/>
                  </a:lnTo>
                  <a:lnTo>
                    <a:pt x="1010317" y="521018"/>
                  </a:lnTo>
                  <a:lnTo>
                    <a:pt x="1011269" y="516065"/>
                  </a:lnTo>
                  <a:lnTo>
                    <a:pt x="1020794" y="514922"/>
                  </a:lnTo>
                  <a:lnTo>
                    <a:pt x="1021747" y="509969"/>
                  </a:lnTo>
                  <a:lnTo>
                    <a:pt x="1017937" y="505587"/>
                  </a:lnTo>
                  <a:lnTo>
                    <a:pt x="1009650" y="503491"/>
                  </a:lnTo>
                  <a:lnTo>
                    <a:pt x="1001744" y="504444"/>
                  </a:lnTo>
                  <a:lnTo>
                    <a:pt x="1001363" y="501301"/>
                  </a:lnTo>
                  <a:lnTo>
                    <a:pt x="996029" y="497205"/>
                  </a:lnTo>
                  <a:lnTo>
                    <a:pt x="995648" y="493966"/>
                  </a:lnTo>
                  <a:lnTo>
                    <a:pt x="991838" y="489680"/>
                  </a:lnTo>
                  <a:lnTo>
                    <a:pt x="991457" y="486537"/>
                  </a:lnTo>
                  <a:lnTo>
                    <a:pt x="995839" y="482727"/>
                  </a:lnTo>
                  <a:lnTo>
                    <a:pt x="996982" y="479393"/>
                  </a:lnTo>
                  <a:lnTo>
                    <a:pt x="994791" y="474916"/>
                  </a:lnTo>
                  <a:lnTo>
                    <a:pt x="997363" y="469773"/>
                  </a:lnTo>
                  <a:lnTo>
                    <a:pt x="1000887" y="459677"/>
                  </a:lnTo>
                  <a:lnTo>
                    <a:pt x="995743" y="457105"/>
                  </a:lnTo>
                  <a:lnTo>
                    <a:pt x="996886" y="453771"/>
                  </a:lnTo>
                  <a:lnTo>
                    <a:pt x="995172" y="452342"/>
                  </a:lnTo>
                  <a:lnTo>
                    <a:pt x="998315" y="451961"/>
                  </a:lnTo>
                  <a:lnTo>
                    <a:pt x="993743" y="441293"/>
                  </a:lnTo>
                  <a:lnTo>
                    <a:pt x="992124" y="441579"/>
                  </a:lnTo>
                  <a:lnTo>
                    <a:pt x="984694" y="445675"/>
                  </a:lnTo>
                  <a:lnTo>
                    <a:pt x="974026" y="437388"/>
                  </a:lnTo>
                  <a:lnTo>
                    <a:pt x="969264" y="438055"/>
                  </a:lnTo>
                  <a:lnTo>
                    <a:pt x="972979" y="442341"/>
                  </a:lnTo>
                  <a:lnTo>
                    <a:pt x="971264" y="453771"/>
                  </a:lnTo>
                  <a:lnTo>
                    <a:pt x="976408" y="456343"/>
                  </a:lnTo>
                  <a:lnTo>
                    <a:pt x="970883" y="463486"/>
                  </a:lnTo>
                  <a:lnTo>
                    <a:pt x="966597" y="467297"/>
                  </a:lnTo>
                  <a:lnTo>
                    <a:pt x="963454" y="467678"/>
                  </a:lnTo>
                  <a:lnTo>
                    <a:pt x="960215" y="468058"/>
                  </a:lnTo>
                  <a:lnTo>
                    <a:pt x="958310" y="465106"/>
                  </a:lnTo>
                  <a:lnTo>
                    <a:pt x="953929" y="468820"/>
                  </a:lnTo>
                  <a:lnTo>
                    <a:pt x="955357" y="467106"/>
                  </a:lnTo>
                  <a:lnTo>
                    <a:pt x="951738" y="464344"/>
                  </a:lnTo>
                  <a:lnTo>
                    <a:pt x="947261" y="466535"/>
                  </a:lnTo>
                  <a:lnTo>
                    <a:pt x="940117" y="461010"/>
                  </a:lnTo>
                  <a:lnTo>
                    <a:pt x="937546" y="466153"/>
                  </a:lnTo>
                  <a:lnTo>
                    <a:pt x="933831" y="461772"/>
                  </a:lnTo>
                  <a:lnTo>
                    <a:pt x="931640" y="457295"/>
                  </a:lnTo>
                  <a:lnTo>
                    <a:pt x="928021" y="454533"/>
                  </a:lnTo>
                  <a:lnTo>
                    <a:pt x="921163" y="450628"/>
                  </a:lnTo>
                  <a:lnTo>
                    <a:pt x="918591" y="442912"/>
                  </a:lnTo>
                  <a:lnTo>
                    <a:pt x="905732" y="442912"/>
                  </a:lnTo>
                  <a:lnTo>
                    <a:pt x="900398" y="438817"/>
                  </a:lnTo>
                  <a:lnTo>
                    <a:pt x="897064" y="437578"/>
                  </a:lnTo>
                  <a:lnTo>
                    <a:pt x="895636" y="426529"/>
                  </a:lnTo>
                  <a:lnTo>
                    <a:pt x="875157" y="429197"/>
                  </a:lnTo>
                  <a:lnTo>
                    <a:pt x="872204" y="431197"/>
                  </a:lnTo>
                  <a:lnTo>
                    <a:pt x="862489" y="430816"/>
                  </a:lnTo>
                  <a:lnTo>
                    <a:pt x="851249" y="430625"/>
                  </a:lnTo>
                  <a:lnTo>
                    <a:pt x="847439" y="426339"/>
                  </a:lnTo>
                  <a:lnTo>
                    <a:pt x="827151" y="417671"/>
                  </a:lnTo>
                  <a:lnTo>
                    <a:pt x="826770" y="427291"/>
                  </a:lnTo>
                  <a:lnTo>
                    <a:pt x="830104" y="428530"/>
                  </a:lnTo>
                  <a:lnTo>
                    <a:pt x="836676" y="429292"/>
                  </a:lnTo>
                  <a:lnTo>
                    <a:pt x="838581" y="432244"/>
                  </a:lnTo>
                  <a:lnTo>
                    <a:pt x="830961" y="434816"/>
                  </a:lnTo>
                  <a:lnTo>
                    <a:pt x="832961" y="437769"/>
                  </a:lnTo>
                  <a:lnTo>
                    <a:pt x="834676" y="439103"/>
                  </a:lnTo>
                  <a:lnTo>
                    <a:pt x="830389" y="442912"/>
                  </a:lnTo>
                  <a:lnTo>
                    <a:pt x="826770" y="440150"/>
                  </a:lnTo>
                  <a:lnTo>
                    <a:pt x="826389" y="437007"/>
                  </a:lnTo>
                  <a:lnTo>
                    <a:pt x="823246" y="437388"/>
                  </a:lnTo>
                  <a:lnTo>
                    <a:pt x="824198" y="445294"/>
                  </a:lnTo>
                  <a:lnTo>
                    <a:pt x="819150" y="455581"/>
                  </a:lnTo>
                  <a:lnTo>
                    <a:pt x="814197" y="454628"/>
                  </a:lnTo>
                  <a:lnTo>
                    <a:pt x="813816" y="451390"/>
                  </a:lnTo>
                  <a:lnTo>
                    <a:pt x="805148" y="446151"/>
                  </a:lnTo>
                  <a:lnTo>
                    <a:pt x="802767" y="440055"/>
                  </a:lnTo>
                  <a:lnTo>
                    <a:pt x="796385" y="440817"/>
                  </a:lnTo>
                  <a:lnTo>
                    <a:pt x="788289" y="427387"/>
                  </a:lnTo>
                  <a:lnTo>
                    <a:pt x="789813" y="414433"/>
                  </a:lnTo>
                  <a:lnTo>
                    <a:pt x="786860" y="403574"/>
                  </a:lnTo>
                  <a:lnTo>
                    <a:pt x="784860" y="400622"/>
                  </a:lnTo>
                  <a:lnTo>
                    <a:pt x="758380" y="394335"/>
                  </a:lnTo>
                  <a:lnTo>
                    <a:pt x="749141" y="397097"/>
                  </a:lnTo>
                  <a:lnTo>
                    <a:pt x="746188" y="399098"/>
                  </a:lnTo>
                  <a:lnTo>
                    <a:pt x="742188" y="393192"/>
                  </a:lnTo>
                  <a:lnTo>
                    <a:pt x="743236" y="388239"/>
                  </a:lnTo>
                  <a:lnTo>
                    <a:pt x="740378" y="379000"/>
                  </a:lnTo>
                  <a:lnTo>
                    <a:pt x="735235" y="363569"/>
                  </a:lnTo>
                  <a:lnTo>
                    <a:pt x="724567" y="368141"/>
                  </a:lnTo>
                  <a:lnTo>
                    <a:pt x="722471" y="363665"/>
                  </a:lnTo>
                  <a:lnTo>
                    <a:pt x="719233" y="364046"/>
                  </a:lnTo>
                  <a:lnTo>
                    <a:pt x="717518" y="362712"/>
                  </a:lnTo>
                  <a:lnTo>
                    <a:pt x="711232" y="363474"/>
                  </a:lnTo>
                  <a:lnTo>
                    <a:pt x="711422" y="365093"/>
                  </a:lnTo>
                  <a:lnTo>
                    <a:pt x="708184" y="365474"/>
                  </a:lnTo>
                  <a:lnTo>
                    <a:pt x="708469" y="366998"/>
                  </a:lnTo>
                  <a:lnTo>
                    <a:pt x="709231" y="373380"/>
                  </a:lnTo>
                  <a:lnTo>
                    <a:pt x="708279" y="378238"/>
                  </a:lnTo>
                  <a:lnTo>
                    <a:pt x="699421" y="384238"/>
                  </a:lnTo>
                  <a:lnTo>
                    <a:pt x="693230" y="373761"/>
                  </a:lnTo>
                  <a:lnTo>
                    <a:pt x="686372" y="369856"/>
                  </a:lnTo>
                  <a:lnTo>
                    <a:pt x="684371" y="366903"/>
                  </a:lnTo>
                  <a:lnTo>
                    <a:pt x="671893" y="370046"/>
                  </a:lnTo>
                  <a:lnTo>
                    <a:pt x="664845" y="364522"/>
                  </a:lnTo>
                  <a:lnTo>
                    <a:pt x="659035" y="357283"/>
                  </a:lnTo>
                  <a:lnTo>
                    <a:pt x="654748" y="348234"/>
                  </a:lnTo>
                  <a:lnTo>
                    <a:pt x="657701" y="346234"/>
                  </a:lnTo>
                  <a:lnTo>
                    <a:pt x="661606" y="339280"/>
                  </a:lnTo>
                  <a:lnTo>
                    <a:pt x="654463" y="333851"/>
                  </a:lnTo>
                  <a:lnTo>
                    <a:pt x="652272" y="329279"/>
                  </a:lnTo>
                  <a:lnTo>
                    <a:pt x="649129" y="329660"/>
                  </a:lnTo>
                  <a:lnTo>
                    <a:pt x="650462" y="315087"/>
                  </a:lnTo>
                  <a:lnTo>
                    <a:pt x="648748" y="313658"/>
                  </a:lnTo>
                  <a:lnTo>
                    <a:pt x="643985" y="314325"/>
                  </a:lnTo>
                  <a:lnTo>
                    <a:pt x="635508" y="310610"/>
                  </a:lnTo>
                  <a:lnTo>
                    <a:pt x="634841" y="305848"/>
                  </a:lnTo>
                  <a:lnTo>
                    <a:pt x="633127" y="304419"/>
                  </a:lnTo>
                  <a:lnTo>
                    <a:pt x="630746" y="298323"/>
                  </a:lnTo>
                  <a:lnTo>
                    <a:pt x="622840" y="299371"/>
                  </a:lnTo>
                  <a:lnTo>
                    <a:pt x="620649" y="294799"/>
                  </a:lnTo>
                  <a:lnTo>
                    <a:pt x="615696" y="293846"/>
                  </a:lnTo>
                  <a:lnTo>
                    <a:pt x="613886" y="292513"/>
                  </a:lnTo>
                  <a:lnTo>
                    <a:pt x="610552" y="291275"/>
                  </a:lnTo>
                  <a:lnTo>
                    <a:pt x="596170" y="304324"/>
                  </a:lnTo>
                  <a:lnTo>
                    <a:pt x="591693" y="306515"/>
                  </a:lnTo>
                  <a:lnTo>
                    <a:pt x="592646" y="314420"/>
                  </a:lnTo>
                  <a:lnTo>
                    <a:pt x="592264" y="324136"/>
                  </a:lnTo>
                  <a:lnTo>
                    <a:pt x="596646" y="333184"/>
                  </a:lnTo>
                  <a:lnTo>
                    <a:pt x="602932" y="332327"/>
                  </a:lnTo>
                  <a:lnTo>
                    <a:pt x="604933" y="322517"/>
                  </a:lnTo>
                  <a:lnTo>
                    <a:pt x="611410" y="323278"/>
                  </a:lnTo>
                  <a:lnTo>
                    <a:pt x="615029" y="326041"/>
                  </a:lnTo>
                  <a:lnTo>
                    <a:pt x="619697" y="325374"/>
                  </a:lnTo>
                  <a:lnTo>
                    <a:pt x="624078" y="334518"/>
                  </a:lnTo>
                  <a:lnTo>
                    <a:pt x="622744" y="336232"/>
                  </a:lnTo>
                  <a:lnTo>
                    <a:pt x="622935" y="337852"/>
                  </a:lnTo>
                  <a:lnTo>
                    <a:pt x="618554" y="341567"/>
                  </a:lnTo>
                  <a:lnTo>
                    <a:pt x="622173" y="344329"/>
                  </a:lnTo>
                  <a:lnTo>
                    <a:pt x="622744" y="349091"/>
                  </a:lnTo>
                  <a:lnTo>
                    <a:pt x="619601" y="349472"/>
                  </a:lnTo>
                  <a:lnTo>
                    <a:pt x="618172" y="351282"/>
                  </a:lnTo>
                  <a:lnTo>
                    <a:pt x="621982" y="355568"/>
                  </a:lnTo>
                  <a:lnTo>
                    <a:pt x="621030" y="360521"/>
                  </a:lnTo>
                  <a:lnTo>
                    <a:pt x="617410" y="357759"/>
                  </a:lnTo>
                  <a:lnTo>
                    <a:pt x="617220" y="356235"/>
                  </a:lnTo>
                  <a:lnTo>
                    <a:pt x="613696" y="353473"/>
                  </a:lnTo>
                  <a:lnTo>
                    <a:pt x="594741" y="355854"/>
                  </a:lnTo>
                  <a:lnTo>
                    <a:pt x="593503" y="346424"/>
                  </a:lnTo>
                  <a:lnTo>
                    <a:pt x="582930" y="350996"/>
                  </a:lnTo>
                  <a:lnTo>
                    <a:pt x="577786" y="361188"/>
                  </a:lnTo>
                  <a:lnTo>
                    <a:pt x="569309" y="357473"/>
                  </a:lnTo>
                  <a:lnTo>
                    <a:pt x="563404" y="361474"/>
                  </a:lnTo>
                  <a:lnTo>
                    <a:pt x="558641" y="362045"/>
                  </a:lnTo>
                  <a:lnTo>
                    <a:pt x="539591" y="388525"/>
                  </a:lnTo>
                  <a:lnTo>
                    <a:pt x="537019" y="393668"/>
                  </a:lnTo>
                  <a:lnTo>
                    <a:pt x="529304" y="396240"/>
                  </a:lnTo>
                  <a:lnTo>
                    <a:pt x="515874" y="391573"/>
                  </a:lnTo>
                  <a:lnTo>
                    <a:pt x="509778" y="393954"/>
                  </a:lnTo>
                  <a:lnTo>
                    <a:pt x="500920" y="399860"/>
                  </a:lnTo>
                  <a:lnTo>
                    <a:pt x="495205" y="392620"/>
                  </a:lnTo>
                  <a:lnTo>
                    <a:pt x="492061" y="393002"/>
                  </a:lnTo>
                  <a:lnTo>
                    <a:pt x="491395" y="388239"/>
                  </a:lnTo>
                  <a:lnTo>
                    <a:pt x="488251" y="388620"/>
                  </a:lnTo>
                  <a:lnTo>
                    <a:pt x="487871" y="385477"/>
                  </a:lnTo>
                  <a:lnTo>
                    <a:pt x="482917" y="384524"/>
                  </a:lnTo>
                  <a:lnTo>
                    <a:pt x="479012" y="378619"/>
                  </a:lnTo>
                  <a:lnTo>
                    <a:pt x="477393" y="378809"/>
                  </a:lnTo>
                  <a:lnTo>
                    <a:pt x="476059" y="380619"/>
                  </a:lnTo>
                  <a:lnTo>
                    <a:pt x="472249" y="376238"/>
                  </a:lnTo>
                  <a:lnTo>
                    <a:pt x="475964" y="367760"/>
                  </a:lnTo>
                  <a:lnTo>
                    <a:pt x="470059" y="358902"/>
                  </a:lnTo>
                  <a:lnTo>
                    <a:pt x="468249" y="357569"/>
                  </a:lnTo>
                  <a:lnTo>
                    <a:pt x="453866" y="357759"/>
                  </a:lnTo>
                  <a:lnTo>
                    <a:pt x="451866" y="354806"/>
                  </a:lnTo>
                  <a:lnTo>
                    <a:pt x="448723" y="355187"/>
                  </a:lnTo>
                  <a:lnTo>
                    <a:pt x="448342" y="352044"/>
                  </a:lnTo>
                  <a:lnTo>
                    <a:pt x="444532" y="347758"/>
                  </a:lnTo>
                  <a:lnTo>
                    <a:pt x="441579" y="349663"/>
                  </a:lnTo>
                  <a:lnTo>
                    <a:pt x="439864" y="348329"/>
                  </a:lnTo>
                  <a:lnTo>
                    <a:pt x="434911" y="347377"/>
                  </a:lnTo>
                  <a:lnTo>
                    <a:pt x="430911" y="341471"/>
                  </a:lnTo>
                  <a:lnTo>
                    <a:pt x="433673" y="337852"/>
                  </a:lnTo>
                  <a:lnTo>
                    <a:pt x="434816" y="334518"/>
                  </a:lnTo>
                  <a:lnTo>
                    <a:pt x="432721" y="330041"/>
                  </a:lnTo>
                  <a:lnTo>
                    <a:pt x="427958" y="330613"/>
                  </a:lnTo>
                  <a:lnTo>
                    <a:pt x="431863" y="323659"/>
                  </a:lnTo>
                  <a:lnTo>
                    <a:pt x="428339" y="320897"/>
                  </a:lnTo>
                  <a:lnTo>
                    <a:pt x="429673" y="319183"/>
                  </a:lnTo>
                  <a:lnTo>
                    <a:pt x="428911" y="312801"/>
                  </a:lnTo>
                  <a:lnTo>
                    <a:pt x="422148" y="310515"/>
                  </a:lnTo>
                  <a:lnTo>
                    <a:pt x="423386" y="307086"/>
                  </a:lnTo>
                  <a:lnTo>
                    <a:pt x="419386" y="301180"/>
                  </a:lnTo>
                  <a:lnTo>
                    <a:pt x="417862" y="301466"/>
                  </a:lnTo>
                  <a:lnTo>
                    <a:pt x="420814" y="299466"/>
                  </a:lnTo>
                  <a:lnTo>
                    <a:pt x="420529" y="297847"/>
                  </a:lnTo>
                  <a:lnTo>
                    <a:pt x="419005" y="298037"/>
                  </a:lnTo>
                  <a:lnTo>
                    <a:pt x="420148" y="294703"/>
                  </a:lnTo>
                  <a:lnTo>
                    <a:pt x="416623" y="291941"/>
                  </a:lnTo>
                  <a:lnTo>
                    <a:pt x="416052" y="287179"/>
                  </a:lnTo>
                  <a:lnTo>
                    <a:pt x="413861" y="282702"/>
                  </a:lnTo>
                  <a:lnTo>
                    <a:pt x="408527" y="278511"/>
                  </a:lnTo>
                  <a:lnTo>
                    <a:pt x="405289" y="278987"/>
                  </a:lnTo>
                  <a:lnTo>
                    <a:pt x="405098" y="277368"/>
                  </a:lnTo>
                  <a:lnTo>
                    <a:pt x="398050" y="271844"/>
                  </a:lnTo>
                  <a:lnTo>
                    <a:pt x="399955" y="262033"/>
                  </a:lnTo>
                  <a:lnTo>
                    <a:pt x="379952" y="243650"/>
                  </a:lnTo>
                  <a:lnTo>
                    <a:pt x="374618" y="239554"/>
                  </a:lnTo>
                  <a:lnTo>
                    <a:pt x="364998" y="239173"/>
                  </a:lnTo>
                  <a:lnTo>
                    <a:pt x="360712" y="255746"/>
                  </a:lnTo>
                  <a:lnTo>
                    <a:pt x="350234" y="249079"/>
                  </a:lnTo>
                  <a:lnTo>
                    <a:pt x="343471" y="246698"/>
                  </a:lnTo>
                  <a:lnTo>
                    <a:pt x="334327" y="225457"/>
                  </a:lnTo>
                  <a:lnTo>
                    <a:pt x="325660" y="220123"/>
                  </a:lnTo>
                  <a:lnTo>
                    <a:pt x="318706" y="216217"/>
                  </a:lnTo>
                  <a:lnTo>
                    <a:pt x="318516" y="214598"/>
                  </a:lnTo>
                  <a:lnTo>
                    <a:pt x="313658" y="213646"/>
                  </a:lnTo>
                  <a:lnTo>
                    <a:pt x="309086" y="202978"/>
                  </a:lnTo>
                  <a:lnTo>
                    <a:pt x="301085" y="191167"/>
                  </a:lnTo>
                  <a:lnTo>
                    <a:pt x="306229" y="180880"/>
                  </a:lnTo>
                  <a:lnTo>
                    <a:pt x="309181" y="178975"/>
                  </a:lnTo>
                  <a:lnTo>
                    <a:pt x="317278" y="179546"/>
                  </a:lnTo>
                  <a:lnTo>
                    <a:pt x="322421" y="182023"/>
                  </a:lnTo>
                  <a:lnTo>
                    <a:pt x="326517" y="176689"/>
                  </a:lnTo>
                  <a:lnTo>
                    <a:pt x="331089" y="174593"/>
                  </a:lnTo>
                  <a:lnTo>
                    <a:pt x="337185" y="172212"/>
                  </a:lnTo>
                  <a:lnTo>
                    <a:pt x="349853" y="170593"/>
                  </a:lnTo>
                  <a:lnTo>
                    <a:pt x="358711" y="164592"/>
                  </a:lnTo>
                  <a:lnTo>
                    <a:pt x="362045" y="165830"/>
                  </a:lnTo>
                  <a:lnTo>
                    <a:pt x="366617" y="163640"/>
                  </a:lnTo>
                  <a:lnTo>
                    <a:pt x="369951" y="164782"/>
                  </a:lnTo>
                  <a:lnTo>
                    <a:pt x="377380" y="160592"/>
                  </a:lnTo>
                  <a:lnTo>
                    <a:pt x="376809" y="155924"/>
                  </a:lnTo>
                  <a:lnTo>
                    <a:pt x="381381" y="153734"/>
                  </a:lnTo>
                  <a:lnTo>
                    <a:pt x="380333" y="145828"/>
                  </a:lnTo>
                  <a:lnTo>
                    <a:pt x="384715" y="142018"/>
                  </a:lnTo>
                  <a:lnTo>
                    <a:pt x="385858" y="138684"/>
                  </a:lnTo>
                  <a:lnTo>
                    <a:pt x="388810" y="136684"/>
                  </a:lnTo>
                  <a:lnTo>
                    <a:pt x="392335" y="139446"/>
                  </a:lnTo>
                  <a:lnTo>
                    <a:pt x="400621" y="141637"/>
                  </a:lnTo>
                  <a:lnTo>
                    <a:pt x="406527" y="137636"/>
                  </a:lnTo>
                  <a:lnTo>
                    <a:pt x="412909" y="136874"/>
                  </a:lnTo>
                  <a:lnTo>
                    <a:pt x="412051" y="130588"/>
                  </a:lnTo>
                  <a:lnTo>
                    <a:pt x="412813" y="124015"/>
                  </a:lnTo>
                  <a:lnTo>
                    <a:pt x="412051" y="117729"/>
                  </a:lnTo>
                  <a:lnTo>
                    <a:pt x="416528" y="102679"/>
                  </a:lnTo>
                  <a:lnTo>
                    <a:pt x="400336" y="88773"/>
                  </a:lnTo>
                  <a:lnTo>
                    <a:pt x="387858" y="79153"/>
                  </a:lnTo>
                  <a:lnTo>
                    <a:pt x="388620" y="72580"/>
                  </a:lnTo>
                  <a:lnTo>
                    <a:pt x="388620" y="59722"/>
                  </a:lnTo>
                  <a:lnTo>
                    <a:pt x="394335" y="54197"/>
                  </a:lnTo>
                  <a:lnTo>
                    <a:pt x="398812" y="39243"/>
                  </a:lnTo>
                  <a:lnTo>
                    <a:pt x="403193" y="35433"/>
                  </a:lnTo>
                  <a:lnTo>
                    <a:pt x="402812" y="32290"/>
                  </a:lnTo>
                  <a:lnTo>
                    <a:pt x="405765" y="30290"/>
                  </a:lnTo>
                  <a:lnTo>
                    <a:pt x="403765" y="27337"/>
                  </a:lnTo>
                  <a:lnTo>
                    <a:pt x="394240" y="28575"/>
                  </a:lnTo>
                  <a:lnTo>
                    <a:pt x="392335" y="25622"/>
                  </a:lnTo>
                  <a:lnTo>
                    <a:pt x="387382" y="24670"/>
                  </a:lnTo>
                  <a:lnTo>
                    <a:pt x="381952" y="7715"/>
                  </a:lnTo>
                  <a:lnTo>
                    <a:pt x="366617" y="0"/>
                  </a:lnTo>
                  <a:lnTo>
                    <a:pt x="358711" y="1048"/>
                  </a:lnTo>
                  <a:lnTo>
                    <a:pt x="360331" y="13621"/>
                  </a:lnTo>
                  <a:lnTo>
                    <a:pt x="358330" y="23527"/>
                  </a:lnTo>
                  <a:lnTo>
                    <a:pt x="360521" y="28099"/>
                  </a:lnTo>
                  <a:lnTo>
                    <a:pt x="360712" y="29623"/>
                  </a:lnTo>
                  <a:lnTo>
                    <a:pt x="359378" y="31432"/>
                  </a:lnTo>
                  <a:lnTo>
                    <a:pt x="340614" y="48196"/>
                  </a:lnTo>
                  <a:lnTo>
                    <a:pt x="335375" y="56959"/>
                  </a:lnTo>
                  <a:lnTo>
                    <a:pt x="323279" y="63246"/>
                  </a:lnTo>
                  <a:lnTo>
                    <a:pt x="312706" y="67818"/>
                  </a:lnTo>
                  <a:lnTo>
                    <a:pt x="309753" y="69818"/>
                  </a:lnTo>
                  <a:lnTo>
                    <a:pt x="303181" y="69056"/>
                  </a:lnTo>
                  <a:lnTo>
                    <a:pt x="302800" y="65913"/>
                  </a:lnTo>
                  <a:lnTo>
                    <a:pt x="299466" y="64675"/>
                  </a:lnTo>
                  <a:lnTo>
                    <a:pt x="298609" y="58388"/>
                  </a:lnTo>
                  <a:lnTo>
                    <a:pt x="295084" y="55626"/>
                  </a:lnTo>
                  <a:lnTo>
                    <a:pt x="287179" y="56674"/>
                  </a:lnTo>
                  <a:lnTo>
                    <a:pt x="285845" y="58388"/>
                  </a:lnTo>
                  <a:lnTo>
                    <a:pt x="279749" y="60865"/>
                  </a:lnTo>
                  <a:lnTo>
                    <a:pt x="275558" y="66199"/>
                  </a:lnTo>
                  <a:lnTo>
                    <a:pt x="272224" y="64960"/>
                  </a:lnTo>
                  <a:lnTo>
                    <a:pt x="266129" y="67342"/>
                  </a:lnTo>
                  <a:lnTo>
                    <a:pt x="261175" y="66389"/>
                  </a:lnTo>
                  <a:lnTo>
                    <a:pt x="256032" y="63817"/>
                  </a:lnTo>
                  <a:lnTo>
                    <a:pt x="251079" y="62865"/>
                  </a:lnTo>
                  <a:lnTo>
                    <a:pt x="249364" y="61436"/>
                  </a:lnTo>
                  <a:lnTo>
                    <a:pt x="244602" y="62103"/>
                  </a:lnTo>
                  <a:lnTo>
                    <a:pt x="228409" y="60960"/>
                  </a:lnTo>
                  <a:lnTo>
                    <a:pt x="214789" y="67437"/>
                  </a:lnTo>
                  <a:lnTo>
                    <a:pt x="211836" y="69437"/>
                  </a:lnTo>
                  <a:lnTo>
                    <a:pt x="210121" y="68104"/>
                  </a:lnTo>
                  <a:lnTo>
                    <a:pt x="205740" y="71819"/>
                  </a:lnTo>
                  <a:lnTo>
                    <a:pt x="202216" y="69056"/>
                  </a:lnTo>
                  <a:lnTo>
                    <a:pt x="200596" y="69247"/>
                  </a:lnTo>
                  <a:lnTo>
                    <a:pt x="202025" y="80296"/>
                  </a:lnTo>
                  <a:lnTo>
                    <a:pt x="200882" y="83725"/>
                  </a:lnTo>
                  <a:lnTo>
                    <a:pt x="196310" y="85915"/>
                  </a:lnTo>
                  <a:lnTo>
                    <a:pt x="190405" y="89821"/>
                  </a:lnTo>
                  <a:lnTo>
                    <a:pt x="183451" y="85915"/>
                  </a:lnTo>
                  <a:lnTo>
                    <a:pt x="181927" y="98965"/>
                  </a:lnTo>
                  <a:lnTo>
                    <a:pt x="179546" y="105632"/>
                  </a:lnTo>
                  <a:lnTo>
                    <a:pt x="182404" y="114967"/>
                  </a:lnTo>
                  <a:lnTo>
                    <a:pt x="181546" y="121444"/>
                  </a:lnTo>
                  <a:lnTo>
                    <a:pt x="182404" y="127730"/>
                  </a:lnTo>
                  <a:lnTo>
                    <a:pt x="179641" y="131350"/>
                  </a:lnTo>
                  <a:lnTo>
                    <a:pt x="180213" y="136017"/>
                  </a:lnTo>
                  <a:lnTo>
                    <a:pt x="174307" y="140017"/>
                  </a:lnTo>
                  <a:lnTo>
                    <a:pt x="166021" y="137827"/>
                  </a:lnTo>
                  <a:lnTo>
                    <a:pt x="163068" y="139827"/>
                  </a:lnTo>
                  <a:lnTo>
                    <a:pt x="157734" y="135731"/>
                  </a:lnTo>
                  <a:lnTo>
                    <a:pt x="150019" y="125444"/>
                  </a:lnTo>
                  <a:lnTo>
                    <a:pt x="148209" y="124111"/>
                  </a:lnTo>
                  <a:lnTo>
                    <a:pt x="144971" y="135731"/>
                  </a:lnTo>
                  <a:lnTo>
                    <a:pt x="136493" y="144780"/>
                  </a:lnTo>
                  <a:lnTo>
                    <a:pt x="129159" y="163354"/>
                  </a:lnTo>
                  <a:lnTo>
                    <a:pt x="121920" y="169164"/>
                  </a:lnTo>
                  <a:lnTo>
                    <a:pt x="108299" y="162877"/>
                  </a:lnTo>
                  <a:lnTo>
                    <a:pt x="102394" y="166783"/>
                  </a:lnTo>
                  <a:lnTo>
                    <a:pt x="98488" y="173736"/>
                  </a:lnTo>
                  <a:lnTo>
                    <a:pt x="99250" y="180023"/>
                  </a:lnTo>
                  <a:lnTo>
                    <a:pt x="94964" y="183832"/>
                  </a:lnTo>
                  <a:lnTo>
                    <a:pt x="91916" y="185738"/>
                  </a:lnTo>
                  <a:lnTo>
                    <a:pt x="86582" y="181642"/>
                  </a:lnTo>
                  <a:lnTo>
                    <a:pt x="81534" y="191929"/>
                  </a:lnTo>
                  <a:lnTo>
                    <a:pt x="77343" y="197263"/>
                  </a:lnTo>
                  <a:lnTo>
                    <a:pt x="69342" y="209550"/>
                  </a:lnTo>
                  <a:lnTo>
                    <a:pt x="66199" y="209931"/>
                  </a:lnTo>
                  <a:lnTo>
                    <a:pt x="55912" y="217646"/>
                  </a:lnTo>
                  <a:lnTo>
                    <a:pt x="58483" y="225361"/>
                  </a:lnTo>
                  <a:lnTo>
                    <a:pt x="59912" y="236411"/>
                  </a:lnTo>
                  <a:lnTo>
                    <a:pt x="63913" y="242316"/>
                  </a:lnTo>
                  <a:lnTo>
                    <a:pt x="59912" y="249174"/>
                  </a:lnTo>
                  <a:lnTo>
                    <a:pt x="44196" y="264033"/>
                  </a:lnTo>
                  <a:lnTo>
                    <a:pt x="51721" y="285559"/>
                  </a:lnTo>
                  <a:lnTo>
                    <a:pt x="51340" y="295180"/>
                  </a:lnTo>
                  <a:lnTo>
                    <a:pt x="53721" y="301276"/>
                  </a:lnTo>
                  <a:lnTo>
                    <a:pt x="54769" y="309182"/>
                  </a:lnTo>
                  <a:lnTo>
                    <a:pt x="47530" y="327755"/>
                  </a:lnTo>
                  <a:lnTo>
                    <a:pt x="39814" y="330327"/>
                  </a:lnTo>
                  <a:lnTo>
                    <a:pt x="37242" y="335471"/>
                  </a:lnTo>
                  <a:lnTo>
                    <a:pt x="31718" y="342614"/>
                  </a:lnTo>
                  <a:lnTo>
                    <a:pt x="24098" y="345186"/>
                  </a:lnTo>
                  <a:lnTo>
                    <a:pt x="19526" y="360140"/>
                  </a:lnTo>
                  <a:lnTo>
                    <a:pt x="11049" y="369284"/>
                  </a:lnTo>
                  <a:lnTo>
                    <a:pt x="12668" y="381857"/>
                  </a:lnTo>
                  <a:lnTo>
                    <a:pt x="15049" y="388048"/>
                  </a:lnTo>
                  <a:lnTo>
                    <a:pt x="14288" y="394526"/>
                  </a:lnTo>
                  <a:lnTo>
                    <a:pt x="5429" y="400431"/>
                  </a:lnTo>
                  <a:lnTo>
                    <a:pt x="3905" y="400622"/>
                  </a:lnTo>
                  <a:lnTo>
                    <a:pt x="6286" y="406813"/>
                  </a:lnTo>
                  <a:lnTo>
                    <a:pt x="14764" y="410528"/>
                  </a:lnTo>
                  <a:lnTo>
                    <a:pt x="29432" y="424720"/>
                  </a:lnTo>
                  <a:lnTo>
                    <a:pt x="33528" y="432149"/>
                  </a:lnTo>
                  <a:lnTo>
                    <a:pt x="33718" y="433769"/>
                  </a:lnTo>
                  <a:lnTo>
                    <a:pt x="36100" y="439865"/>
                  </a:lnTo>
                  <a:lnTo>
                    <a:pt x="33338" y="443389"/>
                  </a:lnTo>
                  <a:lnTo>
                    <a:pt x="35338" y="446341"/>
                  </a:lnTo>
                  <a:lnTo>
                    <a:pt x="32766" y="451485"/>
                  </a:lnTo>
                  <a:lnTo>
                    <a:pt x="31051" y="450152"/>
                  </a:lnTo>
                  <a:lnTo>
                    <a:pt x="28861" y="458438"/>
                  </a:lnTo>
                  <a:lnTo>
                    <a:pt x="22574" y="459200"/>
                  </a:lnTo>
                  <a:lnTo>
                    <a:pt x="21622" y="464153"/>
                  </a:lnTo>
                  <a:lnTo>
                    <a:pt x="17050" y="466344"/>
                  </a:lnTo>
                  <a:lnTo>
                    <a:pt x="17431" y="469487"/>
                  </a:lnTo>
                  <a:lnTo>
                    <a:pt x="9811" y="472059"/>
                  </a:lnTo>
                  <a:lnTo>
                    <a:pt x="12097" y="478155"/>
                  </a:lnTo>
                  <a:lnTo>
                    <a:pt x="10954" y="481584"/>
                  </a:lnTo>
                  <a:lnTo>
                    <a:pt x="19240" y="483679"/>
                  </a:lnTo>
                  <a:lnTo>
                    <a:pt x="16954" y="490442"/>
                  </a:lnTo>
                  <a:lnTo>
                    <a:pt x="17335" y="493586"/>
                  </a:lnTo>
                  <a:lnTo>
                    <a:pt x="15907" y="495395"/>
                  </a:lnTo>
                  <a:lnTo>
                    <a:pt x="14192" y="493966"/>
                  </a:lnTo>
                  <a:lnTo>
                    <a:pt x="13144" y="498919"/>
                  </a:lnTo>
                  <a:lnTo>
                    <a:pt x="13430" y="500539"/>
                  </a:lnTo>
                  <a:lnTo>
                    <a:pt x="7715" y="506063"/>
                  </a:lnTo>
                  <a:lnTo>
                    <a:pt x="6477" y="509397"/>
                  </a:lnTo>
                  <a:lnTo>
                    <a:pt x="1714" y="509969"/>
                  </a:lnTo>
                  <a:lnTo>
                    <a:pt x="4191" y="516065"/>
                  </a:lnTo>
                  <a:lnTo>
                    <a:pt x="952" y="516541"/>
                  </a:lnTo>
                  <a:lnTo>
                    <a:pt x="0" y="521398"/>
                  </a:lnTo>
                  <a:lnTo>
                    <a:pt x="8477" y="525208"/>
                  </a:lnTo>
                  <a:lnTo>
                    <a:pt x="10858" y="531304"/>
                  </a:lnTo>
                  <a:lnTo>
                    <a:pt x="10287" y="539401"/>
                  </a:lnTo>
                  <a:lnTo>
                    <a:pt x="12859" y="534257"/>
                  </a:lnTo>
                  <a:lnTo>
                    <a:pt x="16192" y="535400"/>
                  </a:lnTo>
                  <a:lnTo>
                    <a:pt x="18192" y="538353"/>
                  </a:lnTo>
                  <a:lnTo>
                    <a:pt x="19050" y="544640"/>
                  </a:lnTo>
                  <a:lnTo>
                    <a:pt x="23622" y="555307"/>
                  </a:lnTo>
                  <a:lnTo>
                    <a:pt x="26956" y="556546"/>
                  </a:lnTo>
                  <a:lnTo>
                    <a:pt x="29146" y="561023"/>
                  </a:lnTo>
                  <a:lnTo>
                    <a:pt x="36195" y="553688"/>
                  </a:lnTo>
                  <a:lnTo>
                    <a:pt x="39338" y="553307"/>
                  </a:lnTo>
                  <a:lnTo>
                    <a:pt x="44291" y="554260"/>
                  </a:lnTo>
                  <a:lnTo>
                    <a:pt x="43720" y="549593"/>
                  </a:lnTo>
                  <a:lnTo>
                    <a:pt x="45053" y="547783"/>
                  </a:lnTo>
                  <a:lnTo>
                    <a:pt x="50197" y="550354"/>
                  </a:lnTo>
                  <a:lnTo>
                    <a:pt x="53911" y="541877"/>
                  </a:lnTo>
                  <a:lnTo>
                    <a:pt x="57055" y="541401"/>
                  </a:lnTo>
                  <a:lnTo>
                    <a:pt x="54578" y="559403"/>
                  </a:lnTo>
                  <a:lnTo>
                    <a:pt x="48482" y="574643"/>
                  </a:lnTo>
                  <a:lnTo>
                    <a:pt x="46101" y="581311"/>
                  </a:lnTo>
                  <a:lnTo>
                    <a:pt x="49244" y="580930"/>
                  </a:lnTo>
                  <a:lnTo>
                    <a:pt x="49721" y="584073"/>
                  </a:lnTo>
                  <a:lnTo>
                    <a:pt x="51435" y="585407"/>
                  </a:lnTo>
                  <a:lnTo>
                    <a:pt x="51911" y="588645"/>
                  </a:lnTo>
                  <a:lnTo>
                    <a:pt x="53245" y="586835"/>
                  </a:lnTo>
                  <a:lnTo>
                    <a:pt x="56197" y="584835"/>
                  </a:lnTo>
                  <a:lnTo>
                    <a:pt x="58007" y="586264"/>
                  </a:lnTo>
                  <a:lnTo>
                    <a:pt x="59531" y="585978"/>
                  </a:lnTo>
                  <a:lnTo>
                    <a:pt x="59150" y="582835"/>
                  </a:lnTo>
                  <a:lnTo>
                    <a:pt x="62293" y="582454"/>
                  </a:lnTo>
                  <a:lnTo>
                    <a:pt x="63532" y="579120"/>
                  </a:lnTo>
                  <a:lnTo>
                    <a:pt x="65437" y="582073"/>
                  </a:lnTo>
                  <a:lnTo>
                    <a:pt x="70009" y="579882"/>
                  </a:lnTo>
                  <a:lnTo>
                    <a:pt x="73533" y="582644"/>
                  </a:lnTo>
                  <a:lnTo>
                    <a:pt x="76486" y="580644"/>
                  </a:lnTo>
                  <a:lnTo>
                    <a:pt x="78867" y="586740"/>
                  </a:lnTo>
                  <a:lnTo>
                    <a:pt x="85439" y="587502"/>
                  </a:lnTo>
                  <a:lnTo>
                    <a:pt x="88963" y="590264"/>
                  </a:lnTo>
                  <a:lnTo>
                    <a:pt x="93535" y="588074"/>
                  </a:lnTo>
                  <a:lnTo>
                    <a:pt x="95536" y="591026"/>
                  </a:lnTo>
                  <a:lnTo>
                    <a:pt x="96107" y="595789"/>
                  </a:lnTo>
                  <a:lnTo>
                    <a:pt x="97250" y="592455"/>
                  </a:lnTo>
                  <a:lnTo>
                    <a:pt x="98869" y="592265"/>
                  </a:lnTo>
                  <a:lnTo>
                    <a:pt x="104204" y="596360"/>
                  </a:lnTo>
                  <a:lnTo>
                    <a:pt x="104394" y="597979"/>
                  </a:lnTo>
                  <a:lnTo>
                    <a:pt x="104584" y="599503"/>
                  </a:lnTo>
                  <a:lnTo>
                    <a:pt x="109538" y="600551"/>
                  </a:lnTo>
                  <a:lnTo>
                    <a:pt x="115633" y="598075"/>
                  </a:lnTo>
                  <a:lnTo>
                    <a:pt x="127254" y="601408"/>
                  </a:lnTo>
                  <a:lnTo>
                    <a:pt x="126301" y="606361"/>
                  </a:lnTo>
                  <a:lnTo>
                    <a:pt x="128302" y="609314"/>
                  </a:lnTo>
                  <a:lnTo>
                    <a:pt x="130873" y="604171"/>
                  </a:lnTo>
                  <a:lnTo>
                    <a:pt x="133636" y="600647"/>
                  </a:lnTo>
                  <a:lnTo>
                    <a:pt x="143065" y="599408"/>
                  </a:lnTo>
                  <a:lnTo>
                    <a:pt x="150400" y="593693"/>
                  </a:lnTo>
                  <a:lnTo>
                    <a:pt x="157829" y="602361"/>
                  </a:lnTo>
                  <a:lnTo>
                    <a:pt x="159258" y="600551"/>
                  </a:lnTo>
                  <a:lnTo>
                    <a:pt x="161258" y="603504"/>
                  </a:lnTo>
                  <a:lnTo>
                    <a:pt x="172688" y="618077"/>
                  </a:lnTo>
                  <a:lnTo>
                    <a:pt x="174688" y="621030"/>
                  </a:lnTo>
                  <a:lnTo>
                    <a:pt x="177832" y="620649"/>
                  </a:lnTo>
                  <a:lnTo>
                    <a:pt x="180022" y="625221"/>
                  </a:lnTo>
                  <a:lnTo>
                    <a:pt x="186976" y="629126"/>
                  </a:lnTo>
                  <a:lnTo>
                    <a:pt x="189357" y="635222"/>
                  </a:lnTo>
                  <a:lnTo>
                    <a:pt x="186404" y="637223"/>
                  </a:lnTo>
                  <a:lnTo>
                    <a:pt x="186785" y="640366"/>
                  </a:lnTo>
                  <a:lnTo>
                    <a:pt x="193929" y="645890"/>
                  </a:lnTo>
                  <a:lnTo>
                    <a:pt x="195834" y="648843"/>
                  </a:lnTo>
                  <a:lnTo>
                    <a:pt x="189738" y="651224"/>
                  </a:lnTo>
                  <a:lnTo>
                    <a:pt x="196882" y="656749"/>
                  </a:lnTo>
                  <a:lnTo>
                    <a:pt x="199072" y="661226"/>
                  </a:lnTo>
                  <a:lnTo>
                    <a:pt x="198691" y="658082"/>
                  </a:lnTo>
                  <a:lnTo>
                    <a:pt x="203359" y="657511"/>
                  </a:lnTo>
                  <a:lnTo>
                    <a:pt x="207740" y="653701"/>
                  </a:lnTo>
                  <a:lnTo>
                    <a:pt x="215170" y="649605"/>
                  </a:lnTo>
                  <a:lnTo>
                    <a:pt x="230219" y="654082"/>
                  </a:lnTo>
                  <a:lnTo>
                    <a:pt x="235363" y="656653"/>
                  </a:lnTo>
                  <a:lnTo>
                    <a:pt x="238125" y="653034"/>
                  </a:lnTo>
                  <a:lnTo>
                    <a:pt x="241459" y="654272"/>
                  </a:lnTo>
                  <a:lnTo>
                    <a:pt x="249746" y="669227"/>
                  </a:lnTo>
                  <a:lnTo>
                    <a:pt x="253174" y="670370"/>
                  </a:lnTo>
                  <a:lnTo>
                    <a:pt x="266319" y="673513"/>
                  </a:lnTo>
                  <a:lnTo>
                    <a:pt x="274225" y="659702"/>
                  </a:lnTo>
                  <a:lnTo>
                    <a:pt x="272415" y="658368"/>
                  </a:lnTo>
                  <a:lnTo>
                    <a:pt x="273653" y="654939"/>
                  </a:lnTo>
                  <a:lnTo>
                    <a:pt x="276225" y="649795"/>
                  </a:lnTo>
                  <a:lnTo>
                    <a:pt x="279559" y="651034"/>
                  </a:lnTo>
                  <a:lnTo>
                    <a:pt x="281559" y="653986"/>
                  </a:lnTo>
                  <a:lnTo>
                    <a:pt x="289846" y="656082"/>
                  </a:lnTo>
                  <a:lnTo>
                    <a:pt x="298323" y="659797"/>
                  </a:lnTo>
                  <a:lnTo>
                    <a:pt x="310134" y="677608"/>
                  </a:lnTo>
                  <a:lnTo>
                    <a:pt x="316897" y="679895"/>
                  </a:lnTo>
                  <a:lnTo>
                    <a:pt x="329565" y="678275"/>
                  </a:lnTo>
                  <a:lnTo>
                    <a:pt x="330327" y="671798"/>
                  </a:lnTo>
                  <a:lnTo>
                    <a:pt x="336423" y="669417"/>
                  </a:lnTo>
                  <a:lnTo>
                    <a:pt x="340519" y="664083"/>
                  </a:lnTo>
                  <a:lnTo>
                    <a:pt x="343852" y="665226"/>
                  </a:lnTo>
                  <a:lnTo>
                    <a:pt x="346234" y="658558"/>
                  </a:lnTo>
                  <a:lnTo>
                    <a:pt x="354901" y="663893"/>
                  </a:lnTo>
                  <a:lnTo>
                    <a:pt x="359664" y="663226"/>
                  </a:lnTo>
                  <a:lnTo>
                    <a:pt x="365569" y="672084"/>
                  </a:lnTo>
                  <a:lnTo>
                    <a:pt x="371761" y="669703"/>
                  </a:lnTo>
                  <a:lnTo>
                    <a:pt x="375094" y="670941"/>
                  </a:lnTo>
                  <a:lnTo>
                    <a:pt x="378619" y="673703"/>
                  </a:lnTo>
                  <a:lnTo>
                    <a:pt x="376047" y="678847"/>
                  </a:lnTo>
                  <a:lnTo>
                    <a:pt x="379476" y="679990"/>
                  </a:lnTo>
                  <a:lnTo>
                    <a:pt x="381190" y="681323"/>
                  </a:lnTo>
                  <a:lnTo>
                    <a:pt x="384810" y="684086"/>
                  </a:lnTo>
                  <a:lnTo>
                    <a:pt x="387953" y="683704"/>
                  </a:lnTo>
                  <a:lnTo>
                    <a:pt x="390334" y="677037"/>
                  </a:lnTo>
                  <a:lnTo>
                    <a:pt x="391858" y="676751"/>
                  </a:lnTo>
                  <a:lnTo>
                    <a:pt x="391287" y="684848"/>
                  </a:lnTo>
                  <a:lnTo>
                    <a:pt x="393287" y="687800"/>
                  </a:lnTo>
                  <a:lnTo>
                    <a:pt x="391668" y="687991"/>
                  </a:lnTo>
                  <a:lnTo>
                    <a:pt x="390715" y="692944"/>
                  </a:lnTo>
                  <a:lnTo>
                    <a:pt x="389096" y="693134"/>
                  </a:lnTo>
                  <a:lnTo>
                    <a:pt x="382905" y="706755"/>
                  </a:lnTo>
                  <a:lnTo>
                    <a:pt x="381857" y="711708"/>
                  </a:lnTo>
                  <a:lnTo>
                    <a:pt x="385096" y="724186"/>
                  </a:lnTo>
                  <a:lnTo>
                    <a:pt x="386715" y="736759"/>
                  </a:lnTo>
                  <a:lnTo>
                    <a:pt x="389096" y="742855"/>
                  </a:lnTo>
                  <a:lnTo>
                    <a:pt x="409861" y="754666"/>
                  </a:lnTo>
                  <a:lnTo>
                    <a:pt x="410242" y="757809"/>
                  </a:lnTo>
                  <a:lnTo>
                    <a:pt x="411956" y="759238"/>
                  </a:lnTo>
                  <a:lnTo>
                    <a:pt x="414528" y="754094"/>
                  </a:lnTo>
                  <a:lnTo>
                    <a:pt x="416338" y="755428"/>
                  </a:lnTo>
                  <a:lnTo>
                    <a:pt x="417671" y="753713"/>
                  </a:lnTo>
                  <a:lnTo>
                    <a:pt x="419290" y="753523"/>
                  </a:lnTo>
                  <a:lnTo>
                    <a:pt x="419671" y="743807"/>
                  </a:lnTo>
                  <a:lnTo>
                    <a:pt x="422243" y="738664"/>
                  </a:lnTo>
                  <a:lnTo>
                    <a:pt x="422243" y="738664"/>
                  </a:lnTo>
                  <a:lnTo>
                    <a:pt x="429292" y="744188"/>
                  </a:lnTo>
                  <a:lnTo>
                    <a:pt x="437864" y="760762"/>
                  </a:lnTo>
                  <a:lnTo>
                    <a:pt x="448532" y="769049"/>
                  </a:lnTo>
                  <a:lnTo>
                    <a:pt x="444817" y="777526"/>
                  </a:lnTo>
                  <a:lnTo>
                    <a:pt x="450151" y="781622"/>
                  </a:lnTo>
                  <a:lnTo>
                    <a:pt x="451294" y="791051"/>
                  </a:lnTo>
                  <a:lnTo>
                    <a:pt x="453104" y="792480"/>
                  </a:lnTo>
                  <a:lnTo>
                    <a:pt x="455866" y="788956"/>
                  </a:lnTo>
                  <a:lnTo>
                    <a:pt x="459010" y="788479"/>
                  </a:lnTo>
                  <a:lnTo>
                    <a:pt x="464820" y="795814"/>
                  </a:lnTo>
                  <a:lnTo>
                    <a:pt x="473488" y="801148"/>
                  </a:lnTo>
                  <a:lnTo>
                    <a:pt x="479965" y="801910"/>
                  </a:lnTo>
                  <a:lnTo>
                    <a:pt x="484537" y="812482"/>
                  </a:lnTo>
                  <a:lnTo>
                    <a:pt x="490061" y="818198"/>
                  </a:lnTo>
                  <a:lnTo>
                    <a:pt x="493681" y="820960"/>
                  </a:lnTo>
                  <a:lnTo>
                    <a:pt x="495586" y="823912"/>
                  </a:lnTo>
                  <a:lnTo>
                    <a:pt x="497967" y="830008"/>
                  </a:lnTo>
                  <a:lnTo>
                    <a:pt x="501110" y="829628"/>
                  </a:lnTo>
                  <a:lnTo>
                    <a:pt x="501777" y="834390"/>
                  </a:lnTo>
                  <a:lnTo>
                    <a:pt x="503301" y="834199"/>
                  </a:lnTo>
                  <a:lnTo>
                    <a:pt x="501967" y="836009"/>
                  </a:lnTo>
                  <a:lnTo>
                    <a:pt x="504158" y="840486"/>
                  </a:lnTo>
                  <a:lnTo>
                    <a:pt x="507111" y="838486"/>
                  </a:lnTo>
                  <a:lnTo>
                    <a:pt x="508921" y="839915"/>
                  </a:lnTo>
                  <a:lnTo>
                    <a:pt x="508063" y="846391"/>
                  </a:lnTo>
                  <a:lnTo>
                    <a:pt x="513207" y="848963"/>
                  </a:lnTo>
                  <a:lnTo>
                    <a:pt x="516350" y="848582"/>
                  </a:lnTo>
                  <a:lnTo>
                    <a:pt x="513397" y="850582"/>
                  </a:lnTo>
                  <a:lnTo>
                    <a:pt x="515017" y="850297"/>
                  </a:lnTo>
                  <a:lnTo>
                    <a:pt x="513874" y="853726"/>
                  </a:lnTo>
                  <a:lnTo>
                    <a:pt x="517207" y="854869"/>
                  </a:lnTo>
                  <a:lnTo>
                    <a:pt x="513302" y="861822"/>
                  </a:lnTo>
                  <a:lnTo>
                    <a:pt x="508349" y="860774"/>
                  </a:lnTo>
                  <a:lnTo>
                    <a:pt x="501205" y="868108"/>
                  </a:lnTo>
                  <a:lnTo>
                    <a:pt x="501682" y="871252"/>
                  </a:lnTo>
                  <a:lnTo>
                    <a:pt x="504825" y="870871"/>
                  </a:lnTo>
                  <a:lnTo>
                    <a:pt x="508730" y="876776"/>
                  </a:lnTo>
                  <a:lnTo>
                    <a:pt x="509588" y="883063"/>
                  </a:lnTo>
                  <a:lnTo>
                    <a:pt x="516731" y="888587"/>
                  </a:lnTo>
                  <a:lnTo>
                    <a:pt x="521398" y="875157"/>
                  </a:lnTo>
                  <a:lnTo>
                    <a:pt x="522732" y="873443"/>
                  </a:lnTo>
                  <a:lnTo>
                    <a:pt x="527494" y="872776"/>
                  </a:lnTo>
                  <a:lnTo>
                    <a:pt x="526923" y="868108"/>
                  </a:lnTo>
                  <a:lnTo>
                    <a:pt x="529685" y="864489"/>
                  </a:lnTo>
                  <a:lnTo>
                    <a:pt x="539972" y="869632"/>
                  </a:lnTo>
                  <a:lnTo>
                    <a:pt x="540925" y="864679"/>
                  </a:lnTo>
                  <a:lnTo>
                    <a:pt x="544068" y="864299"/>
                  </a:lnTo>
                  <a:lnTo>
                    <a:pt x="544258" y="865823"/>
                  </a:lnTo>
                  <a:lnTo>
                    <a:pt x="541687" y="870966"/>
                  </a:lnTo>
                  <a:lnTo>
                    <a:pt x="548830" y="876490"/>
                  </a:lnTo>
                  <a:lnTo>
                    <a:pt x="546449" y="883253"/>
                  </a:lnTo>
                  <a:lnTo>
                    <a:pt x="548068" y="883063"/>
                  </a:lnTo>
                  <a:lnTo>
                    <a:pt x="548449" y="886206"/>
                  </a:lnTo>
                  <a:lnTo>
                    <a:pt x="550259" y="887540"/>
                  </a:lnTo>
                  <a:lnTo>
                    <a:pt x="549497" y="894016"/>
                  </a:lnTo>
                  <a:lnTo>
                    <a:pt x="554164" y="893445"/>
                  </a:lnTo>
                  <a:lnTo>
                    <a:pt x="554641" y="896588"/>
                  </a:lnTo>
                  <a:lnTo>
                    <a:pt x="576643" y="893826"/>
                  </a:lnTo>
                  <a:lnTo>
                    <a:pt x="583216" y="894588"/>
                  </a:lnTo>
                  <a:lnTo>
                    <a:pt x="590264" y="900112"/>
                  </a:lnTo>
                  <a:lnTo>
                    <a:pt x="591502" y="896683"/>
                  </a:lnTo>
                  <a:lnTo>
                    <a:pt x="594646" y="896303"/>
                  </a:lnTo>
                  <a:lnTo>
                    <a:pt x="600551" y="905161"/>
                  </a:lnTo>
                  <a:lnTo>
                    <a:pt x="607885" y="912304"/>
                  </a:lnTo>
                  <a:lnTo>
                    <a:pt x="609314" y="923353"/>
                  </a:lnTo>
                  <a:lnTo>
                    <a:pt x="608933" y="932974"/>
                  </a:lnTo>
                  <a:lnTo>
                    <a:pt x="615696" y="935355"/>
                  </a:lnTo>
                  <a:lnTo>
                    <a:pt x="617030" y="933545"/>
                  </a:lnTo>
                  <a:lnTo>
                    <a:pt x="623316" y="932783"/>
                  </a:lnTo>
                  <a:lnTo>
                    <a:pt x="638365" y="924401"/>
                  </a:lnTo>
                  <a:lnTo>
                    <a:pt x="652367" y="921068"/>
                  </a:lnTo>
                  <a:lnTo>
                    <a:pt x="659987" y="918496"/>
                  </a:lnTo>
                  <a:lnTo>
                    <a:pt x="668083" y="919067"/>
                  </a:lnTo>
                  <a:lnTo>
                    <a:pt x="669703" y="918877"/>
                  </a:lnTo>
                  <a:lnTo>
                    <a:pt x="673989" y="915067"/>
                  </a:lnTo>
                  <a:lnTo>
                    <a:pt x="682276" y="917257"/>
                  </a:lnTo>
                  <a:lnTo>
                    <a:pt x="685229" y="915257"/>
                  </a:lnTo>
                  <a:lnTo>
                    <a:pt x="691801" y="916019"/>
                  </a:lnTo>
                  <a:lnTo>
                    <a:pt x="702373" y="911447"/>
                  </a:lnTo>
                  <a:lnTo>
                    <a:pt x="710374" y="923258"/>
                  </a:lnTo>
                  <a:lnTo>
                    <a:pt x="725900" y="919734"/>
                  </a:lnTo>
                  <a:lnTo>
                    <a:pt x="730282" y="915924"/>
                  </a:lnTo>
                  <a:lnTo>
                    <a:pt x="733806" y="918686"/>
                  </a:lnTo>
                  <a:lnTo>
                    <a:pt x="738378" y="929354"/>
                  </a:lnTo>
                  <a:lnTo>
                    <a:pt x="749617" y="942308"/>
                  </a:lnTo>
                  <a:lnTo>
                    <a:pt x="758190" y="946023"/>
                  </a:lnTo>
                  <a:lnTo>
                    <a:pt x="767239" y="941641"/>
                  </a:lnTo>
                  <a:lnTo>
                    <a:pt x="770382" y="941261"/>
                  </a:lnTo>
                  <a:lnTo>
                    <a:pt x="774382" y="947166"/>
                  </a:lnTo>
                  <a:lnTo>
                    <a:pt x="794290" y="952690"/>
                  </a:lnTo>
                  <a:lnTo>
                    <a:pt x="798766" y="950500"/>
                  </a:lnTo>
                  <a:lnTo>
                    <a:pt x="803910" y="940213"/>
                  </a:lnTo>
                  <a:lnTo>
                    <a:pt x="808672" y="939641"/>
                  </a:lnTo>
                  <a:lnTo>
                    <a:pt x="820102" y="941356"/>
                  </a:lnTo>
                  <a:lnTo>
                    <a:pt x="826770" y="943737"/>
                  </a:lnTo>
                  <a:lnTo>
                    <a:pt x="830580" y="948023"/>
                  </a:lnTo>
                  <a:lnTo>
                    <a:pt x="833342" y="970121"/>
                  </a:lnTo>
                  <a:lnTo>
                    <a:pt x="838962" y="975836"/>
                  </a:lnTo>
                  <a:lnTo>
                    <a:pt x="845058" y="986314"/>
                  </a:lnTo>
                  <a:lnTo>
                    <a:pt x="850011" y="987266"/>
                  </a:lnTo>
                  <a:lnTo>
                    <a:pt x="858679" y="992600"/>
                  </a:lnTo>
                  <a:lnTo>
                    <a:pt x="864965" y="991743"/>
                  </a:lnTo>
                  <a:lnTo>
                    <a:pt x="869347" y="1000792"/>
                  </a:lnTo>
                  <a:lnTo>
                    <a:pt x="871347" y="1003840"/>
                  </a:lnTo>
                  <a:lnTo>
                    <a:pt x="869728" y="1004030"/>
                  </a:lnTo>
                  <a:lnTo>
                    <a:pt x="871728" y="1006983"/>
                  </a:lnTo>
                  <a:lnTo>
                    <a:pt x="876490" y="1006316"/>
                  </a:lnTo>
                  <a:lnTo>
                    <a:pt x="881253" y="1018603"/>
                  </a:lnTo>
                  <a:lnTo>
                    <a:pt x="876014" y="1040130"/>
                  </a:lnTo>
                  <a:lnTo>
                    <a:pt x="883825" y="1039082"/>
                  </a:lnTo>
                  <a:lnTo>
                    <a:pt x="888778" y="1040035"/>
                  </a:lnTo>
                  <a:lnTo>
                    <a:pt x="895922" y="1045559"/>
                  </a:lnTo>
                  <a:lnTo>
                    <a:pt x="900684" y="1044988"/>
                  </a:lnTo>
                  <a:lnTo>
                    <a:pt x="905827" y="1047560"/>
                  </a:lnTo>
                  <a:lnTo>
                    <a:pt x="910114" y="1043749"/>
                  </a:lnTo>
                  <a:lnTo>
                    <a:pt x="926878" y="1049655"/>
                  </a:lnTo>
                  <a:lnTo>
                    <a:pt x="936403" y="1048417"/>
                  </a:lnTo>
                  <a:lnTo>
                    <a:pt x="937355" y="1043464"/>
                  </a:lnTo>
                  <a:lnTo>
                    <a:pt x="940117" y="1039940"/>
                  </a:lnTo>
                  <a:lnTo>
                    <a:pt x="955072" y="1031653"/>
                  </a:lnTo>
                  <a:lnTo>
                    <a:pt x="956024" y="1026700"/>
                  </a:lnTo>
                  <a:lnTo>
                    <a:pt x="955262" y="1020413"/>
                  </a:lnTo>
                  <a:lnTo>
                    <a:pt x="958024" y="1016794"/>
                  </a:lnTo>
                  <a:lnTo>
                    <a:pt x="959167" y="1013460"/>
                  </a:lnTo>
                  <a:lnTo>
                    <a:pt x="968026" y="1007554"/>
                  </a:lnTo>
                  <a:lnTo>
                    <a:pt x="962692" y="1003364"/>
                  </a:lnTo>
                  <a:lnTo>
                    <a:pt x="967073" y="999649"/>
                  </a:lnTo>
                  <a:lnTo>
                    <a:pt x="971740" y="998982"/>
                  </a:lnTo>
                  <a:lnTo>
                    <a:pt x="972598" y="992505"/>
                  </a:lnTo>
                  <a:lnTo>
                    <a:pt x="984409" y="984599"/>
                  </a:lnTo>
                  <a:lnTo>
                    <a:pt x="987933" y="974503"/>
                  </a:lnTo>
                  <a:lnTo>
                    <a:pt x="990886" y="972503"/>
                  </a:lnTo>
                  <a:lnTo>
                    <a:pt x="993172" y="965835"/>
                  </a:lnTo>
                  <a:lnTo>
                    <a:pt x="999554" y="964978"/>
                  </a:lnTo>
                  <a:lnTo>
                    <a:pt x="1000887" y="963263"/>
                  </a:lnTo>
                  <a:lnTo>
                    <a:pt x="1002030" y="959834"/>
                  </a:lnTo>
                  <a:lnTo>
                    <a:pt x="998315" y="955548"/>
                  </a:lnTo>
                  <a:lnTo>
                    <a:pt x="997458" y="949261"/>
                  </a:lnTo>
                  <a:lnTo>
                    <a:pt x="993743" y="944880"/>
                  </a:lnTo>
                  <a:lnTo>
                    <a:pt x="991552" y="940403"/>
                  </a:lnTo>
                  <a:lnTo>
                    <a:pt x="992505" y="935450"/>
                  </a:lnTo>
                  <a:lnTo>
                    <a:pt x="997077" y="933260"/>
                  </a:lnTo>
                  <a:lnTo>
                    <a:pt x="996886" y="931640"/>
                  </a:lnTo>
                  <a:lnTo>
                    <a:pt x="997648" y="925163"/>
                  </a:lnTo>
                  <a:lnTo>
                    <a:pt x="1002221" y="922973"/>
                  </a:lnTo>
                  <a:lnTo>
                    <a:pt x="1003554" y="921163"/>
                  </a:lnTo>
                  <a:lnTo>
                    <a:pt x="1015555" y="914876"/>
                  </a:lnTo>
                  <a:lnTo>
                    <a:pt x="1023842" y="916972"/>
                  </a:lnTo>
                  <a:lnTo>
                    <a:pt x="1031367" y="912876"/>
                  </a:lnTo>
                  <a:lnTo>
                    <a:pt x="1034320" y="910876"/>
                  </a:lnTo>
                  <a:lnTo>
                    <a:pt x="1036130" y="912209"/>
                  </a:lnTo>
                  <a:lnTo>
                    <a:pt x="1038320" y="916781"/>
                  </a:lnTo>
                  <a:lnTo>
                    <a:pt x="1039463" y="926211"/>
                  </a:lnTo>
                  <a:lnTo>
                    <a:pt x="1049369" y="928211"/>
                  </a:lnTo>
                  <a:lnTo>
                    <a:pt x="1058418" y="923830"/>
                  </a:lnTo>
                  <a:lnTo>
                    <a:pt x="1065181" y="926211"/>
                  </a:lnTo>
                  <a:lnTo>
                    <a:pt x="1066133" y="921258"/>
                  </a:lnTo>
                  <a:lnTo>
                    <a:pt x="1074039" y="920210"/>
                  </a:lnTo>
                  <a:lnTo>
                    <a:pt x="1076992" y="918305"/>
                  </a:lnTo>
                  <a:lnTo>
                    <a:pt x="1081659" y="917639"/>
                  </a:lnTo>
                  <a:lnTo>
                    <a:pt x="1085850" y="912304"/>
                  </a:lnTo>
                  <a:lnTo>
                    <a:pt x="1087374" y="912114"/>
                  </a:lnTo>
                  <a:lnTo>
                    <a:pt x="1094137" y="914495"/>
                  </a:lnTo>
                  <a:lnTo>
                    <a:pt x="1094708" y="919162"/>
                  </a:lnTo>
                  <a:lnTo>
                    <a:pt x="1098042" y="920401"/>
                  </a:lnTo>
                  <a:lnTo>
                    <a:pt x="1102995" y="921353"/>
                  </a:lnTo>
                  <a:lnTo>
                    <a:pt x="1113663" y="916781"/>
                  </a:lnTo>
                  <a:lnTo>
                    <a:pt x="1120616" y="920686"/>
                  </a:lnTo>
                  <a:lnTo>
                    <a:pt x="1131475" y="930593"/>
                  </a:lnTo>
                  <a:lnTo>
                    <a:pt x="1139761" y="932688"/>
                  </a:lnTo>
                  <a:lnTo>
                    <a:pt x="1142524" y="929164"/>
                  </a:lnTo>
                  <a:lnTo>
                    <a:pt x="1145857" y="930307"/>
                  </a:lnTo>
                  <a:lnTo>
                    <a:pt x="1161383" y="913924"/>
                  </a:lnTo>
                  <a:lnTo>
                    <a:pt x="1168717" y="908209"/>
                  </a:lnTo>
                  <a:lnTo>
                    <a:pt x="1168908" y="909733"/>
                  </a:lnTo>
                  <a:lnTo>
                    <a:pt x="1176623" y="907161"/>
                  </a:lnTo>
                  <a:lnTo>
                    <a:pt x="1181862" y="898493"/>
                  </a:lnTo>
                  <a:lnTo>
                    <a:pt x="1189958" y="899065"/>
                  </a:lnTo>
                  <a:lnTo>
                    <a:pt x="1202817" y="898970"/>
                  </a:lnTo>
                  <a:lnTo>
                    <a:pt x="1212056" y="896207"/>
                  </a:lnTo>
                  <a:lnTo>
                    <a:pt x="1211866" y="894683"/>
                  </a:lnTo>
                  <a:lnTo>
                    <a:pt x="1205579" y="895445"/>
                  </a:lnTo>
                  <a:lnTo>
                    <a:pt x="1201579" y="889540"/>
                  </a:lnTo>
                  <a:lnTo>
                    <a:pt x="1205770" y="884206"/>
                  </a:lnTo>
                  <a:lnTo>
                    <a:pt x="1205103" y="879443"/>
                  </a:lnTo>
                  <a:lnTo>
                    <a:pt x="1204913" y="877919"/>
                  </a:lnTo>
                  <a:lnTo>
                    <a:pt x="1207865" y="875919"/>
                  </a:lnTo>
                  <a:lnTo>
                    <a:pt x="1209675" y="877253"/>
                  </a:lnTo>
                  <a:lnTo>
                    <a:pt x="1215390" y="871728"/>
                  </a:lnTo>
                  <a:lnTo>
                    <a:pt x="1216914" y="858774"/>
                  </a:lnTo>
                  <a:lnTo>
                    <a:pt x="1209770" y="853249"/>
                  </a:lnTo>
                  <a:lnTo>
                    <a:pt x="1209770" y="85324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1" name="Volný tvar: obrazec 30">
              <a:extLst>
                <a:ext uri="{FF2B5EF4-FFF2-40B4-BE49-F238E27FC236}">
                  <a16:creationId xmlns:a16="http://schemas.microsoft.com/office/drawing/2014/main" id="{07BC0644-A972-EAFF-AE26-66E2C69366FE}"/>
                </a:ext>
              </a:extLst>
            </p:cNvPr>
            <p:cNvSpPr>
              <a:spLocks noChangeAspect="1"/>
            </p:cNvSpPr>
            <p:nvPr userDrawn="1">
              <p:custDataLst>
                <p:tags r:id="rId4"/>
              </p:custDataLst>
            </p:nvPr>
          </p:nvSpPr>
          <p:spPr>
            <a:xfrm>
              <a:off x="5670423" y="3374230"/>
              <a:ext cx="1073848" cy="1057751"/>
            </a:xfrm>
            <a:custGeom>
              <a:avLst/>
              <a:gdLst>
                <a:gd name="connsiteX0" fmla="*/ 1072801 w 1073848"/>
                <a:gd name="connsiteY0" fmla="*/ 375761 h 1057751"/>
                <a:gd name="connsiteX1" fmla="*/ 1068705 w 1073848"/>
                <a:gd name="connsiteY1" fmla="*/ 368237 h 1057751"/>
                <a:gd name="connsiteX2" fmla="*/ 1057180 w 1073848"/>
                <a:gd name="connsiteY2" fmla="*/ 366522 h 1057751"/>
                <a:gd name="connsiteX3" fmla="*/ 1056989 w 1073848"/>
                <a:gd name="connsiteY3" fmla="*/ 364903 h 1057751"/>
                <a:gd name="connsiteX4" fmla="*/ 1052322 w 1073848"/>
                <a:gd name="connsiteY4" fmla="*/ 365474 h 1057751"/>
                <a:gd name="connsiteX5" fmla="*/ 1050322 w 1073848"/>
                <a:gd name="connsiteY5" fmla="*/ 362521 h 1057751"/>
                <a:gd name="connsiteX6" fmla="*/ 1048512 w 1073848"/>
                <a:gd name="connsiteY6" fmla="*/ 361188 h 1057751"/>
                <a:gd name="connsiteX7" fmla="*/ 1046797 w 1073848"/>
                <a:gd name="connsiteY7" fmla="*/ 359759 h 1057751"/>
                <a:gd name="connsiteX8" fmla="*/ 1045178 w 1073848"/>
                <a:gd name="connsiteY8" fmla="*/ 360045 h 1057751"/>
                <a:gd name="connsiteX9" fmla="*/ 1044607 w 1073848"/>
                <a:gd name="connsiteY9" fmla="*/ 355283 h 1057751"/>
                <a:gd name="connsiteX10" fmla="*/ 1041178 w 1073848"/>
                <a:gd name="connsiteY10" fmla="*/ 354139 h 1057751"/>
                <a:gd name="connsiteX11" fmla="*/ 1042416 w 1073848"/>
                <a:gd name="connsiteY11" fmla="*/ 350711 h 1057751"/>
                <a:gd name="connsiteX12" fmla="*/ 1048703 w 1073848"/>
                <a:gd name="connsiteY12" fmla="*/ 349949 h 1057751"/>
                <a:gd name="connsiteX13" fmla="*/ 1049846 w 1073848"/>
                <a:gd name="connsiteY13" fmla="*/ 346615 h 1057751"/>
                <a:gd name="connsiteX14" fmla="*/ 1053846 w 1073848"/>
                <a:gd name="connsiteY14" fmla="*/ 339662 h 1057751"/>
                <a:gd name="connsiteX15" fmla="*/ 1052989 w 1073848"/>
                <a:gd name="connsiteY15" fmla="*/ 333375 h 1057751"/>
                <a:gd name="connsiteX16" fmla="*/ 1054608 w 1073848"/>
                <a:gd name="connsiteY16" fmla="*/ 333184 h 1057751"/>
                <a:gd name="connsiteX17" fmla="*/ 1055941 w 1073848"/>
                <a:gd name="connsiteY17" fmla="*/ 331375 h 1057751"/>
                <a:gd name="connsiteX18" fmla="*/ 1054798 w 1073848"/>
                <a:gd name="connsiteY18" fmla="*/ 321850 h 1057751"/>
                <a:gd name="connsiteX19" fmla="*/ 1052798 w 1073848"/>
                <a:gd name="connsiteY19" fmla="*/ 318897 h 1057751"/>
                <a:gd name="connsiteX20" fmla="*/ 1043083 w 1073848"/>
                <a:gd name="connsiteY20" fmla="*/ 305753 h 1057751"/>
                <a:gd name="connsiteX21" fmla="*/ 1042511 w 1073848"/>
                <a:gd name="connsiteY21" fmla="*/ 300990 h 1057751"/>
                <a:gd name="connsiteX22" fmla="*/ 1036987 w 1073848"/>
                <a:gd name="connsiteY22" fmla="*/ 295275 h 1057751"/>
                <a:gd name="connsiteX23" fmla="*/ 1030605 w 1073848"/>
                <a:gd name="connsiteY23" fmla="*/ 296132 h 1057751"/>
                <a:gd name="connsiteX24" fmla="*/ 1024890 w 1073848"/>
                <a:gd name="connsiteY24" fmla="*/ 288798 h 1057751"/>
                <a:gd name="connsiteX25" fmla="*/ 1022509 w 1073848"/>
                <a:gd name="connsiteY25" fmla="*/ 282702 h 1057751"/>
                <a:gd name="connsiteX26" fmla="*/ 1015746 w 1073848"/>
                <a:gd name="connsiteY26" fmla="*/ 280321 h 1057751"/>
                <a:gd name="connsiteX27" fmla="*/ 1009459 w 1073848"/>
                <a:gd name="connsiteY27" fmla="*/ 281178 h 1057751"/>
                <a:gd name="connsiteX28" fmla="*/ 1000601 w 1073848"/>
                <a:gd name="connsiteY28" fmla="*/ 274225 h 1057751"/>
                <a:gd name="connsiteX29" fmla="*/ 997648 w 1073848"/>
                <a:gd name="connsiteY29" fmla="*/ 276225 h 1057751"/>
                <a:gd name="connsiteX30" fmla="*/ 990505 w 1073848"/>
                <a:gd name="connsiteY30" fmla="*/ 270700 h 1057751"/>
                <a:gd name="connsiteX31" fmla="*/ 987933 w 1073848"/>
                <a:gd name="connsiteY31" fmla="*/ 275844 h 1057751"/>
                <a:gd name="connsiteX32" fmla="*/ 984790 w 1073848"/>
                <a:gd name="connsiteY32" fmla="*/ 276320 h 1057751"/>
                <a:gd name="connsiteX33" fmla="*/ 979837 w 1073848"/>
                <a:gd name="connsiteY33" fmla="*/ 275272 h 1057751"/>
                <a:gd name="connsiteX34" fmla="*/ 977455 w 1073848"/>
                <a:gd name="connsiteY34" fmla="*/ 269176 h 1057751"/>
                <a:gd name="connsiteX35" fmla="*/ 973931 w 1073848"/>
                <a:gd name="connsiteY35" fmla="*/ 266414 h 1057751"/>
                <a:gd name="connsiteX36" fmla="*/ 967168 w 1073848"/>
                <a:gd name="connsiteY36" fmla="*/ 264128 h 1057751"/>
                <a:gd name="connsiteX37" fmla="*/ 969169 w 1073848"/>
                <a:gd name="connsiteY37" fmla="*/ 254222 h 1057751"/>
                <a:gd name="connsiteX38" fmla="*/ 964025 w 1073848"/>
                <a:gd name="connsiteY38" fmla="*/ 251650 h 1057751"/>
                <a:gd name="connsiteX39" fmla="*/ 958310 w 1073848"/>
                <a:gd name="connsiteY39" fmla="*/ 244412 h 1057751"/>
                <a:gd name="connsiteX40" fmla="*/ 948595 w 1073848"/>
                <a:gd name="connsiteY40" fmla="*/ 231172 h 1057751"/>
                <a:gd name="connsiteX41" fmla="*/ 944785 w 1073848"/>
                <a:gd name="connsiteY41" fmla="*/ 226886 h 1057751"/>
                <a:gd name="connsiteX42" fmla="*/ 936498 w 1073848"/>
                <a:gd name="connsiteY42" fmla="*/ 224695 h 1057751"/>
                <a:gd name="connsiteX43" fmla="*/ 929640 w 1073848"/>
                <a:gd name="connsiteY43" fmla="*/ 220789 h 1057751"/>
                <a:gd name="connsiteX44" fmla="*/ 928211 w 1073848"/>
                <a:gd name="connsiteY44" fmla="*/ 222504 h 1057751"/>
                <a:gd name="connsiteX45" fmla="*/ 926497 w 1073848"/>
                <a:gd name="connsiteY45" fmla="*/ 221171 h 1057751"/>
                <a:gd name="connsiteX46" fmla="*/ 921734 w 1073848"/>
                <a:gd name="connsiteY46" fmla="*/ 221742 h 1057751"/>
                <a:gd name="connsiteX47" fmla="*/ 921353 w 1073848"/>
                <a:gd name="connsiteY47" fmla="*/ 218599 h 1057751"/>
                <a:gd name="connsiteX48" fmla="*/ 916019 w 1073848"/>
                <a:gd name="connsiteY48" fmla="*/ 214503 h 1057751"/>
                <a:gd name="connsiteX49" fmla="*/ 913638 w 1073848"/>
                <a:gd name="connsiteY49" fmla="*/ 208407 h 1057751"/>
                <a:gd name="connsiteX50" fmla="*/ 910495 w 1073848"/>
                <a:gd name="connsiteY50" fmla="*/ 208788 h 1057751"/>
                <a:gd name="connsiteX51" fmla="*/ 909447 w 1073848"/>
                <a:gd name="connsiteY51" fmla="*/ 213741 h 1057751"/>
                <a:gd name="connsiteX52" fmla="*/ 906304 w 1073848"/>
                <a:gd name="connsiteY52" fmla="*/ 214122 h 1057751"/>
                <a:gd name="connsiteX53" fmla="*/ 899160 w 1073848"/>
                <a:gd name="connsiteY53" fmla="*/ 208597 h 1057751"/>
                <a:gd name="connsiteX54" fmla="*/ 895445 w 1073848"/>
                <a:gd name="connsiteY54" fmla="*/ 204311 h 1057751"/>
                <a:gd name="connsiteX55" fmla="*/ 889159 w 1073848"/>
                <a:gd name="connsiteY55" fmla="*/ 205073 h 1057751"/>
                <a:gd name="connsiteX56" fmla="*/ 884777 w 1073848"/>
                <a:gd name="connsiteY56" fmla="*/ 208883 h 1057751"/>
                <a:gd name="connsiteX57" fmla="*/ 881443 w 1073848"/>
                <a:gd name="connsiteY57" fmla="*/ 207645 h 1057751"/>
                <a:gd name="connsiteX58" fmla="*/ 882587 w 1073848"/>
                <a:gd name="connsiteY58" fmla="*/ 204311 h 1057751"/>
                <a:gd name="connsiteX59" fmla="*/ 878681 w 1073848"/>
                <a:gd name="connsiteY59" fmla="*/ 198406 h 1057751"/>
                <a:gd name="connsiteX60" fmla="*/ 874871 w 1073848"/>
                <a:gd name="connsiteY60" fmla="*/ 194024 h 1057751"/>
                <a:gd name="connsiteX61" fmla="*/ 866013 w 1073848"/>
                <a:gd name="connsiteY61" fmla="*/ 200025 h 1057751"/>
                <a:gd name="connsiteX62" fmla="*/ 856202 w 1073848"/>
                <a:gd name="connsiteY62" fmla="*/ 198025 h 1057751"/>
                <a:gd name="connsiteX63" fmla="*/ 856393 w 1073848"/>
                <a:gd name="connsiteY63" fmla="*/ 199644 h 1057751"/>
                <a:gd name="connsiteX64" fmla="*/ 852964 w 1073848"/>
                <a:gd name="connsiteY64" fmla="*/ 198501 h 1057751"/>
                <a:gd name="connsiteX65" fmla="*/ 848868 w 1073848"/>
                <a:gd name="connsiteY65" fmla="*/ 203835 h 1057751"/>
                <a:gd name="connsiteX66" fmla="*/ 843343 w 1073848"/>
                <a:gd name="connsiteY66" fmla="*/ 198120 h 1057751"/>
                <a:gd name="connsiteX67" fmla="*/ 839914 w 1073848"/>
                <a:gd name="connsiteY67" fmla="*/ 184118 h 1057751"/>
                <a:gd name="connsiteX68" fmla="*/ 834390 w 1073848"/>
                <a:gd name="connsiteY68" fmla="*/ 178403 h 1057751"/>
                <a:gd name="connsiteX69" fmla="*/ 834199 w 1073848"/>
                <a:gd name="connsiteY69" fmla="*/ 176784 h 1057751"/>
                <a:gd name="connsiteX70" fmla="*/ 830675 w 1073848"/>
                <a:gd name="connsiteY70" fmla="*/ 174022 h 1057751"/>
                <a:gd name="connsiteX71" fmla="*/ 826865 w 1073848"/>
                <a:gd name="connsiteY71" fmla="*/ 169736 h 1057751"/>
                <a:gd name="connsiteX72" fmla="*/ 825341 w 1073848"/>
                <a:gd name="connsiteY72" fmla="*/ 169926 h 1057751"/>
                <a:gd name="connsiteX73" fmla="*/ 820198 w 1073848"/>
                <a:gd name="connsiteY73" fmla="*/ 167354 h 1057751"/>
                <a:gd name="connsiteX74" fmla="*/ 817055 w 1073848"/>
                <a:gd name="connsiteY74" fmla="*/ 167735 h 1057751"/>
                <a:gd name="connsiteX75" fmla="*/ 813625 w 1073848"/>
                <a:gd name="connsiteY75" fmla="*/ 166592 h 1057751"/>
                <a:gd name="connsiteX76" fmla="*/ 811054 w 1073848"/>
                <a:gd name="connsiteY76" fmla="*/ 171736 h 1057751"/>
                <a:gd name="connsiteX77" fmla="*/ 809339 w 1073848"/>
                <a:gd name="connsiteY77" fmla="*/ 170307 h 1057751"/>
                <a:gd name="connsiteX78" fmla="*/ 802576 w 1073848"/>
                <a:gd name="connsiteY78" fmla="*/ 168021 h 1057751"/>
                <a:gd name="connsiteX79" fmla="*/ 800576 w 1073848"/>
                <a:gd name="connsiteY79" fmla="*/ 165068 h 1057751"/>
                <a:gd name="connsiteX80" fmla="*/ 795909 w 1073848"/>
                <a:gd name="connsiteY80" fmla="*/ 165640 h 1057751"/>
                <a:gd name="connsiteX81" fmla="*/ 790956 w 1073848"/>
                <a:gd name="connsiteY81" fmla="*/ 164687 h 1057751"/>
                <a:gd name="connsiteX82" fmla="*/ 781907 w 1073848"/>
                <a:gd name="connsiteY82" fmla="*/ 156210 h 1057751"/>
                <a:gd name="connsiteX83" fmla="*/ 781240 w 1073848"/>
                <a:gd name="connsiteY83" fmla="*/ 151447 h 1057751"/>
                <a:gd name="connsiteX84" fmla="*/ 782860 w 1073848"/>
                <a:gd name="connsiteY84" fmla="*/ 151257 h 1057751"/>
                <a:gd name="connsiteX85" fmla="*/ 780669 w 1073848"/>
                <a:gd name="connsiteY85" fmla="*/ 146780 h 1057751"/>
                <a:gd name="connsiteX86" fmla="*/ 782003 w 1073848"/>
                <a:gd name="connsiteY86" fmla="*/ 144971 h 1057751"/>
                <a:gd name="connsiteX87" fmla="*/ 783241 w 1073848"/>
                <a:gd name="connsiteY87" fmla="*/ 141637 h 1057751"/>
                <a:gd name="connsiteX88" fmla="*/ 780288 w 1073848"/>
                <a:gd name="connsiteY88" fmla="*/ 143542 h 1057751"/>
                <a:gd name="connsiteX89" fmla="*/ 778288 w 1073848"/>
                <a:gd name="connsiteY89" fmla="*/ 140589 h 1057751"/>
                <a:gd name="connsiteX90" fmla="*/ 773525 w 1073848"/>
                <a:gd name="connsiteY90" fmla="*/ 141256 h 1057751"/>
                <a:gd name="connsiteX91" fmla="*/ 772763 w 1073848"/>
                <a:gd name="connsiteY91" fmla="*/ 147733 h 1057751"/>
                <a:gd name="connsiteX92" fmla="*/ 757047 w 1073848"/>
                <a:gd name="connsiteY92" fmla="*/ 162592 h 1057751"/>
                <a:gd name="connsiteX93" fmla="*/ 755047 w 1073848"/>
                <a:gd name="connsiteY93" fmla="*/ 172403 h 1057751"/>
                <a:gd name="connsiteX94" fmla="*/ 757809 w 1073848"/>
                <a:gd name="connsiteY94" fmla="*/ 181737 h 1057751"/>
                <a:gd name="connsiteX95" fmla="*/ 756285 w 1073848"/>
                <a:gd name="connsiteY95" fmla="*/ 181928 h 1057751"/>
                <a:gd name="connsiteX96" fmla="*/ 754856 w 1073848"/>
                <a:gd name="connsiteY96" fmla="*/ 183737 h 1057751"/>
                <a:gd name="connsiteX97" fmla="*/ 743426 w 1073848"/>
                <a:gd name="connsiteY97" fmla="*/ 181928 h 1057751"/>
                <a:gd name="connsiteX98" fmla="*/ 748379 w 1073848"/>
                <a:gd name="connsiteY98" fmla="*/ 195739 h 1057751"/>
                <a:gd name="connsiteX99" fmla="*/ 740759 w 1073848"/>
                <a:gd name="connsiteY99" fmla="*/ 198311 h 1057751"/>
                <a:gd name="connsiteX100" fmla="*/ 740950 w 1073848"/>
                <a:gd name="connsiteY100" fmla="*/ 199930 h 1057751"/>
                <a:gd name="connsiteX101" fmla="*/ 736187 w 1073848"/>
                <a:gd name="connsiteY101" fmla="*/ 200501 h 1057751"/>
                <a:gd name="connsiteX102" fmla="*/ 731044 w 1073848"/>
                <a:gd name="connsiteY102" fmla="*/ 197929 h 1057751"/>
                <a:gd name="connsiteX103" fmla="*/ 726281 w 1073848"/>
                <a:gd name="connsiteY103" fmla="*/ 198596 h 1057751"/>
                <a:gd name="connsiteX104" fmla="*/ 723329 w 1073848"/>
                <a:gd name="connsiteY104" fmla="*/ 200501 h 1057751"/>
                <a:gd name="connsiteX105" fmla="*/ 720185 w 1073848"/>
                <a:gd name="connsiteY105" fmla="*/ 200978 h 1057751"/>
                <a:gd name="connsiteX106" fmla="*/ 710946 w 1073848"/>
                <a:gd name="connsiteY106" fmla="*/ 190881 h 1057751"/>
                <a:gd name="connsiteX107" fmla="*/ 709136 w 1073848"/>
                <a:gd name="connsiteY107" fmla="*/ 189547 h 1057751"/>
                <a:gd name="connsiteX108" fmla="*/ 708946 w 1073848"/>
                <a:gd name="connsiteY108" fmla="*/ 187928 h 1057751"/>
                <a:gd name="connsiteX109" fmla="*/ 703993 w 1073848"/>
                <a:gd name="connsiteY109" fmla="*/ 186976 h 1057751"/>
                <a:gd name="connsiteX110" fmla="*/ 693515 w 1073848"/>
                <a:gd name="connsiteY110" fmla="*/ 180308 h 1057751"/>
                <a:gd name="connsiteX111" fmla="*/ 685609 w 1073848"/>
                <a:gd name="connsiteY111" fmla="*/ 181261 h 1057751"/>
                <a:gd name="connsiteX112" fmla="*/ 674941 w 1073848"/>
                <a:gd name="connsiteY112" fmla="*/ 173069 h 1057751"/>
                <a:gd name="connsiteX113" fmla="*/ 676084 w 1073848"/>
                <a:gd name="connsiteY113" fmla="*/ 169640 h 1057751"/>
                <a:gd name="connsiteX114" fmla="*/ 670370 w 1073848"/>
                <a:gd name="connsiteY114" fmla="*/ 162401 h 1057751"/>
                <a:gd name="connsiteX115" fmla="*/ 676847 w 1073848"/>
                <a:gd name="connsiteY115" fmla="*/ 150304 h 1057751"/>
                <a:gd name="connsiteX116" fmla="*/ 681418 w 1073848"/>
                <a:gd name="connsiteY116" fmla="*/ 148114 h 1057751"/>
                <a:gd name="connsiteX117" fmla="*/ 681323 w 1073848"/>
                <a:gd name="connsiteY117" fmla="*/ 135350 h 1057751"/>
                <a:gd name="connsiteX118" fmla="*/ 677037 w 1073848"/>
                <a:gd name="connsiteY118" fmla="*/ 139065 h 1057751"/>
                <a:gd name="connsiteX119" fmla="*/ 671131 w 1073848"/>
                <a:gd name="connsiteY119" fmla="*/ 143066 h 1057751"/>
                <a:gd name="connsiteX120" fmla="*/ 668941 w 1073848"/>
                <a:gd name="connsiteY120" fmla="*/ 138493 h 1057751"/>
                <a:gd name="connsiteX121" fmla="*/ 657511 w 1073848"/>
                <a:gd name="connsiteY121" fmla="*/ 136779 h 1057751"/>
                <a:gd name="connsiteX122" fmla="*/ 651129 w 1073848"/>
                <a:gd name="connsiteY122" fmla="*/ 124778 h 1057751"/>
                <a:gd name="connsiteX123" fmla="*/ 647986 w 1073848"/>
                <a:gd name="connsiteY123" fmla="*/ 125158 h 1057751"/>
                <a:gd name="connsiteX124" fmla="*/ 647795 w 1073848"/>
                <a:gd name="connsiteY124" fmla="*/ 123539 h 1057751"/>
                <a:gd name="connsiteX125" fmla="*/ 642652 w 1073848"/>
                <a:gd name="connsiteY125" fmla="*/ 121063 h 1057751"/>
                <a:gd name="connsiteX126" fmla="*/ 640651 w 1073848"/>
                <a:gd name="connsiteY126" fmla="*/ 118015 h 1057751"/>
                <a:gd name="connsiteX127" fmla="*/ 636175 w 1073848"/>
                <a:gd name="connsiteY127" fmla="*/ 120205 h 1057751"/>
                <a:gd name="connsiteX128" fmla="*/ 632365 w 1073848"/>
                <a:gd name="connsiteY128" fmla="*/ 115919 h 1057751"/>
                <a:gd name="connsiteX129" fmla="*/ 629412 w 1073848"/>
                <a:gd name="connsiteY129" fmla="*/ 117920 h 1057751"/>
                <a:gd name="connsiteX130" fmla="*/ 629603 w 1073848"/>
                <a:gd name="connsiteY130" fmla="*/ 119443 h 1057751"/>
                <a:gd name="connsiteX131" fmla="*/ 627888 w 1073848"/>
                <a:gd name="connsiteY131" fmla="*/ 118110 h 1057751"/>
                <a:gd name="connsiteX132" fmla="*/ 623506 w 1073848"/>
                <a:gd name="connsiteY132" fmla="*/ 121825 h 1057751"/>
                <a:gd name="connsiteX133" fmla="*/ 620363 w 1073848"/>
                <a:gd name="connsiteY133" fmla="*/ 122301 h 1057751"/>
                <a:gd name="connsiteX134" fmla="*/ 618363 w 1073848"/>
                <a:gd name="connsiteY134" fmla="*/ 119253 h 1057751"/>
                <a:gd name="connsiteX135" fmla="*/ 618934 w 1073848"/>
                <a:gd name="connsiteY135" fmla="*/ 111252 h 1057751"/>
                <a:gd name="connsiteX136" fmla="*/ 617411 w 1073848"/>
                <a:gd name="connsiteY136" fmla="*/ 111442 h 1057751"/>
                <a:gd name="connsiteX137" fmla="*/ 620744 w 1073848"/>
                <a:gd name="connsiteY137" fmla="*/ 99727 h 1057751"/>
                <a:gd name="connsiteX138" fmla="*/ 623030 w 1073848"/>
                <a:gd name="connsiteY138" fmla="*/ 93059 h 1057751"/>
                <a:gd name="connsiteX139" fmla="*/ 618363 w 1073848"/>
                <a:gd name="connsiteY139" fmla="*/ 93631 h 1057751"/>
                <a:gd name="connsiteX140" fmla="*/ 618744 w 1073848"/>
                <a:gd name="connsiteY140" fmla="*/ 96774 h 1057751"/>
                <a:gd name="connsiteX141" fmla="*/ 613600 w 1073848"/>
                <a:gd name="connsiteY141" fmla="*/ 94202 h 1057751"/>
                <a:gd name="connsiteX142" fmla="*/ 608838 w 1073848"/>
                <a:gd name="connsiteY142" fmla="*/ 94869 h 1057751"/>
                <a:gd name="connsiteX143" fmla="*/ 603504 w 1073848"/>
                <a:gd name="connsiteY143" fmla="*/ 90678 h 1057751"/>
                <a:gd name="connsiteX144" fmla="*/ 594074 w 1073848"/>
                <a:gd name="connsiteY144" fmla="*/ 91916 h 1057751"/>
                <a:gd name="connsiteX145" fmla="*/ 594265 w 1073848"/>
                <a:gd name="connsiteY145" fmla="*/ 93536 h 1057751"/>
                <a:gd name="connsiteX146" fmla="*/ 585788 w 1073848"/>
                <a:gd name="connsiteY146" fmla="*/ 89821 h 1057751"/>
                <a:gd name="connsiteX147" fmla="*/ 587121 w 1073848"/>
                <a:gd name="connsiteY147" fmla="*/ 88011 h 1057751"/>
                <a:gd name="connsiteX148" fmla="*/ 584930 w 1073848"/>
                <a:gd name="connsiteY148" fmla="*/ 83439 h 1057751"/>
                <a:gd name="connsiteX149" fmla="*/ 583216 w 1073848"/>
                <a:gd name="connsiteY149" fmla="*/ 82105 h 1057751"/>
                <a:gd name="connsiteX150" fmla="*/ 580263 w 1073848"/>
                <a:gd name="connsiteY150" fmla="*/ 84106 h 1057751"/>
                <a:gd name="connsiteX151" fmla="*/ 579977 w 1073848"/>
                <a:gd name="connsiteY151" fmla="*/ 82487 h 1057751"/>
                <a:gd name="connsiteX152" fmla="*/ 578453 w 1073848"/>
                <a:gd name="connsiteY152" fmla="*/ 82677 h 1057751"/>
                <a:gd name="connsiteX153" fmla="*/ 576643 w 1073848"/>
                <a:gd name="connsiteY153" fmla="*/ 81343 h 1057751"/>
                <a:gd name="connsiteX154" fmla="*/ 578263 w 1073848"/>
                <a:gd name="connsiteY154" fmla="*/ 81153 h 1057751"/>
                <a:gd name="connsiteX155" fmla="*/ 579406 w 1073848"/>
                <a:gd name="connsiteY155" fmla="*/ 77724 h 1057751"/>
                <a:gd name="connsiteX156" fmla="*/ 577882 w 1073848"/>
                <a:gd name="connsiteY156" fmla="*/ 77914 h 1057751"/>
                <a:gd name="connsiteX157" fmla="*/ 576072 w 1073848"/>
                <a:gd name="connsiteY157" fmla="*/ 76581 h 1057751"/>
                <a:gd name="connsiteX158" fmla="*/ 574453 w 1073848"/>
                <a:gd name="connsiteY158" fmla="*/ 76771 h 1057751"/>
                <a:gd name="connsiteX159" fmla="*/ 573691 w 1073848"/>
                <a:gd name="connsiteY159" fmla="*/ 70485 h 1057751"/>
                <a:gd name="connsiteX160" fmla="*/ 570357 w 1073848"/>
                <a:gd name="connsiteY160" fmla="*/ 69247 h 1057751"/>
                <a:gd name="connsiteX161" fmla="*/ 571500 w 1073848"/>
                <a:gd name="connsiteY161" fmla="*/ 65913 h 1057751"/>
                <a:gd name="connsiteX162" fmla="*/ 567404 w 1073848"/>
                <a:gd name="connsiteY162" fmla="*/ 71247 h 1057751"/>
                <a:gd name="connsiteX163" fmla="*/ 562451 w 1073848"/>
                <a:gd name="connsiteY163" fmla="*/ 70295 h 1057751"/>
                <a:gd name="connsiteX164" fmla="*/ 561880 w 1073848"/>
                <a:gd name="connsiteY164" fmla="*/ 65532 h 1057751"/>
                <a:gd name="connsiteX165" fmla="*/ 557498 w 1073848"/>
                <a:gd name="connsiteY165" fmla="*/ 69342 h 1057751"/>
                <a:gd name="connsiteX166" fmla="*/ 553688 w 1073848"/>
                <a:gd name="connsiteY166" fmla="*/ 64961 h 1057751"/>
                <a:gd name="connsiteX167" fmla="*/ 553307 w 1073848"/>
                <a:gd name="connsiteY167" fmla="*/ 61817 h 1057751"/>
                <a:gd name="connsiteX168" fmla="*/ 556450 w 1073848"/>
                <a:gd name="connsiteY168" fmla="*/ 61436 h 1057751"/>
                <a:gd name="connsiteX169" fmla="*/ 554546 w 1073848"/>
                <a:gd name="connsiteY169" fmla="*/ 58483 h 1057751"/>
                <a:gd name="connsiteX170" fmla="*/ 546640 w 1073848"/>
                <a:gd name="connsiteY170" fmla="*/ 59531 h 1057751"/>
                <a:gd name="connsiteX171" fmla="*/ 546449 w 1073848"/>
                <a:gd name="connsiteY171" fmla="*/ 57912 h 1057751"/>
                <a:gd name="connsiteX172" fmla="*/ 543306 w 1073848"/>
                <a:gd name="connsiteY172" fmla="*/ 58293 h 1057751"/>
                <a:gd name="connsiteX173" fmla="*/ 541496 w 1073848"/>
                <a:gd name="connsiteY173" fmla="*/ 56959 h 1057751"/>
                <a:gd name="connsiteX174" fmla="*/ 537496 w 1073848"/>
                <a:gd name="connsiteY174" fmla="*/ 51054 h 1057751"/>
                <a:gd name="connsiteX175" fmla="*/ 534733 w 1073848"/>
                <a:gd name="connsiteY175" fmla="*/ 54578 h 1057751"/>
                <a:gd name="connsiteX176" fmla="*/ 534162 w 1073848"/>
                <a:gd name="connsiteY176" fmla="*/ 62675 h 1057751"/>
                <a:gd name="connsiteX177" fmla="*/ 527875 w 1073848"/>
                <a:gd name="connsiteY177" fmla="*/ 63437 h 1057751"/>
                <a:gd name="connsiteX178" fmla="*/ 526066 w 1073848"/>
                <a:gd name="connsiteY178" fmla="*/ 62103 h 1057751"/>
                <a:gd name="connsiteX179" fmla="*/ 524732 w 1073848"/>
                <a:gd name="connsiteY179" fmla="*/ 63913 h 1057751"/>
                <a:gd name="connsiteX180" fmla="*/ 520541 w 1073848"/>
                <a:gd name="connsiteY180" fmla="*/ 56388 h 1057751"/>
                <a:gd name="connsiteX181" fmla="*/ 521780 w 1073848"/>
                <a:gd name="connsiteY181" fmla="*/ 53054 h 1057751"/>
                <a:gd name="connsiteX182" fmla="*/ 515398 w 1073848"/>
                <a:gd name="connsiteY182" fmla="*/ 53816 h 1057751"/>
                <a:gd name="connsiteX183" fmla="*/ 515874 w 1073848"/>
                <a:gd name="connsiteY183" fmla="*/ 56959 h 1057751"/>
                <a:gd name="connsiteX184" fmla="*/ 511112 w 1073848"/>
                <a:gd name="connsiteY184" fmla="*/ 57626 h 1057751"/>
                <a:gd name="connsiteX185" fmla="*/ 511302 w 1073848"/>
                <a:gd name="connsiteY185" fmla="*/ 59150 h 1057751"/>
                <a:gd name="connsiteX186" fmla="*/ 508159 w 1073848"/>
                <a:gd name="connsiteY186" fmla="*/ 59531 h 1057751"/>
                <a:gd name="connsiteX187" fmla="*/ 507968 w 1073848"/>
                <a:gd name="connsiteY187" fmla="*/ 58007 h 1057751"/>
                <a:gd name="connsiteX188" fmla="*/ 501587 w 1073848"/>
                <a:gd name="connsiteY188" fmla="*/ 58769 h 1057751"/>
                <a:gd name="connsiteX189" fmla="*/ 498253 w 1073848"/>
                <a:gd name="connsiteY189" fmla="*/ 57626 h 1057751"/>
                <a:gd name="connsiteX190" fmla="*/ 495300 w 1073848"/>
                <a:gd name="connsiteY190" fmla="*/ 59626 h 1057751"/>
                <a:gd name="connsiteX191" fmla="*/ 493300 w 1073848"/>
                <a:gd name="connsiteY191" fmla="*/ 56674 h 1057751"/>
                <a:gd name="connsiteX192" fmla="*/ 490538 w 1073848"/>
                <a:gd name="connsiteY192" fmla="*/ 60198 h 1057751"/>
                <a:gd name="connsiteX193" fmla="*/ 490156 w 1073848"/>
                <a:gd name="connsiteY193" fmla="*/ 57055 h 1057751"/>
                <a:gd name="connsiteX194" fmla="*/ 489204 w 1073848"/>
                <a:gd name="connsiteY194" fmla="*/ 62008 h 1057751"/>
                <a:gd name="connsiteX195" fmla="*/ 487204 w 1073848"/>
                <a:gd name="connsiteY195" fmla="*/ 59055 h 1057751"/>
                <a:gd name="connsiteX196" fmla="*/ 489966 w 1073848"/>
                <a:gd name="connsiteY196" fmla="*/ 55436 h 1057751"/>
                <a:gd name="connsiteX197" fmla="*/ 487775 w 1073848"/>
                <a:gd name="connsiteY197" fmla="*/ 50959 h 1057751"/>
                <a:gd name="connsiteX198" fmla="*/ 489204 w 1073848"/>
                <a:gd name="connsiteY198" fmla="*/ 49149 h 1057751"/>
                <a:gd name="connsiteX199" fmla="*/ 486061 w 1073848"/>
                <a:gd name="connsiteY199" fmla="*/ 49530 h 1057751"/>
                <a:gd name="connsiteX200" fmla="*/ 484251 w 1073848"/>
                <a:gd name="connsiteY200" fmla="*/ 48196 h 1057751"/>
                <a:gd name="connsiteX201" fmla="*/ 481108 w 1073848"/>
                <a:gd name="connsiteY201" fmla="*/ 48578 h 1057751"/>
                <a:gd name="connsiteX202" fmla="*/ 477298 w 1073848"/>
                <a:gd name="connsiteY202" fmla="*/ 44291 h 1057751"/>
                <a:gd name="connsiteX203" fmla="*/ 477107 w 1073848"/>
                <a:gd name="connsiteY203" fmla="*/ 42672 h 1057751"/>
                <a:gd name="connsiteX204" fmla="*/ 478060 w 1073848"/>
                <a:gd name="connsiteY204" fmla="*/ 37719 h 1057751"/>
                <a:gd name="connsiteX205" fmla="*/ 471773 w 1073848"/>
                <a:gd name="connsiteY205" fmla="*/ 38576 h 1057751"/>
                <a:gd name="connsiteX206" fmla="*/ 469773 w 1073848"/>
                <a:gd name="connsiteY206" fmla="*/ 35624 h 1057751"/>
                <a:gd name="connsiteX207" fmla="*/ 469392 w 1073848"/>
                <a:gd name="connsiteY207" fmla="*/ 32480 h 1057751"/>
                <a:gd name="connsiteX208" fmla="*/ 464630 w 1073848"/>
                <a:gd name="connsiteY208" fmla="*/ 33052 h 1057751"/>
                <a:gd name="connsiteX209" fmla="*/ 455390 w 1073848"/>
                <a:gd name="connsiteY209" fmla="*/ 22955 h 1057751"/>
                <a:gd name="connsiteX210" fmla="*/ 448818 w 1073848"/>
                <a:gd name="connsiteY210" fmla="*/ 22193 h 1057751"/>
                <a:gd name="connsiteX211" fmla="*/ 445294 w 1073848"/>
                <a:gd name="connsiteY211" fmla="*/ 19431 h 1057751"/>
                <a:gd name="connsiteX212" fmla="*/ 441579 w 1073848"/>
                <a:gd name="connsiteY212" fmla="*/ 15145 h 1057751"/>
                <a:gd name="connsiteX213" fmla="*/ 437769 w 1073848"/>
                <a:gd name="connsiteY213" fmla="*/ 10763 h 1057751"/>
                <a:gd name="connsiteX214" fmla="*/ 432625 w 1073848"/>
                <a:gd name="connsiteY214" fmla="*/ 8287 h 1057751"/>
                <a:gd name="connsiteX215" fmla="*/ 421957 w 1073848"/>
                <a:gd name="connsiteY215" fmla="*/ 0 h 1057751"/>
                <a:gd name="connsiteX216" fmla="*/ 420624 w 1073848"/>
                <a:gd name="connsiteY216" fmla="*/ 1810 h 1057751"/>
                <a:gd name="connsiteX217" fmla="*/ 421386 w 1073848"/>
                <a:gd name="connsiteY217" fmla="*/ 8096 h 1057751"/>
                <a:gd name="connsiteX218" fmla="*/ 417290 w 1073848"/>
                <a:gd name="connsiteY218" fmla="*/ 13430 h 1057751"/>
                <a:gd name="connsiteX219" fmla="*/ 413480 w 1073848"/>
                <a:gd name="connsiteY219" fmla="*/ 9049 h 1057751"/>
                <a:gd name="connsiteX220" fmla="*/ 405860 w 1073848"/>
                <a:gd name="connsiteY220" fmla="*/ 11716 h 1057751"/>
                <a:gd name="connsiteX221" fmla="*/ 406051 w 1073848"/>
                <a:gd name="connsiteY221" fmla="*/ 13240 h 1057751"/>
                <a:gd name="connsiteX222" fmla="*/ 407765 w 1073848"/>
                <a:gd name="connsiteY222" fmla="*/ 14668 h 1057751"/>
                <a:gd name="connsiteX223" fmla="*/ 406241 w 1073848"/>
                <a:gd name="connsiteY223" fmla="*/ 14859 h 1057751"/>
                <a:gd name="connsiteX224" fmla="*/ 406813 w 1073848"/>
                <a:gd name="connsiteY224" fmla="*/ 19526 h 1057751"/>
                <a:gd name="connsiteX225" fmla="*/ 402336 w 1073848"/>
                <a:gd name="connsiteY225" fmla="*/ 21717 h 1057751"/>
                <a:gd name="connsiteX226" fmla="*/ 399097 w 1073848"/>
                <a:gd name="connsiteY226" fmla="*/ 22193 h 1057751"/>
                <a:gd name="connsiteX227" fmla="*/ 399574 w 1073848"/>
                <a:gd name="connsiteY227" fmla="*/ 25337 h 1057751"/>
                <a:gd name="connsiteX228" fmla="*/ 397955 w 1073848"/>
                <a:gd name="connsiteY228" fmla="*/ 25527 h 1057751"/>
                <a:gd name="connsiteX229" fmla="*/ 393954 w 1073848"/>
                <a:gd name="connsiteY229" fmla="*/ 19621 h 1057751"/>
                <a:gd name="connsiteX230" fmla="*/ 388906 w 1073848"/>
                <a:gd name="connsiteY230" fmla="*/ 17050 h 1057751"/>
                <a:gd name="connsiteX231" fmla="*/ 385953 w 1073848"/>
                <a:gd name="connsiteY231" fmla="*/ 19050 h 1057751"/>
                <a:gd name="connsiteX232" fmla="*/ 376047 w 1073848"/>
                <a:gd name="connsiteY232" fmla="*/ 29908 h 1057751"/>
                <a:gd name="connsiteX233" fmla="*/ 376428 w 1073848"/>
                <a:gd name="connsiteY233" fmla="*/ 33052 h 1057751"/>
                <a:gd name="connsiteX234" fmla="*/ 371570 w 1073848"/>
                <a:gd name="connsiteY234" fmla="*/ 32099 h 1057751"/>
                <a:gd name="connsiteX235" fmla="*/ 368998 w 1073848"/>
                <a:gd name="connsiteY235" fmla="*/ 37243 h 1057751"/>
                <a:gd name="connsiteX236" fmla="*/ 365093 w 1073848"/>
                <a:gd name="connsiteY236" fmla="*/ 44101 h 1057751"/>
                <a:gd name="connsiteX237" fmla="*/ 365665 w 1073848"/>
                <a:gd name="connsiteY237" fmla="*/ 48863 h 1057751"/>
                <a:gd name="connsiteX238" fmla="*/ 367665 w 1073848"/>
                <a:gd name="connsiteY238" fmla="*/ 51816 h 1057751"/>
                <a:gd name="connsiteX239" fmla="*/ 372332 w 1073848"/>
                <a:gd name="connsiteY239" fmla="*/ 51245 h 1057751"/>
                <a:gd name="connsiteX240" fmla="*/ 375475 w 1073848"/>
                <a:gd name="connsiteY240" fmla="*/ 50768 h 1057751"/>
                <a:gd name="connsiteX241" fmla="*/ 374523 w 1073848"/>
                <a:gd name="connsiteY241" fmla="*/ 55721 h 1057751"/>
                <a:gd name="connsiteX242" fmla="*/ 378142 w 1073848"/>
                <a:gd name="connsiteY242" fmla="*/ 58483 h 1057751"/>
                <a:gd name="connsiteX243" fmla="*/ 377095 w 1073848"/>
                <a:gd name="connsiteY243" fmla="*/ 63437 h 1057751"/>
                <a:gd name="connsiteX244" fmla="*/ 382238 w 1073848"/>
                <a:gd name="connsiteY244" fmla="*/ 66008 h 1057751"/>
                <a:gd name="connsiteX245" fmla="*/ 379285 w 1073848"/>
                <a:gd name="connsiteY245" fmla="*/ 68008 h 1057751"/>
                <a:gd name="connsiteX246" fmla="*/ 379762 w 1073848"/>
                <a:gd name="connsiteY246" fmla="*/ 71152 h 1057751"/>
                <a:gd name="connsiteX247" fmla="*/ 376999 w 1073848"/>
                <a:gd name="connsiteY247" fmla="*/ 74676 h 1057751"/>
                <a:gd name="connsiteX248" fmla="*/ 373761 w 1073848"/>
                <a:gd name="connsiteY248" fmla="*/ 75057 h 1057751"/>
                <a:gd name="connsiteX249" fmla="*/ 371094 w 1073848"/>
                <a:gd name="connsiteY249" fmla="*/ 78676 h 1057751"/>
                <a:gd name="connsiteX250" fmla="*/ 371284 w 1073848"/>
                <a:gd name="connsiteY250" fmla="*/ 80200 h 1057751"/>
                <a:gd name="connsiteX251" fmla="*/ 367665 w 1073848"/>
                <a:gd name="connsiteY251" fmla="*/ 77438 h 1057751"/>
                <a:gd name="connsiteX252" fmla="*/ 366141 w 1073848"/>
                <a:gd name="connsiteY252" fmla="*/ 77629 h 1057751"/>
                <a:gd name="connsiteX253" fmla="*/ 364331 w 1073848"/>
                <a:gd name="connsiteY253" fmla="*/ 76295 h 1057751"/>
                <a:gd name="connsiteX254" fmla="*/ 359759 w 1073848"/>
                <a:gd name="connsiteY254" fmla="*/ 78486 h 1057751"/>
                <a:gd name="connsiteX255" fmla="*/ 352711 w 1073848"/>
                <a:gd name="connsiteY255" fmla="*/ 72962 h 1057751"/>
                <a:gd name="connsiteX256" fmla="*/ 353282 w 1073848"/>
                <a:gd name="connsiteY256" fmla="*/ 77724 h 1057751"/>
                <a:gd name="connsiteX257" fmla="*/ 350139 w 1073848"/>
                <a:gd name="connsiteY257" fmla="*/ 78105 h 1057751"/>
                <a:gd name="connsiteX258" fmla="*/ 346615 w 1073848"/>
                <a:gd name="connsiteY258" fmla="*/ 75343 h 1057751"/>
                <a:gd name="connsiteX259" fmla="*/ 345757 w 1073848"/>
                <a:gd name="connsiteY259" fmla="*/ 69056 h 1057751"/>
                <a:gd name="connsiteX260" fmla="*/ 344424 w 1073848"/>
                <a:gd name="connsiteY260" fmla="*/ 70771 h 1057751"/>
                <a:gd name="connsiteX261" fmla="*/ 342614 w 1073848"/>
                <a:gd name="connsiteY261" fmla="*/ 69437 h 1057751"/>
                <a:gd name="connsiteX262" fmla="*/ 340233 w 1073848"/>
                <a:gd name="connsiteY262" fmla="*/ 76200 h 1057751"/>
                <a:gd name="connsiteX263" fmla="*/ 336137 w 1073848"/>
                <a:gd name="connsiteY263" fmla="*/ 81534 h 1057751"/>
                <a:gd name="connsiteX264" fmla="*/ 333756 w 1073848"/>
                <a:gd name="connsiteY264" fmla="*/ 88201 h 1057751"/>
                <a:gd name="connsiteX265" fmla="*/ 335566 w 1073848"/>
                <a:gd name="connsiteY265" fmla="*/ 89630 h 1057751"/>
                <a:gd name="connsiteX266" fmla="*/ 332803 w 1073848"/>
                <a:gd name="connsiteY266" fmla="*/ 93154 h 1057751"/>
                <a:gd name="connsiteX267" fmla="*/ 333565 w 1073848"/>
                <a:gd name="connsiteY267" fmla="*/ 99441 h 1057751"/>
                <a:gd name="connsiteX268" fmla="*/ 332041 w 1073848"/>
                <a:gd name="connsiteY268" fmla="*/ 99632 h 1057751"/>
                <a:gd name="connsiteX269" fmla="*/ 331470 w 1073848"/>
                <a:gd name="connsiteY269" fmla="*/ 94964 h 1057751"/>
                <a:gd name="connsiteX270" fmla="*/ 326517 w 1073848"/>
                <a:gd name="connsiteY270" fmla="*/ 93917 h 1057751"/>
                <a:gd name="connsiteX271" fmla="*/ 319564 w 1073848"/>
                <a:gd name="connsiteY271" fmla="*/ 102870 h 1057751"/>
                <a:gd name="connsiteX272" fmla="*/ 310896 w 1073848"/>
                <a:gd name="connsiteY272" fmla="*/ 97536 h 1057751"/>
                <a:gd name="connsiteX273" fmla="*/ 303466 w 1073848"/>
                <a:gd name="connsiteY273" fmla="*/ 101727 h 1057751"/>
                <a:gd name="connsiteX274" fmla="*/ 296323 w 1073848"/>
                <a:gd name="connsiteY274" fmla="*/ 109061 h 1057751"/>
                <a:gd name="connsiteX275" fmla="*/ 294513 w 1073848"/>
                <a:gd name="connsiteY275" fmla="*/ 107633 h 1057751"/>
                <a:gd name="connsiteX276" fmla="*/ 293180 w 1073848"/>
                <a:gd name="connsiteY276" fmla="*/ 109442 h 1057751"/>
                <a:gd name="connsiteX277" fmla="*/ 288226 w 1073848"/>
                <a:gd name="connsiteY277" fmla="*/ 108395 h 1057751"/>
                <a:gd name="connsiteX278" fmla="*/ 285083 w 1073848"/>
                <a:gd name="connsiteY278" fmla="*/ 108871 h 1057751"/>
                <a:gd name="connsiteX279" fmla="*/ 284702 w 1073848"/>
                <a:gd name="connsiteY279" fmla="*/ 105728 h 1057751"/>
                <a:gd name="connsiteX280" fmla="*/ 283750 w 1073848"/>
                <a:gd name="connsiteY280" fmla="*/ 110585 h 1057751"/>
                <a:gd name="connsiteX281" fmla="*/ 283559 w 1073848"/>
                <a:gd name="connsiteY281" fmla="*/ 109061 h 1057751"/>
                <a:gd name="connsiteX282" fmla="*/ 280321 w 1073848"/>
                <a:gd name="connsiteY282" fmla="*/ 109442 h 1057751"/>
                <a:gd name="connsiteX283" fmla="*/ 275653 w 1073848"/>
                <a:gd name="connsiteY283" fmla="*/ 110014 h 1057751"/>
                <a:gd name="connsiteX284" fmla="*/ 274891 w 1073848"/>
                <a:gd name="connsiteY284" fmla="*/ 116586 h 1057751"/>
                <a:gd name="connsiteX285" fmla="*/ 271272 w 1073848"/>
                <a:gd name="connsiteY285" fmla="*/ 113824 h 1057751"/>
                <a:gd name="connsiteX286" fmla="*/ 269938 w 1073848"/>
                <a:gd name="connsiteY286" fmla="*/ 115633 h 1057751"/>
                <a:gd name="connsiteX287" fmla="*/ 272129 w 1073848"/>
                <a:gd name="connsiteY287" fmla="*/ 120110 h 1057751"/>
                <a:gd name="connsiteX288" fmla="*/ 264414 w 1073848"/>
                <a:gd name="connsiteY288" fmla="*/ 122682 h 1057751"/>
                <a:gd name="connsiteX289" fmla="*/ 264223 w 1073848"/>
                <a:gd name="connsiteY289" fmla="*/ 121158 h 1057751"/>
                <a:gd name="connsiteX290" fmla="*/ 261461 w 1073848"/>
                <a:gd name="connsiteY290" fmla="*/ 124682 h 1057751"/>
                <a:gd name="connsiteX291" fmla="*/ 259461 w 1073848"/>
                <a:gd name="connsiteY291" fmla="*/ 121729 h 1057751"/>
                <a:gd name="connsiteX292" fmla="*/ 256508 w 1073848"/>
                <a:gd name="connsiteY292" fmla="*/ 123730 h 1057751"/>
                <a:gd name="connsiteX293" fmla="*/ 256318 w 1073848"/>
                <a:gd name="connsiteY293" fmla="*/ 122111 h 1057751"/>
                <a:gd name="connsiteX294" fmla="*/ 250031 w 1073848"/>
                <a:gd name="connsiteY294" fmla="*/ 122968 h 1057751"/>
                <a:gd name="connsiteX295" fmla="*/ 249841 w 1073848"/>
                <a:gd name="connsiteY295" fmla="*/ 121349 h 1057751"/>
                <a:gd name="connsiteX296" fmla="*/ 255270 w 1073848"/>
                <a:gd name="connsiteY296" fmla="*/ 114205 h 1057751"/>
                <a:gd name="connsiteX297" fmla="*/ 253365 w 1073848"/>
                <a:gd name="connsiteY297" fmla="*/ 111252 h 1057751"/>
                <a:gd name="connsiteX298" fmla="*/ 250126 w 1073848"/>
                <a:gd name="connsiteY298" fmla="*/ 111728 h 1057751"/>
                <a:gd name="connsiteX299" fmla="*/ 247459 w 1073848"/>
                <a:gd name="connsiteY299" fmla="*/ 115253 h 1057751"/>
                <a:gd name="connsiteX300" fmla="*/ 244030 w 1073848"/>
                <a:gd name="connsiteY300" fmla="*/ 114109 h 1057751"/>
                <a:gd name="connsiteX301" fmla="*/ 241459 w 1073848"/>
                <a:gd name="connsiteY301" fmla="*/ 119253 h 1057751"/>
                <a:gd name="connsiteX302" fmla="*/ 236791 w 1073848"/>
                <a:gd name="connsiteY302" fmla="*/ 119825 h 1057751"/>
                <a:gd name="connsiteX303" fmla="*/ 234982 w 1073848"/>
                <a:gd name="connsiteY303" fmla="*/ 118396 h 1057751"/>
                <a:gd name="connsiteX304" fmla="*/ 231076 w 1073848"/>
                <a:gd name="connsiteY304" fmla="*/ 125349 h 1057751"/>
                <a:gd name="connsiteX305" fmla="*/ 229457 w 1073848"/>
                <a:gd name="connsiteY305" fmla="*/ 125539 h 1057751"/>
                <a:gd name="connsiteX306" fmla="*/ 229934 w 1073848"/>
                <a:gd name="connsiteY306" fmla="*/ 128683 h 1057751"/>
                <a:gd name="connsiteX307" fmla="*/ 233267 w 1073848"/>
                <a:gd name="connsiteY307" fmla="*/ 129921 h 1057751"/>
                <a:gd name="connsiteX308" fmla="*/ 231838 w 1073848"/>
                <a:gd name="connsiteY308" fmla="*/ 131636 h 1057751"/>
                <a:gd name="connsiteX309" fmla="*/ 233839 w 1073848"/>
                <a:gd name="connsiteY309" fmla="*/ 134588 h 1057751"/>
                <a:gd name="connsiteX310" fmla="*/ 226314 w 1073848"/>
                <a:gd name="connsiteY310" fmla="*/ 138779 h 1057751"/>
                <a:gd name="connsiteX311" fmla="*/ 227552 w 1073848"/>
                <a:gd name="connsiteY311" fmla="*/ 148209 h 1057751"/>
                <a:gd name="connsiteX312" fmla="*/ 228409 w 1073848"/>
                <a:gd name="connsiteY312" fmla="*/ 154591 h 1057751"/>
                <a:gd name="connsiteX313" fmla="*/ 214598 w 1073848"/>
                <a:gd name="connsiteY313" fmla="*/ 159544 h 1057751"/>
                <a:gd name="connsiteX314" fmla="*/ 216503 w 1073848"/>
                <a:gd name="connsiteY314" fmla="*/ 162496 h 1057751"/>
                <a:gd name="connsiteX315" fmla="*/ 211264 w 1073848"/>
                <a:gd name="connsiteY315" fmla="*/ 171164 h 1057751"/>
                <a:gd name="connsiteX316" fmla="*/ 209645 w 1073848"/>
                <a:gd name="connsiteY316" fmla="*/ 171355 h 1057751"/>
                <a:gd name="connsiteX317" fmla="*/ 209264 w 1073848"/>
                <a:gd name="connsiteY317" fmla="*/ 168212 h 1057751"/>
                <a:gd name="connsiteX318" fmla="*/ 207931 w 1073848"/>
                <a:gd name="connsiteY318" fmla="*/ 170021 h 1057751"/>
                <a:gd name="connsiteX319" fmla="*/ 207931 w 1073848"/>
                <a:gd name="connsiteY319" fmla="*/ 170021 h 1057751"/>
                <a:gd name="connsiteX320" fmla="*/ 204692 w 1073848"/>
                <a:gd name="connsiteY320" fmla="*/ 170402 h 1057751"/>
                <a:gd name="connsiteX321" fmla="*/ 206502 w 1073848"/>
                <a:gd name="connsiteY321" fmla="*/ 171736 h 1057751"/>
                <a:gd name="connsiteX322" fmla="*/ 203359 w 1073848"/>
                <a:gd name="connsiteY322" fmla="*/ 172212 h 1057751"/>
                <a:gd name="connsiteX323" fmla="*/ 205359 w 1073848"/>
                <a:gd name="connsiteY323" fmla="*/ 175165 h 1057751"/>
                <a:gd name="connsiteX324" fmla="*/ 202597 w 1073848"/>
                <a:gd name="connsiteY324" fmla="*/ 178689 h 1057751"/>
                <a:gd name="connsiteX325" fmla="*/ 201644 w 1073848"/>
                <a:gd name="connsiteY325" fmla="*/ 183642 h 1057751"/>
                <a:gd name="connsiteX326" fmla="*/ 200406 w 1073848"/>
                <a:gd name="connsiteY326" fmla="*/ 186976 h 1057751"/>
                <a:gd name="connsiteX327" fmla="*/ 202597 w 1073848"/>
                <a:gd name="connsiteY327" fmla="*/ 191548 h 1057751"/>
                <a:gd name="connsiteX328" fmla="*/ 200692 w 1073848"/>
                <a:gd name="connsiteY328" fmla="*/ 201359 h 1057751"/>
                <a:gd name="connsiteX329" fmla="*/ 202882 w 1073848"/>
                <a:gd name="connsiteY329" fmla="*/ 205930 h 1057751"/>
                <a:gd name="connsiteX330" fmla="*/ 201835 w 1073848"/>
                <a:gd name="connsiteY330" fmla="*/ 210884 h 1057751"/>
                <a:gd name="connsiteX331" fmla="*/ 205454 w 1073848"/>
                <a:gd name="connsiteY331" fmla="*/ 213646 h 1057751"/>
                <a:gd name="connsiteX332" fmla="*/ 203835 w 1073848"/>
                <a:gd name="connsiteY332" fmla="*/ 213836 h 1057751"/>
                <a:gd name="connsiteX333" fmla="*/ 206407 w 1073848"/>
                <a:gd name="connsiteY333" fmla="*/ 221551 h 1057751"/>
                <a:gd name="connsiteX334" fmla="*/ 209550 w 1073848"/>
                <a:gd name="connsiteY334" fmla="*/ 221075 h 1057751"/>
                <a:gd name="connsiteX335" fmla="*/ 213550 w 1073848"/>
                <a:gd name="connsiteY335" fmla="*/ 214217 h 1057751"/>
                <a:gd name="connsiteX336" fmla="*/ 221456 w 1073848"/>
                <a:gd name="connsiteY336" fmla="*/ 226028 h 1057751"/>
                <a:gd name="connsiteX337" fmla="*/ 229171 w 1073848"/>
                <a:gd name="connsiteY337" fmla="*/ 223457 h 1057751"/>
                <a:gd name="connsiteX338" fmla="*/ 240411 w 1073848"/>
                <a:gd name="connsiteY338" fmla="*/ 223552 h 1057751"/>
                <a:gd name="connsiteX339" fmla="*/ 239363 w 1073848"/>
                <a:gd name="connsiteY339" fmla="*/ 228505 h 1057751"/>
                <a:gd name="connsiteX340" fmla="*/ 243745 w 1073848"/>
                <a:gd name="connsiteY340" fmla="*/ 237554 h 1057751"/>
                <a:gd name="connsiteX341" fmla="*/ 251460 w 1073848"/>
                <a:gd name="connsiteY341" fmla="*/ 247841 h 1057751"/>
                <a:gd name="connsiteX342" fmla="*/ 252127 w 1073848"/>
                <a:gd name="connsiteY342" fmla="*/ 252603 h 1057751"/>
                <a:gd name="connsiteX343" fmla="*/ 249174 w 1073848"/>
                <a:gd name="connsiteY343" fmla="*/ 254508 h 1057751"/>
                <a:gd name="connsiteX344" fmla="*/ 247936 w 1073848"/>
                <a:gd name="connsiteY344" fmla="*/ 257937 h 1057751"/>
                <a:gd name="connsiteX345" fmla="*/ 251746 w 1073848"/>
                <a:gd name="connsiteY345" fmla="*/ 262223 h 1057751"/>
                <a:gd name="connsiteX346" fmla="*/ 248031 w 1073848"/>
                <a:gd name="connsiteY346" fmla="*/ 270700 h 1057751"/>
                <a:gd name="connsiteX347" fmla="*/ 244411 w 1073848"/>
                <a:gd name="connsiteY347" fmla="*/ 267938 h 1057751"/>
                <a:gd name="connsiteX348" fmla="*/ 245078 w 1073848"/>
                <a:gd name="connsiteY348" fmla="*/ 272701 h 1057751"/>
                <a:gd name="connsiteX349" fmla="*/ 243268 w 1073848"/>
                <a:gd name="connsiteY349" fmla="*/ 271367 h 1057751"/>
                <a:gd name="connsiteX350" fmla="*/ 243459 w 1073848"/>
                <a:gd name="connsiteY350" fmla="*/ 272891 h 1057751"/>
                <a:gd name="connsiteX351" fmla="*/ 241840 w 1073848"/>
                <a:gd name="connsiteY351" fmla="*/ 273082 h 1057751"/>
                <a:gd name="connsiteX352" fmla="*/ 237553 w 1073848"/>
                <a:gd name="connsiteY352" fmla="*/ 276892 h 1057751"/>
                <a:gd name="connsiteX353" fmla="*/ 238125 w 1073848"/>
                <a:gd name="connsiteY353" fmla="*/ 281654 h 1057751"/>
                <a:gd name="connsiteX354" fmla="*/ 232029 w 1073848"/>
                <a:gd name="connsiteY354" fmla="*/ 284036 h 1057751"/>
                <a:gd name="connsiteX355" fmla="*/ 231838 w 1073848"/>
                <a:gd name="connsiteY355" fmla="*/ 282416 h 1057751"/>
                <a:gd name="connsiteX356" fmla="*/ 228695 w 1073848"/>
                <a:gd name="connsiteY356" fmla="*/ 282797 h 1057751"/>
                <a:gd name="connsiteX357" fmla="*/ 224123 w 1073848"/>
                <a:gd name="connsiteY357" fmla="*/ 284988 h 1057751"/>
                <a:gd name="connsiteX358" fmla="*/ 222123 w 1073848"/>
                <a:gd name="connsiteY358" fmla="*/ 282035 h 1057751"/>
                <a:gd name="connsiteX359" fmla="*/ 219456 w 1073848"/>
                <a:gd name="connsiteY359" fmla="*/ 285559 h 1057751"/>
                <a:gd name="connsiteX360" fmla="*/ 216979 w 1073848"/>
                <a:gd name="connsiteY360" fmla="*/ 279463 h 1057751"/>
                <a:gd name="connsiteX361" fmla="*/ 210121 w 1073848"/>
                <a:gd name="connsiteY361" fmla="*/ 275558 h 1057751"/>
                <a:gd name="connsiteX362" fmla="*/ 208978 w 1073848"/>
                <a:gd name="connsiteY362" fmla="*/ 278892 h 1057751"/>
                <a:gd name="connsiteX363" fmla="*/ 204025 w 1073848"/>
                <a:gd name="connsiteY363" fmla="*/ 277939 h 1057751"/>
                <a:gd name="connsiteX364" fmla="*/ 204978 w 1073848"/>
                <a:gd name="connsiteY364" fmla="*/ 285845 h 1057751"/>
                <a:gd name="connsiteX365" fmla="*/ 204978 w 1073848"/>
                <a:gd name="connsiteY365" fmla="*/ 285845 h 1057751"/>
                <a:gd name="connsiteX366" fmla="*/ 202025 w 1073848"/>
                <a:gd name="connsiteY366" fmla="*/ 287846 h 1057751"/>
                <a:gd name="connsiteX367" fmla="*/ 198501 w 1073848"/>
                <a:gd name="connsiteY367" fmla="*/ 285083 h 1057751"/>
                <a:gd name="connsiteX368" fmla="*/ 199644 w 1073848"/>
                <a:gd name="connsiteY368" fmla="*/ 281750 h 1057751"/>
                <a:gd name="connsiteX369" fmla="*/ 194977 w 1073848"/>
                <a:gd name="connsiteY369" fmla="*/ 282321 h 1057751"/>
                <a:gd name="connsiteX370" fmla="*/ 195358 w 1073848"/>
                <a:gd name="connsiteY370" fmla="*/ 285464 h 1057751"/>
                <a:gd name="connsiteX371" fmla="*/ 198882 w 1073848"/>
                <a:gd name="connsiteY371" fmla="*/ 288226 h 1057751"/>
                <a:gd name="connsiteX372" fmla="*/ 197929 w 1073848"/>
                <a:gd name="connsiteY372" fmla="*/ 293180 h 1057751"/>
                <a:gd name="connsiteX373" fmla="*/ 193167 w 1073848"/>
                <a:gd name="connsiteY373" fmla="*/ 293751 h 1057751"/>
                <a:gd name="connsiteX374" fmla="*/ 193548 w 1073848"/>
                <a:gd name="connsiteY374" fmla="*/ 296894 h 1057751"/>
                <a:gd name="connsiteX375" fmla="*/ 192214 w 1073848"/>
                <a:gd name="connsiteY375" fmla="*/ 298704 h 1057751"/>
                <a:gd name="connsiteX376" fmla="*/ 191071 w 1073848"/>
                <a:gd name="connsiteY376" fmla="*/ 302038 h 1057751"/>
                <a:gd name="connsiteX377" fmla="*/ 192976 w 1073848"/>
                <a:gd name="connsiteY377" fmla="*/ 304991 h 1057751"/>
                <a:gd name="connsiteX378" fmla="*/ 191643 w 1073848"/>
                <a:gd name="connsiteY378" fmla="*/ 306800 h 1057751"/>
                <a:gd name="connsiteX379" fmla="*/ 191834 w 1073848"/>
                <a:gd name="connsiteY379" fmla="*/ 308324 h 1057751"/>
                <a:gd name="connsiteX380" fmla="*/ 183737 w 1073848"/>
                <a:gd name="connsiteY380" fmla="*/ 307753 h 1057751"/>
                <a:gd name="connsiteX381" fmla="*/ 183166 w 1073848"/>
                <a:gd name="connsiteY381" fmla="*/ 303086 h 1057751"/>
                <a:gd name="connsiteX382" fmla="*/ 180784 w 1073848"/>
                <a:gd name="connsiteY382" fmla="*/ 296989 h 1057751"/>
                <a:gd name="connsiteX383" fmla="*/ 173831 w 1073848"/>
                <a:gd name="connsiteY383" fmla="*/ 292989 h 1057751"/>
                <a:gd name="connsiteX384" fmla="*/ 174212 w 1073848"/>
                <a:gd name="connsiteY384" fmla="*/ 296132 h 1057751"/>
                <a:gd name="connsiteX385" fmla="*/ 172498 w 1073848"/>
                <a:gd name="connsiteY385" fmla="*/ 294799 h 1057751"/>
                <a:gd name="connsiteX386" fmla="*/ 172688 w 1073848"/>
                <a:gd name="connsiteY386" fmla="*/ 296323 h 1057751"/>
                <a:gd name="connsiteX387" fmla="*/ 169545 w 1073848"/>
                <a:gd name="connsiteY387" fmla="*/ 296799 h 1057751"/>
                <a:gd name="connsiteX388" fmla="*/ 164782 w 1073848"/>
                <a:gd name="connsiteY388" fmla="*/ 297371 h 1057751"/>
                <a:gd name="connsiteX389" fmla="*/ 162973 w 1073848"/>
                <a:gd name="connsiteY389" fmla="*/ 296037 h 1057751"/>
                <a:gd name="connsiteX390" fmla="*/ 160972 w 1073848"/>
                <a:gd name="connsiteY390" fmla="*/ 293084 h 1057751"/>
                <a:gd name="connsiteX391" fmla="*/ 160782 w 1073848"/>
                <a:gd name="connsiteY391" fmla="*/ 291465 h 1057751"/>
                <a:gd name="connsiteX392" fmla="*/ 156115 w 1073848"/>
                <a:gd name="connsiteY392" fmla="*/ 292037 h 1057751"/>
                <a:gd name="connsiteX393" fmla="*/ 157067 w 1073848"/>
                <a:gd name="connsiteY393" fmla="*/ 287179 h 1057751"/>
                <a:gd name="connsiteX394" fmla="*/ 158591 w 1073848"/>
                <a:gd name="connsiteY394" fmla="*/ 286893 h 1057751"/>
                <a:gd name="connsiteX395" fmla="*/ 160020 w 1073848"/>
                <a:gd name="connsiteY395" fmla="*/ 285179 h 1057751"/>
                <a:gd name="connsiteX396" fmla="*/ 155257 w 1073848"/>
                <a:gd name="connsiteY396" fmla="*/ 285750 h 1057751"/>
                <a:gd name="connsiteX397" fmla="*/ 154114 w 1073848"/>
                <a:gd name="connsiteY397" fmla="*/ 289084 h 1057751"/>
                <a:gd name="connsiteX398" fmla="*/ 152305 w 1073848"/>
                <a:gd name="connsiteY398" fmla="*/ 287750 h 1057751"/>
                <a:gd name="connsiteX399" fmla="*/ 149161 w 1073848"/>
                <a:gd name="connsiteY399" fmla="*/ 288131 h 1057751"/>
                <a:gd name="connsiteX400" fmla="*/ 150209 w 1073848"/>
                <a:gd name="connsiteY400" fmla="*/ 296037 h 1057751"/>
                <a:gd name="connsiteX401" fmla="*/ 145066 w 1073848"/>
                <a:gd name="connsiteY401" fmla="*/ 293465 h 1057751"/>
                <a:gd name="connsiteX402" fmla="*/ 137350 w 1073848"/>
                <a:gd name="connsiteY402" fmla="*/ 296037 h 1057751"/>
                <a:gd name="connsiteX403" fmla="*/ 135731 w 1073848"/>
                <a:gd name="connsiteY403" fmla="*/ 296228 h 1057751"/>
                <a:gd name="connsiteX404" fmla="*/ 136207 w 1073848"/>
                <a:gd name="connsiteY404" fmla="*/ 299371 h 1057751"/>
                <a:gd name="connsiteX405" fmla="*/ 132969 w 1073848"/>
                <a:gd name="connsiteY405" fmla="*/ 299847 h 1057751"/>
                <a:gd name="connsiteX406" fmla="*/ 129445 w 1073848"/>
                <a:gd name="connsiteY406" fmla="*/ 297085 h 1057751"/>
                <a:gd name="connsiteX407" fmla="*/ 128302 w 1073848"/>
                <a:gd name="connsiteY407" fmla="*/ 300418 h 1057751"/>
                <a:gd name="connsiteX408" fmla="*/ 125158 w 1073848"/>
                <a:gd name="connsiteY408" fmla="*/ 300800 h 1057751"/>
                <a:gd name="connsiteX409" fmla="*/ 121729 w 1073848"/>
                <a:gd name="connsiteY409" fmla="*/ 299657 h 1057751"/>
                <a:gd name="connsiteX410" fmla="*/ 115824 w 1073848"/>
                <a:gd name="connsiteY410" fmla="*/ 303562 h 1057751"/>
                <a:gd name="connsiteX411" fmla="*/ 108585 w 1073848"/>
                <a:gd name="connsiteY411" fmla="*/ 296513 h 1057751"/>
                <a:gd name="connsiteX412" fmla="*/ 104013 w 1073848"/>
                <a:gd name="connsiteY412" fmla="*/ 298704 h 1057751"/>
                <a:gd name="connsiteX413" fmla="*/ 101822 w 1073848"/>
                <a:gd name="connsiteY413" fmla="*/ 294132 h 1057751"/>
                <a:gd name="connsiteX414" fmla="*/ 95726 w 1073848"/>
                <a:gd name="connsiteY414" fmla="*/ 296513 h 1057751"/>
                <a:gd name="connsiteX415" fmla="*/ 94488 w 1073848"/>
                <a:gd name="connsiteY415" fmla="*/ 299942 h 1057751"/>
                <a:gd name="connsiteX416" fmla="*/ 92773 w 1073848"/>
                <a:gd name="connsiteY416" fmla="*/ 298513 h 1057751"/>
                <a:gd name="connsiteX417" fmla="*/ 91345 w 1073848"/>
                <a:gd name="connsiteY417" fmla="*/ 300323 h 1057751"/>
                <a:gd name="connsiteX418" fmla="*/ 89154 w 1073848"/>
                <a:gd name="connsiteY418" fmla="*/ 295751 h 1057751"/>
                <a:gd name="connsiteX419" fmla="*/ 87630 w 1073848"/>
                <a:gd name="connsiteY419" fmla="*/ 295942 h 1057751"/>
                <a:gd name="connsiteX420" fmla="*/ 87820 w 1073848"/>
                <a:gd name="connsiteY420" fmla="*/ 297561 h 1057751"/>
                <a:gd name="connsiteX421" fmla="*/ 82677 w 1073848"/>
                <a:gd name="connsiteY421" fmla="*/ 294989 h 1057751"/>
                <a:gd name="connsiteX422" fmla="*/ 84106 w 1073848"/>
                <a:gd name="connsiteY422" fmla="*/ 293275 h 1057751"/>
                <a:gd name="connsiteX423" fmla="*/ 78772 w 1073848"/>
                <a:gd name="connsiteY423" fmla="*/ 289084 h 1057751"/>
                <a:gd name="connsiteX424" fmla="*/ 78486 w 1073848"/>
                <a:gd name="connsiteY424" fmla="*/ 287560 h 1057751"/>
                <a:gd name="connsiteX425" fmla="*/ 66103 w 1073848"/>
                <a:gd name="connsiteY425" fmla="*/ 290703 h 1057751"/>
                <a:gd name="connsiteX426" fmla="*/ 59817 w 1073848"/>
                <a:gd name="connsiteY426" fmla="*/ 291465 h 1057751"/>
                <a:gd name="connsiteX427" fmla="*/ 54673 w 1073848"/>
                <a:gd name="connsiteY427" fmla="*/ 301752 h 1057751"/>
                <a:gd name="connsiteX428" fmla="*/ 58198 w 1073848"/>
                <a:gd name="connsiteY428" fmla="*/ 304514 h 1057751"/>
                <a:gd name="connsiteX429" fmla="*/ 63151 w 1073848"/>
                <a:gd name="connsiteY429" fmla="*/ 305467 h 1057751"/>
                <a:gd name="connsiteX430" fmla="*/ 67151 w 1073848"/>
                <a:gd name="connsiteY430" fmla="*/ 311372 h 1057751"/>
                <a:gd name="connsiteX431" fmla="*/ 65722 w 1073848"/>
                <a:gd name="connsiteY431" fmla="*/ 313182 h 1057751"/>
                <a:gd name="connsiteX432" fmla="*/ 67913 w 1073848"/>
                <a:gd name="connsiteY432" fmla="*/ 317754 h 1057751"/>
                <a:gd name="connsiteX433" fmla="*/ 66580 w 1073848"/>
                <a:gd name="connsiteY433" fmla="*/ 319468 h 1057751"/>
                <a:gd name="connsiteX434" fmla="*/ 60484 w 1073848"/>
                <a:gd name="connsiteY434" fmla="*/ 321850 h 1057751"/>
                <a:gd name="connsiteX435" fmla="*/ 48958 w 1073848"/>
                <a:gd name="connsiteY435" fmla="*/ 320135 h 1057751"/>
                <a:gd name="connsiteX436" fmla="*/ 46482 w 1073848"/>
                <a:gd name="connsiteY436" fmla="*/ 325279 h 1057751"/>
                <a:gd name="connsiteX437" fmla="*/ 39338 w 1073848"/>
                <a:gd name="connsiteY437" fmla="*/ 319754 h 1057751"/>
                <a:gd name="connsiteX438" fmla="*/ 34576 w 1073848"/>
                <a:gd name="connsiteY438" fmla="*/ 320421 h 1057751"/>
                <a:gd name="connsiteX439" fmla="*/ 31813 w 1073848"/>
                <a:gd name="connsiteY439" fmla="*/ 323945 h 1057751"/>
                <a:gd name="connsiteX440" fmla="*/ 32671 w 1073848"/>
                <a:gd name="connsiteY440" fmla="*/ 330232 h 1057751"/>
                <a:gd name="connsiteX441" fmla="*/ 31242 w 1073848"/>
                <a:gd name="connsiteY441" fmla="*/ 332042 h 1057751"/>
                <a:gd name="connsiteX442" fmla="*/ 29908 w 1073848"/>
                <a:gd name="connsiteY442" fmla="*/ 333756 h 1057751"/>
                <a:gd name="connsiteX443" fmla="*/ 33433 w 1073848"/>
                <a:gd name="connsiteY443" fmla="*/ 336518 h 1057751"/>
                <a:gd name="connsiteX444" fmla="*/ 37624 w 1073848"/>
                <a:gd name="connsiteY444" fmla="*/ 344043 h 1057751"/>
                <a:gd name="connsiteX445" fmla="*/ 34480 w 1073848"/>
                <a:gd name="connsiteY445" fmla="*/ 344424 h 1057751"/>
                <a:gd name="connsiteX446" fmla="*/ 29718 w 1073848"/>
                <a:gd name="connsiteY446" fmla="*/ 345091 h 1057751"/>
                <a:gd name="connsiteX447" fmla="*/ 28384 w 1073848"/>
                <a:gd name="connsiteY447" fmla="*/ 346805 h 1057751"/>
                <a:gd name="connsiteX448" fmla="*/ 29146 w 1073848"/>
                <a:gd name="connsiteY448" fmla="*/ 353187 h 1057751"/>
                <a:gd name="connsiteX449" fmla="*/ 25241 w 1073848"/>
                <a:gd name="connsiteY449" fmla="*/ 360045 h 1057751"/>
                <a:gd name="connsiteX450" fmla="*/ 26956 w 1073848"/>
                <a:gd name="connsiteY450" fmla="*/ 361474 h 1057751"/>
                <a:gd name="connsiteX451" fmla="*/ 30956 w 1073848"/>
                <a:gd name="connsiteY451" fmla="*/ 367379 h 1057751"/>
                <a:gd name="connsiteX452" fmla="*/ 33718 w 1073848"/>
                <a:gd name="connsiteY452" fmla="*/ 376618 h 1057751"/>
                <a:gd name="connsiteX453" fmla="*/ 37338 w 1073848"/>
                <a:gd name="connsiteY453" fmla="*/ 379381 h 1057751"/>
                <a:gd name="connsiteX454" fmla="*/ 36100 w 1073848"/>
                <a:gd name="connsiteY454" fmla="*/ 382714 h 1057751"/>
                <a:gd name="connsiteX455" fmla="*/ 31813 w 1073848"/>
                <a:gd name="connsiteY455" fmla="*/ 386525 h 1057751"/>
                <a:gd name="connsiteX456" fmla="*/ 23527 w 1073848"/>
                <a:gd name="connsiteY456" fmla="*/ 384334 h 1057751"/>
                <a:gd name="connsiteX457" fmla="*/ 20383 w 1073848"/>
                <a:gd name="connsiteY457" fmla="*/ 384715 h 1057751"/>
                <a:gd name="connsiteX458" fmla="*/ 16764 w 1073848"/>
                <a:gd name="connsiteY458" fmla="*/ 381953 h 1057751"/>
                <a:gd name="connsiteX459" fmla="*/ 17145 w 1073848"/>
                <a:gd name="connsiteY459" fmla="*/ 385096 h 1057751"/>
                <a:gd name="connsiteX460" fmla="*/ 12097 w 1073848"/>
                <a:gd name="connsiteY460" fmla="*/ 382619 h 1057751"/>
                <a:gd name="connsiteX461" fmla="*/ 9715 w 1073848"/>
                <a:gd name="connsiteY461" fmla="*/ 389287 h 1057751"/>
                <a:gd name="connsiteX462" fmla="*/ 8763 w 1073848"/>
                <a:gd name="connsiteY462" fmla="*/ 394240 h 1057751"/>
                <a:gd name="connsiteX463" fmla="*/ 15430 w 1073848"/>
                <a:gd name="connsiteY463" fmla="*/ 396621 h 1057751"/>
                <a:gd name="connsiteX464" fmla="*/ 17240 w 1073848"/>
                <a:gd name="connsiteY464" fmla="*/ 397955 h 1057751"/>
                <a:gd name="connsiteX465" fmla="*/ 19240 w 1073848"/>
                <a:gd name="connsiteY465" fmla="*/ 400907 h 1057751"/>
                <a:gd name="connsiteX466" fmla="*/ 19621 w 1073848"/>
                <a:gd name="connsiteY466" fmla="*/ 404050 h 1057751"/>
                <a:gd name="connsiteX467" fmla="*/ 26956 w 1073848"/>
                <a:gd name="connsiteY467" fmla="*/ 411194 h 1057751"/>
                <a:gd name="connsiteX468" fmla="*/ 25336 w 1073848"/>
                <a:gd name="connsiteY468" fmla="*/ 411385 h 1057751"/>
                <a:gd name="connsiteX469" fmla="*/ 25717 w 1073848"/>
                <a:gd name="connsiteY469" fmla="*/ 414528 h 1057751"/>
                <a:gd name="connsiteX470" fmla="*/ 27527 w 1073848"/>
                <a:gd name="connsiteY470" fmla="*/ 415862 h 1057751"/>
                <a:gd name="connsiteX471" fmla="*/ 26956 w 1073848"/>
                <a:gd name="connsiteY471" fmla="*/ 423958 h 1057751"/>
                <a:gd name="connsiteX472" fmla="*/ 29146 w 1073848"/>
                <a:gd name="connsiteY472" fmla="*/ 428530 h 1057751"/>
                <a:gd name="connsiteX473" fmla="*/ 26194 w 1073848"/>
                <a:gd name="connsiteY473" fmla="*/ 430530 h 1057751"/>
                <a:gd name="connsiteX474" fmla="*/ 23813 w 1073848"/>
                <a:gd name="connsiteY474" fmla="*/ 437197 h 1057751"/>
                <a:gd name="connsiteX475" fmla="*/ 20860 w 1073848"/>
                <a:gd name="connsiteY475" fmla="*/ 439198 h 1057751"/>
                <a:gd name="connsiteX476" fmla="*/ 19336 w 1073848"/>
                <a:gd name="connsiteY476" fmla="*/ 439388 h 1057751"/>
                <a:gd name="connsiteX477" fmla="*/ 21431 w 1073848"/>
                <a:gd name="connsiteY477" fmla="*/ 443960 h 1057751"/>
                <a:gd name="connsiteX478" fmla="*/ 24860 w 1073848"/>
                <a:gd name="connsiteY478" fmla="*/ 445103 h 1057751"/>
                <a:gd name="connsiteX479" fmla="*/ 25241 w 1073848"/>
                <a:gd name="connsiteY479" fmla="*/ 448246 h 1057751"/>
                <a:gd name="connsiteX480" fmla="*/ 23146 w 1073848"/>
                <a:gd name="connsiteY480" fmla="*/ 469392 h 1057751"/>
                <a:gd name="connsiteX481" fmla="*/ 18383 w 1073848"/>
                <a:gd name="connsiteY481" fmla="*/ 469963 h 1057751"/>
                <a:gd name="connsiteX482" fmla="*/ 15811 w 1073848"/>
                <a:gd name="connsiteY482" fmla="*/ 475107 h 1057751"/>
                <a:gd name="connsiteX483" fmla="*/ 15621 w 1073848"/>
                <a:gd name="connsiteY483" fmla="*/ 486346 h 1057751"/>
                <a:gd name="connsiteX484" fmla="*/ 11716 w 1073848"/>
                <a:gd name="connsiteY484" fmla="*/ 493300 h 1057751"/>
                <a:gd name="connsiteX485" fmla="*/ 8572 w 1073848"/>
                <a:gd name="connsiteY485" fmla="*/ 493681 h 1057751"/>
                <a:gd name="connsiteX486" fmla="*/ 7429 w 1073848"/>
                <a:gd name="connsiteY486" fmla="*/ 497014 h 1057751"/>
                <a:gd name="connsiteX487" fmla="*/ 7810 w 1073848"/>
                <a:gd name="connsiteY487" fmla="*/ 500158 h 1057751"/>
                <a:gd name="connsiteX488" fmla="*/ 12287 w 1073848"/>
                <a:gd name="connsiteY488" fmla="*/ 498062 h 1057751"/>
                <a:gd name="connsiteX489" fmla="*/ 13716 w 1073848"/>
                <a:gd name="connsiteY489" fmla="*/ 496253 h 1057751"/>
                <a:gd name="connsiteX490" fmla="*/ 16859 w 1073848"/>
                <a:gd name="connsiteY490" fmla="*/ 495871 h 1057751"/>
                <a:gd name="connsiteX491" fmla="*/ 14478 w 1073848"/>
                <a:gd name="connsiteY491" fmla="*/ 502539 h 1057751"/>
                <a:gd name="connsiteX492" fmla="*/ 11525 w 1073848"/>
                <a:gd name="connsiteY492" fmla="*/ 504539 h 1057751"/>
                <a:gd name="connsiteX493" fmla="*/ 12192 w 1073848"/>
                <a:gd name="connsiteY493" fmla="*/ 509302 h 1057751"/>
                <a:gd name="connsiteX494" fmla="*/ 9239 w 1073848"/>
                <a:gd name="connsiteY494" fmla="*/ 511207 h 1057751"/>
                <a:gd name="connsiteX495" fmla="*/ 10192 w 1073848"/>
                <a:gd name="connsiteY495" fmla="*/ 519113 h 1057751"/>
                <a:gd name="connsiteX496" fmla="*/ 9049 w 1073848"/>
                <a:gd name="connsiteY496" fmla="*/ 522446 h 1057751"/>
                <a:gd name="connsiteX497" fmla="*/ 9430 w 1073848"/>
                <a:gd name="connsiteY497" fmla="*/ 525685 h 1057751"/>
                <a:gd name="connsiteX498" fmla="*/ 8477 w 1073848"/>
                <a:gd name="connsiteY498" fmla="*/ 530543 h 1057751"/>
                <a:gd name="connsiteX499" fmla="*/ 5524 w 1073848"/>
                <a:gd name="connsiteY499" fmla="*/ 532543 h 1057751"/>
                <a:gd name="connsiteX500" fmla="*/ 2191 w 1073848"/>
                <a:gd name="connsiteY500" fmla="*/ 531400 h 1057751"/>
                <a:gd name="connsiteX501" fmla="*/ 1143 w 1073848"/>
                <a:gd name="connsiteY501" fmla="*/ 536353 h 1057751"/>
                <a:gd name="connsiteX502" fmla="*/ 4572 w 1073848"/>
                <a:gd name="connsiteY502" fmla="*/ 537496 h 1057751"/>
                <a:gd name="connsiteX503" fmla="*/ 1619 w 1073848"/>
                <a:gd name="connsiteY503" fmla="*/ 539496 h 1057751"/>
                <a:gd name="connsiteX504" fmla="*/ 381 w 1073848"/>
                <a:gd name="connsiteY504" fmla="*/ 542830 h 1057751"/>
                <a:gd name="connsiteX505" fmla="*/ 2381 w 1073848"/>
                <a:gd name="connsiteY505" fmla="*/ 545783 h 1057751"/>
                <a:gd name="connsiteX506" fmla="*/ 2762 w 1073848"/>
                <a:gd name="connsiteY506" fmla="*/ 548926 h 1057751"/>
                <a:gd name="connsiteX507" fmla="*/ 0 w 1073848"/>
                <a:gd name="connsiteY507" fmla="*/ 552545 h 1057751"/>
                <a:gd name="connsiteX508" fmla="*/ 2000 w 1073848"/>
                <a:gd name="connsiteY508" fmla="*/ 555498 h 1057751"/>
                <a:gd name="connsiteX509" fmla="*/ 3619 w 1073848"/>
                <a:gd name="connsiteY509" fmla="*/ 555308 h 1057751"/>
                <a:gd name="connsiteX510" fmla="*/ 12287 w 1073848"/>
                <a:gd name="connsiteY510" fmla="*/ 560546 h 1057751"/>
                <a:gd name="connsiteX511" fmla="*/ 20383 w 1073848"/>
                <a:gd name="connsiteY511" fmla="*/ 561118 h 1057751"/>
                <a:gd name="connsiteX512" fmla="*/ 24289 w 1073848"/>
                <a:gd name="connsiteY512" fmla="*/ 567023 h 1057751"/>
                <a:gd name="connsiteX513" fmla="*/ 25717 w 1073848"/>
                <a:gd name="connsiteY513" fmla="*/ 578072 h 1057751"/>
                <a:gd name="connsiteX514" fmla="*/ 30289 w 1073848"/>
                <a:gd name="connsiteY514" fmla="*/ 575882 h 1057751"/>
                <a:gd name="connsiteX515" fmla="*/ 29337 w 1073848"/>
                <a:gd name="connsiteY515" fmla="*/ 580834 h 1057751"/>
                <a:gd name="connsiteX516" fmla="*/ 25908 w 1073848"/>
                <a:gd name="connsiteY516" fmla="*/ 579692 h 1057751"/>
                <a:gd name="connsiteX517" fmla="*/ 22955 w 1073848"/>
                <a:gd name="connsiteY517" fmla="*/ 581692 h 1057751"/>
                <a:gd name="connsiteX518" fmla="*/ 19050 w 1073848"/>
                <a:gd name="connsiteY518" fmla="*/ 588550 h 1057751"/>
                <a:gd name="connsiteX519" fmla="*/ 17240 w 1073848"/>
                <a:gd name="connsiteY519" fmla="*/ 587216 h 1057751"/>
                <a:gd name="connsiteX520" fmla="*/ 17907 w 1073848"/>
                <a:gd name="connsiteY520" fmla="*/ 591979 h 1057751"/>
                <a:gd name="connsiteX521" fmla="*/ 13144 w 1073848"/>
                <a:gd name="connsiteY521" fmla="*/ 592550 h 1057751"/>
                <a:gd name="connsiteX522" fmla="*/ 13716 w 1073848"/>
                <a:gd name="connsiteY522" fmla="*/ 597313 h 1057751"/>
                <a:gd name="connsiteX523" fmla="*/ 10763 w 1073848"/>
                <a:gd name="connsiteY523" fmla="*/ 599218 h 1057751"/>
                <a:gd name="connsiteX524" fmla="*/ 11239 w 1073848"/>
                <a:gd name="connsiteY524" fmla="*/ 602361 h 1057751"/>
                <a:gd name="connsiteX525" fmla="*/ 13335 w 1073848"/>
                <a:gd name="connsiteY525" fmla="*/ 606933 h 1057751"/>
                <a:gd name="connsiteX526" fmla="*/ 20669 w 1073848"/>
                <a:gd name="connsiteY526" fmla="*/ 613982 h 1057751"/>
                <a:gd name="connsiteX527" fmla="*/ 27432 w 1073848"/>
                <a:gd name="connsiteY527" fmla="*/ 616363 h 1057751"/>
                <a:gd name="connsiteX528" fmla="*/ 27813 w 1073848"/>
                <a:gd name="connsiteY528" fmla="*/ 619506 h 1057751"/>
                <a:gd name="connsiteX529" fmla="*/ 24098 w 1073848"/>
                <a:gd name="connsiteY529" fmla="*/ 627983 h 1057751"/>
                <a:gd name="connsiteX530" fmla="*/ 30766 w 1073848"/>
                <a:gd name="connsiteY530" fmla="*/ 630364 h 1057751"/>
                <a:gd name="connsiteX531" fmla="*/ 39052 w 1073848"/>
                <a:gd name="connsiteY531" fmla="*/ 632555 h 1057751"/>
                <a:gd name="connsiteX532" fmla="*/ 39529 w 1073848"/>
                <a:gd name="connsiteY532" fmla="*/ 635699 h 1057751"/>
                <a:gd name="connsiteX533" fmla="*/ 42863 w 1073848"/>
                <a:gd name="connsiteY533" fmla="*/ 636842 h 1057751"/>
                <a:gd name="connsiteX534" fmla="*/ 41910 w 1073848"/>
                <a:gd name="connsiteY534" fmla="*/ 641795 h 1057751"/>
                <a:gd name="connsiteX535" fmla="*/ 45815 w 1073848"/>
                <a:gd name="connsiteY535" fmla="*/ 647700 h 1057751"/>
                <a:gd name="connsiteX536" fmla="*/ 47625 w 1073848"/>
                <a:gd name="connsiteY536" fmla="*/ 649129 h 1057751"/>
                <a:gd name="connsiteX537" fmla="*/ 50578 w 1073848"/>
                <a:gd name="connsiteY537" fmla="*/ 647129 h 1057751"/>
                <a:gd name="connsiteX538" fmla="*/ 57912 w 1073848"/>
                <a:gd name="connsiteY538" fmla="*/ 654177 h 1057751"/>
                <a:gd name="connsiteX539" fmla="*/ 61817 w 1073848"/>
                <a:gd name="connsiteY539" fmla="*/ 660083 h 1057751"/>
                <a:gd name="connsiteX540" fmla="*/ 62484 w 1073848"/>
                <a:gd name="connsiteY540" fmla="*/ 664845 h 1057751"/>
                <a:gd name="connsiteX541" fmla="*/ 64008 w 1073848"/>
                <a:gd name="connsiteY541" fmla="*/ 664655 h 1057751"/>
                <a:gd name="connsiteX542" fmla="*/ 64198 w 1073848"/>
                <a:gd name="connsiteY542" fmla="*/ 666179 h 1057751"/>
                <a:gd name="connsiteX543" fmla="*/ 72485 w 1073848"/>
                <a:gd name="connsiteY543" fmla="*/ 668369 h 1057751"/>
                <a:gd name="connsiteX544" fmla="*/ 80581 w 1073848"/>
                <a:gd name="connsiteY544" fmla="*/ 656082 h 1057751"/>
                <a:gd name="connsiteX545" fmla="*/ 85153 w 1073848"/>
                <a:gd name="connsiteY545" fmla="*/ 653891 h 1057751"/>
                <a:gd name="connsiteX546" fmla="*/ 89440 w 1073848"/>
                <a:gd name="connsiteY546" fmla="*/ 650176 h 1057751"/>
                <a:gd name="connsiteX547" fmla="*/ 92583 w 1073848"/>
                <a:gd name="connsiteY547" fmla="*/ 649796 h 1057751"/>
                <a:gd name="connsiteX548" fmla="*/ 94012 w 1073848"/>
                <a:gd name="connsiteY548" fmla="*/ 647986 h 1057751"/>
                <a:gd name="connsiteX549" fmla="*/ 99917 w 1073848"/>
                <a:gd name="connsiteY549" fmla="*/ 643985 h 1057751"/>
                <a:gd name="connsiteX550" fmla="*/ 101917 w 1073848"/>
                <a:gd name="connsiteY550" fmla="*/ 646938 h 1057751"/>
                <a:gd name="connsiteX551" fmla="*/ 103251 w 1073848"/>
                <a:gd name="connsiteY551" fmla="*/ 645224 h 1057751"/>
                <a:gd name="connsiteX552" fmla="*/ 102298 w 1073848"/>
                <a:gd name="connsiteY552" fmla="*/ 650176 h 1057751"/>
                <a:gd name="connsiteX553" fmla="*/ 107251 w 1073848"/>
                <a:gd name="connsiteY553" fmla="*/ 651129 h 1057751"/>
                <a:gd name="connsiteX554" fmla="*/ 111538 w 1073848"/>
                <a:gd name="connsiteY554" fmla="*/ 660178 h 1057751"/>
                <a:gd name="connsiteX555" fmla="*/ 113728 w 1073848"/>
                <a:gd name="connsiteY555" fmla="*/ 664750 h 1057751"/>
                <a:gd name="connsiteX556" fmla="*/ 122491 w 1073848"/>
                <a:gd name="connsiteY556" fmla="*/ 669988 h 1057751"/>
                <a:gd name="connsiteX557" fmla="*/ 121063 w 1073848"/>
                <a:gd name="connsiteY557" fmla="*/ 671798 h 1057751"/>
                <a:gd name="connsiteX558" fmla="*/ 126016 w 1073848"/>
                <a:gd name="connsiteY558" fmla="*/ 672751 h 1057751"/>
                <a:gd name="connsiteX559" fmla="*/ 127159 w 1073848"/>
                <a:gd name="connsiteY559" fmla="*/ 669417 h 1057751"/>
                <a:gd name="connsiteX560" fmla="*/ 128968 w 1073848"/>
                <a:gd name="connsiteY560" fmla="*/ 670751 h 1057751"/>
                <a:gd name="connsiteX561" fmla="*/ 137255 w 1073848"/>
                <a:gd name="connsiteY561" fmla="*/ 672941 h 1057751"/>
                <a:gd name="connsiteX562" fmla="*/ 152019 w 1073848"/>
                <a:gd name="connsiteY562" fmla="*/ 675894 h 1057751"/>
                <a:gd name="connsiteX563" fmla="*/ 151447 w 1073848"/>
                <a:gd name="connsiteY563" fmla="*/ 683990 h 1057751"/>
                <a:gd name="connsiteX564" fmla="*/ 147161 w 1073848"/>
                <a:gd name="connsiteY564" fmla="*/ 687705 h 1057751"/>
                <a:gd name="connsiteX565" fmla="*/ 151162 w 1073848"/>
                <a:gd name="connsiteY565" fmla="*/ 693611 h 1057751"/>
                <a:gd name="connsiteX566" fmla="*/ 150114 w 1073848"/>
                <a:gd name="connsiteY566" fmla="*/ 698563 h 1057751"/>
                <a:gd name="connsiteX567" fmla="*/ 137160 w 1073848"/>
                <a:gd name="connsiteY567" fmla="*/ 697039 h 1057751"/>
                <a:gd name="connsiteX568" fmla="*/ 133731 w 1073848"/>
                <a:gd name="connsiteY568" fmla="*/ 695801 h 1057751"/>
                <a:gd name="connsiteX569" fmla="*/ 132207 w 1073848"/>
                <a:gd name="connsiteY569" fmla="*/ 696087 h 1057751"/>
                <a:gd name="connsiteX570" fmla="*/ 136112 w 1073848"/>
                <a:gd name="connsiteY570" fmla="*/ 701993 h 1057751"/>
                <a:gd name="connsiteX571" fmla="*/ 142684 w 1073848"/>
                <a:gd name="connsiteY571" fmla="*/ 702755 h 1057751"/>
                <a:gd name="connsiteX572" fmla="*/ 148209 w 1073848"/>
                <a:gd name="connsiteY572" fmla="*/ 708470 h 1057751"/>
                <a:gd name="connsiteX573" fmla="*/ 153734 w 1073848"/>
                <a:gd name="connsiteY573" fmla="*/ 701326 h 1057751"/>
                <a:gd name="connsiteX574" fmla="*/ 163163 w 1073848"/>
                <a:gd name="connsiteY574" fmla="*/ 700088 h 1057751"/>
                <a:gd name="connsiteX575" fmla="*/ 166497 w 1073848"/>
                <a:gd name="connsiteY575" fmla="*/ 701326 h 1057751"/>
                <a:gd name="connsiteX576" fmla="*/ 168688 w 1073848"/>
                <a:gd name="connsiteY576" fmla="*/ 705803 h 1057751"/>
                <a:gd name="connsiteX577" fmla="*/ 171831 w 1073848"/>
                <a:gd name="connsiteY577" fmla="*/ 705422 h 1057751"/>
                <a:gd name="connsiteX578" fmla="*/ 174403 w 1073848"/>
                <a:gd name="connsiteY578" fmla="*/ 713137 h 1057751"/>
                <a:gd name="connsiteX579" fmla="*/ 176213 w 1073848"/>
                <a:gd name="connsiteY579" fmla="*/ 714470 h 1057751"/>
                <a:gd name="connsiteX580" fmla="*/ 176403 w 1073848"/>
                <a:gd name="connsiteY580" fmla="*/ 716089 h 1057751"/>
                <a:gd name="connsiteX581" fmla="*/ 175069 w 1073848"/>
                <a:gd name="connsiteY581" fmla="*/ 717804 h 1057751"/>
                <a:gd name="connsiteX582" fmla="*/ 177832 w 1073848"/>
                <a:gd name="connsiteY582" fmla="*/ 727138 h 1057751"/>
                <a:gd name="connsiteX583" fmla="*/ 176689 w 1073848"/>
                <a:gd name="connsiteY583" fmla="*/ 730472 h 1057751"/>
                <a:gd name="connsiteX584" fmla="*/ 184975 w 1073848"/>
                <a:gd name="connsiteY584" fmla="*/ 732568 h 1057751"/>
                <a:gd name="connsiteX585" fmla="*/ 191643 w 1073848"/>
                <a:gd name="connsiteY585" fmla="*/ 734949 h 1057751"/>
                <a:gd name="connsiteX586" fmla="*/ 194977 w 1073848"/>
                <a:gd name="connsiteY586" fmla="*/ 736187 h 1057751"/>
                <a:gd name="connsiteX587" fmla="*/ 204121 w 1073848"/>
                <a:gd name="connsiteY587" fmla="*/ 731806 h 1057751"/>
                <a:gd name="connsiteX588" fmla="*/ 213741 w 1073848"/>
                <a:gd name="connsiteY588" fmla="*/ 719328 h 1057751"/>
                <a:gd name="connsiteX589" fmla="*/ 213169 w 1073848"/>
                <a:gd name="connsiteY589" fmla="*/ 714566 h 1057751"/>
                <a:gd name="connsiteX590" fmla="*/ 218027 w 1073848"/>
                <a:gd name="connsiteY590" fmla="*/ 715613 h 1057751"/>
                <a:gd name="connsiteX591" fmla="*/ 224409 w 1073848"/>
                <a:gd name="connsiteY591" fmla="*/ 727615 h 1057751"/>
                <a:gd name="connsiteX592" fmla="*/ 225552 w 1073848"/>
                <a:gd name="connsiteY592" fmla="*/ 724186 h 1057751"/>
                <a:gd name="connsiteX593" fmla="*/ 231934 w 1073848"/>
                <a:gd name="connsiteY593" fmla="*/ 723424 h 1057751"/>
                <a:gd name="connsiteX594" fmla="*/ 240601 w 1073848"/>
                <a:gd name="connsiteY594" fmla="*/ 728758 h 1057751"/>
                <a:gd name="connsiteX595" fmla="*/ 243745 w 1073848"/>
                <a:gd name="connsiteY595" fmla="*/ 728377 h 1057751"/>
                <a:gd name="connsiteX596" fmla="*/ 248888 w 1073848"/>
                <a:gd name="connsiteY596" fmla="*/ 730853 h 1057751"/>
                <a:gd name="connsiteX597" fmla="*/ 250222 w 1073848"/>
                <a:gd name="connsiteY597" fmla="*/ 729139 h 1057751"/>
                <a:gd name="connsiteX598" fmla="*/ 260890 w 1073848"/>
                <a:gd name="connsiteY598" fmla="*/ 737330 h 1057751"/>
                <a:gd name="connsiteX599" fmla="*/ 258223 w 1073848"/>
                <a:gd name="connsiteY599" fmla="*/ 740950 h 1057751"/>
                <a:gd name="connsiteX600" fmla="*/ 259937 w 1073848"/>
                <a:gd name="connsiteY600" fmla="*/ 742283 h 1057751"/>
                <a:gd name="connsiteX601" fmla="*/ 257651 w 1073848"/>
                <a:gd name="connsiteY601" fmla="*/ 749046 h 1057751"/>
                <a:gd name="connsiteX602" fmla="*/ 262128 w 1073848"/>
                <a:gd name="connsiteY602" fmla="*/ 746855 h 1057751"/>
                <a:gd name="connsiteX603" fmla="*/ 261747 w 1073848"/>
                <a:gd name="connsiteY603" fmla="*/ 743712 h 1057751"/>
                <a:gd name="connsiteX604" fmla="*/ 266033 w 1073848"/>
                <a:gd name="connsiteY604" fmla="*/ 739902 h 1057751"/>
                <a:gd name="connsiteX605" fmla="*/ 269462 w 1073848"/>
                <a:gd name="connsiteY605" fmla="*/ 741140 h 1057751"/>
                <a:gd name="connsiteX606" fmla="*/ 271367 w 1073848"/>
                <a:gd name="connsiteY606" fmla="*/ 744093 h 1057751"/>
                <a:gd name="connsiteX607" fmla="*/ 275939 w 1073848"/>
                <a:gd name="connsiteY607" fmla="*/ 741902 h 1057751"/>
                <a:gd name="connsiteX608" fmla="*/ 280035 w 1073848"/>
                <a:gd name="connsiteY608" fmla="*/ 736568 h 1057751"/>
                <a:gd name="connsiteX609" fmla="*/ 286417 w 1073848"/>
                <a:gd name="connsiteY609" fmla="*/ 735711 h 1057751"/>
                <a:gd name="connsiteX610" fmla="*/ 295084 w 1073848"/>
                <a:gd name="connsiteY610" fmla="*/ 741045 h 1057751"/>
                <a:gd name="connsiteX611" fmla="*/ 301180 w 1073848"/>
                <a:gd name="connsiteY611" fmla="*/ 738664 h 1057751"/>
                <a:gd name="connsiteX612" fmla="*/ 300609 w 1073848"/>
                <a:gd name="connsiteY612" fmla="*/ 733901 h 1057751"/>
                <a:gd name="connsiteX613" fmla="*/ 305276 w 1073848"/>
                <a:gd name="connsiteY613" fmla="*/ 733330 h 1057751"/>
                <a:gd name="connsiteX614" fmla="*/ 307276 w 1073848"/>
                <a:gd name="connsiteY614" fmla="*/ 736283 h 1057751"/>
                <a:gd name="connsiteX615" fmla="*/ 310420 w 1073848"/>
                <a:gd name="connsiteY615" fmla="*/ 735901 h 1057751"/>
                <a:gd name="connsiteX616" fmla="*/ 313372 w 1073848"/>
                <a:gd name="connsiteY616" fmla="*/ 733901 h 1057751"/>
                <a:gd name="connsiteX617" fmla="*/ 320135 w 1073848"/>
                <a:gd name="connsiteY617" fmla="*/ 736283 h 1057751"/>
                <a:gd name="connsiteX618" fmla="*/ 323659 w 1073848"/>
                <a:gd name="connsiteY618" fmla="*/ 739045 h 1057751"/>
                <a:gd name="connsiteX619" fmla="*/ 323088 w 1073848"/>
                <a:gd name="connsiteY619" fmla="*/ 747046 h 1057751"/>
                <a:gd name="connsiteX620" fmla="*/ 324326 w 1073848"/>
                <a:gd name="connsiteY620" fmla="*/ 756571 h 1057751"/>
                <a:gd name="connsiteX621" fmla="*/ 326517 w 1073848"/>
                <a:gd name="connsiteY621" fmla="*/ 761047 h 1057751"/>
                <a:gd name="connsiteX622" fmla="*/ 325088 w 1073848"/>
                <a:gd name="connsiteY622" fmla="*/ 762857 h 1057751"/>
                <a:gd name="connsiteX623" fmla="*/ 328517 w 1073848"/>
                <a:gd name="connsiteY623" fmla="*/ 764000 h 1057751"/>
                <a:gd name="connsiteX624" fmla="*/ 324517 w 1073848"/>
                <a:gd name="connsiteY624" fmla="*/ 770954 h 1057751"/>
                <a:gd name="connsiteX625" fmla="*/ 324993 w 1073848"/>
                <a:gd name="connsiteY625" fmla="*/ 774097 h 1057751"/>
                <a:gd name="connsiteX626" fmla="*/ 320992 w 1073848"/>
                <a:gd name="connsiteY626" fmla="*/ 781050 h 1057751"/>
                <a:gd name="connsiteX627" fmla="*/ 321850 w 1073848"/>
                <a:gd name="connsiteY627" fmla="*/ 787337 h 1057751"/>
                <a:gd name="connsiteX628" fmla="*/ 321850 w 1073848"/>
                <a:gd name="connsiteY628" fmla="*/ 787337 h 1057751"/>
                <a:gd name="connsiteX629" fmla="*/ 317849 w 1073848"/>
                <a:gd name="connsiteY629" fmla="*/ 794290 h 1057751"/>
                <a:gd name="connsiteX630" fmla="*/ 321088 w 1073848"/>
                <a:gd name="connsiteY630" fmla="*/ 793813 h 1057751"/>
                <a:gd name="connsiteX631" fmla="*/ 324421 w 1073848"/>
                <a:gd name="connsiteY631" fmla="*/ 795052 h 1057751"/>
                <a:gd name="connsiteX632" fmla="*/ 324993 w 1073848"/>
                <a:gd name="connsiteY632" fmla="*/ 799814 h 1057751"/>
                <a:gd name="connsiteX633" fmla="*/ 327565 w 1073848"/>
                <a:gd name="connsiteY633" fmla="*/ 807434 h 1057751"/>
                <a:gd name="connsiteX634" fmla="*/ 329565 w 1073848"/>
                <a:gd name="connsiteY634" fmla="*/ 810387 h 1057751"/>
                <a:gd name="connsiteX635" fmla="*/ 332708 w 1073848"/>
                <a:gd name="connsiteY635" fmla="*/ 810006 h 1057751"/>
                <a:gd name="connsiteX636" fmla="*/ 330517 w 1073848"/>
                <a:gd name="connsiteY636" fmla="*/ 805434 h 1057751"/>
                <a:gd name="connsiteX637" fmla="*/ 333946 w 1073848"/>
                <a:gd name="connsiteY637" fmla="*/ 806672 h 1057751"/>
                <a:gd name="connsiteX638" fmla="*/ 335470 w 1073848"/>
                <a:gd name="connsiteY638" fmla="*/ 806482 h 1057751"/>
                <a:gd name="connsiteX639" fmla="*/ 334518 w 1073848"/>
                <a:gd name="connsiteY639" fmla="*/ 811435 h 1057751"/>
                <a:gd name="connsiteX640" fmla="*/ 341471 w 1073848"/>
                <a:gd name="connsiteY640" fmla="*/ 815340 h 1057751"/>
                <a:gd name="connsiteX641" fmla="*/ 342614 w 1073848"/>
                <a:gd name="connsiteY641" fmla="*/ 812006 h 1057751"/>
                <a:gd name="connsiteX642" fmla="*/ 346329 w 1073848"/>
                <a:gd name="connsiteY642" fmla="*/ 816293 h 1057751"/>
                <a:gd name="connsiteX643" fmla="*/ 348710 w 1073848"/>
                <a:gd name="connsiteY643" fmla="*/ 822388 h 1057751"/>
                <a:gd name="connsiteX644" fmla="*/ 347758 w 1073848"/>
                <a:gd name="connsiteY644" fmla="*/ 827342 h 1057751"/>
                <a:gd name="connsiteX645" fmla="*/ 354711 w 1073848"/>
                <a:gd name="connsiteY645" fmla="*/ 831247 h 1057751"/>
                <a:gd name="connsiteX646" fmla="*/ 357854 w 1073848"/>
                <a:gd name="connsiteY646" fmla="*/ 830866 h 1057751"/>
                <a:gd name="connsiteX647" fmla="*/ 359378 w 1073848"/>
                <a:gd name="connsiteY647" fmla="*/ 830675 h 1057751"/>
                <a:gd name="connsiteX648" fmla="*/ 366331 w 1073848"/>
                <a:gd name="connsiteY648" fmla="*/ 834580 h 1057751"/>
                <a:gd name="connsiteX649" fmla="*/ 370046 w 1073848"/>
                <a:gd name="connsiteY649" fmla="*/ 838962 h 1057751"/>
                <a:gd name="connsiteX650" fmla="*/ 378619 w 1073848"/>
                <a:gd name="connsiteY650" fmla="*/ 842677 h 1057751"/>
                <a:gd name="connsiteX651" fmla="*/ 377857 w 1073848"/>
                <a:gd name="connsiteY651" fmla="*/ 849154 h 1057751"/>
                <a:gd name="connsiteX652" fmla="*/ 379571 w 1073848"/>
                <a:gd name="connsiteY652" fmla="*/ 850583 h 1057751"/>
                <a:gd name="connsiteX653" fmla="*/ 382143 w 1073848"/>
                <a:gd name="connsiteY653" fmla="*/ 845439 h 1057751"/>
                <a:gd name="connsiteX654" fmla="*/ 384334 w 1073848"/>
                <a:gd name="connsiteY654" fmla="*/ 837152 h 1057751"/>
                <a:gd name="connsiteX655" fmla="*/ 385858 w 1073848"/>
                <a:gd name="connsiteY655" fmla="*/ 836962 h 1057751"/>
                <a:gd name="connsiteX656" fmla="*/ 387286 w 1073848"/>
                <a:gd name="connsiteY656" fmla="*/ 835152 h 1057751"/>
                <a:gd name="connsiteX657" fmla="*/ 390239 w 1073848"/>
                <a:gd name="connsiteY657" fmla="*/ 833152 h 1057751"/>
                <a:gd name="connsiteX658" fmla="*/ 393382 w 1073848"/>
                <a:gd name="connsiteY658" fmla="*/ 832771 h 1057751"/>
                <a:gd name="connsiteX659" fmla="*/ 396907 w 1073848"/>
                <a:gd name="connsiteY659" fmla="*/ 835533 h 1057751"/>
                <a:gd name="connsiteX660" fmla="*/ 404622 w 1073848"/>
                <a:gd name="connsiteY660" fmla="*/ 845725 h 1057751"/>
                <a:gd name="connsiteX661" fmla="*/ 406241 w 1073848"/>
                <a:gd name="connsiteY661" fmla="*/ 845534 h 1057751"/>
                <a:gd name="connsiteX662" fmla="*/ 408241 w 1073848"/>
                <a:gd name="connsiteY662" fmla="*/ 848487 h 1057751"/>
                <a:gd name="connsiteX663" fmla="*/ 409575 w 1073848"/>
                <a:gd name="connsiteY663" fmla="*/ 846772 h 1057751"/>
                <a:gd name="connsiteX664" fmla="*/ 412909 w 1073848"/>
                <a:gd name="connsiteY664" fmla="*/ 847916 h 1057751"/>
                <a:gd name="connsiteX665" fmla="*/ 412528 w 1073848"/>
                <a:gd name="connsiteY665" fmla="*/ 844772 h 1057751"/>
                <a:gd name="connsiteX666" fmla="*/ 423958 w 1073848"/>
                <a:gd name="connsiteY666" fmla="*/ 846487 h 1057751"/>
                <a:gd name="connsiteX667" fmla="*/ 430530 w 1073848"/>
                <a:gd name="connsiteY667" fmla="*/ 847249 h 1057751"/>
                <a:gd name="connsiteX668" fmla="*/ 435388 w 1073848"/>
                <a:gd name="connsiteY668" fmla="*/ 848201 h 1057751"/>
                <a:gd name="connsiteX669" fmla="*/ 442150 w 1073848"/>
                <a:gd name="connsiteY669" fmla="*/ 837819 h 1057751"/>
                <a:gd name="connsiteX670" fmla="*/ 443484 w 1073848"/>
                <a:gd name="connsiteY670" fmla="*/ 836009 h 1057751"/>
                <a:gd name="connsiteX671" fmla="*/ 451580 w 1073848"/>
                <a:gd name="connsiteY671" fmla="*/ 836581 h 1057751"/>
                <a:gd name="connsiteX672" fmla="*/ 455295 w 1073848"/>
                <a:gd name="connsiteY672" fmla="*/ 840867 h 1057751"/>
                <a:gd name="connsiteX673" fmla="*/ 455581 w 1073848"/>
                <a:gd name="connsiteY673" fmla="*/ 842486 h 1057751"/>
                <a:gd name="connsiteX674" fmla="*/ 460438 w 1073848"/>
                <a:gd name="connsiteY674" fmla="*/ 843439 h 1057751"/>
                <a:gd name="connsiteX675" fmla="*/ 463201 w 1073848"/>
                <a:gd name="connsiteY675" fmla="*/ 839914 h 1057751"/>
                <a:gd name="connsiteX676" fmla="*/ 459486 w 1073848"/>
                <a:gd name="connsiteY676" fmla="*/ 835533 h 1057751"/>
                <a:gd name="connsiteX677" fmla="*/ 460438 w 1073848"/>
                <a:gd name="connsiteY677" fmla="*/ 830675 h 1057751"/>
                <a:gd name="connsiteX678" fmla="*/ 463772 w 1073848"/>
                <a:gd name="connsiteY678" fmla="*/ 831818 h 1057751"/>
                <a:gd name="connsiteX679" fmla="*/ 466725 w 1073848"/>
                <a:gd name="connsiteY679" fmla="*/ 829818 h 1057751"/>
                <a:gd name="connsiteX680" fmla="*/ 473869 w 1073848"/>
                <a:gd name="connsiteY680" fmla="*/ 835343 h 1057751"/>
                <a:gd name="connsiteX681" fmla="*/ 473107 w 1073848"/>
                <a:gd name="connsiteY681" fmla="*/ 841820 h 1057751"/>
                <a:gd name="connsiteX682" fmla="*/ 475488 w 1073848"/>
                <a:gd name="connsiteY682" fmla="*/ 835152 h 1057751"/>
                <a:gd name="connsiteX683" fmla="*/ 482155 w 1073848"/>
                <a:gd name="connsiteY683" fmla="*/ 837438 h 1057751"/>
                <a:gd name="connsiteX684" fmla="*/ 483394 w 1073848"/>
                <a:gd name="connsiteY684" fmla="*/ 846963 h 1057751"/>
                <a:gd name="connsiteX685" fmla="*/ 485775 w 1073848"/>
                <a:gd name="connsiteY685" fmla="*/ 853059 h 1057751"/>
                <a:gd name="connsiteX686" fmla="*/ 483965 w 1073848"/>
                <a:gd name="connsiteY686" fmla="*/ 851726 h 1057751"/>
                <a:gd name="connsiteX687" fmla="*/ 476059 w 1073848"/>
                <a:gd name="connsiteY687" fmla="*/ 852678 h 1057751"/>
                <a:gd name="connsiteX688" fmla="*/ 474726 w 1073848"/>
                <a:gd name="connsiteY688" fmla="*/ 854488 h 1057751"/>
                <a:gd name="connsiteX689" fmla="*/ 478250 w 1073848"/>
                <a:gd name="connsiteY689" fmla="*/ 857250 h 1057751"/>
                <a:gd name="connsiteX690" fmla="*/ 487585 w 1073848"/>
                <a:gd name="connsiteY690" fmla="*/ 867251 h 1057751"/>
                <a:gd name="connsiteX691" fmla="*/ 488918 w 1073848"/>
                <a:gd name="connsiteY691" fmla="*/ 865442 h 1057751"/>
                <a:gd name="connsiteX692" fmla="*/ 487204 w 1073848"/>
                <a:gd name="connsiteY692" fmla="*/ 864108 h 1057751"/>
                <a:gd name="connsiteX693" fmla="*/ 490156 w 1073848"/>
                <a:gd name="connsiteY693" fmla="*/ 862108 h 1057751"/>
                <a:gd name="connsiteX694" fmla="*/ 498443 w 1073848"/>
                <a:gd name="connsiteY694" fmla="*/ 864299 h 1057751"/>
                <a:gd name="connsiteX695" fmla="*/ 500348 w 1073848"/>
                <a:gd name="connsiteY695" fmla="*/ 867251 h 1057751"/>
                <a:gd name="connsiteX696" fmla="*/ 495681 w 1073848"/>
                <a:gd name="connsiteY696" fmla="*/ 867823 h 1057751"/>
                <a:gd name="connsiteX697" fmla="*/ 492919 w 1073848"/>
                <a:gd name="connsiteY697" fmla="*/ 871347 h 1057751"/>
                <a:gd name="connsiteX698" fmla="*/ 507778 w 1073848"/>
                <a:gd name="connsiteY698" fmla="*/ 887159 h 1057751"/>
                <a:gd name="connsiteX699" fmla="*/ 499872 w 1073848"/>
                <a:gd name="connsiteY699" fmla="*/ 888111 h 1057751"/>
                <a:gd name="connsiteX700" fmla="*/ 503777 w 1073848"/>
                <a:gd name="connsiteY700" fmla="*/ 894017 h 1057751"/>
                <a:gd name="connsiteX701" fmla="*/ 504444 w 1073848"/>
                <a:gd name="connsiteY701" fmla="*/ 898779 h 1057751"/>
                <a:gd name="connsiteX702" fmla="*/ 501682 w 1073848"/>
                <a:gd name="connsiteY702" fmla="*/ 902399 h 1057751"/>
                <a:gd name="connsiteX703" fmla="*/ 495395 w 1073848"/>
                <a:gd name="connsiteY703" fmla="*/ 903161 h 1057751"/>
                <a:gd name="connsiteX704" fmla="*/ 493586 w 1073848"/>
                <a:gd name="connsiteY704" fmla="*/ 901827 h 1057751"/>
                <a:gd name="connsiteX705" fmla="*/ 492157 w 1073848"/>
                <a:gd name="connsiteY705" fmla="*/ 903542 h 1057751"/>
                <a:gd name="connsiteX706" fmla="*/ 490442 w 1073848"/>
                <a:gd name="connsiteY706" fmla="*/ 902208 h 1057751"/>
                <a:gd name="connsiteX707" fmla="*/ 482536 w 1073848"/>
                <a:gd name="connsiteY707" fmla="*/ 903161 h 1057751"/>
                <a:gd name="connsiteX708" fmla="*/ 472249 w 1073848"/>
                <a:gd name="connsiteY708" fmla="*/ 898112 h 1057751"/>
                <a:gd name="connsiteX709" fmla="*/ 471297 w 1073848"/>
                <a:gd name="connsiteY709" fmla="*/ 902970 h 1057751"/>
                <a:gd name="connsiteX710" fmla="*/ 475202 w 1073848"/>
                <a:gd name="connsiteY710" fmla="*/ 908971 h 1057751"/>
                <a:gd name="connsiteX711" fmla="*/ 474631 w 1073848"/>
                <a:gd name="connsiteY711" fmla="*/ 916972 h 1057751"/>
                <a:gd name="connsiteX712" fmla="*/ 471106 w 1073848"/>
                <a:gd name="connsiteY712" fmla="*/ 914305 h 1057751"/>
                <a:gd name="connsiteX713" fmla="*/ 463391 w 1073848"/>
                <a:gd name="connsiteY713" fmla="*/ 916876 h 1057751"/>
                <a:gd name="connsiteX714" fmla="*/ 465201 w 1073848"/>
                <a:gd name="connsiteY714" fmla="*/ 918210 h 1057751"/>
                <a:gd name="connsiteX715" fmla="*/ 467011 w 1073848"/>
                <a:gd name="connsiteY715" fmla="*/ 919639 h 1057751"/>
                <a:gd name="connsiteX716" fmla="*/ 466153 w 1073848"/>
                <a:gd name="connsiteY716" fmla="*/ 926116 h 1057751"/>
                <a:gd name="connsiteX717" fmla="*/ 471297 w 1073848"/>
                <a:gd name="connsiteY717" fmla="*/ 928688 h 1057751"/>
                <a:gd name="connsiteX718" fmla="*/ 469201 w 1073848"/>
                <a:gd name="connsiteY718" fmla="*/ 936974 h 1057751"/>
                <a:gd name="connsiteX719" fmla="*/ 463105 w 1073848"/>
                <a:gd name="connsiteY719" fmla="*/ 939355 h 1057751"/>
                <a:gd name="connsiteX720" fmla="*/ 455200 w 1073848"/>
                <a:gd name="connsiteY720" fmla="*/ 940308 h 1057751"/>
                <a:gd name="connsiteX721" fmla="*/ 454057 w 1073848"/>
                <a:gd name="connsiteY721" fmla="*/ 943737 h 1057751"/>
                <a:gd name="connsiteX722" fmla="*/ 455962 w 1073848"/>
                <a:gd name="connsiteY722" fmla="*/ 946690 h 1057751"/>
                <a:gd name="connsiteX723" fmla="*/ 454628 w 1073848"/>
                <a:gd name="connsiteY723" fmla="*/ 948404 h 1057751"/>
                <a:gd name="connsiteX724" fmla="*/ 457962 w 1073848"/>
                <a:gd name="connsiteY724" fmla="*/ 949643 h 1057751"/>
                <a:gd name="connsiteX725" fmla="*/ 455390 w 1073848"/>
                <a:gd name="connsiteY725" fmla="*/ 954786 h 1057751"/>
                <a:gd name="connsiteX726" fmla="*/ 457200 w 1073848"/>
                <a:gd name="connsiteY726" fmla="*/ 956120 h 1057751"/>
                <a:gd name="connsiteX727" fmla="*/ 454247 w 1073848"/>
                <a:gd name="connsiteY727" fmla="*/ 958120 h 1057751"/>
                <a:gd name="connsiteX728" fmla="*/ 453104 w 1073848"/>
                <a:gd name="connsiteY728" fmla="*/ 961454 h 1057751"/>
                <a:gd name="connsiteX729" fmla="*/ 448151 w 1073848"/>
                <a:gd name="connsiteY729" fmla="*/ 960501 h 1057751"/>
                <a:gd name="connsiteX730" fmla="*/ 449104 w 1073848"/>
                <a:gd name="connsiteY730" fmla="*/ 968407 h 1057751"/>
                <a:gd name="connsiteX731" fmla="*/ 447389 w 1073848"/>
                <a:gd name="connsiteY731" fmla="*/ 966978 h 1057751"/>
                <a:gd name="connsiteX732" fmla="*/ 443960 w 1073848"/>
                <a:gd name="connsiteY732" fmla="*/ 965835 h 1057751"/>
                <a:gd name="connsiteX733" fmla="*/ 442436 w 1073848"/>
                <a:gd name="connsiteY733" fmla="*/ 966026 h 1057751"/>
                <a:gd name="connsiteX734" fmla="*/ 441484 w 1073848"/>
                <a:gd name="connsiteY734" fmla="*/ 970979 h 1057751"/>
                <a:gd name="connsiteX735" fmla="*/ 438912 w 1073848"/>
                <a:gd name="connsiteY735" fmla="*/ 976122 h 1057751"/>
                <a:gd name="connsiteX736" fmla="*/ 434149 w 1073848"/>
                <a:gd name="connsiteY736" fmla="*/ 976693 h 1057751"/>
                <a:gd name="connsiteX737" fmla="*/ 428053 w 1073848"/>
                <a:gd name="connsiteY737" fmla="*/ 979075 h 1057751"/>
                <a:gd name="connsiteX738" fmla="*/ 430435 w 1073848"/>
                <a:gd name="connsiteY738" fmla="*/ 985171 h 1057751"/>
                <a:gd name="connsiteX739" fmla="*/ 426053 w 1073848"/>
                <a:gd name="connsiteY739" fmla="*/ 988981 h 1057751"/>
                <a:gd name="connsiteX740" fmla="*/ 430435 w 1073848"/>
                <a:gd name="connsiteY740" fmla="*/ 998030 h 1057751"/>
                <a:gd name="connsiteX741" fmla="*/ 432054 w 1073848"/>
                <a:gd name="connsiteY741" fmla="*/ 997839 h 1057751"/>
                <a:gd name="connsiteX742" fmla="*/ 433197 w 1073848"/>
                <a:gd name="connsiteY742" fmla="*/ 994505 h 1057751"/>
                <a:gd name="connsiteX743" fmla="*/ 437959 w 1073848"/>
                <a:gd name="connsiteY743" fmla="*/ 993838 h 1057751"/>
                <a:gd name="connsiteX744" fmla="*/ 441865 w 1073848"/>
                <a:gd name="connsiteY744" fmla="*/ 986980 h 1057751"/>
                <a:gd name="connsiteX745" fmla="*/ 448627 w 1073848"/>
                <a:gd name="connsiteY745" fmla="*/ 989267 h 1057751"/>
                <a:gd name="connsiteX746" fmla="*/ 451961 w 1073848"/>
                <a:gd name="connsiteY746" fmla="*/ 990505 h 1057751"/>
                <a:gd name="connsiteX747" fmla="*/ 454342 w 1073848"/>
                <a:gd name="connsiteY747" fmla="*/ 996601 h 1057751"/>
                <a:gd name="connsiteX748" fmla="*/ 452914 w 1073848"/>
                <a:gd name="connsiteY748" fmla="*/ 998411 h 1057751"/>
                <a:gd name="connsiteX749" fmla="*/ 452152 w 1073848"/>
                <a:gd name="connsiteY749" fmla="*/ 1004888 h 1057751"/>
                <a:gd name="connsiteX750" fmla="*/ 451199 w 1073848"/>
                <a:gd name="connsiteY750" fmla="*/ 1009841 h 1057751"/>
                <a:gd name="connsiteX751" fmla="*/ 453199 w 1073848"/>
                <a:gd name="connsiteY751" fmla="*/ 1012793 h 1057751"/>
                <a:gd name="connsiteX752" fmla="*/ 456724 w 1073848"/>
                <a:gd name="connsiteY752" fmla="*/ 1015555 h 1057751"/>
                <a:gd name="connsiteX753" fmla="*/ 467963 w 1073848"/>
                <a:gd name="connsiteY753" fmla="*/ 1015651 h 1057751"/>
                <a:gd name="connsiteX754" fmla="*/ 471106 w 1073848"/>
                <a:gd name="connsiteY754" fmla="*/ 1015270 h 1057751"/>
                <a:gd name="connsiteX755" fmla="*/ 483013 w 1073848"/>
                <a:gd name="connsiteY755" fmla="*/ 1020223 h 1057751"/>
                <a:gd name="connsiteX756" fmla="*/ 493300 w 1073848"/>
                <a:gd name="connsiteY756" fmla="*/ 1025271 h 1057751"/>
                <a:gd name="connsiteX757" fmla="*/ 492061 w 1073848"/>
                <a:gd name="connsiteY757" fmla="*/ 1028700 h 1057751"/>
                <a:gd name="connsiteX758" fmla="*/ 492538 w 1073848"/>
                <a:gd name="connsiteY758" fmla="*/ 1031843 h 1057751"/>
                <a:gd name="connsiteX759" fmla="*/ 489585 w 1073848"/>
                <a:gd name="connsiteY759" fmla="*/ 1033748 h 1057751"/>
                <a:gd name="connsiteX760" fmla="*/ 488347 w 1073848"/>
                <a:gd name="connsiteY760" fmla="*/ 1037177 h 1057751"/>
                <a:gd name="connsiteX761" fmla="*/ 497300 w 1073848"/>
                <a:gd name="connsiteY761" fmla="*/ 1044035 h 1057751"/>
                <a:gd name="connsiteX762" fmla="*/ 503206 w 1073848"/>
                <a:gd name="connsiteY762" fmla="*/ 1040035 h 1057751"/>
                <a:gd name="connsiteX763" fmla="*/ 500063 w 1073848"/>
                <a:gd name="connsiteY763" fmla="*/ 1040511 h 1057751"/>
                <a:gd name="connsiteX764" fmla="*/ 499586 w 1073848"/>
                <a:gd name="connsiteY764" fmla="*/ 1037368 h 1057751"/>
                <a:gd name="connsiteX765" fmla="*/ 496443 w 1073848"/>
                <a:gd name="connsiteY765" fmla="*/ 1037749 h 1057751"/>
                <a:gd name="connsiteX766" fmla="*/ 493109 w 1073848"/>
                <a:gd name="connsiteY766" fmla="*/ 1036511 h 1057751"/>
                <a:gd name="connsiteX767" fmla="*/ 499396 w 1073848"/>
                <a:gd name="connsiteY767" fmla="*/ 1035749 h 1057751"/>
                <a:gd name="connsiteX768" fmla="*/ 511492 w 1073848"/>
                <a:gd name="connsiteY768" fmla="*/ 1042226 h 1057751"/>
                <a:gd name="connsiteX769" fmla="*/ 508921 w 1073848"/>
                <a:gd name="connsiteY769" fmla="*/ 1034510 h 1057751"/>
                <a:gd name="connsiteX770" fmla="*/ 515017 w 1073848"/>
                <a:gd name="connsiteY770" fmla="*/ 1032129 h 1057751"/>
                <a:gd name="connsiteX771" fmla="*/ 518541 w 1073848"/>
                <a:gd name="connsiteY771" fmla="*/ 1034891 h 1057751"/>
                <a:gd name="connsiteX772" fmla="*/ 520732 w 1073848"/>
                <a:gd name="connsiteY772" fmla="*/ 1039463 h 1057751"/>
                <a:gd name="connsiteX773" fmla="*/ 524065 w 1073848"/>
                <a:gd name="connsiteY773" fmla="*/ 1040606 h 1057751"/>
                <a:gd name="connsiteX774" fmla="*/ 521780 w 1073848"/>
                <a:gd name="connsiteY774" fmla="*/ 1047369 h 1057751"/>
                <a:gd name="connsiteX775" fmla="*/ 523684 w 1073848"/>
                <a:gd name="connsiteY775" fmla="*/ 1050322 h 1057751"/>
                <a:gd name="connsiteX776" fmla="*/ 528828 w 1073848"/>
                <a:gd name="connsiteY776" fmla="*/ 1052893 h 1057751"/>
                <a:gd name="connsiteX777" fmla="*/ 531971 w 1073848"/>
                <a:gd name="connsiteY777" fmla="*/ 1052417 h 1057751"/>
                <a:gd name="connsiteX778" fmla="*/ 534924 w 1073848"/>
                <a:gd name="connsiteY778" fmla="*/ 1050417 h 1057751"/>
                <a:gd name="connsiteX779" fmla="*/ 537305 w 1073848"/>
                <a:gd name="connsiteY779" fmla="*/ 1056608 h 1057751"/>
                <a:gd name="connsiteX780" fmla="*/ 540734 w 1073848"/>
                <a:gd name="connsiteY780" fmla="*/ 1057751 h 1057751"/>
                <a:gd name="connsiteX781" fmla="*/ 543211 w 1073848"/>
                <a:gd name="connsiteY781" fmla="*/ 1052608 h 1057751"/>
                <a:gd name="connsiteX782" fmla="*/ 544449 w 1073848"/>
                <a:gd name="connsiteY782" fmla="*/ 1049274 h 1057751"/>
                <a:gd name="connsiteX783" fmla="*/ 542449 w 1073848"/>
                <a:gd name="connsiteY783" fmla="*/ 1046321 h 1057751"/>
                <a:gd name="connsiteX784" fmla="*/ 548735 w 1073848"/>
                <a:gd name="connsiteY784" fmla="*/ 1045464 h 1057751"/>
                <a:gd name="connsiteX785" fmla="*/ 548164 w 1073848"/>
                <a:gd name="connsiteY785" fmla="*/ 1040797 h 1057751"/>
                <a:gd name="connsiteX786" fmla="*/ 552736 w 1073848"/>
                <a:gd name="connsiteY786" fmla="*/ 1038606 h 1057751"/>
                <a:gd name="connsiteX787" fmla="*/ 554069 w 1073848"/>
                <a:gd name="connsiteY787" fmla="*/ 1036796 h 1057751"/>
                <a:gd name="connsiteX788" fmla="*/ 549688 w 1073848"/>
                <a:gd name="connsiteY788" fmla="*/ 1027747 h 1057751"/>
                <a:gd name="connsiteX789" fmla="*/ 554260 w 1073848"/>
                <a:gd name="connsiteY789" fmla="*/ 1025557 h 1057751"/>
                <a:gd name="connsiteX790" fmla="*/ 557403 w 1073848"/>
                <a:gd name="connsiteY790" fmla="*/ 1025176 h 1057751"/>
                <a:gd name="connsiteX791" fmla="*/ 559403 w 1073848"/>
                <a:gd name="connsiteY791" fmla="*/ 1028129 h 1057751"/>
                <a:gd name="connsiteX792" fmla="*/ 564071 w 1073848"/>
                <a:gd name="connsiteY792" fmla="*/ 1027462 h 1057751"/>
                <a:gd name="connsiteX793" fmla="*/ 564547 w 1073848"/>
                <a:gd name="connsiteY793" fmla="*/ 1030700 h 1057751"/>
                <a:gd name="connsiteX794" fmla="*/ 567499 w 1073848"/>
                <a:gd name="connsiteY794" fmla="*/ 1028700 h 1057751"/>
                <a:gd name="connsiteX795" fmla="*/ 573214 w 1073848"/>
                <a:gd name="connsiteY795" fmla="*/ 1023176 h 1057751"/>
                <a:gd name="connsiteX796" fmla="*/ 582644 w 1073848"/>
                <a:gd name="connsiteY796" fmla="*/ 1021937 h 1057751"/>
                <a:gd name="connsiteX797" fmla="*/ 583025 w 1073848"/>
                <a:gd name="connsiteY797" fmla="*/ 1025080 h 1057751"/>
                <a:gd name="connsiteX798" fmla="*/ 590169 w 1073848"/>
                <a:gd name="connsiteY798" fmla="*/ 1030605 h 1057751"/>
                <a:gd name="connsiteX799" fmla="*/ 592550 w 1073848"/>
                <a:gd name="connsiteY799" fmla="*/ 1036701 h 1057751"/>
                <a:gd name="connsiteX800" fmla="*/ 597884 w 1073848"/>
                <a:gd name="connsiteY800" fmla="*/ 1040892 h 1057751"/>
                <a:gd name="connsiteX801" fmla="*/ 600075 w 1073848"/>
                <a:gd name="connsiteY801" fmla="*/ 1045369 h 1057751"/>
                <a:gd name="connsiteX802" fmla="*/ 602837 w 1073848"/>
                <a:gd name="connsiteY802" fmla="*/ 1041845 h 1057751"/>
                <a:gd name="connsiteX803" fmla="*/ 605980 w 1073848"/>
                <a:gd name="connsiteY803" fmla="*/ 1041463 h 1057751"/>
                <a:gd name="connsiteX804" fmla="*/ 605409 w 1073848"/>
                <a:gd name="connsiteY804" fmla="*/ 1036701 h 1057751"/>
                <a:gd name="connsiteX805" fmla="*/ 607886 w 1073848"/>
                <a:gd name="connsiteY805" fmla="*/ 1031558 h 1057751"/>
                <a:gd name="connsiteX806" fmla="*/ 606171 w 1073848"/>
                <a:gd name="connsiteY806" fmla="*/ 1030129 h 1057751"/>
                <a:gd name="connsiteX807" fmla="*/ 605980 w 1073848"/>
                <a:gd name="connsiteY807" fmla="*/ 1028605 h 1057751"/>
                <a:gd name="connsiteX808" fmla="*/ 604171 w 1073848"/>
                <a:gd name="connsiteY808" fmla="*/ 1027176 h 1057751"/>
                <a:gd name="connsiteX809" fmla="*/ 607505 w 1073848"/>
                <a:gd name="connsiteY809" fmla="*/ 1028414 h 1057751"/>
                <a:gd name="connsiteX810" fmla="*/ 611219 w 1073848"/>
                <a:gd name="connsiteY810" fmla="*/ 1019937 h 1057751"/>
                <a:gd name="connsiteX811" fmla="*/ 616553 w 1073848"/>
                <a:gd name="connsiteY811" fmla="*/ 1024033 h 1057751"/>
                <a:gd name="connsiteX812" fmla="*/ 619315 w 1073848"/>
                <a:gd name="connsiteY812" fmla="*/ 1020509 h 1057751"/>
                <a:gd name="connsiteX813" fmla="*/ 619125 w 1073848"/>
                <a:gd name="connsiteY813" fmla="*/ 1018889 h 1057751"/>
                <a:gd name="connsiteX814" fmla="*/ 619506 w 1073848"/>
                <a:gd name="connsiteY814" fmla="*/ 1009174 h 1057751"/>
                <a:gd name="connsiteX815" fmla="*/ 619315 w 1073848"/>
                <a:gd name="connsiteY815" fmla="*/ 1007650 h 1057751"/>
                <a:gd name="connsiteX816" fmla="*/ 622649 w 1073848"/>
                <a:gd name="connsiteY816" fmla="*/ 1008793 h 1057751"/>
                <a:gd name="connsiteX817" fmla="*/ 635508 w 1073848"/>
                <a:gd name="connsiteY817" fmla="*/ 1008793 h 1057751"/>
                <a:gd name="connsiteX818" fmla="*/ 643033 w 1073848"/>
                <a:gd name="connsiteY818" fmla="*/ 1004602 h 1057751"/>
                <a:gd name="connsiteX819" fmla="*/ 645128 w 1073848"/>
                <a:gd name="connsiteY819" fmla="*/ 996315 h 1057751"/>
                <a:gd name="connsiteX820" fmla="*/ 645128 w 1073848"/>
                <a:gd name="connsiteY820" fmla="*/ 996315 h 1057751"/>
                <a:gd name="connsiteX821" fmla="*/ 649891 w 1073848"/>
                <a:gd name="connsiteY821" fmla="*/ 995743 h 1057751"/>
                <a:gd name="connsiteX822" fmla="*/ 651034 w 1073848"/>
                <a:gd name="connsiteY822" fmla="*/ 992410 h 1057751"/>
                <a:gd name="connsiteX823" fmla="*/ 652653 w 1073848"/>
                <a:gd name="connsiteY823" fmla="*/ 992124 h 1057751"/>
                <a:gd name="connsiteX824" fmla="*/ 652463 w 1073848"/>
                <a:gd name="connsiteY824" fmla="*/ 990600 h 1057751"/>
                <a:gd name="connsiteX825" fmla="*/ 645890 w 1073848"/>
                <a:gd name="connsiteY825" fmla="*/ 989838 h 1057751"/>
                <a:gd name="connsiteX826" fmla="*/ 650081 w 1073848"/>
                <a:gd name="connsiteY826" fmla="*/ 984504 h 1057751"/>
                <a:gd name="connsiteX827" fmla="*/ 651605 w 1073848"/>
                <a:gd name="connsiteY827" fmla="*/ 984313 h 1057751"/>
                <a:gd name="connsiteX828" fmla="*/ 658939 w 1073848"/>
                <a:gd name="connsiteY828" fmla="*/ 978503 h 1057751"/>
                <a:gd name="connsiteX829" fmla="*/ 661511 w 1073848"/>
                <a:gd name="connsiteY829" fmla="*/ 973360 h 1057751"/>
                <a:gd name="connsiteX830" fmla="*/ 668369 w 1073848"/>
                <a:gd name="connsiteY830" fmla="*/ 977360 h 1057751"/>
                <a:gd name="connsiteX831" fmla="*/ 673894 w 1073848"/>
                <a:gd name="connsiteY831" fmla="*/ 970217 h 1057751"/>
                <a:gd name="connsiteX832" fmla="*/ 680847 w 1073848"/>
                <a:gd name="connsiteY832" fmla="*/ 974122 h 1057751"/>
                <a:gd name="connsiteX833" fmla="*/ 683323 w 1073848"/>
                <a:gd name="connsiteY833" fmla="*/ 968978 h 1057751"/>
                <a:gd name="connsiteX834" fmla="*/ 691896 w 1073848"/>
                <a:gd name="connsiteY834" fmla="*/ 972788 h 1057751"/>
                <a:gd name="connsiteX835" fmla="*/ 695039 w 1073848"/>
                <a:gd name="connsiteY835" fmla="*/ 972312 h 1057751"/>
                <a:gd name="connsiteX836" fmla="*/ 695801 w 1073848"/>
                <a:gd name="connsiteY836" fmla="*/ 978694 h 1057751"/>
                <a:gd name="connsiteX837" fmla="*/ 701897 w 1073848"/>
                <a:gd name="connsiteY837" fmla="*/ 976313 h 1057751"/>
                <a:gd name="connsiteX838" fmla="*/ 698373 w 1073848"/>
                <a:gd name="connsiteY838" fmla="*/ 973550 h 1057751"/>
                <a:gd name="connsiteX839" fmla="*/ 701135 w 1073848"/>
                <a:gd name="connsiteY839" fmla="*/ 969931 h 1057751"/>
                <a:gd name="connsiteX840" fmla="*/ 704279 w 1073848"/>
                <a:gd name="connsiteY840" fmla="*/ 969550 h 1057751"/>
                <a:gd name="connsiteX841" fmla="*/ 705898 w 1073848"/>
                <a:gd name="connsiteY841" fmla="*/ 969359 h 1057751"/>
                <a:gd name="connsiteX842" fmla="*/ 703707 w 1073848"/>
                <a:gd name="connsiteY842" fmla="*/ 964787 h 1057751"/>
                <a:gd name="connsiteX843" fmla="*/ 705231 w 1073848"/>
                <a:gd name="connsiteY843" fmla="*/ 964597 h 1057751"/>
                <a:gd name="connsiteX844" fmla="*/ 706660 w 1073848"/>
                <a:gd name="connsiteY844" fmla="*/ 962787 h 1057751"/>
                <a:gd name="connsiteX845" fmla="*/ 703231 w 1073848"/>
                <a:gd name="connsiteY845" fmla="*/ 961644 h 1057751"/>
                <a:gd name="connsiteX846" fmla="*/ 707231 w 1073848"/>
                <a:gd name="connsiteY846" fmla="*/ 954786 h 1057751"/>
                <a:gd name="connsiteX847" fmla="*/ 706564 w 1073848"/>
                <a:gd name="connsiteY847" fmla="*/ 950024 h 1057751"/>
                <a:gd name="connsiteX848" fmla="*/ 709327 w 1073848"/>
                <a:gd name="connsiteY848" fmla="*/ 946404 h 1057751"/>
                <a:gd name="connsiteX849" fmla="*/ 706946 w 1073848"/>
                <a:gd name="connsiteY849" fmla="*/ 940308 h 1057751"/>
                <a:gd name="connsiteX850" fmla="*/ 710374 w 1073848"/>
                <a:gd name="connsiteY850" fmla="*/ 941546 h 1057751"/>
                <a:gd name="connsiteX851" fmla="*/ 715042 w 1073848"/>
                <a:gd name="connsiteY851" fmla="*/ 940880 h 1057751"/>
                <a:gd name="connsiteX852" fmla="*/ 725519 w 1073848"/>
                <a:gd name="connsiteY852" fmla="*/ 947642 h 1057751"/>
                <a:gd name="connsiteX853" fmla="*/ 725710 w 1073848"/>
                <a:gd name="connsiteY853" fmla="*/ 949166 h 1057751"/>
                <a:gd name="connsiteX854" fmla="*/ 721042 w 1073848"/>
                <a:gd name="connsiteY854" fmla="*/ 949738 h 1057751"/>
                <a:gd name="connsiteX855" fmla="*/ 719614 w 1073848"/>
                <a:gd name="connsiteY855" fmla="*/ 951547 h 1057751"/>
                <a:gd name="connsiteX856" fmla="*/ 724567 w 1073848"/>
                <a:gd name="connsiteY856" fmla="*/ 952500 h 1057751"/>
                <a:gd name="connsiteX857" fmla="*/ 727520 w 1073848"/>
                <a:gd name="connsiteY857" fmla="*/ 950595 h 1057751"/>
                <a:gd name="connsiteX858" fmla="*/ 729520 w 1073848"/>
                <a:gd name="connsiteY858" fmla="*/ 953548 h 1057751"/>
                <a:gd name="connsiteX859" fmla="*/ 734949 w 1073848"/>
                <a:gd name="connsiteY859" fmla="*/ 946404 h 1057751"/>
                <a:gd name="connsiteX860" fmla="*/ 743903 w 1073848"/>
                <a:gd name="connsiteY860" fmla="*/ 940403 h 1057751"/>
                <a:gd name="connsiteX861" fmla="*/ 740473 w 1073848"/>
                <a:gd name="connsiteY861" fmla="*/ 939260 h 1057751"/>
                <a:gd name="connsiteX862" fmla="*/ 740473 w 1073848"/>
                <a:gd name="connsiteY862" fmla="*/ 926497 h 1057751"/>
                <a:gd name="connsiteX863" fmla="*/ 750951 w 1073848"/>
                <a:gd name="connsiteY863" fmla="*/ 933164 h 1057751"/>
                <a:gd name="connsiteX864" fmla="*/ 754856 w 1073848"/>
                <a:gd name="connsiteY864" fmla="*/ 926211 h 1057751"/>
                <a:gd name="connsiteX865" fmla="*/ 762190 w 1073848"/>
                <a:gd name="connsiteY865" fmla="*/ 920496 h 1057751"/>
                <a:gd name="connsiteX866" fmla="*/ 764191 w 1073848"/>
                <a:gd name="connsiteY866" fmla="*/ 923449 h 1057751"/>
                <a:gd name="connsiteX867" fmla="*/ 764572 w 1073848"/>
                <a:gd name="connsiteY867" fmla="*/ 926592 h 1057751"/>
                <a:gd name="connsiteX868" fmla="*/ 766763 w 1073848"/>
                <a:gd name="connsiteY868" fmla="*/ 931164 h 1057751"/>
                <a:gd name="connsiteX869" fmla="*/ 770096 w 1073848"/>
                <a:gd name="connsiteY869" fmla="*/ 932307 h 1057751"/>
                <a:gd name="connsiteX870" fmla="*/ 768953 w 1073848"/>
                <a:gd name="connsiteY870" fmla="*/ 935641 h 1057751"/>
                <a:gd name="connsiteX871" fmla="*/ 767524 w 1073848"/>
                <a:gd name="connsiteY871" fmla="*/ 937451 h 1057751"/>
                <a:gd name="connsiteX872" fmla="*/ 769525 w 1073848"/>
                <a:gd name="connsiteY872" fmla="*/ 940403 h 1057751"/>
                <a:gd name="connsiteX873" fmla="*/ 767715 w 1073848"/>
                <a:gd name="connsiteY873" fmla="*/ 938975 h 1057751"/>
                <a:gd name="connsiteX874" fmla="*/ 768096 w 1073848"/>
                <a:gd name="connsiteY874" fmla="*/ 942213 h 1057751"/>
                <a:gd name="connsiteX875" fmla="*/ 771334 w 1073848"/>
                <a:gd name="connsiteY875" fmla="*/ 941737 h 1057751"/>
                <a:gd name="connsiteX876" fmla="*/ 773239 w 1073848"/>
                <a:gd name="connsiteY876" fmla="*/ 944689 h 1057751"/>
                <a:gd name="connsiteX877" fmla="*/ 774668 w 1073848"/>
                <a:gd name="connsiteY877" fmla="*/ 942975 h 1057751"/>
                <a:gd name="connsiteX878" fmla="*/ 774287 w 1073848"/>
                <a:gd name="connsiteY878" fmla="*/ 939832 h 1057751"/>
                <a:gd name="connsiteX879" fmla="*/ 774478 w 1073848"/>
                <a:gd name="connsiteY879" fmla="*/ 941356 h 1057751"/>
                <a:gd name="connsiteX880" fmla="*/ 778002 w 1073848"/>
                <a:gd name="connsiteY880" fmla="*/ 944118 h 1057751"/>
                <a:gd name="connsiteX881" fmla="*/ 774859 w 1073848"/>
                <a:gd name="connsiteY881" fmla="*/ 944499 h 1057751"/>
                <a:gd name="connsiteX882" fmla="*/ 776859 w 1073848"/>
                <a:gd name="connsiteY882" fmla="*/ 947452 h 1057751"/>
                <a:gd name="connsiteX883" fmla="*/ 784003 w 1073848"/>
                <a:gd name="connsiteY883" fmla="*/ 952976 h 1057751"/>
                <a:gd name="connsiteX884" fmla="*/ 790480 w 1073848"/>
                <a:gd name="connsiteY884" fmla="*/ 953738 h 1057751"/>
                <a:gd name="connsiteX885" fmla="*/ 798576 w 1073848"/>
                <a:gd name="connsiteY885" fmla="*/ 954310 h 1057751"/>
                <a:gd name="connsiteX886" fmla="*/ 801529 w 1073848"/>
                <a:gd name="connsiteY886" fmla="*/ 952309 h 1057751"/>
                <a:gd name="connsiteX887" fmla="*/ 804672 w 1073848"/>
                <a:gd name="connsiteY887" fmla="*/ 951929 h 1057751"/>
                <a:gd name="connsiteX888" fmla="*/ 808577 w 1073848"/>
                <a:gd name="connsiteY888" fmla="*/ 945071 h 1057751"/>
                <a:gd name="connsiteX889" fmla="*/ 813340 w 1073848"/>
                <a:gd name="connsiteY889" fmla="*/ 944404 h 1057751"/>
                <a:gd name="connsiteX890" fmla="*/ 814102 w 1073848"/>
                <a:gd name="connsiteY890" fmla="*/ 937927 h 1057751"/>
                <a:gd name="connsiteX891" fmla="*/ 812101 w 1073848"/>
                <a:gd name="connsiteY891" fmla="*/ 934974 h 1057751"/>
                <a:gd name="connsiteX892" fmla="*/ 811721 w 1073848"/>
                <a:gd name="connsiteY892" fmla="*/ 931831 h 1057751"/>
                <a:gd name="connsiteX893" fmla="*/ 814864 w 1073848"/>
                <a:gd name="connsiteY893" fmla="*/ 931355 h 1057751"/>
                <a:gd name="connsiteX894" fmla="*/ 816673 w 1073848"/>
                <a:gd name="connsiteY894" fmla="*/ 932783 h 1057751"/>
                <a:gd name="connsiteX895" fmla="*/ 817245 w 1073848"/>
                <a:gd name="connsiteY895" fmla="*/ 937546 h 1057751"/>
                <a:gd name="connsiteX896" fmla="*/ 822007 w 1073848"/>
                <a:gd name="connsiteY896" fmla="*/ 936879 h 1057751"/>
                <a:gd name="connsiteX897" fmla="*/ 822198 w 1073848"/>
                <a:gd name="connsiteY897" fmla="*/ 938498 h 1057751"/>
                <a:gd name="connsiteX898" fmla="*/ 826961 w 1073848"/>
                <a:gd name="connsiteY898" fmla="*/ 937927 h 1057751"/>
                <a:gd name="connsiteX899" fmla="*/ 828484 w 1073848"/>
                <a:gd name="connsiteY899" fmla="*/ 937641 h 1057751"/>
                <a:gd name="connsiteX900" fmla="*/ 835628 w 1073848"/>
                <a:gd name="connsiteY900" fmla="*/ 943166 h 1057751"/>
                <a:gd name="connsiteX901" fmla="*/ 838962 w 1073848"/>
                <a:gd name="connsiteY901" fmla="*/ 944404 h 1057751"/>
                <a:gd name="connsiteX902" fmla="*/ 840200 w 1073848"/>
                <a:gd name="connsiteY902" fmla="*/ 940975 h 1057751"/>
                <a:gd name="connsiteX903" fmla="*/ 845058 w 1073848"/>
                <a:gd name="connsiteY903" fmla="*/ 942022 h 1057751"/>
                <a:gd name="connsiteX904" fmla="*/ 849058 w 1073848"/>
                <a:gd name="connsiteY904" fmla="*/ 947928 h 1057751"/>
                <a:gd name="connsiteX905" fmla="*/ 852583 w 1073848"/>
                <a:gd name="connsiteY905" fmla="*/ 950690 h 1057751"/>
                <a:gd name="connsiteX906" fmla="*/ 852392 w 1073848"/>
                <a:gd name="connsiteY906" fmla="*/ 949071 h 1057751"/>
                <a:gd name="connsiteX907" fmla="*/ 850011 w 1073848"/>
                <a:gd name="connsiteY907" fmla="*/ 942975 h 1057751"/>
                <a:gd name="connsiteX908" fmla="*/ 851440 w 1073848"/>
                <a:gd name="connsiteY908" fmla="*/ 941165 h 1057751"/>
                <a:gd name="connsiteX909" fmla="*/ 856107 w 1073848"/>
                <a:gd name="connsiteY909" fmla="*/ 940594 h 1057751"/>
                <a:gd name="connsiteX910" fmla="*/ 861250 w 1073848"/>
                <a:gd name="connsiteY910" fmla="*/ 943166 h 1057751"/>
                <a:gd name="connsiteX911" fmla="*/ 862489 w 1073848"/>
                <a:gd name="connsiteY911" fmla="*/ 939737 h 1057751"/>
                <a:gd name="connsiteX912" fmla="*/ 863822 w 1073848"/>
                <a:gd name="connsiteY912" fmla="*/ 938022 h 1057751"/>
                <a:gd name="connsiteX913" fmla="*/ 874109 w 1073848"/>
                <a:gd name="connsiteY913" fmla="*/ 943070 h 1057751"/>
                <a:gd name="connsiteX914" fmla="*/ 875443 w 1073848"/>
                <a:gd name="connsiteY914" fmla="*/ 941356 h 1057751"/>
                <a:gd name="connsiteX915" fmla="*/ 878396 w 1073848"/>
                <a:gd name="connsiteY915" fmla="*/ 939355 h 1057751"/>
                <a:gd name="connsiteX916" fmla="*/ 875062 w 1073848"/>
                <a:gd name="connsiteY916" fmla="*/ 938117 h 1057751"/>
                <a:gd name="connsiteX917" fmla="*/ 878014 w 1073848"/>
                <a:gd name="connsiteY917" fmla="*/ 936212 h 1057751"/>
                <a:gd name="connsiteX918" fmla="*/ 878967 w 1073848"/>
                <a:gd name="connsiteY918" fmla="*/ 931259 h 1057751"/>
                <a:gd name="connsiteX919" fmla="*/ 882205 w 1073848"/>
                <a:gd name="connsiteY919" fmla="*/ 930878 h 1057751"/>
                <a:gd name="connsiteX920" fmla="*/ 884396 w 1073848"/>
                <a:gd name="connsiteY920" fmla="*/ 935355 h 1057751"/>
                <a:gd name="connsiteX921" fmla="*/ 893445 w 1073848"/>
                <a:gd name="connsiteY921" fmla="*/ 930974 h 1057751"/>
                <a:gd name="connsiteX922" fmla="*/ 893064 w 1073848"/>
                <a:gd name="connsiteY922" fmla="*/ 927830 h 1057751"/>
                <a:gd name="connsiteX923" fmla="*/ 889635 w 1073848"/>
                <a:gd name="connsiteY923" fmla="*/ 926687 h 1057751"/>
                <a:gd name="connsiteX924" fmla="*/ 889063 w 1073848"/>
                <a:gd name="connsiteY924" fmla="*/ 921925 h 1057751"/>
                <a:gd name="connsiteX925" fmla="*/ 880586 w 1073848"/>
                <a:gd name="connsiteY925" fmla="*/ 918210 h 1057751"/>
                <a:gd name="connsiteX926" fmla="*/ 886015 w 1073848"/>
                <a:gd name="connsiteY926" fmla="*/ 911066 h 1057751"/>
                <a:gd name="connsiteX927" fmla="*/ 884301 w 1073848"/>
                <a:gd name="connsiteY927" fmla="*/ 909733 h 1057751"/>
                <a:gd name="connsiteX928" fmla="*/ 886015 w 1073848"/>
                <a:gd name="connsiteY928" fmla="*/ 911066 h 1057751"/>
                <a:gd name="connsiteX929" fmla="*/ 896493 w 1073848"/>
                <a:gd name="connsiteY929" fmla="*/ 904970 h 1057751"/>
                <a:gd name="connsiteX930" fmla="*/ 901255 w 1073848"/>
                <a:gd name="connsiteY930" fmla="*/ 904399 h 1057751"/>
                <a:gd name="connsiteX931" fmla="*/ 904018 w 1073848"/>
                <a:gd name="connsiteY931" fmla="*/ 900779 h 1057751"/>
                <a:gd name="connsiteX932" fmla="*/ 908780 w 1073848"/>
                <a:gd name="connsiteY932" fmla="*/ 900208 h 1057751"/>
                <a:gd name="connsiteX933" fmla="*/ 915638 w 1073848"/>
                <a:gd name="connsiteY933" fmla="*/ 904113 h 1057751"/>
                <a:gd name="connsiteX934" fmla="*/ 918400 w 1073848"/>
                <a:gd name="connsiteY934" fmla="*/ 900589 h 1057751"/>
                <a:gd name="connsiteX935" fmla="*/ 923544 w 1073848"/>
                <a:gd name="connsiteY935" fmla="*/ 903161 h 1057751"/>
                <a:gd name="connsiteX936" fmla="*/ 931069 w 1073848"/>
                <a:gd name="connsiteY936" fmla="*/ 898970 h 1057751"/>
                <a:gd name="connsiteX937" fmla="*/ 937927 w 1073848"/>
                <a:gd name="connsiteY937" fmla="*/ 902875 h 1057751"/>
                <a:gd name="connsiteX938" fmla="*/ 942118 w 1073848"/>
                <a:gd name="connsiteY938" fmla="*/ 897541 h 1057751"/>
                <a:gd name="connsiteX939" fmla="*/ 941641 w 1073848"/>
                <a:gd name="connsiteY939" fmla="*/ 894397 h 1057751"/>
                <a:gd name="connsiteX940" fmla="*/ 945832 w 1073848"/>
                <a:gd name="connsiteY940" fmla="*/ 889063 h 1057751"/>
                <a:gd name="connsiteX941" fmla="*/ 950500 w 1073848"/>
                <a:gd name="connsiteY941" fmla="*/ 888492 h 1057751"/>
                <a:gd name="connsiteX942" fmla="*/ 950119 w 1073848"/>
                <a:gd name="connsiteY942" fmla="*/ 885349 h 1057751"/>
                <a:gd name="connsiteX943" fmla="*/ 944213 w 1073848"/>
                <a:gd name="connsiteY943" fmla="*/ 876395 h 1057751"/>
                <a:gd name="connsiteX944" fmla="*/ 945166 w 1073848"/>
                <a:gd name="connsiteY944" fmla="*/ 871538 h 1057751"/>
                <a:gd name="connsiteX945" fmla="*/ 949928 w 1073848"/>
                <a:gd name="connsiteY945" fmla="*/ 870871 h 1057751"/>
                <a:gd name="connsiteX946" fmla="*/ 956405 w 1073848"/>
                <a:gd name="connsiteY946" fmla="*/ 871633 h 1057751"/>
                <a:gd name="connsiteX947" fmla="*/ 960977 w 1073848"/>
                <a:gd name="connsiteY947" fmla="*/ 869442 h 1057751"/>
                <a:gd name="connsiteX948" fmla="*/ 964121 w 1073848"/>
                <a:gd name="connsiteY948" fmla="*/ 869061 h 1057751"/>
                <a:gd name="connsiteX949" fmla="*/ 965263 w 1073848"/>
                <a:gd name="connsiteY949" fmla="*/ 865727 h 1057751"/>
                <a:gd name="connsiteX950" fmla="*/ 969836 w 1073848"/>
                <a:gd name="connsiteY950" fmla="*/ 863537 h 1057751"/>
                <a:gd name="connsiteX951" fmla="*/ 970979 w 1073848"/>
                <a:gd name="connsiteY951" fmla="*/ 860203 h 1057751"/>
                <a:gd name="connsiteX952" fmla="*/ 973741 w 1073848"/>
                <a:gd name="connsiteY952" fmla="*/ 856679 h 1057751"/>
                <a:gd name="connsiteX953" fmla="*/ 976313 w 1073848"/>
                <a:gd name="connsiteY953" fmla="*/ 851535 h 1057751"/>
                <a:gd name="connsiteX954" fmla="*/ 978122 w 1073848"/>
                <a:gd name="connsiteY954" fmla="*/ 852868 h 1057751"/>
                <a:gd name="connsiteX955" fmla="*/ 977837 w 1073848"/>
                <a:gd name="connsiteY955" fmla="*/ 851249 h 1057751"/>
                <a:gd name="connsiteX956" fmla="*/ 980599 w 1073848"/>
                <a:gd name="connsiteY956" fmla="*/ 834962 h 1057751"/>
                <a:gd name="connsiteX957" fmla="*/ 977455 w 1073848"/>
                <a:gd name="connsiteY957" fmla="*/ 835343 h 1057751"/>
                <a:gd name="connsiteX958" fmla="*/ 976884 w 1073848"/>
                <a:gd name="connsiteY958" fmla="*/ 830580 h 1057751"/>
                <a:gd name="connsiteX959" fmla="*/ 968788 w 1073848"/>
                <a:gd name="connsiteY959" fmla="*/ 830009 h 1057751"/>
                <a:gd name="connsiteX960" fmla="*/ 972503 w 1073848"/>
                <a:gd name="connsiteY960" fmla="*/ 821531 h 1057751"/>
                <a:gd name="connsiteX961" fmla="*/ 971836 w 1073848"/>
                <a:gd name="connsiteY961" fmla="*/ 816769 h 1057751"/>
                <a:gd name="connsiteX962" fmla="*/ 968502 w 1073848"/>
                <a:gd name="connsiteY962" fmla="*/ 815626 h 1057751"/>
                <a:gd name="connsiteX963" fmla="*/ 969073 w 1073848"/>
                <a:gd name="connsiteY963" fmla="*/ 820388 h 1057751"/>
                <a:gd name="connsiteX964" fmla="*/ 961834 w 1073848"/>
                <a:gd name="connsiteY964" fmla="*/ 826103 h 1057751"/>
                <a:gd name="connsiteX965" fmla="*/ 956881 w 1073848"/>
                <a:gd name="connsiteY965" fmla="*/ 825151 h 1057751"/>
                <a:gd name="connsiteX966" fmla="*/ 955738 w 1073848"/>
                <a:gd name="connsiteY966" fmla="*/ 828484 h 1057751"/>
                <a:gd name="connsiteX967" fmla="*/ 954119 w 1073848"/>
                <a:gd name="connsiteY967" fmla="*/ 828675 h 1057751"/>
                <a:gd name="connsiteX968" fmla="*/ 956691 w 1073848"/>
                <a:gd name="connsiteY968" fmla="*/ 823532 h 1057751"/>
                <a:gd name="connsiteX969" fmla="*/ 957643 w 1073848"/>
                <a:gd name="connsiteY969" fmla="*/ 818579 h 1057751"/>
                <a:gd name="connsiteX970" fmla="*/ 959453 w 1073848"/>
                <a:gd name="connsiteY970" fmla="*/ 820007 h 1057751"/>
                <a:gd name="connsiteX971" fmla="*/ 962215 w 1073848"/>
                <a:gd name="connsiteY971" fmla="*/ 816388 h 1057751"/>
                <a:gd name="connsiteX972" fmla="*/ 956691 w 1073848"/>
                <a:gd name="connsiteY972" fmla="*/ 810673 h 1057751"/>
                <a:gd name="connsiteX973" fmla="*/ 956024 w 1073848"/>
                <a:gd name="connsiteY973" fmla="*/ 806005 h 1057751"/>
                <a:gd name="connsiteX974" fmla="*/ 953929 w 1073848"/>
                <a:gd name="connsiteY974" fmla="*/ 801434 h 1057751"/>
                <a:gd name="connsiteX975" fmla="*/ 949357 w 1073848"/>
                <a:gd name="connsiteY975" fmla="*/ 803624 h 1057751"/>
                <a:gd name="connsiteX976" fmla="*/ 951929 w 1073848"/>
                <a:gd name="connsiteY976" fmla="*/ 798481 h 1057751"/>
                <a:gd name="connsiteX977" fmla="*/ 946975 w 1073848"/>
                <a:gd name="connsiteY977" fmla="*/ 797528 h 1057751"/>
                <a:gd name="connsiteX978" fmla="*/ 949738 w 1073848"/>
                <a:gd name="connsiteY978" fmla="*/ 793909 h 1057751"/>
                <a:gd name="connsiteX979" fmla="*/ 951643 w 1073848"/>
                <a:gd name="connsiteY979" fmla="*/ 784098 h 1057751"/>
                <a:gd name="connsiteX980" fmla="*/ 959548 w 1073848"/>
                <a:gd name="connsiteY980" fmla="*/ 783050 h 1057751"/>
                <a:gd name="connsiteX981" fmla="*/ 969455 w 1073848"/>
                <a:gd name="connsiteY981" fmla="*/ 785051 h 1057751"/>
                <a:gd name="connsiteX982" fmla="*/ 972217 w 1073848"/>
                <a:gd name="connsiteY982" fmla="*/ 781431 h 1057751"/>
                <a:gd name="connsiteX983" fmla="*/ 971740 w 1073848"/>
                <a:gd name="connsiteY983" fmla="*/ 778288 h 1057751"/>
                <a:gd name="connsiteX984" fmla="*/ 978694 w 1073848"/>
                <a:gd name="connsiteY984" fmla="*/ 782193 h 1057751"/>
                <a:gd name="connsiteX985" fmla="*/ 982408 w 1073848"/>
                <a:gd name="connsiteY985" fmla="*/ 773716 h 1057751"/>
                <a:gd name="connsiteX986" fmla="*/ 977455 w 1073848"/>
                <a:gd name="connsiteY986" fmla="*/ 772763 h 1057751"/>
                <a:gd name="connsiteX987" fmla="*/ 976122 w 1073848"/>
                <a:gd name="connsiteY987" fmla="*/ 761714 h 1057751"/>
                <a:gd name="connsiteX988" fmla="*/ 977265 w 1073848"/>
                <a:gd name="connsiteY988" fmla="*/ 758380 h 1057751"/>
                <a:gd name="connsiteX989" fmla="*/ 979075 w 1073848"/>
                <a:gd name="connsiteY989" fmla="*/ 759714 h 1057751"/>
                <a:gd name="connsiteX990" fmla="*/ 980027 w 1073848"/>
                <a:gd name="connsiteY990" fmla="*/ 754761 h 1057751"/>
                <a:gd name="connsiteX991" fmla="*/ 974503 w 1073848"/>
                <a:gd name="connsiteY991" fmla="*/ 749046 h 1057751"/>
                <a:gd name="connsiteX992" fmla="*/ 970693 w 1073848"/>
                <a:gd name="connsiteY992" fmla="*/ 744760 h 1057751"/>
                <a:gd name="connsiteX993" fmla="*/ 966025 w 1073848"/>
                <a:gd name="connsiteY993" fmla="*/ 745331 h 1057751"/>
                <a:gd name="connsiteX994" fmla="*/ 959263 w 1073848"/>
                <a:gd name="connsiteY994" fmla="*/ 743045 h 1057751"/>
                <a:gd name="connsiteX995" fmla="*/ 954500 w 1073848"/>
                <a:gd name="connsiteY995" fmla="*/ 743617 h 1057751"/>
                <a:gd name="connsiteX996" fmla="*/ 950976 w 1073848"/>
                <a:gd name="connsiteY996" fmla="*/ 740855 h 1057751"/>
                <a:gd name="connsiteX997" fmla="*/ 954691 w 1073848"/>
                <a:gd name="connsiteY997" fmla="*/ 732377 h 1057751"/>
                <a:gd name="connsiteX998" fmla="*/ 952309 w 1073848"/>
                <a:gd name="connsiteY998" fmla="*/ 726281 h 1057751"/>
                <a:gd name="connsiteX999" fmla="*/ 954881 w 1073848"/>
                <a:gd name="connsiteY999" fmla="*/ 721138 h 1057751"/>
                <a:gd name="connsiteX1000" fmla="*/ 959548 w 1073848"/>
                <a:gd name="connsiteY1000" fmla="*/ 707708 h 1057751"/>
                <a:gd name="connsiteX1001" fmla="*/ 963739 w 1073848"/>
                <a:gd name="connsiteY1001" fmla="*/ 702374 h 1057751"/>
                <a:gd name="connsiteX1002" fmla="*/ 963073 w 1073848"/>
                <a:gd name="connsiteY1002" fmla="*/ 697611 h 1057751"/>
                <a:gd name="connsiteX1003" fmla="*/ 965835 w 1073848"/>
                <a:gd name="connsiteY1003" fmla="*/ 694087 h 1057751"/>
                <a:gd name="connsiteX1004" fmla="*/ 967454 w 1073848"/>
                <a:gd name="connsiteY1004" fmla="*/ 693896 h 1057751"/>
                <a:gd name="connsiteX1005" fmla="*/ 973741 w 1073848"/>
                <a:gd name="connsiteY1005" fmla="*/ 693039 h 1057751"/>
                <a:gd name="connsiteX1006" fmla="*/ 975741 w 1073848"/>
                <a:gd name="connsiteY1006" fmla="*/ 695992 h 1057751"/>
                <a:gd name="connsiteX1007" fmla="*/ 978884 w 1073848"/>
                <a:gd name="connsiteY1007" fmla="*/ 695611 h 1057751"/>
                <a:gd name="connsiteX1008" fmla="*/ 980218 w 1073848"/>
                <a:gd name="connsiteY1008" fmla="*/ 693801 h 1057751"/>
                <a:gd name="connsiteX1009" fmla="*/ 984790 w 1073848"/>
                <a:gd name="connsiteY1009" fmla="*/ 691610 h 1057751"/>
                <a:gd name="connsiteX1010" fmla="*/ 986123 w 1073848"/>
                <a:gd name="connsiteY1010" fmla="*/ 689896 h 1057751"/>
                <a:gd name="connsiteX1011" fmla="*/ 989362 w 1073848"/>
                <a:gd name="connsiteY1011" fmla="*/ 689420 h 1057751"/>
                <a:gd name="connsiteX1012" fmla="*/ 988314 w 1073848"/>
                <a:gd name="connsiteY1012" fmla="*/ 681609 h 1057751"/>
                <a:gd name="connsiteX1013" fmla="*/ 981361 w 1073848"/>
                <a:gd name="connsiteY1013" fmla="*/ 677609 h 1057751"/>
                <a:gd name="connsiteX1014" fmla="*/ 982408 w 1073848"/>
                <a:gd name="connsiteY1014" fmla="*/ 672751 h 1057751"/>
                <a:gd name="connsiteX1015" fmla="*/ 979075 w 1073848"/>
                <a:gd name="connsiteY1015" fmla="*/ 671513 h 1057751"/>
                <a:gd name="connsiteX1016" fmla="*/ 978789 w 1073848"/>
                <a:gd name="connsiteY1016" fmla="*/ 669988 h 1057751"/>
                <a:gd name="connsiteX1017" fmla="*/ 969359 w 1073848"/>
                <a:gd name="connsiteY1017" fmla="*/ 671132 h 1057751"/>
                <a:gd name="connsiteX1018" fmla="*/ 967168 w 1073848"/>
                <a:gd name="connsiteY1018" fmla="*/ 666655 h 1057751"/>
                <a:gd name="connsiteX1019" fmla="*/ 966121 w 1073848"/>
                <a:gd name="connsiteY1019" fmla="*/ 658749 h 1057751"/>
                <a:gd name="connsiteX1020" fmla="*/ 968312 w 1073848"/>
                <a:gd name="connsiteY1020" fmla="*/ 650462 h 1057751"/>
                <a:gd name="connsiteX1021" fmla="*/ 969740 w 1073848"/>
                <a:gd name="connsiteY1021" fmla="*/ 648653 h 1057751"/>
                <a:gd name="connsiteX1022" fmla="*/ 971455 w 1073848"/>
                <a:gd name="connsiteY1022" fmla="*/ 650081 h 1057751"/>
                <a:gd name="connsiteX1023" fmla="*/ 979170 w 1073848"/>
                <a:gd name="connsiteY1023" fmla="*/ 647509 h 1057751"/>
                <a:gd name="connsiteX1024" fmla="*/ 978789 w 1073848"/>
                <a:gd name="connsiteY1024" fmla="*/ 644271 h 1057751"/>
                <a:gd name="connsiteX1025" fmla="*/ 983742 w 1073848"/>
                <a:gd name="connsiteY1025" fmla="*/ 645319 h 1057751"/>
                <a:gd name="connsiteX1026" fmla="*/ 983456 w 1073848"/>
                <a:gd name="connsiteY1026" fmla="*/ 643700 h 1057751"/>
                <a:gd name="connsiteX1027" fmla="*/ 979932 w 1073848"/>
                <a:gd name="connsiteY1027" fmla="*/ 640937 h 1057751"/>
                <a:gd name="connsiteX1028" fmla="*/ 982694 w 1073848"/>
                <a:gd name="connsiteY1028" fmla="*/ 637413 h 1057751"/>
                <a:gd name="connsiteX1029" fmla="*/ 987457 w 1073848"/>
                <a:gd name="connsiteY1029" fmla="*/ 636746 h 1057751"/>
                <a:gd name="connsiteX1030" fmla="*/ 990219 w 1073848"/>
                <a:gd name="connsiteY1030" fmla="*/ 633222 h 1057751"/>
                <a:gd name="connsiteX1031" fmla="*/ 989552 w 1073848"/>
                <a:gd name="connsiteY1031" fmla="*/ 628459 h 1057751"/>
                <a:gd name="connsiteX1032" fmla="*/ 992505 w 1073848"/>
                <a:gd name="connsiteY1032" fmla="*/ 626555 h 1057751"/>
                <a:gd name="connsiteX1033" fmla="*/ 988600 w 1073848"/>
                <a:gd name="connsiteY1033" fmla="*/ 620554 h 1057751"/>
                <a:gd name="connsiteX1034" fmla="*/ 989933 w 1073848"/>
                <a:gd name="connsiteY1034" fmla="*/ 618839 h 1057751"/>
                <a:gd name="connsiteX1035" fmla="*/ 989743 w 1073848"/>
                <a:gd name="connsiteY1035" fmla="*/ 617220 h 1057751"/>
                <a:gd name="connsiteX1036" fmla="*/ 989171 w 1073848"/>
                <a:gd name="connsiteY1036" fmla="*/ 612553 h 1057751"/>
                <a:gd name="connsiteX1037" fmla="*/ 990695 w 1073848"/>
                <a:gd name="connsiteY1037" fmla="*/ 612267 h 1057751"/>
                <a:gd name="connsiteX1038" fmla="*/ 998601 w 1073848"/>
                <a:gd name="connsiteY1038" fmla="*/ 611314 h 1057751"/>
                <a:gd name="connsiteX1039" fmla="*/ 1002982 w 1073848"/>
                <a:gd name="connsiteY1039" fmla="*/ 607505 h 1057751"/>
                <a:gd name="connsiteX1040" fmla="*/ 1006316 w 1073848"/>
                <a:gd name="connsiteY1040" fmla="*/ 608743 h 1057751"/>
                <a:gd name="connsiteX1041" fmla="*/ 1017937 w 1073848"/>
                <a:gd name="connsiteY1041" fmla="*/ 599218 h 1057751"/>
                <a:gd name="connsiteX1042" fmla="*/ 1020699 w 1073848"/>
                <a:gd name="connsiteY1042" fmla="*/ 595693 h 1057751"/>
                <a:gd name="connsiteX1043" fmla="*/ 1020032 w 1073848"/>
                <a:gd name="connsiteY1043" fmla="*/ 590931 h 1057751"/>
                <a:gd name="connsiteX1044" fmla="*/ 1021461 w 1073848"/>
                <a:gd name="connsiteY1044" fmla="*/ 589121 h 1057751"/>
                <a:gd name="connsiteX1045" fmla="*/ 1027747 w 1073848"/>
                <a:gd name="connsiteY1045" fmla="*/ 588359 h 1057751"/>
                <a:gd name="connsiteX1046" fmla="*/ 1028605 w 1073848"/>
                <a:gd name="connsiteY1046" fmla="*/ 594646 h 1057751"/>
                <a:gd name="connsiteX1047" fmla="*/ 1031938 w 1073848"/>
                <a:gd name="connsiteY1047" fmla="*/ 595789 h 1057751"/>
                <a:gd name="connsiteX1048" fmla="*/ 1031748 w 1073848"/>
                <a:gd name="connsiteY1048" fmla="*/ 594265 h 1057751"/>
                <a:gd name="connsiteX1049" fmla="*/ 1035844 w 1073848"/>
                <a:gd name="connsiteY1049" fmla="*/ 588931 h 1057751"/>
                <a:gd name="connsiteX1050" fmla="*/ 1035653 w 1073848"/>
                <a:gd name="connsiteY1050" fmla="*/ 587312 h 1057751"/>
                <a:gd name="connsiteX1051" fmla="*/ 1040416 w 1073848"/>
                <a:gd name="connsiteY1051" fmla="*/ 586740 h 1057751"/>
                <a:gd name="connsiteX1052" fmla="*/ 1047655 w 1073848"/>
                <a:gd name="connsiteY1052" fmla="*/ 581025 h 1057751"/>
                <a:gd name="connsiteX1053" fmla="*/ 1048893 w 1073848"/>
                <a:gd name="connsiteY1053" fmla="*/ 577691 h 1057751"/>
                <a:gd name="connsiteX1054" fmla="*/ 1055180 w 1073848"/>
                <a:gd name="connsiteY1054" fmla="*/ 576834 h 1057751"/>
                <a:gd name="connsiteX1055" fmla="*/ 1056132 w 1073848"/>
                <a:gd name="connsiteY1055" fmla="*/ 571881 h 1057751"/>
                <a:gd name="connsiteX1056" fmla="*/ 1052798 w 1073848"/>
                <a:gd name="connsiteY1056" fmla="*/ 570738 h 1057751"/>
                <a:gd name="connsiteX1057" fmla="*/ 1056132 w 1073848"/>
                <a:gd name="connsiteY1057" fmla="*/ 571881 h 1057751"/>
                <a:gd name="connsiteX1058" fmla="*/ 1052417 w 1073848"/>
                <a:gd name="connsiteY1058" fmla="*/ 567595 h 1057751"/>
                <a:gd name="connsiteX1059" fmla="*/ 1052227 w 1073848"/>
                <a:gd name="connsiteY1059" fmla="*/ 565976 h 1057751"/>
                <a:gd name="connsiteX1060" fmla="*/ 1046416 w 1073848"/>
                <a:gd name="connsiteY1060" fmla="*/ 558737 h 1057751"/>
                <a:gd name="connsiteX1061" fmla="*/ 1051941 w 1073848"/>
                <a:gd name="connsiteY1061" fmla="*/ 551593 h 1057751"/>
                <a:gd name="connsiteX1062" fmla="*/ 1048798 w 1073848"/>
                <a:gd name="connsiteY1062" fmla="*/ 551974 h 1057751"/>
                <a:gd name="connsiteX1063" fmla="*/ 1045845 w 1073848"/>
                <a:gd name="connsiteY1063" fmla="*/ 541115 h 1057751"/>
                <a:gd name="connsiteX1064" fmla="*/ 1045559 w 1073848"/>
                <a:gd name="connsiteY1064" fmla="*/ 539591 h 1057751"/>
                <a:gd name="connsiteX1065" fmla="*/ 1048988 w 1073848"/>
                <a:gd name="connsiteY1065" fmla="*/ 540734 h 1057751"/>
                <a:gd name="connsiteX1066" fmla="*/ 1048322 w 1073848"/>
                <a:gd name="connsiteY1066" fmla="*/ 535972 h 1057751"/>
                <a:gd name="connsiteX1067" fmla="*/ 1050512 w 1073848"/>
                <a:gd name="connsiteY1067" fmla="*/ 527685 h 1057751"/>
                <a:gd name="connsiteX1068" fmla="*/ 1049750 w 1073848"/>
                <a:gd name="connsiteY1068" fmla="*/ 521399 h 1057751"/>
                <a:gd name="connsiteX1069" fmla="*/ 1050893 w 1073848"/>
                <a:gd name="connsiteY1069" fmla="*/ 518065 h 1057751"/>
                <a:gd name="connsiteX1070" fmla="*/ 1053656 w 1073848"/>
                <a:gd name="connsiteY1070" fmla="*/ 514445 h 1057751"/>
                <a:gd name="connsiteX1071" fmla="*/ 1052798 w 1073848"/>
                <a:gd name="connsiteY1071" fmla="*/ 508159 h 1057751"/>
                <a:gd name="connsiteX1072" fmla="*/ 1046893 w 1073848"/>
                <a:gd name="connsiteY1072" fmla="*/ 512159 h 1057751"/>
                <a:gd name="connsiteX1073" fmla="*/ 1043559 w 1073848"/>
                <a:gd name="connsiteY1073" fmla="*/ 510921 h 1057751"/>
                <a:gd name="connsiteX1074" fmla="*/ 1041368 w 1073848"/>
                <a:gd name="connsiteY1074" fmla="*/ 506444 h 1057751"/>
                <a:gd name="connsiteX1075" fmla="*/ 1045750 w 1073848"/>
                <a:gd name="connsiteY1075" fmla="*/ 502634 h 1057751"/>
                <a:gd name="connsiteX1076" fmla="*/ 1042130 w 1073848"/>
                <a:gd name="connsiteY1076" fmla="*/ 499872 h 1057751"/>
                <a:gd name="connsiteX1077" fmla="*/ 1043368 w 1073848"/>
                <a:gd name="connsiteY1077" fmla="*/ 496538 h 1057751"/>
                <a:gd name="connsiteX1078" fmla="*/ 1046131 w 1073848"/>
                <a:gd name="connsiteY1078" fmla="*/ 493014 h 1057751"/>
                <a:gd name="connsiteX1079" fmla="*/ 1038415 w 1073848"/>
                <a:gd name="connsiteY1079" fmla="*/ 482727 h 1057751"/>
                <a:gd name="connsiteX1080" fmla="*/ 1039178 w 1073848"/>
                <a:gd name="connsiteY1080" fmla="*/ 476250 h 1057751"/>
                <a:gd name="connsiteX1081" fmla="*/ 1041654 w 1073848"/>
                <a:gd name="connsiteY1081" fmla="*/ 471107 h 1057751"/>
                <a:gd name="connsiteX1082" fmla="*/ 1047559 w 1073848"/>
                <a:gd name="connsiteY1082" fmla="*/ 467106 h 1057751"/>
                <a:gd name="connsiteX1083" fmla="*/ 1049941 w 1073848"/>
                <a:gd name="connsiteY1083" fmla="*/ 460438 h 1057751"/>
                <a:gd name="connsiteX1084" fmla="*/ 1044226 w 1073848"/>
                <a:gd name="connsiteY1084" fmla="*/ 453104 h 1057751"/>
                <a:gd name="connsiteX1085" fmla="*/ 1054703 w 1073848"/>
                <a:gd name="connsiteY1085" fmla="*/ 447008 h 1057751"/>
                <a:gd name="connsiteX1086" fmla="*/ 1055465 w 1073848"/>
                <a:gd name="connsiteY1086" fmla="*/ 440436 h 1057751"/>
                <a:gd name="connsiteX1087" fmla="*/ 1048893 w 1073848"/>
                <a:gd name="connsiteY1087" fmla="*/ 439674 h 1057751"/>
                <a:gd name="connsiteX1088" fmla="*/ 1046893 w 1073848"/>
                <a:gd name="connsiteY1088" fmla="*/ 436721 h 1057751"/>
                <a:gd name="connsiteX1089" fmla="*/ 1046512 w 1073848"/>
                <a:gd name="connsiteY1089" fmla="*/ 433578 h 1057751"/>
                <a:gd name="connsiteX1090" fmla="*/ 1050893 w 1073848"/>
                <a:gd name="connsiteY1090" fmla="*/ 429863 h 1057751"/>
                <a:gd name="connsiteX1091" fmla="*/ 1045940 w 1073848"/>
                <a:gd name="connsiteY1091" fmla="*/ 428911 h 1057751"/>
                <a:gd name="connsiteX1092" fmla="*/ 1044797 w 1073848"/>
                <a:gd name="connsiteY1092" fmla="*/ 432245 h 1057751"/>
                <a:gd name="connsiteX1093" fmla="*/ 1042988 w 1073848"/>
                <a:gd name="connsiteY1093" fmla="*/ 430816 h 1057751"/>
                <a:gd name="connsiteX1094" fmla="*/ 1036034 w 1073848"/>
                <a:gd name="connsiteY1094" fmla="*/ 426911 h 1057751"/>
                <a:gd name="connsiteX1095" fmla="*/ 1033843 w 1073848"/>
                <a:gd name="connsiteY1095" fmla="*/ 422338 h 1057751"/>
                <a:gd name="connsiteX1096" fmla="*/ 1035082 w 1073848"/>
                <a:gd name="connsiteY1096" fmla="*/ 419005 h 1057751"/>
                <a:gd name="connsiteX1097" fmla="*/ 1034891 w 1073848"/>
                <a:gd name="connsiteY1097" fmla="*/ 417481 h 1057751"/>
                <a:gd name="connsiteX1098" fmla="*/ 1029557 w 1073848"/>
                <a:gd name="connsiteY1098" fmla="*/ 413290 h 1057751"/>
                <a:gd name="connsiteX1099" fmla="*/ 1030891 w 1073848"/>
                <a:gd name="connsiteY1099" fmla="*/ 411575 h 1057751"/>
                <a:gd name="connsiteX1100" fmla="*/ 1037177 w 1073848"/>
                <a:gd name="connsiteY1100" fmla="*/ 410718 h 1057751"/>
                <a:gd name="connsiteX1101" fmla="*/ 1039178 w 1073848"/>
                <a:gd name="connsiteY1101" fmla="*/ 413671 h 1057751"/>
                <a:gd name="connsiteX1102" fmla="*/ 1043559 w 1073848"/>
                <a:gd name="connsiteY1102" fmla="*/ 422720 h 1057751"/>
                <a:gd name="connsiteX1103" fmla="*/ 1051274 w 1073848"/>
                <a:gd name="connsiteY1103" fmla="*/ 420148 h 1057751"/>
                <a:gd name="connsiteX1104" fmla="*/ 1054037 w 1073848"/>
                <a:gd name="connsiteY1104" fmla="*/ 416624 h 1057751"/>
                <a:gd name="connsiteX1105" fmla="*/ 1053560 w 1073848"/>
                <a:gd name="connsiteY1105" fmla="*/ 413480 h 1057751"/>
                <a:gd name="connsiteX1106" fmla="*/ 1059466 w 1073848"/>
                <a:gd name="connsiteY1106" fmla="*/ 409480 h 1057751"/>
                <a:gd name="connsiteX1107" fmla="*/ 1063276 w 1073848"/>
                <a:gd name="connsiteY1107" fmla="*/ 401003 h 1057751"/>
                <a:gd name="connsiteX1108" fmla="*/ 1067943 w 1073848"/>
                <a:gd name="connsiteY1108" fmla="*/ 400431 h 1057751"/>
                <a:gd name="connsiteX1109" fmla="*/ 1073848 w 1073848"/>
                <a:gd name="connsiteY1109" fmla="*/ 383572 h 1057751"/>
                <a:gd name="connsiteX1110" fmla="*/ 1072801 w 1073848"/>
                <a:gd name="connsiteY1110" fmla="*/ 375761 h 1057751"/>
                <a:gd name="connsiteX1111" fmla="*/ 1072801 w 1073848"/>
                <a:gd name="connsiteY1111" fmla="*/ 375761 h 1057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</a:cxnLst>
              <a:rect l="l" t="t" r="r" b="b"/>
              <a:pathLst>
                <a:path w="1073848" h="1057751">
                  <a:moveTo>
                    <a:pt x="1072801" y="375761"/>
                  </a:moveTo>
                  <a:lnTo>
                    <a:pt x="1068705" y="368237"/>
                  </a:lnTo>
                  <a:lnTo>
                    <a:pt x="1057180" y="366522"/>
                  </a:lnTo>
                  <a:lnTo>
                    <a:pt x="1056989" y="364903"/>
                  </a:lnTo>
                  <a:lnTo>
                    <a:pt x="1052322" y="365474"/>
                  </a:lnTo>
                  <a:lnTo>
                    <a:pt x="1050322" y="362521"/>
                  </a:lnTo>
                  <a:lnTo>
                    <a:pt x="1048512" y="361188"/>
                  </a:lnTo>
                  <a:lnTo>
                    <a:pt x="1046797" y="359759"/>
                  </a:lnTo>
                  <a:lnTo>
                    <a:pt x="1045178" y="360045"/>
                  </a:lnTo>
                  <a:lnTo>
                    <a:pt x="1044607" y="355283"/>
                  </a:lnTo>
                  <a:lnTo>
                    <a:pt x="1041178" y="354139"/>
                  </a:lnTo>
                  <a:lnTo>
                    <a:pt x="1042416" y="350711"/>
                  </a:lnTo>
                  <a:lnTo>
                    <a:pt x="1048703" y="349949"/>
                  </a:lnTo>
                  <a:lnTo>
                    <a:pt x="1049846" y="346615"/>
                  </a:lnTo>
                  <a:lnTo>
                    <a:pt x="1053846" y="339662"/>
                  </a:lnTo>
                  <a:lnTo>
                    <a:pt x="1052989" y="333375"/>
                  </a:lnTo>
                  <a:lnTo>
                    <a:pt x="1054608" y="333184"/>
                  </a:lnTo>
                  <a:lnTo>
                    <a:pt x="1055941" y="331375"/>
                  </a:lnTo>
                  <a:lnTo>
                    <a:pt x="1054798" y="321850"/>
                  </a:lnTo>
                  <a:lnTo>
                    <a:pt x="1052798" y="318897"/>
                  </a:lnTo>
                  <a:lnTo>
                    <a:pt x="1043083" y="305753"/>
                  </a:lnTo>
                  <a:lnTo>
                    <a:pt x="1042511" y="300990"/>
                  </a:lnTo>
                  <a:lnTo>
                    <a:pt x="1036987" y="295275"/>
                  </a:lnTo>
                  <a:lnTo>
                    <a:pt x="1030605" y="296132"/>
                  </a:lnTo>
                  <a:lnTo>
                    <a:pt x="1024890" y="288798"/>
                  </a:lnTo>
                  <a:lnTo>
                    <a:pt x="1022509" y="282702"/>
                  </a:lnTo>
                  <a:lnTo>
                    <a:pt x="1015746" y="280321"/>
                  </a:lnTo>
                  <a:lnTo>
                    <a:pt x="1009459" y="281178"/>
                  </a:lnTo>
                  <a:lnTo>
                    <a:pt x="1000601" y="274225"/>
                  </a:lnTo>
                  <a:lnTo>
                    <a:pt x="997648" y="276225"/>
                  </a:lnTo>
                  <a:lnTo>
                    <a:pt x="990505" y="270700"/>
                  </a:lnTo>
                  <a:lnTo>
                    <a:pt x="987933" y="275844"/>
                  </a:lnTo>
                  <a:lnTo>
                    <a:pt x="984790" y="276320"/>
                  </a:lnTo>
                  <a:lnTo>
                    <a:pt x="979837" y="275272"/>
                  </a:lnTo>
                  <a:lnTo>
                    <a:pt x="977455" y="269176"/>
                  </a:lnTo>
                  <a:lnTo>
                    <a:pt x="973931" y="266414"/>
                  </a:lnTo>
                  <a:lnTo>
                    <a:pt x="967168" y="264128"/>
                  </a:lnTo>
                  <a:lnTo>
                    <a:pt x="969169" y="254222"/>
                  </a:lnTo>
                  <a:lnTo>
                    <a:pt x="964025" y="251650"/>
                  </a:lnTo>
                  <a:lnTo>
                    <a:pt x="958310" y="244412"/>
                  </a:lnTo>
                  <a:lnTo>
                    <a:pt x="948595" y="231172"/>
                  </a:lnTo>
                  <a:lnTo>
                    <a:pt x="944785" y="226886"/>
                  </a:lnTo>
                  <a:lnTo>
                    <a:pt x="936498" y="224695"/>
                  </a:lnTo>
                  <a:lnTo>
                    <a:pt x="929640" y="220789"/>
                  </a:lnTo>
                  <a:lnTo>
                    <a:pt x="928211" y="222504"/>
                  </a:lnTo>
                  <a:lnTo>
                    <a:pt x="926497" y="221171"/>
                  </a:lnTo>
                  <a:lnTo>
                    <a:pt x="921734" y="221742"/>
                  </a:lnTo>
                  <a:lnTo>
                    <a:pt x="921353" y="218599"/>
                  </a:lnTo>
                  <a:lnTo>
                    <a:pt x="916019" y="214503"/>
                  </a:lnTo>
                  <a:lnTo>
                    <a:pt x="913638" y="208407"/>
                  </a:lnTo>
                  <a:lnTo>
                    <a:pt x="910495" y="208788"/>
                  </a:lnTo>
                  <a:lnTo>
                    <a:pt x="909447" y="213741"/>
                  </a:lnTo>
                  <a:lnTo>
                    <a:pt x="906304" y="214122"/>
                  </a:lnTo>
                  <a:lnTo>
                    <a:pt x="899160" y="208597"/>
                  </a:lnTo>
                  <a:lnTo>
                    <a:pt x="895445" y="204311"/>
                  </a:lnTo>
                  <a:lnTo>
                    <a:pt x="889159" y="205073"/>
                  </a:lnTo>
                  <a:lnTo>
                    <a:pt x="884777" y="208883"/>
                  </a:lnTo>
                  <a:lnTo>
                    <a:pt x="881443" y="207645"/>
                  </a:lnTo>
                  <a:lnTo>
                    <a:pt x="882587" y="204311"/>
                  </a:lnTo>
                  <a:lnTo>
                    <a:pt x="878681" y="198406"/>
                  </a:lnTo>
                  <a:lnTo>
                    <a:pt x="874871" y="194024"/>
                  </a:lnTo>
                  <a:lnTo>
                    <a:pt x="866013" y="200025"/>
                  </a:lnTo>
                  <a:lnTo>
                    <a:pt x="856202" y="198025"/>
                  </a:lnTo>
                  <a:lnTo>
                    <a:pt x="856393" y="199644"/>
                  </a:lnTo>
                  <a:lnTo>
                    <a:pt x="852964" y="198501"/>
                  </a:lnTo>
                  <a:lnTo>
                    <a:pt x="848868" y="203835"/>
                  </a:lnTo>
                  <a:lnTo>
                    <a:pt x="843343" y="198120"/>
                  </a:lnTo>
                  <a:lnTo>
                    <a:pt x="839914" y="184118"/>
                  </a:lnTo>
                  <a:lnTo>
                    <a:pt x="834390" y="178403"/>
                  </a:lnTo>
                  <a:lnTo>
                    <a:pt x="834199" y="176784"/>
                  </a:lnTo>
                  <a:lnTo>
                    <a:pt x="830675" y="174022"/>
                  </a:lnTo>
                  <a:lnTo>
                    <a:pt x="826865" y="169736"/>
                  </a:lnTo>
                  <a:lnTo>
                    <a:pt x="825341" y="169926"/>
                  </a:lnTo>
                  <a:lnTo>
                    <a:pt x="820198" y="167354"/>
                  </a:lnTo>
                  <a:lnTo>
                    <a:pt x="817055" y="167735"/>
                  </a:lnTo>
                  <a:lnTo>
                    <a:pt x="813625" y="166592"/>
                  </a:lnTo>
                  <a:lnTo>
                    <a:pt x="811054" y="171736"/>
                  </a:lnTo>
                  <a:lnTo>
                    <a:pt x="809339" y="170307"/>
                  </a:lnTo>
                  <a:lnTo>
                    <a:pt x="802576" y="168021"/>
                  </a:lnTo>
                  <a:lnTo>
                    <a:pt x="800576" y="165068"/>
                  </a:lnTo>
                  <a:lnTo>
                    <a:pt x="795909" y="165640"/>
                  </a:lnTo>
                  <a:lnTo>
                    <a:pt x="790956" y="164687"/>
                  </a:lnTo>
                  <a:lnTo>
                    <a:pt x="781907" y="156210"/>
                  </a:lnTo>
                  <a:lnTo>
                    <a:pt x="781240" y="151447"/>
                  </a:lnTo>
                  <a:lnTo>
                    <a:pt x="782860" y="151257"/>
                  </a:lnTo>
                  <a:lnTo>
                    <a:pt x="780669" y="146780"/>
                  </a:lnTo>
                  <a:lnTo>
                    <a:pt x="782003" y="144971"/>
                  </a:lnTo>
                  <a:lnTo>
                    <a:pt x="783241" y="141637"/>
                  </a:lnTo>
                  <a:lnTo>
                    <a:pt x="780288" y="143542"/>
                  </a:lnTo>
                  <a:lnTo>
                    <a:pt x="778288" y="140589"/>
                  </a:lnTo>
                  <a:lnTo>
                    <a:pt x="773525" y="141256"/>
                  </a:lnTo>
                  <a:lnTo>
                    <a:pt x="772763" y="147733"/>
                  </a:lnTo>
                  <a:lnTo>
                    <a:pt x="757047" y="162592"/>
                  </a:lnTo>
                  <a:lnTo>
                    <a:pt x="755047" y="172403"/>
                  </a:lnTo>
                  <a:lnTo>
                    <a:pt x="757809" y="181737"/>
                  </a:lnTo>
                  <a:lnTo>
                    <a:pt x="756285" y="181928"/>
                  </a:lnTo>
                  <a:lnTo>
                    <a:pt x="754856" y="183737"/>
                  </a:lnTo>
                  <a:lnTo>
                    <a:pt x="743426" y="181928"/>
                  </a:lnTo>
                  <a:lnTo>
                    <a:pt x="748379" y="195739"/>
                  </a:lnTo>
                  <a:lnTo>
                    <a:pt x="740759" y="198311"/>
                  </a:lnTo>
                  <a:lnTo>
                    <a:pt x="740950" y="199930"/>
                  </a:lnTo>
                  <a:lnTo>
                    <a:pt x="736187" y="200501"/>
                  </a:lnTo>
                  <a:lnTo>
                    <a:pt x="731044" y="197929"/>
                  </a:lnTo>
                  <a:lnTo>
                    <a:pt x="726281" y="198596"/>
                  </a:lnTo>
                  <a:lnTo>
                    <a:pt x="723329" y="200501"/>
                  </a:lnTo>
                  <a:lnTo>
                    <a:pt x="720185" y="200978"/>
                  </a:lnTo>
                  <a:lnTo>
                    <a:pt x="710946" y="190881"/>
                  </a:lnTo>
                  <a:lnTo>
                    <a:pt x="709136" y="189547"/>
                  </a:lnTo>
                  <a:lnTo>
                    <a:pt x="708946" y="187928"/>
                  </a:lnTo>
                  <a:lnTo>
                    <a:pt x="703993" y="186976"/>
                  </a:lnTo>
                  <a:lnTo>
                    <a:pt x="693515" y="180308"/>
                  </a:lnTo>
                  <a:lnTo>
                    <a:pt x="685609" y="181261"/>
                  </a:lnTo>
                  <a:lnTo>
                    <a:pt x="674941" y="173069"/>
                  </a:lnTo>
                  <a:lnTo>
                    <a:pt x="676084" y="169640"/>
                  </a:lnTo>
                  <a:lnTo>
                    <a:pt x="670370" y="162401"/>
                  </a:lnTo>
                  <a:lnTo>
                    <a:pt x="676847" y="150304"/>
                  </a:lnTo>
                  <a:lnTo>
                    <a:pt x="681418" y="148114"/>
                  </a:lnTo>
                  <a:lnTo>
                    <a:pt x="681323" y="135350"/>
                  </a:lnTo>
                  <a:lnTo>
                    <a:pt x="677037" y="139065"/>
                  </a:lnTo>
                  <a:lnTo>
                    <a:pt x="671131" y="143066"/>
                  </a:lnTo>
                  <a:lnTo>
                    <a:pt x="668941" y="138493"/>
                  </a:lnTo>
                  <a:lnTo>
                    <a:pt x="657511" y="136779"/>
                  </a:lnTo>
                  <a:lnTo>
                    <a:pt x="651129" y="124778"/>
                  </a:lnTo>
                  <a:lnTo>
                    <a:pt x="647986" y="125158"/>
                  </a:lnTo>
                  <a:lnTo>
                    <a:pt x="647795" y="123539"/>
                  </a:lnTo>
                  <a:lnTo>
                    <a:pt x="642652" y="121063"/>
                  </a:lnTo>
                  <a:lnTo>
                    <a:pt x="640651" y="118015"/>
                  </a:lnTo>
                  <a:lnTo>
                    <a:pt x="636175" y="120205"/>
                  </a:lnTo>
                  <a:lnTo>
                    <a:pt x="632365" y="115919"/>
                  </a:lnTo>
                  <a:lnTo>
                    <a:pt x="629412" y="117920"/>
                  </a:lnTo>
                  <a:lnTo>
                    <a:pt x="629603" y="119443"/>
                  </a:lnTo>
                  <a:lnTo>
                    <a:pt x="627888" y="118110"/>
                  </a:lnTo>
                  <a:lnTo>
                    <a:pt x="623506" y="121825"/>
                  </a:lnTo>
                  <a:lnTo>
                    <a:pt x="620363" y="122301"/>
                  </a:lnTo>
                  <a:lnTo>
                    <a:pt x="618363" y="119253"/>
                  </a:lnTo>
                  <a:lnTo>
                    <a:pt x="618934" y="111252"/>
                  </a:lnTo>
                  <a:lnTo>
                    <a:pt x="617411" y="111442"/>
                  </a:lnTo>
                  <a:lnTo>
                    <a:pt x="620744" y="99727"/>
                  </a:lnTo>
                  <a:lnTo>
                    <a:pt x="623030" y="93059"/>
                  </a:lnTo>
                  <a:lnTo>
                    <a:pt x="618363" y="93631"/>
                  </a:lnTo>
                  <a:lnTo>
                    <a:pt x="618744" y="96774"/>
                  </a:lnTo>
                  <a:lnTo>
                    <a:pt x="613600" y="94202"/>
                  </a:lnTo>
                  <a:lnTo>
                    <a:pt x="608838" y="94869"/>
                  </a:lnTo>
                  <a:lnTo>
                    <a:pt x="603504" y="90678"/>
                  </a:lnTo>
                  <a:lnTo>
                    <a:pt x="594074" y="91916"/>
                  </a:lnTo>
                  <a:lnTo>
                    <a:pt x="594265" y="93536"/>
                  </a:lnTo>
                  <a:lnTo>
                    <a:pt x="585788" y="89821"/>
                  </a:lnTo>
                  <a:lnTo>
                    <a:pt x="587121" y="88011"/>
                  </a:lnTo>
                  <a:lnTo>
                    <a:pt x="584930" y="83439"/>
                  </a:lnTo>
                  <a:lnTo>
                    <a:pt x="583216" y="82105"/>
                  </a:lnTo>
                  <a:lnTo>
                    <a:pt x="580263" y="84106"/>
                  </a:lnTo>
                  <a:lnTo>
                    <a:pt x="579977" y="82487"/>
                  </a:lnTo>
                  <a:lnTo>
                    <a:pt x="578453" y="82677"/>
                  </a:lnTo>
                  <a:lnTo>
                    <a:pt x="576643" y="81343"/>
                  </a:lnTo>
                  <a:lnTo>
                    <a:pt x="578263" y="81153"/>
                  </a:lnTo>
                  <a:lnTo>
                    <a:pt x="579406" y="77724"/>
                  </a:lnTo>
                  <a:lnTo>
                    <a:pt x="577882" y="77914"/>
                  </a:lnTo>
                  <a:lnTo>
                    <a:pt x="576072" y="76581"/>
                  </a:lnTo>
                  <a:lnTo>
                    <a:pt x="574453" y="76771"/>
                  </a:lnTo>
                  <a:lnTo>
                    <a:pt x="573691" y="70485"/>
                  </a:lnTo>
                  <a:lnTo>
                    <a:pt x="570357" y="69247"/>
                  </a:lnTo>
                  <a:lnTo>
                    <a:pt x="571500" y="65913"/>
                  </a:lnTo>
                  <a:lnTo>
                    <a:pt x="567404" y="71247"/>
                  </a:lnTo>
                  <a:lnTo>
                    <a:pt x="562451" y="70295"/>
                  </a:lnTo>
                  <a:lnTo>
                    <a:pt x="561880" y="65532"/>
                  </a:lnTo>
                  <a:lnTo>
                    <a:pt x="557498" y="69342"/>
                  </a:lnTo>
                  <a:lnTo>
                    <a:pt x="553688" y="64961"/>
                  </a:lnTo>
                  <a:lnTo>
                    <a:pt x="553307" y="61817"/>
                  </a:lnTo>
                  <a:lnTo>
                    <a:pt x="556450" y="61436"/>
                  </a:lnTo>
                  <a:lnTo>
                    <a:pt x="554546" y="58483"/>
                  </a:lnTo>
                  <a:lnTo>
                    <a:pt x="546640" y="59531"/>
                  </a:lnTo>
                  <a:lnTo>
                    <a:pt x="546449" y="57912"/>
                  </a:lnTo>
                  <a:lnTo>
                    <a:pt x="543306" y="58293"/>
                  </a:lnTo>
                  <a:lnTo>
                    <a:pt x="541496" y="56959"/>
                  </a:lnTo>
                  <a:lnTo>
                    <a:pt x="537496" y="51054"/>
                  </a:lnTo>
                  <a:lnTo>
                    <a:pt x="534733" y="54578"/>
                  </a:lnTo>
                  <a:lnTo>
                    <a:pt x="534162" y="62675"/>
                  </a:lnTo>
                  <a:lnTo>
                    <a:pt x="527875" y="63437"/>
                  </a:lnTo>
                  <a:lnTo>
                    <a:pt x="526066" y="62103"/>
                  </a:lnTo>
                  <a:lnTo>
                    <a:pt x="524732" y="63913"/>
                  </a:lnTo>
                  <a:lnTo>
                    <a:pt x="520541" y="56388"/>
                  </a:lnTo>
                  <a:lnTo>
                    <a:pt x="521780" y="53054"/>
                  </a:lnTo>
                  <a:lnTo>
                    <a:pt x="515398" y="53816"/>
                  </a:lnTo>
                  <a:lnTo>
                    <a:pt x="515874" y="56959"/>
                  </a:lnTo>
                  <a:lnTo>
                    <a:pt x="511112" y="57626"/>
                  </a:lnTo>
                  <a:lnTo>
                    <a:pt x="511302" y="59150"/>
                  </a:lnTo>
                  <a:lnTo>
                    <a:pt x="508159" y="59531"/>
                  </a:lnTo>
                  <a:lnTo>
                    <a:pt x="507968" y="58007"/>
                  </a:lnTo>
                  <a:lnTo>
                    <a:pt x="501587" y="58769"/>
                  </a:lnTo>
                  <a:lnTo>
                    <a:pt x="498253" y="57626"/>
                  </a:lnTo>
                  <a:lnTo>
                    <a:pt x="495300" y="59626"/>
                  </a:lnTo>
                  <a:lnTo>
                    <a:pt x="493300" y="56674"/>
                  </a:lnTo>
                  <a:lnTo>
                    <a:pt x="490538" y="60198"/>
                  </a:lnTo>
                  <a:lnTo>
                    <a:pt x="490156" y="57055"/>
                  </a:lnTo>
                  <a:lnTo>
                    <a:pt x="489204" y="62008"/>
                  </a:lnTo>
                  <a:lnTo>
                    <a:pt x="487204" y="59055"/>
                  </a:lnTo>
                  <a:lnTo>
                    <a:pt x="489966" y="55436"/>
                  </a:lnTo>
                  <a:lnTo>
                    <a:pt x="487775" y="50959"/>
                  </a:lnTo>
                  <a:lnTo>
                    <a:pt x="489204" y="49149"/>
                  </a:lnTo>
                  <a:lnTo>
                    <a:pt x="486061" y="49530"/>
                  </a:lnTo>
                  <a:lnTo>
                    <a:pt x="484251" y="48196"/>
                  </a:lnTo>
                  <a:lnTo>
                    <a:pt x="481108" y="48578"/>
                  </a:lnTo>
                  <a:lnTo>
                    <a:pt x="477298" y="44291"/>
                  </a:lnTo>
                  <a:lnTo>
                    <a:pt x="477107" y="42672"/>
                  </a:lnTo>
                  <a:lnTo>
                    <a:pt x="478060" y="37719"/>
                  </a:lnTo>
                  <a:lnTo>
                    <a:pt x="471773" y="38576"/>
                  </a:lnTo>
                  <a:lnTo>
                    <a:pt x="469773" y="35624"/>
                  </a:lnTo>
                  <a:lnTo>
                    <a:pt x="469392" y="32480"/>
                  </a:lnTo>
                  <a:lnTo>
                    <a:pt x="464630" y="33052"/>
                  </a:lnTo>
                  <a:lnTo>
                    <a:pt x="455390" y="22955"/>
                  </a:lnTo>
                  <a:lnTo>
                    <a:pt x="448818" y="22193"/>
                  </a:lnTo>
                  <a:lnTo>
                    <a:pt x="445294" y="19431"/>
                  </a:lnTo>
                  <a:lnTo>
                    <a:pt x="441579" y="15145"/>
                  </a:lnTo>
                  <a:lnTo>
                    <a:pt x="437769" y="10763"/>
                  </a:lnTo>
                  <a:lnTo>
                    <a:pt x="432625" y="8287"/>
                  </a:lnTo>
                  <a:lnTo>
                    <a:pt x="421957" y="0"/>
                  </a:lnTo>
                  <a:lnTo>
                    <a:pt x="420624" y="1810"/>
                  </a:lnTo>
                  <a:lnTo>
                    <a:pt x="421386" y="8096"/>
                  </a:lnTo>
                  <a:lnTo>
                    <a:pt x="417290" y="13430"/>
                  </a:lnTo>
                  <a:lnTo>
                    <a:pt x="413480" y="9049"/>
                  </a:lnTo>
                  <a:lnTo>
                    <a:pt x="405860" y="11716"/>
                  </a:lnTo>
                  <a:lnTo>
                    <a:pt x="406051" y="13240"/>
                  </a:lnTo>
                  <a:lnTo>
                    <a:pt x="407765" y="14668"/>
                  </a:lnTo>
                  <a:lnTo>
                    <a:pt x="406241" y="14859"/>
                  </a:lnTo>
                  <a:lnTo>
                    <a:pt x="406813" y="19526"/>
                  </a:lnTo>
                  <a:lnTo>
                    <a:pt x="402336" y="21717"/>
                  </a:lnTo>
                  <a:lnTo>
                    <a:pt x="399097" y="22193"/>
                  </a:lnTo>
                  <a:lnTo>
                    <a:pt x="399574" y="25337"/>
                  </a:lnTo>
                  <a:lnTo>
                    <a:pt x="397955" y="25527"/>
                  </a:lnTo>
                  <a:lnTo>
                    <a:pt x="393954" y="19621"/>
                  </a:lnTo>
                  <a:lnTo>
                    <a:pt x="388906" y="17050"/>
                  </a:lnTo>
                  <a:lnTo>
                    <a:pt x="385953" y="19050"/>
                  </a:lnTo>
                  <a:lnTo>
                    <a:pt x="376047" y="29908"/>
                  </a:lnTo>
                  <a:lnTo>
                    <a:pt x="376428" y="33052"/>
                  </a:lnTo>
                  <a:lnTo>
                    <a:pt x="371570" y="32099"/>
                  </a:lnTo>
                  <a:lnTo>
                    <a:pt x="368998" y="37243"/>
                  </a:lnTo>
                  <a:lnTo>
                    <a:pt x="365093" y="44101"/>
                  </a:lnTo>
                  <a:lnTo>
                    <a:pt x="365665" y="48863"/>
                  </a:lnTo>
                  <a:lnTo>
                    <a:pt x="367665" y="51816"/>
                  </a:lnTo>
                  <a:lnTo>
                    <a:pt x="372332" y="51245"/>
                  </a:lnTo>
                  <a:lnTo>
                    <a:pt x="375475" y="50768"/>
                  </a:lnTo>
                  <a:lnTo>
                    <a:pt x="374523" y="55721"/>
                  </a:lnTo>
                  <a:lnTo>
                    <a:pt x="378142" y="58483"/>
                  </a:lnTo>
                  <a:lnTo>
                    <a:pt x="377095" y="63437"/>
                  </a:lnTo>
                  <a:lnTo>
                    <a:pt x="382238" y="66008"/>
                  </a:lnTo>
                  <a:lnTo>
                    <a:pt x="379285" y="68008"/>
                  </a:lnTo>
                  <a:lnTo>
                    <a:pt x="379762" y="71152"/>
                  </a:lnTo>
                  <a:lnTo>
                    <a:pt x="376999" y="74676"/>
                  </a:lnTo>
                  <a:lnTo>
                    <a:pt x="373761" y="75057"/>
                  </a:lnTo>
                  <a:lnTo>
                    <a:pt x="371094" y="78676"/>
                  </a:lnTo>
                  <a:lnTo>
                    <a:pt x="371284" y="80200"/>
                  </a:lnTo>
                  <a:lnTo>
                    <a:pt x="367665" y="77438"/>
                  </a:lnTo>
                  <a:lnTo>
                    <a:pt x="366141" y="77629"/>
                  </a:lnTo>
                  <a:lnTo>
                    <a:pt x="364331" y="76295"/>
                  </a:lnTo>
                  <a:lnTo>
                    <a:pt x="359759" y="78486"/>
                  </a:lnTo>
                  <a:lnTo>
                    <a:pt x="352711" y="72962"/>
                  </a:lnTo>
                  <a:lnTo>
                    <a:pt x="353282" y="77724"/>
                  </a:lnTo>
                  <a:lnTo>
                    <a:pt x="350139" y="78105"/>
                  </a:lnTo>
                  <a:lnTo>
                    <a:pt x="346615" y="75343"/>
                  </a:lnTo>
                  <a:lnTo>
                    <a:pt x="345757" y="69056"/>
                  </a:lnTo>
                  <a:lnTo>
                    <a:pt x="344424" y="70771"/>
                  </a:lnTo>
                  <a:lnTo>
                    <a:pt x="342614" y="69437"/>
                  </a:lnTo>
                  <a:lnTo>
                    <a:pt x="340233" y="76200"/>
                  </a:lnTo>
                  <a:lnTo>
                    <a:pt x="336137" y="81534"/>
                  </a:lnTo>
                  <a:lnTo>
                    <a:pt x="333756" y="88201"/>
                  </a:lnTo>
                  <a:lnTo>
                    <a:pt x="335566" y="89630"/>
                  </a:lnTo>
                  <a:lnTo>
                    <a:pt x="332803" y="93154"/>
                  </a:lnTo>
                  <a:lnTo>
                    <a:pt x="333565" y="99441"/>
                  </a:lnTo>
                  <a:lnTo>
                    <a:pt x="332041" y="99632"/>
                  </a:lnTo>
                  <a:lnTo>
                    <a:pt x="331470" y="94964"/>
                  </a:lnTo>
                  <a:lnTo>
                    <a:pt x="326517" y="93917"/>
                  </a:lnTo>
                  <a:lnTo>
                    <a:pt x="319564" y="102870"/>
                  </a:lnTo>
                  <a:lnTo>
                    <a:pt x="310896" y="97536"/>
                  </a:lnTo>
                  <a:lnTo>
                    <a:pt x="303466" y="101727"/>
                  </a:lnTo>
                  <a:lnTo>
                    <a:pt x="296323" y="109061"/>
                  </a:lnTo>
                  <a:lnTo>
                    <a:pt x="294513" y="107633"/>
                  </a:lnTo>
                  <a:lnTo>
                    <a:pt x="293180" y="109442"/>
                  </a:lnTo>
                  <a:lnTo>
                    <a:pt x="288226" y="108395"/>
                  </a:lnTo>
                  <a:lnTo>
                    <a:pt x="285083" y="108871"/>
                  </a:lnTo>
                  <a:lnTo>
                    <a:pt x="284702" y="105728"/>
                  </a:lnTo>
                  <a:lnTo>
                    <a:pt x="283750" y="110585"/>
                  </a:lnTo>
                  <a:lnTo>
                    <a:pt x="283559" y="109061"/>
                  </a:lnTo>
                  <a:lnTo>
                    <a:pt x="280321" y="109442"/>
                  </a:lnTo>
                  <a:lnTo>
                    <a:pt x="275653" y="110014"/>
                  </a:lnTo>
                  <a:lnTo>
                    <a:pt x="274891" y="116586"/>
                  </a:lnTo>
                  <a:lnTo>
                    <a:pt x="271272" y="113824"/>
                  </a:lnTo>
                  <a:lnTo>
                    <a:pt x="269938" y="115633"/>
                  </a:lnTo>
                  <a:lnTo>
                    <a:pt x="272129" y="120110"/>
                  </a:lnTo>
                  <a:lnTo>
                    <a:pt x="264414" y="122682"/>
                  </a:lnTo>
                  <a:lnTo>
                    <a:pt x="264223" y="121158"/>
                  </a:lnTo>
                  <a:lnTo>
                    <a:pt x="261461" y="124682"/>
                  </a:lnTo>
                  <a:lnTo>
                    <a:pt x="259461" y="121729"/>
                  </a:lnTo>
                  <a:lnTo>
                    <a:pt x="256508" y="123730"/>
                  </a:lnTo>
                  <a:lnTo>
                    <a:pt x="256318" y="122111"/>
                  </a:lnTo>
                  <a:lnTo>
                    <a:pt x="250031" y="122968"/>
                  </a:lnTo>
                  <a:lnTo>
                    <a:pt x="249841" y="121349"/>
                  </a:lnTo>
                  <a:lnTo>
                    <a:pt x="255270" y="114205"/>
                  </a:lnTo>
                  <a:lnTo>
                    <a:pt x="253365" y="111252"/>
                  </a:lnTo>
                  <a:lnTo>
                    <a:pt x="250126" y="111728"/>
                  </a:lnTo>
                  <a:lnTo>
                    <a:pt x="247459" y="115253"/>
                  </a:lnTo>
                  <a:lnTo>
                    <a:pt x="244030" y="114109"/>
                  </a:lnTo>
                  <a:lnTo>
                    <a:pt x="241459" y="119253"/>
                  </a:lnTo>
                  <a:lnTo>
                    <a:pt x="236791" y="119825"/>
                  </a:lnTo>
                  <a:lnTo>
                    <a:pt x="234982" y="118396"/>
                  </a:lnTo>
                  <a:lnTo>
                    <a:pt x="231076" y="125349"/>
                  </a:lnTo>
                  <a:lnTo>
                    <a:pt x="229457" y="125539"/>
                  </a:lnTo>
                  <a:lnTo>
                    <a:pt x="229934" y="128683"/>
                  </a:lnTo>
                  <a:lnTo>
                    <a:pt x="233267" y="129921"/>
                  </a:lnTo>
                  <a:lnTo>
                    <a:pt x="231838" y="131636"/>
                  </a:lnTo>
                  <a:lnTo>
                    <a:pt x="233839" y="134588"/>
                  </a:lnTo>
                  <a:lnTo>
                    <a:pt x="226314" y="138779"/>
                  </a:lnTo>
                  <a:lnTo>
                    <a:pt x="227552" y="148209"/>
                  </a:lnTo>
                  <a:lnTo>
                    <a:pt x="228409" y="154591"/>
                  </a:lnTo>
                  <a:lnTo>
                    <a:pt x="214598" y="159544"/>
                  </a:lnTo>
                  <a:lnTo>
                    <a:pt x="216503" y="162496"/>
                  </a:lnTo>
                  <a:lnTo>
                    <a:pt x="211264" y="171164"/>
                  </a:lnTo>
                  <a:lnTo>
                    <a:pt x="209645" y="171355"/>
                  </a:lnTo>
                  <a:lnTo>
                    <a:pt x="209264" y="168212"/>
                  </a:lnTo>
                  <a:lnTo>
                    <a:pt x="207931" y="170021"/>
                  </a:lnTo>
                  <a:lnTo>
                    <a:pt x="207931" y="170021"/>
                  </a:lnTo>
                  <a:lnTo>
                    <a:pt x="204692" y="170402"/>
                  </a:lnTo>
                  <a:lnTo>
                    <a:pt x="206502" y="171736"/>
                  </a:lnTo>
                  <a:lnTo>
                    <a:pt x="203359" y="172212"/>
                  </a:lnTo>
                  <a:lnTo>
                    <a:pt x="205359" y="175165"/>
                  </a:lnTo>
                  <a:lnTo>
                    <a:pt x="202597" y="178689"/>
                  </a:lnTo>
                  <a:lnTo>
                    <a:pt x="201644" y="183642"/>
                  </a:lnTo>
                  <a:lnTo>
                    <a:pt x="200406" y="186976"/>
                  </a:lnTo>
                  <a:lnTo>
                    <a:pt x="202597" y="191548"/>
                  </a:lnTo>
                  <a:lnTo>
                    <a:pt x="200692" y="201359"/>
                  </a:lnTo>
                  <a:lnTo>
                    <a:pt x="202882" y="205930"/>
                  </a:lnTo>
                  <a:lnTo>
                    <a:pt x="201835" y="210884"/>
                  </a:lnTo>
                  <a:lnTo>
                    <a:pt x="205454" y="213646"/>
                  </a:lnTo>
                  <a:lnTo>
                    <a:pt x="203835" y="213836"/>
                  </a:lnTo>
                  <a:lnTo>
                    <a:pt x="206407" y="221551"/>
                  </a:lnTo>
                  <a:lnTo>
                    <a:pt x="209550" y="221075"/>
                  </a:lnTo>
                  <a:lnTo>
                    <a:pt x="213550" y="214217"/>
                  </a:lnTo>
                  <a:lnTo>
                    <a:pt x="221456" y="226028"/>
                  </a:lnTo>
                  <a:lnTo>
                    <a:pt x="229171" y="223457"/>
                  </a:lnTo>
                  <a:lnTo>
                    <a:pt x="240411" y="223552"/>
                  </a:lnTo>
                  <a:lnTo>
                    <a:pt x="239363" y="228505"/>
                  </a:lnTo>
                  <a:lnTo>
                    <a:pt x="243745" y="237554"/>
                  </a:lnTo>
                  <a:lnTo>
                    <a:pt x="251460" y="247841"/>
                  </a:lnTo>
                  <a:lnTo>
                    <a:pt x="252127" y="252603"/>
                  </a:lnTo>
                  <a:lnTo>
                    <a:pt x="249174" y="254508"/>
                  </a:lnTo>
                  <a:lnTo>
                    <a:pt x="247936" y="257937"/>
                  </a:lnTo>
                  <a:lnTo>
                    <a:pt x="251746" y="262223"/>
                  </a:lnTo>
                  <a:lnTo>
                    <a:pt x="248031" y="270700"/>
                  </a:lnTo>
                  <a:lnTo>
                    <a:pt x="244411" y="267938"/>
                  </a:lnTo>
                  <a:lnTo>
                    <a:pt x="245078" y="272701"/>
                  </a:lnTo>
                  <a:lnTo>
                    <a:pt x="243268" y="271367"/>
                  </a:lnTo>
                  <a:lnTo>
                    <a:pt x="243459" y="272891"/>
                  </a:lnTo>
                  <a:lnTo>
                    <a:pt x="241840" y="273082"/>
                  </a:lnTo>
                  <a:lnTo>
                    <a:pt x="237553" y="276892"/>
                  </a:lnTo>
                  <a:lnTo>
                    <a:pt x="238125" y="281654"/>
                  </a:lnTo>
                  <a:lnTo>
                    <a:pt x="232029" y="284036"/>
                  </a:lnTo>
                  <a:lnTo>
                    <a:pt x="231838" y="282416"/>
                  </a:lnTo>
                  <a:lnTo>
                    <a:pt x="228695" y="282797"/>
                  </a:lnTo>
                  <a:lnTo>
                    <a:pt x="224123" y="284988"/>
                  </a:lnTo>
                  <a:lnTo>
                    <a:pt x="222123" y="282035"/>
                  </a:lnTo>
                  <a:lnTo>
                    <a:pt x="219456" y="285559"/>
                  </a:lnTo>
                  <a:lnTo>
                    <a:pt x="216979" y="279463"/>
                  </a:lnTo>
                  <a:lnTo>
                    <a:pt x="210121" y="275558"/>
                  </a:lnTo>
                  <a:lnTo>
                    <a:pt x="208978" y="278892"/>
                  </a:lnTo>
                  <a:lnTo>
                    <a:pt x="204025" y="277939"/>
                  </a:lnTo>
                  <a:lnTo>
                    <a:pt x="204978" y="285845"/>
                  </a:lnTo>
                  <a:lnTo>
                    <a:pt x="204978" y="285845"/>
                  </a:lnTo>
                  <a:lnTo>
                    <a:pt x="202025" y="287846"/>
                  </a:lnTo>
                  <a:lnTo>
                    <a:pt x="198501" y="285083"/>
                  </a:lnTo>
                  <a:lnTo>
                    <a:pt x="199644" y="281750"/>
                  </a:lnTo>
                  <a:lnTo>
                    <a:pt x="194977" y="282321"/>
                  </a:lnTo>
                  <a:lnTo>
                    <a:pt x="195358" y="285464"/>
                  </a:lnTo>
                  <a:lnTo>
                    <a:pt x="198882" y="288226"/>
                  </a:lnTo>
                  <a:lnTo>
                    <a:pt x="197929" y="293180"/>
                  </a:lnTo>
                  <a:lnTo>
                    <a:pt x="193167" y="293751"/>
                  </a:lnTo>
                  <a:lnTo>
                    <a:pt x="193548" y="296894"/>
                  </a:lnTo>
                  <a:lnTo>
                    <a:pt x="192214" y="298704"/>
                  </a:lnTo>
                  <a:lnTo>
                    <a:pt x="191071" y="302038"/>
                  </a:lnTo>
                  <a:lnTo>
                    <a:pt x="192976" y="304991"/>
                  </a:lnTo>
                  <a:lnTo>
                    <a:pt x="191643" y="306800"/>
                  </a:lnTo>
                  <a:lnTo>
                    <a:pt x="191834" y="308324"/>
                  </a:lnTo>
                  <a:lnTo>
                    <a:pt x="183737" y="307753"/>
                  </a:lnTo>
                  <a:lnTo>
                    <a:pt x="183166" y="303086"/>
                  </a:lnTo>
                  <a:lnTo>
                    <a:pt x="180784" y="296989"/>
                  </a:lnTo>
                  <a:lnTo>
                    <a:pt x="173831" y="292989"/>
                  </a:lnTo>
                  <a:lnTo>
                    <a:pt x="174212" y="296132"/>
                  </a:lnTo>
                  <a:lnTo>
                    <a:pt x="172498" y="294799"/>
                  </a:lnTo>
                  <a:lnTo>
                    <a:pt x="172688" y="296323"/>
                  </a:lnTo>
                  <a:lnTo>
                    <a:pt x="169545" y="296799"/>
                  </a:lnTo>
                  <a:lnTo>
                    <a:pt x="164782" y="297371"/>
                  </a:lnTo>
                  <a:lnTo>
                    <a:pt x="162973" y="296037"/>
                  </a:lnTo>
                  <a:lnTo>
                    <a:pt x="160972" y="293084"/>
                  </a:lnTo>
                  <a:lnTo>
                    <a:pt x="160782" y="291465"/>
                  </a:lnTo>
                  <a:lnTo>
                    <a:pt x="156115" y="292037"/>
                  </a:lnTo>
                  <a:lnTo>
                    <a:pt x="157067" y="287179"/>
                  </a:lnTo>
                  <a:lnTo>
                    <a:pt x="158591" y="286893"/>
                  </a:lnTo>
                  <a:lnTo>
                    <a:pt x="160020" y="285179"/>
                  </a:lnTo>
                  <a:lnTo>
                    <a:pt x="155257" y="285750"/>
                  </a:lnTo>
                  <a:lnTo>
                    <a:pt x="154114" y="289084"/>
                  </a:lnTo>
                  <a:lnTo>
                    <a:pt x="152305" y="287750"/>
                  </a:lnTo>
                  <a:lnTo>
                    <a:pt x="149161" y="288131"/>
                  </a:lnTo>
                  <a:lnTo>
                    <a:pt x="150209" y="296037"/>
                  </a:lnTo>
                  <a:lnTo>
                    <a:pt x="145066" y="293465"/>
                  </a:lnTo>
                  <a:lnTo>
                    <a:pt x="137350" y="296037"/>
                  </a:lnTo>
                  <a:lnTo>
                    <a:pt x="135731" y="296228"/>
                  </a:lnTo>
                  <a:lnTo>
                    <a:pt x="136207" y="299371"/>
                  </a:lnTo>
                  <a:lnTo>
                    <a:pt x="132969" y="299847"/>
                  </a:lnTo>
                  <a:lnTo>
                    <a:pt x="129445" y="297085"/>
                  </a:lnTo>
                  <a:lnTo>
                    <a:pt x="128302" y="300418"/>
                  </a:lnTo>
                  <a:lnTo>
                    <a:pt x="125158" y="300800"/>
                  </a:lnTo>
                  <a:lnTo>
                    <a:pt x="121729" y="299657"/>
                  </a:lnTo>
                  <a:lnTo>
                    <a:pt x="115824" y="303562"/>
                  </a:lnTo>
                  <a:lnTo>
                    <a:pt x="108585" y="296513"/>
                  </a:lnTo>
                  <a:lnTo>
                    <a:pt x="104013" y="298704"/>
                  </a:lnTo>
                  <a:lnTo>
                    <a:pt x="101822" y="294132"/>
                  </a:lnTo>
                  <a:lnTo>
                    <a:pt x="95726" y="296513"/>
                  </a:lnTo>
                  <a:lnTo>
                    <a:pt x="94488" y="299942"/>
                  </a:lnTo>
                  <a:lnTo>
                    <a:pt x="92773" y="298513"/>
                  </a:lnTo>
                  <a:lnTo>
                    <a:pt x="91345" y="300323"/>
                  </a:lnTo>
                  <a:lnTo>
                    <a:pt x="89154" y="295751"/>
                  </a:lnTo>
                  <a:lnTo>
                    <a:pt x="87630" y="295942"/>
                  </a:lnTo>
                  <a:lnTo>
                    <a:pt x="87820" y="297561"/>
                  </a:lnTo>
                  <a:lnTo>
                    <a:pt x="82677" y="294989"/>
                  </a:lnTo>
                  <a:lnTo>
                    <a:pt x="84106" y="293275"/>
                  </a:lnTo>
                  <a:lnTo>
                    <a:pt x="78772" y="289084"/>
                  </a:lnTo>
                  <a:lnTo>
                    <a:pt x="78486" y="287560"/>
                  </a:lnTo>
                  <a:lnTo>
                    <a:pt x="66103" y="290703"/>
                  </a:lnTo>
                  <a:lnTo>
                    <a:pt x="59817" y="291465"/>
                  </a:lnTo>
                  <a:lnTo>
                    <a:pt x="54673" y="301752"/>
                  </a:lnTo>
                  <a:lnTo>
                    <a:pt x="58198" y="304514"/>
                  </a:lnTo>
                  <a:lnTo>
                    <a:pt x="63151" y="305467"/>
                  </a:lnTo>
                  <a:lnTo>
                    <a:pt x="67151" y="311372"/>
                  </a:lnTo>
                  <a:lnTo>
                    <a:pt x="65722" y="313182"/>
                  </a:lnTo>
                  <a:lnTo>
                    <a:pt x="67913" y="317754"/>
                  </a:lnTo>
                  <a:lnTo>
                    <a:pt x="66580" y="319468"/>
                  </a:lnTo>
                  <a:lnTo>
                    <a:pt x="60484" y="321850"/>
                  </a:lnTo>
                  <a:lnTo>
                    <a:pt x="48958" y="320135"/>
                  </a:lnTo>
                  <a:lnTo>
                    <a:pt x="46482" y="325279"/>
                  </a:lnTo>
                  <a:lnTo>
                    <a:pt x="39338" y="319754"/>
                  </a:lnTo>
                  <a:lnTo>
                    <a:pt x="34576" y="320421"/>
                  </a:lnTo>
                  <a:lnTo>
                    <a:pt x="31813" y="323945"/>
                  </a:lnTo>
                  <a:lnTo>
                    <a:pt x="32671" y="330232"/>
                  </a:lnTo>
                  <a:lnTo>
                    <a:pt x="31242" y="332042"/>
                  </a:lnTo>
                  <a:lnTo>
                    <a:pt x="29908" y="333756"/>
                  </a:lnTo>
                  <a:lnTo>
                    <a:pt x="33433" y="336518"/>
                  </a:lnTo>
                  <a:lnTo>
                    <a:pt x="37624" y="344043"/>
                  </a:lnTo>
                  <a:lnTo>
                    <a:pt x="34480" y="344424"/>
                  </a:lnTo>
                  <a:lnTo>
                    <a:pt x="29718" y="345091"/>
                  </a:lnTo>
                  <a:lnTo>
                    <a:pt x="28384" y="346805"/>
                  </a:lnTo>
                  <a:lnTo>
                    <a:pt x="29146" y="353187"/>
                  </a:lnTo>
                  <a:lnTo>
                    <a:pt x="25241" y="360045"/>
                  </a:lnTo>
                  <a:lnTo>
                    <a:pt x="26956" y="361474"/>
                  </a:lnTo>
                  <a:lnTo>
                    <a:pt x="30956" y="367379"/>
                  </a:lnTo>
                  <a:lnTo>
                    <a:pt x="33718" y="376618"/>
                  </a:lnTo>
                  <a:lnTo>
                    <a:pt x="37338" y="379381"/>
                  </a:lnTo>
                  <a:lnTo>
                    <a:pt x="36100" y="382714"/>
                  </a:lnTo>
                  <a:lnTo>
                    <a:pt x="31813" y="386525"/>
                  </a:lnTo>
                  <a:lnTo>
                    <a:pt x="23527" y="384334"/>
                  </a:lnTo>
                  <a:lnTo>
                    <a:pt x="20383" y="384715"/>
                  </a:lnTo>
                  <a:lnTo>
                    <a:pt x="16764" y="381953"/>
                  </a:lnTo>
                  <a:lnTo>
                    <a:pt x="17145" y="385096"/>
                  </a:lnTo>
                  <a:lnTo>
                    <a:pt x="12097" y="382619"/>
                  </a:lnTo>
                  <a:lnTo>
                    <a:pt x="9715" y="389287"/>
                  </a:lnTo>
                  <a:lnTo>
                    <a:pt x="8763" y="394240"/>
                  </a:lnTo>
                  <a:lnTo>
                    <a:pt x="15430" y="396621"/>
                  </a:lnTo>
                  <a:lnTo>
                    <a:pt x="17240" y="397955"/>
                  </a:lnTo>
                  <a:lnTo>
                    <a:pt x="19240" y="400907"/>
                  </a:lnTo>
                  <a:lnTo>
                    <a:pt x="19621" y="404050"/>
                  </a:lnTo>
                  <a:lnTo>
                    <a:pt x="26956" y="411194"/>
                  </a:lnTo>
                  <a:lnTo>
                    <a:pt x="25336" y="411385"/>
                  </a:lnTo>
                  <a:lnTo>
                    <a:pt x="25717" y="414528"/>
                  </a:lnTo>
                  <a:lnTo>
                    <a:pt x="27527" y="415862"/>
                  </a:lnTo>
                  <a:lnTo>
                    <a:pt x="26956" y="423958"/>
                  </a:lnTo>
                  <a:lnTo>
                    <a:pt x="29146" y="428530"/>
                  </a:lnTo>
                  <a:lnTo>
                    <a:pt x="26194" y="430530"/>
                  </a:lnTo>
                  <a:lnTo>
                    <a:pt x="23813" y="437197"/>
                  </a:lnTo>
                  <a:lnTo>
                    <a:pt x="20860" y="439198"/>
                  </a:lnTo>
                  <a:lnTo>
                    <a:pt x="19336" y="439388"/>
                  </a:lnTo>
                  <a:lnTo>
                    <a:pt x="21431" y="443960"/>
                  </a:lnTo>
                  <a:lnTo>
                    <a:pt x="24860" y="445103"/>
                  </a:lnTo>
                  <a:lnTo>
                    <a:pt x="25241" y="448246"/>
                  </a:lnTo>
                  <a:lnTo>
                    <a:pt x="23146" y="469392"/>
                  </a:lnTo>
                  <a:lnTo>
                    <a:pt x="18383" y="469963"/>
                  </a:lnTo>
                  <a:lnTo>
                    <a:pt x="15811" y="475107"/>
                  </a:lnTo>
                  <a:lnTo>
                    <a:pt x="15621" y="486346"/>
                  </a:lnTo>
                  <a:lnTo>
                    <a:pt x="11716" y="493300"/>
                  </a:lnTo>
                  <a:lnTo>
                    <a:pt x="8572" y="493681"/>
                  </a:lnTo>
                  <a:lnTo>
                    <a:pt x="7429" y="497014"/>
                  </a:lnTo>
                  <a:lnTo>
                    <a:pt x="7810" y="500158"/>
                  </a:lnTo>
                  <a:lnTo>
                    <a:pt x="12287" y="498062"/>
                  </a:lnTo>
                  <a:lnTo>
                    <a:pt x="13716" y="496253"/>
                  </a:lnTo>
                  <a:lnTo>
                    <a:pt x="16859" y="495871"/>
                  </a:lnTo>
                  <a:lnTo>
                    <a:pt x="14478" y="502539"/>
                  </a:lnTo>
                  <a:lnTo>
                    <a:pt x="11525" y="504539"/>
                  </a:lnTo>
                  <a:lnTo>
                    <a:pt x="12192" y="509302"/>
                  </a:lnTo>
                  <a:lnTo>
                    <a:pt x="9239" y="511207"/>
                  </a:lnTo>
                  <a:lnTo>
                    <a:pt x="10192" y="519113"/>
                  </a:lnTo>
                  <a:lnTo>
                    <a:pt x="9049" y="522446"/>
                  </a:lnTo>
                  <a:lnTo>
                    <a:pt x="9430" y="525685"/>
                  </a:lnTo>
                  <a:lnTo>
                    <a:pt x="8477" y="530543"/>
                  </a:lnTo>
                  <a:lnTo>
                    <a:pt x="5524" y="532543"/>
                  </a:lnTo>
                  <a:lnTo>
                    <a:pt x="2191" y="531400"/>
                  </a:lnTo>
                  <a:lnTo>
                    <a:pt x="1143" y="536353"/>
                  </a:lnTo>
                  <a:lnTo>
                    <a:pt x="4572" y="537496"/>
                  </a:lnTo>
                  <a:lnTo>
                    <a:pt x="1619" y="539496"/>
                  </a:lnTo>
                  <a:lnTo>
                    <a:pt x="381" y="542830"/>
                  </a:lnTo>
                  <a:lnTo>
                    <a:pt x="2381" y="545783"/>
                  </a:lnTo>
                  <a:lnTo>
                    <a:pt x="2762" y="548926"/>
                  </a:lnTo>
                  <a:lnTo>
                    <a:pt x="0" y="552545"/>
                  </a:lnTo>
                  <a:lnTo>
                    <a:pt x="2000" y="555498"/>
                  </a:lnTo>
                  <a:lnTo>
                    <a:pt x="3619" y="555308"/>
                  </a:lnTo>
                  <a:lnTo>
                    <a:pt x="12287" y="560546"/>
                  </a:lnTo>
                  <a:lnTo>
                    <a:pt x="20383" y="561118"/>
                  </a:lnTo>
                  <a:lnTo>
                    <a:pt x="24289" y="567023"/>
                  </a:lnTo>
                  <a:lnTo>
                    <a:pt x="25717" y="578072"/>
                  </a:lnTo>
                  <a:lnTo>
                    <a:pt x="30289" y="575882"/>
                  </a:lnTo>
                  <a:lnTo>
                    <a:pt x="29337" y="580834"/>
                  </a:lnTo>
                  <a:lnTo>
                    <a:pt x="25908" y="579692"/>
                  </a:lnTo>
                  <a:lnTo>
                    <a:pt x="22955" y="581692"/>
                  </a:lnTo>
                  <a:lnTo>
                    <a:pt x="19050" y="588550"/>
                  </a:lnTo>
                  <a:lnTo>
                    <a:pt x="17240" y="587216"/>
                  </a:lnTo>
                  <a:lnTo>
                    <a:pt x="17907" y="591979"/>
                  </a:lnTo>
                  <a:lnTo>
                    <a:pt x="13144" y="592550"/>
                  </a:lnTo>
                  <a:lnTo>
                    <a:pt x="13716" y="597313"/>
                  </a:lnTo>
                  <a:lnTo>
                    <a:pt x="10763" y="599218"/>
                  </a:lnTo>
                  <a:lnTo>
                    <a:pt x="11239" y="602361"/>
                  </a:lnTo>
                  <a:lnTo>
                    <a:pt x="13335" y="606933"/>
                  </a:lnTo>
                  <a:lnTo>
                    <a:pt x="20669" y="613982"/>
                  </a:lnTo>
                  <a:lnTo>
                    <a:pt x="27432" y="616363"/>
                  </a:lnTo>
                  <a:lnTo>
                    <a:pt x="27813" y="619506"/>
                  </a:lnTo>
                  <a:lnTo>
                    <a:pt x="24098" y="627983"/>
                  </a:lnTo>
                  <a:lnTo>
                    <a:pt x="30766" y="630364"/>
                  </a:lnTo>
                  <a:lnTo>
                    <a:pt x="39052" y="632555"/>
                  </a:lnTo>
                  <a:lnTo>
                    <a:pt x="39529" y="635699"/>
                  </a:lnTo>
                  <a:lnTo>
                    <a:pt x="42863" y="636842"/>
                  </a:lnTo>
                  <a:lnTo>
                    <a:pt x="41910" y="641795"/>
                  </a:lnTo>
                  <a:lnTo>
                    <a:pt x="45815" y="647700"/>
                  </a:lnTo>
                  <a:lnTo>
                    <a:pt x="47625" y="649129"/>
                  </a:lnTo>
                  <a:lnTo>
                    <a:pt x="50578" y="647129"/>
                  </a:lnTo>
                  <a:lnTo>
                    <a:pt x="57912" y="654177"/>
                  </a:lnTo>
                  <a:lnTo>
                    <a:pt x="61817" y="660083"/>
                  </a:lnTo>
                  <a:lnTo>
                    <a:pt x="62484" y="664845"/>
                  </a:lnTo>
                  <a:lnTo>
                    <a:pt x="64008" y="664655"/>
                  </a:lnTo>
                  <a:lnTo>
                    <a:pt x="64198" y="666179"/>
                  </a:lnTo>
                  <a:lnTo>
                    <a:pt x="72485" y="668369"/>
                  </a:lnTo>
                  <a:lnTo>
                    <a:pt x="80581" y="656082"/>
                  </a:lnTo>
                  <a:lnTo>
                    <a:pt x="85153" y="653891"/>
                  </a:lnTo>
                  <a:lnTo>
                    <a:pt x="89440" y="650176"/>
                  </a:lnTo>
                  <a:lnTo>
                    <a:pt x="92583" y="649796"/>
                  </a:lnTo>
                  <a:lnTo>
                    <a:pt x="94012" y="647986"/>
                  </a:lnTo>
                  <a:lnTo>
                    <a:pt x="99917" y="643985"/>
                  </a:lnTo>
                  <a:lnTo>
                    <a:pt x="101917" y="646938"/>
                  </a:lnTo>
                  <a:lnTo>
                    <a:pt x="103251" y="645224"/>
                  </a:lnTo>
                  <a:lnTo>
                    <a:pt x="102298" y="650176"/>
                  </a:lnTo>
                  <a:lnTo>
                    <a:pt x="107251" y="651129"/>
                  </a:lnTo>
                  <a:lnTo>
                    <a:pt x="111538" y="660178"/>
                  </a:lnTo>
                  <a:lnTo>
                    <a:pt x="113728" y="664750"/>
                  </a:lnTo>
                  <a:lnTo>
                    <a:pt x="122491" y="669988"/>
                  </a:lnTo>
                  <a:lnTo>
                    <a:pt x="121063" y="671798"/>
                  </a:lnTo>
                  <a:lnTo>
                    <a:pt x="126016" y="672751"/>
                  </a:lnTo>
                  <a:lnTo>
                    <a:pt x="127159" y="669417"/>
                  </a:lnTo>
                  <a:lnTo>
                    <a:pt x="128968" y="670751"/>
                  </a:lnTo>
                  <a:lnTo>
                    <a:pt x="137255" y="672941"/>
                  </a:lnTo>
                  <a:lnTo>
                    <a:pt x="152019" y="675894"/>
                  </a:lnTo>
                  <a:lnTo>
                    <a:pt x="151447" y="683990"/>
                  </a:lnTo>
                  <a:lnTo>
                    <a:pt x="147161" y="687705"/>
                  </a:lnTo>
                  <a:lnTo>
                    <a:pt x="151162" y="693611"/>
                  </a:lnTo>
                  <a:lnTo>
                    <a:pt x="150114" y="698563"/>
                  </a:lnTo>
                  <a:lnTo>
                    <a:pt x="137160" y="697039"/>
                  </a:lnTo>
                  <a:lnTo>
                    <a:pt x="133731" y="695801"/>
                  </a:lnTo>
                  <a:lnTo>
                    <a:pt x="132207" y="696087"/>
                  </a:lnTo>
                  <a:lnTo>
                    <a:pt x="136112" y="701993"/>
                  </a:lnTo>
                  <a:lnTo>
                    <a:pt x="142684" y="702755"/>
                  </a:lnTo>
                  <a:lnTo>
                    <a:pt x="148209" y="708470"/>
                  </a:lnTo>
                  <a:lnTo>
                    <a:pt x="153734" y="701326"/>
                  </a:lnTo>
                  <a:lnTo>
                    <a:pt x="163163" y="700088"/>
                  </a:lnTo>
                  <a:lnTo>
                    <a:pt x="166497" y="701326"/>
                  </a:lnTo>
                  <a:lnTo>
                    <a:pt x="168688" y="705803"/>
                  </a:lnTo>
                  <a:lnTo>
                    <a:pt x="171831" y="705422"/>
                  </a:lnTo>
                  <a:lnTo>
                    <a:pt x="174403" y="713137"/>
                  </a:lnTo>
                  <a:lnTo>
                    <a:pt x="176213" y="714470"/>
                  </a:lnTo>
                  <a:lnTo>
                    <a:pt x="176403" y="716089"/>
                  </a:lnTo>
                  <a:lnTo>
                    <a:pt x="175069" y="717804"/>
                  </a:lnTo>
                  <a:lnTo>
                    <a:pt x="177832" y="727138"/>
                  </a:lnTo>
                  <a:lnTo>
                    <a:pt x="176689" y="730472"/>
                  </a:lnTo>
                  <a:lnTo>
                    <a:pt x="184975" y="732568"/>
                  </a:lnTo>
                  <a:lnTo>
                    <a:pt x="191643" y="734949"/>
                  </a:lnTo>
                  <a:lnTo>
                    <a:pt x="194977" y="736187"/>
                  </a:lnTo>
                  <a:lnTo>
                    <a:pt x="204121" y="731806"/>
                  </a:lnTo>
                  <a:lnTo>
                    <a:pt x="213741" y="719328"/>
                  </a:lnTo>
                  <a:lnTo>
                    <a:pt x="213169" y="714566"/>
                  </a:lnTo>
                  <a:lnTo>
                    <a:pt x="218027" y="715613"/>
                  </a:lnTo>
                  <a:lnTo>
                    <a:pt x="224409" y="727615"/>
                  </a:lnTo>
                  <a:lnTo>
                    <a:pt x="225552" y="724186"/>
                  </a:lnTo>
                  <a:lnTo>
                    <a:pt x="231934" y="723424"/>
                  </a:lnTo>
                  <a:lnTo>
                    <a:pt x="240601" y="728758"/>
                  </a:lnTo>
                  <a:lnTo>
                    <a:pt x="243745" y="728377"/>
                  </a:lnTo>
                  <a:lnTo>
                    <a:pt x="248888" y="730853"/>
                  </a:lnTo>
                  <a:lnTo>
                    <a:pt x="250222" y="729139"/>
                  </a:lnTo>
                  <a:lnTo>
                    <a:pt x="260890" y="737330"/>
                  </a:lnTo>
                  <a:lnTo>
                    <a:pt x="258223" y="740950"/>
                  </a:lnTo>
                  <a:lnTo>
                    <a:pt x="259937" y="742283"/>
                  </a:lnTo>
                  <a:lnTo>
                    <a:pt x="257651" y="749046"/>
                  </a:lnTo>
                  <a:lnTo>
                    <a:pt x="262128" y="746855"/>
                  </a:lnTo>
                  <a:lnTo>
                    <a:pt x="261747" y="743712"/>
                  </a:lnTo>
                  <a:lnTo>
                    <a:pt x="266033" y="739902"/>
                  </a:lnTo>
                  <a:lnTo>
                    <a:pt x="269462" y="741140"/>
                  </a:lnTo>
                  <a:lnTo>
                    <a:pt x="271367" y="744093"/>
                  </a:lnTo>
                  <a:lnTo>
                    <a:pt x="275939" y="741902"/>
                  </a:lnTo>
                  <a:lnTo>
                    <a:pt x="280035" y="736568"/>
                  </a:lnTo>
                  <a:lnTo>
                    <a:pt x="286417" y="735711"/>
                  </a:lnTo>
                  <a:lnTo>
                    <a:pt x="295084" y="741045"/>
                  </a:lnTo>
                  <a:lnTo>
                    <a:pt x="301180" y="738664"/>
                  </a:lnTo>
                  <a:lnTo>
                    <a:pt x="300609" y="733901"/>
                  </a:lnTo>
                  <a:lnTo>
                    <a:pt x="305276" y="733330"/>
                  </a:lnTo>
                  <a:lnTo>
                    <a:pt x="307276" y="736283"/>
                  </a:lnTo>
                  <a:lnTo>
                    <a:pt x="310420" y="735901"/>
                  </a:lnTo>
                  <a:lnTo>
                    <a:pt x="313372" y="733901"/>
                  </a:lnTo>
                  <a:lnTo>
                    <a:pt x="320135" y="736283"/>
                  </a:lnTo>
                  <a:lnTo>
                    <a:pt x="323659" y="739045"/>
                  </a:lnTo>
                  <a:lnTo>
                    <a:pt x="323088" y="747046"/>
                  </a:lnTo>
                  <a:lnTo>
                    <a:pt x="324326" y="756571"/>
                  </a:lnTo>
                  <a:lnTo>
                    <a:pt x="326517" y="761047"/>
                  </a:lnTo>
                  <a:lnTo>
                    <a:pt x="325088" y="762857"/>
                  </a:lnTo>
                  <a:lnTo>
                    <a:pt x="328517" y="764000"/>
                  </a:lnTo>
                  <a:lnTo>
                    <a:pt x="324517" y="770954"/>
                  </a:lnTo>
                  <a:lnTo>
                    <a:pt x="324993" y="774097"/>
                  </a:lnTo>
                  <a:lnTo>
                    <a:pt x="320992" y="781050"/>
                  </a:lnTo>
                  <a:lnTo>
                    <a:pt x="321850" y="787337"/>
                  </a:lnTo>
                  <a:lnTo>
                    <a:pt x="321850" y="787337"/>
                  </a:lnTo>
                  <a:lnTo>
                    <a:pt x="317849" y="794290"/>
                  </a:lnTo>
                  <a:lnTo>
                    <a:pt x="321088" y="793813"/>
                  </a:lnTo>
                  <a:lnTo>
                    <a:pt x="324421" y="795052"/>
                  </a:lnTo>
                  <a:lnTo>
                    <a:pt x="324993" y="799814"/>
                  </a:lnTo>
                  <a:lnTo>
                    <a:pt x="327565" y="807434"/>
                  </a:lnTo>
                  <a:lnTo>
                    <a:pt x="329565" y="810387"/>
                  </a:lnTo>
                  <a:lnTo>
                    <a:pt x="332708" y="810006"/>
                  </a:lnTo>
                  <a:lnTo>
                    <a:pt x="330517" y="805434"/>
                  </a:lnTo>
                  <a:lnTo>
                    <a:pt x="333946" y="806672"/>
                  </a:lnTo>
                  <a:lnTo>
                    <a:pt x="335470" y="806482"/>
                  </a:lnTo>
                  <a:lnTo>
                    <a:pt x="334518" y="811435"/>
                  </a:lnTo>
                  <a:lnTo>
                    <a:pt x="341471" y="815340"/>
                  </a:lnTo>
                  <a:lnTo>
                    <a:pt x="342614" y="812006"/>
                  </a:lnTo>
                  <a:lnTo>
                    <a:pt x="346329" y="816293"/>
                  </a:lnTo>
                  <a:lnTo>
                    <a:pt x="348710" y="822388"/>
                  </a:lnTo>
                  <a:lnTo>
                    <a:pt x="347758" y="827342"/>
                  </a:lnTo>
                  <a:lnTo>
                    <a:pt x="354711" y="831247"/>
                  </a:lnTo>
                  <a:lnTo>
                    <a:pt x="357854" y="830866"/>
                  </a:lnTo>
                  <a:lnTo>
                    <a:pt x="359378" y="830675"/>
                  </a:lnTo>
                  <a:lnTo>
                    <a:pt x="366331" y="834580"/>
                  </a:lnTo>
                  <a:lnTo>
                    <a:pt x="370046" y="838962"/>
                  </a:lnTo>
                  <a:lnTo>
                    <a:pt x="378619" y="842677"/>
                  </a:lnTo>
                  <a:lnTo>
                    <a:pt x="377857" y="849154"/>
                  </a:lnTo>
                  <a:lnTo>
                    <a:pt x="379571" y="850583"/>
                  </a:lnTo>
                  <a:lnTo>
                    <a:pt x="382143" y="845439"/>
                  </a:lnTo>
                  <a:lnTo>
                    <a:pt x="384334" y="837152"/>
                  </a:lnTo>
                  <a:lnTo>
                    <a:pt x="385858" y="836962"/>
                  </a:lnTo>
                  <a:lnTo>
                    <a:pt x="387286" y="835152"/>
                  </a:lnTo>
                  <a:lnTo>
                    <a:pt x="390239" y="833152"/>
                  </a:lnTo>
                  <a:lnTo>
                    <a:pt x="393382" y="832771"/>
                  </a:lnTo>
                  <a:lnTo>
                    <a:pt x="396907" y="835533"/>
                  </a:lnTo>
                  <a:lnTo>
                    <a:pt x="404622" y="845725"/>
                  </a:lnTo>
                  <a:lnTo>
                    <a:pt x="406241" y="845534"/>
                  </a:lnTo>
                  <a:lnTo>
                    <a:pt x="408241" y="848487"/>
                  </a:lnTo>
                  <a:lnTo>
                    <a:pt x="409575" y="846772"/>
                  </a:lnTo>
                  <a:lnTo>
                    <a:pt x="412909" y="847916"/>
                  </a:lnTo>
                  <a:lnTo>
                    <a:pt x="412528" y="844772"/>
                  </a:lnTo>
                  <a:lnTo>
                    <a:pt x="423958" y="846487"/>
                  </a:lnTo>
                  <a:lnTo>
                    <a:pt x="430530" y="847249"/>
                  </a:lnTo>
                  <a:lnTo>
                    <a:pt x="435388" y="848201"/>
                  </a:lnTo>
                  <a:lnTo>
                    <a:pt x="442150" y="837819"/>
                  </a:lnTo>
                  <a:lnTo>
                    <a:pt x="443484" y="836009"/>
                  </a:lnTo>
                  <a:lnTo>
                    <a:pt x="451580" y="836581"/>
                  </a:lnTo>
                  <a:lnTo>
                    <a:pt x="455295" y="840867"/>
                  </a:lnTo>
                  <a:lnTo>
                    <a:pt x="455581" y="842486"/>
                  </a:lnTo>
                  <a:lnTo>
                    <a:pt x="460438" y="843439"/>
                  </a:lnTo>
                  <a:lnTo>
                    <a:pt x="463201" y="839914"/>
                  </a:lnTo>
                  <a:lnTo>
                    <a:pt x="459486" y="835533"/>
                  </a:lnTo>
                  <a:lnTo>
                    <a:pt x="460438" y="830675"/>
                  </a:lnTo>
                  <a:lnTo>
                    <a:pt x="463772" y="831818"/>
                  </a:lnTo>
                  <a:lnTo>
                    <a:pt x="466725" y="829818"/>
                  </a:lnTo>
                  <a:lnTo>
                    <a:pt x="473869" y="835343"/>
                  </a:lnTo>
                  <a:lnTo>
                    <a:pt x="473107" y="841820"/>
                  </a:lnTo>
                  <a:lnTo>
                    <a:pt x="475488" y="835152"/>
                  </a:lnTo>
                  <a:lnTo>
                    <a:pt x="482155" y="837438"/>
                  </a:lnTo>
                  <a:lnTo>
                    <a:pt x="483394" y="846963"/>
                  </a:lnTo>
                  <a:lnTo>
                    <a:pt x="485775" y="853059"/>
                  </a:lnTo>
                  <a:lnTo>
                    <a:pt x="483965" y="851726"/>
                  </a:lnTo>
                  <a:lnTo>
                    <a:pt x="476059" y="852678"/>
                  </a:lnTo>
                  <a:lnTo>
                    <a:pt x="474726" y="854488"/>
                  </a:lnTo>
                  <a:lnTo>
                    <a:pt x="478250" y="857250"/>
                  </a:lnTo>
                  <a:lnTo>
                    <a:pt x="487585" y="867251"/>
                  </a:lnTo>
                  <a:lnTo>
                    <a:pt x="488918" y="865442"/>
                  </a:lnTo>
                  <a:lnTo>
                    <a:pt x="487204" y="864108"/>
                  </a:lnTo>
                  <a:lnTo>
                    <a:pt x="490156" y="862108"/>
                  </a:lnTo>
                  <a:lnTo>
                    <a:pt x="498443" y="864299"/>
                  </a:lnTo>
                  <a:lnTo>
                    <a:pt x="500348" y="867251"/>
                  </a:lnTo>
                  <a:lnTo>
                    <a:pt x="495681" y="867823"/>
                  </a:lnTo>
                  <a:lnTo>
                    <a:pt x="492919" y="871347"/>
                  </a:lnTo>
                  <a:lnTo>
                    <a:pt x="507778" y="887159"/>
                  </a:lnTo>
                  <a:lnTo>
                    <a:pt x="499872" y="888111"/>
                  </a:lnTo>
                  <a:lnTo>
                    <a:pt x="503777" y="894017"/>
                  </a:lnTo>
                  <a:lnTo>
                    <a:pt x="504444" y="898779"/>
                  </a:lnTo>
                  <a:lnTo>
                    <a:pt x="501682" y="902399"/>
                  </a:lnTo>
                  <a:lnTo>
                    <a:pt x="495395" y="903161"/>
                  </a:lnTo>
                  <a:lnTo>
                    <a:pt x="493586" y="901827"/>
                  </a:lnTo>
                  <a:lnTo>
                    <a:pt x="492157" y="903542"/>
                  </a:lnTo>
                  <a:lnTo>
                    <a:pt x="490442" y="902208"/>
                  </a:lnTo>
                  <a:lnTo>
                    <a:pt x="482536" y="903161"/>
                  </a:lnTo>
                  <a:lnTo>
                    <a:pt x="472249" y="898112"/>
                  </a:lnTo>
                  <a:lnTo>
                    <a:pt x="471297" y="902970"/>
                  </a:lnTo>
                  <a:lnTo>
                    <a:pt x="475202" y="908971"/>
                  </a:lnTo>
                  <a:lnTo>
                    <a:pt x="474631" y="916972"/>
                  </a:lnTo>
                  <a:lnTo>
                    <a:pt x="471106" y="914305"/>
                  </a:lnTo>
                  <a:lnTo>
                    <a:pt x="463391" y="916876"/>
                  </a:lnTo>
                  <a:lnTo>
                    <a:pt x="465201" y="918210"/>
                  </a:lnTo>
                  <a:lnTo>
                    <a:pt x="467011" y="919639"/>
                  </a:lnTo>
                  <a:lnTo>
                    <a:pt x="466153" y="926116"/>
                  </a:lnTo>
                  <a:lnTo>
                    <a:pt x="471297" y="928688"/>
                  </a:lnTo>
                  <a:lnTo>
                    <a:pt x="469201" y="936974"/>
                  </a:lnTo>
                  <a:lnTo>
                    <a:pt x="463105" y="939355"/>
                  </a:lnTo>
                  <a:lnTo>
                    <a:pt x="455200" y="940308"/>
                  </a:lnTo>
                  <a:lnTo>
                    <a:pt x="454057" y="943737"/>
                  </a:lnTo>
                  <a:lnTo>
                    <a:pt x="455962" y="946690"/>
                  </a:lnTo>
                  <a:lnTo>
                    <a:pt x="454628" y="948404"/>
                  </a:lnTo>
                  <a:lnTo>
                    <a:pt x="457962" y="949643"/>
                  </a:lnTo>
                  <a:lnTo>
                    <a:pt x="455390" y="954786"/>
                  </a:lnTo>
                  <a:lnTo>
                    <a:pt x="457200" y="956120"/>
                  </a:lnTo>
                  <a:lnTo>
                    <a:pt x="454247" y="958120"/>
                  </a:lnTo>
                  <a:lnTo>
                    <a:pt x="453104" y="961454"/>
                  </a:lnTo>
                  <a:lnTo>
                    <a:pt x="448151" y="960501"/>
                  </a:lnTo>
                  <a:lnTo>
                    <a:pt x="449104" y="968407"/>
                  </a:lnTo>
                  <a:lnTo>
                    <a:pt x="447389" y="966978"/>
                  </a:lnTo>
                  <a:lnTo>
                    <a:pt x="443960" y="965835"/>
                  </a:lnTo>
                  <a:lnTo>
                    <a:pt x="442436" y="966026"/>
                  </a:lnTo>
                  <a:lnTo>
                    <a:pt x="441484" y="970979"/>
                  </a:lnTo>
                  <a:lnTo>
                    <a:pt x="438912" y="976122"/>
                  </a:lnTo>
                  <a:lnTo>
                    <a:pt x="434149" y="976693"/>
                  </a:lnTo>
                  <a:lnTo>
                    <a:pt x="428053" y="979075"/>
                  </a:lnTo>
                  <a:lnTo>
                    <a:pt x="430435" y="985171"/>
                  </a:lnTo>
                  <a:lnTo>
                    <a:pt x="426053" y="988981"/>
                  </a:lnTo>
                  <a:lnTo>
                    <a:pt x="430435" y="998030"/>
                  </a:lnTo>
                  <a:lnTo>
                    <a:pt x="432054" y="997839"/>
                  </a:lnTo>
                  <a:lnTo>
                    <a:pt x="433197" y="994505"/>
                  </a:lnTo>
                  <a:lnTo>
                    <a:pt x="437959" y="993838"/>
                  </a:lnTo>
                  <a:lnTo>
                    <a:pt x="441865" y="986980"/>
                  </a:lnTo>
                  <a:lnTo>
                    <a:pt x="448627" y="989267"/>
                  </a:lnTo>
                  <a:lnTo>
                    <a:pt x="451961" y="990505"/>
                  </a:lnTo>
                  <a:lnTo>
                    <a:pt x="454342" y="996601"/>
                  </a:lnTo>
                  <a:lnTo>
                    <a:pt x="452914" y="998411"/>
                  </a:lnTo>
                  <a:lnTo>
                    <a:pt x="452152" y="1004888"/>
                  </a:lnTo>
                  <a:lnTo>
                    <a:pt x="451199" y="1009841"/>
                  </a:lnTo>
                  <a:lnTo>
                    <a:pt x="453199" y="1012793"/>
                  </a:lnTo>
                  <a:lnTo>
                    <a:pt x="456724" y="1015555"/>
                  </a:lnTo>
                  <a:lnTo>
                    <a:pt x="467963" y="1015651"/>
                  </a:lnTo>
                  <a:lnTo>
                    <a:pt x="471106" y="1015270"/>
                  </a:lnTo>
                  <a:lnTo>
                    <a:pt x="483013" y="1020223"/>
                  </a:lnTo>
                  <a:lnTo>
                    <a:pt x="493300" y="1025271"/>
                  </a:lnTo>
                  <a:lnTo>
                    <a:pt x="492061" y="1028700"/>
                  </a:lnTo>
                  <a:lnTo>
                    <a:pt x="492538" y="1031843"/>
                  </a:lnTo>
                  <a:lnTo>
                    <a:pt x="489585" y="1033748"/>
                  </a:lnTo>
                  <a:lnTo>
                    <a:pt x="488347" y="1037177"/>
                  </a:lnTo>
                  <a:lnTo>
                    <a:pt x="497300" y="1044035"/>
                  </a:lnTo>
                  <a:lnTo>
                    <a:pt x="503206" y="1040035"/>
                  </a:lnTo>
                  <a:lnTo>
                    <a:pt x="500063" y="1040511"/>
                  </a:lnTo>
                  <a:lnTo>
                    <a:pt x="499586" y="1037368"/>
                  </a:lnTo>
                  <a:lnTo>
                    <a:pt x="496443" y="1037749"/>
                  </a:lnTo>
                  <a:lnTo>
                    <a:pt x="493109" y="1036511"/>
                  </a:lnTo>
                  <a:lnTo>
                    <a:pt x="499396" y="1035749"/>
                  </a:lnTo>
                  <a:lnTo>
                    <a:pt x="511492" y="1042226"/>
                  </a:lnTo>
                  <a:lnTo>
                    <a:pt x="508921" y="1034510"/>
                  </a:lnTo>
                  <a:lnTo>
                    <a:pt x="515017" y="1032129"/>
                  </a:lnTo>
                  <a:lnTo>
                    <a:pt x="518541" y="1034891"/>
                  </a:lnTo>
                  <a:lnTo>
                    <a:pt x="520732" y="1039463"/>
                  </a:lnTo>
                  <a:lnTo>
                    <a:pt x="524065" y="1040606"/>
                  </a:lnTo>
                  <a:lnTo>
                    <a:pt x="521780" y="1047369"/>
                  </a:lnTo>
                  <a:lnTo>
                    <a:pt x="523684" y="1050322"/>
                  </a:lnTo>
                  <a:lnTo>
                    <a:pt x="528828" y="1052893"/>
                  </a:lnTo>
                  <a:lnTo>
                    <a:pt x="531971" y="1052417"/>
                  </a:lnTo>
                  <a:lnTo>
                    <a:pt x="534924" y="1050417"/>
                  </a:lnTo>
                  <a:lnTo>
                    <a:pt x="537305" y="1056608"/>
                  </a:lnTo>
                  <a:lnTo>
                    <a:pt x="540734" y="1057751"/>
                  </a:lnTo>
                  <a:lnTo>
                    <a:pt x="543211" y="1052608"/>
                  </a:lnTo>
                  <a:lnTo>
                    <a:pt x="544449" y="1049274"/>
                  </a:lnTo>
                  <a:lnTo>
                    <a:pt x="542449" y="1046321"/>
                  </a:lnTo>
                  <a:lnTo>
                    <a:pt x="548735" y="1045464"/>
                  </a:lnTo>
                  <a:lnTo>
                    <a:pt x="548164" y="1040797"/>
                  </a:lnTo>
                  <a:lnTo>
                    <a:pt x="552736" y="1038606"/>
                  </a:lnTo>
                  <a:lnTo>
                    <a:pt x="554069" y="1036796"/>
                  </a:lnTo>
                  <a:lnTo>
                    <a:pt x="549688" y="1027747"/>
                  </a:lnTo>
                  <a:lnTo>
                    <a:pt x="554260" y="1025557"/>
                  </a:lnTo>
                  <a:lnTo>
                    <a:pt x="557403" y="1025176"/>
                  </a:lnTo>
                  <a:lnTo>
                    <a:pt x="559403" y="1028129"/>
                  </a:lnTo>
                  <a:lnTo>
                    <a:pt x="564071" y="1027462"/>
                  </a:lnTo>
                  <a:lnTo>
                    <a:pt x="564547" y="1030700"/>
                  </a:lnTo>
                  <a:lnTo>
                    <a:pt x="567499" y="1028700"/>
                  </a:lnTo>
                  <a:lnTo>
                    <a:pt x="573214" y="1023176"/>
                  </a:lnTo>
                  <a:lnTo>
                    <a:pt x="582644" y="1021937"/>
                  </a:lnTo>
                  <a:lnTo>
                    <a:pt x="583025" y="1025080"/>
                  </a:lnTo>
                  <a:lnTo>
                    <a:pt x="590169" y="1030605"/>
                  </a:lnTo>
                  <a:lnTo>
                    <a:pt x="592550" y="1036701"/>
                  </a:lnTo>
                  <a:lnTo>
                    <a:pt x="597884" y="1040892"/>
                  </a:lnTo>
                  <a:lnTo>
                    <a:pt x="600075" y="1045369"/>
                  </a:lnTo>
                  <a:lnTo>
                    <a:pt x="602837" y="1041845"/>
                  </a:lnTo>
                  <a:lnTo>
                    <a:pt x="605980" y="1041463"/>
                  </a:lnTo>
                  <a:lnTo>
                    <a:pt x="605409" y="1036701"/>
                  </a:lnTo>
                  <a:lnTo>
                    <a:pt x="607886" y="1031558"/>
                  </a:lnTo>
                  <a:lnTo>
                    <a:pt x="606171" y="1030129"/>
                  </a:lnTo>
                  <a:lnTo>
                    <a:pt x="605980" y="1028605"/>
                  </a:lnTo>
                  <a:lnTo>
                    <a:pt x="604171" y="1027176"/>
                  </a:lnTo>
                  <a:lnTo>
                    <a:pt x="607505" y="1028414"/>
                  </a:lnTo>
                  <a:lnTo>
                    <a:pt x="611219" y="1019937"/>
                  </a:lnTo>
                  <a:lnTo>
                    <a:pt x="616553" y="1024033"/>
                  </a:lnTo>
                  <a:lnTo>
                    <a:pt x="619315" y="1020509"/>
                  </a:lnTo>
                  <a:lnTo>
                    <a:pt x="619125" y="1018889"/>
                  </a:lnTo>
                  <a:lnTo>
                    <a:pt x="619506" y="1009174"/>
                  </a:lnTo>
                  <a:lnTo>
                    <a:pt x="619315" y="1007650"/>
                  </a:lnTo>
                  <a:lnTo>
                    <a:pt x="622649" y="1008793"/>
                  </a:lnTo>
                  <a:lnTo>
                    <a:pt x="635508" y="1008793"/>
                  </a:lnTo>
                  <a:lnTo>
                    <a:pt x="643033" y="1004602"/>
                  </a:lnTo>
                  <a:lnTo>
                    <a:pt x="645128" y="996315"/>
                  </a:lnTo>
                  <a:lnTo>
                    <a:pt x="645128" y="996315"/>
                  </a:lnTo>
                  <a:lnTo>
                    <a:pt x="649891" y="995743"/>
                  </a:lnTo>
                  <a:lnTo>
                    <a:pt x="651034" y="992410"/>
                  </a:lnTo>
                  <a:lnTo>
                    <a:pt x="652653" y="992124"/>
                  </a:lnTo>
                  <a:lnTo>
                    <a:pt x="652463" y="990600"/>
                  </a:lnTo>
                  <a:lnTo>
                    <a:pt x="645890" y="989838"/>
                  </a:lnTo>
                  <a:lnTo>
                    <a:pt x="650081" y="984504"/>
                  </a:lnTo>
                  <a:lnTo>
                    <a:pt x="651605" y="984313"/>
                  </a:lnTo>
                  <a:lnTo>
                    <a:pt x="658939" y="978503"/>
                  </a:lnTo>
                  <a:lnTo>
                    <a:pt x="661511" y="973360"/>
                  </a:lnTo>
                  <a:lnTo>
                    <a:pt x="668369" y="977360"/>
                  </a:lnTo>
                  <a:lnTo>
                    <a:pt x="673894" y="970217"/>
                  </a:lnTo>
                  <a:lnTo>
                    <a:pt x="680847" y="974122"/>
                  </a:lnTo>
                  <a:lnTo>
                    <a:pt x="683323" y="968978"/>
                  </a:lnTo>
                  <a:lnTo>
                    <a:pt x="691896" y="972788"/>
                  </a:lnTo>
                  <a:lnTo>
                    <a:pt x="695039" y="972312"/>
                  </a:lnTo>
                  <a:lnTo>
                    <a:pt x="695801" y="978694"/>
                  </a:lnTo>
                  <a:lnTo>
                    <a:pt x="701897" y="976313"/>
                  </a:lnTo>
                  <a:lnTo>
                    <a:pt x="698373" y="973550"/>
                  </a:lnTo>
                  <a:lnTo>
                    <a:pt x="701135" y="969931"/>
                  </a:lnTo>
                  <a:lnTo>
                    <a:pt x="704279" y="969550"/>
                  </a:lnTo>
                  <a:lnTo>
                    <a:pt x="705898" y="969359"/>
                  </a:lnTo>
                  <a:lnTo>
                    <a:pt x="703707" y="964787"/>
                  </a:lnTo>
                  <a:lnTo>
                    <a:pt x="705231" y="964597"/>
                  </a:lnTo>
                  <a:lnTo>
                    <a:pt x="706660" y="962787"/>
                  </a:lnTo>
                  <a:lnTo>
                    <a:pt x="703231" y="961644"/>
                  </a:lnTo>
                  <a:lnTo>
                    <a:pt x="707231" y="954786"/>
                  </a:lnTo>
                  <a:lnTo>
                    <a:pt x="706564" y="950024"/>
                  </a:lnTo>
                  <a:lnTo>
                    <a:pt x="709327" y="946404"/>
                  </a:lnTo>
                  <a:lnTo>
                    <a:pt x="706946" y="940308"/>
                  </a:lnTo>
                  <a:lnTo>
                    <a:pt x="710374" y="941546"/>
                  </a:lnTo>
                  <a:lnTo>
                    <a:pt x="715042" y="940880"/>
                  </a:lnTo>
                  <a:lnTo>
                    <a:pt x="725519" y="947642"/>
                  </a:lnTo>
                  <a:lnTo>
                    <a:pt x="725710" y="949166"/>
                  </a:lnTo>
                  <a:lnTo>
                    <a:pt x="721042" y="949738"/>
                  </a:lnTo>
                  <a:lnTo>
                    <a:pt x="719614" y="951547"/>
                  </a:lnTo>
                  <a:lnTo>
                    <a:pt x="724567" y="952500"/>
                  </a:lnTo>
                  <a:lnTo>
                    <a:pt x="727520" y="950595"/>
                  </a:lnTo>
                  <a:lnTo>
                    <a:pt x="729520" y="953548"/>
                  </a:lnTo>
                  <a:lnTo>
                    <a:pt x="734949" y="946404"/>
                  </a:lnTo>
                  <a:lnTo>
                    <a:pt x="743903" y="940403"/>
                  </a:lnTo>
                  <a:lnTo>
                    <a:pt x="740473" y="939260"/>
                  </a:lnTo>
                  <a:lnTo>
                    <a:pt x="740473" y="926497"/>
                  </a:lnTo>
                  <a:lnTo>
                    <a:pt x="750951" y="933164"/>
                  </a:lnTo>
                  <a:lnTo>
                    <a:pt x="754856" y="926211"/>
                  </a:lnTo>
                  <a:lnTo>
                    <a:pt x="762190" y="920496"/>
                  </a:lnTo>
                  <a:lnTo>
                    <a:pt x="764191" y="923449"/>
                  </a:lnTo>
                  <a:lnTo>
                    <a:pt x="764572" y="926592"/>
                  </a:lnTo>
                  <a:lnTo>
                    <a:pt x="766763" y="931164"/>
                  </a:lnTo>
                  <a:lnTo>
                    <a:pt x="770096" y="932307"/>
                  </a:lnTo>
                  <a:lnTo>
                    <a:pt x="768953" y="935641"/>
                  </a:lnTo>
                  <a:lnTo>
                    <a:pt x="767524" y="937451"/>
                  </a:lnTo>
                  <a:lnTo>
                    <a:pt x="769525" y="940403"/>
                  </a:lnTo>
                  <a:lnTo>
                    <a:pt x="767715" y="938975"/>
                  </a:lnTo>
                  <a:lnTo>
                    <a:pt x="768096" y="942213"/>
                  </a:lnTo>
                  <a:lnTo>
                    <a:pt x="771334" y="941737"/>
                  </a:lnTo>
                  <a:lnTo>
                    <a:pt x="773239" y="944689"/>
                  </a:lnTo>
                  <a:lnTo>
                    <a:pt x="774668" y="942975"/>
                  </a:lnTo>
                  <a:lnTo>
                    <a:pt x="774287" y="939832"/>
                  </a:lnTo>
                  <a:lnTo>
                    <a:pt x="774478" y="941356"/>
                  </a:lnTo>
                  <a:lnTo>
                    <a:pt x="778002" y="944118"/>
                  </a:lnTo>
                  <a:lnTo>
                    <a:pt x="774859" y="944499"/>
                  </a:lnTo>
                  <a:lnTo>
                    <a:pt x="776859" y="947452"/>
                  </a:lnTo>
                  <a:lnTo>
                    <a:pt x="784003" y="952976"/>
                  </a:lnTo>
                  <a:lnTo>
                    <a:pt x="790480" y="953738"/>
                  </a:lnTo>
                  <a:lnTo>
                    <a:pt x="798576" y="954310"/>
                  </a:lnTo>
                  <a:lnTo>
                    <a:pt x="801529" y="952309"/>
                  </a:lnTo>
                  <a:lnTo>
                    <a:pt x="804672" y="951929"/>
                  </a:lnTo>
                  <a:lnTo>
                    <a:pt x="808577" y="945071"/>
                  </a:lnTo>
                  <a:lnTo>
                    <a:pt x="813340" y="944404"/>
                  </a:lnTo>
                  <a:lnTo>
                    <a:pt x="814102" y="937927"/>
                  </a:lnTo>
                  <a:lnTo>
                    <a:pt x="812101" y="934974"/>
                  </a:lnTo>
                  <a:lnTo>
                    <a:pt x="811721" y="931831"/>
                  </a:lnTo>
                  <a:lnTo>
                    <a:pt x="814864" y="931355"/>
                  </a:lnTo>
                  <a:lnTo>
                    <a:pt x="816673" y="932783"/>
                  </a:lnTo>
                  <a:lnTo>
                    <a:pt x="817245" y="937546"/>
                  </a:lnTo>
                  <a:lnTo>
                    <a:pt x="822007" y="936879"/>
                  </a:lnTo>
                  <a:lnTo>
                    <a:pt x="822198" y="938498"/>
                  </a:lnTo>
                  <a:lnTo>
                    <a:pt x="826961" y="937927"/>
                  </a:lnTo>
                  <a:lnTo>
                    <a:pt x="828484" y="937641"/>
                  </a:lnTo>
                  <a:lnTo>
                    <a:pt x="835628" y="943166"/>
                  </a:lnTo>
                  <a:lnTo>
                    <a:pt x="838962" y="944404"/>
                  </a:lnTo>
                  <a:lnTo>
                    <a:pt x="840200" y="940975"/>
                  </a:lnTo>
                  <a:lnTo>
                    <a:pt x="845058" y="942022"/>
                  </a:lnTo>
                  <a:lnTo>
                    <a:pt x="849058" y="947928"/>
                  </a:lnTo>
                  <a:lnTo>
                    <a:pt x="852583" y="950690"/>
                  </a:lnTo>
                  <a:lnTo>
                    <a:pt x="852392" y="949071"/>
                  </a:lnTo>
                  <a:lnTo>
                    <a:pt x="850011" y="942975"/>
                  </a:lnTo>
                  <a:lnTo>
                    <a:pt x="851440" y="941165"/>
                  </a:lnTo>
                  <a:lnTo>
                    <a:pt x="856107" y="940594"/>
                  </a:lnTo>
                  <a:lnTo>
                    <a:pt x="861250" y="943166"/>
                  </a:lnTo>
                  <a:lnTo>
                    <a:pt x="862489" y="939737"/>
                  </a:lnTo>
                  <a:lnTo>
                    <a:pt x="863822" y="938022"/>
                  </a:lnTo>
                  <a:lnTo>
                    <a:pt x="874109" y="943070"/>
                  </a:lnTo>
                  <a:lnTo>
                    <a:pt x="875443" y="941356"/>
                  </a:lnTo>
                  <a:lnTo>
                    <a:pt x="878396" y="939355"/>
                  </a:lnTo>
                  <a:lnTo>
                    <a:pt x="875062" y="938117"/>
                  </a:lnTo>
                  <a:lnTo>
                    <a:pt x="878014" y="936212"/>
                  </a:lnTo>
                  <a:lnTo>
                    <a:pt x="878967" y="931259"/>
                  </a:lnTo>
                  <a:lnTo>
                    <a:pt x="882205" y="930878"/>
                  </a:lnTo>
                  <a:lnTo>
                    <a:pt x="884396" y="935355"/>
                  </a:lnTo>
                  <a:lnTo>
                    <a:pt x="893445" y="930974"/>
                  </a:lnTo>
                  <a:lnTo>
                    <a:pt x="893064" y="927830"/>
                  </a:lnTo>
                  <a:lnTo>
                    <a:pt x="889635" y="926687"/>
                  </a:lnTo>
                  <a:lnTo>
                    <a:pt x="889063" y="921925"/>
                  </a:lnTo>
                  <a:lnTo>
                    <a:pt x="880586" y="918210"/>
                  </a:lnTo>
                  <a:lnTo>
                    <a:pt x="886015" y="911066"/>
                  </a:lnTo>
                  <a:lnTo>
                    <a:pt x="884301" y="909733"/>
                  </a:lnTo>
                  <a:lnTo>
                    <a:pt x="886015" y="911066"/>
                  </a:lnTo>
                  <a:lnTo>
                    <a:pt x="896493" y="904970"/>
                  </a:lnTo>
                  <a:lnTo>
                    <a:pt x="901255" y="904399"/>
                  </a:lnTo>
                  <a:lnTo>
                    <a:pt x="904018" y="900779"/>
                  </a:lnTo>
                  <a:lnTo>
                    <a:pt x="908780" y="900208"/>
                  </a:lnTo>
                  <a:lnTo>
                    <a:pt x="915638" y="904113"/>
                  </a:lnTo>
                  <a:lnTo>
                    <a:pt x="918400" y="900589"/>
                  </a:lnTo>
                  <a:lnTo>
                    <a:pt x="923544" y="903161"/>
                  </a:lnTo>
                  <a:lnTo>
                    <a:pt x="931069" y="898970"/>
                  </a:lnTo>
                  <a:lnTo>
                    <a:pt x="937927" y="902875"/>
                  </a:lnTo>
                  <a:lnTo>
                    <a:pt x="942118" y="897541"/>
                  </a:lnTo>
                  <a:lnTo>
                    <a:pt x="941641" y="894397"/>
                  </a:lnTo>
                  <a:lnTo>
                    <a:pt x="945832" y="889063"/>
                  </a:lnTo>
                  <a:lnTo>
                    <a:pt x="950500" y="888492"/>
                  </a:lnTo>
                  <a:lnTo>
                    <a:pt x="950119" y="885349"/>
                  </a:lnTo>
                  <a:lnTo>
                    <a:pt x="944213" y="876395"/>
                  </a:lnTo>
                  <a:lnTo>
                    <a:pt x="945166" y="871538"/>
                  </a:lnTo>
                  <a:lnTo>
                    <a:pt x="949928" y="870871"/>
                  </a:lnTo>
                  <a:lnTo>
                    <a:pt x="956405" y="871633"/>
                  </a:lnTo>
                  <a:lnTo>
                    <a:pt x="960977" y="869442"/>
                  </a:lnTo>
                  <a:lnTo>
                    <a:pt x="964121" y="869061"/>
                  </a:lnTo>
                  <a:lnTo>
                    <a:pt x="965263" y="865727"/>
                  </a:lnTo>
                  <a:lnTo>
                    <a:pt x="969836" y="863537"/>
                  </a:lnTo>
                  <a:lnTo>
                    <a:pt x="970979" y="860203"/>
                  </a:lnTo>
                  <a:lnTo>
                    <a:pt x="973741" y="856679"/>
                  </a:lnTo>
                  <a:lnTo>
                    <a:pt x="976313" y="851535"/>
                  </a:lnTo>
                  <a:lnTo>
                    <a:pt x="978122" y="852868"/>
                  </a:lnTo>
                  <a:lnTo>
                    <a:pt x="977837" y="851249"/>
                  </a:lnTo>
                  <a:lnTo>
                    <a:pt x="980599" y="834962"/>
                  </a:lnTo>
                  <a:lnTo>
                    <a:pt x="977455" y="835343"/>
                  </a:lnTo>
                  <a:lnTo>
                    <a:pt x="976884" y="830580"/>
                  </a:lnTo>
                  <a:lnTo>
                    <a:pt x="968788" y="830009"/>
                  </a:lnTo>
                  <a:lnTo>
                    <a:pt x="972503" y="821531"/>
                  </a:lnTo>
                  <a:lnTo>
                    <a:pt x="971836" y="816769"/>
                  </a:lnTo>
                  <a:lnTo>
                    <a:pt x="968502" y="815626"/>
                  </a:lnTo>
                  <a:lnTo>
                    <a:pt x="969073" y="820388"/>
                  </a:lnTo>
                  <a:lnTo>
                    <a:pt x="961834" y="826103"/>
                  </a:lnTo>
                  <a:lnTo>
                    <a:pt x="956881" y="825151"/>
                  </a:lnTo>
                  <a:lnTo>
                    <a:pt x="955738" y="828484"/>
                  </a:lnTo>
                  <a:lnTo>
                    <a:pt x="954119" y="828675"/>
                  </a:lnTo>
                  <a:lnTo>
                    <a:pt x="956691" y="823532"/>
                  </a:lnTo>
                  <a:lnTo>
                    <a:pt x="957643" y="818579"/>
                  </a:lnTo>
                  <a:lnTo>
                    <a:pt x="959453" y="820007"/>
                  </a:lnTo>
                  <a:lnTo>
                    <a:pt x="962215" y="816388"/>
                  </a:lnTo>
                  <a:lnTo>
                    <a:pt x="956691" y="810673"/>
                  </a:lnTo>
                  <a:lnTo>
                    <a:pt x="956024" y="806005"/>
                  </a:lnTo>
                  <a:lnTo>
                    <a:pt x="953929" y="801434"/>
                  </a:lnTo>
                  <a:lnTo>
                    <a:pt x="949357" y="803624"/>
                  </a:lnTo>
                  <a:lnTo>
                    <a:pt x="951929" y="798481"/>
                  </a:lnTo>
                  <a:lnTo>
                    <a:pt x="946975" y="797528"/>
                  </a:lnTo>
                  <a:lnTo>
                    <a:pt x="949738" y="793909"/>
                  </a:lnTo>
                  <a:lnTo>
                    <a:pt x="951643" y="784098"/>
                  </a:lnTo>
                  <a:lnTo>
                    <a:pt x="959548" y="783050"/>
                  </a:lnTo>
                  <a:lnTo>
                    <a:pt x="969455" y="785051"/>
                  </a:lnTo>
                  <a:lnTo>
                    <a:pt x="972217" y="781431"/>
                  </a:lnTo>
                  <a:lnTo>
                    <a:pt x="971740" y="778288"/>
                  </a:lnTo>
                  <a:lnTo>
                    <a:pt x="978694" y="782193"/>
                  </a:lnTo>
                  <a:lnTo>
                    <a:pt x="982408" y="773716"/>
                  </a:lnTo>
                  <a:lnTo>
                    <a:pt x="977455" y="772763"/>
                  </a:lnTo>
                  <a:lnTo>
                    <a:pt x="976122" y="761714"/>
                  </a:lnTo>
                  <a:lnTo>
                    <a:pt x="977265" y="758380"/>
                  </a:lnTo>
                  <a:lnTo>
                    <a:pt x="979075" y="759714"/>
                  </a:lnTo>
                  <a:lnTo>
                    <a:pt x="980027" y="754761"/>
                  </a:lnTo>
                  <a:lnTo>
                    <a:pt x="974503" y="749046"/>
                  </a:lnTo>
                  <a:lnTo>
                    <a:pt x="970693" y="744760"/>
                  </a:lnTo>
                  <a:lnTo>
                    <a:pt x="966025" y="745331"/>
                  </a:lnTo>
                  <a:lnTo>
                    <a:pt x="959263" y="743045"/>
                  </a:lnTo>
                  <a:lnTo>
                    <a:pt x="954500" y="743617"/>
                  </a:lnTo>
                  <a:lnTo>
                    <a:pt x="950976" y="740855"/>
                  </a:lnTo>
                  <a:lnTo>
                    <a:pt x="954691" y="732377"/>
                  </a:lnTo>
                  <a:lnTo>
                    <a:pt x="952309" y="726281"/>
                  </a:lnTo>
                  <a:lnTo>
                    <a:pt x="954881" y="721138"/>
                  </a:lnTo>
                  <a:lnTo>
                    <a:pt x="959548" y="707708"/>
                  </a:lnTo>
                  <a:lnTo>
                    <a:pt x="963739" y="702374"/>
                  </a:lnTo>
                  <a:lnTo>
                    <a:pt x="963073" y="697611"/>
                  </a:lnTo>
                  <a:lnTo>
                    <a:pt x="965835" y="694087"/>
                  </a:lnTo>
                  <a:lnTo>
                    <a:pt x="967454" y="693896"/>
                  </a:lnTo>
                  <a:lnTo>
                    <a:pt x="973741" y="693039"/>
                  </a:lnTo>
                  <a:lnTo>
                    <a:pt x="975741" y="695992"/>
                  </a:lnTo>
                  <a:lnTo>
                    <a:pt x="978884" y="695611"/>
                  </a:lnTo>
                  <a:lnTo>
                    <a:pt x="980218" y="693801"/>
                  </a:lnTo>
                  <a:lnTo>
                    <a:pt x="984790" y="691610"/>
                  </a:lnTo>
                  <a:lnTo>
                    <a:pt x="986123" y="689896"/>
                  </a:lnTo>
                  <a:lnTo>
                    <a:pt x="989362" y="689420"/>
                  </a:lnTo>
                  <a:lnTo>
                    <a:pt x="988314" y="681609"/>
                  </a:lnTo>
                  <a:lnTo>
                    <a:pt x="981361" y="677609"/>
                  </a:lnTo>
                  <a:lnTo>
                    <a:pt x="982408" y="672751"/>
                  </a:lnTo>
                  <a:lnTo>
                    <a:pt x="979075" y="671513"/>
                  </a:lnTo>
                  <a:lnTo>
                    <a:pt x="978789" y="669988"/>
                  </a:lnTo>
                  <a:lnTo>
                    <a:pt x="969359" y="671132"/>
                  </a:lnTo>
                  <a:lnTo>
                    <a:pt x="967168" y="666655"/>
                  </a:lnTo>
                  <a:lnTo>
                    <a:pt x="966121" y="658749"/>
                  </a:lnTo>
                  <a:lnTo>
                    <a:pt x="968312" y="650462"/>
                  </a:lnTo>
                  <a:lnTo>
                    <a:pt x="969740" y="648653"/>
                  </a:lnTo>
                  <a:lnTo>
                    <a:pt x="971455" y="650081"/>
                  </a:lnTo>
                  <a:lnTo>
                    <a:pt x="979170" y="647509"/>
                  </a:lnTo>
                  <a:lnTo>
                    <a:pt x="978789" y="644271"/>
                  </a:lnTo>
                  <a:lnTo>
                    <a:pt x="983742" y="645319"/>
                  </a:lnTo>
                  <a:lnTo>
                    <a:pt x="983456" y="643700"/>
                  </a:lnTo>
                  <a:lnTo>
                    <a:pt x="979932" y="640937"/>
                  </a:lnTo>
                  <a:lnTo>
                    <a:pt x="982694" y="637413"/>
                  </a:lnTo>
                  <a:lnTo>
                    <a:pt x="987457" y="636746"/>
                  </a:lnTo>
                  <a:lnTo>
                    <a:pt x="990219" y="633222"/>
                  </a:lnTo>
                  <a:lnTo>
                    <a:pt x="989552" y="628459"/>
                  </a:lnTo>
                  <a:lnTo>
                    <a:pt x="992505" y="626555"/>
                  </a:lnTo>
                  <a:lnTo>
                    <a:pt x="988600" y="620554"/>
                  </a:lnTo>
                  <a:lnTo>
                    <a:pt x="989933" y="618839"/>
                  </a:lnTo>
                  <a:lnTo>
                    <a:pt x="989743" y="617220"/>
                  </a:lnTo>
                  <a:lnTo>
                    <a:pt x="989171" y="612553"/>
                  </a:lnTo>
                  <a:lnTo>
                    <a:pt x="990695" y="612267"/>
                  </a:lnTo>
                  <a:lnTo>
                    <a:pt x="998601" y="611314"/>
                  </a:lnTo>
                  <a:lnTo>
                    <a:pt x="1002982" y="607505"/>
                  </a:lnTo>
                  <a:lnTo>
                    <a:pt x="1006316" y="608743"/>
                  </a:lnTo>
                  <a:lnTo>
                    <a:pt x="1017937" y="599218"/>
                  </a:lnTo>
                  <a:lnTo>
                    <a:pt x="1020699" y="595693"/>
                  </a:lnTo>
                  <a:lnTo>
                    <a:pt x="1020032" y="590931"/>
                  </a:lnTo>
                  <a:lnTo>
                    <a:pt x="1021461" y="589121"/>
                  </a:lnTo>
                  <a:lnTo>
                    <a:pt x="1027747" y="588359"/>
                  </a:lnTo>
                  <a:lnTo>
                    <a:pt x="1028605" y="594646"/>
                  </a:lnTo>
                  <a:lnTo>
                    <a:pt x="1031938" y="595789"/>
                  </a:lnTo>
                  <a:lnTo>
                    <a:pt x="1031748" y="594265"/>
                  </a:lnTo>
                  <a:lnTo>
                    <a:pt x="1035844" y="588931"/>
                  </a:lnTo>
                  <a:lnTo>
                    <a:pt x="1035653" y="587312"/>
                  </a:lnTo>
                  <a:lnTo>
                    <a:pt x="1040416" y="586740"/>
                  </a:lnTo>
                  <a:lnTo>
                    <a:pt x="1047655" y="581025"/>
                  </a:lnTo>
                  <a:lnTo>
                    <a:pt x="1048893" y="577691"/>
                  </a:lnTo>
                  <a:lnTo>
                    <a:pt x="1055180" y="576834"/>
                  </a:lnTo>
                  <a:lnTo>
                    <a:pt x="1056132" y="571881"/>
                  </a:lnTo>
                  <a:lnTo>
                    <a:pt x="1052798" y="570738"/>
                  </a:lnTo>
                  <a:lnTo>
                    <a:pt x="1056132" y="571881"/>
                  </a:lnTo>
                  <a:lnTo>
                    <a:pt x="1052417" y="567595"/>
                  </a:lnTo>
                  <a:lnTo>
                    <a:pt x="1052227" y="565976"/>
                  </a:lnTo>
                  <a:lnTo>
                    <a:pt x="1046416" y="558737"/>
                  </a:lnTo>
                  <a:lnTo>
                    <a:pt x="1051941" y="551593"/>
                  </a:lnTo>
                  <a:lnTo>
                    <a:pt x="1048798" y="551974"/>
                  </a:lnTo>
                  <a:lnTo>
                    <a:pt x="1045845" y="541115"/>
                  </a:lnTo>
                  <a:lnTo>
                    <a:pt x="1045559" y="539591"/>
                  </a:lnTo>
                  <a:lnTo>
                    <a:pt x="1048988" y="540734"/>
                  </a:lnTo>
                  <a:lnTo>
                    <a:pt x="1048322" y="535972"/>
                  </a:lnTo>
                  <a:lnTo>
                    <a:pt x="1050512" y="527685"/>
                  </a:lnTo>
                  <a:lnTo>
                    <a:pt x="1049750" y="521399"/>
                  </a:lnTo>
                  <a:lnTo>
                    <a:pt x="1050893" y="518065"/>
                  </a:lnTo>
                  <a:lnTo>
                    <a:pt x="1053656" y="514445"/>
                  </a:lnTo>
                  <a:lnTo>
                    <a:pt x="1052798" y="508159"/>
                  </a:lnTo>
                  <a:lnTo>
                    <a:pt x="1046893" y="512159"/>
                  </a:lnTo>
                  <a:lnTo>
                    <a:pt x="1043559" y="510921"/>
                  </a:lnTo>
                  <a:lnTo>
                    <a:pt x="1041368" y="506444"/>
                  </a:lnTo>
                  <a:lnTo>
                    <a:pt x="1045750" y="502634"/>
                  </a:lnTo>
                  <a:lnTo>
                    <a:pt x="1042130" y="499872"/>
                  </a:lnTo>
                  <a:lnTo>
                    <a:pt x="1043368" y="496538"/>
                  </a:lnTo>
                  <a:lnTo>
                    <a:pt x="1046131" y="493014"/>
                  </a:lnTo>
                  <a:lnTo>
                    <a:pt x="1038415" y="482727"/>
                  </a:lnTo>
                  <a:lnTo>
                    <a:pt x="1039178" y="476250"/>
                  </a:lnTo>
                  <a:lnTo>
                    <a:pt x="1041654" y="471107"/>
                  </a:lnTo>
                  <a:lnTo>
                    <a:pt x="1047559" y="467106"/>
                  </a:lnTo>
                  <a:lnTo>
                    <a:pt x="1049941" y="460438"/>
                  </a:lnTo>
                  <a:lnTo>
                    <a:pt x="1044226" y="453104"/>
                  </a:lnTo>
                  <a:lnTo>
                    <a:pt x="1054703" y="447008"/>
                  </a:lnTo>
                  <a:lnTo>
                    <a:pt x="1055465" y="440436"/>
                  </a:lnTo>
                  <a:lnTo>
                    <a:pt x="1048893" y="439674"/>
                  </a:lnTo>
                  <a:lnTo>
                    <a:pt x="1046893" y="436721"/>
                  </a:lnTo>
                  <a:lnTo>
                    <a:pt x="1046512" y="433578"/>
                  </a:lnTo>
                  <a:lnTo>
                    <a:pt x="1050893" y="429863"/>
                  </a:lnTo>
                  <a:lnTo>
                    <a:pt x="1045940" y="428911"/>
                  </a:lnTo>
                  <a:lnTo>
                    <a:pt x="1044797" y="432245"/>
                  </a:lnTo>
                  <a:lnTo>
                    <a:pt x="1042988" y="430816"/>
                  </a:lnTo>
                  <a:lnTo>
                    <a:pt x="1036034" y="426911"/>
                  </a:lnTo>
                  <a:lnTo>
                    <a:pt x="1033843" y="422338"/>
                  </a:lnTo>
                  <a:lnTo>
                    <a:pt x="1035082" y="419005"/>
                  </a:lnTo>
                  <a:lnTo>
                    <a:pt x="1034891" y="417481"/>
                  </a:lnTo>
                  <a:lnTo>
                    <a:pt x="1029557" y="413290"/>
                  </a:lnTo>
                  <a:lnTo>
                    <a:pt x="1030891" y="411575"/>
                  </a:lnTo>
                  <a:lnTo>
                    <a:pt x="1037177" y="410718"/>
                  </a:lnTo>
                  <a:lnTo>
                    <a:pt x="1039178" y="413671"/>
                  </a:lnTo>
                  <a:lnTo>
                    <a:pt x="1043559" y="422720"/>
                  </a:lnTo>
                  <a:lnTo>
                    <a:pt x="1051274" y="420148"/>
                  </a:lnTo>
                  <a:lnTo>
                    <a:pt x="1054037" y="416624"/>
                  </a:lnTo>
                  <a:lnTo>
                    <a:pt x="1053560" y="413480"/>
                  </a:lnTo>
                  <a:lnTo>
                    <a:pt x="1059466" y="409480"/>
                  </a:lnTo>
                  <a:lnTo>
                    <a:pt x="1063276" y="401003"/>
                  </a:lnTo>
                  <a:lnTo>
                    <a:pt x="1067943" y="400431"/>
                  </a:lnTo>
                  <a:lnTo>
                    <a:pt x="1073848" y="383572"/>
                  </a:lnTo>
                  <a:lnTo>
                    <a:pt x="1072801" y="375761"/>
                  </a:lnTo>
                  <a:lnTo>
                    <a:pt x="1072801" y="375761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2" name="Volný tvar: obrazec 31">
              <a:extLst>
                <a:ext uri="{FF2B5EF4-FFF2-40B4-BE49-F238E27FC236}">
                  <a16:creationId xmlns:a16="http://schemas.microsoft.com/office/drawing/2014/main" id="{B579A35E-4B4C-FF39-71FD-5B55CEAFF22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247858" y="3717035"/>
              <a:ext cx="910018" cy="791432"/>
            </a:xfrm>
            <a:custGeom>
              <a:avLst/>
              <a:gdLst>
                <a:gd name="connsiteX0" fmla="*/ 910019 w 910018"/>
                <a:gd name="connsiteY0" fmla="*/ 184690 h 791432"/>
                <a:gd name="connsiteX1" fmla="*/ 904208 w 910018"/>
                <a:gd name="connsiteY1" fmla="*/ 164497 h 791432"/>
                <a:gd name="connsiteX2" fmla="*/ 903637 w 910018"/>
                <a:gd name="connsiteY2" fmla="*/ 159829 h 791432"/>
                <a:gd name="connsiteX3" fmla="*/ 901255 w 910018"/>
                <a:gd name="connsiteY3" fmla="*/ 153734 h 791432"/>
                <a:gd name="connsiteX4" fmla="*/ 896112 w 910018"/>
                <a:gd name="connsiteY4" fmla="*/ 151162 h 791432"/>
                <a:gd name="connsiteX5" fmla="*/ 891350 w 910018"/>
                <a:gd name="connsiteY5" fmla="*/ 151733 h 791432"/>
                <a:gd name="connsiteX6" fmla="*/ 884206 w 910018"/>
                <a:gd name="connsiteY6" fmla="*/ 146209 h 791432"/>
                <a:gd name="connsiteX7" fmla="*/ 879253 w 910018"/>
                <a:gd name="connsiteY7" fmla="*/ 145256 h 791432"/>
                <a:gd name="connsiteX8" fmla="*/ 871442 w 910018"/>
                <a:gd name="connsiteY8" fmla="*/ 146304 h 791432"/>
                <a:gd name="connsiteX9" fmla="*/ 876681 w 910018"/>
                <a:gd name="connsiteY9" fmla="*/ 124777 h 791432"/>
                <a:gd name="connsiteX10" fmla="*/ 871919 w 910018"/>
                <a:gd name="connsiteY10" fmla="*/ 112490 h 791432"/>
                <a:gd name="connsiteX11" fmla="*/ 867156 w 910018"/>
                <a:gd name="connsiteY11" fmla="*/ 113157 h 791432"/>
                <a:gd name="connsiteX12" fmla="*/ 865156 w 910018"/>
                <a:gd name="connsiteY12" fmla="*/ 110204 h 791432"/>
                <a:gd name="connsiteX13" fmla="*/ 866775 w 910018"/>
                <a:gd name="connsiteY13" fmla="*/ 110014 h 791432"/>
                <a:gd name="connsiteX14" fmla="*/ 864775 w 910018"/>
                <a:gd name="connsiteY14" fmla="*/ 106966 h 791432"/>
                <a:gd name="connsiteX15" fmla="*/ 860393 w 910018"/>
                <a:gd name="connsiteY15" fmla="*/ 97917 h 791432"/>
                <a:gd name="connsiteX16" fmla="*/ 854107 w 910018"/>
                <a:gd name="connsiteY16" fmla="*/ 98774 h 791432"/>
                <a:gd name="connsiteX17" fmla="*/ 845439 w 910018"/>
                <a:gd name="connsiteY17" fmla="*/ 93440 h 791432"/>
                <a:gd name="connsiteX18" fmla="*/ 840486 w 910018"/>
                <a:gd name="connsiteY18" fmla="*/ 92488 h 791432"/>
                <a:gd name="connsiteX19" fmla="*/ 834390 w 910018"/>
                <a:gd name="connsiteY19" fmla="*/ 82010 h 791432"/>
                <a:gd name="connsiteX20" fmla="*/ 828770 w 910018"/>
                <a:gd name="connsiteY20" fmla="*/ 76295 h 791432"/>
                <a:gd name="connsiteX21" fmla="*/ 826008 w 910018"/>
                <a:gd name="connsiteY21" fmla="*/ 54197 h 791432"/>
                <a:gd name="connsiteX22" fmla="*/ 822198 w 910018"/>
                <a:gd name="connsiteY22" fmla="*/ 49911 h 791432"/>
                <a:gd name="connsiteX23" fmla="*/ 815530 w 910018"/>
                <a:gd name="connsiteY23" fmla="*/ 47530 h 791432"/>
                <a:gd name="connsiteX24" fmla="*/ 804101 w 910018"/>
                <a:gd name="connsiteY24" fmla="*/ 45815 h 791432"/>
                <a:gd name="connsiteX25" fmla="*/ 799338 w 910018"/>
                <a:gd name="connsiteY25" fmla="*/ 46387 h 791432"/>
                <a:gd name="connsiteX26" fmla="*/ 794195 w 910018"/>
                <a:gd name="connsiteY26" fmla="*/ 56674 h 791432"/>
                <a:gd name="connsiteX27" fmla="*/ 789718 w 910018"/>
                <a:gd name="connsiteY27" fmla="*/ 58864 h 791432"/>
                <a:gd name="connsiteX28" fmla="*/ 769811 w 910018"/>
                <a:gd name="connsiteY28" fmla="*/ 53340 h 791432"/>
                <a:gd name="connsiteX29" fmla="*/ 765810 w 910018"/>
                <a:gd name="connsiteY29" fmla="*/ 47434 h 791432"/>
                <a:gd name="connsiteX30" fmla="*/ 762667 w 910018"/>
                <a:gd name="connsiteY30" fmla="*/ 47815 h 791432"/>
                <a:gd name="connsiteX31" fmla="*/ 753618 w 910018"/>
                <a:gd name="connsiteY31" fmla="*/ 52197 h 791432"/>
                <a:gd name="connsiteX32" fmla="*/ 745046 w 910018"/>
                <a:gd name="connsiteY32" fmla="*/ 48482 h 791432"/>
                <a:gd name="connsiteX33" fmla="*/ 733806 w 910018"/>
                <a:gd name="connsiteY33" fmla="*/ 35528 h 791432"/>
                <a:gd name="connsiteX34" fmla="*/ 729234 w 910018"/>
                <a:gd name="connsiteY34" fmla="*/ 24860 h 791432"/>
                <a:gd name="connsiteX35" fmla="*/ 725710 w 910018"/>
                <a:gd name="connsiteY35" fmla="*/ 22098 h 791432"/>
                <a:gd name="connsiteX36" fmla="*/ 721328 w 910018"/>
                <a:gd name="connsiteY36" fmla="*/ 25908 h 791432"/>
                <a:gd name="connsiteX37" fmla="*/ 705803 w 910018"/>
                <a:gd name="connsiteY37" fmla="*/ 29432 h 791432"/>
                <a:gd name="connsiteX38" fmla="*/ 697802 w 910018"/>
                <a:gd name="connsiteY38" fmla="*/ 17621 h 791432"/>
                <a:gd name="connsiteX39" fmla="*/ 687229 w 910018"/>
                <a:gd name="connsiteY39" fmla="*/ 22193 h 791432"/>
                <a:gd name="connsiteX40" fmla="*/ 680657 w 910018"/>
                <a:gd name="connsiteY40" fmla="*/ 21431 h 791432"/>
                <a:gd name="connsiteX41" fmla="*/ 677704 w 910018"/>
                <a:gd name="connsiteY41" fmla="*/ 23431 h 791432"/>
                <a:gd name="connsiteX42" fmla="*/ 669417 w 910018"/>
                <a:gd name="connsiteY42" fmla="*/ 21241 h 791432"/>
                <a:gd name="connsiteX43" fmla="*/ 665131 w 910018"/>
                <a:gd name="connsiteY43" fmla="*/ 25051 h 791432"/>
                <a:gd name="connsiteX44" fmla="*/ 663512 w 910018"/>
                <a:gd name="connsiteY44" fmla="*/ 25241 h 791432"/>
                <a:gd name="connsiteX45" fmla="*/ 655415 w 910018"/>
                <a:gd name="connsiteY45" fmla="*/ 24670 h 791432"/>
                <a:gd name="connsiteX46" fmla="*/ 647795 w 910018"/>
                <a:gd name="connsiteY46" fmla="*/ 27242 h 791432"/>
                <a:gd name="connsiteX47" fmla="*/ 633794 w 910018"/>
                <a:gd name="connsiteY47" fmla="*/ 30575 h 791432"/>
                <a:gd name="connsiteX48" fmla="*/ 618744 w 910018"/>
                <a:gd name="connsiteY48" fmla="*/ 38957 h 791432"/>
                <a:gd name="connsiteX49" fmla="*/ 612458 w 910018"/>
                <a:gd name="connsiteY49" fmla="*/ 39719 h 791432"/>
                <a:gd name="connsiteX50" fmla="*/ 611124 w 910018"/>
                <a:gd name="connsiteY50" fmla="*/ 41529 h 791432"/>
                <a:gd name="connsiteX51" fmla="*/ 604361 w 910018"/>
                <a:gd name="connsiteY51" fmla="*/ 39148 h 791432"/>
                <a:gd name="connsiteX52" fmla="*/ 604742 w 910018"/>
                <a:gd name="connsiteY52" fmla="*/ 29527 h 791432"/>
                <a:gd name="connsiteX53" fmla="*/ 603313 w 910018"/>
                <a:gd name="connsiteY53" fmla="*/ 18478 h 791432"/>
                <a:gd name="connsiteX54" fmla="*/ 595979 w 910018"/>
                <a:gd name="connsiteY54" fmla="*/ 11335 h 791432"/>
                <a:gd name="connsiteX55" fmla="*/ 590074 w 910018"/>
                <a:gd name="connsiteY55" fmla="*/ 2476 h 791432"/>
                <a:gd name="connsiteX56" fmla="*/ 586930 w 910018"/>
                <a:gd name="connsiteY56" fmla="*/ 2857 h 791432"/>
                <a:gd name="connsiteX57" fmla="*/ 585692 w 910018"/>
                <a:gd name="connsiteY57" fmla="*/ 6286 h 791432"/>
                <a:gd name="connsiteX58" fmla="*/ 578644 w 910018"/>
                <a:gd name="connsiteY58" fmla="*/ 762 h 791432"/>
                <a:gd name="connsiteX59" fmla="*/ 572072 w 910018"/>
                <a:gd name="connsiteY59" fmla="*/ 0 h 791432"/>
                <a:gd name="connsiteX60" fmla="*/ 550069 w 910018"/>
                <a:gd name="connsiteY60" fmla="*/ 2762 h 791432"/>
                <a:gd name="connsiteX61" fmla="*/ 547116 w 910018"/>
                <a:gd name="connsiteY61" fmla="*/ 17621 h 791432"/>
                <a:gd name="connsiteX62" fmla="*/ 538829 w 910018"/>
                <a:gd name="connsiteY62" fmla="*/ 28289 h 791432"/>
                <a:gd name="connsiteX63" fmla="*/ 539210 w 910018"/>
                <a:gd name="connsiteY63" fmla="*/ 31432 h 791432"/>
                <a:gd name="connsiteX64" fmla="*/ 539687 w 910018"/>
                <a:gd name="connsiteY64" fmla="*/ 34576 h 791432"/>
                <a:gd name="connsiteX65" fmla="*/ 530352 w 910018"/>
                <a:gd name="connsiteY65" fmla="*/ 37338 h 791432"/>
                <a:gd name="connsiteX66" fmla="*/ 524828 w 910018"/>
                <a:gd name="connsiteY66" fmla="*/ 31623 h 791432"/>
                <a:gd name="connsiteX67" fmla="*/ 520255 w 910018"/>
                <a:gd name="connsiteY67" fmla="*/ 33814 h 791432"/>
                <a:gd name="connsiteX68" fmla="*/ 518351 w 910018"/>
                <a:gd name="connsiteY68" fmla="*/ 30861 h 791432"/>
                <a:gd name="connsiteX69" fmla="*/ 515207 w 910018"/>
                <a:gd name="connsiteY69" fmla="*/ 31242 h 791432"/>
                <a:gd name="connsiteX70" fmla="*/ 513017 w 910018"/>
                <a:gd name="connsiteY70" fmla="*/ 26765 h 791432"/>
                <a:gd name="connsiteX71" fmla="*/ 505111 w 910018"/>
                <a:gd name="connsiteY71" fmla="*/ 27718 h 791432"/>
                <a:gd name="connsiteX72" fmla="*/ 503111 w 910018"/>
                <a:gd name="connsiteY72" fmla="*/ 24765 h 791432"/>
                <a:gd name="connsiteX73" fmla="*/ 499586 w 910018"/>
                <a:gd name="connsiteY73" fmla="*/ 22003 h 791432"/>
                <a:gd name="connsiteX74" fmla="*/ 496443 w 910018"/>
                <a:gd name="connsiteY74" fmla="*/ 22479 h 791432"/>
                <a:gd name="connsiteX75" fmla="*/ 498348 w 910018"/>
                <a:gd name="connsiteY75" fmla="*/ 25432 h 791432"/>
                <a:gd name="connsiteX76" fmla="*/ 498824 w 910018"/>
                <a:gd name="connsiteY76" fmla="*/ 28575 h 791432"/>
                <a:gd name="connsiteX77" fmla="*/ 497777 w 910018"/>
                <a:gd name="connsiteY77" fmla="*/ 33528 h 791432"/>
                <a:gd name="connsiteX78" fmla="*/ 498253 w 910018"/>
                <a:gd name="connsiteY78" fmla="*/ 36671 h 791432"/>
                <a:gd name="connsiteX79" fmla="*/ 496634 w 910018"/>
                <a:gd name="connsiteY79" fmla="*/ 36862 h 791432"/>
                <a:gd name="connsiteX80" fmla="*/ 497396 w 910018"/>
                <a:gd name="connsiteY80" fmla="*/ 43148 h 791432"/>
                <a:gd name="connsiteX81" fmla="*/ 483680 w 910018"/>
                <a:gd name="connsiteY81" fmla="*/ 48101 h 791432"/>
                <a:gd name="connsiteX82" fmla="*/ 480060 w 910018"/>
                <a:gd name="connsiteY82" fmla="*/ 45339 h 791432"/>
                <a:gd name="connsiteX83" fmla="*/ 477488 w 910018"/>
                <a:gd name="connsiteY83" fmla="*/ 50482 h 791432"/>
                <a:gd name="connsiteX84" fmla="*/ 478155 w 910018"/>
                <a:gd name="connsiteY84" fmla="*/ 55245 h 791432"/>
                <a:gd name="connsiteX85" fmla="*/ 476917 w 910018"/>
                <a:gd name="connsiteY85" fmla="*/ 58579 h 791432"/>
                <a:gd name="connsiteX86" fmla="*/ 467868 w 910018"/>
                <a:gd name="connsiteY86" fmla="*/ 62960 h 791432"/>
                <a:gd name="connsiteX87" fmla="*/ 464915 w 910018"/>
                <a:gd name="connsiteY87" fmla="*/ 64960 h 791432"/>
                <a:gd name="connsiteX88" fmla="*/ 461391 w 910018"/>
                <a:gd name="connsiteY88" fmla="*/ 62198 h 791432"/>
                <a:gd name="connsiteX89" fmla="*/ 461772 w 910018"/>
                <a:gd name="connsiteY89" fmla="*/ 65342 h 791432"/>
                <a:gd name="connsiteX90" fmla="*/ 467678 w 910018"/>
                <a:gd name="connsiteY90" fmla="*/ 74200 h 791432"/>
                <a:gd name="connsiteX91" fmla="*/ 470249 w 910018"/>
                <a:gd name="connsiteY91" fmla="*/ 81915 h 791432"/>
                <a:gd name="connsiteX92" fmla="*/ 465963 w 910018"/>
                <a:gd name="connsiteY92" fmla="*/ 85630 h 791432"/>
                <a:gd name="connsiteX93" fmla="*/ 467773 w 910018"/>
                <a:gd name="connsiteY93" fmla="*/ 87058 h 791432"/>
                <a:gd name="connsiteX94" fmla="*/ 464820 w 910018"/>
                <a:gd name="connsiteY94" fmla="*/ 89059 h 791432"/>
                <a:gd name="connsiteX95" fmla="*/ 463582 w 910018"/>
                <a:gd name="connsiteY95" fmla="*/ 92392 h 791432"/>
                <a:gd name="connsiteX96" fmla="*/ 456152 w 910018"/>
                <a:gd name="connsiteY96" fmla="*/ 96583 h 791432"/>
                <a:gd name="connsiteX97" fmla="*/ 456343 w 910018"/>
                <a:gd name="connsiteY97" fmla="*/ 98107 h 791432"/>
                <a:gd name="connsiteX98" fmla="*/ 460058 w 910018"/>
                <a:gd name="connsiteY98" fmla="*/ 102489 h 791432"/>
                <a:gd name="connsiteX99" fmla="*/ 456152 w 910018"/>
                <a:gd name="connsiteY99" fmla="*/ 109347 h 791432"/>
                <a:gd name="connsiteX100" fmla="*/ 456724 w 910018"/>
                <a:gd name="connsiteY100" fmla="*/ 114109 h 791432"/>
                <a:gd name="connsiteX101" fmla="*/ 457200 w 910018"/>
                <a:gd name="connsiteY101" fmla="*/ 117253 h 791432"/>
                <a:gd name="connsiteX102" fmla="*/ 455581 w 910018"/>
                <a:gd name="connsiteY102" fmla="*/ 117443 h 791432"/>
                <a:gd name="connsiteX103" fmla="*/ 455962 w 910018"/>
                <a:gd name="connsiteY103" fmla="*/ 120586 h 791432"/>
                <a:gd name="connsiteX104" fmla="*/ 452819 w 910018"/>
                <a:gd name="connsiteY104" fmla="*/ 121063 h 791432"/>
                <a:gd name="connsiteX105" fmla="*/ 451009 w 910018"/>
                <a:gd name="connsiteY105" fmla="*/ 119634 h 791432"/>
                <a:gd name="connsiteX106" fmla="*/ 447866 w 910018"/>
                <a:gd name="connsiteY106" fmla="*/ 120015 h 791432"/>
                <a:gd name="connsiteX107" fmla="*/ 447675 w 910018"/>
                <a:gd name="connsiteY107" fmla="*/ 118491 h 791432"/>
                <a:gd name="connsiteX108" fmla="*/ 444532 w 910018"/>
                <a:gd name="connsiteY108" fmla="*/ 118872 h 791432"/>
                <a:gd name="connsiteX109" fmla="*/ 430721 w 910018"/>
                <a:gd name="connsiteY109" fmla="*/ 123825 h 791432"/>
                <a:gd name="connsiteX110" fmla="*/ 429387 w 910018"/>
                <a:gd name="connsiteY110" fmla="*/ 125635 h 791432"/>
                <a:gd name="connsiteX111" fmla="*/ 426149 w 910018"/>
                <a:gd name="connsiteY111" fmla="*/ 126016 h 791432"/>
                <a:gd name="connsiteX112" fmla="*/ 419100 w 910018"/>
                <a:gd name="connsiteY112" fmla="*/ 120491 h 791432"/>
                <a:gd name="connsiteX113" fmla="*/ 414338 w 910018"/>
                <a:gd name="connsiteY113" fmla="*/ 121158 h 791432"/>
                <a:gd name="connsiteX114" fmla="*/ 415766 w 910018"/>
                <a:gd name="connsiteY114" fmla="*/ 119348 h 791432"/>
                <a:gd name="connsiteX115" fmla="*/ 408813 w 910018"/>
                <a:gd name="connsiteY115" fmla="*/ 115443 h 791432"/>
                <a:gd name="connsiteX116" fmla="*/ 408622 w 910018"/>
                <a:gd name="connsiteY116" fmla="*/ 113824 h 791432"/>
                <a:gd name="connsiteX117" fmla="*/ 411194 w 910018"/>
                <a:gd name="connsiteY117" fmla="*/ 108680 h 791432"/>
                <a:gd name="connsiteX118" fmla="*/ 407956 w 910018"/>
                <a:gd name="connsiteY118" fmla="*/ 109061 h 791432"/>
                <a:gd name="connsiteX119" fmla="*/ 405860 w 910018"/>
                <a:gd name="connsiteY119" fmla="*/ 104584 h 791432"/>
                <a:gd name="connsiteX120" fmla="*/ 398907 w 910018"/>
                <a:gd name="connsiteY120" fmla="*/ 100584 h 791432"/>
                <a:gd name="connsiteX121" fmla="*/ 396335 w 910018"/>
                <a:gd name="connsiteY121" fmla="*/ 92964 h 791432"/>
                <a:gd name="connsiteX122" fmla="*/ 392239 w 910018"/>
                <a:gd name="connsiteY122" fmla="*/ 98298 h 791432"/>
                <a:gd name="connsiteX123" fmla="*/ 386810 w 910018"/>
                <a:gd name="connsiteY123" fmla="*/ 94107 h 791432"/>
                <a:gd name="connsiteX124" fmla="*/ 382334 w 910018"/>
                <a:gd name="connsiteY124" fmla="*/ 96298 h 791432"/>
                <a:gd name="connsiteX125" fmla="*/ 382905 w 910018"/>
                <a:gd name="connsiteY125" fmla="*/ 101060 h 791432"/>
                <a:gd name="connsiteX126" fmla="*/ 379952 w 910018"/>
                <a:gd name="connsiteY126" fmla="*/ 103060 h 791432"/>
                <a:gd name="connsiteX127" fmla="*/ 380619 w 910018"/>
                <a:gd name="connsiteY127" fmla="*/ 107728 h 791432"/>
                <a:gd name="connsiteX128" fmla="*/ 379190 w 910018"/>
                <a:gd name="connsiteY128" fmla="*/ 109538 h 791432"/>
                <a:gd name="connsiteX129" fmla="*/ 381762 w 910018"/>
                <a:gd name="connsiteY129" fmla="*/ 117253 h 791432"/>
                <a:gd name="connsiteX130" fmla="*/ 377476 w 910018"/>
                <a:gd name="connsiteY130" fmla="*/ 120967 h 791432"/>
                <a:gd name="connsiteX131" fmla="*/ 372523 w 910018"/>
                <a:gd name="connsiteY131" fmla="*/ 120015 h 791432"/>
                <a:gd name="connsiteX132" fmla="*/ 366141 w 910018"/>
                <a:gd name="connsiteY132" fmla="*/ 108013 h 791432"/>
                <a:gd name="connsiteX133" fmla="*/ 358712 w 910018"/>
                <a:gd name="connsiteY133" fmla="*/ 112204 h 791432"/>
                <a:gd name="connsiteX134" fmla="*/ 358521 w 910018"/>
                <a:gd name="connsiteY134" fmla="*/ 110585 h 791432"/>
                <a:gd name="connsiteX135" fmla="*/ 353759 w 910018"/>
                <a:gd name="connsiteY135" fmla="*/ 111157 h 791432"/>
                <a:gd name="connsiteX136" fmla="*/ 352520 w 910018"/>
                <a:gd name="connsiteY136" fmla="*/ 114586 h 791432"/>
                <a:gd name="connsiteX137" fmla="*/ 348805 w 910018"/>
                <a:gd name="connsiteY137" fmla="*/ 110204 h 791432"/>
                <a:gd name="connsiteX138" fmla="*/ 346043 w 910018"/>
                <a:gd name="connsiteY138" fmla="*/ 113728 h 791432"/>
                <a:gd name="connsiteX139" fmla="*/ 349568 w 910018"/>
                <a:gd name="connsiteY139" fmla="*/ 116491 h 791432"/>
                <a:gd name="connsiteX140" fmla="*/ 348425 w 910018"/>
                <a:gd name="connsiteY140" fmla="*/ 119920 h 791432"/>
                <a:gd name="connsiteX141" fmla="*/ 357378 w 910018"/>
                <a:gd name="connsiteY141" fmla="*/ 126778 h 791432"/>
                <a:gd name="connsiteX142" fmla="*/ 357950 w 910018"/>
                <a:gd name="connsiteY142" fmla="*/ 131540 h 791432"/>
                <a:gd name="connsiteX143" fmla="*/ 358140 w 910018"/>
                <a:gd name="connsiteY143" fmla="*/ 133064 h 791432"/>
                <a:gd name="connsiteX144" fmla="*/ 361855 w 910018"/>
                <a:gd name="connsiteY144" fmla="*/ 137446 h 791432"/>
                <a:gd name="connsiteX145" fmla="*/ 367189 w 910018"/>
                <a:gd name="connsiteY145" fmla="*/ 141542 h 791432"/>
                <a:gd name="connsiteX146" fmla="*/ 364236 w 910018"/>
                <a:gd name="connsiteY146" fmla="*/ 143542 h 791432"/>
                <a:gd name="connsiteX147" fmla="*/ 368237 w 910018"/>
                <a:gd name="connsiteY147" fmla="*/ 149447 h 791432"/>
                <a:gd name="connsiteX148" fmla="*/ 361379 w 910018"/>
                <a:gd name="connsiteY148" fmla="*/ 158305 h 791432"/>
                <a:gd name="connsiteX149" fmla="*/ 356616 w 910018"/>
                <a:gd name="connsiteY149" fmla="*/ 158972 h 791432"/>
                <a:gd name="connsiteX150" fmla="*/ 355854 w 910018"/>
                <a:gd name="connsiteY150" fmla="*/ 165449 h 791432"/>
                <a:gd name="connsiteX151" fmla="*/ 348329 w 910018"/>
                <a:gd name="connsiteY151" fmla="*/ 169640 h 791432"/>
                <a:gd name="connsiteX152" fmla="*/ 343471 w 910018"/>
                <a:gd name="connsiteY152" fmla="*/ 168592 h 791432"/>
                <a:gd name="connsiteX153" fmla="*/ 342043 w 910018"/>
                <a:gd name="connsiteY153" fmla="*/ 170402 h 791432"/>
                <a:gd name="connsiteX154" fmla="*/ 341662 w 910018"/>
                <a:gd name="connsiteY154" fmla="*/ 167259 h 791432"/>
                <a:gd name="connsiteX155" fmla="*/ 340424 w 910018"/>
                <a:gd name="connsiteY155" fmla="*/ 170593 h 791432"/>
                <a:gd name="connsiteX156" fmla="*/ 335566 w 910018"/>
                <a:gd name="connsiteY156" fmla="*/ 169640 h 791432"/>
                <a:gd name="connsiteX157" fmla="*/ 333946 w 910018"/>
                <a:gd name="connsiteY157" fmla="*/ 169831 h 791432"/>
                <a:gd name="connsiteX158" fmla="*/ 333756 w 910018"/>
                <a:gd name="connsiteY158" fmla="*/ 168211 h 791432"/>
                <a:gd name="connsiteX159" fmla="*/ 331946 w 910018"/>
                <a:gd name="connsiteY159" fmla="*/ 166878 h 791432"/>
                <a:gd name="connsiteX160" fmla="*/ 327660 w 910018"/>
                <a:gd name="connsiteY160" fmla="*/ 170688 h 791432"/>
                <a:gd name="connsiteX161" fmla="*/ 328803 w 910018"/>
                <a:gd name="connsiteY161" fmla="*/ 167259 h 791432"/>
                <a:gd name="connsiteX162" fmla="*/ 328422 w 910018"/>
                <a:gd name="connsiteY162" fmla="*/ 164116 h 791432"/>
                <a:gd name="connsiteX163" fmla="*/ 323088 w 910018"/>
                <a:gd name="connsiteY163" fmla="*/ 160020 h 791432"/>
                <a:gd name="connsiteX164" fmla="*/ 319754 w 910018"/>
                <a:gd name="connsiteY164" fmla="*/ 158782 h 791432"/>
                <a:gd name="connsiteX165" fmla="*/ 316802 w 910018"/>
                <a:gd name="connsiteY165" fmla="*/ 160782 h 791432"/>
                <a:gd name="connsiteX166" fmla="*/ 312039 w 910018"/>
                <a:gd name="connsiteY166" fmla="*/ 161449 h 791432"/>
                <a:gd name="connsiteX167" fmla="*/ 310229 w 910018"/>
                <a:gd name="connsiteY167" fmla="*/ 160020 h 791432"/>
                <a:gd name="connsiteX168" fmla="*/ 296418 w 910018"/>
                <a:gd name="connsiteY168" fmla="*/ 164973 h 791432"/>
                <a:gd name="connsiteX169" fmla="*/ 294513 w 910018"/>
                <a:gd name="connsiteY169" fmla="*/ 162020 h 791432"/>
                <a:gd name="connsiteX170" fmla="*/ 290132 w 910018"/>
                <a:gd name="connsiteY170" fmla="*/ 165830 h 791432"/>
                <a:gd name="connsiteX171" fmla="*/ 286988 w 910018"/>
                <a:gd name="connsiteY171" fmla="*/ 166211 h 791432"/>
                <a:gd name="connsiteX172" fmla="*/ 283083 w 910018"/>
                <a:gd name="connsiteY172" fmla="*/ 173069 h 791432"/>
                <a:gd name="connsiteX173" fmla="*/ 279654 w 910018"/>
                <a:gd name="connsiteY173" fmla="*/ 171926 h 791432"/>
                <a:gd name="connsiteX174" fmla="*/ 279463 w 910018"/>
                <a:gd name="connsiteY174" fmla="*/ 170402 h 791432"/>
                <a:gd name="connsiteX175" fmla="*/ 277273 w 910018"/>
                <a:gd name="connsiteY175" fmla="*/ 165830 h 791432"/>
                <a:gd name="connsiteX176" fmla="*/ 274320 w 910018"/>
                <a:gd name="connsiteY176" fmla="*/ 167830 h 791432"/>
                <a:gd name="connsiteX177" fmla="*/ 274606 w 910018"/>
                <a:gd name="connsiteY177" fmla="*/ 169354 h 791432"/>
                <a:gd name="connsiteX178" fmla="*/ 266224 w 910018"/>
                <a:gd name="connsiteY178" fmla="*/ 167259 h 791432"/>
                <a:gd name="connsiteX179" fmla="*/ 273177 w 910018"/>
                <a:gd name="connsiteY179" fmla="*/ 171164 h 791432"/>
                <a:gd name="connsiteX180" fmla="*/ 269081 w 910018"/>
                <a:gd name="connsiteY180" fmla="*/ 176498 h 791432"/>
                <a:gd name="connsiteX181" fmla="*/ 272225 w 910018"/>
                <a:gd name="connsiteY181" fmla="*/ 176117 h 791432"/>
                <a:gd name="connsiteX182" fmla="*/ 274225 w 910018"/>
                <a:gd name="connsiteY182" fmla="*/ 179070 h 791432"/>
                <a:gd name="connsiteX183" fmla="*/ 274034 w 910018"/>
                <a:gd name="connsiteY183" fmla="*/ 190309 h 791432"/>
                <a:gd name="connsiteX184" fmla="*/ 271272 w 910018"/>
                <a:gd name="connsiteY184" fmla="*/ 193834 h 791432"/>
                <a:gd name="connsiteX185" fmla="*/ 269462 w 910018"/>
                <a:gd name="connsiteY185" fmla="*/ 192500 h 791432"/>
                <a:gd name="connsiteX186" fmla="*/ 266510 w 910018"/>
                <a:gd name="connsiteY186" fmla="*/ 194500 h 791432"/>
                <a:gd name="connsiteX187" fmla="*/ 261176 w 910018"/>
                <a:gd name="connsiteY187" fmla="*/ 203168 h 791432"/>
                <a:gd name="connsiteX188" fmla="*/ 245840 w 910018"/>
                <a:gd name="connsiteY188" fmla="*/ 221171 h 791432"/>
                <a:gd name="connsiteX189" fmla="*/ 245650 w 910018"/>
                <a:gd name="connsiteY189" fmla="*/ 219551 h 791432"/>
                <a:gd name="connsiteX190" fmla="*/ 244507 w 910018"/>
                <a:gd name="connsiteY190" fmla="*/ 210121 h 791432"/>
                <a:gd name="connsiteX191" fmla="*/ 238887 w 910018"/>
                <a:gd name="connsiteY191" fmla="*/ 204406 h 791432"/>
                <a:gd name="connsiteX192" fmla="*/ 238887 w 910018"/>
                <a:gd name="connsiteY192" fmla="*/ 204406 h 791432"/>
                <a:gd name="connsiteX193" fmla="*/ 233172 w 910018"/>
                <a:gd name="connsiteY193" fmla="*/ 197072 h 791432"/>
                <a:gd name="connsiteX194" fmla="*/ 226695 w 910018"/>
                <a:gd name="connsiteY194" fmla="*/ 196310 h 791432"/>
                <a:gd name="connsiteX195" fmla="*/ 227838 w 910018"/>
                <a:gd name="connsiteY195" fmla="*/ 192976 h 791432"/>
                <a:gd name="connsiteX196" fmla="*/ 221552 w 910018"/>
                <a:gd name="connsiteY196" fmla="*/ 193834 h 791432"/>
                <a:gd name="connsiteX197" fmla="*/ 218218 w 910018"/>
                <a:gd name="connsiteY197" fmla="*/ 192596 h 791432"/>
                <a:gd name="connsiteX198" fmla="*/ 218408 w 910018"/>
                <a:gd name="connsiteY198" fmla="*/ 194215 h 791432"/>
                <a:gd name="connsiteX199" fmla="*/ 213455 w 910018"/>
                <a:gd name="connsiteY199" fmla="*/ 193262 h 791432"/>
                <a:gd name="connsiteX200" fmla="*/ 215646 w 910018"/>
                <a:gd name="connsiteY200" fmla="*/ 197739 h 791432"/>
                <a:gd name="connsiteX201" fmla="*/ 214217 w 910018"/>
                <a:gd name="connsiteY201" fmla="*/ 199549 h 791432"/>
                <a:gd name="connsiteX202" fmla="*/ 212027 w 910018"/>
                <a:gd name="connsiteY202" fmla="*/ 194977 h 791432"/>
                <a:gd name="connsiteX203" fmla="*/ 202597 w 910018"/>
                <a:gd name="connsiteY203" fmla="*/ 196215 h 791432"/>
                <a:gd name="connsiteX204" fmla="*/ 203549 w 910018"/>
                <a:gd name="connsiteY204" fmla="*/ 191262 h 791432"/>
                <a:gd name="connsiteX205" fmla="*/ 199835 w 910018"/>
                <a:gd name="connsiteY205" fmla="*/ 186976 h 791432"/>
                <a:gd name="connsiteX206" fmla="*/ 196882 w 910018"/>
                <a:gd name="connsiteY206" fmla="*/ 188881 h 791432"/>
                <a:gd name="connsiteX207" fmla="*/ 184976 w 910018"/>
                <a:gd name="connsiteY207" fmla="*/ 184023 h 791432"/>
                <a:gd name="connsiteX208" fmla="*/ 186214 w 910018"/>
                <a:gd name="connsiteY208" fmla="*/ 193453 h 791432"/>
                <a:gd name="connsiteX209" fmla="*/ 182880 w 910018"/>
                <a:gd name="connsiteY209" fmla="*/ 192310 h 791432"/>
                <a:gd name="connsiteX210" fmla="*/ 174974 w 910018"/>
                <a:gd name="connsiteY210" fmla="*/ 193262 h 791432"/>
                <a:gd name="connsiteX211" fmla="*/ 174593 w 910018"/>
                <a:gd name="connsiteY211" fmla="*/ 190119 h 791432"/>
                <a:gd name="connsiteX212" fmla="*/ 175355 w 910018"/>
                <a:gd name="connsiteY212" fmla="*/ 183642 h 791432"/>
                <a:gd name="connsiteX213" fmla="*/ 175546 w 910018"/>
                <a:gd name="connsiteY213" fmla="*/ 172402 h 791432"/>
                <a:gd name="connsiteX214" fmla="*/ 181261 w 910018"/>
                <a:gd name="connsiteY214" fmla="*/ 166878 h 791432"/>
                <a:gd name="connsiteX215" fmla="*/ 180975 w 910018"/>
                <a:gd name="connsiteY215" fmla="*/ 165259 h 791432"/>
                <a:gd name="connsiteX216" fmla="*/ 177832 w 910018"/>
                <a:gd name="connsiteY216" fmla="*/ 165640 h 791432"/>
                <a:gd name="connsiteX217" fmla="*/ 170307 w 910018"/>
                <a:gd name="connsiteY217" fmla="*/ 156972 h 791432"/>
                <a:gd name="connsiteX218" fmla="*/ 170307 w 910018"/>
                <a:gd name="connsiteY218" fmla="*/ 156972 h 791432"/>
                <a:gd name="connsiteX219" fmla="*/ 170783 w 910018"/>
                <a:gd name="connsiteY219" fmla="*/ 160210 h 791432"/>
                <a:gd name="connsiteX220" fmla="*/ 166021 w 910018"/>
                <a:gd name="connsiteY220" fmla="*/ 160782 h 791432"/>
                <a:gd name="connsiteX221" fmla="*/ 166211 w 910018"/>
                <a:gd name="connsiteY221" fmla="*/ 162306 h 791432"/>
                <a:gd name="connsiteX222" fmla="*/ 159925 w 910018"/>
                <a:gd name="connsiteY222" fmla="*/ 163163 h 791432"/>
                <a:gd name="connsiteX223" fmla="*/ 159353 w 910018"/>
                <a:gd name="connsiteY223" fmla="*/ 171259 h 791432"/>
                <a:gd name="connsiteX224" fmla="*/ 156401 w 910018"/>
                <a:gd name="connsiteY224" fmla="*/ 173260 h 791432"/>
                <a:gd name="connsiteX225" fmla="*/ 157925 w 910018"/>
                <a:gd name="connsiteY225" fmla="*/ 172974 h 791432"/>
                <a:gd name="connsiteX226" fmla="*/ 156782 w 910018"/>
                <a:gd name="connsiteY226" fmla="*/ 176403 h 791432"/>
                <a:gd name="connsiteX227" fmla="*/ 154972 w 910018"/>
                <a:gd name="connsiteY227" fmla="*/ 174974 h 791432"/>
                <a:gd name="connsiteX228" fmla="*/ 152210 w 910018"/>
                <a:gd name="connsiteY228" fmla="*/ 178594 h 791432"/>
                <a:gd name="connsiteX229" fmla="*/ 152400 w 910018"/>
                <a:gd name="connsiteY229" fmla="*/ 180118 h 791432"/>
                <a:gd name="connsiteX230" fmla="*/ 151257 w 910018"/>
                <a:gd name="connsiteY230" fmla="*/ 183451 h 791432"/>
                <a:gd name="connsiteX231" fmla="*/ 146495 w 910018"/>
                <a:gd name="connsiteY231" fmla="*/ 184118 h 791432"/>
                <a:gd name="connsiteX232" fmla="*/ 147542 w 910018"/>
                <a:gd name="connsiteY232" fmla="*/ 192024 h 791432"/>
                <a:gd name="connsiteX233" fmla="*/ 145733 w 910018"/>
                <a:gd name="connsiteY233" fmla="*/ 190595 h 791432"/>
                <a:gd name="connsiteX234" fmla="*/ 146399 w 910018"/>
                <a:gd name="connsiteY234" fmla="*/ 195358 h 791432"/>
                <a:gd name="connsiteX235" fmla="*/ 146971 w 910018"/>
                <a:gd name="connsiteY235" fmla="*/ 200120 h 791432"/>
                <a:gd name="connsiteX236" fmla="*/ 149543 w 910018"/>
                <a:gd name="connsiteY236" fmla="*/ 207740 h 791432"/>
                <a:gd name="connsiteX237" fmla="*/ 153543 w 910018"/>
                <a:gd name="connsiteY237" fmla="*/ 213646 h 791432"/>
                <a:gd name="connsiteX238" fmla="*/ 152495 w 910018"/>
                <a:gd name="connsiteY238" fmla="*/ 218599 h 791432"/>
                <a:gd name="connsiteX239" fmla="*/ 159258 w 910018"/>
                <a:gd name="connsiteY239" fmla="*/ 220980 h 791432"/>
                <a:gd name="connsiteX240" fmla="*/ 159449 w 910018"/>
                <a:gd name="connsiteY240" fmla="*/ 222504 h 791432"/>
                <a:gd name="connsiteX241" fmla="*/ 162020 w 910018"/>
                <a:gd name="connsiteY241" fmla="*/ 230219 h 791432"/>
                <a:gd name="connsiteX242" fmla="*/ 160496 w 910018"/>
                <a:gd name="connsiteY242" fmla="*/ 230410 h 791432"/>
                <a:gd name="connsiteX243" fmla="*/ 163068 w 910018"/>
                <a:gd name="connsiteY243" fmla="*/ 238125 h 791432"/>
                <a:gd name="connsiteX244" fmla="*/ 156686 w 910018"/>
                <a:gd name="connsiteY244" fmla="*/ 238887 h 791432"/>
                <a:gd name="connsiteX245" fmla="*/ 155162 w 910018"/>
                <a:gd name="connsiteY245" fmla="*/ 239173 h 791432"/>
                <a:gd name="connsiteX246" fmla="*/ 152019 w 910018"/>
                <a:gd name="connsiteY246" fmla="*/ 239554 h 791432"/>
                <a:gd name="connsiteX247" fmla="*/ 148304 w 910018"/>
                <a:gd name="connsiteY247" fmla="*/ 248031 h 791432"/>
                <a:gd name="connsiteX248" fmla="*/ 143351 w 910018"/>
                <a:gd name="connsiteY248" fmla="*/ 247078 h 791432"/>
                <a:gd name="connsiteX249" fmla="*/ 143732 w 910018"/>
                <a:gd name="connsiteY249" fmla="*/ 250222 h 791432"/>
                <a:gd name="connsiteX250" fmla="*/ 137636 w 910018"/>
                <a:gd name="connsiteY250" fmla="*/ 252603 h 791432"/>
                <a:gd name="connsiteX251" fmla="*/ 135636 w 910018"/>
                <a:gd name="connsiteY251" fmla="*/ 249650 h 791432"/>
                <a:gd name="connsiteX252" fmla="*/ 132874 w 910018"/>
                <a:gd name="connsiteY252" fmla="*/ 266033 h 791432"/>
                <a:gd name="connsiteX253" fmla="*/ 131350 w 910018"/>
                <a:gd name="connsiteY253" fmla="*/ 266224 h 791432"/>
                <a:gd name="connsiteX254" fmla="*/ 130207 w 910018"/>
                <a:gd name="connsiteY254" fmla="*/ 269557 h 791432"/>
                <a:gd name="connsiteX255" fmla="*/ 126968 w 910018"/>
                <a:gd name="connsiteY255" fmla="*/ 269938 h 791432"/>
                <a:gd name="connsiteX256" fmla="*/ 128969 w 910018"/>
                <a:gd name="connsiteY256" fmla="*/ 272891 h 791432"/>
                <a:gd name="connsiteX257" fmla="*/ 125825 w 910018"/>
                <a:gd name="connsiteY257" fmla="*/ 273367 h 791432"/>
                <a:gd name="connsiteX258" fmla="*/ 124682 w 910018"/>
                <a:gd name="connsiteY258" fmla="*/ 276701 h 791432"/>
                <a:gd name="connsiteX259" fmla="*/ 120301 w 910018"/>
                <a:gd name="connsiteY259" fmla="*/ 280416 h 791432"/>
                <a:gd name="connsiteX260" fmla="*/ 119158 w 910018"/>
                <a:gd name="connsiteY260" fmla="*/ 283845 h 791432"/>
                <a:gd name="connsiteX261" fmla="*/ 120968 w 910018"/>
                <a:gd name="connsiteY261" fmla="*/ 285178 h 791432"/>
                <a:gd name="connsiteX262" fmla="*/ 119539 w 910018"/>
                <a:gd name="connsiteY262" fmla="*/ 286988 h 791432"/>
                <a:gd name="connsiteX263" fmla="*/ 110680 w 910018"/>
                <a:gd name="connsiteY263" fmla="*/ 292894 h 791432"/>
                <a:gd name="connsiteX264" fmla="*/ 107347 w 910018"/>
                <a:gd name="connsiteY264" fmla="*/ 291751 h 791432"/>
                <a:gd name="connsiteX265" fmla="*/ 106109 w 910018"/>
                <a:gd name="connsiteY265" fmla="*/ 295084 h 791432"/>
                <a:gd name="connsiteX266" fmla="*/ 97250 w 910018"/>
                <a:gd name="connsiteY266" fmla="*/ 288226 h 791432"/>
                <a:gd name="connsiteX267" fmla="*/ 95917 w 910018"/>
                <a:gd name="connsiteY267" fmla="*/ 289941 h 791432"/>
                <a:gd name="connsiteX268" fmla="*/ 93726 w 910018"/>
                <a:gd name="connsiteY268" fmla="*/ 285464 h 791432"/>
                <a:gd name="connsiteX269" fmla="*/ 92678 w 910018"/>
                <a:gd name="connsiteY269" fmla="*/ 290417 h 791432"/>
                <a:gd name="connsiteX270" fmla="*/ 88202 w 910018"/>
                <a:gd name="connsiteY270" fmla="*/ 292608 h 791432"/>
                <a:gd name="connsiteX271" fmla="*/ 85249 w 910018"/>
                <a:gd name="connsiteY271" fmla="*/ 294513 h 791432"/>
                <a:gd name="connsiteX272" fmla="*/ 76771 w 910018"/>
                <a:gd name="connsiteY272" fmla="*/ 290798 h 791432"/>
                <a:gd name="connsiteX273" fmla="*/ 75343 w 910018"/>
                <a:gd name="connsiteY273" fmla="*/ 292608 h 791432"/>
                <a:gd name="connsiteX274" fmla="*/ 70866 w 910018"/>
                <a:gd name="connsiteY274" fmla="*/ 294799 h 791432"/>
                <a:gd name="connsiteX275" fmla="*/ 66104 w 910018"/>
                <a:gd name="connsiteY275" fmla="*/ 295370 h 791432"/>
                <a:gd name="connsiteX276" fmla="*/ 65151 w 910018"/>
                <a:gd name="connsiteY276" fmla="*/ 300323 h 791432"/>
                <a:gd name="connsiteX277" fmla="*/ 63722 w 910018"/>
                <a:gd name="connsiteY277" fmla="*/ 302133 h 791432"/>
                <a:gd name="connsiteX278" fmla="*/ 56864 w 910018"/>
                <a:gd name="connsiteY278" fmla="*/ 298132 h 791432"/>
                <a:gd name="connsiteX279" fmla="*/ 54483 w 910018"/>
                <a:gd name="connsiteY279" fmla="*/ 292036 h 791432"/>
                <a:gd name="connsiteX280" fmla="*/ 51245 w 910018"/>
                <a:gd name="connsiteY280" fmla="*/ 292417 h 791432"/>
                <a:gd name="connsiteX281" fmla="*/ 48292 w 910018"/>
                <a:gd name="connsiteY281" fmla="*/ 294418 h 791432"/>
                <a:gd name="connsiteX282" fmla="*/ 53912 w 910018"/>
                <a:gd name="connsiteY282" fmla="*/ 300133 h 791432"/>
                <a:gd name="connsiteX283" fmla="*/ 49339 w 910018"/>
                <a:gd name="connsiteY283" fmla="*/ 302323 h 791432"/>
                <a:gd name="connsiteX284" fmla="*/ 44577 w 910018"/>
                <a:gd name="connsiteY284" fmla="*/ 302895 h 791432"/>
                <a:gd name="connsiteX285" fmla="*/ 40291 w 910018"/>
                <a:gd name="connsiteY285" fmla="*/ 306705 h 791432"/>
                <a:gd name="connsiteX286" fmla="*/ 41053 w 910018"/>
                <a:gd name="connsiteY286" fmla="*/ 312992 h 791432"/>
                <a:gd name="connsiteX287" fmla="*/ 42672 w 910018"/>
                <a:gd name="connsiteY287" fmla="*/ 312801 h 791432"/>
                <a:gd name="connsiteX288" fmla="*/ 42101 w 910018"/>
                <a:gd name="connsiteY288" fmla="*/ 320897 h 791432"/>
                <a:gd name="connsiteX289" fmla="*/ 39529 w 910018"/>
                <a:gd name="connsiteY289" fmla="*/ 326041 h 791432"/>
                <a:gd name="connsiteX290" fmla="*/ 39338 w 910018"/>
                <a:gd name="connsiteY290" fmla="*/ 324421 h 791432"/>
                <a:gd name="connsiteX291" fmla="*/ 37719 w 910018"/>
                <a:gd name="connsiteY291" fmla="*/ 324612 h 791432"/>
                <a:gd name="connsiteX292" fmla="*/ 37910 w 910018"/>
                <a:gd name="connsiteY292" fmla="*/ 326231 h 791432"/>
                <a:gd name="connsiteX293" fmla="*/ 36004 w 910018"/>
                <a:gd name="connsiteY293" fmla="*/ 323278 h 791432"/>
                <a:gd name="connsiteX294" fmla="*/ 32576 w 910018"/>
                <a:gd name="connsiteY294" fmla="*/ 322135 h 791432"/>
                <a:gd name="connsiteX295" fmla="*/ 30671 w 910018"/>
                <a:gd name="connsiteY295" fmla="*/ 319183 h 791432"/>
                <a:gd name="connsiteX296" fmla="*/ 27242 w 910018"/>
                <a:gd name="connsiteY296" fmla="*/ 317944 h 791432"/>
                <a:gd name="connsiteX297" fmla="*/ 23336 w 910018"/>
                <a:gd name="connsiteY297" fmla="*/ 324898 h 791432"/>
                <a:gd name="connsiteX298" fmla="*/ 23527 w 910018"/>
                <a:gd name="connsiteY298" fmla="*/ 326422 h 791432"/>
                <a:gd name="connsiteX299" fmla="*/ 21622 w 910018"/>
                <a:gd name="connsiteY299" fmla="*/ 336328 h 791432"/>
                <a:gd name="connsiteX300" fmla="*/ 17050 w 910018"/>
                <a:gd name="connsiteY300" fmla="*/ 338518 h 791432"/>
                <a:gd name="connsiteX301" fmla="*/ 14478 w 910018"/>
                <a:gd name="connsiteY301" fmla="*/ 343662 h 791432"/>
                <a:gd name="connsiteX302" fmla="*/ 8572 w 910018"/>
                <a:gd name="connsiteY302" fmla="*/ 347567 h 791432"/>
                <a:gd name="connsiteX303" fmla="*/ 7811 w 910018"/>
                <a:gd name="connsiteY303" fmla="*/ 354139 h 791432"/>
                <a:gd name="connsiteX304" fmla="*/ 12954 w 910018"/>
                <a:gd name="connsiteY304" fmla="*/ 356711 h 791432"/>
                <a:gd name="connsiteX305" fmla="*/ 15145 w 910018"/>
                <a:gd name="connsiteY305" fmla="*/ 361188 h 791432"/>
                <a:gd name="connsiteX306" fmla="*/ 18860 w 910018"/>
                <a:gd name="connsiteY306" fmla="*/ 365569 h 791432"/>
                <a:gd name="connsiteX307" fmla="*/ 19907 w 910018"/>
                <a:gd name="connsiteY307" fmla="*/ 373475 h 791432"/>
                <a:gd name="connsiteX308" fmla="*/ 13621 w 910018"/>
                <a:gd name="connsiteY308" fmla="*/ 387096 h 791432"/>
                <a:gd name="connsiteX309" fmla="*/ 18955 w 910018"/>
                <a:gd name="connsiteY309" fmla="*/ 391192 h 791432"/>
                <a:gd name="connsiteX310" fmla="*/ 23146 w 910018"/>
                <a:gd name="connsiteY310" fmla="*/ 398717 h 791432"/>
                <a:gd name="connsiteX311" fmla="*/ 26099 w 910018"/>
                <a:gd name="connsiteY311" fmla="*/ 409575 h 791432"/>
                <a:gd name="connsiteX312" fmla="*/ 29432 w 910018"/>
                <a:gd name="connsiteY312" fmla="*/ 410718 h 791432"/>
                <a:gd name="connsiteX313" fmla="*/ 31242 w 910018"/>
                <a:gd name="connsiteY313" fmla="*/ 412051 h 791432"/>
                <a:gd name="connsiteX314" fmla="*/ 32861 w 910018"/>
                <a:gd name="connsiteY314" fmla="*/ 411861 h 791432"/>
                <a:gd name="connsiteX315" fmla="*/ 35052 w 910018"/>
                <a:gd name="connsiteY315" fmla="*/ 416433 h 791432"/>
                <a:gd name="connsiteX316" fmla="*/ 29337 w 910018"/>
                <a:gd name="connsiteY316" fmla="*/ 421957 h 791432"/>
                <a:gd name="connsiteX317" fmla="*/ 27527 w 910018"/>
                <a:gd name="connsiteY317" fmla="*/ 420529 h 791432"/>
                <a:gd name="connsiteX318" fmla="*/ 26765 w 910018"/>
                <a:gd name="connsiteY318" fmla="*/ 427101 h 791432"/>
                <a:gd name="connsiteX319" fmla="*/ 22574 w 910018"/>
                <a:gd name="connsiteY319" fmla="*/ 432435 h 791432"/>
                <a:gd name="connsiteX320" fmla="*/ 27908 w 910018"/>
                <a:gd name="connsiteY320" fmla="*/ 436531 h 791432"/>
                <a:gd name="connsiteX321" fmla="*/ 27337 w 910018"/>
                <a:gd name="connsiteY321" fmla="*/ 431863 h 791432"/>
                <a:gd name="connsiteX322" fmla="*/ 38386 w 910018"/>
                <a:gd name="connsiteY322" fmla="*/ 430435 h 791432"/>
                <a:gd name="connsiteX323" fmla="*/ 40196 w 910018"/>
                <a:gd name="connsiteY323" fmla="*/ 431768 h 791432"/>
                <a:gd name="connsiteX324" fmla="*/ 43339 w 910018"/>
                <a:gd name="connsiteY324" fmla="*/ 431387 h 791432"/>
                <a:gd name="connsiteX325" fmla="*/ 46863 w 910018"/>
                <a:gd name="connsiteY325" fmla="*/ 434150 h 791432"/>
                <a:gd name="connsiteX326" fmla="*/ 51435 w 910018"/>
                <a:gd name="connsiteY326" fmla="*/ 431959 h 791432"/>
                <a:gd name="connsiteX327" fmla="*/ 56579 w 910018"/>
                <a:gd name="connsiteY327" fmla="*/ 421672 h 791432"/>
                <a:gd name="connsiteX328" fmla="*/ 58103 w 910018"/>
                <a:gd name="connsiteY328" fmla="*/ 421481 h 791432"/>
                <a:gd name="connsiteX329" fmla="*/ 62103 w 910018"/>
                <a:gd name="connsiteY329" fmla="*/ 427387 h 791432"/>
                <a:gd name="connsiteX330" fmla="*/ 58769 w 910018"/>
                <a:gd name="connsiteY330" fmla="*/ 439007 h 791432"/>
                <a:gd name="connsiteX331" fmla="*/ 57531 w 910018"/>
                <a:gd name="connsiteY331" fmla="*/ 442436 h 791432"/>
                <a:gd name="connsiteX332" fmla="*/ 59531 w 910018"/>
                <a:gd name="connsiteY332" fmla="*/ 445389 h 791432"/>
                <a:gd name="connsiteX333" fmla="*/ 58007 w 910018"/>
                <a:gd name="connsiteY333" fmla="*/ 445580 h 791432"/>
                <a:gd name="connsiteX334" fmla="*/ 59912 w 910018"/>
                <a:gd name="connsiteY334" fmla="*/ 448532 h 791432"/>
                <a:gd name="connsiteX335" fmla="*/ 55436 w 910018"/>
                <a:gd name="connsiteY335" fmla="*/ 450723 h 791432"/>
                <a:gd name="connsiteX336" fmla="*/ 51911 w 910018"/>
                <a:gd name="connsiteY336" fmla="*/ 473583 h 791432"/>
                <a:gd name="connsiteX337" fmla="*/ 46958 w 910018"/>
                <a:gd name="connsiteY337" fmla="*/ 472630 h 791432"/>
                <a:gd name="connsiteX338" fmla="*/ 45625 w 910018"/>
                <a:gd name="connsiteY338" fmla="*/ 474440 h 791432"/>
                <a:gd name="connsiteX339" fmla="*/ 42291 w 910018"/>
                <a:gd name="connsiteY339" fmla="*/ 473202 h 791432"/>
                <a:gd name="connsiteX340" fmla="*/ 41053 w 910018"/>
                <a:gd name="connsiteY340" fmla="*/ 476536 h 791432"/>
                <a:gd name="connsiteX341" fmla="*/ 39910 w 910018"/>
                <a:gd name="connsiteY341" fmla="*/ 479965 h 791432"/>
                <a:gd name="connsiteX342" fmla="*/ 36767 w 910018"/>
                <a:gd name="connsiteY342" fmla="*/ 480346 h 791432"/>
                <a:gd name="connsiteX343" fmla="*/ 34957 w 910018"/>
                <a:gd name="connsiteY343" fmla="*/ 478917 h 791432"/>
                <a:gd name="connsiteX344" fmla="*/ 28480 w 910018"/>
                <a:gd name="connsiteY344" fmla="*/ 478155 h 791432"/>
                <a:gd name="connsiteX345" fmla="*/ 23908 w 910018"/>
                <a:gd name="connsiteY345" fmla="*/ 480346 h 791432"/>
                <a:gd name="connsiteX346" fmla="*/ 23527 w 910018"/>
                <a:gd name="connsiteY346" fmla="*/ 490061 h 791432"/>
                <a:gd name="connsiteX347" fmla="*/ 20574 w 910018"/>
                <a:gd name="connsiteY347" fmla="*/ 504825 h 791432"/>
                <a:gd name="connsiteX348" fmla="*/ 19050 w 910018"/>
                <a:gd name="connsiteY348" fmla="*/ 505015 h 791432"/>
                <a:gd name="connsiteX349" fmla="*/ 20003 w 910018"/>
                <a:gd name="connsiteY349" fmla="*/ 512921 h 791432"/>
                <a:gd name="connsiteX350" fmla="*/ 15716 w 910018"/>
                <a:gd name="connsiteY350" fmla="*/ 516731 h 791432"/>
                <a:gd name="connsiteX351" fmla="*/ 12383 w 910018"/>
                <a:gd name="connsiteY351" fmla="*/ 515493 h 791432"/>
                <a:gd name="connsiteX352" fmla="*/ 857 w 910018"/>
                <a:gd name="connsiteY352" fmla="*/ 513778 h 791432"/>
                <a:gd name="connsiteX353" fmla="*/ 3143 w 910018"/>
                <a:gd name="connsiteY353" fmla="*/ 531114 h 791432"/>
                <a:gd name="connsiteX354" fmla="*/ 4477 w 910018"/>
                <a:gd name="connsiteY354" fmla="*/ 529400 h 791432"/>
                <a:gd name="connsiteX355" fmla="*/ 6668 w 910018"/>
                <a:gd name="connsiteY355" fmla="*/ 533876 h 791432"/>
                <a:gd name="connsiteX356" fmla="*/ 5905 w 910018"/>
                <a:gd name="connsiteY356" fmla="*/ 540353 h 791432"/>
                <a:gd name="connsiteX357" fmla="*/ 0 w 910018"/>
                <a:gd name="connsiteY357" fmla="*/ 544354 h 791432"/>
                <a:gd name="connsiteX358" fmla="*/ 16383 w 910018"/>
                <a:gd name="connsiteY358" fmla="*/ 547116 h 791432"/>
                <a:gd name="connsiteX359" fmla="*/ 20860 w 910018"/>
                <a:gd name="connsiteY359" fmla="*/ 544925 h 791432"/>
                <a:gd name="connsiteX360" fmla="*/ 24479 w 910018"/>
                <a:gd name="connsiteY360" fmla="*/ 547688 h 791432"/>
                <a:gd name="connsiteX361" fmla="*/ 28385 w 910018"/>
                <a:gd name="connsiteY361" fmla="*/ 540734 h 791432"/>
                <a:gd name="connsiteX362" fmla="*/ 31528 w 910018"/>
                <a:gd name="connsiteY362" fmla="*/ 540353 h 791432"/>
                <a:gd name="connsiteX363" fmla="*/ 34480 w 910018"/>
                <a:gd name="connsiteY363" fmla="*/ 538353 h 791432"/>
                <a:gd name="connsiteX364" fmla="*/ 37910 w 910018"/>
                <a:gd name="connsiteY364" fmla="*/ 539496 h 791432"/>
                <a:gd name="connsiteX365" fmla="*/ 42386 w 910018"/>
                <a:gd name="connsiteY365" fmla="*/ 537401 h 791432"/>
                <a:gd name="connsiteX366" fmla="*/ 53245 w 910018"/>
                <a:gd name="connsiteY366" fmla="*/ 534352 h 791432"/>
                <a:gd name="connsiteX367" fmla="*/ 63532 w 910018"/>
                <a:gd name="connsiteY367" fmla="*/ 526637 h 791432"/>
                <a:gd name="connsiteX368" fmla="*/ 71533 w 910018"/>
                <a:gd name="connsiteY368" fmla="*/ 527209 h 791432"/>
                <a:gd name="connsiteX369" fmla="*/ 73343 w 910018"/>
                <a:gd name="connsiteY369" fmla="*/ 528638 h 791432"/>
                <a:gd name="connsiteX370" fmla="*/ 76962 w 910018"/>
                <a:gd name="connsiteY370" fmla="*/ 544163 h 791432"/>
                <a:gd name="connsiteX371" fmla="*/ 81915 w 910018"/>
                <a:gd name="connsiteY371" fmla="*/ 545116 h 791432"/>
                <a:gd name="connsiteX372" fmla="*/ 83820 w 910018"/>
                <a:gd name="connsiteY372" fmla="*/ 548068 h 791432"/>
                <a:gd name="connsiteX373" fmla="*/ 84487 w 910018"/>
                <a:gd name="connsiteY373" fmla="*/ 552831 h 791432"/>
                <a:gd name="connsiteX374" fmla="*/ 86678 w 910018"/>
                <a:gd name="connsiteY374" fmla="*/ 557403 h 791432"/>
                <a:gd name="connsiteX375" fmla="*/ 86296 w 910018"/>
                <a:gd name="connsiteY375" fmla="*/ 567023 h 791432"/>
                <a:gd name="connsiteX376" fmla="*/ 85344 w 910018"/>
                <a:gd name="connsiteY376" fmla="*/ 571976 h 791432"/>
                <a:gd name="connsiteX377" fmla="*/ 81153 w 910018"/>
                <a:gd name="connsiteY377" fmla="*/ 577310 h 791432"/>
                <a:gd name="connsiteX378" fmla="*/ 81534 w 910018"/>
                <a:gd name="connsiteY378" fmla="*/ 580453 h 791432"/>
                <a:gd name="connsiteX379" fmla="*/ 79248 w 910018"/>
                <a:gd name="connsiteY379" fmla="*/ 587216 h 791432"/>
                <a:gd name="connsiteX380" fmla="*/ 78010 w 910018"/>
                <a:gd name="connsiteY380" fmla="*/ 590550 h 791432"/>
                <a:gd name="connsiteX381" fmla="*/ 80010 w 910018"/>
                <a:gd name="connsiteY381" fmla="*/ 593503 h 791432"/>
                <a:gd name="connsiteX382" fmla="*/ 82963 w 910018"/>
                <a:gd name="connsiteY382" fmla="*/ 591502 h 791432"/>
                <a:gd name="connsiteX383" fmla="*/ 85344 w 910018"/>
                <a:gd name="connsiteY383" fmla="*/ 584835 h 791432"/>
                <a:gd name="connsiteX384" fmla="*/ 101537 w 910018"/>
                <a:gd name="connsiteY384" fmla="*/ 585978 h 791432"/>
                <a:gd name="connsiteX385" fmla="*/ 102679 w 910018"/>
                <a:gd name="connsiteY385" fmla="*/ 595408 h 791432"/>
                <a:gd name="connsiteX386" fmla="*/ 104299 w 910018"/>
                <a:gd name="connsiteY386" fmla="*/ 595217 h 791432"/>
                <a:gd name="connsiteX387" fmla="*/ 108585 w 910018"/>
                <a:gd name="connsiteY387" fmla="*/ 591502 h 791432"/>
                <a:gd name="connsiteX388" fmla="*/ 113538 w 910018"/>
                <a:gd name="connsiteY388" fmla="*/ 592455 h 791432"/>
                <a:gd name="connsiteX389" fmla="*/ 115919 w 910018"/>
                <a:gd name="connsiteY389" fmla="*/ 598551 h 791432"/>
                <a:gd name="connsiteX390" fmla="*/ 119539 w 910018"/>
                <a:gd name="connsiteY390" fmla="*/ 601313 h 791432"/>
                <a:gd name="connsiteX391" fmla="*/ 119539 w 910018"/>
                <a:gd name="connsiteY391" fmla="*/ 614172 h 791432"/>
                <a:gd name="connsiteX392" fmla="*/ 124301 w 910018"/>
                <a:gd name="connsiteY392" fmla="*/ 613505 h 791432"/>
                <a:gd name="connsiteX393" fmla="*/ 127063 w 910018"/>
                <a:gd name="connsiteY393" fmla="*/ 609981 h 791432"/>
                <a:gd name="connsiteX394" fmla="*/ 130588 w 910018"/>
                <a:gd name="connsiteY394" fmla="*/ 612743 h 791432"/>
                <a:gd name="connsiteX395" fmla="*/ 130397 w 910018"/>
                <a:gd name="connsiteY395" fmla="*/ 611124 h 791432"/>
                <a:gd name="connsiteX396" fmla="*/ 136874 w 910018"/>
                <a:gd name="connsiteY396" fmla="*/ 611886 h 791432"/>
                <a:gd name="connsiteX397" fmla="*/ 138303 w 910018"/>
                <a:gd name="connsiteY397" fmla="*/ 610172 h 791432"/>
                <a:gd name="connsiteX398" fmla="*/ 139827 w 910018"/>
                <a:gd name="connsiteY398" fmla="*/ 609981 h 791432"/>
                <a:gd name="connsiteX399" fmla="*/ 143256 w 910018"/>
                <a:gd name="connsiteY399" fmla="*/ 611124 h 791432"/>
                <a:gd name="connsiteX400" fmla="*/ 145352 w 910018"/>
                <a:gd name="connsiteY400" fmla="*/ 615601 h 791432"/>
                <a:gd name="connsiteX401" fmla="*/ 151733 w 910018"/>
                <a:gd name="connsiteY401" fmla="*/ 614839 h 791432"/>
                <a:gd name="connsiteX402" fmla="*/ 155067 w 910018"/>
                <a:gd name="connsiteY402" fmla="*/ 615982 h 791432"/>
                <a:gd name="connsiteX403" fmla="*/ 162592 w 910018"/>
                <a:gd name="connsiteY403" fmla="*/ 611886 h 791432"/>
                <a:gd name="connsiteX404" fmla="*/ 167926 w 910018"/>
                <a:gd name="connsiteY404" fmla="*/ 615982 h 791432"/>
                <a:gd name="connsiteX405" fmla="*/ 166688 w 910018"/>
                <a:gd name="connsiteY405" fmla="*/ 619315 h 791432"/>
                <a:gd name="connsiteX406" fmla="*/ 173641 w 910018"/>
                <a:gd name="connsiteY406" fmla="*/ 623316 h 791432"/>
                <a:gd name="connsiteX407" fmla="*/ 174784 w 910018"/>
                <a:gd name="connsiteY407" fmla="*/ 619887 h 791432"/>
                <a:gd name="connsiteX408" fmla="*/ 180118 w 910018"/>
                <a:gd name="connsiteY408" fmla="*/ 624078 h 791432"/>
                <a:gd name="connsiteX409" fmla="*/ 178022 w 910018"/>
                <a:gd name="connsiteY409" fmla="*/ 632365 h 791432"/>
                <a:gd name="connsiteX410" fmla="*/ 179927 w 910018"/>
                <a:gd name="connsiteY410" fmla="*/ 635318 h 791432"/>
                <a:gd name="connsiteX411" fmla="*/ 178784 w 910018"/>
                <a:gd name="connsiteY411" fmla="*/ 638651 h 791432"/>
                <a:gd name="connsiteX412" fmla="*/ 179165 w 910018"/>
                <a:gd name="connsiteY412" fmla="*/ 641794 h 791432"/>
                <a:gd name="connsiteX413" fmla="*/ 175070 w 910018"/>
                <a:gd name="connsiteY413" fmla="*/ 647128 h 791432"/>
                <a:gd name="connsiteX414" fmla="*/ 176879 w 910018"/>
                <a:gd name="connsiteY414" fmla="*/ 648557 h 791432"/>
                <a:gd name="connsiteX415" fmla="*/ 175641 w 910018"/>
                <a:gd name="connsiteY415" fmla="*/ 651891 h 791432"/>
                <a:gd name="connsiteX416" fmla="*/ 175832 w 910018"/>
                <a:gd name="connsiteY416" fmla="*/ 653415 h 791432"/>
                <a:gd name="connsiteX417" fmla="*/ 177641 w 910018"/>
                <a:gd name="connsiteY417" fmla="*/ 654844 h 791432"/>
                <a:gd name="connsiteX418" fmla="*/ 184404 w 910018"/>
                <a:gd name="connsiteY418" fmla="*/ 657225 h 791432"/>
                <a:gd name="connsiteX419" fmla="*/ 185738 w 910018"/>
                <a:gd name="connsiteY419" fmla="*/ 655415 h 791432"/>
                <a:gd name="connsiteX420" fmla="*/ 189071 w 910018"/>
                <a:gd name="connsiteY420" fmla="*/ 656558 h 791432"/>
                <a:gd name="connsiteX421" fmla="*/ 190500 w 910018"/>
                <a:gd name="connsiteY421" fmla="*/ 654844 h 791432"/>
                <a:gd name="connsiteX422" fmla="*/ 192691 w 910018"/>
                <a:gd name="connsiteY422" fmla="*/ 659321 h 791432"/>
                <a:gd name="connsiteX423" fmla="*/ 194977 w 910018"/>
                <a:gd name="connsiteY423" fmla="*/ 652653 h 791432"/>
                <a:gd name="connsiteX424" fmla="*/ 205835 w 910018"/>
                <a:gd name="connsiteY424" fmla="*/ 649605 h 791432"/>
                <a:gd name="connsiteX425" fmla="*/ 207264 w 910018"/>
                <a:gd name="connsiteY425" fmla="*/ 660654 h 791432"/>
                <a:gd name="connsiteX426" fmla="*/ 214217 w 910018"/>
                <a:gd name="connsiteY426" fmla="*/ 664655 h 791432"/>
                <a:gd name="connsiteX427" fmla="*/ 223457 w 910018"/>
                <a:gd name="connsiteY427" fmla="*/ 674656 h 791432"/>
                <a:gd name="connsiteX428" fmla="*/ 225076 w 910018"/>
                <a:gd name="connsiteY428" fmla="*/ 674465 h 791432"/>
                <a:gd name="connsiteX429" fmla="*/ 234125 w 910018"/>
                <a:gd name="connsiteY429" fmla="*/ 682943 h 791432"/>
                <a:gd name="connsiteX430" fmla="*/ 245936 w 910018"/>
                <a:gd name="connsiteY430" fmla="*/ 675037 h 791432"/>
                <a:gd name="connsiteX431" fmla="*/ 247745 w 910018"/>
                <a:gd name="connsiteY431" fmla="*/ 676370 h 791432"/>
                <a:gd name="connsiteX432" fmla="*/ 250508 w 910018"/>
                <a:gd name="connsiteY432" fmla="*/ 672846 h 791432"/>
                <a:gd name="connsiteX433" fmla="*/ 252317 w 910018"/>
                <a:gd name="connsiteY433" fmla="*/ 674180 h 791432"/>
                <a:gd name="connsiteX434" fmla="*/ 258223 w 910018"/>
                <a:gd name="connsiteY434" fmla="*/ 670274 h 791432"/>
                <a:gd name="connsiteX435" fmla="*/ 258413 w 910018"/>
                <a:gd name="connsiteY435" fmla="*/ 671798 h 791432"/>
                <a:gd name="connsiteX436" fmla="*/ 261366 w 910018"/>
                <a:gd name="connsiteY436" fmla="*/ 669798 h 791432"/>
                <a:gd name="connsiteX437" fmla="*/ 267081 w 910018"/>
                <a:gd name="connsiteY437" fmla="*/ 677132 h 791432"/>
                <a:gd name="connsiteX438" fmla="*/ 280892 w 910018"/>
                <a:gd name="connsiteY438" fmla="*/ 672179 h 791432"/>
                <a:gd name="connsiteX439" fmla="*/ 279845 w 910018"/>
                <a:gd name="connsiteY439" fmla="*/ 664273 h 791432"/>
                <a:gd name="connsiteX440" fmla="*/ 286417 w 910018"/>
                <a:gd name="connsiteY440" fmla="*/ 677894 h 791432"/>
                <a:gd name="connsiteX441" fmla="*/ 288417 w 910018"/>
                <a:gd name="connsiteY441" fmla="*/ 680847 h 791432"/>
                <a:gd name="connsiteX442" fmla="*/ 297275 w 910018"/>
                <a:gd name="connsiteY442" fmla="*/ 674846 h 791432"/>
                <a:gd name="connsiteX443" fmla="*/ 311277 w 910018"/>
                <a:gd name="connsiteY443" fmla="*/ 684276 h 791432"/>
                <a:gd name="connsiteX444" fmla="*/ 320040 w 910018"/>
                <a:gd name="connsiteY444" fmla="*/ 689610 h 791432"/>
                <a:gd name="connsiteX445" fmla="*/ 317278 w 910018"/>
                <a:gd name="connsiteY445" fmla="*/ 693134 h 791432"/>
                <a:gd name="connsiteX446" fmla="*/ 317849 w 910018"/>
                <a:gd name="connsiteY446" fmla="*/ 697897 h 791432"/>
                <a:gd name="connsiteX447" fmla="*/ 310420 w 910018"/>
                <a:gd name="connsiteY447" fmla="*/ 714947 h 791432"/>
                <a:gd name="connsiteX448" fmla="*/ 319088 w 910018"/>
                <a:gd name="connsiteY448" fmla="*/ 720185 h 791432"/>
                <a:gd name="connsiteX449" fmla="*/ 323183 w 910018"/>
                <a:gd name="connsiteY449" fmla="*/ 714851 h 791432"/>
                <a:gd name="connsiteX450" fmla="*/ 327946 w 910018"/>
                <a:gd name="connsiteY450" fmla="*/ 714280 h 791432"/>
                <a:gd name="connsiteX451" fmla="*/ 344138 w 910018"/>
                <a:gd name="connsiteY451" fmla="*/ 728282 h 791432"/>
                <a:gd name="connsiteX452" fmla="*/ 355378 w 910018"/>
                <a:gd name="connsiteY452" fmla="*/ 728377 h 791432"/>
                <a:gd name="connsiteX453" fmla="*/ 367475 w 910018"/>
                <a:gd name="connsiteY453" fmla="*/ 747712 h 791432"/>
                <a:gd name="connsiteX454" fmla="*/ 373666 w 910018"/>
                <a:gd name="connsiteY454" fmla="*/ 758190 h 791432"/>
                <a:gd name="connsiteX455" fmla="*/ 372428 w 910018"/>
                <a:gd name="connsiteY455" fmla="*/ 761524 h 791432"/>
                <a:gd name="connsiteX456" fmla="*/ 376238 w 910018"/>
                <a:gd name="connsiteY456" fmla="*/ 765810 h 791432"/>
                <a:gd name="connsiteX457" fmla="*/ 383858 w 910018"/>
                <a:gd name="connsiteY457" fmla="*/ 763238 h 791432"/>
                <a:gd name="connsiteX458" fmla="*/ 381191 w 910018"/>
                <a:gd name="connsiteY458" fmla="*/ 766858 h 791432"/>
                <a:gd name="connsiteX459" fmla="*/ 382905 w 910018"/>
                <a:gd name="connsiteY459" fmla="*/ 768191 h 791432"/>
                <a:gd name="connsiteX460" fmla="*/ 381381 w 910018"/>
                <a:gd name="connsiteY460" fmla="*/ 768382 h 791432"/>
                <a:gd name="connsiteX461" fmla="*/ 381953 w 910018"/>
                <a:gd name="connsiteY461" fmla="*/ 773144 h 791432"/>
                <a:gd name="connsiteX462" fmla="*/ 389096 w 910018"/>
                <a:gd name="connsiteY462" fmla="*/ 791432 h 791432"/>
                <a:gd name="connsiteX463" fmla="*/ 396812 w 910018"/>
                <a:gd name="connsiteY463" fmla="*/ 788860 h 791432"/>
                <a:gd name="connsiteX464" fmla="*/ 403479 w 910018"/>
                <a:gd name="connsiteY464" fmla="*/ 791242 h 791432"/>
                <a:gd name="connsiteX465" fmla="*/ 409385 w 910018"/>
                <a:gd name="connsiteY465" fmla="*/ 787241 h 791432"/>
                <a:gd name="connsiteX466" fmla="*/ 412623 w 910018"/>
                <a:gd name="connsiteY466" fmla="*/ 786860 h 791432"/>
                <a:gd name="connsiteX467" fmla="*/ 416719 w 910018"/>
                <a:gd name="connsiteY467" fmla="*/ 781526 h 791432"/>
                <a:gd name="connsiteX468" fmla="*/ 419862 w 910018"/>
                <a:gd name="connsiteY468" fmla="*/ 781145 h 791432"/>
                <a:gd name="connsiteX469" fmla="*/ 431292 w 910018"/>
                <a:gd name="connsiteY469" fmla="*/ 782860 h 791432"/>
                <a:gd name="connsiteX470" fmla="*/ 438436 w 910018"/>
                <a:gd name="connsiteY470" fmla="*/ 775526 h 791432"/>
                <a:gd name="connsiteX471" fmla="*/ 440531 w 910018"/>
                <a:gd name="connsiteY471" fmla="*/ 767239 h 791432"/>
                <a:gd name="connsiteX472" fmla="*/ 450818 w 910018"/>
                <a:gd name="connsiteY472" fmla="*/ 759524 h 791432"/>
                <a:gd name="connsiteX473" fmla="*/ 454914 w 910018"/>
                <a:gd name="connsiteY473" fmla="*/ 754190 h 791432"/>
                <a:gd name="connsiteX474" fmla="*/ 456057 w 910018"/>
                <a:gd name="connsiteY474" fmla="*/ 750856 h 791432"/>
                <a:gd name="connsiteX475" fmla="*/ 460438 w 910018"/>
                <a:gd name="connsiteY475" fmla="*/ 747141 h 791432"/>
                <a:gd name="connsiteX476" fmla="*/ 460058 w 910018"/>
                <a:gd name="connsiteY476" fmla="*/ 743902 h 791432"/>
                <a:gd name="connsiteX477" fmla="*/ 465106 w 910018"/>
                <a:gd name="connsiteY477" fmla="*/ 733711 h 791432"/>
                <a:gd name="connsiteX478" fmla="*/ 476345 w 910018"/>
                <a:gd name="connsiteY478" fmla="*/ 721043 h 791432"/>
                <a:gd name="connsiteX479" fmla="*/ 479488 w 910018"/>
                <a:gd name="connsiteY479" fmla="*/ 720566 h 791432"/>
                <a:gd name="connsiteX480" fmla="*/ 484061 w 910018"/>
                <a:gd name="connsiteY480" fmla="*/ 718471 h 791432"/>
                <a:gd name="connsiteX481" fmla="*/ 482632 w 910018"/>
                <a:gd name="connsiteY481" fmla="*/ 707422 h 791432"/>
                <a:gd name="connsiteX482" fmla="*/ 504920 w 910018"/>
                <a:gd name="connsiteY482" fmla="*/ 706184 h 791432"/>
                <a:gd name="connsiteX483" fmla="*/ 508063 w 910018"/>
                <a:gd name="connsiteY483" fmla="*/ 705707 h 791432"/>
                <a:gd name="connsiteX484" fmla="*/ 509492 w 910018"/>
                <a:gd name="connsiteY484" fmla="*/ 703993 h 791432"/>
                <a:gd name="connsiteX485" fmla="*/ 523875 w 910018"/>
                <a:gd name="connsiteY485" fmla="*/ 703707 h 791432"/>
                <a:gd name="connsiteX486" fmla="*/ 533305 w 910018"/>
                <a:gd name="connsiteY486" fmla="*/ 702564 h 791432"/>
                <a:gd name="connsiteX487" fmla="*/ 545211 w 910018"/>
                <a:gd name="connsiteY487" fmla="*/ 707422 h 791432"/>
                <a:gd name="connsiteX488" fmla="*/ 557403 w 910018"/>
                <a:gd name="connsiteY488" fmla="*/ 702659 h 791432"/>
                <a:gd name="connsiteX489" fmla="*/ 557594 w 910018"/>
                <a:gd name="connsiteY489" fmla="*/ 691420 h 791432"/>
                <a:gd name="connsiteX490" fmla="*/ 563499 w 910018"/>
                <a:gd name="connsiteY490" fmla="*/ 674656 h 791432"/>
                <a:gd name="connsiteX491" fmla="*/ 565595 w 910018"/>
                <a:gd name="connsiteY491" fmla="*/ 666369 h 791432"/>
                <a:gd name="connsiteX492" fmla="*/ 566833 w 910018"/>
                <a:gd name="connsiteY492" fmla="*/ 662940 h 791432"/>
                <a:gd name="connsiteX493" fmla="*/ 563975 w 910018"/>
                <a:gd name="connsiteY493" fmla="*/ 653701 h 791432"/>
                <a:gd name="connsiteX494" fmla="*/ 564737 w 910018"/>
                <a:gd name="connsiteY494" fmla="*/ 647224 h 791432"/>
                <a:gd name="connsiteX495" fmla="*/ 568262 w 910018"/>
                <a:gd name="connsiteY495" fmla="*/ 637127 h 791432"/>
                <a:gd name="connsiteX496" fmla="*/ 572262 w 910018"/>
                <a:gd name="connsiteY496" fmla="*/ 630174 h 791432"/>
                <a:gd name="connsiteX497" fmla="*/ 574167 w 910018"/>
                <a:gd name="connsiteY497" fmla="*/ 620363 h 791432"/>
                <a:gd name="connsiteX498" fmla="*/ 571405 w 910018"/>
                <a:gd name="connsiteY498" fmla="*/ 611029 h 791432"/>
                <a:gd name="connsiteX499" fmla="*/ 572357 w 910018"/>
                <a:gd name="connsiteY499" fmla="*/ 606171 h 791432"/>
                <a:gd name="connsiteX500" fmla="*/ 576739 w 910018"/>
                <a:gd name="connsiteY500" fmla="*/ 602361 h 791432"/>
                <a:gd name="connsiteX501" fmla="*/ 579215 w 910018"/>
                <a:gd name="connsiteY501" fmla="*/ 597218 h 791432"/>
                <a:gd name="connsiteX502" fmla="*/ 585121 w 910018"/>
                <a:gd name="connsiteY502" fmla="*/ 593312 h 791432"/>
                <a:gd name="connsiteX503" fmla="*/ 596170 w 910018"/>
                <a:gd name="connsiteY503" fmla="*/ 591884 h 791432"/>
                <a:gd name="connsiteX504" fmla="*/ 599122 w 910018"/>
                <a:gd name="connsiteY504" fmla="*/ 589883 h 791432"/>
                <a:gd name="connsiteX505" fmla="*/ 615601 w 910018"/>
                <a:gd name="connsiteY505" fmla="*/ 592646 h 791432"/>
                <a:gd name="connsiteX506" fmla="*/ 619887 w 910018"/>
                <a:gd name="connsiteY506" fmla="*/ 588835 h 791432"/>
                <a:gd name="connsiteX507" fmla="*/ 622649 w 910018"/>
                <a:gd name="connsiteY507" fmla="*/ 585311 h 791432"/>
                <a:gd name="connsiteX508" fmla="*/ 628936 w 910018"/>
                <a:gd name="connsiteY508" fmla="*/ 584454 h 791432"/>
                <a:gd name="connsiteX509" fmla="*/ 637889 w 910018"/>
                <a:gd name="connsiteY509" fmla="*/ 591407 h 791432"/>
                <a:gd name="connsiteX510" fmla="*/ 649129 w 910018"/>
                <a:gd name="connsiteY510" fmla="*/ 591598 h 791432"/>
                <a:gd name="connsiteX511" fmla="*/ 652272 w 910018"/>
                <a:gd name="connsiteY511" fmla="*/ 591122 h 791432"/>
                <a:gd name="connsiteX512" fmla="*/ 654558 w 910018"/>
                <a:gd name="connsiteY512" fmla="*/ 584454 h 791432"/>
                <a:gd name="connsiteX513" fmla="*/ 662464 w 910018"/>
                <a:gd name="connsiteY513" fmla="*/ 583406 h 791432"/>
                <a:gd name="connsiteX514" fmla="*/ 680466 w 910018"/>
                <a:gd name="connsiteY514" fmla="*/ 573119 h 791432"/>
                <a:gd name="connsiteX515" fmla="*/ 684562 w 910018"/>
                <a:gd name="connsiteY515" fmla="*/ 567785 h 791432"/>
                <a:gd name="connsiteX516" fmla="*/ 690086 w 910018"/>
                <a:gd name="connsiteY516" fmla="*/ 560642 h 791432"/>
                <a:gd name="connsiteX517" fmla="*/ 690848 w 910018"/>
                <a:gd name="connsiteY517" fmla="*/ 554164 h 791432"/>
                <a:gd name="connsiteX518" fmla="*/ 699516 w 910018"/>
                <a:gd name="connsiteY518" fmla="*/ 546640 h 791432"/>
                <a:gd name="connsiteX519" fmla="*/ 697516 w 910018"/>
                <a:gd name="connsiteY519" fmla="*/ 543687 h 791432"/>
                <a:gd name="connsiteX520" fmla="*/ 698468 w 910018"/>
                <a:gd name="connsiteY520" fmla="*/ 538734 h 791432"/>
                <a:gd name="connsiteX521" fmla="*/ 705707 w 910018"/>
                <a:gd name="connsiteY521" fmla="*/ 520160 h 791432"/>
                <a:gd name="connsiteX522" fmla="*/ 712470 w 910018"/>
                <a:gd name="connsiteY522" fmla="*/ 509683 h 791432"/>
                <a:gd name="connsiteX523" fmla="*/ 707612 w 910018"/>
                <a:gd name="connsiteY523" fmla="*/ 484632 h 791432"/>
                <a:gd name="connsiteX524" fmla="*/ 709994 w 910018"/>
                <a:gd name="connsiteY524" fmla="*/ 477964 h 791432"/>
                <a:gd name="connsiteX525" fmla="*/ 711613 w 910018"/>
                <a:gd name="connsiteY525" fmla="*/ 477774 h 791432"/>
                <a:gd name="connsiteX526" fmla="*/ 713327 w 910018"/>
                <a:gd name="connsiteY526" fmla="*/ 479107 h 791432"/>
                <a:gd name="connsiteX527" fmla="*/ 714947 w 910018"/>
                <a:gd name="connsiteY527" fmla="*/ 478917 h 791432"/>
                <a:gd name="connsiteX528" fmla="*/ 712375 w 910018"/>
                <a:gd name="connsiteY528" fmla="*/ 471202 h 791432"/>
                <a:gd name="connsiteX529" fmla="*/ 705231 w 910018"/>
                <a:gd name="connsiteY529" fmla="*/ 465772 h 791432"/>
                <a:gd name="connsiteX530" fmla="*/ 704469 w 910018"/>
                <a:gd name="connsiteY530" fmla="*/ 459391 h 791432"/>
                <a:gd name="connsiteX531" fmla="*/ 706755 w 910018"/>
                <a:gd name="connsiteY531" fmla="*/ 452723 h 791432"/>
                <a:gd name="connsiteX532" fmla="*/ 711137 w 910018"/>
                <a:gd name="connsiteY532" fmla="*/ 448913 h 791432"/>
                <a:gd name="connsiteX533" fmla="*/ 710089 w 910018"/>
                <a:gd name="connsiteY533" fmla="*/ 441007 h 791432"/>
                <a:gd name="connsiteX534" fmla="*/ 711518 w 910018"/>
                <a:gd name="connsiteY534" fmla="*/ 439293 h 791432"/>
                <a:gd name="connsiteX535" fmla="*/ 724662 w 910018"/>
                <a:gd name="connsiteY535" fmla="*/ 429577 h 791432"/>
                <a:gd name="connsiteX536" fmla="*/ 718757 w 910018"/>
                <a:gd name="connsiteY536" fmla="*/ 420719 h 791432"/>
                <a:gd name="connsiteX537" fmla="*/ 718852 w 910018"/>
                <a:gd name="connsiteY537" fmla="*/ 396621 h 791432"/>
                <a:gd name="connsiteX538" fmla="*/ 724567 w 910018"/>
                <a:gd name="connsiteY538" fmla="*/ 391096 h 791432"/>
                <a:gd name="connsiteX539" fmla="*/ 727901 w 910018"/>
                <a:gd name="connsiteY539" fmla="*/ 379476 h 791432"/>
                <a:gd name="connsiteX540" fmla="*/ 729520 w 910018"/>
                <a:gd name="connsiteY540" fmla="*/ 379285 h 791432"/>
                <a:gd name="connsiteX541" fmla="*/ 727901 w 910018"/>
                <a:gd name="connsiteY541" fmla="*/ 366617 h 791432"/>
                <a:gd name="connsiteX542" fmla="*/ 732663 w 910018"/>
                <a:gd name="connsiteY542" fmla="*/ 366046 h 791432"/>
                <a:gd name="connsiteX543" fmla="*/ 731996 w 910018"/>
                <a:gd name="connsiteY543" fmla="*/ 361283 h 791432"/>
                <a:gd name="connsiteX544" fmla="*/ 733997 w 910018"/>
                <a:gd name="connsiteY544" fmla="*/ 351377 h 791432"/>
                <a:gd name="connsiteX545" fmla="*/ 726091 w 910018"/>
                <a:gd name="connsiteY545" fmla="*/ 352425 h 791432"/>
                <a:gd name="connsiteX546" fmla="*/ 727805 w 910018"/>
                <a:gd name="connsiteY546" fmla="*/ 340995 h 791432"/>
                <a:gd name="connsiteX547" fmla="*/ 726186 w 910018"/>
                <a:gd name="connsiteY547" fmla="*/ 328327 h 791432"/>
                <a:gd name="connsiteX548" fmla="*/ 736663 w 910018"/>
                <a:gd name="connsiteY548" fmla="*/ 322231 h 791432"/>
                <a:gd name="connsiteX549" fmla="*/ 737235 w 910018"/>
                <a:gd name="connsiteY549" fmla="*/ 314134 h 791432"/>
                <a:gd name="connsiteX550" fmla="*/ 751808 w 910018"/>
                <a:gd name="connsiteY550" fmla="*/ 302609 h 791432"/>
                <a:gd name="connsiteX551" fmla="*/ 751999 w 910018"/>
                <a:gd name="connsiteY551" fmla="*/ 291370 h 791432"/>
                <a:gd name="connsiteX552" fmla="*/ 751142 w 910018"/>
                <a:gd name="connsiteY552" fmla="*/ 285083 h 791432"/>
                <a:gd name="connsiteX553" fmla="*/ 750951 w 910018"/>
                <a:gd name="connsiteY553" fmla="*/ 283464 h 791432"/>
                <a:gd name="connsiteX554" fmla="*/ 755333 w 910018"/>
                <a:gd name="connsiteY554" fmla="*/ 279749 h 791432"/>
                <a:gd name="connsiteX555" fmla="*/ 758666 w 910018"/>
                <a:gd name="connsiteY555" fmla="*/ 280892 h 791432"/>
                <a:gd name="connsiteX556" fmla="*/ 762953 w 910018"/>
                <a:gd name="connsiteY556" fmla="*/ 277177 h 791432"/>
                <a:gd name="connsiteX557" fmla="*/ 767905 w 910018"/>
                <a:gd name="connsiteY557" fmla="*/ 278130 h 791432"/>
                <a:gd name="connsiteX558" fmla="*/ 770668 w 910018"/>
                <a:gd name="connsiteY558" fmla="*/ 274606 h 791432"/>
                <a:gd name="connsiteX559" fmla="*/ 774002 w 910018"/>
                <a:gd name="connsiteY559" fmla="*/ 275749 h 791432"/>
                <a:gd name="connsiteX560" fmla="*/ 776764 w 910018"/>
                <a:gd name="connsiteY560" fmla="*/ 272225 h 791432"/>
                <a:gd name="connsiteX561" fmla="*/ 792956 w 910018"/>
                <a:gd name="connsiteY561" fmla="*/ 273367 h 791432"/>
                <a:gd name="connsiteX562" fmla="*/ 797528 w 910018"/>
                <a:gd name="connsiteY562" fmla="*/ 271177 h 791432"/>
                <a:gd name="connsiteX563" fmla="*/ 806768 w 910018"/>
                <a:gd name="connsiteY563" fmla="*/ 268319 h 791432"/>
                <a:gd name="connsiteX564" fmla="*/ 811149 w 910018"/>
                <a:gd name="connsiteY564" fmla="*/ 264605 h 791432"/>
                <a:gd name="connsiteX565" fmla="*/ 817245 w 910018"/>
                <a:gd name="connsiteY565" fmla="*/ 262223 h 791432"/>
                <a:gd name="connsiteX566" fmla="*/ 831437 w 910018"/>
                <a:gd name="connsiteY566" fmla="*/ 260413 h 791432"/>
                <a:gd name="connsiteX567" fmla="*/ 832771 w 910018"/>
                <a:gd name="connsiteY567" fmla="*/ 258604 h 791432"/>
                <a:gd name="connsiteX568" fmla="*/ 832390 w 910018"/>
                <a:gd name="connsiteY568" fmla="*/ 255460 h 791432"/>
                <a:gd name="connsiteX569" fmla="*/ 844582 w 910018"/>
                <a:gd name="connsiteY569" fmla="*/ 250698 h 791432"/>
                <a:gd name="connsiteX570" fmla="*/ 851726 w 910018"/>
                <a:gd name="connsiteY570" fmla="*/ 243364 h 791432"/>
                <a:gd name="connsiteX571" fmla="*/ 855059 w 910018"/>
                <a:gd name="connsiteY571" fmla="*/ 244602 h 791432"/>
                <a:gd name="connsiteX572" fmla="*/ 875157 w 910018"/>
                <a:gd name="connsiteY572" fmla="*/ 238792 h 791432"/>
                <a:gd name="connsiteX573" fmla="*/ 885444 w 910018"/>
                <a:gd name="connsiteY573" fmla="*/ 231076 h 791432"/>
                <a:gd name="connsiteX574" fmla="*/ 892683 w 910018"/>
                <a:gd name="connsiteY574" fmla="*/ 212503 h 791432"/>
                <a:gd name="connsiteX575" fmla="*/ 896969 w 910018"/>
                <a:gd name="connsiteY575" fmla="*/ 208788 h 791432"/>
                <a:gd name="connsiteX576" fmla="*/ 903351 w 910018"/>
                <a:gd name="connsiteY576" fmla="*/ 207931 h 791432"/>
                <a:gd name="connsiteX577" fmla="*/ 899160 w 910018"/>
                <a:gd name="connsiteY577" fmla="*/ 200501 h 791432"/>
                <a:gd name="connsiteX578" fmla="*/ 906494 w 910018"/>
                <a:gd name="connsiteY578" fmla="*/ 194691 h 791432"/>
                <a:gd name="connsiteX579" fmla="*/ 910019 w 910018"/>
                <a:gd name="connsiteY579" fmla="*/ 184690 h 791432"/>
                <a:gd name="connsiteX580" fmla="*/ 910019 w 910018"/>
                <a:gd name="connsiteY580" fmla="*/ 184690 h 791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</a:cxnLst>
              <a:rect l="l" t="t" r="r" b="b"/>
              <a:pathLst>
                <a:path w="910018" h="791432">
                  <a:moveTo>
                    <a:pt x="910019" y="184690"/>
                  </a:moveTo>
                  <a:lnTo>
                    <a:pt x="904208" y="164497"/>
                  </a:lnTo>
                  <a:lnTo>
                    <a:pt x="903637" y="159829"/>
                  </a:lnTo>
                  <a:lnTo>
                    <a:pt x="901255" y="153734"/>
                  </a:lnTo>
                  <a:lnTo>
                    <a:pt x="896112" y="151162"/>
                  </a:lnTo>
                  <a:lnTo>
                    <a:pt x="891350" y="151733"/>
                  </a:lnTo>
                  <a:lnTo>
                    <a:pt x="884206" y="146209"/>
                  </a:lnTo>
                  <a:lnTo>
                    <a:pt x="879253" y="145256"/>
                  </a:lnTo>
                  <a:lnTo>
                    <a:pt x="871442" y="146304"/>
                  </a:lnTo>
                  <a:lnTo>
                    <a:pt x="876681" y="124777"/>
                  </a:lnTo>
                  <a:lnTo>
                    <a:pt x="871919" y="112490"/>
                  </a:lnTo>
                  <a:lnTo>
                    <a:pt x="867156" y="113157"/>
                  </a:lnTo>
                  <a:lnTo>
                    <a:pt x="865156" y="110204"/>
                  </a:lnTo>
                  <a:lnTo>
                    <a:pt x="866775" y="110014"/>
                  </a:lnTo>
                  <a:lnTo>
                    <a:pt x="864775" y="106966"/>
                  </a:lnTo>
                  <a:lnTo>
                    <a:pt x="860393" y="97917"/>
                  </a:lnTo>
                  <a:lnTo>
                    <a:pt x="854107" y="98774"/>
                  </a:lnTo>
                  <a:lnTo>
                    <a:pt x="845439" y="93440"/>
                  </a:lnTo>
                  <a:lnTo>
                    <a:pt x="840486" y="92488"/>
                  </a:lnTo>
                  <a:lnTo>
                    <a:pt x="834390" y="82010"/>
                  </a:lnTo>
                  <a:lnTo>
                    <a:pt x="828770" y="76295"/>
                  </a:lnTo>
                  <a:lnTo>
                    <a:pt x="826008" y="54197"/>
                  </a:lnTo>
                  <a:lnTo>
                    <a:pt x="822198" y="49911"/>
                  </a:lnTo>
                  <a:lnTo>
                    <a:pt x="815530" y="47530"/>
                  </a:lnTo>
                  <a:lnTo>
                    <a:pt x="804101" y="45815"/>
                  </a:lnTo>
                  <a:lnTo>
                    <a:pt x="799338" y="46387"/>
                  </a:lnTo>
                  <a:lnTo>
                    <a:pt x="794195" y="56674"/>
                  </a:lnTo>
                  <a:lnTo>
                    <a:pt x="789718" y="58864"/>
                  </a:lnTo>
                  <a:lnTo>
                    <a:pt x="769811" y="53340"/>
                  </a:lnTo>
                  <a:lnTo>
                    <a:pt x="765810" y="47434"/>
                  </a:lnTo>
                  <a:lnTo>
                    <a:pt x="762667" y="47815"/>
                  </a:lnTo>
                  <a:lnTo>
                    <a:pt x="753618" y="52197"/>
                  </a:lnTo>
                  <a:lnTo>
                    <a:pt x="745046" y="48482"/>
                  </a:lnTo>
                  <a:lnTo>
                    <a:pt x="733806" y="35528"/>
                  </a:lnTo>
                  <a:lnTo>
                    <a:pt x="729234" y="24860"/>
                  </a:lnTo>
                  <a:lnTo>
                    <a:pt x="725710" y="22098"/>
                  </a:lnTo>
                  <a:lnTo>
                    <a:pt x="721328" y="25908"/>
                  </a:lnTo>
                  <a:lnTo>
                    <a:pt x="705803" y="29432"/>
                  </a:lnTo>
                  <a:lnTo>
                    <a:pt x="697802" y="17621"/>
                  </a:lnTo>
                  <a:lnTo>
                    <a:pt x="687229" y="22193"/>
                  </a:lnTo>
                  <a:lnTo>
                    <a:pt x="680657" y="21431"/>
                  </a:lnTo>
                  <a:lnTo>
                    <a:pt x="677704" y="23431"/>
                  </a:lnTo>
                  <a:lnTo>
                    <a:pt x="669417" y="21241"/>
                  </a:lnTo>
                  <a:lnTo>
                    <a:pt x="665131" y="25051"/>
                  </a:lnTo>
                  <a:lnTo>
                    <a:pt x="663512" y="25241"/>
                  </a:lnTo>
                  <a:lnTo>
                    <a:pt x="655415" y="24670"/>
                  </a:lnTo>
                  <a:lnTo>
                    <a:pt x="647795" y="27242"/>
                  </a:lnTo>
                  <a:lnTo>
                    <a:pt x="633794" y="30575"/>
                  </a:lnTo>
                  <a:lnTo>
                    <a:pt x="618744" y="38957"/>
                  </a:lnTo>
                  <a:lnTo>
                    <a:pt x="612458" y="39719"/>
                  </a:lnTo>
                  <a:lnTo>
                    <a:pt x="611124" y="41529"/>
                  </a:lnTo>
                  <a:lnTo>
                    <a:pt x="604361" y="39148"/>
                  </a:lnTo>
                  <a:lnTo>
                    <a:pt x="604742" y="29527"/>
                  </a:lnTo>
                  <a:lnTo>
                    <a:pt x="603313" y="18478"/>
                  </a:lnTo>
                  <a:lnTo>
                    <a:pt x="595979" y="11335"/>
                  </a:lnTo>
                  <a:lnTo>
                    <a:pt x="590074" y="2476"/>
                  </a:lnTo>
                  <a:lnTo>
                    <a:pt x="586930" y="2857"/>
                  </a:lnTo>
                  <a:lnTo>
                    <a:pt x="585692" y="6286"/>
                  </a:lnTo>
                  <a:lnTo>
                    <a:pt x="578644" y="762"/>
                  </a:lnTo>
                  <a:lnTo>
                    <a:pt x="572072" y="0"/>
                  </a:lnTo>
                  <a:lnTo>
                    <a:pt x="550069" y="2762"/>
                  </a:lnTo>
                  <a:lnTo>
                    <a:pt x="547116" y="17621"/>
                  </a:lnTo>
                  <a:lnTo>
                    <a:pt x="538829" y="28289"/>
                  </a:lnTo>
                  <a:lnTo>
                    <a:pt x="539210" y="31432"/>
                  </a:lnTo>
                  <a:lnTo>
                    <a:pt x="539687" y="34576"/>
                  </a:lnTo>
                  <a:lnTo>
                    <a:pt x="530352" y="37338"/>
                  </a:lnTo>
                  <a:lnTo>
                    <a:pt x="524828" y="31623"/>
                  </a:lnTo>
                  <a:lnTo>
                    <a:pt x="520255" y="33814"/>
                  </a:lnTo>
                  <a:lnTo>
                    <a:pt x="518351" y="30861"/>
                  </a:lnTo>
                  <a:lnTo>
                    <a:pt x="515207" y="31242"/>
                  </a:lnTo>
                  <a:lnTo>
                    <a:pt x="513017" y="26765"/>
                  </a:lnTo>
                  <a:lnTo>
                    <a:pt x="505111" y="27718"/>
                  </a:lnTo>
                  <a:lnTo>
                    <a:pt x="503111" y="24765"/>
                  </a:lnTo>
                  <a:lnTo>
                    <a:pt x="499586" y="22003"/>
                  </a:lnTo>
                  <a:lnTo>
                    <a:pt x="496443" y="22479"/>
                  </a:lnTo>
                  <a:lnTo>
                    <a:pt x="498348" y="25432"/>
                  </a:lnTo>
                  <a:lnTo>
                    <a:pt x="498824" y="28575"/>
                  </a:lnTo>
                  <a:lnTo>
                    <a:pt x="497777" y="33528"/>
                  </a:lnTo>
                  <a:lnTo>
                    <a:pt x="498253" y="36671"/>
                  </a:lnTo>
                  <a:lnTo>
                    <a:pt x="496634" y="36862"/>
                  </a:lnTo>
                  <a:lnTo>
                    <a:pt x="497396" y="43148"/>
                  </a:lnTo>
                  <a:lnTo>
                    <a:pt x="483680" y="48101"/>
                  </a:lnTo>
                  <a:lnTo>
                    <a:pt x="480060" y="45339"/>
                  </a:lnTo>
                  <a:lnTo>
                    <a:pt x="477488" y="50482"/>
                  </a:lnTo>
                  <a:lnTo>
                    <a:pt x="478155" y="55245"/>
                  </a:lnTo>
                  <a:lnTo>
                    <a:pt x="476917" y="58579"/>
                  </a:lnTo>
                  <a:lnTo>
                    <a:pt x="467868" y="62960"/>
                  </a:lnTo>
                  <a:lnTo>
                    <a:pt x="464915" y="64960"/>
                  </a:lnTo>
                  <a:lnTo>
                    <a:pt x="461391" y="62198"/>
                  </a:lnTo>
                  <a:lnTo>
                    <a:pt x="461772" y="65342"/>
                  </a:lnTo>
                  <a:lnTo>
                    <a:pt x="467678" y="74200"/>
                  </a:lnTo>
                  <a:lnTo>
                    <a:pt x="470249" y="81915"/>
                  </a:lnTo>
                  <a:lnTo>
                    <a:pt x="465963" y="85630"/>
                  </a:lnTo>
                  <a:lnTo>
                    <a:pt x="467773" y="87058"/>
                  </a:lnTo>
                  <a:lnTo>
                    <a:pt x="464820" y="89059"/>
                  </a:lnTo>
                  <a:lnTo>
                    <a:pt x="463582" y="92392"/>
                  </a:lnTo>
                  <a:lnTo>
                    <a:pt x="456152" y="96583"/>
                  </a:lnTo>
                  <a:lnTo>
                    <a:pt x="456343" y="98107"/>
                  </a:lnTo>
                  <a:lnTo>
                    <a:pt x="460058" y="102489"/>
                  </a:lnTo>
                  <a:lnTo>
                    <a:pt x="456152" y="109347"/>
                  </a:lnTo>
                  <a:lnTo>
                    <a:pt x="456724" y="114109"/>
                  </a:lnTo>
                  <a:lnTo>
                    <a:pt x="457200" y="117253"/>
                  </a:lnTo>
                  <a:lnTo>
                    <a:pt x="455581" y="117443"/>
                  </a:lnTo>
                  <a:lnTo>
                    <a:pt x="455962" y="120586"/>
                  </a:lnTo>
                  <a:lnTo>
                    <a:pt x="452819" y="121063"/>
                  </a:lnTo>
                  <a:lnTo>
                    <a:pt x="451009" y="119634"/>
                  </a:lnTo>
                  <a:lnTo>
                    <a:pt x="447866" y="120015"/>
                  </a:lnTo>
                  <a:lnTo>
                    <a:pt x="447675" y="118491"/>
                  </a:lnTo>
                  <a:lnTo>
                    <a:pt x="444532" y="118872"/>
                  </a:lnTo>
                  <a:lnTo>
                    <a:pt x="430721" y="123825"/>
                  </a:lnTo>
                  <a:lnTo>
                    <a:pt x="429387" y="125635"/>
                  </a:lnTo>
                  <a:lnTo>
                    <a:pt x="426149" y="126016"/>
                  </a:lnTo>
                  <a:lnTo>
                    <a:pt x="419100" y="120491"/>
                  </a:lnTo>
                  <a:lnTo>
                    <a:pt x="414338" y="121158"/>
                  </a:lnTo>
                  <a:lnTo>
                    <a:pt x="415766" y="119348"/>
                  </a:lnTo>
                  <a:lnTo>
                    <a:pt x="408813" y="115443"/>
                  </a:lnTo>
                  <a:lnTo>
                    <a:pt x="408622" y="113824"/>
                  </a:lnTo>
                  <a:lnTo>
                    <a:pt x="411194" y="108680"/>
                  </a:lnTo>
                  <a:lnTo>
                    <a:pt x="407956" y="109061"/>
                  </a:lnTo>
                  <a:lnTo>
                    <a:pt x="405860" y="104584"/>
                  </a:lnTo>
                  <a:lnTo>
                    <a:pt x="398907" y="100584"/>
                  </a:lnTo>
                  <a:lnTo>
                    <a:pt x="396335" y="92964"/>
                  </a:lnTo>
                  <a:lnTo>
                    <a:pt x="392239" y="98298"/>
                  </a:lnTo>
                  <a:lnTo>
                    <a:pt x="386810" y="94107"/>
                  </a:lnTo>
                  <a:lnTo>
                    <a:pt x="382334" y="96298"/>
                  </a:lnTo>
                  <a:lnTo>
                    <a:pt x="382905" y="101060"/>
                  </a:lnTo>
                  <a:lnTo>
                    <a:pt x="379952" y="103060"/>
                  </a:lnTo>
                  <a:lnTo>
                    <a:pt x="380619" y="107728"/>
                  </a:lnTo>
                  <a:lnTo>
                    <a:pt x="379190" y="109538"/>
                  </a:lnTo>
                  <a:lnTo>
                    <a:pt x="381762" y="117253"/>
                  </a:lnTo>
                  <a:lnTo>
                    <a:pt x="377476" y="120967"/>
                  </a:lnTo>
                  <a:lnTo>
                    <a:pt x="372523" y="120015"/>
                  </a:lnTo>
                  <a:lnTo>
                    <a:pt x="366141" y="108013"/>
                  </a:lnTo>
                  <a:lnTo>
                    <a:pt x="358712" y="112204"/>
                  </a:lnTo>
                  <a:lnTo>
                    <a:pt x="358521" y="110585"/>
                  </a:lnTo>
                  <a:lnTo>
                    <a:pt x="353759" y="111157"/>
                  </a:lnTo>
                  <a:lnTo>
                    <a:pt x="352520" y="114586"/>
                  </a:lnTo>
                  <a:lnTo>
                    <a:pt x="348805" y="110204"/>
                  </a:lnTo>
                  <a:lnTo>
                    <a:pt x="346043" y="113728"/>
                  </a:lnTo>
                  <a:lnTo>
                    <a:pt x="349568" y="116491"/>
                  </a:lnTo>
                  <a:lnTo>
                    <a:pt x="348425" y="119920"/>
                  </a:lnTo>
                  <a:lnTo>
                    <a:pt x="357378" y="126778"/>
                  </a:lnTo>
                  <a:lnTo>
                    <a:pt x="357950" y="131540"/>
                  </a:lnTo>
                  <a:lnTo>
                    <a:pt x="358140" y="133064"/>
                  </a:lnTo>
                  <a:lnTo>
                    <a:pt x="361855" y="137446"/>
                  </a:lnTo>
                  <a:lnTo>
                    <a:pt x="367189" y="141542"/>
                  </a:lnTo>
                  <a:lnTo>
                    <a:pt x="364236" y="143542"/>
                  </a:lnTo>
                  <a:lnTo>
                    <a:pt x="368237" y="149447"/>
                  </a:lnTo>
                  <a:lnTo>
                    <a:pt x="361379" y="158305"/>
                  </a:lnTo>
                  <a:lnTo>
                    <a:pt x="356616" y="158972"/>
                  </a:lnTo>
                  <a:lnTo>
                    <a:pt x="355854" y="165449"/>
                  </a:lnTo>
                  <a:lnTo>
                    <a:pt x="348329" y="169640"/>
                  </a:lnTo>
                  <a:lnTo>
                    <a:pt x="343471" y="168592"/>
                  </a:lnTo>
                  <a:lnTo>
                    <a:pt x="342043" y="170402"/>
                  </a:lnTo>
                  <a:lnTo>
                    <a:pt x="341662" y="167259"/>
                  </a:lnTo>
                  <a:lnTo>
                    <a:pt x="340424" y="170593"/>
                  </a:lnTo>
                  <a:lnTo>
                    <a:pt x="335566" y="169640"/>
                  </a:lnTo>
                  <a:lnTo>
                    <a:pt x="333946" y="169831"/>
                  </a:lnTo>
                  <a:lnTo>
                    <a:pt x="333756" y="168211"/>
                  </a:lnTo>
                  <a:lnTo>
                    <a:pt x="331946" y="166878"/>
                  </a:lnTo>
                  <a:lnTo>
                    <a:pt x="327660" y="170688"/>
                  </a:lnTo>
                  <a:lnTo>
                    <a:pt x="328803" y="167259"/>
                  </a:lnTo>
                  <a:lnTo>
                    <a:pt x="328422" y="164116"/>
                  </a:lnTo>
                  <a:lnTo>
                    <a:pt x="323088" y="160020"/>
                  </a:lnTo>
                  <a:lnTo>
                    <a:pt x="319754" y="158782"/>
                  </a:lnTo>
                  <a:lnTo>
                    <a:pt x="316802" y="160782"/>
                  </a:lnTo>
                  <a:lnTo>
                    <a:pt x="312039" y="161449"/>
                  </a:lnTo>
                  <a:lnTo>
                    <a:pt x="310229" y="160020"/>
                  </a:lnTo>
                  <a:lnTo>
                    <a:pt x="296418" y="164973"/>
                  </a:lnTo>
                  <a:lnTo>
                    <a:pt x="294513" y="162020"/>
                  </a:lnTo>
                  <a:lnTo>
                    <a:pt x="290132" y="165830"/>
                  </a:lnTo>
                  <a:lnTo>
                    <a:pt x="286988" y="166211"/>
                  </a:lnTo>
                  <a:lnTo>
                    <a:pt x="283083" y="173069"/>
                  </a:lnTo>
                  <a:lnTo>
                    <a:pt x="279654" y="171926"/>
                  </a:lnTo>
                  <a:lnTo>
                    <a:pt x="279463" y="170402"/>
                  </a:lnTo>
                  <a:lnTo>
                    <a:pt x="277273" y="165830"/>
                  </a:lnTo>
                  <a:lnTo>
                    <a:pt x="274320" y="167830"/>
                  </a:lnTo>
                  <a:lnTo>
                    <a:pt x="274606" y="169354"/>
                  </a:lnTo>
                  <a:lnTo>
                    <a:pt x="266224" y="167259"/>
                  </a:lnTo>
                  <a:lnTo>
                    <a:pt x="273177" y="171164"/>
                  </a:lnTo>
                  <a:lnTo>
                    <a:pt x="269081" y="176498"/>
                  </a:lnTo>
                  <a:lnTo>
                    <a:pt x="272225" y="176117"/>
                  </a:lnTo>
                  <a:lnTo>
                    <a:pt x="274225" y="179070"/>
                  </a:lnTo>
                  <a:lnTo>
                    <a:pt x="274034" y="190309"/>
                  </a:lnTo>
                  <a:lnTo>
                    <a:pt x="271272" y="193834"/>
                  </a:lnTo>
                  <a:lnTo>
                    <a:pt x="269462" y="192500"/>
                  </a:lnTo>
                  <a:lnTo>
                    <a:pt x="266510" y="194500"/>
                  </a:lnTo>
                  <a:lnTo>
                    <a:pt x="261176" y="203168"/>
                  </a:lnTo>
                  <a:lnTo>
                    <a:pt x="245840" y="221171"/>
                  </a:lnTo>
                  <a:lnTo>
                    <a:pt x="245650" y="219551"/>
                  </a:lnTo>
                  <a:lnTo>
                    <a:pt x="244507" y="210121"/>
                  </a:lnTo>
                  <a:lnTo>
                    <a:pt x="238887" y="204406"/>
                  </a:lnTo>
                  <a:lnTo>
                    <a:pt x="238887" y="204406"/>
                  </a:lnTo>
                  <a:lnTo>
                    <a:pt x="233172" y="197072"/>
                  </a:lnTo>
                  <a:lnTo>
                    <a:pt x="226695" y="196310"/>
                  </a:lnTo>
                  <a:lnTo>
                    <a:pt x="227838" y="192976"/>
                  </a:lnTo>
                  <a:lnTo>
                    <a:pt x="221552" y="193834"/>
                  </a:lnTo>
                  <a:lnTo>
                    <a:pt x="218218" y="192596"/>
                  </a:lnTo>
                  <a:lnTo>
                    <a:pt x="218408" y="194215"/>
                  </a:lnTo>
                  <a:lnTo>
                    <a:pt x="213455" y="193262"/>
                  </a:lnTo>
                  <a:lnTo>
                    <a:pt x="215646" y="197739"/>
                  </a:lnTo>
                  <a:lnTo>
                    <a:pt x="214217" y="199549"/>
                  </a:lnTo>
                  <a:lnTo>
                    <a:pt x="212027" y="194977"/>
                  </a:lnTo>
                  <a:lnTo>
                    <a:pt x="202597" y="196215"/>
                  </a:lnTo>
                  <a:lnTo>
                    <a:pt x="203549" y="191262"/>
                  </a:lnTo>
                  <a:lnTo>
                    <a:pt x="199835" y="186976"/>
                  </a:lnTo>
                  <a:lnTo>
                    <a:pt x="196882" y="188881"/>
                  </a:lnTo>
                  <a:lnTo>
                    <a:pt x="184976" y="184023"/>
                  </a:lnTo>
                  <a:lnTo>
                    <a:pt x="186214" y="193453"/>
                  </a:lnTo>
                  <a:lnTo>
                    <a:pt x="182880" y="192310"/>
                  </a:lnTo>
                  <a:lnTo>
                    <a:pt x="174974" y="193262"/>
                  </a:lnTo>
                  <a:lnTo>
                    <a:pt x="174593" y="190119"/>
                  </a:lnTo>
                  <a:lnTo>
                    <a:pt x="175355" y="183642"/>
                  </a:lnTo>
                  <a:lnTo>
                    <a:pt x="175546" y="172402"/>
                  </a:lnTo>
                  <a:lnTo>
                    <a:pt x="181261" y="166878"/>
                  </a:lnTo>
                  <a:lnTo>
                    <a:pt x="180975" y="165259"/>
                  </a:lnTo>
                  <a:lnTo>
                    <a:pt x="177832" y="165640"/>
                  </a:lnTo>
                  <a:lnTo>
                    <a:pt x="170307" y="156972"/>
                  </a:lnTo>
                  <a:lnTo>
                    <a:pt x="170307" y="156972"/>
                  </a:lnTo>
                  <a:lnTo>
                    <a:pt x="170783" y="160210"/>
                  </a:lnTo>
                  <a:lnTo>
                    <a:pt x="166021" y="160782"/>
                  </a:lnTo>
                  <a:lnTo>
                    <a:pt x="166211" y="162306"/>
                  </a:lnTo>
                  <a:lnTo>
                    <a:pt x="159925" y="163163"/>
                  </a:lnTo>
                  <a:lnTo>
                    <a:pt x="159353" y="171259"/>
                  </a:lnTo>
                  <a:lnTo>
                    <a:pt x="156401" y="173260"/>
                  </a:lnTo>
                  <a:lnTo>
                    <a:pt x="157925" y="172974"/>
                  </a:lnTo>
                  <a:lnTo>
                    <a:pt x="156782" y="176403"/>
                  </a:lnTo>
                  <a:lnTo>
                    <a:pt x="154972" y="174974"/>
                  </a:lnTo>
                  <a:lnTo>
                    <a:pt x="152210" y="178594"/>
                  </a:lnTo>
                  <a:lnTo>
                    <a:pt x="152400" y="180118"/>
                  </a:lnTo>
                  <a:lnTo>
                    <a:pt x="151257" y="183451"/>
                  </a:lnTo>
                  <a:lnTo>
                    <a:pt x="146495" y="184118"/>
                  </a:lnTo>
                  <a:lnTo>
                    <a:pt x="147542" y="192024"/>
                  </a:lnTo>
                  <a:lnTo>
                    <a:pt x="145733" y="190595"/>
                  </a:lnTo>
                  <a:lnTo>
                    <a:pt x="146399" y="195358"/>
                  </a:lnTo>
                  <a:lnTo>
                    <a:pt x="146971" y="200120"/>
                  </a:lnTo>
                  <a:lnTo>
                    <a:pt x="149543" y="207740"/>
                  </a:lnTo>
                  <a:lnTo>
                    <a:pt x="153543" y="213646"/>
                  </a:lnTo>
                  <a:lnTo>
                    <a:pt x="152495" y="218599"/>
                  </a:lnTo>
                  <a:lnTo>
                    <a:pt x="159258" y="220980"/>
                  </a:lnTo>
                  <a:lnTo>
                    <a:pt x="159449" y="222504"/>
                  </a:lnTo>
                  <a:lnTo>
                    <a:pt x="162020" y="230219"/>
                  </a:lnTo>
                  <a:lnTo>
                    <a:pt x="160496" y="230410"/>
                  </a:lnTo>
                  <a:lnTo>
                    <a:pt x="163068" y="238125"/>
                  </a:lnTo>
                  <a:lnTo>
                    <a:pt x="156686" y="238887"/>
                  </a:lnTo>
                  <a:lnTo>
                    <a:pt x="155162" y="239173"/>
                  </a:lnTo>
                  <a:lnTo>
                    <a:pt x="152019" y="239554"/>
                  </a:lnTo>
                  <a:lnTo>
                    <a:pt x="148304" y="248031"/>
                  </a:lnTo>
                  <a:lnTo>
                    <a:pt x="143351" y="247078"/>
                  </a:lnTo>
                  <a:lnTo>
                    <a:pt x="143732" y="250222"/>
                  </a:lnTo>
                  <a:lnTo>
                    <a:pt x="137636" y="252603"/>
                  </a:lnTo>
                  <a:lnTo>
                    <a:pt x="135636" y="249650"/>
                  </a:lnTo>
                  <a:lnTo>
                    <a:pt x="132874" y="266033"/>
                  </a:lnTo>
                  <a:lnTo>
                    <a:pt x="131350" y="266224"/>
                  </a:lnTo>
                  <a:lnTo>
                    <a:pt x="130207" y="269557"/>
                  </a:lnTo>
                  <a:lnTo>
                    <a:pt x="126968" y="269938"/>
                  </a:lnTo>
                  <a:lnTo>
                    <a:pt x="128969" y="272891"/>
                  </a:lnTo>
                  <a:lnTo>
                    <a:pt x="125825" y="273367"/>
                  </a:lnTo>
                  <a:lnTo>
                    <a:pt x="124682" y="276701"/>
                  </a:lnTo>
                  <a:lnTo>
                    <a:pt x="120301" y="280416"/>
                  </a:lnTo>
                  <a:lnTo>
                    <a:pt x="119158" y="283845"/>
                  </a:lnTo>
                  <a:lnTo>
                    <a:pt x="120968" y="285178"/>
                  </a:lnTo>
                  <a:lnTo>
                    <a:pt x="119539" y="286988"/>
                  </a:lnTo>
                  <a:lnTo>
                    <a:pt x="110680" y="292894"/>
                  </a:lnTo>
                  <a:lnTo>
                    <a:pt x="107347" y="291751"/>
                  </a:lnTo>
                  <a:lnTo>
                    <a:pt x="106109" y="295084"/>
                  </a:lnTo>
                  <a:lnTo>
                    <a:pt x="97250" y="288226"/>
                  </a:lnTo>
                  <a:lnTo>
                    <a:pt x="95917" y="289941"/>
                  </a:lnTo>
                  <a:lnTo>
                    <a:pt x="93726" y="285464"/>
                  </a:lnTo>
                  <a:lnTo>
                    <a:pt x="92678" y="290417"/>
                  </a:lnTo>
                  <a:lnTo>
                    <a:pt x="88202" y="292608"/>
                  </a:lnTo>
                  <a:lnTo>
                    <a:pt x="85249" y="294513"/>
                  </a:lnTo>
                  <a:lnTo>
                    <a:pt x="76771" y="290798"/>
                  </a:lnTo>
                  <a:lnTo>
                    <a:pt x="75343" y="292608"/>
                  </a:lnTo>
                  <a:lnTo>
                    <a:pt x="70866" y="294799"/>
                  </a:lnTo>
                  <a:lnTo>
                    <a:pt x="66104" y="295370"/>
                  </a:lnTo>
                  <a:lnTo>
                    <a:pt x="65151" y="300323"/>
                  </a:lnTo>
                  <a:lnTo>
                    <a:pt x="63722" y="302133"/>
                  </a:lnTo>
                  <a:lnTo>
                    <a:pt x="56864" y="298132"/>
                  </a:lnTo>
                  <a:lnTo>
                    <a:pt x="54483" y="292036"/>
                  </a:lnTo>
                  <a:lnTo>
                    <a:pt x="51245" y="292417"/>
                  </a:lnTo>
                  <a:lnTo>
                    <a:pt x="48292" y="294418"/>
                  </a:lnTo>
                  <a:lnTo>
                    <a:pt x="53912" y="300133"/>
                  </a:lnTo>
                  <a:lnTo>
                    <a:pt x="49339" y="302323"/>
                  </a:lnTo>
                  <a:lnTo>
                    <a:pt x="44577" y="302895"/>
                  </a:lnTo>
                  <a:lnTo>
                    <a:pt x="40291" y="306705"/>
                  </a:lnTo>
                  <a:lnTo>
                    <a:pt x="41053" y="312992"/>
                  </a:lnTo>
                  <a:lnTo>
                    <a:pt x="42672" y="312801"/>
                  </a:lnTo>
                  <a:lnTo>
                    <a:pt x="42101" y="320897"/>
                  </a:lnTo>
                  <a:lnTo>
                    <a:pt x="39529" y="326041"/>
                  </a:lnTo>
                  <a:lnTo>
                    <a:pt x="39338" y="324421"/>
                  </a:lnTo>
                  <a:lnTo>
                    <a:pt x="37719" y="324612"/>
                  </a:lnTo>
                  <a:lnTo>
                    <a:pt x="37910" y="326231"/>
                  </a:lnTo>
                  <a:lnTo>
                    <a:pt x="36004" y="323278"/>
                  </a:lnTo>
                  <a:lnTo>
                    <a:pt x="32576" y="322135"/>
                  </a:lnTo>
                  <a:lnTo>
                    <a:pt x="30671" y="319183"/>
                  </a:lnTo>
                  <a:lnTo>
                    <a:pt x="27242" y="317944"/>
                  </a:lnTo>
                  <a:lnTo>
                    <a:pt x="23336" y="324898"/>
                  </a:lnTo>
                  <a:lnTo>
                    <a:pt x="23527" y="326422"/>
                  </a:lnTo>
                  <a:lnTo>
                    <a:pt x="21622" y="336328"/>
                  </a:lnTo>
                  <a:lnTo>
                    <a:pt x="17050" y="338518"/>
                  </a:lnTo>
                  <a:lnTo>
                    <a:pt x="14478" y="343662"/>
                  </a:lnTo>
                  <a:lnTo>
                    <a:pt x="8572" y="347567"/>
                  </a:lnTo>
                  <a:lnTo>
                    <a:pt x="7811" y="354139"/>
                  </a:lnTo>
                  <a:lnTo>
                    <a:pt x="12954" y="356711"/>
                  </a:lnTo>
                  <a:lnTo>
                    <a:pt x="15145" y="361188"/>
                  </a:lnTo>
                  <a:lnTo>
                    <a:pt x="18860" y="365569"/>
                  </a:lnTo>
                  <a:lnTo>
                    <a:pt x="19907" y="373475"/>
                  </a:lnTo>
                  <a:lnTo>
                    <a:pt x="13621" y="387096"/>
                  </a:lnTo>
                  <a:lnTo>
                    <a:pt x="18955" y="391192"/>
                  </a:lnTo>
                  <a:lnTo>
                    <a:pt x="23146" y="398717"/>
                  </a:lnTo>
                  <a:lnTo>
                    <a:pt x="26099" y="409575"/>
                  </a:lnTo>
                  <a:lnTo>
                    <a:pt x="29432" y="410718"/>
                  </a:lnTo>
                  <a:lnTo>
                    <a:pt x="31242" y="412051"/>
                  </a:lnTo>
                  <a:lnTo>
                    <a:pt x="32861" y="411861"/>
                  </a:lnTo>
                  <a:lnTo>
                    <a:pt x="35052" y="416433"/>
                  </a:lnTo>
                  <a:lnTo>
                    <a:pt x="29337" y="421957"/>
                  </a:lnTo>
                  <a:lnTo>
                    <a:pt x="27527" y="420529"/>
                  </a:lnTo>
                  <a:lnTo>
                    <a:pt x="26765" y="427101"/>
                  </a:lnTo>
                  <a:lnTo>
                    <a:pt x="22574" y="432435"/>
                  </a:lnTo>
                  <a:lnTo>
                    <a:pt x="27908" y="436531"/>
                  </a:lnTo>
                  <a:lnTo>
                    <a:pt x="27337" y="431863"/>
                  </a:lnTo>
                  <a:lnTo>
                    <a:pt x="38386" y="430435"/>
                  </a:lnTo>
                  <a:lnTo>
                    <a:pt x="40196" y="431768"/>
                  </a:lnTo>
                  <a:lnTo>
                    <a:pt x="43339" y="431387"/>
                  </a:lnTo>
                  <a:lnTo>
                    <a:pt x="46863" y="434150"/>
                  </a:lnTo>
                  <a:lnTo>
                    <a:pt x="51435" y="431959"/>
                  </a:lnTo>
                  <a:lnTo>
                    <a:pt x="56579" y="421672"/>
                  </a:lnTo>
                  <a:lnTo>
                    <a:pt x="58103" y="421481"/>
                  </a:lnTo>
                  <a:lnTo>
                    <a:pt x="62103" y="427387"/>
                  </a:lnTo>
                  <a:lnTo>
                    <a:pt x="58769" y="439007"/>
                  </a:lnTo>
                  <a:lnTo>
                    <a:pt x="57531" y="442436"/>
                  </a:lnTo>
                  <a:lnTo>
                    <a:pt x="59531" y="445389"/>
                  </a:lnTo>
                  <a:lnTo>
                    <a:pt x="58007" y="445580"/>
                  </a:lnTo>
                  <a:lnTo>
                    <a:pt x="59912" y="448532"/>
                  </a:lnTo>
                  <a:lnTo>
                    <a:pt x="55436" y="450723"/>
                  </a:lnTo>
                  <a:lnTo>
                    <a:pt x="51911" y="473583"/>
                  </a:lnTo>
                  <a:lnTo>
                    <a:pt x="46958" y="472630"/>
                  </a:lnTo>
                  <a:lnTo>
                    <a:pt x="45625" y="474440"/>
                  </a:lnTo>
                  <a:lnTo>
                    <a:pt x="42291" y="473202"/>
                  </a:lnTo>
                  <a:lnTo>
                    <a:pt x="41053" y="476536"/>
                  </a:lnTo>
                  <a:lnTo>
                    <a:pt x="39910" y="479965"/>
                  </a:lnTo>
                  <a:lnTo>
                    <a:pt x="36767" y="480346"/>
                  </a:lnTo>
                  <a:lnTo>
                    <a:pt x="34957" y="478917"/>
                  </a:lnTo>
                  <a:lnTo>
                    <a:pt x="28480" y="478155"/>
                  </a:lnTo>
                  <a:lnTo>
                    <a:pt x="23908" y="480346"/>
                  </a:lnTo>
                  <a:lnTo>
                    <a:pt x="23527" y="490061"/>
                  </a:lnTo>
                  <a:lnTo>
                    <a:pt x="20574" y="504825"/>
                  </a:lnTo>
                  <a:lnTo>
                    <a:pt x="19050" y="505015"/>
                  </a:lnTo>
                  <a:lnTo>
                    <a:pt x="20003" y="512921"/>
                  </a:lnTo>
                  <a:lnTo>
                    <a:pt x="15716" y="516731"/>
                  </a:lnTo>
                  <a:lnTo>
                    <a:pt x="12383" y="515493"/>
                  </a:lnTo>
                  <a:lnTo>
                    <a:pt x="857" y="513778"/>
                  </a:lnTo>
                  <a:lnTo>
                    <a:pt x="3143" y="531114"/>
                  </a:lnTo>
                  <a:lnTo>
                    <a:pt x="4477" y="529400"/>
                  </a:lnTo>
                  <a:lnTo>
                    <a:pt x="6668" y="533876"/>
                  </a:lnTo>
                  <a:lnTo>
                    <a:pt x="5905" y="540353"/>
                  </a:lnTo>
                  <a:lnTo>
                    <a:pt x="0" y="544354"/>
                  </a:lnTo>
                  <a:lnTo>
                    <a:pt x="16383" y="547116"/>
                  </a:lnTo>
                  <a:lnTo>
                    <a:pt x="20860" y="544925"/>
                  </a:lnTo>
                  <a:lnTo>
                    <a:pt x="24479" y="547688"/>
                  </a:lnTo>
                  <a:lnTo>
                    <a:pt x="28385" y="540734"/>
                  </a:lnTo>
                  <a:lnTo>
                    <a:pt x="31528" y="540353"/>
                  </a:lnTo>
                  <a:lnTo>
                    <a:pt x="34480" y="538353"/>
                  </a:lnTo>
                  <a:lnTo>
                    <a:pt x="37910" y="539496"/>
                  </a:lnTo>
                  <a:lnTo>
                    <a:pt x="42386" y="537401"/>
                  </a:lnTo>
                  <a:lnTo>
                    <a:pt x="53245" y="534352"/>
                  </a:lnTo>
                  <a:lnTo>
                    <a:pt x="63532" y="526637"/>
                  </a:lnTo>
                  <a:lnTo>
                    <a:pt x="71533" y="527209"/>
                  </a:lnTo>
                  <a:lnTo>
                    <a:pt x="73343" y="528638"/>
                  </a:lnTo>
                  <a:lnTo>
                    <a:pt x="76962" y="544163"/>
                  </a:lnTo>
                  <a:lnTo>
                    <a:pt x="81915" y="545116"/>
                  </a:lnTo>
                  <a:lnTo>
                    <a:pt x="83820" y="548068"/>
                  </a:lnTo>
                  <a:lnTo>
                    <a:pt x="84487" y="552831"/>
                  </a:lnTo>
                  <a:lnTo>
                    <a:pt x="86678" y="557403"/>
                  </a:lnTo>
                  <a:lnTo>
                    <a:pt x="86296" y="567023"/>
                  </a:lnTo>
                  <a:lnTo>
                    <a:pt x="85344" y="571976"/>
                  </a:lnTo>
                  <a:lnTo>
                    <a:pt x="81153" y="577310"/>
                  </a:lnTo>
                  <a:lnTo>
                    <a:pt x="81534" y="580453"/>
                  </a:lnTo>
                  <a:lnTo>
                    <a:pt x="79248" y="587216"/>
                  </a:lnTo>
                  <a:lnTo>
                    <a:pt x="78010" y="590550"/>
                  </a:lnTo>
                  <a:lnTo>
                    <a:pt x="80010" y="593503"/>
                  </a:lnTo>
                  <a:lnTo>
                    <a:pt x="82963" y="591502"/>
                  </a:lnTo>
                  <a:lnTo>
                    <a:pt x="85344" y="584835"/>
                  </a:lnTo>
                  <a:lnTo>
                    <a:pt x="101537" y="585978"/>
                  </a:lnTo>
                  <a:lnTo>
                    <a:pt x="102679" y="595408"/>
                  </a:lnTo>
                  <a:lnTo>
                    <a:pt x="104299" y="595217"/>
                  </a:lnTo>
                  <a:lnTo>
                    <a:pt x="108585" y="591502"/>
                  </a:lnTo>
                  <a:lnTo>
                    <a:pt x="113538" y="592455"/>
                  </a:lnTo>
                  <a:lnTo>
                    <a:pt x="115919" y="598551"/>
                  </a:lnTo>
                  <a:lnTo>
                    <a:pt x="119539" y="601313"/>
                  </a:lnTo>
                  <a:lnTo>
                    <a:pt x="119539" y="614172"/>
                  </a:lnTo>
                  <a:lnTo>
                    <a:pt x="124301" y="613505"/>
                  </a:lnTo>
                  <a:lnTo>
                    <a:pt x="127063" y="609981"/>
                  </a:lnTo>
                  <a:lnTo>
                    <a:pt x="130588" y="612743"/>
                  </a:lnTo>
                  <a:lnTo>
                    <a:pt x="130397" y="611124"/>
                  </a:lnTo>
                  <a:lnTo>
                    <a:pt x="136874" y="611886"/>
                  </a:lnTo>
                  <a:lnTo>
                    <a:pt x="138303" y="610172"/>
                  </a:lnTo>
                  <a:lnTo>
                    <a:pt x="139827" y="609981"/>
                  </a:lnTo>
                  <a:lnTo>
                    <a:pt x="143256" y="611124"/>
                  </a:lnTo>
                  <a:lnTo>
                    <a:pt x="145352" y="615601"/>
                  </a:lnTo>
                  <a:lnTo>
                    <a:pt x="151733" y="614839"/>
                  </a:lnTo>
                  <a:lnTo>
                    <a:pt x="155067" y="615982"/>
                  </a:lnTo>
                  <a:lnTo>
                    <a:pt x="162592" y="611886"/>
                  </a:lnTo>
                  <a:lnTo>
                    <a:pt x="167926" y="615982"/>
                  </a:lnTo>
                  <a:lnTo>
                    <a:pt x="166688" y="619315"/>
                  </a:lnTo>
                  <a:lnTo>
                    <a:pt x="173641" y="623316"/>
                  </a:lnTo>
                  <a:lnTo>
                    <a:pt x="174784" y="619887"/>
                  </a:lnTo>
                  <a:lnTo>
                    <a:pt x="180118" y="624078"/>
                  </a:lnTo>
                  <a:lnTo>
                    <a:pt x="178022" y="632365"/>
                  </a:lnTo>
                  <a:lnTo>
                    <a:pt x="179927" y="635318"/>
                  </a:lnTo>
                  <a:lnTo>
                    <a:pt x="178784" y="638651"/>
                  </a:lnTo>
                  <a:lnTo>
                    <a:pt x="179165" y="641794"/>
                  </a:lnTo>
                  <a:lnTo>
                    <a:pt x="175070" y="647128"/>
                  </a:lnTo>
                  <a:lnTo>
                    <a:pt x="176879" y="648557"/>
                  </a:lnTo>
                  <a:lnTo>
                    <a:pt x="175641" y="651891"/>
                  </a:lnTo>
                  <a:lnTo>
                    <a:pt x="175832" y="653415"/>
                  </a:lnTo>
                  <a:lnTo>
                    <a:pt x="177641" y="654844"/>
                  </a:lnTo>
                  <a:lnTo>
                    <a:pt x="184404" y="657225"/>
                  </a:lnTo>
                  <a:lnTo>
                    <a:pt x="185738" y="655415"/>
                  </a:lnTo>
                  <a:lnTo>
                    <a:pt x="189071" y="656558"/>
                  </a:lnTo>
                  <a:lnTo>
                    <a:pt x="190500" y="654844"/>
                  </a:lnTo>
                  <a:lnTo>
                    <a:pt x="192691" y="659321"/>
                  </a:lnTo>
                  <a:lnTo>
                    <a:pt x="194977" y="652653"/>
                  </a:lnTo>
                  <a:lnTo>
                    <a:pt x="205835" y="649605"/>
                  </a:lnTo>
                  <a:lnTo>
                    <a:pt x="207264" y="660654"/>
                  </a:lnTo>
                  <a:lnTo>
                    <a:pt x="214217" y="664655"/>
                  </a:lnTo>
                  <a:lnTo>
                    <a:pt x="223457" y="674656"/>
                  </a:lnTo>
                  <a:lnTo>
                    <a:pt x="225076" y="674465"/>
                  </a:lnTo>
                  <a:lnTo>
                    <a:pt x="234125" y="682943"/>
                  </a:lnTo>
                  <a:lnTo>
                    <a:pt x="245936" y="675037"/>
                  </a:lnTo>
                  <a:lnTo>
                    <a:pt x="247745" y="676370"/>
                  </a:lnTo>
                  <a:lnTo>
                    <a:pt x="250508" y="672846"/>
                  </a:lnTo>
                  <a:lnTo>
                    <a:pt x="252317" y="674180"/>
                  </a:lnTo>
                  <a:lnTo>
                    <a:pt x="258223" y="670274"/>
                  </a:lnTo>
                  <a:lnTo>
                    <a:pt x="258413" y="671798"/>
                  </a:lnTo>
                  <a:lnTo>
                    <a:pt x="261366" y="669798"/>
                  </a:lnTo>
                  <a:lnTo>
                    <a:pt x="267081" y="677132"/>
                  </a:lnTo>
                  <a:lnTo>
                    <a:pt x="280892" y="672179"/>
                  </a:lnTo>
                  <a:lnTo>
                    <a:pt x="279845" y="664273"/>
                  </a:lnTo>
                  <a:lnTo>
                    <a:pt x="286417" y="677894"/>
                  </a:lnTo>
                  <a:lnTo>
                    <a:pt x="288417" y="680847"/>
                  </a:lnTo>
                  <a:lnTo>
                    <a:pt x="297275" y="674846"/>
                  </a:lnTo>
                  <a:lnTo>
                    <a:pt x="311277" y="684276"/>
                  </a:lnTo>
                  <a:lnTo>
                    <a:pt x="320040" y="689610"/>
                  </a:lnTo>
                  <a:lnTo>
                    <a:pt x="317278" y="693134"/>
                  </a:lnTo>
                  <a:lnTo>
                    <a:pt x="317849" y="697897"/>
                  </a:lnTo>
                  <a:lnTo>
                    <a:pt x="310420" y="714947"/>
                  </a:lnTo>
                  <a:lnTo>
                    <a:pt x="319088" y="720185"/>
                  </a:lnTo>
                  <a:lnTo>
                    <a:pt x="323183" y="714851"/>
                  </a:lnTo>
                  <a:lnTo>
                    <a:pt x="327946" y="714280"/>
                  </a:lnTo>
                  <a:lnTo>
                    <a:pt x="344138" y="728282"/>
                  </a:lnTo>
                  <a:lnTo>
                    <a:pt x="355378" y="728377"/>
                  </a:lnTo>
                  <a:lnTo>
                    <a:pt x="367475" y="747712"/>
                  </a:lnTo>
                  <a:lnTo>
                    <a:pt x="373666" y="758190"/>
                  </a:lnTo>
                  <a:lnTo>
                    <a:pt x="372428" y="761524"/>
                  </a:lnTo>
                  <a:lnTo>
                    <a:pt x="376238" y="765810"/>
                  </a:lnTo>
                  <a:lnTo>
                    <a:pt x="383858" y="763238"/>
                  </a:lnTo>
                  <a:lnTo>
                    <a:pt x="381191" y="766858"/>
                  </a:lnTo>
                  <a:lnTo>
                    <a:pt x="382905" y="768191"/>
                  </a:lnTo>
                  <a:lnTo>
                    <a:pt x="381381" y="768382"/>
                  </a:lnTo>
                  <a:lnTo>
                    <a:pt x="381953" y="773144"/>
                  </a:lnTo>
                  <a:lnTo>
                    <a:pt x="389096" y="791432"/>
                  </a:lnTo>
                  <a:lnTo>
                    <a:pt x="396812" y="788860"/>
                  </a:lnTo>
                  <a:lnTo>
                    <a:pt x="403479" y="791242"/>
                  </a:lnTo>
                  <a:lnTo>
                    <a:pt x="409385" y="787241"/>
                  </a:lnTo>
                  <a:lnTo>
                    <a:pt x="412623" y="786860"/>
                  </a:lnTo>
                  <a:lnTo>
                    <a:pt x="416719" y="781526"/>
                  </a:lnTo>
                  <a:lnTo>
                    <a:pt x="419862" y="781145"/>
                  </a:lnTo>
                  <a:lnTo>
                    <a:pt x="431292" y="782860"/>
                  </a:lnTo>
                  <a:lnTo>
                    <a:pt x="438436" y="775526"/>
                  </a:lnTo>
                  <a:lnTo>
                    <a:pt x="440531" y="767239"/>
                  </a:lnTo>
                  <a:lnTo>
                    <a:pt x="450818" y="759524"/>
                  </a:lnTo>
                  <a:lnTo>
                    <a:pt x="454914" y="754190"/>
                  </a:lnTo>
                  <a:lnTo>
                    <a:pt x="456057" y="750856"/>
                  </a:lnTo>
                  <a:lnTo>
                    <a:pt x="460438" y="747141"/>
                  </a:lnTo>
                  <a:lnTo>
                    <a:pt x="460058" y="743902"/>
                  </a:lnTo>
                  <a:lnTo>
                    <a:pt x="465106" y="733711"/>
                  </a:lnTo>
                  <a:lnTo>
                    <a:pt x="476345" y="721043"/>
                  </a:lnTo>
                  <a:lnTo>
                    <a:pt x="479488" y="720566"/>
                  </a:lnTo>
                  <a:lnTo>
                    <a:pt x="484061" y="718471"/>
                  </a:lnTo>
                  <a:lnTo>
                    <a:pt x="482632" y="707422"/>
                  </a:lnTo>
                  <a:lnTo>
                    <a:pt x="504920" y="706184"/>
                  </a:lnTo>
                  <a:lnTo>
                    <a:pt x="508063" y="705707"/>
                  </a:lnTo>
                  <a:lnTo>
                    <a:pt x="509492" y="703993"/>
                  </a:lnTo>
                  <a:lnTo>
                    <a:pt x="523875" y="703707"/>
                  </a:lnTo>
                  <a:lnTo>
                    <a:pt x="533305" y="702564"/>
                  </a:lnTo>
                  <a:lnTo>
                    <a:pt x="545211" y="707422"/>
                  </a:lnTo>
                  <a:lnTo>
                    <a:pt x="557403" y="702659"/>
                  </a:lnTo>
                  <a:lnTo>
                    <a:pt x="557594" y="691420"/>
                  </a:lnTo>
                  <a:lnTo>
                    <a:pt x="563499" y="674656"/>
                  </a:lnTo>
                  <a:lnTo>
                    <a:pt x="565595" y="666369"/>
                  </a:lnTo>
                  <a:lnTo>
                    <a:pt x="566833" y="662940"/>
                  </a:lnTo>
                  <a:lnTo>
                    <a:pt x="563975" y="653701"/>
                  </a:lnTo>
                  <a:lnTo>
                    <a:pt x="564737" y="647224"/>
                  </a:lnTo>
                  <a:lnTo>
                    <a:pt x="568262" y="637127"/>
                  </a:lnTo>
                  <a:lnTo>
                    <a:pt x="572262" y="630174"/>
                  </a:lnTo>
                  <a:lnTo>
                    <a:pt x="574167" y="620363"/>
                  </a:lnTo>
                  <a:lnTo>
                    <a:pt x="571405" y="611029"/>
                  </a:lnTo>
                  <a:lnTo>
                    <a:pt x="572357" y="606171"/>
                  </a:lnTo>
                  <a:lnTo>
                    <a:pt x="576739" y="602361"/>
                  </a:lnTo>
                  <a:lnTo>
                    <a:pt x="579215" y="597218"/>
                  </a:lnTo>
                  <a:lnTo>
                    <a:pt x="585121" y="593312"/>
                  </a:lnTo>
                  <a:lnTo>
                    <a:pt x="596170" y="591884"/>
                  </a:lnTo>
                  <a:lnTo>
                    <a:pt x="599122" y="589883"/>
                  </a:lnTo>
                  <a:lnTo>
                    <a:pt x="615601" y="592646"/>
                  </a:lnTo>
                  <a:lnTo>
                    <a:pt x="619887" y="588835"/>
                  </a:lnTo>
                  <a:lnTo>
                    <a:pt x="622649" y="585311"/>
                  </a:lnTo>
                  <a:lnTo>
                    <a:pt x="628936" y="584454"/>
                  </a:lnTo>
                  <a:lnTo>
                    <a:pt x="637889" y="591407"/>
                  </a:lnTo>
                  <a:lnTo>
                    <a:pt x="649129" y="591598"/>
                  </a:lnTo>
                  <a:lnTo>
                    <a:pt x="652272" y="591122"/>
                  </a:lnTo>
                  <a:lnTo>
                    <a:pt x="654558" y="584454"/>
                  </a:lnTo>
                  <a:lnTo>
                    <a:pt x="662464" y="583406"/>
                  </a:lnTo>
                  <a:lnTo>
                    <a:pt x="680466" y="573119"/>
                  </a:lnTo>
                  <a:lnTo>
                    <a:pt x="684562" y="567785"/>
                  </a:lnTo>
                  <a:lnTo>
                    <a:pt x="690086" y="560642"/>
                  </a:lnTo>
                  <a:lnTo>
                    <a:pt x="690848" y="554164"/>
                  </a:lnTo>
                  <a:lnTo>
                    <a:pt x="699516" y="546640"/>
                  </a:lnTo>
                  <a:lnTo>
                    <a:pt x="697516" y="543687"/>
                  </a:lnTo>
                  <a:lnTo>
                    <a:pt x="698468" y="538734"/>
                  </a:lnTo>
                  <a:lnTo>
                    <a:pt x="705707" y="520160"/>
                  </a:lnTo>
                  <a:lnTo>
                    <a:pt x="712470" y="509683"/>
                  </a:lnTo>
                  <a:lnTo>
                    <a:pt x="707612" y="484632"/>
                  </a:lnTo>
                  <a:lnTo>
                    <a:pt x="709994" y="477964"/>
                  </a:lnTo>
                  <a:lnTo>
                    <a:pt x="711613" y="477774"/>
                  </a:lnTo>
                  <a:lnTo>
                    <a:pt x="713327" y="479107"/>
                  </a:lnTo>
                  <a:lnTo>
                    <a:pt x="714947" y="478917"/>
                  </a:lnTo>
                  <a:lnTo>
                    <a:pt x="712375" y="471202"/>
                  </a:lnTo>
                  <a:lnTo>
                    <a:pt x="705231" y="465772"/>
                  </a:lnTo>
                  <a:lnTo>
                    <a:pt x="704469" y="459391"/>
                  </a:lnTo>
                  <a:lnTo>
                    <a:pt x="706755" y="452723"/>
                  </a:lnTo>
                  <a:lnTo>
                    <a:pt x="711137" y="448913"/>
                  </a:lnTo>
                  <a:lnTo>
                    <a:pt x="710089" y="441007"/>
                  </a:lnTo>
                  <a:lnTo>
                    <a:pt x="711518" y="439293"/>
                  </a:lnTo>
                  <a:lnTo>
                    <a:pt x="724662" y="429577"/>
                  </a:lnTo>
                  <a:lnTo>
                    <a:pt x="718757" y="420719"/>
                  </a:lnTo>
                  <a:lnTo>
                    <a:pt x="718852" y="396621"/>
                  </a:lnTo>
                  <a:lnTo>
                    <a:pt x="724567" y="391096"/>
                  </a:lnTo>
                  <a:lnTo>
                    <a:pt x="727901" y="379476"/>
                  </a:lnTo>
                  <a:lnTo>
                    <a:pt x="729520" y="379285"/>
                  </a:lnTo>
                  <a:lnTo>
                    <a:pt x="727901" y="366617"/>
                  </a:lnTo>
                  <a:lnTo>
                    <a:pt x="732663" y="366046"/>
                  </a:lnTo>
                  <a:lnTo>
                    <a:pt x="731996" y="361283"/>
                  </a:lnTo>
                  <a:lnTo>
                    <a:pt x="733997" y="351377"/>
                  </a:lnTo>
                  <a:lnTo>
                    <a:pt x="726091" y="352425"/>
                  </a:lnTo>
                  <a:lnTo>
                    <a:pt x="727805" y="340995"/>
                  </a:lnTo>
                  <a:lnTo>
                    <a:pt x="726186" y="328327"/>
                  </a:lnTo>
                  <a:lnTo>
                    <a:pt x="736663" y="322231"/>
                  </a:lnTo>
                  <a:lnTo>
                    <a:pt x="737235" y="314134"/>
                  </a:lnTo>
                  <a:lnTo>
                    <a:pt x="751808" y="302609"/>
                  </a:lnTo>
                  <a:lnTo>
                    <a:pt x="751999" y="291370"/>
                  </a:lnTo>
                  <a:lnTo>
                    <a:pt x="751142" y="285083"/>
                  </a:lnTo>
                  <a:lnTo>
                    <a:pt x="750951" y="283464"/>
                  </a:lnTo>
                  <a:lnTo>
                    <a:pt x="755333" y="279749"/>
                  </a:lnTo>
                  <a:lnTo>
                    <a:pt x="758666" y="280892"/>
                  </a:lnTo>
                  <a:lnTo>
                    <a:pt x="762953" y="277177"/>
                  </a:lnTo>
                  <a:lnTo>
                    <a:pt x="767905" y="278130"/>
                  </a:lnTo>
                  <a:lnTo>
                    <a:pt x="770668" y="274606"/>
                  </a:lnTo>
                  <a:lnTo>
                    <a:pt x="774002" y="275749"/>
                  </a:lnTo>
                  <a:lnTo>
                    <a:pt x="776764" y="272225"/>
                  </a:lnTo>
                  <a:lnTo>
                    <a:pt x="792956" y="273367"/>
                  </a:lnTo>
                  <a:lnTo>
                    <a:pt x="797528" y="271177"/>
                  </a:lnTo>
                  <a:lnTo>
                    <a:pt x="806768" y="268319"/>
                  </a:lnTo>
                  <a:lnTo>
                    <a:pt x="811149" y="264605"/>
                  </a:lnTo>
                  <a:lnTo>
                    <a:pt x="817245" y="262223"/>
                  </a:lnTo>
                  <a:lnTo>
                    <a:pt x="831437" y="260413"/>
                  </a:lnTo>
                  <a:lnTo>
                    <a:pt x="832771" y="258604"/>
                  </a:lnTo>
                  <a:lnTo>
                    <a:pt x="832390" y="255460"/>
                  </a:lnTo>
                  <a:lnTo>
                    <a:pt x="844582" y="250698"/>
                  </a:lnTo>
                  <a:lnTo>
                    <a:pt x="851726" y="243364"/>
                  </a:lnTo>
                  <a:lnTo>
                    <a:pt x="855059" y="244602"/>
                  </a:lnTo>
                  <a:lnTo>
                    <a:pt x="875157" y="238792"/>
                  </a:lnTo>
                  <a:lnTo>
                    <a:pt x="885444" y="231076"/>
                  </a:lnTo>
                  <a:lnTo>
                    <a:pt x="892683" y="212503"/>
                  </a:lnTo>
                  <a:lnTo>
                    <a:pt x="896969" y="208788"/>
                  </a:lnTo>
                  <a:lnTo>
                    <a:pt x="903351" y="207931"/>
                  </a:lnTo>
                  <a:lnTo>
                    <a:pt x="899160" y="200501"/>
                  </a:lnTo>
                  <a:lnTo>
                    <a:pt x="906494" y="194691"/>
                  </a:lnTo>
                  <a:lnTo>
                    <a:pt x="910019" y="184690"/>
                  </a:lnTo>
                  <a:lnTo>
                    <a:pt x="910019" y="184690"/>
                  </a:lnTo>
                  <a:close/>
                </a:path>
              </a:pathLst>
            </a:custGeom>
            <a:solidFill>
              <a:schemeClr val="bg1"/>
            </a:solidFill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3" name="Volný tvar: obrazec 32">
              <a:extLst>
                <a:ext uri="{FF2B5EF4-FFF2-40B4-BE49-F238E27FC236}">
                  <a16:creationId xmlns:a16="http://schemas.microsoft.com/office/drawing/2014/main" id="{6023EBE9-9C75-C316-CD8F-FC5634A25149}"/>
                </a:ext>
              </a:extLst>
            </p:cNvPr>
            <p:cNvSpPr>
              <a:spLocks noChangeAspect="1"/>
            </p:cNvSpPr>
            <p:nvPr userDrawn="1">
              <p:custDataLst>
                <p:tags r:id="rId5"/>
              </p:custDataLst>
            </p:nvPr>
          </p:nvSpPr>
          <p:spPr>
            <a:xfrm>
              <a:off x="4709541" y="3644550"/>
              <a:ext cx="1468659" cy="1218057"/>
            </a:xfrm>
            <a:custGeom>
              <a:avLst/>
              <a:gdLst>
                <a:gd name="connsiteX0" fmla="*/ 1468660 w 1468659"/>
                <a:gd name="connsiteY0" fmla="*/ 616839 h 1218057"/>
                <a:gd name="connsiteX1" fmla="*/ 1453801 w 1468659"/>
                <a:gd name="connsiteY1" fmla="*/ 601027 h 1218057"/>
                <a:gd name="connsiteX2" fmla="*/ 1456563 w 1468659"/>
                <a:gd name="connsiteY2" fmla="*/ 597503 h 1218057"/>
                <a:gd name="connsiteX3" fmla="*/ 1461230 w 1468659"/>
                <a:gd name="connsiteY3" fmla="*/ 596932 h 1218057"/>
                <a:gd name="connsiteX4" fmla="*/ 1459325 w 1468659"/>
                <a:gd name="connsiteY4" fmla="*/ 593979 h 1218057"/>
                <a:gd name="connsiteX5" fmla="*/ 1451039 w 1468659"/>
                <a:gd name="connsiteY5" fmla="*/ 591788 h 1218057"/>
                <a:gd name="connsiteX6" fmla="*/ 1448086 w 1468659"/>
                <a:gd name="connsiteY6" fmla="*/ 593788 h 1218057"/>
                <a:gd name="connsiteX7" fmla="*/ 1449800 w 1468659"/>
                <a:gd name="connsiteY7" fmla="*/ 595122 h 1218057"/>
                <a:gd name="connsiteX8" fmla="*/ 1448467 w 1468659"/>
                <a:gd name="connsiteY8" fmla="*/ 596932 h 1218057"/>
                <a:gd name="connsiteX9" fmla="*/ 1439132 w 1468659"/>
                <a:gd name="connsiteY9" fmla="*/ 586930 h 1218057"/>
                <a:gd name="connsiteX10" fmla="*/ 1435608 w 1468659"/>
                <a:gd name="connsiteY10" fmla="*/ 584168 h 1218057"/>
                <a:gd name="connsiteX11" fmla="*/ 1436942 w 1468659"/>
                <a:gd name="connsiteY11" fmla="*/ 582359 h 1218057"/>
                <a:gd name="connsiteX12" fmla="*/ 1444847 w 1468659"/>
                <a:gd name="connsiteY12" fmla="*/ 581406 h 1218057"/>
                <a:gd name="connsiteX13" fmla="*/ 1446657 w 1468659"/>
                <a:gd name="connsiteY13" fmla="*/ 582739 h 1218057"/>
                <a:gd name="connsiteX14" fmla="*/ 1444276 w 1468659"/>
                <a:gd name="connsiteY14" fmla="*/ 576643 h 1218057"/>
                <a:gd name="connsiteX15" fmla="*/ 1443038 w 1468659"/>
                <a:gd name="connsiteY15" fmla="*/ 567118 h 1218057"/>
                <a:gd name="connsiteX16" fmla="*/ 1436370 w 1468659"/>
                <a:gd name="connsiteY16" fmla="*/ 564832 h 1218057"/>
                <a:gd name="connsiteX17" fmla="*/ 1433989 w 1468659"/>
                <a:gd name="connsiteY17" fmla="*/ 571500 h 1218057"/>
                <a:gd name="connsiteX18" fmla="*/ 1434751 w 1468659"/>
                <a:gd name="connsiteY18" fmla="*/ 565023 h 1218057"/>
                <a:gd name="connsiteX19" fmla="*/ 1427607 w 1468659"/>
                <a:gd name="connsiteY19" fmla="*/ 559498 h 1218057"/>
                <a:gd name="connsiteX20" fmla="*/ 1424654 w 1468659"/>
                <a:gd name="connsiteY20" fmla="*/ 561499 h 1218057"/>
                <a:gd name="connsiteX21" fmla="*/ 1421321 w 1468659"/>
                <a:gd name="connsiteY21" fmla="*/ 560356 h 1218057"/>
                <a:gd name="connsiteX22" fmla="*/ 1420368 w 1468659"/>
                <a:gd name="connsiteY22" fmla="*/ 565213 h 1218057"/>
                <a:gd name="connsiteX23" fmla="*/ 1424083 w 1468659"/>
                <a:gd name="connsiteY23" fmla="*/ 569595 h 1218057"/>
                <a:gd name="connsiteX24" fmla="*/ 1421321 w 1468659"/>
                <a:gd name="connsiteY24" fmla="*/ 573119 h 1218057"/>
                <a:gd name="connsiteX25" fmla="*/ 1416463 w 1468659"/>
                <a:gd name="connsiteY25" fmla="*/ 572167 h 1218057"/>
                <a:gd name="connsiteX26" fmla="*/ 1416177 w 1468659"/>
                <a:gd name="connsiteY26" fmla="*/ 570547 h 1218057"/>
                <a:gd name="connsiteX27" fmla="*/ 1412462 w 1468659"/>
                <a:gd name="connsiteY27" fmla="*/ 566261 h 1218057"/>
                <a:gd name="connsiteX28" fmla="*/ 1404366 w 1468659"/>
                <a:gd name="connsiteY28" fmla="*/ 565690 h 1218057"/>
                <a:gd name="connsiteX29" fmla="*/ 1403033 w 1468659"/>
                <a:gd name="connsiteY29" fmla="*/ 567500 h 1218057"/>
                <a:gd name="connsiteX30" fmla="*/ 1396270 w 1468659"/>
                <a:gd name="connsiteY30" fmla="*/ 577882 h 1218057"/>
                <a:gd name="connsiteX31" fmla="*/ 1391412 w 1468659"/>
                <a:gd name="connsiteY31" fmla="*/ 576929 h 1218057"/>
                <a:gd name="connsiteX32" fmla="*/ 1384840 w 1468659"/>
                <a:gd name="connsiteY32" fmla="*/ 576167 h 1218057"/>
                <a:gd name="connsiteX33" fmla="*/ 1373410 w 1468659"/>
                <a:gd name="connsiteY33" fmla="*/ 574453 h 1218057"/>
                <a:gd name="connsiteX34" fmla="*/ 1373791 w 1468659"/>
                <a:gd name="connsiteY34" fmla="*/ 577596 h 1218057"/>
                <a:gd name="connsiteX35" fmla="*/ 1370457 w 1468659"/>
                <a:gd name="connsiteY35" fmla="*/ 576453 h 1218057"/>
                <a:gd name="connsiteX36" fmla="*/ 1369123 w 1468659"/>
                <a:gd name="connsiteY36" fmla="*/ 578168 h 1218057"/>
                <a:gd name="connsiteX37" fmla="*/ 1367123 w 1468659"/>
                <a:gd name="connsiteY37" fmla="*/ 575215 h 1218057"/>
                <a:gd name="connsiteX38" fmla="*/ 1365504 w 1468659"/>
                <a:gd name="connsiteY38" fmla="*/ 575405 h 1218057"/>
                <a:gd name="connsiteX39" fmla="*/ 1357789 w 1468659"/>
                <a:gd name="connsiteY39" fmla="*/ 565213 h 1218057"/>
                <a:gd name="connsiteX40" fmla="*/ 1354264 w 1468659"/>
                <a:gd name="connsiteY40" fmla="*/ 562451 h 1218057"/>
                <a:gd name="connsiteX41" fmla="*/ 1351121 w 1468659"/>
                <a:gd name="connsiteY41" fmla="*/ 562832 h 1218057"/>
                <a:gd name="connsiteX42" fmla="*/ 1348168 w 1468659"/>
                <a:gd name="connsiteY42" fmla="*/ 564832 h 1218057"/>
                <a:gd name="connsiteX43" fmla="*/ 1346740 w 1468659"/>
                <a:gd name="connsiteY43" fmla="*/ 566642 h 1218057"/>
                <a:gd name="connsiteX44" fmla="*/ 1345216 w 1468659"/>
                <a:gd name="connsiteY44" fmla="*/ 566833 h 1218057"/>
                <a:gd name="connsiteX45" fmla="*/ 1343025 w 1468659"/>
                <a:gd name="connsiteY45" fmla="*/ 575119 h 1218057"/>
                <a:gd name="connsiteX46" fmla="*/ 1340453 w 1468659"/>
                <a:gd name="connsiteY46" fmla="*/ 580263 h 1218057"/>
                <a:gd name="connsiteX47" fmla="*/ 1338739 w 1468659"/>
                <a:gd name="connsiteY47" fmla="*/ 578834 h 1218057"/>
                <a:gd name="connsiteX48" fmla="*/ 1339501 w 1468659"/>
                <a:gd name="connsiteY48" fmla="*/ 572357 h 1218057"/>
                <a:gd name="connsiteX49" fmla="*/ 1330928 w 1468659"/>
                <a:gd name="connsiteY49" fmla="*/ 568643 h 1218057"/>
                <a:gd name="connsiteX50" fmla="*/ 1327214 w 1468659"/>
                <a:gd name="connsiteY50" fmla="*/ 564261 h 1218057"/>
                <a:gd name="connsiteX51" fmla="*/ 1320260 w 1468659"/>
                <a:gd name="connsiteY51" fmla="*/ 560356 h 1218057"/>
                <a:gd name="connsiteX52" fmla="*/ 1318736 w 1468659"/>
                <a:gd name="connsiteY52" fmla="*/ 560546 h 1218057"/>
                <a:gd name="connsiteX53" fmla="*/ 1315593 w 1468659"/>
                <a:gd name="connsiteY53" fmla="*/ 560927 h 1218057"/>
                <a:gd name="connsiteX54" fmla="*/ 1308640 w 1468659"/>
                <a:gd name="connsiteY54" fmla="*/ 557022 h 1218057"/>
                <a:gd name="connsiteX55" fmla="*/ 1309592 w 1468659"/>
                <a:gd name="connsiteY55" fmla="*/ 552069 h 1218057"/>
                <a:gd name="connsiteX56" fmla="*/ 1307211 w 1468659"/>
                <a:gd name="connsiteY56" fmla="*/ 545973 h 1218057"/>
                <a:gd name="connsiteX57" fmla="*/ 1303496 w 1468659"/>
                <a:gd name="connsiteY57" fmla="*/ 541687 h 1218057"/>
                <a:gd name="connsiteX58" fmla="*/ 1302353 w 1468659"/>
                <a:gd name="connsiteY58" fmla="*/ 545021 h 1218057"/>
                <a:gd name="connsiteX59" fmla="*/ 1295400 w 1468659"/>
                <a:gd name="connsiteY59" fmla="*/ 541115 h 1218057"/>
                <a:gd name="connsiteX60" fmla="*/ 1296352 w 1468659"/>
                <a:gd name="connsiteY60" fmla="*/ 536162 h 1218057"/>
                <a:gd name="connsiteX61" fmla="*/ 1294829 w 1468659"/>
                <a:gd name="connsiteY61" fmla="*/ 536353 h 1218057"/>
                <a:gd name="connsiteX62" fmla="*/ 1291400 w 1468659"/>
                <a:gd name="connsiteY62" fmla="*/ 535114 h 1218057"/>
                <a:gd name="connsiteX63" fmla="*/ 1293590 w 1468659"/>
                <a:gd name="connsiteY63" fmla="*/ 539686 h 1218057"/>
                <a:gd name="connsiteX64" fmla="*/ 1290447 w 1468659"/>
                <a:gd name="connsiteY64" fmla="*/ 540068 h 1218057"/>
                <a:gd name="connsiteX65" fmla="*/ 1288447 w 1468659"/>
                <a:gd name="connsiteY65" fmla="*/ 537115 h 1218057"/>
                <a:gd name="connsiteX66" fmla="*/ 1285875 w 1468659"/>
                <a:gd name="connsiteY66" fmla="*/ 529495 h 1218057"/>
                <a:gd name="connsiteX67" fmla="*/ 1285304 w 1468659"/>
                <a:gd name="connsiteY67" fmla="*/ 524732 h 1218057"/>
                <a:gd name="connsiteX68" fmla="*/ 1281970 w 1468659"/>
                <a:gd name="connsiteY68" fmla="*/ 523494 h 1218057"/>
                <a:gd name="connsiteX69" fmla="*/ 1278731 w 1468659"/>
                <a:gd name="connsiteY69" fmla="*/ 523970 h 1218057"/>
                <a:gd name="connsiteX70" fmla="*/ 1282732 w 1468659"/>
                <a:gd name="connsiteY70" fmla="*/ 517017 h 1218057"/>
                <a:gd name="connsiteX71" fmla="*/ 1282732 w 1468659"/>
                <a:gd name="connsiteY71" fmla="*/ 517017 h 1218057"/>
                <a:gd name="connsiteX72" fmla="*/ 1281875 w 1468659"/>
                <a:gd name="connsiteY72" fmla="*/ 510730 h 1218057"/>
                <a:gd name="connsiteX73" fmla="*/ 1285875 w 1468659"/>
                <a:gd name="connsiteY73" fmla="*/ 503777 h 1218057"/>
                <a:gd name="connsiteX74" fmla="*/ 1285399 w 1468659"/>
                <a:gd name="connsiteY74" fmla="*/ 500634 h 1218057"/>
                <a:gd name="connsiteX75" fmla="*/ 1289399 w 1468659"/>
                <a:gd name="connsiteY75" fmla="*/ 493681 h 1218057"/>
                <a:gd name="connsiteX76" fmla="*/ 1285970 w 1468659"/>
                <a:gd name="connsiteY76" fmla="*/ 492538 h 1218057"/>
                <a:gd name="connsiteX77" fmla="*/ 1287399 w 1468659"/>
                <a:gd name="connsiteY77" fmla="*/ 490728 h 1218057"/>
                <a:gd name="connsiteX78" fmla="*/ 1285208 w 1468659"/>
                <a:gd name="connsiteY78" fmla="*/ 486251 h 1218057"/>
                <a:gd name="connsiteX79" fmla="*/ 1283970 w 1468659"/>
                <a:gd name="connsiteY79" fmla="*/ 476726 h 1218057"/>
                <a:gd name="connsiteX80" fmla="*/ 1284542 w 1468659"/>
                <a:gd name="connsiteY80" fmla="*/ 468725 h 1218057"/>
                <a:gd name="connsiteX81" fmla="*/ 1281017 w 1468659"/>
                <a:gd name="connsiteY81" fmla="*/ 465963 h 1218057"/>
                <a:gd name="connsiteX82" fmla="*/ 1274255 w 1468659"/>
                <a:gd name="connsiteY82" fmla="*/ 463582 h 1218057"/>
                <a:gd name="connsiteX83" fmla="*/ 1271302 w 1468659"/>
                <a:gd name="connsiteY83" fmla="*/ 465582 h 1218057"/>
                <a:gd name="connsiteX84" fmla="*/ 1268159 w 1468659"/>
                <a:gd name="connsiteY84" fmla="*/ 465963 h 1218057"/>
                <a:gd name="connsiteX85" fmla="*/ 1266158 w 1468659"/>
                <a:gd name="connsiteY85" fmla="*/ 463010 h 1218057"/>
                <a:gd name="connsiteX86" fmla="*/ 1261491 w 1468659"/>
                <a:gd name="connsiteY86" fmla="*/ 463582 h 1218057"/>
                <a:gd name="connsiteX87" fmla="*/ 1262063 w 1468659"/>
                <a:gd name="connsiteY87" fmla="*/ 468344 h 1218057"/>
                <a:gd name="connsiteX88" fmla="*/ 1255967 w 1468659"/>
                <a:gd name="connsiteY88" fmla="*/ 470725 h 1218057"/>
                <a:gd name="connsiteX89" fmla="*/ 1247299 w 1468659"/>
                <a:gd name="connsiteY89" fmla="*/ 465392 h 1218057"/>
                <a:gd name="connsiteX90" fmla="*/ 1240917 w 1468659"/>
                <a:gd name="connsiteY90" fmla="*/ 466249 h 1218057"/>
                <a:gd name="connsiteX91" fmla="*/ 1236821 w 1468659"/>
                <a:gd name="connsiteY91" fmla="*/ 471583 h 1218057"/>
                <a:gd name="connsiteX92" fmla="*/ 1232249 w 1468659"/>
                <a:gd name="connsiteY92" fmla="*/ 473773 h 1218057"/>
                <a:gd name="connsiteX93" fmla="*/ 1230344 w 1468659"/>
                <a:gd name="connsiteY93" fmla="*/ 470821 h 1218057"/>
                <a:gd name="connsiteX94" fmla="*/ 1226915 w 1468659"/>
                <a:gd name="connsiteY94" fmla="*/ 469582 h 1218057"/>
                <a:gd name="connsiteX95" fmla="*/ 1222629 w 1468659"/>
                <a:gd name="connsiteY95" fmla="*/ 473392 h 1218057"/>
                <a:gd name="connsiteX96" fmla="*/ 1223010 w 1468659"/>
                <a:gd name="connsiteY96" fmla="*/ 476536 h 1218057"/>
                <a:gd name="connsiteX97" fmla="*/ 1218533 w 1468659"/>
                <a:gd name="connsiteY97" fmla="*/ 478726 h 1218057"/>
                <a:gd name="connsiteX98" fmla="*/ 1220819 w 1468659"/>
                <a:gd name="connsiteY98" fmla="*/ 471964 h 1218057"/>
                <a:gd name="connsiteX99" fmla="*/ 1219105 w 1468659"/>
                <a:gd name="connsiteY99" fmla="*/ 470630 h 1218057"/>
                <a:gd name="connsiteX100" fmla="*/ 1221772 w 1468659"/>
                <a:gd name="connsiteY100" fmla="*/ 467011 h 1218057"/>
                <a:gd name="connsiteX101" fmla="*/ 1211104 w 1468659"/>
                <a:gd name="connsiteY101" fmla="*/ 458819 h 1218057"/>
                <a:gd name="connsiteX102" fmla="*/ 1209770 w 1468659"/>
                <a:gd name="connsiteY102" fmla="*/ 460534 h 1218057"/>
                <a:gd name="connsiteX103" fmla="*/ 1204627 w 1468659"/>
                <a:gd name="connsiteY103" fmla="*/ 458057 h 1218057"/>
                <a:gd name="connsiteX104" fmla="*/ 1201484 w 1468659"/>
                <a:gd name="connsiteY104" fmla="*/ 458438 h 1218057"/>
                <a:gd name="connsiteX105" fmla="*/ 1192816 w 1468659"/>
                <a:gd name="connsiteY105" fmla="*/ 453104 h 1218057"/>
                <a:gd name="connsiteX106" fmla="*/ 1186434 w 1468659"/>
                <a:gd name="connsiteY106" fmla="*/ 453866 h 1218057"/>
                <a:gd name="connsiteX107" fmla="*/ 1185291 w 1468659"/>
                <a:gd name="connsiteY107" fmla="*/ 457295 h 1218057"/>
                <a:gd name="connsiteX108" fmla="*/ 1178909 w 1468659"/>
                <a:gd name="connsiteY108" fmla="*/ 445294 h 1218057"/>
                <a:gd name="connsiteX109" fmla="*/ 1174052 w 1468659"/>
                <a:gd name="connsiteY109" fmla="*/ 444246 h 1218057"/>
                <a:gd name="connsiteX110" fmla="*/ 1174623 w 1468659"/>
                <a:gd name="connsiteY110" fmla="*/ 449009 h 1218057"/>
                <a:gd name="connsiteX111" fmla="*/ 1165003 w 1468659"/>
                <a:gd name="connsiteY111" fmla="*/ 461486 h 1218057"/>
                <a:gd name="connsiteX112" fmla="*/ 1155859 w 1468659"/>
                <a:gd name="connsiteY112" fmla="*/ 465868 h 1218057"/>
                <a:gd name="connsiteX113" fmla="*/ 1152525 w 1468659"/>
                <a:gd name="connsiteY113" fmla="*/ 464630 h 1218057"/>
                <a:gd name="connsiteX114" fmla="*/ 1145858 w 1468659"/>
                <a:gd name="connsiteY114" fmla="*/ 462248 h 1218057"/>
                <a:gd name="connsiteX115" fmla="*/ 1137571 w 1468659"/>
                <a:gd name="connsiteY115" fmla="*/ 460153 h 1218057"/>
                <a:gd name="connsiteX116" fmla="*/ 1138714 w 1468659"/>
                <a:gd name="connsiteY116" fmla="*/ 456819 h 1218057"/>
                <a:gd name="connsiteX117" fmla="*/ 1135952 w 1468659"/>
                <a:gd name="connsiteY117" fmla="*/ 447484 h 1218057"/>
                <a:gd name="connsiteX118" fmla="*/ 1137285 w 1468659"/>
                <a:gd name="connsiteY118" fmla="*/ 445770 h 1218057"/>
                <a:gd name="connsiteX119" fmla="*/ 1137095 w 1468659"/>
                <a:gd name="connsiteY119" fmla="*/ 444151 h 1218057"/>
                <a:gd name="connsiteX120" fmla="*/ 1135285 w 1468659"/>
                <a:gd name="connsiteY120" fmla="*/ 442817 h 1218057"/>
                <a:gd name="connsiteX121" fmla="*/ 1132713 w 1468659"/>
                <a:gd name="connsiteY121" fmla="*/ 435102 h 1218057"/>
                <a:gd name="connsiteX122" fmla="*/ 1129570 w 1468659"/>
                <a:gd name="connsiteY122" fmla="*/ 435483 h 1218057"/>
                <a:gd name="connsiteX123" fmla="*/ 1127379 w 1468659"/>
                <a:gd name="connsiteY123" fmla="*/ 431006 h 1218057"/>
                <a:gd name="connsiteX124" fmla="*/ 1124045 w 1468659"/>
                <a:gd name="connsiteY124" fmla="*/ 429768 h 1218057"/>
                <a:gd name="connsiteX125" fmla="*/ 1114616 w 1468659"/>
                <a:gd name="connsiteY125" fmla="*/ 431006 h 1218057"/>
                <a:gd name="connsiteX126" fmla="*/ 1109091 w 1468659"/>
                <a:gd name="connsiteY126" fmla="*/ 438150 h 1218057"/>
                <a:gd name="connsiteX127" fmla="*/ 1103567 w 1468659"/>
                <a:gd name="connsiteY127" fmla="*/ 432435 h 1218057"/>
                <a:gd name="connsiteX128" fmla="*/ 1096994 w 1468659"/>
                <a:gd name="connsiteY128" fmla="*/ 431673 h 1218057"/>
                <a:gd name="connsiteX129" fmla="*/ 1093089 w 1468659"/>
                <a:gd name="connsiteY129" fmla="*/ 425767 h 1218057"/>
                <a:gd name="connsiteX130" fmla="*/ 1094613 w 1468659"/>
                <a:gd name="connsiteY130" fmla="*/ 425482 h 1218057"/>
                <a:gd name="connsiteX131" fmla="*/ 1098042 w 1468659"/>
                <a:gd name="connsiteY131" fmla="*/ 426720 h 1218057"/>
                <a:gd name="connsiteX132" fmla="*/ 1110996 w 1468659"/>
                <a:gd name="connsiteY132" fmla="*/ 428244 h 1218057"/>
                <a:gd name="connsiteX133" fmla="*/ 1112044 w 1468659"/>
                <a:gd name="connsiteY133" fmla="*/ 423291 h 1218057"/>
                <a:gd name="connsiteX134" fmla="*/ 1108043 w 1468659"/>
                <a:gd name="connsiteY134" fmla="*/ 417385 h 1218057"/>
                <a:gd name="connsiteX135" fmla="*/ 1112330 w 1468659"/>
                <a:gd name="connsiteY135" fmla="*/ 413671 h 1218057"/>
                <a:gd name="connsiteX136" fmla="*/ 1112901 w 1468659"/>
                <a:gd name="connsiteY136" fmla="*/ 405575 h 1218057"/>
                <a:gd name="connsiteX137" fmla="*/ 1098137 w 1468659"/>
                <a:gd name="connsiteY137" fmla="*/ 402622 h 1218057"/>
                <a:gd name="connsiteX138" fmla="*/ 1089851 w 1468659"/>
                <a:gd name="connsiteY138" fmla="*/ 400431 h 1218057"/>
                <a:gd name="connsiteX139" fmla="*/ 1088041 w 1468659"/>
                <a:gd name="connsiteY139" fmla="*/ 399097 h 1218057"/>
                <a:gd name="connsiteX140" fmla="*/ 1086898 w 1468659"/>
                <a:gd name="connsiteY140" fmla="*/ 402431 h 1218057"/>
                <a:gd name="connsiteX141" fmla="*/ 1081945 w 1468659"/>
                <a:gd name="connsiteY141" fmla="*/ 401479 h 1218057"/>
                <a:gd name="connsiteX142" fmla="*/ 1083373 w 1468659"/>
                <a:gd name="connsiteY142" fmla="*/ 399669 h 1218057"/>
                <a:gd name="connsiteX143" fmla="*/ 1074610 w 1468659"/>
                <a:gd name="connsiteY143" fmla="*/ 394430 h 1218057"/>
                <a:gd name="connsiteX144" fmla="*/ 1072420 w 1468659"/>
                <a:gd name="connsiteY144" fmla="*/ 389858 h 1218057"/>
                <a:gd name="connsiteX145" fmla="*/ 1068134 w 1468659"/>
                <a:gd name="connsiteY145" fmla="*/ 380809 h 1218057"/>
                <a:gd name="connsiteX146" fmla="*/ 1063181 w 1468659"/>
                <a:gd name="connsiteY146" fmla="*/ 379857 h 1218057"/>
                <a:gd name="connsiteX147" fmla="*/ 1064133 w 1468659"/>
                <a:gd name="connsiteY147" fmla="*/ 374904 h 1218057"/>
                <a:gd name="connsiteX148" fmla="*/ 1062800 w 1468659"/>
                <a:gd name="connsiteY148" fmla="*/ 376618 h 1218057"/>
                <a:gd name="connsiteX149" fmla="*/ 1060799 w 1468659"/>
                <a:gd name="connsiteY149" fmla="*/ 373666 h 1218057"/>
                <a:gd name="connsiteX150" fmla="*/ 1054894 w 1468659"/>
                <a:gd name="connsiteY150" fmla="*/ 377666 h 1218057"/>
                <a:gd name="connsiteX151" fmla="*/ 1053465 w 1468659"/>
                <a:gd name="connsiteY151" fmla="*/ 379476 h 1218057"/>
                <a:gd name="connsiteX152" fmla="*/ 1050322 w 1468659"/>
                <a:gd name="connsiteY152" fmla="*/ 379857 h 1218057"/>
                <a:gd name="connsiteX153" fmla="*/ 1046035 w 1468659"/>
                <a:gd name="connsiteY153" fmla="*/ 383572 h 1218057"/>
                <a:gd name="connsiteX154" fmla="*/ 1041463 w 1468659"/>
                <a:gd name="connsiteY154" fmla="*/ 385763 h 1218057"/>
                <a:gd name="connsiteX155" fmla="*/ 1033367 w 1468659"/>
                <a:gd name="connsiteY155" fmla="*/ 398050 h 1218057"/>
                <a:gd name="connsiteX156" fmla="*/ 1025080 w 1468659"/>
                <a:gd name="connsiteY156" fmla="*/ 395859 h 1218057"/>
                <a:gd name="connsiteX157" fmla="*/ 1024890 w 1468659"/>
                <a:gd name="connsiteY157" fmla="*/ 394335 h 1218057"/>
                <a:gd name="connsiteX158" fmla="*/ 1023366 w 1468659"/>
                <a:gd name="connsiteY158" fmla="*/ 394525 h 1218057"/>
                <a:gd name="connsiteX159" fmla="*/ 1022699 w 1468659"/>
                <a:gd name="connsiteY159" fmla="*/ 389763 h 1218057"/>
                <a:gd name="connsiteX160" fmla="*/ 1018794 w 1468659"/>
                <a:gd name="connsiteY160" fmla="*/ 383857 h 1218057"/>
                <a:gd name="connsiteX161" fmla="*/ 1011460 w 1468659"/>
                <a:gd name="connsiteY161" fmla="*/ 376809 h 1218057"/>
                <a:gd name="connsiteX162" fmla="*/ 1008507 w 1468659"/>
                <a:gd name="connsiteY162" fmla="*/ 378809 h 1218057"/>
                <a:gd name="connsiteX163" fmla="*/ 1006697 w 1468659"/>
                <a:gd name="connsiteY163" fmla="*/ 377380 h 1218057"/>
                <a:gd name="connsiteX164" fmla="*/ 1002792 w 1468659"/>
                <a:gd name="connsiteY164" fmla="*/ 371475 h 1218057"/>
                <a:gd name="connsiteX165" fmla="*/ 1003745 w 1468659"/>
                <a:gd name="connsiteY165" fmla="*/ 366522 h 1218057"/>
                <a:gd name="connsiteX166" fmla="*/ 1000411 w 1468659"/>
                <a:gd name="connsiteY166" fmla="*/ 365379 h 1218057"/>
                <a:gd name="connsiteX167" fmla="*/ 999934 w 1468659"/>
                <a:gd name="connsiteY167" fmla="*/ 362236 h 1218057"/>
                <a:gd name="connsiteX168" fmla="*/ 991648 w 1468659"/>
                <a:gd name="connsiteY168" fmla="*/ 360045 h 1218057"/>
                <a:gd name="connsiteX169" fmla="*/ 984980 w 1468659"/>
                <a:gd name="connsiteY169" fmla="*/ 357664 h 1218057"/>
                <a:gd name="connsiteX170" fmla="*/ 988695 w 1468659"/>
                <a:gd name="connsiteY170" fmla="*/ 349186 h 1218057"/>
                <a:gd name="connsiteX171" fmla="*/ 988314 w 1468659"/>
                <a:gd name="connsiteY171" fmla="*/ 346043 h 1218057"/>
                <a:gd name="connsiteX172" fmla="*/ 981551 w 1468659"/>
                <a:gd name="connsiteY172" fmla="*/ 343662 h 1218057"/>
                <a:gd name="connsiteX173" fmla="*/ 974217 w 1468659"/>
                <a:gd name="connsiteY173" fmla="*/ 336613 h 1218057"/>
                <a:gd name="connsiteX174" fmla="*/ 972122 w 1468659"/>
                <a:gd name="connsiteY174" fmla="*/ 332042 h 1218057"/>
                <a:gd name="connsiteX175" fmla="*/ 971645 w 1468659"/>
                <a:gd name="connsiteY175" fmla="*/ 328898 h 1218057"/>
                <a:gd name="connsiteX176" fmla="*/ 974598 w 1468659"/>
                <a:gd name="connsiteY176" fmla="*/ 326993 h 1218057"/>
                <a:gd name="connsiteX177" fmla="*/ 974026 w 1468659"/>
                <a:gd name="connsiteY177" fmla="*/ 322231 h 1218057"/>
                <a:gd name="connsiteX178" fmla="*/ 978789 w 1468659"/>
                <a:gd name="connsiteY178" fmla="*/ 321659 h 1218057"/>
                <a:gd name="connsiteX179" fmla="*/ 978122 w 1468659"/>
                <a:gd name="connsiteY179" fmla="*/ 316897 h 1218057"/>
                <a:gd name="connsiteX180" fmla="*/ 979932 w 1468659"/>
                <a:gd name="connsiteY180" fmla="*/ 318230 h 1218057"/>
                <a:gd name="connsiteX181" fmla="*/ 983837 w 1468659"/>
                <a:gd name="connsiteY181" fmla="*/ 311372 h 1218057"/>
                <a:gd name="connsiteX182" fmla="*/ 986790 w 1468659"/>
                <a:gd name="connsiteY182" fmla="*/ 309372 h 1218057"/>
                <a:gd name="connsiteX183" fmla="*/ 990219 w 1468659"/>
                <a:gd name="connsiteY183" fmla="*/ 310515 h 1218057"/>
                <a:gd name="connsiteX184" fmla="*/ 991172 w 1468659"/>
                <a:gd name="connsiteY184" fmla="*/ 305562 h 1218057"/>
                <a:gd name="connsiteX185" fmla="*/ 986600 w 1468659"/>
                <a:gd name="connsiteY185" fmla="*/ 307753 h 1218057"/>
                <a:gd name="connsiteX186" fmla="*/ 985171 w 1468659"/>
                <a:gd name="connsiteY186" fmla="*/ 296704 h 1218057"/>
                <a:gd name="connsiteX187" fmla="*/ 981266 w 1468659"/>
                <a:gd name="connsiteY187" fmla="*/ 290798 h 1218057"/>
                <a:gd name="connsiteX188" fmla="*/ 973169 w 1468659"/>
                <a:gd name="connsiteY188" fmla="*/ 290227 h 1218057"/>
                <a:gd name="connsiteX189" fmla="*/ 964501 w 1468659"/>
                <a:gd name="connsiteY189" fmla="*/ 284988 h 1218057"/>
                <a:gd name="connsiteX190" fmla="*/ 962882 w 1468659"/>
                <a:gd name="connsiteY190" fmla="*/ 285179 h 1218057"/>
                <a:gd name="connsiteX191" fmla="*/ 960882 w 1468659"/>
                <a:gd name="connsiteY191" fmla="*/ 282226 h 1218057"/>
                <a:gd name="connsiteX192" fmla="*/ 963644 w 1468659"/>
                <a:gd name="connsiteY192" fmla="*/ 278606 h 1218057"/>
                <a:gd name="connsiteX193" fmla="*/ 963263 w 1468659"/>
                <a:gd name="connsiteY193" fmla="*/ 275463 h 1218057"/>
                <a:gd name="connsiteX194" fmla="*/ 961263 w 1468659"/>
                <a:gd name="connsiteY194" fmla="*/ 272510 h 1218057"/>
                <a:gd name="connsiteX195" fmla="*/ 962501 w 1468659"/>
                <a:gd name="connsiteY195" fmla="*/ 269176 h 1218057"/>
                <a:gd name="connsiteX196" fmla="*/ 965454 w 1468659"/>
                <a:gd name="connsiteY196" fmla="*/ 267176 h 1218057"/>
                <a:gd name="connsiteX197" fmla="*/ 962025 w 1468659"/>
                <a:gd name="connsiteY197" fmla="*/ 266033 h 1218057"/>
                <a:gd name="connsiteX198" fmla="*/ 963073 w 1468659"/>
                <a:gd name="connsiteY198" fmla="*/ 261080 h 1218057"/>
                <a:gd name="connsiteX199" fmla="*/ 966406 w 1468659"/>
                <a:gd name="connsiteY199" fmla="*/ 262223 h 1218057"/>
                <a:gd name="connsiteX200" fmla="*/ 969359 w 1468659"/>
                <a:gd name="connsiteY200" fmla="*/ 260223 h 1218057"/>
                <a:gd name="connsiteX201" fmla="*/ 970312 w 1468659"/>
                <a:gd name="connsiteY201" fmla="*/ 255365 h 1218057"/>
                <a:gd name="connsiteX202" fmla="*/ 969931 w 1468659"/>
                <a:gd name="connsiteY202" fmla="*/ 252127 h 1218057"/>
                <a:gd name="connsiteX203" fmla="*/ 971074 w 1468659"/>
                <a:gd name="connsiteY203" fmla="*/ 248793 h 1218057"/>
                <a:gd name="connsiteX204" fmla="*/ 970121 w 1468659"/>
                <a:gd name="connsiteY204" fmla="*/ 240887 h 1218057"/>
                <a:gd name="connsiteX205" fmla="*/ 973074 w 1468659"/>
                <a:gd name="connsiteY205" fmla="*/ 238982 h 1218057"/>
                <a:gd name="connsiteX206" fmla="*/ 972407 w 1468659"/>
                <a:gd name="connsiteY206" fmla="*/ 234220 h 1218057"/>
                <a:gd name="connsiteX207" fmla="*/ 975360 w 1468659"/>
                <a:gd name="connsiteY207" fmla="*/ 232219 h 1218057"/>
                <a:gd name="connsiteX208" fmla="*/ 977741 w 1468659"/>
                <a:gd name="connsiteY208" fmla="*/ 225552 h 1218057"/>
                <a:gd name="connsiteX209" fmla="*/ 974598 w 1468659"/>
                <a:gd name="connsiteY209" fmla="*/ 225933 h 1218057"/>
                <a:gd name="connsiteX210" fmla="*/ 973169 w 1468659"/>
                <a:gd name="connsiteY210" fmla="*/ 227743 h 1218057"/>
                <a:gd name="connsiteX211" fmla="*/ 968693 w 1468659"/>
                <a:gd name="connsiteY211" fmla="*/ 229838 h 1218057"/>
                <a:gd name="connsiteX212" fmla="*/ 968312 w 1468659"/>
                <a:gd name="connsiteY212" fmla="*/ 226695 h 1218057"/>
                <a:gd name="connsiteX213" fmla="*/ 969455 w 1468659"/>
                <a:gd name="connsiteY213" fmla="*/ 223361 h 1218057"/>
                <a:gd name="connsiteX214" fmla="*/ 972598 w 1468659"/>
                <a:gd name="connsiteY214" fmla="*/ 222980 h 1218057"/>
                <a:gd name="connsiteX215" fmla="*/ 976503 w 1468659"/>
                <a:gd name="connsiteY215" fmla="*/ 216027 h 1218057"/>
                <a:gd name="connsiteX216" fmla="*/ 976693 w 1468659"/>
                <a:gd name="connsiteY216" fmla="*/ 204788 h 1218057"/>
                <a:gd name="connsiteX217" fmla="*/ 979265 w 1468659"/>
                <a:gd name="connsiteY217" fmla="*/ 199644 h 1218057"/>
                <a:gd name="connsiteX218" fmla="*/ 984028 w 1468659"/>
                <a:gd name="connsiteY218" fmla="*/ 199072 h 1218057"/>
                <a:gd name="connsiteX219" fmla="*/ 986123 w 1468659"/>
                <a:gd name="connsiteY219" fmla="*/ 177927 h 1218057"/>
                <a:gd name="connsiteX220" fmla="*/ 985742 w 1468659"/>
                <a:gd name="connsiteY220" fmla="*/ 174784 h 1218057"/>
                <a:gd name="connsiteX221" fmla="*/ 982313 w 1468659"/>
                <a:gd name="connsiteY221" fmla="*/ 173641 h 1218057"/>
                <a:gd name="connsiteX222" fmla="*/ 980218 w 1468659"/>
                <a:gd name="connsiteY222" fmla="*/ 169069 h 1218057"/>
                <a:gd name="connsiteX223" fmla="*/ 981742 w 1468659"/>
                <a:gd name="connsiteY223" fmla="*/ 168878 h 1218057"/>
                <a:gd name="connsiteX224" fmla="*/ 984695 w 1468659"/>
                <a:gd name="connsiteY224" fmla="*/ 166878 h 1218057"/>
                <a:gd name="connsiteX225" fmla="*/ 987076 w 1468659"/>
                <a:gd name="connsiteY225" fmla="*/ 160210 h 1218057"/>
                <a:gd name="connsiteX226" fmla="*/ 990029 w 1468659"/>
                <a:gd name="connsiteY226" fmla="*/ 158210 h 1218057"/>
                <a:gd name="connsiteX227" fmla="*/ 987838 w 1468659"/>
                <a:gd name="connsiteY227" fmla="*/ 153638 h 1218057"/>
                <a:gd name="connsiteX228" fmla="*/ 988409 w 1468659"/>
                <a:gd name="connsiteY228" fmla="*/ 145542 h 1218057"/>
                <a:gd name="connsiteX229" fmla="*/ 986600 w 1468659"/>
                <a:gd name="connsiteY229" fmla="*/ 144209 h 1218057"/>
                <a:gd name="connsiteX230" fmla="*/ 986218 w 1468659"/>
                <a:gd name="connsiteY230" fmla="*/ 141065 h 1218057"/>
                <a:gd name="connsiteX231" fmla="*/ 987838 w 1468659"/>
                <a:gd name="connsiteY231" fmla="*/ 140875 h 1218057"/>
                <a:gd name="connsiteX232" fmla="*/ 980504 w 1468659"/>
                <a:gd name="connsiteY232" fmla="*/ 133731 h 1218057"/>
                <a:gd name="connsiteX233" fmla="*/ 980122 w 1468659"/>
                <a:gd name="connsiteY233" fmla="*/ 130588 h 1218057"/>
                <a:gd name="connsiteX234" fmla="*/ 978122 w 1468659"/>
                <a:gd name="connsiteY234" fmla="*/ 127635 h 1218057"/>
                <a:gd name="connsiteX235" fmla="*/ 976313 w 1468659"/>
                <a:gd name="connsiteY235" fmla="*/ 126301 h 1218057"/>
                <a:gd name="connsiteX236" fmla="*/ 969645 w 1468659"/>
                <a:gd name="connsiteY236" fmla="*/ 123920 h 1218057"/>
                <a:gd name="connsiteX237" fmla="*/ 970597 w 1468659"/>
                <a:gd name="connsiteY237" fmla="*/ 118967 h 1218057"/>
                <a:gd name="connsiteX238" fmla="*/ 972979 w 1468659"/>
                <a:gd name="connsiteY238" fmla="*/ 112300 h 1218057"/>
                <a:gd name="connsiteX239" fmla="*/ 978027 w 1468659"/>
                <a:gd name="connsiteY239" fmla="*/ 114776 h 1218057"/>
                <a:gd name="connsiteX240" fmla="*/ 977646 w 1468659"/>
                <a:gd name="connsiteY240" fmla="*/ 111633 h 1218057"/>
                <a:gd name="connsiteX241" fmla="*/ 981266 w 1468659"/>
                <a:gd name="connsiteY241" fmla="*/ 114395 h 1218057"/>
                <a:gd name="connsiteX242" fmla="*/ 984409 w 1468659"/>
                <a:gd name="connsiteY242" fmla="*/ 114014 h 1218057"/>
                <a:gd name="connsiteX243" fmla="*/ 992696 w 1468659"/>
                <a:gd name="connsiteY243" fmla="*/ 116205 h 1218057"/>
                <a:gd name="connsiteX244" fmla="*/ 996982 w 1468659"/>
                <a:gd name="connsiteY244" fmla="*/ 112395 h 1218057"/>
                <a:gd name="connsiteX245" fmla="*/ 998220 w 1468659"/>
                <a:gd name="connsiteY245" fmla="*/ 109061 h 1218057"/>
                <a:gd name="connsiteX246" fmla="*/ 994601 w 1468659"/>
                <a:gd name="connsiteY246" fmla="*/ 106299 h 1218057"/>
                <a:gd name="connsiteX247" fmla="*/ 991838 w 1468659"/>
                <a:gd name="connsiteY247" fmla="*/ 97060 h 1218057"/>
                <a:gd name="connsiteX248" fmla="*/ 987838 w 1468659"/>
                <a:gd name="connsiteY248" fmla="*/ 91154 h 1218057"/>
                <a:gd name="connsiteX249" fmla="*/ 986123 w 1468659"/>
                <a:gd name="connsiteY249" fmla="*/ 89725 h 1218057"/>
                <a:gd name="connsiteX250" fmla="*/ 990029 w 1468659"/>
                <a:gd name="connsiteY250" fmla="*/ 82867 h 1218057"/>
                <a:gd name="connsiteX251" fmla="*/ 985266 w 1468659"/>
                <a:gd name="connsiteY251" fmla="*/ 83439 h 1218057"/>
                <a:gd name="connsiteX252" fmla="*/ 984313 w 1468659"/>
                <a:gd name="connsiteY252" fmla="*/ 88392 h 1218057"/>
                <a:gd name="connsiteX253" fmla="*/ 982789 w 1468659"/>
                <a:gd name="connsiteY253" fmla="*/ 88582 h 1218057"/>
                <a:gd name="connsiteX254" fmla="*/ 977646 w 1468659"/>
                <a:gd name="connsiteY254" fmla="*/ 86011 h 1218057"/>
                <a:gd name="connsiteX255" fmla="*/ 975074 w 1468659"/>
                <a:gd name="connsiteY255" fmla="*/ 91154 h 1218057"/>
                <a:gd name="connsiteX256" fmla="*/ 970121 w 1468659"/>
                <a:gd name="connsiteY256" fmla="*/ 90202 h 1218057"/>
                <a:gd name="connsiteX257" fmla="*/ 967740 w 1468659"/>
                <a:gd name="connsiteY257" fmla="*/ 84106 h 1218057"/>
                <a:gd name="connsiteX258" fmla="*/ 960596 w 1468659"/>
                <a:gd name="connsiteY258" fmla="*/ 78581 h 1218057"/>
                <a:gd name="connsiteX259" fmla="*/ 964978 w 1468659"/>
                <a:gd name="connsiteY259" fmla="*/ 74771 h 1218057"/>
                <a:gd name="connsiteX260" fmla="*/ 959834 w 1468659"/>
                <a:gd name="connsiteY260" fmla="*/ 72200 h 1218057"/>
                <a:gd name="connsiteX261" fmla="*/ 957834 w 1468659"/>
                <a:gd name="connsiteY261" fmla="*/ 69247 h 1218057"/>
                <a:gd name="connsiteX262" fmla="*/ 959263 w 1468659"/>
                <a:gd name="connsiteY262" fmla="*/ 67532 h 1218057"/>
                <a:gd name="connsiteX263" fmla="*/ 957453 w 1468659"/>
                <a:gd name="connsiteY263" fmla="*/ 66104 h 1218057"/>
                <a:gd name="connsiteX264" fmla="*/ 955643 w 1468659"/>
                <a:gd name="connsiteY264" fmla="*/ 64770 h 1218057"/>
                <a:gd name="connsiteX265" fmla="*/ 954214 w 1468659"/>
                <a:gd name="connsiteY265" fmla="*/ 53721 h 1218057"/>
                <a:gd name="connsiteX266" fmla="*/ 949928 w 1468659"/>
                <a:gd name="connsiteY266" fmla="*/ 57436 h 1218057"/>
                <a:gd name="connsiteX267" fmla="*/ 951071 w 1468659"/>
                <a:gd name="connsiteY267" fmla="*/ 54102 h 1218057"/>
                <a:gd name="connsiteX268" fmla="*/ 950690 w 1468659"/>
                <a:gd name="connsiteY268" fmla="*/ 50959 h 1218057"/>
                <a:gd name="connsiteX269" fmla="*/ 949071 w 1468659"/>
                <a:gd name="connsiteY269" fmla="*/ 51149 h 1218057"/>
                <a:gd name="connsiteX270" fmla="*/ 950500 w 1468659"/>
                <a:gd name="connsiteY270" fmla="*/ 49339 h 1218057"/>
                <a:gd name="connsiteX271" fmla="*/ 949928 w 1468659"/>
                <a:gd name="connsiteY271" fmla="*/ 44672 h 1218057"/>
                <a:gd name="connsiteX272" fmla="*/ 944975 w 1468659"/>
                <a:gd name="connsiteY272" fmla="*/ 43625 h 1218057"/>
                <a:gd name="connsiteX273" fmla="*/ 948118 w 1468659"/>
                <a:gd name="connsiteY273" fmla="*/ 43243 h 1218057"/>
                <a:gd name="connsiteX274" fmla="*/ 951262 w 1468659"/>
                <a:gd name="connsiteY274" fmla="*/ 42863 h 1218057"/>
                <a:gd name="connsiteX275" fmla="*/ 951071 w 1468659"/>
                <a:gd name="connsiteY275" fmla="*/ 41243 h 1218057"/>
                <a:gd name="connsiteX276" fmla="*/ 944309 w 1468659"/>
                <a:gd name="connsiteY276" fmla="*/ 38957 h 1218057"/>
                <a:gd name="connsiteX277" fmla="*/ 943927 w 1468659"/>
                <a:gd name="connsiteY277" fmla="*/ 35814 h 1218057"/>
                <a:gd name="connsiteX278" fmla="*/ 942975 w 1468659"/>
                <a:gd name="connsiteY278" fmla="*/ 40672 h 1218057"/>
                <a:gd name="connsiteX279" fmla="*/ 939832 w 1468659"/>
                <a:gd name="connsiteY279" fmla="*/ 41148 h 1218057"/>
                <a:gd name="connsiteX280" fmla="*/ 937831 w 1468659"/>
                <a:gd name="connsiteY280" fmla="*/ 38195 h 1218057"/>
                <a:gd name="connsiteX281" fmla="*/ 934879 w 1468659"/>
                <a:gd name="connsiteY281" fmla="*/ 40100 h 1218057"/>
                <a:gd name="connsiteX282" fmla="*/ 931355 w 1468659"/>
                <a:gd name="connsiteY282" fmla="*/ 50197 h 1218057"/>
                <a:gd name="connsiteX283" fmla="*/ 933164 w 1468659"/>
                <a:gd name="connsiteY283" fmla="*/ 51625 h 1218057"/>
                <a:gd name="connsiteX284" fmla="*/ 931735 w 1468659"/>
                <a:gd name="connsiteY284" fmla="*/ 53340 h 1218057"/>
                <a:gd name="connsiteX285" fmla="*/ 928402 w 1468659"/>
                <a:gd name="connsiteY285" fmla="*/ 52197 h 1218057"/>
                <a:gd name="connsiteX286" fmla="*/ 927830 w 1468659"/>
                <a:gd name="connsiteY286" fmla="*/ 47434 h 1218057"/>
                <a:gd name="connsiteX287" fmla="*/ 924020 w 1468659"/>
                <a:gd name="connsiteY287" fmla="*/ 43148 h 1218057"/>
                <a:gd name="connsiteX288" fmla="*/ 922496 w 1468659"/>
                <a:gd name="connsiteY288" fmla="*/ 43339 h 1218057"/>
                <a:gd name="connsiteX289" fmla="*/ 917353 w 1468659"/>
                <a:gd name="connsiteY289" fmla="*/ 40767 h 1218057"/>
                <a:gd name="connsiteX290" fmla="*/ 911543 w 1468659"/>
                <a:gd name="connsiteY290" fmla="*/ 33528 h 1218057"/>
                <a:gd name="connsiteX291" fmla="*/ 906971 w 1468659"/>
                <a:gd name="connsiteY291" fmla="*/ 22860 h 1218057"/>
                <a:gd name="connsiteX292" fmla="*/ 900684 w 1468659"/>
                <a:gd name="connsiteY292" fmla="*/ 23622 h 1218057"/>
                <a:gd name="connsiteX293" fmla="*/ 884110 w 1468659"/>
                <a:gd name="connsiteY293" fmla="*/ 19336 h 1218057"/>
                <a:gd name="connsiteX294" fmla="*/ 881729 w 1468659"/>
                <a:gd name="connsiteY294" fmla="*/ 13240 h 1218057"/>
                <a:gd name="connsiteX295" fmla="*/ 872395 w 1468659"/>
                <a:gd name="connsiteY295" fmla="*/ 3143 h 1218057"/>
                <a:gd name="connsiteX296" fmla="*/ 873823 w 1468659"/>
                <a:gd name="connsiteY296" fmla="*/ 1429 h 1218057"/>
                <a:gd name="connsiteX297" fmla="*/ 872014 w 1468659"/>
                <a:gd name="connsiteY297" fmla="*/ 0 h 1218057"/>
                <a:gd name="connsiteX298" fmla="*/ 871252 w 1468659"/>
                <a:gd name="connsiteY298" fmla="*/ 6572 h 1218057"/>
                <a:gd name="connsiteX299" fmla="*/ 870490 w 1468659"/>
                <a:gd name="connsiteY299" fmla="*/ 13049 h 1218057"/>
                <a:gd name="connsiteX300" fmla="*/ 862584 w 1468659"/>
                <a:gd name="connsiteY300" fmla="*/ 14097 h 1218057"/>
                <a:gd name="connsiteX301" fmla="*/ 862775 w 1468659"/>
                <a:gd name="connsiteY301" fmla="*/ 15621 h 1218057"/>
                <a:gd name="connsiteX302" fmla="*/ 859822 w 1468659"/>
                <a:gd name="connsiteY302" fmla="*/ 17621 h 1218057"/>
                <a:gd name="connsiteX303" fmla="*/ 860012 w 1468659"/>
                <a:gd name="connsiteY303" fmla="*/ 19240 h 1218057"/>
                <a:gd name="connsiteX304" fmla="*/ 858298 w 1468659"/>
                <a:gd name="connsiteY304" fmla="*/ 17812 h 1218057"/>
                <a:gd name="connsiteX305" fmla="*/ 855535 w 1468659"/>
                <a:gd name="connsiteY305" fmla="*/ 21336 h 1218057"/>
                <a:gd name="connsiteX306" fmla="*/ 855726 w 1468659"/>
                <a:gd name="connsiteY306" fmla="*/ 22955 h 1218057"/>
                <a:gd name="connsiteX307" fmla="*/ 858869 w 1468659"/>
                <a:gd name="connsiteY307" fmla="*/ 22574 h 1218057"/>
                <a:gd name="connsiteX308" fmla="*/ 858298 w 1468659"/>
                <a:gd name="connsiteY308" fmla="*/ 30671 h 1218057"/>
                <a:gd name="connsiteX309" fmla="*/ 846677 w 1468659"/>
                <a:gd name="connsiteY309" fmla="*/ 27337 h 1218057"/>
                <a:gd name="connsiteX310" fmla="*/ 847058 w 1468659"/>
                <a:gd name="connsiteY310" fmla="*/ 30480 h 1218057"/>
                <a:gd name="connsiteX311" fmla="*/ 848868 w 1468659"/>
                <a:gd name="connsiteY311" fmla="*/ 31813 h 1218057"/>
                <a:gd name="connsiteX312" fmla="*/ 844105 w 1468659"/>
                <a:gd name="connsiteY312" fmla="*/ 32480 h 1218057"/>
                <a:gd name="connsiteX313" fmla="*/ 845630 w 1468659"/>
                <a:gd name="connsiteY313" fmla="*/ 32290 h 1218057"/>
                <a:gd name="connsiteX314" fmla="*/ 847630 w 1468659"/>
                <a:gd name="connsiteY314" fmla="*/ 35242 h 1218057"/>
                <a:gd name="connsiteX315" fmla="*/ 846296 w 1468659"/>
                <a:gd name="connsiteY315" fmla="*/ 36957 h 1218057"/>
                <a:gd name="connsiteX316" fmla="*/ 849630 w 1468659"/>
                <a:gd name="connsiteY316" fmla="*/ 38195 h 1218057"/>
                <a:gd name="connsiteX317" fmla="*/ 847058 w 1468659"/>
                <a:gd name="connsiteY317" fmla="*/ 43339 h 1218057"/>
                <a:gd name="connsiteX318" fmla="*/ 848868 w 1468659"/>
                <a:gd name="connsiteY318" fmla="*/ 44672 h 1218057"/>
                <a:gd name="connsiteX319" fmla="*/ 845725 w 1468659"/>
                <a:gd name="connsiteY319" fmla="*/ 45053 h 1218057"/>
                <a:gd name="connsiteX320" fmla="*/ 844487 w 1468659"/>
                <a:gd name="connsiteY320" fmla="*/ 48482 h 1218057"/>
                <a:gd name="connsiteX321" fmla="*/ 842963 w 1468659"/>
                <a:gd name="connsiteY321" fmla="*/ 48673 h 1218057"/>
                <a:gd name="connsiteX322" fmla="*/ 842201 w 1468659"/>
                <a:gd name="connsiteY322" fmla="*/ 55150 h 1218057"/>
                <a:gd name="connsiteX323" fmla="*/ 840581 w 1468659"/>
                <a:gd name="connsiteY323" fmla="*/ 55340 h 1218057"/>
                <a:gd name="connsiteX324" fmla="*/ 839438 w 1468659"/>
                <a:gd name="connsiteY324" fmla="*/ 58674 h 1218057"/>
                <a:gd name="connsiteX325" fmla="*/ 840962 w 1468659"/>
                <a:gd name="connsiteY325" fmla="*/ 58483 h 1218057"/>
                <a:gd name="connsiteX326" fmla="*/ 841438 w 1468659"/>
                <a:gd name="connsiteY326" fmla="*/ 61627 h 1218057"/>
                <a:gd name="connsiteX327" fmla="*/ 846296 w 1468659"/>
                <a:gd name="connsiteY327" fmla="*/ 62675 h 1218057"/>
                <a:gd name="connsiteX328" fmla="*/ 844010 w 1468659"/>
                <a:gd name="connsiteY328" fmla="*/ 69342 h 1218057"/>
                <a:gd name="connsiteX329" fmla="*/ 846010 w 1468659"/>
                <a:gd name="connsiteY329" fmla="*/ 72295 h 1218057"/>
                <a:gd name="connsiteX330" fmla="*/ 848963 w 1468659"/>
                <a:gd name="connsiteY330" fmla="*/ 70294 h 1218057"/>
                <a:gd name="connsiteX331" fmla="*/ 849344 w 1468659"/>
                <a:gd name="connsiteY331" fmla="*/ 73533 h 1218057"/>
                <a:gd name="connsiteX332" fmla="*/ 847725 w 1468659"/>
                <a:gd name="connsiteY332" fmla="*/ 73723 h 1218057"/>
                <a:gd name="connsiteX333" fmla="*/ 852868 w 1468659"/>
                <a:gd name="connsiteY333" fmla="*/ 76200 h 1218057"/>
                <a:gd name="connsiteX334" fmla="*/ 853250 w 1468659"/>
                <a:gd name="connsiteY334" fmla="*/ 79438 h 1218057"/>
                <a:gd name="connsiteX335" fmla="*/ 848773 w 1468659"/>
                <a:gd name="connsiteY335" fmla="*/ 81534 h 1218057"/>
                <a:gd name="connsiteX336" fmla="*/ 853440 w 1468659"/>
                <a:gd name="connsiteY336" fmla="*/ 80963 h 1218057"/>
                <a:gd name="connsiteX337" fmla="*/ 852106 w 1468659"/>
                <a:gd name="connsiteY337" fmla="*/ 82772 h 1218057"/>
                <a:gd name="connsiteX338" fmla="*/ 847534 w 1468659"/>
                <a:gd name="connsiteY338" fmla="*/ 84963 h 1218057"/>
                <a:gd name="connsiteX339" fmla="*/ 844201 w 1468659"/>
                <a:gd name="connsiteY339" fmla="*/ 83725 h 1218057"/>
                <a:gd name="connsiteX340" fmla="*/ 842867 w 1468659"/>
                <a:gd name="connsiteY340" fmla="*/ 85534 h 1218057"/>
                <a:gd name="connsiteX341" fmla="*/ 843058 w 1468659"/>
                <a:gd name="connsiteY341" fmla="*/ 87154 h 1218057"/>
                <a:gd name="connsiteX342" fmla="*/ 835343 w 1468659"/>
                <a:gd name="connsiteY342" fmla="*/ 89725 h 1218057"/>
                <a:gd name="connsiteX343" fmla="*/ 835533 w 1468659"/>
                <a:gd name="connsiteY343" fmla="*/ 91250 h 1218057"/>
                <a:gd name="connsiteX344" fmla="*/ 832390 w 1468659"/>
                <a:gd name="connsiteY344" fmla="*/ 91726 h 1218057"/>
                <a:gd name="connsiteX345" fmla="*/ 832009 w 1468659"/>
                <a:gd name="connsiteY345" fmla="*/ 88487 h 1218057"/>
                <a:gd name="connsiteX346" fmla="*/ 825722 w 1468659"/>
                <a:gd name="connsiteY346" fmla="*/ 89344 h 1218057"/>
                <a:gd name="connsiteX347" fmla="*/ 822293 w 1468659"/>
                <a:gd name="connsiteY347" fmla="*/ 88106 h 1218057"/>
                <a:gd name="connsiteX348" fmla="*/ 820960 w 1468659"/>
                <a:gd name="connsiteY348" fmla="*/ 89916 h 1218057"/>
                <a:gd name="connsiteX349" fmla="*/ 821341 w 1468659"/>
                <a:gd name="connsiteY349" fmla="*/ 93059 h 1218057"/>
                <a:gd name="connsiteX350" fmla="*/ 816578 w 1468659"/>
                <a:gd name="connsiteY350" fmla="*/ 93726 h 1218057"/>
                <a:gd name="connsiteX351" fmla="*/ 815054 w 1468659"/>
                <a:gd name="connsiteY351" fmla="*/ 93917 h 1218057"/>
                <a:gd name="connsiteX352" fmla="*/ 814102 w 1468659"/>
                <a:gd name="connsiteY352" fmla="*/ 98869 h 1218057"/>
                <a:gd name="connsiteX353" fmla="*/ 806958 w 1468659"/>
                <a:gd name="connsiteY353" fmla="*/ 106108 h 1218057"/>
                <a:gd name="connsiteX354" fmla="*/ 803624 w 1468659"/>
                <a:gd name="connsiteY354" fmla="*/ 104965 h 1218057"/>
                <a:gd name="connsiteX355" fmla="*/ 802481 w 1468659"/>
                <a:gd name="connsiteY355" fmla="*/ 108299 h 1218057"/>
                <a:gd name="connsiteX356" fmla="*/ 797528 w 1468659"/>
                <a:gd name="connsiteY356" fmla="*/ 107347 h 1218057"/>
                <a:gd name="connsiteX357" fmla="*/ 794766 w 1468659"/>
                <a:gd name="connsiteY357" fmla="*/ 110871 h 1218057"/>
                <a:gd name="connsiteX358" fmla="*/ 795147 w 1468659"/>
                <a:gd name="connsiteY358" fmla="*/ 114109 h 1218057"/>
                <a:gd name="connsiteX359" fmla="*/ 790384 w 1468659"/>
                <a:gd name="connsiteY359" fmla="*/ 114681 h 1218057"/>
                <a:gd name="connsiteX360" fmla="*/ 796195 w 1468659"/>
                <a:gd name="connsiteY360" fmla="*/ 121920 h 1218057"/>
                <a:gd name="connsiteX361" fmla="*/ 793433 w 1468659"/>
                <a:gd name="connsiteY361" fmla="*/ 125539 h 1218057"/>
                <a:gd name="connsiteX362" fmla="*/ 792671 w 1468659"/>
                <a:gd name="connsiteY362" fmla="*/ 132017 h 1218057"/>
                <a:gd name="connsiteX363" fmla="*/ 791242 w 1468659"/>
                <a:gd name="connsiteY363" fmla="*/ 133826 h 1218057"/>
                <a:gd name="connsiteX364" fmla="*/ 784765 w 1468659"/>
                <a:gd name="connsiteY364" fmla="*/ 133064 h 1218057"/>
                <a:gd name="connsiteX365" fmla="*/ 782764 w 1468659"/>
                <a:gd name="connsiteY365" fmla="*/ 130111 h 1218057"/>
                <a:gd name="connsiteX366" fmla="*/ 783908 w 1468659"/>
                <a:gd name="connsiteY366" fmla="*/ 126682 h 1218057"/>
                <a:gd name="connsiteX367" fmla="*/ 781145 w 1468659"/>
                <a:gd name="connsiteY367" fmla="*/ 117443 h 1218057"/>
                <a:gd name="connsiteX368" fmla="*/ 776192 w 1468659"/>
                <a:gd name="connsiteY368" fmla="*/ 116491 h 1218057"/>
                <a:gd name="connsiteX369" fmla="*/ 762572 w 1468659"/>
                <a:gd name="connsiteY369" fmla="*/ 110204 h 1218057"/>
                <a:gd name="connsiteX370" fmla="*/ 748760 w 1468659"/>
                <a:gd name="connsiteY370" fmla="*/ 115157 h 1218057"/>
                <a:gd name="connsiteX371" fmla="*/ 745617 w 1468659"/>
                <a:gd name="connsiteY371" fmla="*/ 115538 h 1218057"/>
                <a:gd name="connsiteX372" fmla="*/ 743426 w 1468659"/>
                <a:gd name="connsiteY372" fmla="*/ 111061 h 1218057"/>
                <a:gd name="connsiteX373" fmla="*/ 738759 w 1468659"/>
                <a:gd name="connsiteY373" fmla="*/ 111633 h 1218057"/>
                <a:gd name="connsiteX374" fmla="*/ 738283 w 1468659"/>
                <a:gd name="connsiteY374" fmla="*/ 108490 h 1218057"/>
                <a:gd name="connsiteX375" fmla="*/ 741235 w 1468659"/>
                <a:gd name="connsiteY375" fmla="*/ 106489 h 1218057"/>
                <a:gd name="connsiteX376" fmla="*/ 744379 w 1468659"/>
                <a:gd name="connsiteY376" fmla="*/ 106108 h 1218057"/>
                <a:gd name="connsiteX377" fmla="*/ 745426 w 1468659"/>
                <a:gd name="connsiteY377" fmla="*/ 101155 h 1218057"/>
                <a:gd name="connsiteX378" fmla="*/ 748189 w 1468659"/>
                <a:gd name="connsiteY378" fmla="*/ 97631 h 1218057"/>
                <a:gd name="connsiteX379" fmla="*/ 748760 w 1468659"/>
                <a:gd name="connsiteY379" fmla="*/ 89535 h 1218057"/>
                <a:gd name="connsiteX380" fmla="*/ 748284 w 1468659"/>
                <a:gd name="connsiteY380" fmla="*/ 86392 h 1218057"/>
                <a:gd name="connsiteX381" fmla="*/ 746760 w 1468659"/>
                <a:gd name="connsiteY381" fmla="*/ 86582 h 1218057"/>
                <a:gd name="connsiteX382" fmla="*/ 745331 w 1468659"/>
                <a:gd name="connsiteY382" fmla="*/ 88297 h 1218057"/>
                <a:gd name="connsiteX383" fmla="*/ 744379 w 1468659"/>
                <a:gd name="connsiteY383" fmla="*/ 93250 h 1218057"/>
                <a:gd name="connsiteX384" fmla="*/ 741426 w 1468659"/>
                <a:gd name="connsiteY384" fmla="*/ 95250 h 1218057"/>
                <a:gd name="connsiteX385" fmla="*/ 736473 w 1468659"/>
                <a:gd name="connsiteY385" fmla="*/ 94297 h 1218057"/>
                <a:gd name="connsiteX386" fmla="*/ 736949 w 1468659"/>
                <a:gd name="connsiteY386" fmla="*/ 97441 h 1218057"/>
                <a:gd name="connsiteX387" fmla="*/ 733711 w 1468659"/>
                <a:gd name="connsiteY387" fmla="*/ 97822 h 1218057"/>
                <a:gd name="connsiteX388" fmla="*/ 734568 w 1468659"/>
                <a:gd name="connsiteY388" fmla="*/ 91345 h 1218057"/>
                <a:gd name="connsiteX389" fmla="*/ 729425 w 1468659"/>
                <a:gd name="connsiteY389" fmla="*/ 101632 h 1218057"/>
                <a:gd name="connsiteX390" fmla="*/ 724472 w 1468659"/>
                <a:gd name="connsiteY390" fmla="*/ 100584 h 1218057"/>
                <a:gd name="connsiteX391" fmla="*/ 725900 w 1468659"/>
                <a:gd name="connsiteY391" fmla="*/ 98869 h 1218057"/>
                <a:gd name="connsiteX392" fmla="*/ 724281 w 1468659"/>
                <a:gd name="connsiteY392" fmla="*/ 99060 h 1218057"/>
                <a:gd name="connsiteX393" fmla="*/ 722947 w 1468659"/>
                <a:gd name="connsiteY393" fmla="*/ 100775 h 1218057"/>
                <a:gd name="connsiteX394" fmla="*/ 720947 w 1468659"/>
                <a:gd name="connsiteY394" fmla="*/ 97822 h 1218057"/>
                <a:gd name="connsiteX395" fmla="*/ 719518 w 1468659"/>
                <a:gd name="connsiteY395" fmla="*/ 99631 h 1218057"/>
                <a:gd name="connsiteX396" fmla="*/ 717804 w 1468659"/>
                <a:gd name="connsiteY396" fmla="*/ 98298 h 1218057"/>
                <a:gd name="connsiteX397" fmla="*/ 712851 w 1468659"/>
                <a:gd name="connsiteY397" fmla="*/ 97250 h 1218057"/>
                <a:gd name="connsiteX398" fmla="*/ 710851 w 1468659"/>
                <a:gd name="connsiteY398" fmla="*/ 94297 h 1218057"/>
                <a:gd name="connsiteX399" fmla="*/ 707898 w 1468659"/>
                <a:gd name="connsiteY399" fmla="*/ 96298 h 1218057"/>
                <a:gd name="connsiteX400" fmla="*/ 705136 w 1468659"/>
                <a:gd name="connsiteY400" fmla="*/ 99917 h 1218057"/>
                <a:gd name="connsiteX401" fmla="*/ 702945 w 1468659"/>
                <a:gd name="connsiteY401" fmla="*/ 95345 h 1218057"/>
                <a:gd name="connsiteX402" fmla="*/ 701612 w 1468659"/>
                <a:gd name="connsiteY402" fmla="*/ 97155 h 1218057"/>
                <a:gd name="connsiteX403" fmla="*/ 701135 w 1468659"/>
                <a:gd name="connsiteY403" fmla="*/ 94012 h 1218057"/>
                <a:gd name="connsiteX404" fmla="*/ 696659 w 1468659"/>
                <a:gd name="connsiteY404" fmla="*/ 96107 h 1218057"/>
                <a:gd name="connsiteX405" fmla="*/ 696468 w 1468659"/>
                <a:gd name="connsiteY405" fmla="*/ 94583 h 1218057"/>
                <a:gd name="connsiteX406" fmla="*/ 693134 w 1468659"/>
                <a:gd name="connsiteY406" fmla="*/ 93440 h 1218057"/>
                <a:gd name="connsiteX407" fmla="*/ 695420 w 1468659"/>
                <a:gd name="connsiteY407" fmla="*/ 86677 h 1218057"/>
                <a:gd name="connsiteX408" fmla="*/ 693706 w 1468659"/>
                <a:gd name="connsiteY408" fmla="*/ 85344 h 1218057"/>
                <a:gd name="connsiteX409" fmla="*/ 688943 w 1468659"/>
                <a:gd name="connsiteY409" fmla="*/ 85915 h 1218057"/>
                <a:gd name="connsiteX410" fmla="*/ 686181 w 1468659"/>
                <a:gd name="connsiteY410" fmla="*/ 89440 h 1218057"/>
                <a:gd name="connsiteX411" fmla="*/ 681228 w 1468659"/>
                <a:gd name="connsiteY411" fmla="*/ 88487 h 1218057"/>
                <a:gd name="connsiteX412" fmla="*/ 672560 w 1468659"/>
                <a:gd name="connsiteY412" fmla="*/ 83153 h 1218057"/>
                <a:gd name="connsiteX413" fmla="*/ 667798 w 1468659"/>
                <a:gd name="connsiteY413" fmla="*/ 83820 h 1218057"/>
                <a:gd name="connsiteX414" fmla="*/ 669608 w 1468659"/>
                <a:gd name="connsiteY414" fmla="*/ 85154 h 1218057"/>
                <a:gd name="connsiteX415" fmla="*/ 667226 w 1468659"/>
                <a:gd name="connsiteY415" fmla="*/ 91916 h 1218057"/>
                <a:gd name="connsiteX416" fmla="*/ 661130 w 1468659"/>
                <a:gd name="connsiteY416" fmla="*/ 94297 h 1218057"/>
                <a:gd name="connsiteX417" fmla="*/ 663130 w 1468659"/>
                <a:gd name="connsiteY417" fmla="*/ 97250 h 1218057"/>
                <a:gd name="connsiteX418" fmla="*/ 666274 w 1468659"/>
                <a:gd name="connsiteY418" fmla="*/ 96774 h 1218057"/>
                <a:gd name="connsiteX419" fmla="*/ 664845 w 1468659"/>
                <a:gd name="connsiteY419" fmla="*/ 98584 h 1218057"/>
                <a:gd name="connsiteX420" fmla="*/ 663321 w 1468659"/>
                <a:gd name="connsiteY420" fmla="*/ 98774 h 1218057"/>
                <a:gd name="connsiteX421" fmla="*/ 659511 w 1468659"/>
                <a:gd name="connsiteY421" fmla="*/ 94488 h 1218057"/>
                <a:gd name="connsiteX422" fmla="*/ 658368 w 1468659"/>
                <a:gd name="connsiteY422" fmla="*/ 97822 h 1218057"/>
                <a:gd name="connsiteX423" fmla="*/ 654844 w 1468659"/>
                <a:gd name="connsiteY423" fmla="*/ 95059 h 1218057"/>
                <a:gd name="connsiteX424" fmla="*/ 654368 w 1468659"/>
                <a:gd name="connsiteY424" fmla="*/ 91916 h 1218057"/>
                <a:gd name="connsiteX425" fmla="*/ 652843 w 1468659"/>
                <a:gd name="connsiteY425" fmla="*/ 92107 h 1218057"/>
                <a:gd name="connsiteX426" fmla="*/ 650653 w 1468659"/>
                <a:gd name="connsiteY426" fmla="*/ 87535 h 1218057"/>
                <a:gd name="connsiteX427" fmla="*/ 645890 w 1468659"/>
                <a:gd name="connsiteY427" fmla="*/ 88201 h 1218057"/>
                <a:gd name="connsiteX428" fmla="*/ 644938 w 1468659"/>
                <a:gd name="connsiteY428" fmla="*/ 80296 h 1218057"/>
                <a:gd name="connsiteX429" fmla="*/ 638556 w 1468659"/>
                <a:gd name="connsiteY429" fmla="*/ 81058 h 1218057"/>
                <a:gd name="connsiteX430" fmla="*/ 637413 w 1468659"/>
                <a:gd name="connsiteY430" fmla="*/ 84487 h 1218057"/>
                <a:gd name="connsiteX431" fmla="*/ 634270 w 1468659"/>
                <a:gd name="connsiteY431" fmla="*/ 84868 h 1218057"/>
                <a:gd name="connsiteX432" fmla="*/ 626173 w 1468659"/>
                <a:gd name="connsiteY432" fmla="*/ 71438 h 1218057"/>
                <a:gd name="connsiteX433" fmla="*/ 623030 w 1468659"/>
                <a:gd name="connsiteY433" fmla="*/ 71818 h 1218057"/>
                <a:gd name="connsiteX434" fmla="*/ 619220 w 1468659"/>
                <a:gd name="connsiteY434" fmla="*/ 67532 h 1218057"/>
                <a:gd name="connsiteX435" fmla="*/ 621601 w 1468659"/>
                <a:gd name="connsiteY435" fmla="*/ 73628 h 1218057"/>
                <a:gd name="connsiteX436" fmla="*/ 620077 w 1468659"/>
                <a:gd name="connsiteY436" fmla="*/ 73819 h 1218057"/>
                <a:gd name="connsiteX437" fmla="*/ 616458 w 1468659"/>
                <a:gd name="connsiteY437" fmla="*/ 71056 h 1218057"/>
                <a:gd name="connsiteX438" fmla="*/ 615125 w 1468659"/>
                <a:gd name="connsiteY438" fmla="*/ 72866 h 1218057"/>
                <a:gd name="connsiteX439" fmla="*/ 616648 w 1468659"/>
                <a:gd name="connsiteY439" fmla="*/ 72676 h 1218057"/>
                <a:gd name="connsiteX440" fmla="*/ 621030 w 1468659"/>
                <a:gd name="connsiteY440" fmla="*/ 81725 h 1218057"/>
                <a:gd name="connsiteX441" fmla="*/ 619697 w 1468659"/>
                <a:gd name="connsiteY441" fmla="*/ 83534 h 1218057"/>
                <a:gd name="connsiteX442" fmla="*/ 621411 w 1468659"/>
                <a:gd name="connsiteY442" fmla="*/ 84868 h 1218057"/>
                <a:gd name="connsiteX443" fmla="*/ 618649 w 1468659"/>
                <a:gd name="connsiteY443" fmla="*/ 88487 h 1218057"/>
                <a:gd name="connsiteX444" fmla="*/ 620649 w 1468659"/>
                <a:gd name="connsiteY444" fmla="*/ 91440 h 1218057"/>
                <a:gd name="connsiteX445" fmla="*/ 625412 w 1468659"/>
                <a:gd name="connsiteY445" fmla="*/ 90773 h 1218057"/>
                <a:gd name="connsiteX446" fmla="*/ 623983 w 1468659"/>
                <a:gd name="connsiteY446" fmla="*/ 92583 h 1218057"/>
                <a:gd name="connsiteX447" fmla="*/ 620649 w 1468659"/>
                <a:gd name="connsiteY447" fmla="*/ 91440 h 1218057"/>
                <a:gd name="connsiteX448" fmla="*/ 621030 w 1468659"/>
                <a:gd name="connsiteY448" fmla="*/ 94583 h 1218057"/>
                <a:gd name="connsiteX449" fmla="*/ 619506 w 1468659"/>
                <a:gd name="connsiteY449" fmla="*/ 94774 h 1218057"/>
                <a:gd name="connsiteX450" fmla="*/ 616934 w 1468659"/>
                <a:gd name="connsiteY450" fmla="*/ 87058 h 1218057"/>
                <a:gd name="connsiteX451" fmla="*/ 613791 w 1468659"/>
                <a:gd name="connsiteY451" fmla="*/ 87439 h 1218057"/>
                <a:gd name="connsiteX452" fmla="*/ 610172 w 1468659"/>
                <a:gd name="connsiteY452" fmla="*/ 84677 h 1218057"/>
                <a:gd name="connsiteX453" fmla="*/ 605504 w 1468659"/>
                <a:gd name="connsiteY453" fmla="*/ 85344 h 1218057"/>
                <a:gd name="connsiteX454" fmla="*/ 604266 w 1468659"/>
                <a:gd name="connsiteY454" fmla="*/ 88678 h 1218057"/>
                <a:gd name="connsiteX455" fmla="*/ 600932 w 1468659"/>
                <a:gd name="connsiteY455" fmla="*/ 87535 h 1218057"/>
                <a:gd name="connsiteX456" fmla="*/ 601123 w 1468659"/>
                <a:gd name="connsiteY456" fmla="*/ 89059 h 1218057"/>
                <a:gd name="connsiteX457" fmla="*/ 599504 w 1468659"/>
                <a:gd name="connsiteY457" fmla="*/ 89249 h 1218057"/>
                <a:gd name="connsiteX458" fmla="*/ 601504 w 1468659"/>
                <a:gd name="connsiteY458" fmla="*/ 92202 h 1218057"/>
                <a:gd name="connsiteX459" fmla="*/ 599980 w 1468659"/>
                <a:gd name="connsiteY459" fmla="*/ 92392 h 1218057"/>
                <a:gd name="connsiteX460" fmla="*/ 600170 w 1468659"/>
                <a:gd name="connsiteY460" fmla="*/ 94012 h 1218057"/>
                <a:gd name="connsiteX461" fmla="*/ 598360 w 1468659"/>
                <a:gd name="connsiteY461" fmla="*/ 92678 h 1218057"/>
                <a:gd name="connsiteX462" fmla="*/ 598551 w 1468659"/>
                <a:gd name="connsiteY462" fmla="*/ 94202 h 1218057"/>
                <a:gd name="connsiteX463" fmla="*/ 597218 w 1468659"/>
                <a:gd name="connsiteY463" fmla="*/ 96012 h 1218057"/>
                <a:gd name="connsiteX464" fmla="*/ 595217 w 1468659"/>
                <a:gd name="connsiteY464" fmla="*/ 93059 h 1218057"/>
                <a:gd name="connsiteX465" fmla="*/ 593884 w 1468659"/>
                <a:gd name="connsiteY465" fmla="*/ 94774 h 1218057"/>
                <a:gd name="connsiteX466" fmla="*/ 591502 w 1468659"/>
                <a:gd name="connsiteY466" fmla="*/ 101536 h 1218057"/>
                <a:gd name="connsiteX467" fmla="*/ 589883 w 1468659"/>
                <a:gd name="connsiteY467" fmla="*/ 101727 h 1218057"/>
                <a:gd name="connsiteX468" fmla="*/ 591122 w 1468659"/>
                <a:gd name="connsiteY468" fmla="*/ 98393 h 1218057"/>
                <a:gd name="connsiteX469" fmla="*/ 587693 w 1468659"/>
                <a:gd name="connsiteY469" fmla="*/ 97155 h 1218057"/>
                <a:gd name="connsiteX470" fmla="*/ 584930 w 1468659"/>
                <a:gd name="connsiteY470" fmla="*/ 100775 h 1218057"/>
                <a:gd name="connsiteX471" fmla="*/ 583978 w 1468659"/>
                <a:gd name="connsiteY471" fmla="*/ 105727 h 1218057"/>
                <a:gd name="connsiteX472" fmla="*/ 582454 w 1468659"/>
                <a:gd name="connsiteY472" fmla="*/ 105918 h 1218057"/>
                <a:gd name="connsiteX473" fmla="*/ 581787 w 1468659"/>
                <a:gd name="connsiteY473" fmla="*/ 101155 h 1218057"/>
                <a:gd name="connsiteX474" fmla="*/ 578644 w 1468659"/>
                <a:gd name="connsiteY474" fmla="*/ 101536 h 1218057"/>
                <a:gd name="connsiteX475" fmla="*/ 578263 w 1468659"/>
                <a:gd name="connsiteY475" fmla="*/ 98393 h 1218057"/>
                <a:gd name="connsiteX476" fmla="*/ 574929 w 1468659"/>
                <a:gd name="connsiteY476" fmla="*/ 97250 h 1218057"/>
                <a:gd name="connsiteX477" fmla="*/ 567595 w 1468659"/>
                <a:gd name="connsiteY477" fmla="*/ 102965 h 1218057"/>
                <a:gd name="connsiteX478" fmla="*/ 564261 w 1468659"/>
                <a:gd name="connsiteY478" fmla="*/ 101822 h 1218057"/>
                <a:gd name="connsiteX479" fmla="*/ 562451 w 1468659"/>
                <a:gd name="connsiteY479" fmla="*/ 100393 h 1218057"/>
                <a:gd name="connsiteX480" fmla="*/ 565595 w 1468659"/>
                <a:gd name="connsiteY480" fmla="*/ 100013 h 1218057"/>
                <a:gd name="connsiteX481" fmla="*/ 567023 w 1468659"/>
                <a:gd name="connsiteY481" fmla="*/ 98203 h 1218057"/>
                <a:gd name="connsiteX482" fmla="*/ 564833 w 1468659"/>
                <a:gd name="connsiteY482" fmla="*/ 93726 h 1218057"/>
                <a:gd name="connsiteX483" fmla="*/ 567595 w 1468659"/>
                <a:gd name="connsiteY483" fmla="*/ 90106 h 1218057"/>
                <a:gd name="connsiteX484" fmla="*/ 567214 w 1468659"/>
                <a:gd name="connsiteY484" fmla="*/ 86963 h 1218057"/>
                <a:gd name="connsiteX485" fmla="*/ 564071 w 1468659"/>
                <a:gd name="connsiteY485" fmla="*/ 87344 h 1218057"/>
                <a:gd name="connsiteX486" fmla="*/ 562261 w 1468659"/>
                <a:gd name="connsiteY486" fmla="*/ 86011 h 1218057"/>
                <a:gd name="connsiteX487" fmla="*/ 560451 w 1468659"/>
                <a:gd name="connsiteY487" fmla="*/ 84677 h 1218057"/>
                <a:gd name="connsiteX488" fmla="*/ 560451 w 1468659"/>
                <a:gd name="connsiteY488" fmla="*/ 84677 h 1218057"/>
                <a:gd name="connsiteX489" fmla="*/ 558260 w 1468659"/>
                <a:gd name="connsiteY489" fmla="*/ 80105 h 1218057"/>
                <a:gd name="connsiteX490" fmla="*/ 556927 w 1468659"/>
                <a:gd name="connsiteY490" fmla="*/ 81915 h 1218057"/>
                <a:gd name="connsiteX491" fmla="*/ 549783 w 1468659"/>
                <a:gd name="connsiteY491" fmla="*/ 76390 h 1218057"/>
                <a:gd name="connsiteX492" fmla="*/ 544068 w 1468659"/>
                <a:gd name="connsiteY492" fmla="*/ 81915 h 1218057"/>
                <a:gd name="connsiteX493" fmla="*/ 541877 w 1468659"/>
                <a:gd name="connsiteY493" fmla="*/ 77343 h 1218057"/>
                <a:gd name="connsiteX494" fmla="*/ 540544 w 1468659"/>
                <a:gd name="connsiteY494" fmla="*/ 79153 h 1218057"/>
                <a:gd name="connsiteX495" fmla="*/ 540353 w 1468659"/>
                <a:gd name="connsiteY495" fmla="*/ 77629 h 1218057"/>
                <a:gd name="connsiteX496" fmla="*/ 538543 w 1468659"/>
                <a:gd name="connsiteY496" fmla="*/ 76200 h 1218057"/>
                <a:gd name="connsiteX497" fmla="*/ 539115 w 1468659"/>
                <a:gd name="connsiteY497" fmla="*/ 68104 h 1218057"/>
                <a:gd name="connsiteX498" fmla="*/ 540448 w 1468659"/>
                <a:gd name="connsiteY498" fmla="*/ 66294 h 1218057"/>
                <a:gd name="connsiteX499" fmla="*/ 535114 w 1468659"/>
                <a:gd name="connsiteY499" fmla="*/ 62198 h 1218057"/>
                <a:gd name="connsiteX500" fmla="*/ 528638 w 1468659"/>
                <a:gd name="connsiteY500" fmla="*/ 61436 h 1218057"/>
                <a:gd name="connsiteX501" fmla="*/ 528256 w 1468659"/>
                <a:gd name="connsiteY501" fmla="*/ 58293 h 1218057"/>
                <a:gd name="connsiteX502" fmla="*/ 523684 w 1468659"/>
                <a:gd name="connsiteY502" fmla="*/ 60484 h 1218057"/>
                <a:gd name="connsiteX503" fmla="*/ 521303 w 1468659"/>
                <a:gd name="connsiteY503" fmla="*/ 54292 h 1218057"/>
                <a:gd name="connsiteX504" fmla="*/ 515588 w 1468659"/>
                <a:gd name="connsiteY504" fmla="*/ 59912 h 1218057"/>
                <a:gd name="connsiteX505" fmla="*/ 512445 w 1468659"/>
                <a:gd name="connsiteY505" fmla="*/ 60293 h 1218057"/>
                <a:gd name="connsiteX506" fmla="*/ 501587 w 1468659"/>
                <a:gd name="connsiteY506" fmla="*/ 63246 h 1218057"/>
                <a:gd name="connsiteX507" fmla="*/ 499396 w 1468659"/>
                <a:gd name="connsiteY507" fmla="*/ 58769 h 1218057"/>
                <a:gd name="connsiteX508" fmla="*/ 496634 w 1468659"/>
                <a:gd name="connsiteY508" fmla="*/ 62293 h 1218057"/>
                <a:gd name="connsiteX509" fmla="*/ 493490 w 1468659"/>
                <a:gd name="connsiteY509" fmla="*/ 62675 h 1218057"/>
                <a:gd name="connsiteX510" fmla="*/ 492157 w 1468659"/>
                <a:gd name="connsiteY510" fmla="*/ 64484 h 1218057"/>
                <a:gd name="connsiteX511" fmla="*/ 492538 w 1468659"/>
                <a:gd name="connsiteY511" fmla="*/ 67627 h 1218057"/>
                <a:gd name="connsiteX512" fmla="*/ 493585 w 1468659"/>
                <a:gd name="connsiteY512" fmla="*/ 75533 h 1218057"/>
                <a:gd name="connsiteX513" fmla="*/ 489013 w 1468659"/>
                <a:gd name="connsiteY513" fmla="*/ 77724 h 1218057"/>
                <a:gd name="connsiteX514" fmla="*/ 489395 w 1468659"/>
                <a:gd name="connsiteY514" fmla="*/ 80867 h 1218057"/>
                <a:gd name="connsiteX515" fmla="*/ 485108 w 1468659"/>
                <a:gd name="connsiteY515" fmla="*/ 84582 h 1218057"/>
                <a:gd name="connsiteX516" fmla="*/ 481965 w 1468659"/>
                <a:gd name="connsiteY516" fmla="*/ 85058 h 1218057"/>
                <a:gd name="connsiteX517" fmla="*/ 482346 w 1468659"/>
                <a:gd name="connsiteY517" fmla="*/ 88201 h 1218057"/>
                <a:gd name="connsiteX518" fmla="*/ 485299 w 1468659"/>
                <a:gd name="connsiteY518" fmla="*/ 86201 h 1218057"/>
                <a:gd name="connsiteX519" fmla="*/ 479584 w 1468659"/>
                <a:gd name="connsiteY519" fmla="*/ 91726 h 1218057"/>
                <a:gd name="connsiteX520" fmla="*/ 480155 w 1468659"/>
                <a:gd name="connsiteY520" fmla="*/ 96488 h 1218057"/>
                <a:gd name="connsiteX521" fmla="*/ 475297 w 1468659"/>
                <a:gd name="connsiteY521" fmla="*/ 95536 h 1218057"/>
                <a:gd name="connsiteX522" fmla="*/ 474821 w 1468659"/>
                <a:gd name="connsiteY522" fmla="*/ 92297 h 1218057"/>
                <a:gd name="connsiteX523" fmla="*/ 477774 w 1468659"/>
                <a:gd name="connsiteY523" fmla="*/ 90392 h 1218057"/>
                <a:gd name="connsiteX524" fmla="*/ 476059 w 1468659"/>
                <a:gd name="connsiteY524" fmla="*/ 88963 h 1218057"/>
                <a:gd name="connsiteX525" fmla="*/ 469868 w 1468659"/>
                <a:gd name="connsiteY525" fmla="*/ 91345 h 1218057"/>
                <a:gd name="connsiteX526" fmla="*/ 462058 w 1468659"/>
                <a:gd name="connsiteY526" fmla="*/ 92392 h 1218057"/>
                <a:gd name="connsiteX527" fmla="*/ 459105 w 1468659"/>
                <a:gd name="connsiteY527" fmla="*/ 94393 h 1218057"/>
                <a:gd name="connsiteX528" fmla="*/ 455676 w 1468659"/>
                <a:gd name="connsiteY528" fmla="*/ 93154 h 1218057"/>
                <a:gd name="connsiteX529" fmla="*/ 450818 w 1468659"/>
                <a:gd name="connsiteY529" fmla="*/ 92202 h 1218057"/>
                <a:gd name="connsiteX530" fmla="*/ 444437 w 1468659"/>
                <a:gd name="connsiteY530" fmla="*/ 92964 h 1218057"/>
                <a:gd name="connsiteX531" fmla="*/ 441293 w 1468659"/>
                <a:gd name="connsiteY531" fmla="*/ 93440 h 1218057"/>
                <a:gd name="connsiteX532" fmla="*/ 440150 w 1468659"/>
                <a:gd name="connsiteY532" fmla="*/ 96774 h 1218057"/>
                <a:gd name="connsiteX533" fmla="*/ 433006 w 1468659"/>
                <a:gd name="connsiteY533" fmla="*/ 91250 h 1218057"/>
                <a:gd name="connsiteX534" fmla="*/ 428244 w 1468659"/>
                <a:gd name="connsiteY534" fmla="*/ 91821 h 1218057"/>
                <a:gd name="connsiteX535" fmla="*/ 419957 w 1468659"/>
                <a:gd name="connsiteY535" fmla="*/ 89725 h 1218057"/>
                <a:gd name="connsiteX536" fmla="*/ 421196 w 1468659"/>
                <a:gd name="connsiteY536" fmla="*/ 99155 h 1218057"/>
                <a:gd name="connsiteX537" fmla="*/ 416052 w 1468659"/>
                <a:gd name="connsiteY537" fmla="*/ 96583 h 1218057"/>
                <a:gd name="connsiteX538" fmla="*/ 411480 w 1468659"/>
                <a:gd name="connsiteY538" fmla="*/ 98774 h 1218057"/>
                <a:gd name="connsiteX539" fmla="*/ 409766 w 1468659"/>
                <a:gd name="connsiteY539" fmla="*/ 97441 h 1218057"/>
                <a:gd name="connsiteX540" fmla="*/ 409384 w 1468659"/>
                <a:gd name="connsiteY540" fmla="*/ 94297 h 1218057"/>
                <a:gd name="connsiteX541" fmla="*/ 410527 w 1468659"/>
                <a:gd name="connsiteY541" fmla="*/ 90868 h 1218057"/>
                <a:gd name="connsiteX542" fmla="*/ 408527 w 1468659"/>
                <a:gd name="connsiteY542" fmla="*/ 87916 h 1218057"/>
                <a:gd name="connsiteX543" fmla="*/ 405384 w 1468659"/>
                <a:gd name="connsiteY543" fmla="*/ 88392 h 1218057"/>
                <a:gd name="connsiteX544" fmla="*/ 406146 w 1468659"/>
                <a:gd name="connsiteY544" fmla="*/ 94679 h 1218057"/>
                <a:gd name="connsiteX545" fmla="*/ 405003 w 1468659"/>
                <a:gd name="connsiteY545" fmla="*/ 98012 h 1218057"/>
                <a:gd name="connsiteX546" fmla="*/ 398526 w 1468659"/>
                <a:gd name="connsiteY546" fmla="*/ 97250 h 1218057"/>
                <a:gd name="connsiteX547" fmla="*/ 397097 w 1468659"/>
                <a:gd name="connsiteY547" fmla="*/ 99060 h 1218057"/>
                <a:gd name="connsiteX548" fmla="*/ 395097 w 1468659"/>
                <a:gd name="connsiteY548" fmla="*/ 96107 h 1218057"/>
                <a:gd name="connsiteX549" fmla="*/ 388810 w 1468659"/>
                <a:gd name="connsiteY549" fmla="*/ 96869 h 1218057"/>
                <a:gd name="connsiteX550" fmla="*/ 388620 w 1468659"/>
                <a:gd name="connsiteY550" fmla="*/ 95345 h 1218057"/>
                <a:gd name="connsiteX551" fmla="*/ 385667 w 1468659"/>
                <a:gd name="connsiteY551" fmla="*/ 97250 h 1218057"/>
                <a:gd name="connsiteX552" fmla="*/ 383667 w 1468659"/>
                <a:gd name="connsiteY552" fmla="*/ 94297 h 1218057"/>
                <a:gd name="connsiteX553" fmla="*/ 382143 w 1468659"/>
                <a:gd name="connsiteY553" fmla="*/ 94488 h 1218057"/>
                <a:gd name="connsiteX554" fmla="*/ 379762 w 1468659"/>
                <a:gd name="connsiteY554" fmla="*/ 88392 h 1218057"/>
                <a:gd name="connsiteX555" fmla="*/ 380714 w 1468659"/>
                <a:gd name="connsiteY555" fmla="*/ 83439 h 1218057"/>
                <a:gd name="connsiteX556" fmla="*/ 382048 w 1468659"/>
                <a:gd name="connsiteY556" fmla="*/ 81725 h 1218057"/>
                <a:gd name="connsiteX557" fmla="*/ 381286 w 1468659"/>
                <a:gd name="connsiteY557" fmla="*/ 75343 h 1218057"/>
                <a:gd name="connsiteX558" fmla="*/ 380905 w 1468659"/>
                <a:gd name="connsiteY558" fmla="*/ 72200 h 1218057"/>
                <a:gd name="connsiteX559" fmla="*/ 382238 w 1468659"/>
                <a:gd name="connsiteY559" fmla="*/ 70485 h 1218057"/>
                <a:gd name="connsiteX560" fmla="*/ 381857 w 1468659"/>
                <a:gd name="connsiteY560" fmla="*/ 67342 h 1218057"/>
                <a:gd name="connsiteX561" fmla="*/ 386620 w 1468659"/>
                <a:gd name="connsiteY561" fmla="*/ 66675 h 1218057"/>
                <a:gd name="connsiteX562" fmla="*/ 381667 w 1468659"/>
                <a:gd name="connsiteY562" fmla="*/ 65722 h 1218057"/>
                <a:gd name="connsiteX563" fmla="*/ 376142 w 1468659"/>
                <a:gd name="connsiteY563" fmla="*/ 60007 h 1218057"/>
                <a:gd name="connsiteX564" fmla="*/ 374713 w 1468659"/>
                <a:gd name="connsiteY564" fmla="*/ 61817 h 1218057"/>
                <a:gd name="connsiteX565" fmla="*/ 365284 w 1468659"/>
                <a:gd name="connsiteY565" fmla="*/ 62960 h 1218057"/>
                <a:gd name="connsiteX566" fmla="*/ 361950 w 1468659"/>
                <a:gd name="connsiteY566" fmla="*/ 61817 h 1218057"/>
                <a:gd name="connsiteX567" fmla="*/ 357950 w 1468659"/>
                <a:gd name="connsiteY567" fmla="*/ 68771 h 1218057"/>
                <a:gd name="connsiteX568" fmla="*/ 357759 w 1468659"/>
                <a:gd name="connsiteY568" fmla="*/ 67151 h 1218057"/>
                <a:gd name="connsiteX569" fmla="*/ 352044 w 1468659"/>
                <a:gd name="connsiteY569" fmla="*/ 72676 h 1218057"/>
                <a:gd name="connsiteX570" fmla="*/ 350330 w 1468659"/>
                <a:gd name="connsiteY570" fmla="*/ 71342 h 1218057"/>
                <a:gd name="connsiteX571" fmla="*/ 348901 w 1468659"/>
                <a:gd name="connsiteY571" fmla="*/ 73057 h 1218057"/>
                <a:gd name="connsiteX572" fmla="*/ 342233 w 1468659"/>
                <a:gd name="connsiteY572" fmla="*/ 70771 h 1218057"/>
                <a:gd name="connsiteX573" fmla="*/ 341471 w 1468659"/>
                <a:gd name="connsiteY573" fmla="*/ 77248 h 1218057"/>
                <a:gd name="connsiteX574" fmla="*/ 345376 w 1468659"/>
                <a:gd name="connsiteY574" fmla="*/ 83153 h 1218057"/>
                <a:gd name="connsiteX575" fmla="*/ 342614 w 1468659"/>
                <a:gd name="connsiteY575" fmla="*/ 86773 h 1218057"/>
                <a:gd name="connsiteX576" fmla="*/ 342233 w 1468659"/>
                <a:gd name="connsiteY576" fmla="*/ 83534 h 1218057"/>
                <a:gd name="connsiteX577" fmla="*/ 341471 w 1468659"/>
                <a:gd name="connsiteY577" fmla="*/ 90106 h 1218057"/>
                <a:gd name="connsiteX578" fmla="*/ 340042 w 1468659"/>
                <a:gd name="connsiteY578" fmla="*/ 91821 h 1218057"/>
                <a:gd name="connsiteX579" fmla="*/ 340519 w 1468659"/>
                <a:gd name="connsiteY579" fmla="*/ 95059 h 1218057"/>
                <a:gd name="connsiteX580" fmla="*/ 338900 w 1468659"/>
                <a:gd name="connsiteY580" fmla="*/ 95250 h 1218057"/>
                <a:gd name="connsiteX581" fmla="*/ 337566 w 1468659"/>
                <a:gd name="connsiteY581" fmla="*/ 96964 h 1218057"/>
                <a:gd name="connsiteX582" fmla="*/ 335566 w 1468659"/>
                <a:gd name="connsiteY582" fmla="*/ 94012 h 1218057"/>
                <a:gd name="connsiteX583" fmla="*/ 333946 w 1468659"/>
                <a:gd name="connsiteY583" fmla="*/ 94202 h 1218057"/>
                <a:gd name="connsiteX584" fmla="*/ 334327 w 1468659"/>
                <a:gd name="connsiteY584" fmla="*/ 97441 h 1218057"/>
                <a:gd name="connsiteX585" fmla="*/ 332804 w 1468659"/>
                <a:gd name="connsiteY585" fmla="*/ 97631 h 1218057"/>
                <a:gd name="connsiteX586" fmla="*/ 336709 w 1468659"/>
                <a:gd name="connsiteY586" fmla="*/ 103537 h 1218057"/>
                <a:gd name="connsiteX587" fmla="*/ 333566 w 1468659"/>
                <a:gd name="connsiteY587" fmla="*/ 103918 h 1218057"/>
                <a:gd name="connsiteX588" fmla="*/ 334042 w 1468659"/>
                <a:gd name="connsiteY588" fmla="*/ 107061 h 1218057"/>
                <a:gd name="connsiteX589" fmla="*/ 330803 w 1468659"/>
                <a:gd name="connsiteY589" fmla="*/ 107442 h 1218057"/>
                <a:gd name="connsiteX590" fmla="*/ 330041 w 1468659"/>
                <a:gd name="connsiteY590" fmla="*/ 101155 h 1218057"/>
                <a:gd name="connsiteX591" fmla="*/ 326898 w 1468659"/>
                <a:gd name="connsiteY591" fmla="*/ 101536 h 1218057"/>
                <a:gd name="connsiteX592" fmla="*/ 324707 w 1468659"/>
                <a:gd name="connsiteY592" fmla="*/ 97060 h 1218057"/>
                <a:gd name="connsiteX593" fmla="*/ 322135 w 1468659"/>
                <a:gd name="connsiteY593" fmla="*/ 102203 h 1218057"/>
                <a:gd name="connsiteX594" fmla="*/ 320612 w 1468659"/>
                <a:gd name="connsiteY594" fmla="*/ 102394 h 1218057"/>
                <a:gd name="connsiteX595" fmla="*/ 320992 w 1468659"/>
                <a:gd name="connsiteY595" fmla="*/ 105537 h 1218057"/>
                <a:gd name="connsiteX596" fmla="*/ 318230 w 1468659"/>
                <a:gd name="connsiteY596" fmla="*/ 109061 h 1218057"/>
                <a:gd name="connsiteX597" fmla="*/ 318611 w 1468659"/>
                <a:gd name="connsiteY597" fmla="*/ 112204 h 1218057"/>
                <a:gd name="connsiteX598" fmla="*/ 318992 w 1468659"/>
                <a:gd name="connsiteY598" fmla="*/ 115443 h 1218057"/>
                <a:gd name="connsiteX599" fmla="*/ 309372 w 1468659"/>
                <a:gd name="connsiteY599" fmla="*/ 115062 h 1218057"/>
                <a:gd name="connsiteX600" fmla="*/ 302609 w 1468659"/>
                <a:gd name="connsiteY600" fmla="*/ 112681 h 1218057"/>
                <a:gd name="connsiteX601" fmla="*/ 302038 w 1468659"/>
                <a:gd name="connsiteY601" fmla="*/ 107918 h 1218057"/>
                <a:gd name="connsiteX602" fmla="*/ 298704 w 1468659"/>
                <a:gd name="connsiteY602" fmla="*/ 106775 h 1218057"/>
                <a:gd name="connsiteX603" fmla="*/ 290036 w 1468659"/>
                <a:gd name="connsiteY603" fmla="*/ 114300 h 1218057"/>
                <a:gd name="connsiteX604" fmla="*/ 290989 w 1468659"/>
                <a:gd name="connsiteY604" fmla="*/ 122206 h 1218057"/>
                <a:gd name="connsiteX605" fmla="*/ 290989 w 1468659"/>
                <a:gd name="connsiteY605" fmla="*/ 122206 h 1218057"/>
                <a:gd name="connsiteX606" fmla="*/ 289465 w 1468659"/>
                <a:gd name="connsiteY606" fmla="*/ 122396 h 1218057"/>
                <a:gd name="connsiteX607" fmla="*/ 285083 w 1468659"/>
                <a:gd name="connsiteY607" fmla="*/ 126111 h 1218057"/>
                <a:gd name="connsiteX608" fmla="*/ 284702 w 1468659"/>
                <a:gd name="connsiteY608" fmla="*/ 122968 h 1218057"/>
                <a:gd name="connsiteX609" fmla="*/ 275463 w 1468659"/>
                <a:gd name="connsiteY609" fmla="*/ 125730 h 1218057"/>
                <a:gd name="connsiteX610" fmla="*/ 273463 w 1468659"/>
                <a:gd name="connsiteY610" fmla="*/ 122777 h 1218057"/>
                <a:gd name="connsiteX611" fmla="*/ 268700 w 1468659"/>
                <a:gd name="connsiteY611" fmla="*/ 123444 h 1218057"/>
                <a:gd name="connsiteX612" fmla="*/ 268129 w 1468659"/>
                <a:gd name="connsiteY612" fmla="*/ 118681 h 1218057"/>
                <a:gd name="connsiteX613" fmla="*/ 264605 w 1468659"/>
                <a:gd name="connsiteY613" fmla="*/ 115919 h 1218057"/>
                <a:gd name="connsiteX614" fmla="*/ 263366 w 1468659"/>
                <a:gd name="connsiteY614" fmla="*/ 119253 h 1218057"/>
                <a:gd name="connsiteX615" fmla="*/ 257080 w 1468659"/>
                <a:gd name="connsiteY615" fmla="*/ 120110 h 1218057"/>
                <a:gd name="connsiteX616" fmla="*/ 261366 w 1468659"/>
                <a:gd name="connsiteY616" fmla="*/ 116300 h 1218057"/>
                <a:gd name="connsiteX617" fmla="*/ 260985 w 1468659"/>
                <a:gd name="connsiteY617" fmla="*/ 113157 h 1218057"/>
                <a:gd name="connsiteX618" fmla="*/ 263938 w 1468659"/>
                <a:gd name="connsiteY618" fmla="*/ 111157 h 1218057"/>
                <a:gd name="connsiteX619" fmla="*/ 256032 w 1468659"/>
                <a:gd name="connsiteY619" fmla="*/ 112204 h 1218057"/>
                <a:gd name="connsiteX620" fmla="*/ 254698 w 1468659"/>
                <a:gd name="connsiteY620" fmla="*/ 114014 h 1218057"/>
                <a:gd name="connsiteX621" fmla="*/ 251174 w 1468659"/>
                <a:gd name="connsiteY621" fmla="*/ 111252 h 1218057"/>
                <a:gd name="connsiteX622" fmla="*/ 248984 w 1468659"/>
                <a:gd name="connsiteY622" fmla="*/ 106680 h 1218057"/>
                <a:gd name="connsiteX623" fmla="*/ 249746 w 1468659"/>
                <a:gd name="connsiteY623" fmla="*/ 100203 h 1218057"/>
                <a:gd name="connsiteX624" fmla="*/ 239649 w 1468659"/>
                <a:gd name="connsiteY624" fmla="*/ 96679 h 1218057"/>
                <a:gd name="connsiteX625" fmla="*/ 235077 w 1468659"/>
                <a:gd name="connsiteY625" fmla="*/ 98869 h 1218057"/>
                <a:gd name="connsiteX626" fmla="*/ 235363 w 1468659"/>
                <a:gd name="connsiteY626" fmla="*/ 100393 h 1218057"/>
                <a:gd name="connsiteX627" fmla="*/ 238696 w 1468659"/>
                <a:gd name="connsiteY627" fmla="*/ 101536 h 1218057"/>
                <a:gd name="connsiteX628" fmla="*/ 234125 w 1468659"/>
                <a:gd name="connsiteY628" fmla="*/ 103727 h 1218057"/>
                <a:gd name="connsiteX629" fmla="*/ 230410 w 1468659"/>
                <a:gd name="connsiteY629" fmla="*/ 112204 h 1218057"/>
                <a:gd name="connsiteX630" fmla="*/ 227076 w 1468659"/>
                <a:gd name="connsiteY630" fmla="*/ 111061 h 1218057"/>
                <a:gd name="connsiteX631" fmla="*/ 227267 w 1468659"/>
                <a:gd name="connsiteY631" fmla="*/ 112681 h 1218057"/>
                <a:gd name="connsiteX632" fmla="*/ 225457 w 1468659"/>
                <a:gd name="connsiteY632" fmla="*/ 111252 h 1218057"/>
                <a:gd name="connsiteX633" fmla="*/ 222694 w 1468659"/>
                <a:gd name="connsiteY633" fmla="*/ 114871 h 1218057"/>
                <a:gd name="connsiteX634" fmla="*/ 220790 w 1468659"/>
                <a:gd name="connsiteY634" fmla="*/ 111919 h 1218057"/>
                <a:gd name="connsiteX635" fmla="*/ 222123 w 1468659"/>
                <a:gd name="connsiteY635" fmla="*/ 110109 h 1218057"/>
                <a:gd name="connsiteX636" fmla="*/ 220504 w 1468659"/>
                <a:gd name="connsiteY636" fmla="*/ 110300 h 1218057"/>
                <a:gd name="connsiteX637" fmla="*/ 219170 w 1468659"/>
                <a:gd name="connsiteY637" fmla="*/ 112109 h 1218057"/>
                <a:gd name="connsiteX638" fmla="*/ 217742 w 1468659"/>
                <a:gd name="connsiteY638" fmla="*/ 113824 h 1218057"/>
                <a:gd name="connsiteX639" fmla="*/ 216408 w 1468659"/>
                <a:gd name="connsiteY639" fmla="*/ 102775 h 1218057"/>
                <a:gd name="connsiteX640" fmla="*/ 214979 w 1468659"/>
                <a:gd name="connsiteY640" fmla="*/ 104584 h 1218057"/>
                <a:gd name="connsiteX641" fmla="*/ 213265 w 1468659"/>
                <a:gd name="connsiteY641" fmla="*/ 103251 h 1218057"/>
                <a:gd name="connsiteX642" fmla="*/ 210407 w 1468659"/>
                <a:gd name="connsiteY642" fmla="*/ 93917 h 1218057"/>
                <a:gd name="connsiteX643" fmla="*/ 207264 w 1468659"/>
                <a:gd name="connsiteY643" fmla="*/ 94393 h 1218057"/>
                <a:gd name="connsiteX644" fmla="*/ 209264 w 1468659"/>
                <a:gd name="connsiteY644" fmla="*/ 97346 h 1218057"/>
                <a:gd name="connsiteX645" fmla="*/ 202978 w 1468659"/>
                <a:gd name="connsiteY645" fmla="*/ 98107 h 1218057"/>
                <a:gd name="connsiteX646" fmla="*/ 203740 w 1468659"/>
                <a:gd name="connsiteY646" fmla="*/ 104394 h 1218057"/>
                <a:gd name="connsiteX647" fmla="*/ 198977 w 1468659"/>
                <a:gd name="connsiteY647" fmla="*/ 105061 h 1218057"/>
                <a:gd name="connsiteX648" fmla="*/ 199453 w 1468659"/>
                <a:gd name="connsiteY648" fmla="*/ 108204 h 1218057"/>
                <a:gd name="connsiteX649" fmla="*/ 192500 w 1468659"/>
                <a:gd name="connsiteY649" fmla="*/ 104299 h 1218057"/>
                <a:gd name="connsiteX650" fmla="*/ 186023 w 1468659"/>
                <a:gd name="connsiteY650" fmla="*/ 103442 h 1218057"/>
                <a:gd name="connsiteX651" fmla="*/ 182499 w 1468659"/>
                <a:gd name="connsiteY651" fmla="*/ 113538 h 1218057"/>
                <a:gd name="connsiteX652" fmla="*/ 180880 w 1468659"/>
                <a:gd name="connsiteY652" fmla="*/ 113729 h 1218057"/>
                <a:gd name="connsiteX653" fmla="*/ 180880 w 1468659"/>
                <a:gd name="connsiteY653" fmla="*/ 113729 h 1218057"/>
                <a:gd name="connsiteX654" fmla="*/ 170974 w 1468659"/>
                <a:gd name="connsiteY654" fmla="*/ 111823 h 1218057"/>
                <a:gd name="connsiteX655" fmla="*/ 169259 w 1468659"/>
                <a:gd name="connsiteY655" fmla="*/ 110395 h 1218057"/>
                <a:gd name="connsiteX656" fmla="*/ 165925 w 1468659"/>
                <a:gd name="connsiteY656" fmla="*/ 109252 h 1218057"/>
                <a:gd name="connsiteX657" fmla="*/ 164687 w 1468659"/>
                <a:gd name="connsiteY657" fmla="*/ 112585 h 1218057"/>
                <a:gd name="connsiteX658" fmla="*/ 160401 w 1468659"/>
                <a:gd name="connsiteY658" fmla="*/ 116396 h 1218057"/>
                <a:gd name="connsiteX659" fmla="*/ 159163 w 1468659"/>
                <a:gd name="connsiteY659" fmla="*/ 119729 h 1218057"/>
                <a:gd name="connsiteX660" fmla="*/ 164306 w 1468659"/>
                <a:gd name="connsiteY660" fmla="*/ 122301 h 1218057"/>
                <a:gd name="connsiteX661" fmla="*/ 164782 w 1468659"/>
                <a:gd name="connsiteY661" fmla="*/ 125444 h 1218057"/>
                <a:gd name="connsiteX662" fmla="*/ 163544 w 1468659"/>
                <a:gd name="connsiteY662" fmla="*/ 128778 h 1218057"/>
                <a:gd name="connsiteX663" fmla="*/ 160211 w 1468659"/>
                <a:gd name="connsiteY663" fmla="*/ 127635 h 1218057"/>
                <a:gd name="connsiteX664" fmla="*/ 159067 w 1468659"/>
                <a:gd name="connsiteY664" fmla="*/ 130969 h 1218057"/>
                <a:gd name="connsiteX665" fmla="*/ 155829 w 1468659"/>
                <a:gd name="connsiteY665" fmla="*/ 131350 h 1218057"/>
                <a:gd name="connsiteX666" fmla="*/ 157829 w 1468659"/>
                <a:gd name="connsiteY666" fmla="*/ 134302 h 1218057"/>
                <a:gd name="connsiteX667" fmla="*/ 156496 w 1468659"/>
                <a:gd name="connsiteY667" fmla="*/ 136112 h 1218057"/>
                <a:gd name="connsiteX668" fmla="*/ 157258 w 1468659"/>
                <a:gd name="connsiteY668" fmla="*/ 142399 h 1218057"/>
                <a:gd name="connsiteX669" fmla="*/ 160592 w 1468659"/>
                <a:gd name="connsiteY669" fmla="*/ 143637 h 1218057"/>
                <a:gd name="connsiteX670" fmla="*/ 163830 w 1468659"/>
                <a:gd name="connsiteY670" fmla="*/ 143161 h 1218057"/>
                <a:gd name="connsiteX671" fmla="*/ 164021 w 1468659"/>
                <a:gd name="connsiteY671" fmla="*/ 144780 h 1218057"/>
                <a:gd name="connsiteX672" fmla="*/ 163830 w 1468659"/>
                <a:gd name="connsiteY672" fmla="*/ 143161 h 1218057"/>
                <a:gd name="connsiteX673" fmla="*/ 170307 w 1468659"/>
                <a:gd name="connsiteY673" fmla="*/ 144018 h 1218057"/>
                <a:gd name="connsiteX674" fmla="*/ 170497 w 1468659"/>
                <a:gd name="connsiteY674" fmla="*/ 145542 h 1218057"/>
                <a:gd name="connsiteX675" fmla="*/ 164021 w 1468659"/>
                <a:gd name="connsiteY675" fmla="*/ 144780 h 1218057"/>
                <a:gd name="connsiteX676" fmla="*/ 165925 w 1468659"/>
                <a:gd name="connsiteY676" fmla="*/ 147733 h 1218057"/>
                <a:gd name="connsiteX677" fmla="*/ 164782 w 1468659"/>
                <a:gd name="connsiteY677" fmla="*/ 151067 h 1218057"/>
                <a:gd name="connsiteX678" fmla="*/ 165925 w 1468659"/>
                <a:gd name="connsiteY678" fmla="*/ 147733 h 1218057"/>
                <a:gd name="connsiteX679" fmla="*/ 167545 w 1468659"/>
                <a:gd name="connsiteY679" fmla="*/ 147542 h 1218057"/>
                <a:gd name="connsiteX680" fmla="*/ 167926 w 1468659"/>
                <a:gd name="connsiteY680" fmla="*/ 150685 h 1218057"/>
                <a:gd name="connsiteX681" fmla="*/ 165163 w 1468659"/>
                <a:gd name="connsiteY681" fmla="*/ 154210 h 1218057"/>
                <a:gd name="connsiteX682" fmla="*/ 168402 w 1468659"/>
                <a:gd name="connsiteY682" fmla="*/ 153829 h 1218057"/>
                <a:gd name="connsiteX683" fmla="*/ 167164 w 1468659"/>
                <a:gd name="connsiteY683" fmla="*/ 157163 h 1218057"/>
                <a:gd name="connsiteX684" fmla="*/ 169545 w 1468659"/>
                <a:gd name="connsiteY684" fmla="*/ 163354 h 1218057"/>
                <a:gd name="connsiteX685" fmla="*/ 166592 w 1468659"/>
                <a:gd name="connsiteY685" fmla="*/ 165259 h 1218057"/>
                <a:gd name="connsiteX686" fmla="*/ 165640 w 1468659"/>
                <a:gd name="connsiteY686" fmla="*/ 170212 h 1218057"/>
                <a:gd name="connsiteX687" fmla="*/ 168973 w 1468659"/>
                <a:gd name="connsiteY687" fmla="*/ 171355 h 1218057"/>
                <a:gd name="connsiteX688" fmla="*/ 167640 w 1468659"/>
                <a:gd name="connsiteY688" fmla="*/ 173164 h 1218057"/>
                <a:gd name="connsiteX689" fmla="*/ 168021 w 1468659"/>
                <a:gd name="connsiteY689" fmla="*/ 176308 h 1218057"/>
                <a:gd name="connsiteX690" fmla="*/ 166878 w 1468659"/>
                <a:gd name="connsiteY690" fmla="*/ 179642 h 1218057"/>
                <a:gd name="connsiteX691" fmla="*/ 168592 w 1468659"/>
                <a:gd name="connsiteY691" fmla="*/ 181070 h 1218057"/>
                <a:gd name="connsiteX692" fmla="*/ 170783 w 1468659"/>
                <a:gd name="connsiteY692" fmla="*/ 185642 h 1218057"/>
                <a:gd name="connsiteX693" fmla="*/ 172402 w 1468659"/>
                <a:gd name="connsiteY693" fmla="*/ 185452 h 1218057"/>
                <a:gd name="connsiteX694" fmla="*/ 172784 w 1468659"/>
                <a:gd name="connsiteY694" fmla="*/ 188595 h 1218057"/>
                <a:gd name="connsiteX695" fmla="*/ 174593 w 1468659"/>
                <a:gd name="connsiteY695" fmla="*/ 189929 h 1218057"/>
                <a:gd name="connsiteX696" fmla="*/ 174974 w 1468659"/>
                <a:gd name="connsiteY696" fmla="*/ 193072 h 1218057"/>
                <a:gd name="connsiteX697" fmla="*/ 178117 w 1468659"/>
                <a:gd name="connsiteY697" fmla="*/ 192691 h 1218057"/>
                <a:gd name="connsiteX698" fmla="*/ 178308 w 1468659"/>
                <a:gd name="connsiteY698" fmla="*/ 194310 h 1218057"/>
                <a:gd name="connsiteX699" fmla="*/ 175165 w 1468659"/>
                <a:gd name="connsiteY699" fmla="*/ 194691 h 1218057"/>
                <a:gd name="connsiteX700" fmla="*/ 177165 w 1468659"/>
                <a:gd name="connsiteY700" fmla="*/ 197644 h 1218057"/>
                <a:gd name="connsiteX701" fmla="*/ 185261 w 1468659"/>
                <a:gd name="connsiteY701" fmla="*/ 198215 h 1218057"/>
                <a:gd name="connsiteX702" fmla="*/ 185452 w 1468659"/>
                <a:gd name="connsiteY702" fmla="*/ 199739 h 1218057"/>
                <a:gd name="connsiteX703" fmla="*/ 182309 w 1468659"/>
                <a:gd name="connsiteY703" fmla="*/ 200215 h 1218057"/>
                <a:gd name="connsiteX704" fmla="*/ 175736 w 1468659"/>
                <a:gd name="connsiteY704" fmla="*/ 199358 h 1218057"/>
                <a:gd name="connsiteX705" fmla="*/ 173165 w 1468659"/>
                <a:gd name="connsiteY705" fmla="*/ 204502 h 1218057"/>
                <a:gd name="connsiteX706" fmla="*/ 174974 w 1468659"/>
                <a:gd name="connsiteY706" fmla="*/ 205930 h 1218057"/>
                <a:gd name="connsiteX707" fmla="*/ 173450 w 1468659"/>
                <a:gd name="connsiteY707" fmla="*/ 206121 h 1218057"/>
                <a:gd name="connsiteX708" fmla="*/ 169450 w 1468659"/>
                <a:gd name="connsiteY708" fmla="*/ 213074 h 1218057"/>
                <a:gd name="connsiteX709" fmla="*/ 166306 w 1468659"/>
                <a:gd name="connsiteY709" fmla="*/ 213455 h 1218057"/>
                <a:gd name="connsiteX710" fmla="*/ 168116 w 1468659"/>
                <a:gd name="connsiteY710" fmla="*/ 214789 h 1218057"/>
                <a:gd name="connsiteX711" fmla="*/ 165544 w 1468659"/>
                <a:gd name="connsiteY711" fmla="*/ 219932 h 1218057"/>
                <a:gd name="connsiteX712" fmla="*/ 166402 w 1468659"/>
                <a:gd name="connsiteY712" fmla="*/ 226219 h 1218057"/>
                <a:gd name="connsiteX713" fmla="*/ 168116 w 1468659"/>
                <a:gd name="connsiteY713" fmla="*/ 227647 h 1218057"/>
                <a:gd name="connsiteX714" fmla="*/ 164211 w 1468659"/>
                <a:gd name="connsiteY714" fmla="*/ 234505 h 1218057"/>
                <a:gd name="connsiteX715" fmla="*/ 162592 w 1468659"/>
                <a:gd name="connsiteY715" fmla="*/ 234791 h 1218057"/>
                <a:gd name="connsiteX716" fmla="*/ 163068 w 1468659"/>
                <a:gd name="connsiteY716" fmla="*/ 237934 h 1218057"/>
                <a:gd name="connsiteX717" fmla="*/ 164592 w 1468659"/>
                <a:gd name="connsiteY717" fmla="*/ 237744 h 1218057"/>
                <a:gd name="connsiteX718" fmla="*/ 163259 w 1468659"/>
                <a:gd name="connsiteY718" fmla="*/ 239459 h 1218057"/>
                <a:gd name="connsiteX719" fmla="*/ 164782 w 1468659"/>
                <a:gd name="connsiteY719" fmla="*/ 239268 h 1218057"/>
                <a:gd name="connsiteX720" fmla="*/ 163449 w 1468659"/>
                <a:gd name="connsiteY720" fmla="*/ 241078 h 1218057"/>
                <a:gd name="connsiteX721" fmla="*/ 167354 w 1468659"/>
                <a:gd name="connsiteY721" fmla="*/ 246983 h 1218057"/>
                <a:gd name="connsiteX722" fmla="*/ 166402 w 1468659"/>
                <a:gd name="connsiteY722" fmla="*/ 251936 h 1218057"/>
                <a:gd name="connsiteX723" fmla="*/ 171926 w 1468659"/>
                <a:gd name="connsiteY723" fmla="*/ 257651 h 1218057"/>
                <a:gd name="connsiteX724" fmla="*/ 173926 w 1468659"/>
                <a:gd name="connsiteY724" fmla="*/ 260604 h 1218057"/>
                <a:gd name="connsiteX725" fmla="*/ 170974 w 1468659"/>
                <a:gd name="connsiteY725" fmla="*/ 262604 h 1218057"/>
                <a:gd name="connsiteX726" fmla="*/ 174307 w 1468659"/>
                <a:gd name="connsiteY726" fmla="*/ 263747 h 1218057"/>
                <a:gd name="connsiteX727" fmla="*/ 171164 w 1468659"/>
                <a:gd name="connsiteY727" fmla="*/ 264128 h 1218057"/>
                <a:gd name="connsiteX728" fmla="*/ 171355 w 1468659"/>
                <a:gd name="connsiteY728" fmla="*/ 265747 h 1218057"/>
                <a:gd name="connsiteX729" fmla="*/ 174498 w 1468659"/>
                <a:gd name="connsiteY729" fmla="*/ 265271 h 1218057"/>
                <a:gd name="connsiteX730" fmla="*/ 178308 w 1468659"/>
                <a:gd name="connsiteY730" fmla="*/ 269653 h 1218057"/>
                <a:gd name="connsiteX731" fmla="*/ 181261 w 1468659"/>
                <a:gd name="connsiteY731" fmla="*/ 267652 h 1218057"/>
                <a:gd name="connsiteX732" fmla="*/ 180118 w 1468659"/>
                <a:gd name="connsiteY732" fmla="*/ 270986 h 1218057"/>
                <a:gd name="connsiteX733" fmla="*/ 183451 w 1468659"/>
                <a:gd name="connsiteY733" fmla="*/ 272225 h 1218057"/>
                <a:gd name="connsiteX734" fmla="*/ 182690 w 1468659"/>
                <a:gd name="connsiteY734" fmla="*/ 278701 h 1218057"/>
                <a:gd name="connsiteX735" fmla="*/ 184594 w 1468659"/>
                <a:gd name="connsiteY735" fmla="*/ 281654 h 1218057"/>
                <a:gd name="connsiteX736" fmla="*/ 181261 w 1468659"/>
                <a:gd name="connsiteY736" fmla="*/ 280511 h 1218057"/>
                <a:gd name="connsiteX737" fmla="*/ 181642 w 1468659"/>
                <a:gd name="connsiteY737" fmla="*/ 283655 h 1218057"/>
                <a:gd name="connsiteX738" fmla="*/ 180118 w 1468659"/>
                <a:gd name="connsiteY738" fmla="*/ 283845 h 1218057"/>
                <a:gd name="connsiteX739" fmla="*/ 176022 w 1468659"/>
                <a:gd name="connsiteY739" fmla="*/ 289179 h 1218057"/>
                <a:gd name="connsiteX740" fmla="*/ 177736 w 1468659"/>
                <a:gd name="connsiteY740" fmla="*/ 290513 h 1218057"/>
                <a:gd name="connsiteX741" fmla="*/ 180308 w 1468659"/>
                <a:gd name="connsiteY741" fmla="*/ 285464 h 1218057"/>
                <a:gd name="connsiteX742" fmla="*/ 181356 w 1468659"/>
                <a:gd name="connsiteY742" fmla="*/ 293275 h 1218057"/>
                <a:gd name="connsiteX743" fmla="*/ 183071 w 1468659"/>
                <a:gd name="connsiteY743" fmla="*/ 294704 h 1218057"/>
                <a:gd name="connsiteX744" fmla="*/ 175165 w 1468659"/>
                <a:gd name="connsiteY744" fmla="*/ 295656 h 1218057"/>
                <a:gd name="connsiteX745" fmla="*/ 171450 w 1468659"/>
                <a:gd name="connsiteY745" fmla="*/ 304229 h 1218057"/>
                <a:gd name="connsiteX746" fmla="*/ 169164 w 1468659"/>
                <a:gd name="connsiteY746" fmla="*/ 310896 h 1218057"/>
                <a:gd name="connsiteX747" fmla="*/ 171069 w 1468659"/>
                <a:gd name="connsiteY747" fmla="*/ 313849 h 1218057"/>
                <a:gd name="connsiteX748" fmla="*/ 167926 w 1468659"/>
                <a:gd name="connsiteY748" fmla="*/ 314230 h 1218057"/>
                <a:gd name="connsiteX749" fmla="*/ 170497 w 1468659"/>
                <a:gd name="connsiteY749" fmla="*/ 321945 h 1218057"/>
                <a:gd name="connsiteX750" fmla="*/ 169354 w 1468659"/>
                <a:gd name="connsiteY750" fmla="*/ 325279 h 1218057"/>
                <a:gd name="connsiteX751" fmla="*/ 168021 w 1468659"/>
                <a:gd name="connsiteY751" fmla="*/ 327088 h 1218057"/>
                <a:gd name="connsiteX752" fmla="*/ 159639 w 1468659"/>
                <a:gd name="connsiteY752" fmla="*/ 324898 h 1218057"/>
                <a:gd name="connsiteX753" fmla="*/ 155162 w 1468659"/>
                <a:gd name="connsiteY753" fmla="*/ 327088 h 1218057"/>
                <a:gd name="connsiteX754" fmla="*/ 154210 w 1468659"/>
                <a:gd name="connsiteY754" fmla="*/ 332042 h 1218057"/>
                <a:gd name="connsiteX755" fmla="*/ 151067 w 1468659"/>
                <a:gd name="connsiteY755" fmla="*/ 332422 h 1218057"/>
                <a:gd name="connsiteX756" fmla="*/ 146494 w 1468659"/>
                <a:gd name="connsiteY756" fmla="*/ 334613 h 1218057"/>
                <a:gd name="connsiteX757" fmla="*/ 144494 w 1468659"/>
                <a:gd name="connsiteY757" fmla="*/ 344519 h 1218057"/>
                <a:gd name="connsiteX758" fmla="*/ 136017 w 1468659"/>
                <a:gd name="connsiteY758" fmla="*/ 340805 h 1218057"/>
                <a:gd name="connsiteX759" fmla="*/ 139065 w 1468659"/>
                <a:gd name="connsiteY759" fmla="*/ 351663 h 1218057"/>
                <a:gd name="connsiteX760" fmla="*/ 136112 w 1468659"/>
                <a:gd name="connsiteY760" fmla="*/ 353568 h 1218057"/>
                <a:gd name="connsiteX761" fmla="*/ 134493 w 1468659"/>
                <a:gd name="connsiteY761" fmla="*/ 353759 h 1218057"/>
                <a:gd name="connsiteX762" fmla="*/ 138684 w 1468659"/>
                <a:gd name="connsiteY762" fmla="*/ 361283 h 1218057"/>
                <a:gd name="connsiteX763" fmla="*/ 141827 w 1468659"/>
                <a:gd name="connsiteY763" fmla="*/ 360902 h 1218057"/>
                <a:gd name="connsiteX764" fmla="*/ 145161 w 1468659"/>
                <a:gd name="connsiteY764" fmla="*/ 362045 h 1218057"/>
                <a:gd name="connsiteX765" fmla="*/ 144399 w 1468659"/>
                <a:gd name="connsiteY765" fmla="*/ 368617 h 1218057"/>
                <a:gd name="connsiteX766" fmla="*/ 141446 w 1468659"/>
                <a:gd name="connsiteY766" fmla="*/ 370522 h 1218057"/>
                <a:gd name="connsiteX767" fmla="*/ 140684 w 1468659"/>
                <a:gd name="connsiteY767" fmla="*/ 377095 h 1218057"/>
                <a:gd name="connsiteX768" fmla="*/ 137541 w 1468659"/>
                <a:gd name="connsiteY768" fmla="*/ 377476 h 1218057"/>
                <a:gd name="connsiteX769" fmla="*/ 134398 w 1468659"/>
                <a:gd name="connsiteY769" fmla="*/ 377857 h 1218057"/>
                <a:gd name="connsiteX770" fmla="*/ 130588 w 1468659"/>
                <a:gd name="connsiteY770" fmla="*/ 373571 h 1218057"/>
                <a:gd name="connsiteX771" fmla="*/ 126111 w 1468659"/>
                <a:gd name="connsiteY771" fmla="*/ 375761 h 1218057"/>
                <a:gd name="connsiteX772" fmla="*/ 119539 w 1468659"/>
                <a:gd name="connsiteY772" fmla="*/ 374999 h 1218057"/>
                <a:gd name="connsiteX773" fmla="*/ 118205 w 1468659"/>
                <a:gd name="connsiteY773" fmla="*/ 376714 h 1218057"/>
                <a:gd name="connsiteX774" fmla="*/ 121729 w 1468659"/>
                <a:gd name="connsiteY774" fmla="*/ 379476 h 1218057"/>
                <a:gd name="connsiteX775" fmla="*/ 121348 w 1468659"/>
                <a:gd name="connsiteY775" fmla="*/ 389192 h 1218057"/>
                <a:gd name="connsiteX776" fmla="*/ 124301 w 1468659"/>
                <a:gd name="connsiteY776" fmla="*/ 400050 h 1218057"/>
                <a:gd name="connsiteX777" fmla="*/ 127540 w 1468659"/>
                <a:gd name="connsiteY777" fmla="*/ 399574 h 1218057"/>
                <a:gd name="connsiteX778" fmla="*/ 129254 w 1468659"/>
                <a:gd name="connsiteY778" fmla="*/ 401002 h 1218057"/>
                <a:gd name="connsiteX779" fmla="*/ 138970 w 1468659"/>
                <a:gd name="connsiteY779" fmla="*/ 401384 h 1218057"/>
                <a:gd name="connsiteX780" fmla="*/ 141922 w 1468659"/>
                <a:gd name="connsiteY780" fmla="*/ 399383 h 1218057"/>
                <a:gd name="connsiteX781" fmla="*/ 143923 w 1468659"/>
                <a:gd name="connsiteY781" fmla="*/ 402336 h 1218057"/>
                <a:gd name="connsiteX782" fmla="*/ 140684 w 1468659"/>
                <a:gd name="connsiteY782" fmla="*/ 402717 h 1218057"/>
                <a:gd name="connsiteX783" fmla="*/ 133636 w 1468659"/>
                <a:gd name="connsiteY783" fmla="*/ 410051 h 1218057"/>
                <a:gd name="connsiteX784" fmla="*/ 133826 w 1468659"/>
                <a:gd name="connsiteY784" fmla="*/ 411575 h 1218057"/>
                <a:gd name="connsiteX785" fmla="*/ 137827 w 1468659"/>
                <a:gd name="connsiteY785" fmla="*/ 417576 h 1218057"/>
                <a:gd name="connsiteX786" fmla="*/ 136207 w 1468659"/>
                <a:gd name="connsiteY786" fmla="*/ 417767 h 1218057"/>
                <a:gd name="connsiteX787" fmla="*/ 129730 w 1468659"/>
                <a:gd name="connsiteY787" fmla="*/ 417005 h 1218057"/>
                <a:gd name="connsiteX788" fmla="*/ 129540 w 1468659"/>
                <a:gd name="connsiteY788" fmla="*/ 415385 h 1218057"/>
                <a:gd name="connsiteX789" fmla="*/ 124396 w 1468659"/>
                <a:gd name="connsiteY789" fmla="*/ 412813 h 1218057"/>
                <a:gd name="connsiteX790" fmla="*/ 123444 w 1468659"/>
                <a:gd name="connsiteY790" fmla="*/ 417767 h 1218057"/>
                <a:gd name="connsiteX791" fmla="*/ 125158 w 1468659"/>
                <a:gd name="connsiteY791" fmla="*/ 419100 h 1218057"/>
                <a:gd name="connsiteX792" fmla="*/ 126016 w 1468659"/>
                <a:gd name="connsiteY792" fmla="*/ 425482 h 1218057"/>
                <a:gd name="connsiteX793" fmla="*/ 119253 w 1468659"/>
                <a:gd name="connsiteY793" fmla="*/ 423100 h 1218057"/>
                <a:gd name="connsiteX794" fmla="*/ 113538 w 1468659"/>
                <a:gd name="connsiteY794" fmla="*/ 428625 h 1218057"/>
                <a:gd name="connsiteX795" fmla="*/ 115348 w 1468659"/>
                <a:gd name="connsiteY795" fmla="*/ 430054 h 1218057"/>
                <a:gd name="connsiteX796" fmla="*/ 115729 w 1468659"/>
                <a:gd name="connsiteY796" fmla="*/ 433197 h 1218057"/>
                <a:gd name="connsiteX797" fmla="*/ 112395 w 1468659"/>
                <a:gd name="connsiteY797" fmla="*/ 431959 h 1218057"/>
                <a:gd name="connsiteX798" fmla="*/ 110966 w 1468659"/>
                <a:gd name="connsiteY798" fmla="*/ 433768 h 1218057"/>
                <a:gd name="connsiteX799" fmla="*/ 111633 w 1468659"/>
                <a:gd name="connsiteY799" fmla="*/ 438531 h 1218057"/>
                <a:gd name="connsiteX800" fmla="*/ 114776 w 1468659"/>
                <a:gd name="connsiteY800" fmla="*/ 438150 h 1218057"/>
                <a:gd name="connsiteX801" fmla="*/ 113157 w 1468659"/>
                <a:gd name="connsiteY801" fmla="*/ 438340 h 1218057"/>
                <a:gd name="connsiteX802" fmla="*/ 114014 w 1468659"/>
                <a:gd name="connsiteY802" fmla="*/ 444627 h 1218057"/>
                <a:gd name="connsiteX803" fmla="*/ 116776 w 1468659"/>
                <a:gd name="connsiteY803" fmla="*/ 441103 h 1218057"/>
                <a:gd name="connsiteX804" fmla="*/ 116396 w 1468659"/>
                <a:gd name="connsiteY804" fmla="*/ 450723 h 1218057"/>
                <a:gd name="connsiteX805" fmla="*/ 124682 w 1468659"/>
                <a:gd name="connsiteY805" fmla="*/ 452914 h 1218057"/>
                <a:gd name="connsiteX806" fmla="*/ 126206 w 1468659"/>
                <a:gd name="connsiteY806" fmla="*/ 452723 h 1218057"/>
                <a:gd name="connsiteX807" fmla="*/ 125063 w 1468659"/>
                <a:gd name="connsiteY807" fmla="*/ 456057 h 1218057"/>
                <a:gd name="connsiteX808" fmla="*/ 128397 w 1468659"/>
                <a:gd name="connsiteY808" fmla="*/ 457200 h 1218057"/>
                <a:gd name="connsiteX809" fmla="*/ 129445 w 1468659"/>
                <a:gd name="connsiteY809" fmla="*/ 465106 h 1218057"/>
                <a:gd name="connsiteX810" fmla="*/ 132017 w 1468659"/>
                <a:gd name="connsiteY810" fmla="*/ 472821 h 1218057"/>
                <a:gd name="connsiteX811" fmla="*/ 127730 w 1468659"/>
                <a:gd name="connsiteY811" fmla="*/ 476536 h 1218057"/>
                <a:gd name="connsiteX812" fmla="*/ 122587 w 1468659"/>
                <a:gd name="connsiteY812" fmla="*/ 473964 h 1218057"/>
                <a:gd name="connsiteX813" fmla="*/ 119348 w 1468659"/>
                <a:gd name="connsiteY813" fmla="*/ 474440 h 1218057"/>
                <a:gd name="connsiteX814" fmla="*/ 112490 w 1468659"/>
                <a:gd name="connsiteY814" fmla="*/ 483298 h 1218057"/>
                <a:gd name="connsiteX815" fmla="*/ 113157 w 1468659"/>
                <a:gd name="connsiteY815" fmla="*/ 500825 h 1218057"/>
                <a:gd name="connsiteX816" fmla="*/ 113347 w 1468659"/>
                <a:gd name="connsiteY816" fmla="*/ 502444 h 1218057"/>
                <a:gd name="connsiteX817" fmla="*/ 108775 w 1468659"/>
                <a:gd name="connsiteY817" fmla="*/ 504634 h 1218057"/>
                <a:gd name="connsiteX818" fmla="*/ 110776 w 1468659"/>
                <a:gd name="connsiteY818" fmla="*/ 507587 h 1218057"/>
                <a:gd name="connsiteX819" fmla="*/ 112204 w 1468659"/>
                <a:gd name="connsiteY819" fmla="*/ 505777 h 1218057"/>
                <a:gd name="connsiteX820" fmla="*/ 112395 w 1468659"/>
                <a:gd name="connsiteY820" fmla="*/ 507397 h 1218057"/>
                <a:gd name="connsiteX821" fmla="*/ 115348 w 1468659"/>
                <a:gd name="connsiteY821" fmla="*/ 505396 h 1218057"/>
                <a:gd name="connsiteX822" fmla="*/ 115538 w 1468659"/>
                <a:gd name="connsiteY822" fmla="*/ 507016 h 1218057"/>
                <a:gd name="connsiteX823" fmla="*/ 112776 w 1468659"/>
                <a:gd name="connsiteY823" fmla="*/ 510540 h 1218057"/>
                <a:gd name="connsiteX824" fmla="*/ 111633 w 1468659"/>
                <a:gd name="connsiteY824" fmla="*/ 513874 h 1218057"/>
                <a:gd name="connsiteX825" fmla="*/ 110966 w 1468659"/>
                <a:gd name="connsiteY825" fmla="*/ 509111 h 1218057"/>
                <a:gd name="connsiteX826" fmla="*/ 109442 w 1468659"/>
                <a:gd name="connsiteY826" fmla="*/ 509397 h 1218057"/>
                <a:gd name="connsiteX827" fmla="*/ 105823 w 1468659"/>
                <a:gd name="connsiteY827" fmla="*/ 506635 h 1218057"/>
                <a:gd name="connsiteX828" fmla="*/ 103061 w 1468659"/>
                <a:gd name="connsiteY828" fmla="*/ 510159 h 1218057"/>
                <a:gd name="connsiteX829" fmla="*/ 101346 w 1468659"/>
                <a:gd name="connsiteY829" fmla="*/ 508825 h 1218057"/>
                <a:gd name="connsiteX830" fmla="*/ 96965 w 1468659"/>
                <a:gd name="connsiteY830" fmla="*/ 512540 h 1218057"/>
                <a:gd name="connsiteX831" fmla="*/ 88868 w 1468659"/>
                <a:gd name="connsiteY831" fmla="*/ 511969 h 1218057"/>
                <a:gd name="connsiteX832" fmla="*/ 89535 w 1468659"/>
                <a:gd name="connsiteY832" fmla="*/ 516731 h 1218057"/>
                <a:gd name="connsiteX833" fmla="*/ 86582 w 1468659"/>
                <a:gd name="connsiteY833" fmla="*/ 518731 h 1218057"/>
                <a:gd name="connsiteX834" fmla="*/ 86963 w 1468659"/>
                <a:gd name="connsiteY834" fmla="*/ 521875 h 1218057"/>
                <a:gd name="connsiteX835" fmla="*/ 84011 w 1468659"/>
                <a:gd name="connsiteY835" fmla="*/ 523780 h 1218057"/>
                <a:gd name="connsiteX836" fmla="*/ 79057 w 1468659"/>
                <a:gd name="connsiteY836" fmla="*/ 522827 h 1218057"/>
                <a:gd name="connsiteX837" fmla="*/ 78105 w 1468659"/>
                <a:gd name="connsiteY837" fmla="*/ 527780 h 1218057"/>
                <a:gd name="connsiteX838" fmla="*/ 68008 w 1468659"/>
                <a:gd name="connsiteY838" fmla="*/ 537115 h 1218057"/>
                <a:gd name="connsiteX839" fmla="*/ 66103 w 1468659"/>
                <a:gd name="connsiteY839" fmla="*/ 534162 h 1218057"/>
                <a:gd name="connsiteX840" fmla="*/ 64103 w 1468659"/>
                <a:gd name="connsiteY840" fmla="*/ 531209 h 1218057"/>
                <a:gd name="connsiteX841" fmla="*/ 59341 w 1468659"/>
                <a:gd name="connsiteY841" fmla="*/ 531781 h 1218057"/>
                <a:gd name="connsiteX842" fmla="*/ 50863 w 1468659"/>
                <a:gd name="connsiteY842" fmla="*/ 528066 h 1218057"/>
                <a:gd name="connsiteX843" fmla="*/ 53816 w 1468659"/>
                <a:gd name="connsiteY843" fmla="*/ 526066 h 1218057"/>
                <a:gd name="connsiteX844" fmla="*/ 53626 w 1468659"/>
                <a:gd name="connsiteY844" fmla="*/ 524447 h 1218057"/>
                <a:gd name="connsiteX845" fmla="*/ 40576 w 1468659"/>
                <a:gd name="connsiteY845" fmla="*/ 522922 h 1218057"/>
                <a:gd name="connsiteX846" fmla="*/ 39243 w 1468659"/>
                <a:gd name="connsiteY846" fmla="*/ 524732 h 1218057"/>
                <a:gd name="connsiteX847" fmla="*/ 39433 w 1468659"/>
                <a:gd name="connsiteY847" fmla="*/ 526256 h 1218057"/>
                <a:gd name="connsiteX848" fmla="*/ 46101 w 1468659"/>
                <a:gd name="connsiteY848" fmla="*/ 528638 h 1218057"/>
                <a:gd name="connsiteX849" fmla="*/ 48101 w 1468659"/>
                <a:gd name="connsiteY849" fmla="*/ 531590 h 1218057"/>
                <a:gd name="connsiteX850" fmla="*/ 46768 w 1468659"/>
                <a:gd name="connsiteY850" fmla="*/ 533400 h 1218057"/>
                <a:gd name="connsiteX851" fmla="*/ 43720 w 1468659"/>
                <a:gd name="connsiteY851" fmla="*/ 535400 h 1218057"/>
                <a:gd name="connsiteX852" fmla="*/ 41434 w 1468659"/>
                <a:gd name="connsiteY852" fmla="*/ 542068 h 1218057"/>
                <a:gd name="connsiteX853" fmla="*/ 41624 w 1468659"/>
                <a:gd name="connsiteY853" fmla="*/ 543687 h 1218057"/>
                <a:gd name="connsiteX854" fmla="*/ 40481 w 1468659"/>
                <a:gd name="connsiteY854" fmla="*/ 547021 h 1218057"/>
                <a:gd name="connsiteX855" fmla="*/ 39433 w 1468659"/>
                <a:gd name="connsiteY855" fmla="*/ 551974 h 1218057"/>
                <a:gd name="connsiteX856" fmla="*/ 42863 w 1468659"/>
                <a:gd name="connsiteY856" fmla="*/ 553117 h 1218057"/>
                <a:gd name="connsiteX857" fmla="*/ 44386 w 1468659"/>
                <a:gd name="connsiteY857" fmla="*/ 565785 h 1218057"/>
                <a:gd name="connsiteX858" fmla="*/ 43244 w 1468659"/>
                <a:gd name="connsiteY858" fmla="*/ 569119 h 1218057"/>
                <a:gd name="connsiteX859" fmla="*/ 32385 w 1468659"/>
                <a:gd name="connsiteY859" fmla="*/ 572072 h 1218057"/>
                <a:gd name="connsiteX860" fmla="*/ 32575 w 1468659"/>
                <a:gd name="connsiteY860" fmla="*/ 573691 h 1218057"/>
                <a:gd name="connsiteX861" fmla="*/ 35433 w 1468659"/>
                <a:gd name="connsiteY861" fmla="*/ 582930 h 1218057"/>
                <a:gd name="connsiteX862" fmla="*/ 42481 w 1468659"/>
                <a:gd name="connsiteY862" fmla="*/ 588455 h 1218057"/>
                <a:gd name="connsiteX863" fmla="*/ 44482 w 1468659"/>
                <a:gd name="connsiteY863" fmla="*/ 591407 h 1218057"/>
                <a:gd name="connsiteX864" fmla="*/ 42386 w 1468659"/>
                <a:gd name="connsiteY864" fmla="*/ 599694 h 1218057"/>
                <a:gd name="connsiteX865" fmla="*/ 50292 w 1468659"/>
                <a:gd name="connsiteY865" fmla="*/ 611505 h 1218057"/>
                <a:gd name="connsiteX866" fmla="*/ 51054 w 1468659"/>
                <a:gd name="connsiteY866" fmla="*/ 617792 h 1218057"/>
                <a:gd name="connsiteX867" fmla="*/ 49911 w 1468659"/>
                <a:gd name="connsiteY867" fmla="*/ 621221 h 1218057"/>
                <a:gd name="connsiteX868" fmla="*/ 47720 w 1468659"/>
                <a:gd name="connsiteY868" fmla="*/ 629507 h 1218057"/>
                <a:gd name="connsiteX869" fmla="*/ 34957 w 1468659"/>
                <a:gd name="connsiteY869" fmla="*/ 642366 h 1218057"/>
                <a:gd name="connsiteX870" fmla="*/ 31147 w 1468659"/>
                <a:gd name="connsiteY870" fmla="*/ 637984 h 1218057"/>
                <a:gd name="connsiteX871" fmla="*/ 27813 w 1468659"/>
                <a:gd name="connsiteY871" fmla="*/ 636842 h 1218057"/>
                <a:gd name="connsiteX872" fmla="*/ 25813 w 1468659"/>
                <a:gd name="connsiteY872" fmla="*/ 633889 h 1218057"/>
                <a:gd name="connsiteX873" fmla="*/ 24289 w 1468659"/>
                <a:gd name="connsiteY873" fmla="*/ 634079 h 1218057"/>
                <a:gd name="connsiteX874" fmla="*/ 24670 w 1468659"/>
                <a:gd name="connsiteY874" fmla="*/ 637222 h 1218057"/>
                <a:gd name="connsiteX875" fmla="*/ 15049 w 1468659"/>
                <a:gd name="connsiteY875" fmla="*/ 649700 h 1218057"/>
                <a:gd name="connsiteX876" fmla="*/ 13240 w 1468659"/>
                <a:gd name="connsiteY876" fmla="*/ 661130 h 1218057"/>
                <a:gd name="connsiteX877" fmla="*/ 5048 w 1468659"/>
                <a:gd name="connsiteY877" fmla="*/ 671798 h 1218057"/>
                <a:gd name="connsiteX878" fmla="*/ 7048 w 1468659"/>
                <a:gd name="connsiteY878" fmla="*/ 674751 h 1218057"/>
                <a:gd name="connsiteX879" fmla="*/ 6191 w 1468659"/>
                <a:gd name="connsiteY879" fmla="*/ 681228 h 1218057"/>
                <a:gd name="connsiteX880" fmla="*/ 6858 w 1468659"/>
                <a:gd name="connsiteY880" fmla="*/ 685990 h 1218057"/>
                <a:gd name="connsiteX881" fmla="*/ 1524 w 1468659"/>
                <a:gd name="connsiteY881" fmla="*/ 694658 h 1218057"/>
                <a:gd name="connsiteX882" fmla="*/ 2096 w 1468659"/>
                <a:gd name="connsiteY882" fmla="*/ 699421 h 1218057"/>
                <a:gd name="connsiteX883" fmla="*/ 0 w 1468659"/>
                <a:gd name="connsiteY883" fmla="*/ 707707 h 1218057"/>
                <a:gd name="connsiteX884" fmla="*/ 3905 w 1468659"/>
                <a:gd name="connsiteY884" fmla="*/ 713613 h 1218057"/>
                <a:gd name="connsiteX885" fmla="*/ 10668 w 1468659"/>
                <a:gd name="connsiteY885" fmla="*/ 715994 h 1218057"/>
                <a:gd name="connsiteX886" fmla="*/ 9715 w 1468659"/>
                <a:gd name="connsiteY886" fmla="*/ 720947 h 1218057"/>
                <a:gd name="connsiteX887" fmla="*/ 10668 w 1468659"/>
                <a:gd name="connsiteY887" fmla="*/ 728853 h 1218057"/>
                <a:gd name="connsiteX888" fmla="*/ 15621 w 1468659"/>
                <a:gd name="connsiteY888" fmla="*/ 729805 h 1218057"/>
                <a:gd name="connsiteX889" fmla="*/ 18383 w 1468659"/>
                <a:gd name="connsiteY889" fmla="*/ 726186 h 1218057"/>
                <a:gd name="connsiteX890" fmla="*/ 25527 w 1468659"/>
                <a:gd name="connsiteY890" fmla="*/ 731710 h 1218057"/>
                <a:gd name="connsiteX891" fmla="*/ 28289 w 1468659"/>
                <a:gd name="connsiteY891" fmla="*/ 728186 h 1218057"/>
                <a:gd name="connsiteX892" fmla="*/ 31242 w 1468659"/>
                <a:gd name="connsiteY892" fmla="*/ 726186 h 1218057"/>
                <a:gd name="connsiteX893" fmla="*/ 38957 w 1468659"/>
                <a:gd name="connsiteY893" fmla="*/ 736473 h 1218057"/>
                <a:gd name="connsiteX894" fmla="*/ 36767 w 1468659"/>
                <a:gd name="connsiteY894" fmla="*/ 744760 h 1218057"/>
                <a:gd name="connsiteX895" fmla="*/ 40957 w 1468659"/>
                <a:gd name="connsiteY895" fmla="*/ 752189 h 1218057"/>
                <a:gd name="connsiteX896" fmla="*/ 52006 w 1468659"/>
                <a:gd name="connsiteY896" fmla="*/ 763619 h 1218057"/>
                <a:gd name="connsiteX897" fmla="*/ 51435 w 1468659"/>
                <a:gd name="connsiteY897" fmla="*/ 758952 h 1218057"/>
                <a:gd name="connsiteX898" fmla="*/ 54388 w 1468659"/>
                <a:gd name="connsiteY898" fmla="*/ 756952 h 1218057"/>
                <a:gd name="connsiteX899" fmla="*/ 58483 w 1468659"/>
                <a:gd name="connsiteY899" fmla="*/ 751618 h 1218057"/>
                <a:gd name="connsiteX900" fmla="*/ 64960 w 1468659"/>
                <a:gd name="connsiteY900" fmla="*/ 752380 h 1218057"/>
                <a:gd name="connsiteX901" fmla="*/ 66770 w 1468659"/>
                <a:gd name="connsiteY901" fmla="*/ 753713 h 1218057"/>
                <a:gd name="connsiteX902" fmla="*/ 61055 w 1468659"/>
                <a:gd name="connsiteY902" fmla="*/ 759238 h 1218057"/>
                <a:gd name="connsiteX903" fmla="*/ 59912 w 1468659"/>
                <a:gd name="connsiteY903" fmla="*/ 762667 h 1218057"/>
                <a:gd name="connsiteX904" fmla="*/ 69818 w 1468659"/>
                <a:gd name="connsiteY904" fmla="*/ 777430 h 1218057"/>
                <a:gd name="connsiteX905" fmla="*/ 71247 w 1468659"/>
                <a:gd name="connsiteY905" fmla="*/ 788480 h 1218057"/>
                <a:gd name="connsiteX906" fmla="*/ 72771 w 1468659"/>
                <a:gd name="connsiteY906" fmla="*/ 788289 h 1218057"/>
                <a:gd name="connsiteX907" fmla="*/ 74771 w 1468659"/>
                <a:gd name="connsiteY907" fmla="*/ 791242 h 1218057"/>
                <a:gd name="connsiteX908" fmla="*/ 82486 w 1468659"/>
                <a:gd name="connsiteY908" fmla="*/ 814292 h 1218057"/>
                <a:gd name="connsiteX909" fmla="*/ 87630 w 1468659"/>
                <a:gd name="connsiteY909" fmla="*/ 816864 h 1218057"/>
                <a:gd name="connsiteX910" fmla="*/ 92773 w 1468659"/>
                <a:gd name="connsiteY910" fmla="*/ 819340 h 1218057"/>
                <a:gd name="connsiteX911" fmla="*/ 91630 w 1468659"/>
                <a:gd name="connsiteY911" fmla="*/ 822770 h 1218057"/>
                <a:gd name="connsiteX912" fmla="*/ 94202 w 1468659"/>
                <a:gd name="connsiteY912" fmla="*/ 830389 h 1218057"/>
                <a:gd name="connsiteX913" fmla="*/ 97726 w 1468659"/>
                <a:gd name="connsiteY913" fmla="*/ 833152 h 1218057"/>
                <a:gd name="connsiteX914" fmla="*/ 104108 w 1468659"/>
                <a:gd name="connsiteY914" fmla="*/ 832390 h 1218057"/>
                <a:gd name="connsiteX915" fmla="*/ 105823 w 1468659"/>
                <a:gd name="connsiteY915" fmla="*/ 833723 h 1218057"/>
                <a:gd name="connsiteX916" fmla="*/ 114871 w 1468659"/>
                <a:gd name="connsiteY916" fmla="*/ 829437 h 1218057"/>
                <a:gd name="connsiteX917" fmla="*/ 126778 w 1468659"/>
                <a:gd name="connsiteY917" fmla="*/ 834295 h 1218057"/>
                <a:gd name="connsiteX918" fmla="*/ 132683 w 1468659"/>
                <a:gd name="connsiteY918" fmla="*/ 830294 h 1218057"/>
                <a:gd name="connsiteX919" fmla="*/ 136779 w 1468659"/>
                <a:gd name="connsiteY919" fmla="*/ 824960 h 1218057"/>
                <a:gd name="connsiteX920" fmla="*/ 141922 w 1468659"/>
                <a:gd name="connsiteY920" fmla="*/ 827532 h 1218057"/>
                <a:gd name="connsiteX921" fmla="*/ 142970 w 1468659"/>
                <a:gd name="connsiteY921" fmla="*/ 835438 h 1218057"/>
                <a:gd name="connsiteX922" fmla="*/ 151067 w 1468659"/>
                <a:gd name="connsiteY922" fmla="*/ 848868 h 1218057"/>
                <a:gd name="connsiteX923" fmla="*/ 148685 w 1468659"/>
                <a:gd name="connsiteY923" fmla="*/ 855536 h 1218057"/>
                <a:gd name="connsiteX924" fmla="*/ 160020 w 1468659"/>
                <a:gd name="connsiteY924" fmla="*/ 881348 h 1218057"/>
                <a:gd name="connsiteX925" fmla="*/ 160401 w 1468659"/>
                <a:gd name="connsiteY925" fmla="*/ 884491 h 1218057"/>
                <a:gd name="connsiteX926" fmla="*/ 164401 w 1468659"/>
                <a:gd name="connsiteY926" fmla="*/ 890492 h 1218057"/>
                <a:gd name="connsiteX927" fmla="*/ 170688 w 1468659"/>
                <a:gd name="connsiteY927" fmla="*/ 889635 h 1218057"/>
                <a:gd name="connsiteX928" fmla="*/ 180594 w 1468659"/>
                <a:gd name="connsiteY928" fmla="*/ 891635 h 1218057"/>
                <a:gd name="connsiteX929" fmla="*/ 176594 w 1468659"/>
                <a:gd name="connsiteY929" fmla="*/ 898493 h 1218057"/>
                <a:gd name="connsiteX930" fmla="*/ 183737 w 1468659"/>
                <a:gd name="connsiteY930" fmla="*/ 904018 h 1218057"/>
                <a:gd name="connsiteX931" fmla="*/ 182975 w 1468659"/>
                <a:gd name="connsiteY931" fmla="*/ 910495 h 1218057"/>
                <a:gd name="connsiteX932" fmla="*/ 194881 w 1468659"/>
                <a:gd name="connsiteY932" fmla="*/ 928306 h 1218057"/>
                <a:gd name="connsiteX933" fmla="*/ 190405 w 1468659"/>
                <a:gd name="connsiteY933" fmla="*/ 943261 h 1218057"/>
                <a:gd name="connsiteX934" fmla="*/ 187833 w 1468659"/>
                <a:gd name="connsiteY934" fmla="*/ 948404 h 1218057"/>
                <a:gd name="connsiteX935" fmla="*/ 193357 w 1468659"/>
                <a:gd name="connsiteY935" fmla="*/ 954119 h 1218057"/>
                <a:gd name="connsiteX936" fmla="*/ 208597 w 1468659"/>
                <a:gd name="connsiteY936" fmla="*/ 960215 h 1218057"/>
                <a:gd name="connsiteX937" fmla="*/ 216217 w 1468659"/>
                <a:gd name="connsiteY937" fmla="*/ 957644 h 1218057"/>
                <a:gd name="connsiteX938" fmla="*/ 218408 w 1468659"/>
                <a:gd name="connsiteY938" fmla="*/ 962120 h 1218057"/>
                <a:gd name="connsiteX939" fmla="*/ 224504 w 1468659"/>
                <a:gd name="connsiteY939" fmla="*/ 959739 h 1218057"/>
                <a:gd name="connsiteX940" fmla="*/ 236220 w 1468659"/>
                <a:gd name="connsiteY940" fmla="*/ 963073 h 1218057"/>
                <a:gd name="connsiteX941" fmla="*/ 247079 w 1468659"/>
                <a:gd name="connsiteY941" fmla="*/ 972979 h 1218057"/>
                <a:gd name="connsiteX942" fmla="*/ 253937 w 1468659"/>
                <a:gd name="connsiteY942" fmla="*/ 976884 h 1218057"/>
                <a:gd name="connsiteX943" fmla="*/ 265462 w 1468659"/>
                <a:gd name="connsiteY943" fmla="*/ 991457 h 1218057"/>
                <a:gd name="connsiteX944" fmla="*/ 270986 w 1468659"/>
                <a:gd name="connsiteY944" fmla="*/ 997172 h 1218057"/>
                <a:gd name="connsiteX945" fmla="*/ 271367 w 1468659"/>
                <a:gd name="connsiteY945" fmla="*/ 1000315 h 1218057"/>
                <a:gd name="connsiteX946" fmla="*/ 274796 w 1468659"/>
                <a:gd name="connsiteY946" fmla="*/ 1001458 h 1218057"/>
                <a:gd name="connsiteX947" fmla="*/ 275368 w 1468659"/>
                <a:gd name="connsiteY947" fmla="*/ 1006221 h 1218057"/>
                <a:gd name="connsiteX948" fmla="*/ 286417 w 1468659"/>
                <a:gd name="connsiteY948" fmla="*/ 1017651 h 1218057"/>
                <a:gd name="connsiteX949" fmla="*/ 289560 w 1468659"/>
                <a:gd name="connsiteY949" fmla="*/ 1017270 h 1218057"/>
                <a:gd name="connsiteX950" fmla="*/ 293180 w 1468659"/>
                <a:gd name="connsiteY950" fmla="*/ 1019937 h 1218057"/>
                <a:gd name="connsiteX951" fmla="*/ 297275 w 1468659"/>
                <a:gd name="connsiteY951" fmla="*/ 1027462 h 1218057"/>
                <a:gd name="connsiteX952" fmla="*/ 306991 w 1468659"/>
                <a:gd name="connsiteY952" fmla="*/ 1027843 h 1218057"/>
                <a:gd name="connsiteX953" fmla="*/ 312515 w 1468659"/>
                <a:gd name="connsiteY953" fmla="*/ 1033558 h 1218057"/>
                <a:gd name="connsiteX954" fmla="*/ 317278 w 1468659"/>
                <a:gd name="connsiteY954" fmla="*/ 1032986 h 1218057"/>
                <a:gd name="connsiteX955" fmla="*/ 330327 w 1468659"/>
                <a:gd name="connsiteY955" fmla="*/ 1034510 h 1218057"/>
                <a:gd name="connsiteX956" fmla="*/ 333851 w 1468659"/>
                <a:gd name="connsiteY956" fmla="*/ 1037272 h 1218057"/>
                <a:gd name="connsiteX957" fmla="*/ 334804 w 1468659"/>
                <a:gd name="connsiteY957" fmla="*/ 1045178 h 1218057"/>
                <a:gd name="connsiteX958" fmla="*/ 336423 w 1468659"/>
                <a:gd name="connsiteY958" fmla="*/ 1044988 h 1218057"/>
                <a:gd name="connsiteX959" fmla="*/ 333851 w 1468659"/>
                <a:gd name="connsiteY959" fmla="*/ 1050036 h 1218057"/>
                <a:gd name="connsiteX960" fmla="*/ 340138 w 1468659"/>
                <a:gd name="connsiteY960" fmla="*/ 1049274 h 1218057"/>
                <a:gd name="connsiteX961" fmla="*/ 338995 w 1468659"/>
                <a:gd name="connsiteY961" fmla="*/ 1052608 h 1218057"/>
                <a:gd name="connsiteX962" fmla="*/ 344329 w 1468659"/>
                <a:gd name="connsiteY962" fmla="*/ 1056799 h 1218057"/>
                <a:gd name="connsiteX963" fmla="*/ 346520 w 1468659"/>
                <a:gd name="connsiteY963" fmla="*/ 1061275 h 1218057"/>
                <a:gd name="connsiteX964" fmla="*/ 344900 w 1468659"/>
                <a:gd name="connsiteY964" fmla="*/ 1061466 h 1218057"/>
                <a:gd name="connsiteX965" fmla="*/ 343567 w 1468659"/>
                <a:gd name="connsiteY965" fmla="*/ 1063276 h 1218057"/>
                <a:gd name="connsiteX966" fmla="*/ 350710 w 1468659"/>
                <a:gd name="connsiteY966" fmla="*/ 1068800 h 1218057"/>
                <a:gd name="connsiteX967" fmla="*/ 351092 w 1468659"/>
                <a:gd name="connsiteY967" fmla="*/ 1071944 h 1218057"/>
                <a:gd name="connsiteX968" fmla="*/ 354425 w 1468659"/>
                <a:gd name="connsiteY968" fmla="*/ 1073087 h 1218057"/>
                <a:gd name="connsiteX969" fmla="*/ 358997 w 1468659"/>
                <a:gd name="connsiteY969" fmla="*/ 1070896 h 1218057"/>
                <a:gd name="connsiteX970" fmla="*/ 365855 w 1468659"/>
                <a:gd name="connsiteY970" fmla="*/ 1074896 h 1218057"/>
                <a:gd name="connsiteX971" fmla="*/ 369284 w 1468659"/>
                <a:gd name="connsiteY971" fmla="*/ 1076039 h 1218057"/>
                <a:gd name="connsiteX972" fmla="*/ 368903 w 1468659"/>
                <a:gd name="connsiteY972" fmla="*/ 1085659 h 1218057"/>
                <a:gd name="connsiteX973" fmla="*/ 368141 w 1468659"/>
                <a:gd name="connsiteY973" fmla="*/ 1092232 h 1218057"/>
                <a:gd name="connsiteX974" fmla="*/ 364141 w 1468659"/>
                <a:gd name="connsiteY974" fmla="*/ 1099185 h 1218057"/>
                <a:gd name="connsiteX975" fmla="*/ 355663 w 1468659"/>
                <a:gd name="connsiteY975" fmla="*/ 1095375 h 1218057"/>
                <a:gd name="connsiteX976" fmla="*/ 343281 w 1468659"/>
                <a:gd name="connsiteY976" fmla="*/ 1098614 h 1218057"/>
                <a:gd name="connsiteX977" fmla="*/ 342709 w 1468659"/>
                <a:gd name="connsiteY977" fmla="*/ 1106710 h 1218057"/>
                <a:gd name="connsiteX978" fmla="*/ 338138 w 1468659"/>
                <a:gd name="connsiteY978" fmla="*/ 1108900 h 1218057"/>
                <a:gd name="connsiteX979" fmla="*/ 335375 w 1468659"/>
                <a:gd name="connsiteY979" fmla="*/ 1112425 h 1218057"/>
                <a:gd name="connsiteX980" fmla="*/ 333851 w 1468659"/>
                <a:gd name="connsiteY980" fmla="*/ 1112615 h 1218057"/>
                <a:gd name="connsiteX981" fmla="*/ 342900 w 1468659"/>
                <a:gd name="connsiteY981" fmla="*/ 1121092 h 1218057"/>
                <a:gd name="connsiteX982" fmla="*/ 343091 w 1468659"/>
                <a:gd name="connsiteY982" fmla="*/ 1122712 h 1218057"/>
                <a:gd name="connsiteX983" fmla="*/ 348425 w 1468659"/>
                <a:gd name="connsiteY983" fmla="*/ 1126807 h 1218057"/>
                <a:gd name="connsiteX984" fmla="*/ 347091 w 1468659"/>
                <a:gd name="connsiteY984" fmla="*/ 1128617 h 1218057"/>
                <a:gd name="connsiteX985" fmla="*/ 356521 w 1468659"/>
                <a:gd name="connsiteY985" fmla="*/ 1127379 h 1218057"/>
                <a:gd name="connsiteX986" fmla="*/ 359950 w 1468659"/>
                <a:gd name="connsiteY986" fmla="*/ 1128522 h 1218057"/>
                <a:gd name="connsiteX987" fmla="*/ 359569 w 1468659"/>
                <a:gd name="connsiteY987" fmla="*/ 1138238 h 1218057"/>
                <a:gd name="connsiteX988" fmla="*/ 354806 w 1468659"/>
                <a:gd name="connsiteY988" fmla="*/ 1138809 h 1218057"/>
                <a:gd name="connsiteX989" fmla="*/ 356806 w 1468659"/>
                <a:gd name="connsiteY989" fmla="*/ 1141762 h 1218057"/>
                <a:gd name="connsiteX990" fmla="*/ 355568 w 1468659"/>
                <a:gd name="connsiteY990" fmla="*/ 1145096 h 1218057"/>
                <a:gd name="connsiteX991" fmla="*/ 362331 w 1468659"/>
                <a:gd name="connsiteY991" fmla="*/ 1147477 h 1218057"/>
                <a:gd name="connsiteX992" fmla="*/ 362712 w 1468659"/>
                <a:gd name="connsiteY992" fmla="*/ 1150620 h 1218057"/>
                <a:gd name="connsiteX993" fmla="*/ 364903 w 1468659"/>
                <a:gd name="connsiteY993" fmla="*/ 1155192 h 1218057"/>
                <a:gd name="connsiteX994" fmla="*/ 370808 w 1468659"/>
                <a:gd name="connsiteY994" fmla="*/ 1151191 h 1218057"/>
                <a:gd name="connsiteX995" fmla="*/ 375761 w 1468659"/>
                <a:gd name="connsiteY995" fmla="*/ 1152239 h 1218057"/>
                <a:gd name="connsiteX996" fmla="*/ 373189 w 1468659"/>
                <a:gd name="connsiteY996" fmla="*/ 1157288 h 1218057"/>
                <a:gd name="connsiteX997" fmla="*/ 374237 w 1468659"/>
                <a:gd name="connsiteY997" fmla="*/ 1165193 h 1218057"/>
                <a:gd name="connsiteX998" fmla="*/ 375761 w 1468659"/>
                <a:gd name="connsiteY998" fmla="*/ 1165003 h 1218057"/>
                <a:gd name="connsiteX999" fmla="*/ 378333 w 1468659"/>
                <a:gd name="connsiteY999" fmla="*/ 1159859 h 1218057"/>
                <a:gd name="connsiteX1000" fmla="*/ 394525 w 1468659"/>
                <a:gd name="connsiteY1000" fmla="*/ 1161002 h 1218057"/>
                <a:gd name="connsiteX1001" fmla="*/ 394525 w 1468659"/>
                <a:gd name="connsiteY1001" fmla="*/ 1161002 h 1218057"/>
                <a:gd name="connsiteX1002" fmla="*/ 396335 w 1468659"/>
                <a:gd name="connsiteY1002" fmla="*/ 1162431 h 1218057"/>
                <a:gd name="connsiteX1003" fmla="*/ 393954 w 1468659"/>
                <a:gd name="connsiteY1003" fmla="*/ 1169098 h 1218057"/>
                <a:gd name="connsiteX1004" fmla="*/ 400812 w 1468659"/>
                <a:gd name="connsiteY1004" fmla="*/ 1173004 h 1218057"/>
                <a:gd name="connsiteX1005" fmla="*/ 410337 w 1468659"/>
                <a:gd name="connsiteY1005" fmla="*/ 1171861 h 1218057"/>
                <a:gd name="connsiteX1006" fmla="*/ 420529 w 1468659"/>
                <a:gd name="connsiteY1006" fmla="*/ 1164146 h 1218057"/>
                <a:gd name="connsiteX1007" fmla="*/ 429101 w 1468659"/>
                <a:gd name="connsiteY1007" fmla="*/ 1167860 h 1218057"/>
                <a:gd name="connsiteX1008" fmla="*/ 435197 w 1468659"/>
                <a:gd name="connsiteY1008" fmla="*/ 1165479 h 1218057"/>
                <a:gd name="connsiteX1009" fmla="*/ 440531 w 1468659"/>
                <a:gd name="connsiteY1009" fmla="*/ 1169575 h 1218057"/>
                <a:gd name="connsiteX1010" fmla="*/ 442055 w 1468659"/>
                <a:gd name="connsiteY1010" fmla="*/ 1169384 h 1218057"/>
                <a:gd name="connsiteX1011" fmla="*/ 442722 w 1468659"/>
                <a:gd name="connsiteY1011" fmla="*/ 1174147 h 1218057"/>
                <a:gd name="connsiteX1012" fmla="*/ 451961 w 1468659"/>
                <a:gd name="connsiteY1012" fmla="*/ 1171384 h 1218057"/>
                <a:gd name="connsiteX1013" fmla="*/ 453580 w 1468659"/>
                <a:gd name="connsiteY1013" fmla="*/ 1171099 h 1218057"/>
                <a:gd name="connsiteX1014" fmla="*/ 453295 w 1468659"/>
                <a:gd name="connsiteY1014" fmla="*/ 1169575 h 1218057"/>
                <a:gd name="connsiteX1015" fmla="*/ 456533 w 1468659"/>
                <a:gd name="connsiteY1015" fmla="*/ 1169194 h 1218057"/>
                <a:gd name="connsiteX1016" fmla="*/ 459867 w 1468659"/>
                <a:gd name="connsiteY1016" fmla="*/ 1170337 h 1218057"/>
                <a:gd name="connsiteX1017" fmla="*/ 466344 w 1468659"/>
                <a:gd name="connsiteY1017" fmla="*/ 1171099 h 1218057"/>
                <a:gd name="connsiteX1018" fmla="*/ 479965 w 1468659"/>
                <a:gd name="connsiteY1018" fmla="*/ 1177385 h 1218057"/>
                <a:gd name="connsiteX1019" fmla="*/ 488251 w 1468659"/>
                <a:gd name="connsiteY1019" fmla="*/ 1179576 h 1218057"/>
                <a:gd name="connsiteX1020" fmla="*/ 496824 w 1468659"/>
                <a:gd name="connsiteY1020" fmla="*/ 1183291 h 1218057"/>
                <a:gd name="connsiteX1021" fmla="*/ 497396 w 1468659"/>
                <a:gd name="connsiteY1021" fmla="*/ 1188053 h 1218057"/>
                <a:gd name="connsiteX1022" fmla="*/ 511207 w 1468659"/>
                <a:gd name="connsiteY1022" fmla="*/ 1183005 h 1218057"/>
                <a:gd name="connsiteX1023" fmla="*/ 521017 w 1468659"/>
                <a:gd name="connsiteY1023" fmla="*/ 1185005 h 1218057"/>
                <a:gd name="connsiteX1024" fmla="*/ 527018 w 1468659"/>
                <a:gd name="connsiteY1024" fmla="*/ 1193864 h 1218057"/>
                <a:gd name="connsiteX1025" fmla="*/ 549307 w 1468659"/>
                <a:gd name="connsiteY1025" fmla="*/ 1205484 h 1218057"/>
                <a:gd name="connsiteX1026" fmla="*/ 555879 w 1468659"/>
                <a:gd name="connsiteY1026" fmla="*/ 1206246 h 1218057"/>
                <a:gd name="connsiteX1027" fmla="*/ 558832 w 1468659"/>
                <a:gd name="connsiteY1027" fmla="*/ 1204246 h 1218057"/>
                <a:gd name="connsiteX1028" fmla="*/ 560165 w 1468659"/>
                <a:gd name="connsiteY1028" fmla="*/ 1215295 h 1218057"/>
                <a:gd name="connsiteX1029" fmla="*/ 563785 w 1468659"/>
                <a:gd name="connsiteY1029" fmla="*/ 1218057 h 1218057"/>
                <a:gd name="connsiteX1030" fmla="*/ 571405 w 1468659"/>
                <a:gd name="connsiteY1030" fmla="*/ 1215485 h 1218057"/>
                <a:gd name="connsiteX1031" fmla="*/ 573786 w 1468659"/>
                <a:gd name="connsiteY1031" fmla="*/ 1208723 h 1218057"/>
                <a:gd name="connsiteX1032" fmla="*/ 579882 w 1468659"/>
                <a:gd name="connsiteY1032" fmla="*/ 1206341 h 1218057"/>
                <a:gd name="connsiteX1033" fmla="*/ 579120 w 1468659"/>
                <a:gd name="connsiteY1033" fmla="*/ 1200055 h 1218057"/>
                <a:gd name="connsiteX1034" fmla="*/ 583025 w 1468659"/>
                <a:gd name="connsiteY1034" fmla="*/ 1193102 h 1218057"/>
                <a:gd name="connsiteX1035" fmla="*/ 589312 w 1468659"/>
                <a:gd name="connsiteY1035" fmla="*/ 1192339 h 1218057"/>
                <a:gd name="connsiteX1036" fmla="*/ 591693 w 1468659"/>
                <a:gd name="connsiteY1036" fmla="*/ 1198436 h 1218057"/>
                <a:gd name="connsiteX1037" fmla="*/ 595122 w 1468659"/>
                <a:gd name="connsiteY1037" fmla="*/ 1199579 h 1218057"/>
                <a:gd name="connsiteX1038" fmla="*/ 599789 w 1468659"/>
                <a:gd name="connsiteY1038" fmla="*/ 1199007 h 1218057"/>
                <a:gd name="connsiteX1039" fmla="*/ 604361 w 1468659"/>
                <a:gd name="connsiteY1039" fmla="*/ 1196816 h 1218057"/>
                <a:gd name="connsiteX1040" fmla="*/ 608267 w 1468659"/>
                <a:gd name="connsiteY1040" fmla="*/ 1189958 h 1218057"/>
                <a:gd name="connsiteX1041" fmla="*/ 606076 w 1468659"/>
                <a:gd name="connsiteY1041" fmla="*/ 1185386 h 1218057"/>
                <a:gd name="connsiteX1042" fmla="*/ 604076 w 1468659"/>
                <a:gd name="connsiteY1042" fmla="*/ 1182433 h 1218057"/>
                <a:gd name="connsiteX1043" fmla="*/ 602933 w 1468659"/>
                <a:gd name="connsiteY1043" fmla="*/ 1173004 h 1218057"/>
                <a:gd name="connsiteX1044" fmla="*/ 605885 w 1468659"/>
                <a:gd name="connsiteY1044" fmla="*/ 1171004 h 1218057"/>
                <a:gd name="connsiteX1045" fmla="*/ 609409 w 1468659"/>
                <a:gd name="connsiteY1045" fmla="*/ 1173766 h 1218057"/>
                <a:gd name="connsiteX1046" fmla="*/ 615696 w 1468659"/>
                <a:gd name="connsiteY1046" fmla="*/ 1172908 h 1218057"/>
                <a:gd name="connsiteX1047" fmla="*/ 617315 w 1468659"/>
                <a:gd name="connsiteY1047" fmla="*/ 1172718 h 1218057"/>
                <a:gd name="connsiteX1048" fmla="*/ 623792 w 1468659"/>
                <a:gd name="connsiteY1048" fmla="*/ 1173480 h 1218057"/>
                <a:gd name="connsiteX1049" fmla="*/ 630746 w 1468659"/>
                <a:gd name="connsiteY1049" fmla="*/ 1177481 h 1218057"/>
                <a:gd name="connsiteX1050" fmla="*/ 635698 w 1468659"/>
                <a:gd name="connsiteY1050" fmla="*/ 1178433 h 1218057"/>
                <a:gd name="connsiteX1051" fmla="*/ 637604 w 1468659"/>
                <a:gd name="connsiteY1051" fmla="*/ 1168527 h 1218057"/>
                <a:gd name="connsiteX1052" fmla="*/ 643509 w 1468659"/>
                <a:gd name="connsiteY1052" fmla="*/ 1164527 h 1218057"/>
                <a:gd name="connsiteX1053" fmla="*/ 644271 w 1468659"/>
                <a:gd name="connsiteY1053" fmla="*/ 1158049 h 1218057"/>
                <a:gd name="connsiteX1054" fmla="*/ 648081 w 1468659"/>
                <a:gd name="connsiteY1054" fmla="*/ 1149572 h 1218057"/>
                <a:gd name="connsiteX1055" fmla="*/ 647033 w 1468659"/>
                <a:gd name="connsiteY1055" fmla="*/ 1141666 h 1218057"/>
                <a:gd name="connsiteX1056" fmla="*/ 651129 w 1468659"/>
                <a:gd name="connsiteY1056" fmla="*/ 1136332 h 1218057"/>
                <a:gd name="connsiteX1057" fmla="*/ 654558 w 1468659"/>
                <a:gd name="connsiteY1057" fmla="*/ 1137475 h 1218057"/>
                <a:gd name="connsiteX1058" fmla="*/ 651701 w 1468659"/>
                <a:gd name="connsiteY1058" fmla="*/ 1128236 h 1218057"/>
                <a:gd name="connsiteX1059" fmla="*/ 644462 w 1468659"/>
                <a:gd name="connsiteY1059" fmla="*/ 1121188 h 1218057"/>
                <a:gd name="connsiteX1060" fmla="*/ 643604 w 1468659"/>
                <a:gd name="connsiteY1060" fmla="*/ 1114806 h 1218057"/>
                <a:gd name="connsiteX1061" fmla="*/ 651510 w 1468659"/>
                <a:gd name="connsiteY1061" fmla="*/ 1113854 h 1218057"/>
                <a:gd name="connsiteX1062" fmla="*/ 654844 w 1468659"/>
                <a:gd name="connsiteY1062" fmla="*/ 1114997 h 1218057"/>
                <a:gd name="connsiteX1063" fmla="*/ 662559 w 1468659"/>
                <a:gd name="connsiteY1063" fmla="*/ 1112425 h 1218057"/>
                <a:gd name="connsiteX1064" fmla="*/ 662368 w 1468659"/>
                <a:gd name="connsiteY1064" fmla="*/ 1110901 h 1218057"/>
                <a:gd name="connsiteX1065" fmla="*/ 664559 w 1468659"/>
                <a:gd name="connsiteY1065" fmla="*/ 1115378 h 1218057"/>
                <a:gd name="connsiteX1066" fmla="*/ 668084 w 1468659"/>
                <a:gd name="connsiteY1066" fmla="*/ 1118140 h 1218057"/>
                <a:gd name="connsiteX1067" fmla="*/ 666559 w 1468659"/>
                <a:gd name="connsiteY1067" fmla="*/ 1118330 h 1218057"/>
                <a:gd name="connsiteX1068" fmla="*/ 666750 w 1468659"/>
                <a:gd name="connsiteY1068" fmla="*/ 1119949 h 1218057"/>
                <a:gd name="connsiteX1069" fmla="*/ 672275 w 1468659"/>
                <a:gd name="connsiteY1069" fmla="*/ 1125664 h 1218057"/>
                <a:gd name="connsiteX1070" fmla="*/ 679133 w 1468659"/>
                <a:gd name="connsiteY1070" fmla="*/ 1129570 h 1218057"/>
                <a:gd name="connsiteX1071" fmla="*/ 681514 w 1468659"/>
                <a:gd name="connsiteY1071" fmla="*/ 1135666 h 1218057"/>
                <a:gd name="connsiteX1072" fmla="*/ 680371 w 1468659"/>
                <a:gd name="connsiteY1072" fmla="*/ 1138999 h 1218057"/>
                <a:gd name="connsiteX1073" fmla="*/ 683895 w 1468659"/>
                <a:gd name="connsiteY1073" fmla="*/ 1141762 h 1218057"/>
                <a:gd name="connsiteX1074" fmla="*/ 687896 w 1468659"/>
                <a:gd name="connsiteY1074" fmla="*/ 1147667 h 1218057"/>
                <a:gd name="connsiteX1075" fmla="*/ 692277 w 1468659"/>
                <a:gd name="connsiteY1075" fmla="*/ 1143953 h 1218057"/>
                <a:gd name="connsiteX1076" fmla="*/ 698563 w 1468659"/>
                <a:gd name="connsiteY1076" fmla="*/ 1143095 h 1218057"/>
                <a:gd name="connsiteX1077" fmla="*/ 704088 w 1468659"/>
                <a:gd name="connsiteY1077" fmla="*/ 1148810 h 1218057"/>
                <a:gd name="connsiteX1078" fmla="*/ 718661 w 1468659"/>
                <a:gd name="connsiteY1078" fmla="*/ 1150144 h 1218057"/>
                <a:gd name="connsiteX1079" fmla="*/ 720662 w 1468659"/>
                <a:gd name="connsiteY1079" fmla="*/ 1153097 h 1218057"/>
                <a:gd name="connsiteX1080" fmla="*/ 723043 w 1468659"/>
                <a:gd name="connsiteY1080" fmla="*/ 1159288 h 1218057"/>
                <a:gd name="connsiteX1081" fmla="*/ 728377 w 1468659"/>
                <a:gd name="connsiteY1081" fmla="*/ 1163383 h 1218057"/>
                <a:gd name="connsiteX1082" fmla="*/ 731330 w 1468659"/>
                <a:gd name="connsiteY1082" fmla="*/ 1161383 h 1218057"/>
                <a:gd name="connsiteX1083" fmla="*/ 730758 w 1468659"/>
                <a:gd name="connsiteY1083" fmla="*/ 1156716 h 1218057"/>
                <a:gd name="connsiteX1084" fmla="*/ 733901 w 1468659"/>
                <a:gd name="connsiteY1084" fmla="*/ 1156240 h 1218057"/>
                <a:gd name="connsiteX1085" fmla="*/ 736854 w 1468659"/>
                <a:gd name="connsiteY1085" fmla="*/ 1154335 h 1218057"/>
                <a:gd name="connsiteX1086" fmla="*/ 739997 w 1468659"/>
                <a:gd name="connsiteY1086" fmla="*/ 1153858 h 1218057"/>
                <a:gd name="connsiteX1087" fmla="*/ 744093 w 1468659"/>
                <a:gd name="connsiteY1087" fmla="*/ 1148524 h 1218057"/>
                <a:gd name="connsiteX1088" fmla="*/ 750475 w 1468659"/>
                <a:gd name="connsiteY1088" fmla="*/ 1147763 h 1218057"/>
                <a:gd name="connsiteX1089" fmla="*/ 755713 w 1468659"/>
                <a:gd name="connsiteY1089" fmla="*/ 1139095 h 1218057"/>
                <a:gd name="connsiteX1090" fmla="*/ 758476 w 1468659"/>
                <a:gd name="connsiteY1090" fmla="*/ 1135475 h 1218057"/>
                <a:gd name="connsiteX1091" fmla="*/ 764858 w 1468659"/>
                <a:gd name="connsiteY1091" fmla="*/ 1134713 h 1218057"/>
                <a:gd name="connsiteX1092" fmla="*/ 769144 w 1468659"/>
                <a:gd name="connsiteY1092" fmla="*/ 1143762 h 1218057"/>
                <a:gd name="connsiteX1093" fmla="*/ 772954 w 1468659"/>
                <a:gd name="connsiteY1093" fmla="*/ 1160907 h 1218057"/>
                <a:gd name="connsiteX1094" fmla="*/ 776383 w 1468659"/>
                <a:gd name="connsiteY1094" fmla="*/ 1162050 h 1218057"/>
                <a:gd name="connsiteX1095" fmla="*/ 779717 w 1468659"/>
                <a:gd name="connsiteY1095" fmla="*/ 1163288 h 1218057"/>
                <a:gd name="connsiteX1096" fmla="*/ 790099 w 1468659"/>
                <a:gd name="connsiteY1096" fmla="*/ 1157097 h 1218057"/>
                <a:gd name="connsiteX1097" fmla="*/ 796671 w 1468659"/>
                <a:gd name="connsiteY1097" fmla="*/ 1170718 h 1218057"/>
                <a:gd name="connsiteX1098" fmla="*/ 802291 w 1468659"/>
                <a:gd name="connsiteY1098" fmla="*/ 1189291 h 1218057"/>
                <a:gd name="connsiteX1099" fmla="*/ 816483 w 1468659"/>
                <a:gd name="connsiteY1099" fmla="*/ 1187482 h 1218057"/>
                <a:gd name="connsiteX1100" fmla="*/ 820769 w 1468659"/>
                <a:gd name="connsiteY1100" fmla="*/ 1183672 h 1218057"/>
                <a:gd name="connsiteX1101" fmla="*/ 821150 w 1468659"/>
                <a:gd name="connsiteY1101" fmla="*/ 1186815 h 1218057"/>
                <a:gd name="connsiteX1102" fmla="*/ 824103 w 1468659"/>
                <a:gd name="connsiteY1102" fmla="*/ 1184910 h 1218057"/>
                <a:gd name="connsiteX1103" fmla="*/ 829437 w 1468659"/>
                <a:gd name="connsiteY1103" fmla="*/ 1189006 h 1218057"/>
                <a:gd name="connsiteX1104" fmla="*/ 833628 w 1468659"/>
                <a:gd name="connsiteY1104" fmla="*/ 1183672 h 1218057"/>
                <a:gd name="connsiteX1105" fmla="*/ 832771 w 1468659"/>
                <a:gd name="connsiteY1105" fmla="*/ 1177385 h 1218057"/>
                <a:gd name="connsiteX1106" fmla="*/ 837343 w 1468659"/>
                <a:gd name="connsiteY1106" fmla="*/ 1175195 h 1218057"/>
                <a:gd name="connsiteX1107" fmla="*/ 836962 w 1468659"/>
                <a:gd name="connsiteY1107" fmla="*/ 1172051 h 1218057"/>
                <a:gd name="connsiteX1108" fmla="*/ 844201 w 1468659"/>
                <a:gd name="connsiteY1108" fmla="*/ 1166241 h 1218057"/>
                <a:gd name="connsiteX1109" fmla="*/ 838676 w 1468659"/>
                <a:gd name="connsiteY1109" fmla="*/ 1147763 h 1218057"/>
                <a:gd name="connsiteX1110" fmla="*/ 845058 w 1468659"/>
                <a:gd name="connsiteY1110" fmla="*/ 1122902 h 1218057"/>
                <a:gd name="connsiteX1111" fmla="*/ 843534 w 1468659"/>
                <a:gd name="connsiteY1111" fmla="*/ 1123093 h 1218057"/>
                <a:gd name="connsiteX1112" fmla="*/ 841915 w 1468659"/>
                <a:gd name="connsiteY1112" fmla="*/ 1110424 h 1218057"/>
                <a:gd name="connsiteX1113" fmla="*/ 837152 w 1468659"/>
                <a:gd name="connsiteY1113" fmla="*/ 1110996 h 1218057"/>
                <a:gd name="connsiteX1114" fmla="*/ 844582 w 1468659"/>
                <a:gd name="connsiteY1114" fmla="*/ 1081183 h 1218057"/>
                <a:gd name="connsiteX1115" fmla="*/ 847344 w 1468659"/>
                <a:gd name="connsiteY1115" fmla="*/ 1077658 h 1218057"/>
                <a:gd name="connsiteX1116" fmla="*/ 847725 w 1468659"/>
                <a:gd name="connsiteY1116" fmla="*/ 1068038 h 1218057"/>
                <a:gd name="connsiteX1117" fmla="*/ 854202 w 1468659"/>
                <a:gd name="connsiteY1117" fmla="*/ 1055941 h 1218057"/>
                <a:gd name="connsiteX1118" fmla="*/ 856964 w 1468659"/>
                <a:gd name="connsiteY1118" fmla="*/ 1052417 h 1218057"/>
                <a:gd name="connsiteX1119" fmla="*/ 867823 w 1468659"/>
                <a:gd name="connsiteY1119" fmla="*/ 1049369 h 1218057"/>
                <a:gd name="connsiteX1120" fmla="*/ 870204 w 1468659"/>
                <a:gd name="connsiteY1120" fmla="*/ 1042702 h 1218057"/>
                <a:gd name="connsiteX1121" fmla="*/ 881253 w 1468659"/>
                <a:gd name="connsiteY1121" fmla="*/ 1041273 h 1218057"/>
                <a:gd name="connsiteX1122" fmla="*/ 889921 w 1468659"/>
                <a:gd name="connsiteY1122" fmla="*/ 1033748 h 1218057"/>
                <a:gd name="connsiteX1123" fmla="*/ 890873 w 1468659"/>
                <a:gd name="connsiteY1123" fmla="*/ 1028795 h 1218057"/>
                <a:gd name="connsiteX1124" fmla="*/ 893635 w 1468659"/>
                <a:gd name="connsiteY1124" fmla="*/ 1025271 h 1218057"/>
                <a:gd name="connsiteX1125" fmla="*/ 894588 w 1468659"/>
                <a:gd name="connsiteY1125" fmla="*/ 1020318 h 1218057"/>
                <a:gd name="connsiteX1126" fmla="*/ 899160 w 1468659"/>
                <a:gd name="connsiteY1126" fmla="*/ 1018127 h 1218057"/>
                <a:gd name="connsiteX1127" fmla="*/ 898874 w 1468659"/>
                <a:gd name="connsiteY1127" fmla="*/ 1016603 h 1218057"/>
                <a:gd name="connsiteX1128" fmla="*/ 900684 w 1468659"/>
                <a:gd name="connsiteY1128" fmla="*/ 1017937 h 1218057"/>
                <a:gd name="connsiteX1129" fmla="*/ 905256 w 1468659"/>
                <a:gd name="connsiteY1129" fmla="*/ 1015746 h 1218057"/>
                <a:gd name="connsiteX1130" fmla="*/ 900113 w 1468659"/>
                <a:gd name="connsiteY1130" fmla="*/ 1000411 h 1218057"/>
                <a:gd name="connsiteX1131" fmla="*/ 907733 w 1468659"/>
                <a:gd name="connsiteY1131" fmla="*/ 984980 h 1218057"/>
                <a:gd name="connsiteX1132" fmla="*/ 906875 w 1468659"/>
                <a:gd name="connsiteY1132" fmla="*/ 978694 h 1218057"/>
                <a:gd name="connsiteX1133" fmla="*/ 904494 w 1468659"/>
                <a:gd name="connsiteY1133" fmla="*/ 972598 h 1218057"/>
                <a:gd name="connsiteX1134" fmla="*/ 905923 w 1468659"/>
                <a:gd name="connsiteY1134" fmla="*/ 970788 h 1218057"/>
                <a:gd name="connsiteX1135" fmla="*/ 905066 w 1468659"/>
                <a:gd name="connsiteY1135" fmla="*/ 964502 h 1218057"/>
                <a:gd name="connsiteX1136" fmla="*/ 912781 w 1468659"/>
                <a:gd name="connsiteY1136" fmla="*/ 961834 h 1218057"/>
                <a:gd name="connsiteX1137" fmla="*/ 915734 w 1468659"/>
                <a:gd name="connsiteY1137" fmla="*/ 959930 h 1218057"/>
                <a:gd name="connsiteX1138" fmla="*/ 920877 w 1468659"/>
                <a:gd name="connsiteY1138" fmla="*/ 962406 h 1218057"/>
                <a:gd name="connsiteX1139" fmla="*/ 927163 w 1468659"/>
                <a:gd name="connsiteY1139" fmla="*/ 961644 h 1218057"/>
                <a:gd name="connsiteX1140" fmla="*/ 929926 w 1468659"/>
                <a:gd name="connsiteY1140" fmla="*/ 958120 h 1218057"/>
                <a:gd name="connsiteX1141" fmla="*/ 932307 w 1468659"/>
                <a:gd name="connsiteY1141" fmla="*/ 964216 h 1218057"/>
                <a:gd name="connsiteX1142" fmla="*/ 932307 w 1468659"/>
                <a:gd name="connsiteY1142" fmla="*/ 964216 h 1218057"/>
                <a:gd name="connsiteX1143" fmla="*/ 933736 w 1468659"/>
                <a:gd name="connsiteY1143" fmla="*/ 962406 h 1218057"/>
                <a:gd name="connsiteX1144" fmla="*/ 935736 w 1468659"/>
                <a:gd name="connsiteY1144" fmla="*/ 965359 h 1218057"/>
                <a:gd name="connsiteX1145" fmla="*/ 939260 w 1468659"/>
                <a:gd name="connsiteY1145" fmla="*/ 968121 h 1218057"/>
                <a:gd name="connsiteX1146" fmla="*/ 940594 w 1468659"/>
                <a:gd name="connsiteY1146" fmla="*/ 966311 h 1218057"/>
                <a:gd name="connsiteX1147" fmla="*/ 944023 w 1468659"/>
                <a:gd name="connsiteY1147" fmla="*/ 967549 h 1218057"/>
                <a:gd name="connsiteX1148" fmla="*/ 948118 w 1468659"/>
                <a:gd name="connsiteY1148" fmla="*/ 962215 h 1218057"/>
                <a:gd name="connsiteX1149" fmla="*/ 953072 w 1468659"/>
                <a:gd name="connsiteY1149" fmla="*/ 963168 h 1218057"/>
                <a:gd name="connsiteX1150" fmla="*/ 959930 w 1468659"/>
                <a:gd name="connsiteY1150" fmla="*/ 967073 h 1218057"/>
                <a:gd name="connsiteX1151" fmla="*/ 958977 w 1468659"/>
                <a:gd name="connsiteY1151" fmla="*/ 972026 h 1218057"/>
                <a:gd name="connsiteX1152" fmla="*/ 960787 w 1468659"/>
                <a:gd name="connsiteY1152" fmla="*/ 973455 h 1218057"/>
                <a:gd name="connsiteX1153" fmla="*/ 968693 w 1468659"/>
                <a:gd name="connsiteY1153" fmla="*/ 972407 h 1218057"/>
                <a:gd name="connsiteX1154" fmla="*/ 972217 w 1468659"/>
                <a:gd name="connsiteY1154" fmla="*/ 975170 h 1218057"/>
                <a:gd name="connsiteX1155" fmla="*/ 977360 w 1468659"/>
                <a:gd name="connsiteY1155" fmla="*/ 977741 h 1218057"/>
                <a:gd name="connsiteX1156" fmla="*/ 981932 w 1468659"/>
                <a:gd name="connsiteY1156" fmla="*/ 975550 h 1218057"/>
                <a:gd name="connsiteX1157" fmla="*/ 988790 w 1468659"/>
                <a:gd name="connsiteY1157" fmla="*/ 979456 h 1218057"/>
                <a:gd name="connsiteX1158" fmla="*/ 993743 w 1468659"/>
                <a:gd name="connsiteY1158" fmla="*/ 980408 h 1218057"/>
                <a:gd name="connsiteX1159" fmla="*/ 997458 w 1468659"/>
                <a:gd name="connsiteY1159" fmla="*/ 984790 h 1218057"/>
                <a:gd name="connsiteX1160" fmla="*/ 1002411 w 1468659"/>
                <a:gd name="connsiteY1160" fmla="*/ 985742 h 1218057"/>
                <a:gd name="connsiteX1161" fmla="*/ 1005364 w 1468659"/>
                <a:gd name="connsiteY1161" fmla="*/ 983742 h 1218057"/>
                <a:gd name="connsiteX1162" fmla="*/ 1012508 w 1468659"/>
                <a:gd name="connsiteY1162" fmla="*/ 989266 h 1218057"/>
                <a:gd name="connsiteX1163" fmla="*/ 1015079 w 1468659"/>
                <a:gd name="connsiteY1163" fmla="*/ 984123 h 1218057"/>
                <a:gd name="connsiteX1164" fmla="*/ 1018222 w 1468659"/>
                <a:gd name="connsiteY1164" fmla="*/ 983742 h 1218057"/>
                <a:gd name="connsiteX1165" fmla="*/ 1023938 w 1468659"/>
                <a:gd name="connsiteY1165" fmla="*/ 978217 h 1218057"/>
                <a:gd name="connsiteX1166" fmla="*/ 1027652 w 1468659"/>
                <a:gd name="connsiteY1166" fmla="*/ 969740 h 1218057"/>
                <a:gd name="connsiteX1167" fmla="*/ 1025843 w 1468659"/>
                <a:gd name="connsiteY1167" fmla="*/ 968312 h 1218057"/>
                <a:gd name="connsiteX1168" fmla="*/ 1027081 w 1468659"/>
                <a:gd name="connsiteY1168" fmla="*/ 964978 h 1218057"/>
                <a:gd name="connsiteX1169" fmla="*/ 1026890 w 1468659"/>
                <a:gd name="connsiteY1169" fmla="*/ 963358 h 1218057"/>
                <a:gd name="connsiteX1170" fmla="*/ 1011269 w 1468659"/>
                <a:gd name="connsiteY1170" fmla="*/ 954119 h 1218057"/>
                <a:gd name="connsiteX1171" fmla="*/ 1011079 w 1468659"/>
                <a:gd name="connsiteY1171" fmla="*/ 952595 h 1218057"/>
                <a:gd name="connsiteX1172" fmla="*/ 1010602 w 1468659"/>
                <a:gd name="connsiteY1172" fmla="*/ 949452 h 1218057"/>
                <a:gd name="connsiteX1173" fmla="*/ 1008697 w 1468659"/>
                <a:gd name="connsiteY1173" fmla="*/ 946499 h 1218057"/>
                <a:gd name="connsiteX1174" fmla="*/ 1013936 w 1468659"/>
                <a:gd name="connsiteY1174" fmla="*/ 937736 h 1218057"/>
                <a:gd name="connsiteX1175" fmla="*/ 1012603 w 1468659"/>
                <a:gd name="connsiteY1175" fmla="*/ 926687 h 1218057"/>
                <a:gd name="connsiteX1176" fmla="*/ 1020604 w 1468659"/>
                <a:gd name="connsiteY1176" fmla="*/ 914495 h 1218057"/>
                <a:gd name="connsiteX1177" fmla="*/ 1018604 w 1468659"/>
                <a:gd name="connsiteY1177" fmla="*/ 898684 h 1218057"/>
                <a:gd name="connsiteX1178" fmla="*/ 1022985 w 1468659"/>
                <a:gd name="connsiteY1178" fmla="*/ 894969 h 1218057"/>
                <a:gd name="connsiteX1179" fmla="*/ 1022699 w 1468659"/>
                <a:gd name="connsiteY1179" fmla="*/ 893350 h 1218057"/>
                <a:gd name="connsiteX1180" fmla="*/ 1030605 w 1468659"/>
                <a:gd name="connsiteY1180" fmla="*/ 892302 h 1218057"/>
                <a:gd name="connsiteX1181" fmla="*/ 1030034 w 1468659"/>
                <a:gd name="connsiteY1181" fmla="*/ 887635 h 1218057"/>
                <a:gd name="connsiteX1182" fmla="*/ 1026033 w 1468659"/>
                <a:gd name="connsiteY1182" fmla="*/ 881729 h 1218057"/>
                <a:gd name="connsiteX1183" fmla="*/ 1025843 w 1468659"/>
                <a:gd name="connsiteY1183" fmla="*/ 880110 h 1218057"/>
                <a:gd name="connsiteX1184" fmla="*/ 1022699 w 1468659"/>
                <a:gd name="connsiteY1184" fmla="*/ 880491 h 1218057"/>
                <a:gd name="connsiteX1185" fmla="*/ 1021747 w 1468659"/>
                <a:gd name="connsiteY1185" fmla="*/ 872585 h 1218057"/>
                <a:gd name="connsiteX1186" fmla="*/ 1022890 w 1468659"/>
                <a:gd name="connsiteY1186" fmla="*/ 856488 h 1218057"/>
                <a:gd name="connsiteX1187" fmla="*/ 1030700 w 1468659"/>
                <a:gd name="connsiteY1187" fmla="*/ 855440 h 1218057"/>
                <a:gd name="connsiteX1188" fmla="*/ 1029938 w 1468659"/>
                <a:gd name="connsiteY1188" fmla="*/ 836295 h 1218057"/>
                <a:gd name="connsiteX1189" fmla="*/ 1033272 w 1468659"/>
                <a:gd name="connsiteY1189" fmla="*/ 837438 h 1218057"/>
                <a:gd name="connsiteX1190" fmla="*/ 1034225 w 1468659"/>
                <a:gd name="connsiteY1190" fmla="*/ 832580 h 1218057"/>
                <a:gd name="connsiteX1191" fmla="*/ 1035368 w 1468659"/>
                <a:gd name="connsiteY1191" fmla="*/ 829151 h 1218057"/>
                <a:gd name="connsiteX1192" fmla="*/ 1036415 w 1468659"/>
                <a:gd name="connsiteY1192" fmla="*/ 824294 h 1218057"/>
                <a:gd name="connsiteX1193" fmla="*/ 1034415 w 1468659"/>
                <a:gd name="connsiteY1193" fmla="*/ 808482 h 1218057"/>
                <a:gd name="connsiteX1194" fmla="*/ 1030796 w 1468659"/>
                <a:gd name="connsiteY1194" fmla="*/ 805720 h 1218057"/>
                <a:gd name="connsiteX1195" fmla="*/ 1030034 w 1468659"/>
                <a:gd name="connsiteY1195" fmla="*/ 799433 h 1218057"/>
                <a:gd name="connsiteX1196" fmla="*/ 1026414 w 1468659"/>
                <a:gd name="connsiteY1196" fmla="*/ 796671 h 1218057"/>
                <a:gd name="connsiteX1197" fmla="*/ 1026033 w 1468659"/>
                <a:gd name="connsiteY1197" fmla="*/ 793528 h 1218057"/>
                <a:gd name="connsiteX1198" fmla="*/ 1030414 w 1468659"/>
                <a:gd name="connsiteY1198" fmla="*/ 789718 h 1218057"/>
                <a:gd name="connsiteX1199" fmla="*/ 1031558 w 1468659"/>
                <a:gd name="connsiteY1199" fmla="*/ 786384 h 1218057"/>
                <a:gd name="connsiteX1200" fmla="*/ 1030796 w 1468659"/>
                <a:gd name="connsiteY1200" fmla="*/ 780097 h 1218057"/>
                <a:gd name="connsiteX1201" fmla="*/ 1027176 w 1468659"/>
                <a:gd name="connsiteY1201" fmla="*/ 777335 h 1218057"/>
                <a:gd name="connsiteX1202" fmla="*/ 1023842 w 1468659"/>
                <a:gd name="connsiteY1202" fmla="*/ 763334 h 1218057"/>
                <a:gd name="connsiteX1203" fmla="*/ 1024604 w 1468659"/>
                <a:gd name="connsiteY1203" fmla="*/ 756761 h 1218057"/>
                <a:gd name="connsiteX1204" fmla="*/ 1024795 w 1468659"/>
                <a:gd name="connsiteY1204" fmla="*/ 745522 h 1218057"/>
                <a:gd name="connsiteX1205" fmla="*/ 1026700 w 1468659"/>
                <a:gd name="connsiteY1205" fmla="*/ 735711 h 1218057"/>
                <a:gd name="connsiteX1206" fmla="*/ 1026890 w 1468659"/>
                <a:gd name="connsiteY1206" fmla="*/ 737235 h 1218057"/>
                <a:gd name="connsiteX1207" fmla="*/ 1029081 w 1468659"/>
                <a:gd name="connsiteY1207" fmla="*/ 728948 h 1218057"/>
                <a:gd name="connsiteX1208" fmla="*/ 1036510 w 1468659"/>
                <a:gd name="connsiteY1208" fmla="*/ 724757 h 1218057"/>
                <a:gd name="connsiteX1209" fmla="*/ 1039273 w 1468659"/>
                <a:gd name="connsiteY1209" fmla="*/ 721233 h 1218057"/>
                <a:gd name="connsiteX1210" fmla="*/ 1037558 w 1468659"/>
                <a:gd name="connsiteY1210" fmla="*/ 719900 h 1218057"/>
                <a:gd name="connsiteX1211" fmla="*/ 1040892 w 1468659"/>
                <a:gd name="connsiteY1211" fmla="*/ 708184 h 1218057"/>
                <a:gd name="connsiteX1212" fmla="*/ 1035939 w 1468659"/>
                <a:gd name="connsiteY1212" fmla="*/ 707231 h 1218057"/>
                <a:gd name="connsiteX1213" fmla="*/ 1033748 w 1468659"/>
                <a:gd name="connsiteY1213" fmla="*/ 702659 h 1218057"/>
                <a:gd name="connsiteX1214" fmla="*/ 1037654 w 1468659"/>
                <a:gd name="connsiteY1214" fmla="*/ 695801 h 1218057"/>
                <a:gd name="connsiteX1215" fmla="*/ 1042797 w 1468659"/>
                <a:gd name="connsiteY1215" fmla="*/ 698373 h 1218057"/>
                <a:gd name="connsiteX1216" fmla="*/ 1048893 w 1468659"/>
                <a:gd name="connsiteY1216" fmla="*/ 695992 h 1218057"/>
                <a:gd name="connsiteX1217" fmla="*/ 1051465 w 1468659"/>
                <a:gd name="connsiteY1217" fmla="*/ 690848 h 1218057"/>
                <a:gd name="connsiteX1218" fmla="*/ 1056037 w 1468659"/>
                <a:gd name="connsiteY1218" fmla="*/ 688657 h 1218057"/>
                <a:gd name="connsiteX1219" fmla="*/ 1060133 w 1468659"/>
                <a:gd name="connsiteY1219" fmla="*/ 696087 h 1218057"/>
                <a:gd name="connsiteX1220" fmla="*/ 1068610 w 1468659"/>
                <a:gd name="connsiteY1220" fmla="*/ 699897 h 1218057"/>
                <a:gd name="connsiteX1221" fmla="*/ 1079278 w 1468659"/>
                <a:gd name="connsiteY1221" fmla="*/ 695325 h 1218057"/>
                <a:gd name="connsiteX1222" fmla="*/ 1086041 w 1468659"/>
                <a:gd name="connsiteY1222" fmla="*/ 697611 h 1218057"/>
                <a:gd name="connsiteX1223" fmla="*/ 1088612 w 1468659"/>
                <a:gd name="connsiteY1223" fmla="*/ 705326 h 1218057"/>
                <a:gd name="connsiteX1224" fmla="*/ 1085850 w 1468659"/>
                <a:gd name="connsiteY1224" fmla="*/ 708851 h 1218057"/>
                <a:gd name="connsiteX1225" fmla="*/ 1086231 w 1468659"/>
                <a:gd name="connsiteY1225" fmla="*/ 712089 h 1218057"/>
                <a:gd name="connsiteX1226" fmla="*/ 1088231 w 1468659"/>
                <a:gd name="connsiteY1226" fmla="*/ 715042 h 1218057"/>
                <a:gd name="connsiteX1227" fmla="*/ 1102805 w 1468659"/>
                <a:gd name="connsiteY1227" fmla="*/ 716375 h 1218057"/>
                <a:gd name="connsiteX1228" fmla="*/ 1112901 w 1468659"/>
                <a:gd name="connsiteY1228" fmla="*/ 719900 h 1218057"/>
                <a:gd name="connsiteX1229" fmla="*/ 1116997 w 1468659"/>
                <a:gd name="connsiteY1229" fmla="*/ 714565 h 1218057"/>
                <a:gd name="connsiteX1230" fmla="*/ 1121759 w 1468659"/>
                <a:gd name="connsiteY1230" fmla="*/ 713899 h 1218057"/>
                <a:gd name="connsiteX1231" fmla="*/ 1126903 w 1468659"/>
                <a:gd name="connsiteY1231" fmla="*/ 716471 h 1218057"/>
                <a:gd name="connsiteX1232" fmla="*/ 1128236 w 1468659"/>
                <a:gd name="connsiteY1232" fmla="*/ 714756 h 1218057"/>
                <a:gd name="connsiteX1233" fmla="*/ 1131665 w 1468659"/>
                <a:gd name="connsiteY1233" fmla="*/ 715899 h 1218057"/>
                <a:gd name="connsiteX1234" fmla="*/ 1136142 w 1468659"/>
                <a:gd name="connsiteY1234" fmla="*/ 713708 h 1218057"/>
                <a:gd name="connsiteX1235" fmla="*/ 1136618 w 1468659"/>
                <a:gd name="connsiteY1235" fmla="*/ 716851 h 1218057"/>
                <a:gd name="connsiteX1236" fmla="*/ 1149953 w 1468659"/>
                <a:gd name="connsiteY1236" fmla="*/ 721614 h 1218057"/>
                <a:gd name="connsiteX1237" fmla="*/ 1151763 w 1468659"/>
                <a:gd name="connsiteY1237" fmla="*/ 722947 h 1218057"/>
                <a:gd name="connsiteX1238" fmla="*/ 1152811 w 1468659"/>
                <a:gd name="connsiteY1238" fmla="*/ 730853 h 1218057"/>
                <a:gd name="connsiteX1239" fmla="*/ 1149382 w 1468659"/>
                <a:gd name="connsiteY1239" fmla="*/ 729615 h 1218057"/>
                <a:gd name="connsiteX1240" fmla="*/ 1146715 w 1468659"/>
                <a:gd name="connsiteY1240" fmla="*/ 733234 h 1218057"/>
                <a:gd name="connsiteX1241" fmla="*/ 1147096 w 1468659"/>
                <a:gd name="connsiteY1241" fmla="*/ 736378 h 1218057"/>
                <a:gd name="connsiteX1242" fmla="*/ 1155573 w 1468659"/>
                <a:gd name="connsiteY1242" fmla="*/ 740093 h 1218057"/>
                <a:gd name="connsiteX1243" fmla="*/ 1155764 w 1468659"/>
                <a:gd name="connsiteY1243" fmla="*/ 741712 h 1218057"/>
                <a:gd name="connsiteX1244" fmla="*/ 1153001 w 1468659"/>
                <a:gd name="connsiteY1244" fmla="*/ 745236 h 1218057"/>
                <a:gd name="connsiteX1245" fmla="*/ 1158335 w 1468659"/>
                <a:gd name="connsiteY1245" fmla="*/ 749332 h 1218057"/>
                <a:gd name="connsiteX1246" fmla="*/ 1160907 w 1468659"/>
                <a:gd name="connsiteY1246" fmla="*/ 757047 h 1218057"/>
                <a:gd name="connsiteX1247" fmla="*/ 1159573 w 1468659"/>
                <a:gd name="connsiteY1247" fmla="*/ 758857 h 1218057"/>
                <a:gd name="connsiteX1248" fmla="*/ 1156621 w 1468659"/>
                <a:gd name="connsiteY1248" fmla="*/ 760857 h 1218057"/>
                <a:gd name="connsiteX1249" fmla="*/ 1150334 w 1468659"/>
                <a:gd name="connsiteY1249" fmla="*/ 774478 h 1218057"/>
                <a:gd name="connsiteX1250" fmla="*/ 1155859 w 1468659"/>
                <a:gd name="connsiteY1250" fmla="*/ 780193 h 1218057"/>
                <a:gd name="connsiteX1251" fmla="*/ 1158812 w 1468659"/>
                <a:gd name="connsiteY1251" fmla="*/ 778193 h 1218057"/>
                <a:gd name="connsiteX1252" fmla="*/ 1160621 w 1468659"/>
                <a:gd name="connsiteY1252" fmla="*/ 779526 h 1218057"/>
                <a:gd name="connsiteX1253" fmla="*/ 1167860 w 1468659"/>
                <a:gd name="connsiteY1253" fmla="*/ 773811 h 1218057"/>
                <a:gd name="connsiteX1254" fmla="*/ 1175004 w 1468659"/>
                <a:gd name="connsiteY1254" fmla="*/ 779335 h 1218057"/>
                <a:gd name="connsiteX1255" fmla="*/ 1183291 w 1468659"/>
                <a:gd name="connsiteY1255" fmla="*/ 768668 h 1218057"/>
                <a:gd name="connsiteX1256" fmla="*/ 1187768 w 1468659"/>
                <a:gd name="connsiteY1256" fmla="*/ 766477 h 1218057"/>
                <a:gd name="connsiteX1257" fmla="*/ 1190530 w 1468659"/>
                <a:gd name="connsiteY1257" fmla="*/ 762952 h 1218057"/>
                <a:gd name="connsiteX1258" fmla="*/ 1195102 w 1468659"/>
                <a:gd name="connsiteY1258" fmla="*/ 760762 h 1218057"/>
                <a:gd name="connsiteX1259" fmla="*/ 1201388 w 1468659"/>
                <a:gd name="connsiteY1259" fmla="*/ 759905 h 1218057"/>
                <a:gd name="connsiteX1260" fmla="*/ 1211294 w 1468659"/>
                <a:gd name="connsiteY1260" fmla="*/ 761905 h 1218057"/>
                <a:gd name="connsiteX1261" fmla="*/ 1215962 w 1468659"/>
                <a:gd name="connsiteY1261" fmla="*/ 761238 h 1218057"/>
                <a:gd name="connsiteX1262" fmla="*/ 1226439 w 1468659"/>
                <a:gd name="connsiteY1262" fmla="*/ 768001 h 1218057"/>
                <a:gd name="connsiteX1263" fmla="*/ 1227487 w 1468659"/>
                <a:gd name="connsiteY1263" fmla="*/ 763048 h 1218057"/>
                <a:gd name="connsiteX1264" fmla="*/ 1232154 w 1468659"/>
                <a:gd name="connsiteY1264" fmla="*/ 762381 h 1218057"/>
                <a:gd name="connsiteX1265" fmla="*/ 1229582 w 1468659"/>
                <a:gd name="connsiteY1265" fmla="*/ 754761 h 1218057"/>
                <a:gd name="connsiteX1266" fmla="*/ 1231011 w 1468659"/>
                <a:gd name="connsiteY1266" fmla="*/ 752951 h 1218057"/>
                <a:gd name="connsiteX1267" fmla="*/ 1234345 w 1468659"/>
                <a:gd name="connsiteY1267" fmla="*/ 754094 h 1218057"/>
                <a:gd name="connsiteX1268" fmla="*/ 1240441 w 1468659"/>
                <a:gd name="connsiteY1268" fmla="*/ 738950 h 1218057"/>
                <a:gd name="connsiteX1269" fmla="*/ 1241774 w 1468659"/>
                <a:gd name="connsiteY1269" fmla="*/ 737140 h 1218057"/>
                <a:gd name="connsiteX1270" fmla="*/ 1236059 w 1468659"/>
                <a:gd name="connsiteY1270" fmla="*/ 729805 h 1218057"/>
                <a:gd name="connsiteX1271" fmla="*/ 1238250 w 1468659"/>
                <a:gd name="connsiteY1271" fmla="*/ 721519 h 1218057"/>
                <a:gd name="connsiteX1272" fmla="*/ 1246537 w 1468659"/>
                <a:gd name="connsiteY1272" fmla="*/ 723709 h 1218057"/>
                <a:gd name="connsiteX1273" fmla="*/ 1250061 w 1468659"/>
                <a:gd name="connsiteY1273" fmla="*/ 726472 h 1218057"/>
                <a:gd name="connsiteX1274" fmla="*/ 1247680 w 1468659"/>
                <a:gd name="connsiteY1274" fmla="*/ 733139 h 1218057"/>
                <a:gd name="connsiteX1275" fmla="*/ 1258157 w 1468659"/>
                <a:gd name="connsiteY1275" fmla="*/ 739902 h 1218057"/>
                <a:gd name="connsiteX1276" fmla="*/ 1262729 w 1468659"/>
                <a:gd name="connsiteY1276" fmla="*/ 737711 h 1218057"/>
                <a:gd name="connsiteX1277" fmla="*/ 1269587 w 1468659"/>
                <a:gd name="connsiteY1277" fmla="*/ 741617 h 1218057"/>
                <a:gd name="connsiteX1278" fmla="*/ 1273969 w 1468659"/>
                <a:gd name="connsiteY1278" fmla="*/ 737806 h 1218057"/>
                <a:gd name="connsiteX1279" fmla="*/ 1276541 w 1468659"/>
                <a:gd name="connsiteY1279" fmla="*/ 732758 h 1218057"/>
                <a:gd name="connsiteX1280" fmla="*/ 1281684 w 1468659"/>
                <a:gd name="connsiteY1280" fmla="*/ 735235 h 1218057"/>
                <a:gd name="connsiteX1281" fmla="*/ 1289304 w 1468659"/>
                <a:gd name="connsiteY1281" fmla="*/ 732663 h 1218057"/>
                <a:gd name="connsiteX1282" fmla="*/ 1301020 w 1468659"/>
                <a:gd name="connsiteY1282" fmla="*/ 735997 h 1218057"/>
                <a:gd name="connsiteX1283" fmla="*/ 1316831 w 1468659"/>
                <a:gd name="connsiteY1283" fmla="*/ 746855 h 1218057"/>
                <a:gd name="connsiteX1284" fmla="*/ 1321118 w 1468659"/>
                <a:gd name="connsiteY1284" fmla="*/ 755904 h 1218057"/>
                <a:gd name="connsiteX1285" fmla="*/ 1327690 w 1468659"/>
                <a:gd name="connsiteY1285" fmla="*/ 756666 h 1218057"/>
                <a:gd name="connsiteX1286" fmla="*/ 1335214 w 1468659"/>
                <a:gd name="connsiteY1286" fmla="*/ 765334 h 1218057"/>
                <a:gd name="connsiteX1287" fmla="*/ 1343882 w 1468659"/>
                <a:gd name="connsiteY1287" fmla="*/ 770668 h 1218057"/>
                <a:gd name="connsiteX1288" fmla="*/ 1350645 w 1468659"/>
                <a:gd name="connsiteY1288" fmla="*/ 772954 h 1218057"/>
                <a:gd name="connsiteX1289" fmla="*/ 1356931 w 1468659"/>
                <a:gd name="connsiteY1289" fmla="*/ 772192 h 1218057"/>
                <a:gd name="connsiteX1290" fmla="*/ 1361885 w 1468659"/>
                <a:gd name="connsiteY1290" fmla="*/ 773144 h 1218057"/>
                <a:gd name="connsiteX1291" fmla="*/ 1365599 w 1468659"/>
                <a:gd name="connsiteY1291" fmla="*/ 777526 h 1218057"/>
                <a:gd name="connsiteX1292" fmla="*/ 1374267 w 1468659"/>
                <a:gd name="connsiteY1292" fmla="*/ 770001 h 1218057"/>
                <a:gd name="connsiteX1293" fmla="*/ 1378268 w 1468659"/>
                <a:gd name="connsiteY1293" fmla="*/ 775906 h 1218057"/>
                <a:gd name="connsiteX1294" fmla="*/ 1381792 w 1468659"/>
                <a:gd name="connsiteY1294" fmla="*/ 778669 h 1218057"/>
                <a:gd name="connsiteX1295" fmla="*/ 1385126 w 1468659"/>
                <a:gd name="connsiteY1295" fmla="*/ 779812 h 1218057"/>
                <a:gd name="connsiteX1296" fmla="*/ 1398937 w 1468659"/>
                <a:gd name="connsiteY1296" fmla="*/ 787718 h 1218057"/>
                <a:gd name="connsiteX1297" fmla="*/ 1401032 w 1468659"/>
                <a:gd name="connsiteY1297" fmla="*/ 803434 h 1218057"/>
                <a:gd name="connsiteX1298" fmla="*/ 1406938 w 1468659"/>
                <a:gd name="connsiteY1298" fmla="*/ 812292 h 1218057"/>
                <a:gd name="connsiteX1299" fmla="*/ 1425512 w 1468659"/>
                <a:gd name="connsiteY1299" fmla="*/ 819531 h 1218057"/>
                <a:gd name="connsiteX1300" fmla="*/ 1432179 w 1468659"/>
                <a:gd name="connsiteY1300" fmla="*/ 809149 h 1218057"/>
                <a:gd name="connsiteX1301" fmla="*/ 1433798 w 1468659"/>
                <a:gd name="connsiteY1301" fmla="*/ 808863 h 1218057"/>
                <a:gd name="connsiteX1302" fmla="*/ 1432941 w 1468659"/>
                <a:gd name="connsiteY1302" fmla="*/ 802577 h 1218057"/>
                <a:gd name="connsiteX1303" fmla="*/ 1434370 w 1468659"/>
                <a:gd name="connsiteY1303" fmla="*/ 800767 h 1218057"/>
                <a:gd name="connsiteX1304" fmla="*/ 1439513 w 1468659"/>
                <a:gd name="connsiteY1304" fmla="*/ 803338 h 1218057"/>
                <a:gd name="connsiteX1305" fmla="*/ 1442180 w 1468659"/>
                <a:gd name="connsiteY1305" fmla="*/ 799814 h 1218057"/>
                <a:gd name="connsiteX1306" fmla="*/ 1446752 w 1468659"/>
                <a:gd name="connsiteY1306" fmla="*/ 797623 h 1218057"/>
                <a:gd name="connsiteX1307" fmla="*/ 1440275 w 1468659"/>
                <a:gd name="connsiteY1307" fmla="*/ 796862 h 1218057"/>
                <a:gd name="connsiteX1308" fmla="*/ 1438466 w 1468659"/>
                <a:gd name="connsiteY1308" fmla="*/ 795433 h 1218057"/>
                <a:gd name="connsiteX1309" fmla="*/ 1440085 w 1468659"/>
                <a:gd name="connsiteY1309" fmla="*/ 795242 h 1218057"/>
                <a:gd name="connsiteX1310" fmla="*/ 1442752 w 1468659"/>
                <a:gd name="connsiteY1310" fmla="*/ 791718 h 1218057"/>
                <a:gd name="connsiteX1311" fmla="*/ 1446181 w 1468659"/>
                <a:gd name="connsiteY1311" fmla="*/ 792861 h 1218057"/>
                <a:gd name="connsiteX1312" fmla="*/ 1447133 w 1468659"/>
                <a:gd name="connsiteY1312" fmla="*/ 788003 h 1218057"/>
                <a:gd name="connsiteX1313" fmla="*/ 1445323 w 1468659"/>
                <a:gd name="connsiteY1313" fmla="*/ 786575 h 1218057"/>
                <a:gd name="connsiteX1314" fmla="*/ 1441990 w 1468659"/>
                <a:gd name="connsiteY1314" fmla="*/ 785431 h 1218057"/>
                <a:gd name="connsiteX1315" fmla="*/ 1441799 w 1468659"/>
                <a:gd name="connsiteY1315" fmla="*/ 783812 h 1218057"/>
                <a:gd name="connsiteX1316" fmla="*/ 1440371 w 1468659"/>
                <a:gd name="connsiteY1316" fmla="*/ 785622 h 1218057"/>
                <a:gd name="connsiteX1317" fmla="*/ 1438466 w 1468659"/>
                <a:gd name="connsiteY1317" fmla="*/ 782669 h 1218057"/>
                <a:gd name="connsiteX1318" fmla="*/ 1439227 w 1468659"/>
                <a:gd name="connsiteY1318" fmla="*/ 776097 h 1218057"/>
                <a:gd name="connsiteX1319" fmla="*/ 1444181 w 1468659"/>
                <a:gd name="connsiteY1319" fmla="*/ 777145 h 1218057"/>
                <a:gd name="connsiteX1320" fmla="*/ 1444752 w 1468659"/>
                <a:gd name="connsiteY1320" fmla="*/ 781812 h 1218057"/>
                <a:gd name="connsiteX1321" fmla="*/ 1449705 w 1468659"/>
                <a:gd name="connsiteY1321" fmla="*/ 782860 h 1218057"/>
                <a:gd name="connsiteX1322" fmla="*/ 1452848 w 1468659"/>
                <a:gd name="connsiteY1322" fmla="*/ 782384 h 1218057"/>
                <a:gd name="connsiteX1323" fmla="*/ 1454182 w 1468659"/>
                <a:gd name="connsiteY1323" fmla="*/ 780669 h 1218057"/>
                <a:gd name="connsiteX1324" fmla="*/ 1455611 w 1468659"/>
                <a:gd name="connsiteY1324" fmla="*/ 778859 h 1218057"/>
                <a:gd name="connsiteX1325" fmla="*/ 1458182 w 1468659"/>
                <a:gd name="connsiteY1325" fmla="*/ 773716 h 1218057"/>
                <a:gd name="connsiteX1326" fmla="*/ 1449229 w 1468659"/>
                <a:gd name="connsiteY1326" fmla="*/ 766858 h 1218057"/>
                <a:gd name="connsiteX1327" fmla="*/ 1450467 w 1468659"/>
                <a:gd name="connsiteY1327" fmla="*/ 763429 h 1218057"/>
                <a:gd name="connsiteX1328" fmla="*/ 1453420 w 1468659"/>
                <a:gd name="connsiteY1328" fmla="*/ 761524 h 1218057"/>
                <a:gd name="connsiteX1329" fmla="*/ 1452943 w 1468659"/>
                <a:gd name="connsiteY1329" fmla="*/ 758380 h 1218057"/>
                <a:gd name="connsiteX1330" fmla="*/ 1454182 w 1468659"/>
                <a:gd name="connsiteY1330" fmla="*/ 754951 h 1218057"/>
                <a:gd name="connsiteX1331" fmla="*/ 1443895 w 1468659"/>
                <a:gd name="connsiteY1331" fmla="*/ 749903 h 1218057"/>
                <a:gd name="connsiteX1332" fmla="*/ 1431989 w 1468659"/>
                <a:gd name="connsiteY1332" fmla="*/ 744950 h 1218057"/>
                <a:gd name="connsiteX1333" fmla="*/ 1428845 w 1468659"/>
                <a:gd name="connsiteY1333" fmla="*/ 745331 h 1218057"/>
                <a:gd name="connsiteX1334" fmla="*/ 1417606 w 1468659"/>
                <a:gd name="connsiteY1334" fmla="*/ 745236 h 1218057"/>
                <a:gd name="connsiteX1335" fmla="*/ 1414081 w 1468659"/>
                <a:gd name="connsiteY1335" fmla="*/ 742474 h 1218057"/>
                <a:gd name="connsiteX1336" fmla="*/ 1412081 w 1468659"/>
                <a:gd name="connsiteY1336" fmla="*/ 739521 h 1218057"/>
                <a:gd name="connsiteX1337" fmla="*/ 1413034 w 1468659"/>
                <a:gd name="connsiteY1337" fmla="*/ 734568 h 1218057"/>
                <a:gd name="connsiteX1338" fmla="*/ 1413796 w 1468659"/>
                <a:gd name="connsiteY1338" fmla="*/ 728091 h 1218057"/>
                <a:gd name="connsiteX1339" fmla="*/ 1415225 w 1468659"/>
                <a:gd name="connsiteY1339" fmla="*/ 726281 h 1218057"/>
                <a:gd name="connsiteX1340" fmla="*/ 1412843 w 1468659"/>
                <a:gd name="connsiteY1340" fmla="*/ 720185 h 1218057"/>
                <a:gd name="connsiteX1341" fmla="*/ 1409510 w 1468659"/>
                <a:gd name="connsiteY1341" fmla="*/ 718947 h 1218057"/>
                <a:gd name="connsiteX1342" fmla="*/ 1402747 w 1468659"/>
                <a:gd name="connsiteY1342" fmla="*/ 716661 h 1218057"/>
                <a:gd name="connsiteX1343" fmla="*/ 1398842 w 1468659"/>
                <a:gd name="connsiteY1343" fmla="*/ 723519 h 1218057"/>
                <a:gd name="connsiteX1344" fmla="*/ 1394079 w 1468659"/>
                <a:gd name="connsiteY1344" fmla="*/ 724186 h 1218057"/>
                <a:gd name="connsiteX1345" fmla="*/ 1392936 w 1468659"/>
                <a:gd name="connsiteY1345" fmla="*/ 727519 h 1218057"/>
                <a:gd name="connsiteX1346" fmla="*/ 1391317 w 1468659"/>
                <a:gd name="connsiteY1346" fmla="*/ 727710 h 1218057"/>
                <a:gd name="connsiteX1347" fmla="*/ 1386935 w 1468659"/>
                <a:gd name="connsiteY1347" fmla="*/ 718661 h 1218057"/>
                <a:gd name="connsiteX1348" fmla="*/ 1391317 w 1468659"/>
                <a:gd name="connsiteY1348" fmla="*/ 714851 h 1218057"/>
                <a:gd name="connsiteX1349" fmla="*/ 1388935 w 1468659"/>
                <a:gd name="connsiteY1349" fmla="*/ 708755 h 1218057"/>
                <a:gd name="connsiteX1350" fmla="*/ 1395031 w 1468659"/>
                <a:gd name="connsiteY1350" fmla="*/ 706374 h 1218057"/>
                <a:gd name="connsiteX1351" fmla="*/ 1399794 w 1468659"/>
                <a:gd name="connsiteY1351" fmla="*/ 705802 h 1218057"/>
                <a:gd name="connsiteX1352" fmla="*/ 1402366 w 1468659"/>
                <a:gd name="connsiteY1352" fmla="*/ 700659 h 1218057"/>
                <a:gd name="connsiteX1353" fmla="*/ 1403318 w 1468659"/>
                <a:gd name="connsiteY1353" fmla="*/ 695706 h 1218057"/>
                <a:gd name="connsiteX1354" fmla="*/ 1404842 w 1468659"/>
                <a:gd name="connsiteY1354" fmla="*/ 695515 h 1218057"/>
                <a:gd name="connsiteX1355" fmla="*/ 1408271 w 1468659"/>
                <a:gd name="connsiteY1355" fmla="*/ 696659 h 1218057"/>
                <a:gd name="connsiteX1356" fmla="*/ 1409986 w 1468659"/>
                <a:gd name="connsiteY1356" fmla="*/ 698087 h 1218057"/>
                <a:gd name="connsiteX1357" fmla="*/ 1409033 w 1468659"/>
                <a:gd name="connsiteY1357" fmla="*/ 690181 h 1218057"/>
                <a:gd name="connsiteX1358" fmla="*/ 1413986 w 1468659"/>
                <a:gd name="connsiteY1358" fmla="*/ 691134 h 1218057"/>
                <a:gd name="connsiteX1359" fmla="*/ 1415129 w 1468659"/>
                <a:gd name="connsiteY1359" fmla="*/ 687800 h 1218057"/>
                <a:gd name="connsiteX1360" fmla="*/ 1418082 w 1468659"/>
                <a:gd name="connsiteY1360" fmla="*/ 685800 h 1218057"/>
                <a:gd name="connsiteX1361" fmla="*/ 1416272 w 1468659"/>
                <a:gd name="connsiteY1361" fmla="*/ 684467 h 1218057"/>
                <a:gd name="connsiteX1362" fmla="*/ 1418844 w 1468659"/>
                <a:gd name="connsiteY1362" fmla="*/ 679323 h 1218057"/>
                <a:gd name="connsiteX1363" fmla="*/ 1415510 w 1468659"/>
                <a:gd name="connsiteY1363" fmla="*/ 678085 h 1218057"/>
                <a:gd name="connsiteX1364" fmla="*/ 1416844 w 1468659"/>
                <a:gd name="connsiteY1364" fmla="*/ 676370 h 1218057"/>
                <a:gd name="connsiteX1365" fmla="*/ 1414939 w 1468659"/>
                <a:gd name="connsiteY1365" fmla="*/ 673418 h 1218057"/>
                <a:gd name="connsiteX1366" fmla="*/ 1416082 w 1468659"/>
                <a:gd name="connsiteY1366" fmla="*/ 669988 h 1218057"/>
                <a:gd name="connsiteX1367" fmla="*/ 1423988 w 1468659"/>
                <a:gd name="connsiteY1367" fmla="*/ 669036 h 1218057"/>
                <a:gd name="connsiteX1368" fmla="*/ 1430084 w 1468659"/>
                <a:gd name="connsiteY1368" fmla="*/ 666655 h 1218057"/>
                <a:gd name="connsiteX1369" fmla="*/ 1432179 w 1468659"/>
                <a:gd name="connsiteY1369" fmla="*/ 658368 h 1218057"/>
                <a:gd name="connsiteX1370" fmla="*/ 1427035 w 1468659"/>
                <a:gd name="connsiteY1370" fmla="*/ 655796 h 1218057"/>
                <a:gd name="connsiteX1371" fmla="*/ 1427893 w 1468659"/>
                <a:gd name="connsiteY1371" fmla="*/ 649319 h 1218057"/>
                <a:gd name="connsiteX1372" fmla="*/ 1426083 w 1468659"/>
                <a:gd name="connsiteY1372" fmla="*/ 647890 h 1218057"/>
                <a:gd name="connsiteX1373" fmla="*/ 1424273 w 1468659"/>
                <a:gd name="connsiteY1373" fmla="*/ 646557 h 1218057"/>
                <a:gd name="connsiteX1374" fmla="*/ 1431989 w 1468659"/>
                <a:gd name="connsiteY1374" fmla="*/ 643985 h 1218057"/>
                <a:gd name="connsiteX1375" fmla="*/ 1435513 w 1468659"/>
                <a:gd name="connsiteY1375" fmla="*/ 646652 h 1218057"/>
                <a:gd name="connsiteX1376" fmla="*/ 1436084 w 1468659"/>
                <a:gd name="connsiteY1376" fmla="*/ 638651 h 1218057"/>
                <a:gd name="connsiteX1377" fmla="*/ 1432179 w 1468659"/>
                <a:gd name="connsiteY1377" fmla="*/ 632651 h 1218057"/>
                <a:gd name="connsiteX1378" fmla="*/ 1433131 w 1468659"/>
                <a:gd name="connsiteY1378" fmla="*/ 627793 h 1218057"/>
                <a:gd name="connsiteX1379" fmla="*/ 1443418 w 1468659"/>
                <a:gd name="connsiteY1379" fmla="*/ 632841 h 1218057"/>
                <a:gd name="connsiteX1380" fmla="*/ 1451324 w 1468659"/>
                <a:gd name="connsiteY1380" fmla="*/ 631888 h 1218057"/>
                <a:gd name="connsiteX1381" fmla="*/ 1453039 w 1468659"/>
                <a:gd name="connsiteY1381" fmla="*/ 633222 h 1218057"/>
                <a:gd name="connsiteX1382" fmla="*/ 1454468 w 1468659"/>
                <a:gd name="connsiteY1382" fmla="*/ 631507 h 1218057"/>
                <a:gd name="connsiteX1383" fmla="*/ 1456277 w 1468659"/>
                <a:gd name="connsiteY1383" fmla="*/ 632841 h 1218057"/>
                <a:gd name="connsiteX1384" fmla="*/ 1462564 w 1468659"/>
                <a:gd name="connsiteY1384" fmla="*/ 632079 h 1218057"/>
                <a:gd name="connsiteX1385" fmla="*/ 1465326 w 1468659"/>
                <a:gd name="connsiteY1385" fmla="*/ 628459 h 1218057"/>
                <a:gd name="connsiteX1386" fmla="*/ 1464659 w 1468659"/>
                <a:gd name="connsiteY1386" fmla="*/ 623697 h 1218057"/>
                <a:gd name="connsiteX1387" fmla="*/ 1460754 w 1468659"/>
                <a:gd name="connsiteY1387" fmla="*/ 617792 h 1218057"/>
                <a:gd name="connsiteX1388" fmla="*/ 1468660 w 1468659"/>
                <a:gd name="connsiteY1388" fmla="*/ 616839 h 1218057"/>
                <a:gd name="connsiteX1389" fmla="*/ 1468660 w 1468659"/>
                <a:gd name="connsiteY1389" fmla="*/ 616839 h 1218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</a:cxnLst>
              <a:rect l="l" t="t" r="r" b="b"/>
              <a:pathLst>
                <a:path w="1468659" h="1218057">
                  <a:moveTo>
                    <a:pt x="1468660" y="616839"/>
                  </a:moveTo>
                  <a:lnTo>
                    <a:pt x="1453801" y="601027"/>
                  </a:lnTo>
                  <a:lnTo>
                    <a:pt x="1456563" y="597503"/>
                  </a:lnTo>
                  <a:lnTo>
                    <a:pt x="1461230" y="596932"/>
                  </a:lnTo>
                  <a:lnTo>
                    <a:pt x="1459325" y="593979"/>
                  </a:lnTo>
                  <a:lnTo>
                    <a:pt x="1451039" y="591788"/>
                  </a:lnTo>
                  <a:lnTo>
                    <a:pt x="1448086" y="593788"/>
                  </a:lnTo>
                  <a:lnTo>
                    <a:pt x="1449800" y="595122"/>
                  </a:lnTo>
                  <a:lnTo>
                    <a:pt x="1448467" y="596932"/>
                  </a:lnTo>
                  <a:lnTo>
                    <a:pt x="1439132" y="586930"/>
                  </a:lnTo>
                  <a:lnTo>
                    <a:pt x="1435608" y="584168"/>
                  </a:lnTo>
                  <a:lnTo>
                    <a:pt x="1436942" y="582359"/>
                  </a:lnTo>
                  <a:lnTo>
                    <a:pt x="1444847" y="581406"/>
                  </a:lnTo>
                  <a:lnTo>
                    <a:pt x="1446657" y="582739"/>
                  </a:lnTo>
                  <a:lnTo>
                    <a:pt x="1444276" y="576643"/>
                  </a:lnTo>
                  <a:lnTo>
                    <a:pt x="1443038" y="567118"/>
                  </a:lnTo>
                  <a:lnTo>
                    <a:pt x="1436370" y="564832"/>
                  </a:lnTo>
                  <a:lnTo>
                    <a:pt x="1433989" y="571500"/>
                  </a:lnTo>
                  <a:lnTo>
                    <a:pt x="1434751" y="565023"/>
                  </a:lnTo>
                  <a:lnTo>
                    <a:pt x="1427607" y="559498"/>
                  </a:lnTo>
                  <a:lnTo>
                    <a:pt x="1424654" y="561499"/>
                  </a:lnTo>
                  <a:lnTo>
                    <a:pt x="1421321" y="560356"/>
                  </a:lnTo>
                  <a:lnTo>
                    <a:pt x="1420368" y="565213"/>
                  </a:lnTo>
                  <a:lnTo>
                    <a:pt x="1424083" y="569595"/>
                  </a:lnTo>
                  <a:lnTo>
                    <a:pt x="1421321" y="573119"/>
                  </a:lnTo>
                  <a:lnTo>
                    <a:pt x="1416463" y="572167"/>
                  </a:lnTo>
                  <a:lnTo>
                    <a:pt x="1416177" y="570547"/>
                  </a:lnTo>
                  <a:lnTo>
                    <a:pt x="1412462" y="566261"/>
                  </a:lnTo>
                  <a:lnTo>
                    <a:pt x="1404366" y="565690"/>
                  </a:lnTo>
                  <a:lnTo>
                    <a:pt x="1403033" y="567500"/>
                  </a:lnTo>
                  <a:lnTo>
                    <a:pt x="1396270" y="577882"/>
                  </a:lnTo>
                  <a:lnTo>
                    <a:pt x="1391412" y="576929"/>
                  </a:lnTo>
                  <a:lnTo>
                    <a:pt x="1384840" y="576167"/>
                  </a:lnTo>
                  <a:lnTo>
                    <a:pt x="1373410" y="574453"/>
                  </a:lnTo>
                  <a:lnTo>
                    <a:pt x="1373791" y="577596"/>
                  </a:lnTo>
                  <a:lnTo>
                    <a:pt x="1370457" y="576453"/>
                  </a:lnTo>
                  <a:lnTo>
                    <a:pt x="1369123" y="578168"/>
                  </a:lnTo>
                  <a:lnTo>
                    <a:pt x="1367123" y="575215"/>
                  </a:lnTo>
                  <a:lnTo>
                    <a:pt x="1365504" y="575405"/>
                  </a:lnTo>
                  <a:lnTo>
                    <a:pt x="1357789" y="565213"/>
                  </a:lnTo>
                  <a:lnTo>
                    <a:pt x="1354264" y="562451"/>
                  </a:lnTo>
                  <a:lnTo>
                    <a:pt x="1351121" y="562832"/>
                  </a:lnTo>
                  <a:lnTo>
                    <a:pt x="1348168" y="564832"/>
                  </a:lnTo>
                  <a:lnTo>
                    <a:pt x="1346740" y="566642"/>
                  </a:lnTo>
                  <a:lnTo>
                    <a:pt x="1345216" y="566833"/>
                  </a:lnTo>
                  <a:lnTo>
                    <a:pt x="1343025" y="575119"/>
                  </a:lnTo>
                  <a:lnTo>
                    <a:pt x="1340453" y="580263"/>
                  </a:lnTo>
                  <a:lnTo>
                    <a:pt x="1338739" y="578834"/>
                  </a:lnTo>
                  <a:lnTo>
                    <a:pt x="1339501" y="572357"/>
                  </a:lnTo>
                  <a:lnTo>
                    <a:pt x="1330928" y="568643"/>
                  </a:lnTo>
                  <a:lnTo>
                    <a:pt x="1327214" y="564261"/>
                  </a:lnTo>
                  <a:lnTo>
                    <a:pt x="1320260" y="560356"/>
                  </a:lnTo>
                  <a:lnTo>
                    <a:pt x="1318736" y="560546"/>
                  </a:lnTo>
                  <a:lnTo>
                    <a:pt x="1315593" y="560927"/>
                  </a:lnTo>
                  <a:lnTo>
                    <a:pt x="1308640" y="557022"/>
                  </a:lnTo>
                  <a:lnTo>
                    <a:pt x="1309592" y="552069"/>
                  </a:lnTo>
                  <a:lnTo>
                    <a:pt x="1307211" y="545973"/>
                  </a:lnTo>
                  <a:lnTo>
                    <a:pt x="1303496" y="541687"/>
                  </a:lnTo>
                  <a:lnTo>
                    <a:pt x="1302353" y="545021"/>
                  </a:lnTo>
                  <a:lnTo>
                    <a:pt x="1295400" y="541115"/>
                  </a:lnTo>
                  <a:lnTo>
                    <a:pt x="1296352" y="536162"/>
                  </a:lnTo>
                  <a:lnTo>
                    <a:pt x="1294829" y="536353"/>
                  </a:lnTo>
                  <a:lnTo>
                    <a:pt x="1291400" y="535114"/>
                  </a:lnTo>
                  <a:lnTo>
                    <a:pt x="1293590" y="539686"/>
                  </a:lnTo>
                  <a:lnTo>
                    <a:pt x="1290447" y="540068"/>
                  </a:lnTo>
                  <a:lnTo>
                    <a:pt x="1288447" y="537115"/>
                  </a:lnTo>
                  <a:lnTo>
                    <a:pt x="1285875" y="529495"/>
                  </a:lnTo>
                  <a:lnTo>
                    <a:pt x="1285304" y="524732"/>
                  </a:lnTo>
                  <a:lnTo>
                    <a:pt x="1281970" y="523494"/>
                  </a:lnTo>
                  <a:lnTo>
                    <a:pt x="1278731" y="523970"/>
                  </a:lnTo>
                  <a:lnTo>
                    <a:pt x="1282732" y="517017"/>
                  </a:lnTo>
                  <a:lnTo>
                    <a:pt x="1282732" y="517017"/>
                  </a:lnTo>
                  <a:lnTo>
                    <a:pt x="1281875" y="510730"/>
                  </a:lnTo>
                  <a:lnTo>
                    <a:pt x="1285875" y="503777"/>
                  </a:lnTo>
                  <a:lnTo>
                    <a:pt x="1285399" y="500634"/>
                  </a:lnTo>
                  <a:lnTo>
                    <a:pt x="1289399" y="493681"/>
                  </a:lnTo>
                  <a:lnTo>
                    <a:pt x="1285970" y="492538"/>
                  </a:lnTo>
                  <a:lnTo>
                    <a:pt x="1287399" y="490728"/>
                  </a:lnTo>
                  <a:lnTo>
                    <a:pt x="1285208" y="486251"/>
                  </a:lnTo>
                  <a:lnTo>
                    <a:pt x="1283970" y="476726"/>
                  </a:lnTo>
                  <a:lnTo>
                    <a:pt x="1284542" y="468725"/>
                  </a:lnTo>
                  <a:lnTo>
                    <a:pt x="1281017" y="465963"/>
                  </a:lnTo>
                  <a:lnTo>
                    <a:pt x="1274255" y="463582"/>
                  </a:lnTo>
                  <a:lnTo>
                    <a:pt x="1271302" y="465582"/>
                  </a:lnTo>
                  <a:lnTo>
                    <a:pt x="1268159" y="465963"/>
                  </a:lnTo>
                  <a:lnTo>
                    <a:pt x="1266158" y="463010"/>
                  </a:lnTo>
                  <a:lnTo>
                    <a:pt x="1261491" y="463582"/>
                  </a:lnTo>
                  <a:lnTo>
                    <a:pt x="1262063" y="468344"/>
                  </a:lnTo>
                  <a:lnTo>
                    <a:pt x="1255967" y="470725"/>
                  </a:lnTo>
                  <a:lnTo>
                    <a:pt x="1247299" y="465392"/>
                  </a:lnTo>
                  <a:lnTo>
                    <a:pt x="1240917" y="466249"/>
                  </a:lnTo>
                  <a:lnTo>
                    <a:pt x="1236821" y="471583"/>
                  </a:lnTo>
                  <a:lnTo>
                    <a:pt x="1232249" y="473773"/>
                  </a:lnTo>
                  <a:lnTo>
                    <a:pt x="1230344" y="470821"/>
                  </a:lnTo>
                  <a:lnTo>
                    <a:pt x="1226915" y="469582"/>
                  </a:lnTo>
                  <a:lnTo>
                    <a:pt x="1222629" y="473392"/>
                  </a:lnTo>
                  <a:lnTo>
                    <a:pt x="1223010" y="476536"/>
                  </a:lnTo>
                  <a:lnTo>
                    <a:pt x="1218533" y="478726"/>
                  </a:lnTo>
                  <a:lnTo>
                    <a:pt x="1220819" y="471964"/>
                  </a:lnTo>
                  <a:lnTo>
                    <a:pt x="1219105" y="470630"/>
                  </a:lnTo>
                  <a:lnTo>
                    <a:pt x="1221772" y="467011"/>
                  </a:lnTo>
                  <a:lnTo>
                    <a:pt x="1211104" y="458819"/>
                  </a:lnTo>
                  <a:lnTo>
                    <a:pt x="1209770" y="460534"/>
                  </a:lnTo>
                  <a:lnTo>
                    <a:pt x="1204627" y="458057"/>
                  </a:lnTo>
                  <a:lnTo>
                    <a:pt x="1201484" y="458438"/>
                  </a:lnTo>
                  <a:lnTo>
                    <a:pt x="1192816" y="453104"/>
                  </a:lnTo>
                  <a:lnTo>
                    <a:pt x="1186434" y="453866"/>
                  </a:lnTo>
                  <a:lnTo>
                    <a:pt x="1185291" y="457295"/>
                  </a:lnTo>
                  <a:lnTo>
                    <a:pt x="1178909" y="445294"/>
                  </a:lnTo>
                  <a:lnTo>
                    <a:pt x="1174052" y="444246"/>
                  </a:lnTo>
                  <a:lnTo>
                    <a:pt x="1174623" y="449009"/>
                  </a:lnTo>
                  <a:lnTo>
                    <a:pt x="1165003" y="461486"/>
                  </a:lnTo>
                  <a:lnTo>
                    <a:pt x="1155859" y="465868"/>
                  </a:lnTo>
                  <a:lnTo>
                    <a:pt x="1152525" y="464630"/>
                  </a:lnTo>
                  <a:lnTo>
                    <a:pt x="1145858" y="462248"/>
                  </a:lnTo>
                  <a:lnTo>
                    <a:pt x="1137571" y="460153"/>
                  </a:lnTo>
                  <a:lnTo>
                    <a:pt x="1138714" y="456819"/>
                  </a:lnTo>
                  <a:lnTo>
                    <a:pt x="1135952" y="447484"/>
                  </a:lnTo>
                  <a:lnTo>
                    <a:pt x="1137285" y="445770"/>
                  </a:lnTo>
                  <a:lnTo>
                    <a:pt x="1137095" y="444151"/>
                  </a:lnTo>
                  <a:lnTo>
                    <a:pt x="1135285" y="442817"/>
                  </a:lnTo>
                  <a:lnTo>
                    <a:pt x="1132713" y="435102"/>
                  </a:lnTo>
                  <a:lnTo>
                    <a:pt x="1129570" y="435483"/>
                  </a:lnTo>
                  <a:lnTo>
                    <a:pt x="1127379" y="431006"/>
                  </a:lnTo>
                  <a:lnTo>
                    <a:pt x="1124045" y="429768"/>
                  </a:lnTo>
                  <a:lnTo>
                    <a:pt x="1114616" y="431006"/>
                  </a:lnTo>
                  <a:lnTo>
                    <a:pt x="1109091" y="438150"/>
                  </a:lnTo>
                  <a:lnTo>
                    <a:pt x="1103567" y="432435"/>
                  </a:lnTo>
                  <a:lnTo>
                    <a:pt x="1096994" y="431673"/>
                  </a:lnTo>
                  <a:lnTo>
                    <a:pt x="1093089" y="425767"/>
                  </a:lnTo>
                  <a:lnTo>
                    <a:pt x="1094613" y="425482"/>
                  </a:lnTo>
                  <a:lnTo>
                    <a:pt x="1098042" y="426720"/>
                  </a:lnTo>
                  <a:lnTo>
                    <a:pt x="1110996" y="428244"/>
                  </a:lnTo>
                  <a:lnTo>
                    <a:pt x="1112044" y="423291"/>
                  </a:lnTo>
                  <a:lnTo>
                    <a:pt x="1108043" y="417385"/>
                  </a:lnTo>
                  <a:lnTo>
                    <a:pt x="1112330" y="413671"/>
                  </a:lnTo>
                  <a:lnTo>
                    <a:pt x="1112901" y="405575"/>
                  </a:lnTo>
                  <a:lnTo>
                    <a:pt x="1098137" y="402622"/>
                  </a:lnTo>
                  <a:lnTo>
                    <a:pt x="1089851" y="400431"/>
                  </a:lnTo>
                  <a:lnTo>
                    <a:pt x="1088041" y="399097"/>
                  </a:lnTo>
                  <a:lnTo>
                    <a:pt x="1086898" y="402431"/>
                  </a:lnTo>
                  <a:lnTo>
                    <a:pt x="1081945" y="401479"/>
                  </a:lnTo>
                  <a:lnTo>
                    <a:pt x="1083373" y="399669"/>
                  </a:lnTo>
                  <a:lnTo>
                    <a:pt x="1074610" y="394430"/>
                  </a:lnTo>
                  <a:lnTo>
                    <a:pt x="1072420" y="389858"/>
                  </a:lnTo>
                  <a:lnTo>
                    <a:pt x="1068134" y="380809"/>
                  </a:lnTo>
                  <a:lnTo>
                    <a:pt x="1063181" y="379857"/>
                  </a:lnTo>
                  <a:lnTo>
                    <a:pt x="1064133" y="374904"/>
                  </a:lnTo>
                  <a:lnTo>
                    <a:pt x="1062800" y="376618"/>
                  </a:lnTo>
                  <a:lnTo>
                    <a:pt x="1060799" y="373666"/>
                  </a:lnTo>
                  <a:lnTo>
                    <a:pt x="1054894" y="377666"/>
                  </a:lnTo>
                  <a:lnTo>
                    <a:pt x="1053465" y="379476"/>
                  </a:lnTo>
                  <a:lnTo>
                    <a:pt x="1050322" y="379857"/>
                  </a:lnTo>
                  <a:lnTo>
                    <a:pt x="1046035" y="383572"/>
                  </a:lnTo>
                  <a:lnTo>
                    <a:pt x="1041463" y="385763"/>
                  </a:lnTo>
                  <a:lnTo>
                    <a:pt x="1033367" y="398050"/>
                  </a:lnTo>
                  <a:lnTo>
                    <a:pt x="1025080" y="395859"/>
                  </a:lnTo>
                  <a:lnTo>
                    <a:pt x="1024890" y="394335"/>
                  </a:lnTo>
                  <a:lnTo>
                    <a:pt x="1023366" y="394525"/>
                  </a:lnTo>
                  <a:lnTo>
                    <a:pt x="1022699" y="389763"/>
                  </a:lnTo>
                  <a:lnTo>
                    <a:pt x="1018794" y="383857"/>
                  </a:lnTo>
                  <a:lnTo>
                    <a:pt x="1011460" y="376809"/>
                  </a:lnTo>
                  <a:lnTo>
                    <a:pt x="1008507" y="378809"/>
                  </a:lnTo>
                  <a:lnTo>
                    <a:pt x="1006697" y="377380"/>
                  </a:lnTo>
                  <a:lnTo>
                    <a:pt x="1002792" y="371475"/>
                  </a:lnTo>
                  <a:lnTo>
                    <a:pt x="1003745" y="366522"/>
                  </a:lnTo>
                  <a:lnTo>
                    <a:pt x="1000411" y="365379"/>
                  </a:lnTo>
                  <a:lnTo>
                    <a:pt x="999934" y="362236"/>
                  </a:lnTo>
                  <a:lnTo>
                    <a:pt x="991648" y="360045"/>
                  </a:lnTo>
                  <a:lnTo>
                    <a:pt x="984980" y="357664"/>
                  </a:lnTo>
                  <a:lnTo>
                    <a:pt x="988695" y="349186"/>
                  </a:lnTo>
                  <a:lnTo>
                    <a:pt x="988314" y="346043"/>
                  </a:lnTo>
                  <a:lnTo>
                    <a:pt x="981551" y="343662"/>
                  </a:lnTo>
                  <a:lnTo>
                    <a:pt x="974217" y="336613"/>
                  </a:lnTo>
                  <a:lnTo>
                    <a:pt x="972122" y="332042"/>
                  </a:lnTo>
                  <a:lnTo>
                    <a:pt x="971645" y="328898"/>
                  </a:lnTo>
                  <a:lnTo>
                    <a:pt x="974598" y="326993"/>
                  </a:lnTo>
                  <a:lnTo>
                    <a:pt x="974026" y="322231"/>
                  </a:lnTo>
                  <a:lnTo>
                    <a:pt x="978789" y="321659"/>
                  </a:lnTo>
                  <a:lnTo>
                    <a:pt x="978122" y="316897"/>
                  </a:lnTo>
                  <a:lnTo>
                    <a:pt x="979932" y="318230"/>
                  </a:lnTo>
                  <a:lnTo>
                    <a:pt x="983837" y="311372"/>
                  </a:lnTo>
                  <a:lnTo>
                    <a:pt x="986790" y="309372"/>
                  </a:lnTo>
                  <a:lnTo>
                    <a:pt x="990219" y="310515"/>
                  </a:lnTo>
                  <a:lnTo>
                    <a:pt x="991172" y="305562"/>
                  </a:lnTo>
                  <a:lnTo>
                    <a:pt x="986600" y="307753"/>
                  </a:lnTo>
                  <a:lnTo>
                    <a:pt x="985171" y="296704"/>
                  </a:lnTo>
                  <a:lnTo>
                    <a:pt x="981266" y="290798"/>
                  </a:lnTo>
                  <a:lnTo>
                    <a:pt x="973169" y="290227"/>
                  </a:lnTo>
                  <a:lnTo>
                    <a:pt x="964501" y="284988"/>
                  </a:lnTo>
                  <a:lnTo>
                    <a:pt x="962882" y="285179"/>
                  </a:lnTo>
                  <a:lnTo>
                    <a:pt x="960882" y="282226"/>
                  </a:lnTo>
                  <a:lnTo>
                    <a:pt x="963644" y="278606"/>
                  </a:lnTo>
                  <a:lnTo>
                    <a:pt x="963263" y="275463"/>
                  </a:lnTo>
                  <a:lnTo>
                    <a:pt x="961263" y="272510"/>
                  </a:lnTo>
                  <a:lnTo>
                    <a:pt x="962501" y="269176"/>
                  </a:lnTo>
                  <a:lnTo>
                    <a:pt x="965454" y="267176"/>
                  </a:lnTo>
                  <a:lnTo>
                    <a:pt x="962025" y="266033"/>
                  </a:lnTo>
                  <a:lnTo>
                    <a:pt x="963073" y="261080"/>
                  </a:lnTo>
                  <a:lnTo>
                    <a:pt x="966406" y="262223"/>
                  </a:lnTo>
                  <a:lnTo>
                    <a:pt x="969359" y="260223"/>
                  </a:lnTo>
                  <a:lnTo>
                    <a:pt x="970312" y="255365"/>
                  </a:lnTo>
                  <a:lnTo>
                    <a:pt x="969931" y="252127"/>
                  </a:lnTo>
                  <a:lnTo>
                    <a:pt x="971074" y="248793"/>
                  </a:lnTo>
                  <a:lnTo>
                    <a:pt x="970121" y="240887"/>
                  </a:lnTo>
                  <a:lnTo>
                    <a:pt x="973074" y="238982"/>
                  </a:lnTo>
                  <a:lnTo>
                    <a:pt x="972407" y="234220"/>
                  </a:lnTo>
                  <a:lnTo>
                    <a:pt x="975360" y="232219"/>
                  </a:lnTo>
                  <a:lnTo>
                    <a:pt x="977741" y="225552"/>
                  </a:lnTo>
                  <a:lnTo>
                    <a:pt x="974598" y="225933"/>
                  </a:lnTo>
                  <a:lnTo>
                    <a:pt x="973169" y="227743"/>
                  </a:lnTo>
                  <a:lnTo>
                    <a:pt x="968693" y="229838"/>
                  </a:lnTo>
                  <a:lnTo>
                    <a:pt x="968312" y="226695"/>
                  </a:lnTo>
                  <a:lnTo>
                    <a:pt x="969455" y="223361"/>
                  </a:lnTo>
                  <a:lnTo>
                    <a:pt x="972598" y="222980"/>
                  </a:lnTo>
                  <a:lnTo>
                    <a:pt x="976503" y="216027"/>
                  </a:lnTo>
                  <a:lnTo>
                    <a:pt x="976693" y="204788"/>
                  </a:lnTo>
                  <a:lnTo>
                    <a:pt x="979265" y="199644"/>
                  </a:lnTo>
                  <a:lnTo>
                    <a:pt x="984028" y="199072"/>
                  </a:lnTo>
                  <a:lnTo>
                    <a:pt x="986123" y="177927"/>
                  </a:lnTo>
                  <a:lnTo>
                    <a:pt x="985742" y="174784"/>
                  </a:lnTo>
                  <a:lnTo>
                    <a:pt x="982313" y="173641"/>
                  </a:lnTo>
                  <a:lnTo>
                    <a:pt x="980218" y="169069"/>
                  </a:lnTo>
                  <a:lnTo>
                    <a:pt x="981742" y="168878"/>
                  </a:lnTo>
                  <a:lnTo>
                    <a:pt x="984695" y="166878"/>
                  </a:lnTo>
                  <a:lnTo>
                    <a:pt x="987076" y="160210"/>
                  </a:lnTo>
                  <a:lnTo>
                    <a:pt x="990029" y="158210"/>
                  </a:lnTo>
                  <a:lnTo>
                    <a:pt x="987838" y="153638"/>
                  </a:lnTo>
                  <a:lnTo>
                    <a:pt x="988409" y="145542"/>
                  </a:lnTo>
                  <a:lnTo>
                    <a:pt x="986600" y="144209"/>
                  </a:lnTo>
                  <a:lnTo>
                    <a:pt x="986218" y="141065"/>
                  </a:lnTo>
                  <a:lnTo>
                    <a:pt x="987838" y="140875"/>
                  </a:lnTo>
                  <a:lnTo>
                    <a:pt x="980504" y="133731"/>
                  </a:lnTo>
                  <a:lnTo>
                    <a:pt x="980122" y="130588"/>
                  </a:lnTo>
                  <a:lnTo>
                    <a:pt x="978122" y="127635"/>
                  </a:lnTo>
                  <a:lnTo>
                    <a:pt x="976313" y="126301"/>
                  </a:lnTo>
                  <a:lnTo>
                    <a:pt x="969645" y="123920"/>
                  </a:lnTo>
                  <a:lnTo>
                    <a:pt x="970597" y="118967"/>
                  </a:lnTo>
                  <a:lnTo>
                    <a:pt x="972979" y="112300"/>
                  </a:lnTo>
                  <a:lnTo>
                    <a:pt x="978027" y="114776"/>
                  </a:lnTo>
                  <a:lnTo>
                    <a:pt x="977646" y="111633"/>
                  </a:lnTo>
                  <a:lnTo>
                    <a:pt x="981266" y="114395"/>
                  </a:lnTo>
                  <a:lnTo>
                    <a:pt x="984409" y="114014"/>
                  </a:lnTo>
                  <a:lnTo>
                    <a:pt x="992696" y="116205"/>
                  </a:lnTo>
                  <a:lnTo>
                    <a:pt x="996982" y="112395"/>
                  </a:lnTo>
                  <a:lnTo>
                    <a:pt x="998220" y="109061"/>
                  </a:lnTo>
                  <a:lnTo>
                    <a:pt x="994601" y="106299"/>
                  </a:lnTo>
                  <a:lnTo>
                    <a:pt x="991838" y="97060"/>
                  </a:lnTo>
                  <a:lnTo>
                    <a:pt x="987838" y="91154"/>
                  </a:lnTo>
                  <a:lnTo>
                    <a:pt x="986123" y="89725"/>
                  </a:lnTo>
                  <a:lnTo>
                    <a:pt x="990029" y="82867"/>
                  </a:lnTo>
                  <a:lnTo>
                    <a:pt x="985266" y="83439"/>
                  </a:lnTo>
                  <a:lnTo>
                    <a:pt x="984313" y="88392"/>
                  </a:lnTo>
                  <a:lnTo>
                    <a:pt x="982789" y="88582"/>
                  </a:lnTo>
                  <a:lnTo>
                    <a:pt x="977646" y="86011"/>
                  </a:lnTo>
                  <a:lnTo>
                    <a:pt x="975074" y="91154"/>
                  </a:lnTo>
                  <a:lnTo>
                    <a:pt x="970121" y="90202"/>
                  </a:lnTo>
                  <a:lnTo>
                    <a:pt x="967740" y="84106"/>
                  </a:lnTo>
                  <a:lnTo>
                    <a:pt x="960596" y="78581"/>
                  </a:lnTo>
                  <a:lnTo>
                    <a:pt x="964978" y="74771"/>
                  </a:lnTo>
                  <a:lnTo>
                    <a:pt x="959834" y="72200"/>
                  </a:lnTo>
                  <a:lnTo>
                    <a:pt x="957834" y="69247"/>
                  </a:lnTo>
                  <a:lnTo>
                    <a:pt x="959263" y="67532"/>
                  </a:lnTo>
                  <a:lnTo>
                    <a:pt x="957453" y="66104"/>
                  </a:lnTo>
                  <a:lnTo>
                    <a:pt x="955643" y="64770"/>
                  </a:lnTo>
                  <a:lnTo>
                    <a:pt x="954214" y="53721"/>
                  </a:lnTo>
                  <a:lnTo>
                    <a:pt x="949928" y="57436"/>
                  </a:lnTo>
                  <a:lnTo>
                    <a:pt x="951071" y="54102"/>
                  </a:lnTo>
                  <a:lnTo>
                    <a:pt x="950690" y="50959"/>
                  </a:lnTo>
                  <a:lnTo>
                    <a:pt x="949071" y="51149"/>
                  </a:lnTo>
                  <a:lnTo>
                    <a:pt x="950500" y="49339"/>
                  </a:lnTo>
                  <a:lnTo>
                    <a:pt x="949928" y="44672"/>
                  </a:lnTo>
                  <a:lnTo>
                    <a:pt x="944975" y="43625"/>
                  </a:lnTo>
                  <a:lnTo>
                    <a:pt x="948118" y="43243"/>
                  </a:lnTo>
                  <a:lnTo>
                    <a:pt x="951262" y="42863"/>
                  </a:lnTo>
                  <a:lnTo>
                    <a:pt x="951071" y="41243"/>
                  </a:lnTo>
                  <a:lnTo>
                    <a:pt x="944309" y="38957"/>
                  </a:lnTo>
                  <a:lnTo>
                    <a:pt x="943927" y="35814"/>
                  </a:lnTo>
                  <a:lnTo>
                    <a:pt x="942975" y="40672"/>
                  </a:lnTo>
                  <a:lnTo>
                    <a:pt x="939832" y="41148"/>
                  </a:lnTo>
                  <a:lnTo>
                    <a:pt x="937831" y="38195"/>
                  </a:lnTo>
                  <a:lnTo>
                    <a:pt x="934879" y="40100"/>
                  </a:lnTo>
                  <a:lnTo>
                    <a:pt x="931355" y="50197"/>
                  </a:lnTo>
                  <a:lnTo>
                    <a:pt x="933164" y="51625"/>
                  </a:lnTo>
                  <a:lnTo>
                    <a:pt x="931735" y="53340"/>
                  </a:lnTo>
                  <a:lnTo>
                    <a:pt x="928402" y="52197"/>
                  </a:lnTo>
                  <a:lnTo>
                    <a:pt x="927830" y="47434"/>
                  </a:lnTo>
                  <a:lnTo>
                    <a:pt x="924020" y="43148"/>
                  </a:lnTo>
                  <a:lnTo>
                    <a:pt x="922496" y="43339"/>
                  </a:lnTo>
                  <a:lnTo>
                    <a:pt x="917353" y="40767"/>
                  </a:lnTo>
                  <a:lnTo>
                    <a:pt x="911543" y="33528"/>
                  </a:lnTo>
                  <a:lnTo>
                    <a:pt x="906971" y="22860"/>
                  </a:lnTo>
                  <a:lnTo>
                    <a:pt x="900684" y="23622"/>
                  </a:lnTo>
                  <a:lnTo>
                    <a:pt x="884110" y="19336"/>
                  </a:lnTo>
                  <a:lnTo>
                    <a:pt x="881729" y="13240"/>
                  </a:lnTo>
                  <a:lnTo>
                    <a:pt x="872395" y="3143"/>
                  </a:lnTo>
                  <a:lnTo>
                    <a:pt x="873823" y="1429"/>
                  </a:lnTo>
                  <a:lnTo>
                    <a:pt x="872014" y="0"/>
                  </a:lnTo>
                  <a:lnTo>
                    <a:pt x="871252" y="6572"/>
                  </a:lnTo>
                  <a:lnTo>
                    <a:pt x="870490" y="13049"/>
                  </a:lnTo>
                  <a:lnTo>
                    <a:pt x="862584" y="14097"/>
                  </a:lnTo>
                  <a:lnTo>
                    <a:pt x="862775" y="15621"/>
                  </a:lnTo>
                  <a:lnTo>
                    <a:pt x="859822" y="17621"/>
                  </a:lnTo>
                  <a:lnTo>
                    <a:pt x="860012" y="19240"/>
                  </a:lnTo>
                  <a:lnTo>
                    <a:pt x="858298" y="17812"/>
                  </a:lnTo>
                  <a:lnTo>
                    <a:pt x="855535" y="21336"/>
                  </a:lnTo>
                  <a:lnTo>
                    <a:pt x="855726" y="22955"/>
                  </a:lnTo>
                  <a:lnTo>
                    <a:pt x="858869" y="22574"/>
                  </a:lnTo>
                  <a:lnTo>
                    <a:pt x="858298" y="30671"/>
                  </a:lnTo>
                  <a:lnTo>
                    <a:pt x="846677" y="27337"/>
                  </a:lnTo>
                  <a:lnTo>
                    <a:pt x="847058" y="30480"/>
                  </a:lnTo>
                  <a:lnTo>
                    <a:pt x="848868" y="31813"/>
                  </a:lnTo>
                  <a:lnTo>
                    <a:pt x="844105" y="32480"/>
                  </a:lnTo>
                  <a:lnTo>
                    <a:pt x="845630" y="32290"/>
                  </a:lnTo>
                  <a:lnTo>
                    <a:pt x="847630" y="35242"/>
                  </a:lnTo>
                  <a:lnTo>
                    <a:pt x="846296" y="36957"/>
                  </a:lnTo>
                  <a:lnTo>
                    <a:pt x="849630" y="38195"/>
                  </a:lnTo>
                  <a:lnTo>
                    <a:pt x="847058" y="43339"/>
                  </a:lnTo>
                  <a:lnTo>
                    <a:pt x="848868" y="44672"/>
                  </a:lnTo>
                  <a:lnTo>
                    <a:pt x="845725" y="45053"/>
                  </a:lnTo>
                  <a:lnTo>
                    <a:pt x="844487" y="48482"/>
                  </a:lnTo>
                  <a:lnTo>
                    <a:pt x="842963" y="48673"/>
                  </a:lnTo>
                  <a:lnTo>
                    <a:pt x="842201" y="55150"/>
                  </a:lnTo>
                  <a:lnTo>
                    <a:pt x="840581" y="55340"/>
                  </a:lnTo>
                  <a:lnTo>
                    <a:pt x="839438" y="58674"/>
                  </a:lnTo>
                  <a:lnTo>
                    <a:pt x="840962" y="58483"/>
                  </a:lnTo>
                  <a:lnTo>
                    <a:pt x="841438" y="61627"/>
                  </a:lnTo>
                  <a:lnTo>
                    <a:pt x="846296" y="62675"/>
                  </a:lnTo>
                  <a:lnTo>
                    <a:pt x="844010" y="69342"/>
                  </a:lnTo>
                  <a:lnTo>
                    <a:pt x="846010" y="72295"/>
                  </a:lnTo>
                  <a:lnTo>
                    <a:pt x="848963" y="70294"/>
                  </a:lnTo>
                  <a:lnTo>
                    <a:pt x="849344" y="73533"/>
                  </a:lnTo>
                  <a:lnTo>
                    <a:pt x="847725" y="73723"/>
                  </a:lnTo>
                  <a:lnTo>
                    <a:pt x="852868" y="76200"/>
                  </a:lnTo>
                  <a:lnTo>
                    <a:pt x="853250" y="79438"/>
                  </a:lnTo>
                  <a:lnTo>
                    <a:pt x="848773" y="81534"/>
                  </a:lnTo>
                  <a:lnTo>
                    <a:pt x="853440" y="80963"/>
                  </a:lnTo>
                  <a:lnTo>
                    <a:pt x="852106" y="82772"/>
                  </a:lnTo>
                  <a:lnTo>
                    <a:pt x="847534" y="84963"/>
                  </a:lnTo>
                  <a:lnTo>
                    <a:pt x="844201" y="83725"/>
                  </a:lnTo>
                  <a:lnTo>
                    <a:pt x="842867" y="85534"/>
                  </a:lnTo>
                  <a:lnTo>
                    <a:pt x="843058" y="87154"/>
                  </a:lnTo>
                  <a:lnTo>
                    <a:pt x="835343" y="89725"/>
                  </a:lnTo>
                  <a:lnTo>
                    <a:pt x="835533" y="91250"/>
                  </a:lnTo>
                  <a:lnTo>
                    <a:pt x="832390" y="91726"/>
                  </a:lnTo>
                  <a:lnTo>
                    <a:pt x="832009" y="88487"/>
                  </a:lnTo>
                  <a:lnTo>
                    <a:pt x="825722" y="89344"/>
                  </a:lnTo>
                  <a:lnTo>
                    <a:pt x="822293" y="88106"/>
                  </a:lnTo>
                  <a:lnTo>
                    <a:pt x="820960" y="89916"/>
                  </a:lnTo>
                  <a:lnTo>
                    <a:pt x="821341" y="93059"/>
                  </a:lnTo>
                  <a:lnTo>
                    <a:pt x="816578" y="93726"/>
                  </a:lnTo>
                  <a:lnTo>
                    <a:pt x="815054" y="93917"/>
                  </a:lnTo>
                  <a:lnTo>
                    <a:pt x="814102" y="98869"/>
                  </a:lnTo>
                  <a:lnTo>
                    <a:pt x="806958" y="106108"/>
                  </a:lnTo>
                  <a:lnTo>
                    <a:pt x="803624" y="104965"/>
                  </a:lnTo>
                  <a:lnTo>
                    <a:pt x="802481" y="108299"/>
                  </a:lnTo>
                  <a:lnTo>
                    <a:pt x="797528" y="107347"/>
                  </a:lnTo>
                  <a:lnTo>
                    <a:pt x="794766" y="110871"/>
                  </a:lnTo>
                  <a:lnTo>
                    <a:pt x="795147" y="114109"/>
                  </a:lnTo>
                  <a:lnTo>
                    <a:pt x="790384" y="114681"/>
                  </a:lnTo>
                  <a:lnTo>
                    <a:pt x="796195" y="121920"/>
                  </a:lnTo>
                  <a:lnTo>
                    <a:pt x="793433" y="125539"/>
                  </a:lnTo>
                  <a:lnTo>
                    <a:pt x="792671" y="132017"/>
                  </a:lnTo>
                  <a:lnTo>
                    <a:pt x="791242" y="133826"/>
                  </a:lnTo>
                  <a:lnTo>
                    <a:pt x="784765" y="133064"/>
                  </a:lnTo>
                  <a:lnTo>
                    <a:pt x="782764" y="130111"/>
                  </a:lnTo>
                  <a:lnTo>
                    <a:pt x="783908" y="126682"/>
                  </a:lnTo>
                  <a:lnTo>
                    <a:pt x="781145" y="117443"/>
                  </a:lnTo>
                  <a:lnTo>
                    <a:pt x="776192" y="116491"/>
                  </a:lnTo>
                  <a:lnTo>
                    <a:pt x="762572" y="110204"/>
                  </a:lnTo>
                  <a:lnTo>
                    <a:pt x="748760" y="115157"/>
                  </a:lnTo>
                  <a:lnTo>
                    <a:pt x="745617" y="115538"/>
                  </a:lnTo>
                  <a:lnTo>
                    <a:pt x="743426" y="111061"/>
                  </a:lnTo>
                  <a:lnTo>
                    <a:pt x="738759" y="111633"/>
                  </a:lnTo>
                  <a:lnTo>
                    <a:pt x="738283" y="108490"/>
                  </a:lnTo>
                  <a:lnTo>
                    <a:pt x="741235" y="106489"/>
                  </a:lnTo>
                  <a:lnTo>
                    <a:pt x="744379" y="106108"/>
                  </a:lnTo>
                  <a:lnTo>
                    <a:pt x="745426" y="101155"/>
                  </a:lnTo>
                  <a:lnTo>
                    <a:pt x="748189" y="97631"/>
                  </a:lnTo>
                  <a:lnTo>
                    <a:pt x="748760" y="89535"/>
                  </a:lnTo>
                  <a:lnTo>
                    <a:pt x="748284" y="86392"/>
                  </a:lnTo>
                  <a:lnTo>
                    <a:pt x="746760" y="86582"/>
                  </a:lnTo>
                  <a:lnTo>
                    <a:pt x="745331" y="88297"/>
                  </a:lnTo>
                  <a:lnTo>
                    <a:pt x="744379" y="93250"/>
                  </a:lnTo>
                  <a:lnTo>
                    <a:pt x="741426" y="95250"/>
                  </a:lnTo>
                  <a:lnTo>
                    <a:pt x="736473" y="94297"/>
                  </a:lnTo>
                  <a:lnTo>
                    <a:pt x="736949" y="97441"/>
                  </a:lnTo>
                  <a:lnTo>
                    <a:pt x="733711" y="97822"/>
                  </a:lnTo>
                  <a:lnTo>
                    <a:pt x="734568" y="91345"/>
                  </a:lnTo>
                  <a:lnTo>
                    <a:pt x="729425" y="101632"/>
                  </a:lnTo>
                  <a:lnTo>
                    <a:pt x="724472" y="100584"/>
                  </a:lnTo>
                  <a:lnTo>
                    <a:pt x="725900" y="98869"/>
                  </a:lnTo>
                  <a:lnTo>
                    <a:pt x="724281" y="99060"/>
                  </a:lnTo>
                  <a:lnTo>
                    <a:pt x="722947" y="100775"/>
                  </a:lnTo>
                  <a:lnTo>
                    <a:pt x="720947" y="97822"/>
                  </a:lnTo>
                  <a:lnTo>
                    <a:pt x="719518" y="99631"/>
                  </a:lnTo>
                  <a:lnTo>
                    <a:pt x="717804" y="98298"/>
                  </a:lnTo>
                  <a:lnTo>
                    <a:pt x="712851" y="97250"/>
                  </a:lnTo>
                  <a:lnTo>
                    <a:pt x="710851" y="94297"/>
                  </a:lnTo>
                  <a:lnTo>
                    <a:pt x="707898" y="96298"/>
                  </a:lnTo>
                  <a:lnTo>
                    <a:pt x="705136" y="99917"/>
                  </a:lnTo>
                  <a:lnTo>
                    <a:pt x="702945" y="95345"/>
                  </a:lnTo>
                  <a:lnTo>
                    <a:pt x="701612" y="97155"/>
                  </a:lnTo>
                  <a:lnTo>
                    <a:pt x="701135" y="94012"/>
                  </a:lnTo>
                  <a:lnTo>
                    <a:pt x="696659" y="96107"/>
                  </a:lnTo>
                  <a:lnTo>
                    <a:pt x="696468" y="94583"/>
                  </a:lnTo>
                  <a:lnTo>
                    <a:pt x="693134" y="93440"/>
                  </a:lnTo>
                  <a:lnTo>
                    <a:pt x="695420" y="86677"/>
                  </a:lnTo>
                  <a:lnTo>
                    <a:pt x="693706" y="85344"/>
                  </a:lnTo>
                  <a:lnTo>
                    <a:pt x="688943" y="85915"/>
                  </a:lnTo>
                  <a:lnTo>
                    <a:pt x="686181" y="89440"/>
                  </a:lnTo>
                  <a:lnTo>
                    <a:pt x="681228" y="88487"/>
                  </a:lnTo>
                  <a:lnTo>
                    <a:pt x="672560" y="83153"/>
                  </a:lnTo>
                  <a:lnTo>
                    <a:pt x="667798" y="83820"/>
                  </a:lnTo>
                  <a:lnTo>
                    <a:pt x="669608" y="85154"/>
                  </a:lnTo>
                  <a:lnTo>
                    <a:pt x="667226" y="91916"/>
                  </a:lnTo>
                  <a:lnTo>
                    <a:pt x="661130" y="94297"/>
                  </a:lnTo>
                  <a:lnTo>
                    <a:pt x="663130" y="97250"/>
                  </a:lnTo>
                  <a:lnTo>
                    <a:pt x="666274" y="96774"/>
                  </a:lnTo>
                  <a:lnTo>
                    <a:pt x="664845" y="98584"/>
                  </a:lnTo>
                  <a:lnTo>
                    <a:pt x="663321" y="98774"/>
                  </a:lnTo>
                  <a:lnTo>
                    <a:pt x="659511" y="94488"/>
                  </a:lnTo>
                  <a:lnTo>
                    <a:pt x="658368" y="97822"/>
                  </a:lnTo>
                  <a:lnTo>
                    <a:pt x="654844" y="95059"/>
                  </a:lnTo>
                  <a:lnTo>
                    <a:pt x="654368" y="91916"/>
                  </a:lnTo>
                  <a:lnTo>
                    <a:pt x="652843" y="92107"/>
                  </a:lnTo>
                  <a:lnTo>
                    <a:pt x="650653" y="87535"/>
                  </a:lnTo>
                  <a:lnTo>
                    <a:pt x="645890" y="88201"/>
                  </a:lnTo>
                  <a:lnTo>
                    <a:pt x="644938" y="80296"/>
                  </a:lnTo>
                  <a:lnTo>
                    <a:pt x="638556" y="81058"/>
                  </a:lnTo>
                  <a:lnTo>
                    <a:pt x="637413" y="84487"/>
                  </a:lnTo>
                  <a:lnTo>
                    <a:pt x="634270" y="84868"/>
                  </a:lnTo>
                  <a:lnTo>
                    <a:pt x="626173" y="71438"/>
                  </a:lnTo>
                  <a:lnTo>
                    <a:pt x="623030" y="71818"/>
                  </a:lnTo>
                  <a:lnTo>
                    <a:pt x="619220" y="67532"/>
                  </a:lnTo>
                  <a:lnTo>
                    <a:pt x="621601" y="73628"/>
                  </a:lnTo>
                  <a:lnTo>
                    <a:pt x="620077" y="73819"/>
                  </a:lnTo>
                  <a:lnTo>
                    <a:pt x="616458" y="71056"/>
                  </a:lnTo>
                  <a:lnTo>
                    <a:pt x="615125" y="72866"/>
                  </a:lnTo>
                  <a:lnTo>
                    <a:pt x="616648" y="72676"/>
                  </a:lnTo>
                  <a:lnTo>
                    <a:pt x="621030" y="81725"/>
                  </a:lnTo>
                  <a:lnTo>
                    <a:pt x="619697" y="83534"/>
                  </a:lnTo>
                  <a:lnTo>
                    <a:pt x="621411" y="84868"/>
                  </a:lnTo>
                  <a:lnTo>
                    <a:pt x="618649" y="88487"/>
                  </a:lnTo>
                  <a:lnTo>
                    <a:pt x="620649" y="91440"/>
                  </a:lnTo>
                  <a:lnTo>
                    <a:pt x="625412" y="90773"/>
                  </a:lnTo>
                  <a:lnTo>
                    <a:pt x="623983" y="92583"/>
                  </a:lnTo>
                  <a:lnTo>
                    <a:pt x="620649" y="91440"/>
                  </a:lnTo>
                  <a:lnTo>
                    <a:pt x="621030" y="94583"/>
                  </a:lnTo>
                  <a:lnTo>
                    <a:pt x="619506" y="94774"/>
                  </a:lnTo>
                  <a:lnTo>
                    <a:pt x="616934" y="87058"/>
                  </a:lnTo>
                  <a:lnTo>
                    <a:pt x="613791" y="87439"/>
                  </a:lnTo>
                  <a:lnTo>
                    <a:pt x="610172" y="84677"/>
                  </a:lnTo>
                  <a:lnTo>
                    <a:pt x="605504" y="85344"/>
                  </a:lnTo>
                  <a:lnTo>
                    <a:pt x="604266" y="88678"/>
                  </a:lnTo>
                  <a:lnTo>
                    <a:pt x="600932" y="87535"/>
                  </a:lnTo>
                  <a:lnTo>
                    <a:pt x="601123" y="89059"/>
                  </a:lnTo>
                  <a:lnTo>
                    <a:pt x="599504" y="89249"/>
                  </a:lnTo>
                  <a:lnTo>
                    <a:pt x="601504" y="92202"/>
                  </a:lnTo>
                  <a:lnTo>
                    <a:pt x="599980" y="92392"/>
                  </a:lnTo>
                  <a:lnTo>
                    <a:pt x="600170" y="94012"/>
                  </a:lnTo>
                  <a:lnTo>
                    <a:pt x="598360" y="92678"/>
                  </a:lnTo>
                  <a:lnTo>
                    <a:pt x="598551" y="94202"/>
                  </a:lnTo>
                  <a:lnTo>
                    <a:pt x="597218" y="96012"/>
                  </a:lnTo>
                  <a:lnTo>
                    <a:pt x="595217" y="93059"/>
                  </a:lnTo>
                  <a:lnTo>
                    <a:pt x="593884" y="94774"/>
                  </a:lnTo>
                  <a:lnTo>
                    <a:pt x="591502" y="101536"/>
                  </a:lnTo>
                  <a:lnTo>
                    <a:pt x="589883" y="101727"/>
                  </a:lnTo>
                  <a:lnTo>
                    <a:pt x="591122" y="98393"/>
                  </a:lnTo>
                  <a:lnTo>
                    <a:pt x="587693" y="97155"/>
                  </a:lnTo>
                  <a:lnTo>
                    <a:pt x="584930" y="100775"/>
                  </a:lnTo>
                  <a:lnTo>
                    <a:pt x="583978" y="105727"/>
                  </a:lnTo>
                  <a:lnTo>
                    <a:pt x="582454" y="105918"/>
                  </a:lnTo>
                  <a:lnTo>
                    <a:pt x="581787" y="101155"/>
                  </a:lnTo>
                  <a:lnTo>
                    <a:pt x="578644" y="101536"/>
                  </a:lnTo>
                  <a:lnTo>
                    <a:pt x="578263" y="98393"/>
                  </a:lnTo>
                  <a:lnTo>
                    <a:pt x="574929" y="97250"/>
                  </a:lnTo>
                  <a:lnTo>
                    <a:pt x="567595" y="102965"/>
                  </a:lnTo>
                  <a:lnTo>
                    <a:pt x="564261" y="101822"/>
                  </a:lnTo>
                  <a:lnTo>
                    <a:pt x="562451" y="100393"/>
                  </a:lnTo>
                  <a:lnTo>
                    <a:pt x="565595" y="100013"/>
                  </a:lnTo>
                  <a:lnTo>
                    <a:pt x="567023" y="98203"/>
                  </a:lnTo>
                  <a:lnTo>
                    <a:pt x="564833" y="93726"/>
                  </a:lnTo>
                  <a:lnTo>
                    <a:pt x="567595" y="90106"/>
                  </a:lnTo>
                  <a:lnTo>
                    <a:pt x="567214" y="86963"/>
                  </a:lnTo>
                  <a:lnTo>
                    <a:pt x="564071" y="87344"/>
                  </a:lnTo>
                  <a:lnTo>
                    <a:pt x="562261" y="86011"/>
                  </a:lnTo>
                  <a:lnTo>
                    <a:pt x="560451" y="84677"/>
                  </a:lnTo>
                  <a:lnTo>
                    <a:pt x="560451" y="84677"/>
                  </a:lnTo>
                  <a:lnTo>
                    <a:pt x="558260" y="80105"/>
                  </a:lnTo>
                  <a:lnTo>
                    <a:pt x="556927" y="81915"/>
                  </a:lnTo>
                  <a:lnTo>
                    <a:pt x="549783" y="76390"/>
                  </a:lnTo>
                  <a:lnTo>
                    <a:pt x="544068" y="81915"/>
                  </a:lnTo>
                  <a:lnTo>
                    <a:pt x="541877" y="77343"/>
                  </a:lnTo>
                  <a:lnTo>
                    <a:pt x="540544" y="79153"/>
                  </a:lnTo>
                  <a:lnTo>
                    <a:pt x="540353" y="77629"/>
                  </a:lnTo>
                  <a:lnTo>
                    <a:pt x="538543" y="76200"/>
                  </a:lnTo>
                  <a:lnTo>
                    <a:pt x="539115" y="68104"/>
                  </a:lnTo>
                  <a:lnTo>
                    <a:pt x="540448" y="66294"/>
                  </a:lnTo>
                  <a:lnTo>
                    <a:pt x="535114" y="62198"/>
                  </a:lnTo>
                  <a:lnTo>
                    <a:pt x="528638" y="61436"/>
                  </a:lnTo>
                  <a:lnTo>
                    <a:pt x="528256" y="58293"/>
                  </a:lnTo>
                  <a:lnTo>
                    <a:pt x="523684" y="60484"/>
                  </a:lnTo>
                  <a:lnTo>
                    <a:pt x="521303" y="54292"/>
                  </a:lnTo>
                  <a:lnTo>
                    <a:pt x="515588" y="59912"/>
                  </a:lnTo>
                  <a:lnTo>
                    <a:pt x="512445" y="60293"/>
                  </a:lnTo>
                  <a:lnTo>
                    <a:pt x="501587" y="63246"/>
                  </a:lnTo>
                  <a:lnTo>
                    <a:pt x="499396" y="58769"/>
                  </a:lnTo>
                  <a:lnTo>
                    <a:pt x="496634" y="62293"/>
                  </a:lnTo>
                  <a:lnTo>
                    <a:pt x="493490" y="62675"/>
                  </a:lnTo>
                  <a:lnTo>
                    <a:pt x="492157" y="64484"/>
                  </a:lnTo>
                  <a:lnTo>
                    <a:pt x="492538" y="67627"/>
                  </a:lnTo>
                  <a:lnTo>
                    <a:pt x="493585" y="75533"/>
                  </a:lnTo>
                  <a:lnTo>
                    <a:pt x="489013" y="77724"/>
                  </a:lnTo>
                  <a:lnTo>
                    <a:pt x="489395" y="80867"/>
                  </a:lnTo>
                  <a:lnTo>
                    <a:pt x="485108" y="84582"/>
                  </a:lnTo>
                  <a:lnTo>
                    <a:pt x="481965" y="85058"/>
                  </a:lnTo>
                  <a:lnTo>
                    <a:pt x="482346" y="88201"/>
                  </a:lnTo>
                  <a:lnTo>
                    <a:pt x="485299" y="86201"/>
                  </a:lnTo>
                  <a:lnTo>
                    <a:pt x="479584" y="91726"/>
                  </a:lnTo>
                  <a:lnTo>
                    <a:pt x="480155" y="96488"/>
                  </a:lnTo>
                  <a:lnTo>
                    <a:pt x="475297" y="95536"/>
                  </a:lnTo>
                  <a:lnTo>
                    <a:pt x="474821" y="92297"/>
                  </a:lnTo>
                  <a:lnTo>
                    <a:pt x="477774" y="90392"/>
                  </a:lnTo>
                  <a:lnTo>
                    <a:pt x="476059" y="88963"/>
                  </a:lnTo>
                  <a:lnTo>
                    <a:pt x="469868" y="91345"/>
                  </a:lnTo>
                  <a:lnTo>
                    <a:pt x="462058" y="92392"/>
                  </a:lnTo>
                  <a:lnTo>
                    <a:pt x="459105" y="94393"/>
                  </a:lnTo>
                  <a:lnTo>
                    <a:pt x="455676" y="93154"/>
                  </a:lnTo>
                  <a:lnTo>
                    <a:pt x="450818" y="92202"/>
                  </a:lnTo>
                  <a:lnTo>
                    <a:pt x="444437" y="92964"/>
                  </a:lnTo>
                  <a:lnTo>
                    <a:pt x="441293" y="93440"/>
                  </a:lnTo>
                  <a:lnTo>
                    <a:pt x="440150" y="96774"/>
                  </a:lnTo>
                  <a:lnTo>
                    <a:pt x="433006" y="91250"/>
                  </a:lnTo>
                  <a:lnTo>
                    <a:pt x="428244" y="91821"/>
                  </a:lnTo>
                  <a:lnTo>
                    <a:pt x="419957" y="89725"/>
                  </a:lnTo>
                  <a:lnTo>
                    <a:pt x="421196" y="99155"/>
                  </a:lnTo>
                  <a:lnTo>
                    <a:pt x="416052" y="96583"/>
                  </a:lnTo>
                  <a:lnTo>
                    <a:pt x="411480" y="98774"/>
                  </a:lnTo>
                  <a:lnTo>
                    <a:pt x="409766" y="97441"/>
                  </a:lnTo>
                  <a:lnTo>
                    <a:pt x="409384" y="94297"/>
                  </a:lnTo>
                  <a:lnTo>
                    <a:pt x="410527" y="90868"/>
                  </a:lnTo>
                  <a:lnTo>
                    <a:pt x="408527" y="87916"/>
                  </a:lnTo>
                  <a:lnTo>
                    <a:pt x="405384" y="88392"/>
                  </a:lnTo>
                  <a:lnTo>
                    <a:pt x="406146" y="94679"/>
                  </a:lnTo>
                  <a:lnTo>
                    <a:pt x="405003" y="98012"/>
                  </a:lnTo>
                  <a:lnTo>
                    <a:pt x="398526" y="97250"/>
                  </a:lnTo>
                  <a:lnTo>
                    <a:pt x="397097" y="99060"/>
                  </a:lnTo>
                  <a:lnTo>
                    <a:pt x="395097" y="96107"/>
                  </a:lnTo>
                  <a:lnTo>
                    <a:pt x="388810" y="96869"/>
                  </a:lnTo>
                  <a:lnTo>
                    <a:pt x="388620" y="95345"/>
                  </a:lnTo>
                  <a:lnTo>
                    <a:pt x="385667" y="97250"/>
                  </a:lnTo>
                  <a:lnTo>
                    <a:pt x="383667" y="94297"/>
                  </a:lnTo>
                  <a:lnTo>
                    <a:pt x="382143" y="94488"/>
                  </a:lnTo>
                  <a:lnTo>
                    <a:pt x="379762" y="88392"/>
                  </a:lnTo>
                  <a:lnTo>
                    <a:pt x="380714" y="83439"/>
                  </a:lnTo>
                  <a:lnTo>
                    <a:pt x="382048" y="81725"/>
                  </a:lnTo>
                  <a:lnTo>
                    <a:pt x="381286" y="75343"/>
                  </a:lnTo>
                  <a:lnTo>
                    <a:pt x="380905" y="72200"/>
                  </a:lnTo>
                  <a:lnTo>
                    <a:pt x="382238" y="70485"/>
                  </a:lnTo>
                  <a:lnTo>
                    <a:pt x="381857" y="67342"/>
                  </a:lnTo>
                  <a:lnTo>
                    <a:pt x="386620" y="66675"/>
                  </a:lnTo>
                  <a:lnTo>
                    <a:pt x="381667" y="65722"/>
                  </a:lnTo>
                  <a:lnTo>
                    <a:pt x="376142" y="60007"/>
                  </a:lnTo>
                  <a:lnTo>
                    <a:pt x="374713" y="61817"/>
                  </a:lnTo>
                  <a:lnTo>
                    <a:pt x="365284" y="62960"/>
                  </a:lnTo>
                  <a:lnTo>
                    <a:pt x="361950" y="61817"/>
                  </a:lnTo>
                  <a:lnTo>
                    <a:pt x="357950" y="68771"/>
                  </a:lnTo>
                  <a:lnTo>
                    <a:pt x="357759" y="67151"/>
                  </a:lnTo>
                  <a:lnTo>
                    <a:pt x="352044" y="72676"/>
                  </a:lnTo>
                  <a:lnTo>
                    <a:pt x="350330" y="71342"/>
                  </a:lnTo>
                  <a:lnTo>
                    <a:pt x="348901" y="73057"/>
                  </a:lnTo>
                  <a:lnTo>
                    <a:pt x="342233" y="70771"/>
                  </a:lnTo>
                  <a:lnTo>
                    <a:pt x="341471" y="77248"/>
                  </a:lnTo>
                  <a:lnTo>
                    <a:pt x="345376" y="83153"/>
                  </a:lnTo>
                  <a:lnTo>
                    <a:pt x="342614" y="86773"/>
                  </a:lnTo>
                  <a:lnTo>
                    <a:pt x="342233" y="83534"/>
                  </a:lnTo>
                  <a:lnTo>
                    <a:pt x="341471" y="90106"/>
                  </a:lnTo>
                  <a:lnTo>
                    <a:pt x="340042" y="91821"/>
                  </a:lnTo>
                  <a:lnTo>
                    <a:pt x="340519" y="95059"/>
                  </a:lnTo>
                  <a:lnTo>
                    <a:pt x="338900" y="95250"/>
                  </a:lnTo>
                  <a:lnTo>
                    <a:pt x="337566" y="96964"/>
                  </a:lnTo>
                  <a:lnTo>
                    <a:pt x="335566" y="94012"/>
                  </a:lnTo>
                  <a:lnTo>
                    <a:pt x="333946" y="94202"/>
                  </a:lnTo>
                  <a:lnTo>
                    <a:pt x="334327" y="97441"/>
                  </a:lnTo>
                  <a:lnTo>
                    <a:pt x="332804" y="97631"/>
                  </a:lnTo>
                  <a:lnTo>
                    <a:pt x="336709" y="103537"/>
                  </a:lnTo>
                  <a:lnTo>
                    <a:pt x="333566" y="103918"/>
                  </a:lnTo>
                  <a:lnTo>
                    <a:pt x="334042" y="107061"/>
                  </a:lnTo>
                  <a:lnTo>
                    <a:pt x="330803" y="107442"/>
                  </a:lnTo>
                  <a:lnTo>
                    <a:pt x="330041" y="101155"/>
                  </a:lnTo>
                  <a:lnTo>
                    <a:pt x="326898" y="101536"/>
                  </a:lnTo>
                  <a:lnTo>
                    <a:pt x="324707" y="97060"/>
                  </a:lnTo>
                  <a:lnTo>
                    <a:pt x="322135" y="102203"/>
                  </a:lnTo>
                  <a:lnTo>
                    <a:pt x="320612" y="102394"/>
                  </a:lnTo>
                  <a:lnTo>
                    <a:pt x="320992" y="105537"/>
                  </a:lnTo>
                  <a:lnTo>
                    <a:pt x="318230" y="109061"/>
                  </a:lnTo>
                  <a:lnTo>
                    <a:pt x="318611" y="112204"/>
                  </a:lnTo>
                  <a:lnTo>
                    <a:pt x="318992" y="115443"/>
                  </a:lnTo>
                  <a:lnTo>
                    <a:pt x="309372" y="115062"/>
                  </a:lnTo>
                  <a:lnTo>
                    <a:pt x="302609" y="112681"/>
                  </a:lnTo>
                  <a:lnTo>
                    <a:pt x="302038" y="107918"/>
                  </a:lnTo>
                  <a:lnTo>
                    <a:pt x="298704" y="106775"/>
                  </a:lnTo>
                  <a:lnTo>
                    <a:pt x="290036" y="114300"/>
                  </a:lnTo>
                  <a:lnTo>
                    <a:pt x="290989" y="122206"/>
                  </a:lnTo>
                  <a:lnTo>
                    <a:pt x="290989" y="122206"/>
                  </a:lnTo>
                  <a:lnTo>
                    <a:pt x="289465" y="122396"/>
                  </a:lnTo>
                  <a:lnTo>
                    <a:pt x="285083" y="126111"/>
                  </a:lnTo>
                  <a:lnTo>
                    <a:pt x="284702" y="122968"/>
                  </a:lnTo>
                  <a:lnTo>
                    <a:pt x="275463" y="125730"/>
                  </a:lnTo>
                  <a:lnTo>
                    <a:pt x="273463" y="122777"/>
                  </a:lnTo>
                  <a:lnTo>
                    <a:pt x="268700" y="123444"/>
                  </a:lnTo>
                  <a:lnTo>
                    <a:pt x="268129" y="118681"/>
                  </a:lnTo>
                  <a:lnTo>
                    <a:pt x="264605" y="115919"/>
                  </a:lnTo>
                  <a:lnTo>
                    <a:pt x="263366" y="119253"/>
                  </a:lnTo>
                  <a:lnTo>
                    <a:pt x="257080" y="120110"/>
                  </a:lnTo>
                  <a:lnTo>
                    <a:pt x="261366" y="116300"/>
                  </a:lnTo>
                  <a:lnTo>
                    <a:pt x="260985" y="113157"/>
                  </a:lnTo>
                  <a:lnTo>
                    <a:pt x="263938" y="111157"/>
                  </a:lnTo>
                  <a:lnTo>
                    <a:pt x="256032" y="112204"/>
                  </a:lnTo>
                  <a:lnTo>
                    <a:pt x="254698" y="114014"/>
                  </a:lnTo>
                  <a:lnTo>
                    <a:pt x="251174" y="111252"/>
                  </a:lnTo>
                  <a:lnTo>
                    <a:pt x="248984" y="106680"/>
                  </a:lnTo>
                  <a:lnTo>
                    <a:pt x="249746" y="100203"/>
                  </a:lnTo>
                  <a:lnTo>
                    <a:pt x="239649" y="96679"/>
                  </a:lnTo>
                  <a:lnTo>
                    <a:pt x="235077" y="98869"/>
                  </a:lnTo>
                  <a:lnTo>
                    <a:pt x="235363" y="100393"/>
                  </a:lnTo>
                  <a:lnTo>
                    <a:pt x="238696" y="101536"/>
                  </a:lnTo>
                  <a:lnTo>
                    <a:pt x="234125" y="103727"/>
                  </a:lnTo>
                  <a:lnTo>
                    <a:pt x="230410" y="112204"/>
                  </a:lnTo>
                  <a:lnTo>
                    <a:pt x="227076" y="111061"/>
                  </a:lnTo>
                  <a:lnTo>
                    <a:pt x="227267" y="112681"/>
                  </a:lnTo>
                  <a:lnTo>
                    <a:pt x="225457" y="111252"/>
                  </a:lnTo>
                  <a:lnTo>
                    <a:pt x="222694" y="114871"/>
                  </a:lnTo>
                  <a:lnTo>
                    <a:pt x="220790" y="111919"/>
                  </a:lnTo>
                  <a:lnTo>
                    <a:pt x="222123" y="110109"/>
                  </a:lnTo>
                  <a:lnTo>
                    <a:pt x="220504" y="110300"/>
                  </a:lnTo>
                  <a:lnTo>
                    <a:pt x="219170" y="112109"/>
                  </a:lnTo>
                  <a:lnTo>
                    <a:pt x="217742" y="113824"/>
                  </a:lnTo>
                  <a:lnTo>
                    <a:pt x="216408" y="102775"/>
                  </a:lnTo>
                  <a:lnTo>
                    <a:pt x="214979" y="104584"/>
                  </a:lnTo>
                  <a:lnTo>
                    <a:pt x="213265" y="103251"/>
                  </a:lnTo>
                  <a:lnTo>
                    <a:pt x="210407" y="93917"/>
                  </a:lnTo>
                  <a:lnTo>
                    <a:pt x="207264" y="94393"/>
                  </a:lnTo>
                  <a:lnTo>
                    <a:pt x="209264" y="97346"/>
                  </a:lnTo>
                  <a:lnTo>
                    <a:pt x="202978" y="98107"/>
                  </a:lnTo>
                  <a:lnTo>
                    <a:pt x="203740" y="104394"/>
                  </a:lnTo>
                  <a:lnTo>
                    <a:pt x="198977" y="105061"/>
                  </a:lnTo>
                  <a:lnTo>
                    <a:pt x="199453" y="108204"/>
                  </a:lnTo>
                  <a:lnTo>
                    <a:pt x="192500" y="104299"/>
                  </a:lnTo>
                  <a:lnTo>
                    <a:pt x="186023" y="103442"/>
                  </a:lnTo>
                  <a:lnTo>
                    <a:pt x="182499" y="113538"/>
                  </a:lnTo>
                  <a:lnTo>
                    <a:pt x="180880" y="113729"/>
                  </a:lnTo>
                  <a:lnTo>
                    <a:pt x="180880" y="113729"/>
                  </a:lnTo>
                  <a:lnTo>
                    <a:pt x="170974" y="111823"/>
                  </a:lnTo>
                  <a:lnTo>
                    <a:pt x="169259" y="110395"/>
                  </a:lnTo>
                  <a:lnTo>
                    <a:pt x="165925" y="109252"/>
                  </a:lnTo>
                  <a:lnTo>
                    <a:pt x="164687" y="112585"/>
                  </a:lnTo>
                  <a:lnTo>
                    <a:pt x="160401" y="116396"/>
                  </a:lnTo>
                  <a:lnTo>
                    <a:pt x="159163" y="119729"/>
                  </a:lnTo>
                  <a:lnTo>
                    <a:pt x="164306" y="122301"/>
                  </a:lnTo>
                  <a:lnTo>
                    <a:pt x="164782" y="125444"/>
                  </a:lnTo>
                  <a:lnTo>
                    <a:pt x="163544" y="128778"/>
                  </a:lnTo>
                  <a:lnTo>
                    <a:pt x="160211" y="127635"/>
                  </a:lnTo>
                  <a:lnTo>
                    <a:pt x="159067" y="130969"/>
                  </a:lnTo>
                  <a:lnTo>
                    <a:pt x="155829" y="131350"/>
                  </a:lnTo>
                  <a:lnTo>
                    <a:pt x="157829" y="134302"/>
                  </a:lnTo>
                  <a:lnTo>
                    <a:pt x="156496" y="136112"/>
                  </a:lnTo>
                  <a:lnTo>
                    <a:pt x="157258" y="142399"/>
                  </a:lnTo>
                  <a:lnTo>
                    <a:pt x="160592" y="143637"/>
                  </a:lnTo>
                  <a:lnTo>
                    <a:pt x="163830" y="143161"/>
                  </a:lnTo>
                  <a:lnTo>
                    <a:pt x="164021" y="144780"/>
                  </a:lnTo>
                  <a:lnTo>
                    <a:pt x="163830" y="143161"/>
                  </a:lnTo>
                  <a:lnTo>
                    <a:pt x="170307" y="144018"/>
                  </a:lnTo>
                  <a:lnTo>
                    <a:pt x="170497" y="145542"/>
                  </a:lnTo>
                  <a:lnTo>
                    <a:pt x="164021" y="144780"/>
                  </a:lnTo>
                  <a:lnTo>
                    <a:pt x="165925" y="147733"/>
                  </a:lnTo>
                  <a:lnTo>
                    <a:pt x="164782" y="151067"/>
                  </a:lnTo>
                  <a:lnTo>
                    <a:pt x="165925" y="147733"/>
                  </a:lnTo>
                  <a:lnTo>
                    <a:pt x="167545" y="147542"/>
                  </a:lnTo>
                  <a:lnTo>
                    <a:pt x="167926" y="150685"/>
                  </a:lnTo>
                  <a:lnTo>
                    <a:pt x="165163" y="154210"/>
                  </a:lnTo>
                  <a:lnTo>
                    <a:pt x="168402" y="153829"/>
                  </a:lnTo>
                  <a:lnTo>
                    <a:pt x="167164" y="157163"/>
                  </a:lnTo>
                  <a:lnTo>
                    <a:pt x="169545" y="163354"/>
                  </a:lnTo>
                  <a:lnTo>
                    <a:pt x="166592" y="165259"/>
                  </a:lnTo>
                  <a:lnTo>
                    <a:pt x="165640" y="170212"/>
                  </a:lnTo>
                  <a:lnTo>
                    <a:pt x="168973" y="171355"/>
                  </a:lnTo>
                  <a:lnTo>
                    <a:pt x="167640" y="173164"/>
                  </a:lnTo>
                  <a:lnTo>
                    <a:pt x="168021" y="176308"/>
                  </a:lnTo>
                  <a:lnTo>
                    <a:pt x="166878" y="179642"/>
                  </a:lnTo>
                  <a:lnTo>
                    <a:pt x="168592" y="181070"/>
                  </a:lnTo>
                  <a:lnTo>
                    <a:pt x="170783" y="185642"/>
                  </a:lnTo>
                  <a:lnTo>
                    <a:pt x="172402" y="185452"/>
                  </a:lnTo>
                  <a:lnTo>
                    <a:pt x="172784" y="188595"/>
                  </a:lnTo>
                  <a:lnTo>
                    <a:pt x="174593" y="189929"/>
                  </a:lnTo>
                  <a:lnTo>
                    <a:pt x="174974" y="193072"/>
                  </a:lnTo>
                  <a:lnTo>
                    <a:pt x="178117" y="192691"/>
                  </a:lnTo>
                  <a:lnTo>
                    <a:pt x="178308" y="194310"/>
                  </a:lnTo>
                  <a:lnTo>
                    <a:pt x="175165" y="194691"/>
                  </a:lnTo>
                  <a:lnTo>
                    <a:pt x="177165" y="197644"/>
                  </a:lnTo>
                  <a:lnTo>
                    <a:pt x="185261" y="198215"/>
                  </a:lnTo>
                  <a:lnTo>
                    <a:pt x="185452" y="199739"/>
                  </a:lnTo>
                  <a:lnTo>
                    <a:pt x="182309" y="200215"/>
                  </a:lnTo>
                  <a:lnTo>
                    <a:pt x="175736" y="199358"/>
                  </a:lnTo>
                  <a:lnTo>
                    <a:pt x="173165" y="204502"/>
                  </a:lnTo>
                  <a:lnTo>
                    <a:pt x="174974" y="205930"/>
                  </a:lnTo>
                  <a:lnTo>
                    <a:pt x="173450" y="206121"/>
                  </a:lnTo>
                  <a:lnTo>
                    <a:pt x="169450" y="213074"/>
                  </a:lnTo>
                  <a:lnTo>
                    <a:pt x="166306" y="213455"/>
                  </a:lnTo>
                  <a:lnTo>
                    <a:pt x="168116" y="214789"/>
                  </a:lnTo>
                  <a:lnTo>
                    <a:pt x="165544" y="219932"/>
                  </a:lnTo>
                  <a:lnTo>
                    <a:pt x="166402" y="226219"/>
                  </a:lnTo>
                  <a:lnTo>
                    <a:pt x="168116" y="227647"/>
                  </a:lnTo>
                  <a:lnTo>
                    <a:pt x="164211" y="234505"/>
                  </a:lnTo>
                  <a:lnTo>
                    <a:pt x="162592" y="234791"/>
                  </a:lnTo>
                  <a:lnTo>
                    <a:pt x="163068" y="237934"/>
                  </a:lnTo>
                  <a:lnTo>
                    <a:pt x="164592" y="237744"/>
                  </a:lnTo>
                  <a:lnTo>
                    <a:pt x="163259" y="239459"/>
                  </a:lnTo>
                  <a:lnTo>
                    <a:pt x="164782" y="239268"/>
                  </a:lnTo>
                  <a:lnTo>
                    <a:pt x="163449" y="241078"/>
                  </a:lnTo>
                  <a:lnTo>
                    <a:pt x="167354" y="246983"/>
                  </a:lnTo>
                  <a:lnTo>
                    <a:pt x="166402" y="251936"/>
                  </a:lnTo>
                  <a:lnTo>
                    <a:pt x="171926" y="257651"/>
                  </a:lnTo>
                  <a:lnTo>
                    <a:pt x="173926" y="260604"/>
                  </a:lnTo>
                  <a:lnTo>
                    <a:pt x="170974" y="262604"/>
                  </a:lnTo>
                  <a:lnTo>
                    <a:pt x="174307" y="263747"/>
                  </a:lnTo>
                  <a:lnTo>
                    <a:pt x="171164" y="264128"/>
                  </a:lnTo>
                  <a:lnTo>
                    <a:pt x="171355" y="265747"/>
                  </a:lnTo>
                  <a:lnTo>
                    <a:pt x="174498" y="265271"/>
                  </a:lnTo>
                  <a:lnTo>
                    <a:pt x="178308" y="269653"/>
                  </a:lnTo>
                  <a:lnTo>
                    <a:pt x="181261" y="267652"/>
                  </a:lnTo>
                  <a:lnTo>
                    <a:pt x="180118" y="270986"/>
                  </a:lnTo>
                  <a:lnTo>
                    <a:pt x="183451" y="272225"/>
                  </a:lnTo>
                  <a:lnTo>
                    <a:pt x="182690" y="278701"/>
                  </a:lnTo>
                  <a:lnTo>
                    <a:pt x="184594" y="281654"/>
                  </a:lnTo>
                  <a:lnTo>
                    <a:pt x="181261" y="280511"/>
                  </a:lnTo>
                  <a:lnTo>
                    <a:pt x="181642" y="283655"/>
                  </a:lnTo>
                  <a:lnTo>
                    <a:pt x="180118" y="283845"/>
                  </a:lnTo>
                  <a:lnTo>
                    <a:pt x="176022" y="289179"/>
                  </a:lnTo>
                  <a:lnTo>
                    <a:pt x="177736" y="290513"/>
                  </a:lnTo>
                  <a:lnTo>
                    <a:pt x="180308" y="285464"/>
                  </a:lnTo>
                  <a:lnTo>
                    <a:pt x="181356" y="293275"/>
                  </a:lnTo>
                  <a:lnTo>
                    <a:pt x="183071" y="294704"/>
                  </a:lnTo>
                  <a:lnTo>
                    <a:pt x="175165" y="295656"/>
                  </a:lnTo>
                  <a:lnTo>
                    <a:pt x="171450" y="304229"/>
                  </a:lnTo>
                  <a:lnTo>
                    <a:pt x="169164" y="310896"/>
                  </a:lnTo>
                  <a:lnTo>
                    <a:pt x="171069" y="313849"/>
                  </a:lnTo>
                  <a:lnTo>
                    <a:pt x="167926" y="314230"/>
                  </a:lnTo>
                  <a:lnTo>
                    <a:pt x="170497" y="321945"/>
                  </a:lnTo>
                  <a:lnTo>
                    <a:pt x="169354" y="325279"/>
                  </a:lnTo>
                  <a:lnTo>
                    <a:pt x="168021" y="327088"/>
                  </a:lnTo>
                  <a:lnTo>
                    <a:pt x="159639" y="324898"/>
                  </a:lnTo>
                  <a:lnTo>
                    <a:pt x="155162" y="327088"/>
                  </a:lnTo>
                  <a:lnTo>
                    <a:pt x="154210" y="332042"/>
                  </a:lnTo>
                  <a:lnTo>
                    <a:pt x="151067" y="332422"/>
                  </a:lnTo>
                  <a:lnTo>
                    <a:pt x="146494" y="334613"/>
                  </a:lnTo>
                  <a:lnTo>
                    <a:pt x="144494" y="344519"/>
                  </a:lnTo>
                  <a:lnTo>
                    <a:pt x="136017" y="340805"/>
                  </a:lnTo>
                  <a:lnTo>
                    <a:pt x="139065" y="351663"/>
                  </a:lnTo>
                  <a:lnTo>
                    <a:pt x="136112" y="353568"/>
                  </a:lnTo>
                  <a:lnTo>
                    <a:pt x="134493" y="353759"/>
                  </a:lnTo>
                  <a:lnTo>
                    <a:pt x="138684" y="361283"/>
                  </a:lnTo>
                  <a:lnTo>
                    <a:pt x="141827" y="360902"/>
                  </a:lnTo>
                  <a:lnTo>
                    <a:pt x="145161" y="362045"/>
                  </a:lnTo>
                  <a:lnTo>
                    <a:pt x="144399" y="368617"/>
                  </a:lnTo>
                  <a:lnTo>
                    <a:pt x="141446" y="370522"/>
                  </a:lnTo>
                  <a:lnTo>
                    <a:pt x="140684" y="377095"/>
                  </a:lnTo>
                  <a:lnTo>
                    <a:pt x="137541" y="377476"/>
                  </a:lnTo>
                  <a:lnTo>
                    <a:pt x="134398" y="377857"/>
                  </a:lnTo>
                  <a:lnTo>
                    <a:pt x="130588" y="373571"/>
                  </a:lnTo>
                  <a:lnTo>
                    <a:pt x="126111" y="375761"/>
                  </a:lnTo>
                  <a:lnTo>
                    <a:pt x="119539" y="374999"/>
                  </a:lnTo>
                  <a:lnTo>
                    <a:pt x="118205" y="376714"/>
                  </a:lnTo>
                  <a:lnTo>
                    <a:pt x="121729" y="379476"/>
                  </a:lnTo>
                  <a:lnTo>
                    <a:pt x="121348" y="389192"/>
                  </a:lnTo>
                  <a:lnTo>
                    <a:pt x="124301" y="400050"/>
                  </a:lnTo>
                  <a:lnTo>
                    <a:pt x="127540" y="399574"/>
                  </a:lnTo>
                  <a:lnTo>
                    <a:pt x="129254" y="401002"/>
                  </a:lnTo>
                  <a:lnTo>
                    <a:pt x="138970" y="401384"/>
                  </a:lnTo>
                  <a:lnTo>
                    <a:pt x="141922" y="399383"/>
                  </a:lnTo>
                  <a:lnTo>
                    <a:pt x="143923" y="402336"/>
                  </a:lnTo>
                  <a:lnTo>
                    <a:pt x="140684" y="402717"/>
                  </a:lnTo>
                  <a:lnTo>
                    <a:pt x="133636" y="410051"/>
                  </a:lnTo>
                  <a:lnTo>
                    <a:pt x="133826" y="411575"/>
                  </a:lnTo>
                  <a:lnTo>
                    <a:pt x="137827" y="417576"/>
                  </a:lnTo>
                  <a:lnTo>
                    <a:pt x="136207" y="417767"/>
                  </a:lnTo>
                  <a:lnTo>
                    <a:pt x="129730" y="417005"/>
                  </a:lnTo>
                  <a:lnTo>
                    <a:pt x="129540" y="415385"/>
                  </a:lnTo>
                  <a:lnTo>
                    <a:pt x="124396" y="412813"/>
                  </a:lnTo>
                  <a:lnTo>
                    <a:pt x="123444" y="417767"/>
                  </a:lnTo>
                  <a:lnTo>
                    <a:pt x="125158" y="419100"/>
                  </a:lnTo>
                  <a:lnTo>
                    <a:pt x="126016" y="425482"/>
                  </a:lnTo>
                  <a:lnTo>
                    <a:pt x="119253" y="423100"/>
                  </a:lnTo>
                  <a:lnTo>
                    <a:pt x="113538" y="428625"/>
                  </a:lnTo>
                  <a:lnTo>
                    <a:pt x="115348" y="430054"/>
                  </a:lnTo>
                  <a:lnTo>
                    <a:pt x="115729" y="433197"/>
                  </a:lnTo>
                  <a:lnTo>
                    <a:pt x="112395" y="431959"/>
                  </a:lnTo>
                  <a:lnTo>
                    <a:pt x="110966" y="433768"/>
                  </a:lnTo>
                  <a:lnTo>
                    <a:pt x="111633" y="438531"/>
                  </a:lnTo>
                  <a:lnTo>
                    <a:pt x="114776" y="438150"/>
                  </a:lnTo>
                  <a:lnTo>
                    <a:pt x="113157" y="438340"/>
                  </a:lnTo>
                  <a:lnTo>
                    <a:pt x="114014" y="444627"/>
                  </a:lnTo>
                  <a:lnTo>
                    <a:pt x="116776" y="441103"/>
                  </a:lnTo>
                  <a:lnTo>
                    <a:pt x="116396" y="450723"/>
                  </a:lnTo>
                  <a:lnTo>
                    <a:pt x="124682" y="452914"/>
                  </a:lnTo>
                  <a:lnTo>
                    <a:pt x="126206" y="452723"/>
                  </a:lnTo>
                  <a:lnTo>
                    <a:pt x="125063" y="456057"/>
                  </a:lnTo>
                  <a:lnTo>
                    <a:pt x="128397" y="457200"/>
                  </a:lnTo>
                  <a:lnTo>
                    <a:pt x="129445" y="465106"/>
                  </a:lnTo>
                  <a:lnTo>
                    <a:pt x="132017" y="472821"/>
                  </a:lnTo>
                  <a:lnTo>
                    <a:pt x="127730" y="476536"/>
                  </a:lnTo>
                  <a:lnTo>
                    <a:pt x="122587" y="473964"/>
                  </a:lnTo>
                  <a:lnTo>
                    <a:pt x="119348" y="474440"/>
                  </a:lnTo>
                  <a:lnTo>
                    <a:pt x="112490" y="483298"/>
                  </a:lnTo>
                  <a:lnTo>
                    <a:pt x="113157" y="500825"/>
                  </a:lnTo>
                  <a:lnTo>
                    <a:pt x="113347" y="502444"/>
                  </a:lnTo>
                  <a:lnTo>
                    <a:pt x="108775" y="504634"/>
                  </a:lnTo>
                  <a:lnTo>
                    <a:pt x="110776" y="507587"/>
                  </a:lnTo>
                  <a:lnTo>
                    <a:pt x="112204" y="505777"/>
                  </a:lnTo>
                  <a:lnTo>
                    <a:pt x="112395" y="507397"/>
                  </a:lnTo>
                  <a:lnTo>
                    <a:pt x="115348" y="505396"/>
                  </a:lnTo>
                  <a:lnTo>
                    <a:pt x="115538" y="507016"/>
                  </a:lnTo>
                  <a:lnTo>
                    <a:pt x="112776" y="510540"/>
                  </a:lnTo>
                  <a:lnTo>
                    <a:pt x="111633" y="513874"/>
                  </a:lnTo>
                  <a:lnTo>
                    <a:pt x="110966" y="509111"/>
                  </a:lnTo>
                  <a:lnTo>
                    <a:pt x="109442" y="509397"/>
                  </a:lnTo>
                  <a:lnTo>
                    <a:pt x="105823" y="506635"/>
                  </a:lnTo>
                  <a:lnTo>
                    <a:pt x="103061" y="510159"/>
                  </a:lnTo>
                  <a:lnTo>
                    <a:pt x="101346" y="508825"/>
                  </a:lnTo>
                  <a:lnTo>
                    <a:pt x="96965" y="512540"/>
                  </a:lnTo>
                  <a:lnTo>
                    <a:pt x="88868" y="511969"/>
                  </a:lnTo>
                  <a:lnTo>
                    <a:pt x="89535" y="516731"/>
                  </a:lnTo>
                  <a:lnTo>
                    <a:pt x="86582" y="518731"/>
                  </a:lnTo>
                  <a:lnTo>
                    <a:pt x="86963" y="521875"/>
                  </a:lnTo>
                  <a:lnTo>
                    <a:pt x="84011" y="523780"/>
                  </a:lnTo>
                  <a:lnTo>
                    <a:pt x="79057" y="522827"/>
                  </a:lnTo>
                  <a:lnTo>
                    <a:pt x="78105" y="527780"/>
                  </a:lnTo>
                  <a:lnTo>
                    <a:pt x="68008" y="537115"/>
                  </a:lnTo>
                  <a:lnTo>
                    <a:pt x="66103" y="534162"/>
                  </a:lnTo>
                  <a:lnTo>
                    <a:pt x="64103" y="531209"/>
                  </a:lnTo>
                  <a:lnTo>
                    <a:pt x="59341" y="531781"/>
                  </a:lnTo>
                  <a:lnTo>
                    <a:pt x="50863" y="528066"/>
                  </a:lnTo>
                  <a:lnTo>
                    <a:pt x="53816" y="526066"/>
                  </a:lnTo>
                  <a:lnTo>
                    <a:pt x="53626" y="524447"/>
                  </a:lnTo>
                  <a:lnTo>
                    <a:pt x="40576" y="522922"/>
                  </a:lnTo>
                  <a:lnTo>
                    <a:pt x="39243" y="524732"/>
                  </a:lnTo>
                  <a:lnTo>
                    <a:pt x="39433" y="526256"/>
                  </a:lnTo>
                  <a:lnTo>
                    <a:pt x="46101" y="528638"/>
                  </a:lnTo>
                  <a:lnTo>
                    <a:pt x="48101" y="531590"/>
                  </a:lnTo>
                  <a:lnTo>
                    <a:pt x="46768" y="533400"/>
                  </a:lnTo>
                  <a:lnTo>
                    <a:pt x="43720" y="535400"/>
                  </a:lnTo>
                  <a:lnTo>
                    <a:pt x="41434" y="542068"/>
                  </a:lnTo>
                  <a:lnTo>
                    <a:pt x="41624" y="543687"/>
                  </a:lnTo>
                  <a:lnTo>
                    <a:pt x="40481" y="547021"/>
                  </a:lnTo>
                  <a:lnTo>
                    <a:pt x="39433" y="551974"/>
                  </a:lnTo>
                  <a:lnTo>
                    <a:pt x="42863" y="553117"/>
                  </a:lnTo>
                  <a:lnTo>
                    <a:pt x="44386" y="565785"/>
                  </a:lnTo>
                  <a:lnTo>
                    <a:pt x="43244" y="569119"/>
                  </a:lnTo>
                  <a:lnTo>
                    <a:pt x="32385" y="572072"/>
                  </a:lnTo>
                  <a:lnTo>
                    <a:pt x="32575" y="573691"/>
                  </a:lnTo>
                  <a:lnTo>
                    <a:pt x="35433" y="582930"/>
                  </a:lnTo>
                  <a:lnTo>
                    <a:pt x="42481" y="588455"/>
                  </a:lnTo>
                  <a:lnTo>
                    <a:pt x="44482" y="591407"/>
                  </a:lnTo>
                  <a:lnTo>
                    <a:pt x="42386" y="599694"/>
                  </a:lnTo>
                  <a:lnTo>
                    <a:pt x="50292" y="611505"/>
                  </a:lnTo>
                  <a:lnTo>
                    <a:pt x="51054" y="617792"/>
                  </a:lnTo>
                  <a:lnTo>
                    <a:pt x="49911" y="621221"/>
                  </a:lnTo>
                  <a:lnTo>
                    <a:pt x="47720" y="629507"/>
                  </a:lnTo>
                  <a:lnTo>
                    <a:pt x="34957" y="642366"/>
                  </a:lnTo>
                  <a:lnTo>
                    <a:pt x="31147" y="637984"/>
                  </a:lnTo>
                  <a:lnTo>
                    <a:pt x="27813" y="636842"/>
                  </a:lnTo>
                  <a:lnTo>
                    <a:pt x="25813" y="633889"/>
                  </a:lnTo>
                  <a:lnTo>
                    <a:pt x="24289" y="634079"/>
                  </a:lnTo>
                  <a:lnTo>
                    <a:pt x="24670" y="637222"/>
                  </a:lnTo>
                  <a:lnTo>
                    <a:pt x="15049" y="649700"/>
                  </a:lnTo>
                  <a:lnTo>
                    <a:pt x="13240" y="661130"/>
                  </a:lnTo>
                  <a:lnTo>
                    <a:pt x="5048" y="671798"/>
                  </a:lnTo>
                  <a:lnTo>
                    <a:pt x="7048" y="674751"/>
                  </a:lnTo>
                  <a:lnTo>
                    <a:pt x="6191" y="681228"/>
                  </a:lnTo>
                  <a:lnTo>
                    <a:pt x="6858" y="685990"/>
                  </a:lnTo>
                  <a:lnTo>
                    <a:pt x="1524" y="694658"/>
                  </a:lnTo>
                  <a:lnTo>
                    <a:pt x="2096" y="699421"/>
                  </a:lnTo>
                  <a:lnTo>
                    <a:pt x="0" y="707707"/>
                  </a:lnTo>
                  <a:lnTo>
                    <a:pt x="3905" y="713613"/>
                  </a:lnTo>
                  <a:lnTo>
                    <a:pt x="10668" y="715994"/>
                  </a:lnTo>
                  <a:lnTo>
                    <a:pt x="9715" y="720947"/>
                  </a:lnTo>
                  <a:lnTo>
                    <a:pt x="10668" y="728853"/>
                  </a:lnTo>
                  <a:lnTo>
                    <a:pt x="15621" y="729805"/>
                  </a:lnTo>
                  <a:lnTo>
                    <a:pt x="18383" y="726186"/>
                  </a:lnTo>
                  <a:lnTo>
                    <a:pt x="25527" y="731710"/>
                  </a:lnTo>
                  <a:lnTo>
                    <a:pt x="28289" y="728186"/>
                  </a:lnTo>
                  <a:lnTo>
                    <a:pt x="31242" y="726186"/>
                  </a:lnTo>
                  <a:lnTo>
                    <a:pt x="38957" y="736473"/>
                  </a:lnTo>
                  <a:lnTo>
                    <a:pt x="36767" y="744760"/>
                  </a:lnTo>
                  <a:lnTo>
                    <a:pt x="40957" y="752189"/>
                  </a:lnTo>
                  <a:lnTo>
                    <a:pt x="52006" y="763619"/>
                  </a:lnTo>
                  <a:lnTo>
                    <a:pt x="51435" y="758952"/>
                  </a:lnTo>
                  <a:lnTo>
                    <a:pt x="54388" y="756952"/>
                  </a:lnTo>
                  <a:lnTo>
                    <a:pt x="58483" y="751618"/>
                  </a:lnTo>
                  <a:lnTo>
                    <a:pt x="64960" y="752380"/>
                  </a:lnTo>
                  <a:lnTo>
                    <a:pt x="66770" y="753713"/>
                  </a:lnTo>
                  <a:lnTo>
                    <a:pt x="61055" y="759238"/>
                  </a:lnTo>
                  <a:lnTo>
                    <a:pt x="59912" y="762667"/>
                  </a:lnTo>
                  <a:lnTo>
                    <a:pt x="69818" y="777430"/>
                  </a:lnTo>
                  <a:lnTo>
                    <a:pt x="71247" y="788480"/>
                  </a:lnTo>
                  <a:lnTo>
                    <a:pt x="72771" y="788289"/>
                  </a:lnTo>
                  <a:lnTo>
                    <a:pt x="74771" y="791242"/>
                  </a:lnTo>
                  <a:lnTo>
                    <a:pt x="82486" y="814292"/>
                  </a:lnTo>
                  <a:lnTo>
                    <a:pt x="87630" y="816864"/>
                  </a:lnTo>
                  <a:lnTo>
                    <a:pt x="92773" y="819340"/>
                  </a:lnTo>
                  <a:lnTo>
                    <a:pt x="91630" y="822770"/>
                  </a:lnTo>
                  <a:lnTo>
                    <a:pt x="94202" y="830389"/>
                  </a:lnTo>
                  <a:lnTo>
                    <a:pt x="97726" y="833152"/>
                  </a:lnTo>
                  <a:lnTo>
                    <a:pt x="104108" y="832390"/>
                  </a:lnTo>
                  <a:lnTo>
                    <a:pt x="105823" y="833723"/>
                  </a:lnTo>
                  <a:lnTo>
                    <a:pt x="114871" y="829437"/>
                  </a:lnTo>
                  <a:lnTo>
                    <a:pt x="126778" y="834295"/>
                  </a:lnTo>
                  <a:lnTo>
                    <a:pt x="132683" y="830294"/>
                  </a:lnTo>
                  <a:lnTo>
                    <a:pt x="136779" y="824960"/>
                  </a:lnTo>
                  <a:lnTo>
                    <a:pt x="141922" y="827532"/>
                  </a:lnTo>
                  <a:lnTo>
                    <a:pt x="142970" y="835438"/>
                  </a:lnTo>
                  <a:lnTo>
                    <a:pt x="151067" y="848868"/>
                  </a:lnTo>
                  <a:lnTo>
                    <a:pt x="148685" y="855536"/>
                  </a:lnTo>
                  <a:lnTo>
                    <a:pt x="160020" y="881348"/>
                  </a:lnTo>
                  <a:lnTo>
                    <a:pt x="160401" y="884491"/>
                  </a:lnTo>
                  <a:lnTo>
                    <a:pt x="164401" y="890492"/>
                  </a:lnTo>
                  <a:lnTo>
                    <a:pt x="170688" y="889635"/>
                  </a:lnTo>
                  <a:lnTo>
                    <a:pt x="180594" y="891635"/>
                  </a:lnTo>
                  <a:lnTo>
                    <a:pt x="176594" y="898493"/>
                  </a:lnTo>
                  <a:lnTo>
                    <a:pt x="183737" y="904018"/>
                  </a:lnTo>
                  <a:lnTo>
                    <a:pt x="182975" y="910495"/>
                  </a:lnTo>
                  <a:lnTo>
                    <a:pt x="194881" y="928306"/>
                  </a:lnTo>
                  <a:lnTo>
                    <a:pt x="190405" y="943261"/>
                  </a:lnTo>
                  <a:lnTo>
                    <a:pt x="187833" y="948404"/>
                  </a:lnTo>
                  <a:lnTo>
                    <a:pt x="193357" y="954119"/>
                  </a:lnTo>
                  <a:lnTo>
                    <a:pt x="208597" y="960215"/>
                  </a:lnTo>
                  <a:lnTo>
                    <a:pt x="216217" y="957644"/>
                  </a:lnTo>
                  <a:lnTo>
                    <a:pt x="218408" y="962120"/>
                  </a:lnTo>
                  <a:lnTo>
                    <a:pt x="224504" y="959739"/>
                  </a:lnTo>
                  <a:lnTo>
                    <a:pt x="236220" y="963073"/>
                  </a:lnTo>
                  <a:lnTo>
                    <a:pt x="247079" y="972979"/>
                  </a:lnTo>
                  <a:lnTo>
                    <a:pt x="253937" y="976884"/>
                  </a:lnTo>
                  <a:lnTo>
                    <a:pt x="265462" y="991457"/>
                  </a:lnTo>
                  <a:lnTo>
                    <a:pt x="270986" y="997172"/>
                  </a:lnTo>
                  <a:lnTo>
                    <a:pt x="271367" y="1000315"/>
                  </a:lnTo>
                  <a:lnTo>
                    <a:pt x="274796" y="1001458"/>
                  </a:lnTo>
                  <a:lnTo>
                    <a:pt x="275368" y="1006221"/>
                  </a:lnTo>
                  <a:lnTo>
                    <a:pt x="286417" y="1017651"/>
                  </a:lnTo>
                  <a:lnTo>
                    <a:pt x="289560" y="1017270"/>
                  </a:lnTo>
                  <a:lnTo>
                    <a:pt x="293180" y="1019937"/>
                  </a:lnTo>
                  <a:lnTo>
                    <a:pt x="297275" y="1027462"/>
                  </a:lnTo>
                  <a:lnTo>
                    <a:pt x="306991" y="1027843"/>
                  </a:lnTo>
                  <a:lnTo>
                    <a:pt x="312515" y="1033558"/>
                  </a:lnTo>
                  <a:lnTo>
                    <a:pt x="317278" y="1032986"/>
                  </a:lnTo>
                  <a:lnTo>
                    <a:pt x="330327" y="1034510"/>
                  </a:lnTo>
                  <a:lnTo>
                    <a:pt x="333851" y="1037272"/>
                  </a:lnTo>
                  <a:lnTo>
                    <a:pt x="334804" y="1045178"/>
                  </a:lnTo>
                  <a:lnTo>
                    <a:pt x="336423" y="1044988"/>
                  </a:lnTo>
                  <a:lnTo>
                    <a:pt x="333851" y="1050036"/>
                  </a:lnTo>
                  <a:lnTo>
                    <a:pt x="340138" y="1049274"/>
                  </a:lnTo>
                  <a:lnTo>
                    <a:pt x="338995" y="1052608"/>
                  </a:lnTo>
                  <a:lnTo>
                    <a:pt x="344329" y="1056799"/>
                  </a:lnTo>
                  <a:lnTo>
                    <a:pt x="346520" y="1061275"/>
                  </a:lnTo>
                  <a:lnTo>
                    <a:pt x="344900" y="1061466"/>
                  </a:lnTo>
                  <a:lnTo>
                    <a:pt x="343567" y="1063276"/>
                  </a:lnTo>
                  <a:lnTo>
                    <a:pt x="350710" y="1068800"/>
                  </a:lnTo>
                  <a:lnTo>
                    <a:pt x="351092" y="1071944"/>
                  </a:lnTo>
                  <a:lnTo>
                    <a:pt x="354425" y="1073087"/>
                  </a:lnTo>
                  <a:lnTo>
                    <a:pt x="358997" y="1070896"/>
                  </a:lnTo>
                  <a:lnTo>
                    <a:pt x="365855" y="1074896"/>
                  </a:lnTo>
                  <a:lnTo>
                    <a:pt x="369284" y="1076039"/>
                  </a:lnTo>
                  <a:lnTo>
                    <a:pt x="368903" y="1085659"/>
                  </a:lnTo>
                  <a:lnTo>
                    <a:pt x="368141" y="1092232"/>
                  </a:lnTo>
                  <a:lnTo>
                    <a:pt x="364141" y="1099185"/>
                  </a:lnTo>
                  <a:lnTo>
                    <a:pt x="355663" y="1095375"/>
                  </a:lnTo>
                  <a:lnTo>
                    <a:pt x="343281" y="1098614"/>
                  </a:lnTo>
                  <a:lnTo>
                    <a:pt x="342709" y="1106710"/>
                  </a:lnTo>
                  <a:lnTo>
                    <a:pt x="338138" y="1108900"/>
                  </a:lnTo>
                  <a:lnTo>
                    <a:pt x="335375" y="1112425"/>
                  </a:lnTo>
                  <a:lnTo>
                    <a:pt x="333851" y="1112615"/>
                  </a:lnTo>
                  <a:lnTo>
                    <a:pt x="342900" y="1121092"/>
                  </a:lnTo>
                  <a:lnTo>
                    <a:pt x="343091" y="1122712"/>
                  </a:lnTo>
                  <a:lnTo>
                    <a:pt x="348425" y="1126807"/>
                  </a:lnTo>
                  <a:lnTo>
                    <a:pt x="347091" y="1128617"/>
                  </a:lnTo>
                  <a:lnTo>
                    <a:pt x="356521" y="1127379"/>
                  </a:lnTo>
                  <a:lnTo>
                    <a:pt x="359950" y="1128522"/>
                  </a:lnTo>
                  <a:lnTo>
                    <a:pt x="359569" y="1138238"/>
                  </a:lnTo>
                  <a:lnTo>
                    <a:pt x="354806" y="1138809"/>
                  </a:lnTo>
                  <a:lnTo>
                    <a:pt x="356806" y="1141762"/>
                  </a:lnTo>
                  <a:lnTo>
                    <a:pt x="355568" y="1145096"/>
                  </a:lnTo>
                  <a:lnTo>
                    <a:pt x="362331" y="1147477"/>
                  </a:lnTo>
                  <a:lnTo>
                    <a:pt x="362712" y="1150620"/>
                  </a:lnTo>
                  <a:lnTo>
                    <a:pt x="364903" y="1155192"/>
                  </a:lnTo>
                  <a:lnTo>
                    <a:pt x="370808" y="1151191"/>
                  </a:lnTo>
                  <a:lnTo>
                    <a:pt x="375761" y="1152239"/>
                  </a:lnTo>
                  <a:lnTo>
                    <a:pt x="373189" y="1157288"/>
                  </a:lnTo>
                  <a:lnTo>
                    <a:pt x="374237" y="1165193"/>
                  </a:lnTo>
                  <a:lnTo>
                    <a:pt x="375761" y="1165003"/>
                  </a:lnTo>
                  <a:lnTo>
                    <a:pt x="378333" y="1159859"/>
                  </a:lnTo>
                  <a:lnTo>
                    <a:pt x="394525" y="1161002"/>
                  </a:lnTo>
                  <a:lnTo>
                    <a:pt x="394525" y="1161002"/>
                  </a:lnTo>
                  <a:lnTo>
                    <a:pt x="396335" y="1162431"/>
                  </a:lnTo>
                  <a:lnTo>
                    <a:pt x="393954" y="1169098"/>
                  </a:lnTo>
                  <a:lnTo>
                    <a:pt x="400812" y="1173004"/>
                  </a:lnTo>
                  <a:lnTo>
                    <a:pt x="410337" y="1171861"/>
                  </a:lnTo>
                  <a:lnTo>
                    <a:pt x="420529" y="1164146"/>
                  </a:lnTo>
                  <a:lnTo>
                    <a:pt x="429101" y="1167860"/>
                  </a:lnTo>
                  <a:lnTo>
                    <a:pt x="435197" y="1165479"/>
                  </a:lnTo>
                  <a:lnTo>
                    <a:pt x="440531" y="1169575"/>
                  </a:lnTo>
                  <a:lnTo>
                    <a:pt x="442055" y="1169384"/>
                  </a:lnTo>
                  <a:lnTo>
                    <a:pt x="442722" y="1174147"/>
                  </a:lnTo>
                  <a:lnTo>
                    <a:pt x="451961" y="1171384"/>
                  </a:lnTo>
                  <a:lnTo>
                    <a:pt x="453580" y="1171099"/>
                  </a:lnTo>
                  <a:lnTo>
                    <a:pt x="453295" y="1169575"/>
                  </a:lnTo>
                  <a:lnTo>
                    <a:pt x="456533" y="1169194"/>
                  </a:lnTo>
                  <a:lnTo>
                    <a:pt x="459867" y="1170337"/>
                  </a:lnTo>
                  <a:lnTo>
                    <a:pt x="466344" y="1171099"/>
                  </a:lnTo>
                  <a:lnTo>
                    <a:pt x="479965" y="1177385"/>
                  </a:lnTo>
                  <a:lnTo>
                    <a:pt x="488251" y="1179576"/>
                  </a:lnTo>
                  <a:lnTo>
                    <a:pt x="496824" y="1183291"/>
                  </a:lnTo>
                  <a:lnTo>
                    <a:pt x="497396" y="1188053"/>
                  </a:lnTo>
                  <a:lnTo>
                    <a:pt x="511207" y="1183005"/>
                  </a:lnTo>
                  <a:lnTo>
                    <a:pt x="521017" y="1185005"/>
                  </a:lnTo>
                  <a:lnTo>
                    <a:pt x="527018" y="1193864"/>
                  </a:lnTo>
                  <a:lnTo>
                    <a:pt x="549307" y="1205484"/>
                  </a:lnTo>
                  <a:lnTo>
                    <a:pt x="555879" y="1206246"/>
                  </a:lnTo>
                  <a:lnTo>
                    <a:pt x="558832" y="1204246"/>
                  </a:lnTo>
                  <a:lnTo>
                    <a:pt x="560165" y="1215295"/>
                  </a:lnTo>
                  <a:lnTo>
                    <a:pt x="563785" y="1218057"/>
                  </a:lnTo>
                  <a:lnTo>
                    <a:pt x="571405" y="1215485"/>
                  </a:lnTo>
                  <a:lnTo>
                    <a:pt x="573786" y="1208723"/>
                  </a:lnTo>
                  <a:lnTo>
                    <a:pt x="579882" y="1206341"/>
                  </a:lnTo>
                  <a:lnTo>
                    <a:pt x="579120" y="1200055"/>
                  </a:lnTo>
                  <a:lnTo>
                    <a:pt x="583025" y="1193102"/>
                  </a:lnTo>
                  <a:lnTo>
                    <a:pt x="589312" y="1192339"/>
                  </a:lnTo>
                  <a:lnTo>
                    <a:pt x="591693" y="1198436"/>
                  </a:lnTo>
                  <a:lnTo>
                    <a:pt x="595122" y="1199579"/>
                  </a:lnTo>
                  <a:lnTo>
                    <a:pt x="599789" y="1199007"/>
                  </a:lnTo>
                  <a:lnTo>
                    <a:pt x="604361" y="1196816"/>
                  </a:lnTo>
                  <a:lnTo>
                    <a:pt x="608267" y="1189958"/>
                  </a:lnTo>
                  <a:lnTo>
                    <a:pt x="606076" y="1185386"/>
                  </a:lnTo>
                  <a:lnTo>
                    <a:pt x="604076" y="1182433"/>
                  </a:lnTo>
                  <a:lnTo>
                    <a:pt x="602933" y="1173004"/>
                  </a:lnTo>
                  <a:lnTo>
                    <a:pt x="605885" y="1171004"/>
                  </a:lnTo>
                  <a:lnTo>
                    <a:pt x="609409" y="1173766"/>
                  </a:lnTo>
                  <a:lnTo>
                    <a:pt x="615696" y="1172908"/>
                  </a:lnTo>
                  <a:lnTo>
                    <a:pt x="617315" y="1172718"/>
                  </a:lnTo>
                  <a:lnTo>
                    <a:pt x="623792" y="1173480"/>
                  </a:lnTo>
                  <a:lnTo>
                    <a:pt x="630746" y="1177481"/>
                  </a:lnTo>
                  <a:lnTo>
                    <a:pt x="635698" y="1178433"/>
                  </a:lnTo>
                  <a:lnTo>
                    <a:pt x="637604" y="1168527"/>
                  </a:lnTo>
                  <a:lnTo>
                    <a:pt x="643509" y="1164527"/>
                  </a:lnTo>
                  <a:lnTo>
                    <a:pt x="644271" y="1158049"/>
                  </a:lnTo>
                  <a:lnTo>
                    <a:pt x="648081" y="1149572"/>
                  </a:lnTo>
                  <a:lnTo>
                    <a:pt x="647033" y="1141666"/>
                  </a:lnTo>
                  <a:lnTo>
                    <a:pt x="651129" y="1136332"/>
                  </a:lnTo>
                  <a:lnTo>
                    <a:pt x="654558" y="1137475"/>
                  </a:lnTo>
                  <a:lnTo>
                    <a:pt x="651701" y="1128236"/>
                  </a:lnTo>
                  <a:lnTo>
                    <a:pt x="644462" y="1121188"/>
                  </a:lnTo>
                  <a:lnTo>
                    <a:pt x="643604" y="1114806"/>
                  </a:lnTo>
                  <a:lnTo>
                    <a:pt x="651510" y="1113854"/>
                  </a:lnTo>
                  <a:lnTo>
                    <a:pt x="654844" y="1114997"/>
                  </a:lnTo>
                  <a:lnTo>
                    <a:pt x="662559" y="1112425"/>
                  </a:lnTo>
                  <a:lnTo>
                    <a:pt x="662368" y="1110901"/>
                  </a:lnTo>
                  <a:lnTo>
                    <a:pt x="664559" y="1115378"/>
                  </a:lnTo>
                  <a:lnTo>
                    <a:pt x="668084" y="1118140"/>
                  </a:lnTo>
                  <a:lnTo>
                    <a:pt x="666559" y="1118330"/>
                  </a:lnTo>
                  <a:lnTo>
                    <a:pt x="666750" y="1119949"/>
                  </a:lnTo>
                  <a:lnTo>
                    <a:pt x="672275" y="1125664"/>
                  </a:lnTo>
                  <a:lnTo>
                    <a:pt x="679133" y="1129570"/>
                  </a:lnTo>
                  <a:lnTo>
                    <a:pt x="681514" y="1135666"/>
                  </a:lnTo>
                  <a:lnTo>
                    <a:pt x="680371" y="1138999"/>
                  </a:lnTo>
                  <a:lnTo>
                    <a:pt x="683895" y="1141762"/>
                  </a:lnTo>
                  <a:lnTo>
                    <a:pt x="687896" y="1147667"/>
                  </a:lnTo>
                  <a:lnTo>
                    <a:pt x="692277" y="1143953"/>
                  </a:lnTo>
                  <a:lnTo>
                    <a:pt x="698563" y="1143095"/>
                  </a:lnTo>
                  <a:lnTo>
                    <a:pt x="704088" y="1148810"/>
                  </a:lnTo>
                  <a:lnTo>
                    <a:pt x="718661" y="1150144"/>
                  </a:lnTo>
                  <a:lnTo>
                    <a:pt x="720662" y="1153097"/>
                  </a:lnTo>
                  <a:lnTo>
                    <a:pt x="723043" y="1159288"/>
                  </a:lnTo>
                  <a:lnTo>
                    <a:pt x="728377" y="1163383"/>
                  </a:lnTo>
                  <a:lnTo>
                    <a:pt x="731330" y="1161383"/>
                  </a:lnTo>
                  <a:lnTo>
                    <a:pt x="730758" y="1156716"/>
                  </a:lnTo>
                  <a:lnTo>
                    <a:pt x="733901" y="1156240"/>
                  </a:lnTo>
                  <a:lnTo>
                    <a:pt x="736854" y="1154335"/>
                  </a:lnTo>
                  <a:lnTo>
                    <a:pt x="739997" y="1153858"/>
                  </a:lnTo>
                  <a:lnTo>
                    <a:pt x="744093" y="1148524"/>
                  </a:lnTo>
                  <a:lnTo>
                    <a:pt x="750475" y="1147763"/>
                  </a:lnTo>
                  <a:lnTo>
                    <a:pt x="755713" y="1139095"/>
                  </a:lnTo>
                  <a:lnTo>
                    <a:pt x="758476" y="1135475"/>
                  </a:lnTo>
                  <a:lnTo>
                    <a:pt x="764858" y="1134713"/>
                  </a:lnTo>
                  <a:lnTo>
                    <a:pt x="769144" y="1143762"/>
                  </a:lnTo>
                  <a:lnTo>
                    <a:pt x="772954" y="1160907"/>
                  </a:lnTo>
                  <a:lnTo>
                    <a:pt x="776383" y="1162050"/>
                  </a:lnTo>
                  <a:lnTo>
                    <a:pt x="779717" y="1163288"/>
                  </a:lnTo>
                  <a:lnTo>
                    <a:pt x="790099" y="1157097"/>
                  </a:lnTo>
                  <a:lnTo>
                    <a:pt x="796671" y="1170718"/>
                  </a:lnTo>
                  <a:lnTo>
                    <a:pt x="802291" y="1189291"/>
                  </a:lnTo>
                  <a:lnTo>
                    <a:pt x="816483" y="1187482"/>
                  </a:lnTo>
                  <a:lnTo>
                    <a:pt x="820769" y="1183672"/>
                  </a:lnTo>
                  <a:lnTo>
                    <a:pt x="821150" y="1186815"/>
                  </a:lnTo>
                  <a:lnTo>
                    <a:pt x="824103" y="1184910"/>
                  </a:lnTo>
                  <a:lnTo>
                    <a:pt x="829437" y="1189006"/>
                  </a:lnTo>
                  <a:lnTo>
                    <a:pt x="833628" y="1183672"/>
                  </a:lnTo>
                  <a:lnTo>
                    <a:pt x="832771" y="1177385"/>
                  </a:lnTo>
                  <a:lnTo>
                    <a:pt x="837343" y="1175195"/>
                  </a:lnTo>
                  <a:lnTo>
                    <a:pt x="836962" y="1172051"/>
                  </a:lnTo>
                  <a:lnTo>
                    <a:pt x="844201" y="1166241"/>
                  </a:lnTo>
                  <a:lnTo>
                    <a:pt x="838676" y="1147763"/>
                  </a:lnTo>
                  <a:lnTo>
                    <a:pt x="845058" y="1122902"/>
                  </a:lnTo>
                  <a:lnTo>
                    <a:pt x="843534" y="1123093"/>
                  </a:lnTo>
                  <a:lnTo>
                    <a:pt x="841915" y="1110424"/>
                  </a:lnTo>
                  <a:lnTo>
                    <a:pt x="837152" y="1110996"/>
                  </a:lnTo>
                  <a:lnTo>
                    <a:pt x="844582" y="1081183"/>
                  </a:lnTo>
                  <a:lnTo>
                    <a:pt x="847344" y="1077658"/>
                  </a:lnTo>
                  <a:lnTo>
                    <a:pt x="847725" y="1068038"/>
                  </a:lnTo>
                  <a:lnTo>
                    <a:pt x="854202" y="1055941"/>
                  </a:lnTo>
                  <a:lnTo>
                    <a:pt x="856964" y="1052417"/>
                  </a:lnTo>
                  <a:lnTo>
                    <a:pt x="867823" y="1049369"/>
                  </a:lnTo>
                  <a:lnTo>
                    <a:pt x="870204" y="1042702"/>
                  </a:lnTo>
                  <a:lnTo>
                    <a:pt x="881253" y="1041273"/>
                  </a:lnTo>
                  <a:lnTo>
                    <a:pt x="889921" y="1033748"/>
                  </a:lnTo>
                  <a:lnTo>
                    <a:pt x="890873" y="1028795"/>
                  </a:lnTo>
                  <a:lnTo>
                    <a:pt x="893635" y="1025271"/>
                  </a:lnTo>
                  <a:lnTo>
                    <a:pt x="894588" y="1020318"/>
                  </a:lnTo>
                  <a:lnTo>
                    <a:pt x="899160" y="1018127"/>
                  </a:lnTo>
                  <a:lnTo>
                    <a:pt x="898874" y="1016603"/>
                  </a:lnTo>
                  <a:lnTo>
                    <a:pt x="900684" y="1017937"/>
                  </a:lnTo>
                  <a:lnTo>
                    <a:pt x="905256" y="1015746"/>
                  </a:lnTo>
                  <a:lnTo>
                    <a:pt x="900113" y="1000411"/>
                  </a:lnTo>
                  <a:lnTo>
                    <a:pt x="907733" y="984980"/>
                  </a:lnTo>
                  <a:lnTo>
                    <a:pt x="906875" y="978694"/>
                  </a:lnTo>
                  <a:lnTo>
                    <a:pt x="904494" y="972598"/>
                  </a:lnTo>
                  <a:lnTo>
                    <a:pt x="905923" y="970788"/>
                  </a:lnTo>
                  <a:lnTo>
                    <a:pt x="905066" y="964502"/>
                  </a:lnTo>
                  <a:lnTo>
                    <a:pt x="912781" y="961834"/>
                  </a:lnTo>
                  <a:lnTo>
                    <a:pt x="915734" y="959930"/>
                  </a:lnTo>
                  <a:lnTo>
                    <a:pt x="920877" y="962406"/>
                  </a:lnTo>
                  <a:lnTo>
                    <a:pt x="927163" y="961644"/>
                  </a:lnTo>
                  <a:lnTo>
                    <a:pt x="929926" y="958120"/>
                  </a:lnTo>
                  <a:lnTo>
                    <a:pt x="932307" y="964216"/>
                  </a:lnTo>
                  <a:lnTo>
                    <a:pt x="932307" y="964216"/>
                  </a:lnTo>
                  <a:lnTo>
                    <a:pt x="933736" y="962406"/>
                  </a:lnTo>
                  <a:lnTo>
                    <a:pt x="935736" y="965359"/>
                  </a:lnTo>
                  <a:lnTo>
                    <a:pt x="939260" y="968121"/>
                  </a:lnTo>
                  <a:lnTo>
                    <a:pt x="940594" y="966311"/>
                  </a:lnTo>
                  <a:lnTo>
                    <a:pt x="944023" y="967549"/>
                  </a:lnTo>
                  <a:lnTo>
                    <a:pt x="948118" y="962215"/>
                  </a:lnTo>
                  <a:lnTo>
                    <a:pt x="953072" y="963168"/>
                  </a:lnTo>
                  <a:lnTo>
                    <a:pt x="959930" y="967073"/>
                  </a:lnTo>
                  <a:lnTo>
                    <a:pt x="958977" y="972026"/>
                  </a:lnTo>
                  <a:lnTo>
                    <a:pt x="960787" y="973455"/>
                  </a:lnTo>
                  <a:lnTo>
                    <a:pt x="968693" y="972407"/>
                  </a:lnTo>
                  <a:lnTo>
                    <a:pt x="972217" y="975170"/>
                  </a:lnTo>
                  <a:lnTo>
                    <a:pt x="977360" y="977741"/>
                  </a:lnTo>
                  <a:lnTo>
                    <a:pt x="981932" y="975550"/>
                  </a:lnTo>
                  <a:lnTo>
                    <a:pt x="988790" y="979456"/>
                  </a:lnTo>
                  <a:lnTo>
                    <a:pt x="993743" y="980408"/>
                  </a:lnTo>
                  <a:lnTo>
                    <a:pt x="997458" y="984790"/>
                  </a:lnTo>
                  <a:lnTo>
                    <a:pt x="1002411" y="985742"/>
                  </a:lnTo>
                  <a:lnTo>
                    <a:pt x="1005364" y="983742"/>
                  </a:lnTo>
                  <a:lnTo>
                    <a:pt x="1012508" y="989266"/>
                  </a:lnTo>
                  <a:lnTo>
                    <a:pt x="1015079" y="984123"/>
                  </a:lnTo>
                  <a:lnTo>
                    <a:pt x="1018222" y="983742"/>
                  </a:lnTo>
                  <a:lnTo>
                    <a:pt x="1023938" y="978217"/>
                  </a:lnTo>
                  <a:lnTo>
                    <a:pt x="1027652" y="969740"/>
                  </a:lnTo>
                  <a:lnTo>
                    <a:pt x="1025843" y="968312"/>
                  </a:lnTo>
                  <a:lnTo>
                    <a:pt x="1027081" y="964978"/>
                  </a:lnTo>
                  <a:lnTo>
                    <a:pt x="1026890" y="963358"/>
                  </a:lnTo>
                  <a:lnTo>
                    <a:pt x="1011269" y="954119"/>
                  </a:lnTo>
                  <a:lnTo>
                    <a:pt x="1011079" y="952595"/>
                  </a:lnTo>
                  <a:lnTo>
                    <a:pt x="1010602" y="949452"/>
                  </a:lnTo>
                  <a:lnTo>
                    <a:pt x="1008697" y="946499"/>
                  </a:lnTo>
                  <a:lnTo>
                    <a:pt x="1013936" y="937736"/>
                  </a:lnTo>
                  <a:lnTo>
                    <a:pt x="1012603" y="926687"/>
                  </a:lnTo>
                  <a:lnTo>
                    <a:pt x="1020604" y="914495"/>
                  </a:lnTo>
                  <a:lnTo>
                    <a:pt x="1018604" y="898684"/>
                  </a:lnTo>
                  <a:lnTo>
                    <a:pt x="1022985" y="894969"/>
                  </a:lnTo>
                  <a:lnTo>
                    <a:pt x="1022699" y="893350"/>
                  </a:lnTo>
                  <a:lnTo>
                    <a:pt x="1030605" y="892302"/>
                  </a:lnTo>
                  <a:lnTo>
                    <a:pt x="1030034" y="887635"/>
                  </a:lnTo>
                  <a:lnTo>
                    <a:pt x="1026033" y="881729"/>
                  </a:lnTo>
                  <a:lnTo>
                    <a:pt x="1025843" y="880110"/>
                  </a:lnTo>
                  <a:lnTo>
                    <a:pt x="1022699" y="880491"/>
                  </a:lnTo>
                  <a:lnTo>
                    <a:pt x="1021747" y="872585"/>
                  </a:lnTo>
                  <a:lnTo>
                    <a:pt x="1022890" y="856488"/>
                  </a:lnTo>
                  <a:lnTo>
                    <a:pt x="1030700" y="855440"/>
                  </a:lnTo>
                  <a:lnTo>
                    <a:pt x="1029938" y="836295"/>
                  </a:lnTo>
                  <a:lnTo>
                    <a:pt x="1033272" y="837438"/>
                  </a:lnTo>
                  <a:lnTo>
                    <a:pt x="1034225" y="832580"/>
                  </a:lnTo>
                  <a:lnTo>
                    <a:pt x="1035368" y="829151"/>
                  </a:lnTo>
                  <a:lnTo>
                    <a:pt x="1036415" y="824294"/>
                  </a:lnTo>
                  <a:lnTo>
                    <a:pt x="1034415" y="808482"/>
                  </a:lnTo>
                  <a:lnTo>
                    <a:pt x="1030796" y="805720"/>
                  </a:lnTo>
                  <a:lnTo>
                    <a:pt x="1030034" y="799433"/>
                  </a:lnTo>
                  <a:lnTo>
                    <a:pt x="1026414" y="796671"/>
                  </a:lnTo>
                  <a:lnTo>
                    <a:pt x="1026033" y="793528"/>
                  </a:lnTo>
                  <a:lnTo>
                    <a:pt x="1030414" y="789718"/>
                  </a:lnTo>
                  <a:lnTo>
                    <a:pt x="1031558" y="786384"/>
                  </a:lnTo>
                  <a:lnTo>
                    <a:pt x="1030796" y="780097"/>
                  </a:lnTo>
                  <a:lnTo>
                    <a:pt x="1027176" y="777335"/>
                  </a:lnTo>
                  <a:lnTo>
                    <a:pt x="1023842" y="763334"/>
                  </a:lnTo>
                  <a:lnTo>
                    <a:pt x="1024604" y="756761"/>
                  </a:lnTo>
                  <a:lnTo>
                    <a:pt x="1024795" y="745522"/>
                  </a:lnTo>
                  <a:lnTo>
                    <a:pt x="1026700" y="735711"/>
                  </a:lnTo>
                  <a:lnTo>
                    <a:pt x="1026890" y="737235"/>
                  </a:lnTo>
                  <a:lnTo>
                    <a:pt x="1029081" y="728948"/>
                  </a:lnTo>
                  <a:lnTo>
                    <a:pt x="1036510" y="724757"/>
                  </a:lnTo>
                  <a:lnTo>
                    <a:pt x="1039273" y="721233"/>
                  </a:lnTo>
                  <a:lnTo>
                    <a:pt x="1037558" y="719900"/>
                  </a:lnTo>
                  <a:lnTo>
                    <a:pt x="1040892" y="708184"/>
                  </a:lnTo>
                  <a:lnTo>
                    <a:pt x="1035939" y="707231"/>
                  </a:lnTo>
                  <a:lnTo>
                    <a:pt x="1033748" y="702659"/>
                  </a:lnTo>
                  <a:lnTo>
                    <a:pt x="1037654" y="695801"/>
                  </a:lnTo>
                  <a:lnTo>
                    <a:pt x="1042797" y="698373"/>
                  </a:lnTo>
                  <a:lnTo>
                    <a:pt x="1048893" y="695992"/>
                  </a:lnTo>
                  <a:lnTo>
                    <a:pt x="1051465" y="690848"/>
                  </a:lnTo>
                  <a:lnTo>
                    <a:pt x="1056037" y="688657"/>
                  </a:lnTo>
                  <a:lnTo>
                    <a:pt x="1060133" y="696087"/>
                  </a:lnTo>
                  <a:lnTo>
                    <a:pt x="1068610" y="699897"/>
                  </a:lnTo>
                  <a:lnTo>
                    <a:pt x="1079278" y="695325"/>
                  </a:lnTo>
                  <a:lnTo>
                    <a:pt x="1086041" y="697611"/>
                  </a:lnTo>
                  <a:lnTo>
                    <a:pt x="1088612" y="705326"/>
                  </a:lnTo>
                  <a:lnTo>
                    <a:pt x="1085850" y="708851"/>
                  </a:lnTo>
                  <a:lnTo>
                    <a:pt x="1086231" y="712089"/>
                  </a:lnTo>
                  <a:lnTo>
                    <a:pt x="1088231" y="715042"/>
                  </a:lnTo>
                  <a:lnTo>
                    <a:pt x="1102805" y="716375"/>
                  </a:lnTo>
                  <a:lnTo>
                    <a:pt x="1112901" y="719900"/>
                  </a:lnTo>
                  <a:lnTo>
                    <a:pt x="1116997" y="714565"/>
                  </a:lnTo>
                  <a:lnTo>
                    <a:pt x="1121759" y="713899"/>
                  </a:lnTo>
                  <a:lnTo>
                    <a:pt x="1126903" y="716471"/>
                  </a:lnTo>
                  <a:lnTo>
                    <a:pt x="1128236" y="714756"/>
                  </a:lnTo>
                  <a:lnTo>
                    <a:pt x="1131665" y="715899"/>
                  </a:lnTo>
                  <a:lnTo>
                    <a:pt x="1136142" y="713708"/>
                  </a:lnTo>
                  <a:lnTo>
                    <a:pt x="1136618" y="716851"/>
                  </a:lnTo>
                  <a:lnTo>
                    <a:pt x="1149953" y="721614"/>
                  </a:lnTo>
                  <a:lnTo>
                    <a:pt x="1151763" y="722947"/>
                  </a:lnTo>
                  <a:lnTo>
                    <a:pt x="1152811" y="730853"/>
                  </a:lnTo>
                  <a:lnTo>
                    <a:pt x="1149382" y="729615"/>
                  </a:lnTo>
                  <a:lnTo>
                    <a:pt x="1146715" y="733234"/>
                  </a:lnTo>
                  <a:lnTo>
                    <a:pt x="1147096" y="736378"/>
                  </a:lnTo>
                  <a:lnTo>
                    <a:pt x="1155573" y="740093"/>
                  </a:lnTo>
                  <a:lnTo>
                    <a:pt x="1155764" y="741712"/>
                  </a:lnTo>
                  <a:lnTo>
                    <a:pt x="1153001" y="745236"/>
                  </a:lnTo>
                  <a:lnTo>
                    <a:pt x="1158335" y="749332"/>
                  </a:lnTo>
                  <a:lnTo>
                    <a:pt x="1160907" y="757047"/>
                  </a:lnTo>
                  <a:lnTo>
                    <a:pt x="1159573" y="758857"/>
                  </a:lnTo>
                  <a:lnTo>
                    <a:pt x="1156621" y="760857"/>
                  </a:lnTo>
                  <a:lnTo>
                    <a:pt x="1150334" y="774478"/>
                  </a:lnTo>
                  <a:lnTo>
                    <a:pt x="1155859" y="780193"/>
                  </a:lnTo>
                  <a:lnTo>
                    <a:pt x="1158812" y="778193"/>
                  </a:lnTo>
                  <a:lnTo>
                    <a:pt x="1160621" y="779526"/>
                  </a:lnTo>
                  <a:lnTo>
                    <a:pt x="1167860" y="773811"/>
                  </a:lnTo>
                  <a:lnTo>
                    <a:pt x="1175004" y="779335"/>
                  </a:lnTo>
                  <a:lnTo>
                    <a:pt x="1183291" y="768668"/>
                  </a:lnTo>
                  <a:lnTo>
                    <a:pt x="1187768" y="766477"/>
                  </a:lnTo>
                  <a:lnTo>
                    <a:pt x="1190530" y="762952"/>
                  </a:lnTo>
                  <a:lnTo>
                    <a:pt x="1195102" y="760762"/>
                  </a:lnTo>
                  <a:lnTo>
                    <a:pt x="1201388" y="759905"/>
                  </a:lnTo>
                  <a:lnTo>
                    <a:pt x="1211294" y="761905"/>
                  </a:lnTo>
                  <a:lnTo>
                    <a:pt x="1215962" y="761238"/>
                  </a:lnTo>
                  <a:lnTo>
                    <a:pt x="1226439" y="768001"/>
                  </a:lnTo>
                  <a:lnTo>
                    <a:pt x="1227487" y="763048"/>
                  </a:lnTo>
                  <a:lnTo>
                    <a:pt x="1232154" y="762381"/>
                  </a:lnTo>
                  <a:lnTo>
                    <a:pt x="1229582" y="754761"/>
                  </a:lnTo>
                  <a:lnTo>
                    <a:pt x="1231011" y="752951"/>
                  </a:lnTo>
                  <a:lnTo>
                    <a:pt x="1234345" y="754094"/>
                  </a:lnTo>
                  <a:lnTo>
                    <a:pt x="1240441" y="738950"/>
                  </a:lnTo>
                  <a:lnTo>
                    <a:pt x="1241774" y="737140"/>
                  </a:lnTo>
                  <a:lnTo>
                    <a:pt x="1236059" y="729805"/>
                  </a:lnTo>
                  <a:lnTo>
                    <a:pt x="1238250" y="721519"/>
                  </a:lnTo>
                  <a:lnTo>
                    <a:pt x="1246537" y="723709"/>
                  </a:lnTo>
                  <a:lnTo>
                    <a:pt x="1250061" y="726472"/>
                  </a:lnTo>
                  <a:lnTo>
                    <a:pt x="1247680" y="733139"/>
                  </a:lnTo>
                  <a:lnTo>
                    <a:pt x="1258157" y="739902"/>
                  </a:lnTo>
                  <a:lnTo>
                    <a:pt x="1262729" y="737711"/>
                  </a:lnTo>
                  <a:lnTo>
                    <a:pt x="1269587" y="741617"/>
                  </a:lnTo>
                  <a:lnTo>
                    <a:pt x="1273969" y="737806"/>
                  </a:lnTo>
                  <a:lnTo>
                    <a:pt x="1276541" y="732758"/>
                  </a:lnTo>
                  <a:lnTo>
                    <a:pt x="1281684" y="735235"/>
                  </a:lnTo>
                  <a:lnTo>
                    <a:pt x="1289304" y="732663"/>
                  </a:lnTo>
                  <a:lnTo>
                    <a:pt x="1301020" y="735997"/>
                  </a:lnTo>
                  <a:lnTo>
                    <a:pt x="1316831" y="746855"/>
                  </a:lnTo>
                  <a:lnTo>
                    <a:pt x="1321118" y="755904"/>
                  </a:lnTo>
                  <a:lnTo>
                    <a:pt x="1327690" y="756666"/>
                  </a:lnTo>
                  <a:lnTo>
                    <a:pt x="1335214" y="765334"/>
                  </a:lnTo>
                  <a:lnTo>
                    <a:pt x="1343882" y="770668"/>
                  </a:lnTo>
                  <a:lnTo>
                    <a:pt x="1350645" y="772954"/>
                  </a:lnTo>
                  <a:lnTo>
                    <a:pt x="1356931" y="772192"/>
                  </a:lnTo>
                  <a:lnTo>
                    <a:pt x="1361885" y="773144"/>
                  </a:lnTo>
                  <a:lnTo>
                    <a:pt x="1365599" y="777526"/>
                  </a:lnTo>
                  <a:lnTo>
                    <a:pt x="1374267" y="770001"/>
                  </a:lnTo>
                  <a:lnTo>
                    <a:pt x="1378268" y="775906"/>
                  </a:lnTo>
                  <a:lnTo>
                    <a:pt x="1381792" y="778669"/>
                  </a:lnTo>
                  <a:lnTo>
                    <a:pt x="1385126" y="779812"/>
                  </a:lnTo>
                  <a:lnTo>
                    <a:pt x="1398937" y="787718"/>
                  </a:lnTo>
                  <a:lnTo>
                    <a:pt x="1401032" y="803434"/>
                  </a:lnTo>
                  <a:lnTo>
                    <a:pt x="1406938" y="812292"/>
                  </a:lnTo>
                  <a:lnTo>
                    <a:pt x="1425512" y="819531"/>
                  </a:lnTo>
                  <a:lnTo>
                    <a:pt x="1432179" y="809149"/>
                  </a:lnTo>
                  <a:lnTo>
                    <a:pt x="1433798" y="808863"/>
                  </a:lnTo>
                  <a:lnTo>
                    <a:pt x="1432941" y="802577"/>
                  </a:lnTo>
                  <a:lnTo>
                    <a:pt x="1434370" y="800767"/>
                  </a:lnTo>
                  <a:lnTo>
                    <a:pt x="1439513" y="803338"/>
                  </a:lnTo>
                  <a:lnTo>
                    <a:pt x="1442180" y="799814"/>
                  </a:lnTo>
                  <a:lnTo>
                    <a:pt x="1446752" y="797623"/>
                  </a:lnTo>
                  <a:lnTo>
                    <a:pt x="1440275" y="796862"/>
                  </a:lnTo>
                  <a:lnTo>
                    <a:pt x="1438466" y="795433"/>
                  </a:lnTo>
                  <a:lnTo>
                    <a:pt x="1440085" y="795242"/>
                  </a:lnTo>
                  <a:lnTo>
                    <a:pt x="1442752" y="791718"/>
                  </a:lnTo>
                  <a:lnTo>
                    <a:pt x="1446181" y="792861"/>
                  </a:lnTo>
                  <a:lnTo>
                    <a:pt x="1447133" y="788003"/>
                  </a:lnTo>
                  <a:lnTo>
                    <a:pt x="1445323" y="786575"/>
                  </a:lnTo>
                  <a:lnTo>
                    <a:pt x="1441990" y="785431"/>
                  </a:lnTo>
                  <a:lnTo>
                    <a:pt x="1441799" y="783812"/>
                  </a:lnTo>
                  <a:lnTo>
                    <a:pt x="1440371" y="785622"/>
                  </a:lnTo>
                  <a:lnTo>
                    <a:pt x="1438466" y="782669"/>
                  </a:lnTo>
                  <a:lnTo>
                    <a:pt x="1439227" y="776097"/>
                  </a:lnTo>
                  <a:lnTo>
                    <a:pt x="1444181" y="777145"/>
                  </a:lnTo>
                  <a:lnTo>
                    <a:pt x="1444752" y="781812"/>
                  </a:lnTo>
                  <a:lnTo>
                    <a:pt x="1449705" y="782860"/>
                  </a:lnTo>
                  <a:lnTo>
                    <a:pt x="1452848" y="782384"/>
                  </a:lnTo>
                  <a:lnTo>
                    <a:pt x="1454182" y="780669"/>
                  </a:lnTo>
                  <a:lnTo>
                    <a:pt x="1455611" y="778859"/>
                  </a:lnTo>
                  <a:lnTo>
                    <a:pt x="1458182" y="773716"/>
                  </a:lnTo>
                  <a:lnTo>
                    <a:pt x="1449229" y="766858"/>
                  </a:lnTo>
                  <a:lnTo>
                    <a:pt x="1450467" y="763429"/>
                  </a:lnTo>
                  <a:lnTo>
                    <a:pt x="1453420" y="761524"/>
                  </a:lnTo>
                  <a:lnTo>
                    <a:pt x="1452943" y="758380"/>
                  </a:lnTo>
                  <a:lnTo>
                    <a:pt x="1454182" y="754951"/>
                  </a:lnTo>
                  <a:lnTo>
                    <a:pt x="1443895" y="749903"/>
                  </a:lnTo>
                  <a:lnTo>
                    <a:pt x="1431989" y="744950"/>
                  </a:lnTo>
                  <a:lnTo>
                    <a:pt x="1428845" y="745331"/>
                  </a:lnTo>
                  <a:lnTo>
                    <a:pt x="1417606" y="745236"/>
                  </a:lnTo>
                  <a:lnTo>
                    <a:pt x="1414081" y="742474"/>
                  </a:lnTo>
                  <a:lnTo>
                    <a:pt x="1412081" y="739521"/>
                  </a:lnTo>
                  <a:lnTo>
                    <a:pt x="1413034" y="734568"/>
                  </a:lnTo>
                  <a:lnTo>
                    <a:pt x="1413796" y="728091"/>
                  </a:lnTo>
                  <a:lnTo>
                    <a:pt x="1415225" y="726281"/>
                  </a:lnTo>
                  <a:lnTo>
                    <a:pt x="1412843" y="720185"/>
                  </a:lnTo>
                  <a:lnTo>
                    <a:pt x="1409510" y="718947"/>
                  </a:lnTo>
                  <a:lnTo>
                    <a:pt x="1402747" y="716661"/>
                  </a:lnTo>
                  <a:lnTo>
                    <a:pt x="1398842" y="723519"/>
                  </a:lnTo>
                  <a:lnTo>
                    <a:pt x="1394079" y="724186"/>
                  </a:lnTo>
                  <a:lnTo>
                    <a:pt x="1392936" y="727519"/>
                  </a:lnTo>
                  <a:lnTo>
                    <a:pt x="1391317" y="727710"/>
                  </a:lnTo>
                  <a:lnTo>
                    <a:pt x="1386935" y="718661"/>
                  </a:lnTo>
                  <a:lnTo>
                    <a:pt x="1391317" y="714851"/>
                  </a:lnTo>
                  <a:lnTo>
                    <a:pt x="1388935" y="708755"/>
                  </a:lnTo>
                  <a:lnTo>
                    <a:pt x="1395031" y="706374"/>
                  </a:lnTo>
                  <a:lnTo>
                    <a:pt x="1399794" y="705802"/>
                  </a:lnTo>
                  <a:lnTo>
                    <a:pt x="1402366" y="700659"/>
                  </a:lnTo>
                  <a:lnTo>
                    <a:pt x="1403318" y="695706"/>
                  </a:lnTo>
                  <a:lnTo>
                    <a:pt x="1404842" y="695515"/>
                  </a:lnTo>
                  <a:lnTo>
                    <a:pt x="1408271" y="696659"/>
                  </a:lnTo>
                  <a:lnTo>
                    <a:pt x="1409986" y="698087"/>
                  </a:lnTo>
                  <a:lnTo>
                    <a:pt x="1409033" y="690181"/>
                  </a:lnTo>
                  <a:lnTo>
                    <a:pt x="1413986" y="691134"/>
                  </a:lnTo>
                  <a:lnTo>
                    <a:pt x="1415129" y="687800"/>
                  </a:lnTo>
                  <a:lnTo>
                    <a:pt x="1418082" y="685800"/>
                  </a:lnTo>
                  <a:lnTo>
                    <a:pt x="1416272" y="684467"/>
                  </a:lnTo>
                  <a:lnTo>
                    <a:pt x="1418844" y="679323"/>
                  </a:lnTo>
                  <a:lnTo>
                    <a:pt x="1415510" y="678085"/>
                  </a:lnTo>
                  <a:lnTo>
                    <a:pt x="1416844" y="676370"/>
                  </a:lnTo>
                  <a:lnTo>
                    <a:pt x="1414939" y="673418"/>
                  </a:lnTo>
                  <a:lnTo>
                    <a:pt x="1416082" y="669988"/>
                  </a:lnTo>
                  <a:lnTo>
                    <a:pt x="1423988" y="669036"/>
                  </a:lnTo>
                  <a:lnTo>
                    <a:pt x="1430084" y="666655"/>
                  </a:lnTo>
                  <a:lnTo>
                    <a:pt x="1432179" y="658368"/>
                  </a:lnTo>
                  <a:lnTo>
                    <a:pt x="1427035" y="655796"/>
                  </a:lnTo>
                  <a:lnTo>
                    <a:pt x="1427893" y="649319"/>
                  </a:lnTo>
                  <a:lnTo>
                    <a:pt x="1426083" y="647890"/>
                  </a:lnTo>
                  <a:lnTo>
                    <a:pt x="1424273" y="646557"/>
                  </a:lnTo>
                  <a:lnTo>
                    <a:pt x="1431989" y="643985"/>
                  </a:lnTo>
                  <a:lnTo>
                    <a:pt x="1435513" y="646652"/>
                  </a:lnTo>
                  <a:lnTo>
                    <a:pt x="1436084" y="638651"/>
                  </a:lnTo>
                  <a:lnTo>
                    <a:pt x="1432179" y="632651"/>
                  </a:lnTo>
                  <a:lnTo>
                    <a:pt x="1433131" y="627793"/>
                  </a:lnTo>
                  <a:lnTo>
                    <a:pt x="1443418" y="632841"/>
                  </a:lnTo>
                  <a:lnTo>
                    <a:pt x="1451324" y="631888"/>
                  </a:lnTo>
                  <a:lnTo>
                    <a:pt x="1453039" y="633222"/>
                  </a:lnTo>
                  <a:lnTo>
                    <a:pt x="1454468" y="631507"/>
                  </a:lnTo>
                  <a:lnTo>
                    <a:pt x="1456277" y="632841"/>
                  </a:lnTo>
                  <a:lnTo>
                    <a:pt x="1462564" y="632079"/>
                  </a:lnTo>
                  <a:lnTo>
                    <a:pt x="1465326" y="628459"/>
                  </a:lnTo>
                  <a:lnTo>
                    <a:pt x="1464659" y="623697"/>
                  </a:lnTo>
                  <a:lnTo>
                    <a:pt x="1460754" y="617792"/>
                  </a:lnTo>
                  <a:lnTo>
                    <a:pt x="1468660" y="616839"/>
                  </a:lnTo>
                  <a:lnTo>
                    <a:pt x="1468660" y="61683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4" name="Volný tvar: obrazec 33">
              <a:extLst>
                <a:ext uri="{FF2B5EF4-FFF2-40B4-BE49-F238E27FC236}">
                  <a16:creationId xmlns:a16="http://schemas.microsoft.com/office/drawing/2014/main" id="{76DDDEC6-4717-3386-B44F-052148E5632E}"/>
                </a:ext>
              </a:extLst>
            </p:cNvPr>
            <p:cNvSpPr>
              <a:spLocks noChangeAspect="1"/>
            </p:cNvSpPr>
            <p:nvPr userDrawn="1">
              <p:custDataLst>
                <p:tags r:id="rId6"/>
              </p:custDataLst>
            </p:nvPr>
          </p:nvSpPr>
          <p:spPr>
            <a:xfrm>
              <a:off x="6140100" y="3632692"/>
              <a:ext cx="1502283" cy="1161573"/>
            </a:xfrm>
            <a:custGeom>
              <a:avLst/>
              <a:gdLst>
                <a:gd name="connsiteX0" fmla="*/ 1496282 w 1502283"/>
                <a:gd name="connsiteY0" fmla="*/ 857155 h 1161573"/>
                <a:gd name="connsiteX1" fmla="*/ 1495711 w 1502283"/>
                <a:gd name="connsiteY1" fmla="*/ 852392 h 1161573"/>
                <a:gd name="connsiteX2" fmla="*/ 1497330 w 1502283"/>
                <a:gd name="connsiteY2" fmla="*/ 852202 h 1161573"/>
                <a:gd name="connsiteX3" fmla="*/ 1495520 w 1502283"/>
                <a:gd name="connsiteY3" fmla="*/ 850868 h 1161573"/>
                <a:gd name="connsiteX4" fmla="*/ 1498282 w 1502283"/>
                <a:gd name="connsiteY4" fmla="*/ 847344 h 1161573"/>
                <a:gd name="connsiteX5" fmla="*/ 1490567 w 1502283"/>
                <a:gd name="connsiteY5" fmla="*/ 849916 h 1161573"/>
                <a:gd name="connsiteX6" fmla="*/ 1486853 w 1502283"/>
                <a:gd name="connsiteY6" fmla="*/ 845630 h 1161573"/>
                <a:gd name="connsiteX7" fmla="*/ 1487996 w 1502283"/>
                <a:gd name="connsiteY7" fmla="*/ 842296 h 1161573"/>
                <a:gd name="connsiteX8" fmla="*/ 1481899 w 1502283"/>
                <a:gd name="connsiteY8" fmla="*/ 831818 h 1161573"/>
                <a:gd name="connsiteX9" fmla="*/ 1469803 w 1502283"/>
                <a:gd name="connsiteY9" fmla="*/ 812483 h 1161573"/>
                <a:gd name="connsiteX10" fmla="*/ 1458563 w 1502283"/>
                <a:gd name="connsiteY10" fmla="*/ 812292 h 1161573"/>
                <a:gd name="connsiteX11" fmla="*/ 1442371 w 1502283"/>
                <a:gd name="connsiteY11" fmla="*/ 798290 h 1161573"/>
                <a:gd name="connsiteX12" fmla="*/ 1437608 w 1502283"/>
                <a:gd name="connsiteY12" fmla="*/ 798862 h 1161573"/>
                <a:gd name="connsiteX13" fmla="*/ 1433513 w 1502283"/>
                <a:gd name="connsiteY13" fmla="*/ 804196 h 1161573"/>
                <a:gd name="connsiteX14" fmla="*/ 1424845 w 1502283"/>
                <a:gd name="connsiteY14" fmla="*/ 798862 h 1161573"/>
                <a:gd name="connsiteX15" fmla="*/ 1432274 w 1502283"/>
                <a:gd name="connsiteY15" fmla="*/ 781907 h 1161573"/>
                <a:gd name="connsiteX16" fmla="*/ 1431703 w 1502283"/>
                <a:gd name="connsiteY16" fmla="*/ 777145 h 1161573"/>
                <a:gd name="connsiteX17" fmla="*/ 1434465 w 1502283"/>
                <a:gd name="connsiteY17" fmla="*/ 773621 h 1161573"/>
                <a:gd name="connsiteX18" fmla="*/ 1425797 w 1502283"/>
                <a:gd name="connsiteY18" fmla="*/ 768287 h 1161573"/>
                <a:gd name="connsiteX19" fmla="*/ 1411796 w 1502283"/>
                <a:gd name="connsiteY19" fmla="*/ 758857 h 1161573"/>
                <a:gd name="connsiteX20" fmla="*/ 1402937 w 1502283"/>
                <a:gd name="connsiteY20" fmla="*/ 764762 h 1161573"/>
                <a:gd name="connsiteX21" fmla="*/ 1400937 w 1502283"/>
                <a:gd name="connsiteY21" fmla="*/ 761809 h 1161573"/>
                <a:gd name="connsiteX22" fmla="*/ 1394365 w 1502283"/>
                <a:gd name="connsiteY22" fmla="*/ 748189 h 1161573"/>
                <a:gd name="connsiteX23" fmla="*/ 1395413 w 1502283"/>
                <a:gd name="connsiteY23" fmla="*/ 756095 h 1161573"/>
                <a:gd name="connsiteX24" fmla="*/ 1381601 w 1502283"/>
                <a:gd name="connsiteY24" fmla="*/ 761048 h 1161573"/>
                <a:gd name="connsiteX25" fmla="*/ 1375886 w 1502283"/>
                <a:gd name="connsiteY25" fmla="*/ 753809 h 1161573"/>
                <a:gd name="connsiteX26" fmla="*/ 1372933 w 1502283"/>
                <a:gd name="connsiteY26" fmla="*/ 755809 h 1161573"/>
                <a:gd name="connsiteX27" fmla="*/ 1372743 w 1502283"/>
                <a:gd name="connsiteY27" fmla="*/ 754190 h 1161573"/>
                <a:gd name="connsiteX28" fmla="*/ 1366838 w 1502283"/>
                <a:gd name="connsiteY28" fmla="*/ 758190 h 1161573"/>
                <a:gd name="connsiteX29" fmla="*/ 1365028 w 1502283"/>
                <a:gd name="connsiteY29" fmla="*/ 756857 h 1161573"/>
                <a:gd name="connsiteX30" fmla="*/ 1362265 w 1502283"/>
                <a:gd name="connsiteY30" fmla="*/ 760381 h 1161573"/>
                <a:gd name="connsiteX31" fmla="*/ 1360456 w 1502283"/>
                <a:gd name="connsiteY31" fmla="*/ 759047 h 1161573"/>
                <a:gd name="connsiteX32" fmla="*/ 1348645 w 1502283"/>
                <a:gd name="connsiteY32" fmla="*/ 766953 h 1161573"/>
                <a:gd name="connsiteX33" fmla="*/ 1339596 w 1502283"/>
                <a:gd name="connsiteY33" fmla="*/ 758476 h 1161573"/>
                <a:gd name="connsiteX34" fmla="*/ 1337977 w 1502283"/>
                <a:gd name="connsiteY34" fmla="*/ 758666 h 1161573"/>
                <a:gd name="connsiteX35" fmla="*/ 1328642 w 1502283"/>
                <a:gd name="connsiteY35" fmla="*/ 748665 h 1161573"/>
                <a:gd name="connsiteX36" fmla="*/ 1321689 w 1502283"/>
                <a:gd name="connsiteY36" fmla="*/ 744760 h 1161573"/>
                <a:gd name="connsiteX37" fmla="*/ 1320260 w 1502283"/>
                <a:gd name="connsiteY37" fmla="*/ 733711 h 1161573"/>
                <a:gd name="connsiteX38" fmla="*/ 1309402 w 1502283"/>
                <a:gd name="connsiteY38" fmla="*/ 736663 h 1161573"/>
                <a:gd name="connsiteX39" fmla="*/ 1307021 w 1502283"/>
                <a:gd name="connsiteY39" fmla="*/ 743331 h 1161573"/>
                <a:gd name="connsiteX40" fmla="*/ 1304830 w 1502283"/>
                <a:gd name="connsiteY40" fmla="*/ 738759 h 1161573"/>
                <a:gd name="connsiteX41" fmla="*/ 1303496 w 1502283"/>
                <a:gd name="connsiteY41" fmla="*/ 740569 h 1161573"/>
                <a:gd name="connsiteX42" fmla="*/ 1300163 w 1502283"/>
                <a:gd name="connsiteY42" fmla="*/ 739426 h 1161573"/>
                <a:gd name="connsiteX43" fmla="*/ 1298829 w 1502283"/>
                <a:gd name="connsiteY43" fmla="*/ 741236 h 1161573"/>
                <a:gd name="connsiteX44" fmla="*/ 1292162 w 1502283"/>
                <a:gd name="connsiteY44" fmla="*/ 738854 h 1161573"/>
                <a:gd name="connsiteX45" fmla="*/ 1290352 w 1502283"/>
                <a:gd name="connsiteY45" fmla="*/ 737521 h 1161573"/>
                <a:gd name="connsiteX46" fmla="*/ 1290161 w 1502283"/>
                <a:gd name="connsiteY46" fmla="*/ 735901 h 1161573"/>
                <a:gd name="connsiteX47" fmla="*/ 1291304 w 1502283"/>
                <a:gd name="connsiteY47" fmla="*/ 732568 h 1161573"/>
                <a:gd name="connsiteX48" fmla="*/ 1289495 w 1502283"/>
                <a:gd name="connsiteY48" fmla="*/ 731234 h 1161573"/>
                <a:gd name="connsiteX49" fmla="*/ 1293590 w 1502283"/>
                <a:gd name="connsiteY49" fmla="*/ 725900 h 1161573"/>
                <a:gd name="connsiteX50" fmla="*/ 1293209 w 1502283"/>
                <a:gd name="connsiteY50" fmla="*/ 722757 h 1161573"/>
                <a:gd name="connsiteX51" fmla="*/ 1294352 w 1502283"/>
                <a:gd name="connsiteY51" fmla="*/ 719423 h 1161573"/>
                <a:gd name="connsiteX52" fmla="*/ 1292352 w 1502283"/>
                <a:gd name="connsiteY52" fmla="*/ 716471 h 1161573"/>
                <a:gd name="connsiteX53" fmla="*/ 1294543 w 1502283"/>
                <a:gd name="connsiteY53" fmla="*/ 708184 h 1161573"/>
                <a:gd name="connsiteX54" fmla="*/ 1289209 w 1502283"/>
                <a:gd name="connsiteY54" fmla="*/ 704088 h 1161573"/>
                <a:gd name="connsiteX55" fmla="*/ 1288066 w 1502283"/>
                <a:gd name="connsiteY55" fmla="*/ 707422 h 1161573"/>
                <a:gd name="connsiteX56" fmla="*/ 1281113 w 1502283"/>
                <a:gd name="connsiteY56" fmla="*/ 703517 h 1161573"/>
                <a:gd name="connsiteX57" fmla="*/ 1282256 w 1502283"/>
                <a:gd name="connsiteY57" fmla="*/ 700183 h 1161573"/>
                <a:gd name="connsiteX58" fmla="*/ 1276922 w 1502283"/>
                <a:gd name="connsiteY58" fmla="*/ 696087 h 1161573"/>
                <a:gd name="connsiteX59" fmla="*/ 1269397 w 1502283"/>
                <a:gd name="connsiteY59" fmla="*/ 700278 h 1161573"/>
                <a:gd name="connsiteX60" fmla="*/ 1266063 w 1502283"/>
                <a:gd name="connsiteY60" fmla="*/ 699135 h 1161573"/>
                <a:gd name="connsiteX61" fmla="*/ 1259777 w 1502283"/>
                <a:gd name="connsiteY61" fmla="*/ 699897 h 1161573"/>
                <a:gd name="connsiteX62" fmla="*/ 1257586 w 1502283"/>
                <a:gd name="connsiteY62" fmla="*/ 695325 h 1161573"/>
                <a:gd name="connsiteX63" fmla="*/ 1254252 w 1502283"/>
                <a:gd name="connsiteY63" fmla="*/ 694182 h 1161573"/>
                <a:gd name="connsiteX64" fmla="*/ 1252633 w 1502283"/>
                <a:gd name="connsiteY64" fmla="*/ 694373 h 1161573"/>
                <a:gd name="connsiteX65" fmla="*/ 1251299 w 1502283"/>
                <a:gd name="connsiteY65" fmla="*/ 696182 h 1161573"/>
                <a:gd name="connsiteX66" fmla="*/ 1244822 w 1502283"/>
                <a:gd name="connsiteY66" fmla="*/ 695420 h 1161573"/>
                <a:gd name="connsiteX67" fmla="*/ 1245013 w 1502283"/>
                <a:gd name="connsiteY67" fmla="*/ 697040 h 1161573"/>
                <a:gd name="connsiteX68" fmla="*/ 1241489 w 1502283"/>
                <a:gd name="connsiteY68" fmla="*/ 694277 h 1161573"/>
                <a:gd name="connsiteX69" fmla="*/ 1238726 w 1502283"/>
                <a:gd name="connsiteY69" fmla="*/ 697801 h 1161573"/>
                <a:gd name="connsiteX70" fmla="*/ 1233964 w 1502283"/>
                <a:gd name="connsiteY70" fmla="*/ 698373 h 1161573"/>
                <a:gd name="connsiteX71" fmla="*/ 1233964 w 1502283"/>
                <a:gd name="connsiteY71" fmla="*/ 685514 h 1161573"/>
                <a:gd name="connsiteX72" fmla="*/ 1230344 w 1502283"/>
                <a:gd name="connsiteY72" fmla="*/ 682752 h 1161573"/>
                <a:gd name="connsiteX73" fmla="*/ 1227963 w 1502283"/>
                <a:gd name="connsiteY73" fmla="*/ 676656 h 1161573"/>
                <a:gd name="connsiteX74" fmla="*/ 1223010 w 1502283"/>
                <a:gd name="connsiteY74" fmla="*/ 675704 h 1161573"/>
                <a:gd name="connsiteX75" fmla="*/ 1218724 w 1502283"/>
                <a:gd name="connsiteY75" fmla="*/ 679418 h 1161573"/>
                <a:gd name="connsiteX76" fmla="*/ 1217105 w 1502283"/>
                <a:gd name="connsiteY76" fmla="*/ 679609 h 1161573"/>
                <a:gd name="connsiteX77" fmla="*/ 1215866 w 1502283"/>
                <a:gd name="connsiteY77" fmla="*/ 670179 h 1161573"/>
                <a:gd name="connsiteX78" fmla="*/ 1199674 w 1502283"/>
                <a:gd name="connsiteY78" fmla="*/ 669036 h 1161573"/>
                <a:gd name="connsiteX79" fmla="*/ 1197293 w 1502283"/>
                <a:gd name="connsiteY79" fmla="*/ 675704 h 1161573"/>
                <a:gd name="connsiteX80" fmla="*/ 1194340 w 1502283"/>
                <a:gd name="connsiteY80" fmla="*/ 677704 h 1161573"/>
                <a:gd name="connsiteX81" fmla="*/ 1192339 w 1502283"/>
                <a:gd name="connsiteY81" fmla="*/ 674751 h 1161573"/>
                <a:gd name="connsiteX82" fmla="*/ 1193482 w 1502283"/>
                <a:gd name="connsiteY82" fmla="*/ 671417 h 1161573"/>
                <a:gd name="connsiteX83" fmla="*/ 1195864 w 1502283"/>
                <a:gd name="connsiteY83" fmla="*/ 664750 h 1161573"/>
                <a:gd name="connsiteX84" fmla="*/ 1195483 w 1502283"/>
                <a:gd name="connsiteY84" fmla="*/ 661607 h 1161573"/>
                <a:gd name="connsiteX85" fmla="*/ 1199579 w 1502283"/>
                <a:gd name="connsiteY85" fmla="*/ 656273 h 1161573"/>
                <a:gd name="connsiteX86" fmla="*/ 1200531 w 1502283"/>
                <a:gd name="connsiteY86" fmla="*/ 651320 h 1161573"/>
                <a:gd name="connsiteX87" fmla="*/ 1200912 w 1502283"/>
                <a:gd name="connsiteY87" fmla="*/ 641604 h 1161573"/>
                <a:gd name="connsiteX88" fmla="*/ 1198721 w 1502283"/>
                <a:gd name="connsiteY88" fmla="*/ 637032 h 1161573"/>
                <a:gd name="connsiteX89" fmla="*/ 1198150 w 1502283"/>
                <a:gd name="connsiteY89" fmla="*/ 632270 h 1161573"/>
                <a:gd name="connsiteX90" fmla="*/ 1196149 w 1502283"/>
                <a:gd name="connsiteY90" fmla="*/ 629317 h 1161573"/>
                <a:gd name="connsiteX91" fmla="*/ 1191197 w 1502283"/>
                <a:gd name="connsiteY91" fmla="*/ 628364 h 1161573"/>
                <a:gd name="connsiteX92" fmla="*/ 1187577 w 1502283"/>
                <a:gd name="connsiteY92" fmla="*/ 612743 h 1161573"/>
                <a:gd name="connsiteX93" fmla="*/ 1185767 w 1502283"/>
                <a:gd name="connsiteY93" fmla="*/ 611410 h 1161573"/>
                <a:gd name="connsiteX94" fmla="*/ 1177671 w 1502283"/>
                <a:gd name="connsiteY94" fmla="*/ 610838 h 1161573"/>
                <a:gd name="connsiteX95" fmla="*/ 1167384 w 1502283"/>
                <a:gd name="connsiteY95" fmla="*/ 618554 h 1161573"/>
                <a:gd name="connsiteX96" fmla="*/ 1156525 w 1502283"/>
                <a:gd name="connsiteY96" fmla="*/ 621506 h 1161573"/>
                <a:gd name="connsiteX97" fmla="*/ 1151954 w 1502283"/>
                <a:gd name="connsiteY97" fmla="*/ 623697 h 1161573"/>
                <a:gd name="connsiteX98" fmla="*/ 1148620 w 1502283"/>
                <a:gd name="connsiteY98" fmla="*/ 622554 h 1161573"/>
                <a:gd name="connsiteX99" fmla="*/ 1145667 w 1502283"/>
                <a:gd name="connsiteY99" fmla="*/ 624554 h 1161573"/>
                <a:gd name="connsiteX100" fmla="*/ 1142524 w 1502283"/>
                <a:gd name="connsiteY100" fmla="*/ 624935 h 1161573"/>
                <a:gd name="connsiteX101" fmla="*/ 1138619 w 1502283"/>
                <a:gd name="connsiteY101" fmla="*/ 631888 h 1161573"/>
                <a:gd name="connsiteX102" fmla="*/ 1135094 w 1502283"/>
                <a:gd name="connsiteY102" fmla="*/ 629126 h 1161573"/>
                <a:gd name="connsiteX103" fmla="*/ 1130618 w 1502283"/>
                <a:gd name="connsiteY103" fmla="*/ 631317 h 1161573"/>
                <a:gd name="connsiteX104" fmla="*/ 1114235 w 1502283"/>
                <a:gd name="connsiteY104" fmla="*/ 628555 h 1161573"/>
                <a:gd name="connsiteX105" fmla="*/ 1120140 w 1502283"/>
                <a:gd name="connsiteY105" fmla="*/ 624554 h 1161573"/>
                <a:gd name="connsiteX106" fmla="*/ 1120902 w 1502283"/>
                <a:gd name="connsiteY106" fmla="*/ 618077 h 1161573"/>
                <a:gd name="connsiteX107" fmla="*/ 1118711 w 1502283"/>
                <a:gd name="connsiteY107" fmla="*/ 613505 h 1161573"/>
                <a:gd name="connsiteX108" fmla="*/ 1117282 w 1502283"/>
                <a:gd name="connsiteY108" fmla="*/ 615315 h 1161573"/>
                <a:gd name="connsiteX109" fmla="*/ 1115092 w 1502283"/>
                <a:gd name="connsiteY109" fmla="*/ 597980 h 1161573"/>
                <a:gd name="connsiteX110" fmla="*/ 1126522 w 1502283"/>
                <a:gd name="connsiteY110" fmla="*/ 599694 h 1161573"/>
                <a:gd name="connsiteX111" fmla="*/ 1129856 w 1502283"/>
                <a:gd name="connsiteY111" fmla="*/ 600837 h 1161573"/>
                <a:gd name="connsiteX112" fmla="*/ 1134142 w 1502283"/>
                <a:gd name="connsiteY112" fmla="*/ 597122 h 1161573"/>
                <a:gd name="connsiteX113" fmla="*/ 1133094 w 1502283"/>
                <a:gd name="connsiteY113" fmla="*/ 589217 h 1161573"/>
                <a:gd name="connsiteX114" fmla="*/ 1134713 w 1502283"/>
                <a:gd name="connsiteY114" fmla="*/ 589026 h 1161573"/>
                <a:gd name="connsiteX115" fmla="*/ 1137666 w 1502283"/>
                <a:gd name="connsiteY115" fmla="*/ 574262 h 1161573"/>
                <a:gd name="connsiteX116" fmla="*/ 1138047 w 1502283"/>
                <a:gd name="connsiteY116" fmla="*/ 564642 h 1161573"/>
                <a:gd name="connsiteX117" fmla="*/ 1142619 w 1502283"/>
                <a:gd name="connsiteY117" fmla="*/ 562451 h 1161573"/>
                <a:gd name="connsiteX118" fmla="*/ 1149096 w 1502283"/>
                <a:gd name="connsiteY118" fmla="*/ 563213 h 1161573"/>
                <a:gd name="connsiteX119" fmla="*/ 1150906 w 1502283"/>
                <a:gd name="connsiteY119" fmla="*/ 564547 h 1161573"/>
                <a:gd name="connsiteX120" fmla="*/ 1154049 w 1502283"/>
                <a:gd name="connsiteY120" fmla="*/ 564166 h 1161573"/>
                <a:gd name="connsiteX121" fmla="*/ 1155192 w 1502283"/>
                <a:gd name="connsiteY121" fmla="*/ 560832 h 1161573"/>
                <a:gd name="connsiteX122" fmla="*/ 1156335 w 1502283"/>
                <a:gd name="connsiteY122" fmla="*/ 557498 h 1161573"/>
                <a:gd name="connsiteX123" fmla="*/ 1159669 w 1502283"/>
                <a:gd name="connsiteY123" fmla="*/ 558641 h 1161573"/>
                <a:gd name="connsiteX124" fmla="*/ 1161002 w 1502283"/>
                <a:gd name="connsiteY124" fmla="*/ 556832 h 1161573"/>
                <a:gd name="connsiteX125" fmla="*/ 1165955 w 1502283"/>
                <a:gd name="connsiteY125" fmla="*/ 557784 h 1161573"/>
                <a:gd name="connsiteX126" fmla="*/ 1169480 w 1502283"/>
                <a:gd name="connsiteY126" fmla="*/ 534924 h 1161573"/>
                <a:gd name="connsiteX127" fmla="*/ 1174052 w 1502283"/>
                <a:gd name="connsiteY127" fmla="*/ 532733 h 1161573"/>
                <a:gd name="connsiteX128" fmla="*/ 1172051 w 1502283"/>
                <a:gd name="connsiteY128" fmla="*/ 529780 h 1161573"/>
                <a:gd name="connsiteX129" fmla="*/ 1173671 w 1502283"/>
                <a:gd name="connsiteY129" fmla="*/ 529590 h 1161573"/>
                <a:gd name="connsiteX130" fmla="*/ 1171670 w 1502283"/>
                <a:gd name="connsiteY130" fmla="*/ 526637 h 1161573"/>
                <a:gd name="connsiteX131" fmla="*/ 1172813 w 1502283"/>
                <a:gd name="connsiteY131" fmla="*/ 523304 h 1161573"/>
                <a:gd name="connsiteX132" fmla="*/ 1176147 w 1502283"/>
                <a:gd name="connsiteY132" fmla="*/ 511683 h 1161573"/>
                <a:gd name="connsiteX133" fmla="*/ 1172147 w 1502283"/>
                <a:gd name="connsiteY133" fmla="*/ 505778 h 1161573"/>
                <a:gd name="connsiteX134" fmla="*/ 1170623 w 1502283"/>
                <a:gd name="connsiteY134" fmla="*/ 505968 h 1161573"/>
                <a:gd name="connsiteX135" fmla="*/ 1165479 w 1502283"/>
                <a:gd name="connsiteY135" fmla="*/ 516255 h 1161573"/>
                <a:gd name="connsiteX136" fmla="*/ 1160907 w 1502283"/>
                <a:gd name="connsiteY136" fmla="*/ 518446 h 1161573"/>
                <a:gd name="connsiteX137" fmla="*/ 1157383 w 1502283"/>
                <a:gd name="connsiteY137" fmla="*/ 515684 h 1161573"/>
                <a:gd name="connsiteX138" fmla="*/ 1154239 w 1502283"/>
                <a:gd name="connsiteY138" fmla="*/ 516065 h 1161573"/>
                <a:gd name="connsiteX139" fmla="*/ 1152430 w 1502283"/>
                <a:gd name="connsiteY139" fmla="*/ 514731 h 1161573"/>
                <a:gd name="connsiteX140" fmla="*/ 1141381 w 1502283"/>
                <a:gd name="connsiteY140" fmla="*/ 516160 h 1161573"/>
                <a:gd name="connsiteX141" fmla="*/ 1141952 w 1502283"/>
                <a:gd name="connsiteY141" fmla="*/ 520922 h 1161573"/>
                <a:gd name="connsiteX142" fmla="*/ 1136618 w 1502283"/>
                <a:gd name="connsiteY142" fmla="*/ 516826 h 1161573"/>
                <a:gd name="connsiteX143" fmla="*/ 1140714 w 1502283"/>
                <a:gd name="connsiteY143" fmla="*/ 511492 h 1161573"/>
                <a:gd name="connsiteX144" fmla="*/ 1141476 w 1502283"/>
                <a:gd name="connsiteY144" fmla="*/ 505016 h 1161573"/>
                <a:gd name="connsiteX145" fmla="*/ 1143286 w 1502283"/>
                <a:gd name="connsiteY145" fmla="*/ 506349 h 1161573"/>
                <a:gd name="connsiteX146" fmla="*/ 1149001 w 1502283"/>
                <a:gd name="connsiteY146" fmla="*/ 500825 h 1161573"/>
                <a:gd name="connsiteX147" fmla="*/ 1146810 w 1502283"/>
                <a:gd name="connsiteY147" fmla="*/ 496253 h 1161573"/>
                <a:gd name="connsiteX148" fmla="*/ 1145191 w 1502283"/>
                <a:gd name="connsiteY148" fmla="*/ 496443 h 1161573"/>
                <a:gd name="connsiteX149" fmla="*/ 1143381 w 1502283"/>
                <a:gd name="connsiteY149" fmla="*/ 495109 h 1161573"/>
                <a:gd name="connsiteX150" fmla="*/ 1140047 w 1502283"/>
                <a:gd name="connsiteY150" fmla="*/ 493967 h 1161573"/>
                <a:gd name="connsiteX151" fmla="*/ 1137095 w 1502283"/>
                <a:gd name="connsiteY151" fmla="*/ 483108 h 1161573"/>
                <a:gd name="connsiteX152" fmla="*/ 1132904 w 1502283"/>
                <a:gd name="connsiteY152" fmla="*/ 475583 h 1161573"/>
                <a:gd name="connsiteX153" fmla="*/ 1127570 w 1502283"/>
                <a:gd name="connsiteY153" fmla="*/ 471488 h 1161573"/>
                <a:gd name="connsiteX154" fmla="*/ 1133856 w 1502283"/>
                <a:gd name="connsiteY154" fmla="*/ 457867 h 1161573"/>
                <a:gd name="connsiteX155" fmla="*/ 1132808 w 1502283"/>
                <a:gd name="connsiteY155" fmla="*/ 449961 h 1161573"/>
                <a:gd name="connsiteX156" fmla="*/ 1129094 w 1502283"/>
                <a:gd name="connsiteY156" fmla="*/ 445675 h 1161573"/>
                <a:gd name="connsiteX157" fmla="*/ 1126903 w 1502283"/>
                <a:gd name="connsiteY157" fmla="*/ 441103 h 1161573"/>
                <a:gd name="connsiteX158" fmla="*/ 1121759 w 1502283"/>
                <a:gd name="connsiteY158" fmla="*/ 438531 h 1161573"/>
                <a:gd name="connsiteX159" fmla="*/ 1122521 w 1502283"/>
                <a:gd name="connsiteY159" fmla="*/ 432054 h 1161573"/>
                <a:gd name="connsiteX160" fmla="*/ 1128427 w 1502283"/>
                <a:gd name="connsiteY160" fmla="*/ 428054 h 1161573"/>
                <a:gd name="connsiteX161" fmla="*/ 1130998 w 1502283"/>
                <a:gd name="connsiteY161" fmla="*/ 422910 h 1161573"/>
                <a:gd name="connsiteX162" fmla="*/ 1135571 w 1502283"/>
                <a:gd name="connsiteY162" fmla="*/ 420719 h 1161573"/>
                <a:gd name="connsiteX163" fmla="*/ 1137475 w 1502283"/>
                <a:gd name="connsiteY163" fmla="*/ 410813 h 1161573"/>
                <a:gd name="connsiteX164" fmla="*/ 1137285 w 1502283"/>
                <a:gd name="connsiteY164" fmla="*/ 409194 h 1161573"/>
                <a:gd name="connsiteX165" fmla="*/ 1141190 w 1502283"/>
                <a:gd name="connsiteY165" fmla="*/ 402241 h 1161573"/>
                <a:gd name="connsiteX166" fmla="*/ 1142810 w 1502283"/>
                <a:gd name="connsiteY166" fmla="*/ 402050 h 1161573"/>
                <a:gd name="connsiteX167" fmla="*/ 1142429 w 1502283"/>
                <a:gd name="connsiteY167" fmla="*/ 398907 h 1161573"/>
                <a:gd name="connsiteX168" fmla="*/ 1142238 w 1502283"/>
                <a:gd name="connsiteY168" fmla="*/ 397288 h 1161573"/>
                <a:gd name="connsiteX169" fmla="*/ 1139285 w 1502283"/>
                <a:gd name="connsiteY169" fmla="*/ 399288 h 1161573"/>
                <a:gd name="connsiteX170" fmla="*/ 1140428 w 1502283"/>
                <a:gd name="connsiteY170" fmla="*/ 395954 h 1161573"/>
                <a:gd name="connsiteX171" fmla="*/ 1138619 w 1502283"/>
                <a:gd name="connsiteY171" fmla="*/ 394621 h 1161573"/>
                <a:gd name="connsiteX172" fmla="*/ 1135856 w 1502283"/>
                <a:gd name="connsiteY172" fmla="*/ 385382 h 1161573"/>
                <a:gd name="connsiteX173" fmla="*/ 1135285 w 1502283"/>
                <a:gd name="connsiteY173" fmla="*/ 380619 h 1161573"/>
                <a:gd name="connsiteX174" fmla="*/ 1133475 w 1502283"/>
                <a:gd name="connsiteY174" fmla="*/ 379286 h 1161573"/>
                <a:gd name="connsiteX175" fmla="*/ 1132141 w 1502283"/>
                <a:gd name="connsiteY175" fmla="*/ 381095 h 1161573"/>
                <a:gd name="connsiteX176" fmla="*/ 1129951 w 1502283"/>
                <a:gd name="connsiteY176" fmla="*/ 376523 h 1161573"/>
                <a:gd name="connsiteX177" fmla="*/ 1129189 w 1502283"/>
                <a:gd name="connsiteY177" fmla="*/ 370237 h 1161573"/>
                <a:gd name="connsiteX178" fmla="*/ 1126617 w 1502283"/>
                <a:gd name="connsiteY178" fmla="*/ 362521 h 1161573"/>
                <a:gd name="connsiteX179" fmla="*/ 1122616 w 1502283"/>
                <a:gd name="connsiteY179" fmla="*/ 356616 h 1161573"/>
                <a:gd name="connsiteX180" fmla="*/ 1125569 w 1502283"/>
                <a:gd name="connsiteY180" fmla="*/ 354616 h 1161573"/>
                <a:gd name="connsiteX181" fmla="*/ 1125379 w 1502283"/>
                <a:gd name="connsiteY181" fmla="*/ 352996 h 1161573"/>
                <a:gd name="connsiteX182" fmla="*/ 1126522 w 1502283"/>
                <a:gd name="connsiteY182" fmla="*/ 349663 h 1161573"/>
                <a:gd name="connsiteX183" fmla="*/ 1125760 w 1502283"/>
                <a:gd name="connsiteY183" fmla="*/ 343376 h 1161573"/>
                <a:gd name="connsiteX184" fmla="*/ 1118045 w 1502283"/>
                <a:gd name="connsiteY184" fmla="*/ 345948 h 1161573"/>
                <a:gd name="connsiteX185" fmla="*/ 1112139 w 1502283"/>
                <a:gd name="connsiteY185" fmla="*/ 337090 h 1161573"/>
                <a:gd name="connsiteX186" fmla="*/ 1108424 w 1502283"/>
                <a:gd name="connsiteY186" fmla="*/ 332804 h 1161573"/>
                <a:gd name="connsiteX187" fmla="*/ 1109758 w 1502283"/>
                <a:gd name="connsiteY187" fmla="*/ 330994 h 1161573"/>
                <a:gd name="connsiteX188" fmla="*/ 1104805 w 1502283"/>
                <a:gd name="connsiteY188" fmla="*/ 330041 h 1161573"/>
                <a:gd name="connsiteX189" fmla="*/ 1096328 w 1502283"/>
                <a:gd name="connsiteY189" fmla="*/ 326326 h 1161573"/>
                <a:gd name="connsiteX190" fmla="*/ 1093184 w 1502283"/>
                <a:gd name="connsiteY190" fmla="*/ 326708 h 1161573"/>
                <a:gd name="connsiteX191" fmla="*/ 1091851 w 1502283"/>
                <a:gd name="connsiteY191" fmla="*/ 328517 h 1161573"/>
                <a:gd name="connsiteX192" fmla="*/ 1083183 w 1502283"/>
                <a:gd name="connsiteY192" fmla="*/ 323183 h 1161573"/>
                <a:gd name="connsiteX193" fmla="*/ 1080040 w 1502283"/>
                <a:gd name="connsiteY193" fmla="*/ 323564 h 1161573"/>
                <a:gd name="connsiteX194" fmla="*/ 1078516 w 1502283"/>
                <a:gd name="connsiteY194" fmla="*/ 323755 h 1161573"/>
                <a:gd name="connsiteX195" fmla="*/ 1078325 w 1502283"/>
                <a:gd name="connsiteY195" fmla="*/ 322136 h 1161573"/>
                <a:gd name="connsiteX196" fmla="*/ 1071563 w 1502283"/>
                <a:gd name="connsiteY196" fmla="*/ 319754 h 1161573"/>
                <a:gd name="connsiteX197" fmla="*/ 1069562 w 1502283"/>
                <a:gd name="connsiteY197" fmla="*/ 316801 h 1161573"/>
                <a:gd name="connsiteX198" fmla="*/ 1070896 w 1502283"/>
                <a:gd name="connsiteY198" fmla="*/ 314992 h 1161573"/>
                <a:gd name="connsiteX199" fmla="*/ 1060799 w 1502283"/>
                <a:gd name="connsiteY199" fmla="*/ 311467 h 1161573"/>
                <a:gd name="connsiteX200" fmla="*/ 1059466 w 1502283"/>
                <a:gd name="connsiteY200" fmla="*/ 313277 h 1161573"/>
                <a:gd name="connsiteX201" fmla="*/ 1055465 w 1502283"/>
                <a:gd name="connsiteY201" fmla="*/ 307372 h 1161573"/>
                <a:gd name="connsiteX202" fmla="*/ 1060037 w 1502283"/>
                <a:gd name="connsiteY202" fmla="*/ 305181 h 1161573"/>
                <a:gd name="connsiteX203" fmla="*/ 1060990 w 1502283"/>
                <a:gd name="connsiteY203" fmla="*/ 300228 h 1161573"/>
                <a:gd name="connsiteX204" fmla="*/ 1059180 w 1502283"/>
                <a:gd name="connsiteY204" fmla="*/ 298895 h 1161573"/>
                <a:gd name="connsiteX205" fmla="*/ 1059180 w 1502283"/>
                <a:gd name="connsiteY205" fmla="*/ 298895 h 1161573"/>
                <a:gd name="connsiteX206" fmla="*/ 1057180 w 1502283"/>
                <a:gd name="connsiteY206" fmla="*/ 295942 h 1161573"/>
                <a:gd name="connsiteX207" fmla="*/ 1062514 w 1502283"/>
                <a:gd name="connsiteY207" fmla="*/ 287274 h 1161573"/>
                <a:gd name="connsiteX208" fmla="*/ 1065276 w 1502283"/>
                <a:gd name="connsiteY208" fmla="*/ 283750 h 1161573"/>
                <a:gd name="connsiteX209" fmla="*/ 1063276 w 1502283"/>
                <a:gd name="connsiteY209" fmla="*/ 280797 h 1161573"/>
                <a:gd name="connsiteX210" fmla="*/ 1064228 w 1502283"/>
                <a:gd name="connsiteY210" fmla="*/ 275844 h 1161573"/>
                <a:gd name="connsiteX211" fmla="*/ 1068324 w 1502283"/>
                <a:gd name="connsiteY211" fmla="*/ 270510 h 1161573"/>
                <a:gd name="connsiteX212" fmla="*/ 1067562 w 1502283"/>
                <a:gd name="connsiteY212" fmla="*/ 264224 h 1161573"/>
                <a:gd name="connsiteX213" fmla="*/ 1063752 w 1502283"/>
                <a:gd name="connsiteY213" fmla="*/ 259937 h 1161573"/>
                <a:gd name="connsiteX214" fmla="*/ 1061371 w 1502283"/>
                <a:gd name="connsiteY214" fmla="*/ 253841 h 1161573"/>
                <a:gd name="connsiteX215" fmla="*/ 1059180 w 1502283"/>
                <a:gd name="connsiteY215" fmla="*/ 249269 h 1161573"/>
                <a:gd name="connsiteX216" fmla="*/ 1057561 w 1502283"/>
                <a:gd name="connsiteY216" fmla="*/ 249460 h 1161573"/>
                <a:gd name="connsiteX217" fmla="*/ 1059752 w 1502283"/>
                <a:gd name="connsiteY217" fmla="*/ 254032 h 1161573"/>
                <a:gd name="connsiteX218" fmla="*/ 1056989 w 1502283"/>
                <a:gd name="connsiteY218" fmla="*/ 257556 h 1161573"/>
                <a:gd name="connsiteX219" fmla="*/ 1057370 w 1502283"/>
                <a:gd name="connsiteY219" fmla="*/ 260699 h 1161573"/>
                <a:gd name="connsiteX220" fmla="*/ 1052608 w 1502283"/>
                <a:gd name="connsiteY220" fmla="*/ 261271 h 1161573"/>
                <a:gd name="connsiteX221" fmla="*/ 1055941 w 1502283"/>
                <a:gd name="connsiteY221" fmla="*/ 262414 h 1161573"/>
                <a:gd name="connsiteX222" fmla="*/ 1054989 w 1502283"/>
                <a:gd name="connsiteY222" fmla="*/ 267367 h 1161573"/>
                <a:gd name="connsiteX223" fmla="*/ 1056608 w 1502283"/>
                <a:gd name="connsiteY223" fmla="*/ 267176 h 1161573"/>
                <a:gd name="connsiteX224" fmla="*/ 1056989 w 1502283"/>
                <a:gd name="connsiteY224" fmla="*/ 270320 h 1161573"/>
                <a:gd name="connsiteX225" fmla="*/ 1058323 w 1502283"/>
                <a:gd name="connsiteY225" fmla="*/ 268510 h 1161573"/>
                <a:gd name="connsiteX226" fmla="*/ 1055561 w 1502283"/>
                <a:gd name="connsiteY226" fmla="*/ 272034 h 1161573"/>
                <a:gd name="connsiteX227" fmla="*/ 1055561 w 1502283"/>
                <a:gd name="connsiteY227" fmla="*/ 272034 h 1161573"/>
                <a:gd name="connsiteX228" fmla="*/ 1055751 w 1502283"/>
                <a:gd name="connsiteY228" fmla="*/ 273653 h 1161573"/>
                <a:gd name="connsiteX229" fmla="*/ 1050798 w 1502283"/>
                <a:gd name="connsiteY229" fmla="*/ 272701 h 1161573"/>
                <a:gd name="connsiteX230" fmla="*/ 1049179 w 1502283"/>
                <a:gd name="connsiteY230" fmla="*/ 272891 h 1161573"/>
                <a:gd name="connsiteX231" fmla="*/ 1049369 w 1502283"/>
                <a:gd name="connsiteY231" fmla="*/ 274511 h 1161573"/>
                <a:gd name="connsiteX232" fmla="*/ 1046226 w 1502283"/>
                <a:gd name="connsiteY232" fmla="*/ 274892 h 1161573"/>
                <a:gd name="connsiteX233" fmla="*/ 1045655 w 1502283"/>
                <a:gd name="connsiteY233" fmla="*/ 270129 h 1161573"/>
                <a:gd name="connsiteX234" fmla="*/ 1046797 w 1502283"/>
                <a:gd name="connsiteY234" fmla="*/ 266795 h 1161573"/>
                <a:gd name="connsiteX235" fmla="*/ 1043654 w 1502283"/>
                <a:gd name="connsiteY235" fmla="*/ 267176 h 1161573"/>
                <a:gd name="connsiteX236" fmla="*/ 1041273 w 1502283"/>
                <a:gd name="connsiteY236" fmla="*/ 261080 h 1161573"/>
                <a:gd name="connsiteX237" fmla="*/ 1039654 w 1502283"/>
                <a:gd name="connsiteY237" fmla="*/ 261271 h 1161573"/>
                <a:gd name="connsiteX238" fmla="*/ 1042225 w 1502283"/>
                <a:gd name="connsiteY238" fmla="*/ 256127 h 1161573"/>
                <a:gd name="connsiteX239" fmla="*/ 1032796 w 1502283"/>
                <a:gd name="connsiteY239" fmla="*/ 257366 h 1161573"/>
                <a:gd name="connsiteX240" fmla="*/ 1032224 w 1502283"/>
                <a:gd name="connsiteY240" fmla="*/ 252603 h 1161573"/>
                <a:gd name="connsiteX241" fmla="*/ 1035558 w 1502283"/>
                <a:gd name="connsiteY241" fmla="*/ 253746 h 1161573"/>
                <a:gd name="connsiteX242" fmla="*/ 1034987 w 1502283"/>
                <a:gd name="connsiteY242" fmla="*/ 248984 h 1161573"/>
                <a:gd name="connsiteX243" fmla="*/ 1033367 w 1502283"/>
                <a:gd name="connsiteY243" fmla="*/ 249174 h 1161573"/>
                <a:gd name="connsiteX244" fmla="*/ 1035748 w 1502283"/>
                <a:gd name="connsiteY244" fmla="*/ 242507 h 1161573"/>
                <a:gd name="connsiteX245" fmla="*/ 1035368 w 1502283"/>
                <a:gd name="connsiteY245" fmla="*/ 239363 h 1161573"/>
                <a:gd name="connsiteX246" fmla="*/ 1030605 w 1502283"/>
                <a:gd name="connsiteY246" fmla="*/ 239935 h 1161573"/>
                <a:gd name="connsiteX247" fmla="*/ 1030224 w 1502283"/>
                <a:gd name="connsiteY247" fmla="*/ 236792 h 1161573"/>
                <a:gd name="connsiteX248" fmla="*/ 1025652 w 1502283"/>
                <a:gd name="connsiteY248" fmla="*/ 238982 h 1161573"/>
                <a:gd name="connsiteX249" fmla="*/ 1020699 w 1502283"/>
                <a:gd name="connsiteY249" fmla="*/ 238030 h 1161573"/>
                <a:gd name="connsiteX250" fmla="*/ 1013555 w 1502283"/>
                <a:gd name="connsiteY250" fmla="*/ 232505 h 1161573"/>
                <a:gd name="connsiteX251" fmla="*/ 1014698 w 1502283"/>
                <a:gd name="connsiteY251" fmla="*/ 229171 h 1161573"/>
                <a:gd name="connsiteX252" fmla="*/ 1016508 w 1502283"/>
                <a:gd name="connsiteY252" fmla="*/ 230505 h 1161573"/>
                <a:gd name="connsiteX253" fmla="*/ 1017270 w 1502283"/>
                <a:gd name="connsiteY253" fmla="*/ 224028 h 1161573"/>
                <a:gd name="connsiteX254" fmla="*/ 1016698 w 1502283"/>
                <a:gd name="connsiteY254" fmla="*/ 219266 h 1161573"/>
                <a:gd name="connsiteX255" fmla="*/ 1012127 w 1502283"/>
                <a:gd name="connsiteY255" fmla="*/ 208598 h 1161573"/>
                <a:gd name="connsiteX256" fmla="*/ 1011936 w 1502283"/>
                <a:gd name="connsiteY256" fmla="*/ 206978 h 1161573"/>
                <a:gd name="connsiteX257" fmla="*/ 1013555 w 1502283"/>
                <a:gd name="connsiteY257" fmla="*/ 206788 h 1161573"/>
                <a:gd name="connsiteX258" fmla="*/ 1012507 w 1502283"/>
                <a:gd name="connsiteY258" fmla="*/ 198882 h 1161573"/>
                <a:gd name="connsiteX259" fmla="*/ 1010698 w 1502283"/>
                <a:gd name="connsiteY259" fmla="*/ 197453 h 1161573"/>
                <a:gd name="connsiteX260" fmla="*/ 1008697 w 1502283"/>
                <a:gd name="connsiteY260" fmla="*/ 194500 h 1161573"/>
                <a:gd name="connsiteX261" fmla="*/ 1005745 w 1502283"/>
                <a:gd name="connsiteY261" fmla="*/ 196501 h 1161573"/>
                <a:gd name="connsiteX262" fmla="*/ 1002221 w 1502283"/>
                <a:gd name="connsiteY262" fmla="*/ 193738 h 1161573"/>
                <a:gd name="connsiteX263" fmla="*/ 1000601 w 1502283"/>
                <a:gd name="connsiteY263" fmla="*/ 193929 h 1161573"/>
                <a:gd name="connsiteX264" fmla="*/ 1000220 w 1502283"/>
                <a:gd name="connsiteY264" fmla="*/ 190786 h 1161573"/>
                <a:gd name="connsiteX265" fmla="*/ 1004983 w 1502283"/>
                <a:gd name="connsiteY265" fmla="*/ 190214 h 1161573"/>
                <a:gd name="connsiteX266" fmla="*/ 1006316 w 1502283"/>
                <a:gd name="connsiteY266" fmla="*/ 188404 h 1161573"/>
                <a:gd name="connsiteX267" fmla="*/ 1004316 w 1502283"/>
                <a:gd name="connsiteY267" fmla="*/ 185452 h 1161573"/>
                <a:gd name="connsiteX268" fmla="*/ 992886 w 1502283"/>
                <a:gd name="connsiteY268" fmla="*/ 183737 h 1161573"/>
                <a:gd name="connsiteX269" fmla="*/ 992314 w 1502283"/>
                <a:gd name="connsiteY269" fmla="*/ 178975 h 1161573"/>
                <a:gd name="connsiteX270" fmla="*/ 989171 w 1502283"/>
                <a:gd name="connsiteY270" fmla="*/ 179356 h 1161573"/>
                <a:gd name="connsiteX271" fmla="*/ 987171 w 1502283"/>
                <a:gd name="connsiteY271" fmla="*/ 176403 h 1161573"/>
                <a:gd name="connsiteX272" fmla="*/ 993457 w 1502283"/>
                <a:gd name="connsiteY272" fmla="*/ 175641 h 1161573"/>
                <a:gd name="connsiteX273" fmla="*/ 992219 w 1502283"/>
                <a:gd name="connsiteY273" fmla="*/ 166211 h 1161573"/>
                <a:gd name="connsiteX274" fmla="*/ 985266 w 1502283"/>
                <a:gd name="connsiteY274" fmla="*/ 162306 h 1161573"/>
                <a:gd name="connsiteX275" fmla="*/ 983266 w 1502283"/>
                <a:gd name="connsiteY275" fmla="*/ 159353 h 1161573"/>
                <a:gd name="connsiteX276" fmla="*/ 984599 w 1502283"/>
                <a:gd name="connsiteY276" fmla="*/ 157544 h 1161573"/>
                <a:gd name="connsiteX277" fmla="*/ 981265 w 1502283"/>
                <a:gd name="connsiteY277" fmla="*/ 156400 h 1161573"/>
                <a:gd name="connsiteX278" fmla="*/ 981075 w 1502283"/>
                <a:gd name="connsiteY278" fmla="*/ 154781 h 1161573"/>
                <a:gd name="connsiteX279" fmla="*/ 977741 w 1502283"/>
                <a:gd name="connsiteY279" fmla="*/ 153638 h 1161573"/>
                <a:gd name="connsiteX280" fmla="*/ 973836 w 1502283"/>
                <a:gd name="connsiteY280" fmla="*/ 160592 h 1161573"/>
                <a:gd name="connsiteX281" fmla="*/ 962787 w 1502283"/>
                <a:gd name="connsiteY281" fmla="*/ 149162 h 1161573"/>
                <a:gd name="connsiteX282" fmla="*/ 960977 w 1502283"/>
                <a:gd name="connsiteY282" fmla="*/ 147828 h 1161573"/>
                <a:gd name="connsiteX283" fmla="*/ 958215 w 1502283"/>
                <a:gd name="connsiteY283" fmla="*/ 151352 h 1161573"/>
                <a:gd name="connsiteX284" fmla="*/ 954881 w 1502283"/>
                <a:gd name="connsiteY284" fmla="*/ 150209 h 1161573"/>
                <a:gd name="connsiteX285" fmla="*/ 940118 w 1502283"/>
                <a:gd name="connsiteY285" fmla="*/ 160115 h 1161573"/>
                <a:gd name="connsiteX286" fmla="*/ 935355 w 1502283"/>
                <a:gd name="connsiteY286" fmla="*/ 160687 h 1161573"/>
                <a:gd name="connsiteX287" fmla="*/ 932402 w 1502283"/>
                <a:gd name="connsiteY287" fmla="*/ 162687 h 1161573"/>
                <a:gd name="connsiteX288" fmla="*/ 934212 w 1502283"/>
                <a:gd name="connsiteY288" fmla="*/ 164021 h 1161573"/>
                <a:gd name="connsiteX289" fmla="*/ 935831 w 1502283"/>
                <a:gd name="connsiteY289" fmla="*/ 163830 h 1161573"/>
                <a:gd name="connsiteX290" fmla="*/ 937641 w 1502283"/>
                <a:gd name="connsiteY290" fmla="*/ 165163 h 1161573"/>
                <a:gd name="connsiteX291" fmla="*/ 934498 w 1502283"/>
                <a:gd name="connsiteY291" fmla="*/ 165545 h 1161573"/>
                <a:gd name="connsiteX292" fmla="*/ 933545 w 1502283"/>
                <a:gd name="connsiteY292" fmla="*/ 170498 h 1161573"/>
                <a:gd name="connsiteX293" fmla="*/ 930593 w 1502283"/>
                <a:gd name="connsiteY293" fmla="*/ 172498 h 1161573"/>
                <a:gd name="connsiteX294" fmla="*/ 925449 w 1502283"/>
                <a:gd name="connsiteY294" fmla="*/ 169926 h 1161573"/>
                <a:gd name="connsiteX295" fmla="*/ 921163 w 1502283"/>
                <a:gd name="connsiteY295" fmla="*/ 173641 h 1161573"/>
                <a:gd name="connsiteX296" fmla="*/ 927449 w 1502283"/>
                <a:gd name="connsiteY296" fmla="*/ 172879 h 1161573"/>
                <a:gd name="connsiteX297" fmla="*/ 931164 w 1502283"/>
                <a:gd name="connsiteY297" fmla="*/ 177165 h 1161573"/>
                <a:gd name="connsiteX298" fmla="*/ 928783 w 1502283"/>
                <a:gd name="connsiteY298" fmla="*/ 183833 h 1161573"/>
                <a:gd name="connsiteX299" fmla="*/ 930402 w 1502283"/>
                <a:gd name="connsiteY299" fmla="*/ 183642 h 1161573"/>
                <a:gd name="connsiteX300" fmla="*/ 933736 w 1502283"/>
                <a:gd name="connsiteY300" fmla="*/ 184785 h 1161573"/>
                <a:gd name="connsiteX301" fmla="*/ 936688 w 1502283"/>
                <a:gd name="connsiteY301" fmla="*/ 182785 h 1161573"/>
                <a:gd name="connsiteX302" fmla="*/ 936879 w 1502283"/>
                <a:gd name="connsiteY302" fmla="*/ 184404 h 1161573"/>
                <a:gd name="connsiteX303" fmla="*/ 938689 w 1502283"/>
                <a:gd name="connsiteY303" fmla="*/ 185738 h 1161573"/>
                <a:gd name="connsiteX304" fmla="*/ 941070 w 1502283"/>
                <a:gd name="connsiteY304" fmla="*/ 191834 h 1161573"/>
                <a:gd name="connsiteX305" fmla="*/ 942689 w 1502283"/>
                <a:gd name="connsiteY305" fmla="*/ 191643 h 1161573"/>
                <a:gd name="connsiteX306" fmla="*/ 943261 w 1502283"/>
                <a:gd name="connsiteY306" fmla="*/ 196405 h 1161573"/>
                <a:gd name="connsiteX307" fmla="*/ 944594 w 1502283"/>
                <a:gd name="connsiteY307" fmla="*/ 194596 h 1161573"/>
                <a:gd name="connsiteX308" fmla="*/ 949357 w 1502283"/>
                <a:gd name="connsiteY308" fmla="*/ 194024 h 1161573"/>
                <a:gd name="connsiteX309" fmla="*/ 949738 w 1502283"/>
                <a:gd name="connsiteY309" fmla="*/ 197167 h 1161573"/>
                <a:gd name="connsiteX310" fmla="*/ 953072 w 1502283"/>
                <a:gd name="connsiteY310" fmla="*/ 198311 h 1161573"/>
                <a:gd name="connsiteX311" fmla="*/ 951929 w 1502283"/>
                <a:gd name="connsiteY311" fmla="*/ 201644 h 1161573"/>
                <a:gd name="connsiteX312" fmla="*/ 952119 w 1502283"/>
                <a:gd name="connsiteY312" fmla="*/ 203263 h 1161573"/>
                <a:gd name="connsiteX313" fmla="*/ 947642 w 1502283"/>
                <a:gd name="connsiteY313" fmla="*/ 205454 h 1161573"/>
                <a:gd name="connsiteX314" fmla="*/ 946499 w 1502283"/>
                <a:gd name="connsiteY314" fmla="*/ 208788 h 1161573"/>
                <a:gd name="connsiteX315" fmla="*/ 948499 w 1502283"/>
                <a:gd name="connsiteY315" fmla="*/ 211741 h 1161573"/>
                <a:gd name="connsiteX316" fmla="*/ 956786 w 1502283"/>
                <a:gd name="connsiteY316" fmla="*/ 213932 h 1161573"/>
                <a:gd name="connsiteX317" fmla="*/ 958596 w 1502283"/>
                <a:gd name="connsiteY317" fmla="*/ 215265 h 1161573"/>
                <a:gd name="connsiteX318" fmla="*/ 957834 w 1502283"/>
                <a:gd name="connsiteY318" fmla="*/ 221742 h 1161573"/>
                <a:gd name="connsiteX319" fmla="*/ 965168 w 1502283"/>
                <a:gd name="connsiteY319" fmla="*/ 228791 h 1161573"/>
                <a:gd name="connsiteX320" fmla="*/ 959453 w 1502283"/>
                <a:gd name="connsiteY320" fmla="*/ 234315 h 1161573"/>
                <a:gd name="connsiteX321" fmla="*/ 956500 w 1502283"/>
                <a:gd name="connsiteY321" fmla="*/ 236315 h 1161573"/>
                <a:gd name="connsiteX322" fmla="*/ 952500 w 1502283"/>
                <a:gd name="connsiteY322" fmla="*/ 230410 h 1161573"/>
                <a:gd name="connsiteX323" fmla="*/ 949357 w 1502283"/>
                <a:gd name="connsiteY323" fmla="*/ 243650 h 1161573"/>
                <a:gd name="connsiteX324" fmla="*/ 947738 w 1502283"/>
                <a:gd name="connsiteY324" fmla="*/ 243840 h 1161573"/>
                <a:gd name="connsiteX325" fmla="*/ 948309 w 1502283"/>
                <a:gd name="connsiteY325" fmla="*/ 248603 h 1161573"/>
                <a:gd name="connsiteX326" fmla="*/ 948499 w 1502283"/>
                <a:gd name="connsiteY326" fmla="*/ 250222 h 1161573"/>
                <a:gd name="connsiteX327" fmla="*/ 947738 w 1502283"/>
                <a:gd name="connsiteY327" fmla="*/ 256699 h 1161573"/>
                <a:gd name="connsiteX328" fmla="*/ 951547 w 1502283"/>
                <a:gd name="connsiteY328" fmla="*/ 260985 h 1161573"/>
                <a:gd name="connsiteX329" fmla="*/ 948214 w 1502283"/>
                <a:gd name="connsiteY329" fmla="*/ 259842 h 1161573"/>
                <a:gd name="connsiteX330" fmla="*/ 943928 w 1502283"/>
                <a:gd name="connsiteY330" fmla="*/ 263557 h 1161573"/>
                <a:gd name="connsiteX331" fmla="*/ 939165 w 1502283"/>
                <a:gd name="connsiteY331" fmla="*/ 264128 h 1161573"/>
                <a:gd name="connsiteX332" fmla="*/ 933260 w 1502283"/>
                <a:gd name="connsiteY332" fmla="*/ 268129 h 1161573"/>
                <a:gd name="connsiteX333" fmla="*/ 928116 w 1502283"/>
                <a:gd name="connsiteY333" fmla="*/ 278416 h 1161573"/>
                <a:gd name="connsiteX334" fmla="*/ 928497 w 1502283"/>
                <a:gd name="connsiteY334" fmla="*/ 281559 h 1161573"/>
                <a:gd name="connsiteX335" fmla="*/ 925544 w 1502283"/>
                <a:gd name="connsiteY335" fmla="*/ 283559 h 1161573"/>
                <a:gd name="connsiteX336" fmla="*/ 921544 w 1502283"/>
                <a:gd name="connsiteY336" fmla="*/ 277654 h 1161573"/>
                <a:gd name="connsiteX337" fmla="*/ 911447 w 1502283"/>
                <a:gd name="connsiteY337" fmla="*/ 274130 h 1161573"/>
                <a:gd name="connsiteX338" fmla="*/ 903922 w 1502283"/>
                <a:gd name="connsiteY338" fmla="*/ 265462 h 1161573"/>
                <a:gd name="connsiteX339" fmla="*/ 886778 w 1502283"/>
                <a:gd name="connsiteY339" fmla="*/ 256413 h 1161573"/>
                <a:gd name="connsiteX340" fmla="*/ 889159 w 1502283"/>
                <a:gd name="connsiteY340" fmla="*/ 249746 h 1161573"/>
                <a:gd name="connsiteX341" fmla="*/ 884206 w 1502283"/>
                <a:gd name="connsiteY341" fmla="*/ 248793 h 1161573"/>
                <a:gd name="connsiteX342" fmla="*/ 883063 w 1502283"/>
                <a:gd name="connsiteY342" fmla="*/ 252127 h 1161573"/>
                <a:gd name="connsiteX343" fmla="*/ 879729 w 1502283"/>
                <a:gd name="connsiteY343" fmla="*/ 250984 h 1161573"/>
                <a:gd name="connsiteX344" fmla="*/ 878967 w 1502283"/>
                <a:gd name="connsiteY344" fmla="*/ 244697 h 1161573"/>
                <a:gd name="connsiteX345" fmla="*/ 881348 w 1502283"/>
                <a:gd name="connsiteY345" fmla="*/ 238030 h 1161573"/>
                <a:gd name="connsiteX346" fmla="*/ 880967 w 1502283"/>
                <a:gd name="connsiteY346" fmla="*/ 234887 h 1161573"/>
                <a:gd name="connsiteX347" fmla="*/ 883539 w 1502283"/>
                <a:gd name="connsiteY347" fmla="*/ 229743 h 1161573"/>
                <a:gd name="connsiteX348" fmla="*/ 890016 w 1502283"/>
                <a:gd name="connsiteY348" fmla="*/ 230505 h 1161573"/>
                <a:gd name="connsiteX349" fmla="*/ 891445 w 1502283"/>
                <a:gd name="connsiteY349" fmla="*/ 228695 h 1161573"/>
                <a:gd name="connsiteX350" fmla="*/ 897731 w 1502283"/>
                <a:gd name="connsiteY350" fmla="*/ 227933 h 1161573"/>
                <a:gd name="connsiteX351" fmla="*/ 899065 w 1502283"/>
                <a:gd name="connsiteY351" fmla="*/ 226124 h 1161573"/>
                <a:gd name="connsiteX352" fmla="*/ 900874 w 1502283"/>
                <a:gd name="connsiteY352" fmla="*/ 227457 h 1161573"/>
                <a:gd name="connsiteX353" fmla="*/ 901827 w 1502283"/>
                <a:gd name="connsiteY353" fmla="*/ 222504 h 1161573"/>
                <a:gd name="connsiteX354" fmla="*/ 901446 w 1502283"/>
                <a:gd name="connsiteY354" fmla="*/ 219361 h 1161573"/>
                <a:gd name="connsiteX355" fmla="*/ 896493 w 1502283"/>
                <a:gd name="connsiteY355" fmla="*/ 218408 h 1161573"/>
                <a:gd name="connsiteX356" fmla="*/ 897827 w 1502283"/>
                <a:gd name="connsiteY356" fmla="*/ 216599 h 1161573"/>
                <a:gd name="connsiteX357" fmla="*/ 895636 w 1502283"/>
                <a:gd name="connsiteY357" fmla="*/ 212026 h 1161573"/>
                <a:gd name="connsiteX358" fmla="*/ 892493 w 1502283"/>
                <a:gd name="connsiteY358" fmla="*/ 212408 h 1161573"/>
                <a:gd name="connsiteX359" fmla="*/ 894683 w 1502283"/>
                <a:gd name="connsiteY359" fmla="*/ 204121 h 1161573"/>
                <a:gd name="connsiteX360" fmla="*/ 892873 w 1502283"/>
                <a:gd name="connsiteY360" fmla="*/ 202787 h 1161573"/>
                <a:gd name="connsiteX361" fmla="*/ 886587 w 1502283"/>
                <a:gd name="connsiteY361" fmla="*/ 203549 h 1161573"/>
                <a:gd name="connsiteX362" fmla="*/ 884587 w 1502283"/>
                <a:gd name="connsiteY362" fmla="*/ 200596 h 1161573"/>
                <a:gd name="connsiteX363" fmla="*/ 879634 w 1502283"/>
                <a:gd name="connsiteY363" fmla="*/ 199644 h 1161573"/>
                <a:gd name="connsiteX364" fmla="*/ 880586 w 1502283"/>
                <a:gd name="connsiteY364" fmla="*/ 181928 h 1161573"/>
                <a:gd name="connsiteX365" fmla="*/ 877253 w 1502283"/>
                <a:gd name="connsiteY365" fmla="*/ 180784 h 1161573"/>
                <a:gd name="connsiteX366" fmla="*/ 880396 w 1502283"/>
                <a:gd name="connsiteY366" fmla="*/ 180404 h 1161573"/>
                <a:gd name="connsiteX367" fmla="*/ 880205 w 1502283"/>
                <a:gd name="connsiteY367" fmla="*/ 178784 h 1161573"/>
                <a:gd name="connsiteX368" fmla="*/ 876205 w 1502283"/>
                <a:gd name="connsiteY368" fmla="*/ 172879 h 1161573"/>
                <a:gd name="connsiteX369" fmla="*/ 875633 w 1502283"/>
                <a:gd name="connsiteY369" fmla="*/ 168116 h 1161573"/>
                <a:gd name="connsiteX370" fmla="*/ 873633 w 1502283"/>
                <a:gd name="connsiteY370" fmla="*/ 165163 h 1161573"/>
                <a:gd name="connsiteX371" fmla="*/ 872871 w 1502283"/>
                <a:gd name="connsiteY371" fmla="*/ 158877 h 1161573"/>
                <a:gd name="connsiteX372" fmla="*/ 869156 w 1502283"/>
                <a:gd name="connsiteY372" fmla="*/ 154496 h 1161573"/>
                <a:gd name="connsiteX373" fmla="*/ 872490 w 1502283"/>
                <a:gd name="connsiteY373" fmla="*/ 142875 h 1161573"/>
                <a:gd name="connsiteX374" fmla="*/ 870490 w 1502283"/>
                <a:gd name="connsiteY374" fmla="*/ 139922 h 1161573"/>
                <a:gd name="connsiteX375" fmla="*/ 876205 w 1502283"/>
                <a:gd name="connsiteY375" fmla="*/ 134398 h 1161573"/>
                <a:gd name="connsiteX376" fmla="*/ 879538 w 1502283"/>
                <a:gd name="connsiteY376" fmla="*/ 135541 h 1161573"/>
                <a:gd name="connsiteX377" fmla="*/ 882491 w 1502283"/>
                <a:gd name="connsiteY377" fmla="*/ 133541 h 1161573"/>
                <a:gd name="connsiteX378" fmla="*/ 883825 w 1502283"/>
                <a:gd name="connsiteY378" fmla="*/ 131731 h 1161573"/>
                <a:gd name="connsiteX379" fmla="*/ 882777 w 1502283"/>
                <a:gd name="connsiteY379" fmla="*/ 123825 h 1161573"/>
                <a:gd name="connsiteX380" fmla="*/ 880777 w 1502283"/>
                <a:gd name="connsiteY380" fmla="*/ 120872 h 1161573"/>
                <a:gd name="connsiteX381" fmla="*/ 884682 w 1502283"/>
                <a:gd name="connsiteY381" fmla="*/ 113919 h 1161573"/>
                <a:gd name="connsiteX382" fmla="*/ 889254 w 1502283"/>
                <a:gd name="connsiteY382" fmla="*/ 111728 h 1161573"/>
                <a:gd name="connsiteX383" fmla="*/ 894397 w 1502283"/>
                <a:gd name="connsiteY383" fmla="*/ 114300 h 1161573"/>
                <a:gd name="connsiteX384" fmla="*/ 900684 w 1502283"/>
                <a:gd name="connsiteY384" fmla="*/ 113538 h 1161573"/>
                <a:gd name="connsiteX385" fmla="*/ 902018 w 1502283"/>
                <a:gd name="connsiteY385" fmla="*/ 111728 h 1161573"/>
                <a:gd name="connsiteX386" fmla="*/ 900398 w 1502283"/>
                <a:gd name="connsiteY386" fmla="*/ 111919 h 1161573"/>
                <a:gd name="connsiteX387" fmla="*/ 898588 w 1502283"/>
                <a:gd name="connsiteY387" fmla="*/ 110585 h 1161573"/>
                <a:gd name="connsiteX388" fmla="*/ 895636 w 1502283"/>
                <a:gd name="connsiteY388" fmla="*/ 112586 h 1161573"/>
                <a:gd name="connsiteX389" fmla="*/ 895445 w 1502283"/>
                <a:gd name="connsiteY389" fmla="*/ 110966 h 1161573"/>
                <a:gd name="connsiteX390" fmla="*/ 890492 w 1502283"/>
                <a:gd name="connsiteY390" fmla="*/ 110014 h 1161573"/>
                <a:gd name="connsiteX391" fmla="*/ 888682 w 1502283"/>
                <a:gd name="connsiteY391" fmla="*/ 108680 h 1161573"/>
                <a:gd name="connsiteX392" fmla="*/ 887539 w 1502283"/>
                <a:gd name="connsiteY392" fmla="*/ 112014 h 1161573"/>
                <a:gd name="connsiteX393" fmla="*/ 887158 w 1502283"/>
                <a:gd name="connsiteY393" fmla="*/ 108871 h 1161573"/>
                <a:gd name="connsiteX394" fmla="*/ 888587 w 1502283"/>
                <a:gd name="connsiteY394" fmla="*/ 107061 h 1161573"/>
                <a:gd name="connsiteX395" fmla="*/ 884206 w 1502283"/>
                <a:gd name="connsiteY395" fmla="*/ 110776 h 1161573"/>
                <a:gd name="connsiteX396" fmla="*/ 876110 w 1502283"/>
                <a:gd name="connsiteY396" fmla="*/ 110204 h 1161573"/>
                <a:gd name="connsiteX397" fmla="*/ 867442 w 1502283"/>
                <a:gd name="connsiteY397" fmla="*/ 104870 h 1161573"/>
                <a:gd name="connsiteX398" fmla="*/ 865441 w 1502283"/>
                <a:gd name="connsiteY398" fmla="*/ 101917 h 1161573"/>
                <a:gd name="connsiteX399" fmla="*/ 858774 w 1502283"/>
                <a:gd name="connsiteY399" fmla="*/ 99536 h 1161573"/>
                <a:gd name="connsiteX400" fmla="*/ 855821 w 1502283"/>
                <a:gd name="connsiteY400" fmla="*/ 101537 h 1161573"/>
                <a:gd name="connsiteX401" fmla="*/ 850868 w 1502283"/>
                <a:gd name="connsiteY401" fmla="*/ 100584 h 1161573"/>
                <a:gd name="connsiteX402" fmla="*/ 847535 w 1502283"/>
                <a:gd name="connsiteY402" fmla="*/ 99441 h 1161573"/>
                <a:gd name="connsiteX403" fmla="*/ 841438 w 1502283"/>
                <a:gd name="connsiteY403" fmla="*/ 101822 h 1161573"/>
                <a:gd name="connsiteX404" fmla="*/ 834962 w 1502283"/>
                <a:gd name="connsiteY404" fmla="*/ 101060 h 1161573"/>
                <a:gd name="connsiteX405" fmla="*/ 837343 w 1502283"/>
                <a:gd name="connsiteY405" fmla="*/ 94393 h 1161573"/>
                <a:gd name="connsiteX406" fmla="*/ 840296 w 1502283"/>
                <a:gd name="connsiteY406" fmla="*/ 92392 h 1161573"/>
                <a:gd name="connsiteX407" fmla="*/ 842486 w 1502283"/>
                <a:gd name="connsiteY407" fmla="*/ 84106 h 1161573"/>
                <a:gd name="connsiteX408" fmla="*/ 845248 w 1502283"/>
                <a:gd name="connsiteY408" fmla="*/ 80582 h 1161573"/>
                <a:gd name="connsiteX409" fmla="*/ 845058 w 1502283"/>
                <a:gd name="connsiteY409" fmla="*/ 78962 h 1161573"/>
                <a:gd name="connsiteX410" fmla="*/ 844868 w 1502283"/>
                <a:gd name="connsiteY410" fmla="*/ 77343 h 1161573"/>
                <a:gd name="connsiteX411" fmla="*/ 841724 w 1502283"/>
                <a:gd name="connsiteY411" fmla="*/ 77724 h 1161573"/>
                <a:gd name="connsiteX412" fmla="*/ 839914 w 1502283"/>
                <a:gd name="connsiteY412" fmla="*/ 76391 h 1161573"/>
                <a:gd name="connsiteX413" fmla="*/ 840677 w 1502283"/>
                <a:gd name="connsiteY413" fmla="*/ 69913 h 1161573"/>
                <a:gd name="connsiteX414" fmla="*/ 838295 w 1502283"/>
                <a:gd name="connsiteY414" fmla="*/ 63817 h 1161573"/>
                <a:gd name="connsiteX415" fmla="*/ 838105 w 1502283"/>
                <a:gd name="connsiteY415" fmla="*/ 62198 h 1161573"/>
                <a:gd name="connsiteX416" fmla="*/ 841057 w 1502283"/>
                <a:gd name="connsiteY416" fmla="*/ 60198 h 1161573"/>
                <a:gd name="connsiteX417" fmla="*/ 838867 w 1502283"/>
                <a:gd name="connsiteY417" fmla="*/ 55626 h 1161573"/>
                <a:gd name="connsiteX418" fmla="*/ 842010 w 1502283"/>
                <a:gd name="connsiteY418" fmla="*/ 55245 h 1161573"/>
                <a:gd name="connsiteX419" fmla="*/ 838010 w 1502283"/>
                <a:gd name="connsiteY419" fmla="*/ 49340 h 1161573"/>
                <a:gd name="connsiteX420" fmla="*/ 843534 w 1502283"/>
                <a:gd name="connsiteY420" fmla="*/ 55054 h 1161573"/>
                <a:gd name="connsiteX421" fmla="*/ 850202 w 1502283"/>
                <a:gd name="connsiteY421" fmla="*/ 57436 h 1161573"/>
                <a:gd name="connsiteX422" fmla="*/ 852202 w 1502283"/>
                <a:gd name="connsiteY422" fmla="*/ 60388 h 1161573"/>
                <a:gd name="connsiteX423" fmla="*/ 853154 w 1502283"/>
                <a:gd name="connsiteY423" fmla="*/ 55436 h 1161573"/>
                <a:gd name="connsiteX424" fmla="*/ 855345 w 1502283"/>
                <a:gd name="connsiteY424" fmla="*/ 60008 h 1161573"/>
                <a:gd name="connsiteX425" fmla="*/ 858298 w 1502283"/>
                <a:gd name="connsiteY425" fmla="*/ 58007 h 1161573"/>
                <a:gd name="connsiteX426" fmla="*/ 861822 w 1502283"/>
                <a:gd name="connsiteY426" fmla="*/ 60770 h 1161573"/>
                <a:gd name="connsiteX427" fmla="*/ 864013 w 1502283"/>
                <a:gd name="connsiteY427" fmla="*/ 65342 h 1161573"/>
                <a:gd name="connsiteX428" fmla="*/ 865822 w 1502283"/>
                <a:gd name="connsiteY428" fmla="*/ 66675 h 1161573"/>
                <a:gd name="connsiteX429" fmla="*/ 873538 w 1502283"/>
                <a:gd name="connsiteY429" fmla="*/ 64103 h 1161573"/>
                <a:gd name="connsiteX430" fmla="*/ 878014 w 1502283"/>
                <a:gd name="connsiteY430" fmla="*/ 61913 h 1161573"/>
                <a:gd name="connsiteX431" fmla="*/ 879157 w 1502283"/>
                <a:gd name="connsiteY431" fmla="*/ 58579 h 1161573"/>
                <a:gd name="connsiteX432" fmla="*/ 875824 w 1502283"/>
                <a:gd name="connsiteY432" fmla="*/ 57436 h 1161573"/>
                <a:gd name="connsiteX433" fmla="*/ 873443 w 1502283"/>
                <a:gd name="connsiteY433" fmla="*/ 51340 h 1161573"/>
                <a:gd name="connsiteX434" fmla="*/ 868489 w 1502283"/>
                <a:gd name="connsiteY434" fmla="*/ 50387 h 1161573"/>
                <a:gd name="connsiteX435" fmla="*/ 869252 w 1502283"/>
                <a:gd name="connsiteY435" fmla="*/ 43910 h 1161573"/>
                <a:gd name="connsiteX436" fmla="*/ 871061 w 1502283"/>
                <a:gd name="connsiteY436" fmla="*/ 45244 h 1161573"/>
                <a:gd name="connsiteX437" fmla="*/ 875538 w 1502283"/>
                <a:gd name="connsiteY437" fmla="*/ 43053 h 1161573"/>
                <a:gd name="connsiteX438" fmla="*/ 875157 w 1502283"/>
                <a:gd name="connsiteY438" fmla="*/ 39910 h 1161573"/>
                <a:gd name="connsiteX439" fmla="*/ 881253 w 1502283"/>
                <a:gd name="connsiteY439" fmla="*/ 37529 h 1161573"/>
                <a:gd name="connsiteX440" fmla="*/ 879443 w 1502283"/>
                <a:gd name="connsiteY440" fmla="*/ 36195 h 1161573"/>
                <a:gd name="connsiteX441" fmla="*/ 865441 w 1502283"/>
                <a:gd name="connsiteY441" fmla="*/ 39624 h 1161573"/>
                <a:gd name="connsiteX442" fmla="*/ 858488 w 1502283"/>
                <a:gd name="connsiteY442" fmla="*/ 35719 h 1161573"/>
                <a:gd name="connsiteX443" fmla="*/ 846391 w 1502283"/>
                <a:gd name="connsiteY443" fmla="*/ 29242 h 1161573"/>
                <a:gd name="connsiteX444" fmla="*/ 843058 w 1502283"/>
                <a:gd name="connsiteY444" fmla="*/ 28099 h 1161573"/>
                <a:gd name="connsiteX445" fmla="*/ 824294 w 1502283"/>
                <a:gd name="connsiteY445" fmla="*/ 19241 h 1161573"/>
                <a:gd name="connsiteX446" fmla="*/ 822674 w 1502283"/>
                <a:gd name="connsiteY446" fmla="*/ 19431 h 1161573"/>
                <a:gd name="connsiteX447" fmla="*/ 819340 w 1502283"/>
                <a:gd name="connsiteY447" fmla="*/ 18288 h 1161573"/>
                <a:gd name="connsiteX448" fmla="*/ 816959 w 1502283"/>
                <a:gd name="connsiteY448" fmla="*/ 12192 h 1161573"/>
                <a:gd name="connsiteX449" fmla="*/ 802100 w 1502283"/>
                <a:gd name="connsiteY449" fmla="*/ 9239 h 1161573"/>
                <a:gd name="connsiteX450" fmla="*/ 804863 w 1502283"/>
                <a:gd name="connsiteY450" fmla="*/ 5715 h 1161573"/>
                <a:gd name="connsiteX451" fmla="*/ 798957 w 1502283"/>
                <a:gd name="connsiteY451" fmla="*/ 9716 h 1161573"/>
                <a:gd name="connsiteX452" fmla="*/ 795623 w 1502283"/>
                <a:gd name="connsiteY452" fmla="*/ 8573 h 1161573"/>
                <a:gd name="connsiteX453" fmla="*/ 794290 w 1502283"/>
                <a:gd name="connsiteY453" fmla="*/ 10382 h 1161573"/>
                <a:gd name="connsiteX454" fmla="*/ 790956 w 1502283"/>
                <a:gd name="connsiteY454" fmla="*/ 9239 h 1161573"/>
                <a:gd name="connsiteX455" fmla="*/ 782288 w 1502283"/>
                <a:gd name="connsiteY455" fmla="*/ 3905 h 1161573"/>
                <a:gd name="connsiteX456" fmla="*/ 780955 w 1502283"/>
                <a:gd name="connsiteY456" fmla="*/ 5715 h 1161573"/>
                <a:gd name="connsiteX457" fmla="*/ 784288 w 1502283"/>
                <a:gd name="connsiteY457" fmla="*/ 6858 h 1161573"/>
                <a:gd name="connsiteX458" fmla="*/ 784670 w 1502283"/>
                <a:gd name="connsiteY458" fmla="*/ 10001 h 1161573"/>
                <a:gd name="connsiteX459" fmla="*/ 778002 w 1502283"/>
                <a:gd name="connsiteY459" fmla="*/ 7620 h 1161573"/>
                <a:gd name="connsiteX460" fmla="*/ 772478 w 1502283"/>
                <a:gd name="connsiteY460" fmla="*/ 14764 h 1161573"/>
                <a:gd name="connsiteX461" fmla="*/ 759809 w 1502283"/>
                <a:gd name="connsiteY461" fmla="*/ 3524 h 1161573"/>
                <a:gd name="connsiteX462" fmla="*/ 749713 w 1502283"/>
                <a:gd name="connsiteY462" fmla="*/ 0 h 1161573"/>
                <a:gd name="connsiteX463" fmla="*/ 748094 w 1502283"/>
                <a:gd name="connsiteY463" fmla="*/ 191 h 1161573"/>
                <a:gd name="connsiteX464" fmla="*/ 747141 w 1502283"/>
                <a:gd name="connsiteY464" fmla="*/ 5144 h 1161573"/>
                <a:gd name="connsiteX465" fmla="*/ 749141 w 1502283"/>
                <a:gd name="connsiteY465" fmla="*/ 8096 h 1161573"/>
                <a:gd name="connsiteX466" fmla="*/ 745998 w 1502283"/>
                <a:gd name="connsiteY466" fmla="*/ 8477 h 1161573"/>
                <a:gd name="connsiteX467" fmla="*/ 746188 w 1502283"/>
                <a:gd name="connsiteY467" fmla="*/ 10096 h 1161573"/>
                <a:gd name="connsiteX468" fmla="*/ 738283 w 1502283"/>
                <a:gd name="connsiteY468" fmla="*/ 11144 h 1161573"/>
                <a:gd name="connsiteX469" fmla="*/ 738283 w 1502283"/>
                <a:gd name="connsiteY469" fmla="*/ 11144 h 1161573"/>
                <a:gd name="connsiteX470" fmla="*/ 734949 w 1502283"/>
                <a:gd name="connsiteY470" fmla="*/ 10001 h 1161573"/>
                <a:gd name="connsiteX471" fmla="*/ 729805 w 1502283"/>
                <a:gd name="connsiteY471" fmla="*/ 7429 h 1161573"/>
                <a:gd name="connsiteX472" fmla="*/ 725519 w 1502283"/>
                <a:gd name="connsiteY472" fmla="*/ 11144 h 1161573"/>
                <a:gd name="connsiteX473" fmla="*/ 718566 w 1502283"/>
                <a:gd name="connsiteY473" fmla="*/ 7239 h 1161573"/>
                <a:gd name="connsiteX474" fmla="*/ 717995 w 1502283"/>
                <a:gd name="connsiteY474" fmla="*/ 2476 h 1161573"/>
                <a:gd name="connsiteX475" fmla="*/ 713708 w 1502283"/>
                <a:gd name="connsiteY475" fmla="*/ 6287 h 1161573"/>
                <a:gd name="connsiteX476" fmla="*/ 712089 w 1502283"/>
                <a:gd name="connsiteY476" fmla="*/ 6477 h 1161573"/>
                <a:gd name="connsiteX477" fmla="*/ 708565 w 1502283"/>
                <a:gd name="connsiteY477" fmla="*/ 3715 h 1161573"/>
                <a:gd name="connsiteX478" fmla="*/ 703802 w 1502283"/>
                <a:gd name="connsiteY478" fmla="*/ 4286 h 1161573"/>
                <a:gd name="connsiteX479" fmla="*/ 700849 w 1502283"/>
                <a:gd name="connsiteY479" fmla="*/ 6287 h 1161573"/>
                <a:gd name="connsiteX480" fmla="*/ 701230 w 1502283"/>
                <a:gd name="connsiteY480" fmla="*/ 9430 h 1161573"/>
                <a:gd name="connsiteX481" fmla="*/ 697135 w 1502283"/>
                <a:gd name="connsiteY481" fmla="*/ 14764 h 1161573"/>
                <a:gd name="connsiteX482" fmla="*/ 698182 w 1502283"/>
                <a:gd name="connsiteY482" fmla="*/ 22670 h 1161573"/>
                <a:gd name="connsiteX483" fmla="*/ 698754 w 1502283"/>
                <a:gd name="connsiteY483" fmla="*/ 27432 h 1161573"/>
                <a:gd name="connsiteX484" fmla="*/ 697421 w 1502283"/>
                <a:gd name="connsiteY484" fmla="*/ 29242 h 1161573"/>
                <a:gd name="connsiteX485" fmla="*/ 697611 w 1502283"/>
                <a:gd name="connsiteY485" fmla="*/ 30861 h 1161573"/>
                <a:gd name="connsiteX486" fmla="*/ 693706 w 1502283"/>
                <a:gd name="connsiteY486" fmla="*/ 37814 h 1161573"/>
                <a:gd name="connsiteX487" fmla="*/ 696087 w 1502283"/>
                <a:gd name="connsiteY487" fmla="*/ 43910 h 1161573"/>
                <a:gd name="connsiteX488" fmla="*/ 696468 w 1502283"/>
                <a:gd name="connsiteY488" fmla="*/ 47054 h 1161573"/>
                <a:gd name="connsiteX489" fmla="*/ 693515 w 1502283"/>
                <a:gd name="connsiteY489" fmla="*/ 49054 h 1161573"/>
                <a:gd name="connsiteX490" fmla="*/ 693134 w 1502283"/>
                <a:gd name="connsiteY490" fmla="*/ 45911 h 1161573"/>
                <a:gd name="connsiteX491" fmla="*/ 690181 w 1502283"/>
                <a:gd name="connsiteY491" fmla="*/ 47911 h 1161573"/>
                <a:gd name="connsiteX492" fmla="*/ 677132 w 1502283"/>
                <a:gd name="connsiteY492" fmla="*/ 46387 h 1161573"/>
                <a:gd name="connsiteX493" fmla="*/ 677513 w 1502283"/>
                <a:gd name="connsiteY493" fmla="*/ 49530 h 1161573"/>
                <a:gd name="connsiteX494" fmla="*/ 674180 w 1502283"/>
                <a:gd name="connsiteY494" fmla="*/ 48387 h 1161573"/>
                <a:gd name="connsiteX495" fmla="*/ 672370 w 1502283"/>
                <a:gd name="connsiteY495" fmla="*/ 47054 h 1161573"/>
                <a:gd name="connsiteX496" fmla="*/ 669417 w 1502283"/>
                <a:gd name="connsiteY496" fmla="*/ 49054 h 1161573"/>
                <a:gd name="connsiteX497" fmla="*/ 667607 w 1502283"/>
                <a:gd name="connsiteY497" fmla="*/ 47720 h 1161573"/>
                <a:gd name="connsiteX498" fmla="*/ 660082 w 1502283"/>
                <a:gd name="connsiteY498" fmla="*/ 39053 h 1161573"/>
                <a:gd name="connsiteX499" fmla="*/ 656939 w 1502283"/>
                <a:gd name="connsiteY499" fmla="*/ 39433 h 1161573"/>
                <a:gd name="connsiteX500" fmla="*/ 646938 w 1502283"/>
                <a:gd name="connsiteY500" fmla="*/ 48768 h 1161573"/>
                <a:gd name="connsiteX501" fmla="*/ 640461 w 1502283"/>
                <a:gd name="connsiteY501" fmla="*/ 48006 h 1161573"/>
                <a:gd name="connsiteX502" fmla="*/ 637508 w 1502283"/>
                <a:gd name="connsiteY502" fmla="*/ 50006 h 1161573"/>
                <a:gd name="connsiteX503" fmla="*/ 634365 w 1502283"/>
                <a:gd name="connsiteY503" fmla="*/ 50387 h 1161573"/>
                <a:gd name="connsiteX504" fmla="*/ 631412 w 1502283"/>
                <a:gd name="connsiteY504" fmla="*/ 52388 h 1161573"/>
                <a:gd name="connsiteX505" fmla="*/ 628269 w 1502283"/>
                <a:gd name="connsiteY505" fmla="*/ 52769 h 1161573"/>
                <a:gd name="connsiteX506" fmla="*/ 630269 w 1502283"/>
                <a:gd name="connsiteY506" fmla="*/ 42863 h 1161573"/>
                <a:gd name="connsiteX507" fmla="*/ 625126 w 1502283"/>
                <a:gd name="connsiteY507" fmla="*/ 40291 h 1161573"/>
                <a:gd name="connsiteX508" fmla="*/ 623506 w 1502283"/>
                <a:gd name="connsiteY508" fmla="*/ 40481 h 1161573"/>
                <a:gd name="connsiteX509" fmla="*/ 621697 w 1502283"/>
                <a:gd name="connsiteY509" fmla="*/ 39148 h 1161573"/>
                <a:gd name="connsiteX510" fmla="*/ 619125 w 1502283"/>
                <a:gd name="connsiteY510" fmla="*/ 44291 h 1161573"/>
                <a:gd name="connsiteX511" fmla="*/ 614553 w 1502283"/>
                <a:gd name="connsiteY511" fmla="*/ 46482 h 1161573"/>
                <a:gd name="connsiteX512" fmla="*/ 607886 w 1502283"/>
                <a:gd name="connsiteY512" fmla="*/ 44101 h 1161573"/>
                <a:gd name="connsiteX513" fmla="*/ 606933 w 1502283"/>
                <a:gd name="connsiteY513" fmla="*/ 49054 h 1161573"/>
                <a:gd name="connsiteX514" fmla="*/ 609505 w 1502283"/>
                <a:gd name="connsiteY514" fmla="*/ 56769 h 1161573"/>
                <a:gd name="connsiteX515" fmla="*/ 600837 w 1502283"/>
                <a:gd name="connsiteY515" fmla="*/ 64294 h 1161573"/>
                <a:gd name="connsiteX516" fmla="*/ 601599 w 1502283"/>
                <a:gd name="connsiteY516" fmla="*/ 70580 h 1161573"/>
                <a:gd name="connsiteX517" fmla="*/ 596455 w 1502283"/>
                <a:gd name="connsiteY517" fmla="*/ 68008 h 1161573"/>
                <a:gd name="connsiteX518" fmla="*/ 592455 w 1502283"/>
                <a:gd name="connsiteY518" fmla="*/ 62103 h 1161573"/>
                <a:gd name="connsiteX519" fmla="*/ 589121 w 1502283"/>
                <a:gd name="connsiteY519" fmla="*/ 60960 h 1161573"/>
                <a:gd name="connsiteX520" fmla="*/ 591122 w 1502283"/>
                <a:gd name="connsiteY520" fmla="*/ 63913 h 1161573"/>
                <a:gd name="connsiteX521" fmla="*/ 592360 w 1502283"/>
                <a:gd name="connsiteY521" fmla="*/ 73342 h 1161573"/>
                <a:gd name="connsiteX522" fmla="*/ 591026 w 1502283"/>
                <a:gd name="connsiteY522" fmla="*/ 75152 h 1161573"/>
                <a:gd name="connsiteX523" fmla="*/ 589407 w 1502283"/>
                <a:gd name="connsiteY523" fmla="*/ 75343 h 1161573"/>
                <a:gd name="connsiteX524" fmla="*/ 590169 w 1502283"/>
                <a:gd name="connsiteY524" fmla="*/ 81629 h 1161573"/>
                <a:gd name="connsiteX525" fmla="*/ 586264 w 1502283"/>
                <a:gd name="connsiteY525" fmla="*/ 88583 h 1161573"/>
                <a:gd name="connsiteX526" fmla="*/ 585121 w 1502283"/>
                <a:gd name="connsiteY526" fmla="*/ 91916 h 1161573"/>
                <a:gd name="connsiteX527" fmla="*/ 578834 w 1502283"/>
                <a:gd name="connsiteY527" fmla="*/ 92678 h 1161573"/>
                <a:gd name="connsiteX528" fmla="*/ 577691 w 1502283"/>
                <a:gd name="connsiteY528" fmla="*/ 96012 h 1161573"/>
                <a:gd name="connsiteX529" fmla="*/ 581025 w 1502283"/>
                <a:gd name="connsiteY529" fmla="*/ 97155 h 1161573"/>
                <a:gd name="connsiteX530" fmla="*/ 581597 w 1502283"/>
                <a:gd name="connsiteY530" fmla="*/ 101917 h 1161573"/>
                <a:gd name="connsiteX531" fmla="*/ 583121 w 1502283"/>
                <a:gd name="connsiteY531" fmla="*/ 101727 h 1161573"/>
                <a:gd name="connsiteX532" fmla="*/ 584930 w 1502283"/>
                <a:gd name="connsiteY532" fmla="*/ 103061 h 1161573"/>
                <a:gd name="connsiteX533" fmla="*/ 586740 w 1502283"/>
                <a:gd name="connsiteY533" fmla="*/ 104394 h 1161573"/>
                <a:gd name="connsiteX534" fmla="*/ 588740 w 1502283"/>
                <a:gd name="connsiteY534" fmla="*/ 107347 h 1161573"/>
                <a:gd name="connsiteX535" fmla="*/ 593503 w 1502283"/>
                <a:gd name="connsiteY535" fmla="*/ 106775 h 1161573"/>
                <a:gd name="connsiteX536" fmla="*/ 593693 w 1502283"/>
                <a:gd name="connsiteY536" fmla="*/ 108395 h 1161573"/>
                <a:gd name="connsiteX537" fmla="*/ 605123 w 1502283"/>
                <a:gd name="connsiteY537" fmla="*/ 110109 h 1161573"/>
                <a:gd name="connsiteX538" fmla="*/ 609314 w 1502283"/>
                <a:gd name="connsiteY538" fmla="*/ 117634 h 1161573"/>
                <a:gd name="connsiteX539" fmla="*/ 610362 w 1502283"/>
                <a:gd name="connsiteY539" fmla="*/ 125540 h 1161573"/>
                <a:gd name="connsiteX540" fmla="*/ 604456 w 1502283"/>
                <a:gd name="connsiteY540" fmla="*/ 142304 h 1161573"/>
                <a:gd name="connsiteX541" fmla="*/ 599694 w 1502283"/>
                <a:gd name="connsiteY541" fmla="*/ 142875 h 1161573"/>
                <a:gd name="connsiteX542" fmla="*/ 595979 w 1502283"/>
                <a:gd name="connsiteY542" fmla="*/ 151352 h 1161573"/>
                <a:gd name="connsiteX543" fmla="*/ 590074 w 1502283"/>
                <a:gd name="connsiteY543" fmla="*/ 155353 h 1161573"/>
                <a:gd name="connsiteX544" fmla="*/ 590455 w 1502283"/>
                <a:gd name="connsiteY544" fmla="*/ 158496 h 1161573"/>
                <a:gd name="connsiteX545" fmla="*/ 587693 w 1502283"/>
                <a:gd name="connsiteY545" fmla="*/ 162020 h 1161573"/>
                <a:gd name="connsiteX546" fmla="*/ 579977 w 1502283"/>
                <a:gd name="connsiteY546" fmla="*/ 164592 h 1161573"/>
                <a:gd name="connsiteX547" fmla="*/ 575596 w 1502283"/>
                <a:gd name="connsiteY547" fmla="*/ 155543 h 1161573"/>
                <a:gd name="connsiteX548" fmla="*/ 573596 w 1502283"/>
                <a:gd name="connsiteY548" fmla="*/ 152591 h 1161573"/>
                <a:gd name="connsiteX549" fmla="*/ 567309 w 1502283"/>
                <a:gd name="connsiteY549" fmla="*/ 153353 h 1161573"/>
                <a:gd name="connsiteX550" fmla="*/ 565975 w 1502283"/>
                <a:gd name="connsiteY550" fmla="*/ 155162 h 1161573"/>
                <a:gd name="connsiteX551" fmla="*/ 571310 w 1502283"/>
                <a:gd name="connsiteY551" fmla="*/ 159258 h 1161573"/>
                <a:gd name="connsiteX552" fmla="*/ 571500 w 1502283"/>
                <a:gd name="connsiteY552" fmla="*/ 160877 h 1161573"/>
                <a:gd name="connsiteX553" fmla="*/ 570357 w 1502283"/>
                <a:gd name="connsiteY553" fmla="*/ 164211 h 1161573"/>
                <a:gd name="connsiteX554" fmla="*/ 572548 w 1502283"/>
                <a:gd name="connsiteY554" fmla="*/ 168783 h 1161573"/>
                <a:gd name="connsiteX555" fmla="*/ 579501 w 1502283"/>
                <a:gd name="connsiteY555" fmla="*/ 172688 h 1161573"/>
                <a:gd name="connsiteX556" fmla="*/ 581311 w 1502283"/>
                <a:gd name="connsiteY556" fmla="*/ 174022 h 1161573"/>
                <a:gd name="connsiteX557" fmla="*/ 582454 w 1502283"/>
                <a:gd name="connsiteY557" fmla="*/ 170688 h 1161573"/>
                <a:gd name="connsiteX558" fmla="*/ 587407 w 1502283"/>
                <a:gd name="connsiteY558" fmla="*/ 171641 h 1161573"/>
                <a:gd name="connsiteX559" fmla="*/ 583121 w 1502283"/>
                <a:gd name="connsiteY559" fmla="*/ 175355 h 1161573"/>
                <a:gd name="connsiteX560" fmla="*/ 583502 w 1502283"/>
                <a:gd name="connsiteY560" fmla="*/ 178499 h 1161573"/>
                <a:gd name="connsiteX561" fmla="*/ 585502 w 1502283"/>
                <a:gd name="connsiteY561" fmla="*/ 181451 h 1161573"/>
                <a:gd name="connsiteX562" fmla="*/ 591979 w 1502283"/>
                <a:gd name="connsiteY562" fmla="*/ 182213 h 1161573"/>
                <a:gd name="connsiteX563" fmla="*/ 591217 w 1502283"/>
                <a:gd name="connsiteY563" fmla="*/ 188690 h 1161573"/>
                <a:gd name="connsiteX564" fmla="*/ 580739 w 1502283"/>
                <a:gd name="connsiteY564" fmla="*/ 194786 h 1161573"/>
                <a:gd name="connsiteX565" fmla="*/ 586454 w 1502283"/>
                <a:gd name="connsiteY565" fmla="*/ 202121 h 1161573"/>
                <a:gd name="connsiteX566" fmla="*/ 584073 w 1502283"/>
                <a:gd name="connsiteY566" fmla="*/ 208788 h 1161573"/>
                <a:gd name="connsiteX567" fmla="*/ 578168 w 1502283"/>
                <a:gd name="connsiteY567" fmla="*/ 212788 h 1161573"/>
                <a:gd name="connsiteX568" fmla="*/ 575596 w 1502283"/>
                <a:gd name="connsiteY568" fmla="*/ 217932 h 1161573"/>
                <a:gd name="connsiteX569" fmla="*/ 574834 w 1502283"/>
                <a:gd name="connsiteY569" fmla="*/ 224409 h 1161573"/>
                <a:gd name="connsiteX570" fmla="*/ 582549 w 1502283"/>
                <a:gd name="connsiteY570" fmla="*/ 234696 h 1161573"/>
                <a:gd name="connsiteX571" fmla="*/ 579787 w 1502283"/>
                <a:gd name="connsiteY571" fmla="*/ 238220 h 1161573"/>
                <a:gd name="connsiteX572" fmla="*/ 578644 w 1502283"/>
                <a:gd name="connsiteY572" fmla="*/ 241554 h 1161573"/>
                <a:gd name="connsiteX573" fmla="*/ 582168 w 1502283"/>
                <a:gd name="connsiteY573" fmla="*/ 244316 h 1161573"/>
                <a:gd name="connsiteX574" fmla="*/ 577882 w 1502283"/>
                <a:gd name="connsiteY574" fmla="*/ 248031 h 1161573"/>
                <a:gd name="connsiteX575" fmla="*/ 580072 w 1502283"/>
                <a:gd name="connsiteY575" fmla="*/ 252603 h 1161573"/>
                <a:gd name="connsiteX576" fmla="*/ 583406 w 1502283"/>
                <a:gd name="connsiteY576" fmla="*/ 253746 h 1161573"/>
                <a:gd name="connsiteX577" fmla="*/ 589312 w 1502283"/>
                <a:gd name="connsiteY577" fmla="*/ 249746 h 1161573"/>
                <a:gd name="connsiteX578" fmla="*/ 590074 w 1502283"/>
                <a:gd name="connsiteY578" fmla="*/ 256032 h 1161573"/>
                <a:gd name="connsiteX579" fmla="*/ 587312 w 1502283"/>
                <a:gd name="connsiteY579" fmla="*/ 259556 h 1161573"/>
                <a:gd name="connsiteX580" fmla="*/ 586169 w 1502283"/>
                <a:gd name="connsiteY580" fmla="*/ 262890 h 1161573"/>
                <a:gd name="connsiteX581" fmla="*/ 586930 w 1502283"/>
                <a:gd name="connsiteY581" fmla="*/ 269176 h 1161573"/>
                <a:gd name="connsiteX582" fmla="*/ 584740 w 1502283"/>
                <a:gd name="connsiteY582" fmla="*/ 277463 h 1161573"/>
                <a:gd name="connsiteX583" fmla="*/ 585311 w 1502283"/>
                <a:gd name="connsiteY583" fmla="*/ 282226 h 1161573"/>
                <a:gd name="connsiteX584" fmla="*/ 581978 w 1502283"/>
                <a:gd name="connsiteY584" fmla="*/ 281083 h 1161573"/>
                <a:gd name="connsiteX585" fmla="*/ 582168 w 1502283"/>
                <a:gd name="connsiteY585" fmla="*/ 282702 h 1161573"/>
                <a:gd name="connsiteX586" fmla="*/ 585121 w 1502283"/>
                <a:gd name="connsiteY586" fmla="*/ 293561 h 1161573"/>
                <a:gd name="connsiteX587" fmla="*/ 588264 w 1502283"/>
                <a:gd name="connsiteY587" fmla="*/ 293180 h 1161573"/>
                <a:gd name="connsiteX588" fmla="*/ 582739 w 1502283"/>
                <a:gd name="connsiteY588" fmla="*/ 300323 h 1161573"/>
                <a:gd name="connsiteX589" fmla="*/ 588455 w 1502283"/>
                <a:gd name="connsiteY589" fmla="*/ 307562 h 1161573"/>
                <a:gd name="connsiteX590" fmla="*/ 588645 w 1502283"/>
                <a:gd name="connsiteY590" fmla="*/ 309182 h 1161573"/>
                <a:gd name="connsiteX591" fmla="*/ 592360 w 1502283"/>
                <a:gd name="connsiteY591" fmla="*/ 313563 h 1161573"/>
                <a:gd name="connsiteX592" fmla="*/ 589026 w 1502283"/>
                <a:gd name="connsiteY592" fmla="*/ 312420 h 1161573"/>
                <a:gd name="connsiteX593" fmla="*/ 592360 w 1502283"/>
                <a:gd name="connsiteY593" fmla="*/ 313563 h 1161573"/>
                <a:gd name="connsiteX594" fmla="*/ 591407 w 1502283"/>
                <a:gd name="connsiteY594" fmla="*/ 318516 h 1161573"/>
                <a:gd name="connsiteX595" fmla="*/ 585121 w 1502283"/>
                <a:gd name="connsiteY595" fmla="*/ 319278 h 1161573"/>
                <a:gd name="connsiteX596" fmla="*/ 583978 w 1502283"/>
                <a:gd name="connsiteY596" fmla="*/ 322612 h 1161573"/>
                <a:gd name="connsiteX597" fmla="*/ 576739 w 1502283"/>
                <a:gd name="connsiteY597" fmla="*/ 328327 h 1161573"/>
                <a:gd name="connsiteX598" fmla="*/ 571976 w 1502283"/>
                <a:gd name="connsiteY598" fmla="*/ 328898 h 1161573"/>
                <a:gd name="connsiteX599" fmla="*/ 572167 w 1502283"/>
                <a:gd name="connsiteY599" fmla="*/ 330517 h 1161573"/>
                <a:gd name="connsiteX600" fmla="*/ 568071 w 1502283"/>
                <a:gd name="connsiteY600" fmla="*/ 335851 h 1161573"/>
                <a:gd name="connsiteX601" fmla="*/ 568262 w 1502283"/>
                <a:gd name="connsiteY601" fmla="*/ 337471 h 1161573"/>
                <a:gd name="connsiteX602" fmla="*/ 564928 w 1502283"/>
                <a:gd name="connsiteY602" fmla="*/ 336328 h 1161573"/>
                <a:gd name="connsiteX603" fmla="*/ 564166 w 1502283"/>
                <a:gd name="connsiteY603" fmla="*/ 330041 h 1161573"/>
                <a:gd name="connsiteX604" fmla="*/ 557879 w 1502283"/>
                <a:gd name="connsiteY604" fmla="*/ 330803 h 1161573"/>
                <a:gd name="connsiteX605" fmla="*/ 556450 w 1502283"/>
                <a:gd name="connsiteY605" fmla="*/ 332613 h 1161573"/>
                <a:gd name="connsiteX606" fmla="*/ 557022 w 1502283"/>
                <a:gd name="connsiteY606" fmla="*/ 337375 h 1161573"/>
                <a:gd name="connsiteX607" fmla="*/ 554260 w 1502283"/>
                <a:gd name="connsiteY607" fmla="*/ 340900 h 1161573"/>
                <a:gd name="connsiteX608" fmla="*/ 542639 w 1502283"/>
                <a:gd name="connsiteY608" fmla="*/ 350425 h 1161573"/>
                <a:gd name="connsiteX609" fmla="*/ 539305 w 1502283"/>
                <a:gd name="connsiteY609" fmla="*/ 349282 h 1161573"/>
                <a:gd name="connsiteX610" fmla="*/ 535019 w 1502283"/>
                <a:gd name="connsiteY610" fmla="*/ 352996 h 1161573"/>
                <a:gd name="connsiteX611" fmla="*/ 527113 w 1502283"/>
                <a:gd name="connsiteY611" fmla="*/ 354044 h 1161573"/>
                <a:gd name="connsiteX612" fmla="*/ 525494 w 1502283"/>
                <a:gd name="connsiteY612" fmla="*/ 354235 h 1161573"/>
                <a:gd name="connsiteX613" fmla="*/ 526066 w 1502283"/>
                <a:gd name="connsiteY613" fmla="*/ 358997 h 1161573"/>
                <a:gd name="connsiteX614" fmla="*/ 526256 w 1502283"/>
                <a:gd name="connsiteY614" fmla="*/ 360617 h 1161573"/>
                <a:gd name="connsiteX615" fmla="*/ 524923 w 1502283"/>
                <a:gd name="connsiteY615" fmla="*/ 362426 h 1161573"/>
                <a:gd name="connsiteX616" fmla="*/ 528923 w 1502283"/>
                <a:gd name="connsiteY616" fmla="*/ 368332 h 1161573"/>
                <a:gd name="connsiteX617" fmla="*/ 525971 w 1502283"/>
                <a:gd name="connsiteY617" fmla="*/ 370332 h 1161573"/>
                <a:gd name="connsiteX618" fmla="*/ 526542 w 1502283"/>
                <a:gd name="connsiteY618" fmla="*/ 375095 h 1161573"/>
                <a:gd name="connsiteX619" fmla="*/ 523780 w 1502283"/>
                <a:gd name="connsiteY619" fmla="*/ 378619 h 1161573"/>
                <a:gd name="connsiteX620" fmla="*/ 519017 w 1502283"/>
                <a:gd name="connsiteY620" fmla="*/ 379190 h 1161573"/>
                <a:gd name="connsiteX621" fmla="*/ 516255 w 1502283"/>
                <a:gd name="connsiteY621" fmla="*/ 382715 h 1161573"/>
                <a:gd name="connsiteX622" fmla="*/ 519779 w 1502283"/>
                <a:gd name="connsiteY622" fmla="*/ 385477 h 1161573"/>
                <a:gd name="connsiteX623" fmla="*/ 519970 w 1502283"/>
                <a:gd name="connsiteY623" fmla="*/ 387096 h 1161573"/>
                <a:gd name="connsiteX624" fmla="*/ 515017 w 1502283"/>
                <a:gd name="connsiteY624" fmla="*/ 386144 h 1161573"/>
                <a:gd name="connsiteX625" fmla="*/ 515398 w 1502283"/>
                <a:gd name="connsiteY625" fmla="*/ 389287 h 1161573"/>
                <a:gd name="connsiteX626" fmla="*/ 507682 w 1502283"/>
                <a:gd name="connsiteY626" fmla="*/ 391859 h 1161573"/>
                <a:gd name="connsiteX627" fmla="*/ 505873 w 1502283"/>
                <a:gd name="connsiteY627" fmla="*/ 390525 h 1161573"/>
                <a:gd name="connsiteX628" fmla="*/ 504444 w 1502283"/>
                <a:gd name="connsiteY628" fmla="*/ 392335 h 1161573"/>
                <a:gd name="connsiteX629" fmla="*/ 502253 w 1502283"/>
                <a:gd name="connsiteY629" fmla="*/ 400621 h 1161573"/>
                <a:gd name="connsiteX630" fmla="*/ 503301 w 1502283"/>
                <a:gd name="connsiteY630" fmla="*/ 408527 h 1161573"/>
                <a:gd name="connsiteX631" fmla="*/ 505492 w 1502283"/>
                <a:gd name="connsiteY631" fmla="*/ 413099 h 1161573"/>
                <a:gd name="connsiteX632" fmla="*/ 514921 w 1502283"/>
                <a:gd name="connsiteY632" fmla="*/ 411861 h 1161573"/>
                <a:gd name="connsiteX633" fmla="*/ 515112 w 1502283"/>
                <a:gd name="connsiteY633" fmla="*/ 413480 h 1161573"/>
                <a:gd name="connsiteX634" fmla="*/ 518446 w 1502283"/>
                <a:gd name="connsiteY634" fmla="*/ 414623 h 1161573"/>
                <a:gd name="connsiteX635" fmla="*/ 517493 w 1502283"/>
                <a:gd name="connsiteY635" fmla="*/ 419576 h 1161573"/>
                <a:gd name="connsiteX636" fmla="*/ 524447 w 1502283"/>
                <a:gd name="connsiteY636" fmla="*/ 423482 h 1161573"/>
                <a:gd name="connsiteX637" fmla="*/ 525494 w 1502283"/>
                <a:gd name="connsiteY637" fmla="*/ 431387 h 1161573"/>
                <a:gd name="connsiteX638" fmla="*/ 522351 w 1502283"/>
                <a:gd name="connsiteY638" fmla="*/ 431768 h 1161573"/>
                <a:gd name="connsiteX639" fmla="*/ 521018 w 1502283"/>
                <a:gd name="connsiteY639" fmla="*/ 433578 h 1161573"/>
                <a:gd name="connsiteX640" fmla="*/ 516446 w 1502283"/>
                <a:gd name="connsiteY640" fmla="*/ 435769 h 1161573"/>
                <a:gd name="connsiteX641" fmla="*/ 515112 w 1502283"/>
                <a:gd name="connsiteY641" fmla="*/ 437579 h 1161573"/>
                <a:gd name="connsiteX642" fmla="*/ 511969 w 1502283"/>
                <a:gd name="connsiteY642" fmla="*/ 437959 h 1161573"/>
                <a:gd name="connsiteX643" fmla="*/ 509969 w 1502283"/>
                <a:gd name="connsiteY643" fmla="*/ 435007 h 1161573"/>
                <a:gd name="connsiteX644" fmla="*/ 503682 w 1502283"/>
                <a:gd name="connsiteY644" fmla="*/ 435769 h 1161573"/>
                <a:gd name="connsiteX645" fmla="*/ 502063 w 1502283"/>
                <a:gd name="connsiteY645" fmla="*/ 435959 h 1161573"/>
                <a:gd name="connsiteX646" fmla="*/ 499300 w 1502283"/>
                <a:gd name="connsiteY646" fmla="*/ 439484 h 1161573"/>
                <a:gd name="connsiteX647" fmla="*/ 499872 w 1502283"/>
                <a:gd name="connsiteY647" fmla="*/ 444246 h 1161573"/>
                <a:gd name="connsiteX648" fmla="*/ 495776 w 1502283"/>
                <a:gd name="connsiteY648" fmla="*/ 449580 h 1161573"/>
                <a:gd name="connsiteX649" fmla="*/ 491109 w 1502283"/>
                <a:gd name="connsiteY649" fmla="*/ 463010 h 1161573"/>
                <a:gd name="connsiteX650" fmla="*/ 488537 w 1502283"/>
                <a:gd name="connsiteY650" fmla="*/ 468154 h 1161573"/>
                <a:gd name="connsiteX651" fmla="*/ 490919 w 1502283"/>
                <a:gd name="connsiteY651" fmla="*/ 474250 h 1161573"/>
                <a:gd name="connsiteX652" fmla="*/ 487204 w 1502283"/>
                <a:gd name="connsiteY652" fmla="*/ 482727 h 1161573"/>
                <a:gd name="connsiteX653" fmla="*/ 490728 w 1502283"/>
                <a:gd name="connsiteY653" fmla="*/ 485489 h 1161573"/>
                <a:gd name="connsiteX654" fmla="*/ 495490 w 1502283"/>
                <a:gd name="connsiteY654" fmla="*/ 484918 h 1161573"/>
                <a:gd name="connsiteX655" fmla="*/ 502158 w 1502283"/>
                <a:gd name="connsiteY655" fmla="*/ 487299 h 1161573"/>
                <a:gd name="connsiteX656" fmla="*/ 506921 w 1502283"/>
                <a:gd name="connsiteY656" fmla="*/ 486728 h 1161573"/>
                <a:gd name="connsiteX657" fmla="*/ 510635 w 1502283"/>
                <a:gd name="connsiteY657" fmla="*/ 491014 h 1161573"/>
                <a:gd name="connsiteX658" fmla="*/ 516160 w 1502283"/>
                <a:gd name="connsiteY658" fmla="*/ 496729 h 1161573"/>
                <a:gd name="connsiteX659" fmla="*/ 515207 w 1502283"/>
                <a:gd name="connsiteY659" fmla="*/ 501682 h 1161573"/>
                <a:gd name="connsiteX660" fmla="*/ 513397 w 1502283"/>
                <a:gd name="connsiteY660" fmla="*/ 500348 h 1161573"/>
                <a:gd name="connsiteX661" fmla="*/ 512255 w 1502283"/>
                <a:gd name="connsiteY661" fmla="*/ 503682 h 1161573"/>
                <a:gd name="connsiteX662" fmla="*/ 513683 w 1502283"/>
                <a:gd name="connsiteY662" fmla="*/ 514731 h 1161573"/>
                <a:gd name="connsiteX663" fmla="*/ 518636 w 1502283"/>
                <a:gd name="connsiteY663" fmla="*/ 515684 h 1161573"/>
                <a:gd name="connsiteX664" fmla="*/ 514921 w 1502283"/>
                <a:gd name="connsiteY664" fmla="*/ 524161 h 1161573"/>
                <a:gd name="connsiteX665" fmla="*/ 507968 w 1502283"/>
                <a:gd name="connsiteY665" fmla="*/ 520255 h 1161573"/>
                <a:gd name="connsiteX666" fmla="*/ 508349 w 1502283"/>
                <a:gd name="connsiteY666" fmla="*/ 523399 h 1161573"/>
                <a:gd name="connsiteX667" fmla="*/ 505587 w 1502283"/>
                <a:gd name="connsiteY667" fmla="*/ 526923 h 1161573"/>
                <a:gd name="connsiteX668" fmla="*/ 495681 w 1502283"/>
                <a:gd name="connsiteY668" fmla="*/ 525018 h 1161573"/>
                <a:gd name="connsiteX669" fmla="*/ 487775 w 1502283"/>
                <a:gd name="connsiteY669" fmla="*/ 526066 h 1161573"/>
                <a:gd name="connsiteX670" fmla="*/ 485775 w 1502283"/>
                <a:gd name="connsiteY670" fmla="*/ 535972 h 1161573"/>
                <a:gd name="connsiteX671" fmla="*/ 483013 w 1502283"/>
                <a:gd name="connsiteY671" fmla="*/ 539496 h 1161573"/>
                <a:gd name="connsiteX672" fmla="*/ 487966 w 1502283"/>
                <a:gd name="connsiteY672" fmla="*/ 540449 h 1161573"/>
                <a:gd name="connsiteX673" fmla="*/ 485394 w 1502283"/>
                <a:gd name="connsiteY673" fmla="*/ 545592 h 1161573"/>
                <a:gd name="connsiteX674" fmla="*/ 489966 w 1502283"/>
                <a:gd name="connsiteY674" fmla="*/ 543401 h 1161573"/>
                <a:gd name="connsiteX675" fmla="*/ 492157 w 1502283"/>
                <a:gd name="connsiteY675" fmla="*/ 547973 h 1161573"/>
                <a:gd name="connsiteX676" fmla="*/ 492728 w 1502283"/>
                <a:gd name="connsiteY676" fmla="*/ 552736 h 1161573"/>
                <a:gd name="connsiteX677" fmla="*/ 498253 w 1502283"/>
                <a:gd name="connsiteY677" fmla="*/ 558451 h 1161573"/>
                <a:gd name="connsiteX678" fmla="*/ 495490 w 1502283"/>
                <a:gd name="connsiteY678" fmla="*/ 561975 h 1161573"/>
                <a:gd name="connsiteX679" fmla="*/ 493681 w 1502283"/>
                <a:gd name="connsiteY679" fmla="*/ 560642 h 1161573"/>
                <a:gd name="connsiteX680" fmla="*/ 492728 w 1502283"/>
                <a:gd name="connsiteY680" fmla="*/ 565595 h 1161573"/>
                <a:gd name="connsiteX681" fmla="*/ 490156 w 1502283"/>
                <a:gd name="connsiteY681" fmla="*/ 570738 h 1161573"/>
                <a:gd name="connsiteX682" fmla="*/ 491776 w 1502283"/>
                <a:gd name="connsiteY682" fmla="*/ 570548 h 1161573"/>
                <a:gd name="connsiteX683" fmla="*/ 492919 w 1502283"/>
                <a:gd name="connsiteY683" fmla="*/ 567214 h 1161573"/>
                <a:gd name="connsiteX684" fmla="*/ 497872 w 1502283"/>
                <a:gd name="connsiteY684" fmla="*/ 568166 h 1161573"/>
                <a:gd name="connsiteX685" fmla="*/ 505111 w 1502283"/>
                <a:gd name="connsiteY685" fmla="*/ 562451 h 1161573"/>
                <a:gd name="connsiteX686" fmla="*/ 504539 w 1502283"/>
                <a:gd name="connsiteY686" fmla="*/ 557689 h 1161573"/>
                <a:gd name="connsiteX687" fmla="*/ 507873 w 1502283"/>
                <a:gd name="connsiteY687" fmla="*/ 558832 h 1161573"/>
                <a:gd name="connsiteX688" fmla="*/ 508445 w 1502283"/>
                <a:gd name="connsiteY688" fmla="*/ 563594 h 1161573"/>
                <a:gd name="connsiteX689" fmla="*/ 504730 w 1502283"/>
                <a:gd name="connsiteY689" fmla="*/ 572072 h 1161573"/>
                <a:gd name="connsiteX690" fmla="*/ 512826 w 1502283"/>
                <a:gd name="connsiteY690" fmla="*/ 572643 h 1161573"/>
                <a:gd name="connsiteX691" fmla="*/ 513397 w 1502283"/>
                <a:gd name="connsiteY691" fmla="*/ 577405 h 1161573"/>
                <a:gd name="connsiteX692" fmla="*/ 516541 w 1502283"/>
                <a:gd name="connsiteY692" fmla="*/ 577025 h 1161573"/>
                <a:gd name="connsiteX693" fmla="*/ 513779 w 1502283"/>
                <a:gd name="connsiteY693" fmla="*/ 593408 h 1161573"/>
                <a:gd name="connsiteX694" fmla="*/ 513969 w 1502283"/>
                <a:gd name="connsiteY694" fmla="*/ 595027 h 1161573"/>
                <a:gd name="connsiteX695" fmla="*/ 512159 w 1502283"/>
                <a:gd name="connsiteY695" fmla="*/ 593693 h 1161573"/>
                <a:gd name="connsiteX696" fmla="*/ 509588 w 1502283"/>
                <a:gd name="connsiteY696" fmla="*/ 598837 h 1161573"/>
                <a:gd name="connsiteX697" fmla="*/ 506825 w 1502283"/>
                <a:gd name="connsiteY697" fmla="*/ 602361 h 1161573"/>
                <a:gd name="connsiteX698" fmla="*/ 505682 w 1502283"/>
                <a:gd name="connsiteY698" fmla="*/ 605695 h 1161573"/>
                <a:gd name="connsiteX699" fmla="*/ 501110 w 1502283"/>
                <a:gd name="connsiteY699" fmla="*/ 607886 h 1161573"/>
                <a:gd name="connsiteX700" fmla="*/ 499967 w 1502283"/>
                <a:gd name="connsiteY700" fmla="*/ 611219 h 1161573"/>
                <a:gd name="connsiteX701" fmla="*/ 496824 w 1502283"/>
                <a:gd name="connsiteY701" fmla="*/ 611600 h 1161573"/>
                <a:gd name="connsiteX702" fmla="*/ 492252 w 1502283"/>
                <a:gd name="connsiteY702" fmla="*/ 613791 h 1161573"/>
                <a:gd name="connsiteX703" fmla="*/ 485775 w 1502283"/>
                <a:gd name="connsiteY703" fmla="*/ 613029 h 1161573"/>
                <a:gd name="connsiteX704" fmla="*/ 481013 w 1502283"/>
                <a:gd name="connsiteY704" fmla="*/ 613601 h 1161573"/>
                <a:gd name="connsiteX705" fmla="*/ 480060 w 1502283"/>
                <a:gd name="connsiteY705" fmla="*/ 618554 h 1161573"/>
                <a:gd name="connsiteX706" fmla="*/ 485965 w 1502283"/>
                <a:gd name="connsiteY706" fmla="*/ 627412 h 1161573"/>
                <a:gd name="connsiteX707" fmla="*/ 486346 w 1502283"/>
                <a:gd name="connsiteY707" fmla="*/ 630555 h 1161573"/>
                <a:gd name="connsiteX708" fmla="*/ 481584 w 1502283"/>
                <a:gd name="connsiteY708" fmla="*/ 631126 h 1161573"/>
                <a:gd name="connsiteX709" fmla="*/ 477488 w 1502283"/>
                <a:gd name="connsiteY709" fmla="*/ 636461 h 1161573"/>
                <a:gd name="connsiteX710" fmla="*/ 477869 w 1502283"/>
                <a:gd name="connsiteY710" fmla="*/ 639604 h 1161573"/>
                <a:gd name="connsiteX711" fmla="*/ 473773 w 1502283"/>
                <a:gd name="connsiteY711" fmla="*/ 644938 h 1161573"/>
                <a:gd name="connsiteX712" fmla="*/ 466820 w 1502283"/>
                <a:gd name="connsiteY712" fmla="*/ 641033 h 1161573"/>
                <a:gd name="connsiteX713" fmla="*/ 459296 w 1502283"/>
                <a:gd name="connsiteY713" fmla="*/ 645224 h 1161573"/>
                <a:gd name="connsiteX714" fmla="*/ 454152 w 1502283"/>
                <a:gd name="connsiteY714" fmla="*/ 642652 h 1161573"/>
                <a:gd name="connsiteX715" fmla="*/ 451390 w 1502283"/>
                <a:gd name="connsiteY715" fmla="*/ 646176 h 1161573"/>
                <a:gd name="connsiteX716" fmla="*/ 444437 w 1502283"/>
                <a:gd name="connsiteY716" fmla="*/ 642271 h 1161573"/>
                <a:gd name="connsiteX717" fmla="*/ 439674 w 1502283"/>
                <a:gd name="connsiteY717" fmla="*/ 642842 h 1161573"/>
                <a:gd name="connsiteX718" fmla="*/ 436912 w 1502283"/>
                <a:gd name="connsiteY718" fmla="*/ 646367 h 1161573"/>
                <a:gd name="connsiteX719" fmla="*/ 432149 w 1502283"/>
                <a:gd name="connsiteY719" fmla="*/ 646938 h 1161573"/>
                <a:gd name="connsiteX720" fmla="*/ 421672 w 1502283"/>
                <a:gd name="connsiteY720" fmla="*/ 653034 h 1161573"/>
                <a:gd name="connsiteX721" fmla="*/ 419862 w 1502283"/>
                <a:gd name="connsiteY721" fmla="*/ 651701 h 1161573"/>
                <a:gd name="connsiteX722" fmla="*/ 421672 w 1502283"/>
                <a:gd name="connsiteY722" fmla="*/ 653034 h 1161573"/>
                <a:gd name="connsiteX723" fmla="*/ 416147 w 1502283"/>
                <a:gd name="connsiteY723" fmla="*/ 660178 h 1161573"/>
                <a:gd name="connsiteX724" fmla="*/ 424624 w 1502283"/>
                <a:gd name="connsiteY724" fmla="*/ 663893 h 1161573"/>
                <a:gd name="connsiteX725" fmla="*/ 425196 w 1502283"/>
                <a:gd name="connsiteY725" fmla="*/ 668655 h 1161573"/>
                <a:gd name="connsiteX726" fmla="*/ 428530 w 1502283"/>
                <a:gd name="connsiteY726" fmla="*/ 669798 h 1161573"/>
                <a:gd name="connsiteX727" fmla="*/ 428911 w 1502283"/>
                <a:gd name="connsiteY727" fmla="*/ 672941 h 1161573"/>
                <a:gd name="connsiteX728" fmla="*/ 419862 w 1502283"/>
                <a:gd name="connsiteY728" fmla="*/ 677323 h 1161573"/>
                <a:gd name="connsiteX729" fmla="*/ 417671 w 1502283"/>
                <a:gd name="connsiteY729" fmla="*/ 672751 h 1161573"/>
                <a:gd name="connsiteX730" fmla="*/ 414528 w 1502283"/>
                <a:gd name="connsiteY730" fmla="*/ 673132 h 1161573"/>
                <a:gd name="connsiteX731" fmla="*/ 413575 w 1502283"/>
                <a:gd name="connsiteY731" fmla="*/ 678085 h 1161573"/>
                <a:gd name="connsiteX732" fmla="*/ 410623 w 1502283"/>
                <a:gd name="connsiteY732" fmla="*/ 680085 h 1161573"/>
                <a:gd name="connsiteX733" fmla="*/ 413956 w 1502283"/>
                <a:gd name="connsiteY733" fmla="*/ 681228 h 1161573"/>
                <a:gd name="connsiteX734" fmla="*/ 411004 w 1502283"/>
                <a:gd name="connsiteY734" fmla="*/ 683228 h 1161573"/>
                <a:gd name="connsiteX735" fmla="*/ 409670 w 1502283"/>
                <a:gd name="connsiteY735" fmla="*/ 685038 h 1161573"/>
                <a:gd name="connsiteX736" fmla="*/ 399383 w 1502283"/>
                <a:gd name="connsiteY736" fmla="*/ 679895 h 1161573"/>
                <a:gd name="connsiteX737" fmla="*/ 398050 w 1502283"/>
                <a:gd name="connsiteY737" fmla="*/ 681704 h 1161573"/>
                <a:gd name="connsiteX738" fmla="*/ 396907 w 1502283"/>
                <a:gd name="connsiteY738" fmla="*/ 685038 h 1161573"/>
                <a:gd name="connsiteX739" fmla="*/ 391763 w 1502283"/>
                <a:gd name="connsiteY739" fmla="*/ 682466 h 1161573"/>
                <a:gd name="connsiteX740" fmla="*/ 387001 w 1502283"/>
                <a:gd name="connsiteY740" fmla="*/ 683038 h 1161573"/>
                <a:gd name="connsiteX741" fmla="*/ 385572 w 1502283"/>
                <a:gd name="connsiteY741" fmla="*/ 684848 h 1161573"/>
                <a:gd name="connsiteX742" fmla="*/ 387953 w 1502283"/>
                <a:gd name="connsiteY742" fmla="*/ 690944 h 1161573"/>
                <a:gd name="connsiteX743" fmla="*/ 388144 w 1502283"/>
                <a:gd name="connsiteY743" fmla="*/ 692563 h 1161573"/>
                <a:gd name="connsiteX744" fmla="*/ 384620 w 1502283"/>
                <a:gd name="connsiteY744" fmla="*/ 689801 h 1161573"/>
                <a:gd name="connsiteX745" fmla="*/ 380619 w 1502283"/>
                <a:gd name="connsiteY745" fmla="*/ 683895 h 1161573"/>
                <a:gd name="connsiteX746" fmla="*/ 375666 w 1502283"/>
                <a:gd name="connsiteY746" fmla="*/ 682943 h 1161573"/>
                <a:gd name="connsiteX747" fmla="*/ 374523 w 1502283"/>
                <a:gd name="connsiteY747" fmla="*/ 686276 h 1161573"/>
                <a:gd name="connsiteX748" fmla="*/ 371189 w 1502283"/>
                <a:gd name="connsiteY748" fmla="*/ 685133 h 1161573"/>
                <a:gd name="connsiteX749" fmla="*/ 364046 w 1502283"/>
                <a:gd name="connsiteY749" fmla="*/ 679609 h 1161573"/>
                <a:gd name="connsiteX750" fmla="*/ 362426 w 1502283"/>
                <a:gd name="connsiteY750" fmla="*/ 679799 h 1161573"/>
                <a:gd name="connsiteX751" fmla="*/ 357664 w 1502283"/>
                <a:gd name="connsiteY751" fmla="*/ 680371 h 1161573"/>
                <a:gd name="connsiteX752" fmla="*/ 357473 w 1502283"/>
                <a:gd name="connsiteY752" fmla="*/ 678751 h 1161573"/>
                <a:gd name="connsiteX753" fmla="*/ 352711 w 1502283"/>
                <a:gd name="connsiteY753" fmla="*/ 679323 h 1161573"/>
                <a:gd name="connsiteX754" fmla="*/ 352139 w 1502283"/>
                <a:gd name="connsiteY754" fmla="*/ 674561 h 1161573"/>
                <a:gd name="connsiteX755" fmla="*/ 350330 w 1502283"/>
                <a:gd name="connsiteY755" fmla="*/ 673227 h 1161573"/>
                <a:gd name="connsiteX756" fmla="*/ 347186 w 1502283"/>
                <a:gd name="connsiteY756" fmla="*/ 673608 h 1161573"/>
                <a:gd name="connsiteX757" fmla="*/ 347567 w 1502283"/>
                <a:gd name="connsiteY757" fmla="*/ 676751 h 1161573"/>
                <a:gd name="connsiteX758" fmla="*/ 349568 w 1502283"/>
                <a:gd name="connsiteY758" fmla="*/ 679704 h 1161573"/>
                <a:gd name="connsiteX759" fmla="*/ 348805 w 1502283"/>
                <a:gd name="connsiteY759" fmla="*/ 686181 h 1161573"/>
                <a:gd name="connsiteX760" fmla="*/ 344043 w 1502283"/>
                <a:gd name="connsiteY760" fmla="*/ 686753 h 1161573"/>
                <a:gd name="connsiteX761" fmla="*/ 340138 w 1502283"/>
                <a:gd name="connsiteY761" fmla="*/ 693706 h 1161573"/>
                <a:gd name="connsiteX762" fmla="*/ 336995 w 1502283"/>
                <a:gd name="connsiteY762" fmla="*/ 694087 h 1161573"/>
                <a:gd name="connsiteX763" fmla="*/ 334042 w 1502283"/>
                <a:gd name="connsiteY763" fmla="*/ 696087 h 1161573"/>
                <a:gd name="connsiteX764" fmla="*/ 325946 w 1502283"/>
                <a:gd name="connsiteY764" fmla="*/ 695516 h 1161573"/>
                <a:gd name="connsiteX765" fmla="*/ 319469 w 1502283"/>
                <a:gd name="connsiteY765" fmla="*/ 694754 h 1161573"/>
                <a:gd name="connsiteX766" fmla="*/ 312325 w 1502283"/>
                <a:gd name="connsiteY766" fmla="*/ 689229 h 1161573"/>
                <a:gd name="connsiteX767" fmla="*/ 310324 w 1502283"/>
                <a:gd name="connsiteY767" fmla="*/ 686276 h 1161573"/>
                <a:gd name="connsiteX768" fmla="*/ 313468 w 1502283"/>
                <a:gd name="connsiteY768" fmla="*/ 685895 h 1161573"/>
                <a:gd name="connsiteX769" fmla="*/ 309944 w 1502283"/>
                <a:gd name="connsiteY769" fmla="*/ 683133 h 1161573"/>
                <a:gd name="connsiteX770" fmla="*/ 309753 w 1502283"/>
                <a:gd name="connsiteY770" fmla="*/ 681514 h 1161573"/>
                <a:gd name="connsiteX771" fmla="*/ 310134 w 1502283"/>
                <a:gd name="connsiteY771" fmla="*/ 684657 h 1161573"/>
                <a:gd name="connsiteX772" fmla="*/ 308800 w 1502283"/>
                <a:gd name="connsiteY772" fmla="*/ 686467 h 1161573"/>
                <a:gd name="connsiteX773" fmla="*/ 306800 w 1502283"/>
                <a:gd name="connsiteY773" fmla="*/ 683514 h 1161573"/>
                <a:gd name="connsiteX774" fmla="*/ 303657 w 1502283"/>
                <a:gd name="connsiteY774" fmla="*/ 683895 h 1161573"/>
                <a:gd name="connsiteX775" fmla="*/ 303276 w 1502283"/>
                <a:gd name="connsiteY775" fmla="*/ 680752 h 1161573"/>
                <a:gd name="connsiteX776" fmla="*/ 305086 w 1502283"/>
                <a:gd name="connsiteY776" fmla="*/ 682085 h 1161573"/>
                <a:gd name="connsiteX777" fmla="*/ 303086 w 1502283"/>
                <a:gd name="connsiteY777" fmla="*/ 679133 h 1161573"/>
                <a:gd name="connsiteX778" fmla="*/ 304514 w 1502283"/>
                <a:gd name="connsiteY778" fmla="*/ 677323 h 1161573"/>
                <a:gd name="connsiteX779" fmla="*/ 305657 w 1502283"/>
                <a:gd name="connsiteY779" fmla="*/ 673989 h 1161573"/>
                <a:gd name="connsiteX780" fmla="*/ 302323 w 1502283"/>
                <a:gd name="connsiteY780" fmla="*/ 672846 h 1161573"/>
                <a:gd name="connsiteX781" fmla="*/ 300133 w 1502283"/>
                <a:gd name="connsiteY781" fmla="*/ 668274 h 1161573"/>
                <a:gd name="connsiteX782" fmla="*/ 299752 w 1502283"/>
                <a:gd name="connsiteY782" fmla="*/ 665131 h 1161573"/>
                <a:gd name="connsiteX783" fmla="*/ 297752 w 1502283"/>
                <a:gd name="connsiteY783" fmla="*/ 662178 h 1161573"/>
                <a:gd name="connsiteX784" fmla="*/ 290513 w 1502283"/>
                <a:gd name="connsiteY784" fmla="*/ 667893 h 1161573"/>
                <a:gd name="connsiteX785" fmla="*/ 286607 w 1502283"/>
                <a:gd name="connsiteY785" fmla="*/ 674846 h 1161573"/>
                <a:gd name="connsiteX786" fmla="*/ 276130 w 1502283"/>
                <a:gd name="connsiteY786" fmla="*/ 668179 h 1161573"/>
                <a:gd name="connsiteX787" fmla="*/ 276130 w 1502283"/>
                <a:gd name="connsiteY787" fmla="*/ 681038 h 1161573"/>
                <a:gd name="connsiteX788" fmla="*/ 279559 w 1502283"/>
                <a:gd name="connsiteY788" fmla="*/ 682180 h 1161573"/>
                <a:gd name="connsiteX789" fmla="*/ 270700 w 1502283"/>
                <a:gd name="connsiteY789" fmla="*/ 688086 h 1161573"/>
                <a:gd name="connsiteX790" fmla="*/ 265176 w 1502283"/>
                <a:gd name="connsiteY790" fmla="*/ 695230 h 1161573"/>
                <a:gd name="connsiteX791" fmla="*/ 263176 w 1502283"/>
                <a:gd name="connsiteY791" fmla="*/ 692277 h 1161573"/>
                <a:gd name="connsiteX792" fmla="*/ 260223 w 1502283"/>
                <a:gd name="connsiteY792" fmla="*/ 694277 h 1161573"/>
                <a:gd name="connsiteX793" fmla="*/ 255270 w 1502283"/>
                <a:gd name="connsiteY793" fmla="*/ 693325 h 1161573"/>
                <a:gd name="connsiteX794" fmla="*/ 256699 w 1502283"/>
                <a:gd name="connsiteY794" fmla="*/ 691515 h 1161573"/>
                <a:gd name="connsiteX795" fmla="*/ 261461 w 1502283"/>
                <a:gd name="connsiteY795" fmla="*/ 690944 h 1161573"/>
                <a:gd name="connsiteX796" fmla="*/ 261271 w 1502283"/>
                <a:gd name="connsiteY796" fmla="*/ 689324 h 1161573"/>
                <a:gd name="connsiteX797" fmla="*/ 250793 w 1502283"/>
                <a:gd name="connsiteY797" fmla="*/ 682657 h 1161573"/>
                <a:gd name="connsiteX798" fmla="*/ 246031 w 1502283"/>
                <a:gd name="connsiteY798" fmla="*/ 683228 h 1161573"/>
                <a:gd name="connsiteX799" fmla="*/ 242697 w 1502283"/>
                <a:gd name="connsiteY799" fmla="*/ 682085 h 1161573"/>
                <a:gd name="connsiteX800" fmla="*/ 245078 w 1502283"/>
                <a:gd name="connsiteY800" fmla="*/ 688181 h 1161573"/>
                <a:gd name="connsiteX801" fmla="*/ 242316 w 1502283"/>
                <a:gd name="connsiteY801" fmla="*/ 691705 h 1161573"/>
                <a:gd name="connsiteX802" fmla="*/ 242888 w 1502283"/>
                <a:gd name="connsiteY802" fmla="*/ 696468 h 1161573"/>
                <a:gd name="connsiteX803" fmla="*/ 238982 w 1502283"/>
                <a:gd name="connsiteY803" fmla="*/ 703421 h 1161573"/>
                <a:gd name="connsiteX804" fmla="*/ 242316 w 1502283"/>
                <a:gd name="connsiteY804" fmla="*/ 704564 h 1161573"/>
                <a:gd name="connsiteX805" fmla="*/ 240982 w 1502283"/>
                <a:gd name="connsiteY805" fmla="*/ 706374 h 1161573"/>
                <a:gd name="connsiteX806" fmla="*/ 239363 w 1502283"/>
                <a:gd name="connsiteY806" fmla="*/ 706565 h 1161573"/>
                <a:gd name="connsiteX807" fmla="*/ 241554 w 1502283"/>
                <a:gd name="connsiteY807" fmla="*/ 711137 h 1161573"/>
                <a:gd name="connsiteX808" fmla="*/ 239935 w 1502283"/>
                <a:gd name="connsiteY808" fmla="*/ 711327 h 1161573"/>
                <a:gd name="connsiteX809" fmla="*/ 236791 w 1502283"/>
                <a:gd name="connsiteY809" fmla="*/ 711708 h 1161573"/>
                <a:gd name="connsiteX810" fmla="*/ 234029 w 1502283"/>
                <a:gd name="connsiteY810" fmla="*/ 715232 h 1161573"/>
                <a:gd name="connsiteX811" fmla="*/ 237554 w 1502283"/>
                <a:gd name="connsiteY811" fmla="*/ 717995 h 1161573"/>
                <a:gd name="connsiteX812" fmla="*/ 231457 w 1502283"/>
                <a:gd name="connsiteY812" fmla="*/ 720376 h 1161573"/>
                <a:gd name="connsiteX813" fmla="*/ 230696 w 1502283"/>
                <a:gd name="connsiteY813" fmla="*/ 714089 h 1161573"/>
                <a:gd name="connsiteX814" fmla="*/ 227552 w 1502283"/>
                <a:gd name="connsiteY814" fmla="*/ 714470 h 1161573"/>
                <a:gd name="connsiteX815" fmla="*/ 219075 w 1502283"/>
                <a:gd name="connsiteY815" fmla="*/ 710755 h 1161573"/>
                <a:gd name="connsiteX816" fmla="*/ 216503 w 1502283"/>
                <a:gd name="connsiteY816" fmla="*/ 715899 h 1161573"/>
                <a:gd name="connsiteX817" fmla="*/ 209550 w 1502283"/>
                <a:gd name="connsiteY817" fmla="*/ 711994 h 1161573"/>
                <a:gd name="connsiteX818" fmla="*/ 204025 w 1502283"/>
                <a:gd name="connsiteY818" fmla="*/ 719138 h 1161573"/>
                <a:gd name="connsiteX819" fmla="*/ 197072 w 1502283"/>
                <a:gd name="connsiteY819" fmla="*/ 715232 h 1161573"/>
                <a:gd name="connsiteX820" fmla="*/ 194500 w 1502283"/>
                <a:gd name="connsiteY820" fmla="*/ 720376 h 1161573"/>
                <a:gd name="connsiteX821" fmla="*/ 187166 w 1502283"/>
                <a:gd name="connsiteY821" fmla="*/ 726091 h 1161573"/>
                <a:gd name="connsiteX822" fmla="*/ 185547 w 1502283"/>
                <a:gd name="connsiteY822" fmla="*/ 726281 h 1161573"/>
                <a:gd name="connsiteX823" fmla="*/ 181451 w 1502283"/>
                <a:gd name="connsiteY823" fmla="*/ 731615 h 1161573"/>
                <a:gd name="connsiteX824" fmla="*/ 187928 w 1502283"/>
                <a:gd name="connsiteY824" fmla="*/ 732377 h 1161573"/>
                <a:gd name="connsiteX825" fmla="*/ 188119 w 1502283"/>
                <a:gd name="connsiteY825" fmla="*/ 733997 h 1161573"/>
                <a:gd name="connsiteX826" fmla="*/ 186499 w 1502283"/>
                <a:gd name="connsiteY826" fmla="*/ 734187 h 1161573"/>
                <a:gd name="connsiteX827" fmla="*/ 185356 w 1502283"/>
                <a:gd name="connsiteY827" fmla="*/ 737521 h 1161573"/>
                <a:gd name="connsiteX828" fmla="*/ 180594 w 1502283"/>
                <a:gd name="connsiteY828" fmla="*/ 738092 h 1161573"/>
                <a:gd name="connsiteX829" fmla="*/ 180594 w 1502283"/>
                <a:gd name="connsiteY829" fmla="*/ 738092 h 1161573"/>
                <a:gd name="connsiteX830" fmla="*/ 178403 w 1502283"/>
                <a:gd name="connsiteY830" fmla="*/ 746379 h 1161573"/>
                <a:gd name="connsiteX831" fmla="*/ 170879 w 1502283"/>
                <a:gd name="connsiteY831" fmla="*/ 750570 h 1161573"/>
                <a:gd name="connsiteX832" fmla="*/ 158020 w 1502283"/>
                <a:gd name="connsiteY832" fmla="*/ 750570 h 1161573"/>
                <a:gd name="connsiteX833" fmla="*/ 154686 w 1502283"/>
                <a:gd name="connsiteY833" fmla="*/ 749427 h 1161573"/>
                <a:gd name="connsiteX834" fmla="*/ 154877 w 1502283"/>
                <a:gd name="connsiteY834" fmla="*/ 751046 h 1161573"/>
                <a:gd name="connsiteX835" fmla="*/ 154496 w 1502283"/>
                <a:gd name="connsiteY835" fmla="*/ 760762 h 1161573"/>
                <a:gd name="connsiteX836" fmla="*/ 154686 w 1502283"/>
                <a:gd name="connsiteY836" fmla="*/ 762381 h 1161573"/>
                <a:gd name="connsiteX837" fmla="*/ 151924 w 1502283"/>
                <a:gd name="connsiteY837" fmla="*/ 765905 h 1161573"/>
                <a:gd name="connsiteX838" fmla="*/ 146590 w 1502283"/>
                <a:gd name="connsiteY838" fmla="*/ 761809 h 1161573"/>
                <a:gd name="connsiteX839" fmla="*/ 142875 w 1502283"/>
                <a:gd name="connsiteY839" fmla="*/ 770287 h 1161573"/>
                <a:gd name="connsiteX840" fmla="*/ 139541 w 1502283"/>
                <a:gd name="connsiteY840" fmla="*/ 769144 h 1161573"/>
                <a:gd name="connsiteX841" fmla="*/ 141351 w 1502283"/>
                <a:gd name="connsiteY841" fmla="*/ 770477 h 1161573"/>
                <a:gd name="connsiteX842" fmla="*/ 141541 w 1502283"/>
                <a:gd name="connsiteY842" fmla="*/ 772097 h 1161573"/>
                <a:gd name="connsiteX843" fmla="*/ 143351 w 1502283"/>
                <a:gd name="connsiteY843" fmla="*/ 773430 h 1161573"/>
                <a:gd name="connsiteX844" fmla="*/ 140779 w 1502283"/>
                <a:gd name="connsiteY844" fmla="*/ 778574 h 1161573"/>
                <a:gd name="connsiteX845" fmla="*/ 141351 w 1502283"/>
                <a:gd name="connsiteY845" fmla="*/ 783336 h 1161573"/>
                <a:gd name="connsiteX846" fmla="*/ 138208 w 1502283"/>
                <a:gd name="connsiteY846" fmla="*/ 783717 h 1161573"/>
                <a:gd name="connsiteX847" fmla="*/ 135446 w 1502283"/>
                <a:gd name="connsiteY847" fmla="*/ 787241 h 1161573"/>
                <a:gd name="connsiteX848" fmla="*/ 133255 w 1502283"/>
                <a:gd name="connsiteY848" fmla="*/ 782669 h 1161573"/>
                <a:gd name="connsiteX849" fmla="*/ 127921 w 1502283"/>
                <a:gd name="connsiteY849" fmla="*/ 778574 h 1161573"/>
                <a:gd name="connsiteX850" fmla="*/ 125539 w 1502283"/>
                <a:gd name="connsiteY850" fmla="*/ 772478 h 1161573"/>
                <a:gd name="connsiteX851" fmla="*/ 118396 w 1502283"/>
                <a:gd name="connsiteY851" fmla="*/ 766953 h 1161573"/>
                <a:gd name="connsiteX852" fmla="*/ 118015 w 1502283"/>
                <a:gd name="connsiteY852" fmla="*/ 763810 h 1161573"/>
                <a:gd name="connsiteX853" fmla="*/ 108585 w 1502283"/>
                <a:gd name="connsiteY853" fmla="*/ 765048 h 1161573"/>
                <a:gd name="connsiteX854" fmla="*/ 102870 w 1502283"/>
                <a:gd name="connsiteY854" fmla="*/ 770573 h 1161573"/>
                <a:gd name="connsiteX855" fmla="*/ 99917 w 1502283"/>
                <a:gd name="connsiteY855" fmla="*/ 772573 h 1161573"/>
                <a:gd name="connsiteX856" fmla="*/ 99536 w 1502283"/>
                <a:gd name="connsiteY856" fmla="*/ 769430 h 1161573"/>
                <a:gd name="connsiteX857" fmla="*/ 94774 w 1502283"/>
                <a:gd name="connsiteY857" fmla="*/ 770001 h 1161573"/>
                <a:gd name="connsiteX858" fmla="*/ 92773 w 1502283"/>
                <a:gd name="connsiteY858" fmla="*/ 767048 h 1161573"/>
                <a:gd name="connsiteX859" fmla="*/ 89630 w 1502283"/>
                <a:gd name="connsiteY859" fmla="*/ 767429 h 1161573"/>
                <a:gd name="connsiteX860" fmla="*/ 85058 w 1502283"/>
                <a:gd name="connsiteY860" fmla="*/ 769620 h 1161573"/>
                <a:gd name="connsiteX861" fmla="*/ 89440 w 1502283"/>
                <a:gd name="connsiteY861" fmla="*/ 778669 h 1161573"/>
                <a:gd name="connsiteX862" fmla="*/ 88106 w 1502283"/>
                <a:gd name="connsiteY862" fmla="*/ 780479 h 1161573"/>
                <a:gd name="connsiteX863" fmla="*/ 83534 w 1502283"/>
                <a:gd name="connsiteY863" fmla="*/ 782669 h 1161573"/>
                <a:gd name="connsiteX864" fmla="*/ 84106 w 1502283"/>
                <a:gd name="connsiteY864" fmla="*/ 787432 h 1161573"/>
                <a:gd name="connsiteX865" fmla="*/ 77819 w 1502283"/>
                <a:gd name="connsiteY865" fmla="*/ 788194 h 1161573"/>
                <a:gd name="connsiteX866" fmla="*/ 79820 w 1502283"/>
                <a:gd name="connsiteY866" fmla="*/ 791147 h 1161573"/>
                <a:gd name="connsiteX867" fmla="*/ 78677 w 1502283"/>
                <a:gd name="connsiteY867" fmla="*/ 794480 h 1161573"/>
                <a:gd name="connsiteX868" fmla="*/ 76105 w 1502283"/>
                <a:gd name="connsiteY868" fmla="*/ 799624 h 1161573"/>
                <a:gd name="connsiteX869" fmla="*/ 72771 w 1502283"/>
                <a:gd name="connsiteY869" fmla="*/ 798481 h 1161573"/>
                <a:gd name="connsiteX870" fmla="*/ 70390 w 1502283"/>
                <a:gd name="connsiteY870" fmla="*/ 792385 h 1161573"/>
                <a:gd name="connsiteX871" fmla="*/ 67437 w 1502283"/>
                <a:gd name="connsiteY871" fmla="*/ 794385 h 1161573"/>
                <a:gd name="connsiteX872" fmla="*/ 64294 w 1502283"/>
                <a:gd name="connsiteY872" fmla="*/ 794766 h 1161573"/>
                <a:gd name="connsiteX873" fmla="*/ 59150 w 1502283"/>
                <a:gd name="connsiteY873" fmla="*/ 792194 h 1161573"/>
                <a:gd name="connsiteX874" fmla="*/ 57150 w 1502283"/>
                <a:gd name="connsiteY874" fmla="*/ 789242 h 1161573"/>
                <a:gd name="connsiteX875" fmla="*/ 59531 w 1502283"/>
                <a:gd name="connsiteY875" fmla="*/ 782479 h 1161573"/>
                <a:gd name="connsiteX876" fmla="*/ 56197 w 1502283"/>
                <a:gd name="connsiteY876" fmla="*/ 781336 h 1161573"/>
                <a:gd name="connsiteX877" fmla="*/ 54007 w 1502283"/>
                <a:gd name="connsiteY877" fmla="*/ 776764 h 1161573"/>
                <a:gd name="connsiteX878" fmla="*/ 50482 w 1502283"/>
                <a:gd name="connsiteY878" fmla="*/ 774001 h 1161573"/>
                <a:gd name="connsiteX879" fmla="*/ 44387 w 1502283"/>
                <a:gd name="connsiteY879" fmla="*/ 776383 h 1161573"/>
                <a:gd name="connsiteX880" fmla="*/ 46958 w 1502283"/>
                <a:gd name="connsiteY880" fmla="*/ 784098 h 1161573"/>
                <a:gd name="connsiteX881" fmla="*/ 34862 w 1502283"/>
                <a:gd name="connsiteY881" fmla="*/ 777621 h 1161573"/>
                <a:gd name="connsiteX882" fmla="*/ 28575 w 1502283"/>
                <a:gd name="connsiteY882" fmla="*/ 778383 h 1161573"/>
                <a:gd name="connsiteX883" fmla="*/ 31909 w 1502283"/>
                <a:gd name="connsiteY883" fmla="*/ 779526 h 1161573"/>
                <a:gd name="connsiteX884" fmla="*/ 35052 w 1502283"/>
                <a:gd name="connsiteY884" fmla="*/ 779145 h 1161573"/>
                <a:gd name="connsiteX885" fmla="*/ 35433 w 1502283"/>
                <a:gd name="connsiteY885" fmla="*/ 782288 h 1161573"/>
                <a:gd name="connsiteX886" fmla="*/ 38576 w 1502283"/>
                <a:gd name="connsiteY886" fmla="*/ 781907 h 1161573"/>
                <a:gd name="connsiteX887" fmla="*/ 32671 w 1502283"/>
                <a:gd name="connsiteY887" fmla="*/ 785908 h 1161573"/>
                <a:gd name="connsiteX888" fmla="*/ 30099 w 1502283"/>
                <a:gd name="connsiteY888" fmla="*/ 791051 h 1161573"/>
                <a:gd name="connsiteX889" fmla="*/ 28766 w 1502283"/>
                <a:gd name="connsiteY889" fmla="*/ 792861 h 1161573"/>
                <a:gd name="connsiteX890" fmla="*/ 27432 w 1502283"/>
                <a:gd name="connsiteY890" fmla="*/ 794671 h 1161573"/>
                <a:gd name="connsiteX891" fmla="*/ 24289 w 1502283"/>
                <a:gd name="connsiteY891" fmla="*/ 795052 h 1161573"/>
                <a:gd name="connsiteX892" fmla="*/ 19336 w 1502283"/>
                <a:gd name="connsiteY892" fmla="*/ 794099 h 1161573"/>
                <a:gd name="connsiteX893" fmla="*/ 18764 w 1502283"/>
                <a:gd name="connsiteY893" fmla="*/ 789337 h 1161573"/>
                <a:gd name="connsiteX894" fmla="*/ 13811 w 1502283"/>
                <a:gd name="connsiteY894" fmla="*/ 788384 h 1161573"/>
                <a:gd name="connsiteX895" fmla="*/ 13049 w 1502283"/>
                <a:gd name="connsiteY895" fmla="*/ 794861 h 1161573"/>
                <a:gd name="connsiteX896" fmla="*/ 15050 w 1502283"/>
                <a:gd name="connsiteY896" fmla="*/ 797814 h 1161573"/>
                <a:gd name="connsiteX897" fmla="*/ 16383 w 1502283"/>
                <a:gd name="connsiteY897" fmla="*/ 796004 h 1161573"/>
                <a:gd name="connsiteX898" fmla="*/ 16573 w 1502283"/>
                <a:gd name="connsiteY898" fmla="*/ 797624 h 1161573"/>
                <a:gd name="connsiteX899" fmla="*/ 19907 w 1502283"/>
                <a:gd name="connsiteY899" fmla="*/ 798767 h 1161573"/>
                <a:gd name="connsiteX900" fmla="*/ 21717 w 1502283"/>
                <a:gd name="connsiteY900" fmla="*/ 800100 h 1161573"/>
                <a:gd name="connsiteX901" fmla="*/ 20764 w 1502283"/>
                <a:gd name="connsiteY901" fmla="*/ 805053 h 1161573"/>
                <a:gd name="connsiteX902" fmla="*/ 17431 w 1502283"/>
                <a:gd name="connsiteY902" fmla="*/ 803910 h 1161573"/>
                <a:gd name="connsiteX903" fmla="*/ 14668 w 1502283"/>
                <a:gd name="connsiteY903" fmla="*/ 807434 h 1161573"/>
                <a:gd name="connsiteX904" fmla="*/ 13049 w 1502283"/>
                <a:gd name="connsiteY904" fmla="*/ 807625 h 1161573"/>
                <a:gd name="connsiteX905" fmla="*/ 14859 w 1502283"/>
                <a:gd name="connsiteY905" fmla="*/ 808958 h 1161573"/>
                <a:gd name="connsiteX906" fmla="*/ 21336 w 1502283"/>
                <a:gd name="connsiteY906" fmla="*/ 809720 h 1161573"/>
                <a:gd name="connsiteX907" fmla="*/ 16764 w 1502283"/>
                <a:gd name="connsiteY907" fmla="*/ 811911 h 1161573"/>
                <a:gd name="connsiteX908" fmla="*/ 14002 w 1502283"/>
                <a:gd name="connsiteY908" fmla="*/ 815435 h 1161573"/>
                <a:gd name="connsiteX909" fmla="*/ 8858 w 1502283"/>
                <a:gd name="connsiteY909" fmla="*/ 812864 h 1161573"/>
                <a:gd name="connsiteX910" fmla="*/ 7525 w 1502283"/>
                <a:gd name="connsiteY910" fmla="*/ 814673 h 1161573"/>
                <a:gd name="connsiteX911" fmla="*/ 8287 w 1502283"/>
                <a:gd name="connsiteY911" fmla="*/ 820960 h 1161573"/>
                <a:gd name="connsiteX912" fmla="*/ 6667 w 1502283"/>
                <a:gd name="connsiteY912" fmla="*/ 821150 h 1161573"/>
                <a:gd name="connsiteX913" fmla="*/ 0 w 1502283"/>
                <a:gd name="connsiteY913" fmla="*/ 831628 h 1161573"/>
                <a:gd name="connsiteX914" fmla="*/ 13430 w 1502283"/>
                <a:gd name="connsiteY914" fmla="*/ 836295 h 1161573"/>
                <a:gd name="connsiteX915" fmla="*/ 27432 w 1502283"/>
                <a:gd name="connsiteY915" fmla="*/ 845725 h 1161573"/>
                <a:gd name="connsiteX916" fmla="*/ 43434 w 1502283"/>
                <a:gd name="connsiteY916" fmla="*/ 845249 h 1161573"/>
                <a:gd name="connsiteX917" fmla="*/ 49911 w 1502283"/>
                <a:gd name="connsiteY917" fmla="*/ 846010 h 1161573"/>
                <a:gd name="connsiteX918" fmla="*/ 52864 w 1502283"/>
                <a:gd name="connsiteY918" fmla="*/ 844010 h 1161573"/>
                <a:gd name="connsiteX919" fmla="*/ 58198 w 1502283"/>
                <a:gd name="connsiteY919" fmla="*/ 848106 h 1161573"/>
                <a:gd name="connsiteX920" fmla="*/ 65913 w 1502283"/>
                <a:gd name="connsiteY920" fmla="*/ 858393 h 1161573"/>
                <a:gd name="connsiteX921" fmla="*/ 70675 w 1502283"/>
                <a:gd name="connsiteY921" fmla="*/ 857822 h 1161573"/>
                <a:gd name="connsiteX922" fmla="*/ 68866 w 1502283"/>
                <a:gd name="connsiteY922" fmla="*/ 856488 h 1161573"/>
                <a:gd name="connsiteX923" fmla="*/ 82487 w 1502283"/>
                <a:gd name="connsiteY923" fmla="*/ 862775 h 1161573"/>
                <a:gd name="connsiteX924" fmla="*/ 91821 w 1502283"/>
                <a:gd name="connsiteY924" fmla="*/ 872776 h 1161573"/>
                <a:gd name="connsiteX925" fmla="*/ 95821 w 1502283"/>
                <a:gd name="connsiteY925" fmla="*/ 878681 h 1161573"/>
                <a:gd name="connsiteX926" fmla="*/ 102965 w 1502283"/>
                <a:gd name="connsiteY926" fmla="*/ 884206 h 1161573"/>
                <a:gd name="connsiteX927" fmla="*/ 107156 w 1502283"/>
                <a:gd name="connsiteY927" fmla="*/ 891731 h 1161573"/>
                <a:gd name="connsiteX928" fmla="*/ 110490 w 1502283"/>
                <a:gd name="connsiteY928" fmla="*/ 892874 h 1161573"/>
                <a:gd name="connsiteX929" fmla="*/ 114776 w 1502283"/>
                <a:gd name="connsiteY929" fmla="*/ 889159 h 1161573"/>
                <a:gd name="connsiteX930" fmla="*/ 122682 w 1502283"/>
                <a:gd name="connsiteY930" fmla="*/ 888111 h 1161573"/>
                <a:gd name="connsiteX931" fmla="*/ 125825 w 1502283"/>
                <a:gd name="connsiteY931" fmla="*/ 887730 h 1161573"/>
                <a:gd name="connsiteX932" fmla="*/ 126016 w 1502283"/>
                <a:gd name="connsiteY932" fmla="*/ 889349 h 1161573"/>
                <a:gd name="connsiteX933" fmla="*/ 144208 w 1502283"/>
                <a:gd name="connsiteY933" fmla="*/ 893445 h 1161573"/>
                <a:gd name="connsiteX934" fmla="*/ 154305 w 1502283"/>
                <a:gd name="connsiteY934" fmla="*/ 896969 h 1161573"/>
                <a:gd name="connsiteX935" fmla="*/ 165545 w 1502283"/>
                <a:gd name="connsiteY935" fmla="*/ 884301 h 1161573"/>
                <a:gd name="connsiteX936" fmla="*/ 169259 w 1502283"/>
                <a:gd name="connsiteY936" fmla="*/ 875824 h 1161573"/>
                <a:gd name="connsiteX937" fmla="*/ 171831 w 1502283"/>
                <a:gd name="connsiteY937" fmla="*/ 870680 h 1161573"/>
                <a:gd name="connsiteX938" fmla="*/ 181546 w 1502283"/>
                <a:gd name="connsiteY938" fmla="*/ 871061 h 1161573"/>
                <a:gd name="connsiteX939" fmla="*/ 191643 w 1502283"/>
                <a:gd name="connsiteY939" fmla="*/ 874585 h 1161573"/>
                <a:gd name="connsiteX940" fmla="*/ 202692 w 1502283"/>
                <a:gd name="connsiteY940" fmla="*/ 873157 h 1161573"/>
                <a:gd name="connsiteX941" fmla="*/ 206026 w 1502283"/>
                <a:gd name="connsiteY941" fmla="*/ 874300 h 1161573"/>
                <a:gd name="connsiteX942" fmla="*/ 209169 w 1502283"/>
                <a:gd name="connsiteY942" fmla="*/ 873919 h 1161573"/>
                <a:gd name="connsiteX943" fmla="*/ 214694 w 1502283"/>
                <a:gd name="connsiteY943" fmla="*/ 866775 h 1161573"/>
                <a:gd name="connsiteX944" fmla="*/ 216884 w 1502283"/>
                <a:gd name="connsiteY944" fmla="*/ 871347 h 1161573"/>
                <a:gd name="connsiteX945" fmla="*/ 222599 w 1502283"/>
                <a:gd name="connsiteY945" fmla="*/ 878681 h 1161573"/>
                <a:gd name="connsiteX946" fmla="*/ 221456 w 1502283"/>
                <a:gd name="connsiteY946" fmla="*/ 882015 h 1161573"/>
                <a:gd name="connsiteX947" fmla="*/ 216884 w 1502283"/>
                <a:gd name="connsiteY947" fmla="*/ 884206 h 1161573"/>
                <a:gd name="connsiteX948" fmla="*/ 217456 w 1502283"/>
                <a:gd name="connsiteY948" fmla="*/ 888968 h 1161573"/>
                <a:gd name="connsiteX949" fmla="*/ 227362 w 1502283"/>
                <a:gd name="connsiteY949" fmla="*/ 890873 h 1161573"/>
                <a:gd name="connsiteX950" fmla="*/ 232886 w 1502283"/>
                <a:gd name="connsiteY950" fmla="*/ 896588 h 1161573"/>
                <a:gd name="connsiteX951" fmla="*/ 240602 w 1502283"/>
                <a:gd name="connsiteY951" fmla="*/ 894017 h 1161573"/>
                <a:gd name="connsiteX952" fmla="*/ 240030 w 1502283"/>
                <a:gd name="connsiteY952" fmla="*/ 889254 h 1161573"/>
                <a:gd name="connsiteX953" fmla="*/ 238220 w 1502283"/>
                <a:gd name="connsiteY953" fmla="*/ 887921 h 1161573"/>
                <a:gd name="connsiteX954" fmla="*/ 241363 w 1502283"/>
                <a:gd name="connsiteY954" fmla="*/ 887540 h 1161573"/>
                <a:gd name="connsiteX955" fmla="*/ 243364 w 1502283"/>
                <a:gd name="connsiteY955" fmla="*/ 890492 h 1161573"/>
                <a:gd name="connsiteX956" fmla="*/ 243554 w 1502283"/>
                <a:gd name="connsiteY956" fmla="*/ 892111 h 1161573"/>
                <a:gd name="connsiteX957" fmla="*/ 243364 w 1502283"/>
                <a:gd name="connsiteY957" fmla="*/ 903351 h 1161573"/>
                <a:gd name="connsiteX958" fmla="*/ 247079 w 1502283"/>
                <a:gd name="connsiteY958" fmla="*/ 907637 h 1161573"/>
                <a:gd name="connsiteX959" fmla="*/ 250222 w 1502283"/>
                <a:gd name="connsiteY959" fmla="*/ 907256 h 1161573"/>
                <a:gd name="connsiteX960" fmla="*/ 255746 w 1502283"/>
                <a:gd name="connsiteY960" fmla="*/ 900113 h 1161573"/>
                <a:gd name="connsiteX961" fmla="*/ 259937 w 1502283"/>
                <a:gd name="connsiteY961" fmla="*/ 907637 h 1161573"/>
                <a:gd name="connsiteX962" fmla="*/ 260509 w 1502283"/>
                <a:gd name="connsiteY962" fmla="*/ 912400 h 1161573"/>
                <a:gd name="connsiteX963" fmla="*/ 258889 w 1502283"/>
                <a:gd name="connsiteY963" fmla="*/ 912590 h 1161573"/>
                <a:gd name="connsiteX964" fmla="*/ 255556 w 1502283"/>
                <a:gd name="connsiteY964" fmla="*/ 911447 h 1161573"/>
                <a:gd name="connsiteX965" fmla="*/ 253174 w 1502283"/>
                <a:gd name="connsiteY965" fmla="*/ 905351 h 1161573"/>
                <a:gd name="connsiteX966" fmla="*/ 253365 w 1502283"/>
                <a:gd name="connsiteY966" fmla="*/ 906971 h 1161573"/>
                <a:gd name="connsiteX967" fmla="*/ 252413 w 1502283"/>
                <a:gd name="connsiteY967" fmla="*/ 911924 h 1161573"/>
                <a:gd name="connsiteX968" fmla="*/ 254603 w 1502283"/>
                <a:gd name="connsiteY968" fmla="*/ 916496 h 1161573"/>
                <a:gd name="connsiteX969" fmla="*/ 264033 w 1502283"/>
                <a:gd name="connsiteY969" fmla="*/ 915257 h 1161573"/>
                <a:gd name="connsiteX970" fmla="*/ 269938 w 1502283"/>
                <a:gd name="connsiteY970" fmla="*/ 911257 h 1161573"/>
                <a:gd name="connsiteX971" fmla="*/ 273653 w 1502283"/>
                <a:gd name="connsiteY971" fmla="*/ 915543 h 1161573"/>
                <a:gd name="connsiteX972" fmla="*/ 278606 w 1502283"/>
                <a:gd name="connsiteY972" fmla="*/ 916496 h 1161573"/>
                <a:gd name="connsiteX973" fmla="*/ 275272 w 1502283"/>
                <a:gd name="connsiteY973" fmla="*/ 928116 h 1161573"/>
                <a:gd name="connsiteX974" fmla="*/ 278797 w 1502283"/>
                <a:gd name="connsiteY974" fmla="*/ 930878 h 1161573"/>
                <a:gd name="connsiteX975" fmla="*/ 282512 w 1502283"/>
                <a:gd name="connsiteY975" fmla="*/ 935260 h 1161573"/>
                <a:gd name="connsiteX976" fmla="*/ 285655 w 1502283"/>
                <a:gd name="connsiteY976" fmla="*/ 934879 h 1161573"/>
                <a:gd name="connsiteX977" fmla="*/ 288607 w 1502283"/>
                <a:gd name="connsiteY977" fmla="*/ 932878 h 1161573"/>
                <a:gd name="connsiteX978" fmla="*/ 287560 w 1502283"/>
                <a:gd name="connsiteY978" fmla="*/ 924973 h 1161573"/>
                <a:gd name="connsiteX979" fmla="*/ 290703 w 1502283"/>
                <a:gd name="connsiteY979" fmla="*/ 924592 h 1161573"/>
                <a:gd name="connsiteX980" fmla="*/ 292513 w 1502283"/>
                <a:gd name="connsiteY980" fmla="*/ 925925 h 1161573"/>
                <a:gd name="connsiteX981" fmla="*/ 291560 w 1502283"/>
                <a:gd name="connsiteY981" fmla="*/ 930878 h 1161573"/>
                <a:gd name="connsiteX982" fmla="*/ 299466 w 1502283"/>
                <a:gd name="connsiteY982" fmla="*/ 929831 h 1161573"/>
                <a:gd name="connsiteX983" fmla="*/ 301466 w 1502283"/>
                <a:gd name="connsiteY983" fmla="*/ 932783 h 1161573"/>
                <a:gd name="connsiteX984" fmla="*/ 294418 w 1502283"/>
                <a:gd name="connsiteY984" fmla="*/ 940118 h 1161573"/>
                <a:gd name="connsiteX985" fmla="*/ 294227 w 1502283"/>
                <a:gd name="connsiteY985" fmla="*/ 951357 h 1161573"/>
                <a:gd name="connsiteX986" fmla="*/ 303086 w 1502283"/>
                <a:gd name="connsiteY986" fmla="*/ 958215 h 1161573"/>
                <a:gd name="connsiteX987" fmla="*/ 306229 w 1502283"/>
                <a:gd name="connsiteY987" fmla="*/ 957834 h 1161573"/>
                <a:gd name="connsiteX988" fmla="*/ 321088 w 1502283"/>
                <a:gd name="connsiteY988" fmla="*/ 973550 h 1161573"/>
                <a:gd name="connsiteX989" fmla="*/ 326612 w 1502283"/>
                <a:gd name="connsiteY989" fmla="*/ 979265 h 1161573"/>
                <a:gd name="connsiteX990" fmla="*/ 366141 w 1502283"/>
                <a:gd name="connsiteY990" fmla="*/ 999934 h 1161573"/>
                <a:gd name="connsiteX991" fmla="*/ 378428 w 1502283"/>
                <a:gd name="connsiteY991" fmla="*/ 1008031 h 1161573"/>
                <a:gd name="connsiteX992" fmla="*/ 388715 w 1502283"/>
                <a:gd name="connsiteY992" fmla="*/ 1013174 h 1161573"/>
                <a:gd name="connsiteX993" fmla="*/ 400526 w 1502283"/>
                <a:gd name="connsiteY993" fmla="*/ 1018032 h 1161573"/>
                <a:gd name="connsiteX994" fmla="*/ 408622 w 1502283"/>
                <a:gd name="connsiteY994" fmla="*/ 1018603 h 1161573"/>
                <a:gd name="connsiteX995" fmla="*/ 411766 w 1502283"/>
                <a:gd name="connsiteY995" fmla="*/ 1018223 h 1161573"/>
                <a:gd name="connsiteX996" fmla="*/ 411385 w 1502283"/>
                <a:gd name="connsiteY996" fmla="*/ 1015079 h 1161573"/>
                <a:gd name="connsiteX997" fmla="*/ 414719 w 1502283"/>
                <a:gd name="connsiteY997" fmla="*/ 1016222 h 1161573"/>
                <a:gd name="connsiteX998" fmla="*/ 416528 w 1502283"/>
                <a:gd name="connsiteY998" fmla="*/ 1017556 h 1161573"/>
                <a:gd name="connsiteX999" fmla="*/ 429768 w 1502283"/>
                <a:gd name="connsiteY999" fmla="*/ 1020699 h 1161573"/>
                <a:gd name="connsiteX1000" fmla="*/ 430911 w 1502283"/>
                <a:gd name="connsiteY1000" fmla="*/ 1017365 h 1161573"/>
                <a:gd name="connsiteX1001" fmla="*/ 435864 w 1502283"/>
                <a:gd name="connsiteY1001" fmla="*/ 1018318 h 1161573"/>
                <a:gd name="connsiteX1002" fmla="*/ 437674 w 1502283"/>
                <a:gd name="connsiteY1002" fmla="*/ 1019651 h 1161573"/>
                <a:gd name="connsiteX1003" fmla="*/ 440627 w 1502283"/>
                <a:gd name="connsiteY1003" fmla="*/ 1017651 h 1161573"/>
                <a:gd name="connsiteX1004" fmla="*/ 440246 w 1502283"/>
                <a:gd name="connsiteY1004" fmla="*/ 1014508 h 1161573"/>
                <a:gd name="connsiteX1005" fmla="*/ 469868 w 1502283"/>
                <a:gd name="connsiteY1005" fmla="*/ 1020318 h 1161573"/>
                <a:gd name="connsiteX1006" fmla="*/ 507206 w 1502283"/>
                <a:gd name="connsiteY1006" fmla="*/ 1023557 h 1161573"/>
                <a:gd name="connsiteX1007" fmla="*/ 517303 w 1502283"/>
                <a:gd name="connsiteY1007" fmla="*/ 1027081 h 1161573"/>
                <a:gd name="connsiteX1008" fmla="*/ 518922 w 1502283"/>
                <a:gd name="connsiteY1008" fmla="*/ 1026890 h 1161573"/>
                <a:gd name="connsiteX1009" fmla="*/ 521684 w 1502283"/>
                <a:gd name="connsiteY1009" fmla="*/ 1023366 h 1161573"/>
                <a:gd name="connsiteX1010" fmla="*/ 529590 w 1502283"/>
                <a:gd name="connsiteY1010" fmla="*/ 1022318 h 1161573"/>
                <a:gd name="connsiteX1011" fmla="*/ 542830 w 1502283"/>
                <a:gd name="connsiteY1011" fmla="*/ 1025461 h 1161573"/>
                <a:gd name="connsiteX1012" fmla="*/ 547306 w 1502283"/>
                <a:gd name="connsiteY1012" fmla="*/ 1023271 h 1161573"/>
                <a:gd name="connsiteX1013" fmla="*/ 554641 w 1502283"/>
                <a:gd name="connsiteY1013" fmla="*/ 1030319 h 1161573"/>
                <a:gd name="connsiteX1014" fmla="*/ 567880 w 1502283"/>
                <a:gd name="connsiteY1014" fmla="*/ 1033463 h 1161573"/>
                <a:gd name="connsiteX1015" fmla="*/ 573596 w 1502283"/>
                <a:gd name="connsiteY1015" fmla="*/ 1027938 h 1161573"/>
                <a:gd name="connsiteX1016" fmla="*/ 574357 w 1502283"/>
                <a:gd name="connsiteY1016" fmla="*/ 1021461 h 1161573"/>
                <a:gd name="connsiteX1017" fmla="*/ 575691 w 1502283"/>
                <a:gd name="connsiteY1017" fmla="*/ 1019651 h 1161573"/>
                <a:gd name="connsiteX1018" fmla="*/ 575310 w 1502283"/>
                <a:gd name="connsiteY1018" fmla="*/ 1016508 h 1161573"/>
                <a:gd name="connsiteX1019" fmla="*/ 577691 w 1502283"/>
                <a:gd name="connsiteY1019" fmla="*/ 1022604 h 1161573"/>
                <a:gd name="connsiteX1020" fmla="*/ 582263 w 1502283"/>
                <a:gd name="connsiteY1020" fmla="*/ 1020413 h 1161573"/>
                <a:gd name="connsiteX1021" fmla="*/ 584263 w 1502283"/>
                <a:gd name="connsiteY1021" fmla="*/ 1023366 h 1161573"/>
                <a:gd name="connsiteX1022" fmla="*/ 586264 w 1502283"/>
                <a:gd name="connsiteY1022" fmla="*/ 1026319 h 1161573"/>
                <a:gd name="connsiteX1023" fmla="*/ 583502 w 1502283"/>
                <a:gd name="connsiteY1023" fmla="*/ 1029843 h 1161573"/>
                <a:gd name="connsiteX1024" fmla="*/ 587216 w 1502283"/>
                <a:gd name="connsiteY1024" fmla="*/ 1034129 h 1161573"/>
                <a:gd name="connsiteX1025" fmla="*/ 588550 w 1502283"/>
                <a:gd name="connsiteY1025" fmla="*/ 1032319 h 1161573"/>
                <a:gd name="connsiteX1026" fmla="*/ 588931 w 1502283"/>
                <a:gd name="connsiteY1026" fmla="*/ 1035463 h 1161573"/>
                <a:gd name="connsiteX1027" fmla="*/ 599980 w 1502283"/>
                <a:gd name="connsiteY1027" fmla="*/ 1034034 h 1161573"/>
                <a:gd name="connsiteX1028" fmla="*/ 600170 w 1502283"/>
                <a:gd name="connsiteY1028" fmla="*/ 1035653 h 1161573"/>
                <a:gd name="connsiteX1029" fmla="*/ 603313 w 1502283"/>
                <a:gd name="connsiteY1029" fmla="*/ 1035272 h 1161573"/>
                <a:gd name="connsiteX1030" fmla="*/ 606266 w 1502283"/>
                <a:gd name="connsiteY1030" fmla="*/ 1033272 h 1161573"/>
                <a:gd name="connsiteX1031" fmla="*/ 607219 w 1502283"/>
                <a:gd name="connsiteY1031" fmla="*/ 1028319 h 1161573"/>
                <a:gd name="connsiteX1032" fmla="*/ 608647 w 1502283"/>
                <a:gd name="connsiteY1032" fmla="*/ 1026509 h 1161573"/>
                <a:gd name="connsiteX1033" fmla="*/ 609790 w 1502283"/>
                <a:gd name="connsiteY1033" fmla="*/ 1023176 h 1161573"/>
                <a:gd name="connsiteX1034" fmla="*/ 611410 w 1502283"/>
                <a:gd name="connsiteY1034" fmla="*/ 1022985 h 1161573"/>
                <a:gd name="connsiteX1035" fmla="*/ 613410 w 1502283"/>
                <a:gd name="connsiteY1035" fmla="*/ 1025938 h 1161573"/>
                <a:gd name="connsiteX1036" fmla="*/ 619125 w 1502283"/>
                <a:gd name="connsiteY1036" fmla="*/ 1020413 h 1161573"/>
                <a:gd name="connsiteX1037" fmla="*/ 620935 w 1502283"/>
                <a:gd name="connsiteY1037" fmla="*/ 1021747 h 1161573"/>
                <a:gd name="connsiteX1038" fmla="*/ 623888 w 1502283"/>
                <a:gd name="connsiteY1038" fmla="*/ 1019747 h 1161573"/>
                <a:gd name="connsiteX1039" fmla="*/ 626078 w 1502283"/>
                <a:gd name="connsiteY1039" fmla="*/ 1011460 h 1161573"/>
                <a:gd name="connsiteX1040" fmla="*/ 627412 w 1502283"/>
                <a:gd name="connsiteY1040" fmla="*/ 1009650 h 1161573"/>
                <a:gd name="connsiteX1041" fmla="*/ 628364 w 1502283"/>
                <a:gd name="connsiteY1041" fmla="*/ 1004697 h 1161573"/>
                <a:gd name="connsiteX1042" fmla="*/ 633889 w 1502283"/>
                <a:gd name="connsiteY1042" fmla="*/ 997553 h 1161573"/>
                <a:gd name="connsiteX1043" fmla="*/ 639985 w 1502283"/>
                <a:gd name="connsiteY1043" fmla="*/ 995172 h 1161573"/>
                <a:gd name="connsiteX1044" fmla="*/ 644366 w 1502283"/>
                <a:gd name="connsiteY1044" fmla="*/ 991457 h 1161573"/>
                <a:gd name="connsiteX1045" fmla="*/ 644938 w 1502283"/>
                <a:gd name="connsiteY1045" fmla="*/ 983361 h 1161573"/>
                <a:gd name="connsiteX1046" fmla="*/ 643128 w 1502283"/>
                <a:gd name="connsiteY1046" fmla="*/ 982027 h 1161573"/>
                <a:gd name="connsiteX1047" fmla="*/ 642938 w 1502283"/>
                <a:gd name="connsiteY1047" fmla="*/ 980408 h 1161573"/>
                <a:gd name="connsiteX1048" fmla="*/ 645128 w 1502283"/>
                <a:gd name="connsiteY1048" fmla="*/ 972122 h 1161573"/>
                <a:gd name="connsiteX1049" fmla="*/ 650462 w 1502283"/>
                <a:gd name="connsiteY1049" fmla="*/ 963454 h 1161573"/>
                <a:gd name="connsiteX1050" fmla="*/ 649700 w 1502283"/>
                <a:gd name="connsiteY1050" fmla="*/ 957167 h 1161573"/>
                <a:gd name="connsiteX1051" fmla="*/ 652463 w 1502283"/>
                <a:gd name="connsiteY1051" fmla="*/ 953643 h 1161573"/>
                <a:gd name="connsiteX1052" fmla="*/ 661130 w 1502283"/>
                <a:gd name="connsiteY1052" fmla="*/ 946118 h 1161573"/>
                <a:gd name="connsiteX1053" fmla="*/ 660940 w 1502283"/>
                <a:gd name="connsiteY1053" fmla="*/ 944499 h 1161573"/>
                <a:gd name="connsiteX1054" fmla="*/ 657606 w 1502283"/>
                <a:gd name="connsiteY1054" fmla="*/ 943356 h 1161573"/>
                <a:gd name="connsiteX1055" fmla="*/ 660749 w 1502283"/>
                <a:gd name="connsiteY1055" fmla="*/ 942975 h 1161573"/>
                <a:gd name="connsiteX1056" fmla="*/ 671417 w 1502283"/>
                <a:gd name="connsiteY1056" fmla="*/ 951262 h 1161573"/>
                <a:gd name="connsiteX1057" fmla="*/ 687610 w 1502283"/>
                <a:gd name="connsiteY1057" fmla="*/ 952405 h 1161573"/>
                <a:gd name="connsiteX1058" fmla="*/ 698468 w 1502283"/>
                <a:gd name="connsiteY1058" fmla="*/ 949452 h 1161573"/>
                <a:gd name="connsiteX1059" fmla="*/ 700659 w 1502283"/>
                <a:gd name="connsiteY1059" fmla="*/ 954024 h 1161573"/>
                <a:gd name="connsiteX1060" fmla="*/ 705231 w 1502283"/>
                <a:gd name="connsiteY1060" fmla="*/ 951833 h 1161573"/>
                <a:gd name="connsiteX1061" fmla="*/ 710565 w 1502283"/>
                <a:gd name="connsiteY1061" fmla="*/ 943166 h 1161573"/>
                <a:gd name="connsiteX1062" fmla="*/ 714661 w 1502283"/>
                <a:gd name="connsiteY1062" fmla="*/ 937832 h 1161573"/>
                <a:gd name="connsiteX1063" fmla="*/ 725519 w 1502283"/>
                <a:gd name="connsiteY1063" fmla="*/ 947642 h 1161573"/>
                <a:gd name="connsiteX1064" fmla="*/ 727520 w 1502283"/>
                <a:gd name="connsiteY1064" fmla="*/ 950595 h 1161573"/>
                <a:gd name="connsiteX1065" fmla="*/ 735044 w 1502283"/>
                <a:gd name="connsiteY1065" fmla="*/ 959263 h 1161573"/>
                <a:gd name="connsiteX1066" fmla="*/ 746474 w 1502283"/>
                <a:gd name="connsiteY1066" fmla="*/ 960977 h 1161573"/>
                <a:gd name="connsiteX1067" fmla="*/ 755142 w 1502283"/>
                <a:gd name="connsiteY1067" fmla="*/ 966311 h 1161573"/>
                <a:gd name="connsiteX1068" fmla="*/ 754380 w 1502283"/>
                <a:gd name="connsiteY1068" fmla="*/ 972788 h 1161573"/>
                <a:gd name="connsiteX1069" fmla="*/ 765810 w 1502283"/>
                <a:gd name="connsiteY1069" fmla="*/ 974503 h 1161573"/>
                <a:gd name="connsiteX1070" fmla="*/ 770572 w 1502283"/>
                <a:gd name="connsiteY1070" fmla="*/ 973931 h 1161573"/>
                <a:gd name="connsiteX1071" fmla="*/ 780193 w 1502283"/>
                <a:gd name="connsiteY1071" fmla="*/ 974312 h 1161573"/>
                <a:gd name="connsiteX1072" fmla="*/ 781812 w 1502283"/>
                <a:gd name="connsiteY1072" fmla="*/ 974122 h 1161573"/>
                <a:gd name="connsiteX1073" fmla="*/ 782764 w 1502283"/>
                <a:gd name="connsiteY1073" fmla="*/ 969169 h 1161573"/>
                <a:gd name="connsiteX1074" fmla="*/ 790480 w 1502283"/>
                <a:gd name="connsiteY1074" fmla="*/ 966597 h 1161573"/>
                <a:gd name="connsiteX1075" fmla="*/ 790670 w 1502283"/>
                <a:gd name="connsiteY1075" fmla="*/ 968216 h 1161573"/>
                <a:gd name="connsiteX1076" fmla="*/ 797338 w 1502283"/>
                <a:gd name="connsiteY1076" fmla="*/ 970598 h 1161573"/>
                <a:gd name="connsiteX1077" fmla="*/ 804005 w 1502283"/>
                <a:gd name="connsiteY1077" fmla="*/ 972979 h 1161573"/>
                <a:gd name="connsiteX1078" fmla="*/ 806387 w 1502283"/>
                <a:gd name="connsiteY1078" fmla="*/ 979075 h 1161573"/>
                <a:gd name="connsiteX1079" fmla="*/ 813721 w 1502283"/>
                <a:gd name="connsiteY1079" fmla="*/ 986123 h 1161573"/>
                <a:gd name="connsiteX1080" fmla="*/ 817150 w 1502283"/>
                <a:gd name="connsiteY1080" fmla="*/ 1000125 h 1161573"/>
                <a:gd name="connsiteX1081" fmla="*/ 818197 w 1502283"/>
                <a:gd name="connsiteY1081" fmla="*/ 1008031 h 1161573"/>
                <a:gd name="connsiteX1082" fmla="*/ 812863 w 1502283"/>
                <a:gd name="connsiteY1082" fmla="*/ 1016699 h 1161573"/>
                <a:gd name="connsiteX1083" fmla="*/ 813245 w 1502283"/>
                <a:gd name="connsiteY1083" fmla="*/ 1019842 h 1161573"/>
                <a:gd name="connsiteX1084" fmla="*/ 817436 w 1502283"/>
                <a:gd name="connsiteY1084" fmla="*/ 1027367 h 1161573"/>
                <a:gd name="connsiteX1085" fmla="*/ 819817 w 1502283"/>
                <a:gd name="connsiteY1085" fmla="*/ 1033463 h 1161573"/>
                <a:gd name="connsiteX1086" fmla="*/ 822960 w 1502283"/>
                <a:gd name="connsiteY1086" fmla="*/ 1033082 h 1161573"/>
                <a:gd name="connsiteX1087" fmla="*/ 833247 w 1502283"/>
                <a:gd name="connsiteY1087" fmla="*/ 1025366 h 1161573"/>
                <a:gd name="connsiteX1088" fmla="*/ 834771 w 1502283"/>
                <a:gd name="connsiteY1088" fmla="*/ 1025176 h 1161573"/>
                <a:gd name="connsiteX1089" fmla="*/ 836200 w 1502283"/>
                <a:gd name="connsiteY1089" fmla="*/ 1023366 h 1161573"/>
                <a:gd name="connsiteX1090" fmla="*/ 844105 w 1502283"/>
                <a:gd name="connsiteY1090" fmla="*/ 1022318 h 1161573"/>
                <a:gd name="connsiteX1091" fmla="*/ 849058 w 1502283"/>
                <a:gd name="connsiteY1091" fmla="*/ 1023271 h 1161573"/>
                <a:gd name="connsiteX1092" fmla="*/ 850868 w 1502283"/>
                <a:gd name="connsiteY1092" fmla="*/ 1024604 h 1161573"/>
                <a:gd name="connsiteX1093" fmla="*/ 854012 w 1502283"/>
                <a:gd name="connsiteY1093" fmla="*/ 1024223 h 1161573"/>
                <a:gd name="connsiteX1094" fmla="*/ 852678 w 1502283"/>
                <a:gd name="connsiteY1094" fmla="*/ 1026033 h 1161573"/>
                <a:gd name="connsiteX1095" fmla="*/ 852869 w 1502283"/>
                <a:gd name="connsiteY1095" fmla="*/ 1027652 h 1161573"/>
                <a:gd name="connsiteX1096" fmla="*/ 856012 w 1502283"/>
                <a:gd name="connsiteY1096" fmla="*/ 1027271 h 1161573"/>
                <a:gd name="connsiteX1097" fmla="*/ 857822 w 1502283"/>
                <a:gd name="connsiteY1097" fmla="*/ 1028605 h 1161573"/>
                <a:gd name="connsiteX1098" fmla="*/ 858203 w 1502283"/>
                <a:gd name="connsiteY1098" fmla="*/ 1031748 h 1161573"/>
                <a:gd name="connsiteX1099" fmla="*/ 865918 w 1502283"/>
                <a:gd name="connsiteY1099" fmla="*/ 1029176 h 1161573"/>
                <a:gd name="connsiteX1100" fmla="*/ 870109 w 1502283"/>
                <a:gd name="connsiteY1100" fmla="*/ 1036701 h 1161573"/>
                <a:gd name="connsiteX1101" fmla="*/ 870680 w 1502283"/>
                <a:gd name="connsiteY1101" fmla="*/ 1041464 h 1161573"/>
                <a:gd name="connsiteX1102" fmla="*/ 874205 w 1502283"/>
                <a:gd name="connsiteY1102" fmla="*/ 1044226 h 1161573"/>
                <a:gd name="connsiteX1103" fmla="*/ 874395 w 1502283"/>
                <a:gd name="connsiteY1103" fmla="*/ 1045845 h 1161573"/>
                <a:gd name="connsiteX1104" fmla="*/ 878967 w 1502283"/>
                <a:gd name="connsiteY1104" fmla="*/ 1043654 h 1161573"/>
                <a:gd name="connsiteX1105" fmla="*/ 884682 w 1502283"/>
                <a:gd name="connsiteY1105" fmla="*/ 1050893 h 1161573"/>
                <a:gd name="connsiteX1106" fmla="*/ 886301 w 1502283"/>
                <a:gd name="connsiteY1106" fmla="*/ 1050703 h 1161573"/>
                <a:gd name="connsiteX1107" fmla="*/ 889254 w 1502283"/>
                <a:gd name="connsiteY1107" fmla="*/ 1048702 h 1161573"/>
                <a:gd name="connsiteX1108" fmla="*/ 891064 w 1502283"/>
                <a:gd name="connsiteY1108" fmla="*/ 1050036 h 1161573"/>
                <a:gd name="connsiteX1109" fmla="*/ 895826 w 1502283"/>
                <a:gd name="connsiteY1109" fmla="*/ 1049465 h 1161573"/>
                <a:gd name="connsiteX1110" fmla="*/ 902780 w 1502283"/>
                <a:gd name="connsiteY1110" fmla="*/ 1053370 h 1161573"/>
                <a:gd name="connsiteX1111" fmla="*/ 904970 w 1502283"/>
                <a:gd name="connsiteY1111" fmla="*/ 1057942 h 1161573"/>
                <a:gd name="connsiteX1112" fmla="*/ 908875 w 1502283"/>
                <a:gd name="connsiteY1112" fmla="*/ 1050989 h 1161573"/>
                <a:gd name="connsiteX1113" fmla="*/ 913829 w 1502283"/>
                <a:gd name="connsiteY1113" fmla="*/ 1051941 h 1161573"/>
                <a:gd name="connsiteX1114" fmla="*/ 923449 w 1502283"/>
                <a:gd name="connsiteY1114" fmla="*/ 1052322 h 1161573"/>
                <a:gd name="connsiteX1115" fmla="*/ 928973 w 1502283"/>
                <a:gd name="connsiteY1115" fmla="*/ 1045178 h 1161573"/>
                <a:gd name="connsiteX1116" fmla="*/ 934498 w 1502283"/>
                <a:gd name="connsiteY1116" fmla="*/ 1050893 h 1161573"/>
                <a:gd name="connsiteX1117" fmla="*/ 953643 w 1502283"/>
                <a:gd name="connsiteY1117" fmla="*/ 1050036 h 1161573"/>
                <a:gd name="connsiteX1118" fmla="*/ 960120 w 1502283"/>
                <a:gd name="connsiteY1118" fmla="*/ 1037939 h 1161573"/>
                <a:gd name="connsiteX1119" fmla="*/ 964311 w 1502283"/>
                <a:gd name="connsiteY1119" fmla="*/ 1045464 h 1161573"/>
                <a:gd name="connsiteX1120" fmla="*/ 974027 w 1502283"/>
                <a:gd name="connsiteY1120" fmla="*/ 1045845 h 1161573"/>
                <a:gd name="connsiteX1121" fmla="*/ 976979 w 1502283"/>
                <a:gd name="connsiteY1121" fmla="*/ 1043845 h 1161573"/>
                <a:gd name="connsiteX1122" fmla="*/ 980504 w 1502283"/>
                <a:gd name="connsiteY1122" fmla="*/ 1046607 h 1161573"/>
                <a:gd name="connsiteX1123" fmla="*/ 977360 w 1502283"/>
                <a:gd name="connsiteY1123" fmla="*/ 1046988 h 1161573"/>
                <a:gd name="connsiteX1124" fmla="*/ 979551 w 1502283"/>
                <a:gd name="connsiteY1124" fmla="*/ 1051560 h 1161573"/>
                <a:gd name="connsiteX1125" fmla="*/ 983266 w 1502283"/>
                <a:gd name="connsiteY1125" fmla="*/ 1055846 h 1161573"/>
                <a:gd name="connsiteX1126" fmla="*/ 981932 w 1502283"/>
                <a:gd name="connsiteY1126" fmla="*/ 1057656 h 1161573"/>
                <a:gd name="connsiteX1127" fmla="*/ 987266 w 1502283"/>
                <a:gd name="connsiteY1127" fmla="*/ 1061752 h 1161573"/>
                <a:gd name="connsiteX1128" fmla="*/ 988028 w 1502283"/>
                <a:gd name="connsiteY1128" fmla="*/ 1068038 h 1161573"/>
                <a:gd name="connsiteX1129" fmla="*/ 988409 w 1502283"/>
                <a:gd name="connsiteY1129" fmla="*/ 1071182 h 1161573"/>
                <a:gd name="connsiteX1130" fmla="*/ 987266 w 1502283"/>
                <a:gd name="connsiteY1130" fmla="*/ 1074515 h 1161573"/>
                <a:gd name="connsiteX1131" fmla="*/ 989076 w 1502283"/>
                <a:gd name="connsiteY1131" fmla="*/ 1075849 h 1161573"/>
                <a:gd name="connsiteX1132" fmla="*/ 987743 w 1502283"/>
                <a:gd name="connsiteY1132" fmla="*/ 1077659 h 1161573"/>
                <a:gd name="connsiteX1133" fmla="*/ 988123 w 1502283"/>
                <a:gd name="connsiteY1133" fmla="*/ 1080802 h 1161573"/>
                <a:gd name="connsiteX1134" fmla="*/ 986504 w 1502283"/>
                <a:gd name="connsiteY1134" fmla="*/ 1080992 h 1161573"/>
                <a:gd name="connsiteX1135" fmla="*/ 986695 w 1502283"/>
                <a:gd name="connsiteY1135" fmla="*/ 1082611 h 1161573"/>
                <a:gd name="connsiteX1136" fmla="*/ 984123 w 1502283"/>
                <a:gd name="connsiteY1136" fmla="*/ 1087755 h 1161573"/>
                <a:gd name="connsiteX1137" fmla="*/ 984695 w 1502283"/>
                <a:gd name="connsiteY1137" fmla="*/ 1092518 h 1161573"/>
                <a:gd name="connsiteX1138" fmla="*/ 991362 w 1502283"/>
                <a:gd name="connsiteY1138" fmla="*/ 1094899 h 1161573"/>
                <a:gd name="connsiteX1139" fmla="*/ 993553 w 1502283"/>
                <a:gd name="connsiteY1139" fmla="*/ 1099471 h 1161573"/>
                <a:gd name="connsiteX1140" fmla="*/ 992219 w 1502283"/>
                <a:gd name="connsiteY1140" fmla="*/ 1101281 h 1161573"/>
                <a:gd name="connsiteX1141" fmla="*/ 994029 w 1502283"/>
                <a:gd name="connsiteY1141" fmla="*/ 1102614 h 1161573"/>
                <a:gd name="connsiteX1142" fmla="*/ 992696 w 1502283"/>
                <a:gd name="connsiteY1142" fmla="*/ 1104424 h 1161573"/>
                <a:gd name="connsiteX1143" fmla="*/ 994886 w 1502283"/>
                <a:gd name="connsiteY1143" fmla="*/ 1108996 h 1161573"/>
                <a:gd name="connsiteX1144" fmla="*/ 993934 w 1502283"/>
                <a:gd name="connsiteY1144" fmla="*/ 1113949 h 1161573"/>
                <a:gd name="connsiteX1145" fmla="*/ 990981 w 1502283"/>
                <a:gd name="connsiteY1145" fmla="*/ 1115949 h 1161573"/>
                <a:gd name="connsiteX1146" fmla="*/ 993362 w 1502283"/>
                <a:gd name="connsiteY1146" fmla="*/ 1122045 h 1161573"/>
                <a:gd name="connsiteX1147" fmla="*/ 992029 w 1502283"/>
                <a:gd name="connsiteY1147" fmla="*/ 1123855 h 1161573"/>
                <a:gd name="connsiteX1148" fmla="*/ 995744 w 1502283"/>
                <a:gd name="connsiteY1148" fmla="*/ 1128141 h 1161573"/>
                <a:gd name="connsiteX1149" fmla="*/ 997363 w 1502283"/>
                <a:gd name="connsiteY1149" fmla="*/ 1127951 h 1161573"/>
                <a:gd name="connsiteX1150" fmla="*/ 997934 w 1502283"/>
                <a:gd name="connsiteY1150" fmla="*/ 1132713 h 1161573"/>
                <a:gd name="connsiteX1151" fmla="*/ 996601 w 1502283"/>
                <a:gd name="connsiteY1151" fmla="*/ 1134523 h 1161573"/>
                <a:gd name="connsiteX1152" fmla="*/ 997363 w 1502283"/>
                <a:gd name="connsiteY1152" fmla="*/ 1140809 h 1161573"/>
                <a:gd name="connsiteX1153" fmla="*/ 993457 w 1502283"/>
                <a:gd name="connsiteY1153" fmla="*/ 1147763 h 1161573"/>
                <a:gd name="connsiteX1154" fmla="*/ 992505 w 1502283"/>
                <a:gd name="connsiteY1154" fmla="*/ 1152716 h 1161573"/>
                <a:gd name="connsiteX1155" fmla="*/ 999172 w 1502283"/>
                <a:gd name="connsiteY1155" fmla="*/ 1155097 h 1161573"/>
                <a:gd name="connsiteX1156" fmla="*/ 1007459 w 1502283"/>
                <a:gd name="connsiteY1156" fmla="*/ 1157288 h 1161573"/>
                <a:gd name="connsiteX1157" fmla="*/ 1011174 w 1502283"/>
                <a:gd name="connsiteY1157" fmla="*/ 1161574 h 1161573"/>
                <a:gd name="connsiteX1158" fmla="*/ 1010983 w 1502283"/>
                <a:gd name="connsiteY1158" fmla="*/ 1159955 h 1161573"/>
                <a:gd name="connsiteX1159" fmla="*/ 1010412 w 1502283"/>
                <a:gd name="connsiteY1159" fmla="*/ 1155192 h 1161573"/>
                <a:gd name="connsiteX1160" fmla="*/ 1015365 w 1502283"/>
                <a:gd name="connsiteY1160" fmla="*/ 1156144 h 1161573"/>
                <a:gd name="connsiteX1161" fmla="*/ 1016889 w 1502283"/>
                <a:gd name="connsiteY1161" fmla="*/ 1155954 h 1161573"/>
                <a:gd name="connsiteX1162" fmla="*/ 1015079 w 1502283"/>
                <a:gd name="connsiteY1162" fmla="*/ 1154621 h 1161573"/>
                <a:gd name="connsiteX1163" fmla="*/ 1014698 w 1502283"/>
                <a:gd name="connsiteY1163" fmla="*/ 1151477 h 1161573"/>
                <a:gd name="connsiteX1164" fmla="*/ 1017841 w 1502283"/>
                <a:gd name="connsiteY1164" fmla="*/ 1151096 h 1161573"/>
                <a:gd name="connsiteX1165" fmla="*/ 1017080 w 1502283"/>
                <a:gd name="connsiteY1165" fmla="*/ 1144810 h 1161573"/>
                <a:gd name="connsiteX1166" fmla="*/ 1018604 w 1502283"/>
                <a:gd name="connsiteY1166" fmla="*/ 1144619 h 1161573"/>
                <a:gd name="connsiteX1167" fmla="*/ 1020794 w 1502283"/>
                <a:gd name="connsiteY1167" fmla="*/ 1149191 h 1161573"/>
                <a:gd name="connsiteX1168" fmla="*/ 1020223 w 1502283"/>
                <a:gd name="connsiteY1168" fmla="*/ 1144429 h 1161573"/>
                <a:gd name="connsiteX1169" fmla="*/ 1025366 w 1502283"/>
                <a:gd name="connsiteY1169" fmla="*/ 1147001 h 1161573"/>
                <a:gd name="connsiteX1170" fmla="*/ 1026795 w 1502283"/>
                <a:gd name="connsiteY1170" fmla="*/ 1145191 h 1161573"/>
                <a:gd name="connsiteX1171" fmla="*/ 1023271 w 1502283"/>
                <a:gd name="connsiteY1171" fmla="*/ 1142428 h 1161573"/>
                <a:gd name="connsiteX1172" fmla="*/ 1026414 w 1502283"/>
                <a:gd name="connsiteY1172" fmla="*/ 1142048 h 1161573"/>
                <a:gd name="connsiteX1173" fmla="*/ 1020508 w 1502283"/>
                <a:gd name="connsiteY1173" fmla="*/ 1133189 h 1161573"/>
                <a:gd name="connsiteX1174" fmla="*/ 1021937 w 1502283"/>
                <a:gd name="connsiteY1174" fmla="*/ 1131380 h 1161573"/>
                <a:gd name="connsiteX1175" fmla="*/ 1027271 w 1502283"/>
                <a:gd name="connsiteY1175" fmla="*/ 1135475 h 1161573"/>
                <a:gd name="connsiteX1176" fmla="*/ 1025080 w 1502283"/>
                <a:gd name="connsiteY1176" fmla="*/ 1130903 h 1161573"/>
                <a:gd name="connsiteX1177" fmla="*/ 1029653 w 1502283"/>
                <a:gd name="connsiteY1177" fmla="*/ 1128713 h 1161573"/>
                <a:gd name="connsiteX1178" fmla="*/ 1024319 w 1502283"/>
                <a:gd name="connsiteY1178" fmla="*/ 1124617 h 1161573"/>
                <a:gd name="connsiteX1179" fmla="*/ 1032034 w 1502283"/>
                <a:gd name="connsiteY1179" fmla="*/ 1122045 h 1161573"/>
                <a:gd name="connsiteX1180" fmla="*/ 1026700 w 1502283"/>
                <a:gd name="connsiteY1180" fmla="*/ 1117949 h 1161573"/>
                <a:gd name="connsiteX1181" fmla="*/ 1026223 w 1502283"/>
                <a:gd name="connsiteY1181" fmla="*/ 1101947 h 1161573"/>
                <a:gd name="connsiteX1182" fmla="*/ 1030510 w 1502283"/>
                <a:gd name="connsiteY1182" fmla="*/ 1098233 h 1161573"/>
                <a:gd name="connsiteX1183" fmla="*/ 1026795 w 1502283"/>
                <a:gd name="connsiteY1183" fmla="*/ 1093946 h 1161573"/>
                <a:gd name="connsiteX1184" fmla="*/ 1028129 w 1502283"/>
                <a:gd name="connsiteY1184" fmla="*/ 1092136 h 1161573"/>
                <a:gd name="connsiteX1185" fmla="*/ 1030319 w 1502283"/>
                <a:gd name="connsiteY1185" fmla="*/ 1096709 h 1161573"/>
                <a:gd name="connsiteX1186" fmla="*/ 1031653 w 1502283"/>
                <a:gd name="connsiteY1186" fmla="*/ 1094899 h 1161573"/>
                <a:gd name="connsiteX1187" fmla="*/ 1030891 w 1502283"/>
                <a:gd name="connsiteY1187" fmla="*/ 1088612 h 1161573"/>
                <a:gd name="connsiteX1188" fmla="*/ 1032510 w 1502283"/>
                <a:gd name="connsiteY1188" fmla="*/ 1088422 h 1161573"/>
                <a:gd name="connsiteX1189" fmla="*/ 1031938 w 1502283"/>
                <a:gd name="connsiteY1189" fmla="*/ 1083659 h 1161573"/>
                <a:gd name="connsiteX1190" fmla="*/ 1034891 w 1502283"/>
                <a:gd name="connsiteY1190" fmla="*/ 1081659 h 1161573"/>
                <a:gd name="connsiteX1191" fmla="*/ 1034129 w 1502283"/>
                <a:gd name="connsiteY1191" fmla="*/ 1075373 h 1161573"/>
                <a:gd name="connsiteX1192" fmla="*/ 1035463 w 1502283"/>
                <a:gd name="connsiteY1192" fmla="*/ 1073563 h 1161573"/>
                <a:gd name="connsiteX1193" fmla="*/ 1038987 w 1502283"/>
                <a:gd name="connsiteY1193" fmla="*/ 1076325 h 1161573"/>
                <a:gd name="connsiteX1194" fmla="*/ 1042130 w 1502283"/>
                <a:gd name="connsiteY1194" fmla="*/ 1075944 h 1161573"/>
                <a:gd name="connsiteX1195" fmla="*/ 1041940 w 1502283"/>
                <a:gd name="connsiteY1195" fmla="*/ 1074325 h 1161573"/>
                <a:gd name="connsiteX1196" fmla="*/ 1043083 w 1502283"/>
                <a:gd name="connsiteY1196" fmla="*/ 1070991 h 1161573"/>
                <a:gd name="connsiteX1197" fmla="*/ 1046607 w 1502283"/>
                <a:gd name="connsiteY1197" fmla="*/ 1073753 h 1161573"/>
                <a:gd name="connsiteX1198" fmla="*/ 1049179 w 1502283"/>
                <a:gd name="connsiteY1198" fmla="*/ 1068610 h 1161573"/>
                <a:gd name="connsiteX1199" fmla="*/ 1044416 w 1502283"/>
                <a:gd name="connsiteY1199" fmla="*/ 1069181 h 1161573"/>
                <a:gd name="connsiteX1200" fmla="*/ 1045750 w 1502283"/>
                <a:gd name="connsiteY1200" fmla="*/ 1067372 h 1161573"/>
                <a:gd name="connsiteX1201" fmla="*/ 1042416 w 1502283"/>
                <a:gd name="connsiteY1201" fmla="*/ 1066228 h 1161573"/>
                <a:gd name="connsiteX1202" fmla="*/ 1043749 w 1502283"/>
                <a:gd name="connsiteY1202" fmla="*/ 1064419 h 1161573"/>
                <a:gd name="connsiteX1203" fmla="*/ 1053179 w 1502283"/>
                <a:gd name="connsiteY1203" fmla="*/ 1063181 h 1161573"/>
                <a:gd name="connsiteX1204" fmla="*/ 1048036 w 1502283"/>
                <a:gd name="connsiteY1204" fmla="*/ 1060609 h 1161573"/>
                <a:gd name="connsiteX1205" fmla="*/ 1049179 w 1502283"/>
                <a:gd name="connsiteY1205" fmla="*/ 1057275 h 1161573"/>
                <a:gd name="connsiteX1206" fmla="*/ 1047845 w 1502283"/>
                <a:gd name="connsiteY1206" fmla="*/ 1059085 h 1161573"/>
                <a:gd name="connsiteX1207" fmla="*/ 1046036 w 1502283"/>
                <a:gd name="connsiteY1207" fmla="*/ 1057751 h 1161573"/>
                <a:gd name="connsiteX1208" fmla="*/ 1047179 w 1502283"/>
                <a:gd name="connsiteY1208" fmla="*/ 1054418 h 1161573"/>
                <a:gd name="connsiteX1209" fmla="*/ 1048988 w 1502283"/>
                <a:gd name="connsiteY1209" fmla="*/ 1055751 h 1161573"/>
                <a:gd name="connsiteX1210" fmla="*/ 1047179 w 1502283"/>
                <a:gd name="connsiteY1210" fmla="*/ 1054418 h 1161573"/>
                <a:gd name="connsiteX1211" fmla="*/ 1048131 w 1502283"/>
                <a:gd name="connsiteY1211" fmla="*/ 1049465 h 1161573"/>
                <a:gd name="connsiteX1212" fmla="*/ 1049941 w 1502283"/>
                <a:gd name="connsiteY1212" fmla="*/ 1050798 h 1161573"/>
                <a:gd name="connsiteX1213" fmla="*/ 1051370 w 1502283"/>
                <a:gd name="connsiteY1213" fmla="*/ 1048988 h 1161573"/>
                <a:gd name="connsiteX1214" fmla="*/ 1049560 w 1502283"/>
                <a:gd name="connsiteY1214" fmla="*/ 1047655 h 1161573"/>
                <a:gd name="connsiteX1215" fmla="*/ 1048988 w 1502283"/>
                <a:gd name="connsiteY1215" fmla="*/ 1042892 h 1161573"/>
                <a:gd name="connsiteX1216" fmla="*/ 1051941 w 1502283"/>
                <a:gd name="connsiteY1216" fmla="*/ 1040892 h 1161573"/>
                <a:gd name="connsiteX1217" fmla="*/ 1048798 w 1502283"/>
                <a:gd name="connsiteY1217" fmla="*/ 1041273 h 1161573"/>
                <a:gd name="connsiteX1218" fmla="*/ 1048226 w 1502283"/>
                <a:gd name="connsiteY1218" fmla="*/ 1036510 h 1161573"/>
                <a:gd name="connsiteX1219" fmla="*/ 1046607 w 1502283"/>
                <a:gd name="connsiteY1219" fmla="*/ 1036701 h 1161573"/>
                <a:gd name="connsiteX1220" fmla="*/ 1044988 w 1502283"/>
                <a:gd name="connsiteY1220" fmla="*/ 1036892 h 1161573"/>
                <a:gd name="connsiteX1221" fmla="*/ 1049369 w 1502283"/>
                <a:gd name="connsiteY1221" fmla="*/ 1033177 h 1161573"/>
                <a:gd name="connsiteX1222" fmla="*/ 1052703 w 1502283"/>
                <a:gd name="connsiteY1222" fmla="*/ 1034320 h 1161573"/>
                <a:gd name="connsiteX1223" fmla="*/ 1052322 w 1502283"/>
                <a:gd name="connsiteY1223" fmla="*/ 1031176 h 1161573"/>
                <a:gd name="connsiteX1224" fmla="*/ 1055656 w 1502283"/>
                <a:gd name="connsiteY1224" fmla="*/ 1032319 h 1161573"/>
                <a:gd name="connsiteX1225" fmla="*/ 1056799 w 1502283"/>
                <a:gd name="connsiteY1225" fmla="*/ 1028986 h 1161573"/>
                <a:gd name="connsiteX1226" fmla="*/ 1057751 w 1502283"/>
                <a:gd name="connsiteY1226" fmla="*/ 1024033 h 1161573"/>
                <a:gd name="connsiteX1227" fmla="*/ 1059561 w 1502283"/>
                <a:gd name="connsiteY1227" fmla="*/ 1025366 h 1161573"/>
                <a:gd name="connsiteX1228" fmla="*/ 1058989 w 1502283"/>
                <a:gd name="connsiteY1228" fmla="*/ 1020604 h 1161573"/>
                <a:gd name="connsiteX1229" fmla="*/ 1065276 w 1502283"/>
                <a:gd name="connsiteY1229" fmla="*/ 1019842 h 1161573"/>
                <a:gd name="connsiteX1230" fmla="*/ 1064514 w 1502283"/>
                <a:gd name="connsiteY1230" fmla="*/ 1013555 h 1161573"/>
                <a:gd name="connsiteX1231" fmla="*/ 1066895 w 1502283"/>
                <a:gd name="connsiteY1231" fmla="*/ 1006793 h 1161573"/>
                <a:gd name="connsiteX1232" fmla="*/ 1072801 w 1502283"/>
                <a:gd name="connsiteY1232" fmla="*/ 1002792 h 1161573"/>
                <a:gd name="connsiteX1233" fmla="*/ 1075373 w 1502283"/>
                <a:gd name="connsiteY1233" fmla="*/ 997649 h 1161573"/>
                <a:gd name="connsiteX1234" fmla="*/ 1079659 w 1502283"/>
                <a:gd name="connsiteY1234" fmla="*/ 993934 h 1161573"/>
                <a:gd name="connsiteX1235" fmla="*/ 1079468 w 1502283"/>
                <a:gd name="connsiteY1235" fmla="*/ 992315 h 1161573"/>
                <a:gd name="connsiteX1236" fmla="*/ 1076706 w 1502283"/>
                <a:gd name="connsiteY1236" fmla="*/ 995839 h 1161573"/>
                <a:gd name="connsiteX1237" fmla="*/ 1074896 w 1502283"/>
                <a:gd name="connsiteY1237" fmla="*/ 994505 h 1161573"/>
                <a:gd name="connsiteX1238" fmla="*/ 1078230 w 1502283"/>
                <a:gd name="connsiteY1238" fmla="*/ 982885 h 1161573"/>
                <a:gd name="connsiteX1239" fmla="*/ 1078039 w 1502283"/>
                <a:gd name="connsiteY1239" fmla="*/ 981266 h 1161573"/>
                <a:gd name="connsiteX1240" fmla="*/ 1083183 w 1502283"/>
                <a:gd name="connsiteY1240" fmla="*/ 983837 h 1161573"/>
                <a:gd name="connsiteX1241" fmla="*/ 1084326 w 1502283"/>
                <a:gd name="connsiteY1241" fmla="*/ 980503 h 1161573"/>
                <a:gd name="connsiteX1242" fmla="*/ 1086136 w 1502283"/>
                <a:gd name="connsiteY1242" fmla="*/ 981837 h 1161573"/>
                <a:gd name="connsiteX1243" fmla="*/ 1087469 w 1502283"/>
                <a:gd name="connsiteY1243" fmla="*/ 980027 h 1161573"/>
                <a:gd name="connsiteX1244" fmla="*/ 1085660 w 1502283"/>
                <a:gd name="connsiteY1244" fmla="*/ 978694 h 1161573"/>
                <a:gd name="connsiteX1245" fmla="*/ 1090613 w 1502283"/>
                <a:gd name="connsiteY1245" fmla="*/ 979646 h 1161573"/>
                <a:gd name="connsiteX1246" fmla="*/ 1093565 w 1502283"/>
                <a:gd name="connsiteY1246" fmla="*/ 977646 h 1161573"/>
                <a:gd name="connsiteX1247" fmla="*/ 1088422 w 1502283"/>
                <a:gd name="connsiteY1247" fmla="*/ 975074 h 1161573"/>
                <a:gd name="connsiteX1248" fmla="*/ 1088231 w 1502283"/>
                <a:gd name="connsiteY1248" fmla="*/ 973455 h 1161573"/>
                <a:gd name="connsiteX1249" fmla="*/ 1090041 w 1502283"/>
                <a:gd name="connsiteY1249" fmla="*/ 974789 h 1161573"/>
                <a:gd name="connsiteX1250" fmla="*/ 1094804 w 1502283"/>
                <a:gd name="connsiteY1250" fmla="*/ 974217 h 1161573"/>
                <a:gd name="connsiteX1251" fmla="*/ 1094423 w 1502283"/>
                <a:gd name="connsiteY1251" fmla="*/ 971074 h 1161573"/>
                <a:gd name="connsiteX1252" fmla="*/ 1095756 w 1502283"/>
                <a:gd name="connsiteY1252" fmla="*/ 969264 h 1161573"/>
                <a:gd name="connsiteX1253" fmla="*/ 1097566 w 1502283"/>
                <a:gd name="connsiteY1253" fmla="*/ 970598 h 1161573"/>
                <a:gd name="connsiteX1254" fmla="*/ 1097185 w 1502283"/>
                <a:gd name="connsiteY1254" fmla="*/ 967454 h 1161573"/>
                <a:gd name="connsiteX1255" fmla="*/ 1098804 w 1502283"/>
                <a:gd name="connsiteY1255" fmla="*/ 967264 h 1161573"/>
                <a:gd name="connsiteX1256" fmla="*/ 1103186 w 1502283"/>
                <a:gd name="connsiteY1256" fmla="*/ 963549 h 1161573"/>
                <a:gd name="connsiteX1257" fmla="*/ 1105186 w 1502283"/>
                <a:gd name="connsiteY1257" fmla="*/ 966502 h 1161573"/>
                <a:gd name="connsiteX1258" fmla="*/ 1112044 w 1502283"/>
                <a:gd name="connsiteY1258" fmla="*/ 957643 h 1161573"/>
                <a:gd name="connsiteX1259" fmla="*/ 1108710 w 1502283"/>
                <a:gd name="connsiteY1259" fmla="*/ 956501 h 1161573"/>
                <a:gd name="connsiteX1260" fmla="*/ 1109472 w 1502283"/>
                <a:gd name="connsiteY1260" fmla="*/ 950024 h 1161573"/>
                <a:gd name="connsiteX1261" fmla="*/ 1112234 w 1502283"/>
                <a:gd name="connsiteY1261" fmla="*/ 946499 h 1161573"/>
                <a:gd name="connsiteX1262" fmla="*/ 1113854 w 1502283"/>
                <a:gd name="connsiteY1262" fmla="*/ 946309 h 1161573"/>
                <a:gd name="connsiteX1263" fmla="*/ 1111853 w 1502283"/>
                <a:gd name="connsiteY1263" fmla="*/ 943356 h 1161573"/>
                <a:gd name="connsiteX1264" fmla="*/ 1113473 w 1502283"/>
                <a:gd name="connsiteY1264" fmla="*/ 943166 h 1161573"/>
                <a:gd name="connsiteX1265" fmla="*/ 1114997 w 1502283"/>
                <a:gd name="connsiteY1265" fmla="*/ 942975 h 1161573"/>
                <a:gd name="connsiteX1266" fmla="*/ 1114615 w 1502283"/>
                <a:gd name="connsiteY1266" fmla="*/ 939832 h 1161573"/>
                <a:gd name="connsiteX1267" fmla="*/ 1117759 w 1502283"/>
                <a:gd name="connsiteY1267" fmla="*/ 939451 h 1161573"/>
                <a:gd name="connsiteX1268" fmla="*/ 1117378 w 1502283"/>
                <a:gd name="connsiteY1268" fmla="*/ 936308 h 1161573"/>
                <a:gd name="connsiteX1269" fmla="*/ 1120140 w 1502283"/>
                <a:gd name="connsiteY1269" fmla="*/ 932783 h 1161573"/>
                <a:gd name="connsiteX1270" fmla="*/ 1121093 w 1502283"/>
                <a:gd name="connsiteY1270" fmla="*/ 927830 h 1161573"/>
                <a:gd name="connsiteX1271" fmla="*/ 1118521 w 1502283"/>
                <a:gd name="connsiteY1271" fmla="*/ 920115 h 1161573"/>
                <a:gd name="connsiteX1272" fmla="*/ 1120712 w 1502283"/>
                <a:gd name="connsiteY1272" fmla="*/ 911828 h 1161573"/>
                <a:gd name="connsiteX1273" fmla="*/ 1118902 w 1502283"/>
                <a:gd name="connsiteY1273" fmla="*/ 910495 h 1161573"/>
                <a:gd name="connsiteX1274" fmla="*/ 1123188 w 1502283"/>
                <a:gd name="connsiteY1274" fmla="*/ 906780 h 1161573"/>
                <a:gd name="connsiteX1275" fmla="*/ 1121188 w 1502283"/>
                <a:gd name="connsiteY1275" fmla="*/ 903827 h 1161573"/>
                <a:gd name="connsiteX1276" fmla="*/ 1124331 w 1502283"/>
                <a:gd name="connsiteY1276" fmla="*/ 903446 h 1161573"/>
                <a:gd name="connsiteX1277" fmla="*/ 1126903 w 1502283"/>
                <a:gd name="connsiteY1277" fmla="*/ 898303 h 1161573"/>
                <a:gd name="connsiteX1278" fmla="*/ 1138714 w 1502283"/>
                <a:gd name="connsiteY1278" fmla="*/ 903160 h 1161573"/>
                <a:gd name="connsiteX1279" fmla="*/ 1146620 w 1502283"/>
                <a:gd name="connsiteY1279" fmla="*/ 902113 h 1161573"/>
                <a:gd name="connsiteX1280" fmla="*/ 1149763 w 1502283"/>
                <a:gd name="connsiteY1280" fmla="*/ 901732 h 1161573"/>
                <a:gd name="connsiteX1281" fmla="*/ 1150715 w 1502283"/>
                <a:gd name="connsiteY1281" fmla="*/ 896779 h 1161573"/>
                <a:gd name="connsiteX1282" fmla="*/ 1153668 w 1502283"/>
                <a:gd name="connsiteY1282" fmla="*/ 894778 h 1161573"/>
                <a:gd name="connsiteX1283" fmla="*/ 1153668 w 1502283"/>
                <a:gd name="connsiteY1283" fmla="*/ 894778 h 1161573"/>
                <a:gd name="connsiteX1284" fmla="*/ 1150525 w 1502283"/>
                <a:gd name="connsiteY1284" fmla="*/ 895159 h 1161573"/>
                <a:gd name="connsiteX1285" fmla="*/ 1151287 w 1502283"/>
                <a:gd name="connsiteY1285" fmla="*/ 888683 h 1161573"/>
                <a:gd name="connsiteX1286" fmla="*/ 1153287 w 1502283"/>
                <a:gd name="connsiteY1286" fmla="*/ 891635 h 1161573"/>
                <a:gd name="connsiteX1287" fmla="*/ 1157764 w 1502283"/>
                <a:gd name="connsiteY1287" fmla="*/ 889444 h 1161573"/>
                <a:gd name="connsiteX1288" fmla="*/ 1155764 w 1502283"/>
                <a:gd name="connsiteY1288" fmla="*/ 886492 h 1161573"/>
                <a:gd name="connsiteX1289" fmla="*/ 1160716 w 1502283"/>
                <a:gd name="connsiteY1289" fmla="*/ 887444 h 1161573"/>
                <a:gd name="connsiteX1290" fmla="*/ 1160526 w 1502283"/>
                <a:gd name="connsiteY1290" fmla="*/ 885825 h 1161573"/>
                <a:gd name="connsiteX1291" fmla="*/ 1158526 w 1502283"/>
                <a:gd name="connsiteY1291" fmla="*/ 882872 h 1161573"/>
                <a:gd name="connsiteX1292" fmla="*/ 1161669 w 1502283"/>
                <a:gd name="connsiteY1292" fmla="*/ 882491 h 1161573"/>
                <a:gd name="connsiteX1293" fmla="*/ 1164622 w 1502283"/>
                <a:gd name="connsiteY1293" fmla="*/ 880491 h 1161573"/>
                <a:gd name="connsiteX1294" fmla="*/ 1162622 w 1502283"/>
                <a:gd name="connsiteY1294" fmla="*/ 877538 h 1161573"/>
                <a:gd name="connsiteX1295" fmla="*/ 1165574 w 1502283"/>
                <a:gd name="connsiteY1295" fmla="*/ 875538 h 1161573"/>
                <a:gd name="connsiteX1296" fmla="*/ 1167194 w 1502283"/>
                <a:gd name="connsiteY1296" fmla="*/ 875348 h 1161573"/>
                <a:gd name="connsiteX1297" fmla="*/ 1166241 w 1502283"/>
                <a:gd name="connsiteY1297" fmla="*/ 880301 h 1161573"/>
                <a:gd name="connsiteX1298" fmla="*/ 1169384 w 1502283"/>
                <a:gd name="connsiteY1298" fmla="*/ 879919 h 1161573"/>
                <a:gd name="connsiteX1299" fmla="*/ 1169003 w 1502283"/>
                <a:gd name="connsiteY1299" fmla="*/ 876776 h 1161573"/>
                <a:gd name="connsiteX1300" fmla="*/ 1166813 w 1502283"/>
                <a:gd name="connsiteY1300" fmla="*/ 872204 h 1161573"/>
                <a:gd name="connsiteX1301" fmla="*/ 1166431 w 1502283"/>
                <a:gd name="connsiteY1301" fmla="*/ 869061 h 1161573"/>
                <a:gd name="connsiteX1302" fmla="*/ 1167765 w 1502283"/>
                <a:gd name="connsiteY1302" fmla="*/ 867251 h 1161573"/>
                <a:gd name="connsiteX1303" fmla="*/ 1174528 w 1502283"/>
                <a:gd name="connsiteY1303" fmla="*/ 869633 h 1161573"/>
                <a:gd name="connsiteX1304" fmla="*/ 1173956 w 1502283"/>
                <a:gd name="connsiteY1304" fmla="*/ 864870 h 1161573"/>
                <a:gd name="connsiteX1305" fmla="*/ 1179671 w 1502283"/>
                <a:gd name="connsiteY1305" fmla="*/ 859346 h 1161573"/>
                <a:gd name="connsiteX1306" fmla="*/ 1182814 w 1502283"/>
                <a:gd name="connsiteY1306" fmla="*/ 858965 h 1161573"/>
                <a:gd name="connsiteX1307" fmla="*/ 1182814 w 1502283"/>
                <a:gd name="connsiteY1307" fmla="*/ 858965 h 1161573"/>
                <a:gd name="connsiteX1308" fmla="*/ 1185958 w 1502283"/>
                <a:gd name="connsiteY1308" fmla="*/ 858584 h 1161573"/>
                <a:gd name="connsiteX1309" fmla="*/ 1187577 w 1502283"/>
                <a:gd name="connsiteY1309" fmla="*/ 858393 h 1161573"/>
                <a:gd name="connsiteX1310" fmla="*/ 1187768 w 1502283"/>
                <a:gd name="connsiteY1310" fmla="*/ 860012 h 1161573"/>
                <a:gd name="connsiteX1311" fmla="*/ 1189577 w 1502283"/>
                <a:gd name="connsiteY1311" fmla="*/ 861346 h 1161573"/>
                <a:gd name="connsiteX1312" fmla="*/ 1190911 w 1502283"/>
                <a:gd name="connsiteY1312" fmla="*/ 859536 h 1161573"/>
                <a:gd name="connsiteX1313" fmla="*/ 1196054 w 1502283"/>
                <a:gd name="connsiteY1313" fmla="*/ 862108 h 1161573"/>
                <a:gd name="connsiteX1314" fmla="*/ 1200340 w 1502283"/>
                <a:gd name="connsiteY1314" fmla="*/ 858393 h 1161573"/>
                <a:gd name="connsiteX1315" fmla="*/ 1202531 w 1502283"/>
                <a:gd name="connsiteY1315" fmla="*/ 862965 h 1161573"/>
                <a:gd name="connsiteX1316" fmla="*/ 1205865 w 1502283"/>
                <a:gd name="connsiteY1316" fmla="*/ 864108 h 1161573"/>
                <a:gd name="connsiteX1317" fmla="*/ 1209389 w 1502283"/>
                <a:gd name="connsiteY1317" fmla="*/ 866870 h 1161573"/>
                <a:gd name="connsiteX1318" fmla="*/ 1217295 w 1502283"/>
                <a:gd name="connsiteY1318" fmla="*/ 865823 h 1161573"/>
                <a:gd name="connsiteX1319" fmla="*/ 1221296 w 1502283"/>
                <a:gd name="connsiteY1319" fmla="*/ 871728 h 1161573"/>
                <a:gd name="connsiteX1320" fmla="*/ 1227963 w 1502283"/>
                <a:gd name="connsiteY1320" fmla="*/ 874109 h 1161573"/>
                <a:gd name="connsiteX1321" fmla="*/ 1234249 w 1502283"/>
                <a:gd name="connsiteY1321" fmla="*/ 873347 h 1161573"/>
                <a:gd name="connsiteX1322" fmla="*/ 1240727 w 1502283"/>
                <a:gd name="connsiteY1322" fmla="*/ 874109 h 1161573"/>
                <a:gd name="connsiteX1323" fmla="*/ 1243108 w 1502283"/>
                <a:gd name="connsiteY1323" fmla="*/ 880205 h 1161573"/>
                <a:gd name="connsiteX1324" fmla="*/ 1255205 w 1502283"/>
                <a:gd name="connsiteY1324" fmla="*/ 886682 h 1161573"/>
                <a:gd name="connsiteX1325" fmla="*/ 1259205 w 1502283"/>
                <a:gd name="connsiteY1325" fmla="*/ 892588 h 1161573"/>
                <a:gd name="connsiteX1326" fmla="*/ 1264158 w 1502283"/>
                <a:gd name="connsiteY1326" fmla="*/ 893540 h 1161573"/>
                <a:gd name="connsiteX1327" fmla="*/ 1270254 w 1502283"/>
                <a:gd name="connsiteY1327" fmla="*/ 891159 h 1161573"/>
                <a:gd name="connsiteX1328" fmla="*/ 1272064 w 1502283"/>
                <a:gd name="connsiteY1328" fmla="*/ 892493 h 1161573"/>
                <a:gd name="connsiteX1329" fmla="*/ 1274445 w 1502283"/>
                <a:gd name="connsiteY1329" fmla="*/ 898589 h 1161573"/>
                <a:gd name="connsiteX1330" fmla="*/ 1280160 w 1502283"/>
                <a:gd name="connsiteY1330" fmla="*/ 905827 h 1161573"/>
                <a:gd name="connsiteX1331" fmla="*/ 1290638 w 1502283"/>
                <a:gd name="connsiteY1331" fmla="*/ 912495 h 1161573"/>
                <a:gd name="connsiteX1332" fmla="*/ 1292828 w 1502283"/>
                <a:gd name="connsiteY1332" fmla="*/ 917067 h 1161573"/>
                <a:gd name="connsiteX1333" fmla="*/ 1295972 w 1502283"/>
                <a:gd name="connsiteY1333" fmla="*/ 916686 h 1161573"/>
                <a:gd name="connsiteX1334" fmla="*/ 1302068 w 1502283"/>
                <a:gd name="connsiteY1334" fmla="*/ 927164 h 1161573"/>
                <a:gd name="connsiteX1335" fmla="*/ 1314069 w 1502283"/>
                <a:gd name="connsiteY1335" fmla="*/ 920782 h 1161573"/>
                <a:gd name="connsiteX1336" fmla="*/ 1319213 w 1502283"/>
                <a:gd name="connsiteY1336" fmla="*/ 923353 h 1161573"/>
                <a:gd name="connsiteX1337" fmla="*/ 1322356 w 1502283"/>
                <a:gd name="connsiteY1337" fmla="*/ 922973 h 1161573"/>
                <a:gd name="connsiteX1338" fmla="*/ 1325880 w 1502283"/>
                <a:gd name="connsiteY1338" fmla="*/ 925735 h 1161573"/>
                <a:gd name="connsiteX1339" fmla="*/ 1331405 w 1502283"/>
                <a:gd name="connsiteY1339" fmla="*/ 918591 h 1161573"/>
                <a:gd name="connsiteX1340" fmla="*/ 1338644 w 1502283"/>
                <a:gd name="connsiteY1340" fmla="*/ 912876 h 1161573"/>
                <a:gd name="connsiteX1341" fmla="*/ 1341406 w 1502283"/>
                <a:gd name="connsiteY1341" fmla="*/ 909352 h 1161573"/>
                <a:gd name="connsiteX1342" fmla="*/ 1347883 w 1502283"/>
                <a:gd name="connsiteY1342" fmla="*/ 910114 h 1161573"/>
                <a:gd name="connsiteX1343" fmla="*/ 1350455 w 1502283"/>
                <a:gd name="connsiteY1343" fmla="*/ 904970 h 1161573"/>
                <a:gd name="connsiteX1344" fmla="*/ 1353979 w 1502283"/>
                <a:gd name="connsiteY1344" fmla="*/ 894874 h 1161573"/>
                <a:gd name="connsiteX1345" fmla="*/ 1359313 w 1502283"/>
                <a:gd name="connsiteY1345" fmla="*/ 898969 h 1161573"/>
                <a:gd name="connsiteX1346" fmla="*/ 1358741 w 1502283"/>
                <a:gd name="connsiteY1346" fmla="*/ 894207 h 1161573"/>
                <a:gd name="connsiteX1347" fmla="*/ 1364266 w 1502283"/>
                <a:gd name="connsiteY1347" fmla="*/ 887063 h 1161573"/>
                <a:gd name="connsiteX1348" fmla="*/ 1382649 w 1502283"/>
                <a:gd name="connsiteY1348" fmla="*/ 892778 h 1161573"/>
                <a:gd name="connsiteX1349" fmla="*/ 1387793 w 1502283"/>
                <a:gd name="connsiteY1349" fmla="*/ 895350 h 1161573"/>
                <a:gd name="connsiteX1350" fmla="*/ 1395698 w 1502283"/>
                <a:gd name="connsiteY1350" fmla="*/ 907161 h 1161573"/>
                <a:gd name="connsiteX1351" fmla="*/ 1406747 w 1502283"/>
                <a:gd name="connsiteY1351" fmla="*/ 918591 h 1161573"/>
                <a:gd name="connsiteX1352" fmla="*/ 1405128 w 1502283"/>
                <a:gd name="connsiteY1352" fmla="*/ 918782 h 1161573"/>
                <a:gd name="connsiteX1353" fmla="*/ 1406938 w 1502283"/>
                <a:gd name="connsiteY1353" fmla="*/ 920115 h 1161573"/>
                <a:gd name="connsiteX1354" fmla="*/ 1412462 w 1502283"/>
                <a:gd name="connsiteY1354" fmla="*/ 925830 h 1161573"/>
                <a:gd name="connsiteX1355" fmla="*/ 1420368 w 1502283"/>
                <a:gd name="connsiteY1355" fmla="*/ 924782 h 1161573"/>
                <a:gd name="connsiteX1356" fmla="*/ 1427416 w 1502283"/>
                <a:gd name="connsiteY1356" fmla="*/ 917448 h 1161573"/>
                <a:gd name="connsiteX1357" fmla="*/ 1435703 w 1502283"/>
                <a:gd name="connsiteY1357" fmla="*/ 919639 h 1161573"/>
                <a:gd name="connsiteX1358" fmla="*/ 1442371 w 1502283"/>
                <a:gd name="connsiteY1358" fmla="*/ 909161 h 1161573"/>
                <a:gd name="connsiteX1359" fmla="*/ 1450657 w 1502283"/>
                <a:gd name="connsiteY1359" fmla="*/ 911352 h 1161573"/>
                <a:gd name="connsiteX1360" fmla="*/ 1455230 w 1502283"/>
                <a:gd name="connsiteY1360" fmla="*/ 909161 h 1161573"/>
                <a:gd name="connsiteX1361" fmla="*/ 1463326 w 1502283"/>
                <a:gd name="connsiteY1361" fmla="*/ 909733 h 1161573"/>
                <a:gd name="connsiteX1362" fmla="*/ 1467612 w 1502283"/>
                <a:gd name="connsiteY1362" fmla="*/ 906018 h 1161573"/>
                <a:gd name="connsiteX1363" fmla="*/ 1469327 w 1502283"/>
                <a:gd name="connsiteY1363" fmla="*/ 894588 h 1161573"/>
                <a:gd name="connsiteX1364" fmla="*/ 1472089 w 1502283"/>
                <a:gd name="connsiteY1364" fmla="*/ 891064 h 1161573"/>
                <a:gd name="connsiteX1365" fmla="*/ 1484757 w 1502283"/>
                <a:gd name="connsiteY1365" fmla="*/ 889444 h 1161573"/>
                <a:gd name="connsiteX1366" fmla="*/ 1485519 w 1502283"/>
                <a:gd name="connsiteY1366" fmla="*/ 882968 h 1161573"/>
                <a:gd name="connsiteX1367" fmla="*/ 1491044 w 1502283"/>
                <a:gd name="connsiteY1367" fmla="*/ 875824 h 1161573"/>
                <a:gd name="connsiteX1368" fmla="*/ 1497330 w 1502283"/>
                <a:gd name="connsiteY1368" fmla="*/ 875062 h 1161573"/>
                <a:gd name="connsiteX1369" fmla="*/ 1502283 w 1502283"/>
                <a:gd name="connsiteY1369" fmla="*/ 876014 h 1161573"/>
                <a:gd name="connsiteX1370" fmla="*/ 1495139 w 1502283"/>
                <a:gd name="connsiteY1370" fmla="*/ 857726 h 1161573"/>
                <a:gd name="connsiteX1371" fmla="*/ 1495139 w 1502283"/>
                <a:gd name="connsiteY1371" fmla="*/ 857726 h 116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</a:cxnLst>
              <a:rect l="l" t="t" r="r" b="b"/>
              <a:pathLst>
                <a:path w="1502283" h="1161573">
                  <a:moveTo>
                    <a:pt x="1496282" y="857155"/>
                  </a:moveTo>
                  <a:lnTo>
                    <a:pt x="1495711" y="852392"/>
                  </a:lnTo>
                  <a:lnTo>
                    <a:pt x="1497330" y="852202"/>
                  </a:lnTo>
                  <a:lnTo>
                    <a:pt x="1495520" y="850868"/>
                  </a:lnTo>
                  <a:lnTo>
                    <a:pt x="1498282" y="847344"/>
                  </a:lnTo>
                  <a:lnTo>
                    <a:pt x="1490567" y="849916"/>
                  </a:lnTo>
                  <a:lnTo>
                    <a:pt x="1486853" y="845630"/>
                  </a:lnTo>
                  <a:lnTo>
                    <a:pt x="1487996" y="842296"/>
                  </a:lnTo>
                  <a:lnTo>
                    <a:pt x="1481899" y="831818"/>
                  </a:lnTo>
                  <a:lnTo>
                    <a:pt x="1469803" y="812483"/>
                  </a:lnTo>
                  <a:lnTo>
                    <a:pt x="1458563" y="812292"/>
                  </a:lnTo>
                  <a:lnTo>
                    <a:pt x="1442371" y="798290"/>
                  </a:lnTo>
                  <a:lnTo>
                    <a:pt x="1437608" y="798862"/>
                  </a:lnTo>
                  <a:lnTo>
                    <a:pt x="1433513" y="804196"/>
                  </a:lnTo>
                  <a:lnTo>
                    <a:pt x="1424845" y="798862"/>
                  </a:lnTo>
                  <a:lnTo>
                    <a:pt x="1432274" y="781907"/>
                  </a:lnTo>
                  <a:lnTo>
                    <a:pt x="1431703" y="777145"/>
                  </a:lnTo>
                  <a:lnTo>
                    <a:pt x="1434465" y="773621"/>
                  </a:lnTo>
                  <a:lnTo>
                    <a:pt x="1425797" y="768287"/>
                  </a:lnTo>
                  <a:lnTo>
                    <a:pt x="1411796" y="758857"/>
                  </a:lnTo>
                  <a:lnTo>
                    <a:pt x="1402937" y="764762"/>
                  </a:lnTo>
                  <a:lnTo>
                    <a:pt x="1400937" y="761809"/>
                  </a:lnTo>
                  <a:lnTo>
                    <a:pt x="1394365" y="748189"/>
                  </a:lnTo>
                  <a:lnTo>
                    <a:pt x="1395413" y="756095"/>
                  </a:lnTo>
                  <a:lnTo>
                    <a:pt x="1381601" y="761048"/>
                  </a:lnTo>
                  <a:lnTo>
                    <a:pt x="1375886" y="753809"/>
                  </a:lnTo>
                  <a:lnTo>
                    <a:pt x="1372933" y="755809"/>
                  </a:lnTo>
                  <a:lnTo>
                    <a:pt x="1372743" y="754190"/>
                  </a:lnTo>
                  <a:lnTo>
                    <a:pt x="1366838" y="758190"/>
                  </a:lnTo>
                  <a:lnTo>
                    <a:pt x="1365028" y="756857"/>
                  </a:lnTo>
                  <a:lnTo>
                    <a:pt x="1362265" y="760381"/>
                  </a:lnTo>
                  <a:lnTo>
                    <a:pt x="1360456" y="759047"/>
                  </a:lnTo>
                  <a:lnTo>
                    <a:pt x="1348645" y="766953"/>
                  </a:lnTo>
                  <a:lnTo>
                    <a:pt x="1339596" y="758476"/>
                  </a:lnTo>
                  <a:lnTo>
                    <a:pt x="1337977" y="758666"/>
                  </a:lnTo>
                  <a:lnTo>
                    <a:pt x="1328642" y="748665"/>
                  </a:lnTo>
                  <a:lnTo>
                    <a:pt x="1321689" y="744760"/>
                  </a:lnTo>
                  <a:lnTo>
                    <a:pt x="1320260" y="733711"/>
                  </a:lnTo>
                  <a:lnTo>
                    <a:pt x="1309402" y="736663"/>
                  </a:lnTo>
                  <a:lnTo>
                    <a:pt x="1307021" y="743331"/>
                  </a:lnTo>
                  <a:lnTo>
                    <a:pt x="1304830" y="738759"/>
                  </a:lnTo>
                  <a:lnTo>
                    <a:pt x="1303496" y="740569"/>
                  </a:lnTo>
                  <a:lnTo>
                    <a:pt x="1300163" y="739426"/>
                  </a:lnTo>
                  <a:lnTo>
                    <a:pt x="1298829" y="741236"/>
                  </a:lnTo>
                  <a:lnTo>
                    <a:pt x="1292162" y="738854"/>
                  </a:lnTo>
                  <a:lnTo>
                    <a:pt x="1290352" y="737521"/>
                  </a:lnTo>
                  <a:lnTo>
                    <a:pt x="1290161" y="735901"/>
                  </a:lnTo>
                  <a:lnTo>
                    <a:pt x="1291304" y="732568"/>
                  </a:lnTo>
                  <a:lnTo>
                    <a:pt x="1289495" y="731234"/>
                  </a:lnTo>
                  <a:lnTo>
                    <a:pt x="1293590" y="725900"/>
                  </a:lnTo>
                  <a:lnTo>
                    <a:pt x="1293209" y="722757"/>
                  </a:lnTo>
                  <a:lnTo>
                    <a:pt x="1294352" y="719423"/>
                  </a:lnTo>
                  <a:lnTo>
                    <a:pt x="1292352" y="716471"/>
                  </a:lnTo>
                  <a:lnTo>
                    <a:pt x="1294543" y="708184"/>
                  </a:lnTo>
                  <a:lnTo>
                    <a:pt x="1289209" y="704088"/>
                  </a:lnTo>
                  <a:lnTo>
                    <a:pt x="1288066" y="707422"/>
                  </a:lnTo>
                  <a:lnTo>
                    <a:pt x="1281113" y="703517"/>
                  </a:lnTo>
                  <a:lnTo>
                    <a:pt x="1282256" y="700183"/>
                  </a:lnTo>
                  <a:lnTo>
                    <a:pt x="1276922" y="696087"/>
                  </a:lnTo>
                  <a:lnTo>
                    <a:pt x="1269397" y="700278"/>
                  </a:lnTo>
                  <a:lnTo>
                    <a:pt x="1266063" y="699135"/>
                  </a:lnTo>
                  <a:lnTo>
                    <a:pt x="1259777" y="699897"/>
                  </a:lnTo>
                  <a:lnTo>
                    <a:pt x="1257586" y="695325"/>
                  </a:lnTo>
                  <a:lnTo>
                    <a:pt x="1254252" y="694182"/>
                  </a:lnTo>
                  <a:lnTo>
                    <a:pt x="1252633" y="694373"/>
                  </a:lnTo>
                  <a:lnTo>
                    <a:pt x="1251299" y="696182"/>
                  </a:lnTo>
                  <a:lnTo>
                    <a:pt x="1244822" y="695420"/>
                  </a:lnTo>
                  <a:lnTo>
                    <a:pt x="1245013" y="697040"/>
                  </a:lnTo>
                  <a:lnTo>
                    <a:pt x="1241489" y="694277"/>
                  </a:lnTo>
                  <a:lnTo>
                    <a:pt x="1238726" y="697801"/>
                  </a:lnTo>
                  <a:lnTo>
                    <a:pt x="1233964" y="698373"/>
                  </a:lnTo>
                  <a:lnTo>
                    <a:pt x="1233964" y="685514"/>
                  </a:lnTo>
                  <a:cubicBezTo>
                    <a:pt x="1233964" y="685514"/>
                    <a:pt x="1230344" y="682752"/>
                    <a:pt x="1230344" y="682752"/>
                  </a:cubicBezTo>
                  <a:lnTo>
                    <a:pt x="1227963" y="676656"/>
                  </a:lnTo>
                  <a:lnTo>
                    <a:pt x="1223010" y="675704"/>
                  </a:lnTo>
                  <a:lnTo>
                    <a:pt x="1218724" y="679418"/>
                  </a:lnTo>
                  <a:lnTo>
                    <a:pt x="1217105" y="679609"/>
                  </a:lnTo>
                  <a:lnTo>
                    <a:pt x="1215866" y="670179"/>
                  </a:lnTo>
                  <a:lnTo>
                    <a:pt x="1199674" y="669036"/>
                  </a:lnTo>
                  <a:lnTo>
                    <a:pt x="1197293" y="675704"/>
                  </a:lnTo>
                  <a:lnTo>
                    <a:pt x="1194340" y="677704"/>
                  </a:lnTo>
                  <a:lnTo>
                    <a:pt x="1192339" y="674751"/>
                  </a:lnTo>
                  <a:lnTo>
                    <a:pt x="1193482" y="671417"/>
                  </a:lnTo>
                  <a:lnTo>
                    <a:pt x="1195864" y="664750"/>
                  </a:lnTo>
                  <a:lnTo>
                    <a:pt x="1195483" y="661607"/>
                  </a:lnTo>
                  <a:lnTo>
                    <a:pt x="1199579" y="656273"/>
                  </a:lnTo>
                  <a:lnTo>
                    <a:pt x="1200531" y="651320"/>
                  </a:lnTo>
                  <a:lnTo>
                    <a:pt x="1200912" y="641604"/>
                  </a:lnTo>
                  <a:lnTo>
                    <a:pt x="1198721" y="637032"/>
                  </a:lnTo>
                  <a:lnTo>
                    <a:pt x="1198150" y="632270"/>
                  </a:lnTo>
                  <a:lnTo>
                    <a:pt x="1196149" y="629317"/>
                  </a:lnTo>
                  <a:lnTo>
                    <a:pt x="1191197" y="628364"/>
                  </a:lnTo>
                  <a:lnTo>
                    <a:pt x="1187577" y="612743"/>
                  </a:lnTo>
                  <a:lnTo>
                    <a:pt x="1185767" y="611410"/>
                  </a:lnTo>
                  <a:lnTo>
                    <a:pt x="1177671" y="610838"/>
                  </a:lnTo>
                  <a:lnTo>
                    <a:pt x="1167384" y="618554"/>
                  </a:lnTo>
                  <a:lnTo>
                    <a:pt x="1156525" y="621506"/>
                  </a:lnTo>
                  <a:lnTo>
                    <a:pt x="1151954" y="623697"/>
                  </a:lnTo>
                  <a:lnTo>
                    <a:pt x="1148620" y="622554"/>
                  </a:lnTo>
                  <a:lnTo>
                    <a:pt x="1145667" y="624554"/>
                  </a:lnTo>
                  <a:lnTo>
                    <a:pt x="1142524" y="624935"/>
                  </a:lnTo>
                  <a:lnTo>
                    <a:pt x="1138619" y="631888"/>
                  </a:lnTo>
                  <a:lnTo>
                    <a:pt x="1135094" y="629126"/>
                  </a:lnTo>
                  <a:lnTo>
                    <a:pt x="1130618" y="631317"/>
                  </a:lnTo>
                  <a:lnTo>
                    <a:pt x="1114235" y="628555"/>
                  </a:lnTo>
                  <a:lnTo>
                    <a:pt x="1120140" y="624554"/>
                  </a:lnTo>
                  <a:lnTo>
                    <a:pt x="1120902" y="618077"/>
                  </a:lnTo>
                  <a:lnTo>
                    <a:pt x="1118711" y="613505"/>
                  </a:lnTo>
                  <a:lnTo>
                    <a:pt x="1117282" y="615315"/>
                  </a:lnTo>
                  <a:lnTo>
                    <a:pt x="1115092" y="597980"/>
                  </a:lnTo>
                  <a:lnTo>
                    <a:pt x="1126522" y="599694"/>
                  </a:lnTo>
                  <a:lnTo>
                    <a:pt x="1129856" y="600837"/>
                  </a:lnTo>
                  <a:lnTo>
                    <a:pt x="1134142" y="597122"/>
                  </a:lnTo>
                  <a:lnTo>
                    <a:pt x="1133094" y="589217"/>
                  </a:lnTo>
                  <a:lnTo>
                    <a:pt x="1134713" y="589026"/>
                  </a:lnTo>
                  <a:lnTo>
                    <a:pt x="1137666" y="574262"/>
                  </a:lnTo>
                  <a:lnTo>
                    <a:pt x="1138047" y="564642"/>
                  </a:lnTo>
                  <a:lnTo>
                    <a:pt x="1142619" y="562451"/>
                  </a:lnTo>
                  <a:lnTo>
                    <a:pt x="1149096" y="563213"/>
                  </a:lnTo>
                  <a:lnTo>
                    <a:pt x="1150906" y="564547"/>
                  </a:lnTo>
                  <a:lnTo>
                    <a:pt x="1154049" y="564166"/>
                  </a:lnTo>
                  <a:lnTo>
                    <a:pt x="1155192" y="560832"/>
                  </a:lnTo>
                  <a:lnTo>
                    <a:pt x="1156335" y="557498"/>
                  </a:lnTo>
                  <a:lnTo>
                    <a:pt x="1159669" y="558641"/>
                  </a:lnTo>
                  <a:lnTo>
                    <a:pt x="1161002" y="556832"/>
                  </a:lnTo>
                  <a:lnTo>
                    <a:pt x="1165955" y="557784"/>
                  </a:lnTo>
                  <a:lnTo>
                    <a:pt x="1169480" y="534924"/>
                  </a:lnTo>
                  <a:lnTo>
                    <a:pt x="1174052" y="532733"/>
                  </a:lnTo>
                  <a:lnTo>
                    <a:pt x="1172051" y="529780"/>
                  </a:lnTo>
                  <a:lnTo>
                    <a:pt x="1173671" y="529590"/>
                  </a:lnTo>
                  <a:lnTo>
                    <a:pt x="1171670" y="526637"/>
                  </a:lnTo>
                  <a:lnTo>
                    <a:pt x="1172813" y="523304"/>
                  </a:lnTo>
                  <a:lnTo>
                    <a:pt x="1176147" y="511683"/>
                  </a:lnTo>
                  <a:lnTo>
                    <a:pt x="1172147" y="505778"/>
                  </a:lnTo>
                  <a:lnTo>
                    <a:pt x="1170623" y="505968"/>
                  </a:lnTo>
                  <a:lnTo>
                    <a:pt x="1165479" y="516255"/>
                  </a:lnTo>
                  <a:lnTo>
                    <a:pt x="1160907" y="518446"/>
                  </a:lnTo>
                  <a:lnTo>
                    <a:pt x="1157383" y="515684"/>
                  </a:lnTo>
                  <a:lnTo>
                    <a:pt x="1154239" y="516065"/>
                  </a:lnTo>
                  <a:lnTo>
                    <a:pt x="1152430" y="514731"/>
                  </a:lnTo>
                  <a:lnTo>
                    <a:pt x="1141381" y="516160"/>
                  </a:lnTo>
                  <a:lnTo>
                    <a:pt x="1141952" y="520922"/>
                  </a:lnTo>
                  <a:lnTo>
                    <a:pt x="1136618" y="516826"/>
                  </a:lnTo>
                  <a:lnTo>
                    <a:pt x="1140714" y="511492"/>
                  </a:lnTo>
                  <a:lnTo>
                    <a:pt x="1141476" y="505016"/>
                  </a:lnTo>
                  <a:lnTo>
                    <a:pt x="1143286" y="506349"/>
                  </a:lnTo>
                  <a:lnTo>
                    <a:pt x="1149001" y="500825"/>
                  </a:lnTo>
                  <a:lnTo>
                    <a:pt x="1146810" y="496253"/>
                  </a:lnTo>
                  <a:lnTo>
                    <a:pt x="1145191" y="496443"/>
                  </a:lnTo>
                  <a:lnTo>
                    <a:pt x="1143381" y="495109"/>
                  </a:lnTo>
                  <a:lnTo>
                    <a:pt x="1140047" y="493967"/>
                  </a:lnTo>
                  <a:lnTo>
                    <a:pt x="1137095" y="483108"/>
                  </a:lnTo>
                  <a:lnTo>
                    <a:pt x="1132904" y="475583"/>
                  </a:lnTo>
                  <a:lnTo>
                    <a:pt x="1127570" y="471488"/>
                  </a:lnTo>
                  <a:lnTo>
                    <a:pt x="1133856" y="457867"/>
                  </a:lnTo>
                  <a:lnTo>
                    <a:pt x="1132808" y="449961"/>
                  </a:lnTo>
                  <a:lnTo>
                    <a:pt x="1129094" y="445675"/>
                  </a:lnTo>
                  <a:lnTo>
                    <a:pt x="1126903" y="441103"/>
                  </a:lnTo>
                  <a:lnTo>
                    <a:pt x="1121759" y="438531"/>
                  </a:lnTo>
                  <a:lnTo>
                    <a:pt x="1122521" y="432054"/>
                  </a:lnTo>
                  <a:lnTo>
                    <a:pt x="1128427" y="428054"/>
                  </a:lnTo>
                  <a:lnTo>
                    <a:pt x="1130998" y="422910"/>
                  </a:lnTo>
                  <a:lnTo>
                    <a:pt x="1135571" y="420719"/>
                  </a:lnTo>
                  <a:lnTo>
                    <a:pt x="1137475" y="410813"/>
                  </a:lnTo>
                  <a:lnTo>
                    <a:pt x="1137285" y="409194"/>
                  </a:lnTo>
                  <a:lnTo>
                    <a:pt x="1141190" y="402241"/>
                  </a:lnTo>
                  <a:lnTo>
                    <a:pt x="1142810" y="402050"/>
                  </a:lnTo>
                  <a:lnTo>
                    <a:pt x="1142429" y="398907"/>
                  </a:lnTo>
                  <a:lnTo>
                    <a:pt x="1142238" y="397288"/>
                  </a:lnTo>
                  <a:lnTo>
                    <a:pt x="1139285" y="399288"/>
                  </a:lnTo>
                  <a:lnTo>
                    <a:pt x="1140428" y="395954"/>
                  </a:lnTo>
                  <a:lnTo>
                    <a:pt x="1138619" y="394621"/>
                  </a:lnTo>
                  <a:lnTo>
                    <a:pt x="1135856" y="385382"/>
                  </a:lnTo>
                  <a:lnTo>
                    <a:pt x="1135285" y="380619"/>
                  </a:lnTo>
                  <a:lnTo>
                    <a:pt x="1133475" y="379286"/>
                  </a:lnTo>
                  <a:lnTo>
                    <a:pt x="1132141" y="381095"/>
                  </a:lnTo>
                  <a:lnTo>
                    <a:pt x="1129951" y="376523"/>
                  </a:lnTo>
                  <a:lnTo>
                    <a:pt x="1129189" y="370237"/>
                  </a:lnTo>
                  <a:lnTo>
                    <a:pt x="1126617" y="362521"/>
                  </a:lnTo>
                  <a:lnTo>
                    <a:pt x="1122616" y="356616"/>
                  </a:lnTo>
                  <a:lnTo>
                    <a:pt x="1125569" y="354616"/>
                  </a:lnTo>
                  <a:lnTo>
                    <a:pt x="1125379" y="352996"/>
                  </a:lnTo>
                  <a:lnTo>
                    <a:pt x="1126522" y="349663"/>
                  </a:lnTo>
                  <a:lnTo>
                    <a:pt x="1125760" y="343376"/>
                  </a:lnTo>
                  <a:lnTo>
                    <a:pt x="1118045" y="345948"/>
                  </a:lnTo>
                  <a:lnTo>
                    <a:pt x="1112139" y="337090"/>
                  </a:lnTo>
                  <a:lnTo>
                    <a:pt x="1108424" y="332804"/>
                  </a:lnTo>
                  <a:lnTo>
                    <a:pt x="1109758" y="330994"/>
                  </a:lnTo>
                  <a:lnTo>
                    <a:pt x="1104805" y="330041"/>
                  </a:lnTo>
                  <a:lnTo>
                    <a:pt x="1096328" y="326326"/>
                  </a:lnTo>
                  <a:lnTo>
                    <a:pt x="1093184" y="326708"/>
                  </a:lnTo>
                  <a:lnTo>
                    <a:pt x="1091851" y="328517"/>
                  </a:lnTo>
                  <a:lnTo>
                    <a:pt x="1083183" y="323183"/>
                  </a:lnTo>
                  <a:lnTo>
                    <a:pt x="1080040" y="323564"/>
                  </a:lnTo>
                  <a:lnTo>
                    <a:pt x="1078516" y="323755"/>
                  </a:lnTo>
                  <a:lnTo>
                    <a:pt x="1078325" y="322136"/>
                  </a:lnTo>
                  <a:lnTo>
                    <a:pt x="1071563" y="319754"/>
                  </a:lnTo>
                  <a:lnTo>
                    <a:pt x="1069562" y="316801"/>
                  </a:lnTo>
                  <a:lnTo>
                    <a:pt x="1070896" y="314992"/>
                  </a:lnTo>
                  <a:lnTo>
                    <a:pt x="1060799" y="311467"/>
                  </a:lnTo>
                  <a:lnTo>
                    <a:pt x="1059466" y="313277"/>
                  </a:lnTo>
                  <a:lnTo>
                    <a:pt x="1055465" y="307372"/>
                  </a:lnTo>
                  <a:lnTo>
                    <a:pt x="1060037" y="305181"/>
                  </a:lnTo>
                  <a:lnTo>
                    <a:pt x="1060990" y="300228"/>
                  </a:lnTo>
                  <a:lnTo>
                    <a:pt x="1059180" y="298895"/>
                  </a:lnTo>
                  <a:lnTo>
                    <a:pt x="1059180" y="298895"/>
                  </a:lnTo>
                  <a:lnTo>
                    <a:pt x="1057180" y="295942"/>
                  </a:lnTo>
                  <a:lnTo>
                    <a:pt x="1062514" y="287274"/>
                  </a:lnTo>
                  <a:lnTo>
                    <a:pt x="1065276" y="283750"/>
                  </a:lnTo>
                  <a:lnTo>
                    <a:pt x="1063276" y="280797"/>
                  </a:lnTo>
                  <a:lnTo>
                    <a:pt x="1064228" y="275844"/>
                  </a:lnTo>
                  <a:lnTo>
                    <a:pt x="1068324" y="270510"/>
                  </a:lnTo>
                  <a:lnTo>
                    <a:pt x="1067562" y="264224"/>
                  </a:lnTo>
                  <a:lnTo>
                    <a:pt x="1063752" y="259937"/>
                  </a:lnTo>
                  <a:lnTo>
                    <a:pt x="1061371" y="253841"/>
                  </a:lnTo>
                  <a:lnTo>
                    <a:pt x="1059180" y="249269"/>
                  </a:lnTo>
                  <a:lnTo>
                    <a:pt x="1057561" y="249460"/>
                  </a:lnTo>
                  <a:lnTo>
                    <a:pt x="1059752" y="254032"/>
                  </a:lnTo>
                  <a:lnTo>
                    <a:pt x="1056989" y="257556"/>
                  </a:lnTo>
                  <a:lnTo>
                    <a:pt x="1057370" y="260699"/>
                  </a:lnTo>
                  <a:lnTo>
                    <a:pt x="1052608" y="261271"/>
                  </a:lnTo>
                  <a:lnTo>
                    <a:pt x="1055941" y="262414"/>
                  </a:lnTo>
                  <a:lnTo>
                    <a:pt x="1054989" y="267367"/>
                  </a:lnTo>
                  <a:lnTo>
                    <a:pt x="1056608" y="267176"/>
                  </a:lnTo>
                  <a:lnTo>
                    <a:pt x="1056989" y="270320"/>
                  </a:lnTo>
                  <a:lnTo>
                    <a:pt x="1058323" y="268510"/>
                  </a:lnTo>
                  <a:lnTo>
                    <a:pt x="1055561" y="272034"/>
                  </a:lnTo>
                  <a:lnTo>
                    <a:pt x="1055561" y="272034"/>
                  </a:lnTo>
                  <a:lnTo>
                    <a:pt x="1055751" y="273653"/>
                  </a:lnTo>
                  <a:lnTo>
                    <a:pt x="1050798" y="272701"/>
                  </a:lnTo>
                  <a:lnTo>
                    <a:pt x="1049179" y="272891"/>
                  </a:lnTo>
                  <a:lnTo>
                    <a:pt x="1049369" y="274511"/>
                  </a:lnTo>
                  <a:lnTo>
                    <a:pt x="1046226" y="274892"/>
                  </a:lnTo>
                  <a:lnTo>
                    <a:pt x="1045655" y="270129"/>
                  </a:lnTo>
                  <a:lnTo>
                    <a:pt x="1046797" y="266795"/>
                  </a:lnTo>
                  <a:lnTo>
                    <a:pt x="1043654" y="267176"/>
                  </a:lnTo>
                  <a:lnTo>
                    <a:pt x="1041273" y="261080"/>
                  </a:lnTo>
                  <a:lnTo>
                    <a:pt x="1039654" y="261271"/>
                  </a:lnTo>
                  <a:lnTo>
                    <a:pt x="1042225" y="256127"/>
                  </a:lnTo>
                  <a:lnTo>
                    <a:pt x="1032796" y="257366"/>
                  </a:lnTo>
                  <a:lnTo>
                    <a:pt x="1032224" y="252603"/>
                  </a:lnTo>
                  <a:lnTo>
                    <a:pt x="1035558" y="253746"/>
                  </a:lnTo>
                  <a:lnTo>
                    <a:pt x="1034987" y="248984"/>
                  </a:lnTo>
                  <a:lnTo>
                    <a:pt x="1033367" y="249174"/>
                  </a:lnTo>
                  <a:lnTo>
                    <a:pt x="1035748" y="242507"/>
                  </a:lnTo>
                  <a:lnTo>
                    <a:pt x="1035368" y="239363"/>
                  </a:lnTo>
                  <a:lnTo>
                    <a:pt x="1030605" y="239935"/>
                  </a:lnTo>
                  <a:lnTo>
                    <a:pt x="1030224" y="236792"/>
                  </a:lnTo>
                  <a:lnTo>
                    <a:pt x="1025652" y="238982"/>
                  </a:lnTo>
                  <a:lnTo>
                    <a:pt x="1020699" y="238030"/>
                  </a:lnTo>
                  <a:lnTo>
                    <a:pt x="1013555" y="232505"/>
                  </a:lnTo>
                  <a:lnTo>
                    <a:pt x="1014698" y="229171"/>
                  </a:lnTo>
                  <a:lnTo>
                    <a:pt x="1016508" y="230505"/>
                  </a:lnTo>
                  <a:lnTo>
                    <a:pt x="1017270" y="224028"/>
                  </a:lnTo>
                  <a:lnTo>
                    <a:pt x="1016698" y="219266"/>
                  </a:lnTo>
                  <a:lnTo>
                    <a:pt x="1012127" y="208598"/>
                  </a:lnTo>
                  <a:lnTo>
                    <a:pt x="1011936" y="206978"/>
                  </a:lnTo>
                  <a:lnTo>
                    <a:pt x="1013555" y="206788"/>
                  </a:lnTo>
                  <a:lnTo>
                    <a:pt x="1012507" y="198882"/>
                  </a:lnTo>
                  <a:lnTo>
                    <a:pt x="1010698" y="197453"/>
                  </a:lnTo>
                  <a:lnTo>
                    <a:pt x="1008697" y="194500"/>
                  </a:lnTo>
                  <a:lnTo>
                    <a:pt x="1005745" y="196501"/>
                  </a:lnTo>
                  <a:lnTo>
                    <a:pt x="1002221" y="193738"/>
                  </a:lnTo>
                  <a:lnTo>
                    <a:pt x="1000601" y="193929"/>
                  </a:lnTo>
                  <a:lnTo>
                    <a:pt x="1000220" y="190786"/>
                  </a:lnTo>
                  <a:lnTo>
                    <a:pt x="1004983" y="190214"/>
                  </a:lnTo>
                  <a:lnTo>
                    <a:pt x="1006316" y="188404"/>
                  </a:lnTo>
                  <a:lnTo>
                    <a:pt x="1004316" y="185452"/>
                  </a:lnTo>
                  <a:lnTo>
                    <a:pt x="992886" y="183737"/>
                  </a:lnTo>
                  <a:lnTo>
                    <a:pt x="992314" y="178975"/>
                  </a:lnTo>
                  <a:lnTo>
                    <a:pt x="989171" y="179356"/>
                  </a:lnTo>
                  <a:lnTo>
                    <a:pt x="987171" y="176403"/>
                  </a:lnTo>
                  <a:lnTo>
                    <a:pt x="993457" y="175641"/>
                  </a:lnTo>
                  <a:lnTo>
                    <a:pt x="992219" y="166211"/>
                  </a:lnTo>
                  <a:lnTo>
                    <a:pt x="985266" y="162306"/>
                  </a:lnTo>
                  <a:lnTo>
                    <a:pt x="983266" y="159353"/>
                  </a:lnTo>
                  <a:lnTo>
                    <a:pt x="984599" y="157544"/>
                  </a:lnTo>
                  <a:lnTo>
                    <a:pt x="981265" y="156400"/>
                  </a:lnTo>
                  <a:lnTo>
                    <a:pt x="981075" y="154781"/>
                  </a:lnTo>
                  <a:lnTo>
                    <a:pt x="977741" y="153638"/>
                  </a:lnTo>
                  <a:lnTo>
                    <a:pt x="973836" y="160592"/>
                  </a:lnTo>
                  <a:lnTo>
                    <a:pt x="962787" y="149162"/>
                  </a:lnTo>
                  <a:lnTo>
                    <a:pt x="960977" y="147828"/>
                  </a:lnTo>
                  <a:lnTo>
                    <a:pt x="958215" y="151352"/>
                  </a:lnTo>
                  <a:lnTo>
                    <a:pt x="954881" y="150209"/>
                  </a:lnTo>
                  <a:lnTo>
                    <a:pt x="940118" y="160115"/>
                  </a:lnTo>
                  <a:lnTo>
                    <a:pt x="935355" y="160687"/>
                  </a:lnTo>
                  <a:lnTo>
                    <a:pt x="932402" y="162687"/>
                  </a:lnTo>
                  <a:lnTo>
                    <a:pt x="934212" y="164021"/>
                  </a:lnTo>
                  <a:lnTo>
                    <a:pt x="935831" y="163830"/>
                  </a:lnTo>
                  <a:lnTo>
                    <a:pt x="937641" y="165163"/>
                  </a:lnTo>
                  <a:lnTo>
                    <a:pt x="934498" y="165545"/>
                  </a:lnTo>
                  <a:lnTo>
                    <a:pt x="933545" y="170498"/>
                  </a:lnTo>
                  <a:lnTo>
                    <a:pt x="930593" y="172498"/>
                  </a:lnTo>
                  <a:lnTo>
                    <a:pt x="925449" y="169926"/>
                  </a:lnTo>
                  <a:lnTo>
                    <a:pt x="921163" y="173641"/>
                  </a:lnTo>
                  <a:lnTo>
                    <a:pt x="927449" y="172879"/>
                  </a:lnTo>
                  <a:lnTo>
                    <a:pt x="931164" y="177165"/>
                  </a:lnTo>
                  <a:lnTo>
                    <a:pt x="928783" y="183833"/>
                  </a:lnTo>
                  <a:lnTo>
                    <a:pt x="930402" y="183642"/>
                  </a:lnTo>
                  <a:lnTo>
                    <a:pt x="933736" y="184785"/>
                  </a:lnTo>
                  <a:lnTo>
                    <a:pt x="936688" y="182785"/>
                  </a:lnTo>
                  <a:lnTo>
                    <a:pt x="936879" y="184404"/>
                  </a:lnTo>
                  <a:lnTo>
                    <a:pt x="938689" y="185738"/>
                  </a:lnTo>
                  <a:lnTo>
                    <a:pt x="941070" y="191834"/>
                  </a:lnTo>
                  <a:lnTo>
                    <a:pt x="942689" y="191643"/>
                  </a:lnTo>
                  <a:lnTo>
                    <a:pt x="943261" y="196405"/>
                  </a:lnTo>
                  <a:lnTo>
                    <a:pt x="944594" y="194596"/>
                  </a:lnTo>
                  <a:lnTo>
                    <a:pt x="949357" y="194024"/>
                  </a:lnTo>
                  <a:lnTo>
                    <a:pt x="949738" y="197167"/>
                  </a:lnTo>
                  <a:lnTo>
                    <a:pt x="953072" y="198311"/>
                  </a:lnTo>
                  <a:lnTo>
                    <a:pt x="951929" y="201644"/>
                  </a:lnTo>
                  <a:lnTo>
                    <a:pt x="952119" y="203263"/>
                  </a:lnTo>
                  <a:lnTo>
                    <a:pt x="947642" y="205454"/>
                  </a:lnTo>
                  <a:lnTo>
                    <a:pt x="946499" y="208788"/>
                  </a:lnTo>
                  <a:lnTo>
                    <a:pt x="948499" y="211741"/>
                  </a:lnTo>
                  <a:lnTo>
                    <a:pt x="956786" y="213932"/>
                  </a:lnTo>
                  <a:lnTo>
                    <a:pt x="958596" y="215265"/>
                  </a:lnTo>
                  <a:lnTo>
                    <a:pt x="957834" y="221742"/>
                  </a:lnTo>
                  <a:lnTo>
                    <a:pt x="965168" y="228791"/>
                  </a:lnTo>
                  <a:lnTo>
                    <a:pt x="959453" y="234315"/>
                  </a:lnTo>
                  <a:lnTo>
                    <a:pt x="956500" y="236315"/>
                  </a:lnTo>
                  <a:lnTo>
                    <a:pt x="952500" y="230410"/>
                  </a:lnTo>
                  <a:lnTo>
                    <a:pt x="949357" y="243650"/>
                  </a:lnTo>
                  <a:lnTo>
                    <a:pt x="947738" y="243840"/>
                  </a:lnTo>
                  <a:lnTo>
                    <a:pt x="948309" y="248603"/>
                  </a:lnTo>
                  <a:lnTo>
                    <a:pt x="948499" y="250222"/>
                  </a:lnTo>
                  <a:lnTo>
                    <a:pt x="947738" y="256699"/>
                  </a:lnTo>
                  <a:lnTo>
                    <a:pt x="951547" y="260985"/>
                  </a:lnTo>
                  <a:lnTo>
                    <a:pt x="948214" y="259842"/>
                  </a:lnTo>
                  <a:lnTo>
                    <a:pt x="943928" y="263557"/>
                  </a:lnTo>
                  <a:lnTo>
                    <a:pt x="939165" y="264128"/>
                  </a:lnTo>
                  <a:lnTo>
                    <a:pt x="933260" y="268129"/>
                  </a:lnTo>
                  <a:lnTo>
                    <a:pt x="928116" y="278416"/>
                  </a:lnTo>
                  <a:lnTo>
                    <a:pt x="928497" y="281559"/>
                  </a:lnTo>
                  <a:lnTo>
                    <a:pt x="925544" y="283559"/>
                  </a:lnTo>
                  <a:lnTo>
                    <a:pt x="921544" y="277654"/>
                  </a:lnTo>
                  <a:lnTo>
                    <a:pt x="911447" y="274130"/>
                  </a:lnTo>
                  <a:lnTo>
                    <a:pt x="903922" y="265462"/>
                  </a:lnTo>
                  <a:lnTo>
                    <a:pt x="886778" y="256413"/>
                  </a:lnTo>
                  <a:lnTo>
                    <a:pt x="889159" y="249746"/>
                  </a:lnTo>
                  <a:lnTo>
                    <a:pt x="884206" y="248793"/>
                  </a:lnTo>
                  <a:lnTo>
                    <a:pt x="883063" y="252127"/>
                  </a:lnTo>
                  <a:lnTo>
                    <a:pt x="879729" y="250984"/>
                  </a:lnTo>
                  <a:lnTo>
                    <a:pt x="878967" y="244697"/>
                  </a:lnTo>
                  <a:lnTo>
                    <a:pt x="881348" y="238030"/>
                  </a:lnTo>
                  <a:lnTo>
                    <a:pt x="880967" y="234887"/>
                  </a:lnTo>
                  <a:lnTo>
                    <a:pt x="883539" y="229743"/>
                  </a:lnTo>
                  <a:lnTo>
                    <a:pt x="890016" y="230505"/>
                  </a:lnTo>
                  <a:lnTo>
                    <a:pt x="891445" y="228695"/>
                  </a:lnTo>
                  <a:lnTo>
                    <a:pt x="897731" y="227933"/>
                  </a:lnTo>
                  <a:lnTo>
                    <a:pt x="899065" y="226124"/>
                  </a:lnTo>
                  <a:lnTo>
                    <a:pt x="900874" y="227457"/>
                  </a:lnTo>
                  <a:lnTo>
                    <a:pt x="901827" y="222504"/>
                  </a:lnTo>
                  <a:lnTo>
                    <a:pt x="901446" y="219361"/>
                  </a:lnTo>
                  <a:lnTo>
                    <a:pt x="896493" y="218408"/>
                  </a:lnTo>
                  <a:lnTo>
                    <a:pt x="897827" y="216599"/>
                  </a:lnTo>
                  <a:lnTo>
                    <a:pt x="895636" y="212026"/>
                  </a:lnTo>
                  <a:lnTo>
                    <a:pt x="892493" y="212408"/>
                  </a:lnTo>
                  <a:lnTo>
                    <a:pt x="894683" y="204121"/>
                  </a:lnTo>
                  <a:lnTo>
                    <a:pt x="892873" y="202787"/>
                  </a:lnTo>
                  <a:lnTo>
                    <a:pt x="886587" y="203549"/>
                  </a:lnTo>
                  <a:lnTo>
                    <a:pt x="884587" y="200596"/>
                  </a:lnTo>
                  <a:lnTo>
                    <a:pt x="879634" y="199644"/>
                  </a:lnTo>
                  <a:lnTo>
                    <a:pt x="880586" y="181928"/>
                  </a:lnTo>
                  <a:lnTo>
                    <a:pt x="877253" y="180784"/>
                  </a:lnTo>
                  <a:lnTo>
                    <a:pt x="880396" y="180404"/>
                  </a:lnTo>
                  <a:lnTo>
                    <a:pt x="880205" y="178784"/>
                  </a:lnTo>
                  <a:lnTo>
                    <a:pt x="876205" y="172879"/>
                  </a:lnTo>
                  <a:lnTo>
                    <a:pt x="875633" y="168116"/>
                  </a:lnTo>
                  <a:lnTo>
                    <a:pt x="873633" y="165163"/>
                  </a:lnTo>
                  <a:lnTo>
                    <a:pt x="872871" y="158877"/>
                  </a:lnTo>
                  <a:lnTo>
                    <a:pt x="869156" y="154496"/>
                  </a:lnTo>
                  <a:lnTo>
                    <a:pt x="872490" y="142875"/>
                  </a:lnTo>
                  <a:lnTo>
                    <a:pt x="870490" y="139922"/>
                  </a:lnTo>
                  <a:lnTo>
                    <a:pt x="876205" y="134398"/>
                  </a:lnTo>
                  <a:lnTo>
                    <a:pt x="879538" y="135541"/>
                  </a:lnTo>
                  <a:lnTo>
                    <a:pt x="882491" y="133541"/>
                  </a:lnTo>
                  <a:lnTo>
                    <a:pt x="883825" y="131731"/>
                  </a:lnTo>
                  <a:lnTo>
                    <a:pt x="882777" y="123825"/>
                  </a:lnTo>
                  <a:lnTo>
                    <a:pt x="880777" y="120872"/>
                  </a:lnTo>
                  <a:lnTo>
                    <a:pt x="884682" y="113919"/>
                  </a:lnTo>
                  <a:lnTo>
                    <a:pt x="889254" y="111728"/>
                  </a:lnTo>
                  <a:lnTo>
                    <a:pt x="894397" y="114300"/>
                  </a:lnTo>
                  <a:lnTo>
                    <a:pt x="900684" y="113538"/>
                  </a:lnTo>
                  <a:lnTo>
                    <a:pt x="902018" y="111728"/>
                  </a:lnTo>
                  <a:lnTo>
                    <a:pt x="900398" y="111919"/>
                  </a:lnTo>
                  <a:lnTo>
                    <a:pt x="898588" y="110585"/>
                  </a:lnTo>
                  <a:lnTo>
                    <a:pt x="895636" y="112586"/>
                  </a:lnTo>
                  <a:lnTo>
                    <a:pt x="895445" y="110966"/>
                  </a:lnTo>
                  <a:lnTo>
                    <a:pt x="890492" y="110014"/>
                  </a:lnTo>
                  <a:lnTo>
                    <a:pt x="888682" y="108680"/>
                  </a:lnTo>
                  <a:lnTo>
                    <a:pt x="887539" y="112014"/>
                  </a:lnTo>
                  <a:lnTo>
                    <a:pt x="887158" y="108871"/>
                  </a:lnTo>
                  <a:lnTo>
                    <a:pt x="888587" y="107061"/>
                  </a:lnTo>
                  <a:lnTo>
                    <a:pt x="884206" y="110776"/>
                  </a:lnTo>
                  <a:lnTo>
                    <a:pt x="876110" y="110204"/>
                  </a:lnTo>
                  <a:lnTo>
                    <a:pt x="867442" y="104870"/>
                  </a:lnTo>
                  <a:lnTo>
                    <a:pt x="865441" y="101917"/>
                  </a:lnTo>
                  <a:lnTo>
                    <a:pt x="858774" y="99536"/>
                  </a:lnTo>
                  <a:lnTo>
                    <a:pt x="855821" y="101537"/>
                  </a:lnTo>
                  <a:lnTo>
                    <a:pt x="850868" y="100584"/>
                  </a:lnTo>
                  <a:lnTo>
                    <a:pt x="847535" y="99441"/>
                  </a:lnTo>
                  <a:lnTo>
                    <a:pt x="841438" y="101822"/>
                  </a:lnTo>
                  <a:lnTo>
                    <a:pt x="834962" y="101060"/>
                  </a:lnTo>
                  <a:lnTo>
                    <a:pt x="837343" y="94393"/>
                  </a:lnTo>
                  <a:lnTo>
                    <a:pt x="840296" y="92392"/>
                  </a:lnTo>
                  <a:lnTo>
                    <a:pt x="842486" y="84106"/>
                  </a:lnTo>
                  <a:lnTo>
                    <a:pt x="845248" y="80582"/>
                  </a:lnTo>
                  <a:lnTo>
                    <a:pt x="845058" y="78962"/>
                  </a:lnTo>
                  <a:lnTo>
                    <a:pt x="844868" y="77343"/>
                  </a:lnTo>
                  <a:lnTo>
                    <a:pt x="841724" y="77724"/>
                  </a:lnTo>
                  <a:lnTo>
                    <a:pt x="839914" y="76391"/>
                  </a:lnTo>
                  <a:lnTo>
                    <a:pt x="840677" y="69913"/>
                  </a:lnTo>
                  <a:lnTo>
                    <a:pt x="838295" y="63817"/>
                  </a:lnTo>
                  <a:lnTo>
                    <a:pt x="838105" y="62198"/>
                  </a:lnTo>
                  <a:lnTo>
                    <a:pt x="841057" y="60198"/>
                  </a:lnTo>
                  <a:lnTo>
                    <a:pt x="838867" y="55626"/>
                  </a:lnTo>
                  <a:lnTo>
                    <a:pt x="842010" y="55245"/>
                  </a:lnTo>
                  <a:lnTo>
                    <a:pt x="838010" y="49340"/>
                  </a:lnTo>
                  <a:lnTo>
                    <a:pt x="843534" y="55054"/>
                  </a:lnTo>
                  <a:lnTo>
                    <a:pt x="850202" y="57436"/>
                  </a:lnTo>
                  <a:lnTo>
                    <a:pt x="852202" y="60388"/>
                  </a:lnTo>
                  <a:lnTo>
                    <a:pt x="853154" y="55436"/>
                  </a:lnTo>
                  <a:lnTo>
                    <a:pt x="855345" y="60008"/>
                  </a:lnTo>
                  <a:lnTo>
                    <a:pt x="858298" y="58007"/>
                  </a:lnTo>
                  <a:lnTo>
                    <a:pt x="861822" y="60770"/>
                  </a:lnTo>
                  <a:lnTo>
                    <a:pt x="864013" y="65342"/>
                  </a:lnTo>
                  <a:lnTo>
                    <a:pt x="865822" y="66675"/>
                  </a:lnTo>
                  <a:lnTo>
                    <a:pt x="873538" y="64103"/>
                  </a:lnTo>
                  <a:lnTo>
                    <a:pt x="878014" y="61913"/>
                  </a:lnTo>
                  <a:lnTo>
                    <a:pt x="879157" y="58579"/>
                  </a:lnTo>
                  <a:lnTo>
                    <a:pt x="875824" y="57436"/>
                  </a:lnTo>
                  <a:lnTo>
                    <a:pt x="873443" y="51340"/>
                  </a:lnTo>
                  <a:lnTo>
                    <a:pt x="868489" y="50387"/>
                  </a:lnTo>
                  <a:lnTo>
                    <a:pt x="869252" y="43910"/>
                  </a:lnTo>
                  <a:lnTo>
                    <a:pt x="871061" y="45244"/>
                  </a:lnTo>
                  <a:lnTo>
                    <a:pt x="875538" y="43053"/>
                  </a:lnTo>
                  <a:lnTo>
                    <a:pt x="875157" y="39910"/>
                  </a:lnTo>
                  <a:lnTo>
                    <a:pt x="881253" y="37529"/>
                  </a:lnTo>
                  <a:lnTo>
                    <a:pt x="879443" y="36195"/>
                  </a:lnTo>
                  <a:lnTo>
                    <a:pt x="865441" y="39624"/>
                  </a:lnTo>
                  <a:lnTo>
                    <a:pt x="858488" y="35719"/>
                  </a:lnTo>
                  <a:lnTo>
                    <a:pt x="846391" y="29242"/>
                  </a:lnTo>
                  <a:lnTo>
                    <a:pt x="843058" y="28099"/>
                  </a:lnTo>
                  <a:lnTo>
                    <a:pt x="824294" y="19241"/>
                  </a:lnTo>
                  <a:lnTo>
                    <a:pt x="822674" y="19431"/>
                  </a:lnTo>
                  <a:lnTo>
                    <a:pt x="819340" y="18288"/>
                  </a:lnTo>
                  <a:lnTo>
                    <a:pt x="816959" y="12192"/>
                  </a:lnTo>
                  <a:lnTo>
                    <a:pt x="802100" y="9239"/>
                  </a:lnTo>
                  <a:lnTo>
                    <a:pt x="804863" y="5715"/>
                  </a:lnTo>
                  <a:lnTo>
                    <a:pt x="798957" y="9716"/>
                  </a:lnTo>
                  <a:lnTo>
                    <a:pt x="795623" y="8573"/>
                  </a:lnTo>
                  <a:lnTo>
                    <a:pt x="794290" y="10382"/>
                  </a:lnTo>
                  <a:lnTo>
                    <a:pt x="790956" y="9239"/>
                  </a:lnTo>
                  <a:lnTo>
                    <a:pt x="782288" y="3905"/>
                  </a:lnTo>
                  <a:lnTo>
                    <a:pt x="780955" y="5715"/>
                  </a:lnTo>
                  <a:lnTo>
                    <a:pt x="784288" y="6858"/>
                  </a:lnTo>
                  <a:lnTo>
                    <a:pt x="784670" y="10001"/>
                  </a:lnTo>
                  <a:lnTo>
                    <a:pt x="778002" y="7620"/>
                  </a:lnTo>
                  <a:lnTo>
                    <a:pt x="772478" y="14764"/>
                  </a:lnTo>
                  <a:lnTo>
                    <a:pt x="759809" y="3524"/>
                  </a:lnTo>
                  <a:lnTo>
                    <a:pt x="749713" y="0"/>
                  </a:lnTo>
                  <a:lnTo>
                    <a:pt x="748094" y="191"/>
                  </a:lnTo>
                  <a:lnTo>
                    <a:pt x="747141" y="5144"/>
                  </a:lnTo>
                  <a:lnTo>
                    <a:pt x="749141" y="8096"/>
                  </a:lnTo>
                  <a:lnTo>
                    <a:pt x="745998" y="8477"/>
                  </a:lnTo>
                  <a:lnTo>
                    <a:pt x="746188" y="10096"/>
                  </a:lnTo>
                  <a:lnTo>
                    <a:pt x="738283" y="11144"/>
                  </a:lnTo>
                  <a:lnTo>
                    <a:pt x="738283" y="11144"/>
                  </a:lnTo>
                  <a:lnTo>
                    <a:pt x="734949" y="10001"/>
                  </a:lnTo>
                  <a:lnTo>
                    <a:pt x="729805" y="7429"/>
                  </a:lnTo>
                  <a:lnTo>
                    <a:pt x="725519" y="11144"/>
                  </a:lnTo>
                  <a:lnTo>
                    <a:pt x="718566" y="7239"/>
                  </a:lnTo>
                  <a:lnTo>
                    <a:pt x="717995" y="2476"/>
                  </a:lnTo>
                  <a:lnTo>
                    <a:pt x="713708" y="6287"/>
                  </a:lnTo>
                  <a:lnTo>
                    <a:pt x="712089" y="6477"/>
                  </a:lnTo>
                  <a:lnTo>
                    <a:pt x="708565" y="3715"/>
                  </a:lnTo>
                  <a:lnTo>
                    <a:pt x="703802" y="4286"/>
                  </a:lnTo>
                  <a:lnTo>
                    <a:pt x="700849" y="6287"/>
                  </a:lnTo>
                  <a:lnTo>
                    <a:pt x="701230" y="9430"/>
                  </a:lnTo>
                  <a:lnTo>
                    <a:pt x="697135" y="14764"/>
                  </a:lnTo>
                  <a:lnTo>
                    <a:pt x="698182" y="22670"/>
                  </a:lnTo>
                  <a:lnTo>
                    <a:pt x="698754" y="27432"/>
                  </a:lnTo>
                  <a:lnTo>
                    <a:pt x="697421" y="29242"/>
                  </a:lnTo>
                  <a:lnTo>
                    <a:pt x="697611" y="30861"/>
                  </a:lnTo>
                  <a:lnTo>
                    <a:pt x="693706" y="37814"/>
                  </a:lnTo>
                  <a:lnTo>
                    <a:pt x="696087" y="43910"/>
                  </a:lnTo>
                  <a:lnTo>
                    <a:pt x="696468" y="47054"/>
                  </a:lnTo>
                  <a:lnTo>
                    <a:pt x="693515" y="49054"/>
                  </a:lnTo>
                  <a:lnTo>
                    <a:pt x="693134" y="45911"/>
                  </a:lnTo>
                  <a:lnTo>
                    <a:pt x="690181" y="47911"/>
                  </a:lnTo>
                  <a:lnTo>
                    <a:pt x="677132" y="46387"/>
                  </a:lnTo>
                  <a:lnTo>
                    <a:pt x="677513" y="49530"/>
                  </a:lnTo>
                  <a:lnTo>
                    <a:pt x="674180" y="48387"/>
                  </a:lnTo>
                  <a:lnTo>
                    <a:pt x="672370" y="47054"/>
                  </a:lnTo>
                  <a:lnTo>
                    <a:pt x="669417" y="49054"/>
                  </a:lnTo>
                  <a:lnTo>
                    <a:pt x="667607" y="47720"/>
                  </a:lnTo>
                  <a:lnTo>
                    <a:pt x="660082" y="39053"/>
                  </a:lnTo>
                  <a:lnTo>
                    <a:pt x="656939" y="39433"/>
                  </a:lnTo>
                  <a:lnTo>
                    <a:pt x="646938" y="48768"/>
                  </a:lnTo>
                  <a:lnTo>
                    <a:pt x="640461" y="48006"/>
                  </a:lnTo>
                  <a:lnTo>
                    <a:pt x="637508" y="50006"/>
                  </a:lnTo>
                  <a:lnTo>
                    <a:pt x="634365" y="50387"/>
                  </a:lnTo>
                  <a:lnTo>
                    <a:pt x="631412" y="52388"/>
                  </a:lnTo>
                  <a:lnTo>
                    <a:pt x="628269" y="52769"/>
                  </a:lnTo>
                  <a:lnTo>
                    <a:pt x="630269" y="42863"/>
                  </a:lnTo>
                  <a:lnTo>
                    <a:pt x="625126" y="40291"/>
                  </a:lnTo>
                  <a:lnTo>
                    <a:pt x="623506" y="40481"/>
                  </a:lnTo>
                  <a:lnTo>
                    <a:pt x="621697" y="39148"/>
                  </a:lnTo>
                  <a:lnTo>
                    <a:pt x="619125" y="44291"/>
                  </a:lnTo>
                  <a:lnTo>
                    <a:pt x="614553" y="46482"/>
                  </a:lnTo>
                  <a:lnTo>
                    <a:pt x="607886" y="44101"/>
                  </a:lnTo>
                  <a:lnTo>
                    <a:pt x="606933" y="49054"/>
                  </a:lnTo>
                  <a:lnTo>
                    <a:pt x="609505" y="56769"/>
                  </a:lnTo>
                  <a:lnTo>
                    <a:pt x="600837" y="64294"/>
                  </a:lnTo>
                  <a:lnTo>
                    <a:pt x="601599" y="70580"/>
                  </a:lnTo>
                  <a:lnTo>
                    <a:pt x="596455" y="68008"/>
                  </a:lnTo>
                  <a:lnTo>
                    <a:pt x="592455" y="62103"/>
                  </a:lnTo>
                  <a:lnTo>
                    <a:pt x="589121" y="60960"/>
                  </a:lnTo>
                  <a:lnTo>
                    <a:pt x="591122" y="63913"/>
                  </a:lnTo>
                  <a:lnTo>
                    <a:pt x="592360" y="73342"/>
                  </a:lnTo>
                  <a:lnTo>
                    <a:pt x="591026" y="75152"/>
                  </a:lnTo>
                  <a:lnTo>
                    <a:pt x="589407" y="75343"/>
                  </a:lnTo>
                  <a:lnTo>
                    <a:pt x="590169" y="81629"/>
                  </a:lnTo>
                  <a:lnTo>
                    <a:pt x="586264" y="88583"/>
                  </a:lnTo>
                  <a:lnTo>
                    <a:pt x="585121" y="91916"/>
                  </a:lnTo>
                  <a:lnTo>
                    <a:pt x="578834" y="92678"/>
                  </a:lnTo>
                  <a:lnTo>
                    <a:pt x="577691" y="96012"/>
                  </a:lnTo>
                  <a:lnTo>
                    <a:pt x="581025" y="97155"/>
                  </a:lnTo>
                  <a:lnTo>
                    <a:pt x="581597" y="101917"/>
                  </a:lnTo>
                  <a:lnTo>
                    <a:pt x="583121" y="101727"/>
                  </a:lnTo>
                  <a:lnTo>
                    <a:pt x="584930" y="103061"/>
                  </a:lnTo>
                  <a:lnTo>
                    <a:pt x="586740" y="104394"/>
                  </a:lnTo>
                  <a:lnTo>
                    <a:pt x="588740" y="107347"/>
                  </a:lnTo>
                  <a:lnTo>
                    <a:pt x="593503" y="106775"/>
                  </a:lnTo>
                  <a:lnTo>
                    <a:pt x="593693" y="108395"/>
                  </a:lnTo>
                  <a:lnTo>
                    <a:pt x="605123" y="110109"/>
                  </a:lnTo>
                  <a:lnTo>
                    <a:pt x="609314" y="117634"/>
                  </a:lnTo>
                  <a:lnTo>
                    <a:pt x="610362" y="125540"/>
                  </a:lnTo>
                  <a:lnTo>
                    <a:pt x="604456" y="142304"/>
                  </a:lnTo>
                  <a:lnTo>
                    <a:pt x="599694" y="142875"/>
                  </a:lnTo>
                  <a:lnTo>
                    <a:pt x="595979" y="151352"/>
                  </a:lnTo>
                  <a:lnTo>
                    <a:pt x="590074" y="155353"/>
                  </a:lnTo>
                  <a:lnTo>
                    <a:pt x="590455" y="158496"/>
                  </a:lnTo>
                  <a:lnTo>
                    <a:pt x="587693" y="162020"/>
                  </a:lnTo>
                  <a:lnTo>
                    <a:pt x="579977" y="164592"/>
                  </a:lnTo>
                  <a:lnTo>
                    <a:pt x="575596" y="155543"/>
                  </a:lnTo>
                  <a:lnTo>
                    <a:pt x="573596" y="152591"/>
                  </a:lnTo>
                  <a:lnTo>
                    <a:pt x="567309" y="153353"/>
                  </a:lnTo>
                  <a:lnTo>
                    <a:pt x="565975" y="155162"/>
                  </a:lnTo>
                  <a:lnTo>
                    <a:pt x="571310" y="159258"/>
                  </a:lnTo>
                  <a:lnTo>
                    <a:pt x="571500" y="160877"/>
                  </a:lnTo>
                  <a:lnTo>
                    <a:pt x="570357" y="164211"/>
                  </a:lnTo>
                  <a:lnTo>
                    <a:pt x="572548" y="168783"/>
                  </a:lnTo>
                  <a:lnTo>
                    <a:pt x="579501" y="172688"/>
                  </a:lnTo>
                  <a:lnTo>
                    <a:pt x="581311" y="174022"/>
                  </a:lnTo>
                  <a:lnTo>
                    <a:pt x="582454" y="170688"/>
                  </a:lnTo>
                  <a:lnTo>
                    <a:pt x="587407" y="171641"/>
                  </a:lnTo>
                  <a:lnTo>
                    <a:pt x="583121" y="175355"/>
                  </a:lnTo>
                  <a:lnTo>
                    <a:pt x="583502" y="178499"/>
                  </a:lnTo>
                  <a:lnTo>
                    <a:pt x="585502" y="181451"/>
                  </a:lnTo>
                  <a:lnTo>
                    <a:pt x="591979" y="182213"/>
                  </a:lnTo>
                  <a:lnTo>
                    <a:pt x="591217" y="188690"/>
                  </a:lnTo>
                  <a:lnTo>
                    <a:pt x="580739" y="194786"/>
                  </a:lnTo>
                  <a:lnTo>
                    <a:pt x="586454" y="202121"/>
                  </a:lnTo>
                  <a:lnTo>
                    <a:pt x="584073" y="208788"/>
                  </a:lnTo>
                  <a:lnTo>
                    <a:pt x="578168" y="212788"/>
                  </a:lnTo>
                  <a:lnTo>
                    <a:pt x="575596" y="217932"/>
                  </a:lnTo>
                  <a:lnTo>
                    <a:pt x="574834" y="224409"/>
                  </a:lnTo>
                  <a:lnTo>
                    <a:pt x="582549" y="234696"/>
                  </a:lnTo>
                  <a:lnTo>
                    <a:pt x="579787" y="238220"/>
                  </a:lnTo>
                  <a:lnTo>
                    <a:pt x="578644" y="241554"/>
                  </a:lnTo>
                  <a:lnTo>
                    <a:pt x="582168" y="244316"/>
                  </a:lnTo>
                  <a:lnTo>
                    <a:pt x="577882" y="248031"/>
                  </a:lnTo>
                  <a:lnTo>
                    <a:pt x="580072" y="252603"/>
                  </a:lnTo>
                  <a:lnTo>
                    <a:pt x="583406" y="253746"/>
                  </a:lnTo>
                  <a:lnTo>
                    <a:pt x="589312" y="249746"/>
                  </a:lnTo>
                  <a:lnTo>
                    <a:pt x="590074" y="256032"/>
                  </a:lnTo>
                  <a:lnTo>
                    <a:pt x="587312" y="259556"/>
                  </a:lnTo>
                  <a:lnTo>
                    <a:pt x="586169" y="262890"/>
                  </a:lnTo>
                  <a:lnTo>
                    <a:pt x="586930" y="269176"/>
                  </a:lnTo>
                  <a:lnTo>
                    <a:pt x="584740" y="277463"/>
                  </a:lnTo>
                  <a:lnTo>
                    <a:pt x="585311" y="282226"/>
                  </a:lnTo>
                  <a:lnTo>
                    <a:pt x="581978" y="281083"/>
                  </a:lnTo>
                  <a:lnTo>
                    <a:pt x="582168" y="282702"/>
                  </a:lnTo>
                  <a:lnTo>
                    <a:pt x="585121" y="293561"/>
                  </a:lnTo>
                  <a:lnTo>
                    <a:pt x="588264" y="293180"/>
                  </a:lnTo>
                  <a:lnTo>
                    <a:pt x="582739" y="300323"/>
                  </a:lnTo>
                  <a:lnTo>
                    <a:pt x="588455" y="307562"/>
                  </a:lnTo>
                  <a:lnTo>
                    <a:pt x="588645" y="309182"/>
                  </a:lnTo>
                  <a:lnTo>
                    <a:pt x="592360" y="313563"/>
                  </a:lnTo>
                  <a:lnTo>
                    <a:pt x="589026" y="312420"/>
                  </a:lnTo>
                  <a:lnTo>
                    <a:pt x="592360" y="313563"/>
                  </a:lnTo>
                  <a:lnTo>
                    <a:pt x="591407" y="318516"/>
                  </a:lnTo>
                  <a:lnTo>
                    <a:pt x="585121" y="319278"/>
                  </a:lnTo>
                  <a:lnTo>
                    <a:pt x="583978" y="322612"/>
                  </a:lnTo>
                  <a:lnTo>
                    <a:pt x="576739" y="328327"/>
                  </a:lnTo>
                  <a:lnTo>
                    <a:pt x="571976" y="328898"/>
                  </a:lnTo>
                  <a:lnTo>
                    <a:pt x="572167" y="330517"/>
                  </a:lnTo>
                  <a:lnTo>
                    <a:pt x="568071" y="335851"/>
                  </a:lnTo>
                  <a:lnTo>
                    <a:pt x="568262" y="337471"/>
                  </a:lnTo>
                  <a:lnTo>
                    <a:pt x="564928" y="336328"/>
                  </a:lnTo>
                  <a:lnTo>
                    <a:pt x="564166" y="330041"/>
                  </a:lnTo>
                  <a:lnTo>
                    <a:pt x="557879" y="330803"/>
                  </a:lnTo>
                  <a:lnTo>
                    <a:pt x="556450" y="332613"/>
                  </a:lnTo>
                  <a:lnTo>
                    <a:pt x="557022" y="337375"/>
                  </a:lnTo>
                  <a:lnTo>
                    <a:pt x="554260" y="340900"/>
                  </a:lnTo>
                  <a:lnTo>
                    <a:pt x="542639" y="350425"/>
                  </a:lnTo>
                  <a:lnTo>
                    <a:pt x="539305" y="349282"/>
                  </a:lnTo>
                  <a:lnTo>
                    <a:pt x="535019" y="352996"/>
                  </a:lnTo>
                  <a:lnTo>
                    <a:pt x="527113" y="354044"/>
                  </a:lnTo>
                  <a:lnTo>
                    <a:pt x="525494" y="354235"/>
                  </a:lnTo>
                  <a:lnTo>
                    <a:pt x="526066" y="358997"/>
                  </a:lnTo>
                  <a:lnTo>
                    <a:pt x="526256" y="360617"/>
                  </a:lnTo>
                  <a:lnTo>
                    <a:pt x="524923" y="362426"/>
                  </a:lnTo>
                  <a:lnTo>
                    <a:pt x="528923" y="368332"/>
                  </a:lnTo>
                  <a:lnTo>
                    <a:pt x="525971" y="370332"/>
                  </a:lnTo>
                  <a:lnTo>
                    <a:pt x="526542" y="375095"/>
                  </a:lnTo>
                  <a:lnTo>
                    <a:pt x="523780" y="378619"/>
                  </a:lnTo>
                  <a:lnTo>
                    <a:pt x="519017" y="379190"/>
                  </a:lnTo>
                  <a:lnTo>
                    <a:pt x="516255" y="382715"/>
                  </a:lnTo>
                  <a:lnTo>
                    <a:pt x="519779" y="385477"/>
                  </a:lnTo>
                  <a:lnTo>
                    <a:pt x="519970" y="387096"/>
                  </a:lnTo>
                  <a:lnTo>
                    <a:pt x="515017" y="386144"/>
                  </a:lnTo>
                  <a:lnTo>
                    <a:pt x="515398" y="389287"/>
                  </a:lnTo>
                  <a:lnTo>
                    <a:pt x="507682" y="391859"/>
                  </a:lnTo>
                  <a:lnTo>
                    <a:pt x="505873" y="390525"/>
                  </a:lnTo>
                  <a:lnTo>
                    <a:pt x="504444" y="392335"/>
                  </a:lnTo>
                  <a:lnTo>
                    <a:pt x="502253" y="400621"/>
                  </a:lnTo>
                  <a:lnTo>
                    <a:pt x="503301" y="408527"/>
                  </a:lnTo>
                  <a:lnTo>
                    <a:pt x="505492" y="413099"/>
                  </a:lnTo>
                  <a:lnTo>
                    <a:pt x="514921" y="411861"/>
                  </a:lnTo>
                  <a:lnTo>
                    <a:pt x="515112" y="413480"/>
                  </a:lnTo>
                  <a:lnTo>
                    <a:pt x="518446" y="414623"/>
                  </a:lnTo>
                  <a:lnTo>
                    <a:pt x="517493" y="419576"/>
                  </a:lnTo>
                  <a:lnTo>
                    <a:pt x="524447" y="423482"/>
                  </a:lnTo>
                  <a:lnTo>
                    <a:pt x="525494" y="431387"/>
                  </a:lnTo>
                  <a:lnTo>
                    <a:pt x="522351" y="431768"/>
                  </a:lnTo>
                  <a:lnTo>
                    <a:pt x="521018" y="433578"/>
                  </a:lnTo>
                  <a:lnTo>
                    <a:pt x="516446" y="435769"/>
                  </a:lnTo>
                  <a:lnTo>
                    <a:pt x="515112" y="437579"/>
                  </a:lnTo>
                  <a:lnTo>
                    <a:pt x="511969" y="437959"/>
                  </a:lnTo>
                  <a:lnTo>
                    <a:pt x="509969" y="435007"/>
                  </a:lnTo>
                  <a:lnTo>
                    <a:pt x="503682" y="435769"/>
                  </a:lnTo>
                  <a:lnTo>
                    <a:pt x="502063" y="435959"/>
                  </a:lnTo>
                  <a:lnTo>
                    <a:pt x="499300" y="439484"/>
                  </a:lnTo>
                  <a:lnTo>
                    <a:pt x="499872" y="444246"/>
                  </a:lnTo>
                  <a:lnTo>
                    <a:pt x="495776" y="449580"/>
                  </a:lnTo>
                  <a:lnTo>
                    <a:pt x="491109" y="463010"/>
                  </a:lnTo>
                  <a:lnTo>
                    <a:pt x="488537" y="468154"/>
                  </a:lnTo>
                  <a:lnTo>
                    <a:pt x="490919" y="474250"/>
                  </a:lnTo>
                  <a:lnTo>
                    <a:pt x="487204" y="482727"/>
                  </a:lnTo>
                  <a:lnTo>
                    <a:pt x="490728" y="485489"/>
                  </a:lnTo>
                  <a:lnTo>
                    <a:pt x="495490" y="484918"/>
                  </a:lnTo>
                  <a:lnTo>
                    <a:pt x="502158" y="487299"/>
                  </a:lnTo>
                  <a:lnTo>
                    <a:pt x="506921" y="486728"/>
                  </a:lnTo>
                  <a:lnTo>
                    <a:pt x="510635" y="491014"/>
                  </a:lnTo>
                  <a:lnTo>
                    <a:pt x="516160" y="496729"/>
                  </a:lnTo>
                  <a:lnTo>
                    <a:pt x="515207" y="501682"/>
                  </a:lnTo>
                  <a:lnTo>
                    <a:pt x="513397" y="500348"/>
                  </a:lnTo>
                  <a:lnTo>
                    <a:pt x="512255" y="503682"/>
                  </a:lnTo>
                  <a:lnTo>
                    <a:pt x="513683" y="514731"/>
                  </a:lnTo>
                  <a:lnTo>
                    <a:pt x="518636" y="515684"/>
                  </a:lnTo>
                  <a:lnTo>
                    <a:pt x="514921" y="524161"/>
                  </a:lnTo>
                  <a:lnTo>
                    <a:pt x="507968" y="520255"/>
                  </a:lnTo>
                  <a:lnTo>
                    <a:pt x="508349" y="523399"/>
                  </a:lnTo>
                  <a:lnTo>
                    <a:pt x="505587" y="526923"/>
                  </a:lnTo>
                  <a:lnTo>
                    <a:pt x="495681" y="525018"/>
                  </a:lnTo>
                  <a:lnTo>
                    <a:pt x="487775" y="526066"/>
                  </a:lnTo>
                  <a:lnTo>
                    <a:pt x="485775" y="535972"/>
                  </a:lnTo>
                  <a:lnTo>
                    <a:pt x="483013" y="539496"/>
                  </a:lnTo>
                  <a:lnTo>
                    <a:pt x="487966" y="540449"/>
                  </a:lnTo>
                  <a:lnTo>
                    <a:pt x="485394" y="545592"/>
                  </a:lnTo>
                  <a:lnTo>
                    <a:pt x="489966" y="543401"/>
                  </a:lnTo>
                  <a:lnTo>
                    <a:pt x="492157" y="547973"/>
                  </a:lnTo>
                  <a:lnTo>
                    <a:pt x="492728" y="552736"/>
                  </a:lnTo>
                  <a:lnTo>
                    <a:pt x="498253" y="558451"/>
                  </a:lnTo>
                  <a:lnTo>
                    <a:pt x="495490" y="561975"/>
                  </a:lnTo>
                  <a:lnTo>
                    <a:pt x="493681" y="560642"/>
                  </a:lnTo>
                  <a:lnTo>
                    <a:pt x="492728" y="565595"/>
                  </a:lnTo>
                  <a:lnTo>
                    <a:pt x="490156" y="570738"/>
                  </a:lnTo>
                  <a:lnTo>
                    <a:pt x="491776" y="570548"/>
                  </a:lnTo>
                  <a:lnTo>
                    <a:pt x="492919" y="567214"/>
                  </a:lnTo>
                  <a:lnTo>
                    <a:pt x="497872" y="568166"/>
                  </a:lnTo>
                  <a:lnTo>
                    <a:pt x="505111" y="562451"/>
                  </a:lnTo>
                  <a:lnTo>
                    <a:pt x="504539" y="557689"/>
                  </a:lnTo>
                  <a:lnTo>
                    <a:pt x="507873" y="558832"/>
                  </a:lnTo>
                  <a:lnTo>
                    <a:pt x="508445" y="563594"/>
                  </a:lnTo>
                  <a:lnTo>
                    <a:pt x="504730" y="572072"/>
                  </a:lnTo>
                  <a:lnTo>
                    <a:pt x="512826" y="572643"/>
                  </a:lnTo>
                  <a:lnTo>
                    <a:pt x="513397" y="577405"/>
                  </a:lnTo>
                  <a:lnTo>
                    <a:pt x="516541" y="577025"/>
                  </a:lnTo>
                  <a:lnTo>
                    <a:pt x="513779" y="593408"/>
                  </a:lnTo>
                  <a:lnTo>
                    <a:pt x="513969" y="595027"/>
                  </a:lnTo>
                  <a:lnTo>
                    <a:pt x="512159" y="593693"/>
                  </a:lnTo>
                  <a:lnTo>
                    <a:pt x="509588" y="598837"/>
                  </a:lnTo>
                  <a:lnTo>
                    <a:pt x="506825" y="602361"/>
                  </a:lnTo>
                  <a:lnTo>
                    <a:pt x="505682" y="605695"/>
                  </a:lnTo>
                  <a:lnTo>
                    <a:pt x="501110" y="607886"/>
                  </a:lnTo>
                  <a:lnTo>
                    <a:pt x="499967" y="611219"/>
                  </a:lnTo>
                  <a:lnTo>
                    <a:pt x="496824" y="611600"/>
                  </a:lnTo>
                  <a:lnTo>
                    <a:pt x="492252" y="613791"/>
                  </a:lnTo>
                  <a:lnTo>
                    <a:pt x="485775" y="613029"/>
                  </a:lnTo>
                  <a:lnTo>
                    <a:pt x="481013" y="613601"/>
                  </a:lnTo>
                  <a:lnTo>
                    <a:pt x="480060" y="618554"/>
                  </a:lnTo>
                  <a:lnTo>
                    <a:pt x="485965" y="627412"/>
                  </a:lnTo>
                  <a:lnTo>
                    <a:pt x="486346" y="630555"/>
                  </a:lnTo>
                  <a:lnTo>
                    <a:pt x="481584" y="631126"/>
                  </a:lnTo>
                  <a:lnTo>
                    <a:pt x="477488" y="636461"/>
                  </a:lnTo>
                  <a:lnTo>
                    <a:pt x="477869" y="639604"/>
                  </a:lnTo>
                  <a:lnTo>
                    <a:pt x="473773" y="644938"/>
                  </a:lnTo>
                  <a:lnTo>
                    <a:pt x="466820" y="641033"/>
                  </a:lnTo>
                  <a:lnTo>
                    <a:pt x="459296" y="645224"/>
                  </a:lnTo>
                  <a:lnTo>
                    <a:pt x="454152" y="642652"/>
                  </a:lnTo>
                  <a:lnTo>
                    <a:pt x="451390" y="646176"/>
                  </a:lnTo>
                  <a:lnTo>
                    <a:pt x="444437" y="642271"/>
                  </a:lnTo>
                  <a:lnTo>
                    <a:pt x="439674" y="642842"/>
                  </a:lnTo>
                  <a:lnTo>
                    <a:pt x="436912" y="646367"/>
                  </a:lnTo>
                  <a:lnTo>
                    <a:pt x="432149" y="646938"/>
                  </a:lnTo>
                  <a:lnTo>
                    <a:pt x="421672" y="653034"/>
                  </a:lnTo>
                  <a:lnTo>
                    <a:pt x="419862" y="651701"/>
                  </a:lnTo>
                  <a:lnTo>
                    <a:pt x="421672" y="653034"/>
                  </a:lnTo>
                  <a:lnTo>
                    <a:pt x="416147" y="660178"/>
                  </a:lnTo>
                  <a:lnTo>
                    <a:pt x="424624" y="663893"/>
                  </a:lnTo>
                  <a:lnTo>
                    <a:pt x="425196" y="668655"/>
                  </a:lnTo>
                  <a:lnTo>
                    <a:pt x="428530" y="669798"/>
                  </a:lnTo>
                  <a:lnTo>
                    <a:pt x="428911" y="672941"/>
                  </a:lnTo>
                  <a:lnTo>
                    <a:pt x="419862" y="677323"/>
                  </a:lnTo>
                  <a:lnTo>
                    <a:pt x="417671" y="672751"/>
                  </a:lnTo>
                  <a:lnTo>
                    <a:pt x="414528" y="673132"/>
                  </a:lnTo>
                  <a:lnTo>
                    <a:pt x="413575" y="678085"/>
                  </a:lnTo>
                  <a:lnTo>
                    <a:pt x="410623" y="680085"/>
                  </a:lnTo>
                  <a:lnTo>
                    <a:pt x="413956" y="681228"/>
                  </a:lnTo>
                  <a:lnTo>
                    <a:pt x="411004" y="683228"/>
                  </a:lnTo>
                  <a:lnTo>
                    <a:pt x="409670" y="685038"/>
                  </a:lnTo>
                  <a:lnTo>
                    <a:pt x="399383" y="679895"/>
                  </a:lnTo>
                  <a:lnTo>
                    <a:pt x="398050" y="681704"/>
                  </a:lnTo>
                  <a:lnTo>
                    <a:pt x="396907" y="685038"/>
                  </a:lnTo>
                  <a:lnTo>
                    <a:pt x="391763" y="682466"/>
                  </a:lnTo>
                  <a:lnTo>
                    <a:pt x="387001" y="683038"/>
                  </a:lnTo>
                  <a:lnTo>
                    <a:pt x="385572" y="684848"/>
                  </a:lnTo>
                  <a:lnTo>
                    <a:pt x="387953" y="690944"/>
                  </a:lnTo>
                  <a:lnTo>
                    <a:pt x="388144" y="692563"/>
                  </a:lnTo>
                  <a:lnTo>
                    <a:pt x="384620" y="689801"/>
                  </a:lnTo>
                  <a:lnTo>
                    <a:pt x="380619" y="683895"/>
                  </a:lnTo>
                  <a:lnTo>
                    <a:pt x="375666" y="682943"/>
                  </a:lnTo>
                  <a:lnTo>
                    <a:pt x="374523" y="686276"/>
                  </a:lnTo>
                  <a:lnTo>
                    <a:pt x="371189" y="685133"/>
                  </a:lnTo>
                  <a:lnTo>
                    <a:pt x="364046" y="679609"/>
                  </a:lnTo>
                  <a:lnTo>
                    <a:pt x="362426" y="679799"/>
                  </a:lnTo>
                  <a:lnTo>
                    <a:pt x="357664" y="680371"/>
                  </a:lnTo>
                  <a:lnTo>
                    <a:pt x="357473" y="678751"/>
                  </a:lnTo>
                  <a:lnTo>
                    <a:pt x="352711" y="679323"/>
                  </a:lnTo>
                  <a:lnTo>
                    <a:pt x="352139" y="674561"/>
                  </a:lnTo>
                  <a:lnTo>
                    <a:pt x="350330" y="673227"/>
                  </a:lnTo>
                  <a:lnTo>
                    <a:pt x="347186" y="673608"/>
                  </a:lnTo>
                  <a:lnTo>
                    <a:pt x="347567" y="676751"/>
                  </a:lnTo>
                  <a:lnTo>
                    <a:pt x="349568" y="679704"/>
                  </a:lnTo>
                  <a:lnTo>
                    <a:pt x="348805" y="686181"/>
                  </a:lnTo>
                  <a:lnTo>
                    <a:pt x="344043" y="686753"/>
                  </a:lnTo>
                  <a:lnTo>
                    <a:pt x="340138" y="693706"/>
                  </a:lnTo>
                  <a:lnTo>
                    <a:pt x="336995" y="694087"/>
                  </a:lnTo>
                  <a:lnTo>
                    <a:pt x="334042" y="696087"/>
                  </a:lnTo>
                  <a:lnTo>
                    <a:pt x="325946" y="695516"/>
                  </a:lnTo>
                  <a:lnTo>
                    <a:pt x="319469" y="694754"/>
                  </a:lnTo>
                  <a:lnTo>
                    <a:pt x="312325" y="689229"/>
                  </a:lnTo>
                  <a:lnTo>
                    <a:pt x="310324" y="686276"/>
                  </a:lnTo>
                  <a:lnTo>
                    <a:pt x="313468" y="685895"/>
                  </a:lnTo>
                  <a:lnTo>
                    <a:pt x="309944" y="683133"/>
                  </a:lnTo>
                  <a:lnTo>
                    <a:pt x="309753" y="681514"/>
                  </a:lnTo>
                  <a:lnTo>
                    <a:pt x="310134" y="684657"/>
                  </a:lnTo>
                  <a:lnTo>
                    <a:pt x="308800" y="686467"/>
                  </a:lnTo>
                  <a:lnTo>
                    <a:pt x="306800" y="683514"/>
                  </a:lnTo>
                  <a:lnTo>
                    <a:pt x="303657" y="683895"/>
                  </a:lnTo>
                  <a:lnTo>
                    <a:pt x="303276" y="680752"/>
                  </a:lnTo>
                  <a:lnTo>
                    <a:pt x="305086" y="682085"/>
                  </a:lnTo>
                  <a:lnTo>
                    <a:pt x="303086" y="679133"/>
                  </a:lnTo>
                  <a:lnTo>
                    <a:pt x="304514" y="677323"/>
                  </a:lnTo>
                  <a:lnTo>
                    <a:pt x="305657" y="673989"/>
                  </a:lnTo>
                  <a:lnTo>
                    <a:pt x="302323" y="672846"/>
                  </a:lnTo>
                  <a:lnTo>
                    <a:pt x="300133" y="668274"/>
                  </a:lnTo>
                  <a:lnTo>
                    <a:pt x="299752" y="665131"/>
                  </a:lnTo>
                  <a:lnTo>
                    <a:pt x="297752" y="662178"/>
                  </a:lnTo>
                  <a:lnTo>
                    <a:pt x="290513" y="667893"/>
                  </a:lnTo>
                  <a:lnTo>
                    <a:pt x="286607" y="674846"/>
                  </a:lnTo>
                  <a:lnTo>
                    <a:pt x="276130" y="668179"/>
                  </a:lnTo>
                  <a:lnTo>
                    <a:pt x="276130" y="681038"/>
                  </a:lnTo>
                  <a:cubicBezTo>
                    <a:pt x="276130" y="681038"/>
                    <a:pt x="279559" y="682180"/>
                    <a:pt x="279559" y="682180"/>
                  </a:cubicBezTo>
                  <a:lnTo>
                    <a:pt x="270700" y="688086"/>
                  </a:lnTo>
                  <a:lnTo>
                    <a:pt x="265176" y="695230"/>
                  </a:lnTo>
                  <a:lnTo>
                    <a:pt x="263176" y="692277"/>
                  </a:lnTo>
                  <a:lnTo>
                    <a:pt x="260223" y="694277"/>
                  </a:lnTo>
                  <a:lnTo>
                    <a:pt x="255270" y="693325"/>
                  </a:lnTo>
                  <a:lnTo>
                    <a:pt x="256699" y="691515"/>
                  </a:lnTo>
                  <a:lnTo>
                    <a:pt x="261461" y="690944"/>
                  </a:lnTo>
                  <a:lnTo>
                    <a:pt x="261271" y="689324"/>
                  </a:lnTo>
                  <a:lnTo>
                    <a:pt x="250793" y="682657"/>
                  </a:lnTo>
                  <a:lnTo>
                    <a:pt x="246031" y="683228"/>
                  </a:lnTo>
                  <a:lnTo>
                    <a:pt x="242697" y="682085"/>
                  </a:lnTo>
                  <a:lnTo>
                    <a:pt x="245078" y="688181"/>
                  </a:lnTo>
                  <a:lnTo>
                    <a:pt x="242316" y="691705"/>
                  </a:lnTo>
                  <a:lnTo>
                    <a:pt x="242888" y="696468"/>
                  </a:lnTo>
                  <a:lnTo>
                    <a:pt x="238982" y="703421"/>
                  </a:lnTo>
                  <a:lnTo>
                    <a:pt x="242316" y="704564"/>
                  </a:lnTo>
                  <a:lnTo>
                    <a:pt x="240982" y="706374"/>
                  </a:lnTo>
                  <a:lnTo>
                    <a:pt x="239363" y="706565"/>
                  </a:lnTo>
                  <a:lnTo>
                    <a:pt x="241554" y="711137"/>
                  </a:lnTo>
                  <a:lnTo>
                    <a:pt x="239935" y="711327"/>
                  </a:lnTo>
                  <a:lnTo>
                    <a:pt x="236791" y="711708"/>
                  </a:lnTo>
                  <a:lnTo>
                    <a:pt x="234029" y="715232"/>
                  </a:lnTo>
                  <a:lnTo>
                    <a:pt x="237554" y="717995"/>
                  </a:lnTo>
                  <a:lnTo>
                    <a:pt x="231457" y="720376"/>
                  </a:lnTo>
                  <a:lnTo>
                    <a:pt x="230696" y="714089"/>
                  </a:lnTo>
                  <a:lnTo>
                    <a:pt x="227552" y="714470"/>
                  </a:lnTo>
                  <a:lnTo>
                    <a:pt x="219075" y="710755"/>
                  </a:lnTo>
                  <a:lnTo>
                    <a:pt x="216503" y="715899"/>
                  </a:lnTo>
                  <a:lnTo>
                    <a:pt x="209550" y="711994"/>
                  </a:lnTo>
                  <a:lnTo>
                    <a:pt x="204025" y="719138"/>
                  </a:lnTo>
                  <a:lnTo>
                    <a:pt x="197072" y="715232"/>
                  </a:lnTo>
                  <a:lnTo>
                    <a:pt x="194500" y="720376"/>
                  </a:lnTo>
                  <a:lnTo>
                    <a:pt x="187166" y="726091"/>
                  </a:lnTo>
                  <a:lnTo>
                    <a:pt x="185547" y="726281"/>
                  </a:lnTo>
                  <a:lnTo>
                    <a:pt x="181451" y="731615"/>
                  </a:lnTo>
                  <a:lnTo>
                    <a:pt x="187928" y="732377"/>
                  </a:lnTo>
                  <a:lnTo>
                    <a:pt x="188119" y="733997"/>
                  </a:lnTo>
                  <a:lnTo>
                    <a:pt x="186499" y="734187"/>
                  </a:lnTo>
                  <a:lnTo>
                    <a:pt x="185356" y="737521"/>
                  </a:lnTo>
                  <a:lnTo>
                    <a:pt x="180594" y="738092"/>
                  </a:lnTo>
                  <a:lnTo>
                    <a:pt x="180594" y="738092"/>
                  </a:lnTo>
                  <a:lnTo>
                    <a:pt x="178403" y="746379"/>
                  </a:lnTo>
                  <a:lnTo>
                    <a:pt x="170879" y="750570"/>
                  </a:lnTo>
                  <a:lnTo>
                    <a:pt x="158020" y="750570"/>
                  </a:lnTo>
                  <a:cubicBezTo>
                    <a:pt x="158020" y="750570"/>
                    <a:pt x="154686" y="749427"/>
                    <a:pt x="154686" y="749427"/>
                  </a:cubicBezTo>
                  <a:lnTo>
                    <a:pt x="154877" y="751046"/>
                  </a:lnTo>
                  <a:lnTo>
                    <a:pt x="154496" y="760762"/>
                  </a:lnTo>
                  <a:lnTo>
                    <a:pt x="154686" y="762381"/>
                  </a:lnTo>
                  <a:lnTo>
                    <a:pt x="151924" y="765905"/>
                  </a:lnTo>
                  <a:lnTo>
                    <a:pt x="146590" y="761809"/>
                  </a:lnTo>
                  <a:lnTo>
                    <a:pt x="142875" y="770287"/>
                  </a:lnTo>
                  <a:lnTo>
                    <a:pt x="139541" y="769144"/>
                  </a:lnTo>
                  <a:lnTo>
                    <a:pt x="141351" y="770477"/>
                  </a:lnTo>
                  <a:lnTo>
                    <a:pt x="141541" y="772097"/>
                  </a:lnTo>
                  <a:lnTo>
                    <a:pt x="143351" y="773430"/>
                  </a:lnTo>
                  <a:lnTo>
                    <a:pt x="140779" y="778574"/>
                  </a:lnTo>
                  <a:lnTo>
                    <a:pt x="141351" y="783336"/>
                  </a:lnTo>
                  <a:lnTo>
                    <a:pt x="138208" y="783717"/>
                  </a:lnTo>
                  <a:lnTo>
                    <a:pt x="135446" y="787241"/>
                  </a:lnTo>
                  <a:lnTo>
                    <a:pt x="133255" y="782669"/>
                  </a:lnTo>
                  <a:lnTo>
                    <a:pt x="127921" y="778574"/>
                  </a:lnTo>
                  <a:lnTo>
                    <a:pt x="125539" y="772478"/>
                  </a:lnTo>
                  <a:lnTo>
                    <a:pt x="118396" y="766953"/>
                  </a:lnTo>
                  <a:lnTo>
                    <a:pt x="118015" y="763810"/>
                  </a:lnTo>
                  <a:lnTo>
                    <a:pt x="108585" y="765048"/>
                  </a:lnTo>
                  <a:lnTo>
                    <a:pt x="102870" y="770573"/>
                  </a:lnTo>
                  <a:lnTo>
                    <a:pt x="99917" y="772573"/>
                  </a:lnTo>
                  <a:lnTo>
                    <a:pt x="99536" y="769430"/>
                  </a:lnTo>
                  <a:lnTo>
                    <a:pt x="94774" y="770001"/>
                  </a:lnTo>
                  <a:lnTo>
                    <a:pt x="92773" y="767048"/>
                  </a:lnTo>
                  <a:lnTo>
                    <a:pt x="89630" y="767429"/>
                  </a:lnTo>
                  <a:lnTo>
                    <a:pt x="85058" y="769620"/>
                  </a:lnTo>
                  <a:lnTo>
                    <a:pt x="89440" y="778669"/>
                  </a:lnTo>
                  <a:lnTo>
                    <a:pt x="88106" y="780479"/>
                  </a:lnTo>
                  <a:lnTo>
                    <a:pt x="83534" y="782669"/>
                  </a:lnTo>
                  <a:lnTo>
                    <a:pt x="84106" y="787432"/>
                  </a:lnTo>
                  <a:lnTo>
                    <a:pt x="77819" y="788194"/>
                  </a:lnTo>
                  <a:lnTo>
                    <a:pt x="79820" y="791147"/>
                  </a:lnTo>
                  <a:lnTo>
                    <a:pt x="78677" y="794480"/>
                  </a:lnTo>
                  <a:lnTo>
                    <a:pt x="76105" y="799624"/>
                  </a:lnTo>
                  <a:lnTo>
                    <a:pt x="72771" y="798481"/>
                  </a:lnTo>
                  <a:lnTo>
                    <a:pt x="70390" y="792385"/>
                  </a:lnTo>
                  <a:lnTo>
                    <a:pt x="67437" y="794385"/>
                  </a:lnTo>
                  <a:lnTo>
                    <a:pt x="64294" y="794766"/>
                  </a:lnTo>
                  <a:lnTo>
                    <a:pt x="59150" y="792194"/>
                  </a:lnTo>
                  <a:lnTo>
                    <a:pt x="57150" y="789242"/>
                  </a:lnTo>
                  <a:lnTo>
                    <a:pt x="59531" y="782479"/>
                  </a:lnTo>
                  <a:lnTo>
                    <a:pt x="56197" y="781336"/>
                  </a:lnTo>
                  <a:lnTo>
                    <a:pt x="54007" y="776764"/>
                  </a:lnTo>
                  <a:lnTo>
                    <a:pt x="50482" y="774001"/>
                  </a:lnTo>
                  <a:lnTo>
                    <a:pt x="44387" y="776383"/>
                  </a:lnTo>
                  <a:lnTo>
                    <a:pt x="46958" y="784098"/>
                  </a:lnTo>
                  <a:lnTo>
                    <a:pt x="34862" y="777621"/>
                  </a:lnTo>
                  <a:lnTo>
                    <a:pt x="28575" y="778383"/>
                  </a:lnTo>
                  <a:lnTo>
                    <a:pt x="31909" y="779526"/>
                  </a:lnTo>
                  <a:lnTo>
                    <a:pt x="35052" y="779145"/>
                  </a:lnTo>
                  <a:lnTo>
                    <a:pt x="35433" y="782288"/>
                  </a:lnTo>
                  <a:lnTo>
                    <a:pt x="38576" y="781907"/>
                  </a:lnTo>
                  <a:lnTo>
                    <a:pt x="32671" y="785908"/>
                  </a:lnTo>
                  <a:lnTo>
                    <a:pt x="30099" y="791051"/>
                  </a:lnTo>
                  <a:lnTo>
                    <a:pt x="28766" y="792861"/>
                  </a:lnTo>
                  <a:lnTo>
                    <a:pt x="27432" y="794671"/>
                  </a:lnTo>
                  <a:lnTo>
                    <a:pt x="24289" y="795052"/>
                  </a:lnTo>
                  <a:lnTo>
                    <a:pt x="19336" y="794099"/>
                  </a:lnTo>
                  <a:lnTo>
                    <a:pt x="18764" y="789337"/>
                  </a:lnTo>
                  <a:lnTo>
                    <a:pt x="13811" y="788384"/>
                  </a:lnTo>
                  <a:lnTo>
                    <a:pt x="13049" y="794861"/>
                  </a:lnTo>
                  <a:lnTo>
                    <a:pt x="15050" y="797814"/>
                  </a:lnTo>
                  <a:lnTo>
                    <a:pt x="16383" y="796004"/>
                  </a:lnTo>
                  <a:lnTo>
                    <a:pt x="16573" y="797624"/>
                  </a:lnTo>
                  <a:lnTo>
                    <a:pt x="19907" y="798767"/>
                  </a:lnTo>
                  <a:lnTo>
                    <a:pt x="21717" y="800100"/>
                  </a:lnTo>
                  <a:lnTo>
                    <a:pt x="20764" y="805053"/>
                  </a:lnTo>
                  <a:lnTo>
                    <a:pt x="17431" y="803910"/>
                  </a:lnTo>
                  <a:lnTo>
                    <a:pt x="14668" y="807434"/>
                  </a:lnTo>
                  <a:lnTo>
                    <a:pt x="13049" y="807625"/>
                  </a:lnTo>
                  <a:lnTo>
                    <a:pt x="14859" y="808958"/>
                  </a:lnTo>
                  <a:lnTo>
                    <a:pt x="21336" y="809720"/>
                  </a:lnTo>
                  <a:lnTo>
                    <a:pt x="16764" y="811911"/>
                  </a:lnTo>
                  <a:lnTo>
                    <a:pt x="14002" y="815435"/>
                  </a:lnTo>
                  <a:lnTo>
                    <a:pt x="8858" y="812864"/>
                  </a:lnTo>
                  <a:lnTo>
                    <a:pt x="7525" y="814673"/>
                  </a:lnTo>
                  <a:lnTo>
                    <a:pt x="8287" y="820960"/>
                  </a:lnTo>
                  <a:lnTo>
                    <a:pt x="6667" y="821150"/>
                  </a:lnTo>
                  <a:lnTo>
                    <a:pt x="0" y="831628"/>
                  </a:lnTo>
                  <a:lnTo>
                    <a:pt x="13430" y="836295"/>
                  </a:lnTo>
                  <a:lnTo>
                    <a:pt x="27432" y="845725"/>
                  </a:lnTo>
                  <a:lnTo>
                    <a:pt x="43434" y="845249"/>
                  </a:lnTo>
                  <a:lnTo>
                    <a:pt x="49911" y="846010"/>
                  </a:lnTo>
                  <a:lnTo>
                    <a:pt x="52864" y="844010"/>
                  </a:lnTo>
                  <a:lnTo>
                    <a:pt x="58198" y="848106"/>
                  </a:lnTo>
                  <a:lnTo>
                    <a:pt x="65913" y="858393"/>
                  </a:lnTo>
                  <a:lnTo>
                    <a:pt x="70675" y="857822"/>
                  </a:lnTo>
                  <a:lnTo>
                    <a:pt x="68866" y="856488"/>
                  </a:lnTo>
                  <a:lnTo>
                    <a:pt x="82487" y="862775"/>
                  </a:lnTo>
                  <a:lnTo>
                    <a:pt x="91821" y="872776"/>
                  </a:lnTo>
                  <a:lnTo>
                    <a:pt x="95821" y="878681"/>
                  </a:lnTo>
                  <a:lnTo>
                    <a:pt x="102965" y="884206"/>
                  </a:lnTo>
                  <a:lnTo>
                    <a:pt x="107156" y="891731"/>
                  </a:lnTo>
                  <a:lnTo>
                    <a:pt x="110490" y="892874"/>
                  </a:lnTo>
                  <a:lnTo>
                    <a:pt x="114776" y="889159"/>
                  </a:lnTo>
                  <a:lnTo>
                    <a:pt x="122682" y="888111"/>
                  </a:lnTo>
                  <a:lnTo>
                    <a:pt x="125825" y="887730"/>
                  </a:lnTo>
                  <a:lnTo>
                    <a:pt x="126016" y="889349"/>
                  </a:lnTo>
                  <a:lnTo>
                    <a:pt x="144208" y="893445"/>
                  </a:lnTo>
                  <a:lnTo>
                    <a:pt x="154305" y="896969"/>
                  </a:lnTo>
                  <a:lnTo>
                    <a:pt x="165545" y="884301"/>
                  </a:lnTo>
                  <a:lnTo>
                    <a:pt x="169259" y="875824"/>
                  </a:lnTo>
                  <a:lnTo>
                    <a:pt x="171831" y="870680"/>
                  </a:lnTo>
                  <a:lnTo>
                    <a:pt x="181546" y="871061"/>
                  </a:lnTo>
                  <a:lnTo>
                    <a:pt x="191643" y="874585"/>
                  </a:lnTo>
                  <a:lnTo>
                    <a:pt x="202692" y="873157"/>
                  </a:lnTo>
                  <a:lnTo>
                    <a:pt x="206026" y="874300"/>
                  </a:lnTo>
                  <a:lnTo>
                    <a:pt x="209169" y="873919"/>
                  </a:lnTo>
                  <a:lnTo>
                    <a:pt x="214694" y="866775"/>
                  </a:lnTo>
                  <a:lnTo>
                    <a:pt x="216884" y="871347"/>
                  </a:lnTo>
                  <a:lnTo>
                    <a:pt x="222599" y="878681"/>
                  </a:lnTo>
                  <a:lnTo>
                    <a:pt x="221456" y="882015"/>
                  </a:lnTo>
                  <a:lnTo>
                    <a:pt x="216884" y="884206"/>
                  </a:lnTo>
                  <a:lnTo>
                    <a:pt x="217456" y="888968"/>
                  </a:lnTo>
                  <a:lnTo>
                    <a:pt x="227362" y="890873"/>
                  </a:lnTo>
                  <a:lnTo>
                    <a:pt x="232886" y="896588"/>
                  </a:lnTo>
                  <a:lnTo>
                    <a:pt x="240602" y="894017"/>
                  </a:lnTo>
                  <a:lnTo>
                    <a:pt x="240030" y="889254"/>
                  </a:lnTo>
                  <a:lnTo>
                    <a:pt x="238220" y="887921"/>
                  </a:lnTo>
                  <a:lnTo>
                    <a:pt x="241363" y="887540"/>
                  </a:lnTo>
                  <a:lnTo>
                    <a:pt x="243364" y="890492"/>
                  </a:lnTo>
                  <a:lnTo>
                    <a:pt x="243554" y="892111"/>
                  </a:lnTo>
                  <a:lnTo>
                    <a:pt x="243364" y="903351"/>
                  </a:lnTo>
                  <a:lnTo>
                    <a:pt x="247079" y="907637"/>
                  </a:lnTo>
                  <a:lnTo>
                    <a:pt x="250222" y="907256"/>
                  </a:lnTo>
                  <a:lnTo>
                    <a:pt x="255746" y="900113"/>
                  </a:lnTo>
                  <a:lnTo>
                    <a:pt x="259937" y="907637"/>
                  </a:lnTo>
                  <a:lnTo>
                    <a:pt x="260509" y="912400"/>
                  </a:lnTo>
                  <a:lnTo>
                    <a:pt x="258889" y="912590"/>
                  </a:lnTo>
                  <a:lnTo>
                    <a:pt x="255556" y="911447"/>
                  </a:lnTo>
                  <a:lnTo>
                    <a:pt x="253174" y="905351"/>
                  </a:lnTo>
                  <a:lnTo>
                    <a:pt x="253365" y="906971"/>
                  </a:lnTo>
                  <a:lnTo>
                    <a:pt x="252413" y="911924"/>
                  </a:lnTo>
                  <a:lnTo>
                    <a:pt x="254603" y="916496"/>
                  </a:lnTo>
                  <a:lnTo>
                    <a:pt x="264033" y="915257"/>
                  </a:lnTo>
                  <a:lnTo>
                    <a:pt x="269938" y="911257"/>
                  </a:lnTo>
                  <a:lnTo>
                    <a:pt x="273653" y="915543"/>
                  </a:lnTo>
                  <a:lnTo>
                    <a:pt x="278606" y="916496"/>
                  </a:lnTo>
                  <a:lnTo>
                    <a:pt x="275272" y="928116"/>
                  </a:lnTo>
                  <a:lnTo>
                    <a:pt x="278797" y="930878"/>
                  </a:lnTo>
                  <a:lnTo>
                    <a:pt x="282512" y="935260"/>
                  </a:lnTo>
                  <a:lnTo>
                    <a:pt x="285655" y="934879"/>
                  </a:lnTo>
                  <a:lnTo>
                    <a:pt x="288607" y="932878"/>
                  </a:lnTo>
                  <a:lnTo>
                    <a:pt x="287560" y="924973"/>
                  </a:lnTo>
                  <a:lnTo>
                    <a:pt x="290703" y="924592"/>
                  </a:lnTo>
                  <a:lnTo>
                    <a:pt x="292513" y="925925"/>
                  </a:lnTo>
                  <a:lnTo>
                    <a:pt x="291560" y="930878"/>
                  </a:lnTo>
                  <a:lnTo>
                    <a:pt x="299466" y="929831"/>
                  </a:lnTo>
                  <a:lnTo>
                    <a:pt x="301466" y="932783"/>
                  </a:lnTo>
                  <a:lnTo>
                    <a:pt x="294418" y="940118"/>
                  </a:lnTo>
                  <a:lnTo>
                    <a:pt x="294227" y="951357"/>
                  </a:lnTo>
                  <a:lnTo>
                    <a:pt x="303086" y="958215"/>
                  </a:lnTo>
                  <a:lnTo>
                    <a:pt x="306229" y="957834"/>
                  </a:lnTo>
                  <a:lnTo>
                    <a:pt x="321088" y="973550"/>
                  </a:lnTo>
                  <a:lnTo>
                    <a:pt x="326612" y="979265"/>
                  </a:lnTo>
                  <a:lnTo>
                    <a:pt x="366141" y="999934"/>
                  </a:lnTo>
                  <a:lnTo>
                    <a:pt x="378428" y="1008031"/>
                  </a:lnTo>
                  <a:lnTo>
                    <a:pt x="388715" y="1013174"/>
                  </a:lnTo>
                  <a:lnTo>
                    <a:pt x="400526" y="1018032"/>
                  </a:lnTo>
                  <a:lnTo>
                    <a:pt x="408622" y="1018603"/>
                  </a:lnTo>
                  <a:lnTo>
                    <a:pt x="411766" y="1018223"/>
                  </a:lnTo>
                  <a:lnTo>
                    <a:pt x="411385" y="1015079"/>
                  </a:lnTo>
                  <a:lnTo>
                    <a:pt x="414719" y="1016222"/>
                  </a:lnTo>
                  <a:lnTo>
                    <a:pt x="416528" y="1017556"/>
                  </a:lnTo>
                  <a:lnTo>
                    <a:pt x="429768" y="1020699"/>
                  </a:lnTo>
                  <a:lnTo>
                    <a:pt x="430911" y="1017365"/>
                  </a:lnTo>
                  <a:lnTo>
                    <a:pt x="435864" y="1018318"/>
                  </a:lnTo>
                  <a:lnTo>
                    <a:pt x="437674" y="1019651"/>
                  </a:lnTo>
                  <a:lnTo>
                    <a:pt x="440627" y="1017651"/>
                  </a:lnTo>
                  <a:lnTo>
                    <a:pt x="440246" y="1014508"/>
                  </a:lnTo>
                  <a:lnTo>
                    <a:pt x="469868" y="1020318"/>
                  </a:lnTo>
                  <a:lnTo>
                    <a:pt x="507206" y="1023557"/>
                  </a:lnTo>
                  <a:lnTo>
                    <a:pt x="517303" y="1027081"/>
                  </a:lnTo>
                  <a:lnTo>
                    <a:pt x="518922" y="1026890"/>
                  </a:lnTo>
                  <a:lnTo>
                    <a:pt x="521684" y="1023366"/>
                  </a:lnTo>
                  <a:lnTo>
                    <a:pt x="529590" y="1022318"/>
                  </a:lnTo>
                  <a:lnTo>
                    <a:pt x="542830" y="1025461"/>
                  </a:lnTo>
                  <a:lnTo>
                    <a:pt x="547306" y="1023271"/>
                  </a:lnTo>
                  <a:lnTo>
                    <a:pt x="554641" y="1030319"/>
                  </a:lnTo>
                  <a:lnTo>
                    <a:pt x="567880" y="1033463"/>
                  </a:lnTo>
                  <a:lnTo>
                    <a:pt x="573596" y="1027938"/>
                  </a:lnTo>
                  <a:lnTo>
                    <a:pt x="574357" y="1021461"/>
                  </a:lnTo>
                  <a:lnTo>
                    <a:pt x="575691" y="1019651"/>
                  </a:lnTo>
                  <a:lnTo>
                    <a:pt x="575310" y="1016508"/>
                  </a:lnTo>
                  <a:lnTo>
                    <a:pt x="577691" y="1022604"/>
                  </a:lnTo>
                  <a:lnTo>
                    <a:pt x="582263" y="1020413"/>
                  </a:lnTo>
                  <a:lnTo>
                    <a:pt x="584263" y="1023366"/>
                  </a:lnTo>
                  <a:lnTo>
                    <a:pt x="586264" y="1026319"/>
                  </a:lnTo>
                  <a:lnTo>
                    <a:pt x="583502" y="1029843"/>
                  </a:lnTo>
                  <a:lnTo>
                    <a:pt x="587216" y="1034129"/>
                  </a:lnTo>
                  <a:lnTo>
                    <a:pt x="588550" y="1032319"/>
                  </a:lnTo>
                  <a:lnTo>
                    <a:pt x="588931" y="1035463"/>
                  </a:lnTo>
                  <a:lnTo>
                    <a:pt x="599980" y="1034034"/>
                  </a:lnTo>
                  <a:lnTo>
                    <a:pt x="600170" y="1035653"/>
                  </a:lnTo>
                  <a:lnTo>
                    <a:pt x="603313" y="1035272"/>
                  </a:lnTo>
                  <a:lnTo>
                    <a:pt x="606266" y="1033272"/>
                  </a:lnTo>
                  <a:lnTo>
                    <a:pt x="607219" y="1028319"/>
                  </a:lnTo>
                  <a:lnTo>
                    <a:pt x="608647" y="1026509"/>
                  </a:lnTo>
                  <a:lnTo>
                    <a:pt x="609790" y="1023176"/>
                  </a:lnTo>
                  <a:lnTo>
                    <a:pt x="611410" y="1022985"/>
                  </a:lnTo>
                  <a:lnTo>
                    <a:pt x="613410" y="1025938"/>
                  </a:lnTo>
                  <a:lnTo>
                    <a:pt x="619125" y="1020413"/>
                  </a:lnTo>
                  <a:lnTo>
                    <a:pt x="620935" y="1021747"/>
                  </a:lnTo>
                  <a:lnTo>
                    <a:pt x="623888" y="1019747"/>
                  </a:lnTo>
                  <a:lnTo>
                    <a:pt x="626078" y="1011460"/>
                  </a:lnTo>
                  <a:lnTo>
                    <a:pt x="627412" y="1009650"/>
                  </a:lnTo>
                  <a:lnTo>
                    <a:pt x="628364" y="1004697"/>
                  </a:lnTo>
                  <a:lnTo>
                    <a:pt x="633889" y="997553"/>
                  </a:lnTo>
                  <a:lnTo>
                    <a:pt x="639985" y="995172"/>
                  </a:lnTo>
                  <a:lnTo>
                    <a:pt x="644366" y="991457"/>
                  </a:lnTo>
                  <a:lnTo>
                    <a:pt x="644938" y="983361"/>
                  </a:lnTo>
                  <a:lnTo>
                    <a:pt x="643128" y="982027"/>
                  </a:lnTo>
                  <a:lnTo>
                    <a:pt x="642938" y="980408"/>
                  </a:lnTo>
                  <a:lnTo>
                    <a:pt x="645128" y="972122"/>
                  </a:lnTo>
                  <a:lnTo>
                    <a:pt x="650462" y="963454"/>
                  </a:lnTo>
                  <a:lnTo>
                    <a:pt x="649700" y="957167"/>
                  </a:lnTo>
                  <a:lnTo>
                    <a:pt x="652463" y="953643"/>
                  </a:lnTo>
                  <a:lnTo>
                    <a:pt x="661130" y="946118"/>
                  </a:lnTo>
                  <a:lnTo>
                    <a:pt x="660940" y="944499"/>
                  </a:lnTo>
                  <a:lnTo>
                    <a:pt x="657606" y="943356"/>
                  </a:lnTo>
                  <a:lnTo>
                    <a:pt x="660749" y="942975"/>
                  </a:lnTo>
                  <a:lnTo>
                    <a:pt x="671417" y="951262"/>
                  </a:lnTo>
                  <a:lnTo>
                    <a:pt x="687610" y="952405"/>
                  </a:lnTo>
                  <a:lnTo>
                    <a:pt x="698468" y="949452"/>
                  </a:lnTo>
                  <a:lnTo>
                    <a:pt x="700659" y="954024"/>
                  </a:lnTo>
                  <a:lnTo>
                    <a:pt x="705231" y="951833"/>
                  </a:lnTo>
                  <a:lnTo>
                    <a:pt x="710565" y="943166"/>
                  </a:lnTo>
                  <a:lnTo>
                    <a:pt x="714661" y="937832"/>
                  </a:lnTo>
                  <a:lnTo>
                    <a:pt x="725519" y="947642"/>
                  </a:lnTo>
                  <a:lnTo>
                    <a:pt x="727520" y="950595"/>
                  </a:lnTo>
                  <a:lnTo>
                    <a:pt x="735044" y="959263"/>
                  </a:lnTo>
                  <a:lnTo>
                    <a:pt x="746474" y="960977"/>
                  </a:lnTo>
                  <a:lnTo>
                    <a:pt x="755142" y="966311"/>
                  </a:lnTo>
                  <a:lnTo>
                    <a:pt x="754380" y="972788"/>
                  </a:lnTo>
                  <a:lnTo>
                    <a:pt x="765810" y="974503"/>
                  </a:lnTo>
                  <a:lnTo>
                    <a:pt x="770572" y="973931"/>
                  </a:lnTo>
                  <a:lnTo>
                    <a:pt x="780193" y="974312"/>
                  </a:lnTo>
                  <a:lnTo>
                    <a:pt x="781812" y="974122"/>
                  </a:lnTo>
                  <a:lnTo>
                    <a:pt x="782764" y="969169"/>
                  </a:lnTo>
                  <a:lnTo>
                    <a:pt x="790480" y="966597"/>
                  </a:lnTo>
                  <a:lnTo>
                    <a:pt x="790670" y="968216"/>
                  </a:lnTo>
                  <a:lnTo>
                    <a:pt x="797338" y="970598"/>
                  </a:lnTo>
                  <a:lnTo>
                    <a:pt x="804005" y="972979"/>
                  </a:lnTo>
                  <a:lnTo>
                    <a:pt x="806387" y="979075"/>
                  </a:lnTo>
                  <a:lnTo>
                    <a:pt x="813721" y="986123"/>
                  </a:lnTo>
                  <a:lnTo>
                    <a:pt x="817150" y="1000125"/>
                  </a:lnTo>
                  <a:lnTo>
                    <a:pt x="818197" y="1008031"/>
                  </a:lnTo>
                  <a:lnTo>
                    <a:pt x="812863" y="1016699"/>
                  </a:lnTo>
                  <a:lnTo>
                    <a:pt x="813245" y="1019842"/>
                  </a:lnTo>
                  <a:lnTo>
                    <a:pt x="817436" y="1027367"/>
                  </a:lnTo>
                  <a:lnTo>
                    <a:pt x="819817" y="1033463"/>
                  </a:lnTo>
                  <a:lnTo>
                    <a:pt x="822960" y="1033082"/>
                  </a:lnTo>
                  <a:lnTo>
                    <a:pt x="833247" y="1025366"/>
                  </a:lnTo>
                  <a:lnTo>
                    <a:pt x="834771" y="1025176"/>
                  </a:lnTo>
                  <a:lnTo>
                    <a:pt x="836200" y="1023366"/>
                  </a:lnTo>
                  <a:lnTo>
                    <a:pt x="844105" y="1022318"/>
                  </a:lnTo>
                  <a:lnTo>
                    <a:pt x="849058" y="1023271"/>
                  </a:lnTo>
                  <a:lnTo>
                    <a:pt x="850868" y="1024604"/>
                  </a:lnTo>
                  <a:lnTo>
                    <a:pt x="854012" y="1024223"/>
                  </a:lnTo>
                  <a:lnTo>
                    <a:pt x="852678" y="1026033"/>
                  </a:lnTo>
                  <a:lnTo>
                    <a:pt x="852869" y="1027652"/>
                  </a:lnTo>
                  <a:lnTo>
                    <a:pt x="856012" y="1027271"/>
                  </a:lnTo>
                  <a:lnTo>
                    <a:pt x="857822" y="1028605"/>
                  </a:lnTo>
                  <a:lnTo>
                    <a:pt x="858203" y="1031748"/>
                  </a:lnTo>
                  <a:lnTo>
                    <a:pt x="865918" y="1029176"/>
                  </a:lnTo>
                  <a:lnTo>
                    <a:pt x="870109" y="1036701"/>
                  </a:lnTo>
                  <a:lnTo>
                    <a:pt x="870680" y="1041464"/>
                  </a:lnTo>
                  <a:lnTo>
                    <a:pt x="874205" y="1044226"/>
                  </a:lnTo>
                  <a:lnTo>
                    <a:pt x="874395" y="1045845"/>
                  </a:lnTo>
                  <a:lnTo>
                    <a:pt x="878967" y="1043654"/>
                  </a:lnTo>
                  <a:lnTo>
                    <a:pt x="884682" y="1050893"/>
                  </a:lnTo>
                  <a:lnTo>
                    <a:pt x="886301" y="1050703"/>
                  </a:lnTo>
                  <a:lnTo>
                    <a:pt x="889254" y="1048702"/>
                  </a:lnTo>
                  <a:lnTo>
                    <a:pt x="891064" y="1050036"/>
                  </a:lnTo>
                  <a:lnTo>
                    <a:pt x="895826" y="1049465"/>
                  </a:lnTo>
                  <a:lnTo>
                    <a:pt x="902780" y="1053370"/>
                  </a:lnTo>
                  <a:lnTo>
                    <a:pt x="904970" y="1057942"/>
                  </a:lnTo>
                  <a:lnTo>
                    <a:pt x="908875" y="1050989"/>
                  </a:lnTo>
                  <a:lnTo>
                    <a:pt x="913829" y="1051941"/>
                  </a:lnTo>
                  <a:lnTo>
                    <a:pt x="923449" y="1052322"/>
                  </a:lnTo>
                  <a:lnTo>
                    <a:pt x="928973" y="1045178"/>
                  </a:lnTo>
                  <a:lnTo>
                    <a:pt x="934498" y="1050893"/>
                  </a:lnTo>
                  <a:lnTo>
                    <a:pt x="953643" y="1050036"/>
                  </a:lnTo>
                  <a:lnTo>
                    <a:pt x="960120" y="1037939"/>
                  </a:lnTo>
                  <a:lnTo>
                    <a:pt x="964311" y="1045464"/>
                  </a:lnTo>
                  <a:lnTo>
                    <a:pt x="974027" y="1045845"/>
                  </a:lnTo>
                  <a:lnTo>
                    <a:pt x="976979" y="1043845"/>
                  </a:lnTo>
                  <a:lnTo>
                    <a:pt x="980504" y="1046607"/>
                  </a:lnTo>
                  <a:lnTo>
                    <a:pt x="977360" y="1046988"/>
                  </a:lnTo>
                  <a:lnTo>
                    <a:pt x="979551" y="1051560"/>
                  </a:lnTo>
                  <a:lnTo>
                    <a:pt x="983266" y="1055846"/>
                  </a:lnTo>
                  <a:lnTo>
                    <a:pt x="981932" y="1057656"/>
                  </a:lnTo>
                  <a:lnTo>
                    <a:pt x="987266" y="1061752"/>
                  </a:lnTo>
                  <a:lnTo>
                    <a:pt x="988028" y="1068038"/>
                  </a:lnTo>
                  <a:lnTo>
                    <a:pt x="988409" y="1071182"/>
                  </a:lnTo>
                  <a:lnTo>
                    <a:pt x="987266" y="1074515"/>
                  </a:lnTo>
                  <a:lnTo>
                    <a:pt x="989076" y="1075849"/>
                  </a:lnTo>
                  <a:lnTo>
                    <a:pt x="987743" y="1077659"/>
                  </a:lnTo>
                  <a:lnTo>
                    <a:pt x="988123" y="1080802"/>
                  </a:lnTo>
                  <a:lnTo>
                    <a:pt x="986504" y="1080992"/>
                  </a:lnTo>
                  <a:lnTo>
                    <a:pt x="986695" y="1082611"/>
                  </a:lnTo>
                  <a:lnTo>
                    <a:pt x="984123" y="1087755"/>
                  </a:lnTo>
                  <a:lnTo>
                    <a:pt x="984695" y="1092518"/>
                  </a:lnTo>
                  <a:lnTo>
                    <a:pt x="991362" y="1094899"/>
                  </a:lnTo>
                  <a:lnTo>
                    <a:pt x="993553" y="1099471"/>
                  </a:lnTo>
                  <a:lnTo>
                    <a:pt x="992219" y="1101281"/>
                  </a:lnTo>
                  <a:lnTo>
                    <a:pt x="994029" y="1102614"/>
                  </a:lnTo>
                  <a:lnTo>
                    <a:pt x="992696" y="1104424"/>
                  </a:lnTo>
                  <a:lnTo>
                    <a:pt x="994886" y="1108996"/>
                  </a:lnTo>
                  <a:lnTo>
                    <a:pt x="993934" y="1113949"/>
                  </a:lnTo>
                  <a:lnTo>
                    <a:pt x="990981" y="1115949"/>
                  </a:lnTo>
                  <a:lnTo>
                    <a:pt x="993362" y="1122045"/>
                  </a:lnTo>
                  <a:lnTo>
                    <a:pt x="992029" y="1123855"/>
                  </a:lnTo>
                  <a:lnTo>
                    <a:pt x="995744" y="1128141"/>
                  </a:lnTo>
                  <a:lnTo>
                    <a:pt x="997363" y="1127951"/>
                  </a:lnTo>
                  <a:lnTo>
                    <a:pt x="997934" y="1132713"/>
                  </a:lnTo>
                  <a:lnTo>
                    <a:pt x="996601" y="1134523"/>
                  </a:lnTo>
                  <a:lnTo>
                    <a:pt x="997363" y="1140809"/>
                  </a:lnTo>
                  <a:lnTo>
                    <a:pt x="993457" y="1147763"/>
                  </a:lnTo>
                  <a:lnTo>
                    <a:pt x="992505" y="1152716"/>
                  </a:lnTo>
                  <a:lnTo>
                    <a:pt x="999172" y="1155097"/>
                  </a:lnTo>
                  <a:lnTo>
                    <a:pt x="1007459" y="1157288"/>
                  </a:lnTo>
                  <a:lnTo>
                    <a:pt x="1011174" y="1161574"/>
                  </a:lnTo>
                  <a:lnTo>
                    <a:pt x="1010983" y="1159955"/>
                  </a:lnTo>
                  <a:lnTo>
                    <a:pt x="1010412" y="1155192"/>
                  </a:lnTo>
                  <a:lnTo>
                    <a:pt x="1015365" y="1156144"/>
                  </a:lnTo>
                  <a:lnTo>
                    <a:pt x="1016889" y="1155954"/>
                  </a:lnTo>
                  <a:lnTo>
                    <a:pt x="1015079" y="1154621"/>
                  </a:lnTo>
                  <a:lnTo>
                    <a:pt x="1014698" y="1151477"/>
                  </a:lnTo>
                  <a:lnTo>
                    <a:pt x="1017841" y="1151096"/>
                  </a:lnTo>
                  <a:lnTo>
                    <a:pt x="1017080" y="1144810"/>
                  </a:lnTo>
                  <a:lnTo>
                    <a:pt x="1018604" y="1144619"/>
                  </a:lnTo>
                  <a:lnTo>
                    <a:pt x="1020794" y="1149191"/>
                  </a:lnTo>
                  <a:lnTo>
                    <a:pt x="1020223" y="1144429"/>
                  </a:lnTo>
                  <a:lnTo>
                    <a:pt x="1025366" y="1147001"/>
                  </a:lnTo>
                  <a:lnTo>
                    <a:pt x="1026795" y="1145191"/>
                  </a:lnTo>
                  <a:lnTo>
                    <a:pt x="1023271" y="1142428"/>
                  </a:lnTo>
                  <a:lnTo>
                    <a:pt x="1026414" y="1142048"/>
                  </a:lnTo>
                  <a:lnTo>
                    <a:pt x="1020508" y="1133189"/>
                  </a:lnTo>
                  <a:lnTo>
                    <a:pt x="1021937" y="1131380"/>
                  </a:lnTo>
                  <a:lnTo>
                    <a:pt x="1027271" y="1135475"/>
                  </a:lnTo>
                  <a:lnTo>
                    <a:pt x="1025080" y="1130903"/>
                  </a:lnTo>
                  <a:lnTo>
                    <a:pt x="1029653" y="1128713"/>
                  </a:lnTo>
                  <a:lnTo>
                    <a:pt x="1024319" y="1124617"/>
                  </a:lnTo>
                  <a:lnTo>
                    <a:pt x="1032034" y="1122045"/>
                  </a:lnTo>
                  <a:lnTo>
                    <a:pt x="1026700" y="1117949"/>
                  </a:lnTo>
                  <a:lnTo>
                    <a:pt x="1026223" y="1101947"/>
                  </a:lnTo>
                  <a:lnTo>
                    <a:pt x="1030510" y="1098233"/>
                  </a:lnTo>
                  <a:lnTo>
                    <a:pt x="1026795" y="1093946"/>
                  </a:lnTo>
                  <a:lnTo>
                    <a:pt x="1028129" y="1092136"/>
                  </a:lnTo>
                  <a:lnTo>
                    <a:pt x="1030319" y="1096709"/>
                  </a:lnTo>
                  <a:lnTo>
                    <a:pt x="1031653" y="1094899"/>
                  </a:lnTo>
                  <a:lnTo>
                    <a:pt x="1030891" y="1088612"/>
                  </a:lnTo>
                  <a:lnTo>
                    <a:pt x="1032510" y="1088422"/>
                  </a:lnTo>
                  <a:lnTo>
                    <a:pt x="1031938" y="1083659"/>
                  </a:lnTo>
                  <a:lnTo>
                    <a:pt x="1034891" y="1081659"/>
                  </a:lnTo>
                  <a:lnTo>
                    <a:pt x="1034129" y="1075373"/>
                  </a:lnTo>
                  <a:lnTo>
                    <a:pt x="1035463" y="1073563"/>
                  </a:lnTo>
                  <a:lnTo>
                    <a:pt x="1038987" y="1076325"/>
                  </a:lnTo>
                  <a:lnTo>
                    <a:pt x="1042130" y="1075944"/>
                  </a:lnTo>
                  <a:lnTo>
                    <a:pt x="1041940" y="1074325"/>
                  </a:lnTo>
                  <a:lnTo>
                    <a:pt x="1043083" y="1070991"/>
                  </a:lnTo>
                  <a:lnTo>
                    <a:pt x="1046607" y="1073753"/>
                  </a:lnTo>
                  <a:lnTo>
                    <a:pt x="1049179" y="1068610"/>
                  </a:lnTo>
                  <a:lnTo>
                    <a:pt x="1044416" y="1069181"/>
                  </a:lnTo>
                  <a:lnTo>
                    <a:pt x="1045750" y="1067372"/>
                  </a:lnTo>
                  <a:lnTo>
                    <a:pt x="1042416" y="1066228"/>
                  </a:lnTo>
                  <a:lnTo>
                    <a:pt x="1043749" y="1064419"/>
                  </a:lnTo>
                  <a:lnTo>
                    <a:pt x="1053179" y="1063181"/>
                  </a:lnTo>
                  <a:lnTo>
                    <a:pt x="1048036" y="1060609"/>
                  </a:lnTo>
                  <a:lnTo>
                    <a:pt x="1049179" y="1057275"/>
                  </a:lnTo>
                  <a:lnTo>
                    <a:pt x="1047845" y="1059085"/>
                  </a:lnTo>
                  <a:lnTo>
                    <a:pt x="1046036" y="1057751"/>
                  </a:lnTo>
                  <a:lnTo>
                    <a:pt x="1047179" y="1054418"/>
                  </a:lnTo>
                  <a:lnTo>
                    <a:pt x="1048988" y="1055751"/>
                  </a:lnTo>
                  <a:lnTo>
                    <a:pt x="1047179" y="1054418"/>
                  </a:lnTo>
                  <a:lnTo>
                    <a:pt x="1048131" y="1049465"/>
                  </a:lnTo>
                  <a:lnTo>
                    <a:pt x="1049941" y="1050798"/>
                  </a:lnTo>
                  <a:lnTo>
                    <a:pt x="1051370" y="1048988"/>
                  </a:lnTo>
                  <a:lnTo>
                    <a:pt x="1049560" y="1047655"/>
                  </a:lnTo>
                  <a:lnTo>
                    <a:pt x="1048988" y="1042892"/>
                  </a:lnTo>
                  <a:lnTo>
                    <a:pt x="1051941" y="1040892"/>
                  </a:lnTo>
                  <a:lnTo>
                    <a:pt x="1048798" y="1041273"/>
                  </a:lnTo>
                  <a:lnTo>
                    <a:pt x="1048226" y="1036510"/>
                  </a:lnTo>
                  <a:lnTo>
                    <a:pt x="1046607" y="1036701"/>
                  </a:lnTo>
                  <a:lnTo>
                    <a:pt x="1044988" y="1036892"/>
                  </a:lnTo>
                  <a:lnTo>
                    <a:pt x="1049369" y="1033177"/>
                  </a:lnTo>
                  <a:lnTo>
                    <a:pt x="1052703" y="1034320"/>
                  </a:lnTo>
                  <a:lnTo>
                    <a:pt x="1052322" y="1031176"/>
                  </a:lnTo>
                  <a:lnTo>
                    <a:pt x="1055656" y="1032319"/>
                  </a:lnTo>
                  <a:lnTo>
                    <a:pt x="1056799" y="1028986"/>
                  </a:lnTo>
                  <a:lnTo>
                    <a:pt x="1057751" y="1024033"/>
                  </a:lnTo>
                  <a:lnTo>
                    <a:pt x="1059561" y="1025366"/>
                  </a:lnTo>
                  <a:lnTo>
                    <a:pt x="1058989" y="1020604"/>
                  </a:lnTo>
                  <a:lnTo>
                    <a:pt x="1065276" y="1019842"/>
                  </a:lnTo>
                  <a:lnTo>
                    <a:pt x="1064514" y="1013555"/>
                  </a:lnTo>
                  <a:lnTo>
                    <a:pt x="1066895" y="1006793"/>
                  </a:lnTo>
                  <a:lnTo>
                    <a:pt x="1072801" y="1002792"/>
                  </a:lnTo>
                  <a:lnTo>
                    <a:pt x="1075373" y="997649"/>
                  </a:lnTo>
                  <a:lnTo>
                    <a:pt x="1079659" y="993934"/>
                  </a:lnTo>
                  <a:lnTo>
                    <a:pt x="1079468" y="992315"/>
                  </a:lnTo>
                  <a:lnTo>
                    <a:pt x="1076706" y="995839"/>
                  </a:lnTo>
                  <a:lnTo>
                    <a:pt x="1074896" y="994505"/>
                  </a:lnTo>
                  <a:lnTo>
                    <a:pt x="1078230" y="982885"/>
                  </a:lnTo>
                  <a:lnTo>
                    <a:pt x="1078039" y="981266"/>
                  </a:lnTo>
                  <a:lnTo>
                    <a:pt x="1083183" y="983837"/>
                  </a:lnTo>
                  <a:lnTo>
                    <a:pt x="1084326" y="980503"/>
                  </a:lnTo>
                  <a:lnTo>
                    <a:pt x="1086136" y="981837"/>
                  </a:lnTo>
                  <a:lnTo>
                    <a:pt x="1087469" y="980027"/>
                  </a:lnTo>
                  <a:lnTo>
                    <a:pt x="1085660" y="978694"/>
                  </a:lnTo>
                  <a:lnTo>
                    <a:pt x="1090613" y="979646"/>
                  </a:lnTo>
                  <a:lnTo>
                    <a:pt x="1093565" y="977646"/>
                  </a:lnTo>
                  <a:lnTo>
                    <a:pt x="1088422" y="975074"/>
                  </a:lnTo>
                  <a:lnTo>
                    <a:pt x="1088231" y="973455"/>
                  </a:lnTo>
                  <a:lnTo>
                    <a:pt x="1090041" y="974789"/>
                  </a:lnTo>
                  <a:lnTo>
                    <a:pt x="1094804" y="974217"/>
                  </a:lnTo>
                  <a:lnTo>
                    <a:pt x="1094423" y="971074"/>
                  </a:lnTo>
                  <a:lnTo>
                    <a:pt x="1095756" y="969264"/>
                  </a:lnTo>
                  <a:lnTo>
                    <a:pt x="1097566" y="970598"/>
                  </a:lnTo>
                  <a:lnTo>
                    <a:pt x="1097185" y="967454"/>
                  </a:lnTo>
                  <a:lnTo>
                    <a:pt x="1098804" y="967264"/>
                  </a:lnTo>
                  <a:lnTo>
                    <a:pt x="1103186" y="963549"/>
                  </a:lnTo>
                  <a:lnTo>
                    <a:pt x="1105186" y="966502"/>
                  </a:lnTo>
                  <a:lnTo>
                    <a:pt x="1112044" y="957643"/>
                  </a:lnTo>
                  <a:lnTo>
                    <a:pt x="1108710" y="956501"/>
                  </a:lnTo>
                  <a:lnTo>
                    <a:pt x="1109472" y="950024"/>
                  </a:lnTo>
                  <a:lnTo>
                    <a:pt x="1112234" y="946499"/>
                  </a:lnTo>
                  <a:lnTo>
                    <a:pt x="1113854" y="946309"/>
                  </a:lnTo>
                  <a:lnTo>
                    <a:pt x="1111853" y="943356"/>
                  </a:lnTo>
                  <a:lnTo>
                    <a:pt x="1113473" y="943166"/>
                  </a:lnTo>
                  <a:lnTo>
                    <a:pt x="1114997" y="942975"/>
                  </a:lnTo>
                  <a:lnTo>
                    <a:pt x="1114615" y="939832"/>
                  </a:lnTo>
                  <a:lnTo>
                    <a:pt x="1117759" y="939451"/>
                  </a:lnTo>
                  <a:lnTo>
                    <a:pt x="1117378" y="936308"/>
                  </a:lnTo>
                  <a:lnTo>
                    <a:pt x="1120140" y="932783"/>
                  </a:lnTo>
                  <a:lnTo>
                    <a:pt x="1121093" y="927830"/>
                  </a:lnTo>
                  <a:lnTo>
                    <a:pt x="1118521" y="920115"/>
                  </a:lnTo>
                  <a:lnTo>
                    <a:pt x="1120712" y="911828"/>
                  </a:lnTo>
                  <a:lnTo>
                    <a:pt x="1118902" y="910495"/>
                  </a:lnTo>
                  <a:lnTo>
                    <a:pt x="1123188" y="906780"/>
                  </a:lnTo>
                  <a:lnTo>
                    <a:pt x="1121188" y="903827"/>
                  </a:lnTo>
                  <a:lnTo>
                    <a:pt x="1124331" y="903446"/>
                  </a:lnTo>
                  <a:lnTo>
                    <a:pt x="1126903" y="898303"/>
                  </a:lnTo>
                  <a:lnTo>
                    <a:pt x="1138714" y="903160"/>
                  </a:lnTo>
                  <a:lnTo>
                    <a:pt x="1146620" y="902113"/>
                  </a:lnTo>
                  <a:lnTo>
                    <a:pt x="1149763" y="901732"/>
                  </a:lnTo>
                  <a:lnTo>
                    <a:pt x="1150715" y="896779"/>
                  </a:lnTo>
                  <a:lnTo>
                    <a:pt x="1153668" y="894778"/>
                  </a:lnTo>
                  <a:lnTo>
                    <a:pt x="1153668" y="894778"/>
                  </a:lnTo>
                  <a:lnTo>
                    <a:pt x="1150525" y="895159"/>
                  </a:lnTo>
                  <a:lnTo>
                    <a:pt x="1151287" y="888683"/>
                  </a:lnTo>
                  <a:lnTo>
                    <a:pt x="1153287" y="891635"/>
                  </a:lnTo>
                  <a:lnTo>
                    <a:pt x="1157764" y="889444"/>
                  </a:lnTo>
                  <a:lnTo>
                    <a:pt x="1155764" y="886492"/>
                  </a:lnTo>
                  <a:lnTo>
                    <a:pt x="1160716" y="887444"/>
                  </a:lnTo>
                  <a:lnTo>
                    <a:pt x="1160526" y="885825"/>
                  </a:lnTo>
                  <a:lnTo>
                    <a:pt x="1158526" y="882872"/>
                  </a:lnTo>
                  <a:lnTo>
                    <a:pt x="1161669" y="882491"/>
                  </a:lnTo>
                  <a:lnTo>
                    <a:pt x="1164622" y="880491"/>
                  </a:lnTo>
                  <a:lnTo>
                    <a:pt x="1162622" y="877538"/>
                  </a:lnTo>
                  <a:lnTo>
                    <a:pt x="1165574" y="875538"/>
                  </a:lnTo>
                  <a:lnTo>
                    <a:pt x="1167194" y="875348"/>
                  </a:lnTo>
                  <a:lnTo>
                    <a:pt x="1166241" y="880301"/>
                  </a:lnTo>
                  <a:lnTo>
                    <a:pt x="1169384" y="879919"/>
                  </a:lnTo>
                  <a:lnTo>
                    <a:pt x="1169003" y="876776"/>
                  </a:lnTo>
                  <a:lnTo>
                    <a:pt x="1166813" y="872204"/>
                  </a:lnTo>
                  <a:lnTo>
                    <a:pt x="1166431" y="869061"/>
                  </a:lnTo>
                  <a:lnTo>
                    <a:pt x="1167765" y="867251"/>
                  </a:lnTo>
                  <a:lnTo>
                    <a:pt x="1174528" y="869633"/>
                  </a:lnTo>
                  <a:lnTo>
                    <a:pt x="1173956" y="864870"/>
                  </a:lnTo>
                  <a:lnTo>
                    <a:pt x="1179671" y="859346"/>
                  </a:lnTo>
                  <a:lnTo>
                    <a:pt x="1182814" y="858965"/>
                  </a:lnTo>
                  <a:lnTo>
                    <a:pt x="1182814" y="858965"/>
                  </a:lnTo>
                  <a:lnTo>
                    <a:pt x="1185958" y="858584"/>
                  </a:lnTo>
                  <a:lnTo>
                    <a:pt x="1187577" y="858393"/>
                  </a:lnTo>
                  <a:lnTo>
                    <a:pt x="1187768" y="860012"/>
                  </a:lnTo>
                  <a:lnTo>
                    <a:pt x="1189577" y="861346"/>
                  </a:lnTo>
                  <a:lnTo>
                    <a:pt x="1190911" y="859536"/>
                  </a:lnTo>
                  <a:lnTo>
                    <a:pt x="1196054" y="862108"/>
                  </a:lnTo>
                  <a:lnTo>
                    <a:pt x="1200340" y="858393"/>
                  </a:lnTo>
                  <a:lnTo>
                    <a:pt x="1202531" y="862965"/>
                  </a:lnTo>
                  <a:lnTo>
                    <a:pt x="1205865" y="864108"/>
                  </a:lnTo>
                  <a:lnTo>
                    <a:pt x="1209389" y="866870"/>
                  </a:lnTo>
                  <a:lnTo>
                    <a:pt x="1217295" y="865823"/>
                  </a:lnTo>
                  <a:lnTo>
                    <a:pt x="1221296" y="871728"/>
                  </a:lnTo>
                  <a:lnTo>
                    <a:pt x="1227963" y="874109"/>
                  </a:lnTo>
                  <a:lnTo>
                    <a:pt x="1234249" y="873347"/>
                  </a:lnTo>
                  <a:lnTo>
                    <a:pt x="1240727" y="874109"/>
                  </a:lnTo>
                  <a:lnTo>
                    <a:pt x="1243108" y="880205"/>
                  </a:lnTo>
                  <a:lnTo>
                    <a:pt x="1255205" y="886682"/>
                  </a:lnTo>
                  <a:lnTo>
                    <a:pt x="1259205" y="892588"/>
                  </a:lnTo>
                  <a:lnTo>
                    <a:pt x="1264158" y="893540"/>
                  </a:lnTo>
                  <a:lnTo>
                    <a:pt x="1270254" y="891159"/>
                  </a:lnTo>
                  <a:lnTo>
                    <a:pt x="1272064" y="892493"/>
                  </a:lnTo>
                  <a:lnTo>
                    <a:pt x="1274445" y="898589"/>
                  </a:lnTo>
                  <a:lnTo>
                    <a:pt x="1280160" y="905827"/>
                  </a:lnTo>
                  <a:lnTo>
                    <a:pt x="1290638" y="912495"/>
                  </a:lnTo>
                  <a:lnTo>
                    <a:pt x="1292828" y="917067"/>
                  </a:lnTo>
                  <a:lnTo>
                    <a:pt x="1295972" y="916686"/>
                  </a:lnTo>
                  <a:lnTo>
                    <a:pt x="1302068" y="927164"/>
                  </a:lnTo>
                  <a:lnTo>
                    <a:pt x="1314069" y="920782"/>
                  </a:lnTo>
                  <a:lnTo>
                    <a:pt x="1319213" y="923353"/>
                  </a:lnTo>
                  <a:lnTo>
                    <a:pt x="1322356" y="922973"/>
                  </a:lnTo>
                  <a:lnTo>
                    <a:pt x="1325880" y="925735"/>
                  </a:lnTo>
                  <a:lnTo>
                    <a:pt x="1331405" y="918591"/>
                  </a:lnTo>
                  <a:lnTo>
                    <a:pt x="1338644" y="912876"/>
                  </a:lnTo>
                  <a:lnTo>
                    <a:pt x="1341406" y="909352"/>
                  </a:lnTo>
                  <a:lnTo>
                    <a:pt x="1347883" y="910114"/>
                  </a:lnTo>
                  <a:lnTo>
                    <a:pt x="1350455" y="904970"/>
                  </a:lnTo>
                  <a:lnTo>
                    <a:pt x="1353979" y="894874"/>
                  </a:lnTo>
                  <a:lnTo>
                    <a:pt x="1359313" y="898969"/>
                  </a:lnTo>
                  <a:lnTo>
                    <a:pt x="1358741" y="894207"/>
                  </a:lnTo>
                  <a:lnTo>
                    <a:pt x="1364266" y="887063"/>
                  </a:lnTo>
                  <a:lnTo>
                    <a:pt x="1382649" y="892778"/>
                  </a:lnTo>
                  <a:lnTo>
                    <a:pt x="1387793" y="895350"/>
                  </a:lnTo>
                  <a:lnTo>
                    <a:pt x="1395698" y="907161"/>
                  </a:lnTo>
                  <a:lnTo>
                    <a:pt x="1406747" y="918591"/>
                  </a:lnTo>
                  <a:lnTo>
                    <a:pt x="1405128" y="918782"/>
                  </a:lnTo>
                  <a:lnTo>
                    <a:pt x="1406938" y="920115"/>
                  </a:lnTo>
                  <a:lnTo>
                    <a:pt x="1412462" y="925830"/>
                  </a:lnTo>
                  <a:lnTo>
                    <a:pt x="1420368" y="924782"/>
                  </a:lnTo>
                  <a:lnTo>
                    <a:pt x="1427416" y="917448"/>
                  </a:lnTo>
                  <a:lnTo>
                    <a:pt x="1435703" y="919639"/>
                  </a:lnTo>
                  <a:lnTo>
                    <a:pt x="1442371" y="909161"/>
                  </a:lnTo>
                  <a:lnTo>
                    <a:pt x="1450657" y="911352"/>
                  </a:lnTo>
                  <a:lnTo>
                    <a:pt x="1455230" y="909161"/>
                  </a:lnTo>
                  <a:lnTo>
                    <a:pt x="1463326" y="909733"/>
                  </a:lnTo>
                  <a:lnTo>
                    <a:pt x="1467612" y="906018"/>
                  </a:lnTo>
                  <a:lnTo>
                    <a:pt x="1469327" y="894588"/>
                  </a:lnTo>
                  <a:lnTo>
                    <a:pt x="1472089" y="891064"/>
                  </a:lnTo>
                  <a:lnTo>
                    <a:pt x="1484757" y="889444"/>
                  </a:lnTo>
                  <a:lnTo>
                    <a:pt x="1485519" y="882968"/>
                  </a:lnTo>
                  <a:lnTo>
                    <a:pt x="1491044" y="875824"/>
                  </a:lnTo>
                  <a:lnTo>
                    <a:pt x="1497330" y="875062"/>
                  </a:lnTo>
                  <a:lnTo>
                    <a:pt x="1502283" y="876014"/>
                  </a:lnTo>
                  <a:lnTo>
                    <a:pt x="1495139" y="857726"/>
                  </a:lnTo>
                  <a:lnTo>
                    <a:pt x="1495139" y="857726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5" name="Volný tvar: obrazec 34">
              <a:extLst>
                <a:ext uri="{FF2B5EF4-FFF2-40B4-BE49-F238E27FC236}">
                  <a16:creationId xmlns:a16="http://schemas.microsoft.com/office/drawing/2014/main" id="{7A1C3BBC-A7B8-7383-F39C-ABAC8308B8A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90470" y="2042826"/>
              <a:ext cx="887920" cy="627602"/>
            </a:xfrm>
            <a:custGeom>
              <a:avLst/>
              <a:gdLst>
                <a:gd name="connsiteX0" fmla="*/ 883920 w 887920"/>
                <a:gd name="connsiteY0" fmla="*/ 565595 h 627602"/>
                <a:gd name="connsiteX1" fmla="*/ 883158 w 887920"/>
                <a:gd name="connsiteY1" fmla="*/ 559308 h 627602"/>
                <a:gd name="connsiteX2" fmla="*/ 881634 w 887920"/>
                <a:gd name="connsiteY2" fmla="*/ 559499 h 627602"/>
                <a:gd name="connsiteX3" fmla="*/ 877443 w 887920"/>
                <a:gd name="connsiteY3" fmla="*/ 551974 h 627602"/>
                <a:gd name="connsiteX4" fmla="*/ 873824 w 887920"/>
                <a:gd name="connsiteY4" fmla="*/ 549212 h 627602"/>
                <a:gd name="connsiteX5" fmla="*/ 873443 w 887920"/>
                <a:gd name="connsiteY5" fmla="*/ 546068 h 627602"/>
                <a:gd name="connsiteX6" fmla="*/ 868109 w 887920"/>
                <a:gd name="connsiteY6" fmla="*/ 541973 h 627602"/>
                <a:gd name="connsiteX7" fmla="*/ 865727 w 887920"/>
                <a:gd name="connsiteY7" fmla="*/ 535877 h 627602"/>
                <a:gd name="connsiteX8" fmla="*/ 859250 w 887920"/>
                <a:gd name="connsiteY8" fmla="*/ 535019 h 627602"/>
                <a:gd name="connsiteX9" fmla="*/ 859060 w 887920"/>
                <a:gd name="connsiteY9" fmla="*/ 533495 h 627602"/>
                <a:gd name="connsiteX10" fmla="*/ 863918 w 887920"/>
                <a:gd name="connsiteY10" fmla="*/ 534448 h 627602"/>
                <a:gd name="connsiteX11" fmla="*/ 852869 w 887920"/>
                <a:gd name="connsiteY11" fmla="*/ 523018 h 627602"/>
                <a:gd name="connsiteX12" fmla="*/ 857441 w 887920"/>
                <a:gd name="connsiteY12" fmla="*/ 520827 h 627602"/>
                <a:gd name="connsiteX13" fmla="*/ 860012 w 887920"/>
                <a:gd name="connsiteY13" fmla="*/ 515684 h 627602"/>
                <a:gd name="connsiteX14" fmla="*/ 850297 w 887920"/>
                <a:gd name="connsiteY14" fmla="*/ 515303 h 627602"/>
                <a:gd name="connsiteX15" fmla="*/ 843153 w 887920"/>
                <a:gd name="connsiteY15" fmla="*/ 509873 h 627602"/>
                <a:gd name="connsiteX16" fmla="*/ 853631 w 887920"/>
                <a:gd name="connsiteY16" fmla="*/ 490919 h 627602"/>
                <a:gd name="connsiteX17" fmla="*/ 851440 w 887920"/>
                <a:gd name="connsiteY17" fmla="*/ 486347 h 627602"/>
                <a:gd name="connsiteX18" fmla="*/ 858107 w 887920"/>
                <a:gd name="connsiteY18" fmla="*/ 475869 h 627602"/>
                <a:gd name="connsiteX19" fmla="*/ 863822 w 887920"/>
                <a:gd name="connsiteY19" fmla="*/ 470345 h 627602"/>
                <a:gd name="connsiteX20" fmla="*/ 855155 w 887920"/>
                <a:gd name="connsiteY20" fmla="*/ 465011 h 627602"/>
                <a:gd name="connsiteX21" fmla="*/ 854297 w 887920"/>
                <a:gd name="connsiteY21" fmla="*/ 458724 h 627602"/>
                <a:gd name="connsiteX22" fmla="*/ 850106 w 887920"/>
                <a:gd name="connsiteY22" fmla="*/ 451199 h 627602"/>
                <a:gd name="connsiteX23" fmla="*/ 839629 w 887920"/>
                <a:gd name="connsiteY23" fmla="*/ 444532 h 627602"/>
                <a:gd name="connsiteX24" fmla="*/ 839438 w 887920"/>
                <a:gd name="connsiteY24" fmla="*/ 442913 h 627602"/>
                <a:gd name="connsiteX25" fmla="*/ 844582 w 887920"/>
                <a:gd name="connsiteY25" fmla="*/ 432721 h 627602"/>
                <a:gd name="connsiteX26" fmla="*/ 851630 w 887920"/>
                <a:gd name="connsiteY26" fmla="*/ 425387 h 627602"/>
                <a:gd name="connsiteX27" fmla="*/ 844582 w 887920"/>
                <a:gd name="connsiteY27" fmla="*/ 419862 h 627602"/>
                <a:gd name="connsiteX28" fmla="*/ 838200 w 887920"/>
                <a:gd name="connsiteY28" fmla="*/ 395002 h 627602"/>
                <a:gd name="connsiteX29" fmla="*/ 836390 w 887920"/>
                <a:gd name="connsiteY29" fmla="*/ 393668 h 627602"/>
                <a:gd name="connsiteX30" fmla="*/ 835819 w 887920"/>
                <a:gd name="connsiteY30" fmla="*/ 388906 h 627602"/>
                <a:gd name="connsiteX31" fmla="*/ 839343 w 887920"/>
                <a:gd name="connsiteY31" fmla="*/ 378809 h 627602"/>
                <a:gd name="connsiteX32" fmla="*/ 837343 w 887920"/>
                <a:gd name="connsiteY32" fmla="*/ 375857 h 627602"/>
                <a:gd name="connsiteX33" fmla="*/ 838867 w 887920"/>
                <a:gd name="connsiteY33" fmla="*/ 362807 h 627602"/>
                <a:gd name="connsiteX34" fmla="*/ 831723 w 887920"/>
                <a:gd name="connsiteY34" fmla="*/ 357378 h 627602"/>
                <a:gd name="connsiteX35" fmla="*/ 832961 w 887920"/>
                <a:gd name="connsiteY35" fmla="*/ 353949 h 627602"/>
                <a:gd name="connsiteX36" fmla="*/ 840772 w 887920"/>
                <a:gd name="connsiteY36" fmla="*/ 340138 h 627602"/>
                <a:gd name="connsiteX37" fmla="*/ 842963 w 887920"/>
                <a:gd name="connsiteY37" fmla="*/ 331851 h 627602"/>
                <a:gd name="connsiteX38" fmla="*/ 838391 w 887920"/>
                <a:gd name="connsiteY38" fmla="*/ 321183 h 627602"/>
                <a:gd name="connsiteX39" fmla="*/ 822579 w 887920"/>
                <a:gd name="connsiteY39" fmla="*/ 310420 h 627602"/>
                <a:gd name="connsiteX40" fmla="*/ 818579 w 887920"/>
                <a:gd name="connsiteY40" fmla="*/ 304514 h 627602"/>
                <a:gd name="connsiteX41" fmla="*/ 817626 w 887920"/>
                <a:gd name="connsiteY41" fmla="*/ 296609 h 627602"/>
                <a:gd name="connsiteX42" fmla="*/ 817340 w 887920"/>
                <a:gd name="connsiteY42" fmla="*/ 282226 h 627602"/>
                <a:gd name="connsiteX43" fmla="*/ 808101 w 887920"/>
                <a:gd name="connsiteY43" fmla="*/ 284988 h 627602"/>
                <a:gd name="connsiteX44" fmla="*/ 799624 w 887920"/>
                <a:gd name="connsiteY44" fmla="*/ 268415 h 627602"/>
                <a:gd name="connsiteX45" fmla="*/ 791909 w 887920"/>
                <a:gd name="connsiteY45" fmla="*/ 270986 h 627602"/>
                <a:gd name="connsiteX46" fmla="*/ 778669 w 887920"/>
                <a:gd name="connsiteY46" fmla="*/ 267843 h 627602"/>
                <a:gd name="connsiteX47" fmla="*/ 774764 w 887920"/>
                <a:gd name="connsiteY47" fmla="*/ 261938 h 627602"/>
                <a:gd name="connsiteX48" fmla="*/ 767620 w 887920"/>
                <a:gd name="connsiteY48" fmla="*/ 256508 h 627602"/>
                <a:gd name="connsiteX49" fmla="*/ 759333 w 887920"/>
                <a:gd name="connsiteY49" fmla="*/ 254318 h 627602"/>
                <a:gd name="connsiteX50" fmla="*/ 757142 w 887920"/>
                <a:gd name="connsiteY50" fmla="*/ 249746 h 627602"/>
                <a:gd name="connsiteX51" fmla="*/ 750380 w 887920"/>
                <a:gd name="connsiteY51" fmla="*/ 247460 h 627602"/>
                <a:gd name="connsiteX52" fmla="*/ 745712 w 887920"/>
                <a:gd name="connsiteY52" fmla="*/ 248031 h 627602"/>
                <a:gd name="connsiteX53" fmla="*/ 741140 w 887920"/>
                <a:gd name="connsiteY53" fmla="*/ 250222 h 627602"/>
                <a:gd name="connsiteX54" fmla="*/ 729520 w 887920"/>
                <a:gd name="connsiteY54" fmla="*/ 272510 h 627602"/>
                <a:gd name="connsiteX55" fmla="*/ 718376 w 887920"/>
                <a:gd name="connsiteY55" fmla="*/ 285179 h 627602"/>
                <a:gd name="connsiteX56" fmla="*/ 713613 w 887920"/>
                <a:gd name="connsiteY56" fmla="*/ 285750 h 627602"/>
                <a:gd name="connsiteX57" fmla="*/ 710089 w 887920"/>
                <a:gd name="connsiteY57" fmla="*/ 283083 h 627602"/>
                <a:gd name="connsiteX58" fmla="*/ 706850 w 887920"/>
                <a:gd name="connsiteY58" fmla="*/ 283464 h 627602"/>
                <a:gd name="connsiteX59" fmla="*/ 703136 w 887920"/>
                <a:gd name="connsiteY59" fmla="*/ 279083 h 627602"/>
                <a:gd name="connsiteX60" fmla="*/ 705898 w 887920"/>
                <a:gd name="connsiteY60" fmla="*/ 275558 h 627602"/>
                <a:gd name="connsiteX61" fmla="*/ 705517 w 887920"/>
                <a:gd name="connsiteY61" fmla="*/ 272415 h 627602"/>
                <a:gd name="connsiteX62" fmla="*/ 706660 w 887920"/>
                <a:gd name="connsiteY62" fmla="*/ 269081 h 627602"/>
                <a:gd name="connsiteX63" fmla="*/ 704660 w 887920"/>
                <a:gd name="connsiteY63" fmla="*/ 266129 h 627602"/>
                <a:gd name="connsiteX64" fmla="*/ 704279 w 887920"/>
                <a:gd name="connsiteY64" fmla="*/ 262890 h 627602"/>
                <a:gd name="connsiteX65" fmla="*/ 699897 w 887920"/>
                <a:gd name="connsiteY65" fmla="*/ 253841 h 627602"/>
                <a:gd name="connsiteX66" fmla="*/ 705803 w 887920"/>
                <a:gd name="connsiteY66" fmla="*/ 249936 h 627602"/>
                <a:gd name="connsiteX67" fmla="*/ 703802 w 887920"/>
                <a:gd name="connsiteY67" fmla="*/ 246983 h 627602"/>
                <a:gd name="connsiteX68" fmla="*/ 706565 w 887920"/>
                <a:gd name="connsiteY68" fmla="*/ 243364 h 627602"/>
                <a:gd name="connsiteX69" fmla="*/ 702850 w 887920"/>
                <a:gd name="connsiteY69" fmla="*/ 239078 h 627602"/>
                <a:gd name="connsiteX70" fmla="*/ 706755 w 887920"/>
                <a:gd name="connsiteY70" fmla="*/ 232124 h 627602"/>
                <a:gd name="connsiteX71" fmla="*/ 704945 w 887920"/>
                <a:gd name="connsiteY71" fmla="*/ 230791 h 627602"/>
                <a:gd name="connsiteX72" fmla="*/ 701231 w 887920"/>
                <a:gd name="connsiteY72" fmla="*/ 213646 h 627602"/>
                <a:gd name="connsiteX73" fmla="*/ 695420 w 887920"/>
                <a:gd name="connsiteY73" fmla="*/ 206312 h 627602"/>
                <a:gd name="connsiteX74" fmla="*/ 691134 w 887920"/>
                <a:gd name="connsiteY74" fmla="*/ 197263 h 627602"/>
                <a:gd name="connsiteX75" fmla="*/ 689515 w 887920"/>
                <a:gd name="connsiteY75" fmla="*/ 197453 h 627602"/>
                <a:gd name="connsiteX76" fmla="*/ 686181 w 887920"/>
                <a:gd name="connsiteY76" fmla="*/ 196310 h 627602"/>
                <a:gd name="connsiteX77" fmla="*/ 684562 w 887920"/>
                <a:gd name="connsiteY77" fmla="*/ 196501 h 627602"/>
                <a:gd name="connsiteX78" fmla="*/ 684181 w 887920"/>
                <a:gd name="connsiteY78" fmla="*/ 193358 h 627602"/>
                <a:gd name="connsiteX79" fmla="*/ 682847 w 887920"/>
                <a:gd name="connsiteY79" fmla="*/ 195072 h 627602"/>
                <a:gd name="connsiteX80" fmla="*/ 680847 w 887920"/>
                <a:gd name="connsiteY80" fmla="*/ 192119 h 627602"/>
                <a:gd name="connsiteX81" fmla="*/ 674465 w 887920"/>
                <a:gd name="connsiteY81" fmla="*/ 192977 h 627602"/>
                <a:gd name="connsiteX82" fmla="*/ 674084 w 887920"/>
                <a:gd name="connsiteY82" fmla="*/ 189833 h 627602"/>
                <a:gd name="connsiteX83" fmla="*/ 672560 w 887920"/>
                <a:gd name="connsiteY83" fmla="*/ 190024 h 627602"/>
                <a:gd name="connsiteX84" fmla="*/ 665798 w 887920"/>
                <a:gd name="connsiteY84" fmla="*/ 187643 h 627602"/>
                <a:gd name="connsiteX85" fmla="*/ 660654 w 887920"/>
                <a:gd name="connsiteY85" fmla="*/ 185071 h 627602"/>
                <a:gd name="connsiteX86" fmla="*/ 649224 w 887920"/>
                <a:gd name="connsiteY86" fmla="*/ 170498 h 627602"/>
                <a:gd name="connsiteX87" fmla="*/ 648367 w 887920"/>
                <a:gd name="connsiteY87" fmla="*/ 164211 h 627602"/>
                <a:gd name="connsiteX88" fmla="*/ 640842 w 887920"/>
                <a:gd name="connsiteY88" fmla="*/ 155543 h 627602"/>
                <a:gd name="connsiteX89" fmla="*/ 638651 w 887920"/>
                <a:gd name="connsiteY89" fmla="*/ 150971 h 627602"/>
                <a:gd name="connsiteX90" fmla="*/ 635318 w 887920"/>
                <a:gd name="connsiteY90" fmla="*/ 124206 h 627602"/>
                <a:gd name="connsiteX91" fmla="*/ 631508 w 887920"/>
                <a:gd name="connsiteY91" fmla="*/ 119824 h 627602"/>
                <a:gd name="connsiteX92" fmla="*/ 633698 w 887920"/>
                <a:gd name="connsiteY92" fmla="*/ 111538 h 627602"/>
                <a:gd name="connsiteX93" fmla="*/ 632841 w 887920"/>
                <a:gd name="connsiteY93" fmla="*/ 105251 h 627602"/>
                <a:gd name="connsiteX94" fmla="*/ 634079 w 887920"/>
                <a:gd name="connsiteY94" fmla="*/ 101918 h 627602"/>
                <a:gd name="connsiteX95" fmla="*/ 638366 w 887920"/>
                <a:gd name="connsiteY95" fmla="*/ 98108 h 627602"/>
                <a:gd name="connsiteX96" fmla="*/ 639509 w 887920"/>
                <a:gd name="connsiteY96" fmla="*/ 94774 h 627602"/>
                <a:gd name="connsiteX97" fmla="*/ 646843 w 887920"/>
                <a:gd name="connsiteY97" fmla="*/ 89059 h 627602"/>
                <a:gd name="connsiteX98" fmla="*/ 647605 w 887920"/>
                <a:gd name="connsiteY98" fmla="*/ 82487 h 627602"/>
                <a:gd name="connsiteX99" fmla="*/ 643223 w 887920"/>
                <a:gd name="connsiteY99" fmla="*/ 73438 h 627602"/>
                <a:gd name="connsiteX100" fmla="*/ 636556 w 887920"/>
                <a:gd name="connsiteY100" fmla="*/ 71057 h 627602"/>
                <a:gd name="connsiteX101" fmla="*/ 638270 w 887920"/>
                <a:gd name="connsiteY101" fmla="*/ 59626 h 627602"/>
                <a:gd name="connsiteX102" fmla="*/ 637318 w 887920"/>
                <a:gd name="connsiteY102" fmla="*/ 51721 h 627602"/>
                <a:gd name="connsiteX103" fmla="*/ 622459 w 887920"/>
                <a:gd name="connsiteY103" fmla="*/ 48863 h 627602"/>
                <a:gd name="connsiteX104" fmla="*/ 619316 w 887920"/>
                <a:gd name="connsiteY104" fmla="*/ 49244 h 627602"/>
                <a:gd name="connsiteX105" fmla="*/ 617982 w 887920"/>
                <a:gd name="connsiteY105" fmla="*/ 51054 h 627602"/>
                <a:gd name="connsiteX106" fmla="*/ 612172 w 887920"/>
                <a:gd name="connsiteY106" fmla="*/ 43720 h 627602"/>
                <a:gd name="connsiteX107" fmla="*/ 615125 w 887920"/>
                <a:gd name="connsiteY107" fmla="*/ 41720 h 627602"/>
                <a:gd name="connsiteX108" fmla="*/ 613124 w 887920"/>
                <a:gd name="connsiteY108" fmla="*/ 38767 h 627602"/>
                <a:gd name="connsiteX109" fmla="*/ 610743 w 887920"/>
                <a:gd name="connsiteY109" fmla="*/ 32671 h 627602"/>
                <a:gd name="connsiteX110" fmla="*/ 613696 w 887920"/>
                <a:gd name="connsiteY110" fmla="*/ 30670 h 627602"/>
                <a:gd name="connsiteX111" fmla="*/ 611981 w 887920"/>
                <a:gd name="connsiteY111" fmla="*/ 29337 h 627602"/>
                <a:gd name="connsiteX112" fmla="*/ 597980 w 887920"/>
                <a:gd name="connsiteY112" fmla="*/ 32671 h 627602"/>
                <a:gd name="connsiteX113" fmla="*/ 592074 w 887920"/>
                <a:gd name="connsiteY113" fmla="*/ 36671 h 627602"/>
                <a:gd name="connsiteX114" fmla="*/ 587121 w 887920"/>
                <a:gd name="connsiteY114" fmla="*/ 35719 h 627602"/>
                <a:gd name="connsiteX115" fmla="*/ 583025 w 887920"/>
                <a:gd name="connsiteY115" fmla="*/ 41053 h 627602"/>
                <a:gd name="connsiteX116" fmla="*/ 583787 w 887920"/>
                <a:gd name="connsiteY116" fmla="*/ 47339 h 627602"/>
                <a:gd name="connsiteX117" fmla="*/ 577691 w 887920"/>
                <a:gd name="connsiteY117" fmla="*/ 49720 h 627602"/>
                <a:gd name="connsiteX118" fmla="*/ 569024 w 887920"/>
                <a:gd name="connsiteY118" fmla="*/ 44387 h 627602"/>
                <a:gd name="connsiteX119" fmla="*/ 565595 w 887920"/>
                <a:gd name="connsiteY119" fmla="*/ 43244 h 627602"/>
                <a:gd name="connsiteX120" fmla="*/ 568547 w 887920"/>
                <a:gd name="connsiteY120" fmla="*/ 41243 h 627602"/>
                <a:gd name="connsiteX121" fmla="*/ 569309 w 887920"/>
                <a:gd name="connsiteY121" fmla="*/ 34766 h 627602"/>
                <a:gd name="connsiteX122" fmla="*/ 568928 w 887920"/>
                <a:gd name="connsiteY122" fmla="*/ 31623 h 627602"/>
                <a:gd name="connsiteX123" fmla="*/ 568547 w 887920"/>
                <a:gd name="connsiteY123" fmla="*/ 15621 h 627602"/>
                <a:gd name="connsiteX124" fmla="*/ 565499 w 887920"/>
                <a:gd name="connsiteY124" fmla="*/ 4763 h 627602"/>
                <a:gd name="connsiteX125" fmla="*/ 553498 w 887920"/>
                <a:gd name="connsiteY125" fmla="*/ 11144 h 627602"/>
                <a:gd name="connsiteX126" fmla="*/ 545592 w 887920"/>
                <a:gd name="connsiteY126" fmla="*/ 12097 h 627602"/>
                <a:gd name="connsiteX127" fmla="*/ 544830 w 887920"/>
                <a:gd name="connsiteY127" fmla="*/ 18669 h 627602"/>
                <a:gd name="connsiteX128" fmla="*/ 539591 w 887920"/>
                <a:gd name="connsiteY128" fmla="*/ 27337 h 627602"/>
                <a:gd name="connsiteX129" fmla="*/ 538734 w 887920"/>
                <a:gd name="connsiteY129" fmla="*/ 33814 h 627602"/>
                <a:gd name="connsiteX130" fmla="*/ 542163 w 887920"/>
                <a:gd name="connsiteY130" fmla="*/ 35052 h 627602"/>
                <a:gd name="connsiteX131" fmla="*/ 545687 w 887920"/>
                <a:gd name="connsiteY131" fmla="*/ 37814 h 627602"/>
                <a:gd name="connsiteX132" fmla="*/ 540734 w 887920"/>
                <a:gd name="connsiteY132" fmla="*/ 36767 h 627602"/>
                <a:gd name="connsiteX133" fmla="*/ 536258 w 887920"/>
                <a:gd name="connsiteY133" fmla="*/ 38957 h 627602"/>
                <a:gd name="connsiteX134" fmla="*/ 530924 w 887920"/>
                <a:gd name="connsiteY134" fmla="*/ 34862 h 627602"/>
                <a:gd name="connsiteX135" fmla="*/ 524542 w 887920"/>
                <a:gd name="connsiteY135" fmla="*/ 35624 h 627602"/>
                <a:gd name="connsiteX136" fmla="*/ 519875 w 887920"/>
                <a:gd name="connsiteY136" fmla="*/ 36290 h 627602"/>
                <a:gd name="connsiteX137" fmla="*/ 515684 w 887920"/>
                <a:gd name="connsiteY137" fmla="*/ 28766 h 627602"/>
                <a:gd name="connsiteX138" fmla="*/ 515112 w 887920"/>
                <a:gd name="connsiteY138" fmla="*/ 24003 h 627602"/>
                <a:gd name="connsiteX139" fmla="*/ 522161 w 887920"/>
                <a:gd name="connsiteY139" fmla="*/ 16669 h 627602"/>
                <a:gd name="connsiteX140" fmla="*/ 518351 w 887920"/>
                <a:gd name="connsiteY140" fmla="*/ 12383 h 627602"/>
                <a:gd name="connsiteX141" fmla="*/ 505397 w 887920"/>
                <a:gd name="connsiteY141" fmla="*/ 10859 h 627602"/>
                <a:gd name="connsiteX142" fmla="*/ 500634 w 887920"/>
                <a:gd name="connsiteY142" fmla="*/ 11430 h 627602"/>
                <a:gd name="connsiteX143" fmla="*/ 500063 w 887920"/>
                <a:gd name="connsiteY143" fmla="*/ 6668 h 627602"/>
                <a:gd name="connsiteX144" fmla="*/ 495110 w 887920"/>
                <a:gd name="connsiteY144" fmla="*/ 5715 h 627602"/>
                <a:gd name="connsiteX145" fmla="*/ 494729 w 887920"/>
                <a:gd name="connsiteY145" fmla="*/ 2572 h 627602"/>
                <a:gd name="connsiteX146" fmla="*/ 489585 w 887920"/>
                <a:gd name="connsiteY146" fmla="*/ 0 h 627602"/>
                <a:gd name="connsiteX147" fmla="*/ 487966 w 887920"/>
                <a:gd name="connsiteY147" fmla="*/ 190 h 627602"/>
                <a:gd name="connsiteX148" fmla="*/ 487775 w 887920"/>
                <a:gd name="connsiteY148" fmla="*/ 11430 h 627602"/>
                <a:gd name="connsiteX149" fmla="*/ 481679 w 887920"/>
                <a:gd name="connsiteY149" fmla="*/ 13811 h 627602"/>
                <a:gd name="connsiteX150" fmla="*/ 471869 w 887920"/>
                <a:gd name="connsiteY150" fmla="*/ 11906 h 627602"/>
                <a:gd name="connsiteX151" fmla="*/ 471392 w 887920"/>
                <a:gd name="connsiteY151" fmla="*/ 8763 h 627602"/>
                <a:gd name="connsiteX152" fmla="*/ 471202 w 887920"/>
                <a:gd name="connsiteY152" fmla="*/ 7144 h 627602"/>
                <a:gd name="connsiteX153" fmla="*/ 470630 w 887920"/>
                <a:gd name="connsiteY153" fmla="*/ 2477 h 627602"/>
                <a:gd name="connsiteX154" fmla="*/ 463868 w 887920"/>
                <a:gd name="connsiteY154" fmla="*/ 95 h 627602"/>
                <a:gd name="connsiteX155" fmla="*/ 459200 w 887920"/>
                <a:gd name="connsiteY155" fmla="*/ 667 h 627602"/>
                <a:gd name="connsiteX156" fmla="*/ 458438 w 887920"/>
                <a:gd name="connsiteY156" fmla="*/ 7239 h 627602"/>
                <a:gd name="connsiteX157" fmla="*/ 455200 w 887920"/>
                <a:gd name="connsiteY157" fmla="*/ 7620 h 627602"/>
                <a:gd name="connsiteX158" fmla="*/ 449485 w 887920"/>
                <a:gd name="connsiteY158" fmla="*/ 13145 h 627602"/>
                <a:gd name="connsiteX159" fmla="*/ 445008 w 887920"/>
                <a:gd name="connsiteY159" fmla="*/ 15335 h 627602"/>
                <a:gd name="connsiteX160" fmla="*/ 438436 w 887920"/>
                <a:gd name="connsiteY160" fmla="*/ 14573 h 627602"/>
                <a:gd name="connsiteX161" fmla="*/ 435959 w 887920"/>
                <a:gd name="connsiteY161" fmla="*/ 19717 h 627602"/>
                <a:gd name="connsiteX162" fmla="*/ 426911 w 887920"/>
                <a:gd name="connsiteY162" fmla="*/ 36862 h 627602"/>
                <a:gd name="connsiteX163" fmla="*/ 432245 w 887920"/>
                <a:gd name="connsiteY163" fmla="*/ 40958 h 627602"/>
                <a:gd name="connsiteX164" fmla="*/ 440150 w 887920"/>
                <a:gd name="connsiteY164" fmla="*/ 52864 h 627602"/>
                <a:gd name="connsiteX165" fmla="*/ 444246 w 887920"/>
                <a:gd name="connsiteY165" fmla="*/ 47435 h 627602"/>
                <a:gd name="connsiteX166" fmla="*/ 451771 w 887920"/>
                <a:gd name="connsiteY166" fmla="*/ 43339 h 627602"/>
                <a:gd name="connsiteX167" fmla="*/ 453581 w 887920"/>
                <a:gd name="connsiteY167" fmla="*/ 44672 h 627602"/>
                <a:gd name="connsiteX168" fmla="*/ 458534 w 887920"/>
                <a:gd name="connsiteY168" fmla="*/ 58484 h 627602"/>
                <a:gd name="connsiteX169" fmla="*/ 462725 w 887920"/>
                <a:gd name="connsiteY169" fmla="*/ 66008 h 627602"/>
                <a:gd name="connsiteX170" fmla="*/ 460915 w 887920"/>
                <a:gd name="connsiteY170" fmla="*/ 64580 h 627602"/>
                <a:gd name="connsiteX171" fmla="*/ 455200 w 887920"/>
                <a:gd name="connsiteY171" fmla="*/ 70104 h 627602"/>
                <a:gd name="connsiteX172" fmla="*/ 458534 w 887920"/>
                <a:gd name="connsiteY172" fmla="*/ 84106 h 627602"/>
                <a:gd name="connsiteX173" fmla="*/ 456248 w 887920"/>
                <a:gd name="connsiteY173" fmla="*/ 90869 h 627602"/>
                <a:gd name="connsiteX174" fmla="*/ 458248 w 887920"/>
                <a:gd name="connsiteY174" fmla="*/ 93821 h 627602"/>
                <a:gd name="connsiteX175" fmla="*/ 448723 w 887920"/>
                <a:gd name="connsiteY175" fmla="*/ 107823 h 627602"/>
                <a:gd name="connsiteX176" fmla="*/ 445770 w 887920"/>
                <a:gd name="connsiteY176" fmla="*/ 109823 h 627602"/>
                <a:gd name="connsiteX177" fmla="*/ 441674 w 887920"/>
                <a:gd name="connsiteY177" fmla="*/ 115157 h 627602"/>
                <a:gd name="connsiteX178" fmla="*/ 444056 w 887920"/>
                <a:gd name="connsiteY178" fmla="*/ 121253 h 627602"/>
                <a:gd name="connsiteX179" fmla="*/ 448056 w 887920"/>
                <a:gd name="connsiteY179" fmla="*/ 127159 h 627602"/>
                <a:gd name="connsiteX180" fmla="*/ 448818 w 887920"/>
                <a:gd name="connsiteY180" fmla="*/ 133541 h 627602"/>
                <a:gd name="connsiteX181" fmla="*/ 453581 w 887920"/>
                <a:gd name="connsiteY181" fmla="*/ 132874 h 627602"/>
                <a:gd name="connsiteX182" fmla="*/ 446437 w 887920"/>
                <a:gd name="connsiteY182" fmla="*/ 140208 h 627602"/>
                <a:gd name="connsiteX183" fmla="*/ 447294 w 887920"/>
                <a:gd name="connsiteY183" fmla="*/ 146495 h 627602"/>
                <a:gd name="connsiteX184" fmla="*/ 444532 w 887920"/>
                <a:gd name="connsiteY184" fmla="*/ 150114 h 627602"/>
                <a:gd name="connsiteX185" fmla="*/ 448056 w 887920"/>
                <a:gd name="connsiteY185" fmla="*/ 152876 h 627602"/>
                <a:gd name="connsiteX186" fmla="*/ 450056 w 887920"/>
                <a:gd name="connsiteY186" fmla="*/ 168593 h 627602"/>
                <a:gd name="connsiteX187" fmla="*/ 451104 w 887920"/>
                <a:gd name="connsiteY187" fmla="*/ 176498 h 627602"/>
                <a:gd name="connsiteX188" fmla="*/ 447961 w 887920"/>
                <a:gd name="connsiteY188" fmla="*/ 176879 h 627602"/>
                <a:gd name="connsiteX189" fmla="*/ 433578 w 887920"/>
                <a:gd name="connsiteY189" fmla="*/ 177165 h 627602"/>
                <a:gd name="connsiteX190" fmla="*/ 429387 w 887920"/>
                <a:gd name="connsiteY190" fmla="*/ 182499 h 627602"/>
                <a:gd name="connsiteX191" fmla="*/ 421481 w 887920"/>
                <a:gd name="connsiteY191" fmla="*/ 183452 h 627602"/>
                <a:gd name="connsiteX192" fmla="*/ 413195 w 887920"/>
                <a:gd name="connsiteY192" fmla="*/ 181356 h 627602"/>
                <a:gd name="connsiteX193" fmla="*/ 407670 w 887920"/>
                <a:gd name="connsiteY193" fmla="*/ 175641 h 627602"/>
                <a:gd name="connsiteX194" fmla="*/ 381000 w 887920"/>
                <a:gd name="connsiteY194" fmla="*/ 167831 h 627602"/>
                <a:gd name="connsiteX195" fmla="*/ 379095 w 887920"/>
                <a:gd name="connsiteY195" fmla="*/ 177641 h 627602"/>
                <a:gd name="connsiteX196" fmla="*/ 363093 w 887920"/>
                <a:gd name="connsiteY196" fmla="*/ 165259 h 627602"/>
                <a:gd name="connsiteX197" fmla="*/ 356711 w 887920"/>
                <a:gd name="connsiteY197" fmla="*/ 166116 h 627602"/>
                <a:gd name="connsiteX198" fmla="*/ 356140 w 887920"/>
                <a:gd name="connsiteY198" fmla="*/ 174212 h 627602"/>
                <a:gd name="connsiteX199" fmla="*/ 349853 w 887920"/>
                <a:gd name="connsiteY199" fmla="*/ 174974 h 627602"/>
                <a:gd name="connsiteX200" fmla="*/ 344900 w 887920"/>
                <a:gd name="connsiteY200" fmla="*/ 174022 h 627602"/>
                <a:gd name="connsiteX201" fmla="*/ 340233 w 887920"/>
                <a:gd name="connsiteY201" fmla="*/ 174593 h 627602"/>
                <a:gd name="connsiteX202" fmla="*/ 333280 w 887920"/>
                <a:gd name="connsiteY202" fmla="*/ 170688 h 627602"/>
                <a:gd name="connsiteX203" fmla="*/ 328803 w 887920"/>
                <a:gd name="connsiteY203" fmla="*/ 172879 h 627602"/>
                <a:gd name="connsiteX204" fmla="*/ 329184 w 887920"/>
                <a:gd name="connsiteY204" fmla="*/ 176022 h 627602"/>
                <a:gd name="connsiteX205" fmla="*/ 325660 w 887920"/>
                <a:gd name="connsiteY205" fmla="*/ 186119 h 627602"/>
                <a:gd name="connsiteX206" fmla="*/ 320326 w 887920"/>
                <a:gd name="connsiteY206" fmla="*/ 194786 h 627602"/>
                <a:gd name="connsiteX207" fmla="*/ 314420 w 887920"/>
                <a:gd name="connsiteY207" fmla="*/ 211550 h 627602"/>
                <a:gd name="connsiteX208" fmla="*/ 312896 w 887920"/>
                <a:gd name="connsiteY208" fmla="*/ 224600 h 627602"/>
                <a:gd name="connsiteX209" fmla="*/ 307181 w 887920"/>
                <a:gd name="connsiteY209" fmla="*/ 230124 h 627602"/>
                <a:gd name="connsiteX210" fmla="*/ 308324 w 887920"/>
                <a:gd name="connsiteY210" fmla="*/ 226790 h 627602"/>
                <a:gd name="connsiteX211" fmla="*/ 306610 w 887920"/>
                <a:gd name="connsiteY211" fmla="*/ 225362 h 627602"/>
                <a:gd name="connsiteX212" fmla="*/ 297752 w 887920"/>
                <a:gd name="connsiteY212" fmla="*/ 231362 h 627602"/>
                <a:gd name="connsiteX213" fmla="*/ 289655 w 887920"/>
                <a:gd name="connsiteY213" fmla="*/ 230791 h 627602"/>
                <a:gd name="connsiteX214" fmla="*/ 289179 w 887920"/>
                <a:gd name="connsiteY214" fmla="*/ 227648 h 627602"/>
                <a:gd name="connsiteX215" fmla="*/ 286036 w 887920"/>
                <a:gd name="connsiteY215" fmla="*/ 228029 h 627602"/>
                <a:gd name="connsiteX216" fmla="*/ 284131 w 887920"/>
                <a:gd name="connsiteY216" fmla="*/ 225076 h 627602"/>
                <a:gd name="connsiteX217" fmla="*/ 279178 w 887920"/>
                <a:gd name="connsiteY217" fmla="*/ 224123 h 627602"/>
                <a:gd name="connsiteX218" fmla="*/ 273844 w 887920"/>
                <a:gd name="connsiteY218" fmla="*/ 219932 h 627602"/>
                <a:gd name="connsiteX219" fmla="*/ 268891 w 887920"/>
                <a:gd name="connsiteY219" fmla="*/ 218980 h 627602"/>
                <a:gd name="connsiteX220" fmla="*/ 266319 w 887920"/>
                <a:gd name="connsiteY220" fmla="*/ 224123 h 627602"/>
                <a:gd name="connsiteX221" fmla="*/ 258604 w 887920"/>
                <a:gd name="connsiteY221" fmla="*/ 226695 h 627602"/>
                <a:gd name="connsiteX222" fmla="*/ 255270 w 887920"/>
                <a:gd name="connsiteY222" fmla="*/ 225552 h 627602"/>
                <a:gd name="connsiteX223" fmla="*/ 255080 w 887920"/>
                <a:gd name="connsiteY223" fmla="*/ 223933 h 627602"/>
                <a:gd name="connsiteX224" fmla="*/ 257270 w 887920"/>
                <a:gd name="connsiteY224" fmla="*/ 215646 h 627602"/>
                <a:gd name="connsiteX225" fmla="*/ 249746 w 887920"/>
                <a:gd name="connsiteY225" fmla="*/ 206978 h 627602"/>
                <a:gd name="connsiteX226" fmla="*/ 237077 w 887920"/>
                <a:gd name="connsiteY226" fmla="*/ 208598 h 627602"/>
                <a:gd name="connsiteX227" fmla="*/ 231743 w 887920"/>
                <a:gd name="connsiteY227" fmla="*/ 204502 h 627602"/>
                <a:gd name="connsiteX228" fmla="*/ 217742 w 887920"/>
                <a:gd name="connsiteY228" fmla="*/ 194977 h 627602"/>
                <a:gd name="connsiteX229" fmla="*/ 208407 w 887920"/>
                <a:gd name="connsiteY229" fmla="*/ 197834 h 627602"/>
                <a:gd name="connsiteX230" fmla="*/ 196215 w 887920"/>
                <a:gd name="connsiteY230" fmla="*/ 189738 h 627602"/>
                <a:gd name="connsiteX231" fmla="*/ 187738 w 887920"/>
                <a:gd name="connsiteY231" fmla="*/ 186023 h 627602"/>
                <a:gd name="connsiteX232" fmla="*/ 180213 w 887920"/>
                <a:gd name="connsiteY232" fmla="*/ 202978 h 627602"/>
                <a:gd name="connsiteX233" fmla="*/ 177260 w 887920"/>
                <a:gd name="connsiteY233" fmla="*/ 204978 h 627602"/>
                <a:gd name="connsiteX234" fmla="*/ 172593 w 887920"/>
                <a:gd name="connsiteY234" fmla="*/ 205550 h 627602"/>
                <a:gd name="connsiteX235" fmla="*/ 168212 w 887920"/>
                <a:gd name="connsiteY235" fmla="*/ 209360 h 627602"/>
                <a:gd name="connsiteX236" fmla="*/ 153448 w 887920"/>
                <a:gd name="connsiteY236" fmla="*/ 206407 h 627602"/>
                <a:gd name="connsiteX237" fmla="*/ 152210 w 887920"/>
                <a:gd name="connsiteY237" fmla="*/ 209741 h 627602"/>
                <a:gd name="connsiteX238" fmla="*/ 154781 w 887920"/>
                <a:gd name="connsiteY238" fmla="*/ 217456 h 627602"/>
                <a:gd name="connsiteX239" fmla="*/ 150495 w 887920"/>
                <a:gd name="connsiteY239" fmla="*/ 221266 h 627602"/>
                <a:gd name="connsiteX240" fmla="*/ 151448 w 887920"/>
                <a:gd name="connsiteY240" fmla="*/ 229076 h 627602"/>
                <a:gd name="connsiteX241" fmla="*/ 148971 w 887920"/>
                <a:gd name="connsiteY241" fmla="*/ 234220 h 627602"/>
                <a:gd name="connsiteX242" fmla="*/ 150114 w 887920"/>
                <a:gd name="connsiteY242" fmla="*/ 243745 h 627602"/>
                <a:gd name="connsiteX243" fmla="*/ 148019 w 887920"/>
                <a:gd name="connsiteY243" fmla="*/ 252032 h 627602"/>
                <a:gd name="connsiteX244" fmla="*/ 140303 w 887920"/>
                <a:gd name="connsiteY244" fmla="*/ 254603 h 627602"/>
                <a:gd name="connsiteX245" fmla="*/ 135541 w 887920"/>
                <a:gd name="connsiteY245" fmla="*/ 255175 h 627602"/>
                <a:gd name="connsiteX246" fmla="*/ 135350 w 887920"/>
                <a:gd name="connsiteY246" fmla="*/ 253651 h 627602"/>
                <a:gd name="connsiteX247" fmla="*/ 134398 w 887920"/>
                <a:gd name="connsiteY247" fmla="*/ 258604 h 627602"/>
                <a:gd name="connsiteX248" fmla="*/ 130683 w 887920"/>
                <a:gd name="connsiteY248" fmla="*/ 254222 h 627602"/>
                <a:gd name="connsiteX249" fmla="*/ 124301 w 887920"/>
                <a:gd name="connsiteY249" fmla="*/ 255080 h 627602"/>
                <a:gd name="connsiteX250" fmla="*/ 122301 w 887920"/>
                <a:gd name="connsiteY250" fmla="*/ 252127 h 627602"/>
                <a:gd name="connsiteX251" fmla="*/ 114014 w 887920"/>
                <a:gd name="connsiteY251" fmla="*/ 249936 h 627602"/>
                <a:gd name="connsiteX252" fmla="*/ 111633 w 887920"/>
                <a:gd name="connsiteY252" fmla="*/ 243840 h 627602"/>
                <a:gd name="connsiteX253" fmla="*/ 102965 w 887920"/>
                <a:gd name="connsiteY253" fmla="*/ 238506 h 627602"/>
                <a:gd name="connsiteX254" fmla="*/ 99822 w 887920"/>
                <a:gd name="connsiteY254" fmla="*/ 238887 h 627602"/>
                <a:gd name="connsiteX255" fmla="*/ 98393 w 887920"/>
                <a:gd name="connsiteY255" fmla="*/ 240697 h 627602"/>
                <a:gd name="connsiteX256" fmla="*/ 96679 w 887920"/>
                <a:gd name="connsiteY256" fmla="*/ 239268 h 627602"/>
                <a:gd name="connsiteX257" fmla="*/ 92107 w 887920"/>
                <a:gd name="connsiteY257" fmla="*/ 241459 h 627602"/>
                <a:gd name="connsiteX258" fmla="*/ 94869 w 887920"/>
                <a:gd name="connsiteY258" fmla="*/ 237935 h 627602"/>
                <a:gd name="connsiteX259" fmla="*/ 95822 w 887920"/>
                <a:gd name="connsiteY259" fmla="*/ 232982 h 627602"/>
                <a:gd name="connsiteX260" fmla="*/ 92678 w 887920"/>
                <a:gd name="connsiteY260" fmla="*/ 233363 h 627602"/>
                <a:gd name="connsiteX261" fmla="*/ 90964 w 887920"/>
                <a:gd name="connsiteY261" fmla="*/ 232029 h 627602"/>
                <a:gd name="connsiteX262" fmla="*/ 83249 w 887920"/>
                <a:gd name="connsiteY262" fmla="*/ 234601 h 627602"/>
                <a:gd name="connsiteX263" fmla="*/ 79058 w 887920"/>
                <a:gd name="connsiteY263" fmla="*/ 239935 h 627602"/>
                <a:gd name="connsiteX264" fmla="*/ 73533 w 887920"/>
                <a:gd name="connsiteY264" fmla="*/ 234220 h 627602"/>
                <a:gd name="connsiteX265" fmla="*/ 67437 w 887920"/>
                <a:gd name="connsiteY265" fmla="*/ 236601 h 627602"/>
                <a:gd name="connsiteX266" fmla="*/ 71247 w 887920"/>
                <a:gd name="connsiteY266" fmla="*/ 240983 h 627602"/>
                <a:gd name="connsiteX267" fmla="*/ 69818 w 887920"/>
                <a:gd name="connsiteY267" fmla="*/ 242697 h 627602"/>
                <a:gd name="connsiteX268" fmla="*/ 73152 w 887920"/>
                <a:gd name="connsiteY268" fmla="*/ 243935 h 627602"/>
                <a:gd name="connsiteX269" fmla="*/ 74581 w 887920"/>
                <a:gd name="connsiteY269" fmla="*/ 242126 h 627602"/>
                <a:gd name="connsiteX270" fmla="*/ 77915 w 887920"/>
                <a:gd name="connsiteY270" fmla="*/ 243269 h 627602"/>
                <a:gd name="connsiteX271" fmla="*/ 78296 w 887920"/>
                <a:gd name="connsiteY271" fmla="*/ 246507 h 627602"/>
                <a:gd name="connsiteX272" fmla="*/ 74771 w 887920"/>
                <a:gd name="connsiteY272" fmla="*/ 243745 h 627602"/>
                <a:gd name="connsiteX273" fmla="*/ 72200 w 887920"/>
                <a:gd name="connsiteY273" fmla="*/ 248888 h 627602"/>
                <a:gd name="connsiteX274" fmla="*/ 74009 w 887920"/>
                <a:gd name="connsiteY274" fmla="*/ 250222 h 627602"/>
                <a:gd name="connsiteX275" fmla="*/ 73057 w 887920"/>
                <a:gd name="connsiteY275" fmla="*/ 255175 h 627602"/>
                <a:gd name="connsiteX276" fmla="*/ 74771 w 887920"/>
                <a:gd name="connsiteY276" fmla="*/ 256508 h 627602"/>
                <a:gd name="connsiteX277" fmla="*/ 76391 w 887920"/>
                <a:gd name="connsiteY277" fmla="*/ 256318 h 627602"/>
                <a:gd name="connsiteX278" fmla="*/ 78200 w 887920"/>
                <a:gd name="connsiteY278" fmla="*/ 257746 h 627602"/>
                <a:gd name="connsiteX279" fmla="*/ 78391 w 887920"/>
                <a:gd name="connsiteY279" fmla="*/ 259270 h 627602"/>
                <a:gd name="connsiteX280" fmla="*/ 78581 w 887920"/>
                <a:gd name="connsiteY280" fmla="*/ 260890 h 627602"/>
                <a:gd name="connsiteX281" fmla="*/ 72676 w 887920"/>
                <a:gd name="connsiteY281" fmla="*/ 264795 h 627602"/>
                <a:gd name="connsiteX282" fmla="*/ 71438 w 887920"/>
                <a:gd name="connsiteY282" fmla="*/ 268224 h 627602"/>
                <a:gd name="connsiteX283" fmla="*/ 77057 w 887920"/>
                <a:gd name="connsiteY283" fmla="*/ 273844 h 627602"/>
                <a:gd name="connsiteX284" fmla="*/ 71723 w 887920"/>
                <a:gd name="connsiteY284" fmla="*/ 282607 h 627602"/>
                <a:gd name="connsiteX285" fmla="*/ 66580 w 887920"/>
                <a:gd name="connsiteY285" fmla="*/ 280035 h 627602"/>
                <a:gd name="connsiteX286" fmla="*/ 61817 w 887920"/>
                <a:gd name="connsiteY286" fmla="*/ 280607 h 627602"/>
                <a:gd name="connsiteX287" fmla="*/ 62008 w 887920"/>
                <a:gd name="connsiteY287" fmla="*/ 282226 h 627602"/>
                <a:gd name="connsiteX288" fmla="*/ 56483 w 887920"/>
                <a:gd name="connsiteY288" fmla="*/ 289370 h 627602"/>
                <a:gd name="connsiteX289" fmla="*/ 54959 w 887920"/>
                <a:gd name="connsiteY289" fmla="*/ 302324 h 627602"/>
                <a:gd name="connsiteX290" fmla="*/ 54007 w 887920"/>
                <a:gd name="connsiteY290" fmla="*/ 307277 h 627602"/>
                <a:gd name="connsiteX291" fmla="*/ 51054 w 887920"/>
                <a:gd name="connsiteY291" fmla="*/ 309277 h 627602"/>
                <a:gd name="connsiteX292" fmla="*/ 50292 w 887920"/>
                <a:gd name="connsiteY292" fmla="*/ 315754 h 627602"/>
                <a:gd name="connsiteX293" fmla="*/ 59150 w 887920"/>
                <a:gd name="connsiteY293" fmla="*/ 322707 h 627602"/>
                <a:gd name="connsiteX294" fmla="*/ 56388 w 887920"/>
                <a:gd name="connsiteY294" fmla="*/ 326231 h 627602"/>
                <a:gd name="connsiteX295" fmla="*/ 50102 w 887920"/>
                <a:gd name="connsiteY295" fmla="*/ 326993 h 627602"/>
                <a:gd name="connsiteX296" fmla="*/ 48482 w 887920"/>
                <a:gd name="connsiteY296" fmla="*/ 327279 h 627602"/>
                <a:gd name="connsiteX297" fmla="*/ 49721 w 887920"/>
                <a:gd name="connsiteY297" fmla="*/ 323850 h 627602"/>
                <a:gd name="connsiteX298" fmla="*/ 47339 w 887920"/>
                <a:gd name="connsiteY298" fmla="*/ 317754 h 627602"/>
                <a:gd name="connsiteX299" fmla="*/ 44768 w 887920"/>
                <a:gd name="connsiteY299" fmla="*/ 322898 h 627602"/>
                <a:gd name="connsiteX300" fmla="*/ 44958 w 887920"/>
                <a:gd name="connsiteY300" fmla="*/ 324517 h 627602"/>
                <a:gd name="connsiteX301" fmla="*/ 41243 w 887920"/>
                <a:gd name="connsiteY301" fmla="*/ 332994 h 627602"/>
                <a:gd name="connsiteX302" fmla="*/ 32195 w 887920"/>
                <a:gd name="connsiteY302" fmla="*/ 337376 h 627602"/>
                <a:gd name="connsiteX303" fmla="*/ 22860 w 887920"/>
                <a:gd name="connsiteY303" fmla="*/ 340138 h 627602"/>
                <a:gd name="connsiteX304" fmla="*/ 18955 w 887920"/>
                <a:gd name="connsiteY304" fmla="*/ 346996 h 627602"/>
                <a:gd name="connsiteX305" fmla="*/ 19812 w 887920"/>
                <a:gd name="connsiteY305" fmla="*/ 353378 h 627602"/>
                <a:gd name="connsiteX306" fmla="*/ 15621 w 887920"/>
                <a:gd name="connsiteY306" fmla="*/ 358712 h 627602"/>
                <a:gd name="connsiteX307" fmla="*/ 15050 w 887920"/>
                <a:gd name="connsiteY307" fmla="*/ 366808 h 627602"/>
                <a:gd name="connsiteX308" fmla="*/ 22003 w 887920"/>
                <a:gd name="connsiteY308" fmla="*/ 370713 h 627602"/>
                <a:gd name="connsiteX309" fmla="*/ 22574 w 887920"/>
                <a:gd name="connsiteY309" fmla="*/ 375476 h 627602"/>
                <a:gd name="connsiteX310" fmla="*/ 8192 w 887920"/>
                <a:gd name="connsiteY310" fmla="*/ 388525 h 627602"/>
                <a:gd name="connsiteX311" fmla="*/ 6477 w 887920"/>
                <a:gd name="connsiteY311" fmla="*/ 387096 h 627602"/>
                <a:gd name="connsiteX312" fmla="*/ 191 w 887920"/>
                <a:gd name="connsiteY312" fmla="*/ 400717 h 627602"/>
                <a:gd name="connsiteX313" fmla="*/ 0 w 887920"/>
                <a:gd name="connsiteY313" fmla="*/ 412052 h 627602"/>
                <a:gd name="connsiteX314" fmla="*/ 4953 w 887920"/>
                <a:gd name="connsiteY314" fmla="*/ 413004 h 627602"/>
                <a:gd name="connsiteX315" fmla="*/ 9620 w 887920"/>
                <a:gd name="connsiteY315" fmla="*/ 412337 h 627602"/>
                <a:gd name="connsiteX316" fmla="*/ 11240 w 887920"/>
                <a:gd name="connsiteY316" fmla="*/ 412147 h 627602"/>
                <a:gd name="connsiteX317" fmla="*/ 10478 w 887920"/>
                <a:gd name="connsiteY317" fmla="*/ 418719 h 627602"/>
                <a:gd name="connsiteX318" fmla="*/ 10859 w 887920"/>
                <a:gd name="connsiteY318" fmla="*/ 421862 h 627602"/>
                <a:gd name="connsiteX319" fmla="*/ 11049 w 887920"/>
                <a:gd name="connsiteY319" fmla="*/ 423386 h 627602"/>
                <a:gd name="connsiteX320" fmla="*/ 13811 w 887920"/>
                <a:gd name="connsiteY320" fmla="*/ 432721 h 627602"/>
                <a:gd name="connsiteX321" fmla="*/ 14288 w 887920"/>
                <a:gd name="connsiteY321" fmla="*/ 435864 h 627602"/>
                <a:gd name="connsiteX322" fmla="*/ 10763 w 887920"/>
                <a:gd name="connsiteY322" fmla="*/ 445961 h 627602"/>
                <a:gd name="connsiteX323" fmla="*/ 17812 w 887920"/>
                <a:gd name="connsiteY323" fmla="*/ 451390 h 627602"/>
                <a:gd name="connsiteX324" fmla="*/ 16478 w 887920"/>
                <a:gd name="connsiteY324" fmla="*/ 453200 h 627602"/>
                <a:gd name="connsiteX325" fmla="*/ 16859 w 887920"/>
                <a:gd name="connsiteY325" fmla="*/ 456343 h 627602"/>
                <a:gd name="connsiteX326" fmla="*/ 24003 w 887920"/>
                <a:gd name="connsiteY326" fmla="*/ 461867 h 627602"/>
                <a:gd name="connsiteX327" fmla="*/ 26956 w 887920"/>
                <a:gd name="connsiteY327" fmla="*/ 472726 h 627602"/>
                <a:gd name="connsiteX328" fmla="*/ 24384 w 887920"/>
                <a:gd name="connsiteY328" fmla="*/ 477869 h 627602"/>
                <a:gd name="connsiteX329" fmla="*/ 29337 w 887920"/>
                <a:gd name="connsiteY329" fmla="*/ 478822 h 627602"/>
                <a:gd name="connsiteX330" fmla="*/ 33338 w 887920"/>
                <a:gd name="connsiteY330" fmla="*/ 484727 h 627602"/>
                <a:gd name="connsiteX331" fmla="*/ 32099 w 887920"/>
                <a:gd name="connsiteY331" fmla="*/ 488061 h 627602"/>
                <a:gd name="connsiteX332" fmla="*/ 42196 w 887920"/>
                <a:gd name="connsiteY332" fmla="*/ 491585 h 627602"/>
                <a:gd name="connsiteX333" fmla="*/ 41434 w 887920"/>
                <a:gd name="connsiteY333" fmla="*/ 498158 h 627602"/>
                <a:gd name="connsiteX334" fmla="*/ 43053 w 887920"/>
                <a:gd name="connsiteY334" fmla="*/ 497967 h 627602"/>
                <a:gd name="connsiteX335" fmla="*/ 41624 w 887920"/>
                <a:gd name="connsiteY335" fmla="*/ 499682 h 627602"/>
                <a:gd name="connsiteX336" fmla="*/ 44768 w 887920"/>
                <a:gd name="connsiteY336" fmla="*/ 499301 h 627602"/>
                <a:gd name="connsiteX337" fmla="*/ 46006 w 887920"/>
                <a:gd name="connsiteY337" fmla="*/ 508826 h 627602"/>
                <a:gd name="connsiteX338" fmla="*/ 47625 w 887920"/>
                <a:gd name="connsiteY338" fmla="*/ 508540 h 627602"/>
                <a:gd name="connsiteX339" fmla="*/ 48006 w 887920"/>
                <a:gd name="connsiteY339" fmla="*/ 511778 h 627602"/>
                <a:gd name="connsiteX340" fmla="*/ 50006 w 887920"/>
                <a:gd name="connsiteY340" fmla="*/ 514731 h 627602"/>
                <a:gd name="connsiteX341" fmla="*/ 51149 w 887920"/>
                <a:gd name="connsiteY341" fmla="*/ 524161 h 627602"/>
                <a:gd name="connsiteX342" fmla="*/ 50006 w 887920"/>
                <a:gd name="connsiteY342" fmla="*/ 527495 h 627602"/>
                <a:gd name="connsiteX343" fmla="*/ 56864 w 887920"/>
                <a:gd name="connsiteY343" fmla="*/ 531400 h 627602"/>
                <a:gd name="connsiteX344" fmla="*/ 59531 w 887920"/>
                <a:gd name="connsiteY344" fmla="*/ 539115 h 627602"/>
                <a:gd name="connsiteX345" fmla="*/ 61055 w 887920"/>
                <a:gd name="connsiteY345" fmla="*/ 538925 h 627602"/>
                <a:gd name="connsiteX346" fmla="*/ 59722 w 887920"/>
                <a:gd name="connsiteY346" fmla="*/ 540734 h 627602"/>
                <a:gd name="connsiteX347" fmla="*/ 62865 w 887920"/>
                <a:gd name="connsiteY347" fmla="*/ 540353 h 627602"/>
                <a:gd name="connsiteX348" fmla="*/ 61627 w 887920"/>
                <a:gd name="connsiteY348" fmla="*/ 543687 h 627602"/>
                <a:gd name="connsiteX349" fmla="*/ 63437 w 887920"/>
                <a:gd name="connsiteY349" fmla="*/ 545021 h 627602"/>
                <a:gd name="connsiteX350" fmla="*/ 62103 w 887920"/>
                <a:gd name="connsiteY350" fmla="*/ 546830 h 627602"/>
                <a:gd name="connsiteX351" fmla="*/ 63627 w 887920"/>
                <a:gd name="connsiteY351" fmla="*/ 546640 h 627602"/>
                <a:gd name="connsiteX352" fmla="*/ 65246 w 887920"/>
                <a:gd name="connsiteY352" fmla="*/ 546449 h 627602"/>
                <a:gd name="connsiteX353" fmla="*/ 65437 w 887920"/>
                <a:gd name="connsiteY353" fmla="*/ 547973 h 627602"/>
                <a:gd name="connsiteX354" fmla="*/ 64484 w 887920"/>
                <a:gd name="connsiteY354" fmla="*/ 552926 h 627602"/>
                <a:gd name="connsiteX355" fmla="*/ 66389 w 887920"/>
                <a:gd name="connsiteY355" fmla="*/ 555879 h 627602"/>
                <a:gd name="connsiteX356" fmla="*/ 67818 w 887920"/>
                <a:gd name="connsiteY356" fmla="*/ 554069 h 627602"/>
                <a:gd name="connsiteX357" fmla="*/ 67056 w 887920"/>
                <a:gd name="connsiteY357" fmla="*/ 560642 h 627602"/>
                <a:gd name="connsiteX358" fmla="*/ 75343 w 887920"/>
                <a:gd name="connsiteY358" fmla="*/ 562737 h 627602"/>
                <a:gd name="connsiteX359" fmla="*/ 76676 w 887920"/>
                <a:gd name="connsiteY359" fmla="*/ 561023 h 627602"/>
                <a:gd name="connsiteX360" fmla="*/ 76867 w 887920"/>
                <a:gd name="connsiteY360" fmla="*/ 562547 h 627602"/>
                <a:gd name="connsiteX361" fmla="*/ 76867 w 887920"/>
                <a:gd name="connsiteY361" fmla="*/ 562547 h 627602"/>
                <a:gd name="connsiteX362" fmla="*/ 78677 w 887920"/>
                <a:gd name="connsiteY362" fmla="*/ 563975 h 627602"/>
                <a:gd name="connsiteX363" fmla="*/ 78486 w 887920"/>
                <a:gd name="connsiteY363" fmla="*/ 562356 h 627602"/>
                <a:gd name="connsiteX364" fmla="*/ 83439 w 887920"/>
                <a:gd name="connsiteY364" fmla="*/ 563309 h 627602"/>
                <a:gd name="connsiteX365" fmla="*/ 86582 w 887920"/>
                <a:gd name="connsiteY365" fmla="*/ 562928 h 627602"/>
                <a:gd name="connsiteX366" fmla="*/ 86773 w 887920"/>
                <a:gd name="connsiteY366" fmla="*/ 564547 h 627602"/>
                <a:gd name="connsiteX367" fmla="*/ 85439 w 887920"/>
                <a:gd name="connsiteY367" fmla="*/ 566261 h 627602"/>
                <a:gd name="connsiteX368" fmla="*/ 90297 w 887920"/>
                <a:gd name="connsiteY368" fmla="*/ 567309 h 627602"/>
                <a:gd name="connsiteX369" fmla="*/ 89726 w 887920"/>
                <a:gd name="connsiteY369" fmla="*/ 575405 h 627602"/>
                <a:gd name="connsiteX370" fmla="*/ 93155 w 887920"/>
                <a:gd name="connsiteY370" fmla="*/ 576548 h 627602"/>
                <a:gd name="connsiteX371" fmla="*/ 95345 w 887920"/>
                <a:gd name="connsiteY371" fmla="*/ 581120 h 627602"/>
                <a:gd name="connsiteX372" fmla="*/ 97917 w 887920"/>
                <a:gd name="connsiteY372" fmla="*/ 588740 h 627602"/>
                <a:gd name="connsiteX373" fmla="*/ 99441 w 887920"/>
                <a:gd name="connsiteY373" fmla="*/ 588550 h 627602"/>
                <a:gd name="connsiteX374" fmla="*/ 98679 w 887920"/>
                <a:gd name="connsiteY374" fmla="*/ 595122 h 627602"/>
                <a:gd name="connsiteX375" fmla="*/ 105251 w 887920"/>
                <a:gd name="connsiteY375" fmla="*/ 595884 h 627602"/>
                <a:gd name="connsiteX376" fmla="*/ 103823 w 887920"/>
                <a:gd name="connsiteY376" fmla="*/ 597599 h 627602"/>
                <a:gd name="connsiteX377" fmla="*/ 107633 w 887920"/>
                <a:gd name="connsiteY377" fmla="*/ 601980 h 627602"/>
                <a:gd name="connsiteX378" fmla="*/ 109919 w 887920"/>
                <a:gd name="connsiteY378" fmla="*/ 595217 h 627602"/>
                <a:gd name="connsiteX379" fmla="*/ 108204 w 887920"/>
                <a:gd name="connsiteY379" fmla="*/ 593884 h 627602"/>
                <a:gd name="connsiteX380" fmla="*/ 113252 w 887920"/>
                <a:gd name="connsiteY380" fmla="*/ 583597 h 627602"/>
                <a:gd name="connsiteX381" fmla="*/ 124301 w 887920"/>
                <a:gd name="connsiteY381" fmla="*/ 582168 h 627602"/>
                <a:gd name="connsiteX382" fmla="*/ 121349 w 887920"/>
                <a:gd name="connsiteY382" fmla="*/ 584168 h 627602"/>
                <a:gd name="connsiteX383" fmla="*/ 125159 w 887920"/>
                <a:gd name="connsiteY383" fmla="*/ 588550 h 627602"/>
                <a:gd name="connsiteX384" fmla="*/ 127730 w 887920"/>
                <a:gd name="connsiteY384" fmla="*/ 596170 h 627602"/>
                <a:gd name="connsiteX385" fmla="*/ 129445 w 887920"/>
                <a:gd name="connsiteY385" fmla="*/ 597599 h 627602"/>
                <a:gd name="connsiteX386" fmla="*/ 137732 w 887920"/>
                <a:gd name="connsiteY386" fmla="*/ 599694 h 627602"/>
                <a:gd name="connsiteX387" fmla="*/ 142494 w 887920"/>
                <a:gd name="connsiteY387" fmla="*/ 599123 h 627602"/>
                <a:gd name="connsiteX388" fmla="*/ 145256 w 887920"/>
                <a:gd name="connsiteY388" fmla="*/ 595598 h 627602"/>
                <a:gd name="connsiteX389" fmla="*/ 139732 w 887920"/>
                <a:gd name="connsiteY389" fmla="*/ 589883 h 627602"/>
                <a:gd name="connsiteX390" fmla="*/ 139541 w 887920"/>
                <a:gd name="connsiteY390" fmla="*/ 588264 h 627602"/>
                <a:gd name="connsiteX391" fmla="*/ 149162 w 887920"/>
                <a:gd name="connsiteY391" fmla="*/ 588645 h 627602"/>
                <a:gd name="connsiteX392" fmla="*/ 150590 w 887920"/>
                <a:gd name="connsiteY392" fmla="*/ 586835 h 627602"/>
                <a:gd name="connsiteX393" fmla="*/ 153162 w 887920"/>
                <a:gd name="connsiteY393" fmla="*/ 581692 h 627602"/>
                <a:gd name="connsiteX394" fmla="*/ 159639 w 887920"/>
                <a:gd name="connsiteY394" fmla="*/ 582549 h 627602"/>
                <a:gd name="connsiteX395" fmla="*/ 161258 w 887920"/>
                <a:gd name="connsiteY395" fmla="*/ 582263 h 627602"/>
                <a:gd name="connsiteX396" fmla="*/ 161449 w 887920"/>
                <a:gd name="connsiteY396" fmla="*/ 583883 h 627602"/>
                <a:gd name="connsiteX397" fmla="*/ 160020 w 887920"/>
                <a:gd name="connsiteY397" fmla="*/ 585692 h 627602"/>
                <a:gd name="connsiteX398" fmla="*/ 160687 w 887920"/>
                <a:gd name="connsiteY398" fmla="*/ 590360 h 627602"/>
                <a:gd name="connsiteX399" fmla="*/ 159258 w 887920"/>
                <a:gd name="connsiteY399" fmla="*/ 592169 h 627602"/>
                <a:gd name="connsiteX400" fmla="*/ 164783 w 887920"/>
                <a:gd name="connsiteY400" fmla="*/ 597884 h 627602"/>
                <a:gd name="connsiteX401" fmla="*/ 163068 w 887920"/>
                <a:gd name="connsiteY401" fmla="*/ 596551 h 627602"/>
                <a:gd name="connsiteX402" fmla="*/ 160306 w 887920"/>
                <a:gd name="connsiteY402" fmla="*/ 600075 h 627602"/>
                <a:gd name="connsiteX403" fmla="*/ 159258 w 887920"/>
                <a:gd name="connsiteY403" fmla="*/ 605028 h 627602"/>
                <a:gd name="connsiteX404" fmla="*/ 161068 w 887920"/>
                <a:gd name="connsiteY404" fmla="*/ 606362 h 627602"/>
                <a:gd name="connsiteX405" fmla="*/ 162497 w 887920"/>
                <a:gd name="connsiteY405" fmla="*/ 617411 h 627602"/>
                <a:gd name="connsiteX406" fmla="*/ 168021 w 887920"/>
                <a:gd name="connsiteY406" fmla="*/ 623126 h 627602"/>
                <a:gd name="connsiteX407" fmla="*/ 169640 w 887920"/>
                <a:gd name="connsiteY407" fmla="*/ 622935 h 627602"/>
                <a:gd name="connsiteX408" fmla="*/ 170593 w 887920"/>
                <a:gd name="connsiteY408" fmla="*/ 617982 h 627602"/>
                <a:gd name="connsiteX409" fmla="*/ 172593 w 887920"/>
                <a:gd name="connsiteY409" fmla="*/ 620935 h 627602"/>
                <a:gd name="connsiteX410" fmla="*/ 173927 w 887920"/>
                <a:gd name="connsiteY410" fmla="*/ 619220 h 627602"/>
                <a:gd name="connsiteX411" fmla="*/ 174117 w 887920"/>
                <a:gd name="connsiteY411" fmla="*/ 620744 h 627602"/>
                <a:gd name="connsiteX412" fmla="*/ 177260 w 887920"/>
                <a:gd name="connsiteY412" fmla="*/ 620363 h 627602"/>
                <a:gd name="connsiteX413" fmla="*/ 175927 w 887920"/>
                <a:gd name="connsiteY413" fmla="*/ 622173 h 627602"/>
                <a:gd name="connsiteX414" fmla="*/ 175927 w 887920"/>
                <a:gd name="connsiteY414" fmla="*/ 622173 h 627602"/>
                <a:gd name="connsiteX415" fmla="*/ 181070 w 887920"/>
                <a:gd name="connsiteY415" fmla="*/ 624650 h 627602"/>
                <a:gd name="connsiteX416" fmla="*/ 183071 w 887920"/>
                <a:gd name="connsiteY416" fmla="*/ 627602 h 627602"/>
                <a:gd name="connsiteX417" fmla="*/ 185738 w 887920"/>
                <a:gd name="connsiteY417" fmla="*/ 624078 h 627602"/>
                <a:gd name="connsiteX418" fmla="*/ 183642 w 887920"/>
                <a:gd name="connsiteY418" fmla="*/ 619506 h 627602"/>
                <a:gd name="connsiteX419" fmla="*/ 187738 w 887920"/>
                <a:gd name="connsiteY419" fmla="*/ 614172 h 627602"/>
                <a:gd name="connsiteX420" fmla="*/ 188119 w 887920"/>
                <a:gd name="connsiteY420" fmla="*/ 617411 h 627602"/>
                <a:gd name="connsiteX421" fmla="*/ 194691 w 887920"/>
                <a:gd name="connsiteY421" fmla="*/ 618173 h 627602"/>
                <a:gd name="connsiteX422" fmla="*/ 196215 w 887920"/>
                <a:gd name="connsiteY422" fmla="*/ 617982 h 627602"/>
                <a:gd name="connsiteX423" fmla="*/ 196977 w 887920"/>
                <a:gd name="connsiteY423" fmla="*/ 611410 h 627602"/>
                <a:gd name="connsiteX424" fmla="*/ 201930 w 887920"/>
                <a:gd name="connsiteY424" fmla="*/ 612362 h 627602"/>
                <a:gd name="connsiteX425" fmla="*/ 204121 w 887920"/>
                <a:gd name="connsiteY425" fmla="*/ 616934 h 627602"/>
                <a:gd name="connsiteX426" fmla="*/ 209074 w 887920"/>
                <a:gd name="connsiteY426" fmla="*/ 617887 h 627602"/>
                <a:gd name="connsiteX427" fmla="*/ 208407 w 887920"/>
                <a:gd name="connsiteY427" fmla="*/ 613220 h 627602"/>
                <a:gd name="connsiteX428" fmla="*/ 209836 w 887920"/>
                <a:gd name="connsiteY428" fmla="*/ 611410 h 627602"/>
                <a:gd name="connsiteX429" fmla="*/ 221266 w 887920"/>
                <a:gd name="connsiteY429" fmla="*/ 613124 h 627602"/>
                <a:gd name="connsiteX430" fmla="*/ 227552 w 887920"/>
                <a:gd name="connsiteY430" fmla="*/ 612362 h 627602"/>
                <a:gd name="connsiteX431" fmla="*/ 227362 w 887920"/>
                <a:gd name="connsiteY431" fmla="*/ 610743 h 627602"/>
                <a:gd name="connsiteX432" fmla="*/ 237839 w 887920"/>
                <a:gd name="connsiteY432" fmla="*/ 617411 h 627602"/>
                <a:gd name="connsiteX433" fmla="*/ 237839 w 887920"/>
                <a:gd name="connsiteY433" fmla="*/ 617411 h 627602"/>
                <a:gd name="connsiteX434" fmla="*/ 239268 w 887920"/>
                <a:gd name="connsiteY434" fmla="*/ 615696 h 627602"/>
                <a:gd name="connsiteX435" fmla="*/ 236220 w 887920"/>
                <a:gd name="connsiteY435" fmla="*/ 604838 h 627602"/>
                <a:gd name="connsiteX436" fmla="*/ 242316 w 887920"/>
                <a:gd name="connsiteY436" fmla="*/ 602456 h 627602"/>
                <a:gd name="connsiteX437" fmla="*/ 242126 w 887920"/>
                <a:gd name="connsiteY437" fmla="*/ 600837 h 627602"/>
                <a:gd name="connsiteX438" fmla="*/ 251841 w 887920"/>
                <a:gd name="connsiteY438" fmla="*/ 601218 h 627602"/>
                <a:gd name="connsiteX439" fmla="*/ 254603 w 887920"/>
                <a:gd name="connsiteY439" fmla="*/ 597694 h 627602"/>
                <a:gd name="connsiteX440" fmla="*/ 257937 w 887920"/>
                <a:gd name="connsiteY440" fmla="*/ 598837 h 627602"/>
                <a:gd name="connsiteX441" fmla="*/ 261652 w 887920"/>
                <a:gd name="connsiteY441" fmla="*/ 577501 h 627602"/>
                <a:gd name="connsiteX442" fmla="*/ 261271 w 887920"/>
                <a:gd name="connsiteY442" fmla="*/ 574358 h 627602"/>
                <a:gd name="connsiteX443" fmla="*/ 280988 w 887920"/>
                <a:gd name="connsiteY443" fmla="*/ 578263 h 627602"/>
                <a:gd name="connsiteX444" fmla="*/ 282131 w 887920"/>
                <a:gd name="connsiteY444" fmla="*/ 574929 h 627602"/>
                <a:gd name="connsiteX445" fmla="*/ 284131 w 887920"/>
                <a:gd name="connsiteY445" fmla="*/ 565023 h 627602"/>
                <a:gd name="connsiteX446" fmla="*/ 278130 w 887920"/>
                <a:gd name="connsiteY446" fmla="*/ 543401 h 627602"/>
                <a:gd name="connsiteX447" fmla="*/ 278321 w 887920"/>
                <a:gd name="connsiteY447" fmla="*/ 532067 h 627602"/>
                <a:gd name="connsiteX448" fmla="*/ 312896 w 887920"/>
                <a:gd name="connsiteY448" fmla="*/ 538925 h 627602"/>
                <a:gd name="connsiteX449" fmla="*/ 332232 w 887920"/>
                <a:gd name="connsiteY449" fmla="*/ 552450 h 627602"/>
                <a:gd name="connsiteX450" fmla="*/ 346424 w 887920"/>
                <a:gd name="connsiteY450" fmla="*/ 537877 h 627602"/>
                <a:gd name="connsiteX451" fmla="*/ 349568 w 887920"/>
                <a:gd name="connsiteY451" fmla="*/ 537496 h 627602"/>
                <a:gd name="connsiteX452" fmla="*/ 352330 w 887920"/>
                <a:gd name="connsiteY452" fmla="*/ 533876 h 627602"/>
                <a:gd name="connsiteX453" fmla="*/ 353473 w 887920"/>
                <a:gd name="connsiteY453" fmla="*/ 530543 h 627602"/>
                <a:gd name="connsiteX454" fmla="*/ 351473 w 887920"/>
                <a:gd name="connsiteY454" fmla="*/ 527590 h 627602"/>
                <a:gd name="connsiteX455" fmla="*/ 346139 w 887920"/>
                <a:gd name="connsiteY455" fmla="*/ 523494 h 627602"/>
                <a:gd name="connsiteX456" fmla="*/ 347091 w 887920"/>
                <a:gd name="connsiteY456" fmla="*/ 518541 h 627602"/>
                <a:gd name="connsiteX457" fmla="*/ 345186 w 887920"/>
                <a:gd name="connsiteY457" fmla="*/ 515588 h 627602"/>
                <a:gd name="connsiteX458" fmla="*/ 357569 w 887920"/>
                <a:gd name="connsiteY458" fmla="*/ 512350 h 627602"/>
                <a:gd name="connsiteX459" fmla="*/ 357378 w 887920"/>
                <a:gd name="connsiteY459" fmla="*/ 510826 h 627602"/>
                <a:gd name="connsiteX460" fmla="*/ 364903 w 887920"/>
                <a:gd name="connsiteY460" fmla="*/ 506635 h 627602"/>
                <a:gd name="connsiteX461" fmla="*/ 369570 w 887920"/>
                <a:gd name="connsiteY461" fmla="*/ 506063 h 627602"/>
                <a:gd name="connsiteX462" fmla="*/ 372713 w 887920"/>
                <a:gd name="connsiteY462" fmla="*/ 505587 h 627602"/>
                <a:gd name="connsiteX463" fmla="*/ 375476 w 887920"/>
                <a:gd name="connsiteY463" fmla="*/ 502063 h 627602"/>
                <a:gd name="connsiteX464" fmla="*/ 376142 w 887920"/>
                <a:gd name="connsiteY464" fmla="*/ 506825 h 627602"/>
                <a:gd name="connsiteX465" fmla="*/ 381857 w 887920"/>
                <a:gd name="connsiteY465" fmla="*/ 501301 h 627602"/>
                <a:gd name="connsiteX466" fmla="*/ 387953 w 887920"/>
                <a:gd name="connsiteY466" fmla="*/ 498920 h 627602"/>
                <a:gd name="connsiteX467" fmla="*/ 383572 w 887920"/>
                <a:gd name="connsiteY467" fmla="*/ 489871 h 627602"/>
                <a:gd name="connsiteX468" fmla="*/ 385191 w 887920"/>
                <a:gd name="connsiteY468" fmla="*/ 489585 h 627602"/>
                <a:gd name="connsiteX469" fmla="*/ 380810 w 887920"/>
                <a:gd name="connsiteY469" fmla="*/ 480536 h 627602"/>
                <a:gd name="connsiteX470" fmla="*/ 377666 w 887920"/>
                <a:gd name="connsiteY470" fmla="*/ 480917 h 627602"/>
                <a:gd name="connsiteX471" fmla="*/ 383762 w 887920"/>
                <a:gd name="connsiteY471" fmla="*/ 478536 h 627602"/>
                <a:gd name="connsiteX472" fmla="*/ 385096 w 887920"/>
                <a:gd name="connsiteY472" fmla="*/ 476822 h 627602"/>
                <a:gd name="connsiteX473" fmla="*/ 388430 w 887920"/>
                <a:gd name="connsiteY473" fmla="*/ 477965 h 627602"/>
                <a:gd name="connsiteX474" fmla="*/ 388239 w 887920"/>
                <a:gd name="connsiteY474" fmla="*/ 476441 h 627602"/>
                <a:gd name="connsiteX475" fmla="*/ 391478 w 887920"/>
                <a:gd name="connsiteY475" fmla="*/ 475964 h 627602"/>
                <a:gd name="connsiteX476" fmla="*/ 393192 w 887920"/>
                <a:gd name="connsiteY476" fmla="*/ 477393 h 627602"/>
                <a:gd name="connsiteX477" fmla="*/ 386620 w 887920"/>
                <a:gd name="connsiteY477" fmla="*/ 463772 h 627602"/>
                <a:gd name="connsiteX478" fmla="*/ 391192 w 887920"/>
                <a:gd name="connsiteY478" fmla="*/ 461582 h 627602"/>
                <a:gd name="connsiteX479" fmla="*/ 404241 w 887920"/>
                <a:gd name="connsiteY479" fmla="*/ 463106 h 627602"/>
                <a:gd name="connsiteX480" fmla="*/ 402812 w 887920"/>
                <a:gd name="connsiteY480" fmla="*/ 464915 h 627602"/>
                <a:gd name="connsiteX481" fmla="*/ 405194 w 887920"/>
                <a:gd name="connsiteY481" fmla="*/ 471011 h 627602"/>
                <a:gd name="connsiteX482" fmla="*/ 402241 w 887920"/>
                <a:gd name="connsiteY482" fmla="*/ 473012 h 627602"/>
                <a:gd name="connsiteX483" fmla="*/ 404241 w 887920"/>
                <a:gd name="connsiteY483" fmla="*/ 475964 h 627602"/>
                <a:gd name="connsiteX484" fmla="*/ 407384 w 887920"/>
                <a:gd name="connsiteY484" fmla="*/ 475583 h 627602"/>
                <a:gd name="connsiteX485" fmla="*/ 411004 w 887920"/>
                <a:gd name="connsiteY485" fmla="*/ 478346 h 627602"/>
                <a:gd name="connsiteX486" fmla="*/ 410528 w 887920"/>
                <a:gd name="connsiteY486" fmla="*/ 475202 h 627602"/>
                <a:gd name="connsiteX487" fmla="*/ 415481 w 887920"/>
                <a:gd name="connsiteY487" fmla="*/ 476155 h 627602"/>
                <a:gd name="connsiteX488" fmla="*/ 419862 w 887920"/>
                <a:gd name="connsiteY488" fmla="*/ 485204 h 627602"/>
                <a:gd name="connsiteX489" fmla="*/ 415100 w 887920"/>
                <a:gd name="connsiteY489" fmla="*/ 485775 h 627602"/>
                <a:gd name="connsiteX490" fmla="*/ 418529 w 887920"/>
                <a:gd name="connsiteY490" fmla="*/ 487013 h 627602"/>
                <a:gd name="connsiteX491" fmla="*/ 420434 w 887920"/>
                <a:gd name="connsiteY491" fmla="*/ 489966 h 627602"/>
                <a:gd name="connsiteX492" fmla="*/ 425196 w 887920"/>
                <a:gd name="connsiteY492" fmla="*/ 489299 h 627602"/>
                <a:gd name="connsiteX493" fmla="*/ 428720 w 887920"/>
                <a:gd name="connsiteY493" fmla="*/ 492062 h 627602"/>
                <a:gd name="connsiteX494" fmla="*/ 427958 w 887920"/>
                <a:gd name="connsiteY494" fmla="*/ 485775 h 627602"/>
                <a:gd name="connsiteX495" fmla="*/ 432721 w 887920"/>
                <a:gd name="connsiteY495" fmla="*/ 485204 h 627602"/>
                <a:gd name="connsiteX496" fmla="*/ 433483 w 887920"/>
                <a:gd name="connsiteY496" fmla="*/ 478631 h 627602"/>
                <a:gd name="connsiteX497" fmla="*/ 434816 w 887920"/>
                <a:gd name="connsiteY497" fmla="*/ 476917 h 627602"/>
                <a:gd name="connsiteX498" fmla="*/ 438245 w 887920"/>
                <a:gd name="connsiteY498" fmla="*/ 478060 h 627602"/>
                <a:gd name="connsiteX499" fmla="*/ 435293 w 887920"/>
                <a:gd name="connsiteY499" fmla="*/ 480060 h 627602"/>
                <a:gd name="connsiteX500" fmla="*/ 437007 w 887920"/>
                <a:gd name="connsiteY500" fmla="*/ 481394 h 627602"/>
                <a:gd name="connsiteX501" fmla="*/ 440150 w 887920"/>
                <a:gd name="connsiteY501" fmla="*/ 481013 h 627602"/>
                <a:gd name="connsiteX502" fmla="*/ 442151 w 887920"/>
                <a:gd name="connsiteY502" fmla="*/ 483965 h 627602"/>
                <a:gd name="connsiteX503" fmla="*/ 446913 w 887920"/>
                <a:gd name="connsiteY503" fmla="*/ 483394 h 627602"/>
                <a:gd name="connsiteX504" fmla="*/ 450056 w 887920"/>
                <a:gd name="connsiteY504" fmla="*/ 482918 h 627602"/>
                <a:gd name="connsiteX505" fmla="*/ 455962 w 887920"/>
                <a:gd name="connsiteY505" fmla="*/ 479012 h 627602"/>
                <a:gd name="connsiteX506" fmla="*/ 456343 w 887920"/>
                <a:gd name="connsiteY506" fmla="*/ 482156 h 627602"/>
                <a:gd name="connsiteX507" fmla="*/ 455200 w 887920"/>
                <a:gd name="connsiteY507" fmla="*/ 485489 h 627602"/>
                <a:gd name="connsiteX508" fmla="*/ 457010 w 887920"/>
                <a:gd name="connsiteY508" fmla="*/ 486918 h 627602"/>
                <a:gd name="connsiteX509" fmla="*/ 463487 w 887920"/>
                <a:gd name="connsiteY509" fmla="*/ 500444 h 627602"/>
                <a:gd name="connsiteX510" fmla="*/ 465106 w 887920"/>
                <a:gd name="connsiteY510" fmla="*/ 500253 h 627602"/>
                <a:gd name="connsiteX511" fmla="*/ 466630 w 887920"/>
                <a:gd name="connsiteY511" fmla="*/ 500063 h 627602"/>
                <a:gd name="connsiteX512" fmla="*/ 471773 w 887920"/>
                <a:gd name="connsiteY512" fmla="*/ 502634 h 627602"/>
                <a:gd name="connsiteX513" fmla="*/ 472631 w 887920"/>
                <a:gd name="connsiteY513" fmla="*/ 508921 h 627602"/>
                <a:gd name="connsiteX514" fmla="*/ 473964 w 887920"/>
                <a:gd name="connsiteY514" fmla="*/ 507206 h 627602"/>
                <a:gd name="connsiteX515" fmla="*/ 477107 w 887920"/>
                <a:gd name="connsiteY515" fmla="*/ 506730 h 627602"/>
                <a:gd name="connsiteX516" fmla="*/ 477298 w 887920"/>
                <a:gd name="connsiteY516" fmla="*/ 508349 h 627602"/>
                <a:gd name="connsiteX517" fmla="*/ 476345 w 887920"/>
                <a:gd name="connsiteY517" fmla="*/ 513302 h 627602"/>
                <a:gd name="connsiteX518" fmla="*/ 480155 w 887920"/>
                <a:gd name="connsiteY518" fmla="*/ 517589 h 627602"/>
                <a:gd name="connsiteX519" fmla="*/ 479108 w 887920"/>
                <a:gd name="connsiteY519" fmla="*/ 522542 h 627602"/>
                <a:gd name="connsiteX520" fmla="*/ 483489 w 887920"/>
                <a:gd name="connsiteY520" fmla="*/ 518827 h 627602"/>
                <a:gd name="connsiteX521" fmla="*/ 485299 w 887920"/>
                <a:gd name="connsiteY521" fmla="*/ 520160 h 627602"/>
                <a:gd name="connsiteX522" fmla="*/ 489776 w 887920"/>
                <a:gd name="connsiteY522" fmla="*/ 517970 h 627602"/>
                <a:gd name="connsiteX523" fmla="*/ 494538 w 887920"/>
                <a:gd name="connsiteY523" fmla="*/ 517398 h 627602"/>
                <a:gd name="connsiteX524" fmla="*/ 494538 w 887920"/>
                <a:gd name="connsiteY524" fmla="*/ 517398 h 627602"/>
                <a:gd name="connsiteX525" fmla="*/ 498729 w 887920"/>
                <a:gd name="connsiteY525" fmla="*/ 524828 h 627602"/>
                <a:gd name="connsiteX526" fmla="*/ 503873 w 887920"/>
                <a:gd name="connsiteY526" fmla="*/ 527399 h 627602"/>
                <a:gd name="connsiteX527" fmla="*/ 502634 w 887920"/>
                <a:gd name="connsiteY527" fmla="*/ 530828 h 627602"/>
                <a:gd name="connsiteX528" fmla="*/ 507397 w 887920"/>
                <a:gd name="connsiteY528" fmla="*/ 530162 h 627602"/>
                <a:gd name="connsiteX529" fmla="*/ 516255 w 887920"/>
                <a:gd name="connsiteY529" fmla="*/ 537020 h 627602"/>
                <a:gd name="connsiteX530" fmla="*/ 513493 w 887920"/>
                <a:gd name="connsiteY530" fmla="*/ 540639 h 627602"/>
                <a:gd name="connsiteX531" fmla="*/ 513683 w 887920"/>
                <a:gd name="connsiteY531" fmla="*/ 542163 h 627602"/>
                <a:gd name="connsiteX532" fmla="*/ 516731 w 887920"/>
                <a:gd name="connsiteY532" fmla="*/ 540258 h 627602"/>
                <a:gd name="connsiteX533" fmla="*/ 515684 w 887920"/>
                <a:gd name="connsiteY533" fmla="*/ 545116 h 627602"/>
                <a:gd name="connsiteX534" fmla="*/ 519113 w 887920"/>
                <a:gd name="connsiteY534" fmla="*/ 559118 h 627602"/>
                <a:gd name="connsiteX535" fmla="*/ 520922 w 887920"/>
                <a:gd name="connsiteY535" fmla="*/ 560546 h 627602"/>
                <a:gd name="connsiteX536" fmla="*/ 522827 w 887920"/>
                <a:gd name="connsiteY536" fmla="*/ 563499 h 627602"/>
                <a:gd name="connsiteX537" fmla="*/ 530543 w 887920"/>
                <a:gd name="connsiteY537" fmla="*/ 560927 h 627602"/>
                <a:gd name="connsiteX538" fmla="*/ 530924 w 887920"/>
                <a:gd name="connsiteY538" fmla="*/ 564071 h 627602"/>
                <a:gd name="connsiteX539" fmla="*/ 532543 w 887920"/>
                <a:gd name="connsiteY539" fmla="*/ 563880 h 627602"/>
                <a:gd name="connsiteX540" fmla="*/ 532733 w 887920"/>
                <a:gd name="connsiteY540" fmla="*/ 565404 h 627602"/>
                <a:gd name="connsiteX541" fmla="*/ 537305 w 887920"/>
                <a:gd name="connsiteY541" fmla="*/ 563309 h 627602"/>
                <a:gd name="connsiteX542" fmla="*/ 542163 w 887920"/>
                <a:gd name="connsiteY542" fmla="*/ 564261 h 627602"/>
                <a:gd name="connsiteX543" fmla="*/ 547497 w 887920"/>
                <a:gd name="connsiteY543" fmla="*/ 568357 h 627602"/>
                <a:gd name="connsiteX544" fmla="*/ 546164 w 887920"/>
                <a:gd name="connsiteY544" fmla="*/ 570167 h 627602"/>
                <a:gd name="connsiteX545" fmla="*/ 547783 w 887920"/>
                <a:gd name="connsiteY545" fmla="*/ 569976 h 627602"/>
                <a:gd name="connsiteX546" fmla="*/ 548164 w 887920"/>
                <a:gd name="connsiteY546" fmla="*/ 573119 h 627602"/>
                <a:gd name="connsiteX547" fmla="*/ 551307 w 887920"/>
                <a:gd name="connsiteY547" fmla="*/ 572738 h 627602"/>
                <a:gd name="connsiteX548" fmla="*/ 553307 w 887920"/>
                <a:gd name="connsiteY548" fmla="*/ 575691 h 627602"/>
                <a:gd name="connsiteX549" fmla="*/ 553879 w 887920"/>
                <a:gd name="connsiteY549" fmla="*/ 580358 h 627602"/>
                <a:gd name="connsiteX550" fmla="*/ 558832 w 887920"/>
                <a:gd name="connsiteY550" fmla="*/ 581406 h 627602"/>
                <a:gd name="connsiteX551" fmla="*/ 560165 w 887920"/>
                <a:gd name="connsiteY551" fmla="*/ 579596 h 627602"/>
                <a:gd name="connsiteX552" fmla="*/ 572262 w 887920"/>
                <a:gd name="connsiteY552" fmla="*/ 586073 h 627602"/>
                <a:gd name="connsiteX553" fmla="*/ 575786 w 887920"/>
                <a:gd name="connsiteY553" fmla="*/ 588836 h 627602"/>
                <a:gd name="connsiteX554" fmla="*/ 579596 w 887920"/>
                <a:gd name="connsiteY554" fmla="*/ 593122 h 627602"/>
                <a:gd name="connsiteX555" fmla="*/ 587883 w 887920"/>
                <a:gd name="connsiteY555" fmla="*/ 595313 h 627602"/>
                <a:gd name="connsiteX556" fmla="*/ 596360 w 887920"/>
                <a:gd name="connsiteY556" fmla="*/ 599027 h 627602"/>
                <a:gd name="connsiteX557" fmla="*/ 605409 w 887920"/>
                <a:gd name="connsiteY557" fmla="*/ 607505 h 627602"/>
                <a:gd name="connsiteX558" fmla="*/ 609981 w 887920"/>
                <a:gd name="connsiteY558" fmla="*/ 605314 h 627602"/>
                <a:gd name="connsiteX559" fmla="*/ 613124 w 887920"/>
                <a:gd name="connsiteY559" fmla="*/ 604933 h 627602"/>
                <a:gd name="connsiteX560" fmla="*/ 617887 w 887920"/>
                <a:gd name="connsiteY560" fmla="*/ 604266 h 627602"/>
                <a:gd name="connsiteX561" fmla="*/ 617506 w 887920"/>
                <a:gd name="connsiteY561" fmla="*/ 601123 h 627602"/>
                <a:gd name="connsiteX562" fmla="*/ 618268 w 887920"/>
                <a:gd name="connsiteY562" fmla="*/ 594646 h 627602"/>
                <a:gd name="connsiteX563" fmla="*/ 616268 w 887920"/>
                <a:gd name="connsiteY563" fmla="*/ 591693 h 627602"/>
                <a:gd name="connsiteX564" fmla="*/ 621221 w 887920"/>
                <a:gd name="connsiteY564" fmla="*/ 592646 h 627602"/>
                <a:gd name="connsiteX565" fmla="*/ 620363 w 887920"/>
                <a:gd name="connsiteY565" fmla="*/ 586359 h 627602"/>
                <a:gd name="connsiteX566" fmla="*/ 628079 w 887920"/>
                <a:gd name="connsiteY566" fmla="*/ 583787 h 627602"/>
                <a:gd name="connsiteX567" fmla="*/ 626269 w 887920"/>
                <a:gd name="connsiteY567" fmla="*/ 582359 h 627602"/>
                <a:gd name="connsiteX568" fmla="*/ 629031 w 887920"/>
                <a:gd name="connsiteY568" fmla="*/ 578834 h 627602"/>
                <a:gd name="connsiteX569" fmla="*/ 630650 w 887920"/>
                <a:gd name="connsiteY569" fmla="*/ 578644 h 627602"/>
                <a:gd name="connsiteX570" fmla="*/ 631793 w 887920"/>
                <a:gd name="connsiteY570" fmla="*/ 575310 h 627602"/>
                <a:gd name="connsiteX571" fmla="*/ 634937 w 887920"/>
                <a:gd name="connsiteY571" fmla="*/ 574834 h 627602"/>
                <a:gd name="connsiteX572" fmla="*/ 636175 w 887920"/>
                <a:gd name="connsiteY572" fmla="*/ 571500 h 627602"/>
                <a:gd name="connsiteX573" fmla="*/ 639890 w 887920"/>
                <a:gd name="connsiteY573" fmla="*/ 575882 h 627602"/>
                <a:gd name="connsiteX574" fmla="*/ 641318 w 887920"/>
                <a:gd name="connsiteY574" fmla="*/ 574072 h 627602"/>
                <a:gd name="connsiteX575" fmla="*/ 645986 w 887920"/>
                <a:gd name="connsiteY575" fmla="*/ 573500 h 627602"/>
                <a:gd name="connsiteX576" fmla="*/ 649605 w 887920"/>
                <a:gd name="connsiteY576" fmla="*/ 576167 h 627602"/>
                <a:gd name="connsiteX577" fmla="*/ 650939 w 887920"/>
                <a:gd name="connsiteY577" fmla="*/ 574453 h 627602"/>
                <a:gd name="connsiteX578" fmla="*/ 659606 w 887920"/>
                <a:gd name="connsiteY578" fmla="*/ 579692 h 627602"/>
                <a:gd name="connsiteX579" fmla="*/ 658463 w 887920"/>
                <a:gd name="connsiteY579" fmla="*/ 583121 h 627602"/>
                <a:gd name="connsiteX580" fmla="*/ 666750 w 887920"/>
                <a:gd name="connsiteY580" fmla="*/ 585216 h 627602"/>
                <a:gd name="connsiteX581" fmla="*/ 668750 w 887920"/>
                <a:gd name="connsiteY581" fmla="*/ 588169 h 627602"/>
                <a:gd name="connsiteX582" fmla="*/ 672846 w 887920"/>
                <a:gd name="connsiteY582" fmla="*/ 582835 h 627602"/>
                <a:gd name="connsiteX583" fmla="*/ 675037 w 887920"/>
                <a:gd name="connsiteY583" fmla="*/ 587407 h 627602"/>
                <a:gd name="connsiteX584" fmla="*/ 676656 w 887920"/>
                <a:gd name="connsiteY584" fmla="*/ 587216 h 627602"/>
                <a:gd name="connsiteX585" fmla="*/ 677799 w 887920"/>
                <a:gd name="connsiteY585" fmla="*/ 583883 h 627602"/>
                <a:gd name="connsiteX586" fmla="*/ 686086 w 887920"/>
                <a:gd name="connsiteY586" fmla="*/ 585978 h 627602"/>
                <a:gd name="connsiteX587" fmla="*/ 684943 w 887920"/>
                <a:gd name="connsiteY587" fmla="*/ 589312 h 627602"/>
                <a:gd name="connsiteX588" fmla="*/ 689039 w 887920"/>
                <a:gd name="connsiteY588" fmla="*/ 596837 h 627602"/>
                <a:gd name="connsiteX589" fmla="*/ 690658 w 887920"/>
                <a:gd name="connsiteY589" fmla="*/ 596646 h 627602"/>
                <a:gd name="connsiteX590" fmla="*/ 697421 w 887920"/>
                <a:gd name="connsiteY590" fmla="*/ 599027 h 627602"/>
                <a:gd name="connsiteX591" fmla="*/ 699516 w 887920"/>
                <a:gd name="connsiteY591" fmla="*/ 603504 h 627602"/>
                <a:gd name="connsiteX592" fmla="*/ 706469 w 887920"/>
                <a:gd name="connsiteY592" fmla="*/ 607409 h 627602"/>
                <a:gd name="connsiteX593" fmla="*/ 706660 w 887920"/>
                <a:gd name="connsiteY593" fmla="*/ 596170 h 627602"/>
                <a:gd name="connsiteX594" fmla="*/ 712565 w 887920"/>
                <a:gd name="connsiteY594" fmla="*/ 592265 h 627602"/>
                <a:gd name="connsiteX595" fmla="*/ 715899 w 887920"/>
                <a:gd name="connsiteY595" fmla="*/ 593408 h 627602"/>
                <a:gd name="connsiteX596" fmla="*/ 714756 w 887920"/>
                <a:gd name="connsiteY596" fmla="*/ 596741 h 627602"/>
                <a:gd name="connsiteX597" fmla="*/ 718852 w 887920"/>
                <a:gd name="connsiteY597" fmla="*/ 604266 h 627602"/>
                <a:gd name="connsiteX598" fmla="*/ 715709 w 887920"/>
                <a:gd name="connsiteY598" fmla="*/ 604647 h 627602"/>
                <a:gd name="connsiteX599" fmla="*/ 717899 w 887920"/>
                <a:gd name="connsiteY599" fmla="*/ 609219 h 627602"/>
                <a:gd name="connsiteX600" fmla="*/ 721233 w 887920"/>
                <a:gd name="connsiteY600" fmla="*/ 610362 h 627602"/>
                <a:gd name="connsiteX601" fmla="*/ 721519 w 887920"/>
                <a:gd name="connsiteY601" fmla="*/ 611981 h 627602"/>
                <a:gd name="connsiteX602" fmla="*/ 713423 w 887920"/>
                <a:gd name="connsiteY602" fmla="*/ 611410 h 627602"/>
                <a:gd name="connsiteX603" fmla="*/ 715328 w 887920"/>
                <a:gd name="connsiteY603" fmla="*/ 614363 h 627602"/>
                <a:gd name="connsiteX604" fmla="*/ 720090 w 887920"/>
                <a:gd name="connsiteY604" fmla="*/ 613696 h 627602"/>
                <a:gd name="connsiteX605" fmla="*/ 720471 w 887920"/>
                <a:gd name="connsiteY605" fmla="*/ 616934 h 627602"/>
                <a:gd name="connsiteX606" fmla="*/ 717328 w 887920"/>
                <a:gd name="connsiteY606" fmla="*/ 617315 h 627602"/>
                <a:gd name="connsiteX607" fmla="*/ 720662 w 887920"/>
                <a:gd name="connsiteY607" fmla="*/ 618458 h 627602"/>
                <a:gd name="connsiteX608" fmla="*/ 721328 w 887920"/>
                <a:gd name="connsiteY608" fmla="*/ 623221 h 627602"/>
                <a:gd name="connsiteX609" fmla="*/ 727805 w 887920"/>
                <a:gd name="connsiteY609" fmla="*/ 623983 h 627602"/>
                <a:gd name="connsiteX610" fmla="*/ 732377 w 887920"/>
                <a:gd name="connsiteY610" fmla="*/ 621792 h 627602"/>
                <a:gd name="connsiteX611" fmla="*/ 737330 w 887920"/>
                <a:gd name="connsiteY611" fmla="*/ 622745 h 627602"/>
                <a:gd name="connsiteX612" fmla="*/ 738473 w 887920"/>
                <a:gd name="connsiteY612" fmla="*/ 619411 h 627602"/>
                <a:gd name="connsiteX613" fmla="*/ 743617 w 887920"/>
                <a:gd name="connsiteY613" fmla="*/ 621983 h 627602"/>
                <a:gd name="connsiteX614" fmla="*/ 743426 w 887920"/>
                <a:gd name="connsiteY614" fmla="*/ 620363 h 627602"/>
                <a:gd name="connsiteX615" fmla="*/ 746760 w 887920"/>
                <a:gd name="connsiteY615" fmla="*/ 621602 h 627602"/>
                <a:gd name="connsiteX616" fmla="*/ 746570 w 887920"/>
                <a:gd name="connsiteY616" fmla="*/ 619982 h 627602"/>
                <a:gd name="connsiteX617" fmla="*/ 742760 w 887920"/>
                <a:gd name="connsiteY617" fmla="*/ 615696 h 627602"/>
                <a:gd name="connsiteX618" fmla="*/ 745522 w 887920"/>
                <a:gd name="connsiteY618" fmla="*/ 612077 h 627602"/>
                <a:gd name="connsiteX619" fmla="*/ 748475 w 887920"/>
                <a:gd name="connsiteY619" fmla="*/ 610076 h 627602"/>
                <a:gd name="connsiteX620" fmla="*/ 750856 w 887920"/>
                <a:gd name="connsiteY620" fmla="*/ 616268 h 627602"/>
                <a:gd name="connsiteX621" fmla="*/ 755809 w 887920"/>
                <a:gd name="connsiteY621" fmla="*/ 617220 h 627602"/>
                <a:gd name="connsiteX622" fmla="*/ 756761 w 887920"/>
                <a:gd name="connsiteY622" fmla="*/ 612267 h 627602"/>
                <a:gd name="connsiteX623" fmla="*/ 759524 w 887920"/>
                <a:gd name="connsiteY623" fmla="*/ 608743 h 627602"/>
                <a:gd name="connsiteX624" fmla="*/ 757619 w 887920"/>
                <a:gd name="connsiteY624" fmla="*/ 605790 h 627602"/>
                <a:gd name="connsiteX625" fmla="*/ 762286 w 887920"/>
                <a:gd name="connsiteY625" fmla="*/ 605123 h 627602"/>
                <a:gd name="connsiteX626" fmla="*/ 763334 w 887920"/>
                <a:gd name="connsiteY626" fmla="*/ 600170 h 627602"/>
                <a:gd name="connsiteX627" fmla="*/ 756380 w 887920"/>
                <a:gd name="connsiteY627" fmla="*/ 596265 h 627602"/>
                <a:gd name="connsiteX628" fmla="*/ 755142 w 887920"/>
                <a:gd name="connsiteY628" fmla="*/ 586835 h 627602"/>
                <a:gd name="connsiteX629" fmla="*/ 751427 w 887920"/>
                <a:gd name="connsiteY629" fmla="*/ 582454 h 627602"/>
                <a:gd name="connsiteX630" fmla="*/ 752761 w 887920"/>
                <a:gd name="connsiteY630" fmla="*/ 580739 h 627602"/>
                <a:gd name="connsiteX631" fmla="*/ 753713 w 887920"/>
                <a:gd name="connsiteY631" fmla="*/ 575786 h 627602"/>
                <a:gd name="connsiteX632" fmla="*/ 763048 w 887920"/>
                <a:gd name="connsiteY632" fmla="*/ 573024 h 627602"/>
                <a:gd name="connsiteX633" fmla="*/ 764762 w 887920"/>
                <a:gd name="connsiteY633" fmla="*/ 574358 h 627602"/>
                <a:gd name="connsiteX634" fmla="*/ 772478 w 887920"/>
                <a:gd name="connsiteY634" fmla="*/ 571786 h 627602"/>
                <a:gd name="connsiteX635" fmla="*/ 772668 w 887920"/>
                <a:gd name="connsiteY635" fmla="*/ 560546 h 627602"/>
                <a:gd name="connsiteX636" fmla="*/ 778002 w 887920"/>
                <a:gd name="connsiteY636" fmla="*/ 564642 h 627602"/>
                <a:gd name="connsiteX637" fmla="*/ 779336 w 887920"/>
                <a:gd name="connsiteY637" fmla="*/ 562832 h 627602"/>
                <a:gd name="connsiteX638" fmla="*/ 781145 w 887920"/>
                <a:gd name="connsiteY638" fmla="*/ 564261 h 627602"/>
                <a:gd name="connsiteX639" fmla="*/ 782098 w 887920"/>
                <a:gd name="connsiteY639" fmla="*/ 559308 h 627602"/>
                <a:gd name="connsiteX640" fmla="*/ 778383 w 887920"/>
                <a:gd name="connsiteY640" fmla="*/ 555022 h 627602"/>
                <a:gd name="connsiteX641" fmla="*/ 781145 w 887920"/>
                <a:gd name="connsiteY641" fmla="*/ 551402 h 627602"/>
                <a:gd name="connsiteX642" fmla="*/ 779526 w 887920"/>
                <a:gd name="connsiteY642" fmla="*/ 551593 h 627602"/>
                <a:gd name="connsiteX643" fmla="*/ 778955 w 887920"/>
                <a:gd name="connsiteY643" fmla="*/ 546926 h 627602"/>
                <a:gd name="connsiteX644" fmla="*/ 792385 w 887920"/>
                <a:gd name="connsiteY644" fmla="*/ 551593 h 627602"/>
                <a:gd name="connsiteX645" fmla="*/ 794385 w 887920"/>
                <a:gd name="connsiteY645" fmla="*/ 554546 h 627602"/>
                <a:gd name="connsiteX646" fmla="*/ 794766 w 887920"/>
                <a:gd name="connsiteY646" fmla="*/ 557689 h 627602"/>
                <a:gd name="connsiteX647" fmla="*/ 792956 w 887920"/>
                <a:gd name="connsiteY647" fmla="*/ 556355 h 627602"/>
                <a:gd name="connsiteX648" fmla="*/ 792194 w 887920"/>
                <a:gd name="connsiteY648" fmla="*/ 562832 h 627602"/>
                <a:gd name="connsiteX649" fmla="*/ 803243 w 887920"/>
                <a:gd name="connsiteY649" fmla="*/ 574262 h 627602"/>
                <a:gd name="connsiteX650" fmla="*/ 804101 w 887920"/>
                <a:gd name="connsiteY650" fmla="*/ 580549 h 627602"/>
                <a:gd name="connsiteX651" fmla="*/ 810387 w 887920"/>
                <a:gd name="connsiteY651" fmla="*/ 579787 h 627602"/>
                <a:gd name="connsiteX652" fmla="*/ 812387 w 887920"/>
                <a:gd name="connsiteY652" fmla="*/ 582740 h 627602"/>
                <a:gd name="connsiteX653" fmla="*/ 816864 w 887920"/>
                <a:gd name="connsiteY653" fmla="*/ 580549 h 627602"/>
                <a:gd name="connsiteX654" fmla="*/ 819055 w 887920"/>
                <a:gd name="connsiteY654" fmla="*/ 585121 h 627602"/>
                <a:gd name="connsiteX655" fmla="*/ 826961 w 887920"/>
                <a:gd name="connsiteY655" fmla="*/ 584073 h 627602"/>
                <a:gd name="connsiteX656" fmla="*/ 826008 w 887920"/>
                <a:gd name="connsiteY656" fmla="*/ 576167 h 627602"/>
                <a:gd name="connsiteX657" fmla="*/ 829342 w 887920"/>
                <a:gd name="connsiteY657" fmla="*/ 577310 h 627602"/>
                <a:gd name="connsiteX658" fmla="*/ 833914 w 887920"/>
                <a:gd name="connsiteY658" fmla="*/ 575215 h 627602"/>
                <a:gd name="connsiteX659" fmla="*/ 835438 w 887920"/>
                <a:gd name="connsiteY659" fmla="*/ 574929 h 627602"/>
                <a:gd name="connsiteX660" fmla="*/ 841343 w 887920"/>
                <a:gd name="connsiteY660" fmla="*/ 571024 h 627602"/>
                <a:gd name="connsiteX661" fmla="*/ 842963 w 887920"/>
                <a:gd name="connsiteY661" fmla="*/ 570833 h 627602"/>
                <a:gd name="connsiteX662" fmla="*/ 843344 w 887920"/>
                <a:gd name="connsiteY662" fmla="*/ 573977 h 627602"/>
                <a:gd name="connsiteX663" fmla="*/ 844677 w 887920"/>
                <a:gd name="connsiteY663" fmla="*/ 572167 h 627602"/>
                <a:gd name="connsiteX664" fmla="*/ 845153 w 887920"/>
                <a:gd name="connsiteY664" fmla="*/ 575310 h 627602"/>
                <a:gd name="connsiteX665" fmla="*/ 848487 w 887920"/>
                <a:gd name="connsiteY665" fmla="*/ 576548 h 627602"/>
                <a:gd name="connsiteX666" fmla="*/ 848297 w 887920"/>
                <a:gd name="connsiteY666" fmla="*/ 574929 h 627602"/>
                <a:gd name="connsiteX667" fmla="*/ 851440 w 887920"/>
                <a:gd name="connsiteY667" fmla="*/ 574548 h 627602"/>
                <a:gd name="connsiteX668" fmla="*/ 852678 w 887920"/>
                <a:gd name="connsiteY668" fmla="*/ 583978 h 627602"/>
                <a:gd name="connsiteX669" fmla="*/ 855821 w 887920"/>
                <a:gd name="connsiteY669" fmla="*/ 583597 h 627602"/>
                <a:gd name="connsiteX670" fmla="*/ 853821 w 887920"/>
                <a:gd name="connsiteY670" fmla="*/ 580644 h 627602"/>
                <a:gd name="connsiteX671" fmla="*/ 856583 w 887920"/>
                <a:gd name="connsiteY671" fmla="*/ 577120 h 627602"/>
                <a:gd name="connsiteX672" fmla="*/ 858774 w 887920"/>
                <a:gd name="connsiteY672" fmla="*/ 581597 h 627602"/>
                <a:gd name="connsiteX673" fmla="*/ 860108 w 887920"/>
                <a:gd name="connsiteY673" fmla="*/ 579882 h 627602"/>
                <a:gd name="connsiteX674" fmla="*/ 864680 w 887920"/>
                <a:gd name="connsiteY674" fmla="*/ 577691 h 627602"/>
                <a:gd name="connsiteX675" fmla="*/ 886778 w 887920"/>
                <a:gd name="connsiteY675" fmla="*/ 574834 h 627602"/>
                <a:gd name="connsiteX676" fmla="*/ 887921 w 887920"/>
                <a:gd name="connsiteY676" fmla="*/ 571500 h 627602"/>
                <a:gd name="connsiteX677" fmla="*/ 883920 w 887920"/>
                <a:gd name="connsiteY677" fmla="*/ 565595 h 627602"/>
                <a:gd name="connsiteX678" fmla="*/ 883920 w 887920"/>
                <a:gd name="connsiteY678" fmla="*/ 565595 h 627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</a:cxnLst>
              <a:rect l="l" t="t" r="r" b="b"/>
              <a:pathLst>
                <a:path w="887920" h="627602">
                  <a:moveTo>
                    <a:pt x="883920" y="565595"/>
                  </a:moveTo>
                  <a:lnTo>
                    <a:pt x="883158" y="559308"/>
                  </a:lnTo>
                  <a:lnTo>
                    <a:pt x="881634" y="559499"/>
                  </a:lnTo>
                  <a:lnTo>
                    <a:pt x="877443" y="551974"/>
                  </a:lnTo>
                  <a:lnTo>
                    <a:pt x="873824" y="549212"/>
                  </a:lnTo>
                  <a:lnTo>
                    <a:pt x="873443" y="546068"/>
                  </a:lnTo>
                  <a:lnTo>
                    <a:pt x="868109" y="541973"/>
                  </a:lnTo>
                  <a:lnTo>
                    <a:pt x="865727" y="535877"/>
                  </a:lnTo>
                  <a:lnTo>
                    <a:pt x="859250" y="535019"/>
                  </a:lnTo>
                  <a:lnTo>
                    <a:pt x="859060" y="533495"/>
                  </a:lnTo>
                  <a:lnTo>
                    <a:pt x="863918" y="534448"/>
                  </a:lnTo>
                  <a:lnTo>
                    <a:pt x="852869" y="523018"/>
                  </a:lnTo>
                  <a:lnTo>
                    <a:pt x="857441" y="520827"/>
                  </a:lnTo>
                  <a:lnTo>
                    <a:pt x="860012" y="515684"/>
                  </a:lnTo>
                  <a:lnTo>
                    <a:pt x="850297" y="515303"/>
                  </a:lnTo>
                  <a:lnTo>
                    <a:pt x="843153" y="509873"/>
                  </a:lnTo>
                  <a:lnTo>
                    <a:pt x="853631" y="490919"/>
                  </a:lnTo>
                  <a:lnTo>
                    <a:pt x="851440" y="486347"/>
                  </a:lnTo>
                  <a:lnTo>
                    <a:pt x="858107" y="475869"/>
                  </a:lnTo>
                  <a:lnTo>
                    <a:pt x="863822" y="470345"/>
                  </a:lnTo>
                  <a:lnTo>
                    <a:pt x="855155" y="465011"/>
                  </a:lnTo>
                  <a:lnTo>
                    <a:pt x="854297" y="458724"/>
                  </a:lnTo>
                  <a:lnTo>
                    <a:pt x="850106" y="451199"/>
                  </a:lnTo>
                  <a:lnTo>
                    <a:pt x="839629" y="444532"/>
                  </a:lnTo>
                  <a:lnTo>
                    <a:pt x="839438" y="442913"/>
                  </a:lnTo>
                  <a:lnTo>
                    <a:pt x="844582" y="432721"/>
                  </a:lnTo>
                  <a:lnTo>
                    <a:pt x="851630" y="425387"/>
                  </a:lnTo>
                  <a:lnTo>
                    <a:pt x="844582" y="419862"/>
                  </a:lnTo>
                  <a:lnTo>
                    <a:pt x="838200" y="395002"/>
                  </a:lnTo>
                  <a:lnTo>
                    <a:pt x="836390" y="393668"/>
                  </a:lnTo>
                  <a:lnTo>
                    <a:pt x="835819" y="388906"/>
                  </a:lnTo>
                  <a:lnTo>
                    <a:pt x="839343" y="378809"/>
                  </a:lnTo>
                  <a:lnTo>
                    <a:pt x="837343" y="375857"/>
                  </a:lnTo>
                  <a:lnTo>
                    <a:pt x="838867" y="362807"/>
                  </a:lnTo>
                  <a:lnTo>
                    <a:pt x="831723" y="357378"/>
                  </a:lnTo>
                  <a:lnTo>
                    <a:pt x="832961" y="353949"/>
                  </a:lnTo>
                  <a:lnTo>
                    <a:pt x="840772" y="340138"/>
                  </a:lnTo>
                  <a:lnTo>
                    <a:pt x="842963" y="331851"/>
                  </a:lnTo>
                  <a:lnTo>
                    <a:pt x="838391" y="321183"/>
                  </a:lnTo>
                  <a:lnTo>
                    <a:pt x="822579" y="310420"/>
                  </a:lnTo>
                  <a:lnTo>
                    <a:pt x="818579" y="304514"/>
                  </a:lnTo>
                  <a:lnTo>
                    <a:pt x="817626" y="296609"/>
                  </a:lnTo>
                  <a:lnTo>
                    <a:pt x="817340" y="282226"/>
                  </a:lnTo>
                  <a:lnTo>
                    <a:pt x="808101" y="284988"/>
                  </a:lnTo>
                  <a:lnTo>
                    <a:pt x="799624" y="268415"/>
                  </a:lnTo>
                  <a:lnTo>
                    <a:pt x="791909" y="270986"/>
                  </a:lnTo>
                  <a:lnTo>
                    <a:pt x="778669" y="267843"/>
                  </a:lnTo>
                  <a:lnTo>
                    <a:pt x="774764" y="261938"/>
                  </a:lnTo>
                  <a:lnTo>
                    <a:pt x="767620" y="256508"/>
                  </a:lnTo>
                  <a:lnTo>
                    <a:pt x="759333" y="254318"/>
                  </a:lnTo>
                  <a:lnTo>
                    <a:pt x="757142" y="249746"/>
                  </a:lnTo>
                  <a:lnTo>
                    <a:pt x="750380" y="247460"/>
                  </a:lnTo>
                  <a:lnTo>
                    <a:pt x="745712" y="248031"/>
                  </a:lnTo>
                  <a:lnTo>
                    <a:pt x="741140" y="250222"/>
                  </a:lnTo>
                  <a:lnTo>
                    <a:pt x="729520" y="272510"/>
                  </a:lnTo>
                  <a:lnTo>
                    <a:pt x="718376" y="285179"/>
                  </a:lnTo>
                  <a:lnTo>
                    <a:pt x="713613" y="285750"/>
                  </a:lnTo>
                  <a:lnTo>
                    <a:pt x="710089" y="283083"/>
                  </a:lnTo>
                  <a:lnTo>
                    <a:pt x="706850" y="283464"/>
                  </a:lnTo>
                  <a:lnTo>
                    <a:pt x="703136" y="279083"/>
                  </a:lnTo>
                  <a:lnTo>
                    <a:pt x="705898" y="275558"/>
                  </a:lnTo>
                  <a:lnTo>
                    <a:pt x="705517" y="272415"/>
                  </a:lnTo>
                  <a:lnTo>
                    <a:pt x="706660" y="269081"/>
                  </a:lnTo>
                  <a:lnTo>
                    <a:pt x="704660" y="266129"/>
                  </a:lnTo>
                  <a:lnTo>
                    <a:pt x="704279" y="262890"/>
                  </a:lnTo>
                  <a:lnTo>
                    <a:pt x="699897" y="253841"/>
                  </a:lnTo>
                  <a:lnTo>
                    <a:pt x="705803" y="249936"/>
                  </a:lnTo>
                  <a:lnTo>
                    <a:pt x="703802" y="246983"/>
                  </a:lnTo>
                  <a:lnTo>
                    <a:pt x="706565" y="243364"/>
                  </a:lnTo>
                  <a:lnTo>
                    <a:pt x="702850" y="239078"/>
                  </a:lnTo>
                  <a:lnTo>
                    <a:pt x="706755" y="232124"/>
                  </a:lnTo>
                  <a:lnTo>
                    <a:pt x="704945" y="230791"/>
                  </a:lnTo>
                  <a:lnTo>
                    <a:pt x="701231" y="213646"/>
                  </a:lnTo>
                  <a:lnTo>
                    <a:pt x="695420" y="206312"/>
                  </a:lnTo>
                  <a:lnTo>
                    <a:pt x="691134" y="197263"/>
                  </a:lnTo>
                  <a:lnTo>
                    <a:pt x="689515" y="197453"/>
                  </a:lnTo>
                  <a:lnTo>
                    <a:pt x="686181" y="196310"/>
                  </a:lnTo>
                  <a:lnTo>
                    <a:pt x="684562" y="196501"/>
                  </a:lnTo>
                  <a:lnTo>
                    <a:pt x="684181" y="193358"/>
                  </a:lnTo>
                  <a:lnTo>
                    <a:pt x="682847" y="195072"/>
                  </a:lnTo>
                  <a:lnTo>
                    <a:pt x="680847" y="192119"/>
                  </a:lnTo>
                  <a:lnTo>
                    <a:pt x="674465" y="192977"/>
                  </a:lnTo>
                  <a:lnTo>
                    <a:pt x="674084" y="189833"/>
                  </a:lnTo>
                  <a:lnTo>
                    <a:pt x="672560" y="190024"/>
                  </a:lnTo>
                  <a:lnTo>
                    <a:pt x="665798" y="187643"/>
                  </a:lnTo>
                  <a:lnTo>
                    <a:pt x="660654" y="185071"/>
                  </a:lnTo>
                  <a:lnTo>
                    <a:pt x="649224" y="170498"/>
                  </a:lnTo>
                  <a:lnTo>
                    <a:pt x="648367" y="164211"/>
                  </a:lnTo>
                  <a:lnTo>
                    <a:pt x="640842" y="155543"/>
                  </a:lnTo>
                  <a:lnTo>
                    <a:pt x="638651" y="150971"/>
                  </a:lnTo>
                  <a:lnTo>
                    <a:pt x="635318" y="124206"/>
                  </a:lnTo>
                  <a:lnTo>
                    <a:pt x="631508" y="119824"/>
                  </a:lnTo>
                  <a:lnTo>
                    <a:pt x="633698" y="111538"/>
                  </a:lnTo>
                  <a:lnTo>
                    <a:pt x="632841" y="105251"/>
                  </a:lnTo>
                  <a:lnTo>
                    <a:pt x="634079" y="101918"/>
                  </a:lnTo>
                  <a:lnTo>
                    <a:pt x="638366" y="98108"/>
                  </a:lnTo>
                  <a:lnTo>
                    <a:pt x="639509" y="94774"/>
                  </a:lnTo>
                  <a:lnTo>
                    <a:pt x="646843" y="89059"/>
                  </a:lnTo>
                  <a:lnTo>
                    <a:pt x="647605" y="82487"/>
                  </a:lnTo>
                  <a:lnTo>
                    <a:pt x="643223" y="73438"/>
                  </a:lnTo>
                  <a:lnTo>
                    <a:pt x="636556" y="71057"/>
                  </a:lnTo>
                  <a:lnTo>
                    <a:pt x="638270" y="59626"/>
                  </a:lnTo>
                  <a:lnTo>
                    <a:pt x="637318" y="51721"/>
                  </a:lnTo>
                  <a:lnTo>
                    <a:pt x="622459" y="48863"/>
                  </a:lnTo>
                  <a:lnTo>
                    <a:pt x="619316" y="49244"/>
                  </a:lnTo>
                  <a:lnTo>
                    <a:pt x="617982" y="51054"/>
                  </a:lnTo>
                  <a:lnTo>
                    <a:pt x="612172" y="43720"/>
                  </a:lnTo>
                  <a:lnTo>
                    <a:pt x="615125" y="41720"/>
                  </a:lnTo>
                  <a:lnTo>
                    <a:pt x="613124" y="38767"/>
                  </a:lnTo>
                  <a:lnTo>
                    <a:pt x="610743" y="32671"/>
                  </a:lnTo>
                  <a:lnTo>
                    <a:pt x="613696" y="30670"/>
                  </a:lnTo>
                  <a:lnTo>
                    <a:pt x="611981" y="29337"/>
                  </a:lnTo>
                  <a:lnTo>
                    <a:pt x="597980" y="32671"/>
                  </a:lnTo>
                  <a:lnTo>
                    <a:pt x="592074" y="36671"/>
                  </a:lnTo>
                  <a:lnTo>
                    <a:pt x="587121" y="35719"/>
                  </a:lnTo>
                  <a:lnTo>
                    <a:pt x="583025" y="41053"/>
                  </a:lnTo>
                  <a:lnTo>
                    <a:pt x="583787" y="47339"/>
                  </a:lnTo>
                  <a:lnTo>
                    <a:pt x="577691" y="49720"/>
                  </a:lnTo>
                  <a:lnTo>
                    <a:pt x="569024" y="44387"/>
                  </a:lnTo>
                  <a:lnTo>
                    <a:pt x="565595" y="43244"/>
                  </a:lnTo>
                  <a:lnTo>
                    <a:pt x="568547" y="41243"/>
                  </a:lnTo>
                  <a:lnTo>
                    <a:pt x="569309" y="34766"/>
                  </a:lnTo>
                  <a:lnTo>
                    <a:pt x="568928" y="31623"/>
                  </a:lnTo>
                  <a:lnTo>
                    <a:pt x="568547" y="15621"/>
                  </a:lnTo>
                  <a:lnTo>
                    <a:pt x="565499" y="4763"/>
                  </a:lnTo>
                  <a:lnTo>
                    <a:pt x="553498" y="11144"/>
                  </a:lnTo>
                  <a:lnTo>
                    <a:pt x="545592" y="12097"/>
                  </a:lnTo>
                  <a:lnTo>
                    <a:pt x="544830" y="18669"/>
                  </a:lnTo>
                  <a:lnTo>
                    <a:pt x="539591" y="27337"/>
                  </a:lnTo>
                  <a:lnTo>
                    <a:pt x="538734" y="33814"/>
                  </a:lnTo>
                  <a:lnTo>
                    <a:pt x="542163" y="35052"/>
                  </a:lnTo>
                  <a:lnTo>
                    <a:pt x="545687" y="37814"/>
                  </a:lnTo>
                  <a:lnTo>
                    <a:pt x="540734" y="36767"/>
                  </a:lnTo>
                  <a:lnTo>
                    <a:pt x="536258" y="38957"/>
                  </a:lnTo>
                  <a:lnTo>
                    <a:pt x="530924" y="34862"/>
                  </a:lnTo>
                  <a:lnTo>
                    <a:pt x="524542" y="35624"/>
                  </a:lnTo>
                  <a:lnTo>
                    <a:pt x="519875" y="36290"/>
                  </a:lnTo>
                  <a:lnTo>
                    <a:pt x="515684" y="28766"/>
                  </a:lnTo>
                  <a:lnTo>
                    <a:pt x="515112" y="24003"/>
                  </a:lnTo>
                  <a:lnTo>
                    <a:pt x="522161" y="16669"/>
                  </a:lnTo>
                  <a:lnTo>
                    <a:pt x="518351" y="12383"/>
                  </a:lnTo>
                  <a:lnTo>
                    <a:pt x="505397" y="10859"/>
                  </a:lnTo>
                  <a:lnTo>
                    <a:pt x="500634" y="11430"/>
                  </a:lnTo>
                  <a:lnTo>
                    <a:pt x="500063" y="6668"/>
                  </a:lnTo>
                  <a:lnTo>
                    <a:pt x="495110" y="5715"/>
                  </a:lnTo>
                  <a:lnTo>
                    <a:pt x="494729" y="2572"/>
                  </a:lnTo>
                  <a:lnTo>
                    <a:pt x="489585" y="0"/>
                  </a:lnTo>
                  <a:lnTo>
                    <a:pt x="487966" y="190"/>
                  </a:lnTo>
                  <a:lnTo>
                    <a:pt x="487775" y="11430"/>
                  </a:lnTo>
                  <a:lnTo>
                    <a:pt x="481679" y="13811"/>
                  </a:lnTo>
                  <a:lnTo>
                    <a:pt x="471869" y="11906"/>
                  </a:lnTo>
                  <a:lnTo>
                    <a:pt x="471392" y="8763"/>
                  </a:lnTo>
                  <a:lnTo>
                    <a:pt x="471202" y="7144"/>
                  </a:lnTo>
                  <a:lnTo>
                    <a:pt x="470630" y="2477"/>
                  </a:lnTo>
                  <a:lnTo>
                    <a:pt x="463868" y="95"/>
                  </a:lnTo>
                  <a:lnTo>
                    <a:pt x="459200" y="667"/>
                  </a:lnTo>
                  <a:lnTo>
                    <a:pt x="458438" y="7239"/>
                  </a:lnTo>
                  <a:lnTo>
                    <a:pt x="455200" y="7620"/>
                  </a:lnTo>
                  <a:lnTo>
                    <a:pt x="449485" y="13145"/>
                  </a:lnTo>
                  <a:lnTo>
                    <a:pt x="445008" y="15335"/>
                  </a:lnTo>
                  <a:lnTo>
                    <a:pt x="438436" y="14573"/>
                  </a:lnTo>
                  <a:lnTo>
                    <a:pt x="435959" y="19717"/>
                  </a:lnTo>
                  <a:lnTo>
                    <a:pt x="426911" y="36862"/>
                  </a:lnTo>
                  <a:lnTo>
                    <a:pt x="432245" y="40958"/>
                  </a:lnTo>
                  <a:lnTo>
                    <a:pt x="440150" y="52864"/>
                  </a:lnTo>
                  <a:lnTo>
                    <a:pt x="444246" y="47435"/>
                  </a:lnTo>
                  <a:lnTo>
                    <a:pt x="451771" y="43339"/>
                  </a:lnTo>
                  <a:lnTo>
                    <a:pt x="453581" y="44672"/>
                  </a:lnTo>
                  <a:lnTo>
                    <a:pt x="458534" y="58484"/>
                  </a:lnTo>
                  <a:lnTo>
                    <a:pt x="462725" y="66008"/>
                  </a:lnTo>
                  <a:lnTo>
                    <a:pt x="460915" y="64580"/>
                  </a:lnTo>
                  <a:lnTo>
                    <a:pt x="455200" y="70104"/>
                  </a:lnTo>
                  <a:lnTo>
                    <a:pt x="458534" y="84106"/>
                  </a:lnTo>
                  <a:lnTo>
                    <a:pt x="456248" y="90869"/>
                  </a:lnTo>
                  <a:lnTo>
                    <a:pt x="458248" y="93821"/>
                  </a:lnTo>
                  <a:lnTo>
                    <a:pt x="448723" y="107823"/>
                  </a:lnTo>
                  <a:lnTo>
                    <a:pt x="445770" y="109823"/>
                  </a:lnTo>
                  <a:lnTo>
                    <a:pt x="441674" y="115157"/>
                  </a:lnTo>
                  <a:lnTo>
                    <a:pt x="444056" y="121253"/>
                  </a:lnTo>
                  <a:lnTo>
                    <a:pt x="448056" y="127159"/>
                  </a:lnTo>
                  <a:lnTo>
                    <a:pt x="448818" y="133541"/>
                  </a:lnTo>
                  <a:lnTo>
                    <a:pt x="453581" y="132874"/>
                  </a:lnTo>
                  <a:lnTo>
                    <a:pt x="446437" y="140208"/>
                  </a:lnTo>
                  <a:lnTo>
                    <a:pt x="447294" y="146495"/>
                  </a:lnTo>
                  <a:lnTo>
                    <a:pt x="444532" y="150114"/>
                  </a:lnTo>
                  <a:lnTo>
                    <a:pt x="448056" y="152876"/>
                  </a:lnTo>
                  <a:lnTo>
                    <a:pt x="450056" y="168593"/>
                  </a:lnTo>
                  <a:lnTo>
                    <a:pt x="451104" y="176498"/>
                  </a:lnTo>
                  <a:lnTo>
                    <a:pt x="447961" y="176879"/>
                  </a:lnTo>
                  <a:lnTo>
                    <a:pt x="433578" y="177165"/>
                  </a:lnTo>
                  <a:lnTo>
                    <a:pt x="429387" y="182499"/>
                  </a:lnTo>
                  <a:lnTo>
                    <a:pt x="421481" y="183452"/>
                  </a:lnTo>
                  <a:lnTo>
                    <a:pt x="413195" y="181356"/>
                  </a:lnTo>
                  <a:lnTo>
                    <a:pt x="407670" y="175641"/>
                  </a:lnTo>
                  <a:lnTo>
                    <a:pt x="381000" y="167831"/>
                  </a:lnTo>
                  <a:lnTo>
                    <a:pt x="379095" y="177641"/>
                  </a:lnTo>
                  <a:lnTo>
                    <a:pt x="363093" y="165259"/>
                  </a:lnTo>
                  <a:lnTo>
                    <a:pt x="356711" y="166116"/>
                  </a:lnTo>
                  <a:lnTo>
                    <a:pt x="356140" y="174212"/>
                  </a:lnTo>
                  <a:lnTo>
                    <a:pt x="349853" y="174974"/>
                  </a:lnTo>
                  <a:lnTo>
                    <a:pt x="344900" y="174022"/>
                  </a:lnTo>
                  <a:lnTo>
                    <a:pt x="340233" y="174593"/>
                  </a:lnTo>
                  <a:lnTo>
                    <a:pt x="333280" y="170688"/>
                  </a:lnTo>
                  <a:lnTo>
                    <a:pt x="328803" y="172879"/>
                  </a:lnTo>
                  <a:lnTo>
                    <a:pt x="329184" y="176022"/>
                  </a:lnTo>
                  <a:lnTo>
                    <a:pt x="325660" y="186119"/>
                  </a:lnTo>
                  <a:lnTo>
                    <a:pt x="320326" y="194786"/>
                  </a:lnTo>
                  <a:lnTo>
                    <a:pt x="314420" y="211550"/>
                  </a:lnTo>
                  <a:lnTo>
                    <a:pt x="312896" y="224600"/>
                  </a:lnTo>
                  <a:lnTo>
                    <a:pt x="307181" y="230124"/>
                  </a:lnTo>
                  <a:lnTo>
                    <a:pt x="308324" y="226790"/>
                  </a:lnTo>
                  <a:lnTo>
                    <a:pt x="306610" y="225362"/>
                  </a:lnTo>
                  <a:lnTo>
                    <a:pt x="297752" y="231362"/>
                  </a:lnTo>
                  <a:lnTo>
                    <a:pt x="289655" y="230791"/>
                  </a:lnTo>
                  <a:lnTo>
                    <a:pt x="289179" y="227648"/>
                  </a:lnTo>
                  <a:lnTo>
                    <a:pt x="286036" y="228029"/>
                  </a:lnTo>
                  <a:lnTo>
                    <a:pt x="284131" y="225076"/>
                  </a:lnTo>
                  <a:lnTo>
                    <a:pt x="279178" y="224123"/>
                  </a:lnTo>
                  <a:lnTo>
                    <a:pt x="273844" y="219932"/>
                  </a:lnTo>
                  <a:lnTo>
                    <a:pt x="268891" y="218980"/>
                  </a:lnTo>
                  <a:lnTo>
                    <a:pt x="266319" y="224123"/>
                  </a:lnTo>
                  <a:lnTo>
                    <a:pt x="258604" y="226695"/>
                  </a:lnTo>
                  <a:lnTo>
                    <a:pt x="255270" y="225552"/>
                  </a:lnTo>
                  <a:lnTo>
                    <a:pt x="255080" y="223933"/>
                  </a:lnTo>
                  <a:lnTo>
                    <a:pt x="257270" y="215646"/>
                  </a:lnTo>
                  <a:lnTo>
                    <a:pt x="249746" y="206978"/>
                  </a:lnTo>
                  <a:lnTo>
                    <a:pt x="237077" y="208598"/>
                  </a:lnTo>
                  <a:lnTo>
                    <a:pt x="231743" y="204502"/>
                  </a:lnTo>
                  <a:lnTo>
                    <a:pt x="217742" y="194977"/>
                  </a:lnTo>
                  <a:lnTo>
                    <a:pt x="208407" y="197834"/>
                  </a:lnTo>
                  <a:lnTo>
                    <a:pt x="196215" y="189738"/>
                  </a:lnTo>
                  <a:lnTo>
                    <a:pt x="187738" y="186023"/>
                  </a:lnTo>
                  <a:lnTo>
                    <a:pt x="180213" y="202978"/>
                  </a:lnTo>
                  <a:lnTo>
                    <a:pt x="177260" y="204978"/>
                  </a:lnTo>
                  <a:lnTo>
                    <a:pt x="172593" y="205550"/>
                  </a:lnTo>
                  <a:lnTo>
                    <a:pt x="168212" y="209360"/>
                  </a:lnTo>
                  <a:lnTo>
                    <a:pt x="153448" y="206407"/>
                  </a:lnTo>
                  <a:lnTo>
                    <a:pt x="152210" y="209741"/>
                  </a:lnTo>
                  <a:lnTo>
                    <a:pt x="154781" y="217456"/>
                  </a:lnTo>
                  <a:lnTo>
                    <a:pt x="150495" y="221266"/>
                  </a:lnTo>
                  <a:lnTo>
                    <a:pt x="151448" y="229076"/>
                  </a:lnTo>
                  <a:lnTo>
                    <a:pt x="148971" y="234220"/>
                  </a:lnTo>
                  <a:lnTo>
                    <a:pt x="150114" y="243745"/>
                  </a:lnTo>
                  <a:lnTo>
                    <a:pt x="148019" y="252032"/>
                  </a:lnTo>
                  <a:lnTo>
                    <a:pt x="140303" y="254603"/>
                  </a:lnTo>
                  <a:lnTo>
                    <a:pt x="135541" y="255175"/>
                  </a:lnTo>
                  <a:lnTo>
                    <a:pt x="135350" y="253651"/>
                  </a:lnTo>
                  <a:lnTo>
                    <a:pt x="134398" y="258604"/>
                  </a:lnTo>
                  <a:lnTo>
                    <a:pt x="130683" y="254222"/>
                  </a:lnTo>
                  <a:lnTo>
                    <a:pt x="124301" y="255080"/>
                  </a:lnTo>
                  <a:lnTo>
                    <a:pt x="122301" y="252127"/>
                  </a:lnTo>
                  <a:lnTo>
                    <a:pt x="114014" y="249936"/>
                  </a:lnTo>
                  <a:lnTo>
                    <a:pt x="111633" y="243840"/>
                  </a:lnTo>
                  <a:lnTo>
                    <a:pt x="102965" y="238506"/>
                  </a:lnTo>
                  <a:lnTo>
                    <a:pt x="99822" y="238887"/>
                  </a:lnTo>
                  <a:lnTo>
                    <a:pt x="98393" y="240697"/>
                  </a:lnTo>
                  <a:lnTo>
                    <a:pt x="96679" y="239268"/>
                  </a:lnTo>
                  <a:lnTo>
                    <a:pt x="92107" y="241459"/>
                  </a:lnTo>
                  <a:lnTo>
                    <a:pt x="94869" y="237935"/>
                  </a:lnTo>
                  <a:lnTo>
                    <a:pt x="95822" y="232982"/>
                  </a:lnTo>
                  <a:lnTo>
                    <a:pt x="92678" y="233363"/>
                  </a:lnTo>
                  <a:lnTo>
                    <a:pt x="90964" y="232029"/>
                  </a:lnTo>
                  <a:lnTo>
                    <a:pt x="83249" y="234601"/>
                  </a:lnTo>
                  <a:lnTo>
                    <a:pt x="79058" y="239935"/>
                  </a:lnTo>
                  <a:lnTo>
                    <a:pt x="73533" y="234220"/>
                  </a:lnTo>
                  <a:lnTo>
                    <a:pt x="67437" y="236601"/>
                  </a:lnTo>
                  <a:lnTo>
                    <a:pt x="71247" y="240983"/>
                  </a:lnTo>
                  <a:lnTo>
                    <a:pt x="69818" y="242697"/>
                  </a:lnTo>
                  <a:lnTo>
                    <a:pt x="73152" y="243935"/>
                  </a:lnTo>
                  <a:lnTo>
                    <a:pt x="74581" y="242126"/>
                  </a:lnTo>
                  <a:lnTo>
                    <a:pt x="77915" y="243269"/>
                  </a:lnTo>
                  <a:lnTo>
                    <a:pt x="78296" y="246507"/>
                  </a:lnTo>
                  <a:lnTo>
                    <a:pt x="74771" y="243745"/>
                  </a:lnTo>
                  <a:lnTo>
                    <a:pt x="72200" y="248888"/>
                  </a:lnTo>
                  <a:lnTo>
                    <a:pt x="74009" y="250222"/>
                  </a:lnTo>
                  <a:lnTo>
                    <a:pt x="73057" y="255175"/>
                  </a:lnTo>
                  <a:lnTo>
                    <a:pt x="74771" y="256508"/>
                  </a:lnTo>
                  <a:lnTo>
                    <a:pt x="76391" y="256318"/>
                  </a:lnTo>
                  <a:lnTo>
                    <a:pt x="78200" y="257746"/>
                  </a:lnTo>
                  <a:lnTo>
                    <a:pt x="78391" y="259270"/>
                  </a:lnTo>
                  <a:lnTo>
                    <a:pt x="78581" y="260890"/>
                  </a:lnTo>
                  <a:lnTo>
                    <a:pt x="72676" y="264795"/>
                  </a:lnTo>
                  <a:lnTo>
                    <a:pt x="71438" y="268224"/>
                  </a:lnTo>
                  <a:lnTo>
                    <a:pt x="77057" y="273844"/>
                  </a:lnTo>
                  <a:lnTo>
                    <a:pt x="71723" y="282607"/>
                  </a:lnTo>
                  <a:lnTo>
                    <a:pt x="66580" y="280035"/>
                  </a:lnTo>
                  <a:lnTo>
                    <a:pt x="61817" y="280607"/>
                  </a:lnTo>
                  <a:lnTo>
                    <a:pt x="62008" y="282226"/>
                  </a:lnTo>
                  <a:lnTo>
                    <a:pt x="56483" y="289370"/>
                  </a:lnTo>
                  <a:lnTo>
                    <a:pt x="54959" y="302324"/>
                  </a:lnTo>
                  <a:lnTo>
                    <a:pt x="54007" y="307277"/>
                  </a:lnTo>
                  <a:lnTo>
                    <a:pt x="51054" y="309277"/>
                  </a:lnTo>
                  <a:lnTo>
                    <a:pt x="50292" y="315754"/>
                  </a:lnTo>
                  <a:lnTo>
                    <a:pt x="59150" y="322707"/>
                  </a:lnTo>
                  <a:lnTo>
                    <a:pt x="56388" y="326231"/>
                  </a:lnTo>
                  <a:lnTo>
                    <a:pt x="50102" y="326993"/>
                  </a:lnTo>
                  <a:lnTo>
                    <a:pt x="48482" y="327279"/>
                  </a:lnTo>
                  <a:lnTo>
                    <a:pt x="49721" y="323850"/>
                  </a:lnTo>
                  <a:lnTo>
                    <a:pt x="47339" y="317754"/>
                  </a:lnTo>
                  <a:lnTo>
                    <a:pt x="44768" y="322898"/>
                  </a:lnTo>
                  <a:lnTo>
                    <a:pt x="44958" y="324517"/>
                  </a:lnTo>
                  <a:lnTo>
                    <a:pt x="41243" y="332994"/>
                  </a:lnTo>
                  <a:lnTo>
                    <a:pt x="32195" y="337376"/>
                  </a:lnTo>
                  <a:lnTo>
                    <a:pt x="22860" y="340138"/>
                  </a:lnTo>
                  <a:lnTo>
                    <a:pt x="18955" y="346996"/>
                  </a:lnTo>
                  <a:lnTo>
                    <a:pt x="19812" y="353378"/>
                  </a:lnTo>
                  <a:lnTo>
                    <a:pt x="15621" y="358712"/>
                  </a:lnTo>
                  <a:lnTo>
                    <a:pt x="15050" y="366808"/>
                  </a:lnTo>
                  <a:lnTo>
                    <a:pt x="22003" y="370713"/>
                  </a:lnTo>
                  <a:lnTo>
                    <a:pt x="22574" y="375476"/>
                  </a:lnTo>
                  <a:lnTo>
                    <a:pt x="8192" y="388525"/>
                  </a:lnTo>
                  <a:lnTo>
                    <a:pt x="6477" y="387096"/>
                  </a:lnTo>
                  <a:lnTo>
                    <a:pt x="191" y="400717"/>
                  </a:lnTo>
                  <a:lnTo>
                    <a:pt x="0" y="412052"/>
                  </a:lnTo>
                  <a:lnTo>
                    <a:pt x="4953" y="413004"/>
                  </a:lnTo>
                  <a:lnTo>
                    <a:pt x="9620" y="412337"/>
                  </a:lnTo>
                  <a:lnTo>
                    <a:pt x="11240" y="412147"/>
                  </a:lnTo>
                  <a:lnTo>
                    <a:pt x="10478" y="418719"/>
                  </a:lnTo>
                  <a:lnTo>
                    <a:pt x="10859" y="421862"/>
                  </a:lnTo>
                  <a:lnTo>
                    <a:pt x="11049" y="423386"/>
                  </a:lnTo>
                  <a:lnTo>
                    <a:pt x="13811" y="432721"/>
                  </a:lnTo>
                  <a:lnTo>
                    <a:pt x="14288" y="435864"/>
                  </a:lnTo>
                  <a:lnTo>
                    <a:pt x="10763" y="445961"/>
                  </a:lnTo>
                  <a:lnTo>
                    <a:pt x="17812" y="451390"/>
                  </a:lnTo>
                  <a:lnTo>
                    <a:pt x="16478" y="453200"/>
                  </a:lnTo>
                  <a:lnTo>
                    <a:pt x="16859" y="456343"/>
                  </a:lnTo>
                  <a:lnTo>
                    <a:pt x="24003" y="461867"/>
                  </a:lnTo>
                  <a:lnTo>
                    <a:pt x="26956" y="472726"/>
                  </a:lnTo>
                  <a:lnTo>
                    <a:pt x="24384" y="477869"/>
                  </a:lnTo>
                  <a:lnTo>
                    <a:pt x="29337" y="478822"/>
                  </a:lnTo>
                  <a:lnTo>
                    <a:pt x="33338" y="484727"/>
                  </a:lnTo>
                  <a:lnTo>
                    <a:pt x="32099" y="488061"/>
                  </a:lnTo>
                  <a:lnTo>
                    <a:pt x="42196" y="491585"/>
                  </a:lnTo>
                  <a:lnTo>
                    <a:pt x="41434" y="498158"/>
                  </a:lnTo>
                  <a:lnTo>
                    <a:pt x="43053" y="497967"/>
                  </a:lnTo>
                  <a:lnTo>
                    <a:pt x="41624" y="499682"/>
                  </a:lnTo>
                  <a:lnTo>
                    <a:pt x="44768" y="499301"/>
                  </a:lnTo>
                  <a:lnTo>
                    <a:pt x="46006" y="508826"/>
                  </a:lnTo>
                  <a:lnTo>
                    <a:pt x="47625" y="508540"/>
                  </a:lnTo>
                  <a:lnTo>
                    <a:pt x="48006" y="511778"/>
                  </a:lnTo>
                  <a:lnTo>
                    <a:pt x="50006" y="514731"/>
                  </a:lnTo>
                  <a:lnTo>
                    <a:pt x="51149" y="524161"/>
                  </a:lnTo>
                  <a:lnTo>
                    <a:pt x="50006" y="527495"/>
                  </a:lnTo>
                  <a:lnTo>
                    <a:pt x="56864" y="531400"/>
                  </a:lnTo>
                  <a:lnTo>
                    <a:pt x="59531" y="539115"/>
                  </a:lnTo>
                  <a:lnTo>
                    <a:pt x="61055" y="538925"/>
                  </a:lnTo>
                  <a:lnTo>
                    <a:pt x="59722" y="540734"/>
                  </a:lnTo>
                  <a:lnTo>
                    <a:pt x="62865" y="540353"/>
                  </a:lnTo>
                  <a:lnTo>
                    <a:pt x="61627" y="543687"/>
                  </a:lnTo>
                  <a:lnTo>
                    <a:pt x="63437" y="545021"/>
                  </a:lnTo>
                  <a:lnTo>
                    <a:pt x="62103" y="546830"/>
                  </a:lnTo>
                  <a:lnTo>
                    <a:pt x="63627" y="546640"/>
                  </a:lnTo>
                  <a:lnTo>
                    <a:pt x="65246" y="546449"/>
                  </a:lnTo>
                  <a:lnTo>
                    <a:pt x="65437" y="547973"/>
                  </a:lnTo>
                  <a:lnTo>
                    <a:pt x="64484" y="552926"/>
                  </a:lnTo>
                  <a:lnTo>
                    <a:pt x="66389" y="555879"/>
                  </a:lnTo>
                  <a:lnTo>
                    <a:pt x="67818" y="554069"/>
                  </a:lnTo>
                  <a:lnTo>
                    <a:pt x="67056" y="560642"/>
                  </a:lnTo>
                  <a:lnTo>
                    <a:pt x="75343" y="562737"/>
                  </a:lnTo>
                  <a:lnTo>
                    <a:pt x="76676" y="561023"/>
                  </a:lnTo>
                  <a:lnTo>
                    <a:pt x="76867" y="562547"/>
                  </a:lnTo>
                  <a:lnTo>
                    <a:pt x="76867" y="562547"/>
                  </a:lnTo>
                  <a:lnTo>
                    <a:pt x="78677" y="563975"/>
                  </a:lnTo>
                  <a:lnTo>
                    <a:pt x="78486" y="562356"/>
                  </a:lnTo>
                  <a:lnTo>
                    <a:pt x="83439" y="563309"/>
                  </a:lnTo>
                  <a:lnTo>
                    <a:pt x="86582" y="562928"/>
                  </a:lnTo>
                  <a:lnTo>
                    <a:pt x="86773" y="564547"/>
                  </a:lnTo>
                  <a:lnTo>
                    <a:pt x="85439" y="566261"/>
                  </a:lnTo>
                  <a:lnTo>
                    <a:pt x="90297" y="567309"/>
                  </a:lnTo>
                  <a:lnTo>
                    <a:pt x="89726" y="575405"/>
                  </a:lnTo>
                  <a:lnTo>
                    <a:pt x="93155" y="576548"/>
                  </a:lnTo>
                  <a:lnTo>
                    <a:pt x="95345" y="581120"/>
                  </a:lnTo>
                  <a:lnTo>
                    <a:pt x="97917" y="588740"/>
                  </a:lnTo>
                  <a:lnTo>
                    <a:pt x="99441" y="588550"/>
                  </a:lnTo>
                  <a:lnTo>
                    <a:pt x="98679" y="595122"/>
                  </a:lnTo>
                  <a:lnTo>
                    <a:pt x="105251" y="595884"/>
                  </a:lnTo>
                  <a:lnTo>
                    <a:pt x="103823" y="597599"/>
                  </a:lnTo>
                  <a:lnTo>
                    <a:pt x="107633" y="601980"/>
                  </a:lnTo>
                  <a:lnTo>
                    <a:pt x="109919" y="595217"/>
                  </a:lnTo>
                  <a:lnTo>
                    <a:pt x="108204" y="593884"/>
                  </a:lnTo>
                  <a:lnTo>
                    <a:pt x="113252" y="583597"/>
                  </a:lnTo>
                  <a:lnTo>
                    <a:pt x="124301" y="582168"/>
                  </a:lnTo>
                  <a:lnTo>
                    <a:pt x="121349" y="584168"/>
                  </a:lnTo>
                  <a:lnTo>
                    <a:pt x="125159" y="588550"/>
                  </a:lnTo>
                  <a:lnTo>
                    <a:pt x="127730" y="596170"/>
                  </a:lnTo>
                  <a:lnTo>
                    <a:pt x="129445" y="597599"/>
                  </a:lnTo>
                  <a:lnTo>
                    <a:pt x="137732" y="599694"/>
                  </a:lnTo>
                  <a:lnTo>
                    <a:pt x="142494" y="599123"/>
                  </a:lnTo>
                  <a:lnTo>
                    <a:pt x="145256" y="595598"/>
                  </a:lnTo>
                  <a:lnTo>
                    <a:pt x="139732" y="589883"/>
                  </a:lnTo>
                  <a:lnTo>
                    <a:pt x="139541" y="588264"/>
                  </a:lnTo>
                  <a:lnTo>
                    <a:pt x="149162" y="588645"/>
                  </a:lnTo>
                  <a:lnTo>
                    <a:pt x="150590" y="586835"/>
                  </a:lnTo>
                  <a:lnTo>
                    <a:pt x="153162" y="581692"/>
                  </a:lnTo>
                  <a:lnTo>
                    <a:pt x="159639" y="582549"/>
                  </a:lnTo>
                  <a:lnTo>
                    <a:pt x="161258" y="582263"/>
                  </a:lnTo>
                  <a:lnTo>
                    <a:pt x="161449" y="583883"/>
                  </a:lnTo>
                  <a:lnTo>
                    <a:pt x="160020" y="585692"/>
                  </a:lnTo>
                  <a:lnTo>
                    <a:pt x="160687" y="590360"/>
                  </a:lnTo>
                  <a:lnTo>
                    <a:pt x="159258" y="592169"/>
                  </a:lnTo>
                  <a:lnTo>
                    <a:pt x="164783" y="597884"/>
                  </a:lnTo>
                  <a:lnTo>
                    <a:pt x="163068" y="596551"/>
                  </a:lnTo>
                  <a:lnTo>
                    <a:pt x="160306" y="600075"/>
                  </a:lnTo>
                  <a:lnTo>
                    <a:pt x="159258" y="605028"/>
                  </a:lnTo>
                  <a:lnTo>
                    <a:pt x="161068" y="606362"/>
                  </a:lnTo>
                  <a:lnTo>
                    <a:pt x="162497" y="617411"/>
                  </a:lnTo>
                  <a:lnTo>
                    <a:pt x="168021" y="623126"/>
                  </a:lnTo>
                  <a:lnTo>
                    <a:pt x="169640" y="622935"/>
                  </a:lnTo>
                  <a:lnTo>
                    <a:pt x="170593" y="617982"/>
                  </a:lnTo>
                  <a:lnTo>
                    <a:pt x="172593" y="620935"/>
                  </a:lnTo>
                  <a:lnTo>
                    <a:pt x="173927" y="619220"/>
                  </a:lnTo>
                  <a:lnTo>
                    <a:pt x="174117" y="620744"/>
                  </a:lnTo>
                  <a:lnTo>
                    <a:pt x="177260" y="620363"/>
                  </a:lnTo>
                  <a:lnTo>
                    <a:pt x="175927" y="622173"/>
                  </a:lnTo>
                  <a:lnTo>
                    <a:pt x="175927" y="622173"/>
                  </a:lnTo>
                  <a:lnTo>
                    <a:pt x="181070" y="624650"/>
                  </a:lnTo>
                  <a:lnTo>
                    <a:pt x="183071" y="627602"/>
                  </a:lnTo>
                  <a:lnTo>
                    <a:pt x="185738" y="624078"/>
                  </a:lnTo>
                  <a:lnTo>
                    <a:pt x="183642" y="619506"/>
                  </a:lnTo>
                  <a:lnTo>
                    <a:pt x="187738" y="614172"/>
                  </a:lnTo>
                  <a:lnTo>
                    <a:pt x="188119" y="617411"/>
                  </a:lnTo>
                  <a:lnTo>
                    <a:pt x="194691" y="618173"/>
                  </a:lnTo>
                  <a:lnTo>
                    <a:pt x="196215" y="617982"/>
                  </a:lnTo>
                  <a:lnTo>
                    <a:pt x="196977" y="611410"/>
                  </a:lnTo>
                  <a:lnTo>
                    <a:pt x="201930" y="612362"/>
                  </a:lnTo>
                  <a:lnTo>
                    <a:pt x="204121" y="616934"/>
                  </a:lnTo>
                  <a:lnTo>
                    <a:pt x="209074" y="617887"/>
                  </a:lnTo>
                  <a:lnTo>
                    <a:pt x="208407" y="613220"/>
                  </a:lnTo>
                  <a:lnTo>
                    <a:pt x="209836" y="611410"/>
                  </a:lnTo>
                  <a:lnTo>
                    <a:pt x="221266" y="613124"/>
                  </a:lnTo>
                  <a:lnTo>
                    <a:pt x="227552" y="612362"/>
                  </a:lnTo>
                  <a:lnTo>
                    <a:pt x="227362" y="610743"/>
                  </a:lnTo>
                  <a:lnTo>
                    <a:pt x="237839" y="617411"/>
                  </a:lnTo>
                  <a:lnTo>
                    <a:pt x="237839" y="617411"/>
                  </a:lnTo>
                  <a:lnTo>
                    <a:pt x="239268" y="615696"/>
                  </a:lnTo>
                  <a:lnTo>
                    <a:pt x="236220" y="604838"/>
                  </a:lnTo>
                  <a:lnTo>
                    <a:pt x="242316" y="602456"/>
                  </a:lnTo>
                  <a:lnTo>
                    <a:pt x="242126" y="600837"/>
                  </a:lnTo>
                  <a:lnTo>
                    <a:pt x="251841" y="601218"/>
                  </a:lnTo>
                  <a:lnTo>
                    <a:pt x="254603" y="597694"/>
                  </a:lnTo>
                  <a:lnTo>
                    <a:pt x="257937" y="598837"/>
                  </a:lnTo>
                  <a:lnTo>
                    <a:pt x="261652" y="577501"/>
                  </a:lnTo>
                  <a:lnTo>
                    <a:pt x="261271" y="574358"/>
                  </a:lnTo>
                  <a:lnTo>
                    <a:pt x="280988" y="578263"/>
                  </a:lnTo>
                  <a:lnTo>
                    <a:pt x="282131" y="574929"/>
                  </a:lnTo>
                  <a:lnTo>
                    <a:pt x="284131" y="565023"/>
                  </a:lnTo>
                  <a:lnTo>
                    <a:pt x="278130" y="543401"/>
                  </a:lnTo>
                  <a:lnTo>
                    <a:pt x="278321" y="532067"/>
                  </a:lnTo>
                  <a:lnTo>
                    <a:pt x="312896" y="538925"/>
                  </a:lnTo>
                  <a:lnTo>
                    <a:pt x="332232" y="552450"/>
                  </a:lnTo>
                  <a:lnTo>
                    <a:pt x="346424" y="537877"/>
                  </a:lnTo>
                  <a:lnTo>
                    <a:pt x="349568" y="537496"/>
                  </a:lnTo>
                  <a:lnTo>
                    <a:pt x="352330" y="533876"/>
                  </a:lnTo>
                  <a:lnTo>
                    <a:pt x="353473" y="530543"/>
                  </a:lnTo>
                  <a:lnTo>
                    <a:pt x="351473" y="527590"/>
                  </a:lnTo>
                  <a:lnTo>
                    <a:pt x="346139" y="523494"/>
                  </a:lnTo>
                  <a:lnTo>
                    <a:pt x="347091" y="518541"/>
                  </a:lnTo>
                  <a:lnTo>
                    <a:pt x="345186" y="515588"/>
                  </a:lnTo>
                  <a:lnTo>
                    <a:pt x="357569" y="512350"/>
                  </a:lnTo>
                  <a:lnTo>
                    <a:pt x="357378" y="510826"/>
                  </a:lnTo>
                  <a:lnTo>
                    <a:pt x="364903" y="506635"/>
                  </a:lnTo>
                  <a:lnTo>
                    <a:pt x="369570" y="506063"/>
                  </a:lnTo>
                  <a:lnTo>
                    <a:pt x="372713" y="505587"/>
                  </a:lnTo>
                  <a:lnTo>
                    <a:pt x="375476" y="502063"/>
                  </a:lnTo>
                  <a:lnTo>
                    <a:pt x="376142" y="506825"/>
                  </a:lnTo>
                  <a:lnTo>
                    <a:pt x="381857" y="501301"/>
                  </a:lnTo>
                  <a:lnTo>
                    <a:pt x="387953" y="498920"/>
                  </a:lnTo>
                  <a:lnTo>
                    <a:pt x="383572" y="489871"/>
                  </a:lnTo>
                  <a:lnTo>
                    <a:pt x="385191" y="489585"/>
                  </a:lnTo>
                  <a:lnTo>
                    <a:pt x="380810" y="480536"/>
                  </a:lnTo>
                  <a:lnTo>
                    <a:pt x="377666" y="480917"/>
                  </a:lnTo>
                  <a:lnTo>
                    <a:pt x="383762" y="478536"/>
                  </a:lnTo>
                  <a:lnTo>
                    <a:pt x="385096" y="476822"/>
                  </a:lnTo>
                  <a:lnTo>
                    <a:pt x="388430" y="477965"/>
                  </a:lnTo>
                  <a:lnTo>
                    <a:pt x="388239" y="476441"/>
                  </a:lnTo>
                  <a:lnTo>
                    <a:pt x="391478" y="475964"/>
                  </a:lnTo>
                  <a:lnTo>
                    <a:pt x="393192" y="477393"/>
                  </a:lnTo>
                  <a:lnTo>
                    <a:pt x="386620" y="463772"/>
                  </a:lnTo>
                  <a:lnTo>
                    <a:pt x="391192" y="461582"/>
                  </a:lnTo>
                  <a:lnTo>
                    <a:pt x="404241" y="463106"/>
                  </a:lnTo>
                  <a:lnTo>
                    <a:pt x="402812" y="464915"/>
                  </a:lnTo>
                  <a:lnTo>
                    <a:pt x="405194" y="471011"/>
                  </a:lnTo>
                  <a:lnTo>
                    <a:pt x="402241" y="473012"/>
                  </a:lnTo>
                  <a:lnTo>
                    <a:pt x="404241" y="475964"/>
                  </a:lnTo>
                  <a:lnTo>
                    <a:pt x="407384" y="475583"/>
                  </a:lnTo>
                  <a:lnTo>
                    <a:pt x="411004" y="478346"/>
                  </a:lnTo>
                  <a:lnTo>
                    <a:pt x="410528" y="475202"/>
                  </a:lnTo>
                  <a:lnTo>
                    <a:pt x="415481" y="476155"/>
                  </a:lnTo>
                  <a:lnTo>
                    <a:pt x="419862" y="485204"/>
                  </a:lnTo>
                  <a:lnTo>
                    <a:pt x="415100" y="485775"/>
                  </a:lnTo>
                  <a:lnTo>
                    <a:pt x="418529" y="487013"/>
                  </a:lnTo>
                  <a:lnTo>
                    <a:pt x="420434" y="489966"/>
                  </a:lnTo>
                  <a:lnTo>
                    <a:pt x="425196" y="489299"/>
                  </a:lnTo>
                  <a:lnTo>
                    <a:pt x="428720" y="492062"/>
                  </a:lnTo>
                  <a:lnTo>
                    <a:pt x="427958" y="485775"/>
                  </a:lnTo>
                  <a:lnTo>
                    <a:pt x="432721" y="485204"/>
                  </a:lnTo>
                  <a:lnTo>
                    <a:pt x="433483" y="478631"/>
                  </a:lnTo>
                  <a:lnTo>
                    <a:pt x="434816" y="476917"/>
                  </a:lnTo>
                  <a:lnTo>
                    <a:pt x="438245" y="478060"/>
                  </a:lnTo>
                  <a:lnTo>
                    <a:pt x="435293" y="480060"/>
                  </a:lnTo>
                  <a:lnTo>
                    <a:pt x="437007" y="481394"/>
                  </a:lnTo>
                  <a:lnTo>
                    <a:pt x="440150" y="481013"/>
                  </a:lnTo>
                  <a:lnTo>
                    <a:pt x="442151" y="483965"/>
                  </a:lnTo>
                  <a:lnTo>
                    <a:pt x="446913" y="483394"/>
                  </a:lnTo>
                  <a:lnTo>
                    <a:pt x="450056" y="482918"/>
                  </a:lnTo>
                  <a:lnTo>
                    <a:pt x="455962" y="479012"/>
                  </a:lnTo>
                  <a:lnTo>
                    <a:pt x="456343" y="482156"/>
                  </a:lnTo>
                  <a:lnTo>
                    <a:pt x="455200" y="485489"/>
                  </a:lnTo>
                  <a:lnTo>
                    <a:pt x="457010" y="486918"/>
                  </a:lnTo>
                  <a:lnTo>
                    <a:pt x="463487" y="500444"/>
                  </a:lnTo>
                  <a:lnTo>
                    <a:pt x="465106" y="500253"/>
                  </a:lnTo>
                  <a:lnTo>
                    <a:pt x="466630" y="500063"/>
                  </a:lnTo>
                  <a:lnTo>
                    <a:pt x="471773" y="502634"/>
                  </a:lnTo>
                  <a:lnTo>
                    <a:pt x="472631" y="508921"/>
                  </a:lnTo>
                  <a:lnTo>
                    <a:pt x="473964" y="507206"/>
                  </a:lnTo>
                  <a:lnTo>
                    <a:pt x="477107" y="506730"/>
                  </a:lnTo>
                  <a:lnTo>
                    <a:pt x="477298" y="508349"/>
                  </a:lnTo>
                  <a:lnTo>
                    <a:pt x="476345" y="513302"/>
                  </a:lnTo>
                  <a:lnTo>
                    <a:pt x="480155" y="517589"/>
                  </a:lnTo>
                  <a:lnTo>
                    <a:pt x="479108" y="522542"/>
                  </a:lnTo>
                  <a:lnTo>
                    <a:pt x="483489" y="518827"/>
                  </a:lnTo>
                  <a:lnTo>
                    <a:pt x="485299" y="520160"/>
                  </a:lnTo>
                  <a:lnTo>
                    <a:pt x="489776" y="517970"/>
                  </a:lnTo>
                  <a:lnTo>
                    <a:pt x="494538" y="517398"/>
                  </a:lnTo>
                  <a:lnTo>
                    <a:pt x="494538" y="517398"/>
                  </a:lnTo>
                  <a:lnTo>
                    <a:pt x="498729" y="524828"/>
                  </a:lnTo>
                  <a:lnTo>
                    <a:pt x="503873" y="527399"/>
                  </a:lnTo>
                  <a:lnTo>
                    <a:pt x="502634" y="530828"/>
                  </a:lnTo>
                  <a:lnTo>
                    <a:pt x="507397" y="530162"/>
                  </a:lnTo>
                  <a:lnTo>
                    <a:pt x="516255" y="537020"/>
                  </a:lnTo>
                  <a:lnTo>
                    <a:pt x="513493" y="540639"/>
                  </a:lnTo>
                  <a:lnTo>
                    <a:pt x="513683" y="542163"/>
                  </a:lnTo>
                  <a:lnTo>
                    <a:pt x="516731" y="540258"/>
                  </a:lnTo>
                  <a:lnTo>
                    <a:pt x="515684" y="545116"/>
                  </a:lnTo>
                  <a:lnTo>
                    <a:pt x="519113" y="559118"/>
                  </a:lnTo>
                  <a:lnTo>
                    <a:pt x="520922" y="560546"/>
                  </a:lnTo>
                  <a:lnTo>
                    <a:pt x="522827" y="563499"/>
                  </a:lnTo>
                  <a:lnTo>
                    <a:pt x="530543" y="560927"/>
                  </a:lnTo>
                  <a:lnTo>
                    <a:pt x="530924" y="564071"/>
                  </a:lnTo>
                  <a:lnTo>
                    <a:pt x="532543" y="563880"/>
                  </a:lnTo>
                  <a:lnTo>
                    <a:pt x="532733" y="565404"/>
                  </a:lnTo>
                  <a:lnTo>
                    <a:pt x="537305" y="563309"/>
                  </a:lnTo>
                  <a:lnTo>
                    <a:pt x="542163" y="564261"/>
                  </a:lnTo>
                  <a:lnTo>
                    <a:pt x="547497" y="568357"/>
                  </a:lnTo>
                  <a:lnTo>
                    <a:pt x="546164" y="570167"/>
                  </a:lnTo>
                  <a:lnTo>
                    <a:pt x="547783" y="569976"/>
                  </a:lnTo>
                  <a:lnTo>
                    <a:pt x="548164" y="573119"/>
                  </a:lnTo>
                  <a:lnTo>
                    <a:pt x="551307" y="572738"/>
                  </a:lnTo>
                  <a:lnTo>
                    <a:pt x="553307" y="575691"/>
                  </a:lnTo>
                  <a:lnTo>
                    <a:pt x="553879" y="580358"/>
                  </a:lnTo>
                  <a:lnTo>
                    <a:pt x="558832" y="581406"/>
                  </a:lnTo>
                  <a:lnTo>
                    <a:pt x="560165" y="579596"/>
                  </a:lnTo>
                  <a:lnTo>
                    <a:pt x="572262" y="586073"/>
                  </a:lnTo>
                  <a:lnTo>
                    <a:pt x="575786" y="588836"/>
                  </a:lnTo>
                  <a:lnTo>
                    <a:pt x="579596" y="593122"/>
                  </a:lnTo>
                  <a:lnTo>
                    <a:pt x="587883" y="595313"/>
                  </a:lnTo>
                  <a:lnTo>
                    <a:pt x="596360" y="599027"/>
                  </a:lnTo>
                  <a:lnTo>
                    <a:pt x="605409" y="607505"/>
                  </a:lnTo>
                  <a:lnTo>
                    <a:pt x="609981" y="605314"/>
                  </a:lnTo>
                  <a:lnTo>
                    <a:pt x="613124" y="604933"/>
                  </a:lnTo>
                  <a:lnTo>
                    <a:pt x="617887" y="604266"/>
                  </a:lnTo>
                  <a:lnTo>
                    <a:pt x="617506" y="601123"/>
                  </a:lnTo>
                  <a:lnTo>
                    <a:pt x="618268" y="594646"/>
                  </a:lnTo>
                  <a:lnTo>
                    <a:pt x="616268" y="591693"/>
                  </a:lnTo>
                  <a:lnTo>
                    <a:pt x="621221" y="592646"/>
                  </a:lnTo>
                  <a:lnTo>
                    <a:pt x="620363" y="586359"/>
                  </a:lnTo>
                  <a:lnTo>
                    <a:pt x="628079" y="583787"/>
                  </a:lnTo>
                  <a:lnTo>
                    <a:pt x="626269" y="582359"/>
                  </a:lnTo>
                  <a:lnTo>
                    <a:pt x="629031" y="578834"/>
                  </a:lnTo>
                  <a:lnTo>
                    <a:pt x="630650" y="578644"/>
                  </a:lnTo>
                  <a:lnTo>
                    <a:pt x="631793" y="575310"/>
                  </a:lnTo>
                  <a:lnTo>
                    <a:pt x="634937" y="574834"/>
                  </a:lnTo>
                  <a:lnTo>
                    <a:pt x="636175" y="571500"/>
                  </a:lnTo>
                  <a:lnTo>
                    <a:pt x="639890" y="575882"/>
                  </a:lnTo>
                  <a:lnTo>
                    <a:pt x="641318" y="574072"/>
                  </a:lnTo>
                  <a:lnTo>
                    <a:pt x="645986" y="573500"/>
                  </a:lnTo>
                  <a:lnTo>
                    <a:pt x="649605" y="576167"/>
                  </a:lnTo>
                  <a:lnTo>
                    <a:pt x="650939" y="574453"/>
                  </a:lnTo>
                  <a:lnTo>
                    <a:pt x="659606" y="579692"/>
                  </a:lnTo>
                  <a:lnTo>
                    <a:pt x="658463" y="583121"/>
                  </a:lnTo>
                  <a:lnTo>
                    <a:pt x="666750" y="585216"/>
                  </a:lnTo>
                  <a:lnTo>
                    <a:pt x="668750" y="588169"/>
                  </a:lnTo>
                  <a:lnTo>
                    <a:pt x="672846" y="582835"/>
                  </a:lnTo>
                  <a:lnTo>
                    <a:pt x="675037" y="587407"/>
                  </a:lnTo>
                  <a:lnTo>
                    <a:pt x="676656" y="587216"/>
                  </a:lnTo>
                  <a:lnTo>
                    <a:pt x="677799" y="583883"/>
                  </a:lnTo>
                  <a:lnTo>
                    <a:pt x="686086" y="585978"/>
                  </a:lnTo>
                  <a:lnTo>
                    <a:pt x="684943" y="589312"/>
                  </a:lnTo>
                  <a:lnTo>
                    <a:pt x="689039" y="596837"/>
                  </a:lnTo>
                  <a:lnTo>
                    <a:pt x="690658" y="596646"/>
                  </a:lnTo>
                  <a:lnTo>
                    <a:pt x="697421" y="599027"/>
                  </a:lnTo>
                  <a:lnTo>
                    <a:pt x="699516" y="603504"/>
                  </a:lnTo>
                  <a:lnTo>
                    <a:pt x="706469" y="607409"/>
                  </a:lnTo>
                  <a:lnTo>
                    <a:pt x="706660" y="596170"/>
                  </a:lnTo>
                  <a:lnTo>
                    <a:pt x="712565" y="592265"/>
                  </a:lnTo>
                  <a:lnTo>
                    <a:pt x="715899" y="593408"/>
                  </a:lnTo>
                  <a:lnTo>
                    <a:pt x="714756" y="596741"/>
                  </a:lnTo>
                  <a:lnTo>
                    <a:pt x="718852" y="604266"/>
                  </a:lnTo>
                  <a:lnTo>
                    <a:pt x="715709" y="604647"/>
                  </a:lnTo>
                  <a:lnTo>
                    <a:pt x="717899" y="609219"/>
                  </a:lnTo>
                  <a:lnTo>
                    <a:pt x="721233" y="610362"/>
                  </a:lnTo>
                  <a:lnTo>
                    <a:pt x="721519" y="611981"/>
                  </a:lnTo>
                  <a:lnTo>
                    <a:pt x="713423" y="611410"/>
                  </a:lnTo>
                  <a:lnTo>
                    <a:pt x="715328" y="614363"/>
                  </a:lnTo>
                  <a:lnTo>
                    <a:pt x="720090" y="613696"/>
                  </a:lnTo>
                  <a:lnTo>
                    <a:pt x="720471" y="616934"/>
                  </a:lnTo>
                  <a:lnTo>
                    <a:pt x="717328" y="617315"/>
                  </a:lnTo>
                  <a:lnTo>
                    <a:pt x="720662" y="618458"/>
                  </a:lnTo>
                  <a:lnTo>
                    <a:pt x="721328" y="623221"/>
                  </a:lnTo>
                  <a:lnTo>
                    <a:pt x="727805" y="623983"/>
                  </a:lnTo>
                  <a:lnTo>
                    <a:pt x="732377" y="621792"/>
                  </a:lnTo>
                  <a:lnTo>
                    <a:pt x="737330" y="622745"/>
                  </a:lnTo>
                  <a:lnTo>
                    <a:pt x="738473" y="619411"/>
                  </a:lnTo>
                  <a:lnTo>
                    <a:pt x="743617" y="621983"/>
                  </a:lnTo>
                  <a:lnTo>
                    <a:pt x="743426" y="620363"/>
                  </a:lnTo>
                  <a:lnTo>
                    <a:pt x="746760" y="621602"/>
                  </a:lnTo>
                  <a:lnTo>
                    <a:pt x="746570" y="619982"/>
                  </a:lnTo>
                  <a:lnTo>
                    <a:pt x="742760" y="615696"/>
                  </a:lnTo>
                  <a:lnTo>
                    <a:pt x="745522" y="612077"/>
                  </a:lnTo>
                  <a:lnTo>
                    <a:pt x="748475" y="610076"/>
                  </a:lnTo>
                  <a:lnTo>
                    <a:pt x="750856" y="616268"/>
                  </a:lnTo>
                  <a:lnTo>
                    <a:pt x="755809" y="617220"/>
                  </a:lnTo>
                  <a:lnTo>
                    <a:pt x="756761" y="612267"/>
                  </a:lnTo>
                  <a:lnTo>
                    <a:pt x="759524" y="608743"/>
                  </a:lnTo>
                  <a:lnTo>
                    <a:pt x="757619" y="605790"/>
                  </a:lnTo>
                  <a:lnTo>
                    <a:pt x="762286" y="605123"/>
                  </a:lnTo>
                  <a:lnTo>
                    <a:pt x="763334" y="600170"/>
                  </a:lnTo>
                  <a:lnTo>
                    <a:pt x="756380" y="596265"/>
                  </a:lnTo>
                  <a:lnTo>
                    <a:pt x="755142" y="586835"/>
                  </a:lnTo>
                  <a:lnTo>
                    <a:pt x="751427" y="582454"/>
                  </a:lnTo>
                  <a:lnTo>
                    <a:pt x="752761" y="580739"/>
                  </a:lnTo>
                  <a:lnTo>
                    <a:pt x="753713" y="575786"/>
                  </a:lnTo>
                  <a:lnTo>
                    <a:pt x="763048" y="573024"/>
                  </a:lnTo>
                  <a:lnTo>
                    <a:pt x="764762" y="574358"/>
                  </a:lnTo>
                  <a:lnTo>
                    <a:pt x="772478" y="571786"/>
                  </a:lnTo>
                  <a:lnTo>
                    <a:pt x="772668" y="560546"/>
                  </a:lnTo>
                  <a:lnTo>
                    <a:pt x="778002" y="564642"/>
                  </a:lnTo>
                  <a:lnTo>
                    <a:pt x="779336" y="562832"/>
                  </a:lnTo>
                  <a:lnTo>
                    <a:pt x="781145" y="564261"/>
                  </a:lnTo>
                  <a:lnTo>
                    <a:pt x="782098" y="559308"/>
                  </a:lnTo>
                  <a:lnTo>
                    <a:pt x="778383" y="555022"/>
                  </a:lnTo>
                  <a:lnTo>
                    <a:pt x="781145" y="551402"/>
                  </a:lnTo>
                  <a:lnTo>
                    <a:pt x="779526" y="551593"/>
                  </a:lnTo>
                  <a:lnTo>
                    <a:pt x="778955" y="546926"/>
                  </a:lnTo>
                  <a:lnTo>
                    <a:pt x="792385" y="551593"/>
                  </a:lnTo>
                  <a:lnTo>
                    <a:pt x="794385" y="554546"/>
                  </a:lnTo>
                  <a:lnTo>
                    <a:pt x="794766" y="557689"/>
                  </a:lnTo>
                  <a:lnTo>
                    <a:pt x="792956" y="556355"/>
                  </a:lnTo>
                  <a:lnTo>
                    <a:pt x="792194" y="562832"/>
                  </a:lnTo>
                  <a:lnTo>
                    <a:pt x="803243" y="574262"/>
                  </a:lnTo>
                  <a:lnTo>
                    <a:pt x="804101" y="580549"/>
                  </a:lnTo>
                  <a:lnTo>
                    <a:pt x="810387" y="579787"/>
                  </a:lnTo>
                  <a:lnTo>
                    <a:pt x="812387" y="582740"/>
                  </a:lnTo>
                  <a:lnTo>
                    <a:pt x="816864" y="580549"/>
                  </a:lnTo>
                  <a:lnTo>
                    <a:pt x="819055" y="585121"/>
                  </a:lnTo>
                  <a:lnTo>
                    <a:pt x="826961" y="584073"/>
                  </a:lnTo>
                  <a:lnTo>
                    <a:pt x="826008" y="576167"/>
                  </a:lnTo>
                  <a:lnTo>
                    <a:pt x="829342" y="577310"/>
                  </a:lnTo>
                  <a:lnTo>
                    <a:pt x="833914" y="575215"/>
                  </a:lnTo>
                  <a:lnTo>
                    <a:pt x="835438" y="574929"/>
                  </a:lnTo>
                  <a:lnTo>
                    <a:pt x="841343" y="571024"/>
                  </a:lnTo>
                  <a:lnTo>
                    <a:pt x="842963" y="570833"/>
                  </a:lnTo>
                  <a:lnTo>
                    <a:pt x="843344" y="573977"/>
                  </a:lnTo>
                  <a:lnTo>
                    <a:pt x="844677" y="572167"/>
                  </a:lnTo>
                  <a:lnTo>
                    <a:pt x="845153" y="575310"/>
                  </a:lnTo>
                  <a:lnTo>
                    <a:pt x="848487" y="576548"/>
                  </a:lnTo>
                  <a:lnTo>
                    <a:pt x="848297" y="574929"/>
                  </a:lnTo>
                  <a:lnTo>
                    <a:pt x="851440" y="574548"/>
                  </a:lnTo>
                  <a:lnTo>
                    <a:pt x="852678" y="583978"/>
                  </a:lnTo>
                  <a:lnTo>
                    <a:pt x="855821" y="583597"/>
                  </a:lnTo>
                  <a:lnTo>
                    <a:pt x="853821" y="580644"/>
                  </a:lnTo>
                  <a:lnTo>
                    <a:pt x="856583" y="577120"/>
                  </a:lnTo>
                  <a:lnTo>
                    <a:pt x="858774" y="581597"/>
                  </a:lnTo>
                  <a:lnTo>
                    <a:pt x="860108" y="579882"/>
                  </a:lnTo>
                  <a:lnTo>
                    <a:pt x="864680" y="577691"/>
                  </a:lnTo>
                  <a:lnTo>
                    <a:pt x="886778" y="574834"/>
                  </a:lnTo>
                  <a:lnTo>
                    <a:pt x="887921" y="571500"/>
                  </a:lnTo>
                  <a:lnTo>
                    <a:pt x="883920" y="565595"/>
                  </a:lnTo>
                  <a:lnTo>
                    <a:pt x="883920" y="565595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6" name="Volný tvar: obrazec 35">
              <a:extLst>
                <a:ext uri="{FF2B5EF4-FFF2-40B4-BE49-F238E27FC236}">
                  <a16:creationId xmlns:a16="http://schemas.microsoft.com/office/drawing/2014/main" id="{564403E3-AA92-CE9C-EB8E-AAF2CDED94C9}"/>
                </a:ext>
              </a:extLst>
            </p:cNvPr>
            <p:cNvSpPr>
              <a:spLocks noChangeAspect="1"/>
            </p:cNvSpPr>
            <p:nvPr userDrawn="1">
              <p:custDataLst>
                <p:tags r:id="rId7"/>
              </p:custDataLst>
            </p:nvPr>
          </p:nvSpPr>
          <p:spPr>
            <a:xfrm>
              <a:off x="4628292" y="2504407"/>
              <a:ext cx="1489995" cy="1273968"/>
            </a:xfrm>
            <a:custGeom>
              <a:avLst/>
              <a:gdLst>
                <a:gd name="connsiteX0" fmla="*/ 443198 w 1489995"/>
                <a:gd name="connsiteY0" fmla="*/ 1201960 h 1273968"/>
                <a:gd name="connsiteX1" fmla="*/ 439198 w 1489995"/>
                <a:gd name="connsiteY1" fmla="*/ 1208913 h 1273968"/>
                <a:gd name="connsiteX2" fmla="*/ 439007 w 1489995"/>
                <a:gd name="connsiteY2" fmla="*/ 1207294 h 1273968"/>
                <a:gd name="connsiteX3" fmla="*/ 433292 w 1489995"/>
                <a:gd name="connsiteY3" fmla="*/ 1212818 h 1273968"/>
                <a:gd name="connsiteX4" fmla="*/ 431578 w 1489995"/>
                <a:gd name="connsiteY4" fmla="*/ 1211485 h 1273968"/>
                <a:gd name="connsiteX5" fmla="*/ 430149 w 1489995"/>
                <a:gd name="connsiteY5" fmla="*/ 1213199 h 1273968"/>
                <a:gd name="connsiteX6" fmla="*/ 423481 w 1489995"/>
                <a:gd name="connsiteY6" fmla="*/ 1210913 h 1273968"/>
                <a:gd name="connsiteX7" fmla="*/ 422719 w 1489995"/>
                <a:gd name="connsiteY7" fmla="*/ 1217390 h 1273968"/>
                <a:gd name="connsiteX8" fmla="*/ 426625 w 1489995"/>
                <a:gd name="connsiteY8" fmla="*/ 1223296 h 1273968"/>
                <a:gd name="connsiteX9" fmla="*/ 423863 w 1489995"/>
                <a:gd name="connsiteY9" fmla="*/ 1226915 h 1273968"/>
                <a:gd name="connsiteX10" fmla="*/ 423481 w 1489995"/>
                <a:gd name="connsiteY10" fmla="*/ 1223677 h 1273968"/>
                <a:gd name="connsiteX11" fmla="*/ 422719 w 1489995"/>
                <a:gd name="connsiteY11" fmla="*/ 1230249 h 1273968"/>
                <a:gd name="connsiteX12" fmla="*/ 421291 w 1489995"/>
                <a:gd name="connsiteY12" fmla="*/ 1231964 h 1273968"/>
                <a:gd name="connsiteX13" fmla="*/ 421767 w 1489995"/>
                <a:gd name="connsiteY13" fmla="*/ 1235202 h 1273968"/>
                <a:gd name="connsiteX14" fmla="*/ 420148 w 1489995"/>
                <a:gd name="connsiteY14" fmla="*/ 1235393 h 1273968"/>
                <a:gd name="connsiteX15" fmla="*/ 418814 w 1489995"/>
                <a:gd name="connsiteY15" fmla="*/ 1237107 h 1273968"/>
                <a:gd name="connsiteX16" fmla="*/ 416814 w 1489995"/>
                <a:gd name="connsiteY16" fmla="*/ 1234154 h 1273968"/>
                <a:gd name="connsiteX17" fmla="*/ 415195 w 1489995"/>
                <a:gd name="connsiteY17" fmla="*/ 1234345 h 1273968"/>
                <a:gd name="connsiteX18" fmla="*/ 415576 w 1489995"/>
                <a:gd name="connsiteY18" fmla="*/ 1237583 h 1273968"/>
                <a:gd name="connsiteX19" fmla="*/ 414052 w 1489995"/>
                <a:gd name="connsiteY19" fmla="*/ 1237774 h 1273968"/>
                <a:gd name="connsiteX20" fmla="*/ 417957 w 1489995"/>
                <a:gd name="connsiteY20" fmla="*/ 1243679 h 1273968"/>
                <a:gd name="connsiteX21" fmla="*/ 414814 w 1489995"/>
                <a:gd name="connsiteY21" fmla="*/ 1244060 h 1273968"/>
                <a:gd name="connsiteX22" fmla="*/ 415290 w 1489995"/>
                <a:gd name="connsiteY22" fmla="*/ 1247204 h 1273968"/>
                <a:gd name="connsiteX23" fmla="*/ 412051 w 1489995"/>
                <a:gd name="connsiteY23" fmla="*/ 1247585 h 1273968"/>
                <a:gd name="connsiteX24" fmla="*/ 411289 w 1489995"/>
                <a:gd name="connsiteY24" fmla="*/ 1241298 h 1273968"/>
                <a:gd name="connsiteX25" fmla="*/ 408146 w 1489995"/>
                <a:gd name="connsiteY25" fmla="*/ 1241679 h 1273968"/>
                <a:gd name="connsiteX26" fmla="*/ 405955 w 1489995"/>
                <a:gd name="connsiteY26" fmla="*/ 1237202 h 1273968"/>
                <a:gd name="connsiteX27" fmla="*/ 403384 w 1489995"/>
                <a:gd name="connsiteY27" fmla="*/ 1242346 h 1273968"/>
                <a:gd name="connsiteX28" fmla="*/ 401860 w 1489995"/>
                <a:gd name="connsiteY28" fmla="*/ 1242536 h 1273968"/>
                <a:gd name="connsiteX29" fmla="*/ 402241 w 1489995"/>
                <a:gd name="connsiteY29" fmla="*/ 1245680 h 1273968"/>
                <a:gd name="connsiteX30" fmla="*/ 399479 w 1489995"/>
                <a:gd name="connsiteY30" fmla="*/ 1249204 h 1273968"/>
                <a:gd name="connsiteX31" fmla="*/ 399859 w 1489995"/>
                <a:gd name="connsiteY31" fmla="*/ 1252347 h 1273968"/>
                <a:gd name="connsiteX32" fmla="*/ 400240 w 1489995"/>
                <a:gd name="connsiteY32" fmla="*/ 1255586 h 1273968"/>
                <a:gd name="connsiteX33" fmla="*/ 390620 w 1489995"/>
                <a:gd name="connsiteY33" fmla="*/ 1255205 h 1273968"/>
                <a:gd name="connsiteX34" fmla="*/ 383858 w 1489995"/>
                <a:gd name="connsiteY34" fmla="*/ 1252823 h 1273968"/>
                <a:gd name="connsiteX35" fmla="*/ 383286 w 1489995"/>
                <a:gd name="connsiteY35" fmla="*/ 1248061 h 1273968"/>
                <a:gd name="connsiteX36" fmla="*/ 379952 w 1489995"/>
                <a:gd name="connsiteY36" fmla="*/ 1246918 h 1273968"/>
                <a:gd name="connsiteX37" fmla="*/ 371284 w 1489995"/>
                <a:gd name="connsiteY37" fmla="*/ 1254443 h 1273968"/>
                <a:gd name="connsiteX38" fmla="*/ 372237 w 1489995"/>
                <a:gd name="connsiteY38" fmla="*/ 1262348 h 1273968"/>
                <a:gd name="connsiteX39" fmla="*/ 372237 w 1489995"/>
                <a:gd name="connsiteY39" fmla="*/ 1262348 h 1273968"/>
                <a:gd name="connsiteX40" fmla="*/ 370713 w 1489995"/>
                <a:gd name="connsiteY40" fmla="*/ 1262539 h 1273968"/>
                <a:gd name="connsiteX41" fmla="*/ 366331 w 1489995"/>
                <a:gd name="connsiteY41" fmla="*/ 1266254 h 1273968"/>
                <a:gd name="connsiteX42" fmla="*/ 365950 w 1489995"/>
                <a:gd name="connsiteY42" fmla="*/ 1263110 h 1273968"/>
                <a:gd name="connsiteX43" fmla="*/ 356711 w 1489995"/>
                <a:gd name="connsiteY43" fmla="*/ 1265873 h 1273968"/>
                <a:gd name="connsiteX44" fmla="*/ 354711 w 1489995"/>
                <a:gd name="connsiteY44" fmla="*/ 1262920 h 1273968"/>
                <a:gd name="connsiteX45" fmla="*/ 349948 w 1489995"/>
                <a:gd name="connsiteY45" fmla="*/ 1263587 h 1273968"/>
                <a:gd name="connsiteX46" fmla="*/ 349377 w 1489995"/>
                <a:gd name="connsiteY46" fmla="*/ 1258824 h 1273968"/>
                <a:gd name="connsiteX47" fmla="*/ 345853 w 1489995"/>
                <a:gd name="connsiteY47" fmla="*/ 1256062 h 1273968"/>
                <a:gd name="connsiteX48" fmla="*/ 344614 w 1489995"/>
                <a:gd name="connsiteY48" fmla="*/ 1259396 h 1273968"/>
                <a:gd name="connsiteX49" fmla="*/ 338328 w 1489995"/>
                <a:gd name="connsiteY49" fmla="*/ 1260253 h 1273968"/>
                <a:gd name="connsiteX50" fmla="*/ 342614 w 1489995"/>
                <a:gd name="connsiteY50" fmla="*/ 1256443 h 1273968"/>
                <a:gd name="connsiteX51" fmla="*/ 342233 w 1489995"/>
                <a:gd name="connsiteY51" fmla="*/ 1253300 h 1273968"/>
                <a:gd name="connsiteX52" fmla="*/ 345186 w 1489995"/>
                <a:gd name="connsiteY52" fmla="*/ 1251299 h 1273968"/>
                <a:gd name="connsiteX53" fmla="*/ 337280 w 1489995"/>
                <a:gd name="connsiteY53" fmla="*/ 1252347 h 1273968"/>
                <a:gd name="connsiteX54" fmla="*/ 335947 w 1489995"/>
                <a:gd name="connsiteY54" fmla="*/ 1254157 h 1273968"/>
                <a:gd name="connsiteX55" fmla="*/ 332422 w 1489995"/>
                <a:gd name="connsiteY55" fmla="*/ 1251395 h 1273968"/>
                <a:gd name="connsiteX56" fmla="*/ 330232 w 1489995"/>
                <a:gd name="connsiteY56" fmla="*/ 1246823 h 1273968"/>
                <a:gd name="connsiteX57" fmla="*/ 330994 w 1489995"/>
                <a:gd name="connsiteY57" fmla="*/ 1240346 h 1273968"/>
                <a:gd name="connsiteX58" fmla="*/ 320897 w 1489995"/>
                <a:gd name="connsiteY58" fmla="*/ 1236821 h 1273968"/>
                <a:gd name="connsiteX59" fmla="*/ 316325 w 1489995"/>
                <a:gd name="connsiteY59" fmla="*/ 1239012 h 1273968"/>
                <a:gd name="connsiteX60" fmla="*/ 316611 w 1489995"/>
                <a:gd name="connsiteY60" fmla="*/ 1240536 h 1273968"/>
                <a:gd name="connsiteX61" fmla="*/ 319945 w 1489995"/>
                <a:gd name="connsiteY61" fmla="*/ 1241679 h 1273968"/>
                <a:gd name="connsiteX62" fmla="*/ 315373 w 1489995"/>
                <a:gd name="connsiteY62" fmla="*/ 1243870 h 1273968"/>
                <a:gd name="connsiteX63" fmla="*/ 311658 w 1489995"/>
                <a:gd name="connsiteY63" fmla="*/ 1252347 h 1273968"/>
                <a:gd name="connsiteX64" fmla="*/ 308324 w 1489995"/>
                <a:gd name="connsiteY64" fmla="*/ 1251204 h 1273968"/>
                <a:gd name="connsiteX65" fmla="*/ 308515 w 1489995"/>
                <a:gd name="connsiteY65" fmla="*/ 1252823 h 1273968"/>
                <a:gd name="connsiteX66" fmla="*/ 306705 w 1489995"/>
                <a:gd name="connsiteY66" fmla="*/ 1251395 h 1273968"/>
                <a:gd name="connsiteX67" fmla="*/ 303943 w 1489995"/>
                <a:gd name="connsiteY67" fmla="*/ 1255014 h 1273968"/>
                <a:gd name="connsiteX68" fmla="*/ 302038 w 1489995"/>
                <a:gd name="connsiteY68" fmla="*/ 1252061 h 1273968"/>
                <a:gd name="connsiteX69" fmla="*/ 303371 w 1489995"/>
                <a:gd name="connsiteY69" fmla="*/ 1250252 h 1273968"/>
                <a:gd name="connsiteX70" fmla="*/ 301752 w 1489995"/>
                <a:gd name="connsiteY70" fmla="*/ 1250442 h 1273968"/>
                <a:gd name="connsiteX71" fmla="*/ 300418 w 1489995"/>
                <a:gd name="connsiteY71" fmla="*/ 1252252 h 1273968"/>
                <a:gd name="connsiteX72" fmla="*/ 298990 w 1489995"/>
                <a:gd name="connsiteY72" fmla="*/ 1253966 h 1273968"/>
                <a:gd name="connsiteX73" fmla="*/ 297656 w 1489995"/>
                <a:gd name="connsiteY73" fmla="*/ 1242917 h 1273968"/>
                <a:gd name="connsiteX74" fmla="*/ 296228 w 1489995"/>
                <a:gd name="connsiteY74" fmla="*/ 1244727 h 1273968"/>
                <a:gd name="connsiteX75" fmla="*/ 294513 w 1489995"/>
                <a:gd name="connsiteY75" fmla="*/ 1243394 h 1273968"/>
                <a:gd name="connsiteX76" fmla="*/ 291655 w 1489995"/>
                <a:gd name="connsiteY76" fmla="*/ 1234059 h 1273968"/>
                <a:gd name="connsiteX77" fmla="*/ 288512 w 1489995"/>
                <a:gd name="connsiteY77" fmla="*/ 1234535 h 1273968"/>
                <a:gd name="connsiteX78" fmla="*/ 290513 w 1489995"/>
                <a:gd name="connsiteY78" fmla="*/ 1237488 h 1273968"/>
                <a:gd name="connsiteX79" fmla="*/ 284226 w 1489995"/>
                <a:gd name="connsiteY79" fmla="*/ 1238250 h 1273968"/>
                <a:gd name="connsiteX80" fmla="*/ 284988 w 1489995"/>
                <a:gd name="connsiteY80" fmla="*/ 1244537 h 1273968"/>
                <a:gd name="connsiteX81" fmla="*/ 280225 w 1489995"/>
                <a:gd name="connsiteY81" fmla="*/ 1245203 h 1273968"/>
                <a:gd name="connsiteX82" fmla="*/ 280702 w 1489995"/>
                <a:gd name="connsiteY82" fmla="*/ 1248347 h 1273968"/>
                <a:gd name="connsiteX83" fmla="*/ 273748 w 1489995"/>
                <a:gd name="connsiteY83" fmla="*/ 1244441 h 1273968"/>
                <a:gd name="connsiteX84" fmla="*/ 267271 w 1489995"/>
                <a:gd name="connsiteY84" fmla="*/ 1243584 h 1273968"/>
                <a:gd name="connsiteX85" fmla="*/ 263747 w 1489995"/>
                <a:gd name="connsiteY85" fmla="*/ 1253681 h 1273968"/>
                <a:gd name="connsiteX86" fmla="*/ 262128 w 1489995"/>
                <a:gd name="connsiteY86" fmla="*/ 1253871 h 1273968"/>
                <a:gd name="connsiteX87" fmla="*/ 262128 w 1489995"/>
                <a:gd name="connsiteY87" fmla="*/ 1253871 h 1273968"/>
                <a:gd name="connsiteX88" fmla="*/ 252222 w 1489995"/>
                <a:gd name="connsiteY88" fmla="*/ 1251966 h 1273968"/>
                <a:gd name="connsiteX89" fmla="*/ 250507 w 1489995"/>
                <a:gd name="connsiteY89" fmla="*/ 1250537 h 1273968"/>
                <a:gd name="connsiteX90" fmla="*/ 251269 w 1489995"/>
                <a:gd name="connsiteY90" fmla="*/ 1244060 h 1273968"/>
                <a:gd name="connsiteX91" fmla="*/ 252603 w 1489995"/>
                <a:gd name="connsiteY91" fmla="*/ 1242251 h 1273968"/>
                <a:gd name="connsiteX92" fmla="*/ 254413 w 1489995"/>
                <a:gd name="connsiteY92" fmla="*/ 1230821 h 1273968"/>
                <a:gd name="connsiteX93" fmla="*/ 254984 w 1489995"/>
                <a:gd name="connsiteY93" fmla="*/ 1222724 h 1273968"/>
                <a:gd name="connsiteX94" fmla="*/ 249841 w 1489995"/>
                <a:gd name="connsiteY94" fmla="*/ 1220153 h 1273968"/>
                <a:gd name="connsiteX95" fmla="*/ 250412 w 1489995"/>
                <a:gd name="connsiteY95" fmla="*/ 1212056 h 1273968"/>
                <a:gd name="connsiteX96" fmla="*/ 239935 w 1489995"/>
                <a:gd name="connsiteY96" fmla="*/ 1205389 h 1273968"/>
                <a:gd name="connsiteX97" fmla="*/ 236791 w 1489995"/>
                <a:gd name="connsiteY97" fmla="*/ 1205770 h 1273968"/>
                <a:gd name="connsiteX98" fmla="*/ 231457 w 1489995"/>
                <a:gd name="connsiteY98" fmla="*/ 1214533 h 1273968"/>
                <a:gd name="connsiteX99" fmla="*/ 229648 w 1489995"/>
                <a:gd name="connsiteY99" fmla="*/ 1213104 h 1273968"/>
                <a:gd name="connsiteX100" fmla="*/ 234029 w 1489995"/>
                <a:gd name="connsiteY100" fmla="*/ 1209389 h 1273968"/>
                <a:gd name="connsiteX101" fmla="*/ 235744 w 1489995"/>
                <a:gd name="connsiteY101" fmla="*/ 1197959 h 1273968"/>
                <a:gd name="connsiteX102" fmla="*/ 233743 w 1489995"/>
                <a:gd name="connsiteY102" fmla="*/ 1195007 h 1273968"/>
                <a:gd name="connsiteX103" fmla="*/ 232029 w 1489995"/>
                <a:gd name="connsiteY103" fmla="*/ 1193578 h 1273968"/>
                <a:gd name="connsiteX104" fmla="*/ 234696 w 1489995"/>
                <a:gd name="connsiteY104" fmla="*/ 1177195 h 1273968"/>
                <a:gd name="connsiteX105" fmla="*/ 231934 w 1489995"/>
                <a:gd name="connsiteY105" fmla="*/ 1167956 h 1273968"/>
                <a:gd name="connsiteX106" fmla="*/ 236029 w 1489995"/>
                <a:gd name="connsiteY106" fmla="*/ 1162622 h 1273968"/>
                <a:gd name="connsiteX107" fmla="*/ 240030 w 1489995"/>
                <a:gd name="connsiteY107" fmla="*/ 1155668 h 1273968"/>
                <a:gd name="connsiteX108" fmla="*/ 239554 w 1489995"/>
                <a:gd name="connsiteY108" fmla="*/ 1139666 h 1273968"/>
                <a:gd name="connsiteX109" fmla="*/ 242125 w 1489995"/>
                <a:gd name="connsiteY109" fmla="*/ 1134523 h 1273968"/>
                <a:gd name="connsiteX110" fmla="*/ 242888 w 1489995"/>
                <a:gd name="connsiteY110" fmla="*/ 1128046 h 1273968"/>
                <a:gd name="connsiteX111" fmla="*/ 239173 w 1489995"/>
                <a:gd name="connsiteY111" fmla="*/ 1123760 h 1273968"/>
                <a:gd name="connsiteX112" fmla="*/ 234601 w 1489995"/>
                <a:gd name="connsiteY112" fmla="*/ 1125855 h 1273968"/>
                <a:gd name="connsiteX113" fmla="*/ 227933 w 1489995"/>
                <a:gd name="connsiteY113" fmla="*/ 1123569 h 1273968"/>
                <a:gd name="connsiteX114" fmla="*/ 227266 w 1489995"/>
                <a:gd name="connsiteY114" fmla="*/ 1118807 h 1273968"/>
                <a:gd name="connsiteX115" fmla="*/ 223742 w 1489995"/>
                <a:gd name="connsiteY115" fmla="*/ 1116044 h 1273968"/>
                <a:gd name="connsiteX116" fmla="*/ 219361 w 1489995"/>
                <a:gd name="connsiteY116" fmla="*/ 1119854 h 1273968"/>
                <a:gd name="connsiteX117" fmla="*/ 217837 w 1489995"/>
                <a:gd name="connsiteY117" fmla="*/ 1120045 h 1273968"/>
                <a:gd name="connsiteX118" fmla="*/ 210884 w 1489995"/>
                <a:gd name="connsiteY118" fmla="*/ 1116044 h 1273968"/>
                <a:gd name="connsiteX119" fmla="*/ 210502 w 1489995"/>
                <a:gd name="connsiteY119" fmla="*/ 1112901 h 1273968"/>
                <a:gd name="connsiteX120" fmla="*/ 213646 w 1489995"/>
                <a:gd name="connsiteY120" fmla="*/ 1112520 h 1273968"/>
                <a:gd name="connsiteX121" fmla="*/ 214789 w 1489995"/>
                <a:gd name="connsiteY121" fmla="*/ 1109186 h 1273968"/>
                <a:gd name="connsiteX122" fmla="*/ 205168 w 1489995"/>
                <a:gd name="connsiteY122" fmla="*/ 1108805 h 1273968"/>
                <a:gd name="connsiteX123" fmla="*/ 204788 w 1489995"/>
                <a:gd name="connsiteY123" fmla="*/ 1105662 h 1273968"/>
                <a:gd name="connsiteX124" fmla="*/ 200025 w 1489995"/>
                <a:gd name="connsiteY124" fmla="*/ 1106234 h 1273968"/>
                <a:gd name="connsiteX125" fmla="*/ 196501 w 1489995"/>
                <a:gd name="connsiteY125" fmla="*/ 1103471 h 1273968"/>
                <a:gd name="connsiteX126" fmla="*/ 193357 w 1489995"/>
                <a:gd name="connsiteY126" fmla="*/ 1103948 h 1273968"/>
                <a:gd name="connsiteX127" fmla="*/ 190881 w 1489995"/>
                <a:gd name="connsiteY127" fmla="*/ 1097756 h 1273968"/>
                <a:gd name="connsiteX128" fmla="*/ 187547 w 1489995"/>
                <a:gd name="connsiteY128" fmla="*/ 1096613 h 1273968"/>
                <a:gd name="connsiteX129" fmla="*/ 195643 w 1489995"/>
                <a:gd name="connsiteY129" fmla="*/ 1097185 h 1273968"/>
                <a:gd name="connsiteX130" fmla="*/ 202787 w 1489995"/>
                <a:gd name="connsiteY130" fmla="*/ 1102709 h 1273968"/>
                <a:gd name="connsiteX131" fmla="*/ 210693 w 1489995"/>
                <a:gd name="connsiteY131" fmla="*/ 1101662 h 1273968"/>
                <a:gd name="connsiteX132" fmla="*/ 212026 w 1489995"/>
                <a:gd name="connsiteY132" fmla="*/ 1099947 h 1273968"/>
                <a:gd name="connsiteX133" fmla="*/ 216789 w 1489995"/>
                <a:gd name="connsiteY133" fmla="*/ 1099280 h 1273968"/>
                <a:gd name="connsiteX134" fmla="*/ 219742 w 1489995"/>
                <a:gd name="connsiteY134" fmla="*/ 1097280 h 1273968"/>
                <a:gd name="connsiteX135" fmla="*/ 216408 w 1489995"/>
                <a:gd name="connsiteY135" fmla="*/ 1096137 h 1273968"/>
                <a:gd name="connsiteX136" fmla="*/ 209836 w 1489995"/>
                <a:gd name="connsiteY136" fmla="*/ 1082516 h 1273968"/>
                <a:gd name="connsiteX137" fmla="*/ 200120 w 1489995"/>
                <a:gd name="connsiteY137" fmla="*/ 1082135 h 1273968"/>
                <a:gd name="connsiteX138" fmla="*/ 196405 w 1489995"/>
                <a:gd name="connsiteY138" fmla="*/ 1077849 h 1273968"/>
                <a:gd name="connsiteX139" fmla="*/ 198977 w 1489995"/>
                <a:gd name="connsiteY139" fmla="*/ 1072706 h 1273968"/>
                <a:gd name="connsiteX140" fmla="*/ 196977 w 1489995"/>
                <a:gd name="connsiteY140" fmla="*/ 1069753 h 1273968"/>
                <a:gd name="connsiteX141" fmla="*/ 198120 w 1489995"/>
                <a:gd name="connsiteY141" fmla="*/ 1066419 h 1273968"/>
                <a:gd name="connsiteX142" fmla="*/ 200120 w 1489995"/>
                <a:gd name="connsiteY142" fmla="*/ 1069372 h 1273968"/>
                <a:gd name="connsiteX143" fmla="*/ 200311 w 1489995"/>
                <a:gd name="connsiteY143" fmla="*/ 1070896 h 1273968"/>
                <a:gd name="connsiteX144" fmla="*/ 202120 w 1489995"/>
                <a:gd name="connsiteY144" fmla="*/ 1072325 h 1273968"/>
                <a:gd name="connsiteX145" fmla="*/ 204883 w 1489995"/>
                <a:gd name="connsiteY145" fmla="*/ 1068705 h 1273968"/>
                <a:gd name="connsiteX146" fmla="*/ 205073 w 1489995"/>
                <a:gd name="connsiteY146" fmla="*/ 1070324 h 1273968"/>
                <a:gd name="connsiteX147" fmla="*/ 206692 w 1489995"/>
                <a:gd name="connsiteY147" fmla="*/ 1070134 h 1273968"/>
                <a:gd name="connsiteX148" fmla="*/ 206692 w 1489995"/>
                <a:gd name="connsiteY148" fmla="*/ 1070134 h 1273968"/>
                <a:gd name="connsiteX149" fmla="*/ 208026 w 1489995"/>
                <a:gd name="connsiteY149" fmla="*/ 1068324 h 1273968"/>
                <a:gd name="connsiteX150" fmla="*/ 215741 w 1489995"/>
                <a:gd name="connsiteY150" fmla="*/ 1065752 h 1273968"/>
                <a:gd name="connsiteX151" fmla="*/ 219075 w 1489995"/>
                <a:gd name="connsiteY151" fmla="*/ 1066895 h 1273968"/>
                <a:gd name="connsiteX152" fmla="*/ 226123 w 1489995"/>
                <a:gd name="connsiteY152" fmla="*/ 1059656 h 1273968"/>
                <a:gd name="connsiteX153" fmla="*/ 221456 w 1489995"/>
                <a:gd name="connsiteY153" fmla="*/ 1060228 h 1273968"/>
                <a:gd name="connsiteX154" fmla="*/ 220789 w 1489995"/>
                <a:gd name="connsiteY154" fmla="*/ 1055465 h 1273968"/>
                <a:gd name="connsiteX155" fmla="*/ 216122 w 1489995"/>
                <a:gd name="connsiteY155" fmla="*/ 1056132 h 1273968"/>
                <a:gd name="connsiteX156" fmla="*/ 215932 w 1489995"/>
                <a:gd name="connsiteY156" fmla="*/ 1054513 h 1273968"/>
                <a:gd name="connsiteX157" fmla="*/ 212503 w 1489995"/>
                <a:gd name="connsiteY157" fmla="*/ 1053370 h 1273968"/>
                <a:gd name="connsiteX158" fmla="*/ 208026 w 1489995"/>
                <a:gd name="connsiteY158" fmla="*/ 1055561 h 1273968"/>
                <a:gd name="connsiteX159" fmla="*/ 210788 w 1489995"/>
                <a:gd name="connsiteY159" fmla="*/ 1051941 h 1273968"/>
                <a:gd name="connsiteX160" fmla="*/ 207359 w 1489995"/>
                <a:gd name="connsiteY160" fmla="*/ 1050798 h 1273968"/>
                <a:gd name="connsiteX161" fmla="*/ 203073 w 1489995"/>
                <a:gd name="connsiteY161" fmla="*/ 1054513 h 1273968"/>
                <a:gd name="connsiteX162" fmla="*/ 201073 w 1489995"/>
                <a:gd name="connsiteY162" fmla="*/ 1051560 h 1273968"/>
                <a:gd name="connsiteX163" fmla="*/ 198120 w 1489995"/>
                <a:gd name="connsiteY163" fmla="*/ 1053560 h 1273968"/>
                <a:gd name="connsiteX164" fmla="*/ 196977 w 1489995"/>
                <a:gd name="connsiteY164" fmla="*/ 1056894 h 1273968"/>
                <a:gd name="connsiteX165" fmla="*/ 194024 w 1489995"/>
                <a:gd name="connsiteY165" fmla="*/ 1058894 h 1273968"/>
                <a:gd name="connsiteX166" fmla="*/ 194405 w 1489995"/>
                <a:gd name="connsiteY166" fmla="*/ 1062037 h 1273968"/>
                <a:gd name="connsiteX167" fmla="*/ 189452 w 1489995"/>
                <a:gd name="connsiteY167" fmla="*/ 1061085 h 1273968"/>
                <a:gd name="connsiteX168" fmla="*/ 186690 w 1489995"/>
                <a:gd name="connsiteY168" fmla="*/ 1051846 h 1273968"/>
                <a:gd name="connsiteX169" fmla="*/ 190024 w 1489995"/>
                <a:gd name="connsiteY169" fmla="*/ 1052989 h 1273968"/>
                <a:gd name="connsiteX170" fmla="*/ 189833 w 1489995"/>
                <a:gd name="connsiteY170" fmla="*/ 1051465 h 1273968"/>
                <a:gd name="connsiteX171" fmla="*/ 186499 w 1489995"/>
                <a:gd name="connsiteY171" fmla="*/ 1050227 h 1273968"/>
                <a:gd name="connsiteX172" fmla="*/ 190595 w 1489995"/>
                <a:gd name="connsiteY172" fmla="*/ 1044893 h 1273968"/>
                <a:gd name="connsiteX173" fmla="*/ 186690 w 1489995"/>
                <a:gd name="connsiteY173" fmla="*/ 1038987 h 1273968"/>
                <a:gd name="connsiteX174" fmla="*/ 189166 w 1489995"/>
                <a:gd name="connsiteY174" fmla="*/ 1033844 h 1273968"/>
                <a:gd name="connsiteX175" fmla="*/ 198311 w 1489995"/>
                <a:gd name="connsiteY175" fmla="*/ 1029462 h 1273968"/>
                <a:gd name="connsiteX176" fmla="*/ 205740 w 1489995"/>
                <a:gd name="connsiteY176" fmla="*/ 1012507 h 1273968"/>
                <a:gd name="connsiteX177" fmla="*/ 228409 w 1489995"/>
                <a:gd name="connsiteY177" fmla="*/ 1001649 h 1273968"/>
                <a:gd name="connsiteX178" fmla="*/ 232886 w 1489995"/>
                <a:gd name="connsiteY178" fmla="*/ 999458 h 1273968"/>
                <a:gd name="connsiteX179" fmla="*/ 239268 w 1489995"/>
                <a:gd name="connsiteY179" fmla="*/ 998601 h 1273968"/>
                <a:gd name="connsiteX180" fmla="*/ 236125 w 1489995"/>
                <a:gd name="connsiteY180" fmla="*/ 998982 h 1273968"/>
                <a:gd name="connsiteX181" fmla="*/ 236887 w 1489995"/>
                <a:gd name="connsiteY181" fmla="*/ 1005364 h 1273968"/>
                <a:gd name="connsiteX182" fmla="*/ 238696 w 1489995"/>
                <a:gd name="connsiteY182" fmla="*/ 1006697 h 1273968"/>
                <a:gd name="connsiteX183" fmla="*/ 243554 w 1489995"/>
                <a:gd name="connsiteY183" fmla="*/ 1007650 h 1273968"/>
                <a:gd name="connsiteX184" fmla="*/ 245745 w 1489995"/>
                <a:gd name="connsiteY184" fmla="*/ 1012222 h 1273968"/>
                <a:gd name="connsiteX185" fmla="*/ 247364 w 1489995"/>
                <a:gd name="connsiteY185" fmla="*/ 1012031 h 1273968"/>
                <a:gd name="connsiteX186" fmla="*/ 247555 w 1489995"/>
                <a:gd name="connsiteY186" fmla="*/ 1013555 h 1273968"/>
                <a:gd name="connsiteX187" fmla="*/ 252317 w 1489995"/>
                <a:gd name="connsiteY187" fmla="*/ 1012984 h 1273968"/>
                <a:gd name="connsiteX188" fmla="*/ 254032 w 1489995"/>
                <a:gd name="connsiteY188" fmla="*/ 1014317 h 1273968"/>
                <a:gd name="connsiteX189" fmla="*/ 255079 w 1489995"/>
                <a:gd name="connsiteY189" fmla="*/ 1009460 h 1273968"/>
                <a:gd name="connsiteX190" fmla="*/ 256603 w 1489995"/>
                <a:gd name="connsiteY190" fmla="*/ 1009269 h 1273968"/>
                <a:gd name="connsiteX191" fmla="*/ 256222 w 1489995"/>
                <a:gd name="connsiteY191" fmla="*/ 1006031 h 1273968"/>
                <a:gd name="connsiteX192" fmla="*/ 257556 w 1489995"/>
                <a:gd name="connsiteY192" fmla="*/ 1004316 h 1273968"/>
                <a:gd name="connsiteX193" fmla="*/ 258413 w 1489995"/>
                <a:gd name="connsiteY193" fmla="*/ 997744 h 1273968"/>
                <a:gd name="connsiteX194" fmla="*/ 261366 w 1489995"/>
                <a:gd name="connsiteY194" fmla="*/ 995839 h 1273968"/>
                <a:gd name="connsiteX195" fmla="*/ 263652 w 1489995"/>
                <a:gd name="connsiteY195" fmla="*/ 989076 h 1273968"/>
                <a:gd name="connsiteX196" fmla="*/ 266795 w 1489995"/>
                <a:gd name="connsiteY196" fmla="*/ 988695 h 1273968"/>
                <a:gd name="connsiteX197" fmla="*/ 272986 w 1489995"/>
                <a:gd name="connsiteY197" fmla="*/ 986314 h 1273968"/>
                <a:gd name="connsiteX198" fmla="*/ 272510 w 1489995"/>
                <a:gd name="connsiteY198" fmla="*/ 983170 h 1273968"/>
                <a:gd name="connsiteX199" fmla="*/ 274320 w 1489995"/>
                <a:gd name="connsiteY199" fmla="*/ 984504 h 1273968"/>
                <a:gd name="connsiteX200" fmla="*/ 275749 w 1489995"/>
                <a:gd name="connsiteY200" fmla="*/ 982790 h 1273968"/>
                <a:gd name="connsiteX201" fmla="*/ 278892 w 1489995"/>
                <a:gd name="connsiteY201" fmla="*/ 982313 h 1273968"/>
                <a:gd name="connsiteX202" fmla="*/ 283178 w 1489995"/>
                <a:gd name="connsiteY202" fmla="*/ 978599 h 1273968"/>
                <a:gd name="connsiteX203" fmla="*/ 284988 w 1489995"/>
                <a:gd name="connsiteY203" fmla="*/ 979932 h 1273968"/>
                <a:gd name="connsiteX204" fmla="*/ 288893 w 1489995"/>
                <a:gd name="connsiteY204" fmla="*/ 973074 h 1273968"/>
                <a:gd name="connsiteX205" fmla="*/ 286703 w 1489995"/>
                <a:gd name="connsiteY205" fmla="*/ 968502 h 1273968"/>
                <a:gd name="connsiteX206" fmla="*/ 281559 w 1489995"/>
                <a:gd name="connsiteY206" fmla="*/ 965930 h 1273968"/>
                <a:gd name="connsiteX207" fmla="*/ 279559 w 1489995"/>
                <a:gd name="connsiteY207" fmla="*/ 962978 h 1273968"/>
                <a:gd name="connsiteX208" fmla="*/ 276225 w 1489995"/>
                <a:gd name="connsiteY208" fmla="*/ 961835 h 1273968"/>
                <a:gd name="connsiteX209" fmla="*/ 273272 w 1489995"/>
                <a:gd name="connsiteY209" fmla="*/ 963835 h 1273968"/>
                <a:gd name="connsiteX210" fmla="*/ 271939 w 1489995"/>
                <a:gd name="connsiteY210" fmla="*/ 965549 h 1273968"/>
                <a:gd name="connsiteX211" fmla="*/ 266033 w 1489995"/>
                <a:gd name="connsiteY211" fmla="*/ 969550 h 1273968"/>
                <a:gd name="connsiteX212" fmla="*/ 264223 w 1489995"/>
                <a:gd name="connsiteY212" fmla="*/ 968121 h 1273968"/>
                <a:gd name="connsiteX213" fmla="*/ 264795 w 1489995"/>
                <a:gd name="connsiteY213" fmla="*/ 960120 h 1273968"/>
                <a:gd name="connsiteX214" fmla="*/ 274034 w 1489995"/>
                <a:gd name="connsiteY214" fmla="*/ 957262 h 1273968"/>
                <a:gd name="connsiteX215" fmla="*/ 277178 w 1489995"/>
                <a:gd name="connsiteY215" fmla="*/ 944023 h 1273968"/>
                <a:gd name="connsiteX216" fmla="*/ 276415 w 1489995"/>
                <a:gd name="connsiteY216" fmla="*/ 937736 h 1273968"/>
                <a:gd name="connsiteX217" fmla="*/ 272605 w 1489995"/>
                <a:gd name="connsiteY217" fmla="*/ 933450 h 1273968"/>
                <a:gd name="connsiteX218" fmla="*/ 272224 w 1489995"/>
                <a:gd name="connsiteY218" fmla="*/ 930307 h 1273968"/>
                <a:gd name="connsiteX219" fmla="*/ 269843 w 1489995"/>
                <a:gd name="connsiteY219" fmla="*/ 924115 h 1273968"/>
                <a:gd name="connsiteX220" fmla="*/ 270796 w 1489995"/>
                <a:gd name="connsiteY220" fmla="*/ 919258 h 1273968"/>
                <a:gd name="connsiteX221" fmla="*/ 280321 w 1489995"/>
                <a:gd name="connsiteY221" fmla="*/ 918020 h 1273968"/>
                <a:gd name="connsiteX222" fmla="*/ 279463 w 1489995"/>
                <a:gd name="connsiteY222" fmla="*/ 911733 h 1273968"/>
                <a:gd name="connsiteX223" fmla="*/ 285369 w 1489995"/>
                <a:gd name="connsiteY223" fmla="*/ 907732 h 1273968"/>
                <a:gd name="connsiteX224" fmla="*/ 282226 w 1489995"/>
                <a:gd name="connsiteY224" fmla="*/ 908114 h 1273968"/>
                <a:gd name="connsiteX225" fmla="*/ 284416 w 1489995"/>
                <a:gd name="connsiteY225" fmla="*/ 899827 h 1273968"/>
                <a:gd name="connsiteX226" fmla="*/ 277463 w 1489995"/>
                <a:gd name="connsiteY226" fmla="*/ 895922 h 1273968"/>
                <a:gd name="connsiteX227" fmla="*/ 276415 w 1489995"/>
                <a:gd name="connsiteY227" fmla="*/ 888016 h 1273968"/>
                <a:gd name="connsiteX228" fmla="*/ 283369 w 1489995"/>
                <a:gd name="connsiteY228" fmla="*/ 879157 h 1273968"/>
                <a:gd name="connsiteX229" fmla="*/ 281368 w 1489995"/>
                <a:gd name="connsiteY229" fmla="*/ 876205 h 1273968"/>
                <a:gd name="connsiteX230" fmla="*/ 277654 w 1489995"/>
                <a:gd name="connsiteY230" fmla="*/ 871823 h 1273968"/>
                <a:gd name="connsiteX231" fmla="*/ 280321 w 1489995"/>
                <a:gd name="connsiteY231" fmla="*/ 868299 h 1273968"/>
                <a:gd name="connsiteX232" fmla="*/ 283750 w 1489995"/>
                <a:gd name="connsiteY232" fmla="*/ 869442 h 1273968"/>
                <a:gd name="connsiteX233" fmla="*/ 287464 w 1489995"/>
                <a:gd name="connsiteY233" fmla="*/ 860965 h 1273968"/>
                <a:gd name="connsiteX234" fmla="*/ 283464 w 1489995"/>
                <a:gd name="connsiteY234" fmla="*/ 855059 h 1273968"/>
                <a:gd name="connsiteX235" fmla="*/ 286607 w 1489995"/>
                <a:gd name="connsiteY235" fmla="*/ 854678 h 1273968"/>
                <a:gd name="connsiteX236" fmla="*/ 285464 w 1489995"/>
                <a:gd name="connsiteY236" fmla="*/ 845153 h 1273968"/>
                <a:gd name="connsiteX237" fmla="*/ 287179 w 1489995"/>
                <a:gd name="connsiteY237" fmla="*/ 846582 h 1273968"/>
                <a:gd name="connsiteX238" fmla="*/ 290417 w 1489995"/>
                <a:gd name="connsiteY238" fmla="*/ 846201 h 1273968"/>
                <a:gd name="connsiteX239" fmla="*/ 290132 w 1489995"/>
                <a:gd name="connsiteY239" fmla="*/ 844582 h 1273968"/>
                <a:gd name="connsiteX240" fmla="*/ 290417 w 1489995"/>
                <a:gd name="connsiteY240" fmla="*/ 846201 h 1273968"/>
                <a:gd name="connsiteX241" fmla="*/ 291941 w 1489995"/>
                <a:gd name="connsiteY241" fmla="*/ 845915 h 1273968"/>
                <a:gd name="connsiteX242" fmla="*/ 293370 w 1489995"/>
                <a:gd name="connsiteY242" fmla="*/ 844201 h 1273968"/>
                <a:gd name="connsiteX243" fmla="*/ 296704 w 1489995"/>
                <a:gd name="connsiteY243" fmla="*/ 845344 h 1273968"/>
                <a:gd name="connsiteX244" fmla="*/ 299657 w 1489995"/>
                <a:gd name="connsiteY244" fmla="*/ 843344 h 1273968"/>
                <a:gd name="connsiteX245" fmla="*/ 300228 w 1489995"/>
                <a:gd name="connsiteY245" fmla="*/ 848106 h 1273968"/>
                <a:gd name="connsiteX246" fmla="*/ 303181 w 1489995"/>
                <a:gd name="connsiteY246" fmla="*/ 846106 h 1273968"/>
                <a:gd name="connsiteX247" fmla="*/ 299657 w 1489995"/>
                <a:gd name="connsiteY247" fmla="*/ 830580 h 1273968"/>
                <a:gd name="connsiteX248" fmla="*/ 298037 w 1489995"/>
                <a:gd name="connsiteY248" fmla="*/ 817912 h 1273968"/>
                <a:gd name="connsiteX249" fmla="*/ 295656 w 1489995"/>
                <a:gd name="connsiteY249" fmla="*/ 811816 h 1273968"/>
                <a:gd name="connsiteX250" fmla="*/ 296609 w 1489995"/>
                <a:gd name="connsiteY250" fmla="*/ 806863 h 1273968"/>
                <a:gd name="connsiteX251" fmla="*/ 296228 w 1489995"/>
                <a:gd name="connsiteY251" fmla="*/ 803720 h 1273968"/>
                <a:gd name="connsiteX252" fmla="*/ 294418 w 1489995"/>
                <a:gd name="connsiteY252" fmla="*/ 802386 h 1273968"/>
                <a:gd name="connsiteX253" fmla="*/ 292417 w 1489995"/>
                <a:gd name="connsiteY253" fmla="*/ 799433 h 1273968"/>
                <a:gd name="connsiteX254" fmla="*/ 293656 w 1489995"/>
                <a:gd name="connsiteY254" fmla="*/ 796004 h 1273968"/>
                <a:gd name="connsiteX255" fmla="*/ 294799 w 1489995"/>
                <a:gd name="connsiteY255" fmla="*/ 792670 h 1273968"/>
                <a:gd name="connsiteX256" fmla="*/ 293941 w 1489995"/>
                <a:gd name="connsiteY256" fmla="*/ 786384 h 1273968"/>
                <a:gd name="connsiteX257" fmla="*/ 292227 w 1489995"/>
                <a:gd name="connsiteY257" fmla="*/ 784955 h 1273968"/>
                <a:gd name="connsiteX258" fmla="*/ 294799 w 1489995"/>
                <a:gd name="connsiteY258" fmla="*/ 779812 h 1273968"/>
                <a:gd name="connsiteX259" fmla="*/ 302419 w 1489995"/>
                <a:gd name="connsiteY259" fmla="*/ 777240 h 1273968"/>
                <a:gd name="connsiteX260" fmla="*/ 291370 w 1489995"/>
                <a:gd name="connsiteY260" fmla="*/ 778669 h 1273968"/>
                <a:gd name="connsiteX261" fmla="*/ 286226 w 1489995"/>
                <a:gd name="connsiteY261" fmla="*/ 776097 h 1273968"/>
                <a:gd name="connsiteX262" fmla="*/ 274034 w 1489995"/>
                <a:gd name="connsiteY262" fmla="*/ 768096 h 1273968"/>
                <a:gd name="connsiteX263" fmla="*/ 270034 w 1489995"/>
                <a:gd name="connsiteY263" fmla="*/ 762190 h 1273968"/>
                <a:gd name="connsiteX264" fmla="*/ 256984 w 1489995"/>
                <a:gd name="connsiteY264" fmla="*/ 760571 h 1273968"/>
                <a:gd name="connsiteX265" fmla="*/ 251841 w 1489995"/>
                <a:gd name="connsiteY265" fmla="*/ 758095 h 1273968"/>
                <a:gd name="connsiteX266" fmla="*/ 245936 w 1489995"/>
                <a:gd name="connsiteY266" fmla="*/ 762000 h 1273968"/>
                <a:gd name="connsiteX267" fmla="*/ 239459 w 1489995"/>
                <a:gd name="connsiteY267" fmla="*/ 761238 h 1273968"/>
                <a:gd name="connsiteX268" fmla="*/ 240792 w 1489995"/>
                <a:gd name="connsiteY268" fmla="*/ 759428 h 1273968"/>
                <a:gd name="connsiteX269" fmla="*/ 239077 w 1489995"/>
                <a:gd name="connsiteY269" fmla="*/ 758095 h 1273968"/>
                <a:gd name="connsiteX270" fmla="*/ 240411 w 1489995"/>
                <a:gd name="connsiteY270" fmla="*/ 756285 h 1273968"/>
                <a:gd name="connsiteX271" fmla="*/ 244030 w 1489995"/>
                <a:gd name="connsiteY271" fmla="*/ 759047 h 1273968"/>
                <a:gd name="connsiteX272" fmla="*/ 245554 w 1489995"/>
                <a:gd name="connsiteY272" fmla="*/ 758857 h 1273968"/>
                <a:gd name="connsiteX273" fmla="*/ 245745 w 1489995"/>
                <a:gd name="connsiteY273" fmla="*/ 747617 h 1273968"/>
                <a:gd name="connsiteX274" fmla="*/ 246507 w 1489995"/>
                <a:gd name="connsiteY274" fmla="*/ 741140 h 1273968"/>
                <a:gd name="connsiteX275" fmla="*/ 244697 w 1489995"/>
                <a:gd name="connsiteY275" fmla="*/ 739711 h 1273968"/>
                <a:gd name="connsiteX276" fmla="*/ 243745 w 1489995"/>
                <a:gd name="connsiteY276" fmla="*/ 731806 h 1273968"/>
                <a:gd name="connsiteX277" fmla="*/ 237649 w 1489995"/>
                <a:gd name="connsiteY277" fmla="*/ 734187 h 1273968"/>
                <a:gd name="connsiteX278" fmla="*/ 232505 w 1489995"/>
                <a:gd name="connsiteY278" fmla="*/ 731615 h 1273968"/>
                <a:gd name="connsiteX279" fmla="*/ 225742 w 1489995"/>
                <a:gd name="connsiteY279" fmla="*/ 729329 h 1273968"/>
                <a:gd name="connsiteX280" fmla="*/ 216503 w 1489995"/>
                <a:gd name="connsiteY280" fmla="*/ 732091 h 1273968"/>
                <a:gd name="connsiteX281" fmla="*/ 211931 w 1489995"/>
                <a:gd name="connsiteY281" fmla="*/ 734282 h 1273968"/>
                <a:gd name="connsiteX282" fmla="*/ 211931 w 1489995"/>
                <a:gd name="connsiteY282" fmla="*/ 734282 h 1273968"/>
                <a:gd name="connsiteX283" fmla="*/ 210407 w 1489995"/>
                <a:gd name="connsiteY283" fmla="*/ 734473 h 1273968"/>
                <a:gd name="connsiteX284" fmla="*/ 209359 w 1489995"/>
                <a:gd name="connsiteY284" fmla="*/ 726567 h 1273968"/>
                <a:gd name="connsiteX285" fmla="*/ 204978 w 1489995"/>
                <a:gd name="connsiteY285" fmla="*/ 717518 h 1273968"/>
                <a:gd name="connsiteX286" fmla="*/ 201644 w 1489995"/>
                <a:gd name="connsiteY286" fmla="*/ 716375 h 1273968"/>
                <a:gd name="connsiteX287" fmla="*/ 198691 w 1489995"/>
                <a:gd name="connsiteY287" fmla="*/ 718280 h 1273968"/>
                <a:gd name="connsiteX288" fmla="*/ 196977 w 1489995"/>
                <a:gd name="connsiteY288" fmla="*/ 716947 h 1273968"/>
                <a:gd name="connsiteX289" fmla="*/ 192976 w 1489995"/>
                <a:gd name="connsiteY289" fmla="*/ 711041 h 1273968"/>
                <a:gd name="connsiteX290" fmla="*/ 189833 w 1489995"/>
                <a:gd name="connsiteY290" fmla="*/ 711422 h 1273968"/>
                <a:gd name="connsiteX291" fmla="*/ 187833 w 1489995"/>
                <a:gd name="connsiteY291" fmla="*/ 695611 h 1273968"/>
                <a:gd name="connsiteX292" fmla="*/ 182880 w 1489995"/>
                <a:gd name="connsiteY292" fmla="*/ 694658 h 1273968"/>
                <a:gd name="connsiteX293" fmla="*/ 178879 w 1489995"/>
                <a:gd name="connsiteY293" fmla="*/ 688753 h 1273968"/>
                <a:gd name="connsiteX294" fmla="*/ 175736 w 1489995"/>
                <a:gd name="connsiteY294" fmla="*/ 689134 h 1273968"/>
                <a:gd name="connsiteX295" fmla="*/ 172402 w 1489995"/>
                <a:gd name="connsiteY295" fmla="*/ 687991 h 1273968"/>
                <a:gd name="connsiteX296" fmla="*/ 169640 w 1489995"/>
                <a:gd name="connsiteY296" fmla="*/ 691515 h 1273968"/>
                <a:gd name="connsiteX297" fmla="*/ 168021 w 1489995"/>
                <a:gd name="connsiteY297" fmla="*/ 691801 h 1273968"/>
                <a:gd name="connsiteX298" fmla="*/ 166497 w 1489995"/>
                <a:gd name="connsiteY298" fmla="*/ 691991 h 1273968"/>
                <a:gd name="connsiteX299" fmla="*/ 163163 w 1489995"/>
                <a:gd name="connsiteY299" fmla="*/ 690753 h 1273968"/>
                <a:gd name="connsiteX300" fmla="*/ 161734 w 1489995"/>
                <a:gd name="connsiteY300" fmla="*/ 692563 h 1273968"/>
                <a:gd name="connsiteX301" fmla="*/ 163925 w 1489995"/>
                <a:gd name="connsiteY301" fmla="*/ 697135 h 1273968"/>
                <a:gd name="connsiteX302" fmla="*/ 144970 w 1489995"/>
                <a:gd name="connsiteY302" fmla="*/ 699516 h 1273968"/>
                <a:gd name="connsiteX303" fmla="*/ 139827 w 1489995"/>
                <a:gd name="connsiteY303" fmla="*/ 696944 h 1273968"/>
                <a:gd name="connsiteX304" fmla="*/ 118777 w 1489995"/>
                <a:gd name="connsiteY304" fmla="*/ 694849 h 1273968"/>
                <a:gd name="connsiteX305" fmla="*/ 118300 w 1489995"/>
                <a:gd name="connsiteY305" fmla="*/ 691706 h 1273968"/>
                <a:gd name="connsiteX306" fmla="*/ 114967 w 1489995"/>
                <a:gd name="connsiteY306" fmla="*/ 690467 h 1273968"/>
                <a:gd name="connsiteX307" fmla="*/ 114586 w 1489995"/>
                <a:gd name="connsiteY307" fmla="*/ 687324 h 1273968"/>
                <a:gd name="connsiteX308" fmla="*/ 109252 w 1489995"/>
                <a:gd name="connsiteY308" fmla="*/ 683228 h 1273968"/>
                <a:gd name="connsiteX309" fmla="*/ 110585 w 1489995"/>
                <a:gd name="connsiteY309" fmla="*/ 681419 h 1273968"/>
                <a:gd name="connsiteX310" fmla="*/ 108680 w 1489995"/>
                <a:gd name="connsiteY310" fmla="*/ 678466 h 1273968"/>
                <a:gd name="connsiteX311" fmla="*/ 103537 w 1489995"/>
                <a:gd name="connsiteY311" fmla="*/ 675894 h 1273968"/>
                <a:gd name="connsiteX312" fmla="*/ 99917 w 1489995"/>
                <a:gd name="connsiteY312" fmla="*/ 673132 h 1273968"/>
                <a:gd name="connsiteX313" fmla="*/ 98393 w 1489995"/>
                <a:gd name="connsiteY313" fmla="*/ 673322 h 1273968"/>
                <a:gd name="connsiteX314" fmla="*/ 94774 w 1489995"/>
                <a:gd name="connsiteY314" fmla="*/ 670655 h 1273968"/>
                <a:gd name="connsiteX315" fmla="*/ 85534 w 1489995"/>
                <a:gd name="connsiteY315" fmla="*/ 673418 h 1273968"/>
                <a:gd name="connsiteX316" fmla="*/ 82772 w 1489995"/>
                <a:gd name="connsiteY316" fmla="*/ 664178 h 1273968"/>
                <a:gd name="connsiteX317" fmla="*/ 78010 w 1489995"/>
                <a:gd name="connsiteY317" fmla="*/ 664750 h 1273968"/>
                <a:gd name="connsiteX318" fmla="*/ 72866 w 1489995"/>
                <a:gd name="connsiteY318" fmla="*/ 662178 h 1273968"/>
                <a:gd name="connsiteX319" fmla="*/ 73438 w 1489995"/>
                <a:gd name="connsiteY319" fmla="*/ 654082 h 1273968"/>
                <a:gd name="connsiteX320" fmla="*/ 76771 w 1489995"/>
                <a:gd name="connsiteY320" fmla="*/ 655225 h 1273968"/>
                <a:gd name="connsiteX321" fmla="*/ 78010 w 1489995"/>
                <a:gd name="connsiteY321" fmla="*/ 651891 h 1273968"/>
                <a:gd name="connsiteX322" fmla="*/ 89249 w 1489995"/>
                <a:gd name="connsiteY322" fmla="*/ 652082 h 1273968"/>
                <a:gd name="connsiteX323" fmla="*/ 97726 w 1489995"/>
                <a:gd name="connsiteY323" fmla="*/ 655796 h 1273968"/>
                <a:gd name="connsiteX324" fmla="*/ 97345 w 1489995"/>
                <a:gd name="connsiteY324" fmla="*/ 652653 h 1273968"/>
                <a:gd name="connsiteX325" fmla="*/ 90583 w 1489995"/>
                <a:gd name="connsiteY325" fmla="*/ 650272 h 1273968"/>
                <a:gd name="connsiteX326" fmla="*/ 89059 w 1489995"/>
                <a:gd name="connsiteY326" fmla="*/ 650462 h 1273968"/>
                <a:gd name="connsiteX327" fmla="*/ 86296 w 1489995"/>
                <a:gd name="connsiteY327" fmla="*/ 641223 h 1273968"/>
                <a:gd name="connsiteX328" fmla="*/ 82867 w 1489995"/>
                <a:gd name="connsiteY328" fmla="*/ 640080 h 1273968"/>
                <a:gd name="connsiteX329" fmla="*/ 70294 w 1489995"/>
                <a:gd name="connsiteY329" fmla="*/ 641699 h 1273968"/>
                <a:gd name="connsiteX330" fmla="*/ 66294 w 1489995"/>
                <a:gd name="connsiteY330" fmla="*/ 648557 h 1273968"/>
                <a:gd name="connsiteX331" fmla="*/ 60007 w 1489995"/>
                <a:gd name="connsiteY331" fmla="*/ 649415 h 1273968"/>
                <a:gd name="connsiteX332" fmla="*/ 56483 w 1489995"/>
                <a:gd name="connsiteY332" fmla="*/ 646652 h 1273968"/>
                <a:gd name="connsiteX333" fmla="*/ 57626 w 1489995"/>
                <a:gd name="connsiteY333" fmla="*/ 643319 h 1273968"/>
                <a:gd name="connsiteX334" fmla="*/ 57245 w 1489995"/>
                <a:gd name="connsiteY334" fmla="*/ 640080 h 1273968"/>
                <a:gd name="connsiteX335" fmla="*/ 54292 w 1489995"/>
                <a:gd name="connsiteY335" fmla="*/ 642080 h 1273968"/>
                <a:gd name="connsiteX336" fmla="*/ 52102 w 1489995"/>
                <a:gd name="connsiteY336" fmla="*/ 637604 h 1273968"/>
                <a:gd name="connsiteX337" fmla="*/ 47815 w 1489995"/>
                <a:gd name="connsiteY337" fmla="*/ 641318 h 1273968"/>
                <a:gd name="connsiteX338" fmla="*/ 32956 w 1489995"/>
                <a:gd name="connsiteY338" fmla="*/ 638365 h 1273968"/>
                <a:gd name="connsiteX339" fmla="*/ 30861 w 1489995"/>
                <a:gd name="connsiteY339" fmla="*/ 646652 h 1273968"/>
                <a:gd name="connsiteX340" fmla="*/ 27622 w 1489995"/>
                <a:gd name="connsiteY340" fmla="*/ 647129 h 1273968"/>
                <a:gd name="connsiteX341" fmla="*/ 25336 w 1489995"/>
                <a:gd name="connsiteY341" fmla="*/ 653796 h 1273968"/>
                <a:gd name="connsiteX342" fmla="*/ 23717 w 1489995"/>
                <a:gd name="connsiteY342" fmla="*/ 653986 h 1273968"/>
                <a:gd name="connsiteX343" fmla="*/ 18764 w 1489995"/>
                <a:gd name="connsiteY343" fmla="*/ 653034 h 1273968"/>
                <a:gd name="connsiteX344" fmla="*/ 17812 w 1489995"/>
                <a:gd name="connsiteY344" fmla="*/ 645128 h 1273968"/>
                <a:gd name="connsiteX345" fmla="*/ 6763 w 1489995"/>
                <a:gd name="connsiteY345" fmla="*/ 646557 h 1273968"/>
                <a:gd name="connsiteX346" fmla="*/ 2191 w 1489995"/>
                <a:gd name="connsiteY346" fmla="*/ 648748 h 1273968"/>
                <a:gd name="connsiteX347" fmla="*/ 667 w 1489995"/>
                <a:gd name="connsiteY347" fmla="*/ 648938 h 1273968"/>
                <a:gd name="connsiteX348" fmla="*/ 0 w 1489995"/>
                <a:gd name="connsiteY348" fmla="*/ 644176 h 1273968"/>
                <a:gd name="connsiteX349" fmla="*/ 4191 w 1489995"/>
                <a:gd name="connsiteY349" fmla="*/ 638842 h 1273968"/>
                <a:gd name="connsiteX350" fmla="*/ 3524 w 1489995"/>
                <a:gd name="connsiteY350" fmla="*/ 634175 h 1273968"/>
                <a:gd name="connsiteX351" fmla="*/ 9430 w 1489995"/>
                <a:gd name="connsiteY351" fmla="*/ 630174 h 1273968"/>
                <a:gd name="connsiteX352" fmla="*/ 10858 w 1489995"/>
                <a:gd name="connsiteY352" fmla="*/ 628364 h 1273968"/>
                <a:gd name="connsiteX353" fmla="*/ 8858 w 1489995"/>
                <a:gd name="connsiteY353" fmla="*/ 625411 h 1273968"/>
                <a:gd name="connsiteX354" fmla="*/ 12954 w 1489995"/>
                <a:gd name="connsiteY354" fmla="*/ 620078 h 1273968"/>
                <a:gd name="connsiteX355" fmla="*/ 12382 w 1489995"/>
                <a:gd name="connsiteY355" fmla="*/ 615410 h 1273968"/>
                <a:gd name="connsiteX356" fmla="*/ 17335 w 1489995"/>
                <a:gd name="connsiteY356" fmla="*/ 616363 h 1273968"/>
                <a:gd name="connsiteX357" fmla="*/ 23622 w 1489995"/>
                <a:gd name="connsiteY357" fmla="*/ 615506 h 1273968"/>
                <a:gd name="connsiteX358" fmla="*/ 24003 w 1489995"/>
                <a:gd name="connsiteY358" fmla="*/ 605885 h 1273968"/>
                <a:gd name="connsiteX359" fmla="*/ 21622 w 1489995"/>
                <a:gd name="connsiteY359" fmla="*/ 599789 h 1273968"/>
                <a:gd name="connsiteX360" fmla="*/ 21431 w 1489995"/>
                <a:gd name="connsiteY360" fmla="*/ 598170 h 1273968"/>
                <a:gd name="connsiteX361" fmla="*/ 16478 w 1489995"/>
                <a:gd name="connsiteY361" fmla="*/ 597218 h 1273968"/>
                <a:gd name="connsiteX362" fmla="*/ 13906 w 1489995"/>
                <a:gd name="connsiteY362" fmla="*/ 589502 h 1273968"/>
                <a:gd name="connsiteX363" fmla="*/ 9811 w 1489995"/>
                <a:gd name="connsiteY363" fmla="*/ 594836 h 1273968"/>
                <a:gd name="connsiteX364" fmla="*/ 7810 w 1489995"/>
                <a:gd name="connsiteY364" fmla="*/ 591884 h 1273968"/>
                <a:gd name="connsiteX365" fmla="*/ 8382 w 1489995"/>
                <a:gd name="connsiteY365" fmla="*/ 583787 h 1273968"/>
                <a:gd name="connsiteX366" fmla="*/ 9144 w 1489995"/>
                <a:gd name="connsiteY366" fmla="*/ 577310 h 1273968"/>
                <a:gd name="connsiteX367" fmla="*/ 7144 w 1489995"/>
                <a:gd name="connsiteY367" fmla="*/ 574358 h 1273968"/>
                <a:gd name="connsiteX368" fmla="*/ 11525 w 1489995"/>
                <a:gd name="connsiteY368" fmla="*/ 570548 h 1273968"/>
                <a:gd name="connsiteX369" fmla="*/ 14859 w 1489995"/>
                <a:gd name="connsiteY369" fmla="*/ 571786 h 1273968"/>
                <a:gd name="connsiteX370" fmla="*/ 17621 w 1489995"/>
                <a:gd name="connsiteY370" fmla="*/ 568166 h 1273968"/>
                <a:gd name="connsiteX371" fmla="*/ 20764 w 1489995"/>
                <a:gd name="connsiteY371" fmla="*/ 567785 h 1273968"/>
                <a:gd name="connsiteX372" fmla="*/ 21526 w 1489995"/>
                <a:gd name="connsiteY372" fmla="*/ 561308 h 1273968"/>
                <a:gd name="connsiteX373" fmla="*/ 31242 w 1489995"/>
                <a:gd name="connsiteY373" fmla="*/ 561689 h 1273968"/>
                <a:gd name="connsiteX374" fmla="*/ 31242 w 1489995"/>
                <a:gd name="connsiteY374" fmla="*/ 561689 h 1273968"/>
                <a:gd name="connsiteX375" fmla="*/ 31432 w 1489995"/>
                <a:gd name="connsiteY375" fmla="*/ 563213 h 1273968"/>
                <a:gd name="connsiteX376" fmla="*/ 41434 w 1489995"/>
                <a:gd name="connsiteY376" fmla="*/ 566738 h 1273968"/>
                <a:gd name="connsiteX377" fmla="*/ 46196 w 1489995"/>
                <a:gd name="connsiteY377" fmla="*/ 566166 h 1273968"/>
                <a:gd name="connsiteX378" fmla="*/ 47149 w 1489995"/>
                <a:gd name="connsiteY378" fmla="*/ 561213 h 1273968"/>
                <a:gd name="connsiteX379" fmla="*/ 45434 w 1489995"/>
                <a:gd name="connsiteY379" fmla="*/ 559880 h 1273968"/>
                <a:gd name="connsiteX380" fmla="*/ 46577 w 1489995"/>
                <a:gd name="connsiteY380" fmla="*/ 556451 h 1273968"/>
                <a:gd name="connsiteX381" fmla="*/ 48387 w 1489995"/>
                <a:gd name="connsiteY381" fmla="*/ 557879 h 1273968"/>
                <a:gd name="connsiteX382" fmla="*/ 53054 w 1489995"/>
                <a:gd name="connsiteY382" fmla="*/ 557213 h 1273968"/>
                <a:gd name="connsiteX383" fmla="*/ 51911 w 1489995"/>
                <a:gd name="connsiteY383" fmla="*/ 547783 h 1273968"/>
                <a:gd name="connsiteX384" fmla="*/ 51721 w 1489995"/>
                <a:gd name="connsiteY384" fmla="*/ 546163 h 1273968"/>
                <a:gd name="connsiteX385" fmla="*/ 52102 w 1489995"/>
                <a:gd name="connsiteY385" fmla="*/ 536543 h 1273968"/>
                <a:gd name="connsiteX386" fmla="*/ 52483 w 1489995"/>
                <a:gd name="connsiteY386" fmla="*/ 539686 h 1273968"/>
                <a:gd name="connsiteX387" fmla="*/ 53816 w 1489995"/>
                <a:gd name="connsiteY387" fmla="*/ 537877 h 1273968"/>
                <a:gd name="connsiteX388" fmla="*/ 56007 w 1489995"/>
                <a:gd name="connsiteY388" fmla="*/ 542449 h 1273968"/>
                <a:gd name="connsiteX389" fmla="*/ 60960 w 1489995"/>
                <a:gd name="connsiteY389" fmla="*/ 543401 h 1273968"/>
                <a:gd name="connsiteX390" fmla="*/ 65913 w 1489995"/>
                <a:gd name="connsiteY390" fmla="*/ 544354 h 1273968"/>
                <a:gd name="connsiteX391" fmla="*/ 66865 w 1489995"/>
                <a:gd name="connsiteY391" fmla="*/ 539496 h 1273968"/>
                <a:gd name="connsiteX392" fmla="*/ 66103 w 1489995"/>
                <a:gd name="connsiteY392" fmla="*/ 533114 h 1273968"/>
                <a:gd name="connsiteX393" fmla="*/ 65246 w 1489995"/>
                <a:gd name="connsiteY393" fmla="*/ 526828 h 1273968"/>
                <a:gd name="connsiteX394" fmla="*/ 60103 w 1489995"/>
                <a:gd name="connsiteY394" fmla="*/ 524256 h 1273968"/>
                <a:gd name="connsiteX395" fmla="*/ 60103 w 1489995"/>
                <a:gd name="connsiteY395" fmla="*/ 524256 h 1273968"/>
                <a:gd name="connsiteX396" fmla="*/ 69628 w 1489995"/>
                <a:gd name="connsiteY396" fmla="*/ 523113 h 1273968"/>
                <a:gd name="connsiteX397" fmla="*/ 70580 w 1489995"/>
                <a:gd name="connsiteY397" fmla="*/ 518160 h 1273968"/>
                <a:gd name="connsiteX398" fmla="*/ 66008 w 1489995"/>
                <a:gd name="connsiteY398" fmla="*/ 507492 h 1273968"/>
                <a:gd name="connsiteX399" fmla="*/ 68770 w 1489995"/>
                <a:gd name="connsiteY399" fmla="*/ 503968 h 1273968"/>
                <a:gd name="connsiteX400" fmla="*/ 66199 w 1489995"/>
                <a:gd name="connsiteY400" fmla="*/ 496253 h 1273968"/>
                <a:gd name="connsiteX401" fmla="*/ 69913 w 1489995"/>
                <a:gd name="connsiteY401" fmla="*/ 500539 h 1273968"/>
                <a:gd name="connsiteX402" fmla="*/ 69723 w 1489995"/>
                <a:gd name="connsiteY402" fmla="*/ 499015 h 1273968"/>
                <a:gd name="connsiteX403" fmla="*/ 77629 w 1489995"/>
                <a:gd name="connsiteY403" fmla="*/ 497967 h 1273968"/>
                <a:gd name="connsiteX404" fmla="*/ 80581 w 1489995"/>
                <a:gd name="connsiteY404" fmla="*/ 496062 h 1273968"/>
                <a:gd name="connsiteX405" fmla="*/ 80391 w 1489995"/>
                <a:gd name="connsiteY405" fmla="*/ 494443 h 1273968"/>
                <a:gd name="connsiteX406" fmla="*/ 83534 w 1489995"/>
                <a:gd name="connsiteY406" fmla="*/ 494062 h 1273968"/>
                <a:gd name="connsiteX407" fmla="*/ 83534 w 1489995"/>
                <a:gd name="connsiteY407" fmla="*/ 494062 h 1273968"/>
                <a:gd name="connsiteX408" fmla="*/ 83153 w 1489995"/>
                <a:gd name="connsiteY408" fmla="*/ 490919 h 1273968"/>
                <a:gd name="connsiteX409" fmla="*/ 87820 w 1489995"/>
                <a:gd name="connsiteY409" fmla="*/ 490252 h 1273968"/>
                <a:gd name="connsiteX410" fmla="*/ 86106 w 1489995"/>
                <a:gd name="connsiteY410" fmla="*/ 488918 h 1273968"/>
                <a:gd name="connsiteX411" fmla="*/ 85249 w 1489995"/>
                <a:gd name="connsiteY411" fmla="*/ 482632 h 1273968"/>
                <a:gd name="connsiteX412" fmla="*/ 86868 w 1489995"/>
                <a:gd name="connsiteY412" fmla="*/ 482346 h 1273968"/>
                <a:gd name="connsiteX413" fmla="*/ 90202 w 1489995"/>
                <a:gd name="connsiteY413" fmla="*/ 483584 h 1273968"/>
                <a:gd name="connsiteX414" fmla="*/ 91345 w 1489995"/>
                <a:gd name="connsiteY414" fmla="*/ 480250 h 1273968"/>
                <a:gd name="connsiteX415" fmla="*/ 97726 w 1489995"/>
                <a:gd name="connsiteY415" fmla="*/ 479393 h 1273968"/>
                <a:gd name="connsiteX416" fmla="*/ 100013 w 1489995"/>
                <a:gd name="connsiteY416" fmla="*/ 472726 h 1273968"/>
                <a:gd name="connsiteX417" fmla="*/ 107728 w 1489995"/>
                <a:gd name="connsiteY417" fmla="*/ 470154 h 1273968"/>
                <a:gd name="connsiteX418" fmla="*/ 110871 w 1489995"/>
                <a:gd name="connsiteY418" fmla="*/ 469678 h 1273968"/>
                <a:gd name="connsiteX419" fmla="*/ 110680 w 1489995"/>
                <a:gd name="connsiteY419" fmla="*/ 468154 h 1273968"/>
                <a:gd name="connsiteX420" fmla="*/ 113633 w 1489995"/>
                <a:gd name="connsiteY420" fmla="*/ 466154 h 1273968"/>
                <a:gd name="connsiteX421" fmla="*/ 113633 w 1489995"/>
                <a:gd name="connsiteY421" fmla="*/ 466154 h 1273968"/>
                <a:gd name="connsiteX422" fmla="*/ 121348 w 1489995"/>
                <a:gd name="connsiteY422" fmla="*/ 476345 h 1273968"/>
                <a:gd name="connsiteX423" fmla="*/ 124777 w 1489995"/>
                <a:gd name="connsiteY423" fmla="*/ 477584 h 1273968"/>
                <a:gd name="connsiteX424" fmla="*/ 127730 w 1489995"/>
                <a:gd name="connsiteY424" fmla="*/ 475583 h 1273968"/>
                <a:gd name="connsiteX425" fmla="*/ 135541 w 1489995"/>
                <a:gd name="connsiteY425" fmla="*/ 474536 h 1273968"/>
                <a:gd name="connsiteX426" fmla="*/ 142684 w 1489995"/>
                <a:gd name="connsiteY426" fmla="*/ 467296 h 1273968"/>
                <a:gd name="connsiteX427" fmla="*/ 147828 w 1489995"/>
                <a:gd name="connsiteY427" fmla="*/ 469773 h 1273968"/>
                <a:gd name="connsiteX428" fmla="*/ 147352 w 1489995"/>
                <a:gd name="connsiteY428" fmla="*/ 466630 h 1273968"/>
                <a:gd name="connsiteX429" fmla="*/ 160782 w 1489995"/>
                <a:gd name="connsiteY429" fmla="*/ 458534 h 1273968"/>
                <a:gd name="connsiteX430" fmla="*/ 156591 w 1489995"/>
                <a:gd name="connsiteY430" fmla="*/ 451009 h 1273968"/>
                <a:gd name="connsiteX431" fmla="*/ 164973 w 1489995"/>
                <a:gd name="connsiteY431" fmla="*/ 453200 h 1273968"/>
                <a:gd name="connsiteX432" fmla="*/ 167926 w 1489995"/>
                <a:gd name="connsiteY432" fmla="*/ 451199 h 1273968"/>
                <a:gd name="connsiteX433" fmla="*/ 171640 w 1489995"/>
                <a:gd name="connsiteY433" fmla="*/ 442722 h 1273968"/>
                <a:gd name="connsiteX434" fmla="*/ 169831 w 1489995"/>
                <a:gd name="connsiteY434" fmla="*/ 441388 h 1273968"/>
                <a:gd name="connsiteX435" fmla="*/ 171164 w 1489995"/>
                <a:gd name="connsiteY435" fmla="*/ 439579 h 1273968"/>
                <a:gd name="connsiteX436" fmla="*/ 171450 w 1489995"/>
                <a:gd name="connsiteY436" fmla="*/ 441103 h 1273968"/>
                <a:gd name="connsiteX437" fmla="*/ 176117 w 1489995"/>
                <a:gd name="connsiteY437" fmla="*/ 440531 h 1273968"/>
                <a:gd name="connsiteX438" fmla="*/ 180308 w 1489995"/>
                <a:gd name="connsiteY438" fmla="*/ 435197 h 1273968"/>
                <a:gd name="connsiteX439" fmla="*/ 192691 w 1489995"/>
                <a:gd name="connsiteY439" fmla="*/ 419195 h 1273968"/>
                <a:gd name="connsiteX440" fmla="*/ 194691 w 1489995"/>
                <a:gd name="connsiteY440" fmla="*/ 422148 h 1273968"/>
                <a:gd name="connsiteX441" fmla="*/ 193262 w 1489995"/>
                <a:gd name="connsiteY441" fmla="*/ 423958 h 1273968"/>
                <a:gd name="connsiteX442" fmla="*/ 193262 w 1489995"/>
                <a:gd name="connsiteY442" fmla="*/ 436721 h 1273968"/>
                <a:gd name="connsiteX443" fmla="*/ 202597 w 1489995"/>
                <a:gd name="connsiteY443" fmla="*/ 433959 h 1273968"/>
                <a:gd name="connsiteX444" fmla="*/ 205930 w 1489995"/>
                <a:gd name="connsiteY444" fmla="*/ 435102 h 1273968"/>
                <a:gd name="connsiteX445" fmla="*/ 211264 w 1489995"/>
                <a:gd name="connsiteY445" fmla="*/ 439293 h 1273968"/>
                <a:gd name="connsiteX446" fmla="*/ 214408 w 1489995"/>
                <a:gd name="connsiteY446" fmla="*/ 438912 h 1273968"/>
                <a:gd name="connsiteX447" fmla="*/ 225076 w 1489995"/>
                <a:gd name="connsiteY447" fmla="*/ 434340 h 1273968"/>
                <a:gd name="connsiteX448" fmla="*/ 242792 w 1489995"/>
                <a:gd name="connsiteY448" fmla="*/ 435292 h 1273968"/>
                <a:gd name="connsiteX449" fmla="*/ 247936 w 1489995"/>
                <a:gd name="connsiteY449" fmla="*/ 437769 h 1273968"/>
                <a:gd name="connsiteX450" fmla="*/ 250317 w 1489995"/>
                <a:gd name="connsiteY450" fmla="*/ 431102 h 1273968"/>
                <a:gd name="connsiteX451" fmla="*/ 251079 w 1489995"/>
                <a:gd name="connsiteY451" fmla="*/ 424529 h 1273968"/>
                <a:gd name="connsiteX452" fmla="*/ 253079 w 1489995"/>
                <a:gd name="connsiteY452" fmla="*/ 427577 h 1273968"/>
                <a:gd name="connsiteX453" fmla="*/ 256794 w 1489995"/>
                <a:gd name="connsiteY453" fmla="*/ 419005 h 1273968"/>
                <a:gd name="connsiteX454" fmla="*/ 258794 w 1489995"/>
                <a:gd name="connsiteY454" fmla="*/ 421958 h 1273968"/>
                <a:gd name="connsiteX455" fmla="*/ 258032 w 1489995"/>
                <a:gd name="connsiteY455" fmla="*/ 428530 h 1273968"/>
                <a:gd name="connsiteX456" fmla="*/ 261175 w 1489995"/>
                <a:gd name="connsiteY456" fmla="*/ 428149 h 1273968"/>
                <a:gd name="connsiteX457" fmla="*/ 263747 w 1489995"/>
                <a:gd name="connsiteY457" fmla="*/ 423005 h 1273968"/>
                <a:gd name="connsiteX458" fmla="*/ 266890 w 1489995"/>
                <a:gd name="connsiteY458" fmla="*/ 422529 h 1273968"/>
                <a:gd name="connsiteX459" fmla="*/ 275177 w 1489995"/>
                <a:gd name="connsiteY459" fmla="*/ 411861 h 1273968"/>
                <a:gd name="connsiteX460" fmla="*/ 280607 w 1489995"/>
                <a:gd name="connsiteY460" fmla="*/ 404813 h 1273968"/>
                <a:gd name="connsiteX461" fmla="*/ 282988 w 1489995"/>
                <a:gd name="connsiteY461" fmla="*/ 398050 h 1273968"/>
                <a:gd name="connsiteX462" fmla="*/ 286131 w 1489995"/>
                <a:gd name="connsiteY462" fmla="*/ 397669 h 1273968"/>
                <a:gd name="connsiteX463" fmla="*/ 292036 w 1489995"/>
                <a:gd name="connsiteY463" fmla="*/ 393668 h 1273968"/>
                <a:gd name="connsiteX464" fmla="*/ 295180 w 1489995"/>
                <a:gd name="connsiteY464" fmla="*/ 393287 h 1273968"/>
                <a:gd name="connsiteX465" fmla="*/ 299180 w 1489995"/>
                <a:gd name="connsiteY465" fmla="*/ 399193 h 1273968"/>
                <a:gd name="connsiteX466" fmla="*/ 300323 w 1489995"/>
                <a:gd name="connsiteY466" fmla="*/ 395859 h 1273968"/>
                <a:gd name="connsiteX467" fmla="*/ 302133 w 1489995"/>
                <a:gd name="connsiteY467" fmla="*/ 397192 h 1273968"/>
                <a:gd name="connsiteX468" fmla="*/ 308705 w 1489995"/>
                <a:gd name="connsiteY468" fmla="*/ 410813 h 1273968"/>
                <a:gd name="connsiteX469" fmla="*/ 307943 w 1489995"/>
                <a:gd name="connsiteY469" fmla="*/ 417386 h 1273968"/>
                <a:gd name="connsiteX470" fmla="*/ 309848 w 1489995"/>
                <a:gd name="connsiteY470" fmla="*/ 420338 h 1273968"/>
                <a:gd name="connsiteX471" fmla="*/ 309848 w 1489995"/>
                <a:gd name="connsiteY471" fmla="*/ 420338 h 1273968"/>
                <a:gd name="connsiteX472" fmla="*/ 326993 w 1489995"/>
                <a:gd name="connsiteY472" fmla="*/ 416528 h 1273968"/>
                <a:gd name="connsiteX473" fmla="*/ 327374 w 1489995"/>
                <a:gd name="connsiteY473" fmla="*/ 406813 h 1273968"/>
                <a:gd name="connsiteX474" fmla="*/ 330327 w 1489995"/>
                <a:gd name="connsiteY474" fmla="*/ 404813 h 1273968"/>
                <a:gd name="connsiteX475" fmla="*/ 327946 w 1489995"/>
                <a:gd name="connsiteY475" fmla="*/ 398717 h 1273968"/>
                <a:gd name="connsiteX476" fmla="*/ 333661 w 1489995"/>
                <a:gd name="connsiteY476" fmla="*/ 393192 h 1273968"/>
                <a:gd name="connsiteX477" fmla="*/ 337661 w 1489995"/>
                <a:gd name="connsiteY477" fmla="*/ 386334 h 1273968"/>
                <a:gd name="connsiteX478" fmla="*/ 343948 w 1489995"/>
                <a:gd name="connsiteY478" fmla="*/ 385477 h 1273968"/>
                <a:gd name="connsiteX479" fmla="*/ 359473 w 1489995"/>
                <a:gd name="connsiteY479" fmla="*/ 381857 h 1273968"/>
                <a:gd name="connsiteX480" fmla="*/ 362712 w 1489995"/>
                <a:gd name="connsiteY480" fmla="*/ 381476 h 1273968"/>
                <a:gd name="connsiteX481" fmla="*/ 361474 w 1489995"/>
                <a:gd name="connsiteY481" fmla="*/ 384810 h 1273968"/>
                <a:gd name="connsiteX482" fmla="*/ 370522 w 1489995"/>
                <a:gd name="connsiteY482" fmla="*/ 380524 h 1273968"/>
                <a:gd name="connsiteX483" fmla="*/ 371761 w 1489995"/>
                <a:gd name="connsiteY483" fmla="*/ 377095 h 1273968"/>
                <a:gd name="connsiteX484" fmla="*/ 376428 w 1489995"/>
                <a:gd name="connsiteY484" fmla="*/ 376523 h 1273968"/>
                <a:gd name="connsiteX485" fmla="*/ 381000 w 1489995"/>
                <a:gd name="connsiteY485" fmla="*/ 374333 h 1273968"/>
                <a:gd name="connsiteX486" fmla="*/ 381762 w 1489995"/>
                <a:gd name="connsiteY486" fmla="*/ 367856 h 1273968"/>
                <a:gd name="connsiteX487" fmla="*/ 384905 w 1489995"/>
                <a:gd name="connsiteY487" fmla="*/ 367475 h 1273968"/>
                <a:gd name="connsiteX488" fmla="*/ 384715 w 1489995"/>
                <a:gd name="connsiteY488" fmla="*/ 365855 h 1273968"/>
                <a:gd name="connsiteX489" fmla="*/ 388048 w 1489995"/>
                <a:gd name="connsiteY489" fmla="*/ 366998 h 1273968"/>
                <a:gd name="connsiteX490" fmla="*/ 390811 w 1489995"/>
                <a:gd name="connsiteY490" fmla="*/ 363474 h 1273968"/>
                <a:gd name="connsiteX491" fmla="*/ 392049 w 1489995"/>
                <a:gd name="connsiteY491" fmla="*/ 360140 h 1273968"/>
                <a:gd name="connsiteX492" fmla="*/ 390811 w 1489995"/>
                <a:gd name="connsiteY492" fmla="*/ 350615 h 1273968"/>
                <a:gd name="connsiteX493" fmla="*/ 390430 w 1489995"/>
                <a:gd name="connsiteY493" fmla="*/ 347472 h 1273968"/>
                <a:gd name="connsiteX494" fmla="*/ 387287 w 1489995"/>
                <a:gd name="connsiteY494" fmla="*/ 347853 h 1273968"/>
                <a:gd name="connsiteX495" fmla="*/ 388810 w 1489995"/>
                <a:gd name="connsiteY495" fmla="*/ 347663 h 1273968"/>
                <a:gd name="connsiteX496" fmla="*/ 388620 w 1489995"/>
                <a:gd name="connsiteY496" fmla="*/ 346138 h 1273968"/>
                <a:gd name="connsiteX497" fmla="*/ 395192 w 1489995"/>
                <a:gd name="connsiteY497" fmla="*/ 346900 h 1273968"/>
                <a:gd name="connsiteX498" fmla="*/ 395383 w 1489995"/>
                <a:gd name="connsiteY498" fmla="*/ 348425 h 1273968"/>
                <a:gd name="connsiteX499" fmla="*/ 401669 w 1489995"/>
                <a:gd name="connsiteY499" fmla="*/ 347663 h 1273968"/>
                <a:gd name="connsiteX500" fmla="*/ 402050 w 1489995"/>
                <a:gd name="connsiteY500" fmla="*/ 350806 h 1273968"/>
                <a:gd name="connsiteX501" fmla="*/ 414909 w 1489995"/>
                <a:gd name="connsiteY501" fmla="*/ 350806 h 1273968"/>
                <a:gd name="connsiteX502" fmla="*/ 418052 w 1489995"/>
                <a:gd name="connsiteY502" fmla="*/ 350425 h 1273968"/>
                <a:gd name="connsiteX503" fmla="*/ 417862 w 1489995"/>
                <a:gd name="connsiteY503" fmla="*/ 348806 h 1273968"/>
                <a:gd name="connsiteX504" fmla="*/ 415862 w 1489995"/>
                <a:gd name="connsiteY504" fmla="*/ 345853 h 1273968"/>
                <a:gd name="connsiteX505" fmla="*/ 417481 w 1489995"/>
                <a:gd name="connsiteY505" fmla="*/ 345662 h 1273968"/>
                <a:gd name="connsiteX506" fmla="*/ 417195 w 1489995"/>
                <a:gd name="connsiteY506" fmla="*/ 344043 h 1273968"/>
                <a:gd name="connsiteX507" fmla="*/ 415480 w 1489995"/>
                <a:gd name="connsiteY507" fmla="*/ 342710 h 1273968"/>
                <a:gd name="connsiteX508" fmla="*/ 417767 w 1489995"/>
                <a:gd name="connsiteY508" fmla="*/ 335947 h 1273968"/>
                <a:gd name="connsiteX509" fmla="*/ 413861 w 1489995"/>
                <a:gd name="connsiteY509" fmla="*/ 330041 h 1273968"/>
                <a:gd name="connsiteX510" fmla="*/ 410718 w 1489995"/>
                <a:gd name="connsiteY510" fmla="*/ 330517 h 1273968"/>
                <a:gd name="connsiteX511" fmla="*/ 408908 w 1489995"/>
                <a:gd name="connsiteY511" fmla="*/ 316230 h 1273968"/>
                <a:gd name="connsiteX512" fmla="*/ 416623 w 1489995"/>
                <a:gd name="connsiteY512" fmla="*/ 313658 h 1273968"/>
                <a:gd name="connsiteX513" fmla="*/ 414814 w 1489995"/>
                <a:gd name="connsiteY513" fmla="*/ 312325 h 1273968"/>
                <a:gd name="connsiteX514" fmla="*/ 419576 w 1489995"/>
                <a:gd name="connsiteY514" fmla="*/ 311753 h 1273968"/>
                <a:gd name="connsiteX515" fmla="*/ 422053 w 1489995"/>
                <a:gd name="connsiteY515" fmla="*/ 306610 h 1273968"/>
                <a:gd name="connsiteX516" fmla="*/ 425196 w 1489995"/>
                <a:gd name="connsiteY516" fmla="*/ 306134 h 1273968"/>
                <a:gd name="connsiteX517" fmla="*/ 427958 w 1489995"/>
                <a:gd name="connsiteY517" fmla="*/ 302609 h 1273968"/>
                <a:gd name="connsiteX518" fmla="*/ 435673 w 1489995"/>
                <a:gd name="connsiteY518" fmla="*/ 300038 h 1273968"/>
                <a:gd name="connsiteX519" fmla="*/ 441388 w 1489995"/>
                <a:gd name="connsiteY519" fmla="*/ 307277 h 1273968"/>
                <a:gd name="connsiteX520" fmla="*/ 444817 w 1489995"/>
                <a:gd name="connsiteY520" fmla="*/ 308515 h 1273968"/>
                <a:gd name="connsiteX521" fmla="*/ 444151 w 1489995"/>
                <a:gd name="connsiteY521" fmla="*/ 303752 h 1273968"/>
                <a:gd name="connsiteX522" fmla="*/ 447294 w 1489995"/>
                <a:gd name="connsiteY522" fmla="*/ 303371 h 1273968"/>
                <a:gd name="connsiteX523" fmla="*/ 447104 w 1489995"/>
                <a:gd name="connsiteY523" fmla="*/ 301752 h 1273968"/>
                <a:gd name="connsiteX524" fmla="*/ 459200 w 1489995"/>
                <a:gd name="connsiteY524" fmla="*/ 308229 h 1273968"/>
                <a:gd name="connsiteX525" fmla="*/ 469011 w 1489995"/>
                <a:gd name="connsiteY525" fmla="*/ 310229 h 1273968"/>
                <a:gd name="connsiteX526" fmla="*/ 471011 w 1489995"/>
                <a:gd name="connsiteY526" fmla="*/ 313182 h 1273968"/>
                <a:gd name="connsiteX527" fmla="*/ 474155 w 1489995"/>
                <a:gd name="connsiteY527" fmla="*/ 312801 h 1273968"/>
                <a:gd name="connsiteX528" fmla="*/ 474631 w 1489995"/>
                <a:gd name="connsiteY528" fmla="*/ 315944 h 1273968"/>
                <a:gd name="connsiteX529" fmla="*/ 476155 w 1489995"/>
                <a:gd name="connsiteY529" fmla="*/ 315754 h 1273968"/>
                <a:gd name="connsiteX530" fmla="*/ 489013 w 1489995"/>
                <a:gd name="connsiteY530" fmla="*/ 315659 h 1273968"/>
                <a:gd name="connsiteX531" fmla="*/ 503396 w 1489995"/>
                <a:gd name="connsiteY531" fmla="*/ 315468 h 1273968"/>
                <a:gd name="connsiteX532" fmla="*/ 503777 w 1489995"/>
                <a:gd name="connsiteY532" fmla="*/ 318611 h 1273968"/>
                <a:gd name="connsiteX533" fmla="*/ 510350 w 1489995"/>
                <a:gd name="connsiteY533" fmla="*/ 319373 h 1273968"/>
                <a:gd name="connsiteX534" fmla="*/ 519970 w 1489995"/>
                <a:gd name="connsiteY534" fmla="*/ 319754 h 1273968"/>
                <a:gd name="connsiteX535" fmla="*/ 521780 w 1489995"/>
                <a:gd name="connsiteY535" fmla="*/ 321088 h 1273968"/>
                <a:gd name="connsiteX536" fmla="*/ 523113 w 1489995"/>
                <a:gd name="connsiteY536" fmla="*/ 319373 h 1273968"/>
                <a:gd name="connsiteX537" fmla="*/ 538925 w 1489995"/>
                <a:gd name="connsiteY537" fmla="*/ 317373 h 1273968"/>
                <a:gd name="connsiteX538" fmla="*/ 540258 w 1489995"/>
                <a:gd name="connsiteY538" fmla="*/ 315563 h 1273968"/>
                <a:gd name="connsiteX539" fmla="*/ 548640 w 1489995"/>
                <a:gd name="connsiteY539" fmla="*/ 317754 h 1273968"/>
                <a:gd name="connsiteX540" fmla="*/ 550926 w 1489995"/>
                <a:gd name="connsiteY540" fmla="*/ 310991 h 1273968"/>
                <a:gd name="connsiteX541" fmla="*/ 548735 w 1489995"/>
                <a:gd name="connsiteY541" fmla="*/ 306419 h 1273968"/>
                <a:gd name="connsiteX542" fmla="*/ 558832 w 1489995"/>
                <a:gd name="connsiteY542" fmla="*/ 310039 h 1273968"/>
                <a:gd name="connsiteX543" fmla="*/ 557498 w 1489995"/>
                <a:gd name="connsiteY543" fmla="*/ 311753 h 1273968"/>
                <a:gd name="connsiteX544" fmla="*/ 561404 w 1489995"/>
                <a:gd name="connsiteY544" fmla="*/ 317659 h 1273968"/>
                <a:gd name="connsiteX545" fmla="*/ 562642 w 1489995"/>
                <a:gd name="connsiteY545" fmla="*/ 314325 h 1273968"/>
                <a:gd name="connsiteX546" fmla="*/ 569500 w 1489995"/>
                <a:gd name="connsiteY546" fmla="*/ 318230 h 1273968"/>
                <a:gd name="connsiteX547" fmla="*/ 569119 w 1489995"/>
                <a:gd name="connsiteY547" fmla="*/ 315087 h 1273968"/>
                <a:gd name="connsiteX548" fmla="*/ 572452 w 1489995"/>
                <a:gd name="connsiteY548" fmla="*/ 316230 h 1273968"/>
                <a:gd name="connsiteX549" fmla="*/ 573405 w 1489995"/>
                <a:gd name="connsiteY549" fmla="*/ 311372 h 1273968"/>
                <a:gd name="connsiteX550" fmla="*/ 589026 w 1489995"/>
                <a:gd name="connsiteY550" fmla="*/ 320611 h 1273968"/>
                <a:gd name="connsiteX551" fmla="*/ 593979 w 1489995"/>
                <a:gd name="connsiteY551" fmla="*/ 321564 h 1273968"/>
                <a:gd name="connsiteX552" fmla="*/ 594360 w 1489995"/>
                <a:gd name="connsiteY552" fmla="*/ 324707 h 1273968"/>
                <a:gd name="connsiteX553" fmla="*/ 596170 w 1489995"/>
                <a:gd name="connsiteY553" fmla="*/ 326041 h 1273968"/>
                <a:gd name="connsiteX554" fmla="*/ 599694 w 1489995"/>
                <a:gd name="connsiteY554" fmla="*/ 316040 h 1273968"/>
                <a:gd name="connsiteX555" fmla="*/ 601313 w 1489995"/>
                <a:gd name="connsiteY555" fmla="*/ 315849 h 1273968"/>
                <a:gd name="connsiteX556" fmla="*/ 605600 w 1489995"/>
                <a:gd name="connsiteY556" fmla="*/ 312039 h 1273968"/>
                <a:gd name="connsiteX557" fmla="*/ 605218 w 1489995"/>
                <a:gd name="connsiteY557" fmla="*/ 308896 h 1273968"/>
                <a:gd name="connsiteX558" fmla="*/ 608933 w 1489995"/>
                <a:gd name="connsiteY558" fmla="*/ 300419 h 1273968"/>
                <a:gd name="connsiteX559" fmla="*/ 610743 w 1489995"/>
                <a:gd name="connsiteY559" fmla="*/ 301752 h 1273968"/>
                <a:gd name="connsiteX560" fmla="*/ 614839 w 1489995"/>
                <a:gd name="connsiteY560" fmla="*/ 296418 h 1273968"/>
                <a:gd name="connsiteX561" fmla="*/ 621983 w 1489995"/>
                <a:gd name="connsiteY561" fmla="*/ 301942 h 1273968"/>
                <a:gd name="connsiteX562" fmla="*/ 626935 w 1489995"/>
                <a:gd name="connsiteY562" fmla="*/ 302895 h 1273968"/>
                <a:gd name="connsiteX563" fmla="*/ 628269 w 1489995"/>
                <a:gd name="connsiteY563" fmla="*/ 301181 h 1273968"/>
                <a:gd name="connsiteX564" fmla="*/ 628079 w 1489995"/>
                <a:gd name="connsiteY564" fmla="*/ 299561 h 1273968"/>
                <a:gd name="connsiteX565" fmla="*/ 633222 w 1489995"/>
                <a:gd name="connsiteY565" fmla="*/ 302133 h 1273968"/>
                <a:gd name="connsiteX566" fmla="*/ 637984 w 1489995"/>
                <a:gd name="connsiteY566" fmla="*/ 301561 h 1273968"/>
                <a:gd name="connsiteX567" fmla="*/ 635794 w 1489995"/>
                <a:gd name="connsiteY567" fmla="*/ 296990 h 1273968"/>
                <a:gd name="connsiteX568" fmla="*/ 647224 w 1489995"/>
                <a:gd name="connsiteY568" fmla="*/ 298704 h 1273968"/>
                <a:gd name="connsiteX569" fmla="*/ 646652 w 1489995"/>
                <a:gd name="connsiteY569" fmla="*/ 294037 h 1273968"/>
                <a:gd name="connsiteX570" fmla="*/ 649986 w 1489995"/>
                <a:gd name="connsiteY570" fmla="*/ 295180 h 1273968"/>
                <a:gd name="connsiteX571" fmla="*/ 651319 w 1489995"/>
                <a:gd name="connsiteY571" fmla="*/ 293370 h 1273968"/>
                <a:gd name="connsiteX572" fmla="*/ 657892 w 1489995"/>
                <a:gd name="connsiteY572" fmla="*/ 294132 h 1273968"/>
                <a:gd name="connsiteX573" fmla="*/ 658082 w 1489995"/>
                <a:gd name="connsiteY573" fmla="*/ 295751 h 1273968"/>
                <a:gd name="connsiteX574" fmla="*/ 661416 w 1489995"/>
                <a:gd name="connsiteY574" fmla="*/ 296894 h 1273968"/>
                <a:gd name="connsiteX575" fmla="*/ 661606 w 1489995"/>
                <a:gd name="connsiteY575" fmla="*/ 298513 h 1273968"/>
                <a:gd name="connsiteX576" fmla="*/ 664940 w 1489995"/>
                <a:gd name="connsiteY576" fmla="*/ 299657 h 1273968"/>
                <a:gd name="connsiteX577" fmla="*/ 665607 w 1489995"/>
                <a:gd name="connsiteY577" fmla="*/ 304419 h 1273968"/>
                <a:gd name="connsiteX578" fmla="*/ 666750 w 1489995"/>
                <a:gd name="connsiteY578" fmla="*/ 301085 h 1273968"/>
                <a:gd name="connsiteX579" fmla="*/ 670084 w 1489995"/>
                <a:gd name="connsiteY579" fmla="*/ 302228 h 1273968"/>
                <a:gd name="connsiteX580" fmla="*/ 666559 w 1489995"/>
                <a:gd name="connsiteY580" fmla="*/ 299466 h 1273968"/>
                <a:gd name="connsiteX581" fmla="*/ 669703 w 1489995"/>
                <a:gd name="connsiteY581" fmla="*/ 299085 h 1273968"/>
                <a:gd name="connsiteX582" fmla="*/ 671513 w 1489995"/>
                <a:gd name="connsiteY582" fmla="*/ 300419 h 1273968"/>
                <a:gd name="connsiteX583" fmla="*/ 670084 w 1489995"/>
                <a:gd name="connsiteY583" fmla="*/ 302228 h 1273968"/>
                <a:gd name="connsiteX584" fmla="*/ 670274 w 1489995"/>
                <a:gd name="connsiteY584" fmla="*/ 303848 h 1273968"/>
                <a:gd name="connsiteX585" fmla="*/ 674656 w 1489995"/>
                <a:gd name="connsiteY585" fmla="*/ 300038 h 1273968"/>
                <a:gd name="connsiteX586" fmla="*/ 676180 w 1489995"/>
                <a:gd name="connsiteY586" fmla="*/ 299847 h 1273968"/>
                <a:gd name="connsiteX587" fmla="*/ 681323 w 1489995"/>
                <a:gd name="connsiteY587" fmla="*/ 289560 h 1273968"/>
                <a:gd name="connsiteX588" fmla="*/ 679704 w 1489995"/>
                <a:gd name="connsiteY588" fmla="*/ 289750 h 1273968"/>
                <a:gd name="connsiteX589" fmla="*/ 680752 w 1489995"/>
                <a:gd name="connsiteY589" fmla="*/ 284798 h 1273968"/>
                <a:gd name="connsiteX590" fmla="*/ 679133 w 1489995"/>
                <a:gd name="connsiteY590" fmla="*/ 285083 h 1273968"/>
                <a:gd name="connsiteX591" fmla="*/ 680561 w 1489995"/>
                <a:gd name="connsiteY591" fmla="*/ 283273 h 1273968"/>
                <a:gd name="connsiteX592" fmla="*/ 677132 w 1489995"/>
                <a:gd name="connsiteY592" fmla="*/ 282131 h 1273968"/>
                <a:gd name="connsiteX593" fmla="*/ 678561 w 1489995"/>
                <a:gd name="connsiteY593" fmla="*/ 280321 h 1273968"/>
                <a:gd name="connsiteX594" fmla="*/ 677323 w 1489995"/>
                <a:gd name="connsiteY594" fmla="*/ 270796 h 1273968"/>
                <a:gd name="connsiteX595" fmla="*/ 684085 w 1489995"/>
                <a:gd name="connsiteY595" fmla="*/ 273177 h 1273968"/>
                <a:gd name="connsiteX596" fmla="*/ 683800 w 1489995"/>
                <a:gd name="connsiteY596" fmla="*/ 258794 h 1273968"/>
                <a:gd name="connsiteX597" fmla="*/ 683228 w 1489995"/>
                <a:gd name="connsiteY597" fmla="*/ 254032 h 1273968"/>
                <a:gd name="connsiteX598" fmla="*/ 684752 w 1489995"/>
                <a:gd name="connsiteY598" fmla="*/ 253841 h 1273968"/>
                <a:gd name="connsiteX599" fmla="*/ 685990 w 1489995"/>
                <a:gd name="connsiteY599" fmla="*/ 250508 h 1273968"/>
                <a:gd name="connsiteX600" fmla="*/ 682371 w 1489995"/>
                <a:gd name="connsiteY600" fmla="*/ 247745 h 1273968"/>
                <a:gd name="connsiteX601" fmla="*/ 679037 w 1489995"/>
                <a:gd name="connsiteY601" fmla="*/ 246602 h 1273968"/>
                <a:gd name="connsiteX602" fmla="*/ 678466 w 1489995"/>
                <a:gd name="connsiteY602" fmla="*/ 241840 h 1273968"/>
                <a:gd name="connsiteX603" fmla="*/ 674942 w 1489995"/>
                <a:gd name="connsiteY603" fmla="*/ 239077 h 1273968"/>
                <a:gd name="connsiteX604" fmla="*/ 674465 w 1489995"/>
                <a:gd name="connsiteY604" fmla="*/ 235934 h 1273968"/>
                <a:gd name="connsiteX605" fmla="*/ 678847 w 1489995"/>
                <a:gd name="connsiteY605" fmla="*/ 232124 h 1273968"/>
                <a:gd name="connsiteX606" fmla="*/ 680847 w 1489995"/>
                <a:gd name="connsiteY606" fmla="*/ 235077 h 1273968"/>
                <a:gd name="connsiteX607" fmla="*/ 683800 w 1489995"/>
                <a:gd name="connsiteY607" fmla="*/ 233172 h 1273968"/>
                <a:gd name="connsiteX608" fmla="*/ 680180 w 1489995"/>
                <a:gd name="connsiteY608" fmla="*/ 230410 h 1273968"/>
                <a:gd name="connsiteX609" fmla="*/ 679799 w 1489995"/>
                <a:gd name="connsiteY609" fmla="*/ 227267 h 1273968"/>
                <a:gd name="connsiteX610" fmla="*/ 676275 w 1489995"/>
                <a:gd name="connsiteY610" fmla="*/ 224504 h 1273968"/>
                <a:gd name="connsiteX611" fmla="*/ 677418 w 1489995"/>
                <a:gd name="connsiteY611" fmla="*/ 221075 h 1273968"/>
                <a:gd name="connsiteX612" fmla="*/ 679228 w 1489995"/>
                <a:gd name="connsiteY612" fmla="*/ 222504 h 1273968"/>
                <a:gd name="connsiteX613" fmla="*/ 678751 w 1489995"/>
                <a:gd name="connsiteY613" fmla="*/ 219361 h 1273968"/>
                <a:gd name="connsiteX614" fmla="*/ 677037 w 1489995"/>
                <a:gd name="connsiteY614" fmla="*/ 217932 h 1273968"/>
                <a:gd name="connsiteX615" fmla="*/ 676847 w 1489995"/>
                <a:gd name="connsiteY615" fmla="*/ 216408 h 1273968"/>
                <a:gd name="connsiteX616" fmla="*/ 673227 w 1489995"/>
                <a:gd name="connsiteY616" fmla="*/ 213646 h 1273968"/>
                <a:gd name="connsiteX617" fmla="*/ 673037 w 1489995"/>
                <a:gd name="connsiteY617" fmla="*/ 212027 h 1273968"/>
                <a:gd name="connsiteX618" fmla="*/ 675989 w 1489995"/>
                <a:gd name="connsiteY618" fmla="*/ 210026 h 1273968"/>
                <a:gd name="connsiteX619" fmla="*/ 679133 w 1489995"/>
                <a:gd name="connsiteY619" fmla="*/ 209645 h 1273968"/>
                <a:gd name="connsiteX620" fmla="*/ 680371 w 1489995"/>
                <a:gd name="connsiteY620" fmla="*/ 206311 h 1273968"/>
                <a:gd name="connsiteX621" fmla="*/ 683323 w 1489995"/>
                <a:gd name="connsiteY621" fmla="*/ 204311 h 1273968"/>
                <a:gd name="connsiteX622" fmla="*/ 695992 w 1489995"/>
                <a:gd name="connsiteY622" fmla="*/ 215551 h 1273968"/>
                <a:gd name="connsiteX623" fmla="*/ 711137 w 1489995"/>
                <a:gd name="connsiteY623" fmla="*/ 221647 h 1273968"/>
                <a:gd name="connsiteX624" fmla="*/ 712375 w 1489995"/>
                <a:gd name="connsiteY624" fmla="*/ 218313 h 1273968"/>
                <a:gd name="connsiteX625" fmla="*/ 715709 w 1489995"/>
                <a:gd name="connsiteY625" fmla="*/ 219456 h 1273968"/>
                <a:gd name="connsiteX626" fmla="*/ 712089 w 1489995"/>
                <a:gd name="connsiteY626" fmla="*/ 216694 h 1273968"/>
                <a:gd name="connsiteX627" fmla="*/ 714851 w 1489995"/>
                <a:gd name="connsiteY627" fmla="*/ 213169 h 1273968"/>
                <a:gd name="connsiteX628" fmla="*/ 713137 w 1489995"/>
                <a:gd name="connsiteY628" fmla="*/ 211741 h 1273968"/>
                <a:gd name="connsiteX629" fmla="*/ 708374 w 1489995"/>
                <a:gd name="connsiteY629" fmla="*/ 212312 h 1273968"/>
                <a:gd name="connsiteX630" fmla="*/ 706564 w 1489995"/>
                <a:gd name="connsiteY630" fmla="*/ 210979 h 1273968"/>
                <a:gd name="connsiteX631" fmla="*/ 710755 w 1489995"/>
                <a:gd name="connsiteY631" fmla="*/ 205645 h 1273968"/>
                <a:gd name="connsiteX632" fmla="*/ 714280 w 1489995"/>
                <a:gd name="connsiteY632" fmla="*/ 208407 h 1273968"/>
                <a:gd name="connsiteX633" fmla="*/ 715423 w 1489995"/>
                <a:gd name="connsiteY633" fmla="*/ 205073 h 1273968"/>
                <a:gd name="connsiteX634" fmla="*/ 712089 w 1489995"/>
                <a:gd name="connsiteY634" fmla="*/ 203835 h 1273968"/>
                <a:gd name="connsiteX635" fmla="*/ 713708 w 1489995"/>
                <a:gd name="connsiteY635" fmla="*/ 203644 h 1273968"/>
                <a:gd name="connsiteX636" fmla="*/ 718185 w 1489995"/>
                <a:gd name="connsiteY636" fmla="*/ 201454 h 1273968"/>
                <a:gd name="connsiteX637" fmla="*/ 716185 w 1489995"/>
                <a:gd name="connsiteY637" fmla="*/ 185738 h 1273968"/>
                <a:gd name="connsiteX638" fmla="*/ 726853 w 1489995"/>
                <a:gd name="connsiteY638" fmla="*/ 193929 h 1273968"/>
                <a:gd name="connsiteX639" fmla="*/ 734759 w 1489995"/>
                <a:gd name="connsiteY639" fmla="*/ 192977 h 1273968"/>
                <a:gd name="connsiteX640" fmla="*/ 733806 w 1489995"/>
                <a:gd name="connsiteY640" fmla="*/ 185071 h 1273968"/>
                <a:gd name="connsiteX641" fmla="*/ 742474 w 1489995"/>
                <a:gd name="connsiteY641" fmla="*/ 190405 h 1273968"/>
                <a:gd name="connsiteX642" fmla="*/ 750570 w 1489995"/>
                <a:gd name="connsiteY642" fmla="*/ 190976 h 1273968"/>
                <a:gd name="connsiteX643" fmla="*/ 749141 w 1489995"/>
                <a:gd name="connsiteY643" fmla="*/ 179927 h 1273968"/>
                <a:gd name="connsiteX644" fmla="*/ 750284 w 1489995"/>
                <a:gd name="connsiteY644" fmla="*/ 176498 h 1273968"/>
                <a:gd name="connsiteX645" fmla="*/ 749713 w 1489995"/>
                <a:gd name="connsiteY645" fmla="*/ 171831 h 1273968"/>
                <a:gd name="connsiteX646" fmla="*/ 750856 w 1489995"/>
                <a:gd name="connsiteY646" fmla="*/ 168497 h 1273968"/>
                <a:gd name="connsiteX647" fmla="*/ 745998 w 1489995"/>
                <a:gd name="connsiteY647" fmla="*/ 167450 h 1273968"/>
                <a:gd name="connsiteX648" fmla="*/ 749141 w 1489995"/>
                <a:gd name="connsiteY648" fmla="*/ 167069 h 1273968"/>
                <a:gd name="connsiteX649" fmla="*/ 749522 w 1489995"/>
                <a:gd name="connsiteY649" fmla="*/ 157448 h 1273968"/>
                <a:gd name="connsiteX650" fmla="*/ 738759 w 1489995"/>
                <a:gd name="connsiteY650" fmla="*/ 136303 h 1273968"/>
                <a:gd name="connsiteX651" fmla="*/ 751237 w 1489995"/>
                <a:gd name="connsiteY651" fmla="*/ 133160 h 1273968"/>
                <a:gd name="connsiteX652" fmla="*/ 748189 w 1489995"/>
                <a:gd name="connsiteY652" fmla="*/ 122301 h 1273968"/>
                <a:gd name="connsiteX653" fmla="*/ 760095 w 1489995"/>
                <a:gd name="connsiteY653" fmla="*/ 127159 h 1273968"/>
                <a:gd name="connsiteX654" fmla="*/ 761619 w 1489995"/>
                <a:gd name="connsiteY654" fmla="*/ 126968 h 1273968"/>
                <a:gd name="connsiteX655" fmla="*/ 760857 w 1489995"/>
                <a:gd name="connsiteY655" fmla="*/ 133540 h 1273968"/>
                <a:gd name="connsiteX656" fmla="*/ 767429 w 1489995"/>
                <a:gd name="connsiteY656" fmla="*/ 134302 h 1273968"/>
                <a:gd name="connsiteX657" fmla="*/ 766001 w 1489995"/>
                <a:gd name="connsiteY657" fmla="*/ 136017 h 1273968"/>
                <a:gd name="connsiteX658" fmla="*/ 769810 w 1489995"/>
                <a:gd name="connsiteY658" fmla="*/ 140398 h 1273968"/>
                <a:gd name="connsiteX659" fmla="*/ 772097 w 1489995"/>
                <a:gd name="connsiteY659" fmla="*/ 133636 h 1273968"/>
                <a:gd name="connsiteX660" fmla="*/ 770382 w 1489995"/>
                <a:gd name="connsiteY660" fmla="*/ 132302 h 1273968"/>
                <a:gd name="connsiteX661" fmla="*/ 775430 w 1489995"/>
                <a:gd name="connsiteY661" fmla="*/ 122015 h 1273968"/>
                <a:gd name="connsiteX662" fmla="*/ 786479 w 1489995"/>
                <a:gd name="connsiteY662" fmla="*/ 120586 h 1273968"/>
                <a:gd name="connsiteX663" fmla="*/ 783526 w 1489995"/>
                <a:gd name="connsiteY663" fmla="*/ 122587 h 1273968"/>
                <a:gd name="connsiteX664" fmla="*/ 787337 w 1489995"/>
                <a:gd name="connsiteY664" fmla="*/ 126968 h 1273968"/>
                <a:gd name="connsiteX665" fmla="*/ 789908 w 1489995"/>
                <a:gd name="connsiteY665" fmla="*/ 134588 h 1273968"/>
                <a:gd name="connsiteX666" fmla="*/ 791623 w 1489995"/>
                <a:gd name="connsiteY666" fmla="*/ 136017 h 1273968"/>
                <a:gd name="connsiteX667" fmla="*/ 799909 w 1489995"/>
                <a:gd name="connsiteY667" fmla="*/ 138113 h 1273968"/>
                <a:gd name="connsiteX668" fmla="*/ 804672 w 1489995"/>
                <a:gd name="connsiteY668" fmla="*/ 137541 h 1273968"/>
                <a:gd name="connsiteX669" fmla="*/ 807434 w 1489995"/>
                <a:gd name="connsiteY669" fmla="*/ 134017 h 1273968"/>
                <a:gd name="connsiteX670" fmla="*/ 801910 w 1489995"/>
                <a:gd name="connsiteY670" fmla="*/ 128302 h 1273968"/>
                <a:gd name="connsiteX671" fmla="*/ 801719 w 1489995"/>
                <a:gd name="connsiteY671" fmla="*/ 126683 h 1273968"/>
                <a:gd name="connsiteX672" fmla="*/ 811339 w 1489995"/>
                <a:gd name="connsiteY672" fmla="*/ 127063 h 1273968"/>
                <a:gd name="connsiteX673" fmla="*/ 812768 w 1489995"/>
                <a:gd name="connsiteY673" fmla="*/ 125254 h 1273968"/>
                <a:gd name="connsiteX674" fmla="*/ 815340 w 1489995"/>
                <a:gd name="connsiteY674" fmla="*/ 120110 h 1273968"/>
                <a:gd name="connsiteX675" fmla="*/ 821817 w 1489995"/>
                <a:gd name="connsiteY675" fmla="*/ 120967 h 1273968"/>
                <a:gd name="connsiteX676" fmla="*/ 823436 w 1489995"/>
                <a:gd name="connsiteY676" fmla="*/ 120682 h 1273968"/>
                <a:gd name="connsiteX677" fmla="*/ 823627 w 1489995"/>
                <a:gd name="connsiteY677" fmla="*/ 122301 h 1273968"/>
                <a:gd name="connsiteX678" fmla="*/ 822198 w 1489995"/>
                <a:gd name="connsiteY678" fmla="*/ 124111 h 1273968"/>
                <a:gd name="connsiteX679" fmla="*/ 822865 w 1489995"/>
                <a:gd name="connsiteY679" fmla="*/ 128778 h 1273968"/>
                <a:gd name="connsiteX680" fmla="*/ 821436 w 1489995"/>
                <a:gd name="connsiteY680" fmla="*/ 130588 h 1273968"/>
                <a:gd name="connsiteX681" fmla="*/ 826960 w 1489995"/>
                <a:gd name="connsiteY681" fmla="*/ 136303 h 1273968"/>
                <a:gd name="connsiteX682" fmla="*/ 825246 w 1489995"/>
                <a:gd name="connsiteY682" fmla="*/ 134969 h 1273968"/>
                <a:gd name="connsiteX683" fmla="*/ 822484 w 1489995"/>
                <a:gd name="connsiteY683" fmla="*/ 138494 h 1273968"/>
                <a:gd name="connsiteX684" fmla="*/ 821436 w 1489995"/>
                <a:gd name="connsiteY684" fmla="*/ 143446 h 1273968"/>
                <a:gd name="connsiteX685" fmla="*/ 823246 w 1489995"/>
                <a:gd name="connsiteY685" fmla="*/ 144780 h 1273968"/>
                <a:gd name="connsiteX686" fmla="*/ 824675 w 1489995"/>
                <a:gd name="connsiteY686" fmla="*/ 155829 h 1273968"/>
                <a:gd name="connsiteX687" fmla="*/ 830199 w 1489995"/>
                <a:gd name="connsiteY687" fmla="*/ 161544 h 1273968"/>
                <a:gd name="connsiteX688" fmla="*/ 831818 w 1489995"/>
                <a:gd name="connsiteY688" fmla="*/ 161354 h 1273968"/>
                <a:gd name="connsiteX689" fmla="*/ 832771 w 1489995"/>
                <a:gd name="connsiteY689" fmla="*/ 156400 h 1273968"/>
                <a:gd name="connsiteX690" fmla="*/ 834771 w 1489995"/>
                <a:gd name="connsiteY690" fmla="*/ 159353 h 1273968"/>
                <a:gd name="connsiteX691" fmla="*/ 836105 w 1489995"/>
                <a:gd name="connsiteY691" fmla="*/ 157639 h 1273968"/>
                <a:gd name="connsiteX692" fmla="*/ 836295 w 1489995"/>
                <a:gd name="connsiteY692" fmla="*/ 159163 h 1273968"/>
                <a:gd name="connsiteX693" fmla="*/ 839438 w 1489995"/>
                <a:gd name="connsiteY693" fmla="*/ 158782 h 1273968"/>
                <a:gd name="connsiteX694" fmla="*/ 838105 w 1489995"/>
                <a:gd name="connsiteY694" fmla="*/ 160592 h 1273968"/>
                <a:gd name="connsiteX695" fmla="*/ 838105 w 1489995"/>
                <a:gd name="connsiteY695" fmla="*/ 160592 h 1273968"/>
                <a:gd name="connsiteX696" fmla="*/ 843248 w 1489995"/>
                <a:gd name="connsiteY696" fmla="*/ 163068 h 1273968"/>
                <a:gd name="connsiteX697" fmla="*/ 845248 w 1489995"/>
                <a:gd name="connsiteY697" fmla="*/ 166021 h 1273968"/>
                <a:gd name="connsiteX698" fmla="*/ 847915 w 1489995"/>
                <a:gd name="connsiteY698" fmla="*/ 162496 h 1273968"/>
                <a:gd name="connsiteX699" fmla="*/ 845820 w 1489995"/>
                <a:gd name="connsiteY699" fmla="*/ 157925 h 1273968"/>
                <a:gd name="connsiteX700" fmla="*/ 849916 w 1489995"/>
                <a:gd name="connsiteY700" fmla="*/ 152590 h 1273968"/>
                <a:gd name="connsiteX701" fmla="*/ 850297 w 1489995"/>
                <a:gd name="connsiteY701" fmla="*/ 155829 h 1273968"/>
                <a:gd name="connsiteX702" fmla="*/ 856869 w 1489995"/>
                <a:gd name="connsiteY702" fmla="*/ 156591 h 1273968"/>
                <a:gd name="connsiteX703" fmla="*/ 858393 w 1489995"/>
                <a:gd name="connsiteY703" fmla="*/ 156400 h 1273968"/>
                <a:gd name="connsiteX704" fmla="*/ 859155 w 1489995"/>
                <a:gd name="connsiteY704" fmla="*/ 149828 h 1273968"/>
                <a:gd name="connsiteX705" fmla="*/ 864108 w 1489995"/>
                <a:gd name="connsiteY705" fmla="*/ 150781 h 1273968"/>
                <a:gd name="connsiteX706" fmla="*/ 866299 w 1489995"/>
                <a:gd name="connsiteY706" fmla="*/ 155353 h 1273968"/>
                <a:gd name="connsiteX707" fmla="*/ 871252 w 1489995"/>
                <a:gd name="connsiteY707" fmla="*/ 156305 h 1273968"/>
                <a:gd name="connsiteX708" fmla="*/ 870585 w 1489995"/>
                <a:gd name="connsiteY708" fmla="*/ 151638 h 1273968"/>
                <a:gd name="connsiteX709" fmla="*/ 872014 w 1489995"/>
                <a:gd name="connsiteY709" fmla="*/ 149828 h 1273968"/>
                <a:gd name="connsiteX710" fmla="*/ 883444 w 1489995"/>
                <a:gd name="connsiteY710" fmla="*/ 151543 h 1273968"/>
                <a:gd name="connsiteX711" fmla="*/ 889730 w 1489995"/>
                <a:gd name="connsiteY711" fmla="*/ 150781 h 1273968"/>
                <a:gd name="connsiteX712" fmla="*/ 889540 w 1489995"/>
                <a:gd name="connsiteY712" fmla="*/ 149161 h 1273968"/>
                <a:gd name="connsiteX713" fmla="*/ 900017 w 1489995"/>
                <a:gd name="connsiteY713" fmla="*/ 155829 h 1273968"/>
                <a:gd name="connsiteX714" fmla="*/ 900017 w 1489995"/>
                <a:gd name="connsiteY714" fmla="*/ 155829 h 1273968"/>
                <a:gd name="connsiteX715" fmla="*/ 900779 w 1489995"/>
                <a:gd name="connsiteY715" fmla="*/ 155543 h 1273968"/>
                <a:gd name="connsiteX716" fmla="*/ 901446 w 1489995"/>
                <a:gd name="connsiteY716" fmla="*/ 154115 h 1273968"/>
                <a:gd name="connsiteX717" fmla="*/ 898398 w 1489995"/>
                <a:gd name="connsiteY717" fmla="*/ 143256 h 1273968"/>
                <a:gd name="connsiteX718" fmla="*/ 904494 w 1489995"/>
                <a:gd name="connsiteY718" fmla="*/ 140875 h 1273968"/>
                <a:gd name="connsiteX719" fmla="*/ 904304 w 1489995"/>
                <a:gd name="connsiteY719" fmla="*/ 139256 h 1273968"/>
                <a:gd name="connsiteX720" fmla="*/ 914019 w 1489995"/>
                <a:gd name="connsiteY720" fmla="*/ 139636 h 1273968"/>
                <a:gd name="connsiteX721" fmla="*/ 916781 w 1489995"/>
                <a:gd name="connsiteY721" fmla="*/ 136112 h 1273968"/>
                <a:gd name="connsiteX722" fmla="*/ 920115 w 1489995"/>
                <a:gd name="connsiteY722" fmla="*/ 137255 h 1273968"/>
                <a:gd name="connsiteX723" fmla="*/ 923830 w 1489995"/>
                <a:gd name="connsiteY723" fmla="*/ 115919 h 1273968"/>
                <a:gd name="connsiteX724" fmla="*/ 923449 w 1489995"/>
                <a:gd name="connsiteY724" fmla="*/ 112776 h 1273968"/>
                <a:gd name="connsiteX725" fmla="*/ 943165 w 1489995"/>
                <a:gd name="connsiteY725" fmla="*/ 116681 h 1273968"/>
                <a:gd name="connsiteX726" fmla="*/ 944309 w 1489995"/>
                <a:gd name="connsiteY726" fmla="*/ 113348 h 1273968"/>
                <a:gd name="connsiteX727" fmla="*/ 946309 w 1489995"/>
                <a:gd name="connsiteY727" fmla="*/ 103442 h 1273968"/>
                <a:gd name="connsiteX728" fmla="*/ 940308 w 1489995"/>
                <a:gd name="connsiteY728" fmla="*/ 81820 h 1273968"/>
                <a:gd name="connsiteX729" fmla="*/ 940498 w 1489995"/>
                <a:gd name="connsiteY729" fmla="*/ 70485 h 1273968"/>
                <a:gd name="connsiteX730" fmla="*/ 975074 w 1489995"/>
                <a:gd name="connsiteY730" fmla="*/ 77343 h 1273968"/>
                <a:gd name="connsiteX731" fmla="*/ 994410 w 1489995"/>
                <a:gd name="connsiteY731" fmla="*/ 90869 h 1273968"/>
                <a:gd name="connsiteX732" fmla="*/ 1008602 w 1489995"/>
                <a:gd name="connsiteY732" fmla="*/ 76295 h 1273968"/>
                <a:gd name="connsiteX733" fmla="*/ 1011746 w 1489995"/>
                <a:gd name="connsiteY733" fmla="*/ 75914 h 1273968"/>
                <a:gd name="connsiteX734" fmla="*/ 1014508 w 1489995"/>
                <a:gd name="connsiteY734" fmla="*/ 72295 h 1273968"/>
                <a:gd name="connsiteX735" fmla="*/ 1015651 w 1489995"/>
                <a:gd name="connsiteY735" fmla="*/ 68961 h 1273968"/>
                <a:gd name="connsiteX736" fmla="*/ 1013651 w 1489995"/>
                <a:gd name="connsiteY736" fmla="*/ 66008 h 1273968"/>
                <a:gd name="connsiteX737" fmla="*/ 1008317 w 1489995"/>
                <a:gd name="connsiteY737" fmla="*/ 61913 h 1273968"/>
                <a:gd name="connsiteX738" fmla="*/ 1009269 w 1489995"/>
                <a:gd name="connsiteY738" fmla="*/ 56959 h 1273968"/>
                <a:gd name="connsiteX739" fmla="*/ 1007364 w 1489995"/>
                <a:gd name="connsiteY739" fmla="*/ 54007 h 1273968"/>
                <a:gd name="connsiteX740" fmla="*/ 1019747 w 1489995"/>
                <a:gd name="connsiteY740" fmla="*/ 50768 h 1273968"/>
                <a:gd name="connsiteX741" fmla="*/ 1019556 w 1489995"/>
                <a:gd name="connsiteY741" fmla="*/ 49244 h 1273968"/>
                <a:gd name="connsiteX742" fmla="*/ 1027081 w 1489995"/>
                <a:gd name="connsiteY742" fmla="*/ 45053 h 1273968"/>
                <a:gd name="connsiteX743" fmla="*/ 1031748 w 1489995"/>
                <a:gd name="connsiteY743" fmla="*/ 44482 h 1273968"/>
                <a:gd name="connsiteX744" fmla="*/ 1034891 w 1489995"/>
                <a:gd name="connsiteY744" fmla="*/ 44005 h 1273968"/>
                <a:gd name="connsiteX745" fmla="*/ 1037654 w 1489995"/>
                <a:gd name="connsiteY745" fmla="*/ 40481 h 1273968"/>
                <a:gd name="connsiteX746" fmla="*/ 1038320 w 1489995"/>
                <a:gd name="connsiteY746" fmla="*/ 45244 h 1273968"/>
                <a:gd name="connsiteX747" fmla="*/ 1044035 w 1489995"/>
                <a:gd name="connsiteY747" fmla="*/ 39719 h 1273968"/>
                <a:gd name="connsiteX748" fmla="*/ 1050131 w 1489995"/>
                <a:gd name="connsiteY748" fmla="*/ 37338 h 1273968"/>
                <a:gd name="connsiteX749" fmla="*/ 1045750 w 1489995"/>
                <a:gd name="connsiteY749" fmla="*/ 28289 h 1273968"/>
                <a:gd name="connsiteX750" fmla="*/ 1047369 w 1489995"/>
                <a:gd name="connsiteY750" fmla="*/ 28003 h 1273968"/>
                <a:gd name="connsiteX751" fmla="*/ 1042988 w 1489995"/>
                <a:gd name="connsiteY751" fmla="*/ 18955 h 1273968"/>
                <a:gd name="connsiteX752" fmla="*/ 1039844 w 1489995"/>
                <a:gd name="connsiteY752" fmla="*/ 19336 h 1273968"/>
                <a:gd name="connsiteX753" fmla="*/ 1045940 w 1489995"/>
                <a:gd name="connsiteY753" fmla="*/ 16954 h 1273968"/>
                <a:gd name="connsiteX754" fmla="*/ 1047274 w 1489995"/>
                <a:gd name="connsiteY754" fmla="*/ 15240 h 1273968"/>
                <a:gd name="connsiteX755" fmla="*/ 1050608 w 1489995"/>
                <a:gd name="connsiteY755" fmla="*/ 16383 h 1273968"/>
                <a:gd name="connsiteX756" fmla="*/ 1050417 w 1489995"/>
                <a:gd name="connsiteY756" fmla="*/ 14859 h 1273968"/>
                <a:gd name="connsiteX757" fmla="*/ 1053656 w 1489995"/>
                <a:gd name="connsiteY757" fmla="*/ 14383 h 1273968"/>
                <a:gd name="connsiteX758" fmla="*/ 1055370 w 1489995"/>
                <a:gd name="connsiteY758" fmla="*/ 15811 h 1273968"/>
                <a:gd name="connsiteX759" fmla="*/ 1048798 w 1489995"/>
                <a:gd name="connsiteY759" fmla="*/ 2191 h 1273968"/>
                <a:gd name="connsiteX760" fmla="*/ 1053370 w 1489995"/>
                <a:gd name="connsiteY760" fmla="*/ 0 h 1273968"/>
                <a:gd name="connsiteX761" fmla="*/ 1066419 w 1489995"/>
                <a:gd name="connsiteY761" fmla="*/ 1524 h 1273968"/>
                <a:gd name="connsiteX762" fmla="*/ 1064990 w 1489995"/>
                <a:gd name="connsiteY762" fmla="*/ 3334 h 1273968"/>
                <a:gd name="connsiteX763" fmla="*/ 1067372 w 1489995"/>
                <a:gd name="connsiteY763" fmla="*/ 9430 h 1273968"/>
                <a:gd name="connsiteX764" fmla="*/ 1064419 w 1489995"/>
                <a:gd name="connsiteY764" fmla="*/ 11430 h 1273968"/>
                <a:gd name="connsiteX765" fmla="*/ 1066419 w 1489995"/>
                <a:gd name="connsiteY765" fmla="*/ 14383 h 1273968"/>
                <a:gd name="connsiteX766" fmla="*/ 1069562 w 1489995"/>
                <a:gd name="connsiteY766" fmla="*/ 14002 h 1273968"/>
                <a:gd name="connsiteX767" fmla="*/ 1073182 w 1489995"/>
                <a:gd name="connsiteY767" fmla="*/ 16764 h 1273968"/>
                <a:gd name="connsiteX768" fmla="*/ 1072706 w 1489995"/>
                <a:gd name="connsiteY768" fmla="*/ 13621 h 1273968"/>
                <a:gd name="connsiteX769" fmla="*/ 1077659 w 1489995"/>
                <a:gd name="connsiteY769" fmla="*/ 14573 h 1273968"/>
                <a:gd name="connsiteX770" fmla="*/ 1082040 w 1489995"/>
                <a:gd name="connsiteY770" fmla="*/ 23622 h 1273968"/>
                <a:gd name="connsiteX771" fmla="*/ 1077277 w 1489995"/>
                <a:gd name="connsiteY771" fmla="*/ 24194 h 1273968"/>
                <a:gd name="connsiteX772" fmla="*/ 1080706 w 1489995"/>
                <a:gd name="connsiteY772" fmla="*/ 25432 h 1273968"/>
                <a:gd name="connsiteX773" fmla="*/ 1082612 w 1489995"/>
                <a:gd name="connsiteY773" fmla="*/ 28384 h 1273968"/>
                <a:gd name="connsiteX774" fmla="*/ 1087374 w 1489995"/>
                <a:gd name="connsiteY774" fmla="*/ 27718 h 1273968"/>
                <a:gd name="connsiteX775" fmla="*/ 1090898 w 1489995"/>
                <a:gd name="connsiteY775" fmla="*/ 30480 h 1273968"/>
                <a:gd name="connsiteX776" fmla="*/ 1090136 w 1489995"/>
                <a:gd name="connsiteY776" fmla="*/ 24194 h 1273968"/>
                <a:gd name="connsiteX777" fmla="*/ 1094899 w 1489995"/>
                <a:gd name="connsiteY777" fmla="*/ 23622 h 1273968"/>
                <a:gd name="connsiteX778" fmla="*/ 1095661 w 1489995"/>
                <a:gd name="connsiteY778" fmla="*/ 17050 h 1273968"/>
                <a:gd name="connsiteX779" fmla="*/ 1096994 w 1489995"/>
                <a:gd name="connsiteY779" fmla="*/ 15335 h 1273968"/>
                <a:gd name="connsiteX780" fmla="*/ 1100423 w 1489995"/>
                <a:gd name="connsiteY780" fmla="*/ 16478 h 1273968"/>
                <a:gd name="connsiteX781" fmla="*/ 1097471 w 1489995"/>
                <a:gd name="connsiteY781" fmla="*/ 18478 h 1273968"/>
                <a:gd name="connsiteX782" fmla="*/ 1099185 w 1489995"/>
                <a:gd name="connsiteY782" fmla="*/ 19812 h 1273968"/>
                <a:gd name="connsiteX783" fmla="*/ 1102328 w 1489995"/>
                <a:gd name="connsiteY783" fmla="*/ 19431 h 1273968"/>
                <a:gd name="connsiteX784" fmla="*/ 1104329 w 1489995"/>
                <a:gd name="connsiteY784" fmla="*/ 22384 h 1273968"/>
                <a:gd name="connsiteX785" fmla="*/ 1109091 w 1489995"/>
                <a:gd name="connsiteY785" fmla="*/ 21812 h 1273968"/>
                <a:gd name="connsiteX786" fmla="*/ 1112234 w 1489995"/>
                <a:gd name="connsiteY786" fmla="*/ 21336 h 1273968"/>
                <a:gd name="connsiteX787" fmla="*/ 1118140 w 1489995"/>
                <a:gd name="connsiteY787" fmla="*/ 17431 h 1273968"/>
                <a:gd name="connsiteX788" fmla="*/ 1118521 w 1489995"/>
                <a:gd name="connsiteY788" fmla="*/ 20574 h 1273968"/>
                <a:gd name="connsiteX789" fmla="*/ 1117378 w 1489995"/>
                <a:gd name="connsiteY789" fmla="*/ 23908 h 1273968"/>
                <a:gd name="connsiteX790" fmla="*/ 1119188 w 1489995"/>
                <a:gd name="connsiteY790" fmla="*/ 25336 h 1273968"/>
                <a:gd name="connsiteX791" fmla="*/ 1125664 w 1489995"/>
                <a:gd name="connsiteY791" fmla="*/ 38862 h 1273968"/>
                <a:gd name="connsiteX792" fmla="*/ 1127284 w 1489995"/>
                <a:gd name="connsiteY792" fmla="*/ 38672 h 1273968"/>
                <a:gd name="connsiteX793" fmla="*/ 1128808 w 1489995"/>
                <a:gd name="connsiteY793" fmla="*/ 38481 h 1273968"/>
                <a:gd name="connsiteX794" fmla="*/ 1133951 w 1489995"/>
                <a:gd name="connsiteY794" fmla="*/ 41053 h 1273968"/>
                <a:gd name="connsiteX795" fmla="*/ 1134809 w 1489995"/>
                <a:gd name="connsiteY795" fmla="*/ 47339 h 1273968"/>
                <a:gd name="connsiteX796" fmla="*/ 1136142 w 1489995"/>
                <a:gd name="connsiteY796" fmla="*/ 45625 h 1273968"/>
                <a:gd name="connsiteX797" fmla="*/ 1139285 w 1489995"/>
                <a:gd name="connsiteY797" fmla="*/ 45148 h 1273968"/>
                <a:gd name="connsiteX798" fmla="*/ 1139476 w 1489995"/>
                <a:gd name="connsiteY798" fmla="*/ 46768 h 1273968"/>
                <a:gd name="connsiteX799" fmla="*/ 1138523 w 1489995"/>
                <a:gd name="connsiteY799" fmla="*/ 51721 h 1273968"/>
                <a:gd name="connsiteX800" fmla="*/ 1142333 w 1489995"/>
                <a:gd name="connsiteY800" fmla="*/ 56007 h 1273968"/>
                <a:gd name="connsiteX801" fmla="*/ 1141285 w 1489995"/>
                <a:gd name="connsiteY801" fmla="*/ 60960 h 1273968"/>
                <a:gd name="connsiteX802" fmla="*/ 1145667 w 1489995"/>
                <a:gd name="connsiteY802" fmla="*/ 57245 h 1273968"/>
                <a:gd name="connsiteX803" fmla="*/ 1147477 w 1489995"/>
                <a:gd name="connsiteY803" fmla="*/ 58579 h 1273968"/>
                <a:gd name="connsiteX804" fmla="*/ 1151954 w 1489995"/>
                <a:gd name="connsiteY804" fmla="*/ 56388 h 1273968"/>
                <a:gd name="connsiteX805" fmla="*/ 1156716 w 1489995"/>
                <a:gd name="connsiteY805" fmla="*/ 55817 h 1273968"/>
                <a:gd name="connsiteX806" fmla="*/ 1156716 w 1489995"/>
                <a:gd name="connsiteY806" fmla="*/ 55817 h 1273968"/>
                <a:gd name="connsiteX807" fmla="*/ 1160907 w 1489995"/>
                <a:gd name="connsiteY807" fmla="*/ 63246 h 1273968"/>
                <a:gd name="connsiteX808" fmla="*/ 1166051 w 1489995"/>
                <a:gd name="connsiteY808" fmla="*/ 65818 h 1273968"/>
                <a:gd name="connsiteX809" fmla="*/ 1164812 w 1489995"/>
                <a:gd name="connsiteY809" fmla="*/ 69247 h 1273968"/>
                <a:gd name="connsiteX810" fmla="*/ 1169575 w 1489995"/>
                <a:gd name="connsiteY810" fmla="*/ 68580 h 1273968"/>
                <a:gd name="connsiteX811" fmla="*/ 1178433 w 1489995"/>
                <a:gd name="connsiteY811" fmla="*/ 75438 h 1273968"/>
                <a:gd name="connsiteX812" fmla="*/ 1175671 w 1489995"/>
                <a:gd name="connsiteY812" fmla="*/ 79057 h 1273968"/>
                <a:gd name="connsiteX813" fmla="*/ 1175861 w 1489995"/>
                <a:gd name="connsiteY813" fmla="*/ 80581 h 1273968"/>
                <a:gd name="connsiteX814" fmla="*/ 1178909 w 1489995"/>
                <a:gd name="connsiteY814" fmla="*/ 78676 h 1273968"/>
                <a:gd name="connsiteX815" fmla="*/ 1177862 w 1489995"/>
                <a:gd name="connsiteY815" fmla="*/ 83534 h 1273968"/>
                <a:gd name="connsiteX816" fmla="*/ 1181290 w 1489995"/>
                <a:gd name="connsiteY816" fmla="*/ 97536 h 1273968"/>
                <a:gd name="connsiteX817" fmla="*/ 1183100 w 1489995"/>
                <a:gd name="connsiteY817" fmla="*/ 98965 h 1273968"/>
                <a:gd name="connsiteX818" fmla="*/ 1185005 w 1489995"/>
                <a:gd name="connsiteY818" fmla="*/ 101917 h 1273968"/>
                <a:gd name="connsiteX819" fmla="*/ 1192721 w 1489995"/>
                <a:gd name="connsiteY819" fmla="*/ 99346 h 1273968"/>
                <a:gd name="connsiteX820" fmla="*/ 1193102 w 1489995"/>
                <a:gd name="connsiteY820" fmla="*/ 102489 h 1273968"/>
                <a:gd name="connsiteX821" fmla="*/ 1194721 w 1489995"/>
                <a:gd name="connsiteY821" fmla="*/ 102298 h 1273968"/>
                <a:gd name="connsiteX822" fmla="*/ 1194911 w 1489995"/>
                <a:gd name="connsiteY822" fmla="*/ 103823 h 1273968"/>
                <a:gd name="connsiteX823" fmla="*/ 1199483 w 1489995"/>
                <a:gd name="connsiteY823" fmla="*/ 101727 h 1273968"/>
                <a:gd name="connsiteX824" fmla="*/ 1204341 w 1489995"/>
                <a:gd name="connsiteY824" fmla="*/ 102679 h 1273968"/>
                <a:gd name="connsiteX825" fmla="*/ 1209675 w 1489995"/>
                <a:gd name="connsiteY825" fmla="*/ 106775 h 1273968"/>
                <a:gd name="connsiteX826" fmla="*/ 1208342 w 1489995"/>
                <a:gd name="connsiteY826" fmla="*/ 108585 h 1273968"/>
                <a:gd name="connsiteX827" fmla="*/ 1209961 w 1489995"/>
                <a:gd name="connsiteY827" fmla="*/ 108394 h 1273968"/>
                <a:gd name="connsiteX828" fmla="*/ 1210342 w 1489995"/>
                <a:gd name="connsiteY828" fmla="*/ 111538 h 1273968"/>
                <a:gd name="connsiteX829" fmla="*/ 1213485 w 1489995"/>
                <a:gd name="connsiteY829" fmla="*/ 111157 h 1273968"/>
                <a:gd name="connsiteX830" fmla="*/ 1212342 w 1489995"/>
                <a:gd name="connsiteY830" fmla="*/ 114490 h 1273968"/>
                <a:gd name="connsiteX831" fmla="*/ 1210723 w 1489995"/>
                <a:gd name="connsiteY831" fmla="*/ 114681 h 1273968"/>
                <a:gd name="connsiteX832" fmla="*/ 1211104 w 1489995"/>
                <a:gd name="connsiteY832" fmla="*/ 117824 h 1273968"/>
                <a:gd name="connsiteX833" fmla="*/ 1209580 w 1489995"/>
                <a:gd name="connsiteY833" fmla="*/ 118015 h 1273968"/>
                <a:gd name="connsiteX834" fmla="*/ 1210151 w 1489995"/>
                <a:gd name="connsiteY834" fmla="*/ 122777 h 1273968"/>
                <a:gd name="connsiteX835" fmla="*/ 1203674 w 1489995"/>
                <a:gd name="connsiteY835" fmla="*/ 122015 h 1273968"/>
                <a:gd name="connsiteX836" fmla="*/ 1204055 w 1489995"/>
                <a:gd name="connsiteY836" fmla="*/ 125158 h 1273968"/>
                <a:gd name="connsiteX837" fmla="*/ 1196150 w 1489995"/>
                <a:gd name="connsiteY837" fmla="*/ 126111 h 1273968"/>
                <a:gd name="connsiteX838" fmla="*/ 1191768 w 1489995"/>
                <a:gd name="connsiteY838" fmla="*/ 129921 h 1273968"/>
                <a:gd name="connsiteX839" fmla="*/ 1192816 w 1489995"/>
                <a:gd name="connsiteY839" fmla="*/ 137827 h 1273968"/>
                <a:gd name="connsiteX840" fmla="*/ 1194816 w 1489995"/>
                <a:gd name="connsiteY840" fmla="*/ 140779 h 1273968"/>
                <a:gd name="connsiteX841" fmla="*/ 1198150 w 1489995"/>
                <a:gd name="connsiteY841" fmla="*/ 141923 h 1273968"/>
                <a:gd name="connsiteX842" fmla="*/ 1205675 w 1489995"/>
                <a:gd name="connsiteY842" fmla="*/ 150590 h 1273968"/>
                <a:gd name="connsiteX843" fmla="*/ 1206246 w 1489995"/>
                <a:gd name="connsiteY843" fmla="*/ 155353 h 1273968"/>
                <a:gd name="connsiteX844" fmla="*/ 1205103 w 1489995"/>
                <a:gd name="connsiteY844" fmla="*/ 158686 h 1273968"/>
                <a:gd name="connsiteX845" fmla="*/ 1203769 w 1489995"/>
                <a:gd name="connsiteY845" fmla="*/ 160496 h 1273968"/>
                <a:gd name="connsiteX846" fmla="*/ 1207103 w 1489995"/>
                <a:gd name="connsiteY846" fmla="*/ 161639 h 1273968"/>
                <a:gd name="connsiteX847" fmla="*/ 1212437 w 1489995"/>
                <a:gd name="connsiteY847" fmla="*/ 165735 h 1273968"/>
                <a:gd name="connsiteX848" fmla="*/ 1211009 w 1489995"/>
                <a:gd name="connsiteY848" fmla="*/ 167545 h 1273968"/>
                <a:gd name="connsiteX849" fmla="*/ 1211485 w 1489995"/>
                <a:gd name="connsiteY849" fmla="*/ 170688 h 1273968"/>
                <a:gd name="connsiteX850" fmla="*/ 1208056 w 1489995"/>
                <a:gd name="connsiteY850" fmla="*/ 169545 h 1273968"/>
                <a:gd name="connsiteX851" fmla="*/ 1206722 w 1489995"/>
                <a:gd name="connsiteY851" fmla="*/ 171355 h 1273968"/>
                <a:gd name="connsiteX852" fmla="*/ 1208246 w 1489995"/>
                <a:gd name="connsiteY852" fmla="*/ 171069 h 1273968"/>
                <a:gd name="connsiteX853" fmla="*/ 1208723 w 1489995"/>
                <a:gd name="connsiteY853" fmla="*/ 174308 h 1273968"/>
                <a:gd name="connsiteX854" fmla="*/ 1207484 w 1489995"/>
                <a:gd name="connsiteY854" fmla="*/ 177641 h 1273968"/>
                <a:gd name="connsiteX855" fmla="*/ 1209104 w 1489995"/>
                <a:gd name="connsiteY855" fmla="*/ 177451 h 1273968"/>
                <a:gd name="connsiteX856" fmla="*/ 1208342 w 1489995"/>
                <a:gd name="connsiteY856" fmla="*/ 183928 h 1273968"/>
                <a:gd name="connsiteX857" fmla="*/ 1206722 w 1489995"/>
                <a:gd name="connsiteY857" fmla="*/ 184118 h 1273968"/>
                <a:gd name="connsiteX858" fmla="*/ 1207389 w 1489995"/>
                <a:gd name="connsiteY858" fmla="*/ 188881 h 1273968"/>
                <a:gd name="connsiteX859" fmla="*/ 1203008 w 1489995"/>
                <a:gd name="connsiteY859" fmla="*/ 192596 h 1273968"/>
                <a:gd name="connsiteX860" fmla="*/ 1205389 w 1489995"/>
                <a:gd name="connsiteY860" fmla="*/ 198787 h 1273968"/>
                <a:gd name="connsiteX861" fmla="*/ 1209961 w 1489995"/>
                <a:gd name="connsiteY861" fmla="*/ 196596 h 1273968"/>
                <a:gd name="connsiteX862" fmla="*/ 1210342 w 1489995"/>
                <a:gd name="connsiteY862" fmla="*/ 199739 h 1273968"/>
                <a:gd name="connsiteX863" fmla="*/ 1213294 w 1489995"/>
                <a:gd name="connsiteY863" fmla="*/ 197739 h 1273968"/>
                <a:gd name="connsiteX864" fmla="*/ 1215104 w 1489995"/>
                <a:gd name="connsiteY864" fmla="*/ 199073 h 1273968"/>
                <a:gd name="connsiteX865" fmla="*/ 1221010 w 1489995"/>
                <a:gd name="connsiteY865" fmla="*/ 208026 h 1273968"/>
                <a:gd name="connsiteX866" fmla="*/ 1221391 w 1489995"/>
                <a:gd name="connsiteY866" fmla="*/ 211169 h 1273968"/>
                <a:gd name="connsiteX867" fmla="*/ 1216628 w 1489995"/>
                <a:gd name="connsiteY867" fmla="*/ 211741 h 1273968"/>
                <a:gd name="connsiteX868" fmla="*/ 1217295 w 1489995"/>
                <a:gd name="connsiteY868" fmla="*/ 216503 h 1273968"/>
                <a:gd name="connsiteX869" fmla="*/ 1220629 w 1489995"/>
                <a:gd name="connsiteY869" fmla="*/ 217646 h 1273968"/>
                <a:gd name="connsiteX870" fmla="*/ 1219486 w 1489995"/>
                <a:gd name="connsiteY870" fmla="*/ 220980 h 1273968"/>
                <a:gd name="connsiteX871" fmla="*/ 1226153 w 1489995"/>
                <a:gd name="connsiteY871" fmla="*/ 223361 h 1273968"/>
                <a:gd name="connsiteX872" fmla="*/ 1220914 w 1489995"/>
                <a:gd name="connsiteY872" fmla="*/ 244888 h 1273968"/>
                <a:gd name="connsiteX873" fmla="*/ 1219105 w 1489995"/>
                <a:gd name="connsiteY873" fmla="*/ 243459 h 1273968"/>
                <a:gd name="connsiteX874" fmla="*/ 1217962 w 1489995"/>
                <a:gd name="connsiteY874" fmla="*/ 246888 h 1273968"/>
                <a:gd name="connsiteX875" fmla="*/ 1215962 w 1489995"/>
                <a:gd name="connsiteY875" fmla="*/ 243935 h 1273968"/>
                <a:gd name="connsiteX876" fmla="*/ 1214818 w 1489995"/>
                <a:gd name="connsiteY876" fmla="*/ 247269 h 1273968"/>
                <a:gd name="connsiteX877" fmla="*/ 1208437 w 1489995"/>
                <a:gd name="connsiteY877" fmla="*/ 248031 h 1273968"/>
                <a:gd name="connsiteX878" fmla="*/ 1209294 w 1489995"/>
                <a:gd name="connsiteY878" fmla="*/ 254413 h 1273968"/>
                <a:gd name="connsiteX879" fmla="*/ 1210818 w 1489995"/>
                <a:gd name="connsiteY879" fmla="*/ 254222 h 1273968"/>
                <a:gd name="connsiteX880" fmla="*/ 1211294 w 1489995"/>
                <a:gd name="connsiteY880" fmla="*/ 257365 h 1273968"/>
                <a:gd name="connsiteX881" fmla="*/ 1208342 w 1489995"/>
                <a:gd name="connsiteY881" fmla="*/ 259271 h 1273968"/>
                <a:gd name="connsiteX882" fmla="*/ 1213676 w 1489995"/>
                <a:gd name="connsiteY882" fmla="*/ 263461 h 1273968"/>
                <a:gd name="connsiteX883" fmla="*/ 1212437 w 1489995"/>
                <a:gd name="connsiteY883" fmla="*/ 266795 h 1273968"/>
                <a:gd name="connsiteX884" fmla="*/ 1209294 w 1489995"/>
                <a:gd name="connsiteY884" fmla="*/ 267176 h 1273968"/>
                <a:gd name="connsiteX885" fmla="*/ 1207960 w 1489995"/>
                <a:gd name="connsiteY885" fmla="*/ 268986 h 1273968"/>
                <a:gd name="connsiteX886" fmla="*/ 1206341 w 1489995"/>
                <a:gd name="connsiteY886" fmla="*/ 269177 h 1273968"/>
                <a:gd name="connsiteX887" fmla="*/ 1207770 w 1489995"/>
                <a:gd name="connsiteY887" fmla="*/ 267367 h 1273968"/>
                <a:gd name="connsiteX888" fmla="*/ 1205960 w 1489995"/>
                <a:gd name="connsiteY888" fmla="*/ 266033 h 1273968"/>
                <a:gd name="connsiteX889" fmla="*/ 1204531 w 1489995"/>
                <a:gd name="connsiteY889" fmla="*/ 267843 h 1273968"/>
                <a:gd name="connsiteX890" fmla="*/ 1201198 w 1489995"/>
                <a:gd name="connsiteY890" fmla="*/ 266605 h 1273968"/>
                <a:gd name="connsiteX891" fmla="*/ 1199864 w 1489995"/>
                <a:gd name="connsiteY891" fmla="*/ 268415 h 1273968"/>
                <a:gd name="connsiteX892" fmla="*/ 1196245 w 1489995"/>
                <a:gd name="connsiteY892" fmla="*/ 265652 h 1273968"/>
                <a:gd name="connsiteX893" fmla="*/ 1193768 w 1489995"/>
                <a:gd name="connsiteY893" fmla="*/ 270796 h 1273968"/>
                <a:gd name="connsiteX894" fmla="*/ 1186815 w 1489995"/>
                <a:gd name="connsiteY894" fmla="*/ 279654 h 1273968"/>
                <a:gd name="connsiteX895" fmla="*/ 1192339 w 1489995"/>
                <a:gd name="connsiteY895" fmla="*/ 285369 h 1273968"/>
                <a:gd name="connsiteX896" fmla="*/ 1196340 w 1489995"/>
                <a:gd name="connsiteY896" fmla="*/ 291275 h 1273968"/>
                <a:gd name="connsiteX897" fmla="*/ 1199483 w 1489995"/>
                <a:gd name="connsiteY897" fmla="*/ 290894 h 1273968"/>
                <a:gd name="connsiteX898" fmla="*/ 1204817 w 1489995"/>
                <a:gd name="connsiteY898" fmla="*/ 295085 h 1273968"/>
                <a:gd name="connsiteX899" fmla="*/ 1203293 w 1489995"/>
                <a:gd name="connsiteY899" fmla="*/ 295275 h 1273968"/>
                <a:gd name="connsiteX900" fmla="*/ 1199102 w 1489995"/>
                <a:gd name="connsiteY900" fmla="*/ 300609 h 1273968"/>
                <a:gd name="connsiteX901" fmla="*/ 1201864 w 1489995"/>
                <a:gd name="connsiteY901" fmla="*/ 309848 h 1273968"/>
                <a:gd name="connsiteX902" fmla="*/ 1204055 w 1489995"/>
                <a:gd name="connsiteY902" fmla="*/ 314420 h 1273968"/>
                <a:gd name="connsiteX903" fmla="*/ 1207675 w 1489995"/>
                <a:gd name="connsiteY903" fmla="*/ 317087 h 1273968"/>
                <a:gd name="connsiteX904" fmla="*/ 1214533 w 1489995"/>
                <a:gd name="connsiteY904" fmla="*/ 321088 h 1273968"/>
                <a:gd name="connsiteX905" fmla="*/ 1221296 w 1489995"/>
                <a:gd name="connsiteY905" fmla="*/ 323374 h 1273968"/>
                <a:gd name="connsiteX906" fmla="*/ 1224248 w 1489995"/>
                <a:gd name="connsiteY906" fmla="*/ 321469 h 1273968"/>
                <a:gd name="connsiteX907" fmla="*/ 1229582 w 1489995"/>
                <a:gd name="connsiteY907" fmla="*/ 312706 h 1273968"/>
                <a:gd name="connsiteX908" fmla="*/ 1233488 w 1489995"/>
                <a:gd name="connsiteY908" fmla="*/ 318611 h 1273968"/>
                <a:gd name="connsiteX909" fmla="*/ 1241965 w 1489995"/>
                <a:gd name="connsiteY909" fmla="*/ 322326 h 1273968"/>
                <a:gd name="connsiteX910" fmla="*/ 1245394 w 1489995"/>
                <a:gd name="connsiteY910" fmla="*/ 323564 h 1273968"/>
                <a:gd name="connsiteX911" fmla="*/ 1243965 w 1489995"/>
                <a:gd name="connsiteY911" fmla="*/ 325374 h 1273968"/>
                <a:gd name="connsiteX912" fmla="*/ 1242631 w 1489995"/>
                <a:gd name="connsiteY912" fmla="*/ 327088 h 1273968"/>
                <a:gd name="connsiteX913" fmla="*/ 1241012 w 1489995"/>
                <a:gd name="connsiteY913" fmla="*/ 327279 h 1273968"/>
                <a:gd name="connsiteX914" fmla="*/ 1240441 w 1489995"/>
                <a:gd name="connsiteY914" fmla="*/ 335375 h 1273968"/>
                <a:gd name="connsiteX915" fmla="*/ 1243775 w 1489995"/>
                <a:gd name="connsiteY915" fmla="*/ 336613 h 1273968"/>
                <a:gd name="connsiteX916" fmla="*/ 1247965 w 1489995"/>
                <a:gd name="connsiteY916" fmla="*/ 331280 h 1273968"/>
                <a:gd name="connsiteX917" fmla="*/ 1249680 w 1489995"/>
                <a:gd name="connsiteY917" fmla="*/ 332613 h 1273968"/>
                <a:gd name="connsiteX918" fmla="*/ 1249871 w 1489995"/>
                <a:gd name="connsiteY918" fmla="*/ 334232 h 1273968"/>
                <a:gd name="connsiteX919" fmla="*/ 1253871 w 1489995"/>
                <a:gd name="connsiteY919" fmla="*/ 340138 h 1273968"/>
                <a:gd name="connsiteX920" fmla="*/ 1255490 w 1489995"/>
                <a:gd name="connsiteY920" fmla="*/ 339947 h 1273968"/>
                <a:gd name="connsiteX921" fmla="*/ 1257395 w 1489995"/>
                <a:gd name="connsiteY921" fmla="*/ 342900 h 1273968"/>
                <a:gd name="connsiteX922" fmla="*/ 1260634 w 1489995"/>
                <a:gd name="connsiteY922" fmla="*/ 342424 h 1273968"/>
                <a:gd name="connsiteX923" fmla="*/ 1264348 w 1489995"/>
                <a:gd name="connsiteY923" fmla="*/ 346805 h 1273968"/>
                <a:gd name="connsiteX924" fmla="*/ 1264920 w 1489995"/>
                <a:gd name="connsiteY924" fmla="*/ 351568 h 1273968"/>
                <a:gd name="connsiteX925" fmla="*/ 1261586 w 1489995"/>
                <a:gd name="connsiteY925" fmla="*/ 350330 h 1273968"/>
                <a:gd name="connsiteX926" fmla="*/ 1255681 w 1489995"/>
                <a:gd name="connsiteY926" fmla="*/ 354330 h 1273968"/>
                <a:gd name="connsiteX927" fmla="*/ 1256062 w 1489995"/>
                <a:gd name="connsiteY927" fmla="*/ 357473 h 1273968"/>
                <a:gd name="connsiteX928" fmla="*/ 1259681 w 1489995"/>
                <a:gd name="connsiteY928" fmla="*/ 360236 h 1273968"/>
                <a:gd name="connsiteX929" fmla="*/ 1260253 w 1489995"/>
                <a:gd name="connsiteY929" fmla="*/ 364998 h 1273968"/>
                <a:gd name="connsiteX930" fmla="*/ 1257681 w 1489995"/>
                <a:gd name="connsiteY930" fmla="*/ 370046 h 1273968"/>
                <a:gd name="connsiteX931" fmla="*/ 1261301 w 1489995"/>
                <a:gd name="connsiteY931" fmla="*/ 372809 h 1273968"/>
                <a:gd name="connsiteX932" fmla="*/ 1271492 w 1489995"/>
                <a:gd name="connsiteY932" fmla="*/ 377952 h 1273968"/>
                <a:gd name="connsiteX933" fmla="*/ 1271968 w 1489995"/>
                <a:gd name="connsiteY933" fmla="*/ 381095 h 1273968"/>
                <a:gd name="connsiteX934" fmla="*/ 1273683 w 1489995"/>
                <a:gd name="connsiteY934" fmla="*/ 382524 h 1273968"/>
                <a:gd name="connsiteX935" fmla="*/ 1274921 w 1489995"/>
                <a:gd name="connsiteY935" fmla="*/ 379095 h 1273968"/>
                <a:gd name="connsiteX936" fmla="*/ 1276445 w 1489995"/>
                <a:gd name="connsiteY936" fmla="*/ 378905 h 1273968"/>
                <a:gd name="connsiteX937" fmla="*/ 1276826 w 1489995"/>
                <a:gd name="connsiteY937" fmla="*/ 382048 h 1273968"/>
                <a:gd name="connsiteX938" fmla="*/ 1278636 w 1489995"/>
                <a:gd name="connsiteY938" fmla="*/ 383477 h 1273968"/>
                <a:gd name="connsiteX939" fmla="*/ 1280065 w 1489995"/>
                <a:gd name="connsiteY939" fmla="*/ 381667 h 1273968"/>
                <a:gd name="connsiteX940" fmla="*/ 1281589 w 1489995"/>
                <a:gd name="connsiteY940" fmla="*/ 381476 h 1273968"/>
                <a:gd name="connsiteX941" fmla="*/ 1281208 w 1489995"/>
                <a:gd name="connsiteY941" fmla="*/ 378333 h 1273968"/>
                <a:gd name="connsiteX942" fmla="*/ 1290828 w 1489995"/>
                <a:gd name="connsiteY942" fmla="*/ 378714 h 1273968"/>
                <a:gd name="connsiteX943" fmla="*/ 1295019 w 1489995"/>
                <a:gd name="connsiteY943" fmla="*/ 373380 h 1273968"/>
                <a:gd name="connsiteX944" fmla="*/ 1298162 w 1489995"/>
                <a:gd name="connsiteY944" fmla="*/ 372999 h 1273968"/>
                <a:gd name="connsiteX945" fmla="*/ 1299972 w 1489995"/>
                <a:gd name="connsiteY945" fmla="*/ 374333 h 1273968"/>
                <a:gd name="connsiteX946" fmla="*/ 1300163 w 1489995"/>
                <a:gd name="connsiteY946" fmla="*/ 375952 h 1273968"/>
                <a:gd name="connsiteX947" fmla="*/ 1303687 w 1489995"/>
                <a:gd name="connsiteY947" fmla="*/ 378714 h 1273968"/>
                <a:gd name="connsiteX948" fmla="*/ 1303877 w 1489995"/>
                <a:gd name="connsiteY948" fmla="*/ 380238 h 1273968"/>
                <a:gd name="connsiteX949" fmla="*/ 1306830 w 1489995"/>
                <a:gd name="connsiteY949" fmla="*/ 378238 h 1273968"/>
                <a:gd name="connsiteX950" fmla="*/ 1310450 w 1489995"/>
                <a:gd name="connsiteY950" fmla="*/ 381000 h 1273968"/>
                <a:gd name="connsiteX951" fmla="*/ 1311783 w 1489995"/>
                <a:gd name="connsiteY951" fmla="*/ 379286 h 1273968"/>
                <a:gd name="connsiteX952" fmla="*/ 1318546 w 1489995"/>
                <a:gd name="connsiteY952" fmla="*/ 381571 h 1273968"/>
                <a:gd name="connsiteX953" fmla="*/ 1325404 w 1489995"/>
                <a:gd name="connsiteY953" fmla="*/ 385477 h 1273968"/>
                <a:gd name="connsiteX954" fmla="*/ 1324070 w 1489995"/>
                <a:gd name="connsiteY954" fmla="*/ 387286 h 1273968"/>
                <a:gd name="connsiteX955" fmla="*/ 1327594 w 1489995"/>
                <a:gd name="connsiteY955" fmla="*/ 390049 h 1273968"/>
                <a:gd name="connsiteX956" fmla="*/ 1328928 w 1489995"/>
                <a:gd name="connsiteY956" fmla="*/ 388239 h 1273968"/>
                <a:gd name="connsiteX957" fmla="*/ 1333310 w 1489995"/>
                <a:gd name="connsiteY957" fmla="*/ 384524 h 1273968"/>
                <a:gd name="connsiteX958" fmla="*/ 1335691 w 1489995"/>
                <a:gd name="connsiteY958" fmla="*/ 377761 h 1273968"/>
                <a:gd name="connsiteX959" fmla="*/ 1342168 w 1489995"/>
                <a:gd name="connsiteY959" fmla="*/ 378619 h 1273968"/>
                <a:gd name="connsiteX960" fmla="*/ 1346549 w 1489995"/>
                <a:gd name="connsiteY960" fmla="*/ 374809 h 1273968"/>
                <a:gd name="connsiteX961" fmla="*/ 1351217 w 1489995"/>
                <a:gd name="connsiteY961" fmla="*/ 374237 h 1273968"/>
                <a:gd name="connsiteX962" fmla="*/ 1352645 w 1489995"/>
                <a:gd name="connsiteY962" fmla="*/ 372428 h 1273968"/>
                <a:gd name="connsiteX963" fmla="*/ 1357313 w 1489995"/>
                <a:gd name="connsiteY963" fmla="*/ 371856 h 1273968"/>
                <a:gd name="connsiteX964" fmla="*/ 1358551 w 1489995"/>
                <a:gd name="connsiteY964" fmla="*/ 368522 h 1273968"/>
                <a:gd name="connsiteX965" fmla="*/ 1358932 w 1489995"/>
                <a:gd name="connsiteY965" fmla="*/ 371665 h 1273968"/>
                <a:gd name="connsiteX966" fmla="*/ 1360551 w 1489995"/>
                <a:gd name="connsiteY966" fmla="*/ 371475 h 1273968"/>
                <a:gd name="connsiteX967" fmla="*/ 1361504 w 1489995"/>
                <a:gd name="connsiteY967" fmla="*/ 379286 h 1273968"/>
                <a:gd name="connsiteX968" fmla="*/ 1363123 w 1489995"/>
                <a:gd name="connsiteY968" fmla="*/ 379095 h 1273968"/>
                <a:gd name="connsiteX969" fmla="*/ 1363313 w 1489995"/>
                <a:gd name="connsiteY969" fmla="*/ 380714 h 1273968"/>
                <a:gd name="connsiteX970" fmla="*/ 1367981 w 1489995"/>
                <a:gd name="connsiteY970" fmla="*/ 380048 h 1273968"/>
                <a:gd name="connsiteX971" fmla="*/ 1371600 w 1489995"/>
                <a:gd name="connsiteY971" fmla="*/ 382810 h 1273968"/>
                <a:gd name="connsiteX972" fmla="*/ 1371790 w 1489995"/>
                <a:gd name="connsiteY972" fmla="*/ 384429 h 1273968"/>
                <a:gd name="connsiteX973" fmla="*/ 1376553 w 1489995"/>
                <a:gd name="connsiteY973" fmla="*/ 383858 h 1273968"/>
                <a:gd name="connsiteX974" fmla="*/ 1378744 w 1489995"/>
                <a:gd name="connsiteY974" fmla="*/ 388334 h 1273968"/>
                <a:gd name="connsiteX975" fmla="*/ 1374362 w 1489995"/>
                <a:gd name="connsiteY975" fmla="*/ 392144 h 1273968"/>
                <a:gd name="connsiteX976" fmla="*/ 1376553 w 1489995"/>
                <a:gd name="connsiteY976" fmla="*/ 396621 h 1273968"/>
                <a:gd name="connsiteX977" fmla="*/ 1376743 w 1489995"/>
                <a:gd name="connsiteY977" fmla="*/ 398240 h 1273968"/>
                <a:gd name="connsiteX978" fmla="*/ 1375219 w 1489995"/>
                <a:gd name="connsiteY978" fmla="*/ 398431 h 1273968"/>
                <a:gd name="connsiteX979" fmla="*/ 1377982 w 1489995"/>
                <a:gd name="connsiteY979" fmla="*/ 407670 h 1273968"/>
                <a:gd name="connsiteX980" fmla="*/ 1377029 w 1489995"/>
                <a:gd name="connsiteY980" fmla="*/ 412623 h 1273968"/>
                <a:gd name="connsiteX981" fmla="*/ 1378744 w 1489995"/>
                <a:gd name="connsiteY981" fmla="*/ 413957 h 1273968"/>
                <a:gd name="connsiteX982" fmla="*/ 1382744 w 1489995"/>
                <a:gd name="connsiteY982" fmla="*/ 419957 h 1273968"/>
                <a:gd name="connsiteX983" fmla="*/ 1378363 w 1489995"/>
                <a:gd name="connsiteY983" fmla="*/ 423672 h 1273968"/>
                <a:gd name="connsiteX984" fmla="*/ 1373696 w 1489995"/>
                <a:gd name="connsiteY984" fmla="*/ 424244 h 1273968"/>
                <a:gd name="connsiteX985" fmla="*/ 1370933 w 1489995"/>
                <a:gd name="connsiteY985" fmla="*/ 427863 h 1273968"/>
                <a:gd name="connsiteX986" fmla="*/ 1374267 w 1489995"/>
                <a:gd name="connsiteY986" fmla="*/ 429006 h 1273968"/>
                <a:gd name="connsiteX987" fmla="*/ 1376077 w 1489995"/>
                <a:gd name="connsiteY987" fmla="*/ 443198 h 1273968"/>
                <a:gd name="connsiteX988" fmla="*/ 1372362 w 1489995"/>
                <a:gd name="connsiteY988" fmla="*/ 451675 h 1273968"/>
                <a:gd name="connsiteX989" fmla="*/ 1378839 w 1489995"/>
                <a:gd name="connsiteY989" fmla="*/ 452438 h 1273968"/>
                <a:gd name="connsiteX990" fmla="*/ 1379696 w 1489995"/>
                <a:gd name="connsiteY990" fmla="*/ 458819 h 1273968"/>
                <a:gd name="connsiteX991" fmla="*/ 1381220 w 1489995"/>
                <a:gd name="connsiteY991" fmla="*/ 458629 h 1273968"/>
                <a:gd name="connsiteX992" fmla="*/ 1387983 w 1489995"/>
                <a:gd name="connsiteY992" fmla="*/ 460915 h 1273968"/>
                <a:gd name="connsiteX993" fmla="*/ 1385983 w 1489995"/>
                <a:gd name="connsiteY993" fmla="*/ 470821 h 1273968"/>
                <a:gd name="connsiteX994" fmla="*/ 1388745 w 1489995"/>
                <a:gd name="connsiteY994" fmla="*/ 467296 h 1273968"/>
                <a:gd name="connsiteX995" fmla="*/ 1389126 w 1489995"/>
                <a:gd name="connsiteY995" fmla="*/ 470440 h 1273968"/>
                <a:gd name="connsiteX996" fmla="*/ 1390936 w 1489995"/>
                <a:gd name="connsiteY996" fmla="*/ 471773 h 1273968"/>
                <a:gd name="connsiteX997" fmla="*/ 1388364 w 1489995"/>
                <a:gd name="connsiteY997" fmla="*/ 476917 h 1273968"/>
                <a:gd name="connsiteX998" fmla="*/ 1394269 w 1489995"/>
                <a:gd name="connsiteY998" fmla="*/ 472916 h 1273968"/>
                <a:gd name="connsiteX999" fmla="*/ 1390364 w 1489995"/>
                <a:gd name="connsiteY999" fmla="*/ 479869 h 1273968"/>
                <a:gd name="connsiteX1000" fmla="*/ 1391126 w 1489995"/>
                <a:gd name="connsiteY1000" fmla="*/ 486156 h 1273968"/>
                <a:gd name="connsiteX1001" fmla="*/ 1388650 w 1489995"/>
                <a:gd name="connsiteY1001" fmla="*/ 491300 h 1273968"/>
                <a:gd name="connsiteX1002" fmla="*/ 1386840 w 1489995"/>
                <a:gd name="connsiteY1002" fmla="*/ 489966 h 1273968"/>
                <a:gd name="connsiteX1003" fmla="*/ 1384078 w 1489995"/>
                <a:gd name="connsiteY1003" fmla="*/ 493490 h 1273968"/>
                <a:gd name="connsiteX1004" fmla="*/ 1385888 w 1489995"/>
                <a:gd name="connsiteY1004" fmla="*/ 494919 h 1273968"/>
                <a:gd name="connsiteX1005" fmla="*/ 1387888 w 1489995"/>
                <a:gd name="connsiteY1005" fmla="*/ 497872 h 1273968"/>
                <a:gd name="connsiteX1006" fmla="*/ 1386268 w 1489995"/>
                <a:gd name="connsiteY1006" fmla="*/ 498062 h 1273968"/>
                <a:gd name="connsiteX1007" fmla="*/ 1385316 w 1489995"/>
                <a:gd name="connsiteY1007" fmla="*/ 503015 h 1273968"/>
                <a:gd name="connsiteX1008" fmla="*/ 1383506 w 1489995"/>
                <a:gd name="connsiteY1008" fmla="*/ 501586 h 1273968"/>
                <a:gd name="connsiteX1009" fmla="*/ 1383887 w 1489995"/>
                <a:gd name="connsiteY1009" fmla="*/ 504730 h 1273968"/>
                <a:gd name="connsiteX1010" fmla="*/ 1379410 w 1489995"/>
                <a:gd name="connsiteY1010" fmla="*/ 506921 h 1273968"/>
                <a:gd name="connsiteX1011" fmla="*/ 1378363 w 1489995"/>
                <a:gd name="connsiteY1011" fmla="*/ 511873 h 1273968"/>
                <a:gd name="connsiteX1012" fmla="*/ 1373505 w 1489995"/>
                <a:gd name="connsiteY1012" fmla="*/ 510921 h 1273968"/>
                <a:gd name="connsiteX1013" fmla="*/ 1372648 w 1489995"/>
                <a:gd name="connsiteY1013" fmla="*/ 517398 h 1273968"/>
                <a:gd name="connsiteX1014" fmla="*/ 1370743 w 1489995"/>
                <a:gd name="connsiteY1014" fmla="*/ 514445 h 1273968"/>
                <a:gd name="connsiteX1015" fmla="*/ 1369314 w 1489995"/>
                <a:gd name="connsiteY1015" fmla="*/ 516255 h 1273968"/>
                <a:gd name="connsiteX1016" fmla="*/ 1369981 w 1489995"/>
                <a:gd name="connsiteY1016" fmla="*/ 521017 h 1273968"/>
                <a:gd name="connsiteX1017" fmla="*/ 1366742 w 1489995"/>
                <a:gd name="connsiteY1017" fmla="*/ 521398 h 1273968"/>
                <a:gd name="connsiteX1018" fmla="*/ 1365028 w 1489995"/>
                <a:gd name="connsiteY1018" fmla="*/ 519970 h 1273968"/>
                <a:gd name="connsiteX1019" fmla="*/ 1363409 w 1489995"/>
                <a:gd name="connsiteY1019" fmla="*/ 520160 h 1273968"/>
                <a:gd name="connsiteX1020" fmla="*/ 1362456 w 1489995"/>
                <a:gd name="connsiteY1020" fmla="*/ 525113 h 1273968"/>
                <a:gd name="connsiteX1021" fmla="*/ 1367218 w 1489995"/>
                <a:gd name="connsiteY1021" fmla="*/ 524542 h 1273968"/>
                <a:gd name="connsiteX1022" fmla="*/ 1375886 w 1489995"/>
                <a:gd name="connsiteY1022" fmla="*/ 529876 h 1273968"/>
                <a:gd name="connsiteX1023" fmla="*/ 1376077 w 1489995"/>
                <a:gd name="connsiteY1023" fmla="*/ 531400 h 1273968"/>
                <a:gd name="connsiteX1024" fmla="*/ 1366076 w 1489995"/>
                <a:gd name="connsiteY1024" fmla="*/ 540734 h 1273968"/>
                <a:gd name="connsiteX1025" fmla="*/ 1358360 w 1489995"/>
                <a:gd name="connsiteY1025" fmla="*/ 543306 h 1273968"/>
                <a:gd name="connsiteX1026" fmla="*/ 1358551 w 1489995"/>
                <a:gd name="connsiteY1026" fmla="*/ 544925 h 1273968"/>
                <a:gd name="connsiteX1027" fmla="*/ 1369981 w 1489995"/>
                <a:gd name="connsiteY1027" fmla="*/ 546640 h 1273968"/>
                <a:gd name="connsiteX1028" fmla="*/ 1379220 w 1489995"/>
                <a:gd name="connsiteY1028" fmla="*/ 543878 h 1273968"/>
                <a:gd name="connsiteX1029" fmla="*/ 1386554 w 1489995"/>
                <a:gd name="connsiteY1029" fmla="*/ 550926 h 1273968"/>
                <a:gd name="connsiteX1030" fmla="*/ 1388555 w 1489995"/>
                <a:gd name="connsiteY1030" fmla="*/ 553879 h 1273968"/>
                <a:gd name="connsiteX1031" fmla="*/ 1395317 w 1489995"/>
                <a:gd name="connsiteY1031" fmla="*/ 556260 h 1273968"/>
                <a:gd name="connsiteX1032" fmla="*/ 1396460 w 1489995"/>
                <a:gd name="connsiteY1032" fmla="*/ 552926 h 1273968"/>
                <a:gd name="connsiteX1033" fmla="*/ 1396079 w 1489995"/>
                <a:gd name="connsiteY1033" fmla="*/ 549688 h 1273968"/>
                <a:gd name="connsiteX1034" fmla="*/ 1399604 w 1489995"/>
                <a:gd name="connsiteY1034" fmla="*/ 552450 h 1273968"/>
                <a:gd name="connsiteX1035" fmla="*/ 1402747 w 1489995"/>
                <a:gd name="connsiteY1035" fmla="*/ 552069 h 1273968"/>
                <a:gd name="connsiteX1036" fmla="*/ 1401604 w 1489995"/>
                <a:gd name="connsiteY1036" fmla="*/ 555403 h 1273968"/>
                <a:gd name="connsiteX1037" fmla="*/ 1412272 w 1489995"/>
                <a:gd name="connsiteY1037" fmla="*/ 563690 h 1273968"/>
                <a:gd name="connsiteX1038" fmla="*/ 1418939 w 1489995"/>
                <a:gd name="connsiteY1038" fmla="*/ 566071 h 1273968"/>
                <a:gd name="connsiteX1039" fmla="*/ 1420368 w 1489995"/>
                <a:gd name="connsiteY1039" fmla="*/ 564261 h 1273968"/>
                <a:gd name="connsiteX1040" fmla="*/ 1422178 w 1489995"/>
                <a:gd name="connsiteY1040" fmla="*/ 565595 h 1273968"/>
                <a:gd name="connsiteX1041" fmla="*/ 1420559 w 1489995"/>
                <a:gd name="connsiteY1041" fmla="*/ 565880 h 1273968"/>
                <a:gd name="connsiteX1042" fmla="*/ 1427321 w 1489995"/>
                <a:gd name="connsiteY1042" fmla="*/ 568166 h 1273968"/>
                <a:gd name="connsiteX1043" fmla="*/ 1419035 w 1489995"/>
                <a:gd name="connsiteY1043" fmla="*/ 578834 h 1273968"/>
                <a:gd name="connsiteX1044" fmla="*/ 1419797 w 1489995"/>
                <a:gd name="connsiteY1044" fmla="*/ 585216 h 1273968"/>
                <a:gd name="connsiteX1045" fmla="*/ 1417987 w 1489995"/>
                <a:gd name="connsiteY1045" fmla="*/ 583787 h 1273968"/>
                <a:gd name="connsiteX1046" fmla="*/ 1416463 w 1489995"/>
                <a:gd name="connsiteY1046" fmla="*/ 583978 h 1273968"/>
                <a:gd name="connsiteX1047" fmla="*/ 1419225 w 1489995"/>
                <a:gd name="connsiteY1047" fmla="*/ 593312 h 1273968"/>
                <a:gd name="connsiteX1048" fmla="*/ 1413319 w 1489995"/>
                <a:gd name="connsiteY1048" fmla="*/ 597218 h 1273968"/>
                <a:gd name="connsiteX1049" fmla="*/ 1408176 w 1489995"/>
                <a:gd name="connsiteY1049" fmla="*/ 594646 h 1273968"/>
                <a:gd name="connsiteX1050" fmla="*/ 1407605 w 1489995"/>
                <a:gd name="connsiteY1050" fmla="*/ 589979 h 1273968"/>
                <a:gd name="connsiteX1051" fmla="*/ 1404080 w 1489995"/>
                <a:gd name="connsiteY1051" fmla="*/ 587216 h 1273968"/>
                <a:gd name="connsiteX1052" fmla="*/ 1398080 w 1489995"/>
                <a:gd name="connsiteY1052" fmla="*/ 591122 h 1273968"/>
                <a:gd name="connsiteX1053" fmla="*/ 1394555 w 1489995"/>
                <a:gd name="connsiteY1053" fmla="*/ 601218 h 1273968"/>
                <a:gd name="connsiteX1054" fmla="*/ 1401699 w 1489995"/>
                <a:gd name="connsiteY1054" fmla="*/ 606743 h 1273968"/>
                <a:gd name="connsiteX1055" fmla="*/ 1406081 w 1489995"/>
                <a:gd name="connsiteY1055" fmla="*/ 602933 h 1273968"/>
                <a:gd name="connsiteX1056" fmla="*/ 1410176 w 1489995"/>
                <a:gd name="connsiteY1056" fmla="*/ 610457 h 1273968"/>
                <a:gd name="connsiteX1057" fmla="*/ 1413319 w 1489995"/>
                <a:gd name="connsiteY1057" fmla="*/ 610076 h 1273968"/>
                <a:gd name="connsiteX1058" fmla="*/ 1408843 w 1489995"/>
                <a:gd name="connsiteY1058" fmla="*/ 612267 h 1273968"/>
                <a:gd name="connsiteX1059" fmla="*/ 1405033 w 1489995"/>
                <a:gd name="connsiteY1059" fmla="*/ 607886 h 1273968"/>
                <a:gd name="connsiteX1060" fmla="*/ 1402271 w 1489995"/>
                <a:gd name="connsiteY1060" fmla="*/ 611505 h 1273968"/>
                <a:gd name="connsiteX1061" fmla="*/ 1399127 w 1489995"/>
                <a:gd name="connsiteY1061" fmla="*/ 611886 h 1273968"/>
                <a:gd name="connsiteX1062" fmla="*/ 1397794 w 1489995"/>
                <a:gd name="connsiteY1062" fmla="*/ 613696 h 1273968"/>
                <a:gd name="connsiteX1063" fmla="*/ 1400365 w 1489995"/>
                <a:gd name="connsiteY1063" fmla="*/ 621316 h 1273968"/>
                <a:gd name="connsiteX1064" fmla="*/ 1402556 w 1489995"/>
                <a:gd name="connsiteY1064" fmla="*/ 625888 h 1273968"/>
                <a:gd name="connsiteX1065" fmla="*/ 1402747 w 1489995"/>
                <a:gd name="connsiteY1065" fmla="*/ 640271 h 1273968"/>
                <a:gd name="connsiteX1066" fmla="*/ 1396270 w 1489995"/>
                <a:gd name="connsiteY1066" fmla="*/ 639509 h 1273968"/>
                <a:gd name="connsiteX1067" fmla="*/ 1391698 w 1489995"/>
                <a:gd name="connsiteY1067" fmla="*/ 641699 h 1273968"/>
                <a:gd name="connsiteX1068" fmla="*/ 1389983 w 1489995"/>
                <a:gd name="connsiteY1068" fmla="*/ 640271 h 1273968"/>
                <a:gd name="connsiteX1069" fmla="*/ 1390364 w 1489995"/>
                <a:gd name="connsiteY1069" fmla="*/ 643414 h 1273968"/>
                <a:gd name="connsiteX1070" fmla="*/ 1387221 w 1489995"/>
                <a:gd name="connsiteY1070" fmla="*/ 643890 h 1273968"/>
                <a:gd name="connsiteX1071" fmla="*/ 1385411 w 1489995"/>
                <a:gd name="connsiteY1071" fmla="*/ 642461 h 1273968"/>
                <a:gd name="connsiteX1072" fmla="*/ 1382077 w 1489995"/>
                <a:gd name="connsiteY1072" fmla="*/ 641318 h 1273968"/>
                <a:gd name="connsiteX1073" fmla="*/ 1380839 w 1489995"/>
                <a:gd name="connsiteY1073" fmla="*/ 644652 h 1273968"/>
                <a:gd name="connsiteX1074" fmla="*/ 1377887 w 1489995"/>
                <a:gd name="connsiteY1074" fmla="*/ 646652 h 1273968"/>
                <a:gd name="connsiteX1075" fmla="*/ 1378172 w 1489995"/>
                <a:gd name="connsiteY1075" fmla="*/ 648272 h 1273968"/>
                <a:gd name="connsiteX1076" fmla="*/ 1381697 w 1489995"/>
                <a:gd name="connsiteY1076" fmla="*/ 650938 h 1273968"/>
                <a:gd name="connsiteX1077" fmla="*/ 1392936 w 1489995"/>
                <a:gd name="connsiteY1077" fmla="*/ 651129 h 1273968"/>
                <a:gd name="connsiteX1078" fmla="*/ 1391793 w 1489995"/>
                <a:gd name="connsiteY1078" fmla="*/ 654558 h 1273968"/>
                <a:gd name="connsiteX1079" fmla="*/ 1396270 w 1489995"/>
                <a:gd name="connsiteY1079" fmla="*/ 652367 h 1273968"/>
                <a:gd name="connsiteX1080" fmla="*/ 1396937 w 1489995"/>
                <a:gd name="connsiteY1080" fmla="*/ 657035 h 1273968"/>
                <a:gd name="connsiteX1081" fmla="*/ 1395508 w 1489995"/>
                <a:gd name="connsiteY1081" fmla="*/ 658844 h 1273968"/>
                <a:gd name="connsiteX1082" fmla="*/ 1393698 w 1489995"/>
                <a:gd name="connsiteY1082" fmla="*/ 657511 h 1273968"/>
                <a:gd name="connsiteX1083" fmla="*/ 1392364 w 1489995"/>
                <a:gd name="connsiteY1083" fmla="*/ 659225 h 1273968"/>
                <a:gd name="connsiteX1084" fmla="*/ 1387221 w 1489995"/>
                <a:gd name="connsiteY1084" fmla="*/ 656654 h 1273968"/>
                <a:gd name="connsiteX1085" fmla="*/ 1387412 w 1489995"/>
                <a:gd name="connsiteY1085" fmla="*/ 658273 h 1273968"/>
                <a:gd name="connsiteX1086" fmla="*/ 1390745 w 1489995"/>
                <a:gd name="connsiteY1086" fmla="*/ 659416 h 1273968"/>
                <a:gd name="connsiteX1087" fmla="*/ 1389221 w 1489995"/>
                <a:gd name="connsiteY1087" fmla="*/ 659606 h 1273968"/>
                <a:gd name="connsiteX1088" fmla="*/ 1384078 w 1489995"/>
                <a:gd name="connsiteY1088" fmla="*/ 657130 h 1273968"/>
                <a:gd name="connsiteX1089" fmla="*/ 1380744 w 1489995"/>
                <a:gd name="connsiteY1089" fmla="*/ 655892 h 1273968"/>
                <a:gd name="connsiteX1090" fmla="*/ 1375029 w 1489995"/>
                <a:gd name="connsiteY1090" fmla="*/ 661416 h 1273968"/>
                <a:gd name="connsiteX1091" fmla="*/ 1368933 w 1489995"/>
                <a:gd name="connsiteY1091" fmla="*/ 663797 h 1273968"/>
                <a:gd name="connsiteX1092" fmla="*/ 1374267 w 1489995"/>
                <a:gd name="connsiteY1092" fmla="*/ 667988 h 1273968"/>
                <a:gd name="connsiteX1093" fmla="*/ 1374648 w 1489995"/>
                <a:gd name="connsiteY1093" fmla="*/ 671132 h 1273968"/>
                <a:gd name="connsiteX1094" fmla="*/ 1376172 w 1489995"/>
                <a:gd name="connsiteY1094" fmla="*/ 670941 h 1273968"/>
                <a:gd name="connsiteX1095" fmla="*/ 1377029 w 1489995"/>
                <a:gd name="connsiteY1095" fmla="*/ 677228 h 1273968"/>
                <a:gd name="connsiteX1096" fmla="*/ 1380554 w 1489995"/>
                <a:gd name="connsiteY1096" fmla="*/ 679990 h 1273968"/>
                <a:gd name="connsiteX1097" fmla="*/ 1382173 w 1489995"/>
                <a:gd name="connsiteY1097" fmla="*/ 679799 h 1273968"/>
                <a:gd name="connsiteX1098" fmla="*/ 1380744 w 1489995"/>
                <a:gd name="connsiteY1098" fmla="*/ 681609 h 1273968"/>
                <a:gd name="connsiteX1099" fmla="*/ 1383887 w 1489995"/>
                <a:gd name="connsiteY1099" fmla="*/ 681133 h 1273968"/>
                <a:gd name="connsiteX1100" fmla="*/ 1384364 w 1489995"/>
                <a:gd name="connsiteY1100" fmla="*/ 684276 h 1273968"/>
                <a:gd name="connsiteX1101" fmla="*/ 1389507 w 1489995"/>
                <a:gd name="connsiteY1101" fmla="*/ 686848 h 1273968"/>
                <a:gd name="connsiteX1102" fmla="*/ 1394651 w 1489995"/>
                <a:gd name="connsiteY1102" fmla="*/ 689420 h 1273968"/>
                <a:gd name="connsiteX1103" fmla="*/ 1396365 w 1489995"/>
                <a:gd name="connsiteY1103" fmla="*/ 690848 h 1273968"/>
                <a:gd name="connsiteX1104" fmla="*/ 1400556 w 1489995"/>
                <a:gd name="connsiteY1104" fmla="*/ 685514 h 1273968"/>
                <a:gd name="connsiteX1105" fmla="*/ 1408843 w 1489995"/>
                <a:gd name="connsiteY1105" fmla="*/ 687610 h 1273968"/>
                <a:gd name="connsiteX1106" fmla="*/ 1407414 w 1489995"/>
                <a:gd name="connsiteY1106" fmla="*/ 689420 h 1273968"/>
                <a:gd name="connsiteX1107" fmla="*/ 1405700 w 1489995"/>
                <a:gd name="connsiteY1107" fmla="*/ 687991 h 1273968"/>
                <a:gd name="connsiteX1108" fmla="*/ 1409414 w 1489995"/>
                <a:gd name="connsiteY1108" fmla="*/ 692372 h 1273968"/>
                <a:gd name="connsiteX1109" fmla="*/ 1412367 w 1489995"/>
                <a:gd name="connsiteY1109" fmla="*/ 690372 h 1273968"/>
                <a:gd name="connsiteX1110" fmla="*/ 1417510 w 1489995"/>
                <a:gd name="connsiteY1110" fmla="*/ 692944 h 1273968"/>
                <a:gd name="connsiteX1111" fmla="*/ 1413129 w 1489995"/>
                <a:gd name="connsiteY1111" fmla="*/ 696659 h 1273968"/>
                <a:gd name="connsiteX1112" fmla="*/ 1409986 w 1489995"/>
                <a:gd name="connsiteY1112" fmla="*/ 697040 h 1273968"/>
                <a:gd name="connsiteX1113" fmla="*/ 1411986 w 1489995"/>
                <a:gd name="connsiteY1113" fmla="*/ 699992 h 1273968"/>
                <a:gd name="connsiteX1114" fmla="*/ 1415320 w 1489995"/>
                <a:gd name="connsiteY1114" fmla="*/ 701231 h 1273968"/>
                <a:gd name="connsiteX1115" fmla="*/ 1418558 w 1489995"/>
                <a:gd name="connsiteY1115" fmla="*/ 700850 h 1273968"/>
                <a:gd name="connsiteX1116" fmla="*/ 1418749 w 1489995"/>
                <a:gd name="connsiteY1116" fmla="*/ 702374 h 1273968"/>
                <a:gd name="connsiteX1117" fmla="*/ 1420082 w 1489995"/>
                <a:gd name="connsiteY1117" fmla="*/ 700659 h 1273968"/>
                <a:gd name="connsiteX1118" fmla="*/ 1421892 w 1489995"/>
                <a:gd name="connsiteY1118" fmla="*/ 701993 h 1273968"/>
                <a:gd name="connsiteX1119" fmla="*/ 1427035 w 1489995"/>
                <a:gd name="connsiteY1119" fmla="*/ 704564 h 1273968"/>
                <a:gd name="connsiteX1120" fmla="*/ 1434275 w 1489995"/>
                <a:gd name="connsiteY1120" fmla="*/ 698849 h 1273968"/>
                <a:gd name="connsiteX1121" fmla="*/ 1436084 w 1489995"/>
                <a:gd name="connsiteY1121" fmla="*/ 700183 h 1273968"/>
                <a:gd name="connsiteX1122" fmla="*/ 1436465 w 1489995"/>
                <a:gd name="connsiteY1122" fmla="*/ 703326 h 1273968"/>
                <a:gd name="connsiteX1123" fmla="*/ 1438275 w 1489995"/>
                <a:gd name="connsiteY1123" fmla="*/ 704755 h 1273968"/>
                <a:gd name="connsiteX1124" fmla="*/ 1435322 w 1489995"/>
                <a:gd name="connsiteY1124" fmla="*/ 706660 h 1273968"/>
                <a:gd name="connsiteX1125" fmla="*/ 1436084 w 1489995"/>
                <a:gd name="connsiteY1125" fmla="*/ 713041 h 1273968"/>
                <a:gd name="connsiteX1126" fmla="*/ 1439227 w 1489995"/>
                <a:gd name="connsiteY1126" fmla="*/ 712565 h 1273968"/>
                <a:gd name="connsiteX1127" fmla="*/ 1442752 w 1489995"/>
                <a:gd name="connsiteY1127" fmla="*/ 702564 h 1273968"/>
                <a:gd name="connsiteX1128" fmla="*/ 1444752 w 1489995"/>
                <a:gd name="connsiteY1128" fmla="*/ 705517 h 1273968"/>
                <a:gd name="connsiteX1129" fmla="*/ 1443609 w 1489995"/>
                <a:gd name="connsiteY1129" fmla="*/ 708851 h 1273968"/>
                <a:gd name="connsiteX1130" fmla="*/ 1446752 w 1489995"/>
                <a:gd name="connsiteY1130" fmla="*/ 708470 h 1273968"/>
                <a:gd name="connsiteX1131" fmla="*/ 1445800 w 1489995"/>
                <a:gd name="connsiteY1131" fmla="*/ 713423 h 1273968"/>
                <a:gd name="connsiteX1132" fmla="*/ 1446371 w 1489995"/>
                <a:gd name="connsiteY1132" fmla="*/ 718090 h 1273968"/>
                <a:gd name="connsiteX1133" fmla="*/ 1445038 w 1489995"/>
                <a:gd name="connsiteY1133" fmla="*/ 719899 h 1273968"/>
                <a:gd name="connsiteX1134" fmla="*/ 1437513 w 1489995"/>
                <a:gd name="connsiteY1134" fmla="*/ 724090 h 1273968"/>
                <a:gd name="connsiteX1135" fmla="*/ 1437704 w 1489995"/>
                <a:gd name="connsiteY1135" fmla="*/ 725615 h 1273968"/>
                <a:gd name="connsiteX1136" fmla="*/ 1439704 w 1489995"/>
                <a:gd name="connsiteY1136" fmla="*/ 728567 h 1273968"/>
                <a:gd name="connsiteX1137" fmla="*/ 1448372 w 1489995"/>
                <a:gd name="connsiteY1137" fmla="*/ 733901 h 1273968"/>
                <a:gd name="connsiteX1138" fmla="*/ 1467707 w 1489995"/>
                <a:gd name="connsiteY1138" fmla="*/ 747427 h 1273968"/>
                <a:gd name="connsiteX1139" fmla="*/ 1469136 w 1489995"/>
                <a:gd name="connsiteY1139" fmla="*/ 745712 h 1273968"/>
                <a:gd name="connsiteX1140" fmla="*/ 1472279 w 1489995"/>
                <a:gd name="connsiteY1140" fmla="*/ 745236 h 1273968"/>
                <a:gd name="connsiteX1141" fmla="*/ 1474470 w 1489995"/>
                <a:gd name="connsiteY1141" fmla="*/ 749808 h 1273968"/>
                <a:gd name="connsiteX1142" fmla="*/ 1475804 w 1489995"/>
                <a:gd name="connsiteY1142" fmla="*/ 747998 h 1273968"/>
                <a:gd name="connsiteX1143" fmla="*/ 1477613 w 1489995"/>
                <a:gd name="connsiteY1143" fmla="*/ 749427 h 1273968"/>
                <a:gd name="connsiteX1144" fmla="*/ 1479423 w 1489995"/>
                <a:gd name="connsiteY1144" fmla="*/ 750761 h 1273968"/>
                <a:gd name="connsiteX1145" fmla="*/ 1478185 w 1489995"/>
                <a:gd name="connsiteY1145" fmla="*/ 754190 h 1273968"/>
                <a:gd name="connsiteX1146" fmla="*/ 1481614 w 1489995"/>
                <a:gd name="connsiteY1146" fmla="*/ 755332 h 1273968"/>
                <a:gd name="connsiteX1147" fmla="*/ 1484376 w 1489995"/>
                <a:gd name="connsiteY1147" fmla="*/ 751808 h 1273968"/>
                <a:gd name="connsiteX1148" fmla="*/ 1488281 w 1489995"/>
                <a:gd name="connsiteY1148" fmla="*/ 757714 h 1273968"/>
                <a:gd name="connsiteX1149" fmla="*/ 1485710 w 1489995"/>
                <a:gd name="connsiteY1149" fmla="*/ 762857 h 1273968"/>
                <a:gd name="connsiteX1150" fmla="*/ 1487519 w 1489995"/>
                <a:gd name="connsiteY1150" fmla="*/ 764191 h 1273968"/>
                <a:gd name="connsiteX1151" fmla="*/ 1486567 w 1489995"/>
                <a:gd name="connsiteY1151" fmla="*/ 769144 h 1273968"/>
                <a:gd name="connsiteX1152" fmla="*/ 1488567 w 1489995"/>
                <a:gd name="connsiteY1152" fmla="*/ 772097 h 1273968"/>
                <a:gd name="connsiteX1153" fmla="*/ 1485138 w 1489995"/>
                <a:gd name="connsiteY1153" fmla="*/ 770953 h 1273968"/>
                <a:gd name="connsiteX1154" fmla="*/ 1480661 w 1489995"/>
                <a:gd name="connsiteY1154" fmla="*/ 773049 h 1273968"/>
                <a:gd name="connsiteX1155" fmla="*/ 1476470 w 1489995"/>
                <a:gd name="connsiteY1155" fmla="*/ 778383 h 1273968"/>
                <a:gd name="connsiteX1156" fmla="*/ 1485995 w 1489995"/>
                <a:gd name="connsiteY1156" fmla="*/ 790003 h 1273968"/>
                <a:gd name="connsiteX1157" fmla="*/ 1487805 w 1489995"/>
                <a:gd name="connsiteY1157" fmla="*/ 791432 h 1273968"/>
                <a:gd name="connsiteX1158" fmla="*/ 1489615 w 1489995"/>
                <a:gd name="connsiteY1158" fmla="*/ 792766 h 1273968"/>
                <a:gd name="connsiteX1159" fmla="*/ 1489996 w 1489995"/>
                <a:gd name="connsiteY1159" fmla="*/ 795909 h 1273968"/>
                <a:gd name="connsiteX1160" fmla="*/ 1488758 w 1489995"/>
                <a:gd name="connsiteY1160" fmla="*/ 799338 h 1273968"/>
                <a:gd name="connsiteX1161" fmla="*/ 1487424 w 1489995"/>
                <a:gd name="connsiteY1161" fmla="*/ 801053 h 1273968"/>
                <a:gd name="connsiteX1162" fmla="*/ 1483900 w 1489995"/>
                <a:gd name="connsiteY1162" fmla="*/ 798290 h 1273968"/>
                <a:gd name="connsiteX1163" fmla="*/ 1484852 w 1489995"/>
                <a:gd name="connsiteY1163" fmla="*/ 806196 h 1273968"/>
                <a:gd name="connsiteX1164" fmla="*/ 1483328 w 1489995"/>
                <a:gd name="connsiteY1164" fmla="*/ 806386 h 1273968"/>
                <a:gd name="connsiteX1165" fmla="*/ 1482281 w 1489995"/>
                <a:gd name="connsiteY1165" fmla="*/ 811340 h 1273968"/>
                <a:gd name="connsiteX1166" fmla="*/ 1480756 w 1489995"/>
                <a:gd name="connsiteY1166" fmla="*/ 811530 h 1273968"/>
                <a:gd name="connsiteX1167" fmla="*/ 1480947 w 1489995"/>
                <a:gd name="connsiteY1167" fmla="*/ 813149 h 1273968"/>
                <a:gd name="connsiteX1168" fmla="*/ 1475613 w 1489995"/>
                <a:gd name="connsiteY1168" fmla="*/ 821817 h 1273968"/>
                <a:gd name="connsiteX1169" fmla="*/ 1479233 w 1489995"/>
                <a:gd name="connsiteY1169" fmla="*/ 824579 h 1273968"/>
                <a:gd name="connsiteX1170" fmla="*/ 1476185 w 1489995"/>
                <a:gd name="connsiteY1170" fmla="*/ 826580 h 1273968"/>
                <a:gd name="connsiteX1171" fmla="*/ 1466945 w 1489995"/>
                <a:gd name="connsiteY1171" fmla="*/ 829342 h 1273968"/>
                <a:gd name="connsiteX1172" fmla="*/ 1465421 w 1489995"/>
                <a:gd name="connsiteY1172" fmla="*/ 829532 h 1273968"/>
                <a:gd name="connsiteX1173" fmla="*/ 1465802 w 1489995"/>
                <a:gd name="connsiteY1173" fmla="*/ 832676 h 1273968"/>
                <a:gd name="connsiteX1174" fmla="*/ 1465802 w 1489995"/>
                <a:gd name="connsiteY1174" fmla="*/ 832676 h 1273968"/>
                <a:gd name="connsiteX1175" fmla="*/ 1464659 w 1489995"/>
                <a:gd name="connsiteY1175" fmla="*/ 836105 h 1273968"/>
                <a:gd name="connsiteX1176" fmla="*/ 1469708 w 1489995"/>
                <a:gd name="connsiteY1176" fmla="*/ 838581 h 1273968"/>
                <a:gd name="connsiteX1177" fmla="*/ 1468946 w 1489995"/>
                <a:gd name="connsiteY1177" fmla="*/ 845153 h 1273968"/>
                <a:gd name="connsiteX1178" fmla="*/ 1467993 w 1489995"/>
                <a:gd name="connsiteY1178" fmla="*/ 850106 h 1273968"/>
                <a:gd name="connsiteX1179" fmla="*/ 1469803 w 1489995"/>
                <a:gd name="connsiteY1179" fmla="*/ 851440 h 1273968"/>
                <a:gd name="connsiteX1180" fmla="*/ 1469041 w 1489995"/>
                <a:gd name="connsiteY1180" fmla="*/ 857917 h 1273968"/>
                <a:gd name="connsiteX1181" fmla="*/ 1467422 w 1489995"/>
                <a:gd name="connsiteY1181" fmla="*/ 858203 h 1273968"/>
                <a:gd name="connsiteX1182" fmla="*/ 1465421 w 1489995"/>
                <a:gd name="connsiteY1182" fmla="*/ 855250 h 1273968"/>
                <a:gd name="connsiteX1183" fmla="*/ 1462850 w 1489995"/>
                <a:gd name="connsiteY1183" fmla="*/ 860298 h 1273968"/>
                <a:gd name="connsiteX1184" fmla="*/ 1466469 w 1489995"/>
                <a:gd name="connsiteY1184" fmla="*/ 863060 h 1273968"/>
                <a:gd name="connsiteX1185" fmla="*/ 1466660 w 1489995"/>
                <a:gd name="connsiteY1185" fmla="*/ 864680 h 1273968"/>
                <a:gd name="connsiteX1186" fmla="*/ 1467231 w 1489995"/>
                <a:gd name="connsiteY1186" fmla="*/ 869442 h 1273968"/>
                <a:gd name="connsiteX1187" fmla="*/ 1464088 w 1489995"/>
                <a:gd name="connsiteY1187" fmla="*/ 869823 h 1273968"/>
                <a:gd name="connsiteX1188" fmla="*/ 1462754 w 1489995"/>
                <a:gd name="connsiteY1188" fmla="*/ 871633 h 1273968"/>
                <a:gd name="connsiteX1189" fmla="*/ 1463326 w 1489995"/>
                <a:gd name="connsiteY1189" fmla="*/ 876300 h 1273968"/>
                <a:gd name="connsiteX1190" fmla="*/ 1463516 w 1489995"/>
                <a:gd name="connsiteY1190" fmla="*/ 877919 h 1273968"/>
                <a:gd name="connsiteX1191" fmla="*/ 1459421 w 1489995"/>
                <a:gd name="connsiteY1191" fmla="*/ 883253 h 1273968"/>
                <a:gd name="connsiteX1192" fmla="*/ 1455610 w 1489995"/>
                <a:gd name="connsiteY1192" fmla="*/ 878872 h 1273968"/>
                <a:gd name="connsiteX1193" fmla="*/ 1447990 w 1489995"/>
                <a:gd name="connsiteY1193" fmla="*/ 881539 h 1273968"/>
                <a:gd name="connsiteX1194" fmla="*/ 1448181 w 1489995"/>
                <a:gd name="connsiteY1194" fmla="*/ 883063 h 1273968"/>
                <a:gd name="connsiteX1195" fmla="*/ 1449896 w 1489995"/>
                <a:gd name="connsiteY1195" fmla="*/ 884491 h 1273968"/>
                <a:gd name="connsiteX1196" fmla="*/ 1448372 w 1489995"/>
                <a:gd name="connsiteY1196" fmla="*/ 884682 h 1273968"/>
                <a:gd name="connsiteX1197" fmla="*/ 1448943 w 1489995"/>
                <a:gd name="connsiteY1197" fmla="*/ 889349 h 1273968"/>
                <a:gd name="connsiteX1198" fmla="*/ 1444466 w 1489995"/>
                <a:gd name="connsiteY1198" fmla="*/ 891540 h 1273968"/>
                <a:gd name="connsiteX1199" fmla="*/ 1441228 w 1489995"/>
                <a:gd name="connsiteY1199" fmla="*/ 892016 h 1273968"/>
                <a:gd name="connsiteX1200" fmla="*/ 1441704 w 1489995"/>
                <a:gd name="connsiteY1200" fmla="*/ 895160 h 1273968"/>
                <a:gd name="connsiteX1201" fmla="*/ 1440085 w 1489995"/>
                <a:gd name="connsiteY1201" fmla="*/ 895350 h 1273968"/>
                <a:gd name="connsiteX1202" fmla="*/ 1436084 w 1489995"/>
                <a:gd name="connsiteY1202" fmla="*/ 889445 h 1273968"/>
                <a:gd name="connsiteX1203" fmla="*/ 1431036 w 1489995"/>
                <a:gd name="connsiteY1203" fmla="*/ 886873 h 1273968"/>
                <a:gd name="connsiteX1204" fmla="*/ 1428083 w 1489995"/>
                <a:gd name="connsiteY1204" fmla="*/ 888873 h 1273968"/>
                <a:gd name="connsiteX1205" fmla="*/ 1418177 w 1489995"/>
                <a:gd name="connsiteY1205" fmla="*/ 899732 h 1273968"/>
                <a:gd name="connsiteX1206" fmla="*/ 1418558 w 1489995"/>
                <a:gd name="connsiteY1206" fmla="*/ 902875 h 1273968"/>
                <a:gd name="connsiteX1207" fmla="*/ 1413701 w 1489995"/>
                <a:gd name="connsiteY1207" fmla="*/ 901922 h 1273968"/>
                <a:gd name="connsiteX1208" fmla="*/ 1411129 w 1489995"/>
                <a:gd name="connsiteY1208" fmla="*/ 907066 h 1273968"/>
                <a:gd name="connsiteX1209" fmla="*/ 1407223 w 1489995"/>
                <a:gd name="connsiteY1209" fmla="*/ 913924 h 1273968"/>
                <a:gd name="connsiteX1210" fmla="*/ 1407795 w 1489995"/>
                <a:gd name="connsiteY1210" fmla="*/ 918686 h 1273968"/>
                <a:gd name="connsiteX1211" fmla="*/ 1409795 w 1489995"/>
                <a:gd name="connsiteY1211" fmla="*/ 921639 h 1273968"/>
                <a:gd name="connsiteX1212" fmla="*/ 1414463 w 1489995"/>
                <a:gd name="connsiteY1212" fmla="*/ 921068 h 1273968"/>
                <a:gd name="connsiteX1213" fmla="*/ 1417606 w 1489995"/>
                <a:gd name="connsiteY1213" fmla="*/ 920591 h 1273968"/>
                <a:gd name="connsiteX1214" fmla="*/ 1416653 w 1489995"/>
                <a:gd name="connsiteY1214" fmla="*/ 925544 h 1273968"/>
                <a:gd name="connsiteX1215" fmla="*/ 1420273 w 1489995"/>
                <a:gd name="connsiteY1215" fmla="*/ 928307 h 1273968"/>
                <a:gd name="connsiteX1216" fmla="*/ 1419225 w 1489995"/>
                <a:gd name="connsiteY1216" fmla="*/ 933260 h 1273968"/>
                <a:gd name="connsiteX1217" fmla="*/ 1424368 w 1489995"/>
                <a:gd name="connsiteY1217" fmla="*/ 935831 h 1273968"/>
                <a:gd name="connsiteX1218" fmla="*/ 1421416 w 1489995"/>
                <a:gd name="connsiteY1218" fmla="*/ 937832 h 1273968"/>
                <a:gd name="connsiteX1219" fmla="*/ 1421892 w 1489995"/>
                <a:gd name="connsiteY1219" fmla="*/ 940975 h 1273968"/>
                <a:gd name="connsiteX1220" fmla="*/ 1419130 w 1489995"/>
                <a:gd name="connsiteY1220" fmla="*/ 944499 h 1273968"/>
                <a:gd name="connsiteX1221" fmla="*/ 1415891 w 1489995"/>
                <a:gd name="connsiteY1221" fmla="*/ 944880 h 1273968"/>
                <a:gd name="connsiteX1222" fmla="*/ 1413224 w 1489995"/>
                <a:gd name="connsiteY1222" fmla="*/ 948499 h 1273968"/>
                <a:gd name="connsiteX1223" fmla="*/ 1413415 w 1489995"/>
                <a:gd name="connsiteY1223" fmla="*/ 950024 h 1273968"/>
                <a:gd name="connsiteX1224" fmla="*/ 1409795 w 1489995"/>
                <a:gd name="connsiteY1224" fmla="*/ 947261 h 1273968"/>
                <a:gd name="connsiteX1225" fmla="*/ 1408271 w 1489995"/>
                <a:gd name="connsiteY1225" fmla="*/ 947452 h 1273968"/>
                <a:gd name="connsiteX1226" fmla="*/ 1406462 w 1489995"/>
                <a:gd name="connsiteY1226" fmla="*/ 946118 h 1273968"/>
                <a:gd name="connsiteX1227" fmla="*/ 1401889 w 1489995"/>
                <a:gd name="connsiteY1227" fmla="*/ 948309 h 1273968"/>
                <a:gd name="connsiteX1228" fmla="*/ 1394841 w 1489995"/>
                <a:gd name="connsiteY1228" fmla="*/ 942785 h 1273968"/>
                <a:gd name="connsiteX1229" fmla="*/ 1395413 w 1489995"/>
                <a:gd name="connsiteY1229" fmla="*/ 947547 h 1273968"/>
                <a:gd name="connsiteX1230" fmla="*/ 1392269 w 1489995"/>
                <a:gd name="connsiteY1230" fmla="*/ 947928 h 1273968"/>
                <a:gd name="connsiteX1231" fmla="*/ 1388745 w 1489995"/>
                <a:gd name="connsiteY1231" fmla="*/ 945166 h 1273968"/>
                <a:gd name="connsiteX1232" fmla="*/ 1387888 w 1489995"/>
                <a:gd name="connsiteY1232" fmla="*/ 938879 h 1273968"/>
                <a:gd name="connsiteX1233" fmla="*/ 1386554 w 1489995"/>
                <a:gd name="connsiteY1233" fmla="*/ 940594 h 1273968"/>
                <a:gd name="connsiteX1234" fmla="*/ 1384744 w 1489995"/>
                <a:gd name="connsiteY1234" fmla="*/ 939260 h 1273968"/>
                <a:gd name="connsiteX1235" fmla="*/ 1382363 w 1489995"/>
                <a:gd name="connsiteY1235" fmla="*/ 946023 h 1273968"/>
                <a:gd name="connsiteX1236" fmla="*/ 1378268 w 1489995"/>
                <a:gd name="connsiteY1236" fmla="*/ 951357 h 1273968"/>
                <a:gd name="connsiteX1237" fmla="*/ 1375886 w 1489995"/>
                <a:gd name="connsiteY1237" fmla="*/ 958024 h 1273968"/>
                <a:gd name="connsiteX1238" fmla="*/ 1377696 w 1489995"/>
                <a:gd name="connsiteY1238" fmla="*/ 959453 h 1273968"/>
                <a:gd name="connsiteX1239" fmla="*/ 1374934 w 1489995"/>
                <a:gd name="connsiteY1239" fmla="*/ 962978 h 1273968"/>
                <a:gd name="connsiteX1240" fmla="*/ 1375696 w 1489995"/>
                <a:gd name="connsiteY1240" fmla="*/ 969264 h 1273968"/>
                <a:gd name="connsiteX1241" fmla="*/ 1374172 w 1489995"/>
                <a:gd name="connsiteY1241" fmla="*/ 969455 h 1273968"/>
                <a:gd name="connsiteX1242" fmla="*/ 1373600 w 1489995"/>
                <a:gd name="connsiteY1242" fmla="*/ 964787 h 1273968"/>
                <a:gd name="connsiteX1243" fmla="*/ 1368647 w 1489995"/>
                <a:gd name="connsiteY1243" fmla="*/ 963740 h 1273968"/>
                <a:gd name="connsiteX1244" fmla="*/ 1361694 w 1489995"/>
                <a:gd name="connsiteY1244" fmla="*/ 972693 h 1273968"/>
                <a:gd name="connsiteX1245" fmla="*/ 1353026 w 1489995"/>
                <a:gd name="connsiteY1245" fmla="*/ 967359 h 1273968"/>
                <a:gd name="connsiteX1246" fmla="*/ 1345597 w 1489995"/>
                <a:gd name="connsiteY1246" fmla="*/ 971550 h 1273968"/>
                <a:gd name="connsiteX1247" fmla="*/ 1338453 w 1489995"/>
                <a:gd name="connsiteY1247" fmla="*/ 978884 h 1273968"/>
                <a:gd name="connsiteX1248" fmla="*/ 1336643 w 1489995"/>
                <a:gd name="connsiteY1248" fmla="*/ 977456 h 1273968"/>
                <a:gd name="connsiteX1249" fmla="*/ 1335310 w 1489995"/>
                <a:gd name="connsiteY1249" fmla="*/ 979265 h 1273968"/>
                <a:gd name="connsiteX1250" fmla="*/ 1330357 w 1489995"/>
                <a:gd name="connsiteY1250" fmla="*/ 978218 h 1273968"/>
                <a:gd name="connsiteX1251" fmla="*/ 1327214 w 1489995"/>
                <a:gd name="connsiteY1251" fmla="*/ 978694 h 1273968"/>
                <a:gd name="connsiteX1252" fmla="*/ 1326833 w 1489995"/>
                <a:gd name="connsiteY1252" fmla="*/ 975551 h 1273968"/>
                <a:gd name="connsiteX1253" fmla="*/ 1325880 w 1489995"/>
                <a:gd name="connsiteY1253" fmla="*/ 980408 h 1273968"/>
                <a:gd name="connsiteX1254" fmla="*/ 1325689 w 1489995"/>
                <a:gd name="connsiteY1254" fmla="*/ 978884 h 1273968"/>
                <a:gd name="connsiteX1255" fmla="*/ 1322451 w 1489995"/>
                <a:gd name="connsiteY1255" fmla="*/ 979265 h 1273968"/>
                <a:gd name="connsiteX1256" fmla="*/ 1317784 w 1489995"/>
                <a:gd name="connsiteY1256" fmla="*/ 979837 h 1273968"/>
                <a:gd name="connsiteX1257" fmla="*/ 1317022 w 1489995"/>
                <a:gd name="connsiteY1257" fmla="*/ 986409 h 1273968"/>
                <a:gd name="connsiteX1258" fmla="*/ 1313402 w 1489995"/>
                <a:gd name="connsiteY1258" fmla="*/ 983647 h 1273968"/>
                <a:gd name="connsiteX1259" fmla="*/ 1312069 w 1489995"/>
                <a:gd name="connsiteY1259" fmla="*/ 985457 h 1273968"/>
                <a:gd name="connsiteX1260" fmla="*/ 1314260 w 1489995"/>
                <a:gd name="connsiteY1260" fmla="*/ 989933 h 1273968"/>
                <a:gd name="connsiteX1261" fmla="*/ 1306544 w 1489995"/>
                <a:gd name="connsiteY1261" fmla="*/ 992505 h 1273968"/>
                <a:gd name="connsiteX1262" fmla="*/ 1306354 w 1489995"/>
                <a:gd name="connsiteY1262" fmla="*/ 990981 h 1273968"/>
                <a:gd name="connsiteX1263" fmla="*/ 1303592 w 1489995"/>
                <a:gd name="connsiteY1263" fmla="*/ 994505 h 1273968"/>
                <a:gd name="connsiteX1264" fmla="*/ 1301591 w 1489995"/>
                <a:gd name="connsiteY1264" fmla="*/ 991553 h 1273968"/>
                <a:gd name="connsiteX1265" fmla="*/ 1298639 w 1489995"/>
                <a:gd name="connsiteY1265" fmla="*/ 993553 h 1273968"/>
                <a:gd name="connsiteX1266" fmla="*/ 1298448 w 1489995"/>
                <a:gd name="connsiteY1266" fmla="*/ 991934 h 1273968"/>
                <a:gd name="connsiteX1267" fmla="*/ 1292162 w 1489995"/>
                <a:gd name="connsiteY1267" fmla="*/ 992791 h 1273968"/>
                <a:gd name="connsiteX1268" fmla="*/ 1291971 w 1489995"/>
                <a:gd name="connsiteY1268" fmla="*/ 991172 h 1273968"/>
                <a:gd name="connsiteX1269" fmla="*/ 1297400 w 1489995"/>
                <a:gd name="connsiteY1269" fmla="*/ 984028 h 1273968"/>
                <a:gd name="connsiteX1270" fmla="*/ 1295495 w 1489995"/>
                <a:gd name="connsiteY1270" fmla="*/ 981075 h 1273968"/>
                <a:gd name="connsiteX1271" fmla="*/ 1292257 w 1489995"/>
                <a:gd name="connsiteY1271" fmla="*/ 981551 h 1273968"/>
                <a:gd name="connsiteX1272" fmla="*/ 1289590 w 1489995"/>
                <a:gd name="connsiteY1272" fmla="*/ 985076 h 1273968"/>
                <a:gd name="connsiteX1273" fmla="*/ 1286161 w 1489995"/>
                <a:gd name="connsiteY1273" fmla="*/ 983932 h 1273968"/>
                <a:gd name="connsiteX1274" fmla="*/ 1283589 w 1489995"/>
                <a:gd name="connsiteY1274" fmla="*/ 989076 h 1273968"/>
                <a:gd name="connsiteX1275" fmla="*/ 1278922 w 1489995"/>
                <a:gd name="connsiteY1275" fmla="*/ 989648 h 1273968"/>
                <a:gd name="connsiteX1276" fmla="*/ 1277112 w 1489995"/>
                <a:gd name="connsiteY1276" fmla="*/ 988219 h 1273968"/>
                <a:gd name="connsiteX1277" fmla="*/ 1273207 w 1489995"/>
                <a:gd name="connsiteY1277" fmla="*/ 995172 h 1273968"/>
                <a:gd name="connsiteX1278" fmla="*/ 1271588 w 1489995"/>
                <a:gd name="connsiteY1278" fmla="*/ 995362 h 1273968"/>
                <a:gd name="connsiteX1279" fmla="*/ 1272064 w 1489995"/>
                <a:gd name="connsiteY1279" fmla="*/ 998506 h 1273968"/>
                <a:gd name="connsiteX1280" fmla="*/ 1275398 w 1489995"/>
                <a:gd name="connsiteY1280" fmla="*/ 999744 h 1273968"/>
                <a:gd name="connsiteX1281" fmla="*/ 1273969 w 1489995"/>
                <a:gd name="connsiteY1281" fmla="*/ 1001459 h 1273968"/>
                <a:gd name="connsiteX1282" fmla="*/ 1275969 w 1489995"/>
                <a:gd name="connsiteY1282" fmla="*/ 1004411 h 1273968"/>
                <a:gd name="connsiteX1283" fmla="*/ 1268444 w 1489995"/>
                <a:gd name="connsiteY1283" fmla="*/ 1008602 h 1273968"/>
                <a:gd name="connsiteX1284" fmla="*/ 1269683 w 1489995"/>
                <a:gd name="connsiteY1284" fmla="*/ 1018032 h 1273968"/>
                <a:gd name="connsiteX1285" fmla="*/ 1270540 w 1489995"/>
                <a:gd name="connsiteY1285" fmla="*/ 1024414 h 1273968"/>
                <a:gd name="connsiteX1286" fmla="*/ 1256729 w 1489995"/>
                <a:gd name="connsiteY1286" fmla="*/ 1029367 h 1273968"/>
                <a:gd name="connsiteX1287" fmla="*/ 1258634 w 1489995"/>
                <a:gd name="connsiteY1287" fmla="*/ 1032320 h 1273968"/>
                <a:gd name="connsiteX1288" fmla="*/ 1253395 w 1489995"/>
                <a:gd name="connsiteY1288" fmla="*/ 1040987 h 1273968"/>
                <a:gd name="connsiteX1289" fmla="*/ 1251776 w 1489995"/>
                <a:gd name="connsiteY1289" fmla="*/ 1041178 h 1273968"/>
                <a:gd name="connsiteX1290" fmla="*/ 1251394 w 1489995"/>
                <a:gd name="connsiteY1290" fmla="*/ 1038035 h 1273968"/>
                <a:gd name="connsiteX1291" fmla="*/ 1250061 w 1489995"/>
                <a:gd name="connsiteY1291" fmla="*/ 1039844 h 1273968"/>
                <a:gd name="connsiteX1292" fmla="*/ 1250061 w 1489995"/>
                <a:gd name="connsiteY1292" fmla="*/ 1039844 h 1273968"/>
                <a:gd name="connsiteX1293" fmla="*/ 1246823 w 1489995"/>
                <a:gd name="connsiteY1293" fmla="*/ 1040225 h 1273968"/>
                <a:gd name="connsiteX1294" fmla="*/ 1248632 w 1489995"/>
                <a:gd name="connsiteY1294" fmla="*/ 1041559 h 1273968"/>
                <a:gd name="connsiteX1295" fmla="*/ 1245489 w 1489995"/>
                <a:gd name="connsiteY1295" fmla="*/ 1042035 h 1273968"/>
                <a:gd name="connsiteX1296" fmla="*/ 1247489 w 1489995"/>
                <a:gd name="connsiteY1296" fmla="*/ 1044988 h 1273968"/>
                <a:gd name="connsiteX1297" fmla="*/ 1244727 w 1489995"/>
                <a:gd name="connsiteY1297" fmla="*/ 1048512 h 1273968"/>
                <a:gd name="connsiteX1298" fmla="*/ 1243775 w 1489995"/>
                <a:gd name="connsiteY1298" fmla="*/ 1053465 h 1273968"/>
                <a:gd name="connsiteX1299" fmla="*/ 1242536 w 1489995"/>
                <a:gd name="connsiteY1299" fmla="*/ 1056799 h 1273968"/>
                <a:gd name="connsiteX1300" fmla="*/ 1244727 w 1489995"/>
                <a:gd name="connsiteY1300" fmla="*/ 1061371 h 1273968"/>
                <a:gd name="connsiteX1301" fmla="*/ 1242822 w 1489995"/>
                <a:gd name="connsiteY1301" fmla="*/ 1071182 h 1273968"/>
                <a:gd name="connsiteX1302" fmla="*/ 1245013 w 1489995"/>
                <a:gd name="connsiteY1302" fmla="*/ 1075754 h 1273968"/>
                <a:gd name="connsiteX1303" fmla="*/ 1243965 w 1489995"/>
                <a:gd name="connsiteY1303" fmla="*/ 1080707 h 1273968"/>
                <a:gd name="connsiteX1304" fmla="*/ 1247585 w 1489995"/>
                <a:gd name="connsiteY1304" fmla="*/ 1083469 h 1273968"/>
                <a:gd name="connsiteX1305" fmla="*/ 1245965 w 1489995"/>
                <a:gd name="connsiteY1305" fmla="*/ 1083659 h 1273968"/>
                <a:gd name="connsiteX1306" fmla="*/ 1248537 w 1489995"/>
                <a:gd name="connsiteY1306" fmla="*/ 1091375 h 1273968"/>
                <a:gd name="connsiteX1307" fmla="*/ 1251680 w 1489995"/>
                <a:gd name="connsiteY1307" fmla="*/ 1090898 h 1273968"/>
                <a:gd name="connsiteX1308" fmla="*/ 1255681 w 1489995"/>
                <a:gd name="connsiteY1308" fmla="*/ 1084040 h 1273968"/>
                <a:gd name="connsiteX1309" fmla="*/ 1263587 w 1489995"/>
                <a:gd name="connsiteY1309" fmla="*/ 1095851 h 1273968"/>
                <a:gd name="connsiteX1310" fmla="*/ 1271302 w 1489995"/>
                <a:gd name="connsiteY1310" fmla="*/ 1093280 h 1273968"/>
                <a:gd name="connsiteX1311" fmla="*/ 1282541 w 1489995"/>
                <a:gd name="connsiteY1311" fmla="*/ 1093375 h 1273968"/>
                <a:gd name="connsiteX1312" fmla="*/ 1281493 w 1489995"/>
                <a:gd name="connsiteY1312" fmla="*/ 1098328 h 1273968"/>
                <a:gd name="connsiteX1313" fmla="*/ 1285875 w 1489995"/>
                <a:gd name="connsiteY1313" fmla="*/ 1107377 h 1273968"/>
                <a:gd name="connsiteX1314" fmla="*/ 1293590 w 1489995"/>
                <a:gd name="connsiteY1314" fmla="*/ 1117664 h 1273968"/>
                <a:gd name="connsiteX1315" fmla="*/ 1294257 w 1489995"/>
                <a:gd name="connsiteY1315" fmla="*/ 1122426 h 1273968"/>
                <a:gd name="connsiteX1316" fmla="*/ 1291304 w 1489995"/>
                <a:gd name="connsiteY1316" fmla="*/ 1124331 h 1273968"/>
                <a:gd name="connsiteX1317" fmla="*/ 1290066 w 1489995"/>
                <a:gd name="connsiteY1317" fmla="*/ 1127760 h 1273968"/>
                <a:gd name="connsiteX1318" fmla="*/ 1293876 w 1489995"/>
                <a:gd name="connsiteY1318" fmla="*/ 1132046 h 1273968"/>
                <a:gd name="connsiteX1319" fmla="*/ 1290161 w 1489995"/>
                <a:gd name="connsiteY1319" fmla="*/ 1140524 h 1273968"/>
                <a:gd name="connsiteX1320" fmla="*/ 1286542 w 1489995"/>
                <a:gd name="connsiteY1320" fmla="*/ 1137761 h 1273968"/>
                <a:gd name="connsiteX1321" fmla="*/ 1287209 w 1489995"/>
                <a:gd name="connsiteY1321" fmla="*/ 1142524 h 1273968"/>
                <a:gd name="connsiteX1322" fmla="*/ 1285399 w 1489995"/>
                <a:gd name="connsiteY1322" fmla="*/ 1141190 h 1273968"/>
                <a:gd name="connsiteX1323" fmla="*/ 1285589 w 1489995"/>
                <a:gd name="connsiteY1323" fmla="*/ 1142714 h 1273968"/>
                <a:gd name="connsiteX1324" fmla="*/ 1283970 w 1489995"/>
                <a:gd name="connsiteY1324" fmla="*/ 1142905 h 1273968"/>
                <a:gd name="connsiteX1325" fmla="*/ 1279684 w 1489995"/>
                <a:gd name="connsiteY1325" fmla="*/ 1146715 h 1273968"/>
                <a:gd name="connsiteX1326" fmla="*/ 1280255 w 1489995"/>
                <a:gd name="connsiteY1326" fmla="*/ 1151477 h 1273968"/>
                <a:gd name="connsiteX1327" fmla="*/ 1274159 w 1489995"/>
                <a:gd name="connsiteY1327" fmla="*/ 1153859 h 1273968"/>
                <a:gd name="connsiteX1328" fmla="*/ 1273969 w 1489995"/>
                <a:gd name="connsiteY1328" fmla="*/ 1152239 h 1273968"/>
                <a:gd name="connsiteX1329" fmla="*/ 1270826 w 1489995"/>
                <a:gd name="connsiteY1329" fmla="*/ 1152620 h 1273968"/>
                <a:gd name="connsiteX1330" fmla="*/ 1266254 w 1489995"/>
                <a:gd name="connsiteY1330" fmla="*/ 1154811 h 1273968"/>
                <a:gd name="connsiteX1331" fmla="*/ 1264253 w 1489995"/>
                <a:gd name="connsiteY1331" fmla="*/ 1151858 h 1273968"/>
                <a:gd name="connsiteX1332" fmla="*/ 1261586 w 1489995"/>
                <a:gd name="connsiteY1332" fmla="*/ 1155383 h 1273968"/>
                <a:gd name="connsiteX1333" fmla="*/ 1259110 w 1489995"/>
                <a:gd name="connsiteY1333" fmla="*/ 1149287 h 1273968"/>
                <a:gd name="connsiteX1334" fmla="*/ 1252252 w 1489995"/>
                <a:gd name="connsiteY1334" fmla="*/ 1145381 h 1273968"/>
                <a:gd name="connsiteX1335" fmla="*/ 1251109 w 1489995"/>
                <a:gd name="connsiteY1335" fmla="*/ 1148715 h 1273968"/>
                <a:gd name="connsiteX1336" fmla="*/ 1246156 w 1489995"/>
                <a:gd name="connsiteY1336" fmla="*/ 1147762 h 1273968"/>
                <a:gd name="connsiteX1337" fmla="*/ 1247108 w 1489995"/>
                <a:gd name="connsiteY1337" fmla="*/ 1155668 h 1273968"/>
                <a:gd name="connsiteX1338" fmla="*/ 1247108 w 1489995"/>
                <a:gd name="connsiteY1338" fmla="*/ 1155668 h 1273968"/>
                <a:gd name="connsiteX1339" fmla="*/ 1244156 w 1489995"/>
                <a:gd name="connsiteY1339" fmla="*/ 1157669 h 1273968"/>
                <a:gd name="connsiteX1340" fmla="*/ 1240631 w 1489995"/>
                <a:gd name="connsiteY1340" fmla="*/ 1154906 h 1273968"/>
                <a:gd name="connsiteX1341" fmla="*/ 1241774 w 1489995"/>
                <a:gd name="connsiteY1341" fmla="*/ 1151573 h 1273968"/>
                <a:gd name="connsiteX1342" fmla="*/ 1237107 w 1489995"/>
                <a:gd name="connsiteY1342" fmla="*/ 1152144 h 1273968"/>
                <a:gd name="connsiteX1343" fmla="*/ 1237488 w 1489995"/>
                <a:gd name="connsiteY1343" fmla="*/ 1155287 h 1273968"/>
                <a:gd name="connsiteX1344" fmla="*/ 1241012 w 1489995"/>
                <a:gd name="connsiteY1344" fmla="*/ 1158050 h 1273968"/>
                <a:gd name="connsiteX1345" fmla="*/ 1240060 w 1489995"/>
                <a:gd name="connsiteY1345" fmla="*/ 1163003 h 1273968"/>
                <a:gd name="connsiteX1346" fmla="*/ 1235297 w 1489995"/>
                <a:gd name="connsiteY1346" fmla="*/ 1163574 h 1273968"/>
                <a:gd name="connsiteX1347" fmla="*/ 1235678 w 1489995"/>
                <a:gd name="connsiteY1347" fmla="*/ 1166717 h 1273968"/>
                <a:gd name="connsiteX1348" fmla="*/ 1234345 w 1489995"/>
                <a:gd name="connsiteY1348" fmla="*/ 1168527 h 1273968"/>
                <a:gd name="connsiteX1349" fmla="*/ 1233202 w 1489995"/>
                <a:gd name="connsiteY1349" fmla="*/ 1171861 h 1273968"/>
                <a:gd name="connsiteX1350" fmla="*/ 1235107 w 1489995"/>
                <a:gd name="connsiteY1350" fmla="*/ 1174814 h 1273968"/>
                <a:gd name="connsiteX1351" fmla="*/ 1233773 w 1489995"/>
                <a:gd name="connsiteY1351" fmla="*/ 1176623 h 1273968"/>
                <a:gd name="connsiteX1352" fmla="*/ 1233964 w 1489995"/>
                <a:gd name="connsiteY1352" fmla="*/ 1178147 h 1273968"/>
                <a:gd name="connsiteX1353" fmla="*/ 1225868 w 1489995"/>
                <a:gd name="connsiteY1353" fmla="*/ 1177576 h 1273968"/>
                <a:gd name="connsiteX1354" fmla="*/ 1225296 w 1489995"/>
                <a:gd name="connsiteY1354" fmla="*/ 1172909 h 1273968"/>
                <a:gd name="connsiteX1355" fmla="*/ 1222915 w 1489995"/>
                <a:gd name="connsiteY1355" fmla="*/ 1166812 h 1273968"/>
                <a:gd name="connsiteX1356" fmla="*/ 1215962 w 1489995"/>
                <a:gd name="connsiteY1356" fmla="*/ 1162812 h 1273968"/>
                <a:gd name="connsiteX1357" fmla="*/ 1216343 w 1489995"/>
                <a:gd name="connsiteY1357" fmla="*/ 1165955 h 1273968"/>
                <a:gd name="connsiteX1358" fmla="*/ 1214628 w 1489995"/>
                <a:gd name="connsiteY1358" fmla="*/ 1164622 h 1273968"/>
                <a:gd name="connsiteX1359" fmla="*/ 1214818 w 1489995"/>
                <a:gd name="connsiteY1359" fmla="*/ 1166146 h 1273968"/>
                <a:gd name="connsiteX1360" fmla="*/ 1211675 w 1489995"/>
                <a:gd name="connsiteY1360" fmla="*/ 1166622 h 1273968"/>
                <a:gd name="connsiteX1361" fmla="*/ 1206913 w 1489995"/>
                <a:gd name="connsiteY1361" fmla="*/ 1167194 h 1273968"/>
                <a:gd name="connsiteX1362" fmla="*/ 1205103 w 1489995"/>
                <a:gd name="connsiteY1362" fmla="*/ 1165860 h 1273968"/>
                <a:gd name="connsiteX1363" fmla="*/ 1203103 w 1489995"/>
                <a:gd name="connsiteY1363" fmla="*/ 1162907 h 1273968"/>
                <a:gd name="connsiteX1364" fmla="*/ 1202912 w 1489995"/>
                <a:gd name="connsiteY1364" fmla="*/ 1161288 h 1273968"/>
                <a:gd name="connsiteX1365" fmla="*/ 1198245 w 1489995"/>
                <a:gd name="connsiteY1365" fmla="*/ 1161860 h 1273968"/>
                <a:gd name="connsiteX1366" fmla="*/ 1199198 w 1489995"/>
                <a:gd name="connsiteY1366" fmla="*/ 1157002 h 1273968"/>
                <a:gd name="connsiteX1367" fmla="*/ 1200722 w 1489995"/>
                <a:gd name="connsiteY1367" fmla="*/ 1156716 h 1273968"/>
                <a:gd name="connsiteX1368" fmla="*/ 1202150 w 1489995"/>
                <a:gd name="connsiteY1368" fmla="*/ 1155002 h 1273968"/>
                <a:gd name="connsiteX1369" fmla="*/ 1197388 w 1489995"/>
                <a:gd name="connsiteY1369" fmla="*/ 1155573 h 1273968"/>
                <a:gd name="connsiteX1370" fmla="*/ 1196245 w 1489995"/>
                <a:gd name="connsiteY1370" fmla="*/ 1158907 h 1273968"/>
                <a:gd name="connsiteX1371" fmla="*/ 1194435 w 1489995"/>
                <a:gd name="connsiteY1371" fmla="*/ 1157573 h 1273968"/>
                <a:gd name="connsiteX1372" fmla="*/ 1191292 w 1489995"/>
                <a:gd name="connsiteY1372" fmla="*/ 1157954 h 1273968"/>
                <a:gd name="connsiteX1373" fmla="*/ 1192339 w 1489995"/>
                <a:gd name="connsiteY1373" fmla="*/ 1165860 h 1273968"/>
                <a:gd name="connsiteX1374" fmla="*/ 1187196 w 1489995"/>
                <a:gd name="connsiteY1374" fmla="*/ 1163288 h 1273968"/>
                <a:gd name="connsiteX1375" fmla="*/ 1179481 w 1489995"/>
                <a:gd name="connsiteY1375" fmla="*/ 1165860 h 1273968"/>
                <a:gd name="connsiteX1376" fmla="*/ 1177862 w 1489995"/>
                <a:gd name="connsiteY1376" fmla="*/ 1166051 h 1273968"/>
                <a:gd name="connsiteX1377" fmla="*/ 1178338 w 1489995"/>
                <a:gd name="connsiteY1377" fmla="*/ 1169194 h 1273968"/>
                <a:gd name="connsiteX1378" fmla="*/ 1175099 w 1489995"/>
                <a:gd name="connsiteY1378" fmla="*/ 1169670 h 1273968"/>
                <a:gd name="connsiteX1379" fmla="*/ 1171575 w 1489995"/>
                <a:gd name="connsiteY1379" fmla="*/ 1166908 h 1273968"/>
                <a:gd name="connsiteX1380" fmla="*/ 1170432 w 1489995"/>
                <a:gd name="connsiteY1380" fmla="*/ 1170241 h 1273968"/>
                <a:gd name="connsiteX1381" fmla="*/ 1167289 w 1489995"/>
                <a:gd name="connsiteY1381" fmla="*/ 1170623 h 1273968"/>
                <a:gd name="connsiteX1382" fmla="*/ 1163860 w 1489995"/>
                <a:gd name="connsiteY1382" fmla="*/ 1169480 h 1273968"/>
                <a:gd name="connsiteX1383" fmla="*/ 1157954 w 1489995"/>
                <a:gd name="connsiteY1383" fmla="*/ 1173385 h 1273968"/>
                <a:gd name="connsiteX1384" fmla="*/ 1150715 w 1489995"/>
                <a:gd name="connsiteY1384" fmla="*/ 1166336 h 1273968"/>
                <a:gd name="connsiteX1385" fmla="*/ 1146143 w 1489995"/>
                <a:gd name="connsiteY1385" fmla="*/ 1168527 h 1273968"/>
                <a:gd name="connsiteX1386" fmla="*/ 1143952 w 1489995"/>
                <a:gd name="connsiteY1386" fmla="*/ 1163955 h 1273968"/>
                <a:gd name="connsiteX1387" fmla="*/ 1137856 w 1489995"/>
                <a:gd name="connsiteY1387" fmla="*/ 1166336 h 1273968"/>
                <a:gd name="connsiteX1388" fmla="*/ 1136618 w 1489995"/>
                <a:gd name="connsiteY1388" fmla="*/ 1169765 h 1273968"/>
                <a:gd name="connsiteX1389" fmla="*/ 1134904 w 1489995"/>
                <a:gd name="connsiteY1389" fmla="*/ 1168337 h 1273968"/>
                <a:gd name="connsiteX1390" fmla="*/ 1133475 w 1489995"/>
                <a:gd name="connsiteY1390" fmla="*/ 1170146 h 1273968"/>
                <a:gd name="connsiteX1391" fmla="*/ 1131284 w 1489995"/>
                <a:gd name="connsiteY1391" fmla="*/ 1165574 h 1273968"/>
                <a:gd name="connsiteX1392" fmla="*/ 1129760 w 1489995"/>
                <a:gd name="connsiteY1392" fmla="*/ 1165765 h 1273968"/>
                <a:gd name="connsiteX1393" fmla="*/ 1129951 w 1489995"/>
                <a:gd name="connsiteY1393" fmla="*/ 1167384 h 1273968"/>
                <a:gd name="connsiteX1394" fmla="*/ 1124807 w 1489995"/>
                <a:gd name="connsiteY1394" fmla="*/ 1164812 h 1273968"/>
                <a:gd name="connsiteX1395" fmla="*/ 1126236 w 1489995"/>
                <a:gd name="connsiteY1395" fmla="*/ 1163098 h 1273968"/>
                <a:gd name="connsiteX1396" fmla="*/ 1120902 w 1489995"/>
                <a:gd name="connsiteY1396" fmla="*/ 1158907 h 1273968"/>
                <a:gd name="connsiteX1397" fmla="*/ 1120616 w 1489995"/>
                <a:gd name="connsiteY1397" fmla="*/ 1157383 h 1273968"/>
                <a:gd name="connsiteX1398" fmla="*/ 1108234 w 1489995"/>
                <a:gd name="connsiteY1398" fmla="*/ 1160526 h 1273968"/>
                <a:gd name="connsiteX1399" fmla="*/ 1101947 w 1489995"/>
                <a:gd name="connsiteY1399" fmla="*/ 1161288 h 1273968"/>
                <a:gd name="connsiteX1400" fmla="*/ 1096804 w 1489995"/>
                <a:gd name="connsiteY1400" fmla="*/ 1171575 h 1273968"/>
                <a:gd name="connsiteX1401" fmla="*/ 1100328 w 1489995"/>
                <a:gd name="connsiteY1401" fmla="*/ 1174337 h 1273968"/>
                <a:gd name="connsiteX1402" fmla="*/ 1105281 w 1489995"/>
                <a:gd name="connsiteY1402" fmla="*/ 1175290 h 1273968"/>
                <a:gd name="connsiteX1403" fmla="*/ 1109281 w 1489995"/>
                <a:gd name="connsiteY1403" fmla="*/ 1181195 h 1273968"/>
                <a:gd name="connsiteX1404" fmla="*/ 1107853 w 1489995"/>
                <a:gd name="connsiteY1404" fmla="*/ 1183005 h 1273968"/>
                <a:gd name="connsiteX1405" fmla="*/ 1110043 w 1489995"/>
                <a:gd name="connsiteY1405" fmla="*/ 1187577 h 1273968"/>
                <a:gd name="connsiteX1406" fmla="*/ 1108710 w 1489995"/>
                <a:gd name="connsiteY1406" fmla="*/ 1189291 h 1273968"/>
                <a:gd name="connsiteX1407" fmla="*/ 1102614 w 1489995"/>
                <a:gd name="connsiteY1407" fmla="*/ 1191673 h 1273968"/>
                <a:gd name="connsiteX1408" fmla="*/ 1091089 w 1489995"/>
                <a:gd name="connsiteY1408" fmla="*/ 1189958 h 1273968"/>
                <a:gd name="connsiteX1409" fmla="*/ 1088612 w 1489995"/>
                <a:gd name="connsiteY1409" fmla="*/ 1195102 h 1273968"/>
                <a:gd name="connsiteX1410" fmla="*/ 1081468 w 1489995"/>
                <a:gd name="connsiteY1410" fmla="*/ 1189577 h 1273968"/>
                <a:gd name="connsiteX1411" fmla="*/ 1076706 w 1489995"/>
                <a:gd name="connsiteY1411" fmla="*/ 1190244 h 1273968"/>
                <a:gd name="connsiteX1412" fmla="*/ 1073944 w 1489995"/>
                <a:gd name="connsiteY1412" fmla="*/ 1193768 h 1273968"/>
                <a:gd name="connsiteX1413" fmla="*/ 1074801 w 1489995"/>
                <a:gd name="connsiteY1413" fmla="*/ 1200055 h 1273968"/>
                <a:gd name="connsiteX1414" fmla="*/ 1073372 w 1489995"/>
                <a:gd name="connsiteY1414" fmla="*/ 1201865 h 1273968"/>
                <a:gd name="connsiteX1415" fmla="*/ 1072039 w 1489995"/>
                <a:gd name="connsiteY1415" fmla="*/ 1203579 h 1273968"/>
                <a:gd name="connsiteX1416" fmla="*/ 1075563 w 1489995"/>
                <a:gd name="connsiteY1416" fmla="*/ 1206341 h 1273968"/>
                <a:gd name="connsiteX1417" fmla="*/ 1079754 w 1489995"/>
                <a:gd name="connsiteY1417" fmla="*/ 1213866 h 1273968"/>
                <a:gd name="connsiteX1418" fmla="*/ 1076611 w 1489995"/>
                <a:gd name="connsiteY1418" fmla="*/ 1214247 h 1273968"/>
                <a:gd name="connsiteX1419" fmla="*/ 1071848 w 1489995"/>
                <a:gd name="connsiteY1419" fmla="*/ 1214914 h 1273968"/>
                <a:gd name="connsiteX1420" fmla="*/ 1070515 w 1489995"/>
                <a:gd name="connsiteY1420" fmla="*/ 1216628 h 1273968"/>
                <a:gd name="connsiteX1421" fmla="*/ 1071277 w 1489995"/>
                <a:gd name="connsiteY1421" fmla="*/ 1223010 h 1273968"/>
                <a:gd name="connsiteX1422" fmla="*/ 1066514 w 1489995"/>
                <a:gd name="connsiteY1422" fmla="*/ 1223582 h 1273968"/>
                <a:gd name="connsiteX1423" fmla="*/ 1065562 w 1489995"/>
                <a:gd name="connsiteY1423" fmla="*/ 1228535 h 1273968"/>
                <a:gd name="connsiteX1424" fmla="*/ 1064038 w 1489995"/>
                <a:gd name="connsiteY1424" fmla="*/ 1228725 h 1273968"/>
                <a:gd name="connsiteX1425" fmla="*/ 1058894 w 1489995"/>
                <a:gd name="connsiteY1425" fmla="*/ 1226153 h 1273968"/>
                <a:gd name="connsiteX1426" fmla="*/ 1056323 w 1489995"/>
                <a:gd name="connsiteY1426" fmla="*/ 1231297 h 1273968"/>
                <a:gd name="connsiteX1427" fmla="*/ 1051369 w 1489995"/>
                <a:gd name="connsiteY1427" fmla="*/ 1230344 h 1273968"/>
                <a:gd name="connsiteX1428" fmla="*/ 1048988 w 1489995"/>
                <a:gd name="connsiteY1428" fmla="*/ 1224248 h 1273968"/>
                <a:gd name="connsiteX1429" fmla="*/ 1041844 w 1489995"/>
                <a:gd name="connsiteY1429" fmla="*/ 1218724 h 1273968"/>
                <a:gd name="connsiteX1430" fmla="*/ 1046226 w 1489995"/>
                <a:gd name="connsiteY1430" fmla="*/ 1214914 h 1273968"/>
                <a:gd name="connsiteX1431" fmla="*/ 1041083 w 1489995"/>
                <a:gd name="connsiteY1431" fmla="*/ 1212342 h 1273968"/>
                <a:gd name="connsiteX1432" fmla="*/ 1039082 w 1489995"/>
                <a:gd name="connsiteY1432" fmla="*/ 1209389 h 1273968"/>
                <a:gd name="connsiteX1433" fmla="*/ 1040511 w 1489995"/>
                <a:gd name="connsiteY1433" fmla="*/ 1207675 h 1273968"/>
                <a:gd name="connsiteX1434" fmla="*/ 1038701 w 1489995"/>
                <a:gd name="connsiteY1434" fmla="*/ 1206246 h 1273968"/>
                <a:gd name="connsiteX1435" fmla="*/ 1036892 w 1489995"/>
                <a:gd name="connsiteY1435" fmla="*/ 1204912 h 1273968"/>
                <a:gd name="connsiteX1436" fmla="*/ 1035463 w 1489995"/>
                <a:gd name="connsiteY1436" fmla="*/ 1193864 h 1273968"/>
                <a:gd name="connsiteX1437" fmla="*/ 1031176 w 1489995"/>
                <a:gd name="connsiteY1437" fmla="*/ 1197578 h 1273968"/>
                <a:gd name="connsiteX1438" fmla="*/ 1032319 w 1489995"/>
                <a:gd name="connsiteY1438" fmla="*/ 1194245 h 1273968"/>
                <a:gd name="connsiteX1439" fmla="*/ 1031938 w 1489995"/>
                <a:gd name="connsiteY1439" fmla="*/ 1191101 h 1273968"/>
                <a:gd name="connsiteX1440" fmla="*/ 1030319 w 1489995"/>
                <a:gd name="connsiteY1440" fmla="*/ 1191292 h 1273968"/>
                <a:gd name="connsiteX1441" fmla="*/ 1031748 w 1489995"/>
                <a:gd name="connsiteY1441" fmla="*/ 1189482 h 1273968"/>
                <a:gd name="connsiteX1442" fmla="*/ 1031176 w 1489995"/>
                <a:gd name="connsiteY1442" fmla="*/ 1184815 h 1273968"/>
                <a:gd name="connsiteX1443" fmla="*/ 1026223 w 1489995"/>
                <a:gd name="connsiteY1443" fmla="*/ 1183767 h 1273968"/>
                <a:gd name="connsiteX1444" fmla="*/ 1029367 w 1489995"/>
                <a:gd name="connsiteY1444" fmla="*/ 1183386 h 1273968"/>
                <a:gd name="connsiteX1445" fmla="*/ 1032510 w 1489995"/>
                <a:gd name="connsiteY1445" fmla="*/ 1183005 h 1273968"/>
                <a:gd name="connsiteX1446" fmla="*/ 1032319 w 1489995"/>
                <a:gd name="connsiteY1446" fmla="*/ 1181386 h 1273968"/>
                <a:gd name="connsiteX1447" fmla="*/ 1025557 w 1489995"/>
                <a:gd name="connsiteY1447" fmla="*/ 1179100 h 1273968"/>
                <a:gd name="connsiteX1448" fmla="*/ 1025176 w 1489995"/>
                <a:gd name="connsiteY1448" fmla="*/ 1175957 h 1273968"/>
                <a:gd name="connsiteX1449" fmla="*/ 1024223 w 1489995"/>
                <a:gd name="connsiteY1449" fmla="*/ 1180814 h 1273968"/>
                <a:gd name="connsiteX1450" fmla="*/ 1021080 w 1489995"/>
                <a:gd name="connsiteY1450" fmla="*/ 1181291 h 1273968"/>
                <a:gd name="connsiteX1451" fmla="*/ 1019080 w 1489995"/>
                <a:gd name="connsiteY1451" fmla="*/ 1178338 h 1273968"/>
                <a:gd name="connsiteX1452" fmla="*/ 1016127 w 1489995"/>
                <a:gd name="connsiteY1452" fmla="*/ 1180243 h 1273968"/>
                <a:gd name="connsiteX1453" fmla="*/ 1012603 w 1489995"/>
                <a:gd name="connsiteY1453" fmla="*/ 1190339 h 1273968"/>
                <a:gd name="connsiteX1454" fmla="*/ 1014413 w 1489995"/>
                <a:gd name="connsiteY1454" fmla="*/ 1191768 h 1273968"/>
                <a:gd name="connsiteX1455" fmla="*/ 1012984 w 1489995"/>
                <a:gd name="connsiteY1455" fmla="*/ 1193483 h 1273968"/>
                <a:gd name="connsiteX1456" fmla="*/ 1009650 w 1489995"/>
                <a:gd name="connsiteY1456" fmla="*/ 1192340 h 1273968"/>
                <a:gd name="connsiteX1457" fmla="*/ 1009079 w 1489995"/>
                <a:gd name="connsiteY1457" fmla="*/ 1187577 h 1273968"/>
                <a:gd name="connsiteX1458" fmla="*/ 1005268 w 1489995"/>
                <a:gd name="connsiteY1458" fmla="*/ 1183291 h 1273968"/>
                <a:gd name="connsiteX1459" fmla="*/ 1003744 w 1489995"/>
                <a:gd name="connsiteY1459" fmla="*/ 1183481 h 1273968"/>
                <a:gd name="connsiteX1460" fmla="*/ 998601 w 1489995"/>
                <a:gd name="connsiteY1460" fmla="*/ 1180910 h 1273968"/>
                <a:gd name="connsiteX1461" fmla="*/ 992791 w 1489995"/>
                <a:gd name="connsiteY1461" fmla="*/ 1173671 h 1273968"/>
                <a:gd name="connsiteX1462" fmla="*/ 988219 w 1489995"/>
                <a:gd name="connsiteY1462" fmla="*/ 1163003 h 1273968"/>
                <a:gd name="connsiteX1463" fmla="*/ 985076 w 1489995"/>
                <a:gd name="connsiteY1463" fmla="*/ 1163384 h 1273968"/>
                <a:gd name="connsiteX1464" fmla="*/ 981932 w 1489995"/>
                <a:gd name="connsiteY1464" fmla="*/ 1163765 h 1273968"/>
                <a:gd name="connsiteX1465" fmla="*/ 965359 w 1489995"/>
                <a:gd name="connsiteY1465" fmla="*/ 1159478 h 1273968"/>
                <a:gd name="connsiteX1466" fmla="*/ 962977 w 1489995"/>
                <a:gd name="connsiteY1466" fmla="*/ 1153382 h 1273968"/>
                <a:gd name="connsiteX1467" fmla="*/ 953643 w 1489995"/>
                <a:gd name="connsiteY1467" fmla="*/ 1143286 h 1273968"/>
                <a:gd name="connsiteX1468" fmla="*/ 955072 w 1489995"/>
                <a:gd name="connsiteY1468" fmla="*/ 1141571 h 1273968"/>
                <a:gd name="connsiteX1469" fmla="*/ 953262 w 1489995"/>
                <a:gd name="connsiteY1469" fmla="*/ 1140143 h 1273968"/>
                <a:gd name="connsiteX1470" fmla="*/ 952500 w 1489995"/>
                <a:gd name="connsiteY1470" fmla="*/ 1146715 h 1273968"/>
                <a:gd name="connsiteX1471" fmla="*/ 951738 w 1489995"/>
                <a:gd name="connsiteY1471" fmla="*/ 1153192 h 1273968"/>
                <a:gd name="connsiteX1472" fmla="*/ 943832 w 1489995"/>
                <a:gd name="connsiteY1472" fmla="*/ 1154240 h 1273968"/>
                <a:gd name="connsiteX1473" fmla="*/ 944023 w 1489995"/>
                <a:gd name="connsiteY1473" fmla="*/ 1155764 h 1273968"/>
                <a:gd name="connsiteX1474" fmla="*/ 941070 w 1489995"/>
                <a:gd name="connsiteY1474" fmla="*/ 1157764 h 1273968"/>
                <a:gd name="connsiteX1475" fmla="*/ 941260 w 1489995"/>
                <a:gd name="connsiteY1475" fmla="*/ 1159383 h 1273968"/>
                <a:gd name="connsiteX1476" fmla="*/ 939546 w 1489995"/>
                <a:gd name="connsiteY1476" fmla="*/ 1157954 h 1273968"/>
                <a:gd name="connsiteX1477" fmla="*/ 936784 w 1489995"/>
                <a:gd name="connsiteY1477" fmla="*/ 1161479 h 1273968"/>
                <a:gd name="connsiteX1478" fmla="*/ 936974 w 1489995"/>
                <a:gd name="connsiteY1478" fmla="*/ 1163098 h 1273968"/>
                <a:gd name="connsiteX1479" fmla="*/ 940118 w 1489995"/>
                <a:gd name="connsiteY1479" fmla="*/ 1162717 h 1273968"/>
                <a:gd name="connsiteX1480" fmla="*/ 939546 w 1489995"/>
                <a:gd name="connsiteY1480" fmla="*/ 1170813 h 1273968"/>
                <a:gd name="connsiteX1481" fmla="*/ 927926 w 1489995"/>
                <a:gd name="connsiteY1481" fmla="*/ 1167479 h 1273968"/>
                <a:gd name="connsiteX1482" fmla="*/ 928306 w 1489995"/>
                <a:gd name="connsiteY1482" fmla="*/ 1170623 h 1273968"/>
                <a:gd name="connsiteX1483" fmla="*/ 930116 w 1489995"/>
                <a:gd name="connsiteY1483" fmla="*/ 1171956 h 1273968"/>
                <a:gd name="connsiteX1484" fmla="*/ 925354 w 1489995"/>
                <a:gd name="connsiteY1484" fmla="*/ 1172623 h 1273968"/>
                <a:gd name="connsiteX1485" fmla="*/ 926878 w 1489995"/>
                <a:gd name="connsiteY1485" fmla="*/ 1172432 h 1273968"/>
                <a:gd name="connsiteX1486" fmla="*/ 928878 w 1489995"/>
                <a:gd name="connsiteY1486" fmla="*/ 1175385 h 1273968"/>
                <a:gd name="connsiteX1487" fmla="*/ 927544 w 1489995"/>
                <a:gd name="connsiteY1487" fmla="*/ 1177100 h 1273968"/>
                <a:gd name="connsiteX1488" fmla="*/ 930878 w 1489995"/>
                <a:gd name="connsiteY1488" fmla="*/ 1178338 h 1273968"/>
                <a:gd name="connsiteX1489" fmla="*/ 928306 w 1489995"/>
                <a:gd name="connsiteY1489" fmla="*/ 1183481 h 1273968"/>
                <a:gd name="connsiteX1490" fmla="*/ 930116 w 1489995"/>
                <a:gd name="connsiteY1490" fmla="*/ 1184815 h 1273968"/>
                <a:gd name="connsiteX1491" fmla="*/ 926973 w 1489995"/>
                <a:gd name="connsiteY1491" fmla="*/ 1185196 h 1273968"/>
                <a:gd name="connsiteX1492" fmla="*/ 925735 w 1489995"/>
                <a:gd name="connsiteY1492" fmla="*/ 1188625 h 1273968"/>
                <a:gd name="connsiteX1493" fmla="*/ 924211 w 1489995"/>
                <a:gd name="connsiteY1493" fmla="*/ 1188815 h 1273968"/>
                <a:gd name="connsiteX1494" fmla="*/ 923449 w 1489995"/>
                <a:gd name="connsiteY1494" fmla="*/ 1195292 h 1273968"/>
                <a:gd name="connsiteX1495" fmla="*/ 921830 w 1489995"/>
                <a:gd name="connsiteY1495" fmla="*/ 1195483 h 1273968"/>
                <a:gd name="connsiteX1496" fmla="*/ 920687 w 1489995"/>
                <a:gd name="connsiteY1496" fmla="*/ 1198816 h 1273968"/>
                <a:gd name="connsiteX1497" fmla="*/ 922210 w 1489995"/>
                <a:gd name="connsiteY1497" fmla="*/ 1198626 h 1273968"/>
                <a:gd name="connsiteX1498" fmla="*/ 922687 w 1489995"/>
                <a:gd name="connsiteY1498" fmla="*/ 1201769 h 1273968"/>
                <a:gd name="connsiteX1499" fmla="*/ 927544 w 1489995"/>
                <a:gd name="connsiteY1499" fmla="*/ 1202817 h 1273968"/>
                <a:gd name="connsiteX1500" fmla="*/ 925259 w 1489995"/>
                <a:gd name="connsiteY1500" fmla="*/ 1209485 h 1273968"/>
                <a:gd name="connsiteX1501" fmla="*/ 927259 w 1489995"/>
                <a:gd name="connsiteY1501" fmla="*/ 1212437 h 1273968"/>
                <a:gd name="connsiteX1502" fmla="*/ 930212 w 1489995"/>
                <a:gd name="connsiteY1502" fmla="*/ 1210437 h 1273968"/>
                <a:gd name="connsiteX1503" fmla="*/ 930593 w 1489995"/>
                <a:gd name="connsiteY1503" fmla="*/ 1213676 h 1273968"/>
                <a:gd name="connsiteX1504" fmla="*/ 928973 w 1489995"/>
                <a:gd name="connsiteY1504" fmla="*/ 1213866 h 1273968"/>
                <a:gd name="connsiteX1505" fmla="*/ 934117 w 1489995"/>
                <a:gd name="connsiteY1505" fmla="*/ 1216343 h 1273968"/>
                <a:gd name="connsiteX1506" fmla="*/ 934498 w 1489995"/>
                <a:gd name="connsiteY1506" fmla="*/ 1219581 h 1273968"/>
                <a:gd name="connsiteX1507" fmla="*/ 930021 w 1489995"/>
                <a:gd name="connsiteY1507" fmla="*/ 1221677 h 1273968"/>
                <a:gd name="connsiteX1508" fmla="*/ 934688 w 1489995"/>
                <a:gd name="connsiteY1508" fmla="*/ 1221105 h 1273968"/>
                <a:gd name="connsiteX1509" fmla="*/ 933355 w 1489995"/>
                <a:gd name="connsiteY1509" fmla="*/ 1222915 h 1273968"/>
                <a:gd name="connsiteX1510" fmla="*/ 928783 w 1489995"/>
                <a:gd name="connsiteY1510" fmla="*/ 1225106 h 1273968"/>
                <a:gd name="connsiteX1511" fmla="*/ 925449 w 1489995"/>
                <a:gd name="connsiteY1511" fmla="*/ 1223867 h 1273968"/>
                <a:gd name="connsiteX1512" fmla="*/ 924115 w 1489995"/>
                <a:gd name="connsiteY1512" fmla="*/ 1225677 h 1273968"/>
                <a:gd name="connsiteX1513" fmla="*/ 924306 w 1489995"/>
                <a:gd name="connsiteY1513" fmla="*/ 1227296 h 1273968"/>
                <a:gd name="connsiteX1514" fmla="*/ 916591 w 1489995"/>
                <a:gd name="connsiteY1514" fmla="*/ 1229868 h 1273968"/>
                <a:gd name="connsiteX1515" fmla="*/ 916781 w 1489995"/>
                <a:gd name="connsiteY1515" fmla="*/ 1231392 h 1273968"/>
                <a:gd name="connsiteX1516" fmla="*/ 913638 w 1489995"/>
                <a:gd name="connsiteY1516" fmla="*/ 1231868 h 1273968"/>
                <a:gd name="connsiteX1517" fmla="*/ 913257 w 1489995"/>
                <a:gd name="connsiteY1517" fmla="*/ 1228630 h 1273968"/>
                <a:gd name="connsiteX1518" fmla="*/ 906971 w 1489995"/>
                <a:gd name="connsiteY1518" fmla="*/ 1229487 h 1273968"/>
                <a:gd name="connsiteX1519" fmla="*/ 903542 w 1489995"/>
                <a:gd name="connsiteY1519" fmla="*/ 1228249 h 1273968"/>
                <a:gd name="connsiteX1520" fmla="*/ 902208 w 1489995"/>
                <a:gd name="connsiteY1520" fmla="*/ 1230059 h 1273968"/>
                <a:gd name="connsiteX1521" fmla="*/ 902589 w 1489995"/>
                <a:gd name="connsiteY1521" fmla="*/ 1233202 h 1273968"/>
                <a:gd name="connsiteX1522" fmla="*/ 897826 w 1489995"/>
                <a:gd name="connsiteY1522" fmla="*/ 1233869 h 1273968"/>
                <a:gd name="connsiteX1523" fmla="*/ 896302 w 1489995"/>
                <a:gd name="connsiteY1523" fmla="*/ 1234059 h 1273968"/>
                <a:gd name="connsiteX1524" fmla="*/ 895350 w 1489995"/>
                <a:gd name="connsiteY1524" fmla="*/ 1239012 h 1273968"/>
                <a:gd name="connsiteX1525" fmla="*/ 888206 w 1489995"/>
                <a:gd name="connsiteY1525" fmla="*/ 1246251 h 1273968"/>
                <a:gd name="connsiteX1526" fmla="*/ 884872 w 1489995"/>
                <a:gd name="connsiteY1526" fmla="*/ 1245108 h 1273968"/>
                <a:gd name="connsiteX1527" fmla="*/ 883730 w 1489995"/>
                <a:gd name="connsiteY1527" fmla="*/ 1248442 h 1273968"/>
                <a:gd name="connsiteX1528" fmla="*/ 878776 w 1489995"/>
                <a:gd name="connsiteY1528" fmla="*/ 1247489 h 1273968"/>
                <a:gd name="connsiteX1529" fmla="*/ 876014 w 1489995"/>
                <a:gd name="connsiteY1529" fmla="*/ 1251014 h 1273968"/>
                <a:gd name="connsiteX1530" fmla="*/ 876395 w 1489995"/>
                <a:gd name="connsiteY1530" fmla="*/ 1254252 h 1273968"/>
                <a:gd name="connsiteX1531" fmla="*/ 871633 w 1489995"/>
                <a:gd name="connsiteY1531" fmla="*/ 1254824 h 1273968"/>
                <a:gd name="connsiteX1532" fmla="*/ 877443 w 1489995"/>
                <a:gd name="connsiteY1532" fmla="*/ 1262062 h 1273968"/>
                <a:gd name="connsiteX1533" fmla="*/ 874681 w 1489995"/>
                <a:gd name="connsiteY1533" fmla="*/ 1265682 h 1273968"/>
                <a:gd name="connsiteX1534" fmla="*/ 873919 w 1489995"/>
                <a:gd name="connsiteY1534" fmla="*/ 1272159 h 1273968"/>
                <a:gd name="connsiteX1535" fmla="*/ 872490 w 1489995"/>
                <a:gd name="connsiteY1535" fmla="*/ 1273969 h 1273968"/>
                <a:gd name="connsiteX1536" fmla="*/ 866013 w 1489995"/>
                <a:gd name="connsiteY1536" fmla="*/ 1273207 h 1273968"/>
                <a:gd name="connsiteX1537" fmla="*/ 864013 w 1489995"/>
                <a:gd name="connsiteY1537" fmla="*/ 1270254 h 1273968"/>
                <a:gd name="connsiteX1538" fmla="*/ 865156 w 1489995"/>
                <a:gd name="connsiteY1538" fmla="*/ 1266825 h 1273968"/>
                <a:gd name="connsiteX1539" fmla="*/ 862393 w 1489995"/>
                <a:gd name="connsiteY1539" fmla="*/ 1257586 h 1273968"/>
                <a:gd name="connsiteX1540" fmla="*/ 857440 w 1489995"/>
                <a:gd name="connsiteY1540" fmla="*/ 1256633 h 1273968"/>
                <a:gd name="connsiteX1541" fmla="*/ 843820 w 1489995"/>
                <a:gd name="connsiteY1541" fmla="*/ 1250347 h 1273968"/>
                <a:gd name="connsiteX1542" fmla="*/ 830009 w 1489995"/>
                <a:gd name="connsiteY1542" fmla="*/ 1255300 h 1273968"/>
                <a:gd name="connsiteX1543" fmla="*/ 826865 w 1489995"/>
                <a:gd name="connsiteY1543" fmla="*/ 1255681 h 1273968"/>
                <a:gd name="connsiteX1544" fmla="*/ 824675 w 1489995"/>
                <a:gd name="connsiteY1544" fmla="*/ 1251204 h 1273968"/>
                <a:gd name="connsiteX1545" fmla="*/ 820007 w 1489995"/>
                <a:gd name="connsiteY1545" fmla="*/ 1251776 h 1273968"/>
                <a:gd name="connsiteX1546" fmla="*/ 819531 w 1489995"/>
                <a:gd name="connsiteY1546" fmla="*/ 1248632 h 1273968"/>
                <a:gd name="connsiteX1547" fmla="*/ 822484 w 1489995"/>
                <a:gd name="connsiteY1547" fmla="*/ 1246632 h 1273968"/>
                <a:gd name="connsiteX1548" fmla="*/ 825627 w 1489995"/>
                <a:gd name="connsiteY1548" fmla="*/ 1246251 h 1273968"/>
                <a:gd name="connsiteX1549" fmla="*/ 826675 w 1489995"/>
                <a:gd name="connsiteY1549" fmla="*/ 1241298 h 1273968"/>
                <a:gd name="connsiteX1550" fmla="*/ 829437 w 1489995"/>
                <a:gd name="connsiteY1550" fmla="*/ 1237774 h 1273968"/>
                <a:gd name="connsiteX1551" fmla="*/ 830009 w 1489995"/>
                <a:gd name="connsiteY1551" fmla="*/ 1229678 h 1273968"/>
                <a:gd name="connsiteX1552" fmla="*/ 829532 w 1489995"/>
                <a:gd name="connsiteY1552" fmla="*/ 1226534 h 1273968"/>
                <a:gd name="connsiteX1553" fmla="*/ 828008 w 1489995"/>
                <a:gd name="connsiteY1553" fmla="*/ 1226725 h 1273968"/>
                <a:gd name="connsiteX1554" fmla="*/ 826580 w 1489995"/>
                <a:gd name="connsiteY1554" fmla="*/ 1228439 h 1273968"/>
                <a:gd name="connsiteX1555" fmla="*/ 825627 w 1489995"/>
                <a:gd name="connsiteY1555" fmla="*/ 1233392 h 1273968"/>
                <a:gd name="connsiteX1556" fmla="*/ 822674 w 1489995"/>
                <a:gd name="connsiteY1556" fmla="*/ 1235393 h 1273968"/>
                <a:gd name="connsiteX1557" fmla="*/ 817721 w 1489995"/>
                <a:gd name="connsiteY1557" fmla="*/ 1234440 h 1273968"/>
                <a:gd name="connsiteX1558" fmla="*/ 818197 w 1489995"/>
                <a:gd name="connsiteY1558" fmla="*/ 1237583 h 1273968"/>
                <a:gd name="connsiteX1559" fmla="*/ 814959 w 1489995"/>
                <a:gd name="connsiteY1559" fmla="*/ 1237964 h 1273968"/>
                <a:gd name="connsiteX1560" fmla="*/ 815816 w 1489995"/>
                <a:gd name="connsiteY1560" fmla="*/ 1231487 h 1273968"/>
                <a:gd name="connsiteX1561" fmla="*/ 810673 w 1489995"/>
                <a:gd name="connsiteY1561" fmla="*/ 1241774 h 1273968"/>
                <a:gd name="connsiteX1562" fmla="*/ 805720 w 1489995"/>
                <a:gd name="connsiteY1562" fmla="*/ 1240727 h 1273968"/>
                <a:gd name="connsiteX1563" fmla="*/ 807148 w 1489995"/>
                <a:gd name="connsiteY1563" fmla="*/ 1239012 h 1273968"/>
                <a:gd name="connsiteX1564" fmla="*/ 805529 w 1489995"/>
                <a:gd name="connsiteY1564" fmla="*/ 1239203 h 1273968"/>
                <a:gd name="connsiteX1565" fmla="*/ 804196 w 1489995"/>
                <a:gd name="connsiteY1565" fmla="*/ 1240917 h 1273968"/>
                <a:gd name="connsiteX1566" fmla="*/ 802196 w 1489995"/>
                <a:gd name="connsiteY1566" fmla="*/ 1237964 h 1273968"/>
                <a:gd name="connsiteX1567" fmla="*/ 800767 w 1489995"/>
                <a:gd name="connsiteY1567" fmla="*/ 1239774 h 1273968"/>
                <a:gd name="connsiteX1568" fmla="*/ 799052 w 1489995"/>
                <a:gd name="connsiteY1568" fmla="*/ 1238441 h 1273968"/>
                <a:gd name="connsiteX1569" fmla="*/ 794099 w 1489995"/>
                <a:gd name="connsiteY1569" fmla="*/ 1237393 h 1273968"/>
                <a:gd name="connsiteX1570" fmla="*/ 792099 w 1489995"/>
                <a:gd name="connsiteY1570" fmla="*/ 1234440 h 1273968"/>
                <a:gd name="connsiteX1571" fmla="*/ 789146 w 1489995"/>
                <a:gd name="connsiteY1571" fmla="*/ 1236440 h 1273968"/>
                <a:gd name="connsiteX1572" fmla="*/ 786384 w 1489995"/>
                <a:gd name="connsiteY1572" fmla="*/ 1240060 h 1273968"/>
                <a:gd name="connsiteX1573" fmla="*/ 784193 w 1489995"/>
                <a:gd name="connsiteY1573" fmla="*/ 1235488 h 1273968"/>
                <a:gd name="connsiteX1574" fmla="*/ 782860 w 1489995"/>
                <a:gd name="connsiteY1574" fmla="*/ 1237298 h 1273968"/>
                <a:gd name="connsiteX1575" fmla="*/ 782384 w 1489995"/>
                <a:gd name="connsiteY1575" fmla="*/ 1234154 h 1273968"/>
                <a:gd name="connsiteX1576" fmla="*/ 777907 w 1489995"/>
                <a:gd name="connsiteY1576" fmla="*/ 1236250 h 1273968"/>
                <a:gd name="connsiteX1577" fmla="*/ 777716 w 1489995"/>
                <a:gd name="connsiteY1577" fmla="*/ 1234726 h 1273968"/>
                <a:gd name="connsiteX1578" fmla="*/ 774383 w 1489995"/>
                <a:gd name="connsiteY1578" fmla="*/ 1233583 h 1273968"/>
                <a:gd name="connsiteX1579" fmla="*/ 776668 w 1489995"/>
                <a:gd name="connsiteY1579" fmla="*/ 1226820 h 1273968"/>
                <a:gd name="connsiteX1580" fmla="*/ 774954 w 1489995"/>
                <a:gd name="connsiteY1580" fmla="*/ 1225487 h 1273968"/>
                <a:gd name="connsiteX1581" fmla="*/ 770192 w 1489995"/>
                <a:gd name="connsiteY1581" fmla="*/ 1226058 h 1273968"/>
                <a:gd name="connsiteX1582" fmla="*/ 767429 w 1489995"/>
                <a:gd name="connsiteY1582" fmla="*/ 1229582 h 1273968"/>
                <a:gd name="connsiteX1583" fmla="*/ 762476 w 1489995"/>
                <a:gd name="connsiteY1583" fmla="*/ 1228630 h 1273968"/>
                <a:gd name="connsiteX1584" fmla="*/ 753809 w 1489995"/>
                <a:gd name="connsiteY1584" fmla="*/ 1223296 h 1273968"/>
                <a:gd name="connsiteX1585" fmla="*/ 749046 w 1489995"/>
                <a:gd name="connsiteY1585" fmla="*/ 1223962 h 1273968"/>
                <a:gd name="connsiteX1586" fmla="*/ 750856 w 1489995"/>
                <a:gd name="connsiteY1586" fmla="*/ 1225296 h 1273968"/>
                <a:gd name="connsiteX1587" fmla="*/ 748475 w 1489995"/>
                <a:gd name="connsiteY1587" fmla="*/ 1232059 h 1273968"/>
                <a:gd name="connsiteX1588" fmla="*/ 742379 w 1489995"/>
                <a:gd name="connsiteY1588" fmla="*/ 1234440 h 1273968"/>
                <a:gd name="connsiteX1589" fmla="*/ 744379 w 1489995"/>
                <a:gd name="connsiteY1589" fmla="*/ 1237393 h 1273968"/>
                <a:gd name="connsiteX1590" fmla="*/ 747522 w 1489995"/>
                <a:gd name="connsiteY1590" fmla="*/ 1236916 h 1273968"/>
                <a:gd name="connsiteX1591" fmla="*/ 746093 w 1489995"/>
                <a:gd name="connsiteY1591" fmla="*/ 1238726 h 1273968"/>
                <a:gd name="connsiteX1592" fmla="*/ 744569 w 1489995"/>
                <a:gd name="connsiteY1592" fmla="*/ 1238917 h 1273968"/>
                <a:gd name="connsiteX1593" fmla="*/ 740759 w 1489995"/>
                <a:gd name="connsiteY1593" fmla="*/ 1234631 h 1273968"/>
                <a:gd name="connsiteX1594" fmla="*/ 739616 w 1489995"/>
                <a:gd name="connsiteY1594" fmla="*/ 1237964 h 1273968"/>
                <a:gd name="connsiteX1595" fmla="*/ 736092 w 1489995"/>
                <a:gd name="connsiteY1595" fmla="*/ 1235202 h 1273968"/>
                <a:gd name="connsiteX1596" fmla="*/ 735616 w 1489995"/>
                <a:gd name="connsiteY1596" fmla="*/ 1232059 h 1273968"/>
                <a:gd name="connsiteX1597" fmla="*/ 734092 w 1489995"/>
                <a:gd name="connsiteY1597" fmla="*/ 1232249 h 1273968"/>
                <a:gd name="connsiteX1598" fmla="*/ 731901 w 1489995"/>
                <a:gd name="connsiteY1598" fmla="*/ 1227677 h 1273968"/>
                <a:gd name="connsiteX1599" fmla="*/ 727138 w 1489995"/>
                <a:gd name="connsiteY1599" fmla="*/ 1228344 h 1273968"/>
                <a:gd name="connsiteX1600" fmla="*/ 726186 w 1489995"/>
                <a:gd name="connsiteY1600" fmla="*/ 1220438 h 1273968"/>
                <a:gd name="connsiteX1601" fmla="*/ 719804 w 1489995"/>
                <a:gd name="connsiteY1601" fmla="*/ 1221200 h 1273968"/>
                <a:gd name="connsiteX1602" fmla="*/ 718661 w 1489995"/>
                <a:gd name="connsiteY1602" fmla="*/ 1224629 h 1273968"/>
                <a:gd name="connsiteX1603" fmla="*/ 715518 w 1489995"/>
                <a:gd name="connsiteY1603" fmla="*/ 1225010 h 1273968"/>
                <a:gd name="connsiteX1604" fmla="*/ 707422 w 1489995"/>
                <a:gd name="connsiteY1604" fmla="*/ 1211580 h 1273968"/>
                <a:gd name="connsiteX1605" fmla="*/ 704279 w 1489995"/>
                <a:gd name="connsiteY1605" fmla="*/ 1211961 h 1273968"/>
                <a:gd name="connsiteX1606" fmla="*/ 700468 w 1489995"/>
                <a:gd name="connsiteY1606" fmla="*/ 1207675 h 1273968"/>
                <a:gd name="connsiteX1607" fmla="*/ 702850 w 1489995"/>
                <a:gd name="connsiteY1607" fmla="*/ 1213771 h 1273968"/>
                <a:gd name="connsiteX1608" fmla="*/ 701326 w 1489995"/>
                <a:gd name="connsiteY1608" fmla="*/ 1213961 h 1273968"/>
                <a:gd name="connsiteX1609" fmla="*/ 697706 w 1489995"/>
                <a:gd name="connsiteY1609" fmla="*/ 1211199 h 1273968"/>
                <a:gd name="connsiteX1610" fmla="*/ 696373 w 1489995"/>
                <a:gd name="connsiteY1610" fmla="*/ 1213009 h 1273968"/>
                <a:gd name="connsiteX1611" fmla="*/ 697897 w 1489995"/>
                <a:gd name="connsiteY1611" fmla="*/ 1212818 h 1273968"/>
                <a:gd name="connsiteX1612" fmla="*/ 702278 w 1489995"/>
                <a:gd name="connsiteY1612" fmla="*/ 1221867 h 1273968"/>
                <a:gd name="connsiteX1613" fmla="*/ 700945 w 1489995"/>
                <a:gd name="connsiteY1613" fmla="*/ 1223677 h 1273968"/>
                <a:gd name="connsiteX1614" fmla="*/ 702659 w 1489995"/>
                <a:gd name="connsiteY1614" fmla="*/ 1225010 h 1273968"/>
                <a:gd name="connsiteX1615" fmla="*/ 699897 w 1489995"/>
                <a:gd name="connsiteY1615" fmla="*/ 1228630 h 1273968"/>
                <a:gd name="connsiteX1616" fmla="*/ 701897 w 1489995"/>
                <a:gd name="connsiteY1616" fmla="*/ 1231583 h 1273968"/>
                <a:gd name="connsiteX1617" fmla="*/ 706660 w 1489995"/>
                <a:gd name="connsiteY1617" fmla="*/ 1230916 h 1273968"/>
                <a:gd name="connsiteX1618" fmla="*/ 705231 w 1489995"/>
                <a:gd name="connsiteY1618" fmla="*/ 1232726 h 1273968"/>
                <a:gd name="connsiteX1619" fmla="*/ 701897 w 1489995"/>
                <a:gd name="connsiteY1619" fmla="*/ 1231583 h 1273968"/>
                <a:gd name="connsiteX1620" fmla="*/ 702278 w 1489995"/>
                <a:gd name="connsiteY1620" fmla="*/ 1234726 h 1273968"/>
                <a:gd name="connsiteX1621" fmla="*/ 700754 w 1489995"/>
                <a:gd name="connsiteY1621" fmla="*/ 1234916 h 1273968"/>
                <a:gd name="connsiteX1622" fmla="*/ 698183 w 1489995"/>
                <a:gd name="connsiteY1622" fmla="*/ 1227201 h 1273968"/>
                <a:gd name="connsiteX1623" fmla="*/ 695039 w 1489995"/>
                <a:gd name="connsiteY1623" fmla="*/ 1227582 h 1273968"/>
                <a:gd name="connsiteX1624" fmla="*/ 691420 w 1489995"/>
                <a:gd name="connsiteY1624" fmla="*/ 1224820 h 1273968"/>
                <a:gd name="connsiteX1625" fmla="*/ 686752 w 1489995"/>
                <a:gd name="connsiteY1625" fmla="*/ 1225487 h 1273968"/>
                <a:gd name="connsiteX1626" fmla="*/ 685514 w 1489995"/>
                <a:gd name="connsiteY1626" fmla="*/ 1228820 h 1273968"/>
                <a:gd name="connsiteX1627" fmla="*/ 682180 w 1489995"/>
                <a:gd name="connsiteY1627" fmla="*/ 1227677 h 1273968"/>
                <a:gd name="connsiteX1628" fmla="*/ 682371 w 1489995"/>
                <a:gd name="connsiteY1628" fmla="*/ 1229201 h 1273968"/>
                <a:gd name="connsiteX1629" fmla="*/ 680752 w 1489995"/>
                <a:gd name="connsiteY1629" fmla="*/ 1229392 h 1273968"/>
                <a:gd name="connsiteX1630" fmla="*/ 682752 w 1489995"/>
                <a:gd name="connsiteY1630" fmla="*/ 1232345 h 1273968"/>
                <a:gd name="connsiteX1631" fmla="*/ 681228 w 1489995"/>
                <a:gd name="connsiteY1631" fmla="*/ 1232535 h 1273968"/>
                <a:gd name="connsiteX1632" fmla="*/ 681418 w 1489995"/>
                <a:gd name="connsiteY1632" fmla="*/ 1234154 h 1273968"/>
                <a:gd name="connsiteX1633" fmla="*/ 679609 w 1489995"/>
                <a:gd name="connsiteY1633" fmla="*/ 1232821 h 1273968"/>
                <a:gd name="connsiteX1634" fmla="*/ 679799 w 1489995"/>
                <a:gd name="connsiteY1634" fmla="*/ 1234345 h 1273968"/>
                <a:gd name="connsiteX1635" fmla="*/ 678466 w 1489995"/>
                <a:gd name="connsiteY1635" fmla="*/ 1236155 h 1273968"/>
                <a:gd name="connsiteX1636" fmla="*/ 676465 w 1489995"/>
                <a:gd name="connsiteY1636" fmla="*/ 1233202 h 1273968"/>
                <a:gd name="connsiteX1637" fmla="*/ 675132 w 1489995"/>
                <a:gd name="connsiteY1637" fmla="*/ 1234916 h 1273968"/>
                <a:gd name="connsiteX1638" fmla="*/ 672751 w 1489995"/>
                <a:gd name="connsiteY1638" fmla="*/ 1241679 h 1273968"/>
                <a:gd name="connsiteX1639" fmla="*/ 671131 w 1489995"/>
                <a:gd name="connsiteY1639" fmla="*/ 1241870 h 1273968"/>
                <a:gd name="connsiteX1640" fmla="*/ 672370 w 1489995"/>
                <a:gd name="connsiteY1640" fmla="*/ 1238536 h 1273968"/>
                <a:gd name="connsiteX1641" fmla="*/ 668941 w 1489995"/>
                <a:gd name="connsiteY1641" fmla="*/ 1237298 h 1273968"/>
                <a:gd name="connsiteX1642" fmla="*/ 666179 w 1489995"/>
                <a:gd name="connsiteY1642" fmla="*/ 1240917 h 1273968"/>
                <a:gd name="connsiteX1643" fmla="*/ 665226 w 1489995"/>
                <a:gd name="connsiteY1643" fmla="*/ 1245870 h 1273968"/>
                <a:gd name="connsiteX1644" fmla="*/ 663702 w 1489995"/>
                <a:gd name="connsiteY1644" fmla="*/ 1246061 h 1273968"/>
                <a:gd name="connsiteX1645" fmla="*/ 663035 w 1489995"/>
                <a:gd name="connsiteY1645" fmla="*/ 1241298 h 1273968"/>
                <a:gd name="connsiteX1646" fmla="*/ 659892 w 1489995"/>
                <a:gd name="connsiteY1646" fmla="*/ 1241679 h 1273968"/>
                <a:gd name="connsiteX1647" fmla="*/ 659511 w 1489995"/>
                <a:gd name="connsiteY1647" fmla="*/ 1238536 h 1273968"/>
                <a:gd name="connsiteX1648" fmla="*/ 656177 w 1489995"/>
                <a:gd name="connsiteY1648" fmla="*/ 1237393 h 1273968"/>
                <a:gd name="connsiteX1649" fmla="*/ 648843 w 1489995"/>
                <a:gd name="connsiteY1649" fmla="*/ 1243108 h 1273968"/>
                <a:gd name="connsiteX1650" fmla="*/ 645509 w 1489995"/>
                <a:gd name="connsiteY1650" fmla="*/ 1241965 h 1273968"/>
                <a:gd name="connsiteX1651" fmla="*/ 643700 w 1489995"/>
                <a:gd name="connsiteY1651" fmla="*/ 1240536 h 1273968"/>
                <a:gd name="connsiteX1652" fmla="*/ 646843 w 1489995"/>
                <a:gd name="connsiteY1652" fmla="*/ 1240155 h 1273968"/>
                <a:gd name="connsiteX1653" fmla="*/ 648272 w 1489995"/>
                <a:gd name="connsiteY1653" fmla="*/ 1238345 h 1273968"/>
                <a:gd name="connsiteX1654" fmla="*/ 646081 w 1489995"/>
                <a:gd name="connsiteY1654" fmla="*/ 1233869 h 1273968"/>
                <a:gd name="connsiteX1655" fmla="*/ 648843 w 1489995"/>
                <a:gd name="connsiteY1655" fmla="*/ 1230249 h 1273968"/>
                <a:gd name="connsiteX1656" fmla="*/ 648462 w 1489995"/>
                <a:gd name="connsiteY1656" fmla="*/ 1227106 h 1273968"/>
                <a:gd name="connsiteX1657" fmla="*/ 645319 w 1489995"/>
                <a:gd name="connsiteY1657" fmla="*/ 1227487 h 1273968"/>
                <a:gd name="connsiteX1658" fmla="*/ 643509 w 1489995"/>
                <a:gd name="connsiteY1658" fmla="*/ 1226153 h 1273968"/>
                <a:gd name="connsiteX1659" fmla="*/ 641699 w 1489995"/>
                <a:gd name="connsiteY1659" fmla="*/ 1224820 h 1273968"/>
                <a:gd name="connsiteX1660" fmla="*/ 641699 w 1489995"/>
                <a:gd name="connsiteY1660" fmla="*/ 1224820 h 1273968"/>
                <a:gd name="connsiteX1661" fmla="*/ 639509 w 1489995"/>
                <a:gd name="connsiteY1661" fmla="*/ 1220248 h 1273968"/>
                <a:gd name="connsiteX1662" fmla="*/ 638175 w 1489995"/>
                <a:gd name="connsiteY1662" fmla="*/ 1222058 h 1273968"/>
                <a:gd name="connsiteX1663" fmla="*/ 631031 w 1489995"/>
                <a:gd name="connsiteY1663" fmla="*/ 1216533 h 1273968"/>
                <a:gd name="connsiteX1664" fmla="*/ 625316 w 1489995"/>
                <a:gd name="connsiteY1664" fmla="*/ 1222058 h 1273968"/>
                <a:gd name="connsiteX1665" fmla="*/ 623126 w 1489995"/>
                <a:gd name="connsiteY1665" fmla="*/ 1217486 h 1273968"/>
                <a:gd name="connsiteX1666" fmla="*/ 621792 w 1489995"/>
                <a:gd name="connsiteY1666" fmla="*/ 1219295 h 1273968"/>
                <a:gd name="connsiteX1667" fmla="*/ 621601 w 1489995"/>
                <a:gd name="connsiteY1667" fmla="*/ 1217771 h 1273968"/>
                <a:gd name="connsiteX1668" fmla="*/ 619792 w 1489995"/>
                <a:gd name="connsiteY1668" fmla="*/ 1216343 h 1273968"/>
                <a:gd name="connsiteX1669" fmla="*/ 620363 w 1489995"/>
                <a:gd name="connsiteY1669" fmla="*/ 1208246 h 1273968"/>
                <a:gd name="connsiteX1670" fmla="*/ 621697 w 1489995"/>
                <a:gd name="connsiteY1670" fmla="*/ 1206437 h 1273968"/>
                <a:gd name="connsiteX1671" fmla="*/ 616363 w 1489995"/>
                <a:gd name="connsiteY1671" fmla="*/ 1202341 h 1273968"/>
                <a:gd name="connsiteX1672" fmla="*/ 609886 w 1489995"/>
                <a:gd name="connsiteY1672" fmla="*/ 1201579 h 1273968"/>
                <a:gd name="connsiteX1673" fmla="*/ 609505 w 1489995"/>
                <a:gd name="connsiteY1673" fmla="*/ 1198436 h 1273968"/>
                <a:gd name="connsiteX1674" fmla="*/ 604933 w 1489995"/>
                <a:gd name="connsiteY1674" fmla="*/ 1200626 h 1273968"/>
                <a:gd name="connsiteX1675" fmla="*/ 602551 w 1489995"/>
                <a:gd name="connsiteY1675" fmla="*/ 1194435 h 1273968"/>
                <a:gd name="connsiteX1676" fmla="*/ 596837 w 1489995"/>
                <a:gd name="connsiteY1676" fmla="*/ 1200055 h 1273968"/>
                <a:gd name="connsiteX1677" fmla="*/ 593693 w 1489995"/>
                <a:gd name="connsiteY1677" fmla="*/ 1200436 h 1273968"/>
                <a:gd name="connsiteX1678" fmla="*/ 582835 w 1489995"/>
                <a:gd name="connsiteY1678" fmla="*/ 1203389 h 1273968"/>
                <a:gd name="connsiteX1679" fmla="*/ 580644 w 1489995"/>
                <a:gd name="connsiteY1679" fmla="*/ 1198912 h 1273968"/>
                <a:gd name="connsiteX1680" fmla="*/ 577882 w 1489995"/>
                <a:gd name="connsiteY1680" fmla="*/ 1202436 h 1273968"/>
                <a:gd name="connsiteX1681" fmla="*/ 574738 w 1489995"/>
                <a:gd name="connsiteY1681" fmla="*/ 1202817 h 1273968"/>
                <a:gd name="connsiteX1682" fmla="*/ 573405 w 1489995"/>
                <a:gd name="connsiteY1682" fmla="*/ 1204627 h 1273968"/>
                <a:gd name="connsiteX1683" fmla="*/ 573786 w 1489995"/>
                <a:gd name="connsiteY1683" fmla="*/ 1207770 h 1273968"/>
                <a:gd name="connsiteX1684" fmla="*/ 574834 w 1489995"/>
                <a:gd name="connsiteY1684" fmla="*/ 1215676 h 1273968"/>
                <a:gd name="connsiteX1685" fmla="*/ 570262 w 1489995"/>
                <a:gd name="connsiteY1685" fmla="*/ 1217866 h 1273968"/>
                <a:gd name="connsiteX1686" fmla="*/ 570643 w 1489995"/>
                <a:gd name="connsiteY1686" fmla="*/ 1221010 h 1273968"/>
                <a:gd name="connsiteX1687" fmla="*/ 566356 w 1489995"/>
                <a:gd name="connsiteY1687" fmla="*/ 1224725 h 1273968"/>
                <a:gd name="connsiteX1688" fmla="*/ 563213 w 1489995"/>
                <a:gd name="connsiteY1688" fmla="*/ 1225201 h 1273968"/>
                <a:gd name="connsiteX1689" fmla="*/ 563594 w 1489995"/>
                <a:gd name="connsiteY1689" fmla="*/ 1228344 h 1273968"/>
                <a:gd name="connsiteX1690" fmla="*/ 566547 w 1489995"/>
                <a:gd name="connsiteY1690" fmla="*/ 1226344 h 1273968"/>
                <a:gd name="connsiteX1691" fmla="*/ 560832 w 1489995"/>
                <a:gd name="connsiteY1691" fmla="*/ 1231868 h 1273968"/>
                <a:gd name="connsiteX1692" fmla="*/ 561404 w 1489995"/>
                <a:gd name="connsiteY1692" fmla="*/ 1236631 h 1273968"/>
                <a:gd name="connsiteX1693" fmla="*/ 556546 w 1489995"/>
                <a:gd name="connsiteY1693" fmla="*/ 1235678 h 1273968"/>
                <a:gd name="connsiteX1694" fmla="*/ 556069 w 1489995"/>
                <a:gd name="connsiteY1694" fmla="*/ 1232440 h 1273968"/>
                <a:gd name="connsiteX1695" fmla="*/ 559022 w 1489995"/>
                <a:gd name="connsiteY1695" fmla="*/ 1230535 h 1273968"/>
                <a:gd name="connsiteX1696" fmla="*/ 557308 w 1489995"/>
                <a:gd name="connsiteY1696" fmla="*/ 1229106 h 1273968"/>
                <a:gd name="connsiteX1697" fmla="*/ 551117 w 1489995"/>
                <a:gd name="connsiteY1697" fmla="*/ 1231487 h 1273968"/>
                <a:gd name="connsiteX1698" fmla="*/ 543306 w 1489995"/>
                <a:gd name="connsiteY1698" fmla="*/ 1232535 h 1273968"/>
                <a:gd name="connsiteX1699" fmla="*/ 540353 w 1489995"/>
                <a:gd name="connsiteY1699" fmla="*/ 1234535 h 1273968"/>
                <a:gd name="connsiteX1700" fmla="*/ 536924 w 1489995"/>
                <a:gd name="connsiteY1700" fmla="*/ 1233297 h 1273968"/>
                <a:gd name="connsiteX1701" fmla="*/ 532067 w 1489995"/>
                <a:gd name="connsiteY1701" fmla="*/ 1232345 h 1273968"/>
                <a:gd name="connsiteX1702" fmla="*/ 525685 w 1489995"/>
                <a:gd name="connsiteY1702" fmla="*/ 1233107 h 1273968"/>
                <a:gd name="connsiteX1703" fmla="*/ 522542 w 1489995"/>
                <a:gd name="connsiteY1703" fmla="*/ 1233583 h 1273968"/>
                <a:gd name="connsiteX1704" fmla="*/ 521398 w 1489995"/>
                <a:gd name="connsiteY1704" fmla="*/ 1236916 h 1273968"/>
                <a:gd name="connsiteX1705" fmla="*/ 514255 w 1489995"/>
                <a:gd name="connsiteY1705" fmla="*/ 1231392 h 1273968"/>
                <a:gd name="connsiteX1706" fmla="*/ 509492 w 1489995"/>
                <a:gd name="connsiteY1706" fmla="*/ 1231964 h 1273968"/>
                <a:gd name="connsiteX1707" fmla="*/ 501205 w 1489995"/>
                <a:gd name="connsiteY1707" fmla="*/ 1229868 h 1273968"/>
                <a:gd name="connsiteX1708" fmla="*/ 502444 w 1489995"/>
                <a:gd name="connsiteY1708" fmla="*/ 1239298 h 1273968"/>
                <a:gd name="connsiteX1709" fmla="*/ 497300 w 1489995"/>
                <a:gd name="connsiteY1709" fmla="*/ 1236726 h 1273968"/>
                <a:gd name="connsiteX1710" fmla="*/ 492728 w 1489995"/>
                <a:gd name="connsiteY1710" fmla="*/ 1238917 h 1273968"/>
                <a:gd name="connsiteX1711" fmla="*/ 491014 w 1489995"/>
                <a:gd name="connsiteY1711" fmla="*/ 1237583 h 1273968"/>
                <a:gd name="connsiteX1712" fmla="*/ 490633 w 1489995"/>
                <a:gd name="connsiteY1712" fmla="*/ 1234440 h 1273968"/>
                <a:gd name="connsiteX1713" fmla="*/ 491776 w 1489995"/>
                <a:gd name="connsiteY1713" fmla="*/ 1231011 h 1273968"/>
                <a:gd name="connsiteX1714" fmla="*/ 489775 w 1489995"/>
                <a:gd name="connsiteY1714" fmla="*/ 1228058 h 1273968"/>
                <a:gd name="connsiteX1715" fmla="*/ 486632 w 1489995"/>
                <a:gd name="connsiteY1715" fmla="*/ 1228535 h 1273968"/>
                <a:gd name="connsiteX1716" fmla="*/ 487394 w 1489995"/>
                <a:gd name="connsiteY1716" fmla="*/ 1234821 h 1273968"/>
                <a:gd name="connsiteX1717" fmla="*/ 486251 w 1489995"/>
                <a:gd name="connsiteY1717" fmla="*/ 1238155 h 1273968"/>
                <a:gd name="connsiteX1718" fmla="*/ 479774 w 1489995"/>
                <a:gd name="connsiteY1718" fmla="*/ 1237393 h 1273968"/>
                <a:gd name="connsiteX1719" fmla="*/ 478346 w 1489995"/>
                <a:gd name="connsiteY1719" fmla="*/ 1239203 h 1273968"/>
                <a:gd name="connsiteX1720" fmla="*/ 476345 w 1489995"/>
                <a:gd name="connsiteY1720" fmla="*/ 1236250 h 1273968"/>
                <a:gd name="connsiteX1721" fmla="*/ 470059 w 1489995"/>
                <a:gd name="connsiteY1721" fmla="*/ 1237012 h 1273968"/>
                <a:gd name="connsiteX1722" fmla="*/ 469868 w 1489995"/>
                <a:gd name="connsiteY1722" fmla="*/ 1235488 h 1273968"/>
                <a:gd name="connsiteX1723" fmla="*/ 466915 w 1489995"/>
                <a:gd name="connsiteY1723" fmla="*/ 1237393 h 1273968"/>
                <a:gd name="connsiteX1724" fmla="*/ 464915 w 1489995"/>
                <a:gd name="connsiteY1724" fmla="*/ 1234440 h 1273968"/>
                <a:gd name="connsiteX1725" fmla="*/ 463391 w 1489995"/>
                <a:gd name="connsiteY1725" fmla="*/ 1234631 h 1273968"/>
                <a:gd name="connsiteX1726" fmla="*/ 461010 w 1489995"/>
                <a:gd name="connsiteY1726" fmla="*/ 1228535 h 1273968"/>
                <a:gd name="connsiteX1727" fmla="*/ 461963 w 1489995"/>
                <a:gd name="connsiteY1727" fmla="*/ 1223582 h 1273968"/>
                <a:gd name="connsiteX1728" fmla="*/ 463296 w 1489995"/>
                <a:gd name="connsiteY1728" fmla="*/ 1221867 h 1273968"/>
                <a:gd name="connsiteX1729" fmla="*/ 462534 w 1489995"/>
                <a:gd name="connsiteY1729" fmla="*/ 1215485 h 1273968"/>
                <a:gd name="connsiteX1730" fmla="*/ 462153 w 1489995"/>
                <a:gd name="connsiteY1730" fmla="*/ 1212342 h 1273968"/>
                <a:gd name="connsiteX1731" fmla="*/ 463487 w 1489995"/>
                <a:gd name="connsiteY1731" fmla="*/ 1210628 h 1273968"/>
                <a:gd name="connsiteX1732" fmla="*/ 463105 w 1489995"/>
                <a:gd name="connsiteY1732" fmla="*/ 1207484 h 1273968"/>
                <a:gd name="connsiteX1733" fmla="*/ 467868 w 1489995"/>
                <a:gd name="connsiteY1733" fmla="*/ 1206818 h 1273968"/>
                <a:gd name="connsiteX1734" fmla="*/ 462915 w 1489995"/>
                <a:gd name="connsiteY1734" fmla="*/ 1205865 h 1273968"/>
                <a:gd name="connsiteX1735" fmla="*/ 457390 w 1489995"/>
                <a:gd name="connsiteY1735" fmla="*/ 1200150 h 1273968"/>
                <a:gd name="connsiteX1736" fmla="*/ 455962 w 1489995"/>
                <a:gd name="connsiteY1736" fmla="*/ 1201960 h 1273968"/>
                <a:gd name="connsiteX1737" fmla="*/ 446532 w 1489995"/>
                <a:gd name="connsiteY1737" fmla="*/ 1203103 h 1273968"/>
                <a:gd name="connsiteX1738" fmla="*/ 443198 w 1489995"/>
                <a:gd name="connsiteY1738" fmla="*/ 1201960 h 127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</a:cxnLst>
              <a:rect l="l" t="t" r="r" b="b"/>
              <a:pathLst>
                <a:path w="1489995" h="1273968">
                  <a:moveTo>
                    <a:pt x="443198" y="1201960"/>
                  </a:moveTo>
                  <a:lnTo>
                    <a:pt x="439198" y="1208913"/>
                  </a:lnTo>
                  <a:lnTo>
                    <a:pt x="439007" y="1207294"/>
                  </a:lnTo>
                  <a:lnTo>
                    <a:pt x="433292" y="1212818"/>
                  </a:lnTo>
                  <a:lnTo>
                    <a:pt x="431578" y="1211485"/>
                  </a:lnTo>
                  <a:lnTo>
                    <a:pt x="430149" y="1213199"/>
                  </a:lnTo>
                  <a:lnTo>
                    <a:pt x="423481" y="1210913"/>
                  </a:lnTo>
                  <a:lnTo>
                    <a:pt x="422719" y="1217390"/>
                  </a:lnTo>
                  <a:lnTo>
                    <a:pt x="426625" y="1223296"/>
                  </a:lnTo>
                  <a:lnTo>
                    <a:pt x="423863" y="1226915"/>
                  </a:lnTo>
                  <a:lnTo>
                    <a:pt x="423481" y="1223677"/>
                  </a:lnTo>
                  <a:lnTo>
                    <a:pt x="422719" y="1230249"/>
                  </a:lnTo>
                  <a:lnTo>
                    <a:pt x="421291" y="1231964"/>
                  </a:lnTo>
                  <a:lnTo>
                    <a:pt x="421767" y="1235202"/>
                  </a:lnTo>
                  <a:lnTo>
                    <a:pt x="420148" y="1235393"/>
                  </a:lnTo>
                  <a:lnTo>
                    <a:pt x="418814" y="1237107"/>
                  </a:lnTo>
                  <a:lnTo>
                    <a:pt x="416814" y="1234154"/>
                  </a:lnTo>
                  <a:lnTo>
                    <a:pt x="415195" y="1234345"/>
                  </a:lnTo>
                  <a:lnTo>
                    <a:pt x="415576" y="1237583"/>
                  </a:lnTo>
                  <a:lnTo>
                    <a:pt x="414052" y="1237774"/>
                  </a:lnTo>
                  <a:lnTo>
                    <a:pt x="417957" y="1243679"/>
                  </a:lnTo>
                  <a:lnTo>
                    <a:pt x="414814" y="1244060"/>
                  </a:lnTo>
                  <a:lnTo>
                    <a:pt x="415290" y="1247204"/>
                  </a:lnTo>
                  <a:lnTo>
                    <a:pt x="412051" y="1247585"/>
                  </a:lnTo>
                  <a:lnTo>
                    <a:pt x="411289" y="1241298"/>
                  </a:lnTo>
                  <a:lnTo>
                    <a:pt x="408146" y="1241679"/>
                  </a:lnTo>
                  <a:lnTo>
                    <a:pt x="405955" y="1237202"/>
                  </a:lnTo>
                  <a:lnTo>
                    <a:pt x="403384" y="1242346"/>
                  </a:lnTo>
                  <a:lnTo>
                    <a:pt x="401860" y="1242536"/>
                  </a:lnTo>
                  <a:lnTo>
                    <a:pt x="402241" y="1245680"/>
                  </a:lnTo>
                  <a:lnTo>
                    <a:pt x="399479" y="1249204"/>
                  </a:lnTo>
                  <a:lnTo>
                    <a:pt x="399859" y="1252347"/>
                  </a:lnTo>
                  <a:lnTo>
                    <a:pt x="400240" y="1255586"/>
                  </a:lnTo>
                  <a:lnTo>
                    <a:pt x="390620" y="1255205"/>
                  </a:lnTo>
                  <a:lnTo>
                    <a:pt x="383858" y="1252823"/>
                  </a:lnTo>
                  <a:lnTo>
                    <a:pt x="383286" y="1248061"/>
                  </a:lnTo>
                  <a:lnTo>
                    <a:pt x="379952" y="1246918"/>
                  </a:lnTo>
                  <a:lnTo>
                    <a:pt x="371284" y="1254443"/>
                  </a:lnTo>
                  <a:lnTo>
                    <a:pt x="372237" y="1262348"/>
                  </a:lnTo>
                  <a:lnTo>
                    <a:pt x="372237" y="1262348"/>
                  </a:lnTo>
                  <a:lnTo>
                    <a:pt x="370713" y="1262539"/>
                  </a:lnTo>
                  <a:lnTo>
                    <a:pt x="366331" y="1266254"/>
                  </a:lnTo>
                  <a:lnTo>
                    <a:pt x="365950" y="1263110"/>
                  </a:lnTo>
                  <a:lnTo>
                    <a:pt x="356711" y="1265873"/>
                  </a:lnTo>
                  <a:lnTo>
                    <a:pt x="354711" y="1262920"/>
                  </a:lnTo>
                  <a:lnTo>
                    <a:pt x="349948" y="1263587"/>
                  </a:lnTo>
                  <a:lnTo>
                    <a:pt x="349377" y="1258824"/>
                  </a:lnTo>
                  <a:lnTo>
                    <a:pt x="345853" y="1256062"/>
                  </a:lnTo>
                  <a:lnTo>
                    <a:pt x="344614" y="1259396"/>
                  </a:lnTo>
                  <a:lnTo>
                    <a:pt x="338328" y="1260253"/>
                  </a:lnTo>
                  <a:lnTo>
                    <a:pt x="342614" y="1256443"/>
                  </a:lnTo>
                  <a:lnTo>
                    <a:pt x="342233" y="1253300"/>
                  </a:lnTo>
                  <a:lnTo>
                    <a:pt x="345186" y="1251299"/>
                  </a:lnTo>
                  <a:lnTo>
                    <a:pt x="337280" y="1252347"/>
                  </a:lnTo>
                  <a:lnTo>
                    <a:pt x="335947" y="1254157"/>
                  </a:lnTo>
                  <a:lnTo>
                    <a:pt x="332422" y="1251395"/>
                  </a:lnTo>
                  <a:lnTo>
                    <a:pt x="330232" y="1246823"/>
                  </a:lnTo>
                  <a:lnTo>
                    <a:pt x="330994" y="1240346"/>
                  </a:lnTo>
                  <a:lnTo>
                    <a:pt x="320897" y="1236821"/>
                  </a:lnTo>
                  <a:lnTo>
                    <a:pt x="316325" y="1239012"/>
                  </a:lnTo>
                  <a:lnTo>
                    <a:pt x="316611" y="1240536"/>
                  </a:lnTo>
                  <a:lnTo>
                    <a:pt x="319945" y="1241679"/>
                  </a:lnTo>
                  <a:lnTo>
                    <a:pt x="315373" y="1243870"/>
                  </a:lnTo>
                  <a:lnTo>
                    <a:pt x="311658" y="1252347"/>
                  </a:lnTo>
                  <a:lnTo>
                    <a:pt x="308324" y="1251204"/>
                  </a:lnTo>
                  <a:lnTo>
                    <a:pt x="308515" y="1252823"/>
                  </a:lnTo>
                  <a:lnTo>
                    <a:pt x="306705" y="1251395"/>
                  </a:lnTo>
                  <a:lnTo>
                    <a:pt x="303943" y="1255014"/>
                  </a:lnTo>
                  <a:lnTo>
                    <a:pt x="302038" y="1252061"/>
                  </a:lnTo>
                  <a:lnTo>
                    <a:pt x="303371" y="1250252"/>
                  </a:lnTo>
                  <a:lnTo>
                    <a:pt x="301752" y="1250442"/>
                  </a:lnTo>
                  <a:lnTo>
                    <a:pt x="300418" y="1252252"/>
                  </a:lnTo>
                  <a:lnTo>
                    <a:pt x="298990" y="1253966"/>
                  </a:lnTo>
                  <a:lnTo>
                    <a:pt x="297656" y="1242917"/>
                  </a:lnTo>
                  <a:lnTo>
                    <a:pt x="296228" y="1244727"/>
                  </a:lnTo>
                  <a:lnTo>
                    <a:pt x="294513" y="1243394"/>
                  </a:lnTo>
                  <a:lnTo>
                    <a:pt x="291655" y="1234059"/>
                  </a:lnTo>
                  <a:lnTo>
                    <a:pt x="288512" y="1234535"/>
                  </a:lnTo>
                  <a:lnTo>
                    <a:pt x="290513" y="1237488"/>
                  </a:lnTo>
                  <a:lnTo>
                    <a:pt x="284226" y="1238250"/>
                  </a:lnTo>
                  <a:lnTo>
                    <a:pt x="284988" y="1244537"/>
                  </a:lnTo>
                  <a:lnTo>
                    <a:pt x="280225" y="1245203"/>
                  </a:lnTo>
                  <a:lnTo>
                    <a:pt x="280702" y="1248347"/>
                  </a:lnTo>
                  <a:lnTo>
                    <a:pt x="273748" y="1244441"/>
                  </a:lnTo>
                  <a:lnTo>
                    <a:pt x="267271" y="1243584"/>
                  </a:lnTo>
                  <a:lnTo>
                    <a:pt x="263747" y="1253681"/>
                  </a:lnTo>
                  <a:lnTo>
                    <a:pt x="262128" y="1253871"/>
                  </a:lnTo>
                  <a:lnTo>
                    <a:pt x="262128" y="1253871"/>
                  </a:lnTo>
                  <a:lnTo>
                    <a:pt x="252222" y="1251966"/>
                  </a:lnTo>
                  <a:lnTo>
                    <a:pt x="250507" y="1250537"/>
                  </a:lnTo>
                  <a:lnTo>
                    <a:pt x="251269" y="1244060"/>
                  </a:lnTo>
                  <a:lnTo>
                    <a:pt x="252603" y="1242251"/>
                  </a:lnTo>
                  <a:lnTo>
                    <a:pt x="254413" y="1230821"/>
                  </a:lnTo>
                  <a:lnTo>
                    <a:pt x="254984" y="1222724"/>
                  </a:lnTo>
                  <a:lnTo>
                    <a:pt x="249841" y="1220153"/>
                  </a:lnTo>
                  <a:lnTo>
                    <a:pt x="250412" y="1212056"/>
                  </a:lnTo>
                  <a:lnTo>
                    <a:pt x="239935" y="1205389"/>
                  </a:lnTo>
                  <a:lnTo>
                    <a:pt x="236791" y="1205770"/>
                  </a:lnTo>
                  <a:lnTo>
                    <a:pt x="231457" y="1214533"/>
                  </a:lnTo>
                  <a:lnTo>
                    <a:pt x="229648" y="1213104"/>
                  </a:lnTo>
                  <a:lnTo>
                    <a:pt x="234029" y="1209389"/>
                  </a:lnTo>
                  <a:lnTo>
                    <a:pt x="235744" y="1197959"/>
                  </a:lnTo>
                  <a:lnTo>
                    <a:pt x="233743" y="1195007"/>
                  </a:lnTo>
                  <a:lnTo>
                    <a:pt x="232029" y="1193578"/>
                  </a:lnTo>
                  <a:lnTo>
                    <a:pt x="234696" y="1177195"/>
                  </a:lnTo>
                  <a:lnTo>
                    <a:pt x="231934" y="1167956"/>
                  </a:lnTo>
                  <a:lnTo>
                    <a:pt x="236029" y="1162622"/>
                  </a:lnTo>
                  <a:lnTo>
                    <a:pt x="240030" y="1155668"/>
                  </a:lnTo>
                  <a:lnTo>
                    <a:pt x="239554" y="1139666"/>
                  </a:lnTo>
                  <a:lnTo>
                    <a:pt x="242125" y="1134523"/>
                  </a:lnTo>
                  <a:lnTo>
                    <a:pt x="242888" y="1128046"/>
                  </a:lnTo>
                  <a:lnTo>
                    <a:pt x="239173" y="1123760"/>
                  </a:lnTo>
                  <a:lnTo>
                    <a:pt x="234601" y="1125855"/>
                  </a:lnTo>
                  <a:lnTo>
                    <a:pt x="227933" y="1123569"/>
                  </a:lnTo>
                  <a:lnTo>
                    <a:pt x="227266" y="1118807"/>
                  </a:lnTo>
                  <a:lnTo>
                    <a:pt x="223742" y="1116044"/>
                  </a:lnTo>
                  <a:lnTo>
                    <a:pt x="219361" y="1119854"/>
                  </a:lnTo>
                  <a:lnTo>
                    <a:pt x="217837" y="1120045"/>
                  </a:lnTo>
                  <a:lnTo>
                    <a:pt x="210884" y="1116044"/>
                  </a:lnTo>
                  <a:lnTo>
                    <a:pt x="210502" y="1112901"/>
                  </a:lnTo>
                  <a:lnTo>
                    <a:pt x="213646" y="1112520"/>
                  </a:lnTo>
                  <a:lnTo>
                    <a:pt x="214789" y="1109186"/>
                  </a:lnTo>
                  <a:lnTo>
                    <a:pt x="205168" y="1108805"/>
                  </a:lnTo>
                  <a:lnTo>
                    <a:pt x="204788" y="1105662"/>
                  </a:lnTo>
                  <a:lnTo>
                    <a:pt x="200025" y="1106234"/>
                  </a:lnTo>
                  <a:lnTo>
                    <a:pt x="196501" y="1103471"/>
                  </a:lnTo>
                  <a:lnTo>
                    <a:pt x="193357" y="1103948"/>
                  </a:lnTo>
                  <a:lnTo>
                    <a:pt x="190881" y="1097756"/>
                  </a:lnTo>
                  <a:lnTo>
                    <a:pt x="187547" y="1096613"/>
                  </a:lnTo>
                  <a:lnTo>
                    <a:pt x="195643" y="1097185"/>
                  </a:lnTo>
                  <a:lnTo>
                    <a:pt x="202787" y="1102709"/>
                  </a:lnTo>
                  <a:lnTo>
                    <a:pt x="210693" y="1101662"/>
                  </a:lnTo>
                  <a:lnTo>
                    <a:pt x="212026" y="1099947"/>
                  </a:lnTo>
                  <a:lnTo>
                    <a:pt x="216789" y="1099280"/>
                  </a:lnTo>
                  <a:lnTo>
                    <a:pt x="219742" y="1097280"/>
                  </a:lnTo>
                  <a:lnTo>
                    <a:pt x="216408" y="1096137"/>
                  </a:lnTo>
                  <a:lnTo>
                    <a:pt x="209836" y="1082516"/>
                  </a:lnTo>
                  <a:lnTo>
                    <a:pt x="200120" y="1082135"/>
                  </a:lnTo>
                  <a:lnTo>
                    <a:pt x="196405" y="1077849"/>
                  </a:lnTo>
                  <a:lnTo>
                    <a:pt x="198977" y="1072706"/>
                  </a:lnTo>
                  <a:lnTo>
                    <a:pt x="196977" y="1069753"/>
                  </a:lnTo>
                  <a:lnTo>
                    <a:pt x="198120" y="1066419"/>
                  </a:lnTo>
                  <a:lnTo>
                    <a:pt x="200120" y="1069372"/>
                  </a:lnTo>
                  <a:lnTo>
                    <a:pt x="200311" y="1070896"/>
                  </a:lnTo>
                  <a:lnTo>
                    <a:pt x="202120" y="1072325"/>
                  </a:lnTo>
                  <a:lnTo>
                    <a:pt x="204883" y="1068705"/>
                  </a:lnTo>
                  <a:lnTo>
                    <a:pt x="205073" y="1070324"/>
                  </a:lnTo>
                  <a:lnTo>
                    <a:pt x="206692" y="1070134"/>
                  </a:lnTo>
                  <a:lnTo>
                    <a:pt x="206692" y="1070134"/>
                  </a:lnTo>
                  <a:lnTo>
                    <a:pt x="208026" y="1068324"/>
                  </a:lnTo>
                  <a:lnTo>
                    <a:pt x="215741" y="1065752"/>
                  </a:lnTo>
                  <a:lnTo>
                    <a:pt x="219075" y="1066895"/>
                  </a:lnTo>
                  <a:lnTo>
                    <a:pt x="226123" y="1059656"/>
                  </a:lnTo>
                  <a:lnTo>
                    <a:pt x="221456" y="1060228"/>
                  </a:lnTo>
                  <a:lnTo>
                    <a:pt x="220789" y="1055465"/>
                  </a:lnTo>
                  <a:lnTo>
                    <a:pt x="216122" y="1056132"/>
                  </a:lnTo>
                  <a:lnTo>
                    <a:pt x="215932" y="1054513"/>
                  </a:lnTo>
                  <a:lnTo>
                    <a:pt x="212503" y="1053370"/>
                  </a:lnTo>
                  <a:lnTo>
                    <a:pt x="208026" y="1055561"/>
                  </a:lnTo>
                  <a:lnTo>
                    <a:pt x="210788" y="1051941"/>
                  </a:lnTo>
                  <a:lnTo>
                    <a:pt x="207359" y="1050798"/>
                  </a:lnTo>
                  <a:lnTo>
                    <a:pt x="203073" y="1054513"/>
                  </a:lnTo>
                  <a:lnTo>
                    <a:pt x="201073" y="1051560"/>
                  </a:lnTo>
                  <a:lnTo>
                    <a:pt x="198120" y="1053560"/>
                  </a:lnTo>
                  <a:lnTo>
                    <a:pt x="196977" y="1056894"/>
                  </a:lnTo>
                  <a:lnTo>
                    <a:pt x="194024" y="1058894"/>
                  </a:lnTo>
                  <a:lnTo>
                    <a:pt x="194405" y="1062037"/>
                  </a:lnTo>
                  <a:lnTo>
                    <a:pt x="189452" y="1061085"/>
                  </a:lnTo>
                  <a:lnTo>
                    <a:pt x="186690" y="1051846"/>
                  </a:lnTo>
                  <a:lnTo>
                    <a:pt x="190024" y="1052989"/>
                  </a:lnTo>
                  <a:lnTo>
                    <a:pt x="189833" y="1051465"/>
                  </a:lnTo>
                  <a:lnTo>
                    <a:pt x="186499" y="1050227"/>
                  </a:lnTo>
                  <a:lnTo>
                    <a:pt x="190595" y="1044893"/>
                  </a:lnTo>
                  <a:lnTo>
                    <a:pt x="186690" y="1038987"/>
                  </a:lnTo>
                  <a:lnTo>
                    <a:pt x="189166" y="1033844"/>
                  </a:lnTo>
                  <a:lnTo>
                    <a:pt x="198311" y="1029462"/>
                  </a:lnTo>
                  <a:lnTo>
                    <a:pt x="205740" y="1012507"/>
                  </a:lnTo>
                  <a:lnTo>
                    <a:pt x="228409" y="1001649"/>
                  </a:lnTo>
                  <a:lnTo>
                    <a:pt x="232886" y="999458"/>
                  </a:lnTo>
                  <a:lnTo>
                    <a:pt x="239268" y="998601"/>
                  </a:lnTo>
                  <a:lnTo>
                    <a:pt x="236125" y="998982"/>
                  </a:lnTo>
                  <a:lnTo>
                    <a:pt x="236887" y="1005364"/>
                  </a:lnTo>
                  <a:lnTo>
                    <a:pt x="238696" y="1006697"/>
                  </a:lnTo>
                  <a:lnTo>
                    <a:pt x="243554" y="1007650"/>
                  </a:lnTo>
                  <a:lnTo>
                    <a:pt x="245745" y="1012222"/>
                  </a:lnTo>
                  <a:lnTo>
                    <a:pt x="247364" y="1012031"/>
                  </a:lnTo>
                  <a:lnTo>
                    <a:pt x="247555" y="1013555"/>
                  </a:lnTo>
                  <a:lnTo>
                    <a:pt x="252317" y="1012984"/>
                  </a:lnTo>
                  <a:lnTo>
                    <a:pt x="254032" y="1014317"/>
                  </a:lnTo>
                  <a:lnTo>
                    <a:pt x="255079" y="1009460"/>
                  </a:lnTo>
                  <a:lnTo>
                    <a:pt x="256603" y="1009269"/>
                  </a:lnTo>
                  <a:lnTo>
                    <a:pt x="256222" y="1006031"/>
                  </a:lnTo>
                  <a:lnTo>
                    <a:pt x="257556" y="1004316"/>
                  </a:lnTo>
                  <a:lnTo>
                    <a:pt x="258413" y="997744"/>
                  </a:lnTo>
                  <a:lnTo>
                    <a:pt x="261366" y="995839"/>
                  </a:lnTo>
                  <a:lnTo>
                    <a:pt x="263652" y="989076"/>
                  </a:lnTo>
                  <a:lnTo>
                    <a:pt x="266795" y="988695"/>
                  </a:lnTo>
                  <a:lnTo>
                    <a:pt x="272986" y="986314"/>
                  </a:lnTo>
                  <a:lnTo>
                    <a:pt x="272510" y="983170"/>
                  </a:lnTo>
                  <a:lnTo>
                    <a:pt x="274320" y="984504"/>
                  </a:lnTo>
                  <a:lnTo>
                    <a:pt x="275749" y="982790"/>
                  </a:lnTo>
                  <a:lnTo>
                    <a:pt x="278892" y="982313"/>
                  </a:lnTo>
                  <a:lnTo>
                    <a:pt x="283178" y="978599"/>
                  </a:lnTo>
                  <a:lnTo>
                    <a:pt x="284988" y="979932"/>
                  </a:lnTo>
                  <a:lnTo>
                    <a:pt x="288893" y="973074"/>
                  </a:lnTo>
                  <a:lnTo>
                    <a:pt x="286703" y="968502"/>
                  </a:lnTo>
                  <a:lnTo>
                    <a:pt x="281559" y="965930"/>
                  </a:lnTo>
                  <a:lnTo>
                    <a:pt x="279559" y="962978"/>
                  </a:lnTo>
                  <a:lnTo>
                    <a:pt x="276225" y="961835"/>
                  </a:lnTo>
                  <a:lnTo>
                    <a:pt x="273272" y="963835"/>
                  </a:lnTo>
                  <a:lnTo>
                    <a:pt x="271939" y="965549"/>
                  </a:lnTo>
                  <a:lnTo>
                    <a:pt x="266033" y="969550"/>
                  </a:lnTo>
                  <a:lnTo>
                    <a:pt x="264223" y="968121"/>
                  </a:lnTo>
                  <a:lnTo>
                    <a:pt x="264795" y="960120"/>
                  </a:lnTo>
                  <a:lnTo>
                    <a:pt x="274034" y="957262"/>
                  </a:lnTo>
                  <a:lnTo>
                    <a:pt x="277178" y="944023"/>
                  </a:lnTo>
                  <a:lnTo>
                    <a:pt x="276415" y="937736"/>
                  </a:lnTo>
                  <a:lnTo>
                    <a:pt x="272605" y="933450"/>
                  </a:lnTo>
                  <a:lnTo>
                    <a:pt x="272224" y="930307"/>
                  </a:lnTo>
                  <a:lnTo>
                    <a:pt x="269843" y="924115"/>
                  </a:lnTo>
                  <a:lnTo>
                    <a:pt x="270796" y="919258"/>
                  </a:lnTo>
                  <a:lnTo>
                    <a:pt x="280321" y="918020"/>
                  </a:lnTo>
                  <a:lnTo>
                    <a:pt x="279463" y="911733"/>
                  </a:lnTo>
                  <a:lnTo>
                    <a:pt x="285369" y="907732"/>
                  </a:lnTo>
                  <a:lnTo>
                    <a:pt x="282226" y="908114"/>
                  </a:lnTo>
                  <a:lnTo>
                    <a:pt x="284416" y="899827"/>
                  </a:lnTo>
                  <a:lnTo>
                    <a:pt x="277463" y="895922"/>
                  </a:lnTo>
                  <a:lnTo>
                    <a:pt x="276415" y="888016"/>
                  </a:lnTo>
                  <a:lnTo>
                    <a:pt x="283369" y="879157"/>
                  </a:lnTo>
                  <a:lnTo>
                    <a:pt x="281368" y="876205"/>
                  </a:lnTo>
                  <a:lnTo>
                    <a:pt x="277654" y="871823"/>
                  </a:lnTo>
                  <a:lnTo>
                    <a:pt x="280321" y="868299"/>
                  </a:lnTo>
                  <a:lnTo>
                    <a:pt x="283750" y="869442"/>
                  </a:lnTo>
                  <a:lnTo>
                    <a:pt x="287464" y="860965"/>
                  </a:lnTo>
                  <a:lnTo>
                    <a:pt x="283464" y="855059"/>
                  </a:lnTo>
                  <a:lnTo>
                    <a:pt x="286607" y="854678"/>
                  </a:lnTo>
                  <a:lnTo>
                    <a:pt x="285464" y="845153"/>
                  </a:lnTo>
                  <a:lnTo>
                    <a:pt x="287179" y="846582"/>
                  </a:lnTo>
                  <a:lnTo>
                    <a:pt x="290417" y="846201"/>
                  </a:lnTo>
                  <a:lnTo>
                    <a:pt x="290132" y="844582"/>
                  </a:lnTo>
                  <a:lnTo>
                    <a:pt x="290417" y="846201"/>
                  </a:lnTo>
                  <a:lnTo>
                    <a:pt x="291941" y="845915"/>
                  </a:lnTo>
                  <a:lnTo>
                    <a:pt x="293370" y="844201"/>
                  </a:lnTo>
                  <a:lnTo>
                    <a:pt x="296704" y="845344"/>
                  </a:lnTo>
                  <a:lnTo>
                    <a:pt x="299657" y="843344"/>
                  </a:lnTo>
                  <a:lnTo>
                    <a:pt x="300228" y="848106"/>
                  </a:lnTo>
                  <a:lnTo>
                    <a:pt x="303181" y="846106"/>
                  </a:lnTo>
                  <a:lnTo>
                    <a:pt x="299657" y="830580"/>
                  </a:lnTo>
                  <a:lnTo>
                    <a:pt x="298037" y="817912"/>
                  </a:lnTo>
                  <a:lnTo>
                    <a:pt x="295656" y="811816"/>
                  </a:lnTo>
                  <a:lnTo>
                    <a:pt x="296609" y="806863"/>
                  </a:lnTo>
                  <a:lnTo>
                    <a:pt x="296228" y="803720"/>
                  </a:lnTo>
                  <a:lnTo>
                    <a:pt x="294418" y="802386"/>
                  </a:lnTo>
                  <a:lnTo>
                    <a:pt x="292417" y="799433"/>
                  </a:lnTo>
                  <a:lnTo>
                    <a:pt x="293656" y="796004"/>
                  </a:lnTo>
                  <a:lnTo>
                    <a:pt x="294799" y="792670"/>
                  </a:lnTo>
                  <a:lnTo>
                    <a:pt x="293941" y="786384"/>
                  </a:lnTo>
                  <a:lnTo>
                    <a:pt x="292227" y="784955"/>
                  </a:lnTo>
                  <a:lnTo>
                    <a:pt x="294799" y="779812"/>
                  </a:lnTo>
                  <a:lnTo>
                    <a:pt x="302419" y="777240"/>
                  </a:lnTo>
                  <a:lnTo>
                    <a:pt x="291370" y="778669"/>
                  </a:lnTo>
                  <a:lnTo>
                    <a:pt x="286226" y="776097"/>
                  </a:lnTo>
                  <a:lnTo>
                    <a:pt x="274034" y="768096"/>
                  </a:lnTo>
                  <a:lnTo>
                    <a:pt x="270034" y="762190"/>
                  </a:lnTo>
                  <a:lnTo>
                    <a:pt x="256984" y="760571"/>
                  </a:lnTo>
                  <a:lnTo>
                    <a:pt x="251841" y="758095"/>
                  </a:lnTo>
                  <a:lnTo>
                    <a:pt x="245936" y="762000"/>
                  </a:lnTo>
                  <a:lnTo>
                    <a:pt x="239459" y="761238"/>
                  </a:lnTo>
                  <a:lnTo>
                    <a:pt x="240792" y="759428"/>
                  </a:lnTo>
                  <a:lnTo>
                    <a:pt x="239077" y="758095"/>
                  </a:lnTo>
                  <a:lnTo>
                    <a:pt x="240411" y="756285"/>
                  </a:lnTo>
                  <a:lnTo>
                    <a:pt x="244030" y="759047"/>
                  </a:lnTo>
                  <a:lnTo>
                    <a:pt x="245554" y="758857"/>
                  </a:lnTo>
                  <a:lnTo>
                    <a:pt x="245745" y="747617"/>
                  </a:lnTo>
                  <a:lnTo>
                    <a:pt x="246507" y="741140"/>
                  </a:lnTo>
                  <a:lnTo>
                    <a:pt x="244697" y="739711"/>
                  </a:lnTo>
                  <a:lnTo>
                    <a:pt x="243745" y="731806"/>
                  </a:lnTo>
                  <a:lnTo>
                    <a:pt x="237649" y="734187"/>
                  </a:lnTo>
                  <a:lnTo>
                    <a:pt x="232505" y="731615"/>
                  </a:lnTo>
                  <a:lnTo>
                    <a:pt x="225742" y="729329"/>
                  </a:lnTo>
                  <a:lnTo>
                    <a:pt x="216503" y="732091"/>
                  </a:lnTo>
                  <a:lnTo>
                    <a:pt x="211931" y="734282"/>
                  </a:lnTo>
                  <a:lnTo>
                    <a:pt x="211931" y="734282"/>
                  </a:lnTo>
                  <a:lnTo>
                    <a:pt x="210407" y="734473"/>
                  </a:lnTo>
                  <a:lnTo>
                    <a:pt x="209359" y="726567"/>
                  </a:lnTo>
                  <a:lnTo>
                    <a:pt x="204978" y="717518"/>
                  </a:lnTo>
                  <a:lnTo>
                    <a:pt x="201644" y="716375"/>
                  </a:lnTo>
                  <a:lnTo>
                    <a:pt x="198691" y="718280"/>
                  </a:lnTo>
                  <a:lnTo>
                    <a:pt x="196977" y="716947"/>
                  </a:lnTo>
                  <a:lnTo>
                    <a:pt x="192976" y="711041"/>
                  </a:lnTo>
                  <a:lnTo>
                    <a:pt x="189833" y="711422"/>
                  </a:lnTo>
                  <a:lnTo>
                    <a:pt x="187833" y="695611"/>
                  </a:lnTo>
                  <a:lnTo>
                    <a:pt x="182880" y="694658"/>
                  </a:lnTo>
                  <a:lnTo>
                    <a:pt x="178879" y="688753"/>
                  </a:lnTo>
                  <a:lnTo>
                    <a:pt x="175736" y="689134"/>
                  </a:lnTo>
                  <a:lnTo>
                    <a:pt x="172402" y="687991"/>
                  </a:lnTo>
                  <a:lnTo>
                    <a:pt x="169640" y="691515"/>
                  </a:lnTo>
                  <a:lnTo>
                    <a:pt x="168021" y="691801"/>
                  </a:lnTo>
                  <a:lnTo>
                    <a:pt x="166497" y="691991"/>
                  </a:lnTo>
                  <a:lnTo>
                    <a:pt x="163163" y="690753"/>
                  </a:lnTo>
                  <a:lnTo>
                    <a:pt x="161734" y="692563"/>
                  </a:lnTo>
                  <a:lnTo>
                    <a:pt x="163925" y="697135"/>
                  </a:lnTo>
                  <a:lnTo>
                    <a:pt x="144970" y="699516"/>
                  </a:lnTo>
                  <a:lnTo>
                    <a:pt x="139827" y="696944"/>
                  </a:lnTo>
                  <a:lnTo>
                    <a:pt x="118777" y="694849"/>
                  </a:lnTo>
                  <a:lnTo>
                    <a:pt x="118300" y="691706"/>
                  </a:lnTo>
                  <a:lnTo>
                    <a:pt x="114967" y="690467"/>
                  </a:lnTo>
                  <a:lnTo>
                    <a:pt x="114586" y="687324"/>
                  </a:lnTo>
                  <a:lnTo>
                    <a:pt x="109252" y="683228"/>
                  </a:lnTo>
                  <a:lnTo>
                    <a:pt x="110585" y="681419"/>
                  </a:lnTo>
                  <a:lnTo>
                    <a:pt x="108680" y="678466"/>
                  </a:lnTo>
                  <a:lnTo>
                    <a:pt x="103537" y="675894"/>
                  </a:lnTo>
                  <a:lnTo>
                    <a:pt x="99917" y="673132"/>
                  </a:lnTo>
                  <a:lnTo>
                    <a:pt x="98393" y="673322"/>
                  </a:lnTo>
                  <a:lnTo>
                    <a:pt x="94774" y="670655"/>
                  </a:lnTo>
                  <a:lnTo>
                    <a:pt x="85534" y="673418"/>
                  </a:lnTo>
                  <a:lnTo>
                    <a:pt x="82772" y="664178"/>
                  </a:lnTo>
                  <a:lnTo>
                    <a:pt x="78010" y="664750"/>
                  </a:lnTo>
                  <a:lnTo>
                    <a:pt x="72866" y="662178"/>
                  </a:lnTo>
                  <a:lnTo>
                    <a:pt x="73438" y="654082"/>
                  </a:lnTo>
                  <a:lnTo>
                    <a:pt x="76771" y="655225"/>
                  </a:lnTo>
                  <a:lnTo>
                    <a:pt x="78010" y="651891"/>
                  </a:lnTo>
                  <a:lnTo>
                    <a:pt x="89249" y="652082"/>
                  </a:lnTo>
                  <a:lnTo>
                    <a:pt x="97726" y="655796"/>
                  </a:lnTo>
                  <a:lnTo>
                    <a:pt x="97345" y="652653"/>
                  </a:lnTo>
                  <a:lnTo>
                    <a:pt x="90583" y="650272"/>
                  </a:lnTo>
                  <a:lnTo>
                    <a:pt x="89059" y="650462"/>
                  </a:lnTo>
                  <a:lnTo>
                    <a:pt x="86296" y="641223"/>
                  </a:lnTo>
                  <a:lnTo>
                    <a:pt x="82867" y="640080"/>
                  </a:lnTo>
                  <a:lnTo>
                    <a:pt x="70294" y="641699"/>
                  </a:lnTo>
                  <a:lnTo>
                    <a:pt x="66294" y="648557"/>
                  </a:lnTo>
                  <a:lnTo>
                    <a:pt x="60007" y="649415"/>
                  </a:lnTo>
                  <a:lnTo>
                    <a:pt x="56483" y="646652"/>
                  </a:lnTo>
                  <a:lnTo>
                    <a:pt x="57626" y="643319"/>
                  </a:lnTo>
                  <a:lnTo>
                    <a:pt x="57245" y="640080"/>
                  </a:lnTo>
                  <a:lnTo>
                    <a:pt x="54292" y="642080"/>
                  </a:lnTo>
                  <a:lnTo>
                    <a:pt x="52102" y="637604"/>
                  </a:lnTo>
                  <a:lnTo>
                    <a:pt x="47815" y="641318"/>
                  </a:lnTo>
                  <a:lnTo>
                    <a:pt x="32956" y="638365"/>
                  </a:lnTo>
                  <a:lnTo>
                    <a:pt x="30861" y="646652"/>
                  </a:lnTo>
                  <a:lnTo>
                    <a:pt x="27622" y="647129"/>
                  </a:lnTo>
                  <a:lnTo>
                    <a:pt x="25336" y="653796"/>
                  </a:lnTo>
                  <a:lnTo>
                    <a:pt x="23717" y="653986"/>
                  </a:lnTo>
                  <a:lnTo>
                    <a:pt x="18764" y="653034"/>
                  </a:lnTo>
                  <a:lnTo>
                    <a:pt x="17812" y="645128"/>
                  </a:lnTo>
                  <a:lnTo>
                    <a:pt x="6763" y="646557"/>
                  </a:lnTo>
                  <a:lnTo>
                    <a:pt x="2191" y="648748"/>
                  </a:lnTo>
                  <a:lnTo>
                    <a:pt x="667" y="648938"/>
                  </a:lnTo>
                  <a:lnTo>
                    <a:pt x="0" y="644176"/>
                  </a:lnTo>
                  <a:lnTo>
                    <a:pt x="4191" y="638842"/>
                  </a:lnTo>
                  <a:lnTo>
                    <a:pt x="3524" y="634175"/>
                  </a:lnTo>
                  <a:lnTo>
                    <a:pt x="9430" y="630174"/>
                  </a:lnTo>
                  <a:lnTo>
                    <a:pt x="10858" y="628364"/>
                  </a:lnTo>
                  <a:lnTo>
                    <a:pt x="8858" y="625411"/>
                  </a:lnTo>
                  <a:lnTo>
                    <a:pt x="12954" y="620078"/>
                  </a:lnTo>
                  <a:lnTo>
                    <a:pt x="12382" y="615410"/>
                  </a:lnTo>
                  <a:lnTo>
                    <a:pt x="17335" y="616363"/>
                  </a:lnTo>
                  <a:lnTo>
                    <a:pt x="23622" y="615506"/>
                  </a:lnTo>
                  <a:lnTo>
                    <a:pt x="24003" y="605885"/>
                  </a:lnTo>
                  <a:lnTo>
                    <a:pt x="21622" y="599789"/>
                  </a:lnTo>
                  <a:lnTo>
                    <a:pt x="21431" y="598170"/>
                  </a:lnTo>
                  <a:lnTo>
                    <a:pt x="16478" y="597218"/>
                  </a:lnTo>
                  <a:lnTo>
                    <a:pt x="13906" y="589502"/>
                  </a:lnTo>
                  <a:lnTo>
                    <a:pt x="9811" y="594836"/>
                  </a:lnTo>
                  <a:lnTo>
                    <a:pt x="7810" y="591884"/>
                  </a:lnTo>
                  <a:lnTo>
                    <a:pt x="8382" y="583787"/>
                  </a:lnTo>
                  <a:lnTo>
                    <a:pt x="9144" y="577310"/>
                  </a:lnTo>
                  <a:lnTo>
                    <a:pt x="7144" y="574358"/>
                  </a:lnTo>
                  <a:lnTo>
                    <a:pt x="11525" y="570548"/>
                  </a:lnTo>
                  <a:lnTo>
                    <a:pt x="14859" y="571786"/>
                  </a:lnTo>
                  <a:lnTo>
                    <a:pt x="17621" y="568166"/>
                  </a:lnTo>
                  <a:lnTo>
                    <a:pt x="20764" y="567785"/>
                  </a:lnTo>
                  <a:lnTo>
                    <a:pt x="21526" y="561308"/>
                  </a:lnTo>
                  <a:lnTo>
                    <a:pt x="31242" y="561689"/>
                  </a:lnTo>
                  <a:lnTo>
                    <a:pt x="31242" y="561689"/>
                  </a:lnTo>
                  <a:lnTo>
                    <a:pt x="31432" y="563213"/>
                  </a:lnTo>
                  <a:lnTo>
                    <a:pt x="41434" y="566738"/>
                  </a:lnTo>
                  <a:lnTo>
                    <a:pt x="46196" y="566166"/>
                  </a:lnTo>
                  <a:lnTo>
                    <a:pt x="47149" y="561213"/>
                  </a:lnTo>
                  <a:lnTo>
                    <a:pt x="45434" y="559880"/>
                  </a:lnTo>
                  <a:lnTo>
                    <a:pt x="46577" y="556451"/>
                  </a:lnTo>
                  <a:lnTo>
                    <a:pt x="48387" y="557879"/>
                  </a:lnTo>
                  <a:lnTo>
                    <a:pt x="53054" y="557213"/>
                  </a:lnTo>
                  <a:lnTo>
                    <a:pt x="51911" y="547783"/>
                  </a:lnTo>
                  <a:lnTo>
                    <a:pt x="51721" y="546163"/>
                  </a:lnTo>
                  <a:lnTo>
                    <a:pt x="52102" y="536543"/>
                  </a:lnTo>
                  <a:lnTo>
                    <a:pt x="52483" y="539686"/>
                  </a:lnTo>
                  <a:lnTo>
                    <a:pt x="53816" y="537877"/>
                  </a:lnTo>
                  <a:lnTo>
                    <a:pt x="56007" y="542449"/>
                  </a:lnTo>
                  <a:lnTo>
                    <a:pt x="60960" y="543401"/>
                  </a:lnTo>
                  <a:lnTo>
                    <a:pt x="65913" y="544354"/>
                  </a:lnTo>
                  <a:lnTo>
                    <a:pt x="66865" y="539496"/>
                  </a:lnTo>
                  <a:lnTo>
                    <a:pt x="66103" y="533114"/>
                  </a:lnTo>
                  <a:lnTo>
                    <a:pt x="65246" y="526828"/>
                  </a:lnTo>
                  <a:lnTo>
                    <a:pt x="60103" y="524256"/>
                  </a:lnTo>
                  <a:lnTo>
                    <a:pt x="60103" y="524256"/>
                  </a:lnTo>
                  <a:lnTo>
                    <a:pt x="69628" y="523113"/>
                  </a:lnTo>
                  <a:lnTo>
                    <a:pt x="70580" y="518160"/>
                  </a:lnTo>
                  <a:lnTo>
                    <a:pt x="66008" y="507492"/>
                  </a:lnTo>
                  <a:lnTo>
                    <a:pt x="68770" y="503968"/>
                  </a:lnTo>
                  <a:lnTo>
                    <a:pt x="66199" y="496253"/>
                  </a:lnTo>
                  <a:lnTo>
                    <a:pt x="69913" y="500539"/>
                  </a:lnTo>
                  <a:lnTo>
                    <a:pt x="69723" y="499015"/>
                  </a:lnTo>
                  <a:lnTo>
                    <a:pt x="77629" y="497967"/>
                  </a:lnTo>
                  <a:lnTo>
                    <a:pt x="80581" y="496062"/>
                  </a:lnTo>
                  <a:lnTo>
                    <a:pt x="80391" y="494443"/>
                  </a:lnTo>
                  <a:lnTo>
                    <a:pt x="83534" y="494062"/>
                  </a:lnTo>
                  <a:lnTo>
                    <a:pt x="83534" y="494062"/>
                  </a:lnTo>
                  <a:lnTo>
                    <a:pt x="83153" y="490919"/>
                  </a:lnTo>
                  <a:lnTo>
                    <a:pt x="87820" y="490252"/>
                  </a:lnTo>
                  <a:lnTo>
                    <a:pt x="86106" y="488918"/>
                  </a:lnTo>
                  <a:lnTo>
                    <a:pt x="85249" y="482632"/>
                  </a:lnTo>
                  <a:lnTo>
                    <a:pt x="86868" y="482346"/>
                  </a:lnTo>
                  <a:lnTo>
                    <a:pt x="90202" y="483584"/>
                  </a:lnTo>
                  <a:lnTo>
                    <a:pt x="91345" y="480250"/>
                  </a:lnTo>
                  <a:lnTo>
                    <a:pt x="97726" y="479393"/>
                  </a:lnTo>
                  <a:lnTo>
                    <a:pt x="100013" y="472726"/>
                  </a:lnTo>
                  <a:lnTo>
                    <a:pt x="107728" y="470154"/>
                  </a:lnTo>
                  <a:lnTo>
                    <a:pt x="110871" y="469678"/>
                  </a:lnTo>
                  <a:lnTo>
                    <a:pt x="110680" y="468154"/>
                  </a:lnTo>
                  <a:lnTo>
                    <a:pt x="113633" y="466154"/>
                  </a:lnTo>
                  <a:lnTo>
                    <a:pt x="113633" y="466154"/>
                  </a:lnTo>
                  <a:lnTo>
                    <a:pt x="121348" y="476345"/>
                  </a:lnTo>
                  <a:lnTo>
                    <a:pt x="124777" y="477584"/>
                  </a:lnTo>
                  <a:lnTo>
                    <a:pt x="127730" y="475583"/>
                  </a:lnTo>
                  <a:lnTo>
                    <a:pt x="135541" y="474536"/>
                  </a:lnTo>
                  <a:lnTo>
                    <a:pt x="142684" y="467296"/>
                  </a:lnTo>
                  <a:lnTo>
                    <a:pt x="147828" y="469773"/>
                  </a:lnTo>
                  <a:lnTo>
                    <a:pt x="147352" y="466630"/>
                  </a:lnTo>
                  <a:lnTo>
                    <a:pt x="160782" y="458534"/>
                  </a:lnTo>
                  <a:lnTo>
                    <a:pt x="156591" y="451009"/>
                  </a:lnTo>
                  <a:lnTo>
                    <a:pt x="164973" y="453200"/>
                  </a:lnTo>
                  <a:lnTo>
                    <a:pt x="167926" y="451199"/>
                  </a:lnTo>
                  <a:lnTo>
                    <a:pt x="171640" y="442722"/>
                  </a:lnTo>
                  <a:lnTo>
                    <a:pt x="169831" y="441388"/>
                  </a:lnTo>
                  <a:lnTo>
                    <a:pt x="171164" y="439579"/>
                  </a:lnTo>
                  <a:lnTo>
                    <a:pt x="171450" y="441103"/>
                  </a:lnTo>
                  <a:lnTo>
                    <a:pt x="176117" y="440531"/>
                  </a:lnTo>
                  <a:lnTo>
                    <a:pt x="180308" y="435197"/>
                  </a:lnTo>
                  <a:lnTo>
                    <a:pt x="192691" y="419195"/>
                  </a:lnTo>
                  <a:lnTo>
                    <a:pt x="194691" y="422148"/>
                  </a:lnTo>
                  <a:lnTo>
                    <a:pt x="193262" y="423958"/>
                  </a:lnTo>
                  <a:lnTo>
                    <a:pt x="193262" y="436721"/>
                  </a:lnTo>
                  <a:lnTo>
                    <a:pt x="202597" y="433959"/>
                  </a:lnTo>
                  <a:lnTo>
                    <a:pt x="205930" y="435102"/>
                  </a:lnTo>
                  <a:lnTo>
                    <a:pt x="211264" y="439293"/>
                  </a:lnTo>
                  <a:lnTo>
                    <a:pt x="214408" y="438912"/>
                  </a:lnTo>
                  <a:lnTo>
                    <a:pt x="225076" y="434340"/>
                  </a:lnTo>
                  <a:lnTo>
                    <a:pt x="242792" y="435292"/>
                  </a:lnTo>
                  <a:lnTo>
                    <a:pt x="247936" y="437769"/>
                  </a:lnTo>
                  <a:lnTo>
                    <a:pt x="250317" y="431102"/>
                  </a:lnTo>
                  <a:lnTo>
                    <a:pt x="251079" y="424529"/>
                  </a:lnTo>
                  <a:lnTo>
                    <a:pt x="253079" y="427577"/>
                  </a:lnTo>
                  <a:lnTo>
                    <a:pt x="256794" y="419005"/>
                  </a:lnTo>
                  <a:lnTo>
                    <a:pt x="258794" y="421958"/>
                  </a:lnTo>
                  <a:lnTo>
                    <a:pt x="258032" y="428530"/>
                  </a:lnTo>
                  <a:lnTo>
                    <a:pt x="261175" y="428149"/>
                  </a:lnTo>
                  <a:lnTo>
                    <a:pt x="263747" y="423005"/>
                  </a:lnTo>
                  <a:lnTo>
                    <a:pt x="266890" y="422529"/>
                  </a:lnTo>
                  <a:lnTo>
                    <a:pt x="275177" y="411861"/>
                  </a:lnTo>
                  <a:lnTo>
                    <a:pt x="280607" y="404813"/>
                  </a:lnTo>
                  <a:lnTo>
                    <a:pt x="282988" y="398050"/>
                  </a:lnTo>
                  <a:lnTo>
                    <a:pt x="286131" y="397669"/>
                  </a:lnTo>
                  <a:lnTo>
                    <a:pt x="292036" y="393668"/>
                  </a:lnTo>
                  <a:lnTo>
                    <a:pt x="295180" y="393287"/>
                  </a:lnTo>
                  <a:lnTo>
                    <a:pt x="299180" y="399193"/>
                  </a:lnTo>
                  <a:lnTo>
                    <a:pt x="300323" y="395859"/>
                  </a:lnTo>
                  <a:lnTo>
                    <a:pt x="302133" y="397192"/>
                  </a:lnTo>
                  <a:lnTo>
                    <a:pt x="308705" y="410813"/>
                  </a:lnTo>
                  <a:lnTo>
                    <a:pt x="307943" y="417386"/>
                  </a:lnTo>
                  <a:lnTo>
                    <a:pt x="309848" y="420338"/>
                  </a:lnTo>
                  <a:lnTo>
                    <a:pt x="309848" y="420338"/>
                  </a:lnTo>
                  <a:lnTo>
                    <a:pt x="326993" y="416528"/>
                  </a:lnTo>
                  <a:lnTo>
                    <a:pt x="327374" y="406813"/>
                  </a:lnTo>
                  <a:lnTo>
                    <a:pt x="330327" y="404813"/>
                  </a:lnTo>
                  <a:lnTo>
                    <a:pt x="327946" y="398717"/>
                  </a:lnTo>
                  <a:lnTo>
                    <a:pt x="333661" y="393192"/>
                  </a:lnTo>
                  <a:lnTo>
                    <a:pt x="337661" y="386334"/>
                  </a:lnTo>
                  <a:lnTo>
                    <a:pt x="343948" y="385477"/>
                  </a:lnTo>
                  <a:lnTo>
                    <a:pt x="359473" y="381857"/>
                  </a:lnTo>
                  <a:lnTo>
                    <a:pt x="362712" y="381476"/>
                  </a:lnTo>
                  <a:lnTo>
                    <a:pt x="361474" y="384810"/>
                  </a:lnTo>
                  <a:lnTo>
                    <a:pt x="370522" y="380524"/>
                  </a:lnTo>
                  <a:lnTo>
                    <a:pt x="371761" y="377095"/>
                  </a:lnTo>
                  <a:lnTo>
                    <a:pt x="376428" y="376523"/>
                  </a:lnTo>
                  <a:lnTo>
                    <a:pt x="381000" y="374333"/>
                  </a:lnTo>
                  <a:lnTo>
                    <a:pt x="381762" y="367856"/>
                  </a:lnTo>
                  <a:lnTo>
                    <a:pt x="384905" y="367475"/>
                  </a:lnTo>
                  <a:lnTo>
                    <a:pt x="384715" y="365855"/>
                  </a:lnTo>
                  <a:lnTo>
                    <a:pt x="388048" y="366998"/>
                  </a:lnTo>
                  <a:lnTo>
                    <a:pt x="390811" y="363474"/>
                  </a:lnTo>
                  <a:lnTo>
                    <a:pt x="392049" y="360140"/>
                  </a:lnTo>
                  <a:lnTo>
                    <a:pt x="390811" y="350615"/>
                  </a:lnTo>
                  <a:lnTo>
                    <a:pt x="390430" y="347472"/>
                  </a:lnTo>
                  <a:lnTo>
                    <a:pt x="387287" y="347853"/>
                  </a:lnTo>
                  <a:lnTo>
                    <a:pt x="388810" y="347663"/>
                  </a:lnTo>
                  <a:lnTo>
                    <a:pt x="388620" y="346138"/>
                  </a:lnTo>
                  <a:lnTo>
                    <a:pt x="395192" y="346900"/>
                  </a:lnTo>
                  <a:lnTo>
                    <a:pt x="395383" y="348425"/>
                  </a:lnTo>
                  <a:lnTo>
                    <a:pt x="401669" y="347663"/>
                  </a:lnTo>
                  <a:lnTo>
                    <a:pt x="402050" y="350806"/>
                  </a:lnTo>
                  <a:lnTo>
                    <a:pt x="414909" y="350806"/>
                  </a:lnTo>
                  <a:lnTo>
                    <a:pt x="418052" y="350425"/>
                  </a:lnTo>
                  <a:lnTo>
                    <a:pt x="417862" y="348806"/>
                  </a:lnTo>
                  <a:lnTo>
                    <a:pt x="415862" y="345853"/>
                  </a:lnTo>
                  <a:lnTo>
                    <a:pt x="417481" y="345662"/>
                  </a:lnTo>
                  <a:lnTo>
                    <a:pt x="417195" y="344043"/>
                  </a:lnTo>
                  <a:lnTo>
                    <a:pt x="415480" y="342710"/>
                  </a:lnTo>
                  <a:lnTo>
                    <a:pt x="417767" y="335947"/>
                  </a:lnTo>
                  <a:lnTo>
                    <a:pt x="413861" y="330041"/>
                  </a:lnTo>
                  <a:lnTo>
                    <a:pt x="410718" y="330517"/>
                  </a:lnTo>
                  <a:lnTo>
                    <a:pt x="408908" y="316230"/>
                  </a:lnTo>
                  <a:lnTo>
                    <a:pt x="416623" y="313658"/>
                  </a:lnTo>
                  <a:lnTo>
                    <a:pt x="414814" y="312325"/>
                  </a:lnTo>
                  <a:lnTo>
                    <a:pt x="419576" y="311753"/>
                  </a:lnTo>
                  <a:lnTo>
                    <a:pt x="422053" y="306610"/>
                  </a:lnTo>
                  <a:lnTo>
                    <a:pt x="425196" y="306134"/>
                  </a:lnTo>
                  <a:lnTo>
                    <a:pt x="427958" y="302609"/>
                  </a:lnTo>
                  <a:lnTo>
                    <a:pt x="435673" y="300038"/>
                  </a:lnTo>
                  <a:lnTo>
                    <a:pt x="441388" y="307277"/>
                  </a:lnTo>
                  <a:lnTo>
                    <a:pt x="444817" y="308515"/>
                  </a:lnTo>
                  <a:lnTo>
                    <a:pt x="444151" y="303752"/>
                  </a:lnTo>
                  <a:lnTo>
                    <a:pt x="447294" y="303371"/>
                  </a:lnTo>
                  <a:lnTo>
                    <a:pt x="447104" y="301752"/>
                  </a:lnTo>
                  <a:lnTo>
                    <a:pt x="459200" y="308229"/>
                  </a:lnTo>
                  <a:lnTo>
                    <a:pt x="469011" y="310229"/>
                  </a:lnTo>
                  <a:lnTo>
                    <a:pt x="471011" y="313182"/>
                  </a:lnTo>
                  <a:lnTo>
                    <a:pt x="474155" y="312801"/>
                  </a:lnTo>
                  <a:lnTo>
                    <a:pt x="474631" y="315944"/>
                  </a:lnTo>
                  <a:lnTo>
                    <a:pt x="476155" y="315754"/>
                  </a:lnTo>
                  <a:lnTo>
                    <a:pt x="489013" y="315659"/>
                  </a:lnTo>
                  <a:lnTo>
                    <a:pt x="503396" y="315468"/>
                  </a:lnTo>
                  <a:lnTo>
                    <a:pt x="503777" y="318611"/>
                  </a:lnTo>
                  <a:lnTo>
                    <a:pt x="510350" y="319373"/>
                  </a:lnTo>
                  <a:lnTo>
                    <a:pt x="519970" y="319754"/>
                  </a:lnTo>
                  <a:lnTo>
                    <a:pt x="521780" y="321088"/>
                  </a:lnTo>
                  <a:lnTo>
                    <a:pt x="523113" y="319373"/>
                  </a:lnTo>
                  <a:lnTo>
                    <a:pt x="538925" y="317373"/>
                  </a:lnTo>
                  <a:lnTo>
                    <a:pt x="540258" y="315563"/>
                  </a:lnTo>
                  <a:lnTo>
                    <a:pt x="548640" y="317754"/>
                  </a:lnTo>
                  <a:lnTo>
                    <a:pt x="550926" y="310991"/>
                  </a:lnTo>
                  <a:lnTo>
                    <a:pt x="548735" y="306419"/>
                  </a:lnTo>
                  <a:lnTo>
                    <a:pt x="558832" y="310039"/>
                  </a:lnTo>
                  <a:lnTo>
                    <a:pt x="557498" y="311753"/>
                  </a:lnTo>
                  <a:lnTo>
                    <a:pt x="561404" y="317659"/>
                  </a:lnTo>
                  <a:lnTo>
                    <a:pt x="562642" y="314325"/>
                  </a:lnTo>
                  <a:lnTo>
                    <a:pt x="569500" y="318230"/>
                  </a:lnTo>
                  <a:lnTo>
                    <a:pt x="569119" y="315087"/>
                  </a:lnTo>
                  <a:lnTo>
                    <a:pt x="572452" y="316230"/>
                  </a:lnTo>
                  <a:lnTo>
                    <a:pt x="573405" y="311372"/>
                  </a:lnTo>
                  <a:lnTo>
                    <a:pt x="589026" y="320611"/>
                  </a:lnTo>
                  <a:lnTo>
                    <a:pt x="593979" y="321564"/>
                  </a:lnTo>
                  <a:lnTo>
                    <a:pt x="594360" y="324707"/>
                  </a:lnTo>
                  <a:lnTo>
                    <a:pt x="596170" y="326041"/>
                  </a:lnTo>
                  <a:lnTo>
                    <a:pt x="599694" y="316040"/>
                  </a:lnTo>
                  <a:lnTo>
                    <a:pt x="601313" y="315849"/>
                  </a:lnTo>
                  <a:lnTo>
                    <a:pt x="605600" y="312039"/>
                  </a:lnTo>
                  <a:lnTo>
                    <a:pt x="605218" y="308896"/>
                  </a:lnTo>
                  <a:lnTo>
                    <a:pt x="608933" y="300419"/>
                  </a:lnTo>
                  <a:lnTo>
                    <a:pt x="610743" y="301752"/>
                  </a:lnTo>
                  <a:lnTo>
                    <a:pt x="614839" y="296418"/>
                  </a:lnTo>
                  <a:lnTo>
                    <a:pt x="621983" y="301942"/>
                  </a:lnTo>
                  <a:lnTo>
                    <a:pt x="626935" y="302895"/>
                  </a:lnTo>
                  <a:lnTo>
                    <a:pt x="628269" y="301181"/>
                  </a:lnTo>
                  <a:lnTo>
                    <a:pt x="628079" y="299561"/>
                  </a:lnTo>
                  <a:lnTo>
                    <a:pt x="633222" y="302133"/>
                  </a:lnTo>
                  <a:lnTo>
                    <a:pt x="637984" y="301561"/>
                  </a:lnTo>
                  <a:lnTo>
                    <a:pt x="635794" y="296990"/>
                  </a:lnTo>
                  <a:lnTo>
                    <a:pt x="647224" y="298704"/>
                  </a:lnTo>
                  <a:lnTo>
                    <a:pt x="646652" y="294037"/>
                  </a:lnTo>
                  <a:lnTo>
                    <a:pt x="649986" y="295180"/>
                  </a:lnTo>
                  <a:lnTo>
                    <a:pt x="651319" y="293370"/>
                  </a:lnTo>
                  <a:lnTo>
                    <a:pt x="657892" y="294132"/>
                  </a:lnTo>
                  <a:lnTo>
                    <a:pt x="658082" y="295751"/>
                  </a:lnTo>
                  <a:lnTo>
                    <a:pt x="661416" y="296894"/>
                  </a:lnTo>
                  <a:lnTo>
                    <a:pt x="661606" y="298513"/>
                  </a:lnTo>
                  <a:lnTo>
                    <a:pt x="664940" y="299657"/>
                  </a:lnTo>
                  <a:lnTo>
                    <a:pt x="665607" y="304419"/>
                  </a:lnTo>
                  <a:lnTo>
                    <a:pt x="666750" y="301085"/>
                  </a:lnTo>
                  <a:lnTo>
                    <a:pt x="670084" y="302228"/>
                  </a:lnTo>
                  <a:lnTo>
                    <a:pt x="666559" y="299466"/>
                  </a:lnTo>
                  <a:lnTo>
                    <a:pt x="669703" y="299085"/>
                  </a:lnTo>
                  <a:lnTo>
                    <a:pt x="671513" y="300419"/>
                  </a:lnTo>
                  <a:lnTo>
                    <a:pt x="670084" y="302228"/>
                  </a:lnTo>
                  <a:lnTo>
                    <a:pt x="670274" y="303848"/>
                  </a:lnTo>
                  <a:lnTo>
                    <a:pt x="674656" y="300038"/>
                  </a:lnTo>
                  <a:lnTo>
                    <a:pt x="676180" y="299847"/>
                  </a:lnTo>
                  <a:lnTo>
                    <a:pt x="681323" y="289560"/>
                  </a:lnTo>
                  <a:lnTo>
                    <a:pt x="679704" y="289750"/>
                  </a:lnTo>
                  <a:lnTo>
                    <a:pt x="680752" y="284798"/>
                  </a:lnTo>
                  <a:lnTo>
                    <a:pt x="679133" y="285083"/>
                  </a:lnTo>
                  <a:lnTo>
                    <a:pt x="680561" y="283273"/>
                  </a:lnTo>
                  <a:lnTo>
                    <a:pt x="677132" y="282131"/>
                  </a:lnTo>
                  <a:lnTo>
                    <a:pt x="678561" y="280321"/>
                  </a:lnTo>
                  <a:lnTo>
                    <a:pt x="677323" y="270796"/>
                  </a:lnTo>
                  <a:lnTo>
                    <a:pt x="684085" y="273177"/>
                  </a:lnTo>
                  <a:lnTo>
                    <a:pt x="683800" y="258794"/>
                  </a:lnTo>
                  <a:lnTo>
                    <a:pt x="683228" y="254032"/>
                  </a:lnTo>
                  <a:lnTo>
                    <a:pt x="684752" y="253841"/>
                  </a:lnTo>
                  <a:lnTo>
                    <a:pt x="685990" y="250508"/>
                  </a:lnTo>
                  <a:lnTo>
                    <a:pt x="682371" y="247745"/>
                  </a:lnTo>
                  <a:lnTo>
                    <a:pt x="679037" y="246602"/>
                  </a:lnTo>
                  <a:lnTo>
                    <a:pt x="678466" y="241840"/>
                  </a:lnTo>
                  <a:lnTo>
                    <a:pt x="674942" y="239077"/>
                  </a:lnTo>
                  <a:lnTo>
                    <a:pt x="674465" y="235934"/>
                  </a:lnTo>
                  <a:lnTo>
                    <a:pt x="678847" y="232124"/>
                  </a:lnTo>
                  <a:lnTo>
                    <a:pt x="680847" y="235077"/>
                  </a:lnTo>
                  <a:lnTo>
                    <a:pt x="683800" y="233172"/>
                  </a:lnTo>
                  <a:lnTo>
                    <a:pt x="680180" y="230410"/>
                  </a:lnTo>
                  <a:lnTo>
                    <a:pt x="679799" y="227267"/>
                  </a:lnTo>
                  <a:lnTo>
                    <a:pt x="676275" y="224504"/>
                  </a:lnTo>
                  <a:lnTo>
                    <a:pt x="677418" y="221075"/>
                  </a:lnTo>
                  <a:lnTo>
                    <a:pt x="679228" y="222504"/>
                  </a:lnTo>
                  <a:lnTo>
                    <a:pt x="678751" y="219361"/>
                  </a:lnTo>
                  <a:lnTo>
                    <a:pt x="677037" y="217932"/>
                  </a:lnTo>
                  <a:lnTo>
                    <a:pt x="676847" y="216408"/>
                  </a:lnTo>
                  <a:lnTo>
                    <a:pt x="673227" y="213646"/>
                  </a:lnTo>
                  <a:lnTo>
                    <a:pt x="673037" y="212027"/>
                  </a:lnTo>
                  <a:lnTo>
                    <a:pt x="675989" y="210026"/>
                  </a:lnTo>
                  <a:lnTo>
                    <a:pt x="679133" y="209645"/>
                  </a:lnTo>
                  <a:lnTo>
                    <a:pt x="680371" y="206311"/>
                  </a:lnTo>
                  <a:lnTo>
                    <a:pt x="683323" y="204311"/>
                  </a:lnTo>
                  <a:lnTo>
                    <a:pt x="695992" y="215551"/>
                  </a:lnTo>
                  <a:lnTo>
                    <a:pt x="711137" y="221647"/>
                  </a:lnTo>
                  <a:lnTo>
                    <a:pt x="712375" y="218313"/>
                  </a:lnTo>
                  <a:lnTo>
                    <a:pt x="715709" y="219456"/>
                  </a:lnTo>
                  <a:lnTo>
                    <a:pt x="712089" y="216694"/>
                  </a:lnTo>
                  <a:lnTo>
                    <a:pt x="714851" y="213169"/>
                  </a:lnTo>
                  <a:lnTo>
                    <a:pt x="713137" y="211741"/>
                  </a:lnTo>
                  <a:lnTo>
                    <a:pt x="708374" y="212312"/>
                  </a:lnTo>
                  <a:lnTo>
                    <a:pt x="706564" y="210979"/>
                  </a:lnTo>
                  <a:lnTo>
                    <a:pt x="710755" y="205645"/>
                  </a:lnTo>
                  <a:lnTo>
                    <a:pt x="714280" y="208407"/>
                  </a:lnTo>
                  <a:lnTo>
                    <a:pt x="715423" y="205073"/>
                  </a:lnTo>
                  <a:lnTo>
                    <a:pt x="712089" y="203835"/>
                  </a:lnTo>
                  <a:lnTo>
                    <a:pt x="713708" y="203644"/>
                  </a:lnTo>
                  <a:lnTo>
                    <a:pt x="718185" y="201454"/>
                  </a:lnTo>
                  <a:lnTo>
                    <a:pt x="716185" y="185738"/>
                  </a:lnTo>
                  <a:lnTo>
                    <a:pt x="726853" y="193929"/>
                  </a:lnTo>
                  <a:lnTo>
                    <a:pt x="734759" y="192977"/>
                  </a:lnTo>
                  <a:lnTo>
                    <a:pt x="733806" y="185071"/>
                  </a:lnTo>
                  <a:lnTo>
                    <a:pt x="742474" y="190405"/>
                  </a:lnTo>
                  <a:lnTo>
                    <a:pt x="750570" y="190976"/>
                  </a:lnTo>
                  <a:lnTo>
                    <a:pt x="749141" y="179927"/>
                  </a:lnTo>
                  <a:lnTo>
                    <a:pt x="750284" y="176498"/>
                  </a:lnTo>
                  <a:lnTo>
                    <a:pt x="749713" y="171831"/>
                  </a:lnTo>
                  <a:lnTo>
                    <a:pt x="750856" y="168497"/>
                  </a:lnTo>
                  <a:lnTo>
                    <a:pt x="745998" y="167450"/>
                  </a:lnTo>
                  <a:lnTo>
                    <a:pt x="749141" y="167069"/>
                  </a:lnTo>
                  <a:lnTo>
                    <a:pt x="749522" y="157448"/>
                  </a:lnTo>
                  <a:lnTo>
                    <a:pt x="738759" y="136303"/>
                  </a:lnTo>
                  <a:lnTo>
                    <a:pt x="751237" y="133160"/>
                  </a:lnTo>
                  <a:lnTo>
                    <a:pt x="748189" y="122301"/>
                  </a:lnTo>
                  <a:lnTo>
                    <a:pt x="760095" y="127159"/>
                  </a:lnTo>
                  <a:lnTo>
                    <a:pt x="761619" y="126968"/>
                  </a:lnTo>
                  <a:lnTo>
                    <a:pt x="760857" y="133540"/>
                  </a:lnTo>
                  <a:lnTo>
                    <a:pt x="767429" y="134302"/>
                  </a:lnTo>
                  <a:lnTo>
                    <a:pt x="766001" y="136017"/>
                  </a:lnTo>
                  <a:lnTo>
                    <a:pt x="769810" y="140398"/>
                  </a:lnTo>
                  <a:lnTo>
                    <a:pt x="772097" y="133636"/>
                  </a:lnTo>
                  <a:lnTo>
                    <a:pt x="770382" y="132302"/>
                  </a:lnTo>
                  <a:lnTo>
                    <a:pt x="775430" y="122015"/>
                  </a:lnTo>
                  <a:lnTo>
                    <a:pt x="786479" y="120586"/>
                  </a:lnTo>
                  <a:lnTo>
                    <a:pt x="783526" y="122587"/>
                  </a:lnTo>
                  <a:lnTo>
                    <a:pt x="787337" y="126968"/>
                  </a:lnTo>
                  <a:lnTo>
                    <a:pt x="789908" y="134588"/>
                  </a:lnTo>
                  <a:lnTo>
                    <a:pt x="791623" y="136017"/>
                  </a:lnTo>
                  <a:lnTo>
                    <a:pt x="799909" y="138113"/>
                  </a:lnTo>
                  <a:lnTo>
                    <a:pt x="804672" y="137541"/>
                  </a:lnTo>
                  <a:lnTo>
                    <a:pt x="807434" y="134017"/>
                  </a:lnTo>
                  <a:lnTo>
                    <a:pt x="801910" y="128302"/>
                  </a:lnTo>
                  <a:lnTo>
                    <a:pt x="801719" y="126683"/>
                  </a:lnTo>
                  <a:lnTo>
                    <a:pt x="811339" y="127063"/>
                  </a:lnTo>
                  <a:lnTo>
                    <a:pt x="812768" y="125254"/>
                  </a:lnTo>
                  <a:lnTo>
                    <a:pt x="815340" y="120110"/>
                  </a:lnTo>
                  <a:lnTo>
                    <a:pt x="821817" y="120967"/>
                  </a:lnTo>
                  <a:lnTo>
                    <a:pt x="823436" y="120682"/>
                  </a:lnTo>
                  <a:lnTo>
                    <a:pt x="823627" y="122301"/>
                  </a:lnTo>
                  <a:lnTo>
                    <a:pt x="822198" y="124111"/>
                  </a:lnTo>
                  <a:lnTo>
                    <a:pt x="822865" y="128778"/>
                  </a:lnTo>
                  <a:lnTo>
                    <a:pt x="821436" y="130588"/>
                  </a:lnTo>
                  <a:lnTo>
                    <a:pt x="826960" y="136303"/>
                  </a:lnTo>
                  <a:lnTo>
                    <a:pt x="825246" y="134969"/>
                  </a:lnTo>
                  <a:lnTo>
                    <a:pt x="822484" y="138494"/>
                  </a:lnTo>
                  <a:lnTo>
                    <a:pt x="821436" y="143446"/>
                  </a:lnTo>
                  <a:lnTo>
                    <a:pt x="823246" y="144780"/>
                  </a:lnTo>
                  <a:lnTo>
                    <a:pt x="824675" y="155829"/>
                  </a:lnTo>
                  <a:lnTo>
                    <a:pt x="830199" y="161544"/>
                  </a:lnTo>
                  <a:lnTo>
                    <a:pt x="831818" y="161354"/>
                  </a:lnTo>
                  <a:lnTo>
                    <a:pt x="832771" y="156400"/>
                  </a:lnTo>
                  <a:lnTo>
                    <a:pt x="834771" y="159353"/>
                  </a:lnTo>
                  <a:lnTo>
                    <a:pt x="836105" y="157639"/>
                  </a:lnTo>
                  <a:lnTo>
                    <a:pt x="836295" y="159163"/>
                  </a:lnTo>
                  <a:lnTo>
                    <a:pt x="839438" y="158782"/>
                  </a:lnTo>
                  <a:lnTo>
                    <a:pt x="838105" y="160592"/>
                  </a:lnTo>
                  <a:lnTo>
                    <a:pt x="838105" y="160592"/>
                  </a:lnTo>
                  <a:lnTo>
                    <a:pt x="843248" y="163068"/>
                  </a:lnTo>
                  <a:lnTo>
                    <a:pt x="845248" y="166021"/>
                  </a:lnTo>
                  <a:lnTo>
                    <a:pt x="847915" y="162496"/>
                  </a:lnTo>
                  <a:lnTo>
                    <a:pt x="845820" y="157925"/>
                  </a:lnTo>
                  <a:lnTo>
                    <a:pt x="849916" y="152590"/>
                  </a:lnTo>
                  <a:lnTo>
                    <a:pt x="850297" y="155829"/>
                  </a:lnTo>
                  <a:lnTo>
                    <a:pt x="856869" y="156591"/>
                  </a:lnTo>
                  <a:lnTo>
                    <a:pt x="858393" y="156400"/>
                  </a:lnTo>
                  <a:lnTo>
                    <a:pt x="859155" y="149828"/>
                  </a:lnTo>
                  <a:lnTo>
                    <a:pt x="864108" y="150781"/>
                  </a:lnTo>
                  <a:lnTo>
                    <a:pt x="866299" y="155353"/>
                  </a:lnTo>
                  <a:lnTo>
                    <a:pt x="871252" y="156305"/>
                  </a:lnTo>
                  <a:lnTo>
                    <a:pt x="870585" y="151638"/>
                  </a:lnTo>
                  <a:lnTo>
                    <a:pt x="872014" y="149828"/>
                  </a:lnTo>
                  <a:lnTo>
                    <a:pt x="883444" y="151543"/>
                  </a:lnTo>
                  <a:lnTo>
                    <a:pt x="889730" y="150781"/>
                  </a:lnTo>
                  <a:lnTo>
                    <a:pt x="889540" y="149161"/>
                  </a:lnTo>
                  <a:lnTo>
                    <a:pt x="900017" y="155829"/>
                  </a:lnTo>
                  <a:lnTo>
                    <a:pt x="900017" y="155829"/>
                  </a:lnTo>
                  <a:lnTo>
                    <a:pt x="900779" y="155543"/>
                  </a:lnTo>
                  <a:lnTo>
                    <a:pt x="901446" y="154115"/>
                  </a:lnTo>
                  <a:lnTo>
                    <a:pt x="898398" y="143256"/>
                  </a:lnTo>
                  <a:lnTo>
                    <a:pt x="904494" y="140875"/>
                  </a:lnTo>
                  <a:lnTo>
                    <a:pt x="904304" y="139256"/>
                  </a:lnTo>
                  <a:lnTo>
                    <a:pt x="914019" y="139636"/>
                  </a:lnTo>
                  <a:lnTo>
                    <a:pt x="916781" y="136112"/>
                  </a:lnTo>
                  <a:lnTo>
                    <a:pt x="920115" y="137255"/>
                  </a:lnTo>
                  <a:lnTo>
                    <a:pt x="923830" y="115919"/>
                  </a:lnTo>
                  <a:lnTo>
                    <a:pt x="923449" y="112776"/>
                  </a:lnTo>
                  <a:lnTo>
                    <a:pt x="943165" y="116681"/>
                  </a:lnTo>
                  <a:lnTo>
                    <a:pt x="944309" y="113348"/>
                  </a:lnTo>
                  <a:lnTo>
                    <a:pt x="946309" y="103442"/>
                  </a:lnTo>
                  <a:lnTo>
                    <a:pt x="940308" y="81820"/>
                  </a:lnTo>
                  <a:lnTo>
                    <a:pt x="940498" y="70485"/>
                  </a:lnTo>
                  <a:lnTo>
                    <a:pt x="975074" y="77343"/>
                  </a:lnTo>
                  <a:lnTo>
                    <a:pt x="994410" y="90869"/>
                  </a:lnTo>
                  <a:lnTo>
                    <a:pt x="1008602" y="76295"/>
                  </a:lnTo>
                  <a:lnTo>
                    <a:pt x="1011746" y="75914"/>
                  </a:lnTo>
                  <a:lnTo>
                    <a:pt x="1014508" y="72295"/>
                  </a:lnTo>
                  <a:lnTo>
                    <a:pt x="1015651" y="68961"/>
                  </a:lnTo>
                  <a:lnTo>
                    <a:pt x="1013651" y="66008"/>
                  </a:lnTo>
                  <a:lnTo>
                    <a:pt x="1008317" y="61913"/>
                  </a:lnTo>
                  <a:lnTo>
                    <a:pt x="1009269" y="56959"/>
                  </a:lnTo>
                  <a:lnTo>
                    <a:pt x="1007364" y="54007"/>
                  </a:lnTo>
                  <a:lnTo>
                    <a:pt x="1019747" y="50768"/>
                  </a:lnTo>
                  <a:lnTo>
                    <a:pt x="1019556" y="49244"/>
                  </a:lnTo>
                  <a:lnTo>
                    <a:pt x="1027081" y="45053"/>
                  </a:lnTo>
                  <a:lnTo>
                    <a:pt x="1031748" y="44482"/>
                  </a:lnTo>
                  <a:lnTo>
                    <a:pt x="1034891" y="44005"/>
                  </a:lnTo>
                  <a:lnTo>
                    <a:pt x="1037654" y="40481"/>
                  </a:lnTo>
                  <a:lnTo>
                    <a:pt x="1038320" y="45244"/>
                  </a:lnTo>
                  <a:lnTo>
                    <a:pt x="1044035" y="39719"/>
                  </a:lnTo>
                  <a:lnTo>
                    <a:pt x="1050131" y="37338"/>
                  </a:lnTo>
                  <a:lnTo>
                    <a:pt x="1045750" y="28289"/>
                  </a:lnTo>
                  <a:lnTo>
                    <a:pt x="1047369" y="28003"/>
                  </a:lnTo>
                  <a:lnTo>
                    <a:pt x="1042988" y="18955"/>
                  </a:lnTo>
                  <a:lnTo>
                    <a:pt x="1039844" y="19336"/>
                  </a:lnTo>
                  <a:lnTo>
                    <a:pt x="1045940" y="16954"/>
                  </a:lnTo>
                  <a:lnTo>
                    <a:pt x="1047274" y="15240"/>
                  </a:lnTo>
                  <a:lnTo>
                    <a:pt x="1050608" y="16383"/>
                  </a:lnTo>
                  <a:lnTo>
                    <a:pt x="1050417" y="14859"/>
                  </a:lnTo>
                  <a:lnTo>
                    <a:pt x="1053656" y="14383"/>
                  </a:lnTo>
                  <a:lnTo>
                    <a:pt x="1055370" y="15811"/>
                  </a:lnTo>
                  <a:lnTo>
                    <a:pt x="1048798" y="2191"/>
                  </a:lnTo>
                  <a:lnTo>
                    <a:pt x="1053370" y="0"/>
                  </a:lnTo>
                  <a:lnTo>
                    <a:pt x="1066419" y="1524"/>
                  </a:lnTo>
                  <a:lnTo>
                    <a:pt x="1064990" y="3334"/>
                  </a:lnTo>
                  <a:lnTo>
                    <a:pt x="1067372" y="9430"/>
                  </a:lnTo>
                  <a:lnTo>
                    <a:pt x="1064419" y="11430"/>
                  </a:lnTo>
                  <a:lnTo>
                    <a:pt x="1066419" y="14383"/>
                  </a:lnTo>
                  <a:lnTo>
                    <a:pt x="1069562" y="14002"/>
                  </a:lnTo>
                  <a:lnTo>
                    <a:pt x="1073182" y="16764"/>
                  </a:lnTo>
                  <a:lnTo>
                    <a:pt x="1072706" y="13621"/>
                  </a:lnTo>
                  <a:lnTo>
                    <a:pt x="1077659" y="14573"/>
                  </a:lnTo>
                  <a:lnTo>
                    <a:pt x="1082040" y="23622"/>
                  </a:lnTo>
                  <a:lnTo>
                    <a:pt x="1077277" y="24194"/>
                  </a:lnTo>
                  <a:lnTo>
                    <a:pt x="1080706" y="25432"/>
                  </a:lnTo>
                  <a:lnTo>
                    <a:pt x="1082612" y="28384"/>
                  </a:lnTo>
                  <a:lnTo>
                    <a:pt x="1087374" y="27718"/>
                  </a:lnTo>
                  <a:lnTo>
                    <a:pt x="1090898" y="30480"/>
                  </a:lnTo>
                  <a:lnTo>
                    <a:pt x="1090136" y="24194"/>
                  </a:lnTo>
                  <a:lnTo>
                    <a:pt x="1094899" y="23622"/>
                  </a:lnTo>
                  <a:lnTo>
                    <a:pt x="1095661" y="17050"/>
                  </a:lnTo>
                  <a:lnTo>
                    <a:pt x="1096994" y="15335"/>
                  </a:lnTo>
                  <a:lnTo>
                    <a:pt x="1100423" y="16478"/>
                  </a:lnTo>
                  <a:lnTo>
                    <a:pt x="1097471" y="18478"/>
                  </a:lnTo>
                  <a:lnTo>
                    <a:pt x="1099185" y="19812"/>
                  </a:lnTo>
                  <a:lnTo>
                    <a:pt x="1102328" y="19431"/>
                  </a:lnTo>
                  <a:lnTo>
                    <a:pt x="1104329" y="22384"/>
                  </a:lnTo>
                  <a:lnTo>
                    <a:pt x="1109091" y="21812"/>
                  </a:lnTo>
                  <a:lnTo>
                    <a:pt x="1112234" y="21336"/>
                  </a:lnTo>
                  <a:lnTo>
                    <a:pt x="1118140" y="17431"/>
                  </a:lnTo>
                  <a:lnTo>
                    <a:pt x="1118521" y="20574"/>
                  </a:lnTo>
                  <a:lnTo>
                    <a:pt x="1117378" y="23908"/>
                  </a:lnTo>
                  <a:lnTo>
                    <a:pt x="1119188" y="25336"/>
                  </a:lnTo>
                  <a:lnTo>
                    <a:pt x="1125664" y="38862"/>
                  </a:lnTo>
                  <a:lnTo>
                    <a:pt x="1127284" y="38672"/>
                  </a:lnTo>
                  <a:lnTo>
                    <a:pt x="1128808" y="38481"/>
                  </a:lnTo>
                  <a:lnTo>
                    <a:pt x="1133951" y="41053"/>
                  </a:lnTo>
                  <a:lnTo>
                    <a:pt x="1134809" y="47339"/>
                  </a:lnTo>
                  <a:lnTo>
                    <a:pt x="1136142" y="45625"/>
                  </a:lnTo>
                  <a:lnTo>
                    <a:pt x="1139285" y="45148"/>
                  </a:lnTo>
                  <a:lnTo>
                    <a:pt x="1139476" y="46768"/>
                  </a:lnTo>
                  <a:lnTo>
                    <a:pt x="1138523" y="51721"/>
                  </a:lnTo>
                  <a:lnTo>
                    <a:pt x="1142333" y="56007"/>
                  </a:lnTo>
                  <a:lnTo>
                    <a:pt x="1141285" y="60960"/>
                  </a:lnTo>
                  <a:lnTo>
                    <a:pt x="1145667" y="57245"/>
                  </a:lnTo>
                  <a:lnTo>
                    <a:pt x="1147477" y="58579"/>
                  </a:lnTo>
                  <a:lnTo>
                    <a:pt x="1151954" y="56388"/>
                  </a:lnTo>
                  <a:lnTo>
                    <a:pt x="1156716" y="55817"/>
                  </a:lnTo>
                  <a:lnTo>
                    <a:pt x="1156716" y="55817"/>
                  </a:lnTo>
                  <a:lnTo>
                    <a:pt x="1160907" y="63246"/>
                  </a:lnTo>
                  <a:lnTo>
                    <a:pt x="1166051" y="65818"/>
                  </a:lnTo>
                  <a:lnTo>
                    <a:pt x="1164812" y="69247"/>
                  </a:lnTo>
                  <a:lnTo>
                    <a:pt x="1169575" y="68580"/>
                  </a:lnTo>
                  <a:lnTo>
                    <a:pt x="1178433" y="75438"/>
                  </a:lnTo>
                  <a:lnTo>
                    <a:pt x="1175671" y="79057"/>
                  </a:lnTo>
                  <a:lnTo>
                    <a:pt x="1175861" y="80581"/>
                  </a:lnTo>
                  <a:lnTo>
                    <a:pt x="1178909" y="78676"/>
                  </a:lnTo>
                  <a:lnTo>
                    <a:pt x="1177862" y="83534"/>
                  </a:lnTo>
                  <a:lnTo>
                    <a:pt x="1181290" y="97536"/>
                  </a:lnTo>
                  <a:lnTo>
                    <a:pt x="1183100" y="98965"/>
                  </a:lnTo>
                  <a:lnTo>
                    <a:pt x="1185005" y="101917"/>
                  </a:lnTo>
                  <a:lnTo>
                    <a:pt x="1192721" y="99346"/>
                  </a:lnTo>
                  <a:lnTo>
                    <a:pt x="1193102" y="102489"/>
                  </a:lnTo>
                  <a:lnTo>
                    <a:pt x="1194721" y="102298"/>
                  </a:lnTo>
                  <a:lnTo>
                    <a:pt x="1194911" y="103823"/>
                  </a:lnTo>
                  <a:lnTo>
                    <a:pt x="1199483" y="101727"/>
                  </a:lnTo>
                  <a:lnTo>
                    <a:pt x="1204341" y="102679"/>
                  </a:lnTo>
                  <a:lnTo>
                    <a:pt x="1209675" y="106775"/>
                  </a:lnTo>
                  <a:lnTo>
                    <a:pt x="1208342" y="108585"/>
                  </a:lnTo>
                  <a:lnTo>
                    <a:pt x="1209961" y="108394"/>
                  </a:lnTo>
                  <a:lnTo>
                    <a:pt x="1210342" y="111538"/>
                  </a:lnTo>
                  <a:lnTo>
                    <a:pt x="1213485" y="111157"/>
                  </a:lnTo>
                  <a:lnTo>
                    <a:pt x="1212342" y="114490"/>
                  </a:lnTo>
                  <a:lnTo>
                    <a:pt x="1210723" y="114681"/>
                  </a:lnTo>
                  <a:lnTo>
                    <a:pt x="1211104" y="117824"/>
                  </a:lnTo>
                  <a:lnTo>
                    <a:pt x="1209580" y="118015"/>
                  </a:lnTo>
                  <a:lnTo>
                    <a:pt x="1210151" y="122777"/>
                  </a:lnTo>
                  <a:lnTo>
                    <a:pt x="1203674" y="122015"/>
                  </a:lnTo>
                  <a:lnTo>
                    <a:pt x="1204055" y="125158"/>
                  </a:lnTo>
                  <a:lnTo>
                    <a:pt x="1196150" y="126111"/>
                  </a:lnTo>
                  <a:lnTo>
                    <a:pt x="1191768" y="129921"/>
                  </a:lnTo>
                  <a:lnTo>
                    <a:pt x="1192816" y="137827"/>
                  </a:lnTo>
                  <a:lnTo>
                    <a:pt x="1194816" y="140779"/>
                  </a:lnTo>
                  <a:lnTo>
                    <a:pt x="1198150" y="141923"/>
                  </a:lnTo>
                  <a:lnTo>
                    <a:pt x="1205675" y="150590"/>
                  </a:lnTo>
                  <a:lnTo>
                    <a:pt x="1206246" y="155353"/>
                  </a:lnTo>
                  <a:lnTo>
                    <a:pt x="1205103" y="158686"/>
                  </a:lnTo>
                  <a:lnTo>
                    <a:pt x="1203769" y="160496"/>
                  </a:lnTo>
                  <a:lnTo>
                    <a:pt x="1207103" y="161639"/>
                  </a:lnTo>
                  <a:lnTo>
                    <a:pt x="1212437" y="165735"/>
                  </a:lnTo>
                  <a:lnTo>
                    <a:pt x="1211009" y="167545"/>
                  </a:lnTo>
                  <a:lnTo>
                    <a:pt x="1211485" y="170688"/>
                  </a:lnTo>
                  <a:lnTo>
                    <a:pt x="1208056" y="169545"/>
                  </a:lnTo>
                  <a:lnTo>
                    <a:pt x="1206722" y="171355"/>
                  </a:lnTo>
                  <a:lnTo>
                    <a:pt x="1208246" y="171069"/>
                  </a:lnTo>
                  <a:lnTo>
                    <a:pt x="1208723" y="174308"/>
                  </a:lnTo>
                  <a:lnTo>
                    <a:pt x="1207484" y="177641"/>
                  </a:lnTo>
                  <a:lnTo>
                    <a:pt x="1209104" y="177451"/>
                  </a:lnTo>
                  <a:lnTo>
                    <a:pt x="1208342" y="183928"/>
                  </a:lnTo>
                  <a:lnTo>
                    <a:pt x="1206722" y="184118"/>
                  </a:lnTo>
                  <a:lnTo>
                    <a:pt x="1207389" y="188881"/>
                  </a:lnTo>
                  <a:lnTo>
                    <a:pt x="1203008" y="192596"/>
                  </a:lnTo>
                  <a:lnTo>
                    <a:pt x="1205389" y="198787"/>
                  </a:lnTo>
                  <a:lnTo>
                    <a:pt x="1209961" y="196596"/>
                  </a:lnTo>
                  <a:lnTo>
                    <a:pt x="1210342" y="199739"/>
                  </a:lnTo>
                  <a:lnTo>
                    <a:pt x="1213294" y="197739"/>
                  </a:lnTo>
                  <a:lnTo>
                    <a:pt x="1215104" y="199073"/>
                  </a:lnTo>
                  <a:lnTo>
                    <a:pt x="1221010" y="208026"/>
                  </a:lnTo>
                  <a:lnTo>
                    <a:pt x="1221391" y="211169"/>
                  </a:lnTo>
                  <a:lnTo>
                    <a:pt x="1216628" y="211741"/>
                  </a:lnTo>
                  <a:lnTo>
                    <a:pt x="1217295" y="216503"/>
                  </a:lnTo>
                  <a:lnTo>
                    <a:pt x="1220629" y="217646"/>
                  </a:lnTo>
                  <a:lnTo>
                    <a:pt x="1219486" y="220980"/>
                  </a:lnTo>
                  <a:lnTo>
                    <a:pt x="1226153" y="223361"/>
                  </a:lnTo>
                  <a:lnTo>
                    <a:pt x="1220914" y="244888"/>
                  </a:lnTo>
                  <a:lnTo>
                    <a:pt x="1219105" y="243459"/>
                  </a:lnTo>
                  <a:lnTo>
                    <a:pt x="1217962" y="246888"/>
                  </a:lnTo>
                  <a:lnTo>
                    <a:pt x="1215962" y="243935"/>
                  </a:lnTo>
                  <a:lnTo>
                    <a:pt x="1214818" y="247269"/>
                  </a:lnTo>
                  <a:lnTo>
                    <a:pt x="1208437" y="248031"/>
                  </a:lnTo>
                  <a:lnTo>
                    <a:pt x="1209294" y="254413"/>
                  </a:lnTo>
                  <a:lnTo>
                    <a:pt x="1210818" y="254222"/>
                  </a:lnTo>
                  <a:lnTo>
                    <a:pt x="1211294" y="257365"/>
                  </a:lnTo>
                  <a:lnTo>
                    <a:pt x="1208342" y="259271"/>
                  </a:lnTo>
                  <a:lnTo>
                    <a:pt x="1213676" y="263461"/>
                  </a:lnTo>
                  <a:lnTo>
                    <a:pt x="1212437" y="266795"/>
                  </a:lnTo>
                  <a:lnTo>
                    <a:pt x="1209294" y="267176"/>
                  </a:lnTo>
                  <a:lnTo>
                    <a:pt x="1207960" y="268986"/>
                  </a:lnTo>
                  <a:lnTo>
                    <a:pt x="1206341" y="269177"/>
                  </a:lnTo>
                  <a:lnTo>
                    <a:pt x="1207770" y="267367"/>
                  </a:lnTo>
                  <a:lnTo>
                    <a:pt x="1205960" y="266033"/>
                  </a:lnTo>
                  <a:lnTo>
                    <a:pt x="1204531" y="267843"/>
                  </a:lnTo>
                  <a:lnTo>
                    <a:pt x="1201198" y="266605"/>
                  </a:lnTo>
                  <a:lnTo>
                    <a:pt x="1199864" y="268415"/>
                  </a:lnTo>
                  <a:lnTo>
                    <a:pt x="1196245" y="265652"/>
                  </a:lnTo>
                  <a:lnTo>
                    <a:pt x="1193768" y="270796"/>
                  </a:lnTo>
                  <a:lnTo>
                    <a:pt x="1186815" y="279654"/>
                  </a:lnTo>
                  <a:lnTo>
                    <a:pt x="1192339" y="285369"/>
                  </a:lnTo>
                  <a:lnTo>
                    <a:pt x="1196340" y="291275"/>
                  </a:lnTo>
                  <a:lnTo>
                    <a:pt x="1199483" y="290894"/>
                  </a:lnTo>
                  <a:lnTo>
                    <a:pt x="1204817" y="295085"/>
                  </a:lnTo>
                  <a:lnTo>
                    <a:pt x="1203293" y="295275"/>
                  </a:lnTo>
                  <a:lnTo>
                    <a:pt x="1199102" y="300609"/>
                  </a:lnTo>
                  <a:lnTo>
                    <a:pt x="1201864" y="309848"/>
                  </a:lnTo>
                  <a:lnTo>
                    <a:pt x="1204055" y="314420"/>
                  </a:lnTo>
                  <a:lnTo>
                    <a:pt x="1207675" y="317087"/>
                  </a:lnTo>
                  <a:lnTo>
                    <a:pt x="1214533" y="321088"/>
                  </a:lnTo>
                  <a:lnTo>
                    <a:pt x="1221296" y="323374"/>
                  </a:lnTo>
                  <a:lnTo>
                    <a:pt x="1224248" y="321469"/>
                  </a:lnTo>
                  <a:lnTo>
                    <a:pt x="1229582" y="312706"/>
                  </a:lnTo>
                  <a:lnTo>
                    <a:pt x="1233488" y="318611"/>
                  </a:lnTo>
                  <a:lnTo>
                    <a:pt x="1241965" y="322326"/>
                  </a:lnTo>
                  <a:lnTo>
                    <a:pt x="1245394" y="323564"/>
                  </a:lnTo>
                  <a:lnTo>
                    <a:pt x="1243965" y="325374"/>
                  </a:lnTo>
                  <a:lnTo>
                    <a:pt x="1242631" y="327088"/>
                  </a:lnTo>
                  <a:lnTo>
                    <a:pt x="1241012" y="327279"/>
                  </a:lnTo>
                  <a:lnTo>
                    <a:pt x="1240441" y="335375"/>
                  </a:lnTo>
                  <a:lnTo>
                    <a:pt x="1243775" y="336613"/>
                  </a:lnTo>
                  <a:lnTo>
                    <a:pt x="1247965" y="331280"/>
                  </a:lnTo>
                  <a:lnTo>
                    <a:pt x="1249680" y="332613"/>
                  </a:lnTo>
                  <a:lnTo>
                    <a:pt x="1249871" y="334232"/>
                  </a:lnTo>
                  <a:lnTo>
                    <a:pt x="1253871" y="340138"/>
                  </a:lnTo>
                  <a:lnTo>
                    <a:pt x="1255490" y="339947"/>
                  </a:lnTo>
                  <a:lnTo>
                    <a:pt x="1257395" y="342900"/>
                  </a:lnTo>
                  <a:lnTo>
                    <a:pt x="1260634" y="342424"/>
                  </a:lnTo>
                  <a:lnTo>
                    <a:pt x="1264348" y="346805"/>
                  </a:lnTo>
                  <a:lnTo>
                    <a:pt x="1264920" y="351568"/>
                  </a:lnTo>
                  <a:lnTo>
                    <a:pt x="1261586" y="350330"/>
                  </a:lnTo>
                  <a:lnTo>
                    <a:pt x="1255681" y="354330"/>
                  </a:lnTo>
                  <a:lnTo>
                    <a:pt x="1256062" y="357473"/>
                  </a:lnTo>
                  <a:lnTo>
                    <a:pt x="1259681" y="360236"/>
                  </a:lnTo>
                  <a:lnTo>
                    <a:pt x="1260253" y="364998"/>
                  </a:lnTo>
                  <a:lnTo>
                    <a:pt x="1257681" y="370046"/>
                  </a:lnTo>
                  <a:lnTo>
                    <a:pt x="1261301" y="372809"/>
                  </a:lnTo>
                  <a:lnTo>
                    <a:pt x="1271492" y="377952"/>
                  </a:lnTo>
                  <a:lnTo>
                    <a:pt x="1271968" y="381095"/>
                  </a:lnTo>
                  <a:lnTo>
                    <a:pt x="1273683" y="382524"/>
                  </a:lnTo>
                  <a:lnTo>
                    <a:pt x="1274921" y="379095"/>
                  </a:lnTo>
                  <a:lnTo>
                    <a:pt x="1276445" y="378905"/>
                  </a:lnTo>
                  <a:lnTo>
                    <a:pt x="1276826" y="382048"/>
                  </a:lnTo>
                  <a:lnTo>
                    <a:pt x="1278636" y="383477"/>
                  </a:lnTo>
                  <a:lnTo>
                    <a:pt x="1280065" y="381667"/>
                  </a:lnTo>
                  <a:lnTo>
                    <a:pt x="1281589" y="381476"/>
                  </a:lnTo>
                  <a:lnTo>
                    <a:pt x="1281208" y="378333"/>
                  </a:lnTo>
                  <a:lnTo>
                    <a:pt x="1290828" y="378714"/>
                  </a:lnTo>
                  <a:lnTo>
                    <a:pt x="1295019" y="373380"/>
                  </a:lnTo>
                  <a:lnTo>
                    <a:pt x="1298162" y="372999"/>
                  </a:lnTo>
                  <a:lnTo>
                    <a:pt x="1299972" y="374333"/>
                  </a:lnTo>
                  <a:lnTo>
                    <a:pt x="1300163" y="375952"/>
                  </a:lnTo>
                  <a:lnTo>
                    <a:pt x="1303687" y="378714"/>
                  </a:lnTo>
                  <a:lnTo>
                    <a:pt x="1303877" y="380238"/>
                  </a:lnTo>
                  <a:lnTo>
                    <a:pt x="1306830" y="378238"/>
                  </a:lnTo>
                  <a:lnTo>
                    <a:pt x="1310450" y="381000"/>
                  </a:lnTo>
                  <a:lnTo>
                    <a:pt x="1311783" y="379286"/>
                  </a:lnTo>
                  <a:lnTo>
                    <a:pt x="1318546" y="381571"/>
                  </a:lnTo>
                  <a:lnTo>
                    <a:pt x="1325404" y="385477"/>
                  </a:lnTo>
                  <a:lnTo>
                    <a:pt x="1324070" y="387286"/>
                  </a:lnTo>
                  <a:lnTo>
                    <a:pt x="1327594" y="390049"/>
                  </a:lnTo>
                  <a:lnTo>
                    <a:pt x="1328928" y="388239"/>
                  </a:lnTo>
                  <a:lnTo>
                    <a:pt x="1333310" y="384524"/>
                  </a:lnTo>
                  <a:lnTo>
                    <a:pt x="1335691" y="377761"/>
                  </a:lnTo>
                  <a:lnTo>
                    <a:pt x="1342168" y="378619"/>
                  </a:lnTo>
                  <a:lnTo>
                    <a:pt x="1346549" y="374809"/>
                  </a:lnTo>
                  <a:lnTo>
                    <a:pt x="1351217" y="374237"/>
                  </a:lnTo>
                  <a:lnTo>
                    <a:pt x="1352645" y="372428"/>
                  </a:lnTo>
                  <a:lnTo>
                    <a:pt x="1357313" y="371856"/>
                  </a:lnTo>
                  <a:lnTo>
                    <a:pt x="1358551" y="368522"/>
                  </a:lnTo>
                  <a:lnTo>
                    <a:pt x="1358932" y="371665"/>
                  </a:lnTo>
                  <a:lnTo>
                    <a:pt x="1360551" y="371475"/>
                  </a:lnTo>
                  <a:lnTo>
                    <a:pt x="1361504" y="379286"/>
                  </a:lnTo>
                  <a:lnTo>
                    <a:pt x="1363123" y="379095"/>
                  </a:lnTo>
                  <a:lnTo>
                    <a:pt x="1363313" y="380714"/>
                  </a:lnTo>
                  <a:lnTo>
                    <a:pt x="1367981" y="380048"/>
                  </a:lnTo>
                  <a:lnTo>
                    <a:pt x="1371600" y="382810"/>
                  </a:lnTo>
                  <a:lnTo>
                    <a:pt x="1371790" y="384429"/>
                  </a:lnTo>
                  <a:lnTo>
                    <a:pt x="1376553" y="383858"/>
                  </a:lnTo>
                  <a:lnTo>
                    <a:pt x="1378744" y="388334"/>
                  </a:lnTo>
                  <a:lnTo>
                    <a:pt x="1374362" y="392144"/>
                  </a:lnTo>
                  <a:lnTo>
                    <a:pt x="1376553" y="396621"/>
                  </a:lnTo>
                  <a:lnTo>
                    <a:pt x="1376743" y="398240"/>
                  </a:lnTo>
                  <a:lnTo>
                    <a:pt x="1375219" y="398431"/>
                  </a:lnTo>
                  <a:lnTo>
                    <a:pt x="1377982" y="407670"/>
                  </a:lnTo>
                  <a:lnTo>
                    <a:pt x="1377029" y="412623"/>
                  </a:lnTo>
                  <a:lnTo>
                    <a:pt x="1378744" y="413957"/>
                  </a:lnTo>
                  <a:lnTo>
                    <a:pt x="1382744" y="419957"/>
                  </a:lnTo>
                  <a:lnTo>
                    <a:pt x="1378363" y="423672"/>
                  </a:lnTo>
                  <a:lnTo>
                    <a:pt x="1373696" y="424244"/>
                  </a:lnTo>
                  <a:lnTo>
                    <a:pt x="1370933" y="427863"/>
                  </a:lnTo>
                  <a:lnTo>
                    <a:pt x="1374267" y="429006"/>
                  </a:lnTo>
                  <a:lnTo>
                    <a:pt x="1376077" y="443198"/>
                  </a:lnTo>
                  <a:lnTo>
                    <a:pt x="1372362" y="451675"/>
                  </a:lnTo>
                  <a:lnTo>
                    <a:pt x="1378839" y="452438"/>
                  </a:lnTo>
                  <a:lnTo>
                    <a:pt x="1379696" y="458819"/>
                  </a:lnTo>
                  <a:lnTo>
                    <a:pt x="1381220" y="458629"/>
                  </a:lnTo>
                  <a:lnTo>
                    <a:pt x="1387983" y="460915"/>
                  </a:lnTo>
                  <a:lnTo>
                    <a:pt x="1385983" y="470821"/>
                  </a:lnTo>
                  <a:lnTo>
                    <a:pt x="1388745" y="467296"/>
                  </a:lnTo>
                  <a:lnTo>
                    <a:pt x="1389126" y="470440"/>
                  </a:lnTo>
                  <a:lnTo>
                    <a:pt x="1390936" y="471773"/>
                  </a:lnTo>
                  <a:lnTo>
                    <a:pt x="1388364" y="476917"/>
                  </a:lnTo>
                  <a:lnTo>
                    <a:pt x="1394269" y="472916"/>
                  </a:lnTo>
                  <a:lnTo>
                    <a:pt x="1390364" y="479869"/>
                  </a:lnTo>
                  <a:lnTo>
                    <a:pt x="1391126" y="486156"/>
                  </a:lnTo>
                  <a:lnTo>
                    <a:pt x="1388650" y="491300"/>
                  </a:lnTo>
                  <a:lnTo>
                    <a:pt x="1386840" y="489966"/>
                  </a:lnTo>
                  <a:lnTo>
                    <a:pt x="1384078" y="493490"/>
                  </a:lnTo>
                  <a:lnTo>
                    <a:pt x="1385888" y="494919"/>
                  </a:lnTo>
                  <a:lnTo>
                    <a:pt x="1387888" y="497872"/>
                  </a:lnTo>
                  <a:lnTo>
                    <a:pt x="1386268" y="498062"/>
                  </a:lnTo>
                  <a:lnTo>
                    <a:pt x="1385316" y="503015"/>
                  </a:lnTo>
                  <a:lnTo>
                    <a:pt x="1383506" y="501586"/>
                  </a:lnTo>
                  <a:lnTo>
                    <a:pt x="1383887" y="504730"/>
                  </a:lnTo>
                  <a:lnTo>
                    <a:pt x="1379410" y="506921"/>
                  </a:lnTo>
                  <a:lnTo>
                    <a:pt x="1378363" y="511873"/>
                  </a:lnTo>
                  <a:lnTo>
                    <a:pt x="1373505" y="510921"/>
                  </a:lnTo>
                  <a:lnTo>
                    <a:pt x="1372648" y="517398"/>
                  </a:lnTo>
                  <a:lnTo>
                    <a:pt x="1370743" y="514445"/>
                  </a:lnTo>
                  <a:lnTo>
                    <a:pt x="1369314" y="516255"/>
                  </a:lnTo>
                  <a:lnTo>
                    <a:pt x="1369981" y="521017"/>
                  </a:lnTo>
                  <a:lnTo>
                    <a:pt x="1366742" y="521398"/>
                  </a:lnTo>
                  <a:lnTo>
                    <a:pt x="1365028" y="519970"/>
                  </a:lnTo>
                  <a:lnTo>
                    <a:pt x="1363409" y="520160"/>
                  </a:lnTo>
                  <a:lnTo>
                    <a:pt x="1362456" y="525113"/>
                  </a:lnTo>
                  <a:lnTo>
                    <a:pt x="1367218" y="524542"/>
                  </a:lnTo>
                  <a:lnTo>
                    <a:pt x="1375886" y="529876"/>
                  </a:lnTo>
                  <a:lnTo>
                    <a:pt x="1376077" y="531400"/>
                  </a:lnTo>
                  <a:lnTo>
                    <a:pt x="1366076" y="540734"/>
                  </a:lnTo>
                  <a:lnTo>
                    <a:pt x="1358360" y="543306"/>
                  </a:lnTo>
                  <a:lnTo>
                    <a:pt x="1358551" y="544925"/>
                  </a:lnTo>
                  <a:lnTo>
                    <a:pt x="1369981" y="546640"/>
                  </a:lnTo>
                  <a:lnTo>
                    <a:pt x="1379220" y="543878"/>
                  </a:lnTo>
                  <a:lnTo>
                    <a:pt x="1386554" y="550926"/>
                  </a:lnTo>
                  <a:lnTo>
                    <a:pt x="1388555" y="553879"/>
                  </a:lnTo>
                  <a:lnTo>
                    <a:pt x="1395317" y="556260"/>
                  </a:lnTo>
                  <a:lnTo>
                    <a:pt x="1396460" y="552926"/>
                  </a:lnTo>
                  <a:lnTo>
                    <a:pt x="1396079" y="549688"/>
                  </a:lnTo>
                  <a:lnTo>
                    <a:pt x="1399604" y="552450"/>
                  </a:lnTo>
                  <a:lnTo>
                    <a:pt x="1402747" y="552069"/>
                  </a:lnTo>
                  <a:lnTo>
                    <a:pt x="1401604" y="555403"/>
                  </a:lnTo>
                  <a:lnTo>
                    <a:pt x="1412272" y="563690"/>
                  </a:lnTo>
                  <a:lnTo>
                    <a:pt x="1418939" y="566071"/>
                  </a:lnTo>
                  <a:lnTo>
                    <a:pt x="1420368" y="564261"/>
                  </a:lnTo>
                  <a:lnTo>
                    <a:pt x="1422178" y="565595"/>
                  </a:lnTo>
                  <a:lnTo>
                    <a:pt x="1420559" y="565880"/>
                  </a:lnTo>
                  <a:lnTo>
                    <a:pt x="1427321" y="568166"/>
                  </a:lnTo>
                  <a:lnTo>
                    <a:pt x="1419035" y="578834"/>
                  </a:lnTo>
                  <a:lnTo>
                    <a:pt x="1419797" y="585216"/>
                  </a:lnTo>
                  <a:lnTo>
                    <a:pt x="1417987" y="583787"/>
                  </a:lnTo>
                  <a:lnTo>
                    <a:pt x="1416463" y="583978"/>
                  </a:lnTo>
                  <a:lnTo>
                    <a:pt x="1419225" y="593312"/>
                  </a:lnTo>
                  <a:lnTo>
                    <a:pt x="1413319" y="597218"/>
                  </a:lnTo>
                  <a:lnTo>
                    <a:pt x="1408176" y="594646"/>
                  </a:lnTo>
                  <a:lnTo>
                    <a:pt x="1407605" y="589979"/>
                  </a:lnTo>
                  <a:lnTo>
                    <a:pt x="1404080" y="587216"/>
                  </a:lnTo>
                  <a:lnTo>
                    <a:pt x="1398080" y="591122"/>
                  </a:lnTo>
                  <a:lnTo>
                    <a:pt x="1394555" y="601218"/>
                  </a:lnTo>
                  <a:lnTo>
                    <a:pt x="1401699" y="606743"/>
                  </a:lnTo>
                  <a:lnTo>
                    <a:pt x="1406081" y="602933"/>
                  </a:lnTo>
                  <a:lnTo>
                    <a:pt x="1410176" y="610457"/>
                  </a:lnTo>
                  <a:lnTo>
                    <a:pt x="1413319" y="610076"/>
                  </a:lnTo>
                  <a:lnTo>
                    <a:pt x="1408843" y="612267"/>
                  </a:lnTo>
                  <a:lnTo>
                    <a:pt x="1405033" y="607886"/>
                  </a:lnTo>
                  <a:lnTo>
                    <a:pt x="1402271" y="611505"/>
                  </a:lnTo>
                  <a:lnTo>
                    <a:pt x="1399127" y="611886"/>
                  </a:lnTo>
                  <a:lnTo>
                    <a:pt x="1397794" y="613696"/>
                  </a:lnTo>
                  <a:lnTo>
                    <a:pt x="1400365" y="621316"/>
                  </a:lnTo>
                  <a:lnTo>
                    <a:pt x="1402556" y="625888"/>
                  </a:lnTo>
                  <a:lnTo>
                    <a:pt x="1402747" y="640271"/>
                  </a:lnTo>
                  <a:lnTo>
                    <a:pt x="1396270" y="639509"/>
                  </a:lnTo>
                  <a:lnTo>
                    <a:pt x="1391698" y="641699"/>
                  </a:lnTo>
                  <a:lnTo>
                    <a:pt x="1389983" y="640271"/>
                  </a:lnTo>
                  <a:lnTo>
                    <a:pt x="1390364" y="643414"/>
                  </a:lnTo>
                  <a:lnTo>
                    <a:pt x="1387221" y="643890"/>
                  </a:lnTo>
                  <a:lnTo>
                    <a:pt x="1385411" y="642461"/>
                  </a:lnTo>
                  <a:lnTo>
                    <a:pt x="1382077" y="641318"/>
                  </a:lnTo>
                  <a:lnTo>
                    <a:pt x="1380839" y="644652"/>
                  </a:lnTo>
                  <a:lnTo>
                    <a:pt x="1377887" y="646652"/>
                  </a:lnTo>
                  <a:lnTo>
                    <a:pt x="1378172" y="648272"/>
                  </a:lnTo>
                  <a:lnTo>
                    <a:pt x="1381697" y="650938"/>
                  </a:lnTo>
                  <a:lnTo>
                    <a:pt x="1392936" y="651129"/>
                  </a:lnTo>
                  <a:lnTo>
                    <a:pt x="1391793" y="654558"/>
                  </a:lnTo>
                  <a:lnTo>
                    <a:pt x="1396270" y="652367"/>
                  </a:lnTo>
                  <a:lnTo>
                    <a:pt x="1396937" y="657035"/>
                  </a:lnTo>
                  <a:lnTo>
                    <a:pt x="1395508" y="658844"/>
                  </a:lnTo>
                  <a:lnTo>
                    <a:pt x="1393698" y="657511"/>
                  </a:lnTo>
                  <a:lnTo>
                    <a:pt x="1392364" y="659225"/>
                  </a:lnTo>
                  <a:lnTo>
                    <a:pt x="1387221" y="656654"/>
                  </a:lnTo>
                  <a:lnTo>
                    <a:pt x="1387412" y="658273"/>
                  </a:lnTo>
                  <a:lnTo>
                    <a:pt x="1390745" y="659416"/>
                  </a:lnTo>
                  <a:lnTo>
                    <a:pt x="1389221" y="659606"/>
                  </a:lnTo>
                  <a:lnTo>
                    <a:pt x="1384078" y="657130"/>
                  </a:lnTo>
                  <a:lnTo>
                    <a:pt x="1380744" y="655892"/>
                  </a:lnTo>
                  <a:lnTo>
                    <a:pt x="1375029" y="661416"/>
                  </a:lnTo>
                  <a:lnTo>
                    <a:pt x="1368933" y="663797"/>
                  </a:lnTo>
                  <a:lnTo>
                    <a:pt x="1374267" y="667988"/>
                  </a:lnTo>
                  <a:lnTo>
                    <a:pt x="1374648" y="671132"/>
                  </a:lnTo>
                  <a:lnTo>
                    <a:pt x="1376172" y="670941"/>
                  </a:lnTo>
                  <a:lnTo>
                    <a:pt x="1377029" y="677228"/>
                  </a:lnTo>
                  <a:lnTo>
                    <a:pt x="1380554" y="679990"/>
                  </a:lnTo>
                  <a:lnTo>
                    <a:pt x="1382173" y="679799"/>
                  </a:lnTo>
                  <a:lnTo>
                    <a:pt x="1380744" y="681609"/>
                  </a:lnTo>
                  <a:lnTo>
                    <a:pt x="1383887" y="681133"/>
                  </a:lnTo>
                  <a:lnTo>
                    <a:pt x="1384364" y="684276"/>
                  </a:lnTo>
                  <a:lnTo>
                    <a:pt x="1389507" y="686848"/>
                  </a:lnTo>
                  <a:lnTo>
                    <a:pt x="1394651" y="689420"/>
                  </a:lnTo>
                  <a:lnTo>
                    <a:pt x="1396365" y="690848"/>
                  </a:lnTo>
                  <a:lnTo>
                    <a:pt x="1400556" y="685514"/>
                  </a:lnTo>
                  <a:lnTo>
                    <a:pt x="1408843" y="687610"/>
                  </a:lnTo>
                  <a:lnTo>
                    <a:pt x="1407414" y="689420"/>
                  </a:lnTo>
                  <a:lnTo>
                    <a:pt x="1405700" y="687991"/>
                  </a:lnTo>
                  <a:lnTo>
                    <a:pt x="1409414" y="692372"/>
                  </a:lnTo>
                  <a:lnTo>
                    <a:pt x="1412367" y="690372"/>
                  </a:lnTo>
                  <a:lnTo>
                    <a:pt x="1417510" y="692944"/>
                  </a:lnTo>
                  <a:lnTo>
                    <a:pt x="1413129" y="696659"/>
                  </a:lnTo>
                  <a:lnTo>
                    <a:pt x="1409986" y="697040"/>
                  </a:lnTo>
                  <a:lnTo>
                    <a:pt x="1411986" y="699992"/>
                  </a:lnTo>
                  <a:lnTo>
                    <a:pt x="1415320" y="701231"/>
                  </a:lnTo>
                  <a:lnTo>
                    <a:pt x="1418558" y="700850"/>
                  </a:lnTo>
                  <a:lnTo>
                    <a:pt x="1418749" y="702374"/>
                  </a:lnTo>
                  <a:lnTo>
                    <a:pt x="1420082" y="700659"/>
                  </a:lnTo>
                  <a:lnTo>
                    <a:pt x="1421892" y="701993"/>
                  </a:lnTo>
                  <a:lnTo>
                    <a:pt x="1427035" y="704564"/>
                  </a:lnTo>
                  <a:lnTo>
                    <a:pt x="1434275" y="698849"/>
                  </a:lnTo>
                  <a:lnTo>
                    <a:pt x="1436084" y="700183"/>
                  </a:lnTo>
                  <a:lnTo>
                    <a:pt x="1436465" y="703326"/>
                  </a:lnTo>
                  <a:lnTo>
                    <a:pt x="1438275" y="704755"/>
                  </a:lnTo>
                  <a:lnTo>
                    <a:pt x="1435322" y="706660"/>
                  </a:lnTo>
                  <a:lnTo>
                    <a:pt x="1436084" y="713041"/>
                  </a:lnTo>
                  <a:lnTo>
                    <a:pt x="1439227" y="712565"/>
                  </a:lnTo>
                  <a:lnTo>
                    <a:pt x="1442752" y="702564"/>
                  </a:lnTo>
                  <a:lnTo>
                    <a:pt x="1444752" y="705517"/>
                  </a:lnTo>
                  <a:lnTo>
                    <a:pt x="1443609" y="708851"/>
                  </a:lnTo>
                  <a:lnTo>
                    <a:pt x="1446752" y="708470"/>
                  </a:lnTo>
                  <a:lnTo>
                    <a:pt x="1445800" y="713423"/>
                  </a:lnTo>
                  <a:lnTo>
                    <a:pt x="1446371" y="718090"/>
                  </a:lnTo>
                  <a:lnTo>
                    <a:pt x="1445038" y="719899"/>
                  </a:lnTo>
                  <a:lnTo>
                    <a:pt x="1437513" y="724090"/>
                  </a:lnTo>
                  <a:lnTo>
                    <a:pt x="1437704" y="725615"/>
                  </a:lnTo>
                  <a:lnTo>
                    <a:pt x="1439704" y="728567"/>
                  </a:lnTo>
                  <a:lnTo>
                    <a:pt x="1448372" y="733901"/>
                  </a:lnTo>
                  <a:lnTo>
                    <a:pt x="1467707" y="747427"/>
                  </a:lnTo>
                  <a:lnTo>
                    <a:pt x="1469136" y="745712"/>
                  </a:lnTo>
                  <a:lnTo>
                    <a:pt x="1472279" y="745236"/>
                  </a:lnTo>
                  <a:lnTo>
                    <a:pt x="1474470" y="749808"/>
                  </a:lnTo>
                  <a:lnTo>
                    <a:pt x="1475804" y="747998"/>
                  </a:lnTo>
                  <a:lnTo>
                    <a:pt x="1477613" y="749427"/>
                  </a:lnTo>
                  <a:lnTo>
                    <a:pt x="1479423" y="750761"/>
                  </a:lnTo>
                  <a:lnTo>
                    <a:pt x="1478185" y="754190"/>
                  </a:lnTo>
                  <a:lnTo>
                    <a:pt x="1481614" y="755332"/>
                  </a:lnTo>
                  <a:lnTo>
                    <a:pt x="1484376" y="751808"/>
                  </a:lnTo>
                  <a:lnTo>
                    <a:pt x="1488281" y="757714"/>
                  </a:lnTo>
                  <a:lnTo>
                    <a:pt x="1485710" y="762857"/>
                  </a:lnTo>
                  <a:lnTo>
                    <a:pt x="1487519" y="764191"/>
                  </a:lnTo>
                  <a:lnTo>
                    <a:pt x="1486567" y="769144"/>
                  </a:lnTo>
                  <a:lnTo>
                    <a:pt x="1488567" y="772097"/>
                  </a:lnTo>
                  <a:lnTo>
                    <a:pt x="1485138" y="770953"/>
                  </a:lnTo>
                  <a:lnTo>
                    <a:pt x="1480661" y="773049"/>
                  </a:lnTo>
                  <a:lnTo>
                    <a:pt x="1476470" y="778383"/>
                  </a:lnTo>
                  <a:lnTo>
                    <a:pt x="1485995" y="790003"/>
                  </a:lnTo>
                  <a:lnTo>
                    <a:pt x="1487805" y="791432"/>
                  </a:lnTo>
                  <a:lnTo>
                    <a:pt x="1489615" y="792766"/>
                  </a:lnTo>
                  <a:lnTo>
                    <a:pt x="1489996" y="795909"/>
                  </a:lnTo>
                  <a:lnTo>
                    <a:pt x="1488758" y="799338"/>
                  </a:lnTo>
                  <a:lnTo>
                    <a:pt x="1487424" y="801053"/>
                  </a:lnTo>
                  <a:lnTo>
                    <a:pt x="1483900" y="798290"/>
                  </a:lnTo>
                  <a:lnTo>
                    <a:pt x="1484852" y="806196"/>
                  </a:lnTo>
                  <a:lnTo>
                    <a:pt x="1483328" y="806386"/>
                  </a:lnTo>
                  <a:lnTo>
                    <a:pt x="1482281" y="811340"/>
                  </a:lnTo>
                  <a:lnTo>
                    <a:pt x="1480756" y="811530"/>
                  </a:lnTo>
                  <a:lnTo>
                    <a:pt x="1480947" y="813149"/>
                  </a:lnTo>
                  <a:lnTo>
                    <a:pt x="1475613" y="821817"/>
                  </a:lnTo>
                  <a:lnTo>
                    <a:pt x="1479233" y="824579"/>
                  </a:lnTo>
                  <a:lnTo>
                    <a:pt x="1476185" y="826580"/>
                  </a:lnTo>
                  <a:lnTo>
                    <a:pt x="1466945" y="829342"/>
                  </a:lnTo>
                  <a:lnTo>
                    <a:pt x="1465421" y="829532"/>
                  </a:lnTo>
                  <a:lnTo>
                    <a:pt x="1465802" y="832676"/>
                  </a:lnTo>
                  <a:lnTo>
                    <a:pt x="1465802" y="832676"/>
                  </a:lnTo>
                  <a:lnTo>
                    <a:pt x="1464659" y="836105"/>
                  </a:lnTo>
                  <a:lnTo>
                    <a:pt x="1469708" y="838581"/>
                  </a:lnTo>
                  <a:lnTo>
                    <a:pt x="1468946" y="845153"/>
                  </a:lnTo>
                  <a:lnTo>
                    <a:pt x="1467993" y="850106"/>
                  </a:lnTo>
                  <a:lnTo>
                    <a:pt x="1469803" y="851440"/>
                  </a:lnTo>
                  <a:lnTo>
                    <a:pt x="1469041" y="857917"/>
                  </a:lnTo>
                  <a:lnTo>
                    <a:pt x="1467422" y="858203"/>
                  </a:lnTo>
                  <a:lnTo>
                    <a:pt x="1465421" y="855250"/>
                  </a:lnTo>
                  <a:lnTo>
                    <a:pt x="1462850" y="860298"/>
                  </a:lnTo>
                  <a:lnTo>
                    <a:pt x="1466469" y="863060"/>
                  </a:lnTo>
                  <a:lnTo>
                    <a:pt x="1466660" y="864680"/>
                  </a:lnTo>
                  <a:lnTo>
                    <a:pt x="1467231" y="869442"/>
                  </a:lnTo>
                  <a:lnTo>
                    <a:pt x="1464088" y="869823"/>
                  </a:lnTo>
                  <a:lnTo>
                    <a:pt x="1462754" y="871633"/>
                  </a:lnTo>
                  <a:lnTo>
                    <a:pt x="1463326" y="876300"/>
                  </a:lnTo>
                  <a:lnTo>
                    <a:pt x="1463516" y="877919"/>
                  </a:lnTo>
                  <a:lnTo>
                    <a:pt x="1459421" y="883253"/>
                  </a:lnTo>
                  <a:lnTo>
                    <a:pt x="1455610" y="878872"/>
                  </a:lnTo>
                  <a:lnTo>
                    <a:pt x="1447990" y="881539"/>
                  </a:lnTo>
                  <a:lnTo>
                    <a:pt x="1448181" y="883063"/>
                  </a:lnTo>
                  <a:lnTo>
                    <a:pt x="1449896" y="884491"/>
                  </a:lnTo>
                  <a:lnTo>
                    <a:pt x="1448372" y="884682"/>
                  </a:lnTo>
                  <a:lnTo>
                    <a:pt x="1448943" y="889349"/>
                  </a:lnTo>
                  <a:lnTo>
                    <a:pt x="1444466" y="891540"/>
                  </a:lnTo>
                  <a:lnTo>
                    <a:pt x="1441228" y="892016"/>
                  </a:lnTo>
                  <a:lnTo>
                    <a:pt x="1441704" y="895160"/>
                  </a:lnTo>
                  <a:lnTo>
                    <a:pt x="1440085" y="895350"/>
                  </a:lnTo>
                  <a:lnTo>
                    <a:pt x="1436084" y="889445"/>
                  </a:lnTo>
                  <a:lnTo>
                    <a:pt x="1431036" y="886873"/>
                  </a:lnTo>
                  <a:lnTo>
                    <a:pt x="1428083" y="888873"/>
                  </a:lnTo>
                  <a:lnTo>
                    <a:pt x="1418177" y="899732"/>
                  </a:lnTo>
                  <a:lnTo>
                    <a:pt x="1418558" y="902875"/>
                  </a:lnTo>
                  <a:lnTo>
                    <a:pt x="1413701" y="901922"/>
                  </a:lnTo>
                  <a:lnTo>
                    <a:pt x="1411129" y="907066"/>
                  </a:lnTo>
                  <a:lnTo>
                    <a:pt x="1407223" y="913924"/>
                  </a:lnTo>
                  <a:lnTo>
                    <a:pt x="1407795" y="918686"/>
                  </a:lnTo>
                  <a:lnTo>
                    <a:pt x="1409795" y="921639"/>
                  </a:lnTo>
                  <a:lnTo>
                    <a:pt x="1414463" y="921068"/>
                  </a:lnTo>
                  <a:lnTo>
                    <a:pt x="1417606" y="920591"/>
                  </a:lnTo>
                  <a:lnTo>
                    <a:pt x="1416653" y="925544"/>
                  </a:lnTo>
                  <a:lnTo>
                    <a:pt x="1420273" y="928307"/>
                  </a:lnTo>
                  <a:lnTo>
                    <a:pt x="1419225" y="933260"/>
                  </a:lnTo>
                  <a:lnTo>
                    <a:pt x="1424368" y="935831"/>
                  </a:lnTo>
                  <a:lnTo>
                    <a:pt x="1421416" y="937832"/>
                  </a:lnTo>
                  <a:lnTo>
                    <a:pt x="1421892" y="940975"/>
                  </a:lnTo>
                  <a:lnTo>
                    <a:pt x="1419130" y="944499"/>
                  </a:lnTo>
                  <a:lnTo>
                    <a:pt x="1415891" y="944880"/>
                  </a:lnTo>
                  <a:lnTo>
                    <a:pt x="1413224" y="948499"/>
                  </a:lnTo>
                  <a:lnTo>
                    <a:pt x="1413415" y="950024"/>
                  </a:lnTo>
                  <a:lnTo>
                    <a:pt x="1409795" y="947261"/>
                  </a:lnTo>
                  <a:lnTo>
                    <a:pt x="1408271" y="947452"/>
                  </a:lnTo>
                  <a:lnTo>
                    <a:pt x="1406462" y="946118"/>
                  </a:lnTo>
                  <a:lnTo>
                    <a:pt x="1401889" y="948309"/>
                  </a:lnTo>
                  <a:lnTo>
                    <a:pt x="1394841" y="942785"/>
                  </a:lnTo>
                  <a:lnTo>
                    <a:pt x="1395413" y="947547"/>
                  </a:lnTo>
                  <a:lnTo>
                    <a:pt x="1392269" y="947928"/>
                  </a:lnTo>
                  <a:lnTo>
                    <a:pt x="1388745" y="945166"/>
                  </a:lnTo>
                  <a:lnTo>
                    <a:pt x="1387888" y="938879"/>
                  </a:lnTo>
                  <a:lnTo>
                    <a:pt x="1386554" y="940594"/>
                  </a:lnTo>
                  <a:lnTo>
                    <a:pt x="1384744" y="939260"/>
                  </a:lnTo>
                  <a:lnTo>
                    <a:pt x="1382363" y="946023"/>
                  </a:lnTo>
                  <a:lnTo>
                    <a:pt x="1378268" y="951357"/>
                  </a:lnTo>
                  <a:lnTo>
                    <a:pt x="1375886" y="958024"/>
                  </a:lnTo>
                  <a:lnTo>
                    <a:pt x="1377696" y="959453"/>
                  </a:lnTo>
                  <a:lnTo>
                    <a:pt x="1374934" y="962978"/>
                  </a:lnTo>
                  <a:lnTo>
                    <a:pt x="1375696" y="969264"/>
                  </a:lnTo>
                  <a:lnTo>
                    <a:pt x="1374172" y="969455"/>
                  </a:lnTo>
                  <a:lnTo>
                    <a:pt x="1373600" y="964787"/>
                  </a:lnTo>
                  <a:lnTo>
                    <a:pt x="1368647" y="963740"/>
                  </a:lnTo>
                  <a:lnTo>
                    <a:pt x="1361694" y="972693"/>
                  </a:lnTo>
                  <a:lnTo>
                    <a:pt x="1353026" y="967359"/>
                  </a:lnTo>
                  <a:lnTo>
                    <a:pt x="1345597" y="971550"/>
                  </a:lnTo>
                  <a:lnTo>
                    <a:pt x="1338453" y="978884"/>
                  </a:lnTo>
                  <a:lnTo>
                    <a:pt x="1336643" y="977456"/>
                  </a:lnTo>
                  <a:lnTo>
                    <a:pt x="1335310" y="979265"/>
                  </a:lnTo>
                  <a:lnTo>
                    <a:pt x="1330357" y="978218"/>
                  </a:lnTo>
                  <a:lnTo>
                    <a:pt x="1327214" y="978694"/>
                  </a:lnTo>
                  <a:lnTo>
                    <a:pt x="1326833" y="975551"/>
                  </a:lnTo>
                  <a:lnTo>
                    <a:pt x="1325880" y="980408"/>
                  </a:lnTo>
                  <a:lnTo>
                    <a:pt x="1325689" y="978884"/>
                  </a:lnTo>
                  <a:lnTo>
                    <a:pt x="1322451" y="979265"/>
                  </a:lnTo>
                  <a:lnTo>
                    <a:pt x="1317784" y="979837"/>
                  </a:lnTo>
                  <a:lnTo>
                    <a:pt x="1317022" y="986409"/>
                  </a:lnTo>
                  <a:lnTo>
                    <a:pt x="1313402" y="983647"/>
                  </a:lnTo>
                  <a:lnTo>
                    <a:pt x="1312069" y="985457"/>
                  </a:lnTo>
                  <a:lnTo>
                    <a:pt x="1314260" y="989933"/>
                  </a:lnTo>
                  <a:lnTo>
                    <a:pt x="1306544" y="992505"/>
                  </a:lnTo>
                  <a:lnTo>
                    <a:pt x="1306354" y="990981"/>
                  </a:lnTo>
                  <a:lnTo>
                    <a:pt x="1303592" y="994505"/>
                  </a:lnTo>
                  <a:lnTo>
                    <a:pt x="1301591" y="991553"/>
                  </a:lnTo>
                  <a:lnTo>
                    <a:pt x="1298639" y="993553"/>
                  </a:lnTo>
                  <a:lnTo>
                    <a:pt x="1298448" y="991934"/>
                  </a:lnTo>
                  <a:lnTo>
                    <a:pt x="1292162" y="992791"/>
                  </a:lnTo>
                  <a:lnTo>
                    <a:pt x="1291971" y="991172"/>
                  </a:lnTo>
                  <a:lnTo>
                    <a:pt x="1297400" y="984028"/>
                  </a:lnTo>
                  <a:lnTo>
                    <a:pt x="1295495" y="981075"/>
                  </a:lnTo>
                  <a:lnTo>
                    <a:pt x="1292257" y="981551"/>
                  </a:lnTo>
                  <a:lnTo>
                    <a:pt x="1289590" y="985076"/>
                  </a:lnTo>
                  <a:lnTo>
                    <a:pt x="1286161" y="983932"/>
                  </a:lnTo>
                  <a:lnTo>
                    <a:pt x="1283589" y="989076"/>
                  </a:lnTo>
                  <a:lnTo>
                    <a:pt x="1278922" y="989648"/>
                  </a:lnTo>
                  <a:lnTo>
                    <a:pt x="1277112" y="988219"/>
                  </a:lnTo>
                  <a:lnTo>
                    <a:pt x="1273207" y="995172"/>
                  </a:lnTo>
                  <a:lnTo>
                    <a:pt x="1271588" y="995362"/>
                  </a:lnTo>
                  <a:lnTo>
                    <a:pt x="1272064" y="998506"/>
                  </a:lnTo>
                  <a:lnTo>
                    <a:pt x="1275398" y="999744"/>
                  </a:lnTo>
                  <a:lnTo>
                    <a:pt x="1273969" y="1001459"/>
                  </a:lnTo>
                  <a:lnTo>
                    <a:pt x="1275969" y="1004411"/>
                  </a:lnTo>
                  <a:lnTo>
                    <a:pt x="1268444" y="1008602"/>
                  </a:lnTo>
                  <a:lnTo>
                    <a:pt x="1269683" y="1018032"/>
                  </a:lnTo>
                  <a:lnTo>
                    <a:pt x="1270540" y="1024414"/>
                  </a:lnTo>
                  <a:lnTo>
                    <a:pt x="1256729" y="1029367"/>
                  </a:lnTo>
                  <a:lnTo>
                    <a:pt x="1258634" y="1032320"/>
                  </a:lnTo>
                  <a:lnTo>
                    <a:pt x="1253395" y="1040987"/>
                  </a:lnTo>
                  <a:lnTo>
                    <a:pt x="1251776" y="1041178"/>
                  </a:lnTo>
                  <a:lnTo>
                    <a:pt x="1251394" y="1038035"/>
                  </a:lnTo>
                  <a:lnTo>
                    <a:pt x="1250061" y="1039844"/>
                  </a:lnTo>
                  <a:lnTo>
                    <a:pt x="1250061" y="1039844"/>
                  </a:lnTo>
                  <a:lnTo>
                    <a:pt x="1246823" y="1040225"/>
                  </a:lnTo>
                  <a:lnTo>
                    <a:pt x="1248632" y="1041559"/>
                  </a:lnTo>
                  <a:lnTo>
                    <a:pt x="1245489" y="1042035"/>
                  </a:lnTo>
                  <a:lnTo>
                    <a:pt x="1247489" y="1044988"/>
                  </a:lnTo>
                  <a:lnTo>
                    <a:pt x="1244727" y="1048512"/>
                  </a:lnTo>
                  <a:lnTo>
                    <a:pt x="1243775" y="1053465"/>
                  </a:lnTo>
                  <a:lnTo>
                    <a:pt x="1242536" y="1056799"/>
                  </a:lnTo>
                  <a:lnTo>
                    <a:pt x="1244727" y="1061371"/>
                  </a:lnTo>
                  <a:lnTo>
                    <a:pt x="1242822" y="1071182"/>
                  </a:lnTo>
                  <a:lnTo>
                    <a:pt x="1245013" y="1075754"/>
                  </a:lnTo>
                  <a:lnTo>
                    <a:pt x="1243965" y="1080707"/>
                  </a:lnTo>
                  <a:lnTo>
                    <a:pt x="1247585" y="1083469"/>
                  </a:lnTo>
                  <a:lnTo>
                    <a:pt x="1245965" y="1083659"/>
                  </a:lnTo>
                  <a:lnTo>
                    <a:pt x="1248537" y="1091375"/>
                  </a:lnTo>
                  <a:lnTo>
                    <a:pt x="1251680" y="1090898"/>
                  </a:lnTo>
                  <a:lnTo>
                    <a:pt x="1255681" y="1084040"/>
                  </a:lnTo>
                  <a:lnTo>
                    <a:pt x="1263587" y="1095851"/>
                  </a:lnTo>
                  <a:lnTo>
                    <a:pt x="1271302" y="1093280"/>
                  </a:lnTo>
                  <a:lnTo>
                    <a:pt x="1282541" y="1093375"/>
                  </a:lnTo>
                  <a:lnTo>
                    <a:pt x="1281493" y="1098328"/>
                  </a:lnTo>
                  <a:lnTo>
                    <a:pt x="1285875" y="1107377"/>
                  </a:lnTo>
                  <a:lnTo>
                    <a:pt x="1293590" y="1117664"/>
                  </a:lnTo>
                  <a:lnTo>
                    <a:pt x="1294257" y="1122426"/>
                  </a:lnTo>
                  <a:lnTo>
                    <a:pt x="1291304" y="1124331"/>
                  </a:lnTo>
                  <a:lnTo>
                    <a:pt x="1290066" y="1127760"/>
                  </a:lnTo>
                  <a:lnTo>
                    <a:pt x="1293876" y="1132046"/>
                  </a:lnTo>
                  <a:lnTo>
                    <a:pt x="1290161" y="1140524"/>
                  </a:lnTo>
                  <a:lnTo>
                    <a:pt x="1286542" y="1137761"/>
                  </a:lnTo>
                  <a:lnTo>
                    <a:pt x="1287209" y="1142524"/>
                  </a:lnTo>
                  <a:lnTo>
                    <a:pt x="1285399" y="1141190"/>
                  </a:lnTo>
                  <a:lnTo>
                    <a:pt x="1285589" y="1142714"/>
                  </a:lnTo>
                  <a:lnTo>
                    <a:pt x="1283970" y="1142905"/>
                  </a:lnTo>
                  <a:lnTo>
                    <a:pt x="1279684" y="1146715"/>
                  </a:lnTo>
                  <a:lnTo>
                    <a:pt x="1280255" y="1151477"/>
                  </a:lnTo>
                  <a:lnTo>
                    <a:pt x="1274159" y="1153859"/>
                  </a:lnTo>
                  <a:lnTo>
                    <a:pt x="1273969" y="1152239"/>
                  </a:lnTo>
                  <a:lnTo>
                    <a:pt x="1270826" y="1152620"/>
                  </a:lnTo>
                  <a:lnTo>
                    <a:pt x="1266254" y="1154811"/>
                  </a:lnTo>
                  <a:lnTo>
                    <a:pt x="1264253" y="1151858"/>
                  </a:lnTo>
                  <a:lnTo>
                    <a:pt x="1261586" y="1155383"/>
                  </a:lnTo>
                  <a:lnTo>
                    <a:pt x="1259110" y="1149287"/>
                  </a:lnTo>
                  <a:lnTo>
                    <a:pt x="1252252" y="1145381"/>
                  </a:lnTo>
                  <a:lnTo>
                    <a:pt x="1251109" y="1148715"/>
                  </a:lnTo>
                  <a:lnTo>
                    <a:pt x="1246156" y="1147762"/>
                  </a:lnTo>
                  <a:lnTo>
                    <a:pt x="1247108" y="1155668"/>
                  </a:lnTo>
                  <a:lnTo>
                    <a:pt x="1247108" y="1155668"/>
                  </a:lnTo>
                  <a:lnTo>
                    <a:pt x="1244156" y="1157669"/>
                  </a:lnTo>
                  <a:lnTo>
                    <a:pt x="1240631" y="1154906"/>
                  </a:lnTo>
                  <a:lnTo>
                    <a:pt x="1241774" y="1151573"/>
                  </a:lnTo>
                  <a:lnTo>
                    <a:pt x="1237107" y="1152144"/>
                  </a:lnTo>
                  <a:lnTo>
                    <a:pt x="1237488" y="1155287"/>
                  </a:lnTo>
                  <a:lnTo>
                    <a:pt x="1241012" y="1158050"/>
                  </a:lnTo>
                  <a:lnTo>
                    <a:pt x="1240060" y="1163003"/>
                  </a:lnTo>
                  <a:lnTo>
                    <a:pt x="1235297" y="1163574"/>
                  </a:lnTo>
                  <a:lnTo>
                    <a:pt x="1235678" y="1166717"/>
                  </a:lnTo>
                  <a:lnTo>
                    <a:pt x="1234345" y="1168527"/>
                  </a:lnTo>
                  <a:lnTo>
                    <a:pt x="1233202" y="1171861"/>
                  </a:lnTo>
                  <a:lnTo>
                    <a:pt x="1235107" y="1174814"/>
                  </a:lnTo>
                  <a:lnTo>
                    <a:pt x="1233773" y="1176623"/>
                  </a:lnTo>
                  <a:lnTo>
                    <a:pt x="1233964" y="1178147"/>
                  </a:lnTo>
                  <a:lnTo>
                    <a:pt x="1225868" y="1177576"/>
                  </a:lnTo>
                  <a:lnTo>
                    <a:pt x="1225296" y="1172909"/>
                  </a:lnTo>
                  <a:lnTo>
                    <a:pt x="1222915" y="1166812"/>
                  </a:lnTo>
                  <a:lnTo>
                    <a:pt x="1215962" y="1162812"/>
                  </a:lnTo>
                  <a:lnTo>
                    <a:pt x="1216343" y="1165955"/>
                  </a:lnTo>
                  <a:lnTo>
                    <a:pt x="1214628" y="1164622"/>
                  </a:lnTo>
                  <a:lnTo>
                    <a:pt x="1214818" y="1166146"/>
                  </a:lnTo>
                  <a:lnTo>
                    <a:pt x="1211675" y="1166622"/>
                  </a:lnTo>
                  <a:lnTo>
                    <a:pt x="1206913" y="1167194"/>
                  </a:lnTo>
                  <a:lnTo>
                    <a:pt x="1205103" y="1165860"/>
                  </a:lnTo>
                  <a:lnTo>
                    <a:pt x="1203103" y="1162907"/>
                  </a:lnTo>
                  <a:lnTo>
                    <a:pt x="1202912" y="1161288"/>
                  </a:lnTo>
                  <a:lnTo>
                    <a:pt x="1198245" y="1161860"/>
                  </a:lnTo>
                  <a:lnTo>
                    <a:pt x="1199198" y="1157002"/>
                  </a:lnTo>
                  <a:lnTo>
                    <a:pt x="1200722" y="1156716"/>
                  </a:lnTo>
                  <a:lnTo>
                    <a:pt x="1202150" y="1155002"/>
                  </a:lnTo>
                  <a:lnTo>
                    <a:pt x="1197388" y="1155573"/>
                  </a:lnTo>
                  <a:lnTo>
                    <a:pt x="1196245" y="1158907"/>
                  </a:lnTo>
                  <a:lnTo>
                    <a:pt x="1194435" y="1157573"/>
                  </a:lnTo>
                  <a:lnTo>
                    <a:pt x="1191292" y="1157954"/>
                  </a:lnTo>
                  <a:lnTo>
                    <a:pt x="1192339" y="1165860"/>
                  </a:lnTo>
                  <a:lnTo>
                    <a:pt x="1187196" y="1163288"/>
                  </a:lnTo>
                  <a:lnTo>
                    <a:pt x="1179481" y="1165860"/>
                  </a:lnTo>
                  <a:lnTo>
                    <a:pt x="1177862" y="1166051"/>
                  </a:lnTo>
                  <a:lnTo>
                    <a:pt x="1178338" y="1169194"/>
                  </a:lnTo>
                  <a:lnTo>
                    <a:pt x="1175099" y="1169670"/>
                  </a:lnTo>
                  <a:lnTo>
                    <a:pt x="1171575" y="1166908"/>
                  </a:lnTo>
                  <a:lnTo>
                    <a:pt x="1170432" y="1170241"/>
                  </a:lnTo>
                  <a:lnTo>
                    <a:pt x="1167289" y="1170623"/>
                  </a:lnTo>
                  <a:lnTo>
                    <a:pt x="1163860" y="1169480"/>
                  </a:lnTo>
                  <a:lnTo>
                    <a:pt x="1157954" y="1173385"/>
                  </a:lnTo>
                  <a:lnTo>
                    <a:pt x="1150715" y="1166336"/>
                  </a:lnTo>
                  <a:lnTo>
                    <a:pt x="1146143" y="1168527"/>
                  </a:lnTo>
                  <a:lnTo>
                    <a:pt x="1143952" y="1163955"/>
                  </a:lnTo>
                  <a:lnTo>
                    <a:pt x="1137856" y="1166336"/>
                  </a:lnTo>
                  <a:lnTo>
                    <a:pt x="1136618" y="1169765"/>
                  </a:lnTo>
                  <a:lnTo>
                    <a:pt x="1134904" y="1168337"/>
                  </a:lnTo>
                  <a:lnTo>
                    <a:pt x="1133475" y="1170146"/>
                  </a:lnTo>
                  <a:lnTo>
                    <a:pt x="1131284" y="1165574"/>
                  </a:lnTo>
                  <a:lnTo>
                    <a:pt x="1129760" y="1165765"/>
                  </a:lnTo>
                  <a:lnTo>
                    <a:pt x="1129951" y="1167384"/>
                  </a:lnTo>
                  <a:lnTo>
                    <a:pt x="1124807" y="1164812"/>
                  </a:lnTo>
                  <a:lnTo>
                    <a:pt x="1126236" y="1163098"/>
                  </a:lnTo>
                  <a:lnTo>
                    <a:pt x="1120902" y="1158907"/>
                  </a:lnTo>
                  <a:lnTo>
                    <a:pt x="1120616" y="1157383"/>
                  </a:lnTo>
                  <a:lnTo>
                    <a:pt x="1108234" y="1160526"/>
                  </a:lnTo>
                  <a:lnTo>
                    <a:pt x="1101947" y="1161288"/>
                  </a:lnTo>
                  <a:lnTo>
                    <a:pt x="1096804" y="1171575"/>
                  </a:lnTo>
                  <a:lnTo>
                    <a:pt x="1100328" y="1174337"/>
                  </a:lnTo>
                  <a:lnTo>
                    <a:pt x="1105281" y="1175290"/>
                  </a:lnTo>
                  <a:lnTo>
                    <a:pt x="1109281" y="1181195"/>
                  </a:lnTo>
                  <a:lnTo>
                    <a:pt x="1107853" y="1183005"/>
                  </a:lnTo>
                  <a:lnTo>
                    <a:pt x="1110043" y="1187577"/>
                  </a:lnTo>
                  <a:lnTo>
                    <a:pt x="1108710" y="1189291"/>
                  </a:lnTo>
                  <a:lnTo>
                    <a:pt x="1102614" y="1191673"/>
                  </a:lnTo>
                  <a:lnTo>
                    <a:pt x="1091089" y="1189958"/>
                  </a:lnTo>
                  <a:lnTo>
                    <a:pt x="1088612" y="1195102"/>
                  </a:lnTo>
                  <a:lnTo>
                    <a:pt x="1081468" y="1189577"/>
                  </a:lnTo>
                  <a:lnTo>
                    <a:pt x="1076706" y="1190244"/>
                  </a:lnTo>
                  <a:lnTo>
                    <a:pt x="1073944" y="1193768"/>
                  </a:lnTo>
                  <a:lnTo>
                    <a:pt x="1074801" y="1200055"/>
                  </a:lnTo>
                  <a:lnTo>
                    <a:pt x="1073372" y="1201865"/>
                  </a:lnTo>
                  <a:lnTo>
                    <a:pt x="1072039" y="1203579"/>
                  </a:lnTo>
                  <a:lnTo>
                    <a:pt x="1075563" y="1206341"/>
                  </a:lnTo>
                  <a:lnTo>
                    <a:pt x="1079754" y="1213866"/>
                  </a:lnTo>
                  <a:lnTo>
                    <a:pt x="1076611" y="1214247"/>
                  </a:lnTo>
                  <a:lnTo>
                    <a:pt x="1071848" y="1214914"/>
                  </a:lnTo>
                  <a:lnTo>
                    <a:pt x="1070515" y="1216628"/>
                  </a:lnTo>
                  <a:lnTo>
                    <a:pt x="1071277" y="1223010"/>
                  </a:lnTo>
                  <a:lnTo>
                    <a:pt x="1066514" y="1223582"/>
                  </a:lnTo>
                  <a:lnTo>
                    <a:pt x="1065562" y="1228535"/>
                  </a:lnTo>
                  <a:lnTo>
                    <a:pt x="1064038" y="1228725"/>
                  </a:lnTo>
                  <a:lnTo>
                    <a:pt x="1058894" y="1226153"/>
                  </a:lnTo>
                  <a:lnTo>
                    <a:pt x="1056323" y="1231297"/>
                  </a:lnTo>
                  <a:lnTo>
                    <a:pt x="1051369" y="1230344"/>
                  </a:lnTo>
                  <a:lnTo>
                    <a:pt x="1048988" y="1224248"/>
                  </a:lnTo>
                  <a:lnTo>
                    <a:pt x="1041844" y="1218724"/>
                  </a:lnTo>
                  <a:lnTo>
                    <a:pt x="1046226" y="1214914"/>
                  </a:lnTo>
                  <a:lnTo>
                    <a:pt x="1041083" y="1212342"/>
                  </a:lnTo>
                  <a:lnTo>
                    <a:pt x="1039082" y="1209389"/>
                  </a:lnTo>
                  <a:lnTo>
                    <a:pt x="1040511" y="1207675"/>
                  </a:lnTo>
                  <a:lnTo>
                    <a:pt x="1038701" y="1206246"/>
                  </a:lnTo>
                  <a:lnTo>
                    <a:pt x="1036892" y="1204912"/>
                  </a:lnTo>
                  <a:lnTo>
                    <a:pt x="1035463" y="1193864"/>
                  </a:lnTo>
                  <a:lnTo>
                    <a:pt x="1031176" y="1197578"/>
                  </a:lnTo>
                  <a:lnTo>
                    <a:pt x="1032319" y="1194245"/>
                  </a:lnTo>
                  <a:lnTo>
                    <a:pt x="1031938" y="1191101"/>
                  </a:lnTo>
                  <a:lnTo>
                    <a:pt x="1030319" y="1191292"/>
                  </a:lnTo>
                  <a:lnTo>
                    <a:pt x="1031748" y="1189482"/>
                  </a:lnTo>
                  <a:lnTo>
                    <a:pt x="1031176" y="1184815"/>
                  </a:lnTo>
                  <a:lnTo>
                    <a:pt x="1026223" y="1183767"/>
                  </a:lnTo>
                  <a:lnTo>
                    <a:pt x="1029367" y="1183386"/>
                  </a:lnTo>
                  <a:lnTo>
                    <a:pt x="1032510" y="1183005"/>
                  </a:lnTo>
                  <a:lnTo>
                    <a:pt x="1032319" y="1181386"/>
                  </a:lnTo>
                  <a:lnTo>
                    <a:pt x="1025557" y="1179100"/>
                  </a:lnTo>
                  <a:lnTo>
                    <a:pt x="1025176" y="1175957"/>
                  </a:lnTo>
                  <a:lnTo>
                    <a:pt x="1024223" y="1180814"/>
                  </a:lnTo>
                  <a:lnTo>
                    <a:pt x="1021080" y="1181291"/>
                  </a:lnTo>
                  <a:lnTo>
                    <a:pt x="1019080" y="1178338"/>
                  </a:lnTo>
                  <a:lnTo>
                    <a:pt x="1016127" y="1180243"/>
                  </a:lnTo>
                  <a:lnTo>
                    <a:pt x="1012603" y="1190339"/>
                  </a:lnTo>
                  <a:lnTo>
                    <a:pt x="1014413" y="1191768"/>
                  </a:lnTo>
                  <a:lnTo>
                    <a:pt x="1012984" y="1193483"/>
                  </a:lnTo>
                  <a:lnTo>
                    <a:pt x="1009650" y="1192340"/>
                  </a:lnTo>
                  <a:lnTo>
                    <a:pt x="1009079" y="1187577"/>
                  </a:lnTo>
                  <a:lnTo>
                    <a:pt x="1005268" y="1183291"/>
                  </a:lnTo>
                  <a:lnTo>
                    <a:pt x="1003744" y="1183481"/>
                  </a:lnTo>
                  <a:lnTo>
                    <a:pt x="998601" y="1180910"/>
                  </a:lnTo>
                  <a:lnTo>
                    <a:pt x="992791" y="1173671"/>
                  </a:lnTo>
                  <a:lnTo>
                    <a:pt x="988219" y="1163003"/>
                  </a:lnTo>
                  <a:lnTo>
                    <a:pt x="985076" y="1163384"/>
                  </a:lnTo>
                  <a:lnTo>
                    <a:pt x="981932" y="1163765"/>
                  </a:lnTo>
                  <a:lnTo>
                    <a:pt x="965359" y="1159478"/>
                  </a:lnTo>
                  <a:lnTo>
                    <a:pt x="962977" y="1153382"/>
                  </a:lnTo>
                  <a:lnTo>
                    <a:pt x="953643" y="1143286"/>
                  </a:lnTo>
                  <a:lnTo>
                    <a:pt x="955072" y="1141571"/>
                  </a:lnTo>
                  <a:lnTo>
                    <a:pt x="953262" y="1140143"/>
                  </a:lnTo>
                  <a:lnTo>
                    <a:pt x="952500" y="1146715"/>
                  </a:lnTo>
                  <a:lnTo>
                    <a:pt x="951738" y="1153192"/>
                  </a:lnTo>
                  <a:lnTo>
                    <a:pt x="943832" y="1154240"/>
                  </a:lnTo>
                  <a:lnTo>
                    <a:pt x="944023" y="1155764"/>
                  </a:lnTo>
                  <a:lnTo>
                    <a:pt x="941070" y="1157764"/>
                  </a:lnTo>
                  <a:lnTo>
                    <a:pt x="941260" y="1159383"/>
                  </a:lnTo>
                  <a:lnTo>
                    <a:pt x="939546" y="1157954"/>
                  </a:lnTo>
                  <a:lnTo>
                    <a:pt x="936784" y="1161479"/>
                  </a:lnTo>
                  <a:lnTo>
                    <a:pt x="936974" y="1163098"/>
                  </a:lnTo>
                  <a:lnTo>
                    <a:pt x="940118" y="1162717"/>
                  </a:lnTo>
                  <a:lnTo>
                    <a:pt x="939546" y="1170813"/>
                  </a:lnTo>
                  <a:lnTo>
                    <a:pt x="927926" y="1167479"/>
                  </a:lnTo>
                  <a:lnTo>
                    <a:pt x="928306" y="1170623"/>
                  </a:lnTo>
                  <a:lnTo>
                    <a:pt x="930116" y="1171956"/>
                  </a:lnTo>
                  <a:lnTo>
                    <a:pt x="925354" y="1172623"/>
                  </a:lnTo>
                  <a:lnTo>
                    <a:pt x="926878" y="1172432"/>
                  </a:lnTo>
                  <a:lnTo>
                    <a:pt x="928878" y="1175385"/>
                  </a:lnTo>
                  <a:lnTo>
                    <a:pt x="927544" y="1177100"/>
                  </a:lnTo>
                  <a:lnTo>
                    <a:pt x="930878" y="1178338"/>
                  </a:lnTo>
                  <a:lnTo>
                    <a:pt x="928306" y="1183481"/>
                  </a:lnTo>
                  <a:lnTo>
                    <a:pt x="930116" y="1184815"/>
                  </a:lnTo>
                  <a:lnTo>
                    <a:pt x="926973" y="1185196"/>
                  </a:lnTo>
                  <a:lnTo>
                    <a:pt x="925735" y="1188625"/>
                  </a:lnTo>
                  <a:lnTo>
                    <a:pt x="924211" y="1188815"/>
                  </a:lnTo>
                  <a:lnTo>
                    <a:pt x="923449" y="1195292"/>
                  </a:lnTo>
                  <a:lnTo>
                    <a:pt x="921830" y="1195483"/>
                  </a:lnTo>
                  <a:lnTo>
                    <a:pt x="920687" y="1198816"/>
                  </a:lnTo>
                  <a:lnTo>
                    <a:pt x="922210" y="1198626"/>
                  </a:lnTo>
                  <a:lnTo>
                    <a:pt x="922687" y="1201769"/>
                  </a:lnTo>
                  <a:lnTo>
                    <a:pt x="927544" y="1202817"/>
                  </a:lnTo>
                  <a:lnTo>
                    <a:pt x="925259" y="1209485"/>
                  </a:lnTo>
                  <a:lnTo>
                    <a:pt x="927259" y="1212437"/>
                  </a:lnTo>
                  <a:lnTo>
                    <a:pt x="930212" y="1210437"/>
                  </a:lnTo>
                  <a:lnTo>
                    <a:pt x="930593" y="1213676"/>
                  </a:lnTo>
                  <a:lnTo>
                    <a:pt x="928973" y="1213866"/>
                  </a:lnTo>
                  <a:lnTo>
                    <a:pt x="934117" y="1216343"/>
                  </a:lnTo>
                  <a:lnTo>
                    <a:pt x="934498" y="1219581"/>
                  </a:lnTo>
                  <a:lnTo>
                    <a:pt x="930021" y="1221677"/>
                  </a:lnTo>
                  <a:lnTo>
                    <a:pt x="934688" y="1221105"/>
                  </a:lnTo>
                  <a:lnTo>
                    <a:pt x="933355" y="1222915"/>
                  </a:lnTo>
                  <a:lnTo>
                    <a:pt x="928783" y="1225106"/>
                  </a:lnTo>
                  <a:lnTo>
                    <a:pt x="925449" y="1223867"/>
                  </a:lnTo>
                  <a:lnTo>
                    <a:pt x="924115" y="1225677"/>
                  </a:lnTo>
                  <a:lnTo>
                    <a:pt x="924306" y="1227296"/>
                  </a:lnTo>
                  <a:lnTo>
                    <a:pt x="916591" y="1229868"/>
                  </a:lnTo>
                  <a:lnTo>
                    <a:pt x="916781" y="1231392"/>
                  </a:lnTo>
                  <a:lnTo>
                    <a:pt x="913638" y="1231868"/>
                  </a:lnTo>
                  <a:lnTo>
                    <a:pt x="913257" y="1228630"/>
                  </a:lnTo>
                  <a:lnTo>
                    <a:pt x="906971" y="1229487"/>
                  </a:lnTo>
                  <a:lnTo>
                    <a:pt x="903542" y="1228249"/>
                  </a:lnTo>
                  <a:lnTo>
                    <a:pt x="902208" y="1230059"/>
                  </a:lnTo>
                  <a:lnTo>
                    <a:pt x="902589" y="1233202"/>
                  </a:lnTo>
                  <a:lnTo>
                    <a:pt x="897826" y="1233869"/>
                  </a:lnTo>
                  <a:lnTo>
                    <a:pt x="896302" y="1234059"/>
                  </a:lnTo>
                  <a:lnTo>
                    <a:pt x="895350" y="1239012"/>
                  </a:lnTo>
                  <a:lnTo>
                    <a:pt x="888206" y="1246251"/>
                  </a:lnTo>
                  <a:lnTo>
                    <a:pt x="884872" y="1245108"/>
                  </a:lnTo>
                  <a:lnTo>
                    <a:pt x="883730" y="1248442"/>
                  </a:lnTo>
                  <a:lnTo>
                    <a:pt x="878776" y="1247489"/>
                  </a:lnTo>
                  <a:lnTo>
                    <a:pt x="876014" y="1251014"/>
                  </a:lnTo>
                  <a:lnTo>
                    <a:pt x="876395" y="1254252"/>
                  </a:lnTo>
                  <a:lnTo>
                    <a:pt x="871633" y="1254824"/>
                  </a:lnTo>
                  <a:lnTo>
                    <a:pt x="877443" y="1262062"/>
                  </a:lnTo>
                  <a:lnTo>
                    <a:pt x="874681" y="1265682"/>
                  </a:lnTo>
                  <a:lnTo>
                    <a:pt x="873919" y="1272159"/>
                  </a:lnTo>
                  <a:lnTo>
                    <a:pt x="872490" y="1273969"/>
                  </a:lnTo>
                  <a:lnTo>
                    <a:pt x="866013" y="1273207"/>
                  </a:lnTo>
                  <a:lnTo>
                    <a:pt x="864013" y="1270254"/>
                  </a:lnTo>
                  <a:lnTo>
                    <a:pt x="865156" y="1266825"/>
                  </a:lnTo>
                  <a:lnTo>
                    <a:pt x="862393" y="1257586"/>
                  </a:lnTo>
                  <a:lnTo>
                    <a:pt x="857440" y="1256633"/>
                  </a:lnTo>
                  <a:lnTo>
                    <a:pt x="843820" y="1250347"/>
                  </a:lnTo>
                  <a:lnTo>
                    <a:pt x="830009" y="1255300"/>
                  </a:lnTo>
                  <a:lnTo>
                    <a:pt x="826865" y="1255681"/>
                  </a:lnTo>
                  <a:lnTo>
                    <a:pt x="824675" y="1251204"/>
                  </a:lnTo>
                  <a:lnTo>
                    <a:pt x="820007" y="1251776"/>
                  </a:lnTo>
                  <a:lnTo>
                    <a:pt x="819531" y="1248632"/>
                  </a:lnTo>
                  <a:lnTo>
                    <a:pt x="822484" y="1246632"/>
                  </a:lnTo>
                  <a:lnTo>
                    <a:pt x="825627" y="1246251"/>
                  </a:lnTo>
                  <a:lnTo>
                    <a:pt x="826675" y="1241298"/>
                  </a:lnTo>
                  <a:lnTo>
                    <a:pt x="829437" y="1237774"/>
                  </a:lnTo>
                  <a:lnTo>
                    <a:pt x="830009" y="1229678"/>
                  </a:lnTo>
                  <a:lnTo>
                    <a:pt x="829532" y="1226534"/>
                  </a:lnTo>
                  <a:lnTo>
                    <a:pt x="828008" y="1226725"/>
                  </a:lnTo>
                  <a:lnTo>
                    <a:pt x="826580" y="1228439"/>
                  </a:lnTo>
                  <a:lnTo>
                    <a:pt x="825627" y="1233392"/>
                  </a:lnTo>
                  <a:lnTo>
                    <a:pt x="822674" y="1235393"/>
                  </a:lnTo>
                  <a:lnTo>
                    <a:pt x="817721" y="1234440"/>
                  </a:lnTo>
                  <a:lnTo>
                    <a:pt x="818197" y="1237583"/>
                  </a:lnTo>
                  <a:lnTo>
                    <a:pt x="814959" y="1237964"/>
                  </a:lnTo>
                  <a:lnTo>
                    <a:pt x="815816" y="1231487"/>
                  </a:lnTo>
                  <a:lnTo>
                    <a:pt x="810673" y="1241774"/>
                  </a:lnTo>
                  <a:lnTo>
                    <a:pt x="805720" y="1240727"/>
                  </a:lnTo>
                  <a:lnTo>
                    <a:pt x="807148" y="1239012"/>
                  </a:lnTo>
                  <a:lnTo>
                    <a:pt x="805529" y="1239203"/>
                  </a:lnTo>
                  <a:lnTo>
                    <a:pt x="804196" y="1240917"/>
                  </a:lnTo>
                  <a:lnTo>
                    <a:pt x="802196" y="1237964"/>
                  </a:lnTo>
                  <a:lnTo>
                    <a:pt x="800767" y="1239774"/>
                  </a:lnTo>
                  <a:lnTo>
                    <a:pt x="799052" y="1238441"/>
                  </a:lnTo>
                  <a:lnTo>
                    <a:pt x="794099" y="1237393"/>
                  </a:lnTo>
                  <a:lnTo>
                    <a:pt x="792099" y="1234440"/>
                  </a:lnTo>
                  <a:lnTo>
                    <a:pt x="789146" y="1236440"/>
                  </a:lnTo>
                  <a:lnTo>
                    <a:pt x="786384" y="1240060"/>
                  </a:lnTo>
                  <a:lnTo>
                    <a:pt x="784193" y="1235488"/>
                  </a:lnTo>
                  <a:lnTo>
                    <a:pt x="782860" y="1237298"/>
                  </a:lnTo>
                  <a:lnTo>
                    <a:pt x="782384" y="1234154"/>
                  </a:lnTo>
                  <a:lnTo>
                    <a:pt x="777907" y="1236250"/>
                  </a:lnTo>
                  <a:lnTo>
                    <a:pt x="777716" y="1234726"/>
                  </a:lnTo>
                  <a:lnTo>
                    <a:pt x="774383" y="1233583"/>
                  </a:lnTo>
                  <a:lnTo>
                    <a:pt x="776668" y="1226820"/>
                  </a:lnTo>
                  <a:lnTo>
                    <a:pt x="774954" y="1225487"/>
                  </a:lnTo>
                  <a:lnTo>
                    <a:pt x="770192" y="1226058"/>
                  </a:lnTo>
                  <a:lnTo>
                    <a:pt x="767429" y="1229582"/>
                  </a:lnTo>
                  <a:lnTo>
                    <a:pt x="762476" y="1228630"/>
                  </a:lnTo>
                  <a:lnTo>
                    <a:pt x="753809" y="1223296"/>
                  </a:lnTo>
                  <a:lnTo>
                    <a:pt x="749046" y="1223962"/>
                  </a:lnTo>
                  <a:lnTo>
                    <a:pt x="750856" y="1225296"/>
                  </a:lnTo>
                  <a:lnTo>
                    <a:pt x="748475" y="1232059"/>
                  </a:lnTo>
                  <a:lnTo>
                    <a:pt x="742379" y="1234440"/>
                  </a:lnTo>
                  <a:lnTo>
                    <a:pt x="744379" y="1237393"/>
                  </a:lnTo>
                  <a:lnTo>
                    <a:pt x="747522" y="1236916"/>
                  </a:lnTo>
                  <a:lnTo>
                    <a:pt x="746093" y="1238726"/>
                  </a:lnTo>
                  <a:lnTo>
                    <a:pt x="744569" y="1238917"/>
                  </a:lnTo>
                  <a:lnTo>
                    <a:pt x="740759" y="1234631"/>
                  </a:lnTo>
                  <a:lnTo>
                    <a:pt x="739616" y="1237964"/>
                  </a:lnTo>
                  <a:lnTo>
                    <a:pt x="736092" y="1235202"/>
                  </a:lnTo>
                  <a:lnTo>
                    <a:pt x="735616" y="1232059"/>
                  </a:lnTo>
                  <a:lnTo>
                    <a:pt x="734092" y="1232249"/>
                  </a:lnTo>
                  <a:lnTo>
                    <a:pt x="731901" y="1227677"/>
                  </a:lnTo>
                  <a:lnTo>
                    <a:pt x="727138" y="1228344"/>
                  </a:lnTo>
                  <a:lnTo>
                    <a:pt x="726186" y="1220438"/>
                  </a:lnTo>
                  <a:lnTo>
                    <a:pt x="719804" y="1221200"/>
                  </a:lnTo>
                  <a:lnTo>
                    <a:pt x="718661" y="1224629"/>
                  </a:lnTo>
                  <a:lnTo>
                    <a:pt x="715518" y="1225010"/>
                  </a:lnTo>
                  <a:lnTo>
                    <a:pt x="707422" y="1211580"/>
                  </a:lnTo>
                  <a:lnTo>
                    <a:pt x="704279" y="1211961"/>
                  </a:lnTo>
                  <a:lnTo>
                    <a:pt x="700468" y="1207675"/>
                  </a:lnTo>
                  <a:lnTo>
                    <a:pt x="702850" y="1213771"/>
                  </a:lnTo>
                  <a:lnTo>
                    <a:pt x="701326" y="1213961"/>
                  </a:lnTo>
                  <a:lnTo>
                    <a:pt x="697706" y="1211199"/>
                  </a:lnTo>
                  <a:lnTo>
                    <a:pt x="696373" y="1213009"/>
                  </a:lnTo>
                  <a:lnTo>
                    <a:pt x="697897" y="1212818"/>
                  </a:lnTo>
                  <a:lnTo>
                    <a:pt x="702278" y="1221867"/>
                  </a:lnTo>
                  <a:lnTo>
                    <a:pt x="700945" y="1223677"/>
                  </a:lnTo>
                  <a:lnTo>
                    <a:pt x="702659" y="1225010"/>
                  </a:lnTo>
                  <a:lnTo>
                    <a:pt x="699897" y="1228630"/>
                  </a:lnTo>
                  <a:lnTo>
                    <a:pt x="701897" y="1231583"/>
                  </a:lnTo>
                  <a:lnTo>
                    <a:pt x="706660" y="1230916"/>
                  </a:lnTo>
                  <a:lnTo>
                    <a:pt x="705231" y="1232726"/>
                  </a:lnTo>
                  <a:lnTo>
                    <a:pt x="701897" y="1231583"/>
                  </a:lnTo>
                  <a:lnTo>
                    <a:pt x="702278" y="1234726"/>
                  </a:lnTo>
                  <a:lnTo>
                    <a:pt x="700754" y="1234916"/>
                  </a:lnTo>
                  <a:lnTo>
                    <a:pt x="698183" y="1227201"/>
                  </a:lnTo>
                  <a:lnTo>
                    <a:pt x="695039" y="1227582"/>
                  </a:lnTo>
                  <a:lnTo>
                    <a:pt x="691420" y="1224820"/>
                  </a:lnTo>
                  <a:lnTo>
                    <a:pt x="686752" y="1225487"/>
                  </a:lnTo>
                  <a:lnTo>
                    <a:pt x="685514" y="1228820"/>
                  </a:lnTo>
                  <a:lnTo>
                    <a:pt x="682180" y="1227677"/>
                  </a:lnTo>
                  <a:lnTo>
                    <a:pt x="682371" y="1229201"/>
                  </a:lnTo>
                  <a:lnTo>
                    <a:pt x="680752" y="1229392"/>
                  </a:lnTo>
                  <a:lnTo>
                    <a:pt x="682752" y="1232345"/>
                  </a:lnTo>
                  <a:lnTo>
                    <a:pt x="681228" y="1232535"/>
                  </a:lnTo>
                  <a:lnTo>
                    <a:pt x="681418" y="1234154"/>
                  </a:lnTo>
                  <a:lnTo>
                    <a:pt x="679609" y="1232821"/>
                  </a:lnTo>
                  <a:lnTo>
                    <a:pt x="679799" y="1234345"/>
                  </a:lnTo>
                  <a:lnTo>
                    <a:pt x="678466" y="1236155"/>
                  </a:lnTo>
                  <a:lnTo>
                    <a:pt x="676465" y="1233202"/>
                  </a:lnTo>
                  <a:lnTo>
                    <a:pt x="675132" y="1234916"/>
                  </a:lnTo>
                  <a:lnTo>
                    <a:pt x="672751" y="1241679"/>
                  </a:lnTo>
                  <a:lnTo>
                    <a:pt x="671131" y="1241870"/>
                  </a:lnTo>
                  <a:lnTo>
                    <a:pt x="672370" y="1238536"/>
                  </a:lnTo>
                  <a:lnTo>
                    <a:pt x="668941" y="1237298"/>
                  </a:lnTo>
                  <a:lnTo>
                    <a:pt x="666179" y="1240917"/>
                  </a:lnTo>
                  <a:lnTo>
                    <a:pt x="665226" y="1245870"/>
                  </a:lnTo>
                  <a:lnTo>
                    <a:pt x="663702" y="1246061"/>
                  </a:lnTo>
                  <a:lnTo>
                    <a:pt x="663035" y="1241298"/>
                  </a:lnTo>
                  <a:lnTo>
                    <a:pt x="659892" y="1241679"/>
                  </a:lnTo>
                  <a:lnTo>
                    <a:pt x="659511" y="1238536"/>
                  </a:lnTo>
                  <a:lnTo>
                    <a:pt x="656177" y="1237393"/>
                  </a:lnTo>
                  <a:lnTo>
                    <a:pt x="648843" y="1243108"/>
                  </a:lnTo>
                  <a:lnTo>
                    <a:pt x="645509" y="1241965"/>
                  </a:lnTo>
                  <a:lnTo>
                    <a:pt x="643700" y="1240536"/>
                  </a:lnTo>
                  <a:lnTo>
                    <a:pt x="646843" y="1240155"/>
                  </a:lnTo>
                  <a:lnTo>
                    <a:pt x="648272" y="1238345"/>
                  </a:lnTo>
                  <a:lnTo>
                    <a:pt x="646081" y="1233869"/>
                  </a:lnTo>
                  <a:lnTo>
                    <a:pt x="648843" y="1230249"/>
                  </a:lnTo>
                  <a:lnTo>
                    <a:pt x="648462" y="1227106"/>
                  </a:lnTo>
                  <a:lnTo>
                    <a:pt x="645319" y="1227487"/>
                  </a:lnTo>
                  <a:lnTo>
                    <a:pt x="643509" y="1226153"/>
                  </a:lnTo>
                  <a:lnTo>
                    <a:pt x="641699" y="1224820"/>
                  </a:lnTo>
                  <a:lnTo>
                    <a:pt x="641699" y="1224820"/>
                  </a:lnTo>
                  <a:lnTo>
                    <a:pt x="639509" y="1220248"/>
                  </a:lnTo>
                  <a:lnTo>
                    <a:pt x="638175" y="1222058"/>
                  </a:lnTo>
                  <a:lnTo>
                    <a:pt x="631031" y="1216533"/>
                  </a:lnTo>
                  <a:lnTo>
                    <a:pt x="625316" y="1222058"/>
                  </a:lnTo>
                  <a:lnTo>
                    <a:pt x="623126" y="1217486"/>
                  </a:lnTo>
                  <a:lnTo>
                    <a:pt x="621792" y="1219295"/>
                  </a:lnTo>
                  <a:lnTo>
                    <a:pt x="621601" y="1217771"/>
                  </a:lnTo>
                  <a:lnTo>
                    <a:pt x="619792" y="1216343"/>
                  </a:lnTo>
                  <a:lnTo>
                    <a:pt x="620363" y="1208246"/>
                  </a:lnTo>
                  <a:lnTo>
                    <a:pt x="621697" y="1206437"/>
                  </a:lnTo>
                  <a:lnTo>
                    <a:pt x="616363" y="1202341"/>
                  </a:lnTo>
                  <a:lnTo>
                    <a:pt x="609886" y="1201579"/>
                  </a:lnTo>
                  <a:lnTo>
                    <a:pt x="609505" y="1198436"/>
                  </a:lnTo>
                  <a:lnTo>
                    <a:pt x="604933" y="1200626"/>
                  </a:lnTo>
                  <a:lnTo>
                    <a:pt x="602551" y="1194435"/>
                  </a:lnTo>
                  <a:lnTo>
                    <a:pt x="596837" y="1200055"/>
                  </a:lnTo>
                  <a:lnTo>
                    <a:pt x="593693" y="1200436"/>
                  </a:lnTo>
                  <a:lnTo>
                    <a:pt x="582835" y="1203389"/>
                  </a:lnTo>
                  <a:lnTo>
                    <a:pt x="580644" y="1198912"/>
                  </a:lnTo>
                  <a:lnTo>
                    <a:pt x="577882" y="1202436"/>
                  </a:lnTo>
                  <a:lnTo>
                    <a:pt x="574738" y="1202817"/>
                  </a:lnTo>
                  <a:lnTo>
                    <a:pt x="573405" y="1204627"/>
                  </a:lnTo>
                  <a:lnTo>
                    <a:pt x="573786" y="1207770"/>
                  </a:lnTo>
                  <a:lnTo>
                    <a:pt x="574834" y="1215676"/>
                  </a:lnTo>
                  <a:lnTo>
                    <a:pt x="570262" y="1217866"/>
                  </a:lnTo>
                  <a:lnTo>
                    <a:pt x="570643" y="1221010"/>
                  </a:lnTo>
                  <a:lnTo>
                    <a:pt x="566356" y="1224725"/>
                  </a:lnTo>
                  <a:lnTo>
                    <a:pt x="563213" y="1225201"/>
                  </a:lnTo>
                  <a:lnTo>
                    <a:pt x="563594" y="1228344"/>
                  </a:lnTo>
                  <a:lnTo>
                    <a:pt x="566547" y="1226344"/>
                  </a:lnTo>
                  <a:lnTo>
                    <a:pt x="560832" y="1231868"/>
                  </a:lnTo>
                  <a:lnTo>
                    <a:pt x="561404" y="1236631"/>
                  </a:lnTo>
                  <a:lnTo>
                    <a:pt x="556546" y="1235678"/>
                  </a:lnTo>
                  <a:lnTo>
                    <a:pt x="556069" y="1232440"/>
                  </a:lnTo>
                  <a:lnTo>
                    <a:pt x="559022" y="1230535"/>
                  </a:lnTo>
                  <a:lnTo>
                    <a:pt x="557308" y="1229106"/>
                  </a:lnTo>
                  <a:lnTo>
                    <a:pt x="551117" y="1231487"/>
                  </a:lnTo>
                  <a:lnTo>
                    <a:pt x="543306" y="1232535"/>
                  </a:lnTo>
                  <a:lnTo>
                    <a:pt x="540353" y="1234535"/>
                  </a:lnTo>
                  <a:lnTo>
                    <a:pt x="536924" y="1233297"/>
                  </a:lnTo>
                  <a:lnTo>
                    <a:pt x="532067" y="1232345"/>
                  </a:lnTo>
                  <a:lnTo>
                    <a:pt x="525685" y="1233107"/>
                  </a:lnTo>
                  <a:lnTo>
                    <a:pt x="522542" y="1233583"/>
                  </a:lnTo>
                  <a:lnTo>
                    <a:pt x="521398" y="1236916"/>
                  </a:lnTo>
                  <a:lnTo>
                    <a:pt x="514255" y="1231392"/>
                  </a:lnTo>
                  <a:lnTo>
                    <a:pt x="509492" y="1231964"/>
                  </a:lnTo>
                  <a:lnTo>
                    <a:pt x="501205" y="1229868"/>
                  </a:lnTo>
                  <a:lnTo>
                    <a:pt x="502444" y="1239298"/>
                  </a:lnTo>
                  <a:lnTo>
                    <a:pt x="497300" y="1236726"/>
                  </a:lnTo>
                  <a:lnTo>
                    <a:pt x="492728" y="1238917"/>
                  </a:lnTo>
                  <a:lnTo>
                    <a:pt x="491014" y="1237583"/>
                  </a:lnTo>
                  <a:lnTo>
                    <a:pt x="490633" y="1234440"/>
                  </a:lnTo>
                  <a:lnTo>
                    <a:pt x="491776" y="1231011"/>
                  </a:lnTo>
                  <a:lnTo>
                    <a:pt x="489775" y="1228058"/>
                  </a:lnTo>
                  <a:lnTo>
                    <a:pt x="486632" y="1228535"/>
                  </a:lnTo>
                  <a:lnTo>
                    <a:pt x="487394" y="1234821"/>
                  </a:lnTo>
                  <a:lnTo>
                    <a:pt x="486251" y="1238155"/>
                  </a:lnTo>
                  <a:lnTo>
                    <a:pt x="479774" y="1237393"/>
                  </a:lnTo>
                  <a:lnTo>
                    <a:pt x="478346" y="1239203"/>
                  </a:lnTo>
                  <a:lnTo>
                    <a:pt x="476345" y="1236250"/>
                  </a:lnTo>
                  <a:lnTo>
                    <a:pt x="470059" y="1237012"/>
                  </a:lnTo>
                  <a:lnTo>
                    <a:pt x="469868" y="1235488"/>
                  </a:lnTo>
                  <a:lnTo>
                    <a:pt x="466915" y="1237393"/>
                  </a:lnTo>
                  <a:lnTo>
                    <a:pt x="464915" y="1234440"/>
                  </a:lnTo>
                  <a:lnTo>
                    <a:pt x="463391" y="1234631"/>
                  </a:lnTo>
                  <a:lnTo>
                    <a:pt x="461010" y="1228535"/>
                  </a:lnTo>
                  <a:lnTo>
                    <a:pt x="461963" y="1223582"/>
                  </a:lnTo>
                  <a:lnTo>
                    <a:pt x="463296" y="1221867"/>
                  </a:lnTo>
                  <a:lnTo>
                    <a:pt x="462534" y="1215485"/>
                  </a:lnTo>
                  <a:lnTo>
                    <a:pt x="462153" y="1212342"/>
                  </a:lnTo>
                  <a:lnTo>
                    <a:pt x="463487" y="1210628"/>
                  </a:lnTo>
                  <a:lnTo>
                    <a:pt x="463105" y="1207484"/>
                  </a:lnTo>
                  <a:lnTo>
                    <a:pt x="467868" y="1206818"/>
                  </a:lnTo>
                  <a:lnTo>
                    <a:pt x="462915" y="1205865"/>
                  </a:lnTo>
                  <a:lnTo>
                    <a:pt x="457390" y="1200150"/>
                  </a:lnTo>
                  <a:lnTo>
                    <a:pt x="455962" y="1201960"/>
                  </a:lnTo>
                  <a:lnTo>
                    <a:pt x="446532" y="1203103"/>
                  </a:lnTo>
                  <a:lnTo>
                    <a:pt x="443198" y="1201960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7" name="Volný tvar: obrazec 36">
              <a:extLst>
                <a:ext uri="{FF2B5EF4-FFF2-40B4-BE49-F238E27FC236}">
                  <a16:creationId xmlns:a16="http://schemas.microsoft.com/office/drawing/2014/main" id="{0659051C-D7EF-9CA4-575F-8528903006A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37533" y="2694717"/>
              <a:ext cx="860393" cy="1348549"/>
            </a:xfrm>
            <a:custGeom>
              <a:avLst/>
              <a:gdLst>
                <a:gd name="connsiteX0" fmla="*/ 855250 w 860393"/>
                <a:gd name="connsiteY0" fmla="*/ 1022509 h 1348549"/>
                <a:gd name="connsiteX1" fmla="*/ 856012 w 860393"/>
                <a:gd name="connsiteY1" fmla="*/ 1016032 h 1348549"/>
                <a:gd name="connsiteX2" fmla="*/ 854202 w 860393"/>
                <a:gd name="connsiteY2" fmla="*/ 1014698 h 1348549"/>
                <a:gd name="connsiteX3" fmla="*/ 853821 w 860393"/>
                <a:gd name="connsiteY3" fmla="*/ 1011555 h 1348549"/>
                <a:gd name="connsiteX4" fmla="*/ 852202 w 860393"/>
                <a:gd name="connsiteY4" fmla="*/ 1011746 h 1348549"/>
                <a:gd name="connsiteX5" fmla="*/ 854583 w 860393"/>
                <a:gd name="connsiteY5" fmla="*/ 1004983 h 1348549"/>
                <a:gd name="connsiteX6" fmla="*/ 847439 w 860393"/>
                <a:gd name="connsiteY6" fmla="*/ 999458 h 1348549"/>
                <a:gd name="connsiteX7" fmla="*/ 850011 w 860393"/>
                <a:gd name="connsiteY7" fmla="*/ 994315 h 1348549"/>
                <a:gd name="connsiteX8" fmla="*/ 849821 w 860393"/>
                <a:gd name="connsiteY8" fmla="*/ 992791 h 1348549"/>
                <a:gd name="connsiteX9" fmla="*/ 846677 w 860393"/>
                <a:gd name="connsiteY9" fmla="*/ 993172 h 1348549"/>
                <a:gd name="connsiteX10" fmla="*/ 845725 w 860393"/>
                <a:gd name="connsiteY10" fmla="*/ 998125 h 1348549"/>
                <a:gd name="connsiteX11" fmla="*/ 835438 w 860393"/>
                <a:gd name="connsiteY11" fmla="*/ 992981 h 1348549"/>
                <a:gd name="connsiteX12" fmla="*/ 832675 w 860393"/>
                <a:gd name="connsiteY12" fmla="*/ 996601 h 1348549"/>
                <a:gd name="connsiteX13" fmla="*/ 833247 w 860393"/>
                <a:gd name="connsiteY13" fmla="*/ 1001268 h 1348549"/>
                <a:gd name="connsiteX14" fmla="*/ 828484 w 860393"/>
                <a:gd name="connsiteY14" fmla="*/ 1001935 h 1348549"/>
                <a:gd name="connsiteX15" fmla="*/ 827151 w 860393"/>
                <a:gd name="connsiteY15" fmla="*/ 1003649 h 1348549"/>
                <a:gd name="connsiteX16" fmla="*/ 822484 w 860393"/>
                <a:gd name="connsiteY16" fmla="*/ 1017080 h 1348549"/>
                <a:gd name="connsiteX17" fmla="*/ 815340 w 860393"/>
                <a:gd name="connsiteY17" fmla="*/ 1011555 h 1348549"/>
                <a:gd name="connsiteX18" fmla="*/ 814483 w 860393"/>
                <a:gd name="connsiteY18" fmla="*/ 1005268 h 1348549"/>
                <a:gd name="connsiteX19" fmla="*/ 810578 w 860393"/>
                <a:gd name="connsiteY19" fmla="*/ 999363 h 1348549"/>
                <a:gd name="connsiteX20" fmla="*/ 807434 w 860393"/>
                <a:gd name="connsiteY20" fmla="*/ 999744 h 1348549"/>
                <a:gd name="connsiteX21" fmla="*/ 806958 w 860393"/>
                <a:gd name="connsiteY21" fmla="*/ 996601 h 1348549"/>
                <a:gd name="connsiteX22" fmla="*/ 814102 w 860393"/>
                <a:gd name="connsiteY22" fmla="*/ 989267 h 1348549"/>
                <a:gd name="connsiteX23" fmla="*/ 819055 w 860393"/>
                <a:gd name="connsiteY23" fmla="*/ 990314 h 1348549"/>
                <a:gd name="connsiteX24" fmla="*/ 822960 w 860393"/>
                <a:gd name="connsiteY24" fmla="*/ 983361 h 1348549"/>
                <a:gd name="connsiteX25" fmla="*/ 819626 w 860393"/>
                <a:gd name="connsiteY25" fmla="*/ 982218 h 1348549"/>
                <a:gd name="connsiteX26" fmla="*/ 820769 w 860393"/>
                <a:gd name="connsiteY26" fmla="*/ 978789 h 1348549"/>
                <a:gd name="connsiteX27" fmla="*/ 819150 w 860393"/>
                <a:gd name="connsiteY27" fmla="*/ 979075 h 1348549"/>
                <a:gd name="connsiteX28" fmla="*/ 822103 w 860393"/>
                <a:gd name="connsiteY28" fmla="*/ 977075 h 1348549"/>
                <a:gd name="connsiteX29" fmla="*/ 818959 w 860393"/>
                <a:gd name="connsiteY29" fmla="*/ 977455 h 1348549"/>
                <a:gd name="connsiteX30" fmla="*/ 813816 w 860393"/>
                <a:gd name="connsiteY30" fmla="*/ 974884 h 1348549"/>
                <a:gd name="connsiteX31" fmla="*/ 814673 w 860393"/>
                <a:gd name="connsiteY31" fmla="*/ 968407 h 1348549"/>
                <a:gd name="connsiteX32" fmla="*/ 812863 w 860393"/>
                <a:gd name="connsiteY32" fmla="*/ 966978 h 1348549"/>
                <a:gd name="connsiteX33" fmla="*/ 809911 w 860393"/>
                <a:gd name="connsiteY33" fmla="*/ 968978 h 1348549"/>
                <a:gd name="connsiteX34" fmla="*/ 807720 w 860393"/>
                <a:gd name="connsiteY34" fmla="*/ 964501 h 1348549"/>
                <a:gd name="connsiteX35" fmla="*/ 809054 w 860393"/>
                <a:gd name="connsiteY35" fmla="*/ 962692 h 1348549"/>
                <a:gd name="connsiteX36" fmla="*/ 807530 w 860393"/>
                <a:gd name="connsiteY36" fmla="*/ 962882 h 1348549"/>
                <a:gd name="connsiteX37" fmla="*/ 806863 w 860393"/>
                <a:gd name="connsiteY37" fmla="*/ 958120 h 1348549"/>
                <a:gd name="connsiteX38" fmla="*/ 803720 w 860393"/>
                <a:gd name="connsiteY38" fmla="*/ 958501 h 1348549"/>
                <a:gd name="connsiteX39" fmla="*/ 801338 w 860393"/>
                <a:gd name="connsiteY39" fmla="*/ 952405 h 1348549"/>
                <a:gd name="connsiteX40" fmla="*/ 799433 w 860393"/>
                <a:gd name="connsiteY40" fmla="*/ 949452 h 1348549"/>
                <a:gd name="connsiteX41" fmla="*/ 795814 w 860393"/>
                <a:gd name="connsiteY41" fmla="*/ 946690 h 1348549"/>
                <a:gd name="connsiteX42" fmla="*/ 790289 w 860393"/>
                <a:gd name="connsiteY42" fmla="*/ 940975 h 1348549"/>
                <a:gd name="connsiteX43" fmla="*/ 785717 w 860393"/>
                <a:gd name="connsiteY43" fmla="*/ 930402 h 1348549"/>
                <a:gd name="connsiteX44" fmla="*/ 779240 w 860393"/>
                <a:gd name="connsiteY44" fmla="*/ 929640 h 1348549"/>
                <a:gd name="connsiteX45" fmla="*/ 770572 w 860393"/>
                <a:gd name="connsiteY45" fmla="*/ 924306 h 1348549"/>
                <a:gd name="connsiteX46" fmla="*/ 764762 w 860393"/>
                <a:gd name="connsiteY46" fmla="*/ 916972 h 1348549"/>
                <a:gd name="connsiteX47" fmla="*/ 761619 w 860393"/>
                <a:gd name="connsiteY47" fmla="*/ 917448 h 1348549"/>
                <a:gd name="connsiteX48" fmla="*/ 758857 w 860393"/>
                <a:gd name="connsiteY48" fmla="*/ 920972 h 1348549"/>
                <a:gd name="connsiteX49" fmla="*/ 757047 w 860393"/>
                <a:gd name="connsiteY49" fmla="*/ 919543 h 1348549"/>
                <a:gd name="connsiteX50" fmla="*/ 755904 w 860393"/>
                <a:gd name="connsiteY50" fmla="*/ 910114 h 1348549"/>
                <a:gd name="connsiteX51" fmla="*/ 750570 w 860393"/>
                <a:gd name="connsiteY51" fmla="*/ 906018 h 1348549"/>
                <a:gd name="connsiteX52" fmla="*/ 754285 w 860393"/>
                <a:gd name="connsiteY52" fmla="*/ 897541 h 1348549"/>
                <a:gd name="connsiteX53" fmla="*/ 743617 w 860393"/>
                <a:gd name="connsiteY53" fmla="*/ 889254 h 1348549"/>
                <a:gd name="connsiteX54" fmla="*/ 735044 w 860393"/>
                <a:gd name="connsiteY54" fmla="*/ 872680 h 1348549"/>
                <a:gd name="connsiteX55" fmla="*/ 727996 w 860393"/>
                <a:gd name="connsiteY55" fmla="*/ 867156 h 1348549"/>
                <a:gd name="connsiteX56" fmla="*/ 727996 w 860393"/>
                <a:gd name="connsiteY56" fmla="*/ 867156 h 1348549"/>
                <a:gd name="connsiteX57" fmla="*/ 725424 w 860393"/>
                <a:gd name="connsiteY57" fmla="*/ 872300 h 1348549"/>
                <a:gd name="connsiteX58" fmla="*/ 725043 w 860393"/>
                <a:gd name="connsiteY58" fmla="*/ 882015 h 1348549"/>
                <a:gd name="connsiteX59" fmla="*/ 723424 w 860393"/>
                <a:gd name="connsiteY59" fmla="*/ 882205 h 1348549"/>
                <a:gd name="connsiteX60" fmla="*/ 722090 w 860393"/>
                <a:gd name="connsiteY60" fmla="*/ 883920 h 1348549"/>
                <a:gd name="connsiteX61" fmla="*/ 720280 w 860393"/>
                <a:gd name="connsiteY61" fmla="*/ 882587 h 1348549"/>
                <a:gd name="connsiteX62" fmla="*/ 717709 w 860393"/>
                <a:gd name="connsiteY62" fmla="*/ 887730 h 1348549"/>
                <a:gd name="connsiteX63" fmla="*/ 715994 w 860393"/>
                <a:gd name="connsiteY63" fmla="*/ 886301 h 1348549"/>
                <a:gd name="connsiteX64" fmla="*/ 715613 w 860393"/>
                <a:gd name="connsiteY64" fmla="*/ 883158 h 1348549"/>
                <a:gd name="connsiteX65" fmla="*/ 694849 w 860393"/>
                <a:gd name="connsiteY65" fmla="*/ 871347 h 1348549"/>
                <a:gd name="connsiteX66" fmla="*/ 692467 w 860393"/>
                <a:gd name="connsiteY66" fmla="*/ 865251 h 1348549"/>
                <a:gd name="connsiteX67" fmla="*/ 690848 w 860393"/>
                <a:gd name="connsiteY67" fmla="*/ 852678 h 1348549"/>
                <a:gd name="connsiteX68" fmla="*/ 687610 w 860393"/>
                <a:gd name="connsiteY68" fmla="*/ 840200 h 1348549"/>
                <a:gd name="connsiteX69" fmla="*/ 688657 w 860393"/>
                <a:gd name="connsiteY69" fmla="*/ 835247 h 1348549"/>
                <a:gd name="connsiteX70" fmla="*/ 694849 w 860393"/>
                <a:gd name="connsiteY70" fmla="*/ 821626 h 1348549"/>
                <a:gd name="connsiteX71" fmla="*/ 696468 w 860393"/>
                <a:gd name="connsiteY71" fmla="*/ 821436 h 1348549"/>
                <a:gd name="connsiteX72" fmla="*/ 697421 w 860393"/>
                <a:gd name="connsiteY72" fmla="*/ 816483 h 1348549"/>
                <a:gd name="connsiteX73" fmla="*/ 699040 w 860393"/>
                <a:gd name="connsiteY73" fmla="*/ 816293 h 1348549"/>
                <a:gd name="connsiteX74" fmla="*/ 697039 w 860393"/>
                <a:gd name="connsiteY74" fmla="*/ 813340 h 1348549"/>
                <a:gd name="connsiteX75" fmla="*/ 697611 w 860393"/>
                <a:gd name="connsiteY75" fmla="*/ 805243 h 1348549"/>
                <a:gd name="connsiteX76" fmla="*/ 696087 w 860393"/>
                <a:gd name="connsiteY76" fmla="*/ 805529 h 1348549"/>
                <a:gd name="connsiteX77" fmla="*/ 693706 w 860393"/>
                <a:gd name="connsiteY77" fmla="*/ 812197 h 1348549"/>
                <a:gd name="connsiteX78" fmla="*/ 690563 w 860393"/>
                <a:gd name="connsiteY78" fmla="*/ 812578 h 1348549"/>
                <a:gd name="connsiteX79" fmla="*/ 686943 w 860393"/>
                <a:gd name="connsiteY79" fmla="*/ 809815 h 1348549"/>
                <a:gd name="connsiteX80" fmla="*/ 685229 w 860393"/>
                <a:gd name="connsiteY80" fmla="*/ 808482 h 1348549"/>
                <a:gd name="connsiteX81" fmla="*/ 681799 w 860393"/>
                <a:gd name="connsiteY81" fmla="*/ 807339 h 1348549"/>
                <a:gd name="connsiteX82" fmla="*/ 684371 w 860393"/>
                <a:gd name="connsiteY82" fmla="*/ 802196 h 1348549"/>
                <a:gd name="connsiteX83" fmla="*/ 680847 w 860393"/>
                <a:gd name="connsiteY83" fmla="*/ 799433 h 1348549"/>
                <a:gd name="connsiteX84" fmla="*/ 677513 w 860393"/>
                <a:gd name="connsiteY84" fmla="*/ 798195 h 1348549"/>
                <a:gd name="connsiteX85" fmla="*/ 671322 w 860393"/>
                <a:gd name="connsiteY85" fmla="*/ 800576 h 1348549"/>
                <a:gd name="connsiteX86" fmla="*/ 665416 w 860393"/>
                <a:gd name="connsiteY86" fmla="*/ 791718 h 1348549"/>
                <a:gd name="connsiteX87" fmla="*/ 660654 w 860393"/>
                <a:gd name="connsiteY87" fmla="*/ 792385 h 1348549"/>
                <a:gd name="connsiteX88" fmla="*/ 651986 w 860393"/>
                <a:gd name="connsiteY88" fmla="*/ 787051 h 1348549"/>
                <a:gd name="connsiteX89" fmla="*/ 649605 w 860393"/>
                <a:gd name="connsiteY89" fmla="*/ 793718 h 1348549"/>
                <a:gd name="connsiteX90" fmla="*/ 646271 w 860393"/>
                <a:gd name="connsiteY90" fmla="*/ 792575 h 1348549"/>
                <a:gd name="connsiteX91" fmla="*/ 642175 w 860393"/>
                <a:gd name="connsiteY91" fmla="*/ 797909 h 1348549"/>
                <a:gd name="connsiteX92" fmla="*/ 636080 w 860393"/>
                <a:gd name="connsiteY92" fmla="*/ 800290 h 1348549"/>
                <a:gd name="connsiteX93" fmla="*/ 635317 w 860393"/>
                <a:gd name="connsiteY93" fmla="*/ 806768 h 1348549"/>
                <a:gd name="connsiteX94" fmla="*/ 622649 w 860393"/>
                <a:gd name="connsiteY94" fmla="*/ 808387 h 1348549"/>
                <a:gd name="connsiteX95" fmla="*/ 615887 w 860393"/>
                <a:gd name="connsiteY95" fmla="*/ 806101 h 1348549"/>
                <a:gd name="connsiteX96" fmla="*/ 604075 w 860393"/>
                <a:gd name="connsiteY96" fmla="*/ 788289 h 1348549"/>
                <a:gd name="connsiteX97" fmla="*/ 595598 w 860393"/>
                <a:gd name="connsiteY97" fmla="*/ 784574 h 1348549"/>
                <a:gd name="connsiteX98" fmla="*/ 587312 w 860393"/>
                <a:gd name="connsiteY98" fmla="*/ 782479 h 1348549"/>
                <a:gd name="connsiteX99" fmla="*/ 585311 w 860393"/>
                <a:gd name="connsiteY99" fmla="*/ 779526 h 1348549"/>
                <a:gd name="connsiteX100" fmla="*/ 581978 w 860393"/>
                <a:gd name="connsiteY100" fmla="*/ 778288 h 1348549"/>
                <a:gd name="connsiteX101" fmla="*/ 579406 w 860393"/>
                <a:gd name="connsiteY101" fmla="*/ 783431 h 1348549"/>
                <a:gd name="connsiteX102" fmla="*/ 578167 w 860393"/>
                <a:gd name="connsiteY102" fmla="*/ 786860 h 1348549"/>
                <a:gd name="connsiteX103" fmla="*/ 579977 w 860393"/>
                <a:gd name="connsiteY103" fmla="*/ 788194 h 1348549"/>
                <a:gd name="connsiteX104" fmla="*/ 572072 w 860393"/>
                <a:gd name="connsiteY104" fmla="*/ 802005 h 1348549"/>
                <a:gd name="connsiteX105" fmla="*/ 558927 w 860393"/>
                <a:gd name="connsiteY105" fmla="*/ 798862 h 1348549"/>
                <a:gd name="connsiteX106" fmla="*/ 555498 w 860393"/>
                <a:gd name="connsiteY106" fmla="*/ 797719 h 1348549"/>
                <a:gd name="connsiteX107" fmla="*/ 547211 w 860393"/>
                <a:gd name="connsiteY107" fmla="*/ 782764 h 1348549"/>
                <a:gd name="connsiteX108" fmla="*/ 543878 w 860393"/>
                <a:gd name="connsiteY108" fmla="*/ 781526 h 1348549"/>
                <a:gd name="connsiteX109" fmla="*/ 541115 w 860393"/>
                <a:gd name="connsiteY109" fmla="*/ 785146 h 1348549"/>
                <a:gd name="connsiteX110" fmla="*/ 535972 w 860393"/>
                <a:gd name="connsiteY110" fmla="*/ 782574 h 1348549"/>
                <a:gd name="connsiteX111" fmla="*/ 520922 w 860393"/>
                <a:gd name="connsiteY111" fmla="*/ 778097 h 1348549"/>
                <a:gd name="connsiteX112" fmla="*/ 513493 w 860393"/>
                <a:gd name="connsiteY112" fmla="*/ 782193 h 1348549"/>
                <a:gd name="connsiteX113" fmla="*/ 509111 w 860393"/>
                <a:gd name="connsiteY113" fmla="*/ 786003 h 1348549"/>
                <a:gd name="connsiteX114" fmla="*/ 504444 w 860393"/>
                <a:gd name="connsiteY114" fmla="*/ 786575 h 1348549"/>
                <a:gd name="connsiteX115" fmla="*/ 504825 w 860393"/>
                <a:gd name="connsiteY115" fmla="*/ 789718 h 1348549"/>
                <a:gd name="connsiteX116" fmla="*/ 502634 w 860393"/>
                <a:gd name="connsiteY116" fmla="*/ 785241 h 1348549"/>
                <a:gd name="connsiteX117" fmla="*/ 495490 w 860393"/>
                <a:gd name="connsiteY117" fmla="*/ 779717 h 1348549"/>
                <a:gd name="connsiteX118" fmla="*/ 501587 w 860393"/>
                <a:gd name="connsiteY118" fmla="*/ 777335 h 1348549"/>
                <a:gd name="connsiteX119" fmla="*/ 499681 w 860393"/>
                <a:gd name="connsiteY119" fmla="*/ 774383 h 1348549"/>
                <a:gd name="connsiteX120" fmla="*/ 492538 w 860393"/>
                <a:gd name="connsiteY120" fmla="*/ 768858 h 1348549"/>
                <a:gd name="connsiteX121" fmla="*/ 492157 w 860393"/>
                <a:gd name="connsiteY121" fmla="*/ 765715 h 1348549"/>
                <a:gd name="connsiteX122" fmla="*/ 495109 w 860393"/>
                <a:gd name="connsiteY122" fmla="*/ 763714 h 1348549"/>
                <a:gd name="connsiteX123" fmla="*/ 492728 w 860393"/>
                <a:gd name="connsiteY123" fmla="*/ 757618 h 1348549"/>
                <a:gd name="connsiteX124" fmla="*/ 485775 w 860393"/>
                <a:gd name="connsiteY124" fmla="*/ 753713 h 1348549"/>
                <a:gd name="connsiteX125" fmla="*/ 483584 w 860393"/>
                <a:gd name="connsiteY125" fmla="*/ 749141 h 1348549"/>
                <a:gd name="connsiteX126" fmla="*/ 480441 w 860393"/>
                <a:gd name="connsiteY126" fmla="*/ 749522 h 1348549"/>
                <a:gd name="connsiteX127" fmla="*/ 478441 w 860393"/>
                <a:gd name="connsiteY127" fmla="*/ 746569 h 1348549"/>
                <a:gd name="connsiteX128" fmla="*/ 467011 w 860393"/>
                <a:gd name="connsiteY128" fmla="*/ 731996 h 1348549"/>
                <a:gd name="connsiteX129" fmla="*/ 465011 w 860393"/>
                <a:gd name="connsiteY129" fmla="*/ 729043 h 1348549"/>
                <a:gd name="connsiteX130" fmla="*/ 463582 w 860393"/>
                <a:gd name="connsiteY130" fmla="*/ 730853 h 1348549"/>
                <a:gd name="connsiteX131" fmla="*/ 456152 w 860393"/>
                <a:gd name="connsiteY131" fmla="*/ 722185 h 1348549"/>
                <a:gd name="connsiteX132" fmla="*/ 448818 w 860393"/>
                <a:gd name="connsiteY132" fmla="*/ 727901 h 1348549"/>
                <a:gd name="connsiteX133" fmla="*/ 439388 w 860393"/>
                <a:gd name="connsiteY133" fmla="*/ 729139 h 1348549"/>
                <a:gd name="connsiteX134" fmla="*/ 436626 w 860393"/>
                <a:gd name="connsiteY134" fmla="*/ 732663 h 1348549"/>
                <a:gd name="connsiteX135" fmla="*/ 434054 w 860393"/>
                <a:gd name="connsiteY135" fmla="*/ 737806 h 1348549"/>
                <a:gd name="connsiteX136" fmla="*/ 432054 w 860393"/>
                <a:gd name="connsiteY136" fmla="*/ 734854 h 1348549"/>
                <a:gd name="connsiteX137" fmla="*/ 433006 w 860393"/>
                <a:gd name="connsiteY137" fmla="*/ 729901 h 1348549"/>
                <a:gd name="connsiteX138" fmla="*/ 421386 w 860393"/>
                <a:gd name="connsiteY138" fmla="*/ 726567 h 1348549"/>
                <a:gd name="connsiteX139" fmla="*/ 415290 w 860393"/>
                <a:gd name="connsiteY139" fmla="*/ 729043 h 1348549"/>
                <a:gd name="connsiteX140" fmla="*/ 410337 w 860393"/>
                <a:gd name="connsiteY140" fmla="*/ 727996 h 1348549"/>
                <a:gd name="connsiteX141" fmla="*/ 410146 w 860393"/>
                <a:gd name="connsiteY141" fmla="*/ 726472 h 1348549"/>
                <a:gd name="connsiteX142" fmla="*/ 409956 w 860393"/>
                <a:gd name="connsiteY142" fmla="*/ 724852 h 1348549"/>
                <a:gd name="connsiteX143" fmla="*/ 404622 w 860393"/>
                <a:gd name="connsiteY143" fmla="*/ 720757 h 1348549"/>
                <a:gd name="connsiteX144" fmla="*/ 403003 w 860393"/>
                <a:gd name="connsiteY144" fmla="*/ 720947 h 1348549"/>
                <a:gd name="connsiteX145" fmla="*/ 401860 w 860393"/>
                <a:gd name="connsiteY145" fmla="*/ 724281 h 1348549"/>
                <a:gd name="connsiteX146" fmla="*/ 401288 w 860393"/>
                <a:gd name="connsiteY146" fmla="*/ 719518 h 1348549"/>
                <a:gd name="connsiteX147" fmla="*/ 399288 w 860393"/>
                <a:gd name="connsiteY147" fmla="*/ 716566 h 1348549"/>
                <a:gd name="connsiteX148" fmla="*/ 394716 w 860393"/>
                <a:gd name="connsiteY148" fmla="*/ 718756 h 1348549"/>
                <a:gd name="connsiteX149" fmla="*/ 391192 w 860393"/>
                <a:gd name="connsiteY149" fmla="*/ 715994 h 1348549"/>
                <a:gd name="connsiteX150" fmla="*/ 384620 w 860393"/>
                <a:gd name="connsiteY150" fmla="*/ 715232 h 1348549"/>
                <a:gd name="connsiteX151" fmla="*/ 382238 w 860393"/>
                <a:gd name="connsiteY151" fmla="*/ 709136 h 1348549"/>
                <a:gd name="connsiteX152" fmla="*/ 379286 w 860393"/>
                <a:gd name="connsiteY152" fmla="*/ 711137 h 1348549"/>
                <a:gd name="connsiteX153" fmla="*/ 375761 w 860393"/>
                <a:gd name="connsiteY153" fmla="*/ 708374 h 1348549"/>
                <a:gd name="connsiteX154" fmla="*/ 371189 w 860393"/>
                <a:gd name="connsiteY154" fmla="*/ 710565 h 1348549"/>
                <a:gd name="connsiteX155" fmla="*/ 369284 w 860393"/>
                <a:gd name="connsiteY155" fmla="*/ 707612 h 1348549"/>
                <a:gd name="connsiteX156" fmla="*/ 368046 w 860393"/>
                <a:gd name="connsiteY156" fmla="*/ 710946 h 1348549"/>
                <a:gd name="connsiteX157" fmla="*/ 364903 w 860393"/>
                <a:gd name="connsiteY157" fmla="*/ 711327 h 1348549"/>
                <a:gd name="connsiteX158" fmla="*/ 365284 w 860393"/>
                <a:gd name="connsiteY158" fmla="*/ 714470 h 1348549"/>
                <a:gd name="connsiteX159" fmla="*/ 363760 w 860393"/>
                <a:gd name="connsiteY159" fmla="*/ 714756 h 1348549"/>
                <a:gd name="connsiteX160" fmla="*/ 361950 w 860393"/>
                <a:gd name="connsiteY160" fmla="*/ 713327 h 1348549"/>
                <a:gd name="connsiteX161" fmla="*/ 358997 w 860393"/>
                <a:gd name="connsiteY161" fmla="*/ 715327 h 1348549"/>
                <a:gd name="connsiteX162" fmla="*/ 357664 w 860393"/>
                <a:gd name="connsiteY162" fmla="*/ 717137 h 1348549"/>
                <a:gd name="connsiteX163" fmla="*/ 357188 w 860393"/>
                <a:gd name="connsiteY163" fmla="*/ 713899 h 1348549"/>
                <a:gd name="connsiteX164" fmla="*/ 355473 w 860393"/>
                <a:gd name="connsiteY164" fmla="*/ 712565 h 1348549"/>
                <a:gd name="connsiteX165" fmla="*/ 354997 w 860393"/>
                <a:gd name="connsiteY165" fmla="*/ 709422 h 1348549"/>
                <a:gd name="connsiteX166" fmla="*/ 351854 w 860393"/>
                <a:gd name="connsiteY166" fmla="*/ 709803 h 1348549"/>
                <a:gd name="connsiteX167" fmla="*/ 354235 w 860393"/>
                <a:gd name="connsiteY167" fmla="*/ 703135 h 1348549"/>
                <a:gd name="connsiteX168" fmla="*/ 360331 w 860393"/>
                <a:gd name="connsiteY168" fmla="*/ 687896 h 1348549"/>
                <a:gd name="connsiteX169" fmla="*/ 362807 w 860393"/>
                <a:gd name="connsiteY169" fmla="*/ 669893 h 1348549"/>
                <a:gd name="connsiteX170" fmla="*/ 359664 w 860393"/>
                <a:gd name="connsiteY170" fmla="*/ 670369 h 1348549"/>
                <a:gd name="connsiteX171" fmla="*/ 355949 w 860393"/>
                <a:gd name="connsiteY171" fmla="*/ 678847 h 1348549"/>
                <a:gd name="connsiteX172" fmla="*/ 350806 w 860393"/>
                <a:gd name="connsiteY172" fmla="*/ 676275 h 1348549"/>
                <a:gd name="connsiteX173" fmla="*/ 349472 w 860393"/>
                <a:gd name="connsiteY173" fmla="*/ 678085 h 1348549"/>
                <a:gd name="connsiteX174" fmla="*/ 350044 w 860393"/>
                <a:gd name="connsiteY174" fmla="*/ 682752 h 1348549"/>
                <a:gd name="connsiteX175" fmla="*/ 345091 w 860393"/>
                <a:gd name="connsiteY175" fmla="*/ 681800 h 1348549"/>
                <a:gd name="connsiteX176" fmla="*/ 341947 w 860393"/>
                <a:gd name="connsiteY176" fmla="*/ 682180 h 1348549"/>
                <a:gd name="connsiteX177" fmla="*/ 334899 w 860393"/>
                <a:gd name="connsiteY177" fmla="*/ 689515 h 1348549"/>
                <a:gd name="connsiteX178" fmla="*/ 332708 w 860393"/>
                <a:gd name="connsiteY178" fmla="*/ 685038 h 1348549"/>
                <a:gd name="connsiteX179" fmla="*/ 329374 w 860393"/>
                <a:gd name="connsiteY179" fmla="*/ 683800 h 1348549"/>
                <a:gd name="connsiteX180" fmla="*/ 324803 w 860393"/>
                <a:gd name="connsiteY180" fmla="*/ 673132 h 1348549"/>
                <a:gd name="connsiteX181" fmla="*/ 323945 w 860393"/>
                <a:gd name="connsiteY181" fmla="*/ 666845 h 1348549"/>
                <a:gd name="connsiteX182" fmla="*/ 321945 w 860393"/>
                <a:gd name="connsiteY182" fmla="*/ 663893 h 1348549"/>
                <a:gd name="connsiteX183" fmla="*/ 318611 w 860393"/>
                <a:gd name="connsiteY183" fmla="*/ 662750 h 1348549"/>
                <a:gd name="connsiteX184" fmla="*/ 316039 w 860393"/>
                <a:gd name="connsiteY184" fmla="*/ 667893 h 1348549"/>
                <a:gd name="connsiteX185" fmla="*/ 316611 w 860393"/>
                <a:gd name="connsiteY185" fmla="*/ 659797 h 1348549"/>
                <a:gd name="connsiteX186" fmla="*/ 314230 w 860393"/>
                <a:gd name="connsiteY186" fmla="*/ 653701 h 1348549"/>
                <a:gd name="connsiteX187" fmla="*/ 305753 w 860393"/>
                <a:gd name="connsiteY187" fmla="*/ 649891 h 1348549"/>
                <a:gd name="connsiteX188" fmla="*/ 306705 w 860393"/>
                <a:gd name="connsiteY188" fmla="*/ 645033 h 1348549"/>
                <a:gd name="connsiteX189" fmla="*/ 309944 w 860393"/>
                <a:gd name="connsiteY189" fmla="*/ 644557 h 1348549"/>
                <a:gd name="connsiteX190" fmla="*/ 307467 w 860393"/>
                <a:gd name="connsiteY190" fmla="*/ 638461 h 1348549"/>
                <a:gd name="connsiteX191" fmla="*/ 312230 w 860393"/>
                <a:gd name="connsiteY191" fmla="*/ 637889 h 1348549"/>
                <a:gd name="connsiteX192" fmla="*/ 313468 w 860393"/>
                <a:gd name="connsiteY192" fmla="*/ 634555 h 1348549"/>
                <a:gd name="connsiteX193" fmla="*/ 319183 w 860393"/>
                <a:gd name="connsiteY193" fmla="*/ 629031 h 1348549"/>
                <a:gd name="connsiteX194" fmla="*/ 318897 w 860393"/>
                <a:gd name="connsiteY194" fmla="*/ 627412 h 1348549"/>
                <a:gd name="connsiteX195" fmla="*/ 319945 w 860393"/>
                <a:gd name="connsiteY195" fmla="*/ 622459 h 1348549"/>
                <a:gd name="connsiteX196" fmla="*/ 321659 w 860393"/>
                <a:gd name="connsiteY196" fmla="*/ 623888 h 1348549"/>
                <a:gd name="connsiteX197" fmla="*/ 323088 w 860393"/>
                <a:gd name="connsiteY197" fmla="*/ 622078 h 1348549"/>
                <a:gd name="connsiteX198" fmla="*/ 322707 w 860393"/>
                <a:gd name="connsiteY198" fmla="*/ 618934 h 1348549"/>
                <a:gd name="connsiteX199" fmla="*/ 324993 w 860393"/>
                <a:gd name="connsiteY199" fmla="*/ 612172 h 1348549"/>
                <a:gd name="connsiteX200" fmla="*/ 316706 w 860393"/>
                <a:gd name="connsiteY200" fmla="*/ 610076 h 1348549"/>
                <a:gd name="connsiteX201" fmla="*/ 317849 w 860393"/>
                <a:gd name="connsiteY201" fmla="*/ 606647 h 1348549"/>
                <a:gd name="connsiteX202" fmla="*/ 315563 w 860393"/>
                <a:gd name="connsiteY202" fmla="*/ 600551 h 1348549"/>
                <a:gd name="connsiteX203" fmla="*/ 323183 w 860393"/>
                <a:gd name="connsiteY203" fmla="*/ 597980 h 1348549"/>
                <a:gd name="connsiteX204" fmla="*/ 322802 w 860393"/>
                <a:gd name="connsiteY204" fmla="*/ 594836 h 1348549"/>
                <a:gd name="connsiteX205" fmla="*/ 327374 w 860393"/>
                <a:gd name="connsiteY205" fmla="*/ 592646 h 1348549"/>
                <a:gd name="connsiteX206" fmla="*/ 328327 w 860393"/>
                <a:gd name="connsiteY206" fmla="*/ 587693 h 1348549"/>
                <a:gd name="connsiteX207" fmla="*/ 334613 w 860393"/>
                <a:gd name="connsiteY207" fmla="*/ 586930 h 1348549"/>
                <a:gd name="connsiteX208" fmla="*/ 336804 w 860393"/>
                <a:gd name="connsiteY208" fmla="*/ 578644 h 1348549"/>
                <a:gd name="connsiteX209" fmla="*/ 338519 w 860393"/>
                <a:gd name="connsiteY209" fmla="*/ 579977 h 1348549"/>
                <a:gd name="connsiteX210" fmla="*/ 341090 w 860393"/>
                <a:gd name="connsiteY210" fmla="*/ 574834 h 1348549"/>
                <a:gd name="connsiteX211" fmla="*/ 339090 w 860393"/>
                <a:gd name="connsiteY211" fmla="*/ 571881 h 1348549"/>
                <a:gd name="connsiteX212" fmla="*/ 341852 w 860393"/>
                <a:gd name="connsiteY212" fmla="*/ 568357 h 1348549"/>
                <a:gd name="connsiteX213" fmla="*/ 339471 w 860393"/>
                <a:gd name="connsiteY213" fmla="*/ 562261 h 1348549"/>
                <a:gd name="connsiteX214" fmla="*/ 339280 w 860393"/>
                <a:gd name="connsiteY214" fmla="*/ 560642 h 1348549"/>
                <a:gd name="connsiteX215" fmla="*/ 335185 w 860393"/>
                <a:gd name="connsiteY215" fmla="*/ 553212 h 1348549"/>
                <a:gd name="connsiteX216" fmla="*/ 320516 w 860393"/>
                <a:gd name="connsiteY216" fmla="*/ 539020 h 1348549"/>
                <a:gd name="connsiteX217" fmla="*/ 312039 w 860393"/>
                <a:gd name="connsiteY217" fmla="*/ 535305 h 1348549"/>
                <a:gd name="connsiteX218" fmla="*/ 309658 w 860393"/>
                <a:gd name="connsiteY218" fmla="*/ 529114 h 1348549"/>
                <a:gd name="connsiteX219" fmla="*/ 311182 w 860393"/>
                <a:gd name="connsiteY219" fmla="*/ 528923 h 1348549"/>
                <a:gd name="connsiteX220" fmla="*/ 320040 w 860393"/>
                <a:gd name="connsiteY220" fmla="*/ 523018 h 1348549"/>
                <a:gd name="connsiteX221" fmla="*/ 320802 w 860393"/>
                <a:gd name="connsiteY221" fmla="*/ 516541 h 1348549"/>
                <a:gd name="connsiteX222" fmla="*/ 318421 w 860393"/>
                <a:gd name="connsiteY222" fmla="*/ 510349 h 1348549"/>
                <a:gd name="connsiteX223" fmla="*/ 316801 w 860393"/>
                <a:gd name="connsiteY223" fmla="*/ 497776 h 1348549"/>
                <a:gd name="connsiteX224" fmla="*/ 325279 w 860393"/>
                <a:gd name="connsiteY224" fmla="*/ 488632 h 1348549"/>
                <a:gd name="connsiteX225" fmla="*/ 329851 w 860393"/>
                <a:gd name="connsiteY225" fmla="*/ 473678 h 1348549"/>
                <a:gd name="connsiteX226" fmla="*/ 337471 w 860393"/>
                <a:gd name="connsiteY226" fmla="*/ 471107 h 1348549"/>
                <a:gd name="connsiteX227" fmla="*/ 342995 w 860393"/>
                <a:gd name="connsiteY227" fmla="*/ 463963 h 1348549"/>
                <a:gd name="connsiteX228" fmla="*/ 345567 w 860393"/>
                <a:gd name="connsiteY228" fmla="*/ 458819 h 1348549"/>
                <a:gd name="connsiteX229" fmla="*/ 353282 w 860393"/>
                <a:gd name="connsiteY229" fmla="*/ 456247 h 1348549"/>
                <a:gd name="connsiteX230" fmla="*/ 360521 w 860393"/>
                <a:gd name="connsiteY230" fmla="*/ 437674 h 1348549"/>
                <a:gd name="connsiteX231" fmla="*/ 359473 w 860393"/>
                <a:gd name="connsiteY231" fmla="*/ 429768 h 1348549"/>
                <a:gd name="connsiteX232" fmla="*/ 357092 w 860393"/>
                <a:gd name="connsiteY232" fmla="*/ 423672 h 1348549"/>
                <a:gd name="connsiteX233" fmla="*/ 357473 w 860393"/>
                <a:gd name="connsiteY233" fmla="*/ 414052 h 1348549"/>
                <a:gd name="connsiteX234" fmla="*/ 349948 w 860393"/>
                <a:gd name="connsiteY234" fmla="*/ 392525 h 1348549"/>
                <a:gd name="connsiteX235" fmla="*/ 365665 w 860393"/>
                <a:gd name="connsiteY235" fmla="*/ 377666 h 1348549"/>
                <a:gd name="connsiteX236" fmla="*/ 369665 w 860393"/>
                <a:gd name="connsiteY236" fmla="*/ 370808 h 1348549"/>
                <a:gd name="connsiteX237" fmla="*/ 365665 w 860393"/>
                <a:gd name="connsiteY237" fmla="*/ 364903 h 1348549"/>
                <a:gd name="connsiteX238" fmla="*/ 364236 w 860393"/>
                <a:gd name="connsiteY238" fmla="*/ 353854 h 1348549"/>
                <a:gd name="connsiteX239" fmla="*/ 361664 w 860393"/>
                <a:gd name="connsiteY239" fmla="*/ 346138 h 1348549"/>
                <a:gd name="connsiteX240" fmla="*/ 371951 w 860393"/>
                <a:gd name="connsiteY240" fmla="*/ 338423 h 1348549"/>
                <a:gd name="connsiteX241" fmla="*/ 375095 w 860393"/>
                <a:gd name="connsiteY241" fmla="*/ 338042 h 1348549"/>
                <a:gd name="connsiteX242" fmla="*/ 383096 w 860393"/>
                <a:gd name="connsiteY242" fmla="*/ 325755 h 1348549"/>
                <a:gd name="connsiteX243" fmla="*/ 387287 w 860393"/>
                <a:gd name="connsiteY243" fmla="*/ 320421 h 1348549"/>
                <a:gd name="connsiteX244" fmla="*/ 392335 w 860393"/>
                <a:gd name="connsiteY244" fmla="*/ 310134 h 1348549"/>
                <a:gd name="connsiteX245" fmla="*/ 397669 w 860393"/>
                <a:gd name="connsiteY245" fmla="*/ 314230 h 1348549"/>
                <a:gd name="connsiteX246" fmla="*/ 400717 w 860393"/>
                <a:gd name="connsiteY246" fmla="*/ 312325 h 1348549"/>
                <a:gd name="connsiteX247" fmla="*/ 405003 w 860393"/>
                <a:gd name="connsiteY247" fmla="*/ 308515 h 1348549"/>
                <a:gd name="connsiteX248" fmla="*/ 404241 w 860393"/>
                <a:gd name="connsiteY248" fmla="*/ 302228 h 1348549"/>
                <a:gd name="connsiteX249" fmla="*/ 408146 w 860393"/>
                <a:gd name="connsiteY249" fmla="*/ 295275 h 1348549"/>
                <a:gd name="connsiteX250" fmla="*/ 414052 w 860393"/>
                <a:gd name="connsiteY250" fmla="*/ 291370 h 1348549"/>
                <a:gd name="connsiteX251" fmla="*/ 427672 w 860393"/>
                <a:gd name="connsiteY251" fmla="*/ 297656 h 1348549"/>
                <a:gd name="connsiteX252" fmla="*/ 434912 w 860393"/>
                <a:gd name="connsiteY252" fmla="*/ 291846 h 1348549"/>
                <a:gd name="connsiteX253" fmla="*/ 442246 w 860393"/>
                <a:gd name="connsiteY253" fmla="*/ 273272 h 1348549"/>
                <a:gd name="connsiteX254" fmla="*/ 450723 w 860393"/>
                <a:gd name="connsiteY254" fmla="*/ 264223 h 1348549"/>
                <a:gd name="connsiteX255" fmla="*/ 453962 w 860393"/>
                <a:gd name="connsiteY255" fmla="*/ 252603 h 1348549"/>
                <a:gd name="connsiteX256" fmla="*/ 455771 w 860393"/>
                <a:gd name="connsiteY256" fmla="*/ 253936 h 1348549"/>
                <a:gd name="connsiteX257" fmla="*/ 463487 w 860393"/>
                <a:gd name="connsiteY257" fmla="*/ 264223 h 1348549"/>
                <a:gd name="connsiteX258" fmla="*/ 468821 w 860393"/>
                <a:gd name="connsiteY258" fmla="*/ 268319 h 1348549"/>
                <a:gd name="connsiteX259" fmla="*/ 471773 w 860393"/>
                <a:gd name="connsiteY259" fmla="*/ 266319 h 1348549"/>
                <a:gd name="connsiteX260" fmla="*/ 480060 w 860393"/>
                <a:gd name="connsiteY260" fmla="*/ 268510 h 1348549"/>
                <a:gd name="connsiteX261" fmla="*/ 485965 w 860393"/>
                <a:gd name="connsiteY261" fmla="*/ 264509 h 1348549"/>
                <a:gd name="connsiteX262" fmla="*/ 485394 w 860393"/>
                <a:gd name="connsiteY262" fmla="*/ 259842 h 1348549"/>
                <a:gd name="connsiteX263" fmla="*/ 488156 w 860393"/>
                <a:gd name="connsiteY263" fmla="*/ 256222 h 1348549"/>
                <a:gd name="connsiteX264" fmla="*/ 487299 w 860393"/>
                <a:gd name="connsiteY264" fmla="*/ 249936 h 1348549"/>
                <a:gd name="connsiteX265" fmla="*/ 488156 w 860393"/>
                <a:gd name="connsiteY265" fmla="*/ 243459 h 1348549"/>
                <a:gd name="connsiteX266" fmla="*/ 485299 w 860393"/>
                <a:gd name="connsiteY266" fmla="*/ 234124 h 1348549"/>
                <a:gd name="connsiteX267" fmla="*/ 487680 w 860393"/>
                <a:gd name="connsiteY267" fmla="*/ 227457 h 1348549"/>
                <a:gd name="connsiteX268" fmla="*/ 489204 w 860393"/>
                <a:gd name="connsiteY268" fmla="*/ 214408 h 1348549"/>
                <a:gd name="connsiteX269" fmla="*/ 487013 w 860393"/>
                <a:gd name="connsiteY269" fmla="*/ 209836 h 1348549"/>
                <a:gd name="connsiteX270" fmla="*/ 489775 w 860393"/>
                <a:gd name="connsiteY270" fmla="*/ 206311 h 1348549"/>
                <a:gd name="connsiteX271" fmla="*/ 481108 w 860393"/>
                <a:gd name="connsiteY271" fmla="*/ 188214 h 1348549"/>
                <a:gd name="connsiteX272" fmla="*/ 472249 w 860393"/>
                <a:gd name="connsiteY272" fmla="*/ 194119 h 1348549"/>
                <a:gd name="connsiteX273" fmla="*/ 469582 w 860393"/>
                <a:gd name="connsiteY273" fmla="*/ 186404 h 1348549"/>
                <a:gd name="connsiteX274" fmla="*/ 459581 w 860393"/>
                <a:gd name="connsiteY274" fmla="*/ 182880 h 1348549"/>
                <a:gd name="connsiteX275" fmla="*/ 445389 w 860393"/>
                <a:gd name="connsiteY275" fmla="*/ 184690 h 1348549"/>
                <a:gd name="connsiteX276" fmla="*/ 442436 w 860393"/>
                <a:gd name="connsiteY276" fmla="*/ 186690 h 1348549"/>
                <a:gd name="connsiteX277" fmla="*/ 441484 w 860393"/>
                <a:gd name="connsiteY277" fmla="*/ 204406 h 1348549"/>
                <a:gd name="connsiteX278" fmla="*/ 435102 w 860393"/>
                <a:gd name="connsiteY278" fmla="*/ 205264 h 1348549"/>
                <a:gd name="connsiteX279" fmla="*/ 431578 w 860393"/>
                <a:gd name="connsiteY279" fmla="*/ 202501 h 1348549"/>
                <a:gd name="connsiteX280" fmla="*/ 428149 w 860393"/>
                <a:gd name="connsiteY280" fmla="*/ 188500 h 1348549"/>
                <a:gd name="connsiteX281" fmla="*/ 424244 w 860393"/>
                <a:gd name="connsiteY281" fmla="*/ 182594 h 1348549"/>
                <a:gd name="connsiteX282" fmla="*/ 431959 w 860393"/>
                <a:gd name="connsiteY282" fmla="*/ 180022 h 1348549"/>
                <a:gd name="connsiteX283" fmla="*/ 429768 w 860393"/>
                <a:gd name="connsiteY283" fmla="*/ 175450 h 1348549"/>
                <a:gd name="connsiteX284" fmla="*/ 430339 w 860393"/>
                <a:gd name="connsiteY284" fmla="*/ 167354 h 1348549"/>
                <a:gd name="connsiteX285" fmla="*/ 435197 w 860393"/>
                <a:gd name="connsiteY285" fmla="*/ 155543 h 1348549"/>
                <a:gd name="connsiteX286" fmla="*/ 429673 w 860393"/>
                <a:gd name="connsiteY286" fmla="*/ 149828 h 1348549"/>
                <a:gd name="connsiteX287" fmla="*/ 426530 w 860393"/>
                <a:gd name="connsiteY287" fmla="*/ 150209 h 1348549"/>
                <a:gd name="connsiteX288" fmla="*/ 423196 w 860393"/>
                <a:gd name="connsiteY288" fmla="*/ 149066 h 1348549"/>
                <a:gd name="connsiteX289" fmla="*/ 425101 w 860393"/>
                <a:gd name="connsiteY289" fmla="*/ 139160 h 1348549"/>
                <a:gd name="connsiteX290" fmla="*/ 430054 w 860393"/>
                <a:gd name="connsiteY290" fmla="*/ 140113 h 1348549"/>
                <a:gd name="connsiteX291" fmla="*/ 432625 w 860393"/>
                <a:gd name="connsiteY291" fmla="*/ 135064 h 1348549"/>
                <a:gd name="connsiteX292" fmla="*/ 430435 w 860393"/>
                <a:gd name="connsiteY292" fmla="*/ 130492 h 1348549"/>
                <a:gd name="connsiteX293" fmla="*/ 414814 w 860393"/>
                <a:gd name="connsiteY293" fmla="*/ 134112 h 1348549"/>
                <a:gd name="connsiteX294" fmla="*/ 406146 w 860393"/>
                <a:gd name="connsiteY294" fmla="*/ 141637 h 1348549"/>
                <a:gd name="connsiteX295" fmla="*/ 398336 w 860393"/>
                <a:gd name="connsiteY295" fmla="*/ 142589 h 1348549"/>
                <a:gd name="connsiteX296" fmla="*/ 389001 w 860393"/>
                <a:gd name="connsiteY296" fmla="*/ 145351 h 1348549"/>
                <a:gd name="connsiteX297" fmla="*/ 378714 w 860393"/>
                <a:gd name="connsiteY297" fmla="*/ 140303 h 1348549"/>
                <a:gd name="connsiteX298" fmla="*/ 371665 w 860393"/>
                <a:gd name="connsiteY298" fmla="*/ 134779 h 1348549"/>
                <a:gd name="connsiteX299" fmla="*/ 359759 w 860393"/>
                <a:gd name="connsiteY299" fmla="*/ 129826 h 1348549"/>
                <a:gd name="connsiteX300" fmla="*/ 357378 w 860393"/>
                <a:gd name="connsiteY300" fmla="*/ 123730 h 1348549"/>
                <a:gd name="connsiteX301" fmla="*/ 350330 w 860393"/>
                <a:gd name="connsiteY301" fmla="*/ 118205 h 1348549"/>
                <a:gd name="connsiteX302" fmla="*/ 343376 w 860393"/>
                <a:gd name="connsiteY302" fmla="*/ 114300 h 1348549"/>
                <a:gd name="connsiteX303" fmla="*/ 335471 w 860393"/>
                <a:gd name="connsiteY303" fmla="*/ 102489 h 1348549"/>
                <a:gd name="connsiteX304" fmla="*/ 326136 w 860393"/>
                <a:gd name="connsiteY304" fmla="*/ 92488 h 1348549"/>
                <a:gd name="connsiteX305" fmla="*/ 324517 w 860393"/>
                <a:gd name="connsiteY305" fmla="*/ 79819 h 1348549"/>
                <a:gd name="connsiteX306" fmla="*/ 328041 w 860393"/>
                <a:gd name="connsiteY306" fmla="*/ 69723 h 1348549"/>
                <a:gd name="connsiteX307" fmla="*/ 321183 w 860393"/>
                <a:gd name="connsiteY307" fmla="*/ 65818 h 1348549"/>
                <a:gd name="connsiteX308" fmla="*/ 314611 w 860393"/>
                <a:gd name="connsiteY308" fmla="*/ 65056 h 1348549"/>
                <a:gd name="connsiteX309" fmla="*/ 310324 w 860393"/>
                <a:gd name="connsiteY309" fmla="*/ 68770 h 1348549"/>
                <a:gd name="connsiteX310" fmla="*/ 299466 w 860393"/>
                <a:gd name="connsiteY310" fmla="*/ 71818 h 1348549"/>
                <a:gd name="connsiteX311" fmla="*/ 295084 w 860393"/>
                <a:gd name="connsiteY311" fmla="*/ 75533 h 1348549"/>
                <a:gd name="connsiteX312" fmla="*/ 293370 w 860393"/>
                <a:gd name="connsiteY312" fmla="*/ 74200 h 1348549"/>
                <a:gd name="connsiteX313" fmla="*/ 285464 w 860393"/>
                <a:gd name="connsiteY313" fmla="*/ 75152 h 1348549"/>
                <a:gd name="connsiteX314" fmla="*/ 272224 w 860393"/>
                <a:gd name="connsiteY314" fmla="*/ 59245 h 1348549"/>
                <a:gd name="connsiteX315" fmla="*/ 264319 w 860393"/>
                <a:gd name="connsiteY315" fmla="*/ 60198 h 1348549"/>
                <a:gd name="connsiteX316" fmla="*/ 262699 w 860393"/>
                <a:gd name="connsiteY316" fmla="*/ 47625 h 1348549"/>
                <a:gd name="connsiteX317" fmla="*/ 257746 w 860393"/>
                <a:gd name="connsiteY317" fmla="*/ 46672 h 1348549"/>
                <a:gd name="connsiteX318" fmla="*/ 245173 w 860393"/>
                <a:gd name="connsiteY318" fmla="*/ 48292 h 1348549"/>
                <a:gd name="connsiteX319" fmla="*/ 243935 w 860393"/>
                <a:gd name="connsiteY319" fmla="*/ 51625 h 1348549"/>
                <a:gd name="connsiteX320" fmla="*/ 222409 w 860393"/>
                <a:gd name="connsiteY320" fmla="*/ 46291 h 1348549"/>
                <a:gd name="connsiteX321" fmla="*/ 211550 w 860393"/>
                <a:gd name="connsiteY321" fmla="*/ 36481 h 1348549"/>
                <a:gd name="connsiteX322" fmla="*/ 206883 w 860393"/>
                <a:gd name="connsiteY322" fmla="*/ 37052 h 1348549"/>
                <a:gd name="connsiteX323" fmla="*/ 202692 w 860393"/>
                <a:gd name="connsiteY323" fmla="*/ 29623 h 1348549"/>
                <a:gd name="connsiteX324" fmla="*/ 199549 w 860393"/>
                <a:gd name="connsiteY324" fmla="*/ 30004 h 1348549"/>
                <a:gd name="connsiteX325" fmla="*/ 195167 w 860393"/>
                <a:gd name="connsiteY325" fmla="*/ 33814 h 1348549"/>
                <a:gd name="connsiteX326" fmla="*/ 189452 w 860393"/>
                <a:gd name="connsiteY326" fmla="*/ 26479 h 1348549"/>
                <a:gd name="connsiteX327" fmla="*/ 184309 w 860393"/>
                <a:gd name="connsiteY327" fmla="*/ 23908 h 1348549"/>
                <a:gd name="connsiteX328" fmla="*/ 175831 w 860393"/>
                <a:gd name="connsiteY328" fmla="*/ 33052 h 1348549"/>
                <a:gd name="connsiteX329" fmla="*/ 167926 w 860393"/>
                <a:gd name="connsiteY329" fmla="*/ 34004 h 1348549"/>
                <a:gd name="connsiteX330" fmla="*/ 165735 w 860393"/>
                <a:gd name="connsiteY330" fmla="*/ 29527 h 1348549"/>
                <a:gd name="connsiteX331" fmla="*/ 151543 w 860393"/>
                <a:gd name="connsiteY331" fmla="*/ 18478 h 1348549"/>
                <a:gd name="connsiteX332" fmla="*/ 134588 w 860393"/>
                <a:gd name="connsiteY332" fmla="*/ 11049 h 1348549"/>
                <a:gd name="connsiteX333" fmla="*/ 120301 w 860393"/>
                <a:gd name="connsiteY333" fmla="*/ 0 h 1348549"/>
                <a:gd name="connsiteX334" fmla="*/ 118967 w 860393"/>
                <a:gd name="connsiteY334" fmla="*/ 1810 h 1348549"/>
                <a:gd name="connsiteX335" fmla="*/ 115538 w 860393"/>
                <a:gd name="connsiteY335" fmla="*/ 571 h 1348549"/>
                <a:gd name="connsiteX336" fmla="*/ 111633 w 860393"/>
                <a:gd name="connsiteY336" fmla="*/ 7525 h 1348549"/>
                <a:gd name="connsiteX337" fmla="*/ 106680 w 860393"/>
                <a:gd name="connsiteY337" fmla="*/ 6572 h 1348549"/>
                <a:gd name="connsiteX338" fmla="*/ 103727 w 860393"/>
                <a:gd name="connsiteY338" fmla="*/ 8572 h 1348549"/>
                <a:gd name="connsiteX339" fmla="*/ 102965 w 860393"/>
                <a:gd name="connsiteY339" fmla="*/ 15049 h 1348549"/>
                <a:gd name="connsiteX340" fmla="*/ 98679 w 860393"/>
                <a:gd name="connsiteY340" fmla="*/ 18764 h 1348549"/>
                <a:gd name="connsiteX341" fmla="*/ 99441 w 860393"/>
                <a:gd name="connsiteY341" fmla="*/ 25146 h 1348549"/>
                <a:gd name="connsiteX342" fmla="*/ 95536 w 860393"/>
                <a:gd name="connsiteY342" fmla="*/ 32004 h 1348549"/>
                <a:gd name="connsiteX343" fmla="*/ 96298 w 860393"/>
                <a:gd name="connsiteY343" fmla="*/ 38290 h 1348549"/>
                <a:gd name="connsiteX344" fmla="*/ 90678 w 860393"/>
                <a:gd name="connsiteY344" fmla="*/ 43910 h 1348549"/>
                <a:gd name="connsiteX345" fmla="*/ 89630 w 860393"/>
                <a:gd name="connsiteY345" fmla="*/ 48768 h 1348549"/>
                <a:gd name="connsiteX346" fmla="*/ 92773 w 860393"/>
                <a:gd name="connsiteY346" fmla="*/ 48387 h 1348549"/>
                <a:gd name="connsiteX347" fmla="*/ 100108 w 860393"/>
                <a:gd name="connsiteY347" fmla="*/ 55531 h 1348549"/>
                <a:gd name="connsiteX348" fmla="*/ 107061 w 860393"/>
                <a:gd name="connsiteY348" fmla="*/ 59436 h 1348549"/>
                <a:gd name="connsiteX349" fmla="*/ 112204 w 860393"/>
                <a:gd name="connsiteY349" fmla="*/ 62008 h 1348549"/>
                <a:gd name="connsiteX350" fmla="*/ 116300 w 860393"/>
                <a:gd name="connsiteY350" fmla="*/ 69437 h 1348549"/>
                <a:gd name="connsiteX351" fmla="*/ 122491 w 860393"/>
                <a:gd name="connsiteY351" fmla="*/ 67056 h 1348549"/>
                <a:gd name="connsiteX352" fmla="*/ 124396 w 860393"/>
                <a:gd name="connsiteY352" fmla="*/ 70009 h 1348549"/>
                <a:gd name="connsiteX353" fmla="*/ 124873 w 860393"/>
                <a:gd name="connsiteY353" fmla="*/ 73152 h 1348549"/>
                <a:gd name="connsiteX354" fmla="*/ 127063 w 860393"/>
                <a:gd name="connsiteY354" fmla="*/ 77724 h 1348549"/>
                <a:gd name="connsiteX355" fmla="*/ 130397 w 860393"/>
                <a:gd name="connsiteY355" fmla="*/ 91726 h 1348549"/>
                <a:gd name="connsiteX356" fmla="*/ 128016 w 860393"/>
                <a:gd name="connsiteY356" fmla="*/ 98488 h 1348549"/>
                <a:gd name="connsiteX357" fmla="*/ 136588 w 860393"/>
                <a:gd name="connsiteY357" fmla="*/ 114967 h 1348549"/>
                <a:gd name="connsiteX358" fmla="*/ 143923 w 860393"/>
                <a:gd name="connsiteY358" fmla="*/ 122111 h 1348549"/>
                <a:gd name="connsiteX359" fmla="*/ 145256 w 860393"/>
                <a:gd name="connsiteY359" fmla="*/ 133159 h 1348549"/>
                <a:gd name="connsiteX360" fmla="*/ 142589 w 860393"/>
                <a:gd name="connsiteY360" fmla="*/ 136684 h 1348549"/>
                <a:gd name="connsiteX361" fmla="*/ 147066 w 860393"/>
                <a:gd name="connsiteY361" fmla="*/ 147352 h 1348549"/>
                <a:gd name="connsiteX362" fmla="*/ 156210 w 860393"/>
                <a:gd name="connsiteY362" fmla="*/ 155829 h 1348549"/>
                <a:gd name="connsiteX363" fmla="*/ 161163 w 860393"/>
                <a:gd name="connsiteY363" fmla="*/ 156781 h 1348549"/>
                <a:gd name="connsiteX364" fmla="*/ 164116 w 860393"/>
                <a:gd name="connsiteY364" fmla="*/ 154781 h 1348549"/>
                <a:gd name="connsiteX365" fmla="*/ 167259 w 860393"/>
                <a:gd name="connsiteY365" fmla="*/ 154400 h 1348549"/>
                <a:gd name="connsiteX366" fmla="*/ 169640 w 860393"/>
                <a:gd name="connsiteY366" fmla="*/ 160496 h 1348549"/>
                <a:gd name="connsiteX367" fmla="*/ 186595 w 860393"/>
                <a:gd name="connsiteY367" fmla="*/ 167926 h 1348549"/>
                <a:gd name="connsiteX368" fmla="*/ 189547 w 860393"/>
                <a:gd name="connsiteY368" fmla="*/ 166021 h 1348549"/>
                <a:gd name="connsiteX369" fmla="*/ 191357 w 860393"/>
                <a:gd name="connsiteY369" fmla="*/ 167354 h 1348549"/>
                <a:gd name="connsiteX370" fmla="*/ 192214 w 860393"/>
                <a:gd name="connsiteY370" fmla="*/ 173641 h 1348549"/>
                <a:gd name="connsiteX371" fmla="*/ 195739 w 860393"/>
                <a:gd name="connsiteY371" fmla="*/ 176403 h 1348549"/>
                <a:gd name="connsiteX372" fmla="*/ 204406 w 860393"/>
                <a:gd name="connsiteY372" fmla="*/ 194596 h 1348549"/>
                <a:gd name="connsiteX373" fmla="*/ 202882 w 860393"/>
                <a:gd name="connsiteY373" fmla="*/ 207550 h 1348549"/>
                <a:gd name="connsiteX374" fmla="*/ 198977 w 860393"/>
                <a:gd name="connsiteY374" fmla="*/ 214503 h 1348549"/>
                <a:gd name="connsiteX375" fmla="*/ 193072 w 860393"/>
                <a:gd name="connsiteY375" fmla="*/ 218503 h 1348549"/>
                <a:gd name="connsiteX376" fmla="*/ 191929 w 860393"/>
                <a:gd name="connsiteY376" fmla="*/ 221837 h 1348549"/>
                <a:gd name="connsiteX377" fmla="*/ 199168 w 860393"/>
                <a:gd name="connsiteY377" fmla="*/ 228886 h 1348549"/>
                <a:gd name="connsiteX378" fmla="*/ 198596 w 860393"/>
                <a:gd name="connsiteY378" fmla="*/ 236982 h 1348549"/>
                <a:gd name="connsiteX379" fmla="*/ 211455 w 860393"/>
                <a:gd name="connsiteY379" fmla="*/ 249745 h 1348549"/>
                <a:gd name="connsiteX380" fmla="*/ 207169 w 860393"/>
                <a:gd name="connsiteY380" fmla="*/ 253555 h 1348549"/>
                <a:gd name="connsiteX381" fmla="*/ 203454 w 860393"/>
                <a:gd name="connsiteY381" fmla="*/ 262033 h 1348549"/>
                <a:gd name="connsiteX382" fmla="*/ 192596 w 860393"/>
                <a:gd name="connsiteY382" fmla="*/ 265081 h 1348549"/>
                <a:gd name="connsiteX383" fmla="*/ 190976 w 860393"/>
                <a:gd name="connsiteY383" fmla="*/ 265271 h 1348549"/>
                <a:gd name="connsiteX384" fmla="*/ 186214 w 860393"/>
                <a:gd name="connsiteY384" fmla="*/ 252984 h 1348549"/>
                <a:gd name="connsiteX385" fmla="*/ 180499 w 860393"/>
                <a:gd name="connsiteY385" fmla="*/ 245745 h 1348549"/>
                <a:gd name="connsiteX386" fmla="*/ 179261 w 860393"/>
                <a:gd name="connsiteY386" fmla="*/ 236220 h 1348549"/>
                <a:gd name="connsiteX387" fmla="*/ 174117 w 860393"/>
                <a:gd name="connsiteY387" fmla="*/ 233743 h 1348549"/>
                <a:gd name="connsiteX388" fmla="*/ 165449 w 860393"/>
                <a:gd name="connsiteY388" fmla="*/ 241173 h 1348549"/>
                <a:gd name="connsiteX389" fmla="*/ 166116 w 860393"/>
                <a:gd name="connsiteY389" fmla="*/ 245936 h 1348549"/>
                <a:gd name="connsiteX390" fmla="*/ 168116 w 860393"/>
                <a:gd name="connsiteY390" fmla="*/ 248888 h 1348549"/>
                <a:gd name="connsiteX391" fmla="*/ 163925 w 860393"/>
                <a:gd name="connsiteY391" fmla="*/ 254222 h 1348549"/>
                <a:gd name="connsiteX392" fmla="*/ 162782 w 860393"/>
                <a:gd name="connsiteY392" fmla="*/ 257556 h 1348549"/>
                <a:gd name="connsiteX393" fmla="*/ 158210 w 860393"/>
                <a:gd name="connsiteY393" fmla="*/ 259747 h 1348549"/>
                <a:gd name="connsiteX394" fmla="*/ 154686 w 860393"/>
                <a:gd name="connsiteY394" fmla="*/ 256984 h 1348549"/>
                <a:gd name="connsiteX395" fmla="*/ 142018 w 860393"/>
                <a:gd name="connsiteY395" fmla="*/ 258604 h 1348549"/>
                <a:gd name="connsiteX396" fmla="*/ 140113 w 860393"/>
                <a:gd name="connsiteY396" fmla="*/ 255651 h 1348549"/>
                <a:gd name="connsiteX397" fmla="*/ 135160 w 860393"/>
                <a:gd name="connsiteY397" fmla="*/ 254698 h 1348549"/>
                <a:gd name="connsiteX398" fmla="*/ 122872 w 860393"/>
                <a:gd name="connsiteY398" fmla="*/ 259461 h 1348549"/>
                <a:gd name="connsiteX399" fmla="*/ 121920 w 860393"/>
                <a:gd name="connsiteY399" fmla="*/ 264414 h 1348549"/>
                <a:gd name="connsiteX400" fmla="*/ 115824 w 860393"/>
                <a:gd name="connsiteY400" fmla="*/ 266795 h 1348549"/>
                <a:gd name="connsiteX401" fmla="*/ 111728 w 860393"/>
                <a:gd name="connsiteY401" fmla="*/ 272129 h 1348549"/>
                <a:gd name="connsiteX402" fmla="*/ 112871 w 860393"/>
                <a:gd name="connsiteY402" fmla="*/ 281559 h 1348549"/>
                <a:gd name="connsiteX403" fmla="*/ 111919 w 860393"/>
                <a:gd name="connsiteY403" fmla="*/ 286512 h 1348549"/>
                <a:gd name="connsiteX404" fmla="*/ 105823 w 860393"/>
                <a:gd name="connsiteY404" fmla="*/ 288893 h 1348549"/>
                <a:gd name="connsiteX405" fmla="*/ 99250 w 860393"/>
                <a:gd name="connsiteY405" fmla="*/ 288131 h 1348549"/>
                <a:gd name="connsiteX406" fmla="*/ 98488 w 860393"/>
                <a:gd name="connsiteY406" fmla="*/ 294608 h 1348549"/>
                <a:gd name="connsiteX407" fmla="*/ 100679 w 860393"/>
                <a:gd name="connsiteY407" fmla="*/ 299180 h 1348549"/>
                <a:gd name="connsiteX408" fmla="*/ 99727 w 860393"/>
                <a:gd name="connsiteY408" fmla="*/ 304133 h 1348549"/>
                <a:gd name="connsiteX409" fmla="*/ 100774 w 860393"/>
                <a:gd name="connsiteY409" fmla="*/ 312039 h 1348549"/>
                <a:gd name="connsiteX410" fmla="*/ 98203 w 860393"/>
                <a:gd name="connsiteY410" fmla="*/ 317182 h 1348549"/>
                <a:gd name="connsiteX411" fmla="*/ 90869 w 860393"/>
                <a:gd name="connsiteY411" fmla="*/ 322897 h 1348549"/>
                <a:gd name="connsiteX412" fmla="*/ 90106 w 860393"/>
                <a:gd name="connsiteY412" fmla="*/ 329374 h 1348549"/>
                <a:gd name="connsiteX413" fmla="*/ 86392 w 860393"/>
                <a:gd name="connsiteY413" fmla="*/ 337947 h 1348549"/>
                <a:gd name="connsiteX414" fmla="*/ 85820 w 860393"/>
                <a:gd name="connsiteY414" fmla="*/ 345948 h 1348549"/>
                <a:gd name="connsiteX415" fmla="*/ 83058 w 860393"/>
                <a:gd name="connsiteY415" fmla="*/ 349567 h 1348549"/>
                <a:gd name="connsiteX416" fmla="*/ 81153 w 860393"/>
                <a:gd name="connsiteY416" fmla="*/ 359378 h 1348549"/>
                <a:gd name="connsiteX417" fmla="*/ 81915 w 860393"/>
                <a:gd name="connsiteY417" fmla="*/ 365760 h 1348549"/>
                <a:gd name="connsiteX418" fmla="*/ 79534 w 860393"/>
                <a:gd name="connsiteY418" fmla="*/ 372428 h 1348549"/>
                <a:gd name="connsiteX419" fmla="*/ 78010 w 860393"/>
                <a:gd name="connsiteY419" fmla="*/ 372618 h 1348549"/>
                <a:gd name="connsiteX420" fmla="*/ 77343 w 860393"/>
                <a:gd name="connsiteY420" fmla="*/ 367951 h 1348549"/>
                <a:gd name="connsiteX421" fmla="*/ 74200 w 860393"/>
                <a:gd name="connsiteY421" fmla="*/ 368332 h 1348549"/>
                <a:gd name="connsiteX422" fmla="*/ 76009 w 860393"/>
                <a:gd name="connsiteY422" fmla="*/ 382524 h 1348549"/>
                <a:gd name="connsiteX423" fmla="*/ 70295 w 860393"/>
                <a:gd name="connsiteY423" fmla="*/ 388048 h 1348549"/>
                <a:gd name="connsiteX424" fmla="*/ 62484 w 860393"/>
                <a:gd name="connsiteY424" fmla="*/ 389096 h 1348549"/>
                <a:gd name="connsiteX425" fmla="*/ 61055 w 860393"/>
                <a:gd name="connsiteY425" fmla="*/ 390811 h 1348549"/>
                <a:gd name="connsiteX426" fmla="*/ 63055 w 860393"/>
                <a:gd name="connsiteY426" fmla="*/ 393763 h 1348549"/>
                <a:gd name="connsiteX427" fmla="*/ 69628 w 860393"/>
                <a:gd name="connsiteY427" fmla="*/ 407384 h 1348549"/>
                <a:gd name="connsiteX428" fmla="*/ 70390 w 860393"/>
                <a:gd name="connsiteY428" fmla="*/ 413671 h 1348549"/>
                <a:gd name="connsiteX429" fmla="*/ 74200 w 860393"/>
                <a:gd name="connsiteY429" fmla="*/ 418052 h 1348549"/>
                <a:gd name="connsiteX430" fmla="*/ 66865 w 860393"/>
                <a:gd name="connsiteY430" fmla="*/ 423767 h 1348549"/>
                <a:gd name="connsiteX431" fmla="*/ 60007 w 860393"/>
                <a:gd name="connsiteY431" fmla="*/ 432625 h 1348549"/>
                <a:gd name="connsiteX432" fmla="*/ 57436 w 860393"/>
                <a:gd name="connsiteY432" fmla="*/ 437769 h 1348549"/>
                <a:gd name="connsiteX433" fmla="*/ 68294 w 860393"/>
                <a:gd name="connsiteY433" fmla="*/ 447675 h 1348549"/>
                <a:gd name="connsiteX434" fmla="*/ 64389 w 860393"/>
                <a:gd name="connsiteY434" fmla="*/ 454533 h 1348549"/>
                <a:gd name="connsiteX435" fmla="*/ 72104 w 860393"/>
                <a:gd name="connsiteY435" fmla="*/ 464820 h 1348549"/>
                <a:gd name="connsiteX436" fmla="*/ 66199 w 860393"/>
                <a:gd name="connsiteY436" fmla="*/ 468725 h 1348549"/>
                <a:gd name="connsiteX437" fmla="*/ 65246 w 860393"/>
                <a:gd name="connsiteY437" fmla="*/ 473678 h 1348549"/>
                <a:gd name="connsiteX438" fmla="*/ 65627 w 860393"/>
                <a:gd name="connsiteY438" fmla="*/ 476821 h 1348549"/>
                <a:gd name="connsiteX439" fmla="*/ 64389 w 860393"/>
                <a:gd name="connsiteY439" fmla="*/ 480250 h 1348549"/>
                <a:gd name="connsiteX440" fmla="*/ 56579 w 860393"/>
                <a:gd name="connsiteY440" fmla="*/ 481203 h 1348549"/>
                <a:gd name="connsiteX441" fmla="*/ 55340 w 860393"/>
                <a:gd name="connsiteY441" fmla="*/ 484537 h 1348549"/>
                <a:gd name="connsiteX442" fmla="*/ 46291 w 860393"/>
                <a:gd name="connsiteY442" fmla="*/ 488918 h 1348549"/>
                <a:gd name="connsiteX443" fmla="*/ 43910 w 860393"/>
                <a:gd name="connsiteY443" fmla="*/ 495681 h 1348549"/>
                <a:gd name="connsiteX444" fmla="*/ 39053 w 860393"/>
                <a:gd name="connsiteY444" fmla="*/ 494728 h 1348549"/>
                <a:gd name="connsiteX445" fmla="*/ 37814 w 860393"/>
                <a:gd name="connsiteY445" fmla="*/ 498062 h 1348549"/>
                <a:gd name="connsiteX446" fmla="*/ 38671 w 860393"/>
                <a:gd name="connsiteY446" fmla="*/ 504349 h 1348549"/>
                <a:gd name="connsiteX447" fmla="*/ 37433 w 860393"/>
                <a:gd name="connsiteY447" fmla="*/ 507682 h 1348549"/>
                <a:gd name="connsiteX448" fmla="*/ 33147 w 860393"/>
                <a:gd name="connsiteY448" fmla="*/ 511492 h 1348549"/>
                <a:gd name="connsiteX449" fmla="*/ 29242 w 860393"/>
                <a:gd name="connsiteY449" fmla="*/ 518350 h 1348549"/>
                <a:gd name="connsiteX450" fmla="*/ 29432 w 860393"/>
                <a:gd name="connsiteY450" fmla="*/ 519970 h 1348549"/>
                <a:gd name="connsiteX451" fmla="*/ 24860 w 860393"/>
                <a:gd name="connsiteY451" fmla="*/ 522160 h 1348549"/>
                <a:gd name="connsiteX452" fmla="*/ 19145 w 860393"/>
                <a:gd name="connsiteY452" fmla="*/ 514826 h 1348549"/>
                <a:gd name="connsiteX453" fmla="*/ 6096 w 860393"/>
                <a:gd name="connsiteY453" fmla="*/ 513302 h 1348549"/>
                <a:gd name="connsiteX454" fmla="*/ 0 w 860393"/>
                <a:gd name="connsiteY454" fmla="*/ 515684 h 1348549"/>
                <a:gd name="connsiteX455" fmla="*/ 3810 w 860393"/>
                <a:gd name="connsiteY455" fmla="*/ 532829 h 1348549"/>
                <a:gd name="connsiteX456" fmla="*/ 9144 w 860393"/>
                <a:gd name="connsiteY456" fmla="*/ 537019 h 1348549"/>
                <a:gd name="connsiteX457" fmla="*/ 13049 w 860393"/>
                <a:gd name="connsiteY457" fmla="*/ 542925 h 1348549"/>
                <a:gd name="connsiteX458" fmla="*/ 12097 w 860393"/>
                <a:gd name="connsiteY458" fmla="*/ 547783 h 1348549"/>
                <a:gd name="connsiteX459" fmla="*/ 17621 w 860393"/>
                <a:gd name="connsiteY459" fmla="*/ 553498 h 1348549"/>
                <a:gd name="connsiteX460" fmla="*/ 15526 w 860393"/>
                <a:gd name="connsiteY460" fmla="*/ 561784 h 1348549"/>
                <a:gd name="connsiteX461" fmla="*/ 15145 w 860393"/>
                <a:gd name="connsiteY461" fmla="*/ 571500 h 1348549"/>
                <a:gd name="connsiteX462" fmla="*/ 15716 w 860393"/>
                <a:gd name="connsiteY462" fmla="*/ 576263 h 1348549"/>
                <a:gd name="connsiteX463" fmla="*/ 20860 w 860393"/>
                <a:gd name="connsiteY463" fmla="*/ 578834 h 1348549"/>
                <a:gd name="connsiteX464" fmla="*/ 22288 w 860393"/>
                <a:gd name="connsiteY464" fmla="*/ 589788 h 1348549"/>
                <a:gd name="connsiteX465" fmla="*/ 29146 w 860393"/>
                <a:gd name="connsiteY465" fmla="*/ 593788 h 1348549"/>
                <a:gd name="connsiteX466" fmla="*/ 25432 w 860393"/>
                <a:gd name="connsiteY466" fmla="*/ 602266 h 1348549"/>
                <a:gd name="connsiteX467" fmla="*/ 33909 w 860393"/>
                <a:gd name="connsiteY467" fmla="*/ 605980 h 1348549"/>
                <a:gd name="connsiteX468" fmla="*/ 31432 w 860393"/>
                <a:gd name="connsiteY468" fmla="*/ 611124 h 1348549"/>
                <a:gd name="connsiteX469" fmla="*/ 33623 w 860393"/>
                <a:gd name="connsiteY469" fmla="*/ 615696 h 1348549"/>
                <a:gd name="connsiteX470" fmla="*/ 31051 w 860393"/>
                <a:gd name="connsiteY470" fmla="*/ 620744 h 1348549"/>
                <a:gd name="connsiteX471" fmla="*/ 31813 w 860393"/>
                <a:gd name="connsiteY471" fmla="*/ 627126 h 1348549"/>
                <a:gd name="connsiteX472" fmla="*/ 33814 w 860393"/>
                <a:gd name="connsiteY472" fmla="*/ 630079 h 1348549"/>
                <a:gd name="connsiteX473" fmla="*/ 29908 w 860393"/>
                <a:gd name="connsiteY473" fmla="*/ 636937 h 1348549"/>
                <a:gd name="connsiteX474" fmla="*/ 36195 w 860393"/>
                <a:gd name="connsiteY474" fmla="*/ 649034 h 1348549"/>
                <a:gd name="connsiteX475" fmla="*/ 37243 w 860393"/>
                <a:gd name="connsiteY475" fmla="*/ 656844 h 1348549"/>
                <a:gd name="connsiteX476" fmla="*/ 43910 w 860393"/>
                <a:gd name="connsiteY476" fmla="*/ 659225 h 1348549"/>
                <a:gd name="connsiteX477" fmla="*/ 40957 w 860393"/>
                <a:gd name="connsiteY477" fmla="*/ 661226 h 1348549"/>
                <a:gd name="connsiteX478" fmla="*/ 42767 w 860393"/>
                <a:gd name="connsiteY478" fmla="*/ 662559 h 1348549"/>
                <a:gd name="connsiteX479" fmla="*/ 33909 w 860393"/>
                <a:gd name="connsiteY479" fmla="*/ 668560 h 1348549"/>
                <a:gd name="connsiteX480" fmla="*/ 30766 w 860393"/>
                <a:gd name="connsiteY480" fmla="*/ 668941 h 1348549"/>
                <a:gd name="connsiteX481" fmla="*/ 24860 w 860393"/>
                <a:gd name="connsiteY481" fmla="*/ 672941 h 1348549"/>
                <a:gd name="connsiteX482" fmla="*/ 22098 w 860393"/>
                <a:gd name="connsiteY482" fmla="*/ 676465 h 1348549"/>
                <a:gd name="connsiteX483" fmla="*/ 22098 w 860393"/>
                <a:gd name="connsiteY483" fmla="*/ 689324 h 1348549"/>
                <a:gd name="connsiteX484" fmla="*/ 21336 w 860393"/>
                <a:gd name="connsiteY484" fmla="*/ 695801 h 1348549"/>
                <a:gd name="connsiteX485" fmla="*/ 24860 w 860393"/>
                <a:gd name="connsiteY485" fmla="*/ 698563 h 1348549"/>
                <a:gd name="connsiteX486" fmla="*/ 20955 w 860393"/>
                <a:gd name="connsiteY486" fmla="*/ 705422 h 1348549"/>
                <a:gd name="connsiteX487" fmla="*/ 23527 w 860393"/>
                <a:gd name="connsiteY487" fmla="*/ 713137 h 1348549"/>
                <a:gd name="connsiteX488" fmla="*/ 28480 w 860393"/>
                <a:gd name="connsiteY488" fmla="*/ 714089 h 1348549"/>
                <a:gd name="connsiteX489" fmla="*/ 28670 w 860393"/>
                <a:gd name="connsiteY489" fmla="*/ 715709 h 1348549"/>
                <a:gd name="connsiteX490" fmla="*/ 32290 w 860393"/>
                <a:gd name="connsiteY490" fmla="*/ 718471 h 1348549"/>
                <a:gd name="connsiteX491" fmla="*/ 34195 w 860393"/>
                <a:gd name="connsiteY491" fmla="*/ 721423 h 1348549"/>
                <a:gd name="connsiteX492" fmla="*/ 39338 w 860393"/>
                <a:gd name="connsiteY492" fmla="*/ 723995 h 1348549"/>
                <a:gd name="connsiteX493" fmla="*/ 36576 w 860393"/>
                <a:gd name="connsiteY493" fmla="*/ 727519 h 1348549"/>
                <a:gd name="connsiteX494" fmla="*/ 38957 w 860393"/>
                <a:gd name="connsiteY494" fmla="*/ 733615 h 1348549"/>
                <a:gd name="connsiteX495" fmla="*/ 36671 w 860393"/>
                <a:gd name="connsiteY495" fmla="*/ 740378 h 1348549"/>
                <a:gd name="connsiteX496" fmla="*/ 44767 w 860393"/>
                <a:gd name="connsiteY496" fmla="*/ 753713 h 1348549"/>
                <a:gd name="connsiteX497" fmla="*/ 56483 w 860393"/>
                <a:gd name="connsiteY497" fmla="*/ 769906 h 1348549"/>
                <a:gd name="connsiteX498" fmla="*/ 61817 w 860393"/>
                <a:gd name="connsiteY498" fmla="*/ 774001 h 1348549"/>
                <a:gd name="connsiteX499" fmla="*/ 66675 w 860393"/>
                <a:gd name="connsiteY499" fmla="*/ 775049 h 1348549"/>
                <a:gd name="connsiteX500" fmla="*/ 70675 w 860393"/>
                <a:gd name="connsiteY500" fmla="*/ 780955 h 1348549"/>
                <a:gd name="connsiteX501" fmla="*/ 67723 w 860393"/>
                <a:gd name="connsiteY501" fmla="*/ 782860 h 1348549"/>
                <a:gd name="connsiteX502" fmla="*/ 68104 w 860393"/>
                <a:gd name="connsiteY502" fmla="*/ 786098 h 1348549"/>
                <a:gd name="connsiteX503" fmla="*/ 68294 w 860393"/>
                <a:gd name="connsiteY503" fmla="*/ 787622 h 1348549"/>
                <a:gd name="connsiteX504" fmla="*/ 63817 w 860393"/>
                <a:gd name="connsiteY504" fmla="*/ 789813 h 1348549"/>
                <a:gd name="connsiteX505" fmla="*/ 64008 w 860393"/>
                <a:gd name="connsiteY505" fmla="*/ 791432 h 1348549"/>
                <a:gd name="connsiteX506" fmla="*/ 73247 w 860393"/>
                <a:gd name="connsiteY506" fmla="*/ 801434 h 1348549"/>
                <a:gd name="connsiteX507" fmla="*/ 78391 w 860393"/>
                <a:gd name="connsiteY507" fmla="*/ 804005 h 1348549"/>
                <a:gd name="connsiteX508" fmla="*/ 74676 w 860393"/>
                <a:gd name="connsiteY508" fmla="*/ 812483 h 1348549"/>
                <a:gd name="connsiteX509" fmla="*/ 71533 w 860393"/>
                <a:gd name="connsiteY509" fmla="*/ 812863 h 1348549"/>
                <a:gd name="connsiteX510" fmla="*/ 67628 w 860393"/>
                <a:gd name="connsiteY510" fmla="*/ 819817 h 1348549"/>
                <a:gd name="connsiteX511" fmla="*/ 63246 w 860393"/>
                <a:gd name="connsiteY511" fmla="*/ 823531 h 1348549"/>
                <a:gd name="connsiteX512" fmla="*/ 65437 w 860393"/>
                <a:gd name="connsiteY512" fmla="*/ 828104 h 1348549"/>
                <a:gd name="connsiteX513" fmla="*/ 68580 w 860393"/>
                <a:gd name="connsiteY513" fmla="*/ 827722 h 1348549"/>
                <a:gd name="connsiteX514" fmla="*/ 73342 w 860393"/>
                <a:gd name="connsiteY514" fmla="*/ 827056 h 1348549"/>
                <a:gd name="connsiteX515" fmla="*/ 74295 w 860393"/>
                <a:gd name="connsiteY515" fmla="*/ 822198 h 1348549"/>
                <a:gd name="connsiteX516" fmla="*/ 79057 w 860393"/>
                <a:gd name="connsiteY516" fmla="*/ 821531 h 1348549"/>
                <a:gd name="connsiteX517" fmla="*/ 79629 w 860393"/>
                <a:gd name="connsiteY517" fmla="*/ 826294 h 1348549"/>
                <a:gd name="connsiteX518" fmla="*/ 81439 w 860393"/>
                <a:gd name="connsiteY518" fmla="*/ 827627 h 1348549"/>
                <a:gd name="connsiteX519" fmla="*/ 86011 w 860393"/>
                <a:gd name="connsiteY519" fmla="*/ 825437 h 1348549"/>
                <a:gd name="connsiteX520" fmla="*/ 92297 w 860393"/>
                <a:gd name="connsiteY520" fmla="*/ 824675 h 1348549"/>
                <a:gd name="connsiteX521" fmla="*/ 96203 w 860393"/>
                <a:gd name="connsiteY521" fmla="*/ 830580 h 1348549"/>
                <a:gd name="connsiteX522" fmla="*/ 103156 w 860393"/>
                <a:gd name="connsiteY522" fmla="*/ 834485 h 1348549"/>
                <a:gd name="connsiteX523" fmla="*/ 102394 w 860393"/>
                <a:gd name="connsiteY523" fmla="*/ 841058 h 1348549"/>
                <a:gd name="connsiteX524" fmla="*/ 98679 w 860393"/>
                <a:gd name="connsiteY524" fmla="*/ 849535 h 1348549"/>
                <a:gd name="connsiteX525" fmla="*/ 100394 w 860393"/>
                <a:gd name="connsiteY525" fmla="*/ 850868 h 1348549"/>
                <a:gd name="connsiteX526" fmla="*/ 100870 w 860393"/>
                <a:gd name="connsiteY526" fmla="*/ 854012 h 1348549"/>
                <a:gd name="connsiteX527" fmla="*/ 103822 w 860393"/>
                <a:gd name="connsiteY527" fmla="*/ 852106 h 1348549"/>
                <a:gd name="connsiteX528" fmla="*/ 104394 w 860393"/>
                <a:gd name="connsiteY528" fmla="*/ 856774 h 1348549"/>
                <a:gd name="connsiteX529" fmla="*/ 101917 w 860393"/>
                <a:gd name="connsiteY529" fmla="*/ 874776 h 1348549"/>
                <a:gd name="connsiteX530" fmla="*/ 104299 w 860393"/>
                <a:gd name="connsiteY530" fmla="*/ 880872 h 1348549"/>
                <a:gd name="connsiteX531" fmla="*/ 98774 w 860393"/>
                <a:gd name="connsiteY531" fmla="*/ 888016 h 1348549"/>
                <a:gd name="connsiteX532" fmla="*/ 95631 w 860393"/>
                <a:gd name="connsiteY532" fmla="*/ 888397 h 1348549"/>
                <a:gd name="connsiteX533" fmla="*/ 89440 w 860393"/>
                <a:gd name="connsiteY533" fmla="*/ 890778 h 1348549"/>
                <a:gd name="connsiteX534" fmla="*/ 91630 w 860393"/>
                <a:gd name="connsiteY534" fmla="*/ 895350 h 1348549"/>
                <a:gd name="connsiteX535" fmla="*/ 90297 w 860393"/>
                <a:gd name="connsiteY535" fmla="*/ 897064 h 1348549"/>
                <a:gd name="connsiteX536" fmla="*/ 88868 w 860393"/>
                <a:gd name="connsiteY536" fmla="*/ 898874 h 1348549"/>
                <a:gd name="connsiteX537" fmla="*/ 82391 w 860393"/>
                <a:gd name="connsiteY537" fmla="*/ 898112 h 1348549"/>
                <a:gd name="connsiteX538" fmla="*/ 78296 w 860393"/>
                <a:gd name="connsiteY538" fmla="*/ 903446 h 1348549"/>
                <a:gd name="connsiteX539" fmla="*/ 78867 w 860393"/>
                <a:gd name="connsiteY539" fmla="*/ 908209 h 1348549"/>
                <a:gd name="connsiteX540" fmla="*/ 74104 w 860393"/>
                <a:gd name="connsiteY540" fmla="*/ 908780 h 1348549"/>
                <a:gd name="connsiteX541" fmla="*/ 75724 w 860393"/>
                <a:gd name="connsiteY541" fmla="*/ 921448 h 1348549"/>
                <a:gd name="connsiteX542" fmla="*/ 74390 w 860393"/>
                <a:gd name="connsiteY542" fmla="*/ 923163 h 1348549"/>
                <a:gd name="connsiteX543" fmla="*/ 75152 w 860393"/>
                <a:gd name="connsiteY543" fmla="*/ 929545 h 1348549"/>
                <a:gd name="connsiteX544" fmla="*/ 81153 w 860393"/>
                <a:gd name="connsiteY544" fmla="*/ 938403 h 1348549"/>
                <a:gd name="connsiteX545" fmla="*/ 88392 w 860393"/>
                <a:gd name="connsiteY545" fmla="*/ 945451 h 1348549"/>
                <a:gd name="connsiteX546" fmla="*/ 87058 w 860393"/>
                <a:gd name="connsiteY546" fmla="*/ 947261 h 1348549"/>
                <a:gd name="connsiteX547" fmla="*/ 83534 w 860393"/>
                <a:gd name="connsiteY547" fmla="*/ 944499 h 1348549"/>
                <a:gd name="connsiteX548" fmla="*/ 83058 w 860393"/>
                <a:gd name="connsiteY548" fmla="*/ 941356 h 1348549"/>
                <a:gd name="connsiteX549" fmla="*/ 81344 w 860393"/>
                <a:gd name="connsiteY549" fmla="*/ 939927 h 1348549"/>
                <a:gd name="connsiteX550" fmla="*/ 81724 w 860393"/>
                <a:gd name="connsiteY550" fmla="*/ 943070 h 1348549"/>
                <a:gd name="connsiteX551" fmla="*/ 80486 w 860393"/>
                <a:gd name="connsiteY551" fmla="*/ 946499 h 1348549"/>
                <a:gd name="connsiteX552" fmla="*/ 78962 w 860393"/>
                <a:gd name="connsiteY552" fmla="*/ 946690 h 1348549"/>
                <a:gd name="connsiteX553" fmla="*/ 78391 w 860393"/>
                <a:gd name="connsiteY553" fmla="*/ 954786 h 1348549"/>
                <a:gd name="connsiteX554" fmla="*/ 74104 w 860393"/>
                <a:gd name="connsiteY554" fmla="*/ 958501 h 1348549"/>
                <a:gd name="connsiteX555" fmla="*/ 77819 w 860393"/>
                <a:gd name="connsiteY555" fmla="*/ 962787 h 1348549"/>
                <a:gd name="connsiteX556" fmla="*/ 76676 w 860393"/>
                <a:gd name="connsiteY556" fmla="*/ 966216 h 1348549"/>
                <a:gd name="connsiteX557" fmla="*/ 73723 w 860393"/>
                <a:gd name="connsiteY557" fmla="*/ 968216 h 1348549"/>
                <a:gd name="connsiteX558" fmla="*/ 76105 w 860393"/>
                <a:gd name="connsiteY558" fmla="*/ 974312 h 1348549"/>
                <a:gd name="connsiteX559" fmla="*/ 77819 w 860393"/>
                <a:gd name="connsiteY559" fmla="*/ 975646 h 1348549"/>
                <a:gd name="connsiteX560" fmla="*/ 71723 w 860393"/>
                <a:gd name="connsiteY560" fmla="*/ 978027 h 1348549"/>
                <a:gd name="connsiteX561" fmla="*/ 72104 w 860393"/>
                <a:gd name="connsiteY561" fmla="*/ 981170 h 1348549"/>
                <a:gd name="connsiteX562" fmla="*/ 67628 w 860393"/>
                <a:gd name="connsiteY562" fmla="*/ 983361 h 1348549"/>
                <a:gd name="connsiteX563" fmla="*/ 65818 w 860393"/>
                <a:gd name="connsiteY563" fmla="*/ 982027 h 1348549"/>
                <a:gd name="connsiteX564" fmla="*/ 65056 w 860393"/>
                <a:gd name="connsiteY564" fmla="*/ 988505 h 1348549"/>
                <a:gd name="connsiteX565" fmla="*/ 70009 w 860393"/>
                <a:gd name="connsiteY565" fmla="*/ 989457 h 1348549"/>
                <a:gd name="connsiteX566" fmla="*/ 72390 w 860393"/>
                <a:gd name="connsiteY566" fmla="*/ 995648 h 1348549"/>
                <a:gd name="connsiteX567" fmla="*/ 75724 w 860393"/>
                <a:gd name="connsiteY567" fmla="*/ 996791 h 1348549"/>
                <a:gd name="connsiteX568" fmla="*/ 74581 w 860393"/>
                <a:gd name="connsiteY568" fmla="*/ 1000125 h 1348549"/>
                <a:gd name="connsiteX569" fmla="*/ 70009 w 860393"/>
                <a:gd name="connsiteY569" fmla="*/ 1002316 h 1348549"/>
                <a:gd name="connsiteX570" fmla="*/ 62294 w 860393"/>
                <a:gd name="connsiteY570" fmla="*/ 1004888 h 1348549"/>
                <a:gd name="connsiteX571" fmla="*/ 60579 w 860393"/>
                <a:gd name="connsiteY571" fmla="*/ 1003554 h 1348549"/>
                <a:gd name="connsiteX572" fmla="*/ 58388 w 860393"/>
                <a:gd name="connsiteY572" fmla="*/ 998982 h 1348549"/>
                <a:gd name="connsiteX573" fmla="*/ 54769 w 860393"/>
                <a:gd name="connsiteY573" fmla="*/ 996220 h 1348549"/>
                <a:gd name="connsiteX574" fmla="*/ 51816 w 860393"/>
                <a:gd name="connsiteY574" fmla="*/ 998220 h 1348549"/>
                <a:gd name="connsiteX575" fmla="*/ 49625 w 860393"/>
                <a:gd name="connsiteY575" fmla="*/ 993648 h 1348549"/>
                <a:gd name="connsiteX576" fmla="*/ 48673 w 860393"/>
                <a:gd name="connsiteY576" fmla="*/ 998601 h 1348549"/>
                <a:gd name="connsiteX577" fmla="*/ 46672 w 860393"/>
                <a:gd name="connsiteY577" fmla="*/ 995648 h 1348549"/>
                <a:gd name="connsiteX578" fmla="*/ 40005 w 860393"/>
                <a:gd name="connsiteY578" fmla="*/ 993362 h 1348549"/>
                <a:gd name="connsiteX579" fmla="*/ 34480 w 860393"/>
                <a:gd name="connsiteY579" fmla="*/ 987647 h 1348549"/>
                <a:gd name="connsiteX580" fmla="*/ 38386 w 860393"/>
                <a:gd name="connsiteY580" fmla="*/ 993553 h 1348549"/>
                <a:gd name="connsiteX581" fmla="*/ 35242 w 860393"/>
                <a:gd name="connsiteY581" fmla="*/ 993934 h 1348549"/>
                <a:gd name="connsiteX582" fmla="*/ 37433 w 860393"/>
                <a:gd name="connsiteY582" fmla="*/ 998410 h 1348549"/>
                <a:gd name="connsiteX583" fmla="*/ 34480 w 860393"/>
                <a:gd name="connsiteY583" fmla="*/ 1000411 h 1348549"/>
                <a:gd name="connsiteX584" fmla="*/ 34671 w 860393"/>
                <a:gd name="connsiteY584" fmla="*/ 1002030 h 1348549"/>
                <a:gd name="connsiteX585" fmla="*/ 37052 w 860393"/>
                <a:gd name="connsiteY585" fmla="*/ 1008126 h 1348549"/>
                <a:gd name="connsiteX586" fmla="*/ 36290 w 860393"/>
                <a:gd name="connsiteY586" fmla="*/ 1014603 h 1348549"/>
                <a:gd name="connsiteX587" fmla="*/ 38100 w 860393"/>
                <a:gd name="connsiteY587" fmla="*/ 1016032 h 1348549"/>
                <a:gd name="connsiteX588" fmla="*/ 41243 w 860393"/>
                <a:gd name="connsiteY588" fmla="*/ 1015651 h 1348549"/>
                <a:gd name="connsiteX589" fmla="*/ 41434 w 860393"/>
                <a:gd name="connsiteY589" fmla="*/ 1017175 h 1348549"/>
                <a:gd name="connsiteX590" fmla="*/ 41624 w 860393"/>
                <a:gd name="connsiteY590" fmla="*/ 1018794 h 1348549"/>
                <a:gd name="connsiteX591" fmla="*/ 38862 w 860393"/>
                <a:gd name="connsiteY591" fmla="*/ 1022318 h 1348549"/>
                <a:gd name="connsiteX592" fmla="*/ 36766 w 860393"/>
                <a:gd name="connsiteY592" fmla="*/ 1030605 h 1348549"/>
                <a:gd name="connsiteX593" fmla="*/ 33814 w 860393"/>
                <a:gd name="connsiteY593" fmla="*/ 1032605 h 1348549"/>
                <a:gd name="connsiteX594" fmla="*/ 31432 w 860393"/>
                <a:gd name="connsiteY594" fmla="*/ 1039273 h 1348549"/>
                <a:gd name="connsiteX595" fmla="*/ 37909 w 860393"/>
                <a:gd name="connsiteY595" fmla="*/ 1040035 h 1348549"/>
                <a:gd name="connsiteX596" fmla="*/ 44101 w 860393"/>
                <a:gd name="connsiteY596" fmla="*/ 1037654 h 1348549"/>
                <a:gd name="connsiteX597" fmla="*/ 47434 w 860393"/>
                <a:gd name="connsiteY597" fmla="*/ 1038892 h 1348549"/>
                <a:gd name="connsiteX598" fmla="*/ 52388 w 860393"/>
                <a:gd name="connsiteY598" fmla="*/ 1039844 h 1348549"/>
                <a:gd name="connsiteX599" fmla="*/ 55340 w 860393"/>
                <a:gd name="connsiteY599" fmla="*/ 1037844 h 1348549"/>
                <a:gd name="connsiteX600" fmla="*/ 62008 w 860393"/>
                <a:gd name="connsiteY600" fmla="*/ 1040225 h 1348549"/>
                <a:gd name="connsiteX601" fmla="*/ 64008 w 860393"/>
                <a:gd name="connsiteY601" fmla="*/ 1043178 h 1348549"/>
                <a:gd name="connsiteX602" fmla="*/ 72676 w 860393"/>
                <a:gd name="connsiteY602" fmla="*/ 1048512 h 1348549"/>
                <a:gd name="connsiteX603" fmla="*/ 80772 w 860393"/>
                <a:gd name="connsiteY603" fmla="*/ 1049084 h 1348549"/>
                <a:gd name="connsiteX604" fmla="*/ 85154 w 860393"/>
                <a:gd name="connsiteY604" fmla="*/ 1045273 h 1348549"/>
                <a:gd name="connsiteX605" fmla="*/ 83725 w 860393"/>
                <a:gd name="connsiteY605" fmla="*/ 1047083 h 1348549"/>
                <a:gd name="connsiteX606" fmla="*/ 84106 w 860393"/>
                <a:gd name="connsiteY606" fmla="*/ 1050227 h 1348549"/>
                <a:gd name="connsiteX607" fmla="*/ 85344 w 860393"/>
                <a:gd name="connsiteY607" fmla="*/ 1046893 h 1348549"/>
                <a:gd name="connsiteX608" fmla="*/ 87058 w 860393"/>
                <a:gd name="connsiteY608" fmla="*/ 1048226 h 1348549"/>
                <a:gd name="connsiteX609" fmla="*/ 92012 w 860393"/>
                <a:gd name="connsiteY609" fmla="*/ 1049274 h 1348549"/>
                <a:gd name="connsiteX610" fmla="*/ 92202 w 860393"/>
                <a:gd name="connsiteY610" fmla="*/ 1050798 h 1348549"/>
                <a:gd name="connsiteX611" fmla="*/ 95155 w 860393"/>
                <a:gd name="connsiteY611" fmla="*/ 1048798 h 1348549"/>
                <a:gd name="connsiteX612" fmla="*/ 96964 w 860393"/>
                <a:gd name="connsiteY612" fmla="*/ 1050227 h 1348549"/>
                <a:gd name="connsiteX613" fmla="*/ 98584 w 860393"/>
                <a:gd name="connsiteY613" fmla="*/ 1050036 h 1348549"/>
                <a:gd name="connsiteX614" fmla="*/ 97155 w 860393"/>
                <a:gd name="connsiteY614" fmla="*/ 1051751 h 1348549"/>
                <a:gd name="connsiteX615" fmla="*/ 90869 w 860393"/>
                <a:gd name="connsiteY615" fmla="*/ 1052608 h 1348549"/>
                <a:gd name="connsiteX616" fmla="*/ 85725 w 860393"/>
                <a:gd name="connsiteY616" fmla="*/ 1050036 h 1348549"/>
                <a:gd name="connsiteX617" fmla="*/ 81153 w 860393"/>
                <a:gd name="connsiteY617" fmla="*/ 1052227 h 1348549"/>
                <a:gd name="connsiteX618" fmla="*/ 77248 w 860393"/>
                <a:gd name="connsiteY618" fmla="*/ 1059085 h 1348549"/>
                <a:gd name="connsiteX619" fmla="*/ 79248 w 860393"/>
                <a:gd name="connsiteY619" fmla="*/ 1062133 h 1348549"/>
                <a:gd name="connsiteX620" fmla="*/ 80200 w 860393"/>
                <a:gd name="connsiteY620" fmla="*/ 1069943 h 1348549"/>
                <a:gd name="connsiteX621" fmla="*/ 78867 w 860393"/>
                <a:gd name="connsiteY621" fmla="*/ 1071753 h 1348549"/>
                <a:gd name="connsiteX622" fmla="*/ 75914 w 860393"/>
                <a:gd name="connsiteY622" fmla="*/ 1073753 h 1348549"/>
                <a:gd name="connsiteX623" fmla="*/ 72580 w 860393"/>
                <a:gd name="connsiteY623" fmla="*/ 1072515 h 1348549"/>
                <a:gd name="connsiteX624" fmla="*/ 66865 w 860393"/>
                <a:gd name="connsiteY624" fmla="*/ 1078135 h 1348549"/>
                <a:gd name="connsiteX625" fmla="*/ 68866 w 860393"/>
                <a:gd name="connsiteY625" fmla="*/ 1081088 h 1348549"/>
                <a:gd name="connsiteX626" fmla="*/ 65532 w 860393"/>
                <a:gd name="connsiteY626" fmla="*/ 1092708 h 1348549"/>
                <a:gd name="connsiteX627" fmla="*/ 69247 w 860393"/>
                <a:gd name="connsiteY627" fmla="*/ 1096994 h 1348549"/>
                <a:gd name="connsiteX628" fmla="*/ 70104 w 860393"/>
                <a:gd name="connsiteY628" fmla="*/ 1103376 h 1348549"/>
                <a:gd name="connsiteX629" fmla="*/ 72009 w 860393"/>
                <a:gd name="connsiteY629" fmla="*/ 1106329 h 1348549"/>
                <a:gd name="connsiteX630" fmla="*/ 72676 w 860393"/>
                <a:gd name="connsiteY630" fmla="*/ 1110996 h 1348549"/>
                <a:gd name="connsiteX631" fmla="*/ 76581 w 860393"/>
                <a:gd name="connsiteY631" fmla="*/ 1116902 h 1348549"/>
                <a:gd name="connsiteX632" fmla="*/ 76771 w 860393"/>
                <a:gd name="connsiteY632" fmla="*/ 1118521 h 1348549"/>
                <a:gd name="connsiteX633" fmla="*/ 73628 w 860393"/>
                <a:gd name="connsiteY633" fmla="*/ 1118902 h 1348549"/>
                <a:gd name="connsiteX634" fmla="*/ 76962 w 860393"/>
                <a:gd name="connsiteY634" fmla="*/ 1120140 h 1348549"/>
                <a:gd name="connsiteX635" fmla="*/ 76105 w 860393"/>
                <a:gd name="connsiteY635" fmla="*/ 1137856 h 1348549"/>
                <a:gd name="connsiteX636" fmla="*/ 80963 w 860393"/>
                <a:gd name="connsiteY636" fmla="*/ 1138809 h 1348549"/>
                <a:gd name="connsiteX637" fmla="*/ 82963 w 860393"/>
                <a:gd name="connsiteY637" fmla="*/ 1141762 h 1348549"/>
                <a:gd name="connsiteX638" fmla="*/ 89249 w 860393"/>
                <a:gd name="connsiteY638" fmla="*/ 1141000 h 1348549"/>
                <a:gd name="connsiteX639" fmla="*/ 91059 w 860393"/>
                <a:gd name="connsiteY639" fmla="*/ 1142333 h 1348549"/>
                <a:gd name="connsiteX640" fmla="*/ 88963 w 860393"/>
                <a:gd name="connsiteY640" fmla="*/ 1150620 h 1348549"/>
                <a:gd name="connsiteX641" fmla="*/ 92107 w 860393"/>
                <a:gd name="connsiteY641" fmla="*/ 1150239 h 1348549"/>
                <a:gd name="connsiteX642" fmla="*/ 94297 w 860393"/>
                <a:gd name="connsiteY642" fmla="*/ 1154811 h 1348549"/>
                <a:gd name="connsiteX643" fmla="*/ 92869 w 860393"/>
                <a:gd name="connsiteY643" fmla="*/ 1156526 h 1348549"/>
                <a:gd name="connsiteX644" fmla="*/ 97822 w 860393"/>
                <a:gd name="connsiteY644" fmla="*/ 1157573 h 1348549"/>
                <a:gd name="connsiteX645" fmla="*/ 98203 w 860393"/>
                <a:gd name="connsiteY645" fmla="*/ 1160717 h 1348549"/>
                <a:gd name="connsiteX646" fmla="*/ 97250 w 860393"/>
                <a:gd name="connsiteY646" fmla="*/ 1165669 h 1348549"/>
                <a:gd name="connsiteX647" fmla="*/ 95440 w 860393"/>
                <a:gd name="connsiteY647" fmla="*/ 1164241 h 1348549"/>
                <a:gd name="connsiteX648" fmla="*/ 94107 w 860393"/>
                <a:gd name="connsiteY648" fmla="*/ 1166051 h 1348549"/>
                <a:gd name="connsiteX649" fmla="*/ 87821 w 860393"/>
                <a:gd name="connsiteY649" fmla="*/ 1166813 h 1348549"/>
                <a:gd name="connsiteX650" fmla="*/ 86392 w 860393"/>
                <a:gd name="connsiteY650" fmla="*/ 1168622 h 1348549"/>
                <a:gd name="connsiteX651" fmla="*/ 79915 w 860393"/>
                <a:gd name="connsiteY651" fmla="*/ 1167860 h 1348549"/>
                <a:gd name="connsiteX652" fmla="*/ 77343 w 860393"/>
                <a:gd name="connsiteY652" fmla="*/ 1173004 h 1348549"/>
                <a:gd name="connsiteX653" fmla="*/ 77724 w 860393"/>
                <a:gd name="connsiteY653" fmla="*/ 1176147 h 1348549"/>
                <a:gd name="connsiteX654" fmla="*/ 75343 w 860393"/>
                <a:gd name="connsiteY654" fmla="*/ 1182814 h 1348549"/>
                <a:gd name="connsiteX655" fmla="*/ 76200 w 860393"/>
                <a:gd name="connsiteY655" fmla="*/ 1189196 h 1348549"/>
                <a:gd name="connsiteX656" fmla="*/ 79534 w 860393"/>
                <a:gd name="connsiteY656" fmla="*/ 1190339 h 1348549"/>
                <a:gd name="connsiteX657" fmla="*/ 80677 w 860393"/>
                <a:gd name="connsiteY657" fmla="*/ 1187006 h 1348549"/>
                <a:gd name="connsiteX658" fmla="*/ 85630 w 860393"/>
                <a:gd name="connsiteY658" fmla="*/ 1187958 h 1348549"/>
                <a:gd name="connsiteX659" fmla="*/ 83344 w 860393"/>
                <a:gd name="connsiteY659" fmla="*/ 1194721 h 1348549"/>
                <a:gd name="connsiteX660" fmla="*/ 100489 w 860393"/>
                <a:gd name="connsiteY660" fmla="*/ 1203674 h 1348549"/>
                <a:gd name="connsiteX661" fmla="*/ 108013 w 860393"/>
                <a:gd name="connsiteY661" fmla="*/ 1212342 h 1348549"/>
                <a:gd name="connsiteX662" fmla="*/ 118110 w 860393"/>
                <a:gd name="connsiteY662" fmla="*/ 1215866 h 1348549"/>
                <a:gd name="connsiteX663" fmla="*/ 122015 w 860393"/>
                <a:gd name="connsiteY663" fmla="*/ 1221772 h 1348549"/>
                <a:gd name="connsiteX664" fmla="*/ 124968 w 860393"/>
                <a:gd name="connsiteY664" fmla="*/ 1219867 h 1348549"/>
                <a:gd name="connsiteX665" fmla="*/ 124587 w 860393"/>
                <a:gd name="connsiteY665" fmla="*/ 1216723 h 1348549"/>
                <a:gd name="connsiteX666" fmla="*/ 129730 w 860393"/>
                <a:gd name="connsiteY666" fmla="*/ 1206437 h 1348549"/>
                <a:gd name="connsiteX667" fmla="*/ 135636 w 860393"/>
                <a:gd name="connsiteY667" fmla="*/ 1202436 h 1348549"/>
                <a:gd name="connsiteX668" fmla="*/ 140303 w 860393"/>
                <a:gd name="connsiteY668" fmla="*/ 1201864 h 1348549"/>
                <a:gd name="connsiteX669" fmla="*/ 144685 w 860393"/>
                <a:gd name="connsiteY669" fmla="*/ 1198055 h 1348549"/>
                <a:gd name="connsiteX670" fmla="*/ 148019 w 860393"/>
                <a:gd name="connsiteY670" fmla="*/ 1199293 h 1348549"/>
                <a:gd name="connsiteX671" fmla="*/ 144304 w 860393"/>
                <a:gd name="connsiteY671" fmla="*/ 1194911 h 1348549"/>
                <a:gd name="connsiteX672" fmla="*/ 145066 w 860393"/>
                <a:gd name="connsiteY672" fmla="*/ 1188434 h 1348549"/>
                <a:gd name="connsiteX673" fmla="*/ 144875 w 860393"/>
                <a:gd name="connsiteY673" fmla="*/ 1186815 h 1348549"/>
                <a:gd name="connsiteX674" fmla="*/ 144208 w 860393"/>
                <a:gd name="connsiteY674" fmla="*/ 1182052 h 1348549"/>
                <a:gd name="connsiteX675" fmla="*/ 145828 w 860393"/>
                <a:gd name="connsiteY675" fmla="*/ 1181862 h 1348549"/>
                <a:gd name="connsiteX676" fmla="*/ 148971 w 860393"/>
                <a:gd name="connsiteY676" fmla="*/ 1168718 h 1348549"/>
                <a:gd name="connsiteX677" fmla="*/ 152876 w 860393"/>
                <a:gd name="connsiteY677" fmla="*/ 1174623 h 1348549"/>
                <a:gd name="connsiteX678" fmla="*/ 155829 w 860393"/>
                <a:gd name="connsiteY678" fmla="*/ 1172623 h 1348549"/>
                <a:gd name="connsiteX679" fmla="*/ 161544 w 860393"/>
                <a:gd name="connsiteY679" fmla="*/ 1167098 h 1348549"/>
                <a:gd name="connsiteX680" fmla="*/ 154210 w 860393"/>
                <a:gd name="connsiteY680" fmla="*/ 1159955 h 1348549"/>
                <a:gd name="connsiteX681" fmla="*/ 155067 w 860393"/>
                <a:gd name="connsiteY681" fmla="*/ 1153477 h 1348549"/>
                <a:gd name="connsiteX682" fmla="*/ 153257 w 860393"/>
                <a:gd name="connsiteY682" fmla="*/ 1152049 h 1348549"/>
                <a:gd name="connsiteX683" fmla="*/ 144971 w 860393"/>
                <a:gd name="connsiteY683" fmla="*/ 1149953 h 1348549"/>
                <a:gd name="connsiteX684" fmla="*/ 142970 w 860393"/>
                <a:gd name="connsiteY684" fmla="*/ 1147001 h 1348549"/>
                <a:gd name="connsiteX685" fmla="*/ 144113 w 860393"/>
                <a:gd name="connsiteY685" fmla="*/ 1143572 h 1348549"/>
                <a:gd name="connsiteX686" fmla="*/ 148685 w 860393"/>
                <a:gd name="connsiteY686" fmla="*/ 1141476 h 1348549"/>
                <a:gd name="connsiteX687" fmla="*/ 148495 w 860393"/>
                <a:gd name="connsiteY687" fmla="*/ 1139857 h 1348549"/>
                <a:gd name="connsiteX688" fmla="*/ 149638 w 860393"/>
                <a:gd name="connsiteY688" fmla="*/ 1136523 h 1348549"/>
                <a:gd name="connsiteX689" fmla="*/ 146304 w 860393"/>
                <a:gd name="connsiteY689" fmla="*/ 1135285 h 1348549"/>
                <a:gd name="connsiteX690" fmla="*/ 145923 w 860393"/>
                <a:gd name="connsiteY690" fmla="*/ 1132142 h 1348549"/>
                <a:gd name="connsiteX691" fmla="*/ 141161 w 860393"/>
                <a:gd name="connsiteY691" fmla="*/ 1132808 h 1348549"/>
                <a:gd name="connsiteX692" fmla="*/ 139827 w 860393"/>
                <a:gd name="connsiteY692" fmla="*/ 1134523 h 1348549"/>
                <a:gd name="connsiteX693" fmla="*/ 139160 w 860393"/>
                <a:gd name="connsiteY693" fmla="*/ 1129856 h 1348549"/>
                <a:gd name="connsiteX694" fmla="*/ 137636 w 860393"/>
                <a:gd name="connsiteY694" fmla="*/ 1130046 h 1348549"/>
                <a:gd name="connsiteX695" fmla="*/ 135255 w 860393"/>
                <a:gd name="connsiteY695" fmla="*/ 1123950 h 1348549"/>
                <a:gd name="connsiteX696" fmla="*/ 133445 w 860393"/>
                <a:gd name="connsiteY696" fmla="*/ 1122521 h 1348549"/>
                <a:gd name="connsiteX697" fmla="*/ 133255 w 860393"/>
                <a:gd name="connsiteY697" fmla="*/ 1120997 h 1348549"/>
                <a:gd name="connsiteX698" fmla="*/ 130302 w 860393"/>
                <a:gd name="connsiteY698" fmla="*/ 1122902 h 1348549"/>
                <a:gd name="connsiteX699" fmla="*/ 126968 w 860393"/>
                <a:gd name="connsiteY699" fmla="*/ 1121759 h 1348549"/>
                <a:gd name="connsiteX700" fmla="*/ 125349 w 860393"/>
                <a:gd name="connsiteY700" fmla="*/ 1121950 h 1348549"/>
                <a:gd name="connsiteX701" fmla="*/ 127730 w 860393"/>
                <a:gd name="connsiteY701" fmla="*/ 1115282 h 1348549"/>
                <a:gd name="connsiteX702" fmla="*/ 123920 w 860393"/>
                <a:gd name="connsiteY702" fmla="*/ 1110901 h 1348549"/>
                <a:gd name="connsiteX703" fmla="*/ 117634 w 860393"/>
                <a:gd name="connsiteY703" fmla="*/ 1111758 h 1348549"/>
                <a:gd name="connsiteX704" fmla="*/ 121920 w 860393"/>
                <a:gd name="connsiteY704" fmla="*/ 1107948 h 1348549"/>
                <a:gd name="connsiteX705" fmla="*/ 127063 w 860393"/>
                <a:gd name="connsiteY705" fmla="*/ 1110520 h 1348549"/>
                <a:gd name="connsiteX706" fmla="*/ 130016 w 860393"/>
                <a:gd name="connsiteY706" fmla="*/ 1108519 h 1348549"/>
                <a:gd name="connsiteX707" fmla="*/ 131064 w 860393"/>
                <a:gd name="connsiteY707" fmla="*/ 1103567 h 1348549"/>
                <a:gd name="connsiteX708" fmla="*/ 134207 w 860393"/>
                <a:gd name="connsiteY708" fmla="*/ 1103185 h 1348549"/>
                <a:gd name="connsiteX709" fmla="*/ 132397 w 860393"/>
                <a:gd name="connsiteY709" fmla="*/ 1101852 h 1348549"/>
                <a:gd name="connsiteX710" fmla="*/ 130873 w 860393"/>
                <a:gd name="connsiteY710" fmla="*/ 1102043 h 1348549"/>
                <a:gd name="connsiteX711" fmla="*/ 129064 w 860393"/>
                <a:gd name="connsiteY711" fmla="*/ 1100614 h 1348549"/>
                <a:gd name="connsiteX712" fmla="*/ 132016 w 860393"/>
                <a:gd name="connsiteY712" fmla="*/ 1098709 h 1348549"/>
                <a:gd name="connsiteX713" fmla="*/ 136779 w 860393"/>
                <a:gd name="connsiteY713" fmla="*/ 1098042 h 1348549"/>
                <a:gd name="connsiteX714" fmla="*/ 151543 w 860393"/>
                <a:gd name="connsiteY714" fmla="*/ 1088136 h 1348549"/>
                <a:gd name="connsiteX715" fmla="*/ 154876 w 860393"/>
                <a:gd name="connsiteY715" fmla="*/ 1089374 h 1348549"/>
                <a:gd name="connsiteX716" fmla="*/ 157639 w 860393"/>
                <a:gd name="connsiteY716" fmla="*/ 1085755 h 1348549"/>
                <a:gd name="connsiteX717" fmla="*/ 159448 w 860393"/>
                <a:gd name="connsiteY717" fmla="*/ 1087184 h 1348549"/>
                <a:gd name="connsiteX718" fmla="*/ 170497 w 860393"/>
                <a:gd name="connsiteY718" fmla="*/ 1098614 h 1348549"/>
                <a:gd name="connsiteX719" fmla="*/ 174403 w 860393"/>
                <a:gd name="connsiteY719" fmla="*/ 1091660 h 1348549"/>
                <a:gd name="connsiteX720" fmla="*/ 177737 w 860393"/>
                <a:gd name="connsiteY720" fmla="*/ 1092803 h 1348549"/>
                <a:gd name="connsiteX721" fmla="*/ 177927 w 860393"/>
                <a:gd name="connsiteY721" fmla="*/ 1094423 h 1348549"/>
                <a:gd name="connsiteX722" fmla="*/ 181356 w 860393"/>
                <a:gd name="connsiteY722" fmla="*/ 1095565 h 1348549"/>
                <a:gd name="connsiteX723" fmla="*/ 179927 w 860393"/>
                <a:gd name="connsiteY723" fmla="*/ 1097375 h 1348549"/>
                <a:gd name="connsiteX724" fmla="*/ 181928 w 860393"/>
                <a:gd name="connsiteY724" fmla="*/ 1100328 h 1348549"/>
                <a:gd name="connsiteX725" fmla="*/ 188881 w 860393"/>
                <a:gd name="connsiteY725" fmla="*/ 1104233 h 1348549"/>
                <a:gd name="connsiteX726" fmla="*/ 190024 w 860393"/>
                <a:gd name="connsiteY726" fmla="*/ 1113758 h 1348549"/>
                <a:gd name="connsiteX727" fmla="*/ 183737 w 860393"/>
                <a:gd name="connsiteY727" fmla="*/ 1114520 h 1348549"/>
                <a:gd name="connsiteX728" fmla="*/ 185738 w 860393"/>
                <a:gd name="connsiteY728" fmla="*/ 1117473 h 1348549"/>
                <a:gd name="connsiteX729" fmla="*/ 188881 w 860393"/>
                <a:gd name="connsiteY729" fmla="*/ 1117092 h 1348549"/>
                <a:gd name="connsiteX730" fmla="*/ 189452 w 860393"/>
                <a:gd name="connsiteY730" fmla="*/ 1121759 h 1348549"/>
                <a:gd name="connsiteX731" fmla="*/ 200978 w 860393"/>
                <a:gd name="connsiteY731" fmla="*/ 1123569 h 1348549"/>
                <a:gd name="connsiteX732" fmla="*/ 202882 w 860393"/>
                <a:gd name="connsiteY732" fmla="*/ 1126522 h 1348549"/>
                <a:gd name="connsiteX733" fmla="*/ 201549 w 860393"/>
                <a:gd name="connsiteY733" fmla="*/ 1128331 h 1348549"/>
                <a:gd name="connsiteX734" fmla="*/ 196787 w 860393"/>
                <a:gd name="connsiteY734" fmla="*/ 1128903 h 1348549"/>
                <a:gd name="connsiteX735" fmla="*/ 197167 w 860393"/>
                <a:gd name="connsiteY735" fmla="*/ 1132046 h 1348549"/>
                <a:gd name="connsiteX736" fmla="*/ 198787 w 860393"/>
                <a:gd name="connsiteY736" fmla="*/ 1131856 h 1348549"/>
                <a:gd name="connsiteX737" fmla="*/ 202311 w 860393"/>
                <a:gd name="connsiteY737" fmla="*/ 1134618 h 1348549"/>
                <a:gd name="connsiteX738" fmla="*/ 205264 w 860393"/>
                <a:gd name="connsiteY738" fmla="*/ 1132618 h 1348549"/>
                <a:gd name="connsiteX739" fmla="*/ 207264 w 860393"/>
                <a:gd name="connsiteY739" fmla="*/ 1135571 h 1348549"/>
                <a:gd name="connsiteX740" fmla="*/ 209074 w 860393"/>
                <a:gd name="connsiteY740" fmla="*/ 1136999 h 1348549"/>
                <a:gd name="connsiteX741" fmla="*/ 210026 w 860393"/>
                <a:gd name="connsiteY741" fmla="*/ 1144810 h 1348549"/>
                <a:gd name="connsiteX742" fmla="*/ 208502 w 860393"/>
                <a:gd name="connsiteY742" fmla="*/ 1145096 h 1348549"/>
                <a:gd name="connsiteX743" fmla="*/ 208693 w 860393"/>
                <a:gd name="connsiteY743" fmla="*/ 1146619 h 1348549"/>
                <a:gd name="connsiteX744" fmla="*/ 213265 w 860393"/>
                <a:gd name="connsiteY744" fmla="*/ 1157288 h 1348549"/>
                <a:gd name="connsiteX745" fmla="*/ 213836 w 860393"/>
                <a:gd name="connsiteY745" fmla="*/ 1162050 h 1348549"/>
                <a:gd name="connsiteX746" fmla="*/ 213074 w 860393"/>
                <a:gd name="connsiteY746" fmla="*/ 1168527 h 1348549"/>
                <a:gd name="connsiteX747" fmla="*/ 211264 w 860393"/>
                <a:gd name="connsiteY747" fmla="*/ 1167098 h 1348549"/>
                <a:gd name="connsiteX748" fmla="*/ 210121 w 860393"/>
                <a:gd name="connsiteY748" fmla="*/ 1170527 h 1348549"/>
                <a:gd name="connsiteX749" fmla="*/ 217265 w 860393"/>
                <a:gd name="connsiteY749" fmla="*/ 1175956 h 1348549"/>
                <a:gd name="connsiteX750" fmla="*/ 222123 w 860393"/>
                <a:gd name="connsiteY750" fmla="*/ 1177004 h 1348549"/>
                <a:gd name="connsiteX751" fmla="*/ 226695 w 860393"/>
                <a:gd name="connsiteY751" fmla="*/ 1174814 h 1348549"/>
                <a:gd name="connsiteX752" fmla="*/ 227076 w 860393"/>
                <a:gd name="connsiteY752" fmla="*/ 1177957 h 1348549"/>
                <a:gd name="connsiteX753" fmla="*/ 231838 w 860393"/>
                <a:gd name="connsiteY753" fmla="*/ 1177385 h 1348549"/>
                <a:gd name="connsiteX754" fmla="*/ 232220 w 860393"/>
                <a:gd name="connsiteY754" fmla="*/ 1180529 h 1348549"/>
                <a:gd name="connsiteX755" fmla="*/ 229838 w 860393"/>
                <a:gd name="connsiteY755" fmla="*/ 1187196 h 1348549"/>
                <a:gd name="connsiteX756" fmla="*/ 231457 w 860393"/>
                <a:gd name="connsiteY756" fmla="*/ 1187006 h 1348549"/>
                <a:gd name="connsiteX757" fmla="*/ 232029 w 860393"/>
                <a:gd name="connsiteY757" fmla="*/ 1191768 h 1348549"/>
                <a:gd name="connsiteX758" fmla="*/ 228695 w 860393"/>
                <a:gd name="connsiteY758" fmla="*/ 1190530 h 1348549"/>
                <a:gd name="connsiteX759" fmla="*/ 229362 w 860393"/>
                <a:gd name="connsiteY759" fmla="*/ 1195292 h 1348549"/>
                <a:gd name="connsiteX760" fmla="*/ 238792 w 860393"/>
                <a:gd name="connsiteY760" fmla="*/ 1194149 h 1348549"/>
                <a:gd name="connsiteX761" fmla="*/ 236220 w 860393"/>
                <a:gd name="connsiteY761" fmla="*/ 1199293 h 1348549"/>
                <a:gd name="connsiteX762" fmla="*/ 237839 w 860393"/>
                <a:gd name="connsiteY762" fmla="*/ 1199007 h 1348549"/>
                <a:gd name="connsiteX763" fmla="*/ 240221 w 860393"/>
                <a:gd name="connsiteY763" fmla="*/ 1205198 h 1348549"/>
                <a:gd name="connsiteX764" fmla="*/ 243364 w 860393"/>
                <a:gd name="connsiteY764" fmla="*/ 1204722 h 1348549"/>
                <a:gd name="connsiteX765" fmla="*/ 242221 w 860393"/>
                <a:gd name="connsiteY765" fmla="*/ 1208151 h 1348549"/>
                <a:gd name="connsiteX766" fmla="*/ 242792 w 860393"/>
                <a:gd name="connsiteY766" fmla="*/ 1212818 h 1348549"/>
                <a:gd name="connsiteX767" fmla="*/ 245936 w 860393"/>
                <a:gd name="connsiteY767" fmla="*/ 1212437 h 1348549"/>
                <a:gd name="connsiteX768" fmla="*/ 245745 w 860393"/>
                <a:gd name="connsiteY768" fmla="*/ 1210913 h 1348549"/>
                <a:gd name="connsiteX769" fmla="*/ 247269 w 860393"/>
                <a:gd name="connsiteY769" fmla="*/ 1210627 h 1348549"/>
                <a:gd name="connsiteX770" fmla="*/ 252222 w 860393"/>
                <a:gd name="connsiteY770" fmla="*/ 1211675 h 1348549"/>
                <a:gd name="connsiteX771" fmla="*/ 252031 w 860393"/>
                <a:gd name="connsiteY771" fmla="*/ 1210056 h 1348549"/>
                <a:gd name="connsiteX772" fmla="*/ 252031 w 860393"/>
                <a:gd name="connsiteY772" fmla="*/ 1210056 h 1348549"/>
                <a:gd name="connsiteX773" fmla="*/ 254794 w 860393"/>
                <a:gd name="connsiteY773" fmla="*/ 1206532 h 1348549"/>
                <a:gd name="connsiteX774" fmla="*/ 253460 w 860393"/>
                <a:gd name="connsiteY774" fmla="*/ 1208246 h 1348549"/>
                <a:gd name="connsiteX775" fmla="*/ 252984 w 860393"/>
                <a:gd name="connsiteY775" fmla="*/ 1205103 h 1348549"/>
                <a:gd name="connsiteX776" fmla="*/ 251460 w 860393"/>
                <a:gd name="connsiteY776" fmla="*/ 1205293 h 1348549"/>
                <a:gd name="connsiteX777" fmla="*/ 252413 w 860393"/>
                <a:gd name="connsiteY777" fmla="*/ 1200436 h 1348549"/>
                <a:gd name="connsiteX778" fmla="*/ 249079 w 860393"/>
                <a:gd name="connsiteY778" fmla="*/ 1199198 h 1348549"/>
                <a:gd name="connsiteX779" fmla="*/ 253841 w 860393"/>
                <a:gd name="connsiteY779" fmla="*/ 1198626 h 1348549"/>
                <a:gd name="connsiteX780" fmla="*/ 253365 w 860393"/>
                <a:gd name="connsiteY780" fmla="*/ 1195483 h 1348549"/>
                <a:gd name="connsiteX781" fmla="*/ 256127 w 860393"/>
                <a:gd name="connsiteY781" fmla="*/ 1191863 h 1348549"/>
                <a:gd name="connsiteX782" fmla="*/ 253937 w 860393"/>
                <a:gd name="connsiteY782" fmla="*/ 1187387 h 1348549"/>
                <a:gd name="connsiteX783" fmla="*/ 255556 w 860393"/>
                <a:gd name="connsiteY783" fmla="*/ 1187196 h 1348549"/>
                <a:gd name="connsiteX784" fmla="*/ 257746 w 860393"/>
                <a:gd name="connsiteY784" fmla="*/ 1191673 h 1348549"/>
                <a:gd name="connsiteX785" fmla="*/ 260128 w 860393"/>
                <a:gd name="connsiteY785" fmla="*/ 1197769 h 1348549"/>
                <a:gd name="connsiteX786" fmla="*/ 263842 w 860393"/>
                <a:gd name="connsiteY786" fmla="*/ 1202150 h 1348549"/>
                <a:gd name="connsiteX787" fmla="*/ 264700 w 860393"/>
                <a:gd name="connsiteY787" fmla="*/ 1208437 h 1348549"/>
                <a:gd name="connsiteX788" fmla="*/ 260509 w 860393"/>
                <a:gd name="connsiteY788" fmla="*/ 1213771 h 1348549"/>
                <a:gd name="connsiteX789" fmla="*/ 259556 w 860393"/>
                <a:gd name="connsiteY789" fmla="*/ 1218724 h 1348549"/>
                <a:gd name="connsiteX790" fmla="*/ 261556 w 860393"/>
                <a:gd name="connsiteY790" fmla="*/ 1221677 h 1348549"/>
                <a:gd name="connsiteX791" fmla="*/ 258794 w 860393"/>
                <a:gd name="connsiteY791" fmla="*/ 1225201 h 1348549"/>
                <a:gd name="connsiteX792" fmla="*/ 253460 w 860393"/>
                <a:gd name="connsiteY792" fmla="*/ 1233964 h 1348549"/>
                <a:gd name="connsiteX793" fmla="*/ 255461 w 860393"/>
                <a:gd name="connsiteY793" fmla="*/ 1236917 h 1348549"/>
                <a:gd name="connsiteX794" fmla="*/ 255461 w 860393"/>
                <a:gd name="connsiteY794" fmla="*/ 1236917 h 1348549"/>
                <a:gd name="connsiteX795" fmla="*/ 257270 w 860393"/>
                <a:gd name="connsiteY795" fmla="*/ 1238250 h 1348549"/>
                <a:gd name="connsiteX796" fmla="*/ 256222 w 860393"/>
                <a:gd name="connsiteY796" fmla="*/ 1243203 h 1348549"/>
                <a:gd name="connsiteX797" fmla="*/ 251746 w 860393"/>
                <a:gd name="connsiteY797" fmla="*/ 1245394 h 1348549"/>
                <a:gd name="connsiteX798" fmla="*/ 255651 w 860393"/>
                <a:gd name="connsiteY798" fmla="*/ 1251299 h 1348549"/>
                <a:gd name="connsiteX799" fmla="*/ 257080 w 860393"/>
                <a:gd name="connsiteY799" fmla="*/ 1249489 h 1348549"/>
                <a:gd name="connsiteX800" fmla="*/ 267176 w 860393"/>
                <a:gd name="connsiteY800" fmla="*/ 1253014 h 1348549"/>
                <a:gd name="connsiteX801" fmla="*/ 265747 w 860393"/>
                <a:gd name="connsiteY801" fmla="*/ 1254823 h 1348549"/>
                <a:gd name="connsiteX802" fmla="*/ 267748 w 860393"/>
                <a:gd name="connsiteY802" fmla="*/ 1257776 h 1348549"/>
                <a:gd name="connsiteX803" fmla="*/ 274511 w 860393"/>
                <a:gd name="connsiteY803" fmla="*/ 1260158 h 1348549"/>
                <a:gd name="connsiteX804" fmla="*/ 274701 w 860393"/>
                <a:gd name="connsiteY804" fmla="*/ 1261681 h 1348549"/>
                <a:gd name="connsiteX805" fmla="*/ 276225 w 860393"/>
                <a:gd name="connsiteY805" fmla="*/ 1261491 h 1348549"/>
                <a:gd name="connsiteX806" fmla="*/ 279368 w 860393"/>
                <a:gd name="connsiteY806" fmla="*/ 1261110 h 1348549"/>
                <a:gd name="connsiteX807" fmla="*/ 288131 w 860393"/>
                <a:gd name="connsiteY807" fmla="*/ 1266444 h 1348549"/>
                <a:gd name="connsiteX808" fmla="*/ 289465 w 860393"/>
                <a:gd name="connsiteY808" fmla="*/ 1264634 h 1348549"/>
                <a:gd name="connsiteX809" fmla="*/ 292608 w 860393"/>
                <a:gd name="connsiteY809" fmla="*/ 1264253 h 1348549"/>
                <a:gd name="connsiteX810" fmla="*/ 301085 w 860393"/>
                <a:gd name="connsiteY810" fmla="*/ 1267968 h 1348549"/>
                <a:gd name="connsiteX811" fmla="*/ 306038 w 860393"/>
                <a:gd name="connsiteY811" fmla="*/ 1268921 h 1348549"/>
                <a:gd name="connsiteX812" fmla="*/ 304705 w 860393"/>
                <a:gd name="connsiteY812" fmla="*/ 1270730 h 1348549"/>
                <a:gd name="connsiteX813" fmla="*/ 308420 w 860393"/>
                <a:gd name="connsiteY813" fmla="*/ 1275017 h 1348549"/>
                <a:gd name="connsiteX814" fmla="*/ 314420 w 860393"/>
                <a:gd name="connsiteY814" fmla="*/ 1283875 h 1348549"/>
                <a:gd name="connsiteX815" fmla="*/ 322040 w 860393"/>
                <a:gd name="connsiteY815" fmla="*/ 1281303 h 1348549"/>
                <a:gd name="connsiteX816" fmla="*/ 322897 w 860393"/>
                <a:gd name="connsiteY816" fmla="*/ 1287589 h 1348549"/>
                <a:gd name="connsiteX817" fmla="*/ 321659 w 860393"/>
                <a:gd name="connsiteY817" fmla="*/ 1291018 h 1348549"/>
                <a:gd name="connsiteX818" fmla="*/ 321850 w 860393"/>
                <a:gd name="connsiteY818" fmla="*/ 1292543 h 1348549"/>
                <a:gd name="connsiteX819" fmla="*/ 318897 w 860393"/>
                <a:gd name="connsiteY819" fmla="*/ 1294543 h 1348549"/>
                <a:gd name="connsiteX820" fmla="*/ 322897 w 860393"/>
                <a:gd name="connsiteY820" fmla="*/ 1300448 h 1348549"/>
                <a:gd name="connsiteX821" fmla="*/ 325469 w 860393"/>
                <a:gd name="connsiteY821" fmla="*/ 1308164 h 1348549"/>
                <a:gd name="connsiteX822" fmla="*/ 326326 w 860393"/>
                <a:gd name="connsiteY822" fmla="*/ 1314450 h 1348549"/>
                <a:gd name="connsiteX823" fmla="*/ 328517 w 860393"/>
                <a:gd name="connsiteY823" fmla="*/ 1319022 h 1348549"/>
                <a:gd name="connsiteX824" fmla="*/ 329851 w 860393"/>
                <a:gd name="connsiteY824" fmla="*/ 1317212 h 1348549"/>
                <a:gd name="connsiteX825" fmla="*/ 331661 w 860393"/>
                <a:gd name="connsiteY825" fmla="*/ 1318641 h 1348549"/>
                <a:gd name="connsiteX826" fmla="*/ 332232 w 860393"/>
                <a:gd name="connsiteY826" fmla="*/ 1323308 h 1348549"/>
                <a:gd name="connsiteX827" fmla="*/ 334994 w 860393"/>
                <a:gd name="connsiteY827" fmla="*/ 1332643 h 1348549"/>
                <a:gd name="connsiteX828" fmla="*/ 336804 w 860393"/>
                <a:gd name="connsiteY828" fmla="*/ 1333976 h 1348549"/>
                <a:gd name="connsiteX829" fmla="*/ 335661 w 860393"/>
                <a:gd name="connsiteY829" fmla="*/ 1337310 h 1348549"/>
                <a:gd name="connsiteX830" fmla="*/ 338614 w 860393"/>
                <a:gd name="connsiteY830" fmla="*/ 1335310 h 1348549"/>
                <a:gd name="connsiteX831" fmla="*/ 338804 w 860393"/>
                <a:gd name="connsiteY831" fmla="*/ 1336929 h 1348549"/>
                <a:gd name="connsiteX832" fmla="*/ 339185 w 860393"/>
                <a:gd name="connsiteY832" fmla="*/ 1340072 h 1348549"/>
                <a:gd name="connsiteX833" fmla="*/ 337566 w 860393"/>
                <a:gd name="connsiteY833" fmla="*/ 1340263 h 1348549"/>
                <a:gd name="connsiteX834" fmla="*/ 340995 w 860393"/>
                <a:gd name="connsiteY834" fmla="*/ 1341501 h 1348549"/>
                <a:gd name="connsiteX835" fmla="*/ 342900 w 860393"/>
                <a:gd name="connsiteY835" fmla="*/ 1344454 h 1348549"/>
                <a:gd name="connsiteX836" fmla="*/ 346329 w 860393"/>
                <a:gd name="connsiteY836" fmla="*/ 1345597 h 1348549"/>
                <a:gd name="connsiteX837" fmla="*/ 348234 w 860393"/>
                <a:gd name="connsiteY837" fmla="*/ 1348550 h 1348549"/>
                <a:gd name="connsiteX838" fmla="*/ 348044 w 860393"/>
                <a:gd name="connsiteY838" fmla="*/ 1346930 h 1348549"/>
                <a:gd name="connsiteX839" fmla="*/ 349663 w 860393"/>
                <a:gd name="connsiteY839" fmla="*/ 1346740 h 1348549"/>
                <a:gd name="connsiteX840" fmla="*/ 349853 w 860393"/>
                <a:gd name="connsiteY840" fmla="*/ 1348359 h 1348549"/>
                <a:gd name="connsiteX841" fmla="*/ 352425 w 860393"/>
                <a:gd name="connsiteY841" fmla="*/ 1343215 h 1348549"/>
                <a:gd name="connsiteX842" fmla="*/ 352996 w 860393"/>
                <a:gd name="connsiteY842" fmla="*/ 1335119 h 1348549"/>
                <a:gd name="connsiteX843" fmla="*/ 351377 w 860393"/>
                <a:gd name="connsiteY843" fmla="*/ 1335310 h 1348549"/>
                <a:gd name="connsiteX844" fmla="*/ 350615 w 860393"/>
                <a:gd name="connsiteY844" fmla="*/ 1329023 h 1348549"/>
                <a:gd name="connsiteX845" fmla="*/ 354901 w 860393"/>
                <a:gd name="connsiteY845" fmla="*/ 1325213 h 1348549"/>
                <a:gd name="connsiteX846" fmla="*/ 359664 w 860393"/>
                <a:gd name="connsiteY846" fmla="*/ 1324642 h 1348549"/>
                <a:gd name="connsiteX847" fmla="*/ 364236 w 860393"/>
                <a:gd name="connsiteY847" fmla="*/ 1322451 h 1348549"/>
                <a:gd name="connsiteX848" fmla="*/ 358616 w 860393"/>
                <a:gd name="connsiteY848" fmla="*/ 1316736 h 1348549"/>
                <a:gd name="connsiteX849" fmla="*/ 361569 w 860393"/>
                <a:gd name="connsiteY849" fmla="*/ 1314736 h 1348549"/>
                <a:gd name="connsiteX850" fmla="*/ 364807 w 860393"/>
                <a:gd name="connsiteY850" fmla="*/ 1314355 h 1348549"/>
                <a:gd name="connsiteX851" fmla="*/ 367189 w 860393"/>
                <a:gd name="connsiteY851" fmla="*/ 1320451 h 1348549"/>
                <a:gd name="connsiteX852" fmla="*/ 374047 w 860393"/>
                <a:gd name="connsiteY852" fmla="*/ 1324451 h 1348549"/>
                <a:gd name="connsiteX853" fmla="*/ 375475 w 860393"/>
                <a:gd name="connsiteY853" fmla="*/ 1322642 h 1348549"/>
                <a:gd name="connsiteX854" fmla="*/ 376428 w 860393"/>
                <a:gd name="connsiteY854" fmla="*/ 1317689 h 1348549"/>
                <a:gd name="connsiteX855" fmla="*/ 381190 w 860393"/>
                <a:gd name="connsiteY855" fmla="*/ 1317117 h 1348549"/>
                <a:gd name="connsiteX856" fmla="*/ 385667 w 860393"/>
                <a:gd name="connsiteY856" fmla="*/ 1314926 h 1348549"/>
                <a:gd name="connsiteX857" fmla="*/ 387096 w 860393"/>
                <a:gd name="connsiteY857" fmla="*/ 1313117 h 1348549"/>
                <a:gd name="connsiteX858" fmla="*/ 395573 w 860393"/>
                <a:gd name="connsiteY858" fmla="*/ 1316831 h 1348549"/>
                <a:gd name="connsiteX859" fmla="*/ 398526 w 860393"/>
                <a:gd name="connsiteY859" fmla="*/ 1314926 h 1348549"/>
                <a:gd name="connsiteX860" fmla="*/ 403003 w 860393"/>
                <a:gd name="connsiteY860" fmla="*/ 1312735 h 1348549"/>
                <a:gd name="connsiteX861" fmla="*/ 404050 w 860393"/>
                <a:gd name="connsiteY861" fmla="*/ 1307783 h 1348549"/>
                <a:gd name="connsiteX862" fmla="*/ 406241 w 860393"/>
                <a:gd name="connsiteY862" fmla="*/ 1312259 h 1348549"/>
                <a:gd name="connsiteX863" fmla="*/ 407575 w 860393"/>
                <a:gd name="connsiteY863" fmla="*/ 1310545 h 1348549"/>
                <a:gd name="connsiteX864" fmla="*/ 416433 w 860393"/>
                <a:gd name="connsiteY864" fmla="*/ 1317403 h 1348549"/>
                <a:gd name="connsiteX865" fmla="*/ 417671 w 860393"/>
                <a:gd name="connsiteY865" fmla="*/ 1314069 h 1348549"/>
                <a:gd name="connsiteX866" fmla="*/ 421005 w 860393"/>
                <a:gd name="connsiteY866" fmla="*/ 1315212 h 1348549"/>
                <a:gd name="connsiteX867" fmla="*/ 429863 w 860393"/>
                <a:gd name="connsiteY867" fmla="*/ 1309306 h 1348549"/>
                <a:gd name="connsiteX868" fmla="*/ 431292 w 860393"/>
                <a:gd name="connsiteY868" fmla="*/ 1307497 h 1348549"/>
                <a:gd name="connsiteX869" fmla="*/ 429482 w 860393"/>
                <a:gd name="connsiteY869" fmla="*/ 1306163 h 1348549"/>
                <a:gd name="connsiteX870" fmla="*/ 430625 w 860393"/>
                <a:gd name="connsiteY870" fmla="*/ 1302734 h 1348549"/>
                <a:gd name="connsiteX871" fmla="*/ 435007 w 860393"/>
                <a:gd name="connsiteY871" fmla="*/ 1299019 h 1348549"/>
                <a:gd name="connsiteX872" fmla="*/ 436150 w 860393"/>
                <a:gd name="connsiteY872" fmla="*/ 1295686 h 1348549"/>
                <a:gd name="connsiteX873" fmla="*/ 439293 w 860393"/>
                <a:gd name="connsiteY873" fmla="*/ 1295210 h 1348549"/>
                <a:gd name="connsiteX874" fmla="*/ 437293 w 860393"/>
                <a:gd name="connsiteY874" fmla="*/ 1292257 h 1348549"/>
                <a:gd name="connsiteX875" fmla="*/ 440531 w 860393"/>
                <a:gd name="connsiteY875" fmla="*/ 1291876 h 1348549"/>
                <a:gd name="connsiteX876" fmla="*/ 441674 w 860393"/>
                <a:gd name="connsiteY876" fmla="*/ 1288542 h 1348549"/>
                <a:gd name="connsiteX877" fmla="*/ 443198 w 860393"/>
                <a:gd name="connsiteY877" fmla="*/ 1288352 h 1348549"/>
                <a:gd name="connsiteX878" fmla="*/ 445961 w 860393"/>
                <a:gd name="connsiteY878" fmla="*/ 1271968 h 1348549"/>
                <a:gd name="connsiteX879" fmla="*/ 447961 w 860393"/>
                <a:gd name="connsiteY879" fmla="*/ 1274921 h 1348549"/>
                <a:gd name="connsiteX880" fmla="*/ 454057 w 860393"/>
                <a:gd name="connsiteY880" fmla="*/ 1272540 h 1348549"/>
                <a:gd name="connsiteX881" fmla="*/ 453676 w 860393"/>
                <a:gd name="connsiteY881" fmla="*/ 1269397 h 1348549"/>
                <a:gd name="connsiteX882" fmla="*/ 458629 w 860393"/>
                <a:gd name="connsiteY882" fmla="*/ 1270349 h 1348549"/>
                <a:gd name="connsiteX883" fmla="*/ 462344 w 860393"/>
                <a:gd name="connsiteY883" fmla="*/ 1261872 h 1348549"/>
                <a:gd name="connsiteX884" fmla="*/ 465487 w 860393"/>
                <a:gd name="connsiteY884" fmla="*/ 1261491 h 1348549"/>
                <a:gd name="connsiteX885" fmla="*/ 467011 w 860393"/>
                <a:gd name="connsiteY885" fmla="*/ 1261205 h 1348549"/>
                <a:gd name="connsiteX886" fmla="*/ 473392 w 860393"/>
                <a:gd name="connsiteY886" fmla="*/ 1260443 h 1348549"/>
                <a:gd name="connsiteX887" fmla="*/ 470821 w 860393"/>
                <a:gd name="connsiteY887" fmla="*/ 1252728 h 1348549"/>
                <a:gd name="connsiteX888" fmla="*/ 472345 w 860393"/>
                <a:gd name="connsiteY888" fmla="*/ 1252538 h 1348549"/>
                <a:gd name="connsiteX889" fmla="*/ 469773 w 860393"/>
                <a:gd name="connsiteY889" fmla="*/ 1244822 h 1348549"/>
                <a:gd name="connsiteX890" fmla="*/ 469582 w 860393"/>
                <a:gd name="connsiteY890" fmla="*/ 1243298 h 1348549"/>
                <a:gd name="connsiteX891" fmla="*/ 462820 w 860393"/>
                <a:gd name="connsiteY891" fmla="*/ 1240917 h 1348549"/>
                <a:gd name="connsiteX892" fmla="*/ 463867 w 860393"/>
                <a:gd name="connsiteY892" fmla="*/ 1235964 h 1348549"/>
                <a:gd name="connsiteX893" fmla="*/ 459867 w 860393"/>
                <a:gd name="connsiteY893" fmla="*/ 1230059 h 1348549"/>
                <a:gd name="connsiteX894" fmla="*/ 457295 w 860393"/>
                <a:gd name="connsiteY894" fmla="*/ 1222439 h 1348549"/>
                <a:gd name="connsiteX895" fmla="*/ 456724 w 860393"/>
                <a:gd name="connsiteY895" fmla="*/ 1217676 h 1348549"/>
                <a:gd name="connsiteX896" fmla="*/ 456057 w 860393"/>
                <a:gd name="connsiteY896" fmla="*/ 1212914 h 1348549"/>
                <a:gd name="connsiteX897" fmla="*/ 457867 w 860393"/>
                <a:gd name="connsiteY897" fmla="*/ 1214342 h 1348549"/>
                <a:gd name="connsiteX898" fmla="*/ 456819 w 860393"/>
                <a:gd name="connsiteY898" fmla="*/ 1206437 h 1348549"/>
                <a:gd name="connsiteX899" fmla="*/ 461581 w 860393"/>
                <a:gd name="connsiteY899" fmla="*/ 1205770 h 1348549"/>
                <a:gd name="connsiteX900" fmla="*/ 462724 w 860393"/>
                <a:gd name="connsiteY900" fmla="*/ 1202436 h 1348549"/>
                <a:gd name="connsiteX901" fmla="*/ 462534 w 860393"/>
                <a:gd name="connsiteY901" fmla="*/ 1200912 h 1348549"/>
                <a:gd name="connsiteX902" fmla="*/ 465296 w 860393"/>
                <a:gd name="connsiteY902" fmla="*/ 1197293 h 1348549"/>
                <a:gd name="connsiteX903" fmla="*/ 467106 w 860393"/>
                <a:gd name="connsiteY903" fmla="*/ 1198721 h 1348549"/>
                <a:gd name="connsiteX904" fmla="*/ 468249 w 860393"/>
                <a:gd name="connsiteY904" fmla="*/ 1195292 h 1348549"/>
                <a:gd name="connsiteX905" fmla="*/ 466725 w 860393"/>
                <a:gd name="connsiteY905" fmla="*/ 1195578 h 1348549"/>
                <a:gd name="connsiteX906" fmla="*/ 469678 w 860393"/>
                <a:gd name="connsiteY906" fmla="*/ 1193578 h 1348549"/>
                <a:gd name="connsiteX907" fmla="*/ 470249 w 860393"/>
                <a:gd name="connsiteY907" fmla="*/ 1185481 h 1348549"/>
                <a:gd name="connsiteX908" fmla="*/ 476536 w 860393"/>
                <a:gd name="connsiteY908" fmla="*/ 1184624 h 1348549"/>
                <a:gd name="connsiteX909" fmla="*/ 476345 w 860393"/>
                <a:gd name="connsiteY909" fmla="*/ 1183100 h 1348549"/>
                <a:gd name="connsiteX910" fmla="*/ 481108 w 860393"/>
                <a:gd name="connsiteY910" fmla="*/ 1182529 h 1348549"/>
                <a:gd name="connsiteX911" fmla="*/ 480631 w 860393"/>
                <a:gd name="connsiteY911" fmla="*/ 1179290 h 1348549"/>
                <a:gd name="connsiteX912" fmla="*/ 480631 w 860393"/>
                <a:gd name="connsiteY912" fmla="*/ 1179290 h 1348549"/>
                <a:gd name="connsiteX913" fmla="*/ 488156 w 860393"/>
                <a:gd name="connsiteY913" fmla="*/ 1187958 h 1348549"/>
                <a:gd name="connsiteX914" fmla="*/ 491299 w 860393"/>
                <a:gd name="connsiteY914" fmla="*/ 1187577 h 1348549"/>
                <a:gd name="connsiteX915" fmla="*/ 491585 w 860393"/>
                <a:gd name="connsiteY915" fmla="*/ 1189196 h 1348549"/>
                <a:gd name="connsiteX916" fmla="*/ 485870 w 860393"/>
                <a:gd name="connsiteY916" fmla="*/ 1194721 h 1348549"/>
                <a:gd name="connsiteX917" fmla="*/ 485680 w 860393"/>
                <a:gd name="connsiteY917" fmla="*/ 1205960 h 1348549"/>
                <a:gd name="connsiteX918" fmla="*/ 484918 w 860393"/>
                <a:gd name="connsiteY918" fmla="*/ 1212437 h 1348549"/>
                <a:gd name="connsiteX919" fmla="*/ 485299 w 860393"/>
                <a:gd name="connsiteY919" fmla="*/ 1215581 h 1348549"/>
                <a:gd name="connsiteX920" fmla="*/ 493205 w 860393"/>
                <a:gd name="connsiteY920" fmla="*/ 1214628 h 1348549"/>
                <a:gd name="connsiteX921" fmla="*/ 496538 w 860393"/>
                <a:gd name="connsiteY921" fmla="*/ 1215771 h 1348549"/>
                <a:gd name="connsiteX922" fmla="*/ 495300 w 860393"/>
                <a:gd name="connsiteY922" fmla="*/ 1206341 h 1348549"/>
                <a:gd name="connsiteX923" fmla="*/ 507206 w 860393"/>
                <a:gd name="connsiteY923" fmla="*/ 1211199 h 1348549"/>
                <a:gd name="connsiteX924" fmla="*/ 510159 w 860393"/>
                <a:gd name="connsiteY924" fmla="*/ 1209294 h 1348549"/>
                <a:gd name="connsiteX925" fmla="*/ 513874 w 860393"/>
                <a:gd name="connsiteY925" fmla="*/ 1213580 h 1348549"/>
                <a:gd name="connsiteX926" fmla="*/ 512921 w 860393"/>
                <a:gd name="connsiteY926" fmla="*/ 1218533 h 1348549"/>
                <a:gd name="connsiteX927" fmla="*/ 522351 w 860393"/>
                <a:gd name="connsiteY927" fmla="*/ 1217295 h 1348549"/>
                <a:gd name="connsiteX928" fmla="*/ 524542 w 860393"/>
                <a:gd name="connsiteY928" fmla="*/ 1221867 h 1348549"/>
                <a:gd name="connsiteX929" fmla="*/ 525971 w 860393"/>
                <a:gd name="connsiteY929" fmla="*/ 1220057 h 1348549"/>
                <a:gd name="connsiteX930" fmla="*/ 523780 w 860393"/>
                <a:gd name="connsiteY930" fmla="*/ 1215581 h 1348549"/>
                <a:gd name="connsiteX931" fmla="*/ 528733 w 860393"/>
                <a:gd name="connsiteY931" fmla="*/ 1216533 h 1348549"/>
                <a:gd name="connsiteX932" fmla="*/ 528542 w 860393"/>
                <a:gd name="connsiteY932" fmla="*/ 1214914 h 1348549"/>
                <a:gd name="connsiteX933" fmla="*/ 531876 w 860393"/>
                <a:gd name="connsiteY933" fmla="*/ 1216152 h 1348549"/>
                <a:gd name="connsiteX934" fmla="*/ 538163 w 860393"/>
                <a:gd name="connsiteY934" fmla="*/ 1215295 h 1348549"/>
                <a:gd name="connsiteX935" fmla="*/ 537020 w 860393"/>
                <a:gd name="connsiteY935" fmla="*/ 1218629 h 1348549"/>
                <a:gd name="connsiteX936" fmla="*/ 543497 w 860393"/>
                <a:gd name="connsiteY936" fmla="*/ 1219390 h 1348549"/>
                <a:gd name="connsiteX937" fmla="*/ 549212 w 860393"/>
                <a:gd name="connsiteY937" fmla="*/ 1226725 h 1348549"/>
                <a:gd name="connsiteX938" fmla="*/ 549212 w 860393"/>
                <a:gd name="connsiteY938" fmla="*/ 1226725 h 1348549"/>
                <a:gd name="connsiteX939" fmla="*/ 554831 w 860393"/>
                <a:gd name="connsiteY939" fmla="*/ 1232440 h 1348549"/>
                <a:gd name="connsiteX940" fmla="*/ 555974 w 860393"/>
                <a:gd name="connsiteY940" fmla="*/ 1241869 h 1348549"/>
                <a:gd name="connsiteX941" fmla="*/ 556165 w 860393"/>
                <a:gd name="connsiteY941" fmla="*/ 1243489 h 1348549"/>
                <a:gd name="connsiteX942" fmla="*/ 571500 w 860393"/>
                <a:gd name="connsiteY942" fmla="*/ 1225487 h 1348549"/>
                <a:gd name="connsiteX943" fmla="*/ 576834 w 860393"/>
                <a:gd name="connsiteY943" fmla="*/ 1216819 h 1348549"/>
                <a:gd name="connsiteX944" fmla="*/ 579787 w 860393"/>
                <a:gd name="connsiteY944" fmla="*/ 1214818 h 1348549"/>
                <a:gd name="connsiteX945" fmla="*/ 581597 w 860393"/>
                <a:gd name="connsiteY945" fmla="*/ 1216152 h 1348549"/>
                <a:gd name="connsiteX946" fmla="*/ 584359 w 860393"/>
                <a:gd name="connsiteY946" fmla="*/ 1212628 h 1348549"/>
                <a:gd name="connsiteX947" fmla="*/ 584549 w 860393"/>
                <a:gd name="connsiteY947" fmla="*/ 1201388 h 1348549"/>
                <a:gd name="connsiteX948" fmla="*/ 582549 w 860393"/>
                <a:gd name="connsiteY948" fmla="*/ 1198435 h 1348549"/>
                <a:gd name="connsiteX949" fmla="*/ 579406 w 860393"/>
                <a:gd name="connsiteY949" fmla="*/ 1198817 h 1348549"/>
                <a:gd name="connsiteX950" fmla="*/ 583501 w 860393"/>
                <a:gd name="connsiteY950" fmla="*/ 1193483 h 1348549"/>
                <a:gd name="connsiteX951" fmla="*/ 576548 w 860393"/>
                <a:gd name="connsiteY951" fmla="*/ 1189577 h 1348549"/>
                <a:gd name="connsiteX952" fmla="*/ 584930 w 860393"/>
                <a:gd name="connsiteY952" fmla="*/ 1191673 h 1348549"/>
                <a:gd name="connsiteX953" fmla="*/ 584645 w 860393"/>
                <a:gd name="connsiteY953" fmla="*/ 1190149 h 1348549"/>
                <a:gd name="connsiteX954" fmla="*/ 587597 w 860393"/>
                <a:gd name="connsiteY954" fmla="*/ 1188148 h 1348549"/>
                <a:gd name="connsiteX955" fmla="*/ 589788 w 860393"/>
                <a:gd name="connsiteY955" fmla="*/ 1192721 h 1348549"/>
                <a:gd name="connsiteX956" fmla="*/ 589979 w 860393"/>
                <a:gd name="connsiteY956" fmla="*/ 1194244 h 1348549"/>
                <a:gd name="connsiteX957" fmla="*/ 593407 w 860393"/>
                <a:gd name="connsiteY957" fmla="*/ 1195388 h 1348549"/>
                <a:gd name="connsiteX958" fmla="*/ 597313 w 860393"/>
                <a:gd name="connsiteY958" fmla="*/ 1188530 h 1348549"/>
                <a:gd name="connsiteX959" fmla="*/ 600456 w 860393"/>
                <a:gd name="connsiteY959" fmla="*/ 1188148 h 1348549"/>
                <a:gd name="connsiteX960" fmla="*/ 604838 w 860393"/>
                <a:gd name="connsiteY960" fmla="*/ 1184339 h 1348549"/>
                <a:gd name="connsiteX961" fmla="*/ 606742 w 860393"/>
                <a:gd name="connsiteY961" fmla="*/ 1187291 h 1348549"/>
                <a:gd name="connsiteX962" fmla="*/ 620554 w 860393"/>
                <a:gd name="connsiteY962" fmla="*/ 1182338 h 1348549"/>
                <a:gd name="connsiteX963" fmla="*/ 622363 w 860393"/>
                <a:gd name="connsiteY963" fmla="*/ 1183767 h 1348549"/>
                <a:gd name="connsiteX964" fmla="*/ 627126 w 860393"/>
                <a:gd name="connsiteY964" fmla="*/ 1183100 h 1348549"/>
                <a:gd name="connsiteX965" fmla="*/ 630079 w 860393"/>
                <a:gd name="connsiteY965" fmla="*/ 1181100 h 1348549"/>
                <a:gd name="connsiteX966" fmla="*/ 633413 w 860393"/>
                <a:gd name="connsiteY966" fmla="*/ 1182338 h 1348549"/>
                <a:gd name="connsiteX967" fmla="*/ 638747 w 860393"/>
                <a:gd name="connsiteY967" fmla="*/ 1186434 h 1348549"/>
                <a:gd name="connsiteX968" fmla="*/ 639128 w 860393"/>
                <a:gd name="connsiteY968" fmla="*/ 1189577 h 1348549"/>
                <a:gd name="connsiteX969" fmla="*/ 637984 w 860393"/>
                <a:gd name="connsiteY969" fmla="*/ 1193006 h 1348549"/>
                <a:gd name="connsiteX970" fmla="*/ 642271 w 860393"/>
                <a:gd name="connsiteY970" fmla="*/ 1189196 h 1348549"/>
                <a:gd name="connsiteX971" fmla="*/ 644080 w 860393"/>
                <a:gd name="connsiteY971" fmla="*/ 1190530 h 1348549"/>
                <a:gd name="connsiteX972" fmla="*/ 644271 w 860393"/>
                <a:gd name="connsiteY972" fmla="*/ 1192149 h 1348549"/>
                <a:gd name="connsiteX973" fmla="*/ 645890 w 860393"/>
                <a:gd name="connsiteY973" fmla="*/ 1191959 h 1348549"/>
                <a:gd name="connsiteX974" fmla="*/ 650748 w 860393"/>
                <a:gd name="connsiteY974" fmla="*/ 1192911 h 1348549"/>
                <a:gd name="connsiteX975" fmla="*/ 651986 w 860393"/>
                <a:gd name="connsiteY975" fmla="*/ 1189577 h 1348549"/>
                <a:gd name="connsiteX976" fmla="*/ 652367 w 860393"/>
                <a:gd name="connsiteY976" fmla="*/ 1192721 h 1348549"/>
                <a:gd name="connsiteX977" fmla="*/ 653796 w 860393"/>
                <a:gd name="connsiteY977" fmla="*/ 1190911 h 1348549"/>
                <a:gd name="connsiteX978" fmla="*/ 658654 w 860393"/>
                <a:gd name="connsiteY978" fmla="*/ 1191959 h 1348549"/>
                <a:gd name="connsiteX979" fmla="*/ 666179 w 860393"/>
                <a:gd name="connsiteY979" fmla="*/ 1187768 h 1348549"/>
                <a:gd name="connsiteX980" fmla="*/ 666940 w 860393"/>
                <a:gd name="connsiteY980" fmla="*/ 1181290 h 1348549"/>
                <a:gd name="connsiteX981" fmla="*/ 671703 w 860393"/>
                <a:gd name="connsiteY981" fmla="*/ 1180624 h 1348549"/>
                <a:gd name="connsiteX982" fmla="*/ 678561 w 860393"/>
                <a:gd name="connsiteY982" fmla="*/ 1171765 h 1348549"/>
                <a:gd name="connsiteX983" fmla="*/ 674561 w 860393"/>
                <a:gd name="connsiteY983" fmla="*/ 1165860 h 1348549"/>
                <a:gd name="connsiteX984" fmla="*/ 677513 w 860393"/>
                <a:gd name="connsiteY984" fmla="*/ 1163860 h 1348549"/>
                <a:gd name="connsiteX985" fmla="*/ 672179 w 860393"/>
                <a:gd name="connsiteY985" fmla="*/ 1159764 h 1348549"/>
                <a:gd name="connsiteX986" fmla="*/ 668464 w 860393"/>
                <a:gd name="connsiteY986" fmla="*/ 1155383 h 1348549"/>
                <a:gd name="connsiteX987" fmla="*/ 668274 w 860393"/>
                <a:gd name="connsiteY987" fmla="*/ 1153859 h 1348549"/>
                <a:gd name="connsiteX988" fmla="*/ 667703 w 860393"/>
                <a:gd name="connsiteY988" fmla="*/ 1149096 h 1348549"/>
                <a:gd name="connsiteX989" fmla="*/ 658749 w 860393"/>
                <a:gd name="connsiteY989" fmla="*/ 1142238 h 1348549"/>
                <a:gd name="connsiteX990" fmla="*/ 659892 w 860393"/>
                <a:gd name="connsiteY990" fmla="*/ 1138809 h 1348549"/>
                <a:gd name="connsiteX991" fmla="*/ 656368 w 860393"/>
                <a:gd name="connsiteY991" fmla="*/ 1136047 h 1348549"/>
                <a:gd name="connsiteX992" fmla="*/ 659130 w 860393"/>
                <a:gd name="connsiteY992" fmla="*/ 1132523 h 1348549"/>
                <a:gd name="connsiteX993" fmla="*/ 662845 w 860393"/>
                <a:gd name="connsiteY993" fmla="*/ 1136904 h 1348549"/>
                <a:gd name="connsiteX994" fmla="*/ 664083 w 860393"/>
                <a:gd name="connsiteY994" fmla="*/ 1133475 h 1348549"/>
                <a:gd name="connsiteX995" fmla="*/ 668846 w 860393"/>
                <a:gd name="connsiteY995" fmla="*/ 1132904 h 1348549"/>
                <a:gd name="connsiteX996" fmla="*/ 669036 w 860393"/>
                <a:gd name="connsiteY996" fmla="*/ 1134523 h 1348549"/>
                <a:gd name="connsiteX997" fmla="*/ 676465 w 860393"/>
                <a:gd name="connsiteY997" fmla="*/ 1130332 h 1348549"/>
                <a:gd name="connsiteX998" fmla="*/ 682847 w 860393"/>
                <a:gd name="connsiteY998" fmla="*/ 1142333 h 1348549"/>
                <a:gd name="connsiteX999" fmla="*/ 687800 w 860393"/>
                <a:gd name="connsiteY999" fmla="*/ 1143286 h 1348549"/>
                <a:gd name="connsiteX1000" fmla="*/ 692087 w 860393"/>
                <a:gd name="connsiteY1000" fmla="*/ 1139571 h 1348549"/>
                <a:gd name="connsiteX1001" fmla="*/ 689515 w 860393"/>
                <a:gd name="connsiteY1001" fmla="*/ 1131856 h 1348549"/>
                <a:gd name="connsiteX1002" fmla="*/ 690944 w 860393"/>
                <a:gd name="connsiteY1002" fmla="*/ 1130046 h 1348549"/>
                <a:gd name="connsiteX1003" fmla="*/ 690277 w 860393"/>
                <a:gd name="connsiteY1003" fmla="*/ 1125379 h 1348549"/>
                <a:gd name="connsiteX1004" fmla="*/ 693230 w 860393"/>
                <a:gd name="connsiteY1004" fmla="*/ 1123379 h 1348549"/>
                <a:gd name="connsiteX1005" fmla="*/ 692658 w 860393"/>
                <a:gd name="connsiteY1005" fmla="*/ 1118616 h 1348549"/>
                <a:gd name="connsiteX1006" fmla="*/ 697135 w 860393"/>
                <a:gd name="connsiteY1006" fmla="*/ 1116425 h 1348549"/>
                <a:gd name="connsiteX1007" fmla="*/ 702564 w 860393"/>
                <a:gd name="connsiteY1007" fmla="*/ 1120616 h 1348549"/>
                <a:gd name="connsiteX1008" fmla="*/ 706660 w 860393"/>
                <a:gd name="connsiteY1008" fmla="*/ 1115282 h 1348549"/>
                <a:gd name="connsiteX1009" fmla="*/ 709231 w 860393"/>
                <a:gd name="connsiteY1009" fmla="*/ 1122902 h 1348549"/>
                <a:gd name="connsiteX1010" fmla="*/ 716185 w 860393"/>
                <a:gd name="connsiteY1010" fmla="*/ 1126903 h 1348549"/>
                <a:gd name="connsiteX1011" fmla="*/ 718280 w 860393"/>
                <a:gd name="connsiteY1011" fmla="*/ 1131380 h 1348549"/>
                <a:gd name="connsiteX1012" fmla="*/ 721519 w 860393"/>
                <a:gd name="connsiteY1012" fmla="*/ 1130998 h 1348549"/>
                <a:gd name="connsiteX1013" fmla="*/ 718947 w 860393"/>
                <a:gd name="connsiteY1013" fmla="*/ 1136142 h 1348549"/>
                <a:gd name="connsiteX1014" fmla="*/ 719138 w 860393"/>
                <a:gd name="connsiteY1014" fmla="*/ 1137761 h 1348549"/>
                <a:gd name="connsiteX1015" fmla="*/ 726091 w 860393"/>
                <a:gd name="connsiteY1015" fmla="*/ 1141667 h 1348549"/>
                <a:gd name="connsiteX1016" fmla="*/ 724662 w 860393"/>
                <a:gd name="connsiteY1016" fmla="*/ 1143476 h 1348549"/>
                <a:gd name="connsiteX1017" fmla="*/ 729424 w 860393"/>
                <a:gd name="connsiteY1017" fmla="*/ 1142810 h 1348549"/>
                <a:gd name="connsiteX1018" fmla="*/ 736473 w 860393"/>
                <a:gd name="connsiteY1018" fmla="*/ 1148334 h 1348549"/>
                <a:gd name="connsiteX1019" fmla="*/ 739712 w 860393"/>
                <a:gd name="connsiteY1019" fmla="*/ 1147953 h 1348549"/>
                <a:gd name="connsiteX1020" fmla="*/ 741045 w 860393"/>
                <a:gd name="connsiteY1020" fmla="*/ 1146143 h 1348549"/>
                <a:gd name="connsiteX1021" fmla="*/ 754856 w 860393"/>
                <a:gd name="connsiteY1021" fmla="*/ 1141190 h 1348549"/>
                <a:gd name="connsiteX1022" fmla="*/ 757999 w 860393"/>
                <a:gd name="connsiteY1022" fmla="*/ 1140809 h 1348549"/>
                <a:gd name="connsiteX1023" fmla="*/ 758190 w 860393"/>
                <a:gd name="connsiteY1023" fmla="*/ 1142333 h 1348549"/>
                <a:gd name="connsiteX1024" fmla="*/ 761333 w 860393"/>
                <a:gd name="connsiteY1024" fmla="*/ 1141952 h 1348549"/>
                <a:gd name="connsiteX1025" fmla="*/ 763143 w 860393"/>
                <a:gd name="connsiteY1025" fmla="*/ 1143381 h 1348549"/>
                <a:gd name="connsiteX1026" fmla="*/ 766286 w 860393"/>
                <a:gd name="connsiteY1026" fmla="*/ 1142905 h 1348549"/>
                <a:gd name="connsiteX1027" fmla="*/ 765905 w 860393"/>
                <a:gd name="connsiteY1027" fmla="*/ 1139762 h 1348549"/>
                <a:gd name="connsiteX1028" fmla="*/ 767524 w 860393"/>
                <a:gd name="connsiteY1028" fmla="*/ 1139571 h 1348549"/>
                <a:gd name="connsiteX1029" fmla="*/ 767048 w 860393"/>
                <a:gd name="connsiteY1029" fmla="*/ 1136428 h 1348549"/>
                <a:gd name="connsiteX1030" fmla="*/ 766477 w 860393"/>
                <a:gd name="connsiteY1030" fmla="*/ 1131665 h 1348549"/>
                <a:gd name="connsiteX1031" fmla="*/ 770382 w 860393"/>
                <a:gd name="connsiteY1031" fmla="*/ 1124807 h 1348549"/>
                <a:gd name="connsiteX1032" fmla="*/ 766667 w 860393"/>
                <a:gd name="connsiteY1032" fmla="*/ 1120426 h 1348549"/>
                <a:gd name="connsiteX1033" fmla="*/ 766477 w 860393"/>
                <a:gd name="connsiteY1033" fmla="*/ 1118902 h 1348549"/>
                <a:gd name="connsiteX1034" fmla="*/ 773906 w 860393"/>
                <a:gd name="connsiteY1034" fmla="*/ 1114711 h 1348549"/>
                <a:gd name="connsiteX1035" fmla="*/ 775145 w 860393"/>
                <a:gd name="connsiteY1035" fmla="*/ 1111377 h 1348549"/>
                <a:gd name="connsiteX1036" fmla="*/ 778097 w 860393"/>
                <a:gd name="connsiteY1036" fmla="*/ 1109377 h 1348549"/>
                <a:gd name="connsiteX1037" fmla="*/ 776288 w 860393"/>
                <a:gd name="connsiteY1037" fmla="*/ 1107948 h 1348549"/>
                <a:gd name="connsiteX1038" fmla="*/ 780574 w 860393"/>
                <a:gd name="connsiteY1038" fmla="*/ 1104233 h 1348549"/>
                <a:gd name="connsiteX1039" fmla="*/ 778002 w 860393"/>
                <a:gd name="connsiteY1039" fmla="*/ 1096518 h 1348549"/>
                <a:gd name="connsiteX1040" fmla="*/ 772097 w 860393"/>
                <a:gd name="connsiteY1040" fmla="*/ 1087660 h 1348549"/>
                <a:gd name="connsiteX1041" fmla="*/ 771715 w 860393"/>
                <a:gd name="connsiteY1041" fmla="*/ 1084517 h 1348549"/>
                <a:gd name="connsiteX1042" fmla="*/ 775240 w 860393"/>
                <a:gd name="connsiteY1042" fmla="*/ 1087279 h 1348549"/>
                <a:gd name="connsiteX1043" fmla="*/ 778192 w 860393"/>
                <a:gd name="connsiteY1043" fmla="*/ 1085279 h 1348549"/>
                <a:gd name="connsiteX1044" fmla="*/ 787241 w 860393"/>
                <a:gd name="connsiteY1044" fmla="*/ 1080897 h 1348549"/>
                <a:gd name="connsiteX1045" fmla="*/ 788480 w 860393"/>
                <a:gd name="connsiteY1045" fmla="*/ 1077563 h 1348549"/>
                <a:gd name="connsiteX1046" fmla="*/ 787813 w 860393"/>
                <a:gd name="connsiteY1046" fmla="*/ 1072801 h 1348549"/>
                <a:gd name="connsiteX1047" fmla="*/ 790384 w 860393"/>
                <a:gd name="connsiteY1047" fmla="*/ 1067657 h 1348549"/>
                <a:gd name="connsiteX1048" fmla="*/ 794004 w 860393"/>
                <a:gd name="connsiteY1048" fmla="*/ 1070419 h 1348549"/>
                <a:gd name="connsiteX1049" fmla="*/ 807720 w 860393"/>
                <a:gd name="connsiteY1049" fmla="*/ 1065467 h 1348549"/>
                <a:gd name="connsiteX1050" fmla="*/ 806958 w 860393"/>
                <a:gd name="connsiteY1050" fmla="*/ 1059180 h 1348549"/>
                <a:gd name="connsiteX1051" fmla="*/ 808577 w 860393"/>
                <a:gd name="connsiteY1051" fmla="*/ 1058989 h 1348549"/>
                <a:gd name="connsiteX1052" fmla="*/ 808101 w 860393"/>
                <a:gd name="connsiteY1052" fmla="*/ 1055846 h 1348549"/>
                <a:gd name="connsiteX1053" fmla="*/ 809149 w 860393"/>
                <a:gd name="connsiteY1053" fmla="*/ 1050893 h 1348549"/>
                <a:gd name="connsiteX1054" fmla="*/ 808672 w 860393"/>
                <a:gd name="connsiteY1054" fmla="*/ 1047750 h 1348549"/>
                <a:gd name="connsiteX1055" fmla="*/ 806767 w 860393"/>
                <a:gd name="connsiteY1055" fmla="*/ 1044797 h 1348549"/>
                <a:gd name="connsiteX1056" fmla="*/ 809911 w 860393"/>
                <a:gd name="connsiteY1056" fmla="*/ 1044321 h 1348549"/>
                <a:gd name="connsiteX1057" fmla="*/ 813435 w 860393"/>
                <a:gd name="connsiteY1057" fmla="*/ 1047083 h 1348549"/>
                <a:gd name="connsiteX1058" fmla="*/ 815435 w 860393"/>
                <a:gd name="connsiteY1058" fmla="*/ 1050036 h 1348549"/>
                <a:gd name="connsiteX1059" fmla="*/ 823341 w 860393"/>
                <a:gd name="connsiteY1059" fmla="*/ 1049084 h 1348549"/>
                <a:gd name="connsiteX1060" fmla="*/ 825532 w 860393"/>
                <a:gd name="connsiteY1060" fmla="*/ 1053560 h 1348549"/>
                <a:gd name="connsiteX1061" fmla="*/ 828675 w 860393"/>
                <a:gd name="connsiteY1061" fmla="*/ 1053179 h 1348549"/>
                <a:gd name="connsiteX1062" fmla="*/ 830580 w 860393"/>
                <a:gd name="connsiteY1062" fmla="*/ 1056132 h 1348549"/>
                <a:gd name="connsiteX1063" fmla="*/ 835152 w 860393"/>
                <a:gd name="connsiteY1063" fmla="*/ 1053941 h 1348549"/>
                <a:gd name="connsiteX1064" fmla="*/ 840676 w 860393"/>
                <a:gd name="connsiteY1064" fmla="*/ 1059656 h 1348549"/>
                <a:gd name="connsiteX1065" fmla="*/ 850011 w 860393"/>
                <a:gd name="connsiteY1065" fmla="*/ 1056894 h 1348549"/>
                <a:gd name="connsiteX1066" fmla="*/ 849535 w 860393"/>
                <a:gd name="connsiteY1066" fmla="*/ 1053751 h 1348549"/>
                <a:gd name="connsiteX1067" fmla="*/ 849154 w 860393"/>
                <a:gd name="connsiteY1067" fmla="*/ 1050608 h 1348549"/>
                <a:gd name="connsiteX1068" fmla="*/ 857440 w 860393"/>
                <a:gd name="connsiteY1068" fmla="*/ 1039939 h 1348549"/>
                <a:gd name="connsiteX1069" fmla="*/ 860393 w 860393"/>
                <a:gd name="connsiteY1069" fmla="*/ 1025080 h 1348549"/>
                <a:gd name="connsiteX1070" fmla="*/ 859917 w 860393"/>
                <a:gd name="connsiteY1070" fmla="*/ 1021937 h 1348549"/>
                <a:gd name="connsiteX1071" fmla="*/ 855250 w 860393"/>
                <a:gd name="connsiteY1071" fmla="*/ 1022509 h 1348549"/>
                <a:gd name="connsiteX1072" fmla="*/ 855250 w 860393"/>
                <a:gd name="connsiteY1072" fmla="*/ 1022509 h 1348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</a:cxnLst>
              <a:rect l="l" t="t" r="r" b="b"/>
              <a:pathLst>
                <a:path w="860393" h="1348549">
                  <a:moveTo>
                    <a:pt x="855250" y="1022509"/>
                  </a:moveTo>
                  <a:lnTo>
                    <a:pt x="856012" y="1016032"/>
                  </a:lnTo>
                  <a:lnTo>
                    <a:pt x="854202" y="1014698"/>
                  </a:lnTo>
                  <a:lnTo>
                    <a:pt x="853821" y="1011555"/>
                  </a:lnTo>
                  <a:lnTo>
                    <a:pt x="852202" y="1011746"/>
                  </a:lnTo>
                  <a:lnTo>
                    <a:pt x="854583" y="1004983"/>
                  </a:lnTo>
                  <a:lnTo>
                    <a:pt x="847439" y="999458"/>
                  </a:lnTo>
                  <a:lnTo>
                    <a:pt x="850011" y="994315"/>
                  </a:lnTo>
                  <a:lnTo>
                    <a:pt x="849821" y="992791"/>
                  </a:lnTo>
                  <a:lnTo>
                    <a:pt x="846677" y="993172"/>
                  </a:lnTo>
                  <a:lnTo>
                    <a:pt x="845725" y="998125"/>
                  </a:lnTo>
                  <a:lnTo>
                    <a:pt x="835438" y="992981"/>
                  </a:lnTo>
                  <a:lnTo>
                    <a:pt x="832675" y="996601"/>
                  </a:lnTo>
                  <a:lnTo>
                    <a:pt x="833247" y="1001268"/>
                  </a:lnTo>
                  <a:lnTo>
                    <a:pt x="828484" y="1001935"/>
                  </a:lnTo>
                  <a:lnTo>
                    <a:pt x="827151" y="1003649"/>
                  </a:lnTo>
                  <a:lnTo>
                    <a:pt x="822484" y="1017080"/>
                  </a:lnTo>
                  <a:lnTo>
                    <a:pt x="815340" y="1011555"/>
                  </a:lnTo>
                  <a:lnTo>
                    <a:pt x="814483" y="1005268"/>
                  </a:lnTo>
                  <a:lnTo>
                    <a:pt x="810578" y="999363"/>
                  </a:lnTo>
                  <a:lnTo>
                    <a:pt x="807434" y="999744"/>
                  </a:lnTo>
                  <a:lnTo>
                    <a:pt x="806958" y="996601"/>
                  </a:lnTo>
                  <a:lnTo>
                    <a:pt x="814102" y="989267"/>
                  </a:lnTo>
                  <a:lnTo>
                    <a:pt x="819055" y="990314"/>
                  </a:lnTo>
                  <a:lnTo>
                    <a:pt x="822960" y="983361"/>
                  </a:lnTo>
                  <a:lnTo>
                    <a:pt x="819626" y="982218"/>
                  </a:lnTo>
                  <a:lnTo>
                    <a:pt x="820769" y="978789"/>
                  </a:lnTo>
                  <a:lnTo>
                    <a:pt x="819150" y="979075"/>
                  </a:lnTo>
                  <a:lnTo>
                    <a:pt x="822103" y="977075"/>
                  </a:lnTo>
                  <a:lnTo>
                    <a:pt x="818959" y="977455"/>
                  </a:lnTo>
                  <a:lnTo>
                    <a:pt x="813816" y="974884"/>
                  </a:lnTo>
                  <a:lnTo>
                    <a:pt x="814673" y="968407"/>
                  </a:lnTo>
                  <a:lnTo>
                    <a:pt x="812863" y="966978"/>
                  </a:lnTo>
                  <a:lnTo>
                    <a:pt x="809911" y="968978"/>
                  </a:lnTo>
                  <a:lnTo>
                    <a:pt x="807720" y="964501"/>
                  </a:lnTo>
                  <a:lnTo>
                    <a:pt x="809054" y="962692"/>
                  </a:lnTo>
                  <a:lnTo>
                    <a:pt x="807530" y="962882"/>
                  </a:lnTo>
                  <a:lnTo>
                    <a:pt x="806863" y="958120"/>
                  </a:lnTo>
                  <a:lnTo>
                    <a:pt x="803720" y="958501"/>
                  </a:lnTo>
                  <a:lnTo>
                    <a:pt x="801338" y="952405"/>
                  </a:lnTo>
                  <a:lnTo>
                    <a:pt x="799433" y="949452"/>
                  </a:lnTo>
                  <a:lnTo>
                    <a:pt x="795814" y="946690"/>
                  </a:lnTo>
                  <a:lnTo>
                    <a:pt x="790289" y="940975"/>
                  </a:lnTo>
                  <a:lnTo>
                    <a:pt x="785717" y="930402"/>
                  </a:lnTo>
                  <a:lnTo>
                    <a:pt x="779240" y="929640"/>
                  </a:lnTo>
                  <a:lnTo>
                    <a:pt x="770572" y="924306"/>
                  </a:lnTo>
                  <a:lnTo>
                    <a:pt x="764762" y="916972"/>
                  </a:lnTo>
                  <a:lnTo>
                    <a:pt x="761619" y="917448"/>
                  </a:lnTo>
                  <a:lnTo>
                    <a:pt x="758857" y="920972"/>
                  </a:lnTo>
                  <a:lnTo>
                    <a:pt x="757047" y="919543"/>
                  </a:lnTo>
                  <a:lnTo>
                    <a:pt x="755904" y="910114"/>
                  </a:lnTo>
                  <a:lnTo>
                    <a:pt x="750570" y="906018"/>
                  </a:lnTo>
                  <a:lnTo>
                    <a:pt x="754285" y="897541"/>
                  </a:lnTo>
                  <a:lnTo>
                    <a:pt x="743617" y="889254"/>
                  </a:lnTo>
                  <a:lnTo>
                    <a:pt x="735044" y="872680"/>
                  </a:lnTo>
                  <a:lnTo>
                    <a:pt x="727996" y="867156"/>
                  </a:lnTo>
                  <a:lnTo>
                    <a:pt x="727996" y="867156"/>
                  </a:lnTo>
                  <a:lnTo>
                    <a:pt x="725424" y="872300"/>
                  </a:lnTo>
                  <a:lnTo>
                    <a:pt x="725043" y="882015"/>
                  </a:lnTo>
                  <a:lnTo>
                    <a:pt x="723424" y="882205"/>
                  </a:lnTo>
                  <a:lnTo>
                    <a:pt x="722090" y="883920"/>
                  </a:lnTo>
                  <a:lnTo>
                    <a:pt x="720280" y="882587"/>
                  </a:lnTo>
                  <a:lnTo>
                    <a:pt x="717709" y="887730"/>
                  </a:lnTo>
                  <a:lnTo>
                    <a:pt x="715994" y="886301"/>
                  </a:lnTo>
                  <a:lnTo>
                    <a:pt x="715613" y="883158"/>
                  </a:lnTo>
                  <a:lnTo>
                    <a:pt x="694849" y="871347"/>
                  </a:lnTo>
                  <a:lnTo>
                    <a:pt x="692467" y="865251"/>
                  </a:lnTo>
                  <a:lnTo>
                    <a:pt x="690848" y="852678"/>
                  </a:lnTo>
                  <a:lnTo>
                    <a:pt x="687610" y="840200"/>
                  </a:lnTo>
                  <a:lnTo>
                    <a:pt x="688657" y="835247"/>
                  </a:lnTo>
                  <a:lnTo>
                    <a:pt x="694849" y="821626"/>
                  </a:lnTo>
                  <a:lnTo>
                    <a:pt x="696468" y="821436"/>
                  </a:lnTo>
                  <a:lnTo>
                    <a:pt x="697421" y="816483"/>
                  </a:lnTo>
                  <a:lnTo>
                    <a:pt x="699040" y="816293"/>
                  </a:lnTo>
                  <a:lnTo>
                    <a:pt x="697039" y="813340"/>
                  </a:lnTo>
                  <a:lnTo>
                    <a:pt x="697611" y="805243"/>
                  </a:lnTo>
                  <a:lnTo>
                    <a:pt x="696087" y="805529"/>
                  </a:lnTo>
                  <a:lnTo>
                    <a:pt x="693706" y="812197"/>
                  </a:lnTo>
                  <a:lnTo>
                    <a:pt x="690563" y="812578"/>
                  </a:lnTo>
                  <a:lnTo>
                    <a:pt x="686943" y="809815"/>
                  </a:lnTo>
                  <a:lnTo>
                    <a:pt x="685229" y="808482"/>
                  </a:lnTo>
                  <a:lnTo>
                    <a:pt x="681799" y="807339"/>
                  </a:lnTo>
                  <a:lnTo>
                    <a:pt x="684371" y="802196"/>
                  </a:lnTo>
                  <a:lnTo>
                    <a:pt x="680847" y="799433"/>
                  </a:lnTo>
                  <a:lnTo>
                    <a:pt x="677513" y="798195"/>
                  </a:lnTo>
                  <a:lnTo>
                    <a:pt x="671322" y="800576"/>
                  </a:lnTo>
                  <a:lnTo>
                    <a:pt x="665416" y="791718"/>
                  </a:lnTo>
                  <a:lnTo>
                    <a:pt x="660654" y="792385"/>
                  </a:lnTo>
                  <a:lnTo>
                    <a:pt x="651986" y="787051"/>
                  </a:lnTo>
                  <a:lnTo>
                    <a:pt x="649605" y="793718"/>
                  </a:lnTo>
                  <a:lnTo>
                    <a:pt x="646271" y="792575"/>
                  </a:lnTo>
                  <a:lnTo>
                    <a:pt x="642175" y="797909"/>
                  </a:lnTo>
                  <a:lnTo>
                    <a:pt x="636080" y="800290"/>
                  </a:lnTo>
                  <a:lnTo>
                    <a:pt x="635317" y="806768"/>
                  </a:lnTo>
                  <a:lnTo>
                    <a:pt x="622649" y="808387"/>
                  </a:lnTo>
                  <a:lnTo>
                    <a:pt x="615887" y="806101"/>
                  </a:lnTo>
                  <a:lnTo>
                    <a:pt x="604075" y="788289"/>
                  </a:lnTo>
                  <a:lnTo>
                    <a:pt x="595598" y="784574"/>
                  </a:lnTo>
                  <a:lnTo>
                    <a:pt x="587312" y="782479"/>
                  </a:lnTo>
                  <a:lnTo>
                    <a:pt x="585311" y="779526"/>
                  </a:lnTo>
                  <a:lnTo>
                    <a:pt x="581978" y="778288"/>
                  </a:lnTo>
                  <a:lnTo>
                    <a:pt x="579406" y="783431"/>
                  </a:lnTo>
                  <a:lnTo>
                    <a:pt x="578167" y="786860"/>
                  </a:lnTo>
                  <a:lnTo>
                    <a:pt x="579977" y="788194"/>
                  </a:lnTo>
                  <a:lnTo>
                    <a:pt x="572072" y="802005"/>
                  </a:lnTo>
                  <a:lnTo>
                    <a:pt x="558927" y="798862"/>
                  </a:lnTo>
                  <a:lnTo>
                    <a:pt x="555498" y="797719"/>
                  </a:lnTo>
                  <a:lnTo>
                    <a:pt x="547211" y="782764"/>
                  </a:lnTo>
                  <a:lnTo>
                    <a:pt x="543878" y="781526"/>
                  </a:lnTo>
                  <a:lnTo>
                    <a:pt x="541115" y="785146"/>
                  </a:lnTo>
                  <a:lnTo>
                    <a:pt x="535972" y="782574"/>
                  </a:lnTo>
                  <a:lnTo>
                    <a:pt x="520922" y="778097"/>
                  </a:lnTo>
                  <a:lnTo>
                    <a:pt x="513493" y="782193"/>
                  </a:lnTo>
                  <a:lnTo>
                    <a:pt x="509111" y="786003"/>
                  </a:lnTo>
                  <a:lnTo>
                    <a:pt x="504444" y="786575"/>
                  </a:lnTo>
                  <a:lnTo>
                    <a:pt x="504825" y="789718"/>
                  </a:lnTo>
                  <a:lnTo>
                    <a:pt x="502634" y="785241"/>
                  </a:lnTo>
                  <a:lnTo>
                    <a:pt x="495490" y="779717"/>
                  </a:lnTo>
                  <a:lnTo>
                    <a:pt x="501587" y="777335"/>
                  </a:lnTo>
                  <a:lnTo>
                    <a:pt x="499681" y="774383"/>
                  </a:lnTo>
                  <a:lnTo>
                    <a:pt x="492538" y="768858"/>
                  </a:lnTo>
                  <a:lnTo>
                    <a:pt x="492157" y="765715"/>
                  </a:lnTo>
                  <a:lnTo>
                    <a:pt x="495109" y="763714"/>
                  </a:lnTo>
                  <a:lnTo>
                    <a:pt x="492728" y="757618"/>
                  </a:lnTo>
                  <a:lnTo>
                    <a:pt x="485775" y="753713"/>
                  </a:lnTo>
                  <a:lnTo>
                    <a:pt x="483584" y="749141"/>
                  </a:lnTo>
                  <a:lnTo>
                    <a:pt x="480441" y="749522"/>
                  </a:lnTo>
                  <a:lnTo>
                    <a:pt x="478441" y="746569"/>
                  </a:lnTo>
                  <a:lnTo>
                    <a:pt x="467011" y="731996"/>
                  </a:lnTo>
                  <a:lnTo>
                    <a:pt x="465011" y="729043"/>
                  </a:lnTo>
                  <a:lnTo>
                    <a:pt x="463582" y="730853"/>
                  </a:lnTo>
                  <a:lnTo>
                    <a:pt x="456152" y="722185"/>
                  </a:lnTo>
                  <a:lnTo>
                    <a:pt x="448818" y="727901"/>
                  </a:lnTo>
                  <a:lnTo>
                    <a:pt x="439388" y="729139"/>
                  </a:lnTo>
                  <a:lnTo>
                    <a:pt x="436626" y="732663"/>
                  </a:lnTo>
                  <a:lnTo>
                    <a:pt x="434054" y="737806"/>
                  </a:lnTo>
                  <a:lnTo>
                    <a:pt x="432054" y="734854"/>
                  </a:lnTo>
                  <a:lnTo>
                    <a:pt x="433006" y="729901"/>
                  </a:lnTo>
                  <a:lnTo>
                    <a:pt x="421386" y="726567"/>
                  </a:lnTo>
                  <a:lnTo>
                    <a:pt x="415290" y="729043"/>
                  </a:lnTo>
                  <a:lnTo>
                    <a:pt x="410337" y="727996"/>
                  </a:lnTo>
                  <a:lnTo>
                    <a:pt x="410146" y="726472"/>
                  </a:lnTo>
                  <a:lnTo>
                    <a:pt x="409956" y="724852"/>
                  </a:lnTo>
                  <a:lnTo>
                    <a:pt x="404622" y="720757"/>
                  </a:lnTo>
                  <a:lnTo>
                    <a:pt x="403003" y="720947"/>
                  </a:lnTo>
                  <a:lnTo>
                    <a:pt x="401860" y="724281"/>
                  </a:lnTo>
                  <a:lnTo>
                    <a:pt x="401288" y="719518"/>
                  </a:lnTo>
                  <a:lnTo>
                    <a:pt x="399288" y="716566"/>
                  </a:lnTo>
                  <a:lnTo>
                    <a:pt x="394716" y="718756"/>
                  </a:lnTo>
                  <a:lnTo>
                    <a:pt x="391192" y="715994"/>
                  </a:lnTo>
                  <a:lnTo>
                    <a:pt x="384620" y="715232"/>
                  </a:lnTo>
                  <a:lnTo>
                    <a:pt x="382238" y="709136"/>
                  </a:lnTo>
                  <a:lnTo>
                    <a:pt x="379286" y="711137"/>
                  </a:lnTo>
                  <a:lnTo>
                    <a:pt x="375761" y="708374"/>
                  </a:lnTo>
                  <a:lnTo>
                    <a:pt x="371189" y="710565"/>
                  </a:lnTo>
                  <a:lnTo>
                    <a:pt x="369284" y="707612"/>
                  </a:lnTo>
                  <a:lnTo>
                    <a:pt x="368046" y="710946"/>
                  </a:lnTo>
                  <a:lnTo>
                    <a:pt x="364903" y="711327"/>
                  </a:lnTo>
                  <a:lnTo>
                    <a:pt x="365284" y="714470"/>
                  </a:lnTo>
                  <a:lnTo>
                    <a:pt x="363760" y="714756"/>
                  </a:lnTo>
                  <a:lnTo>
                    <a:pt x="361950" y="713327"/>
                  </a:lnTo>
                  <a:lnTo>
                    <a:pt x="358997" y="715327"/>
                  </a:lnTo>
                  <a:lnTo>
                    <a:pt x="357664" y="717137"/>
                  </a:lnTo>
                  <a:lnTo>
                    <a:pt x="357188" y="713899"/>
                  </a:lnTo>
                  <a:lnTo>
                    <a:pt x="355473" y="712565"/>
                  </a:lnTo>
                  <a:lnTo>
                    <a:pt x="354997" y="709422"/>
                  </a:lnTo>
                  <a:lnTo>
                    <a:pt x="351854" y="709803"/>
                  </a:lnTo>
                  <a:lnTo>
                    <a:pt x="354235" y="703135"/>
                  </a:lnTo>
                  <a:lnTo>
                    <a:pt x="360331" y="687896"/>
                  </a:lnTo>
                  <a:lnTo>
                    <a:pt x="362807" y="669893"/>
                  </a:lnTo>
                  <a:lnTo>
                    <a:pt x="359664" y="670369"/>
                  </a:lnTo>
                  <a:lnTo>
                    <a:pt x="355949" y="678847"/>
                  </a:lnTo>
                  <a:lnTo>
                    <a:pt x="350806" y="676275"/>
                  </a:lnTo>
                  <a:lnTo>
                    <a:pt x="349472" y="678085"/>
                  </a:lnTo>
                  <a:lnTo>
                    <a:pt x="350044" y="682752"/>
                  </a:lnTo>
                  <a:lnTo>
                    <a:pt x="345091" y="681800"/>
                  </a:lnTo>
                  <a:lnTo>
                    <a:pt x="341947" y="682180"/>
                  </a:lnTo>
                  <a:lnTo>
                    <a:pt x="334899" y="689515"/>
                  </a:lnTo>
                  <a:lnTo>
                    <a:pt x="332708" y="685038"/>
                  </a:lnTo>
                  <a:lnTo>
                    <a:pt x="329374" y="683800"/>
                  </a:lnTo>
                  <a:lnTo>
                    <a:pt x="324803" y="673132"/>
                  </a:lnTo>
                  <a:lnTo>
                    <a:pt x="323945" y="666845"/>
                  </a:lnTo>
                  <a:lnTo>
                    <a:pt x="321945" y="663893"/>
                  </a:lnTo>
                  <a:lnTo>
                    <a:pt x="318611" y="662750"/>
                  </a:lnTo>
                  <a:lnTo>
                    <a:pt x="316039" y="667893"/>
                  </a:lnTo>
                  <a:lnTo>
                    <a:pt x="316611" y="659797"/>
                  </a:lnTo>
                  <a:lnTo>
                    <a:pt x="314230" y="653701"/>
                  </a:lnTo>
                  <a:lnTo>
                    <a:pt x="305753" y="649891"/>
                  </a:lnTo>
                  <a:lnTo>
                    <a:pt x="306705" y="645033"/>
                  </a:lnTo>
                  <a:lnTo>
                    <a:pt x="309944" y="644557"/>
                  </a:lnTo>
                  <a:lnTo>
                    <a:pt x="307467" y="638461"/>
                  </a:lnTo>
                  <a:lnTo>
                    <a:pt x="312230" y="637889"/>
                  </a:lnTo>
                  <a:lnTo>
                    <a:pt x="313468" y="634555"/>
                  </a:lnTo>
                  <a:lnTo>
                    <a:pt x="319183" y="629031"/>
                  </a:lnTo>
                  <a:lnTo>
                    <a:pt x="318897" y="627412"/>
                  </a:lnTo>
                  <a:lnTo>
                    <a:pt x="319945" y="622459"/>
                  </a:lnTo>
                  <a:lnTo>
                    <a:pt x="321659" y="623888"/>
                  </a:lnTo>
                  <a:lnTo>
                    <a:pt x="323088" y="622078"/>
                  </a:lnTo>
                  <a:lnTo>
                    <a:pt x="322707" y="618934"/>
                  </a:lnTo>
                  <a:lnTo>
                    <a:pt x="324993" y="612172"/>
                  </a:lnTo>
                  <a:lnTo>
                    <a:pt x="316706" y="610076"/>
                  </a:lnTo>
                  <a:lnTo>
                    <a:pt x="317849" y="606647"/>
                  </a:lnTo>
                  <a:lnTo>
                    <a:pt x="315563" y="600551"/>
                  </a:lnTo>
                  <a:lnTo>
                    <a:pt x="323183" y="597980"/>
                  </a:lnTo>
                  <a:lnTo>
                    <a:pt x="322802" y="594836"/>
                  </a:lnTo>
                  <a:lnTo>
                    <a:pt x="327374" y="592646"/>
                  </a:lnTo>
                  <a:lnTo>
                    <a:pt x="328327" y="587693"/>
                  </a:lnTo>
                  <a:lnTo>
                    <a:pt x="334613" y="586930"/>
                  </a:lnTo>
                  <a:lnTo>
                    <a:pt x="336804" y="578644"/>
                  </a:lnTo>
                  <a:lnTo>
                    <a:pt x="338519" y="579977"/>
                  </a:lnTo>
                  <a:lnTo>
                    <a:pt x="341090" y="574834"/>
                  </a:lnTo>
                  <a:lnTo>
                    <a:pt x="339090" y="571881"/>
                  </a:lnTo>
                  <a:lnTo>
                    <a:pt x="341852" y="568357"/>
                  </a:lnTo>
                  <a:lnTo>
                    <a:pt x="339471" y="562261"/>
                  </a:lnTo>
                  <a:lnTo>
                    <a:pt x="339280" y="560642"/>
                  </a:lnTo>
                  <a:lnTo>
                    <a:pt x="335185" y="553212"/>
                  </a:lnTo>
                  <a:lnTo>
                    <a:pt x="320516" y="539020"/>
                  </a:lnTo>
                  <a:lnTo>
                    <a:pt x="312039" y="535305"/>
                  </a:lnTo>
                  <a:lnTo>
                    <a:pt x="309658" y="529114"/>
                  </a:lnTo>
                  <a:lnTo>
                    <a:pt x="311182" y="528923"/>
                  </a:lnTo>
                  <a:lnTo>
                    <a:pt x="320040" y="523018"/>
                  </a:lnTo>
                  <a:lnTo>
                    <a:pt x="320802" y="516541"/>
                  </a:lnTo>
                  <a:lnTo>
                    <a:pt x="318421" y="510349"/>
                  </a:lnTo>
                  <a:lnTo>
                    <a:pt x="316801" y="497776"/>
                  </a:lnTo>
                  <a:lnTo>
                    <a:pt x="325279" y="488632"/>
                  </a:lnTo>
                  <a:lnTo>
                    <a:pt x="329851" y="473678"/>
                  </a:lnTo>
                  <a:lnTo>
                    <a:pt x="337471" y="471107"/>
                  </a:lnTo>
                  <a:lnTo>
                    <a:pt x="342995" y="463963"/>
                  </a:lnTo>
                  <a:lnTo>
                    <a:pt x="345567" y="458819"/>
                  </a:lnTo>
                  <a:lnTo>
                    <a:pt x="353282" y="456247"/>
                  </a:lnTo>
                  <a:lnTo>
                    <a:pt x="360521" y="437674"/>
                  </a:lnTo>
                  <a:lnTo>
                    <a:pt x="359473" y="429768"/>
                  </a:lnTo>
                  <a:lnTo>
                    <a:pt x="357092" y="423672"/>
                  </a:lnTo>
                  <a:lnTo>
                    <a:pt x="357473" y="414052"/>
                  </a:lnTo>
                  <a:lnTo>
                    <a:pt x="349948" y="392525"/>
                  </a:lnTo>
                  <a:lnTo>
                    <a:pt x="365665" y="377666"/>
                  </a:lnTo>
                  <a:lnTo>
                    <a:pt x="369665" y="370808"/>
                  </a:lnTo>
                  <a:lnTo>
                    <a:pt x="365665" y="364903"/>
                  </a:lnTo>
                  <a:lnTo>
                    <a:pt x="364236" y="353854"/>
                  </a:lnTo>
                  <a:lnTo>
                    <a:pt x="361664" y="346138"/>
                  </a:lnTo>
                  <a:lnTo>
                    <a:pt x="371951" y="338423"/>
                  </a:lnTo>
                  <a:lnTo>
                    <a:pt x="375095" y="338042"/>
                  </a:lnTo>
                  <a:lnTo>
                    <a:pt x="383096" y="325755"/>
                  </a:lnTo>
                  <a:lnTo>
                    <a:pt x="387287" y="320421"/>
                  </a:lnTo>
                  <a:lnTo>
                    <a:pt x="392335" y="310134"/>
                  </a:lnTo>
                  <a:lnTo>
                    <a:pt x="397669" y="314230"/>
                  </a:lnTo>
                  <a:lnTo>
                    <a:pt x="400717" y="312325"/>
                  </a:lnTo>
                  <a:lnTo>
                    <a:pt x="405003" y="308515"/>
                  </a:lnTo>
                  <a:lnTo>
                    <a:pt x="404241" y="302228"/>
                  </a:lnTo>
                  <a:lnTo>
                    <a:pt x="408146" y="295275"/>
                  </a:lnTo>
                  <a:lnTo>
                    <a:pt x="414052" y="291370"/>
                  </a:lnTo>
                  <a:lnTo>
                    <a:pt x="427672" y="297656"/>
                  </a:lnTo>
                  <a:lnTo>
                    <a:pt x="434912" y="291846"/>
                  </a:lnTo>
                  <a:lnTo>
                    <a:pt x="442246" y="273272"/>
                  </a:lnTo>
                  <a:lnTo>
                    <a:pt x="450723" y="264223"/>
                  </a:lnTo>
                  <a:lnTo>
                    <a:pt x="453962" y="252603"/>
                  </a:lnTo>
                  <a:lnTo>
                    <a:pt x="455771" y="253936"/>
                  </a:lnTo>
                  <a:lnTo>
                    <a:pt x="463487" y="264223"/>
                  </a:lnTo>
                  <a:lnTo>
                    <a:pt x="468821" y="268319"/>
                  </a:lnTo>
                  <a:lnTo>
                    <a:pt x="471773" y="266319"/>
                  </a:lnTo>
                  <a:lnTo>
                    <a:pt x="480060" y="268510"/>
                  </a:lnTo>
                  <a:lnTo>
                    <a:pt x="485965" y="264509"/>
                  </a:lnTo>
                  <a:lnTo>
                    <a:pt x="485394" y="259842"/>
                  </a:lnTo>
                  <a:lnTo>
                    <a:pt x="488156" y="256222"/>
                  </a:lnTo>
                  <a:lnTo>
                    <a:pt x="487299" y="249936"/>
                  </a:lnTo>
                  <a:lnTo>
                    <a:pt x="488156" y="243459"/>
                  </a:lnTo>
                  <a:lnTo>
                    <a:pt x="485299" y="234124"/>
                  </a:lnTo>
                  <a:lnTo>
                    <a:pt x="487680" y="227457"/>
                  </a:lnTo>
                  <a:lnTo>
                    <a:pt x="489204" y="214408"/>
                  </a:lnTo>
                  <a:lnTo>
                    <a:pt x="487013" y="209836"/>
                  </a:lnTo>
                  <a:lnTo>
                    <a:pt x="489775" y="206311"/>
                  </a:lnTo>
                  <a:lnTo>
                    <a:pt x="481108" y="188214"/>
                  </a:lnTo>
                  <a:lnTo>
                    <a:pt x="472249" y="194119"/>
                  </a:lnTo>
                  <a:lnTo>
                    <a:pt x="469582" y="186404"/>
                  </a:lnTo>
                  <a:lnTo>
                    <a:pt x="459581" y="182880"/>
                  </a:lnTo>
                  <a:lnTo>
                    <a:pt x="445389" y="184690"/>
                  </a:lnTo>
                  <a:lnTo>
                    <a:pt x="442436" y="186690"/>
                  </a:lnTo>
                  <a:lnTo>
                    <a:pt x="441484" y="204406"/>
                  </a:lnTo>
                  <a:lnTo>
                    <a:pt x="435102" y="205264"/>
                  </a:lnTo>
                  <a:lnTo>
                    <a:pt x="431578" y="202501"/>
                  </a:lnTo>
                  <a:lnTo>
                    <a:pt x="428149" y="188500"/>
                  </a:lnTo>
                  <a:lnTo>
                    <a:pt x="424244" y="182594"/>
                  </a:lnTo>
                  <a:lnTo>
                    <a:pt x="431959" y="180022"/>
                  </a:lnTo>
                  <a:lnTo>
                    <a:pt x="429768" y="175450"/>
                  </a:lnTo>
                  <a:lnTo>
                    <a:pt x="430339" y="167354"/>
                  </a:lnTo>
                  <a:lnTo>
                    <a:pt x="435197" y="155543"/>
                  </a:lnTo>
                  <a:lnTo>
                    <a:pt x="429673" y="149828"/>
                  </a:lnTo>
                  <a:lnTo>
                    <a:pt x="426530" y="150209"/>
                  </a:lnTo>
                  <a:lnTo>
                    <a:pt x="423196" y="149066"/>
                  </a:lnTo>
                  <a:lnTo>
                    <a:pt x="425101" y="139160"/>
                  </a:lnTo>
                  <a:lnTo>
                    <a:pt x="430054" y="140113"/>
                  </a:lnTo>
                  <a:lnTo>
                    <a:pt x="432625" y="135064"/>
                  </a:lnTo>
                  <a:lnTo>
                    <a:pt x="430435" y="130492"/>
                  </a:lnTo>
                  <a:lnTo>
                    <a:pt x="414814" y="134112"/>
                  </a:lnTo>
                  <a:lnTo>
                    <a:pt x="406146" y="141637"/>
                  </a:lnTo>
                  <a:lnTo>
                    <a:pt x="398336" y="142589"/>
                  </a:lnTo>
                  <a:lnTo>
                    <a:pt x="389001" y="145351"/>
                  </a:lnTo>
                  <a:lnTo>
                    <a:pt x="378714" y="140303"/>
                  </a:lnTo>
                  <a:lnTo>
                    <a:pt x="371665" y="134779"/>
                  </a:lnTo>
                  <a:lnTo>
                    <a:pt x="359759" y="129826"/>
                  </a:lnTo>
                  <a:lnTo>
                    <a:pt x="357378" y="123730"/>
                  </a:lnTo>
                  <a:lnTo>
                    <a:pt x="350330" y="118205"/>
                  </a:lnTo>
                  <a:lnTo>
                    <a:pt x="343376" y="114300"/>
                  </a:lnTo>
                  <a:lnTo>
                    <a:pt x="335471" y="102489"/>
                  </a:lnTo>
                  <a:lnTo>
                    <a:pt x="326136" y="92488"/>
                  </a:lnTo>
                  <a:lnTo>
                    <a:pt x="324517" y="79819"/>
                  </a:lnTo>
                  <a:lnTo>
                    <a:pt x="328041" y="69723"/>
                  </a:lnTo>
                  <a:lnTo>
                    <a:pt x="321183" y="65818"/>
                  </a:lnTo>
                  <a:lnTo>
                    <a:pt x="314611" y="65056"/>
                  </a:lnTo>
                  <a:lnTo>
                    <a:pt x="310324" y="68770"/>
                  </a:lnTo>
                  <a:lnTo>
                    <a:pt x="299466" y="71818"/>
                  </a:lnTo>
                  <a:lnTo>
                    <a:pt x="295084" y="75533"/>
                  </a:lnTo>
                  <a:lnTo>
                    <a:pt x="293370" y="74200"/>
                  </a:lnTo>
                  <a:lnTo>
                    <a:pt x="285464" y="75152"/>
                  </a:lnTo>
                  <a:lnTo>
                    <a:pt x="272224" y="59245"/>
                  </a:lnTo>
                  <a:lnTo>
                    <a:pt x="264319" y="60198"/>
                  </a:lnTo>
                  <a:lnTo>
                    <a:pt x="262699" y="47625"/>
                  </a:lnTo>
                  <a:lnTo>
                    <a:pt x="257746" y="46672"/>
                  </a:lnTo>
                  <a:lnTo>
                    <a:pt x="245173" y="48292"/>
                  </a:lnTo>
                  <a:lnTo>
                    <a:pt x="243935" y="51625"/>
                  </a:lnTo>
                  <a:lnTo>
                    <a:pt x="222409" y="46291"/>
                  </a:lnTo>
                  <a:lnTo>
                    <a:pt x="211550" y="36481"/>
                  </a:lnTo>
                  <a:lnTo>
                    <a:pt x="206883" y="37052"/>
                  </a:lnTo>
                  <a:lnTo>
                    <a:pt x="202692" y="29623"/>
                  </a:lnTo>
                  <a:lnTo>
                    <a:pt x="199549" y="30004"/>
                  </a:lnTo>
                  <a:lnTo>
                    <a:pt x="195167" y="33814"/>
                  </a:lnTo>
                  <a:lnTo>
                    <a:pt x="189452" y="26479"/>
                  </a:lnTo>
                  <a:lnTo>
                    <a:pt x="184309" y="23908"/>
                  </a:lnTo>
                  <a:lnTo>
                    <a:pt x="175831" y="33052"/>
                  </a:lnTo>
                  <a:lnTo>
                    <a:pt x="167926" y="34004"/>
                  </a:lnTo>
                  <a:lnTo>
                    <a:pt x="165735" y="29527"/>
                  </a:lnTo>
                  <a:lnTo>
                    <a:pt x="151543" y="18478"/>
                  </a:lnTo>
                  <a:lnTo>
                    <a:pt x="134588" y="11049"/>
                  </a:lnTo>
                  <a:lnTo>
                    <a:pt x="120301" y="0"/>
                  </a:lnTo>
                  <a:lnTo>
                    <a:pt x="118967" y="1810"/>
                  </a:lnTo>
                  <a:lnTo>
                    <a:pt x="115538" y="571"/>
                  </a:lnTo>
                  <a:lnTo>
                    <a:pt x="111633" y="7525"/>
                  </a:lnTo>
                  <a:lnTo>
                    <a:pt x="106680" y="6572"/>
                  </a:lnTo>
                  <a:lnTo>
                    <a:pt x="103727" y="8572"/>
                  </a:lnTo>
                  <a:lnTo>
                    <a:pt x="102965" y="15049"/>
                  </a:lnTo>
                  <a:lnTo>
                    <a:pt x="98679" y="18764"/>
                  </a:lnTo>
                  <a:lnTo>
                    <a:pt x="99441" y="25146"/>
                  </a:lnTo>
                  <a:lnTo>
                    <a:pt x="95536" y="32004"/>
                  </a:lnTo>
                  <a:lnTo>
                    <a:pt x="96298" y="38290"/>
                  </a:lnTo>
                  <a:lnTo>
                    <a:pt x="90678" y="43910"/>
                  </a:lnTo>
                  <a:lnTo>
                    <a:pt x="89630" y="48768"/>
                  </a:lnTo>
                  <a:lnTo>
                    <a:pt x="92773" y="48387"/>
                  </a:lnTo>
                  <a:lnTo>
                    <a:pt x="100108" y="55531"/>
                  </a:lnTo>
                  <a:lnTo>
                    <a:pt x="107061" y="59436"/>
                  </a:lnTo>
                  <a:lnTo>
                    <a:pt x="112204" y="62008"/>
                  </a:lnTo>
                  <a:lnTo>
                    <a:pt x="116300" y="69437"/>
                  </a:lnTo>
                  <a:lnTo>
                    <a:pt x="122491" y="67056"/>
                  </a:lnTo>
                  <a:lnTo>
                    <a:pt x="124396" y="70009"/>
                  </a:lnTo>
                  <a:lnTo>
                    <a:pt x="124873" y="73152"/>
                  </a:lnTo>
                  <a:lnTo>
                    <a:pt x="127063" y="77724"/>
                  </a:lnTo>
                  <a:lnTo>
                    <a:pt x="130397" y="91726"/>
                  </a:lnTo>
                  <a:lnTo>
                    <a:pt x="128016" y="98488"/>
                  </a:lnTo>
                  <a:lnTo>
                    <a:pt x="136588" y="114967"/>
                  </a:lnTo>
                  <a:lnTo>
                    <a:pt x="143923" y="122111"/>
                  </a:lnTo>
                  <a:lnTo>
                    <a:pt x="145256" y="133159"/>
                  </a:lnTo>
                  <a:lnTo>
                    <a:pt x="142589" y="136684"/>
                  </a:lnTo>
                  <a:lnTo>
                    <a:pt x="147066" y="147352"/>
                  </a:lnTo>
                  <a:lnTo>
                    <a:pt x="156210" y="155829"/>
                  </a:lnTo>
                  <a:lnTo>
                    <a:pt x="161163" y="156781"/>
                  </a:lnTo>
                  <a:lnTo>
                    <a:pt x="164116" y="154781"/>
                  </a:lnTo>
                  <a:lnTo>
                    <a:pt x="167259" y="154400"/>
                  </a:lnTo>
                  <a:lnTo>
                    <a:pt x="169640" y="160496"/>
                  </a:lnTo>
                  <a:lnTo>
                    <a:pt x="186595" y="167926"/>
                  </a:lnTo>
                  <a:lnTo>
                    <a:pt x="189547" y="166021"/>
                  </a:lnTo>
                  <a:lnTo>
                    <a:pt x="191357" y="167354"/>
                  </a:lnTo>
                  <a:lnTo>
                    <a:pt x="192214" y="173641"/>
                  </a:lnTo>
                  <a:lnTo>
                    <a:pt x="195739" y="176403"/>
                  </a:lnTo>
                  <a:lnTo>
                    <a:pt x="204406" y="194596"/>
                  </a:lnTo>
                  <a:lnTo>
                    <a:pt x="202882" y="207550"/>
                  </a:lnTo>
                  <a:lnTo>
                    <a:pt x="198977" y="214503"/>
                  </a:lnTo>
                  <a:lnTo>
                    <a:pt x="193072" y="218503"/>
                  </a:lnTo>
                  <a:lnTo>
                    <a:pt x="191929" y="221837"/>
                  </a:lnTo>
                  <a:lnTo>
                    <a:pt x="199168" y="228886"/>
                  </a:lnTo>
                  <a:lnTo>
                    <a:pt x="198596" y="236982"/>
                  </a:lnTo>
                  <a:lnTo>
                    <a:pt x="211455" y="249745"/>
                  </a:lnTo>
                  <a:lnTo>
                    <a:pt x="207169" y="253555"/>
                  </a:lnTo>
                  <a:lnTo>
                    <a:pt x="203454" y="262033"/>
                  </a:lnTo>
                  <a:lnTo>
                    <a:pt x="192596" y="265081"/>
                  </a:lnTo>
                  <a:lnTo>
                    <a:pt x="190976" y="265271"/>
                  </a:lnTo>
                  <a:lnTo>
                    <a:pt x="186214" y="252984"/>
                  </a:lnTo>
                  <a:lnTo>
                    <a:pt x="180499" y="245745"/>
                  </a:lnTo>
                  <a:lnTo>
                    <a:pt x="179261" y="236220"/>
                  </a:lnTo>
                  <a:lnTo>
                    <a:pt x="174117" y="233743"/>
                  </a:lnTo>
                  <a:lnTo>
                    <a:pt x="165449" y="241173"/>
                  </a:lnTo>
                  <a:lnTo>
                    <a:pt x="166116" y="245936"/>
                  </a:lnTo>
                  <a:lnTo>
                    <a:pt x="168116" y="248888"/>
                  </a:lnTo>
                  <a:lnTo>
                    <a:pt x="163925" y="254222"/>
                  </a:lnTo>
                  <a:lnTo>
                    <a:pt x="162782" y="257556"/>
                  </a:lnTo>
                  <a:lnTo>
                    <a:pt x="158210" y="259747"/>
                  </a:lnTo>
                  <a:lnTo>
                    <a:pt x="154686" y="256984"/>
                  </a:lnTo>
                  <a:lnTo>
                    <a:pt x="142018" y="258604"/>
                  </a:lnTo>
                  <a:lnTo>
                    <a:pt x="140113" y="255651"/>
                  </a:lnTo>
                  <a:lnTo>
                    <a:pt x="135160" y="254698"/>
                  </a:lnTo>
                  <a:lnTo>
                    <a:pt x="122872" y="259461"/>
                  </a:lnTo>
                  <a:lnTo>
                    <a:pt x="121920" y="264414"/>
                  </a:lnTo>
                  <a:lnTo>
                    <a:pt x="115824" y="266795"/>
                  </a:lnTo>
                  <a:lnTo>
                    <a:pt x="111728" y="272129"/>
                  </a:lnTo>
                  <a:lnTo>
                    <a:pt x="112871" y="281559"/>
                  </a:lnTo>
                  <a:lnTo>
                    <a:pt x="111919" y="286512"/>
                  </a:lnTo>
                  <a:lnTo>
                    <a:pt x="105823" y="288893"/>
                  </a:lnTo>
                  <a:lnTo>
                    <a:pt x="99250" y="288131"/>
                  </a:lnTo>
                  <a:lnTo>
                    <a:pt x="98488" y="294608"/>
                  </a:lnTo>
                  <a:lnTo>
                    <a:pt x="100679" y="299180"/>
                  </a:lnTo>
                  <a:lnTo>
                    <a:pt x="99727" y="304133"/>
                  </a:lnTo>
                  <a:lnTo>
                    <a:pt x="100774" y="312039"/>
                  </a:lnTo>
                  <a:lnTo>
                    <a:pt x="98203" y="317182"/>
                  </a:lnTo>
                  <a:lnTo>
                    <a:pt x="90869" y="322897"/>
                  </a:lnTo>
                  <a:lnTo>
                    <a:pt x="90106" y="329374"/>
                  </a:lnTo>
                  <a:lnTo>
                    <a:pt x="86392" y="337947"/>
                  </a:lnTo>
                  <a:lnTo>
                    <a:pt x="85820" y="345948"/>
                  </a:lnTo>
                  <a:lnTo>
                    <a:pt x="83058" y="349567"/>
                  </a:lnTo>
                  <a:lnTo>
                    <a:pt x="81153" y="359378"/>
                  </a:lnTo>
                  <a:lnTo>
                    <a:pt x="81915" y="365760"/>
                  </a:lnTo>
                  <a:lnTo>
                    <a:pt x="79534" y="372428"/>
                  </a:lnTo>
                  <a:lnTo>
                    <a:pt x="78010" y="372618"/>
                  </a:lnTo>
                  <a:lnTo>
                    <a:pt x="77343" y="367951"/>
                  </a:lnTo>
                  <a:lnTo>
                    <a:pt x="74200" y="368332"/>
                  </a:lnTo>
                  <a:lnTo>
                    <a:pt x="76009" y="382524"/>
                  </a:lnTo>
                  <a:lnTo>
                    <a:pt x="70295" y="388048"/>
                  </a:lnTo>
                  <a:lnTo>
                    <a:pt x="62484" y="389096"/>
                  </a:lnTo>
                  <a:lnTo>
                    <a:pt x="61055" y="390811"/>
                  </a:lnTo>
                  <a:lnTo>
                    <a:pt x="63055" y="393763"/>
                  </a:lnTo>
                  <a:lnTo>
                    <a:pt x="69628" y="407384"/>
                  </a:lnTo>
                  <a:lnTo>
                    <a:pt x="70390" y="413671"/>
                  </a:lnTo>
                  <a:lnTo>
                    <a:pt x="74200" y="418052"/>
                  </a:lnTo>
                  <a:lnTo>
                    <a:pt x="66865" y="423767"/>
                  </a:lnTo>
                  <a:lnTo>
                    <a:pt x="60007" y="432625"/>
                  </a:lnTo>
                  <a:lnTo>
                    <a:pt x="57436" y="437769"/>
                  </a:lnTo>
                  <a:lnTo>
                    <a:pt x="68294" y="447675"/>
                  </a:lnTo>
                  <a:lnTo>
                    <a:pt x="64389" y="454533"/>
                  </a:lnTo>
                  <a:lnTo>
                    <a:pt x="72104" y="464820"/>
                  </a:lnTo>
                  <a:lnTo>
                    <a:pt x="66199" y="468725"/>
                  </a:lnTo>
                  <a:lnTo>
                    <a:pt x="65246" y="473678"/>
                  </a:lnTo>
                  <a:lnTo>
                    <a:pt x="65627" y="476821"/>
                  </a:lnTo>
                  <a:lnTo>
                    <a:pt x="64389" y="480250"/>
                  </a:lnTo>
                  <a:lnTo>
                    <a:pt x="56579" y="481203"/>
                  </a:lnTo>
                  <a:lnTo>
                    <a:pt x="55340" y="484537"/>
                  </a:lnTo>
                  <a:lnTo>
                    <a:pt x="46291" y="488918"/>
                  </a:lnTo>
                  <a:lnTo>
                    <a:pt x="43910" y="495681"/>
                  </a:lnTo>
                  <a:lnTo>
                    <a:pt x="39053" y="494728"/>
                  </a:lnTo>
                  <a:lnTo>
                    <a:pt x="37814" y="498062"/>
                  </a:lnTo>
                  <a:lnTo>
                    <a:pt x="38671" y="504349"/>
                  </a:lnTo>
                  <a:lnTo>
                    <a:pt x="37433" y="507682"/>
                  </a:lnTo>
                  <a:lnTo>
                    <a:pt x="33147" y="511492"/>
                  </a:lnTo>
                  <a:lnTo>
                    <a:pt x="29242" y="518350"/>
                  </a:lnTo>
                  <a:lnTo>
                    <a:pt x="29432" y="519970"/>
                  </a:lnTo>
                  <a:lnTo>
                    <a:pt x="24860" y="522160"/>
                  </a:lnTo>
                  <a:lnTo>
                    <a:pt x="19145" y="514826"/>
                  </a:lnTo>
                  <a:lnTo>
                    <a:pt x="6096" y="513302"/>
                  </a:lnTo>
                  <a:lnTo>
                    <a:pt x="0" y="515684"/>
                  </a:lnTo>
                  <a:lnTo>
                    <a:pt x="3810" y="532829"/>
                  </a:lnTo>
                  <a:lnTo>
                    <a:pt x="9144" y="537019"/>
                  </a:lnTo>
                  <a:lnTo>
                    <a:pt x="13049" y="542925"/>
                  </a:lnTo>
                  <a:lnTo>
                    <a:pt x="12097" y="547783"/>
                  </a:lnTo>
                  <a:lnTo>
                    <a:pt x="17621" y="553498"/>
                  </a:lnTo>
                  <a:lnTo>
                    <a:pt x="15526" y="561784"/>
                  </a:lnTo>
                  <a:lnTo>
                    <a:pt x="15145" y="571500"/>
                  </a:lnTo>
                  <a:lnTo>
                    <a:pt x="15716" y="576263"/>
                  </a:lnTo>
                  <a:lnTo>
                    <a:pt x="20860" y="578834"/>
                  </a:lnTo>
                  <a:lnTo>
                    <a:pt x="22288" y="589788"/>
                  </a:lnTo>
                  <a:lnTo>
                    <a:pt x="29146" y="593788"/>
                  </a:lnTo>
                  <a:lnTo>
                    <a:pt x="25432" y="602266"/>
                  </a:lnTo>
                  <a:lnTo>
                    <a:pt x="33909" y="605980"/>
                  </a:lnTo>
                  <a:lnTo>
                    <a:pt x="31432" y="611124"/>
                  </a:lnTo>
                  <a:lnTo>
                    <a:pt x="33623" y="615696"/>
                  </a:lnTo>
                  <a:lnTo>
                    <a:pt x="31051" y="620744"/>
                  </a:lnTo>
                  <a:lnTo>
                    <a:pt x="31813" y="627126"/>
                  </a:lnTo>
                  <a:lnTo>
                    <a:pt x="33814" y="630079"/>
                  </a:lnTo>
                  <a:lnTo>
                    <a:pt x="29908" y="636937"/>
                  </a:lnTo>
                  <a:lnTo>
                    <a:pt x="36195" y="649034"/>
                  </a:lnTo>
                  <a:lnTo>
                    <a:pt x="37243" y="656844"/>
                  </a:lnTo>
                  <a:lnTo>
                    <a:pt x="43910" y="659225"/>
                  </a:lnTo>
                  <a:lnTo>
                    <a:pt x="40957" y="661226"/>
                  </a:lnTo>
                  <a:lnTo>
                    <a:pt x="42767" y="662559"/>
                  </a:lnTo>
                  <a:lnTo>
                    <a:pt x="33909" y="668560"/>
                  </a:lnTo>
                  <a:lnTo>
                    <a:pt x="30766" y="668941"/>
                  </a:lnTo>
                  <a:lnTo>
                    <a:pt x="24860" y="672941"/>
                  </a:lnTo>
                  <a:lnTo>
                    <a:pt x="22098" y="676465"/>
                  </a:lnTo>
                  <a:lnTo>
                    <a:pt x="22098" y="689324"/>
                  </a:lnTo>
                  <a:lnTo>
                    <a:pt x="21336" y="695801"/>
                  </a:lnTo>
                  <a:lnTo>
                    <a:pt x="24860" y="698563"/>
                  </a:lnTo>
                  <a:lnTo>
                    <a:pt x="20955" y="705422"/>
                  </a:lnTo>
                  <a:lnTo>
                    <a:pt x="23527" y="713137"/>
                  </a:lnTo>
                  <a:lnTo>
                    <a:pt x="28480" y="714089"/>
                  </a:lnTo>
                  <a:lnTo>
                    <a:pt x="28670" y="715709"/>
                  </a:lnTo>
                  <a:lnTo>
                    <a:pt x="32290" y="718471"/>
                  </a:lnTo>
                  <a:lnTo>
                    <a:pt x="34195" y="721423"/>
                  </a:lnTo>
                  <a:lnTo>
                    <a:pt x="39338" y="723995"/>
                  </a:lnTo>
                  <a:lnTo>
                    <a:pt x="36576" y="727519"/>
                  </a:lnTo>
                  <a:lnTo>
                    <a:pt x="38957" y="733615"/>
                  </a:lnTo>
                  <a:lnTo>
                    <a:pt x="36671" y="740378"/>
                  </a:lnTo>
                  <a:lnTo>
                    <a:pt x="44767" y="753713"/>
                  </a:lnTo>
                  <a:lnTo>
                    <a:pt x="56483" y="769906"/>
                  </a:lnTo>
                  <a:lnTo>
                    <a:pt x="61817" y="774001"/>
                  </a:lnTo>
                  <a:lnTo>
                    <a:pt x="66675" y="775049"/>
                  </a:lnTo>
                  <a:lnTo>
                    <a:pt x="70675" y="780955"/>
                  </a:lnTo>
                  <a:lnTo>
                    <a:pt x="67723" y="782860"/>
                  </a:lnTo>
                  <a:lnTo>
                    <a:pt x="68104" y="786098"/>
                  </a:lnTo>
                  <a:lnTo>
                    <a:pt x="68294" y="787622"/>
                  </a:lnTo>
                  <a:lnTo>
                    <a:pt x="63817" y="789813"/>
                  </a:lnTo>
                  <a:lnTo>
                    <a:pt x="64008" y="791432"/>
                  </a:lnTo>
                  <a:lnTo>
                    <a:pt x="73247" y="801434"/>
                  </a:lnTo>
                  <a:lnTo>
                    <a:pt x="78391" y="804005"/>
                  </a:lnTo>
                  <a:lnTo>
                    <a:pt x="74676" y="812483"/>
                  </a:lnTo>
                  <a:lnTo>
                    <a:pt x="71533" y="812863"/>
                  </a:lnTo>
                  <a:lnTo>
                    <a:pt x="67628" y="819817"/>
                  </a:lnTo>
                  <a:lnTo>
                    <a:pt x="63246" y="823531"/>
                  </a:lnTo>
                  <a:lnTo>
                    <a:pt x="65437" y="828104"/>
                  </a:lnTo>
                  <a:lnTo>
                    <a:pt x="68580" y="827722"/>
                  </a:lnTo>
                  <a:lnTo>
                    <a:pt x="73342" y="827056"/>
                  </a:lnTo>
                  <a:lnTo>
                    <a:pt x="74295" y="822198"/>
                  </a:lnTo>
                  <a:lnTo>
                    <a:pt x="79057" y="821531"/>
                  </a:lnTo>
                  <a:lnTo>
                    <a:pt x="79629" y="826294"/>
                  </a:lnTo>
                  <a:lnTo>
                    <a:pt x="81439" y="827627"/>
                  </a:lnTo>
                  <a:lnTo>
                    <a:pt x="86011" y="825437"/>
                  </a:lnTo>
                  <a:lnTo>
                    <a:pt x="92297" y="824675"/>
                  </a:lnTo>
                  <a:lnTo>
                    <a:pt x="96203" y="830580"/>
                  </a:lnTo>
                  <a:lnTo>
                    <a:pt x="103156" y="834485"/>
                  </a:lnTo>
                  <a:lnTo>
                    <a:pt x="102394" y="841058"/>
                  </a:lnTo>
                  <a:lnTo>
                    <a:pt x="98679" y="849535"/>
                  </a:lnTo>
                  <a:lnTo>
                    <a:pt x="100394" y="850868"/>
                  </a:lnTo>
                  <a:lnTo>
                    <a:pt x="100870" y="854012"/>
                  </a:lnTo>
                  <a:lnTo>
                    <a:pt x="103822" y="852106"/>
                  </a:lnTo>
                  <a:lnTo>
                    <a:pt x="104394" y="856774"/>
                  </a:lnTo>
                  <a:lnTo>
                    <a:pt x="101917" y="874776"/>
                  </a:lnTo>
                  <a:lnTo>
                    <a:pt x="104299" y="880872"/>
                  </a:lnTo>
                  <a:lnTo>
                    <a:pt x="98774" y="888016"/>
                  </a:lnTo>
                  <a:lnTo>
                    <a:pt x="95631" y="888397"/>
                  </a:lnTo>
                  <a:lnTo>
                    <a:pt x="89440" y="890778"/>
                  </a:lnTo>
                  <a:lnTo>
                    <a:pt x="91630" y="895350"/>
                  </a:lnTo>
                  <a:lnTo>
                    <a:pt x="90297" y="897064"/>
                  </a:lnTo>
                  <a:lnTo>
                    <a:pt x="88868" y="898874"/>
                  </a:lnTo>
                  <a:lnTo>
                    <a:pt x="82391" y="898112"/>
                  </a:lnTo>
                  <a:lnTo>
                    <a:pt x="78296" y="903446"/>
                  </a:lnTo>
                  <a:lnTo>
                    <a:pt x="78867" y="908209"/>
                  </a:lnTo>
                  <a:lnTo>
                    <a:pt x="74104" y="908780"/>
                  </a:lnTo>
                  <a:lnTo>
                    <a:pt x="75724" y="921448"/>
                  </a:lnTo>
                  <a:lnTo>
                    <a:pt x="74390" y="923163"/>
                  </a:lnTo>
                  <a:lnTo>
                    <a:pt x="75152" y="929545"/>
                  </a:lnTo>
                  <a:lnTo>
                    <a:pt x="81153" y="938403"/>
                  </a:lnTo>
                  <a:lnTo>
                    <a:pt x="88392" y="945451"/>
                  </a:lnTo>
                  <a:lnTo>
                    <a:pt x="87058" y="947261"/>
                  </a:lnTo>
                  <a:lnTo>
                    <a:pt x="83534" y="944499"/>
                  </a:lnTo>
                  <a:lnTo>
                    <a:pt x="83058" y="941356"/>
                  </a:lnTo>
                  <a:lnTo>
                    <a:pt x="81344" y="939927"/>
                  </a:lnTo>
                  <a:lnTo>
                    <a:pt x="81724" y="943070"/>
                  </a:lnTo>
                  <a:lnTo>
                    <a:pt x="80486" y="946499"/>
                  </a:lnTo>
                  <a:lnTo>
                    <a:pt x="78962" y="946690"/>
                  </a:lnTo>
                  <a:lnTo>
                    <a:pt x="78391" y="954786"/>
                  </a:lnTo>
                  <a:lnTo>
                    <a:pt x="74104" y="958501"/>
                  </a:lnTo>
                  <a:lnTo>
                    <a:pt x="77819" y="962787"/>
                  </a:lnTo>
                  <a:lnTo>
                    <a:pt x="76676" y="966216"/>
                  </a:lnTo>
                  <a:lnTo>
                    <a:pt x="73723" y="968216"/>
                  </a:lnTo>
                  <a:lnTo>
                    <a:pt x="76105" y="974312"/>
                  </a:lnTo>
                  <a:lnTo>
                    <a:pt x="77819" y="975646"/>
                  </a:lnTo>
                  <a:lnTo>
                    <a:pt x="71723" y="978027"/>
                  </a:lnTo>
                  <a:lnTo>
                    <a:pt x="72104" y="981170"/>
                  </a:lnTo>
                  <a:lnTo>
                    <a:pt x="67628" y="983361"/>
                  </a:lnTo>
                  <a:lnTo>
                    <a:pt x="65818" y="982027"/>
                  </a:lnTo>
                  <a:lnTo>
                    <a:pt x="65056" y="988505"/>
                  </a:lnTo>
                  <a:lnTo>
                    <a:pt x="70009" y="989457"/>
                  </a:lnTo>
                  <a:lnTo>
                    <a:pt x="72390" y="995648"/>
                  </a:lnTo>
                  <a:lnTo>
                    <a:pt x="75724" y="996791"/>
                  </a:lnTo>
                  <a:lnTo>
                    <a:pt x="74581" y="1000125"/>
                  </a:lnTo>
                  <a:lnTo>
                    <a:pt x="70009" y="1002316"/>
                  </a:lnTo>
                  <a:lnTo>
                    <a:pt x="62294" y="1004888"/>
                  </a:lnTo>
                  <a:lnTo>
                    <a:pt x="60579" y="1003554"/>
                  </a:lnTo>
                  <a:lnTo>
                    <a:pt x="58388" y="998982"/>
                  </a:lnTo>
                  <a:lnTo>
                    <a:pt x="54769" y="996220"/>
                  </a:lnTo>
                  <a:lnTo>
                    <a:pt x="51816" y="998220"/>
                  </a:lnTo>
                  <a:lnTo>
                    <a:pt x="49625" y="993648"/>
                  </a:lnTo>
                  <a:lnTo>
                    <a:pt x="48673" y="998601"/>
                  </a:lnTo>
                  <a:lnTo>
                    <a:pt x="46672" y="995648"/>
                  </a:lnTo>
                  <a:lnTo>
                    <a:pt x="40005" y="993362"/>
                  </a:lnTo>
                  <a:lnTo>
                    <a:pt x="34480" y="987647"/>
                  </a:lnTo>
                  <a:lnTo>
                    <a:pt x="38386" y="993553"/>
                  </a:lnTo>
                  <a:lnTo>
                    <a:pt x="35242" y="993934"/>
                  </a:lnTo>
                  <a:lnTo>
                    <a:pt x="37433" y="998410"/>
                  </a:lnTo>
                  <a:lnTo>
                    <a:pt x="34480" y="1000411"/>
                  </a:lnTo>
                  <a:lnTo>
                    <a:pt x="34671" y="1002030"/>
                  </a:lnTo>
                  <a:lnTo>
                    <a:pt x="37052" y="1008126"/>
                  </a:lnTo>
                  <a:lnTo>
                    <a:pt x="36290" y="1014603"/>
                  </a:lnTo>
                  <a:lnTo>
                    <a:pt x="38100" y="1016032"/>
                  </a:lnTo>
                  <a:lnTo>
                    <a:pt x="41243" y="1015651"/>
                  </a:lnTo>
                  <a:lnTo>
                    <a:pt x="41434" y="1017175"/>
                  </a:lnTo>
                  <a:lnTo>
                    <a:pt x="41624" y="1018794"/>
                  </a:lnTo>
                  <a:lnTo>
                    <a:pt x="38862" y="1022318"/>
                  </a:lnTo>
                  <a:lnTo>
                    <a:pt x="36766" y="1030605"/>
                  </a:lnTo>
                  <a:lnTo>
                    <a:pt x="33814" y="1032605"/>
                  </a:lnTo>
                  <a:lnTo>
                    <a:pt x="31432" y="1039273"/>
                  </a:lnTo>
                  <a:lnTo>
                    <a:pt x="37909" y="1040035"/>
                  </a:lnTo>
                  <a:lnTo>
                    <a:pt x="44101" y="1037654"/>
                  </a:lnTo>
                  <a:lnTo>
                    <a:pt x="47434" y="1038892"/>
                  </a:lnTo>
                  <a:lnTo>
                    <a:pt x="52388" y="1039844"/>
                  </a:lnTo>
                  <a:lnTo>
                    <a:pt x="55340" y="1037844"/>
                  </a:lnTo>
                  <a:lnTo>
                    <a:pt x="62008" y="1040225"/>
                  </a:lnTo>
                  <a:lnTo>
                    <a:pt x="64008" y="1043178"/>
                  </a:lnTo>
                  <a:lnTo>
                    <a:pt x="72676" y="1048512"/>
                  </a:lnTo>
                  <a:lnTo>
                    <a:pt x="80772" y="1049084"/>
                  </a:lnTo>
                  <a:lnTo>
                    <a:pt x="85154" y="1045273"/>
                  </a:lnTo>
                  <a:lnTo>
                    <a:pt x="83725" y="1047083"/>
                  </a:lnTo>
                  <a:lnTo>
                    <a:pt x="84106" y="1050227"/>
                  </a:lnTo>
                  <a:lnTo>
                    <a:pt x="85344" y="1046893"/>
                  </a:lnTo>
                  <a:lnTo>
                    <a:pt x="87058" y="1048226"/>
                  </a:lnTo>
                  <a:lnTo>
                    <a:pt x="92012" y="1049274"/>
                  </a:lnTo>
                  <a:lnTo>
                    <a:pt x="92202" y="1050798"/>
                  </a:lnTo>
                  <a:lnTo>
                    <a:pt x="95155" y="1048798"/>
                  </a:lnTo>
                  <a:lnTo>
                    <a:pt x="96964" y="1050227"/>
                  </a:lnTo>
                  <a:lnTo>
                    <a:pt x="98584" y="1050036"/>
                  </a:lnTo>
                  <a:lnTo>
                    <a:pt x="97155" y="1051751"/>
                  </a:lnTo>
                  <a:lnTo>
                    <a:pt x="90869" y="1052608"/>
                  </a:lnTo>
                  <a:lnTo>
                    <a:pt x="85725" y="1050036"/>
                  </a:lnTo>
                  <a:lnTo>
                    <a:pt x="81153" y="1052227"/>
                  </a:lnTo>
                  <a:lnTo>
                    <a:pt x="77248" y="1059085"/>
                  </a:lnTo>
                  <a:lnTo>
                    <a:pt x="79248" y="1062133"/>
                  </a:lnTo>
                  <a:lnTo>
                    <a:pt x="80200" y="1069943"/>
                  </a:lnTo>
                  <a:lnTo>
                    <a:pt x="78867" y="1071753"/>
                  </a:lnTo>
                  <a:lnTo>
                    <a:pt x="75914" y="1073753"/>
                  </a:lnTo>
                  <a:lnTo>
                    <a:pt x="72580" y="1072515"/>
                  </a:lnTo>
                  <a:lnTo>
                    <a:pt x="66865" y="1078135"/>
                  </a:lnTo>
                  <a:lnTo>
                    <a:pt x="68866" y="1081088"/>
                  </a:lnTo>
                  <a:lnTo>
                    <a:pt x="65532" y="1092708"/>
                  </a:lnTo>
                  <a:lnTo>
                    <a:pt x="69247" y="1096994"/>
                  </a:lnTo>
                  <a:lnTo>
                    <a:pt x="70104" y="1103376"/>
                  </a:lnTo>
                  <a:lnTo>
                    <a:pt x="72009" y="1106329"/>
                  </a:lnTo>
                  <a:lnTo>
                    <a:pt x="72676" y="1110996"/>
                  </a:lnTo>
                  <a:lnTo>
                    <a:pt x="76581" y="1116902"/>
                  </a:lnTo>
                  <a:lnTo>
                    <a:pt x="76771" y="1118521"/>
                  </a:lnTo>
                  <a:lnTo>
                    <a:pt x="73628" y="1118902"/>
                  </a:lnTo>
                  <a:lnTo>
                    <a:pt x="76962" y="1120140"/>
                  </a:lnTo>
                  <a:lnTo>
                    <a:pt x="76105" y="1137856"/>
                  </a:lnTo>
                  <a:lnTo>
                    <a:pt x="80963" y="1138809"/>
                  </a:lnTo>
                  <a:lnTo>
                    <a:pt x="82963" y="1141762"/>
                  </a:lnTo>
                  <a:lnTo>
                    <a:pt x="89249" y="1141000"/>
                  </a:lnTo>
                  <a:lnTo>
                    <a:pt x="91059" y="1142333"/>
                  </a:lnTo>
                  <a:lnTo>
                    <a:pt x="88963" y="1150620"/>
                  </a:lnTo>
                  <a:lnTo>
                    <a:pt x="92107" y="1150239"/>
                  </a:lnTo>
                  <a:lnTo>
                    <a:pt x="94297" y="1154811"/>
                  </a:lnTo>
                  <a:lnTo>
                    <a:pt x="92869" y="1156526"/>
                  </a:lnTo>
                  <a:lnTo>
                    <a:pt x="97822" y="1157573"/>
                  </a:lnTo>
                  <a:lnTo>
                    <a:pt x="98203" y="1160717"/>
                  </a:lnTo>
                  <a:lnTo>
                    <a:pt x="97250" y="1165669"/>
                  </a:lnTo>
                  <a:lnTo>
                    <a:pt x="95440" y="1164241"/>
                  </a:lnTo>
                  <a:lnTo>
                    <a:pt x="94107" y="1166051"/>
                  </a:lnTo>
                  <a:lnTo>
                    <a:pt x="87821" y="1166813"/>
                  </a:lnTo>
                  <a:lnTo>
                    <a:pt x="86392" y="1168622"/>
                  </a:lnTo>
                  <a:lnTo>
                    <a:pt x="79915" y="1167860"/>
                  </a:lnTo>
                  <a:lnTo>
                    <a:pt x="77343" y="1173004"/>
                  </a:lnTo>
                  <a:lnTo>
                    <a:pt x="77724" y="1176147"/>
                  </a:lnTo>
                  <a:lnTo>
                    <a:pt x="75343" y="1182814"/>
                  </a:lnTo>
                  <a:lnTo>
                    <a:pt x="76200" y="1189196"/>
                  </a:lnTo>
                  <a:lnTo>
                    <a:pt x="79534" y="1190339"/>
                  </a:lnTo>
                  <a:lnTo>
                    <a:pt x="80677" y="1187006"/>
                  </a:lnTo>
                  <a:lnTo>
                    <a:pt x="85630" y="1187958"/>
                  </a:lnTo>
                  <a:lnTo>
                    <a:pt x="83344" y="1194721"/>
                  </a:lnTo>
                  <a:lnTo>
                    <a:pt x="100489" y="1203674"/>
                  </a:lnTo>
                  <a:lnTo>
                    <a:pt x="108013" y="1212342"/>
                  </a:lnTo>
                  <a:lnTo>
                    <a:pt x="118110" y="1215866"/>
                  </a:lnTo>
                  <a:lnTo>
                    <a:pt x="122015" y="1221772"/>
                  </a:lnTo>
                  <a:lnTo>
                    <a:pt x="124968" y="1219867"/>
                  </a:lnTo>
                  <a:lnTo>
                    <a:pt x="124587" y="1216723"/>
                  </a:lnTo>
                  <a:lnTo>
                    <a:pt x="129730" y="1206437"/>
                  </a:lnTo>
                  <a:lnTo>
                    <a:pt x="135636" y="1202436"/>
                  </a:lnTo>
                  <a:lnTo>
                    <a:pt x="140303" y="1201864"/>
                  </a:lnTo>
                  <a:lnTo>
                    <a:pt x="144685" y="1198055"/>
                  </a:lnTo>
                  <a:lnTo>
                    <a:pt x="148019" y="1199293"/>
                  </a:lnTo>
                  <a:lnTo>
                    <a:pt x="144304" y="1194911"/>
                  </a:lnTo>
                  <a:lnTo>
                    <a:pt x="145066" y="1188434"/>
                  </a:lnTo>
                  <a:lnTo>
                    <a:pt x="144875" y="1186815"/>
                  </a:lnTo>
                  <a:lnTo>
                    <a:pt x="144208" y="1182052"/>
                  </a:lnTo>
                  <a:lnTo>
                    <a:pt x="145828" y="1181862"/>
                  </a:lnTo>
                  <a:lnTo>
                    <a:pt x="148971" y="1168718"/>
                  </a:lnTo>
                  <a:lnTo>
                    <a:pt x="152876" y="1174623"/>
                  </a:lnTo>
                  <a:lnTo>
                    <a:pt x="155829" y="1172623"/>
                  </a:lnTo>
                  <a:lnTo>
                    <a:pt x="161544" y="1167098"/>
                  </a:lnTo>
                  <a:lnTo>
                    <a:pt x="154210" y="1159955"/>
                  </a:lnTo>
                  <a:lnTo>
                    <a:pt x="155067" y="1153477"/>
                  </a:lnTo>
                  <a:lnTo>
                    <a:pt x="153257" y="1152049"/>
                  </a:lnTo>
                  <a:lnTo>
                    <a:pt x="144971" y="1149953"/>
                  </a:lnTo>
                  <a:lnTo>
                    <a:pt x="142970" y="1147001"/>
                  </a:lnTo>
                  <a:lnTo>
                    <a:pt x="144113" y="1143572"/>
                  </a:lnTo>
                  <a:lnTo>
                    <a:pt x="148685" y="1141476"/>
                  </a:lnTo>
                  <a:lnTo>
                    <a:pt x="148495" y="1139857"/>
                  </a:lnTo>
                  <a:lnTo>
                    <a:pt x="149638" y="1136523"/>
                  </a:lnTo>
                  <a:lnTo>
                    <a:pt x="146304" y="1135285"/>
                  </a:lnTo>
                  <a:lnTo>
                    <a:pt x="145923" y="1132142"/>
                  </a:lnTo>
                  <a:lnTo>
                    <a:pt x="141161" y="1132808"/>
                  </a:lnTo>
                  <a:lnTo>
                    <a:pt x="139827" y="1134523"/>
                  </a:lnTo>
                  <a:lnTo>
                    <a:pt x="139160" y="1129856"/>
                  </a:lnTo>
                  <a:lnTo>
                    <a:pt x="137636" y="1130046"/>
                  </a:lnTo>
                  <a:lnTo>
                    <a:pt x="135255" y="1123950"/>
                  </a:lnTo>
                  <a:lnTo>
                    <a:pt x="133445" y="1122521"/>
                  </a:lnTo>
                  <a:lnTo>
                    <a:pt x="133255" y="1120997"/>
                  </a:lnTo>
                  <a:lnTo>
                    <a:pt x="130302" y="1122902"/>
                  </a:lnTo>
                  <a:lnTo>
                    <a:pt x="126968" y="1121759"/>
                  </a:lnTo>
                  <a:lnTo>
                    <a:pt x="125349" y="1121950"/>
                  </a:lnTo>
                  <a:lnTo>
                    <a:pt x="127730" y="1115282"/>
                  </a:lnTo>
                  <a:lnTo>
                    <a:pt x="123920" y="1110901"/>
                  </a:lnTo>
                  <a:lnTo>
                    <a:pt x="117634" y="1111758"/>
                  </a:lnTo>
                  <a:lnTo>
                    <a:pt x="121920" y="1107948"/>
                  </a:lnTo>
                  <a:lnTo>
                    <a:pt x="127063" y="1110520"/>
                  </a:lnTo>
                  <a:lnTo>
                    <a:pt x="130016" y="1108519"/>
                  </a:lnTo>
                  <a:lnTo>
                    <a:pt x="131064" y="1103567"/>
                  </a:lnTo>
                  <a:lnTo>
                    <a:pt x="134207" y="1103185"/>
                  </a:lnTo>
                  <a:lnTo>
                    <a:pt x="132397" y="1101852"/>
                  </a:lnTo>
                  <a:lnTo>
                    <a:pt x="130873" y="1102043"/>
                  </a:lnTo>
                  <a:lnTo>
                    <a:pt x="129064" y="1100614"/>
                  </a:lnTo>
                  <a:lnTo>
                    <a:pt x="132016" y="1098709"/>
                  </a:lnTo>
                  <a:lnTo>
                    <a:pt x="136779" y="1098042"/>
                  </a:lnTo>
                  <a:lnTo>
                    <a:pt x="151543" y="1088136"/>
                  </a:lnTo>
                  <a:lnTo>
                    <a:pt x="154876" y="1089374"/>
                  </a:lnTo>
                  <a:lnTo>
                    <a:pt x="157639" y="1085755"/>
                  </a:lnTo>
                  <a:lnTo>
                    <a:pt x="159448" y="1087184"/>
                  </a:lnTo>
                  <a:lnTo>
                    <a:pt x="170497" y="1098614"/>
                  </a:lnTo>
                  <a:lnTo>
                    <a:pt x="174403" y="1091660"/>
                  </a:lnTo>
                  <a:lnTo>
                    <a:pt x="177737" y="1092803"/>
                  </a:lnTo>
                  <a:lnTo>
                    <a:pt x="177927" y="1094423"/>
                  </a:lnTo>
                  <a:lnTo>
                    <a:pt x="181356" y="1095565"/>
                  </a:lnTo>
                  <a:lnTo>
                    <a:pt x="179927" y="1097375"/>
                  </a:lnTo>
                  <a:lnTo>
                    <a:pt x="181928" y="1100328"/>
                  </a:lnTo>
                  <a:lnTo>
                    <a:pt x="188881" y="1104233"/>
                  </a:lnTo>
                  <a:lnTo>
                    <a:pt x="190024" y="1113758"/>
                  </a:lnTo>
                  <a:lnTo>
                    <a:pt x="183737" y="1114520"/>
                  </a:lnTo>
                  <a:lnTo>
                    <a:pt x="185738" y="1117473"/>
                  </a:lnTo>
                  <a:lnTo>
                    <a:pt x="188881" y="1117092"/>
                  </a:lnTo>
                  <a:lnTo>
                    <a:pt x="189452" y="1121759"/>
                  </a:lnTo>
                  <a:lnTo>
                    <a:pt x="200978" y="1123569"/>
                  </a:lnTo>
                  <a:lnTo>
                    <a:pt x="202882" y="1126522"/>
                  </a:lnTo>
                  <a:lnTo>
                    <a:pt x="201549" y="1128331"/>
                  </a:lnTo>
                  <a:lnTo>
                    <a:pt x="196787" y="1128903"/>
                  </a:lnTo>
                  <a:lnTo>
                    <a:pt x="197167" y="1132046"/>
                  </a:lnTo>
                  <a:lnTo>
                    <a:pt x="198787" y="1131856"/>
                  </a:lnTo>
                  <a:lnTo>
                    <a:pt x="202311" y="1134618"/>
                  </a:lnTo>
                  <a:lnTo>
                    <a:pt x="205264" y="1132618"/>
                  </a:lnTo>
                  <a:lnTo>
                    <a:pt x="207264" y="1135571"/>
                  </a:lnTo>
                  <a:lnTo>
                    <a:pt x="209074" y="1136999"/>
                  </a:lnTo>
                  <a:lnTo>
                    <a:pt x="210026" y="1144810"/>
                  </a:lnTo>
                  <a:lnTo>
                    <a:pt x="208502" y="1145096"/>
                  </a:lnTo>
                  <a:lnTo>
                    <a:pt x="208693" y="1146619"/>
                  </a:lnTo>
                  <a:lnTo>
                    <a:pt x="213265" y="1157288"/>
                  </a:lnTo>
                  <a:lnTo>
                    <a:pt x="213836" y="1162050"/>
                  </a:lnTo>
                  <a:lnTo>
                    <a:pt x="213074" y="1168527"/>
                  </a:lnTo>
                  <a:lnTo>
                    <a:pt x="211264" y="1167098"/>
                  </a:lnTo>
                  <a:lnTo>
                    <a:pt x="210121" y="1170527"/>
                  </a:lnTo>
                  <a:lnTo>
                    <a:pt x="217265" y="1175956"/>
                  </a:lnTo>
                  <a:lnTo>
                    <a:pt x="222123" y="1177004"/>
                  </a:lnTo>
                  <a:lnTo>
                    <a:pt x="226695" y="1174814"/>
                  </a:lnTo>
                  <a:lnTo>
                    <a:pt x="227076" y="1177957"/>
                  </a:lnTo>
                  <a:lnTo>
                    <a:pt x="231838" y="1177385"/>
                  </a:lnTo>
                  <a:lnTo>
                    <a:pt x="232220" y="1180529"/>
                  </a:lnTo>
                  <a:lnTo>
                    <a:pt x="229838" y="1187196"/>
                  </a:lnTo>
                  <a:lnTo>
                    <a:pt x="231457" y="1187006"/>
                  </a:lnTo>
                  <a:lnTo>
                    <a:pt x="232029" y="1191768"/>
                  </a:lnTo>
                  <a:lnTo>
                    <a:pt x="228695" y="1190530"/>
                  </a:lnTo>
                  <a:lnTo>
                    <a:pt x="229362" y="1195292"/>
                  </a:lnTo>
                  <a:lnTo>
                    <a:pt x="238792" y="1194149"/>
                  </a:lnTo>
                  <a:lnTo>
                    <a:pt x="236220" y="1199293"/>
                  </a:lnTo>
                  <a:lnTo>
                    <a:pt x="237839" y="1199007"/>
                  </a:lnTo>
                  <a:lnTo>
                    <a:pt x="240221" y="1205198"/>
                  </a:lnTo>
                  <a:lnTo>
                    <a:pt x="243364" y="1204722"/>
                  </a:lnTo>
                  <a:lnTo>
                    <a:pt x="242221" y="1208151"/>
                  </a:lnTo>
                  <a:lnTo>
                    <a:pt x="242792" y="1212818"/>
                  </a:lnTo>
                  <a:lnTo>
                    <a:pt x="245936" y="1212437"/>
                  </a:lnTo>
                  <a:lnTo>
                    <a:pt x="245745" y="1210913"/>
                  </a:lnTo>
                  <a:lnTo>
                    <a:pt x="247269" y="1210627"/>
                  </a:lnTo>
                  <a:lnTo>
                    <a:pt x="252222" y="1211675"/>
                  </a:lnTo>
                  <a:lnTo>
                    <a:pt x="252031" y="1210056"/>
                  </a:lnTo>
                  <a:lnTo>
                    <a:pt x="252031" y="1210056"/>
                  </a:lnTo>
                  <a:lnTo>
                    <a:pt x="254794" y="1206532"/>
                  </a:lnTo>
                  <a:lnTo>
                    <a:pt x="253460" y="1208246"/>
                  </a:lnTo>
                  <a:lnTo>
                    <a:pt x="252984" y="1205103"/>
                  </a:lnTo>
                  <a:lnTo>
                    <a:pt x="251460" y="1205293"/>
                  </a:lnTo>
                  <a:lnTo>
                    <a:pt x="252413" y="1200436"/>
                  </a:lnTo>
                  <a:lnTo>
                    <a:pt x="249079" y="1199198"/>
                  </a:lnTo>
                  <a:lnTo>
                    <a:pt x="253841" y="1198626"/>
                  </a:lnTo>
                  <a:lnTo>
                    <a:pt x="253365" y="1195483"/>
                  </a:lnTo>
                  <a:lnTo>
                    <a:pt x="256127" y="1191863"/>
                  </a:lnTo>
                  <a:lnTo>
                    <a:pt x="253937" y="1187387"/>
                  </a:lnTo>
                  <a:lnTo>
                    <a:pt x="255556" y="1187196"/>
                  </a:lnTo>
                  <a:lnTo>
                    <a:pt x="257746" y="1191673"/>
                  </a:lnTo>
                  <a:lnTo>
                    <a:pt x="260128" y="1197769"/>
                  </a:lnTo>
                  <a:lnTo>
                    <a:pt x="263842" y="1202150"/>
                  </a:lnTo>
                  <a:lnTo>
                    <a:pt x="264700" y="1208437"/>
                  </a:lnTo>
                  <a:lnTo>
                    <a:pt x="260509" y="1213771"/>
                  </a:lnTo>
                  <a:lnTo>
                    <a:pt x="259556" y="1218724"/>
                  </a:lnTo>
                  <a:lnTo>
                    <a:pt x="261556" y="1221677"/>
                  </a:lnTo>
                  <a:lnTo>
                    <a:pt x="258794" y="1225201"/>
                  </a:lnTo>
                  <a:lnTo>
                    <a:pt x="253460" y="1233964"/>
                  </a:lnTo>
                  <a:lnTo>
                    <a:pt x="255461" y="1236917"/>
                  </a:lnTo>
                  <a:lnTo>
                    <a:pt x="255461" y="1236917"/>
                  </a:lnTo>
                  <a:lnTo>
                    <a:pt x="257270" y="1238250"/>
                  </a:lnTo>
                  <a:lnTo>
                    <a:pt x="256222" y="1243203"/>
                  </a:lnTo>
                  <a:lnTo>
                    <a:pt x="251746" y="1245394"/>
                  </a:lnTo>
                  <a:lnTo>
                    <a:pt x="255651" y="1251299"/>
                  </a:lnTo>
                  <a:lnTo>
                    <a:pt x="257080" y="1249489"/>
                  </a:lnTo>
                  <a:lnTo>
                    <a:pt x="267176" y="1253014"/>
                  </a:lnTo>
                  <a:lnTo>
                    <a:pt x="265747" y="1254823"/>
                  </a:lnTo>
                  <a:lnTo>
                    <a:pt x="267748" y="1257776"/>
                  </a:lnTo>
                  <a:lnTo>
                    <a:pt x="274511" y="1260158"/>
                  </a:lnTo>
                  <a:lnTo>
                    <a:pt x="274701" y="1261681"/>
                  </a:lnTo>
                  <a:lnTo>
                    <a:pt x="276225" y="1261491"/>
                  </a:lnTo>
                  <a:lnTo>
                    <a:pt x="279368" y="1261110"/>
                  </a:lnTo>
                  <a:lnTo>
                    <a:pt x="288131" y="1266444"/>
                  </a:lnTo>
                  <a:lnTo>
                    <a:pt x="289465" y="1264634"/>
                  </a:lnTo>
                  <a:lnTo>
                    <a:pt x="292608" y="1264253"/>
                  </a:lnTo>
                  <a:lnTo>
                    <a:pt x="301085" y="1267968"/>
                  </a:lnTo>
                  <a:lnTo>
                    <a:pt x="306038" y="1268921"/>
                  </a:lnTo>
                  <a:lnTo>
                    <a:pt x="304705" y="1270730"/>
                  </a:lnTo>
                  <a:lnTo>
                    <a:pt x="308420" y="1275017"/>
                  </a:lnTo>
                  <a:lnTo>
                    <a:pt x="314420" y="1283875"/>
                  </a:lnTo>
                  <a:lnTo>
                    <a:pt x="322040" y="1281303"/>
                  </a:lnTo>
                  <a:lnTo>
                    <a:pt x="322897" y="1287589"/>
                  </a:lnTo>
                  <a:lnTo>
                    <a:pt x="321659" y="1291018"/>
                  </a:lnTo>
                  <a:lnTo>
                    <a:pt x="321850" y="1292543"/>
                  </a:lnTo>
                  <a:lnTo>
                    <a:pt x="318897" y="1294543"/>
                  </a:lnTo>
                  <a:lnTo>
                    <a:pt x="322897" y="1300448"/>
                  </a:lnTo>
                  <a:lnTo>
                    <a:pt x="325469" y="1308164"/>
                  </a:lnTo>
                  <a:lnTo>
                    <a:pt x="326326" y="1314450"/>
                  </a:lnTo>
                  <a:lnTo>
                    <a:pt x="328517" y="1319022"/>
                  </a:lnTo>
                  <a:lnTo>
                    <a:pt x="329851" y="1317212"/>
                  </a:lnTo>
                  <a:lnTo>
                    <a:pt x="331661" y="1318641"/>
                  </a:lnTo>
                  <a:lnTo>
                    <a:pt x="332232" y="1323308"/>
                  </a:lnTo>
                  <a:lnTo>
                    <a:pt x="334994" y="1332643"/>
                  </a:lnTo>
                  <a:lnTo>
                    <a:pt x="336804" y="1333976"/>
                  </a:lnTo>
                  <a:lnTo>
                    <a:pt x="335661" y="1337310"/>
                  </a:lnTo>
                  <a:lnTo>
                    <a:pt x="338614" y="1335310"/>
                  </a:lnTo>
                  <a:lnTo>
                    <a:pt x="338804" y="1336929"/>
                  </a:lnTo>
                  <a:lnTo>
                    <a:pt x="339185" y="1340072"/>
                  </a:lnTo>
                  <a:lnTo>
                    <a:pt x="337566" y="1340263"/>
                  </a:lnTo>
                  <a:lnTo>
                    <a:pt x="340995" y="1341501"/>
                  </a:lnTo>
                  <a:lnTo>
                    <a:pt x="342900" y="1344454"/>
                  </a:lnTo>
                  <a:lnTo>
                    <a:pt x="346329" y="1345597"/>
                  </a:lnTo>
                  <a:lnTo>
                    <a:pt x="348234" y="1348550"/>
                  </a:lnTo>
                  <a:lnTo>
                    <a:pt x="348044" y="1346930"/>
                  </a:lnTo>
                  <a:lnTo>
                    <a:pt x="349663" y="1346740"/>
                  </a:lnTo>
                  <a:lnTo>
                    <a:pt x="349853" y="1348359"/>
                  </a:lnTo>
                  <a:lnTo>
                    <a:pt x="352425" y="1343215"/>
                  </a:lnTo>
                  <a:lnTo>
                    <a:pt x="352996" y="1335119"/>
                  </a:lnTo>
                  <a:lnTo>
                    <a:pt x="351377" y="1335310"/>
                  </a:lnTo>
                  <a:lnTo>
                    <a:pt x="350615" y="1329023"/>
                  </a:lnTo>
                  <a:lnTo>
                    <a:pt x="354901" y="1325213"/>
                  </a:lnTo>
                  <a:lnTo>
                    <a:pt x="359664" y="1324642"/>
                  </a:lnTo>
                  <a:lnTo>
                    <a:pt x="364236" y="1322451"/>
                  </a:lnTo>
                  <a:lnTo>
                    <a:pt x="358616" y="1316736"/>
                  </a:lnTo>
                  <a:lnTo>
                    <a:pt x="361569" y="1314736"/>
                  </a:lnTo>
                  <a:lnTo>
                    <a:pt x="364807" y="1314355"/>
                  </a:lnTo>
                  <a:lnTo>
                    <a:pt x="367189" y="1320451"/>
                  </a:lnTo>
                  <a:lnTo>
                    <a:pt x="374047" y="1324451"/>
                  </a:lnTo>
                  <a:lnTo>
                    <a:pt x="375475" y="1322642"/>
                  </a:lnTo>
                  <a:lnTo>
                    <a:pt x="376428" y="1317689"/>
                  </a:lnTo>
                  <a:lnTo>
                    <a:pt x="381190" y="1317117"/>
                  </a:lnTo>
                  <a:lnTo>
                    <a:pt x="385667" y="1314926"/>
                  </a:lnTo>
                  <a:lnTo>
                    <a:pt x="387096" y="1313117"/>
                  </a:lnTo>
                  <a:lnTo>
                    <a:pt x="395573" y="1316831"/>
                  </a:lnTo>
                  <a:lnTo>
                    <a:pt x="398526" y="1314926"/>
                  </a:lnTo>
                  <a:lnTo>
                    <a:pt x="403003" y="1312735"/>
                  </a:lnTo>
                  <a:lnTo>
                    <a:pt x="404050" y="1307783"/>
                  </a:lnTo>
                  <a:lnTo>
                    <a:pt x="406241" y="1312259"/>
                  </a:lnTo>
                  <a:lnTo>
                    <a:pt x="407575" y="1310545"/>
                  </a:lnTo>
                  <a:lnTo>
                    <a:pt x="416433" y="1317403"/>
                  </a:lnTo>
                  <a:lnTo>
                    <a:pt x="417671" y="1314069"/>
                  </a:lnTo>
                  <a:lnTo>
                    <a:pt x="421005" y="1315212"/>
                  </a:lnTo>
                  <a:lnTo>
                    <a:pt x="429863" y="1309306"/>
                  </a:lnTo>
                  <a:lnTo>
                    <a:pt x="431292" y="1307497"/>
                  </a:lnTo>
                  <a:lnTo>
                    <a:pt x="429482" y="1306163"/>
                  </a:lnTo>
                  <a:lnTo>
                    <a:pt x="430625" y="1302734"/>
                  </a:lnTo>
                  <a:lnTo>
                    <a:pt x="435007" y="1299019"/>
                  </a:lnTo>
                  <a:lnTo>
                    <a:pt x="436150" y="1295686"/>
                  </a:lnTo>
                  <a:lnTo>
                    <a:pt x="439293" y="1295210"/>
                  </a:lnTo>
                  <a:lnTo>
                    <a:pt x="437293" y="1292257"/>
                  </a:lnTo>
                  <a:lnTo>
                    <a:pt x="440531" y="1291876"/>
                  </a:lnTo>
                  <a:lnTo>
                    <a:pt x="441674" y="1288542"/>
                  </a:lnTo>
                  <a:lnTo>
                    <a:pt x="443198" y="1288352"/>
                  </a:lnTo>
                  <a:lnTo>
                    <a:pt x="445961" y="1271968"/>
                  </a:lnTo>
                  <a:lnTo>
                    <a:pt x="447961" y="1274921"/>
                  </a:lnTo>
                  <a:lnTo>
                    <a:pt x="454057" y="1272540"/>
                  </a:lnTo>
                  <a:lnTo>
                    <a:pt x="453676" y="1269397"/>
                  </a:lnTo>
                  <a:lnTo>
                    <a:pt x="458629" y="1270349"/>
                  </a:lnTo>
                  <a:lnTo>
                    <a:pt x="462344" y="1261872"/>
                  </a:lnTo>
                  <a:lnTo>
                    <a:pt x="465487" y="1261491"/>
                  </a:lnTo>
                  <a:lnTo>
                    <a:pt x="467011" y="1261205"/>
                  </a:lnTo>
                  <a:lnTo>
                    <a:pt x="473392" y="1260443"/>
                  </a:lnTo>
                  <a:lnTo>
                    <a:pt x="470821" y="1252728"/>
                  </a:lnTo>
                  <a:lnTo>
                    <a:pt x="472345" y="1252538"/>
                  </a:lnTo>
                  <a:lnTo>
                    <a:pt x="469773" y="1244822"/>
                  </a:lnTo>
                  <a:lnTo>
                    <a:pt x="469582" y="1243298"/>
                  </a:lnTo>
                  <a:lnTo>
                    <a:pt x="462820" y="1240917"/>
                  </a:lnTo>
                  <a:lnTo>
                    <a:pt x="463867" y="1235964"/>
                  </a:lnTo>
                  <a:lnTo>
                    <a:pt x="459867" y="1230059"/>
                  </a:lnTo>
                  <a:lnTo>
                    <a:pt x="457295" y="1222439"/>
                  </a:lnTo>
                  <a:lnTo>
                    <a:pt x="456724" y="1217676"/>
                  </a:lnTo>
                  <a:lnTo>
                    <a:pt x="456057" y="1212914"/>
                  </a:lnTo>
                  <a:lnTo>
                    <a:pt x="457867" y="1214342"/>
                  </a:lnTo>
                  <a:lnTo>
                    <a:pt x="456819" y="1206437"/>
                  </a:lnTo>
                  <a:lnTo>
                    <a:pt x="461581" y="1205770"/>
                  </a:lnTo>
                  <a:lnTo>
                    <a:pt x="462724" y="1202436"/>
                  </a:lnTo>
                  <a:lnTo>
                    <a:pt x="462534" y="1200912"/>
                  </a:lnTo>
                  <a:lnTo>
                    <a:pt x="465296" y="1197293"/>
                  </a:lnTo>
                  <a:lnTo>
                    <a:pt x="467106" y="1198721"/>
                  </a:lnTo>
                  <a:lnTo>
                    <a:pt x="468249" y="1195292"/>
                  </a:lnTo>
                  <a:lnTo>
                    <a:pt x="466725" y="1195578"/>
                  </a:lnTo>
                  <a:lnTo>
                    <a:pt x="469678" y="1193578"/>
                  </a:lnTo>
                  <a:lnTo>
                    <a:pt x="470249" y="1185481"/>
                  </a:lnTo>
                  <a:lnTo>
                    <a:pt x="476536" y="1184624"/>
                  </a:lnTo>
                  <a:lnTo>
                    <a:pt x="476345" y="1183100"/>
                  </a:lnTo>
                  <a:lnTo>
                    <a:pt x="481108" y="1182529"/>
                  </a:lnTo>
                  <a:lnTo>
                    <a:pt x="480631" y="1179290"/>
                  </a:lnTo>
                  <a:lnTo>
                    <a:pt x="480631" y="1179290"/>
                  </a:lnTo>
                  <a:lnTo>
                    <a:pt x="488156" y="1187958"/>
                  </a:lnTo>
                  <a:lnTo>
                    <a:pt x="491299" y="1187577"/>
                  </a:lnTo>
                  <a:lnTo>
                    <a:pt x="491585" y="1189196"/>
                  </a:lnTo>
                  <a:lnTo>
                    <a:pt x="485870" y="1194721"/>
                  </a:lnTo>
                  <a:lnTo>
                    <a:pt x="485680" y="1205960"/>
                  </a:lnTo>
                  <a:lnTo>
                    <a:pt x="484918" y="1212437"/>
                  </a:lnTo>
                  <a:lnTo>
                    <a:pt x="485299" y="1215581"/>
                  </a:lnTo>
                  <a:lnTo>
                    <a:pt x="493205" y="1214628"/>
                  </a:lnTo>
                  <a:lnTo>
                    <a:pt x="496538" y="1215771"/>
                  </a:lnTo>
                  <a:lnTo>
                    <a:pt x="495300" y="1206341"/>
                  </a:lnTo>
                  <a:lnTo>
                    <a:pt x="507206" y="1211199"/>
                  </a:lnTo>
                  <a:lnTo>
                    <a:pt x="510159" y="1209294"/>
                  </a:lnTo>
                  <a:lnTo>
                    <a:pt x="513874" y="1213580"/>
                  </a:lnTo>
                  <a:lnTo>
                    <a:pt x="512921" y="1218533"/>
                  </a:lnTo>
                  <a:lnTo>
                    <a:pt x="522351" y="1217295"/>
                  </a:lnTo>
                  <a:lnTo>
                    <a:pt x="524542" y="1221867"/>
                  </a:lnTo>
                  <a:lnTo>
                    <a:pt x="525971" y="1220057"/>
                  </a:lnTo>
                  <a:lnTo>
                    <a:pt x="523780" y="1215581"/>
                  </a:lnTo>
                  <a:lnTo>
                    <a:pt x="528733" y="1216533"/>
                  </a:lnTo>
                  <a:lnTo>
                    <a:pt x="528542" y="1214914"/>
                  </a:lnTo>
                  <a:lnTo>
                    <a:pt x="531876" y="1216152"/>
                  </a:lnTo>
                  <a:lnTo>
                    <a:pt x="538163" y="1215295"/>
                  </a:lnTo>
                  <a:lnTo>
                    <a:pt x="537020" y="1218629"/>
                  </a:lnTo>
                  <a:lnTo>
                    <a:pt x="543497" y="1219390"/>
                  </a:lnTo>
                  <a:lnTo>
                    <a:pt x="549212" y="1226725"/>
                  </a:lnTo>
                  <a:lnTo>
                    <a:pt x="549212" y="1226725"/>
                  </a:lnTo>
                  <a:lnTo>
                    <a:pt x="554831" y="1232440"/>
                  </a:lnTo>
                  <a:lnTo>
                    <a:pt x="555974" y="1241869"/>
                  </a:lnTo>
                  <a:lnTo>
                    <a:pt x="556165" y="1243489"/>
                  </a:lnTo>
                  <a:lnTo>
                    <a:pt x="571500" y="1225487"/>
                  </a:lnTo>
                  <a:lnTo>
                    <a:pt x="576834" y="1216819"/>
                  </a:lnTo>
                  <a:lnTo>
                    <a:pt x="579787" y="1214818"/>
                  </a:lnTo>
                  <a:lnTo>
                    <a:pt x="581597" y="1216152"/>
                  </a:lnTo>
                  <a:lnTo>
                    <a:pt x="584359" y="1212628"/>
                  </a:lnTo>
                  <a:lnTo>
                    <a:pt x="584549" y="1201388"/>
                  </a:lnTo>
                  <a:lnTo>
                    <a:pt x="582549" y="1198435"/>
                  </a:lnTo>
                  <a:lnTo>
                    <a:pt x="579406" y="1198817"/>
                  </a:lnTo>
                  <a:lnTo>
                    <a:pt x="583501" y="1193483"/>
                  </a:lnTo>
                  <a:lnTo>
                    <a:pt x="576548" y="1189577"/>
                  </a:lnTo>
                  <a:lnTo>
                    <a:pt x="584930" y="1191673"/>
                  </a:lnTo>
                  <a:lnTo>
                    <a:pt x="584645" y="1190149"/>
                  </a:lnTo>
                  <a:lnTo>
                    <a:pt x="587597" y="1188148"/>
                  </a:lnTo>
                  <a:lnTo>
                    <a:pt x="589788" y="1192721"/>
                  </a:lnTo>
                  <a:lnTo>
                    <a:pt x="589979" y="1194244"/>
                  </a:lnTo>
                  <a:lnTo>
                    <a:pt x="593407" y="1195388"/>
                  </a:lnTo>
                  <a:lnTo>
                    <a:pt x="597313" y="1188530"/>
                  </a:lnTo>
                  <a:lnTo>
                    <a:pt x="600456" y="1188148"/>
                  </a:lnTo>
                  <a:lnTo>
                    <a:pt x="604838" y="1184339"/>
                  </a:lnTo>
                  <a:lnTo>
                    <a:pt x="606742" y="1187291"/>
                  </a:lnTo>
                  <a:lnTo>
                    <a:pt x="620554" y="1182338"/>
                  </a:lnTo>
                  <a:lnTo>
                    <a:pt x="622363" y="1183767"/>
                  </a:lnTo>
                  <a:lnTo>
                    <a:pt x="627126" y="1183100"/>
                  </a:lnTo>
                  <a:lnTo>
                    <a:pt x="630079" y="1181100"/>
                  </a:lnTo>
                  <a:lnTo>
                    <a:pt x="633413" y="1182338"/>
                  </a:lnTo>
                  <a:lnTo>
                    <a:pt x="638747" y="1186434"/>
                  </a:lnTo>
                  <a:lnTo>
                    <a:pt x="639128" y="1189577"/>
                  </a:lnTo>
                  <a:lnTo>
                    <a:pt x="637984" y="1193006"/>
                  </a:lnTo>
                  <a:lnTo>
                    <a:pt x="642271" y="1189196"/>
                  </a:lnTo>
                  <a:lnTo>
                    <a:pt x="644080" y="1190530"/>
                  </a:lnTo>
                  <a:lnTo>
                    <a:pt x="644271" y="1192149"/>
                  </a:lnTo>
                  <a:lnTo>
                    <a:pt x="645890" y="1191959"/>
                  </a:lnTo>
                  <a:lnTo>
                    <a:pt x="650748" y="1192911"/>
                  </a:lnTo>
                  <a:lnTo>
                    <a:pt x="651986" y="1189577"/>
                  </a:lnTo>
                  <a:lnTo>
                    <a:pt x="652367" y="1192721"/>
                  </a:lnTo>
                  <a:lnTo>
                    <a:pt x="653796" y="1190911"/>
                  </a:lnTo>
                  <a:lnTo>
                    <a:pt x="658654" y="1191959"/>
                  </a:lnTo>
                  <a:lnTo>
                    <a:pt x="666179" y="1187768"/>
                  </a:lnTo>
                  <a:lnTo>
                    <a:pt x="666940" y="1181290"/>
                  </a:lnTo>
                  <a:lnTo>
                    <a:pt x="671703" y="1180624"/>
                  </a:lnTo>
                  <a:lnTo>
                    <a:pt x="678561" y="1171765"/>
                  </a:lnTo>
                  <a:lnTo>
                    <a:pt x="674561" y="1165860"/>
                  </a:lnTo>
                  <a:lnTo>
                    <a:pt x="677513" y="1163860"/>
                  </a:lnTo>
                  <a:lnTo>
                    <a:pt x="672179" y="1159764"/>
                  </a:lnTo>
                  <a:lnTo>
                    <a:pt x="668464" y="1155383"/>
                  </a:lnTo>
                  <a:lnTo>
                    <a:pt x="668274" y="1153859"/>
                  </a:lnTo>
                  <a:lnTo>
                    <a:pt x="667703" y="1149096"/>
                  </a:lnTo>
                  <a:lnTo>
                    <a:pt x="658749" y="1142238"/>
                  </a:lnTo>
                  <a:lnTo>
                    <a:pt x="659892" y="1138809"/>
                  </a:lnTo>
                  <a:lnTo>
                    <a:pt x="656368" y="1136047"/>
                  </a:lnTo>
                  <a:lnTo>
                    <a:pt x="659130" y="1132523"/>
                  </a:lnTo>
                  <a:lnTo>
                    <a:pt x="662845" y="1136904"/>
                  </a:lnTo>
                  <a:lnTo>
                    <a:pt x="664083" y="1133475"/>
                  </a:lnTo>
                  <a:lnTo>
                    <a:pt x="668846" y="1132904"/>
                  </a:lnTo>
                  <a:lnTo>
                    <a:pt x="669036" y="1134523"/>
                  </a:lnTo>
                  <a:lnTo>
                    <a:pt x="676465" y="1130332"/>
                  </a:lnTo>
                  <a:lnTo>
                    <a:pt x="682847" y="1142333"/>
                  </a:lnTo>
                  <a:lnTo>
                    <a:pt x="687800" y="1143286"/>
                  </a:lnTo>
                  <a:lnTo>
                    <a:pt x="692087" y="1139571"/>
                  </a:lnTo>
                  <a:lnTo>
                    <a:pt x="689515" y="1131856"/>
                  </a:lnTo>
                  <a:lnTo>
                    <a:pt x="690944" y="1130046"/>
                  </a:lnTo>
                  <a:lnTo>
                    <a:pt x="690277" y="1125379"/>
                  </a:lnTo>
                  <a:lnTo>
                    <a:pt x="693230" y="1123379"/>
                  </a:lnTo>
                  <a:lnTo>
                    <a:pt x="692658" y="1118616"/>
                  </a:lnTo>
                  <a:lnTo>
                    <a:pt x="697135" y="1116425"/>
                  </a:lnTo>
                  <a:lnTo>
                    <a:pt x="702564" y="1120616"/>
                  </a:lnTo>
                  <a:lnTo>
                    <a:pt x="706660" y="1115282"/>
                  </a:lnTo>
                  <a:lnTo>
                    <a:pt x="709231" y="1122902"/>
                  </a:lnTo>
                  <a:lnTo>
                    <a:pt x="716185" y="1126903"/>
                  </a:lnTo>
                  <a:lnTo>
                    <a:pt x="718280" y="1131380"/>
                  </a:lnTo>
                  <a:lnTo>
                    <a:pt x="721519" y="1130998"/>
                  </a:lnTo>
                  <a:lnTo>
                    <a:pt x="718947" y="1136142"/>
                  </a:lnTo>
                  <a:lnTo>
                    <a:pt x="719138" y="1137761"/>
                  </a:lnTo>
                  <a:lnTo>
                    <a:pt x="726091" y="1141667"/>
                  </a:lnTo>
                  <a:lnTo>
                    <a:pt x="724662" y="1143476"/>
                  </a:lnTo>
                  <a:lnTo>
                    <a:pt x="729424" y="1142810"/>
                  </a:lnTo>
                  <a:lnTo>
                    <a:pt x="736473" y="1148334"/>
                  </a:lnTo>
                  <a:lnTo>
                    <a:pt x="739712" y="1147953"/>
                  </a:lnTo>
                  <a:lnTo>
                    <a:pt x="741045" y="1146143"/>
                  </a:lnTo>
                  <a:lnTo>
                    <a:pt x="754856" y="1141190"/>
                  </a:lnTo>
                  <a:lnTo>
                    <a:pt x="757999" y="1140809"/>
                  </a:lnTo>
                  <a:lnTo>
                    <a:pt x="758190" y="1142333"/>
                  </a:lnTo>
                  <a:lnTo>
                    <a:pt x="761333" y="1141952"/>
                  </a:lnTo>
                  <a:lnTo>
                    <a:pt x="763143" y="1143381"/>
                  </a:lnTo>
                  <a:lnTo>
                    <a:pt x="766286" y="1142905"/>
                  </a:lnTo>
                  <a:lnTo>
                    <a:pt x="765905" y="1139762"/>
                  </a:lnTo>
                  <a:lnTo>
                    <a:pt x="767524" y="1139571"/>
                  </a:lnTo>
                  <a:lnTo>
                    <a:pt x="767048" y="1136428"/>
                  </a:lnTo>
                  <a:lnTo>
                    <a:pt x="766477" y="1131665"/>
                  </a:lnTo>
                  <a:lnTo>
                    <a:pt x="770382" y="1124807"/>
                  </a:lnTo>
                  <a:lnTo>
                    <a:pt x="766667" y="1120426"/>
                  </a:lnTo>
                  <a:lnTo>
                    <a:pt x="766477" y="1118902"/>
                  </a:lnTo>
                  <a:lnTo>
                    <a:pt x="773906" y="1114711"/>
                  </a:lnTo>
                  <a:lnTo>
                    <a:pt x="775145" y="1111377"/>
                  </a:lnTo>
                  <a:lnTo>
                    <a:pt x="778097" y="1109377"/>
                  </a:lnTo>
                  <a:lnTo>
                    <a:pt x="776288" y="1107948"/>
                  </a:lnTo>
                  <a:lnTo>
                    <a:pt x="780574" y="1104233"/>
                  </a:lnTo>
                  <a:lnTo>
                    <a:pt x="778002" y="1096518"/>
                  </a:lnTo>
                  <a:lnTo>
                    <a:pt x="772097" y="1087660"/>
                  </a:lnTo>
                  <a:lnTo>
                    <a:pt x="771715" y="1084517"/>
                  </a:lnTo>
                  <a:lnTo>
                    <a:pt x="775240" y="1087279"/>
                  </a:lnTo>
                  <a:lnTo>
                    <a:pt x="778192" y="1085279"/>
                  </a:lnTo>
                  <a:lnTo>
                    <a:pt x="787241" y="1080897"/>
                  </a:lnTo>
                  <a:lnTo>
                    <a:pt x="788480" y="1077563"/>
                  </a:lnTo>
                  <a:lnTo>
                    <a:pt x="787813" y="1072801"/>
                  </a:lnTo>
                  <a:lnTo>
                    <a:pt x="790384" y="1067657"/>
                  </a:lnTo>
                  <a:lnTo>
                    <a:pt x="794004" y="1070419"/>
                  </a:lnTo>
                  <a:lnTo>
                    <a:pt x="807720" y="1065467"/>
                  </a:lnTo>
                  <a:lnTo>
                    <a:pt x="806958" y="1059180"/>
                  </a:lnTo>
                  <a:lnTo>
                    <a:pt x="808577" y="1058989"/>
                  </a:lnTo>
                  <a:lnTo>
                    <a:pt x="808101" y="1055846"/>
                  </a:lnTo>
                  <a:lnTo>
                    <a:pt x="809149" y="1050893"/>
                  </a:lnTo>
                  <a:lnTo>
                    <a:pt x="808672" y="1047750"/>
                  </a:lnTo>
                  <a:lnTo>
                    <a:pt x="806767" y="1044797"/>
                  </a:lnTo>
                  <a:lnTo>
                    <a:pt x="809911" y="1044321"/>
                  </a:lnTo>
                  <a:lnTo>
                    <a:pt x="813435" y="1047083"/>
                  </a:lnTo>
                  <a:lnTo>
                    <a:pt x="815435" y="1050036"/>
                  </a:lnTo>
                  <a:lnTo>
                    <a:pt x="823341" y="1049084"/>
                  </a:lnTo>
                  <a:lnTo>
                    <a:pt x="825532" y="1053560"/>
                  </a:lnTo>
                  <a:lnTo>
                    <a:pt x="828675" y="1053179"/>
                  </a:lnTo>
                  <a:lnTo>
                    <a:pt x="830580" y="1056132"/>
                  </a:lnTo>
                  <a:lnTo>
                    <a:pt x="835152" y="1053941"/>
                  </a:lnTo>
                  <a:lnTo>
                    <a:pt x="840676" y="1059656"/>
                  </a:lnTo>
                  <a:lnTo>
                    <a:pt x="850011" y="1056894"/>
                  </a:lnTo>
                  <a:lnTo>
                    <a:pt x="849535" y="1053751"/>
                  </a:lnTo>
                  <a:lnTo>
                    <a:pt x="849154" y="1050608"/>
                  </a:lnTo>
                  <a:lnTo>
                    <a:pt x="857440" y="1039939"/>
                  </a:lnTo>
                  <a:lnTo>
                    <a:pt x="860393" y="1025080"/>
                  </a:lnTo>
                  <a:lnTo>
                    <a:pt x="859917" y="1021937"/>
                  </a:lnTo>
                  <a:lnTo>
                    <a:pt x="855250" y="1022509"/>
                  </a:lnTo>
                  <a:lnTo>
                    <a:pt x="855250" y="102250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8" name="Volný tvar: obrazec 37">
              <a:extLst>
                <a:ext uri="{FF2B5EF4-FFF2-40B4-BE49-F238E27FC236}">
                  <a16:creationId xmlns:a16="http://schemas.microsoft.com/office/drawing/2014/main" id="{3F32326D-2E96-13FE-D6D5-C38611B3667D}"/>
                </a:ext>
              </a:extLst>
            </p:cNvPr>
            <p:cNvSpPr>
              <a:spLocks noChangeAspect="1"/>
            </p:cNvSpPr>
            <p:nvPr userDrawn="1">
              <p:custDataLst>
                <p:tags r:id="rId8"/>
              </p:custDataLst>
            </p:nvPr>
          </p:nvSpPr>
          <p:spPr>
            <a:xfrm>
              <a:off x="3727418" y="2648330"/>
              <a:ext cx="835437" cy="647509"/>
            </a:xfrm>
            <a:custGeom>
              <a:avLst/>
              <a:gdLst>
                <a:gd name="connsiteX0" fmla="*/ 833057 w 835437"/>
                <a:gd name="connsiteY0" fmla="*/ 420719 h 647509"/>
                <a:gd name="connsiteX1" fmla="*/ 831437 w 835437"/>
                <a:gd name="connsiteY1" fmla="*/ 408146 h 647509"/>
                <a:gd name="connsiteX2" fmla="*/ 829628 w 835437"/>
                <a:gd name="connsiteY2" fmla="*/ 406717 h 647509"/>
                <a:gd name="connsiteX3" fmla="*/ 821722 w 835437"/>
                <a:gd name="connsiteY3" fmla="*/ 407765 h 647509"/>
                <a:gd name="connsiteX4" fmla="*/ 823151 w 835437"/>
                <a:gd name="connsiteY4" fmla="*/ 405956 h 647509"/>
                <a:gd name="connsiteX5" fmla="*/ 827627 w 835437"/>
                <a:gd name="connsiteY5" fmla="*/ 403765 h 647509"/>
                <a:gd name="connsiteX6" fmla="*/ 820769 w 835437"/>
                <a:gd name="connsiteY6" fmla="*/ 399859 h 647509"/>
                <a:gd name="connsiteX7" fmla="*/ 820579 w 835437"/>
                <a:gd name="connsiteY7" fmla="*/ 398240 h 647509"/>
                <a:gd name="connsiteX8" fmla="*/ 818198 w 835437"/>
                <a:gd name="connsiteY8" fmla="*/ 392144 h 647509"/>
                <a:gd name="connsiteX9" fmla="*/ 813245 w 835437"/>
                <a:gd name="connsiteY9" fmla="*/ 391192 h 647509"/>
                <a:gd name="connsiteX10" fmla="*/ 805529 w 835437"/>
                <a:gd name="connsiteY10" fmla="*/ 393763 h 647509"/>
                <a:gd name="connsiteX11" fmla="*/ 800195 w 835437"/>
                <a:gd name="connsiteY11" fmla="*/ 389668 h 647509"/>
                <a:gd name="connsiteX12" fmla="*/ 797624 w 835437"/>
                <a:gd name="connsiteY12" fmla="*/ 394716 h 647509"/>
                <a:gd name="connsiteX13" fmla="*/ 791909 w 835437"/>
                <a:gd name="connsiteY13" fmla="*/ 387477 h 647509"/>
                <a:gd name="connsiteX14" fmla="*/ 788765 w 835437"/>
                <a:gd name="connsiteY14" fmla="*/ 387858 h 647509"/>
                <a:gd name="connsiteX15" fmla="*/ 785146 w 835437"/>
                <a:gd name="connsiteY15" fmla="*/ 385096 h 647509"/>
                <a:gd name="connsiteX16" fmla="*/ 793051 w 835437"/>
                <a:gd name="connsiteY16" fmla="*/ 384143 h 647509"/>
                <a:gd name="connsiteX17" fmla="*/ 794290 w 835437"/>
                <a:gd name="connsiteY17" fmla="*/ 380714 h 647509"/>
                <a:gd name="connsiteX18" fmla="*/ 790861 w 835437"/>
                <a:gd name="connsiteY18" fmla="*/ 379571 h 647509"/>
                <a:gd name="connsiteX19" fmla="*/ 792099 w 835437"/>
                <a:gd name="connsiteY19" fmla="*/ 376238 h 647509"/>
                <a:gd name="connsiteX20" fmla="*/ 799814 w 835437"/>
                <a:gd name="connsiteY20" fmla="*/ 373666 h 647509"/>
                <a:gd name="connsiteX21" fmla="*/ 800005 w 835437"/>
                <a:gd name="connsiteY21" fmla="*/ 375190 h 647509"/>
                <a:gd name="connsiteX22" fmla="*/ 801148 w 835437"/>
                <a:gd name="connsiteY22" fmla="*/ 371856 h 647509"/>
                <a:gd name="connsiteX23" fmla="*/ 809625 w 835437"/>
                <a:gd name="connsiteY23" fmla="*/ 375571 h 647509"/>
                <a:gd name="connsiteX24" fmla="*/ 809435 w 835437"/>
                <a:gd name="connsiteY24" fmla="*/ 374047 h 647509"/>
                <a:gd name="connsiteX25" fmla="*/ 811244 w 835437"/>
                <a:gd name="connsiteY25" fmla="*/ 375380 h 647509"/>
                <a:gd name="connsiteX26" fmla="*/ 812578 w 835437"/>
                <a:gd name="connsiteY26" fmla="*/ 373571 h 647509"/>
                <a:gd name="connsiteX27" fmla="*/ 815912 w 835437"/>
                <a:gd name="connsiteY27" fmla="*/ 374809 h 647509"/>
                <a:gd name="connsiteX28" fmla="*/ 812959 w 835437"/>
                <a:gd name="connsiteY28" fmla="*/ 376809 h 647509"/>
                <a:gd name="connsiteX29" fmla="*/ 821722 w 835437"/>
                <a:gd name="connsiteY29" fmla="*/ 382048 h 647509"/>
                <a:gd name="connsiteX30" fmla="*/ 824865 w 835437"/>
                <a:gd name="connsiteY30" fmla="*/ 381667 h 647509"/>
                <a:gd name="connsiteX31" fmla="*/ 822484 w 835437"/>
                <a:gd name="connsiteY31" fmla="*/ 375571 h 647509"/>
                <a:gd name="connsiteX32" fmla="*/ 825437 w 835437"/>
                <a:gd name="connsiteY32" fmla="*/ 373571 h 647509"/>
                <a:gd name="connsiteX33" fmla="*/ 820293 w 835437"/>
                <a:gd name="connsiteY33" fmla="*/ 370999 h 647509"/>
                <a:gd name="connsiteX34" fmla="*/ 821817 w 835437"/>
                <a:gd name="connsiteY34" fmla="*/ 370808 h 647509"/>
                <a:gd name="connsiteX35" fmla="*/ 821436 w 835437"/>
                <a:gd name="connsiteY35" fmla="*/ 367665 h 647509"/>
                <a:gd name="connsiteX36" fmla="*/ 812959 w 835437"/>
                <a:gd name="connsiteY36" fmla="*/ 363950 h 647509"/>
                <a:gd name="connsiteX37" fmla="*/ 813911 w 835437"/>
                <a:gd name="connsiteY37" fmla="*/ 358997 h 647509"/>
                <a:gd name="connsiteX38" fmla="*/ 812387 w 835437"/>
                <a:gd name="connsiteY38" fmla="*/ 359188 h 647509"/>
                <a:gd name="connsiteX39" fmla="*/ 815340 w 835437"/>
                <a:gd name="connsiteY39" fmla="*/ 357188 h 647509"/>
                <a:gd name="connsiteX40" fmla="*/ 825151 w 835437"/>
                <a:gd name="connsiteY40" fmla="*/ 359188 h 647509"/>
                <a:gd name="connsiteX41" fmla="*/ 828294 w 835437"/>
                <a:gd name="connsiteY41" fmla="*/ 345948 h 647509"/>
                <a:gd name="connsiteX42" fmla="*/ 818674 w 835437"/>
                <a:gd name="connsiteY42" fmla="*/ 345567 h 647509"/>
                <a:gd name="connsiteX43" fmla="*/ 821436 w 835437"/>
                <a:gd name="connsiteY43" fmla="*/ 342043 h 647509"/>
                <a:gd name="connsiteX44" fmla="*/ 822198 w 835437"/>
                <a:gd name="connsiteY44" fmla="*/ 335471 h 647509"/>
                <a:gd name="connsiteX45" fmla="*/ 820388 w 835437"/>
                <a:gd name="connsiteY45" fmla="*/ 334137 h 647509"/>
                <a:gd name="connsiteX46" fmla="*/ 819436 w 835437"/>
                <a:gd name="connsiteY46" fmla="*/ 326231 h 647509"/>
                <a:gd name="connsiteX47" fmla="*/ 813816 w 835437"/>
                <a:gd name="connsiteY47" fmla="*/ 320516 h 647509"/>
                <a:gd name="connsiteX48" fmla="*/ 813816 w 835437"/>
                <a:gd name="connsiteY48" fmla="*/ 320516 h 647509"/>
                <a:gd name="connsiteX49" fmla="*/ 816388 w 835437"/>
                <a:gd name="connsiteY49" fmla="*/ 315373 h 647509"/>
                <a:gd name="connsiteX50" fmla="*/ 809244 w 835437"/>
                <a:gd name="connsiteY50" fmla="*/ 309848 h 647509"/>
                <a:gd name="connsiteX51" fmla="*/ 807720 w 835437"/>
                <a:gd name="connsiteY51" fmla="*/ 310134 h 647509"/>
                <a:gd name="connsiteX52" fmla="*/ 804386 w 835437"/>
                <a:gd name="connsiteY52" fmla="*/ 308896 h 647509"/>
                <a:gd name="connsiteX53" fmla="*/ 808482 w 835437"/>
                <a:gd name="connsiteY53" fmla="*/ 303562 h 647509"/>
                <a:gd name="connsiteX54" fmla="*/ 808292 w 835437"/>
                <a:gd name="connsiteY54" fmla="*/ 302038 h 647509"/>
                <a:gd name="connsiteX55" fmla="*/ 805148 w 835437"/>
                <a:gd name="connsiteY55" fmla="*/ 302419 h 647509"/>
                <a:gd name="connsiteX56" fmla="*/ 796862 w 835437"/>
                <a:gd name="connsiteY56" fmla="*/ 300228 h 647509"/>
                <a:gd name="connsiteX57" fmla="*/ 796004 w 835437"/>
                <a:gd name="connsiteY57" fmla="*/ 293942 h 647509"/>
                <a:gd name="connsiteX58" fmla="*/ 802386 w 835437"/>
                <a:gd name="connsiteY58" fmla="*/ 293180 h 647509"/>
                <a:gd name="connsiteX59" fmla="*/ 801529 w 835437"/>
                <a:gd name="connsiteY59" fmla="*/ 286798 h 647509"/>
                <a:gd name="connsiteX60" fmla="*/ 802958 w 835437"/>
                <a:gd name="connsiteY60" fmla="*/ 284988 h 647509"/>
                <a:gd name="connsiteX61" fmla="*/ 804291 w 835437"/>
                <a:gd name="connsiteY61" fmla="*/ 283273 h 647509"/>
                <a:gd name="connsiteX62" fmla="*/ 802291 w 835437"/>
                <a:gd name="connsiteY62" fmla="*/ 280321 h 647509"/>
                <a:gd name="connsiteX63" fmla="*/ 805244 w 835437"/>
                <a:gd name="connsiteY63" fmla="*/ 278321 h 647509"/>
                <a:gd name="connsiteX64" fmla="*/ 806672 w 835437"/>
                <a:gd name="connsiteY64" fmla="*/ 276511 h 647509"/>
                <a:gd name="connsiteX65" fmla="*/ 799910 w 835437"/>
                <a:gd name="connsiteY65" fmla="*/ 274225 h 647509"/>
                <a:gd name="connsiteX66" fmla="*/ 799528 w 835437"/>
                <a:gd name="connsiteY66" fmla="*/ 270986 h 647509"/>
                <a:gd name="connsiteX67" fmla="*/ 797909 w 835437"/>
                <a:gd name="connsiteY67" fmla="*/ 271272 h 647509"/>
                <a:gd name="connsiteX68" fmla="*/ 791813 w 835437"/>
                <a:gd name="connsiteY68" fmla="*/ 273653 h 647509"/>
                <a:gd name="connsiteX69" fmla="*/ 788480 w 835437"/>
                <a:gd name="connsiteY69" fmla="*/ 272415 h 647509"/>
                <a:gd name="connsiteX70" fmla="*/ 784098 w 835437"/>
                <a:gd name="connsiteY70" fmla="*/ 263366 h 647509"/>
                <a:gd name="connsiteX71" fmla="*/ 785527 w 835437"/>
                <a:gd name="connsiteY71" fmla="*/ 261556 h 647509"/>
                <a:gd name="connsiteX72" fmla="*/ 783717 w 835437"/>
                <a:gd name="connsiteY72" fmla="*/ 260223 h 647509"/>
                <a:gd name="connsiteX73" fmla="*/ 786479 w 835437"/>
                <a:gd name="connsiteY73" fmla="*/ 256699 h 647509"/>
                <a:gd name="connsiteX74" fmla="*/ 791242 w 835437"/>
                <a:gd name="connsiteY74" fmla="*/ 256032 h 647509"/>
                <a:gd name="connsiteX75" fmla="*/ 794195 w 835437"/>
                <a:gd name="connsiteY75" fmla="*/ 254032 h 647509"/>
                <a:gd name="connsiteX76" fmla="*/ 793147 w 835437"/>
                <a:gd name="connsiteY76" fmla="*/ 246221 h 647509"/>
                <a:gd name="connsiteX77" fmla="*/ 791909 w 835437"/>
                <a:gd name="connsiteY77" fmla="*/ 236696 h 647509"/>
                <a:gd name="connsiteX78" fmla="*/ 788575 w 835437"/>
                <a:gd name="connsiteY78" fmla="*/ 235553 h 647509"/>
                <a:gd name="connsiteX79" fmla="*/ 789527 w 835437"/>
                <a:gd name="connsiteY79" fmla="*/ 230600 h 647509"/>
                <a:gd name="connsiteX80" fmla="*/ 792099 w 835437"/>
                <a:gd name="connsiteY80" fmla="*/ 225457 h 647509"/>
                <a:gd name="connsiteX81" fmla="*/ 782288 w 835437"/>
                <a:gd name="connsiteY81" fmla="*/ 223552 h 647509"/>
                <a:gd name="connsiteX82" fmla="*/ 779050 w 835437"/>
                <a:gd name="connsiteY82" fmla="*/ 223933 h 647509"/>
                <a:gd name="connsiteX83" fmla="*/ 778859 w 835437"/>
                <a:gd name="connsiteY83" fmla="*/ 222313 h 647509"/>
                <a:gd name="connsiteX84" fmla="*/ 782003 w 835437"/>
                <a:gd name="connsiteY84" fmla="*/ 221932 h 647509"/>
                <a:gd name="connsiteX85" fmla="*/ 784003 w 835437"/>
                <a:gd name="connsiteY85" fmla="*/ 212027 h 647509"/>
                <a:gd name="connsiteX86" fmla="*/ 782193 w 835437"/>
                <a:gd name="connsiteY86" fmla="*/ 210693 h 647509"/>
                <a:gd name="connsiteX87" fmla="*/ 785336 w 835437"/>
                <a:gd name="connsiteY87" fmla="*/ 210312 h 647509"/>
                <a:gd name="connsiteX88" fmla="*/ 787908 w 835437"/>
                <a:gd name="connsiteY88" fmla="*/ 205169 h 647509"/>
                <a:gd name="connsiteX89" fmla="*/ 786384 w 835437"/>
                <a:gd name="connsiteY89" fmla="*/ 205359 h 647509"/>
                <a:gd name="connsiteX90" fmla="*/ 785717 w 835437"/>
                <a:gd name="connsiteY90" fmla="*/ 200596 h 647509"/>
                <a:gd name="connsiteX91" fmla="*/ 790289 w 835437"/>
                <a:gd name="connsiteY91" fmla="*/ 198406 h 647509"/>
                <a:gd name="connsiteX92" fmla="*/ 791813 w 835437"/>
                <a:gd name="connsiteY92" fmla="*/ 198215 h 647509"/>
                <a:gd name="connsiteX93" fmla="*/ 792671 w 835437"/>
                <a:gd name="connsiteY93" fmla="*/ 191738 h 647509"/>
                <a:gd name="connsiteX94" fmla="*/ 787718 w 835437"/>
                <a:gd name="connsiteY94" fmla="*/ 190786 h 647509"/>
                <a:gd name="connsiteX95" fmla="*/ 788670 w 835437"/>
                <a:gd name="connsiteY95" fmla="*/ 185833 h 647509"/>
                <a:gd name="connsiteX96" fmla="*/ 785527 w 835437"/>
                <a:gd name="connsiteY96" fmla="*/ 186214 h 647509"/>
                <a:gd name="connsiteX97" fmla="*/ 786670 w 835437"/>
                <a:gd name="connsiteY97" fmla="*/ 182880 h 647509"/>
                <a:gd name="connsiteX98" fmla="*/ 784670 w 835437"/>
                <a:gd name="connsiteY98" fmla="*/ 179927 h 647509"/>
                <a:gd name="connsiteX99" fmla="*/ 784289 w 835437"/>
                <a:gd name="connsiteY99" fmla="*/ 176784 h 647509"/>
                <a:gd name="connsiteX100" fmla="*/ 787051 w 835437"/>
                <a:gd name="connsiteY100" fmla="*/ 173165 h 647509"/>
                <a:gd name="connsiteX101" fmla="*/ 787051 w 835437"/>
                <a:gd name="connsiteY101" fmla="*/ 173165 h 647509"/>
                <a:gd name="connsiteX102" fmla="*/ 790003 w 835437"/>
                <a:gd name="connsiteY102" fmla="*/ 171164 h 647509"/>
                <a:gd name="connsiteX103" fmla="*/ 794576 w 835437"/>
                <a:gd name="connsiteY103" fmla="*/ 169069 h 647509"/>
                <a:gd name="connsiteX104" fmla="*/ 794099 w 835437"/>
                <a:gd name="connsiteY104" fmla="*/ 165830 h 647509"/>
                <a:gd name="connsiteX105" fmla="*/ 795528 w 835437"/>
                <a:gd name="connsiteY105" fmla="*/ 164116 h 647509"/>
                <a:gd name="connsiteX106" fmla="*/ 792956 w 835437"/>
                <a:gd name="connsiteY106" fmla="*/ 156400 h 647509"/>
                <a:gd name="connsiteX107" fmla="*/ 795719 w 835437"/>
                <a:gd name="connsiteY107" fmla="*/ 152876 h 647509"/>
                <a:gd name="connsiteX108" fmla="*/ 788765 w 835437"/>
                <a:gd name="connsiteY108" fmla="*/ 148876 h 647509"/>
                <a:gd name="connsiteX109" fmla="*/ 785622 w 835437"/>
                <a:gd name="connsiteY109" fmla="*/ 136493 h 647509"/>
                <a:gd name="connsiteX110" fmla="*/ 775335 w 835437"/>
                <a:gd name="connsiteY110" fmla="*/ 131350 h 647509"/>
                <a:gd name="connsiteX111" fmla="*/ 777907 w 835437"/>
                <a:gd name="connsiteY111" fmla="*/ 126302 h 647509"/>
                <a:gd name="connsiteX112" fmla="*/ 777716 w 835437"/>
                <a:gd name="connsiteY112" fmla="*/ 124682 h 647509"/>
                <a:gd name="connsiteX113" fmla="*/ 771525 w 835437"/>
                <a:gd name="connsiteY113" fmla="*/ 127063 h 647509"/>
                <a:gd name="connsiteX114" fmla="*/ 767429 w 835437"/>
                <a:gd name="connsiteY114" fmla="*/ 132398 h 647509"/>
                <a:gd name="connsiteX115" fmla="*/ 762476 w 835437"/>
                <a:gd name="connsiteY115" fmla="*/ 131445 h 647509"/>
                <a:gd name="connsiteX116" fmla="*/ 759905 w 835437"/>
                <a:gd name="connsiteY116" fmla="*/ 136588 h 647509"/>
                <a:gd name="connsiteX117" fmla="*/ 759333 w 835437"/>
                <a:gd name="connsiteY117" fmla="*/ 131826 h 647509"/>
                <a:gd name="connsiteX118" fmla="*/ 749903 w 835437"/>
                <a:gd name="connsiteY118" fmla="*/ 133064 h 647509"/>
                <a:gd name="connsiteX119" fmla="*/ 746474 w 835437"/>
                <a:gd name="connsiteY119" fmla="*/ 131826 h 647509"/>
                <a:gd name="connsiteX120" fmla="*/ 741807 w 835437"/>
                <a:gd name="connsiteY120" fmla="*/ 132493 h 647509"/>
                <a:gd name="connsiteX121" fmla="*/ 739997 w 835437"/>
                <a:gd name="connsiteY121" fmla="*/ 131064 h 647509"/>
                <a:gd name="connsiteX122" fmla="*/ 738378 w 835437"/>
                <a:gd name="connsiteY122" fmla="*/ 131254 h 647509"/>
                <a:gd name="connsiteX123" fmla="*/ 736283 w 835437"/>
                <a:gd name="connsiteY123" fmla="*/ 126778 h 647509"/>
                <a:gd name="connsiteX124" fmla="*/ 728186 w 835437"/>
                <a:gd name="connsiteY124" fmla="*/ 126206 h 647509"/>
                <a:gd name="connsiteX125" fmla="*/ 723233 w 835437"/>
                <a:gd name="connsiteY125" fmla="*/ 125158 h 647509"/>
                <a:gd name="connsiteX126" fmla="*/ 717328 w 835437"/>
                <a:gd name="connsiteY126" fmla="*/ 129159 h 647509"/>
                <a:gd name="connsiteX127" fmla="*/ 715709 w 835437"/>
                <a:gd name="connsiteY127" fmla="*/ 129350 h 647509"/>
                <a:gd name="connsiteX128" fmla="*/ 717899 w 835437"/>
                <a:gd name="connsiteY128" fmla="*/ 133921 h 647509"/>
                <a:gd name="connsiteX129" fmla="*/ 714756 w 835437"/>
                <a:gd name="connsiteY129" fmla="*/ 134302 h 647509"/>
                <a:gd name="connsiteX130" fmla="*/ 713327 w 835437"/>
                <a:gd name="connsiteY130" fmla="*/ 136112 h 647509"/>
                <a:gd name="connsiteX131" fmla="*/ 708279 w 835437"/>
                <a:gd name="connsiteY131" fmla="*/ 133540 h 647509"/>
                <a:gd name="connsiteX132" fmla="*/ 709613 w 835437"/>
                <a:gd name="connsiteY132" fmla="*/ 131731 h 647509"/>
                <a:gd name="connsiteX133" fmla="*/ 707803 w 835437"/>
                <a:gd name="connsiteY133" fmla="*/ 130397 h 647509"/>
                <a:gd name="connsiteX134" fmla="*/ 703136 w 835437"/>
                <a:gd name="connsiteY134" fmla="*/ 130969 h 647509"/>
                <a:gd name="connsiteX135" fmla="*/ 699326 w 835437"/>
                <a:gd name="connsiteY135" fmla="*/ 126587 h 647509"/>
                <a:gd name="connsiteX136" fmla="*/ 696373 w 835437"/>
                <a:gd name="connsiteY136" fmla="*/ 128588 h 647509"/>
                <a:gd name="connsiteX137" fmla="*/ 696373 w 835437"/>
                <a:gd name="connsiteY137" fmla="*/ 128588 h 647509"/>
                <a:gd name="connsiteX138" fmla="*/ 695801 w 835437"/>
                <a:gd name="connsiteY138" fmla="*/ 123920 h 647509"/>
                <a:gd name="connsiteX139" fmla="*/ 700278 w 835437"/>
                <a:gd name="connsiteY139" fmla="*/ 121729 h 647509"/>
                <a:gd name="connsiteX140" fmla="*/ 702278 w 835437"/>
                <a:gd name="connsiteY140" fmla="*/ 111823 h 647509"/>
                <a:gd name="connsiteX141" fmla="*/ 708565 w 835437"/>
                <a:gd name="connsiteY141" fmla="*/ 111061 h 647509"/>
                <a:gd name="connsiteX142" fmla="*/ 708374 w 835437"/>
                <a:gd name="connsiteY142" fmla="*/ 109442 h 647509"/>
                <a:gd name="connsiteX143" fmla="*/ 700469 w 835437"/>
                <a:gd name="connsiteY143" fmla="*/ 97631 h 647509"/>
                <a:gd name="connsiteX144" fmla="*/ 698659 w 835437"/>
                <a:gd name="connsiteY144" fmla="*/ 96298 h 647509"/>
                <a:gd name="connsiteX145" fmla="*/ 695706 w 835437"/>
                <a:gd name="connsiteY145" fmla="*/ 98203 h 647509"/>
                <a:gd name="connsiteX146" fmla="*/ 689229 w 835437"/>
                <a:gd name="connsiteY146" fmla="*/ 97441 h 647509"/>
                <a:gd name="connsiteX147" fmla="*/ 679895 w 835437"/>
                <a:gd name="connsiteY147" fmla="*/ 87440 h 647509"/>
                <a:gd name="connsiteX148" fmla="*/ 680276 w 835437"/>
                <a:gd name="connsiteY148" fmla="*/ 90583 h 647509"/>
                <a:gd name="connsiteX149" fmla="*/ 665702 w 835437"/>
                <a:gd name="connsiteY149" fmla="*/ 89249 h 647509"/>
                <a:gd name="connsiteX150" fmla="*/ 664750 w 835437"/>
                <a:gd name="connsiteY150" fmla="*/ 94202 h 647509"/>
                <a:gd name="connsiteX151" fmla="*/ 650939 w 835437"/>
                <a:gd name="connsiteY151" fmla="*/ 86296 h 647509"/>
                <a:gd name="connsiteX152" fmla="*/ 648272 w 835437"/>
                <a:gd name="connsiteY152" fmla="*/ 78581 h 647509"/>
                <a:gd name="connsiteX153" fmla="*/ 640651 w 835437"/>
                <a:gd name="connsiteY153" fmla="*/ 81153 h 647509"/>
                <a:gd name="connsiteX154" fmla="*/ 631793 w 835437"/>
                <a:gd name="connsiteY154" fmla="*/ 87154 h 647509"/>
                <a:gd name="connsiteX155" fmla="*/ 629984 w 835437"/>
                <a:gd name="connsiteY155" fmla="*/ 85725 h 647509"/>
                <a:gd name="connsiteX156" fmla="*/ 631126 w 835437"/>
                <a:gd name="connsiteY156" fmla="*/ 82391 h 647509"/>
                <a:gd name="connsiteX157" fmla="*/ 628174 w 835437"/>
                <a:gd name="connsiteY157" fmla="*/ 84392 h 647509"/>
                <a:gd name="connsiteX158" fmla="*/ 626174 w 835437"/>
                <a:gd name="connsiteY158" fmla="*/ 81439 h 647509"/>
                <a:gd name="connsiteX159" fmla="*/ 615410 w 835437"/>
                <a:gd name="connsiteY159" fmla="*/ 84392 h 647509"/>
                <a:gd name="connsiteX160" fmla="*/ 613029 w 835437"/>
                <a:gd name="connsiteY160" fmla="*/ 78296 h 647509"/>
                <a:gd name="connsiteX161" fmla="*/ 609028 w 835437"/>
                <a:gd name="connsiteY161" fmla="*/ 72390 h 647509"/>
                <a:gd name="connsiteX162" fmla="*/ 597218 w 835437"/>
                <a:gd name="connsiteY162" fmla="*/ 67437 h 647509"/>
                <a:gd name="connsiteX163" fmla="*/ 590455 w 835437"/>
                <a:gd name="connsiteY163" fmla="*/ 65151 h 647509"/>
                <a:gd name="connsiteX164" fmla="*/ 589693 w 835437"/>
                <a:gd name="connsiteY164" fmla="*/ 58865 h 647509"/>
                <a:gd name="connsiteX165" fmla="*/ 575215 w 835437"/>
                <a:gd name="connsiteY165" fmla="*/ 46196 h 647509"/>
                <a:gd name="connsiteX166" fmla="*/ 571881 w 835437"/>
                <a:gd name="connsiteY166" fmla="*/ 45053 h 647509"/>
                <a:gd name="connsiteX167" fmla="*/ 568738 w 835437"/>
                <a:gd name="connsiteY167" fmla="*/ 45434 h 647509"/>
                <a:gd name="connsiteX168" fmla="*/ 561404 w 835437"/>
                <a:gd name="connsiteY168" fmla="*/ 38386 h 647509"/>
                <a:gd name="connsiteX169" fmla="*/ 531305 w 835437"/>
                <a:gd name="connsiteY169" fmla="*/ 16573 h 647509"/>
                <a:gd name="connsiteX170" fmla="*/ 524066 w 835437"/>
                <a:gd name="connsiteY170" fmla="*/ 9430 h 647509"/>
                <a:gd name="connsiteX171" fmla="*/ 509969 w 835437"/>
                <a:gd name="connsiteY171" fmla="*/ 0 h 647509"/>
                <a:gd name="connsiteX172" fmla="*/ 508254 w 835437"/>
                <a:gd name="connsiteY172" fmla="*/ 11430 h 647509"/>
                <a:gd name="connsiteX173" fmla="*/ 501206 w 835437"/>
                <a:gd name="connsiteY173" fmla="*/ 18764 h 647509"/>
                <a:gd name="connsiteX174" fmla="*/ 501777 w 835437"/>
                <a:gd name="connsiteY174" fmla="*/ 23527 h 647509"/>
                <a:gd name="connsiteX175" fmla="*/ 503968 w 835437"/>
                <a:gd name="connsiteY175" fmla="*/ 28004 h 647509"/>
                <a:gd name="connsiteX176" fmla="*/ 503015 w 835437"/>
                <a:gd name="connsiteY176" fmla="*/ 32956 h 647509"/>
                <a:gd name="connsiteX177" fmla="*/ 498634 w 835437"/>
                <a:gd name="connsiteY177" fmla="*/ 23908 h 647509"/>
                <a:gd name="connsiteX178" fmla="*/ 493871 w 835437"/>
                <a:gd name="connsiteY178" fmla="*/ 11716 h 647509"/>
                <a:gd name="connsiteX179" fmla="*/ 451295 w 835437"/>
                <a:gd name="connsiteY179" fmla="*/ 29908 h 647509"/>
                <a:gd name="connsiteX180" fmla="*/ 446342 w 835437"/>
                <a:gd name="connsiteY180" fmla="*/ 41815 h 647509"/>
                <a:gd name="connsiteX181" fmla="*/ 440436 w 835437"/>
                <a:gd name="connsiteY181" fmla="*/ 45720 h 647509"/>
                <a:gd name="connsiteX182" fmla="*/ 432149 w 835437"/>
                <a:gd name="connsiteY182" fmla="*/ 56388 h 647509"/>
                <a:gd name="connsiteX183" fmla="*/ 429673 w 835437"/>
                <a:gd name="connsiteY183" fmla="*/ 61531 h 647509"/>
                <a:gd name="connsiteX184" fmla="*/ 431578 w 835437"/>
                <a:gd name="connsiteY184" fmla="*/ 64484 h 647509"/>
                <a:gd name="connsiteX185" fmla="*/ 430625 w 835437"/>
                <a:gd name="connsiteY185" fmla="*/ 69437 h 647509"/>
                <a:gd name="connsiteX186" fmla="*/ 423482 w 835437"/>
                <a:gd name="connsiteY186" fmla="*/ 63913 h 647509"/>
                <a:gd name="connsiteX187" fmla="*/ 421577 w 835437"/>
                <a:gd name="connsiteY187" fmla="*/ 60960 h 647509"/>
                <a:gd name="connsiteX188" fmla="*/ 414242 w 835437"/>
                <a:gd name="connsiteY188" fmla="*/ 53911 h 647509"/>
                <a:gd name="connsiteX189" fmla="*/ 408337 w 835437"/>
                <a:gd name="connsiteY189" fmla="*/ 45053 h 647509"/>
                <a:gd name="connsiteX190" fmla="*/ 396240 w 835437"/>
                <a:gd name="connsiteY190" fmla="*/ 51340 h 647509"/>
                <a:gd name="connsiteX191" fmla="*/ 388334 w 835437"/>
                <a:gd name="connsiteY191" fmla="*/ 52388 h 647509"/>
                <a:gd name="connsiteX192" fmla="*/ 384810 w 835437"/>
                <a:gd name="connsiteY192" fmla="*/ 49625 h 647509"/>
                <a:gd name="connsiteX193" fmla="*/ 376142 w 835437"/>
                <a:gd name="connsiteY193" fmla="*/ 44291 h 647509"/>
                <a:gd name="connsiteX194" fmla="*/ 368237 w 835437"/>
                <a:gd name="connsiteY194" fmla="*/ 45339 h 647509"/>
                <a:gd name="connsiteX195" fmla="*/ 368427 w 835437"/>
                <a:gd name="connsiteY195" fmla="*/ 46958 h 647509"/>
                <a:gd name="connsiteX196" fmla="*/ 358426 w 835437"/>
                <a:gd name="connsiteY196" fmla="*/ 56198 h 647509"/>
                <a:gd name="connsiteX197" fmla="*/ 355283 w 835437"/>
                <a:gd name="connsiteY197" fmla="*/ 56579 h 647509"/>
                <a:gd name="connsiteX198" fmla="*/ 353282 w 835437"/>
                <a:gd name="connsiteY198" fmla="*/ 53626 h 647509"/>
                <a:gd name="connsiteX199" fmla="*/ 348520 w 835437"/>
                <a:gd name="connsiteY199" fmla="*/ 54292 h 647509"/>
                <a:gd name="connsiteX200" fmla="*/ 343567 w 835437"/>
                <a:gd name="connsiteY200" fmla="*/ 53245 h 647509"/>
                <a:gd name="connsiteX201" fmla="*/ 339471 w 835437"/>
                <a:gd name="connsiteY201" fmla="*/ 58579 h 647509"/>
                <a:gd name="connsiteX202" fmla="*/ 326993 w 835437"/>
                <a:gd name="connsiteY202" fmla="*/ 61817 h 647509"/>
                <a:gd name="connsiteX203" fmla="*/ 323850 w 835437"/>
                <a:gd name="connsiteY203" fmla="*/ 62198 h 647509"/>
                <a:gd name="connsiteX204" fmla="*/ 320516 w 835437"/>
                <a:gd name="connsiteY204" fmla="*/ 61055 h 647509"/>
                <a:gd name="connsiteX205" fmla="*/ 317563 w 835437"/>
                <a:gd name="connsiteY205" fmla="*/ 63056 h 647509"/>
                <a:gd name="connsiteX206" fmla="*/ 310896 w 835437"/>
                <a:gd name="connsiteY206" fmla="*/ 60674 h 647509"/>
                <a:gd name="connsiteX207" fmla="*/ 306514 w 835437"/>
                <a:gd name="connsiteY207" fmla="*/ 64389 h 647509"/>
                <a:gd name="connsiteX208" fmla="*/ 298418 w 835437"/>
                <a:gd name="connsiteY208" fmla="*/ 63817 h 647509"/>
                <a:gd name="connsiteX209" fmla="*/ 295085 w 835437"/>
                <a:gd name="connsiteY209" fmla="*/ 62675 h 647509"/>
                <a:gd name="connsiteX210" fmla="*/ 294513 w 835437"/>
                <a:gd name="connsiteY210" fmla="*/ 70771 h 647509"/>
                <a:gd name="connsiteX211" fmla="*/ 288608 w 835437"/>
                <a:gd name="connsiteY211" fmla="*/ 74771 h 647509"/>
                <a:gd name="connsiteX212" fmla="*/ 284893 w 835437"/>
                <a:gd name="connsiteY212" fmla="*/ 83248 h 647509"/>
                <a:gd name="connsiteX213" fmla="*/ 279178 w 835437"/>
                <a:gd name="connsiteY213" fmla="*/ 88773 h 647509"/>
                <a:gd name="connsiteX214" fmla="*/ 278130 w 835437"/>
                <a:gd name="connsiteY214" fmla="*/ 93726 h 647509"/>
                <a:gd name="connsiteX215" fmla="*/ 281750 w 835437"/>
                <a:gd name="connsiteY215" fmla="*/ 109252 h 647509"/>
                <a:gd name="connsiteX216" fmla="*/ 279368 w 835437"/>
                <a:gd name="connsiteY216" fmla="*/ 116015 h 647509"/>
                <a:gd name="connsiteX217" fmla="*/ 275082 w 835437"/>
                <a:gd name="connsiteY217" fmla="*/ 119729 h 647509"/>
                <a:gd name="connsiteX218" fmla="*/ 264224 w 835437"/>
                <a:gd name="connsiteY218" fmla="*/ 109919 h 647509"/>
                <a:gd name="connsiteX219" fmla="*/ 258318 w 835437"/>
                <a:gd name="connsiteY219" fmla="*/ 113824 h 647509"/>
                <a:gd name="connsiteX220" fmla="*/ 257080 w 835437"/>
                <a:gd name="connsiteY220" fmla="*/ 117253 h 647509"/>
                <a:gd name="connsiteX221" fmla="*/ 249650 w 835437"/>
                <a:gd name="connsiteY221" fmla="*/ 121348 h 647509"/>
                <a:gd name="connsiteX222" fmla="*/ 245269 w 835437"/>
                <a:gd name="connsiteY222" fmla="*/ 125158 h 647509"/>
                <a:gd name="connsiteX223" fmla="*/ 244316 w 835437"/>
                <a:gd name="connsiteY223" fmla="*/ 130111 h 647509"/>
                <a:gd name="connsiteX224" fmla="*/ 240030 w 835437"/>
                <a:gd name="connsiteY224" fmla="*/ 133826 h 647509"/>
                <a:gd name="connsiteX225" fmla="*/ 242126 w 835437"/>
                <a:gd name="connsiteY225" fmla="*/ 138398 h 647509"/>
                <a:gd name="connsiteX226" fmla="*/ 238220 w 835437"/>
                <a:gd name="connsiteY226" fmla="*/ 145256 h 647509"/>
                <a:gd name="connsiteX227" fmla="*/ 234887 w 835437"/>
                <a:gd name="connsiteY227" fmla="*/ 144113 h 647509"/>
                <a:gd name="connsiteX228" fmla="*/ 231934 w 835437"/>
                <a:gd name="connsiteY228" fmla="*/ 146113 h 647509"/>
                <a:gd name="connsiteX229" fmla="*/ 228410 w 835437"/>
                <a:gd name="connsiteY229" fmla="*/ 143351 h 647509"/>
                <a:gd name="connsiteX230" fmla="*/ 218885 w 835437"/>
                <a:gd name="connsiteY230" fmla="*/ 144590 h 647509"/>
                <a:gd name="connsiteX231" fmla="*/ 214408 w 835437"/>
                <a:gd name="connsiteY231" fmla="*/ 146780 h 647509"/>
                <a:gd name="connsiteX232" fmla="*/ 216503 w 835437"/>
                <a:gd name="connsiteY232" fmla="*/ 151257 h 647509"/>
                <a:gd name="connsiteX233" fmla="*/ 214598 w 835437"/>
                <a:gd name="connsiteY233" fmla="*/ 161163 h 647509"/>
                <a:gd name="connsiteX234" fmla="*/ 216980 w 835437"/>
                <a:gd name="connsiteY234" fmla="*/ 167259 h 647509"/>
                <a:gd name="connsiteX235" fmla="*/ 215075 w 835437"/>
                <a:gd name="connsiteY235" fmla="*/ 177070 h 647509"/>
                <a:gd name="connsiteX236" fmla="*/ 210884 w 835437"/>
                <a:gd name="connsiteY236" fmla="*/ 182499 h 647509"/>
                <a:gd name="connsiteX237" fmla="*/ 202978 w 835437"/>
                <a:gd name="connsiteY237" fmla="*/ 183452 h 647509"/>
                <a:gd name="connsiteX238" fmla="*/ 193739 w 835437"/>
                <a:gd name="connsiteY238" fmla="*/ 186214 h 647509"/>
                <a:gd name="connsiteX239" fmla="*/ 194119 w 835437"/>
                <a:gd name="connsiteY239" fmla="*/ 189357 h 647509"/>
                <a:gd name="connsiteX240" fmla="*/ 191357 w 835437"/>
                <a:gd name="connsiteY240" fmla="*/ 192977 h 647509"/>
                <a:gd name="connsiteX241" fmla="*/ 187071 w 835437"/>
                <a:gd name="connsiteY241" fmla="*/ 196691 h 647509"/>
                <a:gd name="connsiteX242" fmla="*/ 188024 w 835437"/>
                <a:gd name="connsiteY242" fmla="*/ 204597 h 647509"/>
                <a:gd name="connsiteX243" fmla="*/ 180975 w 835437"/>
                <a:gd name="connsiteY243" fmla="*/ 211931 h 647509"/>
                <a:gd name="connsiteX244" fmla="*/ 179261 w 835437"/>
                <a:gd name="connsiteY244" fmla="*/ 223361 h 647509"/>
                <a:gd name="connsiteX245" fmla="*/ 183356 w 835437"/>
                <a:gd name="connsiteY245" fmla="*/ 230886 h 647509"/>
                <a:gd name="connsiteX246" fmla="*/ 185547 w 835437"/>
                <a:gd name="connsiteY246" fmla="*/ 235363 h 647509"/>
                <a:gd name="connsiteX247" fmla="*/ 179451 w 835437"/>
                <a:gd name="connsiteY247" fmla="*/ 237744 h 647509"/>
                <a:gd name="connsiteX248" fmla="*/ 182975 w 835437"/>
                <a:gd name="connsiteY248" fmla="*/ 240506 h 647509"/>
                <a:gd name="connsiteX249" fmla="*/ 178308 w 835437"/>
                <a:gd name="connsiteY249" fmla="*/ 241173 h 647509"/>
                <a:gd name="connsiteX250" fmla="*/ 178499 w 835437"/>
                <a:gd name="connsiteY250" fmla="*/ 242697 h 647509"/>
                <a:gd name="connsiteX251" fmla="*/ 172784 w 835437"/>
                <a:gd name="connsiteY251" fmla="*/ 235458 h 647509"/>
                <a:gd name="connsiteX252" fmla="*/ 166021 w 835437"/>
                <a:gd name="connsiteY252" fmla="*/ 233077 h 647509"/>
                <a:gd name="connsiteX253" fmla="*/ 166592 w 835437"/>
                <a:gd name="connsiteY253" fmla="*/ 237839 h 647509"/>
                <a:gd name="connsiteX254" fmla="*/ 164116 w 835437"/>
                <a:gd name="connsiteY254" fmla="*/ 242983 h 647509"/>
                <a:gd name="connsiteX255" fmla="*/ 165830 w 835437"/>
                <a:gd name="connsiteY255" fmla="*/ 244316 h 647509"/>
                <a:gd name="connsiteX256" fmla="*/ 165449 w 835437"/>
                <a:gd name="connsiteY256" fmla="*/ 254032 h 647509"/>
                <a:gd name="connsiteX257" fmla="*/ 167640 w 835437"/>
                <a:gd name="connsiteY257" fmla="*/ 258509 h 647509"/>
                <a:gd name="connsiteX258" fmla="*/ 168307 w 835437"/>
                <a:gd name="connsiteY258" fmla="*/ 263271 h 647509"/>
                <a:gd name="connsiteX259" fmla="*/ 161544 w 835437"/>
                <a:gd name="connsiteY259" fmla="*/ 260890 h 647509"/>
                <a:gd name="connsiteX260" fmla="*/ 162782 w 835437"/>
                <a:gd name="connsiteY260" fmla="*/ 270415 h 647509"/>
                <a:gd name="connsiteX261" fmla="*/ 160211 w 835437"/>
                <a:gd name="connsiteY261" fmla="*/ 275558 h 647509"/>
                <a:gd name="connsiteX262" fmla="*/ 162592 w 835437"/>
                <a:gd name="connsiteY262" fmla="*/ 281654 h 647509"/>
                <a:gd name="connsiteX263" fmla="*/ 165926 w 835437"/>
                <a:gd name="connsiteY263" fmla="*/ 282797 h 647509"/>
                <a:gd name="connsiteX264" fmla="*/ 164973 w 835437"/>
                <a:gd name="connsiteY264" fmla="*/ 287750 h 647509"/>
                <a:gd name="connsiteX265" fmla="*/ 168497 w 835437"/>
                <a:gd name="connsiteY265" fmla="*/ 290513 h 647509"/>
                <a:gd name="connsiteX266" fmla="*/ 168688 w 835437"/>
                <a:gd name="connsiteY266" fmla="*/ 292036 h 647509"/>
                <a:gd name="connsiteX267" fmla="*/ 167545 w 835437"/>
                <a:gd name="connsiteY267" fmla="*/ 295465 h 647509"/>
                <a:gd name="connsiteX268" fmla="*/ 163068 w 835437"/>
                <a:gd name="connsiteY268" fmla="*/ 297561 h 647509"/>
                <a:gd name="connsiteX269" fmla="*/ 162020 w 835437"/>
                <a:gd name="connsiteY269" fmla="*/ 302514 h 647509"/>
                <a:gd name="connsiteX270" fmla="*/ 158877 w 835437"/>
                <a:gd name="connsiteY270" fmla="*/ 302895 h 647509"/>
                <a:gd name="connsiteX271" fmla="*/ 160877 w 835437"/>
                <a:gd name="connsiteY271" fmla="*/ 305943 h 647509"/>
                <a:gd name="connsiteX272" fmla="*/ 161449 w 835437"/>
                <a:gd name="connsiteY272" fmla="*/ 310610 h 647509"/>
                <a:gd name="connsiteX273" fmla="*/ 168212 w 835437"/>
                <a:gd name="connsiteY273" fmla="*/ 312992 h 647509"/>
                <a:gd name="connsiteX274" fmla="*/ 165259 w 835437"/>
                <a:gd name="connsiteY274" fmla="*/ 314992 h 647509"/>
                <a:gd name="connsiteX275" fmla="*/ 152210 w 835437"/>
                <a:gd name="connsiteY275" fmla="*/ 313373 h 647509"/>
                <a:gd name="connsiteX276" fmla="*/ 143732 w 835437"/>
                <a:gd name="connsiteY276" fmla="*/ 309658 h 647509"/>
                <a:gd name="connsiteX277" fmla="*/ 138970 w 835437"/>
                <a:gd name="connsiteY277" fmla="*/ 310325 h 647509"/>
                <a:gd name="connsiteX278" fmla="*/ 135446 w 835437"/>
                <a:gd name="connsiteY278" fmla="*/ 307562 h 647509"/>
                <a:gd name="connsiteX279" fmla="*/ 137732 w 835437"/>
                <a:gd name="connsiteY279" fmla="*/ 300800 h 647509"/>
                <a:gd name="connsiteX280" fmla="*/ 135636 w 835437"/>
                <a:gd name="connsiteY280" fmla="*/ 296323 h 647509"/>
                <a:gd name="connsiteX281" fmla="*/ 132683 w 835437"/>
                <a:gd name="connsiteY281" fmla="*/ 298228 h 647509"/>
                <a:gd name="connsiteX282" fmla="*/ 131826 w 835437"/>
                <a:gd name="connsiteY282" fmla="*/ 291941 h 647509"/>
                <a:gd name="connsiteX283" fmla="*/ 128873 w 835437"/>
                <a:gd name="connsiteY283" fmla="*/ 293942 h 647509"/>
                <a:gd name="connsiteX284" fmla="*/ 126683 w 835437"/>
                <a:gd name="connsiteY284" fmla="*/ 289369 h 647509"/>
                <a:gd name="connsiteX285" fmla="*/ 126111 w 835437"/>
                <a:gd name="connsiteY285" fmla="*/ 284702 h 647509"/>
                <a:gd name="connsiteX286" fmla="*/ 127254 w 835437"/>
                <a:gd name="connsiteY286" fmla="*/ 281273 h 647509"/>
                <a:gd name="connsiteX287" fmla="*/ 134969 w 835437"/>
                <a:gd name="connsiteY287" fmla="*/ 278702 h 647509"/>
                <a:gd name="connsiteX288" fmla="*/ 136112 w 835437"/>
                <a:gd name="connsiteY288" fmla="*/ 275368 h 647509"/>
                <a:gd name="connsiteX289" fmla="*/ 132779 w 835437"/>
                <a:gd name="connsiteY289" fmla="*/ 274225 h 647509"/>
                <a:gd name="connsiteX290" fmla="*/ 135541 w 835437"/>
                <a:gd name="connsiteY290" fmla="*/ 270605 h 647509"/>
                <a:gd name="connsiteX291" fmla="*/ 130969 w 835437"/>
                <a:gd name="connsiteY291" fmla="*/ 272796 h 647509"/>
                <a:gd name="connsiteX292" fmla="*/ 131731 w 835437"/>
                <a:gd name="connsiteY292" fmla="*/ 266319 h 647509"/>
                <a:gd name="connsiteX293" fmla="*/ 138875 w 835437"/>
                <a:gd name="connsiteY293" fmla="*/ 258985 h 647509"/>
                <a:gd name="connsiteX294" fmla="*/ 133541 w 835437"/>
                <a:gd name="connsiteY294" fmla="*/ 254889 h 647509"/>
                <a:gd name="connsiteX295" fmla="*/ 128778 w 835437"/>
                <a:gd name="connsiteY295" fmla="*/ 255461 h 647509"/>
                <a:gd name="connsiteX296" fmla="*/ 131731 w 835437"/>
                <a:gd name="connsiteY296" fmla="*/ 253460 h 647509"/>
                <a:gd name="connsiteX297" fmla="*/ 130207 w 835437"/>
                <a:gd name="connsiteY297" fmla="*/ 253651 h 647509"/>
                <a:gd name="connsiteX298" fmla="*/ 134874 w 835437"/>
                <a:gd name="connsiteY298" fmla="*/ 253079 h 647509"/>
                <a:gd name="connsiteX299" fmla="*/ 127159 w 835437"/>
                <a:gd name="connsiteY299" fmla="*/ 242792 h 647509"/>
                <a:gd name="connsiteX300" fmla="*/ 121063 w 835437"/>
                <a:gd name="connsiteY300" fmla="*/ 245173 h 647509"/>
                <a:gd name="connsiteX301" fmla="*/ 118872 w 835437"/>
                <a:gd name="connsiteY301" fmla="*/ 240697 h 647509"/>
                <a:gd name="connsiteX302" fmla="*/ 112014 w 835437"/>
                <a:gd name="connsiteY302" fmla="*/ 236792 h 647509"/>
                <a:gd name="connsiteX303" fmla="*/ 111347 w 835437"/>
                <a:gd name="connsiteY303" fmla="*/ 232029 h 647509"/>
                <a:gd name="connsiteX304" fmla="*/ 102680 w 835437"/>
                <a:gd name="connsiteY304" fmla="*/ 226695 h 647509"/>
                <a:gd name="connsiteX305" fmla="*/ 105442 w 835437"/>
                <a:gd name="connsiteY305" fmla="*/ 223171 h 647509"/>
                <a:gd name="connsiteX306" fmla="*/ 109538 w 835437"/>
                <a:gd name="connsiteY306" fmla="*/ 217837 h 647509"/>
                <a:gd name="connsiteX307" fmla="*/ 107347 w 835437"/>
                <a:gd name="connsiteY307" fmla="*/ 213265 h 647509"/>
                <a:gd name="connsiteX308" fmla="*/ 111157 w 835437"/>
                <a:gd name="connsiteY308" fmla="*/ 217646 h 647509"/>
                <a:gd name="connsiteX309" fmla="*/ 114872 w 835437"/>
                <a:gd name="connsiteY309" fmla="*/ 221932 h 647509"/>
                <a:gd name="connsiteX310" fmla="*/ 116491 w 835437"/>
                <a:gd name="connsiteY310" fmla="*/ 221742 h 647509"/>
                <a:gd name="connsiteX311" fmla="*/ 121634 w 835437"/>
                <a:gd name="connsiteY311" fmla="*/ 224314 h 647509"/>
                <a:gd name="connsiteX312" fmla="*/ 119444 w 835437"/>
                <a:gd name="connsiteY312" fmla="*/ 219742 h 647509"/>
                <a:gd name="connsiteX313" fmla="*/ 120206 w 835437"/>
                <a:gd name="connsiteY313" fmla="*/ 213265 h 647509"/>
                <a:gd name="connsiteX314" fmla="*/ 118205 w 835437"/>
                <a:gd name="connsiteY314" fmla="*/ 210312 h 647509"/>
                <a:gd name="connsiteX315" fmla="*/ 113633 w 835437"/>
                <a:gd name="connsiteY315" fmla="*/ 199644 h 647509"/>
                <a:gd name="connsiteX316" fmla="*/ 109157 w 835437"/>
                <a:gd name="connsiteY316" fmla="*/ 201835 h 647509"/>
                <a:gd name="connsiteX317" fmla="*/ 101060 w 835437"/>
                <a:gd name="connsiteY317" fmla="*/ 201263 h 647509"/>
                <a:gd name="connsiteX318" fmla="*/ 97441 w 835437"/>
                <a:gd name="connsiteY318" fmla="*/ 198501 h 647509"/>
                <a:gd name="connsiteX319" fmla="*/ 86392 w 835437"/>
                <a:gd name="connsiteY319" fmla="*/ 199930 h 647509"/>
                <a:gd name="connsiteX320" fmla="*/ 77724 w 835437"/>
                <a:gd name="connsiteY320" fmla="*/ 194596 h 647509"/>
                <a:gd name="connsiteX321" fmla="*/ 78867 w 835437"/>
                <a:gd name="connsiteY321" fmla="*/ 191262 h 647509"/>
                <a:gd name="connsiteX322" fmla="*/ 78677 w 835437"/>
                <a:gd name="connsiteY322" fmla="*/ 176879 h 647509"/>
                <a:gd name="connsiteX323" fmla="*/ 74962 w 835437"/>
                <a:gd name="connsiteY323" fmla="*/ 172498 h 647509"/>
                <a:gd name="connsiteX324" fmla="*/ 78867 w 835437"/>
                <a:gd name="connsiteY324" fmla="*/ 152781 h 647509"/>
                <a:gd name="connsiteX325" fmla="*/ 76105 w 835437"/>
                <a:gd name="connsiteY325" fmla="*/ 156305 h 647509"/>
                <a:gd name="connsiteX326" fmla="*/ 73914 w 835437"/>
                <a:gd name="connsiteY326" fmla="*/ 151829 h 647509"/>
                <a:gd name="connsiteX327" fmla="*/ 68771 w 835437"/>
                <a:gd name="connsiteY327" fmla="*/ 149257 h 647509"/>
                <a:gd name="connsiteX328" fmla="*/ 66580 w 835437"/>
                <a:gd name="connsiteY328" fmla="*/ 144685 h 647509"/>
                <a:gd name="connsiteX329" fmla="*/ 67342 w 835437"/>
                <a:gd name="connsiteY329" fmla="*/ 138208 h 647509"/>
                <a:gd name="connsiteX330" fmla="*/ 52959 w 835437"/>
                <a:gd name="connsiteY330" fmla="*/ 138398 h 647509"/>
                <a:gd name="connsiteX331" fmla="*/ 41529 w 835437"/>
                <a:gd name="connsiteY331" fmla="*/ 136684 h 647509"/>
                <a:gd name="connsiteX332" fmla="*/ 29051 w 835437"/>
                <a:gd name="connsiteY332" fmla="*/ 139827 h 647509"/>
                <a:gd name="connsiteX333" fmla="*/ 26289 w 835437"/>
                <a:gd name="connsiteY333" fmla="*/ 143446 h 647509"/>
                <a:gd name="connsiteX334" fmla="*/ 18193 w 835437"/>
                <a:gd name="connsiteY334" fmla="*/ 142875 h 647509"/>
                <a:gd name="connsiteX335" fmla="*/ 19240 w 835437"/>
                <a:gd name="connsiteY335" fmla="*/ 137922 h 647509"/>
                <a:gd name="connsiteX336" fmla="*/ 16002 w 835437"/>
                <a:gd name="connsiteY336" fmla="*/ 138303 h 647509"/>
                <a:gd name="connsiteX337" fmla="*/ 14097 w 835437"/>
                <a:gd name="connsiteY337" fmla="*/ 135350 h 647509"/>
                <a:gd name="connsiteX338" fmla="*/ 8382 w 835437"/>
                <a:gd name="connsiteY338" fmla="*/ 140875 h 647509"/>
                <a:gd name="connsiteX339" fmla="*/ 12097 w 835437"/>
                <a:gd name="connsiteY339" fmla="*/ 145256 h 647509"/>
                <a:gd name="connsiteX340" fmla="*/ 18669 w 835437"/>
                <a:gd name="connsiteY340" fmla="*/ 146018 h 647509"/>
                <a:gd name="connsiteX341" fmla="*/ 25908 w 835437"/>
                <a:gd name="connsiteY341" fmla="*/ 153067 h 647509"/>
                <a:gd name="connsiteX342" fmla="*/ 26384 w 835437"/>
                <a:gd name="connsiteY342" fmla="*/ 156305 h 647509"/>
                <a:gd name="connsiteX343" fmla="*/ 22193 w 835437"/>
                <a:gd name="connsiteY343" fmla="*/ 161639 h 647509"/>
                <a:gd name="connsiteX344" fmla="*/ 23432 w 835437"/>
                <a:gd name="connsiteY344" fmla="*/ 171069 h 647509"/>
                <a:gd name="connsiteX345" fmla="*/ 32671 w 835437"/>
                <a:gd name="connsiteY345" fmla="*/ 181070 h 647509"/>
                <a:gd name="connsiteX346" fmla="*/ 33147 w 835437"/>
                <a:gd name="connsiteY346" fmla="*/ 184213 h 647509"/>
                <a:gd name="connsiteX347" fmla="*/ 35052 w 835437"/>
                <a:gd name="connsiteY347" fmla="*/ 187166 h 647509"/>
                <a:gd name="connsiteX348" fmla="*/ 33909 w 835437"/>
                <a:gd name="connsiteY348" fmla="*/ 190595 h 647509"/>
                <a:gd name="connsiteX349" fmla="*/ 25051 w 835437"/>
                <a:gd name="connsiteY349" fmla="*/ 196501 h 647509"/>
                <a:gd name="connsiteX350" fmla="*/ 21908 w 835437"/>
                <a:gd name="connsiteY350" fmla="*/ 196882 h 647509"/>
                <a:gd name="connsiteX351" fmla="*/ 20479 w 835437"/>
                <a:gd name="connsiteY351" fmla="*/ 198692 h 647509"/>
                <a:gd name="connsiteX352" fmla="*/ 15621 w 835437"/>
                <a:gd name="connsiteY352" fmla="*/ 197739 h 647509"/>
                <a:gd name="connsiteX353" fmla="*/ 11240 w 835437"/>
                <a:gd name="connsiteY353" fmla="*/ 201454 h 647509"/>
                <a:gd name="connsiteX354" fmla="*/ 5144 w 835437"/>
                <a:gd name="connsiteY354" fmla="*/ 203835 h 647509"/>
                <a:gd name="connsiteX355" fmla="*/ 8858 w 835437"/>
                <a:gd name="connsiteY355" fmla="*/ 208217 h 647509"/>
                <a:gd name="connsiteX356" fmla="*/ 7715 w 835437"/>
                <a:gd name="connsiteY356" fmla="*/ 211550 h 647509"/>
                <a:gd name="connsiteX357" fmla="*/ 6382 w 835437"/>
                <a:gd name="connsiteY357" fmla="*/ 213360 h 647509"/>
                <a:gd name="connsiteX358" fmla="*/ 0 w 835437"/>
                <a:gd name="connsiteY358" fmla="*/ 214122 h 647509"/>
                <a:gd name="connsiteX359" fmla="*/ 476 w 835437"/>
                <a:gd name="connsiteY359" fmla="*/ 217265 h 647509"/>
                <a:gd name="connsiteX360" fmla="*/ 6001 w 835437"/>
                <a:gd name="connsiteY360" fmla="*/ 222980 h 647509"/>
                <a:gd name="connsiteX361" fmla="*/ 10668 w 835437"/>
                <a:gd name="connsiteY361" fmla="*/ 222409 h 647509"/>
                <a:gd name="connsiteX362" fmla="*/ 11906 w 835437"/>
                <a:gd name="connsiteY362" fmla="*/ 231838 h 647509"/>
                <a:gd name="connsiteX363" fmla="*/ 24003 w 835437"/>
                <a:gd name="connsiteY363" fmla="*/ 238315 h 647509"/>
                <a:gd name="connsiteX364" fmla="*/ 34004 w 835437"/>
                <a:gd name="connsiteY364" fmla="*/ 241840 h 647509"/>
                <a:gd name="connsiteX365" fmla="*/ 35243 w 835437"/>
                <a:gd name="connsiteY365" fmla="*/ 238506 h 647509"/>
                <a:gd name="connsiteX366" fmla="*/ 41339 w 835437"/>
                <a:gd name="connsiteY366" fmla="*/ 236125 h 647509"/>
                <a:gd name="connsiteX367" fmla="*/ 41529 w 835437"/>
                <a:gd name="connsiteY367" fmla="*/ 237744 h 647509"/>
                <a:gd name="connsiteX368" fmla="*/ 35624 w 835437"/>
                <a:gd name="connsiteY368" fmla="*/ 241649 h 647509"/>
                <a:gd name="connsiteX369" fmla="*/ 42291 w 835437"/>
                <a:gd name="connsiteY369" fmla="*/ 244031 h 647509"/>
                <a:gd name="connsiteX370" fmla="*/ 45911 w 835437"/>
                <a:gd name="connsiteY370" fmla="*/ 246793 h 647509"/>
                <a:gd name="connsiteX371" fmla="*/ 45911 w 835437"/>
                <a:gd name="connsiteY371" fmla="*/ 246793 h 647509"/>
                <a:gd name="connsiteX372" fmla="*/ 44672 w 835437"/>
                <a:gd name="connsiteY372" fmla="*/ 250127 h 647509"/>
                <a:gd name="connsiteX373" fmla="*/ 47911 w 835437"/>
                <a:gd name="connsiteY373" fmla="*/ 249746 h 647509"/>
                <a:gd name="connsiteX374" fmla="*/ 46863 w 835437"/>
                <a:gd name="connsiteY374" fmla="*/ 254698 h 647509"/>
                <a:gd name="connsiteX375" fmla="*/ 48673 w 835437"/>
                <a:gd name="connsiteY375" fmla="*/ 256032 h 647509"/>
                <a:gd name="connsiteX376" fmla="*/ 44577 w 835437"/>
                <a:gd name="connsiteY376" fmla="*/ 261366 h 647509"/>
                <a:gd name="connsiteX377" fmla="*/ 46482 w 835437"/>
                <a:gd name="connsiteY377" fmla="*/ 264319 h 647509"/>
                <a:gd name="connsiteX378" fmla="*/ 49435 w 835437"/>
                <a:gd name="connsiteY378" fmla="*/ 262319 h 647509"/>
                <a:gd name="connsiteX379" fmla="*/ 57531 w 835437"/>
                <a:gd name="connsiteY379" fmla="*/ 262890 h 647509"/>
                <a:gd name="connsiteX380" fmla="*/ 58769 w 835437"/>
                <a:gd name="connsiteY380" fmla="*/ 272415 h 647509"/>
                <a:gd name="connsiteX381" fmla="*/ 61913 w 835437"/>
                <a:gd name="connsiteY381" fmla="*/ 272034 h 647509"/>
                <a:gd name="connsiteX382" fmla="*/ 62103 w 835437"/>
                <a:gd name="connsiteY382" fmla="*/ 273558 h 647509"/>
                <a:gd name="connsiteX383" fmla="*/ 63913 w 835437"/>
                <a:gd name="connsiteY383" fmla="*/ 274987 h 647509"/>
                <a:gd name="connsiteX384" fmla="*/ 60960 w 835437"/>
                <a:gd name="connsiteY384" fmla="*/ 276892 h 647509"/>
                <a:gd name="connsiteX385" fmla="*/ 61151 w 835437"/>
                <a:gd name="connsiteY385" fmla="*/ 278511 h 647509"/>
                <a:gd name="connsiteX386" fmla="*/ 65913 w 835437"/>
                <a:gd name="connsiteY386" fmla="*/ 277940 h 647509"/>
                <a:gd name="connsiteX387" fmla="*/ 67913 w 835437"/>
                <a:gd name="connsiteY387" fmla="*/ 280892 h 647509"/>
                <a:gd name="connsiteX388" fmla="*/ 71057 w 835437"/>
                <a:gd name="connsiteY388" fmla="*/ 280511 h 647509"/>
                <a:gd name="connsiteX389" fmla="*/ 66294 w 835437"/>
                <a:gd name="connsiteY389" fmla="*/ 281083 h 647509"/>
                <a:gd name="connsiteX390" fmla="*/ 65151 w 835437"/>
                <a:gd name="connsiteY390" fmla="*/ 284417 h 647509"/>
                <a:gd name="connsiteX391" fmla="*/ 74200 w 835437"/>
                <a:gd name="connsiteY391" fmla="*/ 292894 h 647509"/>
                <a:gd name="connsiteX392" fmla="*/ 75438 w 835437"/>
                <a:gd name="connsiteY392" fmla="*/ 302323 h 647509"/>
                <a:gd name="connsiteX393" fmla="*/ 77819 w 835437"/>
                <a:gd name="connsiteY393" fmla="*/ 308419 h 647509"/>
                <a:gd name="connsiteX394" fmla="*/ 78200 w 835437"/>
                <a:gd name="connsiteY394" fmla="*/ 311658 h 647509"/>
                <a:gd name="connsiteX395" fmla="*/ 76867 w 835437"/>
                <a:gd name="connsiteY395" fmla="*/ 313373 h 647509"/>
                <a:gd name="connsiteX396" fmla="*/ 83534 w 835437"/>
                <a:gd name="connsiteY396" fmla="*/ 315754 h 647509"/>
                <a:gd name="connsiteX397" fmla="*/ 79820 w 835437"/>
                <a:gd name="connsiteY397" fmla="*/ 324231 h 647509"/>
                <a:gd name="connsiteX398" fmla="*/ 71342 w 835437"/>
                <a:gd name="connsiteY398" fmla="*/ 333375 h 647509"/>
                <a:gd name="connsiteX399" fmla="*/ 73152 w 835437"/>
                <a:gd name="connsiteY399" fmla="*/ 334709 h 647509"/>
                <a:gd name="connsiteX400" fmla="*/ 73724 w 835437"/>
                <a:gd name="connsiteY400" fmla="*/ 339471 h 647509"/>
                <a:gd name="connsiteX401" fmla="*/ 67628 w 835437"/>
                <a:gd name="connsiteY401" fmla="*/ 341852 h 647509"/>
                <a:gd name="connsiteX402" fmla="*/ 66675 w 835437"/>
                <a:gd name="connsiteY402" fmla="*/ 346805 h 647509"/>
                <a:gd name="connsiteX403" fmla="*/ 68866 w 835437"/>
                <a:gd name="connsiteY403" fmla="*/ 351282 h 647509"/>
                <a:gd name="connsiteX404" fmla="*/ 69247 w 835437"/>
                <a:gd name="connsiteY404" fmla="*/ 367284 h 647509"/>
                <a:gd name="connsiteX405" fmla="*/ 71819 w 835437"/>
                <a:gd name="connsiteY405" fmla="*/ 374999 h 647509"/>
                <a:gd name="connsiteX406" fmla="*/ 70866 w 835437"/>
                <a:gd name="connsiteY406" fmla="*/ 379952 h 647509"/>
                <a:gd name="connsiteX407" fmla="*/ 74866 w 835437"/>
                <a:gd name="connsiteY407" fmla="*/ 385858 h 647509"/>
                <a:gd name="connsiteX408" fmla="*/ 77248 w 835437"/>
                <a:gd name="connsiteY408" fmla="*/ 391954 h 647509"/>
                <a:gd name="connsiteX409" fmla="*/ 85154 w 835437"/>
                <a:gd name="connsiteY409" fmla="*/ 390906 h 647509"/>
                <a:gd name="connsiteX410" fmla="*/ 90011 w 835437"/>
                <a:gd name="connsiteY410" fmla="*/ 391954 h 647509"/>
                <a:gd name="connsiteX411" fmla="*/ 87535 w 835437"/>
                <a:gd name="connsiteY411" fmla="*/ 397002 h 647509"/>
                <a:gd name="connsiteX412" fmla="*/ 91250 w 835437"/>
                <a:gd name="connsiteY412" fmla="*/ 401384 h 647509"/>
                <a:gd name="connsiteX413" fmla="*/ 97346 w 835437"/>
                <a:gd name="connsiteY413" fmla="*/ 399002 h 647509"/>
                <a:gd name="connsiteX414" fmla="*/ 100489 w 835437"/>
                <a:gd name="connsiteY414" fmla="*/ 398621 h 647509"/>
                <a:gd name="connsiteX415" fmla="*/ 100965 w 835437"/>
                <a:gd name="connsiteY415" fmla="*/ 401765 h 647509"/>
                <a:gd name="connsiteX416" fmla="*/ 101346 w 835437"/>
                <a:gd name="connsiteY416" fmla="*/ 404908 h 647509"/>
                <a:gd name="connsiteX417" fmla="*/ 106299 w 835437"/>
                <a:gd name="connsiteY417" fmla="*/ 405860 h 647509"/>
                <a:gd name="connsiteX418" fmla="*/ 106871 w 835437"/>
                <a:gd name="connsiteY418" fmla="*/ 410623 h 647509"/>
                <a:gd name="connsiteX419" fmla="*/ 110395 w 835437"/>
                <a:gd name="connsiteY419" fmla="*/ 413385 h 647509"/>
                <a:gd name="connsiteX420" fmla="*/ 114395 w 835437"/>
                <a:gd name="connsiteY420" fmla="*/ 419290 h 647509"/>
                <a:gd name="connsiteX421" fmla="*/ 121253 w 835437"/>
                <a:gd name="connsiteY421" fmla="*/ 423196 h 647509"/>
                <a:gd name="connsiteX422" fmla="*/ 110300 w 835437"/>
                <a:gd name="connsiteY422" fmla="*/ 437388 h 647509"/>
                <a:gd name="connsiteX423" fmla="*/ 111062 w 835437"/>
                <a:gd name="connsiteY423" fmla="*/ 443770 h 647509"/>
                <a:gd name="connsiteX424" fmla="*/ 116967 w 835437"/>
                <a:gd name="connsiteY424" fmla="*/ 439769 h 647509"/>
                <a:gd name="connsiteX425" fmla="*/ 122777 w 835437"/>
                <a:gd name="connsiteY425" fmla="*/ 447104 h 647509"/>
                <a:gd name="connsiteX426" fmla="*/ 136779 w 835437"/>
                <a:gd name="connsiteY426" fmla="*/ 443675 h 647509"/>
                <a:gd name="connsiteX427" fmla="*/ 146780 w 835437"/>
                <a:gd name="connsiteY427" fmla="*/ 447199 h 647509"/>
                <a:gd name="connsiteX428" fmla="*/ 148971 w 835437"/>
                <a:gd name="connsiteY428" fmla="*/ 451771 h 647509"/>
                <a:gd name="connsiteX429" fmla="*/ 150590 w 835437"/>
                <a:gd name="connsiteY429" fmla="*/ 451580 h 647509"/>
                <a:gd name="connsiteX430" fmla="*/ 150971 w 835437"/>
                <a:gd name="connsiteY430" fmla="*/ 454723 h 647509"/>
                <a:gd name="connsiteX431" fmla="*/ 149828 w 835437"/>
                <a:gd name="connsiteY431" fmla="*/ 458057 h 647509"/>
                <a:gd name="connsiteX432" fmla="*/ 154115 w 835437"/>
                <a:gd name="connsiteY432" fmla="*/ 467106 h 647509"/>
                <a:gd name="connsiteX433" fmla="*/ 154972 w 835437"/>
                <a:gd name="connsiteY433" fmla="*/ 473392 h 647509"/>
                <a:gd name="connsiteX434" fmla="*/ 158306 w 835437"/>
                <a:gd name="connsiteY434" fmla="*/ 474631 h 647509"/>
                <a:gd name="connsiteX435" fmla="*/ 163830 w 835437"/>
                <a:gd name="connsiteY435" fmla="*/ 467487 h 647509"/>
                <a:gd name="connsiteX436" fmla="*/ 168783 w 835437"/>
                <a:gd name="connsiteY436" fmla="*/ 468440 h 647509"/>
                <a:gd name="connsiteX437" fmla="*/ 170783 w 835437"/>
                <a:gd name="connsiteY437" fmla="*/ 471392 h 647509"/>
                <a:gd name="connsiteX438" fmla="*/ 171355 w 835437"/>
                <a:gd name="connsiteY438" fmla="*/ 476155 h 647509"/>
                <a:gd name="connsiteX439" fmla="*/ 182404 w 835437"/>
                <a:gd name="connsiteY439" fmla="*/ 487585 h 647509"/>
                <a:gd name="connsiteX440" fmla="*/ 184785 w 835437"/>
                <a:gd name="connsiteY440" fmla="*/ 493681 h 647509"/>
                <a:gd name="connsiteX441" fmla="*/ 190881 w 835437"/>
                <a:gd name="connsiteY441" fmla="*/ 491300 h 647509"/>
                <a:gd name="connsiteX442" fmla="*/ 191548 w 835437"/>
                <a:gd name="connsiteY442" fmla="*/ 496062 h 647509"/>
                <a:gd name="connsiteX443" fmla="*/ 196691 w 835437"/>
                <a:gd name="connsiteY443" fmla="*/ 498634 h 647509"/>
                <a:gd name="connsiteX444" fmla="*/ 207740 w 835437"/>
                <a:gd name="connsiteY444" fmla="*/ 497205 h 647509"/>
                <a:gd name="connsiteX445" fmla="*/ 207931 w 835437"/>
                <a:gd name="connsiteY445" fmla="*/ 498729 h 647509"/>
                <a:gd name="connsiteX446" fmla="*/ 203740 w 835437"/>
                <a:gd name="connsiteY446" fmla="*/ 504063 h 647509"/>
                <a:gd name="connsiteX447" fmla="*/ 208693 w 835437"/>
                <a:gd name="connsiteY447" fmla="*/ 505111 h 647509"/>
                <a:gd name="connsiteX448" fmla="*/ 207550 w 835437"/>
                <a:gd name="connsiteY448" fmla="*/ 508444 h 647509"/>
                <a:gd name="connsiteX449" fmla="*/ 218789 w 835437"/>
                <a:gd name="connsiteY449" fmla="*/ 508635 h 647509"/>
                <a:gd name="connsiteX450" fmla="*/ 222504 w 835437"/>
                <a:gd name="connsiteY450" fmla="*/ 512921 h 647509"/>
                <a:gd name="connsiteX451" fmla="*/ 227267 w 835437"/>
                <a:gd name="connsiteY451" fmla="*/ 512350 h 647509"/>
                <a:gd name="connsiteX452" fmla="*/ 231077 w 835437"/>
                <a:gd name="connsiteY452" fmla="*/ 516636 h 647509"/>
                <a:gd name="connsiteX453" fmla="*/ 230029 w 835437"/>
                <a:gd name="connsiteY453" fmla="*/ 521589 h 647509"/>
                <a:gd name="connsiteX454" fmla="*/ 224123 w 835437"/>
                <a:gd name="connsiteY454" fmla="*/ 525590 h 647509"/>
                <a:gd name="connsiteX455" fmla="*/ 227743 w 835437"/>
                <a:gd name="connsiteY455" fmla="*/ 528352 h 647509"/>
                <a:gd name="connsiteX456" fmla="*/ 226695 w 835437"/>
                <a:gd name="connsiteY456" fmla="*/ 533209 h 647509"/>
                <a:gd name="connsiteX457" fmla="*/ 234410 w 835437"/>
                <a:gd name="connsiteY457" fmla="*/ 530638 h 647509"/>
                <a:gd name="connsiteX458" fmla="*/ 237173 w 835437"/>
                <a:gd name="connsiteY458" fmla="*/ 527113 h 647509"/>
                <a:gd name="connsiteX459" fmla="*/ 243269 w 835437"/>
                <a:gd name="connsiteY459" fmla="*/ 524732 h 647509"/>
                <a:gd name="connsiteX460" fmla="*/ 244697 w 835437"/>
                <a:gd name="connsiteY460" fmla="*/ 522923 h 647509"/>
                <a:gd name="connsiteX461" fmla="*/ 247841 w 835437"/>
                <a:gd name="connsiteY461" fmla="*/ 522542 h 647509"/>
                <a:gd name="connsiteX462" fmla="*/ 254699 w 835437"/>
                <a:gd name="connsiteY462" fmla="*/ 526447 h 647509"/>
                <a:gd name="connsiteX463" fmla="*/ 253556 w 835437"/>
                <a:gd name="connsiteY463" fmla="*/ 529876 h 647509"/>
                <a:gd name="connsiteX464" fmla="*/ 259271 w 835437"/>
                <a:gd name="connsiteY464" fmla="*/ 537115 h 647509"/>
                <a:gd name="connsiteX465" fmla="*/ 267557 w 835437"/>
                <a:gd name="connsiteY465" fmla="*/ 539306 h 647509"/>
                <a:gd name="connsiteX466" fmla="*/ 273558 w 835437"/>
                <a:gd name="connsiteY466" fmla="*/ 548164 h 647509"/>
                <a:gd name="connsiteX467" fmla="*/ 270796 w 835437"/>
                <a:gd name="connsiteY467" fmla="*/ 551688 h 647509"/>
                <a:gd name="connsiteX468" fmla="*/ 267462 w 835437"/>
                <a:gd name="connsiteY468" fmla="*/ 563309 h 647509"/>
                <a:gd name="connsiteX469" fmla="*/ 261176 w 835437"/>
                <a:gd name="connsiteY469" fmla="*/ 564166 h 647509"/>
                <a:gd name="connsiteX470" fmla="*/ 259747 w 835437"/>
                <a:gd name="connsiteY470" fmla="*/ 565976 h 647509"/>
                <a:gd name="connsiteX471" fmla="*/ 252889 w 835437"/>
                <a:gd name="connsiteY471" fmla="*/ 574834 h 647509"/>
                <a:gd name="connsiteX472" fmla="*/ 253460 w 835437"/>
                <a:gd name="connsiteY472" fmla="*/ 579596 h 647509"/>
                <a:gd name="connsiteX473" fmla="*/ 258032 w 835437"/>
                <a:gd name="connsiteY473" fmla="*/ 590169 h 647509"/>
                <a:gd name="connsiteX474" fmla="*/ 269272 w 835437"/>
                <a:gd name="connsiteY474" fmla="*/ 590360 h 647509"/>
                <a:gd name="connsiteX475" fmla="*/ 268129 w 835437"/>
                <a:gd name="connsiteY475" fmla="*/ 593693 h 647509"/>
                <a:gd name="connsiteX476" fmla="*/ 271272 w 835437"/>
                <a:gd name="connsiteY476" fmla="*/ 593312 h 647509"/>
                <a:gd name="connsiteX477" fmla="*/ 274987 w 835437"/>
                <a:gd name="connsiteY477" fmla="*/ 597694 h 647509"/>
                <a:gd name="connsiteX478" fmla="*/ 281940 w 835437"/>
                <a:gd name="connsiteY478" fmla="*/ 601599 h 647509"/>
                <a:gd name="connsiteX479" fmla="*/ 289846 w 835437"/>
                <a:gd name="connsiteY479" fmla="*/ 600551 h 647509"/>
                <a:gd name="connsiteX480" fmla="*/ 296704 w 835437"/>
                <a:gd name="connsiteY480" fmla="*/ 604552 h 647509"/>
                <a:gd name="connsiteX481" fmla="*/ 303467 w 835437"/>
                <a:gd name="connsiteY481" fmla="*/ 606838 h 647509"/>
                <a:gd name="connsiteX482" fmla="*/ 305467 w 835437"/>
                <a:gd name="connsiteY482" fmla="*/ 609790 h 647509"/>
                <a:gd name="connsiteX483" fmla="*/ 307658 w 835437"/>
                <a:gd name="connsiteY483" fmla="*/ 627221 h 647509"/>
                <a:gd name="connsiteX484" fmla="*/ 317754 w 835437"/>
                <a:gd name="connsiteY484" fmla="*/ 630745 h 647509"/>
                <a:gd name="connsiteX485" fmla="*/ 328803 w 835437"/>
                <a:gd name="connsiteY485" fmla="*/ 629317 h 647509"/>
                <a:gd name="connsiteX486" fmla="*/ 335852 w 835437"/>
                <a:gd name="connsiteY486" fmla="*/ 634841 h 647509"/>
                <a:gd name="connsiteX487" fmla="*/ 338519 w 835437"/>
                <a:gd name="connsiteY487" fmla="*/ 642461 h 647509"/>
                <a:gd name="connsiteX488" fmla="*/ 342424 w 835437"/>
                <a:gd name="connsiteY488" fmla="*/ 635603 h 647509"/>
                <a:gd name="connsiteX489" fmla="*/ 349091 w 835437"/>
                <a:gd name="connsiteY489" fmla="*/ 637889 h 647509"/>
                <a:gd name="connsiteX490" fmla="*/ 349282 w 835437"/>
                <a:gd name="connsiteY490" fmla="*/ 626650 h 647509"/>
                <a:gd name="connsiteX491" fmla="*/ 352235 w 835437"/>
                <a:gd name="connsiteY491" fmla="*/ 624745 h 647509"/>
                <a:gd name="connsiteX492" fmla="*/ 356997 w 835437"/>
                <a:gd name="connsiteY492" fmla="*/ 624078 h 647509"/>
                <a:gd name="connsiteX493" fmla="*/ 356616 w 835437"/>
                <a:gd name="connsiteY493" fmla="*/ 620935 h 647509"/>
                <a:gd name="connsiteX494" fmla="*/ 359950 w 835437"/>
                <a:gd name="connsiteY494" fmla="*/ 622173 h 647509"/>
                <a:gd name="connsiteX495" fmla="*/ 359569 w 835437"/>
                <a:gd name="connsiteY495" fmla="*/ 618935 h 647509"/>
                <a:gd name="connsiteX496" fmla="*/ 373761 w 835437"/>
                <a:gd name="connsiteY496" fmla="*/ 617125 h 647509"/>
                <a:gd name="connsiteX497" fmla="*/ 383762 w 835437"/>
                <a:gd name="connsiteY497" fmla="*/ 620649 h 647509"/>
                <a:gd name="connsiteX498" fmla="*/ 389382 w 835437"/>
                <a:gd name="connsiteY498" fmla="*/ 626364 h 647509"/>
                <a:gd name="connsiteX499" fmla="*/ 391192 w 835437"/>
                <a:gd name="connsiteY499" fmla="*/ 640652 h 647509"/>
                <a:gd name="connsiteX500" fmla="*/ 393097 w 835437"/>
                <a:gd name="connsiteY500" fmla="*/ 643604 h 647509"/>
                <a:gd name="connsiteX501" fmla="*/ 391763 w 835437"/>
                <a:gd name="connsiteY501" fmla="*/ 645319 h 647509"/>
                <a:gd name="connsiteX502" fmla="*/ 400050 w 835437"/>
                <a:gd name="connsiteY502" fmla="*/ 647510 h 647509"/>
                <a:gd name="connsiteX503" fmla="*/ 399479 w 835437"/>
                <a:gd name="connsiteY503" fmla="*/ 642747 h 647509"/>
                <a:gd name="connsiteX504" fmla="*/ 398050 w 835437"/>
                <a:gd name="connsiteY504" fmla="*/ 631698 h 647509"/>
                <a:gd name="connsiteX505" fmla="*/ 394526 w 835437"/>
                <a:gd name="connsiteY505" fmla="*/ 628936 h 647509"/>
                <a:gd name="connsiteX506" fmla="*/ 394240 w 835437"/>
                <a:gd name="connsiteY506" fmla="*/ 627412 h 647509"/>
                <a:gd name="connsiteX507" fmla="*/ 406718 w 835437"/>
                <a:gd name="connsiteY507" fmla="*/ 624173 h 647509"/>
                <a:gd name="connsiteX508" fmla="*/ 421100 w 835437"/>
                <a:gd name="connsiteY508" fmla="*/ 623983 h 647509"/>
                <a:gd name="connsiteX509" fmla="*/ 419862 w 835437"/>
                <a:gd name="connsiteY509" fmla="*/ 614458 h 647509"/>
                <a:gd name="connsiteX510" fmla="*/ 414338 w 835437"/>
                <a:gd name="connsiteY510" fmla="*/ 608743 h 647509"/>
                <a:gd name="connsiteX511" fmla="*/ 415766 w 835437"/>
                <a:gd name="connsiteY511" fmla="*/ 607028 h 647509"/>
                <a:gd name="connsiteX512" fmla="*/ 422434 w 835437"/>
                <a:gd name="connsiteY512" fmla="*/ 609314 h 647509"/>
                <a:gd name="connsiteX513" fmla="*/ 429387 w 835437"/>
                <a:gd name="connsiteY513" fmla="*/ 613315 h 647509"/>
                <a:gd name="connsiteX514" fmla="*/ 434150 w 835437"/>
                <a:gd name="connsiteY514" fmla="*/ 612648 h 647509"/>
                <a:gd name="connsiteX515" fmla="*/ 442532 w 835437"/>
                <a:gd name="connsiteY515" fmla="*/ 603599 h 647509"/>
                <a:gd name="connsiteX516" fmla="*/ 443770 w 835437"/>
                <a:gd name="connsiteY516" fmla="*/ 600265 h 647509"/>
                <a:gd name="connsiteX517" fmla="*/ 449104 w 835437"/>
                <a:gd name="connsiteY517" fmla="*/ 604361 h 647509"/>
                <a:gd name="connsiteX518" fmla="*/ 455200 w 835437"/>
                <a:gd name="connsiteY518" fmla="*/ 601980 h 647509"/>
                <a:gd name="connsiteX519" fmla="*/ 456533 w 835437"/>
                <a:gd name="connsiteY519" fmla="*/ 600170 h 647509"/>
                <a:gd name="connsiteX520" fmla="*/ 457962 w 835437"/>
                <a:gd name="connsiteY520" fmla="*/ 598456 h 647509"/>
                <a:gd name="connsiteX521" fmla="*/ 459962 w 835437"/>
                <a:gd name="connsiteY521" fmla="*/ 601408 h 647509"/>
                <a:gd name="connsiteX522" fmla="*/ 463677 w 835437"/>
                <a:gd name="connsiteY522" fmla="*/ 605695 h 647509"/>
                <a:gd name="connsiteX523" fmla="*/ 469392 w 835437"/>
                <a:gd name="connsiteY523" fmla="*/ 600170 h 647509"/>
                <a:gd name="connsiteX524" fmla="*/ 473964 w 835437"/>
                <a:gd name="connsiteY524" fmla="*/ 597980 h 647509"/>
                <a:gd name="connsiteX525" fmla="*/ 474917 w 835437"/>
                <a:gd name="connsiteY525" fmla="*/ 593027 h 647509"/>
                <a:gd name="connsiteX526" fmla="*/ 479870 w 835437"/>
                <a:gd name="connsiteY526" fmla="*/ 593979 h 647509"/>
                <a:gd name="connsiteX527" fmla="*/ 483394 w 835437"/>
                <a:gd name="connsiteY527" fmla="*/ 596741 h 647509"/>
                <a:gd name="connsiteX528" fmla="*/ 489680 w 835437"/>
                <a:gd name="connsiteY528" fmla="*/ 595979 h 647509"/>
                <a:gd name="connsiteX529" fmla="*/ 493109 w 835437"/>
                <a:gd name="connsiteY529" fmla="*/ 597122 h 647509"/>
                <a:gd name="connsiteX530" fmla="*/ 492062 w 835437"/>
                <a:gd name="connsiteY530" fmla="*/ 602075 h 647509"/>
                <a:gd name="connsiteX531" fmla="*/ 495014 w 835437"/>
                <a:gd name="connsiteY531" fmla="*/ 600075 h 647509"/>
                <a:gd name="connsiteX532" fmla="*/ 493871 w 835437"/>
                <a:gd name="connsiteY532" fmla="*/ 603504 h 647509"/>
                <a:gd name="connsiteX533" fmla="*/ 495872 w 835437"/>
                <a:gd name="connsiteY533" fmla="*/ 606457 h 647509"/>
                <a:gd name="connsiteX534" fmla="*/ 499015 w 835437"/>
                <a:gd name="connsiteY534" fmla="*/ 605981 h 647509"/>
                <a:gd name="connsiteX535" fmla="*/ 498634 w 835437"/>
                <a:gd name="connsiteY535" fmla="*/ 602837 h 647509"/>
                <a:gd name="connsiteX536" fmla="*/ 503777 w 835437"/>
                <a:gd name="connsiteY536" fmla="*/ 605409 h 647509"/>
                <a:gd name="connsiteX537" fmla="*/ 509683 w 835437"/>
                <a:gd name="connsiteY537" fmla="*/ 601408 h 647509"/>
                <a:gd name="connsiteX538" fmla="*/ 516731 w 835437"/>
                <a:gd name="connsiteY538" fmla="*/ 606933 h 647509"/>
                <a:gd name="connsiteX539" fmla="*/ 517779 w 835437"/>
                <a:gd name="connsiteY539" fmla="*/ 614839 h 647509"/>
                <a:gd name="connsiteX540" fmla="*/ 520732 w 835437"/>
                <a:gd name="connsiteY540" fmla="*/ 612839 h 647509"/>
                <a:gd name="connsiteX541" fmla="*/ 527018 w 835437"/>
                <a:gd name="connsiteY541" fmla="*/ 612077 h 647509"/>
                <a:gd name="connsiteX542" fmla="*/ 536924 w 835437"/>
                <a:gd name="connsiteY542" fmla="*/ 613982 h 647509"/>
                <a:gd name="connsiteX543" fmla="*/ 543592 w 835437"/>
                <a:gd name="connsiteY543" fmla="*/ 603504 h 647509"/>
                <a:gd name="connsiteX544" fmla="*/ 550069 w 835437"/>
                <a:gd name="connsiteY544" fmla="*/ 604266 h 647509"/>
                <a:gd name="connsiteX545" fmla="*/ 555212 w 835437"/>
                <a:gd name="connsiteY545" fmla="*/ 606838 h 647509"/>
                <a:gd name="connsiteX546" fmla="*/ 555689 w 835437"/>
                <a:gd name="connsiteY546" fmla="*/ 609981 h 647509"/>
                <a:gd name="connsiteX547" fmla="*/ 559403 w 835437"/>
                <a:gd name="connsiteY547" fmla="*/ 614362 h 647509"/>
                <a:gd name="connsiteX548" fmla="*/ 568071 w 835437"/>
                <a:gd name="connsiteY548" fmla="*/ 619697 h 647509"/>
                <a:gd name="connsiteX549" fmla="*/ 571500 w 835437"/>
                <a:gd name="connsiteY549" fmla="*/ 620840 h 647509"/>
                <a:gd name="connsiteX550" fmla="*/ 571310 w 835437"/>
                <a:gd name="connsiteY550" fmla="*/ 619220 h 647509"/>
                <a:gd name="connsiteX551" fmla="*/ 570452 w 835437"/>
                <a:gd name="connsiteY551" fmla="*/ 612934 h 647509"/>
                <a:gd name="connsiteX552" fmla="*/ 577215 w 835437"/>
                <a:gd name="connsiteY552" fmla="*/ 615315 h 647509"/>
                <a:gd name="connsiteX553" fmla="*/ 576929 w 835437"/>
                <a:gd name="connsiteY553" fmla="*/ 613696 h 647509"/>
                <a:gd name="connsiteX554" fmla="*/ 576739 w 835437"/>
                <a:gd name="connsiteY554" fmla="*/ 612172 h 647509"/>
                <a:gd name="connsiteX555" fmla="*/ 579882 w 835437"/>
                <a:gd name="connsiteY555" fmla="*/ 611791 h 647509"/>
                <a:gd name="connsiteX556" fmla="*/ 584073 w 835437"/>
                <a:gd name="connsiteY556" fmla="*/ 606361 h 647509"/>
                <a:gd name="connsiteX557" fmla="*/ 587026 w 835437"/>
                <a:gd name="connsiteY557" fmla="*/ 604457 h 647509"/>
                <a:gd name="connsiteX558" fmla="*/ 589788 w 835437"/>
                <a:gd name="connsiteY558" fmla="*/ 600837 h 647509"/>
                <a:gd name="connsiteX559" fmla="*/ 593122 w 835437"/>
                <a:gd name="connsiteY559" fmla="*/ 602075 h 647509"/>
                <a:gd name="connsiteX560" fmla="*/ 594455 w 835437"/>
                <a:gd name="connsiteY560" fmla="*/ 600265 h 647509"/>
                <a:gd name="connsiteX561" fmla="*/ 598646 w 835437"/>
                <a:gd name="connsiteY561" fmla="*/ 594932 h 647509"/>
                <a:gd name="connsiteX562" fmla="*/ 598075 w 835437"/>
                <a:gd name="connsiteY562" fmla="*/ 590169 h 647509"/>
                <a:gd name="connsiteX563" fmla="*/ 592931 w 835437"/>
                <a:gd name="connsiteY563" fmla="*/ 587597 h 647509"/>
                <a:gd name="connsiteX564" fmla="*/ 597408 w 835437"/>
                <a:gd name="connsiteY564" fmla="*/ 585407 h 647509"/>
                <a:gd name="connsiteX565" fmla="*/ 594074 w 835437"/>
                <a:gd name="connsiteY565" fmla="*/ 584264 h 647509"/>
                <a:gd name="connsiteX566" fmla="*/ 597027 w 835437"/>
                <a:gd name="connsiteY566" fmla="*/ 582263 h 647509"/>
                <a:gd name="connsiteX567" fmla="*/ 600361 w 835437"/>
                <a:gd name="connsiteY567" fmla="*/ 583502 h 647509"/>
                <a:gd name="connsiteX568" fmla="*/ 599980 w 835437"/>
                <a:gd name="connsiteY568" fmla="*/ 580358 h 647509"/>
                <a:gd name="connsiteX569" fmla="*/ 599980 w 835437"/>
                <a:gd name="connsiteY569" fmla="*/ 580358 h 647509"/>
                <a:gd name="connsiteX570" fmla="*/ 592074 w 835437"/>
                <a:gd name="connsiteY570" fmla="*/ 568452 h 647509"/>
                <a:gd name="connsiteX571" fmla="*/ 592646 w 835437"/>
                <a:gd name="connsiteY571" fmla="*/ 560451 h 647509"/>
                <a:gd name="connsiteX572" fmla="*/ 596932 w 835437"/>
                <a:gd name="connsiteY572" fmla="*/ 556641 h 647509"/>
                <a:gd name="connsiteX573" fmla="*/ 604838 w 835437"/>
                <a:gd name="connsiteY573" fmla="*/ 555688 h 647509"/>
                <a:gd name="connsiteX574" fmla="*/ 614934 w 835437"/>
                <a:gd name="connsiteY574" fmla="*/ 559213 h 647509"/>
                <a:gd name="connsiteX575" fmla="*/ 617315 w 835437"/>
                <a:gd name="connsiteY575" fmla="*/ 552450 h 647509"/>
                <a:gd name="connsiteX576" fmla="*/ 622459 w 835437"/>
                <a:gd name="connsiteY576" fmla="*/ 555022 h 647509"/>
                <a:gd name="connsiteX577" fmla="*/ 621030 w 835437"/>
                <a:gd name="connsiteY577" fmla="*/ 556832 h 647509"/>
                <a:gd name="connsiteX578" fmla="*/ 624173 w 835437"/>
                <a:gd name="connsiteY578" fmla="*/ 556355 h 647509"/>
                <a:gd name="connsiteX579" fmla="*/ 622554 w 835437"/>
                <a:gd name="connsiteY579" fmla="*/ 543782 h 647509"/>
                <a:gd name="connsiteX580" fmla="*/ 632079 w 835437"/>
                <a:gd name="connsiteY580" fmla="*/ 542544 h 647509"/>
                <a:gd name="connsiteX581" fmla="*/ 635794 w 835437"/>
                <a:gd name="connsiteY581" fmla="*/ 546926 h 647509"/>
                <a:gd name="connsiteX582" fmla="*/ 638556 w 835437"/>
                <a:gd name="connsiteY582" fmla="*/ 543306 h 647509"/>
                <a:gd name="connsiteX583" fmla="*/ 638175 w 835437"/>
                <a:gd name="connsiteY583" fmla="*/ 540163 h 647509"/>
                <a:gd name="connsiteX584" fmla="*/ 642652 w 835437"/>
                <a:gd name="connsiteY584" fmla="*/ 537972 h 647509"/>
                <a:gd name="connsiteX585" fmla="*/ 642461 w 835437"/>
                <a:gd name="connsiteY585" fmla="*/ 536448 h 647509"/>
                <a:gd name="connsiteX586" fmla="*/ 647414 w 835437"/>
                <a:gd name="connsiteY586" fmla="*/ 537401 h 647509"/>
                <a:gd name="connsiteX587" fmla="*/ 650176 w 835437"/>
                <a:gd name="connsiteY587" fmla="*/ 533781 h 647509"/>
                <a:gd name="connsiteX588" fmla="*/ 649605 w 835437"/>
                <a:gd name="connsiteY588" fmla="*/ 529114 h 647509"/>
                <a:gd name="connsiteX589" fmla="*/ 656082 w 835437"/>
                <a:gd name="connsiteY589" fmla="*/ 529876 h 647509"/>
                <a:gd name="connsiteX590" fmla="*/ 659035 w 835437"/>
                <a:gd name="connsiteY590" fmla="*/ 527876 h 647509"/>
                <a:gd name="connsiteX591" fmla="*/ 659987 w 835437"/>
                <a:gd name="connsiteY591" fmla="*/ 522923 h 647509"/>
                <a:gd name="connsiteX592" fmla="*/ 662940 w 835437"/>
                <a:gd name="connsiteY592" fmla="*/ 521017 h 647509"/>
                <a:gd name="connsiteX593" fmla="*/ 671227 w 835437"/>
                <a:gd name="connsiteY593" fmla="*/ 523113 h 647509"/>
                <a:gd name="connsiteX594" fmla="*/ 675418 w 835437"/>
                <a:gd name="connsiteY594" fmla="*/ 517779 h 647509"/>
                <a:gd name="connsiteX595" fmla="*/ 675227 w 835437"/>
                <a:gd name="connsiteY595" fmla="*/ 516160 h 647509"/>
                <a:gd name="connsiteX596" fmla="*/ 672084 w 835437"/>
                <a:gd name="connsiteY596" fmla="*/ 516636 h 647509"/>
                <a:gd name="connsiteX597" fmla="*/ 670274 w 835437"/>
                <a:gd name="connsiteY597" fmla="*/ 515207 h 647509"/>
                <a:gd name="connsiteX598" fmla="*/ 672846 w 835437"/>
                <a:gd name="connsiteY598" fmla="*/ 510064 h 647509"/>
                <a:gd name="connsiteX599" fmla="*/ 677990 w 835437"/>
                <a:gd name="connsiteY599" fmla="*/ 512636 h 647509"/>
                <a:gd name="connsiteX600" fmla="*/ 682657 w 835437"/>
                <a:gd name="connsiteY600" fmla="*/ 512064 h 647509"/>
                <a:gd name="connsiteX601" fmla="*/ 681514 w 835437"/>
                <a:gd name="connsiteY601" fmla="*/ 502539 h 647509"/>
                <a:gd name="connsiteX602" fmla="*/ 682847 w 835437"/>
                <a:gd name="connsiteY602" fmla="*/ 500825 h 647509"/>
                <a:gd name="connsiteX603" fmla="*/ 683038 w 835437"/>
                <a:gd name="connsiteY603" fmla="*/ 502348 h 647509"/>
                <a:gd name="connsiteX604" fmla="*/ 685991 w 835437"/>
                <a:gd name="connsiteY604" fmla="*/ 500444 h 647509"/>
                <a:gd name="connsiteX605" fmla="*/ 687419 w 835437"/>
                <a:gd name="connsiteY605" fmla="*/ 498634 h 647509"/>
                <a:gd name="connsiteX606" fmla="*/ 693134 w 835437"/>
                <a:gd name="connsiteY606" fmla="*/ 493109 h 647509"/>
                <a:gd name="connsiteX607" fmla="*/ 693896 w 835437"/>
                <a:gd name="connsiteY607" fmla="*/ 499396 h 647509"/>
                <a:gd name="connsiteX608" fmla="*/ 695325 w 835437"/>
                <a:gd name="connsiteY608" fmla="*/ 497586 h 647509"/>
                <a:gd name="connsiteX609" fmla="*/ 696087 w 835437"/>
                <a:gd name="connsiteY609" fmla="*/ 503968 h 647509"/>
                <a:gd name="connsiteX610" fmla="*/ 699611 w 835437"/>
                <a:gd name="connsiteY610" fmla="*/ 506635 h 647509"/>
                <a:gd name="connsiteX611" fmla="*/ 702374 w 835437"/>
                <a:gd name="connsiteY611" fmla="*/ 503111 h 647509"/>
                <a:gd name="connsiteX612" fmla="*/ 707898 w 835437"/>
                <a:gd name="connsiteY612" fmla="*/ 508825 h 647509"/>
                <a:gd name="connsiteX613" fmla="*/ 712089 w 835437"/>
                <a:gd name="connsiteY613" fmla="*/ 503492 h 647509"/>
                <a:gd name="connsiteX614" fmla="*/ 715804 w 835437"/>
                <a:gd name="connsiteY614" fmla="*/ 507778 h 647509"/>
                <a:gd name="connsiteX615" fmla="*/ 715613 w 835437"/>
                <a:gd name="connsiteY615" fmla="*/ 506254 h 647509"/>
                <a:gd name="connsiteX616" fmla="*/ 720566 w 835437"/>
                <a:gd name="connsiteY616" fmla="*/ 507206 h 647509"/>
                <a:gd name="connsiteX617" fmla="*/ 728091 w 835437"/>
                <a:gd name="connsiteY617" fmla="*/ 503015 h 647509"/>
                <a:gd name="connsiteX618" fmla="*/ 728472 w 835437"/>
                <a:gd name="connsiteY618" fmla="*/ 506254 h 647509"/>
                <a:gd name="connsiteX619" fmla="*/ 726853 w 835437"/>
                <a:gd name="connsiteY619" fmla="*/ 506444 h 647509"/>
                <a:gd name="connsiteX620" fmla="*/ 733616 w 835437"/>
                <a:gd name="connsiteY620" fmla="*/ 508730 h 647509"/>
                <a:gd name="connsiteX621" fmla="*/ 734949 w 835437"/>
                <a:gd name="connsiteY621" fmla="*/ 507016 h 647509"/>
                <a:gd name="connsiteX622" fmla="*/ 736568 w 835437"/>
                <a:gd name="connsiteY622" fmla="*/ 506825 h 647509"/>
                <a:gd name="connsiteX623" fmla="*/ 737330 w 835437"/>
                <a:gd name="connsiteY623" fmla="*/ 513112 h 647509"/>
                <a:gd name="connsiteX624" fmla="*/ 738950 w 835437"/>
                <a:gd name="connsiteY624" fmla="*/ 512921 h 647509"/>
                <a:gd name="connsiteX625" fmla="*/ 738759 w 835437"/>
                <a:gd name="connsiteY625" fmla="*/ 511302 h 647509"/>
                <a:gd name="connsiteX626" fmla="*/ 742283 w 835437"/>
                <a:gd name="connsiteY626" fmla="*/ 514064 h 647509"/>
                <a:gd name="connsiteX627" fmla="*/ 743903 w 835437"/>
                <a:gd name="connsiteY627" fmla="*/ 513874 h 647509"/>
                <a:gd name="connsiteX628" fmla="*/ 745808 w 835437"/>
                <a:gd name="connsiteY628" fmla="*/ 516827 h 647509"/>
                <a:gd name="connsiteX629" fmla="*/ 747427 w 835437"/>
                <a:gd name="connsiteY629" fmla="*/ 516636 h 647509"/>
                <a:gd name="connsiteX630" fmla="*/ 749237 w 835437"/>
                <a:gd name="connsiteY630" fmla="*/ 517969 h 647509"/>
                <a:gd name="connsiteX631" fmla="*/ 749999 w 835437"/>
                <a:gd name="connsiteY631" fmla="*/ 524351 h 647509"/>
                <a:gd name="connsiteX632" fmla="*/ 751808 w 835437"/>
                <a:gd name="connsiteY632" fmla="*/ 525685 h 647509"/>
                <a:gd name="connsiteX633" fmla="*/ 752189 w 835437"/>
                <a:gd name="connsiteY633" fmla="*/ 516065 h 647509"/>
                <a:gd name="connsiteX634" fmla="*/ 753713 w 835437"/>
                <a:gd name="connsiteY634" fmla="*/ 515779 h 647509"/>
                <a:gd name="connsiteX635" fmla="*/ 752761 w 835437"/>
                <a:gd name="connsiteY635" fmla="*/ 520732 h 647509"/>
                <a:gd name="connsiteX636" fmla="*/ 754761 w 835437"/>
                <a:gd name="connsiteY636" fmla="*/ 523684 h 647509"/>
                <a:gd name="connsiteX637" fmla="*/ 760095 w 835437"/>
                <a:gd name="connsiteY637" fmla="*/ 527876 h 647509"/>
                <a:gd name="connsiteX638" fmla="*/ 769334 w 835437"/>
                <a:gd name="connsiteY638" fmla="*/ 537877 h 647509"/>
                <a:gd name="connsiteX639" fmla="*/ 781241 w 835437"/>
                <a:gd name="connsiteY639" fmla="*/ 542830 h 647509"/>
                <a:gd name="connsiteX640" fmla="*/ 785717 w 835437"/>
                <a:gd name="connsiteY640" fmla="*/ 540639 h 647509"/>
                <a:gd name="connsiteX641" fmla="*/ 788765 w 835437"/>
                <a:gd name="connsiteY641" fmla="*/ 538639 h 647509"/>
                <a:gd name="connsiteX642" fmla="*/ 784574 w 835437"/>
                <a:gd name="connsiteY642" fmla="*/ 531114 h 647509"/>
                <a:gd name="connsiteX643" fmla="*/ 783336 w 835437"/>
                <a:gd name="connsiteY643" fmla="*/ 521684 h 647509"/>
                <a:gd name="connsiteX644" fmla="*/ 788480 w 835437"/>
                <a:gd name="connsiteY644" fmla="*/ 511397 h 647509"/>
                <a:gd name="connsiteX645" fmla="*/ 793147 w 835437"/>
                <a:gd name="connsiteY645" fmla="*/ 510826 h 647509"/>
                <a:gd name="connsiteX646" fmla="*/ 792766 w 835437"/>
                <a:gd name="connsiteY646" fmla="*/ 507682 h 647509"/>
                <a:gd name="connsiteX647" fmla="*/ 787813 w 835437"/>
                <a:gd name="connsiteY647" fmla="*/ 493871 h 647509"/>
                <a:gd name="connsiteX648" fmla="*/ 790956 w 835437"/>
                <a:gd name="connsiteY648" fmla="*/ 493395 h 647509"/>
                <a:gd name="connsiteX649" fmla="*/ 787432 w 835437"/>
                <a:gd name="connsiteY649" fmla="*/ 490728 h 647509"/>
                <a:gd name="connsiteX650" fmla="*/ 784098 w 835437"/>
                <a:gd name="connsiteY650" fmla="*/ 489490 h 647509"/>
                <a:gd name="connsiteX651" fmla="*/ 785241 w 835437"/>
                <a:gd name="connsiteY651" fmla="*/ 486156 h 647509"/>
                <a:gd name="connsiteX652" fmla="*/ 788194 w 835437"/>
                <a:gd name="connsiteY652" fmla="*/ 484156 h 647509"/>
                <a:gd name="connsiteX653" fmla="*/ 784670 w 835437"/>
                <a:gd name="connsiteY653" fmla="*/ 481394 h 647509"/>
                <a:gd name="connsiteX654" fmla="*/ 790956 w 835437"/>
                <a:gd name="connsiteY654" fmla="*/ 480632 h 647509"/>
                <a:gd name="connsiteX655" fmla="*/ 792956 w 835437"/>
                <a:gd name="connsiteY655" fmla="*/ 483584 h 647509"/>
                <a:gd name="connsiteX656" fmla="*/ 796290 w 835437"/>
                <a:gd name="connsiteY656" fmla="*/ 484727 h 647509"/>
                <a:gd name="connsiteX657" fmla="*/ 797243 w 835437"/>
                <a:gd name="connsiteY657" fmla="*/ 479774 h 647509"/>
                <a:gd name="connsiteX658" fmla="*/ 798100 w 835437"/>
                <a:gd name="connsiteY658" fmla="*/ 486156 h 647509"/>
                <a:gd name="connsiteX659" fmla="*/ 802767 w 835437"/>
                <a:gd name="connsiteY659" fmla="*/ 485489 h 647509"/>
                <a:gd name="connsiteX660" fmla="*/ 802005 w 835437"/>
                <a:gd name="connsiteY660" fmla="*/ 479203 h 647509"/>
                <a:gd name="connsiteX661" fmla="*/ 803529 w 835437"/>
                <a:gd name="connsiteY661" fmla="*/ 479012 h 647509"/>
                <a:gd name="connsiteX662" fmla="*/ 810101 w 835437"/>
                <a:gd name="connsiteY662" fmla="*/ 479774 h 647509"/>
                <a:gd name="connsiteX663" fmla="*/ 814578 w 835437"/>
                <a:gd name="connsiteY663" fmla="*/ 477584 h 647509"/>
                <a:gd name="connsiteX664" fmla="*/ 819531 w 835437"/>
                <a:gd name="connsiteY664" fmla="*/ 478536 h 647509"/>
                <a:gd name="connsiteX665" fmla="*/ 820960 w 835437"/>
                <a:gd name="connsiteY665" fmla="*/ 476821 h 647509"/>
                <a:gd name="connsiteX666" fmla="*/ 816578 w 835437"/>
                <a:gd name="connsiteY666" fmla="*/ 467773 h 647509"/>
                <a:gd name="connsiteX667" fmla="*/ 818388 w 835437"/>
                <a:gd name="connsiteY667" fmla="*/ 469106 h 647509"/>
                <a:gd name="connsiteX668" fmla="*/ 822103 w 835437"/>
                <a:gd name="connsiteY668" fmla="*/ 473392 h 647509"/>
                <a:gd name="connsiteX669" fmla="*/ 823436 w 835437"/>
                <a:gd name="connsiteY669" fmla="*/ 471678 h 647509"/>
                <a:gd name="connsiteX670" fmla="*/ 829628 w 835437"/>
                <a:gd name="connsiteY670" fmla="*/ 469297 h 647509"/>
                <a:gd name="connsiteX671" fmla="*/ 830390 w 835437"/>
                <a:gd name="connsiteY671" fmla="*/ 462725 h 647509"/>
                <a:gd name="connsiteX672" fmla="*/ 833152 w 835437"/>
                <a:gd name="connsiteY672" fmla="*/ 459200 h 647509"/>
                <a:gd name="connsiteX673" fmla="*/ 832485 w 835437"/>
                <a:gd name="connsiteY673" fmla="*/ 454438 h 647509"/>
                <a:gd name="connsiteX674" fmla="*/ 830771 w 835437"/>
                <a:gd name="connsiteY674" fmla="*/ 453104 h 647509"/>
                <a:gd name="connsiteX675" fmla="*/ 830294 w 835437"/>
                <a:gd name="connsiteY675" fmla="*/ 449961 h 647509"/>
                <a:gd name="connsiteX676" fmla="*/ 822674 w 835437"/>
                <a:gd name="connsiteY676" fmla="*/ 452533 h 647509"/>
                <a:gd name="connsiteX677" fmla="*/ 819055 w 835437"/>
                <a:gd name="connsiteY677" fmla="*/ 449771 h 647509"/>
                <a:gd name="connsiteX678" fmla="*/ 827913 w 835437"/>
                <a:gd name="connsiteY678" fmla="*/ 431006 h 647509"/>
                <a:gd name="connsiteX679" fmla="*/ 825913 w 835437"/>
                <a:gd name="connsiteY679" fmla="*/ 428054 h 647509"/>
                <a:gd name="connsiteX680" fmla="*/ 822579 w 835437"/>
                <a:gd name="connsiteY680" fmla="*/ 426911 h 647509"/>
                <a:gd name="connsiteX681" fmla="*/ 822389 w 835437"/>
                <a:gd name="connsiteY681" fmla="*/ 425291 h 647509"/>
                <a:gd name="connsiteX682" fmla="*/ 827151 w 835437"/>
                <a:gd name="connsiteY682" fmla="*/ 424720 h 647509"/>
                <a:gd name="connsiteX683" fmla="*/ 829056 w 835437"/>
                <a:gd name="connsiteY683" fmla="*/ 427673 h 647509"/>
                <a:gd name="connsiteX684" fmla="*/ 832485 w 835437"/>
                <a:gd name="connsiteY684" fmla="*/ 428815 h 647509"/>
                <a:gd name="connsiteX685" fmla="*/ 835438 w 835437"/>
                <a:gd name="connsiteY685" fmla="*/ 426815 h 647509"/>
                <a:gd name="connsiteX686" fmla="*/ 835247 w 835437"/>
                <a:gd name="connsiteY686" fmla="*/ 425291 h 647509"/>
                <a:gd name="connsiteX687" fmla="*/ 831818 w 835437"/>
                <a:gd name="connsiteY687" fmla="*/ 424053 h 647509"/>
                <a:gd name="connsiteX688" fmla="*/ 833057 w 835437"/>
                <a:gd name="connsiteY688" fmla="*/ 420719 h 647509"/>
                <a:gd name="connsiteX689" fmla="*/ 833057 w 835437"/>
                <a:gd name="connsiteY689" fmla="*/ 420719 h 647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</a:cxnLst>
              <a:rect l="l" t="t" r="r" b="b"/>
              <a:pathLst>
                <a:path w="835437" h="647509">
                  <a:moveTo>
                    <a:pt x="833057" y="420719"/>
                  </a:moveTo>
                  <a:lnTo>
                    <a:pt x="831437" y="408146"/>
                  </a:lnTo>
                  <a:lnTo>
                    <a:pt x="829628" y="406717"/>
                  </a:lnTo>
                  <a:lnTo>
                    <a:pt x="821722" y="407765"/>
                  </a:lnTo>
                  <a:lnTo>
                    <a:pt x="823151" y="405956"/>
                  </a:lnTo>
                  <a:lnTo>
                    <a:pt x="827627" y="403765"/>
                  </a:lnTo>
                  <a:lnTo>
                    <a:pt x="820769" y="399859"/>
                  </a:lnTo>
                  <a:lnTo>
                    <a:pt x="820579" y="398240"/>
                  </a:lnTo>
                  <a:lnTo>
                    <a:pt x="818198" y="392144"/>
                  </a:lnTo>
                  <a:lnTo>
                    <a:pt x="813245" y="391192"/>
                  </a:lnTo>
                  <a:lnTo>
                    <a:pt x="805529" y="393763"/>
                  </a:lnTo>
                  <a:lnTo>
                    <a:pt x="800195" y="389668"/>
                  </a:lnTo>
                  <a:lnTo>
                    <a:pt x="797624" y="394716"/>
                  </a:lnTo>
                  <a:lnTo>
                    <a:pt x="791909" y="387477"/>
                  </a:lnTo>
                  <a:lnTo>
                    <a:pt x="788765" y="387858"/>
                  </a:lnTo>
                  <a:lnTo>
                    <a:pt x="785146" y="385096"/>
                  </a:lnTo>
                  <a:lnTo>
                    <a:pt x="793051" y="384143"/>
                  </a:lnTo>
                  <a:lnTo>
                    <a:pt x="794290" y="380714"/>
                  </a:lnTo>
                  <a:lnTo>
                    <a:pt x="790861" y="379571"/>
                  </a:lnTo>
                  <a:lnTo>
                    <a:pt x="792099" y="376238"/>
                  </a:lnTo>
                  <a:lnTo>
                    <a:pt x="799814" y="373666"/>
                  </a:lnTo>
                  <a:lnTo>
                    <a:pt x="800005" y="375190"/>
                  </a:lnTo>
                  <a:lnTo>
                    <a:pt x="801148" y="371856"/>
                  </a:lnTo>
                  <a:lnTo>
                    <a:pt x="809625" y="375571"/>
                  </a:lnTo>
                  <a:lnTo>
                    <a:pt x="809435" y="374047"/>
                  </a:lnTo>
                  <a:lnTo>
                    <a:pt x="811244" y="375380"/>
                  </a:lnTo>
                  <a:lnTo>
                    <a:pt x="812578" y="373571"/>
                  </a:lnTo>
                  <a:lnTo>
                    <a:pt x="815912" y="374809"/>
                  </a:lnTo>
                  <a:lnTo>
                    <a:pt x="812959" y="376809"/>
                  </a:lnTo>
                  <a:lnTo>
                    <a:pt x="821722" y="382048"/>
                  </a:lnTo>
                  <a:lnTo>
                    <a:pt x="824865" y="381667"/>
                  </a:lnTo>
                  <a:lnTo>
                    <a:pt x="822484" y="375571"/>
                  </a:lnTo>
                  <a:lnTo>
                    <a:pt x="825437" y="373571"/>
                  </a:lnTo>
                  <a:lnTo>
                    <a:pt x="820293" y="370999"/>
                  </a:lnTo>
                  <a:lnTo>
                    <a:pt x="821817" y="370808"/>
                  </a:lnTo>
                  <a:lnTo>
                    <a:pt x="821436" y="367665"/>
                  </a:lnTo>
                  <a:lnTo>
                    <a:pt x="812959" y="363950"/>
                  </a:lnTo>
                  <a:lnTo>
                    <a:pt x="813911" y="358997"/>
                  </a:lnTo>
                  <a:lnTo>
                    <a:pt x="812387" y="359188"/>
                  </a:lnTo>
                  <a:lnTo>
                    <a:pt x="815340" y="357188"/>
                  </a:lnTo>
                  <a:lnTo>
                    <a:pt x="825151" y="359188"/>
                  </a:lnTo>
                  <a:lnTo>
                    <a:pt x="828294" y="345948"/>
                  </a:lnTo>
                  <a:lnTo>
                    <a:pt x="818674" y="345567"/>
                  </a:lnTo>
                  <a:lnTo>
                    <a:pt x="821436" y="342043"/>
                  </a:lnTo>
                  <a:lnTo>
                    <a:pt x="822198" y="335471"/>
                  </a:lnTo>
                  <a:lnTo>
                    <a:pt x="820388" y="334137"/>
                  </a:lnTo>
                  <a:lnTo>
                    <a:pt x="819436" y="326231"/>
                  </a:lnTo>
                  <a:lnTo>
                    <a:pt x="813816" y="320516"/>
                  </a:lnTo>
                  <a:lnTo>
                    <a:pt x="813816" y="320516"/>
                  </a:lnTo>
                  <a:lnTo>
                    <a:pt x="816388" y="315373"/>
                  </a:lnTo>
                  <a:lnTo>
                    <a:pt x="809244" y="309848"/>
                  </a:lnTo>
                  <a:lnTo>
                    <a:pt x="807720" y="310134"/>
                  </a:lnTo>
                  <a:lnTo>
                    <a:pt x="804386" y="308896"/>
                  </a:lnTo>
                  <a:lnTo>
                    <a:pt x="808482" y="303562"/>
                  </a:lnTo>
                  <a:lnTo>
                    <a:pt x="808292" y="302038"/>
                  </a:lnTo>
                  <a:lnTo>
                    <a:pt x="805148" y="302419"/>
                  </a:lnTo>
                  <a:lnTo>
                    <a:pt x="796862" y="300228"/>
                  </a:lnTo>
                  <a:lnTo>
                    <a:pt x="796004" y="293942"/>
                  </a:lnTo>
                  <a:lnTo>
                    <a:pt x="802386" y="293180"/>
                  </a:lnTo>
                  <a:lnTo>
                    <a:pt x="801529" y="286798"/>
                  </a:lnTo>
                  <a:lnTo>
                    <a:pt x="802958" y="284988"/>
                  </a:lnTo>
                  <a:lnTo>
                    <a:pt x="804291" y="283273"/>
                  </a:lnTo>
                  <a:lnTo>
                    <a:pt x="802291" y="280321"/>
                  </a:lnTo>
                  <a:lnTo>
                    <a:pt x="805244" y="278321"/>
                  </a:lnTo>
                  <a:lnTo>
                    <a:pt x="806672" y="276511"/>
                  </a:lnTo>
                  <a:lnTo>
                    <a:pt x="799910" y="274225"/>
                  </a:lnTo>
                  <a:lnTo>
                    <a:pt x="799528" y="270986"/>
                  </a:lnTo>
                  <a:lnTo>
                    <a:pt x="797909" y="271272"/>
                  </a:lnTo>
                  <a:lnTo>
                    <a:pt x="791813" y="273653"/>
                  </a:lnTo>
                  <a:lnTo>
                    <a:pt x="788480" y="272415"/>
                  </a:lnTo>
                  <a:lnTo>
                    <a:pt x="784098" y="263366"/>
                  </a:lnTo>
                  <a:lnTo>
                    <a:pt x="785527" y="261556"/>
                  </a:lnTo>
                  <a:lnTo>
                    <a:pt x="783717" y="260223"/>
                  </a:lnTo>
                  <a:lnTo>
                    <a:pt x="786479" y="256699"/>
                  </a:lnTo>
                  <a:lnTo>
                    <a:pt x="791242" y="256032"/>
                  </a:lnTo>
                  <a:lnTo>
                    <a:pt x="794195" y="254032"/>
                  </a:lnTo>
                  <a:lnTo>
                    <a:pt x="793147" y="246221"/>
                  </a:lnTo>
                  <a:lnTo>
                    <a:pt x="791909" y="236696"/>
                  </a:lnTo>
                  <a:lnTo>
                    <a:pt x="788575" y="235553"/>
                  </a:lnTo>
                  <a:lnTo>
                    <a:pt x="789527" y="230600"/>
                  </a:lnTo>
                  <a:lnTo>
                    <a:pt x="792099" y="225457"/>
                  </a:lnTo>
                  <a:lnTo>
                    <a:pt x="782288" y="223552"/>
                  </a:lnTo>
                  <a:lnTo>
                    <a:pt x="779050" y="223933"/>
                  </a:lnTo>
                  <a:lnTo>
                    <a:pt x="778859" y="222313"/>
                  </a:lnTo>
                  <a:lnTo>
                    <a:pt x="782003" y="221932"/>
                  </a:lnTo>
                  <a:lnTo>
                    <a:pt x="784003" y="212027"/>
                  </a:lnTo>
                  <a:lnTo>
                    <a:pt x="782193" y="210693"/>
                  </a:lnTo>
                  <a:lnTo>
                    <a:pt x="785336" y="210312"/>
                  </a:lnTo>
                  <a:lnTo>
                    <a:pt x="787908" y="205169"/>
                  </a:lnTo>
                  <a:lnTo>
                    <a:pt x="786384" y="205359"/>
                  </a:lnTo>
                  <a:lnTo>
                    <a:pt x="785717" y="200596"/>
                  </a:lnTo>
                  <a:lnTo>
                    <a:pt x="790289" y="198406"/>
                  </a:lnTo>
                  <a:lnTo>
                    <a:pt x="791813" y="198215"/>
                  </a:lnTo>
                  <a:lnTo>
                    <a:pt x="792671" y="191738"/>
                  </a:lnTo>
                  <a:lnTo>
                    <a:pt x="787718" y="190786"/>
                  </a:lnTo>
                  <a:lnTo>
                    <a:pt x="788670" y="185833"/>
                  </a:lnTo>
                  <a:lnTo>
                    <a:pt x="785527" y="186214"/>
                  </a:lnTo>
                  <a:lnTo>
                    <a:pt x="786670" y="182880"/>
                  </a:lnTo>
                  <a:lnTo>
                    <a:pt x="784670" y="179927"/>
                  </a:lnTo>
                  <a:lnTo>
                    <a:pt x="784289" y="176784"/>
                  </a:lnTo>
                  <a:lnTo>
                    <a:pt x="787051" y="173165"/>
                  </a:lnTo>
                  <a:lnTo>
                    <a:pt x="787051" y="173165"/>
                  </a:lnTo>
                  <a:lnTo>
                    <a:pt x="790003" y="171164"/>
                  </a:lnTo>
                  <a:lnTo>
                    <a:pt x="794576" y="169069"/>
                  </a:lnTo>
                  <a:lnTo>
                    <a:pt x="794099" y="165830"/>
                  </a:lnTo>
                  <a:lnTo>
                    <a:pt x="795528" y="164116"/>
                  </a:lnTo>
                  <a:lnTo>
                    <a:pt x="792956" y="156400"/>
                  </a:lnTo>
                  <a:lnTo>
                    <a:pt x="795719" y="152876"/>
                  </a:lnTo>
                  <a:lnTo>
                    <a:pt x="788765" y="148876"/>
                  </a:lnTo>
                  <a:lnTo>
                    <a:pt x="785622" y="136493"/>
                  </a:lnTo>
                  <a:lnTo>
                    <a:pt x="775335" y="131350"/>
                  </a:lnTo>
                  <a:lnTo>
                    <a:pt x="777907" y="126302"/>
                  </a:lnTo>
                  <a:lnTo>
                    <a:pt x="777716" y="124682"/>
                  </a:lnTo>
                  <a:lnTo>
                    <a:pt x="771525" y="127063"/>
                  </a:lnTo>
                  <a:lnTo>
                    <a:pt x="767429" y="132398"/>
                  </a:lnTo>
                  <a:lnTo>
                    <a:pt x="762476" y="131445"/>
                  </a:lnTo>
                  <a:lnTo>
                    <a:pt x="759905" y="136588"/>
                  </a:lnTo>
                  <a:lnTo>
                    <a:pt x="759333" y="131826"/>
                  </a:lnTo>
                  <a:lnTo>
                    <a:pt x="749903" y="133064"/>
                  </a:lnTo>
                  <a:lnTo>
                    <a:pt x="746474" y="131826"/>
                  </a:lnTo>
                  <a:lnTo>
                    <a:pt x="741807" y="132493"/>
                  </a:lnTo>
                  <a:lnTo>
                    <a:pt x="739997" y="131064"/>
                  </a:lnTo>
                  <a:lnTo>
                    <a:pt x="738378" y="131254"/>
                  </a:lnTo>
                  <a:lnTo>
                    <a:pt x="736283" y="126778"/>
                  </a:lnTo>
                  <a:lnTo>
                    <a:pt x="728186" y="126206"/>
                  </a:lnTo>
                  <a:lnTo>
                    <a:pt x="723233" y="125158"/>
                  </a:lnTo>
                  <a:lnTo>
                    <a:pt x="717328" y="129159"/>
                  </a:lnTo>
                  <a:lnTo>
                    <a:pt x="715709" y="129350"/>
                  </a:lnTo>
                  <a:lnTo>
                    <a:pt x="717899" y="133921"/>
                  </a:lnTo>
                  <a:lnTo>
                    <a:pt x="714756" y="134302"/>
                  </a:lnTo>
                  <a:lnTo>
                    <a:pt x="713327" y="136112"/>
                  </a:lnTo>
                  <a:lnTo>
                    <a:pt x="708279" y="133540"/>
                  </a:lnTo>
                  <a:lnTo>
                    <a:pt x="709613" y="131731"/>
                  </a:lnTo>
                  <a:lnTo>
                    <a:pt x="707803" y="130397"/>
                  </a:lnTo>
                  <a:lnTo>
                    <a:pt x="703136" y="130969"/>
                  </a:lnTo>
                  <a:lnTo>
                    <a:pt x="699326" y="126587"/>
                  </a:lnTo>
                  <a:lnTo>
                    <a:pt x="696373" y="128588"/>
                  </a:lnTo>
                  <a:lnTo>
                    <a:pt x="696373" y="128588"/>
                  </a:lnTo>
                  <a:lnTo>
                    <a:pt x="695801" y="123920"/>
                  </a:lnTo>
                  <a:lnTo>
                    <a:pt x="700278" y="121729"/>
                  </a:lnTo>
                  <a:lnTo>
                    <a:pt x="702278" y="111823"/>
                  </a:lnTo>
                  <a:lnTo>
                    <a:pt x="708565" y="111061"/>
                  </a:lnTo>
                  <a:lnTo>
                    <a:pt x="708374" y="109442"/>
                  </a:lnTo>
                  <a:lnTo>
                    <a:pt x="700469" y="97631"/>
                  </a:lnTo>
                  <a:lnTo>
                    <a:pt x="698659" y="96298"/>
                  </a:lnTo>
                  <a:lnTo>
                    <a:pt x="695706" y="98203"/>
                  </a:lnTo>
                  <a:lnTo>
                    <a:pt x="689229" y="97441"/>
                  </a:lnTo>
                  <a:lnTo>
                    <a:pt x="679895" y="87440"/>
                  </a:lnTo>
                  <a:lnTo>
                    <a:pt x="680276" y="90583"/>
                  </a:lnTo>
                  <a:lnTo>
                    <a:pt x="665702" y="89249"/>
                  </a:lnTo>
                  <a:lnTo>
                    <a:pt x="664750" y="94202"/>
                  </a:lnTo>
                  <a:lnTo>
                    <a:pt x="650939" y="86296"/>
                  </a:lnTo>
                  <a:lnTo>
                    <a:pt x="648272" y="78581"/>
                  </a:lnTo>
                  <a:lnTo>
                    <a:pt x="640651" y="81153"/>
                  </a:lnTo>
                  <a:lnTo>
                    <a:pt x="631793" y="87154"/>
                  </a:lnTo>
                  <a:lnTo>
                    <a:pt x="629984" y="85725"/>
                  </a:lnTo>
                  <a:lnTo>
                    <a:pt x="631126" y="82391"/>
                  </a:lnTo>
                  <a:lnTo>
                    <a:pt x="628174" y="84392"/>
                  </a:lnTo>
                  <a:lnTo>
                    <a:pt x="626174" y="81439"/>
                  </a:lnTo>
                  <a:lnTo>
                    <a:pt x="615410" y="84392"/>
                  </a:lnTo>
                  <a:lnTo>
                    <a:pt x="613029" y="78296"/>
                  </a:lnTo>
                  <a:lnTo>
                    <a:pt x="609028" y="72390"/>
                  </a:lnTo>
                  <a:lnTo>
                    <a:pt x="597218" y="67437"/>
                  </a:lnTo>
                  <a:lnTo>
                    <a:pt x="590455" y="65151"/>
                  </a:lnTo>
                  <a:lnTo>
                    <a:pt x="589693" y="58865"/>
                  </a:lnTo>
                  <a:lnTo>
                    <a:pt x="575215" y="46196"/>
                  </a:lnTo>
                  <a:lnTo>
                    <a:pt x="571881" y="45053"/>
                  </a:lnTo>
                  <a:lnTo>
                    <a:pt x="568738" y="45434"/>
                  </a:lnTo>
                  <a:lnTo>
                    <a:pt x="561404" y="38386"/>
                  </a:lnTo>
                  <a:lnTo>
                    <a:pt x="531305" y="16573"/>
                  </a:lnTo>
                  <a:lnTo>
                    <a:pt x="524066" y="9430"/>
                  </a:lnTo>
                  <a:lnTo>
                    <a:pt x="509969" y="0"/>
                  </a:lnTo>
                  <a:lnTo>
                    <a:pt x="508254" y="11430"/>
                  </a:lnTo>
                  <a:lnTo>
                    <a:pt x="501206" y="18764"/>
                  </a:lnTo>
                  <a:lnTo>
                    <a:pt x="501777" y="23527"/>
                  </a:lnTo>
                  <a:lnTo>
                    <a:pt x="503968" y="28004"/>
                  </a:lnTo>
                  <a:lnTo>
                    <a:pt x="503015" y="32956"/>
                  </a:lnTo>
                  <a:lnTo>
                    <a:pt x="498634" y="23908"/>
                  </a:lnTo>
                  <a:lnTo>
                    <a:pt x="493871" y="11716"/>
                  </a:lnTo>
                  <a:lnTo>
                    <a:pt x="451295" y="29908"/>
                  </a:lnTo>
                  <a:lnTo>
                    <a:pt x="446342" y="41815"/>
                  </a:lnTo>
                  <a:lnTo>
                    <a:pt x="440436" y="45720"/>
                  </a:lnTo>
                  <a:lnTo>
                    <a:pt x="432149" y="56388"/>
                  </a:lnTo>
                  <a:lnTo>
                    <a:pt x="429673" y="61531"/>
                  </a:lnTo>
                  <a:lnTo>
                    <a:pt x="431578" y="64484"/>
                  </a:lnTo>
                  <a:lnTo>
                    <a:pt x="430625" y="69437"/>
                  </a:lnTo>
                  <a:lnTo>
                    <a:pt x="423482" y="63913"/>
                  </a:lnTo>
                  <a:lnTo>
                    <a:pt x="421577" y="60960"/>
                  </a:lnTo>
                  <a:lnTo>
                    <a:pt x="414242" y="53911"/>
                  </a:lnTo>
                  <a:lnTo>
                    <a:pt x="408337" y="45053"/>
                  </a:lnTo>
                  <a:lnTo>
                    <a:pt x="396240" y="51340"/>
                  </a:lnTo>
                  <a:lnTo>
                    <a:pt x="388334" y="52388"/>
                  </a:lnTo>
                  <a:lnTo>
                    <a:pt x="384810" y="49625"/>
                  </a:lnTo>
                  <a:lnTo>
                    <a:pt x="376142" y="44291"/>
                  </a:lnTo>
                  <a:lnTo>
                    <a:pt x="368237" y="45339"/>
                  </a:lnTo>
                  <a:lnTo>
                    <a:pt x="368427" y="46958"/>
                  </a:lnTo>
                  <a:lnTo>
                    <a:pt x="358426" y="56198"/>
                  </a:lnTo>
                  <a:lnTo>
                    <a:pt x="355283" y="56579"/>
                  </a:lnTo>
                  <a:lnTo>
                    <a:pt x="353282" y="53626"/>
                  </a:lnTo>
                  <a:lnTo>
                    <a:pt x="348520" y="54292"/>
                  </a:lnTo>
                  <a:lnTo>
                    <a:pt x="343567" y="53245"/>
                  </a:lnTo>
                  <a:lnTo>
                    <a:pt x="339471" y="58579"/>
                  </a:lnTo>
                  <a:lnTo>
                    <a:pt x="326993" y="61817"/>
                  </a:lnTo>
                  <a:lnTo>
                    <a:pt x="323850" y="62198"/>
                  </a:lnTo>
                  <a:lnTo>
                    <a:pt x="320516" y="61055"/>
                  </a:lnTo>
                  <a:lnTo>
                    <a:pt x="317563" y="63056"/>
                  </a:lnTo>
                  <a:lnTo>
                    <a:pt x="310896" y="60674"/>
                  </a:lnTo>
                  <a:lnTo>
                    <a:pt x="306514" y="64389"/>
                  </a:lnTo>
                  <a:lnTo>
                    <a:pt x="298418" y="63817"/>
                  </a:lnTo>
                  <a:lnTo>
                    <a:pt x="295085" y="62675"/>
                  </a:lnTo>
                  <a:lnTo>
                    <a:pt x="294513" y="70771"/>
                  </a:lnTo>
                  <a:lnTo>
                    <a:pt x="288608" y="74771"/>
                  </a:lnTo>
                  <a:lnTo>
                    <a:pt x="284893" y="83248"/>
                  </a:lnTo>
                  <a:lnTo>
                    <a:pt x="279178" y="88773"/>
                  </a:lnTo>
                  <a:lnTo>
                    <a:pt x="278130" y="93726"/>
                  </a:lnTo>
                  <a:lnTo>
                    <a:pt x="281750" y="109252"/>
                  </a:lnTo>
                  <a:lnTo>
                    <a:pt x="279368" y="116015"/>
                  </a:lnTo>
                  <a:lnTo>
                    <a:pt x="275082" y="119729"/>
                  </a:lnTo>
                  <a:lnTo>
                    <a:pt x="264224" y="109919"/>
                  </a:lnTo>
                  <a:lnTo>
                    <a:pt x="258318" y="113824"/>
                  </a:lnTo>
                  <a:lnTo>
                    <a:pt x="257080" y="117253"/>
                  </a:lnTo>
                  <a:lnTo>
                    <a:pt x="249650" y="121348"/>
                  </a:lnTo>
                  <a:lnTo>
                    <a:pt x="245269" y="125158"/>
                  </a:lnTo>
                  <a:lnTo>
                    <a:pt x="244316" y="130111"/>
                  </a:lnTo>
                  <a:lnTo>
                    <a:pt x="240030" y="133826"/>
                  </a:lnTo>
                  <a:lnTo>
                    <a:pt x="242126" y="138398"/>
                  </a:lnTo>
                  <a:lnTo>
                    <a:pt x="238220" y="145256"/>
                  </a:lnTo>
                  <a:lnTo>
                    <a:pt x="234887" y="144113"/>
                  </a:lnTo>
                  <a:lnTo>
                    <a:pt x="231934" y="146113"/>
                  </a:lnTo>
                  <a:lnTo>
                    <a:pt x="228410" y="143351"/>
                  </a:lnTo>
                  <a:lnTo>
                    <a:pt x="218885" y="144590"/>
                  </a:lnTo>
                  <a:lnTo>
                    <a:pt x="214408" y="146780"/>
                  </a:lnTo>
                  <a:lnTo>
                    <a:pt x="216503" y="151257"/>
                  </a:lnTo>
                  <a:lnTo>
                    <a:pt x="214598" y="161163"/>
                  </a:lnTo>
                  <a:lnTo>
                    <a:pt x="216980" y="167259"/>
                  </a:lnTo>
                  <a:lnTo>
                    <a:pt x="215075" y="177070"/>
                  </a:lnTo>
                  <a:lnTo>
                    <a:pt x="210884" y="182499"/>
                  </a:lnTo>
                  <a:lnTo>
                    <a:pt x="202978" y="183452"/>
                  </a:lnTo>
                  <a:lnTo>
                    <a:pt x="193739" y="186214"/>
                  </a:lnTo>
                  <a:lnTo>
                    <a:pt x="194119" y="189357"/>
                  </a:lnTo>
                  <a:lnTo>
                    <a:pt x="191357" y="192977"/>
                  </a:lnTo>
                  <a:lnTo>
                    <a:pt x="187071" y="196691"/>
                  </a:lnTo>
                  <a:lnTo>
                    <a:pt x="188024" y="204597"/>
                  </a:lnTo>
                  <a:lnTo>
                    <a:pt x="180975" y="211931"/>
                  </a:lnTo>
                  <a:lnTo>
                    <a:pt x="179261" y="223361"/>
                  </a:lnTo>
                  <a:lnTo>
                    <a:pt x="183356" y="230886"/>
                  </a:lnTo>
                  <a:lnTo>
                    <a:pt x="185547" y="235363"/>
                  </a:lnTo>
                  <a:lnTo>
                    <a:pt x="179451" y="237744"/>
                  </a:lnTo>
                  <a:lnTo>
                    <a:pt x="182975" y="240506"/>
                  </a:lnTo>
                  <a:lnTo>
                    <a:pt x="178308" y="241173"/>
                  </a:lnTo>
                  <a:lnTo>
                    <a:pt x="178499" y="242697"/>
                  </a:lnTo>
                  <a:lnTo>
                    <a:pt x="172784" y="235458"/>
                  </a:lnTo>
                  <a:lnTo>
                    <a:pt x="166021" y="233077"/>
                  </a:lnTo>
                  <a:lnTo>
                    <a:pt x="166592" y="237839"/>
                  </a:lnTo>
                  <a:lnTo>
                    <a:pt x="164116" y="242983"/>
                  </a:lnTo>
                  <a:lnTo>
                    <a:pt x="165830" y="244316"/>
                  </a:lnTo>
                  <a:lnTo>
                    <a:pt x="165449" y="254032"/>
                  </a:lnTo>
                  <a:lnTo>
                    <a:pt x="167640" y="258509"/>
                  </a:lnTo>
                  <a:lnTo>
                    <a:pt x="168307" y="263271"/>
                  </a:lnTo>
                  <a:lnTo>
                    <a:pt x="161544" y="260890"/>
                  </a:lnTo>
                  <a:lnTo>
                    <a:pt x="162782" y="270415"/>
                  </a:lnTo>
                  <a:lnTo>
                    <a:pt x="160211" y="275558"/>
                  </a:lnTo>
                  <a:lnTo>
                    <a:pt x="162592" y="281654"/>
                  </a:lnTo>
                  <a:lnTo>
                    <a:pt x="165926" y="282797"/>
                  </a:lnTo>
                  <a:lnTo>
                    <a:pt x="164973" y="287750"/>
                  </a:lnTo>
                  <a:lnTo>
                    <a:pt x="168497" y="290513"/>
                  </a:lnTo>
                  <a:lnTo>
                    <a:pt x="168688" y="292036"/>
                  </a:lnTo>
                  <a:lnTo>
                    <a:pt x="167545" y="295465"/>
                  </a:lnTo>
                  <a:lnTo>
                    <a:pt x="163068" y="297561"/>
                  </a:lnTo>
                  <a:lnTo>
                    <a:pt x="162020" y="302514"/>
                  </a:lnTo>
                  <a:lnTo>
                    <a:pt x="158877" y="302895"/>
                  </a:lnTo>
                  <a:lnTo>
                    <a:pt x="160877" y="305943"/>
                  </a:lnTo>
                  <a:lnTo>
                    <a:pt x="161449" y="310610"/>
                  </a:lnTo>
                  <a:lnTo>
                    <a:pt x="168212" y="312992"/>
                  </a:lnTo>
                  <a:lnTo>
                    <a:pt x="165259" y="314992"/>
                  </a:lnTo>
                  <a:lnTo>
                    <a:pt x="152210" y="313373"/>
                  </a:lnTo>
                  <a:lnTo>
                    <a:pt x="143732" y="309658"/>
                  </a:lnTo>
                  <a:lnTo>
                    <a:pt x="138970" y="310325"/>
                  </a:lnTo>
                  <a:lnTo>
                    <a:pt x="135446" y="307562"/>
                  </a:lnTo>
                  <a:lnTo>
                    <a:pt x="137732" y="300800"/>
                  </a:lnTo>
                  <a:lnTo>
                    <a:pt x="135636" y="296323"/>
                  </a:lnTo>
                  <a:lnTo>
                    <a:pt x="132683" y="298228"/>
                  </a:lnTo>
                  <a:lnTo>
                    <a:pt x="131826" y="291941"/>
                  </a:lnTo>
                  <a:lnTo>
                    <a:pt x="128873" y="293942"/>
                  </a:lnTo>
                  <a:lnTo>
                    <a:pt x="126683" y="289369"/>
                  </a:lnTo>
                  <a:lnTo>
                    <a:pt x="126111" y="284702"/>
                  </a:lnTo>
                  <a:lnTo>
                    <a:pt x="127254" y="281273"/>
                  </a:lnTo>
                  <a:lnTo>
                    <a:pt x="134969" y="278702"/>
                  </a:lnTo>
                  <a:lnTo>
                    <a:pt x="136112" y="275368"/>
                  </a:lnTo>
                  <a:lnTo>
                    <a:pt x="132779" y="274225"/>
                  </a:lnTo>
                  <a:lnTo>
                    <a:pt x="135541" y="270605"/>
                  </a:lnTo>
                  <a:lnTo>
                    <a:pt x="130969" y="272796"/>
                  </a:lnTo>
                  <a:lnTo>
                    <a:pt x="131731" y="266319"/>
                  </a:lnTo>
                  <a:lnTo>
                    <a:pt x="138875" y="258985"/>
                  </a:lnTo>
                  <a:lnTo>
                    <a:pt x="133541" y="254889"/>
                  </a:lnTo>
                  <a:lnTo>
                    <a:pt x="128778" y="255461"/>
                  </a:lnTo>
                  <a:lnTo>
                    <a:pt x="131731" y="253460"/>
                  </a:lnTo>
                  <a:lnTo>
                    <a:pt x="130207" y="253651"/>
                  </a:lnTo>
                  <a:lnTo>
                    <a:pt x="134874" y="253079"/>
                  </a:lnTo>
                  <a:lnTo>
                    <a:pt x="127159" y="242792"/>
                  </a:lnTo>
                  <a:lnTo>
                    <a:pt x="121063" y="245173"/>
                  </a:lnTo>
                  <a:lnTo>
                    <a:pt x="118872" y="240697"/>
                  </a:lnTo>
                  <a:lnTo>
                    <a:pt x="112014" y="236792"/>
                  </a:lnTo>
                  <a:lnTo>
                    <a:pt x="111347" y="232029"/>
                  </a:lnTo>
                  <a:lnTo>
                    <a:pt x="102680" y="226695"/>
                  </a:lnTo>
                  <a:lnTo>
                    <a:pt x="105442" y="223171"/>
                  </a:lnTo>
                  <a:lnTo>
                    <a:pt x="109538" y="217837"/>
                  </a:lnTo>
                  <a:lnTo>
                    <a:pt x="107347" y="213265"/>
                  </a:lnTo>
                  <a:lnTo>
                    <a:pt x="111157" y="217646"/>
                  </a:lnTo>
                  <a:lnTo>
                    <a:pt x="114872" y="221932"/>
                  </a:lnTo>
                  <a:lnTo>
                    <a:pt x="116491" y="221742"/>
                  </a:lnTo>
                  <a:lnTo>
                    <a:pt x="121634" y="224314"/>
                  </a:lnTo>
                  <a:lnTo>
                    <a:pt x="119444" y="219742"/>
                  </a:lnTo>
                  <a:lnTo>
                    <a:pt x="120206" y="213265"/>
                  </a:lnTo>
                  <a:lnTo>
                    <a:pt x="118205" y="210312"/>
                  </a:lnTo>
                  <a:lnTo>
                    <a:pt x="113633" y="199644"/>
                  </a:lnTo>
                  <a:lnTo>
                    <a:pt x="109157" y="201835"/>
                  </a:lnTo>
                  <a:lnTo>
                    <a:pt x="101060" y="201263"/>
                  </a:lnTo>
                  <a:lnTo>
                    <a:pt x="97441" y="198501"/>
                  </a:lnTo>
                  <a:lnTo>
                    <a:pt x="86392" y="199930"/>
                  </a:lnTo>
                  <a:lnTo>
                    <a:pt x="77724" y="194596"/>
                  </a:lnTo>
                  <a:lnTo>
                    <a:pt x="78867" y="191262"/>
                  </a:lnTo>
                  <a:lnTo>
                    <a:pt x="78677" y="176879"/>
                  </a:lnTo>
                  <a:lnTo>
                    <a:pt x="74962" y="172498"/>
                  </a:lnTo>
                  <a:lnTo>
                    <a:pt x="78867" y="152781"/>
                  </a:lnTo>
                  <a:lnTo>
                    <a:pt x="76105" y="156305"/>
                  </a:lnTo>
                  <a:lnTo>
                    <a:pt x="73914" y="151829"/>
                  </a:lnTo>
                  <a:lnTo>
                    <a:pt x="68771" y="149257"/>
                  </a:lnTo>
                  <a:lnTo>
                    <a:pt x="66580" y="144685"/>
                  </a:lnTo>
                  <a:lnTo>
                    <a:pt x="67342" y="138208"/>
                  </a:lnTo>
                  <a:lnTo>
                    <a:pt x="52959" y="138398"/>
                  </a:lnTo>
                  <a:lnTo>
                    <a:pt x="41529" y="136684"/>
                  </a:lnTo>
                  <a:lnTo>
                    <a:pt x="29051" y="139827"/>
                  </a:lnTo>
                  <a:lnTo>
                    <a:pt x="26289" y="143446"/>
                  </a:lnTo>
                  <a:lnTo>
                    <a:pt x="18193" y="142875"/>
                  </a:lnTo>
                  <a:lnTo>
                    <a:pt x="19240" y="137922"/>
                  </a:lnTo>
                  <a:lnTo>
                    <a:pt x="16002" y="138303"/>
                  </a:lnTo>
                  <a:lnTo>
                    <a:pt x="14097" y="135350"/>
                  </a:lnTo>
                  <a:lnTo>
                    <a:pt x="8382" y="140875"/>
                  </a:lnTo>
                  <a:lnTo>
                    <a:pt x="12097" y="145256"/>
                  </a:lnTo>
                  <a:lnTo>
                    <a:pt x="18669" y="146018"/>
                  </a:lnTo>
                  <a:lnTo>
                    <a:pt x="25908" y="153067"/>
                  </a:lnTo>
                  <a:lnTo>
                    <a:pt x="26384" y="156305"/>
                  </a:lnTo>
                  <a:lnTo>
                    <a:pt x="22193" y="161639"/>
                  </a:lnTo>
                  <a:lnTo>
                    <a:pt x="23432" y="171069"/>
                  </a:lnTo>
                  <a:lnTo>
                    <a:pt x="32671" y="181070"/>
                  </a:lnTo>
                  <a:lnTo>
                    <a:pt x="33147" y="184213"/>
                  </a:lnTo>
                  <a:lnTo>
                    <a:pt x="35052" y="187166"/>
                  </a:lnTo>
                  <a:lnTo>
                    <a:pt x="33909" y="190595"/>
                  </a:lnTo>
                  <a:lnTo>
                    <a:pt x="25051" y="196501"/>
                  </a:lnTo>
                  <a:lnTo>
                    <a:pt x="21908" y="196882"/>
                  </a:lnTo>
                  <a:lnTo>
                    <a:pt x="20479" y="198692"/>
                  </a:lnTo>
                  <a:lnTo>
                    <a:pt x="15621" y="197739"/>
                  </a:lnTo>
                  <a:lnTo>
                    <a:pt x="11240" y="201454"/>
                  </a:lnTo>
                  <a:lnTo>
                    <a:pt x="5144" y="203835"/>
                  </a:lnTo>
                  <a:lnTo>
                    <a:pt x="8858" y="208217"/>
                  </a:lnTo>
                  <a:lnTo>
                    <a:pt x="7715" y="211550"/>
                  </a:lnTo>
                  <a:lnTo>
                    <a:pt x="6382" y="213360"/>
                  </a:lnTo>
                  <a:lnTo>
                    <a:pt x="0" y="214122"/>
                  </a:lnTo>
                  <a:lnTo>
                    <a:pt x="476" y="217265"/>
                  </a:lnTo>
                  <a:lnTo>
                    <a:pt x="6001" y="222980"/>
                  </a:lnTo>
                  <a:lnTo>
                    <a:pt x="10668" y="222409"/>
                  </a:lnTo>
                  <a:lnTo>
                    <a:pt x="11906" y="231838"/>
                  </a:lnTo>
                  <a:lnTo>
                    <a:pt x="24003" y="238315"/>
                  </a:lnTo>
                  <a:lnTo>
                    <a:pt x="34004" y="241840"/>
                  </a:lnTo>
                  <a:lnTo>
                    <a:pt x="35243" y="238506"/>
                  </a:lnTo>
                  <a:lnTo>
                    <a:pt x="41339" y="236125"/>
                  </a:lnTo>
                  <a:lnTo>
                    <a:pt x="41529" y="237744"/>
                  </a:lnTo>
                  <a:lnTo>
                    <a:pt x="35624" y="241649"/>
                  </a:lnTo>
                  <a:lnTo>
                    <a:pt x="42291" y="244031"/>
                  </a:lnTo>
                  <a:lnTo>
                    <a:pt x="45911" y="246793"/>
                  </a:lnTo>
                  <a:lnTo>
                    <a:pt x="45911" y="246793"/>
                  </a:lnTo>
                  <a:lnTo>
                    <a:pt x="44672" y="250127"/>
                  </a:lnTo>
                  <a:lnTo>
                    <a:pt x="47911" y="249746"/>
                  </a:lnTo>
                  <a:lnTo>
                    <a:pt x="46863" y="254698"/>
                  </a:lnTo>
                  <a:lnTo>
                    <a:pt x="48673" y="256032"/>
                  </a:lnTo>
                  <a:lnTo>
                    <a:pt x="44577" y="261366"/>
                  </a:lnTo>
                  <a:lnTo>
                    <a:pt x="46482" y="264319"/>
                  </a:lnTo>
                  <a:lnTo>
                    <a:pt x="49435" y="262319"/>
                  </a:lnTo>
                  <a:lnTo>
                    <a:pt x="57531" y="262890"/>
                  </a:lnTo>
                  <a:lnTo>
                    <a:pt x="58769" y="272415"/>
                  </a:lnTo>
                  <a:lnTo>
                    <a:pt x="61913" y="272034"/>
                  </a:lnTo>
                  <a:lnTo>
                    <a:pt x="62103" y="273558"/>
                  </a:lnTo>
                  <a:lnTo>
                    <a:pt x="63913" y="274987"/>
                  </a:lnTo>
                  <a:lnTo>
                    <a:pt x="60960" y="276892"/>
                  </a:lnTo>
                  <a:lnTo>
                    <a:pt x="61151" y="278511"/>
                  </a:lnTo>
                  <a:lnTo>
                    <a:pt x="65913" y="277940"/>
                  </a:lnTo>
                  <a:lnTo>
                    <a:pt x="67913" y="280892"/>
                  </a:lnTo>
                  <a:lnTo>
                    <a:pt x="71057" y="280511"/>
                  </a:lnTo>
                  <a:lnTo>
                    <a:pt x="66294" y="281083"/>
                  </a:lnTo>
                  <a:lnTo>
                    <a:pt x="65151" y="284417"/>
                  </a:lnTo>
                  <a:lnTo>
                    <a:pt x="74200" y="292894"/>
                  </a:lnTo>
                  <a:lnTo>
                    <a:pt x="75438" y="302323"/>
                  </a:lnTo>
                  <a:lnTo>
                    <a:pt x="77819" y="308419"/>
                  </a:lnTo>
                  <a:lnTo>
                    <a:pt x="78200" y="311658"/>
                  </a:lnTo>
                  <a:lnTo>
                    <a:pt x="76867" y="313373"/>
                  </a:lnTo>
                  <a:lnTo>
                    <a:pt x="83534" y="315754"/>
                  </a:lnTo>
                  <a:lnTo>
                    <a:pt x="79820" y="324231"/>
                  </a:lnTo>
                  <a:lnTo>
                    <a:pt x="71342" y="333375"/>
                  </a:lnTo>
                  <a:lnTo>
                    <a:pt x="73152" y="334709"/>
                  </a:lnTo>
                  <a:lnTo>
                    <a:pt x="73724" y="339471"/>
                  </a:lnTo>
                  <a:lnTo>
                    <a:pt x="67628" y="341852"/>
                  </a:lnTo>
                  <a:lnTo>
                    <a:pt x="66675" y="346805"/>
                  </a:lnTo>
                  <a:lnTo>
                    <a:pt x="68866" y="351282"/>
                  </a:lnTo>
                  <a:lnTo>
                    <a:pt x="69247" y="367284"/>
                  </a:lnTo>
                  <a:lnTo>
                    <a:pt x="71819" y="374999"/>
                  </a:lnTo>
                  <a:lnTo>
                    <a:pt x="70866" y="379952"/>
                  </a:lnTo>
                  <a:lnTo>
                    <a:pt x="74866" y="385858"/>
                  </a:lnTo>
                  <a:lnTo>
                    <a:pt x="77248" y="391954"/>
                  </a:lnTo>
                  <a:lnTo>
                    <a:pt x="85154" y="390906"/>
                  </a:lnTo>
                  <a:lnTo>
                    <a:pt x="90011" y="391954"/>
                  </a:lnTo>
                  <a:lnTo>
                    <a:pt x="87535" y="397002"/>
                  </a:lnTo>
                  <a:lnTo>
                    <a:pt x="91250" y="401384"/>
                  </a:lnTo>
                  <a:lnTo>
                    <a:pt x="97346" y="399002"/>
                  </a:lnTo>
                  <a:lnTo>
                    <a:pt x="100489" y="398621"/>
                  </a:lnTo>
                  <a:lnTo>
                    <a:pt x="100965" y="401765"/>
                  </a:lnTo>
                  <a:lnTo>
                    <a:pt x="101346" y="404908"/>
                  </a:lnTo>
                  <a:lnTo>
                    <a:pt x="106299" y="405860"/>
                  </a:lnTo>
                  <a:lnTo>
                    <a:pt x="106871" y="410623"/>
                  </a:lnTo>
                  <a:lnTo>
                    <a:pt x="110395" y="413385"/>
                  </a:lnTo>
                  <a:lnTo>
                    <a:pt x="114395" y="419290"/>
                  </a:lnTo>
                  <a:lnTo>
                    <a:pt x="121253" y="423196"/>
                  </a:lnTo>
                  <a:lnTo>
                    <a:pt x="110300" y="437388"/>
                  </a:lnTo>
                  <a:lnTo>
                    <a:pt x="111062" y="443770"/>
                  </a:lnTo>
                  <a:lnTo>
                    <a:pt x="116967" y="439769"/>
                  </a:lnTo>
                  <a:lnTo>
                    <a:pt x="122777" y="447104"/>
                  </a:lnTo>
                  <a:lnTo>
                    <a:pt x="136779" y="443675"/>
                  </a:lnTo>
                  <a:lnTo>
                    <a:pt x="146780" y="447199"/>
                  </a:lnTo>
                  <a:lnTo>
                    <a:pt x="148971" y="451771"/>
                  </a:lnTo>
                  <a:lnTo>
                    <a:pt x="150590" y="451580"/>
                  </a:lnTo>
                  <a:lnTo>
                    <a:pt x="150971" y="454723"/>
                  </a:lnTo>
                  <a:lnTo>
                    <a:pt x="149828" y="458057"/>
                  </a:lnTo>
                  <a:lnTo>
                    <a:pt x="154115" y="467106"/>
                  </a:lnTo>
                  <a:lnTo>
                    <a:pt x="154972" y="473392"/>
                  </a:lnTo>
                  <a:lnTo>
                    <a:pt x="158306" y="474631"/>
                  </a:lnTo>
                  <a:lnTo>
                    <a:pt x="163830" y="467487"/>
                  </a:lnTo>
                  <a:lnTo>
                    <a:pt x="168783" y="468440"/>
                  </a:lnTo>
                  <a:lnTo>
                    <a:pt x="170783" y="471392"/>
                  </a:lnTo>
                  <a:lnTo>
                    <a:pt x="171355" y="476155"/>
                  </a:lnTo>
                  <a:lnTo>
                    <a:pt x="182404" y="487585"/>
                  </a:lnTo>
                  <a:lnTo>
                    <a:pt x="184785" y="493681"/>
                  </a:lnTo>
                  <a:lnTo>
                    <a:pt x="190881" y="491300"/>
                  </a:lnTo>
                  <a:lnTo>
                    <a:pt x="191548" y="496062"/>
                  </a:lnTo>
                  <a:lnTo>
                    <a:pt x="196691" y="498634"/>
                  </a:lnTo>
                  <a:lnTo>
                    <a:pt x="207740" y="497205"/>
                  </a:lnTo>
                  <a:lnTo>
                    <a:pt x="207931" y="498729"/>
                  </a:lnTo>
                  <a:lnTo>
                    <a:pt x="203740" y="504063"/>
                  </a:lnTo>
                  <a:lnTo>
                    <a:pt x="208693" y="505111"/>
                  </a:lnTo>
                  <a:lnTo>
                    <a:pt x="207550" y="508444"/>
                  </a:lnTo>
                  <a:lnTo>
                    <a:pt x="218789" y="508635"/>
                  </a:lnTo>
                  <a:lnTo>
                    <a:pt x="222504" y="512921"/>
                  </a:lnTo>
                  <a:lnTo>
                    <a:pt x="227267" y="512350"/>
                  </a:lnTo>
                  <a:lnTo>
                    <a:pt x="231077" y="516636"/>
                  </a:lnTo>
                  <a:lnTo>
                    <a:pt x="230029" y="521589"/>
                  </a:lnTo>
                  <a:lnTo>
                    <a:pt x="224123" y="525590"/>
                  </a:lnTo>
                  <a:lnTo>
                    <a:pt x="227743" y="528352"/>
                  </a:lnTo>
                  <a:lnTo>
                    <a:pt x="226695" y="533209"/>
                  </a:lnTo>
                  <a:lnTo>
                    <a:pt x="234410" y="530638"/>
                  </a:lnTo>
                  <a:lnTo>
                    <a:pt x="237173" y="527113"/>
                  </a:lnTo>
                  <a:lnTo>
                    <a:pt x="243269" y="524732"/>
                  </a:lnTo>
                  <a:lnTo>
                    <a:pt x="244697" y="522923"/>
                  </a:lnTo>
                  <a:lnTo>
                    <a:pt x="247841" y="522542"/>
                  </a:lnTo>
                  <a:lnTo>
                    <a:pt x="254699" y="526447"/>
                  </a:lnTo>
                  <a:lnTo>
                    <a:pt x="253556" y="529876"/>
                  </a:lnTo>
                  <a:lnTo>
                    <a:pt x="259271" y="537115"/>
                  </a:lnTo>
                  <a:lnTo>
                    <a:pt x="267557" y="539306"/>
                  </a:lnTo>
                  <a:lnTo>
                    <a:pt x="273558" y="548164"/>
                  </a:lnTo>
                  <a:lnTo>
                    <a:pt x="270796" y="551688"/>
                  </a:lnTo>
                  <a:lnTo>
                    <a:pt x="267462" y="563309"/>
                  </a:lnTo>
                  <a:lnTo>
                    <a:pt x="261176" y="564166"/>
                  </a:lnTo>
                  <a:lnTo>
                    <a:pt x="259747" y="565976"/>
                  </a:lnTo>
                  <a:lnTo>
                    <a:pt x="252889" y="574834"/>
                  </a:lnTo>
                  <a:lnTo>
                    <a:pt x="253460" y="579596"/>
                  </a:lnTo>
                  <a:lnTo>
                    <a:pt x="258032" y="590169"/>
                  </a:lnTo>
                  <a:lnTo>
                    <a:pt x="269272" y="590360"/>
                  </a:lnTo>
                  <a:lnTo>
                    <a:pt x="268129" y="593693"/>
                  </a:lnTo>
                  <a:lnTo>
                    <a:pt x="271272" y="593312"/>
                  </a:lnTo>
                  <a:lnTo>
                    <a:pt x="274987" y="597694"/>
                  </a:lnTo>
                  <a:lnTo>
                    <a:pt x="281940" y="601599"/>
                  </a:lnTo>
                  <a:lnTo>
                    <a:pt x="289846" y="600551"/>
                  </a:lnTo>
                  <a:lnTo>
                    <a:pt x="296704" y="604552"/>
                  </a:lnTo>
                  <a:lnTo>
                    <a:pt x="303467" y="606838"/>
                  </a:lnTo>
                  <a:lnTo>
                    <a:pt x="305467" y="609790"/>
                  </a:lnTo>
                  <a:lnTo>
                    <a:pt x="307658" y="627221"/>
                  </a:lnTo>
                  <a:lnTo>
                    <a:pt x="317754" y="630745"/>
                  </a:lnTo>
                  <a:lnTo>
                    <a:pt x="328803" y="629317"/>
                  </a:lnTo>
                  <a:lnTo>
                    <a:pt x="335852" y="634841"/>
                  </a:lnTo>
                  <a:lnTo>
                    <a:pt x="338519" y="642461"/>
                  </a:lnTo>
                  <a:lnTo>
                    <a:pt x="342424" y="635603"/>
                  </a:lnTo>
                  <a:lnTo>
                    <a:pt x="349091" y="637889"/>
                  </a:lnTo>
                  <a:lnTo>
                    <a:pt x="349282" y="626650"/>
                  </a:lnTo>
                  <a:lnTo>
                    <a:pt x="352235" y="624745"/>
                  </a:lnTo>
                  <a:lnTo>
                    <a:pt x="356997" y="624078"/>
                  </a:lnTo>
                  <a:lnTo>
                    <a:pt x="356616" y="620935"/>
                  </a:lnTo>
                  <a:lnTo>
                    <a:pt x="359950" y="622173"/>
                  </a:lnTo>
                  <a:lnTo>
                    <a:pt x="359569" y="618935"/>
                  </a:lnTo>
                  <a:lnTo>
                    <a:pt x="373761" y="617125"/>
                  </a:lnTo>
                  <a:lnTo>
                    <a:pt x="383762" y="620649"/>
                  </a:lnTo>
                  <a:lnTo>
                    <a:pt x="389382" y="626364"/>
                  </a:lnTo>
                  <a:lnTo>
                    <a:pt x="391192" y="640652"/>
                  </a:lnTo>
                  <a:lnTo>
                    <a:pt x="393097" y="643604"/>
                  </a:lnTo>
                  <a:lnTo>
                    <a:pt x="391763" y="645319"/>
                  </a:lnTo>
                  <a:lnTo>
                    <a:pt x="400050" y="647510"/>
                  </a:lnTo>
                  <a:lnTo>
                    <a:pt x="399479" y="642747"/>
                  </a:lnTo>
                  <a:lnTo>
                    <a:pt x="398050" y="631698"/>
                  </a:lnTo>
                  <a:lnTo>
                    <a:pt x="394526" y="628936"/>
                  </a:lnTo>
                  <a:lnTo>
                    <a:pt x="394240" y="627412"/>
                  </a:lnTo>
                  <a:lnTo>
                    <a:pt x="406718" y="624173"/>
                  </a:lnTo>
                  <a:lnTo>
                    <a:pt x="421100" y="623983"/>
                  </a:lnTo>
                  <a:lnTo>
                    <a:pt x="419862" y="614458"/>
                  </a:lnTo>
                  <a:lnTo>
                    <a:pt x="414338" y="608743"/>
                  </a:lnTo>
                  <a:lnTo>
                    <a:pt x="415766" y="607028"/>
                  </a:lnTo>
                  <a:lnTo>
                    <a:pt x="422434" y="609314"/>
                  </a:lnTo>
                  <a:lnTo>
                    <a:pt x="429387" y="613315"/>
                  </a:lnTo>
                  <a:lnTo>
                    <a:pt x="434150" y="612648"/>
                  </a:lnTo>
                  <a:lnTo>
                    <a:pt x="442532" y="603599"/>
                  </a:lnTo>
                  <a:lnTo>
                    <a:pt x="443770" y="600265"/>
                  </a:lnTo>
                  <a:lnTo>
                    <a:pt x="449104" y="604361"/>
                  </a:lnTo>
                  <a:lnTo>
                    <a:pt x="455200" y="601980"/>
                  </a:lnTo>
                  <a:lnTo>
                    <a:pt x="456533" y="600170"/>
                  </a:lnTo>
                  <a:lnTo>
                    <a:pt x="457962" y="598456"/>
                  </a:lnTo>
                  <a:lnTo>
                    <a:pt x="459962" y="601408"/>
                  </a:lnTo>
                  <a:lnTo>
                    <a:pt x="463677" y="605695"/>
                  </a:lnTo>
                  <a:lnTo>
                    <a:pt x="469392" y="600170"/>
                  </a:lnTo>
                  <a:lnTo>
                    <a:pt x="473964" y="597980"/>
                  </a:lnTo>
                  <a:lnTo>
                    <a:pt x="474917" y="593027"/>
                  </a:lnTo>
                  <a:lnTo>
                    <a:pt x="479870" y="593979"/>
                  </a:lnTo>
                  <a:lnTo>
                    <a:pt x="483394" y="596741"/>
                  </a:lnTo>
                  <a:lnTo>
                    <a:pt x="489680" y="595979"/>
                  </a:lnTo>
                  <a:lnTo>
                    <a:pt x="493109" y="597122"/>
                  </a:lnTo>
                  <a:lnTo>
                    <a:pt x="492062" y="602075"/>
                  </a:lnTo>
                  <a:lnTo>
                    <a:pt x="495014" y="600075"/>
                  </a:lnTo>
                  <a:lnTo>
                    <a:pt x="493871" y="603504"/>
                  </a:lnTo>
                  <a:lnTo>
                    <a:pt x="495872" y="606457"/>
                  </a:lnTo>
                  <a:lnTo>
                    <a:pt x="499015" y="605981"/>
                  </a:lnTo>
                  <a:lnTo>
                    <a:pt x="498634" y="602837"/>
                  </a:lnTo>
                  <a:lnTo>
                    <a:pt x="503777" y="605409"/>
                  </a:lnTo>
                  <a:lnTo>
                    <a:pt x="509683" y="601408"/>
                  </a:lnTo>
                  <a:lnTo>
                    <a:pt x="516731" y="606933"/>
                  </a:lnTo>
                  <a:lnTo>
                    <a:pt x="517779" y="614839"/>
                  </a:lnTo>
                  <a:lnTo>
                    <a:pt x="520732" y="612839"/>
                  </a:lnTo>
                  <a:lnTo>
                    <a:pt x="527018" y="612077"/>
                  </a:lnTo>
                  <a:lnTo>
                    <a:pt x="536924" y="613982"/>
                  </a:lnTo>
                  <a:lnTo>
                    <a:pt x="543592" y="603504"/>
                  </a:lnTo>
                  <a:lnTo>
                    <a:pt x="550069" y="604266"/>
                  </a:lnTo>
                  <a:lnTo>
                    <a:pt x="555212" y="606838"/>
                  </a:lnTo>
                  <a:lnTo>
                    <a:pt x="555689" y="609981"/>
                  </a:lnTo>
                  <a:lnTo>
                    <a:pt x="559403" y="614362"/>
                  </a:lnTo>
                  <a:lnTo>
                    <a:pt x="568071" y="619697"/>
                  </a:lnTo>
                  <a:lnTo>
                    <a:pt x="571500" y="620840"/>
                  </a:lnTo>
                  <a:lnTo>
                    <a:pt x="571310" y="619220"/>
                  </a:lnTo>
                  <a:lnTo>
                    <a:pt x="570452" y="612934"/>
                  </a:lnTo>
                  <a:lnTo>
                    <a:pt x="577215" y="615315"/>
                  </a:lnTo>
                  <a:lnTo>
                    <a:pt x="576929" y="613696"/>
                  </a:lnTo>
                  <a:lnTo>
                    <a:pt x="576739" y="612172"/>
                  </a:lnTo>
                  <a:lnTo>
                    <a:pt x="579882" y="611791"/>
                  </a:lnTo>
                  <a:lnTo>
                    <a:pt x="584073" y="606361"/>
                  </a:lnTo>
                  <a:lnTo>
                    <a:pt x="587026" y="604457"/>
                  </a:lnTo>
                  <a:lnTo>
                    <a:pt x="589788" y="600837"/>
                  </a:lnTo>
                  <a:lnTo>
                    <a:pt x="593122" y="602075"/>
                  </a:lnTo>
                  <a:lnTo>
                    <a:pt x="594455" y="600265"/>
                  </a:lnTo>
                  <a:lnTo>
                    <a:pt x="598646" y="594932"/>
                  </a:lnTo>
                  <a:lnTo>
                    <a:pt x="598075" y="590169"/>
                  </a:lnTo>
                  <a:lnTo>
                    <a:pt x="592931" y="587597"/>
                  </a:lnTo>
                  <a:lnTo>
                    <a:pt x="597408" y="585407"/>
                  </a:lnTo>
                  <a:lnTo>
                    <a:pt x="594074" y="584264"/>
                  </a:lnTo>
                  <a:lnTo>
                    <a:pt x="597027" y="582263"/>
                  </a:lnTo>
                  <a:lnTo>
                    <a:pt x="600361" y="583502"/>
                  </a:lnTo>
                  <a:lnTo>
                    <a:pt x="599980" y="580358"/>
                  </a:lnTo>
                  <a:lnTo>
                    <a:pt x="599980" y="580358"/>
                  </a:lnTo>
                  <a:lnTo>
                    <a:pt x="592074" y="568452"/>
                  </a:lnTo>
                  <a:lnTo>
                    <a:pt x="592646" y="560451"/>
                  </a:lnTo>
                  <a:lnTo>
                    <a:pt x="596932" y="556641"/>
                  </a:lnTo>
                  <a:lnTo>
                    <a:pt x="604838" y="555688"/>
                  </a:lnTo>
                  <a:lnTo>
                    <a:pt x="614934" y="559213"/>
                  </a:lnTo>
                  <a:lnTo>
                    <a:pt x="617315" y="552450"/>
                  </a:lnTo>
                  <a:lnTo>
                    <a:pt x="622459" y="555022"/>
                  </a:lnTo>
                  <a:lnTo>
                    <a:pt x="621030" y="556832"/>
                  </a:lnTo>
                  <a:lnTo>
                    <a:pt x="624173" y="556355"/>
                  </a:lnTo>
                  <a:lnTo>
                    <a:pt x="622554" y="543782"/>
                  </a:lnTo>
                  <a:lnTo>
                    <a:pt x="632079" y="542544"/>
                  </a:lnTo>
                  <a:lnTo>
                    <a:pt x="635794" y="546926"/>
                  </a:lnTo>
                  <a:lnTo>
                    <a:pt x="638556" y="543306"/>
                  </a:lnTo>
                  <a:lnTo>
                    <a:pt x="638175" y="540163"/>
                  </a:lnTo>
                  <a:lnTo>
                    <a:pt x="642652" y="537972"/>
                  </a:lnTo>
                  <a:lnTo>
                    <a:pt x="642461" y="536448"/>
                  </a:lnTo>
                  <a:lnTo>
                    <a:pt x="647414" y="537401"/>
                  </a:lnTo>
                  <a:lnTo>
                    <a:pt x="650176" y="533781"/>
                  </a:lnTo>
                  <a:lnTo>
                    <a:pt x="649605" y="529114"/>
                  </a:lnTo>
                  <a:lnTo>
                    <a:pt x="656082" y="529876"/>
                  </a:lnTo>
                  <a:lnTo>
                    <a:pt x="659035" y="527876"/>
                  </a:lnTo>
                  <a:lnTo>
                    <a:pt x="659987" y="522923"/>
                  </a:lnTo>
                  <a:lnTo>
                    <a:pt x="662940" y="521017"/>
                  </a:lnTo>
                  <a:lnTo>
                    <a:pt x="671227" y="523113"/>
                  </a:lnTo>
                  <a:lnTo>
                    <a:pt x="675418" y="517779"/>
                  </a:lnTo>
                  <a:lnTo>
                    <a:pt x="675227" y="516160"/>
                  </a:lnTo>
                  <a:lnTo>
                    <a:pt x="672084" y="516636"/>
                  </a:lnTo>
                  <a:lnTo>
                    <a:pt x="670274" y="515207"/>
                  </a:lnTo>
                  <a:lnTo>
                    <a:pt x="672846" y="510064"/>
                  </a:lnTo>
                  <a:lnTo>
                    <a:pt x="677990" y="512636"/>
                  </a:lnTo>
                  <a:lnTo>
                    <a:pt x="682657" y="512064"/>
                  </a:lnTo>
                  <a:lnTo>
                    <a:pt x="681514" y="502539"/>
                  </a:lnTo>
                  <a:lnTo>
                    <a:pt x="682847" y="500825"/>
                  </a:lnTo>
                  <a:lnTo>
                    <a:pt x="683038" y="502348"/>
                  </a:lnTo>
                  <a:lnTo>
                    <a:pt x="685991" y="500444"/>
                  </a:lnTo>
                  <a:lnTo>
                    <a:pt x="687419" y="498634"/>
                  </a:lnTo>
                  <a:lnTo>
                    <a:pt x="693134" y="493109"/>
                  </a:lnTo>
                  <a:lnTo>
                    <a:pt x="693896" y="499396"/>
                  </a:lnTo>
                  <a:lnTo>
                    <a:pt x="695325" y="497586"/>
                  </a:lnTo>
                  <a:lnTo>
                    <a:pt x="696087" y="503968"/>
                  </a:lnTo>
                  <a:lnTo>
                    <a:pt x="699611" y="506635"/>
                  </a:lnTo>
                  <a:lnTo>
                    <a:pt x="702374" y="503111"/>
                  </a:lnTo>
                  <a:lnTo>
                    <a:pt x="707898" y="508825"/>
                  </a:lnTo>
                  <a:lnTo>
                    <a:pt x="712089" y="503492"/>
                  </a:lnTo>
                  <a:lnTo>
                    <a:pt x="715804" y="507778"/>
                  </a:lnTo>
                  <a:lnTo>
                    <a:pt x="715613" y="506254"/>
                  </a:lnTo>
                  <a:lnTo>
                    <a:pt x="720566" y="507206"/>
                  </a:lnTo>
                  <a:lnTo>
                    <a:pt x="728091" y="503015"/>
                  </a:lnTo>
                  <a:lnTo>
                    <a:pt x="728472" y="506254"/>
                  </a:lnTo>
                  <a:lnTo>
                    <a:pt x="726853" y="506444"/>
                  </a:lnTo>
                  <a:lnTo>
                    <a:pt x="733616" y="508730"/>
                  </a:lnTo>
                  <a:lnTo>
                    <a:pt x="734949" y="507016"/>
                  </a:lnTo>
                  <a:lnTo>
                    <a:pt x="736568" y="506825"/>
                  </a:lnTo>
                  <a:lnTo>
                    <a:pt x="737330" y="513112"/>
                  </a:lnTo>
                  <a:lnTo>
                    <a:pt x="738950" y="512921"/>
                  </a:lnTo>
                  <a:lnTo>
                    <a:pt x="738759" y="511302"/>
                  </a:lnTo>
                  <a:lnTo>
                    <a:pt x="742283" y="514064"/>
                  </a:lnTo>
                  <a:lnTo>
                    <a:pt x="743903" y="513874"/>
                  </a:lnTo>
                  <a:lnTo>
                    <a:pt x="745808" y="516827"/>
                  </a:lnTo>
                  <a:lnTo>
                    <a:pt x="747427" y="516636"/>
                  </a:lnTo>
                  <a:lnTo>
                    <a:pt x="749237" y="517969"/>
                  </a:lnTo>
                  <a:lnTo>
                    <a:pt x="749999" y="524351"/>
                  </a:lnTo>
                  <a:lnTo>
                    <a:pt x="751808" y="525685"/>
                  </a:lnTo>
                  <a:lnTo>
                    <a:pt x="752189" y="516065"/>
                  </a:lnTo>
                  <a:lnTo>
                    <a:pt x="753713" y="515779"/>
                  </a:lnTo>
                  <a:lnTo>
                    <a:pt x="752761" y="520732"/>
                  </a:lnTo>
                  <a:lnTo>
                    <a:pt x="754761" y="523684"/>
                  </a:lnTo>
                  <a:lnTo>
                    <a:pt x="760095" y="527876"/>
                  </a:lnTo>
                  <a:lnTo>
                    <a:pt x="769334" y="537877"/>
                  </a:lnTo>
                  <a:lnTo>
                    <a:pt x="781241" y="542830"/>
                  </a:lnTo>
                  <a:lnTo>
                    <a:pt x="785717" y="540639"/>
                  </a:lnTo>
                  <a:lnTo>
                    <a:pt x="788765" y="538639"/>
                  </a:lnTo>
                  <a:lnTo>
                    <a:pt x="784574" y="531114"/>
                  </a:lnTo>
                  <a:lnTo>
                    <a:pt x="783336" y="521684"/>
                  </a:lnTo>
                  <a:lnTo>
                    <a:pt x="788480" y="511397"/>
                  </a:lnTo>
                  <a:lnTo>
                    <a:pt x="793147" y="510826"/>
                  </a:lnTo>
                  <a:lnTo>
                    <a:pt x="792766" y="507682"/>
                  </a:lnTo>
                  <a:lnTo>
                    <a:pt x="787813" y="493871"/>
                  </a:lnTo>
                  <a:lnTo>
                    <a:pt x="790956" y="493395"/>
                  </a:lnTo>
                  <a:lnTo>
                    <a:pt x="787432" y="490728"/>
                  </a:lnTo>
                  <a:lnTo>
                    <a:pt x="784098" y="489490"/>
                  </a:lnTo>
                  <a:lnTo>
                    <a:pt x="785241" y="486156"/>
                  </a:lnTo>
                  <a:lnTo>
                    <a:pt x="788194" y="484156"/>
                  </a:lnTo>
                  <a:lnTo>
                    <a:pt x="784670" y="481394"/>
                  </a:lnTo>
                  <a:lnTo>
                    <a:pt x="790956" y="480632"/>
                  </a:lnTo>
                  <a:lnTo>
                    <a:pt x="792956" y="483584"/>
                  </a:lnTo>
                  <a:lnTo>
                    <a:pt x="796290" y="484727"/>
                  </a:lnTo>
                  <a:lnTo>
                    <a:pt x="797243" y="479774"/>
                  </a:lnTo>
                  <a:lnTo>
                    <a:pt x="798100" y="486156"/>
                  </a:lnTo>
                  <a:lnTo>
                    <a:pt x="802767" y="485489"/>
                  </a:lnTo>
                  <a:lnTo>
                    <a:pt x="802005" y="479203"/>
                  </a:lnTo>
                  <a:lnTo>
                    <a:pt x="803529" y="479012"/>
                  </a:lnTo>
                  <a:lnTo>
                    <a:pt x="810101" y="479774"/>
                  </a:lnTo>
                  <a:lnTo>
                    <a:pt x="814578" y="477584"/>
                  </a:lnTo>
                  <a:lnTo>
                    <a:pt x="819531" y="478536"/>
                  </a:lnTo>
                  <a:lnTo>
                    <a:pt x="820960" y="476821"/>
                  </a:lnTo>
                  <a:lnTo>
                    <a:pt x="816578" y="467773"/>
                  </a:lnTo>
                  <a:lnTo>
                    <a:pt x="818388" y="469106"/>
                  </a:lnTo>
                  <a:lnTo>
                    <a:pt x="822103" y="473392"/>
                  </a:lnTo>
                  <a:lnTo>
                    <a:pt x="823436" y="471678"/>
                  </a:lnTo>
                  <a:lnTo>
                    <a:pt x="829628" y="469297"/>
                  </a:lnTo>
                  <a:lnTo>
                    <a:pt x="830390" y="462725"/>
                  </a:lnTo>
                  <a:lnTo>
                    <a:pt x="833152" y="459200"/>
                  </a:lnTo>
                  <a:lnTo>
                    <a:pt x="832485" y="454438"/>
                  </a:lnTo>
                  <a:lnTo>
                    <a:pt x="830771" y="453104"/>
                  </a:lnTo>
                  <a:lnTo>
                    <a:pt x="830294" y="449961"/>
                  </a:lnTo>
                  <a:lnTo>
                    <a:pt x="822674" y="452533"/>
                  </a:lnTo>
                  <a:lnTo>
                    <a:pt x="819055" y="449771"/>
                  </a:lnTo>
                  <a:lnTo>
                    <a:pt x="827913" y="431006"/>
                  </a:lnTo>
                  <a:lnTo>
                    <a:pt x="825913" y="428054"/>
                  </a:lnTo>
                  <a:lnTo>
                    <a:pt x="822579" y="426911"/>
                  </a:lnTo>
                  <a:lnTo>
                    <a:pt x="822389" y="425291"/>
                  </a:lnTo>
                  <a:lnTo>
                    <a:pt x="827151" y="424720"/>
                  </a:lnTo>
                  <a:lnTo>
                    <a:pt x="829056" y="427673"/>
                  </a:lnTo>
                  <a:lnTo>
                    <a:pt x="832485" y="428815"/>
                  </a:lnTo>
                  <a:lnTo>
                    <a:pt x="835438" y="426815"/>
                  </a:lnTo>
                  <a:lnTo>
                    <a:pt x="835247" y="425291"/>
                  </a:lnTo>
                  <a:lnTo>
                    <a:pt x="831818" y="424053"/>
                  </a:lnTo>
                  <a:lnTo>
                    <a:pt x="833057" y="420719"/>
                  </a:lnTo>
                  <a:lnTo>
                    <a:pt x="833057" y="42071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9" name="Volný tvar: obrazec 38">
              <a:extLst>
                <a:ext uri="{FF2B5EF4-FFF2-40B4-BE49-F238E27FC236}">
                  <a16:creationId xmlns:a16="http://schemas.microsoft.com/office/drawing/2014/main" id="{C794D5CC-4D6D-5A7F-1BE0-FF055D23544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05698" y="3006661"/>
              <a:ext cx="335184" cy="266604"/>
            </a:xfrm>
            <a:custGeom>
              <a:avLst/>
              <a:gdLst>
                <a:gd name="connsiteX0" fmla="*/ 306896 w 335184"/>
                <a:gd name="connsiteY0" fmla="*/ 184880 h 266604"/>
                <a:gd name="connsiteX1" fmla="*/ 307372 w 335184"/>
                <a:gd name="connsiteY1" fmla="*/ 188023 h 266604"/>
                <a:gd name="connsiteX2" fmla="*/ 302609 w 335184"/>
                <a:gd name="connsiteY2" fmla="*/ 188595 h 266604"/>
                <a:gd name="connsiteX3" fmla="*/ 303371 w 335184"/>
                <a:gd name="connsiteY3" fmla="*/ 194881 h 266604"/>
                <a:gd name="connsiteX4" fmla="*/ 300609 w 335184"/>
                <a:gd name="connsiteY4" fmla="*/ 198501 h 266604"/>
                <a:gd name="connsiteX5" fmla="*/ 295084 w 335184"/>
                <a:gd name="connsiteY5" fmla="*/ 192786 h 266604"/>
                <a:gd name="connsiteX6" fmla="*/ 293751 w 335184"/>
                <a:gd name="connsiteY6" fmla="*/ 194500 h 266604"/>
                <a:gd name="connsiteX7" fmla="*/ 292703 w 335184"/>
                <a:gd name="connsiteY7" fmla="*/ 199453 h 266604"/>
                <a:gd name="connsiteX8" fmla="*/ 290798 w 335184"/>
                <a:gd name="connsiteY8" fmla="*/ 196501 h 266604"/>
                <a:gd name="connsiteX9" fmla="*/ 289179 w 335184"/>
                <a:gd name="connsiteY9" fmla="*/ 196691 h 266604"/>
                <a:gd name="connsiteX10" fmla="*/ 293370 w 335184"/>
                <a:gd name="connsiteY10" fmla="*/ 204216 h 266604"/>
                <a:gd name="connsiteX11" fmla="*/ 289179 w 335184"/>
                <a:gd name="connsiteY11" fmla="*/ 209550 h 266604"/>
                <a:gd name="connsiteX12" fmla="*/ 284131 w 335184"/>
                <a:gd name="connsiteY12" fmla="*/ 206978 h 266604"/>
                <a:gd name="connsiteX13" fmla="*/ 279368 w 335184"/>
                <a:gd name="connsiteY13" fmla="*/ 207550 h 266604"/>
                <a:gd name="connsiteX14" fmla="*/ 274225 w 335184"/>
                <a:gd name="connsiteY14" fmla="*/ 205073 h 266604"/>
                <a:gd name="connsiteX15" fmla="*/ 274415 w 335184"/>
                <a:gd name="connsiteY15" fmla="*/ 206597 h 266604"/>
                <a:gd name="connsiteX16" fmla="*/ 272605 w 335184"/>
                <a:gd name="connsiteY16" fmla="*/ 205264 h 266604"/>
                <a:gd name="connsiteX17" fmla="*/ 271272 w 335184"/>
                <a:gd name="connsiteY17" fmla="*/ 206978 h 266604"/>
                <a:gd name="connsiteX18" fmla="*/ 269081 w 335184"/>
                <a:gd name="connsiteY18" fmla="*/ 202501 h 266604"/>
                <a:gd name="connsiteX19" fmla="*/ 269462 w 335184"/>
                <a:gd name="connsiteY19" fmla="*/ 205645 h 266604"/>
                <a:gd name="connsiteX20" fmla="*/ 265938 w 335184"/>
                <a:gd name="connsiteY20" fmla="*/ 202882 h 266604"/>
                <a:gd name="connsiteX21" fmla="*/ 265557 w 335184"/>
                <a:gd name="connsiteY21" fmla="*/ 199739 h 266604"/>
                <a:gd name="connsiteX22" fmla="*/ 264128 w 335184"/>
                <a:gd name="connsiteY22" fmla="*/ 201549 h 266604"/>
                <a:gd name="connsiteX23" fmla="*/ 261366 w 335184"/>
                <a:gd name="connsiteY23" fmla="*/ 192214 h 266604"/>
                <a:gd name="connsiteX24" fmla="*/ 256794 w 335184"/>
                <a:gd name="connsiteY24" fmla="*/ 194405 h 266604"/>
                <a:gd name="connsiteX25" fmla="*/ 256604 w 335184"/>
                <a:gd name="connsiteY25" fmla="*/ 192881 h 266604"/>
                <a:gd name="connsiteX26" fmla="*/ 254889 w 335184"/>
                <a:gd name="connsiteY26" fmla="*/ 191452 h 266604"/>
                <a:gd name="connsiteX27" fmla="*/ 251936 w 335184"/>
                <a:gd name="connsiteY27" fmla="*/ 193453 h 266604"/>
                <a:gd name="connsiteX28" fmla="*/ 251460 w 335184"/>
                <a:gd name="connsiteY28" fmla="*/ 190309 h 266604"/>
                <a:gd name="connsiteX29" fmla="*/ 251270 w 335184"/>
                <a:gd name="connsiteY29" fmla="*/ 188690 h 266604"/>
                <a:gd name="connsiteX30" fmla="*/ 248317 w 335184"/>
                <a:gd name="connsiteY30" fmla="*/ 190690 h 266604"/>
                <a:gd name="connsiteX31" fmla="*/ 249079 w 335184"/>
                <a:gd name="connsiteY31" fmla="*/ 184213 h 266604"/>
                <a:gd name="connsiteX32" fmla="*/ 244602 w 335184"/>
                <a:gd name="connsiteY32" fmla="*/ 186404 h 266604"/>
                <a:gd name="connsiteX33" fmla="*/ 243364 w 335184"/>
                <a:gd name="connsiteY33" fmla="*/ 189738 h 266604"/>
                <a:gd name="connsiteX34" fmla="*/ 243364 w 335184"/>
                <a:gd name="connsiteY34" fmla="*/ 189738 h 266604"/>
                <a:gd name="connsiteX35" fmla="*/ 240411 w 335184"/>
                <a:gd name="connsiteY35" fmla="*/ 191738 h 266604"/>
                <a:gd name="connsiteX36" fmla="*/ 237458 w 335184"/>
                <a:gd name="connsiteY36" fmla="*/ 193643 h 266604"/>
                <a:gd name="connsiteX37" fmla="*/ 238887 w 335184"/>
                <a:gd name="connsiteY37" fmla="*/ 191929 h 266604"/>
                <a:gd name="connsiteX38" fmla="*/ 235744 w 335184"/>
                <a:gd name="connsiteY38" fmla="*/ 192310 h 266604"/>
                <a:gd name="connsiteX39" fmla="*/ 235267 w 335184"/>
                <a:gd name="connsiteY39" fmla="*/ 189166 h 266604"/>
                <a:gd name="connsiteX40" fmla="*/ 233744 w 335184"/>
                <a:gd name="connsiteY40" fmla="*/ 189357 h 266604"/>
                <a:gd name="connsiteX41" fmla="*/ 228791 w 335184"/>
                <a:gd name="connsiteY41" fmla="*/ 188404 h 266604"/>
                <a:gd name="connsiteX42" fmla="*/ 228981 w 335184"/>
                <a:gd name="connsiteY42" fmla="*/ 189928 h 266604"/>
                <a:gd name="connsiteX43" fmla="*/ 226219 w 335184"/>
                <a:gd name="connsiteY43" fmla="*/ 193548 h 266604"/>
                <a:gd name="connsiteX44" fmla="*/ 221551 w 335184"/>
                <a:gd name="connsiteY44" fmla="*/ 194119 h 266604"/>
                <a:gd name="connsiteX45" fmla="*/ 214408 w 335184"/>
                <a:gd name="connsiteY45" fmla="*/ 188595 h 266604"/>
                <a:gd name="connsiteX46" fmla="*/ 211455 w 335184"/>
                <a:gd name="connsiteY46" fmla="*/ 190595 h 266604"/>
                <a:gd name="connsiteX47" fmla="*/ 205359 w 335184"/>
                <a:gd name="connsiteY47" fmla="*/ 192976 h 266604"/>
                <a:gd name="connsiteX48" fmla="*/ 211265 w 335184"/>
                <a:gd name="connsiteY48" fmla="*/ 201835 h 266604"/>
                <a:gd name="connsiteX49" fmla="*/ 203740 w 335184"/>
                <a:gd name="connsiteY49" fmla="*/ 206026 h 266604"/>
                <a:gd name="connsiteX50" fmla="*/ 204216 w 335184"/>
                <a:gd name="connsiteY50" fmla="*/ 209169 h 266604"/>
                <a:gd name="connsiteX51" fmla="*/ 202406 w 335184"/>
                <a:gd name="connsiteY51" fmla="*/ 207740 h 266604"/>
                <a:gd name="connsiteX52" fmla="*/ 200978 w 335184"/>
                <a:gd name="connsiteY52" fmla="*/ 209550 h 266604"/>
                <a:gd name="connsiteX53" fmla="*/ 199644 w 335184"/>
                <a:gd name="connsiteY53" fmla="*/ 211360 h 266604"/>
                <a:gd name="connsiteX54" fmla="*/ 196501 w 335184"/>
                <a:gd name="connsiteY54" fmla="*/ 211741 h 266604"/>
                <a:gd name="connsiteX55" fmla="*/ 195644 w 335184"/>
                <a:gd name="connsiteY55" fmla="*/ 205454 h 266604"/>
                <a:gd name="connsiteX56" fmla="*/ 180308 w 335184"/>
                <a:gd name="connsiteY56" fmla="*/ 210598 h 266604"/>
                <a:gd name="connsiteX57" fmla="*/ 181070 w 335184"/>
                <a:gd name="connsiteY57" fmla="*/ 216884 h 266604"/>
                <a:gd name="connsiteX58" fmla="*/ 182690 w 335184"/>
                <a:gd name="connsiteY58" fmla="*/ 216694 h 266604"/>
                <a:gd name="connsiteX59" fmla="*/ 182880 w 335184"/>
                <a:gd name="connsiteY59" fmla="*/ 218313 h 266604"/>
                <a:gd name="connsiteX60" fmla="*/ 171831 w 335184"/>
                <a:gd name="connsiteY60" fmla="*/ 219646 h 266604"/>
                <a:gd name="connsiteX61" fmla="*/ 172403 w 335184"/>
                <a:gd name="connsiteY61" fmla="*/ 224409 h 266604"/>
                <a:gd name="connsiteX62" fmla="*/ 167354 w 335184"/>
                <a:gd name="connsiteY62" fmla="*/ 221837 h 266604"/>
                <a:gd name="connsiteX63" fmla="*/ 166973 w 335184"/>
                <a:gd name="connsiteY63" fmla="*/ 231553 h 266604"/>
                <a:gd name="connsiteX64" fmla="*/ 164211 w 335184"/>
                <a:gd name="connsiteY64" fmla="*/ 235077 h 266604"/>
                <a:gd name="connsiteX65" fmla="*/ 159258 w 335184"/>
                <a:gd name="connsiteY65" fmla="*/ 234125 h 266604"/>
                <a:gd name="connsiteX66" fmla="*/ 155924 w 335184"/>
                <a:gd name="connsiteY66" fmla="*/ 232981 h 266604"/>
                <a:gd name="connsiteX67" fmla="*/ 152495 w 335184"/>
                <a:gd name="connsiteY67" fmla="*/ 231743 h 266604"/>
                <a:gd name="connsiteX68" fmla="*/ 148400 w 335184"/>
                <a:gd name="connsiteY68" fmla="*/ 237077 h 266604"/>
                <a:gd name="connsiteX69" fmla="*/ 137732 w 335184"/>
                <a:gd name="connsiteY69" fmla="*/ 241649 h 266604"/>
                <a:gd name="connsiteX70" fmla="*/ 133064 w 335184"/>
                <a:gd name="connsiteY70" fmla="*/ 242316 h 266604"/>
                <a:gd name="connsiteX71" fmla="*/ 122111 w 335184"/>
                <a:gd name="connsiteY71" fmla="*/ 232410 h 266604"/>
                <a:gd name="connsiteX72" fmla="*/ 120777 w 335184"/>
                <a:gd name="connsiteY72" fmla="*/ 234220 h 266604"/>
                <a:gd name="connsiteX73" fmla="*/ 116872 w 335184"/>
                <a:gd name="connsiteY73" fmla="*/ 253937 h 266604"/>
                <a:gd name="connsiteX74" fmla="*/ 117634 w 335184"/>
                <a:gd name="connsiteY74" fmla="*/ 260223 h 266604"/>
                <a:gd name="connsiteX75" fmla="*/ 118110 w 335184"/>
                <a:gd name="connsiteY75" fmla="*/ 263462 h 266604"/>
                <a:gd name="connsiteX76" fmla="*/ 118491 w 335184"/>
                <a:gd name="connsiteY76" fmla="*/ 266605 h 266604"/>
                <a:gd name="connsiteX77" fmla="*/ 115157 w 335184"/>
                <a:gd name="connsiteY77" fmla="*/ 265367 h 266604"/>
                <a:gd name="connsiteX78" fmla="*/ 112776 w 335184"/>
                <a:gd name="connsiteY78" fmla="*/ 259271 h 266604"/>
                <a:gd name="connsiteX79" fmla="*/ 107823 w 335184"/>
                <a:gd name="connsiteY79" fmla="*/ 258318 h 266604"/>
                <a:gd name="connsiteX80" fmla="*/ 101917 w 335184"/>
                <a:gd name="connsiteY80" fmla="*/ 262318 h 266604"/>
                <a:gd name="connsiteX81" fmla="*/ 101727 w 335184"/>
                <a:gd name="connsiteY81" fmla="*/ 260699 h 266604"/>
                <a:gd name="connsiteX82" fmla="*/ 101251 w 335184"/>
                <a:gd name="connsiteY82" fmla="*/ 257556 h 266604"/>
                <a:gd name="connsiteX83" fmla="*/ 97917 w 335184"/>
                <a:gd name="connsiteY83" fmla="*/ 256413 h 266604"/>
                <a:gd name="connsiteX84" fmla="*/ 92012 w 335184"/>
                <a:gd name="connsiteY84" fmla="*/ 260318 h 266604"/>
                <a:gd name="connsiteX85" fmla="*/ 91821 w 335184"/>
                <a:gd name="connsiteY85" fmla="*/ 258794 h 266604"/>
                <a:gd name="connsiteX86" fmla="*/ 77438 w 335184"/>
                <a:gd name="connsiteY86" fmla="*/ 258985 h 266604"/>
                <a:gd name="connsiteX87" fmla="*/ 75247 w 335184"/>
                <a:gd name="connsiteY87" fmla="*/ 254413 h 266604"/>
                <a:gd name="connsiteX88" fmla="*/ 69913 w 335184"/>
                <a:gd name="connsiteY88" fmla="*/ 250317 h 266604"/>
                <a:gd name="connsiteX89" fmla="*/ 67913 w 335184"/>
                <a:gd name="connsiteY89" fmla="*/ 247364 h 266604"/>
                <a:gd name="connsiteX90" fmla="*/ 71628 w 335184"/>
                <a:gd name="connsiteY90" fmla="*/ 238887 h 266604"/>
                <a:gd name="connsiteX91" fmla="*/ 74581 w 335184"/>
                <a:gd name="connsiteY91" fmla="*/ 236887 h 266604"/>
                <a:gd name="connsiteX92" fmla="*/ 79724 w 335184"/>
                <a:gd name="connsiteY92" fmla="*/ 239459 h 266604"/>
                <a:gd name="connsiteX93" fmla="*/ 83629 w 335184"/>
                <a:gd name="connsiteY93" fmla="*/ 232505 h 266604"/>
                <a:gd name="connsiteX94" fmla="*/ 83439 w 335184"/>
                <a:gd name="connsiteY94" fmla="*/ 230981 h 266604"/>
                <a:gd name="connsiteX95" fmla="*/ 81725 w 335184"/>
                <a:gd name="connsiteY95" fmla="*/ 229552 h 266604"/>
                <a:gd name="connsiteX96" fmla="*/ 72390 w 335184"/>
                <a:gd name="connsiteY96" fmla="*/ 232315 h 266604"/>
                <a:gd name="connsiteX97" fmla="*/ 70866 w 335184"/>
                <a:gd name="connsiteY97" fmla="*/ 232600 h 266604"/>
                <a:gd name="connsiteX98" fmla="*/ 70675 w 335184"/>
                <a:gd name="connsiteY98" fmla="*/ 230981 h 266604"/>
                <a:gd name="connsiteX99" fmla="*/ 79153 w 335184"/>
                <a:gd name="connsiteY99" fmla="*/ 221837 h 266604"/>
                <a:gd name="connsiteX100" fmla="*/ 78486 w 335184"/>
                <a:gd name="connsiteY100" fmla="*/ 217170 h 266604"/>
                <a:gd name="connsiteX101" fmla="*/ 74962 w 335184"/>
                <a:gd name="connsiteY101" fmla="*/ 214408 h 266604"/>
                <a:gd name="connsiteX102" fmla="*/ 81058 w 335184"/>
                <a:gd name="connsiteY102" fmla="*/ 212026 h 266604"/>
                <a:gd name="connsiteX103" fmla="*/ 75724 w 335184"/>
                <a:gd name="connsiteY103" fmla="*/ 207836 h 266604"/>
                <a:gd name="connsiteX104" fmla="*/ 74104 w 335184"/>
                <a:gd name="connsiteY104" fmla="*/ 208121 h 266604"/>
                <a:gd name="connsiteX105" fmla="*/ 63532 w 335184"/>
                <a:gd name="connsiteY105" fmla="*/ 212693 h 266604"/>
                <a:gd name="connsiteX106" fmla="*/ 61150 w 335184"/>
                <a:gd name="connsiteY106" fmla="*/ 206502 h 266604"/>
                <a:gd name="connsiteX107" fmla="*/ 57912 w 335184"/>
                <a:gd name="connsiteY107" fmla="*/ 206978 h 266604"/>
                <a:gd name="connsiteX108" fmla="*/ 56007 w 335184"/>
                <a:gd name="connsiteY108" fmla="*/ 204025 h 266604"/>
                <a:gd name="connsiteX109" fmla="*/ 52578 w 335184"/>
                <a:gd name="connsiteY109" fmla="*/ 202787 h 266604"/>
                <a:gd name="connsiteX110" fmla="*/ 52388 w 335184"/>
                <a:gd name="connsiteY110" fmla="*/ 201263 h 266604"/>
                <a:gd name="connsiteX111" fmla="*/ 48673 w 335184"/>
                <a:gd name="connsiteY111" fmla="*/ 196882 h 266604"/>
                <a:gd name="connsiteX112" fmla="*/ 51625 w 335184"/>
                <a:gd name="connsiteY112" fmla="*/ 194881 h 266604"/>
                <a:gd name="connsiteX113" fmla="*/ 52007 w 335184"/>
                <a:gd name="connsiteY113" fmla="*/ 185261 h 266604"/>
                <a:gd name="connsiteX114" fmla="*/ 59055 w 335184"/>
                <a:gd name="connsiteY114" fmla="*/ 190786 h 266604"/>
                <a:gd name="connsiteX115" fmla="*/ 63437 w 335184"/>
                <a:gd name="connsiteY115" fmla="*/ 174212 h 266604"/>
                <a:gd name="connsiteX116" fmla="*/ 63246 w 335184"/>
                <a:gd name="connsiteY116" fmla="*/ 172593 h 266604"/>
                <a:gd name="connsiteX117" fmla="*/ 50387 w 335184"/>
                <a:gd name="connsiteY117" fmla="*/ 172593 h 266604"/>
                <a:gd name="connsiteX118" fmla="*/ 43244 w 335184"/>
                <a:gd name="connsiteY118" fmla="*/ 167068 h 266604"/>
                <a:gd name="connsiteX119" fmla="*/ 39719 w 335184"/>
                <a:gd name="connsiteY119" fmla="*/ 164401 h 266604"/>
                <a:gd name="connsiteX120" fmla="*/ 30194 w 335184"/>
                <a:gd name="connsiteY120" fmla="*/ 152781 h 266604"/>
                <a:gd name="connsiteX121" fmla="*/ 30004 w 335184"/>
                <a:gd name="connsiteY121" fmla="*/ 151162 h 266604"/>
                <a:gd name="connsiteX122" fmla="*/ 30766 w 335184"/>
                <a:gd name="connsiteY122" fmla="*/ 144685 h 266604"/>
                <a:gd name="connsiteX123" fmla="*/ 29242 w 335184"/>
                <a:gd name="connsiteY123" fmla="*/ 144875 h 266604"/>
                <a:gd name="connsiteX124" fmla="*/ 31909 w 335184"/>
                <a:gd name="connsiteY124" fmla="*/ 141256 h 266604"/>
                <a:gd name="connsiteX125" fmla="*/ 31528 w 335184"/>
                <a:gd name="connsiteY125" fmla="*/ 138113 h 266604"/>
                <a:gd name="connsiteX126" fmla="*/ 26765 w 335184"/>
                <a:gd name="connsiteY126" fmla="*/ 138779 h 266604"/>
                <a:gd name="connsiteX127" fmla="*/ 26384 w 335184"/>
                <a:gd name="connsiteY127" fmla="*/ 135541 h 266604"/>
                <a:gd name="connsiteX128" fmla="*/ 23241 w 335184"/>
                <a:gd name="connsiteY128" fmla="*/ 136017 h 266604"/>
                <a:gd name="connsiteX129" fmla="*/ 21241 w 335184"/>
                <a:gd name="connsiteY129" fmla="*/ 133064 h 266604"/>
                <a:gd name="connsiteX130" fmla="*/ 16383 w 335184"/>
                <a:gd name="connsiteY130" fmla="*/ 132016 h 266604"/>
                <a:gd name="connsiteX131" fmla="*/ 15716 w 335184"/>
                <a:gd name="connsiteY131" fmla="*/ 127349 h 266604"/>
                <a:gd name="connsiteX132" fmla="*/ 18859 w 335184"/>
                <a:gd name="connsiteY132" fmla="*/ 126873 h 266604"/>
                <a:gd name="connsiteX133" fmla="*/ 23432 w 335184"/>
                <a:gd name="connsiteY133" fmla="*/ 124777 h 266604"/>
                <a:gd name="connsiteX134" fmla="*/ 22384 w 335184"/>
                <a:gd name="connsiteY134" fmla="*/ 116872 h 266604"/>
                <a:gd name="connsiteX135" fmla="*/ 33433 w 335184"/>
                <a:gd name="connsiteY135" fmla="*/ 115443 h 266604"/>
                <a:gd name="connsiteX136" fmla="*/ 37052 w 335184"/>
                <a:gd name="connsiteY136" fmla="*/ 118205 h 266604"/>
                <a:gd name="connsiteX137" fmla="*/ 38195 w 335184"/>
                <a:gd name="connsiteY137" fmla="*/ 114871 h 266604"/>
                <a:gd name="connsiteX138" fmla="*/ 44672 w 335184"/>
                <a:gd name="connsiteY138" fmla="*/ 115633 h 266604"/>
                <a:gd name="connsiteX139" fmla="*/ 44482 w 335184"/>
                <a:gd name="connsiteY139" fmla="*/ 114014 h 266604"/>
                <a:gd name="connsiteX140" fmla="*/ 44291 w 335184"/>
                <a:gd name="connsiteY140" fmla="*/ 112490 h 266604"/>
                <a:gd name="connsiteX141" fmla="*/ 44101 w 335184"/>
                <a:gd name="connsiteY141" fmla="*/ 110871 h 266604"/>
                <a:gd name="connsiteX142" fmla="*/ 40767 w 335184"/>
                <a:gd name="connsiteY142" fmla="*/ 109728 h 266604"/>
                <a:gd name="connsiteX143" fmla="*/ 41910 w 335184"/>
                <a:gd name="connsiteY143" fmla="*/ 106299 h 266604"/>
                <a:gd name="connsiteX144" fmla="*/ 34004 w 335184"/>
                <a:gd name="connsiteY144" fmla="*/ 107347 h 266604"/>
                <a:gd name="connsiteX145" fmla="*/ 33052 w 335184"/>
                <a:gd name="connsiteY145" fmla="*/ 99441 h 266604"/>
                <a:gd name="connsiteX146" fmla="*/ 30099 w 335184"/>
                <a:gd name="connsiteY146" fmla="*/ 101441 h 266604"/>
                <a:gd name="connsiteX147" fmla="*/ 24955 w 335184"/>
                <a:gd name="connsiteY147" fmla="*/ 98869 h 266604"/>
                <a:gd name="connsiteX148" fmla="*/ 23717 w 335184"/>
                <a:gd name="connsiteY148" fmla="*/ 89440 h 266604"/>
                <a:gd name="connsiteX149" fmla="*/ 20193 w 335184"/>
                <a:gd name="connsiteY149" fmla="*/ 86677 h 266604"/>
                <a:gd name="connsiteX150" fmla="*/ 23146 w 335184"/>
                <a:gd name="connsiteY150" fmla="*/ 84677 h 266604"/>
                <a:gd name="connsiteX151" fmla="*/ 19145 w 335184"/>
                <a:gd name="connsiteY151" fmla="*/ 78772 h 266604"/>
                <a:gd name="connsiteX152" fmla="*/ 13049 w 335184"/>
                <a:gd name="connsiteY152" fmla="*/ 81153 h 266604"/>
                <a:gd name="connsiteX153" fmla="*/ 8572 w 335184"/>
                <a:gd name="connsiteY153" fmla="*/ 83344 h 266604"/>
                <a:gd name="connsiteX154" fmla="*/ 4953 w 335184"/>
                <a:gd name="connsiteY154" fmla="*/ 80581 h 266604"/>
                <a:gd name="connsiteX155" fmla="*/ 667 w 335184"/>
                <a:gd name="connsiteY155" fmla="*/ 84296 h 266604"/>
                <a:gd name="connsiteX156" fmla="*/ 191 w 335184"/>
                <a:gd name="connsiteY156" fmla="*/ 81153 h 266604"/>
                <a:gd name="connsiteX157" fmla="*/ 0 w 335184"/>
                <a:gd name="connsiteY157" fmla="*/ 79629 h 266604"/>
                <a:gd name="connsiteX158" fmla="*/ 9334 w 335184"/>
                <a:gd name="connsiteY158" fmla="*/ 76771 h 266604"/>
                <a:gd name="connsiteX159" fmla="*/ 8668 w 335184"/>
                <a:gd name="connsiteY159" fmla="*/ 72104 h 266604"/>
                <a:gd name="connsiteX160" fmla="*/ 10096 w 335184"/>
                <a:gd name="connsiteY160" fmla="*/ 70294 h 266604"/>
                <a:gd name="connsiteX161" fmla="*/ 11811 w 335184"/>
                <a:gd name="connsiteY161" fmla="*/ 71723 h 266604"/>
                <a:gd name="connsiteX162" fmla="*/ 13621 w 335184"/>
                <a:gd name="connsiteY162" fmla="*/ 73057 h 266604"/>
                <a:gd name="connsiteX163" fmla="*/ 21336 w 335184"/>
                <a:gd name="connsiteY163" fmla="*/ 70485 h 266604"/>
                <a:gd name="connsiteX164" fmla="*/ 21146 w 335184"/>
                <a:gd name="connsiteY164" fmla="*/ 68866 h 266604"/>
                <a:gd name="connsiteX165" fmla="*/ 22479 w 335184"/>
                <a:gd name="connsiteY165" fmla="*/ 67151 h 266604"/>
                <a:gd name="connsiteX166" fmla="*/ 22670 w 335184"/>
                <a:gd name="connsiteY166" fmla="*/ 68675 h 266604"/>
                <a:gd name="connsiteX167" fmla="*/ 31813 w 335184"/>
                <a:gd name="connsiteY167" fmla="*/ 64294 h 266604"/>
                <a:gd name="connsiteX168" fmla="*/ 37909 w 335184"/>
                <a:gd name="connsiteY168" fmla="*/ 61913 h 266604"/>
                <a:gd name="connsiteX169" fmla="*/ 41815 w 335184"/>
                <a:gd name="connsiteY169" fmla="*/ 67818 h 266604"/>
                <a:gd name="connsiteX170" fmla="*/ 43244 w 335184"/>
                <a:gd name="connsiteY170" fmla="*/ 66103 h 266604"/>
                <a:gd name="connsiteX171" fmla="*/ 50483 w 335184"/>
                <a:gd name="connsiteY171" fmla="*/ 60388 h 266604"/>
                <a:gd name="connsiteX172" fmla="*/ 48292 w 335184"/>
                <a:gd name="connsiteY172" fmla="*/ 55816 h 266604"/>
                <a:gd name="connsiteX173" fmla="*/ 52864 w 335184"/>
                <a:gd name="connsiteY173" fmla="*/ 53626 h 266604"/>
                <a:gd name="connsiteX174" fmla="*/ 52483 w 335184"/>
                <a:gd name="connsiteY174" fmla="*/ 50482 h 266604"/>
                <a:gd name="connsiteX175" fmla="*/ 57436 w 335184"/>
                <a:gd name="connsiteY175" fmla="*/ 51435 h 266604"/>
                <a:gd name="connsiteX176" fmla="*/ 59150 w 335184"/>
                <a:gd name="connsiteY176" fmla="*/ 52864 h 266604"/>
                <a:gd name="connsiteX177" fmla="*/ 62294 w 335184"/>
                <a:gd name="connsiteY177" fmla="*/ 52388 h 266604"/>
                <a:gd name="connsiteX178" fmla="*/ 62960 w 335184"/>
                <a:gd name="connsiteY178" fmla="*/ 57150 h 266604"/>
                <a:gd name="connsiteX179" fmla="*/ 65342 w 335184"/>
                <a:gd name="connsiteY179" fmla="*/ 63246 h 266604"/>
                <a:gd name="connsiteX180" fmla="*/ 65913 w 335184"/>
                <a:gd name="connsiteY180" fmla="*/ 68008 h 266604"/>
                <a:gd name="connsiteX181" fmla="*/ 72009 w 335184"/>
                <a:gd name="connsiteY181" fmla="*/ 65627 h 266604"/>
                <a:gd name="connsiteX182" fmla="*/ 90011 w 335184"/>
                <a:gd name="connsiteY182" fmla="*/ 68104 h 266604"/>
                <a:gd name="connsiteX183" fmla="*/ 94679 w 335184"/>
                <a:gd name="connsiteY183" fmla="*/ 67532 h 266604"/>
                <a:gd name="connsiteX184" fmla="*/ 90392 w 335184"/>
                <a:gd name="connsiteY184" fmla="*/ 58483 h 266604"/>
                <a:gd name="connsiteX185" fmla="*/ 92678 w 335184"/>
                <a:gd name="connsiteY185" fmla="*/ 51721 h 266604"/>
                <a:gd name="connsiteX186" fmla="*/ 91154 w 335184"/>
                <a:gd name="connsiteY186" fmla="*/ 51911 h 266604"/>
                <a:gd name="connsiteX187" fmla="*/ 90964 w 335184"/>
                <a:gd name="connsiteY187" fmla="*/ 50387 h 266604"/>
                <a:gd name="connsiteX188" fmla="*/ 90107 w 335184"/>
                <a:gd name="connsiteY188" fmla="*/ 44101 h 266604"/>
                <a:gd name="connsiteX189" fmla="*/ 91535 w 335184"/>
                <a:gd name="connsiteY189" fmla="*/ 42291 h 266604"/>
                <a:gd name="connsiteX190" fmla="*/ 91059 w 335184"/>
                <a:gd name="connsiteY190" fmla="*/ 39148 h 266604"/>
                <a:gd name="connsiteX191" fmla="*/ 96393 w 335184"/>
                <a:gd name="connsiteY191" fmla="*/ 30480 h 266604"/>
                <a:gd name="connsiteX192" fmla="*/ 102965 w 335184"/>
                <a:gd name="connsiteY192" fmla="*/ 31242 h 266604"/>
                <a:gd name="connsiteX193" fmla="*/ 108013 w 335184"/>
                <a:gd name="connsiteY193" fmla="*/ 33814 h 266604"/>
                <a:gd name="connsiteX194" fmla="*/ 111252 w 335184"/>
                <a:gd name="connsiteY194" fmla="*/ 33338 h 266604"/>
                <a:gd name="connsiteX195" fmla="*/ 116776 w 335184"/>
                <a:gd name="connsiteY195" fmla="*/ 39052 h 266604"/>
                <a:gd name="connsiteX196" fmla="*/ 121253 w 335184"/>
                <a:gd name="connsiteY196" fmla="*/ 36862 h 266604"/>
                <a:gd name="connsiteX197" fmla="*/ 122301 w 335184"/>
                <a:gd name="connsiteY197" fmla="*/ 32004 h 266604"/>
                <a:gd name="connsiteX198" fmla="*/ 125635 w 335184"/>
                <a:gd name="connsiteY198" fmla="*/ 33147 h 266604"/>
                <a:gd name="connsiteX199" fmla="*/ 136493 w 335184"/>
                <a:gd name="connsiteY199" fmla="*/ 30194 h 266604"/>
                <a:gd name="connsiteX200" fmla="*/ 136493 w 335184"/>
                <a:gd name="connsiteY200" fmla="*/ 30194 h 266604"/>
                <a:gd name="connsiteX201" fmla="*/ 135826 w 335184"/>
                <a:gd name="connsiteY201" fmla="*/ 25432 h 266604"/>
                <a:gd name="connsiteX202" fmla="*/ 140779 w 335184"/>
                <a:gd name="connsiteY202" fmla="*/ 26384 h 266604"/>
                <a:gd name="connsiteX203" fmla="*/ 140017 w 335184"/>
                <a:gd name="connsiteY203" fmla="*/ 20098 h 266604"/>
                <a:gd name="connsiteX204" fmla="*/ 149828 w 335184"/>
                <a:gd name="connsiteY204" fmla="*/ 22003 h 266604"/>
                <a:gd name="connsiteX205" fmla="*/ 162496 w 335184"/>
                <a:gd name="connsiteY205" fmla="*/ 20383 h 266604"/>
                <a:gd name="connsiteX206" fmla="*/ 167259 w 335184"/>
                <a:gd name="connsiteY206" fmla="*/ 19812 h 266604"/>
                <a:gd name="connsiteX207" fmla="*/ 166402 w 335184"/>
                <a:gd name="connsiteY207" fmla="*/ 13525 h 266604"/>
                <a:gd name="connsiteX208" fmla="*/ 168021 w 335184"/>
                <a:gd name="connsiteY208" fmla="*/ 13335 h 266604"/>
                <a:gd name="connsiteX209" fmla="*/ 167354 w 335184"/>
                <a:gd name="connsiteY209" fmla="*/ 8572 h 266604"/>
                <a:gd name="connsiteX210" fmla="*/ 176879 w 335184"/>
                <a:gd name="connsiteY210" fmla="*/ 7334 h 266604"/>
                <a:gd name="connsiteX211" fmla="*/ 176498 w 335184"/>
                <a:gd name="connsiteY211" fmla="*/ 4191 h 266604"/>
                <a:gd name="connsiteX212" fmla="*/ 189452 w 335184"/>
                <a:gd name="connsiteY212" fmla="*/ 5715 h 266604"/>
                <a:gd name="connsiteX213" fmla="*/ 196025 w 335184"/>
                <a:gd name="connsiteY213" fmla="*/ 6572 h 266604"/>
                <a:gd name="connsiteX214" fmla="*/ 197167 w 335184"/>
                <a:gd name="connsiteY214" fmla="*/ 3143 h 266604"/>
                <a:gd name="connsiteX215" fmla="*/ 203645 w 335184"/>
                <a:gd name="connsiteY215" fmla="*/ 3905 h 266604"/>
                <a:gd name="connsiteX216" fmla="*/ 209645 w 335184"/>
                <a:gd name="connsiteY216" fmla="*/ 0 h 266604"/>
                <a:gd name="connsiteX217" fmla="*/ 214503 w 335184"/>
                <a:gd name="connsiteY217" fmla="*/ 952 h 266604"/>
                <a:gd name="connsiteX218" fmla="*/ 214408 w 335184"/>
                <a:gd name="connsiteY218" fmla="*/ 12192 h 266604"/>
                <a:gd name="connsiteX219" fmla="*/ 212788 w 335184"/>
                <a:gd name="connsiteY219" fmla="*/ 12382 h 266604"/>
                <a:gd name="connsiteX220" fmla="*/ 213550 w 335184"/>
                <a:gd name="connsiteY220" fmla="*/ 18764 h 266604"/>
                <a:gd name="connsiteX221" fmla="*/ 217932 w 335184"/>
                <a:gd name="connsiteY221" fmla="*/ 14954 h 266604"/>
                <a:gd name="connsiteX222" fmla="*/ 219932 w 335184"/>
                <a:gd name="connsiteY222" fmla="*/ 17907 h 266604"/>
                <a:gd name="connsiteX223" fmla="*/ 222885 w 335184"/>
                <a:gd name="connsiteY223" fmla="*/ 15907 h 266604"/>
                <a:gd name="connsiteX224" fmla="*/ 224028 w 335184"/>
                <a:gd name="connsiteY224" fmla="*/ 12573 h 266604"/>
                <a:gd name="connsiteX225" fmla="*/ 227838 w 335184"/>
                <a:gd name="connsiteY225" fmla="*/ 16954 h 266604"/>
                <a:gd name="connsiteX226" fmla="*/ 232696 w 335184"/>
                <a:gd name="connsiteY226" fmla="*/ 17907 h 266604"/>
                <a:gd name="connsiteX227" fmla="*/ 235077 w 335184"/>
                <a:gd name="connsiteY227" fmla="*/ 24003 h 266604"/>
                <a:gd name="connsiteX228" fmla="*/ 233744 w 335184"/>
                <a:gd name="connsiteY228" fmla="*/ 25813 h 266604"/>
                <a:gd name="connsiteX229" fmla="*/ 234505 w 335184"/>
                <a:gd name="connsiteY229" fmla="*/ 32099 h 266604"/>
                <a:gd name="connsiteX230" fmla="*/ 237458 w 335184"/>
                <a:gd name="connsiteY230" fmla="*/ 30099 h 266604"/>
                <a:gd name="connsiteX231" fmla="*/ 239268 w 335184"/>
                <a:gd name="connsiteY231" fmla="*/ 31432 h 266604"/>
                <a:gd name="connsiteX232" fmla="*/ 245745 w 335184"/>
                <a:gd name="connsiteY232" fmla="*/ 32290 h 266604"/>
                <a:gd name="connsiteX233" fmla="*/ 249936 w 335184"/>
                <a:gd name="connsiteY233" fmla="*/ 26956 h 266604"/>
                <a:gd name="connsiteX234" fmla="*/ 253079 w 335184"/>
                <a:gd name="connsiteY234" fmla="*/ 26479 h 266604"/>
                <a:gd name="connsiteX235" fmla="*/ 259556 w 335184"/>
                <a:gd name="connsiteY235" fmla="*/ 27241 h 266604"/>
                <a:gd name="connsiteX236" fmla="*/ 255651 w 335184"/>
                <a:gd name="connsiteY236" fmla="*/ 34195 h 266604"/>
                <a:gd name="connsiteX237" fmla="*/ 251079 w 335184"/>
                <a:gd name="connsiteY237" fmla="*/ 36385 h 266604"/>
                <a:gd name="connsiteX238" fmla="*/ 253270 w 335184"/>
                <a:gd name="connsiteY238" fmla="*/ 40957 h 266604"/>
                <a:gd name="connsiteX239" fmla="*/ 253460 w 335184"/>
                <a:gd name="connsiteY239" fmla="*/ 42481 h 266604"/>
                <a:gd name="connsiteX240" fmla="*/ 255937 w 335184"/>
                <a:gd name="connsiteY240" fmla="*/ 48577 h 266604"/>
                <a:gd name="connsiteX241" fmla="*/ 261461 w 335184"/>
                <a:gd name="connsiteY241" fmla="*/ 54292 h 266604"/>
                <a:gd name="connsiteX242" fmla="*/ 261461 w 335184"/>
                <a:gd name="connsiteY242" fmla="*/ 54292 h 266604"/>
                <a:gd name="connsiteX243" fmla="*/ 263366 w 335184"/>
                <a:gd name="connsiteY243" fmla="*/ 57245 h 266604"/>
                <a:gd name="connsiteX244" fmla="*/ 266795 w 335184"/>
                <a:gd name="connsiteY244" fmla="*/ 58483 h 266604"/>
                <a:gd name="connsiteX245" fmla="*/ 274415 w 335184"/>
                <a:gd name="connsiteY245" fmla="*/ 55912 h 266604"/>
                <a:gd name="connsiteX246" fmla="*/ 276225 w 335184"/>
                <a:gd name="connsiteY246" fmla="*/ 57245 h 266604"/>
                <a:gd name="connsiteX247" fmla="*/ 283940 w 335184"/>
                <a:gd name="connsiteY247" fmla="*/ 54673 h 266604"/>
                <a:gd name="connsiteX248" fmla="*/ 284702 w 335184"/>
                <a:gd name="connsiteY248" fmla="*/ 60960 h 266604"/>
                <a:gd name="connsiteX249" fmla="*/ 301085 w 335184"/>
                <a:gd name="connsiteY249" fmla="*/ 63722 h 266604"/>
                <a:gd name="connsiteX250" fmla="*/ 300133 w 335184"/>
                <a:gd name="connsiteY250" fmla="*/ 81439 h 266604"/>
                <a:gd name="connsiteX251" fmla="*/ 305467 w 335184"/>
                <a:gd name="connsiteY251" fmla="*/ 85630 h 266604"/>
                <a:gd name="connsiteX252" fmla="*/ 308420 w 335184"/>
                <a:gd name="connsiteY252" fmla="*/ 83629 h 266604"/>
                <a:gd name="connsiteX253" fmla="*/ 313563 w 335184"/>
                <a:gd name="connsiteY253" fmla="*/ 86201 h 266604"/>
                <a:gd name="connsiteX254" fmla="*/ 323659 w 335184"/>
                <a:gd name="connsiteY254" fmla="*/ 89725 h 266604"/>
                <a:gd name="connsiteX255" fmla="*/ 322326 w 335184"/>
                <a:gd name="connsiteY255" fmla="*/ 91440 h 266604"/>
                <a:gd name="connsiteX256" fmla="*/ 322707 w 335184"/>
                <a:gd name="connsiteY256" fmla="*/ 94583 h 266604"/>
                <a:gd name="connsiteX257" fmla="*/ 322707 w 335184"/>
                <a:gd name="connsiteY257" fmla="*/ 94583 h 266604"/>
                <a:gd name="connsiteX258" fmla="*/ 332804 w 335184"/>
                <a:gd name="connsiteY258" fmla="*/ 98203 h 266604"/>
                <a:gd name="connsiteX259" fmla="*/ 335185 w 335184"/>
                <a:gd name="connsiteY259" fmla="*/ 104299 h 266604"/>
                <a:gd name="connsiteX260" fmla="*/ 329279 w 335184"/>
                <a:gd name="connsiteY260" fmla="*/ 121063 h 266604"/>
                <a:gd name="connsiteX261" fmla="*/ 321374 w 335184"/>
                <a:gd name="connsiteY261" fmla="*/ 122015 h 266604"/>
                <a:gd name="connsiteX262" fmla="*/ 321564 w 335184"/>
                <a:gd name="connsiteY262" fmla="*/ 123634 h 266604"/>
                <a:gd name="connsiteX263" fmla="*/ 309563 w 335184"/>
                <a:gd name="connsiteY263" fmla="*/ 130016 h 266604"/>
                <a:gd name="connsiteX264" fmla="*/ 301657 w 335184"/>
                <a:gd name="connsiteY264" fmla="*/ 130969 h 266604"/>
                <a:gd name="connsiteX265" fmla="*/ 300323 w 335184"/>
                <a:gd name="connsiteY265" fmla="*/ 132778 h 266604"/>
                <a:gd name="connsiteX266" fmla="*/ 300323 w 335184"/>
                <a:gd name="connsiteY266" fmla="*/ 132778 h 266604"/>
                <a:gd name="connsiteX267" fmla="*/ 295561 w 335184"/>
                <a:gd name="connsiteY267" fmla="*/ 133350 h 266604"/>
                <a:gd name="connsiteX268" fmla="*/ 295751 w 335184"/>
                <a:gd name="connsiteY268" fmla="*/ 134969 h 266604"/>
                <a:gd name="connsiteX269" fmla="*/ 290798 w 335184"/>
                <a:gd name="connsiteY269" fmla="*/ 133921 h 266604"/>
                <a:gd name="connsiteX270" fmla="*/ 292799 w 335184"/>
                <a:gd name="connsiteY270" fmla="*/ 136874 h 266604"/>
                <a:gd name="connsiteX271" fmla="*/ 289846 w 335184"/>
                <a:gd name="connsiteY271" fmla="*/ 138874 h 266604"/>
                <a:gd name="connsiteX272" fmla="*/ 288226 w 335184"/>
                <a:gd name="connsiteY272" fmla="*/ 139065 h 266604"/>
                <a:gd name="connsiteX273" fmla="*/ 287655 w 335184"/>
                <a:gd name="connsiteY273" fmla="*/ 147161 h 266604"/>
                <a:gd name="connsiteX274" fmla="*/ 290513 w 335184"/>
                <a:gd name="connsiteY274" fmla="*/ 156496 h 266604"/>
                <a:gd name="connsiteX275" fmla="*/ 294989 w 335184"/>
                <a:gd name="connsiteY275" fmla="*/ 154305 h 266604"/>
                <a:gd name="connsiteX276" fmla="*/ 297371 w 335184"/>
                <a:gd name="connsiteY276" fmla="*/ 147542 h 266604"/>
                <a:gd name="connsiteX277" fmla="*/ 302705 w 335184"/>
                <a:gd name="connsiteY277" fmla="*/ 151733 h 266604"/>
                <a:gd name="connsiteX278" fmla="*/ 306896 w 335184"/>
                <a:gd name="connsiteY278" fmla="*/ 159163 h 266604"/>
                <a:gd name="connsiteX279" fmla="*/ 300514 w 335184"/>
                <a:gd name="connsiteY279" fmla="*/ 160020 h 266604"/>
                <a:gd name="connsiteX280" fmla="*/ 299752 w 335184"/>
                <a:gd name="connsiteY280" fmla="*/ 166497 h 266604"/>
                <a:gd name="connsiteX281" fmla="*/ 303943 w 335184"/>
                <a:gd name="connsiteY281" fmla="*/ 174022 h 266604"/>
                <a:gd name="connsiteX282" fmla="*/ 308134 w 335184"/>
                <a:gd name="connsiteY282" fmla="*/ 181451 h 266604"/>
                <a:gd name="connsiteX283" fmla="*/ 306896 w 335184"/>
                <a:gd name="connsiteY283" fmla="*/ 184880 h 266604"/>
                <a:gd name="connsiteX284" fmla="*/ 306896 w 335184"/>
                <a:gd name="connsiteY284" fmla="*/ 184880 h 266604"/>
                <a:gd name="connsiteX285" fmla="*/ 306896 w 335184"/>
                <a:gd name="connsiteY285" fmla="*/ 184880 h 26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</a:cxnLst>
              <a:rect l="l" t="t" r="r" b="b"/>
              <a:pathLst>
                <a:path w="335184" h="266604">
                  <a:moveTo>
                    <a:pt x="306896" y="184880"/>
                  </a:moveTo>
                  <a:lnTo>
                    <a:pt x="307372" y="188023"/>
                  </a:lnTo>
                  <a:lnTo>
                    <a:pt x="302609" y="188595"/>
                  </a:lnTo>
                  <a:lnTo>
                    <a:pt x="303371" y="194881"/>
                  </a:lnTo>
                  <a:lnTo>
                    <a:pt x="300609" y="198501"/>
                  </a:lnTo>
                  <a:lnTo>
                    <a:pt x="295084" y="192786"/>
                  </a:lnTo>
                  <a:lnTo>
                    <a:pt x="293751" y="194500"/>
                  </a:lnTo>
                  <a:lnTo>
                    <a:pt x="292703" y="199453"/>
                  </a:lnTo>
                  <a:lnTo>
                    <a:pt x="290798" y="196501"/>
                  </a:lnTo>
                  <a:lnTo>
                    <a:pt x="289179" y="196691"/>
                  </a:lnTo>
                  <a:lnTo>
                    <a:pt x="293370" y="204216"/>
                  </a:lnTo>
                  <a:lnTo>
                    <a:pt x="289179" y="209550"/>
                  </a:lnTo>
                  <a:lnTo>
                    <a:pt x="284131" y="206978"/>
                  </a:lnTo>
                  <a:lnTo>
                    <a:pt x="279368" y="207550"/>
                  </a:lnTo>
                  <a:lnTo>
                    <a:pt x="274225" y="205073"/>
                  </a:lnTo>
                  <a:lnTo>
                    <a:pt x="274415" y="206597"/>
                  </a:lnTo>
                  <a:lnTo>
                    <a:pt x="272605" y="205264"/>
                  </a:lnTo>
                  <a:lnTo>
                    <a:pt x="271272" y="206978"/>
                  </a:lnTo>
                  <a:lnTo>
                    <a:pt x="269081" y="202501"/>
                  </a:lnTo>
                  <a:lnTo>
                    <a:pt x="269462" y="205645"/>
                  </a:lnTo>
                  <a:lnTo>
                    <a:pt x="265938" y="202882"/>
                  </a:lnTo>
                  <a:lnTo>
                    <a:pt x="265557" y="199739"/>
                  </a:lnTo>
                  <a:lnTo>
                    <a:pt x="264128" y="201549"/>
                  </a:lnTo>
                  <a:lnTo>
                    <a:pt x="261366" y="192214"/>
                  </a:lnTo>
                  <a:lnTo>
                    <a:pt x="256794" y="194405"/>
                  </a:lnTo>
                  <a:lnTo>
                    <a:pt x="256604" y="192881"/>
                  </a:lnTo>
                  <a:lnTo>
                    <a:pt x="254889" y="191452"/>
                  </a:lnTo>
                  <a:lnTo>
                    <a:pt x="251936" y="193453"/>
                  </a:lnTo>
                  <a:lnTo>
                    <a:pt x="251460" y="190309"/>
                  </a:lnTo>
                  <a:lnTo>
                    <a:pt x="251270" y="188690"/>
                  </a:lnTo>
                  <a:lnTo>
                    <a:pt x="248317" y="190690"/>
                  </a:lnTo>
                  <a:lnTo>
                    <a:pt x="249079" y="184213"/>
                  </a:lnTo>
                  <a:lnTo>
                    <a:pt x="244602" y="186404"/>
                  </a:lnTo>
                  <a:lnTo>
                    <a:pt x="243364" y="189738"/>
                  </a:lnTo>
                  <a:lnTo>
                    <a:pt x="243364" y="189738"/>
                  </a:lnTo>
                  <a:lnTo>
                    <a:pt x="240411" y="191738"/>
                  </a:lnTo>
                  <a:lnTo>
                    <a:pt x="237458" y="193643"/>
                  </a:lnTo>
                  <a:lnTo>
                    <a:pt x="238887" y="191929"/>
                  </a:lnTo>
                  <a:lnTo>
                    <a:pt x="235744" y="192310"/>
                  </a:lnTo>
                  <a:lnTo>
                    <a:pt x="235267" y="189166"/>
                  </a:lnTo>
                  <a:lnTo>
                    <a:pt x="233744" y="189357"/>
                  </a:lnTo>
                  <a:lnTo>
                    <a:pt x="228791" y="188404"/>
                  </a:lnTo>
                  <a:lnTo>
                    <a:pt x="228981" y="189928"/>
                  </a:lnTo>
                  <a:lnTo>
                    <a:pt x="226219" y="193548"/>
                  </a:lnTo>
                  <a:lnTo>
                    <a:pt x="221551" y="194119"/>
                  </a:lnTo>
                  <a:lnTo>
                    <a:pt x="214408" y="188595"/>
                  </a:lnTo>
                  <a:lnTo>
                    <a:pt x="211455" y="190595"/>
                  </a:lnTo>
                  <a:lnTo>
                    <a:pt x="205359" y="192976"/>
                  </a:lnTo>
                  <a:lnTo>
                    <a:pt x="211265" y="201835"/>
                  </a:lnTo>
                  <a:lnTo>
                    <a:pt x="203740" y="206026"/>
                  </a:lnTo>
                  <a:lnTo>
                    <a:pt x="204216" y="209169"/>
                  </a:lnTo>
                  <a:lnTo>
                    <a:pt x="202406" y="207740"/>
                  </a:lnTo>
                  <a:lnTo>
                    <a:pt x="200978" y="209550"/>
                  </a:lnTo>
                  <a:lnTo>
                    <a:pt x="199644" y="211360"/>
                  </a:lnTo>
                  <a:lnTo>
                    <a:pt x="196501" y="211741"/>
                  </a:lnTo>
                  <a:lnTo>
                    <a:pt x="195644" y="205454"/>
                  </a:lnTo>
                  <a:lnTo>
                    <a:pt x="180308" y="210598"/>
                  </a:lnTo>
                  <a:lnTo>
                    <a:pt x="181070" y="216884"/>
                  </a:lnTo>
                  <a:lnTo>
                    <a:pt x="182690" y="216694"/>
                  </a:lnTo>
                  <a:lnTo>
                    <a:pt x="182880" y="218313"/>
                  </a:lnTo>
                  <a:lnTo>
                    <a:pt x="171831" y="219646"/>
                  </a:lnTo>
                  <a:lnTo>
                    <a:pt x="172403" y="224409"/>
                  </a:lnTo>
                  <a:lnTo>
                    <a:pt x="167354" y="221837"/>
                  </a:lnTo>
                  <a:lnTo>
                    <a:pt x="166973" y="231553"/>
                  </a:lnTo>
                  <a:lnTo>
                    <a:pt x="164211" y="235077"/>
                  </a:lnTo>
                  <a:lnTo>
                    <a:pt x="159258" y="234125"/>
                  </a:lnTo>
                  <a:lnTo>
                    <a:pt x="155924" y="232981"/>
                  </a:lnTo>
                  <a:lnTo>
                    <a:pt x="152495" y="231743"/>
                  </a:lnTo>
                  <a:lnTo>
                    <a:pt x="148400" y="237077"/>
                  </a:lnTo>
                  <a:lnTo>
                    <a:pt x="137732" y="241649"/>
                  </a:lnTo>
                  <a:lnTo>
                    <a:pt x="133064" y="242316"/>
                  </a:lnTo>
                  <a:lnTo>
                    <a:pt x="122111" y="232410"/>
                  </a:lnTo>
                  <a:lnTo>
                    <a:pt x="120777" y="234220"/>
                  </a:lnTo>
                  <a:lnTo>
                    <a:pt x="116872" y="253937"/>
                  </a:lnTo>
                  <a:lnTo>
                    <a:pt x="117634" y="260223"/>
                  </a:lnTo>
                  <a:lnTo>
                    <a:pt x="118110" y="263462"/>
                  </a:lnTo>
                  <a:lnTo>
                    <a:pt x="118491" y="266605"/>
                  </a:lnTo>
                  <a:lnTo>
                    <a:pt x="115157" y="265367"/>
                  </a:lnTo>
                  <a:lnTo>
                    <a:pt x="112776" y="259271"/>
                  </a:lnTo>
                  <a:lnTo>
                    <a:pt x="107823" y="258318"/>
                  </a:lnTo>
                  <a:lnTo>
                    <a:pt x="101917" y="262318"/>
                  </a:lnTo>
                  <a:lnTo>
                    <a:pt x="101727" y="260699"/>
                  </a:lnTo>
                  <a:lnTo>
                    <a:pt x="101251" y="257556"/>
                  </a:lnTo>
                  <a:lnTo>
                    <a:pt x="97917" y="256413"/>
                  </a:lnTo>
                  <a:lnTo>
                    <a:pt x="92012" y="260318"/>
                  </a:lnTo>
                  <a:lnTo>
                    <a:pt x="91821" y="258794"/>
                  </a:lnTo>
                  <a:lnTo>
                    <a:pt x="77438" y="258985"/>
                  </a:lnTo>
                  <a:lnTo>
                    <a:pt x="75247" y="254413"/>
                  </a:lnTo>
                  <a:lnTo>
                    <a:pt x="69913" y="250317"/>
                  </a:lnTo>
                  <a:lnTo>
                    <a:pt x="67913" y="247364"/>
                  </a:lnTo>
                  <a:lnTo>
                    <a:pt x="71628" y="238887"/>
                  </a:lnTo>
                  <a:lnTo>
                    <a:pt x="74581" y="236887"/>
                  </a:lnTo>
                  <a:lnTo>
                    <a:pt x="79724" y="239459"/>
                  </a:lnTo>
                  <a:lnTo>
                    <a:pt x="83629" y="232505"/>
                  </a:lnTo>
                  <a:lnTo>
                    <a:pt x="83439" y="230981"/>
                  </a:lnTo>
                  <a:lnTo>
                    <a:pt x="81725" y="229552"/>
                  </a:lnTo>
                  <a:lnTo>
                    <a:pt x="72390" y="232315"/>
                  </a:lnTo>
                  <a:lnTo>
                    <a:pt x="70866" y="232600"/>
                  </a:lnTo>
                  <a:lnTo>
                    <a:pt x="70675" y="230981"/>
                  </a:lnTo>
                  <a:lnTo>
                    <a:pt x="79153" y="221837"/>
                  </a:lnTo>
                  <a:lnTo>
                    <a:pt x="78486" y="217170"/>
                  </a:lnTo>
                  <a:lnTo>
                    <a:pt x="74962" y="214408"/>
                  </a:lnTo>
                  <a:lnTo>
                    <a:pt x="81058" y="212026"/>
                  </a:lnTo>
                  <a:lnTo>
                    <a:pt x="75724" y="207836"/>
                  </a:lnTo>
                  <a:lnTo>
                    <a:pt x="74104" y="208121"/>
                  </a:lnTo>
                  <a:lnTo>
                    <a:pt x="63532" y="212693"/>
                  </a:lnTo>
                  <a:lnTo>
                    <a:pt x="61150" y="206502"/>
                  </a:lnTo>
                  <a:lnTo>
                    <a:pt x="57912" y="206978"/>
                  </a:lnTo>
                  <a:lnTo>
                    <a:pt x="56007" y="204025"/>
                  </a:lnTo>
                  <a:lnTo>
                    <a:pt x="52578" y="202787"/>
                  </a:lnTo>
                  <a:lnTo>
                    <a:pt x="52388" y="201263"/>
                  </a:lnTo>
                  <a:lnTo>
                    <a:pt x="48673" y="196882"/>
                  </a:lnTo>
                  <a:lnTo>
                    <a:pt x="51625" y="194881"/>
                  </a:lnTo>
                  <a:lnTo>
                    <a:pt x="52007" y="185261"/>
                  </a:lnTo>
                  <a:lnTo>
                    <a:pt x="59055" y="190786"/>
                  </a:lnTo>
                  <a:lnTo>
                    <a:pt x="63437" y="174212"/>
                  </a:lnTo>
                  <a:lnTo>
                    <a:pt x="63246" y="172593"/>
                  </a:lnTo>
                  <a:lnTo>
                    <a:pt x="50387" y="172593"/>
                  </a:lnTo>
                  <a:lnTo>
                    <a:pt x="43244" y="167068"/>
                  </a:lnTo>
                  <a:lnTo>
                    <a:pt x="39719" y="164401"/>
                  </a:lnTo>
                  <a:lnTo>
                    <a:pt x="30194" y="152781"/>
                  </a:lnTo>
                  <a:lnTo>
                    <a:pt x="30004" y="151162"/>
                  </a:lnTo>
                  <a:lnTo>
                    <a:pt x="30766" y="144685"/>
                  </a:lnTo>
                  <a:lnTo>
                    <a:pt x="29242" y="144875"/>
                  </a:lnTo>
                  <a:lnTo>
                    <a:pt x="31909" y="141256"/>
                  </a:lnTo>
                  <a:lnTo>
                    <a:pt x="31528" y="138113"/>
                  </a:lnTo>
                  <a:lnTo>
                    <a:pt x="26765" y="138779"/>
                  </a:lnTo>
                  <a:lnTo>
                    <a:pt x="26384" y="135541"/>
                  </a:lnTo>
                  <a:lnTo>
                    <a:pt x="23241" y="136017"/>
                  </a:lnTo>
                  <a:lnTo>
                    <a:pt x="21241" y="133064"/>
                  </a:lnTo>
                  <a:lnTo>
                    <a:pt x="16383" y="132016"/>
                  </a:lnTo>
                  <a:lnTo>
                    <a:pt x="15716" y="127349"/>
                  </a:lnTo>
                  <a:lnTo>
                    <a:pt x="18859" y="126873"/>
                  </a:lnTo>
                  <a:lnTo>
                    <a:pt x="23432" y="124777"/>
                  </a:lnTo>
                  <a:lnTo>
                    <a:pt x="22384" y="116872"/>
                  </a:lnTo>
                  <a:lnTo>
                    <a:pt x="33433" y="115443"/>
                  </a:lnTo>
                  <a:lnTo>
                    <a:pt x="37052" y="118205"/>
                  </a:lnTo>
                  <a:lnTo>
                    <a:pt x="38195" y="114871"/>
                  </a:lnTo>
                  <a:lnTo>
                    <a:pt x="44672" y="115633"/>
                  </a:lnTo>
                  <a:lnTo>
                    <a:pt x="44482" y="114014"/>
                  </a:lnTo>
                  <a:lnTo>
                    <a:pt x="44291" y="112490"/>
                  </a:lnTo>
                  <a:lnTo>
                    <a:pt x="44101" y="110871"/>
                  </a:lnTo>
                  <a:lnTo>
                    <a:pt x="40767" y="109728"/>
                  </a:lnTo>
                  <a:lnTo>
                    <a:pt x="41910" y="106299"/>
                  </a:lnTo>
                  <a:lnTo>
                    <a:pt x="34004" y="107347"/>
                  </a:lnTo>
                  <a:lnTo>
                    <a:pt x="33052" y="99441"/>
                  </a:lnTo>
                  <a:lnTo>
                    <a:pt x="30099" y="101441"/>
                  </a:lnTo>
                  <a:lnTo>
                    <a:pt x="24955" y="98869"/>
                  </a:lnTo>
                  <a:lnTo>
                    <a:pt x="23717" y="89440"/>
                  </a:lnTo>
                  <a:lnTo>
                    <a:pt x="20193" y="86677"/>
                  </a:lnTo>
                  <a:lnTo>
                    <a:pt x="23146" y="84677"/>
                  </a:lnTo>
                  <a:lnTo>
                    <a:pt x="19145" y="78772"/>
                  </a:lnTo>
                  <a:lnTo>
                    <a:pt x="13049" y="81153"/>
                  </a:lnTo>
                  <a:lnTo>
                    <a:pt x="8572" y="83344"/>
                  </a:lnTo>
                  <a:lnTo>
                    <a:pt x="4953" y="80581"/>
                  </a:lnTo>
                  <a:lnTo>
                    <a:pt x="667" y="84296"/>
                  </a:lnTo>
                  <a:lnTo>
                    <a:pt x="191" y="81153"/>
                  </a:lnTo>
                  <a:lnTo>
                    <a:pt x="0" y="79629"/>
                  </a:lnTo>
                  <a:lnTo>
                    <a:pt x="9334" y="76771"/>
                  </a:lnTo>
                  <a:lnTo>
                    <a:pt x="8668" y="72104"/>
                  </a:lnTo>
                  <a:lnTo>
                    <a:pt x="10096" y="70294"/>
                  </a:lnTo>
                  <a:lnTo>
                    <a:pt x="11811" y="71723"/>
                  </a:lnTo>
                  <a:lnTo>
                    <a:pt x="13621" y="73057"/>
                  </a:lnTo>
                  <a:lnTo>
                    <a:pt x="21336" y="70485"/>
                  </a:lnTo>
                  <a:lnTo>
                    <a:pt x="21146" y="68866"/>
                  </a:lnTo>
                  <a:lnTo>
                    <a:pt x="22479" y="67151"/>
                  </a:lnTo>
                  <a:lnTo>
                    <a:pt x="22670" y="68675"/>
                  </a:lnTo>
                  <a:lnTo>
                    <a:pt x="31813" y="64294"/>
                  </a:lnTo>
                  <a:lnTo>
                    <a:pt x="37909" y="61913"/>
                  </a:lnTo>
                  <a:lnTo>
                    <a:pt x="41815" y="67818"/>
                  </a:lnTo>
                  <a:lnTo>
                    <a:pt x="43244" y="66103"/>
                  </a:lnTo>
                  <a:lnTo>
                    <a:pt x="50483" y="60388"/>
                  </a:lnTo>
                  <a:lnTo>
                    <a:pt x="48292" y="55816"/>
                  </a:lnTo>
                  <a:lnTo>
                    <a:pt x="52864" y="53626"/>
                  </a:lnTo>
                  <a:lnTo>
                    <a:pt x="52483" y="50482"/>
                  </a:lnTo>
                  <a:lnTo>
                    <a:pt x="57436" y="51435"/>
                  </a:lnTo>
                  <a:lnTo>
                    <a:pt x="59150" y="52864"/>
                  </a:lnTo>
                  <a:lnTo>
                    <a:pt x="62294" y="52388"/>
                  </a:lnTo>
                  <a:lnTo>
                    <a:pt x="62960" y="57150"/>
                  </a:lnTo>
                  <a:lnTo>
                    <a:pt x="65342" y="63246"/>
                  </a:lnTo>
                  <a:lnTo>
                    <a:pt x="65913" y="68008"/>
                  </a:lnTo>
                  <a:lnTo>
                    <a:pt x="72009" y="65627"/>
                  </a:lnTo>
                  <a:lnTo>
                    <a:pt x="90011" y="68104"/>
                  </a:lnTo>
                  <a:lnTo>
                    <a:pt x="94679" y="67532"/>
                  </a:lnTo>
                  <a:lnTo>
                    <a:pt x="90392" y="58483"/>
                  </a:lnTo>
                  <a:lnTo>
                    <a:pt x="92678" y="51721"/>
                  </a:lnTo>
                  <a:lnTo>
                    <a:pt x="91154" y="51911"/>
                  </a:lnTo>
                  <a:lnTo>
                    <a:pt x="90964" y="50387"/>
                  </a:lnTo>
                  <a:lnTo>
                    <a:pt x="90107" y="44101"/>
                  </a:lnTo>
                  <a:lnTo>
                    <a:pt x="91535" y="42291"/>
                  </a:lnTo>
                  <a:lnTo>
                    <a:pt x="91059" y="39148"/>
                  </a:lnTo>
                  <a:lnTo>
                    <a:pt x="96393" y="30480"/>
                  </a:lnTo>
                  <a:lnTo>
                    <a:pt x="102965" y="31242"/>
                  </a:lnTo>
                  <a:lnTo>
                    <a:pt x="108013" y="33814"/>
                  </a:lnTo>
                  <a:lnTo>
                    <a:pt x="111252" y="33338"/>
                  </a:lnTo>
                  <a:lnTo>
                    <a:pt x="116776" y="39052"/>
                  </a:lnTo>
                  <a:lnTo>
                    <a:pt x="121253" y="36862"/>
                  </a:lnTo>
                  <a:lnTo>
                    <a:pt x="122301" y="32004"/>
                  </a:lnTo>
                  <a:lnTo>
                    <a:pt x="125635" y="33147"/>
                  </a:lnTo>
                  <a:lnTo>
                    <a:pt x="136493" y="30194"/>
                  </a:lnTo>
                  <a:lnTo>
                    <a:pt x="136493" y="30194"/>
                  </a:lnTo>
                  <a:lnTo>
                    <a:pt x="135826" y="25432"/>
                  </a:lnTo>
                  <a:lnTo>
                    <a:pt x="140779" y="26384"/>
                  </a:lnTo>
                  <a:lnTo>
                    <a:pt x="140017" y="20098"/>
                  </a:lnTo>
                  <a:lnTo>
                    <a:pt x="149828" y="22003"/>
                  </a:lnTo>
                  <a:lnTo>
                    <a:pt x="162496" y="20383"/>
                  </a:lnTo>
                  <a:lnTo>
                    <a:pt x="167259" y="19812"/>
                  </a:lnTo>
                  <a:lnTo>
                    <a:pt x="166402" y="13525"/>
                  </a:lnTo>
                  <a:lnTo>
                    <a:pt x="168021" y="13335"/>
                  </a:lnTo>
                  <a:lnTo>
                    <a:pt x="167354" y="8572"/>
                  </a:lnTo>
                  <a:lnTo>
                    <a:pt x="176879" y="7334"/>
                  </a:lnTo>
                  <a:lnTo>
                    <a:pt x="176498" y="4191"/>
                  </a:lnTo>
                  <a:lnTo>
                    <a:pt x="189452" y="5715"/>
                  </a:lnTo>
                  <a:lnTo>
                    <a:pt x="196025" y="6572"/>
                  </a:lnTo>
                  <a:lnTo>
                    <a:pt x="197167" y="3143"/>
                  </a:lnTo>
                  <a:lnTo>
                    <a:pt x="203645" y="3905"/>
                  </a:lnTo>
                  <a:lnTo>
                    <a:pt x="209645" y="0"/>
                  </a:lnTo>
                  <a:lnTo>
                    <a:pt x="214503" y="952"/>
                  </a:lnTo>
                  <a:lnTo>
                    <a:pt x="214408" y="12192"/>
                  </a:lnTo>
                  <a:lnTo>
                    <a:pt x="212788" y="12382"/>
                  </a:lnTo>
                  <a:lnTo>
                    <a:pt x="213550" y="18764"/>
                  </a:lnTo>
                  <a:lnTo>
                    <a:pt x="217932" y="14954"/>
                  </a:lnTo>
                  <a:lnTo>
                    <a:pt x="219932" y="17907"/>
                  </a:lnTo>
                  <a:lnTo>
                    <a:pt x="222885" y="15907"/>
                  </a:lnTo>
                  <a:lnTo>
                    <a:pt x="224028" y="12573"/>
                  </a:lnTo>
                  <a:lnTo>
                    <a:pt x="227838" y="16954"/>
                  </a:lnTo>
                  <a:lnTo>
                    <a:pt x="232696" y="17907"/>
                  </a:lnTo>
                  <a:lnTo>
                    <a:pt x="235077" y="24003"/>
                  </a:lnTo>
                  <a:lnTo>
                    <a:pt x="233744" y="25813"/>
                  </a:lnTo>
                  <a:lnTo>
                    <a:pt x="234505" y="32099"/>
                  </a:lnTo>
                  <a:lnTo>
                    <a:pt x="237458" y="30099"/>
                  </a:lnTo>
                  <a:lnTo>
                    <a:pt x="239268" y="31432"/>
                  </a:lnTo>
                  <a:lnTo>
                    <a:pt x="245745" y="32290"/>
                  </a:lnTo>
                  <a:lnTo>
                    <a:pt x="249936" y="26956"/>
                  </a:lnTo>
                  <a:lnTo>
                    <a:pt x="253079" y="26479"/>
                  </a:lnTo>
                  <a:lnTo>
                    <a:pt x="259556" y="27241"/>
                  </a:lnTo>
                  <a:lnTo>
                    <a:pt x="255651" y="34195"/>
                  </a:lnTo>
                  <a:lnTo>
                    <a:pt x="251079" y="36385"/>
                  </a:lnTo>
                  <a:lnTo>
                    <a:pt x="253270" y="40957"/>
                  </a:lnTo>
                  <a:lnTo>
                    <a:pt x="253460" y="42481"/>
                  </a:lnTo>
                  <a:lnTo>
                    <a:pt x="255937" y="48577"/>
                  </a:lnTo>
                  <a:lnTo>
                    <a:pt x="261461" y="54292"/>
                  </a:lnTo>
                  <a:lnTo>
                    <a:pt x="261461" y="54292"/>
                  </a:lnTo>
                  <a:lnTo>
                    <a:pt x="263366" y="57245"/>
                  </a:lnTo>
                  <a:lnTo>
                    <a:pt x="266795" y="58483"/>
                  </a:lnTo>
                  <a:lnTo>
                    <a:pt x="274415" y="55912"/>
                  </a:lnTo>
                  <a:lnTo>
                    <a:pt x="276225" y="57245"/>
                  </a:lnTo>
                  <a:lnTo>
                    <a:pt x="283940" y="54673"/>
                  </a:lnTo>
                  <a:lnTo>
                    <a:pt x="284702" y="60960"/>
                  </a:lnTo>
                  <a:lnTo>
                    <a:pt x="301085" y="63722"/>
                  </a:lnTo>
                  <a:lnTo>
                    <a:pt x="300133" y="81439"/>
                  </a:lnTo>
                  <a:lnTo>
                    <a:pt x="305467" y="85630"/>
                  </a:lnTo>
                  <a:lnTo>
                    <a:pt x="308420" y="83629"/>
                  </a:lnTo>
                  <a:lnTo>
                    <a:pt x="313563" y="86201"/>
                  </a:lnTo>
                  <a:lnTo>
                    <a:pt x="323659" y="89725"/>
                  </a:lnTo>
                  <a:lnTo>
                    <a:pt x="322326" y="91440"/>
                  </a:lnTo>
                  <a:lnTo>
                    <a:pt x="322707" y="94583"/>
                  </a:lnTo>
                  <a:lnTo>
                    <a:pt x="322707" y="94583"/>
                  </a:lnTo>
                  <a:lnTo>
                    <a:pt x="332804" y="98203"/>
                  </a:lnTo>
                  <a:lnTo>
                    <a:pt x="335185" y="104299"/>
                  </a:lnTo>
                  <a:lnTo>
                    <a:pt x="329279" y="121063"/>
                  </a:lnTo>
                  <a:lnTo>
                    <a:pt x="321374" y="122015"/>
                  </a:lnTo>
                  <a:lnTo>
                    <a:pt x="321564" y="123634"/>
                  </a:lnTo>
                  <a:lnTo>
                    <a:pt x="309563" y="130016"/>
                  </a:lnTo>
                  <a:lnTo>
                    <a:pt x="301657" y="130969"/>
                  </a:lnTo>
                  <a:lnTo>
                    <a:pt x="300323" y="132778"/>
                  </a:lnTo>
                  <a:lnTo>
                    <a:pt x="300323" y="132778"/>
                  </a:lnTo>
                  <a:lnTo>
                    <a:pt x="295561" y="133350"/>
                  </a:lnTo>
                  <a:lnTo>
                    <a:pt x="295751" y="134969"/>
                  </a:lnTo>
                  <a:lnTo>
                    <a:pt x="290798" y="133921"/>
                  </a:lnTo>
                  <a:lnTo>
                    <a:pt x="292799" y="136874"/>
                  </a:lnTo>
                  <a:lnTo>
                    <a:pt x="289846" y="138874"/>
                  </a:lnTo>
                  <a:lnTo>
                    <a:pt x="288226" y="139065"/>
                  </a:lnTo>
                  <a:lnTo>
                    <a:pt x="287655" y="147161"/>
                  </a:lnTo>
                  <a:lnTo>
                    <a:pt x="290513" y="156496"/>
                  </a:lnTo>
                  <a:lnTo>
                    <a:pt x="294989" y="154305"/>
                  </a:lnTo>
                  <a:lnTo>
                    <a:pt x="297371" y="147542"/>
                  </a:lnTo>
                  <a:lnTo>
                    <a:pt x="302705" y="151733"/>
                  </a:lnTo>
                  <a:lnTo>
                    <a:pt x="306896" y="159163"/>
                  </a:lnTo>
                  <a:lnTo>
                    <a:pt x="300514" y="160020"/>
                  </a:lnTo>
                  <a:lnTo>
                    <a:pt x="299752" y="166497"/>
                  </a:lnTo>
                  <a:lnTo>
                    <a:pt x="303943" y="174022"/>
                  </a:lnTo>
                  <a:lnTo>
                    <a:pt x="308134" y="181451"/>
                  </a:lnTo>
                  <a:lnTo>
                    <a:pt x="306896" y="184880"/>
                  </a:lnTo>
                  <a:lnTo>
                    <a:pt x="306896" y="184880"/>
                  </a:lnTo>
                  <a:lnTo>
                    <a:pt x="306896" y="184880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36969768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FBAE40"/>
          </p15:clr>
        </p15:guide>
        <p15:guide id="2" pos="760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pro dlouhé nadpis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>
            <a:extLst>
              <a:ext uri="{FF2B5EF4-FFF2-40B4-BE49-F238E27FC236}">
                <a16:creationId xmlns:a16="http://schemas.microsoft.com/office/drawing/2014/main" id="{6A8EF0F6-43FB-AB07-A428-311BF2B830A0}"/>
              </a:ext>
            </a:extLst>
          </p:cNvPr>
          <p:cNvSpPr/>
          <p:nvPr userDrawn="1"/>
        </p:nvSpPr>
        <p:spPr>
          <a:xfrm>
            <a:off x="8177370" y="6139116"/>
            <a:ext cx="4012822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A4B6F62C-6941-C1AA-2861-2912C0F7E8D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446423"/>
            <a:ext cx="4014000" cy="943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DF0DFC75-CB5E-1EEA-D9B4-7EC06251795B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5298" y="1836750"/>
            <a:ext cx="6796299" cy="2266122"/>
          </a:xfrm>
        </p:spPr>
        <p:txBody>
          <a:bodyPr lIns="0" tIns="0" rIns="0" anchor="t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0F21DCDB-F1EB-1E1C-315D-D1C0C86AC8D5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4013999" y="5526157"/>
            <a:ext cx="7440419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65C2995-4096-1BF2-0903-15EDC1EDC11A}"/>
              </a:ext>
            </a:extLst>
          </p:cNvPr>
          <p:cNvSpPr/>
          <p:nvPr userDrawn="1"/>
        </p:nvSpPr>
        <p:spPr>
          <a:xfrm>
            <a:off x="8177370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30899DF3-D5C2-842C-B4A1-DFEEDF206D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298" y="612023"/>
            <a:ext cx="2723404" cy="612000"/>
          </a:xfrm>
          <a:prstGeom prst="rect">
            <a:avLst/>
          </a:prstGeom>
        </p:spPr>
      </p:pic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3749D040-5D15-041A-FB68-6E29C34EF8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4" name="Zástupný text 8">
            <a:extLst>
              <a:ext uri="{FF2B5EF4-FFF2-40B4-BE49-F238E27FC236}">
                <a16:creationId xmlns:a16="http://schemas.microsoft.com/office/drawing/2014/main" id="{334C7CB7-DCE5-6074-63A1-2EE2E54004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850341" y="6138000"/>
            <a:ext cx="1341659" cy="719999"/>
          </a:xfrm>
        </p:spPr>
        <p:txBody>
          <a:bodyPr lIns="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470160F-6A45-07BE-0604-077F038631C9}"/>
              </a:ext>
            </a:extLst>
          </p:cNvPr>
          <p:cNvSpPr txBox="1"/>
          <p:nvPr userDrawn="1"/>
        </p:nvSpPr>
        <p:spPr>
          <a:xfrm>
            <a:off x="8177370" y="6139116"/>
            <a:ext cx="1664348" cy="720000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pPr algn="l"/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</p:spTree>
    <p:extLst>
      <p:ext uri="{BB962C8B-B14F-4D97-AF65-F5344CB8AC3E}">
        <p14:creationId xmlns:p14="http://schemas.microsoft.com/office/powerpoint/2010/main" val="3012167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40">
          <p15:clr>
            <a:srgbClr val="FBAE40"/>
          </p15:clr>
        </p15:guide>
        <p15:guide id="4" pos="393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 pro dlouhé nadpisy bez 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F0DFC75-CB5E-1EEA-D9B4-7EC06251795B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5298" y="1836750"/>
            <a:ext cx="6796299" cy="2266122"/>
          </a:xfrm>
        </p:spPr>
        <p:txBody>
          <a:bodyPr lIns="0" tIns="0" rIns="0" anchor="t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0F21DCDB-F1EB-1E1C-315D-D1C0C86AC8D5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4013999" y="5526157"/>
            <a:ext cx="7440419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65C2995-4096-1BF2-0903-15EDC1EDC11A}"/>
              </a:ext>
            </a:extLst>
          </p:cNvPr>
          <p:cNvSpPr/>
          <p:nvPr userDrawn="1"/>
        </p:nvSpPr>
        <p:spPr>
          <a:xfrm>
            <a:off x="8177370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3749D040-5D15-041A-FB68-6E29C34EF8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8" name="Obdélník 7">
            <a:extLst>
              <a:ext uri="{FF2B5EF4-FFF2-40B4-BE49-F238E27FC236}">
                <a16:creationId xmlns:a16="http://schemas.microsoft.com/office/drawing/2014/main" id="{1C1BBF3A-0FFA-4C73-702B-0F8640E40029}"/>
              </a:ext>
            </a:extLst>
          </p:cNvPr>
          <p:cNvSpPr/>
          <p:nvPr userDrawn="1"/>
        </p:nvSpPr>
        <p:spPr>
          <a:xfrm>
            <a:off x="0" y="898082"/>
            <a:ext cx="4012822" cy="47291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A4CF060D-402A-3C18-EAD2-E58A46DE1C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52193" y="898082"/>
            <a:ext cx="1341659" cy="472912"/>
          </a:xfrm>
        </p:spPr>
        <p:txBody>
          <a:bodyPr lIns="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BA1B02D6-A85A-D348-E417-8F557EAE71A4}"/>
              </a:ext>
            </a:extLst>
          </p:cNvPr>
          <p:cNvSpPr/>
          <p:nvPr userDrawn="1"/>
        </p:nvSpPr>
        <p:spPr>
          <a:xfrm>
            <a:off x="4008438" y="6139116"/>
            <a:ext cx="818356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96A6C86E-36F8-90F4-57DC-BF054B7F522D}"/>
              </a:ext>
            </a:extLst>
          </p:cNvPr>
          <p:cNvSpPr txBox="1"/>
          <p:nvPr userDrawn="1"/>
        </p:nvSpPr>
        <p:spPr>
          <a:xfrm>
            <a:off x="4008439" y="6314450"/>
            <a:ext cx="1696075" cy="369332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pPr algn="l"/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  <p:pic>
        <p:nvPicPr>
          <p:cNvPr id="18" name="Grafický objekt 17">
            <a:extLst>
              <a:ext uri="{FF2B5EF4-FFF2-40B4-BE49-F238E27FC236}">
                <a16:creationId xmlns:a16="http://schemas.microsoft.com/office/drawing/2014/main" id="{54524AF3-55E8-324D-42C1-640444AC720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59729" y="6258886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7193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40">
          <p15:clr>
            <a:srgbClr val="FBAE40"/>
          </p15:clr>
        </p15:guide>
        <p15:guide id="4" pos="393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9" y="365126"/>
            <a:ext cx="10728323" cy="1260000"/>
          </a:xfrm>
        </p:spPr>
        <p:txBody>
          <a:bodyPr lIns="0">
            <a:normAutofit/>
          </a:bodyPr>
          <a:lstStyle>
            <a:lvl1pPr>
              <a:defRPr sz="2400">
                <a:latin typeface="+mj-lt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637" y="6294874"/>
            <a:ext cx="639692" cy="396000"/>
          </a:xfrm>
          <a:prstGeom prst="rect">
            <a:avLst/>
          </a:prstGeom>
        </p:spPr>
      </p:pic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0DDB638-C173-6D3F-FF1A-66447260C8A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60"/>
            <a:ext cx="5364160" cy="4428000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</p:txBody>
      </p:sp>
      <p:sp>
        <p:nvSpPr>
          <p:cNvPr id="6" name="Zástupný obsah 3">
            <a:extLst>
              <a:ext uri="{FF2B5EF4-FFF2-40B4-BE49-F238E27FC236}">
                <a16:creationId xmlns:a16="http://schemas.microsoft.com/office/drawing/2014/main" id="{8DC35049-3AA5-9643-A289-66951EBEC2D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3" y="1660885"/>
            <a:ext cx="5364160" cy="4428000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endParaRPr lang="cs-CZ" dirty="0"/>
          </a:p>
        </p:txBody>
      </p:sp>
      <p:grpSp>
        <p:nvGrpSpPr>
          <p:cNvPr id="10" name="Skupina 9">
            <a:extLst>
              <a:ext uri="{FF2B5EF4-FFF2-40B4-BE49-F238E27FC236}">
                <a16:creationId xmlns:a16="http://schemas.microsoft.com/office/drawing/2014/main" id="{4A268E11-BD2F-4B4F-8F6C-0F8E80159307}"/>
              </a:ext>
            </a:extLst>
          </p:cNvPr>
          <p:cNvGrpSpPr/>
          <p:nvPr userDrawn="1"/>
        </p:nvGrpSpPr>
        <p:grpSpPr>
          <a:xfrm>
            <a:off x="731838" y="6144231"/>
            <a:ext cx="1083291" cy="720000"/>
            <a:chOff x="731838" y="6129338"/>
            <a:chExt cx="1083291" cy="720000"/>
          </a:xfrm>
        </p:grpSpPr>
        <p:sp>
          <p:nvSpPr>
            <p:cNvPr id="11" name="Obdélník 10">
              <a:extLst>
                <a:ext uri="{FF2B5EF4-FFF2-40B4-BE49-F238E27FC236}">
                  <a16:creationId xmlns:a16="http://schemas.microsoft.com/office/drawing/2014/main" id="{17CF36DE-E5A0-4148-9D06-AE68A4EDD0A7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EDC2FDED-6562-4534-96C9-B2CF49EA82D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746530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, 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9" y="365126"/>
            <a:ext cx="10728323" cy="1260000"/>
          </a:xfrm>
        </p:spPr>
        <p:txBody>
          <a:bodyPr lIns="0">
            <a:normAutofit/>
          </a:bodyPr>
          <a:lstStyle>
            <a:lvl1pPr>
              <a:defRPr sz="2400">
                <a:latin typeface="+mj-lt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637" y="6294874"/>
            <a:ext cx="639692" cy="396000"/>
          </a:xfrm>
          <a:prstGeom prst="rect">
            <a:avLst/>
          </a:prstGeom>
        </p:spPr>
      </p:pic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0DDB638-C173-6D3F-FF1A-66447260C8A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60"/>
            <a:ext cx="5364160" cy="4428000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</p:txBody>
      </p:sp>
      <p:sp>
        <p:nvSpPr>
          <p:cNvPr id="6" name="Zástupný obsah 3">
            <a:extLst>
              <a:ext uri="{FF2B5EF4-FFF2-40B4-BE49-F238E27FC236}">
                <a16:creationId xmlns:a16="http://schemas.microsoft.com/office/drawing/2014/main" id="{8DC35049-3AA5-9643-A289-66951EBEC2D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3" y="1660885"/>
            <a:ext cx="5364160" cy="4428000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endParaRPr lang="cs-CZ" dirty="0"/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17CF36DE-E5A0-4148-9D06-AE68A4EDD0A7}"/>
              </a:ext>
            </a:extLst>
          </p:cNvPr>
          <p:cNvSpPr/>
          <p:nvPr userDrawn="1"/>
        </p:nvSpPr>
        <p:spPr>
          <a:xfrm>
            <a:off x="731838" y="6144231"/>
            <a:ext cx="108329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EDC2FDED-6562-4534-96C9-B2CF49EA82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637" y="6306231"/>
            <a:ext cx="639692" cy="396000"/>
          </a:xfrm>
          <a:prstGeom prst="rect">
            <a:avLst/>
          </a:prstGeom>
        </p:spPr>
      </p:pic>
      <p:sp>
        <p:nvSpPr>
          <p:cNvPr id="3" name="Obdélník 2">
            <a:extLst>
              <a:ext uri="{FF2B5EF4-FFF2-40B4-BE49-F238E27FC236}">
                <a16:creationId xmlns:a16="http://schemas.microsoft.com/office/drawing/2014/main" id="{F7C907C2-9865-F831-E11B-10851B62F54E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5" name="Zástupný text 8">
            <a:extLst>
              <a:ext uri="{FF2B5EF4-FFF2-40B4-BE49-F238E27FC236}">
                <a16:creationId xmlns:a16="http://schemas.microsoft.com/office/drawing/2014/main" id="{EFFFA6D3-91F9-3F5B-5F1D-EB6A778A44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</p:spTree>
    <p:extLst>
      <p:ext uri="{BB962C8B-B14F-4D97-AF65-F5344CB8AC3E}">
        <p14:creationId xmlns:p14="http://schemas.microsoft.com/office/powerpoint/2010/main" val="42746301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porovnání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E8A2BDC4-6C43-7770-C039-87C8E274A15E}"/>
              </a:ext>
            </a:extLst>
          </p:cNvPr>
          <p:cNvSpPr/>
          <p:nvPr userDrawn="1"/>
        </p:nvSpPr>
        <p:spPr>
          <a:xfrm>
            <a:off x="0" y="475200"/>
            <a:ext cx="1080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0154" y="637200"/>
            <a:ext cx="639692" cy="396000"/>
          </a:xfrm>
          <a:prstGeom prst="rect">
            <a:avLst/>
          </a:prstGeom>
        </p:spPr>
      </p:pic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B568BAED-9959-EA2E-29EC-1A0B33CE9746}"/>
              </a:ext>
            </a:extLst>
          </p:cNvPr>
          <p:cNvSpPr>
            <a:spLocks noGrp="1"/>
          </p:cNvSpPr>
          <p:nvPr userDrawn="1">
            <p:ph sz="quarter" idx="12"/>
          </p:nvPr>
        </p:nvSpPr>
        <p:spPr>
          <a:xfrm>
            <a:off x="731838" y="1663700"/>
            <a:ext cx="5364162" cy="4428000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</p:txBody>
      </p:sp>
      <p:sp>
        <p:nvSpPr>
          <p:cNvPr id="11" name="Zástupný obsah 10">
            <a:extLst>
              <a:ext uri="{FF2B5EF4-FFF2-40B4-BE49-F238E27FC236}">
                <a16:creationId xmlns:a16="http://schemas.microsoft.com/office/drawing/2014/main" id="{163C6B4F-771B-F4FA-C177-55BA3C6FDAD6}"/>
              </a:ext>
            </a:extLst>
          </p:cNvPr>
          <p:cNvSpPr>
            <a:spLocks noGrp="1"/>
          </p:cNvSpPr>
          <p:nvPr userDrawn="1">
            <p:ph sz="quarter" idx="13"/>
          </p:nvPr>
        </p:nvSpPr>
        <p:spPr>
          <a:xfrm>
            <a:off x="6096000" y="1663700"/>
            <a:ext cx="5364163" cy="4428000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D437D701-B17C-4FB1-90EC-C1632B91EEEE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1620000" y="475199"/>
            <a:ext cx="9802034" cy="720000"/>
          </a:xfrm>
        </p:spPr>
        <p:txBody>
          <a:bodyPr lIns="0"/>
          <a:lstStyle>
            <a:lvl1pPr>
              <a:defRPr sz="2400"/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6593053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2F86E3AE-C4C5-CA9A-34B2-F60AC1774F1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58"/>
            <a:ext cx="10728325" cy="4428000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203DDD2B-94B5-4D6B-B92F-71E4B2701400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C994861F-0D9B-4331-871B-BB38C1D69A0E}"/>
              </a:ext>
            </a:extLst>
          </p:cNvPr>
          <p:cNvGrpSpPr/>
          <p:nvPr userDrawn="1"/>
        </p:nvGrpSpPr>
        <p:grpSpPr>
          <a:xfrm>
            <a:off x="0" y="475199"/>
            <a:ext cx="1080000" cy="720000"/>
            <a:chOff x="0" y="475199"/>
            <a:chExt cx="1080000" cy="720000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BA72D03A-0F35-4A68-824B-364CAA4CDC0F}"/>
                </a:ext>
              </a:extLst>
            </p:cNvPr>
            <p:cNvSpPr/>
            <p:nvPr userDrawn="1"/>
          </p:nvSpPr>
          <p:spPr>
            <a:xfrm>
              <a:off x="0" y="475199"/>
              <a:ext cx="1080000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9" name="Grafický objekt 18">
              <a:extLst>
                <a:ext uri="{FF2B5EF4-FFF2-40B4-BE49-F238E27FC236}">
                  <a16:creationId xmlns:a16="http://schemas.microsoft.com/office/drawing/2014/main" id="{1773DD8C-C1C7-4C8A-BF7A-4721B43A07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0154" y="637199"/>
              <a:ext cx="639692" cy="396000"/>
            </a:xfrm>
            <a:prstGeom prst="rect">
              <a:avLst/>
            </a:prstGeom>
          </p:spPr>
        </p:pic>
      </p:grpSp>
      <p:sp>
        <p:nvSpPr>
          <p:cNvPr id="2" name="Nadpis 1">
            <a:extLst>
              <a:ext uri="{FF2B5EF4-FFF2-40B4-BE49-F238E27FC236}">
                <a16:creationId xmlns:a16="http://schemas.microsoft.com/office/drawing/2014/main" id="{CE39D634-FBD8-0067-14B8-7CF2FC0D70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475199"/>
            <a:ext cx="9802034" cy="720000"/>
          </a:xfrm>
        </p:spPr>
        <p:txBody>
          <a:bodyPr lIns="0"/>
          <a:lstStyle>
            <a:lvl1pPr>
              <a:defRPr sz="2400"/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0340697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graf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4">
            <a:extLst>
              <a:ext uri="{FF2B5EF4-FFF2-40B4-BE49-F238E27FC236}">
                <a16:creationId xmlns:a16="http://schemas.microsoft.com/office/drawing/2014/main" id="{203DDD2B-94B5-4D6B-B92F-71E4B2701400}"/>
              </a:ext>
            </a:extLst>
          </p:cNvPr>
          <p:cNvSpPr/>
          <p:nvPr userDrawn="1"/>
        </p:nvSpPr>
        <p:spPr>
          <a:xfrm>
            <a:off x="0" y="-1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C994861F-0D9B-4331-871B-BB38C1D69A0E}"/>
              </a:ext>
            </a:extLst>
          </p:cNvPr>
          <p:cNvGrpSpPr/>
          <p:nvPr userDrawn="1"/>
        </p:nvGrpSpPr>
        <p:grpSpPr>
          <a:xfrm>
            <a:off x="0" y="475199"/>
            <a:ext cx="1080000" cy="720000"/>
            <a:chOff x="0" y="475199"/>
            <a:chExt cx="1080000" cy="720000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BA72D03A-0F35-4A68-824B-364CAA4CDC0F}"/>
                </a:ext>
              </a:extLst>
            </p:cNvPr>
            <p:cNvSpPr/>
            <p:nvPr userDrawn="1"/>
          </p:nvSpPr>
          <p:spPr>
            <a:xfrm>
              <a:off x="0" y="475199"/>
              <a:ext cx="1080000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9" name="Grafický objekt 18">
              <a:extLst>
                <a:ext uri="{FF2B5EF4-FFF2-40B4-BE49-F238E27FC236}">
                  <a16:creationId xmlns:a16="http://schemas.microsoft.com/office/drawing/2014/main" id="{1773DD8C-C1C7-4C8A-BF7A-4721B43A07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0154" y="637199"/>
              <a:ext cx="639692" cy="396000"/>
            </a:xfrm>
            <a:prstGeom prst="rect">
              <a:avLst/>
            </a:prstGeom>
          </p:spPr>
        </p:pic>
      </p:grpSp>
      <p:sp>
        <p:nvSpPr>
          <p:cNvPr id="2" name="Nadpis 1">
            <a:extLst>
              <a:ext uri="{FF2B5EF4-FFF2-40B4-BE49-F238E27FC236}">
                <a16:creationId xmlns:a16="http://schemas.microsoft.com/office/drawing/2014/main" id="{CE39D634-FBD8-0067-14B8-7CF2FC0D70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475199"/>
            <a:ext cx="9802034" cy="720000"/>
          </a:xfrm>
        </p:spPr>
        <p:txBody>
          <a:bodyPr lIns="0"/>
          <a:lstStyle>
            <a:lvl1pPr>
              <a:defRPr sz="2400"/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5" name="Zástupný objekt grafu 10">
            <a:extLst>
              <a:ext uri="{FF2B5EF4-FFF2-40B4-BE49-F238E27FC236}">
                <a16:creationId xmlns:a16="http://schemas.microsoft.com/office/drawing/2014/main" id="{7814EF98-A5EE-B564-2343-4835ACD0118A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30800" y="1663200"/>
            <a:ext cx="10728000" cy="3508730"/>
          </a:xfrm>
        </p:spPr>
        <p:txBody>
          <a:bodyPr/>
          <a:lstStyle/>
          <a:p>
            <a:endParaRPr lang="cs-CZ"/>
          </a:p>
        </p:txBody>
      </p:sp>
      <p:sp>
        <p:nvSpPr>
          <p:cNvPr id="6" name="Zástupný text 14">
            <a:extLst>
              <a:ext uri="{FF2B5EF4-FFF2-40B4-BE49-F238E27FC236}">
                <a16:creationId xmlns:a16="http://schemas.microsoft.com/office/drawing/2014/main" id="{693A1838-2329-7980-800F-63A757B70A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0800" y="5277180"/>
            <a:ext cx="10728000" cy="813600"/>
          </a:xfrm>
          <a:ln w="12700">
            <a:solidFill>
              <a:schemeClr val="accent1"/>
            </a:solidFill>
          </a:ln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/>
            </a:lvl2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  <p:sp>
        <p:nvSpPr>
          <p:cNvPr id="7" name="Zástupný text 16">
            <a:extLst>
              <a:ext uri="{FF2B5EF4-FFF2-40B4-BE49-F238E27FC236}">
                <a16:creationId xmlns:a16="http://schemas.microsoft.com/office/drawing/2014/main" id="{8434A227-584A-FA78-238E-9F196670378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97514" y="1223680"/>
            <a:ext cx="3261286" cy="720001"/>
          </a:xfrm>
        </p:spPr>
        <p:txBody>
          <a:bodyPr>
            <a:noAutofit/>
          </a:bodyPr>
          <a:lstStyle>
            <a:lvl1pPr marL="0" indent="0" algn="r">
              <a:buNone/>
              <a:defRPr sz="1200"/>
            </a:lvl1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12840672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lý nadpis,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Skupina 5">
            <a:extLst>
              <a:ext uri="{FF2B5EF4-FFF2-40B4-BE49-F238E27FC236}">
                <a16:creationId xmlns:a16="http://schemas.microsoft.com/office/drawing/2014/main" id="{9FA37B8F-E31B-4ED9-B938-2436AC45F8B0}"/>
              </a:ext>
            </a:extLst>
          </p:cNvPr>
          <p:cNvGrpSpPr/>
          <p:nvPr userDrawn="1"/>
        </p:nvGrpSpPr>
        <p:grpSpPr>
          <a:xfrm>
            <a:off x="731838" y="6144231"/>
            <a:ext cx="1083291" cy="720000"/>
            <a:chOff x="731838" y="6129338"/>
            <a:chExt cx="1083291" cy="720000"/>
          </a:xfrm>
        </p:grpSpPr>
        <p:sp>
          <p:nvSpPr>
            <p:cNvPr id="13" name="Obdélník 12">
              <a:extLst>
                <a:ext uri="{FF2B5EF4-FFF2-40B4-BE49-F238E27FC236}">
                  <a16:creationId xmlns:a16="http://schemas.microsoft.com/office/drawing/2014/main" id="{E8A2BDC4-6C43-7770-C039-87C8E274A15E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D42D85A1-CE0E-3796-3FB6-1A1B847697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2077AF6-1444-E249-F2EF-ECEF553B616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873024"/>
            <a:ext cx="10728325" cy="5122454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F46746F9-8916-4E3E-46F8-D3D688B1AC86}"/>
              </a:ext>
            </a:extLst>
          </p:cNvPr>
          <p:cNvSpPr/>
          <p:nvPr userDrawn="1"/>
        </p:nvSpPr>
        <p:spPr>
          <a:xfrm>
            <a:off x="0" y="0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B845A84C-9B03-E5F5-E96F-C8A731070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0"/>
            <a:ext cx="11460162" cy="720722"/>
          </a:xfrm>
        </p:spPr>
        <p:txBody>
          <a:bodyPr lIns="0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ECE479D9-A951-26E0-C2EF-C43D3FCAC88B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5" name="Zástupný text 8">
            <a:extLst>
              <a:ext uri="{FF2B5EF4-FFF2-40B4-BE49-F238E27FC236}">
                <a16:creationId xmlns:a16="http://schemas.microsoft.com/office/drawing/2014/main" id="{BF4CF16D-F608-F5E0-D06B-61FE4F1927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</p:spTree>
    <p:extLst>
      <p:ext uri="{BB962C8B-B14F-4D97-AF65-F5344CB8AC3E}">
        <p14:creationId xmlns:p14="http://schemas.microsoft.com/office/powerpoint/2010/main" val="14829447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lý nadpis, graf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Skupina 5">
            <a:extLst>
              <a:ext uri="{FF2B5EF4-FFF2-40B4-BE49-F238E27FC236}">
                <a16:creationId xmlns:a16="http://schemas.microsoft.com/office/drawing/2014/main" id="{9FA37B8F-E31B-4ED9-B938-2436AC45F8B0}"/>
              </a:ext>
            </a:extLst>
          </p:cNvPr>
          <p:cNvGrpSpPr/>
          <p:nvPr userDrawn="1"/>
        </p:nvGrpSpPr>
        <p:grpSpPr>
          <a:xfrm>
            <a:off x="731838" y="6144231"/>
            <a:ext cx="1083291" cy="720000"/>
            <a:chOff x="731838" y="6129338"/>
            <a:chExt cx="1083291" cy="720000"/>
          </a:xfrm>
        </p:grpSpPr>
        <p:sp>
          <p:nvSpPr>
            <p:cNvPr id="13" name="Obdélník 12">
              <a:extLst>
                <a:ext uri="{FF2B5EF4-FFF2-40B4-BE49-F238E27FC236}">
                  <a16:creationId xmlns:a16="http://schemas.microsoft.com/office/drawing/2014/main" id="{E8A2BDC4-6C43-7770-C039-87C8E274A15E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D42D85A1-CE0E-3796-3FB6-1A1B847697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  <p:sp>
        <p:nvSpPr>
          <p:cNvPr id="8" name="Obdélník 7">
            <a:extLst>
              <a:ext uri="{FF2B5EF4-FFF2-40B4-BE49-F238E27FC236}">
                <a16:creationId xmlns:a16="http://schemas.microsoft.com/office/drawing/2014/main" id="{F46746F9-8916-4E3E-46F8-D3D688B1AC86}"/>
              </a:ext>
            </a:extLst>
          </p:cNvPr>
          <p:cNvSpPr/>
          <p:nvPr userDrawn="1"/>
        </p:nvSpPr>
        <p:spPr>
          <a:xfrm>
            <a:off x="0" y="0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B845A84C-9B03-E5F5-E96F-C8A731070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0"/>
            <a:ext cx="11460162" cy="720722"/>
          </a:xfrm>
        </p:spPr>
        <p:txBody>
          <a:bodyPr lIns="0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ECE479D9-A951-26E0-C2EF-C43D3FCAC88B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5" name="Zástupný text 8">
            <a:extLst>
              <a:ext uri="{FF2B5EF4-FFF2-40B4-BE49-F238E27FC236}">
                <a16:creationId xmlns:a16="http://schemas.microsoft.com/office/drawing/2014/main" id="{BF4CF16D-F608-F5E0-D06B-61FE4F1927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  <p:sp>
        <p:nvSpPr>
          <p:cNvPr id="11" name="Zástupný objekt grafu 10">
            <a:extLst>
              <a:ext uri="{FF2B5EF4-FFF2-40B4-BE49-F238E27FC236}">
                <a16:creationId xmlns:a16="http://schemas.microsoft.com/office/drawing/2014/main" id="{2CCDD7A5-4E4F-7E32-7926-F5BD6DE62066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30800" y="1416423"/>
            <a:ext cx="10728000" cy="3626903"/>
          </a:xfrm>
        </p:spPr>
        <p:txBody>
          <a:bodyPr/>
          <a:lstStyle/>
          <a:p>
            <a:endParaRPr lang="cs-CZ"/>
          </a:p>
        </p:txBody>
      </p:sp>
      <p:sp>
        <p:nvSpPr>
          <p:cNvPr id="15" name="Zástupný text 14">
            <a:extLst>
              <a:ext uri="{FF2B5EF4-FFF2-40B4-BE49-F238E27FC236}">
                <a16:creationId xmlns:a16="http://schemas.microsoft.com/office/drawing/2014/main" id="{E54CAFFC-D28A-B9D7-EF18-CE0F2887901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0800" y="5186979"/>
            <a:ext cx="10728000" cy="813600"/>
          </a:xfrm>
          <a:ln w="12700">
            <a:solidFill>
              <a:schemeClr val="accent1"/>
            </a:solidFill>
          </a:ln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/>
            </a:lvl2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  <p:sp>
        <p:nvSpPr>
          <p:cNvPr id="17" name="Zástupný text 16">
            <a:extLst>
              <a:ext uri="{FF2B5EF4-FFF2-40B4-BE49-F238E27FC236}">
                <a16:creationId xmlns:a16="http://schemas.microsoft.com/office/drawing/2014/main" id="{F99509E6-390C-E171-B7E9-F370C7382F8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97516" y="955485"/>
            <a:ext cx="3261286" cy="720000"/>
          </a:xfrm>
        </p:spPr>
        <p:txBody>
          <a:bodyPr>
            <a:noAutofit/>
          </a:bodyPr>
          <a:lstStyle>
            <a:lvl1pPr marL="0" indent="0" algn="r">
              <a:buNone/>
              <a:defRPr sz="1200"/>
            </a:lvl1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34466167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malý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Skupina 5">
            <a:extLst>
              <a:ext uri="{FF2B5EF4-FFF2-40B4-BE49-F238E27FC236}">
                <a16:creationId xmlns:a16="http://schemas.microsoft.com/office/drawing/2014/main" id="{9FA37B8F-E31B-4ED9-B938-2436AC45F8B0}"/>
              </a:ext>
            </a:extLst>
          </p:cNvPr>
          <p:cNvGrpSpPr/>
          <p:nvPr userDrawn="1"/>
        </p:nvGrpSpPr>
        <p:grpSpPr>
          <a:xfrm>
            <a:off x="731838" y="6144231"/>
            <a:ext cx="1083291" cy="720000"/>
            <a:chOff x="731838" y="6129338"/>
            <a:chExt cx="1083291" cy="720000"/>
          </a:xfrm>
        </p:grpSpPr>
        <p:sp>
          <p:nvSpPr>
            <p:cNvPr id="13" name="Obdélník 12">
              <a:extLst>
                <a:ext uri="{FF2B5EF4-FFF2-40B4-BE49-F238E27FC236}">
                  <a16:creationId xmlns:a16="http://schemas.microsoft.com/office/drawing/2014/main" id="{E8A2BDC4-6C43-7770-C039-87C8E274A15E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D42D85A1-CE0E-3796-3FB6-1A1B847697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  <p:sp>
        <p:nvSpPr>
          <p:cNvPr id="8" name="Obdélník 7">
            <a:extLst>
              <a:ext uri="{FF2B5EF4-FFF2-40B4-BE49-F238E27FC236}">
                <a16:creationId xmlns:a16="http://schemas.microsoft.com/office/drawing/2014/main" id="{F46746F9-8916-4E3E-46F8-D3D688B1AC86}"/>
              </a:ext>
            </a:extLst>
          </p:cNvPr>
          <p:cNvSpPr/>
          <p:nvPr userDrawn="1"/>
        </p:nvSpPr>
        <p:spPr>
          <a:xfrm>
            <a:off x="0" y="-2"/>
            <a:ext cx="12192000" cy="72866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B845A84C-9B03-E5F5-E96F-C8A731070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7940"/>
            <a:ext cx="11460162" cy="720722"/>
          </a:xfrm>
        </p:spPr>
        <p:txBody>
          <a:bodyPr lIns="0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15B4E1AD-5241-BB23-6D38-68E746B8E97B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Zástupný text 8">
            <a:extLst>
              <a:ext uri="{FF2B5EF4-FFF2-40B4-BE49-F238E27FC236}">
                <a16:creationId xmlns:a16="http://schemas.microsoft.com/office/drawing/2014/main" id="{87B68CB9-55B6-6A8B-4827-E00145D2E5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</p:spTree>
    <p:extLst>
      <p:ext uri="{BB962C8B-B14F-4D97-AF65-F5344CB8AC3E}">
        <p14:creationId xmlns:p14="http://schemas.microsoft.com/office/powerpoint/2010/main" val="28320084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Obrázek 64">
            <a:extLst>
              <a:ext uri="{FF2B5EF4-FFF2-40B4-BE49-F238E27FC236}">
                <a16:creationId xmlns:a16="http://schemas.microsoft.com/office/drawing/2014/main" id="{1903806D-B11F-4777-91AC-14AF29D6B2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3424240"/>
          </a:xfrm>
          <a:prstGeom prst="rect">
            <a:avLst/>
          </a:prstGeom>
        </p:spPr>
      </p:pic>
      <p:pic>
        <p:nvPicPr>
          <p:cNvPr id="27" name="Obrázek 75">
            <a:extLst>
              <a:ext uri="{FF2B5EF4-FFF2-40B4-BE49-F238E27FC236}">
                <a16:creationId xmlns:a16="http://schemas.microsoft.com/office/drawing/2014/main" id="{F014DE85-7BF6-41C3-95C4-EC65E5EAD6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5763" y="1354230"/>
            <a:ext cx="3136237" cy="3656116"/>
          </a:xfrm>
          <a:prstGeom prst="rect">
            <a:avLst/>
          </a:prstGeom>
        </p:spPr>
      </p:pic>
      <p:sp>
        <p:nvSpPr>
          <p:cNvPr id="28" name="Obdélník 50">
            <a:extLst>
              <a:ext uri="{FF2B5EF4-FFF2-40B4-BE49-F238E27FC236}">
                <a16:creationId xmlns:a16="http://schemas.microsoft.com/office/drawing/2014/main" id="{C6455D4C-929B-4BB2-BB4B-AA4BD3BB752C}"/>
              </a:ext>
            </a:extLst>
          </p:cNvPr>
          <p:cNvSpPr/>
          <p:nvPr userDrawn="1"/>
        </p:nvSpPr>
        <p:spPr>
          <a:xfrm>
            <a:off x="0" y="3760440"/>
            <a:ext cx="9379670" cy="276458"/>
          </a:xfrm>
          <a:custGeom>
            <a:avLst/>
            <a:gdLst>
              <a:gd name="connsiteX0" fmla="*/ 0 w 7559571"/>
              <a:gd name="connsiteY0" fmla="*/ 0 h 200385"/>
              <a:gd name="connsiteX1" fmla="*/ 7559571 w 7559571"/>
              <a:gd name="connsiteY1" fmla="*/ 0 h 200385"/>
              <a:gd name="connsiteX2" fmla="*/ 7559571 w 7559571"/>
              <a:gd name="connsiteY2" fmla="*/ 200385 h 200385"/>
              <a:gd name="connsiteX3" fmla="*/ 0 w 7559571"/>
              <a:gd name="connsiteY3" fmla="*/ 200385 h 200385"/>
              <a:gd name="connsiteX4" fmla="*/ 0 w 7559571"/>
              <a:gd name="connsiteY4" fmla="*/ 0 h 200385"/>
              <a:gd name="connsiteX0" fmla="*/ 0 w 7559571"/>
              <a:gd name="connsiteY0" fmla="*/ 9427 h 209812"/>
              <a:gd name="connsiteX1" fmla="*/ 7136091 w 7559571"/>
              <a:gd name="connsiteY1" fmla="*/ 0 h 209812"/>
              <a:gd name="connsiteX2" fmla="*/ 7559571 w 7559571"/>
              <a:gd name="connsiteY2" fmla="*/ 9427 h 209812"/>
              <a:gd name="connsiteX3" fmla="*/ 7559571 w 7559571"/>
              <a:gd name="connsiteY3" fmla="*/ 209812 h 209812"/>
              <a:gd name="connsiteX4" fmla="*/ 0 w 7559571"/>
              <a:gd name="connsiteY4" fmla="*/ 209812 h 209812"/>
              <a:gd name="connsiteX5" fmla="*/ 0 w 7559571"/>
              <a:gd name="connsiteY5" fmla="*/ 9427 h 209812"/>
              <a:gd name="connsiteX0" fmla="*/ 0 w 7673419"/>
              <a:gd name="connsiteY0" fmla="*/ 292231 h 492616"/>
              <a:gd name="connsiteX1" fmla="*/ 7673419 w 7673419"/>
              <a:gd name="connsiteY1" fmla="*/ 0 h 492616"/>
              <a:gd name="connsiteX2" fmla="*/ 7559571 w 7673419"/>
              <a:gd name="connsiteY2" fmla="*/ 292231 h 492616"/>
              <a:gd name="connsiteX3" fmla="*/ 7559571 w 7673419"/>
              <a:gd name="connsiteY3" fmla="*/ 492616 h 492616"/>
              <a:gd name="connsiteX4" fmla="*/ 0 w 7673419"/>
              <a:gd name="connsiteY4" fmla="*/ 492616 h 492616"/>
              <a:gd name="connsiteX5" fmla="*/ 0 w 7673419"/>
              <a:gd name="connsiteY5" fmla="*/ 292231 h 492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73419" h="492616">
                <a:moveTo>
                  <a:pt x="0" y="292231"/>
                </a:moveTo>
                <a:lnTo>
                  <a:pt x="7673419" y="0"/>
                </a:lnTo>
                <a:lnTo>
                  <a:pt x="7559571" y="292231"/>
                </a:lnTo>
                <a:lnTo>
                  <a:pt x="7559571" y="492616"/>
                </a:lnTo>
                <a:lnTo>
                  <a:pt x="0" y="492616"/>
                </a:lnTo>
                <a:lnTo>
                  <a:pt x="0" y="292231"/>
                </a:lnTo>
                <a:close/>
              </a:path>
            </a:pathLst>
          </a:custGeom>
          <a:solidFill>
            <a:srgbClr val="0842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9" name="Slza pozadi">
            <a:extLst>
              <a:ext uri="{FF2B5EF4-FFF2-40B4-BE49-F238E27FC236}">
                <a16:creationId xmlns:a16="http://schemas.microsoft.com/office/drawing/2014/main" id="{5B472087-BEB7-43F0-96A3-BDC392C6630F}"/>
              </a:ext>
            </a:extLst>
          </p:cNvPr>
          <p:cNvSpPr/>
          <p:nvPr userDrawn="1"/>
        </p:nvSpPr>
        <p:spPr>
          <a:xfrm rot="16200000">
            <a:off x="1560424" y="-947766"/>
            <a:ext cx="3157403" cy="6278252"/>
          </a:xfrm>
          <a:prstGeom prst="teardrop">
            <a:avLst/>
          </a:prstGeom>
          <a:solidFill>
            <a:srgbClr val="244865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n-lt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0" name="Logo UZIS - skupina">
            <a:extLst>
              <a:ext uri="{FF2B5EF4-FFF2-40B4-BE49-F238E27FC236}">
                <a16:creationId xmlns:a16="http://schemas.microsoft.com/office/drawing/2014/main" id="{E1E7BBD5-891B-4A2F-BD63-5F5DA00EFD2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573965" y="6090002"/>
            <a:ext cx="4524251" cy="612428"/>
            <a:chOff x="4084311" y="378348"/>
            <a:chExt cx="5627053" cy="709095"/>
          </a:xfrm>
        </p:grpSpPr>
        <p:sp>
          <p:nvSpPr>
            <p:cNvPr id="31" name="Nazev">
              <a:extLst>
                <a:ext uri="{FF2B5EF4-FFF2-40B4-BE49-F238E27FC236}">
                  <a16:creationId xmlns:a16="http://schemas.microsoft.com/office/drawing/2014/main" id="{4C1916FE-4B88-49CD-BA58-7B74C639AF98}"/>
                </a:ext>
              </a:extLst>
            </p:cNvPr>
            <p:cNvSpPr txBox="1"/>
            <p:nvPr userDrawn="1"/>
          </p:nvSpPr>
          <p:spPr>
            <a:xfrm>
              <a:off x="5237394" y="599696"/>
              <a:ext cx="4473970" cy="427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noProof="0" dirty="0">
                  <a:solidFill>
                    <a:srgbClr val="2B29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Ústav zdravotnických informací a statistiky České republiky</a:t>
              </a:r>
            </a:p>
            <a:p>
              <a:r>
                <a:rPr lang="en-US" sz="900" i="1" dirty="0">
                  <a:solidFill>
                    <a:srgbClr val="2B29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titute of Health Information and Statistics of the Czech Republic</a:t>
              </a:r>
            </a:p>
          </p:txBody>
        </p:sp>
        <p:pic>
          <p:nvPicPr>
            <p:cNvPr id="32" name="Logo">
              <a:extLst>
                <a:ext uri="{FF2B5EF4-FFF2-40B4-BE49-F238E27FC236}">
                  <a16:creationId xmlns:a16="http://schemas.microsoft.com/office/drawing/2014/main" id="{9F92AC57-7FC1-4571-BECE-7125420930C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84311" y="378348"/>
              <a:ext cx="1080000" cy="709095"/>
            </a:xfrm>
            <a:prstGeom prst="rect">
              <a:avLst/>
            </a:prstGeom>
          </p:spPr>
        </p:pic>
      </p:grpSp>
      <p:pic>
        <p:nvPicPr>
          <p:cNvPr id="33" name="Logo MZ CR">
            <a:extLst>
              <a:ext uri="{FF2B5EF4-FFF2-40B4-BE49-F238E27FC236}">
                <a16:creationId xmlns:a16="http://schemas.microsoft.com/office/drawing/2014/main" id="{5B7C4270-13A2-4527-A4C7-32FE9859D7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311" y="156482"/>
            <a:ext cx="3763463" cy="324000"/>
          </a:xfrm>
          <a:prstGeom prst="rect">
            <a:avLst/>
          </a:prstGeom>
        </p:spPr>
      </p:pic>
      <p:sp>
        <p:nvSpPr>
          <p:cNvPr id="34" name="Nadpis 1">
            <a:extLst>
              <a:ext uri="{FF2B5EF4-FFF2-40B4-BE49-F238E27FC236}">
                <a16:creationId xmlns:a16="http://schemas.microsoft.com/office/drawing/2014/main" id="{DBF05EC1-AC34-4998-A874-C476BF92C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490" y="1382511"/>
            <a:ext cx="5246408" cy="1404481"/>
          </a:xfrm>
        </p:spPr>
        <p:txBody>
          <a:bodyPr>
            <a:normAutofit/>
          </a:bodyPr>
          <a:lstStyle>
            <a:lvl1pPr algn="l">
              <a:defRPr sz="3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5" name="Zástupný text 3">
            <a:extLst>
              <a:ext uri="{FF2B5EF4-FFF2-40B4-BE49-F238E27FC236}">
                <a16:creationId xmlns:a16="http://schemas.microsoft.com/office/drawing/2014/main" id="{30F5E0A5-FA60-44D8-9106-C4F05A37F6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506" y="5213021"/>
            <a:ext cx="11116463" cy="468000"/>
          </a:xfrm>
        </p:spPr>
        <p:txBody>
          <a:bodyPr anchor="ctr">
            <a:noAutofit/>
          </a:bodyPr>
          <a:lstStyle>
            <a:lvl1pPr marL="0" indent="0" algn="l">
              <a:buNone/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cs-CZ" dirty="0"/>
              <a:t>Vložte podnadpis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5C16814E-93D7-8660-9E4B-EF5C17EF945B}"/>
              </a:ext>
            </a:extLst>
          </p:cNvPr>
          <p:cNvGrpSpPr/>
          <p:nvPr userDrawn="1"/>
        </p:nvGrpSpPr>
        <p:grpSpPr>
          <a:xfrm>
            <a:off x="9561600" y="3873600"/>
            <a:ext cx="1270751" cy="2016807"/>
            <a:chOff x="9573906" y="3839890"/>
            <a:chExt cx="1270751" cy="2016807"/>
          </a:xfrm>
        </p:grpSpPr>
        <p:sp>
          <p:nvSpPr>
            <p:cNvPr id="47" name="Rovnoramenný trojúhelník 4">
              <a:extLst>
                <a:ext uri="{FF2B5EF4-FFF2-40B4-BE49-F238E27FC236}">
                  <a16:creationId xmlns:a16="http://schemas.microsoft.com/office/drawing/2014/main" id="{C5474CA9-DC43-C5C2-60B4-16339D814A8C}"/>
                </a:ext>
              </a:extLst>
            </p:cNvPr>
            <p:cNvSpPr/>
            <p:nvPr userDrawn="1"/>
          </p:nvSpPr>
          <p:spPr>
            <a:xfrm rot="1106797">
              <a:off x="9882197" y="3839890"/>
              <a:ext cx="962460" cy="1369198"/>
            </a:xfrm>
            <a:prstGeom prst="triangle">
              <a:avLst>
                <a:gd name="adj" fmla="val 58782"/>
              </a:avLst>
            </a:prstGeom>
            <a:solidFill>
              <a:srgbClr val="FFC000">
                <a:alpha val="44000"/>
              </a:srgbClr>
            </a:solidFill>
            <a:ln w="15875">
              <a:solidFill>
                <a:srgbClr val="2E5980"/>
              </a:solidFill>
            </a:ln>
            <a:effectLst>
              <a:outerShdw blurRad="50800" dist="50800" dir="5400000" algn="ctr" rotWithShape="0">
                <a:srgbClr val="2E5980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grpSp>
          <p:nvGrpSpPr>
            <p:cNvPr id="48" name="Skupina 47">
              <a:extLst>
                <a:ext uri="{FF2B5EF4-FFF2-40B4-BE49-F238E27FC236}">
                  <a16:creationId xmlns:a16="http://schemas.microsoft.com/office/drawing/2014/main" id="{C8CEA53F-7430-B159-526A-7A9F3A1D7EDB}"/>
                </a:ext>
              </a:extLst>
            </p:cNvPr>
            <p:cNvGrpSpPr/>
            <p:nvPr userDrawn="1"/>
          </p:nvGrpSpPr>
          <p:grpSpPr>
            <a:xfrm>
              <a:off x="9573906" y="4827097"/>
              <a:ext cx="1029600" cy="1029600"/>
              <a:chOff x="9573906" y="4827097"/>
              <a:chExt cx="1029600" cy="1029600"/>
            </a:xfrm>
          </p:grpSpPr>
          <p:sp>
            <p:nvSpPr>
              <p:cNvPr id="49" name="Ovál 22">
                <a:extLst>
                  <a:ext uri="{FF2B5EF4-FFF2-40B4-BE49-F238E27FC236}">
                    <a16:creationId xmlns:a16="http://schemas.microsoft.com/office/drawing/2014/main" id="{4BA847E0-413E-514E-A6AF-56E616FAF048}"/>
                  </a:ext>
                </a:extLst>
              </p:cNvPr>
              <p:cNvSpPr/>
              <p:nvPr userDrawn="1"/>
            </p:nvSpPr>
            <p:spPr>
              <a:xfrm>
                <a:off x="9573906" y="4827097"/>
                <a:ext cx="1029600" cy="10296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D714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/>
              </a:p>
            </p:txBody>
          </p:sp>
          <p:sp>
            <p:nvSpPr>
              <p:cNvPr id="50" name="Ovál 23">
                <a:extLst>
                  <a:ext uri="{FF2B5EF4-FFF2-40B4-BE49-F238E27FC236}">
                    <a16:creationId xmlns:a16="http://schemas.microsoft.com/office/drawing/2014/main" id="{88A794EE-DDBB-9DBE-6259-495A40034396}"/>
                  </a:ext>
                </a:extLst>
              </p:cNvPr>
              <p:cNvSpPr/>
              <p:nvPr userDrawn="1"/>
            </p:nvSpPr>
            <p:spPr>
              <a:xfrm>
                <a:off x="9643042" y="4896233"/>
                <a:ext cx="891327" cy="891327"/>
              </a:xfrm>
              <a:prstGeom prst="ellipse">
                <a:avLst/>
              </a:prstGeom>
              <a:solidFill>
                <a:srgbClr val="D7144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/>
              </a:p>
            </p:txBody>
          </p:sp>
        </p:grpSp>
      </p:grpSp>
      <p:grpSp>
        <p:nvGrpSpPr>
          <p:cNvPr id="3" name="Skupina 2">
            <a:extLst>
              <a:ext uri="{FF2B5EF4-FFF2-40B4-BE49-F238E27FC236}">
                <a16:creationId xmlns:a16="http://schemas.microsoft.com/office/drawing/2014/main" id="{2761CC6B-FCC7-2CB0-2A51-DAA5FD05F14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672786" y="5069654"/>
            <a:ext cx="793563" cy="648000"/>
            <a:chOff x="7560944" y="3726465"/>
            <a:chExt cx="1160049" cy="947261"/>
          </a:xfrm>
          <a:noFill/>
        </p:grpSpPr>
        <p:sp>
          <p:nvSpPr>
            <p:cNvPr id="59" name="Volný tvar: obrazec 58">
              <a:extLst>
                <a:ext uri="{FF2B5EF4-FFF2-40B4-BE49-F238E27FC236}">
                  <a16:creationId xmlns:a16="http://schemas.microsoft.com/office/drawing/2014/main" id="{7B53F884-512F-FFEC-D588-1EEE1F96827C}"/>
                </a:ext>
              </a:extLst>
            </p:cNvPr>
            <p:cNvSpPr/>
            <p:nvPr userDrawn="1"/>
          </p:nvSpPr>
          <p:spPr>
            <a:xfrm>
              <a:off x="8141588" y="3726465"/>
              <a:ext cx="579405" cy="546544"/>
            </a:xfrm>
            <a:custGeom>
              <a:avLst/>
              <a:gdLst>
                <a:gd name="connsiteX0" fmla="*/ 567309 w 579405"/>
                <a:gd name="connsiteY0" fmla="*/ 177927 h 546544"/>
                <a:gd name="connsiteX1" fmla="*/ 570071 w 579405"/>
                <a:gd name="connsiteY1" fmla="*/ 184785 h 546544"/>
                <a:gd name="connsiteX2" fmla="*/ 570738 w 579405"/>
                <a:gd name="connsiteY2" fmla="*/ 190119 h 546544"/>
                <a:gd name="connsiteX3" fmla="*/ 579406 w 579405"/>
                <a:gd name="connsiteY3" fmla="*/ 214408 h 546544"/>
                <a:gd name="connsiteX4" fmla="*/ 573691 w 579405"/>
                <a:gd name="connsiteY4" fmla="*/ 226028 h 546544"/>
                <a:gd name="connsiteX5" fmla="*/ 565595 w 579405"/>
                <a:gd name="connsiteY5" fmla="*/ 234315 h 546544"/>
                <a:gd name="connsiteX6" fmla="*/ 570452 w 579405"/>
                <a:gd name="connsiteY6" fmla="*/ 242792 h 546544"/>
                <a:gd name="connsiteX7" fmla="*/ 563213 w 579405"/>
                <a:gd name="connsiteY7" fmla="*/ 243745 h 546544"/>
                <a:gd name="connsiteX8" fmla="*/ 558546 w 579405"/>
                <a:gd name="connsiteY8" fmla="*/ 249746 h 546544"/>
                <a:gd name="connsiteX9" fmla="*/ 546735 w 579405"/>
                <a:gd name="connsiteY9" fmla="*/ 271272 h 546544"/>
                <a:gd name="connsiteX10" fmla="*/ 535114 w 579405"/>
                <a:gd name="connsiteY10" fmla="*/ 280035 h 546544"/>
                <a:gd name="connsiteX11" fmla="*/ 508635 w 579405"/>
                <a:gd name="connsiteY11" fmla="*/ 287179 h 546544"/>
                <a:gd name="connsiteX12" fmla="*/ 505016 w 579405"/>
                <a:gd name="connsiteY12" fmla="*/ 287655 h 546544"/>
                <a:gd name="connsiteX13" fmla="*/ 495014 w 579405"/>
                <a:gd name="connsiteY13" fmla="*/ 294418 h 546544"/>
                <a:gd name="connsiteX14" fmla="*/ 479298 w 579405"/>
                <a:gd name="connsiteY14" fmla="*/ 300133 h 546544"/>
                <a:gd name="connsiteX15" fmla="*/ 479965 w 579405"/>
                <a:gd name="connsiteY15" fmla="*/ 305467 h 546544"/>
                <a:gd name="connsiteX16" fmla="*/ 478441 w 579405"/>
                <a:gd name="connsiteY16" fmla="*/ 307467 h 546544"/>
                <a:gd name="connsiteX17" fmla="*/ 462248 w 579405"/>
                <a:gd name="connsiteY17" fmla="*/ 309658 h 546544"/>
                <a:gd name="connsiteX18" fmla="*/ 453580 w 579405"/>
                <a:gd name="connsiteY18" fmla="*/ 312611 h 546544"/>
                <a:gd name="connsiteX19" fmla="*/ 446818 w 579405"/>
                <a:gd name="connsiteY19" fmla="*/ 317087 h 546544"/>
                <a:gd name="connsiteX20" fmla="*/ 434530 w 579405"/>
                <a:gd name="connsiteY20" fmla="*/ 320612 h 546544"/>
                <a:gd name="connsiteX21" fmla="*/ 431102 w 579405"/>
                <a:gd name="connsiteY21" fmla="*/ 322802 h 546544"/>
                <a:gd name="connsiteX22" fmla="*/ 409099 w 579405"/>
                <a:gd name="connsiteY22" fmla="*/ 322136 h 546544"/>
                <a:gd name="connsiteX23" fmla="*/ 405955 w 579405"/>
                <a:gd name="connsiteY23" fmla="*/ 326136 h 546544"/>
                <a:gd name="connsiteX24" fmla="*/ 402145 w 579405"/>
                <a:gd name="connsiteY24" fmla="*/ 324898 h 546544"/>
                <a:gd name="connsiteX25" fmla="*/ 397002 w 579405"/>
                <a:gd name="connsiteY25" fmla="*/ 327374 h 546544"/>
                <a:gd name="connsiteX26" fmla="*/ 391382 w 579405"/>
                <a:gd name="connsiteY26" fmla="*/ 326327 h 546544"/>
                <a:gd name="connsiteX27" fmla="*/ 386715 w 579405"/>
                <a:gd name="connsiteY27" fmla="*/ 332327 h 546544"/>
                <a:gd name="connsiteX28" fmla="*/ 382905 w 579405"/>
                <a:gd name="connsiteY28" fmla="*/ 331089 h 546544"/>
                <a:gd name="connsiteX29" fmla="*/ 376142 w 579405"/>
                <a:gd name="connsiteY29" fmla="*/ 335566 h 546544"/>
                <a:gd name="connsiteX30" fmla="*/ 376428 w 579405"/>
                <a:gd name="connsiteY30" fmla="*/ 337375 h 546544"/>
                <a:gd name="connsiteX31" fmla="*/ 379095 w 579405"/>
                <a:gd name="connsiteY31" fmla="*/ 344234 h 546544"/>
                <a:gd name="connsiteX32" fmla="*/ 377380 w 579405"/>
                <a:gd name="connsiteY32" fmla="*/ 358997 h 546544"/>
                <a:gd name="connsiteX33" fmla="*/ 359093 w 579405"/>
                <a:gd name="connsiteY33" fmla="*/ 372237 h 546544"/>
                <a:gd name="connsiteX34" fmla="*/ 356616 w 579405"/>
                <a:gd name="connsiteY34" fmla="*/ 381667 h 546544"/>
                <a:gd name="connsiteX35" fmla="*/ 344995 w 579405"/>
                <a:gd name="connsiteY35" fmla="*/ 390430 h 546544"/>
                <a:gd name="connsiteX36" fmla="*/ 346900 w 579405"/>
                <a:gd name="connsiteY36" fmla="*/ 404717 h 546544"/>
                <a:gd name="connsiteX37" fmla="*/ 344995 w 579405"/>
                <a:gd name="connsiteY37" fmla="*/ 417671 h 546544"/>
                <a:gd name="connsiteX38" fmla="*/ 353949 w 579405"/>
                <a:gd name="connsiteY38" fmla="*/ 416433 h 546544"/>
                <a:gd name="connsiteX39" fmla="*/ 351758 w 579405"/>
                <a:gd name="connsiteY39" fmla="*/ 427577 h 546544"/>
                <a:gd name="connsiteX40" fmla="*/ 354235 w 579405"/>
                <a:gd name="connsiteY40" fmla="*/ 432721 h 546544"/>
                <a:gd name="connsiteX41" fmla="*/ 347376 w 579405"/>
                <a:gd name="connsiteY41" fmla="*/ 435483 h 546544"/>
                <a:gd name="connsiteX42" fmla="*/ 349186 w 579405"/>
                <a:gd name="connsiteY42" fmla="*/ 449675 h 546544"/>
                <a:gd name="connsiteX43" fmla="*/ 347472 w 579405"/>
                <a:gd name="connsiteY43" fmla="*/ 449961 h 546544"/>
                <a:gd name="connsiteX44" fmla="*/ 341852 w 579405"/>
                <a:gd name="connsiteY44" fmla="*/ 463391 h 546544"/>
                <a:gd name="connsiteX45" fmla="*/ 333851 w 579405"/>
                <a:gd name="connsiteY45" fmla="*/ 471678 h 546544"/>
                <a:gd name="connsiteX46" fmla="*/ 334042 w 579405"/>
                <a:gd name="connsiteY46" fmla="*/ 500634 h 546544"/>
                <a:gd name="connsiteX47" fmla="*/ 340804 w 579405"/>
                <a:gd name="connsiteY47" fmla="*/ 510635 h 546544"/>
                <a:gd name="connsiteX48" fmla="*/ 325850 w 579405"/>
                <a:gd name="connsiteY48" fmla="*/ 521684 h 546544"/>
                <a:gd name="connsiteX49" fmla="*/ 324326 w 579405"/>
                <a:gd name="connsiteY49" fmla="*/ 523684 h 546544"/>
                <a:gd name="connsiteX50" fmla="*/ 325660 w 579405"/>
                <a:gd name="connsiteY50" fmla="*/ 534448 h 546544"/>
                <a:gd name="connsiteX51" fmla="*/ 320802 w 579405"/>
                <a:gd name="connsiteY51" fmla="*/ 538734 h 546544"/>
                <a:gd name="connsiteX52" fmla="*/ 316325 w 579405"/>
                <a:gd name="connsiteY52" fmla="*/ 546544 h 546544"/>
                <a:gd name="connsiteX53" fmla="*/ 304800 w 579405"/>
                <a:gd name="connsiteY53" fmla="*/ 542639 h 546544"/>
                <a:gd name="connsiteX54" fmla="*/ 303086 w 579405"/>
                <a:gd name="connsiteY54" fmla="*/ 542830 h 546544"/>
                <a:gd name="connsiteX55" fmla="*/ 300323 w 579405"/>
                <a:gd name="connsiteY55" fmla="*/ 535972 h 546544"/>
                <a:gd name="connsiteX56" fmla="*/ 298323 w 579405"/>
                <a:gd name="connsiteY56" fmla="*/ 534448 h 546544"/>
                <a:gd name="connsiteX57" fmla="*/ 290893 w 579405"/>
                <a:gd name="connsiteY57" fmla="*/ 533591 h 546544"/>
                <a:gd name="connsiteX58" fmla="*/ 294227 w 579405"/>
                <a:gd name="connsiteY58" fmla="*/ 531305 h 546544"/>
                <a:gd name="connsiteX59" fmla="*/ 288607 w 579405"/>
                <a:gd name="connsiteY59" fmla="*/ 530257 h 546544"/>
                <a:gd name="connsiteX60" fmla="*/ 284512 w 579405"/>
                <a:gd name="connsiteY60" fmla="*/ 527209 h 546544"/>
                <a:gd name="connsiteX61" fmla="*/ 280701 w 579405"/>
                <a:gd name="connsiteY61" fmla="*/ 525875 h 546544"/>
                <a:gd name="connsiteX62" fmla="*/ 276130 w 579405"/>
                <a:gd name="connsiteY62" fmla="*/ 519208 h 546544"/>
                <a:gd name="connsiteX63" fmla="*/ 265747 w 579405"/>
                <a:gd name="connsiteY63" fmla="*/ 509683 h 546544"/>
                <a:gd name="connsiteX64" fmla="*/ 260985 w 579405"/>
                <a:gd name="connsiteY64" fmla="*/ 501301 h 546544"/>
                <a:gd name="connsiteX65" fmla="*/ 258699 w 579405"/>
                <a:gd name="connsiteY65" fmla="*/ 497967 h 546544"/>
                <a:gd name="connsiteX66" fmla="*/ 237839 w 579405"/>
                <a:gd name="connsiteY66" fmla="*/ 506159 h 546544"/>
                <a:gd name="connsiteX67" fmla="*/ 238316 w 579405"/>
                <a:gd name="connsiteY67" fmla="*/ 509683 h 546544"/>
                <a:gd name="connsiteX68" fmla="*/ 232981 w 579405"/>
                <a:gd name="connsiteY68" fmla="*/ 510445 h 546544"/>
                <a:gd name="connsiteX69" fmla="*/ 224885 w 579405"/>
                <a:gd name="connsiteY69" fmla="*/ 504254 h 546544"/>
                <a:gd name="connsiteX70" fmla="*/ 223456 w 579405"/>
                <a:gd name="connsiteY70" fmla="*/ 493585 h 546544"/>
                <a:gd name="connsiteX71" fmla="*/ 219360 w 579405"/>
                <a:gd name="connsiteY71" fmla="*/ 490442 h 546544"/>
                <a:gd name="connsiteX72" fmla="*/ 215836 w 579405"/>
                <a:gd name="connsiteY72" fmla="*/ 490918 h 546544"/>
                <a:gd name="connsiteX73" fmla="*/ 213265 w 579405"/>
                <a:gd name="connsiteY73" fmla="*/ 485870 h 546544"/>
                <a:gd name="connsiteX74" fmla="*/ 214598 w 579405"/>
                <a:gd name="connsiteY74" fmla="*/ 482060 h 546544"/>
                <a:gd name="connsiteX75" fmla="*/ 208693 w 579405"/>
                <a:gd name="connsiteY75" fmla="*/ 479203 h 546544"/>
                <a:gd name="connsiteX76" fmla="*/ 201930 w 579405"/>
                <a:gd name="connsiteY76" fmla="*/ 469201 h 546544"/>
                <a:gd name="connsiteX77" fmla="*/ 200977 w 579405"/>
                <a:gd name="connsiteY77" fmla="*/ 462058 h 546544"/>
                <a:gd name="connsiteX78" fmla="*/ 196977 w 579405"/>
                <a:gd name="connsiteY78" fmla="*/ 459010 h 546544"/>
                <a:gd name="connsiteX79" fmla="*/ 193929 w 579405"/>
                <a:gd name="connsiteY79" fmla="*/ 450342 h 546544"/>
                <a:gd name="connsiteX80" fmla="*/ 193262 w 579405"/>
                <a:gd name="connsiteY80" fmla="*/ 444913 h 546544"/>
                <a:gd name="connsiteX81" fmla="*/ 182023 w 579405"/>
                <a:gd name="connsiteY81" fmla="*/ 442817 h 546544"/>
                <a:gd name="connsiteX82" fmla="*/ 173260 w 579405"/>
                <a:gd name="connsiteY82" fmla="*/ 445770 h 546544"/>
                <a:gd name="connsiteX83" fmla="*/ 167735 w 579405"/>
                <a:gd name="connsiteY83" fmla="*/ 432054 h 546544"/>
                <a:gd name="connsiteX84" fmla="*/ 162116 w 579405"/>
                <a:gd name="connsiteY84" fmla="*/ 430911 h 546544"/>
                <a:gd name="connsiteX85" fmla="*/ 158115 w 579405"/>
                <a:gd name="connsiteY85" fmla="*/ 427863 h 546544"/>
                <a:gd name="connsiteX86" fmla="*/ 154495 w 579405"/>
                <a:gd name="connsiteY86" fmla="*/ 428339 h 546544"/>
                <a:gd name="connsiteX87" fmla="*/ 151543 w 579405"/>
                <a:gd name="connsiteY87" fmla="*/ 419671 h 546544"/>
                <a:gd name="connsiteX88" fmla="*/ 152876 w 579405"/>
                <a:gd name="connsiteY88" fmla="*/ 415862 h 546544"/>
                <a:gd name="connsiteX89" fmla="*/ 148018 w 579405"/>
                <a:gd name="connsiteY89" fmla="*/ 407480 h 546544"/>
                <a:gd name="connsiteX90" fmla="*/ 147828 w 579405"/>
                <a:gd name="connsiteY90" fmla="*/ 405670 h 546544"/>
                <a:gd name="connsiteX91" fmla="*/ 154305 w 579405"/>
                <a:gd name="connsiteY91" fmla="*/ 399383 h 546544"/>
                <a:gd name="connsiteX92" fmla="*/ 157925 w 579405"/>
                <a:gd name="connsiteY92" fmla="*/ 398907 h 546544"/>
                <a:gd name="connsiteX93" fmla="*/ 157448 w 579405"/>
                <a:gd name="connsiteY93" fmla="*/ 395288 h 546544"/>
                <a:gd name="connsiteX94" fmla="*/ 153828 w 579405"/>
                <a:gd name="connsiteY94" fmla="*/ 395764 h 546544"/>
                <a:gd name="connsiteX95" fmla="*/ 153352 w 579405"/>
                <a:gd name="connsiteY95" fmla="*/ 392240 h 546544"/>
                <a:gd name="connsiteX96" fmla="*/ 158972 w 579405"/>
                <a:gd name="connsiteY96" fmla="*/ 393287 h 546544"/>
                <a:gd name="connsiteX97" fmla="*/ 161830 w 579405"/>
                <a:gd name="connsiteY97" fmla="*/ 387477 h 546544"/>
                <a:gd name="connsiteX98" fmla="*/ 156305 w 579405"/>
                <a:gd name="connsiteY98" fmla="*/ 386429 h 546544"/>
                <a:gd name="connsiteX99" fmla="*/ 161163 w 579405"/>
                <a:gd name="connsiteY99" fmla="*/ 382143 h 546544"/>
                <a:gd name="connsiteX100" fmla="*/ 155638 w 579405"/>
                <a:gd name="connsiteY100" fmla="*/ 368332 h 546544"/>
                <a:gd name="connsiteX101" fmla="*/ 136398 w 579405"/>
                <a:gd name="connsiteY101" fmla="*/ 374523 h 546544"/>
                <a:gd name="connsiteX102" fmla="*/ 131826 w 579405"/>
                <a:gd name="connsiteY102" fmla="*/ 367856 h 546544"/>
                <a:gd name="connsiteX103" fmla="*/ 126016 w 579405"/>
                <a:gd name="connsiteY103" fmla="*/ 364998 h 546544"/>
                <a:gd name="connsiteX104" fmla="*/ 123539 w 579405"/>
                <a:gd name="connsiteY104" fmla="*/ 359950 h 546544"/>
                <a:gd name="connsiteX105" fmla="*/ 126587 w 579405"/>
                <a:gd name="connsiteY105" fmla="*/ 355854 h 546544"/>
                <a:gd name="connsiteX106" fmla="*/ 115062 w 579405"/>
                <a:gd name="connsiteY106" fmla="*/ 337471 h 546544"/>
                <a:gd name="connsiteX107" fmla="*/ 107156 w 579405"/>
                <a:gd name="connsiteY107" fmla="*/ 333089 h 546544"/>
                <a:gd name="connsiteX108" fmla="*/ 108013 w 579405"/>
                <a:gd name="connsiteY108" fmla="*/ 325755 h 546544"/>
                <a:gd name="connsiteX109" fmla="*/ 114871 w 579405"/>
                <a:gd name="connsiteY109" fmla="*/ 308515 h 546544"/>
                <a:gd name="connsiteX110" fmla="*/ 114681 w 579405"/>
                <a:gd name="connsiteY110" fmla="*/ 306705 h 546544"/>
                <a:gd name="connsiteX111" fmla="*/ 96202 w 579405"/>
                <a:gd name="connsiteY111" fmla="*/ 305467 h 546544"/>
                <a:gd name="connsiteX112" fmla="*/ 90583 w 579405"/>
                <a:gd name="connsiteY112" fmla="*/ 304419 h 546544"/>
                <a:gd name="connsiteX113" fmla="*/ 91630 w 579405"/>
                <a:gd name="connsiteY113" fmla="*/ 298799 h 546544"/>
                <a:gd name="connsiteX114" fmla="*/ 89345 w 579405"/>
                <a:gd name="connsiteY114" fmla="*/ 295561 h 546544"/>
                <a:gd name="connsiteX115" fmla="*/ 73437 w 579405"/>
                <a:gd name="connsiteY115" fmla="*/ 299466 h 546544"/>
                <a:gd name="connsiteX116" fmla="*/ 68103 w 579405"/>
                <a:gd name="connsiteY116" fmla="*/ 300133 h 546544"/>
                <a:gd name="connsiteX117" fmla="*/ 64008 w 579405"/>
                <a:gd name="connsiteY117" fmla="*/ 297085 h 546544"/>
                <a:gd name="connsiteX118" fmla="*/ 62389 w 579405"/>
                <a:gd name="connsiteY118" fmla="*/ 284607 h 546544"/>
                <a:gd name="connsiteX119" fmla="*/ 55436 w 579405"/>
                <a:gd name="connsiteY119" fmla="*/ 287369 h 546544"/>
                <a:gd name="connsiteX120" fmla="*/ 44577 w 579405"/>
                <a:gd name="connsiteY120" fmla="*/ 274225 h 546544"/>
                <a:gd name="connsiteX121" fmla="*/ 35052 w 579405"/>
                <a:gd name="connsiteY121" fmla="*/ 271844 h 546544"/>
                <a:gd name="connsiteX122" fmla="*/ 33909 w 579405"/>
                <a:gd name="connsiteY122" fmla="*/ 262985 h 546544"/>
                <a:gd name="connsiteX123" fmla="*/ 47339 w 579405"/>
                <a:gd name="connsiteY123" fmla="*/ 253937 h 546544"/>
                <a:gd name="connsiteX124" fmla="*/ 51054 w 579405"/>
                <a:gd name="connsiteY124" fmla="*/ 240792 h 546544"/>
                <a:gd name="connsiteX125" fmla="*/ 59627 w 579405"/>
                <a:gd name="connsiteY125" fmla="*/ 236029 h 546544"/>
                <a:gd name="connsiteX126" fmla="*/ 62198 w 579405"/>
                <a:gd name="connsiteY126" fmla="*/ 228410 h 546544"/>
                <a:gd name="connsiteX127" fmla="*/ 68199 w 579405"/>
                <a:gd name="connsiteY127" fmla="*/ 218599 h 546544"/>
                <a:gd name="connsiteX128" fmla="*/ 71628 w 579405"/>
                <a:gd name="connsiteY128" fmla="*/ 216313 h 546544"/>
                <a:gd name="connsiteX129" fmla="*/ 67913 w 579405"/>
                <a:gd name="connsiteY129" fmla="*/ 202311 h 546544"/>
                <a:gd name="connsiteX130" fmla="*/ 76009 w 579405"/>
                <a:gd name="connsiteY130" fmla="*/ 193929 h 546544"/>
                <a:gd name="connsiteX131" fmla="*/ 77248 w 579405"/>
                <a:gd name="connsiteY131" fmla="*/ 190119 h 546544"/>
                <a:gd name="connsiteX132" fmla="*/ 74771 w 579405"/>
                <a:gd name="connsiteY132" fmla="*/ 185071 h 546544"/>
                <a:gd name="connsiteX133" fmla="*/ 68675 w 579405"/>
                <a:gd name="connsiteY133" fmla="*/ 180404 h 546544"/>
                <a:gd name="connsiteX134" fmla="*/ 65722 w 579405"/>
                <a:gd name="connsiteY134" fmla="*/ 171736 h 546544"/>
                <a:gd name="connsiteX135" fmla="*/ 59341 w 579405"/>
                <a:gd name="connsiteY135" fmla="*/ 165354 h 546544"/>
                <a:gd name="connsiteX136" fmla="*/ 54007 w 579405"/>
                <a:gd name="connsiteY136" fmla="*/ 166021 h 546544"/>
                <a:gd name="connsiteX137" fmla="*/ 47530 w 579405"/>
                <a:gd name="connsiteY137" fmla="*/ 172307 h 546544"/>
                <a:gd name="connsiteX138" fmla="*/ 43434 w 579405"/>
                <a:gd name="connsiteY138" fmla="*/ 169259 h 546544"/>
                <a:gd name="connsiteX139" fmla="*/ 36481 w 579405"/>
                <a:gd name="connsiteY139" fmla="*/ 172021 h 546544"/>
                <a:gd name="connsiteX140" fmla="*/ 29337 w 579405"/>
                <a:gd name="connsiteY140" fmla="*/ 172974 h 546544"/>
                <a:gd name="connsiteX141" fmla="*/ 23241 w 579405"/>
                <a:gd name="connsiteY141" fmla="*/ 168307 h 546544"/>
                <a:gd name="connsiteX142" fmla="*/ 30194 w 579405"/>
                <a:gd name="connsiteY142" fmla="*/ 165545 h 546544"/>
                <a:gd name="connsiteX143" fmla="*/ 31242 w 579405"/>
                <a:gd name="connsiteY143" fmla="*/ 160020 h 546544"/>
                <a:gd name="connsiteX144" fmla="*/ 29432 w 579405"/>
                <a:gd name="connsiteY144" fmla="*/ 160211 h 546544"/>
                <a:gd name="connsiteX145" fmla="*/ 22670 w 579405"/>
                <a:gd name="connsiteY145" fmla="*/ 150304 h 546544"/>
                <a:gd name="connsiteX146" fmla="*/ 17240 w 579405"/>
                <a:gd name="connsiteY146" fmla="*/ 150971 h 546544"/>
                <a:gd name="connsiteX147" fmla="*/ 9620 w 579405"/>
                <a:gd name="connsiteY147" fmla="*/ 148400 h 546544"/>
                <a:gd name="connsiteX148" fmla="*/ 8001 w 579405"/>
                <a:gd name="connsiteY148" fmla="*/ 135922 h 546544"/>
                <a:gd name="connsiteX149" fmla="*/ 2762 w 579405"/>
                <a:gd name="connsiteY149" fmla="*/ 138398 h 546544"/>
                <a:gd name="connsiteX150" fmla="*/ 2095 w 579405"/>
                <a:gd name="connsiteY150" fmla="*/ 133064 h 546544"/>
                <a:gd name="connsiteX151" fmla="*/ 6286 w 579405"/>
                <a:gd name="connsiteY151" fmla="*/ 123444 h 546544"/>
                <a:gd name="connsiteX152" fmla="*/ 2000 w 579405"/>
                <a:gd name="connsiteY152" fmla="*/ 118586 h 546544"/>
                <a:gd name="connsiteX153" fmla="*/ 0 w 579405"/>
                <a:gd name="connsiteY153" fmla="*/ 116967 h 546544"/>
                <a:gd name="connsiteX154" fmla="*/ 10287 w 579405"/>
                <a:gd name="connsiteY154" fmla="*/ 112014 h 546544"/>
                <a:gd name="connsiteX155" fmla="*/ 13430 w 579405"/>
                <a:gd name="connsiteY155" fmla="*/ 107918 h 546544"/>
                <a:gd name="connsiteX156" fmla="*/ 16764 w 579405"/>
                <a:gd name="connsiteY156" fmla="*/ 105728 h 546544"/>
                <a:gd name="connsiteX157" fmla="*/ 14764 w 579405"/>
                <a:gd name="connsiteY157" fmla="*/ 104204 h 546544"/>
                <a:gd name="connsiteX158" fmla="*/ 21431 w 579405"/>
                <a:gd name="connsiteY158" fmla="*/ 99632 h 546544"/>
                <a:gd name="connsiteX159" fmla="*/ 16383 w 579405"/>
                <a:gd name="connsiteY159" fmla="*/ 89440 h 546544"/>
                <a:gd name="connsiteX160" fmla="*/ 7811 w 579405"/>
                <a:gd name="connsiteY160" fmla="*/ 79724 h 546544"/>
                <a:gd name="connsiteX161" fmla="*/ 9144 w 579405"/>
                <a:gd name="connsiteY161" fmla="*/ 75914 h 546544"/>
                <a:gd name="connsiteX162" fmla="*/ 13240 w 579405"/>
                <a:gd name="connsiteY162" fmla="*/ 78962 h 546544"/>
                <a:gd name="connsiteX163" fmla="*/ 16573 w 579405"/>
                <a:gd name="connsiteY163" fmla="*/ 76676 h 546544"/>
                <a:gd name="connsiteX164" fmla="*/ 27146 w 579405"/>
                <a:gd name="connsiteY164" fmla="*/ 73533 h 546544"/>
                <a:gd name="connsiteX165" fmla="*/ 29813 w 579405"/>
                <a:gd name="connsiteY165" fmla="*/ 65913 h 546544"/>
                <a:gd name="connsiteX166" fmla="*/ 29051 w 579405"/>
                <a:gd name="connsiteY166" fmla="*/ 60579 h 546544"/>
                <a:gd name="connsiteX167" fmla="*/ 32195 w 579405"/>
                <a:gd name="connsiteY167" fmla="*/ 56483 h 546544"/>
                <a:gd name="connsiteX168" fmla="*/ 36290 w 579405"/>
                <a:gd name="connsiteY168" fmla="*/ 59627 h 546544"/>
                <a:gd name="connsiteX169" fmla="*/ 53721 w 579405"/>
                <a:gd name="connsiteY169" fmla="*/ 53626 h 546544"/>
                <a:gd name="connsiteX170" fmla="*/ 54387 w 579405"/>
                <a:gd name="connsiteY170" fmla="*/ 44577 h 546544"/>
                <a:gd name="connsiteX171" fmla="*/ 56102 w 579405"/>
                <a:gd name="connsiteY171" fmla="*/ 44291 h 546544"/>
                <a:gd name="connsiteX172" fmla="*/ 55626 w 579405"/>
                <a:gd name="connsiteY172" fmla="*/ 40767 h 546544"/>
                <a:gd name="connsiteX173" fmla="*/ 58578 w 579405"/>
                <a:gd name="connsiteY173" fmla="*/ 34862 h 546544"/>
                <a:gd name="connsiteX174" fmla="*/ 56292 w 579405"/>
                <a:gd name="connsiteY174" fmla="*/ 31623 h 546544"/>
                <a:gd name="connsiteX175" fmla="*/ 54007 w 579405"/>
                <a:gd name="connsiteY175" fmla="*/ 28289 h 546544"/>
                <a:gd name="connsiteX176" fmla="*/ 57626 w 579405"/>
                <a:gd name="connsiteY176" fmla="*/ 27813 h 546544"/>
                <a:gd name="connsiteX177" fmla="*/ 61722 w 579405"/>
                <a:gd name="connsiteY177" fmla="*/ 30861 h 546544"/>
                <a:gd name="connsiteX178" fmla="*/ 65722 w 579405"/>
                <a:gd name="connsiteY178" fmla="*/ 34004 h 546544"/>
                <a:gd name="connsiteX179" fmla="*/ 74962 w 579405"/>
                <a:gd name="connsiteY179" fmla="*/ 34576 h 546544"/>
                <a:gd name="connsiteX180" fmla="*/ 77248 w 579405"/>
                <a:gd name="connsiteY180" fmla="*/ 37910 h 546544"/>
                <a:gd name="connsiteX181" fmla="*/ 80867 w 579405"/>
                <a:gd name="connsiteY181" fmla="*/ 37433 h 546544"/>
                <a:gd name="connsiteX182" fmla="*/ 85154 w 579405"/>
                <a:gd name="connsiteY182" fmla="*/ 42291 h 546544"/>
                <a:gd name="connsiteX183" fmla="*/ 90297 w 579405"/>
                <a:gd name="connsiteY183" fmla="*/ 39815 h 546544"/>
                <a:gd name="connsiteX184" fmla="*/ 98393 w 579405"/>
                <a:gd name="connsiteY184" fmla="*/ 45911 h 546544"/>
                <a:gd name="connsiteX185" fmla="*/ 108680 w 579405"/>
                <a:gd name="connsiteY185" fmla="*/ 40958 h 546544"/>
                <a:gd name="connsiteX186" fmla="*/ 108299 w 579405"/>
                <a:gd name="connsiteY186" fmla="*/ 37433 h 546544"/>
                <a:gd name="connsiteX187" fmla="*/ 107728 w 579405"/>
                <a:gd name="connsiteY187" fmla="*/ 33814 h 546544"/>
                <a:gd name="connsiteX188" fmla="*/ 118967 w 579405"/>
                <a:gd name="connsiteY188" fmla="*/ 21527 h 546544"/>
                <a:gd name="connsiteX189" fmla="*/ 122206 w 579405"/>
                <a:gd name="connsiteY189" fmla="*/ 4763 h 546544"/>
                <a:gd name="connsiteX190" fmla="*/ 150971 w 579405"/>
                <a:gd name="connsiteY190" fmla="*/ 953 h 546544"/>
                <a:gd name="connsiteX191" fmla="*/ 158115 w 579405"/>
                <a:gd name="connsiteY191" fmla="*/ 0 h 546544"/>
                <a:gd name="connsiteX192" fmla="*/ 166211 w 579405"/>
                <a:gd name="connsiteY192" fmla="*/ 6191 h 546544"/>
                <a:gd name="connsiteX193" fmla="*/ 167830 w 579405"/>
                <a:gd name="connsiteY193" fmla="*/ 4096 h 546544"/>
                <a:gd name="connsiteX194" fmla="*/ 173164 w 579405"/>
                <a:gd name="connsiteY194" fmla="*/ 3429 h 546544"/>
                <a:gd name="connsiteX195" fmla="*/ 180022 w 579405"/>
                <a:gd name="connsiteY195" fmla="*/ 13430 h 546544"/>
                <a:gd name="connsiteX196" fmla="*/ 190214 w 579405"/>
                <a:gd name="connsiteY196" fmla="*/ 21146 h 546544"/>
                <a:gd name="connsiteX197" fmla="*/ 192024 w 579405"/>
                <a:gd name="connsiteY197" fmla="*/ 35338 h 546544"/>
                <a:gd name="connsiteX198" fmla="*/ 191643 w 579405"/>
                <a:gd name="connsiteY198" fmla="*/ 46292 h 546544"/>
                <a:gd name="connsiteX199" fmla="*/ 199358 w 579405"/>
                <a:gd name="connsiteY199" fmla="*/ 48958 h 546544"/>
                <a:gd name="connsiteX200" fmla="*/ 200882 w 579405"/>
                <a:gd name="connsiteY200" fmla="*/ 46958 h 546544"/>
                <a:gd name="connsiteX201" fmla="*/ 210121 w 579405"/>
                <a:gd name="connsiteY201" fmla="*/ 47530 h 546544"/>
                <a:gd name="connsiteX202" fmla="*/ 228695 w 579405"/>
                <a:gd name="connsiteY202" fmla="*/ 36004 h 546544"/>
                <a:gd name="connsiteX203" fmla="*/ 246412 w 579405"/>
                <a:gd name="connsiteY203" fmla="*/ 31814 h 546544"/>
                <a:gd name="connsiteX204" fmla="*/ 256984 w 579405"/>
                <a:gd name="connsiteY204" fmla="*/ 28575 h 546544"/>
                <a:gd name="connsiteX205" fmla="*/ 266129 w 579405"/>
                <a:gd name="connsiteY205" fmla="*/ 29242 h 546544"/>
                <a:gd name="connsiteX206" fmla="*/ 269557 w 579405"/>
                <a:gd name="connsiteY206" fmla="*/ 26956 h 546544"/>
                <a:gd name="connsiteX207" fmla="*/ 272891 w 579405"/>
                <a:gd name="connsiteY207" fmla="*/ 24670 h 546544"/>
                <a:gd name="connsiteX208" fmla="*/ 284131 w 579405"/>
                <a:gd name="connsiteY208" fmla="*/ 26861 h 546544"/>
                <a:gd name="connsiteX209" fmla="*/ 287464 w 579405"/>
                <a:gd name="connsiteY209" fmla="*/ 24575 h 546544"/>
                <a:gd name="connsiteX210" fmla="*/ 296703 w 579405"/>
                <a:gd name="connsiteY210" fmla="*/ 25146 h 546544"/>
                <a:gd name="connsiteX211" fmla="*/ 308800 w 579405"/>
                <a:gd name="connsiteY211" fmla="*/ 19907 h 546544"/>
                <a:gd name="connsiteX212" fmla="*/ 319850 w 579405"/>
                <a:gd name="connsiteY212" fmla="*/ 34766 h 546544"/>
                <a:gd name="connsiteX213" fmla="*/ 339185 w 579405"/>
                <a:gd name="connsiteY213" fmla="*/ 28575 h 546544"/>
                <a:gd name="connsiteX214" fmla="*/ 344138 w 579405"/>
                <a:gd name="connsiteY214" fmla="*/ 24289 h 546544"/>
                <a:gd name="connsiteX215" fmla="*/ 349948 w 579405"/>
                <a:gd name="connsiteY215" fmla="*/ 27146 h 546544"/>
                <a:gd name="connsiteX216" fmla="*/ 355187 w 579405"/>
                <a:gd name="connsiteY216" fmla="*/ 39148 h 546544"/>
                <a:gd name="connsiteX217" fmla="*/ 369856 w 579405"/>
                <a:gd name="connsiteY217" fmla="*/ 53531 h 546544"/>
                <a:gd name="connsiteX218" fmla="*/ 381667 w 579405"/>
                <a:gd name="connsiteY218" fmla="*/ 59246 h 546544"/>
                <a:gd name="connsiteX219" fmla="*/ 391953 w 579405"/>
                <a:gd name="connsiteY219" fmla="*/ 54292 h 546544"/>
                <a:gd name="connsiteX220" fmla="*/ 397573 w 579405"/>
                <a:gd name="connsiteY220" fmla="*/ 55340 h 546544"/>
                <a:gd name="connsiteX221" fmla="*/ 401860 w 579405"/>
                <a:gd name="connsiteY221" fmla="*/ 60198 h 546544"/>
                <a:gd name="connsiteX222" fmla="*/ 426625 w 579405"/>
                <a:gd name="connsiteY222" fmla="*/ 67818 h 546544"/>
                <a:gd name="connsiteX223" fmla="*/ 433578 w 579405"/>
                <a:gd name="connsiteY223" fmla="*/ 65056 h 546544"/>
                <a:gd name="connsiteX224" fmla="*/ 439102 w 579405"/>
                <a:gd name="connsiteY224" fmla="*/ 51625 h 546544"/>
                <a:gd name="connsiteX225" fmla="*/ 446246 w 579405"/>
                <a:gd name="connsiteY225" fmla="*/ 50673 h 546544"/>
                <a:gd name="connsiteX226" fmla="*/ 461105 w 579405"/>
                <a:gd name="connsiteY226" fmla="*/ 52388 h 546544"/>
                <a:gd name="connsiteX227" fmla="*/ 468820 w 579405"/>
                <a:gd name="connsiteY227" fmla="*/ 54959 h 546544"/>
                <a:gd name="connsiteX228" fmla="*/ 471297 w 579405"/>
                <a:gd name="connsiteY228" fmla="*/ 60103 h 546544"/>
                <a:gd name="connsiteX229" fmla="*/ 476821 w 579405"/>
                <a:gd name="connsiteY229" fmla="*/ 88392 h 546544"/>
                <a:gd name="connsiteX230" fmla="*/ 483203 w 579405"/>
                <a:gd name="connsiteY230" fmla="*/ 94774 h 546544"/>
                <a:gd name="connsiteX231" fmla="*/ 490251 w 579405"/>
                <a:gd name="connsiteY231" fmla="*/ 106490 h 546544"/>
                <a:gd name="connsiteX232" fmla="*/ 497395 w 579405"/>
                <a:gd name="connsiteY232" fmla="*/ 105537 h 546544"/>
                <a:gd name="connsiteX233" fmla="*/ 509397 w 579405"/>
                <a:gd name="connsiteY233" fmla="*/ 113062 h 546544"/>
                <a:gd name="connsiteX234" fmla="*/ 514731 w 579405"/>
                <a:gd name="connsiteY234" fmla="*/ 112300 h 546544"/>
                <a:gd name="connsiteX235" fmla="*/ 523399 w 579405"/>
                <a:gd name="connsiteY235" fmla="*/ 122111 h 546544"/>
                <a:gd name="connsiteX236" fmla="*/ 523875 w 579405"/>
                <a:gd name="connsiteY236" fmla="*/ 125635 h 546544"/>
                <a:gd name="connsiteX237" fmla="*/ 522256 w 579405"/>
                <a:gd name="connsiteY237" fmla="*/ 127635 h 546544"/>
                <a:gd name="connsiteX238" fmla="*/ 524542 w 579405"/>
                <a:gd name="connsiteY238" fmla="*/ 130969 h 546544"/>
                <a:gd name="connsiteX239" fmla="*/ 531686 w 579405"/>
                <a:gd name="connsiteY239" fmla="*/ 130016 h 546544"/>
                <a:gd name="connsiteX240" fmla="*/ 537210 w 579405"/>
                <a:gd name="connsiteY240" fmla="*/ 143828 h 546544"/>
                <a:gd name="connsiteX241" fmla="*/ 531304 w 579405"/>
                <a:gd name="connsiteY241" fmla="*/ 168212 h 546544"/>
                <a:gd name="connsiteX242" fmla="*/ 540258 w 579405"/>
                <a:gd name="connsiteY242" fmla="*/ 166973 h 546544"/>
                <a:gd name="connsiteX243" fmla="*/ 547973 w 579405"/>
                <a:gd name="connsiteY243" fmla="*/ 169545 h 546544"/>
                <a:gd name="connsiteX244" fmla="*/ 556070 w 579405"/>
                <a:gd name="connsiteY244" fmla="*/ 175736 h 546544"/>
                <a:gd name="connsiteX245" fmla="*/ 561404 w 579405"/>
                <a:gd name="connsiteY245" fmla="*/ 175070 h 546544"/>
                <a:gd name="connsiteX246" fmla="*/ 567309 w 579405"/>
                <a:gd name="connsiteY246" fmla="*/ 177927 h 546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</a:cxnLst>
              <a:rect l="l" t="t" r="r" b="b"/>
              <a:pathLst>
                <a:path w="579405" h="546544">
                  <a:moveTo>
                    <a:pt x="567309" y="177927"/>
                  </a:moveTo>
                  <a:lnTo>
                    <a:pt x="570071" y="184785"/>
                  </a:lnTo>
                  <a:lnTo>
                    <a:pt x="570738" y="190119"/>
                  </a:lnTo>
                  <a:lnTo>
                    <a:pt x="579406" y="214408"/>
                  </a:lnTo>
                  <a:lnTo>
                    <a:pt x="573691" y="226028"/>
                  </a:lnTo>
                  <a:lnTo>
                    <a:pt x="565595" y="234315"/>
                  </a:lnTo>
                  <a:lnTo>
                    <a:pt x="570452" y="242792"/>
                  </a:lnTo>
                  <a:lnTo>
                    <a:pt x="563213" y="243745"/>
                  </a:lnTo>
                  <a:lnTo>
                    <a:pt x="558546" y="249746"/>
                  </a:lnTo>
                  <a:lnTo>
                    <a:pt x="546735" y="271272"/>
                  </a:lnTo>
                  <a:lnTo>
                    <a:pt x="535114" y="280035"/>
                  </a:lnTo>
                  <a:lnTo>
                    <a:pt x="508635" y="287179"/>
                  </a:lnTo>
                  <a:lnTo>
                    <a:pt x="505016" y="287655"/>
                  </a:lnTo>
                  <a:lnTo>
                    <a:pt x="495014" y="294418"/>
                  </a:lnTo>
                  <a:lnTo>
                    <a:pt x="479298" y="300133"/>
                  </a:lnTo>
                  <a:lnTo>
                    <a:pt x="479965" y="305467"/>
                  </a:lnTo>
                  <a:lnTo>
                    <a:pt x="478441" y="307467"/>
                  </a:lnTo>
                  <a:lnTo>
                    <a:pt x="462248" y="309658"/>
                  </a:lnTo>
                  <a:lnTo>
                    <a:pt x="453580" y="312611"/>
                  </a:lnTo>
                  <a:lnTo>
                    <a:pt x="446818" y="317087"/>
                  </a:lnTo>
                  <a:lnTo>
                    <a:pt x="434530" y="320612"/>
                  </a:lnTo>
                  <a:lnTo>
                    <a:pt x="431102" y="322802"/>
                  </a:lnTo>
                  <a:lnTo>
                    <a:pt x="409099" y="322136"/>
                  </a:lnTo>
                  <a:lnTo>
                    <a:pt x="405955" y="326136"/>
                  </a:lnTo>
                  <a:lnTo>
                    <a:pt x="402145" y="324898"/>
                  </a:lnTo>
                  <a:lnTo>
                    <a:pt x="397002" y="327374"/>
                  </a:lnTo>
                  <a:lnTo>
                    <a:pt x="391382" y="326327"/>
                  </a:lnTo>
                  <a:lnTo>
                    <a:pt x="386715" y="332327"/>
                  </a:lnTo>
                  <a:lnTo>
                    <a:pt x="382905" y="331089"/>
                  </a:lnTo>
                  <a:lnTo>
                    <a:pt x="376142" y="335566"/>
                  </a:lnTo>
                  <a:lnTo>
                    <a:pt x="376428" y="337375"/>
                  </a:lnTo>
                  <a:lnTo>
                    <a:pt x="379095" y="344234"/>
                  </a:lnTo>
                  <a:lnTo>
                    <a:pt x="377380" y="358997"/>
                  </a:lnTo>
                  <a:lnTo>
                    <a:pt x="359093" y="372237"/>
                  </a:lnTo>
                  <a:lnTo>
                    <a:pt x="356616" y="381667"/>
                  </a:lnTo>
                  <a:lnTo>
                    <a:pt x="344995" y="390430"/>
                  </a:lnTo>
                  <a:lnTo>
                    <a:pt x="346900" y="404717"/>
                  </a:lnTo>
                  <a:lnTo>
                    <a:pt x="344995" y="417671"/>
                  </a:lnTo>
                  <a:lnTo>
                    <a:pt x="353949" y="416433"/>
                  </a:lnTo>
                  <a:lnTo>
                    <a:pt x="351758" y="427577"/>
                  </a:lnTo>
                  <a:lnTo>
                    <a:pt x="354235" y="432721"/>
                  </a:lnTo>
                  <a:lnTo>
                    <a:pt x="347376" y="435483"/>
                  </a:lnTo>
                  <a:lnTo>
                    <a:pt x="349186" y="449675"/>
                  </a:lnTo>
                  <a:lnTo>
                    <a:pt x="347472" y="449961"/>
                  </a:lnTo>
                  <a:lnTo>
                    <a:pt x="341852" y="463391"/>
                  </a:lnTo>
                  <a:lnTo>
                    <a:pt x="333851" y="471678"/>
                  </a:lnTo>
                  <a:lnTo>
                    <a:pt x="334042" y="500634"/>
                  </a:lnTo>
                  <a:lnTo>
                    <a:pt x="340804" y="510635"/>
                  </a:lnTo>
                  <a:lnTo>
                    <a:pt x="325850" y="521684"/>
                  </a:lnTo>
                  <a:lnTo>
                    <a:pt x="324326" y="523684"/>
                  </a:lnTo>
                  <a:lnTo>
                    <a:pt x="325660" y="534448"/>
                  </a:lnTo>
                  <a:lnTo>
                    <a:pt x="320802" y="538734"/>
                  </a:lnTo>
                  <a:lnTo>
                    <a:pt x="316325" y="546544"/>
                  </a:lnTo>
                  <a:lnTo>
                    <a:pt x="304800" y="542639"/>
                  </a:lnTo>
                  <a:lnTo>
                    <a:pt x="303086" y="542830"/>
                  </a:lnTo>
                  <a:lnTo>
                    <a:pt x="300323" y="535972"/>
                  </a:lnTo>
                  <a:lnTo>
                    <a:pt x="298323" y="534448"/>
                  </a:lnTo>
                  <a:lnTo>
                    <a:pt x="290893" y="533591"/>
                  </a:lnTo>
                  <a:lnTo>
                    <a:pt x="294227" y="531305"/>
                  </a:lnTo>
                  <a:lnTo>
                    <a:pt x="288607" y="530257"/>
                  </a:lnTo>
                  <a:lnTo>
                    <a:pt x="284512" y="527209"/>
                  </a:lnTo>
                  <a:lnTo>
                    <a:pt x="280701" y="525875"/>
                  </a:lnTo>
                  <a:lnTo>
                    <a:pt x="276130" y="519208"/>
                  </a:lnTo>
                  <a:lnTo>
                    <a:pt x="265747" y="509683"/>
                  </a:lnTo>
                  <a:lnTo>
                    <a:pt x="260985" y="501301"/>
                  </a:lnTo>
                  <a:lnTo>
                    <a:pt x="258699" y="497967"/>
                  </a:lnTo>
                  <a:lnTo>
                    <a:pt x="237839" y="506159"/>
                  </a:lnTo>
                  <a:lnTo>
                    <a:pt x="238316" y="509683"/>
                  </a:lnTo>
                  <a:lnTo>
                    <a:pt x="232981" y="510445"/>
                  </a:lnTo>
                  <a:lnTo>
                    <a:pt x="224885" y="504254"/>
                  </a:lnTo>
                  <a:lnTo>
                    <a:pt x="223456" y="493585"/>
                  </a:lnTo>
                  <a:lnTo>
                    <a:pt x="219360" y="490442"/>
                  </a:lnTo>
                  <a:lnTo>
                    <a:pt x="215836" y="490918"/>
                  </a:lnTo>
                  <a:lnTo>
                    <a:pt x="213265" y="485870"/>
                  </a:lnTo>
                  <a:lnTo>
                    <a:pt x="214598" y="482060"/>
                  </a:lnTo>
                  <a:lnTo>
                    <a:pt x="208693" y="479203"/>
                  </a:lnTo>
                  <a:lnTo>
                    <a:pt x="201930" y="469201"/>
                  </a:lnTo>
                  <a:lnTo>
                    <a:pt x="200977" y="462058"/>
                  </a:lnTo>
                  <a:lnTo>
                    <a:pt x="196977" y="459010"/>
                  </a:lnTo>
                  <a:lnTo>
                    <a:pt x="193929" y="450342"/>
                  </a:lnTo>
                  <a:lnTo>
                    <a:pt x="193262" y="444913"/>
                  </a:lnTo>
                  <a:lnTo>
                    <a:pt x="182023" y="442817"/>
                  </a:lnTo>
                  <a:lnTo>
                    <a:pt x="173260" y="445770"/>
                  </a:lnTo>
                  <a:lnTo>
                    <a:pt x="167735" y="432054"/>
                  </a:lnTo>
                  <a:lnTo>
                    <a:pt x="162116" y="430911"/>
                  </a:lnTo>
                  <a:lnTo>
                    <a:pt x="158115" y="427863"/>
                  </a:lnTo>
                  <a:lnTo>
                    <a:pt x="154495" y="428339"/>
                  </a:lnTo>
                  <a:lnTo>
                    <a:pt x="151543" y="419671"/>
                  </a:lnTo>
                  <a:lnTo>
                    <a:pt x="152876" y="415862"/>
                  </a:lnTo>
                  <a:lnTo>
                    <a:pt x="148018" y="407480"/>
                  </a:lnTo>
                  <a:lnTo>
                    <a:pt x="147828" y="405670"/>
                  </a:lnTo>
                  <a:lnTo>
                    <a:pt x="154305" y="399383"/>
                  </a:lnTo>
                  <a:lnTo>
                    <a:pt x="157925" y="398907"/>
                  </a:lnTo>
                  <a:lnTo>
                    <a:pt x="157448" y="395288"/>
                  </a:lnTo>
                  <a:lnTo>
                    <a:pt x="153828" y="395764"/>
                  </a:lnTo>
                  <a:lnTo>
                    <a:pt x="153352" y="392240"/>
                  </a:lnTo>
                  <a:lnTo>
                    <a:pt x="158972" y="393287"/>
                  </a:lnTo>
                  <a:lnTo>
                    <a:pt x="161830" y="387477"/>
                  </a:lnTo>
                  <a:lnTo>
                    <a:pt x="156305" y="386429"/>
                  </a:lnTo>
                  <a:lnTo>
                    <a:pt x="161163" y="382143"/>
                  </a:lnTo>
                  <a:lnTo>
                    <a:pt x="155638" y="368332"/>
                  </a:lnTo>
                  <a:lnTo>
                    <a:pt x="136398" y="374523"/>
                  </a:lnTo>
                  <a:lnTo>
                    <a:pt x="131826" y="367856"/>
                  </a:lnTo>
                  <a:lnTo>
                    <a:pt x="126016" y="364998"/>
                  </a:lnTo>
                  <a:lnTo>
                    <a:pt x="123539" y="359950"/>
                  </a:lnTo>
                  <a:lnTo>
                    <a:pt x="126587" y="355854"/>
                  </a:lnTo>
                  <a:lnTo>
                    <a:pt x="115062" y="337471"/>
                  </a:lnTo>
                  <a:lnTo>
                    <a:pt x="107156" y="333089"/>
                  </a:lnTo>
                  <a:lnTo>
                    <a:pt x="108013" y="325755"/>
                  </a:lnTo>
                  <a:lnTo>
                    <a:pt x="114871" y="308515"/>
                  </a:lnTo>
                  <a:lnTo>
                    <a:pt x="114681" y="306705"/>
                  </a:lnTo>
                  <a:lnTo>
                    <a:pt x="96202" y="305467"/>
                  </a:lnTo>
                  <a:lnTo>
                    <a:pt x="90583" y="304419"/>
                  </a:lnTo>
                  <a:lnTo>
                    <a:pt x="91630" y="298799"/>
                  </a:lnTo>
                  <a:lnTo>
                    <a:pt x="89345" y="295561"/>
                  </a:lnTo>
                  <a:lnTo>
                    <a:pt x="73437" y="299466"/>
                  </a:lnTo>
                  <a:lnTo>
                    <a:pt x="68103" y="300133"/>
                  </a:lnTo>
                  <a:lnTo>
                    <a:pt x="64008" y="297085"/>
                  </a:lnTo>
                  <a:lnTo>
                    <a:pt x="62389" y="284607"/>
                  </a:lnTo>
                  <a:lnTo>
                    <a:pt x="55436" y="287369"/>
                  </a:lnTo>
                  <a:lnTo>
                    <a:pt x="44577" y="274225"/>
                  </a:lnTo>
                  <a:lnTo>
                    <a:pt x="35052" y="271844"/>
                  </a:lnTo>
                  <a:lnTo>
                    <a:pt x="33909" y="262985"/>
                  </a:lnTo>
                  <a:lnTo>
                    <a:pt x="47339" y="253937"/>
                  </a:lnTo>
                  <a:lnTo>
                    <a:pt x="51054" y="240792"/>
                  </a:lnTo>
                  <a:lnTo>
                    <a:pt x="59627" y="236029"/>
                  </a:lnTo>
                  <a:lnTo>
                    <a:pt x="62198" y="228410"/>
                  </a:lnTo>
                  <a:lnTo>
                    <a:pt x="68199" y="218599"/>
                  </a:lnTo>
                  <a:lnTo>
                    <a:pt x="71628" y="216313"/>
                  </a:lnTo>
                  <a:lnTo>
                    <a:pt x="67913" y="202311"/>
                  </a:lnTo>
                  <a:lnTo>
                    <a:pt x="76009" y="193929"/>
                  </a:lnTo>
                  <a:lnTo>
                    <a:pt x="77248" y="190119"/>
                  </a:lnTo>
                  <a:lnTo>
                    <a:pt x="74771" y="185071"/>
                  </a:lnTo>
                  <a:lnTo>
                    <a:pt x="68675" y="180404"/>
                  </a:lnTo>
                  <a:lnTo>
                    <a:pt x="65722" y="171736"/>
                  </a:lnTo>
                  <a:lnTo>
                    <a:pt x="59341" y="165354"/>
                  </a:lnTo>
                  <a:lnTo>
                    <a:pt x="54007" y="166021"/>
                  </a:lnTo>
                  <a:lnTo>
                    <a:pt x="47530" y="172307"/>
                  </a:lnTo>
                  <a:lnTo>
                    <a:pt x="43434" y="169259"/>
                  </a:lnTo>
                  <a:lnTo>
                    <a:pt x="36481" y="172021"/>
                  </a:lnTo>
                  <a:lnTo>
                    <a:pt x="29337" y="172974"/>
                  </a:lnTo>
                  <a:lnTo>
                    <a:pt x="23241" y="168307"/>
                  </a:lnTo>
                  <a:lnTo>
                    <a:pt x="30194" y="165545"/>
                  </a:lnTo>
                  <a:lnTo>
                    <a:pt x="31242" y="160020"/>
                  </a:lnTo>
                  <a:lnTo>
                    <a:pt x="29432" y="160211"/>
                  </a:lnTo>
                  <a:lnTo>
                    <a:pt x="22670" y="150304"/>
                  </a:lnTo>
                  <a:lnTo>
                    <a:pt x="17240" y="150971"/>
                  </a:lnTo>
                  <a:lnTo>
                    <a:pt x="9620" y="148400"/>
                  </a:lnTo>
                  <a:lnTo>
                    <a:pt x="8001" y="135922"/>
                  </a:lnTo>
                  <a:lnTo>
                    <a:pt x="2762" y="138398"/>
                  </a:lnTo>
                  <a:lnTo>
                    <a:pt x="2095" y="133064"/>
                  </a:lnTo>
                  <a:lnTo>
                    <a:pt x="6286" y="123444"/>
                  </a:lnTo>
                  <a:lnTo>
                    <a:pt x="2000" y="118586"/>
                  </a:lnTo>
                  <a:lnTo>
                    <a:pt x="0" y="116967"/>
                  </a:lnTo>
                  <a:lnTo>
                    <a:pt x="10287" y="112014"/>
                  </a:lnTo>
                  <a:lnTo>
                    <a:pt x="13430" y="107918"/>
                  </a:lnTo>
                  <a:lnTo>
                    <a:pt x="16764" y="105728"/>
                  </a:lnTo>
                  <a:lnTo>
                    <a:pt x="14764" y="104204"/>
                  </a:lnTo>
                  <a:lnTo>
                    <a:pt x="21431" y="99632"/>
                  </a:lnTo>
                  <a:lnTo>
                    <a:pt x="16383" y="89440"/>
                  </a:lnTo>
                  <a:lnTo>
                    <a:pt x="7811" y="79724"/>
                  </a:lnTo>
                  <a:lnTo>
                    <a:pt x="9144" y="75914"/>
                  </a:lnTo>
                  <a:lnTo>
                    <a:pt x="13240" y="78962"/>
                  </a:lnTo>
                  <a:lnTo>
                    <a:pt x="16573" y="76676"/>
                  </a:lnTo>
                  <a:lnTo>
                    <a:pt x="27146" y="73533"/>
                  </a:lnTo>
                  <a:lnTo>
                    <a:pt x="29813" y="65913"/>
                  </a:lnTo>
                  <a:lnTo>
                    <a:pt x="29051" y="60579"/>
                  </a:lnTo>
                  <a:lnTo>
                    <a:pt x="32195" y="56483"/>
                  </a:lnTo>
                  <a:lnTo>
                    <a:pt x="36290" y="59627"/>
                  </a:lnTo>
                  <a:lnTo>
                    <a:pt x="53721" y="53626"/>
                  </a:lnTo>
                  <a:lnTo>
                    <a:pt x="54387" y="44577"/>
                  </a:lnTo>
                  <a:lnTo>
                    <a:pt x="56102" y="44291"/>
                  </a:lnTo>
                  <a:lnTo>
                    <a:pt x="55626" y="40767"/>
                  </a:lnTo>
                  <a:lnTo>
                    <a:pt x="58578" y="34862"/>
                  </a:lnTo>
                  <a:lnTo>
                    <a:pt x="56292" y="31623"/>
                  </a:lnTo>
                  <a:lnTo>
                    <a:pt x="54007" y="28289"/>
                  </a:lnTo>
                  <a:lnTo>
                    <a:pt x="57626" y="27813"/>
                  </a:lnTo>
                  <a:lnTo>
                    <a:pt x="61722" y="30861"/>
                  </a:lnTo>
                  <a:lnTo>
                    <a:pt x="65722" y="34004"/>
                  </a:lnTo>
                  <a:lnTo>
                    <a:pt x="74962" y="34576"/>
                  </a:lnTo>
                  <a:lnTo>
                    <a:pt x="77248" y="37910"/>
                  </a:lnTo>
                  <a:lnTo>
                    <a:pt x="80867" y="37433"/>
                  </a:lnTo>
                  <a:lnTo>
                    <a:pt x="85154" y="42291"/>
                  </a:lnTo>
                  <a:lnTo>
                    <a:pt x="90297" y="39815"/>
                  </a:lnTo>
                  <a:lnTo>
                    <a:pt x="98393" y="45911"/>
                  </a:lnTo>
                  <a:lnTo>
                    <a:pt x="108680" y="40958"/>
                  </a:lnTo>
                  <a:lnTo>
                    <a:pt x="108299" y="37433"/>
                  </a:lnTo>
                  <a:lnTo>
                    <a:pt x="107728" y="33814"/>
                  </a:lnTo>
                  <a:lnTo>
                    <a:pt x="118967" y="21527"/>
                  </a:lnTo>
                  <a:lnTo>
                    <a:pt x="122206" y="4763"/>
                  </a:lnTo>
                  <a:lnTo>
                    <a:pt x="150971" y="953"/>
                  </a:lnTo>
                  <a:lnTo>
                    <a:pt x="158115" y="0"/>
                  </a:lnTo>
                  <a:lnTo>
                    <a:pt x="166211" y="6191"/>
                  </a:lnTo>
                  <a:lnTo>
                    <a:pt x="167830" y="4096"/>
                  </a:lnTo>
                  <a:lnTo>
                    <a:pt x="173164" y="3429"/>
                  </a:lnTo>
                  <a:lnTo>
                    <a:pt x="180022" y="13430"/>
                  </a:lnTo>
                  <a:lnTo>
                    <a:pt x="190214" y="21146"/>
                  </a:lnTo>
                  <a:lnTo>
                    <a:pt x="192024" y="35338"/>
                  </a:lnTo>
                  <a:lnTo>
                    <a:pt x="191643" y="46292"/>
                  </a:lnTo>
                  <a:lnTo>
                    <a:pt x="199358" y="48958"/>
                  </a:lnTo>
                  <a:lnTo>
                    <a:pt x="200882" y="46958"/>
                  </a:lnTo>
                  <a:lnTo>
                    <a:pt x="210121" y="47530"/>
                  </a:lnTo>
                  <a:lnTo>
                    <a:pt x="228695" y="36004"/>
                  </a:lnTo>
                  <a:lnTo>
                    <a:pt x="246412" y="31814"/>
                  </a:lnTo>
                  <a:lnTo>
                    <a:pt x="256984" y="28575"/>
                  </a:lnTo>
                  <a:lnTo>
                    <a:pt x="266129" y="29242"/>
                  </a:lnTo>
                  <a:lnTo>
                    <a:pt x="269557" y="26956"/>
                  </a:lnTo>
                  <a:lnTo>
                    <a:pt x="272891" y="24670"/>
                  </a:lnTo>
                  <a:lnTo>
                    <a:pt x="284131" y="26861"/>
                  </a:lnTo>
                  <a:lnTo>
                    <a:pt x="287464" y="24575"/>
                  </a:lnTo>
                  <a:lnTo>
                    <a:pt x="296703" y="25146"/>
                  </a:lnTo>
                  <a:lnTo>
                    <a:pt x="308800" y="19907"/>
                  </a:lnTo>
                  <a:lnTo>
                    <a:pt x="319850" y="34766"/>
                  </a:lnTo>
                  <a:lnTo>
                    <a:pt x="339185" y="28575"/>
                  </a:lnTo>
                  <a:lnTo>
                    <a:pt x="344138" y="24289"/>
                  </a:lnTo>
                  <a:lnTo>
                    <a:pt x="349948" y="27146"/>
                  </a:lnTo>
                  <a:lnTo>
                    <a:pt x="355187" y="39148"/>
                  </a:lnTo>
                  <a:lnTo>
                    <a:pt x="369856" y="53531"/>
                  </a:lnTo>
                  <a:lnTo>
                    <a:pt x="381667" y="59246"/>
                  </a:lnTo>
                  <a:lnTo>
                    <a:pt x="391953" y="54292"/>
                  </a:lnTo>
                  <a:lnTo>
                    <a:pt x="397573" y="55340"/>
                  </a:lnTo>
                  <a:lnTo>
                    <a:pt x="401860" y="60198"/>
                  </a:lnTo>
                  <a:lnTo>
                    <a:pt x="426625" y="67818"/>
                  </a:lnTo>
                  <a:lnTo>
                    <a:pt x="433578" y="65056"/>
                  </a:lnTo>
                  <a:lnTo>
                    <a:pt x="439102" y="51625"/>
                  </a:lnTo>
                  <a:lnTo>
                    <a:pt x="446246" y="50673"/>
                  </a:lnTo>
                  <a:lnTo>
                    <a:pt x="461105" y="52388"/>
                  </a:lnTo>
                  <a:lnTo>
                    <a:pt x="468820" y="54959"/>
                  </a:lnTo>
                  <a:lnTo>
                    <a:pt x="471297" y="60103"/>
                  </a:lnTo>
                  <a:lnTo>
                    <a:pt x="476821" y="88392"/>
                  </a:lnTo>
                  <a:lnTo>
                    <a:pt x="483203" y="94774"/>
                  </a:lnTo>
                  <a:lnTo>
                    <a:pt x="490251" y="106490"/>
                  </a:lnTo>
                  <a:lnTo>
                    <a:pt x="497395" y="105537"/>
                  </a:lnTo>
                  <a:lnTo>
                    <a:pt x="509397" y="113062"/>
                  </a:lnTo>
                  <a:lnTo>
                    <a:pt x="514731" y="112300"/>
                  </a:lnTo>
                  <a:lnTo>
                    <a:pt x="523399" y="122111"/>
                  </a:lnTo>
                  <a:lnTo>
                    <a:pt x="523875" y="125635"/>
                  </a:lnTo>
                  <a:lnTo>
                    <a:pt x="522256" y="127635"/>
                  </a:lnTo>
                  <a:lnTo>
                    <a:pt x="524542" y="130969"/>
                  </a:lnTo>
                  <a:lnTo>
                    <a:pt x="531686" y="130016"/>
                  </a:lnTo>
                  <a:lnTo>
                    <a:pt x="537210" y="143828"/>
                  </a:lnTo>
                  <a:lnTo>
                    <a:pt x="531304" y="168212"/>
                  </a:lnTo>
                  <a:lnTo>
                    <a:pt x="540258" y="166973"/>
                  </a:lnTo>
                  <a:lnTo>
                    <a:pt x="547973" y="169545"/>
                  </a:lnTo>
                  <a:lnTo>
                    <a:pt x="556070" y="175736"/>
                  </a:lnTo>
                  <a:lnTo>
                    <a:pt x="561404" y="175070"/>
                  </a:lnTo>
                  <a:lnTo>
                    <a:pt x="567309" y="177927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60" name="Volný tvar: obrazec 59">
              <a:extLst>
                <a:ext uri="{FF2B5EF4-FFF2-40B4-BE49-F238E27FC236}">
                  <a16:creationId xmlns:a16="http://schemas.microsoft.com/office/drawing/2014/main" id="{67FBC7C6-429D-712C-9C9A-D899C5FD6213}"/>
                </a:ext>
              </a:extLst>
            </p:cNvPr>
            <p:cNvSpPr/>
            <p:nvPr userDrawn="1"/>
          </p:nvSpPr>
          <p:spPr>
            <a:xfrm>
              <a:off x="7560944" y="3840765"/>
              <a:ext cx="657891" cy="548544"/>
            </a:xfrm>
            <a:custGeom>
              <a:avLst/>
              <a:gdLst>
                <a:gd name="connsiteX0" fmla="*/ 7334 w 657891"/>
                <a:gd name="connsiteY0" fmla="*/ 531781 h 548544"/>
                <a:gd name="connsiteX1" fmla="*/ 4763 w 657891"/>
                <a:gd name="connsiteY1" fmla="*/ 526733 h 548544"/>
                <a:gd name="connsiteX2" fmla="*/ 3239 w 657891"/>
                <a:gd name="connsiteY2" fmla="*/ 528733 h 548544"/>
                <a:gd name="connsiteX3" fmla="*/ 2477 w 657891"/>
                <a:gd name="connsiteY3" fmla="*/ 508921 h 548544"/>
                <a:gd name="connsiteX4" fmla="*/ 15240 w 657891"/>
                <a:gd name="connsiteY4" fmla="*/ 509016 h 548544"/>
                <a:gd name="connsiteX5" fmla="*/ 21146 w 657891"/>
                <a:gd name="connsiteY5" fmla="*/ 511874 h 548544"/>
                <a:gd name="connsiteX6" fmla="*/ 26003 w 657891"/>
                <a:gd name="connsiteY6" fmla="*/ 507587 h 548544"/>
                <a:gd name="connsiteX7" fmla="*/ 24575 w 657891"/>
                <a:gd name="connsiteY7" fmla="*/ 496919 h 548544"/>
                <a:gd name="connsiteX8" fmla="*/ 26384 w 657891"/>
                <a:gd name="connsiteY8" fmla="*/ 496634 h 548544"/>
                <a:gd name="connsiteX9" fmla="*/ 31528 w 657891"/>
                <a:gd name="connsiteY9" fmla="*/ 479679 h 548544"/>
                <a:gd name="connsiteX10" fmla="*/ 31909 w 657891"/>
                <a:gd name="connsiteY10" fmla="*/ 468725 h 548544"/>
                <a:gd name="connsiteX11" fmla="*/ 36767 w 657891"/>
                <a:gd name="connsiteY11" fmla="*/ 464439 h 548544"/>
                <a:gd name="connsiteX12" fmla="*/ 44196 w 657891"/>
                <a:gd name="connsiteY12" fmla="*/ 465296 h 548544"/>
                <a:gd name="connsiteX13" fmla="*/ 46482 w 657891"/>
                <a:gd name="connsiteY13" fmla="*/ 468630 h 548544"/>
                <a:gd name="connsiteX14" fmla="*/ 51816 w 657891"/>
                <a:gd name="connsiteY14" fmla="*/ 467868 h 548544"/>
                <a:gd name="connsiteX15" fmla="*/ 51149 w 657891"/>
                <a:gd name="connsiteY15" fmla="*/ 462534 h 548544"/>
                <a:gd name="connsiteX16" fmla="*/ 54483 w 657891"/>
                <a:gd name="connsiteY16" fmla="*/ 460248 h 548544"/>
                <a:gd name="connsiteX17" fmla="*/ 58293 w 657891"/>
                <a:gd name="connsiteY17" fmla="*/ 461582 h 548544"/>
                <a:gd name="connsiteX18" fmla="*/ 59627 w 657891"/>
                <a:gd name="connsiteY18" fmla="*/ 457772 h 548544"/>
                <a:gd name="connsiteX19" fmla="*/ 65532 w 657891"/>
                <a:gd name="connsiteY19" fmla="*/ 460629 h 548544"/>
                <a:gd name="connsiteX20" fmla="*/ 72581 w 657891"/>
                <a:gd name="connsiteY20" fmla="*/ 430721 h 548544"/>
                <a:gd name="connsiteX21" fmla="*/ 75914 w 657891"/>
                <a:gd name="connsiteY21" fmla="*/ 428434 h 548544"/>
                <a:gd name="connsiteX22" fmla="*/ 73628 w 657891"/>
                <a:gd name="connsiteY22" fmla="*/ 425101 h 548544"/>
                <a:gd name="connsiteX23" fmla="*/ 75438 w 657891"/>
                <a:gd name="connsiteY23" fmla="*/ 424910 h 548544"/>
                <a:gd name="connsiteX24" fmla="*/ 73152 w 657891"/>
                <a:gd name="connsiteY24" fmla="*/ 421576 h 548544"/>
                <a:gd name="connsiteX25" fmla="*/ 76295 w 657891"/>
                <a:gd name="connsiteY25" fmla="*/ 417576 h 548544"/>
                <a:gd name="connsiteX26" fmla="*/ 78200 w 657891"/>
                <a:gd name="connsiteY26" fmla="*/ 404622 h 548544"/>
                <a:gd name="connsiteX27" fmla="*/ 75438 w 657891"/>
                <a:gd name="connsiteY27" fmla="*/ 397669 h 548544"/>
                <a:gd name="connsiteX28" fmla="*/ 71914 w 657891"/>
                <a:gd name="connsiteY28" fmla="*/ 398145 h 548544"/>
                <a:gd name="connsiteX29" fmla="*/ 65818 w 657891"/>
                <a:gd name="connsiteY29" fmla="*/ 408051 h 548544"/>
                <a:gd name="connsiteX30" fmla="*/ 59150 w 657891"/>
                <a:gd name="connsiteY30" fmla="*/ 412528 h 548544"/>
                <a:gd name="connsiteX31" fmla="*/ 56864 w 657891"/>
                <a:gd name="connsiteY31" fmla="*/ 409194 h 548544"/>
                <a:gd name="connsiteX32" fmla="*/ 53245 w 657891"/>
                <a:gd name="connsiteY32" fmla="*/ 409670 h 548544"/>
                <a:gd name="connsiteX33" fmla="*/ 49435 w 657891"/>
                <a:gd name="connsiteY33" fmla="*/ 408337 h 548544"/>
                <a:gd name="connsiteX34" fmla="*/ 35052 w 657891"/>
                <a:gd name="connsiteY34" fmla="*/ 410242 h 548544"/>
                <a:gd name="connsiteX35" fmla="*/ 35814 w 657891"/>
                <a:gd name="connsiteY35" fmla="*/ 415671 h 548544"/>
                <a:gd name="connsiteX36" fmla="*/ 29718 w 657891"/>
                <a:gd name="connsiteY36" fmla="*/ 411004 h 548544"/>
                <a:gd name="connsiteX37" fmla="*/ 36195 w 657891"/>
                <a:gd name="connsiteY37" fmla="*/ 404717 h 548544"/>
                <a:gd name="connsiteX38" fmla="*/ 35243 w 657891"/>
                <a:gd name="connsiteY38" fmla="*/ 397574 h 548544"/>
                <a:gd name="connsiteX39" fmla="*/ 37052 w 657891"/>
                <a:gd name="connsiteY39" fmla="*/ 397288 h 548544"/>
                <a:gd name="connsiteX40" fmla="*/ 43529 w 657891"/>
                <a:gd name="connsiteY40" fmla="*/ 391097 h 548544"/>
                <a:gd name="connsiteX41" fmla="*/ 43053 w 657891"/>
                <a:gd name="connsiteY41" fmla="*/ 387477 h 548544"/>
                <a:gd name="connsiteX42" fmla="*/ 41243 w 657891"/>
                <a:gd name="connsiteY42" fmla="*/ 387763 h 548544"/>
                <a:gd name="connsiteX43" fmla="*/ 37148 w 657891"/>
                <a:gd name="connsiteY43" fmla="*/ 384619 h 548544"/>
                <a:gd name="connsiteX44" fmla="*/ 33338 w 657891"/>
                <a:gd name="connsiteY44" fmla="*/ 383381 h 548544"/>
                <a:gd name="connsiteX45" fmla="*/ 31433 w 657891"/>
                <a:gd name="connsiteY45" fmla="*/ 369094 h 548544"/>
                <a:gd name="connsiteX46" fmla="*/ 24860 w 657891"/>
                <a:gd name="connsiteY46" fmla="*/ 360902 h 548544"/>
                <a:gd name="connsiteX47" fmla="*/ 19050 w 657891"/>
                <a:gd name="connsiteY47" fmla="*/ 358045 h 548544"/>
                <a:gd name="connsiteX48" fmla="*/ 27718 w 657891"/>
                <a:gd name="connsiteY48" fmla="*/ 340614 h 548544"/>
                <a:gd name="connsiteX49" fmla="*/ 26289 w 657891"/>
                <a:gd name="connsiteY49" fmla="*/ 329851 h 548544"/>
                <a:gd name="connsiteX50" fmla="*/ 18383 w 657891"/>
                <a:gd name="connsiteY50" fmla="*/ 325469 h 548544"/>
                <a:gd name="connsiteX51" fmla="*/ 17621 w 657891"/>
                <a:gd name="connsiteY51" fmla="*/ 320135 h 548544"/>
                <a:gd name="connsiteX52" fmla="*/ 11811 w 657891"/>
                <a:gd name="connsiteY52" fmla="*/ 317278 h 548544"/>
                <a:gd name="connsiteX53" fmla="*/ 12668 w 657891"/>
                <a:gd name="connsiteY53" fmla="*/ 309944 h 548544"/>
                <a:gd name="connsiteX54" fmla="*/ 19145 w 657891"/>
                <a:gd name="connsiteY54" fmla="*/ 303657 h 548544"/>
                <a:gd name="connsiteX55" fmla="*/ 22289 w 657891"/>
                <a:gd name="connsiteY55" fmla="*/ 299561 h 548544"/>
                <a:gd name="connsiteX56" fmla="*/ 29242 w 657891"/>
                <a:gd name="connsiteY56" fmla="*/ 296894 h 548544"/>
                <a:gd name="connsiteX57" fmla="*/ 31147 w 657891"/>
                <a:gd name="connsiteY57" fmla="*/ 283845 h 548544"/>
                <a:gd name="connsiteX58" fmla="*/ 30956 w 657891"/>
                <a:gd name="connsiteY58" fmla="*/ 282131 h 548544"/>
                <a:gd name="connsiteX59" fmla="*/ 37148 w 657891"/>
                <a:gd name="connsiteY59" fmla="*/ 274034 h 548544"/>
                <a:gd name="connsiteX60" fmla="*/ 39243 w 657891"/>
                <a:gd name="connsiteY60" fmla="*/ 275558 h 548544"/>
                <a:gd name="connsiteX61" fmla="*/ 41720 w 657891"/>
                <a:gd name="connsiteY61" fmla="*/ 280702 h 548544"/>
                <a:gd name="connsiteX62" fmla="*/ 47054 w 657891"/>
                <a:gd name="connsiteY62" fmla="*/ 279940 h 548544"/>
                <a:gd name="connsiteX63" fmla="*/ 49340 w 657891"/>
                <a:gd name="connsiteY63" fmla="*/ 283274 h 548544"/>
                <a:gd name="connsiteX64" fmla="*/ 50959 w 657891"/>
                <a:gd name="connsiteY64" fmla="*/ 281273 h 548544"/>
                <a:gd name="connsiteX65" fmla="*/ 50959 w 657891"/>
                <a:gd name="connsiteY65" fmla="*/ 281273 h 548544"/>
                <a:gd name="connsiteX66" fmla="*/ 53150 w 657891"/>
                <a:gd name="connsiteY66" fmla="*/ 284607 h 548544"/>
                <a:gd name="connsiteX67" fmla="*/ 54007 w 657891"/>
                <a:gd name="connsiteY67" fmla="*/ 277273 h 548544"/>
                <a:gd name="connsiteX68" fmla="*/ 56483 w 657891"/>
                <a:gd name="connsiteY68" fmla="*/ 267843 h 548544"/>
                <a:gd name="connsiteX69" fmla="*/ 52864 w 657891"/>
                <a:gd name="connsiteY69" fmla="*/ 268319 h 548544"/>
                <a:gd name="connsiteX70" fmla="*/ 51911 w 657891"/>
                <a:gd name="connsiteY70" fmla="*/ 261175 h 548544"/>
                <a:gd name="connsiteX71" fmla="*/ 56579 w 657891"/>
                <a:gd name="connsiteY71" fmla="*/ 255175 h 548544"/>
                <a:gd name="connsiteX72" fmla="*/ 63818 w 657891"/>
                <a:gd name="connsiteY72" fmla="*/ 254222 h 548544"/>
                <a:gd name="connsiteX73" fmla="*/ 68961 w 657891"/>
                <a:gd name="connsiteY73" fmla="*/ 251746 h 548544"/>
                <a:gd name="connsiteX74" fmla="*/ 62579 w 657891"/>
                <a:gd name="connsiteY74" fmla="*/ 245269 h 548544"/>
                <a:gd name="connsiteX75" fmla="*/ 65913 w 657891"/>
                <a:gd name="connsiteY75" fmla="*/ 243078 h 548544"/>
                <a:gd name="connsiteX76" fmla="*/ 71342 w 657891"/>
                <a:gd name="connsiteY76" fmla="*/ 242316 h 548544"/>
                <a:gd name="connsiteX77" fmla="*/ 74104 w 657891"/>
                <a:gd name="connsiteY77" fmla="*/ 249174 h 548544"/>
                <a:gd name="connsiteX78" fmla="*/ 82010 w 657891"/>
                <a:gd name="connsiteY78" fmla="*/ 253651 h 548544"/>
                <a:gd name="connsiteX79" fmla="*/ 85344 w 657891"/>
                <a:gd name="connsiteY79" fmla="*/ 251365 h 548544"/>
                <a:gd name="connsiteX80" fmla="*/ 84582 w 657891"/>
                <a:gd name="connsiteY80" fmla="*/ 246031 h 548544"/>
                <a:gd name="connsiteX81" fmla="*/ 92012 w 657891"/>
                <a:gd name="connsiteY81" fmla="*/ 246793 h 548544"/>
                <a:gd name="connsiteX82" fmla="*/ 94964 w 657891"/>
                <a:gd name="connsiteY82" fmla="*/ 240983 h 548544"/>
                <a:gd name="connsiteX83" fmla="*/ 100298 w 657891"/>
                <a:gd name="connsiteY83" fmla="*/ 240316 h 548544"/>
                <a:gd name="connsiteX84" fmla="*/ 110014 w 657891"/>
                <a:gd name="connsiteY84" fmla="*/ 244507 h 548544"/>
                <a:gd name="connsiteX85" fmla="*/ 113633 w 657891"/>
                <a:gd name="connsiteY85" fmla="*/ 243935 h 548544"/>
                <a:gd name="connsiteX86" fmla="*/ 118491 w 657891"/>
                <a:gd name="connsiteY86" fmla="*/ 239744 h 548544"/>
                <a:gd name="connsiteX87" fmla="*/ 121349 w 657891"/>
                <a:gd name="connsiteY87" fmla="*/ 233934 h 548544"/>
                <a:gd name="connsiteX88" fmla="*/ 123920 w 657891"/>
                <a:gd name="connsiteY88" fmla="*/ 238982 h 548544"/>
                <a:gd name="connsiteX89" fmla="*/ 125444 w 657891"/>
                <a:gd name="connsiteY89" fmla="*/ 236982 h 548544"/>
                <a:gd name="connsiteX90" fmla="*/ 135636 w 657891"/>
                <a:gd name="connsiteY90" fmla="*/ 244697 h 548544"/>
                <a:gd name="connsiteX91" fmla="*/ 136970 w 657891"/>
                <a:gd name="connsiteY91" fmla="*/ 240887 h 548544"/>
                <a:gd name="connsiteX92" fmla="*/ 140779 w 657891"/>
                <a:gd name="connsiteY92" fmla="*/ 242221 h 548544"/>
                <a:gd name="connsiteX93" fmla="*/ 152686 w 657891"/>
                <a:gd name="connsiteY93" fmla="*/ 235172 h 548544"/>
                <a:gd name="connsiteX94" fmla="*/ 156020 w 657891"/>
                <a:gd name="connsiteY94" fmla="*/ 232886 h 548544"/>
                <a:gd name="connsiteX95" fmla="*/ 152210 w 657891"/>
                <a:gd name="connsiteY95" fmla="*/ 231648 h 548544"/>
                <a:gd name="connsiteX96" fmla="*/ 153543 w 657891"/>
                <a:gd name="connsiteY96" fmla="*/ 227838 h 548544"/>
                <a:gd name="connsiteX97" fmla="*/ 160211 w 657891"/>
                <a:gd name="connsiteY97" fmla="*/ 223361 h 548544"/>
                <a:gd name="connsiteX98" fmla="*/ 161544 w 657891"/>
                <a:gd name="connsiteY98" fmla="*/ 219456 h 548544"/>
                <a:gd name="connsiteX99" fmla="*/ 165164 w 657891"/>
                <a:gd name="connsiteY99" fmla="*/ 219075 h 548544"/>
                <a:gd name="connsiteX100" fmla="*/ 162878 w 657891"/>
                <a:gd name="connsiteY100" fmla="*/ 215741 h 548544"/>
                <a:gd name="connsiteX101" fmla="*/ 168212 w 657891"/>
                <a:gd name="connsiteY101" fmla="*/ 214979 h 548544"/>
                <a:gd name="connsiteX102" fmla="*/ 167831 w 657891"/>
                <a:gd name="connsiteY102" fmla="*/ 211455 h 548544"/>
                <a:gd name="connsiteX103" fmla="*/ 169545 w 657891"/>
                <a:gd name="connsiteY103" fmla="*/ 211169 h 548544"/>
                <a:gd name="connsiteX104" fmla="*/ 172593 w 657891"/>
                <a:gd name="connsiteY104" fmla="*/ 192691 h 548544"/>
                <a:gd name="connsiteX105" fmla="*/ 176403 w 657891"/>
                <a:gd name="connsiteY105" fmla="*/ 194024 h 548544"/>
                <a:gd name="connsiteX106" fmla="*/ 183356 w 657891"/>
                <a:gd name="connsiteY106" fmla="*/ 191262 h 548544"/>
                <a:gd name="connsiteX107" fmla="*/ 184690 w 657891"/>
                <a:gd name="connsiteY107" fmla="*/ 187452 h 548544"/>
                <a:gd name="connsiteX108" fmla="*/ 190595 w 657891"/>
                <a:gd name="connsiteY108" fmla="*/ 190310 h 548544"/>
                <a:gd name="connsiteX109" fmla="*/ 194501 w 657891"/>
                <a:gd name="connsiteY109" fmla="*/ 178879 h 548544"/>
                <a:gd name="connsiteX110" fmla="*/ 199930 w 657891"/>
                <a:gd name="connsiteY110" fmla="*/ 178213 h 548544"/>
                <a:gd name="connsiteX111" fmla="*/ 201454 w 657891"/>
                <a:gd name="connsiteY111" fmla="*/ 176117 h 548544"/>
                <a:gd name="connsiteX112" fmla="*/ 208693 w 657891"/>
                <a:gd name="connsiteY112" fmla="*/ 175165 h 548544"/>
                <a:gd name="connsiteX113" fmla="*/ 205931 w 657891"/>
                <a:gd name="connsiteY113" fmla="*/ 168307 h 548544"/>
                <a:gd name="connsiteX114" fmla="*/ 207454 w 657891"/>
                <a:gd name="connsiteY114" fmla="*/ 166307 h 548544"/>
                <a:gd name="connsiteX115" fmla="*/ 204502 w 657891"/>
                <a:gd name="connsiteY115" fmla="*/ 157639 h 548544"/>
                <a:gd name="connsiteX116" fmla="*/ 204311 w 657891"/>
                <a:gd name="connsiteY116" fmla="*/ 155829 h 548544"/>
                <a:gd name="connsiteX117" fmla="*/ 196406 w 657891"/>
                <a:gd name="connsiteY117" fmla="*/ 151448 h 548544"/>
                <a:gd name="connsiteX118" fmla="*/ 195929 w 657891"/>
                <a:gd name="connsiteY118" fmla="*/ 147923 h 548544"/>
                <a:gd name="connsiteX119" fmla="*/ 191358 w 657891"/>
                <a:gd name="connsiteY119" fmla="*/ 141256 h 548544"/>
                <a:gd name="connsiteX120" fmla="*/ 189929 w 657891"/>
                <a:gd name="connsiteY120" fmla="*/ 130492 h 548544"/>
                <a:gd name="connsiteX121" fmla="*/ 187452 w 657891"/>
                <a:gd name="connsiteY121" fmla="*/ 125444 h 548544"/>
                <a:gd name="connsiteX122" fmla="*/ 186976 w 657891"/>
                <a:gd name="connsiteY122" fmla="*/ 121825 h 548544"/>
                <a:gd name="connsiteX123" fmla="*/ 190595 w 657891"/>
                <a:gd name="connsiteY123" fmla="*/ 121444 h 548544"/>
                <a:gd name="connsiteX124" fmla="*/ 189452 w 657891"/>
                <a:gd name="connsiteY124" fmla="*/ 112490 h 548544"/>
                <a:gd name="connsiteX125" fmla="*/ 192977 w 657891"/>
                <a:gd name="connsiteY125" fmla="*/ 112014 h 548544"/>
                <a:gd name="connsiteX126" fmla="*/ 196120 w 657891"/>
                <a:gd name="connsiteY126" fmla="*/ 108014 h 548544"/>
                <a:gd name="connsiteX127" fmla="*/ 194025 w 657891"/>
                <a:gd name="connsiteY127" fmla="*/ 106394 h 548544"/>
                <a:gd name="connsiteX128" fmla="*/ 200787 w 657891"/>
                <a:gd name="connsiteY128" fmla="*/ 101917 h 548544"/>
                <a:gd name="connsiteX129" fmla="*/ 201073 w 657891"/>
                <a:gd name="connsiteY129" fmla="*/ 103727 h 548544"/>
                <a:gd name="connsiteX130" fmla="*/ 202406 w 657891"/>
                <a:gd name="connsiteY130" fmla="*/ 99917 h 548544"/>
                <a:gd name="connsiteX131" fmla="*/ 200596 w 657891"/>
                <a:gd name="connsiteY131" fmla="*/ 100108 h 548544"/>
                <a:gd name="connsiteX132" fmla="*/ 203740 w 657891"/>
                <a:gd name="connsiteY132" fmla="*/ 96107 h 548544"/>
                <a:gd name="connsiteX133" fmla="*/ 206121 w 657891"/>
                <a:gd name="connsiteY133" fmla="*/ 86678 h 548544"/>
                <a:gd name="connsiteX134" fmla="*/ 213265 w 657891"/>
                <a:gd name="connsiteY134" fmla="*/ 85725 h 548544"/>
                <a:gd name="connsiteX135" fmla="*/ 213075 w 657891"/>
                <a:gd name="connsiteY135" fmla="*/ 84011 h 548544"/>
                <a:gd name="connsiteX136" fmla="*/ 218408 w 657891"/>
                <a:gd name="connsiteY136" fmla="*/ 83249 h 548544"/>
                <a:gd name="connsiteX137" fmla="*/ 217932 w 657891"/>
                <a:gd name="connsiteY137" fmla="*/ 79724 h 548544"/>
                <a:gd name="connsiteX138" fmla="*/ 219742 w 657891"/>
                <a:gd name="connsiteY138" fmla="*/ 79439 h 548544"/>
                <a:gd name="connsiteX139" fmla="*/ 228410 w 657891"/>
                <a:gd name="connsiteY139" fmla="*/ 89154 h 548544"/>
                <a:gd name="connsiteX140" fmla="*/ 232220 w 657891"/>
                <a:gd name="connsiteY140" fmla="*/ 90488 h 548544"/>
                <a:gd name="connsiteX141" fmla="*/ 230410 w 657891"/>
                <a:gd name="connsiteY141" fmla="*/ 90773 h 548544"/>
                <a:gd name="connsiteX142" fmla="*/ 225933 w 657891"/>
                <a:gd name="connsiteY142" fmla="*/ 98584 h 548544"/>
                <a:gd name="connsiteX143" fmla="*/ 225838 w 657891"/>
                <a:gd name="connsiteY143" fmla="*/ 111252 h 548544"/>
                <a:gd name="connsiteX144" fmla="*/ 223171 w 657891"/>
                <a:gd name="connsiteY144" fmla="*/ 118872 h 548544"/>
                <a:gd name="connsiteX145" fmla="*/ 223838 w 657891"/>
                <a:gd name="connsiteY145" fmla="*/ 124206 h 548544"/>
                <a:gd name="connsiteX146" fmla="*/ 234410 w 657891"/>
                <a:gd name="connsiteY146" fmla="*/ 121063 h 548544"/>
                <a:gd name="connsiteX147" fmla="*/ 238220 w 657891"/>
                <a:gd name="connsiteY147" fmla="*/ 122301 h 548544"/>
                <a:gd name="connsiteX148" fmla="*/ 236792 w 657891"/>
                <a:gd name="connsiteY148" fmla="*/ 111633 h 548544"/>
                <a:gd name="connsiteX149" fmla="*/ 252127 w 657891"/>
                <a:gd name="connsiteY149" fmla="*/ 116872 h 548544"/>
                <a:gd name="connsiteX150" fmla="*/ 257556 w 657891"/>
                <a:gd name="connsiteY150" fmla="*/ 116205 h 548544"/>
                <a:gd name="connsiteX151" fmla="*/ 261842 w 657891"/>
                <a:gd name="connsiteY151" fmla="*/ 121063 h 548544"/>
                <a:gd name="connsiteX152" fmla="*/ 260509 w 657891"/>
                <a:gd name="connsiteY152" fmla="*/ 124873 h 548544"/>
                <a:gd name="connsiteX153" fmla="*/ 262319 w 657891"/>
                <a:gd name="connsiteY153" fmla="*/ 124587 h 548544"/>
                <a:gd name="connsiteX154" fmla="*/ 271272 w 657891"/>
                <a:gd name="connsiteY154" fmla="*/ 123349 h 548544"/>
                <a:gd name="connsiteX155" fmla="*/ 274034 w 657891"/>
                <a:gd name="connsiteY155" fmla="*/ 130302 h 548544"/>
                <a:gd name="connsiteX156" fmla="*/ 275558 w 657891"/>
                <a:gd name="connsiteY156" fmla="*/ 128302 h 548544"/>
                <a:gd name="connsiteX157" fmla="*/ 273082 w 657891"/>
                <a:gd name="connsiteY157" fmla="*/ 123158 h 548544"/>
                <a:gd name="connsiteX158" fmla="*/ 278416 w 657891"/>
                <a:gd name="connsiteY158" fmla="*/ 122492 h 548544"/>
                <a:gd name="connsiteX159" fmla="*/ 278225 w 657891"/>
                <a:gd name="connsiteY159" fmla="*/ 120682 h 548544"/>
                <a:gd name="connsiteX160" fmla="*/ 282035 w 657891"/>
                <a:gd name="connsiteY160" fmla="*/ 122015 h 548544"/>
                <a:gd name="connsiteX161" fmla="*/ 291275 w 657891"/>
                <a:gd name="connsiteY161" fmla="*/ 122587 h 548544"/>
                <a:gd name="connsiteX162" fmla="*/ 289941 w 657891"/>
                <a:gd name="connsiteY162" fmla="*/ 126397 h 548544"/>
                <a:gd name="connsiteX163" fmla="*/ 297371 w 657891"/>
                <a:gd name="connsiteY163" fmla="*/ 127254 h 548544"/>
                <a:gd name="connsiteX164" fmla="*/ 305753 w 657891"/>
                <a:gd name="connsiteY164" fmla="*/ 135160 h 548544"/>
                <a:gd name="connsiteX165" fmla="*/ 307562 w 657891"/>
                <a:gd name="connsiteY165" fmla="*/ 134969 h 548544"/>
                <a:gd name="connsiteX166" fmla="*/ 312325 w 657891"/>
                <a:gd name="connsiteY166" fmla="*/ 143351 h 548544"/>
                <a:gd name="connsiteX167" fmla="*/ 313754 w 657891"/>
                <a:gd name="connsiteY167" fmla="*/ 154019 h 548544"/>
                <a:gd name="connsiteX168" fmla="*/ 313944 w 657891"/>
                <a:gd name="connsiteY168" fmla="*/ 155829 h 548544"/>
                <a:gd name="connsiteX169" fmla="*/ 334709 w 657891"/>
                <a:gd name="connsiteY169" fmla="*/ 133160 h 548544"/>
                <a:gd name="connsiteX170" fmla="*/ 340709 w 657891"/>
                <a:gd name="connsiteY170" fmla="*/ 123349 h 548544"/>
                <a:gd name="connsiteX171" fmla="*/ 345853 w 657891"/>
                <a:gd name="connsiteY171" fmla="*/ 120777 h 548544"/>
                <a:gd name="connsiteX172" fmla="*/ 346139 w 657891"/>
                <a:gd name="connsiteY172" fmla="*/ 122587 h 548544"/>
                <a:gd name="connsiteX173" fmla="*/ 350806 w 657891"/>
                <a:gd name="connsiteY173" fmla="*/ 116491 h 548544"/>
                <a:gd name="connsiteX174" fmla="*/ 349377 w 657891"/>
                <a:gd name="connsiteY174" fmla="*/ 105823 h 548544"/>
                <a:gd name="connsiteX175" fmla="*/ 346805 w 657891"/>
                <a:gd name="connsiteY175" fmla="*/ 100679 h 548544"/>
                <a:gd name="connsiteX176" fmla="*/ 345091 w 657891"/>
                <a:gd name="connsiteY176" fmla="*/ 100965 h 548544"/>
                <a:gd name="connsiteX177" fmla="*/ 349758 w 657891"/>
                <a:gd name="connsiteY177" fmla="*/ 94869 h 548544"/>
                <a:gd name="connsiteX178" fmla="*/ 340043 w 657891"/>
                <a:gd name="connsiteY178" fmla="*/ 90773 h 548544"/>
                <a:gd name="connsiteX179" fmla="*/ 351282 w 657891"/>
                <a:gd name="connsiteY179" fmla="*/ 92869 h 548544"/>
                <a:gd name="connsiteX180" fmla="*/ 351092 w 657891"/>
                <a:gd name="connsiteY180" fmla="*/ 91059 h 548544"/>
                <a:gd name="connsiteX181" fmla="*/ 356235 w 657891"/>
                <a:gd name="connsiteY181" fmla="*/ 88583 h 548544"/>
                <a:gd name="connsiteX182" fmla="*/ 358521 w 657891"/>
                <a:gd name="connsiteY182" fmla="*/ 91916 h 548544"/>
                <a:gd name="connsiteX183" fmla="*/ 357188 w 657891"/>
                <a:gd name="connsiteY183" fmla="*/ 95726 h 548544"/>
                <a:gd name="connsiteX184" fmla="*/ 360998 w 657891"/>
                <a:gd name="connsiteY184" fmla="*/ 97060 h 548544"/>
                <a:gd name="connsiteX185" fmla="*/ 367189 w 657891"/>
                <a:gd name="connsiteY185" fmla="*/ 88964 h 548544"/>
                <a:gd name="connsiteX186" fmla="*/ 370808 w 657891"/>
                <a:gd name="connsiteY186" fmla="*/ 88487 h 548544"/>
                <a:gd name="connsiteX187" fmla="*/ 377571 w 657891"/>
                <a:gd name="connsiteY187" fmla="*/ 84011 h 548544"/>
                <a:gd name="connsiteX188" fmla="*/ 379762 w 657891"/>
                <a:gd name="connsiteY188" fmla="*/ 87249 h 548544"/>
                <a:gd name="connsiteX189" fmla="*/ 397288 w 657891"/>
                <a:gd name="connsiteY189" fmla="*/ 81344 h 548544"/>
                <a:gd name="connsiteX190" fmla="*/ 399383 w 657891"/>
                <a:gd name="connsiteY190" fmla="*/ 82867 h 548544"/>
                <a:gd name="connsiteX191" fmla="*/ 404432 w 657891"/>
                <a:gd name="connsiteY191" fmla="*/ 80391 h 548544"/>
                <a:gd name="connsiteX192" fmla="*/ 408051 w 657891"/>
                <a:gd name="connsiteY192" fmla="*/ 79915 h 548544"/>
                <a:gd name="connsiteX193" fmla="*/ 413671 w 657891"/>
                <a:gd name="connsiteY193" fmla="*/ 80963 h 548544"/>
                <a:gd name="connsiteX194" fmla="*/ 417766 w 657891"/>
                <a:gd name="connsiteY194" fmla="*/ 84106 h 548544"/>
                <a:gd name="connsiteX195" fmla="*/ 420243 w 657891"/>
                <a:gd name="connsiteY195" fmla="*/ 89154 h 548544"/>
                <a:gd name="connsiteX196" fmla="*/ 418910 w 657891"/>
                <a:gd name="connsiteY196" fmla="*/ 92964 h 548544"/>
                <a:gd name="connsiteX197" fmla="*/ 424053 w 657891"/>
                <a:gd name="connsiteY197" fmla="*/ 90488 h 548544"/>
                <a:gd name="connsiteX198" fmla="*/ 425863 w 657891"/>
                <a:gd name="connsiteY198" fmla="*/ 90202 h 548544"/>
                <a:gd name="connsiteX199" fmla="*/ 426339 w 657891"/>
                <a:gd name="connsiteY199" fmla="*/ 93821 h 548544"/>
                <a:gd name="connsiteX200" fmla="*/ 429768 w 657891"/>
                <a:gd name="connsiteY200" fmla="*/ 91535 h 548544"/>
                <a:gd name="connsiteX201" fmla="*/ 433578 w 657891"/>
                <a:gd name="connsiteY201" fmla="*/ 92869 h 548544"/>
                <a:gd name="connsiteX202" fmla="*/ 436626 w 657891"/>
                <a:gd name="connsiteY202" fmla="*/ 88868 h 548544"/>
                <a:gd name="connsiteX203" fmla="*/ 437102 w 657891"/>
                <a:gd name="connsiteY203" fmla="*/ 92392 h 548544"/>
                <a:gd name="connsiteX204" fmla="*/ 438721 w 657891"/>
                <a:gd name="connsiteY204" fmla="*/ 90392 h 548544"/>
                <a:gd name="connsiteX205" fmla="*/ 444532 w 657891"/>
                <a:gd name="connsiteY205" fmla="*/ 93250 h 548544"/>
                <a:gd name="connsiteX206" fmla="*/ 454629 w 657891"/>
                <a:gd name="connsiteY206" fmla="*/ 86487 h 548544"/>
                <a:gd name="connsiteX207" fmla="*/ 455486 w 657891"/>
                <a:gd name="connsiteY207" fmla="*/ 79058 h 548544"/>
                <a:gd name="connsiteX208" fmla="*/ 460915 w 657891"/>
                <a:gd name="connsiteY208" fmla="*/ 78391 h 548544"/>
                <a:gd name="connsiteX209" fmla="*/ 470440 w 657891"/>
                <a:gd name="connsiteY209" fmla="*/ 68008 h 548544"/>
                <a:gd name="connsiteX210" fmla="*/ 464154 w 657891"/>
                <a:gd name="connsiteY210" fmla="*/ 61627 h 548544"/>
                <a:gd name="connsiteX211" fmla="*/ 469106 w 657891"/>
                <a:gd name="connsiteY211" fmla="*/ 57341 h 548544"/>
                <a:gd name="connsiteX212" fmla="*/ 463201 w 657891"/>
                <a:gd name="connsiteY212" fmla="*/ 54483 h 548544"/>
                <a:gd name="connsiteX213" fmla="*/ 458629 w 657891"/>
                <a:gd name="connsiteY213" fmla="*/ 47816 h 548544"/>
                <a:gd name="connsiteX214" fmla="*/ 456629 w 657891"/>
                <a:gd name="connsiteY214" fmla="*/ 46292 h 548544"/>
                <a:gd name="connsiteX215" fmla="*/ 455962 w 657891"/>
                <a:gd name="connsiteY215" fmla="*/ 40958 h 548544"/>
                <a:gd name="connsiteX216" fmla="*/ 445770 w 657891"/>
                <a:gd name="connsiteY216" fmla="*/ 33242 h 548544"/>
                <a:gd name="connsiteX217" fmla="*/ 446818 w 657891"/>
                <a:gd name="connsiteY217" fmla="*/ 27623 h 548544"/>
                <a:gd name="connsiteX218" fmla="*/ 442817 w 657891"/>
                <a:gd name="connsiteY218" fmla="*/ 24575 h 548544"/>
                <a:gd name="connsiteX219" fmla="*/ 446151 w 657891"/>
                <a:gd name="connsiteY219" fmla="*/ 22289 h 548544"/>
                <a:gd name="connsiteX220" fmla="*/ 450247 w 657891"/>
                <a:gd name="connsiteY220" fmla="*/ 25432 h 548544"/>
                <a:gd name="connsiteX221" fmla="*/ 451581 w 657891"/>
                <a:gd name="connsiteY221" fmla="*/ 21622 h 548544"/>
                <a:gd name="connsiteX222" fmla="*/ 458724 w 657891"/>
                <a:gd name="connsiteY222" fmla="*/ 20669 h 548544"/>
                <a:gd name="connsiteX223" fmla="*/ 458914 w 657891"/>
                <a:gd name="connsiteY223" fmla="*/ 22479 h 548544"/>
                <a:gd name="connsiteX224" fmla="*/ 467487 w 657891"/>
                <a:gd name="connsiteY224" fmla="*/ 17717 h 548544"/>
                <a:gd name="connsiteX225" fmla="*/ 476726 w 657891"/>
                <a:gd name="connsiteY225" fmla="*/ 32766 h 548544"/>
                <a:gd name="connsiteX226" fmla="*/ 482441 w 657891"/>
                <a:gd name="connsiteY226" fmla="*/ 33814 h 548544"/>
                <a:gd name="connsiteX227" fmla="*/ 487299 w 657891"/>
                <a:gd name="connsiteY227" fmla="*/ 29528 h 548544"/>
                <a:gd name="connsiteX228" fmla="*/ 484347 w 657891"/>
                <a:gd name="connsiteY228" fmla="*/ 20860 h 548544"/>
                <a:gd name="connsiteX229" fmla="*/ 487680 w 657891"/>
                <a:gd name="connsiteY229" fmla="*/ 18669 h 548544"/>
                <a:gd name="connsiteX230" fmla="*/ 487013 w 657891"/>
                <a:gd name="connsiteY230" fmla="*/ 13335 h 548544"/>
                <a:gd name="connsiteX231" fmla="*/ 488347 w 657891"/>
                <a:gd name="connsiteY231" fmla="*/ 9525 h 548544"/>
                <a:gd name="connsiteX232" fmla="*/ 489395 w 657891"/>
                <a:gd name="connsiteY232" fmla="*/ 3905 h 548544"/>
                <a:gd name="connsiteX233" fmla="*/ 494538 w 657891"/>
                <a:gd name="connsiteY233" fmla="*/ 1429 h 548544"/>
                <a:gd name="connsiteX234" fmla="*/ 500634 w 657891"/>
                <a:gd name="connsiteY234" fmla="*/ 6001 h 548544"/>
                <a:gd name="connsiteX235" fmla="*/ 505301 w 657891"/>
                <a:gd name="connsiteY235" fmla="*/ 0 h 548544"/>
                <a:gd name="connsiteX236" fmla="*/ 510350 w 657891"/>
                <a:gd name="connsiteY236" fmla="*/ 10192 h 548544"/>
                <a:gd name="connsiteX237" fmla="*/ 518256 w 657891"/>
                <a:gd name="connsiteY237" fmla="*/ 14573 h 548544"/>
                <a:gd name="connsiteX238" fmla="*/ 520446 w 657891"/>
                <a:gd name="connsiteY238" fmla="*/ 17907 h 548544"/>
                <a:gd name="connsiteX239" fmla="*/ 526161 w 657891"/>
                <a:gd name="connsiteY239" fmla="*/ 18955 h 548544"/>
                <a:gd name="connsiteX240" fmla="*/ 521398 w 657891"/>
                <a:gd name="connsiteY240" fmla="*/ 25051 h 548544"/>
                <a:gd name="connsiteX241" fmla="*/ 523494 w 657891"/>
                <a:gd name="connsiteY241" fmla="*/ 26575 h 548544"/>
                <a:gd name="connsiteX242" fmla="*/ 529590 w 657891"/>
                <a:gd name="connsiteY242" fmla="*/ 31242 h 548544"/>
                <a:gd name="connsiteX243" fmla="*/ 529780 w 657891"/>
                <a:gd name="connsiteY243" fmla="*/ 32957 h 548544"/>
                <a:gd name="connsiteX244" fmla="*/ 537020 w 657891"/>
                <a:gd name="connsiteY244" fmla="*/ 32004 h 548544"/>
                <a:gd name="connsiteX245" fmla="*/ 544830 w 657891"/>
                <a:gd name="connsiteY245" fmla="*/ 36386 h 548544"/>
                <a:gd name="connsiteX246" fmla="*/ 548926 w 657891"/>
                <a:gd name="connsiteY246" fmla="*/ 39529 h 548544"/>
                <a:gd name="connsiteX247" fmla="*/ 550259 w 657891"/>
                <a:gd name="connsiteY247" fmla="*/ 35719 h 548544"/>
                <a:gd name="connsiteX248" fmla="*/ 565975 w 657891"/>
                <a:gd name="connsiteY248" fmla="*/ 30004 h 548544"/>
                <a:gd name="connsiteX249" fmla="*/ 571310 w 657891"/>
                <a:gd name="connsiteY249" fmla="*/ 29337 h 548544"/>
                <a:gd name="connsiteX250" fmla="*/ 571786 w 657891"/>
                <a:gd name="connsiteY250" fmla="*/ 32861 h 548544"/>
                <a:gd name="connsiteX251" fmla="*/ 575215 w 657891"/>
                <a:gd name="connsiteY251" fmla="*/ 30575 h 548544"/>
                <a:gd name="connsiteX252" fmla="*/ 579025 w 657891"/>
                <a:gd name="connsiteY252" fmla="*/ 31909 h 548544"/>
                <a:gd name="connsiteX253" fmla="*/ 580835 w 657891"/>
                <a:gd name="connsiteY253" fmla="*/ 31718 h 548544"/>
                <a:gd name="connsiteX254" fmla="*/ 582168 w 657891"/>
                <a:gd name="connsiteY254" fmla="*/ 27908 h 548544"/>
                <a:gd name="connsiteX255" fmla="*/ 583882 w 657891"/>
                <a:gd name="connsiteY255" fmla="*/ 27623 h 548544"/>
                <a:gd name="connsiteX256" fmla="*/ 583406 w 657891"/>
                <a:gd name="connsiteY256" fmla="*/ 24098 h 548544"/>
                <a:gd name="connsiteX257" fmla="*/ 588645 w 657891"/>
                <a:gd name="connsiteY257" fmla="*/ 21622 h 548544"/>
                <a:gd name="connsiteX258" fmla="*/ 590265 w 657891"/>
                <a:gd name="connsiteY258" fmla="*/ 34100 h 548544"/>
                <a:gd name="connsiteX259" fmla="*/ 597884 w 657891"/>
                <a:gd name="connsiteY259" fmla="*/ 36671 h 548544"/>
                <a:gd name="connsiteX260" fmla="*/ 603314 w 657891"/>
                <a:gd name="connsiteY260" fmla="*/ 36004 h 548544"/>
                <a:gd name="connsiteX261" fmla="*/ 610076 w 657891"/>
                <a:gd name="connsiteY261" fmla="*/ 45911 h 548544"/>
                <a:gd name="connsiteX262" fmla="*/ 611886 w 657891"/>
                <a:gd name="connsiteY262" fmla="*/ 45720 h 548544"/>
                <a:gd name="connsiteX263" fmla="*/ 610838 w 657891"/>
                <a:gd name="connsiteY263" fmla="*/ 51245 h 548544"/>
                <a:gd name="connsiteX264" fmla="*/ 603885 w 657891"/>
                <a:gd name="connsiteY264" fmla="*/ 54007 h 548544"/>
                <a:gd name="connsiteX265" fmla="*/ 609981 w 657891"/>
                <a:gd name="connsiteY265" fmla="*/ 58674 h 548544"/>
                <a:gd name="connsiteX266" fmla="*/ 617125 w 657891"/>
                <a:gd name="connsiteY266" fmla="*/ 57721 h 548544"/>
                <a:gd name="connsiteX267" fmla="*/ 624078 w 657891"/>
                <a:gd name="connsiteY267" fmla="*/ 54959 h 548544"/>
                <a:gd name="connsiteX268" fmla="*/ 628174 w 657891"/>
                <a:gd name="connsiteY268" fmla="*/ 58007 h 548544"/>
                <a:gd name="connsiteX269" fmla="*/ 634651 w 657891"/>
                <a:gd name="connsiteY269" fmla="*/ 51721 h 548544"/>
                <a:gd name="connsiteX270" fmla="*/ 639985 w 657891"/>
                <a:gd name="connsiteY270" fmla="*/ 51054 h 548544"/>
                <a:gd name="connsiteX271" fmla="*/ 646366 w 657891"/>
                <a:gd name="connsiteY271" fmla="*/ 57436 h 548544"/>
                <a:gd name="connsiteX272" fmla="*/ 649319 w 657891"/>
                <a:gd name="connsiteY272" fmla="*/ 66104 h 548544"/>
                <a:gd name="connsiteX273" fmla="*/ 655415 w 657891"/>
                <a:gd name="connsiteY273" fmla="*/ 70771 h 548544"/>
                <a:gd name="connsiteX274" fmla="*/ 657892 w 657891"/>
                <a:gd name="connsiteY274" fmla="*/ 75819 h 548544"/>
                <a:gd name="connsiteX275" fmla="*/ 656654 w 657891"/>
                <a:gd name="connsiteY275" fmla="*/ 79629 h 548544"/>
                <a:gd name="connsiteX276" fmla="*/ 648558 w 657891"/>
                <a:gd name="connsiteY276" fmla="*/ 88011 h 548544"/>
                <a:gd name="connsiteX277" fmla="*/ 652272 w 657891"/>
                <a:gd name="connsiteY277" fmla="*/ 102013 h 548544"/>
                <a:gd name="connsiteX278" fmla="*/ 648843 w 657891"/>
                <a:gd name="connsiteY278" fmla="*/ 104299 h 548544"/>
                <a:gd name="connsiteX279" fmla="*/ 642842 w 657891"/>
                <a:gd name="connsiteY279" fmla="*/ 114110 h 548544"/>
                <a:gd name="connsiteX280" fmla="*/ 640271 w 657891"/>
                <a:gd name="connsiteY280" fmla="*/ 121729 h 548544"/>
                <a:gd name="connsiteX281" fmla="*/ 631698 w 657891"/>
                <a:gd name="connsiteY281" fmla="*/ 126492 h 548544"/>
                <a:gd name="connsiteX282" fmla="*/ 627983 w 657891"/>
                <a:gd name="connsiteY282" fmla="*/ 139637 h 548544"/>
                <a:gd name="connsiteX283" fmla="*/ 614553 w 657891"/>
                <a:gd name="connsiteY283" fmla="*/ 148685 h 548544"/>
                <a:gd name="connsiteX284" fmla="*/ 607600 w 657891"/>
                <a:gd name="connsiteY284" fmla="*/ 151448 h 548544"/>
                <a:gd name="connsiteX285" fmla="*/ 591408 w 657891"/>
                <a:gd name="connsiteY285" fmla="*/ 153543 h 548544"/>
                <a:gd name="connsiteX286" fmla="*/ 587121 w 657891"/>
                <a:gd name="connsiteY286" fmla="*/ 148685 h 548544"/>
                <a:gd name="connsiteX287" fmla="*/ 576167 w 657891"/>
                <a:gd name="connsiteY287" fmla="*/ 148304 h 548544"/>
                <a:gd name="connsiteX288" fmla="*/ 569786 w 657891"/>
                <a:gd name="connsiteY288" fmla="*/ 141923 h 548544"/>
                <a:gd name="connsiteX289" fmla="*/ 564642 w 657891"/>
                <a:gd name="connsiteY289" fmla="*/ 144399 h 548544"/>
                <a:gd name="connsiteX290" fmla="*/ 561308 w 657891"/>
                <a:gd name="connsiteY290" fmla="*/ 146685 h 548544"/>
                <a:gd name="connsiteX291" fmla="*/ 558832 w 657891"/>
                <a:gd name="connsiteY291" fmla="*/ 156020 h 548544"/>
                <a:gd name="connsiteX292" fmla="*/ 555784 w 657891"/>
                <a:gd name="connsiteY292" fmla="*/ 160115 h 548544"/>
                <a:gd name="connsiteX293" fmla="*/ 528447 w 657891"/>
                <a:gd name="connsiteY293" fmla="*/ 174593 h 548544"/>
                <a:gd name="connsiteX294" fmla="*/ 525113 w 657891"/>
                <a:gd name="connsiteY294" fmla="*/ 176879 h 548544"/>
                <a:gd name="connsiteX295" fmla="*/ 519684 w 657891"/>
                <a:gd name="connsiteY295" fmla="*/ 177546 h 548544"/>
                <a:gd name="connsiteX296" fmla="*/ 519208 w 657891"/>
                <a:gd name="connsiteY296" fmla="*/ 174022 h 548544"/>
                <a:gd name="connsiteX297" fmla="*/ 515588 w 657891"/>
                <a:gd name="connsiteY297" fmla="*/ 174498 h 548544"/>
                <a:gd name="connsiteX298" fmla="*/ 510826 w 657891"/>
                <a:gd name="connsiteY298" fmla="*/ 166021 h 548544"/>
                <a:gd name="connsiteX299" fmla="*/ 507206 w 657891"/>
                <a:gd name="connsiteY299" fmla="*/ 166497 h 548544"/>
                <a:gd name="connsiteX300" fmla="*/ 505968 w 657891"/>
                <a:gd name="connsiteY300" fmla="*/ 170307 h 548544"/>
                <a:gd name="connsiteX301" fmla="*/ 502825 w 657891"/>
                <a:gd name="connsiteY301" fmla="*/ 174308 h 548544"/>
                <a:gd name="connsiteX302" fmla="*/ 497681 w 657891"/>
                <a:gd name="connsiteY302" fmla="*/ 176879 h 548544"/>
                <a:gd name="connsiteX303" fmla="*/ 487966 w 657891"/>
                <a:gd name="connsiteY303" fmla="*/ 172688 h 548544"/>
                <a:gd name="connsiteX304" fmla="*/ 480822 w 657891"/>
                <a:gd name="connsiteY304" fmla="*/ 173641 h 548544"/>
                <a:gd name="connsiteX305" fmla="*/ 471392 w 657891"/>
                <a:gd name="connsiteY305" fmla="*/ 171260 h 548544"/>
                <a:gd name="connsiteX306" fmla="*/ 464820 w 657891"/>
                <a:gd name="connsiteY306" fmla="*/ 177546 h 548544"/>
                <a:gd name="connsiteX307" fmla="*/ 451009 w 657891"/>
                <a:gd name="connsiteY307" fmla="*/ 183071 h 548544"/>
                <a:gd name="connsiteX308" fmla="*/ 446056 w 657891"/>
                <a:gd name="connsiteY308" fmla="*/ 187262 h 548544"/>
                <a:gd name="connsiteX309" fmla="*/ 446247 w 657891"/>
                <a:gd name="connsiteY309" fmla="*/ 189071 h 548544"/>
                <a:gd name="connsiteX310" fmla="*/ 451009 w 657891"/>
                <a:gd name="connsiteY310" fmla="*/ 197549 h 548544"/>
                <a:gd name="connsiteX311" fmla="*/ 460248 w 657891"/>
                <a:gd name="connsiteY311" fmla="*/ 198120 h 548544"/>
                <a:gd name="connsiteX312" fmla="*/ 470345 w 657891"/>
                <a:gd name="connsiteY312" fmla="*/ 191357 h 548544"/>
                <a:gd name="connsiteX313" fmla="*/ 472345 w 657891"/>
                <a:gd name="connsiteY313" fmla="*/ 192881 h 548544"/>
                <a:gd name="connsiteX314" fmla="*/ 472630 w 657891"/>
                <a:gd name="connsiteY314" fmla="*/ 194691 h 548544"/>
                <a:gd name="connsiteX315" fmla="*/ 469297 w 657891"/>
                <a:gd name="connsiteY315" fmla="*/ 196977 h 548544"/>
                <a:gd name="connsiteX316" fmla="*/ 462820 w 657891"/>
                <a:gd name="connsiteY316" fmla="*/ 203264 h 548544"/>
                <a:gd name="connsiteX317" fmla="*/ 463487 w 657891"/>
                <a:gd name="connsiteY317" fmla="*/ 208502 h 548544"/>
                <a:gd name="connsiteX318" fmla="*/ 454819 w 657891"/>
                <a:gd name="connsiteY318" fmla="*/ 226028 h 548544"/>
                <a:gd name="connsiteX319" fmla="*/ 450818 w 657891"/>
                <a:gd name="connsiteY319" fmla="*/ 237458 h 548544"/>
                <a:gd name="connsiteX320" fmla="*/ 445961 w 657891"/>
                <a:gd name="connsiteY320" fmla="*/ 241745 h 548544"/>
                <a:gd name="connsiteX321" fmla="*/ 448628 w 657891"/>
                <a:gd name="connsiteY321" fmla="*/ 248603 h 548544"/>
                <a:gd name="connsiteX322" fmla="*/ 447294 w 657891"/>
                <a:gd name="connsiteY322" fmla="*/ 252413 h 548544"/>
                <a:gd name="connsiteX323" fmla="*/ 436340 w 657891"/>
                <a:gd name="connsiteY323" fmla="*/ 252032 h 548544"/>
                <a:gd name="connsiteX324" fmla="*/ 431388 w 657891"/>
                <a:gd name="connsiteY324" fmla="*/ 256318 h 548544"/>
                <a:gd name="connsiteX325" fmla="*/ 432149 w 657891"/>
                <a:gd name="connsiteY325" fmla="*/ 261652 h 548544"/>
                <a:gd name="connsiteX326" fmla="*/ 435673 w 657891"/>
                <a:gd name="connsiteY326" fmla="*/ 261175 h 548544"/>
                <a:gd name="connsiteX327" fmla="*/ 439769 w 657891"/>
                <a:gd name="connsiteY327" fmla="*/ 264319 h 548544"/>
                <a:gd name="connsiteX328" fmla="*/ 436626 w 657891"/>
                <a:gd name="connsiteY328" fmla="*/ 268319 h 548544"/>
                <a:gd name="connsiteX329" fmla="*/ 426148 w 657891"/>
                <a:gd name="connsiteY329" fmla="*/ 271558 h 548544"/>
                <a:gd name="connsiteX330" fmla="*/ 421196 w 657891"/>
                <a:gd name="connsiteY330" fmla="*/ 275749 h 548544"/>
                <a:gd name="connsiteX331" fmla="*/ 415862 w 657891"/>
                <a:gd name="connsiteY331" fmla="*/ 276511 h 548544"/>
                <a:gd name="connsiteX332" fmla="*/ 413099 w 657891"/>
                <a:gd name="connsiteY332" fmla="*/ 269653 h 548544"/>
                <a:gd name="connsiteX333" fmla="*/ 407004 w 657891"/>
                <a:gd name="connsiteY333" fmla="*/ 264986 h 548544"/>
                <a:gd name="connsiteX334" fmla="*/ 402717 w 657891"/>
                <a:gd name="connsiteY334" fmla="*/ 260128 h 548544"/>
                <a:gd name="connsiteX335" fmla="*/ 401574 w 657891"/>
                <a:gd name="connsiteY335" fmla="*/ 265748 h 548544"/>
                <a:gd name="connsiteX336" fmla="*/ 396907 w 657891"/>
                <a:gd name="connsiteY336" fmla="*/ 271748 h 548544"/>
                <a:gd name="connsiteX337" fmla="*/ 399383 w 657891"/>
                <a:gd name="connsiteY337" fmla="*/ 276892 h 548544"/>
                <a:gd name="connsiteX338" fmla="*/ 389573 w 657891"/>
                <a:gd name="connsiteY338" fmla="*/ 285464 h 548544"/>
                <a:gd name="connsiteX339" fmla="*/ 381191 w 657891"/>
                <a:gd name="connsiteY339" fmla="*/ 277463 h 548544"/>
                <a:gd name="connsiteX340" fmla="*/ 374714 w 657891"/>
                <a:gd name="connsiteY340" fmla="*/ 283750 h 548544"/>
                <a:gd name="connsiteX341" fmla="*/ 366998 w 657891"/>
                <a:gd name="connsiteY341" fmla="*/ 266700 h 548544"/>
                <a:gd name="connsiteX342" fmla="*/ 358712 w 657891"/>
                <a:gd name="connsiteY342" fmla="*/ 273177 h 548544"/>
                <a:gd name="connsiteX343" fmla="*/ 353283 w 657891"/>
                <a:gd name="connsiteY343" fmla="*/ 273939 h 548544"/>
                <a:gd name="connsiteX344" fmla="*/ 347282 w 657891"/>
                <a:gd name="connsiteY344" fmla="*/ 269272 h 548544"/>
                <a:gd name="connsiteX345" fmla="*/ 344996 w 657891"/>
                <a:gd name="connsiteY345" fmla="*/ 265938 h 548544"/>
                <a:gd name="connsiteX346" fmla="*/ 328422 w 657891"/>
                <a:gd name="connsiteY346" fmla="*/ 278987 h 548544"/>
                <a:gd name="connsiteX347" fmla="*/ 329089 w 657891"/>
                <a:gd name="connsiteY347" fmla="*/ 284417 h 548544"/>
                <a:gd name="connsiteX348" fmla="*/ 322612 w 657891"/>
                <a:gd name="connsiteY348" fmla="*/ 290703 h 548544"/>
                <a:gd name="connsiteX349" fmla="*/ 328803 w 657891"/>
                <a:gd name="connsiteY349" fmla="*/ 295275 h 548544"/>
                <a:gd name="connsiteX350" fmla="*/ 328994 w 657891"/>
                <a:gd name="connsiteY350" fmla="*/ 297085 h 548544"/>
                <a:gd name="connsiteX351" fmla="*/ 327184 w 657891"/>
                <a:gd name="connsiteY351" fmla="*/ 297275 h 548544"/>
                <a:gd name="connsiteX352" fmla="*/ 336042 w 657891"/>
                <a:gd name="connsiteY352" fmla="*/ 308800 h 548544"/>
                <a:gd name="connsiteX353" fmla="*/ 339376 w 657891"/>
                <a:gd name="connsiteY353" fmla="*/ 306610 h 548544"/>
                <a:gd name="connsiteX354" fmla="*/ 341662 w 657891"/>
                <a:gd name="connsiteY354" fmla="*/ 309848 h 548544"/>
                <a:gd name="connsiteX355" fmla="*/ 338519 w 657891"/>
                <a:gd name="connsiteY355" fmla="*/ 313944 h 548544"/>
                <a:gd name="connsiteX356" fmla="*/ 343091 w 657891"/>
                <a:gd name="connsiteY356" fmla="*/ 320612 h 548544"/>
                <a:gd name="connsiteX357" fmla="*/ 344234 w 657891"/>
                <a:gd name="connsiteY357" fmla="*/ 329470 h 548544"/>
                <a:gd name="connsiteX358" fmla="*/ 344710 w 657891"/>
                <a:gd name="connsiteY358" fmla="*/ 333089 h 548544"/>
                <a:gd name="connsiteX359" fmla="*/ 345377 w 657891"/>
                <a:gd name="connsiteY359" fmla="*/ 338423 h 548544"/>
                <a:gd name="connsiteX360" fmla="*/ 350901 w 657891"/>
                <a:gd name="connsiteY360" fmla="*/ 352139 h 548544"/>
                <a:gd name="connsiteX361" fmla="*/ 349091 w 657891"/>
                <a:gd name="connsiteY361" fmla="*/ 352425 h 548544"/>
                <a:gd name="connsiteX362" fmla="*/ 344329 w 657891"/>
                <a:gd name="connsiteY362" fmla="*/ 343948 h 548544"/>
                <a:gd name="connsiteX363" fmla="*/ 332708 w 657891"/>
                <a:gd name="connsiteY363" fmla="*/ 352806 h 548544"/>
                <a:gd name="connsiteX364" fmla="*/ 332232 w 657891"/>
                <a:gd name="connsiteY364" fmla="*/ 349187 h 548544"/>
                <a:gd name="connsiteX365" fmla="*/ 332232 w 657891"/>
                <a:gd name="connsiteY365" fmla="*/ 349187 h 548544"/>
                <a:gd name="connsiteX366" fmla="*/ 325469 w 657891"/>
                <a:gd name="connsiteY366" fmla="*/ 353759 h 548544"/>
                <a:gd name="connsiteX367" fmla="*/ 311849 w 657891"/>
                <a:gd name="connsiteY367" fmla="*/ 360998 h 548544"/>
                <a:gd name="connsiteX368" fmla="*/ 299561 w 657891"/>
                <a:gd name="connsiteY368" fmla="*/ 364426 h 548544"/>
                <a:gd name="connsiteX369" fmla="*/ 295942 w 657891"/>
                <a:gd name="connsiteY369" fmla="*/ 364903 h 548544"/>
                <a:gd name="connsiteX370" fmla="*/ 296609 w 657891"/>
                <a:gd name="connsiteY370" fmla="*/ 370237 h 548544"/>
                <a:gd name="connsiteX371" fmla="*/ 289941 w 657891"/>
                <a:gd name="connsiteY371" fmla="*/ 374809 h 548544"/>
                <a:gd name="connsiteX372" fmla="*/ 287179 w 657891"/>
                <a:gd name="connsiteY372" fmla="*/ 367856 h 548544"/>
                <a:gd name="connsiteX373" fmla="*/ 278892 w 657891"/>
                <a:gd name="connsiteY373" fmla="*/ 374428 h 548544"/>
                <a:gd name="connsiteX374" fmla="*/ 273272 w 657891"/>
                <a:gd name="connsiteY374" fmla="*/ 373380 h 548544"/>
                <a:gd name="connsiteX375" fmla="*/ 262509 w 657891"/>
                <a:gd name="connsiteY375" fmla="*/ 374809 h 548544"/>
                <a:gd name="connsiteX376" fmla="*/ 259842 w 657891"/>
                <a:gd name="connsiteY376" fmla="*/ 382334 h 548544"/>
                <a:gd name="connsiteX377" fmla="*/ 256508 w 657891"/>
                <a:gd name="connsiteY377" fmla="*/ 384619 h 548544"/>
                <a:gd name="connsiteX378" fmla="*/ 255175 w 657891"/>
                <a:gd name="connsiteY378" fmla="*/ 388430 h 548544"/>
                <a:gd name="connsiteX379" fmla="*/ 244602 w 657891"/>
                <a:gd name="connsiteY379" fmla="*/ 391573 h 548544"/>
                <a:gd name="connsiteX380" fmla="*/ 240316 w 657891"/>
                <a:gd name="connsiteY380" fmla="*/ 386810 h 548544"/>
                <a:gd name="connsiteX381" fmla="*/ 224600 w 657891"/>
                <a:gd name="connsiteY381" fmla="*/ 392430 h 548544"/>
                <a:gd name="connsiteX382" fmla="*/ 208693 w 657891"/>
                <a:gd name="connsiteY382" fmla="*/ 396431 h 548544"/>
                <a:gd name="connsiteX383" fmla="*/ 192977 w 657891"/>
                <a:gd name="connsiteY383" fmla="*/ 402050 h 548544"/>
                <a:gd name="connsiteX384" fmla="*/ 181833 w 657891"/>
                <a:gd name="connsiteY384" fmla="*/ 414433 h 548544"/>
                <a:gd name="connsiteX385" fmla="*/ 176213 w 657891"/>
                <a:gd name="connsiteY385" fmla="*/ 413385 h 548544"/>
                <a:gd name="connsiteX386" fmla="*/ 167450 w 657891"/>
                <a:gd name="connsiteY386" fmla="*/ 416338 h 548544"/>
                <a:gd name="connsiteX387" fmla="*/ 160782 w 657891"/>
                <a:gd name="connsiteY387" fmla="*/ 420910 h 548544"/>
                <a:gd name="connsiteX388" fmla="*/ 156591 w 657891"/>
                <a:gd name="connsiteY388" fmla="*/ 430435 h 548544"/>
                <a:gd name="connsiteX389" fmla="*/ 154305 w 657891"/>
                <a:gd name="connsiteY389" fmla="*/ 427196 h 548544"/>
                <a:gd name="connsiteX390" fmla="*/ 152971 w 657891"/>
                <a:gd name="connsiteY390" fmla="*/ 430911 h 548544"/>
                <a:gd name="connsiteX391" fmla="*/ 151638 w 657891"/>
                <a:gd name="connsiteY391" fmla="*/ 434816 h 548544"/>
                <a:gd name="connsiteX392" fmla="*/ 146780 w 657891"/>
                <a:gd name="connsiteY392" fmla="*/ 439007 h 548544"/>
                <a:gd name="connsiteX393" fmla="*/ 143828 w 657891"/>
                <a:gd name="connsiteY393" fmla="*/ 444913 h 548544"/>
                <a:gd name="connsiteX394" fmla="*/ 138970 w 657891"/>
                <a:gd name="connsiteY394" fmla="*/ 449104 h 548544"/>
                <a:gd name="connsiteX395" fmla="*/ 130874 w 657891"/>
                <a:gd name="connsiteY395" fmla="*/ 457486 h 548544"/>
                <a:gd name="connsiteX396" fmla="*/ 121920 w 657891"/>
                <a:gd name="connsiteY396" fmla="*/ 458629 h 548544"/>
                <a:gd name="connsiteX397" fmla="*/ 113633 w 657891"/>
                <a:gd name="connsiteY397" fmla="*/ 465201 h 548544"/>
                <a:gd name="connsiteX398" fmla="*/ 110966 w 657891"/>
                <a:gd name="connsiteY398" fmla="*/ 472821 h 548544"/>
                <a:gd name="connsiteX399" fmla="*/ 109919 w 657891"/>
                <a:gd name="connsiteY399" fmla="*/ 478346 h 548544"/>
                <a:gd name="connsiteX400" fmla="*/ 112204 w 657891"/>
                <a:gd name="connsiteY400" fmla="*/ 481679 h 548544"/>
                <a:gd name="connsiteX401" fmla="*/ 120491 w 657891"/>
                <a:gd name="connsiteY401" fmla="*/ 489680 h 548544"/>
                <a:gd name="connsiteX402" fmla="*/ 121729 w 657891"/>
                <a:gd name="connsiteY402" fmla="*/ 498539 h 548544"/>
                <a:gd name="connsiteX403" fmla="*/ 117253 w 657891"/>
                <a:gd name="connsiteY403" fmla="*/ 506349 h 548544"/>
                <a:gd name="connsiteX404" fmla="*/ 119729 w 657891"/>
                <a:gd name="connsiteY404" fmla="*/ 511492 h 548544"/>
                <a:gd name="connsiteX405" fmla="*/ 121825 w 657891"/>
                <a:gd name="connsiteY405" fmla="*/ 513017 h 548544"/>
                <a:gd name="connsiteX406" fmla="*/ 91916 w 657891"/>
                <a:gd name="connsiteY406" fmla="*/ 522446 h 548544"/>
                <a:gd name="connsiteX407" fmla="*/ 80963 w 657891"/>
                <a:gd name="connsiteY407" fmla="*/ 522065 h 548544"/>
                <a:gd name="connsiteX408" fmla="*/ 67533 w 657891"/>
                <a:gd name="connsiteY408" fmla="*/ 531114 h 548544"/>
                <a:gd name="connsiteX409" fmla="*/ 53626 w 657891"/>
                <a:gd name="connsiteY409" fmla="*/ 536543 h 548544"/>
                <a:gd name="connsiteX410" fmla="*/ 48483 w 657891"/>
                <a:gd name="connsiteY410" fmla="*/ 539115 h 548544"/>
                <a:gd name="connsiteX411" fmla="*/ 42863 w 657891"/>
                <a:gd name="connsiteY411" fmla="*/ 537972 h 548544"/>
                <a:gd name="connsiteX412" fmla="*/ 41243 w 657891"/>
                <a:gd name="connsiteY412" fmla="*/ 540068 h 548544"/>
                <a:gd name="connsiteX413" fmla="*/ 35909 w 657891"/>
                <a:gd name="connsiteY413" fmla="*/ 540734 h 548544"/>
                <a:gd name="connsiteX414" fmla="*/ 31433 w 657891"/>
                <a:gd name="connsiteY414" fmla="*/ 548545 h 548544"/>
                <a:gd name="connsiteX415" fmla="*/ 25622 w 657891"/>
                <a:gd name="connsiteY415" fmla="*/ 545687 h 548544"/>
                <a:gd name="connsiteX416" fmla="*/ 20479 w 657891"/>
                <a:gd name="connsiteY416" fmla="*/ 548259 h 548544"/>
                <a:gd name="connsiteX417" fmla="*/ 0 w 657891"/>
                <a:gd name="connsiteY417" fmla="*/ 545497 h 548544"/>
                <a:gd name="connsiteX418" fmla="*/ 6477 w 657891"/>
                <a:gd name="connsiteY418" fmla="*/ 539210 h 548544"/>
                <a:gd name="connsiteX419" fmla="*/ 7334 w 657891"/>
                <a:gd name="connsiteY419" fmla="*/ 531781 h 548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</a:cxnLst>
              <a:rect l="l" t="t" r="r" b="b"/>
              <a:pathLst>
                <a:path w="657891" h="548544">
                  <a:moveTo>
                    <a:pt x="7334" y="531781"/>
                  </a:moveTo>
                  <a:lnTo>
                    <a:pt x="4763" y="526733"/>
                  </a:lnTo>
                  <a:lnTo>
                    <a:pt x="3239" y="528733"/>
                  </a:lnTo>
                  <a:lnTo>
                    <a:pt x="2477" y="508921"/>
                  </a:lnTo>
                  <a:lnTo>
                    <a:pt x="15240" y="509016"/>
                  </a:lnTo>
                  <a:lnTo>
                    <a:pt x="21146" y="511874"/>
                  </a:lnTo>
                  <a:lnTo>
                    <a:pt x="26003" y="507587"/>
                  </a:lnTo>
                  <a:lnTo>
                    <a:pt x="24575" y="496919"/>
                  </a:lnTo>
                  <a:lnTo>
                    <a:pt x="26384" y="496634"/>
                  </a:lnTo>
                  <a:lnTo>
                    <a:pt x="31528" y="479679"/>
                  </a:lnTo>
                  <a:lnTo>
                    <a:pt x="31909" y="468725"/>
                  </a:lnTo>
                  <a:lnTo>
                    <a:pt x="36767" y="464439"/>
                  </a:lnTo>
                  <a:lnTo>
                    <a:pt x="44196" y="465296"/>
                  </a:lnTo>
                  <a:lnTo>
                    <a:pt x="46482" y="468630"/>
                  </a:lnTo>
                  <a:lnTo>
                    <a:pt x="51816" y="467868"/>
                  </a:lnTo>
                  <a:lnTo>
                    <a:pt x="51149" y="462534"/>
                  </a:lnTo>
                  <a:lnTo>
                    <a:pt x="54483" y="460248"/>
                  </a:lnTo>
                  <a:lnTo>
                    <a:pt x="58293" y="461582"/>
                  </a:lnTo>
                  <a:lnTo>
                    <a:pt x="59627" y="457772"/>
                  </a:lnTo>
                  <a:lnTo>
                    <a:pt x="65532" y="460629"/>
                  </a:lnTo>
                  <a:lnTo>
                    <a:pt x="72581" y="430721"/>
                  </a:lnTo>
                  <a:lnTo>
                    <a:pt x="75914" y="428434"/>
                  </a:lnTo>
                  <a:lnTo>
                    <a:pt x="73628" y="425101"/>
                  </a:lnTo>
                  <a:lnTo>
                    <a:pt x="75438" y="424910"/>
                  </a:lnTo>
                  <a:lnTo>
                    <a:pt x="73152" y="421576"/>
                  </a:lnTo>
                  <a:lnTo>
                    <a:pt x="76295" y="417576"/>
                  </a:lnTo>
                  <a:lnTo>
                    <a:pt x="78200" y="404622"/>
                  </a:lnTo>
                  <a:lnTo>
                    <a:pt x="75438" y="397669"/>
                  </a:lnTo>
                  <a:lnTo>
                    <a:pt x="71914" y="398145"/>
                  </a:lnTo>
                  <a:lnTo>
                    <a:pt x="65818" y="408051"/>
                  </a:lnTo>
                  <a:lnTo>
                    <a:pt x="59150" y="412528"/>
                  </a:lnTo>
                  <a:lnTo>
                    <a:pt x="56864" y="409194"/>
                  </a:lnTo>
                  <a:lnTo>
                    <a:pt x="53245" y="409670"/>
                  </a:lnTo>
                  <a:lnTo>
                    <a:pt x="49435" y="408337"/>
                  </a:lnTo>
                  <a:lnTo>
                    <a:pt x="35052" y="410242"/>
                  </a:lnTo>
                  <a:lnTo>
                    <a:pt x="35814" y="415671"/>
                  </a:lnTo>
                  <a:lnTo>
                    <a:pt x="29718" y="411004"/>
                  </a:lnTo>
                  <a:lnTo>
                    <a:pt x="36195" y="404717"/>
                  </a:lnTo>
                  <a:lnTo>
                    <a:pt x="35243" y="397574"/>
                  </a:lnTo>
                  <a:lnTo>
                    <a:pt x="37052" y="397288"/>
                  </a:lnTo>
                  <a:lnTo>
                    <a:pt x="43529" y="391097"/>
                  </a:lnTo>
                  <a:lnTo>
                    <a:pt x="43053" y="387477"/>
                  </a:lnTo>
                  <a:lnTo>
                    <a:pt x="41243" y="387763"/>
                  </a:lnTo>
                  <a:lnTo>
                    <a:pt x="37148" y="384619"/>
                  </a:lnTo>
                  <a:lnTo>
                    <a:pt x="33338" y="383381"/>
                  </a:lnTo>
                  <a:lnTo>
                    <a:pt x="31433" y="369094"/>
                  </a:lnTo>
                  <a:lnTo>
                    <a:pt x="24860" y="360902"/>
                  </a:lnTo>
                  <a:lnTo>
                    <a:pt x="19050" y="358045"/>
                  </a:lnTo>
                  <a:lnTo>
                    <a:pt x="27718" y="340614"/>
                  </a:lnTo>
                  <a:lnTo>
                    <a:pt x="26289" y="329851"/>
                  </a:lnTo>
                  <a:lnTo>
                    <a:pt x="18383" y="325469"/>
                  </a:lnTo>
                  <a:lnTo>
                    <a:pt x="17621" y="320135"/>
                  </a:lnTo>
                  <a:lnTo>
                    <a:pt x="11811" y="317278"/>
                  </a:lnTo>
                  <a:lnTo>
                    <a:pt x="12668" y="309944"/>
                  </a:lnTo>
                  <a:lnTo>
                    <a:pt x="19145" y="303657"/>
                  </a:lnTo>
                  <a:lnTo>
                    <a:pt x="22289" y="299561"/>
                  </a:lnTo>
                  <a:lnTo>
                    <a:pt x="29242" y="296894"/>
                  </a:lnTo>
                  <a:lnTo>
                    <a:pt x="31147" y="283845"/>
                  </a:lnTo>
                  <a:lnTo>
                    <a:pt x="30956" y="282131"/>
                  </a:lnTo>
                  <a:lnTo>
                    <a:pt x="37148" y="274034"/>
                  </a:lnTo>
                  <a:lnTo>
                    <a:pt x="39243" y="275558"/>
                  </a:lnTo>
                  <a:lnTo>
                    <a:pt x="41720" y="280702"/>
                  </a:lnTo>
                  <a:lnTo>
                    <a:pt x="47054" y="279940"/>
                  </a:lnTo>
                  <a:lnTo>
                    <a:pt x="49340" y="283274"/>
                  </a:lnTo>
                  <a:lnTo>
                    <a:pt x="50959" y="281273"/>
                  </a:lnTo>
                  <a:lnTo>
                    <a:pt x="50959" y="281273"/>
                  </a:lnTo>
                  <a:lnTo>
                    <a:pt x="53150" y="284607"/>
                  </a:lnTo>
                  <a:lnTo>
                    <a:pt x="54007" y="277273"/>
                  </a:lnTo>
                  <a:lnTo>
                    <a:pt x="56483" y="267843"/>
                  </a:lnTo>
                  <a:lnTo>
                    <a:pt x="52864" y="268319"/>
                  </a:lnTo>
                  <a:lnTo>
                    <a:pt x="51911" y="261175"/>
                  </a:lnTo>
                  <a:lnTo>
                    <a:pt x="56579" y="255175"/>
                  </a:lnTo>
                  <a:lnTo>
                    <a:pt x="63818" y="254222"/>
                  </a:lnTo>
                  <a:lnTo>
                    <a:pt x="68961" y="251746"/>
                  </a:lnTo>
                  <a:lnTo>
                    <a:pt x="62579" y="245269"/>
                  </a:lnTo>
                  <a:lnTo>
                    <a:pt x="65913" y="243078"/>
                  </a:lnTo>
                  <a:lnTo>
                    <a:pt x="71342" y="242316"/>
                  </a:lnTo>
                  <a:lnTo>
                    <a:pt x="74104" y="249174"/>
                  </a:lnTo>
                  <a:lnTo>
                    <a:pt x="82010" y="253651"/>
                  </a:lnTo>
                  <a:lnTo>
                    <a:pt x="85344" y="251365"/>
                  </a:lnTo>
                  <a:lnTo>
                    <a:pt x="84582" y="246031"/>
                  </a:lnTo>
                  <a:lnTo>
                    <a:pt x="92012" y="246793"/>
                  </a:lnTo>
                  <a:lnTo>
                    <a:pt x="94964" y="240983"/>
                  </a:lnTo>
                  <a:lnTo>
                    <a:pt x="100298" y="240316"/>
                  </a:lnTo>
                  <a:lnTo>
                    <a:pt x="110014" y="244507"/>
                  </a:lnTo>
                  <a:lnTo>
                    <a:pt x="113633" y="243935"/>
                  </a:lnTo>
                  <a:lnTo>
                    <a:pt x="118491" y="239744"/>
                  </a:lnTo>
                  <a:lnTo>
                    <a:pt x="121349" y="233934"/>
                  </a:lnTo>
                  <a:lnTo>
                    <a:pt x="123920" y="238982"/>
                  </a:lnTo>
                  <a:lnTo>
                    <a:pt x="125444" y="236982"/>
                  </a:lnTo>
                  <a:lnTo>
                    <a:pt x="135636" y="244697"/>
                  </a:lnTo>
                  <a:lnTo>
                    <a:pt x="136970" y="240887"/>
                  </a:lnTo>
                  <a:lnTo>
                    <a:pt x="140779" y="242221"/>
                  </a:lnTo>
                  <a:lnTo>
                    <a:pt x="152686" y="235172"/>
                  </a:lnTo>
                  <a:lnTo>
                    <a:pt x="156020" y="232886"/>
                  </a:lnTo>
                  <a:lnTo>
                    <a:pt x="152210" y="231648"/>
                  </a:lnTo>
                  <a:lnTo>
                    <a:pt x="153543" y="227838"/>
                  </a:lnTo>
                  <a:lnTo>
                    <a:pt x="160211" y="223361"/>
                  </a:lnTo>
                  <a:lnTo>
                    <a:pt x="161544" y="219456"/>
                  </a:lnTo>
                  <a:lnTo>
                    <a:pt x="165164" y="219075"/>
                  </a:lnTo>
                  <a:lnTo>
                    <a:pt x="162878" y="215741"/>
                  </a:lnTo>
                  <a:lnTo>
                    <a:pt x="168212" y="214979"/>
                  </a:lnTo>
                  <a:lnTo>
                    <a:pt x="167831" y="211455"/>
                  </a:lnTo>
                  <a:lnTo>
                    <a:pt x="169545" y="211169"/>
                  </a:lnTo>
                  <a:lnTo>
                    <a:pt x="172593" y="192691"/>
                  </a:lnTo>
                  <a:lnTo>
                    <a:pt x="176403" y="194024"/>
                  </a:lnTo>
                  <a:lnTo>
                    <a:pt x="183356" y="191262"/>
                  </a:lnTo>
                  <a:lnTo>
                    <a:pt x="184690" y="187452"/>
                  </a:lnTo>
                  <a:lnTo>
                    <a:pt x="190595" y="190310"/>
                  </a:lnTo>
                  <a:lnTo>
                    <a:pt x="194501" y="178879"/>
                  </a:lnTo>
                  <a:lnTo>
                    <a:pt x="199930" y="178213"/>
                  </a:lnTo>
                  <a:lnTo>
                    <a:pt x="201454" y="176117"/>
                  </a:lnTo>
                  <a:lnTo>
                    <a:pt x="208693" y="175165"/>
                  </a:lnTo>
                  <a:lnTo>
                    <a:pt x="205931" y="168307"/>
                  </a:lnTo>
                  <a:lnTo>
                    <a:pt x="207454" y="166307"/>
                  </a:lnTo>
                  <a:lnTo>
                    <a:pt x="204502" y="157639"/>
                  </a:lnTo>
                  <a:lnTo>
                    <a:pt x="204311" y="155829"/>
                  </a:lnTo>
                  <a:lnTo>
                    <a:pt x="196406" y="151448"/>
                  </a:lnTo>
                  <a:lnTo>
                    <a:pt x="195929" y="147923"/>
                  </a:lnTo>
                  <a:lnTo>
                    <a:pt x="191358" y="141256"/>
                  </a:lnTo>
                  <a:lnTo>
                    <a:pt x="189929" y="130492"/>
                  </a:lnTo>
                  <a:lnTo>
                    <a:pt x="187452" y="125444"/>
                  </a:lnTo>
                  <a:lnTo>
                    <a:pt x="186976" y="121825"/>
                  </a:lnTo>
                  <a:lnTo>
                    <a:pt x="190595" y="121444"/>
                  </a:lnTo>
                  <a:lnTo>
                    <a:pt x="189452" y="112490"/>
                  </a:lnTo>
                  <a:lnTo>
                    <a:pt x="192977" y="112014"/>
                  </a:lnTo>
                  <a:lnTo>
                    <a:pt x="196120" y="108014"/>
                  </a:lnTo>
                  <a:lnTo>
                    <a:pt x="194025" y="106394"/>
                  </a:lnTo>
                  <a:lnTo>
                    <a:pt x="200787" y="101917"/>
                  </a:lnTo>
                  <a:lnTo>
                    <a:pt x="201073" y="103727"/>
                  </a:lnTo>
                  <a:lnTo>
                    <a:pt x="202406" y="99917"/>
                  </a:lnTo>
                  <a:lnTo>
                    <a:pt x="200596" y="100108"/>
                  </a:lnTo>
                  <a:lnTo>
                    <a:pt x="203740" y="96107"/>
                  </a:lnTo>
                  <a:lnTo>
                    <a:pt x="206121" y="86678"/>
                  </a:lnTo>
                  <a:lnTo>
                    <a:pt x="213265" y="85725"/>
                  </a:lnTo>
                  <a:lnTo>
                    <a:pt x="213075" y="84011"/>
                  </a:lnTo>
                  <a:lnTo>
                    <a:pt x="218408" y="83249"/>
                  </a:lnTo>
                  <a:lnTo>
                    <a:pt x="217932" y="79724"/>
                  </a:lnTo>
                  <a:lnTo>
                    <a:pt x="219742" y="79439"/>
                  </a:lnTo>
                  <a:lnTo>
                    <a:pt x="228410" y="89154"/>
                  </a:lnTo>
                  <a:lnTo>
                    <a:pt x="232220" y="90488"/>
                  </a:lnTo>
                  <a:lnTo>
                    <a:pt x="230410" y="90773"/>
                  </a:lnTo>
                  <a:lnTo>
                    <a:pt x="225933" y="98584"/>
                  </a:lnTo>
                  <a:lnTo>
                    <a:pt x="225838" y="111252"/>
                  </a:lnTo>
                  <a:lnTo>
                    <a:pt x="223171" y="118872"/>
                  </a:lnTo>
                  <a:lnTo>
                    <a:pt x="223838" y="124206"/>
                  </a:lnTo>
                  <a:lnTo>
                    <a:pt x="234410" y="121063"/>
                  </a:lnTo>
                  <a:lnTo>
                    <a:pt x="238220" y="122301"/>
                  </a:lnTo>
                  <a:lnTo>
                    <a:pt x="236792" y="111633"/>
                  </a:lnTo>
                  <a:lnTo>
                    <a:pt x="252127" y="116872"/>
                  </a:lnTo>
                  <a:lnTo>
                    <a:pt x="257556" y="116205"/>
                  </a:lnTo>
                  <a:lnTo>
                    <a:pt x="261842" y="121063"/>
                  </a:lnTo>
                  <a:lnTo>
                    <a:pt x="260509" y="124873"/>
                  </a:lnTo>
                  <a:lnTo>
                    <a:pt x="262319" y="124587"/>
                  </a:lnTo>
                  <a:lnTo>
                    <a:pt x="271272" y="123349"/>
                  </a:lnTo>
                  <a:lnTo>
                    <a:pt x="274034" y="130302"/>
                  </a:lnTo>
                  <a:lnTo>
                    <a:pt x="275558" y="128302"/>
                  </a:lnTo>
                  <a:lnTo>
                    <a:pt x="273082" y="123158"/>
                  </a:lnTo>
                  <a:lnTo>
                    <a:pt x="278416" y="122492"/>
                  </a:lnTo>
                  <a:lnTo>
                    <a:pt x="278225" y="120682"/>
                  </a:lnTo>
                  <a:lnTo>
                    <a:pt x="282035" y="122015"/>
                  </a:lnTo>
                  <a:lnTo>
                    <a:pt x="291275" y="122587"/>
                  </a:lnTo>
                  <a:lnTo>
                    <a:pt x="289941" y="126397"/>
                  </a:lnTo>
                  <a:lnTo>
                    <a:pt x="297371" y="127254"/>
                  </a:lnTo>
                  <a:lnTo>
                    <a:pt x="305753" y="135160"/>
                  </a:lnTo>
                  <a:lnTo>
                    <a:pt x="307562" y="134969"/>
                  </a:lnTo>
                  <a:lnTo>
                    <a:pt x="312325" y="143351"/>
                  </a:lnTo>
                  <a:lnTo>
                    <a:pt x="313754" y="154019"/>
                  </a:lnTo>
                  <a:lnTo>
                    <a:pt x="313944" y="155829"/>
                  </a:lnTo>
                  <a:lnTo>
                    <a:pt x="334709" y="133160"/>
                  </a:lnTo>
                  <a:lnTo>
                    <a:pt x="340709" y="123349"/>
                  </a:lnTo>
                  <a:lnTo>
                    <a:pt x="345853" y="120777"/>
                  </a:lnTo>
                  <a:lnTo>
                    <a:pt x="346139" y="122587"/>
                  </a:lnTo>
                  <a:lnTo>
                    <a:pt x="350806" y="116491"/>
                  </a:lnTo>
                  <a:lnTo>
                    <a:pt x="349377" y="105823"/>
                  </a:lnTo>
                  <a:lnTo>
                    <a:pt x="346805" y="100679"/>
                  </a:lnTo>
                  <a:lnTo>
                    <a:pt x="345091" y="100965"/>
                  </a:lnTo>
                  <a:lnTo>
                    <a:pt x="349758" y="94869"/>
                  </a:lnTo>
                  <a:lnTo>
                    <a:pt x="340043" y="90773"/>
                  </a:lnTo>
                  <a:lnTo>
                    <a:pt x="351282" y="92869"/>
                  </a:lnTo>
                  <a:lnTo>
                    <a:pt x="351092" y="91059"/>
                  </a:lnTo>
                  <a:lnTo>
                    <a:pt x="356235" y="88583"/>
                  </a:lnTo>
                  <a:lnTo>
                    <a:pt x="358521" y="91916"/>
                  </a:lnTo>
                  <a:lnTo>
                    <a:pt x="357188" y="95726"/>
                  </a:lnTo>
                  <a:lnTo>
                    <a:pt x="360998" y="97060"/>
                  </a:lnTo>
                  <a:lnTo>
                    <a:pt x="367189" y="88964"/>
                  </a:lnTo>
                  <a:lnTo>
                    <a:pt x="370808" y="88487"/>
                  </a:lnTo>
                  <a:lnTo>
                    <a:pt x="377571" y="84011"/>
                  </a:lnTo>
                  <a:lnTo>
                    <a:pt x="379762" y="87249"/>
                  </a:lnTo>
                  <a:lnTo>
                    <a:pt x="397288" y="81344"/>
                  </a:lnTo>
                  <a:lnTo>
                    <a:pt x="399383" y="82867"/>
                  </a:lnTo>
                  <a:lnTo>
                    <a:pt x="404432" y="80391"/>
                  </a:lnTo>
                  <a:lnTo>
                    <a:pt x="408051" y="79915"/>
                  </a:lnTo>
                  <a:lnTo>
                    <a:pt x="413671" y="80963"/>
                  </a:lnTo>
                  <a:lnTo>
                    <a:pt x="417766" y="84106"/>
                  </a:lnTo>
                  <a:lnTo>
                    <a:pt x="420243" y="89154"/>
                  </a:lnTo>
                  <a:lnTo>
                    <a:pt x="418910" y="92964"/>
                  </a:lnTo>
                  <a:lnTo>
                    <a:pt x="424053" y="90488"/>
                  </a:lnTo>
                  <a:lnTo>
                    <a:pt x="425863" y="90202"/>
                  </a:lnTo>
                  <a:lnTo>
                    <a:pt x="426339" y="93821"/>
                  </a:lnTo>
                  <a:lnTo>
                    <a:pt x="429768" y="91535"/>
                  </a:lnTo>
                  <a:lnTo>
                    <a:pt x="433578" y="92869"/>
                  </a:lnTo>
                  <a:lnTo>
                    <a:pt x="436626" y="88868"/>
                  </a:lnTo>
                  <a:lnTo>
                    <a:pt x="437102" y="92392"/>
                  </a:lnTo>
                  <a:lnTo>
                    <a:pt x="438721" y="90392"/>
                  </a:lnTo>
                  <a:lnTo>
                    <a:pt x="444532" y="93250"/>
                  </a:lnTo>
                  <a:lnTo>
                    <a:pt x="454629" y="86487"/>
                  </a:lnTo>
                  <a:lnTo>
                    <a:pt x="455486" y="79058"/>
                  </a:lnTo>
                  <a:lnTo>
                    <a:pt x="460915" y="78391"/>
                  </a:lnTo>
                  <a:lnTo>
                    <a:pt x="470440" y="68008"/>
                  </a:lnTo>
                  <a:lnTo>
                    <a:pt x="464154" y="61627"/>
                  </a:lnTo>
                  <a:lnTo>
                    <a:pt x="469106" y="57341"/>
                  </a:lnTo>
                  <a:lnTo>
                    <a:pt x="463201" y="54483"/>
                  </a:lnTo>
                  <a:lnTo>
                    <a:pt x="458629" y="47816"/>
                  </a:lnTo>
                  <a:lnTo>
                    <a:pt x="456629" y="46292"/>
                  </a:lnTo>
                  <a:lnTo>
                    <a:pt x="455962" y="40958"/>
                  </a:lnTo>
                  <a:lnTo>
                    <a:pt x="445770" y="33242"/>
                  </a:lnTo>
                  <a:lnTo>
                    <a:pt x="446818" y="27623"/>
                  </a:lnTo>
                  <a:lnTo>
                    <a:pt x="442817" y="24575"/>
                  </a:lnTo>
                  <a:lnTo>
                    <a:pt x="446151" y="22289"/>
                  </a:lnTo>
                  <a:lnTo>
                    <a:pt x="450247" y="25432"/>
                  </a:lnTo>
                  <a:lnTo>
                    <a:pt x="451581" y="21622"/>
                  </a:lnTo>
                  <a:lnTo>
                    <a:pt x="458724" y="20669"/>
                  </a:lnTo>
                  <a:lnTo>
                    <a:pt x="458914" y="22479"/>
                  </a:lnTo>
                  <a:lnTo>
                    <a:pt x="467487" y="17717"/>
                  </a:lnTo>
                  <a:lnTo>
                    <a:pt x="476726" y="32766"/>
                  </a:lnTo>
                  <a:lnTo>
                    <a:pt x="482441" y="33814"/>
                  </a:lnTo>
                  <a:lnTo>
                    <a:pt x="487299" y="29528"/>
                  </a:lnTo>
                  <a:lnTo>
                    <a:pt x="484347" y="20860"/>
                  </a:lnTo>
                  <a:lnTo>
                    <a:pt x="487680" y="18669"/>
                  </a:lnTo>
                  <a:lnTo>
                    <a:pt x="487013" y="13335"/>
                  </a:lnTo>
                  <a:lnTo>
                    <a:pt x="488347" y="9525"/>
                  </a:lnTo>
                  <a:lnTo>
                    <a:pt x="489395" y="3905"/>
                  </a:lnTo>
                  <a:lnTo>
                    <a:pt x="494538" y="1429"/>
                  </a:lnTo>
                  <a:lnTo>
                    <a:pt x="500634" y="6001"/>
                  </a:lnTo>
                  <a:lnTo>
                    <a:pt x="505301" y="0"/>
                  </a:lnTo>
                  <a:lnTo>
                    <a:pt x="510350" y="10192"/>
                  </a:lnTo>
                  <a:lnTo>
                    <a:pt x="518256" y="14573"/>
                  </a:lnTo>
                  <a:lnTo>
                    <a:pt x="520446" y="17907"/>
                  </a:lnTo>
                  <a:lnTo>
                    <a:pt x="526161" y="18955"/>
                  </a:lnTo>
                  <a:lnTo>
                    <a:pt x="521398" y="25051"/>
                  </a:lnTo>
                  <a:lnTo>
                    <a:pt x="523494" y="26575"/>
                  </a:lnTo>
                  <a:lnTo>
                    <a:pt x="529590" y="31242"/>
                  </a:lnTo>
                  <a:lnTo>
                    <a:pt x="529780" y="32957"/>
                  </a:lnTo>
                  <a:lnTo>
                    <a:pt x="537020" y="32004"/>
                  </a:lnTo>
                  <a:lnTo>
                    <a:pt x="544830" y="36386"/>
                  </a:lnTo>
                  <a:lnTo>
                    <a:pt x="548926" y="39529"/>
                  </a:lnTo>
                  <a:lnTo>
                    <a:pt x="550259" y="35719"/>
                  </a:lnTo>
                  <a:lnTo>
                    <a:pt x="565975" y="30004"/>
                  </a:lnTo>
                  <a:lnTo>
                    <a:pt x="571310" y="29337"/>
                  </a:lnTo>
                  <a:lnTo>
                    <a:pt x="571786" y="32861"/>
                  </a:lnTo>
                  <a:lnTo>
                    <a:pt x="575215" y="30575"/>
                  </a:lnTo>
                  <a:lnTo>
                    <a:pt x="579025" y="31909"/>
                  </a:lnTo>
                  <a:lnTo>
                    <a:pt x="580835" y="31718"/>
                  </a:lnTo>
                  <a:lnTo>
                    <a:pt x="582168" y="27908"/>
                  </a:lnTo>
                  <a:lnTo>
                    <a:pt x="583882" y="27623"/>
                  </a:lnTo>
                  <a:lnTo>
                    <a:pt x="583406" y="24098"/>
                  </a:lnTo>
                  <a:lnTo>
                    <a:pt x="588645" y="21622"/>
                  </a:lnTo>
                  <a:lnTo>
                    <a:pt x="590265" y="34100"/>
                  </a:lnTo>
                  <a:lnTo>
                    <a:pt x="597884" y="36671"/>
                  </a:lnTo>
                  <a:lnTo>
                    <a:pt x="603314" y="36004"/>
                  </a:lnTo>
                  <a:lnTo>
                    <a:pt x="610076" y="45911"/>
                  </a:lnTo>
                  <a:lnTo>
                    <a:pt x="611886" y="45720"/>
                  </a:lnTo>
                  <a:lnTo>
                    <a:pt x="610838" y="51245"/>
                  </a:lnTo>
                  <a:lnTo>
                    <a:pt x="603885" y="54007"/>
                  </a:lnTo>
                  <a:lnTo>
                    <a:pt x="609981" y="58674"/>
                  </a:lnTo>
                  <a:lnTo>
                    <a:pt x="617125" y="57721"/>
                  </a:lnTo>
                  <a:lnTo>
                    <a:pt x="624078" y="54959"/>
                  </a:lnTo>
                  <a:lnTo>
                    <a:pt x="628174" y="58007"/>
                  </a:lnTo>
                  <a:lnTo>
                    <a:pt x="634651" y="51721"/>
                  </a:lnTo>
                  <a:lnTo>
                    <a:pt x="639985" y="51054"/>
                  </a:lnTo>
                  <a:lnTo>
                    <a:pt x="646366" y="57436"/>
                  </a:lnTo>
                  <a:lnTo>
                    <a:pt x="649319" y="66104"/>
                  </a:lnTo>
                  <a:lnTo>
                    <a:pt x="655415" y="70771"/>
                  </a:lnTo>
                  <a:lnTo>
                    <a:pt x="657892" y="75819"/>
                  </a:lnTo>
                  <a:lnTo>
                    <a:pt x="656654" y="79629"/>
                  </a:lnTo>
                  <a:lnTo>
                    <a:pt x="648558" y="88011"/>
                  </a:lnTo>
                  <a:lnTo>
                    <a:pt x="652272" y="102013"/>
                  </a:lnTo>
                  <a:lnTo>
                    <a:pt x="648843" y="104299"/>
                  </a:lnTo>
                  <a:lnTo>
                    <a:pt x="642842" y="114110"/>
                  </a:lnTo>
                  <a:lnTo>
                    <a:pt x="640271" y="121729"/>
                  </a:lnTo>
                  <a:lnTo>
                    <a:pt x="631698" y="126492"/>
                  </a:lnTo>
                  <a:lnTo>
                    <a:pt x="627983" y="139637"/>
                  </a:lnTo>
                  <a:lnTo>
                    <a:pt x="614553" y="148685"/>
                  </a:lnTo>
                  <a:lnTo>
                    <a:pt x="607600" y="151448"/>
                  </a:lnTo>
                  <a:lnTo>
                    <a:pt x="591408" y="153543"/>
                  </a:lnTo>
                  <a:lnTo>
                    <a:pt x="587121" y="148685"/>
                  </a:lnTo>
                  <a:lnTo>
                    <a:pt x="576167" y="148304"/>
                  </a:lnTo>
                  <a:lnTo>
                    <a:pt x="569786" y="141923"/>
                  </a:lnTo>
                  <a:lnTo>
                    <a:pt x="564642" y="144399"/>
                  </a:lnTo>
                  <a:lnTo>
                    <a:pt x="561308" y="146685"/>
                  </a:lnTo>
                  <a:lnTo>
                    <a:pt x="558832" y="156020"/>
                  </a:lnTo>
                  <a:lnTo>
                    <a:pt x="555784" y="160115"/>
                  </a:lnTo>
                  <a:lnTo>
                    <a:pt x="528447" y="174593"/>
                  </a:lnTo>
                  <a:lnTo>
                    <a:pt x="525113" y="176879"/>
                  </a:lnTo>
                  <a:lnTo>
                    <a:pt x="519684" y="177546"/>
                  </a:lnTo>
                  <a:lnTo>
                    <a:pt x="519208" y="174022"/>
                  </a:lnTo>
                  <a:lnTo>
                    <a:pt x="515588" y="174498"/>
                  </a:lnTo>
                  <a:lnTo>
                    <a:pt x="510826" y="166021"/>
                  </a:lnTo>
                  <a:lnTo>
                    <a:pt x="507206" y="166497"/>
                  </a:lnTo>
                  <a:lnTo>
                    <a:pt x="505968" y="170307"/>
                  </a:lnTo>
                  <a:lnTo>
                    <a:pt x="502825" y="174308"/>
                  </a:lnTo>
                  <a:lnTo>
                    <a:pt x="497681" y="176879"/>
                  </a:lnTo>
                  <a:lnTo>
                    <a:pt x="487966" y="172688"/>
                  </a:lnTo>
                  <a:lnTo>
                    <a:pt x="480822" y="173641"/>
                  </a:lnTo>
                  <a:lnTo>
                    <a:pt x="471392" y="171260"/>
                  </a:lnTo>
                  <a:lnTo>
                    <a:pt x="464820" y="177546"/>
                  </a:lnTo>
                  <a:lnTo>
                    <a:pt x="451009" y="183071"/>
                  </a:lnTo>
                  <a:lnTo>
                    <a:pt x="446056" y="187262"/>
                  </a:lnTo>
                  <a:lnTo>
                    <a:pt x="446247" y="189071"/>
                  </a:lnTo>
                  <a:lnTo>
                    <a:pt x="451009" y="197549"/>
                  </a:lnTo>
                  <a:lnTo>
                    <a:pt x="460248" y="198120"/>
                  </a:lnTo>
                  <a:lnTo>
                    <a:pt x="470345" y="191357"/>
                  </a:lnTo>
                  <a:lnTo>
                    <a:pt x="472345" y="192881"/>
                  </a:lnTo>
                  <a:lnTo>
                    <a:pt x="472630" y="194691"/>
                  </a:lnTo>
                  <a:lnTo>
                    <a:pt x="469297" y="196977"/>
                  </a:lnTo>
                  <a:lnTo>
                    <a:pt x="462820" y="203264"/>
                  </a:lnTo>
                  <a:lnTo>
                    <a:pt x="463487" y="208502"/>
                  </a:lnTo>
                  <a:lnTo>
                    <a:pt x="454819" y="226028"/>
                  </a:lnTo>
                  <a:lnTo>
                    <a:pt x="450818" y="237458"/>
                  </a:lnTo>
                  <a:lnTo>
                    <a:pt x="445961" y="241745"/>
                  </a:lnTo>
                  <a:lnTo>
                    <a:pt x="448628" y="248603"/>
                  </a:lnTo>
                  <a:lnTo>
                    <a:pt x="447294" y="252413"/>
                  </a:lnTo>
                  <a:lnTo>
                    <a:pt x="436340" y="252032"/>
                  </a:lnTo>
                  <a:lnTo>
                    <a:pt x="431388" y="256318"/>
                  </a:lnTo>
                  <a:lnTo>
                    <a:pt x="432149" y="261652"/>
                  </a:lnTo>
                  <a:lnTo>
                    <a:pt x="435673" y="261175"/>
                  </a:lnTo>
                  <a:lnTo>
                    <a:pt x="439769" y="264319"/>
                  </a:lnTo>
                  <a:lnTo>
                    <a:pt x="436626" y="268319"/>
                  </a:lnTo>
                  <a:lnTo>
                    <a:pt x="426148" y="271558"/>
                  </a:lnTo>
                  <a:lnTo>
                    <a:pt x="421196" y="275749"/>
                  </a:lnTo>
                  <a:lnTo>
                    <a:pt x="415862" y="276511"/>
                  </a:lnTo>
                  <a:lnTo>
                    <a:pt x="413099" y="269653"/>
                  </a:lnTo>
                  <a:lnTo>
                    <a:pt x="407004" y="264986"/>
                  </a:lnTo>
                  <a:lnTo>
                    <a:pt x="402717" y="260128"/>
                  </a:lnTo>
                  <a:lnTo>
                    <a:pt x="401574" y="265748"/>
                  </a:lnTo>
                  <a:lnTo>
                    <a:pt x="396907" y="271748"/>
                  </a:lnTo>
                  <a:lnTo>
                    <a:pt x="399383" y="276892"/>
                  </a:lnTo>
                  <a:lnTo>
                    <a:pt x="389573" y="285464"/>
                  </a:lnTo>
                  <a:lnTo>
                    <a:pt x="381191" y="277463"/>
                  </a:lnTo>
                  <a:lnTo>
                    <a:pt x="374714" y="283750"/>
                  </a:lnTo>
                  <a:lnTo>
                    <a:pt x="366998" y="266700"/>
                  </a:lnTo>
                  <a:lnTo>
                    <a:pt x="358712" y="273177"/>
                  </a:lnTo>
                  <a:lnTo>
                    <a:pt x="353283" y="273939"/>
                  </a:lnTo>
                  <a:lnTo>
                    <a:pt x="347282" y="269272"/>
                  </a:lnTo>
                  <a:lnTo>
                    <a:pt x="344996" y="265938"/>
                  </a:lnTo>
                  <a:lnTo>
                    <a:pt x="328422" y="278987"/>
                  </a:lnTo>
                  <a:lnTo>
                    <a:pt x="329089" y="284417"/>
                  </a:lnTo>
                  <a:lnTo>
                    <a:pt x="322612" y="290703"/>
                  </a:lnTo>
                  <a:lnTo>
                    <a:pt x="328803" y="295275"/>
                  </a:lnTo>
                  <a:lnTo>
                    <a:pt x="328994" y="297085"/>
                  </a:lnTo>
                  <a:lnTo>
                    <a:pt x="327184" y="297275"/>
                  </a:lnTo>
                  <a:lnTo>
                    <a:pt x="336042" y="308800"/>
                  </a:lnTo>
                  <a:lnTo>
                    <a:pt x="339376" y="306610"/>
                  </a:lnTo>
                  <a:lnTo>
                    <a:pt x="341662" y="309848"/>
                  </a:lnTo>
                  <a:lnTo>
                    <a:pt x="338519" y="313944"/>
                  </a:lnTo>
                  <a:lnTo>
                    <a:pt x="343091" y="320612"/>
                  </a:lnTo>
                  <a:lnTo>
                    <a:pt x="344234" y="329470"/>
                  </a:lnTo>
                  <a:lnTo>
                    <a:pt x="344710" y="333089"/>
                  </a:lnTo>
                  <a:lnTo>
                    <a:pt x="345377" y="338423"/>
                  </a:lnTo>
                  <a:lnTo>
                    <a:pt x="350901" y="352139"/>
                  </a:lnTo>
                  <a:lnTo>
                    <a:pt x="349091" y="352425"/>
                  </a:lnTo>
                  <a:lnTo>
                    <a:pt x="344329" y="343948"/>
                  </a:lnTo>
                  <a:lnTo>
                    <a:pt x="332708" y="352806"/>
                  </a:lnTo>
                  <a:lnTo>
                    <a:pt x="332232" y="349187"/>
                  </a:lnTo>
                  <a:lnTo>
                    <a:pt x="332232" y="349187"/>
                  </a:lnTo>
                  <a:lnTo>
                    <a:pt x="325469" y="353759"/>
                  </a:lnTo>
                  <a:lnTo>
                    <a:pt x="311849" y="360998"/>
                  </a:lnTo>
                  <a:lnTo>
                    <a:pt x="299561" y="364426"/>
                  </a:lnTo>
                  <a:lnTo>
                    <a:pt x="295942" y="364903"/>
                  </a:lnTo>
                  <a:lnTo>
                    <a:pt x="296609" y="370237"/>
                  </a:lnTo>
                  <a:lnTo>
                    <a:pt x="289941" y="374809"/>
                  </a:lnTo>
                  <a:lnTo>
                    <a:pt x="287179" y="367856"/>
                  </a:lnTo>
                  <a:lnTo>
                    <a:pt x="278892" y="374428"/>
                  </a:lnTo>
                  <a:lnTo>
                    <a:pt x="273272" y="373380"/>
                  </a:lnTo>
                  <a:lnTo>
                    <a:pt x="262509" y="374809"/>
                  </a:lnTo>
                  <a:lnTo>
                    <a:pt x="259842" y="382334"/>
                  </a:lnTo>
                  <a:lnTo>
                    <a:pt x="256508" y="384619"/>
                  </a:lnTo>
                  <a:lnTo>
                    <a:pt x="255175" y="388430"/>
                  </a:lnTo>
                  <a:lnTo>
                    <a:pt x="244602" y="391573"/>
                  </a:lnTo>
                  <a:lnTo>
                    <a:pt x="240316" y="386810"/>
                  </a:lnTo>
                  <a:lnTo>
                    <a:pt x="224600" y="392430"/>
                  </a:lnTo>
                  <a:lnTo>
                    <a:pt x="208693" y="396431"/>
                  </a:lnTo>
                  <a:lnTo>
                    <a:pt x="192977" y="402050"/>
                  </a:lnTo>
                  <a:lnTo>
                    <a:pt x="181833" y="414433"/>
                  </a:lnTo>
                  <a:lnTo>
                    <a:pt x="176213" y="413385"/>
                  </a:lnTo>
                  <a:lnTo>
                    <a:pt x="167450" y="416338"/>
                  </a:lnTo>
                  <a:lnTo>
                    <a:pt x="160782" y="420910"/>
                  </a:lnTo>
                  <a:lnTo>
                    <a:pt x="156591" y="430435"/>
                  </a:lnTo>
                  <a:lnTo>
                    <a:pt x="154305" y="427196"/>
                  </a:lnTo>
                  <a:lnTo>
                    <a:pt x="152971" y="430911"/>
                  </a:lnTo>
                  <a:lnTo>
                    <a:pt x="151638" y="434816"/>
                  </a:lnTo>
                  <a:lnTo>
                    <a:pt x="146780" y="439007"/>
                  </a:lnTo>
                  <a:lnTo>
                    <a:pt x="143828" y="444913"/>
                  </a:lnTo>
                  <a:lnTo>
                    <a:pt x="138970" y="449104"/>
                  </a:lnTo>
                  <a:lnTo>
                    <a:pt x="130874" y="457486"/>
                  </a:lnTo>
                  <a:lnTo>
                    <a:pt x="121920" y="458629"/>
                  </a:lnTo>
                  <a:lnTo>
                    <a:pt x="113633" y="465201"/>
                  </a:lnTo>
                  <a:lnTo>
                    <a:pt x="110966" y="472821"/>
                  </a:lnTo>
                  <a:lnTo>
                    <a:pt x="109919" y="478346"/>
                  </a:lnTo>
                  <a:lnTo>
                    <a:pt x="112204" y="481679"/>
                  </a:lnTo>
                  <a:lnTo>
                    <a:pt x="120491" y="489680"/>
                  </a:lnTo>
                  <a:lnTo>
                    <a:pt x="121729" y="498539"/>
                  </a:lnTo>
                  <a:lnTo>
                    <a:pt x="117253" y="506349"/>
                  </a:lnTo>
                  <a:lnTo>
                    <a:pt x="119729" y="511492"/>
                  </a:lnTo>
                  <a:lnTo>
                    <a:pt x="121825" y="513017"/>
                  </a:lnTo>
                  <a:lnTo>
                    <a:pt x="91916" y="522446"/>
                  </a:lnTo>
                  <a:lnTo>
                    <a:pt x="80963" y="522065"/>
                  </a:lnTo>
                  <a:lnTo>
                    <a:pt x="67533" y="531114"/>
                  </a:lnTo>
                  <a:lnTo>
                    <a:pt x="53626" y="536543"/>
                  </a:lnTo>
                  <a:lnTo>
                    <a:pt x="48483" y="539115"/>
                  </a:lnTo>
                  <a:lnTo>
                    <a:pt x="42863" y="537972"/>
                  </a:lnTo>
                  <a:lnTo>
                    <a:pt x="41243" y="540068"/>
                  </a:lnTo>
                  <a:lnTo>
                    <a:pt x="35909" y="540734"/>
                  </a:lnTo>
                  <a:lnTo>
                    <a:pt x="31433" y="548545"/>
                  </a:lnTo>
                  <a:lnTo>
                    <a:pt x="25622" y="545687"/>
                  </a:lnTo>
                  <a:lnTo>
                    <a:pt x="20479" y="548259"/>
                  </a:lnTo>
                  <a:lnTo>
                    <a:pt x="0" y="545497"/>
                  </a:lnTo>
                  <a:lnTo>
                    <a:pt x="6477" y="539210"/>
                  </a:lnTo>
                  <a:lnTo>
                    <a:pt x="7334" y="531781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61" name="Volný tvar: obrazec 60">
              <a:extLst>
                <a:ext uri="{FF2B5EF4-FFF2-40B4-BE49-F238E27FC236}">
                  <a16:creationId xmlns:a16="http://schemas.microsoft.com/office/drawing/2014/main" id="{44D4E21C-E0F6-56D2-4A32-6167F047CD31}"/>
                </a:ext>
              </a:extLst>
            </p:cNvPr>
            <p:cNvSpPr/>
            <p:nvPr userDrawn="1"/>
          </p:nvSpPr>
          <p:spPr>
            <a:xfrm>
              <a:off x="7820786" y="3982688"/>
              <a:ext cx="649414" cy="462438"/>
            </a:xfrm>
            <a:custGeom>
              <a:avLst/>
              <a:gdLst>
                <a:gd name="connsiteX0" fmla="*/ 473488 w 649414"/>
                <a:gd name="connsiteY0" fmla="*/ 462439 h 462438"/>
                <a:gd name="connsiteX1" fmla="*/ 465868 w 649414"/>
                <a:gd name="connsiteY1" fmla="*/ 459867 h 462438"/>
                <a:gd name="connsiteX2" fmla="*/ 464916 w 649414"/>
                <a:gd name="connsiteY2" fmla="*/ 452723 h 462438"/>
                <a:gd name="connsiteX3" fmla="*/ 453199 w 649414"/>
                <a:gd name="connsiteY3" fmla="*/ 447008 h 462438"/>
                <a:gd name="connsiteX4" fmla="*/ 442531 w 649414"/>
                <a:gd name="connsiteY4" fmla="*/ 435673 h 462438"/>
                <a:gd name="connsiteX5" fmla="*/ 445199 w 649414"/>
                <a:gd name="connsiteY5" fmla="*/ 428149 h 462438"/>
                <a:gd name="connsiteX6" fmla="*/ 443580 w 649414"/>
                <a:gd name="connsiteY6" fmla="*/ 415671 h 462438"/>
                <a:gd name="connsiteX7" fmla="*/ 445961 w 649414"/>
                <a:gd name="connsiteY7" fmla="*/ 406241 h 462438"/>
                <a:gd name="connsiteX8" fmla="*/ 438340 w 649414"/>
                <a:gd name="connsiteY8" fmla="*/ 403670 h 462438"/>
                <a:gd name="connsiteX9" fmla="*/ 425768 w 649414"/>
                <a:gd name="connsiteY9" fmla="*/ 405289 h 462438"/>
                <a:gd name="connsiteX10" fmla="*/ 420339 w 649414"/>
                <a:gd name="connsiteY10" fmla="*/ 406051 h 462438"/>
                <a:gd name="connsiteX11" fmla="*/ 420339 w 649414"/>
                <a:gd name="connsiteY11" fmla="*/ 406051 h 462438"/>
                <a:gd name="connsiteX12" fmla="*/ 417195 w 649414"/>
                <a:gd name="connsiteY12" fmla="*/ 410051 h 462438"/>
                <a:gd name="connsiteX13" fmla="*/ 410242 w 649414"/>
                <a:gd name="connsiteY13" fmla="*/ 412813 h 462438"/>
                <a:gd name="connsiteX14" fmla="*/ 406718 w 649414"/>
                <a:gd name="connsiteY14" fmla="*/ 413290 h 462438"/>
                <a:gd name="connsiteX15" fmla="*/ 406241 w 649414"/>
                <a:gd name="connsiteY15" fmla="*/ 409670 h 462438"/>
                <a:gd name="connsiteX16" fmla="*/ 401098 w 649414"/>
                <a:gd name="connsiteY16" fmla="*/ 412242 h 462438"/>
                <a:gd name="connsiteX17" fmla="*/ 394906 w 649414"/>
                <a:gd name="connsiteY17" fmla="*/ 407575 h 462438"/>
                <a:gd name="connsiteX18" fmla="*/ 394240 w 649414"/>
                <a:gd name="connsiteY18" fmla="*/ 402241 h 462438"/>
                <a:gd name="connsiteX19" fmla="*/ 386620 w 649414"/>
                <a:gd name="connsiteY19" fmla="*/ 399669 h 462438"/>
                <a:gd name="connsiteX20" fmla="*/ 382810 w 649414"/>
                <a:gd name="connsiteY20" fmla="*/ 398336 h 462438"/>
                <a:gd name="connsiteX21" fmla="*/ 379381 w 649414"/>
                <a:gd name="connsiteY21" fmla="*/ 400526 h 462438"/>
                <a:gd name="connsiteX22" fmla="*/ 371951 w 649414"/>
                <a:gd name="connsiteY22" fmla="*/ 399764 h 462438"/>
                <a:gd name="connsiteX23" fmla="*/ 373094 w 649414"/>
                <a:gd name="connsiteY23" fmla="*/ 394145 h 462438"/>
                <a:gd name="connsiteX24" fmla="*/ 367189 w 649414"/>
                <a:gd name="connsiteY24" fmla="*/ 391287 h 462438"/>
                <a:gd name="connsiteX25" fmla="*/ 368046 w 649414"/>
                <a:gd name="connsiteY25" fmla="*/ 383953 h 462438"/>
                <a:gd name="connsiteX26" fmla="*/ 364046 w 649414"/>
                <a:gd name="connsiteY26" fmla="*/ 380809 h 462438"/>
                <a:gd name="connsiteX27" fmla="*/ 359093 w 649414"/>
                <a:gd name="connsiteY27" fmla="*/ 385096 h 462438"/>
                <a:gd name="connsiteX28" fmla="*/ 354616 w 649414"/>
                <a:gd name="connsiteY28" fmla="*/ 378428 h 462438"/>
                <a:gd name="connsiteX29" fmla="*/ 346710 w 649414"/>
                <a:gd name="connsiteY29" fmla="*/ 374047 h 462438"/>
                <a:gd name="connsiteX30" fmla="*/ 349187 w 649414"/>
                <a:gd name="connsiteY30" fmla="*/ 379190 h 462438"/>
                <a:gd name="connsiteX31" fmla="*/ 347567 w 649414"/>
                <a:gd name="connsiteY31" fmla="*/ 381190 h 462438"/>
                <a:gd name="connsiteX32" fmla="*/ 347377 w 649414"/>
                <a:gd name="connsiteY32" fmla="*/ 379381 h 462438"/>
                <a:gd name="connsiteX33" fmla="*/ 343757 w 649414"/>
                <a:gd name="connsiteY33" fmla="*/ 379857 h 462438"/>
                <a:gd name="connsiteX34" fmla="*/ 343567 w 649414"/>
                <a:gd name="connsiteY34" fmla="*/ 378142 h 462438"/>
                <a:gd name="connsiteX35" fmla="*/ 337471 w 649414"/>
                <a:gd name="connsiteY35" fmla="*/ 373475 h 462438"/>
                <a:gd name="connsiteX36" fmla="*/ 336709 w 649414"/>
                <a:gd name="connsiteY36" fmla="*/ 368141 h 462438"/>
                <a:gd name="connsiteX37" fmla="*/ 334899 w 649414"/>
                <a:gd name="connsiteY37" fmla="*/ 368332 h 462438"/>
                <a:gd name="connsiteX38" fmla="*/ 330518 w 649414"/>
                <a:gd name="connsiteY38" fmla="*/ 376238 h 462438"/>
                <a:gd name="connsiteX39" fmla="*/ 327184 w 649414"/>
                <a:gd name="connsiteY39" fmla="*/ 378428 h 462438"/>
                <a:gd name="connsiteX40" fmla="*/ 329660 w 649414"/>
                <a:gd name="connsiteY40" fmla="*/ 383572 h 462438"/>
                <a:gd name="connsiteX41" fmla="*/ 323183 w 649414"/>
                <a:gd name="connsiteY41" fmla="*/ 389858 h 462438"/>
                <a:gd name="connsiteX42" fmla="*/ 308801 w 649414"/>
                <a:gd name="connsiteY42" fmla="*/ 391763 h 462438"/>
                <a:gd name="connsiteX43" fmla="*/ 306800 w 649414"/>
                <a:gd name="connsiteY43" fmla="*/ 390239 h 462438"/>
                <a:gd name="connsiteX44" fmla="*/ 301181 w 649414"/>
                <a:gd name="connsiteY44" fmla="*/ 389191 h 462438"/>
                <a:gd name="connsiteX45" fmla="*/ 299847 w 649414"/>
                <a:gd name="connsiteY45" fmla="*/ 392906 h 462438"/>
                <a:gd name="connsiteX46" fmla="*/ 296037 w 649414"/>
                <a:gd name="connsiteY46" fmla="*/ 391668 h 462438"/>
                <a:gd name="connsiteX47" fmla="*/ 292608 w 649414"/>
                <a:gd name="connsiteY47" fmla="*/ 393954 h 462438"/>
                <a:gd name="connsiteX48" fmla="*/ 295180 w 649414"/>
                <a:gd name="connsiteY48" fmla="*/ 399002 h 462438"/>
                <a:gd name="connsiteX49" fmla="*/ 288227 w 649414"/>
                <a:gd name="connsiteY49" fmla="*/ 401764 h 462438"/>
                <a:gd name="connsiteX50" fmla="*/ 288893 w 649414"/>
                <a:gd name="connsiteY50" fmla="*/ 407098 h 462438"/>
                <a:gd name="connsiteX51" fmla="*/ 283464 w 649414"/>
                <a:gd name="connsiteY51" fmla="*/ 407765 h 462438"/>
                <a:gd name="connsiteX52" fmla="*/ 278607 w 649414"/>
                <a:gd name="connsiteY52" fmla="*/ 412147 h 462438"/>
                <a:gd name="connsiteX53" fmla="*/ 273177 w 649414"/>
                <a:gd name="connsiteY53" fmla="*/ 412813 h 462438"/>
                <a:gd name="connsiteX54" fmla="*/ 272987 w 649414"/>
                <a:gd name="connsiteY54" fmla="*/ 411004 h 462438"/>
                <a:gd name="connsiteX55" fmla="*/ 260604 w 649414"/>
                <a:gd name="connsiteY55" fmla="*/ 414433 h 462438"/>
                <a:gd name="connsiteX56" fmla="*/ 259175 w 649414"/>
                <a:gd name="connsiteY56" fmla="*/ 403765 h 462438"/>
                <a:gd name="connsiteX57" fmla="*/ 261652 w 649414"/>
                <a:gd name="connsiteY57" fmla="*/ 394430 h 462438"/>
                <a:gd name="connsiteX58" fmla="*/ 259080 w 649414"/>
                <a:gd name="connsiteY58" fmla="*/ 389287 h 462438"/>
                <a:gd name="connsiteX59" fmla="*/ 260223 w 649414"/>
                <a:gd name="connsiteY59" fmla="*/ 383667 h 462438"/>
                <a:gd name="connsiteX60" fmla="*/ 256127 w 649414"/>
                <a:gd name="connsiteY60" fmla="*/ 380619 h 462438"/>
                <a:gd name="connsiteX61" fmla="*/ 251841 w 649414"/>
                <a:gd name="connsiteY61" fmla="*/ 375761 h 462438"/>
                <a:gd name="connsiteX62" fmla="*/ 249841 w 649414"/>
                <a:gd name="connsiteY62" fmla="*/ 374237 h 462438"/>
                <a:gd name="connsiteX63" fmla="*/ 238792 w 649414"/>
                <a:gd name="connsiteY63" fmla="*/ 373856 h 462438"/>
                <a:gd name="connsiteX64" fmla="*/ 231838 w 649414"/>
                <a:gd name="connsiteY64" fmla="*/ 376523 h 462438"/>
                <a:gd name="connsiteX65" fmla="*/ 227838 w 649414"/>
                <a:gd name="connsiteY65" fmla="*/ 373475 h 462438"/>
                <a:gd name="connsiteX66" fmla="*/ 229362 w 649414"/>
                <a:gd name="connsiteY66" fmla="*/ 371475 h 462438"/>
                <a:gd name="connsiteX67" fmla="*/ 227552 w 649414"/>
                <a:gd name="connsiteY67" fmla="*/ 371665 h 462438"/>
                <a:gd name="connsiteX68" fmla="*/ 224790 w 649414"/>
                <a:gd name="connsiteY68" fmla="*/ 364807 h 462438"/>
                <a:gd name="connsiteX69" fmla="*/ 222313 w 649414"/>
                <a:gd name="connsiteY69" fmla="*/ 359664 h 462438"/>
                <a:gd name="connsiteX70" fmla="*/ 223362 w 649414"/>
                <a:gd name="connsiteY70" fmla="*/ 354139 h 462438"/>
                <a:gd name="connsiteX71" fmla="*/ 217551 w 649414"/>
                <a:gd name="connsiteY71" fmla="*/ 351282 h 462438"/>
                <a:gd name="connsiteX72" fmla="*/ 220885 w 649414"/>
                <a:gd name="connsiteY72" fmla="*/ 348996 h 462438"/>
                <a:gd name="connsiteX73" fmla="*/ 218599 w 649414"/>
                <a:gd name="connsiteY73" fmla="*/ 345662 h 462438"/>
                <a:gd name="connsiteX74" fmla="*/ 215265 w 649414"/>
                <a:gd name="connsiteY74" fmla="*/ 347948 h 462438"/>
                <a:gd name="connsiteX75" fmla="*/ 209646 w 649414"/>
                <a:gd name="connsiteY75" fmla="*/ 346900 h 462438"/>
                <a:gd name="connsiteX76" fmla="*/ 210979 w 649414"/>
                <a:gd name="connsiteY76" fmla="*/ 343090 h 462438"/>
                <a:gd name="connsiteX77" fmla="*/ 206883 w 649414"/>
                <a:gd name="connsiteY77" fmla="*/ 339947 h 462438"/>
                <a:gd name="connsiteX78" fmla="*/ 211836 w 649414"/>
                <a:gd name="connsiteY78" fmla="*/ 335661 h 462438"/>
                <a:gd name="connsiteX79" fmla="*/ 211360 w 649414"/>
                <a:gd name="connsiteY79" fmla="*/ 332137 h 462438"/>
                <a:gd name="connsiteX80" fmla="*/ 209360 w 649414"/>
                <a:gd name="connsiteY80" fmla="*/ 330613 h 462438"/>
                <a:gd name="connsiteX81" fmla="*/ 210883 w 649414"/>
                <a:gd name="connsiteY81" fmla="*/ 328517 h 462438"/>
                <a:gd name="connsiteX82" fmla="*/ 216027 w 649414"/>
                <a:gd name="connsiteY82" fmla="*/ 326041 h 462438"/>
                <a:gd name="connsiteX83" fmla="*/ 218027 w 649414"/>
                <a:gd name="connsiteY83" fmla="*/ 327660 h 462438"/>
                <a:gd name="connsiteX84" fmla="*/ 219171 w 649414"/>
                <a:gd name="connsiteY84" fmla="*/ 322040 h 462438"/>
                <a:gd name="connsiteX85" fmla="*/ 216694 w 649414"/>
                <a:gd name="connsiteY85" fmla="*/ 316992 h 462438"/>
                <a:gd name="connsiteX86" fmla="*/ 232125 w 649414"/>
                <a:gd name="connsiteY86" fmla="*/ 309467 h 462438"/>
                <a:gd name="connsiteX87" fmla="*/ 227552 w 649414"/>
                <a:gd name="connsiteY87" fmla="*/ 302800 h 462438"/>
                <a:gd name="connsiteX88" fmla="*/ 226124 w 649414"/>
                <a:gd name="connsiteY88" fmla="*/ 292132 h 462438"/>
                <a:gd name="connsiteX89" fmla="*/ 221837 w 649414"/>
                <a:gd name="connsiteY89" fmla="*/ 287274 h 462438"/>
                <a:gd name="connsiteX90" fmla="*/ 212408 w 649414"/>
                <a:gd name="connsiteY90" fmla="*/ 284893 h 462438"/>
                <a:gd name="connsiteX91" fmla="*/ 205455 w 649414"/>
                <a:gd name="connsiteY91" fmla="*/ 287560 h 462438"/>
                <a:gd name="connsiteX92" fmla="*/ 195739 w 649414"/>
                <a:gd name="connsiteY92" fmla="*/ 283464 h 462438"/>
                <a:gd name="connsiteX93" fmla="*/ 188786 w 649414"/>
                <a:gd name="connsiteY93" fmla="*/ 286131 h 462438"/>
                <a:gd name="connsiteX94" fmla="*/ 185928 w 649414"/>
                <a:gd name="connsiteY94" fmla="*/ 292037 h 462438"/>
                <a:gd name="connsiteX95" fmla="*/ 184880 w 649414"/>
                <a:gd name="connsiteY95" fmla="*/ 297561 h 462438"/>
                <a:gd name="connsiteX96" fmla="*/ 173355 w 649414"/>
                <a:gd name="connsiteY96" fmla="*/ 293656 h 462438"/>
                <a:gd name="connsiteX97" fmla="*/ 168212 w 649414"/>
                <a:gd name="connsiteY97" fmla="*/ 296132 h 462438"/>
                <a:gd name="connsiteX98" fmla="*/ 168402 w 649414"/>
                <a:gd name="connsiteY98" fmla="*/ 297942 h 462438"/>
                <a:gd name="connsiteX99" fmla="*/ 162782 w 649414"/>
                <a:gd name="connsiteY99" fmla="*/ 296894 h 462438"/>
                <a:gd name="connsiteX100" fmla="*/ 155638 w 649414"/>
                <a:gd name="connsiteY100" fmla="*/ 297847 h 462438"/>
                <a:gd name="connsiteX101" fmla="*/ 150971 w 649414"/>
                <a:gd name="connsiteY101" fmla="*/ 303847 h 462438"/>
                <a:gd name="connsiteX102" fmla="*/ 146876 w 649414"/>
                <a:gd name="connsiteY102" fmla="*/ 300799 h 462438"/>
                <a:gd name="connsiteX103" fmla="*/ 141066 w 649414"/>
                <a:gd name="connsiteY103" fmla="*/ 297942 h 462438"/>
                <a:gd name="connsiteX104" fmla="*/ 130016 w 649414"/>
                <a:gd name="connsiteY104" fmla="*/ 297561 h 462438"/>
                <a:gd name="connsiteX105" fmla="*/ 125063 w 649414"/>
                <a:gd name="connsiteY105" fmla="*/ 301847 h 462438"/>
                <a:gd name="connsiteX106" fmla="*/ 119920 w 649414"/>
                <a:gd name="connsiteY106" fmla="*/ 304324 h 462438"/>
                <a:gd name="connsiteX107" fmla="*/ 111062 w 649414"/>
                <a:gd name="connsiteY107" fmla="*/ 320040 h 462438"/>
                <a:gd name="connsiteX108" fmla="*/ 105442 w 649414"/>
                <a:gd name="connsiteY108" fmla="*/ 318992 h 462438"/>
                <a:gd name="connsiteX109" fmla="*/ 95345 w 649414"/>
                <a:gd name="connsiteY109" fmla="*/ 325755 h 462438"/>
                <a:gd name="connsiteX110" fmla="*/ 92202 w 649414"/>
                <a:gd name="connsiteY110" fmla="*/ 329755 h 462438"/>
                <a:gd name="connsiteX111" fmla="*/ 83058 w 649414"/>
                <a:gd name="connsiteY111" fmla="*/ 329184 h 462438"/>
                <a:gd name="connsiteX112" fmla="*/ 87725 w 649414"/>
                <a:gd name="connsiteY112" fmla="*/ 323088 h 462438"/>
                <a:gd name="connsiteX113" fmla="*/ 85630 w 649414"/>
                <a:gd name="connsiteY113" fmla="*/ 321564 h 462438"/>
                <a:gd name="connsiteX114" fmla="*/ 87440 w 649414"/>
                <a:gd name="connsiteY114" fmla="*/ 321373 h 462438"/>
                <a:gd name="connsiteX115" fmla="*/ 75533 w 649414"/>
                <a:gd name="connsiteY115" fmla="*/ 313849 h 462438"/>
                <a:gd name="connsiteX116" fmla="*/ 70866 w 649414"/>
                <a:gd name="connsiteY116" fmla="*/ 319945 h 462438"/>
                <a:gd name="connsiteX117" fmla="*/ 66675 w 649414"/>
                <a:gd name="connsiteY117" fmla="*/ 302323 h 462438"/>
                <a:gd name="connsiteX118" fmla="*/ 64389 w 649414"/>
                <a:gd name="connsiteY118" fmla="*/ 298990 h 462438"/>
                <a:gd name="connsiteX119" fmla="*/ 62865 w 649414"/>
                <a:gd name="connsiteY119" fmla="*/ 300990 h 462438"/>
                <a:gd name="connsiteX120" fmla="*/ 61055 w 649414"/>
                <a:gd name="connsiteY120" fmla="*/ 301276 h 462438"/>
                <a:gd name="connsiteX121" fmla="*/ 54293 w 649414"/>
                <a:gd name="connsiteY121" fmla="*/ 291274 h 462438"/>
                <a:gd name="connsiteX122" fmla="*/ 50197 w 649414"/>
                <a:gd name="connsiteY122" fmla="*/ 288227 h 462438"/>
                <a:gd name="connsiteX123" fmla="*/ 51530 w 649414"/>
                <a:gd name="connsiteY123" fmla="*/ 284416 h 462438"/>
                <a:gd name="connsiteX124" fmla="*/ 46958 w 649414"/>
                <a:gd name="connsiteY124" fmla="*/ 277749 h 462438"/>
                <a:gd name="connsiteX125" fmla="*/ 43148 w 649414"/>
                <a:gd name="connsiteY125" fmla="*/ 276415 h 462438"/>
                <a:gd name="connsiteX126" fmla="*/ 36386 w 649414"/>
                <a:gd name="connsiteY126" fmla="*/ 280988 h 462438"/>
                <a:gd name="connsiteX127" fmla="*/ 34385 w 649414"/>
                <a:gd name="connsiteY127" fmla="*/ 279368 h 462438"/>
                <a:gd name="connsiteX128" fmla="*/ 35909 w 649414"/>
                <a:gd name="connsiteY128" fmla="*/ 277368 h 462438"/>
                <a:gd name="connsiteX129" fmla="*/ 21050 w 649414"/>
                <a:gd name="connsiteY129" fmla="*/ 261271 h 462438"/>
                <a:gd name="connsiteX130" fmla="*/ 12859 w 649414"/>
                <a:gd name="connsiteY130" fmla="*/ 255079 h 462438"/>
                <a:gd name="connsiteX131" fmla="*/ 0 w 649414"/>
                <a:gd name="connsiteY131" fmla="*/ 240411 h 462438"/>
                <a:gd name="connsiteX132" fmla="*/ 2667 w 649414"/>
                <a:gd name="connsiteY132" fmla="*/ 232886 h 462438"/>
                <a:gd name="connsiteX133" fmla="*/ 13430 w 649414"/>
                <a:gd name="connsiteY133" fmla="*/ 231457 h 462438"/>
                <a:gd name="connsiteX134" fmla="*/ 19050 w 649414"/>
                <a:gd name="connsiteY134" fmla="*/ 232505 h 462438"/>
                <a:gd name="connsiteX135" fmla="*/ 27337 w 649414"/>
                <a:gd name="connsiteY135" fmla="*/ 225933 h 462438"/>
                <a:gd name="connsiteX136" fmla="*/ 30099 w 649414"/>
                <a:gd name="connsiteY136" fmla="*/ 232886 h 462438"/>
                <a:gd name="connsiteX137" fmla="*/ 36767 w 649414"/>
                <a:gd name="connsiteY137" fmla="*/ 228314 h 462438"/>
                <a:gd name="connsiteX138" fmla="*/ 36100 w 649414"/>
                <a:gd name="connsiteY138" fmla="*/ 222980 h 462438"/>
                <a:gd name="connsiteX139" fmla="*/ 39719 w 649414"/>
                <a:gd name="connsiteY139" fmla="*/ 222504 h 462438"/>
                <a:gd name="connsiteX140" fmla="*/ 52007 w 649414"/>
                <a:gd name="connsiteY140" fmla="*/ 219075 h 462438"/>
                <a:gd name="connsiteX141" fmla="*/ 65627 w 649414"/>
                <a:gd name="connsiteY141" fmla="*/ 211836 h 462438"/>
                <a:gd name="connsiteX142" fmla="*/ 72390 w 649414"/>
                <a:gd name="connsiteY142" fmla="*/ 207264 h 462438"/>
                <a:gd name="connsiteX143" fmla="*/ 72390 w 649414"/>
                <a:gd name="connsiteY143" fmla="*/ 207264 h 462438"/>
                <a:gd name="connsiteX144" fmla="*/ 72866 w 649414"/>
                <a:gd name="connsiteY144" fmla="*/ 210883 h 462438"/>
                <a:gd name="connsiteX145" fmla="*/ 84487 w 649414"/>
                <a:gd name="connsiteY145" fmla="*/ 202025 h 462438"/>
                <a:gd name="connsiteX146" fmla="*/ 89249 w 649414"/>
                <a:gd name="connsiteY146" fmla="*/ 210503 h 462438"/>
                <a:gd name="connsiteX147" fmla="*/ 91059 w 649414"/>
                <a:gd name="connsiteY147" fmla="*/ 210217 h 462438"/>
                <a:gd name="connsiteX148" fmla="*/ 85535 w 649414"/>
                <a:gd name="connsiteY148" fmla="*/ 196501 h 462438"/>
                <a:gd name="connsiteX149" fmla="*/ 84868 w 649414"/>
                <a:gd name="connsiteY149" fmla="*/ 191167 h 462438"/>
                <a:gd name="connsiteX150" fmla="*/ 84392 w 649414"/>
                <a:gd name="connsiteY150" fmla="*/ 187547 h 462438"/>
                <a:gd name="connsiteX151" fmla="*/ 83249 w 649414"/>
                <a:gd name="connsiteY151" fmla="*/ 178689 h 462438"/>
                <a:gd name="connsiteX152" fmla="*/ 78677 w 649414"/>
                <a:gd name="connsiteY152" fmla="*/ 172021 h 462438"/>
                <a:gd name="connsiteX153" fmla="*/ 81820 w 649414"/>
                <a:gd name="connsiteY153" fmla="*/ 167926 h 462438"/>
                <a:gd name="connsiteX154" fmla="*/ 79534 w 649414"/>
                <a:gd name="connsiteY154" fmla="*/ 164687 h 462438"/>
                <a:gd name="connsiteX155" fmla="*/ 76200 w 649414"/>
                <a:gd name="connsiteY155" fmla="*/ 166878 h 462438"/>
                <a:gd name="connsiteX156" fmla="*/ 67342 w 649414"/>
                <a:gd name="connsiteY156" fmla="*/ 155353 h 462438"/>
                <a:gd name="connsiteX157" fmla="*/ 69152 w 649414"/>
                <a:gd name="connsiteY157" fmla="*/ 155162 h 462438"/>
                <a:gd name="connsiteX158" fmla="*/ 68961 w 649414"/>
                <a:gd name="connsiteY158" fmla="*/ 153352 h 462438"/>
                <a:gd name="connsiteX159" fmla="*/ 62770 w 649414"/>
                <a:gd name="connsiteY159" fmla="*/ 148780 h 462438"/>
                <a:gd name="connsiteX160" fmla="*/ 69247 w 649414"/>
                <a:gd name="connsiteY160" fmla="*/ 142494 h 462438"/>
                <a:gd name="connsiteX161" fmla="*/ 68580 w 649414"/>
                <a:gd name="connsiteY161" fmla="*/ 137065 h 462438"/>
                <a:gd name="connsiteX162" fmla="*/ 85154 w 649414"/>
                <a:gd name="connsiteY162" fmla="*/ 124015 h 462438"/>
                <a:gd name="connsiteX163" fmla="*/ 87440 w 649414"/>
                <a:gd name="connsiteY163" fmla="*/ 127349 h 462438"/>
                <a:gd name="connsiteX164" fmla="*/ 93441 w 649414"/>
                <a:gd name="connsiteY164" fmla="*/ 132017 h 462438"/>
                <a:gd name="connsiteX165" fmla="*/ 98870 w 649414"/>
                <a:gd name="connsiteY165" fmla="*/ 131254 h 462438"/>
                <a:gd name="connsiteX166" fmla="*/ 107156 w 649414"/>
                <a:gd name="connsiteY166" fmla="*/ 124777 h 462438"/>
                <a:gd name="connsiteX167" fmla="*/ 114872 w 649414"/>
                <a:gd name="connsiteY167" fmla="*/ 141827 h 462438"/>
                <a:gd name="connsiteX168" fmla="*/ 121349 w 649414"/>
                <a:gd name="connsiteY168" fmla="*/ 135541 h 462438"/>
                <a:gd name="connsiteX169" fmla="*/ 129731 w 649414"/>
                <a:gd name="connsiteY169" fmla="*/ 143542 h 462438"/>
                <a:gd name="connsiteX170" fmla="*/ 139541 w 649414"/>
                <a:gd name="connsiteY170" fmla="*/ 134969 h 462438"/>
                <a:gd name="connsiteX171" fmla="*/ 137065 w 649414"/>
                <a:gd name="connsiteY171" fmla="*/ 129826 h 462438"/>
                <a:gd name="connsiteX172" fmla="*/ 141732 w 649414"/>
                <a:gd name="connsiteY172" fmla="*/ 123825 h 462438"/>
                <a:gd name="connsiteX173" fmla="*/ 142875 w 649414"/>
                <a:gd name="connsiteY173" fmla="*/ 118205 h 462438"/>
                <a:gd name="connsiteX174" fmla="*/ 147162 w 649414"/>
                <a:gd name="connsiteY174" fmla="*/ 123063 h 462438"/>
                <a:gd name="connsiteX175" fmla="*/ 153257 w 649414"/>
                <a:gd name="connsiteY175" fmla="*/ 127730 h 462438"/>
                <a:gd name="connsiteX176" fmla="*/ 156020 w 649414"/>
                <a:gd name="connsiteY176" fmla="*/ 134588 h 462438"/>
                <a:gd name="connsiteX177" fmla="*/ 161354 w 649414"/>
                <a:gd name="connsiteY177" fmla="*/ 133826 h 462438"/>
                <a:gd name="connsiteX178" fmla="*/ 166306 w 649414"/>
                <a:gd name="connsiteY178" fmla="*/ 129635 h 462438"/>
                <a:gd name="connsiteX179" fmla="*/ 176784 w 649414"/>
                <a:gd name="connsiteY179" fmla="*/ 126397 h 462438"/>
                <a:gd name="connsiteX180" fmla="*/ 179927 w 649414"/>
                <a:gd name="connsiteY180" fmla="*/ 122396 h 462438"/>
                <a:gd name="connsiteX181" fmla="*/ 175831 w 649414"/>
                <a:gd name="connsiteY181" fmla="*/ 119253 h 462438"/>
                <a:gd name="connsiteX182" fmla="*/ 172307 w 649414"/>
                <a:gd name="connsiteY182" fmla="*/ 119729 h 462438"/>
                <a:gd name="connsiteX183" fmla="*/ 171546 w 649414"/>
                <a:gd name="connsiteY183" fmla="*/ 114395 h 462438"/>
                <a:gd name="connsiteX184" fmla="*/ 176498 w 649414"/>
                <a:gd name="connsiteY184" fmla="*/ 110109 h 462438"/>
                <a:gd name="connsiteX185" fmla="*/ 187452 w 649414"/>
                <a:gd name="connsiteY185" fmla="*/ 110490 h 462438"/>
                <a:gd name="connsiteX186" fmla="*/ 188786 w 649414"/>
                <a:gd name="connsiteY186" fmla="*/ 106680 h 462438"/>
                <a:gd name="connsiteX187" fmla="*/ 186119 w 649414"/>
                <a:gd name="connsiteY187" fmla="*/ 99822 h 462438"/>
                <a:gd name="connsiteX188" fmla="*/ 190976 w 649414"/>
                <a:gd name="connsiteY188" fmla="*/ 95536 h 462438"/>
                <a:gd name="connsiteX189" fmla="*/ 194977 w 649414"/>
                <a:gd name="connsiteY189" fmla="*/ 84106 h 462438"/>
                <a:gd name="connsiteX190" fmla="*/ 203645 w 649414"/>
                <a:gd name="connsiteY190" fmla="*/ 66580 h 462438"/>
                <a:gd name="connsiteX191" fmla="*/ 202978 w 649414"/>
                <a:gd name="connsiteY191" fmla="*/ 61341 h 462438"/>
                <a:gd name="connsiteX192" fmla="*/ 209455 w 649414"/>
                <a:gd name="connsiteY192" fmla="*/ 55054 h 462438"/>
                <a:gd name="connsiteX193" fmla="*/ 212788 w 649414"/>
                <a:gd name="connsiteY193" fmla="*/ 52768 h 462438"/>
                <a:gd name="connsiteX194" fmla="*/ 212503 w 649414"/>
                <a:gd name="connsiteY194" fmla="*/ 50959 h 462438"/>
                <a:gd name="connsiteX195" fmla="*/ 210503 w 649414"/>
                <a:gd name="connsiteY195" fmla="*/ 49435 h 462438"/>
                <a:gd name="connsiteX196" fmla="*/ 200406 w 649414"/>
                <a:gd name="connsiteY196" fmla="*/ 56197 h 462438"/>
                <a:gd name="connsiteX197" fmla="*/ 191167 w 649414"/>
                <a:gd name="connsiteY197" fmla="*/ 55626 h 462438"/>
                <a:gd name="connsiteX198" fmla="*/ 186405 w 649414"/>
                <a:gd name="connsiteY198" fmla="*/ 47149 h 462438"/>
                <a:gd name="connsiteX199" fmla="*/ 186214 w 649414"/>
                <a:gd name="connsiteY199" fmla="*/ 45339 h 462438"/>
                <a:gd name="connsiteX200" fmla="*/ 191167 w 649414"/>
                <a:gd name="connsiteY200" fmla="*/ 41148 h 462438"/>
                <a:gd name="connsiteX201" fmla="*/ 204978 w 649414"/>
                <a:gd name="connsiteY201" fmla="*/ 35623 h 462438"/>
                <a:gd name="connsiteX202" fmla="*/ 211550 w 649414"/>
                <a:gd name="connsiteY202" fmla="*/ 29337 h 462438"/>
                <a:gd name="connsiteX203" fmla="*/ 220980 w 649414"/>
                <a:gd name="connsiteY203" fmla="*/ 31718 h 462438"/>
                <a:gd name="connsiteX204" fmla="*/ 228124 w 649414"/>
                <a:gd name="connsiteY204" fmla="*/ 30766 h 462438"/>
                <a:gd name="connsiteX205" fmla="*/ 237839 w 649414"/>
                <a:gd name="connsiteY205" fmla="*/ 34957 h 462438"/>
                <a:gd name="connsiteX206" fmla="*/ 242983 w 649414"/>
                <a:gd name="connsiteY206" fmla="*/ 32385 h 462438"/>
                <a:gd name="connsiteX207" fmla="*/ 246126 w 649414"/>
                <a:gd name="connsiteY207" fmla="*/ 28384 h 462438"/>
                <a:gd name="connsiteX208" fmla="*/ 247364 w 649414"/>
                <a:gd name="connsiteY208" fmla="*/ 24575 h 462438"/>
                <a:gd name="connsiteX209" fmla="*/ 250984 w 649414"/>
                <a:gd name="connsiteY209" fmla="*/ 24098 h 462438"/>
                <a:gd name="connsiteX210" fmla="*/ 255746 w 649414"/>
                <a:gd name="connsiteY210" fmla="*/ 32575 h 462438"/>
                <a:gd name="connsiteX211" fmla="*/ 259366 w 649414"/>
                <a:gd name="connsiteY211" fmla="*/ 32099 h 462438"/>
                <a:gd name="connsiteX212" fmla="*/ 259842 w 649414"/>
                <a:gd name="connsiteY212" fmla="*/ 35623 h 462438"/>
                <a:gd name="connsiteX213" fmla="*/ 265271 w 649414"/>
                <a:gd name="connsiteY213" fmla="*/ 34957 h 462438"/>
                <a:gd name="connsiteX214" fmla="*/ 268605 w 649414"/>
                <a:gd name="connsiteY214" fmla="*/ 32671 h 462438"/>
                <a:gd name="connsiteX215" fmla="*/ 295942 w 649414"/>
                <a:gd name="connsiteY215" fmla="*/ 18193 h 462438"/>
                <a:gd name="connsiteX216" fmla="*/ 298990 w 649414"/>
                <a:gd name="connsiteY216" fmla="*/ 14097 h 462438"/>
                <a:gd name="connsiteX217" fmla="*/ 301466 w 649414"/>
                <a:gd name="connsiteY217" fmla="*/ 4763 h 462438"/>
                <a:gd name="connsiteX218" fmla="*/ 304800 w 649414"/>
                <a:gd name="connsiteY218" fmla="*/ 2476 h 462438"/>
                <a:gd name="connsiteX219" fmla="*/ 309944 w 649414"/>
                <a:gd name="connsiteY219" fmla="*/ 0 h 462438"/>
                <a:gd name="connsiteX220" fmla="*/ 316325 w 649414"/>
                <a:gd name="connsiteY220" fmla="*/ 6382 h 462438"/>
                <a:gd name="connsiteX221" fmla="*/ 327279 w 649414"/>
                <a:gd name="connsiteY221" fmla="*/ 6763 h 462438"/>
                <a:gd name="connsiteX222" fmla="*/ 331566 w 649414"/>
                <a:gd name="connsiteY222" fmla="*/ 11621 h 462438"/>
                <a:gd name="connsiteX223" fmla="*/ 347758 w 649414"/>
                <a:gd name="connsiteY223" fmla="*/ 9525 h 462438"/>
                <a:gd name="connsiteX224" fmla="*/ 354711 w 649414"/>
                <a:gd name="connsiteY224" fmla="*/ 6763 h 462438"/>
                <a:gd name="connsiteX225" fmla="*/ 355854 w 649414"/>
                <a:gd name="connsiteY225" fmla="*/ 15621 h 462438"/>
                <a:gd name="connsiteX226" fmla="*/ 365379 w 649414"/>
                <a:gd name="connsiteY226" fmla="*/ 18002 h 462438"/>
                <a:gd name="connsiteX227" fmla="*/ 376238 w 649414"/>
                <a:gd name="connsiteY227" fmla="*/ 31147 h 462438"/>
                <a:gd name="connsiteX228" fmla="*/ 383191 w 649414"/>
                <a:gd name="connsiteY228" fmla="*/ 28384 h 462438"/>
                <a:gd name="connsiteX229" fmla="*/ 384810 w 649414"/>
                <a:gd name="connsiteY229" fmla="*/ 40862 h 462438"/>
                <a:gd name="connsiteX230" fmla="*/ 388906 w 649414"/>
                <a:gd name="connsiteY230" fmla="*/ 43910 h 462438"/>
                <a:gd name="connsiteX231" fmla="*/ 394240 w 649414"/>
                <a:gd name="connsiteY231" fmla="*/ 43243 h 462438"/>
                <a:gd name="connsiteX232" fmla="*/ 410147 w 649414"/>
                <a:gd name="connsiteY232" fmla="*/ 39338 h 462438"/>
                <a:gd name="connsiteX233" fmla="*/ 412433 w 649414"/>
                <a:gd name="connsiteY233" fmla="*/ 42577 h 462438"/>
                <a:gd name="connsiteX234" fmla="*/ 411385 w 649414"/>
                <a:gd name="connsiteY234" fmla="*/ 48196 h 462438"/>
                <a:gd name="connsiteX235" fmla="*/ 417005 w 649414"/>
                <a:gd name="connsiteY235" fmla="*/ 49244 h 462438"/>
                <a:gd name="connsiteX236" fmla="*/ 435483 w 649414"/>
                <a:gd name="connsiteY236" fmla="*/ 50482 h 462438"/>
                <a:gd name="connsiteX237" fmla="*/ 435674 w 649414"/>
                <a:gd name="connsiteY237" fmla="*/ 52292 h 462438"/>
                <a:gd name="connsiteX238" fmla="*/ 428815 w 649414"/>
                <a:gd name="connsiteY238" fmla="*/ 69532 h 462438"/>
                <a:gd name="connsiteX239" fmla="*/ 427958 w 649414"/>
                <a:gd name="connsiteY239" fmla="*/ 76867 h 462438"/>
                <a:gd name="connsiteX240" fmla="*/ 435864 w 649414"/>
                <a:gd name="connsiteY240" fmla="*/ 81248 h 462438"/>
                <a:gd name="connsiteX241" fmla="*/ 447389 w 649414"/>
                <a:gd name="connsiteY241" fmla="*/ 99631 h 462438"/>
                <a:gd name="connsiteX242" fmla="*/ 444341 w 649414"/>
                <a:gd name="connsiteY242" fmla="*/ 103727 h 462438"/>
                <a:gd name="connsiteX243" fmla="*/ 446818 w 649414"/>
                <a:gd name="connsiteY243" fmla="*/ 108775 h 462438"/>
                <a:gd name="connsiteX244" fmla="*/ 452628 w 649414"/>
                <a:gd name="connsiteY244" fmla="*/ 111633 h 462438"/>
                <a:gd name="connsiteX245" fmla="*/ 457200 w 649414"/>
                <a:gd name="connsiteY245" fmla="*/ 118300 h 462438"/>
                <a:gd name="connsiteX246" fmla="*/ 476440 w 649414"/>
                <a:gd name="connsiteY246" fmla="*/ 112109 h 462438"/>
                <a:gd name="connsiteX247" fmla="*/ 481965 w 649414"/>
                <a:gd name="connsiteY247" fmla="*/ 125921 h 462438"/>
                <a:gd name="connsiteX248" fmla="*/ 477107 w 649414"/>
                <a:gd name="connsiteY248" fmla="*/ 130207 h 462438"/>
                <a:gd name="connsiteX249" fmla="*/ 482632 w 649414"/>
                <a:gd name="connsiteY249" fmla="*/ 131254 h 462438"/>
                <a:gd name="connsiteX250" fmla="*/ 479775 w 649414"/>
                <a:gd name="connsiteY250" fmla="*/ 137065 h 462438"/>
                <a:gd name="connsiteX251" fmla="*/ 474155 w 649414"/>
                <a:gd name="connsiteY251" fmla="*/ 136017 h 462438"/>
                <a:gd name="connsiteX252" fmla="*/ 474631 w 649414"/>
                <a:gd name="connsiteY252" fmla="*/ 139541 h 462438"/>
                <a:gd name="connsiteX253" fmla="*/ 478250 w 649414"/>
                <a:gd name="connsiteY253" fmla="*/ 139065 h 462438"/>
                <a:gd name="connsiteX254" fmla="*/ 478727 w 649414"/>
                <a:gd name="connsiteY254" fmla="*/ 142684 h 462438"/>
                <a:gd name="connsiteX255" fmla="*/ 475107 w 649414"/>
                <a:gd name="connsiteY255" fmla="*/ 143161 h 462438"/>
                <a:gd name="connsiteX256" fmla="*/ 468630 w 649414"/>
                <a:gd name="connsiteY256" fmla="*/ 149447 h 462438"/>
                <a:gd name="connsiteX257" fmla="*/ 468821 w 649414"/>
                <a:gd name="connsiteY257" fmla="*/ 151257 h 462438"/>
                <a:gd name="connsiteX258" fmla="*/ 473678 w 649414"/>
                <a:gd name="connsiteY258" fmla="*/ 159639 h 462438"/>
                <a:gd name="connsiteX259" fmla="*/ 472345 w 649414"/>
                <a:gd name="connsiteY259" fmla="*/ 163449 h 462438"/>
                <a:gd name="connsiteX260" fmla="*/ 475297 w 649414"/>
                <a:gd name="connsiteY260" fmla="*/ 172117 h 462438"/>
                <a:gd name="connsiteX261" fmla="*/ 478917 w 649414"/>
                <a:gd name="connsiteY261" fmla="*/ 171640 h 462438"/>
                <a:gd name="connsiteX262" fmla="*/ 482918 w 649414"/>
                <a:gd name="connsiteY262" fmla="*/ 174688 h 462438"/>
                <a:gd name="connsiteX263" fmla="*/ 488537 w 649414"/>
                <a:gd name="connsiteY263" fmla="*/ 175831 h 462438"/>
                <a:gd name="connsiteX264" fmla="*/ 494062 w 649414"/>
                <a:gd name="connsiteY264" fmla="*/ 189547 h 462438"/>
                <a:gd name="connsiteX265" fmla="*/ 502825 w 649414"/>
                <a:gd name="connsiteY265" fmla="*/ 186595 h 462438"/>
                <a:gd name="connsiteX266" fmla="*/ 514064 w 649414"/>
                <a:gd name="connsiteY266" fmla="*/ 188690 h 462438"/>
                <a:gd name="connsiteX267" fmla="*/ 514731 w 649414"/>
                <a:gd name="connsiteY267" fmla="*/ 194120 h 462438"/>
                <a:gd name="connsiteX268" fmla="*/ 517779 w 649414"/>
                <a:gd name="connsiteY268" fmla="*/ 202787 h 462438"/>
                <a:gd name="connsiteX269" fmla="*/ 521780 w 649414"/>
                <a:gd name="connsiteY269" fmla="*/ 205835 h 462438"/>
                <a:gd name="connsiteX270" fmla="*/ 522732 w 649414"/>
                <a:gd name="connsiteY270" fmla="*/ 212979 h 462438"/>
                <a:gd name="connsiteX271" fmla="*/ 529495 w 649414"/>
                <a:gd name="connsiteY271" fmla="*/ 222980 h 462438"/>
                <a:gd name="connsiteX272" fmla="*/ 535400 w 649414"/>
                <a:gd name="connsiteY272" fmla="*/ 225838 h 462438"/>
                <a:gd name="connsiteX273" fmla="*/ 534067 w 649414"/>
                <a:gd name="connsiteY273" fmla="*/ 229648 h 462438"/>
                <a:gd name="connsiteX274" fmla="*/ 536638 w 649414"/>
                <a:gd name="connsiteY274" fmla="*/ 234696 h 462438"/>
                <a:gd name="connsiteX275" fmla="*/ 540163 w 649414"/>
                <a:gd name="connsiteY275" fmla="*/ 234220 h 462438"/>
                <a:gd name="connsiteX276" fmla="*/ 544258 w 649414"/>
                <a:gd name="connsiteY276" fmla="*/ 237363 h 462438"/>
                <a:gd name="connsiteX277" fmla="*/ 545687 w 649414"/>
                <a:gd name="connsiteY277" fmla="*/ 248031 h 462438"/>
                <a:gd name="connsiteX278" fmla="*/ 553783 w 649414"/>
                <a:gd name="connsiteY278" fmla="*/ 254222 h 462438"/>
                <a:gd name="connsiteX279" fmla="*/ 559118 w 649414"/>
                <a:gd name="connsiteY279" fmla="*/ 253460 h 462438"/>
                <a:gd name="connsiteX280" fmla="*/ 558641 w 649414"/>
                <a:gd name="connsiteY280" fmla="*/ 249936 h 462438"/>
                <a:gd name="connsiteX281" fmla="*/ 579501 w 649414"/>
                <a:gd name="connsiteY281" fmla="*/ 241745 h 462438"/>
                <a:gd name="connsiteX282" fmla="*/ 581787 w 649414"/>
                <a:gd name="connsiteY282" fmla="*/ 245078 h 462438"/>
                <a:gd name="connsiteX283" fmla="*/ 586549 w 649414"/>
                <a:gd name="connsiteY283" fmla="*/ 253460 h 462438"/>
                <a:gd name="connsiteX284" fmla="*/ 596932 w 649414"/>
                <a:gd name="connsiteY284" fmla="*/ 262985 h 462438"/>
                <a:gd name="connsiteX285" fmla="*/ 601504 w 649414"/>
                <a:gd name="connsiteY285" fmla="*/ 269653 h 462438"/>
                <a:gd name="connsiteX286" fmla="*/ 605314 w 649414"/>
                <a:gd name="connsiteY286" fmla="*/ 270986 h 462438"/>
                <a:gd name="connsiteX287" fmla="*/ 609410 w 649414"/>
                <a:gd name="connsiteY287" fmla="*/ 274034 h 462438"/>
                <a:gd name="connsiteX288" fmla="*/ 615030 w 649414"/>
                <a:gd name="connsiteY288" fmla="*/ 275082 h 462438"/>
                <a:gd name="connsiteX289" fmla="*/ 611696 w 649414"/>
                <a:gd name="connsiteY289" fmla="*/ 277368 h 462438"/>
                <a:gd name="connsiteX290" fmla="*/ 619125 w 649414"/>
                <a:gd name="connsiteY290" fmla="*/ 278225 h 462438"/>
                <a:gd name="connsiteX291" fmla="*/ 621125 w 649414"/>
                <a:gd name="connsiteY291" fmla="*/ 279749 h 462438"/>
                <a:gd name="connsiteX292" fmla="*/ 623888 w 649414"/>
                <a:gd name="connsiteY292" fmla="*/ 286607 h 462438"/>
                <a:gd name="connsiteX293" fmla="*/ 625602 w 649414"/>
                <a:gd name="connsiteY293" fmla="*/ 286417 h 462438"/>
                <a:gd name="connsiteX294" fmla="*/ 637127 w 649414"/>
                <a:gd name="connsiteY294" fmla="*/ 290322 h 462438"/>
                <a:gd name="connsiteX295" fmla="*/ 637889 w 649414"/>
                <a:gd name="connsiteY295" fmla="*/ 295656 h 462438"/>
                <a:gd name="connsiteX296" fmla="*/ 647986 w 649414"/>
                <a:gd name="connsiteY296" fmla="*/ 303371 h 462438"/>
                <a:gd name="connsiteX297" fmla="*/ 649224 w 649414"/>
                <a:gd name="connsiteY297" fmla="*/ 312325 h 462438"/>
                <a:gd name="connsiteX298" fmla="*/ 649415 w 649414"/>
                <a:gd name="connsiteY298" fmla="*/ 314039 h 462438"/>
                <a:gd name="connsiteX299" fmla="*/ 647129 w 649414"/>
                <a:gd name="connsiteY299" fmla="*/ 310801 h 462438"/>
                <a:gd name="connsiteX300" fmla="*/ 643605 w 649414"/>
                <a:gd name="connsiteY300" fmla="*/ 311182 h 462438"/>
                <a:gd name="connsiteX301" fmla="*/ 641128 w 649414"/>
                <a:gd name="connsiteY301" fmla="*/ 320612 h 462438"/>
                <a:gd name="connsiteX302" fmla="*/ 646938 w 649414"/>
                <a:gd name="connsiteY302" fmla="*/ 350615 h 462438"/>
                <a:gd name="connsiteX303" fmla="*/ 637604 w 649414"/>
                <a:gd name="connsiteY303" fmla="*/ 362807 h 462438"/>
                <a:gd name="connsiteX304" fmla="*/ 629603 w 649414"/>
                <a:gd name="connsiteY304" fmla="*/ 385572 h 462438"/>
                <a:gd name="connsiteX305" fmla="*/ 628269 w 649414"/>
                <a:gd name="connsiteY305" fmla="*/ 389382 h 462438"/>
                <a:gd name="connsiteX306" fmla="*/ 630841 w 649414"/>
                <a:gd name="connsiteY306" fmla="*/ 394525 h 462438"/>
                <a:gd name="connsiteX307" fmla="*/ 619221 w 649414"/>
                <a:gd name="connsiteY307" fmla="*/ 403288 h 462438"/>
                <a:gd name="connsiteX308" fmla="*/ 618554 w 649414"/>
                <a:gd name="connsiteY308" fmla="*/ 412432 h 462438"/>
                <a:gd name="connsiteX309" fmla="*/ 610267 w 649414"/>
                <a:gd name="connsiteY309" fmla="*/ 419005 h 462438"/>
                <a:gd name="connsiteX310" fmla="*/ 605885 w 649414"/>
                <a:gd name="connsiteY310" fmla="*/ 426815 h 462438"/>
                <a:gd name="connsiteX311" fmla="*/ 583883 w 649414"/>
                <a:gd name="connsiteY311" fmla="*/ 440627 h 462438"/>
                <a:gd name="connsiteX312" fmla="*/ 574738 w 649414"/>
                <a:gd name="connsiteY312" fmla="*/ 439960 h 462438"/>
                <a:gd name="connsiteX313" fmla="*/ 570262 w 649414"/>
                <a:gd name="connsiteY313" fmla="*/ 447865 h 462438"/>
                <a:gd name="connsiteX314" fmla="*/ 566928 w 649414"/>
                <a:gd name="connsiteY314" fmla="*/ 450056 h 462438"/>
                <a:gd name="connsiteX315" fmla="*/ 552069 w 649414"/>
                <a:gd name="connsiteY315" fmla="*/ 448437 h 462438"/>
                <a:gd name="connsiteX316" fmla="*/ 540068 w 649414"/>
                <a:gd name="connsiteY316" fmla="*/ 440912 h 462438"/>
                <a:gd name="connsiteX317" fmla="*/ 532924 w 649414"/>
                <a:gd name="connsiteY317" fmla="*/ 441865 h 462438"/>
                <a:gd name="connsiteX318" fmla="*/ 530066 w 649414"/>
                <a:gd name="connsiteY318" fmla="*/ 447675 h 462438"/>
                <a:gd name="connsiteX319" fmla="*/ 524637 w 649414"/>
                <a:gd name="connsiteY319" fmla="*/ 448437 h 462438"/>
                <a:gd name="connsiteX320" fmla="*/ 500824 w 649414"/>
                <a:gd name="connsiteY320" fmla="*/ 447961 h 462438"/>
                <a:gd name="connsiteX321" fmla="*/ 497491 w 649414"/>
                <a:gd name="connsiteY321" fmla="*/ 450247 h 462438"/>
                <a:gd name="connsiteX322" fmla="*/ 484918 w 649414"/>
                <a:gd name="connsiteY322" fmla="*/ 451866 h 462438"/>
                <a:gd name="connsiteX323" fmla="*/ 476346 w 649414"/>
                <a:gd name="connsiteY323" fmla="*/ 456629 h 462438"/>
                <a:gd name="connsiteX324" fmla="*/ 473488 w 649414"/>
                <a:gd name="connsiteY324" fmla="*/ 462439 h 462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</a:cxnLst>
              <a:rect l="l" t="t" r="r" b="b"/>
              <a:pathLst>
                <a:path w="649414" h="462438">
                  <a:moveTo>
                    <a:pt x="473488" y="462439"/>
                  </a:moveTo>
                  <a:lnTo>
                    <a:pt x="465868" y="459867"/>
                  </a:lnTo>
                  <a:lnTo>
                    <a:pt x="464916" y="452723"/>
                  </a:lnTo>
                  <a:lnTo>
                    <a:pt x="453199" y="447008"/>
                  </a:lnTo>
                  <a:lnTo>
                    <a:pt x="442531" y="435673"/>
                  </a:lnTo>
                  <a:lnTo>
                    <a:pt x="445199" y="428149"/>
                  </a:lnTo>
                  <a:lnTo>
                    <a:pt x="443580" y="415671"/>
                  </a:lnTo>
                  <a:lnTo>
                    <a:pt x="445961" y="406241"/>
                  </a:lnTo>
                  <a:lnTo>
                    <a:pt x="438340" y="403670"/>
                  </a:lnTo>
                  <a:lnTo>
                    <a:pt x="425768" y="405289"/>
                  </a:lnTo>
                  <a:lnTo>
                    <a:pt x="420339" y="406051"/>
                  </a:lnTo>
                  <a:lnTo>
                    <a:pt x="420339" y="406051"/>
                  </a:lnTo>
                  <a:lnTo>
                    <a:pt x="417195" y="410051"/>
                  </a:lnTo>
                  <a:lnTo>
                    <a:pt x="410242" y="412813"/>
                  </a:lnTo>
                  <a:lnTo>
                    <a:pt x="406718" y="413290"/>
                  </a:lnTo>
                  <a:lnTo>
                    <a:pt x="406241" y="409670"/>
                  </a:lnTo>
                  <a:lnTo>
                    <a:pt x="401098" y="412242"/>
                  </a:lnTo>
                  <a:lnTo>
                    <a:pt x="394906" y="407575"/>
                  </a:lnTo>
                  <a:lnTo>
                    <a:pt x="394240" y="402241"/>
                  </a:lnTo>
                  <a:lnTo>
                    <a:pt x="386620" y="399669"/>
                  </a:lnTo>
                  <a:lnTo>
                    <a:pt x="382810" y="398336"/>
                  </a:lnTo>
                  <a:lnTo>
                    <a:pt x="379381" y="400526"/>
                  </a:lnTo>
                  <a:lnTo>
                    <a:pt x="371951" y="399764"/>
                  </a:lnTo>
                  <a:lnTo>
                    <a:pt x="373094" y="394145"/>
                  </a:lnTo>
                  <a:lnTo>
                    <a:pt x="367189" y="391287"/>
                  </a:lnTo>
                  <a:lnTo>
                    <a:pt x="368046" y="383953"/>
                  </a:lnTo>
                  <a:lnTo>
                    <a:pt x="364046" y="380809"/>
                  </a:lnTo>
                  <a:lnTo>
                    <a:pt x="359093" y="385096"/>
                  </a:lnTo>
                  <a:lnTo>
                    <a:pt x="354616" y="378428"/>
                  </a:lnTo>
                  <a:lnTo>
                    <a:pt x="346710" y="374047"/>
                  </a:lnTo>
                  <a:lnTo>
                    <a:pt x="349187" y="379190"/>
                  </a:lnTo>
                  <a:lnTo>
                    <a:pt x="347567" y="381190"/>
                  </a:lnTo>
                  <a:lnTo>
                    <a:pt x="347377" y="379381"/>
                  </a:lnTo>
                  <a:lnTo>
                    <a:pt x="343757" y="379857"/>
                  </a:lnTo>
                  <a:lnTo>
                    <a:pt x="343567" y="378142"/>
                  </a:lnTo>
                  <a:lnTo>
                    <a:pt x="337471" y="373475"/>
                  </a:lnTo>
                  <a:lnTo>
                    <a:pt x="336709" y="368141"/>
                  </a:lnTo>
                  <a:lnTo>
                    <a:pt x="334899" y="368332"/>
                  </a:lnTo>
                  <a:lnTo>
                    <a:pt x="330518" y="376238"/>
                  </a:lnTo>
                  <a:lnTo>
                    <a:pt x="327184" y="378428"/>
                  </a:lnTo>
                  <a:lnTo>
                    <a:pt x="329660" y="383572"/>
                  </a:lnTo>
                  <a:lnTo>
                    <a:pt x="323183" y="389858"/>
                  </a:lnTo>
                  <a:lnTo>
                    <a:pt x="308801" y="391763"/>
                  </a:lnTo>
                  <a:lnTo>
                    <a:pt x="306800" y="390239"/>
                  </a:lnTo>
                  <a:lnTo>
                    <a:pt x="301181" y="389191"/>
                  </a:lnTo>
                  <a:lnTo>
                    <a:pt x="299847" y="392906"/>
                  </a:lnTo>
                  <a:lnTo>
                    <a:pt x="296037" y="391668"/>
                  </a:lnTo>
                  <a:lnTo>
                    <a:pt x="292608" y="393954"/>
                  </a:lnTo>
                  <a:lnTo>
                    <a:pt x="295180" y="399002"/>
                  </a:lnTo>
                  <a:lnTo>
                    <a:pt x="288227" y="401764"/>
                  </a:lnTo>
                  <a:lnTo>
                    <a:pt x="288893" y="407098"/>
                  </a:lnTo>
                  <a:lnTo>
                    <a:pt x="283464" y="407765"/>
                  </a:lnTo>
                  <a:lnTo>
                    <a:pt x="278607" y="412147"/>
                  </a:lnTo>
                  <a:lnTo>
                    <a:pt x="273177" y="412813"/>
                  </a:lnTo>
                  <a:lnTo>
                    <a:pt x="272987" y="411004"/>
                  </a:lnTo>
                  <a:lnTo>
                    <a:pt x="260604" y="414433"/>
                  </a:lnTo>
                  <a:lnTo>
                    <a:pt x="259175" y="403765"/>
                  </a:lnTo>
                  <a:lnTo>
                    <a:pt x="261652" y="394430"/>
                  </a:lnTo>
                  <a:lnTo>
                    <a:pt x="259080" y="389287"/>
                  </a:lnTo>
                  <a:lnTo>
                    <a:pt x="260223" y="383667"/>
                  </a:lnTo>
                  <a:lnTo>
                    <a:pt x="256127" y="380619"/>
                  </a:lnTo>
                  <a:lnTo>
                    <a:pt x="251841" y="375761"/>
                  </a:lnTo>
                  <a:lnTo>
                    <a:pt x="249841" y="374237"/>
                  </a:lnTo>
                  <a:lnTo>
                    <a:pt x="238792" y="373856"/>
                  </a:lnTo>
                  <a:lnTo>
                    <a:pt x="231838" y="376523"/>
                  </a:lnTo>
                  <a:lnTo>
                    <a:pt x="227838" y="373475"/>
                  </a:lnTo>
                  <a:lnTo>
                    <a:pt x="229362" y="371475"/>
                  </a:lnTo>
                  <a:lnTo>
                    <a:pt x="227552" y="371665"/>
                  </a:lnTo>
                  <a:lnTo>
                    <a:pt x="224790" y="364807"/>
                  </a:lnTo>
                  <a:lnTo>
                    <a:pt x="222313" y="359664"/>
                  </a:lnTo>
                  <a:lnTo>
                    <a:pt x="223362" y="354139"/>
                  </a:lnTo>
                  <a:lnTo>
                    <a:pt x="217551" y="351282"/>
                  </a:lnTo>
                  <a:lnTo>
                    <a:pt x="220885" y="348996"/>
                  </a:lnTo>
                  <a:lnTo>
                    <a:pt x="218599" y="345662"/>
                  </a:lnTo>
                  <a:lnTo>
                    <a:pt x="215265" y="347948"/>
                  </a:lnTo>
                  <a:lnTo>
                    <a:pt x="209646" y="346900"/>
                  </a:lnTo>
                  <a:lnTo>
                    <a:pt x="210979" y="343090"/>
                  </a:lnTo>
                  <a:lnTo>
                    <a:pt x="206883" y="339947"/>
                  </a:lnTo>
                  <a:lnTo>
                    <a:pt x="211836" y="335661"/>
                  </a:lnTo>
                  <a:lnTo>
                    <a:pt x="211360" y="332137"/>
                  </a:lnTo>
                  <a:lnTo>
                    <a:pt x="209360" y="330613"/>
                  </a:lnTo>
                  <a:lnTo>
                    <a:pt x="210883" y="328517"/>
                  </a:lnTo>
                  <a:lnTo>
                    <a:pt x="216027" y="326041"/>
                  </a:lnTo>
                  <a:lnTo>
                    <a:pt x="218027" y="327660"/>
                  </a:lnTo>
                  <a:lnTo>
                    <a:pt x="219171" y="322040"/>
                  </a:lnTo>
                  <a:lnTo>
                    <a:pt x="216694" y="316992"/>
                  </a:lnTo>
                  <a:lnTo>
                    <a:pt x="232125" y="309467"/>
                  </a:lnTo>
                  <a:lnTo>
                    <a:pt x="227552" y="302800"/>
                  </a:lnTo>
                  <a:lnTo>
                    <a:pt x="226124" y="292132"/>
                  </a:lnTo>
                  <a:lnTo>
                    <a:pt x="221837" y="287274"/>
                  </a:lnTo>
                  <a:lnTo>
                    <a:pt x="212408" y="284893"/>
                  </a:lnTo>
                  <a:lnTo>
                    <a:pt x="205455" y="287560"/>
                  </a:lnTo>
                  <a:lnTo>
                    <a:pt x="195739" y="283464"/>
                  </a:lnTo>
                  <a:lnTo>
                    <a:pt x="188786" y="286131"/>
                  </a:lnTo>
                  <a:lnTo>
                    <a:pt x="185928" y="292037"/>
                  </a:lnTo>
                  <a:lnTo>
                    <a:pt x="184880" y="297561"/>
                  </a:lnTo>
                  <a:lnTo>
                    <a:pt x="173355" y="293656"/>
                  </a:lnTo>
                  <a:lnTo>
                    <a:pt x="168212" y="296132"/>
                  </a:lnTo>
                  <a:lnTo>
                    <a:pt x="168402" y="297942"/>
                  </a:lnTo>
                  <a:lnTo>
                    <a:pt x="162782" y="296894"/>
                  </a:lnTo>
                  <a:lnTo>
                    <a:pt x="155638" y="297847"/>
                  </a:lnTo>
                  <a:lnTo>
                    <a:pt x="150971" y="303847"/>
                  </a:lnTo>
                  <a:lnTo>
                    <a:pt x="146876" y="300799"/>
                  </a:lnTo>
                  <a:lnTo>
                    <a:pt x="141066" y="297942"/>
                  </a:lnTo>
                  <a:lnTo>
                    <a:pt x="130016" y="297561"/>
                  </a:lnTo>
                  <a:lnTo>
                    <a:pt x="125063" y="301847"/>
                  </a:lnTo>
                  <a:lnTo>
                    <a:pt x="119920" y="304324"/>
                  </a:lnTo>
                  <a:lnTo>
                    <a:pt x="111062" y="320040"/>
                  </a:lnTo>
                  <a:lnTo>
                    <a:pt x="105442" y="318992"/>
                  </a:lnTo>
                  <a:lnTo>
                    <a:pt x="95345" y="325755"/>
                  </a:lnTo>
                  <a:lnTo>
                    <a:pt x="92202" y="329755"/>
                  </a:lnTo>
                  <a:lnTo>
                    <a:pt x="83058" y="329184"/>
                  </a:lnTo>
                  <a:lnTo>
                    <a:pt x="87725" y="323088"/>
                  </a:lnTo>
                  <a:lnTo>
                    <a:pt x="85630" y="321564"/>
                  </a:lnTo>
                  <a:lnTo>
                    <a:pt x="87440" y="321373"/>
                  </a:lnTo>
                  <a:lnTo>
                    <a:pt x="75533" y="313849"/>
                  </a:lnTo>
                  <a:lnTo>
                    <a:pt x="70866" y="319945"/>
                  </a:lnTo>
                  <a:lnTo>
                    <a:pt x="66675" y="302323"/>
                  </a:lnTo>
                  <a:lnTo>
                    <a:pt x="64389" y="298990"/>
                  </a:lnTo>
                  <a:lnTo>
                    <a:pt x="62865" y="300990"/>
                  </a:lnTo>
                  <a:lnTo>
                    <a:pt x="61055" y="301276"/>
                  </a:lnTo>
                  <a:lnTo>
                    <a:pt x="54293" y="291274"/>
                  </a:lnTo>
                  <a:lnTo>
                    <a:pt x="50197" y="288227"/>
                  </a:lnTo>
                  <a:lnTo>
                    <a:pt x="51530" y="284416"/>
                  </a:lnTo>
                  <a:lnTo>
                    <a:pt x="46958" y="277749"/>
                  </a:lnTo>
                  <a:lnTo>
                    <a:pt x="43148" y="276415"/>
                  </a:lnTo>
                  <a:lnTo>
                    <a:pt x="36386" y="280988"/>
                  </a:lnTo>
                  <a:lnTo>
                    <a:pt x="34385" y="279368"/>
                  </a:lnTo>
                  <a:lnTo>
                    <a:pt x="35909" y="277368"/>
                  </a:lnTo>
                  <a:lnTo>
                    <a:pt x="21050" y="261271"/>
                  </a:lnTo>
                  <a:lnTo>
                    <a:pt x="12859" y="255079"/>
                  </a:lnTo>
                  <a:lnTo>
                    <a:pt x="0" y="240411"/>
                  </a:lnTo>
                  <a:lnTo>
                    <a:pt x="2667" y="232886"/>
                  </a:lnTo>
                  <a:lnTo>
                    <a:pt x="13430" y="231457"/>
                  </a:lnTo>
                  <a:lnTo>
                    <a:pt x="19050" y="232505"/>
                  </a:lnTo>
                  <a:lnTo>
                    <a:pt x="27337" y="225933"/>
                  </a:lnTo>
                  <a:lnTo>
                    <a:pt x="30099" y="232886"/>
                  </a:lnTo>
                  <a:lnTo>
                    <a:pt x="36767" y="228314"/>
                  </a:lnTo>
                  <a:lnTo>
                    <a:pt x="36100" y="222980"/>
                  </a:lnTo>
                  <a:lnTo>
                    <a:pt x="39719" y="222504"/>
                  </a:lnTo>
                  <a:lnTo>
                    <a:pt x="52007" y="219075"/>
                  </a:lnTo>
                  <a:lnTo>
                    <a:pt x="65627" y="211836"/>
                  </a:lnTo>
                  <a:lnTo>
                    <a:pt x="72390" y="207264"/>
                  </a:lnTo>
                  <a:lnTo>
                    <a:pt x="72390" y="207264"/>
                  </a:lnTo>
                  <a:lnTo>
                    <a:pt x="72866" y="210883"/>
                  </a:lnTo>
                  <a:lnTo>
                    <a:pt x="84487" y="202025"/>
                  </a:lnTo>
                  <a:lnTo>
                    <a:pt x="89249" y="210503"/>
                  </a:lnTo>
                  <a:lnTo>
                    <a:pt x="91059" y="210217"/>
                  </a:lnTo>
                  <a:lnTo>
                    <a:pt x="85535" y="196501"/>
                  </a:lnTo>
                  <a:lnTo>
                    <a:pt x="84868" y="191167"/>
                  </a:lnTo>
                  <a:lnTo>
                    <a:pt x="84392" y="187547"/>
                  </a:lnTo>
                  <a:lnTo>
                    <a:pt x="83249" y="178689"/>
                  </a:lnTo>
                  <a:lnTo>
                    <a:pt x="78677" y="172021"/>
                  </a:lnTo>
                  <a:lnTo>
                    <a:pt x="81820" y="167926"/>
                  </a:lnTo>
                  <a:lnTo>
                    <a:pt x="79534" y="164687"/>
                  </a:lnTo>
                  <a:lnTo>
                    <a:pt x="76200" y="166878"/>
                  </a:lnTo>
                  <a:lnTo>
                    <a:pt x="67342" y="155353"/>
                  </a:lnTo>
                  <a:lnTo>
                    <a:pt x="69152" y="155162"/>
                  </a:lnTo>
                  <a:lnTo>
                    <a:pt x="68961" y="153352"/>
                  </a:lnTo>
                  <a:lnTo>
                    <a:pt x="62770" y="148780"/>
                  </a:lnTo>
                  <a:lnTo>
                    <a:pt x="69247" y="142494"/>
                  </a:lnTo>
                  <a:lnTo>
                    <a:pt x="68580" y="137065"/>
                  </a:lnTo>
                  <a:lnTo>
                    <a:pt x="85154" y="124015"/>
                  </a:lnTo>
                  <a:lnTo>
                    <a:pt x="87440" y="127349"/>
                  </a:lnTo>
                  <a:lnTo>
                    <a:pt x="93441" y="132017"/>
                  </a:lnTo>
                  <a:lnTo>
                    <a:pt x="98870" y="131254"/>
                  </a:lnTo>
                  <a:lnTo>
                    <a:pt x="107156" y="124777"/>
                  </a:lnTo>
                  <a:lnTo>
                    <a:pt x="114872" y="141827"/>
                  </a:lnTo>
                  <a:lnTo>
                    <a:pt x="121349" y="135541"/>
                  </a:lnTo>
                  <a:lnTo>
                    <a:pt x="129731" y="143542"/>
                  </a:lnTo>
                  <a:lnTo>
                    <a:pt x="139541" y="134969"/>
                  </a:lnTo>
                  <a:lnTo>
                    <a:pt x="137065" y="129826"/>
                  </a:lnTo>
                  <a:lnTo>
                    <a:pt x="141732" y="123825"/>
                  </a:lnTo>
                  <a:lnTo>
                    <a:pt x="142875" y="118205"/>
                  </a:lnTo>
                  <a:lnTo>
                    <a:pt x="147162" y="123063"/>
                  </a:lnTo>
                  <a:lnTo>
                    <a:pt x="153257" y="127730"/>
                  </a:lnTo>
                  <a:lnTo>
                    <a:pt x="156020" y="134588"/>
                  </a:lnTo>
                  <a:lnTo>
                    <a:pt x="161354" y="133826"/>
                  </a:lnTo>
                  <a:lnTo>
                    <a:pt x="166306" y="129635"/>
                  </a:lnTo>
                  <a:lnTo>
                    <a:pt x="176784" y="126397"/>
                  </a:lnTo>
                  <a:lnTo>
                    <a:pt x="179927" y="122396"/>
                  </a:lnTo>
                  <a:lnTo>
                    <a:pt x="175831" y="119253"/>
                  </a:lnTo>
                  <a:lnTo>
                    <a:pt x="172307" y="119729"/>
                  </a:lnTo>
                  <a:lnTo>
                    <a:pt x="171546" y="114395"/>
                  </a:lnTo>
                  <a:lnTo>
                    <a:pt x="176498" y="110109"/>
                  </a:lnTo>
                  <a:lnTo>
                    <a:pt x="187452" y="110490"/>
                  </a:lnTo>
                  <a:lnTo>
                    <a:pt x="188786" y="106680"/>
                  </a:lnTo>
                  <a:lnTo>
                    <a:pt x="186119" y="99822"/>
                  </a:lnTo>
                  <a:lnTo>
                    <a:pt x="190976" y="95536"/>
                  </a:lnTo>
                  <a:lnTo>
                    <a:pt x="194977" y="84106"/>
                  </a:lnTo>
                  <a:lnTo>
                    <a:pt x="203645" y="66580"/>
                  </a:lnTo>
                  <a:lnTo>
                    <a:pt x="202978" y="61341"/>
                  </a:lnTo>
                  <a:lnTo>
                    <a:pt x="209455" y="55054"/>
                  </a:lnTo>
                  <a:lnTo>
                    <a:pt x="212788" y="52768"/>
                  </a:lnTo>
                  <a:lnTo>
                    <a:pt x="212503" y="50959"/>
                  </a:lnTo>
                  <a:lnTo>
                    <a:pt x="210503" y="49435"/>
                  </a:lnTo>
                  <a:lnTo>
                    <a:pt x="200406" y="56197"/>
                  </a:lnTo>
                  <a:lnTo>
                    <a:pt x="191167" y="55626"/>
                  </a:lnTo>
                  <a:lnTo>
                    <a:pt x="186405" y="47149"/>
                  </a:lnTo>
                  <a:lnTo>
                    <a:pt x="186214" y="45339"/>
                  </a:lnTo>
                  <a:lnTo>
                    <a:pt x="191167" y="41148"/>
                  </a:lnTo>
                  <a:lnTo>
                    <a:pt x="204978" y="35623"/>
                  </a:lnTo>
                  <a:lnTo>
                    <a:pt x="211550" y="29337"/>
                  </a:lnTo>
                  <a:lnTo>
                    <a:pt x="220980" y="31718"/>
                  </a:lnTo>
                  <a:lnTo>
                    <a:pt x="228124" y="30766"/>
                  </a:lnTo>
                  <a:lnTo>
                    <a:pt x="237839" y="34957"/>
                  </a:lnTo>
                  <a:lnTo>
                    <a:pt x="242983" y="32385"/>
                  </a:lnTo>
                  <a:lnTo>
                    <a:pt x="246126" y="28384"/>
                  </a:lnTo>
                  <a:lnTo>
                    <a:pt x="247364" y="24575"/>
                  </a:lnTo>
                  <a:lnTo>
                    <a:pt x="250984" y="24098"/>
                  </a:lnTo>
                  <a:lnTo>
                    <a:pt x="255746" y="32575"/>
                  </a:lnTo>
                  <a:lnTo>
                    <a:pt x="259366" y="32099"/>
                  </a:lnTo>
                  <a:lnTo>
                    <a:pt x="259842" y="35623"/>
                  </a:lnTo>
                  <a:lnTo>
                    <a:pt x="265271" y="34957"/>
                  </a:lnTo>
                  <a:lnTo>
                    <a:pt x="268605" y="32671"/>
                  </a:lnTo>
                  <a:lnTo>
                    <a:pt x="295942" y="18193"/>
                  </a:lnTo>
                  <a:lnTo>
                    <a:pt x="298990" y="14097"/>
                  </a:lnTo>
                  <a:lnTo>
                    <a:pt x="301466" y="4763"/>
                  </a:lnTo>
                  <a:lnTo>
                    <a:pt x="304800" y="2476"/>
                  </a:lnTo>
                  <a:lnTo>
                    <a:pt x="309944" y="0"/>
                  </a:lnTo>
                  <a:lnTo>
                    <a:pt x="316325" y="6382"/>
                  </a:lnTo>
                  <a:lnTo>
                    <a:pt x="327279" y="6763"/>
                  </a:lnTo>
                  <a:lnTo>
                    <a:pt x="331566" y="11621"/>
                  </a:lnTo>
                  <a:lnTo>
                    <a:pt x="347758" y="9525"/>
                  </a:lnTo>
                  <a:lnTo>
                    <a:pt x="354711" y="6763"/>
                  </a:lnTo>
                  <a:lnTo>
                    <a:pt x="355854" y="15621"/>
                  </a:lnTo>
                  <a:lnTo>
                    <a:pt x="365379" y="18002"/>
                  </a:lnTo>
                  <a:lnTo>
                    <a:pt x="376238" y="31147"/>
                  </a:lnTo>
                  <a:lnTo>
                    <a:pt x="383191" y="28384"/>
                  </a:lnTo>
                  <a:lnTo>
                    <a:pt x="384810" y="40862"/>
                  </a:lnTo>
                  <a:lnTo>
                    <a:pt x="388906" y="43910"/>
                  </a:lnTo>
                  <a:lnTo>
                    <a:pt x="394240" y="43243"/>
                  </a:lnTo>
                  <a:lnTo>
                    <a:pt x="410147" y="39338"/>
                  </a:lnTo>
                  <a:lnTo>
                    <a:pt x="412433" y="42577"/>
                  </a:lnTo>
                  <a:lnTo>
                    <a:pt x="411385" y="48196"/>
                  </a:lnTo>
                  <a:lnTo>
                    <a:pt x="417005" y="49244"/>
                  </a:lnTo>
                  <a:lnTo>
                    <a:pt x="435483" y="50482"/>
                  </a:lnTo>
                  <a:lnTo>
                    <a:pt x="435674" y="52292"/>
                  </a:lnTo>
                  <a:lnTo>
                    <a:pt x="428815" y="69532"/>
                  </a:lnTo>
                  <a:lnTo>
                    <a:pt x="427958" y="76867"/>
                  </a:lnTo>
                  <a:lnTo>
                    <a:pt x="435864" y="81248"/>
                  </a:lnTo>
                  <a:lnTo>
                    <a:pt x="447389" y="99631"/>
                  </a:lnTo>
                  <a:lnTo>
                    <a:pt x="444341" y="103727"/>
                  </a:lnTo>
                  <a:lnTo>
                    <a:pt x="446818" y="108775"/>
                  </a:lnTo>
                  <a:lnTo>
                    <a:pt x="452628" y="111633"/>
                  </a:lnTo>
                  <a:lnTo>
                    <a:pt x="457200" y="118300"/>
                  </a:lnTo>
                  <a:lnTo>
                    <a:pt x="476440" y="112109"/>
                  </a:lnTo>
                  <a:lnTo>
                    <a:pt x="481965" y="125921"/>
                  </a:lnTo>
                  <a:lnTo>
                    <a:pt x="477107" y="130207"/>
                  </a:lnTo>
                  <a:lnTo>
                    <a:pt x="482632" y="131254"/>
                  </a:lnTo>
                  <a:lnTo>
                    <a:pt x="479775" y="137065"/>
                  </a:lnTo>
                  <a:lnTo>
                    <a:pt x="474155" y="136017"/>
                  </a:lnTo>
                  <a:lnTo>
                    <a:pt x="474631" y="139541"/>
                  </a:lnTo>
                  <a:lnTo>
                    <a:pt x="478250" y="139065"/>
                  </a:lnTo>
                  <a:lnTo>
                    <a:pt x="478727" y="142684"/>
                  </a:lnTo>
                  <a:lnTo>
                    <a:pt x="475107" y="143161"/>
                  </a:lnTo>
                  <a:lnTo>
                    <a:pt x="468630" y="149447"/>
                  </a:lnTo>
                  <a:lnTo>
                    <a:pt x="468821" y="151257"/>
                  </a:lnTo>
                  <a:lnTo>
                    <a:pt x="473678" y="159639"/>
                  </a:lnTo>
                  <a:lnTo>
                    <a:pt x="472345" y="163449"/>
                  </a:lnTo>
                  <a:lnTo>
                    <a:pt x="475297" y="172117"/>
                  </a:lnTo>
                  <a:lnTo>
                    <a:pt x="478917" y="171640"/>
                  </a:lnTo>
                  <a:lnTo>
                    <a:pt x="482918" y="174688"/>
                  </a:lnTo>
                  <a:lnTo>
                    <a:pt x="488537" y="175831"/>
                  </a:lnTo>
                  <a:lnTo>
                    <a:pt x="494062" y="189547"/>
                  </a:lnTo>
                  <a:lnTo>
                    <a:pt x="502825" y="186595"/>
                  </a:lnTo>
                  <a:lnTo>
                    <a:pt x="514064" y="188690"/>
                  </a:lnTo>
                  <a:lnTo>
                    <a:pt x="514731" y="194120"/>
                  </a:lnTo>
                  <a:lnTo>
                    <a:pt x="517779" y="202787"/>
                  </a:lnTo>
                  <a:lnTo>
                    <a:pt x="521780" y="205835"/>
                  </a:lnTo>
                  <a:lnTo>
                    <a:pt x="522732" y="212979"/>
                  </a:lnTo>
                  <a:lnTo>
                    <a:pt x="529495" y="222980"/>
                  </a:lnTo>
                  <a:lnTo>
                    <a:pt x="535400" y="225838"/>
                  </a:lnTo>
                  <a:lnTo>
                    <a:pt x="534067" y="229648"/>
                  </a:lnTo>
                  <a:lnTo>
                    <a:pt x="536638" y="234696"/>
                  </a:lnTo>
                  <a:lnTo>
                    <a:pt x="540163" y="234220"/>
                  </a:lnTo>
                  <a:lnTo>
                    <a:pt x="544258" y="237363"/>
                  </a:lnTo>
                  <a:lnTo>
                    <a:pt x="545687" y="248031"/>
                  </a:lnTo>
                  <a:lnTo>
                    <a:pt x="553783" y="254222"/>
                  </a:lnTo>
                  <a:lnTo>
                    <a:pt x="559118" y="253460"/>
                  </a:lnTo>
                  <a:lnTo>
                    <a:pt x="558641" y="249936"/>
                  </a:lnTo>
                  <a:lnTo>
                    <a:pt x="579501" y="241745"/>
                  </a:lnTo>
                  <a:lnTo>
                    <a:pt x="581787" y="245078"/>
                  </a:lnTo>
                  <a:lnTo>
                    <a:pt x="586549" y="253460"/>
                  </a:lnTo>
                  <a:lnTo>
                    <a:pt x="596932" y="262985"/>
                  </a:lnTo>
                  <a:lnTo>
                    <a:pt x="601504" y="269653"/>
                  </a:lnTo>
                  <a:lnTo>
                    <a:pt x="605314" y="270986"/>
                  </a:lnTo>
                  <a:lnTo>
                    <a:pt x="609410" y="274034"/>
                  </a:lnTo>
                  <a:lnTo>
                    <a:pt x="615030" y="275082"/>
                  </a:lnTo>
                  <a:lnTo>
                    <a:pt x="611696" y="277368"/>
                  </a:lnTo>
                  <a:lnTo>
                    <a:pt x="619125" y="278225"/>
                  </a:lnTo>
                  <a:lnTo>
                    <a:pt x="621125" y="279749"/>
                  </a:lnTo>
                  <a:lnTo>
                    <a:pt x="623888" y="286607"/>
                  </a:lnTo>
                  <a:lnTo>
                    <a:pt x="625602" y="286417"/>
                  </a:lnTo>
                  <a:lnTo>
                    <a:pt x="637127" y="290322"/>
                  </a:lnTo>
                  <a:lnTo>
                    <a:pt x="637889" y="295656"/>
                  </a:lnTo>
                  <a:lnTo>
                    <a:pt x="647986" y="303371"/>
                  </a:lnTo>
                  <a:lnTo>
                    <a:pt x="649224" y="312325"/>
                  </a:lnTo>
                  <a:lnTo>
                    <a:pt x="649415" y="314039"/>
                  </a:lnTo>
                  <a:lnTo>
                    <a:pt x="647129" y="310801"/>
                  </a:lnTo>
                  <a:lnTo>
                    <a:pt x="643605" y="311182"/>
                  </a:lnTo>
                  <a:lnTo>
                    <a:pt x="641128" y="320612"/>
                  </a:lnTo>
                  <a:lnTo>
                    <a:pt x="646938" y="350615"/>
                  </a:lnTo>
                  <a:lnTo>
                    <a:pt x="637604" y="362807"/>
                  </a:lnTo>
                  <a:lnTo>
                    <a:pt x="629603" y="385572"/>
                  </a:lnTo>
                  <a:lnTo>
                    <a:pt x="628269" y="389382"/>
                  </a:lnTo>
                  <a:lnTo>
                    <a:pt x="630841" y="394525"/>
                  </a:lnTo>
                  <a:lnTo>
                    <a:pt x="619221" y="403288"/>
                  </a:lnTo>
                  <a:lnTo>
                    <a:pt x="618554" y="412432"/>
                  </a:lnTo>
                  <a:lnTo>
                    <a:pt x="610267" y="419005"/>
                  </a:lnTo>
                  <a:lnTo>
                    <a:pt x="605885" y="426815"/>
                  </a:lnTo>
                  <a:lnTo>
                    <a:pt x="583883" y="440627"/>
                  </a:lnTo>
                  <a:lnTo>
                    <a:pt x="574738" y="439960"/>
                  </a:lnTo>
                  <a:lnTo>
                    <a:pt x="570262" y="447865"/>
                  </a:lnTo>
                  <a:lnTo>
                    <a:pt x="566928" y="450056"/>
                  </a:lnTo>
                  <a:lnTo>
                    <a:pt x="552069" y="448437"/>
                  </a:lnTo>
                  <a:lnTo>
                    <a:pt x="540068" y="440912"/>
                  </a:lnTo>
                  <a:lnTo>
                    <a:pt x="532924" y="441865"/>
                  </a:lnTo>
                  <a:lnTo>
                    <a:pt x="530066" y="447675"/>
                  </a:lnTo>
                  <a:lnTo>
                    <a:pt x="524637" y="448437"/>
                  </a:lnTo>
                  <a:lnTo>
                    <a:pt x="500824" y="447961"/>
                  </a:lnTo>
                  <a:lnTo>
                    <a:pt x="497491" y="450247"/>
                  </a:lnTo>
                  <a:lnTo>
                    <a:pt x="484918" y="451866"/>
                  </a:lnTo>
                  <a:lnTo>
                    <a:pt x="476346" y="456629"/>
                  </a:lnTo>
                  <a:lnTo>
                    <a:pt x="473488" y="462439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62" name="Volný tvar: obrazec 61">
              <a:extLst>
                <a:ext uri="{FF2B5EF4-FFF2-40B4-BE49-F238E27FC236}">
                  <a16:creationId xmlns:a16="http://schemas.microsoft.com/office/drawing/2014/main" id="{2240B93B-6546-AF1B-25DD-BB71E7EC7D7C}"/>
                </a:ext>
              </a:extLst>
            </p:cNvPr>
            <p:cNvSpPr/>
            <p:nvPr userDrawn="1"/>
          </p:nvSpPr>
          <p:spPr>
            <a:xfrm>
              <a:off x="7652860" y="4223099"/>
              <a:ext cx="641413" cy="450627"/>
            </a:xfrm>
            <a:custGeom>
              <a:avLst/>
              <a:gdLst>
                <a:gd name="connsiteX0" fmla="*/ 402812 w 641413"/>
                <a:gd name="connsiteY0" fmla="*/ 449389 h 450627"/>
                <a:gd name="connsiteX1" fmla="*/ 393096 w 641413"/>
                <a:gd name="connsiteY1" fmla="*/ 430721 h 450627"/>
                <a:gd name="connsiteX2" fmla="*/ 392144 w 641413"/>
                <a:gd name="connsiteY2" fmla="*/ 423577 h 450627"/>
                <a:gd name="connsiteX3" fmla="*/ 393954 w 641413"/>
                <a:gd name="connsiteY3" fmla="*/ 423386 h 450627"/>
                <a:gd name="connsiteX4" fmla="*/ 393668 w 641413"/>
                <a:gd name="connsiteY4" fmla="*/ 421577 h 450627"/>
                <a:gd name="connsiteX5" fmla="*/ 395001 w 641413"/>
                <a:gd name="connsiteY5" fmla="*/ 417862 h 450627"/>
                <a:gd name="connsiteX6" fmla="*/ 386048 w 641413"/>
                <a:gd name="connsiteY6" fmla="*/ 419005 h 450627"/>
                <a:gd name="connsiteX7" fmla="*/ 381952 w 641413"/>
                <a:gd name="connsiteY7" fmla="*/ 415862 h 450627"/>
                <a:gd name="connsiteX8" fmla="*/ 383286 w 641413"/>
                <a:gd name="connsiteY8" fmla="*/ 412147 h 450627"/>
                <a:gd name="connsiteX9" fmla="*/ 374237 w 641413"/>
                <a:gd name="connsiteY9" fmla="*/ 398812 h 450627"/>
                <a:gd name="connsiteX10" fmla="*/ 360140 w 641413"/>
                <a:gd name="connsiteY10" fmla="*/ 375285 h 450627"/>
                <a:gd name="connsiteX11" fmla="*/ 345757 w 641413"/>
                <a:gd name="connsiteY11" fmla="*/ 377190 h 450627"/>
                <a:gd name="connsiteX12" fmla="*/ 325184 w 641413"/>
                <a:gd name="connsiteY12" fmla="*/ 359950 h 450627"/>
                <a:gd name="connsiteX13" fmla="*/ 319850 w 641413"/>
                <a:gd name="connsiteY13" fmla="*/ 360712 h 450627"/>
                <a:gd name="connsiteX14" fmla="*/ 311562 w 641413"/>
                <a:gd name="connsiteY14" fmla="*/ 367189 h 450627"/>
                <a:gd name="connsiteX15" fmla="*/ 301657 w 641413"/>
                <a:gd name="connsiteY15" fmla="*/ 361283 h 450627"/>
                <a:gd name="connsiteX16" fmla="*/ 310039 w 641413"/>
                <a:gd name="connsiteY16" fmla="*/ 342043 h 450627"/>
                <a:gd name="connsiteX17" fmla="*/ 310896 w 641413"/>
                <a:gd name="connsiteY17" fmla="*/ 334709 h 450627"/>
                <a:gd name="connsiteX18" fmla="*/ 314039 w 641413"/>
                <a:gd name="connsiteY18" fmla="*/ 330613 h 450627"/>
                <a:gd name="connsiteX19" fmla="*/ 305657 w 641413"/>
                <a:gd name="connsiteY19" fmla="*/ 322707 h 450627"/>
                <a:gd name="connsiteX20" fmla="*/ 286226 w 641413"/>
                <a:gd name="connsiteY20" fmla="*/ 314325 h 450627"/>
                <a:gd name="connsiteX21" fmla="*/ 274415 w 641413"/>
                <a:gd name="connsiteY21" fmla="*/ 321373 h 450627"/>
                <a:gd name="connsiteX22" fmla="*/ 272129 w 641413"/>
                <a:gd name="connsiteY22" fmla="*/ 318040 h 450627"/>
                <a:gd name="connsiteX23" fmla="*/ 264414 w 641413"/>
                <a:gd name="connsiteY23" fmla="*/ 300895 h 450627"/>
                <a:gd name="connsiteX24" fmla="*/ 263842 w 641413"/>
                <a:gd name="connsiteY24" fmla="*/ 310134 h 450627"/>
                <a:gd name="connsiteX25" fmla="*/ 248126 w 641413"/>
                <a:gd name="connsiteY25" fmla="*/ 315754 h 450627"/>
                <a:gd name="connsiteX26" fmla="*/ 239744 w 641413"/>
                <a:gd name="connsiteY26" fmla="*/ 307848 h 450627"/>
                <a:gd name="connsiteX27" fmla="*/ 236601 w 641413"/>
                <a:gd name="connsiteY27" fmla="*/ 311848 h 450627"/>
                <a:gd name="connsiteX28" fmla="*/ 234315 w 641413"/>
                <a:gd name="connsiteY28" fmla="*/ 308515 h 450627"/>
                <a:gd name="connsiteX29" fmla="*/ 229457 w 641413"/>
                <a:gd name="connsiteY29" fmla="*/ 312801 h 450627"/>
                <a:gd name="connsiteX30" fmla="*/ 227647 w 641413"/>
                <a:gd name="connsiteY30" fmla="*/ 313087 h 450627"/>
                <a:gd name="connsiteX31" fmla="*/ 222504 w 641413"/>
                <a:gd name="connsiteY31" fmla="*/ 315563 h 450627"/>
                <a:gd name="connsiteX32" fmla="*/ 220408 w 641413"/>
                <a:gd name="connsiteY32" fmla="*/ 314039 h 450627"/>
                <a:gd name="connsiteX33" fmla="*/ 205454 w 641413"/>
                <a:gd name="connsiteY33" fmla="*/ 325088 h 450627"/>
                <a:gd name="connsiteX34" fmla="*/ 194786 w 641413"/>
                <a:gd name="connsiteY34" fmla="*/ 313754 h 450627"/>
                <a:gd name="connsiteX35" fmla="*/ 191262 w 641413"/>
                <a:gd name="connsiteY35" fmla="*/ 314230 h 450627"/>
                <a:gd name="connsiteX36" fmla="*/ 180594 w 641413"/>
                <a:gd name="connsiteY36" fmla="*/ 302990 h 450627"/>
                <a:gd name="connsiteX37" fmla="*/ 172498 w 641413"/>
                <a:gd name="connsiteY37" fmla="*/ 296799 h 450627"/>
                <a:gd name="connsiteX38" fmla="*/ 169069 w 641413"/>
                <a:gd name="connsiteY38" fmla="*/ 284512 h 450627"/>
                <a:gd name="connsiteX39" fmla="*/ 156686 w 641413"/>
                <a:gd name="connsiteY39" fmla="*/ 287941 h 450627"/>
                <a:gd name="connsiteX40" fmla="*/ 152495 w 641413"/>
                <a:gd name="connsiteY40" fmla="*/ 297561 h 450627"/>
                <a:gd name="connsiteX41" fmla="*/ 151543 w 641413"/>
                <a:gd name="connsiteY41" fmla="*/ 290513 h 450627"/>
                <a:gd name="connsiteX42" fmla="*/ 148209 w 641413"/>
                <a:gd name="connsiteY42" fmla="*/ 292703 h 450627"/>
                <a:gd name="connsiteX43" fmla="*/ 144304 w 641413"/>
                <a:gd name="connsiteY43" fmla="*/ 291465 h 450627"/>
                <a:gd name="connsiteX44" fmla="*/ 141256 w 641413"/>
                <a:gd name="connsiteY44" fmla="*/ 295466 h 450627"/>
                <a:gd name="connsiteX45" fmla="*/ 133350 w 641413"/>
                <a:gd name="connsiteY45" fmla="*/ 291084 h 450627"/>
                <a:gd name="connsiteX46" fmla="*/ 131350 w 641413"/>
                <a:gd name="connsiteY46" fmla="*/ 289560 h 450627"/>
                <a:gd name="connsiteX47" fmla="*/ 131064 w 641413"/>
                <a:gd name="connsiteY47" fmla="*/ 287750 h 450627"/>
                <a:gd name="connsiteX48" fmla="*/ 132397 w 641413"/>
                <a:gd name="connsiteY48" fmla="*/ 283940 h 450627"/>
                <a:gd name="connsiteX49" fmla="*/ 130397 w 641413"/>
                <a:gd name="connsiteY49" fmla="*/ 282416 h 450627"/>
                <a:gd name="connsiteX50" fmla="*/ 135064 w 641413"/>
                <a:gd name="connsiteY50" fmla="*/ 276320 h 450627"/>
                <a:gd name="connsiteX51" fmla="*/ 134588 w 641413"/>
                <a:gd name="connsiteY51" fmla="*/ 272796 h 450627"/>
                <a:gd name="connsiteX52" fmla="*/ 135636 w 641413"/>
                <a:gd name="connsiteY52" fmla="*/ 267176 h 450627"/>
                <a:gd name="connsiteX53" fmla="*/ 135160 w 641413"/>
                <a:gd name="connsiteY53" fmla="*/ 263652 h 450627"/>
                <a:gd name="connsiteX54" fmla="*/ 137541 w 641413"/>
                <a:gd name="connsiteY54" fmla="*/ 254222 h 450627"/>
                <a:gd name="connsiteX55" fmla="*/ 129730 w 641413"/>
                <a:gd name="connsiteY55" fmla="*/ 249841 h 450627"/>
                <a:gd name="connsiteX56" fmla="*/ 126587 w 641413"/>
                <a:gd name="connsiteY56" fmla="*/ 253841 h 450627"/>
                <a:gd name="connsiteX57" fmla="*/ 120491 w 641413"/>
                <a:gd name="connsiteY57" fmla="*/ 249269 h 450627"/>
                <a:gd name="connsiteX58" fmla="*/ 121825 w 641413"/>
                <a:gd name="connsiteY58" fmla="*/ 245459 h 450627"/>
                <a:gd name="connsiteX59" fmla="*/ 113729 w 641413"/>
                <a:gd name="connsiteY59" fmla="*/ 239268 h 450627"/>
                <a:gd name="connsiteX60" fmla="*/ 103632 w 641413"/>
                <a:gd name="connsiteY60" fmla="*/ 246031 h 450627"/>
                <a:gd name="connsiteX61" fmla="*/ 99536 w 641413"/>
                <a:gd name="connsiteY61" fmla="*/ 242983 h 450627"/>
                <a:gd name="connsiteX62" fmla="*/ 94392 w 641413"/>
                <a:gd name="connsiteY62" fmla="*/ 245459 h 450627"/>
                <a:gd name="connsiteX63" fmla="*/ 91630 w 641413"/>
                <a:gd name="connsiteY63" fmla="*/ 238601 h 450627"/>
                <a:gd name="connsiteX64" fmla="*/ 85820 w 641413"/>
                <a:gd name="connsiteY64" fmla="*/ 235744 h 450627"/>
                <a:gd name="connsiteX65" fmla="*/ 80867 w 641413"/>
                <a:gd name="connsiteY65" fmla="*/ 240030 h 450627"/>
                <a:gd name="connsiteX66" fmla="*/ 73438 w 641413"/>
                <a:gd name="connsiteY66" fmla="*/ 239173 h 450627"/>
                <a:gd name="connsiteX67" fmla="*/ 73723 w 641413"/>
                <a:gd name="connsiteY67" fmla="*/ 240983 h 450627"/>
                <a:gd name="connsiteX68" fmla="*/ 67818 w 641413"/>
                <a:gd name="connsiteY68" fmla="*/ 238125 h 450627"/>
                <a:gd name="connsiteX69" fmla="*/ 64960 w 641413"/>
                <a:gd name="connsiteY69" fmla="*/ 243935 h 450627"/>
                <a:gd name="connsiteX70" fmla="*/ 64675 w 641413"/>
                <a:gd name="connsiteY70" fmla="*/ 242126 h 450627"/>
                <a:gd name="connsiteX71" fmla="*/ 59531 w 641413"/>
                <a:gd name="connsiteY71" fmla="*/ 244602 h 450627"/>
                <a:gd name="connsiteX72" fmla="*/ 59246 w 641413"/>
                <a:gd name="connsiteY72" fmla="*/ 228314 h 450627"/>
                <a:gd name="connsiteX73" fmla="*/ 55150 w 641413"/>
                <a:gd name="connsiteY73" fmla="*/ 225266 h 450627"/>
                <a:gd name="connsiteX74" fmla="*/ 52197 w 641413"/>
                <a:gd name="connsiteY74" fmla="*/ 216598 h 450627"/>
                <a:gd name="connsiteX75" fmla="*/ 46863 w 641413"/>
                <a:gd name="connsiteY75" fmla="*/ 217265 h 450627"/>
                <a:gd name="connsiteX76" fmla="*/ 38100 w 641413"/>
                <a:gd name="connsiteY76" fmla="*/ 220313 h 450627"/>
                <a:gd name="connsiteX77" fmla="*/ 36862 w 641413"/>
                <a:gd name="connsiteY77" fmla="*/ 211360 h 450627"/>
                <a:gd name="connsiteX78" fmla="*/ 16669 w 641413"/>
                <a:gd name="connsiteY78" fmla="*/ 210407 h 450627"/>
                <a:gd name="connsiteX79" fmla="*/ 14002 w 641413"/>
                <a:gd name="connsiteY79" fmla="*/ 218027 h 450627"/>
                <a:gd name="connsiteX80" fmla="*/ 10668 w 641413"/>
                <a:gd name="connsiteY80" fmla="*/ 220313 h 450627"/>
                <a:gd name="connsiteX81" fmla="*/ 8191 w 641413"/>
                <a:gd name="connsiteY81" fmla="*/ 215170 h 450627"/>
                <a:gd name="connsiteX82" fmla="*/ 7620 w 641413"/>
                <a:gd name="connsiteY82" fmla="*/ 211646 h 450627"/>
                <a:gd name="connsiteX83" fmla="*/ 12097 w 641413"/>
                <a:gd name="connsiteY83" fmla="*/ 203740 h 450627"/>
                <a:gd name="connsiteX84" fmla="*/ 11621 w 641413"/>
                <a:gd name="connsiteY84" fmla="*/ 200216 h 450627"/>
                <a:gd name="connsiteX85" fmla="*/ 16383 w 641413"/>
                <a:gd name="connsiteY85" fmla="*/ 194120 h 450627"/>
                <a:gd name="connsiteX86" fmla="*/ 19240 w 641413"/>
                <a:gd name="connsiteY86" fmla="*/ 188309 h 450627"/>
                <a:gd name="connsiteX87" fmla="*/ 17526 w 641413"/>
                <a:gd name="connsiteY87" fmla="*/ 175831 h 450627"/>
                <a:gd name="connsiteX88" fmla="*/ 15335 w 641413"/>
                <a:gd name="connsiteY88" fmla="*/ 172498 h 450627"/>
                <a:gd name="connsiteX89" fmla="*/ 16192 w 641413"/>
                <a:gd name="connsiteY89" fmla="*/ 165163 h 450627"/>
                <a:gd name="connsiteX90" fmla="*/ 12097 w 641413"/>
                <a:gd name="connsiteY90" fmla="*/ 162116 h 450627"/>
                <a:gd name="connsiteX91" fmla="*/ 6477 w 641413"/>
                <a:gd name="connsiteY91" fmla="*/ 160972 h 450627"/>
                <a:gd name="connsiteX92" fmla="*/ 2096 w 641413"/>
                <a:gd name="connsiteY92" fmla="*/ 141637 h 450627"/>
                <a:gd name="connsiteX93" fmla="*/ 0 w 641413"/>
                <a:gd name="connsiteY93" fmla="*/ 140113 h 450627"/>
                <a:gd name="connsiteX94" fmla="*/ 29908 w 641413"/>
                <a:gd name="connsiteY94" fmla="*/ 130683 h 450627"/>
                <a:gd name="connsiteX95" fmla="*/ 27813 w 641413"/>
                <a:gd name="connsiteY95" fmla="*/ 129159 h 450627"/>
                <a:gd name="connsiteX96" fmla="*/ 25336 w 641413"/>
                <a:gd name="connsiteY96" fmla="*/ 124016 h 450627"/>
                <a:gd name="connsiteX97" fmla="*/ 29813 w 641413"/>
                <a:gd name="connsiteY97" fmla="*/ 116205 h 450627"/>
                <a:gd name="connsiteX98" fmla="*/ 28575 w 641413"/>
                <a:gd name="connsiteY98" fmla="*/ 107347 h 450627"/>
                <a:gd name="connsiteX99" fmla="*/ 20288 w 641413"/>
                <a:gd name="connsiteY99" fmla="*/ 99346 h 450627"/>
                <a:gd name="connsiteX100" fmla="*/ 18002 w 641413"/>
                <a:gd name="connsiteY100" fmla="*/ 96012 h 450627"/>
                <a:gd name="connsiteX101" fmla="*/ 19050 w 641413"/>
                <a:gd name="connsiteY101" fmla="*/ 90488 h 450627"/>
                <a:gd name="connsiteX102" fmla="*/ 21717 w 641413"/>
                <a:gd name="connsiteY102" fmla="*/ 82868 h 450627"/>
                <a:gd name="connsiteX103" fmla="*/ 30004 w 641413"/>
                <a:gd name="connsiteY103" fmla="*/ 76295 h 450627"/>
                <a:gd name="connsiteX104" fmla="*/ 38957 w 641413"/>
                <a:gd name="connsiteY104" fmla="*/ 75152 h 450627"/>
                <a:gd name="connsiteX105" fmla="*/ 47054 w 641413"/>
                <a:gd name="connsiteY105" fmla="*/ 66770 h 450627"/>
                <a:gd name="connsiteX106" fmla="*/ 51911 w 641413"/>
                <a:gd name="connsiteY106" fmla="*/ 62579 h 450627"/>
                <a:gd name="connsiteX107" fmla="*/ 54864 w 641413"/>
                <a:gd name="connsiteY107" fmla="*/ 56674 h 450627"/>
                <a:gd name="connsiteX108" fmla="*/ 59722 w 641413"/>
                <a:gd name="connsiteY108" fmla="*/ 52483 h 450627"/>
                <a:gd name="connsiteX109" fmla="*/ 61055 w 641413"/>
                <a:gd name="connsiteY109" fmla="*/ 48578 h 450627"/>
                <a:gd name="connsiteX110" fmla="*/ 62389 w 641413"/>
                <a:gd name="connsiteY110" fmla="*/ 44863 h 450627"/>
                <a:gd name="connsiteX111" fmla="*/ 64675 w 641413"/>
                <a:gd name="connsiteY111" fmla="*/ 48101 h 450627"/>
                <a:gd name="connsiteX112" fmla="*/ 68866 w 641413"/>
                <a:gd name="connsiteY112" fmla="*/ 38576 h 450627"/>
                <a:gd name="connsiteX113" fmla="*/ 75533 w 641413"/>
                <a:gd name="connsiteY113" fmla="*/ 34004 h 450627"/>
                <a:gd name="connsiteX114" fmla="*/ 84296 w 641413"/>
                <a:gd name="connsiteY114" fmla="*/ 31052 h 450627"/>
                <a:gd name="connsiteX115" fmla="*/ 89916 w 641413"/>
                <a:gd name="connsiteY115" fmla="*/ 32099 h 450627"/>
                <a:gd name="connsiteX116" fmla="*/ 101060 w 641413"/>
                <a:gd name="connsiteY116" fmla="*/ 19717 h 450627"/>
                <a:gd name="connsiteX117" fmla="*/ 116776 w 641413"/>
                <a:gd name="connsiteY117" fmla="*/ 14097 h 450627"/>
                <a:gd name="connsiteX118" fmla="*/ 132683 w 641413"/>
                <a:gd name="connsiteY118" fmla="*/ 10096 h 450627"/>
                <a:gd name="connsiteX119" fmla="*/ 148399 w 641413"/>
                <a:gd name="connsiteY119" fmla="*/ 4477 h 450627"/>
                <a:gd name="connsiteX120" fmla="*/ 152686 w 641413"/>
                <a:gd name="connsiteY120" fmla="*/ 9239 h 450627"/>
                <a:gd name="connsiteX121" fmla="*/ 163258 w 641413"/>
                <a:gd name="connsiteY121" fmla="*/ 6096 h 450627"/>
                <a:gd name="connsiteX122" fmla="*/ 164592 w 641413"/>
                <a:gd name="connsiteY122" fmla="*/ 2286 h 450627"/>
                <a:gd name="connsiteX123" fmla="*/ 167926 w 641413"/>
                <a:gd name="connsiteY123" fmla="*/ 0 h 450627"/>
                <a:gd name="connsiteX124" fmla="*/ 180784 w 641413"/>
                <a:gd name="connsiteY124" fmla="*/ 14669 h 450627"/>
                <a:gd name="connsiteX125" fmla="*/ 188976 w 641413"/>
                <a:gd name="connsiteY125" fmla="*/ 20860 h 450627"/>
                <a:gd name="connsiteX126" fmla="*/ 203835 w 641413"/>
                <a:gd name="connsiteY126" fmla="*/ 36957 h 450627"/>
                <a:gd name="connsiteX127" fmla="*/ 202311 w 641413"/>
                <a:gd name="connsiteY127" fmla="*/ 38957 h 450627"/>
                <a:gd name="connsiteX128" fmla="*/ 204311 w 641413"/>
                <a:gd name="connsiteY128" fmla="*/ 40577 h 450627"/>
                <a:gd name="connsiteX129" fmla="*/ 211074 w 641413"/>
                <a:gd name="connsiteY129" fmla="*/ 36004 h 450627"/>
                <a:gd name="connsiteX130" fmla="*/ 214884 w 641413"/>
                <a:gd name="connsiteY130" fmla="*/ 37338 h 450627"/>
                <a:gd name="connsiteX131" fmla="*/ 219456 w 641413"/>
                <a:gd name="connsiteY131" fmla="*/ 44005 h 450627"/>
                <a:gd name="connsiteX132" fmla="*/ 218122 w 641413"/>
                <a:gd name="connsiteY132" fmla="*/ 47816 h 450627"/>
                <a:gd name="connsiteX133" fmla="*/ 222218 w 641413"/>
                <a:gd name="connsiteY133" fmla="*/ 50863 h 450627"/>
                <a:gd name="connsiteX134" fmla="*/ 228981 w 641413"/>
                <a:gd name="connsiteY134" fmla="*/ 60865 h 450627"/>
                <a:gd name="connsiteX135" fmla="*/ 230791 w 641413"/>
                <a:gd name="connsiteY135" fmla="*/ 60579 h 450627"/>
                <a:gd name="connsiteX136" fmla="*/ 232315 w 641413"/>
                <a:gd name="connsiteY136" fmla="*/ 58579 h 450627"/>
                <a:gd name="connsiteX137" fmla="*/ 234601 w 641413"/>
                <a:gd name="connsiteY137" fmla="*/ 61913 h 450627"/>
                <a:gd name="connsiteX138" fmla="*/ 238792 w 641413"/>
                <a:gd name="connsiteY138" fmla="*/ 79534 h 450627"/>
                <a:gd name="connsiteX139" fmla="*/ 243459 w 641413"/>
                <a:gd name="connsiteY139" fmla="*/ 73438 h 450627"/>
                <a:gd name="connsiteX140" fmla="*/ 255365 w 641413"/>
                <a:gd name="connsiteY140" fmla="*/ 80963 h 450627"/>
                <a:gd name="connsiteX141" fmla="*/ 253555 w 641413"/>
                <a:gd name="connsiteY141" fmla="*/ 81153 h 450627"/>
                <a:gd name="connsiteX142" fmla="*/ 255651 w 641413"/>
                <a:gd name="connsiteY142" fmla="*/ 82677 h 450627"/>
                <a:gd name="connsiteX143" fmla="*/ 250984 w 641413"/>
                <a:gd name="connsiteY143" fmla="*/ 88773 h 450627"/>
                <a:gd name="connsiteX144" fmla="*/ 260128 w 641413"/>
                <a:gd name="connsiteY144" fmla="*/ 89345 h 450627"/>
                <a:gd name="connsiteX145" fmla="*/ 263271 w 641413"/>
                <a:gd name="connsiteY145" fmla="*/ 85344 h 450627"/>
                <a:gd name="connsiteX146" fmla="*/ 273367 w 641413"/>
                <a:gd name="connsiteY146" fmla="*/ 78581 h 450627"/>
                <a:gd name="connsiteX147" fmla="*/ 278987 w 641413"/>
                <a:gd name="connsiteY147" fmla="*/ 79629 h 450627"/>
                <a:gd name="connsiteX148" fmla="*/ 287846 w 641413"/>
                <a:gd name="connsiteY148" fmla="*/ 63913 h 450627"/>
                <a:gd name="connsiteX149" fmla="*/ 292989 w 641413"/>
                <a:gd name="connsiteY149" fmla="*/ 61436 h 450627"/>
                <a:gd name="connsiteX150" fmla="*/ 297942 w 641413"/>
                <a:gd name="connsiteY150" fmla="*/ 57150 h 450627"/>
                <a:gd name="connsiteX151" fmla="*/ 308991 w 641413"/>
                <a:gd name="connsiteY151" fmla="*/ 57531 h 450627"/>
                <a:gd name="connsiteX152" fmla="*/ 314801 w 641413"/>
                <a:gd name="connsiteY152" fmla="*/ 60388 h 450627"/>
                <a:gd name="connsiteX153" fmla="*/ 318897 w 641413"/>
                <a:gd name="connsiteY153" fmla="*/ 63437 h 450627"/>
                <a:gd name="connsiteX154" fmla="*/ 323564 w 641413"/>
                <a:gd name="connsiteY154" fmla="*/ 57436 h 450627"/>
                <a:gd name="connsiteX155" fmla="*/ 330708 w 641413"/>
                <a:gd name="connsiteY155" fmla="*/ 56483 h 450627"/>
                <a:gd name="connsiteX156" fmla="*/ 336328 w 641413"/>
                <a:gd name="connsiteY156" fmla="*/ 57531 h 450627"/>
                <a:gd name="connsiteX157" fmla="*/ 336137 w 641413"/>
                <a:gd name="connsiteY157" fmla="*/ 55721 h 450627"/>
                <a:gd name="connsiteX158" fmla="*/ 341281 w 641413"/>
                <a:gd name="connsiteY158" fmla="*/ 53245 h 450627"/>
                <a:gd name="connsiteX159" fmla="*/ 352806 w 641413"/>
                <a:gd name="connsiteY159" fmla="*/ 57150 h 450627"/>
                <a:gd name="connsiteX160" fmla="*/ 353853 w 641413"/>
                <a:gd name="connsiteY160" fmla="*/ 51626 h 450627"/>
                <a:gd name="connsiteX161" fmla="*/ 356711 w 641413"/>
                <a:gd name="connsiteY161" fmla="*/ 45720 h 450627"/>
                <a:gd name="connsiteX162" fmla="*/ 363664 w 641413"/>
                <a:gd name="connsiteY162" fmla="*/ 43053 h 450627"/>
                <a:gd name="connsiteX163" fmla="*/ 373380 w 641413"/>
                <a:gd name="connsiteY163" fmla="*/ 47149 h 450627"/>
                <a:gd name="connsiteX164" fmla="*/ 380333 w 641413"/>
                <a:gd name="connsiteY164" fmla="*/ 44482 h 450627"/>
                <a:gd name="connsiteX165" fmla="*/ 389763 w 641413"/>
                <a:gd name="connsiteY165" fmla="*/ 46863 h 450627"/>
                <a:gd name="connsiteX166" fmla="*/ 394049 w 641413"/>
                <a:gd name="connsiteY166" fmla="*/ 51721 h 450627"/>
                <a:gd name="connsiteX167" fmla="*/ 395478 w 641413"/>
                <a:gd name="connsiteY167" fmla="*/ 62389 h 450627"/>
                <a:gd name="connsiteX168" fmla="*/ 400050 w 641413"/>
                <a:gd name="connsiteY168" fmla="*/ 69056 h 450627"/>
                <a:gd name="connsiteX169" fmla="*/ 384620 w 641413"/>
                <a:gd name="connsiteY169" fmla="*/ 76581 h 450627"/>
                <a:gd name="connsiteX170" fmla="*/ 387096 w 641413"/>
                <a:gd name="connsiteY170" fmla="*/ 81629 h 450627"/>
                <a:gd name="connsiteX171" fmla="*/ 385953 w 641413"/>
                <a:gd name="connsiteY171" fmla="*/ 87249 h 450627"/>
                <a:gd name="connsiteX172" fmla="*/ 383953 w 641413"/>
                <a:gd name="connsiteY172" fmla="*/ 85630 h 450627"/>
                <a:gd name="connsiteX173" fmla="*/ 378809 w 641413"/>
                <a:gd name="connsiteY173" fmla="*/ 88106 h 450627"/>
                <a:gd name="connsiteX174" fmla="*/ 377285 w 641413"/>
                <a:gd name="connsiteY174" fmla="*/ 90202 h 450627"/>
                <a:gd name="connsiteX175" fmla="*/ 379286 w 641413"/>
                <a:gd name="connsiteY175" fmla="*/ 91726 h 450627"/>
                <a:gd name="connsiteX176" fmla="*/ 379762 w 641413"/>
                <a:gd name="connsiteY176" fmla="*/ 95250 h 450627"/>
                <a:gd name="connsiteX177" fmla="*/ 374809 w 641413"/>
                <a:gd name="connsiteY177" fmla="*/ 99536 h 450627"/>
                <a:gd name="connsiteX178" fmla="*/ 378904 w 641413"/>
                <a:gd name="connsiteY178" fmla="*/ 102679 h 450627"/>
                <a:gd name="connsiteX179" fmla="*/ 377571 w 641413"/>
                <a:gd name="connsiteY179" fmla="*/ 106489 h 450627"/>
                <a:gd name="connsiteX180" fmla="*/ 383191 w 641413"/>
                <a:gd name="connsiteY180" fmla="*/ 107537 h 450627"/>
                <a:gd name="connsiteX181" fmla="*/ 386525 w 641413"/>
                <a:gd name="connsiteY181" fmla="*/ 105251 h 450627"/>
                <a:gd name="connsiteX182" fmla="*/ 388811 w 641413"/>
                <a:gd name="connsiteY182" fmla="*/ 108585 h 450627"/>
                <a:gd name="connsiteX183" fmla="*/ 385476 w 641413"/>
                <a:gd name="connsiteY183" fmla="*/ 110871 h 450627"/>
                <a:gd name="connsiteX184" fmla="*/ 391287 w 641413"/>
                <a:gd name="connsiteY184" fmla="*/ 113729 h 450627"/>
                <a:gd name="connsiteX185" fmla="*/ 390239 w 641413"/>
                <a:gd name="connsiteY185" fmla="*/ 119253 h 450627"/>
                <a:gd name="connsiteX186" fmla="*/ 392716 w 641413"/>
                <a:gd name="connsiteY186" fmla="*/ 124396 h 450627"/>
                <a:gd name="connsiteX187" fmla="*/ 395478 w 641413"/>
                <a:gd name="connsiteY187" fmla="*/ 131254 h 450627"/>
                <a:gd name="connsiteX188" fmla="*/ 397287 w 641413"/>
                <a:gd name="connsiteY188" fmla="*/ 131064 h 450627"/>
                <a:gd name="connsiteX189" fmla="*/ 395764 w 641413"/>
                <a:gd name="connsiteY189" fmla="*/ 133064 h 450627"/>
                <a:gd name="connsiteX190" fmla="*/ 399764 w 641413"/>
                <a:gd name="connsiteY190" fmla="*/ 136112 h 450627"/>
                <a:gd name="connsiteX191" fmla="*/ 406718 w 641413"/>
                <a:gd name="connsiteY191" fmla="*/ 133445 h 450627"/>
                <a:gd name="connsiteX192" fmla="*/ 417766 w 641413"/>
                <a:gd name="connsiteY192" fmla="*/ 133826 h 450627"/>
                <a:gd name="connsiteX193" fmla="*/ 419767 w 641413"/>
                <a:gd name="connsiteY193" fmla="*/ 135350 h 450627"/>
                <a:gd name="connsiteX194" fmla="*/ 424053 w 641413"/>
                <a:gd name="connsiteY194" fmla="*/ 140208 h 450627"/>
                <a:gd name="connsiteX195" fmla="*/ 428149 w 641413"/>
                <a:gd name="connsiteY195" fmla="*/ 143256 h 450627"/>
                <a:gd name="connsiteX196" fmla="*/ 427006 w 641413"/>
                <a:gd name="connsiteY196" fmla="*/ 148876 h 450627"/>
                <a:gd name="connsiteX197" fmla="*/ 429577 w 641413"/>
                <a:gd name="connsiteY197" fmla="*/ 154019 h 450627"/>
                <a:gd name="connsiteX198" fmla="*/ 427101 w 641413"/>
                <a:gd name="connsiteY198" fmla="*/ 163354 h 450627"/>
                <a:gd name="connsiteX199" fmla="*/ 428530 w 641413"/>
                <a:gd name="connsiteY199" fmla="*/ 174022 h 450627"/>
                <a:gd name="connsiteX200" fmla="*/ 440912 w 641413"/>
                <a:gd name="connsiteY200" fmla="*/ 170593 h 450627"/>
                <a:gd name="connsiteX201" fmla="*/ 441103 w 641413"/>
                <a:gd name="connsiteY201" fmla="*/ 172403 h 450627"/>
                <a:gd name="connsiteX202" fmla="*/ 446532 w 641413"/>
                <a:gd name="connsiteY202" fmla="*/ 171736 h 450627"/>
                <a:gd name="connsiteX203" fmla="*/ 451390 w 641413"/>
                <a:gd name="connsiteY203" fmla="*/ 167354 h 450627"/>
                <a:gd name="connsiteX204" fmla="*/ 456819 w 641413"/>
                <a:gd name="connsiteY204" fmla="*/ 166688 h 450627"/>
                <a:gd name="connsiteX205" fmla="*/ 456152 w 641413"/>
                <a:gd name="connsiteY205" fmla="*/ 161354 h 450627"/>
                <a:gd name="connsiteX206" fmla="*/ 463105 w 641413"/>
                <a:gd name="connsiteY206" fmla="*/ 158591 h 450627"/>
                <a:gd name="connsiteX207" fmla="*/ 460534 w 641413"/>
                <a:gd name="connsiteY207" fmla="*/ 153543 h 450627"/>
                <a:gd name="connsiteX208" fmla="*/ 463962 w 641413"/>
                <a:gd name="connsiteY208" fmla="*/ 151257 h 450627"/>
                <a:gd name="connsiteX209" fmla="*/ 467773 w 641413"/>
                <a:gd name="connsiteY209" fmla="*/ 152495 h 450627"/>
                <a:gd name="connsiteX210" fmla="*/ 469106 w 641413"/>
                <a:gd name="connsiteY210" fmla="*/ 148780 h 450627"/>
                <a:gd name="connsiteX211" fmla="*/ 474726 w 641413"/>
                <a:gd name="connsiteY211" fmla="*/ 149828 h 450627"/>
                <a:gd name="connsiteX212" fmla="*/ 476726 w 641413"/>
                <a:gd name="connsiteY212" fmla="*/ 151352 h 450627"/>
                <a:gd name="connsiteX213" fmla="*/ 491109 w 641413"/>
                <a:gd name="connsiteY213" fmla="*/ 149447 h 450627"/>
                <a:gd name="connsiteX214" fmla="*/ 497586 w 641413"/>
                <a:gd name="connsiteY214" fmla="*/ 143161 h 450627"/>
                <a:gd name="connsiteX215" fmla="*/ 495109 w 641413"/>
                <a:gd name="connsiteY215" fmla="*/ 138017 h 450627"/>
                <a:gd name="connsiteX216" fmla="*/ 498443 w 641413"/>
                <a:gd name="connsiteY216" fmla="*/ 135827 h 450627"/>
                <a:gd name="connsiteX217" fmla="*/ 502825 w 641413"/>
                <a:gd name="connsiteY217" fmla="*/ 127921 h 450627"/>
                <a:gd name="connsiteX218" fmla="*/ 504634 w 641413"/>
                <a:gd name="connsiteY218" fmla="*/ 127730 h 450627"/>
                <a:gd name="connsiteX219" fmla="*/ 505396 w 641413"/>
                <a:gd name="connsiteY219" fmla="*/ 133064 h 450627"/>
                <a:gd name="connsiteX220" fmla="*/ 511493 w 641413"/>
                <a:gd name="connsiteY220" fmla="*/ 137731 h 450627"/>
                <a:gd name="connsiteX221" fmla="*/ 511683 w 641413"/>
                <a:gd name="connsiteY221" fmla="*/ 139446 h 450627"/>
                <a:gd name="connsiteX222" fmla="*/ 515302 w 641413"/>
                <a:gd name="connsiteY222" fmla="*/ 138970 h 450627"/>
                <a:gd name="connsiteX223" fmla="*/ 515493 w 641413"/>
                <a:gd name="connsiteY223" fmla="*/ 140779 h 450627"/>
                <a:gd name="connsiteX224" fmla="*/ 517112 w 641413"/>
                <a:gd name="connsiteY224" fmla="*/ 138779 h 450627"/>
                <a:gd name="connsiteX225" fmla="*/ 514635 w 641413"/>
                <a:gd name="connsiteY225" fmla="*/ 133636 h 450627"/>
                <a:gd name="connsiteX226" fmla="*/ 522541 w 641413"/>
                <a:gd name="connsiteY226" fmla="*/ 138017 h 450627"/>
                <a:gd name="connsiteX227" fmla="*/ 527018 w 641413"/>
                <a:gd name="connsiteY227" fmla="*/ 144685 h 450627"/>
                <a:gd name="connsiteX228" fmla="*/ 531971 w 641413"/>
                <a:gd name="connsiteY228" fmla="*/ 140398 h 450627"/>
                <a:gd name="connsiteX229" fmla="*/ 535971 w 641413"/>
                <a:gd name="connsiteY229" fmla="*/ 143542 h 450627"/>
                <a:gd name="connsiteX230" fmla="*/ 535114 w 641413"/>
                <a:gd name="connsiteY230" fmla="*/ 150876 h 450627"/>
                <a:gd name="connsiteX231" fmla="*/ 541020 w 641413"/>
                <a:gd name="connsiteY231" fmla="*/ 153734 h 450627"/>
                <a:gd name="connsiteX232" fmla="*/ 539877 w 641413"/>
                <a:gd name="connsiteY232" fmla="*/ 159353 h 450627"/>
                <a:gd name="connsiteX233" fmla="*/ 547306 w 641413"/>
                <a:gd name="connsiteY233" fmla="*/ 160115 h 450627"/>
                <a:gd name="connsiteX234" fmla="*/ 550736 w 641413"/>
                <a:gd name="connsiteY234" fmla="*/ 157925 h 450627"/>
                <a:gd name="connsiteX235" fmla="*/ 554545 w 641413"/>
                <a:gd name="connsiteY235" fmla="*/ 159258 h 450627"/>
                <a:gd name="connsiteX236" fmla="*/ 562165 w 641413"/>
                <a:gd name="connsiteY236" fmla="*/ 161830 h 450627"/>
                <a:gd name="connsiteX237" fmla="*/ 562832 w 641413"/>
                <a:gd name="connsiteY237" fmla="*/ 167164 h 450627"/>
                <a:gd name="connsiteX238" fmla="*/ 569023 w 641413"/>
                <a:gd name="connsiteY238" fmla="*/ 171831 h 450627"/>
                <a:gd name="connsiteX239" fmla="*/ 574167 w 641413"/>
                <a:gd name="connsiteY239" fmla="*/ 169259 h 450627"/>
                <a:gd name="connsiteX240" fmla="*/ 574643 w 641413"/>
                <a:gd name="connsiteY240" fmla="*/ 172879 h 450627"/>
                <a:gd name="connsiteX241" fmla="*/ 578168 w 641413"/>
                <a:gd name="connsiteY241" fmla="*/ 172403 h 450627"/>
                <a:gd name="connsiteX242" fmla="*/ 585121 w 641413"/>
                <a:gd name="connsiteY242" fmla="*/ 169640 h 450627"/>
                <a:gd name="connsiteX243" fmla="*/ 588264 w 641413"/>
                <a:gd name="connsiteY243" fmla="*/ 165640 h 450627"/>
                <a:gd name="connsiteX244" fmla="*/ 588264 w 641413"/>
                <a:gd name="connsiteY244" fmla="*/ 165640 h 450627"/>
                <a:gd name="connsiteX245" fmla="*/ 593693 w 641413"/>
                <a:gd name="connsiteY245" fmla="*/ 164878 h 450627"/>
                <a:gd name="connsiteX246" fmla="*/ 606266 w 641413"/>
                <a:gd name="connsiteY246" fmla="*/ 163259 h 450627"/>
                <a:gd name="connsiteX247" fmla="*/ 613886 w 641413"/>
                <a:gd name="connsiteY247" fmla="*/ 165830 h 450627"/>
                <a:gd name="connsiteX248" fmla="*/ 611505 w 641413"/>
                <a:gd name="connsiteY248" fmla="*/ 175260 h 450627"/>
                <a:gd name="connsiteX249" fmla="*/ 613124 w 641413"/>
                <a:gd name="connsiteY249" fmla="*/ 187738 h 450627"/>
                <a:gd name="connsiteX250" fmla="*/ 610457 w 641413"/>
                <a:gd name="connsiteY250" fmla="*/ 195263 h 450627"/>
                <a:gd name="connsiteX251" fmla="*/ 621125 w 641413"/>
                <a:gd name="connsiteY251" fmla="*/ 206597 h 450627"/>
                <a:gd name="connsiteX252" fmla="*/ 632841 w 641413"/>
                <a:gd name="connsiteY252" fmla="*/ 212312 h 450627"/>
                <a:gd name="connsiteX253" fmla="*/ 633793 w 641413"/>
                <a:gd name="connsiteY253" fmla="*/ 219456 h 450627"/>
                <a:gd name="connsiteX254" fmla="*/ 641413 w 641413"/>
                <a:gd name="connsiteY254" fmla="*/ 222028 h 450627"/>
                <a:gd name="connsiteX255" fmla="*/ 636556 w 641413"/>
                <a:gd name="connsiteY255" fmla="*/ 226314 h 450627"/>
                <a:gd name="connsiteX256" fmla="*/ 635412 w 641413"/>
                <a:gd name="connsiteY256" fmla="*/ 231838 h 450627"/>
                <a:gd name="connsiteX257" fmla="*/ 638842 w 641413"/>
                <a:gd name="connsiteY257" fmla="*/ 244126 h 450627"/>
                <a:gd name="connsiteX258" fmla="*/ 636651 w 641413"/>
                <a:gd name="connsiteY258" fmla="*/ 255270 h 450627"/>
                <a:gd name="connsiteX259" fmla="*/ 630460 w 641413"/>
                <a:gd name="connsiteY259" fmla="*/ 263366 h 450627"/>
                <a:gd name="connsiteX260" fmla="*/ 626745 w 641413"/>
                <a:gd name="connsiteY260" fmla="*/ 276606 h 450627"/>
                <a:gd name="connsiteX261" fmla="*/ 625887 w 641413"/>
                <a:gd name="connsiteY261" fmla="*/ 283940 h 450627"/>
                <a:gd name="connsiteX262" fmla="*/ 629031 w 641413"/>
                <a:gd name="connsiteY262" fmla="*/ 294322 h 450627"/>
                <a:gd name="connsiteX263" fmla="*/ 627983 w 641413"/>
                <a:gd name="connsiteY263" fmla="*/ 299942 h 450627"/>
                <a:gd name="connsiteX264" fmla="*/ 623506 w 641413"/>
                <a:gd name="connsiteY264" fmla="*/ 307753 h 450627"/>
                <a:gd name="connsiteX265" fmla="*/ 617125 w 641413"/>
                <a:gd name="connsiteY265" fmla="*/ 328613 h 450627"/>
                <a:gd name="connsiteX266" fmla="*/ 615219 w 641413"/>
                <a:gd name="connsiteY266" fmla="*/ 341567 h 450627"/>
                <a:gd name="connsiteX267" fmla="*/ 601503 w 641413"/>
                <a:gd name="connsiteY267" fmla="*/ 348805 h 450627"/>
                <a:gd name="connsiteX268" fmla="*/ 586264 w 641413"/>
                <a:gd name="connsiteY268" fmla="*/ 343567 h 450627"/>
                <a:gd name="connsiteX269" fmla="*/ 573691 w 641413"/>
                <a:gd name="connsiteY269" fmla="*/ 345186 h 450627"/>
                <a:gd name="connsiteX270" fmla="*/ 555212 w 641413"/>
                <a:gd name="connsiteY270" fmla="*/ 344043 h 450627"/>
                <a:gd name="connsiteX271" fmla="*/ 553688 w 641413"/>
                <a:gd name="connsiteY271" fmla="*/ 346043 h 450627"/>
                <a:gd name="connsiteX272" fmla="*/ 550354 w 641413"/>
                <a:gd name="connsiteY272" fmla="*/ 348329 h 450627"/>
                <a:gd name="connsiteX273" fmla="*/ 522922 w 641413"/>
                <a:gd name="connsiteY273" fmla="*/ 348329 h 450627"/>
                <a:gd name="connsiteX274" fmla="*/ 522732 w 641413"/>
                <a:gd name="connsiteY274" fmla="*/ 360997 h 450627"/>
                <a:gd name="connsiteX275" fmla="*/ 517874 w 641413"/>
                <a:gd name="connsiteY275" fmla="*/ 365284 h 450627"/>
                <a:gd name="connsiteX276" fmla="*/ 512445 w 641413"/>
                <a:gd name="connsiteY276" fmla="*/ 366046 h 450627"/>
                <a:gd name="connsiteX277" fmla="*/ 499681 w 641413"/>
                <a:gd name="connsiteY277" fmla="*/ 380429 h 450627"/>
                <a:gd name="connsiteX278" fmla="*/ 492347 w 641413"/>
                <a:gd name="connsiteY278" fmla="*/ 394049 h 450627"/>
                <a:gd name="connsiteX279" fmla="*/ 492823 w 641413"/>
                <a:gd name="connsiteY279" fmla="*/ 397573 h 450627"/>
                <a:gd name="connsiteX280" fmla="*/ 487966 w 641413"/>
                <a:gd name="connsiteY280" fmla="*/ 401860 h 450627"/>
                <a:gd name="connsiteX281" fmla="*/ 486632 w 641413"/>
                <a:gd name="connsiteY281" fmla="*/ 405670 h 450627"/>
                <a:gd name="connsiteX282" fmla="*/ 481965 w 641413"/>
                <a:gd name="connsiteY282" fmla="*/ 411766 h 450627"/>
                <a:gd name="connsiteX283" fmla="*/ 468725 w 641413"/>
                <a:gd name="connsiteY283" fmla="*/ 422529 h 450627"/>
                <a:gd name="connsiteX284" fmla="*/ 464344 w 641413"/>
                <a:gd name="connsiteY284" fmla="*/ 430435 h 450627"/>
                <a:gd name="connsiteX285" fmla="*/ 454723 w 641413"/>
                <a:gd name="connsiteY285" fmla="*/ 440722 h 450627"/>
                <a:gd name="connsiteX286" fmla="*/ 441674 w 641413"/>
                <a:gd name="connsiteY286" fmla="*/ 438817 h 450627"/>
                <a:gd name="connsiteX287" fmla="*/ 436245 w 641413"/>
                <a:gd name="connsiteY287" fmla="*/ 439484 h 450627"/>
                <a:gd name="connsiteX288" fmla="*/ 433101 w 641413"/>
                <a:gd name="connsiteY288" fmla="*/ 443579 h 450627"/>
                <a:gd name="connsiteX289" fmla="*/ 427768 w 641413"/>
                <a:gd name="connsiteY289" fmla="*/ 444246 h 450627"/>
                <a:gd name="connsiteX290" fmla="*/ 421291 w 641413"/>
                <a:gd name="connsiteY290" fmla="*/ 450628 h 450627"/>
                <a:gd name="connsiteX291" fmla="*/ 411861 w 641413"/>
                <a:gd name="connsiteY291" fmla="*/ 448246 h 450627"/>
                <a:gd name="connsiteX292" fmla="*/ 402812 w 641413"/>
                <a:gd name="connsiteY292" fmla="*/ 449389 h 450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</a:cxnLst>
              <a:rect l="l" t="t" r="r" b="b"/>
              <a:pathLst>
                <a:path w="641413" h="450627">
                  <a:moveTo>
                    <a:pt x="402812" y="449389"/>
                  </a:moveTo>
                  <a:lnTo>
                    <a:pt x="393096" y="430721"/>
                  </a:lnTo>
                  <a:lnTo>
                    <a:pt x="392144" y="423577"/>
                  </a:lnTo>
                  <a:lnTo>
                    <a:pt x="393954" y="423386"/>
                  </a:lnTo>
                  <a:lnTo>
                    <a:pt x="393668" y="421577"/>
                  </a:lnTo>
                  <a:lnTo>
                    <a:pt x="395001" y="417862"/>
                  </a:lnTo>
                  <a:lnTo>
                    <a:pt x="386048" y="419005"/>
                  </a:lnTo>
                  <a:lnTo>
                    <a:pt x="381952" y="415862"/>
                  </a:lnTo>
                  <a:lnTo>
                    <a:pt x="383286" y="412147"/>
                  </a:lnTo>
                  <a:lnTo>
                    <a:pt x="374237" y="398812"/>
                  </a:lnTo>
                  <a:lnTo>
                    <a:pt x="360140" y="375285"/>
                  </a:lnTo>
                  <a:lnTo>
                    <a:pt x="345757" y="377190"/>
                  </a:lnTo>
                  <a:lnTo>
                    <a:pt x="325184" y="359950"/>
                  </a:lnTo>
                  <a:lnTo>
                    <a:pt x="319850" y="360712"/>
                  </a:lnTo>
                  <a:lnTo>
                    <a:pt x="311562" y="367189"/>
                  </a:lnTo>
                  <a:lnTo>
                    <a:pt x="301657" y="361283"/>
                  </a:lnTo>
                  <a:lnTo>
                    <a:pt x="310039" y="342043"/>
                  </a:lnTo>
                  <a:lnTo>
                    <a:pt x="310896" y="334709"/>
                  </a:lnTo>
                  <a:lnTo>
                    <a:pt x="314039" y="330613"/>
                  </a:lnTo>
                  <a:lnTo>
                    <a:pt x="305657" y="322707"/>
                  </a:lnTo>
                  <a:lnTo>
                    <a:pt x="286226" y="314325"/>
                  </a:lnTo>
                  <a:lnTo>
                    <a:pt x="274415" y="321373"/>
                  </a:lnTo>
                  <a:lnTo>
                    <a:pt x="272129" y="318040"/>
                  </a:lnTo>
                  <a:lnTo>
                    <a:pt x="264414" y="300895"/>
                  </a:lnTo>
                  <a:lnTo>
                    <a:pt x="263842" y="310134"/>
                  </a:lnTo>
                  <a:lnTo>
                    <a:pt x="248126" y="315754"/>
                  </a:lnTo>
                  <a:lnTo>
                    <a:pt x="239744" y="307848"/>
                  </a:lnTo>
                  <a:lnTo>
                    <a:pt x="236601" y="311848"/>
                  </a:lnTo>
                  <a:lnTo>
                    <a:pt x="234315" y="308515"/>
                  </a:lnTo>
                  <a:lnTo>
                    <a:pt x="229457" y="312801"/>
                  </a:lnTo>
                  <a:lnTo>
                    <a:pt x="227647" y="313087"/>
                  </a:lnTo>
                  <a:lnTo>
                    <a:pt x="222504" y="315563"/>
                  </a:lnTo>
                  <a:lnTo>
                    <a:pt x="220408" y="314039"/>
                  </a:lnTo>
                  <a:lnTo>
                    <a:pt x="205454" y="325088"/>
                  </a:lnTo>
                  <a:lnTo>
                    <a:pt x="194786" y="313754"/>
                  </a:lnTo>
                  <a:lnTo>
                    <a:pt x="191262" y="314230"/>
                  </a:lnTo>
                  <a:lnTo>
                    <a:pt x="180594" y="302990"/>
                  </a:lnTo>
                  <a:lnTo>
                    <a:pt x="172498" y="296799"/>
                  </a:lnTo>
                  <a:lnTo>
                    <a:pt x="169069" y="284512"/>
                  </a:lnTo>
                  <a:lnTo>
                    <a:pt x="156686" y="287941"/>
                  </a:lnTo>
                  <a:lnTo>
                    <a:pt x="152495" y="297561"/>
                  </a:lnTo>
                  <a:lnTo>
                    <a:pt x="151543" y="290513"/>
                  </a:lnTo>
                  <a:lnTo>
                    <a:pt x="148209" y="292703"/>
                  </a:lnTo>
                  <a:lnTo>
                    <a:pt x="144304" y="291465"/>
                  </a:lnTo>
                  <a:lnTo>
                    <a:pt x="141256" y="295466"/>
                  </a:lnTo>
                  <a:lnTo>
                    <a:pt x="133350" y="291084"/>
                  </a:lnTo>
                  <a:lnTo>
                    <a:pt x="131350" y="289560"/>
                  </a:lnTo>
                  <a:lnTo>
                    <a:pt x="131064" y="287750"/>
                  </a:lnTo>
                  <a:lnTo>
                    <a:pt x="132397" y="283940"/>
                  </a:lnTo>
                  <a:lnTo>
                    <a:pt x="130397" y="282416"/>
                  </a:lnTo>
                  <a:lnTo>
                    <a:pt x="135064" y="276320"/>
                  </a:lnTo>
                  <a:lnTo>
                    <a:pt x="134588" y="272796"/>
                  </a:lnTo>
                  <a:lnTo>
                    <a:pt x="135636" y="267176"/>
                  </a:lnTo>
                  <a:lnTo>
                    <a:pt x="135160" y="263652"/>
                  </a:lnTo>
                  <a:lnTo>
                    <a:pt x="137541" y="254222"/>
                  </a:lnTo>
                  <a:lnTo>
                    <a:pt x="129730" y="249841"/>
                  </a:lnTo>
                  <a:lnTo>
                    <a:pt x="126587" y="253841"/>
                  </a:lnTo>
                  <a:lnTo>
                    <a:pt x="120491" y="249269"/>
                  </a:lnTo>
                  <a:lnTo>
                    <a:pt x="121825" y="245459"/>
                  </a:lnTo>
                  <a:lnTo>
                    <a:pt x="113729" y="239268"/>
                  </a:lnTo>
                  <a:lnTo>
                    <a:pt x="103632" y="246031"/>
                  </a:lnTo>
                  <a:lnTo>
                    <a:pt x="99536" y="242983"/>
                  </a:lnTo>
                  <a:lnTo>
                    <a:pt x="94392" y="245459"/>
                  </a:lnTo>
                  <a:lnTo>
                    <a:pt x="91630" y="238601"/>
                  </a:lnTo>
                  <a:lnTo>
                    <a:pt x="85820" y="235744"/>
                  </a:lnTo>
                  <a:lnTo>
                    <a:pt x="80867" y="240030"/>
                  </a:lnTo>
                  <a:lnTo>
                    <a:pt x="73438" y="239173"/>
                  </a:lnTo>
                  <a:lnTo>
                    <a:pt x="73723" y="240983"/>
                  </a:lnTo>
                  <a:lnTo>
                    <a:pt x="67818" y="238125"/>
                  </a:lnTo>
                  <a:lnTo>
                    <a:pt x="64960" y="243935"/>
                  </a:lnTo>
                  <a:lnTo>
                    <a:pt x="64675" y="242126"/>
                  </a:lnTo>
                  <a:lnTo>
                    <a:pt x="59531" y="244602"/>
                  </a:lnTo>
                  <a:lnTo>
                    <a:pt x="59246" y="228314"/>
                  </a:lnTo>
                  <a:lnTo>
                    <a:pt x="55150" y="225266"/>
                  </a:lnTo>
                  <a:lnTo>
                    <a:pt x="52197" y="216598"/>
                  </a:lnTo>
                  <a:lnTo>
                    <a:pt x="46863" y="217265"/>
                  </a:lnTo>
                  <a:lnTo>
                    <a:pt x="38100" y="220313"/>
                  </a:lnTo>
                  <a:lnTo>
                    <a:pt x="36862" y="211360"/>
                  </a:lnTo>
                  <a:lnTo>
                    <a:pt x="16669" y="210407"/>
                  </a:lnTo>
                  <a:lnTo>
                    <a:pt x="14002" y="218027"/>
                  </a:lnTo>
                  <a:lnTo>
                    <a:pt x="10668" y="220313"/>
                  </a:lnTo>
                  <a:lnTo>
                    <a:pt x="8191" y="215170"/>
                  </a:lnTo>
                  <a:lnTo>
                    <a:pt x="7620" y="211646"/>
                  </a:lnTo>
                  <a:lnTo>
                    <a:pt x="12097" y="203740"/>
                  </a:lnTo>
                  <a:lnTo>
                    <a:pt x="11621" y="200216"/>
                  </a:lnTo>
                  <a:lnTo>
                    <a:pt x="16383" y="194120"/>
                  </a:lnTo>
                  <a:lnTo>
                    <a:pt x="19240" y="188309"/>
                  </a:lnTo>
                  <a:lnTo>
                    <a:pt x="17526" y="175831"/>
                  </a:lnTo>
                  <a:lnTo>
                    <a:pt x="15335" y="172498"/>
                  </a:lnTo>
                  <a:lnTo>
                    <a:pt x="16192" y="165163"/>
                  </a:lnTo>
                  <a:lnTo>
                    <a:pt x="12097" y="162116"/>
                  </a:lnTo>
                  <a:lnTo>
                    <a:pt x="6477" y="160972"/>
                  </a:lnTo>
                  <a:lnTo>
                    <a:pt x="2096" y="141637"/>
                  </a:lnTo>
                  <a:lnTo>
                    <a:pt x="0" y="140113"/>
                  </a:lnTo>
                  <a:lnTo>
                    <a:pt x="29908" y="130683"/>
                  </a:lnTo>
                  <a:lnTo>
                    <a:pt x="27813" y="129159"/>
                  </a:lnTo>
                  <a:lnTo>
                    <a:pt x="25336" y="124016"/>
                  </a:lnTo>
                  <a:lnTo>
                    <a:pt x="29813" y="116205"/>
                  </a:lnTo>
                  <a:lnTo>
                    <a:pt x="28575" y="107347"/>
                  </a:lnTo>
                  <a:lnTo>
                    <a:pt x="20288" y="99346"/>
                  </a:lnTo>
                  <a:lnTo>
                    <a:pt x="18002" y="96012"/>
                  </a:lnTo>
                  <a:lnTo>
                    <a:pt x="19050" y="90488"/>
                  </a:lnTo>
                  <a:lnTo>
                    <a:pt x="21717" y="82868"/>
                  </a:lnTo>
                  <a:lnTo>
                    <a:pt x="30004" y="76295"/>
                  </a:lnTo>
                  <a:lnTo>
                    <a:pt x="38957" y="75152"/>
                  </a:lnTo>
                  <a:lnTo>
                    <a:pt x="47054" y="66770"/>
                  </a:lnTo>
                  <a:lnTo>
                    <a:pt x="51911" y="62579"/>
                  </a:lnTo>
                  <a:lnTo>
                    <a:pt x="54864" y="56674"/>
                  </a:lnTo>
                  <a:lnTo>
                    <a:pt x="59722" y="52483"/>
                  </a:lnTo>
                  <a:lnTo>
                    <a:pt x="61055" y="48578"/>
                  </a:lnTo>
                  <a:lnTo>
                    <a:pt x="62389" y="44863"/>
                  </a:lnTo>
                  <a:lnTo>
                    <a:pt x="64675" y="48101"/>
                  </a:lnTo>
                  <a:lnTo>
                    <a:pt x="68866" y="38576"/>
                  </a:lnTo>
                  <a:lnTo>
                    <a:pt x="75533" y="34004"/>
                  </a:lnTo>
                  <a:lnTo>
                    <a:pt x="84296" y="31052"/>
                  </a:lnTo>
                  <a:lnTo>
                    <a:pt x="89916" y="32099"/>
                  </a:lnTo>
                  <a:lnTo>
                    <a:pt x="101060" y="19717"/>
                  </a:lnTo>
                  <a:lnTo>
                    <a:pt x="116776" y="14097"/>
                  </a:lnTo>
                  <a:lnTo>
                    <a:pt x="132683" y="10096"/>
                  </a:lnTo>
                  <a:lnTo>
                    <a:pt x="148399" y="4477"/>
                  </a:lnTo>
                  <a:lnTo>
                    <a:pt x="152686" y="9239"/>
                  </a:lnTo>
                  <a:lnTo>
                    <a:pt x="163258" y="6096"/>
                  </a:lnTo>
                  <a:lnTo>
                    <a:pt x="164592" y="2286"/>
                  </a:lnTo>
                  <a:lnTo>
                    <a:pt x="167926" y="0"/>
                  </a:lnTo>
                  <a:lnTo>
                    <a:pt x="180784" y="14669"/>
                  </a:lnTo>
                  <a:lnTo>
                    <a:pt x="188976" y="20860"/>
                  </a:lnTo>
                  <a:lnTo>
                    <a:pt x="203835" y="36957"/>
                  </a:lnTo>
                  <a:lnTo>
                    <a:pt x="202311" y="38957"/>
                  </a:lnTo>
                  <a:lnTo>
                    <a:pt x="204311" y="40577"/>
                  </a:lnTo>
                  <a:lnTo>
                    <a:pt x="211074" y="36004"/>
                  </a:lnTo>
                  <a:lnTo>
                    <a:pt x="214884" y="37338"/>
                  </a:lnTo>
                  <a:lnTo>
                    <a:pt x="219456" y="44005"/>
                  </a:lnTo>
                  <a:lnTo>
                    <a:pt x="218122" y="47816"/>
                  </a:lnTo>
                  <a:lnTo>
                    <a:pt x="222218" y="50863"/>
                  </a:lnTo>
                  <a:lnTo>
                    <a:pt x="228981" y="60865"/>
                  </a:lnTo>
                  <a:lnTo>
                    <a:pt x="230791" y="60579"/>
                  </a:lnTo>
                  <a:lnTo>
                    <a:pt x="232315" y="58579"/>
                  </a:lnTo>
                  <a:lnTo>
                    <a:pt x="234601" y="61913"/>
                  </a:lnTo>
                  <a:lnTo>
                    <a:pt x="238792" y="79534"/>
                  </a:lnTo>
                  <a:lnTo>
                    <a:pt x="243459" y="73438"/>
                  </a:lnTo>
                  <a:lnTo>
                    <a:pt x="255365" y="80963"/>
                  </a:lnTo>
                  <a:lnTo>
                    <a:pt x="253555" y="81153"/>
                  </a:lnTo>
                  <a:lnTo>
                    <a:pt x="255651" y="82677"/>
                  </a:lnTo>
                  <a:lnTo>
                    <a:pt x="250984" y="88773"/>
                  </a:lnTo>
                  <a:lnTo>
                    <a:pt x="260128" y="89345"/>
                  </a:lnTo>
                  <a:lnTo>
                    <a:pt x="263271" y="85344"/>
                  </a:lnTo>
                  <a:lnTo>
                    <a:pt x="273367" y="78581"/>
                  </a:lnTo>
                  <a:lnTo>
                    <a:pt x="278987" y="79629"/>
                  </a:lnTo>
                  <a:lnTo>
                    <a:pt x="287846" y="63913"/>
                  </a:lnTo>
                  <a:lnTo>
                    <a:pt x="292989" y="61436"/>
                  </a:lnTo>
                  <a:lnTo>
                    <a:pt x="297942" y="57150"/>
                  </a:lnTo>
                  <a:lnTo>
                    <a:pt x="308991" y="57531"/>
                  </a:lnTo>
                  <a:lnTo>
                    <a:pt x="314801" y="60388"/>
                  </a:lnTo>
                  <a:lnTo>
                    <a:pt x="318897" y="63437"/>
                  </a:lnTo>
                  <a:lnTo>
                    <a:pt x="323564" y="57436"/>
                  </a:lnTo>
                  <a:lnTo>
                    <a:pt x="330708" y="56483"/>
                  </a:lnTo>
                  <a:lnTo>
                    <a:pt x="336328" y="57531"/>
                  </a:lnTo>
                  <a:lnTo>
                    <a:pt x="336137" y="55721"/>
                  </a:lnTo>
                  <a:lnTo>
                    <a:pt x="341281" y="53245"/>
                  </a:lnTo>
                  <a:lnTo>
                    <a:pt x="352806" y="57150"/>
                  </a:lnTo>
                  <a:lnTo>
                    <a:pt x="353853" y="51626"/>
                  </a:lnTo>
                  <a:lnTo>
                    <a:pt x="356711" y="45720"/>
                  </a:lnTo>
                  <a:lnTo>
                    <a:pt x="363664" y="43053"/>
                  </a:lnTo>
                  <a:lnTo>
                    <a:pt x="373380" y="47149"/>
                  </a:lnTo>
                  <a:lnTo>
                    <a:pt x="380333" y="44482"/>
                  </a:lnTo>
                  <a:lnTo>
                    <a:pt x="389763" y="46863"/>
                  </a:lnTo>
                  <a:lnTo>
                    <a:pt x="394049" y="51721"/>
                  </a:lnTo>
                  <a:lnTo>
                    <a:pt x="395478" y="62389"/>
                  </a:lnTo>
                  <a:lnTo>
                    <a:pt x="400050" y="69056"/>
                  </a:lnTo>
                  <a:lnTo>
                    <a:pt x="384620" y="76581"/>
                  </a:lnTo>
                  <a:lnTo>
                    <a:pt x="387096" y="81629"/>
                  </a:lnTo>
                  <a:lnTo>
                    <a:pt x="385953" y="87249"/>
                  </a:lnTo>
                  <a:lnTo>
                    <a:pt x="383953" y="85630"/>
                  </a:lnTo>
                  <a:lnTo>
                    <a:pt x="378809" y="88106"/>
                  </a:lnTo>
                  <a:lnTo>
                    <a:pt x="377285" y="90202"/>
                  </a:lnTo>
                  <a:lnTo>
                    <a:pt x="379286" y="91726"/>
                  </a:lnTo>
                  <a:lnTo>
                    <a:pt x="379762" y="95250"/>
                  </a:lnTo>
                  <a:lnTo>
                    <a:pt x="374809" y="99536"/>
                  </a:lnTo>
                  <a:lnTo>
                    <a:pt x="378904" y="102679"/>
                  </a:lnTo>
                  <a:lnTo>
                    <a:pt x="377571" y="106489"/>
                  </a:lnTo>
                  <a:lnTo>
                    <a:pt x="383191" y="107537"/>
                  </a:lnTo>
                  <a:lnTo>
                    <a:pt x="386525" y="105251"/>
                  </a:lnTo>
                  <a:lnTo>
                    <a:pt x="388811" y="108585"/>
                  </a:lnTo>
                  <a:lnTo>
                    <a:pt x="385476" y="110871"/>
                  </a:lnTo>
                  <a:lnTo>
                    <a:pt x="391287" y="113729"/>
                  </a:lnTo>
                  <a:lnTo>
                    <a:pt x="390239" y="119253"/>
                  </a:lnTo>
                  <a:lnTo>
                    <a:pt x="392716" y="124396"/>
                  </a:lnTo>
                  <a:lnTo>
                    <a:pt x="395478" y="131254"/>
                  </a:lnTo>
                  <a:lnTo>
                    <a:pt x="397287" y="131064"/>
                  </a:lnTo>
                  <a:lnTo>
                    <a:pt x="395764" y="133064"/>
                  </a:lnTo>
                  <a:lnTo>
                    <a:pt x="399764" y="136112"/>
                  </a:lnTo>
                  <a:lnTo>
                    <a:pt x="406718" y="133445"/>
                  </a:lnTo>
                  <a:lnTo>
                    <a:pt x="417766" y="133826"/>
                  </a:lnTo>
                  <a:lnTo>
                    <a:pt x="419767" y="135350"/>
                  </a:lnTo>
                  <a:lnTo>
                    <a:pt x="424053" y="140208"/>
                  </a:lnTo>
                  <a:lnTo>
                    <a:pt x="428149" y="143256"/>
                  </a:lnTo>
                  <a:lnTo>
                    <a:pt x="427006" y="148876"/>
                  </a:lnTo>
                  <a:lnTo>
                    <a:pt x="429577" y="154019"/>
                  </a:lnTo>
                  <a:lnTo>
                    <a:pt x="427101" y="163354"/>
                  </a:lnTo>
                  <a:lnTo>
                    <a:pt x="428530" y="174022"/>
                  </a:lnTo>
                  <a:lnTo>
                    <a:pt x="440912" y="170593"/>
                  </a:lnTo>
                  <a:lnTo>
                    <a:pt x="441103" y="172403"/>
                  </a:lnTo>
                  <a:lnTo>
                    <a:pt x="446532" y="171736"/>
                  </a:lnTo>
                  <a:lnTo>
                    <a:pt x="451390" y="167354"/>
                  </a:lnTo>
                  <a:lnTo>
                    <a:pt x="456819" y="166688"/>
                  </a:lnTo>
                  <a:lnTo>
                    <a:pt x="456152" y="161354"/>
                  </a:lnTo>
                  <a:lnTo>
                    <a:pt x="463105" y="158591"/>
                  </a:lnTo>
                  <a:lnTo>
                    <a:pt x="460534" y="153543"/>
                  </a:lnTo>
                  <a:lnTo>
                    <a:pt x="463962" y="151257"/>
                  </a:lnTo>
                  <a:lnTo>
                    <a:pt x="467773" y="152495"/>
                  </a:lnTo>
                  <a:lnTo>
                    <a:pt x="469106" y="148780"/>
                  </a:lnTo>
                  <a:lnTo>
                    <a:pt x="474726" y="149828"/>
                  </a:lnTo>
                  <a:lnTo>
                    <a:pt x="476726" y="151352"/>
                  </a:lnTo>
                  <a:lnTo>
                    <a:pt x="491109" y="149447"/>
                  </a:lnTo>
                  <a:lnTo>
                    <a:pt x="497586" y="143161"/>
                  </a:lnTo>
                  <a:lnTo>
                    <a:pt x="495109" y="138017"/>
                  </a:lnTo>
                  <a:lnTo>
                    <a:pt x="498443" y="135827"/>
                  </a:lnTo>
                  <a:lnTo>
                    <a:pt x="502825" y="127921"/>
                  </a:lnTo>
                  <a:lnTo>
                    <a:pt x="504634" y="127730"/>
                  </a:lnTo>
                  <a:lnTo>
                    <a:pt x="505396" y="133064"/>
                  </a:lnTo>
                  <a:lnTo>
                    <a:pt x="511493" y="137731"/>
                  </a:lnTo>
                  <a:lnTo>
                    <a:pt x="511683" y="139446"/>
                  </a:lnTo>
                  <a:lnTo>
                    <a:pt x="515302" y="138970"/>
                  </a:lnTo>
                  <a:lnTo>
                    <a:pt x="515493" y="140779"/>
                  </a:lnTo>
                  <a:lnTo>
                    <a:pt x="517112" y="138779"/>
                  </a:lnTo>
                  <a:lnTo>
                    <a:pt x="514635" y="133636"/>
                  </a:lnTo>
                  <a:lnTo>
                    <a:pt x="522541" y="138017"/>
                  </a:lnTo>
                  <a:lnTo>
                    <a:pt x="527018" y="144685"/>
                  </a:lnTo>
                  <a:lnTo>
                    <a:pt x="531971" y="140398"/>
                  </a:lnTo>
                  <a:lnTo>
                    <a:pt x="535971" y="143542"/>
                  </a:lnTo>
                  <a:lnTo>
                    <a:pt x="535114" y="150876"/>
                  </a:lnTo>
                  <a:lnTo>
                    <a:pt x="541020" y="153734"/>
                  </a:lnTo>
                  <a:lnTo>
                    <a:pt x="539877" y="159353"/>
                  </a:lnTo>
                  <a:lnTo>
                    <a:pt x="547306" y="160115"/>
                  </a:lnTo>
                  <a:lnTo>
                    <a:pt x="550736" y="157925"/>
                  </a:lnTo>
                  <a:lnTo>
                    <a:pt x="554545" y="159258"/>
                  </a:lnTo>
                  <a:lnTo>
                    <a:pt x="562165" y="161830"/>
                  </a:lnTo>
                  <a:lnTo>
                    <a:pt x="562832" y="167164"/>
                  </a:lnTo>
                  <a:lnTo>
                    <a:pt x="569023" y="171831"/>
                  </a:lnTo>
                  <a:lnTo>
                    <a:pt x="574167" y="169259"/>
                  </a:lnTo>
                  <a:lnTo>
                    <a:pt x="574643" y="172879"/>
                  </a:lnTo>
                  <a:lnTo>
                    <a:pt x="578168" y="172403"/>
                  </a:lnTo>
                  <a:lnTo>
                    <a:pt x="585121" y="169640"/>
                  </a:lnTo>
                  <a:lnTo>
                    <a:pt x="588264" y="165640"/>
                  </a:lnTo>
                  <a:lnTo>
                    <a:pt x="588264" y="165640"/>
                  </a:lnTo>
                  <a:lnTo>
                    <a:pt x="593693" y="164878"/>
                  </a:lnTo>
                  <a:lnTo>
                    <a:pt x="606266" y="163259"/>
                  </a:lnTo>
                  <a:lnTo>
                    <a:pt x="613886" y="165830"/>
                  </a:lnTo>
                  <a:lnTo>
                    <a:pt x="611505" y="175260"/>
                  </a:lnTo>
                  <a:lnTo>
                    <a:pt x="613124" y="187738"/>
                  </a:lnTo>
                  <a:lnTo>
                    <a:pt x="610457" y="195263"/>
                  </a:lnTo>
                  <a:lnTo>
                    <a:pt x="621125" y="206597"/>
                  </a:lnTo>
                  <a:lnTo>
                    <a:pt x="632841" y="212312"/>
                  </a:lnTo>
                  <a:lnTo>
                    <a:pt x="633793" y="219456"/>
                  </a:lnTo>
                  <a:lnTo>
                    <a:pt x="641413" y="222028"/>
                  </a:lnTo>
                  <a:lnTo>
                    <a:pt x="636556" y="226314"/>
                  </a:lnTo>
                  <a:lnTo>
                    <a:pt x="635412" y="231838"/>
                  </a:lnTo>
                  <a:lnTo>
                    <a:pt x="638842" y="244126"/>
                  </a:lnTo>
                  <a:lnTo>
                    <a:pt x="636651" y="255270"/>
                  </a:lnTo>
                  <a:lnTo>
                    <a:pt x="630460" y="263366"/>
                  </a:lnTo>
                  <a:lnTo>
                    <a:pt x="626745" y="276606"/>
                  </a:lnTo>
                  <a:lnTo>
                    <a:pt x="625887" y="283940"/>
                  </a:lnTo>
                  <a:lnTo>
                    <a:pt x="629031" y="294322"/>
                  </a:lnTo>
                  <a:lnTo>
                    <a:pt x="627983" y="299942"/>
                  </a:lnTo>
                  <a:lnTo>
                    <a:pt x="623506" y="307753"/>
                  </a:lnTo>
                  <a:lnTo>
                    <a:pt x="617125" y="328613"/>
                  </a:lnTo>
                  <a:lnTo>
                    <a:pt x="615219" y="341567"/>
                  </a:lnTo>
                  <a:lnTo>
                    <a:pt x="601503" y="348805"/>
                  </a:lnTo>
                  <a:lnTo>
                    <a:pt x="586264" y="343567"/>
                  </a:lnTo>
                  <a:lnTo>
                    <a:pt x="573691" y="345186"/>
                  </a:lnTo>
                  <a:lnTo>
                    <a:pt x="555212" y="344043"/>
                  </a:lnTo>
                  <a:lnTo>
                    <a:pt x="553688" y="346043"/>
                  </a:lnTo>
                  <a:lnTo>
                    <a:pt x="550354" y="348329"/>
                  </a:lnTo>
                  <a:lnTo>
                    <a:pt x="522922" y="348329"/>
                  </a:lnTo>
                  <a:lnTo>
                    <a:pt x="522732" y="360997"/>
                  </a:lnTo>
                  <a:lnTo>
                    <a:pt x="517874" y="365284"/>
                  </a:lnTo>
                  <a:lnTo>
                    <a:pt x="512445" y="366046"/>
                  </a:lnTo>
                  <a:lnTo>
                    <a:pt x="499681" y="380429"/>
                  </a:lnTo>
                  <a:lnTo>
                    <a:pt x="492347" y="394049"/>
                  </a:lnTo>
                  <a:lnTo>
                    <a:pt x="492823" y="397573"/>
                  </a:lnTo>
                  <a:lnTo>
                    <a:pt x="487966" y="401860"/>
                  </a:lnTo>
                  <a:lnTo>
                    <a:pt x="486632" y="405670"/>
                  </a:lnTo>
                  <a:lnTo>
                    <a:pt x="481965" y="411766"/>
                  </a:lnTo>
                  <a:lnTo>
                    <a:pt x="468725" y="422529"/>
                  </a:lnTo>
                  <a:lnTo>
                    <a:pt x="464344" y="430435"/>
                  </a:lnTo>
                  <a:lnTo>
                    <a:pt x="454723" y="440722"/>
                  </a:lnTo>
                  <a:lnTo>
                    <a:pt x="441674" y="438817"/>
                  </a:lnTo>
                  <a:lnTo>
                    <a:pt x="436245" y="439484"/>
                  </a:lnTo>
                  <a:lnTo>
                    <a:pt x="433101" y="443579"/>
                  </a:lnTo>
                  <a:lnTo>
                    <a:pt x="427768" y="444246"/>
                  </a:lnTo>
                  <a:lnTo>
                    <a:pt x="421291" y="450628"/>
                  </a:lnTo>
                  <a:lnTo>
                    <a:pt x="411861" y="448246"/>
                  </a:lnTo>
                  <a:lnTo>
                    <a:pt x="402812" y="449389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</p:grpSp>
      <p:pic>
        <p:nvPicPr>
          <p:cNvPr id="4" name="Obrázek 9">
            <a:extLst>
              <a:ext uri="{FF2B5EF4-FFF2-40B4-BE49-F238E27FC236}">
                <a16:creationId xmlns:a16="http://schemas.microsoft.com/office/drawing/2014/main" id="{5CB65D8B-E5CD-281D-C17D-B64BCCE114D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1787" y="253404"/>
            <a:ext cx="1470213" cy="352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022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30">
          <p15:clr>
            <a:srgbClr val="FBAE40"/>
          </p15:clr>
        </p15:guide>
        <p15:guide id="2" pos="34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, nadpis,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8393" y="365125"/>
            <a:ext cx="6281770" cy="1591757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44F03E9-B7DD-0DB9-BE59-19B95CD652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8392" y="2127183"/>
            <a:ext cx="6281771" cy="3994216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-1"/>
            <a:ext cx="6096000" cy="3651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CBBC2331-8763-C5B2-68A1-85820DC30C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8" y="6273700"/>
            <a:ext cx="2196000" cy="432000"/>
          </a:xfrm>
          <a:prstGeom prst="rect">
            <a:avLst/>
          </a:prstGeom>
        </p:spPr>
      </p:pic>
      <p:sp>
        <p:nvSpPr>
          <p:cNvPr id="10" name="Zástupný symbol obrázku 18">
            <a:extLst>
              <a:ext uri="{FF2B5EF4-FFF2-40B4-BE49-F238E27FC236}">
                <a16:creationId xmlns:a16="http://schemas.microsoft.com/office/drawing/2014/main" id="{64BA727E-C5B8-3E3B-6578-64D5C90C690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75703" y="376239"/>
            <a:ext cx="4656087" cy="5753099"/>
          </a:xfrm>
        </p:spPr>
        <p:txBody>
          <a:bodyPr/>
          <a:lstStyle/>
          <a:p>
            <a:endParaRPr lang="cs-CZ"/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98669" y="6291700"/>
            <a:ext cx="639692" cy="396000"/>
          </a:xfrm>
          <a:prstGeom prst="rect">
            <a:avLst/>
          </a:prstGeom>
        </p:spPr>
      </p:pic>
      <p:grpSp>
        <p:nvGrpSpPr>
          <p:cNvPr id="11" name="Skupina 10">
            <a:extLst>
              <a:ext uri="{FF2B5EF4-FFF2-40B4-BE49-F238E27FC236}">
                <a16:creationId xmlns:a16="http://schemas.microsoft.com/office/drawing/2014/main" id="{A532D302-088E-4471-9A72-7AFB0B86F202}"/>
              </a:ext>
            </a:extLst>
          </p:cNvPr>
          <p:cNvGrpSpPr/>
          <p:nvPr userDrawn="1"/>
        </p:nvGrpSpPr>
        <p:grpSpPr>
          <a:xfrm>
            <a:off x="10376871" y="6144231"/>
            <a:ext cx="1083291" cy="720000"/>
            <a:chOff x="731838" y="6129338"/>
            <a:chExt cx="1083291" cy="720000"/>
          </a:xfrm>
        </p:grpSpPr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14B0CAD1-A4B6-4EA1-A166-AA5F970FC7FC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FFFB168F-53EC-4E7F-84B8-5230844CA98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380360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dělovní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8A8D0CC2-172E-43C5-9C85-8F6AE990459A}"/>
              </a:ext>
            </a:extLst>
          </p:cNvPr>
          <p:cNvSpPr/>
          <p:nvPr userDrawn="1"/>
        </p:nvSpPr>
        <p:spPr>
          <a:xfrm>
            <a:off x="8177370" y="2295939"/>
            <a:ext cx="4012822" cy="22661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64551" y="2779533"/>
            <a:ext cx="3438462" cy="1298934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EDE00BE3-D7A4-222E-EB1C-02362F658C8C}"/>
              </a:ext>
            </a:extLst>
          </p:cNvPr>
          <p:cNvSpPr/>
          <p:nvPr userDrawn="1"/>
        </p:nvSpPr>
        <p:spPr>
          <a:xfrm>
            <a:off x="0" y="6139116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C76A4F77-4ECB-84D8-129C-2720D24CF3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1799" y="891024"/>
            <a:ext cx="639692" cy="396000"/>
          </a:xfrm>
          <a:prstGeom prst="rect">
            <a:avLst/>
          </a:prstGeom>
        </p:spPr>
      </p:pic>
      <p:sp>
        <p:nvSpPr>
          <p:cNvPr id="11" name="Zástupný symbol obrázku 18">
            <a:extLst>
              <a:ext uri="{FF2B5EF4-FFF2-40B4-BE49-F238E27FC236}">
                <a16:creationId xmlns:a16="http://schemas.microsoft.com/office/drawing/2014/main" id="{3E21766A-FBBC-4C6E-85A2-C511EFF7D5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2295939"/>
            <a:ext cx="7983110" cy="2266122"/>
          </a:xfrm>
        </p:spPr>
        <p:txBody>
          <a:bodyPr/>
          <a:lstStyle/>
          <a:p>
            <a:endParaRPr lang="cs-CZ" dirty="0"/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6E3075EE-18D4-417E-80DB-D5BF64468159}"/>
              </a:ext>
            </a:extLst>
          </p:cNvPr>
          <p:cNvSpPr/>
          <p:nvPr userDrawn="1"/>
        </p:nvSpPr>
        <p:spPr>
          <a:xfrm>
            <a:off x="0" y="-1"/>
            <a:ext cx="401463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0450FF12-E7BA-4DF6-902C-B4384B676060}"/>
              </a:ext>
            </a:extLst>
          </p:cNvPr>
          <p:cNvGrpSpPr/>
          <p:nvPr userDrawn="1"/>
        </p:nvGrpSpPr>
        <p:grpSpPr>
          <a:xfrm>
            <a:off x="1645" y="475199"/>
            <a:ext cx="1080000" cy="720000"/>
            <a:chOff x="0" y="475199"/>
            <a:chExt cx="1080000" cy="720000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460BFFC-102B-41D0-BE0E-05968B89F6B9}"/>
                </a:ext>
              </a:extLst>
            </p:cNvPr>
            <p:cNvSpPr/>
            <p:nvPr userDrawn="1"/>
          </p:nvSpPr>
          <p:spPr>
            <a:xfrm>
              <a:off x="0" y="475199"/>
              <a:ext cx="1080000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8" name="Grafický objekt 17">
              <a:extLst>
                <a:ext uri="{FF2B5EF4-FFF2-40B4-BE49-F238E27FC236}">
                  <a16:creationId xmlns:a16="http://schemas.microsoft.com/office/drawing/2014/main" id="{58231576-C339-4388-9256-52393BBA3A2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0154" y="637199"/>
              <a:ext cx="639692" cy="396000"/>
            </a:xfrm>
            <a:prstGeom prst="rect">
              <a:avLst/>
            </a:prstGeom>
          </p:spPr>
        </p:pic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00F74BD2-D76A-7DEB-05F3-9CF402FFD6A8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3400214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50920DF6-24B2-4278-BD94-C81EE0F4F2CF}"/>
              </a:ext>
            </a:extLst>
          </p:cNvPr>
          <p:cNvSpPr/>
          <p:nvPr userDrawn="1"/>
        </p:nvSpPr>
        <p:spPr>
          <a:xfrm>
            <a:off x="0" y="0"/>
            <a:ext cx="12192000" cy="237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8745120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NS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B629AE11-983F-A48B-EB31-EB0B34C744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75491" y="1425173"/>
            <a:ext cx="9841018" cy="4007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9322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Obrázek 22">
            <a:extLst>
              <a:ext uri="{FF2B5EF4-FFF2-40B4-BE49-F238E27FC236}">
                <a16:creationId xmlns:a16="http://schemas.microsoft.com/office/drawing/2014/main" id="{BF98E95A-825F-49DE-B35C-874CA66CDE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99687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0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chemeClr val="accent2"/>
              </a:solidFill>
            </a:endParaRPr>
          </a:p>
        </p:txBody>
      </p:sp>
      <p:sp>
        <p:nvSpPr>
          <p:cNvPr id="34" name="TextovéPole 33"/>
          <p:cNvSpPr txBox="1"/>
          <p:nvPr userDrawn="1"/>
        </p:nvSpPr>
        <p:spPr>
          <a:xfrm>
            <a:off x="1658606" y="6269165"/>
            <a:ext cx="51845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sp>
        <p:nvSpPr>
          <p:cNvPr id="26" name="TextovéPole 25"/>
          <p:cNvSpPr txBox="1"/>
          <p:nvPr userDrawn="1"/>
        </p:nvSpPr>
        <p:spPr>
          <a:xfrm>
            <a:off x="5781501" y="151329"/>
            <a:ext cx="563170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Datová základna realizace screeningových programů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CZ.03.2.63/0.0/0.0/15_039/0007216</a:t>
            </a:r>
            <a:endParaRPr lang="cs-CZ" sz="1050" b="1" dirty="0">
              <a:solidFill>
                <a:srgbClr val="274073"/>
              </a:solidFill>
              <a:effectLst/>
            </a:endParaRPr>
          </a:p>
        </p:txBody>
      </p:sp>
      <p:sp>
        <p:nvSpPr>
          <p:cNvPr id="4" name="Obdélník 3"/>
          <p:cNvSpPr/>
          <p:nvPr userDrawn="1"/>
        </p:nvSpPr>
        <p:spPr>
          <a:xfrm>
            <a:off x="10127275" y="6229898"/>
            <a:ext cx="128592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2000" b="1" u="none" dirty="0">
                <a:solidFill>
                  <a:srgbClr val="DA2B46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sc.uzis.cz</a:t>
            </a:r>
            <a:endParaRPr lang="cs-CZ" sz="2000" b="1" u="none" dirty="0">
              <a:solidFill>
                <a:srgbClr val="DA2B46"/>
              </a:solidFill>
            </a:endParaRP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4A600299-36FF-4880-809A-3B53106E65E2}"/>
              </a:ext>
            </a:extLst>
          </p:cNvPr>
          <p:cNvGrpSpPr/>
          <p:nvPr userDrawn="1"/>
        </p:nvGrpSpPr>
        <p:grpSpPr>
          <a:xfrm>
            <a:off x="977527" y="99403"/>
            <a:ext cx="2394526" cy="521285"/>
            <a:chOff x="-3635511" y="3808741"/>
            <a:chExt cx="2394526" cy="521285"/>
          </a:xfrm>
        </p:grpSpPr>
        <p:pic>
          <p:nvPicPr>
            <p:cNvPr id="20" name="Obrázek 19">
              <a:extLst>
                <a:ext uri="{FF2B5EF4-FFF2-40B4-BE49-F238E27FC236}">
                  <a16:creationId xmlns:a16="http://schemas.microsoft.com/office/drawing/2014/main" id="{1EEB21A1-63BE-4C27-AC1C-7C0ED736FF0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1" name="TextovéPole 20">
              <a:extLst>
                <a:ext uri="{FF2B5EF4-FFF2-40B4-BE49-F238E27FC236}">
                  <a16:creationId xmlns:a16="http://schemas.microsoft.com/office/drawing/2014/main" id="{5F85FAA7-4B5E-4124-8503-9019B35E4E98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Obrázek 21">
            <a:extLst>
              <a:ext uri="{FF2B5EF4-FFF2-40B4-BE49-F238E27FC236}">
                <a16:creationId xmlns:a16="http://schemas.microsoft.com/office/drawing/2014/main" id="{3AADB460-D02C-4410-A107-36A71631A2A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3590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29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8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3.05.2025</a:t>
            </a:fld>
            <a:endParaRPr lang="cs-CZ" dirty="0"/>
          </a:p>
        </p:txBody>
      </p:sp>
      <p:sp>
        <p:nvSpPr>
          <p:cNvPr id="12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3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51095881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3.05.2025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4898152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2_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Volný tvar 17">
            <a:extLst>
              <a:ext uri="{FF2B5EF4-FFF2-40B4-BE49-F238E27FC236}">
                <a16:creationId xmlns:a16="http://schemas.microsoft.com/office/drawing/2014/main" id="{B42F8AF5-7075-4AC9-A51A-F53562380854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D6B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" name="Volný tvar 19">
            <a:extLst>
              <a:ext uri="{FF2B5EF4-FFF2-40B4-BE49-F238E27FC236}">
                <a16:creationId xmlns:a16="http://schemas.microsoft.com/office/drawing/2014/main" id="{88510B0B-2636-4608-8A60-A8C602334907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15A8C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E675D763-49E1-452B-AA85-9BB0D08B0E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272815"/>
            <a:ext cx="778907" cy="303178"/>
          </a:xfrm>
          <a:prstGeom prst="rect">
            <a:avLst/>
          </a:prstGeom>
        </p:spPr>
      </p:pic>
      <p:pic>
        <p:nvPicPr>
          <p:cNvPr id="7" name="Logo MZ CR">
            <a:extLst>
              <a:ext uri="{FF2B5EF4-FFF2-40B4-BE49-F238E27FC236}">
                <a16:creationId xmlns:a16="http://schemas.microsoft.com/office/drawing/2014/main" id="{BA20973E-26C0-431A-A232-9510D4B9BD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0776" y="6517857"/>
            <a:ext cx="2303581" cy="198318"/>
          </a:xfrm>
          <a:prstGeom prst="rect">
            <a:avLst/>
          </a:prstGeom>
        </p:spPr>
      </p:pic>
      <p:pic>
        <p:nvPicPr>
          <p:cNvPr id="8" name="Logo UZIS">
            <a:extLst>
              <a:ext uri="{FF2B5EF4-FFF2-40B4-BE49-F238E27FC236}">
                <a16:creationId xmlns:a16="http://schemas.microsoft.com/office/drawing/2014/main" id="{B6ACD16E-9E10-4D43-8654-3EA979D59C2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0511" y="6392175"/>
            <a:ext cx="493475" cy="324000"/>
          </a:xfrm>
          <a:prstGeom prst="rect">
            <a:avLst/>
          </a:prstGeom>
        </p:spPr>
      </p:pic>
      <p:cxnSp>
        <p:nvCxnSpPr>
          <p:cNvPr id="9" name="Přímá spojnice 3">
            <a:extLst>
              <a:ext uri="{FF2B5EF4-FFF2-40B4-BE49-F238E27FC236}">
                <a16:creationId xmlns:a16="http://schemas.microsoft.com/office/drawing/2014/main" id="{643EE121-5784-4BC8-B04C-32C2B7938BEB}"/>
              </a:ext>
            </a:extLst>
          </p:cNvPr>
          <p:cNvCxnSpPr>
            <a:cxnSpLocks/>
          </p:cNvCxnSpPr>
          <p:nvPr userDrawn="1"/>
        </p:nvCxnSpPr>
        <p:spPr>
          <a:xfrm>
            <a:off x="1112575" y="6523200"/>
            <a:ext cx="7560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14">
            <a:extLst>
              <a:ext uri="{FF2B5EF4-FFF2-40B4-BE49-F238E27FC236}">
                <a16:creationId xmlns:a16="http://schemas.microsoft.com/office/drawing/2014/main" id="{3DFEA239-789A-4960-B696-9734B44248E7}"/>
              </a:ext>
            </a:extLst>
          </p:cNvPr>
          <p:cNvSpPr/>
          <p:nvPr userDrawn="1"/>
        </p:nvSpPr>
        <p:spPr>
          <a:xfrm>
            <a:off x="1483625" y="6539370"/>
            <a:ext cx="68179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Národní onkologický plán České republiky: epidemiologie nádorů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32414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s 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4">
            <a:extLst>
              <a:ext uri="{FF2B5EF4-FFF2-40B4-BE49-F238E27FC236}">
                <a16:creationId xmlns:a16="http://schemas.microsoft.com/office/drawing/2014/main" id="{A4B6F62C-6941-C1AA-2861-2912C0F7E8D1}"/>
              </a:ext>
            </a:extLst>
          </p:cNvPr>
          <p:cNvSpPr/>
          <p:nvPr userDrawn="1"/>
        </p:nvSpPr>
        <p:spPr>
          <a:xfrm>
            <a:off x="0" y="446423"/>
            <a:ext cx="4014000" cy="943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0F21DCDB-F1EB-1E1C-315D-D1C0C86AC8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08438" y="5526157"/>
            <a:ext cx="7451726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65C2995-4096-1BF2-0903-15EDC1EDC11A}"/>
              </a:ext>
            </a:extLst>
          </p:cNvPr>
          <p:cNvSpPr/>
          <p:nvPr userDrawn="1"/>
        </p:nvSpPr>
        <p:spPr>
          <a:xfrm>
            <a:off x="8177370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6A8EF0F6-43FB-AB07-A428-311BF2B830A0}"/>
              </a:ext>
            </a:extLst>
          </p:cNvPr>
          <p:cNvSpPr/>
          <p:nvPr userDrawn="1"/>
        </p:nvSpPr>
        <p:spPr>
          <a:xfrm>
            <a:off x="4008438" y="6139116"/>
            <a:ext cx="8183562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Zástupný symbol obrázku 18">
            <a:extLst>
              <a:ext uri="{FF2B5EF4-FFF2-40B4-BE49-F238E27FC236}">
                <a16:creationId xmlns:a16="http://schemas.microsoft.com/office/drawing/2014/main" id="{C4A030DE-C0D0-6499-028F-4647C435540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836751"/>
            <a:ext cx="7983110" cy="2263455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30899DF3-D5C2-842C-B4A1-DFEEDF206D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298" y="612023"/>
            <a:ext cx="2723404" cy="612000"/>
          </a:xfrm>
          <a:prstGeom prst="rect">
            <a:avLst/>
          </a:prstGeom>
        </p:spPr>
      </p:pic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3749D040-5D15-041A-FB68-6E29C34EF8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11" name="TextovéPole 10">
            <a:extLst>
              <a:ext uri="{FF2B5EF4-FFF2-40B4-BE49-F238E27FC236}">
                <a16:creationId xmlns:a16="http://schemas.microsoft.com/office/drawing/2014/main" id="{40E2EF12-A587-7B4E-A1D6-438C8ADCA438}"/>
              </a:ext>
            </a:extLst>
          </p:cNvPr>
          <p:cNvSpPr txBox="1"/>
          <p:nvPr userDrawn="1"/>
        </p:nvSpPr>
        <p:spPr>
          <a:xfrm>
            <a:off x="4010400" y="6313334"/>
            <a:ext cx="1664348" cy="369332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5FC09959-B600-6AF0-10A7-511F0A0CE6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5298" y="4102873"/>
            <a:ext cx="10814865" cy="1290010"/>
          </a:xfrm>
        </p:spPr>
        <p:txBody>
          <a:bodyPr lIns="0" anchor="b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5936000F-1CA5-4A28-D084-2EDC710BE59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77370" y="6141783"/>
            <a:ext cx="1664348" cy="720000"/>
          </a:xfrm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pic>
        <p:nvPicPr>
          <p:cNvPr id="13" name="Grafický objekt 12">
            <a:extLst>
              <a:ext uri="{FF2B5EF4-FFF2-40B4-BE49-F238E27FC236}">
                <a16:creationId xmlns:a16="http://schemas.microsoft.com/office/drawing/2014/main" id="{2A29C3ED-4266-C769-2ADF-B8282F4D3F8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59729" y="6258886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269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2525">
          <p15:clr>
            <a:srgbClr val="FBAE40"/>
          </p15:clr>
        </p15:guide>
        <p15:guide id="6" pos="393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bez 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B0EA1196-9961-0CE1-CDDC-BC0A0A831348}"/>
              </a:ext>
            </a:extLst>
          </p:cNvPr>
          <p:cNvSpPr/>
          <p:nvPr userDrawn="1"/>
        </p:nvSpPr>
        <p:spPr>
          <a:xfrm>
            <a:off x="8179177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E1C24FCE-B5F4-1607-CE4C-7BB985D4D69C}"/>
              </a:ext>
            </a:extLst>
          </p:cNvPr>
          <p:cNvSpPr/>
          <p:nvPr userDrawn="1"/>
        </p:nvSpPr>
        <p:spPr>
          <a:xfrm>
            <a:off x="4008438" y="6139116"/>
            <a:ext cx="818356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1" name="Zástupný symbol obrázku 18">
            <a:extLst>
              <a:ext uri="{FF2B5EF4-FFF2-40B4-BE49-F238E27FC236}">
                <a16:creationId xmlns:a16="http://schemas.microsoft.com/office/drawing/2014/main" id="{99B66AE2-A041-66B4-7E5D-3FA96F03637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836751"/>
            <a:ext cx="7983110" cy="2266122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399E5915-F9E2-ACE2-F920-86F9D94E3F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18" name="Obdélník 17">
            <a:extLst>
              <a:ext uri="{FF2B5EF4-FFF2-40B4-BE49-F238E27FC236}">
                <a16:creationId xmlns:a16="http://schemas.microsoft.com/office/drawing/2014/main" id="{464757BA-A864-68A5-98E0-EE29537C5C23}"/>
              </a:ext>
            </a:extLst>
          </p:cNvPr>
          <p:cNvSpPr/>
          <p:nvPr userDrawn="1"/>
        </p:nvSpPr>
        <p:spPr>
          <a:xfrm>
            <a:off x="0" y="898082"/>
            <a:ext cx="4012822" cy="47291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0" name="Zástupný text 8">
            <a:extLst>
              <a:ext uri="{FF2B5EF4-FFF2-40B4-BE49-F238E27FC236}">
                <a16:creationId xmlns:a16="http://schemas.microsoft.com/office/drawing/2014/main" id="{E376B32F-E5DE-DC67-38D4-9F6BC06AA3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52193" y="898082"/>
            <a:ext cx="1341659" cy="472912"/>
          </a:xfrm>
        </p:spPr>
        <p:txBody>
          <a:bodyPr lIns="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sp>
        <p:nvSpPr>
          <p:cNvPr id="21" name="Podnadpis 2">
            <a:extLst>
              <a:ext uri="{FF2B5EF4-FFF2-40B4-BE49-F238E27FC236}">
                <a16:creationId xmlns:a16="http://schemas.microsoft.com/office/drawing/2014/main" id="{F4C776B3-4CCE-A58A-F1D7-0A28E6CF08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10400" y="5526157"/>
            <a:ext cx="7476890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sp>
        <p:nvSpPr>
          <p:cNvPr id="22" name="Nadpis 1">
            <a:extLst>
              <a:ext uri="{FF2B5EF4-FFF2-40B4-BE49-F238E27FC236}">
                <a16:creationId xmlns:a16="http://schemas.microsoft.com/office/drawing/2014/main" id="{EB6D2B52-8FDF-959F-1993-F3A38DC7CD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5298" y="4102873"/>
            <a:ext cx="11140867" cy="1290010"/>
          </a:xfrm>
        </p:spPr>
        <p:txBody>
          <a:bodyPr lIns="0" anchor="b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A8206657-5283-91B4-9056-621C120F4230}"/>
              </a:ext>
            </a:extLst>
          </p:cNvPr>
          <p:cNvSpPr txBox="1"/>
          <p:nvPr userDrawn="1"/>
        </p:nvSpPr>
        <p:spPr>
          <a:xfrm>
            <a:off x="4008439" y="6314450"/>
            <a:ext cx="1696075" cy="369332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pPr algn="l"/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69BBAC43-9371-0D6C-6534-F261C966CC4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59729" y="6258886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898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252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4F6A6717-E2B8-EC1E-BEBD-5B4C5026550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1787" y="253404"/>
            <a:ext cx="1470213" cy="352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7442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s EU bez UZ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>
            <a:extLst>
              <a:ext uri="{FF2B5EF4-FFF2-40B4-BE49-F238E27FC236}">
                <a16:creationId xmlns:a16="http://schemas.microsoft.com/office/drawing/2014/main" id="{6A8EF0F6-43FB-AB07-A428-311BF2B830A0}"/>
              </a:ext>
            </a:extLst>
          </p:cNvPr>
          <p:cNvSpPr/>
          <p:nvPr userDrawn="1"/>
        </p:nvSpPr>
        <p:spPr>
          <a:xfrm>
            <a:off x="8177370" y="6139116"/>
            <a:ext cx="4012822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40E2EF12-A587-7B4E-A1D6-438C8ADCA438}"/>
              </a:ext>
            </a:extLst>
          </p:cNvPr>
          <p:cNvSpPr txBox="1"/>
          <p:nvPr userDrawn="1"/>
        </p:nvSpPr>
        <p:spPr>
          <a:xfrm>
            <a:off x="8177370" y="6139116"/>
            <a:ext cx="1664348" cy="720000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pPr algn="l"/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A4B6F62C-6941-C1AA-2861-2912C0F7E8D1}"/>
              </a:ext>
            </a:extLst>
          </p:cNvPr>
          <p:cNvSpPr/>
          <p:nvPr userDrawn="1"/>
        </p:nvSpPr>
        <p:spPr>
          <a:xfrm>
            <a:off x="0" y="446423"/>
            <a:ext cx="4014000" cy="943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65C2995-4096-1BF2-0903-15EDC1EDC11A}"/>
              </a:ext>
            </a:extLst>
          </p:cNvPr>
          <p:cNvSpPr/>
          <p:nvPr userDrawn="1"/>
        </p:nvSpPr>
        <p:spPr>
          <a:xfrm>
            <a:off x="8177370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9" name="Zástupný symbol obrázku 18">
            <a:extLst>
              <a:ext uri="{FF2B5EF4-FFF2-40B4-BE49-F238E27FC236}">
                <a16:creationId xmlns:a16="http://schemas.microsoft.com/office/drawing/2014/main" id="{C4A030DE-C0D0-6499-028F-4647C435540B}"/>
              </a:ext>
            </a:extLst>
          </p:cNvPr>
          <p:cNvSpPr>
            <a:spLocks noGrp="1"/>
          </p:cNvSpPr>
          <p:nvPr userDrawn="1">
            <p:ph type="pic" sz="quarter" idx="11"/>
          </p:nvPr>
        </p:nvSpPr>
        <p:spPr>
          <a:xfrm>
            <a:off x="0" y="1836751"/>
            <a:ext cx="7983110" cy="2266122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30899DF3-D5C2-842C-B4A1-DFEEDF206D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298" y="612023"/>
            <a:ext cx="2723404" cy="612000"/>
          </a:xfrm>
          <a:prstGeom prst="rect">
            <a:avLst/>
          </a:prstGeom>
        </p:spPr>
      </p:pic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3749D040-5D15-041A-FB68-6E29C34EF8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2" name="Podnadpis 2">
            <a:extLst>
              <a:ext uri="{FF2B5EF4-FFF2-40B4-BE49-F238E27FC236}">
                <a16:creationId xmlns:a16="http://schemas.microsoft.com/office/drawing/2014/main" id="{2A49D47D-259A-61C8-4727-586212A2F4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10400" y="5526157"/>
            <a:ext cx="7440417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sp>
        <p:nvSpPr>
          <p:cNvPr id="3" name="Zástupný text 8">
            <a:extLst>
              <a:ext uri="{FF2B5EF4-FFF2-40B4-BE49-F238E27FC236}">
                <a16:creationId xmlns:a16="http://schemas.microsoft.com/office/drawing/2014/main" id="{F25E0E1C-33BF-45F7-7709-4BBC1F3FD28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850341" y="6138000"/>
            <a:ext cx="1341659" cy="719999"/>
          </a:xfrm>
        </p:spPr>
        <p:txBody>
          <a:bodyPr lIns="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5DB0AB71-4FC5-9816-D89A-FB25FC9FB5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5298" y="4102873"/>
            <a:ext cx="10814865" cy="1290010"/>
          </a:xfrm>
        </p:spPr>
        <p:txBody>
          <a:bodyPr lIns="0" anchor="b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050940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2525">
          <p15:clr>
            <a:srgbClr val="FBAE40"/>
          </p15:clr>
        </p15:guide>
        <p15:guide id="4" pos="415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pro dlouhé nadpis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>
            <a:extLst>
              <a:ext uri="{FF2B5EF4-FFF2-40B4-BE49-F238E27FC236}">
                <a16:creationId xmlns:a16="http://schemas.microsoft.com/office/drawing/2014/main" id="{6A8EF0F6-43FB-AB07-A428-311BF2B830A0}"/>
              </a:ext>
            </a:extLst>
          </p:cNvPr>
          <p:cNvSpPr/>
          <p:nvPr userDrawn="1"/>
        </p:nvSpPr>
        <p:spPr>
          <a:xfrm>
            <a:off x="8177370" y="6139116"/>
            <a:ext cx="4012822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A4B6F62C-6941-C1AA-2861-2912C0F7E8D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446423"/>
            <a:ext cx="4014000" cy="943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DF0DFC75-CB5E-1EEA-D9B4-7EC06251795B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5298" y="1836750"/>
            <a:ext cx="6796299" cy="2266122"/>
          </a:xfrm>
        </p:spPr>
        <p:txBody>
          <a:bodyPr lIns="0" tIns="0" rIns="0" anchor="t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0F21DCDB-F1EB-1E1C-315D-D1C0C86AC8D5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4010400" y="5526157"/>
            <a:ext cx="7440419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65C2995-4096-1BF2-0903-15EDC1EDC11A}"/>
              </a:ext>
            </a:extLst>
          </p:cNvPr>
          <p:cNvSpPr/>
          <p:nvPr userDrawn="1"/>
        </p:nvSpPr>
        <p:spPr>
          <a:xfrm>
            <a:off x="8177370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30899DF3-D5C2-842C-B4A1-DFEEDF206D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298" y="612023"/>
            <a:ext cx="2723404" cy="612000"/>
          </a:xfrm>
          <a:prstGeom prst="rect">
            <a:avLst/>
          </a:prstGeom>
        </p:spPr>
      </p:pic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3749D040-5D15-041A-FB68-6E29C34EF8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4" name="Zástupný text 8">
            <a:extLst>
              <a:ext uri="{FF2B5EF4-FFF2-40B4-BE49-F238E27FC236}">
                <a16:creationId xmlns:a16="http://schemas.microsoft.com/office/drawing/2014/main" id="{334C7CB7-DCE5-6074-63A1-2EE2E54004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850341" y="6138000"/>
            <a:ext cx="1341659" cy="719999"/>
          </a:xfrm>
        </p:spPr>
        <p:txBody>
          <a:bodyPr lIns="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470160F-6A45-07BE-0604-077F038631C9}"/>
              </a:ext>
            </a:extLst>
          </p:cNvPr>
          <p:cNvSpPr txBox="1"/>
          <p:nvPr userDrawn="1"/>
        </p:nvSpPr>
        <p:spPr>
          <a:xfrm>
            <a:off x="8177370" y="6139116"/>
            <a:ext cx="1664348" cy="720000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pPr algn="l"/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</p:spTree>
    <p:extLst>
      <p:ext uri="{BB962C8B-B14F-4D97-AF65-F5344CB8AC3E}">
        <p14:creationId xmlns:p14="http://schemas.microsoft.com/office/powerpoint/2010/main" val="13061331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40">
          <p15:clr>
            <a:srgbClr val="FBAE40"/>
          </p15:clr>
        </p15:guide>
        <p15:guide id="4" pos="393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 pro dlouhé nadpisy bez 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F0DFC75-CB5E-1EEA-D9B4-7EC06251795B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5298" y="1836750"/>
            <a:ext cx="6796299" cy="2266122"/>
          </a:xfrm>
        </p:spPr>
        <p:txBody>
          <a:bodyPr lIns="0" tIns="0" rIns="0" anchor="t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0F21DCDB-F1EB-1E1C-315D-D1C0C86AC8D5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4010400" y="5526157"/>
            <a:ext cx="7440419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65C2995-4096-1BF2-0903-15EDC1EDC11A}"/>
              </a:ext>
            </a:extLst>
          </p:cNvPr>
          <p:cNvSpPr/>
          <p:nvPr userDrawn="1"/>
        </p:nvSpPr>
        <p:spPr>
          <a:xfrm>
            <a:off x="8177370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3749D040-5D15-041A-FB68-6E29C34EF8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8" name="Obdélník 7">
            <a:extLst>
              <a:ext uri="{FF2B5EF4-FFF2-40B4-BE49-F238E27FC236}">
                <a16:creationId xmlns:a16="http://schemas.microsoft.com/office/drawing/2014/main" id="{1C1BBF3A-0FFA-4C73-702B-0F8640E40029}"/>
              </a:ext>
            </a:extLst>
          </p:cNvPr>
          <p:cNvSpPr/>
          <p:nvPr userDrawn="1"/>
        </p:nvSpPr>
        <p:spPr>
          <a:xfrm>
            <a:off x="0" y="898082"/>
            <a:ext cx="4012822" cy="47291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A4CF060D-402A-3C18-EAD2-E58A46DE1C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52193" y="898082"/>
            <a:ext cx="1341659" cy="472912"/>
          </a:xfrm>
        </p:spPr>
        <p:txBody>
          <a:bodyPr lIns="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BA1B02D6-A85A-D348-E417-8F557EAE71A4}"/>
              </a:ext>
            </a:extLst>
          </p:cNvPr>
          <p:cNvSpPr/>
          <p:nvPr userDrawn="1"/>
        </p:nvSpPr>
        <p:spPr>
          <a:xfrm>
            <a:off x="4008438" y="6139116"/>
            <a:ext cx="818356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96A6C86E-36F8-90F4-57DC-BF054B7F522D}"/>
              </a:ext>
            </a:extLst>
          </p:cNvPr>
          <p:cNvSpPr txBox="1"/>
          <p:nvPr userDrawn="1"/>
        </p:nvSpPr>
        <p:spPr>
          <a:xfrm>
            <a:off x="4008439" y="6314450"/>
            <a:ext cx="1696075" cy="369332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pPr algn="l"/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  <p:pic>
        <p:nvPicPr>
          <p:cNvPr id="18" name="Grafický objekt 17">
            <a:extLst>
              <a:ext uri="{FF2B5EF4-FFF2-40B4-BE49-F238E27FC236}">
                <a16:creationId xmlns:a16="http://schemas.microsoft.com/office/drawing/2014/main" id="{54524AF3-55E8-324D-42C1-640444AC720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59729" y="6258886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8891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40">
          <p15:clr>
            <a:srgbClr val="FBAE40"/>
          </p15:clr>
        </p15:guide>
        <p15:guide id="4" pos="393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9" y="365126"/>
            <a:ext cx="10728323" cy="1260000"/>
          </a:xfrm>
        </p:spPr>
        <p:txBody>
          <a:bodyPr lIns="0">
            <a:normAutofit/>
          </a:bodyPr>
          <a:lstStyle>
            <a:lvl1pPr>
              <a:defRPr sz="2400">
                <a:latin typeface="+mj-lt"/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637" y="6294874"/>
            <a:ext cx="639692" cy="396000"/>
          </a:xfrm>
          <a:prstGeom prst="rect">
            <a:avLst/>
          </a:prstGeom>
        </p:spPr>
      </p:pic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0DDB638-C173-6D3F-FF1A-66447260C8A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60"/>
            <a:ext cx="5364160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6" name="Zástupný obsah 3">
            <a:extLst>
              <a:ext uri="{FF2B5EF4-FFF2-40B4-BE49-F238E27FC236}">
                <a16:creationId xmlns:a16="http://schemas.microsoft.com/office/drawing/2014/main" id="{8DC35049-3AA5-9643-A289-66951EBEC2D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3" y="1660885"/>
            <a:ext cx="5364160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</p:txBody>
      </p:sp>
      <p:grpSp>
        <p:nvGrpSpPr>
          <p:cNvPr id="10" name="Skupina 9">
            <a:extLst>
              <a:ext uri="{FF2B5EF4-FFF2-40B4-BE49-F238E27FC236}">
                <a16:creationId xmlns:a16="http://schemas.microsoft.com/office/drawing/2014/main" id="{4A268E11-BD2F-4B4F-8F6C-0F8E80159307}"/>
              </a:ext>
            </a:extLst>
          </p:cNvPr>
          <p:cNvGrpSpPr/>
          <p:nvPr userDrawn="1"/>
        </p:nvGrpSpPr>
        <p:grpSpPr>
          <a:xfrm>
            <a:off x="731838" y="6144231"/>
            <a:ext cx="1083291" cy="720000"/>
            <a:chOff x="731838" y="6129338"/>
            <a:chExt cx="1083291" cy="720000"/>
          </a:xfrm>
        </p:grpSpPr>
        <p:sp>
          <p:nvSpPr>
            <p:cNvPr id="11" name="Obdélník 10">
              <a:extLst>
                <a:ext uri="{FF2B5EF4-FFF2-40B4-BE49-F238E27FC236}">
                  <a16:creationId xmlns:a16="http://schemas.microsoft.com/office/drawing/2014/main" id="{17CF36DE-E5A0-4148-9D06-AE68A4EDD0A7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EDC2FDED-6562-4534-96C9-B2CF49EA82D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6389218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, 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9" y="365126"/>
            <a:ext cx="10728323" cy="1260000"/>
          </a:xfrm>
        </p:spPr>
        <p:txBody>
          <a:bodyPr lIns="0">
            <a:normAutofit/>
          </a:bodyPr>
          <a:lstStyle>
            <a:lvl1pPr>
              <a:defRPr sz="2400">
                <a:latin typeface="+mj-lt"/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637" y="6294874"/>
            <a:ext cx="639692" cy="396000"/>
          </a:xfrm>
          <a:prstGeom prst="rect">
            <a:avLst/>
          </a:prstGeom>
        </p:spPr>
      </p:pic>
      <p:sp>
        <p:nvSpPr>
          <p:cNvPr id="11" name="Obdélník 10">
            <a:extLst>
              <a:ext uri="{FF2B5EF4-FFF2-40B4-BE49-F238E27FC236}">
                <a16:creationId xmlns:a16="http://schemas.microsoft.com/office/drawing/2014/main" id="{17CF36DE-E5A0-4148-9D06-AE68A4EDD0A7}"/>
              </a:ext>
            </a:extLst>
          </p:cNvPr>
          <p:cNvSpPr/>
          <p:nvPr userDrawn="1"/>
        </p:nvSpPr>
        <p:spPr>
          <a:xfrm>
            <a:off x="731838" y="6144231"/>
            <a:ext cx="108329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EDC2FDED-6562-4534-96C9-B2CF49EA82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637" y="6306231"/>
            <a:ext cx="639692" cy="396000"/>
          </a:xfrm>
          <a:prstGeom prst="rect">
            <a:avLst/>
          </a:prstGeom>
        </p:spPr>
      </p:pic>
      <p:sp>
        <p:nvSpPr>
          <p:cNvPr id="3" name="Obdélník 2">
            <a:extLst>
              <a:ext uri="{FF2B5EF4-FFF2-40B4-BE49-F238E27FC236}">
                <a16:creationId xmlns:a16="http://schemas.microsoft.com/office/drawing/2014/main" id="{F7C907C2-9865-F831-E11B-10851B62F54E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5" name="Zástupný text 8">
            <a:extLst>
              <a:ext uri="{FF2B5EF4-FFF2-40B4-BE49-F238E27FC236}">
                <a16:creationId xmlns:a16="http://schemas.microsoft.com/office/drawing/2014/main" id="{EFFFA6D3-91F9-3F5B-5F1D-EB6A778A44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  <p:sp>
        <p:nvSpPr>
          <p:cNvPr id="8" name="Zástupný obsah 3">
            <a:extLst>
              <a:ext uri="{FF2B5EF4-FFF2-40B4-BE49-F238E27FC236}">
                <a16:creationId xmlns:a16="http://schemas.microsoft.com/office/drawing/2014/main" id="{57924BB9-BA4C-7A1D-FE2E-64F64C188DB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60"/>
            <a:ext cx="5364160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9" name="Zástupný obsah 3">
            <a:extLst>
              <a:ext uri="{FF2B5EF4-FFF2-40B4-BE49-F238E27FC236}">
                <a16:creationId xmlns:a16="http://schemas.microsoft.com/office/drawing/2014/main" id="{FA654F1F-02D6-B213-3F68-BFED82EB2F8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3" y="1660885"/>
            <a:ext cx="5364160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</p:txBody>
      </p:sp>
    </p:spTree>
    <p:extLst>
      <p:ext uri="{BB962C8B-B14F-4D97-AF65-F5344CB8AC3E}">
        <p14:creationId xmlns:p14="http://schemas.microsoft.com/office/powerpoint/2010/main" val="29355077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porovnání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E8A2BDC4-6C43-7770-C039-87C8E274A15E}"/>
              </a:ext>
            </a:extLst>
          </p:cNvPr>
          <p:cNvSpPr/>
          <p:nvPr userDrawn="1"/>
        </p:nvSpPr>
        <p:spPr>
          <a:xfrm>
            <a:off x="0" y="475200"/>
            <a:ext cx="1080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0154" y="637200"/>
            <a:ext cx="639692" cy="396000"/>
          </a:xfrm>
          <a:prstGeom prst="rect">
            <a:avLst/>
          </a:prstGeom>
        </p:spPr>
      </p:pic>
      <p:sp>
        <p:nvSpPr>
          <p:cNvPr id="14" name="Nadpis 1">
            <a:extLst>
              <a:ext uri="{FF2B5EF4-FFF2-40B4-BE49-F238E27FC236}">
                <a16:creationId xmlns:a16="http://schemas.microsoft.com/office/drawing/2014/main" id="{D437D701-B17C-4FB1-90EC-C1632B91EEEE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1620000" y="475199"/>
            <a:ext cx="9802034" cy="720000"/>
          </a:xfrm>
        </p:spPr>
        <p:txBody>
          <a:bodyPr lIns="0"/>
          <a:lstStyle>
            <a:lvl1pPr>
              <a:defRPr sz="2400"/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2" name="Zástupný obsah 3">
            <a:extLst>
              <a:ext uri="{FF2B5EF4-FFF2-40B4-BE49-F238E27FC236}">
                <a16:creationId xmlns:a16="http://schemas.microsoft.com/office/drawing/2014/main" id="{103C0E1B-9A5C-2FCC-DE34-51DF2D12A3E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60"/>
            <a:ext cx="5364160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3" name="Zástupný obsah 3">
            <a:extLst>
              <a:ext uri="{FF2B5EF4-FFF2-40B4-BE49-F238E27FC236}">
                <a16:creationId xmlns:a16="http://schemas.microsoft.com/office/drawing/2014/main" id="{E630CE26-F1E5-304D-AA96-485BCAD208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3" y="1660885"/>
            <a:ext cx="5364160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</p:txBody>
      </p:sp>
    </p:spTree>
    <p:extLst>
      <p:ext uri="{BB962C8B-B14F-4D97-AF65-F5344CB8AC3E}">
        <p14:creationId xmlns:p14="http://schemas.microsoft.com/office/powerpoint/2010/main" val="112474320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2F86E3AE-C4C5-CA9A-34B2-F60AC1774F1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58"/>
            <a:ext cx="10728325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203DDD2B-94B5-4D6B-B92F-71E4B2701400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C994861F-0D9B-4331-871B-BB38C1D69A0E}"/>
              </a:ext>
            </a:extLst>
          </p:cNvPr>
          <p:cNvGrpSpPr/>
          <p:nvPr userDrawn="1"/>
        </p:nvGrpSpPr>
        <p:grpSpPr>
          <a:xfrm>
            <a:off x="0" y="475199"/>
            <a:ext cx="1080000" cy="720000"/>
            <a:chOff x="0" y="475199"/>
            <a:chExt cx="1080000" cy="720000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BA72D03A-0F35-4A68-824B-364CAA4CDC0F}"/>
                </a:ext>
              </a:extLst>
            </p:cNvPr>
            <p:cNvSpPr/>
            <p:nvPr userDrawn="1"/>
          </p:nvSpPr>
          <p:spPr>
            <a:xfrm>
              <a:off x="0" y="475199"/>
              <a:ext cx="1080000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9" name="Grafický objekt 18">
              <a:extLst>
                <a:ext uri="{FF2B5EF4-FFF2-40B4-BE49-F238E27FC236}">
                  <a16:creationId xmlns:a16="http://schemas.microsoft.com/office/drawing/2014/main" id="{1773DD8C-C1C7-4C8A-BF7A-4721B43A07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0154" y="637199"/>
              <a:ext cx="639692" cy="396000"/>
            </a:xfrm>
            <a:prstGeom prst="rect">
              <a:avLst/>
            </a:prstGeom>
          </p:spPr>
        </p:pic>
      </p:grpSp>
      <p:sp>
        <p:nvSpPr>
          <p:cNvPr id="2" name="Nadpis 1">
            <a:extLst>
              <a:ext uri="{FF2B5EF4-FFF2-40B4-BE49-F238E27FC236}">
                <a16:creationId xmlns:a16="http://schemas.microsoft.com/office/drawing/2014/main" id="{CE39D634-FBD8-0067-14B8-7CF2FC0D70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475199"/>
            <a:ext cx="9802034" cy="720000"/>
          </a:xfrm>
        </p:spPr>
        <p:txBody>
          <a:bodyPr lIns="0"/>
          <a:lstStyle>
            <a:lvl1pPr>
              <a:defRPr sz="2400"/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53608534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graf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4">
            <a:extLst>
              <a:ext uri="{FF2B5EF4-FFF2-40B4-BE49-F238E27FC236}">
                <a16:creationId xmlns:a16="http://schemas.microsoft.com/office/drawing/2014/main" id="{203DDD2B-94B5-4D6B-B92F-71E4B2701400}"/>
              </a:ext>
            </a:extLst>
          </p:cNvPr>
          <p:cNvSpPr/>
          <p:nvPr userDrawn="1"/>
        </p:nvSpPr>
        <p:spPr>
          <a:xfrm>
            <a:off x="0" y="-1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C994861F-0D9B-4331-871B-BB38C1D69A0E}"/>
              </a:ext>
            </a:extLst>
          </p:cNvPr>
          <p:cNvGrpSpPr/>
          <p:nvPr userDrawn="1"/>
        </p:nvGrpSpPr>
        <p:grpSpPr>
          <a:xfrm>
            <a:off x="0" y="475199"/>
            <a:ext cx="1080000" cy="720000"/>
            <a:chOff x="0" y="475199"/>
            <a:chExt cx="1080000" cy="720000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BA72D03A-0F35-4A68-824B-364CAA4CDC0F}"/>
                </a:ext>
              </a:extLst>
            </p:cNvPr>
            <p:cNvSpPr/>
            <p:nvPr userDrawn="1"/>
          </p:nvSpPr>
          <p:spPr>
            <a:xfrm>
              <a:off x="0" y="475199"/>
              <a:ext cx="1080000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9" name="Grafický objekt 18">
              <a:extLst>
                <a:ext uri="{FF2B5EF4-FFF2-40B4-BE49-F238E27FC236}">
                  <a16:creationId xmlns:a16="http://schemas.microsoft.com/office/drawing/2014/main" id="{1773DD8C-C1C7-4C8A-BF7A-4721B43A07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0154" y="637199"/>
              <a:ext cx="639692" cy="396000"/>
            </a:xfrm>
            <a:prstGeom prst="rect">
              <a:avLst/>
            </a:prstGeom>
          </p:spPr>
        </p:pic>
      </p:grpSp>
      <p:sp>
        <p:nvSpPr>
          <p:cNvPr id="2" name="Nadpis 1">
            <a:extLst>
              <a:ext uri="{FF2B5EF4-FFF2-40B4-BE49-F238E27FC236}">
                <a16:creationId xmlns:a16="http://schemas.microsoft.com/office/drawing/2014/main" id="{CE39D634-FBD8-0067-14B8-7CF2FC0D70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475199"/>
            <a:ext cx="9802034" cy="720000"/>
          </a:xfrm>
        </p:spPr>
        <p:txBody>
          <a:bodyPr lIns="0"/>
          <a:lstStyle>
            <a:lvl1pPr>
              <a:defRPr sz="2400"/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5" name="Zástupný objekt grafu 10">
            <a:extLst>
              <a:ext uri="{FF2B5EF4-FFF2-40B4-BE49-F238E27FC236}">
                <a16:creationId xmlns:a16="http://schemas.microsoft.com/office/drawing/2014/main" id="{7814EF98-A5EE-B564-2343-4835ACD0118A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30800" y="1663200"/>
            <a:ext cx="10728000" cy="3508730"/>
          </a:xfrm>
        </p:spPr>
        <p:txBody>
          <a:bodyPr/>
          <a:lstStyle/>
          <a:p>
            <a:r>
              <a:rPr lang="cs-CZ"/>
              <a:t>Kliknutím na ikonu přidáte graf.</a:t>
            </a:r>
          </a:p>
        </p:txBody>
      </p:sp>
      <p:sp>
        <p:nvSpPr>
          <p:cNvPr id="6" name="Zástupný text 14">
            <a:extLst>
              <a:ext uri="{FF2B5EF4-FFF2-40B4-BE49-F238E27FC236}">
                <a16:creationId xmlns:a16="http://schemas.microsoft.com/office/drawing/2014/main" id="{693A1838-2329-7980-800F-63A757B70A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0800" y="5277180"/>
            <a:ext cx="10728000" cy="813600"/>
          </a:xfrm>
          <a:ln w="19050">
            <a:solidFill>
              <a:schemeClr val="accent1"/>
            </a:solidFill>
          </a:ln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/>
            </a:lvl2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7" name="Zástupný text 16">
            <a:extLst>
              <a:ext uri="{FF2B5EF4-FFF2-40B4-BE49-F238E27FC236}">
                <a16:creationId xmlns:a16="http://schemas.microsoft.com/office/drawing/2014/main" id="{8434A227-584A-FA78-238E-9F196670378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97514" y="1223680"/>
            <a:ext cx="3261286" cy="720001"/>
          </a:xfrm>
        </p:spPr>
        <p:txBody>
          <a:bodyPr>
            <a:noAutofit/>
          </a:bodyPr>
          <a:lstStyle>
            <a:lvl1pPr marL="0" indent="0" algn="r">
              <a:buNone/>
              <a:defRPr sz="1200"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149764601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lý nadpis,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Skupina 5">
            <a:extLst>
              <a:ext uri="{FF2B5EF4-FFF2-40B4-BE49-F238E27FC236}">
                <a16:creationId xmlns:a16="http://schemas.microsoft.com/office/drawing/2014/main" id="{9FA37B8F-E31B-4ED9-B938-2436AC45F8B0}"/>
              </a:ext>
            </a:extLst>
          </p:cNvPr>
          <p:cNvGrpSpPr/>
          <p:nvPr userDrawn="1"/>
        </p:nvGrpSpPr>
        <p:grpSpPr>
          <a:xfrm>
            <a:off x="731838" y="6144231"/>
            <a:ext cx="1083291" cy="720000"/>
            <a:chOff x="731838" y="6129338"/>
            <a:chExt cx="1083291" cy="720000"/>
          </a:xfrm>
        </p:grpSpPr>
        <p:sp>
          <p:nvSpPr>
            <p:cNvPr id="13" name="Obdélník 12">
              <a:extLst>
                <a:ext uri="{FF2B5EF4-FFF2-40B4-BE49-F238E27FC236}">
                  <a16:creationId xmlns:a16="http://schemas.microsoft.com/office/drawing/2014/main" id="{E8A2BDC4-6C43-7770-C039-87C8E274A15E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D42D85A1-CE0E-3796-3FB6-1A1B847697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2077AF6-1444-E249-F2EF-ECEF553B616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873024"/>
            <a:ext cx="10728325" cy="5122454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F46746F9-8916-4E3E-46F8-D3D688B1AC86}"/>
              </a:ext>
            </a:extLst>
          </p:cNvPr>
          <p:cNvSpPr/>
          <p:nvPr userDrawn="1"/>
        </p:nvSpPr>
        <p:spPr>
          <a:xfrm>
            <a:off x="0" y="0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B845A84C-9B03-E5F5-E96F-C8A731070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0"/>
            <a:ext cx="11460162" cy="720722"/>
          </a:xfrm>
        </p:spPr>
        <p:txBody>
          <a:bodyPr lIns="0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ECE479D9-A951-26E0-C2EF-C43D3FCAC88B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5" name="Zástupný text 8">
            <a:extLst>
              <a:ext uri="{FF2B5EF4-FFF2-40B4-BE49-F238E27FC236}">
                <a16:creationId xmlns:a16="http://schemas.microsoft.com/office/drawing/2014/main" id="{BF4CF16D-F608-F5E0-D06B-61FE4F1927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</p:spTree>
    <p:extLst>
      <p:ext uri="{BB962C8B-B14F-4D97-AF65-F5344CB8AC3E}">
        <p14:creationId xmlns:p14="http://schemas.microsoft.com/office/powerpoint/2010/main" val="196118636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lý nadpis, graf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Skupina 5">
            <a:extLst>
              <a:ext uri="{FF2B5EF4-FFF2-40B4-BE49-F238E27FC236}">
                <a16:creationId xmlns:a16="http://schemas.microsoft.com/office/drawing/2014/main" id="{9FA37B8F-E31B-4ED9-B938-2436AC45F8B0}"/>
              </a:ext>
            </a:extLst>
          </p:cNvPr>
          <p:cNvGrpSpPr/>
          <p:nvPr userDrawn="1"/>
        </p:nvGrpSpPr>
        <p:grpSpPr>
          <a:xfrm>
            <a:off x="731838" y="6144231"/>
            <a:ext cx="1083291" cy="720000"/>
            <a:chOff x="731838" y="6129338"/>
            <a:chExt cx="1083291" cy="720000"/>
          </a:xfrm>
        </p:grpSpPr>
        <p:sp>
          <p:nvSpPr>
            <p:cNvPr id="13" name="Obdélník 12">
              <a:extLst>
                <a:ext uri="{FF2B5EF4-FFF2-40B4-BE49-F238E27FC236}">
                  <a16:creationId xmlns:a16="http://schemas.microsoft.com/office/drawing/2014/main" id="{E8A2BDC4-6C43-7770-C039-87C8E274A15E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D42D85A1-CE0E-3796-3FB6-1A1B847697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  <p:sp>
        <p:nvSpPr>
          <p:cNvPr id="8" name="Obdélník 7">
            <a:extLst>
              <a:ext uri="{FF2B5EF4-FFF2-40B4-BE49-F238E27FC236}">
                <a16:creationId xmlns:a16="http://schemas.microsoft.com/office/drawing/2014/main" id="{F46746F9-8916-4E3E-46F8-D3D688B1AC86}"/>
              </a:ext>
            </a:extLst>
          </p:cNvPr>
          <p:cNvSpPr/>
          <p:nvPr userDrawn="1"/>
        </p:nvSpPr>
        <p:spPr>
          <a:xfrm>
            <a:off x="0" y="0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B845A84C-9B03-E5F5-E96F-C8A731070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0"/>
            <a:ext cx="11460162" cy="720722"/>
          </a:xfrm>
        </p:spPr>
        <p:txBody>
          <a:bodyPr lIns="0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ECE479D9-A951-26E0-C2EF-C43D3FCAC88B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5" name="Zástupný text 8">
            <a:extLst>
              <a:ext uri="{FF2B5EF4-FFF2-40B4-BE49-F238E27FC236}">
                <a16:creationId xmlns:a16="http://schemas.microsoft.com/office/drawing/2014/main" id="{BF4CF16D-F608-F5E0-D06B-61FE4F1927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  <p:sp>
        <p:nvSpPr>
          <p:cNvPr id="11" name="Zástupný objekt grafu 10">
            <a:extLst>
              <a:ext uri="{FF2B5EF4-FFF2-40B4-BE49-F238E27FC236}">
                <a16:creationId xmlns:a16="http://schemas.microsoft.com/office/drawing/2014/main" id="{2CCDD7A5-4E4F-7E32-7926-F5BD6DE62066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30800" y="1416423"/>
            <a:ext cx="10728000" cy="3626903"/>
          </a:xfrm>
        </p:spPr>
        <p:txBody>
          <a:bodyPr/>
          <a:lstStyle/>
          <a:p>
            <a:r>
              <a:rPr lang="cs-CZ"/>
              <a:t>Kliknutím na ikonu přidáte graf.</a:t>
            </a:r>
            <a:endParaRPr lang="cs-CZ" dirty="0"/>
          </a:p>
        </p:txBody>
      </p:sp>
      <p:sp>
        <p:nvSpPr>
          <p:cNvPr id="15" name="Zástupný text 14">
            <a:extLst>
              <a:ext uri="{FF2B5EF4-FFF2-40B4-BE49-F238E27FC236}">
                <a16:creationId xmlns:a16="http://schemas.microsoft.com/office/drawing/2014/main" id="{E54CAFFC-D28A-B9D7-EF18-CE0F2887901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0800" y="5186979"/>
            <a:ext cx="10728000" cy="813600"/>
          </a:xfrm>
          <a:ln w="19050">
            <a:solidFill>
              <a:schemeClr val="accent1"/>
            </a:solidFill>
          </a:ln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/>
            </a:lvl2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7" name="Zástupný text 16">
            <a:extLst>
              <a:ext uri="{FF2B5EF4-FFF2-40B4-BE49-F238E27FC236}">
                <a16:creationId xmlns:a16="http://schemas.microsoft.com/office/drawing/2014/main" id="{F99509E6-390C-E171-B7E9-F370C7382F8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97516" y="955485"/>
            <a:ext cx="3261286" cy="720000"/>
          </a:xfrm>
        </p:spPr>
        <p:txBody>
          <a:bodyPr>
            <a:noAutofit/>
          </a:bodyPr>
          <a:lstStyle>
            <a:lvl1pPr marL="0" indent="0" algn="r">
              <a:buNone/>
              <a:defRPr sz="1200"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731742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3" name="Obrázek 9">
            <a:extLst>
              <a:ext uri="{FF2B5EF4-FFF2-40B4-BE49-F238E27FC236}">
                <a16:creationId xmlns:a16="http://schemas.microsoft.com/office/drawing/2014/main" id="{9F893109-3837-1967-4990-41EDCC7DF7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1787" y="253404"/>
            <a:ext cx="1470213" cy="352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527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malý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Skupina 5">
            <a:extLst>
              <a:ext uri="{FF2B5EF4-FFF2-40B4-BE49-F238E27FC236}">
                <a16:creationId xmlns:a16="http://schemas.microsoft.com/office/drawing/2014/main" id="{9FA37B8F-E31B-4ED9-B938-2436AC45F8B0}"/>
              </a:ext>
            </a:extLst>
          </p:cNvPr>
          <p:cNvGrpSpPr/>
          <p:nvPr userDrawn="1"/>
        </p:nvGrpSpPr>
        <p:grpSpPr>
          <a:xfrm>
            <a:off x="731838" y="6144231"/>
            <a:ext cx="1083291" cy="720000"/>
            <a:chOff x="731838" y="6129338"/>
            <a:chExt cx="1083291" cy="720000"/>
          </a:xfrm>
        </p:grpSpPr>
        <p:sp>
          <p:nvSpPr>
            <p:cNvPr id="13" name="Obdélník 12">
              <a:extLst>
                <a:ext uri="{FF2B5EF4-FFF2-40B4-BE49-F238E27FC236}">
                  <a16:creationId xmlns:a16="http://schemas.microsoft.com/office/drawing/2014/main" id="{E8A2BDC4-6C43-7770-C039-87C8E274A15E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D42D85A1-CE0E-3796-3FB6-1A1B847697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  <p:sp>
        <p:nvSpPr>
          <p:cNvPr id="8" name="Obdélník 7">
            <a:extLst>
              <a:ext uri="{FF2B5EF4-FFF2-40B4-BE49-F238E27FC236}">
                <a16:creationId xmlns:a16="http://schemas.microsoft.com/office/drawing/2014/main" id="{F46746F9-8916-4E3E-46F8-D3D688B1AC86}"/>
              </a:ext>
            </a:extLst>
          </p:cNvPr>
          <p:cNvSpPr/>
          <p:nvPr userDrawn="1"/>
        </p:nvSpPr>
        <p:spPr>
          <a:xfrm>
            <a:off x="0" y="-2"/>
            <a:ext cx="12192000" cy="72866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B845A84C-9B03-E5F5-E96F-C8A731070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7940"/>
            <a:ext cx="11460162" cy="720722"/>
          </a:xfrm>
        </p:spPr>
        <p:txBody>
          <a:bodyPr lIns="0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15B4E1AD-5241-BB23-6D38-68E746B8E97B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Zástupný text 8">
            <a:extLst>
              <a:ext uri="{FF2B5EF4-FFF2-40B4-BE49-F238E27FC236}">
                <a16:creationId xmlns:a16="http://schemas.microsoft.com/office/drawing/2014/main" id="{87B68CB9-55B6-6A8B-4827-E00145D2E5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</p:spTree>
    <p:extLst>
      <p:ext uri="{BB962C8B-B14F-4D97-AF65-F5344CB8AC3E}">
        <p14:creationId xmlns:p14="http://schemas.microsoft.com/office/powerpoint/2010/main" val="320243865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, nadpis,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8393" y="365125"/>
            <a:ext cx="6281770" cy="1591757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44F03E9-B7DD-0DB9-BE59-19B95CD652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8392" y="2127183"/>
            <a:ext cx="6281771" cy="3994216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-1"/>
            <a:ext cx="6096000" cy="3651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CBBC2331-8763-C5B2-68A1-85820DC30C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8" y="6273700"/>
            <a:ext cx="2196000" cy="432000"/>
          </a:xfrm>
          <a:prstGeom prst="rect">
            <a:avLst/>
          </a:prstGeom>
        </p:spPr>
      </p:pic>
      <p:sp>
        <p:nvSpPr>
          <p:cNvPr id="10" name="Zástupný symbol obrázku 18">
            <a:extLst>
              <a:ext uri="{FF2B5EF4-FFF2-40B4-BE49-F238E27FC236}">
                <a16:creationId xmlns:a16="http://schemas.microsoft.com/office/drawing/2014/main" id="{64BA727E-C5B8-3E3B-6578-64D5C90C690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75703" y="376239"/>
            <a:ext cx="4656087" cy="5753099"/>
          </a:xfr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98669" y="6291700"/>
            <a:ext cx="639692" cy="396000"/>
          </a:xfrm>
          <a:prstGeom prst="rect">
            <a:avLst/>
          </a:prstGeom>
        </p:spPr>
      </p:pic>
      <p:grpSp>
        <p:nvGrpSpPr>
          <p:cNvPr id="11" name="Skupina 10">
            <a:extLst>
              <a:ext uri="{FF2B5EF4-FFF2-40B4-BE49-F238E27FC236}">
                <a16:creationId xmlns:a16="http://schemas.microsoft.com/office/drawing/2014/main" id="{A532D302-088E-4471-9A72-7AFB0B86F202}"/>
              </a:ext>
            </a:extLst>
          </p:cNvPr>
          <p:cNvGrpSpPr/>
          <p:nvPr userDrawn="1"/>
        </p:nvGrpSpPr>
        <p:grpSpPr>
          <a:xfrm>
            <a:off x="10376871" y="6144231"/>
            <a:ext cx="1083291" cy="720000"/>
            <a:chOff x="731838" y="6129338"/>
            <a:chExt cx="1083291" cy="720000"/>
          </a:xfrm>
        </p:grpSpPr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14B0CAD1-A4B6-4EA1-A166-AA5F970FC7FC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FFFB168F-53EC-4E7F-84B8-5230844CA98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3192469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dělovník s fotk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8A8D0CC2-172E-43C5-9C85-8F6AE990459A}"/>
              </a:ext>
            </a:extLst>
          </p:cNvPr>
          <p:cNvSpPr/>
          <p:nvPr userDrawn="1"/>
        </p:nvSpPr>
        <p:spPr>
          <a:xfrm>
            <a:off x="8177370" y="2295939"/>
            <a:ext cx="4012822" cy="22661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64551" y="2779533"/>
            <a:ext cx="3438462" cy="1298934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EDE00BE3-D7A4-222E-EB1C-02362F658C8C}"/>
              </a:ext>
            </a:extLst>
          </p:cNvPr>
          <p:cNvSpPr/>
          <p:nvPr userDrawn="1"/>
        </p:nvSpPr>
        <p:spPr>
          <a:xfrm>
            <a:off x="0" y="6139116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C76A4F77-4ECB-84D8-129C-2720D24CF3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1799" y="891024"/>
            <a:ext cx="639692" cy="396000"/>
          </a:xfrm>
          <a:prstGeom prst="rect">
            <a:avLst/>
          </a:prstGeom>
        </p:spPr>
      </p:pic>
      <p:sp>
        <p:nvSpPr>
          <p:cNvPr id="11" name="Zástupný symbol obrázku 18">
            <a:extLst>
              <a:ext uri="{FF2B5EF4-FFF2-40B4-BE49-F238E27FC236}">
                <a16:creationId xmlns:a16="http://schemas.microsoft.com/office/drawing/2014/main" id="{3E21766A-FBBC-4C6E-85A2-C511EFF7D5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2295939"/>
            <a:ext cx="7983110" cy="2266122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6E3075EE-18D4-417E-80DB-D5BF64468159}"/>
              </a:ext>
            </a:extLst>
          </p:cNvPr>
          <p:cNvSpPr/>
          <p:nvPr userDrawn="1"/>
        </p:nvSpPr>
        <p:spPr>
          <a:xfrm>
            <a:off x="0" y="-1"/>
            <a:ext cx="401463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0450FF12-E7BA-4DF6-902C-B4384B676060}"/>
              </a:ext>
            </a:extLst>
          </p:cNvPr>
          <p:cNvGrpSpPr/>
          <p:nvPr userDrawn="1"/>
        </p:nvGrpSpPr>
        <p:grpSpPr>
          <a:xfrm>
            <a:off x="1645" y="475199"/>
            <a:ext cx="1080000" cy="720000"/>
            <a:chOff x="0" y="475199"/>
            <a:chExt cx="1080000" cy="720000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460BFFC-102B-41D0-BE0E-05968B89F6B9}"/>
                </a:ext>
              </a:extLst>
            </p:cNvPr>
            <p:cNvSpPr/>
            <p:nvPr userDrawn="1"/>
          </p:nvSpPr>
          <p:spPr>
            <a:xfrm>
              <a:off x="0" y="475199"/>
              <a:ext cx="1080000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8" name="Grafický objekt 17">
              <a:extLst>
                <a:ext uri="{FF2B5EF4-FFF2-40B4-BE49-F238E27FC236}">
                  <a16:creationId xmlns:a16="http://schemas.microsoft.com/office/drawing/2014/main" id="{58231576-C339-4388-9256-52393BBA3A2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0154" y="637199"/>
              <a:ext cx="639692" cy="396000"/>
            </a:xfrm>
            <a:prstGeom prst="rect">
              <a:avLst/>
            </a:prstGeom>
          </p:spPr>
        </p:pic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00F74BD2-D76A-7DEB-05F3-9CF402FFD6A8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6222438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dělovník s tex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ástupný text 11">
            <a:extLst>
              <a:ext uri="{FF2B5EF4-FFF2-40B4-BE49-F238E27FC236}">
                <a16:creationId xmlns:a16="http://schemas.microsoft.com/office/drawing/2014/main" id="{AAA198B7-83B3-B629-FB4A-08F345D3D9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4399" y="2297475"/>
            <a:ext cx="7338710" cy="2264586"/>
          </a:xfrm>
        </p:spPr>
        <p:txBody>
          <a:bodyPr wrap="square">
            <a:noAutofit/>
          </a:bodyPr>
          <a:lstStyle>
            <a:lvl1pPr marL="0" indent="0">
              <a:buNone/>
              <a:defRPr sz="360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8A8D0CC2-172E-43C5-9C85-8F6AE990459A}"/>
              </a:ext>
            </a:extLst>
          </p:cNvPr>
          <p:cNvSpPr/>
          <p:nvPr userDrawn="1"/>
        </p:nvSpPr>
        <p:spPr>
          <a:xfrm>
            <a:off x="8177370" y="2295939"/>
            <a:ext cx="4012822" cy="22661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64551" y="2779533"/>
            <a:ext cx="3438462" cy="1298934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EDE00BE3-D7A4-222E-EB1C-02362F658C8C}"/>
              </a:ext>
            </a:extLst>
          </p:cNvPr>
          <p:cNvSpPr/>
          <p:nvPr userDrawn="1"/>
        </p:nvSpPr>
        <p:spPr>
          <a:xfrm>
            <a:off x="0" y="6139116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C76A4F77-4ECB-84D8-129C-2720D24CF3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1799" y="891024"/>
            <a:ext cx="639692" cy="396000"/>
          </a:xfrm>
          <a:prstGeom prst="rect">
            <a:avLst/>
          </a:prstGeom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6E3075EE-18D4-417E-80DB-D5BF64468159}"/>
              </a:ext>
            </a:extLst>
          </p:cNvPr>
          <p:cNvSpPr/>
          <p:nvPr userDrawn="1"/>
        </p:nvSpPr>
        <p:spPr>
          <a:xfrm>
            <a:off x="0" y="-1"/>
            <a:ext cx="401463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0450FF12-E7BA-4DF6-902C-B4384B676060}"/>
              </a:ext>
            </a:extLst>
          </p:cNvPr>
          <p:cNvGrpSpPr/>
          <p:nvPr userDrawn="1"/>
        </p:nvGrpSpPr>
        <p:grpSpPr>
          <a:xfrm>
            <a:off x="1645" y="475199"/>
            <a:ext cx="1080000" cy="720000"/>
            <a:chOff x="0" y="475199"/>
            <a:chExt cx="1080000" cy="720000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460BFFC-102B-41D0-BE0E-05968B89F6B9}"/>
                </a:ext>
              </a:extLst>
            </p:cNvPr>
            <p:cNvSpPr/>
            <p:nvPr userDrawn="1"/>
          </p:nvSpPr>
          <p:spPr>
            <a:xfrm>
              <a:off x="0" y="475199"/>
              <a:ext cx="1080000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8" name="Grafický objekt 17">
              <a:extLst>
                <a:ext uri="{FF2B5EF4-FFF2-40B4-BE49-F238E27FC236}">
                  <a16:creationId xmlns:a16="http://schemas.microsoft.com/office/drawing/2014/main" id="{58231576-C339-4388-9256-52393BBA3A2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0154" y="637199"/>
              <a:ext cx="639692" cy="396000"/>
            </a:xfrm>
            <a:prstGeom prst="rect">
              <a:avLst/>
            </a:prstGeom>
          </p:spPr>
        </p:pic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00F74BD2-D76A-7DEB-05F3-9CF402FFD6A8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75657311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50920DF6-24B2-4278-BD94-C81EE0F4F2CF}"/>
              </a:ext>
            </a:extLst>
          </p:cNvPr>
          <p:cNvSpPr/>
          <p:nvPr userDrawn="1"/>
        </p:nvSpPr>
        <p:spPr>
          <a:xfrm>
            <a:off x="0" y="0"/>
            <a:ext cx="12192000" cy="237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9960667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NS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B629AE11-983F-A48B-EB31-EB0B34C744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75491" y="1425173"/>
            <a:ext cx="9841018" cy="4007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87660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 modr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E800A2A-3E57-67A1-9FC5-281F4B15A2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40059" y="2995034"/>
            <a:ext cx="6911881" cy="867930"/>
          </a:xfrm>
        </p:spPr>
        <p:txBody>
          <a:bodyPr>
            <a:sp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216322492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29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8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3.05.2025</a:t>
            </a:fld>
            <a:endParaRPr lang="cs-CZ" dirty="0"/>
          </a:p>
        </p:txBody>
      </p:sp>
      <p:sp>
        <p:nvSpPr>
          <p:cNvPr id="12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3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5940959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ozdělovní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8A8D0CC2-172E-43C5-9C85-8F6AE990459A}"/>
              </a:ext>
            </a:extLst>
          </p:cNvPr>
          <p:cNvSpPr/>
          <p:nvPr userDrawn="1"/>
        </p:nvSpPr>
        <p:spPr>
          <a:xfrm>
            <a:off x="8177370" y="2295939"/>
            <a:ext cx="4012822" cy="22661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64551" y="2779533"/>
            <a:ext cx="3438462" cy="1298934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EDE00BE3-D7A4-222E-EB1C-02362F658C8C}"/>
              </a:ext>
            </a:extLst>
          </p:cNvPr>
          <p:cNvSpPr/>
          <p:nvPr userDrawn="1"/>
        </p:nvSpPr>
        <p:spPr>
          <a:xfrm>
            <a:off x="0" y="6139116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C76A4F77-4ECB-84D8-129C-2720D24CF3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1799" y="891024"/>
            <a:ext cx="639692" cy="396000"/>
          </a:xfrm>
          <a:prstGeom prst="rect">
            <a:avLst/>
          </a:prstGeom>
        </p:spPr>
      </p:pic>
      <p:sp>
        <p:nvSpPr>
          <p:cNvPr id="11" name="Zástupný symbol obrázku 18">
            <a:extLst>
              <a:ext uri="{FF2B5EF4-FFF2-40B4-BE49-F238E27FC236}">
                <a16:creationId xmlns:a16="http://schemas.microsoft.com/office/drawing/2014/main" id="{3E21766A-FBBC-4C6E-85A2-C511EFF7D5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2295939"/>
            <a:ext cx="7983110" cy="2266122"/>
          </a:xfrm>
        </p:spPr>
        <p:txBody>
          <a:bodyPr/>
          <a:lstStyle/>
          <a:p>
            <a:endParaRPr lang="cs-CZ" dirty="0"/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6E3075EE-18D4-417E-80DB-D5BF64468159}"/>
              </a:ext>
            </a:extLst>
          </p:cNvPr>
          <p:cNvSpPr/>
          <p:nvPr userDrawn="1"/>
        </p:nvSpPr>
        <p:spPr>
          <a:xfrm>
            <a:off x="0" y="-1"/>
            <a:ext cx="401463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0450FF12-E7BA-4DF6-902C-B4384B676060}"/>
              </a:ext>
            </a:extLst>
          </p:cNvPr>
          <p:cNvGrpSpPr/>
          <p:nvPr userDrawn="1"/>
        </p:nvGrpSpPr>
        <p:grpSpPr>
          <a:xfrm>
            <a:off x="1645" y="475199"/>
            <a:ext cx="1080000" cy="720000"/>
            <a:chOff x="0" y="475199"/>
            <a:chExt cx="1080000" cy="720000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460BFFC-102B-41D0-BE0E-05968B89F6B9}"/>
                </a:ext>
              </a:extLst>
            </p:cNvPr>
            <p:cNvSpPr/>
            <p:nvPr userDrawn="1"/>
          </p:nvSpPr>
          <p:spPr>
            <a:xfrm>
              <a:off x="0" y="475199"/>
              <a:ext cx="1080000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8" name="Grafický objekt 17">
              <a:extLst>
                <a:ext uri="{FF2B5EF4-FFF2-40B4-BE49-F238E27FC236}">
                  <a16:creationId xmlns:a16="http://schemas.microsoft.com/office/drawing/2014/main" id="{58231576-C339-4388-9256-52393BBA3A2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0154" y="637199"/>
              <a:ext cx="639692" cy="396000"/>
            </a:xfrm>
            <a:prstGeom prst="rect">
              <a:avLst/>
            </a:prstGeom>
          </p:spPr>
        </p:pic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00F74BD2-D76A-7DEB-05F3-9CF402FFD6A8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7660290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zadi seda">
            <a:extLst>
              <a:ext uri="{FF2B5EF4-FFF2-40B4-BE49-F238E27FC236}">
                <a16:creationId xmlns:a16="http://schemas.microsoft.com/office/drawing/2014/main" id="{C6DB6EA3-D18B-4247-B7E0-D3F0ED4ABC66}"/>
              </a:ext>
            </a:extLst>
          </p:cNvPr>
          <p:cNvSpPr/>
          <p:nvPr userDrawn="1"/>
        </p:nvSpPr>
        <p:spPr bwMode="gray">
          <a:xfrm>
            <a:off x="0" y="1899462"/>
            <a:ext cx="12192000" cy="4028858"/>
          </a:xfrm>
          <a:prstGeom prst="rect">
            <a:avLst/>
          </a:prstGeom>
          <a:solidFill>
            <a:schemeClr val="bg1">
              <a:lumMod val="95000"/>
              <a:alpha val="6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2" name="Linka cervena">
            <a:extLst>
              <a:ext uri="{FF2B5EF4-FFF2-40B4-BE49-F238E27FC236}">
                <a16:creationId xmlns:a16="http://schemas.microsoft.com/office/drawing/2014/main" id="{B9205121-7638-4ABD-95F5-177B33D17428}"/>
              </a:ext>
            </a:extLst>
          </p:cNvPr>
          <p:cNvSpPr/>
          <p:nvPr userDrawn="1"/>
        </p:nvSpPr>
        <p:spPr>
          <a:xfrm flipV="1">
            <a:off x="5552" y="5881971"/>
            <a:ext cx="12173011" cy="36000"/>
          </a:xfrm>
          <a:prstGeom prst="rect">
            <a:avLst/>
          </a:prstGeom>
          <a:solidFill>
            <a:srgbClr val="D71440"/>
          </a:solidFill>
          <a:ln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8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805" y="6275298"/>
            <a:ext cx="3763463" cy="324000"/>
          </a:xfrm>
          <a:prstGeom prst="rect">
            <a:avLst/>
          </a:prstGeom>
        </p:spPr>
      </p:pic>
      <p:pic>
        <p:nvPicPr>
          <p:cNvPr id="6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9537" y="6124324"/>
            <a:ext cx="822458" cy="540000"/>
          </a:xfrm>
          <a:prstGeom prst="rect">
            <a:avLst/>
          </a:prstGeom>
        </p:spPr>
      </p:pic>
      <p:pic>
        <p:nvPicPr>
          <p:cNvPr id="11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113" y="2607870"/>
            <a:ext cx="5715760" cy="2224771"/>
          </a:xfrm>
          <a:prstGeom prst="rect">
            <a:avLst/>
          </a:prstGeom>
        </p:spPr>
      </p:pic>
      <p:pic>
        <p:nvPicPr>
          <p:cNvPr id="61" name="Ikona 7">
            <a:extLst>
              <a:ext uri="{FF2B5EF4-FFF2-40B4-BE49-F238E27FC236}">
                <a16:creationId xmlns:a16="http://schemas.microsoft.com/office/drawing/2014/main" id="{1E522FD7-51BC-4B8E-A68D-8A0B5E4169E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5605" y="3727037"/>
            <a:ext cx="791389" cy="792000"/>
          </a:xfrm>
          <a:prstGeom prst="rect">
            <a:avLst/>
          </a:prstGeom>
        </p:spPr>
      </p:pic>
      <p:pic>
        <p:nvPicPr>
          <p:cNvPr id="62" name="Ikona 6">
            <a:extLst>
              <a:ext uri="{FF2B5EF4-FFF2-40B4-BE49-F238E27FC236}">
                <a16:creationId xmlns:a16="http://schemas.microsoft.com/office/drawing/2014/main" id="{E01AA11B-D042-44CE-8E91-BAD234FB490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5916" y="2819547"/>
            <a:ext cx="791389" cy="792000"/>
          </a:xfrm>
          <a:prstGeom prst="rect">
            <a:avLst/>
          </a:prstGeom>
        </p:spPr>
      </p:pic>
      <p:pic>
        <p:nvPicPr>
          <p:cNvPr id="63" name="Ikona 5">
            <a:extLst>
              <a:ext uri="{FF2B5EF4-FFF2-40B4-BE49-F238E27FC236}">
                <a16:creationId xmlns:a16="http://schemas.microsoft.com/office/drawing/2014/main" id="{6E1D9AE5-9B01-4D1E-A130-EA1856689D6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4327" y="2821182"/>
            <a:ext cx="791389" cy="792000"/>
          </a:xfrm>
          <a:prstGeom prst="rect">
            <a:avLst/>
          </a:prstGeom>
        </p:spPr>
      </p:pic>
      <p:pic>
        <p:nvPicPr>
          <p:cNvPr id="64" name="Ikona 4">
            <a:extLst>
              <a:ext uri="{FF2B5EF4-FFF2-40B4-BE49-F238E27FC236}">
                <a16:creationId xmlns:a16="http://schemas.microsoft.com/office/drawing/2014/main" id="{78221017-9FB8-4EF8-A88B-38444E30A279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4197" y="2826357"/>
            <a:ext cx="788298" cy="792000"/>
          </a:xfrm>
          <a:prstGeom prst="rect">
            <a:avLst/>
          </a:prstGeom>
        </p:spPr>
      </p:pic>
      <p:pic>
        <p:nvPicPr>
          <p:cNvPr id="65" name="Ikona 3">
            <a:extLst>
              <a:ext uri="{FF2B5EF4-FFF2-40B4-BE49-F238E27FC236}">
                <a16:creationId xmlns:a16="http://schemas.microsoft.com/office/drawing/2014/main" id="{D435ECA9-9699-4A70-9ABD-16C688E3468C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1468" y="2827327"/>
            <a:ext cx="788298" cy="792000"/>
          </a:xfrm>
          <a:prstGeom prst="rect">
            <a:avLst/>
          </a:prstGeom>
        </p:spPr>
      </p:pic>
      <p:pic>
        <p:nvPicPr>
          <p:cNvPr id="66" name="Ikona 2">
            <a:extLst>
              <a:ext uri="{FF2B5EF4-FFF2-40B4-BE49-F238E27FC236}">
                <a16:creationId xmlns:a16="http://schemas.microsoft.com/office/drawing/2014/main" id="{06B998D0-4DD3-4617-8B85-7A97769C7BF7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1592" y="3720280"/>
            <a:ext cx="791389" cy="792000"/>
          </a:xfrm>
          <a:prstGeom prst="rect">
            <a:avLst/>
          </a:prstGeom>
        </p:spPr>
      </p:pic>
      <p:pic>
        <p:nvPicPr>
          <p:cNvPr id="67" name="Ikona 1">
            <a:extLst>
              <a:ext uri="{FF2B5EF4-FFF2-40B4-BE49-F238E27FC236}">
                <a16:creationId xmlns:a16="http://schemas.microsoft.com/office/drawing/2014/main" id="{CDFE4053-986D-4CF5-BB65-55DDA986CB79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5004" y="3714480"/>
            <a:ext cx="794492" cy="792000"/>
          </a:xfrm>
          <a:prstGeom prst="rect">
            <a:avLst/>
          </a:prstGeom>
        </p:spPr>
      </p:pic>
      <p:pic>
        <p:nvPicPr>
          <p:cNvPr id="9" name="Vlajka CR">
            <a:extLst>
              <a:ext uri="{FF2B5EF4-FFF2-40B4-BE49-F238E27FC236}">
                <a16:creationId xmlns:a16="http://schemas.microsoft.com/office/drawing/2014/main" id="{471DD38C-87B2-4EF0-9C4F-92FAABA3B665}"/>
              </a:ext>
            </a:extLst>
          </p:cNvPr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525177" y="249066"/>
            <a:ext cx="540000" cy="36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" name="Vlajka EU">
            <a:extLst>
              <a:ext uri="{FF2B5EF4-FFF2-40B4-BE49-F238E27FC236}">
                <a16:creationId xmlns:a16="http://schemas.microsoft.com/office/drawing/2014/main" id="{F0605D3E-9EE4-4CE0-8944-A11CBF44BE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118"/>
          <a:stretch/>
        </p:blipFill>
        <p:spPr>
          <a:xfrm>
            <a:off x="10876478" y="245794"/>
            <a:ext cx="538775" cy="360000"/>
          </a:xfrm>
          <a:prstGeom prst="rect">
            <a:avLst/>
          </a:prstGeom>
        </p:spPr>
      </p:pic>
      <p:sp>
        <p:nvSpPr>
          <p:cNvPr id="41" name="Podnadpis">
            <a:extLst>
              <a:ext uri="{FF2B5EF4-FFF2-40B4-BE49-F238E27FC236}">
                <a16:creationId xmlns:a16="http://schemas.microsoft.com/office/drawing/2014/main" id="{A48B58A5-C806-4673-B1BA-E9829457EA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0806" y="5471177"/>
            <a:ext cx="8608732" cy="468000"/>
          </a:xfrm>
          <a:noFill/>
        </p:spPr>
        <p:txBody>
          <a:bodyPr anchor="ctr"/>
          <a:lstStyle>
            <a:lvl1pPr marL="0" indent="0">
              <a:buNone/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cs-CZ" dirty="0"/>
              <a:t>Vložte podnadpis</a:t>
            </a:r>
          </a:p>
        </p:txBody>
      </p:sp>
      <p:sp>
        <p:nvSpPr>
          <p:cNvPr id="13" name="Nadpis">
            <a:extLst>
              <a:ext uri="{FF2B5EF4-FFF2-40B4-BE49-F238E27FC236}">
                <a16:creationId xmlns:a16="http://schemas.microsoft.com/office/drawing/2014/main" id="{99BDED9C-93B2-4C0D-BE31-6A2F4570EB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391" y="240974"/>
            <a:ext cx="8648147" cy="1598025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defRPr lang="cs-CZ" sz="3600" b="1" kern="1200">
                <a:solidFill>
                  <a:srgbClr val="2E598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29" name="Ovál 29">
            <a:extLst>
              <a:ext uri="{FF2B5EF4-FFF2-40B4-BE49-F238E27FC236}">
                <a16:creationId xmlns:a16="http://schemas.microsoft.com/office/drawing/2014/main" id="{E411B488-D6A9-4125-9226-91E8FF7C26F2}"/>
              </a:ext>
            </a:extLst>
          </p:cNvPr>
          <p:cNvSpPr/>
          <p:nvPr userDrawn="1"/>
        </p:nvSpPr>
        <p:spPr>
          <a:xfrm>
            <a:off x="8139289" y="752121"/>
            <a:ext cx="1747911" cy="1747911"/>
          </a:xfrm>
          <a:prstGeom prst="ellipse">
            <a:avLst/>
          </a:prstGeom>
          <a:solidFill>
            <a:schemeClr val="bg1"/>
          </a:solidFill>
          <a:ln w="19050"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Ovál 30">
            <a:extLst>
              <a:ext uri="{FF2B5EF4-FFF2-40B4-BE49-F238E27FC236}">
                <a16:creationId xmlns:a16="http://schemas.microsoft.com/office/drawing/2014/main" id="{822DE0E7-21EC-4CAD-9CAC-791515B7EB64}"/>
              </a:ext>
            </a:extLst>
          </p:cNvPr>
          <p:cNvSpPr/>
          <p:nvPr userDrawn="1"/>
        </p:nvSpPr>
        <p:spPr>
          <a:xfrm>
            <a:off x="8256659" y="869491"/>
            <a:ext cx="1513171" cy="1513171"/>
          </a:xfrm>
          <a:prstGeom prst="ellipse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7F79A67F-5DE8-F2B4-3423-2F232835C53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294400" y="1162800"/>
            <a:ext cx="1457522" cy="882000"/>
            <a:chOff x="3727418" y="1998630"/>
            <a:chExt cx="4732781" cy="2863977"/>
          </a:xfrm>
        </p:grpSpPr>
        <p:sp>
          <p:nvSpPr>
            <p:cNvPr id="24" name="Volný tvar: obrazec 23">
              <a:extLst>
                <a:ext uri="{FF2B5EF4-FFF2-40B4-BE49-F238E27FC236}">
                  <a16:creationId xmlns:a16="http://schemas.microsoft.com/office/drawing/2014/main" id="{D2F943EE-94F2-FEAE-751F-68C16F8C70E6}"/>
                </a:ext>
              </a:extLst>
            </p:cNvPr>
            <p:cNvSpPr>
              <a:spLocks noChangeAspect="1"/>
            </p:cNvSpPr>
            <p:nvPr userDrawn="1">
              <p:custDataLst>
                <p:tags r:id="rId2"/>
              </p:custDataLst>
            </p:nvPr>
          </p:nvSpPr>
          <p:spPr>
            <a:xfrm>
              <a:off x="4319492" y="1998630"/>
              <a:ext cx="1182528" cy="1101852"/>
            </a:xfrm>
            <a:custGeom>
              <a:avLst/>
              <a:gdLst>
                <a:gd name="connsiteX0" fmla="*/ 1180148 w 1182528"/>
                <a:gd name="connsiteY0" fmla="*/ 147257 h 1101852"/>
                <a:gd name="connsiteX1" fmla="*/ 1175290 w 1182528"/>
                <a:gd name="connsiteY1" fmla="*/ 146304 h 1101852"/>
                <a:gd name="connsiteX2" fmla="*/ 1165003 w 1182528"/>
                <a:gd name="connsiteY2" fmla="*/ 154019 h 1101852"/>
                <a:gd name="connsiteX3" fmla="*/ 1158526 w 1182528"/>
                <a:gd name="connsiteY3" fmla="*/ 153257 h 1101852"/>
                <a:gd name="connsiteX4" fmla="*/ 1154144 w 1182528"/>
                <a:gd name="connsiteY4" fmla="*/ 156972 h 1101852"/>
                <a:gd name="connsiteX5" fmla="*/ 1146239 w 1182528"/>
                <a:gd name="connsiteY5" fmla="*/ 158020 h 1101852"/>
                <a:gd name="connsiteX6" fmla="*/ 1134428 w 1182528"/>
                <a:gd name="connsiteY6" fmla="*/ 165926 h 1101852"/>
                <a:gd name="connsiteX7" fmla="*/ 1130903 w 1182528"/>
                <a:gd name="connsiteY7" fmla="*/ 163163 h 1101852"/>
                <a:gd name="connsiteX8" fmla="*/ 1122617 w 1182528"/>
                <a:gd name="connsiteY8" fmla="*/ 161068 h 1101852"/>
                <a:gd name="connsiteX9" fmla="*/ 1120045 w 1182528"/>
                <a:gd name="connsiteY9" fmla="*/ 153353 h 1101852"/>
                <a:gd name="connsiteX10" fmla="*/ 1126331 w 1182528"/>
                <a:gd name="connsiteY10" fmla="*/ 139732 h 1101852"/>
                <a:gd name="connsiteX11" fmla="*/ 1134809 w 1182528"/>
                <a:gd name="connsiteY11" fmla="*/ 130588 h 1101852"/>
                <a:gd name="connsiteX12" fmla="*/ 1135571 w 1182528"/>
                <a:gd name="connsiteY12" fmla="*/ 124111 h 1101852"/>
                <a:gd name="connsiteX13" fmla="*/ 1143381 w 1182528"/>
                <a:gd name="connsiteY13" fmla="*/ 110300 h 1101852"/>
                <a:gd name="connsiteX14" fmla="*/ 1141190 w 1182528"/>
                <a:gd name="connsiteY14" fmla="*/ 105728 h 1101852"/>
                <a:gd name="connsiteX15" fmla="*/ 1143953 w 1182528"/>
                <a:gd name="connsiteY15" fmla="*/ 102203 h 1101852"/>
                <a:gd name="connsiteX16" fmla="*/ 1143381 w 1182528"/>
                <a:gd name="connsiteY16" fmla="*/ 97441 h 1101852"/>
                <a:gd name="connsiteX17" fmla="*/ 1145953 w 1182528"/>
                <a:gd name="connsiteY17" fmla="*/ 92297 h 1101852"/>
                <a:gd name="connsiteX18" fmla="*/ 1146048 w 1182528"/>
                <a:gd name="connsiteY18" fmla="*/ 81058 h 1101852"/>
                <a:gd name="connsiteX19" fmla="*/ 1142905 w 1182528"/>
                <a:gd name="connsiteY19" fmla="*/ 81439 h 1101852"/>
                <a:gd name="connsiteX20" fmla="*/ 1135571 w 1182528"/>
                <a:gd name="connsiteY20" fmla="*/ 74390 h 1101852"/>
                <a:gd name="connsiteX21" fmla="*/ 1133189 w 1182528"/>
                <a:gd name="connsiteY21" fmla="*/ 68294 h 1101852"/>
                <a:gd name="connsiteX22" fmla="*/ 1124140 w 1182528"/>
                <a:gd name="connsiteY22" fmla="*/ 59817 h 1101852"/>
                <a:gd name="connsiteX23" fmla="*/ 1122140 w 1182528"/>
                <a:gd name="connsiteY23" fmla="*/ 56864 h 1101852"/>
                <a:gd name="connsiteX24" fmla="*/ 1119188 w 1182528"/>
                <a:gd name="connsiteY24" fmla="*/ 58865 h 1101852"/>
                <a:gd name="connsiteX25" fmla="*/ 1103662 w 1182528"/>
                <a:gd name="connsiteY25" fmla="*/ 62389 h 1101852"/>
                <a:gd name="connsiteX26" fmla="*/ 1101852 w 1182528"/>
                <a:gd name="connsiteY26" fmla="*/ 61055 h 1101852"/>
                <a:gd name="connsiteX27" fmla="*/ 1101661 w 1182528"/>
                <a:gd name="connsiteY27" fmla="*/ 59436 h 1101852"/>
                <a:gd name="connsiteX28" fmla="*/ 1102805 w 1182528"/>
                <a:gd name="connsiteY28" fmla="*/ 56102 h 1101852"/>
                <a:gd name="connsiteX29" fmla="*/ 1105757 w 1182528"/>
                <a:gd name="connsiteY29" fmla="*/ 54102 h 1101852"/>
                <a:gd name="connsiteX30" fmla="*/ 1105567 w 1182528"/>
                <a:gd name="connsiteY30" fmla="*/ 52578 h 1101852"/>
                <a:gd name="connsiteX31" fmla="*/ 1100042 w 1182528"/>
                <a:gd name="connsiteY31" fmla="*/ 46863 h 1101852"/>
                <a:gd name="connsiteX32" fmla="*/ 1078516 w 1182528"/>
                <a:gd name="connsiteY32" fmla="*/ 41529 h 1101852"/>
                <a:gd name="connsiteX33" fmla="*/ 1078706 w 1182528"/>
                <a:gd name="connsiteY33" fmla="*/ 30290 h 1101852"/>
                <a:gd name="connsiteX34" fmla="*/ 1083564 w 1182528"/>
                <a:gd name="connsiteY34" fmla="*/ 18479 h 1101852"/>
                <a:gd name="connsiteX35" fmla="*/ 1079659 w 1182528"/>
                <a:gd name="connsiteY35" fmla="*/ 12573 h 1101852"/>
                <a:gd name="connsiteX36" fmla="*/ 1072134 w 1182528"/>
                <a:gd name="connsiteY36" fmla="*/ 16764 h 1101852"/>
                <a:gd name="connsiteX37" fmla="*/ 1074896 w 1182528"/>
                <a:gd name="connsiteY37" fmla="*/ 26003 h 1101852"/>
                <a:gd name="connsiteX38" fmla="*/ 1073372 w 1182528"/>
                <a:gd name="connsiteY38" fmla="*/ 39053 h 1101852"/>
                <a:gd name="connsiteX39" fmla="*/ 1061942 w 1182528"/>
                <a:gd name="connsiteY39" fmla="*/ 37243 h 1101852"/>
                <a:gd name="connsiteX40" fmla="*/ 1061276 w 1182528"/>
                <a:gd name="connsiteY40" fmla="*/ 32576 h 1101852"/>
                <a:gd name="connsiteX41" fmla="*/ 1059561 w 1182528"/>
                <a:gd name="connsiteY41" fmla="*/ 31147 h 1101852"/>
                <a:gd name="connsiteX42" fmla="*/ 1054036 w 1182528"/>
                <a:gd name="connsiteY42" fmla="*/ 25432 h 1101852"/>
                <a:gd name="connsiteX43" fmla="*/ 1047464 w 1182528"/>
                <a:gd name="connsiteY43" fmla="*/ 24670 h 1101852"/>
                <a:gd name="connsiteX44" fmla="*/ 1032891 w 1182528"/>
                <a:gd name="connsiteY44" fmla="*/ 36195 h 1101852"/>
                <a:gd name="connsiteX45" fmla="*/ 1031557 w 1182528"/>
                <a:gd name="connsiteY45" fmla="*/ 37910 h 1101852"/>
                <a:gd name="connsiteX46" fmla="*/ 1024223 w 1182528"/>
                <a:gd name="connsiteY46" fmla="*/ 43625 h 1101852"/>
                <a:gd name="connsiteX47" fmla="*/ 1017746 w 1182528"/>
                <a:gd name="connsiteY47" fmla="*/ 42863 h 1101852"/>
                <a:gd name="connsiteX48" fmla="*/ 1009269 w 1182528"/>
                <a:gd name="connsiteY48" fmla="*/ 39148 h 1101852"/>
                <a:gd name="connsiteX49" fmla="*/ 1004126 w 1182528"/>
                <a:gd name="connsiteY49" fmla="*/ 36576 h 1101852"/>
                <a:gd name="connsiteX50" fmla="*/ 998982 w 1182528"/>
                <a:gd name="connsiteY50" fmla="*/ 34100 h 1101852"/>
                <a:gd name="connsiteX51" fmla="*/ 997363 w 1182528"/>
                <a:gd name="connsiteY51" fmla="*/ 21431 h 1101852"/>
                <a:gd name="connsiteX52" fmla="*/ 992410 w 1182528"/>
                <a:gd name="connsiteY52" fmla="*/ 20479 h 1101852"/>
                <a:gd name="connsiteX53" fmla="*/ 985076 w 1182528"/>
                <a:gd name="connsiteY53" fmla="*/ 13335 h 1101852"/>
                <a:gd name="connsiteX54" fmla="*/ 974217 w 1182528"/>
                <a:gd name="connsiteY54" fmla="*/ 16383 h 1101852"/>
                <a:gd name="connsiteX55" fmla="*/ 972884 w 1182528"/>
                <a:gd name="connsiteY55" fmla="*/ 18098 h 1101852"/>
                <a:gd name="connsiteX56" fmla="*/ 966597 w 1182528"/>
                <a:gd name="connsiteY56" fmla="*/ 18955 h 1101852"/>
                <a:gd name="connsiteX57" fmla="*/ 960406 w 1182528"/>
                <a:gd name="connsiteY57" fmla="*/ 8477 h 1101852"/>
                <a:gd name="connsiteX58" fmla="*/ 951357 w 1182528"/>
                <a:gd name="connsiteY58" fmla="*/ 0 h 1101852"/>
                <a:gd name="connsiteX59" fmla="*/ 943451 w 1182528"/>
                <a:gd name="connsiteY59" fmla="*/ 1048 h 1101852"/>
                <a:gd name="connsiteX60" fmla="*/ 939356 w 1182528"/>
                <a:gd name="connsiteY60" fmla="*/ 6382 h 1101852"/>
                <a:gd name="connsiteX61" fmla="*/ 934402 w 1182528"/>
                <a:gd name="connsiteY61" fmla="*/ 18193 h 1101852"/>
                <a:gd name="connsiteX62" fmla="*/ 924497 w 1182528"/>
                <a:gd name="connsiteY62" fmla="*/ 16288 h 1101852"/>
                <a:gd name="connsiteX63" fmla="*/ 925163 w 1182528"/>
                <a:gd name="connsiteY63" fmla="*/ 21050 h 1101852"/>
                <a:gd name="connsiteX64" fmla="*/ 928497 w 1182528"/>
                <a:gd name="connsiteY64" fmla="*/ 22193 h 1101852"/>
                <a:gd name="connsiteX65" fmla="*/ 932498 w 1182528"/>
                <a:gd name="connsiteY65" fmla="*/ 28099 h 1101852"/>
                <a:gd name="connsiteX66" fmla="*/ 931735 w 1182528"/>
                <a:gd name="connsiteY66" fmla="*/ 34576 h 1101852"/>
                <a:gd name="connsiteX67" fmla="*/ 927735 w 1182528"/>
                <a:gd name="connsiteY67" fmla="*/ 41529 h 1101852"/>
                <a:gd name="connsiteX68" fmla="*/ 929735 w 1182528"/>
                <a:gd name="connsiteY68" fmla="*/ 44482 h 1101852"/>
                <a:gd name="connsiteX69" fmla="*/ 919448 w 1182528"/>
                <a:gd name="connsiteY69" fmla="*/ 52197 h 1101852"/>
                <a:gd name="connsiteX70" fmla="*/ 916114 w 1182528"/>
                <a:gd name="connsiteY70" fmla="*/ 51054 h 1101852"/>
                <a:gd name="connsiteX71" fmla="*/ 915352 w 1182528"/>
                <a:gd name="connsiteY71" fmla="*/ 57531 h 1101852"/>
                <a:gd name="connsiteX72" fmla="*/ 920877 w 1182528"/>
                <a:gd name="connsiteY72" fmla="*/ 63246 h 1101852"/>
                <a:gd name="connsiteX73" fmla="*/ 914019 w 1182528"/>
                <a:gd name="connsiteY73" fmla="*/ 72104 h 1101852"/>
                <a:gd name="connsiteX74" fmla="*/ 913067 w 1182528"/>
                <a:gd name="connsiteY74" fmla="*/ 77057 h 1101852"/>
                <a:gd name="connsiteX75" fmla="*/ 916781 w 1182528"/>
                <a:gd name="connsiteY75" fmla="*/ 81439 h 1101852"/>
                <a:gd name="connsiteX76" fmla="*/ 924877 w 1182528"/>
                <a:gd name="connsiteY76" fmla="*/ 82010 h 1101852"/>
                <a:gd name="connsiteX77" fmla="*/ 932212 w 1182528"/>
                <a:gd name="connsiteY77" fmla="*/ 89059 h 1101852"/>
                <a:gd name="connsiteX78" fmla="*/ 935355 w 1182528"/>
                <a:gd name="connsiteY78" fmla="*/ 88678 h 1101852"/>
                <a:gd name="connsiteX79" fmla="*/ 940118 w 1182528"/>
                <a:gd name="connsiteY79" fmla="*/ 88106 h 1101852"/>
                <a:gd name="connsiteX80" fmla="*/ 948976 w 1182528"/>
                <a:gd name="connsiteY80" fmla="*/ 82106 h 1101852"/>
                <a:gd name="connsiteX81" fmla="*/ 956881 w 1182528"/>
                <a:gd name="connsiteY81" fmla="*/ 81153 h 1101852"/>
                <a:gd name="connsiteX82" fmla="*/ 960596 w 1182528"/>
                <a:gd name="connsiteY82" fmla="*/ 85439 h 1101852"/>
                <a:gd name="connsiteX83" fmla="*/ 959453 w 1182528"/>
                <a:gd name="connsiteY83" fmla="*/ 88773 h 1101852"/>
                <a:gd name="connsiteX84" fmla="*/ 960215 w 1182528"/>
                <a:gd name="connsiteY84" fmla="*/ 95155 h 1101852"/>
                <a:gd name="connsiteX85" fmla="*/ 955548 w 1182528"/>
                <a:gd name="connsiteY85" fmla="*/ 95726 h 1101852"/>
                <a:gd name="connsiteX86" fmla="*/ 952119 w 1182528"/>
                <a:gd name="connsiteY86" fmla="*/ 94583 h 1101852"/>
                <a:gd name="connsiteX87" fmla="*/ 942118 w 1182528"/>
                <a:gd name="connsiteY87" fmla="*/ 103822 h 1101852"/>
                <a:gd name="connsiteX88" fmla="*/ 954119 w 1182528"/>
                <a:gd name="connsiteY88" fmla="*/ 110300 h 1101852"/>
                <a:gd name="connsiteX89" fmla="*/ 954405 w 1182528"/>
                <a:gd name="connsiteY89" fmla="*/ 111919 h 1101852"/>
                <a:gd name="connsiteX90" fmla="*/ 950023 w 1182528"/>
                <a:gd name="connsiteY90" fmla="*/ 115634 h 1101852"/>
                <a:gd name="connsiteX91" fmla="*/ 958882 w 1182528"/>
                <a:gd name="connsiteY91" fmla="*/ 122587 h 1101852"/>
                <a:gd name="connsiteX92" fmla="*/ 971740 w 1182528"/>
                <a:gd name="connsiteY92" fmla="*/ 122491 h 1101852"/>
                <a:gd name="connsiteX93" fmla="*/ 975551 w 1182528"/>
                <a:gd name="connsiteY93" fmla="*/ 126873 h 1101852"/>
                <a:gd name="connsiteX94" fmla="*/ 978884 w 1182528"/>
                <a:gd name="connsiteY94" fmla="*/ 128016 h 1101852"/>
                <a:gd name="connsiteX95" fmla="*/ 984218 w 1182528"/>
                <a:gd name="connsiteY95" fmla="*/ 132207 h 1101852"/>
                <a:gd name="connsiteX96" fmla="*/ 988695 w 1182528"/>
                <a:gd name="connsiteY96" fmla="*/ 130016 h 1101852"/>
                <a:gd name="connsiteX97" fmla="*/ 989362 w 1182528"/>
                <a:gd name="connsiteY97" fmla="*/ 134684 h 1101852"/>
                <a:gd name="connsiteX98" fmla="*/ 992696 w 1182528"/>
                <a:gd name="connsiteY98" fmla="*/ 135922 h 1101852"/>
                <a:gd name="connsiteX99" fmla="*/ 1001744 w 1182528"/>
                <a:gd name="connsiteY99" fmla="*/ 131540 h 1101852"/>
                <a:gd name="connsiteX100" fmla="*/ 1007269 w 1182528"/>
                <a:gd name="connsiteY100" fmla="*/ 137255 h 1101852"/>
                <a:gd name="connsiteX101" fmla="*/ 1011079 w 1182528"/>
                <a:gd name="connsiteY101" fmla="*/ 141542 h 1101852"/>
                <a:gd name="connsiteX102" fmla="*/ 1009936 w 1182528"/>
                <a:gd name="connsiteY102" fmla="*/ 144971 h 1101852"/>
                <a:gd name="connsiteX103" fmla="*/ 1010888 w 1182528"/>
                <a:gd name="connsiteY103" fmla="*/ 152781 h 1101852"/>
                <a:gd name="connsiteX104" fmla="*/ 1003173 w 1182528"/>
                <a:gd name="connsiteY104" fmla="*/ 155448 h 1101852"/>
                <a:gd name="connsiteX105" fmla="*/ 1006602 w 1182528"/>
                <a:gd name="connsiteY105" fmla="*/ 156591 h 1101852"/>
                <a:gd name="connsiteX106" fmla="*/ 1005364 w 1182528"/>
                <a:gd name="connsiteY106" fmla="*/ 159925 h 1101852"/>
                <a:gd name="connsiteX107" fmla="*/ 1002030 w 1182528"/>
                <a:gd name="connsiteY107" fmla="*/ 158782 h 1101852"/>
                <a:gd name="connsiteX108" fmla="*/ 1002221 w 1182528"/>
                <a:gd name="connsiteY108" fmla="*/ 160306 h 1101852"/>
                <a:gd name="connsiteX109" fmla="*/ 1000697 w 1182528"/>
                <a:gd name="connsiteY109" fmla="*/ 160496 h 1101852"/>
                <a:gd name="connsiteX110" fmla="*/ 1001839 w 1182528"/>
                <a:gd name="connsiteY110" fmla="*/ 170021 h 1101852"/>
                <a:gd name="connsiteX111" fmla="*/ 1001459 w 1182528"/>
                <a:gd name="connsiteY111" fmla="*/ 179642 h 1101852"/>
                <a:gd name="connsiteX112" fmla="*/ 1000125 w 1182528"/>
                <a:gd name="connsiteY112" fmla="*/ 181451 h 1101852"/>
                <a:gd name="connsiteX113" fmla="*/ 992219 w 1182528"/>
                <a:gd name="connsiteY113" fmla="*/ 182499 h 1101852"/>
                <a:gd name="connsiteX114" fmla="*/ 980599 w 1182528"/>
                <a:gd name="connsiteY114" fmla="*/ 179165 h 1101852"/>
                <a:gd name="connsiteX115" fmla="*/ 979170 w 1182528"/>
                <a:gd name="connsiteY115" fmla="*/ 180880 h 1101852"/>
                <a:gd name="connsiteX116" fmla="*/ 975646 w 1182528"/>
                <a:gd name="connsiteY116" fmla="*/ 178118 h 1101852"/>
                <a:gd name="connsiteX117" fmla="*/ 976408 w 1182528"/>
                <a:gd name="connsiteY117" fmla="*/ 184499 h 1101852"/>
                <a:gd name="connsiteX118" fmla="*/ 973646 w 1182528"/>
                <a:gd name="connsiteY118" fmla="*/ 188024 h 1101852"/>
                <a:gd name="connsiteX119" fmla="*/ 959644 w 1182528"/>
                <a:gd name="connsiteY119" fmla="*/ 191453 h 1101852"/>
                <a:gd name="connsiteX120" fmla="*/ 956310 w 1182528"/>
                <a:gd name="connsiteY120" fmla="*/ 190214 h 1101852"/>
                <a:gd name="connsiteX121" fmla="*/ 944309 w 1182528"/>
                <a:gd name="connsiteY121" fmla="*/ 196596 h 1101852"/>
                <a:gd name="connsiteX122" fmla="*/ 936022 w 1182528"/>
                <a:gd name="connsiteY122" fmla="*/ 194405 h 1101852"/>
                <a:gd name="connsiteX123" fmla="*/ 930307 w 1182528"/>
                <a:gd name="connsiteY123" fmla="*/ 187166 h 1101852"/>
                <a:gd name="connsiteX124" fmla="*/ 920210 w 1182528"/>
                <a:gd name="connsiteY124" fmla="*/ 183642 h 1101852"/>
                <a:gd name="connsiteX125" fmla="*/ 908399 w 1182528"/>
                <a:gd name="connsiteY125" fmla="*/ 191548 h 1101852"/>
                <a:gd name="connsiteX126" fmla="*/ 903827 w 1182528"/>
                <a:gd name="connsiteY126" fmla="*/ 193739 h 1101852"/>
                <a:gd name="connsiteX127" fmla="*/ 895540 w 1182528"/>
                <a:gd name="connsiteY127" fmla="*/ 191548 h 1101852"/>
                <a:gd name="connsiteX128" fmla="*/ 896969 w 1182528"/>
                <a:gd name="connsiteY128" fmla="*/ 202597 h 1101852"/>
                <a:gd name="connsiteX129" fmla="*/ 888302 w 1182528"/>
                <a:gd name="connsiteY129" fmla="*/ 222980 h 1101852"/>
                <a:gd name="connsiteX130" fmla="*/ 884968 w 1182528"/>
                <a:gd name="connsiteY130" fmla="*/ 221742 h 1101852"/>
                <a:gd name="connsiteX131" fmla="*/ 873347 w 1182528"/>
                <a:gd name="connsiteY131" fmla="*/ 231267 h 1101852"/>
                <a:gd name="connsiteX132" fmla="*/ 870204 w 1182528"/>
                <a:gd name="connsiteY132" fmla="*/ 231648 h 1101852"/>
                <a:gd name="connsiteX133" fmla="*/ 865823 w 1182528"/>
                <a:gd name="connsiteY133" fmla="*/ 235458 h 1101852"/>
                <a:gd name="connsiteX134" fmla="*/ 846773 w 1182528"/>
                <a:gd name="connsiteY134" fmla="*/ 236315 h 1101852"/>
                <a:gd name="connsiteX135" fmla="*/ 826198 w 1182528"/>
                <a:gd name="connsiteY135" fmla="*/ 251746 h 1101852"/>
                <a:gd name="connsiteX136" fmla="*/ 821341 w 1182528"/>
                <a:gd name="connsiteY136" fmla="*/ 250793 h 1101852"/>
                <a:gd name="connsiteX137" fmla="*/ 814006 w 1182528"/>
                <a:gd name="connsiteY137" fmla="*/ 256508 h 1101852"/>
                <a:gd name="connsiteX138" fmla="*/ 807720 w 1182528"/>
                <a:gd name="connsiteY138" fmla="*/ 257270 h 1101852"/>
                <a:gd name="connsiteX139" fmla="*/ 803148 w 1182528"/>
                <a:gd name="connsiteY139" fmla="*/ 259461 h 1101852"/>
                <a:gd name="connsiteX140" fmla="*/ 796861 w 1182528"/>
                <a:gd name="connsiteY140" fmla="*/ 260318 h 1101852"/>
                <a:gd name="connsiteX141" fmla="*/ 790003 w 1182528"/>
                <a:gd name="connsiteY141" fmla="*/ 269177 h 1101852"/>
                <a:gd name="connsiteX142" fmla="*/ 788956 w 1182528"/>
                <a:gd name="connsiteY142" fmla="*/ 274130 h 1101852"/>
                <a:gd name="connsiteX143" fmla="*/ 784669 w 1182528"/>
                <a:gd name="connsiteY143" fmla="*/ 277844 h 1101852"/>
                <a:gd name="connsiteX144" fmla="*/ 778383 w 1182528"/>
                <a:gd name="connsiteY144" fmla="*/ 278702 h 1101852"/>
                <a:gd name="connsiteX145" fmla="*/ 774764 w 1182528"/>
                <a:gd name="connsiteY145" fmla="*/ 275939 h 1101852"/>
                <a:gd name="connsiteX146" fmla="*/ 768477 w 1182528"/>
                <a:gd name="connsiteY146" fmla="*/ 276701 h 1101852"/>
                <a:gd name="connsiteX147" fmla="*/ 762190 w 1182528"/>
                <a:gd name="connsiteY147" fmla="*/ 277559 h 1101852"/>
                <a:gd name="connsiteX148" fmla="*/ 758285 w 1182528"/>
                <a:gd name="connsiteY148" fmla="*/ 284417 h 1101852"/>
                <a:gd name="connsiteX149" fmla="*/ 747522 w 1182528"/>
                <a:gd name="connsiteY149" fmla="*/ 276225 h 1101852"/>
                <a:gd name="connsiteX150" fmla="*/ 737902 w 1182528"/>
                <a:gd name="connsiteY150" fmla="*/ 275844 h 1101852"/>
                <a:gd name="connsiteX151" fmla="*/ 737330 w 1182528"/>
                <a:gd name="connsiteY151" fmla="*/ 271082 h 1101852"/>
                <a:gd name="connsiteX152" fmla="*/ 728567 w 1182528"/>
                <a:gd name="connsiteY152" fmla="*/ 265748 h 1101852"/>
                <a:gd name="connsiteX153" fmla="*/ 724281 w 1182528"/>
                <a:gd name="connsiteY153" fmla="*/ 269558 h 1101852"/>
                <a:gd name="connsiteX154" fmla="*/ 715423 w 1182528"/>
                <a:gd name="connsiteY154" fmla="*/ 275463 h 1101852"/>
                <a:gd name="connsiteX155" fmla="*/ 705898 w 1182528"/>
                <a:gd name="connsiteY155" fmla="*/ 276701 h 1101852"/>
                <a:gd name="connsiteX156" fmla="*/ 702945 w 1182528"/>
                <a:gd name="connsiteY156" fmla="*/ 278606 h 1101852"/>
                <a:gd name="connsiteX157" fmla="*/ 703993 w 1182528"/>
                <a:gd name="connsiteY157" fmla="*/ 286512 h 1101852"/>
                <a:gd name="connsiteX158" fmla="*/ 699611 w 1182528"/>
                <a:gd name="connsiteY158" fmla="*/ 290322 h 1101852"/>
                <a:gd name="connsiteX159" fmla="*/ 696944 w 1182528"/>
                <a:gd name="connsiteY159" fmla="*/ 293846 h 1101852"/>
                <a:gd name="connsiteX160" fmla="*/ 692753 w 1182528"/>
                <a:gd name="connsiteY160" fmla="*/ 299180 h 1101852"/>
                <a:gd name="connsiteX161" fmla="*/ 678180 w 1182528"/>
                <a:gd name="connsiteY161" fmla="*/ 297847 h 1101852"/>
                <a:gd name="connsiteX162" fmla="*/ 669512 w 1182528"/>
                <a:gd name="connsiteY162" fmla="*/ 292513 h 1101852"/>
                <a:gd name="connsiteX163" fmla="*/ 665131 w 1182528"/>
                <a:gd name="connsiteY163" fmla="*/ 296323 h 1101852"/>
                <a:gd name="connsiteX164" fmla="*/ 664178 w 1182528"/>
                <a:gd name="connsiteY164" fmla="*/ 301276 h 1101852"/>
                <a:gd name="connsiteX165" fmla="*/ 665988 w 1182528"/>
                <a:gd name="connsiteY165" fmla="*/ 302609 h 1101852"/>
                <a:gd name="connsiteX166" fmla="*/ 661988 w 1182528"/>
                <a:gd name="connsiteY166" fmla="*/ 309563 h 1101852"/>
                <a:gd name="connsiteX167" fmla="*/ 661226 w 1182528"/>
                <a:gd name="connsiteY167" fmla="*/ 316039 h 1101852"/>
                <a:gd name="connsiteX168" fmla="*/ 657130 w 1182528"/>
                <a:gd name="connsiteY168" fmla="*/ 321374 h 1101852"/>
                <a:gd name="connsiteX169" fmla="*/ 659702 w 1182528"/>
                <a:gd name="connsiteY169" fmla="*/ 329089 h 1101852"/>
                <a:gd name="connsiteX170" fmla="*/ 667417 w 1182528"/>
                <a:gd name="connsiteY170" fmla="*/ 339281 h 1101852"/>
                <a:gd name="connsiteX171" fmla="*/ 663893 w 1182528"/>
                <a:gd name="connsiteY171" fmla="*/ 349377 h 1101852"/>
                <a:gd name="connsiteX172" fmla="*/ 655034 w 1182528"/>
                <a:gd name="connsiteY172" fmla="*/ 355378 h 1101852"/>
                <a:gd name="connsiteX173" fmla="*/ 652081 w 1182528"/>
                <a:gd name="connsiteY173" fmla="*/ 357283 h 1101852"/>
                <a:gd name="connsiteX174" fmla="*/ 644747 w 1182528"/>
                <a:gd name="connsiteY174" fmla="*/ 350234 h 1101852"/>
                <a:gd name="connsiteX175" fmla="*/ 639985 w 1182528"/>
                <a:gd name="connsiteY175" fmla="*/ 350806 h 1101852"/>
                <a:gd name="connsiteX176" fmla="*/ 639413 w 1182528"/>
                <a:gd name="connsiteY176" fmla="*/ 358902 h 1101852"/>
                <a:gd name="connsiteX177" fmla="*/ 635889 w 1182528"/>
                <a:gd name="connsiteY177" fmla="*/ 368999 h 1101852"/>
                <a:gd name="connsiteX178" fmla="*/ 628174 w 1182528"/>
                <a:gd name="connsiteY178" fmla="*/ 371570 h 1101852"/>
                <a:gd name="connsiteX179" fmla="*/ 621316 w 1182528"/>
                <a:gd name="connsiteY179" fmla="*/ 367665 h 1101852"/>
                <a:gd name="connsiteX180" fmla="*/ 618554 w 1182528"/>
                <a:gd name="connsiteY180" fmla="*/ 371189 h 1101852"/>
                <a:gd name="connsiteX181" fmla="*/ 615410 w 1182528"/>
                <a:gd name="connsiteY181" fmla="*/ 371570 h 1101852"/>
                <a:gd name="connsiteX182" fmla="*/ 606266 w 1182528"/>
                <a:gd name="connsiteY182" fmla="*/ 363188 h 1101852"/>
                <a:gd name="connsiteX183" fmla="*/ 602742 w 1182528"/>
                <a:gd name="connsiteY183" fmla="*/ 360426 h 1101852"/>
                <a:gd name="connsiteX184" fmla="*/ 596265 w 1182528"/>
                <a:gd name="connsiteY184" fmla="*/ 359569 h 1101852"/>
                <a:gd name="connsiteX185" fmla="*/ 591693 w 1182528"/>
                <a:gd name="connsiteY185" fmla="*/ 361760 h 1101852"/>
                <a:gd name="connsiteX186" fmla="*/ 589502 w 1182528"/>
                <a:gd name="connsiteY186" fmla="*/ 357283 h 1101852"/>
                <a:gd name="connsiteX187" fmla="*/ 586740 w 1182528"/>
                <a:gd name="connsiteY187" fmla="*/ 360807 h 1101852"/>
                <a:gd name="connsiteX188" fmla="*/ 583025 w 1182528"/>
                <a:gd name="connsiteY188" fmla="*/ 356521 h 1101852"/>
                <a:gd name="connsiteX189" fmla="*/ 578644 w 1182528"/>
                <a:gd name="connsiteY189" fmla="*/ 360236 h 1101852"/>
                <a:gd name="connsiteX190" fmla="*/ 573500 w 1182528"/>
                <a:gd name="connsiteY190" fmla="*/ 357664 h 1101852"/>
                <a:gd name="connsiteX191" fmla="*/ 568833 w 1182528"/>
                <a:gd name="connsiteY191" fmla="*/ 358331 h 1101852"/>
                <a:gd name="connsiteX192" fmla="*/ 564642 w 1182528"/>
                <a:gd name="connsiteY192" fmla="*/ 363664 h 1101852"/>
                <a:gd name="connsiteX193" fmla="*/ 561689 w 1182528"/>
                <a:gd name="connsiteY193" fmla="*/ 365570 h 1101852"/>
                <a:gd name="connsiteX194" fmla="*/ 555403 w 1182528"/>
                <a:gd name="connsiteY194" fmla="*/ 366427 h 1101852"/>
                <a:gd name="connsiteX195" fmla="*/ 547878 w 1182528"/>
                <a:gd name="connsiteY195" fmla="*/ 357759 h 1101852"/>
                <a:gd name="connsiteX196" fmla="*/ 539591 w 1182528"/>
                <a:gd name="connsiteY196" fmla="*/ 368427 h 1101852"/>
                <a:gd name="connsiteX197" fmla="*/ 534924 w 1182528"/>
                <a:gd name="connsiteY197" fmla="*/ 368999 h 1101852"/>
                <a:gd name="connsiteX198" fmla="*/ 537305 w 1182528"/>
                <a:gd name="connsiteY198" fmla="*/ 375190 h 1101852"/>
                <a:gd name="connsiteX199" fmla="*/ 534543 w 1182528"/>
                <a:gd name="connsiteY199" fmla="*/ 378714 h 1101852"/>
                <a:gd name="connsiteX200" fmla="*/ 522827 w 1182528"/>
                <a:gd name="connsiteY200" fmla="*/ 375380 h 1101852"/>
                <a:gd name="connsiteX201" fmla="*/ 517112 w 1182528"/>
                <a:gd name="connsiteY201" fmla="*/ 368046 h 1101852"/>
                <a:gd name="connsiteX202" fmla="*/ 504825 w 1182528"/>
                <a:gd name="connsiteY202" fmla="*/ 360045 h 1101852"/>
                <a:gd name="connsiteX203" fmla="*/ 490633 w 1182528"/>
                <a:gd name="connsiteY203" fmla="*/ 361855 h 1101852"/>
                <a:gd name="connsiteX204" fmla="*/ 484727 w 1182528"/>
                <a:gd name="connsiteY204" fmla="*/ 365760 h 1101852"/>
                <a:gd name="connsiteX205" fmla="*/ 477298 w 1182528"/>
                <a:gd name="connsiteY205" fmla="*/ 369951 h 1101852"/>
                <a:gd name="connsiteX206" fmla="*/ 478250 w 1182528"/>
                <a:gd name="connsiteY206" fmla="*/ 377857 h 1101852"/>
                <a:gd name="connsiteX207" fmla="*/ 467201 w 1182528"/>
                <a:gd name="connsiteY207" fmla="*/ 379286 h 1101852"/>
                <a:gd name="connsiteX208" fmla="*/ 461296 w 1182528"/>
                <a:gd name="connsiteY208" fmla="*/ 383191 h 1101852"/>
                <a:gd name="connsiteX209" fmla="*/ 451199 w 1182528"/>
                <a:gd name="connsiteY209" fmla="*/ 379667 h 1101852"/>
                <a:gd name="connsiteX210" fmla="*/ 441389 w 1182528"/>
                <a:gd name="connsiteY210" fmla="*/ 377762 h 1101852"/>
                <a:gd name="connsiteX211" fmla="*/ 438436 w 1182528"/>
                <a:gd name="connsiteY211" fmla="*/ 379762 h 1101852"/>
                <a:gd name="connsiteX212" fmla="*/ 433292 w 1182528"/>
                <a:gd name="connsiteY212" fmla="*/ 377190 h 1101852"/>
                <a:gd name="connsiteX213" fmla="*/ 428530 w 1182528"/>
                <a:gd name="connsiteY213" fmla="*/ 377762 h 1101852"/>
                <a:gd name="connsiteX214" fmla="*/ 422434 w 1182528"/>
                <a:gd name="connsiteY214" fmla="*/ 380143 h 1101852"/>
                <a:gd name="connsiteX215" fmla="*/ 416909 w 1182528"/>
                <a:gd name="connsiteY215" fmla="*/ 387287 h 1101852"/>
                <a:gd name="connsiteX216" fmla="*/ 408813 w 1182528"/>
                <a:gd name="connsiteY216" fmla="*/ 386715 h 1101852"/>
                <a:gd name="connsiteX217" fmla="*/ 409861 w 1182528"/>
                <a:gd name="connsiteY217" fmla="*/ 394621 h 1101852"/>
                <a:gd name="connsiteX218" fmla="*/ 417576 w 1182528"/>
                <a:gd name="connsiteY218" fmla="*/ 404813 h 1101852"/>
                <a:gd name="connsiteX219" fmla="*/ 419767 w 1182528"/>
                <a:gd name="connsiteY219" fmla="*/ 409385 h 1101852"/>
                <a:gd name="connsiteX220" fmla="*/ 420910 w 1182528"/>
                <a:gd name="connsiteY220" fmla="*/ 418814 h 1101852"/>
                <a:gd name="connsiteX221" fmla="*/ 418147 w 1182528"/>
                <a:gd name="connsiteY221" fmla="*/ 422434 h 1101852"/>
                <a:gd name="connsiteX222" fmla="*/ 419005 w 1182528"/>
                <a:gd name="connsiteY222" fmla="*/ 428720 h 1101852"/>
                <a:gd name="connsiteX223" fmla="*/ 417576 w 1182528"/>
                <a:gd name="connsiteY223" fmla="*/ 430435 h 1101852"/>
                <a:gd name="connsiteX224" fmla="*/ 412718 w 1182528"/>
                <a:gd name="connsiteY224" fmla="*/ 429482 h 1101852"/>
                <a:gd name="connsiteX225" fmla="*/ 398716 w 1182528"/>
                <a:gd name="connsiteY225" fmla="*/ 445675 h 1101852"/>
                <a:gd name="connsiteX226" fmla="*/ 401288 w 1182528"/>
                <a:gd name="connsiteY226" fmla="*/ 453390 h 1101852"/>
                <a:gd name="connsiteX227" fmla="*/ 407575 w 1182528"/>
                <a:gd name="connsiteY227" fmla="*/ 452628 h 1101852"/>
                <a:gd name="connsiteX228" fmla="*/ 407194 w 1182528"/>
                <a:gd name="connsiteY228" fmla="*/ 462248 h 1101852"/>
                <a:gd name="connsiteX229" fmla="*/ 402908 w 1182528"/>
                <a:gd name="connsiteY229" fmla="*/ 466058 h 1101852"/>
                <a:gd name="connsiteX230" fmla="*/ 391858 w 1182528"/>
                <a:gd name="connsiteY230" fmla="*/ 467487 h 1101852"/>
                <a:gd name="connsiteX231" fmla="*/ 387477 w 1182528"/>
                <a:gd name="connsiteY231" fmla="*/ 471202 h 1101852"/>
                <a:gd name="connsiteX232" fmla="*/ 386906 w 1182528"/>
                <a:gd name="connsiteY232" fmla="*/ 479298 h 1101852"/>
                <a:gd name="connsiteX233" fmla="*/ 373761 w 1182528"/>
                <a:gd name="connsiteY233" fmla="*/ 489013 h 1101852"/>
                <a:gd name="connsiteX234" fmla="*/ 374142 w 1182528"/>
                <a:gd name="connsiteY234" fmla="*/ 492157 h 1101852"/>
                <a:gd name="connsiteX235" fmla="*/ 369856 w 1182528"/>
                <a:gd name="connsiteY235" fmla="*/ 495872 h 1101852"/>
                <a:gd name="connsiteX236" fmla="*/ 364331 w 1182528"/>
                <a:gd name="connsiteY236" fmla="*/ 503015 h 1101852"/>
                <a:gd name="connsiteX237" fmla="*/ 350329 w 1182528"/>
                <a:gd name="connsiteY237" fmla="*/ 493586 h 1101852"/>
                <a:gd name="connsiteX238" fmla="*/ 342233 w 1182528"/>
                <a:gd name="connsiteY238" fmla="*/ 493014 h 1101852"/>
                <a:gd name="connsiteX239" fmla="*/ 338614 w 1182528"/>
                <a:gd name="connsiteY239" fmla="*/ 490252 h 1101852"/>
                <a:gd name="connsiteX240" fmla="*/ 340233 w 1182528"/>
                <a:gd name="connsiteY240" fmla="*/ 490061 h 1101852"/>
                <a:gd name="connsiteX241" fmla="*/ 338233 w 1182528"/>
                <a:gd name="connsiteY241" fmla="*/ 487109 h 1101852"/>
                <a:gd name="connsiteX242" fmla="*/ 331756 w 1182528"/>
                <a:gd name="connsiteY242" fmla="*/ 486347 h 1101852"/>
                <a:gd name="connsiteX243" fmla="*/ 329946 w 1182528"/>
                <a:gd name="connsiteY243" fmla="*/ 484918 h 1101852"/>
                <a:gd name="connsiteX244" fmla="*/ 330899 w 1182528"/>
                <a:gd name="connsiteY244" fmla="*/ 480060 h 1101852"/>
                <a:gd name="connsiteX245" fmla="*/ 324326 w 1182528"/>
                <a:gd name="connsiteY245" fmla="*/ 466439 h 1101852"/>
                <a:gd name="connsiteX246" fmla="*/ 316611 w 1182528"/>
                <a:gd name="connsiteY246" fmla="*/ 456152 h 1101852"/>
                <a:gd name="connsiteX247" fmla="*/ 316039 w 1182528"/>
                <a:gd name="connsiteY247" fmla="*/ 451485 h 1101852"/>
                <a:gd name="connsiteX248" fmla="*/ 311087 w 1182528"/>
                <a:gd name="connsiteY248" fmla="*/ 450437 h 1101852"/>
                <a:gd name="connsiteX249" fmla="*/ 309753 w 1182528"/>
                <a:gd name="connsiteY249" fmla="*/ 452247 h 1101852"/>
                <a:gd name="connsiteX250" fmla="*/ 305943 w 1182528"/>
                <a:gd name="connsiteY250" fmla="*/ 447961 h 1101852"/>
                <a:gd name="connsiteX251" fmla="*/ 300799 w 1182528"/>
                <a:gd name="connsiteY251" fmla="*/ 445389 h 1101852"/>
                <a:gd name="connsiteX252" fmla="*/ 303657 w 1182528"/>
                <a:gd name="connsiteY252" fmla="*/ 467487 h 1101852"/>
                <a:gd name="connsiteX253" fmla="*/ 305848 w 1182528"/>
                <a:gd name="connsiteY253" fmla="*/ 471964 h 1101852"/>
                <a:gd name="connsiteX254" fmla="*/ 301466 w 1182528"/>
                <a:gd name="connsiteY254" fmla="*/ 475774 h 1101852"/>
                <a:gd name="connsiteX255" fmla="*/ 300514 w 1182528"/>
                <a:gd name="connsiteY255" fmla="*/ 480727 h 1101852"/>
                <a:gd name="connsiteX256" fmla="*/ 297561 w 1182528"/>
                <a:gd name="connsiteY256" fmla="*/ 482632 h 1101852"/>
                <a:gd name="connsiteX257" fmla="*/ 294418 w 1182528"/>
                <a:gd name="connsiteY257" fmla="*/ 483108 h 1101852"/>
                <a:gd name="connsiteX258" fmla="*/ 293084 w 1182528"/>
                <a:gd name="connsiteY258" fmla="*/ 484823 h 1101852"/>
                <a:gd name="connsiteX259" fmla="*/ 277463 w 1182528"/>
                <a:gd name="connsiteY259" fmla="*/ 488442 h 1101852"/>
                <a:gd name="connsiteX260" fmla="*/ 279464 w 1182528"/>
                <a:gd name="connsiteY260" fmla="*/ 491395 h 1101852"/>
                <a:gd name="connsiteX261" fmla="*/ 276701 w 1182528"/>
                <a:gd name="connsiteY261" fmla="*/ 494919 h 1101852"/>
                <a:gd name="connsiteX262" fmla="*/ 268605 w 1182528"/>
                <a:gd name="connsiteY262" fmla="*/ 494348 h 1101852"/>
                <a:gd name="connsiteX263" fmla="*/ 268986 w 1182528"/>
                <a:gd name="connsiteY263" fmla="*/ 497491 h 1101852"/>
                <a:gd name="connsiteX264" fmla="*/ 266224 w 1182528"/>
                <a:gd name="connsiteY264" fmla="*/ 501110 h 1101852"/>
                <a:gd name="connsiteX265" fmla="*/ 267081 w 1182528"/>
                <a:gd name="connsiteY265" fmla="*/ 507397 h 1101852"/>
                <a:gd name="connsiteX266" fmla="*/ 266510 w 1182528"/>
                <a:gd name="connsiteY266" fmla="*/ 515493 h 1101852"/>
                <a:gd name="connsiteX267" fmla="*/ 268224 w 1182528"/>
                <a:gd name="connsiteY267" fmla="*/ 516827 h 1101852"/>
                <a:gd name="connsiteX268" fmla="*/ 267652 w 1182528"/>
                <a:gd name="connsiteY268" fmla="*/ 524923 h 1101852"/>
                <a:gd name="connsiteX269" fmla="*/ 258413 w 1182528"/>
                <a:gd name="connsiteY269" fmla="*/ 527780 h 1101852"/>
                <a:gd name="connsiteX270" fmla="*/ 250317 w 1182528"/>
                <a:gd name="connsiteY270" fmla="*/ 527209 h 1101852"/>
                <a:gd name="connsiteX271" fmla="*/ 246031 w 1182528"/>
                <a:gd name="connsiteY271" fmla="*/ 530924 h 1101852"/>
                <a:gd name="connsiteX272" fmla="*/ 241268 w 1182528"/>
                <a:gd name="connsiteY272" fmla="*/ 518732 h 1101852"/>
                <a:gd name="connsiteX273" fmla="*/ 240792 w 1182528"/>
                <a:gd name="connsiteY273" fmla="*/ 515588 h 1101852"/>
                <a:gd name="connsiteX274" fmla="*/ 237077 w 1182528"/>
                <a:gd name="connsiteY274" fmla="*/ 511207 h 1101852"/>
                <a:gd name="connsiteX275" fmla="*/ 225838 w 1182528"/>
                <a:gd name="connsiteY275" fmla="*/ 511016 h 1101852"/>
                <a:gd name="connsiteX276" fmla="*/ 220504 w 1182528"/>
                <a:gd name="connsiteY276" fmla="*/ 506921 h 1101852"/>
                <a:gd name="connsiteX277" fmla="*/ 214789 w 1182528"/>
                <a:gd name="connsiteY277" fmla="*/ 512445 h 1101852"/>
                <a:gd name="connsiteX278" fmla="*/ 215360 w 1182528"/>
                <a:gd name="connsiteY278" fmla="*/ 517208 h 1101852"/>
                <a:gd name="connsiteX279" fmla="*/ 210883 w 1182528"/>
                <a:gd name="connsiteY279" fmla="*/ 519398 h 1101852"/>
                <a:gd name="connsiteX280" fmla="*/ 206693 w 1182528"/>
                <a:gd name="connsiteY280" fmla="*/ 524732 h 1101852"/>
                <a:gd name="connsiteX281" fmla="*/ 205359 w 1182528"/>
                <a:gd name="connsiteY281" fmla="*/ 526447 h 1101852"/>
                <a:gd name="connsiteX282" fmla="*/ 206312 w 1182528"/>
                <a:gd name="connsiteY282" fmla="*/ 534353 h 1101852"/>
                <a:gd name="connsiteX283" fmla="*/ 197834 w 1182528"/>
                <a:gd name="connsiteY283" fmla="*/ 543497 h 1101852"/>
                <a:gd name="connsiteX284" fmla="*/ 198501 w 1182528"/>
                <a:gd name="connsiteY284" fmla="*/ 548259 h 1101852"/>
                <a:gd name="connsiteX285" fmla="*/ 200692 w 1182528"/>
                <a:gd name="connsiteY285" fmla="*/ 552736 h 1101852"/>
                <a:gd name="connsiteX286" fmla="*/ 201454 w 1182528"/>
                <a:gd name="connsiteY286" fmla="*/ 559022 h 1101852"/>
                <a:gd name="connsiteX287" fmla="*/ 197168 w 1182528"/>
                <a:gd name="connsiteY287" fmla="*/ 562832 h 1101852"/>
                <a:gd name="connsiteX288" fmla="*/ 196120 w 1182528"/>
                <a:gd name="connsiteY288" fmla="*/ 567785 h 1101852"/>
                <a:gd name="connsiteX289" fmla="*/ 188309 w 1182528"/>
                <a:gd name="connsiteY289" fmla="*/ 581597 h 1101852"/>
                <a:gd name="connsiteX290" fmla="*/ 187738 w 1182528"/>
                <a:gd name="connsiteY290" fmla="*/ 589693 h 1101852"/>
                <a:gd name="connsiteX291" fmla="*/ 177260 w 1182528"/>
                <a:gd name="connsiteY291" fmla="*/ 595789 h 1101852"/>
                <a:gd name="connsiteX292" fmla="*/ 178879 w 1182528"/>
                <a:gd name="connsiteY292" fmla="*/ 608457 h 1101852"/>
                <a:gd name="connsiteX293" fmla="*/ 177546 w 1182528"/>
                <a:gd name="connsiteY293" fmla="*/ 610267 h 1101852"/>
                <a:gd name="connsiteX294" fmla="*/ 172593 w 1182528"/>
                <a:gd name="connsiteY294" fmla="*/ 609219 h 1101852"/>
                <a:gd name="connsiteX295" fmla="*/ 164497 w 1182528"/>
                <a:gd name="connsiteY295" fmla="*/ 608648 h 1101852"/>
                <a:gd name="connsiteX296" fmla="*/ 149257 w 1182528"/>
                <a:gd name="connsiteY296" fmla="*/ 602552 h 1101852"/>
                <a:gd name="connsiteX297" fmla="*/ 143351 w 1182528"/>
                <a:gd name="connsiteY297" fmla="*/ 606552 h 1101852"/>
                <a:gd name="connsiteX298" fmla="*/ 138398 w 1182528"/>
                <a:gd name="connsiteY298" fmla="*/ 605600 h 1101852"/>
                <a:gd name="connsiteX299" fmla="*/ 140779 w 1182528"/>
                <a:gd name="connsiteY299" fmla="*/ 598837 h 1101852"/>
                <a:gd name="connsiteX300" fmla="*/ 137255 w 1182528"/>
                <a:gd name="connsiteY300" fmla="*/ 596075 h 1101852"/>
                <a:gd name="connsiteX301" fmla="*/ 134874 w 1182528"/>
                <a:gd name="connsiteY301" fmla="*/ 589979 h 1101852"/>
                <a:gd name="connsiteX302" fmla="*/ 126016 w 1182528"/>
                <a:gd name="connsiteY302" fmla="*/ 595979 h 1101852"/>
                <a:gd name="connsiteX303" fmla="*/ 114586 w 1182528"/>
                <a:gd name="connsiteY303" fmla="*/ 607028 h 1101852"/>
                <a:gd name="connsiteX304" fmla="*/ 106680 w 1182528"/>
                <a:gd name="connsiteY304" fmla="*/ 607981 h 1101852"/>
                <a:gd name="connsiteX305" fmla="*/ 102299 w 1182528"/>
                <a:gd name="connsiteY305" fmla="*/ 611791 h 1101852"/>
                <a:gd name="connsiteX306" fmla="*/ 82772 w 1182528"/>
                <a:gd name="connsiteY306" fmla="*/ 609505 h 1101852"/>
                <a:gd name="connsiteX307" fmla="*/ 79057 w 1182528"/>
                <a:gd name="connsiteY307" fmla="*/ 605123 h 1101852"/>
                <a:gd name="connsiteX308" fmla="*/ 74866 w 1182528"/>
                <a:gd name="connsiteY308" fmla="*/ 597599 h 1101852"/>
                <a:gd name="connsiteX309" fmla="*/ 70295 w 1182528"/>
                <a:gd name="connsiteY309" fmla="*/ 599789 h 1101852"/>
                <a:gd name="connsiteX310" fmla="*/ 65437 w 1182528"/>
                <a:gd name="connsiteY310" fmla="*/ 598837 h 1101852"/>
                <a:gd name="connsiteX311" fmla="*/ 65246 w 1182528"/>
                <a:gd name="connsiteY311" fmla="*/ 610076 h 1101852"/>
                <a:gd name="connsiteX312" fmla="*/ 59150 w 1182528"/>
                <a:gd name="connsiteY312" fmla="*/ 625316 h 1101852"/>
                <a:gd name="connsiteX313" fmla="*/ 56864 w 1182528"/>
                <a:gd name="connsiteY313" fmla="*/ 644843 h 1101852"/>
                <a:gd name="connsiteX314" fmla="*/ 54864 w 1182528"/>
                <a:gd name="connsiteY314" fmla="*/ 654749 h 1101852"/>
                <a:gd name="connsiteX315" fmla="*/ 57626 w 1182528"/>
                <a:gd name="connsiteY315" fmla="*/ 663988 h 1101852"/>
                <a:gd name="connsiteX316" fmla="*/ 54102 w 1182528"/>
                <a:gd name="connsiteY316" fmla="*/ 674084 h 1101852"/>
                <a:gd name="connsiteX317" fmla="*/ 40957 w 1182528"/>
                <a:gd name="connsiteY317" fmla="*/ 683800 h 1101852"/>
                <a:gd name="connsiteX318" fmla="*/ 36766 w 1182528"/>
                <a:gd name="connsiteY318" fmla="*/ 689134 h 1101852"/>
                <a:gd name="connsiteX319" fmla="*/ 33242 w 1182528"/>
                <a:gd name="connsiteY319" fmla="*/ 699135 h 1101852"/>
                <a:gd name="connsiteX320" fmla="*/ 30289 w 1182528"/>
                <a:gd name="connsiteY320" fmla="*/ 701135 h 1101852"/>
                <a:gd name="connsiteX321" fmla="*/ 16574 w 1182528"/>
                <a:gd name="connsiteY321" fmla="*/ 706088 h 1101852"/>
                <a:gd name="connsiteX322" fmla="*/ 5524 w 1182528"/>
                <a:gd name="connsiteY322" fmla="*/ 707517 h 1101852"/>
                <a:gd name="connsiteX323" fmla="*/ 952 w 1182528"/>
                <a:gd name="connsiteY323" fmla="*/ 709708 h 1101852"/>
                <a:gd name="connsiteX324" fmla="*/ 0 w 1182528"/>
                <a:gd name="connsiteY324" fmla="*/ 714661 h 1101852"/>
                <a:gd name="connsiteX325" fmla="*/ 4858 w 1182528"/>
                <a:gd name="connsiteY325" fmla="*/ 715613 h 1101852"/>
                <a:gd name="connsiteX326" fmla="*/ 5143 w 1182528"/>
                <a:gd name="connsiteY326" fmla="*/ 717137 h 1101852"/>
                <a:gd name="connsiteX327" fmla="*/ 16954 w 1182528"/>
                <a:gd name="connsiteY327" fmla="*/ 722090 h 1101852"/>
                <a:gd name="connsiteX328" fmla="*/ 20955 w 1182528"/>
                <a:gd name="connsiteY328" fmla="*/ 727996 h 1101852"/>
                <a:gd name="connsiteX329" fmla="*/ 23336 w 1182528"/>
                <a:gd name="connsiteY329" fmla="*/ 734092 h 1101852"/>
                <a:gd name="connsiteX330" fmla="*/ 34099 w 1182528"/>
                <a:gd name="connsiteY330" fmla="*/ 731139 h 1101852"/>
                <a:gd name="connsiteX331" fmla="*/ 36100 w 1182528"/>
                <a:gd name="connsiteY331" fmla="*/ 734092 h 1101852"/>
                <a:gd name="connsiteX332" fmla="*/ 39052 w 1182528"/>
                <a:gd name="connsiteY332" fmla="*/ 732092 h 1101852"/>
                <a:gd name="connsiteX333" fmla="*/ 37909 w 1182528"/>
                <a:gd name="connsiteY333" fmla="*/ 735425 h 1101852"/>
                <a:gd name="connsiteX334" fmla="*/ 39719 w 1182528"/>
                <a:gd name="connsiteY334" fmla="*/ 736854 h 1101852"/>
                <a:gd name="connsiteX335" fmla="*/ 48577 w 1182528"/>
                <a:gd name="connsiteY335" fmla="*/ 730853 h 1101852"/>
                <a:gd name="connsiteX336" fmla="*/ 56197 w 1182528"/>
                <a:gd name="connsiteY336" fmla="*/ 728282 h 1101852"/>
                <a:gd name="connsiteX337" fmla="*/ 58864 w 1182528"/>
                <a:gd name="connsiteY337" fmla="*/ 735997 h 1101852"/>
                <a:gd name="connsiteX338" fmla="*/ 72676 w 1182528"/>
                <a:gd name="connsiteY338" fmla="*/ 743903 h 1101852"/>
                <a:gd name="connsiteX339" fmla="*/ 73628 w 1182528"/>
                <a:gd name="connsiteY339" fmla="*/ 738950 h 1101852"/>
                <a:gd name="connsiteX340" fmla="*/ 88201 w 1182528"/>
                <a:gd name="connsiteY340" fmla="*/ 740283 h 1101852"/>
                <a:gd name="connsiteX341" fmla="*/ 87820 w 1182528"/>
                <a:gd name="connsiteY341" fmla="*/ 737140 h 1101852"/>
                <a:gd name="connsiteX342" fmla="*/ 97155 w 1182528"/>
                <a:gd name="connsiteY342" fmla="*/ 747141 h 1101852"/>
                <a:gd name="connsiteX343" fmla="*/ 103632 w 1182528"/>
                <a:gd name="connsiteY343" fmla="*/ 747903 h 1101852"/>
                <a:gd name="connsiteX344" fmla="*/ 106585 w 1182528"/>
                <a:gd name="connsiteY344" fmla="*/ 745998 h 1101852"/>
                <a:gd name="connsiteX345" fmla="*/ 108395 w 1182528"/>
                <a:gd name="connsiteY345" fmla="*/ 747332 h 1101852"/>
                <a:gd name="connsiteX346" fmla="*/ 116300 w 1182528"/>
                <a:gd name="connsiteY346" fmla="*/ 759143 h 1101852"/>
                <a:gd name="connsiteX347" fmla="*/ 116491 w 1182528"/>
                <a:gd name="connsiteY347" fmla="*/ 760762 h 1101852"/>
                <a:gd name="connsiteX348" fmla="*/ 110204 w 1182528"/>
                <a:gd name="connsiteY348" fmla="*/ 761524 h 1101852"/>
                <a:gd name="connsiteX349" fmla="*/ 108204 w 1182528"/>
                <a:gd name="connsiteY349" fmla="*/ 771430 h 1101852"/>
                <a:gd name="connsiteX350" fmla="*/ 103727 w 1182528"/>
                <a:gd name="connsiteY350" fmla="*/ 773621 h 1101852"/>
                <a:gd name="connsiteX351" fmla="*/ 104299 w 1182528"/>
                <a:gd name="connsiteY351" fmla="*/ 778288 h 1101852"/>
                <a:gd name="connsiteX352" fmla="*/ 104299 w 1182528"/>
                <a:gd name="connsiteY352" fmla="*/ 778288 h 1101852"/>
                <a:gd name="connsiteX353" fmla="*/ 107251 w 1182528"/>
                <a:gd name="connsiteY353" fmla="*/ 776288 h 1101852"/>
                <a:gd name="connsiteX354" fmla="*/ 111062 w 1182528"/>
                <a:gd name="connsiteY354" fmla="*/ 780669 h 1101852"/>
                <a:gd name="connsiteX355" fmla="*/ 115729 w 1182528"/>
                <a:gd name="connsiteY355" fmla="*/ 780098 h 1101852"/>
                <a:gd name="connsiteX356" fmla="*/ 117539 w 1182528"/>
                <a:gd name="connsiteY356" fmla="*/ 781431 h 1101852"/>
                <a:gd name="connsiteX357" fmla="*/ 116205 w 1182528"/>
                <a:gd name="connsiteY357" fmla="*/ 783241 h 1101852"/>
                <a:gd name="connsiteX358" fmla="*/ 121253 w 1182528"/>
                <a:gd name="connsiteY358" fmla="*/ 785813 h 1101852"/>
                <a:gd name="connsiteX359" fmla="*/ 122682 w 1182528"/>
                <a:gd name="connsiteY359" fmla="*/ 784003 h 1101852"/>
                <a:gd name="connsiteX360" fmla="*/ 125825 w 1182528"/>
                <a:gd name="connsiteY360" fmla="*/ 783622 h 1101852"/>
                <a:gd name="connsiteX361" fmla="*/ 123634 w 1182528"/>
                <a:gd name="connsiteY361" fmla="*/ 779050 h 1101852"/>
                <a:gd name="connsiteX362" fmla="*/ 125254 w 1182528"/>
                <a:gd name="connsiteY362" fmla="*/ 778859 h 1101852"/>
                <a:gd name="connsiteX363" fmla="*/ 131159 w 1182528"/>
                <a:gd name="connsiteY363" fmla="*/ 774859 h 1101852"/>
                <a:gd name="connsiteX364" fmla="*/ 136112 w 1182528"/>
                <a:gd name="connsiteY364" fmla="*/ 775907 h 1101852"/>
                <a:gd name="connsiteX365" fmla="*/ 144208 w 1182528"/>
                <a:gd name="connsiteY365" fmla="*/ 776478 h 1101852"/>
                <a:gd name="connsiteX366" fmla="*/ 146304 w 1182528"/>
                <a:gd name="connsiteY366" fmla="*/ 780955 h 1101852"/>
                <a:gd name="connsiteX367" fmla="*/ 147923 w 1182528"/>
                <a:gd name="connsiteY367" fmla="*/ 780764 h 1101852"/>
                <a:gd name="connsiteX368" fmla="*/ 149733 w 1182528"/>
                <a:gd name="connsiteY368" fmla="*/ 782193 h 1101852"/>
                <a:gd name="connsiteX369" fmla="*/ 154400 w 1182528"/>
                <a:gd name="connsiteY369" fmla="*/ 781526 h 1101852"/>
                <a:gd name="connsiteX370" fmla="*/ 157829 w 1182528"/>
                <a:gd name="connsiteY370" fmla="*/ 782765 h 1101852"/>
                <a:gd name="connsiteX371" fmla="*/ 167259 w 1182528"/>
                <a:gd name="connsiteY371" fmla="*/ 781526 h 1101852"/>
                <a:gd name="connsiteX372" fmla="*/ 167830 w 1182528"/>
                <a:gd name="connsiteY372" fmla="*/ 786289 h 1101852"/>
                <a:gd name="connsiteX373" fmla="*/ 170402 w 1182528"/>
                <a:gd name="connsiteY373" fmla="*/ 781145 h 1101852"/>
                <a:gd name="connsiteX374" fmla="*/ 175355 w 1182528"/>
                <a:gd name="connsiteY374" fmla="*/ 782098 h 1101852"/>
                <a:gd name="connsiteX375" fmla="*/ 179451 w 1182528"/>
                <a:gd name="connsiteY375" fmla="*/ 776764 h 1101852"/>
                <a:gd name="connsiteX376" fmla="*/ 185642 w 1182528"/>
                <a:gd name="connsiteY376" fmla="*/ 774383 h 1101852"/>
                <a:gd name="connsiteX377" fmla="*/ 185833 w 1182528"/>
                <a:gd name="connsiteY377" fmla="*/ 776002 h 1101852"/>
                <a:gd name="connsiteX378" fmla="*/ 183261 w 1182528"/>
                <a:gd name="connsiteY378" fmla="*/ 781050 h 1101852"/>
                <a:gd name="connsiteX379" fmla="*/ 193548 w 1182528"/>
                <a:gd name="connsiteY379" fmla="*/ 786194 h 1101852"/>
                <a:gd name="connsiteX380" fmla="*/ 196691 w 1182528"/>
                <a:gd name="connsiteY380" fmla="*/ 798576 h 1101852"/>
                <a:gd name="connsiteX381" fmla="*/ 203645 w 1182528"/>
                <a:gd name="connsiteY381" fmla="*/ 802576 h 1101852"/>
                <a:gd name="connsiteX382" fmla="*/ 200882 w 1182528"/>
                <a:gd name="connsiteY382" fmla="*/ 806101 h 1101852"/>
                <a:gd name="connsiteX383" fmla="*/ 203454 w 1182528"/>
                <a:gd name="connsiteY383" fmla="*/ 813816 h 1101852"/>
                <a:gd name="connsiteX384" fmla="*/ 202025 w 1182528"/>
                <a:gd name="connsiteY384" fmla="*/ 815531 h 1101852"/>
                <a:gd name="connsiteX385" fmla="*/ 202501 w 1182528"/>
                <a:gd name="connsiteY385" fmla="*/ 818769 h 1101852"/>
                <a:gd name="connsiteX386" fmla="*/ 197929 w 1182528"/>
                <a:gd name="connsiteY386" fmla="*/ 820865 h 1101852"/>
                <a:gd name="connsiteX387" fmla="*/ 194977 w 1182528"/>
                <a:gd name="connsiteY387" fmla="*/ 822865 h 1101852"/>
                <a:gd name="connsiteX388" fmla="*/ 194977 w 1182528"/>
                <a:gd name="connsiteY388" fmla="*/ 822865 h 1101852"/>
                <a:gd name="connsiteX389" fmla="*/ 192214 w 1182528"/>
                <a:gd name="connsiteY389" fmla="*/ 826484 h 1101852"/>
                <a:gd name="connsiteX390" fmla="*/ 192595 w 1182528"/>
                <a:gd name="connsiteY390" fmla="*/ 829628 h 1101852"/>
                <a:gd name="connsiteX391" fmla="*/ 194596 w 1182528"/>
                <a:gd name="connsiteY391" fmla="*/ 832580 h 1101852"/>
                <a:gd name="connsiteX392" fmla="*/ 193453 w 1182528"/>
                <a:gd name="connsiteY392" fmla="*/ 835914 h 1101852"/>
                <a:gd name="connsiteX393" fmla="*/ 196596 w 1182528"/>
                <a:gd name="connsiteY393" fmla="*/ 835533 h 1101852"/>
                <a:gd name="connsiteX394" fmla="*/ 195643 w 1182528"/>
                <a:gd name="connsiteY394" fmla="*/ 840486 h 1101852"/>
                <a:gd name="connsiteX395" fmla="*/ 200597 w 1182528"/>
                <a:gd name="connsiteY395" fmla="*/ 841439 h 1101852"/>
                <a:gd name="connsiteX396" fmla="*/ 199739 w 1182528"/>
                <a:gd name="connsiteY396" fmla="*/ 847916 h 1101852"/>
                <a:gd name="connsiteX397" fmla="*/ 198215 w 1182528"/>
                <a:gd name="connsiteY397" fmla="*/ 848106 h 1101852"/>
                <a:gd name="connsiteX398" fmla="*/ 193643 w 1182528"/>
                <a:gd name="connsiteY398" fmla="*/ 850297 h 1101852"/>
                <a:gd name="connsiteX399" fmla="*/ 194310 w 1182528"/>
                <a:gd name="connsiteY399" fmla="*/ 855059 h 1101852"/>
                <a:gd name="connsiteX400" fmla="*/ 195834 w 1182528"/>
                <a:gd name="connsiteY400" fmla="*/ 854869 h 1101852"/>
                <a:gd name="connsiteX401" fmla="*/ 193262 w 1182528"/>
                <a:gd name="connsiteY401" fmla="*/ 860012 h 1101852"/>
                <a:gd name="connsiteX402" fmla="*/ 190119 w 1182528"/>
                <a:gd name="connsiteY402" fmla="*/ 860393 h 1101852"/>
                <a:gd name="connsiteX403" fmla="*/ 191929 w 1182528"/>
                <a:gd name="connsiteY403" fmla="*/ 861727 h 1101852"/>
                <a:gd name="connsiteX404" fmla="*/ 189928 w 1182528"/>
                <a:gd name="connsiteY404" fmla="*/ 871633 h 1101852"/>
                <a:gd name="connsiteX405" fmla="*/ 186785 w 1182528"/>
                <a:gd name="connsiteY405" fmla="*/ 872014 h 1101852"/>
                <a:gd name="connsiteX406" fmla="*/ 186976 w 1182528"/>
                <a:gd name="connsiteY406" fmla="*/ 873633 h 1101852"/>
                <a:gd name="connsiteX407" fmla="*/ 190214 w 1182528"/>
                <a:gd name="connsiteY407" fmla="*/ 873252 h 1101852"/>
                <a:gd name="connsiteX408" fmla="*/ 200025 w 1182528"/>
                <a:gd name="connsiteY408" fmla="*/ 875157 h 1101852"/>
                <a:gd name="connsiteX409" fmla="*/ 197453 w 1182528"/>
                <a:gd name="connsiteY409" fmla="*/ 880301 h 1101852"/>
                <a:gd name="connsiteX410" fmla="*/ 196501 w 1182528"/>
                <a:gd name="connsiteY410" fmla="*/ 885253 h 1101852"/>
                <a:gd name="connsiteX411" fmla="*/ 199835 w 1182528"/>
                <a:gd name="connsiteY411" fmla="*/ 886397 h 1101852"/>
                <a:gd name="connsiteX412" fmla="*/ 201073 w 1182528"/>
                <a:gd name="connsiteY412" fmla="*/ 895922 h 1101852"/>
                <a:gd name="connsiteX413" fmla="*/ 202120 w 1182528"/>
                <a:gd name="connsiteY413" fmla="*/ 903732 h 1101852"/>
                <a:gd name="connsiteX414" fmla="*/ 199168 w 1182528"/>
                <a:gd name="connsiteY414" fmla="*/ 905732 h 1101852"/>
                <a:gd name="connsiteX415" fmla="*/ 194405 w 1182528"/>
                <a:gd name="connsiteY415" fmla="*/ 906399 h 1101852"/>
                <a:gd name="connsiteX416" fmla="*/ 191643 w 1182528"/>
                <a:gd name="connsiteY416" fmla="*/ 909923 h 1101852"/>
                <a:gd name="connsiteX417" fmla="*/ 193453 w 1182528"/>
                <a:gd name="connsiteY417" fmla="*/ 911257 h 1101852"/>
                <a:gd name="connsiteX418" fmla="*/ 192024 w 1182528"/>
                <a:gd name="connsiteY418" fmla="*/ 913067 h 1101852"/>
                <a:gd name="connsiteX419" fmla="*/ 196405 w 1182528"/>
                <a:gd name="connsiteY419" fmla="*/ 922115 h 1101852"/>
                <a:gd name="connsiteX420" fmla="*/ 199739 w 1182528"/>
                <a:gd name="connsiteY420" fmla="*/ 923353 h 1101852"/>
                <a:gd name="connsiteX421" fmla="*/ 205835 w 1182528"/>
                <a:gd name="connsiteY421" fmla="*/ 920972 h 1101852"/>
                <a:gd name="connsiteX422" fmla="*/ 207454 w 1182528"/>
                <a:gd name="connsiteY422" fmla="*/ 920687 h 1101852"/>
                <a:gd name="connsiteX423" fmla="*/ 207835 w 1182528"/>
                <a:gd name="connsiteY423" fmla="*/ 923925 h 1101852"/>
                <a:gd name="connsiteX424" fmla="*/ 214598 w 1182528"/>
                <a:gd name="connsiteY424" fmla="*/ 926211 h 1101852"/>
                <a:gd name="connsiteX425" fmla="*/ 213170 w 1182528"/>
                <a:gd name="connsiteY425" fmla="*/ 928021 h 1101852"/>
                <a:gd name="connsiteX426" fmla="*/ 210217 w 1182528"/>
                <a:gd name="connsiteY426" fmla="*/ 930021 h 1101852"/>
                <a:gd name="connsiteX427" fmla="*/ 212217 w 1182528"/>
                <a:gd name="connsiteY427" fmla="*/ 932974 h 1101852"/>
                <a:gd name="connsiteX428" fmla="*/ 210883 w 1182528"/>
                <a:gd name="connsiteY428" fmla="*/ 934688 h 1101852"/>
                <a:gd name="connsiteX429" fmla="*/ 209455 w 1182528"/>
                <a:gd name="connsiteY429" fmla="*/ 936498 h 1101852"/>
                <a:gd name="connsiteX430" fmla="*/ 210312 w 1182528"/>
                <a:gd name="connsiteY430" fmla="*/ 942880 h 1101852"/>
                <a:gd name="connsiteX431" fmla="*/ 203930 w 1182528"/>
                <a:gd name="connsiteY431" fmla="*/ 943642 h 1101852"/>
                <a:gd name="connsiteX432" fmla="*/ 204787 w 1182528"/>
                <a:gd name="connsiteY432" fmla="*/ 949928 h 1101852"/>
                <a:gd name="connsiteX433" fmla="*/ 213074 w 1182528"/>
                <a:gd name="connsiteY433" fmla="*/ 952119 h 1101852"/>
                <a:gd name="connsiteX434" fmla="*/ 216218 w 1182528"/>
                <a:gd name="connsiteY434" fmla="*/ 951738 h 1101852"/>
                <a:gd name="connsiteX435" fmla="*/ 216408 w 1182528"/>
                <a:gd name="connsiteY435" fmla="*/ 953262 h 1101852"/>
                <a:gd name="connsiteX436" fmla="*/ 212312 w 1182528"/>
                <a:gd name="connsiteY436" fmla="*/ 958596 h 1101852"/>
                <a:gd name="connsiteX437" fmla="*/ 215646 w 1182528"/>
                <a:gd name="connsiteY437" fmla="*/ 959834 h 1101852"/>
                <a:gd name="connsiteX438" fmla="*/ 217170 w 1182528"/>
                <a:gd name="connsiteY438" fmla="*/ 959549 h 1101852"/>
                <a:gd name="connsiteX439" fmla="*/ 224314 w 1182528"/>
                <a:gd name="connsiteY439" fmla="*/ 965073 h 1101852"/>
                <a:gd name="connsiteX440" fmla="*/ 221742 w 1182528"/>
                <a:gd name="connsiteY440" fmla="*/ 970217 h 1101852"/>
                <a:gd name="connsiteX441" fmla="*/ 221742 w 1182528"/>
                <a:gd name="connsiteY441" fmla="*/ 970217 h 1101852"/>
                <a:gd name="connsiteX442" fmla="*/ 227362 w 1182528"/>
                <a:gd name="connsiteY442" fmla="*/ 975932 h 1101852"/>
                <a:gd name="connsiteX443" fmla="*/ 228314 w 1182528"/>
                <a:gd name="connsiteY443" fmla="*/ 983837 h 1101852"/>
                <a:gd name="connsiteX444" fmla="*/ 230124 w 1182528"/>
                <a:gd name="connsiteY444" fmla="*/ 985171 h 1101852"/>
                <a:gd name="connsiteX445" fmla="*/ 229362 w 1182528"/>
                <a:gd name="connsiteY445" fmla="*/ 991743 h 1101852"/>
                <a:gd name="connsiteX446" fmla="*/ 226600 w 1182528"/>
                <a:gd name="connsiteY446" fmla="*/ 995267 h 1101852"/>
                <a:gd name="connsiteX447" fmla="*/ 236220 w 1182528"/>
                <a:gd name="connsiteY447" fmla="*/ 995648 h 1101852"/>
                <a:gd name="connsiteX448" fmla="*/ 233077 w 1182528"/>
                <a:gd name="connsiteY448" fmla="*/ 1008888 h 1101852"/>
                <a:gd name="connsiteX449" fmla="*/ 224790 w 1182528"/>
                <a:gd name="connsiteY449" fmla="*/ 1006697 h 1101852"/>
                <a:gd name="connsiteX450" fmla="*/ 220313 w 1182528"/>
                <a:gd name="connsiteY450" fmla="*/ 1008888 h 1101852"/>
                <a:gd name="connsiteX451" fmla="*/ 221837 w 1182528"/>
                <a:gd name="connsiteY451" fmla="*/ 1008698 h 1101852"/>
                <a:gd name="connsiteX452" fmla="*/ 220885 w 1182528"/>
                <a:gd name="connsiteY452" fmla="*/ 1013651 h 1101852"/>
                <a:gd name="connsiteX453" fmla="*/ 229362 w 1182528"/>
                <a:gd name="connsiteY453" fmla="*/ 1017365 h 1101852"/>
                <a:gd name="connsiteX454" fmla="*/ 229743 w 1182528"/>
                <a:gd name="connsiteY454" fmla="*/ 1020509 h 1101852"/>
                <a:gd name="connsiteX455" fmla="*/ 228219 w 1182528"/>
                <a:gd name="connsiteY455" fmla="*/ 1020699 h 1101852"/>
                <a:gd name="connsiteX456" fmla="*/ 233362 w 1182528"/>
                <a:gd name="connsiteY456" fmla="*/ 1023271 h 1101852"/>
                <a:gd name="connsiteX457" fmla="*/ 230410 w 1182528"/>
                <a:gd name="connsiteY457" fmla="*/ 1025271 h 1101852"/>
                <a:gd name="connsiteX458" fmla="*/ 232791 w 1182528"/>
                <a:gd name="connsiteY458" fmla="*/ 1031367 h 1101852"/>
                <a:gd name="connsiteX459" fmla="*/ 229648 w 1182528"/>
                <a:gd name="connsiteY459" fmla="*/ 1031748 h 1101852"/>
                <a:gd name="connsiteX460" fmla="*/ 220885 w 1182528"/>
                <a:gd name="connsiteY460" fmla="*/ 1026509 h 1101852"/>
                <a:gd name="connsiteX461" fmla="*/ 223837 w 1182528"/>
                <a:gd name="connsiteY461" fmla="*/ 1024509 h 1101852"/>
                <a:gd name="connsiteX462" fmla="*/ 220504 w 1182528"/>
                <a:gd name="connsiteY462" fmla="*/ 1023271 h 1101852"/>
                <a:gd name="connsiteX463" fmla="*/ 219170 w 1182528"/>
                <a:gd name="connsiteY463" fmla="*/ 1025081 h 1101852"/>
                <a:gd name="connsiteX464" fmla="*/ 217360 w 1182528"/>
                <a:gd name="connsiteY464" fmla="*/ 1023747 h 1101852"/>
                <a:gd name="connsiteX465" fmla="*/ 217551 w 1182528"/>
                <a:gd name="connsiteY465" fmla="*/ 1025271 h 1101852"/>
                <a:gd name="connsiteX466" fmla="*/ 209074 w 1182528"/>
                <a:gd name="connsiteY466" fmla="*/ 1021556 h 1101852"/>
                <a:gd name="connsiteX467" fmla="*/ 207931 w 1182528"/>
                <a:gd name="connsiteY467" fmla="*/ 1024890 h 1101852"/>
                <a:gd name="connsiteX468" fmla="*/ 207740 w 1182528"/>
                <a:gd name="connsiteY468" fmla="*/ 1023366 h 1101852"/>
                <a:gd name="connsiteX469" fmla="*/ 200025 w 1182528"/>
                <a:gd name="connsiteY469" fmla="*/ 1025938 h 1101852"/>
                <a:gd name="connsiteX470" fmla="*/ 198787 w 1182528"/>
                <a:gd name="connsiteY470" fmla="*/ 1029272 h 1101852"/>
                <a:gd name="connsiteX471" fmla="*/ 202216 w 1182528"/>
                <a:gd name="connsiteY471" fmla="*/ 1030415 h 1101852"/>
                <a:gd name="connsiteX472" fmla="*/ 200977 w 1182528"/>
                <a:gd name="connsiteY472" fmla="*/ 1033844 h 1101852"/>
                <a:gd name="connsiteX473" fmla="*/ 193072 w 1182528"/>
                <a:gd name="connsiteY473" fmla="*/ 1034796 h 1101852"/>
                <a:gd name="connsiteX474" fmla="*/ 196691 w 1182528"/>
                <a:gd name="connsiteY474" fmla="*/ 1037558 h 1101852"/>
                <a:gd name="connsiteX475" fmla="*/ 199835 w 1182528"/>
                <a:gd name="connsiteY475" fmla="*/ 1037177 h 1101852"/>
                <a:gd name="connsiteX476" fmla="*/ 205549 w 1182528"/>
                <a:gd name="connsiteY476" fmla="*/ 1044416 h 1101852"/>
                <a:gd name="connsiteX477" fmla="*/ 208121 w 1182528"/>
                <a:gd name="connsiteY477" fmla="*/ 1039368 h 1101852"/>
                <a:gd name="connsiteX478" fmla="*/ 213455 w 1182528"/>
                <a:gd name="connsiteY478" fmla="*/ 1043464 h 1101852"/>
                <a:gd name="connsiteX479" fmla="*/ 221170 w 1182528"/>
                <a:gd name="connsiteY479" fmla="*/ 1040892 h 1101852"/>
                <a:gd name="connsiteX480" fmla="*/ 226124 w 1182528"/>
                <a:gd name="connsiteY480" fmla="*/ 1041845 h 1101852"/>
                <a:gd name="connsiteX481" fmla="*/ 228505 w 1182528"/>
                <a:gd name="connsiteY481" fmla="*/ 1047941 h 1101852"/>
                <a:gd name="connsiteX482" fmla="*/ 228695 w 1182528"/>
                <a:gd name="connsiteY482" fmla="*/ 1049560 h 1101852"/>
                <a:gd name="connsiteX483" fmla="*/ 235553 w 1182528"/>
                <a:gd name="connsiteY483" fmla="*/ 1053465 h 1101852"/>
                <a:gd name="connsiteX484" fmla="*/ 231076 w 1182528"/>
                <a:gd name="connsiteY484" fmla="*/ 1055656 h 1101852"/>
                <a:gd name="connsiteX485" fmla="*/ 229648 w 1182528"/>
                <a:gd name="connsiteY485" fmla="*/ 1057466 h 1101852"/>
                <a:gd name="connsiteX486" fmla="*/ 237553 w 1182528"/>
                <a:gd name="connsiteY486" fmla="*/ 1056418 h 1101852"/>
                <a:gd name="connsiteX487" fmla="*/ 239363 w 1182528"/>
                <a:gd name="connsiteY487" fmla="*/ 1057847 h 1101852"/>
                <a:gd name="connsiteX488" fmla="*/ 240983 w 1182528"/>
                <a:gd name="connsiteY488" fmla="*/ 1070420 h 1101852"/>
                <a:gd name="connsiteX489" fmla="*/ 239744 w 1182528"/>
                <a:gd name="connsiteY489" fmla="*/ 1073753 h 1101852"/>
                <a:gd name="connsiteX490" fmla="*/ 243173 w 1182528"/>
                <a:gd name="connsiteY490" fmla="*/ 1074992 h 1101852"/>
                <a:gd name="connsiteX491" fmla="*/ 246126 w 1182528"/>
                <a:gd name="connsiteY491" fmla="*/ 1072991 h 1101852"/>
                <a:gd name="connsiteX492" fmla="*/ 259080 w 1182528"/>
                <a:gd name="connsiteY492" fmla="*/ 1074515 h 1101852"/>
                <a:gd name="connsiteX493" fmla="*/ 258699 w 1182528"/>
                <a:gd name="connsiteY493" fmla="*/ 1071372 h 1101852"/>
                <a:gd name="connsiteX494" fmla="*/ 260318 w 1182528"/>
                <a:gd name="connsiteY494" fmla="*/ 1071182 h 1101852"/>
                <a:gd name="connsiteX495" fmla="*/ 261461 w 1182528"/>
                <a:gd name="connsiteY495" fmla="*/ 1080611 h 1101852"/>
                <a:gd name="connsiteX496" fmla="*/ 259366 w 1182528"/>
                <a:gd name="connsiteY496" fmla="*/ 1088898 h 1101852"/>
                <a:gd name="connsiteX497" fmla="*/ 265843 w 1182528"/>
                <a:gd name="connsiteY497" fmla="*/ 1089660 h 1101852"/>
                <a:gd name="connsiteX498" fmla="*/ 268414 w 1182528"/>
                <a:gd name="connsiteY498" fmla="*/ 1084517 h 1101852"/>
                <a:gd name="connsiteX499" fmla="*/ 271558 w 1182528"/>
                <a:gd name="connsiteY499" fmla="*/ 1084136 h 1101852"/>
                <a:gd name="connsiteX500" fmla="*/ 272510 w 1182528"/>
                <a:gd name="connsiteY500" fmla="*/ 1079183 h 1101852"/>
                <a:gd name="connsiteX501" fmla="*/ 273749 w 1182528"/>
                <a:gd name="connsiteY501" fmla="*/ 1075849 h 1101852"/>
                <a:gd name="connsiteX502" fmla="*/ 276892 w 1182528"/>
                <a:gd name="connsiteY502" fmla="*/ 1075468 h 1101852"/>
                <a:gd name="connsiteX503" fmla="*/ 281178 w 1182528"/>
                <a:gd name="connsiteY503" fmla="*/ 1071753 h 1101852"/>
                <a:gd name="connsiteX504" fmla="*/ 283178 w 1182528"/>
                <a:gd name="connsiteY504" fmla="*/ 1074706 h 1101852"/>
                <a:gd name="connsiteX505" fmla="*/ 280035 w 1182528"/>
                <a:gd name="connsiteY505" fmla="*/ 1075087 h 1101852"/>
                <a:gd name="connsiteX506" fmla="*/ 278701 w 1182528"/>
                <a:gd name="connsiteY506" fmla="*/ 1076801 h 1101852"/>
                <a:gd name="connsiteX507" fmla="*/ 283750 w 1182528"/>
                <a:gd name="connsiteY507" fmla="*/ 1079373 h 1101852"/>
                <a:gd name="connsiteX508" fmla="*/ 282988 w 1182528"/>
                <a:gd name="connsiteY508" fmla="*/ 1085945 h 1101852"/>
                <a:gd name="connsiteX509" fmla="*/ 286226 w 1182528"/>
                <a:gd name="connsiteY509" fmla="*/ 1085469 h 1101852"/>
                <a:gd name="connsiteX510" fmla="*/ 287941 w 1182528"/>
                <a:gd name="connsiteY510" fmla="*/ 1086898 h 1101852"/>
                <a:gd name="connsiteX511" fmla="*/ 291084 w 1182528"/>
                <a:gd name="connsiteY511" fmla="*/ 1086517 h 1101852"/>
                <a:gd name="connsiteX512" fmla="*/ 291179 w 1182528"/>
                <a:gd name="connsiteY512" fmla="*/ 1099280 h 1101852"/>
                <a:gd name="connsiteX513" fmla="*/ 296323 w 1182528"/>
                <a:gd name="connsiteY513" fmla="*/ 1101852 h 1101852"/>
                <a:gd name="connsiteX514" fmla="*/ 302228 w 1182528"/>
                <a:gd name="connsiteY514" fmla="*/ 1097852 h 1101852"/>
                <a:gd name="connsiteX515" fmla="*/ 305372 w 1182528"/>
                <a:gd name="connsiteY515" fmla="*/ 1097471 h 1101852"/>
                <a:gd name="connsiteX516" fmla="*/ 308705 w 1182528"/>
                <a:gd name="connsiteY516" fmla="*/ 1098709 h 1101852"/>
                <a:gd name="connsiteX517" fmla="*/ 308515 w 1182528"/>
                <a:gd name="connsiteY517" fmla="*/ 1097090 h 1101852"/>
                <a:gd name="connsiteX518" fmla="*/ 314611 w 1182528"/>
                <a:gd name="connsiteY518" fmla="*/ 1094708 h 1101852"/>
                <a:gd name="connsiteX519" fmla="*/ 315373 w 1182528"/>
                <a:gd name="connsiteY519" fmla="*/ 1088231 h 1101852"/>
                <a:gd name="connsiteX520" fmla="*/ 317183 w 1182528"/>
                <a:gd name="connsiteY520" fmla="*/ 1089565 h 1101852"/>
                <a:gd name="connsiteX521" fmla="*/ 317945 w 1182528"/>
                <a:gd name="connsiteY521" fmla="*/ 1083088 h 1101852"/>
                <a:gd name="connsiteX522" fmla="*/ 315944 w 1182528"/>
                <a:gd name="connsiteY522" fmla="*/ 1080135 h 1101852"/>
                <a:gd name="connsiteX523" fmla="*/ 320326 w 1182528"/>
                <a:gd name="connsiteY523" fmla="*/ 1076325 h 1101852"/>
                <a:gd name="connsiteX524" fmla="*/ 323660 w 1182528"/>
                <a:gd name="connsiteY524" fmla="*/ 1077563 h 1101852"/>
                <a:gd name="connsiteX525" fmla="*/ 326422 w 1182528"/>
                <a:gd name="connsiteY525" fmla="*/ 1073944 h 1101852"/>
                <a:gd name="connsiteX526" fmla="*/ 329565 w 1182528"/>
                <a:gd name="connsiteY526" fmla="*/ 1073563 h 1101852"/>
                <a:gd name="connsiteX527" fmla="*/ 330327 w 1182528"/>
                <a:gd name="connsiteY527" fmla="*/ 1067086 h 1101852"/>
                <a:gd name="connsiteX528" fmla="*/ 340043 w 1182528"/>
                <a:gd name="connsiteY528" fmla="*/ 1067467 h 1101852"/>
                <a:gd name="connsiteX529" fmla="*/ 340043 w 1182528"/>
                <a:gd name="connsiteY529" fmla="*/ 1067467 h 1101852"/>
                <a:gd name="connsiteX530" fmla="*/ 340233 w 1182528"/>
                <a:gd name="connsiteY530" fmla="*/ 1068991 h 1101852"/>
                <a:gd name="connsiteX531" fmla="*/ 350234 w 1182528"/>
                <a:gd name="connsiteY531" fmla="*/ 1072515 h 1101852"/>
                <a:gd name="connsiteX532" fmla="*/ 354997 w 1182528"/>
                <a:gd name="connsiteY532" fmla="*/ 1071944 h 1101852"/>
                <a:gd name="connsiteX533" fmla="*/ 355949 w 1182528"/>
                <a:gd name="connsiteY533" fmla="*/ 1066991 h 1101852"/>
                <a:gd name="connsiteX534" fmla="*/ 354235 w 1182528"/>
                <a:gd name="connsiteY534" fmla="*/ 1065657 h 1101852"/>
                <a:gd name="connsiteX535" fmla="*/ 355378 w 1182528"/>
                <a:gd name="connsiteY535" fmla="*/ 1062228 h 1101852"/>
                <a:gd name="connsiteX536" fmla="*/ 357187 w 1182528"/>
                <a:gd name="connsiteY536" fmla="*/ 1063657 h 1101852"/>
                <a:gd name="connsiteX537" fmla="*/ 361855 w 1182528"/>
                <a:gd name="connsiteY537" fmla="*/ 1062990 h 1101852"/>
                <a:gd name="connsiteX538" fmla="*/ 360712 w 1182528"/>
                <a:gd name="connsiteY538" fmla="*/ 1053560 h 1101852"/>
                <a:gd name="connsiteX539" fmla="*/ 360521 w 1182528"/>
                <a:gd name="connsiteY539" fmla="*/ 1051941 h 1101852"/>
                <a:gd name="connsiteX540" fmla="*/ 360902 w 1182528"/>
                <a:gd name="connsiteY540" fmla="*/ 1042321 h 1101852"/>
                <a:gd name="connsiteX541" fmla="*/ 361283 w 1182528"/>
                <a:gd name="connsiteY541" fmla="*/ 1045464 h 1101852"/>
                <a:gd name="connsiteX542" fmla="*/ 362617 w 1182528"/>
                <a:gd name="connsiteY542" fmla="*/ 1043654 h 1101852"/>
                <a:gd name="connsiteX543" fmla="*/ 364808 w 1182528"/>
                <a:gd name="connsiteY543" fmla="*/ 1048226 h 1101852"/>
                <a:gd name="connsiteX544" fmla="*/ 369760 w 1182528"/>
                <a:gd name="connsiteY544" fmla="*/ 1049179 h 1101852"/>
                <a:gd name="connsiteX545" fmla="*/ 374714 w 1182528"/>
                <a:gd name="connsiteY545" fmla="*/ 1050131 h 1101852"/>
                <a:gd name="connsiteX546" fmla="*/ 375666 w 1182528"/>
                <a:gd name="connsiteY546" fmla="*/ 1045274 h 1101852"/>
                <a:gd name="connsiteX547" fmla="*/ 374904 w 1182528"/>
                <a:gd name="connsiteY547" fmla="*/ 1038892 h 1101852"/>
                <a:gd name="connsiteX548" fmla="*/ 374047 w 1182528"/>
                <a:gd name="connsiteY548" fmla="*/ 1032605 h 1101852"/>
                <a:gd name="connsiteX549" fmla="*/ 368903 w 1182528"/>
                <a:gd name="connsiteY549" fmla="*/ 1030034 h 1101852"/>
                <a:gd name="connsiteX550" fmla="*/ 368903 w 1182528"/>
                <a:gd name="connsiteY550" fmla="*/ 1030034 h 1101852"/>
                <a:gd name="connsiteX551" fmla="*/ 378428 w 1182528"/>
                <a:gd name="connsiteY551" fmla="*/ 1028891 h 1101852"/>
                <a:gd name="connsiteX552" fmla="*/ 379381 w 1182528"/>
                <a:gd name="connsiteY552" fmla="*/ 1023938 h 1101852"/>
                <a:gd name="connsiteX553" fmla="*/ 374809 w 1182528"/>
                <a:gd name="connsiteY553" fmla="*/ 1013270 h 1101852"/>
                <a:gd name="connsiteX554" fmla="*/ 377571 w 1182528"/>
                <a:gd name="connsiteY554" fmla="*/ 1009745 h 1101852"/>
                <a:gd name="connsiteX555" fmla="*/ 374999 w 1182528"/>
                <a:gd name="connsiteY555" fmla="*/ 1002030 h 1101852"/>
                <a:gd name="connsiteX556" fmla="*/ 378714 w 1182528"/>
                <a:gd name="connsiteY556" fmla="*/ 1006316 h 1101852"/>
                <a:gd name="connsiteX557" fmla="*/ 378524 w 1182528"/>
                <a:gd name="connsiteY557" fmla="*/ 1004792 h 1101852"/>
                <a:gd name="connsiteX558" fmla="*/ 386429 w 1182528"/>
                <a:gd name="connsiteY558" fmla="*/ 1003745 h 1101852"/>
                <a:gd name="connsiteX559" fmla="*/ 389382 w 1182528"/>
                <a:gd name="connsiteY559" fmla="*/ 1001840 h 1101852"/>
                <a:gd name="connsiteX560" fmla="*/ 389191 w 1182528"/>
                <a:gd name="connsiteY560" fmla="*/ 1000220 h 1101852"/>
                <a:gd name="connsiteX561" fmla="*/ 392335 w 1182528"/>
                <a:gd name="connsiteY561" fmla="*/ 999839 h 1101852"/>
                <a:gd name="connsiteX562" fmla="*/ 392335 w 1182528"/>
                <a:gd name="connsiteY562" fmla="*/ 999839 h 1101852"/>
                <a:gd name="connsiteX563" fmla="*/ 391954 w 1182528"/>
                <a:gd name="connsiteY563" fmla="*/ 996696 h 1101852"/>
                <a:gd name="connsiteX564" fmla="*/ 396621 w 1182528"/>
                <a:gd name="connsiteY564" fmla="*/ 996029 h 1101852"/>
                <a:gd name="connsiteX565" fmla="*/ 394906 w 1182528"/>
                <a:gd name="connsiteY565" fmla="*/ 994696 h 1101852"/>
                <a:gd name="connsiteX566" fmla="*/ 394049 w 1182528"/>
                <a:gd name="connsiteY566" fmla="*/ 988409 h 1101852"/>
                <a:gd name="connsiteX567" fmla="*/ 395668 w 1182528"/>
                <a:gd name="connsiteY567" fmla="*/ 988124 h 1101852"/>
                <a:gd name="connsiteX568" fmla="*/ 399002 w 1182528"/>
                <a:gd name="connsiteY568" fmla="*/ 989362 h 1101852"/>
                <a:gd name="connsiteX569" fmla="*/ 400145 w 1182528"/>
                <a:gd name="connsiteY569" fmla="*/ 986028 h 1101852"/>
                <a:gd name="connsiteX570" fmla="*/ 406527 w 1182528"/>
                <a:gd name="connsiteY570" fmla="*/ 985171 h 1101852"/>
                <a:gd name="connsiteX571" fmla="*/ 408813 w 1182528"/>
                <a:gd name="connsiteY571" fmla="*/ 978503 h 1101852"/>
                <a:gd name="connsiteX572" fmla="*/ 416528 w 1182528"/>
                <a:gd name="connsiteY572" fmla="*/ 975932 h 1101852"/>
                <a:gd name="connsiteX573" fmla="*/ 419672 w 1182528"/>
                <a:gd name="connsiteY573" fmla="*/ 975455 h 1101852"/>
                <a:gd name="connsiteX574" fmla="*/ 419481 w 1182528"/>
                <a:gd name="connsiteY574" fmla="*/ 973931 h 1101852"/>
                <a:gd name="connsiteX575" fmla="*/ 422434 w 1182528"/>
                <a:gd name="connsiteY575" fmla="*/ 971931 h 1101852"/>
                <a:gd name="connsiteX576" fmla="*/ 422434 w 1182528"/>
                <a:gd name="connsiteY576" fmla="*/ 971931 h 1101852"/>
                <a:gd name="connsiteX577" fmla="*/ 430149 w 1182528"/>
                <a:gd name="connsiteY577" fmla="*/ 982123 h 1101852"/>
                <a:gd name="connsiteX578" fmla="*/ 433578 w 1182528"/>
                <a:gd name="connsiteY578" fmla="*/ 983361 h 1101852"/>
                <a:gd name="connsiteX579" fmla="*/ 436531 w 1182528"/>
                <a:gd name="connsiteY579" fmla="*/ 981361 h 1101852"/>
                <a:gd name="connsiteX580" fmla="*/ 444341 w 1182528"/>
                <a:gd name="connsiteY580" fmla="*/ 980313 h 1101852"/>
                <a:gd name="connsiteX581" fmla="*/ 451485 w 1182528"/>
                <a:gd name="connsiteY581" fmla="*/ 973074 h 1101852"/>
                <a:gd name="connsiteX582" fmla="*/ 456629 w 1182528"/>
                <a:gd name="connsiteY582" fmla="*/ 975551 h 1101852"/>
                <a:gd name="connsiteX583" fmla="*/ 456152 w 1182528"/>
                <a:gd name="connsiteY583" fmla="*/ 972407 h 1101852"/>
                <a:gd name="connsiteX584" fmla="*/ 469583 w 1182528"/>
                <a:gd name="connsiteY584" fmla="*/ 964311 h 1101852"/>
                <a:gd name="connsiteX585" fmla="*/ 465391 w 1182528"/>
                <a:gd name="connsiteY585" fmla="*/ 956786 h 1101852"/>
                <a:gd name="connsiteX586" fmla="*/ 473774 w 1182528"/>
                <a:gd name="connsiteY586" fmla="*/ 958977 h 1101852"/>
                <a:gd name="connsiteX587" fmla="*/ 476726 w 1182528"/>
                <a:gd name="connsiteY587" fmla="*/ 956977 h 1101852"/>
                <a:gd name="connsiteX588" fmla="*/ 480441 w 1182528"/>
                <a:gd name="connsiteY588" fmla="*/ 948500 h 1101852"/>
                <a:gd name="connsiteX589" fmla="*/ 478631 w 1182528"/>
                <a:gd name="connsiteY589" fmla="*/ 947166 h 1101852"/>
                <a:gd name="connsiteX590" fmla="*/ 479965 w 1182528"/>
                <a:gd name="connsiteY590" fmla="*/ 945356 h 1101852"/>
                <a:gd name="connsiteX591" fmla="*/ 480251 w 1182528"/>
                <a:gd name="connsiteY591" fmla="*/ 946880 h 1101852"/>
                <a:gd name="connsiteX592" fmla="*/ 484918 w 1182528"/>
                <a:gd name="connsiteY592" fmla="*/ 946309 h 1101852"/>
                <a:gd name="connsiteX593" fmla="*/ 489109 w 1182528"/>
                <a:gd name="connsiteY593" fmla="*/ 940975 h 1101852"/>
                <a:gd name="connsiteX594" fmla="*/ 501491 w 1182528"/>
                <a:gd name="connsiteY594" fmla="*/ 924973 h 1101852"/>
                <a:gd name="connsiteX595" fmla="*/ 503491 w 1182528"/>
                <a:gd name="connsiteY595" fmla="*/ 927926 h 1101852"/>
                <a:gd name="connsiteX596" fmla="*/ 502063 w 1182528"/>
                <a:gd name="connsiteY596" fmla="*/ 929735 h 1101852"/>
                <a:gd name="connsiteX597" fmla="*/ 502063 w 1182528"/>
                <a:gd name="connsiteY597" fmla="*/ 942499 h 1101852"/>
                <a:gd name="connsiteX598" fmla="*/ 511397 w 1182528"/>
                <a:gd name="connsiteY598" fmla="*/ 939737 h 1101852"/>
                <a:gd name="connsiteX599" fmla="*/ 514731 w 1182528"/>
                <a:gd name="connsiteY599" fmla="*/ 940880 h 1101852"/>
                <a:gd name="connsiteX600" fmla="*/ 520065 w 1182528"/>
                <a:gd name="connsiteY600" fmla="*/ 945071 h 1101852"/>
                <a:gd name="connsiteX601" fmla="*/ 523208 w 1182528"/>
                <a:gd name="connsiteY601" fmla="*/ 944690 h 1101852"/>
                <a:gd name="connsiteX602" fmla="*/ 533876 w 1182528"/>
                <a:gd name="connsiteY602" fmla="*/ 940118 h 1101852"/>
                <a:gd name="connsiteX603" fmla="*/ 551593 w 1182528"/>
                <a:gd name="connsiteY603" fmla="*/ 941070 h 1101852"/>
                <a:gd name="connsiteX604" fmla="*/ 556736 w 1182528"/>
                <a:gd name="connsiteY604" fmla="*/ 943547 h 1101852"/>
                <a:gd name="connsiteX605" fmla="*/ 559118 w 1182528"/>
                <a:gd name="connsiteY605" fmla="*/ 936879 h 1101852"/>
                <a:gd name="connsiteX606" fmla="*/ 559879 w 1182528"/>
                <a:gd name="connsiteY606" fmla="*/ 930307 h 1101852"/>
                <a:gd name="connsiteX607" fmla="*/ 561880 w 1182528"/>
                <a:gd name="connsiteY607" fmla="*/ 933355 h 1101852"/>
                <a:gd name="connsiteX608" fmla="*/ 565595 w 1182528"/>
                <a:gd name="connsiteY608" fmla="*/ 924782 h 1101852"/>
                <a:gd name="connsiteX609" fmla="*/ 567595 w 1182528"/>
                <a:gd name="connsiteY609" fmla="*/ 927735 h 1101852"/>
                <a:gd name="connsiteX610" fmla="*/ 566833 w 1182528"/>
                <a:gd name="connsiteY610" fmla="*/ 934307 h 1101852"/>
                <a:gd name="connsiteX611" fmla="*/ 569976 w 1182528"/>
                <a:gd name="connsiteY611" fmla="*/ 933926 h 1101852"/>
                <a:gd name="connsiteX612" fmla="*/ 572548 w 1182528"/>
                <a:gd name="connsiteY612" fmla="*/ 928783 h 1101852"/>
                <a:gd name="connsiteX613" fmla="*/ 575691 w 1182528"/>
                <a:gd name="connsiteY613" fmla="*/ 928307 h 1101852"/>
                <a:gd name="connsiteX614" fmla="*/ 583978 w 1182528"/>
                <a:gd name="connsiteY614" fmla="*/ 917639 h 1101852"/>
                <a:gd name="connsiteX615" fmla="*/ 589407 w 1182528"/>
                <a:gd name="connsiteY615" fmla="*/ 910590 h 1101852"/>
                <a:gd name="connsiteX616" fmla="*/ 591788 w 1182528"/>
                <a:gd name="connsiteY616" fmla="*/ 903827 h 1101852"/>
                <a:gd name="connsiteX617" fmla="*/ 594931 w 1182528"/>
                <a:gd name="connsiteY617" fmla="*/ 903446 h 1101852"/>
                <a:gd name="connsiteX618" fmla="*/ 600837 w 1182528"/>
                <a:gd name="connsiteY618" fmla="*/ 899446 h 1101852"/>
                <a:gd name="connsiteX619" fmla="*/ 603980 w 1182528"/>
                <a:gd name="connsiteY619" fmla="*/ 899065 h 1101852"/>
                <a:gd name="connsiteX620" fmla="*/ 607981 w 1182528"/>
                <a:gd name="connsiteY620" fmla="*/ 904970 h 1101852"/>
                <a:gd name="connsiteX621" fmla="*/ 609124 w 1182528"/>
                <a:gd name="connsiteY621" fmla="*/ 901637 h 1101852"/>
                <a:gd name="connsiteX622" fmla="*/ 610933 w 1182528"/>
                <a:gd name="connsiteY622" fmla="*/ 902970 h 1101852"/>
                <a:gd name="connsiteX623" fmla="*/ 617506 w 1182528"/>
                <a:gd name="connsiteY623" fmla="*/ 916591 h 1101852"/>
                <a:gd name="connsiteX624" fmla="*/ 616744 w 1182528"/>
                <a:gd name="connsiteY624" fmla="*/ 923163 h 1101852"/>
                <a:gd name="connsiteX625" fmla="*/ 618649 w 1182528"/>
                <a:gd name="connsiteY625" fmla="*/ 926116 h 1101852"/>
                <a:gd name="connsiteX626" fmla="*/ 618649 w 1182528"/>
                <a:gd name="connsiteY626" fmla="*/ 926116 h 1101852"/>
                <a:gd name="connsiteX627" fmla="*/ 635794 w 1182528"/>
                <a:gd name="connsiteY627" fmla="*/ 922306 h 1101852"/>
                <a:gd name="connsiteX628" fmla="*/ 636175 w 1182528"/>
                <a:gd name="connsiteY628" fmla="*/ 912590 h 1101852"/>
                <a:gd name="connsiteX629" fmla="*/ 639127 w 1182528"/>
                <a:gd name="connsiteY629" fmla="*/ 910590 h 1101852"/>
                <a:gd name="connsiteX630" fmla="*/ 636746 w 1182528"/>
                <a:gd name="connsiteY630" fmla="*/ 904494 h 1101852"/>
                <a:gd name="connsiteX631" fmla="*/ 642461 w 1182528"/>
                <a:gd name="connsiteY631" fmla="*/ 898970 h 1101852"/>
                <a:gd name="connsiteX632" fmla="*/ 646462 w 1182528"/>
                <a:gd name="connsiteY632" fmla="*/ 892112 h 1101852"/>
                <a:gd name="connsiteX633" fmla="*/ 652748 w 1182528"/>
                <a:gd name="connsiteY633" fmla="*/ 891254 h 1101852"/>
                <a:gd name="connsiteX634" fmla="*/ 668274 w 1182528"/>
                <a:gd name="connsiteY634" fmla="*/ 887635 h 1101852"/>
                <a:gd name="connsiteX635" fmla="*/ 671513 w 1182528"/>
                <a:gd name="connsiteY635" fmla="*/ 887254 h 1101852"/>
                <a:gd name="connsiteX636" fmla="*/ 670274 w 1182528"/>
                <a:gd name="connsiteY636" fmla="*/ 890588 h 1101852"/>
                <a:gd name="connsiteX637" fmla="*/ 679323 w 1182528"/>
                <a:gd name="connsiteY637" fmla="*/ 886301 h 1101852"/>
                <a:gd name="connsiteX638" fmla="*/ 680561 w 1182528"/>
                <a:gd name="connsiteY638" fmla="*/ 882872 h 1101852"/>
                <a:gd name="connsiteX639" fmla="*/ 685228 w 1182528"/>
                <a:gd name="connsiteY639" fmla="*/ 882301 h 1101852"/>
                <a:gd name="connsiteX640" fmla="*/ 689801 w 1182528"/>
                <a:gd name="connsiteY640" fmla="*/ 880110 h 1101852"/>
                <a:gd name="connsiteX641" fmla="*/ 690563 w 1182528"/>
                <a:gd name="connsiteY641" fmla="*/ 873633 h 1101852"/>
                <a:gd name="connsiteX642" fmla="*/ 693706 w 1182528"/>
                <a:gd name="connsiteY642" fmla="*/ 873252 h 1101852"/>
                <a:gd name="connsiteX643" fmla="*/ 693515 w 1182528"/>
                <a:gd name="connsiteY643" fmla="*/ 871633 h 1101852"/>
                <a:gd name="connsiteX644" fmla="*/ 696849 w 1182528"/>
                <a:gd name="connsiteY644" fmla="*/ 872776 h 1101852"/>
                <a:gd name="connsiteX645" fmla="*/ 699611 w 1182528"/>
                <a:gd name="connsiteY645" fmla="*/ 869251 h 1101852"/>
                <a:gd name="connsiteX646" fmla="*/ 700850 w 1182528"/>
                <a:gd name="connsiteY646" fmla="*/ 865918 h 1101852"/>
                <a:gd name="connsiteX647" fmla="*/ 699230 w 1182528"/>
                <a:gd name="connsiteY647" fmla="*/ 853250 h 1101852"/>
                <a:gd name="connsiteX648" fmla="*/ 696087 w 1182528"/>
                <a:gd name="connsiteY648" fmla="*/ 853631 h 1101852"/>
                <a:gd name="connsiteX649" fmla="*/ 697611 w 1182528"/>
                <a:gd name="connsiteY649" fmla="*/ 853440 h 1101852"/>
                <a:gd name="connsiteX650" fmla="*/ 697421 w 1182528"/>
                <a:gd name="connsiteY650" fmla="*/ 851916 h 1101852"/>
                <a:gd name="connsiteX651" fmla="*/ 703993 w 1182528"/>
                <a:gd name="connsiteY651" fmla="*/ 852678 h 1101852"/>
                <a:gd name="connsiteX652" fmla="*/ 704183 w 1182528"/>
                <a:gd name="connsiteY652" fmla="*/ 854202 h 1101852"/>
                <a:gd name="connsiteX653" fmla="*/ 710470 w 1182528"/>
                <a:gd name="connsiteY653" fmla="*/ 853440 h 1101852"/>
                <a:gd name="connsiteX654" fmla="*/ 710851 w 1182528"/>
                <a:gd name="connsiteY654" fmla="*/ 856583 h 1101852"/>
                <a:gd name="connsiteX655" fmla="*/ 723710 w 1182528"/>
                <a:gd name="connsiteY655" fmla="*/ 856583 h 1101852"/>
                <a:gd name="connsiteX656" fmla="*/ 726853 w 1182528"/>
                <a:gd name="connsiteY656" fmla="*/ 856202 h 1101852"/>
                <a:gd name="connsiteX657" fmla="*/ 726662 w 1182528"/>
                <a:gd name="connsiteY657" fmla="*/ 854583 h 1101852"/>
                <a:gd name="connsiteX658" fmla="*/ 724662 w 1182528"/>
                <a:gd name="connsiteY658" fmla="*/ 851630 h 1101852"/>
                <a:gd name="connsiteX659" fmla="*/ 726281 w 1182528"/>
                <a:gd name="connsiteY659" fmla="*/ 851440 h 1101852"/>
                <a:gd name="connsiteX660" fmla="*/ 725996 w 1182528"/>
                <a:gd name="connsiteY660" fmla="*/ 849821 h 1101852"/>
                <a:gd name="connsiteX661" fmla="*/ 724281 w 1182528"/>
                <a:gd name="connsiteY661" fmla="*/ 848487 h 1101852"/>
                <a:gd name="connsiteX662" fmla="*/ 726567 w 1182528"/>
                <a:gd name="connsiteY662" fmla="*/ 841724 h 1101852"/>
                <a:gd name="connsiteX663" fmla="*/ 722662 w 1182528"/>
                <a:gd name="connsiteY663" fmla="*/ 835819 h 1101852"/>
                <a:gd name="connsiteX664" fmla="*/ 719519 w 1182528"/>
                <a:gd name="connsiteY664" fmla="*/ 836295 h 1101852"/>
                <a:gd name="connsiteX665" fmla="*/ 717709 w 1182528"/>
                <a:gd name="connsiteY665" fmla="*/ 822008 h 1101852"/>
                <a:gd name="connsiteX666" fmla="*/ 725424 w 1182528"/>
                <a:gd name="connsiteY666" fmla="*/ 819436 h 1101852"/>
                <a:gd name="connsiteX667" fmla="*/ 723614 w 1182528"/>
                <a:gd name="connsiteY667" fmla="*/ 818102 h 1101852"/>
                <a:gd name="connsiteX668" fmla="*/ 728377 w 1182528"/>
                <a:gd name="connsiteY668" fmla="*/ 817531 h 1101852"/>
                <a:gd name="connsiteX669" fmla="*/ 730853 w 1182528"/>
                <a:gd name="connsiteY669" fmla="*/ 812387 h 1101852"/>
                <a:gd name="connsiteX670" fmla="*/ 733997 w 1182528"/>
                <a:gd name="connsiteY670" fmla="*/ 811911 h 1101852"/>
                <a:gd name="connsiteX671" fmla="*/ 736759 w 1182528"/>
                <a:gd name="connsiteY671" fmla="*/ 808387 h 1101852"/>
                <a:gd name="connsiteX672" fmla="*/ 744474 w 1182528"/>
                <a:gd name="connsiteY672" fmla="*/ 805815 h 1101852"/>
                <a:gd name="connsiteX673" fmla="*/ 750189 w 1182528"/>
                <a:gd name="connsiteY673" fmla="*/ 813054 h 1101852"/>
                <a:gd name="connsiteX674" fmla="*/ 753618 w 1182528"/>
                <a:gd name="connsiteY674" fmla="*/ 814292 h 1101852"/>
                <a:gd name="connsiteX675" fmla="*/ 752951 w 1182528"/>
                <a:gd name="connsiteY675" fmla="*/ 809530 h 1101852"/>
                <a:gd name="connsiteX676" fmla="*/ 756094 w 1182528"/>
                <a:gd name="connsiteY676" fmla="*/ 809149 h 1101852"/>
                <a:gd name="connsiteX677" fmla="*/ 755904 w 1182528"/>
                <a:gd name="connsiteY677" fmla="*/ 807530 h 1101852"/>
                <a:gd name="connsiteX678" fmla="*/ 768001 w 1182528"/>
                <a:gd name="connsiteY678" fmla="*/ 814007 h 1101852"/>
                <a:gd name="connsiteX679" fmla="*/ 777811 w 1182528"/>
                <a:gd name="connsiteY679" fmla="*/ 816007 h 1101852"/>
                <a:gd name="connsiteX680" fmla="*/ 779812 w 1182528"/>
                <a:gd name="connsiteY680" fmla="*/ 818960 h 1101852"/>
                <a:gd name="connsiteX681" fmla="*/ 782955 w 1182528"/>
                <a:gd name="connsiteY681" fmla="*/ 818578 h 1101852"/>
                <a:gd name="connsiteX682" fmla="*/ 783431 w 1182528"/>
                <a:gd name="connsiteY682" fmla="*/ 821722 h 1101852"/>
                <a:gd name="connsiteX683" fmla="*/ 784955 w 1182528"/>
                <a:gd name="connsiteY683" fmla="*/ 821531 h 1101852"/>
                <a:gd name="connsiteX684" fmla="*/ 797814 w 1182528"/>
                <a:gd name="connsiteY684" fmla="*/ 821436 h 1101852"/>
                <a:gd name="connsiteX685" fmla="*/ 812197 w 1182528"/>
                <a:gd name="connsiteY685" fmla="*/ 821246 h 1101852"/>
                <a:gd name="connsiteX686" fmla="*/ 812578 w 1182528"/>
                <a:gd name="connsiteY686" fmla="*/ 824389 h 1101852"/>
                <a:gd name="connsiteX687" fmla="*/ 819150 w 1182528"/>
                <a:gd name="connsiteY687" fmla="*/ 825151 h 1101852"/>
                <a:gd name="connsiteX688" fmla="*/ 828770 w 1182528"/>
                <a:gd name="connsiteY688" fmla="*/ 825532 h 1101852"/>
                <a:gd name="connsiteX689" fmla="*/ 830580 w 1182528"/>
                <a:gd name="connsiteY689" fmla="*/ 826865 h 1101852"/>
                <a:gd name="connsiteX690" fmla="*/ 831914 w 1182528"/>
                <a:gd name="connsiteY690" fmla="*/ 825151 h 1101852"/>
                <a:gd name="connsiteX691" fmla="*/ 847725 w 1182528"/>
                <a:gd name="connsiteY691" fmla="*/ 823151 h 1101852"/>
                <a:gd name="connsiteX692" fmla="*/ 849059 w 1182528"/>
                <a:gd name="connsiteY692" fmla="*/ 821341 h 1101852"/>
                <a:gd name="connsiteX693" fmla="*/ 857440 w 1182528"/>
                <a:gd name="connsiteY693" fmla="*/ 823532 h 1101852"/>
                <a:gd name="connsiteX694" fmla="*/ 859727 w 1182528"/>
                <a:gd name="connsiteY694" fmla="*/ 816769 h 1101852"/>
                <a:gd name="connsiteX695" fmla="*/ 857536 w 1182528"/>
                <a:gd name="connsiteY695" fmla="*/ 812197 h 1101852"/>
                <a:gd name="connsiteX696" fmla="*/ 867632 w 1182528"/>
                <a:gd name="connsiteY696" fmla="*/ 815816 h 1101852"/>
                <a:gd name="connsiteX697" fmla="*/ 866299 w 1182528"/>
                <a:gd name="connsiteY697" fmla="*/ 817531 h 1101852"/>
                <a:gd name="connsiteX698" fmla="*/ 870204 w 1182528"/>
                <a:gd name="connsiteY698" fmla="*/ 823436 h 1101852"/>
                <a:gd name="connsiteX699" fmla="*/ 871442 w 1182528"/>
                <a:gd name="connsiteY699" fmla="*/ 820103 h 1101852"/>
                <a:gd name="connsiteX700" fmla="*/ 878300 w 1182528"/>
                <a:gd name="connsiteY700" fmla="*/ 824008 h 1101852"/>
                <a:gd name="connsiteX701" fmla="*/ 877919 w 1182528"/>
                <a:gd name="connsiteY701" fmla="*/ 820865 h 1101852"/>
                <a:gd name="connsiteX702" fmla="*/ 881253 w 1182528"/>
                <a:gd name="connsiteY702" fmla="*/ 822008 h 1101852"/>
                <a:gd name="connsiteX703" fmla="*/ 882206 w 1182528"/>
                <a:gd name="connsiteY703" fmla="*/ 817150 h 1101852"/>
                <a:gd name="connsiteX704" fmla="*/ 897827 w 1182528"/>
                <a:gd name="connsiteY704" fmla="*/ 826389 h 1101852"/>
                <a:gd name="connsiteX705" fmla="*/ 902780 w 1182528"/>
                <a:gd name="connsiteY705" fmla="*/ 827342 h 1101852"/>
                <a:gd name="connsiteX706" fmla="*/ 903160 w 1182528"/>
                <a:gd name="connsiteY706" fmla="*/ 830485 h 1101852"/>
                <a:gd name="connsiteX707" fmla="*/ 904970 w 1182528"/>
                <a:gd name="connsiteY707" fmla="*/ 831818 h 1101852"/>
                <a:gd name="connsiteX708" fmla="*/ 908494 w 1182528"/>
                <a:gd name="connsiteY708" fmla="*/ 821817 h 1101852"/>
                <a:gd name="connsiteX709" fmla="*/ 910114 w 1182528"/>
                <a:gd name="connsiteY709" fmla="*/ 821626 h 1101852"/>
                <a:gd name="connsiteX710" fmla="*/ 914400 w 1182528"/>
                <a:gd name="connsiteY710" fmla="*/ 817817 h 1101852"/>
                <a:gd name="connsiteX711" fmla="*/ 914019 w 1182528"/>
                <a:gd name="connsiteY711" fmla="*/ 814673 h 1101852"/>
                <a:gd name="connsiteX712" fmla="*/ 917734 w 1182528"/>
                <a:gd name="connsiteY712" fmla="*/ 806196 h 1101852"/>
                <a:gd name="connsiteX713" fmla="*/ 919544 w 1182528"/>
                <a:gd name="connsiteY713" fmla="*/ 807530 h 1101852"/>
                <a:gd name="connsiteX714" fmla="*/ 923639 w 1182528"/>
                <a:gd name="connsiteY714" fmla="*/ 802196 h 1101852"/>
                <a:gd name="connsiteX715" fmla="*/ 930783 w 1182528"/>
                <a:gd name="connsiteY715" fmla="*/ 807720 h 1101852"/>
                <a:gd name="connsiteX716" fmla="*/ 935736 w 1182528"/>
                <a:gd name="connsiteY716" fmla="*/ 808673 h 1101852"/>
                <a:gd name="connsiteX717" fmla="*/ 937069 w 1182528"/>
                <a:gd name="connsiteY717" fmla="*/ 806958 h 1101852"/>
                <a:gd name="connsiteX718" fmla="*/ 936879 w 1182528"/>
                <a:gd name="connsiteY718" fmla="*/ 805339 h 1101852"/>
                <a:gd name="connsiteX719" fmla="*/ 942023 w 1182528"/>
                <a:gd name="connsiteY719" fmla="*/ 807911 h 1101852"/>
                <a:gd name="connsiteX720" fmla="*/ 946785 w 1182528"/>
                <a:gd name="connsiteY720" fmla="*/ 807339 h 1101852"/>
                <a:gd name="connsiteX721" fmla="*/ 944594 w 1182528"/>
                <a:gd name="connsiteY721" fmla="*/ 802767 h 1101852"/>
                <a:gd name="connsiteX722" fmla="*/ 956024 w 1182528"/>
                <a:gd name="connsiteY722" fmla="*/ 804482 h 1101852"/>
                <a:gd name="connsiteX723" fmla="*/ 955453 w 1182528"/>
                <a:gd name="connsiteY723" fmla="*/ 799814 h 1101852"/>
                <a:gd name="connsiteX724" fmla="*/ 958786 w 1182528"/>
                <a:gd name="connsiteY724" fmla="*/ 800957 h 1101852"/>
                <a:gd name="connsiteX725" fmla="*/ 960120 w 1182528"/>
                <a:gd name="connsiteY725" fmla="*/ 799148 h 1101852"/>
                <a:gd name="connsiteX726" fmla="*/ 966692 w 1182528"/>
                <a:gd name="connsiteY726" fmla="*/ 799910 h 1101852"/>
                <a:gd name="connsiteX727" fmla="*/ 966883 w 1182528"/>
                <a:gd name="connsiteY727" fmla="*/ 801529 h 1101852"/>
                <a:gd name="connsiteX728" fmla="*/ 970217 w 1182528"/>
                <a:gd name="connsiteY728" fmla="*/ 802672 h 1101852"/>
                <a:gd name="connsiteX729" fmla="*/ 970407 w 1182528"/>
                <a:gd name="connsiteY729" fmla="*/ 804291 h 1101852"/>
                <a:gd name="connsiteX730" fmla="*/ 973741 w 1182528"/>
                <a:gd name="connsiteY730" fmla="*/ 805434 h 1101852"/>
                <a:gd name="connsiteX731" fmla="*/ 974407 w 1182528"/>
                <a:gd name="connsiteY731" fmla="*/ 810197 h 1101852"/>
                <a:gd name="connsiteX732" fmla="*/ 975551 w 1182528"/>
                <a:gd name="connsiteY732" fmla="*/ 806863 h 1101852"/>
                <a:gd name="connsiteX733" fmla="*/ 978884 w 1182528"/>
                <a:gd name="connsiteY733" fmla="*/ 808006 h 1101852"/>
                <a:gd name="connsiteX734" fmla="*/ 975360 w 1182528"/>
                <a:gd name="connsiteY734" fmla="*/ 805244 h 1101852"/>
                <a:gd name="connsiteX735" fmla="*/ 978503 w 1182528"/>
                <a:gd name="connsiteY735" fmla="*/ 804863 h 1101852"/>
                <a:gd name="connsiteX736" fmla="*/ 980313 w 1182528"/>
                <a:gd name="connsiteY736" fmla="*/ 806196 h 1101852"/>
                <a:gd name="connsiteX737" fmla="*/ 978884 w 1182528"/>
                <a:gd name="connsiteY737" fmla="*/ 808006 h 1101852"/>
                <a:gd name="connsiteX738" fmla="*/ 979075 w 1182528"/>
                <a:gd name="connsiteY738" fmla="*/ 809625 h 1101852"/>
                <a:gd name="connsiteX739" fmla="*/ 983456 w 1182528"/>
                <a:gd name="connsiteY739" fmla="*/ 805815 h 1101852"/>
                <a:gd name="connsiteX740" fmla="*/ 984980 w 1182528"/>
                <a:gd name="connsiteY740" fmla="*/ 805625 h 1101852"/>
                <a:gd name="connsiteX741" fmla="*/ 990124 w 1182528"/>
                <a:gd name="connsiteY741" fmla="*/ 795338 h 1101852"/>
                <a:gd name="connsiteX742" fmla="*/ 988505 w 1182528"/>
                <a:gd name="connsiteY742" fmla="*/ 795528 h 1101852"/>
                <a:gd name="connsiteX743" fmla="*/ 989552 w 1182528"/>
                <a:gd name="connsiteY743" fmla="*/ 790575 h 1101852"/>
                <a:gd name="connsiteX744" fmla="*/ 987933 w 1182528"/>
                <a:gd name="connsiteY744" fmla="*/ 790861 h 1101852"/>
                <a:gd name="connsiteX745" fmla="*/ 989362 w 1182528"/>
                <a:gd name="connsiteY745" fmla="*/ 789051 h 1101852"/>
                <a:gd name="connsiteX746" fmla="*/ 985933 w 1182528"/>
                <a:gd name="connsiteY746" fmla="*/ 787908 h 1101852"/>
                <a:gd name="connsiteX747" fmla="*/ 987361 w 1182528"/>
                <a:gd name="connsiteY747" fmla="*/ 786098 h 1101852"/>
                <a:gd name="connsiteX748" fmla="*/ 986123 w 1182528"/>
                <a:gd name="connsiteY748" fmla="*/ 776573 h 1101852"/>
                <a:gd name="connsiteX749" fmla="*/ 992886 w 1182528"/>
                <a:gd name="connsiteY749" fmla="*/ 778955 h 1101852"/>
                <a:gd name="connsiteX750" fmla="*/ 992600 w 1182528"/>
                <a:gd name="connsiteY750" fmla="*/ 764572 h 1101852"/>
                <a:gd name="connsiteX751" fmla="*/ 992029 w 1182528"/>
                <a:gd name="connsiteY751" fmla="*/ 759809 h 1101852"/>
                <a:gd name="connsiteX752" fmla="*/ 993553 w 1182528"/>
                <a:gd name="connsiteY752" fmla="*/ 759619 h 1101852"/>
                <a:gd name="connsiteX753" fmla="*/ 994791 w 1182528"/>
                <a:gd name="connsiteY753" fmla="*/ 756285 h 1101852"/>
                <a:gd name="connsiteX754" fmla="*/ 991172 w 1182528"/>
                <a:gd name="connsiteY754" fmla="*/ 753523 h 1101852"/>
                <a:gd name="connsiteX755" fmla="*/ 987838 w 1182528"/>
                <a:gd name="connsiteY755" fmla="*/ 752380 h 1101852"/>
                <a:gd name="connsiteX756" fmla="*/ 987266 w 1182528"/>
                <a:gd name="connsiteY756" fmla="*/ 747617 h 1101852"/>
                <a:gd name="connsiteX757" fmla="*/ 983742 w 1182528"/>
                <a:gd name="connsiteY757" fmla="*/ 744855 h 1101852"/>
                <a:gd name="connsiteX758" fmla="*/ 983266 w 1182528"/>
                <a:gd name="connsiteY758" fmla="*/ 741712 h 1101852"/>
                <a:gd name="connsiteX759" fmla="*/ 987647 w 1182528"/>
                <a:gd name="connsiteY759" fmla="*/ 737902 h 1101852"/>
                <a:gd name="connsiteX760" fmla="*/ 989648 w 1182528"/>
                <a:gd name="connsiteY760" fmla="*/ 740855 h 1101852"/>
                <a:gd name="connsiteX761" fmla="*/ 992600 w 1182528"/>
                <a:gd name="connsiteY761" fmla="*/ 738950 h 1101852"/>
                <a:gd name="connsiteX762" fmla="*/ 988981 w 1182528"/>
                <a:gd name="connsiteY762" fmla="*/ 736187 h 1101852"/>
                <a:gd name="connsiteX763" fmla="*/ 988600 w 1182528"/>
                <a:gd name="connsiteY763" fmla="*/ 733044 h 1101852"/>
                <a:gd name="connsiteX764" fmla="*/ 985076 w 1182528"/>
                <a:gd name="connsiteY764" fmla="*/ 730282 h 1101852"/>
                <a:gd name="connsiteX765" fmla="*/ 986219 w 1182528"/>
                <a:gd name="connsiteY765" fmla="*/ 726853 h 1101852"/>
                <a:gd name="connsiteX766" fmla="*/ 988028 w 1182528"/>
                <a:gd name="connsiteY766" fmla="*/ 728282 h 1101852"/>
                <a:gd name="connsiteX767" fmla="*/ 987552 w 1182528"/>
                <a:gd name="connsiteY767" fmla="*/ 725138 h 1101852"/>
                <a:gd name="connsiteX768" fmla="*/ 985838 w 1182528"/>
                <a:gd name="connsiteY768" fmla="*/ 723710 h 1101852"/>
                <a:gd name="connsiteX769" fmla="*/ 985647 w 1182528"/>
                <a:gd name="connsiteY769" fmla="*/ 722186 h 1101852"/>
                <a:gd name="connsiteX770" fmla="*/ 982027 w 1182528"/>
                <a:gd name="connsiteY770" fmla="*/ 719423 h 1101852"/>
                <a:gd name="connsiteX771" fmla="*/ 981837 w 1182528"/>
                <a:gd name="connsiteY771" fmla="*/ 717804 h 1101852"/>
                <a:gd name="connsiteX772" fmla="*/ 984790 w 1182528"/>
                <a:gd name="connsiteY772" fmla="*/ 715804 h 1101852"/>
                <a:gd name="connsiteX773" fmla="*/ 987933 w 1182528"/>
                <a:gd name="connsiteY773" fmla="*/ 715423 h 1101852"/>
                <a:gd name="connsiteX774" fmla="*/ 989171 w 1182528"/>
                <a:gd name="connsiteY774" fmla="*/ 712089 h 1101852"/>
                <a:gd name="connsiteX775" fmla="*/ 992124 w 1182528"/>
                <a:gd name="connsiteY775" fmla="*/ 710089 h 1101852"/>
                <a:gd name="connsiteX776" fmla="*/ 1004792 w 1182528"/>
                <a:gd name="connsiteY776" fmla="*/ 721328 h 1101852"/>
                <a:gd name="connsiteX777" fmla="*/ 1019937 w 1182528"/>
                <a:gd name="connsiteY777" fmla="*/ 727424 h 1101852"/>
                <a:gd name="connsiteX778" fmla="*/ 1021175 w 1182528"/>
                <a:gd name="connsiteY778" fmla="*/ 724091 h 1101852"/>
                <a:gd name="connsiteX779" fmla="*/ 1024509 w 1182528"/>
                <a:gd name="connsiteY779" fmla="*/ 725234 h 1101852"/>
                <a:gd name="connsiteX780" fmla="*/ 1020889 w 1182528"/>
                <a:gd name="connsiteY780" fmla="*/ 722471 h 1101852"/>
                <a:gd name="connsiteX781" fmla="*/ 1023652 w 1182528"/>
                <a:gd name="connsiteY781" fmla="*/ 718947 h 1101852"/>
                <a:gd name="connsiteX782" fmla="*/ 1021937 w 1182528"/>
                <a:gd name="connsiteY782" fmla="*/ 717518 h 1101852"/>
                <a:gd name="connsiteX783" fmla="*/ 1017175 w 1182528"/>
                <a:gd name="connsiteY783" fmla="*/ 718090 h 1101852"/>
                <a:gd name="connsiteX784" fmla="*/ 1015365 w 1182528"/>
                <a:gd name="connsiteY784" fmla="*/ 716756 h 1101852"/>
                <a:gd name="connsiteX785" fmla="*/ 1019556 w 1182528"/>
                <a:gd name="connsiteY785" fmla="*/ 711422 h 1101852"/>
                <a:gd name="connsiteX786" fmla="*/ 1023080 w 1182528"/>
                <a:gd name="connsiteY786" fmla="*/ 714185 h 1101852"/>
                <a:gd name="connsiteX787" fmla="*/ 1024223 w 1182528"/>
                <a:gd name="connsiteY787" fmla="*/ 710851 h 1101852"/>
                <a:gd name="connsiteX788" fmla="*/ 1020889 w 1182528"/>
                <a:gd name="connsiteY788" fmla="*/ 709613 h 1101852"/>
                <a:gd name="connsiteX789" fmla="*/ 1022509 w 1182528"/>
                <a:gd name="connsiteY789" fmla="*/ 709422 h 1101852"/>
                <a:gd name="connsiteX790" fmla="*/ 1026985 w 1182528"/>
                <a:gd name="connsiteY790" fmla="*/ 707231 h 1101852"/>
                <a:gd name="connsiteX791" fmla="*/ 1024985 w 1182528"/>
                <a:gd name="connsiteY791" fmla="*/ 691515 h 1101852"/>
                <a:gd name="connsiteX792" fmla="*/ 1035653 w 1182528"/>
                <a:gd name="connsiteY792" fmla="*/ 699707 h 1101852"/>
                <a:gd name="connsiteX793" fmla="*/ 1043559 w 1182528"/>
                <a:gd name="connsiteY793" fmla="*/ 698754 h 1101852"/>
                <a:gd name="connsiteX794" fmla="*/ 1042606 w 1182528"/>
                <a:gd name="connsiteY794" fmla="*/ 690848 h 1101852"/>
                <a:gd name="connsiteX795" fmla="*/ 1051274 w 1182528"/>
                <a:gd name="connsiteY795" fmla="*/ 696182 h 1101852"/>
                <a:gd name="connsiteX796" fmla="*/ 1059371 w 1182528"/>
                <a:gd name="connsiteY796" fmla="*/ 696754 h 1101852"/>
                <a:gd name="connsiteX797" fmla="*/ 1057942 w 1182528"/>
                <a:gd name="connsiteY797" fmla="*/ 685705 h 1101852"/>
                <a:gd name="connsiteX798" fmla="*/ 1059085 w 1182528"/>
                <a:gd name="connsiteY798" fmla="*/ 682276 h 1101852"/>
                <a:gd name="connsiteX799" fmla="*/ 1058513 w 1182528"/>
                <a:gd name="connsiteY799" fmla="*/ 677609 h 1101852"/>
                <a:gd name="connsiteX800" fmla="*/ 1059656 w 1182528"/>
                <a:gd name="connsiteY800" fmla="*/ 674275 h 1101852"/>
                <a:gd name="connsiteX801" fmla="*/ 1054799 w 1182528"/>
                <a:gd name="connsiteY801" fmla="*/ 673227 h 1101852"/>
                <a:gd name="connsiteX802" fmla="*/ 1057942 w 1182528"/>
                <a:gd name="connsiteY802" fmla="*/ 672846 h 1101852"/>
                <a:gd name="connsiteX803" fmla="*/ 1058323 w 1182528"/>
                <a:gd name="connsiteY803" fmla="*/ 663226 h 1101852"/>
                <a:gd name="connsiteX804" fmla="*/ 1047560 w 1182528"/>
                <a:gd name="connsiteY804" fmla="*/ 642080 h 1101852"/>
                <a:gd name="connsiteX805" fmla="*/ 1060037 w 1182528"/>
                <a:gd name="connsiteY805" fmla="*/ 638937 h 1101852"/>
                <a:gd name="connsiteX806" fmla="*/ 1056989 w 1182528"/>
                <a:gd name="connsiteY806" fmla="*/ 628078 h 1101852"/>
                <a:gd name="connsiteX807" fmla="*/ 1068896 w 1182528"/>
                <a:gd name="connsiteY807" fmla="*/ 632936 h 1101852"/>
                <a:gd name="connsiteX808" fmla="*/ 1066324 w 1182528"/>
                <a:gd name="connsiteY808" fmla="*/ 625316 h 1101852"/>
                <a:gd name="connsiteX809" fmla="*/ 1064133 w 1182528"/>
                <a:gd name="connsiteY809" fmla="*/ 620744 h 1101852"/>
                <a:gd name="connsiteX810" fmla="*/ 1060704 w 1182528"/>
                <a:gd name="connsiteY810" fmla="*/ 619601 h 1101852"/>
                <a:gd name="connsiteX811" fmla="*/ 1061276 w 1182528"/>
                <a:gd name="connsiteY811" fmla="*/ 611505 h 1101852"/>
                <a:gd name="connsiteX812" fmla="*/ 1056418 w 1182528"/>
                <a:gd name="connsiteY812" fmla="*/ 610457 h 1101852"/>
                <a:gd name="connsiteX813" fmla="*/ 1057751 w 1182528"/>
                <a:gd name="connsiteY813" fmla="*/ 608743 h 1101852"/>
                <a:gd name="connsiteX814" fmla="*/ 1057561 w 1182528"/>
                <a:gd name="connsiteY814" fmla="*/ 607124 h 1101852"/>
                <a:gd name="connsiteX815" fmla="*/ 1054418 w 1182528"/>
                <a:gd name="connsiteY815" fmla="*/ 607505 h 1101852"/>
                <a:gd name="connsiteX816" fmla="*/ 1049465 w 1182528"/>
                <a:gd name="connsiteY816" fmla="*/ 606552 h 1101852"/>
                <a:gd name="connsiteX817" fmla="*/ 1049655 w 1182528"/>
                <a:gd name="connsiteY817" fmla="*/ 608171 h 1101852"/>
                <a:gd name="connsiteX818" fmla="*/ 1047845 w 1182528"/>
                <a:gd name="connsiteY818" fmla="*/ 606743 h 1101852"/>
                <a:gd name="connsiteX819" fmla="*/ 1047845 w 1182528"/>
                <a:gd name="connsiteY819" fmla="*/ 606743 h 1101852"/>
                <a:gd name="connsiteX820" fmla="*/ 1047655 w 1182528"/>
                <a:gd name="connsiteY820" fmla="*/ 605219 h 1101852"/>
                <a:gd name="connsiteX821" fmla="*/ 1046321 w 1182528"/>
                <a:gd name="connsiteY821" fmla="*/ 606933 h 1101852"/>
                <a:gd name="connsiteX822" fmla="*/ 1038035 w 1182528"/>
                <a:gd name="connsiteY822" fmla="*/ 604838 h 1101852"/>
                <a:gd name="connsiteX823" fmla="*/ 1038797 w 1182528"/>
                <a:gd name="connsiteY823" fmla="*/ 598265 h 1101852"/>
                <a:gd name="connsiteX824" fmla="*/ 1037368 w 1182528"/>
                <a:gd name="connsiteY824" fmla="*/ 600075 h 1101852"/>
                <a:gd name="connsiteX825" fmla="*/ 1035463 w 1182528"/>
                <a:gd name="connsiteY825" fmla="*/ 597122 h 1101852"/>
                <a:gd name="connsiteX826" fmla="*/ 1036415 w 1182528"/>
                <a:gd name="connsiteY826" fmla="*/ 592169 h 1101852"/>
                <a:gd name="connsiteX827" fmla="*/ 1036225 w 1182528"/>
                <a:gd name="connsiteY827" fmla="*/ 590645 h 1101852"/>
                <a:gd name="connsiteX828" fmla="*/ 1034606 w 1182528"/>
                <a:gd name="connsiteY828" fmla="*/ 590836 h 1101852"/>
                <a:gd name="connsiteX829" fmla="*/ 1033081 w 1182528"/>
                <a:gd name="connsiteY829" fmla="*/ 591026 h 1101852"/>
                <a:gd name="connsiteX830" fmla="*/ 1034415 w 1182528"/>
                <a:gd name="connsiteY830" fmla="*/ 589217 h 1101852"/>
                <a:gd name="connsiteX831" fmla="*/ 1032605 w 1182528"/>
                <a:gd name="connsiteY831" fmla="*/ 587883 h 1101852"/>
                <a:gd name="connsiteX832" fmla="*/ 1033844 w 1182528"/>
                <a:gd name="connsiteY832" fmla="*/ 584549 h 1101852"/>
                <a:gd name="connsiteX833" fmla="*/ 1030700 w 1182528"/>
                <a:gd name="connsiteY833" fmla="*/ 584930 h 1101852"/>
                <a:gd name="connsiteX834" fmla="*/ 1032034 w 1182528"/>
                <a:gd name="connsiteY834" fmla="*/ 583121 h 1101852"/>
                <a:gd name="connsiteX835" fmla="*/ 1030510 w 1182528"/>
                <a:gd name="connsiteY835" fmla="*/ 583311 h 1101852"/>
                <a:gd name="connsiteX836" fmla="*/ 1027843 w 1182528"/>
                <a:gd name="connsiteY836" fmla="*/ 575596 h 1101852"/>
                <a:gd name="connsiteX837" fmla="*/ 1020985 w 1182528"/>
                <a:gd name="connsiteY837" fmla="*/ 571691 h 1101852"/>
                <a:gd name="connsiteX838" fmla="*/ 1022128 w 1182528"/>
                <a:gd name="connsiteY838" fmla="*/ 568357 h 1101852"/>
                <a:gd name="connsiteX839" fmla="*/ 1020985 w 1182528"/>
                <a:gd name="connsiteY839" fmla="*/ 558927 h 1101852"/>
                <a:gd name="connsiteX840" fmla="*/ 1018985 w 1182528"/>
                <a:gd name="connsiteY840" fmla="*/ 555974 h 1101852"/>
                <a:gd name="connsiteX841" fmla="*/ 1018603 w 1182528"/>
                <a:gd name="connsiteY841" fmla="*/ 552736 h 1101852"/>
                <a:gd name="connsiteX842" fmla="*/ 1016984 w 1182528"/>
                <a:gd name="connsiteY842" fmla="*/ 553022 h 1101852"/>
                <a:gd name="connsiteX843" fmla="*/ 1015746 w 1182528"/>
                <a:gd name="connsiteY843" fmla="*/ 543497 h 1101852"/>
                <a:gd name="connsiteX844" fmla="*/ 1012603 w 1182528"/>
                <a:gd name="connsiteY844" fmla="*/ 543878 h 1101852"/>
                <a:gd name="connsiteX845" fmla="*/ 1014031 w 1182528"/>
                <a:gd name="connsiteY845" fmla="*/ 542163 h 1101852"/>
                <a:gd name="connsiteX846" fmla="*/ 1012412 w 1182528"/>
                <a:gd name="connsiteY846" fmla="*/ 542354 h 1101852"/>
                <a:gd name="connsiteX847" fmla="*/ 1013174 w 1182528"/>
                <a:gd name="connsiteY847" fmla="*/ 535781 h 1101852"/>
                <a:gd name="connsiteX848" fmla="*/ 1003078 w 1182528"/>
                <a:gd name="connsiteY848" fmla="*/ 532257 h 1101852"/>
                <a:gd name="connsiteX849" fmla="*/ 1004316 w 1182528"/>
                <a:gd name="connsiteY849" fmla="*/ 528923 h 1101852"/>
                <a:gd name="connsiteX850" fmla="*/ 1000315 w 1182528"/>
                <a:gd name="connsiteY850" fmla="*/ 523018 h 1101852"/>
                <a:gd name="connsiteX851" fmla="*/ 995363 w 1182528"/>
                <a:gd name="connsiteY851" fmla="*/ 522065 h 1101852"/>
                <a:gd name="connsiteX852" fmla="*/ 997934 w 1182528"/>
                <a:gd name="connsiteY852" fmla="*/ 516922 h 1101852"/>
                <a:gd name="connsiteX853" fmla="*/ 994981 w 1182528"/>
                <a:gd name="connsiteY853" fmla="*/ 506063 h 1101852"/>
                <a:gd name="connsiteX854" fmla="*/ 987838 w 1182528"/>
                <a:gd name="connsiteY854" fmla="*/ 500539 h 1101852"/>
                <a:gd name="connsiteX855" fmla="*/ 987457 w 1182528"/>
                <a:gd name="connsiteY855" fmla="*/ 497396 h 1101852"/>
                <a:gd name="connsiteX856" fmla="*/ 988790 w 1182528"/>
                <a:gd name="connsiteY856" fmla="*/ 495586 h 1101852"/>
                <a:gd name="connsiteX857" fmla="*/ 981742 w 1182528"/>
                <a:gd name="connsiteY857" fmla="*/ 490157 h 1101852"/>
                <a:gd name="connsiteX858" fmla="*/ 985266 w 1182528"/>
                <a:gd name="connsiteY858" fmla="*/ 480060 h 1101852"/>
                <a:gd name="connsiteX859" fmla="*/ 984790 w 1182528"/>
                <a:gd name="connsiteY859" fmla="*/ 476917 h 1101852"/>
                <a:gd name="connsiteX860" fmla="*/ 982027 w 1182528"/>
                <a:gd name="connsiteY860" fmla="*/ 467582 h 1101852"/>
                <a:gd name="connsiteX861" fmla="*/ 981837 w 1182528"/>
                <a:gd name="connsiteY861" fmla="*/ 466058 h 1101852"/>
                <a:gd name="connsiteX862" fmla="*/ 981456 w 1182528"/>
                <a:gd name="connsiteY862" fmla="*/ 462915 h 1101852"/>
                <a:gd name="connsiteX863" fmla="*/ 982218 w 1182528"/>
                <a:gd name="connsiteY863" fmla="*/ 456343 h 1101852"/>
                <a:gd name="connsiteX864" fmla="*/ 980599 w 1182528"/>
                <a:gd name="connsiteY864" fmla="*/ 456533 h 1101852"/>
                <a:gd name="connsiteX865" fmla="*/ 975931 w 1182528"/>
                <a:gd name="connsiteY865" fmla="*/ 457200 h 1101852"/>
                <a:gd name="connsiteX866" fmla="*/ 970978 w 1182528"/>
                <a:gd name="connsiteY866" fmla="*/ 456248 h 1101852"/>
                <a:gd name="connsiteX867" fmla="*/ 971169 w 1182528"/>
                <a:gd name="connsiteY867" fmla="*/ 444913 h 1101852"/>
                <a:gd name="connsiteX868" fmla="*/ 977456 w 1182528"/>
                <a:gd name="connsiteY868" fmla="*/ 431292 h 1101852"/>
                <a:gd name="connsiteX869" fmla="*/ 979170 w 1182528"/>
                <a:gd name="connsiteY869" fmla="*/ 432721 h 1101852"/>
                <a:gd name="connsiteX870" fmla="*/ 993553 w 1182528"/>
                <a:gd name="connsiteY870" fmla="*/ 419672 h 1101852"/>
                <a:gd name="connsiteX871" fmla="*/ 992981 w 1182528"/>
                <a:gd name="connsiteY871" fmla="*/ 414909 h 1101852"/>
                <a:gd name="connsiteX872" fmla="*/ 986028 w 1182528"/>
                <a:gd name="connsiteY872" fmla="*/ 411004 h 1101852"/>
                <a:gd name="connsiteX873" fmla="*/ 986600 w 1182528"/>
                <a:gd name="connsiteY873" fmla="*/ 402908 h 1101852"/>
                <a:gd name="connsiteX874" fmla="*/ 990790 w 1182528"/>
                <a:gd name="connsiteY874" fmla="*/ 397574 h 1101852"/>
                <a:gd name="connsiteX875" fmla="*/ 989933 w 1182528"/>
                <a:gd name="connsiteY875" fmla="*/ 391192 h 1101852"/>
                <a:gd name="connsiteX876" fmla="*/ 993839 w 1182528"/>
                <a:gd name="connsiteY876" fmla="*/ 384334 h 1101852"/>
                <a:gd name="connsiteX877" fmla="*/ 1003173 w 1182528"/>
                <a:gd name="connsiteY877" fmla="*/ 381572 h 1101852"/>
                <a:gd name="connsiteX878" fmla="*/ 1012222 w 1182528"/>
                <a:gd name="connsiteY878" fmla="*/ 377190 h 1101852"/>
                <a:gd name="connsiteX879" fmla="*/ 1015936 w 1182528"/>
                <a:gd name="connsiteY879" fmla="*/ 368713 h 1101852"/>
                <a:gd name="connsiteX880" fmla="*/ 1015746 w 1182528"/>
                <a:gd name="connsiteY880" fmla="*/ 367094 h 1101852"/>
                <a:gd name="connsiteX881" fmla="*/ 1018318 w 1182528"/>
                <a:gd name="connsiteY881" fmla="*/ 361950 h 1101852"/>
                <a:gd name="connsiteX882" fmla="*/ 1020699 w 1182528"/>
                <a:gd name="connsiteY882" fmla="*/ 368046 h 1101852"/>
                <a:gd name="connsiteX883" fmla="*/ 1019461 w 1182528"/>
                <a:gd name="connsiteY883" fmla="*/ 371475 h 1101852"/>
                <a:gd name="connsiteX884" fmla="*/ 1021080 w 1182528"/>
                <a:gd name="connsiteY884" fmla="*/ 371189 h 1101852"/>
                <a:gd name="connsiteX885" fmla="*/ 1027367 w 1182528"/>
                <a:gd name="connsiteY885" fmla="*/ 370427 h 1101852"/>
                <a:gd name="connsiteX886" fmla="*/ 1030129 w 1182528"/>
                <a:gd name="connsiteY886" fmla="*/ 366903 h 1101852"/>
                <a:gd name="connsiteX887" fmla="*/ 1021271 w 1182528"/>
                <a:gd name="connsiteY887" fmla="*/ 359950 h 1101852"/>
                <a:gd name="connsiteX888" fmla="*/ 1022032 w 1182528"/>
                <a:gd name="connsiteY888" fmla="*/ 353473 h 1101852"/>
                <a:gd name="connsiteX889" fmla="*/ 1024985 w 1182528"/>
                <a:gd name="connsiteY889" fmla="*/ 351473 h 1101852"/>
                <a:gd name="connsiteX890" fmla="*/ 1025938 w 1182528"/>
                <a:gd name="connsiteY890" fmla="*/ 346520 h 1101852"/>
                <a:gd name="connsiteX891" fmla="*/ 1027462 w 1182528"/>
                <a:gd name="connsiteY891" fmla="*/ 333566 h 1101852"/>
                <a:gd name="connsiteX892" fmla="*/ 1032986 w 1182528"/>
                <a:gd name="connsiteY892" fmla="*/ 326422 h 1101852"/>
                <a:gd name="connsiteX893" fmla="*/ 1032796 w 1182528"/>
                <a:gd name="connsiteY893" fmla="*/ 324803 h 1101852"/>
                <a:gd name="connsiteX894" fmla="*/ 1037558 w 1182528"/>
                <a:gd name="connsiteY894" fmla="*/ 324231 h 1101852"/>
                <a:gd name="connsiteX895" fmla="*/ 1042702 w 1182528"/>
                <a:gd name="connsiteY895" fmla="*/ 326803 h 1101852"/>
                <a:gd name="connsiteX896" fmla="*/ 1048036 w 1182528"/>
                <a:gd name="connsiteY896" fmla="*/ 318040 h 1101852"/>
                <a:gd name="connsiteX897" fmla="*/ 1042416 w 1182528"/>
                <a:gd name="connsiteY897" fmla="*/ 312420 h 1101852"/>
                <a:gd name="connsiteX898" fmla="*/ 1043654 w 1182528"/>
                <a:gd name="connsiteY898" fmla="*/ 308991 h 1101852"/>
                <a:gd name="connsiteX899" fmla="*/ 1049560 w 1182528"/>
                <a:gd name="connsiteY899" fmla="*/ 305086 h 1101852"/>
                <a:gd name="connsiteX900" fmla="*/ 1049369 w 1182528"/>
                <a:gd name="connsiteY900" fmla="*/ 303467 h 1101852"/>
                <a:gd name="connsiteX901" fmla="*/ 1049179 w 1182528"/>
                <a:gd name="connsiteY901" fmla="*/ 301943 h 1101852"/>
                <a:gd name="connsiteX902" fmla="*/ 1047369 w 1182528"/>
                <a:gd name="connsiteY902" fmla="*/ 300514 h 1101852"/>
                <a:gd name="connsiteX903" fmla="*/ 1045750 w 1182528"/>
                <a:gd name="connsiteY903" fmla="*/ 300704 h 1101852"/>
                <a:gd name="connsiteX904" fmla="*/ 1044035 w 1182528"/>
                <a:gd name="connsiteY904" fmla="*/ 299371 h 1101852"/>
                <a:gd name="connsiteX905" fmla="*/ 1044988 w 1182528"/>
                <a:gd name="connsiteY905" fmla="*/ 294418 h 1101852"/>
                <a:gd name="connsiteX906" fmla="*/ 1043178 w 1182528"/>
                <a:gd name="connsiteY906" fmla="*/ 293084 h 1101852"/>
                <a:gd name="connsiteX907" fmla="*/ 1045750 w 1182528"/>
                <a:gd name="connsiteY907" fmla="*/ 287941 h 1101852"/>
                <a:gd name="connsiteX908" fmla="*/ 1049274 w 1182528"/>
                <a:gd name="connsiteY908" fmla="*/ 290703 h 1101852"/>
                <a:gd name="connsiteX909" fmla="*/ 1048893 w 1182528"/>
                <a:gd name="connsiteY909" fmla="*/ 287465 h 1101852"/>
                <a:gd name="connsiteX910" fmla="*/ 1045559 w 1182528"/>
                <a:gd name="connsiteY910" fmla="*/ 286322 h 1101852"/>
                <a:gd name="connsiteX911" fmla="*/ 1044131 w 1182528"/>
                <a:gd name="connsiteY911" fmla="*/ 288131 h 1101852"/>
                <a:gd name="connsiteX912" fmla="*/ 1040797 w 1182528"/>
                <a:gd name="connsiteY912" fmla="*/ 286893 h 1101852"/>
                <a:gd name="connsiteX913" fmla="*/ 1042226 w 1182528"/>
                <a:gd name="connsiteY913" fmla="*/ 285179 h 1101852"/>
                <a:gd name="connsiteX914" fmla="*/ 1038415 w 1182528"/>
                <a:gd name="connsiteY914" fmla="*/ 280797 h 1101852"/>
                <a:gd name="connsiteX915" fmla="*/ 1044511 w 1182528"/>
                <a:gd name="connsiteY915" fmla="*/ 278416 h 1101852"/>
                <a:gd name="connsiteX916" fmla="*/ 1050036 w 1182528"/>
                <a:gd name="connsiteY916" fmla="*/ 284131 h 1101852"/>
                <a:gd name="connsiteX917" fmla="*/ 1054227 w 1182528"/>
                <a:gd name="connsiteY917" fmla="*/ 278797 h 1101852"/>
                <a:gd name="connsiteX918" fmla="*/ 1061942 w 1182528"/>
                <a:gd name="connsiteY918" fmla="*/ 276225 h 1101852"/>
                <a:gd name="connsiteX919" fmla="*/ 1063657 w 1182528"/>
                <a:gd name="connsiteY919" fmla="*/ 277559 h 1101852"/>
                <a:gd name="connsiteX920" fmla="*/ 1066800 w 1182528"/>
                <a:gd name="connsiteY920" fmla="*/ 277178 h 1101852"/>
                <a:gd name="connsiteX921" fmla="*/ 1065848 w 1182528"/>
                <a:gd name="connsiteY921" fmla="*/ 282131 h 1101852"/>
                <a:gd name="connsiteX922" fmla="*/ 1063085 w 1182528"/>
                <a:gd name="connsiteY922" fmla="*/ 285655 h 1101852"/>
                <a:gd name="connsiteX923" fmla="*/ 1067657 w 1182528"/>
                <a:gd name="connsiteY923" fmla="*/ 283464 h 1101852"/>
                <a:gd name="connsiteX924" fmla="*/ 1069372 w 1182528"/>
                <a:gd name="connsiteY924" fmla="*/ 284893 h 1101852"/>
                <a:gd name="connsiteX925" fmla="*/ 1070801 w 1182528"/>
                <a:gd name="connsiteY925" fmla="*/ 283083 h 1101852"/>
                <a:gd name="connsiteX926" fmla="*/ 1073944 w 1182528"/>
                <a:gd name="connsiteY926" fmla="*/ 282702 h 1101852"/>
                <a:gd name="connsiteX927" fmla="*/ 1082611 w 1182528"/>
                <a:gd name="connsiteY927" fmla="*/ 288036 h 1101852"/>
                <a:gd name="connsiteX928" fmla="*/ 1084993 w 1182528"/>
                <a:gd name="connsiteY928" fmla="*/ 294132 h 1101852"/>
                <a:gd name="connsiteX929" fmla="*/ 1093280 w 1182528"/>
                <a:gd name="connsiteY929" fmla="*/ 296323 h 1101852"/>
                <a:gd name="connsiteX930" fmla="*/ 1095280 w 1182528"/>
                <a:gd name="connsiteY930" fmla="*/ 299276 h 1101852"/>
                <a:gd name="connsiteX931" fmla="*/ 1101661 w 1182528"/>
                <a:gd name="connsiteY931" fmla="*/ 298418 h 1101852"/>
                <a:gd name="connsiteX932" fmla="*/ 1105376 w 1182528"/>
                <a:gd name="connsiteY932" fmla="*/ 302800 h 1101852"/>
                <a:gd name="connsiteX933" fmla="*/ 1106329 w 1182528"/>
                <a:gd name="connsiteY933" fmla="*/ 297847 h 1101852"/>
                <a:gd name="connsiteX934" fmla="*/ 1106519 w 1182528"/>
                <a:gd name="connsiteY934" fmla="*/ 299371 h 1101852"/>
                <a:gd name="connsiteX935" fmla="*/ 1111282 w 1182528"/>
                <a:gd name="connsiteY935" fmla="*/ 298799 h 1101852"/>
                <a:gd name="connsiteX936" fmla="*/ 1118997 w 1182528"/>
                <a:gd name="connsiteY936" fmla="*/ 296228 h 1101852"/>
                <a:gd name="connsiteX937" fmla="*/ 1121093 w 1182528"/>
                <a:gd name="connsiteY937" fmla="*/ 287941 h 1101852"/>
                <a:gd name="connsiteX938" fmla="*/ 1119950 w 1182528"/>
                <a:gd name="connsiteY938" fmla="*/ 278416 h 1101852"/>
                <a:gd name="connsiteX939" fmla="*/ 1122426 w 1182528"/>
                <a:gd name="connsiteY939" fmla="*/ 273272 h 1101852"/>
                <a:gd name="connsiteX940" fmla="*/ 1121474 w 1182528"/>
                <a:gd name="connsiteY940" fmla="*/ 265462 h 1101852"/>
                <a:gd name="connsiteX941" fmla="*/ 1125760 w 1182528"/>
                <a:gd name="connsiteY941" fmla="*/ 261652 h 1101852"/>
                <a:gd name="connsiteX942" fmla="*/ 1123188 w 1182528"/>
                <a:gd name="connsiteY942" fmla="*/ 253937 h 1101852"/>
                <a:gd name="connsiteX943" fmla="*/ 1124426 w 1182528"/>
                <a:gd name="connsiteY943" fmla="*/ 250603 h 1101852"/>
                <a:gd name="connsiteX944" fmla="*/ 1139190 w 1182528"/>
                <a:gd name="connsiteY944" fmla="*/ 253556 h 1101852"/>
                <a:gd name="connsiteX945" fmla="*/ 1143572 w 1182528"/>
                <a:gd name="connsiteY945" fmla="*/ 249746 h 1101852"/>
                <a:gd name="connsiteX946" fmla="*/ 1148239 w 1182528"/>
                <a:gd name="connsiteY946" fmla="*/ 249174 h 1101852"/>
                <a:gd name="connsiteX947" fmla="*/ 1151192 w 1182528"/>
                <a:gd name="connsiteY947" fmla="*/ 247174 h 1101852"/>
                <a:gd name="connsiteX948" fmla="*/ 1158716 w 1182528"/>
                <a:gd name="connsiteY948" fmla="*/ 230219 h 1101852"/>
                <a:gd name="connsiteX949" fmla="*/ 1159288 w 1182528"/>
                <a:gd name="connsiteY949" fmla="*/ 222123 h 1101852"/>
                <a:gd name="connsiteX950" fmla="*/ 1162050 w 1182528"/>
                <a:gd name="connsiteY950" fmla="*/ 218599 h 1101852"/>
                <a:gd name="connsiteX951" fmla="*/ 1168813 w 1182528"/>
                <a:gd name="connsiteY951" fmla="*/ 196882 h 1101852"/>
                <a:gd name="connsiteX952" fmla="*/ 1171956 w 1182528"/>
                <a:gd name="connsiteY952" fmla="*/ 183642 h 1101852"/>
                <a:gd name="connsiteX953" fmla="*/ 1182243 w 1182528"/>
                <a:gd name="connsiteY953" fmla="*/ 175927 h 1101852"/>
                <a:gd name="connsiteX954" fmla="*/ 1182529 w 1182528"/>
                <a:gd name="connsiteY954" fmla="*/ 153353 h 1101852"/>
                <a:gd name="connsiteX955" fmla="*/ 1180148 w 1182528"/>
                <a:gd name="connsiteY955" fmla="*/ 147257 h 1101852"/>
                <a:gd name="connsiteX956" fmla="*/ 1180148 w 1182528"/>
                <a:gd name="connsiteY956" fmla="*/ 147257 h 1101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</a:cxnLst>
              <a:rect l="l" t="t" r="r" b="b"/>
              <a:pathLst>
                <a:path w="1182528" h="1101852">
                  <a:moveTo>
                    <a:pt x="1180148" y="147257"/>
                  </a:moveTo>
                  <a:lnTo>
                    <a:pt x="1175290" y="146304"/>
                  </a:lnTo>
                  <a:lnTo>
                    <a:pt x="1165003" y="154019"/>
                  </a:lnTo>
                  <a:lnTo>
                    <a:pt x="1158526" y="153257"/>
                  </a:lnTo>
                  <a:lnTo>
                    <a:pt x="1154144" y="156972"/>
                  </a:lnTo>
                  <a:lnTo>
                    <a:pt x="1146239" y="158020"/>
                  </a:lnTo>
                  <a:lnTo>
                    <a:pt x="1134428" y="165926"/>
                  </a:lnTo>
                  <a:lnTo>
                    <a:pt x="1130903" y="163163"/>
                  </a:lnTo>
                  <a:lnTo>
                    <a:pt x="1122617" y="161068"/>
                  </a:lnTo>
                  <a:lnTo>
                    <a:pt x="1120045" y="153353"/>
                  </a:lnTo>
                  <a:lnTo>
                    <a:pt x="1126331" y="139732"/>
                  </a:lnTo>
                  <a:lnTo>
                    <a:pt x="1134809" y="130588"/>
                  </a:lnTo>
                  <a:lnTo>
                    <a:pt x="1135571" y="124111"/>
                  </a:lnTo>
                  <a:lnTo>
                    <a:pt x="1143381" y="110300"/>
                  </a:lnTo>
                  <a:lnTo>
                    <a:pt x="1141190" y="105728"/>
                  </a:lnTo>
                  <a:lnTo>
                    <a:pt x="1143953" y="102203"/>
                  </a:lnTo>
                  <a:lnTo>
                    <a:pt x="1143381" y="97441"/>
                  </a:lnTo>
                  <a:lnTo>
                    <a:pt x="1145953" y="92297"/>
                  </a:lnTo>
                  <a:lnTo>
                    <a:pt x="1146048" y="81058"/>
                  </a:lnTo>
                  <a:lnTo>
                    <a:pt x="1142905" y="81439"/>
                  </a:lnTo>
                  <a:lnTo>
                    <a:pt x="1135571" y="74390"/>
                  </a:lnTo>
                  <a:lnTo>
                    <a:pt x="1133189" y="68294"/>
                  </a:lnTo>
                  <a:lnTo>
                    <a:pt x="1124140" y="59817"/>
                  </a:lnTo>
                  <a:lnTo>
                    <a:pt x="1122140" y="56864"/>
                  </a:lnTo>
                  <a:lnTo>
                    <a:pt x="1119188" y="58865"/>
                  </a:lnTo>
                  <a:lnTo>
                    <a:pt x="1103662" y="62389"/>
                  </a:lnTo>
                  <a:lnTo>
                    <a:pt x="1101852" y="61055"/>
                  </a:lnTo>
                  <a:lnTo>
                    <a:pt x="1101661" y="59436"/>
                  </a:lnTo>
                  <a:lnTo>
                    <a:pt x="1102805" y="56102"/>
                  </a:lnTo>
                  <a:lnTo>
                    <a:pt x="1105757" y="54102"/>
                  </a:lnTo>
                  <a:lnTo>
                    <a:pt x="1105567" y="52578"/>
                  </a:lnTo>
                  <a:lnTo>
                    <a:pt x="1100042" y="46863"/>
                  </a:lnTo>
                  <a:lnTo>
                    <a:pt x="1078516" y="41529"/>
                  </a:lnTo>
                  <a:lnTo>
                    <a:pt x="1078706" y="30290"/>
                  </a:lnTo>
                  <a:lnTo>
                    <a:pt x="1083564" y="18479"/>
                  </a:lnTo>
                  <a:lnTo>
                    <a:pt x="1079659" y="12573"/>
                  </a:lnTo>
                  <a:lnTo>
                    <a:pt x="1072134" y="16764"/>
                  </a:lnTo>
                  <a:lnTo>
                    <a:pt x="1074896" y="26003"/>
                  </a:lnTo>
                  <a:lnTo>
                    <a:pt x="1073372" y="39053"/>
                  </a:lnTo>
                  <a:lnTo>
                    <a:pt x="1061942" y="37243"/>
                  </a:lnTo>
                  <a:lnTo>
                    <a:pt x="1061276" y="32576"/>
                  </a:lnTo>
                  <a:lnTo>
                    <a:pt x="1059561" y="31147"/>
                  </a:lnTo>
                  <a:lnTo>
                    <a:pt x="1054036" y="25432"/>
                  </a:lnTo>
                  <a:lnTo>
                    <a:pt x="1047464" y="24670"/>
                  </a:lnTo>
                  <a:lnTo>
                    <a:pt x="1032891" y="36195"/>
                  </a:lnTo>
                  <a:lnTo>
                    <a:pt x="1031557" y="37910"/>
                  </a:lnTo>
                  <a:lnTo>
                    <a:pt x="1024223" y="43625"/>
                  </a:lnTo>
                  <a:lnTo>
                    <a:pt x="1017746" y="42863"/>
                  </a:lnTo>
                  <a:lnTo>
                    <a:pt x="1009269" y="39148"/>
                  </a:lnTo>
                  <a:lnTo>
                    <a:pt x="1004126" y="36576"/>
                  </a:lnTo>
                  <a:lnTo>
                    <a:pt x="998982" y="34100"/>
                  </a:lnTo>
                  <a:lnTo>
                    <a:pt x="997363" y="21431"/>
                  </a:lnTo>
                  <a:lnTo>
                    <a:pt x="992410" y="20479"/>
                  </a:lnTo>
                  <a:lnTo>
                    <a:pt x="985076" y="13335"/>
                  </a:lnTo>
                  <a:lnTo>
                    <a:pt x="974217" y="16383"/>
                  </a:lnTo>
                  <a:lnTo>
                    <a:pt x="972884" y="18098"/>
                  </a:lnTo>
                  <a:lnTo>
                    <a:pt x="966597" y="18955"/>
                  </a:lnTo>
                  <a:lnTo>
                    <a:pt x="960406" y="8477"/>
                  </a:lnTo>
                  <a:lnTo>
                    <a:pt x="951357" y="0"/>
                  </a:lnTo>
                  <a:lnTo>
                    <a:pt x="943451" y="1048"/>
                  </a:lnTo>
                  <a:lnTo>
                    <a:pt x="939356" y="6382"/>
                  </a:lnTo>
                  <a:lnTo>
                    <a:pt x="934402" y="18193"/>
                  </a:lnTo>
                  <a:lnTo>
                    <a:pt x="924497" y="16288"/>
                  </a:lnTo>
                  <a:lnTo>
                    <a:pt x="925163" y="21050"/>
                  </a:lnTo>
                  <a:lnTo>
                    <a:pt x="928497" y="22193"/>
                  </a:lnTo>
                  <a:lnTo>
                    <a:pt x="932498" y="28099"/>
                  </a:lnTo>
                  <a:lnTo>
                    <a:pt x="931735" y="34576"/>
                  </a:lnTo>
                  <a:lnTo>
                    <a:pt x="927735" y="41529"/>
                  </a:lnTo>
                  <a:lnTo>
                    <a:pt x="929735" y="44482"/>
                  </a:lnTo>
                  <a:lnTo>
                    <a:pt x="919448" y="52197"/>
                  </a:lnTo>
                  <a:lnTo>
                    <a:pt x="916114" y="51054"/>
                  </a:lnTo>
                  <a:lnTo>
                    <a:pt x="915352" y="57531"/>
                  </a:lnTo>
                  <a:lnTo>
                    <a:pt x="920877" y="63246"/>
                  </a:lnTo>
                  <a:lnTo>
                    <a:pt x="914019" y="72104"/>
                  </a:lnTo>
                  <a:lnTo>
                    <a:pt x="913067" y="77057"/>
                  </a:lnTo>
                  <a:lnTo>
                    <a:pt x="916781" y="81439"/>
                  </a:lnTo>
                  <a:lnTo>
                    <a:pt x="924877" y="82010"/>
                  </a:lnTo>
                  <a:lnTo>
                    <a:pt x="932212" y="89059"/>
                  </a:lnTo>
                  <a:lnTo>
                    <a:pt x="935355" y="88678"/>
                  </a:lnTo>
                  <a:lnTo>
                    <a:pt x="940118" y="88106"/>
                  </a:lnTo>
                  <a:lnTo>
                    <a:pt x="948976" y="82106"/>
                  </a:lnTo>
                  <a:lnTo>
                    <a:pt x="956881" y="81153"/>
                  </a:lnTo>
                  <a:lnTo>
                    <a:pt x="960596" y="85439"/>
                  </a:lnTo>
                  <a:lnTo>
                    <a:pt x="959453" y="88773"/>
                  </a:lnTo>
                  <a:lnTo>
                    <a:pt x="960215" y="95155"/>
                  </a:lnTo>
                  <a:lnTo>
                    <a:pt x="955548" y="95726"/>
                  </a:lnTo>
                  <a:lnTo>
                    <a:pt x="952119" y="94583"/>
                  </a:lnTo>
                  <a:lnTo>
                    <a:pt x="942118" y="103822"/>
                  </a:lnTo>
                  <a:lnTo>
                    <a:pt x="954119" y="110300"/>
                  </a:lnTo>
                  <a:lnTo>
                    <a:pt x="954405" y="111919"/>
                  </a:lnTo>
                  <a:lnTo>
                    <a:pt x="950023" y="115634"/>
                  </a:lnTo>
                  <a:lnTo>
                    <a:pt x="958882" y="122587"/>
                  </a:lnTo>
                  <a:lnTo>
                    <a:pt x="971740" y="122491"/>
                  </a:lnTo>
                  <a:lnTo>
                    <a:pt x="975551" y="126873"/>
                  </a:lnTo>
                  <a:lnTo>
                    <a:pt x="978884" y="128016"/>
                  </a:lnTo>
                  <a:lnTo>
                    <a:pt x="984218" y="132207"/>
                  </a:lnTo>
                  <a:lnTo>
                    <a:pt x="988695" y="130016"/>
                  </a:lnTo>
                  <a:lnTo>
                    <a:pt x="989362" y="134684"/>
                  </a:lnTo>
                  <a:lnTo>
                    <a:pt x="992696" y="135922"/>
                  </a:lnTo>
                  <a:lnTo>
                    <a:pt x="1001744" y="131540"/>
                  </a:lnTo>
                  <a:lnTo>
                    <a:pt x="1007269" y="137255"/>
                  </a:lnTo>
                  <a:lnTo>
                    <a:pt x="1011079" y="141542"/>
                  </a:lnTo>
                  <a:lnTo>
                    <a:pt x="1009936" y="144971"/>
                  </a:lnTo>
                  <a:lnTo>
                    <a:pt x="1010888" y="152781"/>
                  </a:lnTo>
                  <a:lnTo>
                    <a:pt x="1003173" y="155448"/>
                  </a:lnTo>
                  <a:lnTo>
                    <a:pt x="1006602" y="156591"/>
                  </a:lnTo>
                  <a:lnTo>
                    <a:pt x="1005364" y="159925"/>
                  </a:lnTo>
                  <a:lnTo>
                    <a:pt x="1002030" y="158782"/>
                  </a:lnTo>
                  <a:lnTo>
                    <a:pt x="1002221" y="160306"/>
                  </a:lnTo>
                  <a:lnTo>
                    <a:pt x="1000697" y="160496"/>
                  </a:lnTo>
                  <a:lnTo>
                    <a:pt x="1001839" y="170021"/>
                  </a:lnTo>
                  <a:lnTo>
                    <a:pt x="1001459" y="179642"/>
                  </a:lnTo>
                  <a:lnTo>
                    <a:pt x="1000125" y="181451"/>
                  </a:lnTo>
                  <a:lnTo>
                    <a:pt x="992219" y="182499"/>
                  </a:lnTo>
                  <a:lnTo>
                    <a:pt x="980599" y="179165"/>
                  </a:lnTo>
                  <a:lnTo>
                    <a:pt x="979170" y="180880"/>
                  </a:lnTo>
                  <a:lnTo>
                    <a:pt x="975646" y="178118"/>
                  </a:lnTo>
                  <a:lnTo>
                    <a:pt x="976408" y="184499"/>
                  </a:lnTo>
                  <a:lnTo>
                    <a:pt x="973646" y="188024"/>
                  </a:lnTo>
                  <a:lnTo>
                    <a:pt x="959644" y="191453"/>
                  </a:lnTo>
                  <a:lnTo>
                    <a:pt x="956310" y="190214"/>
                  </a:lnTo>
                  <a:lnTo>
                    <a:pt x="944309" y="196596"/>
                  </a:lnTo>
                  <a:lnTo>
                    <a:pt x="936022" y="194405"/>
                  </a:lnTo>
                  <a:lnTo>
                    <a:pt x="930307" y="187166"/>
                  </a:lnTo>
                  <a:lnTo>
                    <a:pt x="920210" y="183642"/>
                  </a:lnTo>
                  <a:lnTo>
                    <a:pt x="908399" y="191548"/>
                  </a:lnTo>
                  <a:lnTo>
                    <a:pt x="903827" y="193739"/>
                  </a:lnTo>
                  <a:lnTo>
                    <a:pt x="895540" y="191548"/>
                  </a:lnTo>
                  <a:lnTo>
                    <a:pt x="896969" y="202597"/>
                  </a:lnTo>
                  <a:lnTo>
                    <a:pt x="888302" y="222980"/>
                  </a:lnTo>
                  <a:lnTo>
                    <a:pt x="884968" y="221742"/>
                  </a:lnTo>
                  <a:lnTo>
                    <a:pt x="873347" y="231267"/>
                  </a:lnTo>
                  <a:lnTo>
                    <a:pt x="870204" y="231648"/>
                  </a:lnTo>
                  <a:lnTo>
                    <a:pt x="865823" y="235458"/>
                  </a:lnTo>
                  <a:lnTo>
                    <a:pt x="846773" y="236315"/>
                  </a:lnTo>
                  <a:lnTo>
                    <a:pt x="826198" y="251746"/>
                  </a:lnTo>
                  <a:lnTo>
                    <a:pt x="821341" y="250793"/>
                  </a:lnTo>
                  <a:lnTo>
                    <a:pt x="814006" y="256508"/>
                  </a:lnTo>
                  <a:lnTo>
                    <a:pt x="807720" y="257270"/>
                  </a:lnTo>
                  <a:lnTo>
                    <a:pt x="803148" y="259461"/>
                  </a:lnTo>
                  <a:lnTo>
                    <a:pt x="796861" y="260318"/>
                  </a:lnTo>
                  <a:lnTo>
                    <a:pt x="790003" y="269177"/>
                  </a:lnTo>
                  <a:lnTo>
                    <a:pt x="788956" y="274130"/>
                  </a:lnTo>
                  <a:lnTo>
                    <a:pt x="784669" y="277844"/>
                  </a:lnTo>
                  <a:lnTo>
                    <a:pt x="778383" y="278702"/>
                  </a:lnTo>
                  <a:lnTo>
                    <a:pt x="774764" y="275939"/>
                  </a:lnTo>
                  <a:lnTo>
                    <a:pt x="768477" y="276701"/>
                  </a:lnTo>
                  <a:lnTo>
                    <a:pt x="762190" y="277559"/>
                  </a:lnTo>
                  <a:lnTo>
                    <a:pt x="758285" y="284417"/>
                  </a:lnTo>
                  <a:lnTo>
                    <a:pt x="747522" y="276225"/>
                  </a:lnTo>
                  <a:lnTo>
                    <a:pt x="737902" y="275844"/>
                  </a:lnTo>
                  <a:lnTo>
                    <a:pt x="737330" y="271082"/>
                  </a:lnTo>
                  <a:lnTo>
                    <a:pt x="728567" y="265748"/>
                  </a:lnTo>
                  <a:lnTo>
                    <a:pt x="724281" y="269558"/>
                  </a:lnTo>
                  <a:lnTo>
                    <a:pt x="715423" y="275463"/>
                  </a:lnTo>
                  <a:lnTo>
                    <a:pt x="705898" y="276701"/>
                  </a:lnTo>
                  <a:lnTo>
                    <a:pt x="702945" y="278606"/>
                  </a:lnTo>
                  <a:lnTo>
                    <a:pt x="703993" y="286512"/>
                  </a:lnTo>
                  <a:lnTo>
                    <a:pt x="699611" y="290322"/>
                  </a:lnTo>
                  <a:lnTo>
                    <a:pt x="696944" y="293846"/>
                  </a:lnTo>
                  <a:lnTo>
                    <a:pt x="692753" y="299180"/>
                  </a:lnTo>
                  <a:lnTo>
                    <a:pt x="678180" y="297847"/>
                  </a:lnTo>
                  <a:lnTo>
                    <a:pt x="669512" y="292513"/>
                  </a:lnTo>
                  <a:lnTo>
                    <a:pt x="665131" y="296323"/>
                  </a:lnTo>
                  <a:lnTo>
                    <a:pt x="664178" y="301276"/>
                  </a:lnTo>
                  <a:lnTo>
                    <a:pt x="665988" y="302609"/>
                  </a:lnTo>
                  <a:lnTo>
                    <a:pt x="661988" y="309563"/>
                  </a:lnTo>
                  <a:lnTo>
                    <a:pt x="661226" y="316039"/>
                  </a:lnTo>
                  <a:lnTo>
                    <a:pt x="657130" y="321374"/>
                  </a:lnTo>
                  <a:lnTo>
                    <a:pt x="659702" y="329089"/>
                  </a:lnTo>
                  <a:lnTo>
                    <a:pt x="667417" y="339281"/>
                  </a:lnTo>
                  <a:lnTo>
                    <a:pt x="663893" y="349377"/>
                  </a:lnTo>
                  <a:lnTo>
                    <a:pt x="655034" y="355378"/>
                  </a:lnTo>
                  <a:lnTo>
                    <a:pt x="652081" y="357283"/>
                  </a:lnTo>
                  <a:lnTo>
                    <a:pt x="644747" y="350234"/>
                  </a:lnTo>
                  <a:lnTo>
                    <a:pt x="639985" y="350806"/>
                  </a:lnTo>
                  <a:lnTo>
                    <a:pt x="639413" y="358902"/>
                  </a:lnTo>
                  <a:lnTo>
                    <a:pt x="635889" y="368999"/>
                  </a:lnTo>
                  <a:lnTo>
                    <a:pt x="628174" y="371570"/>
                  </a:lnTo>
                  <a:lnTo>
                    <a:pt x="621316" y="367665"/>
                  </a:lnTo>
                  <a:lnTo>
                    <a:pt x="618554" y="371189"/>
                  </a:lnTo>
                  <a:lnTo>
                    <a:pt x="615410" y="371570"/>
                  </a:lnTo>
                  <a:lnTo>
                    <a:pt x="606266" y="363188"/>
                  </a:lnTo>
                  <a:lnTo>
                    <a:pt x="602742" y="360426"/>
                  </a:lnTo>
                  <a:lnTo>
                    <a:pt x="596265" y="359569"/>
                  </a:lnTo>
                  <a:lnTo>
                    <a:pt x="591693" y="361760"/>
                  </a:lnTo>
                  <a:lnTo>
                    <a:pt x="589502" y="357283"/>
                  </a:lnTo>
                  <a:lnTo>
                    <a:pt x="586740" y="360807"/>
                  </a:lnTo>
                  <a:lnTo>
                    <a:pt x="583025" y="356521"/>
                  </a:lnTo>
                  <a:lnTo>
                    <a:pt x="578644" y="360236"/>
                  </a:lnTo>
                  <a:lnTo>
                    <a:pt x="573500" y="357664"/>
                  </a:lnTo>
                  <a:lnTo>
                    <a:pt x="568833" y="358331"/>
                  </a:lnTo>
                  <a:lnTo>
                    <a:pt x="564642" y="363664"/>
                  </a:lnTo>
                  <a:lnTo>
                    <a:pt x="561689" y="365570"/>
                  </a:lnTo>
                  <a:lnTo>
                    <a:pt x="555403" y="366427"/>
                  </a:lnTo>
                  <a:lnTo>
                    <a:pt x="547878" y="357759"/>
                  </a:lnTo>
                  <a:lnTo>
                    <a:pt x="539591" y="368427"/>
                  </a:lnTo>
                  <a:lnTo>
                    <a:pt x="534924" y="368999"/>
                  </a:lnTo>
                  <a:lnTo>
                    <a:pt x="537305" y="375190"/>
                  </a:lnTo>
                  <a:lnTo>
                    <a:pt x="534543" y="378714"/>
                  </a:lnTo>
                  <a:lnTo>
                    <a:pt x="522827" y="375380"/>
                  </a:lnTo>
                  <a:lnTo>
                    <a:pt x="517112" y="368046"/>
                  </a:lnTo>
                  <a:lnTo>
                    <a:pt x="504825" y="360045"/>
                  </a:lnTo>
                  <a:lnTo>
                    <a:pt x="490633" y="361855"/>
                  </a:lnTo>
                  <a:lnTo>
                    <a:pt x="484727" y="365760"/>
                  </a:lnTo>
                  <a:lnTo>
                    <a:pt x="477298" y="369951"/>
                  </a:lnTo>
                  <a:lnTo>
                    <a:pt x="478250" y="377857"/>
                  </a:lnTo>
                  <a:lnTo>
                    <a:pt x="467201" y="379286"/>
                  </a:lnTo>
                  <a:lnTo>
                    <a:pt x="461296" y="383191"/>
                  </a:lnTo>
                  <a:lnTo>
                    <a:pt x="451199" y="379667"/>
                  </a:lnTo>
                  <a:lnTo>
                    <a:pt x="441389" y="377762"/>
                  </a:lnTo>
                  <a:lnTo>
                    <a:pt x="438436" y="379762"/>
                  </a:lnTo>
                  <a:lnTo>
                    <a:pt x="433292" y="377190"/>
                  </a:lnTo>
                  <a:lnTo>
                    <a:pt x="428530" y="377762"/>
                  </a:lnTo>
                  <a:lnTo>
                    <a:pt x="422434" y="380143"/>
                  </a:lnTo>
                  <a:lnTo>
                    <a:pt x="416909" y="387287"/>
                  </a:lnTo>
                  <a:lnTo>
                    <a:pt x="408813" y="386715"/>
                  </a:lnTo>
                  <a:lnTo>
                    <a:pt x="409861" y="394621"/>
                  </a:lnTo>
                  <a:lnTo>
                    <a:pt x="417576" y="404813"/>
                  </a:lnTo>
                  <a:lnTo>
                    <a:pt x="419767" y="409385"/>
                  </a:lnTo>
                  <a:lnTo>
                    <a:pt x="420910" y="418814"/>
                  </a:lnTo>
                  <a:lnTo>
                    <a:pt x="418147" y="422434"/>
                  </a:lnTo>
                  <a:lnTo>
                    <a:pt x="419005" y="428720"/>
                  </a:lnTo>
                  <a:lnTo>
                    <a:pt x="417576" y="430435"/>
                  </a:lnTo>
                  <a:lnTo>
                    <a:pt x="412718" y="429482"/>
                  </a:lnTo>
                  <a:lnTo>
                    <a:pt x="398716" y="445675"/>
                  </a:lnTo>
                  <a:lnTo>
                    <a:pt x="401288" y="453390"/>
                  </a:lnTo>
                  <a:lnTo>
                    <a:pt x="407575" y="452628"/>
                  </a:lnTo>
                  <a:lnTo>
                    <a:pt x="407194" y="462248"/>
                  </a:lnTo>
                  <a:lnTo>
                    <a:pt x="402908" y="466058"/>
                  </a:lnTo>
                  <a:lnTo>
                    <a:pt x="391858" y="467487"/>
                  </a:lnTo>
                  <a:lnTo>
                    <a:pt x="387477" y="471202"/>
                  </a:lnTo>
                  <a:lnTo>
                    <a:pt x="386906" y="479298"/>
                  </a:lnTo>
                  <a:lnTo>
                    <a:pt x="373761" y="489013"/>
                  </a:lnTo>
                  <a:lnTo>
                    <a:pt x="374142" y="492157"/>
                  </a:lnTo>
                  <a:lnTo>
                    <a:pt x="369856" y="495872"/>
                  </a:lnTo>
                  <a:lnTo>
                    <a:pt x="364331" y="503015"/>
                  </a:lnTo>
                  <a:lnTo>
                    <a:pt x="350329" y="493586"/>
                  </a:lnTo>
                  <a:lnTo>
                    <a:pt x="342233" y="493014"/>
                  </a:lnTo>
                  <a:lnTo>
                    <a:pt x="338614" y="490252"/>
                  </a:lnTo>
                  <a:lnTo>
                    <a:pt x="340233" y="490061"/>
                  </a:lnTo>
                  <a:lnTo>
                    <a:pt x="338233" y="487109"/>
                  </a:lnTo>
                  <a:lnTo>
                    <a:pt x="331756" y="486347"/>
                  </a:lnTo>
                  <a:lnTo>
                    <a:pt x="329946" y="484918"/>
                  </a:lnTo>
                  <a:lnTo>
                    <a:pt x="330899" y="480060"/>
                  </a:lnTo>
                  <a:lnTo>
                    <a:pt x="324326" y="466439"/>
                  </a:lnTo>
                  <a:lnTo>
                    <a:pt x="316611" y="456152"/>
                  </a:lnTo>
                  <a:lnTo>
                    <a:pt x="316039" y="451485"/>
                  </a:lnTo>
                  <a:lnTo>
                    <a:pt x="311087" y="450437"/>
                  </a:lnTo>
                  <a:lnTo>
                    <a:pt x="309753" y="452247"/>
                  </a:lnTo>
                  <a:lnTo>
                    <a:pt x="305943" y="447961"/>
                  </a:lnTo>
                  <a:lnTo>
                    <a:pt x="300799" y="445389"/>
                  </a:lnTo>
                  <a:lnTo>
                    <a:pt x="303657" y="467487"/>
                  </a:lnTo>
                  <a:lnTo>
                    <a:pt x="305848" y="471964"/>
                  </a:lnTo>
                  <a:lnTo>
                    <a:pt x="301466" y="475774"/>
                  </a:lnTo>
                  <a:lnTo>
                    <a:pt x="300514" y="480727"/>
                  </a:lnTo>
                  <a:lnTo>
                    <a:pt x="297561" y="482632"/>
                  </a:lnTo>
                  <a:lnTo>
                    <a:pt x="294418" y="483108"/>
                  </a:lnTo>
                  <a:lnTo>
                    <a:pt x="293084" y="484823"/>
                  </a:lnTo>
                  <a:lnTo>
                    <a:pt x="277463" y="488442"/>
                  </a:lnTo>
                  <a:lnTo>
                    <a:pt x="279464" y="491395"/>
                  </a:lnTo>
                  <a:lnTo>
                    <a:pt x="276701" y="494919"/>
                  </a:lnTo>
                  <a:lnTo>
                    <a:pt x="268605" y="494348"/>
                  </a:lnTo>
                  <a:lnTo>
                    <a:pt x="268986" y="497491"/>
                  </a:lnTo>
                  <a:lnTo>
                    <a:pt x="266224" y="501110"/>
                  </a:lnTo>
                  <a:lnTo>
                    <a:pt x="267081" y="507397"/>
                  </a:lnTo>
                  <a:lnTo>
                    <a:pt x="266510" y="515493"/>
                  </a:lnTo>
                  <a:lnTo>
                    <a:pt x="268224" y="516827"/>
                  </a:lnTo>
                  <a:lnTo>
                    <a:pt x="267652" y="524923"/>
                  </a:lnTo>
                  <a:lnTo>
                    <a:pt x="258413" y="527780"/>
                  </a:lnTo>
                  <a:lnTo>
                    <a:pt x="250317" y="527209"/>
                  </a:lnTo>
                  <a:lnTo>
                    <a:pt x="246031" y="530924"/>
                  </a:lnTo>
                  <a:lnTo>
                    <a:pt x="241268" y="518732"/>
                  </a:lnTo>
                  <a:lnTo>
                    <a:pt x="240792" y="515588"/>
                  </a:lnTo>
                  <a:lnTo>
                    <a:pt x="237077" y="511207"/>
                  </a:lnTo>
                  <a:lnTo>
                    <a:pt x="225838" y="511016"/>
                  </a:lnTo>
                  <a:lnTo>
                    <a:pt x="220504" y="506921"/>
                  </a:lnTo>
                  <a:lnTo>
                    <a:pt x="214789" y="512445"/>
                  </a:lnTo>
                  <a:lnTo>
                    <a:pt x="215360" y="517208"/>
                  </a:lnTo>
                  <a:lnTo>
                    <a:pt x="210883" y="519398"/>
                  </a:lnTo>
                  <a:lnTo>
                    <a:pt x="206693" y="524732"/>
                  </a:lnTo>
                  <a:lnTo>
                    <a:pt x="205359" y="526447"/>
                  </a:lnTo>
                  <a:lnTo>
                    <a:pt x="206312" y="534353"/>
                  </a:lnTo>
                  <a:lnTo>
                    <a:pt x="197834" y="543497"/>
                  </a:lnTo>
                  <a:lnTo>
                    <a:pt x="198501" y="548259"/>
                  </a:lnTo>
                  <a:lnTo>
                    <a:pt x="200692" y="552736"/>
                  </a:lnTo>
                  <a:lnTo>
                    <a:pt x="201454" y="559022"/>
                  </a:lnTo>
                  <a:lnTo>
                    <a:pt x="197168" y="562832"/>
                  </a:lnTo>
                  <a:lnTo>
                    <a:pt x="196120" y="567785"/>
                  </a:lnTo>
                  <a:lnTo>
                    <a:pt x="188309" y="581597"/>
                  </a:lnTo>
                  <a:lnTo>
                    <a:pt x="187738" y="589693"/>
                  </a:lnTo>
                  <a:lnTo>
                    <a:pt x="177260" y="595789"/>
                  </a:lnTo>
                  <a:lnTo>
                    <a:pt x="178879" y="608457"/>
                  </a:lnTo>
                  <a:lnTo>
                    <a:pt x="177546" y="610267"/>
                  </a:lnTo>
                  <a:lnTo>
                    <a:pt x="172593" y="609219"/>
                  </a:lnTo>
                  <a:lnTo>
                    <a:pt x="164497" y="608648"/>
                  </a:lnTo>
                  <a:lnTo>
                    <a:pt x="149257" y="602552"/>
                  </a:lnTo>
                  <a:lnTo>
                    <a:pt x="143351" y="606552"/>
                  </a:lnTo>
                  <a:lnTo>
                    <a:pt x="138398" y="605600"/>
                  </a:lnTo>
                  <a:lnTo>
                    <a:pt x="140779" y="598837"/>
                  </a:lnTo>
                  <a:lnTo>
                    <a:pt x="137255" y="596075"/>
                  </a:lnTo>
                  <a:lnTo>
                    <a:pt x="134874" y="589979"/>
                  </a:lnTo>
                  <a:lnTo>
                    <a:pt x="126016" y="595979"/>
                  </a:lnTo>
                  <a:lnTo>
                    <a:pt x="114586" y="607028"/>
                  </a:lnTo>
                  <a:lnTo>
                    <a:pt x="106680" y="607981"/>
                  </a:lnTo>
                  <a:lnTo>
                    <a:pt x="102299" y="611791"/>
                  </a:lnTo>
                  <a:lnTo>
                    <a:pt x="82772" y="609505"/>
                  </a:lnTo>
                  <a:lnTo>
                    <a:pt x="79057" y="605123"/>
                  </a:lnTo>
                  <a:lnTo>
                    <a:pt x="74866" y="597599"/>
                  </a:lnTo>
                  <a:lnTo>
                    <a:pt x="70295" y="599789"/>
                  </a:lnTo>
                  <a:lnTo>
                    <a:pt x="65437" y="598837"/>
                  </a:lnTo>
                  <a:lnTo>
                    <a:pt x="65246" y="610076"/>
                  </a:lnTo>
                  <a:lnTo>
                    <a:pt x="59150" y="625316"/>
                  </a:lnTo>
                  <a:lnTo>
                    <a:pt x="56864" y="644843"/>
                  </a:lnTo>
                  <a:lnTo>
                    <a:pt x="54864" y="654749"/>
                  </a:lnTo>
                  <a:lnTo>
                    <a:pt x="57626" y="663988"/>
                  </a:lnTo>
                  <a:lnTo>
                    <a:pt x="54102" y="674084"/>
                  </a:lnTo>
                  <a:lnTo>
                    <a:pt x="40957" y="683800"/>
                  </a:lnTo>
                  <a:lnTo>
                    <a:pt x="36766" y="689134"/>
                  </a:lnTo>
                  <a:lnTo>
                    <a:pt x="33242" y="699135"/>
                  </a:lnTo>
                  <a:lnTo>
                    <a:pt x="30289" y="701135"/>
                  </a:lnTo>
                  <a:lnTo>
                    <a:pt x="16574" y="706088"/>
                  </a:lnTo>
                  <a:lnTo>
                    <a:pt x="5524" y="707517"/>
                  </a:lnTo>
                  <a:lnTo>
                    <a:pt x="952" y="709708"/>
                  </a:lnTo>
                  <a:lnTo>
                    <a:pt x="0" y="714661"/>
                  </a:lnTo>
                  <a:lnTo>
                    <a:pt x="4858" y="715613"/>
                  </a:lnTo>
                  <a:lnTo>
                    <a:pt x="5143" y="717137"/>
                  </a:lnTo>
                  <a:lnTo>
                    <a:pt x="16954" y="722090"/>
                  </a:lnTo>
                  <a:lnTo>
                    <a:pt x="20955" y="727996"/>
                  </a:lnTo>
                  <a:lnTo>
                    <a:pt x="23336" y="734092"/>
                  </a:lnTo>
                  <a:lnTo>
                    <a:pt x="34099" y="731139"/>
                  </a:lnTo>
                  <a:lnTo>
                    <a:pt x="36100" y="734092"/>
                  </a:lnTo>
                  <a:lnTo>
                    <a:pt x="39052" y="732092"/>
                  </a:lnTo>
                  <a:lnTo>
                    <a:pt x="37909" y="735425"/>
                  </a:lnTo>
                  <a:lnTo>
                    <a:pt x="39719" y="736854"/>
                  </a:lnTo>
                  <a:lnTo>
                    <a:pt x="48577" y="730853"/>
                  </a:lnTo>
                  <a:lnTo>
                    <a:pt x="56197" y="728282"/>
                  </a:lnTo>
                  <a:lnTo>
                    <a:pt x="58864" y="735997"/>
                  </a:lnTo>
                  <a:lnTo>
                    <a:pt x="72676" y="743903"/>
                  </a:lnTo>
                  <a:lnTo>
                    <a:pt x="73628" y="738950"/>
                  </a:lnTo>
                  <a:lnTo>
                    <a:pt x="88201" y="740283"/>
                  </a:lnTo>
                  <a:lnTo>
                    <a:pt x="87820" y="737140"/>
                  </a:lnTo>
                  <a:lnTo>
                    <a:pt x="97155" y="747141"/>
                  </a:lnTo>
                  <a:lnTo>
                    <a:pt x="103632" y="747903"/>
                  </a:lnTo>
                  <a:lnTo>
                    <a:pt x="106585" y="745998"/>
                  </a:lnTo>
                  <a:lnTo>
                    <a:pt x="108395" y="747332"/>
                  </a:lnTo>
                  <a:lnTo>
                    <a:pt x="116300" y="759143"/>
                  </a:lnTo>
                  <a:lnTo>
                    <a:pt x="116491" y="760762"/>
                  </a:lnTo>
                  <a:lnTo>
                    <a:pt x="110204" y="761524"/>
                  </a:lnTo>
                  <a:lnTo>
                    <a:pt x="108204" y="771430"/>
                  </a:lnTo>
                  <a:lnTo>
                    <a:pt x="103727" y="773621"/>
                  </a:lnTo>
                  <a:lnTo>
                    <a:pt x="104299" y="778288"/>
                  </a:lnTo>
                  <a:lnTo>
                    <a:pt x="104299" y="778288"/>
                  </a:lnTo>
                  <a:lnTo>
                    <a:pt x="107251" y="776288"/>
                  </a:lnTo>
                  <a:lnTo>
                    <a:pt x="111062" y="780669"/>
                  </a:lnTo>
                  <a:lnTo>
                    <a:pt x="115729" y="780098"/>
                  </a:lnTo>
                  <a:lnTo>
                    <a:pt x="117539" y="781431"/>
                  </a:lnTo>
                  <a:lnTo>
                    <a:pt x="116205" y="783241"/>
                  </a:lnTo>
                  <a:lnTo>
                    <a:pt x="121253" y="785813"/>
                  </a:lnTo>
                  <a:lnTo>
                    <a:pt x="122682" y="784003"/>
                  </a:lnTo>
                  <a:lnTo>
                    <a:pt x="125825" y="783622"/>
                  </a:lnTo>
                  <a:lnTo>
                    <a:pt x="123634" y="779050"/>
                  </a:lnTo>
                  <a:lnTo>
                    <a:pt x="125254" y="778859"/>
                  </a:lnTo>
                  <a:lnTo>
                    <a:pt x="131159" y="774859"/>
                  </a:lnTo>
                  <a:lnTo>
                    <a:pt x="136112" y="775907"/>
                  </a:lnTo>
                  <a:lnTo>
                    <a:pt x="144208" y="776478"/>
                  </a:lnTo>
                  <a:lnTo>
                    <a:pt x="146304" y="780955"/>
                  </a:lnTo>
                  <a:lnTo>
                    <a:pt x="147923" y="780764"/>
                  </a:lnTo>
                  <a:lnTo>
                    <a:pt x="149733" y="782193"/>
                  </a:lnTo>
                  <a:lnTo>
                    <a:pt x="154400" y="781526"/>
                  </a:lnTo>
                  <a:lnTo>
                    <a:pt x="157829" y="782765"/>
                  </a:lnTo>
                  <a:lnTo>
                    <a:pt x="167259" y="781526"/>
                  </a:lnTo>
                  <a:lnTo>
                    <a:pt x="167830" y="786289"/>
                  </a:lnTo>
                  <a:lnTo>
                    <a:pt x="170402" y="781145"/>
                  </a:lnTo>
                  <a:lnTo>
                    <a:pt x="175355" y="782098"/>
                  </a:lnTo>
                  <a:lnTo>
                    <a:pt x="179451" y="776764"/>
                  </a:lnTo>
                  <a:lnTo>
                    <a:pt x="185642" y="774383"/>
                  </a:lnTo>
                  <a:lnTo>
                    <a:pt x="185833" y="776002"/>
                  </a:lnTo>
                  <a:lnTo>
                    <a:pt x="183261" y="781050"/>
                  </a:lnTo>
                  <a:lnTo>
                    <a:pt x="193548" y="786194"/>
                  </a:lnTo>
                  <a:lnTo>
                    <a:pt x="196691" y="798576"/>
                  </a:lnTo>
                  <a:lnTo>
                    <a:pt x="203645" y="802576"/>
                  </a:lnTo>
                  <a:lnTo>
                    <a:pt x="200882" y="806101"/>
                  </a:lnTo>
                  <a:lnTo>
                    <a:pt x="203454" y="813816"/>
                  </a:lnTo>
                  <a:lnTo>
                    <a:pt x="202025" y="815531"/>
                  </a:lnTo>
                  <a:lnTo>
                    <a:pt x="202501" y="818769"/>
                  </a:lnTo>
                  <a:lnTo>
                    <a:pt x="197929" y="820865"/>
                  </a:lnTo>
                  <a:lnTo>
                    <a:pt x="194977" y="822865"/>
                  </a:lnTo>
                  <a:lnTo>
                    <a:pt x="194977" y="822865"/>
                  </a:lnTo>
                  <a:lnTo>
                    <a:pt x="192214" y="826484"/>
                  </a:lnTo>
                  <a:lnTo>
                    <a:pt x="192595" y="829628"/>
                  </a:lnTo>
                  <a:lnTo>
                    <a:pt x="194596" y="832580"/>
                  </a:lnTo>
                  <a:lnTo>
                    <a:pt x="193453" y="835914"/>
                  </a:lnTo>
                  <a:lnTo>
                    <a:pt x="196596" y="835533"/>
                  </a:lnTo>
                  <a:lnTo>
                    <a:pt x="195643" y="840486"/>
                  </a:lnTo>
                  <a:lnTo>
                    <a:pt x="200597" y="841439"/>
                  </a:lnTo>
                  <a:lnTo>
                    <a:pt x="199739" y="847916"/>
                  </a:lnTo>
                  <a:lnTo>
                    <a:pt x="198215" y="848106"/>
                  </a:lnTo>
                  <a:lnTo>
                    <a:pt x="193643" y="850297"/>
                  </a:lnTo>
                  <a:lnTo>
                    <a:pt x="194310" y="855059"/>
                  </a:lnTo>
                  <a:lnTo>
                    <a:pt x="195834" y="854869"/>
                  </a:lnTo>
                  <a:lnTo>
                    <a:pt x="193262" y="860012"/>
                  </a:lnTo>
                  <a:lnTo>
                    <a:pt x="190119" y="860393"/>
                  </a:lnTo>
                  <a:lnTo>
                    <a:pt x="191929" y="861727"/>
                  </a:lnTo>
                  <a:lnTo>
                    <a:pt x="189928" y="871633"/>
                  </a:lnTo>
                  <a:lnTo>
                    <a:pt x="186785" y="872014"/>
                  </a:lnTo>
                  <a:lnTo>
                    <a:pt x="186976" y="873633"/>
                  </a:lnTo>
                  <a:lnTo>
                    <a:pt x="190214" y="873252"/>
                  </a:lnTo>
                  <a:lnTo>
                    <a:pt x="200025" y="875157"/>
                  </a:lnTo>
                  <a:lnTo>
                    <a:pt x="197453" y="880301"/>
                  </a:lnTo>
                  <a:lnTo>
                    <a:pt x="196501" y="885253"/>
                  </a:lnTo>
                  <a:lnTo>
                    <a:pt x="199835" y="886397"/>
                  </a:lnTo>
                  <a:lnTo>
                    <a:pt x="201073" y="895922"/>
                  </a:lnTo>
                  <a:lnTo>
                    <a:pt x="202120" y="903732"/>
                  </a:lnTo>
                  <a:lnTo>
                    <a:pt x="199168" y="905732"/>
                  </a:lnTo>
                  <a:lnTo>
                    <a:pt x="194405" y="906399"/>
                  </a:lnTo>
                  <a:lnTo>
                    <a:pt x="191643" y="909923"/>
                  </a:lnTo>
                  <a:lnTo>
                    <a:pt x="193453" y="911257"/>
                  </a:lnTo>
                  <a:lnTo>
                    <a:pt x="192024" y="913067"/>
                  </a:lnTo>
                  <a:lnTo>
                    <a:pt x="196405" y="922115"/>
                  </a:lnTo>
                  <a:lnTo>
                    <a:pt x="199739" y="923353"/>
                  </a:lnTo>
                  <a:lnTo>
                    <a:pt x="205835" y="920972"/>
                  </a:lnTo>
                  <a:lnTo>
                    <a:pt x="207454" y="920687"/>
                  </a:lnTo>
                  <a:lnTo>
                    <a:pt x="207835" y="923925"/>
                  </a:lnTo>
                  <a:lnTo>
                    <a:pt x="214598" y="926211"/>
                  </a:lnTo>
                  <a:lnTo>
                    <a:pt x="213170" y="928021"/>
                  </a:lnTo>
                  <a:lnTo>
                    <a:pt x="210217" y="930021"/>
                  </a:lnTo>
                  <a:lnTo>
                    <a:pt x="212217" y="932974"/>
                  </a:lnTo>
                  <a:lnTo>
                    <a:pt x="210883" y="934688"/>
                  </a:lnTo>
                  <a:lnTo>
                    <a:pt x="209455" y="936498"/>
                  </a:lnTo>
                  <a:lnTo>
                    <a:pt x="210312" y="942880"/>
                  </a:lnTo>
                  <a:lnTo>
                    <a:pt x="203930" y="943642"/>
                  </a:lnTo>
                  <a:lnTo>
                    <a:pt x="204787" y="949928"/>
                  </a:lnTo>
                  <a:lnTo>
                    <a:pt x="213074" y="952119"/>
                  </a:lnTo>
                  <a:lnTo>
                    <a:pt x="216218" y="951738"/>
                  </a:lnTo>
                  <a:lnTo>
                    <a:pt x="216408" y="953262"/>
                  </a:lnTo>
                  <a:lnTo>
                    <a:pt x="212312" y="958596"/>
                  </a:lnTo>
                  <a:lnTo>
                    <a:pt x="215646" y="959834"/>
                  </a:lnTo>
                  <a:lnTo>
                    <a:pt x="217170" y="959549"/>
                  </a:lnTo>
                  <a:lnTo>
                    <a:pt x="224314" y="965073"/>
                  </a:lnTo>
                  <a:lnTo>
                    <a:pt x="221742" y="970217"/>
                  </a:lnTo>
                  <a:lnTo>
                    <a:pt x="221742" y="970217"/>
                  </a:lnTo>
                  <a:lnTo>
                    <a:pt x="227362" y="975932"/>
                  </a:lnTo>
                  <a:lnTo>
                    <a:pt x="228314" y="983837"/>
                  </a:lnTo>
                  <a:lnTo>
                    <a:pt x="230124" y="985171"/>
                  </a:lnTo>
                  <a:lnTo>
                    <a:pt x="229362" y="991743"/>
                  </a:lnTo>
                  <a:lnTo>
                    <a:pt x="226600" y="995267"/>
                  </a:lnTo>
                  <a:lnTo>
                    <a:pt x="236220" y="995648"/>
                  </a:lnTo>
                  <a:lnTo>
                    <a:pt x="233077" y="1008888"/>
                  </a:lnTo>
                  <a:lnTo>
                    <a:pt x="224790" y="1006697"/>
                  </a:lnTo>
                  <a:lnTo>
                    <a:pt x="220313" y="1008888"/>
                  </a:lnTo>
                  <a:lnTo>
                    <a:pt x="221837" y="1008698"/>
                  </a:lnTo>
                  <a:lnTo>
                    <a:pt x="220885" y="1013651"/>
                  </a:lnTo>
                  <a:lnTo>
                    <a:pt x="229362" y="1017365"/>
                  </a:lnTo>
                  <a:lnTo>
                    <a:pt x="229743" y="1020509"/>
                  </a:lnTo>
                  <a:lnTo>
                    <a:pt x="228219" y="1020699"/>
                  </a:lnTo>
                  <a:lnTo>
                    <a:pt x="233362" y="1023271"/>
                  </a:lnTo>
                  <a:lnTo>
                    <a:pt x="230410" y="1025271"/>
                  </a:lnTo>
                  <a:lnTo>
                    <a:pt x="232791" y="1031367"/>
                  </a:lnTo>
                  <a:lnTo>
                    <a:pt x="229648" y="1031748"/>
                  </a:lnTo>
                  <a:lnTo>
                    <a:pt x="220885" y="1026509"/>
                  </a:lnTo>
                  <a:lnTo>
                    <a:pt x="223837" y="1024509"/>
                  </a:lnTo>
                  <a:lnTo>
                    <a:pt x="220504" y="1023271"/>
                  </a:lnTo>
                  <a:lnTo>
                    <a:pt x="219170" y="1025081"/>
                  </a:lnTo>
                  <a:lnTo>
                    <a:pt x="217360" y="1023747"/>
                  </a:lnTo>
                  <a:lnTo>
                    <a:pt x="217551" y="1025271"/>
                  </a:lnTo>
                  <a:lnTo>
                    <a:pt x="209074" y="1021556"/>
                  </a:lnTo>
                  <a:lnTo>
                    <a:pt x="207931" y="1024890"/>
                  </a:lnTo>
                  <a:lnTo>
                    <a:pt x="207740" y="1023366"/>
                  </a:lnTo>
                  <a:lnTo>
                    <a:pt x="200025" y="1025938"/>
                  </a:lnTo>
                  <a:lnTo>
                    <a:pt x="198787" y="1029272"/>
                  </a:lnTo>
                  <a:lnTo>
                    <a:pt x="202216" y="1030415"/>
                  </a:lnTo>
                  <a:lnTo>
                    <a:pt x="200977" y="1033844"/>
                  </a:lnTo>
                  <a:lnTo>
                    <a:pt x="193072" y="1034796"/>
                  </a:lnTo>
                  <a:lnTo>
                    <a:pt x="196691" y="1037558"/>
                  </a:lnTo>
                  <a:lnTo>
                    <a:pt x="199835" y="1037177"/>
                  </a:lnTo>
                  <a:lnTo>
                    <a:pt x="205549" y="1044416"/>
                  </a:lnTo>
                  <a:lnTo>
                    <a:pt x="208121" y="1039368"/>
                  </a:lnTo>
                  <a:lnTo>
                    <a:pt x="213455" y="1043464"/>
                  </a:lnTo>
                  <a:lnTo>
                    <a:pt x="221170" y="1040892"/>
                  </a:lnTo>
                  <a:lnTo>
                    <a:pt x="226124" y="1041845"/>
                  </a:lnTo>
                  <a:lnTo>
                    <a:pt x="228505" y="1047941"/>
                  </a:lnTo>
                  <a:lnTo>
                    <a:pt x="228695" y="1049560"/>
                  </a:lnTo>
                  <a:lnTo>
                    <a:pt x="235553" y="1053465"/>
                  </a:lnTo>
                  <a:lnTo>
                    <a:pt x="231076" y="1055656"/>
                  </a:lnTo>
                  <a:lnTo>
                    <a:pt x="229648" y="1057466"/>
                  </a:lnTo>
                  <a:lnTo>
                    <a:pt x="237553" y="1056418"/>
                  </a:lnTo>
                  <a:lnTo>
                    <a:pt x="239363" y="1057847"/>
                  </a:lnTo>
                  <a:lnTo>
                    <a:pt x="240983" y="1070420"/>
                  </a:lnTo>
                  <a:lnTo>
                    <a:pt x="239744" y="1073753"/>
                  </a:lnTo>
                  <a:lnTo>
                    <a:pt x="243173" y="1074992"/>
                  </a:lnTo>
                  <a:lnTo>
                    <a:pt x="246126" y="1072991"/>
                  </a:lnTo>
                  <a:lnTo>
                    <a:pt x="259080" y="1074515"/>
                  </a:lnTo>
                  <a:lnTo>
                    <a:pt x="258699" y="1071372"/>
                  </a:lnTo>
                  <a:lnTo>
                    <a:pt x="260318" y="1071182"/>
                  </a:lnTo>
                  <a:lnTo>
                    <a:pt x="261461" y="1080611"/>
                  </a:lnTo>
                  <a:lnTo>
                    <a:pt x="259366" y="1088898"/>
                  </a:lnTo>
                  <a:lnTo>
                    <a:pt x="265843" y="1089660"/>
                  </a:lnTo>
                  <a:lnTo>
                    <a:pt x="268414" y="1084517"/>
                  </a:lnTo>
                  <a:lnTo>
                    <a:pt x="271558" y="1084136"/>
                  </a:lnTo>
                  <a:lnTo>
                    <a:pt x="272510" y="1079183"/>
                  </a:lnTo>
                  <a:lnTo>
                    <a:pt x="273749" y="1075849"/>
                  </a:lnTo>
                  <a:lnTo>
                    <a:pt x="276892" y="1075468"/>
                  </a:lnTo>
                  <a:lnTo>
                    <a:pt x="281178" y="1071753"/>
                  </a:lnTo>
                  <a:lnTo>
                    <a:pt x="283178" y="1074706"/>
                  </a:lnTo>
                  <a:lnTo>
                    <a:pt x="280035" y="1075087"/>
                  </a:lnTo>
                  <a:lnTo>
                    <a:pt x="278701" y="1076801"/>
                  </a:lnTo>
                  <a:lnTo>
                    <a:pt x="283750" y="1079373"/>
                  </a:lnTo>
                  <a:lnTo>
                    <a:pt x="282988" y="1085945"/>
                  </a:lnTo>
                  <a:lnTo>
                    <a:pt x="286226" y="1085469"/>
                  </a:lnTo>
                  <a:lnTo>
                    <a:pt x="287941" y="1086898"/>
                  </a:lnTo>
                  <a:lnTo>
                    <a:pt x="291084" y="1086517"/>
                  </a:lnTo>
                  <a:lnTo>
                    <a:pt x="291179" y="1099280"/>
                  </a:lnTo>
                  <a:lnTo>
                    <a:pt x="296323" y="1101852"/>
                  </a:lnTo>
                  <a:lnTo>
                    <a:pt x="302228" y="1097852"/>
                  </a:lnTo>
                  <a:lnTo>
                    <a:pt x="305372" y="1097471"/>
                  </a:lnTo>
                  <a:lnTo>
                    <a:pt x="308705" y="1098709"/>
                  </a:lnTo>
                  <a:lnTo>
                    <a:pt x="308515" y="1097090"/>
                  </a:lnTo>
                  <a:lnTo>
                    <a:pt x="314611" y="1094708"/>
                  </a:lnTo>
                  <a:lnTo>
                    <a:pt x="315373" y="1088231"/>
                  </a:lnTo>
                  <a:lnTo>
                    <a:pt x="317183" y="1089565"/>
                  </a:lnTo>
                  <a:lnTo>
                    <a:pt x="317945" y="1083088"/>
                  </a:lnTo>
                  <a:lnTo>
                    <a:pt x="315944" y="1080135"/>
                  </a:lnTo>
                  <a:lnTo>
                    <a:pt x="320326" y="1076325"/>
                  </a:lnTo>
                  <a:lnTo>
                    <a:pt x="323660" y="1077563"/>
                  </a:lnTo>
                  <a:lnTo>
                    <a:pt x="326422" y="1073944"/>
                  </a:lnTo>
                  <a:lnTo>
                    <a:pt x="329565" y="1073563"/>
                  </a:lnTo>
                  <a:lnTo>
                    <a:pt x="330327" y="1067086"/>
                  </a:lnTo>
                  <a:lnTo>
                    <a:pt x="340043" y="1067467"/>
                  </a:lnTo>
                  <a:lnTo>
                    <a:pt x="340043" y="1067467"/>
                  </a:lnTo>
                  <a:lnTo>
                    <a:pt x="340233" y="1068991"/>
                  </a:lnTo>
                  <a:lnTo>
                    <a:pt x="350234" y="1072515"/>
                  </a:lnTo>
                  <a:lnTo>
                    <a:pt x="354997" y="1071944"/>
                  </a:lnTo>
                  <a:lnTo>
                    <a:pt x="355949" y="1066991"/>
                  </a:lnTo>
                  <a:lnTo>
                    <a:pt x="354235" y="1065657"/>
                  </a:lnTo>
                  <a:lnTo>
                    <a:pt x="355378" y="1062228"/>
                  </a:lnTo>
                  <a:lnTo>
                    <a:pt x="357187" y="1063657"/>
                  </a:lnTo>
                  <a:lnTo>
                    <a:pt x="361855" y="1062990"/>
                  </a:lnTo>
                  <a:lnTo>
                    <a:pt x="360712" y="1053560"/>
                  </a:lnTo>
                  <a:lnTo>
                    <a:pt x="360521" y="1051941"/>
                  </a:lnTo>
                  <a:lnTo>
                    <a:pt x="360902" y="1042321"/>
                  </a:lnTo>
                  <a:lnTo>
                    <a:pt x="361283" y="1045464"/>
                  </a:lnTo>
                  <a:lnTo>
                    <a:pt x="362617" y="1043654"/>
                  </a:lnTo>
                  <a:lnTo>
                    <a:pt x="364808" y="1048226"/>
                  </a:lnTo>
                  <a:lnTo>
                    <a:pt x="369760" y="1049179"/>
                  </a:lnTo>
                  <a:lnTo>
                    <a:pt x="374714" y="1050131"/>
                  </a:lnTo>
                  <a:lnTo>
                    <a:pt x="375666" y="1045274"/>
                  </a:lnTo>
                  <a:lnTo>
                    <a:pt x="374904" y="1038892"/>
                  </a:lnTo>
                  <a:lnTo>
                    <a:pt x="374047" y="1032605"/>
                  </a:lnTo>
                  <a:lnTo>
                    <a:pt x="368903" y="1030034"/>
                  </a:lnTo>
                  <a:lnTo>
                    <a:pt x="368903" y="1030034"/>
                  </a:lnTo>
                  <a:lnTo>
                    <a:pt x="378428" y="1028891"/>
                  </a:lnTo>
                  <a:lnTo>
                    <a:pt x="379381" y="1023938"/>
                  </a:lnTo>
                  <a:lnTo>
                    <a:pt x="374809" y="1013270"/>
                  </a:lnTo>
                  <a:lnTo>
                    <a:pt x="377571" y="1009745"/>
                  </a:lnTo>
                  <a:lnTo>
                    <a:pt x="374999" y="1002030"/>
                  </a:lnTo>
                  <a:lnTo>
                    <a:pt x="378714" y="1006316"/>
                  </a:lnTo>
                  <a:lnTo>
                    <a:pt x="378524" y="1004792"/>
                  </a:lnTo>
                  <a:lnTo>
                    <a:pt x="386429" y="1003745"/>
                  </a:lnTo>
                  <a:lnTo>
                    <a:pt x="389382" y="1001840"/>
                  </a:lnTo>
                  <a:lnTo>
                    <a:pt x="389191" y="1000220"/>
                  </a:lnTo>
                  <a:lnTo>
                    <a:pt x="392335" y="999839"/>
                  </a:lnTo>
                  <a:lnTo>
                    <a:pt x="392335" y="999839"/>
                  </a:lnTo>
                  <a:lnTo>
                    <a:pt x="391954" y="996696"/>
                  </a:lnTo>
                  <a:lnTo>
                    <a:pt x="396621" y="996029"/>
                  </a:lnTo>
                  <a:lnTo>
                    <a:pt x="394906" y="994696"/>
                  </a:lnTo>
                  <a:lnTo>
                    <a:pt x="394049" y="988409"/>
                  </a:lnTo>
                  <a:lnTo>
                    <a:pt x="395668" y="988124"/>
                  </a:lnTo>
                  <a:lnTo>
                    <a:pt x="399002" y="989362"/>
                  </a:lnTo>
                  <a:lnTo>
                    <a:pt x="400145" y="986028"/>
                  </a:lnTo>
                  <a:lnTo>
                    <a:pt x="406527" y="985171"/>
                  </a:lnTo>
                  <a:lnTo>
                    <a:pt x="408813" y="978503"/>
                  </a:lnTo>
                  <a:lnTo>
                    <a:pt x="416528" y="975932"/>
                  </a:lnTo>
                  <a:lnTo>
                    <a:pt x="419672" y="975455"/>
                  </a:lnTo>
                  <a:lnTo>
                    <a:pt x="419481" y="973931"/>
                  </a:lnTo>
                  <a:lnTo>
                    <a:pt x="422434" y="971931"/>
                  </a:lnTo>
                  <a:lnTo>
                    <a:pt x="422434" y="971931"/>
                  </a:lnTo>
                  <a:lnTo>
                    <a:pt x="430149" y="982123"/>
                  </a:lnTo>
                  <a:lnTo>
                    <a:pt x="433578" y="983361"/>
                  </a:lnTo>
                  <a:lnTo>
                    <a:pt x="436531" y="981361"/>
                  </a:lnTo>
                  <a:lnTo>
                    <a:pt x="444341" y="980313"/>
                  </a:lnTo>
                  <a:lnTo>
                    <a:pt x="451485" y="973074"/>
                  </a:lnTo>
                  <a:lnTo>
                    <a:pt x="456629" y="975551"/>
                  </a:lnTo>
                  <a:lnTo>
                    <a:pt x="456152" y="972407"/>
                  </a:lnTo>
                  <a:lnTo>
                    <a:pt x="469583" y="964311"/>
                  </a:lnTo>
                  <a:lnTo>
                    <a:pt x="465391" y="956786"/>
                  </a:lnTo>
                  <a:lnTo>
                    <a:pt x="473774" y="958977"/>
                  </a:lnTo>
                  <a:lnTo>
                    <a:pt x="476726" y="956977"/>
                  </a:lnTo>
                  <a:lnTo>
                    <a:pt x="480441" y="948500"/>
                  </a:lnTo>
                  <a:lnTo>
                    <a:pt x="478631" y="947166"/>
                  </a:lnTo>
                  <a:lnTo>
                    <a:pt x="479965" y="945356"/>
                  </a:lnTo>
                  <a:lnTo>
                    <a:pt x="480251" y="946880"/>
                  </a:lnTo>
                  <a:lnTo>
                    <a:pt x="484918" y="946309"/>
                  </a:lnTo>
                  <a:lnTo>
                    <a:pt x="489109" y="940975"/>
                  </a:lnTo>
                  <a:lnTo>
                    <a:pt x="501491" y="924973"/>
                  </a:lnTo>
                  <a:lnTo>
                    <a:pt x="503491" y="927926"/>
                  </a:lnTo>
                  <a:lnTo>
                    <a:pt x="502063" y="929735"/>
                  </a:lnTo>
                  <a:lnTo>
                    <a:pt x="502063" y="942499"/>
                  </a:lnTo>
                  <a:lnTo>
                    <a:pt x="511397" y="939737"/>
                  </a:lnTo>
                  <a:lnTo>
                    <a:pt x="514731" y="940880"/>
                  </a:lnTo>
                  <a:lnTo>
                    <a:pt x="520065" y="945071"/>
                  </a:lnTo>
                  <a:lnTo>
                    <a:pt x="523208" y="944690"/>
                  </a:lnTo>
                  <a:lnTo>
                    <a:pt x="533876" y="940118"/>
                  </a:lnTo>
                  <a:lnTo>
                    <a:pt x="551593" y="941070"/>
                  </a:lnTo>
                  <a:lnTo>
                    <a:pt x="556736" y="943547"/>
                  </a:lnTo>
                  <a:lnTo>
                    <a:pt x="559118" y="936879"/>
                  </a:lnTo>
                  <a:lnTo>
                    <a:pt x="559879" y="930307"/>
                  </a:lnTo>
                  <a:lnTo>
                    <a:pt x="561880" y="933355"/>
                  </a:lnTo>
                  <a:lnTo>
                    <a:pt x="565595" y="924782"/>
                  </a:lnTo>
                  <a:lnTo>
                    <a:pt x="567595" y="927735"/>
                  </a:lnTo>
                  <a:lnTo>
                    <a:pt x="566833" y="934307"/>
                  </a:lnTo>
                  <a:lnTo>
                    <a:pt x="569976" y="933926"/>
                  </a:lnTo>
                  <a:lnTo>
                    <a:pt x="572548" y="928783"/>
                  </a:lnTo>
                  <a:lnTo>
                    <a:pt x="575691" y="928307"/>
                  </a:lnTo>
                  <a:lnTo>
                    <a:pt x="583978" y="917639"/>
                  </a:lnTo>
                  <a:lnTo>
                    <a:pt x="589407" y="910590"/>
                  </a:lnTo>
                  <a:lnTo>
                    <a:pt x="591788" y="903827"/>
                  </a:lnTo>
                  <a:lnTo>
                    <a:pt x="594931" y="903446"/>
                  </a:lnTo>
                  <a:lnTo>
                    <a:pt x="600837" y="899446"/>
                  </a:lnTo>
                  <a:lnTo>
                    <a:pt x="603980" y="899065"/>
                  </a:lnTo>
                  <a:lnTo>
                    <a:pt x="607981" y="904970"/>
                  </a:lnTo>
                  <a:lnTo>
                    <a:pt x="609124" y="901637"/>
                  </a:lnTo>
                  <a:lnTo>
                    <a:pt x="610933" y="902970"/>
                  </a:lnTo>
                  <a:lnTo>
                    <a:pt x="617506" y="916591"/>
                  </a:lnTo>
                  <a:lnTo>
                    <a:pt x="616744" y="923163"/>
                  </a:lnTo>
                  <a:lnTo>
                    <a:pt x="618649" y="926116"/>
                  </a:lnTo>
                  <a:lnTo>
                    <a:pt x="618649" y="926116"/>
                  </a:lnTo>
                  <a:lnTo>
                    <a:pt x="635794" y="922306"/>
                  </a:lnTo>
                  <a:lnTo>
                    <a:pt x="636175" y="912590"/>
                  </a:lnTo>
                  <a:lnTo>
                    <a:pt x="639127" y="910590"/>
                  </a:lnTo>
                  <a:lnTo>
                    <a:pt x="636746" y="904494"/>
                  </a:lnTo>
                  <a:lnTo>
                    <a:pt x="642461" y="898970"/>
                  </a:lnTo>
                  <a:lnTo>
                    <a:pt x="646462" y="892112"/>
                  </a:lnTo>
                  <a:lnTo>
                    <a:pt x="652748" y="891254"/>
                  </a:lnTo>
                  <a:lnTo>
                    <a:pt x="668274" y="887635"/>
                  </a:lnTo>
                  <a:lnTo>
                    <a:pt x="671513" y="887254"/>
                  </a:lnTo>
                  <a:lnTo>
                    <a:pt x="670274" y="890588"/>
                  </a:lnTo>
                  <a:lnTo>
                    <a:pt x="679323" y="886301"/>
                  </a:lnTo>
                  <a:lnTo>
                    <a:pt x="680561" y="882872"/>
                  </a:lnTo>
                  <a:lnTo>
                    <a:pt x="685228" y="882301"/>
                  </a:lnTo>
                  <a:lnTo>
                    <a:pt x="689801" y="880110"/>
                  </a:lnTo>
                  <a:lnTo>
                    <a:pt x="690563" y="873633"/>
                  </a:lnTo>
                  <a:lnTo>
                    <a:pt x="693706" y="873252"/>
                  </a:lnTo>
                  <a:lnTo>
                    <a:pt x="693515" y="871633"/>
                  </a:lnTo>
                  <a:lnTo>
                    <a:pt x="696849" y="872776"/>
                  </a:lnTo>
                  <a:lnTo>
                    <a:pt x="699611" y="869251"/>
                  </a:lnTo>
                  <a:lnTo>
                    <a:pt x="700850" y="865918"/>
                  </a:lnTo>
                  <a:lnTo>
                    <a:pt x="699230" y="853250"/>
                  </a:lnTo>
                  <a:lnTo>
                    <a:pt x="696087" y="853631"/>
                  </a:lnTo>
                  <a:lnTo>
                    <a:pt x="697611" y="853440"/>
                  </a:lnTo>
                  <a:lnTo>
                    <a:pt x="697421" y="851916"/>
                  </a:lnTo>
                  <a:lnTo>
                    <a:pt x="703993" y="852678"/>
                  </a:lnTo>
                  <a:lnTo>
                    <a:pt x="704183" y="854202"/>
                  </a:lnTo>
                  <a:lnTo>
                    <a:pt x="710470" y="853440"/>
                  </a:lnTo>
                  <a:lnTo>
                    <a:pt x="710851" y="856583"/>
                  </a:lnTo>
                  <a:lnTo>
                    <a:pt x="723710" y="856583"/>
                  </a:lnTo>
                  <a:lnTo>
                    <a:pt x="726853" y="856202"/>
                  </a:lnTo>
                  <a:lnTo>
                    <a:pt x="726662" y="854583"/>
                  </a:lnTo>
                  <a:lnTo>
                    <a:pt x="724662" y="851630"/>
                  </a:lnTo>
                  <a:lnTo>
                    <a:pt x="726281" y="851440"/>
                  </a:lnTo>
                  <a:lnTo>
                    <a:pt x="725996" y="849821"/>
                  </a:lnTo>
                  <a:lnTo>
                    <a:pt x="724281" y="848487"/>
                  </a:lnTo>
                  <a:lnTo>
                    <a:pt x="726567" y="841724"/>
                  </a:lnTo>
                  <a:lnTo>
                    <a:pt x="722662" y="835819"/>
                  </a:lnTo>
                  <a:lnTo>
                    <a:pt x="719519" y="836295"/>
                  </a:lnTo>
                  <a:lnTo>
                    <a:pt x="717709" y="822008"/>
                  </a:lnTo>
                  <a:lnTo>
                    <a:pt x="725424" y="819436"/>
                  </a:lnTo>
                  <a:lnTo>
                    <a:pt x="723614" y="818102"/>
                  </a:lnTo>
                  <a:lnTo>
                    <a:pt x="728377" y="817531"/>
                  </a:lnTo>
                  <a:lnTo>
                    <a:pt x="730853" y="812387"/>
                  </a:lnTo>
                  <a:lnTo>
                    <a:pt x="733997" y="811911"/>
                  </a:lnTo>
                  <a:lnTo>
                    <a:pt x="736759" y="808387"/>
                  </a:lnTo>
                  <a:lnTo>
                    <a:pt x="744474" y="805815"/>
                  </a:lnTo>
                  <a:lnTo>
                    <a:pt x="750189" y="813054"/>
                  </a:lnTo>
                  <a:lnTo>
                    <a:pt x="753618" y="814292"/>
                  </a:lnTo>
                  <a:lnTo>
                    <a:pt x="752951" y="809530"/>
                  </a:lnTo>
                  <a:lnTo>
                    <a:pt x="756094" y="809149"/>
                  </a:lnTo>
                  <a:lnTo>
                    <a:pt x="755904" y="807530"/>
                  </a:lnTo>
                  <a:lnTo>
                    <a:pt x="768001" y="814007"/>
                  </a:lnTo>
                  <a:lnTo>
                    <a:pt x="777811" y="816007"/>
                  </a:lnTo>
                  <a:lnTo>
                    <a:pt x="779812" y="818960"/>
                  </a:lnTo>
                  <a:lnTo>
                    <a:pt x="782955" y="818578"/>
                  </a:lnTo>
                  <a:lnTo>
                    <a:pt x="783431" y="821722"/>
                  </a:lnTo>
                  <a:lnTo>
                    <a:pt x="784955" y="821531"/>
                  </a:lnTo>
                  <a:lnTo>
                    <a:pt x="797814" y="821436"/>
                  </a:lnTo>
                  <a:lnTo>
                    <a:pt x="812197" y="821246"/>
                  </a:lnTo>
                  <a:lnTo>
                    <a:pt x="812578" y="824389"/>
                  </a:lnTo>
                  <a:lnTo>
                    <a:pt x="819150" y="825151"/>
                  </a:lnTo>
                  <a:lnTo>
                    <a:pt x="828770" y="825532"/>
                  </a:lnTo>
                  <a:lnTo>
                    <a:pt x="830580" y="826865"/>
                  </a:lnTo>
                  <a:lnTo>
                    <a:pt x="831914" y="825151"/>
                  </a:lnTo>
                  <a:lnTo>
                    <a:pt x="847725" y="823151"/>
                  </a:lnTo>
                  <a:lnTo>
                    <a:pt x="849059" y="821341"/>
                  </a:lnTo>
                  <a:lnTo>
                    <a:pt x="857440" y="823532"/>
                  </a:lnTo>
                  <a:lnTo>
                    <a:pt x="859727" y="816769"/>
                  </a:lnTo>
                  <a:lnTo>
                    <a:pt x="857536" y="812197"/>
                  </a:lnTo>
                  <a:lnTo>
                    <a:pt x="867632" y="815816"/>
                  </a:lnTo>
                  <a:lnTo>
                    <a:pt x="866299" y="817531"/>
                  </a:lnTo>
                  <a:lnTo>
                    <a:pt x="870204" y="823436"/>
                  </a:lnTo>
                  <a:lnTo>
                    <a:pt x="871442" y="820103"/>
                  </a:lnTo>
                  <a:lnTo>
                    <a:pt x="878300" y="824008"/>
                  </a:lnTo>
                  <a:lnTo>
                    <a:pt x="877919" y="820865"/>
                  </a:lnTo>
                  <a:lnTo>
                    <a:pt x="881253" y="822008"/>
                  </a:lnTo>
                  <a:lnTo>
                    <a:pt x="882206" y="817150"/>
                  </a:lnTo>
                  <a:lnTo>
                    <a:pt x="897827" y="826389"/>
                  </a:lnTo>
                  <a:lnTo>
                    <a:pt x="902780" y="827342"/>
                  </a:lnTo>
                  <a:lnTo>
                    <a:pt x="903160" y="830485"/>
                  </a:lnTo>
                  <a:lnTo>
                    <a:pt x="904970" y="831818"/>
                  </a:lnTo>
                  <a:lnTo>
                    <a:pt x="908494" y="821817"/>
                  </a:lnTo>
                  <a:lnTo>
                    <a:pt x="910114" y="821626"/>
                  </a:lnTo>
                  <a:lnTo>
                    <a:pt x="914400" y="817817"/>
                  </a:lnTo>
                  <a:lnTo>
                    <a:pt x="914019" y="814673"/>
                  </a:lnTo>
                  <a:lnTo>
                    <a:pt x="917734" y="806196"/>
                  </a:lnTo>
                  <a:lnTo>
                    <a:pt x="919544" y="807530"/>
                  </a:lnTo>
                  <a:lnTo>
                    <a:pt x="923639" y="802196"/>
                  </a:lnTo>
                  <a:lnTo>
                    <a:pt x="930783" y="807720"/>
                  </a:lnTo>
                  <a:lnTo>
                    <a:pt x="935736" y="808673"/>
                  </a:lnTo>
                  <a:lnTo>
                    <a:pt x="937069" y="806958"/>
                  </a:lnTo>
                  <a:lnTo>
                    <a:pt x="936879" y="805339"/>
                  </a:lnTo>
                  <a:lnTo>
                    <a:pt x="942023" y="807911"/>
                  </a:lnTo>
                  <a:lnTo>
                    <a:pt x="946785" y="807339"/>
                  </a:lnTo>
                  <a:lnTo>
                    <a:pt x="944594" y="802767"/>
                  </a:lnTo>
                  <a:lnTo>
                    <a:pt x="956024" y="804482"/>
                  </a:lnTo>
                  <a:lnTo>
                    <a:pt x="955453" y="799814"/>
                  </a:lnTo>
                  <a:lnTo>
                    <a:pt x="958786" y="800957"/>
                  </a:lnTo>
                  <a:lnTo>
                    <a:pt x="960120" y="799148"/>
                  </a:lnTo>
                  <a:lnTo>
                    <a:pt x="966692" y="799910"/>
                  </a:lnTo>
                  <a:lnTo>
                    <a:pt x="966883" y="801529"/>
                  </a:lnTo>
                  <a:lnTo>
                    <a:pt x="970217" y="802672"/>
                  </a:lnTo>
                  <a:lnTo>
                    <a:pt x="970407" y="804291"/>
                  </a:lnTo>
                  <a:lnTo>
                    <a:pt x="973741" y="805434"/>
                  </a:lnTo>
                  <a:lnTo>
                    <a:pt x="974407" y="810197"/>
                  </a:lnTo>
                  <a:lnTo>
                    <a:pt x="975551" y="806863"/>
                  </a:lnTo>
                  <a:lnTo>
                    <a:pt x="978884" y="808006"/>
                  </a:lnTo>
                  <a:lnTo>
                    <a:pt x="975360" y="805244"/>
                  </a:lnTo>
                  <a:lnTo>
                    <a:pt x="978503" y="804863"/>
                  </a:lnTo>
                  <a:lnTo>
                    <a:pt x="980313" y="806196"/>
                  </a:lnTo>
                  <a:lnTo>
                    <a:pt x="978884" y="808006"/>
                  </a:lnTo>
                  <a:lnTo>
                    <a:pt x="979075" y="809625"/>
                  </a:lnTo>
                  <a:lnTo>
                    <a:pt x="983456" y="805815"/>
                  </a:lnTo>
                  <a:lnTo>
                    <a:pt x="984980" y="805625"/>
                  </a:lnTo>
                  <a:lnTo>
                    <a:pt x="990124" y="795338"/>
                  </a:lnTo>
                  <a:lnTo>
                    <a:pt x="988505" y="795528"/>
                  </a:lnTo>
                  <a:lnTo>
                    <a:pt x="989552" y="790575"/>
                  </a:lnTo>
                  <a:lnTo>
                    <a:pt x="987933" y="790861"/>
                  </a:lnTo>
                  <a:lnTo>
                    <a:pt x="989362" y="789051"/>
                  </a:lnTo>
                  <a:lnTo>
                    <a:pt x="985933" y="787908"/>
                  </a:lnTo>
                  <a:lnTo>
                    <a:pt x="987361" y="786098"/>
                  </a:lnTo>
                  <a:lnTo>
                    <a:pt x="986123" y="776573"/>
                  </a:lnTo>
                  <a:lnTo>
                    <a:pt x="992886" y="778955"/>
                  </a:lnTo>
                  <a:lnTo>
                    <a:pt x="992600" y="764572"/>
                  </a:lnTo>
                  <a:lnTo>
                    <a:pt x="992029" y="759809"/>
                  </a:lnTo>
                  <a:lnTo>
                    <a:pt x="993553" y="759619"/>
                  </a:lnTo>
                  <a:lnTo>
                    <a:pt x="994791" y="756285"/>
                  </a:lnTo>
                  <a:lnTo>
                    <a:pt x="991172" y="753523"/>
                  </a:lnTo>
                  <a:lnTo>
                    <a:pt x="987838" y="752380"/>
                  </a:lnTo>
                  <a:lnTo>
                    <a:pt x="987266" y="747617"/>
                  </a:lnTo>
                  <a:lnTo>
                    <a:pt x="983742" y="744855"/>
                  </a:lnTo>
                  <a:lnTo>
                    <a:pt x="983266" y="741712"/>
                  </a:lnTo>
                  <a:lnTo>
                    <a:pt x="987647" y="737902"/>
                  </a:lnTo>
                  <a:lnTo>
                    <a:pt x="989648" y="740855"/>
                  </a:lnTo>
                  <a:lnTo>
                    <a:pt x="992600" y="738950"/>
                  </a:lnTo>
                  <a:lnTo>
                    <a:pt x="988981" y="736187"/>
                  </a:lnTo>
                  <a:lnTo>
                    <a:pt x="988600" y="733044"/>
                  </a:lnTo>
                  <a:lnTo>
                    <a:pt x="985076" y="730282"/>
                  </a:lnTo>
                  <a:lnTo>
                    <a:pt x="986219" y="726853"/>
                  </a:lnTo>
                  <a:lnTo>
                    <a:pt x="988028" y="728282"/>
                  </a:lnTo>
                  <a:lnTo>
                    <a:pt x="987552" y="725138"/>
                  </a:lnTo>
                  <a:lnTo>
                    <a:pt x="985838" y="723710"/>
                  </a:lnTo>
                  <a:lnTo>
                    <a:pt x="985647" y="722186"/>
                  </a:lnTo>
                  <a:lnTo>
                    <a:pt x="982027" y="719423"/>
                  </a:lnTo>
                  <a:lnTo>
                    <a:pt x="981837" y="717804"/>
                  </a:lnTo>
                  <a:lnTo>
                    <a:pt x="984790" y="715804"/>
                  </a:lnTo>
                  <a:lnTo>
                    <a:pt x="987933" y="715423"/>
                  </a:lnTo>
                  <a:lnTo>
                    <a:pt x="989171" y="712089"/>
                  </a:lnTo>
                  <a:lnTo>
                    <a:pt x="992124" y="710089"/>
                  </a:lnTo>
                  <a:lnTo>
                    <a:pt x="1004792" y="721328"/>
                  </a:lnTo>
                  <a:lnTo>
                    <a:pt x="1019937" y="727424"/>
                  </a:lnTo>
                  <a:lnTo>
                    <a:pt x="1021175" y="724091"/>
                  </a:lnTo>
                  <a:lnTo>
                    <a:pt x="1024509" y="725234"/>
                  </a:lnTo>
                  <a:lnTo>
                    <a:pt x="1020889" y="722471"/>
                  </a:lnTo>
                  <a:lnTo>
                    <a:pt x="1023652" y="718947"/>
                  </a:lnTo>
                  <a:lnTo>
                    <a:pt x="1021937" y="717518"/>
                  </a:lnTo>
                  <a:lnTo>
                    <a:pt x="1017175" y="718090"/>
                  </a:lnTo>
                  <a:lnTo>
                    <a:pt x="1015365" y="716756"/>
                  </a:lnTo>
                  <a:lnTo>
                    <a:pt x="1019556" y="711422"/>
                  </a:lnTo>
                  <a:lnTo>
                    <a:pt x="1023080" y="714185"/>
                  </a:lnTo>
                  <a:lnTo>
                    <a:pt x="1024223" y="710851"/>
                  </a:lnTo>
                  <a:lnTo>
                    <a:pt x="1020889" y="709613"/>
                  </a:lnTo>
                  <a:lnTo>
                    <a:pt x="1022509" y="709422"/>
                  </a:lnTo>
                  <a:lnTo>
                    <a:pt x="1026985" y="707231"/>
                  </a:lnTo>
                  <a:lnTo>
                    <a:pt x="1024985" y="691515"/>
                  </a:lnTo>
                  <a:lnTo>
                    <a:pt x="1035653" y="699707"/>
                  </a:lnTo>
                  <a:lnTo>
                    <a:pt x="1043559" y="698754"/>
                  </a:lnTo>
                  <a:lnTo>
                    <a:pt x="1042606" y="690848"/>
                  </a:lnTo>
                  <a:lnTo>
                    <a:pt x="1051274" y="696182"/>
                  </a:lnTo>
                  <a:lnTo>
                    <a:pt x="1059371" y="696754"/>
                  </a:lnTo>
                  <a:lnTo>
                    <a:pt x="1057942" y="685705"/>
                  </a:lnTo>
                  <a:lnTo>
                    <a:pt x="1059085" y="682276"/>
                  </a:lnTo>
                  <a:lnTo>
                    <a:pt x="1058513" y="677609"/>
                  </a:lnTo>
                  <a:lnTo>
                    <a:pt x="1059656" y="674275"/>
                  </a:lnTo>
                  <a:lnTo>
                    <a:pt x="1054799" y="673227"/>
                  </a:lnTo>
                  <a:lnTo>
                    <a:pt x="1057942" y="672846"/>
                  </a:lnTo>
                  <a:lnTo>
                    <a:pt x="1058323" y="663226"/>
                  </a:lnTo>
                  <a:lnTo>
                    <a:pt x="1047560" y="642080"/>
                  </a:lnTo>
                  <a:lnTo>
                    <a:pt x="1060037" y="638937"/>
                  </a:lnTo>
                  <a:lnTo>
                    <a:pt x="1056989" y="628078"/>
                  </a:lnTo>
                  <a:lnTo>
                    <a:pt x="1068896" y="632936"/>
                  </a:lnTo>
                  <a:lnTo>
                    <a:pt x="1066324" y="625316"/>
                  </a:lnTo>
                  <a:lnTo>
                    <a:pt x="1064133" y="620744"/>
                  </a:lnTo>
                  <a:lnTo>
                    <a:pt x="1060704" y="619601"/>
                  </a:lnTo>
                  <a:lnTo>
                    <a:pt x="1061276" y="611505"/>
                  </a:lnTo>
                  <a:lnTo>
                    <a:pt x="1056418" y="610457"/>
                  </a:lnTo>
                  <a:lnTo>
                    <a:pt x="1057751" y="608743"/>
                  </a:lnTo>
                  <a:lnTo>
                    <a:pt x="1057561" y="607124"/>
                  </a:lnTo>
                  <a:lnTo>
                    <a:pt x="1054418" y="607505"/>
                  </a:lnTo>
                  <a:lnTo>
                    <a:pt x="1049465" y="606552"/>
                  </a:lnTo>
                  <a:lnTo>
                    <a:pt x="1049655" y="608171"/>
                  </a:lnTo>
                  <a:lnTo>
                    <a:pt x="1047845" y="606743"/>
                  </a:lnTo>
                  <a:lnTo>
                    <a:pt x="1047845" y="606743"/>
                  </a:lnTo>
                  <a:lnTo>
                    <a:pt x="1047655" y="605219"/>
                  </a:lnTo>
                  <a:lnTo>
                    <a:pt x="1046321" y="606933"/>
                  </a:lnTo>
                  <a:lnTo>
                    <a:pt x="1038035" y="604838"/>
                  </a:lnTo>
                  <a:lnTo>
                    <a:pt x="1038797" y="598265"/>
                  </a:lnTo>
                  <a:lnTo>
                    <a:pt x="1037368" y="600075"/>
                  </a:lnTo>
                  <a:lnTo>
                    <a:pt x="1035463" y="597122"/>
                  </a:lnTo>
                  <a:lnTo>
                    <a:pt x="1036415" y="592169"/>
                  </a:lnTo>
                  <a:lnTo>
                    <a:pt x="1036225" y="590645"/>
                  </a:lnTo>
                  <a:lnTo>
                    <a:pt x="1034606" y="590836"/>
                  </a:lnTo>
                  <a:lnTo>
                    <a:pt x="1033081" y="591026"/>
                  </a:lnTo>
                  <a:lnTo>
                    <a:pt x="1034415" y="589217"/>
                  </a:lnTo>
                  <a:lnTo>
                    <a:pt x="1032605" y="587883"/>
                  </a:lnTo>
                  <a:lnTo>
                    <a:pt x="1033844" y="584549"/>
                  </a:lnTo>
                  <a:lnTo>
                    <a:pt x="1030700" y="584930"/>
                  </a:lnTo>
                  <a:lnTo>
                    <a:pt x="1032034" y="583121"/>
                  </a:lnTo>
                  <a:lnTo>
                    <a:pt x="1030510" y="583311"/>
                  </a:lnTo>
                  <a:lnTo>
                    <a:pt x="1027843" y="575596"/>
                  </a:lnTo>
                  <a:lnTo>
                    <a:pt x="1020985" y="571691"/>
                  </a:lnTo>
                  <a:lnTo>
                    <a:pt x="1022128" y="568357"/>
                  </a:lnTo>
                  <a:lnTo>
                    <a:pt x="1020985" y="558927"/>
                  </a:lnTo>
                  <a:lnTo>
                    <a:pt x="1018985" y="555974"/>
                  </a:lnTo>
                  <a:lnTo>
                    <a:pt x="1018603" y="552736"/>
                  </a:lnTo>
                  <a:lnTo>
                    <a:pt x="1016984" y="553022"/>
                  </a:lnTo>
                  <a:lnTo>
                    <a:pt x="1015746" y="543497"/>
                  </a:lnTo>
                  <a:lnTo>
                    <a:pt x="1012603" y="543878"/>
                  </a:lnTo>
                  <a:lnTo>
                    <a:pt x="1014031" y="542163"/>
                  </a:lnTo>
                  <a:lnTo>
                    <a:pt x="1012412" y="542354"/>
                  </a:lnTo>
                  <a:lnTo>
                    <a:pt x="1013174" y="535781"/>
                  </a:lnTo>
                  <a:lnTo>
                    <a:pt x="1003078" y="532257"/>
                  </a:lnTo>
                  <a:lnTo>
                    <a:pt x="1004316" y="528923"/>
                  </a:lnTo>
                  <a:lnTo>
                    <a:pt x="1000315" y="523018"/>
                  </a:lnTo>
                  <a:lnTo>
                    <a:pt x="995363" y="522065"/>
                  </a:lnTo>
                  <a:lnTo>
                    <a:pt x="997934" y="516922"/>
                  </a:lnTo>
                  <a:lnTo>
                    <a:pt x="994981" y="506063"/>
                  </a:lnTo>
                  <a:lnTo>
                    <a:pt x="987838" y="500539"/>
                  </a:lnTo>
                  <a:lnTo>
                    <a:pt x="987457" y="497396"/>
                  </a:lnTo>
                  <a:lnTo>
                    <a:pt x="988790" y="495586"/>
                  </a:lnTo>
                  <a:lnTo>
                    <a:pt x="981742" y="490157"/>
                  </a:lnTo>
                  <a:lnTo>
                    <a:pt x="985266" y="480060"/>
                  </a:lnTo>
                  <a:lnTo>
                    <a:pt x="984790" y="476917"/>
                  </a:lnTo>
                  <a:lnTo>
                    <a:pt x="982027" y="467582"/>
                  </a:lnTo>
                  <a:lnTo>
                    <a:pt x="981837" y="466058"/>
                  </a:lnTo>
                  <a:lnTo>
                    <a:pt x="981456" y="462915"/>
                  </a:lnTo>
                  <a:lnTo>
                    <a:pt x="982218" y="456343"/>
                  </a:lnTo>
                  <a:lnTo>
                    <a:pt x="980599" y="456533"/>
                  </a:lnTo>
                  <a:lnTo>
                    <a:pt x="975931" y="457200"/>
                  </a:lnTo>
                  <a:lnTo>
                    <a:pt x="970978" y="456248"/>
                  </a:lnTo>
                  <a:lnTo>
                    <a:pt x="971169" y="444913"/>
                  </a:lnTo>
                  <a:lnTo>
                    <a:pt x="977456" y="431292"/>
                  </a:lnTo>
                  <a:lnTo>
                    <a:pt x="979170" y="432721"/>
                  </a:lnTo>
                  <a:lnTo>
                    <a:pt x="993553" y="419672"/>
                  </a:lnTo>
                  <a:lnTo>
                    <a:pt x="992981" y="414909"/>
                  </a:lnTo>
                  <a:lnTo>
                    <a:pt x="986028" y="411004"/>
                  </a:lnTo>
                  <a:lnTo>
                    <a:pt x="986600" y="402908"/>
                  </a:lnTo>
                  <a:lnTo>
                    <a:pt x="990790" y="397574"/>
                  </a:lnTo>
                  <a:lnTo>
                    <a:pt x="989933" y="391192"/>
                  </a:lnTo>
                  <a:lnTo>
                    <a:pt x="993839" y="384334"/>
                  </a:lnTo>
                  <a:lnTo>
                    <a:pt x="1003173" y="381572"/>
                  </a:lnTo>
                  <a:lnTo>
                    <a:pt x="1012222" y="377190"/>
                  </a:lnTo>
                  <a:lnTo>
                    <a:pt x="1015936" y="368713"/>
                  </a:lnTo>
                  <a:lnTo>
                    <a:pt x="1015746" y="367094"/>
                  </a:lnTo>
                  <a:lnTo>
                    <a:pt x="1018318" y="361950"/>
                  </a:lnTo>
                  <a:lnTo>
                    <a:pt x="1020699" y="368046"/>
                  </a:lnTo>
                  <a:lnTo>
                    <a:pt x="1019461" y="371475"/>
                  </a:lnTo>
                  <a:lnTo>
                    <a:pt x="1021080" y="371189"/>
                  </a:lnTo>
                  <a:lnTo>
                    <a:pt x="1027367" y="370427"/>
                  </a:lnTo>
                  <a:lnTo>
                    <a:pt x="1030129" y="366903"/>
                  </a:lnTo>
                  <a:lnTo>
                    <a:pt x="1021271" y="359950"/>
                  </a:lnTo>
                  <a:lnTo>
                    <a:pt x="1022032" y="353473"/>
                  </a:lnTo>
                  <a:lnTo>
                    <a:pt x="1024985" y="351473"/>
                  </a:lnTo>
                  <a:lnTo>
                    <a:pt x="1025938" y="346520"/>
                  </a:lnTo>
                  <a:lnTo>
                    <a:pt x="1027462" y="333566"/>
                  </a:lnTo>
                  <a:lnTo>
                    <a:pt x="1032986" y="326422"/>
                  </a:lnTo>
                  <a:lnTo>
                    <a:pt x="1032796" y="324803"/>
                  </a:lnTo>
                  <a:lnTo>
                    <a:pt x="1037558" y="324231"/>
                  </a:lnTo>
                  <a:lnTo>
                    <a:pt x="1042702" y="326803"/>
                  </a:lnTo>
                  <a:lnTo>
                    <a:pt x="1048036" y="318040"/>
                  </a:lnTo>
                  <a:lnTo>
                    <a:pt x="1042416" y="312420"/>
                  </a:lnTo>
                  <a:lnTo>
                    <a:pt x="1043654" y="308991"/>
                  </a:lnTo>
                  <a:lnTo>
                    <a:pt x="1049560" y="305086"/>
                  </a:lnTo>
                  <a:lnTo>
                    <a:pt x="1049369" y="303467"/>
                  </a:lnTo>
                  <a:lnTo>
                    <a:pt x="1049179" y="301943"/>
                  </a:lnTo>
                  <a:lnTo>
                    <a:pt x="1047369" y="300514"/>
                  </a:lnTo>
                  <a:lnTo>
                    <a:pt x="1045750" y="300704"/>
                  </a:lnTo>
                  <a:lnTo>
                    <a:pt x="1044035" y="299371"/>
                  </a:lnTo>
                  <a:lnTo>
                    <a:pt x="1044988" y="294418"/>
                  </a:lnTo>
                  <a:lnTo>
                    <a:pt x="1043178" y="293084"/>
                  </a:lnTo>
                  <a:lnTo>
                    <a:pt x="1045750" y="287941"/>
                  </a:lnTo>
                  <a:lnTo>
                    <a:pt x="1049274" y="290703"/>
                  </a:lnTo>
                  <a:lnTo>
                    <a:pt x="1048893" y="287465"/>
                  </a:lnTo>
                  <a:lnTo>
                    <a:pt x="1045559" y="286322"/>
                  </a:lnTo>
                  <a:lnTo>
                    <a:pt x="1044131" y="288131"/>
                  </a:lnTo>
                  <a:lnTo>
                    <a:pt x="1040797" y="286893"/>
                  </a:lnTo>
                  <a:lnTo>
                    <a:pt x="1042226" y="285179"/>
                  </a:lnTo>
                  <a:lnTo>
                    <a:pt x="1038415" y="280797"/>
                  </a:lnTo>
                  <a:lnTo>
                    <a:pt x="1044511" y="278416"/>
                  </a:lnTo>
                  <a:lnTo>
                    <a:pt x="1050036" y="284131"/>
                  </a:lnTo>
                  <a:lnTo>
                    <a:pt x="1054227" y="278797"/>
                  </a:lnTo>
                  <a:lnTo>
                    <a:pt x="1061942" y="276225"/>
                  </a:lnTo>
                  <a:lnTo>
                    <a:pt x="1063657" y="277559"/>
                  </a:lnTo>
                  <a:lnTo>
                    <a:pt x="1066800" y="277178"/>
                  </a:lnTo>
                  <a:lnTo>
                    <a:pt x="1065848" y="282131"/>
                  </a:lnTo>
                  <a:lnTo>
                    <a:pt x="1063085" y="285655"/>
                  </a:lnTo>
                  <a:lnTo>
                    <a:pt x="1067657" y="283464"/>
                  </a:lnTo>
                  <a:lnTo>
                    <a:pt x="1069372" y="284893"/>
                  </a:lnTo>
                  <a:lnTo>
                    <a:pt x="1070801" y="283083"/>
                  </a:lnTo>
                  <a:lnTo>
                    <a:pt x="1073944" y="282702"/>
                  </a:lnTo>
                  <a:lnTo>
                    <a:pt x="1082611" y="288036"/>
                  </a:lnTo>
                  <a:lnTo>
                    <a:pt x="1084993" y="294132"/>
                  </a:lnTo>
                  <a:lnTo>
                    <a:pt x="1093280" y="296323"/>
                  </a:lnTo>
                  <a:lnTo>
                    <a:pt x="1095280" y="299276"/>
                  </a:lnTo>
                  <a:lnTo>
                    <a:pt x="1101661" y="298418"/>
                  </a:lnTo>
                  <a:lnTo>
                    <a:pt x="1105376" y="302800"/>
                  </a:lnTo>
                  <a:lnTo>
                    <a:pt x="1106329" y="297847"/>
                  </a:lnTo>
                  <a:lnTo>
                    <a:pt x="1106519" y="299371"/>
                  </a:lnTo>
                  <a:lnTo>
                    <a:pt x="1111282" y="298799"/>
                  </a:lnTo>
                  <a:lnTo>
                    <a:pt x="1118997" y="296228"/>
                  </a:lnTo>
                  <a:lnTo>
                    <a:pt x="1121093" y="287941"/>
                  </a:lnTo>
                  <a:lnTo>
                    <a:pt x="1119950" y="278416"/>
                  </a:lnTo>
                  <a:lnTo>
                    <a:pt x="1122426" y="273272"/>
                  </a:lnTo>
                  <a:lnTo>
                    <a:pt x="1121474" y="265462"/>
                  </a:lnTo>
                  <a:lnTo>
                    <a:pt x="1125760" y="261652"/>
                  </a:lnTo>
                  <a:lnTo>
                    <a:pt x="1123188" y="253937"/>
                  </a:lnTo>
                  <a:lnTo>
                    <a:pt x="1124426" y="250603"/>
                  </a:lnTo>
                  <a:lnTo>
                    <a:pt x="1139190" y="253556"/>
                  </a:lnTo>
                  <a:lnTo>
                    <a:pt x="1143572" y="249746"/>
                  </a:lnTo>
                  <a:lnTo>
                    <a:pt x="1148239" y="249174"/>
                  </a:lnTo>
                  <a:lnTo>
                    <a:pt x="1151192" y="247174"/>
                  </a:lnTo>
                  <a:lnTo>
                    <a:pt x="1158716" y="230219"/>
                  </a:lnTo>
                  <a:lnTo>
                    <a:pt x="1159288" y="222123"/>
                  </a:lnTo>
                  <a:lnTo>
                    <a:pt x="1162050" y="218599"/>
                  </a:lnTo>
                  <a:lnTo>
                    <a:pt x="1168813" y="196882"/>
                  </a:lnTo>
                  <a:lnTo>
                    <a:pt x="1171956" y="183642"/>
                  </a:lnTo>
                  <a:lnTo>
                    <a:pt x="1182243" y="175927"/>
                  </a:lnTo>
                  <a:lnTo>
                    <a:pt x="1182529" y="153353"/>
                  </a:lnTo>
                  <a:lnTo>
                    <a:pt x="1180148" y="147257"/>
                  </a:lnTo>
                  <a:lnTo>
                    <a:pt x="1180148" y="147257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5" name="Volný tvar: obrazec 24">
              <a:extLst>
                <a:ext uri="{FF2B5EF4-FFF2-40B4-BE49-F238E27FC236}">
                  <a16:creationId xmlns:a16="http://schemas.microsoft.com/office/drawing/2014/main" id="{7432A541-4ECE-B9BA-D289-5EA65630F5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15107" y="2323813"/>
              <a:ext cx="1029843" cy="845819"/>
            </a:xfrm>
            <a:custGeom>
              <a:avLst/>
              <a:gdLst>
                <a:gd name="connsiteX0" fmla="*/ 1029843 w 1029843"/>
                <a:gd name="connsiteY0" fmla="*/ 713994 h 845819"/>
                <a:gd name="connsiteX1" fmla="*/ 1026319 w 1029843"/>
                <a:gd name="connsiteY1" fmla="*/ 711232 h 845819"/>
                <a:gd name="connsiteX2" fmla="*/ 1024128 w 1029843"/>
                <a:gd name="connsiteY2" fmla="*/ 706660 h 845819"/>
                <a:gd name="connsiteX3" fmla="*/ 1013651 w 1029843"/>
                <a:gd name="connsiteY3" fmla="*/ 699992 h 845819"/>
                <a:gd name="connsiteX4" fmla="*/ 1011079 w 1029843"/>
                <a:gd name="connsiteY4" fmla="*/ 692277 h 845819"/>
                <a:gd name="connsiteX5" fmla="*/ 1010888 w 1029843"/>
                <a:gd name="connsiteY5" fmla="*/ 690753 h 845819"/>
                <a:gd name="connsiteX6" fmla="*/ 1014603 w 1029843"/>
                <a:gd name="connsiteY6" fmla="*/ 682276 h 845819"/>
                <a:gd name="connsiteX7" fmla="*/ 1012412 w 1029843"/>
                <a:gd name="connsiteY7" fmla="*/ 677704 h 845819"/>
                <a:gd name="connsiteX8" fmla="*/ 1009079 w 1029843"/>
                <a:gd name="connsiteY8" fmla="*/ 676561 h 845819"/>
                <a:gd name="connsiteX9" fmla="*/ 1010222 w 1029843"/>
                <a:gd name="connsiteY9" fmla="*/ 673132 h 845819"/>
                <a:gd name="connsiteX10" fmla="*/ 1007650 w 1029843"/>
                <a:gd name="connsiteY10" fmla="*/ 665512 h 845819"/>
                <a:gd name="connsiteX11" fmla="*/ 1008602 w 1029843"/>
                <a:gd name="connsiteY11" fmla="*/ 660559 h 845819"/>
                <a:gd name="connsiteX12" fmla="*/ 1008031 w 1029843"/>
                <a:gd name="connsiteY12" fmla="*/ 655796 h 845819"/>
                <a:gd name="connsiteX13" fmla="*/ 1010984 w 1029843"/>
                <a:gd name="connsiteY13" fmla="*/ 653796 h 845819"/>
                <a:gd name="connsiteX14" fmla="*/ 1012126 w 1029843"/>
                <a:gd name="connsiteY14" fmla="*/ 650462 h 845819"/>
                <a:gd name="connsiteX15" fmla="*/ 1009555 w 1029843"/>
                <a:gd name="connsiteY15" fmla="*/ 642747 h 845819"/>
                <a:gd name="connsiteX16" fmla="*/ 1006412 w 1029843"/>
                <a:gd name="connsiteY16" fmla="*/ 643223 h 845819"/>
                <a:gd name="connsiteX17" fmla="*/ 1008793 w 1029843"/>
                <a:gd name="connsiteY17" fmla="*/ 636461 h 845819"/>
                <a:gd name="connsiteX18" fmla="*/ 1003649 w 1029843"/>
                <a:gd name="connsiteY18" fmla="*/ 633889 h 845819"/>
                <a:gd name="connsiteX19" fmla="*/ 1002601 w 1029843"/>
                <a:gd name="connsiteY19" fmla="*/ 625983 h 845819"/>
                <a:gd name="connsiteX20" fmla="*/ 995458 w 1029843"/>
                <a:gd name="connsiteY20" fmla="*/ 620554 h 845819"/>
                <a:gd name="connsiteX21" fmla="*/ 994886 w 1029843"/>
                <a:gd name="connsiteY21" fmla="*/ 615791 h 845819"/>
                <a:gd name="connsiteX22" fmla="*/ 988600 w 1029843"/>
                <a:gd name="connsiteY22" fmla="*/ 616553 h 845819"/>
                <a:gd name="connsiteX23" fmla="*/ 983647 w 1029843"/>
                <a:gd name="connsiteY23" fmla="*/ 615601 h 845819"/>
                <a:gd name="connsiteX24" fmla="*/ 977551 w 1029843"/>
                <a:gd name="connsiteY24" fmla="*/ 605123 h 845819"/>
                <a:gd name="connsiteX25" fmla="*/ 978503 w 1029843"/>
                <a:gd name="connsiteY25" fmla="*/ 600265 h 845819"/>
                <a:gd name="connsiteX26" fmla="*/ 973550 w 1029843"/>
                <a:gd name="connsiteY26" fmla="*/ 599218 h 845819"/>
                <a:gd name="connsiteX27" fmla="*/ 972502 w 1029843"/>
                <a:gd name="connsiteY27" fmla="*/ 591407 h 845819"/>
                <a:gd name="connsiteX28" fmla="*/ 969169 w 1029843"/>
                <a:gd name="connsiteY28" fmla="*/ 590169 h 845819"/>
                <a:gd name="connsiteX29" fmla="*/ 964406 w 1029843"/>
                <a:gd name="connsiteY29" fmla="*/ 590836 h 845819"/>
                <a:gd name="connsiteX30" fmla="*/ 962501 w 1029843"/>
                <a:gd name="connsiteY30" fmla="*/ 587788 h 845819"/>
                <a:gd name="connsiteX31" fmla="*/ 960692 w 1029843"/>
                <a:gd name="connsiteY31" fmla="*/ 586454 h 845819"/>
                <a:gd name="connsiteX32" fmla="*/ 960120 w 1029843"/>
                <a:gd name="connsiteY32" fmla="*/ 581692 h 845819"/>
                <a:gd name="connsiteX33" fmla="*/ 953167 w 1029843"/>
                <a:gd name="connsiteY33" fmla="*/ 577786 h 845819"/>
                <a:gd name="connsiteX34" fmla="*/ 952595 w 1029843"/>
                <a:gd name="connsiteY34" fmla="*/ 573024 h 845819"/>
                <a:gd name="connsiteX35" fmla="*/ 943070 w 1029843"/>
                <a:gd name="connsiteY35" fmla="*/ 561404 h 845819"/>
                <a:gd name="connsiteX36" fmla="*/ 944213 w 1029843"/>
                <a:gd name="connsiteY36" fmla="*/ 558070 h 845819"/>
                <a:gd name="connsiteX37" fmla="*/ 942023 w 1029843"/>
                <a:gd name="connsiteY37" fmla="*/ 553593 h 845819"/>
                <a:gd name="connsiteX38" fmla="*/ 941642 w 1029843"/>
                <a:gd name="connsiteY38" fmla="*/ 550355 h 845819"/>
                <a:gd name="connsiteX39" fmla="*/ 930783 w 1029843"/>
                <a:gd name="connsiteY39" fmla="*/ 540544 h 845819"/>
                <a:gd name="connsiteX40" fmla="*/ 926401 w 1029843"/>
                <a:gd name="connsiteY40" fmla="*/ 531495 h 845819"/>
                <a:gd name="connsiteX41" fmla="*/ 922687 w 1029843"/>
                <a:gd name="connsiteY41" fmla="*/ 527113 h 845819"/>
                <a:gd name="connsiteX42" fmla="*/ 922020 w 1029843"/>
                <a:gd name="connsiteY42" fmla="*/ 522446 h 845819"/>
                <a:gd name="connsiteX43" fmla="*/ 918305 w 1029843"/>
                <a:gd name="connsiteY43" fmla="*/ 518065 h 845819"/>
                <a:gd name="connsiteX44" fmla="*/ 907256 w 1029843"/>
                <a:gd name="connsiteY44" fmla="*/ 519494 h 845819"/>
                <a:gd name="connsiteX45" fmla="*/ 903923 w 1029843"/>
                <a:gd name="connsiteY45" fmla="*/ 518350 h 845819"/>
                <a:gd name="connsiteX46" fmla="*/ 900970 w 1029843"/>
                <a:gd name="connsiteY46" fmla="*/ 520255 h 845819"/>
                <a:gd name="connsiteX47" fmla="*/ 899732 w 1029843"/>
                <a:gd name="connsiteY47" fmla="*/ 523684 h 845819"/>
                <a:gd name="connsiteX48" fmla="*/ 896588 w 1029843"/>
                <a:gd name="connsiteY48" fmla="*/ 524065 h 845819"/>
                <a:gd name="connsiteX49" fmla="*/ 885730 w 1029843"/>
                <a:gd name="connsiteY49" fmla="*/ 514255 h 845819"/>
                <a:gd name="connsiteX50" fmla="*/ 878776 w 1029843"/>
                <a:gd name="connsiteY50" fmla="*/ 497491 h 845819"/>
                <a:gd name="connsiteX51" fmla="*/ 869728 w 1029843"/>
                <a:gd name="connsiteY51" fmla="*/ 489013 h 845819"/>
                <a:gd name="connsiteX52" fmla="*/ 869251 w 1029843"/>
                <a:gd name="connsiteY52" fmla="*/ 485870 h 845819"/>
                <a:gd name="connsiteX53" fmla="*/ 873443 w 1029843"/>
                <a:gd name="connsiteY53" fmla="*/ 480536 h 845819"/>
                <a:gd name="connsiteX54" fmla="*/ 871061 w 1029843"/>
                <a:gd name="connsiteY54" fmla="*/ 474440 h 845819"/>
                <a:gd name="connsiteX55" fmla="*/ 873824 w 1029843"/>
                <a:gd name="connsiteY55" fmla="*/ 470821 h 845819"/>
                <a:gd name="connsiteX56" fmla="*/ 869823 w 1029843"/>
                <a:gd name="connsiteY56" fmla="*/ 464915 h 845819"/>
                <a:gd name="connsiteX57" fmla="*/ 869061 w 1029843"/>
                <a:gd name="connsiteY57" fmla="*/ 458629 h 845819"/>
                <a:gd name="connsiteX58" fmla="*/ 867061 w 1029843"/>
                <a:gd name="connsiteY58" fmla="*/ 455676 h 845819"/>
                <a:gd name="connsiteX59" fmla="*/ 862489 w 1029843"/>
                <a:gd name="connsiteY59" fmla="*/ 457867 h 845819"/>
                <a:gd name="connsiteX60" fmla="*/ 858965 w 1029843"/>
                <a:gd name="connsiteY60" fmla="*/ 455105 h 845819"/>
                <a:gd name="connsiteX61" fmla="*/ 852868 w 1029843"/>
                <a:gd name="connsiteY61" fmla="*/ 457486 h 845819"/>
                <a:gd name="connsiteX62" fmla="*/ 844391 w 1029843"/>
                <a:gd name="connsiteY62" fmla="*/ 453771 h 845819"/>
                <a:gd name="connsiteX63" fmla="*/ 838200 w 1029843"/>
                <a:gd name="connsiteY63" fmla="*/ 456152 h 845819"/>
                <a:gd name="connsiteX64" fmla="*/ 831342 w 1029843"/>
                <a:gd name="connsiteY64" fmla="*/ 452152 h 845819"/>
                <a:gd name="connsiteX65" fmla="*/ 829723 w 1029843"/>
                <a:gd name="connsiteY65" fmla="*/ 452438 h 845819"/>
                <a:gd name="connsiteX66" fmla="*/ 825246 w 1029843"/>
                <a:gd name="connsiteY66" fmla="*/ 454533 h 845819"/>
                <a:gd name="connsiteX67" fmla="*/ 821531 w 1029843"/>
                <a:gd name="connsiteY67" fmla="*/ 463105 h 845819"/>
                <a:gd name="connsiteX68" fmla="*/ 821912 w 1029843"/>
                <a:gd name="connsiteY68" fmla="*/ 466249 h 845819"/>
                <a:gd name="connsiteX69" fmla="*/ 816007 w 1029843"/>
                <a:gd name="connsiteY69" fmla="*/ 470154 h 845819"/>
                <a:gd name="connsiteX70" fmla="*/ 811244 w 1029843"/>
                <a:gd name="connsiteY70" fmla="*/ 470821 h 845819"/>
                <a:gd name="connsiteX71" fmla="*/ 809816 w 1029843"/>
                <a:gd name="connsiteY71" fmla="*/ 459772 h 845819"/>
                <a:gd name="connsiteX72" fmla="*/ 802672 w 1029843"/>
                <a:gd name="connsiteY72" fmla="*/ 454247 h 845819"/>
                <a:gd name="connsiteX73" fmla="*/ 803720 w 1029843"/>
                <a:gd name="connsiteY73" fmla="*/ 449294 h 845819"/>
                <a:gd name="connsiteX74" fmla="*/ 801148 w 1029843"/>
                <a:gd name="connsiteY74" fmla="*/ 441579 h 845819"/>
                <a:gd name="connsiteX75" fmla="*/ 799148 w 1029843"/>
                <a:gd name="connsiteY75" fmla="*/ 438626 h 845819"/>
                <a:gd name="connsiteX76" fmla="*/ 789623 w 1029843"/>
                <a:gd name="connsiteY76" fmla="*/ 439865 h 845819"/>
                <a:gd name="connsiteX77" fmla="*/ 789242 w 1029843"/>
                <a:gd name="connsiteY77" fmla="*/ 436721 h 845819"/>
                <a:gd name="connsiteX78" fmla="*/ 792956 w 1029843"/>
                <a:gd name="connsiteY78" fmla="*/ 428244 h 845819"/>
                <a:gd name="connsiteX79" fmla="*/ 791242 w 1029843"/>
                <a:gd name="connsiteY79" fmla="*/ 426815 h 845819"/>
                <a:gd name="connsiteX80" fmla="*/ 784289 w 1029843"/>
                <a:gd name="connsiteY80" fmla="*/ 422910 h 845819"/>
                <a:gd name="connsiteX81" fmla="*/ 783717 w 1029843"/>
                <a:gd name="connsiteY81" fmla="*/ 418148 h 845819"/>
                <a:gd name="connsiteX82" fmla="*/ 778764 w 1029843"/>
                <a:gd name="connsiteY82" fmla="*/ 417195 h 845819"/>
                <a:gd name="connsiteX83" fmla="*/ 771620 w 1029843"/>
                <a:gd name="connsiteY83" fmla="*/ 424529 h 845819"/>
                <a:gd name="connsiteX84" fmla="*/ 763143 w 1029843"/>
                <a:gd name="connsiteY84" fmla="*/ 420815 h 845819"/>
                <a:gd name="connsiteX85" fmla="*/ 765715 w 1029843"/>
                <a:gd name="connsiteY85" fmla="*/ 415671 h 845819"/>
                <a:gd name="connsiteX86" fmla="*/ 760762 w 1029843"/>
                <a:gd name="connsiteY86" fmla="*/ 401860 h 845819"/>
                <a:gd name="connsiteX87" fmla="*/ 757238 w 1029843"/>
                <a:gd name="connsiteY87" fmla="*/ 399098 h 845819"/>
                <a:gd name="connsiteX88" fmla="*/ 752475 w 1029843"/>
                <a:gd name="connsiteY88" fmla="*/ 399669 h 845819"/>
                <a:gd name="connsiteX89" fmla="*/ 751904 w 1029843"/>
                <a:gd name="connsiteY89" fmla="*/ 395002 h 845819"/>
                <a:gd name="connsiteX90" fmla="*/ 753237 w 1029843"/>
                <a:gd name="connsiteY90" fmla="*/ 393192 h 845819"/>
                <a:gd name="connsiteX91" fmla="*/ 755618 w 1029843"/>
                <a:gd name="connsiteY91" fmla="*/ 386429 h 845819"/>
                <a:gd name="connsiteX92" fmla="*/ 759524 w 1029843"/>
                <a:gd name="connsiteY92" fmla="*/ 379571 h 845819"/>
                <a:gd name="connsiteX93" fmla="*/ 762286 w 1029843"/>
                <a:gd name="connsiteY93" fmla="*/ 375952 h 845819"/>
                <a:gd name="connsiteX94" fmla="*/ 763619 w 1029843"/>
                <a:gd name="connsiteY94" fmla="*/ 374237 h 845819"/>
                <a:gd name="connsiteX95" fmla="*/ 768382 w 1029843"/>
                <a:gd name="connsiteY95" fmla="*/ 373571 h 845819"/>
                <a:gd name="connsiteX96" fmla="*/ 768953 w 1029843"/>
                <a:gd name="connsiteY96" fmla="*/ 378333 h 845819"/>
                <a:gd name="connsiteX97" fmla="*/ 771334 w 1029843"/>
                <a:gd name="connsiteY97" fmla="*/ 384429 h 845819"/>
                <a:gd name="connsiteX98" fmla="*/ 777716 w 1029843"/>
                <a:gd name="connsiteY98" fmla="*/ 383667 h 845819"/>
                <a:gd name="connsiteX99" fmla="*/ 778478 w 1029843"/>
                <a:gd name="connsiteY99" fmla="*/ 377095 h 845819"/>
                <a:gd name="connsiteX100" fmla="*/ 776097 w 1029843"/>
                <a:gd name="connsiteY100" fmla="*/ 370999 h 845819"/>
                <a:gd name="connsiteX101" fmla="*/ 772477 w 1029843"/>
                <a:gd name="connsiteY101" fmla="*/ 368236 h 845819"/>
                <a:gd name="connsiteX102" fmla="*/ 769144 w 1029843"/>
                <a:gd name="connsiteY102" fmla="*/ 367094 h 845819"/>
                <a:gd name="connsiteX103" fmla="*/ 772097 w 1029843"/>
                <a:gd name="connsiteY103" fmla="*/ 365093 h 845819"/>
                <a:gd name="connsiteX104" fmla="*/ 780002 w 1029843"/>
                <a:gd name="connsiteY104" fmla="*/ 364141 h 845819"/>
                <a:gd name="connsiteX105" fmla="*/ 777621 w 1029843"/>
                <a:gd name="connsiteY105" fmla="*/ 358045 h 845819"/>
                <a:gd name="connsiteX106" fmla="*/ 785908 w 1029843"/>
                <a:gd name="connsiteY106" fmla="*/ 360140 h 845819"/>
                <a:gd name="connsiteX107" fmla="*/ 793433 w 1029843"/>
                <a:gd name="connsiteY107" fmla="*/ 355949 h 845819"/>
                <a:gd name="connsiteX108" fmla="*/ 789242 w 1029843"/>
                <a:gd name="connsiteY108" fmla="*/ 348520 h 845819"/>
                <a:gd name="connsiteX109" fmla="*/ 796576 w 1029843"/>
                <a:gd name="connsiteY109" fmla="*/ 342805 h 845819"/>
                <a:gd name="connsiteX110" fmla="*/ 799719 w 1029843"/>
                <a:gd name="connsiteY110" fmla="*/ 342329 h 845819"/>
                <a:gd name="connsiteX111" fmla="*/ 803243 w 1029843"/>
                <a:gd name="connsiteY111" fmla="*/ 345091 h 845819"/>
                <a:gd name="connsiteX112" fmla="*/ 806387 w 1029843"/>
                <a:gd name="connsiteY112" fmla="*/ 344710 h 845819"/>
                <a:gd name="connsiteX113" fmla="*/ 802481 w 1029843"/>
                <a:gd name="connsiteY113" fmla="*/ 338804 h 845819"/>
                <a:gd name="connsiteX114" fmla="*/ 803815 w 1029843"/>
                <a:gd name="connsiteY114" fmla="*/ 336994 h 845819"/>
                <a:gd name="connsiteX115" fmla="*/ 805815 w 1029843"/>
                <a:gd name="connsiteY115" fmla="*/ 339947 h 845819"/>
                <a:gd name="connsiteX116" fmla="*/ 812483 w 1029843"/>
                <a:gd name="connsiteY116" fmla="*/ 342329 h 845819"/>
                <a:gd name="connsiteX117" fmla="*/ 815435 w 1029843"/>
                <a:gd name="connsiteY117" fmla="*/ 340328 h 845819"/>
                <a:gd name="connsiteX118" fmla="*/ 819055 w 1029843"/>
                <a:gd name="connsiteY118" fmla="*/ 343090 h 845819"/>
                <a:gd name="connsiteX119" fmla="*/ 824293 w 1029843"/>
                <a:gd name="connsiteY119" fmla="*/ 334423 h 845819"/>
                <a:gd name="connsiteX120" fmla="*/ 823722 w 1029843"/>
                <a:gd name="connsiteY120" fmla="*/ 329660 h 845819"/>
                <a:gd name="connsiteX121" fmla="*/ 829818 w 1029843"/>
                <a:gd name="connsiteY121" fmla="*/ 327279 h 845819"/>
                <a:gd name="connsiteX122" fmla="*/ 831247 w 1029843"/>
                <a:gd name="connsiteY122" fmla="*/ 325469 h 845819"/>
                <a:gd name="connsiteX123" fmla="*/ 828389 w 1029843"/>
                <a:gd name="connsiteY123" fmla="*/ 316230 h 845819"/>
                <a:gd name="connsiteX124" fmla="*/ 829627 w 1029843"/>
                <a:gd name="connsiteY124" fmla="*/ 312896 h 845819"/>
                <a:gd name="connsiteX125" fmla="*/ 835724 w 1029843"/>
                <a:gd name="connsiteY125" fmla="*/ 310515 h 845819"/>
                <a:gd name="connsiteX126" fmla="*/ 837343 w 1029843"/>
                <a:gd name="connsiteY126" fmla="*/ 310325 h 845819"/>
                <a:gd name="connsiteX127" fmla="*/ 844201 w 1029843"/>
                <a:gd name="connsiteY127" fmla="*/ 314230 h 845819"/>
                <a:gd name="connsiteX128" fmla="*/ 846201 w 1029843"/>
                <a:gd name="connsiteY128" fmla="*/ 317182 h 845819"/>
                <a:gd name="connsiteX129" fmla="*/ 853345 w 1029843"/>
                <a:gd name="connsiteY129" fmla="*/ 322707 h 845819"/>
                <a:gd name="connsiteX130" fmla="*/ 863727 w 1029843"/>
                <a:gd name="connsiteY130" fmla="*/ 316516 h 845819"/>
                <a:gd name="connsiteX131" fmla="*/ 872776 w 1029843"/>
                <a:gd name="connsiteY131" fmla="*/ 299371 h 845819"/>
                <a:gd name="connsiteX132" fmla="*/ 881825 w 1029843"/>
                <a:gd name="connsiteY132" fmla="*/ 294989 h 845819"/>
                <a:gd name="connsiteX133" fmla="*/ 891921 w 1029843"/>
                <a:gd name="connsiteY133" fmla="*/ 285750 h 845819"/>
                <a:gd name="connsiteX134" fmla="*/ 891540 w 1029843"/>
                <a:gd name="connsiteY134" fmla="*/ 282511 h 845819"/>
                <a:gd name="connsiteX135" fmla="*/ 889540 w 1029843"/>
                <a:gd name="connsiteY135" fmla="*/ 279559 h 845819"/>
                <a:gd name="connsiteX136" fmla="*/ 891064 w 1029843"/>
                <a:gd name="connsiteY136" fmla="*/ 279368 h 845819"/>
                <a:gd name="connsiteX137" fmla="*/ 881825 w 1029843"/>
                <a:gd name="connsiteY137" fmla="*/ 269367 h 845819"/>
                <a:gd name="connsiteX138" fmla="*/ 888111 w 1029843"/>
                <a:gd name="connsiteY138" fmla="*/ 268510 h 845819"/>
                <a:gd name="connsiteX139" fmla="*/ 898589 w 1029843"/>
                <a:gd name="connsiteY139" fmla="*/ 262414 h 845819"/>
                <a:gd name="connsiteX140" fmla="*/ 898970 w 1029843"/>
                <a:gd name="connsiteY140" fmla="*/ 252698 h 845819"/>
                <a:gd name="connsiteX141" fmla="*/ 892778 w 1029843"/>
                <a:gd name="connsiteY141" fmla="*/ 242316 h 845819"/>
                <a:gd name="connsiteX142" fmla="*/ 893921 w 1029843"/>
                <a:gd name="connsiteY142" fmla="*/ 238982 h 845819"/>
                <a:gd name="connsiteX143" fmla="*/ 903637 w 1029843"/>
                <a:gd name="connsiteY143" fmla="*/ 239268 h 845819"/>
                <a:gd name="connsiteX144" fmla="*/ 908209 w 1029843"/>
                <a:gd name="connsiteY144" fmla="*/ 237172 h 845819"/>
                <a:gd name="connsiteX145" fmla="*/ 921163 w 1029843"/>
                <a:gd name="connsiteY145" fmla="*/ 225838 h 845819"/>
                <a:gd name="connsiteX146" fmla="*/ 920401 w 1029843"/>
                <a:gd name="connsiteY146" fmla="*/ 219551 h 845819"/>
                <a:gd name="connsiteX147" fmla="*/ 917734 w 1029843"/>
                <a:gd name="connsiteY147" fmla="*/ 211836 h 845819"/>
                <a:gd name="connsiteX148" fmla="*/ 908685 w 1029843"/>
                <a:gd name="connsiteY148" fmla="*/ 203359 h 845819"/>
                <a:gd name="connsiteX149" fmla="*/ 906113 w 1029843"/>
                <a:gd name="connsiteY149" fmla="*/ 195739 h 845819"/>
                <a:gd name="connsiteX150" fmla="*/ 897446 w 1029843"/>
                <a:gd name="connsiteY150" fmla="*/ 190405 h 845819"/>
                <a:gd name="connsiteX151" fmla="*/ 893445 w 1029843"/>
                <a:gd name="connsiteY151" fmla="*/ 184499 h 845819"/>
                <a:gd name="connsiteX152" fmla="*/ 885158 w 1029843"/>
                <a:gd name="connsiteY152" fmla="*/ 182309 h 845819"/>
                <a:gd name="connsiteX153" fmla="*/ 875252 w 1029843"/>
                <a:gd name="connsiteY153" fmla="*/ 167545 h 845819"/>
                <a:gd name="connsiteX154" fmla="*/ 874395 w 1029843"/>
                <a:gd name="connsiteY154" fmla="*/ 161258 h 845819"/>
                <a:gd name="connsiteX155" fmla="*/ 872871 w 1029843"/>
                <a:gd name="connsiteY155" fmla="*/ 161449 h 845819"/>
                <a:gd name="connsiteX156" fmla="*/ 869728 w 1029843"/>
                <a:gd name="connsiteY156" fmla="*/ 161830 h 845819"/>
                <a:gd name="connsiteX157" fmla="*/ 867727 w 1029843"/>
                <a:gd name="connsiteY157" fmla="*/ 158877 h 845819"/>
                <a:gd name="connsiteX158" fmla="*/ 863156 w 1029843"/>
                <a:gd name="connsiteY158" fmla="*/ 148209 h 845819"/>
                <a:gd name="connsiteX159" fmla="*/ 855250 w 1029843"/>
                <a:gd name="connsiteY159" fmla="*/ 149257 h 845819"/>
                <a:gd name="connsiteX160" fmla="*/ 854678 w 1029843"/>
                <a:gd name="connsiteY160" fmla="*/ 144494 h 845819"/>
                <a:gd name="connsiteX161" fmla="*/ 848297 w 1029843"/>
                <a:gd name="connsiteY161" fmla="*/ 132493 h 845819"/>
                <a:gd name="connsiteX162" fmla="*/ 834866 w 1029843"/>
                <a:gd name="connsiteY162" fmla="*/ 127825 h 845819"/>
                <a:gd name="connsiteX163" fmla="*/ 828580 w 1029843"/>
                <a:gd name="connsiteY163" fmla="*/ 128588 h 845819"/>
                <a:gd name="connsiteX164" fmla="*/ 824675 w 1029843"/>
                <a:gd name="connsiteY164" fmla="*/ 135541 h 845819"/>
                <a:gd name="connsiteX165" fmla="*/ 818102 w 1029843"/>
                <a:gd name="connsiteY165" fmla="*/ 134779 h 845819"/>
                <a:gd name="connsiteX166" fmla="*/ 806863 w 1029843"/>
                <a:gd name="connsiteY166" fmla="*/ 134588 h 845819"/>
                <a:gd name="connsiteX167" fmla="*/ 805720 w 1029843"/>
                <a:gd name="connsiteY167" fmla="*/ 125063 h 845819"/>
                <a:gd name="connsiteX168" fmla="*/ 804101 w 1029843"/>
                <a:gd name="connsiteY168" fmla="*/ 125254 h 845819"/>
                <a:gd name="connsiteX169" fmla="*/ 800957 w 1029843"/>
                <a:gd name="connsiteY169" fmla="*/ 125730 h 845819"/>
                <a:gd name="connsiteX170" fmla="*/ 792861 w 1029843"/>
                <a:gd name="connsiteY170" fmla="*/ 125158 h 845819"/>
                <a:gd name="connsiteX171" fmla="*/ 789908 w 1029843"/>
                <a:gd name="connsiteY171" fmla="*/ 127064 h 845819"/>
                <a:gd name="connsiteX172" fmla="*/ 774859 w 1029843"/>
                <a:gd name="connsiteY172" fmla="*/ 122587 h 845819"/>
                <a:gd name="connsiteX173" fmla="*/ 771716 w 1029843"/>
                <a:gd name="connsiteY173" fmla="*/ 122968 h 845819"/>
                <a:gd name="connsiteX174" fmla="*/ 763524 w 1029843"/>
                <a:gd name="connsiteY174" fmla="*/ 146494 h 845819"/>
                <a:gd name="connsiteX175" fmla="*/ 765143 w 1029843"/>
                <a:gd name="connsiteY175" fmla="*/ 159163 h 845819"/>
                <a:gd name="connsiteX176" fmla="*/ 763524 w 1029843"/>
                <a:gd name="connsiteY176" fmla="*/ 159353 h 845819"/>
                <a:gd name="connsiteX177" fmla="*/ 765524 w 1029843"/>
                <a:gd name="connsiteY177" fmla="*/ 162306 h 845819"/>
                <a:gd name="connsiteX178" fmla="*/ 762952 w 1029843"/>
                <a:gd name="connsiteY178" fmla="*/ 167449 h 845819"/>
                <a:gd name="connsiteX179" fmla="*/ 747141 w 1029843"/>
                <a:gd name="connsiteY179" fmla="*/ 169450 h 845819"/>
                <a:gd name="connsiteX180" fmla="*/ 741235 w 1029843"/>
                <a:gd name="connsiteY180" fmla="*/ 173355 h 845819"/>
                <a:gd name="connsiteX181" fmla="*/ 736092 w 1029843"/>
                <a:gd name="connsiteY181" fmla="*/ 170878 h 845819"/>
                <a:gd name="connsiteX182" fmla="*/ 737711 w 1029843"/>
                <a:gd name="connsiteY182" fmla="*/ 170593 h 845819"/>
                <a:gd name="connsiteX183" fmla="*/ 734759 w 1029843"/>
                <a:gd name="connsiteY183" fmla="*/ 159829 h 845819"/>
                <a:gd name="connsiteX184" fmla="*/ 730568 w 1029843"/>
                <a:gd name="connsiteY184" fmla="*/ 152305 h 845819"/>
                <a:gd name="connsiteX185" fmla="*/ 714947 w 1029843"/>
                <a:gd name="connsiteY185" fmla="*/ 143066 h 845819"/>
                <a:gd name="connsiteX186" fmla="*/ 707231 w 1029843"/>
                <a:gd name="connsiteY186" fmla="*/ 145637 h 845819"/>
                <a:gd name="connsiteX187" fmla="*/ 704850 w 1029843"/>
                <a:gd name="connsiteY187" fmla="*/ 139541 h 845819"/>
                <a:gd name="connsiteX188" fmla="*/ 701516 w 1029843"/>
                <a:gd name="connsiteY188" fmla="*/ 138398 h 845819"/>
                <a:gd name="connsiteX189" fmla="*/ 699516 w 1029843"/>
                <a:gd name="connsiteY189" fmla="*/ 135445 h 845819"/>
                <a:gd name="connsiteX190" fmla="*/ 691706 w 1029843"/>
                <a:gd name="connsiteY190" fmla="*/ 136398 h 845819"/>
                <a:gd name="connsiteX191" fmla="*/ 688086 w 1029843"/>
                <a:gd name="connsiteY191" fmla="*/ 133636 h 845819"/>
                <a:gd name="connsiteX192" fmla="*/ 681800 w 1029843"/>
                <a:gd name="connsiteY192" fmla="*/ 134493 h 845819"/>
                <a:gd name="connsiteX193" fmla="*/ 679609 w 1029843"/>
                <a:gd name="connsiteY193" fmla="*/ 142780 h 845819"/>
                <a:gd name="connsiteX194" fmla="*/ 676656 w 1029843"/>
                <a:gd name="connsiteY194" fmla="*/ 144780 h 845819"/>
                <a:gd name="connsiteX195" fmla="*/ 673513 w 1029843"/>
                <a:gd name="connsiteY195" fmla="*/ 145161 h 845819"/>
                <a:gd name="connsiteX196" fmla="*/ 672560 w 1029843"/>
                <a:gd name="connsiteY196" fmla="*/ 150114 h 845819"/>
                <a:gd name="connsiteX197" fmla="*/ 664083 w 1029843"/>
                <a:gd name="connsiteY197" fmla="*/ 159163 h 845819"/>
                <a:gd name="connsiteX198" fmla="*/ 659321 w 1029843"/>
                <a:gd name="connsiteY198" fmla="*/ 159734 h 845819"/>
                <a:gd name="connsiteX199" fmla="*/ 659797 w 1029843"/>
                <a:gd name="connsiteY199" fmla="*/ 162973 h 845819"/>
                <a:gd name="connsiteX200" fmla="*/ 655606 w 1029843"/>
                <a:gd name="connsiteY200" fmla="*/ 168307 h 845819"/>
                <a:gd name="connsiteX201" fmla="*/ 653129 w 1029843"/>
                <a:gd name="connsiteY201" fmla="*/ 186214 h 845819"/>
                <a:gd name="connsiteX202" fmla="*/ 653510 w 1029843"/>
                <a:gd name="connsiteY202" fmla="*/ 189357 h 845819"/>
                <a:gd name="connsiteX203" fmla="*/ 652367 w 1029843"/>
                <a:gd name="connsiteY203" fmla="*/ 192786 h 845819"/>
                <a:gd name="connsiteX204" fmla="*/ 642271 w 1029843"/>
                <a:gd name="connsiteY204" fmla="*/ 189167 h 845819"/>
                <a:gd name="connsiteX205" fmla="*/ 631603 w 1029843"/>
                <a:gd name="connsiteY205" fmla="*/ 206597 h 845819"/>
                <a:gd name="connsiteX206" fmla="*/ 626269 w 1029843"/>
                <a:gd name="connsiteY206" fmla="*/ 202501 h 845819"/>
                <a:gd name="connsiteX207" fmla="*/ 624364 w 1029843"/>
                <a:gd name="connsiteY207" fmla="*/ 199549 h 845819"/>
                <a:gd name="connsiteX208" fmla="*/ 619411 w 1029843"/>
                <a:gd name="connsiteY208" fmla="*/ 198596 h 845819"/>
                <a:gd name="connsiteX209" fmla="*/ 609124 w 1029843"/>
                <a:gd name="connsiteY209" fmla="*/ 193453 h 845819"/>
                <a:gd name="connsiteX210" fmla="*/ 605600 w 1029843"/>
                <a:gd name="connsiteY210" fmla="*/ 190691 h 845819"/>
                <a:gd name="connsiteX211" fmla="*/ 605123 w 1029843"/>
                <a:gd name="connsiteY211" fmla="*/ 187547 h 845819"/>
                <a:gd name="connsiteX212" fmla="*/ 610648 w 1029843"/>
                <a:gd name="connsiteY212" fmla="*/ 180403 h 845819"/>
                <a:gd name="connsiteX213" fmla="*/ 618363 w 1029843"/>
                <a:gd name="connsiteY213" fmla="*/ 177832 h 845819"/>
                <a:gd name="connsiteX214" fmla="*/ 628555 w 1029843"/>
                <a:gd name="connsiteY214" fmla="*/ 170117 h 845819"/>
                <a:gd name="connsiteX215" fmla="*/ 626650 w 1029843"/>
                <a:gd name="connsiteY215" fmla="*/ 167164 h 845819"/>
                <a:gd name="connsiteX216" fmla="*/ 618363 w 1029843"/>
                <a:gd name="connsiteY216" fmla="*/ 164973 h 845819"/>
                <a:gd name="connsiteX217" fmla="*/ 617125 w 1029843"/>
                <a:gd name="connsiteY217" fmla="*/ 155543 h 845819"/>
                <a:gd name="connsiteX218" fmla="*/ 613791 w 1029843"/>
                <a:gd name="connsiteY218" fmla="*/ 154400 h 845819"/>
                <a:gd name="connsiteX219" fmla="*/ 616268 w 1029843"/>
                <a:gd name="connsiteY219" fmla="*/ 149257 h 845819"/>
                <a:gd name="connsiteX220" fmla="*/ 614743 w 1029843"/>
                <a:gd name="connsiteY220" fmla="*/ 136589 h 845819"/>
                <a:gd name="connsiteX221" fmla="*/ 612076 w 1029843"/>
                <a:gd name="connsiteY221" fmla="*/ 128873 h 845819"/>
                <a:gd name="connsiteX222" fmla="*/ 612934 w 1029843"/>
                <a:gd name="connsiteY222" fmla="*/ 122396 h 845819"/>
                <a:gd name="connsiteX223" fmla="*/ 609505 w 1029843"/>
                <a:gd name="connsiteY223" fmla="*/ 121253 h 845819"/>
                <a:gd name="connsiteX224" fmla="*/ 605600 w 1029843"/>
                <a:gd name="connsiteY224" fmla="*/ 115348 h 845819"/>
                <a:gd name="connsiteX225" fmla="*/ 606552 w 1029843"/>
                <a:gd name="connsiteY225" fmla="*/ 110395 h 845819"/>
                <a:gd name="connsiteX226" fmla="*/ 606171 w 1029843"/>
                <a:gd name="connsiteY226" fmla="*/ 107251 h 845819"/>
                <a:gd name="connsiteX227" fmla="*/ 587597 w 1029843"/>
                <a:gd name="connsiteY227" fmla="*/ 99917 h 845819"/>
                <a:gd name="connsiteX228" fmla="*/ 578072 w 1029843"/>
                <a:gd name="connsiteY228" fmla="*/ 101155 h 845819"/>
                <a:gd name="connsiteX229" fmla="*/ 576739 w 1029843"/>
                <a:gd name="connsiteY229" fmla="*/ 102965 h 845819"/>
                <a:gd name="connsiteX230" fmla="*/ 572452 w 1029843"/>
                <a:gd name="connsiteY230" fmla="*/ 106680 h 845819"/>
                <a:gd name="connsiteX231" fmla="*/ 565880 w 1029843"/>
                <a:gd name="connsiteY231" fmla="*/ 105918 h 845819"/>
                <a:gd name="connsiteX232" fmla="*/ 563309 w 1029843"/>
                <a:gd name="connsiteY232" fmla="*/ 111062 h 845819"/>
                <a:gd name="connsiteX233" fmla="*/ 556641 w 1029843"/>
                <a:gd name="connsiteY233" fmla="*/ 108680 h 845819"/>
                <a:gd name="connsiteX234" fmla="*/ 549116 w 1029843"/>
                <a:gd name="connsiteY234" fmla="*/ 112871 h 845819"/>
                <a:gd name="connsiteX235" fmla="*/ 533972 w 1029843"/>
                <a:gd name="connsiteY235" fmla="*/ 119634 h 845819"/>
                <a:gd name="connsiteX236" fmla="*/ 533019 w 1029843"/>
                <a:gd name="connsiteY236" fmla="*/ 124587 h 845819"/>
                <a:gd name="connsiteX237" fmla="*/ 517970 w 1029843"/>
                <a:gd name="connsiteY237" fmla="*/ 120015 h 845819"/>
                <a:gd name="connsiteX238" fmla="*/ 518732 w 1029843"/>
                <a:gd name="connsiteY238" fmla="*/ 113538 h 845819"/>
                <a:gd name="connsiteX239" fmla="*/ 518160 w 1029843"/>
                <a:gd name="connsiteY239" fmla="*/ 108775 h 845819"/>
                <a:gd name="connsiteX240" fmla="*/ 514731 w 1029843"/>
                <a:gd name="connsiteY240" fmla="*/ 94774 h 845819"/>
                <a:gd name="connsiteX241" fmla="*/ 511016 w 1029843"/>
                <a:gd name="connsiteY241" fmla="*/ 90488 h 845819"/>
                <a:gd name="connsiteX242" fmla="*/ 509778 w 1029843"/>
                <a:gd name="connsiteY242" fmla="*/ 80963 h 845819"/>
                <a:gd name="connsiteX243" fmla="*/ 506444 w 1029843"/>
                <a:gd name="connsiteY243" fmla="*/ 79819 h 845819"/>
                <a:gd name="connsiteX244" fmla="*/ 498539 w 1029843"/>
                <a:gd name="connsiteY244" fmla="*/ 68008 h 845819"/>
                <a:gd name="connsiteX245" fmla="*/ 494538 w 1029843"/>
                <a:gd name="connsiteY245" fmla="*/ 62103 h 845819"/>
                <a:gd name="connsiteX246" fmla="*/ 496634 w 1029843"/>
                <a:gd name="connsiteY246" fmla="*/ 40957 h 845819"/>
                <a:gd name="connsiteX247" fmla="*/ 487966 w 1029843"/>
                <a:gd name="connsiteY247" fmla="*/ 35623 h 845819"/>
                <a:gd name="connsiteX248" fmla="*/ 485394 w 1029843"/>
                <a:gd name="connsiteY248" fmla="*/ 28003 h 845819"/>
                <a:gd name="connsiteX249" fmla="*/ 466630 w 1029843"/>
                <a:gd name="connsiteY249" fmla="*/ 32004 h 845819"/>
                <a:gd name="connsiteX250" fmla="*/ 465677 w 1029843"/>
                <a:gd name="connsiteY250" fmla="*/ 36862 h 845819"/>
                <a:gd name="connsiteX251" fmla="*/ 459962 w 1029843"/>
                <a:gd name="connsiteY251" fmla="*/ 42481 h 845819"/>
                <a:gd name="connsiteX252" fmla="*/ 446913 w 1029843"/>
                <a:gd name="connsiteY252" fmla="*/ 40862 h 845819"/>
                <a:gd name="connsiteX253" fmla="*/ 436340 w 1029843"/>
                <a:gd name="connsiteY253" fmla="*/ 45434 h 845819"/>
                <a:gd name="connsiteX254" fmla="*/ 431959 w 1029843"/>
                <a:gd name="connsiteY254" fmla="*/ 49244 h 845819"/>
                <a:gd name="connsiteX255" fmla="*/ 430435 w 1029843"/>
                <a:gd name="connsiteY255" fmla="*/ 49435 h 845819"/>
                <a:gd name="connsiteX256" fmla="*/ 420148 w 1029843"/>
                <a:gd name="connsiteY256" fmla="*/ 44291 h 845819"/>
                <a:gd name="connsiteX257" fmla="*/ 409289 w 1029843"/>
                <a:gd name="connsiteY257" fmla="*/ 47339 h 845819"/>
                <a:gd name="connsiteX258" fmla="*/ 404336 w 1029843"/>
                <a:gd name="connsiteY258" fmla="*/ 46292 h 845819"/>
                <a:gd name="connsiteX259" fmla="*/ 397383 w 1029843"/>
                <a:gd name="connsiteY259" fmla="*/ 42386 h 845819"/>
                <a:gd name="connsiteX260" fmla="*/ 394621 w 1029843"/>
                <a:gd name="connsiteY260" fmla="*/ 33147 h 845819"/>
                <a:gd name="connsiteX261" fmla="*/ 390906 w 1029843"/>
                <a:gd name="connsiteY261" fmla="*/ 28766 h 845819"/>
                <a:gd name="connsiteX262" fmla="*/ 382619 w 1029843"/>
                <a:gd name="connsiteY262" fmla="*/ 26670 h 845819"/>
                <a:gd name="connsiteX263" fmla="*/ 377285 w 1029843"/>
                <a:gd name="connsiteY263" fmla="*/ 22479 h 845819"/>
                <a:gd name="connsiteX264" fmla="*/ 369189 w 1029843"/>
                <a:gd name="connsiteY264" fmla="*/ 21907 h 845819"/>
                <a:gd name="connsiteX265" fmla="*/ 350996 w 1029843"/>
                <a:gd name="connsiteY265" fmla="*/ 17812 h 845819"/>
                <a:gd name="connsiteX266" fmla="*/ 348043 w 1029843"/>
                <a:gd name="connsiteY266" fmla="*/ 6953 h 845819"/>
                <a:gd name="connsiteX267" fmla="*/ 337947 w 1029843"/>
                <a:gd name="connsiteY267" fmla="*/ 3429 h 845819"/>
                <a:gd name="connsiteX268" fmla="*/ 321564 w 1029843"/>
                <a:gd name="connsiteY268" fmla="*/ 762 h 845819"/>
                <a:gd name="connsiteX269" fmla="*/ 309372 w 1029843"/>
                <a:gd name="connsiteY269" fmla="*/ 5524 h 845819"/>
                <a:gd name="connsiteX270" fmla="*/ 302228 w 1029843"/>
                <a:gd name="connsiteY270" fmla="*/ 0 h 845819"/>
                <a:gd name="connsiteX271" fmla="*/ 292703 w 1029843"/>
                <a:gd name="connsiteY271" fmla="*/ 1238 h 845819"/>
                <a:gd name="connsiteX272" fmla="*/ 292989 w 1029843"/>
                <a:gd name="connsiteY272" fmla="*/ 15621 h 845819"/>
                <a:gd name="connsiteX273" fmla="*/ 293942 w 1029843"/>
                <a:gd name="connsiteY273" fmla="*/ 23527 h 845819"/>
                <a:gd name="connsiteX274" fmla="*/ 297942 w 1029843"/>
                <a:gd name="connsiteY274" fmla="*/ 29432 h 845819"/>
                <a:gd name="connsiteX275" fmla="*/ 313754 w 1029843"/>
                <a:gd name="connsiteY275" fmla="*/ 40195 h 845819"/>
                <a:gd name="connsiteX276" fmla="*/ 318325 w 1029843"/>
                <a:gd name="connsiteY276" fmla="*/ 50864 h 845819"/>
                <a:gd name="connsiteX277" fmla="*/ 316135 w 1029843"/>
                <a:gd name="connsiteY277" fmla="*/ 59150 h 845819"/>
                <a:gd name="connsiteX278" fmla="*/ 308324 w 1029843"/>
                <a:gd name="connsiteY278" fmla="*/ 72962 h 845819"/>
                <a:gd name="connsiteX279" fmla="*/ 307086 w 1029843"/>
                <a:gd name="connsiteY279" fmla="*/ 76391 h 845819"/>
                <a:gd name="connsiteX280" fmla="*/ 314230 w 1029843"/>
                <a:gd name="connsiteY280" fmla="*/ 81820 h 845819"/>
                <a:gd name="connsiteX281" fmla="*/ 312706 w 1029843"/>
                <a:gd name="connsiteY281" fmla="*/ 94869 h 845819"/>
                <a:gd name="connsiteX282" fmla="*/ 314706 w 1029843"/>
                <a:gd name="connsiteY282" fmla="*/ 97822 h 845819"/>
                <a:gd name="connsiteX283" fmla="*/ 311182 w 1029843"/>
                <a:gd name="connsiteY283" fmla="*/ 107918 h 845819"/>
                <a:gd name="connsiteX284" fmla="*/ 311753 w 1029843"/>
                <a:gd name="connsiteY284" fmla="*/ 112681 h 845819"/>
                <a:gd name="connsiteX285" fmla="*/ 313563 w 1029843"/>
                <a:gd name="connsiteY285" fmla="*/ 114014 h 845819"/>
                <a:gd name="connsiteX286" fmla="*/ 319945 w 1029843"/>
                <a:gd name="connsiteY286" fmla="*/ 138874 h 845819"/>
                <a:gd name="connsiteX287" fmla="*/ 326993 w 1029843"/>
                <a:gd name="connsiteY287" fmla="*/ 144399 h 845819"/>
                <a:gd name="connsiteX288" fmla="*/ 319945 w 1029843"/>
                <a:gd name="connsiteY288" fmla="*/ 151733 h 845819"/>
                <a:gd name="connsiteX289" fmla="*/ 314801 w 1029843"/>
                <a:gd name="connsiteY289" fmla="*/ 161925 h 845819"/>
                <a:gd name="connsiteX290" fmla="*/ 314992 w 1029843"/>
                <a:gd name="connsiteY290" fmla="*/ 163544 h 845819"/>
                <a:gd name="connsiteX291" fmla="*/ 325469 w 1029843"/>
                <a:gd name="connsiteY291" fmla="*/ 170212 h 845819"/>
                <a:gd name="connsiteX292" fmla="*/ 329660 w 1029843"/>
                <a:gd name="connsiteY292" fmla="*/ 177737 h 845819"/>
                <a:gd name="connsiteX293" fmla="*/ 330518 w 1029843"/>
                <a:gd name="connsiteY293" fmla="*/ 184023 h 845819"/>
                <a:gd name="connsiteX294" fmla="*/ 339185 w 1029843"/>
                <a:gd name="connsiteY294" fmla="*/ 189357 h 845819"/>
                <a:gd name="connsiteX295" fmla="*/ 333470 w 1029843"/>
                <a:gd name="connsiteY295" fmla="*/ 194881 h 845819"/>
                <a:gd name="connsiteX296" fmla="*/ 326803 w 1029843"/>
                <a:gd name="connsiteY296" fmla="*/ 205359 h 845819"/>
                <a:gd name="connsiteX297" fmla="*/ 328994 w 1029843"/>
                <a:gd name="connsiteY297" fmla="*/ 209931 h 845819"/>
                <a:gd name="connsiteX298" fmla="*/ 318516 w 1029843"/>
                <a:gd name="connsiteY298" fmla="*/ 228886 h 845819"/>
                <a:gd name="connsiteX299" fmla="*/ 325660 w 1029843"/>
                <a:gd name="connsiteY299" fmla="*/ 234315 h 845819"/>
                <a:gd name="connsiteX300" fmla="*/ 335375 w 1029843"/>
                <a:gd name="connsiteY300" fmla="*/ 234696 h 845819"/>
                <a:gd name="connsiteX301" fmla="*/ 332804 w 1029843"/>
                <a:gd name="connsiteY301" fmla="*/ 239840 h 845819"/>
                <a:gd name="connsiteX302" fmla="*/ 328232 w 1029843"/>
                <a:gd name="connsiteY302" fmla="*/ 242030 h 845819"/>
                <a:gd name="connsiteX303" fmla="*/ 339281 w 1029843"/>
                <a:gd name="connsiteY303" fmla="*/ 253460 h 845819"/>
                <a:gd name="connsiteX304" fmla="*/ 334423 w 1029843"/>
                <a:gd name="connsiteY304" fmla="*/ 252508 h 845819"/>
                <a:gd name="connsiteX305" fmla="*/ 334613 w 1029843"/>
                <a:gd name="connsiteY305" fmla="*/ 254032 h 845819"/>
                <a:gd name="connsiteX306" fmla="*/ 341090 w 1029843"/>
                <a:gd name="connsiteY306" fmla="*/ 254889 h 845819"/>
                <a:gd name="connsiteX307" fmla="*/ 343472 w 1029843"/>
                <a:gd name="connsiteY307" fmla="*/ 260985 h 845819"/>
                <a:gd name="connsiteX308" fmla="*/ 348806 w 1029843"/>
                <a:gd name="connsiteY308" fmla="*/ 265081 h 845819"/>
                <a:gd name="connsiteX309" fmla="*/ 349187 w 1029843"/>
                <a:gd name="connsiteY309" fmla="*/ 268224 h 845819"/>
                <a:gd name="connsiteX310" fmla="*/ 352806 w 1029843"/>
                <a:gd name="connsiteY310" fmla="*/ 270986 h 845819"/>
                <a:gd name="connsiteX311" fmla="*/ 356997 w 1029843"/>
                <a:gd name="connsiteY311" fmla="*/ 278511 h 845819"/>
                <a:gd name="connsiteX312" fmla="*/ 358521 w 1029843"/>
                <a:gd name="connsiteY312" fmla="*/ 278320 h 845819"/>
                <a:gd name="connsiteX313" fmla="*/ 359283 w 1029843"/>
                <a:gd name="connsiteY313" fmla="*/ 284607 h 845819"/>
                <a:gd name="connsiteX314" fmla="*/ 363284 w 1029843"/>
                <a:gd name="connsiteY314" fmla="*/ 290513 h 845819"/>
                <a:gd name="connsiteX315" fmla="*/ 362141 w 1029843"/>
                <a:gd name="connsiteY315" fmla="*/ 293846 h 845819"/>
                <a:gd name="connsiteX316" fmla="*/ 340043 w 1029843"/>
                <a:gd name="connsiteY316" fmla="*/ 296704 h 845819"/>
                <a:gd name="connsiteX317" fmla="*/ 335471 w 1029843"/>
                <a:gd name="connsiteY317" fmla="*/ 298894 h 845819"/>
                <a:gd name="connsiteX318" fmla="*/ 334137 w 1029843"/>
                <a:gd name="connsiteY318" fmla="*/ 300609 h 845819"/>
                <a:gd name="connsiteX319" fmla="*/ 331946 w 1029843"/>
                <a:gd name="connsiteY319" fmla="*/ 296132 h 845819"/>
                <a:gd name="connsiteX320" fmla="*/ 329184 w 1029843"/>
                <a:gd name="connsiteY320" fmla="*/ 299657 h 845819"/>
                <a:gd name="connsiteX321" fmla="*/ 331184 w 1029843"/>
                <a:gd name="connsiteY321" fmla="*/ 302609 h 845819"/>
                <a:gd name="connsiteX322" fmla="*/ 328041 w 1029843"/>
                <a:gd name="connsiteY322" fmla="*/ 302990 h 845819"/>
                <a:gd name="connsiteX323" fmla="*/ 326803 w 1029843"/>
                <a:gd name="connsiteY323" fmla="*/ 293561 h 845819"/>
                <a:gd name="connsiteX324" fmla="*/ 323660 w 1029843"/>
                <a:gd name="connsiteY324" fmla="*/ 293942 h 845819"/>
                <a:gd name="connsiteX325" fmla="*/ 323850 w 1029843"/>
                <a:gd name="connsiteY325" fmla="*/ 295561 h 845819"/>
                <a:gd name="connsiteX326" fmla="*/ 320516 w 1029843"/>
                <a:gd name="connsiteY326" fmla="*/ 294323 h 845819"/>
                <a:gd name="connsiteX327" fmla="*/ 320040 w 1029843"/>
                <a:gd name="connsiteY327" fmla="*/ 291179 h 845819"/>
                <a:gd name="connsiteX328" fmla="*/ 318707 w 1029843"/>
                <a:gd name="connsiteY328" fmla="*/ 292989 h 845819"/>
                <a:gd name="connsiteX329" fmla="*/ 318325 w 1029843"/>
                <a:gd name="connsiteY329" fmla="*/ 289846 h 845819"/>
                <a:gd name="connsiteX330" fmla="*/ 316706 w 1029843"/>
                <a:gd name="connsiteY330" fmla="*/ 290036 h 845819"/>
                <a:gd name="connsiteX331" fmla="*/ 310801 w 1029843"/>
                <a:gd name="connsiteY331" fmla="*/ 293942 h 845819"/>
                <a:gd name="connsiteX332" fmla="*/ 309277 w 1029843"/>
                <a:gd name="connsiteY332" fmla="*/ 294227 h 845819"/>
                <a:gd name="connsiteX333" fmla="*/ 304705 w 1029843"/>
                <a:gd name="connsiteY333" fmla="*/ 296323 h 845819"/>
                <a:gd name="connsiteX334" fmla="*/ 301371 w 1029843"/>
                <a:gd name="connsiteY334" fmla="*/ 295180 h 845819"/>
                <a:gd name="connsiteX335" fmla="*/ 302324 w 1029843"/>
                <a:gd name="connsiteY335" fmla="*/ 303086 h 845819"/>
                <a:gd name="connsiteX336" fmla="*/ 294418 w 1029843"/>
                <a:gd name="connsiteY336" fmla="*/ 304133 h 845819"/>
                <a:gd name="connsiteX337" fmla="*/ 292227 w 1029843"/>
                <a:gd name="connsiteY337" fmla="*/ 299561 h 845819"/>
                <a:gd name="connsiteX338" fmla="*/ 287750 w 1029843"/>
                <a:gd name="connsiteY338" fmla="*/ 301752 h 845819"/>
                <a:gd name="connsiteX339" fmla="*/ 285750 w 1029843"/>
                <a:gd name="connsiteY339" fmla="*/ 298799 h 845819"/>
                <a:gd name="connsiteX340" fmla="*/ 279464 w 1029843"/>
                <a:gd name="connsiteY340" fmla="*/ 299561 h 845819"/>
                <a:gd name="connsiteX341" fmla="*/ 278606 w 1029843"/>
                <a:gd name="connsiteY341" fmla="*/ 293275 h 845819"/>
                <a:gd name="connsiteX342" fmla="*/ 267557 w 1029843"/>
                <a:gd name="connsiteY342" fmla="*/ 281845 h 845819"/>
                <a:gd name="connsiteX343" fmla="*/ 268319 w 1029843"/>
                <a:gd name="connsiteY343" fmla="*/ 275368 h 845819"/>
                <a:gd name="connsiteX344" fmla="*/ 270129 w 1029843"/>
                <a:gd name="connsiteY344" fmla="*/ 276701 h 845819"/>
                <a:gd name="connsiteX345" fmla="*/ 269748 w 1029843"/>
                <a:gd name="connsiteY345" fmla="*/ 273558 h 845819"/>
                <a:gd name="connsiteX346" fmla="*/ 267748 w 1029843"/>
                <a:gd name="connsiteY346" fmla="*/ 270605 h 845819"/>
                <a:gd name="connsiteX347" fmla="*/ 254318 w 1029843"/>
                <a:gd name="connsiteY347" fmla="*/ 265938 h 845819"/>
                <a:gd name="connsiteX348" fmla="*/ 254889 w 1029843"/>
                <a:gd name="connsiteY348" fmla="*/ 270605 h 845819"/>
                <a:gd name="connsiteX349" fmla="*/ 256508 w 1029843"/>
                <a:gd name="connsiteY349" fmla="*/ 270415 h 845819"/>
                <a:gd name="connsiteX350" fmla="*/ 253746 w 1029843"/>
                <a:gd name="connsiteY350" fmla="*/ 274034 h 845819"/>
                <a:gd name="connsiteX351" fmla="*/ 257461 w 1029843"/>
                <a:gd name="connsiteY351" fmla="*/ 278320 h 845819"/>
                <a:gd name="connsiteX352" fmla="*/ 256508 w 1029843"/>
                <a:gd name="connsiteY352" fmla="*/ 283273 h 845819"/>
                <a:gd name="connsiteX353" fmla="*/ 254699 w 1029843"/>
                <a:gd name="connsiteY353" fmla="*/ 281845 h 845819"/>
                <a:gd name="connsiteX354" fmla="*/ 253365 w 1029843"/>
                <a:gd name="connsiteY354" fmla="*/ 283655 h 845819"/>
                <a:gd name="connsiteX355" fmla="*/ 248031 w 1029843"/>
                <a:gd name="connsiteY355" fmla="*/ 279559 h 845819"/>
                <a:gd name="connsiteX356" fmla="*/ 247841 w 1029843"/>
                <a:gd name="connsiteY356" fmla="*/ 290798 h 845819"/>
                <a:gd name="connsiteX357" fmla="*/ 240125 w 1029843"/>
                <a:gd name="connsiteY357" fmla="*/ 293370 h 845819"/>
                <a:gd name="connsiteX358" fmla="*/ 238411 w 1029843"/>
                <a:gd name="connsiteY358" fmla="*/ 292036 h 845819"/>
                <a:gd name="connsiteX359" fmla="*/ 229076 w 1029843"/>
                <a:gd name="connsiteY359" fmla="*/ 294799 h 845819"/>
                <a:gd name="connsiteX360" fmla="*/ 228124 w 1029843"/>
                <a:gd name="connsiteY360" fmla="*/ 299752 h 845819"/>
                <a:gd name="connsiteX361" fmla="*/ 226790 w 1029843"/>
                <a:gd name="connsiteY361" fmla="*/ 301466 h 845819"/>
                <a:gd name="connsiteX362" fmla="*/ 230505 w 1029843"/>
                <a:gd name="connsiteY362" fmla="*/ 305848 h 845819"/>
                <a:gd name="connsiteX363" fmla="*/ 231743 w 1029843"/>
                <a:gd name="connsiteY363" fmla="*/ 315278 h 845819"/>
                <a:gd name="connsiteX364" fmla="*/ 238697 w 1029843"/>
                <a:gd name="connsiteY364" fmla="*/ 319183 h 845819"/>
                <a:gd name="connsiteX365" fmla="*/ 237649 w 1029843"/>
                <a:gd name="connsiteY365" fmla="*/ 324136 h 845819"/>
                <a:gd name="connsiteX366" fmla="*/ 232982 w 1029843"/>
                <a:gd name="connsiteY366" fmla="*/ 324803 h 845819"/>
                <a:gd name="connsiteX367" fmla="*/ 234887 w 1029843"/>
                <a:gd name="connsiteY367" fmla="*/ 327755 h 845819"/>
                <a:gd name="connsiteX368" fmla="*/ 232124 w 1029843"/>
                <a:gd name="connsiteY368" fmla="*/ 331280 h 845819"/>
                <a:gd name="connsiteX369" fmla="*/ 231172 w 1029843"/>
                <a:gd name="connsiteY369" fmla="*/ 336232 h 845819"/>
                <a:gd name="connsiteX370" fmla="*/ 226219 w 1029843"/>
                <a:gd name="connsiteY370" fmla="*/ 335280 h 845819"/>
                <a:gd name="connsiteX371" fmla="*/ 223838 w 1029843"/>
                <a:gd name="connsiteY371" fmla="*/ 329089 h 845819"/>
                <a:gd name="connsiteX372" fmla="*/ 220885 w 1029843"/>
                <a:gd name="connsiteY372" fmla="*/ 331089 h 845819"/>
                <a:gd name="connsiteX373" fmla="*/ 218123 w 1029843"/>
                <a:gd name="connsiteY373" fmla="*/ 334709 h 845819"/>
                <a:gd name="connsiteX374" fmla="*/ 221933 w 1029843"/>
                <a:gd name="connsiteY374" fmla="*/ 338995 h 845819"/>
                <a:gd name="connsiteX375" fmla="*/ 222123 w 1029843"/>
                <a:gd name="connsiteY375" fmla="*/ 340614 h 845819"/>
                <a:gd name="connsiteX376" fmla="*/ 218789 w 1029843"/>
                <a:gd name="connsiteY376" fmla="*/ 339376 h 845819"/>
                <a:gd name="connsiteX377" fmla="*/ 218980 w 1029843"/>
                <a:gd name="connsiteY377" fmla="*/ 340995 h 845819"/>
                <a:gd name="connsiteX378" fmla="*/ 213836 w 1029843"/>
                <a:gd name="connsiteY378" fmla="*/ 338423 h 845819"/>
                <a:gd name="connsiteX379" fmla="*/ 212693 w 1029843"/>
                <a:gd name="connsiteY379" fmla="*/ 341757 h 845819"/>
                <a:gd name="connsiteX380" fmla="*/ 207740 w 1029843"/>
                <a:gd name="connsiteY380" fmla="*/ 340805 h 845819"/>
                <a:gd name="connsiteX381" fmla="*/ 203168 w 1029843"/>
                <a:gd name="connsiteY381" fmla="*/ 342995 h 845819"/>
                <a:gd name="connsiteX382" fmla="*/ 196691 w 1029843"/>
                <a:gd name="connsiteY382" fmla="*/ 342233 h 845819"/>
                <a:gd name="connsiteX383" fmla="*/ 196025 w 1029843"/>
                <a:gd name="connsiteY383" fmla="*/ 337471 h 845819"/>
                <a:gd name="connsiteX384" fmla="*/ 192691 w 1029843"/>
                <a:gd name="connsiteY384" fmla="*/ 336328 h 845819"/>
                <a:gd name="connsiteX385" fmla="*/ 195834 w 1029843"/>
                <a:gd name="connsiteY385" fmla="*/ 335947 h 845819"/>
                <a:gd name="connsiteX386" fmla="*/ 195453 w 1029843"/>
                <a:gd name="connsiteY386" fmla="*/ 332708 h 845819"/>
                <a:gd name="connsiteX387" fmla="*/ 190691 w 1029843"/>
                <a:gd name="connsiteY387" fmla="*/ 333375 h 845819"/>
                <a:gd name="connsiteX388" fmla="*/ 188786 w 1029843"/>
                <a:gd name="connsiteY388" fmla="*/ 330422 h 845819"/>
                <a:gd name="connsiteX389" fmla="*/ 196882 w 1029843"/>
                <a:gd name="connsiteY389" fmla="*/ 330994 h 845819"/>
                <a:gd name="connsiteX390" fmla="*/ 196596 w 1029843"/>
                <a:gd name="connsiteY390" fmla="*/ 329375 h 845819"/>
                <a:gd name="connsiteX391" fmla="*/ 193262 w 1029843"/>
                <a:gd name="connsiteY391" fmla="*/ 328232 h 845819"/>
                <a:gd name="connsiteX392" fmla="*/ 191072 w 1029843"/>
                <a:gd name="connsiteY392" fmla="*/ 323659 h 845819"/>
                <a:gd name="connsiteX393" fmla="*/ 194215 w 1029843"/>
                <a:gd name="connsiteY393" fmla="*/ 323279 h 845819"/>
                <a:gd name="connsiteX394" fmla="*/ 190119 w 1029843"/>
                <a:gd name="connsiteY394" fmla="*/ 315754 h 845819"/>
                <a:gd name="connsiteX395" fmla="*/ 191262 w 1029843"/>
                <a:gd name="connsiteY395" fmla="*/ 312420 h 845819"/>
                <a:gd name="connsiteX396" fmla="*/ 187928 w 1029843"/>
                <a:gd name="connsiteY396" fmla="*/ 311277 h 845819"/>
                <a:gd name="connsiteX397" fmla="*/ 182023 w 1029843"/>
                <a:gd name="connsiteY397" fmla="*/ 315182 h 845819"/>
                <a:gd name="connsiteX398" fmla="*/ 181832 w 1029843"/>
                <a:gd name="connsiteY398" fmla="*/ 326422 h 845819"/>
                <a:gd name="connsiteX399" fmla="*/ 174879 w 1029843"/>
                <a:gd name="connsiteY399" fmla="*/ 322517 h 845819"/>
                <a:gd name="connsiteX400" fmla="*/ 172784 w 1029843"/>
                <a:gd name="connsiteY400" fmla="*/ 318040 h 845819"/>
                <a:gd name="connsiteX401" fmla="*/ 166021 w 1029843"/>
                <a:gd name="connsiteY401" fmla="*/ 315659 h 845819"/>
                <a:gd name="connsiteX402" fmla="*/ 164402 w 1029843"/>
                <a:gd name="connsiteY402" fmla="*/ 315849 h 845819"/>
                <a:gd name="connsiteX403" fmla="*/ 160306 w 1029843"/>
                <a:gd name="connsiteY403" fmla="*/ 308324 h 845819"/>
                <a:gd name="connsiteX404" fmla="*/ 161449 w 1029843"/>
                <a:gd name="connsiteY404" fmla="*/ 304990 h 845819"/>
                <a:gd name="connsiteX405" fmla="*/ 153162 w 1029843"/>
                <a:gd name="connsiteY405" fmla="*/ 302895 h 845819"/>
                <a:gd name="connsiteX406" fmla="*/ 152019 w 1029843"/>
                <a:gd name="connsiteY406" fmla="*/ 306229 h 845819"/>
                <a:gd name="connsiteX407" fmla="*/ 150400 w 1029843"/>
                <a:gd name="connsiteY407" fmla="*/ 306419 h 845819"/>
                <a:gd name="connsiteX408" fmla="*/ 148209 w 1029843"/>
                <a:gd name="connsiteY408" fmla="*/ 301847 h 845819"/>
                <a:gd name="connsiteX409" fmla="*/ 144113 w 1029843"/>
                <a:gd name="connsiteY409" fmla="*/ 307181 h 845819"/>
                <a:gd name="connsiteX410" fmla="*/ 142113 w 1029843"/>
                <a:gd name="connsiteY410" fmla="*/ 304229 h 845819"/>
                <a:gd name="connsiteX411" fmla="*/ 133826 w 1029843"/>
                <a:gd name="connsiteY411" fmla="*/ 302133 h 845819"/>
                <a:gd name="connsiteX412" fmla="*/ 134969 w 1029843"/>
                <a:gd name="connsiteY412" fmla="*/ 298704 h 845819"/>
                <a:gd name="connsiteX413" fmla="*/ 126302 w 1029843"/>
                <a:gd name="connsiteY413" fmla="*/ 293465 h 845819"/>
                <a:gd name="connsiteX414" fmla="*/ 124968 w 1029843"/>
                <a:gd name="connsiteY414" fmla="*/ 295180 h 845819"/>
                <a:gd name="connsiteX415" fmla="*/ 121349 w 1029843"/>
                <a:gd name="connsiteY415" fmla="*/ 292513 h 845819"/>
                <a:gd name="connsiteX416" fmla="*/ 116681 w 1029843"/>
                <a:gd name="connsiteY416" fmla="*/ 293084 h 845819"/>
                <a:gd name="connsiteX417" fmla="*/ 115253 w 1029843"/>
                <a:gd name="connsiteY417" fmla="*/ 294894 h 845819"/>
                <a:gd name="connsiteX418" fmla="*/ 111538 w 1029843"/>
                <a:gd name="connsiteY418" fmla="*/ 290513 h 845819"/>
                <a:gd name="connsiteX419" fmla="*/ 110300 w 1029843"/>
                <a:gd name="connsiteY419" fmla="*/ 293846 h 845819"/>
                <a:gd name="connsiteX420" fmla="*/ 107156 w 1029843"/>
                <a:gd name="connsiteY420" fmla="*/ 294323 h 845819"/>
                <a:gd name="connsiteX421" fmla="*/ 106013 w 1029843"/>
                <a:gd name="connsiteY421" fmla="*/ 297656 h 845819"/>
                <a:gd name="connsiteX422" fmla="*/ 104394 w 1029843"/>
                <a:gd name="connsiteY422" fmla="*/ 297847 h 845819"/>
                <a:gd name="connsiteX423" fmla="*/ 101632 w 1029843"/>
                <a:gd name="connsiteY423" fmla="*/ 301371 h 845819"/>
                <a:gd name="connsiteX424" fmla="*/ 103442 w 1029843"/>
                <a:gd name="connsiteY424" fmla="*/ 302800 h 845819"/>
                <a:gd name="connsiteX425" fmla="*/ 95726 w 1029843"/>
                <a:gd name="connsiteY425" fmla="*/ 305371 h 845819"/>
                <a:gd name="connsiteX426" fmla="*/ 96583 w 1029843"/>
                <a:gd name="connsiteY426" fmla="*/ 311658 h 845819"/>
                <a:gd name="connsiteX427" fmla="*/ 91631 w 1029843"/>
                <a:gd name="connsiteY427" fmla="*/ 310705 h 845819"/>
                <a:gd name="connsiteX428" fmla="*/ 93631 w 1029843"/>
                <a:gd name="connsiteY428" fmla="*/ 313658 h 845819"/>
                <a:gd name="connsiteX429" fmla="*/ 92869 w 1029843"/>
                <a:gd name="connsiteY429" fmla="*/ 320135 h 845819"/>
                <a:gd name="connsiteX430" fmla="*/ 93250 w 1029843"/>
                <a:gd name="connsiteY430" fmla="*/ 323279 h 845819"/>
                <a:gd name="connsiteX431" fmla="*/ 88487 w 1029843"/>
                <a:gd name="connsiteY431" fmla="*/ 323945 h 845819"/>
                <a:gd name="connsiteX432" fmla="*/ 85344 w 1029843"/>
                <a:gd name="connsiteY432" fmla="*/ 324326 h 845819"/>
                <a:gd name="connsiteX433" fmla="*/ 80772 w 1029843"/>
                <a:gd name="connsiteY433" fmla="*/ 326517 h 845819"/>
                <a:gd name="connsiteX434" fmla="*/ 71723 w 1029843"/>
                <a:gd name="connsiteY434" fmla="*/ 318040 h 845819"/>
                <a:gd name="connsiteX435" fmla="*/ 63246 w 1029843"/>
                <a:gd name="connsiteY435" fmla="*/ 314325 h 845819"/>
                <a:gd name="connsiteX436" fmla="*/ 54959 w 1029843"/>
                <a:gd name="connsiteY436" fmla="*/ 312134 h 845819"/>
                <a:gd name="connsiteX437" fmla="*/ 51149 w 1029843"/>
                <a:gd name="connsiteY437" fmla="*/ 307848 h 845819"/>
                <a:gd name="connsiteX438" fmla="*/ 47625 w 1029843"/>
                <a:gd name="connsiteY438" fmla="*/ 305086 h 845819"/>
                <a:gd name="connsiteX439" fmla="*/ 35528 w 1029843"/>
                <a:gd name="connsiteY439" fmla="*/ 298609 h 845819"/>
                <a:gd name="connsiteX440" fmla="*/ 34195 w 1029843"/>
                <a:gd name="connsiteY440" fmla="*/ 300419 h 845819"/>
                <a:gd name="connsiteX441" fmla="*/ 29242 w 1029843"/>
                <a:gd name="connsiteY441" fmla="*/ 299371 h 845819"/>
                <a:gd name="connsiteX442" fmla="*/ 28670 w 1029843"/>
                <a:gd name="connsiteY442" fmla="*/ 294704 h 845819"/>
                <a:gd name="connsiteX443" fmla="*/ 26670 w 1029843"/>
                <a:gd name="connsiteY443" fmla="*/ 291751 h 845819"/>
                <a:gd name="connsiteX444" fmla="*/ 25527 w 1029843"/>
                <a:gd name="connsiteY444" fmla="*/ 295084 h 845819"/>
                <a:gd name="connsiteX445" fmla="*/ 23908 w 1029843"/>
                <a:gd name="connsiteY445" fmla="*/ 295275 h 845819"/>
                <a:gd name="connsiteX446" fmla="*/ 24289 w 1029843"/>
                <a:gd name="connsiteY446" fmla="*/ 298418 h 845819"/>
                <a:gd name="connsiteX447" fmla="*/ 22765 w 1029843"/>
                <a:gd name="connsiteY447" fmla="*/ 298609 h 845819"/>
                <a:gd name="connsiteX448" fmla="*/ 23336 w 1029843"/>
                <a:gd name="connsiteY448" fmla="*/ 303371 h 845819"/>
                <a:gd name="connsiteX449" fmla="*/ 16859 w 1029843"/>
                <a:gd name="connsiteY449" fmla="*/ 302609 h 845819"/>
                <a:gd name="connsiteX450" fmla="*/ 17240 w 1029843"/>
                <a:gd name="connsiteY450" fmla="*/ 305753 h 845819"/>
                <a:gd name="connsiteX451" fmla="*/ 9335 w 1029843"/>
                <a:gd name="connsiteY451" fmla="*/ 306705 h 845819"/>
                <a:gd name="connsiteX452" fmla="*/ 4953 w 1029843"/>
                <a:gd name="connsiteY452" fmla="*/ 310515 h 845819"/>
                <a:gd name="connsiteX453" fmla="*/ 6001 w 1029843"/>
                <a:gd name="connsiteY453" fmla="*/ 318421 h 845819"/>
                <a:gd name="connsiteX454" fmla="*/ 8001 w 1029843"/>
                <a:gd name="connsiteY454" fmla="*/ 321373 h 845819"/>
                <a:gd name="connsiteX455" fmla="*/ 11335 w 1029843"/>
                <a:gd name="connsiteY455" fmla="*/ 322517 h 845819"/>
                <a:gd name="connsiteX456" fmla="*/ 18860 w 1029843"/>
                <a:gd name="connsiteY456" fmla="*/ 331184 h 845819"/>
                <a:gd name="connsiteX457" fmla="*/ 19431 w 1029843"/>
                <a:gd name="connsiteY457" fmla="*/ 335947 h 845819"/>
                <a:gd name="connsiteX458" fmla="*/ 18288 w 1029843"/>
                <a:gd name="connsiteY458" fmla="*/ 339280 h 845819"/>
                <a:gd name="connsiteX459" fmla="*/ 16954 w 1029843"/>
                <a:gd name="connsiteY459" fmla="*/ 341090 h 845819"/>
                <a:gd name="connsiteX460" fmla="*/ 20288 w 1029843"/>
                <a:gd name="connsiteY460" fmla="*/ 342233 h 845819"/>
                <a:gd name="connsiteX461" fmla="*/ 25622 w 1029843"/>
                <a:gd name="connsiteY461" fmla="*/ 346329 h 845819"/>
                <a:gd name="connsiteX462" fmla="*/ 24194 w 1029843"/>
                <a:gd name="connsiteY462" fmla="*/ 348139 h 845819"/>
                <a:gd name="connsiteX463" fmla="*/ 24670 w 1029843"/>
                <a:gd name="connsiteY463" fmla="*/ 351282 h 845819"/>
                <a:gd name="connsiteX464" fmla="*/ 21241 w 1029843"/>
                <a:gd name="connsiteY464" fmla="*/ 350139 h 845819"/>
                <a:gd name="connsiteX465" fmla="*/ 19907 w 1029843"/>
                <a:gd name="connsiteY465" fmla="*/ 351949 h 845819"/>
                <a:gd name="connsiteX466" fmla="*/ 21431 w 1029843"/>
                <a:gd name="connsiteY466" fmla="*/ 351663 h 845819"/>
                <a:gd name="connsiteX467" fmla="*/ 21908 w 1029843"/>
                <a:gd name="connsiteY467" fmla="*/ 354902 h 845819"/>
                <a:gd name="connsiteX468" fmla="*/ 20669 w 1029843"/>
                <a:gd name="connsiteY468" fmla="*/ 358235 h 845819"/>
                <a:gd name="connsiteX469" fmla="*/ 22289 w 1029843"/>
                <a:gd name="connsiteY469" fmla="*/ 358045 h 845819"/>
                <a:gd name="connsiteX470" fmla="*/ 21527 w 1029843"/>
                <a:gd name="connsiteY470" fmla="*/ 364522 h 845819"/>
                <a:gd name="connsiteX471" fmla="*/ 19907 w 1029843"/>
                <a:gd name="connsiteY471" fmla="*/ 364712 h 845819"/>
                <a:gd name="connsiteX472" fmla="*/ 20574 w 1029843"/>
                <a:gd name="connsiteY472" fmla="*/ 369475 h 845819"/>
                <a:gd name="connsiteX473" fmla="*/ 16193 w 1029843"/>
                <a:gd name="connsiteY473" fmla="*/ 373190 h 845819"/>
                <a:gd name="connsiteX474" fmla="*/ 18574 w 1029843"/>
                <a:gd name="connsiteY474" fmla="*/ 379381 h 845819"/>
                <a:gd name="connsiteX475" fmla="*/ 23146 w 1029843"/>
                <a:gd name="connsiteY475" fmla="*/ 377190 h 845819"/>
                <a:gd name="connsiteX476" fmla="*/ 23527 w 1029843"/>
                <a:gd name="connsiteY476" fmla="*/ 380333 h 845819"/>
                <a:gd name="connsiteX477" fmla="*/ 26479 w 1029843"/>
                <a:gd name="connsiteY477" fmla="*/ 378333 h 845819"/>
                <a:gd name="connsiteX478" fmla="*/ 28289 w 1029843"/>
                <a:gd name="connsiteY478" fmla="*/ 379667 h 845819"/>
                <a:gd name="connsiteX479" fmla="*/ 34195 w 1029843"/>
                <a:gd name="connsiteY479" fmla="*/ 388620 h 845819"/>
                <a:gd name="connsiteX480" fmla="*/ 34576 w 1029843"/>
                <a:gd name="connsiteY480" fmla="*/ 391763 h 845819"/>
                <a:gd name="connsiteX481" fmla="*/ 29813 w 1029843"/>
                <a:gd name="connsiteY481" fmla="*/ 392335 h 845819"/>
                <a:gd name="connsiteX482" fmla="*/ 30480 w 1029843"/>
                <a:gd name="connsiteY482" fmla="*/ 397097 h 845819"/>
                <a:gd name="connsiteX483" fmla="*/ 33814 w 1029843"/>
                <a:gd name="connsiteY483" fmla="*/ 398240 h 845819"/>
                <a:gd name="connsiteX484" fmla="*/ 32671 w 1029843"/>
                <a:gd name="connsiteY484" fmla="*/ 401574 h 845819"/>
                <a:gd name="connsiteX485" fmla="*/ 39338 w 1029843"/>
                <a:gd name="connsiteY485" fmla="*/ 403955 h 845819"/>
                <a:gd name="connsiteX486" fmla="*/ 34100 w 1029843"/>
                <a:gd name="connsiteY486" fmla="*/ 425482 h 845819"/>
                <a:gd name="connsiteX487" fmla="*/ 32290 w 1029843"/>
                <a:gd name="connsiteY487" fmla="*/ 424053 h 845819"/>
                <a:gd name="connsiteX488" fmla="*/ 31147 w 1029843"/>
                <a:gd name="connsiteY488" fmla="*/ 427482 h 845819"/>
                <a:gd name="connsiteX489" fmla="*/ 29147 w 1029843"/>
                <a:gd name="connsiteY489" fmla="*/ 424529 h 845819"/>
                <a:gd name="connsiteX490" fmla="*/ 28004 w 1029843"/>
                <a:gd name="connsiteY490" fmla="*/ 427863 h 845819"/>
                <a:gd name="connsiteX491" fmla="*/ 21622 w 1029843"/>
                <a:gd name="connsiteY491" fmla="*/ 428625 h 845819"/>
                <a:gd name="connsiteX492" fmla="*/ 22479 w 1029843"/>
                <a:gd name="connsiteY492" fmla="*/ 435007 h 845819"/>
                <a:gd name="connsiteX493" fmla="*/ 24003 w 1029843"/>
                <a:gd name="connsiteY493" fmla="*/ 434816 h 845819"/>
                <a:gd name="connsiteX494" fmla="*/ 24479 w 1029843"/>
                <a:gd name="connsiteY494" fmla="*/ 437959 h 845819"/>
                <a:gd name="connsiteX495" fmla="*/ 21527 w 1029843"/>
                <a:gd name="connsiteY495" fmla="*/ 439865 h 845819"/>
                <a:gd name="connsiteX496" fmla="*/ 26861 w 1029843"/>
                <a:gd name="connsiteY496" fmla="*/ 444055 h 845819"/>
                <a:gd name="connsiteX497" fmla="*/ 25622 w 1029843"/>
                <a:gd name="connsiteY497" fmla="*/ 447389 h 845819"/>
                <a:gd name="connsiteX498" fmla="*/ 22479 w 1029843"/>
                <a:gd name="connsiteY498" fmla="*/ 447770 h 845819"/>
                <a:gd name="connsiteX499" fmla="*/ 21146 w 1029843"/>
                <a:gd name="connsiteY499" fmla="*/ 449580 h 845819"/>
                <a:gd name="connsiteX500" fmla="*/ 19526 w 1029843"/>
                <a:gd name="connsiteY500" fmla="*/ 449771 h 845819"/>
                <a:gd name="connsiteX501" fmla="*/ 20955 w 1029843"/>
                <a:gd name="connsiteY501" fmla="*/ 447961 h 845819"/>
                <a:gd name="connsiteX502" fmla="*/ 19145 w 1029843"/>
                <a:gd name="connsiteY502" fmla="*/ 446627 h 845819"/>
                <a:gd name="connsiteX503" fmla="*/ 17717 w 1029843"/>
                <a:gd name="connsiteY503" fmla="*/ 448437 h 845819"/>
                <a:gd name="connsiteX504" fmla="*/ 14383 w 1029843"/>
                <a:gd name="connsiteY504" fmla="*/ 447199 h 845819"/>
                <a:gd name="connsiteX505" fmla="*/ 13049 w 1029843"/>
                <a:gd name="connsiteY505" fmla="*/ 449009 h 845819"/>
                <a:gd name="connsiteX506" fmla="*/ 9430 w 1029843"/>
                <a:gd name="connsiteY506" fmla="*/ 446246 h 845819"/>
                <a:gd name="connsiteX507" fmla="*/ 6953 w 1029843"/>
                <a:gd name="connsiteY507" fmla="*/ 451390 h 845819"/>
                <a:gd name="connsiteX508" fmla="*/ 0 w 1029843"/>
                <a:gd name="connsiteY508" fmla="*/ 460248 h 845819"/>
                <a:gd name="connsiteX509" fmla="*/ 5525 w 1029843"/>
                <a:gd name="connsiteY509" fmla="*/ 465963 h 845819"/>
                <a:gd name="connsiteX510" fmla="*/ 9525 w 1029843"/>
                <a:gd name="connsiteY510" fmla="*/ 471869 h 845819"/>
                <a:gd name="connsiteX511" fmla="*/ 12668 w 1029843"/>
                <a:gd name="connsiteY511" fmla="*/ 471488 h 845819"/>
                <a:gd name="connsiteX512" fmla="*/ 18002 w 1029843"/>
                <a:gd name="connsiteY512" fmla="*/ 475679 h 845819"/>
                <a:gd name="connsiteX513" fmla="*/ 16478 w 1029843"/>
                <a:gd name="connsiteY513" fmla="*/ 475869 h 845819"/>
                <a:gd name="connsiteX514" fmla="*/ 12287 w 1029843"/>
                <a:gd name="connsiteY514" fmla="*/ 481203 h 845819"/>
                <a:gd name="connsiteX515" fmla="*/ 15050 w 1029843"/>
                <a:gd name="connsiteY515" fmla="*/ 490442 h 845819"/>
                <a:gd name="connsiteX516" fmla="*/ 17240 w 1029843"/>
                <a:gd name="connsiteY516" fmla="*/ 495014 h 845819"/>
                <a:gd name="connsiteX517" fmla="*/ 20860 w 1029843"/>
                <a:gd name="connsiteY517" fmla="*/ 497681 h 845819"/>
                <a:gd name="connsiteX518" fmla="*/ 27718 w 1029843"/>
                <a:gd name="connsiteY518" fmla="*/ 501682 h 845819"/>
                <a:gd name="connsiteX519" fmla="*/ 34481 w 1029843"/>
                <a:gd name="connsiteY519" fmla="*/ 503968 h 845819"/>
                <a:gd name="connsiteX520" fmla="*/ 37433 w 1029843"/>
                <a:gd name="connsiteY520" fmla="*/ 502063 h 845819"/>
                <a:gd name="connsiteX521" fmla="*/ 42767 w 1029843"/>
                <a:gd name="connsiteY521" fmla="*/ 493300 h 845819"/>
                <a:gd name="connsiteX522" fmla="*/ 46673 w 1029843"/>
                <a:gd name="connsiteY522" fmla="*/ 499205 h 845819"/>
                <a:gd name="connsiteX523" fmla="*/ 55150 w 1029843"/>
                <a:gd name="connsiteY523" fmla="*/ 502920 h 845819"/>
                <a:gd name="connsiteX524" fmla="*/ 58579 w 1029843"/>
                <a:gd name="connsiteY524" fmla="*/ 504158 h 845819"/>
                <a:gd name="connsiteX525" fmla="*/ 57150 w 1029843"/>
                <a:gd name="connsiteY525" fmla="*/ 505968 h 845819"/>
                <a:gd name="connsiteX526" fmla="*/ 55817 w 1029843"/>
                <a:gd name="connsiteY526" fmla="*/ 507682 h 845819"/>
                <a:gd name="connsiteX527" fmla="*/ 54197 w 1029843"/>
                <a:gd name="connsiteY527" fmla="*/ 507873 h 845819"/>
                <a:gd name="connsiteX528" fmla="*/ 53626 w 1029843"/>
                <a:gd name="connsiteY528" fmla="*/ 515969 h 845819"/>
                <a:gd name="connsiteX529" fmla="*/ 56960 w 1029843"/>
                <a:gd name="connsiteY529" fmla="*/ 517207 h 845819"/>
                <a:gd name="connsiteX530" fmla="*/ 61150 w 1029843"/>
                <a:gd name="connsiteY530" fmla="*/ 511873 h 845819"/>
                <a:gd name="connsiteX531" fmla="*/ 62865 w 1029843"/>
                <a:gd name="connsiteY531" fmla="*/ 513207 h 845819"/>
                <a:gd name="connsiteX532" fmla="*/ 63056 w 1029843"/>
                <a:gd name="connsiteY532" fmla="*/ 514826 h 845819"/>
                <a:gd name="connsiteX533" fmla="*/ 67056 w 1029843"/>
                <a:gd name="connsiteY533" fmla="*/ 520732 h 845819"/>
                <a:gd name="connsiteX534" fmla="*/ 68675 w 1029843"/>
                <a:gd name="connsiteY534" fmla="*/ 520541 h 845819"/>
                <a:gd name="connsiteX535" fmla="*/ 70580 w 1029843"/>
                <a:gd name="connsiteY535" fmla="*/ 523494 h 845819"/>
                <a:gd name="connsiteX536" fmla="*/ 73819 w 1029843"/>
                <a:gd name="connsiteY536" fmla="*/ 523018 h 845819"/>
                <a:gd name="connsiteX537" fmla="*/ 77533 w 1029843"/>
                <a:gd name="connsiteY537" fmla="*/ 527399 h 845819"/>
                <a:gd name="connsiteX538" fmla="*/ 78105 w 1029843"/>
                <a:gd name="connsiteY538" fmla="*/ 532162 h 845819"/>
                <a:gd name="connsiteX539" fmla="*/ 74771 w 1029843"/>
                <a:gd name="connsiteY539" fmla="*/ 530924 h 845819"/>
                <a:gd name="connsiteX540" fmla="*/ 68866 w 1029843"/>
                <a:gd name="connsiteY540" fmla="*/ 534924 h 845819"/>
                <a:gd name="connsiteX541" fmla="*/ 69247 w 1029843"/>
                <a:gd name="connsiteY541" fmla="*/ 538067 h 845819"/>
                <a:gd name="connsiteX542" fmla="*/ 72866 w 1029843"/>
                <a:gd name="connsiteY542" fmla="*/ 540830 h 845819"/>
                <a:gd name="connsiteX543" fmla="*/ 73438 w 1029843"/>
                <a:gd name="connsiteY543" fmla="*/ 545592 h 845819"/>
                <a:gd name="connsiteX544" fmla="*/ 70866 w 1029843"/>
                <a:gd name="connsiteY544" fmla="*/ 550640 h 845819"/>
                <a:gd name="connsiteX545" fmla="*/ 74486 w 1029843"/>
                <a:gd name="connsiteY545" fmla="*/ 553403 h 845819"/>
                <a:gd name="connsiteX546" fmla="*/ 84677 w 1029843"/>
                <a:gd name="connsiteY546" fmla="*/ 558546 h 845819"/>
                <a:gd name="connsiteX547" fmla="*/ 85154 w 1029843"/>
                <a:gd name="connsiteY547" fmla="*/ 561689 h 845819"/>
                <a:gd name="connsiteX548" fmla="*/ 86868 w 1029843"/>
                <a:gd name="connsiteY548" fmla="*/ 563118 h 845819"/>
                <a:gd name="connsiteX549" fmla="*/ 88106 w 1029843"/>
                <a:gd name="connsiteY549" fmla="*/ 559689 h 845819"/>
                <a:gd name="connsiteX550" fmla="*/ 89630 w 1029843"/>
                <a:gd name="connsiteY550" fmla="*/ 559499 h 845819"/>
                <a:gd name="connsiteX551" fmla="*/ 90011 w 1029843"/>
                <a:gd name="connsiteY551" fmla="*/ 562642 h 845819"/>
                <a:gd name="connsiteX552" fmla="*/ 91821 w 1029843"/>
                <a:gd name="connsiteY552" fmla="*/ 564071 h 845819"/>
                <a:gd name="connsiteX553" fmla="*/ 93250 w 1029843"/>
                <a:gd name="connsiteY553" fmla="*/ 562261 h 845819"/>
                <a:gd name="connsiteX554" fmla="*/ 94774 w 1029843"/>
                <a:gd name="connsiteY554" fmla="*/ 562070 h 845819"/>
                <a:gd name="connsiteX555" fmla="*/ 94393 w 1029843"/>
                <a:gd name="connsiteY555" fmla="*/ 558927 h 845819"/>
                <a:gd name="connsiteX556" fmla="*/ 104013 w 1029843"/>
                <a:gd name="connsiteY556" fmla="*/ 559308 h 845819"/>
                <a:gd name="connsiteX557" fmla="*/ 108204 w 1029843"/>
                <a:gd name="connsiteY557" fmla="*/ 553974 h 845819"/>
                <a:gd name="connsiteX558" fmla="*/ 111347 w 1029843"/>
                <a:gd name="connsiteY558" fmla="*/ 553593 h 845819"/>
                <a:gd name="connsiteX559" fmla="*/ 113157 w 1029843"/>
                <a:gd name="connsiteY559" fmla="*/ 554927 h 845819"/>
                <a:gd name="connsiteX560" fmla="*/ 113348 w 1029843"/>
                <a:gd name="connsiteY560" fmla="*/ 556546 h 845819"/>
                <a:gd name="connsiteX561" fmla="*/ 116872 w 1029843"/>
                <a:gd name="connsiteY561" fmla="*/ 559308 h 845819"/>
                <a:gd name="connsiteX562" fmla="*/ 117062 w 1029843"/>
                <a:gd name="connsiteY562" fmla="*/ 560832 h 845819"/>
                <a:gd name="connsiteX563" fmla="*/ 120015 w 1029843"/>
                <a:gd name="connsiteY563" fmla="*/ 558832 h 845819"/>
                <a:gd name="connsiteX564" fmla="*/ 123635 w 1029843"/>
                <a:gd name="connsiteY564" fmla="*/ 561594 h 845819"/>
                <a:gd name="connsiteX565" fmla="*/ 124968 w 1029843"/>
                <a:gd name="connsiteY565" fmla="*/ 559880 h 845819"/>
                <a:gd name="connsiteX566" fmla="*/ 131731 w 1029843"/>
                <a:gd name="connsiteY566" fmla="*/ 562165 h 845819"/>
                <a:gd name="connsiteX567" fmla="*/ 138589 w 1029843"/>
                <a:gd name="connsiteY567" fmla="*/ 566071 h 845819"/>
                <a:gd name="connsiteX568" fmla="*/ 137255 w 1029843"/>
                <a:gd name="connsiteY568" fmla="*/ 567880 h 845819"/>
                <a:gd name="connsiteX569" fmla="*/ 140779 w 1029843"/>
                <a:gd name="connsiteY569" fmla="*/ 570643 h 845819"/>
                <a:gd name="connsiteX570" fmla="*/ 142113 w 1029843"/>
                <a:gd name="connsiteY570" fmla="*/ 568833 h 845819"/>
                <a:gd name="connsiteX571" fmla="*/ 146495 w 1029843"/>
                <a:gd name="connsiteY571" fmla="*/ 565118 h 845819"/>
                <a:gd name="connsiteX572" fmla="*/ 148876 w 1029843"/>
                <a:gd name="connsiteY572" fmla="*/ 558355 h 845819"/>
                <a:gd name="connsiteX573" fmla="*/ 155353 w 1029843"/>
                <a:gd name="connsiteY573" fmla="*/ 559213 h 845819"/>
                <a:gd name="connsiteX574" fmla="*/ 159734 w 1029843"/>
                <a:gd name="connsiteY574" fmla="*/ 555403 h 845819"/>
                <a:gd name="connsiteX575" fmla="*/ 164402 w 1029843"/>
                <a:gd name="connsiteY575" fmla="*/ 554831 h 845819"/>
                <a:gd name="connsiteX576" fmla="*/ 165830 w 1029843"/>
                <a:gd name="connsiteY576" fmla="*/ 553022 h 845819"/>
                <a:gd name="connsiteX577" fmla="*/ 170498 w 1029843"/>
                <a:gd name="connsiteY577" fmla="*/ 552450 h 845819"/>
                <a:gd name="connsiteX578" fmla="*/ 171736 w 1029843"/>
                <a:gd name="connsiteY578" fmla="*/ 549116 h 845819"/>
                <a:gd name="connsiteX579" fmla="*/ 172117 w 1029843"/>
                <a:gd name="connsiteY579" fmla="*/ 552259 h 845819"/>
                <a:gd name="connsiteX580" fmla="*/ 173736 w 1029843"/>
                <a:gd name="connsiteY580" fmla="*/ 552069 h 845819"/>
                <a:gd name="connsiteX581" fmla="*/ 174689 w 1029843"/>
                <a:gd name="connsiteY581" fmla="*/ 559880 h 845819"/>
                <a:gd name="connsiteX582" fmla="*/ 176308 w 1029843"/>
                <a:gd name="connsiteY582" fmla="*/ 559689 h 845819"/>
                <a:gd name="connsiteX583" fmla="*/ 176498 w 1029843"/>
                <a:gd name="connsiteY583" fmla="*/ 561308 h 845819"/>
                <a:gd name="connsiteX584" fmla="*/ 181166 w 1029843"/>
                <a:gd name="connsiteY584" fmla="*/ 560642 h 845819"/>
                <a:gd name="connsiteX585" fmla="*/ 184785 w 1029843"/>
                <a:gd name="connsiteY585" fmla="*/ 563404 h 845819"/>
                <a:gd name="connsiteX586" fmla="*/ 184975 w 1029843"/>
                <a:gd name="connsiteY586" fmla="*/ 565023 h 845819"/>
                <a:gd name="connsiteX587" fmla="*/ 189738 w 1029843"/>
                <a:gd name="connsiteY587" fmla="*/ 564452 h 845819"/>
                <a:gd name="connsiteX588" fmla="*/ 191929 w 1029843"/>
                <a:gd name="connsiteY588" fmla="*/ 568928 h 845819"/>
                <a:gd name="connsiteX589" fmla="*/ 187547 w 1029843"/>
                <a:gd name="connsiteY589" fmla="*/ 572738 h 845819"/>
                <a:gd name="connsiteX590" fmla="*/ 189738 w 1029843"/>
                <a:gd name="connsiteY590" fmla="*/ 577215 h 845819"/>
                <a:gd name="connsiteX591" fmla="*/ 189929 w 1029843"/>
                <a:gd name="connsiteY591" fmla="*/ 578834 h 845819"/>
                <a:gd name="connsiteX592" fmla="*/ 188404 w 1029843"/>
                <a:gd name="connsiteY592" fmla="*/ 579025 h 845819"/>
                <a:gd name="connsiteX593" fmla="*/ 191167 w 1029843"/>
                <a:gd name="connsiteY593" fmla="*/ 588264 h 845819"/>
                <a:gd name="connsiteX594" fmla="*/ 190214 w 1029843"/>
                <a:gd name="connsiteY594" fmla="*/ 593217 h 845819"/>
                <a:gd name="connsiteX595" fmla="*/ 191929 w 1029843"/>
                <a:gd name="connsiteY595" fmla="*/ 594551 h 845819"/>
                <a:gd name="connsiteX596" fmla="*/ 195929 w 1029843"/>
                <a:gd name="connsiteY596" fmla="*/ 600551 h 845819"/>
                <a:gd name="connsiteX597" fmla="*/ 191548 w 1029843"/>
                <a:gd name="connsiteY597" fmla="*/ 604266 h 845819"/>
                <a:gd name="connsiteX598" fmla="*/ 186881 w 1029843"/>
                <a:gd name="connsiteY598" fmla="*/ 604838 h 845819"/>
                <a:gd name="connsiteX599" fmla="*/ 184118 w 1029843"/>
                <a:gd name="connsiteY599" fmla="*/ 608457 h 845819"/>
                <a:gd name="connsiteX600" fmla="*/ 187452 w 1029843"/>
                <a:gd name="connsiteY600" fmla="*/ 609600 h 845819"/>
                <a:gd name="connsiteX601" fmla="*/ 189262 w 1029843"/>
                <a:gd name="connsiteY601" fmla="*/ 623792 h 845819"/>
                <a:gd name="connsiteX602" fmla="*/ 185547 w 1029843"/>
                <a:gd name="connsiteY602" fmla="*/ 632270 h 845819"/>
                <a:gd name="connsiteX603" fmla="*/ 192024 w 1029843"/>
                <a:gd name="connsiteY603" fmla="*/ 633032 h 845819"/>
                <a:gd name="connsiteX604" fmla="*/ 192881 w 1029843"/>
                <a:gd name="connsiteY604" fmla="*/ 639413 h 845819"/>
                <a:gd name="connsiteX605" fmla="*/ 194405 w 1029843"/>
                <a:gd name="connsiteY605" fmla="*/ 639223 h 845819"/>
                <a:gd name="connsiteX606" fmla="*/ 201168 w 1029843"/>
                <a:gd name="connsiteY606" fmla="*/ 641509 h 845819"/>
                <a:gd name="connsiteX607" fmla="*/ 199168 w 1029843"/>
                <a:gd name="connsiteY607" fmla="*/ 651415 h 845819"/>
                <a:gd name="connsiteX608" fmla="*/ 201930 w 1029843"/>
                <a:gd name="connsiteY608" fmla="*/ 647890 h 845819"/>
                <a:gd name="connsiteX609" fmla="*/ 202311 w 1029843"/>
                <a:gd name="connsiteY609" fmla="*/ 651034 h 845819"/>
                <a:gd name="connsiteX610" fmla="*/ 204121 w 1029843"/>
                <a:gd name="connsiteY610" fmla="*/ 652367 h 845819"/>
                <a:gd name="connsiteX611" fmla="*/ 201549 w 1029843"/>
                <a:gd name="connsiteY611" fmla="*/ 657511 h 845819"/>
                <a:gd name="connsiteX612" fmla="*/ 207454 w 1029843"/>
                <a:gd name="connsiteY612" fmla="*/ 653510 h 845819"/>
                <a:gd name="connsiteX613" fmla="*/ 203549 w 1029843"/>
                <a:gd name="connsiteY613" fmla="*/ 660463 h 845819"/>
                <a:gd name="connsiteX614" fmla="*/ 204311 w 1029843"/>
                <a:gd name="connsiteY614" fmla="*/ 666750 h 845819"/>
                <a:gd name="connsiteX615" fmla="*/ 201835 w 1029843"/>
                <a:gd name="connsiteY615" fmla="*/ 671894 h 845819"/>
                <a:gd name="connsiteX616" fmla="*/ 200025 w 1029843"/>
                <a:gd name="connsiteY616" fmla="*/ 670560 h 845819"/>
                <a:gd name="connsiteX617" fmla="*/ 197263 w 1029843"/>
                <a:gd name="connsiteY617" fmla="*/ 674084 h 845819"/>
                <a:gd name="connsiteX618" fmla="*/ 199073 w 1029843"/>
                <a:gd name="connsiteY618" fmla="*/ 675513 h 845819"/>
                <a:gd name="connsiteX619" fmla="*/ 201073 w 1029843"/>
                <a:gd name="connsiteY619" fmla="*/ 678466 h 845819"/>
                <a:gd name="connsiteX620" fmla="*/ 199454 w 1029843"/>
                <a:gd name="connsiteY620" fmla="*/ 678656 h 845819"/>
                <a:gd name="connsiteX621" fmla="*/ 198501 w 1029843"/>
                <a:gd name="connsiteY621" fmla="*/ 683609 h 845819"/>
                <a:gd name="connsiteX622" fmla="*/ 196691 w 1029843"/>
                <a:gd name="connsiteY622" fmla="*/ 682180 h 845819"/>
                <a:gd name="connsiteX623" fmla="*/ 197072 w 1029843"/>
                <a:gd name="connsiteY623" fmla="*/ 685324 h 845819"/>
                <a:gd name="connsiteX624" fmla="*/ 192596 w 1029843"/>
                <a:gd name="connsiteY624" fmla="*/ 687515 h 845819"/>
                <a:gd name="connsiteX625" fmla="*/ 191548 w 1029843"/>
                <a:gd name="connsiteY625" fmla="*/ 692468 h 845819"/>
                <a:gd name="connsiteX626" fmla="*/ 186690 w 1029843"/>
                <a:gd name="connsiteY626" fmla="*/ 691515 h 845819"/>
                <a:gd name="connsiteX627" fmla="*/ 185833 w 1029843"/>
                <a:gd name="connsiteY627" fmla="*/ 697992 h 845819"/>
                <a:gd name="connsiteX628" fmla="*/ 183928 w 1029843"/>
                <a:gd name="connsiteY628" fmla="*/ 695039 h 845819"/>
                <a:gd name="connsiteX629" fmla="*/ 182499 w 1029843"/>
                <a:gd name="connsiteY629" fmla="*/ 696849 h 845819"/>
                <a:gd name="connsiteX630" fmla="*/ 183166 w 1029843"/>
                <a:gd name="connsiteY630" fmla="*/ 701611 h 845819"/>
                <a:gd name="connsiteX631" fmla="*/ 179927 w 1029843"/>
                <a:gd name="connsiteY631" fmla="*/ 701993 h 845819"/>
                <a:gd name="connsiteX632" fmla="*/ 178213 w 1029843"/>
                <a:gd name="connsiteY632" fmla="*/ 700564 h 845819"/>
                <a:gd name="connsiteX633" fmla="*/ 176594 w 1029843"/>
                <a:gd name="connsiteY633" fmla="*/ 700754 h 845819"/>
                <a:gd name="connsiteX634" fmla="*/ 175641 w 1029843"/>
                <a:gd name="connsiteY634" fmla="*/ 705707 h 845819"/>
                <a:gd name="connsiteX635" fmla="*/ 180404 w 1029843"/>
                <a:gd name="connsiteY635" fmla="*/ 705136 h 845819"/>
                <a:gd name="connsiteX636" fmla="*/ 189071 w 1029843"/>
                <a:gd name="connsiteY636" fmla="*/ 710470 h 845819"/>
                <a:gd name="connsiteX637" fmla="*/ 189262 w 1029843"/>
                <a:gd name="connsiteY637" fmla="*/ 711994 h 845819"/>
                <a:gd name="connsiteX638" fmla="*/ 179261 w 1029843"/>
                <a:gd name="connsiteY638" fmla="*/ 721328 h 845819"/>
                <a:gd name="connsiteX639" fmla="*/ 171545 w 1029843"/>
                <a:gd name="connsiteY639" fmla="*/ 723900 h 845819"/>
                <a:gd name="connsiteX640" fmla="*/ 171736 w 1029843"/>
                <a:gd name="connsiteY640" fmla="*/ 725519 h 845819"/>
                <a:gd name="connsiteX641" fmla="*/ 183166 w 1029843"/>
                <a:gd name="connsiteY641" fmla="*/ 727234 h 845819"/>
                <a:gd name="connsiteX642" fmla="*/ 192405 w 1029843"/>
                <a:gd name="connsiteY642" fmla="*/ 724472 h 845819"/>
                <a:gd name="connsiteX643" fmla="*/ 199739 w 1029843"/>
                <a:gd name="connsiteY643" fmla="*/ 731520 h 845819"/>
                <a:gd name="connsiteX644" fmla="*/ 201740 w 1029843"/>
                <a:gd name="connsiteY644" fmla="*/ 734473 h 845819"/>
                <a:gd name="connsiteX645" fmla="*/ 208502 w 1029843"/>
                <a:gd name="connsiteY645" fmla="*/ 736854 h 845819"/>
                <a:gd name="connsiteX646" fmla="*/ 209645 w 1029843"/>
                <a:gd name="connsiteY646" fmla="*/ 733520 h 845819"/>
                <a:gd name="connsiteX647" fmla="*/ 209264 w 1029843"/>
                <a:gd name="connsiteY647" fmla="*/ 730282 h 845819"/>
                <a:gd name="connsiteX648" fmla="*/ 212789 w 1029843"/>
                <a:gd name="connsiteY648" fmla="*/ 733044 h 845819"/>
                <a:gd name="connsiteX649" fmla="*/ 215932 w 1029843"/>
                <a:gd name="connsiteY649" fmla="*/ 732663 h 845819"/>
                <a:gd name="connsiteX650" fmla="*/ 214789 w 1029843"/>
                <a:gd name="connsiteY650" fmla="*/ 735997 h 845819"/>
                <a:gd name="connsiteX651" fmla="*/ 225457 w 1029843"/>
                <a:gd name="connsiteY651" fmla="*/ 744284 h 845819"/>
                <a:gd name="connsiteX652" fmla="*/ 232124 w 1029843"/>
                <a:gd name="connsiteY652" fmla="*/ 746665 h 845819"/>
                <a:gd name="connsiteX653" fmla="*/ 233553 w 1029843"/>
                <a:gd name="connsiteY653" fmla="*/ 744855 h 845819"/>
                <a:gd name="connsiteX654" fmla="*/ 235363 w 1029843"/>
                <a:gd name="connsiteY654" fmla="*/ 746188 h 845819"/>
                <a:gd name="connsiteX655" fmla="*/ 233744 w 1029843"/>
                <a:gd name="connsiteY655" fmla="*/ 746474 h 845819"/>
                <a:gd name="connsiteX656" fmla="*/ 240506 w 1029843"/>
                <a:gd name="connsiteY656" fmla="*/ 748760 h 845819"/>
                <a:gd name="connsiteX657" fmla="*/ 232220 w 1029843"/>
                <a:gd name="connsiteY657" fmla="*/ 759428 h 845819"/>
                <a:gd name="connsiteX658" fmla="*/ 232982 w 1029843"/>
                <a:gd name="connsiteY658" fmla="*/ 765810 h 845819"/>
                <a:gd name="connsiteX659" fmla="*/ 243078 w 1029843"/>
                <a:gd name="connsiteY659" fmla="*/ 782098 h 845819"/>
                <a:gd name="connsiteX660" fmla="*/ 255365 w 1029843"/>
                <a:gd name="connsiteY660" fmla="*/ 777335 h 845819"/>
                <a:gd name="connsiteX661" fmla="*/ 259461 w 1029843"/>
                <a:gd name="connsiteY661" fmla="*/ 772001 h 845819"/>
                <a:gd name="connsiteX662" fmla="*/ 261080 w 1029843"/>
                <a:gd name="connsiteY662" fmla="*/ 771811 h 845819"/>
                <a:gd name="connsiteX663" fmla="*/ 265367 w 1029843"/>
                <a:gd name="connsiteY663" fmla="*/ 768096 h 845819"/>
                <a:gd name="connsiteX664" fmla="*/ 265176 w 1029843"/>
                <a:gd name="connsiteY664" fmla="*/ 766477 h 845819"/>
                <a:gd name="connsiteX665" fmla="*/ 270129 w 1029843"/>
                <a:gd name="connsiteY665" fmla="*/ 767429 h 845819"/>
                <a:gd name="connsiteX666" fmla="*/ 273082 w 1029843"/>
                <a:gd name="connsiteY666" fmla="*/ 765524 h 845819"/>
                <a:gd name="connsiteX667" fmla="*/ 268319 w 1029843"/>
                <a:gd name="connsiteY667" fmla="*/ 766096 h 845819"/>
                <a:gd name="connsiteX668" fmla="*/ 267748 w 1029843"/>
                <a:gd name="connsiteY668" fmla="*/ 761333 h 845819"/>
                <a:gd name="connsiteX669" fmla="*/ 278987 w 1029843"/>
                <a:gd name="connsiteY669" fmla="*/ 761524 h 845819"/>
                <a:gd name="connsiteX670" fmla="*/ 280702 w 1029843"/>
                <a:gd name="connsiteY670" fmla="*/ 762857 h 845819"/>
                <a:gd name="connsiteX671" fmla="*/ 280511 w 1029843"/>
                <a:gd name="connsiteY671" fmla="*/ 761333 h 845819"/>
                <a:gd name="connsiteX672" fmla="*/ 285083 w 1029843"/>
                <a:gd name="connsiteY672" fmla="*/ 759143 h 845819"/>
                <a:gd name="connsiteX673" fmla="*/ 287846 w 1029843"/>
                <a:gd name="connsiteY673" fmla="*/ 755618 h 845819"/>
                <a:gd name="connsiteX674" fmla="*/ 291370 w 1029843"/>
                <a:gd name="connsiteY674" fmla="*/ 758380 h 845819"/>
                <a:gd name="connsiteX675" fmla="*/ 292799 w 1029843"/>
                <a:gd name="connsiteY675" fmla="*/ 756571 h 845819"/>
                <a:gd name="connsiteX676" fmla="*/ 290608 w 1029843"/>
                <a:gd name="connsiteY676" fmla="*/ 751999 h 845819"/>
                <a:gd name="connsiteX677" fmla="*/ 288798 w 1029843"/>
                <a:gd name="connsiteY677" fmla="*/ 750665 h 845819"/>
                <a:gd name="connsiteX678" fmla="*/ 289941 w 1029843"/>
                <a:gd name="connsiteY678" fmla="*/ 747332 h 845819"/>
                <a:gd name="connsiteX679" fmla="*/ 290513 w 1029843"/>
                <a:gd name="connsiteY679" fmla="*/ 739235 h 845819"/>
                <a:gd name="connsiteX680" fmla="*/ 291941 w 1029843"/>
                <a:gd name="connsiteY680" fmla="*/ 737426 h 845819"/>
                <a:gd name="connsiteX681" fmla="*/ 302419 w 1029843"/>
                <a:gd name="connsiteY681" fmla="*/ 731234 h 845819"/>
                <a:gd name="connsiteX682" fmla="*/ 305562 w 1029843"/>
                <a:gd name="connsiteY682" fmla="*/ 730853 h 845819"/>
                <a:gd name="connsiteX683" fmla="*/ 307467 w 1029843"/>
                <a:gd name="connsiteY683" fmla="*/ 733806 h 845819"/>
                <a:gd name="connsiteX684" fmla="*/ 308896 w 1029843"/>
                <a:gd name="connsiteY684" fmla="*/ 732092 h 845819"/>
                <a:gd name="connsiteX685" fmla="*/ 309467 w 1029843"/>
                <a:gd name="connsiteY685" fmla="*/ 736759 h 845819"/>
                <a:gd name="connsiteX686" fmla="*/ 312801 w 1029843"/>
                <a:gd name="connsiteY686" fmla="*/ 737997 h 845819"/>
                <a:gd name="connsiteX687" fmla="*/ 317373 w 1029843"/>
                <a:gd name="connsiteY687" fmla="*/ 735806 h 845819"/>
                <a:gd name="connsiteX688" fmla="*/ 316802 w 1029843"/>
                <a:gd name="connsiteY688" fmla="*/ 731044 h 845819"/>
                <a:gd name="connsiteX689" fmla="*/ 318135 w 1029843"/>
                <a:gd name="connsiteY689" fmla="*/ 729234 h 845819"/>
                <a:gd name="connsiteX690" fmla="*/ 319945 w 1029843"/>
                <a:gd name="connsiteY690" fmla="*/ 730663 h 845819"/>
                <a:gd name="connsiteX691" fmla="*/ 326041 w 1029843"/>
                <a:gd name="connsiteY691" fmla="*/ 728282 h 845819"/>
                <a:gd name="connsiteX692" fmla="*/ 320897 w 1029843"/>
                <a:gd name="connsiteY692" fmla="*/ 725710 h 845819"/>
                <a:gd name="connsiteX693" fmla="*/ 321850 w 1029843"/>
                <a:gd name="connsiteY693" fmla="*/ 720757 h 845819"/>
                <a:gd name="connsiteX694" fmla="*/ 325088 w 1029843"/>
                <a:gd name="connsiteY694" fmla="*/ 720376 h 845819"/>
                <a:gd name="connsiteX695" fmla="*/ 331946 w 1029843"/>
                <a:gd name="connsiteY695" fmla="*/ 724281 h 845819"/>
                <a:gd name="connsiteX696" fmla="*/ 331756 w 1029843"/>
                <a:gd name="connsiteY696" fmla="*/ 735521 h 845819"/>
                <a:gd name="connsiteX697" fmla="*/ 334899 w 1029843"/>
                <a:gd name="connsiteY697" fmla="*/ 735140 h 845819"/>
                <a:gd name="connsiteX698" fmla="*/ 335566 w 1029843"/>
                <a:gd name="connsiteY698" fmla="*/ 739902 h 845819"/>
                <a:gd name="connsiteX699" fmla="*/ 337090 w 1029843"/>
                <a:gd name="connsiteY699" fmla="*/ 739711 h 845819"/>
                <a:gd name="connsiteX700" fmla="*/ 338709 w 1029843"/>
                <a:gd name="connsiteY700" fmla="*/ 739521 h 845819"/>
                <a:gd name="connsiteX701" fmla="*/ 338519 w 1029843"/>
                <a:gd name="connsiteY701" fmla="*/ 737902 h 845819"/>
                <a:gd name="connsiteX702" fmla="*/ 339852 w 1029843"/>
                <a:gd name="connsiteY702" fmla="*/ 736092 h 845819"/>
                <a:gd name="connsiteX703" fmla="*/ 343472 w 1029843"/>
                <a:gd name="connsiteY703" fmla="*/ 738854 h 845819"/>
                <a:gd name="connsiteX704" fmla="*/ 345186 w 1029843"/>
                <a:gd name="connsiteY704" fmla="*/ 740283 h 845819"/>
                <a:gd name="connsiteX705" fmla="*/ 346615 w 1029843"/>
                <a:gd name="connsiteY705" fmla="*/ 738473 h 845819"/>
                <a:gd name="connsiteX706" fmla="*/ 343472 w 1029843"/>
                <a:gd name="connsiteY706" fmla="*/ 738854 h 845819"/>
                <a:gd name="connsiteX707" fmla="*/ 342614 w 1029843"/>
                <a:gd name="connsiteY707" fmla="*/ 732568 h 845819"/>
                <a:gd name="connsiteX708" fmla="*/ 344234 w 1029843"/>
                <a:gd name="connsiteY708" fmla="*/ 732377 h 845819"/>
                <a:gd name="connsiteX709" fmla="*/ 344615 w 1029843"/>
                <a:gd name="connsiteY709" fmla="*/ 735521 h 845819"/>
                <a:gd name="connsiteX710" fmla="*/ 346043 w 1029843"/>
                <a:gd name="connsiteY710" fmla="*/ 733711 h 845819"/>
                <a:gd name="connsiteX711" fmla="*/ 347758 w 1029843"/>
                <a:gd name="connsiteY711" fmla="*/ 735140 h 845819"/>
                <a:gd name="connsiteX712" fmla="*/ 350901 w 1029843"/>
                <a:gd name="connsiteY712" fmla="*/ 734759 h 845819"/>
                <a:gd name="connsiteX713" fmla="*/ 352901 w 1029843"/>
                <a:gd name="connsiteY713" fmla="*/ 737711 h 845819"/>
                <a:gd name="connsiteX714" fmla="*/ 357473 w 1029843"/>
                <a:gd name="connsiteY714" fmla="*/ 735521 h 845819"/>
                <a:gd name="connsiteX715" fmla="*/ 355854 w 1029843"/>
                <a:gd name="connsiteY715" fmla="*/ 735711 h 845819"/>
                <a:gd name="connsiteX716" fmla="*/ 357188 w 1029843"/>
                <a:gd name="connsiteY716" fmla="*/ 733901 h 845819"/>
                <a:gd name="connsiteX717" fmla="*/ 362331 w 1029843"/>
                <a:gd name="connsiteY717" fmla="*/ 736473 h 845819"/>
                <a:gd name="connsiteX718" fmla="*/ 363760 w 1029843"/>
                <a:gd name="connsiteY718" fmla="*/ 734663 h 845819"/>
                <a:gd name="connsiteX719" fmla="*/ 365379 w 1029843"/>
                <a:gd name="connsiteY719" fmla="*/ 734473 h 845819"/>
                <a:gd name="connsiteX720" fmla="*/ 365570 w 1029843"/>
                <a:gd name="connsiteY720" fmla="*/ 736092 h 845819"/>
                <a:gd name="connsiteX721" fmla="*/ 363950 w 1029843"/>
                <a:gd name="connsiteY721" fmla="*/ 736282 h 845819"/>
                <a:gd name="connsiteX722" fmla="*/ 364141 w 1029843"/>
                <a:gd name="connsiteY722" fmla="*/ 737807 h 845819"/>
                <a:gd name="connsiteX723" fmla="*/ 368903 w 1029843"/>
                <a:gd name="connsiteY723" fmla="*/ 737235 h 845819"/>
                <a:gd name="connsiteX724" fmla="*/ 374047 w 1029843"/>
                <a:gd name="connsiteY724" fmla="*/ 739807 h 845819"/>
                <a:gd name="connsiteX725" fmla="*/ 373856 w 1029843"/>
                <a:gd name="connsiteY725" fmla="*/ 738188 h 845819"/>
                <a:gd name="connsiteX726" fmla="*/ 377381 w 1029843"/>
                <a:gd name="connsiteY726" fmla="*/ 740950 h 845819"/>
                <a:gd name="connsiteX727" fmla="*/ 377952 w 1029843"/>
                <a:gd name="connsiteY727" fmla="*/ 732854 h 845819"/>
                <a:gd name="connsiteX728" fmla="*/ 379762 w 1029843"/>
                <a:gd name="connsiteY728" fmla="*/ 734282 h 845819"/>
                <a:gd name="connsiteX729" fmla="*/ 381476 w 1029843"/>
                <a:gd name="connsiteY729" fmla="*/ 735616 h 845819"/>
                <a:gd name="connsiteX730" fmla="*/ 391763 w 1029843"/>
                <a:gd name="connsiteY730" fmla="*/ 740759 h 845819"/>
                <a:gd name="connsiteX731" fmla="*/ 391954 w 1029843"/>
                <a:gd name="connsiteY731" fmla="*/ 742283 h 845819"/>
                <a:gd name="connsiteX732" fmla="*/ 397097 w 1029843"/>
                <a:gd name="connsiteY732" fmla="*/ 744855 h 845819"/>
                <a:gd name="connsiteX733" fmla="*/ 397288 w 1029843"/>
                <a:gd name="connsiteY733" fmla="*/ 746474 h 845819"/>
                <a:gd name="connsiteX734" fmla="*/ 400907 w 1029843"/>
                <a:gd name="connsiteY734" fmla="*/ 749236 h 845819"/>
                <a:gd name="connsiteX735" fmla="*/ 402050 w 1029843"/>
                <a:gd name="connsiteY735" fmla="*/ 745807 h 845819"/>
                <a:gd name="connsiteX736" fmla="*/ 403670 w 1029843"/>
                <a:gd name="connsiteY736" fmla="*/ 745617 h 845819"/>
                <a:gd name="connsiteX737" fmla="*/ 407194 w 1029843"/>
                <a:gd name="connsiteY737" fmla="*/ 748379 h 845819"/>
                <a:gd name="connsiteX738" fmla="*/ 409956 w 1029843"/>
                <a:gd name="connsiteY738" fmla="*/ 744855 h 845819"/>
                <a:gd name="connsiteX739" fmla="*/ 409575 w 1029843"/>
                <a:gd name="connsiteY739" fmla="*/ 741712 h 845819"/>
                <a:gd name="connsiteX740" fmla="*/ 411099 w 1029843"/>
                <a:gd name="connsiteY740" fmla="*/ 741521 h 845819"/>
                <a:gd name="connsiteX741" fmla="*/ 413671 w 1029843"/>
                <a:gd name="connsiteY741" fmla="*/ 736378 h 845819"/>
                <a:gd name="connsiteX742" fmla="*/ 416814 w 1029843"/>
                <a:gd name="connsiteY742" fmla="*/ 735902 h 845819"/>
                <a:gd name="connsiteX743" fmla="*/ 418052 w 1029843"/>
                <a:gd name="connsiteY743" fmla="*/ 732568 h 845819"/>
                <a:gd name="connsiteX744" fmla="*/ 421386 w 1029843"/>
                <a:gd name="connsiteY744" fmla="*/ 733711 h 845819"/>
                <a:gd name="connsiteX745" fmla="*/ 421576 w 1029843"/>
                <a:gd name="connsiteY745" fmla="*/ 735330 h 845819"/>
                <a:gd name="connsiteX746" fmla="*/ 424529 w 1029843"/>
                <a:gd name="connsiteY746" fmla="*/ 733330 h 845819"/>
                <a:gd name="connsiteX747" fmla="*/ 429482 w 1029843"/>
                <a:gd name="connsiteY747" fmla="*/ 734282 h 845819"/>
                <a:gd name="connsiteX748" fmla="*/ 433197 w 1029843"/>
                <a:gd name="connsiteY748" fmla="*/ 738664 h 845819"/>
                <a:gd name="connsiteX749" fmla="*/ 436912 w 1029843"/>
                <a:gd name="connsiteY749" fmla="*/ 730186 h 845819"/>
                <a:gd name="connsiteX750" fmla="*/ 438912 w 1029843"/>
                <a:gd name="connsiteY750" fmla="*/ 733139 h 845819"/>
                <a:gd name="connsiteX751" fmla="*/ 438722 w 1029843"/>
                <a:gd name="connsiteY751" fmla="*/ 731520 h 845819"/>
                <a:gd name="connsiteX752" fmla="*/ 441865 w 1029843"/>
                <a:gd name="connsiteY752" fmla="*/ 731139 h 845819"/>
                <a:gd name="connsiteX753" fmla="*/ 443103 w 1029843"/>
                <a:gd name="connsiteY753" fmla="*/ 727805 h 845819"/>
                <a:gd name="connsiteX754" fmla="*/ 444817 w 1029843"/>
                <a:gd name="connsiteY754" fmla="*/ 716375 h 845819"/>
                <a:gd name="connsiteX755" fmla="*/ 443008 w 1029843"/>
                <a:gd name="connsiteY755" fmla="*/ 714947 h 845819"/>
                <a:gd name="connsiteX756" fmla="*/ 442246 w 1029843"/>
                <a:gd name="connsiteY756" fmla="*/ 708660 h 845819"/>
                <a:gd name="connsiteX757" fmla="*/ 446723 w 1029843"/>
                <a:gd name="connsiteY757" fmla="*/ 706469 h 845819"/>
                <a:gd name="connsiteX758" fmla="*/ 446532 w 1029843"/>
                <a:gd name="connsiteY758" fmla="*/ 704850 h 845819"/>
                <a:gd name="connsiteX759" fmla="*/ 451295 w 1029843"/>
                <a:gd name="connsiteY759" fmla="*/ 704279 h 845819"/>
                <a:gd name="connsiteX760" fmla="*/ 452247 w 1029843"/>
                <a:gd name="connsiteY760" fmla="*/ 699326 h 845819"/>
                <a:gd name="connsiteX761" fmla="*/ 460534 w 1029843"/>
                <a:gd name="connsiteY761" fmla="*/ 701516 h 845819"/>
                <a:gd name="connsiteX762" fmla="*/ 462915 w 1029843"/>
                <a:gd name="connsiteY762" fmla="*/ 694754 h 845819"/>
                <a:gd name="connsiteX763" fmla="*/ 467201 w 1029843"/>
                <a:gd name="connsiteY763" fmla="*/ 691039 h 845819"/>
                <a:gd name="connsiteX764" fmla="*/ 472631 w 1029843"/>
                <a:gd name="connsiteY764" fmla="*/ 695134 h 845819"/>
                <a:gd name="connsiteX765" fmla="*/ 476345 w 1029843"/>
                <a:gd name="connsiteY765" fmla="*/ 699516 h 845819"/>
                <a:gd name="connsiteX766" fmla="*/ 485966 w 1029843"/>
                <a:gd name="connsiteY766" fmla="*/ 699897 h 845819"/>
                <a:gd name="connsiteX767" fmla="*/ 486442 w 1029843"/>
                <a:gd name="connsiteY767" fmla="*/ 703040 h 845819"/>
                <a:gd name="connsiteX768" fmla="*/ 485204 w 1029843"/>
                <a:gd name="connsiteY768" fmla="*/ 706374 h 845819"/>
                <a:gd name="connsiteX769" fmla="*/ 490347 w 1029843"/>
                <a:gd name="connsiteY769" fmla="*/ 708946 h 845819"/>
                <a:gd name="connsiteX770" fmla="*/ 486632 w 1029843"/>
                <a:gd name="connsiteY770" fmla="*/ 717423 h 845819"/>
                <a:gd name="connsiteX771" fmla="*/ 486251 w 1029843"/>
                <a:gd name="connsiteY771" fmla="*/ 727043 h 845819"/>
                <a:gd name="connsiteX772" fmla="*/ 488442 w 1029843"/>
                <a:gd name="connsiteY772" fmla="*/ 731615 h 845819"/>
                <a:gd name="connsiteX773" fmla="*/ 495205 w 1029843"/>
                <a:gd name="connsiteY773" fmla="*/ 733997 h 845819"/>
                <a:gd name="connsiteX774" fmla="*/ 495586 w 1029843"/>
                <a:gd name="connsiteY774" fmla="*/ 737140 h 845819"/>
                <a:gd name="connsiteX775" fmla="*/ 497110 w 1029843"/>
                <a:gd name="connsiteY775" fmla="*/ 736949 h 845819"/>
                <a:gd name="connsiteX776" fmla="*/ 508349 w 1029843"/>
                <a:gd name="connsiteY776" fmla="*/ 737140 h 845819"/>
                <a:gd name="connsiteX777" fmla="*/ 509016 w 1029843"/>
                <a:gd name="connsiteY777" fmla="*/ 741807 h 845819"/>
                <a:gd name="connsiteX778" fmla="*/ 511969 w 1029843"/>
                <a:gd name="connsiteY778" fmla="*/ 739902 h 845819"/>
                <a:gd name="connsiteX779" fmla="*/ 511588 w 1029843"/>
                <a:gd name="connsiteY779" fmla="*/ 736663 h 845819"/>
                <a:gd name="connsiteX780" fmla="*/ 520446 w 1029843"/>
                <a:gd name="connsiteY780" fmla="*/ 730758 h 845819"/>
                <a:gd name="connsiteX781" fmla="*/ 521017 w 1029843"/>
                <a:gd name="connsiteY781" fmla="*/ 722662 h 845819"/>
                <a:gd name="connsiteX782" fmla="*/ 533781 w 1029843"/>
                <a:gd name="connsiteY782" fmla="*/ 722662 h 845819"/>
                <a:gd name="connsiteX783" fmla="*/ 545021 w 1029843"/>
                <a:gd name="connsiteY783" fmla="*/ 722852 h 845819"/>
                <a:gd name="connsiteX784" fmla="*/ 544449 w 1029843"/>
                <a:gd name="connsiteY784" fmla="*/ 705231 h 845819"/>
                <a:gd name="connsiteX785" fmla="*/ 565118 w 1029843"/>
                <a:gd name="connsiteY785" fmla="*/ 704183 h 845819"/>
                <a:gd name="connsiteX786" fmla="*/ 566547 w 1029843"/>
                <a:gd name="connsiteY786" fmla="*/ 702469 h 845819"/>
                <a:gd name="connsiteX787" fmla="*/ 565690 w 1029843"/>
                <a:gd name="connsiteY787" fmla="*/ 696087 h 845819"/>
                <a:gd name="connsiteX788" fmla="*/ 570643 w 1029843"/>
                <a:gd name="connsiteY788" fmla="*/ 697135 h 845819"/>
                <a:gd name="connsiteX789" fmla="*/ 583311 w 1029843"/>
                <a:gd name="connsiteY789" fmla="*/ 708279 h 845819"/>
                <a:gd name="connsiteX790" fmla="*/ 587407 w 1029843"/>
                <a:gd name="connsiteY790" fmla="*/ 702945 h 845819"/>
                <a:gd name="connsiteX791" fmla="*/ 588074 w 1029843"/>
                <a:gd name="connsiteY791" fmla="*/ 707707 h 845819"/>
                <a:gd name="connsiteX792" fmla="*/ 592741 w 1029843"/>
                <a:gd name="connsiteY792" fmla="*/ 707136 h 845819"/>
                <a:gd name="connsiteX793" fmla="*/ 598075 w 1029843"/>
                <a:gd name="connsiteY793" fmla="*/ 711232 h 845819"/>
                <a:gd name="connsiteX794" fmla="*/ 617220 w 1029843"/>
                <a:gd name="connsiteY794" fmla="*/ 710375 h 845819"/>
                <a:gd name="connsiteX795" fmla="*/ 617315 w 1029843"/>
                <a:gd name="connsiteY795" fmla="*/ 723233 h 845819"/>
                <a:gd name="connsiteX796" fmla="*/ 630555 w 1029843"/>
                <a:gd name="connsiteY796" fmla="*/ 726377 h 845819"/>
                <a:gd name="connsiteX797" fmla="*/ 631698 w 1029843"/>
                <a:gd name="connsiteY797" fmla="*/ 735806 h 845819"/>
                <a:gd name="connsiteX798" fmla="*/ 631793 w 1029843"/>
                <a:gd name="connsiteY798" fmla="*/ 761429 h 845819"/>
                <a:gd name="connsiteX799" fmla="*/ 662368 w 1029843"/>
                <a:gd name="connsiteY799" fmla="*/ 762381 h 845819"/>
                <a:gd name="connsiteX800" fmla="*/ 668846 w 1029843"/>
                <a:gd name="connsiteY800" fmla="*/ 763143 h 845819"/>
                <a:gd name="connsiteX801" fmla="*/ 674465 w 1029843"/>
                <a:gd name="connsiteY801" fmla="*/ 781717 h 845819"/>
                <a:gd name="connsiteX802" fmla="*/ 675418 w 1029843"/>
                <a:gd name="connsiteY802" fmla="*/ 789623 h 845819"/>
                <a:gd name="connsiteX803" fmla="*/ 677418 w 1029843"/>
                <a:gd name="connsiteY803" fmla="*/ 792575 h 845819"/>
                <a:gd name="connsiteX804" fmla="*/ 680561 w 1029843"/>
                <a:gd name="connsiteY804" fmla="*/ 792099 h 845819"/>
                <a:gd name="connsiteX805" fmla="*/ 687134 w 1029843"/>
                <a:gd name="connsiteY805" fmla="*/ 792956 h 845819"/>
                <a:gd name="connsiteX806" fmla="*/ 689039 w 1029843"/>
                <a:gd name="connsiteY806" fmla="*/ 795909 h 845819"/>
                <a:gd name="connsiteX807" fmla="*/ 693801 w 1029843"/>
                <a:gd name="connsiteY807" fmla="*/ 795242 h 845819"/>
                <a:gd name="connsiteX808" fmla="*/ 695611 w 1029843"/>
                <a:gd name="connsiteY808" fmla="*/ 796671 h 845819"/>
                <a:gd name="connsiteX809" fmla="*/ 701707 w 1029843"/>
                <a:gd name="connsiteY809" fmla="*/ 794290 h 845819"/>
                <a:gd name="connsiteX810" fmla="*/ 710565 w 1029843"/>
                <a:gd name="connsiteY810" fmla="*/ 801148 h 845819"/>
                <a:gd name="connsiteX811" fmla="*/ 713613 w 1029843"/>
                <a:gd name="connsiteY811" fmla="*/ 812006 h 845819"/>
                <a:gd name="connsiteX812" fmla="*/ 722471 w 1029843"/>
                <a:gd name="connsiteY812" fmla="*/ 818864 h 845819"/>
                <a:gd name="connsiteX813" fmla="*/ 724091 w 1029843"/>
                <a:gd name="connsiteY813" fmla="*/ 818674 h 845819"/>
                <a:gd name="connsiteX814" fmla="*/ 725234 w 1029843"/>
                <a:gd name="connsiteY814" fmla="*/ 815340 h 845819"/>
                <a:gd name="connsiteX815" fmla="*/ 728186 w 1029843"/>
                <a:gd name="connsiteY815" fmla="*/ 813340 h 845819"/>
                <a:gd name="connsiteX816" fmla="*/ 734092 w 1029843"/>
                <a:gd name="connsiteY816" fmla="*/ 822198 h 845819"/>
                <a:gd name="connsiteX817" fmla="*/ 735711 w 1029843"/>
                <a:gd name="connsiteY817" fmla="*/ 822007 h 845819"/>
                <a:gd name="connsiteX818" fmla="*/ 738854 w 1029843"/>
                <a:gd name="connsiteY818" fmla="*/ 821627 h 845819"/>
                <a:gd name="connsiteX819" fmla="*/ 740664 w 1029843"/>
                <a:gd name="connsiteY819" fmla="*/ 822960 h 845819"/>
                <a:gd name="connsiteX820" fmla="*/ 741998 w 1029843"/>
                <a:gd name="connsiteY820" fmla="*/ 821150 h 845819"/>
                <a:gd name="connsiteX821" fmla="*/ 743807 w 1029843"/>
                <a:gd name="connsiteY821" fmla="*/ 822579 h 845819"/>
                <a:gd name="connsiteX822" fmla="*/ 746951 w 1029843"/>
                <a:gd name="connsiteY822" fmla="*/ 822198 h 845819"/>
                <a:gd name="connsiteX823" fmla="*/ 751523 w 1029843"/>
                <a:gd name="connsiteY823" fmla="*/ 832866 h 845819"/>
                <a:gd name="connsiteX824" fmla="*/ 756666 w 1029843"/>
                <a:gd name="connsiteY824" fmla="*/ 835343 h 845819"/>
                <a:gd name="connsiteX825" fmla="*/ 758285 w 1029843"/>
                <a:gd name="connsiteY825" fmla="*/ 835152 h 845819"/>
                <a:gd name="connsiteX826" fmla="*/ 757047 w 1029843"/>
                <a:gd name="connsiteY826" fmla="*/ 838486 h 845819"/>
                <a:gd name="connsiteX827" fmla="*/ 759047 w 1029843"/>
                <a:gd name="connsiteY827" fmla="*/ 841438 h 845819"/>
                <a:gd name="connsiteX828" fmla="*/ 762762 w 1029843"/>
                <a:gd name="connsiteY828" fmla="*/ 845820 h 845819"/>
                <a:gd name="connsiteX829" fmla="*/ 764191 w 1029843"/>
                <a:gd name="connsiteY829" fmla="*/ 844010 h 845819"/>
                <a:gd name="connsiteX830" fmla="*/ 769144 w 1029843"/>
                <a:gd name="connsiteY830" fmla="*/ 844963 h 845819"/>
                <a:gd name="connsiteX831" fmla="*/ 771716 w 1029843"/>
                <a:gd name="connsiteY831" fmla="*/ 839915 h 845819"/>
                <a:gd name="connsiteX832" fmla="*/ 778193 w 1029843"/>
                <a:gd name="connsiteY832" fmla="*/ 840677 h 845819"/>
                <a:gd name="connsiteX833" fmla="*/ 780955 w 1029843"/>
                <a:gd name="connsiteY833" fmla="*/ 837057 h 845819"/>
                <a:gd name="connsiteX834" fmla="*/ 784670 w 1029843"/>
                <a:gd name="connsiteY834" fmla="*/ 841438 h 845819"/>
                <a:gd name="connsiteX835" fmla="*/ 793528 w 1029843"/>
                <a:gd name="connsiteY835" fmla="*/ 835438 h 845819"/>
                <a:gd name="connsiteX836" fmla="*/ 793337 w 1029843"/>
                <a:gd name="connsiteY836" fmla="*/ 833914 h 845819"/>
                <a:gd name="connsiteX837" fmla="*/ 794576 w 1029843"/>
                <a:gd name="connsiteY837" fmla="*/ 830580 h 845819"/>
                <a:gd name="connsiteX838" fmla="*/ 792575 w 1029843"/>
                <a:gd name="connsiteY838" fmla="*/ 827627 h 845819"/>
                <a:gd name="connsiteX839" fmla="*/ 794099 w 1029843"/>
                <a:gd name="connsiteY839" fmla="*/ 827437 h 845819"/>
                <a:gd name="connsiteX840" fmla="*/ 794385 w 1029843"/>
                <a:gd name="connsiteY840" fmla="*/ 828961 h 845819"/>
                <a:gd name="connsiteX841" fmla="*/ 799052 w 1029843"/>
                <a:gd name="connsiteY841" fmla="*/ 828389 h 845819"/>
                <a:gd name="connsiteX842" fmla="*/ 800862 w 1029843"/>
                <a:gd name="connsiteY842" fmla="*/ 829723 h 845819"/>
                <a:gd name="connsiteX843" fmla="*/ 796766 w 1029843"/>
                <a:gd name="connsiteY843" fmla="*/ 835057 h 845819"/>
                <a:gd name="connsiteX844" fmla="*/ 796957 w 1029843"/>
                <a:gd name="connsiteY844" fmla="*/ 836676 h 845819"/>
                <a:gd name="connsiteX845" fmla="*/ 797528 w 1029843"/>
                <a:gd name="connsiteY845" fmla="*/ 841438 h 845819"/>
                <a:gd name="connsiteX846" fmla="*/ 809911 w 1029843"/>
                <a:gd name="connsiteY846" fmla="*/ 838200 h 845819"/>
                <a:gd name="connsiteX847" fmla="*/ 813054 w 1029843"/>
                <a:gd name="connsiteY847" fmla="*/ 837819 h 845819"/>
                <a:gd name="connsiteX848" fmla="*/ 814673 w 1029843"/>
                <a:gd name="connsiteY848" fmla="*/ 837629 h 845819"/>
                <a:gd name="connsiteX849" fmla="*/ 816102 w 1029843"/>
                <a:gd name="connsiteY849" fmla="*/ 835819 h 845819"/>
                <a:gd name="connsiteX850" fmla="*/ 822770 w 1029843"/>
                <a:gd name="connsiteY850" fmla="*/ 838200 h 845819"/>
                <a:gd name="connsiteX851" fmla="*/ 820960 w 1029843"/>
                <a:gd name="connsiteY851" fmla="*/ 836771 h 845819"/>
                <a:gd name="connsiteX852" fmla="*/ 822198 w 1029843"/>
                <a:gd name="connsiteY852" fmla="*/ 833438 h 845819"/>
                <a:gd name="connsiteX853" fmla="*/ 820388 w 1029843"/>
                <a:gd name="connsiteY853" fmla="*/ 832104 h 845819"/>
                <a:gd name="connsiteX854" fmla="*/ 827151 w 1029843"/>
                <a:gd name="connsiteY854" fmla="*/ 834390 h 845819"/>
                <a:gd name="connsiteX855" fmla="*/ 828484 w 1029843"/>
                <a:gd name="connsiteY855" fmla="*/ 832676 h 845819"/>
                <a:gd name="connsiteX856" fmla="*/ 833818 w 1029843"/>
                <a:gd name="connsiteY856" fmla="*/ 836771 h 845819"/>
                <a:gd name="connsiteX857" fmla="*/ 837152 w 1029843"/>
                <a:gd name="connsiteY857" fmla="*/ 837914 h 845819"/>
                <a:gd name="connsiteX858" fmla="*/ 857345 w 1029843"/>
                <a:gd name="connsiteY858" fmla="*/ 844963 h 845819"/>
                <a:gd name="connsiteX859" fmla="*/ 855917 w 1029843"/>
                <a:gd name="connsiteY859" fmla="*/ 833914 h 845819"/>
                <a:gd name="connsiteX860" fmla="*/ 852583 w 1029843"/>
                <a:gd name="connsiteY860" fmla="*/ 832771 h 845819"/>
                <a:gd name="connsiteX861" fmla="*/ 850201 w 1029843"/>
                <a:gd name="connsiteY861" fmla="*/ 826675 h 845819"/>
                <a:gd name="connsiteX862" fmla="*/ 845058 w 1029843"/>
                <a:gd name="connsiteY862" fmla="*/ 824103 h 845819"/>
                <a:gd name="connsiteX863" fmla="*/ 844391 w 1029843"/>
                <a:gd name="connsiteY863" fmla="*/ 819340 h 845819"/>
                <a:gd name="connsiteX864" fmla="*/ 846201 w 1029843"/>
                <a:gd name="connsiteY864" fmla="*/ 820769 h 845819"/>
                <a:gd name="connsiteX865" fmla="*/ 847344 w 1029843"/>
                <a:gd name="connsiteY865" fmla="*/ 817436 h 845819"/>
                <a:gd name="connsiteX866" fmla="*/ 845153 w 1029843"/>
                <a:gd name="connsiteY866" fmla="*/ 812863 h 845819"/>
                <a:gd name="connsiteX867" fmla="*/ 849916 w 1029843"/>
                <a:gd name="connsiteY867" fmla="*/ 812292 h 845819"/>
                <a:gd name="connsiteX868" fmla="*/ 851345 w 1029843"/>
                <a:gd name="connsiteY868" fmla="*/ 810482 h 845819"/>
                <a:gd name="connsiteX869" fmla="*/ 856679 w 1029843"/>
                <a:gd name="connsiteY869" fmla="*/ 814578 h 845819"/>
                <a:gd name="connsiteX870" fmla="*/ 859250 w 1029843"/>
                <a:gd name="connsiteY870" fmla="*/ 809434 h 845819"/>
                <a:gd name="connsiteX871" fmla="*/ 865537 w 1029843"/>
                <a:gd name="connsiteY871" fmla="*/ 808673 h 845819"/>
                <a:gd name="connsiteX872" fmla="*/ 866680 w 1029843"/>
                <a:gd name="connsiteY872" fmla="*/ 805339 h 845819"/>
                <a:gd name="connsiteX873" fmla="*/ 872585 w 1029843"/>
                <a:gd name="connsiteY873" fmla="*/ 801338 h 845819"/>
                <a:gd name="connsiteX874" fmla="*/ 867251 w 1029843"/>
                <a:gd name="connsiteY874" fmla="*/ 797243 h 845819"/>
                <a:gd name="connsiteX875" fmla="*/ 863537 w 1029843"/>
                <a:gd name="connsiteY875" fmla="*/ 792861 h 845819"/>
                <a:gd name="connsiteX876" fmla="*/ 862108 w 1029843"/>
                <a:gd name="connsiteY876" fmla="*/ 794671 h 845819"/>
                <a:gd name="connsiteX877" fmla="*/ 859726 w 1029843"/>
                <a:gd name="connsiteY877" fmla="*/ 788575 h 845819"/>
                <a:gd name="connsiteX878" fmla="*/ 863632 w 1029843"/>
                <a:gd name="connsiteY878" fmla="*/ 781622 h 845819"/>
                <a:gd name="connsiteX879" fmla="*/ 869823 w 1029843"/>
                <a:gd name="connsiteY879" fmla="*/ 779240 h 845819"/>
                <a:gd name="connsiteX880" fmla="*/ 869156 w 1029843"/>
                <a:gd name="connsiteY880" fmla="*/ 774573 h 845819"/>
                <a:gd name="connsiteX881" fmla="*/ 873919 w 1029843"/>
                <a:gd name="connsiteY881" fmla="*/ 773906 h 845819"/>
                <a:gd name="connsiteX882" fmla="*/ 885158 w 1029843"/>
                <a:gd name="connsiteY882" fmla="*/ 774097 h 845819"/>
                <a:gd name="connsiteX883" fmla="*/ 897541 w 1029843"/>
                <a:gd name="connsiteY883" fmla="*/ 758095 h 845819"/>
                <a:gd name="connsiteX884" fmla="*/ 897350 w 1029843"/>
                <a:gd name="connsiteY884" fmla="*/ 756476 h 845819"/>
                <a:gd name="connsiteX885" fmla="*/ 902113 w 1029843"/>
                <a:gd name="connsiteY885" fmla="*/ 755904 h 845819"/>
                <a:gd name="connsiteX886" fmla="*/ 903923 w 1029843"/>
                <a:gd name="connsiteY886" fmla="*/ 757238 h 845819"/>
                <a:gd name="connsiteX887" fmla="*/ 907256 w 1029843"/>
                <a:gd name="connsiteY887" fmla="*/ 758476 h 845819"/>
                <a:gd name="connsiteX888" fmla="*/ 906875 w 1029843"/>
                <a:gd name="connsiteY888" fmla="*/ 755332 h 845819"/>
                <a:gd name="connsiteX889" fmla="*/ 910018 w 1029843"/>
                <a:gd name="connsiteY889" fmla="*/ 754856 h 845819"/>
                <a:gd name="connsiteX890" fmla="*/ 909542 w 1029843"/>
                <a:gd name="connsiteY890" fmla="*/ 751713 h 845819"/>
                <a:gd name="connsiteX891" fmla="*/ 912781 w 1029843"/>
                <a:gd name="connsiteY891" fmla="*/ 751332 h 845819"/>
                <a:gd name="connsiteX892" fmla="*/ 915734 w 1029843"/>
                <a:gd name="connsiteY892" fmla="*/ 749332 h 845819"/>
                <a:gd name="connsiteX893" fmla="*/ 919448 w 1029843"/>
                <a:gd name="connsiteY893" fmla="*/ 753713 h 845819"/>
                <a:gd name="connsiteX894" fmla="*/ 922210 w 1029843"/>
                <a:gd name="connsiteY894" fmla="*/ 750094 h 845819"/>
                <a:gd name="connsiteX895" fmla="*/ 921830 w 1029843"/>
                <a:gd name="connsiteY895" fmla="*/ 746951 h 845819"/>
                <a:gd name="connsiteX896" fmla="*/ 918496 w 1029843"/>
                <a:gd name="connsiteY896" fmla="*/ 745807 h 845819"/>
                <a:gd name="connsiteX897" fmla="*/ 926116 w 1029843"/>
                <a:gd name="connsiteY897" fmla="*/ 743236 h 845819"/>
                <a:gd name="connsiteX898" fmla="*/ 925735 w 1029843"/>
                <a:gd name="connsiteY898" fmla="*/ 740093 h 845819"/>
                <a:gd name="connsiteX899" fmla="*/ 927354 w 1029843"/>
                <a:gd name="connsiteY899" fmla="*/ 739807 h 845819"/>
                <a:gd name="connsiteX900" fmla="*/ 927735 w 1029843"/>
                <a:gd name="connsiteY900" fmla="*/ 743045 h 845819"/>
                <a:gd name="connsiteX901" fmla="*/ 937165 w 1029843"/>
                <a:gd name="connsiteY901" fmla="*/ 741807 h 845819"/>
                <a:gd name="connsiteX902" fmla="*/ 937355 w 1029843"/>
                <a:gd name="connsiteY902" fmla="*/ 743426 h 845819"/>
                <a:gd name="connsiteX903" fmla="*/ 939927 w 1029843"/>
                <a:gd name="connsiteY903" fmla="*/ 738283 h 845819"/>
                <a:gd name="connsiteX904" fmla="*/ 941546 w 1029843"/>
                <a:gd name="connsiteY904" fmla="*/ 737997 h 845819"/>
                <a:gd name="connsiteX905" fmla="*/ 944309 w 1029843"/>
                <a:gd name="connsiteY905" fmla="*/ 734473 h 845819"/>
                <a:gd name="connsiteX906" fmla="*/ 951929 w 1029843"/>
                <a:gd name="connsiteY906" fmla="*/ 731901 h 845819"/>
                <a:gd name="connsiteX907" fmla="*/ 954500 w 1029843"/>
                <a:gd name="connsiteY907" fmla="*/ 726757 h 845819"/>
                <a:gd name="connsiteX908" fmla="*/ 954881 w 1029843"/>
                <a:gd name="connsiteY908" fmla="*/ 704279 h 845819"/>
                <a:gd name="connsiteX909" fmla="*/ 960596 w 1029843"/>
                <a:gd name="connsiteY909" fmla="*/ 698754 h 845819"/>
                <a:gd name="connsiteX910" fmla="*/ 967073 w 1029843"/>
                <a:gd name="connsiteY910" fmla="*/ 699516 h 845819"/>
                <a:gd name="connsiteX911" fmla="*/ 968502 w 1029843"/>
                <a:gd name="connsiteY911" fmla="*/ 697706 h 845819"/>
                <a:gd name="connsiteX912" fmla="*/ 972217 w 1029843"/>
                <a:gd name="connsiteY912" fmla="*/ 702088 h 845819"/>
                <a:gd name="connsiteX913" fmla="*/ 975360 w 1029843"/>
                <a:gd name="connsiteY913" fmla="*/ 701707 h 845819"/>
                <a:gd name="connsiteX914" fmla="*/ 983837 w 1029843"/>
                <a:gd name="connsiteY914" fmla="*/ 705422 h 845819"/>
                <a:gd name="connsiteX915" fmla="*/ 986885 w 1029843"/>
                <a:gd name="connsiteY915" fmla="*/ 716185 h 845819"/>
                <a:gd name="connsiteX916" fmla="*/ 989838 w 1029843"/>
                <a:gd name="connsiteY916" fmla="*/ 714280 h 845819"/>
                <a:gd name="connsiteX917" fmla="*/ 993553 w 1029843"/>
                <a:gd name="connsiteY917" fmla="*/ 718566 h 845819"/>
                <a:gd name="connsiteX918" fmla="*/ 995363 w 1029843"/>
                <a:gd name="connsiteY918" fmla="*/ 719995 h 845819"/>
                <a:gd name="connsiteX919" fmla="*/ 998315 w 1029843"/>
                <a:gd name="connsiteY919" fmla="*/ 717995 h 845819"/>
                <a:gd name="connsiteX920" fmla="*/ 1019080 w 1029843"/>
                <a:gd name="connsiteY920" fmla="*/ 729805 h 845819"/>
                <a:gd name="connsiteX921" fmla="*/ 1020413 w 1029843"/>
                <a:gd name="connsiteY921" fmla="*/ 727996 h 845819"/>
                <a:gd name="connsiteX922" fmla="*/ 1022223 w 1029843"/>
                <a:gd name="connsiteY922" fmla="*/ 729329 h 845819"/>
                <a:gd name="connsiteX923" fmla="*/ 1026509 w 1029843"/>
                <a:gd name="connsiteY923" fmla="*/ 725615 h 845819"/>
                <a:gd name="connsiteX924" fmla="*/ 1029272 w 1029843"/>
                <a:gd name="connsiteY924" fmla="*/ 722090 h 845819"/>
                <a:gd name="connsiteX925" fmla="*/ 1027081 w 1029843"/>
                <a:gd name="connsiteY925" fmla="*/ 717518 h 845819"/>
                <a:gd name="connsiteX926" fmla="*/ 1029843 w 1029843"/>
                <a:gd name="connsiteY926" fmla="*/ 713994 h 845819"/>
                <a:gd name="connsiteX927" fmla="*/ 1029843 w 1029843"/>
                <a:gd name="connsiteY927" fmla="*/ 713994 h 845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</a:cxnLst>
              <a:rect l="l" t="t" r="r" b="b"/>
              <a:pathLst>
                <a:path w="1029843" h="845819">
                  <a:moveTo>
                    <a:pt x="1029843" y="713994"/>
                  </a:moveTo>
                  <a:lnTo>
                    <a:pt x="1026319" y="711232"/>
                  </a:lnTo>
                  <a:lnTo>
                    <a:pt x="1024128" y="706660"/>
                  </a:lnTo>
                  <a:lnTo>
                    <a:pt x="1013651" y="699992"/>
                  </a:lnTo>
                  <a:lnTo>
                    <a:pt x="1011079" y="692277"/>
                  </a:lnTo>
                  <a:lnTo>
                    <a:pt x="1010888" y="690753"/>
                  </a:lnTo>
                  <a:lnTo>
                    <a:pt x="1014603" y="682276"/>
                  </a:lnTo>
                  <a:lnTo>
                    <a:pt x="1012412" y="677704"/>
                  </a:lnTo>
                  <a:lnTo>
                    <a:pt x="1009079" y="676561"/>
                  </a:lnTo>
                  <a:lnTo>
                    <a:pt x="1010222" y="673132"/>
                  </a:lnTo>
                  <a:lnTo>
                    <a:pt x="1007650" y="665512"/>
                  </a:lnTo>
                  <a:lnTo>
                    <a:pt x="1008602" y="660559"/>
                  </a:lnTo>
                  <a:lnTo>
                    <a:pt x="1008031" y="655796"/>
                  </a:lnTo>
                  <a:lnTo>
                    <a:pt x="1010984" y="653796"/>
                  </a:lnTo>
                  <a:lnTo>
                    <a:pt x="1012126" y="650462"/>
                  </a:lnTo>
                  <a:lnTo>
                    <a:pt x="1009555" y="642747"/>
                  </a:lnTo>
                  <a:lnTo>
                    <a:pt x="1006412" y="643223"/>
                  </a:lnTo>
                  <a:lnTo>
                    <a:pt x="1008793" y="636461"/>
                  </a:lnTo>
                  <a:lnTo>
                    <a:pt x="1003649" y="633889"/>
                  </a:lnTo>
                  <a:lnTo>
                    <a:pt x="1002601" y="625983"/>
                  </a:lnTo>
                  <a:lnTo>
                    <a:pt x="995458" y="620554"/>
                  </a:lnTo>
                  <a:lnTo>
                    <a:pt x="994886" y="615791"/>
                  </a:lnTo>
                  <a:lnTo>
                    <a:pt x="988600" y="616553"/>
                  </a:lnTo>
                  <a:lnTo>
                    <a:pt x="983647" y="615601"/>
                  </a:lnTo>
                  <a:lnTo>
                    <a:pt x="977551" y="605123"/>
                  </a:lnTo>
                  <a:lnTo>
                    <a:pt x="978503" y="600265"/>
                  </a:lnTo>
                  <a:lnTo>
                    <a:pt x="973550" y="599218"/>
                  </a:lnTo>
                  <a:lnTo>
                    <a:pt x="972502" y="591407"/>
                  </a:lnTo>
                  <a:lnTo>
                    <a:pt x="969169" y="590169"/>
                  </a:lnTo>
                  <a:lnTo>
                    <a:pt x="964406" y="590836"/>
                  </a:lnTo>
                  <a:lnTo>
                    <a:pt x="962501" y="587788"/>
                  </a:lnTo>
                  <a:lnTo>
                    <a:pt x="960692" y="586454"/>
                  </a:lnTo>
                  <a:lnTo>
                    <a:pt x="960120" y="581692"/>
                  </a:lnTo>
                  <a:lnTo>
                    <a:pt x="953167" y="577786"/>
                  </a:lnTo>
                  <a:lnTo>
                    <a:pt x="952595" y="573024"/>
                  </a:lnTo>
                  <a:lnTo>
                    <a:pt x="943070" y="561404"/>
                  </a:lnTo>
                  <a:lnTo>
                    <a:pt x="944213" y="558070"/>
                  </a:lnTo>
                  <a:lnTo>
                    <a:pt x="942023" y="553593"/>
                  </a:lnTo>
                  <a:lnTo>
                    <a:pt x="941642" y="550355"/>
                  </a:lnTo>
                  <a:lnTo>
                    <a:pt x="930783" y="540544"/>
                  </a:lnTo>
                  <a:lnTo>
                    <a:pt x="926401" y="531495"/>
                  </a:lnTo>
                  <a:lnTo>
                    <a:pt x="922687" y="527113"/>
                  </a:lnTo>
                  <a:lnTo>
                    <a:pt x="922020" y="522446"/>
                  </a:lnTo>
                  <a:lnTo>
                    <a:pt x="918305" y="518065"/>
                  </a:lnTo>
                  <a:lnTo>
                    <a:pt x="907256" y="519494"/>
                  </a:lnTo>
                  <a:lnTo>
                    <a:pt x="903923" y="518350"/>
                  </a:lnTo>
                  <a:lnTo>
                    <a:pt x="900970" y="520255"/>
                  </a:lnTo>
                  <a:lnTo>
                    <a:pt x="899732" y="523684"/>
                  </a:lnTo>
                  <a:lnTo>
                    <a:pt x="896588" y="524065"/>
                  </a:lnTo>
                  <a:lnTo>
                    <a:pt x="885730" y="514255"/>
                  </a:lnTo>
                  <a:lnTo>
                    <a:pt x="878776" y="497491"/>
                  </a:lnTo>
                  <a:lnTo>
                    <a:pt x="869728" y="489013"/>
                  </a:lnTo>
                  <a:lnTo>
                    <a:pt x="869251" y="485870"/>
                  </a:lnTo>
                  <a:lnTo>
                    <a:pt x="873443" y="480536"/>
                  </a:lnTo>
                  <a:lnTo>
                    <a:pt x="871061" y="474440"/>
                  </a:lnTo>
                  <a:lnTo>
                    <a:pt x="873824" y="470821"/>
                  </a:lnTo>
                  <a:lnTo>
                    <a:pt x="869823" y="464915"/>
                  </a:lnTo>
                  <a:lnTo>
                    <a:pt x="869061" y="458629"/>
                  </a:lnTo>
                  <a:lnTo>
                    <a:pt x="867061" y="455676"/>
                  </a:lnTo>
                  <a:lnTo>
                    <a:pt x="862489" y="457867"/>
                  </a:lnTo>
                  <a:lnTo>
                    <a:pt x="858965" y="455105"/>
                  </a:lnTo>
                  <a:lnTo>
                    <a:pt x="852868" y="457486"/>
                  </a:lnTo>
                  <a:lnTo>
                    <a:pt x="844391" y="453771"/>
                  </a:lnTo>
                  <a:lnTo>
                    <a:pt x="838200" y="456152"/>
                  </a:lnTo>
                  <a:lnTo>
                    <a:pt x="831342" y="452152"/>
                  </a:lnTo>
                  <a:lnTo>
                    <a:pt x="829723" y="452438"/>
                  </a:lnTo>
                  <a:lnTo>
                    <a:pt x="825246" y="454533"/>
                  </a:lnTo>
                  <a:lnTo>
                    <a:pt x="821531" y="463105"/>
                  </a:lnTo>
                  <a:lnTo>
                    <a:pt x="821912" y="466249"/>
                  </a:lnTo>
                  <a:lnTo>
                    <a:pt x="816007" y="470154"/>
                  </a:lnTo>
                  <a:lnTo>
                    <a:pt x="811244" y="470821"/>
                  </a:lnTo>
                  <a:lnTo>
                    <a:pt x="809816" y="459772"/>
                  </a:lnTo>
                  <a:lnTo>
                    <a:pt x="802672" y="454247"/>
                  </a:lnTo>
                  <a:lnTo>
                    <a:pt x="803720" y="449294"/>
                  </a:lnTo>
                  <a:lnTo>
                    <a:pt x="801148" y="441579"/>
                  </a:lnTo>
                  <a:lnTo>
                    <a:pt x="799148" y="438626"/>
                  </a:lnTo>
                  <a:lnTo>
                    <a:pt x="789623" y="439865"/>
                  </a:lnTo>
                  <a:lnTo>
                    <a:pt x="789242" y="436721"/>
                  </a:lnTo>
                  <a:lnTo>
                    <a:pt x="792956" y="428244"/>
                  </a:lnTo>
                  <a:lnTo>
                    <a:pt x="791242" y="426815"/>
                  </a:lnTo>
                  <a:lnTo>
                    <a:pt x="784289" y="422910"/>
                  </a:lnTo>
                  <a:lnTo>
                    <a:pt x="783717" y="418148"/>
                  </a:lnTo>
                  <a:lnTo>
                    <a:pt x="778764" y="417195"/>
                  </a:lnTo>
                  <a:lnTo>
                    <a:pt x="771620" y="424529"/>
                  </a:lnTo>
                  <a:lnTo>
                    <a:pt x="763143" y="420815"/>
                  </a:lnTo>
                  <a:lnTo>
                    <a:pt x="765715" y="415671"/>
                  </a:lnTo>
                  <a:lnTo>
                    <a:pt x="760762" y="401860"/>
                  </a:lnTo>
                  <a:lnTo>
                    <a:pt x="757238" y="399098"/>
                  </a:lnTo>
                  <a:lnTo>
                    <a:pt x="752475" y="399669"/>
                  </a:lnTo>
                  <a:lnTo>
                    <a:pt x="751904" y="395002"/>
                  </a:lnTo>
                  <a:lnTo>
                    <a:pt x="753237" y="393192"/>
                  </a:lnTo>
                  <a:lnTo>
                    <a:pt x="755618" y="386429"/>
                  </a:lnTo>
                  <a:lnTo>
                    <a:pt x="759524" y="379571"/>
                  </a:lnTo>
                  <a:lnTo>
                    <a:pt x="762286" y="375952"/>
                  </a:lnTo>
                  <a:lnTo>
                    <a:pt x="763619" y="374237"/>
                  </a:lnTo>
                  <a:lnTo>
                    <a:pt x="768382" y="373571"/>
                  </a:lnTo>
                  <a:lnTo>
                    <a:pt x="768953" y="378333"/>
                  </a:lnTo>
                  <a:lnTo>
                    <a:pt x="771334" y="384429"/>
                  </a:lnTo>
                  <a:lnTo>
                    <a:pt x="777716" y="383667"/>
                  </a:lnTo>
                  <a:lnTo>
                    <a:pt x="778478" y="377095"/>
                  </a:lnTo>
                  <a:lnTo>
                    <a:pt x="776097" y="370999"/>
                  </a:lnTo>
                  <a:lnTo>
                    <a:pt x="772477" y="368236"/>
                  </a:lnTo>
                  <a:lnTo>
                    <a:pt x="769144" y="367094"/>
                  </a:lnTo>
                  <a:lnTo>
                    <a:pt x="772097" y="365093"/>
                  </a:lnTo>
                  <a:lnTo>
                    <a:pt x="780002" y="364141"/>
                  </a:lnTo>
                  <a:lnTo>
                    <a:pt x="777621" y="358045"/>
                  </a:lnTo>
                  <a:lnTo>
                    <a:pt x="785908" y="360140"/>
                  </a:lnTo>
                  <a:lnTo>
                    <a:pt x="793433" y="355949"/>
                  </a:lnTo>
                  <a:lnTo>
                    <a:pt x="789242" y="348520"/>
                  </a:lnTo>
                  <a:lnTo>
                    <a:pt x="796576" y="342805"/>
                  </a:lnTo>
                  <a:lnTo>
                    <a:pt x="799719" y="342329"/>
                  </a:lnTo>
                  <a:lnTo>
                    <a:pt x="803243" y="345091"/>
                  </a:lnTo>
                  <a:lnTo>
                    <a:pt x="806387" y="344710"/>
                  </a:lnTo>
                  <a:lnTo>
                    <a:pt x="802481" y="338804"/>
                  </a:lnTo>
                  <a:lnTo>
                    <a:pt x="803815" y="336994"/>
                  </a:lnTo>
                  <a:lnTo>
                    <a:pt x="805815" y="339947"/>
                  </a:lnTo>
                  <a:lnTo>
                    <a:pt x="812483" y="342329"/>
                  </a:lnTo>
                  <a:lnTo>
                    <a:pt x="815435" y="340328"/>
                  </a:lnTo>
                  <a:lnTo>
                    <a:pt x="819055" y="343090"/>
                  </a:lnTo>
                  <a:lnTo>
                    <a:pt x="824293" y="334423"/>
                  </a:lnTo>
                  <a:lnTo>
                    <a:pt x="823722" y="329660"/>
                  </a:lnTo>
                  <a:lnTo>
                    <a:pt x="829818" y="327279"/>
                  </a:lnTo>
                  <a:lnTo>
                    <a:pt x="831247" y="325469"/>
                  </a:lnTo>
                  <a:lnTo>
                    <a:pt x="828389" y="316230"/>
                  </a:lnTo>
                  <a:lnTo>
                    <a:pt x="829627" y="312896"/>
                  </a:lnTo>
                  <a:lnTo>
                    <a:pt x="835724" y="310515"/>
                  </a:lnTo>
                  <a:lnTo>
                    <a:pt x="837343" y="310325"/>
                  </a:lnTo>
                  <a:lnTo>
                    <a:pt x="844201" y="314230"/>
                  </a:lnTo>
                  <a:lnTo>
                    <a:pt x="846201" y="317182"/>
                  </a:lnTo>
                  <a:lnTo>
                    <a:pt x="853345" y="322707"/>
                  </a:lnTo>
                  <a:lnTo>
                    <a:pt x="863727" y="316516"/>
                  </a:lnTo>
                  <a:lnTo>
                    <a:pt x="872776" y="299371"/>
                  </a:lnTo>
                  <a:lnTo>
                    <a:pt x="881825" y="294989"/>
                  </a:lnTo>
                  <a:lnTo>
                    <a:pt x="891921" y="285750"/>
                  </a:lnTo>
                  <a:lnTo>
                    <a:pt x="891540" y="282511"/>
                  </a:lnTo>
                  <a:lnTo>
                    <a:pt x="889540" y="279559"/>
                  </a:lnTo>
                  <a:lnTo>
                    <a:pt x="891064" y="279368"/>
                  </a:lnTo>
                  <a:lnTo>
                    <a:pt x="881825" y="269367"/>
                  </a:lnTo>
                  <a:lnTo>
                    <a:pt x="888111" y="268510"/>
                  </a:lnTo>
                  <a:lnTo>
                    <a:pt x="898589" y="262414"/>
                  </a:lnTo>
                  <a:lnTo>
                    <a:pt x="898970" y="252698"/>
                  </a:lnTo>
                  <a:lnTo>
                    <a:pt x="892778" y="242316"/>
                  </a:lnTo>
                  <a:lnTo>
                    <a:pt x="893921" y="238982"/>
                  </a:lnTo>
                  <a:lnTo>
                    <a:pt x="903637" y="239268"/>
                  </a:lnTo>
                  <a:lnTo>
                    <a:pt x="908209" y="237172"/>
                  </a:lnTo>
                  <a:lnTo>
                    <a:pt x="921163" y="225838"/>
                  </a:lnTo>
                  <a:lnTo>
                    <a:pt x="920401" y="219551"/>
                  </a:lnTo>
                  <a:lnTo>
                    <a:pt x="917734" y="211836"/>
                  </a:lnTo>
                  <a:lnTo>
                    <a:pt x="908685" y="203359"/>
                  </a:lnTo>
                  <a:lnTo>
                    <a:pt x="906113" y="195739"/>
                  </a:lnTo>
                  <a:lnTo>
                    <a:pt x="897446" y="190405"/>
                  </a:lnTo>
                  <a:lnTo>
                    <a:pt x="893445" y="184499"/>
                  </a:lnTo>
                  <a:lnTo>
                    <a:pt x="885158" y="182309"/>
                  </a:lnTo>
                  <a:lnTo>
                    <a:pt x="875252" y="167545"/>
                  </a:lnTo>
                  <a:lnTo>
                    <a:pt x="874395" y="161258"/>
                  </a:lnTo>
                  <a:lnTo>
                    <a:pt x="872871" y="161449"/>
                  </a:lnTo>
                  <a:lnTo>
                    <a:pt x="869728" y="161830"/>
                  </a:lnTo>
                  <a:lnTo>
                    <a:pt x="867727" y="158877"/>
                  </a:lnTo>
                  <a:lnTo>
                    <a:pt x="863156" y="148209"/>
                  </a:lnTo>
                  <a:lnTo>
                    <a:pt x="855250" y="149257"/>
                  </a:lnTo>
                  <a:lnTo>
                    <a:pt x="854678" y="144494"/>
                  </a:lnTo>
                  <a:lnTo>
                    <a:pt x="848297" y="132493"/>
                  </a:lnTo>
                  <a:lnTo>
                    <a:pt x="834866" y="127825"/>
                  </a:lnTo>
                  <a:lnTo>
                    <a:pt x="828580" y="128588"/>
                  </a:lnTo>
                  <a:lnTo>
                    <a:pt x="824675" y="135541"/>
                  </a:lnTo>
                  <a:lnTo>
                    <a:pt x="818102" y="134779"/>
                  </a:lnTo>
                  <a:lnTo>
                    <a:pt x="806863" y="134588"/>
                  </a:lnTo>
                  <a:lnTo>
                    <a:pt x="805720" y="125063"/>
                  </a:lnTo>
                  <a:lnTo>
                    <a:pt x="804101" y="125254"/>
                  </a:lnTo>
                  <a:lnTo>
                    <a:pt x="800957" y="125730"/>
                  </a:lnTo>
                  <a:lnTo>
                    <a:pt x="792861" y="125158"/>
                  </a:lnTo>
                  <a:lnTo>
                    <a:pt x="789908" y="127064"/>
                  </a:lnTo>
                  <a:lnTo>
                    <a:pt x="774859" y="122587"/>
                  </a:lnTo>
                  <a:lnTo>
                    <a:pt x="771716" y="122968"/>
                  </a:lnTo>
                  <a:lnTo>
                    <a:pt x="763524" y="146494"/>
                  </a:lnTo>
                  <a:lnTo>
                    <a:pt x="765143" y="159163"/>
                  </a:lnTo>
                  <a:lnTo>
                    <a:pt x="763524" y="159353"/>
                  </a:lnTo>
                  <a:lnTo>
                    <a:pt x="765524" y="162306"/>
                  </a:lnTo>
                  <a:lnTo>
                    <a:pt x="762952" y="167449"/>
                  </a:lnTo>
                  <a:lnTo>
                    <a:pt x="747141" y="169450"/>
                  </a:lnTo>
                  <a:lnTo>
                    <a:pt x="741235" y="173355"/>
                  </a:lnTo>
                  <a:lnTo>
                    <a:pt x="736092" y="170878"/>
                  </a:lnTo>
                  <a:lnTo>
                    <a:pt x="737711" y="170593"/>
                  </a:lnTo>
                  <a:lnTo>
                    <a:pt x="734759" y="159829"/>
                  </a:lnTo>
                  <a:lnTo>
                    <a:pt x="730568" y="152305"/>
                  </a:lnTo>
                  <a:lnTo>
                    <a:pt x="714947" y="143066"/>
                  </a:lnTo>
                  <a:lnTo>
                    <a:pt x="707231" y="145637"/>
                  </a:lnTo>
                  <a:lnTo>
                    <a:pt x="704850" y="139541"/>
                  </a:lnTo>
                  <a:lnTo>
                    <a:pt x="701516" y="138398"/>
                  </a:lnTo>
                  <a:lnTo>
                    <a:pt x="699516" y="135445"/>
                  </a:lnTo>
                  <a:lnTo>
                    <a:pt x="691706" y="136398"/>
                  </a:lnTo>
                  <a:lnTo>
                    <a:pt x="688086" y="133636"/>
                  </a:lnTo>
                  <a:lnTo>
                    <a:pt x="681800" y="134493"/>
                  </a:lnTo>
                  <a:lnTo>
                    <a:pt x="679609" y="142780"/>
                  </a:lnTo>
                  <a:lnTo>
                    <a:pt x="676656" y="144780"/>
                  </a:lnTo>
                  <a:lnTo>
                    <a:pt x="673513" y="145161"/>
                  </a:lnTo>
                  <a:lnTo>
                    <a:pt x="672560" y="150114"/>
                  </a:lnTo>
                  <a:lnTo>
                    <a:pt x="664083" y="159163"/>
                  </a:lnTo>
                  <a:lnTo>
                    <a:pt x="659321" y="159734"/>
                  </a:lnTo>
                  <a:lnTo>
                    <a:pt x="659797" y="162973"/>
                  </a:lnTo>
                  <a:lnTo>
                    <a:pt x="655606" y="168307"/>
                  </a:lnTo>
                  <a:lnTo>
                    <a:pt x="653129" y="186214"/>
                  </a:lnTo>
                  <a:lnTo>
                    <a:pt x="653510" y="189357"/>
                  </a:lnTo>
                  <a:lnTo>
                    <a:pt x="652367" y="192786"/>
                  </a:lnTo>
                  <a:lnTo>
                    <a:pt x="642271" y="189167"/>
                  </a:lnTo>
                  <a:lnTo>
                    <a:pt x="631603" y="206597"/>
                  </a:lnTo>
                  <a:lnTo>
                    <a:pt x="626269" y="202501"/>
                  </a:lnTo>
                  <a:lnTo>
                    <a:pt x="624364" y="199549"/>
                  </a:lnTo>
                  <a:lnTo>
                    <a:pt x="619411" y="198596"/>
                  </a:lnTo>
                  <a:lnTo>
                    <a:pt x="609124" y="193453"/>
                  </a:lnTo>
                  <a:lnTo>
                    <a:pt x="605600" y="190691"/>
                  </a:lnTo>
                  <a:lnTo>
                    <a:pt x="605123" y="187547"/>
                  </a:lnTo>
                  <a:lnTo>
                    <a:pt x="610648" y="180403"/>
                  </a:lnTo>
                  <a:lnTo>
                    <a:pt x="618363" y="177832"/>
                  </a:lnTo>
                  <a:lnTo>
                    <a:pt x="628555" y="170117"/>
                  </a:lnTo>
                  <a:lnTo>
                    <a:pt x="626650" y="167164"/>
                  </a:lnTo>
                  <a:lnTo>
                    <a:pt x="618363" y="164973"/>
                  </a:lnTo>
                  <a:lnTo>
                    <a:pt x="617125" y="155543"/>
                  </a:lnTo>
                  <a:lnTo>
                    <a:pt x="613791" y="154400"/>
                  </a:lnTo>
                  <a:lnTo>
                    <a:pt x="616268" y="149257"/>
                  </a:lnTo>
                  <a:lnTo>
                    <a:pt x="614743" y="136589"/>
                  </a:lnTo>
                  <a:lnTo>
                    <a:pt x="612076" y="128873"/>
                  </a:lnTo>
                  <a:lnTo>
                    <a:pt x="612934" y="122396"/>
                  </a:lnTo>
                  <a:lnTo>
                    <a:pt x="609505" y="121253"/>
                  </a:lnTo>
                  <a:lnTo>
                    <a:pt x="605600" y="115348"/>
                  </a:lnTo>
                  <a:lnTo>
                    <a:pt x="606552" y="110395"/>
                  </a:lnTo>
                  <a:lnTo>
                    <a:pt x="606171" y="107251"/>
                  </a:lnTo>
                  <a:lnTo>
                    <a:pt x="587597" y="99917"/>
                  </a:lnTo>
                  <a:lnTo>
                    <a:pt x="578072" y="101155"/>
                  </a:lnTo>
                  <a:lnTo>
                    <a:pt x="576739" y="102965"/>
                  </a:lnTo>
                  <a:lnTo>
                    <a:pt x="572452" y="106680"/>
                  </a:lnTo>
                  <a:lnTo>
                    <a:pt x="565880" y="105918"/>
                  </a:lnTo>
                  <a:lnTo>
                    <a:pt x="563309" y="111062"/>
                  </a:lnTo>
                  <a:lnTo>
                    <a:pt x="556641" y="108680"/>
                  </a:lnTo>
                  <a:lnTo>
                    <a:pt x="549116" y="112871"/>
                  </a:lnTo>
                  <a:lnTo>
                    <a:pt x="533972" y="119634"/>
                  </a:lnTo>
                  <a:lnTo>
                    <a:pt x="533019" y="124587"/>
                  </a:lnTo>
                  <a:lnTo>
                    <a:pt x="517970" y="120015"/>
                  </a:lnTo>
                  <a:lnTo>
                    <a:pt x="518732" y="113538"/>
                  </a:lnTo>
                  <a:lnTo>
                    <a:pt x="518160" y="108775"/>
                  </a:lnTo>
                  <a:lnTo>
                    <a:pt x="514731" y="94774"/>
                  </a:lnTo>
                  <a:lnTo>
                    <a:pt x="511016" y="90488"/>
                  </a:lnTo>
                  <a:lnTo>
                    <a:pt x="509778" y="80963"/>
                  </a:lnTo>
                  <a:lnTo>
                    <a:pt x="506444" y="79819"/>
                  </a:lnTo>
                  <a:lnTo>
                    <a:pt x="498539" y="68008"/>
                  </a:lnTo>
                  <a:lnTo>
                    <a:pt x="494538" y="62103"/>
                  </a:lnTo>
                  <a:lnTo>
                    <a:pt x="496634" y="40957"/>
                  </a:lnTo>
                  <a:lnTo>
                    <a:pt x="487966" y="35623"/>
                  </a:lnTo>
                  <a:lnTo>
                    <a:pt x="485394" y="28003"/>
                  </a:lnTo>
                  <a:lnTo>
                    <a:pt x="466630" y="32004"/>
                  </a:lnTo>
                  <a:lnTo>
                    <a:pt x="465677" y="36862"/>
                  </a:lnTo>
                  <a:lnTo>
                    <a:pt x="459962" y="42481"/>
                  </a:lnTo>
                  <a:lnTo>
                    <a:pt x="446913" y="40862"/>
                  </a:lnTo>
                  <a:lnTo>
                    <a:pt x="436340" y="45434"/>
                  </a:lnTo>
                  <a:lnTo>
                    <a:pt x="431959" y="49244"/>
                  </a:lnTo>
                  <a:lnTo>
                    <a:pt x="430435" y="49435"/>
                  </a:lnTo>
                  <a:lnTo>
                    <a:pt x="420148" y="44291"/>
                  </a:lnTo>
                  <a:lnTo>
                    <a:pt x="409289" y="47339"/>
                  </a:lnTo>
                  <a:lnTo>
                    <a:pt x="404336" y="46292"/>
                  </a:lnTo>
                  <a:lnTo>
                    <a:pt x="397383" y="42386"/>
                  </a:lnTo>
                  <a:lnTo>
                    <a:pt x="394621" y="33147"/>
                  </a:lnTo>
                  <a:lnTo>
                    <a:pt x="390906" y="28766"/>
                  </a:lnTo>
                  <a:lnTo>
                    <a:pt x="382619" y="26670"/>
                  </a:lnTo>
                  <a:lnTo>
                    <a:pt x="377285" y="22479"/>
                  </a:lnTo>
                  <a:lnTo>
                    <a:pt x="369189" y="21907"/>
                  </a:lnTo>
                  <a:lnTo>
                    <a:pt x="350996" y="17812"/>
                  </a:lnTo>
                  <a:lnTo>
                    <a:pt x="348043" y="6953"/>
                  </a:lnTo>
                  <a:lnTo>
                    <a:pt x="337947" y="3429"/>
                  </a:lnTo>
                  <a:lnTo>
                    <a:pt x="321564" y="762"/>
                  </a:lnTo>
                  <a:lnTo>
                    <a:pt x="309372" y="5524"/>
                  </a:lnTo>
                  <a:lnTo>
                    <a:pt x="302228" y="0"/>
                  </a:lnTo>
                  <a:lnTo>
                    <a:pt x="292703" y="1238"/>
                  </a:lnTo>
                  <a:lnTo>
                    <a:pt x="292989" y="15621"/>
                  </a:lnTo>
                  <a:lnTo>
                    <a:pt x="293942" y="23527"/>
                  </a:lnTo>
                  <a:lnTo>
                    <a:pt x="297942" y="29432"/>
                  </a:lnTo>
                  <a:lnTo>
                    <a:pt x="313754" y="40195"/>
                  </a:lnTo>
                  <a:lnTo>
                    <a:pt x="318325" y="50864"/>
                  </a:lnTo>
                  <a:lnTo>
                    <a:pt x="316135" y="59150"/>
                  </a:lnTo>
                  <a:lnTo>
                    <a:pt x="308324" y="72962"/>
                  </a:lnTo>
                  <a:lnTo>
                    <a:pt x="307086" y="76391"/>
                  </a:lnTo>
                  <a:lnTo>
                    <a:pt x="314230" y="81820"/>
                  </a:lnTo>
                  <a:lnTo>
                    <a:pt x="312706" y="94869"/>
                  </a:lnTo>
                  <a:lnTo>
                    <a:pt x="314706" y="97822"/>
                  </a:lnTo>
                  <a:lnTo>
                    <a:pt x="311182" y="107918"/>
                  </a:lnTo>
                  <a:lnTo>
                    <a:pt x="311753" y="112681"/>
                  </a:lnTo>
                  <a:lnTo>
                    <a:pt x="313563" y="114014"/>
                  </a:lnTo>
                  <a:lnTo>
                    <a:pt x="319945" y="138874"/>
                  </a:lnTo>
                  <a:lnTo>
                    <a:pt x="326993" y="144399"/>
                  </a:lnTo>
                  <a:lnTo>
                    <a:pt x="319945" y="151733"/>
                  </a:lnTo>
                  <a:lnTo>
                    <a:pt x="314801" y="161925"/>
                  </a:lnTo>
                  <a:lnTo>
                    <a:pt x="314992" y="163544"/>
                  </a:lnTo>
                  <a:lnTo>
                    <a:pt x="325469" y="170212"/>
                  </a:lnTo>
                  <a:lnTo>
                    <a:pt x="329660" y="177737"/>
                  </a:lnTo>
                  <a:lnTo>
                    <a:pt x="330518" y="184023"/>
                  </a:lnTo>
                  <a:lnTo>
                    <a:pt x="339185" y="189357"/>
                  </a:lnTo>
                  <a:lnTo>
                    <a:pt x="333470" y="194881"/>
                  </a:lnTo>
                  <a:lnTo>
                    <a:pt x="326803" y="205359"/>
                  </a:lnTo>
                  <a:lnTo>
                    <a:pt x="328994" y="209931"/>
                  </a:lnTo>
                  <a:lnTo>
                    <a:pt x="318516" y="228886"/>
                  </a:lnTo>
                  <a:lnTo>
                    <a:pt x="325660" y="234315"/>
                  </a:lnTo>
                  <a:lnTo>
                    <a:pt x="335375" y="234696"/>
                  </a:lnTo>
                  <a:lnTo>
                    <a:pt x="332804" y="239840"/>
                  </a:lnTo>
                  <a:lnTo>
                    <a:pt x="328232" y="242030"/>
                  </a:lnTo>
                  <a:lnTo>
                    <a:pt x="339281" y="253460"/>
                  </a:lnTo>
                  <a:lnTo>
                    <a:pt x="334423" y="252508"/>
                  </a:lnTo>
                  <a:lnTo>
                    <a:pt x="334613" y="254032"/>
                  </a:lnTo>
                  <a:lnTo>
                    <a:pt x="341090" y="254889"/>
                  </a:lnTo>
                  <a:lnTo>
                    <a:pt x="343472" y="260985"/>
                  </a:lnTo>
                  <a:lnTo>
                    <a:pt x="348806" y="265081"/>
                  </a:lnTo>
                  <a:lnTo>
                    <a:pt x="349187" y="268224"/>
                  </a:lnTo>
                  <a:lnTo>
                    <a:pt x="352806" y="270986"/>
                  </a:lnTo>
                  <a:lnTo>
                    <a:pt x="356997" y="278511"/>
                  </a:lnTo>
                  <a:lnTo>
                    <a:pt x="358521" y="278320"/>
                  </a:lnTo>
                  <a:lnTo>
                    <a:pt x="359283" y="284607"/>
                  </a:lnTo>
                  <a:lnTo>
                    <a:pt x="363284" y="290513"/>
                  </a:lnTo>
                  <a:lnTo>
                    <a:pt x="362141" y="293846"/>
                  </a:lnTo>
                  <a:lnTo>
                    <a:pt x="340043" y="296704"/>
                  </a:lnTo>
                  <a:lnTo>
                    <a:pt x="335471" y="298894"/>
                  </a:lnTo>
                  <a:lnTo>
                    <a:pt x="334137" y="300609"/>
                  </a:lnTo>
                  <a:lnTo>
                    <a:pt x="331946" y="296132"/>
                  </a:lnTo>
                  <a:lnTo>
                    <a:pt x="329184" y="299657"/>
                  </a:lnTo>
                  <a:lnTo>
                    <a:pt x="331184" y="302609"/>
                  </a:lnTo>
                  <a:lnTo>
                    <a:pt x="328041" y="302990"/>
                  </a:lnTo>
                  <a:lnTo>
                    <a:pt x="326803" y="293561"/>
                  </a:lnTo>
                  <a:lnTo>
                    <a:pt x="323660" y="293942"/>
                  </a:lnTo>
                  <a:lnTo>
                    <a:pt x="323850" y="295561"/>
                  </a:lnTo>
                  <a:lnTo>
                    <a:pt x="320516" y="294323"/>
                  </a:lnTo>
                  <a:lnTo>
                    <a:pt x="320040" y="291179"/>
                  </a:lnTo>
                  <a:lnTo>
                    <a:pt x="318707" y="292989"/>
                  </a:lnTo>
                  <a:lnTo>
                    <a:pt x="318325" y="289846"/>
                  </a:lnTo>
                  <a:lnTo>
                    <a:pt x="316706" y="290036"/>
                  </a:lnTo>
                  <a:lnTo>
                    <a:pt x="310801" y="293942"/>
                  </a:lnTo>
                  <a:lnTo>
                    <a:pt x="309277" y="294227"/>
                  </a:lnTo>
                  <a:lnTo>
                    <a:pt x="304705" y="296323"/>
                  </a:lnTo>
                  <a:lnTo>
                    <a:pt x="301371" y="295180"/>
                  </a:lnTo>
                  <a:lnTo>
                    <a:pt x="302324" y="303086"/>
                  </a:lnTo>
                  <a:lnTo>
                    <a:pt x="294418" y="304133"/>
                  </a:lnTo>
                  <a:lnTo>
                    <a:pt x="292227" y="299561"/>
                  </a:lnTo>
                  <a:lnTo>
                    <a:pt x="287750" y="301752"/>
                  </a:lnTo>
                  <a:lnTo>
                    <a:pt x="285750" y="298799"/>
                  </a:lnTo>
                  <a:lnTo>
                    <a:pt x="279464" y="299561"/>
                  </a:lnTo>
                  <a:lnTo>
                    <a:pt x="278606" y="293275"/>
                  </a:lnTo>
                  <a:lnTo>
                    <a:pt x="267557" y="281845"/>
                  </a:lnTo>
                  <a:lnTo>
                    <a:pt x="268319" y="275368"/>
                  </a:lnTo>
                  <a:lnTo>
                    <a:pt x="270129" y="276701"/>
                  </a:lnTo>
                  <a:lnTo>
                    <a:pt x="269748" y="273558"/>
                  </a:lnTo>
                  <a:lnTo>
                    <a:pt x="267748" y="270605"/>
                  </a:lnTo>
                  <a:lnTo>
                    <a:pt x="254318" y="265938"/>
                  </a:lnTo>
                  <a:lnTo>
                    <a:pt x="254889" y="270605"/>
                  </a:lnTo>
                  <a:lnTo>
                    <a:pt x="256508" y="270415"/>
                  </a:lnTo>
                  <a:lnTo>
                    <a:pt x="253746" y="274034"/>
                  </a:lnTo>
                  <a:lnTo>
                    <a:pt x="257461" y="278320"/>
                  </a:lnTo>
                  <a:lnTo>
                    <a:pt x="256508" y="283273"/>
                  </a:lnTo>
                  <a:lnTo>
                    <a:pt x="254699" y="281845"/>
                  </a:lnTo>
                  <a:lnTo>
                    <a:pt x="253365" y="283655"/>
                  </a:lnTo>
                  <a:lnTo>
                    <a:pt x="248031" y="279559"/>
                  </a:lnTo>
                  <a:lnTo>
                    <a:pt x="247841" y="290798"/>
                  </a:lnTo>
                  <a:lnTo>
                    <a:pt x="240125" y="293370"/>
                  </a:lnTo>
                  <a:lnTo>
                    <a:pt x="238411" y="292036"/>
                  </a:lnTo>
                  <a:lnTo>
                    <a:pt x="229076" y="294799"/>
                  </a:lnTo>
                  <a:lnTo>
                    <a:pt x="228124" y="299752"/>
                  </a:lnTo>
                  <a:lnTo>
                    <a:pt x="226790" y="301466"/>
                  </a:lnTo>
                  <a:lnTo>
                    <a:pt x="230505" y="305848"/>
                  </a:lnTo>
                  <a:lnTo>
                    <a:pt x="231743" y="315278"/>
                  </a:lnTo>
                  <a:lnTo>
                    <a:pt x="238697" y="319183"/>
                  </a:lnTo>
                  <a:lnTo>
                    <a:pt x="237649" y="324136"/>
                  </a:lnTo>
                  <a:lnTo>
                    <a:pt x="232982" y="324803"/>
                  </a:lnTo>
                  <a:lnTo>
                    <a:pt x="234887" y="327755"/>
                  </a:lnTo>
                  <a:lnTo>
                    <a:pt x="232124" y="331280"/>
                  </a:lnTo>
                  <a:lnTo>
                    <a:pt x="231172" y="336232"/>
                  </a:lnTo>
                  <a:lnTo>
                    <a:pt x="226219" y="335280"/>
                  </a:lnTo>
                  <a:lnTo>
                    <a:pt x="223838" y="329089"/>
                  </a:lnTo>
                  <a:lnTo>
                    <a:pt x="220885" y="331089"/>
                  </a:lnTo>
                  <a:lnTo>
                    <a:pt x="218123" y="334709"/>
                  </a:lnTo>
                  <a:lnTo>
                    <a:pt x="221933" y="338995"/>
                  </a:lnTo>
                  <a:lnTo>
                    <a:pt x="222123" y="340614"/>
                  </a:lnTo>
                  <a:lnTo>
                    <a:pt x="218789" y="339376"/>
                  </a:lnTo>
                  <a:lnTo>
                    <a:pt x="218980" y="340995"/>
                  </a:lnTo>
                  <a:lnTo>
                    <a:pt x="213836" y="338423"/>
                  </a:lnTo>
                  <a:lnTo>
                    <a:pt x="212693" y="341757"/>
                  </a:lnTo>
                  <a:lnTo>
                    <a:pt x="207740" y="340805"/>
                  </a:lnTo>
                  <a:lnTo>
                    <a:pt x="203168" y="342995"/>
                  </a:lnTo>
                  <a:lnTo>
                    <a:pt x="196691" y="342233"/>
                  </a:lnTo>
                  <a:lnTo>
                    <a:pt x="196025" y="337471"/>
                  </a:lnTo>
                  <a:lnTo>
                    <a:pt x="192691" y="336328"/>
                  </a:lnTo>
                  <a:lnTo>
                    <a:pt x="195834" y="335947"/>
                  </a:lnTo>
                  <a:lnTo>
                    <a:pt x="195453" y="332708"/>
                  </a:lnTo>
                  <a:lnTo>
                    <a:pt x="190691" y="333375"/>
                  </a:lnTo>
                  <a:lnTo>
                    <a:pt x="188786" y="330422"/>
                  </a:lnTo>
                  <a:lnTo>
                    <a:pt x="196882" y="330994"/>
                  </a:lnTo>
                  <a:lnTo>
                    <a:pt x="196596" y="329375"/>
                  </a:lnTo>
                  <a:lnTo>
                    <a:pt x="193262" y="328232"/>
                  </a:lnTo>
                  <a:lnTo>
                    <a:pt x="191072" y="323659"/>
                  </a:lnTo>
                  <a:lnTo>
                    <a:pt x="194215" y="323279"/>
                  </a:lnTo>
                  <a:lnTo>
                    <a:pt x="190119" y="315754"/>
                  </a:lnTo>
                  <a:lnTo>
                    <a:pt x="191262" y="312420"/>
                  </a:lnTo>
                  <a:lnTo>
                    <a:pt x="187928" y="311277"/>
                  </a:lnTo>
                  <a:lnTo>
                    <a:pt x="182023" y="315182"/>
                  </a:lnTo>
                  <a:lnTo>
                    <a:pt x="181832" y="326422"/>
                  </a:lnTo>
                  <a:lnTo>
                    <a:pt x="174879" y="322517"/>
                  </a:lnTo>
                  <a:lnTo>
                    <a:pt x="172784" y="318040"/>
                  </a:lnTo>
                  <a:lnTo>
                    <a:pt x="166021" y="315659"/>
                  </a:lnTo>
                  <a:lnTo>
                    <a:pt x="164402" y="315849"/>
                  </a:lnTo>
                  <a:lnTo>
                    <a:pt x="160306" y="308324"/>
                  </a:lnTo>
                  <a:lnTo>
                    <a:pt x="161449" y="304990"/>
                  </a:lnTo>
                  <a:lnTo>
                    <a:pt x="153162" y="302895"/>
                  </a:lnTo>
                  <a:lnTo>
                    <a:pt x="152019" y="306229"/>
                  </a:lnTo>
                  <a:lnTo>
                    <a:pt x="150400" y="306419"/>
                  </a:lnTo>
                  <a:lnTo>
                    <a:pt x="148209" y="301847"/>
                  </a:lnTo>
                  <a:lnTo>
                    <a:pt x="144113" y="307181"/>
                  </a:lnTo>
                  <a:lnTo>
                    <a:pt x="142113" y="304229"/>
                  </a:lnTo>
                  <a:lnTo>
                    <a:pt x="133826" y="302133"/>
                  </a:lnTo>
                  <a:lnTo>
                    <a:pt x="134969" y="298704"/>
                  </a:lnTo>
                  <a:lnTo>
                    <a:pt x="126302" y="293465"/>
                  </a:lnTo>
                  <a:lnTo>
                    <a:pt x="124968" y="295180"/>
                  </a:lnTo>
                  <a:lnTo>
                    <a:pt x="121349" y="292513"/>
                  </a:lnTo>
                  <a:lnTo>
                    <a:pt x="116681" y="293084"/>
                  </a:lnTo>
                  <a:lnTo>
                    <a:pt x="115253" y="294894"/>
                  </a:lnTo>
                  <a:lnTo>
                    <a:pt x="111538" y="290513"/>
                  </a:lnTo>
                  <a:lnTo>
                    <a:pt x="110300" y="293846"/>
                  </a:lnTo>
                  <a:lnTo>
                    <a:pt x="107156" y="294323"/>
                  </a:lnTo>
                  <a:lnTo>
                    <a:pt x="106013" y="297656"/>
                  </a:lnTo>
                  <a:lnTo>
                    <a:pt x="104394" y="297847"/>
                  </a:lnTo>
                  <a:lnTo>
                    <a:pt x="101632" y="301371"/>
                  </a:lnTo>
                  <a:lnTo>
                    <a:pt x="103442" y="302800"/>
                  </a:lnTo>
                  <a:lnTo>
                    <a:pt x="95726" y="305371"/>
                  </a:lnTo>
                  <a:lnTo>
                    <a:pt x="96583" y="311658"/>
                  </a:lnTo>
                  <a:lnTo>
                    <a:pt x="91631" y="310705"/>
                  </a:lnTo>
                  <a:lnTo>
                    <a:pt x="93631" y="313658"/>
                  </a:lnTo>
                  <a:lnTo>
                    <a:pt x="92869" y="320135"/>
                  </a:lnTo>
                  <a:lnTo>
                    <a:pt x="93250" y="323279"/>
                  </a:lnTo>
                  <a:lnTo>
                    <a:pt x="88487" y="323945"/>
                  </a:lnTo>
                  <a:lnTo>
                    <a:pt x="85344" y="324326"/>
                  </a:lnTo>
                  <a:lnTo>
                    <a:pt x="80772" y="326517"/>
                  </a:lnTo>
                  <a:lnTo>
                    <a:pt x="71723" y="318040"/>
                  </a:lnTo>
                  <a:lnTo>
                    <a:pt x="63246" y="314325"/>
                  </a:lnTo>
                  <a:lnTo>
                    <a:pt x="54959" y="312134"/>
                  </a:lnTo>
                  <a:lnTo>
                    <a:pt x="51149" y="307848"/>
                  </a:lnTo>
                  <a:lnTo>
                    <a:pt x="47625" y="305086"/>
                  </a:lnTo>
                  <a:lnTo>
                    <a:pt x="35528" y="298609"/>
                  </a:lnTo>
                  <a:lnTo>
                    <a:pt x="34195" y="300419"/>
                  </a:lnTo>
                  <a:lnTo>
                    <a:pt x="29242" y="299371"/>
                  </a:lnTo>
                  <a:lnTo>
                    <a:pt x="28670" y="294704"/>
                  </a:lnTo>
                  <a:lnTo>
                    <a:pt x="26670" y="291751"/>
                  </a:lnTo>
                  <a:lnTo>
                    <a:pt x="25527" y="295084"/>
                  </a:lnTo>
                  <a:lnTo>
                    <a:pt x="23908" y="295275"/>
                  </a:lnTo>
                  <a:lnTo>
                    <a:pt x="24289" y="298418"/>
                  </a:lnTo>
                  <a:lnTo>
                    <a:pt x="22765" y="298609"/>
                  </a:lnTo>
                  <a:lnTo>
                    <a:pt x="23336" y="303371"/>
                  </a:lnTo>
                  <a:lnTo>
                    <a:pt x="16859" y="302609"/>
                  </a:lnTo>
                  <a:lnTo>
                    <a:pt x="17240" y="305753"/>
                  </a:lnTo>
                  <a:lnTo>
                    <a:pt x="9335" y="306705"/>
                  </a:lnTo>
                  <a:lnTo>
                    <a:pt x="4953" y="310515"/>
                  </a:lnTo>
                  <a:lnTo>
                    <a:pt x="6001" y="318421"/>
                  </a:lnTo>
                  <a:lnTo>
                    <a:pt x="8001" y="321373"/>
                  </a:lnTo>
                  <a:lnTo>
                    <a:pt x="11335" y="322517"/>
                  </a:lnTo>
                  <a:lnTo>
                    <a:pt x="18860" y="331184"/>
                  </a:lnTo>
                  <a:lnTo>
                    <a:pt x="19431" y="335947"/>
                  </a:lnTo>
                  <a:lnTo>
                    <a:pt x="18288" y="339280"/>
                  </a:lnTo>
                  <a:lnTo>
                    <a:pt x="16954" y="341090"/>
                  </a:lnTo>
                  <a:lnTo>
                    <a:pt x="20288" y="342233"/>
                  </a:lnTo>
                  <a:lnTo>
                    <a:pt x="25622" y="346329"/>
                  </a:lnTo>
                  <a:lnTo>
                    <a:pt x="24194" y="348139"/>
                  </a:lnTo>
                  <a:lnTo>
                    <a:pt x="24670" y="351282"/>
                  </a:lnTo>
                  <a:lnTo>
                    <a:pt x="21241" y="350139"/>
                  </a:lnTo>
                  <a:lnTo>
                    <a:pt x="19907" y="351949"/>
                  </a:lnTo>
                  <a:lnTo>
                    <a:pt x="21431" y="351663"/>
                  </a:lnTo>
                  <a:lnTo>
                    <a:pt x="21908" y="354902"/>
                  </a:lnTo>
                  <a:lnTo>
                    <a:pt x="20669" y="358235"/>
                  </a:lnTo>
                  <a:lnTo>
                    <a:pt x="22289" y="358045"/>
                  </a:lnTo>
                  <a:lnTo>
                    <a:pt x="21527" y="364522"/>
                  </a:lnTo>
                  <a:lnTo>
                    <a:pt x="19907" y="364712"/>
                  </a:lnTo>
                  <a:lnTo>
                    <a:pt x="20574" y="369475"/>
                  </a:lnTo>
                  <a:lnTo>
                    <a:pt x="16193" y="373190"/>
                  </a:lnTo>
                  <a:lnTo>
                    <a:pt x="18574" y="379381"/>
                  </a:lnTo>
                  <a:lnTo>
                    <a:pt x="23146" y="377190"/>
                  </a:lnTo>
                  <a:lnTo>
                    <a:pt x="23527" y="380333"/>
                  </a:lnTo>
                  <a:lnTo>
                    <a:pt x="26479" y="378333"/>
                  </a:lnTo>
                  <a:lnTo>
                    <a:pt x="28289" y="379667"/>
                  </a:lnTo>
                  <a:lnTo>
                    <a:pt x="34195" y="388620"/>
                  </a:lnTo>
                  <a:lnTo>
                    <a:pt x="34576" y="391763"/>
                  </a:lnTo>
                  <a:lnTo>
                    <a:pt x="29813" y="392335"/>
                  </a:lnTo>
                  <a:lnTo>
                    <a:pt x="30480" y="397097"/>
                  </a:lnTo>
                  <a:lnTo>
                    <a:pt x="33814" y="398240"/>
                  </a:lnTo>
                  <a:lnTo>
                    <a:pt x="32671" y="401574"/>
                  </a:lnTo>
                  <a:lnTo>
                    <a:pt x="39338" y="403955"/>
                  </a:lnTo>
                  <a:lnTo>
                    <a:pt x="34100" y="425482"/>
                  </a:lnTo>
                  <a:lnTo>
                    <a:pt x="32290" y="424053"/>
                  </a:lnTo>
                  <a:lnTo>
                    <a:pt x="31147" y="427482"/>
                  </a:lnTo>
                  <a:lnTo>
                    <a:pt x="29147" y="424529"/>
                  </a:lnTo>
                  <a:lnTo>
                    <a:pt x="28004" y="427863"/>
                  </a:lnTo>
                  <a:lnTo>
                    <a:pt x="21622" y="428625"/>
                  </a:lnTo>
                  <a:lnTo>
                    <a:pt x="22479" y="435007"/>
                  </a:lnTo>
                  <a:lnTo>
                    <a:pt x="24003" y="434816"/>
                  </a:lnTo>
                  <a:lnTo>
                    <a:pt x="24479" y="437959"/>
                  </a:lnTo>
                  <a:lnTo>
                    <a:pt x="21527" y="439865"/>
                  </a:lnTo>
                  <a:lnTo>
                    <a:pt x="26861" y="444055"/>
                  </a:lnTo>
                  <a:lnTo>
                    <a:pt x="25622" y="447389"/>
                  </a:lnTo>
                  <a:lnTo>
                    <a:pt x="22479" y="447770"/>
                  </a:lnTo>
                  <a:lnTo>
                    <a:pt x="21146" y="449580"/>
                  </a:lnTo>
                  <a:lnTo>
                    <a:pt x="19526" y="449771"/>
                  </a:lnTo>
                  <a:lnTo>
                    <a:pt x="20955" y="447961"/>
                  </a:lnTo>
                  <a:lnTo>
                    <a:pt x="19145" y="446627"/>
                  </a:lnTo>
                  <a:lnTo>
                    <a:pt x="17717" y="448437"/>
                  </a:lnTo>
                  <a:lnTo>
                    <a:pt x="14383" y="447199"/>
                  </a:lnTo>
                  <a:lnTo>
                    <a:pt x="13049" y="449009"/>
                  </a:lnTo>
                  <a:lnTo>
                    <a:pt x="9430" y="446246"/>
                  </a:lnTo>
                  <a:lnTo>
                    <a:pt x="6953" y="451390"/>
                  </a:lnTo>
                  <a:lnTo>
                    <a:pt x="0" y="460248"/>
                  </a:lnTo>
                  <a:lnTo>
                    <a:pt x="5525" y="465963"/>
                  </a:lnTo>
                  <a:lnTo>
                    <a:pt x="9525" y="471869"/>
                  </a:lnTo>
                  <a:lnTo>
                    <a:pt x="12668" y="471488"/>
                  </a:lnTo>
                  <a:lnTo>
                    <a:pt x="18002" y="475679"/>
                  </a:lnTo>
                  <a:lnTo>
                    <a:pt x="16478" y="475869"/>
                  </a:lnTo>
                  <a:lnTo>
                    <a:pt x="12287" y="481203"/>
                  </a:lnTo>
                  <a:lnTo>
                    <a:pt x="15050" y="490442"/>
                  </a:lnTo>
                  <a:lnTo>
                    <a:pt x="17240" y="495014"/>
                  </a:lnTo>
                  <a:lnTo>
                    <a:pt x="20860" y="497681"/>
                  </a:lnTo>
                  <a:lnTo>
                    <a:pt x="27718" y="501682"/>
                  </a:lnTo>
                  <a:lnTo>
                    <a:pt x="34481" y="503968"/>
                  </a:lnTo>
                  <a:lnTo>
                    <a:pt x="37433" y="502063"/>
                  </a:lnTo>
                  <a:lnTo>
                    <a:pt x="42767" y="493300"/>
                  </a:lnTo>
                  <a:lnTo>
                    <a:pt x="46673" y="499205"/>
                  </a:lnTo>
                  <a:lnTo>
                    <a:pt x="55150" y="502920"/>
                  </a:lnTo>
                  <a:lnTo>
                    <a:pt x="58579" y="504158"/>
                  </a:lnTo>
                  <a:lnTo>
                    <a:pt x="57150" y="505968"/>
                  </a:lnTo>
                  <a:lnTo>
                    <a:pt x="55817" y="507682"/>
                  </a:lnTo>
                  <a:lnTo>
                    <a:pt x="54197" y="507873"/>
                  </a:lnTo>
                  <a:lnTo>
                    <a:pt x="53626" y="515969"/>
                  </a:lnTo>
                  <a:lnTo>
                    <a:pt x="56960" y="517207"/>
                  </a:lnTo>
                  <a:lnTo>
                    <a:pt x="61150" y="511873"/>
                  </a:lnTo>
                  <a:lnTo>
                    <a:pt x="62865" y="513207"/>
                  </a:lnTo>
                  <a:lnTo>
                    <a:pt x="63056" y="514826"/>
                  </a:lnTo>
                  <a:lnTo>
                    <a:pt x="67056" y="520732"/>
                  </a:lnTo>
                  <a:lnTo>
                    <a:pt x="68675" y="520541"/>
                  </a:lnTo>
                  <a:lnTo>
                    <a:pt x="70580" y="523494"/>
                  </a:lnTo>
                  <a:lnTo>
                    <a:pt x="73819" y="523018"/>
                  </a:lnTo>
                  <a:lnTo>
                    <a:pt x="77533" y="527399"/>
                  </a:lnTo>
                  <a:lnTo>
                    <a:pt x="78105" y="532162"/>
                  </a:lnTo>
                  <a:lnTo>
                    <a:pt x="74771" y="530924"/>
                  </a:lnTo>
                  <a:lnTo>
                    <a:pt x="68866" y="534924"/>
                  </a:lnTo>
                  <a:lnTo>
                    <a:pt x="69247" y="538067"/>
                  </a:lnTo>
                  <a:lnTo>
                    <a:pt x="72866" y="540830"/>
                  </a:lnTo>
                  <a:lnTo>
                    <a:pt x="73438" y="545592"/>
                  </a:lnTo>
                  <a:lnTo>
                    <a:pt x="70866" y="550640"/>
                  </a:lnTo>
                  <a:lnTo>
                    <a:pt x="74486" y="553403"/>
                  </a:lnTo>
                  <a:lnTo>
                    <a:pt x="84677" y="558546"/>
                  </a:lnTo>
                  <a:lnTo>
                    <a:pt x="85154" y="561689"/>
                  </a:lnTo>
                  <a:lnTo>
                    <a:pt x="86868" y="563118"/>
                  </a:lnTo>
                  <a:lnTo>
                    <a:pt x="88106" y="559689"/>
                  </a:lnTo>
                  <a:lnTo>
                    <a:pt x="89630" y="559499"/>
                  </a:lnTo>
                  <a:lnTo>
                    <a:pt x="90011" y="562642"/>
                  </a:lnTo>
                  <a:lnTo>
                    <a:pt x="91821" y="564071"/>
                  </a:lnTo>
                  <a:lnTo>
                    <a:pt x="93250" y="562261"/>
                  </a:lnTo>
                  <a:lnTo>
                    <a:pt x="94774" y="562070"/>
                  </a:lnTo>
                  <a:lnTo>
                    <a:pt x="94393" y="558927"/>
                  </a:lnTo>
                  <a:lnTo>
                    <a:pt x="104013" y="559308"/>
                  </a:lnTo>
                  <a:lnTo>
                    <a:pt x="108204" y="553974"/>
                  </a:lnTo>
                  <a:lnTo>
                    <a:pt x="111347" y="553593"/>
                  </a:lnTo>
                  <a:lnTo>
                    <a:pt x="113157" y="554927"/>
                  </a:lnTo>
                  <a:lnTo>
                    <a:pt x="113348" y="556546"/>
                  </a:lnTo>
                  <a:lnTo>
                    <a:pt x="116872" y="559308"/>
                  </a:lnTo>
                  <a:lnTo>
                    <a:pt x="117062" y="560832"/>
                  </a:lnTo>
                  <a:lnTo>
                    <a:pt x="120015" y="558832"/>
                  </a:lnTo>
                  <a:lnTo>
                    <a:pt x="123635" y="561594"/>
                  </a:lnTo>
                  <a:lnTo>
                    <a:pt x="124968" y="559880"/>
                  </a:lnTo>
                  <a:lnTo>
                    <a:pt x="131731" y="562165"/>
                  </a:lnTo>
                  <a:lnTo>
                    <a:pt x="138589" y="566071"/>
                  </a:lnTo>
                  <a:lnTo>
                    <a:pt x="137255" y="567880"/>
                  </a:lnTo>
                  <a:lnTo>
                    <a:pt x="140779" y="570643"/>
                  </a:lnTo>
                  <a:lnTo>
                    <a:pt x="142113" y="568833"/>
                  </a:lnTo>
                  <a:lnTo>
                    <a:pt x="146495" y="565118"/>
                  </a:lnTo>
                  <a:lnTo>
                    <a:pt x="148876" y="558355"/>
                  </a:lnTo>
                  <a:lnTo>
                    <a:pt x="155353" y="559213"/>
                  </a:lnTo>
                  <a:lnTo>
                    <a:pt x="159734" y="555403"/>
                  </a:lnTo>
                  <a:lnTo>
                    <a:pt x="164402" y="554831"/>
                  </a:lnTo>
                  <a:lnTo>
                    <a:pt x="165830" y="553022"/>
                  </a:lnTo>
                  <a:lnTo>
                    <a:pt x="170498" y="552450"/>
                  </a:lnTo>
                  <a:lnTo>
                    <a:pt x="171736" y="549116"/>
                  </a:lnTo>
                  <a:lnTo>
                    <a:pt x="172117" y="552259"/>
                  </a:lnTo>
                  <a:lnTo>
                    <a:pt x="173736" y="552069"/>
                  </a:lnTo>
                  <a:lnTo>
                    <a:pt x="174689" y="559880"/>
                  </a:lnTo>
                  <a:lnTo>
                    <a:pt x="176308" y="559689"/>
                  </a:lnTo>
                  <a:lnTo>
                    <a:pt x="176498" y="561308"/>
                  </a:lnTo>
                  <a:lnTo>
                    <a:pt x="181166" y="560642"/>
                  </a:lnTo>
                  <a:lnTo>
                    <a:pt x="184785" y="563404"/>
                  </a:lnTo>
                  <a:lnTo>
                    <a:pt x="184975" y="565023"/>
                  </a:lnTo>
                  <a:lnTo>
                    <a:pt x="189738" y="564452"/>
                  </a:lnTo>
                  <a:lnTo>
                    <a:pt x="191929" y="568928"/>
                  </a:lnTo>
                  <a:lnTo>
                    <a:pt x="187547" y="572738"/>
                  </a:lnTo>
                  <a:lnTo>
                    <a:pt x="189738" y="577215"/>
                  </a:lnTo>
                  <a:lnTo>
                    <a:pt x="189929" y="578834"/>
                  </a:lnTo>
                  <a:lnTo>
                    <a:pt x="188404" y="579025"/>
                  </a:lnTo>
                  <a:lnTo>
                    <a:pt x="191167" y="588264"/>
                  </a:lnTo>
                  <a:lnTo>
                    <a:pt x="190214" y="593217"/>
                  </a:lnTo>
                  <a:lnTo>
                    <a:pt x="191929" y="594551"/>
                  </a:lnTo>
                  <a:lnTo>
                    <a:pt x="195929" y="600551"/>
                  </a:lnTo>
                  <a:lnTo>
                    <a:pt x="191548" y="604266"/>
                  </a:lnTo>
                  <a:lnTo>
                    <a:pt x="186881" y="604838"/>
                  </a:lnTo>
                  <a:lnTo>
                    <a:pt x="184118" y="608457"/>
                  </a:lnTo>
                  <a:lnTo>
                    <a:pt x="187452" y="609600"/>
                  </a:lnTo>
                  <a:lnTo>
                    <a:pt x="189262" y="623792"/>
                  </a:lnTo>
                  <a:lnTo>
                    <a:pt x="185547" y="632270"/>
                  </a:lnTo>
                  <a:lnTo>
                    <a:pt x="192024" y="633032"/>
                  </a:lnTo>
                  <a:lnTo>
                    <a:pt x="192881" y="639413"/>
                  </a:lnTo>
                  <a:lnTo>
                    <a:pt x="194405" y="639223"/>
                  </a:lnTo>
                  <a:lnTo>
                    <a:pt x="201168" y="641509"/>
                  </a:lnTo>
                  <a:lnTo>
                    <a:pt x="199168" y="651415"/>
                  </a:lnTo>
                  <a:lnTo>
                    <a:pt x="201930" y="647890"/>
                  </a:lnTo>
                  <a:lnTo>
                    <a:pt x="202311" y="651034"/>
                  </a:lnTo>
                  <a:lnTo>
                    <a:pt x="204121" y="652367"/>
                  </a:lnTo>
                  <a:lnTo>
                    <a:pt x="201549" y="657511"/>
                  </a:lnTo>
                  <a:lnTo>
                    <a:pt x="207454" y="653510"/>
                  </a:lnTo>
                  <a:lnTo>
                    <a:pt x="203549" y="660463"/>
                  </a:lnTo>
                  <a:lnTo>
                    <a:pt x="204311" y="666750"/>
                  </a:lnTo>
                  <a:lnTo>
                    <a:pt x="201835" y="671894"/>
                  </a:lnTo>
                  <a:lnTo>
                    <a:pt x="200025" y="670560"/>
                  </a:lnTo>
                  <a:lnTo>
                    <a:pt x="197263" y="674084"/>
                  </a:lnTo>
                  <a:lnTo>
                    <a:pt x="199073" y="675513"/>
                  </a:lnTo>
                  <a:lnTo>
                    <a:pt x="201073" y="678466"/>
                  </a:lnTo>
                  <a:lnTo>
                    <a:pt x="199454" y="678656"/>
                  </a:lnTo>
                  <a:lnTo>
                    <a:pt x="198501" y="683609"/>
                  </a:lnTo>
                  <a:lnTo>
                    <a:pt x="196691" y="682180"/>
                  </a:lnTo>
                  <a:lnTo>
                    <a:pt x="197072" y="685324"/>
                  </a:lnTo>
                  <a:lnTo>
                    <a:pt x="192596" y="687515"/>
                  </a:lnTo>
                  <a:lnTo>
                    <a:pt x="191548" y="692468"/>
                  </a:lnTo>
                  <a:lnTo>
                    <a:pt x="186690" y="691515"/>
                  </a:lnTo>
                  <a:lnTo>
                    <a:pt x="185833" y="697992"/>
                  </a:lnTo>
                  <a:lnTo>
                    <a:pt x="183928" y="695039"/>
                  </a:lnTo>
                  <a:lnTo>
                    <a:pt x="182499" y="696849"/>
                  </a:lnTo>
                  <a:lnTo>
                    <a:pt x="183166" y="701611"/>
                  </a:lnTo>
                  <a:lnTo>
                    <a:pt x="179927" y="701993"/>
                  </a:lnTo>
                  <a:lnTo>
                    <a:pt x="178213" y="700564"/>
                  </a:lnTo>
                  <a:lnTo>
                    <a:pt x="176594" y="700754"/>
                  </a:lnTo>
                  <a:lnTo>
                    <a:pt x="175641" y="705707"/>
                  </a:lnTo>
                  <a:lnTo>
                    <a:pt x="180404" y="705136"/>
                  </a:lnTo>
                  <a:lnTo>
                    <a:pt x="189071" y="710470"/>
                  </a:lnTo>
                  <a:lnTo>
                    <a:pt x="189262" y="711994"/>
                  </a:lnTo>
                  <a:lnTo>
                    <a:pt x="179261" y="721328"/>
                  </a:lnTo>
                  <a:lnTo>
                    <a:pt x="171545" y="723900"/>
                  </a:lnTo>
                  <a:lnTo>
                    <a:pt x="171736" y="725519"/>
                  </a:lnTo>
                  <a:lnTo>
                    <a:pt x="183166" y="727234"/>
                  </a:lnTo>
                  <a:lnTo>
                    <a:pt x="192405" y="724472"/>
                  </a:lnTo>
                  <a:lnTo>
                    <a:pt x="199739" y="731520"/>
                  </a:lnTo>
                  <a:lnTo>
                    <a:pt x="201740" y="734473"/>
                  </a:lnTo>
                  <a:lnTo>
                    <a:pt x="208502" y="736854"/>
                  </a:lnTo>
                  <a:lnTo>
                    <a:pt x="209645" y="733520"/>
                  </a:lnTo>
                  <a:lnTo>
                    <a:pt x="209264" y="730282"/>
                  </a:lnTo>
                  <a:lnTo>
                    <a:pt x="212789" y="733044"/>
                  </a:lnTo>
                  <a:lnTo>
                    <a:pt x="215932" y="732663"/>
                  </a:lnTo>
                  <a:lnTo>
                    <a:pt x="214789" y="735997"/>
                  </a:lnTo>
                  <a:lnTo>
                    <a:pt x="225457" y="744284"/>
                  </a:lnTo>
                  <a:lnTo>
                    <a:pt x="232124" y="746665"/>
                  </a:lnTo>
                  <a:lnTo>
                    <a:pt x="233553" y="744855"/>
                  </a:lnTo>
                  <a:lnTo>
                    <a:pt x="235363" y="746188"/>
                  </a:lnTo>
                  <a:lnTo>
                    <a:pt x="233744" y="746474"/>
                  </a:lnTo>
                  <a:lnTo>
                    <a:pt x="240506" y="748760"/>
                  </a:lnTo>
                  <a:lnTo>
                    <a:pt x="232220" y="759428"/>
                  </a:lnTo>
                  <a:lnTo>
                    <a:pt x="232982" y="765810"/>
                  </a:lnTo>
                  <a:lnTo>
                    <a:pt x="243078" y="782098"/>
                  </a:lnTo>
                  <a:lnTo>
                    <a:pt x="255365" y="777335"/>
                  </a:lnTo>
                  <a:lnTo>
                    <a:pt x="259461" y="772001"/>
                  </a:lnTo>
                  <a:lnTo>
                    <a:pt x="261080" y="771811"/>
                  </a:lnTo>
                  <a:lnTo>
                    <a:pt x="265367" y="768096"/>
                  </a:lnTo>
                  <a:lnTo>
                    <a:pt x="265176" y="766477"/>
                  </a:lnTo>
                  <a:lnTo>
                    <a:pt x="270129" y="767429"/>
                  </a:lnTo>
                  <a:lnTo>
                    <a:pt x="273082" y="765524"/>
                  </a:lnTo>
                  <a:lnTo>
                    <a:pt x="268319" y="766096"/>
                  </a:lnTo>
                  <a:lnTo>
                    <a:pt x="267748" y="761333"/>
                  </a:lnTo>
                  <a:lnTo>
                    <a:pt x="278987" y="761524"/>
                  </a:lnTo>
                  <a:lnTo>
                    <a:pt x="280702" y="762857"/>
                  </a:lnTo>
                  <a:lnTo>
                    <a:pt x="280511" y="761333"/>
                  </a:lnTo>
                  <a:lnTo>
                    <a:pt x="285083" y="759143"/>
                  </a:lnTo>
                  <a:lnTo>
                    <a:pt x="287846" y="755618"/>
                  </a:lnTo>
                  <a:lnTo>
                    <a:pt x="291370" y="758380"/>
                  </a:lnTo>
                  <a:lnTo>
                    <a:pt x="292799" y="756571"/>
                  </a:lnTo>
                  <a:lnTo>
                    <a:pt x="290608" y="751999"/>
                  </a:lnTo>
                  <a:lnTo>
                    <a:pt x="288798" y="750665"/>
                  </a:lnTo>
                  <a:lnTo>
                    <a:pt x="289941" y="747332"/>
                  </a:lnTo>
                  <a:lnTo>
                    <a:pt x="290513" y="739235"/>
                  </a:lnTo>
                  <a:lnTo>
                    <a:pt x="291941" y="737426"/>
                  </a:lnTo>
                  <a:lnTo>
                    <a:pt x="302419" y="731234"/>
                  </a:lnTo>
                  <a:lnTo>
                    <a:pt x="305562" y="730853"/>
                  </a:lnTo>
                  <a:lnTo>
                    <a:pt x="307467" y="733806"/>
                  </a:lnTo>
                  <a:lnTo>
                    <a:pt x="308896" y="732092"/>
                  </a:lnTo>
                  <a:lnTo>
                    <a:pt x="309467" y="736759"/>
                  </a:lnTo>
                  <a:lnTo>
                    <a:pt x="312801" y="737997"/>
                  </a:lnTo>
                  <a:lnTo>
                    <a:pt x="317373" y="735806"/>
                  </a:lnTo>
                  <a:lnTo>
                    <a:pt x="316802" y="731044"/>
                  </a:lnTo>
                  <a:lnTo>
                    <a:pt x="318135" y="729234"/>
                  </a:lnTo>
                  <a:lnTo>
                    <a:pt x="319945" y="730663"/>
                  </a:lnTo>
                  <a:lnTo>
                    <a:pt x="326041" y="728282"/>
                  </a:lnTo>
                  <a:lnTo>
                    <a:pt x="320897" y="725710"/>
                  </a:lnTo>
                  <a:lnTo>
                    <a:pt x="321850" y="720757"/>
                  </a:lnTo>
                  <a:lnTo>
                    <a:pt x="325088" y="720376"/>
                  </a:lnTo>
                  <a:lnTo>
                    <a:pt x="331946" y="724281"/>
                  </a:lnTo>
                  <a:lnTo>
                    <a:pt x="331756" y="735521"/>
                  </a:lnTo>
                  <a:lnTo>
                    <a:pt x="334899" y="735140"/>
                  </a:lnTo>
                  <a:lnTo>
                    <a:pt x="335566" y="739902"/>
                  </a:lnTo>
                  <a:lnTo>
                    <a:pt x="337090" y="739711"/>
                  </a:lnTo>
                  <a:lnTo>
                    <a:pt x="338709" y="739521"/>
                  </a:lnTo>
                  <a:lnTo>
                    <a:pt x="338519" y="737902"/>
                  </a:lnTo>
                  <a:lnTo>
                    <a:pt x="339852" y="736092"/>
                  </a:lnTo>
                  <a:lnTo>
                    <a:pt x="343472" y="738854"/>
                  </a:lnTo>
                  <a:lnTo>
                    <a:pt x="345186" y="740283"/>
                  </a:lnTo>
                  <a:lnTo>
                    <a:pt x="346615" y="738473"/>
                  </a:lnTo>
                  <a:lnTo>
                    <a:pt x="343472" y="738854"/>
                  </a:lnTo>
                  <a:lnTo>
                    <a:pt x="342614" y="732568"/>
                  </a:lnTo>
                  <a:lnTo>
                    <a:pt x="344234" y="732377"/>
                  </a:lnTo>
                  <a:lnTo>
                    <a:pt x="344615" y="735521"/>
                  </a:lnTo>
                  <a:lnTo>
                    <a:pt x="346043" y="733711"/>
                  </a:lnTo>
                  <a:lnTo>
                    <a:pt x="347758" y="735140"/>
                  </a:lnTo>
                  <a:lnTo>
                    <a:pt x="350901" y="734759"/>
                  </a:lnTo>
                  <a:lnTo>
                    <a:pt x="352901" y="737711"/>
                  </a:lnTo>
                  <a:lnTo>
                    <a:pt x="357473" y="735521"/>
                  </a:lnTo>
                  <a:lnTo>
                    <a:pt x="355854" y="735711"/>
                  </a:lnTo>
                  <a:lnTo>
                    <a:pt x="357188" y="733901"/>
                  </a:lnTo>
                  <a:lnTo>
                    <a:pt x="362331" y="736473"/>
                  </a:lnTo>
                  <a:lnTo>
                    <a:pt x="363760" y="734663"/>
                  </a:lnTo>
                  <a:lnTo>
                    <a:pt x="365379" y="734473"/>
                  </a:lnTo>
                  <a:lnTo>
                    <a:pt x="365570" y="736092"/>
                  </a:lnTo>
                  <a:lnTo>
                    <a:pt x="363950" y="736282"/>
                  </a:lnTo>
                  <a:lnTo>
                    <a:pt x="364141" y="737807"/>
                  </a:lnTo>
                  <a:lnTo>
                    <a:pt x="368903" y="737235"/>
                  </a:lnTo>
                  <a:lnTo>
                    <a:pt x="374047" y="739807"/>
                  </a:lnTo>
                  <a:lnTo>
                    <a:pt x="373856" y="738188"/>
                  </a:lnTo>
                  <a:lnTo>
                    <a:pt x="377381" y="740950"/>
                  </a:lnTo>
                  <a:lnTo>
                    <a:pt x="377952" y="732854"/>
                  </a:lnTo>
                  <a:lnTo>
                    <a:pt x="379762" y="734282"/>
                  </a:lnTo>
                  <a:lnTo>
                    <a:pt x="381476" y="735616"/>
                  </a:lnTo>
                  <a:lnTo>
                    <a:pt x="391763" y="740759"/>
                  </a:lnTo>
                  <a:lnTo>
                    <a:pt x="391954" y="742283"/>
                  </a:lnTo>
                  <a:lnTo>
                    <a:pt x="397097" y="744855"/>
                  </a:lnTo>
                  <a:lnTo>
                    <a:pt x="397288" y="746474"/>
                  </a:lnTo>
                  <a:lnTo>
                    <a:pt x="400907" y="749236"/>
                  </a:lnTo>
                  <a:lnTo>
                    <a:pt x="402050" y="745807"/>
                  </a:lnTo>
                  <a:lnTo>
                    <a:pt x="403670" y="745617"/>
                  </a:lnTo>
                  <a:lnTo>
                    <a:pt x="407194" y="748379"/>
                  </a:lnTo>
                  <a:lnTo>
                    <a:pt x="409956" y="744855"/>
                  </a:lnTo>
                  <a:lnTo>
                    <a:pt x="409575" y="741712"/>
                  </a:lnTo>
                  <a:lnTo>
                    <a:pt x="411099" y="741521"/>
                  </a:lnTo>
                  <a:lnTo>
                    <a:pt x="413671" y="736378"/>
                  </a:lnTo>
                  <a:lnTo>
                    <a:pt x="416814" y="735902"/>
                  </a:lnTo>
                  <a:lnTo>
                    <a:pt x="418052" y="732568"/>
                  </a:lnTo>
                  <a:lnTo>
                    <a:pt x="421386" y="733711"/>
                  </a:lnTo>
                  <a:lnTo>
                    <a:pt x="421576" y="735330"/>
                  </a:lnTo>
                  <a:lnTo>
                    <a:pt x="424529" y="733330"/>
                  </a:lnTo>
                  <a:lnTo>
                    <a:pt x="429482" y="734282"/>
                  </a:lnTo>
                  <a:lnTo>
                    <a:pt x="433197" y="738664"/>
                  </a:lnTo>
                  <a:lnTo>
                    <a:pt x="436912" y="730186"/>
                  </a:lnTo>
                  <a:lnTo>
                    <a:pt x="438912" y="733139"/>
                  </a:lnTo>
                  <a:lnTo>
                    <a:pt x="438722" y="731520"/>
                  </a:lnTo>
                  <a:lnTo>
                    <a:pt x="441865" y="731139"/>
                  </a:lnTo>
                  <a:lnTo>
                    <a:pt x="443103" y="727805"/>
                  </a:lnTo>
                  <a:lnTo>
                    <a:pt x="444817" y="716375"/>
                  </a:lnTo>
                  <a:lnTo>
                    <a:pt x="443008" y="714947"/>
                  </a:lnTo>
                  <a:lnTo>
                    <a:pt x="442246" y="708660"/>
                  </a:lnTo>
                  <a:lnTo>
                    <a:pt x="446723" y="706469"/>
                  </a:lnTo>
                  <a:lnTo>
                    <a:pt x="446532" y="704850"/>
                  </a:lnTo>
                  <a:lnTo>
                    <a:pt x="451295" y="704279"/>
                  </a:lnTo>
                  <a:lnTo>
                    <a:pt x="452247" y="699326"/>
                  </a:lnTo>
                  <a:lnTo>
                    <a:pt x="460534" y="701516"/>
                  </a:lnTo>
                  <a:lnTo>
                    <a:pt x="462915" y="694754"/>
                  </a:lnTo>
                  <a:lnTo>
                    <a:pt x="467201" y="691039"/>
                  </a:lnTo>
                  <a:lnTo>
                    <a:pt x="472631" y="695134"/>
                  </a:lnTo>
                  <a:lnTo>
                    <a:pt x="476345" y="699516"/>
                  </a:lnTo>
                  <a:lnTo>
                    <a:pt x="485966" y="699897"/>
                  </a:lnTo>
                  <a:lnTo>
                    <a:pt x="486442" y="703040"/>
                  </a:lnTo>
                  <a:lnTo>
                    <a:pt x="485204" y="706374"/>
                  </a:lnTo>
                  <a:lnTo>
                    <a:pt x="490347" y="708946"/>
                  </a:lnTo>
                  <a:lnTo>
                    <a:pt x="486632" y="717423"/>
                  </a:lnTo>
                  <a:lnTo>
                    <a:pt x="486251" y="727043"/>
                  </a:lnTo>
                  <a:lnTo>
                    <a:pt x="488442" y="731615"/>
                  </a:lnTo>
                  <a:lnTo>
                    <a:pt x="495205" y="733997"/>
                  </a:lnTo>
                  <a:lnTo>
                    <a:pt x="495586" y="737140"/>
                  </a:lnTo>
                  <a:lnTo>
                    <a:pt x="497110" y="736949"/>
                  </a:lnTo>
                  <a:lnTo>
                    <a:pt x="508349" y="737140"/>
                  </a:lnTo>
                  <a:lnTo>
                    <a:pt x="509016" y="741807"/>
                  </a:lnTo>
                  <a:lnTo>
                    <a:pt x="511969" y="739902"/>
                  </a:lnTo>
                  <a:lnTo>
                    <a:pt x="511588" y="736663"/>
                  </a:lnTo>
                  <a:lnTo>
                    <a:pt x="520446" y="730758"/>
                  </a:lnTo>
                  <a:lnTo>
                    <a:pt x="521017" y="722662"/>
                  </a:lnTo>
                  <a:lnTo>
                    <a:pt x="533781" y="722662"/>
                  </a:lnTo>
                  <a:lnTo>
                    <a:pt x="545021" y="722852"/>
                  </a:lnTo>
                  <a:lnTo>
                    <a:pt x="544449" y="705231"/>
                  </a:lnTo>
                  <a:lnTo>
                    <a:pt x="565118" y="704183"/>
                  </a:lnTo>
                  <a:lnTo>
                    <a:pt x="566547" y="702469"/>
                  </a:lnTo>
                  <a:lnTo>
                    <a:pt x="565690" y="696087"/>
                  </a:lnTo>
                  <a:lnTo>
                    <a:pt x="570643" y="697135"/>
                  </a:lnTo>
                  <a:lnTo>
                    <a:pt x="583311" y="708279"/>
                  </a:lnTo>
                  <a:lnTo>
                    <a:pt x="587407" y="702945"/>
                  </a:lnTo>
                  <a:lnTo>
                    <a:pt x="588074" y="707707"/>
                  </a:lnTo>
                  <a:lnTo>
                    <a:pt x="592741" y="707136"/>
                  </a:lnTo>
                  <a:lnTo>
                    <a:pt x="598075" y="711232"/>
                  </a:lnTo>
                  <a:lnTo>
                    <a:pt x="617220" y="710375"/>
                  </a:lnTo>
                  <a:lnTo>
                    <a:pt x="617315" y="723233"/>
                  </a:lnTo>
                  <a:lnTo>
                    <a:pt x="630555" y="726377"/>
                  </a:lnTo>
                  <a:lnTo>
                    <a:pt x="631698" y="735806"/>
                  </a:lnTo>
                  <a:lnTo>
                    <a:pt x="631793" y="761429"/>
                  </a:lnTo>
                  <a:lnTo>
                    <a:pt x="662368" y="762381"/>
                  </a:lnTo>
                  <a:lnTo>
                    <a:pt x="668846" y="763143"/>
                  </a:lnTo>
                  <a:lnTo>
                    <a:pt x="674465" y="781717"/>
                  </a:lnTo>
                  <a:lnTo>
                    <a:pt x="675418" y="789623"/>
                  </a:lnTo>
                  <a:lnTo>
                    <a:pt x="677418" y="792575"/>
                  </a:lnTo>
                  <a:lnTo>
                    <a:pt x="680561" y="792099"/>
                  </a:lnTo>
                  <a:lnTo>
                    <a:pt x="687134" y="792956"/>
                  </a:lnTo>
                  <a:lnTo>
                    <a:pt x="689039" y="795909"/>
                  </a:lnTo>
                  <a:lnTo>
                    <a:pt x="693801" y="795242"/>
                  </a:lnTo>
                  <a:lnTo>
                    <a:pt x="695611" y="796671"/>
                  </a:lnTo>
                  <a:lnTo>
                    <a:pt x="701707" y="794290"/>
                  </a:lnTo>
                  <a:lnTo>
                    <a:pt x="710565" y="801148"/>
                  </a:lnTo>
                  <a:lnTo>
                    <a:pt x="713613" y="812006"/>
                  </a:lnTo>
                  <a:lnTo>
                    <a:pt x="722471" y="818864"/>
                  </a:lnTo>
                  <a:lnTo>
                    <a:pt x="724091" y="818674"/>
                  </a:lnTo>
                  <a:lnTo>
                    <a:pt x="725234" y="815340"/>
                  </a:lnTo>
                  <a:lnTo>
                    <a:pt x="728186" y="813340"/>
                  </a:lnTo>
                  <a:lnTo>
                    <a:pt x="734092" y="822198"/>
                  </a:lnTo>
                  <a:lnTo>
                    <a:pt x="735711" y="822007"/>
                  </a:lnTo>
                  <a:lnTo>
                    <a:pt x="738854" y="821627"/>
                  </a:lnTo>
                  <a:lnTo>
                    <a:pt x="740664" y="822960"/>
                  </a:lnTo>
                  <a:lnTo>
                    <a:pt x="741998" y="821150"/>
                  </a:lnTo>
                  <a:lnTo>
                    <a:pt x="743807" y="822579"/>
                  </a:lnTo>
                  <a:lnTo>
                    <a:pt x="746951" y="822198"/>
                  </a:lnTo>
                  <a:lnTo>
                    <a:pt x="751523" y="832866"/>
                  </a:lnTo>
                  <a:lnTo>
                    <a:pt x="756666" y="835343"/>
                  </a:lnTo>
                  <a:lnTo>
                    <a:pt x="758285" y="835152"/>
                  </a:lnTo>
                  <a:lnTo>
                    <a:pt x="757047" y="838486"/>
                  </a:lnTo>
                  <a:lnTo>
                    <a:pt x="759047" y="841438"/>
                  </a:lnTo>
                  <a:lnTo>
                    <a:pt x="762762" y="845820"/>
                  </a:lnTo>
                  <a:lnTo>
                    <a:pt x="764191" y="844010"/>
                  </a:lnTo>
                  <a:lnTo>
                    <a:pt x="769144" y="844963"/>
                  </a:lnTo>
                  <a:lnTo>
                    <a:pt x="771716" y="839915"/>
                  </a:lnTo>
                  <a:lnTo>
                    <a:pt x="778193" y="840677"/>
                  </a:lnTo>
                  <a:lnTo>
                    <a:pt x="780955" y="837057"/>
                  </a:lnTo>
                  <a:lnTo>
                    <a:pt x="784670" y="841438"/>
                  </a:lnTo>
                  <a:lnTo>
                    <a:pt x="793528" y="835438"/>
                  </a:lnTo>
                  <a:lnTo>
                    <a:pt x="793337" y="833914"/>
                  </a:lnTo>
                  <a:lnTo>
                    <a:pt x="794576" y="830580"/>
                  </a:lnTo>
                  <a:lnTo>
                    <a:pt x="792575" y="827627"/>
                  </a:lnTo>
                  <a:lnTo>
                    <a:pt x="794099" y="827437"/>
                  </a:lnTo>
                  <a:lnTo>
                    <a:pt x="794385" y="828961"/>
                  </a:lnTo>
                  <a:lnTo>
                    <a:pt x="799052" y="828389"/>
                  </a:lnTo>
                  <a:lnTo>
                    <a:pt x="800862" y="829723"/>
                  </a:lnTo>
                  <a:lnTo>
                    <a:pt x="796766" y="835057"/>
                  </a:lnTo>
                  <a:lnTo>
                    <a:pt x="796957" y="836676"/>
                  </a:lnTo>
                  <a:lnTo>
                    <a:pt x="797528" y="841438"/>
                  </a:lnTo>
                  <a:lnTo>
                    <a:pt x="809911" y="838200"/>
                  </a:lnTo>
                  <a:lnTo>
                    <a:pt x="813054" y="837819"/>
                  </a:lnTo>
                  <a:lnTo>
                    <a:pt x="814673" y="837629"/>
                  </a:lnTo>
                  <a:lnTo>
                    <a:pt x="816102" y="835819"/>
                  </a:lnTo>
                  <a:lnTo>
                    <a:pt x="822770" y="838200"/>
                  </a:lnTo>
                  <a:lnTo>
                    <a:pt x="820960" y="836771"/>
                  </a:lnTo>
                  <a:lnTo>
                    <a:pt x="822198" y="833438"/>
                  </a:lnTo>
                  <a:lnTo>
                    <a:pt x="820388" y="832104"/>
                  </a:lnTo>
                  <a:lnTo>
                    <a:pt x="827151" y="834390"/>
                  </a:lnTo>
                  <a:lnTo>
                    <a:pt x="828484" y="832676"/>
                  </a:lnTo>
                  <a:lnTo>
                    <a:pt x="833818" y="836771"/>
                  </a:lnTo>
                  <a:lnTo>
                    <a:pt x="837152" y="837914"/>
                  </a:lnTo>
                  <a:lnTo>
                    <a:pt x="857345" y="844963"/>
                  </a:lnTo>
                  <a:lnTo>
                    <a:pt x="855917" y="833914"/>
                  </a:lnTo>
                  <a:lnTo>
                    <a:pt x="852583" y="832771"/>
                  </a:lnTo>
                  <a:lnTo>
                    <a:pt x="850201" y="826675"/>
                  </a:lnTo>
                  <a:lnTo>
                    <a:pt x="845058" y="824103"/>
                  </a:lnTo>
                  <a:lnTo>
                    <a:pt x="844391" y="819340"/>
                  </a:lnTo>
                  <a:lnTo>
                    <a:pt x="846201" y="820769"/>
                  </a:lnTo>
                  <a:lnTo>
                    <a:pt x="847344" y="817436"/>
                  </a:lnTo>
                  <a:lnTo>
                    <a:pt x="845153" y="812863"/>
                  </a:lnTo>
                  <a:lnTo>
                    <a:pt x="849916" y="812292"/>
                  </a:lnTo>
                  <a:lnTo>
                    <a:pt x="851345" y="810482"/>
                  </a:lnTo>
                  <a:lnTo>
                    <a:pt x="856679" y="814578"/>
                  </a:lnTo>
                  <a:lnTo>
                    <a:pt x="859250" y="809434"/>
                  </a:lnTo>
                  <a:lnTo>
                    <a:pt x="865537" y="808673"/>
                  </a:lnTo>
                  <a:lnTo>
                    <a:pt x="866680" y="805339"/>
                  </a:lnTo>
                  <a:lnTo>
                    <a:pt x="872585" y="801338"/>
                  </a:lnTo>
                  <a:lnTo>
                    <a:pt x="867251" y="797243"/>
                  </a:lnTo>
                  <a:lnTo>
                    <a:pt x="863537" y="792861"/>
                  </a:lnTo>
                  <a:lnTo>
                    <a:pt x="862108" y="794671"/>
                  </a:lnTo>
                  <a:lnTo>
                    <a:pt x="859726" y="788575"/>
                  </a:lnTo>
                  <a:lnTo>
                    <a:pt x="863632" y="781622"/>
                  </a:lnTo>
                  <a:lnTo>
                    <a:pt x="869823" y="779240"/>
                  </a:lnTo>
                  <a:lnTo>
                    <a:pt x="869156" y="774573"/>
                  </a:lnTo>
                  <a:lnTo>
                    <a:pt x="873919" y="773906"/>
                  </a:lnTo>
                  <a:lnTo>
                    <a:pt x="885158" y="774097"/>
                  </a:lnTo>
                  <a:lnTo>
                    <a:pt x="897541" y="758095"/>
                  </a:lnTo>
                  <a:lnTo>
                    <a:pt x="897350" y="756476"/>
                  </a:lnTo>
                  <a:lnTo>
                    <a:pt x="902113" y="755904"/>
                  </a:lnTo>
                  <a:lnTo>
                    <a:pt x="903923" y="757238"/>
                  </a:lnTo>
                  <a:lnTo>
                    <a:pt x="907256" y="758476"/>
                  </a:lnTo>
                  <a:lnTo>
                    <a:pt x="906875" y="755332"/>
                  </a:lnTo>
                  <a:lnTo>
                    <a:pt x="910018" y="754856"/>
                  </a:lnTo>
                  <a:lnTo>
                    <a:pt x="909542" y="751713"/>
                  </a:lnTo>
                  <a:lnTo>
                    <a:pt x="912781" y="751332"/>
                  </a:lnTo>
                  <a:lnTo>
                    <a:pt x="915734" y="749332"/>
                  </a:lnTo>
                  <a:lnTo>
                    <a:pt x="919448" y="753713"/>
                  </a:lnTo>
                  <a:lnTo>
                    <a:pt x="922210" y="750094"/>
                  </a:lnTo>
                  <a:lnTo>
                    <a:pt x="921830" y="746951"/>
                  </a:lnTo>
                  <a:lnTo>
                    <a:pt x="918496" y="745807"/>
                  </a:lnTo>
                  <a:lnTo>
                    <a:pt x="926116" y="743236"/>
                  </a:lnTo>
                  <a:lnTo>
                    <a:pt x="925735" y="740093"/>
                  </a:lnTo>
                  <a:lnTo>
                    <a:pt x="927354" y="739807"/>
                  </a:lnTo>
                  <a:lnTo>
                    <a:pt x="927735" y="743045"/>
                  </a:lnTo>
                  <a:lnTo>
                    <a:pt x="937165" y="741807"/>
                  </a:lnTo>
                  <a:lnTo>
                    <a:pt x="937355" y="743426"/>
                  </a:lnTo>
                  <a:lnTo>
                    <a:pt x="939927" y="738283"/>
                  </a:lnTo>
                  <a:lnTo>
                    <a:pt x="941546" y="737997"/>
                  </a:lnTo>
                  <a:lnTo>
                    <a:pt x="944309" y="734473"/>
                  </a:lnTo>
                  <a:lnTo>
                    <a:pt x="951929" y="731901"/>
                  </a:lnTo>
                  <a:lnTo>
                    <a:pt x="954500" y="726757"/>
                  </a:lnTo>
                  <a:lnTo>
                    <a:pt x="954881" y="704279"/>
                  </a:lnTo>
                  <a:lnTo>
                    <a:pt x="960596" y="698754"/>
                  </a:lnTo>
                  <a:lnTo>
                    <a:pt x="967073" y="699516"/>
                  </a:lnTo>
                  <a:lnTo>
                    <a:pt x="968502" y="697706"/>
                  </a:lnTo>
                  <a:lnTo>
                    <a:pt x="972217" y="702088"/>
                  </a:lnTo>
                  <a:lnTo>
                    <a:pt x="975360" y="701707"/>
                  </a:lnTo>
                  <a:lnTo>
                    <a:pt x="983837" y="705422"/>
                  </a:lnTo>
                  <a:lnTo>
                    <a:pt x="986885" y="716185"/>
                  </a:lnTo>
                  <a:lnTo>
                    <a:pt x="989838" y="714280"/>
                  </a:lnTo>
                  <a:lnTo>
                    <a:pt x="993553" y="718566"/>
                  </a:lnTo>
                  <a:lnTo>
                    <a:pt x="995363" y="719995"/>
                  </a:lnTo>
                  <a:lnTo>
                    <a:pt x="998315" y="717995"/>
                  </a:lnTo>
                  <a:lnTo>
                    <a:pt x="1019080" y="729805"/>
                  </a:lnTo>
                  <a:lnTo>
                    <a:pt x="1020413" y="727996"/>
                  </a:lnTo>
                  <a:lnTo>
                    <a:pt x="1022223" y="729329"/>
                  </a:lnTo>
                  <a:lnTo>
                    <a:pt x="1026509" y="725615"/>
                  </a:lnTo>
                  <a:lnTo>
                    <a:pt x="1029272" y="722090"/>
                  </a:lnTo>
                  <a:lnTo>
                    <a:pt x="1027081" y="717518"/>
                  </a:lnTo>
                  <a:lnTo>
                    <a:pt x="1029843" y="713994"/>
                  </a:lnTo>
                  <a:lnTo>
                    <a:pt x="1029843" y="713994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6" name="Volný tvar: obrazec 25">
              <a:extLst>
                <a:ext uri="{FF2B5EF4-FFF2-40B4-BE49-F238E27FC236}">
                  <a16:creationId xmlns:a16="http://schemas.microsoft.com/office/drawing/2014/main" id="{93082A9C-BB53-3AF7-4878-4160FF2E5D63}"/>
                </a:ext>
              </a:extLst>
            </p:cNvPr>
            <p:cNvSpPr>
              <a:spLocks noChangeAspect="1"/>
            </p:cNvSpPr>
            <p:nvPr userDrawn="1">
              <p:custDataLst>
                <p:tags r:id="rId3"/>
              </p:custDataLst>
            </p:nvPr>
          </p:nvSpPr>
          <p:spPr>
            <a:xfrm>
              <a:off x="3926585" y="3069811"/>
              <a:ext cx="1004887" cy="1332642"/>
            </a:xfrm>
            <a:custGeom>
              <a:avLst/>
              <a:gdLst>
                <a:gd name="connsiteX0" fmla="*/ 999744 w 1004887"/>
                <a:gd name="connsiteY0" fmla="*/ 252508 h 1332642"/>
                <a:gd name="connsiteX1" fmla="*/ 997363 w 1004887"/>
                <a:gd name="connsiteY1" fmla="*/ 246412 h 1332642"/>
                <a:gd name="connsiteX2" fmla="*/ 998315 w 1004887"/>
                <a:gd name="connsiteY2" fmla="*/ 241459 h 1332642"/>
                <a:gd name="connsiteX3" fmla="*/ 997934 w 1004887"/>
                <a:gd name="connsiteY3" fmla="*/ 238315 h 1332642"/>
                <a:gd name="connsiteX4" fmla="*/ 996125 w 1004887"/>
                <a:gd name="connsiteY4" fmla="*/ 236982 h 1332642"/>
                <a:gd name="connsiteX5" fmla="*/ 994124 w 1004887"/>
                <a:gd name="connsiteY5" fmla="*/ 234029 h 1332642"/>
                <a:gd name="connsiteX6" fmla="*/ 995363 w 1004887"/>
                <a:gd name="connsiteY6" fmla="*/ 230600 h 1332642"/>
                <a:gd name="connsiteX7" fmla="*/ 996506 w 1004887"/>
                <a:gd name="connsiteY7" fmla="*/ 227266 h 1332642"/>
                <a:gd name="connsiteX8" fmla="*/ 995648 w 1004887"/>
                <a:gd name="connsiteY8" fmla="*/ 220980 h 1332642"/>
                <a:gd name="connsiteX9" fmla="*/ 993934 w 1004887"/>
                <a:gd name="connsiteY9" fmla="*/ 219551 h 1332642"/>
                <a:gd name="connsiteX10" fmla="*/ 996506 w 1004887"/>
                <a:gd name="connsiteY10" fmla="*/ 214408 h 1332642"/>
                <a:gd name="connsiteX11" fmla="*/ 1004126 w 1004887"/>
                <a:gd name="connsiteY11" fmla="*/ 211836 h 1332642"/>
                <a:gd name="connsiteX12" fmla="*/ 993077 w 1004887"/>
                <a:gd name="connsiteY12" fmla="*/ 213265 h 1332642"/>
                <a:gd name="connsiteX13" fmla="*/ 987933 w 1004887"/>
                <a:gd name="connsiteY13" fmla="*/ 210693 h 1332642"/>
                <a:gd name="connsiteX14" fmla="*/ 975741 w 1004887"/>
                <a:gd name="connsiteY14" fmla="*/ 202692 h 1332642"/>
                <a:gd name="connsiteX15" fmla="*/ 971741 w 1004887"/>
                <a:gd name="connsiteY15" fmla="*/ 196786 h 1332642"/>
                <a:gd name="connsiteX16" fmla="*/ 958691 w 1004887"/>
                <a:gd name="connsiteY16" fmla="*/ 195167 h 1332642"/>
                <a:gd name="connsiteX17" fmla="*/ 953548 w 1004887"/>
                <a:gd name="connsiteY17" fmla="*/ 192691 h 1332642"/>
                <a:gd name="connsiteX18" fmla="*/ 947642 w 1004887"/>
                <a:gd name="connsiteY18" fmla="*/ 196596 h 1332642"/>
                <a:gd name="connsiteX19" fmla="*/ 941165 w 1004887"/>
                <a:gd name="connsiteY19" fmla="*/ 195834 h 1332642"/>
                <a:gd name="connsiteX20" fmla="*/ 942499 w 1004887"/>
                <a:gd name="connsiteY20" fmla="*/ 194024 h 1332642"/>
                <a:gd name="connsiteX21" fmla="*/ 940784 w 1004887"/>
                <a:gd name="connsiteY21" fmla="*/ 192691 h 1332642"/>
                <a:gd name="connsiteX22" fmla="*/ 942118 w 1004887"/>
                <a:gd name="connsiteY22" fmla="*/ 190881 h 1332642"/>
                <a:gd name="connsiteX23" fmla="*/ 945737 w 1004887"/>
                <a:gd name="connsiteY23" fmla="*/ 193643 h 1332642"/>
                <a:gd name="connsiteX24" fmla="*/ 947261 w 1004887"/>
                <a:gd name="connsiteY24" fmla="*/ 193453 h 1332642"/>
                <a:gd name="connsiteX25" fmla="*/ 947452 w 1004887"/>
                <a:gd name="connsiteY25" fmla="*/ 182213 h 1332642"/>
                <a:gd name="connsiteX26" fmla="*/ 948214 w 1004887"/>
                <a:gd name="connsiteY26" fmla="*/ 175736 h 1332642"/>
                <a:gd name="connsiteX27" fmla="*/ 946404 w 1004887"/>
                <a:gd name="connsiteY27" fmla="*/ 174307 h 1332642"/>
                <a:gd name="connsiteX28" fmla="*/ 945452 w 1004887"/>
                <a:gd name="connsiteY28" fmla="*/ 166402 h 1332642"/>
                <a:gd name="connsiteX29" fmla="*/ 939356 w 1004887"/>
                <a:gd name="connsiteY29" fmla="*/ 168783 h 1332642"/>
                <a:gd name="connsiteX30" fmla="*/ 934212 w 1004887"/>
                <a:gd name="connsiteY30" fmla="*/ 166211 h 1332642"/>
                <a:gd name="connsiteX31" fmla="*/ 927449 w 1004887"/>
                <a:gd name="connsiteY31" fmla="*/ 163925 h 1332642"/>
                <a:gd name="connsiteX32" fmla="*/ 918210 w 1004887"/>
                <a:gd name="connsiteY32" fmla="*/ 166687 h 1332642"/>
                <a:gd name="connsiteX33" fmla="*/ 913638 w 1004887"/>
                <a:gd name="connsiteY33" fmla="*/ 168878 h 1332642"/>
                <a:gd name="connsiteX34" fmla="*/ 913638 w 1004887"/>
                <a:gd name="connsiteY34" fmla="*/ 168878 h 1332642"/>
                <a:gd name="connsiteX35" fmla="*/ 912114 w 1004887"/>
                <a:gd name="connsiteY35" fmla="*/ 169069 h 1332642"/>
                <a:gd name="connsiteX36" fmla="*/ 911066 w 1004887"/>
                <a:gd name="connsiteY36" fmla="*/ 161163 h 1332642"/>
                <a:gd name="connsiteX37" fmla="*/ 906685 w 1004887"/>
                <a:gd name="connsiteY37" fmla="*/ 152114 h 1332642"/>
                <a:gd name="connsiteX38" fmla="*/ 903351 w 1004887"/>
                <a:gd name="connsiteY38" fmla="*/ 150971 h 1332642"/>
                <a:gd name="connsiteX39" fmla="*/ 900398 w 1004887"/>
                <a:gd name="connsiteY39" fmla="*/ 152876 h 1332642"/>
                <a:gd name="connsiteX40" fmla="*/ 898684 w 1004887"/>
                <a:gd name="connsiteY40" fmla="*/ 151543 h 1332642"/>
                <a:gd name="connsiteX41" fmla="*/ 894683 w 1004887"/>
                <a:gd name="connsiteY41" fmla="*/ 145637 h 1332642"/>
                <a:gd name="connsiteX42" fmla="*/ 891540 w 1004887"/>
                <a:gd name="connsiteY42" fmla="*/ 146018 h 1332642"/>
                <a:gd name="connsiteX43" fmla="*/ 889540 w 1004887"/>
                <a:gd name="connsiteY43" fmla="*/ 130207 h 1332642"/>
                <a:gd name="connsiteX44" fmla="*/ 884587 w 1004887"/>
                <a:gd name="connsiteY44" fmla="*/ 129254 h 1332642"/>
                <a:gd name="connsiteX45" fmla="*/ 880586 w 1004887"/>
                <a:gd name="connsiteY45" fmla="*/ 123349 h 1332642"/>
                <a:gd name="connsiteX46" fmla="*/ 877443 w 1004887"/>
                <a:gd name="connsiteY46" fmla="*/ 123730 h 1332642"/>
                <a:gd name="connsiteX47" fmla="*/ 874109 w 1004887"/>
                <a:gd name="connsiteY47" fmla="*/ 122587 h 1332642"/>
                <a:gd name="connsiteX48" fmla="*/ 871347 w 1004887"/>
                <a:gd name="connsiteY48" fmla="*/ 126111 h 1332642"/>
                <a:gd name="connsiteX49" fmla="*/ 868204 w 1004887"/>
                <a:gd name="connsiteY49" fmla="*/ 126587 h 1332642"/>
                <a:gd name="connsiteX50" fmla="*/ 864870 w 1004887"/>
                <a:gd name="connsiteY50" fmla="*/ 125349 h 1332642"/>
                <a:gd name="connsiteX51" fmla="*/ 863441 w 1004887"/>
                <a:gd name="connsiteY51" fmla="*/ 127159 h 1332642"/>
                <a:gd name="connsiteX52" fmla="*/ 865632 w 1004887"/>
                <a:gd name="connsiteY52" fmla="*/ 131731 h 1332642"/>
                <a:gd name="connsiteX53" fmla="*/ 846677 w 1004887"/>
                <a:gd name="connsiteY53" fmla="*/ 134112 h 1332642"/>
                <a:gd name="connsiteX54" fmla="*/ 841534 w 1004887"/>
                <a:gd name="connsiteY54" fmla="*/ 131540 h 1332642"/>
                <a:gd name="connsiteX55" fmla="*/ 820484 w 1004887"/>
                <a:gd name="connsiteY55" fmla="*/ 129445 h 1332642"/>
                <a:gd name="connsiteX56" fmla="*/ 820007 w 1004887"/>
                <a:gd name="connsiteY56" fmla="*/ 126302 h 1332642"/>
                <a:gd name="connsiteX57" fmla="*/ 816674 w 1004887"/>
                <a:gd name="connsiteY57" fmla="*/ 125063 h 1332642"/>
                <a:gd name="connsiteX58" fmla="*/ 816293 w 1004887"/>
                <a:gd name="connsiteY58" fmla="*/ 121920 h 1332642"/>
                <a:gd name="connsiteX59" fmla="*/ 810959 w 1004887"/>
                <a:gd name="connsiteY59" fmla="*/ 117824 h 1332642"/>
                <a:gd name="connsiteX60" fmla="*/ 812292 w 1004887"/>
                <a:gd name="connsiteY60" fmla="*/ 116015 h 1332642"/>
                <a:gd name="connsiteX61" fmla="*/ 810387 w 1004887"/>
                <a:gd name="connsiteY61" fmla="*/ 113062 h 1332642"/>
                <a:gd name="connsiteX62" fmla="*/ 805244 w 1004887"/>
                <a:gd name="connsiteY62" fmla="*/ 110490 h 1332642"/>
                <a:gd name="connsiteX63" fmla="*/ 801624 w 1004887"/>
                <a:gd name="connsiteY63" fmla="*/ 107728 h 1332642"/>
                <a:gd name="connsiteX64" fmla="*/ 800100 w 1004887"/>
                <a:gd name="connsiteY64" fmla="*/ 107918 h 1332642"/>
                <a:gd name="connsiteX65" fmla="*/ 796481 w 1004887"/>
                <a:gd name="connsiteY65" fmla="*/ 105251 h 1332642"/>
                <a:gd name="connsiteX66" fmla="*/ 787241 w 1004887"/>
                <a:gd name="connsiteY66" fmla="*/ 108013 h 1332642"/>
                <a:gd name="connsiteX67" fmla="*/ 784479 w 1004887"/>
                <a:gd name="connsiteY67" fmla="*/ 98774 h 1332642"/>
                <a:gd name="connsiteX68" fmla="*/ 779717 w 1004887"/>
                <a:gd name="connsiteY68" fmla="*/ 99346 h 1332642"/>
                <a:gd name="connsiteX69" fmla="*/ 774573 w 1004887"/>
                <a:gd name="connsiteY69" fmla="*/ 96774 h 1332642"/>
                <a:gd name="connsiteX70" fmla="*/ 775145 w 1004887"/>
                <a:gd name="connsiteY70" fmla="*/ 88678 h 1332642"/>
                <a:gd name="connsiteX71" fmla="*/ 778478 w 1004887"/>
                <a:gd name="connsiteY71" fmla="*/ 89821 h 1332642"/>
                <a:gd name="connsiteX72" fmla="*/ 779717 w 1004887"/>
                <a:gd name="connsiteY72" fmla="*/ 86487 h 1332642"/>
                <a:gd name="connsiteX73" fmla="*/ 790956 w 1004887"/>
                <a:gd name="connsiteY73" fmla="*/ 86677 h 1332642"/>
                <a:gd name="connsiteX74" fmla="*/ 799433 w 1004887"/>
                <a:gd name="connsiteY74" fmla="*/ 90392 h 1332642"/>
                <a:gd name="connsiteX75" fmla="*/ 799052 w 1004887"/>
                <a:gd name="connsiteY75" fmla="*/ 87249 h 1332642"/>
                <a:gd name="connsiteX76" fmla="*/ 792290 w 1004887"/>
                <a:gd name="connsiteY76" fmla="*/ 84868 h 1332642"/>
                <a:gd name="connsiteX77" fmla="*/ 790766 w 1004887"/>
                <a:gd name="connsiteY77" fmla="*/ 85058 h 1332642"/>
                <a:gd name="connsiteX78" fmla="*/ 788003 w 1004887"/>
                <a:gd name="connsiteY78" fmla="*/ 75819 h 1332642"/>
                <a:gd name="connsiteX79" fmla="*/ 784574 w 1004887"/>
                <a:gd name="connsiteY79" fmla="*/ 74676 h 1332642"/>
                <a:gd name="connsiteX80" fmla="*/ 772001 w 1004887"/>
                <a:gd name="connsiteY80" fmla="*/ 76295 h 1332642"/>
                <a:gd name="connsiteX81" fmla="*/ 768001 w 1004887"/>
                <a:gd name="connsiteY81" fmla="*/ 83153 h 1332642"/>
                <a:gd name="connsiteX82" fmla="*/ 761714 w 1004887"/>
                <a:gd name="connsiteY82" fmla="*/ 84011 h 1332642"/>
                <a:gd name="connsiteX83" fmla="*/ 758190 w 1004887"/>
                <a:gd name="connsiteY83" fmla="*/ 81248 h 1332642"/>
                <a:gd name="connsiteX84" fmla="*/ 759333 w 1004887"/>
                <a:gd name="connsiteY84" fmla="*/ 77915 h 1332642"/>
                <a:gd name="connsiteX85" fmla="*/ 758952 w 1004887"/>
                <a:gd name="connsiteY85" fmla="*/ 74676 h 1332642"/>
                <a:gd name="connsiteX86" fmla="*/ 755999 w 1004887"/>
                <a:gd name="connsiteY86" fmla="*/ 76676 h 1332642"/>
                <a:gd name="connsiteX87" fmla="*/ 753809 w 1004887"/>
                <a:gd name="connsiteY87" fmla="*/ 72200 h 1332642"/>
                <a:gd name="connsiteX88" fmla="*/ 749522 w 1004887"/>
                <a:gd name="connsiteY88" fmla="*/ 75914 h 1332642"/>
                <a:gd name="connsiteX89" fmla="*/ 734663 w 1004887"/>
                <a:gd name="connsiteY89" fmla="*/ 72961 h 1332642"/>
                <a:gd name="connsiteX90" fmla="*/ 732568 w 1004887"/>
                <a:gd name="connsiteY90" fmla="*/ 81248 h 1332642"/>
                <a:gd name="connsiteX91" fmla="*/ 729329 w 1004887"/>
                <a:gd name="connsiteY91" fmla="*/ 81725 h 1332642"/>
                <a:gd name="connsiteX92" fmla="*/ 727043 w 1004887"/>
                <a:gd name="connsiteY92" fmla="*/ 88392 h 1332642"/>
                <a:gd name="connsiteX93" fmla="*/ 725424 w 1004887"/>
                <a:gd name="connsiteY93" fmla="*/ 88582 h 1332642"/>
                <a:gd name="connsiteX94" fmla="*/ 720471 w 1004887"/>
                <a:gd name="connsiteY94" fmla="*/ 87630 h 1332642"/>
                <a:gd name="connsiteX95" fmla="*/ 719519 w 1004887"/>
                <a:gd name="connsiteY95" fmla="*/ 79724 h 1332642"/>
                <a:gd name="connsiteX96" fmla="*/ 708470 w 1004887"/>
                <a:gd name="connsiteY96" fmla="*/ 81153 h 1332642"/>
                <a:gd name="connsiteX97" fmla="*/ 703898 w 1004887"/>
                <a:gd name="connsiteY97" fmla="*/ 83344 h 1332642"/>
                <a:gd name="connsiteX98" fmla="*/ 702374 w 1004887"/>
                <a:gd name="connsiteY98" fmla="*/ 83534 h 1332642"/>
                <a:gd name="connsiteX99" fmla="*/ 701707 w 1004887"/>
                <a:gd name="connsiteY99" fmla="*/ 78772 h 1332642"/>
                <a:gd name="connsiteX100" fmla="*/ 705898 w 1004887"/>
                <a:gd name="connsiteY100" fmla="*/ 73438 h 1332642"/>
                <a:gd name="connsiteX101" fmla="*/ 705231 w 1004887"/>
                <a:gd name="connsiteY101" fmla="*/ 68771 h 1332642"/>
                <a:gd name="connsiteX102" fmla="*/ 711137 w 1004887"/>
                <a:gd name="connsiteY102" fmla="*/ 64770 h 1332642"/>
                <a:gd name="connsiteX103" fmla="*/ 712565 w 1004887"/>
                <a:gd name="connsiteY103" fmla="*/ 62960 h 1332642"/>
                <a:gd name="connsiteX104" fmla="*/ 710565 w 1004887"/>
                <a:gd name="connsiteY104" fmla="*/ 60007 h 1332642"/>
                <a:gd name="connsiteX105" fmla="*/ 714661 w 1004887"/>
                <a:gd name="connsiteY105" fmla="*/ 54673 h 1332642"/>
                <a:gd name="connsiteX106" fmla="*/ 714089 w 1004887"/>
                <a:gd name="connsiteY106" fmla="*/ 50006 h 1332642"/>
                <a:gd name="connsiteX107" fmla="*/ 719042 w 1004887"/>
                <a:gd name="connsiteY107" fmla="*/ 50959 h 1332642"/>
                <a:gd name="connsiteX108" fmla="*/ 725329 w 1004887"/>
                <a:gd name="connsiteY108" fmla="*/ 50102 h 1332642"/>
                <a:gd name="connsiteX109" fmla="*/ 725710 w 1004887"/>
                <a:gd name="connsiteY109" fmla="*/ 40481 h 1332642"/>
                <a:gd name="connsiteX110" fmla="*/ 723329 w 1004887"/>
                <a:gd name="connsiteY110" fmla="*/ 34385 h 1332642"/>
                <a:gd name="connsiteX111" fmla="*/ 723138 w 1004887"/>
                <a:gd name="connsiteY111" fmla="*/ 32766 h 1332642"/>
                <a:gd name="connsiteX112" fmla="*/ 718185 w 1004887"/>
                <a:gd name="connsiteY112" fmla="*/ 31813 h 1332642"/>
                <a:gd name="connsiteX113" fmla="*/ 715613 w 1004887"/>
                <a:gd name="connsiteY113" fmla="*/ 24098 h 1332642"/>
                <a:gd name="connsiteX114" fmla="*/ 711518 w 1004887"/>
                <a:gd name="connsiteY114" fmla="*/ 29432 h 1332642"/>
                <a:gd name="connsiteX115" fmla="*/ 709517 w 1004887"/>
                <a:gd name="connsiteY115" fmla="*/ 26479 h 1332642"/>
                <a:gd name="connsiteX116" fmla="*/ 710089 w 1004887"/>
                <a:gd name="connsiteY116" fmla="*/ 18383 h 1332642"/>
                <a:gd name="connsiteX117" fmla="*/ 708279 w 1004887"/>
                <a:gd name="connsiteY117" fmla="*/ 17050 h 1332642"/>
                <a:gd name="connsiteX118" fmla="*/ 707517 w 1004887"/>
                <a:gd name="connsiteY118" fmla="*/ 23527 h 1332642"/>
                <a:gd name="connsiteX119" fmla="*/ 701421 w 1004887"/>
                <a:gd name="connsiteY119" fmla="*/ 25908 h 1332642"/>
                <a:gd name="connsiteX120" fmla="*/ 701612 w 1004887"/>
                <a:gd name="connsiteY120" fmla="*/ 27527 h 1332642"/>
                <a:gd name="connsiteX121" fmla="*/ 698278 w 1004887"/>
                <a:gd name="connsiteY121" fmla="*/ 26289 h 1332642"/>
                <a:gd name="connsiteX122" fmla="*/ 695135 w 1004887"/>
                <a:gd name="connsiteY122" fmla="*/ 26670 h 1332642"/>
                <a:gd name="connsiteX123" fmla="*/ 689229 w 1004887"/>
                <a:gd name="connsiteY123" fmla="*/ 30671 h 1332642"/>
                <a:gd name="connsiteX124" fmla="*/ 684086 w 1004887"/>
                <a:gd name="connsiteY124" fmla="*/ 28099 h 1332642"/>
                <a:gd name="connsiteX125" fmla="*/ 683990 w 1004887"/>
                <a:gd name="connsiteY125" fmla="*/ 15335 h 1332642"/>
                <a:gd name="connsiteX126" fmla="*/ 680847 w 1004887"/>
                <a:gd name="connsiteY126" fmla="*/ 15716 h 1332642"/>
                <a:gd name="connsiteX127" fmla="*/ 679133 w 1004887"/>
                <a:gd name="connsiteY127" fmla="*/ 14288 h 1332642"/>
                <a:gd name="connsiteX128" fmla="*/ 675894 w 1004887"/>
                <a:gd name="connsiteY128" fmla="*/ 14764 h 1332642"/>
                <a:gd name="connsiteX129" fmla="*/ 676656 w 1004887"/>
                <a:gd name="connsiteY129" fmla="*/ 8192 h 1332642"/>
                <a:gd name="connsiteX130" fmla="*/ 671608 w 1004887"/>
                <a:gd name="connsiteY130" fmla="*/ 5620 h 1332642"/>
                <a:gd name="connsiteX131" fmla="*/ 672941 w 1004887"/>
                <a:gd name="connsiteY131" fmla="*/ 3905 h 1332642"/>
                <a:gd name="connsiteX132" fmla="*/ 676085 w 1004887"/>
                <a:gd name="connsiteY132" fmla="*/ 3524 h 1332642"/>
                <a:gd name="connsiteX133" fmla="*/ 674084 w 1004887"/>
                <a:gd name="connsiteY133" fmla="*/ 571 h 1332642"/>
                <a:gd name="connsiteX134" fmla="*/ 669798 w 1004887"/>
                <a:gd name="connsiteY134" fmla="*/ 4286 h 1332642"/>
                <a:gd name="connsiteX135" fmla="*/ 666655 w 1004887"/>
                <a:gd name="connsiteY135" fmla="*/ 4667 h 1332642"/>
                <a:gd name="connsiteX136" fmla="*/ 665417 w 1004887"/>
                <a:gd name="connsiteY136" fmla="*/ 8001 h 1332642"/>
                <a:gd name="connsiteX137" fmla="*/ 664464 w 1004887"/>
                <a:gd name="connsiteY137" fmla="*/ 12954 h 1332642"/>
                <a:gd name="connsiteX138" fmla="*/ 661321 w 1004887"/>
                <a:gd name="connsiteY138" fmla="*/ 13335 h 1332642"/>
                <a:gd name="connsiteX139" fmla="*/ 658749 w 1004887"/>
                <a:gd name="connsiteY139" fmla="*/ 18479 h 1332642"/>
                <a:gd name="connsiteX140" fmla="*/ 652272 w 1004887"/>
                <a:gd name="connsiteY140" fmla="*/ 17717 h 1332642"/>
                <a:gd name="connsiteX141" fmla="*/ 654368 w 1004887"/>
                <a:gd name="connsiteY141" fmla="*/ 9430 h 1332642"/>
                <a:gd name="connsiteX142" fmla="*/ 653225 w 1004887"/>
                <a:gd name="connsiteY142" fmla="*/ 0 h 1332642"/>
                <a:gd name="connsiteX143" fmla="*/ 651605 w 1004887"/>
                <a:gd name="connsiteY143" fmla="*/ 190 h 1332642"/>
                <a:gd name="connsiteX144" fmla="*/ 651986 w 1004887"/>
                <a:gd name="connsiteY144" fmla="*/ 3334 h 1332642"/>
                <a:gd name="connsiteX145" fmla="*/ 639032 w 1004887"/>
                <a:gd name="connsiteY145" fmla="*/ 1810 h 1332642"/>
                <a:gd name="connsiteX146" fmla="*/ 636080 w 1004887"/>
                <a:gd name="connsiteY146" fmla="*/ 3810 h 1332642"/>
                <a:gd name="connsiteX147" fmla="*/ 636270 w 1004887"/>
                <a:gd name="connsiteY147" fmla="*/ 5334 h 1332642"/>
                <a:gd name="connsiteX148" fmla="*/ 633317 w 1004887"/>
                <a:gd name="connsiteY148" fmla="*/ 7334 h 1332642"/>
                <a:gd name="connsiteX149" fmla="*/ 629888 w 1004887"/>
                <a:gd name="connsiteY149" fmla="*/ 6191 h 1332642"/>
                <a:gd name="connsiteX150" fmla="*/ 627983 w 1004887"/>
                <a:gd name="connsiteY150" fmla="*/ 3238 h 1332642"/>
                <a:gd name="connsiteX151" fmla="*/ 623221 w 1004887"/>
                <a:gd name="connsiteY151" fmla="*/ 3810 h 1332642"/>
                <a:gd name="connsiteX152" fmla="*/ 623411 w 1004887"/>
                <a:gd name="connsiteY152" fmla="*/ 5429 h 1332642"/>
                <a:gd name="connsiteX153" fmla="*/ 626745 w 1004887"/>
                <a:gd name="connsiteY153" fmla="*/ 6572 h 1332642"/>
                <a:gd name="connsiteX154" fmla="*/ 628745 w 1004887"/>
                <a:gd name="connsiteY154" fmla="*/ 9525 h 1332642"/>
                <a:gd name="connsiteX155" fmla="*/ 619887 w 1004887"/>
                <a:gd name="connsiteY155" fmla="*/ 28289 h 1332642"/>
                <a:gd name="connsiteX156" fmla="*/ 623507 w 1004887"/>
                <a:gd name="connsiteY156" fmla="*/ 31052 h 1332642"/>
                <a:gd name="connsiteX157" fmla="*/ 631127 w 1004887"/>
                <a:gd name="connsiteY157" fmla="*/ 28480 h 1332642"/>
                <a:gd name="connsiteX158" fmla="*/ 631603 w 1004887"/>
                <a:gd name="connsiteY158" fmla="*/ 31623 h 1332642"/>
                <a:gd name="connsiteX159" fmla="*/ 633317 w 1004887"/>
                <a:gd name="connsiteY159" fmla="*/ 32956 h 1332642"/>
                <a:gd name="connsiteX160" fmla="*/ 633984 w 1004887"/>
                <a:gd name="connsiteY160" fmla="*/ 37719 h 1332642"/>
                <a:gd name="connsiteX161" fmla="*/ 631222 w 1004887"/>
                <a:gd name="connsiteY161" fmla="*/ 41243 h 1332642"/>
                <a:gd name="connsiteX162" fmla="*/ 630460 w 1004887"/>
                <a:gd name="connsiteY162" fmla="*/ 47815 h 1332642"/>
                <a:gd name="connsiteX163" fmla="*/ 624269 w 1004887"/>
                <a:gd name="connsiteY163" fmla="*/ 50197 h 1332642"/>
                <a:gd name="connsiteX164" fmla="*/ 622935 w 1004887"/>
                <a:gd name="connsiteY164" fmla="*/ 51911 h 1332642"/>
                <a:gd name="connsiteX165" fmla="*/ 619220 w 1004887"/>
                <a:gd name="connsiteY165" fmla="*/ 47625 h 1332642"/>
                <a:gd name="connsiteX166" fmla="*/ 617411 w 1004887"/>
                <a:gd name="connsiteY166" fmla="*/ 46292 h 1332642"/>
                <a:gd name="connsiteX167" fmla="*/ 621792 w 1004887"/>
                <a:gd name="connsiteY167" fmla="*/ 55340 h 1332642"/>
                <a:gd name="connsiteX168" fmla="*/ 620363 w 1004887"/>
                <a:gd name="connsiteY168" fmla="*/ 57055 h 1332642"/>
                <a:gd name="connsiteX169" fmla="*/ 615410 w 1004887"/>
                <a:gd name="connsiteY169" fmla="*/ 56102 h 1332642"/>
                <a:gd name="connsiteX170" fmla="*/ 610934 w 1004887"/>
                <a:gd name="connsiteY170" fmla="*/ 58293 h 1332642"/>
                <a:gd name="connsiteX171" fmla="*/ 604361 w 1004887"/>
                <a:gd name="connsiteY171" fmla="*/ 57531 h 1332642"/>
                <a:gd name="connsiteX172" fmla="*/ 602837 w 1004887"/>
                <a:gd name="connsiteY172" fmla="*/ 57721 h 1332642"/>
                <a:gd name="connsiteX173" fmla="*/ 603599 w 1004887"/>
                <a:gd name="connsiteY173" fmla="*/ 64008 h 1332642"/>
                <a:gd name="connsiteX174" fmla="*/ 598932 w 1004887"/>
                <a:gd name="connsiteY174" fmla="*/ 64675 h 1332642"/>
                <a:gd name="connsiteX175" fmla="*/ 598075 w 1004887"/>
                <a:gd name="connsiteY175" fmla="*/ 58293 h 1332642"/>
                <a:gd name="connsiteX176" fmla="*/ 597122 w 1004887"/>
                <a:gd name="connsiteY176" fmla="*/ 63246 h 1332642"/>
                <a:gd name="connsiteX177" fmla="*/ 593789 w 1004887"/>
                <a:gd name="connsiteY177" fmla="*/ 62103 h 1332642"/>
                <a:gd name="connsiteX178" fmla="*/ 591788 w 1004887"/>
                <a:gd name="connsiteY178" fmla="*/ 59150 h 1332642"/>
                <a:gd name="connsiteX179" fmla="*/ 585502 w 1004887"/>
                <a:gd name="connsiteY179" fmla="*/ 59912 h 1332642"/>
                <a:gd name="connsiteX180" fmla="*/ 589026 w 1004887"/>
                <a:gd name="connsiteY180" fmla="*/ 62675 h 1332642"/>
                <a:gd name="connsiteX181" fmla="*/ 586073 w 1004887"/>
                <a:gd name="connsiteY181" fmla="*/ 64675 h 1332642"/>
                <a:gd name="connsiteX182" fmla="*/ 584930 w 1004887"/>
                <a:gd name="connsiteY182" fmla="*/ 68008 h 1332642"/>
                <a:gd name="connsiteX183" fmla="*/ 588264 w 1004887"/>
                <a:gd name="connsiteY183" fmla="*/ 69247 h 1332642"/>
                <a:gd name="connsiteX184" fmla="*/ 591788 w 1004887"/>
                <a:gd name="connsiteY184" fmla="*/ 71914 h 1332642"/>
                <a:gd name="connsiteX185" fmla="*/ 588645 w 1004887"/>
                <a:gd name="connsiteY185" fmla="*/ 72390 h 1332642"/>
                <a:gd name="connsiteX186" fmla="*/ 593598 w 1004887"/>
                <a:gd name="connsiteY186" fmla="*/ 86201 h 1332642"/>
                <a:gd name="connsiteX187" fmla="*/ 593979 w 1004887"/>
                <a:gd name="connsiteY187" fmla="*/ 89344 h 1332642"/>
                <a:gd name="connsiteX188" fmla="*/ 589312 w 1004887"/>
                <a:gd name="connsiteY188" fmla="*/ 89916 h 1332642"/>
                <a:gd name="connsiteX189" fmla="*/ 584168 w 1004887"/>
                <a:gd name="connsiteY189" fmla="*/ 100203 h 1332642"/>
                <a:gd name="connsiteX190" fmla="*/ 585407 w 1004887"/>
                <a:gd name="connsiteY190" fmla="*/ 109633 h 1332642"/>
                <a:gd name="connsiteX191" fmla="*/ 589598 w 1004887"/>
                <a:gd name="connsiteY191" fmla="*/ 117157 h 1332642"/>
                <a:gd name="connsiteX192" fmla="*/ 586550 w 1004887"/>
                <a:gd name="connsiteY192" fmla="*/ 119158 h 1332642"/>
                <a:gd name="connsiteX193" fmla="*/ 582073 w 1004887"/>
                <a:gd name="connsiteY193" fmla="*/ 121348 h 1332642"/>
                <a:gd name="connsiteX194" fmla="*/ 570167 w 1004887"/>
                <a:gd name="connsiteY194" fmla="*/ 116396 h 1332642"/>
                <a:gd name="connsiteX195" fmla="*/ 560927 w 1004887"/>
                <a:gd name="connsiteY195" fmla="*/ 106394 h 1332642"/>
                <a:gd name="connsiteX196" fmla="*/ 555593 w 1004887"/>
                <a:gd name="connsiteY196" fmla="*/ 102203 h 1332642"/>
                <a:gd name="connsiteX197" fmla="*/ 553593 w 1004887"/>
                <a:gd name="connsiteY197" fmla="*/ 99250 h 1332642"/>
                <a:gd name="connsiteX198" fmla="*/ 554546 w 1004887"/>
                <a:gd name="connsiteY198" fmla="*/ 94298 h 1332642"/>
                <a:gd name="connsiteX199" fmla="*/ 553022 w 1004887"/>
                <a:gd name="connsiteY199" fmla="*/ 94583 h 1332642"/>
                <a:gd name="connsiteX200" fmla="*/ 552641 w 1004887"/>
                <a:gd name="connsiteY200" fmla="*/ 104204 h 1332642"/>
                <a:gd name="connsiteX201" fmla="*/ 550831 w 1004887"/>
                <a:gd name="connsiteY201" fmla="*/ 102870 h 1332642"/>
                <a:gd name="connsiteX202" fmla="*/ 550069 w 1004887"/>
                <a:gd name="connsiteY202" fmla="*/ 96488 h 1332642"/>
                <a:gd name="connsiteX203" fmla="*/ 548259 w 1004887"/>
                <a:gd name="connsiteY203" fmla="*/ 95155 h 1332642"/>
                <a:gd name="connsiteX204" fmla="*/ 546640 w 1004887"/>
                <a:gd name="connsiteY204" fmla="*/ 95345 h 1332642"/>
                <a:gd name="connsiteX205" fmla="*/ 544735 w 1004887"/>
                <a:gd name="connsiteY205" fmla="*/ 92392 h 1332642"/>
                <a:gd name="connsiteX206" fmla="*/ 543116 w 1004887"/>
                <a:gd name="connsiteY206" fmla="*/ 92583 h 1332642"/>
                <a:gd name="connsiteX207" fmla="*/ 539591 w 1004887"/>
                <a:gd name="connsiteY207" fmla="*/ 89821 h 1332642"/>
                <a:gd name="connsiteX208" fmla="*/ 539782 w 1004887"/>
                <a:gd name="connsiteY208" fmla="*/ 91440 h 1332642"/>
                <a:gd name="connsiteX209" fmla="*/ 538163 w 1004887"/>
                <a:gd name="connsiteY209" fmla="*/ 91631 h 1332642"/>
                <a:gd name="connsiteX210" fmla="*/ 537401 w 1004887"/>
                <a:gd name="connsiteY210" fmla="*/ 85344 h 1332642"/>
                <a:gd name="connsiteX211" fmla="*/ 535781 w 1004887"/>
                <a:gd name="connsiteY211" fmla="*/ 85534 h 1332642"/>
                <a:gd name="connsiteX212" fmla="*/ 534448 w 1004887"/>
                <a:gd name="connsiteY212" fmla="*/ 87249 h 1332642"/>
                <a:gd name="connsiteX213" fmla="*/ 527685 w 1004887"/>
                <a:gd name="connsiteY213" fmla="*/ 84963 h 1332642"/>
                <a:gd name="connsiteX214" fmla="*/ 529304 w 1004887"/>
                <a:gd name="connsiteY214" fmla="*/ 84773 h 1332642"/>
                <a:gd name="connsiteX215" fmla="*/ 528923 w 1004887"/>
                <a:gd name="connsiteY215" fmla="*/ 81534 h 1332642"/>
                <a:gd name="connsiteX216" fmla="*/ 521399 w 1004887"/>
                <a:gd name="connsiteY216" fmla="*/ 85725 h 1332642"/>
                <a:gd name="connsiteX217" fmla="*/ 516446 w 1004887"/>
                <a:gd name="connsiteY217" fmla="*/ 84773 h 1332642"/>
                <a:gd name="connsiteX218" fmla="*/ 516636 w 1004887"/>
                <a:gd name="connsiteY218" fmla="*/ 86296 h 1332642"/>
                <a:gd name="connsiteX219" fmla="*/ 512921 w 1004887"/>
                <a:gd name="connsiteY219" fmla="*/ 82010 h 1332642"/>
                <a:gd name="connsiteX220" fmla="*/ 508730 w 1004887"/>
                <a:gd name="connsiteY220" fmla="*/ 87344 h 1332642"/>
                <a:gd name="connsiteX221" fmla="*/ 503206 w 1004887"/>
                <a:gd name="connsiteY221" fmla="*/ 81629 h 1332642"/>
                <a:gd name="connsiteX222" fmla="*/ 500444 w 1004887"/>
                <a:gd name="connsiteY222" fmla="*/ 85154 h 1332642"/>
                <a:gd name="connsiteX223" fmla="*/ 496919 w 1004887"/>
                <a:gd name="connsiteY223" fmla="*/ 82486 h 1332642"/>
                <a:gd name="connsiteX224" fmla="*/ 496157 w 1004887"/>
                <a:gd name="connsiteY224" fmla="*/ 76105 h 1332642"/>
                <a:gd name="connsiteX225" fmla="*/ 494729 w 1004887"/>
                <a:gd name="connsiteY225" fmla="*/ 77915 h 1332642"/>
                <a:gd name="connsiteX226" fmla="*/ 493967 w 1004887"/>
                <a:gd name="connsiteY226" fmla="*/ 71628 h 1332642"/>
                <a:gd name="connsiteX227" fmla="*/ 488252 w 1004887"/>
                <a:gd name="connsiteY227" fmla="*/ 77152 h 1332642"/>
                <a:gd name="connsiteX228" fmla="*/ 486823 w 1004887"/>
                <a:gd name="connsiteY228" fmla="*/ 78962 h 1332642"/>
                <a:gd name="connsiteX229" fmla="*/ 483870 w 1004887"/>
                <a:gd name="connsiteY229" fmla="*/ 80867 h 1332642"/>
                <a:gd name="connsiteX230" fmla="*/ 483679 w 1004887"/>
                <a:gd name="connsiteY230" fmla="*/ 79343 h 1332642"/>
                <a:gd name="connsiteX231" fmla="*/ 482346 w 1004887"/>
                <a:gd name="connsiteY231" fmla="*/ 81058 h 1332642"/>
                <a:gd name="connsiteX232" fmla="*/ 483489 w 1004887"/>
                <a:gd name="connsiteY232" fmla="*/ 90583 h 1332642"/>
                <a:gd name="connsiteX233" fmla="*/ 478822 w 1004887"/>
                <a:gd name="connsiteY233" fmla="*/ 91154 h 1332642"/>
                <a:gd name="connsiteX234" fmla="*/ 473678 w 1004887"/>
                <a:gd name="connsiteY234" fmla="*/ 88582 h 1332642"/>
                <a:gd name="connsiteX235" fmla="*/ 471106 w 1004887"/>
                <a:gd name="connsiteY235" fmla="*/ 93726 h 1332642"/>
                <a:gd name="connsiteX236" fmla="*/ 472916 w 1004887"/>
                <a:gd name="connsiteY236" fmla="*/ 95155 h 1332642"/>
                <a:gd name="connsiteX237" fmla="*/ 476060 w 1004887"/>
                <a:gd name="connsiteY237" fmla="*/ 94679 h 1332642"/>
                <a:gd name="connsiteX238" fmla="*/ 476250 w 1004887"/>
                <a:gd name="connsiteY238" fmla="*/ 96298 h 1332642"/>
                <a:gd name="connsiteX239" fmla="*/ 472059 w 1004887"/>
                <a:gd name="connsiteY239" fmla="*/ 101632 h 1332642"/>
                <a:gd name="connsiteX240" fmla="*/ 463772 w 1004887"/>
                <a:gd name="connsiteY240" fmla="*/ 99536 h 1332642"/>
                <a:gd name="connsiteX241" fmla="*/ 460820 w 1004887"/>
                <a:gd name="connsiteY241" fmla="*/ 101441 h 1332642"/>
                <a:gd name="connsiteX242" fmla="*/ 459867 w 1004887"/>
                <a:gd name="connsiteY242" fmla="*/ 106394 h 1332642"/>
                <a:gd name="connsiteX243" fmla="*/ 456914 w 1004887"/>
                <a:gd name="connsiteY243" fmla="*/ 108394 h 1332642"/>
                <a:gd name="connsiteX244" fmla="*/ 450437 w 1004887"/>
                <a:gd name="connsiteY244" fmla="*/ 107632 h 1332642"/>
                <a:gd name="connsiteX245" fmla="*/ 451009 w 1004887"/>
                <a:gd name="connsiteY245" fmla="*/ 112300 h 1332642"/>
                <a:gd name="connsiteX246" fmla="*/ 448247 w 1004887"/>
                <a:gd name="connsiteY246" fmla="*/ 115919 h 1332642"/>
                <a:gd name="connsiteX247" fmla="*/ 443294 w 1004887"/>
                <a:gd name="connsiteY247" fmla="*/ 114967 h 1332642"/>
                <a:gd name="connsiteX248" fmla="*/ 443484 w 1004887"/>
                <a:gd name="connsiteY248" fmla="*/ 116491 h 1332642"/>
                <a:gd name="connsiteX249" fmla="*/ 439007 w 1004887"/>
                <a:gd name="connsiteY249" fmla="*/ 118681 h 1332642"/>
                <a:gd name="connsiteX250" fmla="*/ 439388 w 1004887"/>
                <a:gd name="connsiteY250" fmla="*/ 121825 h 1332642"/>
                <a:gd name="connsiteX251" fmla="*/ 436626 w 1004887"/>
                <a:gd name="connsiteY251" fmla="*/ 125444 h 1332642"/>
                <a:gd name="connsiteX252" fmla="*/ 432911 w 1004887"/>
                <a:gd name="connsiteY252" fmla="*/ 121063 h 1332642"/>
                <a:gd name="connsiteX253" fmla="*/ 423386 w 1004887"/>
                <a:gd name="connsiteY253" fmla="*/ 122301 h 1332642"/>
                <a:gd name="connsiteX254" fmla="*/ 425006 w 1004887"/>
                <a:gd name="connsiteY254" fmla="*/ 134874 h 1332642"/>
                <a:gd name="connsiteX255" fmla="*/ 421862 w 1004887"/>
                <a:gd name="connsiteY255" fmla="*/ 135350 h 1332642"/>
                <a:gd name="connsiteX256" fmla="*/ 423291 w 1004887"/>
                <a:gd name="connsiteY256" fmla="*/ 133540 h 1332642"/>
                <a:gd name="connsiteX257" fmla="*/ 418148 w 1004887"/>
                <a:gd name="connsiteY257" fmla="*/ 130969 h 1332642"/>
                <a:gd name="connsiteX258" fmla="*/ 415766 w 1004887"/>
                <a:gd name="connsiteY258" fmla="*/ 137731 h 1332642"/>
                <a:gd name="connsiteX259" fmla="*/ 405670 w 1004887"/>
                <a:gd name="connsiteY259" fmla="*/ 134207 h 1332642"/>
                <a:gd name="connsiteX260" fmla="*/ 397764 w 1004887"/>
                <a:gd name="connsiteY260" fmla="*/ 135160 h 1332642"/>
                <a:gd name="connsiteX261" fmla="*/ 393478 w 1004887"/>
                <a:gd name="connsiteY261" fmla="*/ 138970 h 1332642"/>
                <a:gd name="connsiteX262" fmla="*/ 392906 w 1004887"/>
                <a:gd name="connsiteY262" fmla="*/ 146971 h 1332642"/>
                <a:gd name="connsiteX263" fmla="*/ 400812 w 1004887"/>
                <a:gd name="connsiteY263" fmla="*/ 158877 h 1332642"/>
                <a:gd name="connsiteX264" fmla="*/ 400812 w 1004887"/>
                <a:gd name="connsiteY264" fmla="*/ 158877 h 1332642"/>
                <a:gd name="connsiteX265" fmla="*/ 401193 w 1004887"/>
                <a:gd name="connsiteY265" fmla="*/ 162020 h 1332642"/>
                <a:gd name="connsiteX266" fmla="*/ 397859 w 1004887"/>
                <a:gd name="connsiteY266" fmla="*/ 160782 h 1332642"/>
                <a:gd name="connsiteX267" fmla="*/ 394907 w 1004887"/>
                <a:gd name="connsiteY267" fmla="*/ 162782 h 1332642"/>
                <a:gd name="connsiteX268" fmla="*/ 398240 w 1004887"/>
                <a:gd name="connsiteY268" fmla="*/ 163925 h 1332642"/>
                <a:gd name="connsiteX269" fmla="*/ 393764 w 1004887"/>
                <a:gd name="connsiteY269" fmla="*/ 166116 h 1332642"/>
                <a:gd name="connsiteX270" fmla="*/ 398907 w 1004887"/>
                <a:gd name="connsiteY270" fmla="*/ 168688 h 1332642"/>
                <a:gd name="connsiteX271" fmla="*/ 399479 w 1004887"/>
                <a:gd name="connsiteY271" fmla="*/ 173450 h 1332642"/>
                <a:gd name="connsiteX272" fmla="*/ 395288 w 1004887"/>
                <a:gd name="connsiteY272" fmla="*/ 178784 h 1332642"/>
                <a:gd name="connsiteX273" fmla="*/ 393954 w 1004887"/>
                <a:gd name="connsiteY273" fmla="*/ 180594 h 1332642"/>
                <a:gd name="connsiteX274" fmla="*/ 390620 w 1004887"/>
                <a:gd name="connsiteY274" fmla="*/ 179356 h 1332642"/>
                <a:gd name="connsiteX275" fmla="*/ 387858 w 1004887"/>
                <a:gd name="connsiteY275" fmla="*/ 182975 h 1332642"/>
                <a:gd name="connsiteX276" fmla="*/ 384905 w 1004887"/>
                <a:gd name="connsiteY276" fmla="*/ 184880 h 1332642"/>
                <a:gd name="connsiteX277" fmla="*/ 380714 w 1004887"/>
                <a:gd name="connsiteY277" fmla="*/ 190310 h 1332642"/>
                <a:gd name="connsiteX278" fmla="*/ 377571 w 1004887"/>
                <a:gd name="connsiteY278" fmla="*/ 190690 h 1332642"/>
                <a:gd name="connsiteX279" fmla="*/ 377762 w 1004887"/>
                <a:gd name="connsiteY279" fmla="*/ 192215 h 1332642"/>
                <a:gd name="connsiteX280" fmla="*/ 378047 w 1004887"/>
                <a:gd name="connsiteY280" fmla="*/ 193834 h 1332642"/>
                <a:gd name="connsiteX281" fmla="*/ 371285 w 1004887"/>
                <a:gd name="connsiteY281" fmla="*/ 191452 h 1332642"/>
                <a:gd name="connsiteX282" fmla="*/ 372142 w 1004887"/>
                <a:gd name="connsiteY282" fmla="*/ 197739 h 1332642"/>
                <a:gd name="connsiteX283" fmla="*/ 372332 w 1004887"/>
                <a:gd name="connsiteY283" fmla="*/ 199358 h 1332642"/>
                <a:gd name="connsiteX284" fmla="*/ 368903 w 1004887"/>
                <a:gd name="connsiteY284" fmla="*/ 198215 h 1332642"/>
                <a:gd name="connsiteX285" fmla="*/ 360236 w 1004887"/>
                <a:gd name="connsiteY285" fmla="*/ 192881 h 1332642"/>
                <a:gd name="connsiteX286" fmla="*/ 356521 w 1004887"/>
                <a:gd name="connsiteY286" fmla="*/ 188500 h 1332642"/>
                <a:gd name="connsiteX287" fmla="*/ 356045 w 1004887"/>
                <a:gd name="connsiteY287" fmla="*/ 185356 h 1332642"/>
                <a:gd name="connsiteX288" fmla="*/ 350901 w 1004887"/>
                <a:gd name="connsiteY288" fmla="*/ 182785 h 1332642"/>
                <a:gd name="connsiteX289" fmla="*/ 344424 w 1004887"/>
                <a:gd name="connsiteY289" fmla="*/ 182023 h 1332642"/>
                <a:gd name="connsiteX290" fmla="*/ 337757 w 1004887"/>
                <a:gd name="connsiteY290" fmla="*/ 192500 h 1332642"/>
                <a:gd name="connsiteX291" fmla="*/ 327851 w 1004887"/>
                <a:gd name="connsiteY291" fmla="*/ 190595 h 1332642"/>
                <a:gd name="connsiteX292" fmla="*/ 321564 w 1004887"/>
                <a:gd name="connsiteY292" fmla="*/ 191357 h 1332642"/>
                <a:gd name="connsiteX293" fmla="*/ 318611 w 1004887"/>
                <a:gd name="connsiteY293" fmla="*/ 193357 h 1332642"/>
                <a:gd name="connsiteX294" fmla="*/ 317564 w 1004887"/>
                <a:gd name="connsiteY294" fmla="*/ 185452 h 1332642"/>
                <a:gd name="connsiteX295" fmla="*/ 310515 w 1004887"/>
                <a:gd name="connsiteY295" fmla="*/ 179927 h 1332642"/>
                <a:gd name="connsiteX296" fmla="*/ 304610 w 1004887"/>
                <a:gd name="connsiteY296" fmla="*/ 183928 h 1332642"/>
                <a:gd name="connsiteX297" fmla="*/ 299466 w 1004887"/>
                <a:gd name="connsiteY297" fmla="*/ 181356 h 1332642"/>
                <a:gd name="connsiteX298" fmla="*/ 299847 w 1004887"/>
                <a:gd name="connsiteY298" fmla="*/ 184499 h 1332642"/>
                <a:gd name="connsiteX299" fmla="*/ 296704 w 1004887"/>
                <a:gd name="connsiteY299" fmla="*/ 184976 h 1332642"/>
                <a:gd name="connsiteX300" fmla="*/ 294704 w 1004887"/>
                <a:gd name="connsiteY300" fmla="*/ 182023 h 1332642"/>
                <a:gd name="connsiteX301" fmla="*/ 295847 w 1004887"/>
                <a:gd name="connsiteY301" fmla="*/ 178594 h 1332642"/>
                <a:gd name="connsiteX302" fmla="*/ 292894 w 1004887"/>
                <a:gd name="connsiteY302" fmla="*/ 180594 h 1332642"/>
                <a:gd name="connsiteX303" fmla="*/ 293942 w 1004887"/>
                <a:gd name="connsiteY303" fmla="*/ 175641 h 1332642"/>
                <a:gd name="connsiteX304" fmla="*/ 290513 w 1004887"/>
                <a:gd name="connsiteY304" fmla="*/ 174498 h 1332642"/>
                <a:gd name="connsiteX305" fmla="*/ 284226 w 1004887"/>
                <a:gd name="connsiteY305" fmla="*/ 175260 h 1332642"/>
                <a:gd name="connsiteX306" fmla="*/ 280702 w 1004887"/>
                <a:gd name="connsiteY306" fmla="*/ 172498 h 1332642"/>
                <a:gd name="connsiteX307" fmla="*/ 275749 w 1004887"/>
                <a:gd name="connsiteY307" fmla="*/ 171545 h 1332642"/>
                <a:gd name="connsiteX308" fmla="*/ 274796 w 1004887"/>
                <a:gd name="connsiteY308" fmla="*/ 176498 h 1332642"/>
                <a:gd name="connsiteX309" fmla="*/ 270224 w 1004887"/>
                <a:gd name="connsiteY309" fmla="*/ 178689 h 1332642"/>
                <a:gd name="connsiteX310" fmla="*/ 264509 w 1004887"/>
                <a:gd name="connsiteY310" fmla="*/ 184214 h 1332642"/>
                <a:gd name="connsiteX311" fmla="*/ 260794 w 1004887"/>
                <a:gd name="connsiteY311" fmla="*/ 179927 h 1332642"/>
                <a:gd name="connsiteX312" fmla="*/ 258794 w 1004887"/>
                <a:gd name="connsiteY312" fmla="*/ 176974 h 1332642"/>
                <a:gd name="connsiteX313" fmla="*/ 257365 w 1004887"/>
                <a:gd name="connsiteY313" fmla="*/ 178689 h 1332642"/>
                <a:gd name="connsiteX314" fmla="*/ 256032 w 1004887"/>
                <a:gd name="connsiteY314" fmla="*/ 180499 h 1332642"/>
                <a:gd name="connsiteX315" fmla="*/ 249936 w 1004887"/>
                <a:gd name="connsiteY315" fmla="*/ 182880 h 1332642"/>
                <a:gd name="connsiteX316" fmla="*/ 244602 w 1004887"/>
                <a:gd name="connsiteY316" fmla="*/ 178784 h 1332642"/>
                <a:gd name="connsiteX317" fmla="*/ 243364 w 1004887"/>
                <a:gd name="connsiteY317" fmla="*/ 182118 h 1332642"/>
                <a:gd name="connsiteX318" fmla="*/ 234982 w 1004887"/>
                <a:gd name="connsiteY318" fmla="*/ 191167 h 1332642"/>
                <a:gd name="connsiteX319" fmla="*/ 230219 w 1004887"/>
                <a:gd name="connsiteY319" fmla="*/ 191833 h 1332642"/>
                <a:gd name="connsiteX320" fmla="*/ 223266 w 1004887"/>
                <a:gd name="connsiteY320" fmla="*/ 187833 h 1332642"/>
                <a:gd name="connsiteX321" fmla="*/ 216599 w 1004887"/>
                <a:gd name="connsiteY321" fmla="*/ 185547 h 1332642"/>
                <a:gd name="connsiteX322" fmla="*/ 215170 w 1004887"/>
                <a:gd name="connsiteY322" fmla="*/ 187261 h 1332642"/>
                <a:gd name="connsiteX323" fmla="*/ 220694 w 1004887"/>
                <a:gd name="connsiteY323" fmla="*/ 192977 h 1332642"/>
                <a:gd name="connsiteX324" fmla="*/ 221933 w 1004887"/>
                <a:gd name="connsiteY324" fmla="*/ 202502 h 1332642"/>
                <a:gd name="connsiteX325" fmla="*/ 207550 w 1004887"/>
                <a:gd name="connsiteY325" fmla="*/ 202692 h 1332642"/>
                <a:gd name="connsiteX326" fmla="*/ 195072 w 1004887"/>
                <a:gd name="connsiteY326" fmla="*/ 205931 h 1332642"/>
                <a:gd name="connsiteX327" fmla="*/ 195358 w 1004887"/>
                <a:gd name="connsiteY327" fmla="*/ 207455 h 1332642"/>
                <a:gd name="connsiteX328" fmla="*/ 198882 w 1004887"/>
                <a:gd name="connsiteY328" fmla="*/ 210217 h 1332642"/>
                <a:gd name="connsiteX329" fmla="*/ 200311 w 1004887"/>
                <a:gd name="connsiteY329" fmla="*/ 221266 h 1332642"/>
                <a:gd name="connsiteX330" fmla="*/ 200882 w 1004887"/>
                <a:gd name="connsiteY330" fmla="*/ 226028 h 1332642"/>
                <a:gd name="connsiteX331" fmla="*/ 192596 w 1004887"/>
                <a:gd name="connsiteY331" fmla="*/ 223837 h 1332642"/>
                <a:gd name="connsiteX332" fmla="*/ 193929 w 1004887"/>
                <a:gd name="connsiteY332" fmla="*/ 222123 h 1332642"/>
                <a:gd name="connsiteX333" fmla="*/ 192024 w 1004887"/>
                <a:gd name="connsiteY333" fmla="*/ 219170 h 1332642"/>
                <a:gd name="connsiteX334" fmla="*/ 190214 w 1004887"/>
                <a:gd name="connsiteY334" fmla="*/ 204883 h 1332642"/>
                <a:gd name="connsiteX335" fmla="*/ 184594 w 1004887"/>
                <a:gd name="connsiteY335" fmla="*/ 199168 h 1332642"/>
                <a:gd name="connsiteX336" fmla="*/ 174593 w 1004887"/>
                <a:gd name="connsiteY336" fmla="*/ 195644 h 1332642"/>
                <a:gd name="connsiteX337" fmla="*/ 160401 w 1004887"/>
                <a:gd name="connsiteY337" fmla="*/ 197453 h 1332642"/>
                <a:gd name="connsiteX338" fmla="*/ 160782 w 1004887"/>
                <a:gd name="connsiteY338" fmla="*/ 200692 h 1332642"/>
                <a:gd name="connsiteX339" fmla="*/ 157448 w 1004887"/>
                <a:gd name="connsiteY339" fmla="*/ 199453 h 1332642"/>
                <a:gd name="connsiteX340" fmla="*/ 157829 w 1004887"/>
                <a:gd name="connsiteY340" fmla="*/ 202597 h 1332642"/>
                <a:gd name="connsiteX341" fmla="*/ 153067 w 1004887"/>
                <a:gd name="connsiteY341" fmla="*/ 203264 h 1332642"/>
                <a:gd name="connsiteX342" fmla="*/ 150114 w 1004887"/>
                <a:gd name="connsiteY342" fmla="*/ 205169 h 1332642"/>
                <a:gd name="connsiteX343" fmla="*/ 149924 w 1004887"/>
                <a:gd name="connsiteY343" fmla="*/ 216408 h 1332642"/>
                <a:gd name="connsiteX344" fmla="*/ 143256 w 1004887"/>
                <a:gd name="connsiteY344" fmla="*/ 214122 h 1332642"/>
                <a:gd name="connsiteX345" fmla="*/ 139351 w 1004887"/>
                <a:gd name="connsiteY345" fmla="*/ 220980 h 1332642"/>
                <a:gd name="connsiteX346" fmla="*/ 136684 w 1004887"/>
                <a:gd name="connsiteY346" fmla="*/ 213360 h 1332642"/>
                <a:gd name="connsiteX347" fmla="*/ 129635 w 1004887"/>
                <a:gd name="connsiteY347" fmla="*/ 207836 h 1332642"/>
                <a:gd name="connsiteX348" fmla="*/ 118586 w 1004887"/>
                <a:gd name="connsiteY348" fmla="*/ 209264 h 1332642"/>
                <a:gd name="connsiteX349" fmla="*/ 108490 w 1004887"/>
                <a:gd name="connsiteY349" fmla="*/ 205740 h 1332642"/>
                <a:gd name="connsiteX350" fmla="*/ 106299 w 1004887"/>
                <a:gd name="connsiteY350" fmla="*/ 214027 h 1332642"/>
                <a:gd name="connsiteX351" fmla="*/ 100870 w 1004887"/>
                <a:gd name="connsiteY351" fmla="*/ 221075 h 1332642"/>
                <a:gd name="connsiteX352" fmla="*/ 97631 w 1004887"/>
                <a:gd name="connsiteY352" fmla="*/ 221552 h 1332642"/>
                <a:gd name="connsiteX353" fmla="*/ 87630 w 1004887"/>
                <a:gd name="connsiteY353" fmla="*/ 230791 h 1332642"/>
                <a:gd name="connsiteX354" fmla="*/ 85058 w 1004887"/>
                <a:gd name="connsiteY354" fmla="*/ 235934 h 1332642"/>
                <a:gd name="connsiteX355" fmla="*/ 86106 w 1004887"/>
                <a:gd name="connsiteY355" fmla="*/ 243840 h 1332642"/>
                <a:gd name="connsiteX356" fmla="*/ 82201 w 1004887"/>
                <a:gd name="connsiteY356" fmla="*/ 250793 h 1332642"/>
                <a:gd name="connsiteX357" fmla="*/ 79820 w 1004887"/>
                <a:gd name="connsiteY357" fmla="*/ 257461 h 1332642"/>
                <a:gd name="connsiteX358" fmla="*/ 70295 w 1004887"/>
                <a:gd name="connsiteY358" fmla="*/ 258699 h 1332642"/>
                <a:gd name="connsiteX359" fmla="*/ 70009 w 1004887"/>
                <a:gd name="connsiteY359" fmla="*/ 281178 h 1332642"/>
                <a:gd name="connsiteX360" fmla="*/ 68199 w 1004887"/>
                <a:gd name="connsiteY360" fmla="*/ 279749 h 1332642"/>
                <a:gd name="connsiteX361" fmla="*/ 64865 w 1004887"/>
                <a:gd name="connsiteY361" fmla="*/ 278606 h 1332642"/>
                <a:gd name="connsiteX362" fmla="*/ 62865 w 1004887"/>
                <a:gd name="connsiteY362" fmla="*/ 275653 h 1332642"/>
                <a:gd name="connsiteX363" fmla="*/ 59722 w 1004887"/>
                <a:gd name="connsiteY363" fmla="*/ 276035 h 1332642"/>
                <a:gd name="connsiteX364" fmla="*/ 55626 w 1004887"/>
                <a:gd name="connsiteY364" fmla="*/ 281369 h 1332642"/>
                <a:gd name="connsiteX365" fmla="*/ 51435 w 1004887"/>
                <a:gd name="connsiteY365" fmla="*/ 286703 h 1332642"/>
                <a:gd name="connsiteX366" fmla="*/ 54007 w 1004887"/>
                <a:gd name="connsiteY366" fmla="*/ 294418 h 1332642"/>
                <a:gd name="connsiteX367" fmla="*/ 53245 w 1004887"/>
                <a:gd name="connsiteY367" fmla="*/ 300990 h 1332642"/>
                <a:gd name="connsiteX368" fmla="*/ 50959 w 1004887"/>
                <a:gd name="connsiteY368" fmla="*/ 307657 h 1332642"/>
                <a:gd name="connsiteX369" fmla="*/ 46387 w 1004887"/>
                <a:gd name="connsiteY369" fmla="*/ 309848 h 1332642"/>
                <a:gd name="connsiteX370" fmla="*/ 45053 w 1004887"/>
                <a:gd name="connsiteY370" fmla="*/ 311658 h 1332642"/>
                <a:gd name="connsiteX371" fmla="*/ 49816 w 1004887"/>
                <a:gd name="connsiteY371" fmla="*/ 323850 h 1332642"/>
                <a:gd name="connsiteX372" fmla="*/ 45625 w 1004887"/>
                <a:gd name="connsiteY372" fmla="*/ 329184 h 1332642"/>
                <a:gd name="connsiteX373" fmla="*/ 52578 w 1004887"/>
                <a:gd name="connsiteY373" fmla="*/ 333089 h 1332642"/>
                <a:gd name="connsiteX374" fmla="*/ 51340 w 1004887"/>
                <a:gd name="connsiteY374" fmla="*/ 336423 h 1332642"/>
                <a:gd name="connsiteX375" fmla="*/ 50197 w 1004887"/>
                <a:gd name="connsiteY375" fmla="*/ 339852 h 1332642"/>
                <a:gd name="connsiteX376" fmla="*/ 48196 w 1004887"/>
                <a:gd name="connsiteY376" fmla="*/ 336899 h 1332642"/>
                <a:gd name="connsiteX377" fmla="*/ 3524 w 1004887"/>
                <a:gd name="connsiteY377" fmla="*/ 363379 h 1332642"/>
                <a:gd name="connsiteX378" fmla="*/ 0 w 1004887"/>
                <a:gd name="connsiteY378" fmla="*/ 373475 h 1332642"/>
                <a:gd name="connsiteX379" fmla="*/ 2381 w 1004887"/>
                <a:gd name="connsiteY379" fmla="*/ 379571 h 1332642"/>
                <a:gd name="connsiteX380" fmla="*/ 1333 w 1004887"/>
                <a:gd name="connsiteY380" fmla="*/ 384524 h 1332642"/>
                <a:gd name="connsiteX381" fmla="*/ 3715 w 1004887"/>
                <a:gd name="connsiteY381" fmla="*/ 390620 h 1332642"/>
                <a:gd name="connsiteX382" fmla="*/ 7525 w 1004887"/>
                <a:gd name="connsiteY382" fmla="*/ 395002 h 1332642"/>
                <a:gd name="connsiteX383" fmla="*/ 6382 w 1004887"/>
                <a:gd name="connsiteY383" fmla="*/ 398336 h 1332642"/>
                <a:gd name="connsiteX384" fmla="*/ 14669 w 1004887"/>
                <a:gd name="connsiteY384" fmla="*/ 400526 h 1332642"/>
                <a:gd name="connsiteX385" fmla="*/ 16573 w 1004887"/>
                <a:gd name="connsiteY385" fmla="*/ 403479 h 1332642"/>
                <a:gd name="connsiteX386" fmla="*/ 17621 w 1004887"/>
                <a:gd name="connsiteY386" fmla="*/ 411290 h 1332642"/>
                <a:gd name="connsiteX387" fmla="*/ 24765 w 1004887"/>
                <a:gd name="connsiteY387" fmla="*/ 429673 h 1332642"/>
                <a:gd name="connsiteX388" fmla="*/ 30099 w 1004887"/>
                <a:gd name="connsiteY388" fmla="*/ 433769 h 1332642"/>
                <a:gd name="connsiteX389" fmla="*/ 38195 w 1004887"/>
                <a:gd name="connsiteY389" fmla="*/ 434340 h 1332642"/>
                <a:gd name="connsiteX390" fmla="*/ 55626 w 1004887"/>
                <a:gd name="connsiteY390" fmla="*/ 445008 h 1332642"/>
                <a:gd name="connsiteX391" fmla="*/ 56388 w 1004887"/>
                <a:gd name="connsiteY391" fmla="*/ 451294 h 1332642"/>
                <a:gd name="connsiteX392" fmla="*/ 63341 w 1004887"/>
                <a:gd name="connsiteY392" fmla="*/ 455200 h 1332642"/>
                <a:gd name="connsiteX393" fmla="*/ 68008 w 1004887"/>
                <a:gd name="connsiteY393" fmla="*/ 454628 h 1332642"/>
                <a:gd name="connsiteX394" fmla="*/ 69818 w 1004887"/>
                <a:gd name="connsiteY394" fmla="*/ 455962 h 1332642"/>
                <a:gd name="connsiteX395" fmla="*/ 77533 w 1004887"/>
                <a:gd name="connsiteY395" fmla="*/ 453390 h 1332642"/>
                <a:gd name="connsiteX396" fmla="*/ 82487 w 1004887"/>
                <a:gd name="connsiteY396" fmla="*/ 454343 h 1332642"/>
                <a:gd name="connsiteX397" fmla="*/ 82106 w 1004887"/>
                <a:gd name="connsiteY397" fmla="*/ 464058 h 1332642"/>
                <a:gd name="connsiteX398" fmla="*/ 87058 w 1004887"/>
                <a:gd name="connsiteY398" fmla="*/ 477869 h 1332642"/>
                <a:gd name="connsiteX399" fmla="*/ 81534 w 1004887"/>
                <a:gd name="connsiteY399" fmla="*/ 485013 h 1332642"/>
                <a:gd name="connsiteX400" fmla="*/ 84106 w 1004887"/>
                <a:gd name="connsiteY400" fmla="*/ 492633 h 1332642"/>
                <a:gd name="connsiteX401" fmla="*/ 78391 w 1004887"/>
                <a:gd name="connsiteY401" fmla="*/ 498253 h 1332642"/>
                <a:gd name="connsiteX402" fmla="*/ 77248 w 1004887"/>
                <a:gd name="connsiteY402" fmla="*/ 501586 h 1332642"/>
                <a:gd name="connsiteX403" fmla="*/ 79248 w 1004887"/>
                <a:gd name="connsiteY403" fmla="*/ 504539 h 1332642"/>
                <a:gd name="connsiteX404" fmla="*/ 84106 w 1004887"/>
                <a:gd name="connsiteY404" fmla="*/ 505492 h 1332642"/>
                <a:gd name="connsiteX405" fmla="*/ 85916 w 1004887"/>
                <a:gd name="connsiteY405" fmla="*/ 506825 h 1332642"/>
                <a:gd name="connsiteX406" fmla="*/ 84773 w 1004887"/>
                <a:gd name="connsiteY406" fmla="*/ 510254 h 1332642"/>
                <a:gd name="connsiteX407" fmla="*/ 80582 w 1004887"/>
                <a:gd name="connsiteY407" fmla="*/ 515588 h 1332642"/>
                <a:gd name="connsiteX408" fmla="*/ 81439 w 1004887"/>
                <a:gd name="connsiteY408" fmla="*/ 521875 h 1332642"/>
                <a:gd name="connsiteX409" fmla="*/ 89726 w 1004887"/>
                <a:gd name="connsiteY409" fmla="*/ 524065 h 1332642"/>
                <a:gd name="connsiteX410" fmla="*/ 88297 w 1004887"/>
                <a:gd name="connsiteY410" fmla="*/ 525780 h 1332642"/>
                <a:gd name="connsiteX411" fmla="*/ 83820 w 1004887"/>
                <a:gd name="connsiteY411" fmla="*/ 527971 h 1332642"/>
                <a:gd name="connsiteX412" fmla="*/ 84392 w 1004887"/>
                <a:gd name="connsiteY412" fmla="*/ 532733 h 1332642"/>
                <a:gd name="connsiteX413" fmla="*/ 90964 w 1004887"/>
                <a:gd name="connsiteY413" fmla="*/ 533495 h 1332642"/>
                <a:gd name="connsiteX414" fmla="*/ 96869 w 1004887"/>
                <a:gd name="connsiteY414" fmla="*/ 529495 h 1332642"/>
                <a:gd name="connsiteX415" fmla="*/ 104965 w 1004887"/>
                <a:gd name="connsiteY415" fmla="*/ 530066 h 1332642"/>
                <a:gd name="connsiteX416" fmla="*/ 106870 w 1004887"/>
                <a:gd name="connsiteY416" fmla="*/ 533114 h 1332642"/>
                <a:gd name="connsiteX417" fmla="*/ 105537 w 1004887"/>
                <a:gd name="connsiteY417" fmla="*/ 534829 h 1332642"/>
                <a:gd name="connsiteX418" fmla="*/ 104108 w 1004887"/>
                <a:gd name="connsiteY418" fmla="*/ 536639 h 1332642"/>
                <a:gd name="connsiteX419" fmla="*/ 108299 w 1004887"/>
                <a:gd name="connsiteY419" fmla="*/ 544068 h 1332642"/>
                <a:gd name="connsiteX420" fmla="*/ 108585 w 1004887"/>
                <a:gd name="connsiteY420" fmla="*/ 558546 h 1332642"/>
                <a:gd name="connsiteX421" fmla="*/ 118205 w 1004887"/>
                <a:gd name="connsiteY421" fmla="*/ 571690 h 1332642"/>
                <a:gd name="connsiteX422" fmla="*/ 114110 w 1004887"/>
                <a:gd name="connsiteY422" fmla="*/ 589883 h 1332642"/>
                <a:gd name="connsiteX423" fmla="*/ 115729 w 1004887"/>
                <a:gd name="connsiteY423" fmla="*/ 602456 h 1332642"/>
                <a:gd name="connsiteX424" fmla="*/ 119348 w 1004887"/>
                <a:gd name="connsiteY424" fmla="*/ 605219 h 1332642"/>
                <a:gd name="connsiteX425" fmla="*/ 121920 w 1004887"/>
                <a:gd name="connsiteY425" fmla="*/ 612934 h 1332642"/>
                <a:gd name="connsiteX426" fmla="*/ 126016 w 1004887"/>
                <a:gd name="connsiteY426" fmla="*/ 620458 h 1332642"/>
                <a:gd name="connsiteX427" fmla="*/ 129445 w 1004887"/>
                <a:gd name="connsiteY427" fmla="*/ 621602 h 1332642"/>
                <a:gd name="connsiteX428" fmla="*/ 125254 w 1004887"/>
                <a:gd name="connsiteY428" fmla="*/ 626936 h 1332642"/>
                <a:gd name="connsiteX429" fmla="*/ 135922 w 1004887"/>
                <a:gd name="connsiteY429" fmla="*/ 635222 h 1332642"/>
                <a:gd name="connsiteX430" fmla="*/ 140875 w 1004887"/>
                <a:gd name="connsiteY430" fmla="*/ 636175 h 1332642"/>
                <a:gd name="connsiteX431" fmla="*/ 142875 w 1004887"/>
                <a:gd name="connsiteY431" fmla="*/ 639128 h 1332642"/>
                <a:gd name="connsiteX432" fmla="*/ 145828 w 1004887"/>
                <a:gd name="connsiteY432" fmla="*/ 637127 h 1332642"/>
                <a:gd name="connsiteX433" fmla="*/ 147828 w 1004887"/>
                <a:gd name="connsiteY433" fmla="*/ 640080 h 1332642"/>
                <a:gd name="connsiteX434" fmla="*/ 152495 w 1004887"/>
                <a:gd name="connsiteY434" fmla="*/ 639508 h 1332642"/>
                <a:gd name="connsiteX435" fmla="*/ 153734 w 1004887"/>
                <a:gd name="connsiteY435" fmla="*/ 636175 h 1332642"/>
                <a:gd name="connsiteX436" fmla="*/ 158210 w 1004887"/>
                <a:gd name="connsiteY436" fmla="*/ 633984 h 1332642"/>
                <a:gd name="connsiteX437" fmla="*/ 162973 w 1004887"/>
                <a:gd name="connsiteY437" fmla="*/ 646176 h 1332642"/>
                <a:gd name="connsiteX438" fmla="*/ 162020 w 1004887"/>
                <a:gd name="connsiteY438" fmla="*/ 651129 h 1332642"/>
                <a:gd name="connsiteX439" fmla="*/ 161639 w 1004887"/>
                <a:gd name="connsiteY439" fmla="*/ 660845 h 1332642"/>
                <a:gd name="connsiteX440" fmla="*/ 159544 w 1004887"/>
                <a:gd name="connsiteY440" fmla="*/ 669131 h 1332642"/>
                <a:gd name="connsiteX441" fmla="*/ 162306 w 1004887"/>
                <a:gd name="connsiteY441" fmla="*/ 678370 h 1332642"/>
                <a:gd name="connsiteX442" fmla="*/ 161735 w 1004887"/>
                <a:gd name="connsiteY442" fmla="*/ 686467 h 1332642"/>
                <a:gd name="connsiteX443" fmla="*/ 153638 w 1004887"/>
                <a:gd name="connsiteY443" fmla="*/ 698754 h 1332642"/>
                <a:gd name="connsiteX444" fmla="*/ 156782 w 1004887"/>
                <a:gd name="connsiteY444" fmla="*/ 698278 h 1332642"/>
                <a:gd name="connsiteX445" fmla="*/ 161163 w 1004887"/>
                <a:gd name="connsiteY445" fmla="*/ 707327 h 1332642"/>
                <a:gd name="connsiteX446" fmla="*/ 164497 w 1004887"/>
                <a:gd name="connsiteY446" fmla="*/ 708565 h 1332642"/>
                <a:gd name="connsiteX447" fmla="*/ 170116 w 1004887"/>
                <a:gd name="connsiteY447" fmla="*/ 727043 h 1332642"/>
                <a:gd name="connsiteX448" fmla="*/ 168974 w 1004887"/>
                <a:gd name="connsiteY448" fmla="*/ 730472 h 1332642"/>
                <a:gd name="connsiteX449" fmla="*/ 170307 w 1004887"/>
                <a:gd name="connsiteY449" fmla="*/ 741521 h 1332642"/>
                <a:gd name="connsiteX450" fmla="*/ 167831 w 1004887"/>
                <a:gd name="connsiteY450" fmla="*/ 746665 h 1332642"/>
                <a:gd name="connsiteX451" fmla="*/ 185166 w 1004887"/>
                <a:gd name="connsiteY451" fmla="*/ 757237 h 1332642"/>
                <a:gd name="connsiteX452" fmla="*/ 206312 w 1004887"/>
                <a:gd name="connsiteY452" fmla="*/ 759333 h 1332642"/>
                <a:gd name="connsiteX453" fmla="*/ 209455 w 1004887"/>
                <a:gd name="connsiteY453" fmla="*/ 771811 h 1332642"/>
                <a:gd name="connsiteX454" fmla="*/ 222885 w 1004887"/>
                <a:gd name="connsiteY454" fmla="*/ 776478 h 1332642"/>
                <a:gd name="connsiteX455" fmla="*/ 239744 w 1004887"/>
                <a:gd name="connsiteY455" fmla="*/ 795147 h 1332642"/>
                <a:gd name="connsiteX456" fmla="*/ 241554 w 1004887"/>
                <a:gd name="connsiteY456" fmla="*/ 809435 h 1332642"/>
                <a:gd name="connsiteX457" fmla="*/ 239363 w 1004887"/>
                <a:gd name="connsiteY457" fmla="*/ 817721 h 1332642"/>
                <a:gd name="connsiteX458" fmla="*/ 245745 w 1004887"/>
                <a:gd name="connsiteY458" fmla="*/ 829723 h 1332642"/>
                <a:gd name="connsiteX459" fmla="*/ 252413 w 1004887"/>
                <a:gd name="connsiteY459" fmla="*/ 832009 h 1332642"/>
                <a:gd name="connsiteX460" fmla="*/ 254603 w 1004887"/>
                <a:gd name="connsiteY460" fmla="*/ 836581 h 1332642"/>
                <a:gd name="connsiteX461" fmla="*/ 252698 w 1004887"/>
                <a:gd name="connsiteY461" fmla="*/ 846487 h 1332642"/>
                <a:gd name="connsiteX462" fmla="*/ 253079 w 1004887"/>
                <a:gd name="connsiteY462" fmla="*/ 849630 h 1332642"/>
                <a:gd name="connsiteX463" fmla="*/ 256413 w 1004887"/>
                <a:gd name="connsiteY463" fmla="*/ 850773 h 1332642"/>
                <a:gd name="connsiteX464" fmla="*/ 266700 w 1004887"/>
                <a:gd name="connsiteY464" fmla="*/ 855916 h 1332642"/>
                <a:gd name="connsiteX465" fmla="*/ 276797 w 1004887"/>
                <a:gd name="connsiteY465" fmla="*/ 859441 h 1332642"/>
                <a:gd name="connsiteX466" fmla="*/ 294323 w 1004887"/>
                <a:gd name="connsiteY466" fmla="*/ 858774 h 1332642"/>
                <a:gd name="connsiteX467" fmla="*/ 299085 w 1004887"/>
                <a:gd name="connsiteY467" fmla="*/ 858203 h 1332642"/>
                <a:gd name="connsiteX468" fmla="*/ 300419 w 1004887"/>
                <a:gd name="connsiteY468" fmla="*/ 856393 h 1332642"/>
                <a:gd name="connsiteX469" fmla="*/ 302038 w 1004887"/>
                <a:gd name="connsiteY469" fmla="*/ 856202 h 1332642"/>
                <a:gd name="connsiteX470" fmla="*/ 306229 w 1004887"/>
                <a:gd name="connsiteY470" fmla="*/ 863727 h 1332642"/>
                <a:gd name="connsiteX471" fmla="*/ 310706 w 1004887"/>
                <a:gd name="connsiteY471" fmla="*/ 861536 h 1332642"/>
                <a:gd name="connsiteX472" fmla="*/ 321374 w 1004887"/>
                <a:gd name="connsiteY472" fmla="*/ 869823 h 1332642"/>
                <a:gd name="connsiteX473" fmla="*/ 329660 w 1004887"/>
                <a:gd name="connsiteY473" fmla="*/ 871919 h 1332642"/>
                <a:gd name="connsiteX474" fmla="*/ 328517 w 1004887"/>
                <a:gd name="connsiteY474" fmla="*/ 862489 h 1332642"/>
                <a:gd name="connsiteX475" fmla="*/ 326136 w 1004887"/>
                <a:gd name="connsiteY475" fmla="*/ 856393 h 1332642"/>
                <a:gd name="connsiteX476" fmla="*/ 325279 w 1004887"/>
                <a:gd name="connsiteY476" fmla="*/ 850011 h 1332642"/>
                <a:gd name="connsiteX477" fmla="*/ 341662 w 1004887"/>
                <a:gd name="connsiteY477" fmla="*/ 852773 h 1332642"/>
                <a:gd name="connsiteX478" fmla="*/ 348615 w 1004887"/>
                <a:gd name="connsiteY478" fmla="*/ 856678 h 1332642"/>
                <a:gd name="connsiteX479" fmla="*/ 352139 w 1004887"/>
                <a:gd name="connsiteY479" fmla="*/ 859441 h 1332642"/>
                <a:gd name="connsiteX480" fmla="*/ 359855 w 1004887"/>
                <a:gd name="connsiteY480" fmla="*/ 856869 h 1332642"/>
                <a:gd name="connsiteX481" fmla="*/ 366808 w 1004887"/>
                <a:gd name="connsiteY481" fmla="*/ 860774 h 1332642"/>
                <a:gd name="connsiteX482" fmla="*/ 371475 w 1004887"/>
                <a:gd name="connsiteY482" fmla="*/ 860203 h 1332642"/>
                <a:gd name="connsiteX483" fmla="*/ 374809 w 1004887"/>
                <a:gd name="connsiteY483" fmla="*/ 861346 h 1332642"/>
                <a:gd name="connsiteX484" fmla="*/ 380429 w 1004887"/>
                <a:gd name="connsiteY484" fmla="*/ 867061 h 1332642"/>
                <a:gd name="connsiteX485" fmla="*/ 383572 w 1004887"/>
                <a:gd name="connsiteY485" fmla="*/ 866680 h 1332642"/>
                <a:gd name="connsiteX486" fmla="*/ 390430 w 1004887"/>
                <a:gd name="connsiteY486" fmla="*/ 870585 h 1332642"/>
                <a:gd name="connsiteX487" fmla="*/ 400145 w 1004887"/>
                <a:gd name="connsiteY487" fmla="*/ 883825 h 1332642"/>
                <a:gd name="connsiteX488" fmla="*/ 404336 w 1004887"/>
                <a:gd name="connsiteY488" fmla="*/ 891254 h 1332642"/>
                <a:gd name="connsiteX489" fmla="*/ 411671 w 1004887"/>
                <a:gd name="connsiteY489" fmla="*/ 898398 h 1332642"/>
                <a:gd name="connsiteX490" fmla="*/ 414052 w 1004887"/>
                <a:gd name="connsiteY490" fmla="*/ 904494 h 1332642"/>
                <a:gd name="connsiteX491" fmla="*/ 428816 w 1004887"/>
                <a:gd name="connsiteY491" fmla="*/ 907447 h 1332642"/>
                <a:gd name="connsiteX492" fmla="*/ 429673 w 1004887"/>
                <a:gd name="connsiteY492" fmla="*/ 926592 h 1332642"/>
                <a:gd name="connsiteX493" fmla="*/ 428339 w 1004887"/>
                <a:gd name="connsiteY493" fmla="*/ 928307 h 1332642"/>
                <a:gd name="connsiteX494" fmla="*/ 425958 w 1004887"/>
                <a:gd name="connsiteY494" fmla="*/ 935069 h 1332642"/>
                <a:gd name="connsiteX495" fmla="*/ 431292 w 1004887"/>
                <a:gd name="connsiteY495" fmla="*/ 952024 h 1332642"/>
                <a:gd name="connsiteX496" fmla="*/ 445960 w 1004887"/>
                <a:gd name="connsiteY496" fmla="*/ 953357 h 1332642"/>
                <a:gd name="connsiteX497" fmla="*/ 447866 w 1004887"/>
                <a:gd name="connsiteY497" fmla="*/ 956310 h 1332642"/>
                <a:gd name="connsiteX498" fmla="*/ 446913 w 1004887"/>
                <a:gd name="connsiteY498" fmla="*/ 961263 h 1332642"/>
                <a:gd name="connsiteX499" fmla="*/ 449294 w 1004887"/>
                <a:gd name="connsiteY499" fmla="*/ 967359 h 1332642"/>
                <a:gd name="connsiteX500" fmla="*/ 454438 w 1004887"/>
                <a:gd name="connsiteY500" fmla="*/ 969931 h 1332642"/>
                <a:gd name="connsiteX501" fmla="*/ 458152 w 1004887"/>
                <a:gd name="connsiteY501" fmla="*/ 974217 h 1332642"/>
                <a:gd name="connsiteX502" fmla="*/ 464534 w 1004887"/>
                <a:gd name="connsiteY502" fmla="*/ 973455 h 1332642"/>
                <a:gd name="connsiteX503" fmla="*/ 466725 w 1004887"/>
                <a:gd name="connsiteY503" fmla="*/ 977932 h 1332642"/>
                <a:gd name="connsiteX504" fmla="*/ 469106 w 1004887"/>
                <a:gd name="connsiteY504" fmla="*/ 984028 h 1332642"/>
                <a:gd name="connsiteX505" fmla="*/ 467106 w 1004887"/>
                <a:gd name="connsiteY505" fmla="*/ 993934 h 1332642"/>
                <a:gd name="connsiteX506" fmla="*/ 486537 w 1004887"/>
                <a:gd name="connsiteY506" fmla="*/ 1007555 h 1332642"/>
                <a:gd name="connsiteX507" fmla="*/ 485966 w 1004887"/>
                <a:gd name="connsiteY507" fmla="*/ 1015651 h 1332642"/>
                <a:gd name="connsiteX508" fmla="*/ 483394 w 1004887"/>
                <a:gd name="connsiteY508" fmla="*/ 1020699 h 1332642"/>
                <a:gd name="connsiteX509" fmla="*/ 483775 w 1004887"/>
                <a:gd name="connsiteY509" fmla="*/ 1023937 h 1332642"/>
                <a:gd name="connsiteX510" fmla="*/ 492824 w 1004887"/>
                <a:gd name="connsiteY510" fmla="*/ 1032320 h 1332642"/>
                <a:gd name="connsiteX511" fmla="*/ 497586 w 1004887"/>
                <a:gd name="connsiteY511" fmla="*/ 1031748 h 1332642"/>
                <a:gd name="connsiteX512" fmla="*/ 503301 w 1004887"/>
                <a:gd name="connsiteY512" fmla="*/ 1039082 h 1332642"/>
                <a:gd name="connsiteX513" fmla="*/ 505111 w 1004887"/>
                <a:gd name="connsiteY513" fmla="*/ 1040416 h 1332642"/>
                <a:gd name="connsiteX514" fmla="*/ 509302 w 1004887"/>
                <a:gd name="connsiteY514" fmla="*/ 1047940 h 1332642"/>
                <a:gd name="connsiteX515" fmla="*/ 520351 w 1004887"/>
                <a:gd name="connsiteY515" fmla="*/ 1059371 h 1332642"/>
                <a:gd name="connsiteX516" fmla="*/ 526828 w 1004887"/>
                <a:gd name="connsiteY516" fmla="*/ 1060133 h 1332642"/>
                <a:gd name="connsiteX517" fmla="*/ 528828 w 1004887"/>
                <a:gd name="connsiteY517" fmla="*/ 1063085 h 1332642"/>
                <a:gd name="connsiteX518" fmla="*/ 530066 w 1004887"/>
                <a:gd name="connsiteY518" fmla="*/ 1072515 h 1332642"/>
                <a:gd name="connsiteX519" fmla="*/ 524732 w 1004887"/>
                <a:gd name="connsiteY519" fmla="*/ 1094041 h 1332642"/>
                <a:gd name="connsiteX520" fmla="*/ 534257 w 1004887"/>
                <a:gd name="connsiteY520" fmla="*/ 1105662 h 1332642"/>
                <a:gd name="connsiteX521" fmla="*/ 550450 w 1004887"/>
                <a:gd name="connsiteY521" fmla="*/ 1119664 h 1332642"/>
                <a:gd name="connsiteX522" fmla="*/ 571024 w 1004887"/>
                <a:gd name="connsiteY522" fmla="*/ 1129856 h 1332642"/>
                <a:gd name="connsiteX523" fmla="*/ 587978 w 1004887"/>
                <a:gd name="connsiteY523" fmla="*/ 1124522 h 1332642"/>
                <a:gd name="connsiteX524" fmla="*/ 603790 w 1004887"/>
                <a:gd name="connsiteY524" fmla="*/ 1122426 h 1332642"/>
                <a:gd name="connsiteX525" fmla="*/ 608933 w 1004887"/>
                <a:gd name="connsiteY525" fmla="*/ 1124998 h 1332642"/>
                <a:gd name="connsiteX526" fmla="*/ 623792 w 1004887"/>
                <a:gd name="connsiteY526" fmla="*/ 1140809 h 1332642"/>
                <a:gd name="connsiteX527" fmla="*/ 628841 w 1004887"/>
                <a:gd name="connsiteY527" fmla="*/ 1143286 h 1332642"/>
                <a:gd name="connsiteX528" fmla="*/ 634270 w 1004887"/>
                <a:gd name="connsiteY528" fmla="*/ 1147477 h 1332642"/>
                <a:gd name="connsiteX529" fmla="*/ 634841 w 1004887"/>
                <a:gd name="connsiteY529" fmla="*/ 1152239 h 1332642"/>
                <a:gd name="connsiteX530" fmla="*/ 641509 w 1004887"/>
                <a:gd name="connsiteY530" fmla="*/ 1154525 h 1332642"/>
                <a:gd name="connsiteX531" fmla="*/ 647319 w 1004887"/>
                <a:gd name="connsiteY531" fmla="*/ 1161860 h 1332642"/>
                <a:gd name="connsiteX532" fmla="*/ 649891 w 1004887"/>
                <a:gd name="connsiteY532" fmla="*/ 1169480 h 1332642"/>
                <a:gd name="connsiteX533" fmla="*/ 655225 w 1004887"/>
                <a:gd name="connsiteY533" fmla="*/ 1173671 h 1332642"/>
                <a:gd name="connsiteX534" fmla="*/ 661130 w 1004887"/>
                <a:gd name="connsiteY534" fmla="*/ 1182529 h 1332642"/>
                <a:gd name="connsiteX535" fmla="*/ 662940 w 1004887"/>
                <a:gd name="connsiteY535" fmla="*/ 1183862 h 1332642"/>
                <a:gd name="connsiteX536" fmla="*/ 666464 w 1004887"/>
                <a:gd name="connsiteY536" fmla="*/ 1186625 h 1332642"/>
                <a:gd name="connsiteX537" fmla="*/ 671227 w 1004887"/>
                <a:gd name="connsiteY537" fmla="*/ 1198912 h 1332642"/>
                <a:gd name="connsiteX538" fmla="*/ 675989 w 1004887"/>
                <a:gd name="connsiteY538" fmla="*/ 1198245 h 1332642"/>
                <a:gd name="connsiteX539" fmla="*/ 676561 w 1004887"/>
                <a:gd name="connsiteY539" fmla="*/ 1203008 h 1332642"/>
                <a:gd name="connsiteX540" fmla="*/ 681323 w 1004887"/>
                <a:gd name="connsiteY540" fmla="*/ 1202436 h 1332642"/>
                <a:gd name="connsiteX541" fmla="*/ 684848 w 1004887"/>
                <a:gd name="connsiteY541" fmla="*/ 1205198 h 1332642"/>
                <a:gd name="connsiteX542" fmla="*/ 684086 w 1004887"/>
                <a:gd name="connsiteY542" fmla="*/ 1211675 h 1332642"/>
                <a:gd name="connsiteX543" fmla="*/ 681323 w 1004887"/>
                <a:gd name="connsiteY543" fmla="*/ 1215200 h 1332642"/>
                <a:gd name="connsiteX544" fmla="*/ 681323 w 1004887"/>
                <a:gd name="connsiteY544" fmla="*/ 1215200 h 1332642"/>
                <a:gd name="connsiteX545" fmla="*/ 685324 w 1004887"/>
                <a:gd name="connsiteY545" fmla="*/ 1221105 h 1332642"/>
                <a:gd name="connsiteX546" fmla="*/ 690467 w 1004887"/>
                <a:gd name="connsiteY546" fmla="*/ 1236536 h 1332642"/>
                <a:gd name="connsiteX547" fmla="*/ 687705 w 1004887"/>
                <a:gd name="connsiteY547" fmla="*/ 1240060 h 1332642"/>
                <a:gd name="connsiteX548" fmla="*/ 685610 w 1004887"/>
                <a:gd name="connsiteY548" fmla="*/ 1248347 h 1332642"/>
                <a:gd name="connsiteX549" fmla="*/ 691706 w 1004887"/>
                <a:gd name="connsiteY549" fmla="*/ 1258824 h 1332642"/>
                <a:gd name="connsiteX550" fmla="*/ 691896 w 1004887"/>
                <a:gd name="connsiteY550" fmla="*/ 1260348 h 1332642"/>
                <a:gd name="connsiteX551" fmla="*/ 688181 w 1004887"/>
                <a:gd name="connsiteY551" fmla="*/ 1268921 h 1332642"/>
                <a:gd name="connsiteX552" fmla="*/ 686276 w 1004887"/>
                <a:gd name="connsiteY552" fmla="*/ 1278731 h 1332642"/>
                <a:gd name="connsiteX553" fmla="*/ 703802 w 1004887"/>
                <a:gd name="connsiteY553" fmla="*/ 1290923 h 1332642"/>
                <a:gd name="connsiteX554" fmla="*/ 704469 w 1004887"/>
                <a:gd name="connsiteY554" fmla="*/ 1295686 h 1332642"/>
                <a:gd name="connsiteX555" fmla="*/ 709327 w 1004887"/>
                <a:gd name="connsiteY555" fmla="*/ 1296638 h 1332642"/>
                <a:gd name="connsiteX556" fmla="*/ 716661 w 1004887"/>
                <a:gd name="connsiteY556" fmla="*/ 1303687 h 1332642"/>
                <a:gd name="connsiteX557" fmla="*/ 728567 w 1004887"/>
                <a:gd name="connsiteY557" fmla="*/ 1308640 h 1332642"/>
                <a:gd name="connsiteX558" fmla="*/ 734282 w 1004887"/>
                <a:gd name="connsiteY558" fmla="*/ 1315974 h 1332642"/>
                <a:gd name="connsiteX559" fmla="*/ 744569 w 1004887"/>
                <a:gd name="connsiteY559" fmla="*/ 1321022 h 1332642"/>
                <a:gd name="connsiteX560" fmla="*/ 745141 w 1004887"/>
                <a:gd name="connsiteY560" fmla="*/ 1325785 h 1332642"/>
                <a:gd name="connsiteX561" fmla="*/ 753999 w 1004887"/>
                <a:gd name="connsiteY561" fmla="*/ 1332643 h 1332642"/>
                <a:gd name="connsiteX562" fmla="*/ 761905 w 1004887"/>
                <a:gd name="connsiteY562" fmla="*/ 1331690 h 1332642"/>
                <a:gd name="connsiteX563" fmla="*/ 760857 w 1004887"/>
                <a:gd name="connsiteY563" fmla="*/ 1310926 h 1332642"/>
                <a:gd name="connsiteX564" fmla="*/ 762857 w 1004887"/>
                <a:gd name="connsiteY564" fmla="*/ 1301020 h 1332642"/>
                <a:gd name="connsiteX565" fmla="*/ 767810 w 1004887"/>
                <a:gd name="connsiteY565" fmla="*/ 1302068 h 1332642"/>
                <a:gd name="connsiteX566" fmla="*/ 775049 w 1004887"/>
                <a:gd name="connsiteY566" fmla="*/ 1296257 h 1332642"/>
                <a:gd name="connsiteX567" fmla="*/ 779812 w 1004887"/>
                <a:gd name="connsiteY567" fmla="*/ 1295686 h 1332642"/>
                <a:gd name="connsiteX568" fmla="*/ 788861 w 1004887"/>
                <a:gd name="connsiteY568" fmla="*/ 1304163 h 1332642"/>
                <a:gd name="connsiteX569" fmla="*/ 793623 w 1004887"/>
                <a:gd name="connsiteY569" fmla="*/ 1303591 h 1332642"/>
                <a:gd name="connsiteX570" fmla="*/ 792671 w 1004887"/>
                <a:gd name="connsiteY570" fmla="*/ 1295686 h 1332642"/>
                <a:gd name="connsiteX571" fmla="*/ 793623 w 1004887"/>
                <a:gd name="connsiteY571" fmla="*/ 1290733 h 1332642"/>
                <a:gd name="connsiteX572" fmla="*/ 786860 w 1004887"/>
                <a:gd name="connsiteY572" fmla="*/ 1288352 h 1332642"/>
                <a:gd name="connsiteX573" fmla="*/ 782955 w 1004887"/>
                <a:gd name="connsiteY573" fmla="*/ 1282446 h 1332642"/>
                <a:gd name="connsiteX574" fmla="*/ 785051 w 1004887"/>
                <a:gd name="connsiteY574" fmla="*/ 1274159 h 1332642"/>
                <a:gd name="connsiteX575" fmla="*/ 784479 w 1004887"/>
                <a:gd name="connsiteY575" fmla="*/ 1269397 h 1332642"/>
                <a:gd name="connsiteX576" fmla="*/ 789813 w 1004887"/>
                <a:gd name="connsiteY576" fmla="*/ 1260729 h 1332642"/>
                <a:gd name="connsiteX577" fmla="*/ 789146 w 1004887"/>
                <a:gd name="connsiteY577" fmla="*/ 1255966 h 1332642"/>
                <a:gd name="connsiteX578" fmla="*/ 790004 w 1004887"/>
                <a:gd name="connsiteY578" fmla="*/ 1249490 h 1332642"/>
                <a:gd name="connsiteX579" fmla="*/ 788003 w 1004887"/>
                <a:gd name="connsiteY579" fmla="*/ 1246537 h 1332642"/>
                <a:gd name="connsiteX580" fmla="*/ 796195 w 1004887"/>
                <a:gd name="connsiteY580" fmla="*/ 1235869 h 1332642"/>
                <a:gd name="connsiteX581" fmla="*/ 798005 w 1004887"/>
                <a:gd name="connsiteY581" fmla="*/ 1224439 h 1332642"/>
                <a:gd name="connsiteX582" fmla="*/ 807625 w 1004887"/>
                <a:gd name="connsiteY582" fmla="*/ 1211961 h 1332642"/>
                <a:gd name="connsiteX583" fmla="*/ 807244 w 1004887"/>
                <a:gd name="connsiteY583" fmla="*/ 1208818 h 1332642"/>
                <a:gd name="connsiteX584" fmla="*/ 808768 w 1004887"/>
                <a:gd name="connsiteY584" fmla="*/ 1208627 h 1332642"/>
                <a:gd name="connsiteX585" fmla="*/ 810768 w 1004887"/>
                <a:gd name="connsiteY585" fmla="*/ 1211580 h 1332642"/>
                <a:gd name="connsiteX586" fmla="*/ 814102 w 1004887"/>
                <a:gd name="connsiteY586" fmla="*/ 1212723 h 1332642"/>
                <a:gd name="connsiteX587" fmla="*/ 817912 w 1004887"/>
                <a:gd name="connsiteY587" fmla="*/ 1217105 h 1332642"/>
                <a:gd name="connsiteX588" fmla="*/ 830675 w 1004887"/>
                <a:gd name="connsiteY588" fmla="*/ 1204246 h 1332642"/>
                <a:gd name="connsiteX589" fmla="*/ 832866 w 1004887"/>
                <a:gd name="connsiteY589" fmla="*/ 1195959 h 1332642"/>
                <a:gd name="connsiteX590" fmla="*/ 834009 w 1004887"/>
                <a:gd name="connsiteY590" fmla="*/ 1192530 h 1332642"/>
                <a:gd name="connsiteX591" fmla="*/ 833247 w 1004887"/>
                <a:gd name="connsiteY591" fmla="*/ 1186244 h 1332642"/>
                <a:gd name="connsiteX592" fmla="*/ 825341 w 1004887"/>
                <a:gd name="connsiteY592" fmla="*/ 1174433 h 1332642"/>
                <a:gd name="connsiteX593" fmla="*/ 827437 w 1004887"/>
                <a:gd name="connsiteY593" fmla="*/ 1166146 h 1332642"/>
                <a:gd name="connsiteX594" fmla="*/ 825437 w 1004887"/>
                <a:gd name="connsiteY594" fmla="*/ 1163193 h 1332642"/>
                <a:gd name="connsiteX595" fmla="*/ 818388 w 1004887"/>
                <a:gd name="connsiteY595" fmla="*/ 1157669 h 1332642"/>
                <a:gd name="connsiteX596" fmla="*/ 815531 w 1004887"/>
                <a:gd name="connsiteY596" fmla="*/ 1148429 h 1332642"/>
                <a:gd name="connsiteX597" fmla="*/ 815340 w 1004887"/>
                <a:gd name="connsiteY597" fmla="*/ 1146810 h 1332642"/>
                <a:gd name="connsiteX598" fmla="*/ 826199 w 1004887"/>
                <a:gd name="connsiteY598" fmla="*/ 1143857 h 1332642"/>
                <a:gd name="connsiteX599" fmla="*/ 827342 w 1004887"/>
                <a:gd name="connsiteY599" fmla="*/ 1140524 h 1332642"/>
                <a:gd name="connsiteX600" fmla="*/ 825818 w 1004887"/>
                <a:gd name="connsiteY600" fmla="*/ 1127855 h 1332642"/>
                <a:gd name="connsiteX601" fmla="*/ 822389 w 1004887"/>
                <a:gd name="connsiteY601" fmla="*/ 1126712 h 1332642"/>
                <a:gd name="connsiteX602" fmla="*/ 823436 w 1004887"/>
                <a:gd name="connsiteY602" fmla="*/ 1121759 h 1332642"/>
                <a:gd name="connsiteX603" fmla="*/ 824579 w 1004887"/>
                <a:gd name="connsiteY603" fmla="*/ 1118426 h 1332642"/>
                <a:gd name="connsiteX604" fmla="*/ 824389 w 1004887"/>
                <a:gd name="connsiteY604" fmla="*/ 1116806 h 1332642"/>
                <a:gd name="connsiteX605" fmla="*/ 826675 w 1004887"/>
                <a:gd name="connsiteY605" fmla="*/ 1110139 h 1332642"/>
                <a:gd name="connsiteX606" fmla="*/ 829723 w 1004887"/>
                <a:gd name="connsiteY606" fmla="*/ 1108139 h 1332642"/>
                <a:gd name="connsiteX607" fmla="*/ 831056 w 1004887"/>
                <a:gd name="connsiteY607" fmla="*/ 1106329 h 1332642"/>
                <a:gd name="connsiteX608" fmla="*/ 829056 w 1004887"/>
                <a:gd name="connsiteY608" fmla="*/ 1103376 h 1332642"/>
                <a:gd name="connsiteX609" fmla="*/ 822389 w 1004887"/>
                <a:gd name="connsiteY609" fmla="*/ 1100995 h 1332642"/>
                <a:gd name="connsiteX610" fmla="*/ 822198 w 1004887"/>
                <a:gd name="connsiteY610" fmla="*/ 1099471 h 1332642"/>
                <a:gd name="connsiteX611" fmla="*/ 823532 w 1004887"/>
                <a:gd name="connsiteY611" fmla="*/ 1097661 h 1332642"/>
                <a:gd name="connsiteX612" fmla="*/ 836581 w 1004887"/>
                <a:gd name="connsiteY612" fmla="*/ 1099185 h 1332642"/>
                <a:gd name="connsiteX613" fmla="*/ 836771 w 1004887"/>
                <a:gd name="connsiteY613" fmla="*/ 1100804 h 1332642"/>
                <a:gd name="connsiteX614" fmla="*/ 833819 w 1004887"/>
                <a:gd name="connsiteY614" fmla="*/ 1102805 h 1332642"/>
                <a:gd name="connsiteX615" fmla="*/ 842296 w 1004887"/>
                <a:gd name="connsiteY615" fmla="*/ 1106519 h 1332642"/>
                <a:gd name="connsiteX616" fmla="*/ 847058 w 1004887"/>
                <a:gd name="connsiteY616" fmla="*/ 1105948 h 1332642"/>
                <a:gd name="connsiteX617" fmla="*/ 849059 w 1004887"/>
                <a:gd name="connsiteY617" fmla="*/ 1108901 h 1332642"/>
                <a:gd name="connsiteX618" fmla="*/ 850964 w 1004887"/>
                <a:gd name="connsiteY618" fmla="*/ 1111853 h 1332642"/>
                <a:gd name="connsiteX619" fmla="*/ 861060 w 1004887"/>
                <a:gd name="connsiteY619" fmla="*/ 1102519 h 1332642"/>
                <a:gd name="connsiteX620" fmla="*/ 862013 w 1004887"/>
                <a:gd name="connsiteY620" fmla="*/ 1097566 h 1332642"/>
                <a:gd name="connsiteX621" fmla="*/ 866966 w 1004887"/>
                <a:gd name="connsiteY621" fmla="*/ 1098518 h 1332642"/>
                <a:gd name="connsiteX622" fmla="*/ 869918 w 1004887"/>
                <a:gd name="connsiteY622" fmla="*/ 1096613 h 1332642"/>
                <a:gd name="connsiteX623" fmla="*/ 869537 w 1004887"/>
                <a:gd name="connsiteY623" fmla="*/ 1093470 h 1332642"/>
                <a:gd name="connsiteX624" fmla="*/ 872490 w 1004887"/>
                <a:gd name="connsiteY624" fmla="*/ 1091470 h 1332642"/>
                <a:gd name="connsiteX625" fmla="*/ 871823 w 1004887"/>
                <a:gd name="connsiteY625" fmla="*/ 1086707 h 1332642"/>
                <a:gd name="connsiteX626" fmla="*/ 879920 w 1004887"/>
                <a:gd name="connsiteY626" fmla="*/ 1087279 h 1332642"/>
                <a:gd name="connsiteX627" fmla="*/ 884301 w 1004887"/>
                <a:gd name="connsiteY627" fmla="*/ 1083564 h 1332642"/>
                <a:gd name="connsiteX628" fmla="*/ 886016 w 1004887"/>
                <a:gd name="connsiteY628" fmla="*/ 1084898 h 1332642"/>
                <a:gd name="connsiteX629" fmla="*/ 888778 w 1004887"/>
                <a:gd name="connsiteY629" fmla="*/ 1081373 h 1332642"/>
                <a:gd name="connsiteX630" fmla="*/ 892397 w 1004887"/>
                <a:gd name="connsiteY630" fmla="*/ 1084136 h 1332642"/>
                <a:gd name="connsiteX631" fmla="*/ 893921 w 1004887"/>
                <a:gd name="connsiteY631" fmla="*/ 1083850 h 1332642"/>
                <a:gd name="connsiteX632" fmla="*/ 894588 w 1004887"/>
                <a:gd name="connsiteY632" fmla="*/ 1088612 h 1332642"/>
                <a:gd name="connsiteX633" fmla="*/ 895731 w 1004887"/>
                <a:gd name="connsiteY633" fmla="*/ 1085279 h 1332642"/>
                <a:gd name="connsiteX634" fmla="*/ 898493 w 1004887"/>
                <a:gd name="connsiteY634" fmla="*/ 1081754 h 1332642"/>
                <a:gd name="connsiteX635" fmla="*/ 898303 w 1004887"/>
                <a:gd name="connsiteY635" fmla="*/ 1080135 h 1332642"/>
                <a:gd name="connsiteX636" fmla="*/ 895350 w 1004887"/>
                <a:gd name="connsiteY636" fmla="*/ 1082135 h 1332642"/>
                <a:gd name="connsiteX637" fmla="*/ 895160 w 1004887"/>
                <a:gd name="connsiteY637" fmla="*/ 1080516 h 1332642"/>
                <a:gd name="connsiteX638" fmla="*/ 893731 w 1004887"/>
                <a:gd name="connsiteY638" fmla="*/ 1082326 h 1332642"/>
                <a:gd name="connsiteX639" fmla="*/ 891731 w 1004887"/>
                <a:gd name="connsiteY639" fmla="*/ 1079373 h 1332642"/>
                <a:gd name="connsiteX640" fmla="*/ 896302 w 1004887"/>
                <a:gd name="connsiteY640" fmla="*/ 1077182 h 1332642"/>
                <a:gd name="connsiteX641" fmla="*/ 896112 w 1004887"/>
                <a:gd name="connsiteY641" fmla="*/ 1075563 h 1332642"/>
                <a:gd name="connsiteX642" fmla="*/ 895445 w 1004887"/>
                <a:gd name="connsiteY642" fmla="*/ 1058037 h 1332642"/>
                <a:gd name="connsiteX643" fmla="*/ 902303 w 1004887"/>
                <a:gd name="connsiteY643" fmla="*/ 1049179 h 1332642"/>
                <a:gd name="connsiteX644" fmla="*/ 905542 w 1004887"/>
                <a:gd name="connsiteY644" fmla="*/ 1048703 h 1332642"/>
                <a:gd name="connsiteX645" fmla="*/ 910685 w 1004887"/>
                <a:gd name="connsiteY645" fmla="*/ 1051274 h 1332642"/>
                <a:gd name="connsiteX646" fmla="*/ 914972 w 1004887"/>
                <a:gd name="connsiteY646" fmla="*/ 1047560 h 1332642"/>
                <a:gd name="connsiteX647" fmla="*/ 912400 w 1004887"/>
                <a:gd name="connsiteY647" fmla="*/ 1039844 h 1332642"/>
                <a:gd name="connsiteX648" fmla="*/ 911352 w 1004887"/>
                <a:gd name="connsiteY648" fmla="*/ 1031939 h 1332642"/>
                <a:gd name="connsiteX649" fmla="*/ 908018 w 1004887"/>
                <a:gd name="connsiteY649" fmla="*/ 1030795 h 1332642"/>
                <a:gd name="connsiteX650" fmla="*/ 909161 w 1004887"/>
                <a:gd name="connsiteY650" fmla="*/ 1027462 h 1332642"/>
                <a:gd name="connsiteX651" fmla="*/ 907637 w 1004887"/>
                <a:gd name="connsiteY651" fmla="*/ 1027652 h 1332642"/>
                <a:gd name="connsiteX652" fmla="*/ 899351 w 1004887"/>
                <a:gd name="connsiteY652" fmla="*/ 1025461 h 1332642"/>
                <a:gd name="connsiteX653" fmla="*/ 899732 w 1004887"/>
                <a:gd name="connsiteY653" fmla="*/ 1015841 h 1332642"/>
                <a:gd name="connsiteX654" fmla="*/ 896969 w 1004887"/>
                <a:gd name="connsiteY654" fmla="*/ 1019365 h 1332642"/>
                <a:gd name="connsiteX655" fmla="*/ 896112 w 1004887"/>
                <a:gd name="connsiteY655" fmla="*/ 1013079 h 1332642"/>
                <a:gd name="connsiteX656" fmla="*/ 897731 w 1004887"/>
                <a:gd name="connsiteY656" fmla="*/ 1012889 h 1332642"/>
                <a:gd name="connsiteX657" fmla="*/ 894588 w 1004887"/>
                <a:gd name="connsiteY657" fmla="*/ 1013270 h 1332642"/>
                <a:gd name="connsiteX658" fmla="*/ 893921 w 1004887"/>
                <a:gd name="connsiteY658" fmla="*/ 1008507 h 1332642"/>
                <a:gd name="connsiteX659" fmla="*/ 895350 w 1004887"/>
                <a:gd name="connsiteY659" fmla="*/ 1006697 h 1332642"/>
                <a:gd name="connsiteX660" fmla="*/ 898684 w 1004887"/>
                <a:gd name="connsiteY660" fmla="*/ 1007936 h 1332642"/>
                <a:gd name="connsiteX661" fmla="*/ 898303 w 1004887"/>
                <a:gd name="connsiteY661" fmla="*/ 1004792 h 1332642"/>
                <a:gd name="connsiteX662" fmla="*/ 896493 w 1004887"/>
                <a:gd name="connsiteY662" fmla="*/ 1003364 h 1332642"/>
                <a:gd name="connsiteX663" fmla="*/ 902208 w 1004887"/>
                <a:gd name="connsiteY663" fmla="*/ 997839 h 1332642"/>
                <a:gd name="connsiteX664" fmla="*/ 908971 w 1004887"/>
                <a:gd name="connsiteY664" fmla="*/ 1000220 h 1332642"/>
                <a:gd name="connsiteX665" fmla="*/ 908114 w 1004887"/>
                <a:gd name="connsiteY665" fmla="*/ 993839 h 1332642"/>
                <a:gd name="connsiteX666" fmla="*/ 906399 w 1004887"/>
                <a:gd name="connsiteY666" fmla="*/ 992505 h 1332642"/>
                <a:gd name="connsiteX667" fmla="*/ 907352 w 1004887"/>
                <a:gd name="connsiteY667" fmla="*/ 987552 h 1332642"/>
                <a:gd name="connsiteX668" fmla="*/ 912495 w 1004887"/>
                <a:gd name="connsiteY668" fmla="*/ 990124 h 1332642"/>
                <a:gd name="connsiteX669" fmla="*/ 912686 w 1004887"/>
                <a:gd name="connsiteY669" fmla="*/ 991743 h 1332642"/>
                <a:gd name="connsiteX670" fmla="*/ 919163 w 1004887"/>
                <a:gd name="connsiteY670" fmla="*/ 992505 h 1332642"/>
                <a:gd name="connsiteX671" fmla="*/ 920782 w 1004887"/>
                <a:gd name="connsiteY671" fmla="*/ 992315 h 1332642"/>
                <a:gd name="connsiteX672" fmla="*/ 916781 w 1004887"/>
                <a:gd name="connsiteY672" fmla="*/ 986314 h 1332642"/>
                <a:gd name="connsiteX673" fmla="*/ 916591 w 1004887"/>
                <a:gd name="connsiteY673" fmla="*/ 984790 h 1332642"/>
                <a:gd name="connsiteX674" fmla="*/ 923639 w 1004887"/>
                <a:gd name="connsiteY674" fmla="*/ 977456 h 1332642"/>
                <a:gd name="connsiteX675" fmla="*/ 926878 w 1004887"/>
                <a:gd name="connsiteY675" fmla="*/ 977074 h 1332642"/>
                <a:gd name="connsiteX676" fmla="*/ 924877 w 1004887"/>
                <a:gd name="connsiteY676" fmla="*/ 974122 h 1332642"/>
                <a:gd name="connsiteX677" fmla="*/ 921925 w 1004887"/>
                <a:gd name="connsiteY677" fmla="*/ 976122 h 1332642"/>
                <a:gd name="connsiteX678" fmla="*/ 912209 w 1004887"/>
                <a:gd name="connsiteY678" fmla="*/ 975741 h 1332642"/>
                <a:gd name="connsiteX679" fmla="*/ 910495 w 1004887"/>
                <a:gd name="connsiteY679" fmla="*/ 974312 h 1332642"/>
                <a:gd name="connsiteX680" fmla="*/ 907256 w 1004887"/>
                <a:gd name="connsiteY680" fmla="*/ 974789 h 1332642"/>
                <a:gd name="connsiteX681" fmla="*/ 904304 w 1004887"/>
                <a:gd name="connsiteY681" fmla="*/ 963930 h 1332642"/>
                <a:gd name="connsiteX682" fmla="*/ 904685 w 1004887"/>
                <a:gd name="connsiteY682" fmla="*/ 954215 h 1332642"/>
                <a:gd name="connsiteX683" fmla="*/ 901160 w 1004887"/>
                <a:gd name="connsiteY683" fmla="*/ 951452 h 1332642"/>
                <a:gd name="connsiteX684" fmla="*/ 902494 w 1004887"/>
                <a:gd name="connsiteY684" fmla="*/ 949738 h 1332642"/>
                <a:gd name="connsiteX685" fmla="*/ 909066 w 1004887"/>
                <a:gd name="connsiteY685" fmla="*/ 950500 h 1332642"/>
                <a:gd name="connsiteX686" fmla="*/ 913543 w 1004887"/>
                <a:gd name="connsiteY686" fmla="*/ 948309 h 1332642"/>
                <a:gd name="connsiteX687" fmla="*/ 917353 w 1004887"/>
                <a:gd name="connsiteY687" fmla="*/ 952595 h 1332642"/>
                <a:gd name="connsiteX688" fmla="*/ 920496 w 1004887"/>
                <a:gd name="connsiteY688" fmla="*/ 952214 h 1332642"/>
                <a:gd name="connsiteX689" fmla="*/ 923639 w 1004887"/>
                <a:gd name="connsiteY689" fmla="*/ 951833 h 1332642"/>
                <a:gd name="connsiteX690" fmla="*/ 924401 w 1004887"/>
                <a:gd name="connsiteY690" fmla="*/ 945261 h 1332642"/>
                <a:gd name="connsiteX691" fmla="*/ 927354 w 1004887"/>
                <a:gd name="connsiteY691" fmla="*/ 943356 h 1332642"/>
                <a:gd name="connsiteX692" fmla="*/ 928116 w 1004887"/>
                <a:gd name="connsiteY692" fmla="*/ 936784 h 1332642"/>
                <a:gd name="connsiteX693" fmla="*/ 924782 w 1004887"/>
                <a:gd name="connsiteY693" fmla="*/ 935641 h 1332642"/>
                <a:gd name="connsiteX694" fmla="*/ 921639 w 1004887"/>
                <a:gd name="connsiteY694" fmla="*/ 936022 h 1332642"/>
                <a:gd name="connsiteX695" fmla="*/ 917448 w 1004887"/>
                <a:gd name="connsiteY695" fmla="*/ 928497 h 1332642"/>
                <a:gd name="connsiteX696" fmla="*/ 919067 w 1004887"/>
                <a:gd name="connsiteY696" fmla="*/ 928307 h 1332642"/>
                <a:gd name="connsiteX697" fmla="*/ 922020 w 1004887"/>
                <a:gd name="connsiteY697" fmla="*/ 926402 h 1332642"/>
                <a:gd name="connsiteX698" fmla="*/ 918972 w 1004887"/>
                <a:gd name="connsiteY698" fmla="*/ 915543 h 1332642"/>
                <a:gd name="connsiteX699" fmla="*/ 927449 w 1004887"/>
                <a:gd name="connsiteY699" fmla="*/ 919258 h 1332642"/>
                <a:gd name="connsiteX700" fmla="*/ 929450 w 1004887"/>
                <a:gd name="connsiteY700" fmla="*/ 909352 h 1332642"/>
                <a:gd name="connsiteX701" fmla="*/ 934022 w 1004887"/>
                <a:gd name="connsiteY701" fmla="*/ 907161 h 1332642"/>
                <a:gd name="connsiteX702" fmla="*/ 937165 w 1004887"/>
                <a:gd name="connsiteY702" fmla="*/ 906780 h 1332642"/>
                <a:gd name="connsiteX703" fmla="*/ 938117 w 1004887"/>
                <a:gd name="connsiteY703" fmla="*/ 901827 h 1332642"/>
                <a:gd name="connsiteX704" fmla="*/ 942594 w 1004887"/>
                <a:gd name="connsiteY704" fmla="*/ 899636 h 1332642"/>
                <a:gd name="connsiteX705" fmla="*/ 950976 w 1004887"/>
                <a:gd name="connsiteY705" fmla="*/ 901827 h 1332642"/>
                <a:gd name="connsiteX706" fmla="*/ 952310 w 1004887"/>
                <a:gd name="connsiteY706" fmla="*/ 900017 h 1332642"/>
                <a:gd name="connsiteX707" fmla="*/ 953452 w 1004887"/>
                <a:gd name="connsiteY707" fmla="*/ 896683 h 1332642"/>
                <a:gd name="connsiteX708" fmla="*/ 950881 w 1004887"/>
                <a:gd name="connsiteY708" fmla="*/ 888968 h 1332642"/>
                <a:gd name="connsiteX709" fmla="*/ 954024 w 1004887"/>
                <a:gd name="connsiteY709" fmla="*/ 888587 h 1332642"/>
                <a:gd name="connsiteX710" fmla="*/ 952119 w 1004887"/>
                <a:gd name="connsiteY710" fmla="*/ 885635 h 1332642"/>
                <a:gd name="connsiteX711" fmla="*/ 954405 w 1004887"/>
                <a:gd name="connsiteY711" fmla="*/ 878967 h 1332642"/>
                <a:gd name="connsiteX712" fmla="*/ 958120 w 1004887"/>
                <a:gd name="connsiteY712" fmla="*/ 870395 h 1332642"/>
                <a:gd name="connsiteX713" fmla="*/ 966026 w 1004887"/>
                <a:gd name="connsiteY713" fmla="*/ 869442 h 1332642"/>
                <a:gd name="connsiteX714" fmla="*/ 964311 w 1004887"/>
                <a:gd name="connsiteY714" fmla="*/ 868013 h 1332642"/>
                <a:gd name="connsiteX715" fmla="*/ 963263 w 1004887"/>
                <a:gd name="connsiteY715" fmla="*/ 860203 h 1332642"/>
                <a:gd name="connsiteX716" fmla="*/ 960692 w 1004887"/>
                <a:gd name="connsiteY716" fmla="*/ 865251 h 1332642"/>
                <a:gd name="connsiteX717" fmla="*/ 958977 w 1004887"/>
                <a:gd name="connsiteY717" fmla="*/ 863918 h 1332642"/>
                <a:gd name="connsiteX718" fmla="*/ 963073 w 1004887"/>
                <a:gd name="connsiteY718" fmla="*/ 858583 h 1332642"/>
                <a:gd name="connsiteX719" fmla="*/ 964597 w 1004887"/>
                <a:gd name="connsiteY719" fmla="*/ 858393 h 1332642"/>
                <a:gd name="connsiteX720" fmla="*/ 964216 w 1004887"/>
                <a:gd name="connsiteY720" fmla="*/ 855250 h 1332642"/>
                <a:gd name="connsiteX721" fmla="*/ 967550 w 1004887"/>
                <a:gd name="connsiteY721" fmla="*/ 856393 h 1332642"/>
                <a:gd name="connsiteX722" fmla="*/ 965645 w 1004887"/>
                <a:gd name="connsiteY722" fmla="*/ 853440 h 1332642"/>
                <a:gd name="connsiteX723" fmla="*/ 966407 w 1004887"/>
                <a:gd name="connsiteY723" fmla="*/ 846963 h 1332642"/>
                <a:gd name="connsiteX724" fmla="*/ 963073 w 1004887"/>
                <a:gd name="connsiteY724" fmla="*/ 845725 h 1332642"/>
                <a:gd name="connsiteX725" fmla="*/ 964216 w 1004887"/>
                <a:gd name="connsiteY725" fmla="*/ 842391 h 1332642"/>
                <a:gd name="connsiteX726" fmla="*/ 961263 w 1004887"/>
                <a:gd name="connsiteY726" fmla="*/ 844391 h 1332642"/>
                <a:gd name="connsiteX727" fmla="*/ 957453 w 1004887"/>
                <a:gd name="connsiteY727" fmla="*/ 840010 h 1332642"/>
                <a:gd name="connsiteX728" fmla="*/ 954310 w 1004887"/>
                <a:gd name="connsiteY728" fmla="*/ 840486 h 1332642"/>
                <a:gd name="connsiteX729" fmla="*/ 954119 w 1004887"/>
                <a:gd name="connsiteY729" fmla="*/ 838867 h 1332642"/>
                <a:gd name="connsiteX730" fmla="*/ 957263 w 1004887"/>
                <a:gd name="connsiteY730" fmla="*/ 838486 h 1332642"/>
                <a:gd name="connsiteX731" fmla="*/ 953929 w 1004887"/>
                <a:gd name="connsiteY731" fmla="*/ 837343 h 1332642"/>
                <a:gd name="connsiteX732" fmla="*/ 956882 w 1004887"/>
                <a:gd name="connsiteY732" fmla="*/ 835343 h 1332642"/>
                <a:gd name="connsiteX733" fmla="*/ 954881 w 1004887"/>
                <a:gd name="connsiteY733" fmla="*/ 832390 h 1332642"/>
                <a:gd name="connsiteX734" fmla="*/ 949357 w 1004887"/>
                <a:gd name="connsiteY734" fmla="*/ 826675 h 1332642"/>
                <a:gd name="connsiteX735" fmla="*/ 950309 w 1004887"/>
                <a:gd name="connsiteY735" fmla="*/ 821722 h 1332642"/>
                <a:gd name="connsiteX736" fmla="*/ 946404 w 1004887"/>
                <a:gd name="connsiteY736" fmla="*/ 815816 h 1332642"/>
                <a:gd name="connsiteX737" fmla="*/ 947738 w 1004887"/>
                <a:gd name="connsiteY737" fmla="*/ 814007 h 1332642"/>
                <a:gd name="connsiteX738" fmla="*/ 946214 w 1004887"/>
                <a:gd name="connsiteY738" fmla="*/ 814197 h 1332642"/>
                <a:gd name="connsiteX739" fmla="*/ 947547 w 1004887"/>
                <a:gd name="connsiteY739" fmla="*/ 812482 h 1332642"/>
                <a:gd name="connsiteX740" fmla="*/ 946023 w 1004887"/>
                <a:gd name="connsiteY740" fmla="*/ 812673 h 1332642"/>
                <a:gd name="connsiteX741" fmla="*/ 945547 w 1004887"/>
                <a:gd name="connsiteY741" fmla="*/ 809530 h 1332642"/>
                <a:gd name="connsiteX742" fmla="*/ 947166 w 1004887"/>
                <a:gd name="connsiteY742" fmla="*/ 809244 h 1332642"/>
                <a:gd name="connsiteX743" fmla="*/ 951071 w 1004887"/>
                <a:gd name="connsiteY743" fmla="*/ 802386 h 1332642"/>
                <a:gd name="connsiteX744" fmla="*/ 949357 w 1004887"/>
                <a:gd name="connsiteY744" fmla="*/ 800957 h 1332642"/>
                <a:gd name="connsiteX745" fmla="*/ 948500 w 1004887"/>
                <a:gd name="connsiteY745" fmla="*/ 794671 h 1332642"/>
                <a:gd name="connsiteX746" fmla="*/ 951071 w 1004887"/>
                <a:gd name="connsiteY746" fmla="*/ 789527 h 1332642"/>
                <a:gd name="connsiteX747" fmla="*/ 949262 w 1004887"/>
                <a:gd name="connsiteY747" fmla="*/ 788194 h 1332642"/>
                <a:gd name="connsiteX748" fmla="*/ 952405 w 1004887"/>
                <a:gd name="connsiteY748" fmla="*/ 787813 h 1332642"/>
                <a:gd name="connsiteX749" fmla="*/ 956405 w 1004887"/>
                <a:gd name="connsiteY749" fmla="*/ 780860 h 1332642"/>
                <a:gd name="connsiteX750" fmla="*/ 957929 w 1004887"/>
                <a:gd name="connsiteY750" fmla="*/ 780669 h 1332642"/>
                <a:gd name="connsiteX751" fmla="*/ 956120 w 1004887"/>
                <a:gd name="connsiteY751" fmla="*/ 779240 h 1332642"/>
                <a:gd name="connsiteX752" fmla="*/ 958691 w 1004887"/>
                <a:gd name="connsiteY752" fmla="*/ 774097 h 1332642"/>
                <a:gd name="connsiteX753" fmla="*/ 965264 w 1004887"/>
                <a:gd name="connsiteY753" fmla="*/ 774954 h 1332642"/>
                <a:gd name="connsiteX754" fmla="*/ 968407 w 1004887"/>
                <a:gd name="connsiteY754" fmla="*/ 774478 h 1332642"/>
                <a:gd name="connsiteX755" fmla="*/ 968216 w 1004887"/>
                <a:gd name="connsiteY755" fmla="*/ 772954 h 1332642"/>
                <a:gd name="connsiteX756" fmla="*/ 960120 w 1004887"/>
                <a:gd name="connsiteY756" fmla="*/ 772382 h 1332642"/>
                <a:gd name="connsiteX757" fmla="*/ 958120 w 1004887"/>
                <a:gd name="connsiteY757" fmla="*/ 769430 h 1332642"/>
                <a:gd name="connsiteX758" fmla="*/ 961263 w 1004887"/>
                <a:gd name="connsiteY758" fmla="*/ 769049 h 1332642"/>
                <a:gd name="connsiteX759" fmla="*/ 961073 w 1004887"/>
                <a:gd name="connsiteY759" fmla="*/ 767429 h 1332642"/>
                <a:gd name="connsiteX760" fmla="*/ 957929 w 1004887"/>
                <a:gd name="connsiteY760" fmla="*/ 767810 h 1332642"/>
                <a:gd name="connsiteX761" fmla="*/ 957548 w 1004887"/>
                <a:gd name="connsiteY761" fmla="*/ 764667 h 1332642"/>
                <a:gd name="connsiteX762" fmla="*/ 955739 w 1004887"/>
                <a:gd name="connsiteY762" fmla="*/ 763333 h 1332642"/>
                <a:gd name="connsiteX763" fmla="*/ 955358 w 1004887"/>
                <a:gd name="connsiteY763" fmla="*/ 760190 h 1332642"/>
                <a:gd name="connsiteX764" fmla="*/ 953738 w 1004887"/>
                <a:gd name="connsiteY764" fmla="*/ 760381 h 1332642"/>
                <a:gd name="connsiteX765" fmla="*/ 951548 w 1004887"/>
                <a:gd name="connsiteY765" fmla="*/ 755809 h 1332642"/>
                <a:gd name="connsiteX766" fmla="*/ 949833 w 1004887"/>
                <a:gd name="connsiteY766" fmla="*/ 754380 h 1332642"/>
                <a:gd name="connsiteX767" fmla="*/ 950976 w 1004887"/>
                <a:gd name="connsiteY767" fmla="*/ 751046 h 1332642"/>
                <a:gd name="connsiteX768" fmla="*/ 950595 w 1004887"/>
                <a:gd name="connsiteY768" fmla="*/ 747903 h 1332642"/>
                <a:gd name="connsiteX769" fmla="*/ 951929 w 1004887"/>
                <a:gd name="connsiteY769" fmla="*/ 746093 h 1332642"/>
                <a:gd name="connsiteX770" fmla="*/ 948595 w 1004887"/>
                <a:gd name="connsiteY770" fmla="*/ 744950 h 1332642"/>
                <a:gd name="connsiteX771" fmla="*/ 949547 w 1004887"/>
                <a:gd name="connsiteY771" fmla="*/ 739997 h 1332642"/>
                <a:gd name="connsiteX772" fmla="*/ 952500 w 1004887"/>
                <a:gd name="connsiteY772" fmla="*/ 738092 h 1332642"/>
                <a:gd name="connsiteX773" fmla="*/ 950119 w 1004887"/>
                <a:gd name="connsiteY773" fmla="*/ 731901 h 1332642"/>
                <a:gd name="connsiteX774" fmla="*/ 951357 w 1004887"/>
                <a:gd name="connsiteY774" fmla="*/ 728567 h 1332642"/>
                <a:gd name="connsiteX775" fmla="*/ 948119 w 1004887"/>
                <a:gd name="connsiteY775" fmla="*/ 728948 h 1332642"/>
                <a:gd name="connsiteX776" fmla="*/ 950881 w 1004887"/>
                <a:gd name="connsiteY776" fmla="*/ 725424 h 1332642"/>
                <a:gd name="connsiteX777" fmla="*/ 950500 w 1004887"/>
                <a:gd name="connsiteY777" fmla="*/ 722281 h 1332642"/>
                <a:gd name="connsiteX778" fmla="*/ 948881 w 1004887"/>
                <a:gd name="connsiteY778" fmla="*/ 722471 h 1332642"/>
                <a:gd name="connsiteX779" fmla="*/ 947738 w 1004887"/>
                <a:gd name="connsiteY779" fmla="*/ 725805 h 1332642"/>
                <a:gd name="connsiteX780" fmla="*/ 948881 w 1004887"/>
                <a:gd name="connsiteY780" fmla="*/ 722471 h 1332642"/>
                <a:gd name="connsiteX781" fmla="*/ 946976 w 1004887"/>
                <a:gd name="connsiteY781" fmla="*/ 719519 h 1332642"/>
                <a:gd name="connsiteX782" fmla="*/ 953452 w 1004887"/>
                <a:gd name="connsiteY782" fmla="*/ 720281 h 1332642"/>
                <a:gd name="connsiteX783" fmla="*/ 953262 w 1004887"/>
                <a:gd name="connsiteY783" fmla="*/ 718757 h 1332642"/>
                <a:gd name="connsiteX784" fmla="*/ 946785 w 1004887"/>
                <a:gd name="connsiteY784" fmla="*/ 717899 h 1332642"/>
                <a:gd name="connsiteX785" fmla="*/ 946976 w 1004887"/>
                <a:gd name="connsiteY785" fmla="*/ 719519 h 1332642"/>
                <a:gd name="connsiteX786" fmla="*/ 946785 w 1004887"/>
                <a:gd name="connsiteY786" fmla="*/ 717899 h 1332642"/>
                <a:gd name="connsiteX787" fmla="*/ 943547 w 1004887"/>
                <a:gd name="connsiteY787" fmla="*/ 718376 h 1332642"/>
                <a:gd name="connsiteX788" fmla="*/ 940213 w 1004887"/>
                <a:gd name="connsiteY788" fmla="*/ 717137 h 1332642"/>
                <a:gd name="connsiteX789" fmla="*/ 939451 w 1004887"/>
                <a:gd name="connsiteY789" fmla="*/ 710851 h 1332642"/>
                <a:gd name="connsiteX790" fmla="*/ 940784 w 1004887"/>
                <a:gd name="connsiteY790" fmla="*/ 709041 h 1332642"/>
                <a:gd name="connsiteX791" fmla="*/ 938784 w 1004887"/>
                <a:gd name="connsiteY791" fmla="*/ 706088 h 1332642"/>
                <a:gd name="connsiteX792" fmla="*/ 942023 w 1004887"/>
                <a:gd name="connsiteY792" fmla="*/ 705707 h 1332642"/>
                <a:gd name="connsiteX793" fmla="*/ 943166 w 1004887"/>
                <a:gd name="connsiteY793" fmla="*/ 702374 h 1332642"/>
                <a:gd name="connsiteX794" fmla="*/ 946499 w 1004887"/>
                <a:gd name="connsiteY794" fmla="*/ 703516 h 1332642"/>
                <a:gd name="connsiteX795" fmla="*/ 947738 w 1004887"/>
                <a:gd name="connsiteY795" fmla="*/ 700183 h 1332642"/>
                <a:gd name="connsiteX796" fmla="*/ 947261 w 1004887"/>
                <a:gd name="connsiteY796" fmla="*/ 697040 h 1332642"/>
                <a:gd name="connsiteX797" fmla="*/ 942118 w 1004887"/>
                <a:gd name="connsiteY797" fmla="*/ 694468 h 1332642"/>
                <a:gd name="connsiteX798" fmla="*/ 943356 w 1004887"/>
                <a:gd name="connsiteY798" fmla="*/ 691134 h 1332642"/>
                <a:gd name="connsiteX799" fmla="*/ 947642 w 1004887"/>
                <a:gd name="connsiteY799" fmla="*/ 687324 h 1332642"/>
                <a:gd name="connsiteX800" fmla="*/ 948881 w 1004887"/>
                <a:gd name="connsiteY800" fmla="*/ 683990 h 1332642"/>
                <a:gd name="connsiteX801" fmla="*/ 952214 w 1004887"/>
                <a:gd name="connsiteY801" fmla="*/ 685133 h 1332642"/>
                <a:gd name="connsiteX802" fmla="*/ 952976 w 1004887"/>
                <a:gd name="connsiteY802" fmla="*/ 678656 h 1332642"/>
                <a:gd name="connsiteX803" fmla="*/ 954310 w 1004887"/>
                <a:gd name="connsiteY803" fmla="*/ 676847 h 1332642"/>
                <a:gd name="connsiteX804" fmla="*/ 956120 w 1004887"/>
                <a:gd name="connsiteY804" fmla="*/ 665416 h 1332642"/>
                <a:gd name="connsiteX805" fmla="*/ 956691 w 1004887"/>
                <a:gd name="connsiteY805" fmla="*/ 657320 h 1332642"/>
                <a:gd name="connsiteX806" fmla="*/ 951548 w 1004887"/>
                <a:gd name="connsiteY806" fmla="*/ 654749 h 1332642"/>
                <a:gd name="connsiteX807" fmla="*/ 952119 w 1004887"/>
                <a:gd name="connsiteY807" fmla="*/ 646652 h 1332642"/>
                <a:gd name="connsiteX808" fmla="*/ 941642 w 1004887"/>
                <a:gd name="connsiteY808" fmla="*/ 639985 h 1332642"/>
                <a:gd name="connsiteX809" fmla="*/ 938498 w 1004887"/>
                <a:gd name="connsiteY809" fmla="*/ 640366 h 1332642"/>
                <a:gd name="connsiteX810" fmla="*/ 933164 w 1004887"/>
                <a:gd name="connsiteY810" fmla="*/ 649129 h 1332642"/>
                <a:gd name="connsiteX811" fmla="*/ 931355 w 1004887"/>
                <a:gd name="connsiteY811" fmla="*/ 647700 h 1332642"/>
                <a:gd name="connsiteX812" fmla="*/ 935736 w 1004887"/>
                <a:gd name="connsiteY812" fmla="*/ 643985 h 1332642"/>
                <a:gd name="connsiteX813" fmla="*/ 937451 w 1004887"/>
                <a:gd name="connsiteY813" fmla="*/ 632555 h 1332642"/>
                <a:gd name="connsiteX814" fmla="*/ 935450 w 1004887"/>
                <a:gd name="connsiteY814" fmla="*/ 629603 h 1332642"/>
                <a:gd name="connsiteX815" fmla="*/ 933736 w 1004887"/>
                <a:gd name="connsiteY815" fmla="*/ 628174 h 1332642"/>
                <a:gd name="connsiteX816" fmla="*/ 936403 w 1004887"/>
                <a:gd name="connsiteY816" fmla="*/ 611791 h 1332642"/>
                <a:gd name="connsiteX817" fmla="*/ 933641 w 1004887"/>
                <a:gd name="connsiteY817" fmla="*/ 602552 h 1332642"/>
                <a:gd name="connsiteX818" fmla="*/ 937736 w 1004887"/>
                <a:gd name="connsiteY818" fmla="*/ 597218 h 1332642"/>
                <a:gd name="connsiteX819" fmla="*/ 941737 w 1004887"/>
                <a:gd name="connsiteY819" fmla="*/ 590264 h 1332642"/>
                <a:gd name="connsiteX820" fmla="*/ 941261 w 1004887"/>
                <a:gd name="connsiteY820" fmla="*/ 574262 h 1332642"/>
                <a:gd name="connsiteX821" fmla="*/ 943832 w 1004887"/>
                <a:gd name="connsiteY821" fmla="*/ 569119 h 1332642"/>
                <a:gd name="connsiteX822" fmla="*/ 944594 w 1004887"/>
                <a:gd name="connsiteY822" fmla="*/ 562642 h 1332642"/>
                <a:gd name="connsiteX823" fmla="*/ 940880 w 1004887"/>
                <a:gd name="connsiteY823" fmla="*/ 558356 h 1332642"/>
                <a:gd name="connsiteX824" fmla="*/ 936308 w 1004887"/>
                <a:gd name="connsiteY824" fmla="*/ 560451 h 1332642"/>
                <a:gd name="connsiteX825" fmla="*/ 929640 w 1004887"/>
                <a:gd name="connsiteY825" fmla="*/ 558165 h 1332642"/>
                <a:gd name="connsiteX826" fmla="*/ 928973 w 1004887"/>
                <a:gd name="connsiteY826" fmla="*/ 553403 h 1332642"/>
                <a:gd name="connsiteX827" fmla="*/ 925449 w 1004887"/>
                <a:gd name="connsiteY827" fmla="*/ 550640 h 1332642"/>
                <a:gd name="connsiteX828" fmla="*/ 921068 w 1004887"/>
                <a:gd name="connsiteY828" fmla="*/ 554450 h 1332642"/>
                <a:gd name="connsiteX829" fmla="*/ 919544 w 1004887"/>
                <a:gd name="connsiteY829" fmla="*/ 554641 h 1332642"/>
                <a:gd name="connsiteX830" fmla="*/ 912590 w 1004887"/>
                <a:gd name="connsiteY830" fmla="*/ 550640 h 1332642"/>
                <a:gd name="connsiteX831" fmla="*/ 912209 w 1004887"/>
                <a:gd name="connsiteY831" fmla="*/ 547497 h 1332642"/>
                <a:gd name="connsiteX832" fmla="*/ 915352 w 1004887"/>
                <a:gd name="connsiteY832" fmla="*/ 547116 h 1332642"/>
                <a:gd name="connsiteX833" fmla="*/ 916496 w 1004887"/>
                <a:gd name="connsiteY833" fmla="*/ 543782 h 1332642"/>
                <a:gd name="connsiteX834" fmla="*/ 906875 w 1004887"/>
                <a:gd name="connsiteY834" fmla="*/ 543401 h 1332642"/>
                <a:gd name="connsiteX835" fmla="*/ 906494 w 1004887"/>
                <a:gd name="connsiteY835" fmla="*/ 540258 h 1332642"/>
                <a:gd name="connsiteX836" fmla="*/ 901732 w 1004887"/>
                <a:gd name="connsiteY836" fmla="*/ 540830 h 1332642"/>
                <a:gd name="connsiteX837" fmla="*/ 898208 w 1004887"/>
                <a:gd name="connsiteY837" fmla="*/ 538067 h 1332642"/>
                <a:gd name="connsiteX838" fmla="*/ 895064 w 1004887"/>
                <a:gd name="connsiteY838" fmla="*/ 538544 h 1332642"/>
                <a:gd name="connsiteX839" fmla="*/ 892588 w 1004887"/>
                <a:gd name="connsiteY839" fmla="*/ 532352 h 1332642"/>
                <a:gd name="connsiteX840" fmla="*/ 889254 w 1004887"/>
                <a:gd name="connsiteY840" fmla="*/ 531209 h 1332642"/>
                <a:gd name="connsiteX841" fmla="*/ 897350 w 1004887"/>
                <a:gd name="connsiteY841" fmla="*/ 531781 h 1332642"/>
                <a:gd name="connsiteX842" fmla="*/ 904494 w 1004887"/>
                <a:gd name="connsiteY842" fmla="*/ 537305 h 1332642"/>
                <a:gd name="connsiteX843" fmla="*/ 912400 w 1004887"/>
                <a:gd name="connsiteY843" fmla="*/ 536257 h 1332642"/>
                <a:gd name="connsiteX844" fmla="*/ 913733 w 1004887"/>
                <a:gd name="connsiteY844" fmla="*/ 534543 h 1332642"/>
                <a:gd name="connsiteX845" fmla="*/ 918496 w 1004887"/>
                <a:gd name="connsiteY845" fmla="*/ 533876 h 1332642"/>
                <a:gd name="connsiteX846" fmla="*/ 921449 w 1004887"/>
                <a:gd name="connsiteY846" fmla="*/ 531876 h 1332642"/>
                <a:gd name="connsiteX847" fmla="*/ 918115 w 1004887"/>
                <a:gd name="connsiteY847" fmla="*/ 530733 h 1332642"/>
                <a:gd name="connsiteX848" fmla="*/ 911543 w 1004887"/>
                <a:gd name="connsiteY848" fmla="*/ 517112 h 1332642"/>
                <a:gd name="connsiteX849" fmla="*/ 901827 w 1004887"/>
                <a:gd name="connsiteY849" fmla="*/ 516731 h 1332642"/>
                <a:gd name="connsiteX850" fmla="*/ 898112 w 1004887"/>
                <a:gd name="connsiteY850" fmla="*/ 512445 h 1332642"/>
                <a:gd name="connsiteX851" fmla="*/ 900684 w 1004887"/>
                <a:gd name="connsiteY851" fmla="*/ 507302 h 1332642"/>
                <a:gd name="connsiteX852" fmla="*/ 898684 w 1004887"/>
                <a:gd name="connsiteY852" fmla="*/ 504349 h 1332642"/>
                <a:gd name="connsiteX853" fmla="*/ 899827 w 1004887"/>
                <a:gd name="connsiteY853" fmla="*/ 501015 h 1332642"/>
                <a:gd name="connsiteX854" fmla="*/ 901827 w 1004887"/>
                <a:gd name="connsiteY854" fmla="*/ 503968 h 1332642"/>
                <a:gd name="connsiteX855" fmla="*/ 902018 w 1004887"/>
                <a:gd name="connsiteY855" fmla="*/ 505492 h 1332642"/>
                <a:gd name="connsiteX856" fmla="*/ 903827 w 1004887"/>
                <a:gd name="connsiteY856" fmla="*/ 506920 h 1332642"/>
                <a:gd name="connsiteX857" fmla="*/ 906590 w 1004887"/>
                <a:gd name="connsiteY857" fmla="*/ 503301 h 1332642"/>
                <a:gd name="connsiteX858" fmla="*/ 906780 w 1004887"/>
                <a:gd name="connsiteY858" fmla="*/ 504920 h 1332642"/>
                <a:gd name="connsiteX859" fmla="*/ 908399 w 1004887"/>
                <a:gd name="connsiteY859" fmla="*/ 504730 h 1332642"/>
                <a:gd name="connsiteX860" fmla="*/ 908399 w 1004887"/>
                <a:gd name="connsiteY860" fmla="*/ 504730 h 1332642"/>
                <a:gd name="connsiteX861" fmla="*/ 909733 w 1004887"/>
                <a:gd name="connsiteY861" fmla="*/ 502920 h 1332642"/>
                <a:gd name="connsiteX862" fmla="*/ 917448 w 1004887"/>
                <a:gd name="connsiteY862" fmla="*/ 500348 h 1332642"/>
                <a:gd name="connsiteX863" fmla="*/ 920782 w 1004887"/>
                <a:gd name="connsiteY863" fmla="*/ 501491 h 1332642"/>
                <a:gd name="connsiteX864" fmla="*/ 927830 w 1004887"/>
                <a:gd name="connsiteY864" fmla="*/ 494252 h 1332642"/>
                <a:gd name="connsiteX865" fmla="*/ 923163 w 1004887"/>
                <a:gd name="connsiteY865" fmla="*/ 494824 h 1332642"/>
                <a:gd name="connsiteX866" fmla="*/ 922496 w 1004887"/>
                <a:gd name="connsiteY866" fmla="*/ 490061 h 1332642"/>
                <a:gd name="connsiteX867" fmla="*/ 917829 w 1004887"/>
                <a:gd name="connsiteY867" fmla="*/ 490728 h 1332642"/>
                <a:gd name="connsiteX868" fmla="*/ 917639 w 1004887"/>
                <a:gd name="connsiteY868" fmla="*/ 489109 h 1332642"/>
                <a:gd name="connsiteX869" fmla="*/ 914210 w 1004887"/>
                <a:gd name="connsiteY869" fmla="*/ 487966 h 1332642"/>
                <a:gd name="connsiteX870" fmla="*/ 909733 w 1004887"/>
                <a:gd name="connsiteY870" fmla="*/ 490157 h 1332642"/>
                <a:gd name="connsiteX871" fmla="*/ 912495 w 1004887"/>
                <a:gd name="connsiteY871" fmla="*/ 486537 h 1332642"/>
                <a:gd name="connsiteX872" fmla="*/ 909066 w 1004887"/>
                <a:gd name="connsiteY872" fmla="*/ 485394 h 1332642"/>
                <a:gd name="connsiteX873" fmla="*/ 904780 w 1004887"/>
                <a:gd name="connsiteY873" fmla="*/ 489109 h 1332642"/>
                <a:gd name="connsiteX874" fmla="*/ 902780 w 1004887"/>
                <a:gd name="connsiteY874" fmla="*/ 486156 h 1332642"/>
                <a:gd name="connsiteX875" fmla="*/ 899827 w 1004887"/>
                <a:gd name="connsiteY875" fmla="*/ 488156 h 1332642"/>
                <a:gd name="connsiteX876" fmla="*/ 898684 w 1004887"/>
                <a:gd name="connsiteY876" fmla="*/ 491490 h 1332642"/>
                <a:gd name="connsiteX877" fmla="*/ 895731 w 1004887"/>
                <a:gd name="connsiteY877" fmla="*/ 493490 h 1332642"/>
                <a:gd name="connsiteX878" fmla="*/ 896112 w 1004887"/>
                <a:gd name="connsiteY878" fmla="*/ 496633 h 1332642"/>
                <a:gd name="connsiteX879" fmla="*/ 891159 w 1004887"/>
                <a:gd name="connsiteY879" fmla="*/ 495681 h 1332642"/>
                <a:gd name="connsiteX880" fmla="*/ 888397 w 1004887"/>
                <a:gd name="connsiteY880" fmla="*/ 486442 h 1332642"/>
                <a:gd name="connsiteX881" fmla="*/ 891731 w 1004887"/>
                <a:gd name="connsiteY881" fmla="*/ 487585 h 1332642"/>
                <a:gd name="connsiteX882" fmla="*/ 891540 w 1004887"/>
                <a:gd name="connsiteY882" fmla="*/ 486061 h 1332642"/>
                <a:gd name="connsiteX883" fmla="*/ 888206 w 1004887"/>
                <a:gd name="connsiteY883" fmla="*/ 484823 h 1332642"/>
                <a:gd name="connsiteX884" fmla="*/ 892302 w 1004887"/>
                <a:gd name="connsiteY884" fmla="*/ 479489 h 1332642"/>
                <a:gd name="connsiteX885" fmla="*/ 888397 w 1004887"/>
                <a:gd name="connsiteY885" fmla="*/ 473583 h 1332642"/>
                <a:gd name="connsiteX886" fmla="*/ 890873 w 1004887"/>
                <a:gd name="connsiteY886" fmla="*/ 468440 h 1332642"/>
                <a:gd name="connsiteX887" fmla="*/ 900017 w 1004887"/>
                <a:gd name="connsiteY887" fmla="*/ 464058 h 1332642"/>
                <a:gd name="connsiteX888" fmla="*/ 907447 w 1004887"/>
                <a:gd name="connsiteY888" fmla="*/ 447103 h 1332642"/>
                <a:gd name="connsiteX889" fmla="*/ 930116 w 1004887"/>
                <a:gd name="connsiteY889" fmla="*/ 436245 h 1332642"/>
                <a:gd name="connsiteX890" fmla="*/ 934593 w 1004887"/>
                <a:gd name="connsiteY890" fmla="*/ 434054 h 1332642"/>
                <a:gd name="connsiteX891" fmla="*/ 940975 w 1004887"/>
                <a:gd name="connsiteY891" fmla="*/ 433197 h 1332642"/>
                <a:gd name="connsiteX892" fmla="*/ 937832 w 1004887"/>
                <a:gd name="connsiteY892" fmla="*/ 433578 h 1332642"/>
                <a:gd name="connsiteX893" fmla="*/ 938594 w 1004887"/>
                <a:gd name="connsiteY893" fmla="*/ 439960 h 1332642"/>
                <a:gd name="connsiteX894" fmla="*/ 940403 w 1004887"/>
                <a:gd name="connsiteY894" fmla="*/ 441293 h 1332642"/>
                <a:gd name="connsiteX895" fmla="*/ 945261 w 1004887"/>
                <a:gd name="connsiteY895" fmla="*/ 442246 h 1332642"/>
                <a:gd name="connsiteX896" fmla="*/ 947452 w 1004887"/>
                <a:gd name="connsiteY896" fmla="*/ 446818 h 1332642"/>
                <a:gd name="connsiteX897" fmla="*/ 949071 w 1004887"/>
                <a:gd name="connsiteY897" fmla="*/ 446627 h 1332642"/>
                <a:gd name="connsiteX898" fmla="*/ 949262 w 1004887"/>
                <a:gd name="connsiteY898" fmla="*/ 448151 h 1332642"/>
                <a:gd name="connsiteX899" fmla="*/ 954024 w 1004887"/>
                <a:gd name="connsiteY899" fmla="*/ 447580 h 1332642"/>
                <a:gd name="connsiteX900" fmla="*/ 955739 w 1004887"/>
                <a:gd name="connsiteY900" fmla="*/ 448913 h 1332642"/>
                <a:gd name="connsiteX901" fmla="*/ 956786 w 1004887"/>
                <a:gd name="connsiteY901" fmla="*/ 444056 h 1332642"/>
                <a:gd name="connsiteX902" fmla="*/ 958310 w 1004887"/>
                <a:gd name="connsiteY902" fmla="*/ 443865 h 1332642"/>
                <a:gd name="connsiteX903" fmla="*/ 957929 w 1004887"/>
                <a:gd name="connsiteY903" fmla="*/ 440627 h 1332642"/>
                <a:gd name="connsiteX904" fmla="*/ 959263 w 1004887"/>
                <a:gd name="connsiteY904" fmla="*/ 438912 h 1332642"/>
                <a:gd name="connsiteX905" fmla="*/ 960120 w 1004887"/>
                <a:gd name="connsiteY905" fmla="*/ 432340 h 1332642"/>
                <a:gd name="connsiteX906" fmla="*/ 963073 w 1004887"/>
                <a:gd name="connsiteY906" fmla="*/ 430435 h 1332642"/>
                <a:gd name="connsiteX907" fmla="*/ 965359 w 1004887"/>
                <a:gd name="connsiteY907" fmla="*/ 423672 h 1332642"/>
                <a:gd name="connsiteX908" fmla="*/ 968502 w 1004887"/>
                <a:gd name="connsiteY908" fmla="*/ 423291 h 1332642"/>
                <a:gd name="connsiteX909" fmla="*/ 974693 w 1004887"/>
                <a:gd name="connsiteY909" fmla="*/ 420910 h 1332642"/>
                <a:gd name="connsiteX910" fmla="*/ 974217 w 1004887"/>
                <a:gd name="connsiteY910" fmla="*/ 417766 h 1332642"/>
                <a:gd name="connsiteX911" fmla="*/ 976027 w 1004887"/>
                <a:gd name="connsiteY911" fmla="*/ 419100 h 1332642"/>
                <a:gd name="connsiteX912" fmla="*/ 977456 w 1004887"/>
                <a:gd name="connsiteY912" fmla="*/ 417386 h 1332642"/>
                <a:gd name="connsiteX913" fmla="*/ 980599 w 1004887"/>
                <a:gd name="connsiteY913" fmla="*/ 416909 h 1332642"/>
                <a:gd name="connsiteX914" fmla="*/ 984885 w 1004887"/>
                <a:gd name="connsiteY914" fmla="*/ 413194 h 1332642"/>
                <a:gd name="connsiteX915" fmla="*/ 986695 w 1004887"/>
                <a:gd name="connsiteY915" fmla="*/ 414528 h 1332642"/>
                <a:gd name="connsiteX916" fmla="*/ 990600 w 1004887"/>
                <a:gd name="connsiteY916" fmla="*/ 407670 h 1332642"/>
                <a:gd name="connsiteX917" fmla="*/ 988409 w 1004887"/>
                <a:gd name="connsiteY917" fmla="*/ 403098 h 1332642"/>
                <a:gd name="connsiteX918" fmla="*/ 983266 w 1004887"/>
                <a:gd name="connsiteY918" fmla="*/ 400526 h 1332642"/>
                <a:gd name="connsiteX919" fmla="*/ 981266 w 1004887"/>
                <a:gd name="connsiteY919" fmla="*/ 397573 h 1332642"/>
                <a:gd name="connsiteX920" fmla="*/ 977932 w 1004887"/>
                <a:gd name="connsiteY920" fmla="*/ 396431 h 1332642"/>
                <a:gd name="connsiteX921" fmla="*/ 974979 w 1004887"/>
                <a:gd name="connsiteY921" fmla="*/ 398431 h 1332642"/>
                <a:gd name="connsiteX922" fmla="*/ 973646 w 1004887"/>
                <a:gd name="connsiteY922" fmla="*/ 400145 h 1332642"/>
                <a:gd name="connsiteX923" fmla="*/ 967740 w 1004887"/>
                <a:gd name="connsiteY923" fmla="*/ 404146 h 1332642"/>
                <a:gd name="connsiteX924" fmla="*/ 965930 w 1004887"/>
                <a:gd name="connsiteY924" fmla="*/ 402717 h 1332642"/>
                <a:gd name="connsiteX925" fmla="*/ 966502 w 1004887"/>
                <a:gd name="connsiteY925" fmla="*/ 394716 h 1332642"/>
                <a:gd name="connsiteX926" fmla="*/ 975741 w 1004887"/>
                <a:gd name="connsiteY926" fmla="*/ 391858 h 1332642"/>
                <a:gd name="connsiteX927" fmla="*/ 978884 w 1004887"/>
                <a:gd name="connsiteY927" fmla="*/ 378619 h 1332642"/>
                <a:gd name="connsiteX928" fmla="*/ 978122 w 1004887"/>
                <a:gd name="connsiteY928" fmla="*/ 372332 h 1332642"/>
                <a:gd name="connsiteX929" fmla="*/ 974312 w 1004887"/>
                <a:gd name="connsiteY929" fmla="*/ 368046 h 1332642"/>
                <a:gd name="connsiteX930" fmla="*/ 973931 w 1004887"/>
                <a:gd name="connsiteY930" fmla="*/ 364903 h 1332642"/>
                <a:gd name="connsiteX931" fmla="*/ 971550 w 1004887"/>
                <a:gd name="connsiteY931" fmla="*/ 358711 h 1332642"/>
                <a:gd name="connsiteX932" fmla="*/ 972502 w 1004887"/>
                <a:gd name="connsiteY932" fmla="*/ 353854 h 1332642"/>
                <a:gd name="connsiteX933" fmla="*/ 982027 w 1004887"/>
                <a:gd name="connsiteY933" fmla="*/ 352615 h 1332642"/>
                <a:gd name="connsiteX934" fmla="*/ 981170 w 1004887"/>
                <a:gd name="connsiteY934" fmla="*/ 346329 h 1332642"/>
                <a:gd name="connsiteX935" fmla="*/ 987076 w 1004887"/>
                <a:gd name="connsiteY935" fmla="*/ 342328 h 1332642"/>
                <a:gd name="connsiteX936" fmla="*/ 983933 w 1004887"/>
                <a:gd name="connsiteY936" fmla="*/ 342710 h 1332642"/>
                <a:gd name="connsiteX937" fmla="*/ 986123 w 1004887"/>
                <a:gd name="connsiteY937" fmla="*/ 334423 h 1332642"/>
                <a:gd name="connsiteX938" fmla="*/ 979170 w 1004887"/>
                <a:gd name="connsiteY938" fmla="*/ 330518 h 1332642"/>
                <a:gd name="connsiteX939" fmla="*/ 978122 w 1004887"/>
                <a:gd name="connsiteY939" fmla="*/ 322612 h 1332642"/>
                <a:gd name="connsiteX940" fmla="*/ 985076 w 1004887"/>
                <a:gd name="connsiteY940" fmla="*/ 313753 h 1332642"/>
                <a:gd name="connsiteX941" fmla="*/ 983075 w 1004887"/>
                <a:gd name="connsiteY941" fmla="*/ 310801 h 1332642"/>
                <a:gd name="connsiteX942" fmla="*/ 979361 w 1004887"/>
                <a:gd name="connsiteY942" fmla="*/ 306419 h 1332642"/>
                <a:gd name="connsiteX943" fmla="*/ 982027 w 1004887"/>
                <a:gd name="connsiteY943" fmla="*/ 302895 h 1332642"/>
                <a:gd name="connsiteX944" fmla="*/ 985457 w 1004887"/>
                <a:gd name="connsiteY944" fmla="*/ 304038 h 1332642"/>
                <a:gd name="connsiteX945" fmla="*/ 989171 w 1004887"/>
                <a:gd name="connsiteY945" fmla="*/ 295561 h 1332642"/>
                <a:gd name="connsiteX946" fmla="*/ 985171 w 1004887"/>
                <a:gd name="connsiteY946" fmla="*/ 289655 h 1332642"/>
                <a:gd name="connsiteX947" fmla="*/ 988314 w 1004887"/>
                <a:gd name="connsiteY947" fmla="*/ 289274 h 1332642"/>
                <a:gd name="connsiteX948" fmla="*/ 987171 w 1004887"/>
                <a:gd name="connsiteY948" fmla="*/ 279749 h 1332642"/>
                <a:gd name="connsiteX949" fmla="*/ 988886 w 1004887"/>
                <a:gd name="connsiteY949" fmla="*/ 281178 h 1332642"/>
                <a:gd name="connsiteX950" fmla="*/ 992124 w 1004887"/>
                <a:gd name="connsiteY950" fmla="*/ 280797 h 1332642"/>
                <a:gd name="connsiteX951" fmla="*/ 991838 w 1004887"/>
                <a:gd name="connsiteY951" fmla="*/ 279178 h 1332642"/>
                <a:gd name="connsiteX952" fmla="*/ 992124 w 1004887"/>
                <a:gd name="connsiteY952" fmla="*/ 280797 h 1332642"/>
                <a:gd name="connsiteX953" fmla="*/ 993648 w 1004887"/>
                <a:gd name="connsiteY953" fmla="*/ 280511 h 1332642"/>
                <a:gd name="connsiteX954" fmla="*/ 995077 w 1004887"/>
                <a:gd name="connsiteY954" fmla="*/ 278797 h 1332642"/>
                <a:gd name="connsiteX955" fmla="*/ 998411 w 1004887"/>
                <a:gd name="connsiteY955" fmla="*/ 279940 h 1332642"/>
                <a:gd name="connsiteX956" fmla="*/ 1001363 w 1004887"/>
                <a:gd name="connsiteY956" fmla="*/ 277940 h 1332642"/>
                <a:gd name="connsiteX957" fmla="*/ 1001935 w 1004887"/>
                <a:gd name="connsiteY957" fmla="*/ 282702 h 1332642"/>
                <a:gd name="connsiteX958" fmla="*/ 1004888 w 1004887"/>
                <a:gd name="connsiteY958" fmla="*/ 280702 h 1332642"/>
                <a:gd name="connsiteX959" fmla="*/ 1001363 w 1004887"/>
                <a:gd name="connsiteY959" fmla="*/ 265176 h 1332642"/>
                <a:gd name="connsiteX960" fmla="*/ 999744 w 1004887"/>
                <a:gd name="connsiteY960" fmla="*/ 252508 h 1332642"/>
                <a:gd name="connsiteX961" fmla="*/ 999744 w 1004887"/>
                <a:gd name="connsiteY961" fmla="*/ 252508 h 133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</a:cxnLst>
              <a:rect l="l" t="t" r="r" b="b"/>
              <a:pathLst>
                <a:path w="1004887" h="1332642">
                  <a:moveTo>
                    <a:pt x="999744" y="252508"/>
                  </a:moveTo>
                  <a:lnTo>
                    <a:pt x="997363" y="246412"/>
                  </a:lnTo>
                  <a:lnTo>
                    <a:pt x="998315" y="241459"/>
                  </a:lnTo>
                  <a:lnTo>
                    <a:pt x="997934" y="238315"/>
                  </a:lnTo>
                  <a:lnTo>
                    <a:pt x="996125" y="236982"/>
                  </a:lnTo>
                  <a:lnTo>
                    <a:pt x="994124" y="234029"/>
                  </a:lnTo>
                  <a:lnTo>
                    <a:pt x="995363" y="230600"/>
                  </a:lnTo>
                  <a:lnTo>
                    <a:pt x="996506" y="227266"/>
                  </a:lnTo>
                  <a:lnTo>
                    <a:pt x="995648" y="220980"/>
                  </a:lnTo>
                  <a:lnTo>
                    <a:pt x="993934" y="219551"/>
                  </a:lnTo>
                  <a:lnTo>
                    <a:pt x="996506" y="214408"/>
                  </a:lnTo>
                  <a:lnTo>
                    <a:pt x="1004126" y="211836"/>
                  </a:lnTo>
                  <a:lnTo>
                    <a:pt x="993077" y="213265"/>
                  </a:lnTo>
                  <a:lnTo>
                    <a:pt x="987933" y="210693"/>
                  </a:lnTo>
                  <a:lnTo>
                    <a:pt x="975741" y="202692"/>
                  </a:lnTo>
                  <a:lnTo>
                    <a:pt x="971741" y="196786"/>
                  </a:lnTo>
                  <a:lnTo>
                    <a:pt x="958691" y="195167"/>
                  </a:lnTo>
                  <a:lnTo>
                    <a:pt x="953548" y="192691"/>
                  </a:lnTo>
                  <a:lnTo>
                    <a:pt x="947642" y="196596"/>
                  </a:lnTo>
                  <a:lnTo>
                    <a:pt x="941165" y="195834"/>
                  </a:lnTo>
                  <a:lnTo>
                    <a:pt x="942499" y="194024"/>
                  </a:lnTo>
                  <a:lnTo>
                    <a:pt x="940784" y="192691"/>
                  </a:lnTo>
                  <a:lnTo>
                    <a:pt x="942118" y="190881"/>
                  </a:lnTo>
                  <a:lnTo>
                    <a:pt x="945737" y="193643"/>
                  </a:lnTo>
                  <a:lnTo>
                    <a:pt x="947261" y="193453"/>
                  </a:lnTo>
                  <a:lnTo>
                    <a:pt x="947452" y="182213"/>
                  </a:lnTo>
                  <a:lnTo>
                    <a:pt x="948214" y="175736"/>
                  </a:lnTo>
                  <a:lnTo>
                    <a:pt x="946404" y="174307"/>
                  </a:lnTo>
                  <a:lnTo>
                    <a:pt x="945452" y="166402"/>
                  </a:lnTo>
                  <a:lnTo>
                    <a:pt x="939356" y="168783"/>
                  </a:lnTo>
                  <a:lnTo>
                    <a:pt x="934212" y="166211"/>
                  </a:lnTo>
                  <a:lnTo>
                    <a:pt x="927449" y="163925"/>
                  </a:lnTo>
                  <a:lnTo>
                    <a:pt x="918210" y="166687"/>
                  </a:lnTo>
                  <a:lnTo>
                    <a:pt x="913638" y="168878"/>
                  </a:lnTo>
                  <a:lnTo>
                    <a:pt x="913638" y="168878"/>
                  </a:lnTo>
                  <a:lnTo>
                    <a:pt x="912114" y="169069"/>
                  </a:lnTo>
                  <a:lnTo>
                    <a:pt x="911066" y="161163"/>
                  </a:lnTo>
                  <a:lnTo>
                    <a:pt x="906685" y="152114"/>
                  </a:lnTo>
                  <a:lnTo>
                    <a:pt x="903351" y="150971"/>
                  </a:lnTo>
                  <a:lnTo>
                    <a:pt x="900398" y="152876"/>
                  </a:lnTo>
                  <a:lnTo>
                    <a:pt x="898684" y="151543"/>
                  </a:lnTo>
                  <a:lnTo>
                    <a:pt x="894683" y="145637"/>
                  </a:lnTo>
                  <a:lnTo>
                    <a:pt x="891540" y="146018"/>
                  </a:lnTo>
                  <a:lnTo>
                    <a:pt x="889540" y="130207"/>
                  </a:lnTo>
                  <a:lnTo>
                    <a:pt x="884587" y="129254"/>
                  </a:lnTo>
                  <a:lnTo>
                    <a:pt x="880586" y="123349"/>
                  </a:lnTo>
                  <a:lnTo>
                    <a:pt x="877443" y="123730"/>
                  </a:lnTo>
                  <a:lnTo>
                    <a:pt x="874109" y="122587"/>
                  </a:lnTo>
                  <a:lnTo>
                    <a:pt x="871347" y="126111"/>
                  </a:lnTo>
                  <a:lnTo>
                    <a:pt x="868204" y="126587"/>
                  </a:lnTo>
                  <a:lnTo>
                    <a:pt x="864870" y="125349"/>
                  </a:lnTo>
                  <a:lnTo>
                    <a:pt x="863441" y="127159"/>
                  </a:lnTo>
                  <a:lnTo>
                    <a:pt x="865632" y="131731"/>
                  </a:lnTo>
                  <a:lnTo>
                    <a:pt x="846677" y="134112"/>
                  </a:lnTo>
                  <a:lnTo>
                    <a:pt x="841534" y="131540"/>
                  </a:lnTo>
                  <a:lnTo>
                    <a:pt x="820484" y="129445"/>
                  </a:lnTo>
                  <a:lnTo>
                    <a:pt x="820007" y="126302"/>
                  </a:lnTo>
                  <a:lnTo>
                    <a:pt x="816674" y="125063"/>
                  </a:lnTo>
                  <a:lnTo>
                    <a:pt x="816293" y="121920"/>
                  </a:lnTo>
                  <a:lnTo>
                    <a:pt x="810959" y="117824"/>
                  </a:lnTo>
                  <a:lnTo>
                    <a:pt x="812292" y="116015"/>
                  </a:lnTo>
                  <a:lnTo>
                    <a:pt x="810387" y="113062"/>
                  </a:lnTo>
                  <a:lnTo>
                    <a:pt x="805244" y="110490"/>
                  </a:lnTo>
                  <a:lnTo>
                    <a:pt x="801624" y="107728"/>
                  </a:lnTo>
                  <a:lnTo>
                    <a:pt x="800100" y="107918"/>
                  </a:lnTo>
                  <a:lnTo>
                    <a:pt x="796481" y="105251"/>
                  </a:lnTo>
                  <a:lnTo>
                    <a:pt x="787241" y="108013"/>
                  </a:lnTo>
                  <a:lnTo>
                    <a:pt x="784479" y="98774"/>
                  </a:lnTo>
                  <a:lnTo>
                    <a:pt x="779717" y="99346"/>
                  </a:lnTo>
                  <a:lnTo>
                    <a:pt x="774573" y="96774"/>
                  </a:lnTo>
                  <a:lnTo>
                    <a:pt x="775145" y="88678"/>
                  </a:lnTo>
                  <a:lnTo>
                    <a:pt x="778478" y="89821"/>
                  </a:lnTo>
                  <a:lnTo>
                    <a:pt x="779717" y="86487"/>
                  </a:lnTo>
                  <a:lnTo>
                    <a:pt x="790956" y="86677"/>
                  </a:lnTo>
                  <a:lnTo>
                    <a:pt x="799433" y="90392"/>
                  </a:lnTo>
                  <a:lnTo>
                    <a:pt x="799052" y="87249"/>
                  </a:lnTo>
                  <a:lnTo>
                    <a:pt x="792290" y="84868"/>
                  </a:lnTo>
                  <a:lnTo>
                    <a:pt x="790766" y="85058"/>
                  </a:lnTo>
                  <a:lnTo>
                    <a:pt x="788003" y="75819"/>
                  </a:lnTo>
                  <a:lnTo>
                    <a:pt x="784574" y="74676"/>
                  </a:lnTo>
                  <a:lnTo>
                    <a:pt x="772001" y="76295"/>
                  </a:lnTo>
                  <a:lnTo>
                    <a:pt x="768001" y="83153"/>
                  </a:lnTo>
                  <a:lnTo>
                    <a:pt x="761714" y="84011"/>
                  </a:lnTo>
                  <a:lnTo>
                    <a:pt x="758190" y="81248"/>
                  </a:lnTo>
                  <a:lnTo>
                    <a:pt x="759333" y="77915"/>
                  </a:lnTo>
                  <a:lnTo>
                    <a:pt x="758952" y="74676"/>
                  </a:lnTo>
                  <a:lnTo>
                    <a:pt x="755999" y="76676"/>
                  </a:lnTo>
                  <a:lnTo>
                    <a:pt x="753809" y="72200"/>
                  </a:lnTo>
                  <a:lnTo>
                    <a:pt x="749522" y="75914"/>
                  </a:lnTo>
                  <a:lnTo>
                    <a:pt x="734663" y="72961"/>
                  </a:lnTo>
                  <a:lnTo>
                    <a:pt x="732568" y="81248"/>
                  </a:lnTo>
                  <a:lnTo>
                    <a:pt x="729329" y="81725"/>
                  </a:lnTo>
                  <a:lnTo>
                    <a:pt x="727043" y="88392"/>
                  </a:lnTo>
                  <a:lnTo>
                    <a:pt x="725424" y="88582"/>
                  </a:lnTo>
                  <a:lnTo>
                    <a:pt x="720471" y="87630"/>
                  </a:lnTo>
                  <a:lnTo>
                    <a:pt x="719519" y="79724"/>
                  </a:lnTo>
                  <a:lnTo>
                    <a:pt x="708470" y="81153"/>
                  </a:lnTo>
                  <a:lnTo>
                    <a:pt x="703898" y="83344"/>
                  </a:lnTo>
                  <a:lnTo>
                    <a:pt x="702374" y="83534"/>
                  </a:lnTo>
                  <a:lnTo>
                    <a:pt x="701707" y="78772"/>
                  </a:lnTo>
                  <a:lnTo>
                    <a:pt x="705898" y="73438"/>
                  </a:lnTo>
                  <a:lnTo>
                    <a:pt x="705231" y="68771"/>
                  </a:lnTo>
                  <a:lnTo>
                    <a:pt x="711137" y="64770"/>
                  </a:lnTo>
                  <a:lnTo>
                    <a:pt x="712565" y="62960"/>
                  </a:lnTo>
                  <a:lnTo>
                    <a:pt x="710565" y="60007"/>
                  </a:lnTo>
                  <a:lnTo>
                    <a:pt x="714661" y="54673"/>
                  </a:lnTo>
                  <a:lnTo>
                    <a:pt x="714089" y="50006"/>
                  </a:lnTo>
                  <a:lnTo>
                    <a:pt x="719042" y="50959"/>
                  </a:lnTo>
                  <a:lnTo>
                    <a:pt x="725329" y="50102"/>
                  </a:lnTo>
                  <a:lnTo>
                    <a:pt x="725710" y="40481"/>
                  </a:lnTo>
                  <a:lnTo>
                    <a:pt x="723329" y="34385"/>
                  </a:lnTo>
                  <a:lnTo>
                    <a:pt x="723138" y="32766"/>
                  </a:lnTo>
                  <a:lnTo>
                    <a:pt x="718185" y="31813"/>
                  </a:lnTo>
                  <a:lnTo>
                    <a:pt x="715613" y="24098"/>
                  </a:lnTo>
                  <a:lnTo>
                    <a:pt x="711518" y="29432"/>
                  </a:lnTo>
                  <a:lnTo>
                    <a:pt x="709517" y="26479"/>
                  </a:lnTo>
                  <a:lnTo>
                    <a:pt x="710089" y="18383"/>
                  </a:lnTo>
                  <a:lnTo>
                    <a:pt x="708279" y="17050"/>
                  </a:lnTo>
                  <a:lnTo>
                    <a:pt x="707517" y="23527"/>
                  </a:lnTo>
                  <a:lnTo>
                    <a:pt x="701421" y="25908"/>
                  </a:lnTo>
                  <a:lnTo>
                    <a:pt x="701612" y="27527"/>
                  </a:lnTo>
                  <a:lnTo>
                    <a:pt x="698278" y="26289"/>
                  </a:lnTo>
                  <a:lnTo>
                    <a:pt x="695135" y="26670"/>
                  </a:lnTo>
                  <a:lnTo>
                    <a:pt x="689229" y="30671"/>
                  </a:lnTo>
                  <a:lnTo>
                    <a:pt x="684086" y="28099"/>
                  </a:lnTo>
                  <a:lnTo>
                    <a:pt x="683990" y="15335"/>
                  </a:lnTo>
                  <a:lnTo>
                    <a:pt x="680847" y="15716"/>
                  </a:lnTo>
                  <a:lnTo>
                    <a:pt x="679133" y="14288"/>
                  </a:lnTo>
                  <a:lnTo>
                    <a:pt x="675894" y="14764"/>
                  </a:lnTo>
                  <a:lnTo>
                    <a:pt x="676656" y="8192"/>
                  </a:lnTo>
                  <a:lnTo>
                    <a:pt x="671608" y="5620"/>
                  </a:lnTo>
                  <a:lnTo>
                    <a:pt x="672941" y="3905"/>
                  </a:lnTo>
                  <a:lnTo>
                    <a:pt x="676085" y="3524"/>
                  </a:lnTo>
                  <a:lnTo>
                    <a:pt x="674084" y="571"/>
                  </a:lnTo>
                  <a:lnTo>
                    <a:pt x="669798" y="4286"/>
                  </a:lnTo>
                  <a:lnTo>
                    <a:pt x="666655" y="4667"/>
                  </a:lnTo>
                  <a:lnTo>
                    <a:pt x="665417" y="8001"/>
                  </a:lnTo>
                  <a:lnTo>
                    <a:pt x="664464" y="12954"/>
                  </a:lnTo>
                  <a:lnTo>
                    <a:pt x="661321" y="13335"/>
                  </a:lnTo>
                  <a:lnTo>
                    <a:pt x="658749" y="18479"/>
                  </a:lnTo>
                  <a:lnTo>
                    <a:pt x="652272" y="17717"/>
                  </a:lnTo>
                  <a:lnTo>
                    <a:pt x="654368" y="9430"/>
                  </a:lnTo>
                  <a:lnTo>
                    <a:pt x="653225" y="0"/>
                  </a:lnTo>
                  <a:lnTo>
                    <a:pt x="651605" y="190"/>
                  </a:lnTo>
                  <a:lnTo>
                    <a:pt x="651986" y="3334"/>
                  </a:lnTo>
                  <a:lnTo>
                    <a:pt x="639032" y="1810"/>
                  </a:lnTo>
                  <a:lnTo>
                    <a:pt x="636080" y="3810"/>
                  </a:lnTo>
                  <a:lnTo>
                    <a:pt x="636270" y="5334"/>
                  </a:lnTo>
                  <a:lnTo>
                    <a:pt x="633317" y="7334"/>
                  </a:lnTo>
                  <a:lnTo>
                    <a:pt x="629888" y="6191"/>
                  </a:lnTo>
                  <a:lnTo>
                    <a:pt x="627983" y="3238"/>
                  </a:lnTo>
                  <a:lnTo>
                    <a:pt x="623221" y="3810"/>
                  </a:lnTo>
                  <a:lnTo>
                    <a:pt x="623411" y="5429"/>
                  </a:lnTo>
                  <a:lnTo>
                    <a:pt x="626745" y="6572"/>
                  </a:lnTo>
                  <a:lnTo>
                    <a:pt x="628745" y="9525"/>
                  </a:lnTo>
                  <a:lnTo>
                    <a:pt x="619887" y="28289"/>
                  </a:lnTo>
                  <a:lnTo>
                    <a:pt x="623507" y="31052"/>
                  </a:lnTo>
                  <a:lnTo>
                    <a:pt x="631127" y="28480"/>
                  </a:lnTo>
                  <a:lnTo>
                    <a:pt x="631603" y="31623"/>
                  </a:lnTo>
                  <a:lnTo>
                    <a:pt x="633317" y="32956"/>
                  </a:lnTo>
                  <a:lnTo>
                    <a:pt x="633984" y="37719"/>
                  </a:lnTo>
                  <a:lnTo>
                    <a:pt x="631222" y="41243"/>
                  </a:lnTo>
                  <a:lnTo>
                    <a:pt x="630460" y="47815"/>
                  </a:lnTo>
                  <a:lnTo>
                    <a:pt x="624269" y="50197"/>
                  </a:lnTo>
                  <a:lnTo>
                    <a:pt x="622935" y="51911"/>
                  </a:lnTo>
                  <a:lnTo>
                    <a:pt x="619220" y="47625"/>
                  </a:lnTo>
                  <a:lnTo>
                    <a:pt x="617411" y="46292"/>
                  </a:lnTo>
                  <a:lnTo>
                    <a:pt x="621792" y="55340"/>
                  </a:lnTo>
                  <a:lnTo>
                    <a:pt x="620363" y="57055"/>
                  </a:lnTo>
                  <a:lnTo>
                    <a:pt x="615410" y="56102"/>
                  </a:lnTo>
                  <a:lnTo>
                    <a:pt x="610934" y="58293"/>
                  </a:lnTo>
                  <a:lnTo>
                    <a:pt x="604361" y="57531"/>
                  </a:lnTo>
                  <a:lnTo>
                    <a:pt x="602837" y="57721"/>
                  </a:lnTo>
                  <a:lnTo>
                    <a:pt x="603599" y="64008"/>
                  </a:lnTo>
                  <a:lnTo>
                    <a:pt x="598932" y="64675"/>
                  </a:lnTo>
                  <a:lnTo>
                    <a:pt x="598075" y="58293"/>
                  </a:lnTo>
                  <a:lnTo>
                    <a:pt x="597122" y="63246"/>
                  </a:lnTo>
                  <a:lnTo>
                    <a:pt x="593789" y="62103"/>
                  </a:lnTo>
                  <a:lnTo>
                    <a:pt x="591788" y="59150"/>
                  </a:lnTo>
                  <a:lnTo>
                    <a:pt x="585502" y="59912"/>
                  </a:lnTo>
                  <a:lnTo>
                    <a:pt x="589026" y="62675"/>
                  </a:lnTo>
                  <a:lnTo>
                    <a:pt x="586073" y="64675"/>
                  </a:lnTo>
                  <a:lnTo>
                    <a:pt x="584930" y="68008"/>
                  </a:lnTo>
                  <a:lnTo>
                    <a:pt x="588264" y="69247"/>
                  </a:lnTo>
                  <a:lnTo>
                    <a:pt x="591788" y="71914"/>
                  </a:lnTo>
                  <a:lnTo>
                    <a:pt x="588645" y="72390"/>
                  </a:lnTo>
                  <a:lnTo>
                    <a:pt x="593598" y="86201"/>
                  </a:lnTo>
                  <a:lnTo>
                    <a:pt x="593979" y="89344"/>
                  </a:lnTo>
                  <a:lnTo>
                    <a:pt x="589312" y="89916"/>
                  </a:lnTo>
                  <a:lnTo>
                    <a:pt x="584168" y="100203"/>
                  </a:lnTo>
                  <a:lnTo>
                    <a:pt x="585407" y="109633"/>
                  </a:lnTo>
                  <a:lnTo>
                    <a:pt x="589598" y="117157"/>
                  </a:lnTo>
                  <a:lnTo>
                    <a:pt x="586550" y="119158"/>
                  </a:lnTo>
                  <a:lnTo>
                    <a:pt x="582073" y="121348"/>
                  </a:lnTo>
                  <a:lnTo>
                    <a:pt x="570167" y="116396"/>
                  </a:lnTo>
                  <a:lnTo>
                    <a:pt x="560927" y="106394"/>
                  </a:lnTo>
                  <a:lnTo>
                    <a:pt x="555593" y="102203"/>
                  </a:lnTo>
                  <a:lnTo>
                    <a:pt x="553593" y="99250"/>
                  </a:lnTo>
                  <a:lnTo>
                    <a:pt x="554546" y="94298"/>
                  </a:lnTo>
                  <a:lnTo>
                    <a:pt x="553022" y="94583"/>
                  </a:lnTo>
                  <a:lnTo>
                    <a:pt x="552641" y="104204"/>
                  </a:lnTo>
                  <a:lnTo>
                    <a:pt x="550831" y="102870"/>
                  </a:lnTo>
                  <a:lnTo>
                    <a:pt x="550069" y="96488"/>
                  </a:lnTo>
                  <a:lnTo>
                    <a:pt x="548259" y="95155"/>
                  </a:lnTo>
                  <a:lnTo>
                    <a:pt x="546640" y="95345"/>
                  </a:lnTo>
                  <a:lnTo>
                    <a:pt x="544735" y="92392"/>
                  </a:lnTo>
                  <a:lnTo>
                    <a:pt x="543116" y="92583"/>
                  </a:lnTo>
                  <a:lnTo>
                    <a:pt x="539591" y="89821"/>
                  </a:lnTo>
                  <a:lnTo>
                    <a:pt x="539782" y="91440"/>
                  </a:lnTo>
                  <a:lnTo>
                    <a:pt x="538163" y="91631"/>
                  </a:lnTo>
                  <a:lnTo>
                    <a:pt x="537401" y="85344"/>
                  </a:lnTo>
                  <a:lnTo>
                    <a:pt x="535781" y="85534"/>
                  </a:lnTo>
                  <a:lnTo>
                    <a:pt x="534448" y="87249"/>
                  </a:lnTo>
                  <a:lnTo>
                    <a:pt x="527685" y="84963"/>
                  </a:lnTo>
                  <a:lnTo>
                    <a:pt x="529304" y="84773"/>
                  </a:lnTo>
                  <a:lnTo>
                    <a:pt x="528923" y="81534"/>
                  </a:lnTo>
                  <a:lnTo>
                    <a:pt x="521399" y="85725"/>
                  </a:lnTo>
                  <a:lnTo>
                    <a:pt x="516446" y="84773"/>
                  </a:lnTo>
                  <a:lnTo>
                    <a:pt x="516636" y="86296"/>
                  </a:lnTo>
                  <a:lnTo>
                    <a:pt x="512921" y="82010"/>
                  </a:lnTo>
                  <a:lnTo>
                    <a:pt x="508730" y="87344"/>
                  </a:lnTo>
                  <a:lnTo>
                    <a:pt x="503206" y="81629"/>
                  </a:lnTo>
                  <a:lnTo>
                    <a:pt x="500444" y="85154"/>
                  </a:lnTo>
                  <a:lnTo>
                    <a:pt x="496919" y="82486"/>
                  </a:lnTo>
                  <a:lnTo>
                    <a:pt x="496157" y="76105"/>
                  </a:lnTo>
                  <a:lnTo>
                    <a:pt x="494729" y="77915"/>
                  </a:lnTo>
                  <a:lnTo>
                    <a:pt x="493967" y="71628"/>
                  </a:lnTo>
                  <a:lnTo>
                    <a:pt x="488252" y="77152"/>
                  </a:lnTo>
                  <a:lnTo>
                    <a:pt x="486823" y="78962"/>
                  </a:lnTo>
                  <a:lnTo>
                    <a:pt x="483870" y="80867"/>
                  </a:lnTo>
                  <a:lnTo>
                    <a:pt x="483679" y="79343"/>
                  </a:lnTo>
                  <a:lnTo>
                    <a:pt x="482346" y="81058"/>
                  </a:lnTo>
                  <a:lnTo>
                    <a:pt x="483489" y="90583"/>
                  </a:lnTo>
                  <a:lnTo>
                    <a:pt x="478822" y="91154"/>
                  </a:lnTo>
                  <a:lnTo>
                    <a:pt x="473678" y="88582"/>
                  </a:lnTo>
                  <a:lnTo>
                    <a:pt x="471106" y="93726"/>
                  </a:lnTo>
                  <a:lnTo>
                    <a:pt x="472916" y="95155"/>
                  </a:lnTo>
                  <a:lnTo>
                    <a:pt x="476060" y="94679"/>
                  </a:lnTo>
                  <a:lnTo>
                    <a:pt x="476250" y="96298"/>
                  </a:lnTo>
                  <a:lnTo>
                    <a:pt x="472059" y="101632"/>
                  </a:lnTo>
                  <a:lnTo>
                    <a:pt x="463772" y="99536"/>
                  </a:lnTo>
                  <a:lnTo>
                    <a:pt x="460820" y="101441"/>
                  </a:lnTo>
                  <a:lnTo>
                    <a:pt x="459867" y="106394"/>
                  </a:lnTo>
                  <a:lnTo>
                    <a:pt x="456914" y="108394"/>
                  </a:lnTo>
                  <a:lnTo>
                    <a:pt x="450437" y="107632"/>
                  </a:lnTo>
                  <a:lnTo>
                    <a:pt x="451009" y="112300"/>
                  </a:lnTo>
                  <a:lnTo>
                    <a:pt x="448247" y="115919"/>
                  </a:lnTo>
                  <a:lnTo>
                    <a:pt x="443294" y="114967"/>
                  </a:lnTo>
                  <a:lnTo>
                    <a:pt x="443484" y="116491"/>
                  </a:lnTo>
                  <a:lnTo>
                    <a:pt x="439007" y="118681"/>
                  </a:lnTo>
                  <a:lnTo>
                    <a:pt x="439388" y="121825"/>
                  </a:lnTo>
                  <a:lnTo>
                    <a:pt x="436626" y="125444"/>
                  </a:lnTo>
                  <a:lnTo>
                    <a:pt x="432911" y="121063"/>
                  </a:lnTo>
                  <a:lnTo>
                    <a:pt x="423386" y="122301"/>
                  </a:lnTo>
                  <a:lnTo>
                    <a:pt x="425006" y="134874"/>
                  </a:lnTo>
                  <a:lnTo>
                    <a:pt x="421862" y="135350"/>
                  </a:lnTo>
                  <a:lnTo>
                    <a:pt x="423291" y="133540"/>
                  </a:lnTo>
                  <a:lnTo>
                    <a:pt x="418148" y="130969"/>
                  </a:lnTo>
                  <a:lnTo>
                    <a:pt x="415766" y="137731"/>
                  </a:lnTo>
                  <a:lnTo>
                    <a:pt x="405670" y="134207"/>
                  </a:lnTo>
                  <a:lnTo>
                    <a:pt x="397764" y="135160"/>
                  </a:lnTo>
                  <a:lnTo>
                    <a:pt x="393478" y="138970"/>
                  </a:lnTo>
                  <a:lnTo>
                    <a:pt x="392906" y="146971"/>
                  </a:lnTo>
                  <a:lnTo>
                    <a:pt x="400812" y="158877"/>
                  </a:lnTo>
                  <a:lnTo>
                    <a:pt x="400812" y="158877"/>
                  </a:lnTo>
                  <a:lnTo>
                    <a:pt x="401193" y="162020"/>
                  </a:lnTo>
                  <a:lnTo>
                    <a:pt x="397859" y="160782"/>
                  </a:lnTo>
                  <a:lnTo>
                    <a:pt x="394907" y="162782"/>
                  </a:lnTo>
                  <a:lnTo>
                    <a:pt x="398240" y="163925"/>
                  </a:lnTo>
                  <a:lnTo>
                    <a:pt x="393764" y="166116"/>
                  </a:lnTo>
                  <a:lnTo>
                    <a:pt x="398907" y="168688"/>
                  </a:lnTo>
                  <a:lnTo>
                    <a:pt x="399479" y="173450"/>
                  </a:lnTo>
                  <a:lnTo>
                    <a:pt x="395288" y="178784"/>
                  </a:lnTo>
                  <a:lnTo>
                    <a:pt x="393954" y="180594"/>
                  </a:lnTo>
                  <a:lnTo>
                    <a:pt x="390620" y="179356"/>
                  </a:lnTo>
                  <a:lnTo>
                    <a:pt x="387858" y="182975"/>
                  </a:lnTo>
                  <a:lnTo>
                    <a:pt x="384905" y="184880"/>
                  </a:lnTo>
                  <a:lnTo>
                    <a:pt x="380714" y="190310"/>
                  </a:lnTo>
                  <a:lnTo>
                    <a:pt x="377571" y="190690"/>
                  </a:lnTo>
                  <a:lnTo>
                    <a:pt x="377762" y="192215"/>
                  </a:lnTo>
                  <a:lnTo>
                    <a:pt x="378047" y="193834"/>
                  </a:lnTo>
                  <a:lnTo>
                    <a:pt x="371285" y="191452"/>
                  </a:lnTo>
                  <a:lnTo>
                    <a:pt x="372142" y="197739"/>
                  </a:lnTo>
                  <a:lnTo>
                    <a:pt x="372332" y="199358"/>
                  </a:lnTo>
                  <a:lnTo>
                    <a:pt x="368903" y="198215"/>
                  </a:lnTo>
                  <a:lnTo>
                    <a:pt x="360236" y="192881"/>
                  </a:lnTo>
                  <a:lnTo>
                    <a:pt x="356521" y="188500"/>
                  </a:lnTo>
                  <a:lnTo>
                    <a:pt x="356045" y="185356"/>
                  </a:lnTo>
                  <a:lnTo>
                    <a:pt x="350901" y="182785"/>
                  </a:lnTo>
                  <a:lnTo>
                    <a:pt x="344424" y="182023"/>
                  </a:lnTo>
                  <a:lnTo>
                    <a:pt x="337757" y="192500"/>
                  </a:lnTo>
                  <a:lnTo>
                    <a:pt x="327851" y="190595"/>
                  </a:lnTo>
                  <a:lnTo>
                    <a:pt x="321564" y="191357"/>
                  </a:lnTo>
                  <a:lnTo>
                    <a:pt x="318611" y="193357"/>
                  </a:lnTo>
                  <a:lnTo>
                    <a:pt x="317564" y="185452"/>
                  </a:lnTo>
                  <a:lnTo>
                    <a:pt x="310515" y="179927"/>
                  </a:lnTo>
                  <a:lnTo>
                    <a:pt x="304610" y="183928"/>
                  </a:lnTo>
                  <a:lnTo>
                    <a:pt x="299466" y="181356"/>
                  </a:lnTo>
                  <a:lnTo>
                    <a:pt x="299847" y="184499"/>
                  </a:lnTo>
                  <a:lnTo>
                    <a:pt x="296704" y="184976"/>
                  </a:lnTo>
                  <a:lnTo>
                    <a:pt x="294704" y="182023"/>
                  </a:lnTo>
                  <a:lnTo>
                    <a:pt x="295847" y="178594"/>
                  </a:lnTo>
                  <a:lnTo>
                    <a:pt x="292894" y="180594"/>
                  </a:lnTo>
                  <a:lnTo>
                    <a:pt x="293942" y="175641"/>
                  </a:lnTo>
                  <a:lnTo>
                    <a:pt x="290513" y="174498"/>
                  </a:lnTo>
                  <a:lnTo>
                    <a:pt x="284226" y="175260"/>
                  </a:lnTo>
                  <a:lnTo>
                    <a:pt x="280702" y="172498"/>
                  </a:lnTo>
                  <a:lnTo>
                    <a:pt x="275749" y="171545"/>
                  </a:lnTo>
                  <a:lnTo>
                    <a:pt x="274796" y="176498"/>
                  </a:lnTo>
                  <a:lnTo>
                    <a:pt x="270224" y="178689"/>
                  </a:lnTo>
                  <a:lnTo>
                    <a:pt x="264509" y="184214"/>
                  </a:lnTo>
                  <a:lnTo>
                    <a:pt x="260794" y="179927"/>
                  </a:lnTo>
                  <a:lnTo>
                    <a:pt x="258794" y="176974"/>
                  </a:lnTo>
                  <a:lnTo>
                    <a:pt x="257365" y="178689"/>
                  </a:lnTo>
                  <a:lnTo>
                    <a:pt x="256032" y="180499"/>
                  </a:lnTo>
                  <a:lnTo>
                    <a:pt x="249936" y="182880"/>
                  </a:lnTo>
                  <a:lnTo>
                    <a:pt x="244602" y="178784"/>
                  </a:lnTo>
                  <a:lnTo>
                    <a:pt x="243364" y="182118"/>
                  </a:lnTo>
                  <a:lnTo>
                    <a:pt x="234982" y="191167"/>
                  </a:lnTo>
                  <a:lnTo>
                    <a:pt x="230219" y="191833"/>
                  </a:lnTo>
                  <a:lnTo>
                    <a:pt x="223266" y="187833"/>
                  </a:lnTo>
                  <a:lnTo>
                    <a:pt x="216599" y="185547"/>
                  </a:lnTo>
                  <a:lnTo>
                    <a:pt x="215170" y="187261"/>
                  </a:lnTo>
                  <a:lnTo>
                    <a:pt x="220694" y="192977"/>
                  </a:lnTo>
                  <a:lnTo>
                    <a:pt x="221933" y="202502"/>
                  </a:lnTo>
                  <a:lnTo>
                    <a:pt x="207550" y="202692"/>
                  </a:lnTo>
                  <a:lnTo>
                    <a:pt x="195072" y="205931"/>
                  </a:lnTo>
                  <a:lnTo>
                    <a:pt x="195358" y="207455"/>
                  </a:lnTo>
                  <a:lnTo>
                    <a:pt x="198882" y="210217"/>
                  </a:lnTo>
                  <a:lnTo>
                    <a:pt x="200311" y="221266"/>
                  </a:lnTo>
                  <a:lnTo>
                    <a:pt x="200882" y="226028"/>
                  </a:lnTo>
                  <a:lnTo>
                    <a:pt x="192596" y="223837"/>
                  </a:lnTo>
                  <a:lnTo>
                    <a:pt x="193929" y="222123"/>
                  </a:lnTo>
                  <a:lnTo>
                    <a:pt x="192024" y="219170"/>
                  </a:lnTo>
                  <a:lnTo>
                    <a:pt x="190214" y="204883"/>
                  </a:lnTo>
                  <a:lnTo>
                    <a:pt x="184594" y="199168"/>
                  </a:lnTo>
                  <a:lnTo>
                    <a:pt x="174593" y="195644"/>
                  </a:lnTo>
                  <a:lnTo>
                    <a:pt x="160401" y="197453"/>
                  </a:lnTo>
                  <a:lnTo>
                    <a:pt x="160782" y="200692"/>
                  </a:lnTo>
                  <a:lnTo>
                    <a:pt x="157448" y="199453"/>
                  </a:lnTo>
                  <a:lnTo>
                    <a:pt x="157829" y="202597"/>
                  </a:lnTo>
                  <a:lnTo>
                    <a:pt x="153067" y="203264"/>
                  </a:lnTo>
                  <a:lnTo>
                    <a:pt x="150114" y="205169"/>
                  </a:lnTo>
                  <a:lnTo>
                    <a:pt x="149924" y="216408"/>
                  </a:lnTo>
                  <a:lnTo>
                    <a:pt x="143256" y="214122"/>
                  </a:lnTo>
                  <a:lnTo>
                    <a:pt x="139351" y="220980"/>
                  </a:lnTo>
                  <a:lnTo>
                    <a:pt x="136684" y="213360"/>
                  </a:lnTo>
                  <a:lnTo>
                    <a:pt x="129635" y="207836"/>
                  </a:lnTo>
                  <a:lnTo>
                    <a:pt x="118586" y="209264"/>
                  </a:lnTo>
                  <a:lnTo>
                    <a:pt x="108490" y="205740"/>
                  </a:lnTo>
                  <a:lnTo>
                    <a:pt x="106299" y="214027"/>
                  </a:lnTo>
                  <a:lnTo>
                    <a:pt x="100870" y="221075"/>
                  </a:lnTo>
                  <a:lnTo>
                    <a:pt x="97631" y="221552"/>
                  </a:lnTo>
                  <a:lnTo>
                    <a:pt x="87630" y="230791"/>
                  </a:lnTo>
                  <a:lnTo>
                    <a:pt x="85058" y="235934"/>
                  </a:lnTo>
                  <a:lnTo>
                    <a:pt x="86106" y="243840"/>
                  </a:lnTo>
                  <a:lnTo>
                    <a:pt x="82201" y="250793"/>
                  </a:lnTo>
                  <a:lnTo>
                    <a:pt x="79820" y="257461"/>
                  </a:lnTo>
                  <a:lnTo>
                    <a:pt x="70295" y="258699"/>
                  </a:lnTo>
                  <a:lnTo>
                    <a:pt x="70009" y="281178"/>
                  </a:lnTo>
                  <a:lnTo>
                    <a:pt x="68199" y="279749"/>
                  </a:lnTo>
                  <a:lnTo>
                    <a:pt x="64865" y="278606"/>
                  </a:lnTo>
                  <a:lnTo>
                    <a:pt x="62865" y="275653"/>
                  </a:lnTo>
                  <a:lnTo>
                    <a:pt x="59722" y="276035"/>
                  </a:lnTo>
                  <a:lnTo>
                    <a:pt x="55626" y="281369"/>
                  </a:lnTo>
                  <a:lnTo>
                    <a:pt x="51435" y="286703"/>
                  </a:lnTo>
                  <a:lnTo>
                    <a:pt x="54007" y="294418"/>
                  </a:lnTo>
                  <a:lnTo>
                    <a:pt x="53245" y="300990"/>
                  </a:lnTo>
                  <a:lnTo>
                    <a:pt x="50959" y="307657"/>
                  </a:lnTo>
                  <a:lnTo>
                    <a:pt x="46387" y="309848"/>
                  </a:lnTo>
                  <a:lnTo>
                    <a:pt x="45053" y="311658"/>
                  </a:lnTo>
                  <a:lnTo>
                    <a:pt x="49816" y="323850"/>
                  </a:lnTo>
                  <a:lnTo>
                    <a:pt x="45625" y="329184"/>
                  </a:lnTo>
                  <a:lnTo>
                    <a:pt x="52578" y="333089"/>
                  </a:lnTo>
                  <a:lnTo>
                    <a:pt x="51340" y="336423"/>
                  </a:lnTo>
                  <a:lnTo>
                    <a:pt x="50197" y="339852"/>
                  </a:lnTo>
                  <a:lnTo>
                    <a:pt x="48196" y="336899"/>
                  </a:lnTo>
                  <a:lnTo>
                    <a:pt x="3524" y="363379"/>
                  </a:lnTo>
                  <a:lnTo>
                    <a:pt x="0" y="373475"/>
                  </a:lnTo>
                  <a:lnTo>
                    <a:pt x="2381" y="379571"/>
                  </a:lnTo>
                  <a:lnTo>
                    <a:pt x="1333" y="384524"/>
                  </a:lnTo>
                  <a:lnTo>
                    <a:pt x="3715" y="390620"/>
                  </a:lnTo>
                  <a:lnTo>
                    <a:pt x="7525" y="395002"/>
                  </a:lnTo>
                  <a:lnTo>
                    <a:pt x="6382" y="398336"/>
                  </a:lnTo>
                  <a:lnTo>
                    <a:pt x="14669" y="400526"/>
                  </a:lnTo>
                  <a:lnTo>
                    <a:pt x="16573" y="403479"/>
                  </a:lnTo>
                  <a:lnTo>
                    <a:pt x="17621" y="411290"/>
                  </a:lnTo>
                  <a:lnTo>
                    <a:pt x="24765" y="429673"/>
                  </a:lnTo>
                  <a:lnTo>
                    <a:pt x="30099" y="433769"/>
                  </a:lnTo>
                  <a:lnTo>
                    <a:pt x="38195" y="434340"/>
                  </a:lnTo>
                  <a:lnTo>
                    <a:pt x="55626" y="445008"/>
                  </a:lnTo>
                  <a:lnTo>
                    <a:pt x="56388" y="451294"/>
                  </a:lnTo>
                  <a:lnTo>
                    <a:pt x="63341" y="455200"/>
                  </a:lnTo>
                  <a:lnTo>
                    <a:pt x="68008" y="454628"/>
                  </a:lnTo>
                  <a:lnTo>
                    <a:pt x="69818" y="455962"/>
                  </a:lnTo>
                  <a:lnTo>
                    <a:pt x="77533" y="453390"/>
                  </a:lnTo>
                  <a:lnTo>
                    <a:pt x="82487" y="454343"/>
                  </a:lnTo>
                  <a:lnTo>
                    <a:pt x="82106" y="464058"/>
                  </a:lnTo>
                  <a:lnTo>
                    <a:pt x="87058" y="477869"/>
                  </a:lnTo>
                  <a:lnTo>
                    <a:pt x="81534" y="485013"/>
                  </a:lnTo>
                  <a:lnTo>
                    <a:pt x="84106" y="492633"/>
                  </a:lnTo>
                  <a:lnTo>
                    <a:pt x="78391" y="498253"/>
                  </a:lnTo>
                  <a:lnTo>
                    <a:pt x="77248" y="501586"/>
                  </a:lnTo>
                  <a:lnTo>
                    <a:pt x="79248" y="504539"/>
                  </a:lnTo>
                  <a:lnTo>
                    <a:pt x="84106" y="505492"/>
                  </a:lnTo>
                  <a:lnTo>
                    <a:pt x="85916" y="506825"/>
                  </a:lnTo>
                  <a:lnTo>
                    <a:pt x="84773" y="510254"/>
                  </a:lnTo>
                  <a:lnTo>
                    <a:pt x="80582" y="515588"/>
                  </a:lnTo>
                  <a:lnTo>
                    <a:pt x="81439" y="521875"/>
                  </a:lnTo>
                  <a:lnTo>
                    <a:pt x="89726" y="524065"/>
                  </a:lnTo>
                  <a:lnTo>
                    <a:pt x="88297" y="525780"/>
                  </a:lnTo>
                  <a:lnTo>
                    <a:pt x="83820" y="527971"/>
                  </a:lnTo>
                  <a:lnTo>
                    <a:pt x="84392" y="532733"/>
                  </a:lnTo>
                  <a:lnTo>
                    <a:pt x="90964" y="533495"/>
                  </a:lnTo>
                  <a:lnTo>
                    <a:pt x="96869" y="529495"/>
                  </a:lnTo>
                  <a:lnTo>
                    <a:pt x="104965" y="530066"/>
                  </a:lnTo>
                  <a:lnTo>
                    <a:pt x="106870" y="533114"/>
                  </a:lnTo>
                  <a:lnTo>
                    <a:pt x="105537" y="534829"/>
                  </a:lnTo>
                  <a:lnTo>
                    <a:pt x="104108" y="536639"/>
                  </a:lnTo>
                  <a:lnTo>
                    <a:pt x="108299" y="544068"/>
                  </a:lnTo>
                  <a:lnTo>
                    <a:pt x="108585" y="558546"/>
                  </a:lnTo>
                  <a:lnTo>
                    <a:pt x="118205" y="571690"/>
                  </a:lnTo>
                  <a:lnTo>
                    <a:pt x="114110" y="589883"/>
                  </a:lnTo>
                  <a:lnTo>
                    <a:pt x="115729" y="602456"/>
                  </a:lnTo>
                  <a:lnTo>
                    <a:pt x="119348" y="605219"/>
                  </a:lnTo>
                  <a:lnTo>
                    <a:pt x="121920" y="612934"/>
                  </a:lnTo>
                  <a:lnTo>
                    <a:pt x="126016" y="620458"/>
                  </a:lnTo>
                  <a:lnTo>
                    <a:pt x="129445" y="621602"/>
                  </a:lnTo>
                  <a:lnTo>
                    <a:pt x="125254" y="626936"/>
                  </a:lnTo>
                  <a:lnTo>
                    <a:pt x="135922" y="635222"/>
                  </a:lnTo>
                  <a:lnTo>
                    <a:pt x="140875" y="636175"/>
                  </a:lnTo>
                  <a:lnTo>
                    <a:pt x="142875" y="639128"/>
                  </a:lnTo>
                  <a:lnTo>
                    <a:pt x="145828" y="637127"/>
                  </a:lnTo>
                  <a:lnTo>
                    <a:pt x="147828" y="640080"/>
                  </a:lnTo>
                  <a:lnTo>
                    <a:pt x="152495" y="639508"/>
                  </a:lnTo>
                  <a:lnTo>
                    <a:pt x="153734" y="636175"/>
                  </a:lnTo>
                  <a:lnTo>
                    <a:pt x="158210" y="633984"/>
                  </a:lnTo>
                  <a:lnTo>
                    <a:pt x="162973" y="646176"/>
                  </a:lnTo>
                  <a:lnTo>
                    <a:pt x="162020" y="651129"/>
                  </a:lnTo>
                  <a:lnTo>
                    <a:pt x="161639" y="660845"/>
                  </a:lnTo>
                  <a:lnTo>
                    <a:pt x="159544" y="669131"/>
                  </a:lnTo>
                  <a:lnTo>
                    <a:pt x="162306" y="678370"/>
                  </a:lnTo>
                  <a:lnTo>
                    <a:pt x="161735" y="686467"/>
                  </a:lnTo>
                  <a:lnTo>
                    <a:pt x="153638" y="698754"/>
                  </a:lnTo>
                  <a:lnTo>
                    <a:pt x="156782" y="698278"/>
                  </a:lnTo>
                  <a:lnTo>
                    <a:pt x="161163" y="707327"/>
                  </a:lnTo>
                  <a:lnTo>
                    <a:pt x="164497" y="708565"/>
                  </a:lnTo>
                  <a:lnTo>
                    <a:pt x="170116" y="727043"/>
                  </a:lnTo>
                  <a:lnTo>
                    <a:pt x="168974" y="730472"/>
                  </a:lnTo>
                  <a:lnTo>
                    <a:pt x="170307" y="741521"/>
                  </a:lnTo>
                  <a:lnTo>
                    <a:pt x="167831" y="746665"/>
                  </a:lnTo>
                  <a:lnTo>
                    <a:pt x="185166" y="757237"/>
                  </a:lnTo>
                  <a:lnTo>
                    <a:pt x="206312" y="759333"/>
                  </a:lnTo>
                  <a:lnTo>
                    <a:pt x="209455" y="771811"/>
                  </a:lnTo>
                  <a:lnTo>
                    <a:pt x="222885" y="776478"/>
                  </a:lnTo>
                  <a:lnTo>
                    <a:pt x="239744" y="795147"/>
                  </a:lnTo>
                  <a:lnTo>
                    <a:pt x="241554" y="809435"/>
                  </a:lnTo>
                  <a:lnTo>
                    <a:pt x="239363" y="817721"/>
                  </a:lnTo>
                  <a:lnTo>
                    <a:pt x="245745" y="829723"/>
                  </a:lnTo>
                  <a:lnTo>
                    <a:pt x="252413" y="832009"/>
                  </a:lnTo>
                  <a:lnTo>
                    <a:pt x="254603" y="836581"/>
                  </a:lnTo>
                  <a:lnTo>
                    <a:pt x="252698" y="846487"/>
                  </a:lnTo>
                  <a:lnTo>
                    <a:pt x="253079" y="849630"/>
                  </a:lnTo>
                  <a:lnTo>
                    <a:pt x="256413" y="850773"/>
                  </a:lnTo>
                  <a:lnTo>
                    <a:pt x="266700" y="855916"/>
                  </a:lnTo>
                  <a:lnTo>
                    <a:pt x="276797" y="859441"/>
                  </a:lnTo>
                  <a:lnTo>
                    <a:pt x="294323" y="858774"/>
                  </a:lnTo>
                  <a:lnTo>
                    <a:pt x="299085" y="858203"/>
                  </a:lnTo>
                  <a:lnTo>
                    <a:pt x="300419" y="856393"/>
                  </a:lnTo>
                  <a:lnTo>
                    <a:pt x="302038" y="856202"/>
                  </a:lnTo>
                  <a:lnTo>
                    <a:pt x="306229" y="863727"/>
                  </a:lnTo>
                  <a:lnTo>
                    <a:pt x="310706" y="861536"/>
                  </a:lnTo>
                  <a:lnTo>
                    <a:pt x="321374" y="869823"/>
                  </a:lnTo>
                  <a:lnTo>
                    <a:pt x="329660" y="871919"/>
                  </a:lnTo>
                  <a:lnTo>
                    <a:pt x="328517" y="862489"/>
                  </a:lnTo>
                  <a:lnTo>
                    <a:pt x="326136" y="856393"/>
                  </a:lnTo>
                  <a:lnTo>
                    <a:pt x="325279" y="850011"/>
                  </a:lnTo>
                  <a:lnTo>
                    <a:pt x="341662" y="852773"/>
                  </a:lnTo>
                  <a:lnTo>
                    <a:pt x="348615" y="856678"/>
                  </a:lnTo>
                  <a:lnTo>
                    <a:pt x="352139" y="859441"/>
                  </a:lnTo>
                  <a:lnTo>
                    <a:pt x="359855" y="856869"/>
                  </a:lnTo>
                  <a:lnTo>
                    <a:pt x="366808" y="860774"/>
                  </a:lnTo>
                  <a:lnTo>
                    <a:pt x="371475" y="860203"/>
                  </a:lnTo>
                  <a:lnTo>
                    <a:pt x="374809" y="861346"/>
                  </a:lnTo>
                  <a:lnTo>
                    <a:pt x="380429" y="867061"/>
                  </a:lnTo>
                  <a:lnTo>
                    <a:pt x="383572" y="866680"/>
                  </a:lnTo>
                  <a:lnTo>
                    <a:pt x="390430" y="870585"/>
                  </a:lnTo>
                  <a:lnTo>
                    <a:pt x="400145" y="883825"/>
                  </a:lnTo>
                  <a:lnTo>
                    <a:pt x="404336" y="891254"/>
                  </a:lnTo>
                  <a:lnTo>
                    <a:pt x="411671" y="898398"/>
                  </a:lnTo>
                  <a:lnTo>
                    <a:pt x="414052" y="904494"/>
                  </a:lnTo>
                  <a:lnTo>
                    <a:pt x="428816" y="907447"/>
                  </a:lnTo>
                  <a:lnTo>
                    <a:pt x="429673" y="926592"/>
                  </a:lnTo>
                  <a:lnTo>
                    <a:pt x="428339" y="928307"/>
                  </a:lnTo>
                  <a:lnTo>
                    <a:pt x="425958" y="935069"/>
                  </a:lnTo>
                  <a:lnTo>
                    <a:pt x="431292" y="952024"/>
                  </a:lnTo>
                  <a:lnTo>
                    <a:pt x="445960" y="953357"/>
                  </a:lnTo>
                  <a:lnTo>
                    <a:pt x="447866" y="956310"/>
                  </a:lnTo>
                  <a:lnTo>
                    <a:pt x="446913" y="961263"/>
                  </a:lnTo>
                  <a:lnTo>
                    <a:pt x="449294" y="967359"/>
                  </a:lnTo>
                  <a:lnTo>
                    <a:pt x="454438" y="969931"/>
                  </a:lnTo>
                  <a:lnTo>
                    <a:pt x="458152" y="974217"/>
                  </a:lnTo>
                  <a:lnTo>
                    <a:pt x="464534" y="973455"/>
                  </a:lnTo>
                  <a:lnTo>
                    <a:pt x="466725" y="977932"/>
                  </a:lnTo>
                  <a:lnTo>
                    <a:pt x="469106" y="984028"/>
                  </a:lnTo>
                  <a:lnTo>
                    <a:pt x="467106" y="993934"/>
                  </a:lnTo>
                  <a:lnTo>
                    <a:pt x="486537" y="1007555"/>
                  </a:lnTo>
                  <a:lnTo>
                    <a:pt x="485966" y="1015651"/>
                  </a:lnTo>
                  <a:lnTo>
                    <a:pt x="483394" y="1020699"/>
                  </a:lnTo>
                  <a:lnTo>
                    <a:pt x="483775" y="1023937"/>
                  </a:lnTo>
                  <a:lnTo>
                    <a:pt x="492824" y="1032320"/>
                  </a:lnTo>
                  <a:lnTo>
                    <a:pt x="497586" y="1031748"/>
                  </a:lnTo>
                  <a:lnTo>
                    <a:pt x="503301" y="1039082"/>
                  </a:lnTo>
                  <a:lnTo>
                    <a:pt x="505111" y="1040416"/>
                  </a:lnTo>
                  <a:lnTo>
                    <a:pt x="509302" y="1047940"/>
                  </a:lnTo>
                  <a:lnTo>
                    <a:pt x="520351" y="1059371"/>
                  </a:lnTo>
                  <a:lnTo>
                    <a:pt x="526828" y="1060133"/>
                  </a:lnTo>
                  <a:lnTo>
                    <a:pt x="528828" y="1063085"/>
                  </a:lnTo>
                  <a:lnTo>
                    <a:pt x="530066" y="1072515"/>
                  </a:lnTo>
                  <a:lnTo>
                    <a:pt x="524732" y="1094041"/>
                  </a:lnTo>
                  <a:lnTo>
                    <a:pt x="534257" y="1105662"/>
                  </a:lnTo>
                  <a:lnTo>
                    <a:pt x="550450" y="1119664"/>
                  </a:lnTo>
                  <a:lnTo>
                    <a:pt x="571024" y="1129856"/>
                  </a:lnTo>
                  <a:lnTo>
                    <a:pt x="587978" y="1124522"/>
                  </a:lnTo>
                  <a:lnTo>
                    <a:pt x="603790" y="1122426"/>
                  </a:lnTo>
                  <a:lnTo>
                    <a:pt x="608933" y="1124998"/>
                  </a:lnTo>
                  <a:lnTo>
                    <a:pt x="623792" y="1140809"/>
                  </a:lnTo>
                  <a:lnTo>
                    <a:pt x="628841" y="1143286"/>
                  </a:lnTo>
                  <a:lnTo>
                    <a:pt x="634270" y="1147477"/>
                  </a:lnTo>
                  <a:lnTo>
                    <a:pt x="634841" y="1152239"/>
                  </a:lnTo>
                  <a:lnTo>
                    <a:pt x="641509" y="1154525"/>
                  </a:lnTo>
                  <a:lnTo>
                    <a:pt x="647319" y="1161860"/>
                  </a:lnTo>
                  <a:lnTo>
                    <a:pt x="649891" y="1169480"/>
                  </a:lnTo>
                  <a:lnTo>
                    <a:pt x="655225" y="1173671"/>
                  </a:lnTo>
                  <a:lnTo>
                    <a:pt x="661130" y="1182529"/>
                  </a:lnTo>
                  <a:lnTo>
                    <a:pt x="662940" y="1183862"/>
                  </a:lnTo>
                  <a:lnTo>
                    <a:pt x="666464" y="1186625"/>
                  </a:lnTo>
                  <a:lnTo>
                    <a:pt x="671227" y="1198912"/>
                  </a:lnTo>
                  <a:lnTo>
                    <a:pt x="675989" y="1198245"/>
                  </a:lnTo>
                  <a:lnTo>
                    <a:pt x="676561" y="1203008"/>
                  </a:lnTo>
                  <a:lnTo>
                    <a:pt x="681323" y="1202436"/>
                  </a:lnTo>
                  <a:lnTo>
                    <a:pt x="684848" y="1205198"/>
                  </a:lnTo>
                  <a:lnTo>
                    <a:pt x="684086" y="1211675"/>
                  </a:lnTo>
                  <a:lnTo>
                    <a:pt x="681323" y="1215200"/>
                  </a:lnTo>
                  <a:lnTo>
                    <a:pt x="681323" y="1215200"/>
                  </a:lnTo>
                  <a:lnTo>
                    <a:pt x="685324" y="1221105"/>
                  </a:lnTo>
                  <a:lnTo>
                    <a:pt x="690467" y="1236536"/>
                  </a:lnTo>
                  <a:lnTo>
                    <a:pt x="687705" y="1240060"/>
                  </a:lnTo>
                  <a:lnTo>
                    <a:pt x="685610" y="1248347"/>
                  </a:lnTo>
                  <a:lnTo>
                    <a:pt x="691706" y="1258824"/>
                  </a:lnTo>
                  <a:lnTo>
                    <a:pt x="691896" y="1260348"/>
                  </a:lnTo>
                  <a:lnTo>
                    <a:pt x="688181" y="1268921"/>
                  </a:lnTo>
                  <a:lnTo>
                    <a:pt x="686276" y="1278731"/>
                  </a:lnTo>
                  <a:lnTo>
                    <a:pt x="703802" y="1290923"/>
                  </a:lnTo>
                  <a:lnTo>
                    <a:pt x="704469" y="1295686"/>
                  </a:lnTo>
                  <a:lnTo>
                    <a:pt x="709327" y="1296638"/>
                  </a:lnTo>
                  <a:lnTo>
                    <a:pt x="716661" y="1303687"/>
                  </a:lnTo>
                  <a:lnTo>
                    <a:pt x="728567" y="1308640"/>
                  </a:lnTo>
                  <a:lnTo>
                    <a:pt x="734282" y="1315974"/>
                  </a:lnTo>
                  <a:lnTo>
                    <a:pt x="744569" y="1321022"/>
                  </a:lnTo>
                  <a:lnTo>
                    <a:pt x="745141" y="1325785"/>
                  </a:lnTo>
                  <a:lnTo>
                    <a:pt x="753999" y="1332643"/>
                  </a:lnTo>
                  <a:lnTo>
                    <a:pt x="761905" y="1331690"/>
                  </a:lnTo>
                  <a:lnTo>
                    <a:pt x="760857" y="1310926"/>
                  </a:lnTo>
                  <a:lnTo>
                    <a:pt x="762857" y="1301020"/>
                  </a:lnTo>
                  <a:lnTo>
                    <a:pt x="767810" y="1302068"/>
                  </a:lnTo>
                  <a:lnTo>
                    <a:pt x="775049" y="1296257"/>
                  </a:lnTo>
                  <a:lnTo>
                    <a:pt x="779812" y="1295686"/>
                  </a:lnTo>
                  <a:lnTo>
                    <a:pt x="788861" y="1304163"/>
                  </a:lnTo>
                  <a:lnTo>
                    <a:pt x="793623" y="1303591"/>
                  </a:lnTo>
                  <a:lnTo>
                    <a:pt x="792671" y="1295686"/>
                  </a:lnTo>
                  <a:lnTo>
                    <a:pt x="793623" y="1290733"/>
                  </a:lnTo>
                  <a:lnTo>
                    <a:pt x="786860" y="1288352"/>
                  </a:lnTo>
                  <a:lnTo>
                    <a:pt x="782955" y="1282446"/>
                  </a:lnTo>
                  <a:lnTo>
                    <a:pt x="785051" y="1274159"/>
                  </a:lnTo>
                  <a:lnTo>
                    <a:pt x="784479" y="1269397"/>
                  </a:lnTo>
                  <a:lnTo>
                    <a:pt x="789813" y="1260729"/>
                  </a:lnTo>
                  <a:lnTo>
                    <a:pt x="789146" y="1255966"/>
                  </a:lnTo>
                  <a:lnTo>
                    <a:pt x="790004" y="1249490"/>
                  </a:lnTo>
                  <a:lnTo>
                    <a:pt x="788003" y="1246537"/>
                  </a:lnTo>
                  <a:lnTo>
                    <a:pt x="796195" y="1235869"/>
                  </a:lnTo>
                  <a:lnTo>
                    <a:pt x="798005" y="1224439"/>
                  </a:lnTo>
                  <a:lnTo>
                    <a:pt x="807625" y="1211961"/>
                  </a:lnTo>
                  <a:lnTo>
                    <a:pt x="807244" y="1208818"/>
                  </a:lnTo>
                  <a:lnTo>
                    <a:pt x="808768" y="1208627"/>
                  </a:lnTo>
                  <a:lnTo>
                    <a:pt x="810768" y="1211580"/>
                  </a:lnTo>
                  <a:lnTo>
                    <a:pt x="814102" y="1212723"/>
                  </a:lnTo>
                  <a:lnTo>
                    <a:pt x="817912" y="1217105"/>
                  </a:lnTo>
                  <a:lnTo>
                    <a:pt x="830675" y="1204246"/>
                  </a:lnTo>
                  <a:lnTo>
                    <a:pt x="832866" y="1195959"/>
                  </a:lnTo>
                  <a:lnTo>
                    <a:pt x="834009" y="1192530"/>
                  </a:lnTo>
                  <a:lnTo>
                    <a:pt x="833247" y="1186244"/>
                  </a:lnTo>
                  <a:lnTo>
                    <a:pt x="825341" y="1174433"/>
                  </a:lnTo>
                  <a:lnTo>
                    <a:pt x="827437" y="1166146"/>
                  </a:lnTo>
                  <a:lnTo>
                    <a:pt x="825437" y="1163193"/>
                  </a:lnTo>
                  <a:lnTo>
                    <a:pt x="818388" y="1157669"/>
                  </a:lnTo>
                  <a:lnTo>
                    <a:pt x="815531" y="1148429"/>
                  </a:lnTo>
                  <a:lnTo>
                    <a:pt x="815340" y="1146810"/>
                  </a:lnTo>
                  <a:lnTo>
                    <a:pt x="826199" y="1143857"/>
                  </a:lnTo>
                  <a:lnTo>
                    <a:pt x="827342" y="1140524"/>
                  </a:lnTo>
                  <a:lnTo>
                    <a:pt x="825818" y="1127855"/>
                  </a:lnTo>
                  <a:lnTo>
                    <a:pt x="822389" y="1126712"/>
                  </a:lnTo>
                  <a:lnTo>
                    <a:pt x="823436" y="1121759"/>
                  </a:lnTo>
                  <a:lnTo>
                    <a:pt x="824579" y="1118426"/>
                  </a:lnTo>
                  <a:lnTo>
                    <a:pt x="824389" y="1116806"/>
                  </a:lnTo>
                  <a:lnTo>
                    <a:pt x="826675" y="1110139"/>
                  </a:lnTo>
                  <a:lnTo>
                    <a:pt x="829723" y="1108139"/>
                  </a:lnTo>
                  <a:lnTo>
                    <a:pt x="831056" y="1106329"/>
                  </a:lnTo>
                  <a:lnTo>
                    <a:pt x="829056" y="1103376"/>
                  </a:lnTo>
                  <a:lnTo>
                    <a:pt x="822389" y="1100995"/>
                  </a:lnTo>
                  <a:lnTo>
                    <a:pt x="822198" y="1099471"/>
                  </a:lnTo>
                  <a:lnTo>
                    <a:pt x="823532" y="1097661"/>
                  </a:lnTo>
                  <a:lnTo>
                    <a:pt x="836581" y="1099185"/>
                  </a:lnTo>
                  <a:lnTo>
                    <a:pt x="836771" y="1100804"/>
                  </a:lnTo>
                  <a:lnTo>
                    <a:pt x="833819" y="1102805"/>
                  </a:lnTo>
                  <a:lnTo>
                    <a:pt x="842296" y="1106519"/>
                  </a:lnTo>
                  <a:lnTo>
                    <a:pt x="847058" y="1105948"/>
                  </a:lnTo>
                  <a:lnTo>
                    <a:pt x="849059" y="1108901"/>
                  </a:lnTo>
                  <a:lnTo>
                    <a:pt x="850964" y="1111853"/>
                  </a:lnTo>
                  <a:lnTo>
                    <a:pt x="861060" y="1102519"/>
                  </a:lnTo>
                  <a:lnTo>
                    <a:pt x="862013" y="1097566"/>
                  </a:lnTo>
                  <a:lnTo>
                    <a:pt x="866966" y="1098518"/>
                  </a:lnTo>
                  <a:lnTo>
                    <a:pt x="869918" y="1096613"/>
                  </a:lnTo>
                  <a:lnTo>
                    <a:pt x="869537" y="1093470"/>
                  </a:lnTo>
                  <a:lnTo>
                    <a:pt x="872490" y="1091470"/>
                  </a:lnTo>
                  <a:lnTo>
                    <a:pt x="871823" y="1086707"/>
                  </a:lnTo>
                  <a:lnTo>
                    <a:pt x="879920" y="1087279"/>
                  </a:lnTo>
                  <a:lnTo>
                    <a:pt x="884301" y="1083564"/>
                  </a:lnTo>
                  <a:lnTo>
                    <a:pt x="886016" y="1084898"/>
                  </a:lnTo>
                  <a:lnTo>
                    <a:pt x="888778" y="1081373"/>
                  </a:lnTo>
                  <a:lnTo>
                    <a:pt x="892397" y="1084136"/>
                  </a:lnTo>
                  <a:lnTo>
                    <a:pt x="893921" y="1083850"/>
                  </a:lnTo>
                  <a:lnTo>
                    <a:pt x="894588" y="1088612"/>
                  </a:lnTo>
                  <a:lnTo>
                    <a:pt x="895731" y="1085279"/>
                  </a:lnTo>
                  <a:lnTo>
                    <a:pt x="898493" y="1081754"/>
                  </a:lnTo>
                  <a:lnTo>
                    <a:pt x="898303" y="1080135"/>
                  </a:lnTo>
                  <a:lnTo>
                    <a:pt x="895350" y="1082135"/>
                  </a:lnTo>
                  <a:lnTo>
                    <a:pt x="895160" y="1080516"/>
                  </a:lnTo>
                  <a:lnTo>
                    <a:pt x="893731" y="1082326"/>
                  </a:lnTo>
                  <a:lnTo>
                    <a:pt x="891731" y="1079373"/>
                  </a:lnTo>
                  <a:lnTo>
                    <a:pt x="896302" y="1077182"/>
                  </a:lnTo>
                  <a:lnTo>
                    <a:pt x="896112" y="1075563"/>
                  </a:lnTo>
                  <a:lnTo>
                    <a:pt x="895445" y="1058037"/>
                  </a:lnTo>
                  <a:lnTo>
                    <a:pt x="902303" y="1049179"/>
                  </a:lnTo>
                  <a:lnTo>
                    <a:pt x="905542" y="1048703"/>
                  </a:lnTo>
                  <a:lnTo>
                    <a:pt x="910685" y="1051274"/>
                  </a:lnTo>
                  <a:lnTo>
                    <a:pt x="914972" y="1047560"/>
                  </a:lnTo>
                  <a:lnTo>
                    <a:pt x="912400" y="1039844"/>
                  </a:lnTo>
                  <a:lnTo>
                    <a:pt x="911352" y="1031939"/>
                  </a:lnTo>
                  <a:lnTo>
                    <a:pt x="908018" y="1030795"/>
                  </a:lnTo>
                  <a:lnTo>
                    <a:pt x="909161" y="1027462"/>
                  </a:lnTo>
                  <a:lnTo>
                    <a:pt x="907637" y="1027652"/>
                  </a:lnTo>
                  <a:lnTo>
                    <a:pt x="899351" y="1025461"/>
                  </a:lnTo>
                  <a:lnTo>
                    <a:pt x="899732" y="1015841"/>
                  </a:lnTo>
                  <a:lnTo>
                    <a:pt x="896969" y="1019365"/>
                  </a:lnTo>
                  <a:lnTo>
                    <a:pt x="896112" y="1013079"/>
                  </a:lnTo>
                  <a:lnTo>
                    <a:pt x="897731" y="1012889"/>
                  </a:lnTo>
                  <a:lnTo>
                    <a:pt x="894588" y="1013270"/>
                  </a:lnTo>
                  <a:lnTo>
                    <a:pt x="893921" y="1008507"/>
                  </a:lnTo>
                  <a:lnTo>
                    <a:pt x="895350" y="1006697"/>
                  </a:lnTo>
                  <a:lnTo>
                    <a:pt x="898684" y="1007936"/>
                  </a:lnTo>
                  <a:lnTo>
                    <a:pt x="898303" y="1004792"/>
                  </a:lnTo>
                  <a:lnTo>
                    <a:pt x="896493" y="1003364"/>
                  </a:lnTo>
                  <a:lnTo>
                    <a:pt x="902208" y="997839"/>
                  </a:lnTo>
                  <a:lnTo>
                    <a:pt x="908971" y="1000220"/>
                  </a:lnTo>
                  <a:lnTo>
                    <a:pt x="908114" y="993839"/>
                  </a:lnTo>
                  <a:lnTo>
                    <a:pt x="906399" y="992505"/>
                  </a:lnTo>
                  <a:lnTo>
                    <a:pt x="907352" y="987552"/>
                  </a:lnTo>
                  <a:lnTo>
                    <a:pt x="912495" y="990124"/>
                  </a:lnTo>
                  <a:lnTo>
                    <a:pt x="912686" y="991743"/>
                  </a:lnTo>
                  <a:lnTo>
                    <a:pt x="919163" y="992505"/>
                  </a:lnTo>
                  <a:lnTo>
                    <a:pt x="920782" y="992315"/>
                  </a:lnTo>
                  <a:lnTo>
                    <a:pt x="916781" y="986314"/>
                  </a:lnTo>
                  <a:lnTo>
                    <a:pt x="916591" y="984790"/>
                  </a:lnTo>
                  <a:lnTo>
                    <a:pt x="923639" y="977456"/>
                  </a:lnTo>
                  <a:lnTo>
                    <a:pt x="926878" y="977074"/>
                  </a:lnTo>
                  <a:lnTo>
                    <a:pt x="924877" y="974122"/>
                  </a:lnTo>
                  <a:lnTo>
                    <a:pt x="921925" y="976122"/>
                  </a:lnTo>
                  <a:lnTo>
                    <a:pt x="912209" y="975741"/>
                  </a:lnTo>
                  <a:lnTo>
                    <a:pt x="910495" y="974312"/>
                  </a:lnTo>
                  <a:lnTo>
                    <a:pt x="907256" y="974789"/>
                  </a:lnTo>
                  <a:lnTo>
                    <a:pt x="904304" y="963930"/>
                  </a:lnTo>
                  <a:lnTo>
                    <a:pt x="904685" y="954215"/>
                  </a:lnTo>
                  <a:lnTo>
                    <a:pt x="901160" y="951452"/>
                  </a:lnTo>
                  <a:lnTo>
                    <a:pt x="902494" y="949738"/>
                  </a:lnTo>
                  <a:lnTo>
                    <a:pt x="909066" y="950500"/>
                  </a:lnTo>
                  <a:lnTo>
                    <a:pt x="913543" y="948309"/>
                  </a:lnTo>
                  <a:lnTo>
                    <a:pt x="917353" y="952595"/>
                  </a:lnTo>
                  <a:lnTo>
                    <a:pt x="920496" y="952214"/>
                  </a:lnTo>
                  <a:lnTo>
                    <a:pt x="923639" y="951833"/>
                  </a:lnTo>
                  <a:lnTo>
                    <a:pt x="924401" y="945261"/>
                  </a:lnTo>
                  <a:lnTo>
                    <a:pt x="927354" y="943356"/>
                  </a:lnTo>
                  <a:lnTo>
                    <a:pt x="928116" y="936784"/>
                  </a:lnTo>
                  <a:lnTo>
                    <a:pt x="924782" y="935641"/>
                  </a:lnTo>
                  <a:lnTo>
                    <a:pt x="921639" y="936022"/>
                  </a:lnTo>
                  <a:lnTo>
                    <a:pt x="917448" y="928497"/>
                  </a:lnTo>
                  <a:lnTo>
                    <a:pt x="919067" y="928307"/>
                  </a:lnTo>
                  <a:lnTo>
                    <a:pt x="922020" y="926402"/>
                  </a:lnTo>
                  <a:lnTo>
                    <a:pt x="918972" y="915543"/>
                  </a:lnTo>
                  <a:lnTo>
                    <a:pt x="927449" y="919258"/>
                  </a:lnTo>
                  <a:lnTo>
                    <a:pt x="929450" y="909352"/>
                  </a:lnTo>
                  <a:lnTo>
                    <a:pt x="934022" y="907161"/>
                  </a:lnTo>
                  <a:lnTo>
                    <a:pt x="937165" y="906780"/>
                  </a:lnTo>
                  <a:lnTo>
                    <a:pt x="938117" y="901827"/>
                  </a:lnTo>
                  <a:lnTo>
                    <a:pt x="942594" y="899636"/>
                  </a:lnTo>
                  <a:lnTo>
                    <a:pt x="950976" y="901827"/>
                  </a:lnTo>
                  <a:lnTo>
                    <a:pt x="952310" y="900017"/>
                  </a:lnTo>
                  <a:lnTo>
                    <a:pt x="953452" y="896683"/>
                  </a:lnTo>
                  <a:lnTo>
                    <a:pt x="950881" y="888968"/>
                  </a:lnTo>
                  <a:lnTo>
                    <a:pt x="954024" y="888587"/>
                  </a:lnTo>
                  <a:lnTo>
                    <a:pt x="952119" y="885635"/>
                  </a:lnTo>
                  <a:lnTo>
                    <a:pt x="954405" y="878967"/>
                  </a:lnTo>
                  <a:lnTo>
                    <a:pt x="958120" y="870395"/>
                  </a:lnTo>
                  <a:lnTo>
                    <a:pt x="966026" y="869442"/>
                  </a:lnTo>
                  <a:lnTo>
                    <a:pt x="964311" y="868013"/>
                  </a:lnTo>
                  <a:lnTo>
                    <a:pt x="963263" y="860203"/>
                  </a:lnTo>
                  <a:lnTo>
                    <a:pt x="960692" y="865251"/>
                  </a:lnTo>
                  <a:lnTo>
                    <a:pt x="958977" y="863918"/>
                  </a:lnTo>
                  <a:lnTo>
                    <a:pt x="963073" y="858583"/>
                  </a:lnTo>
                  <a:lnTo>
                    <a:pt x="964597" y="858393"/>
                  </a:lnTo>
                  <a:lnTo>
                    <a:pt x="964216" y="855250"/>
                  </a:lnTo>
                  <a:lnTo>
                    <a:pt x="967550" y="856393"/>
                  </a:lnTo>
                  <a:lnTo>
                    <a:pt x="965645" y="853440"/>
                  </a:lnTo>
                  <a:lnTo>
                    <a:pt x="966407" y="846963"/>
                  </a:lnTo>
                  <a:lnTo>
                    <a:pt x="963073" y="845725"/>
                  </a:lnTo>
                  <a:lnTo>
                    <a:pt x="964216" y="842391"/>
                  </a:lnTo>
                  <a:lnTo>
                    <a:pt x="961263" y="844391"/>
                  </a:lnTo>
                  <a:lnTo>
                    <a:pt x="957453" y="840010"/>
                  </a:lnTo>
                  <a:lnTo>
                    <a:pt x="954310" y="840486"/>
                  </a:lnTo>
                  <a:lnTo>
                    <a:pt x="954119" y="838867"/>
                  </a:lnTo>
                  <a:lnTo>
                    <a:pt x="957263" y="838486"/>
                  </a:lnTo>
                  <a:lnTo>
                    <a:pt x="953929" y="837343"/>
                  </a:lnTo>
                  <a:lnTo>
                    <a:pt x="956882" y="835343"/>
                  </a:lnTo>
                  <a:lnTo>
                    <a:pt x="954881" y="832390"/>
                  </a:lnTo>
                  <a:lnTo>
                    <a:pt x="949357" y="826675"/>
                  </a:lnTo>
                  <a:lnTo>
                    <a:pt x="950309" y="821722"/>
                  </a:lnTo>
                  <a:lnTo>
                    <a:pt x="946404" y="815816"/>
                  </a:lnTo>
                  <a:lnTo>
                    <a:pt x="947738" y="814007"/>
                  </a:lnTo>
                  <a:lnTo>
                    <a:pt x="946214" y="814197"/>
                  </a:lnTo>
                  <a:lnTo>
                    <a:pt x="947547" y="812482"/>
                  </a:lnTo>
                  <a:lnTo>
                    <a:pt x="946023" y="812673"/>
                  </a:lnTo>
                  <a:lnTo>
                    <a:pt x="945547" y="809530"/>
                  </a:lnTo>
                  <a:lnTo>
                    <a:pt x="947166" y="809244"/>
                  </a:lnTo>
                  <a:lnTo>
                    <a:pt x="951071" y="802386"/>
                  </a:lnTo>
                  <a:lnTo>
                    <a:pt x="949357" y="800957"/>
                  </a:lnTo>
                  <a:lnTo>
                    <a:pt x="948500" y="794671"/>
                  </a:lnTo>
                  <a:lnTo>
                    <a:pt x="951071" y="789527"/>
                  </a:lnTo>
                  <a:lnTo>
                    <a:pt x="949262" y="788194"/>
                  </a:lnTo>
                  <a:lnTo>
                    <a:pt x="952405" y="787813"/>
                  </a:lnTo>
                  <a:lnTo>
                    <a:pt x="956405" y="780860"/>
                  </a:lnTo>
                  <a:lnTo>
                    <a:pt x="957929" y="780669"/>
                  </a:lnTo>
                  <a:lnTo>
                    <a:pt x="956120" y="779240"/>
                  </a:lnTo>
                  <a:lnTo>
                    <a:pt x="958691" y="774097"/>
                  </a:lnTo>
                  <a:lnTo>
                    <a:pt x="965264" y="774954"/>
                  </a:lnTo>
                  <a:lnTo>
                    <a:pt x="968407" y="774478"/>
                  </a:lnTo>
                  <a:lnTo>
                    <a:pt x="968216" y="772954"/>
                  </a:lnTo>
                  <a:lnTo>
                    <a:pt x="960120" y="772382"/>
                  </a:lnTo>
                  <a:lnTo>
                    <a:pt x="958120" y="769430"/>
                  </a:lnTo>
                  <a:lnTo>
                    <a:pt x="961263" y="769049"/>
                  </a:lnTo>
                  <a:lnTo>
                    <a:pt x="961073" y="767429"/>
                  </a:lnTo>
                  <a:lnTo>
                    <a:pt x="957929" y="767810"/>
                  </a:lnTo>
                  <a:lnTo>
                    <a:pt x="957548" y="764667"/>
                  </a:lnTo>
                  <a:lnTo>
                    <a:pt x="955739" y="763333"/>
                  </a:lnTo>
                  <a:lnTo>
                    <a:pt x="955358" y="760190"/>
                  </a:lnTo>
                  <a:lnTo>
                    <a:pt x="953738" y="760381"/>
                  </a:lnTo>
                  <a:lnTo>
                    <a:pt x="951548" y="755809"/>
                  </a:lnTo>
                  <a:lnTo>
                    <a:pt x="949833" y="754380"/>
                  </a:lnTo>
                  <a:lnTo>
                    <a:pt x="950976" y="751046"/>
                  </a:lnTo>
                  <a:lnTo>
                    <a:pt x="950595" y="747903"/>
                  </a:lnTo>
                  <a:lnTo>
                    <a:pt x="951929" y="746093"/>
                  </a:lnTo>
                  <a:lnTo>
                    <a:pt x="948595" y="744950"/>
                  </a:lnTo>
                  <a:lnTo>
                    <a:pt x="949547" y="739997"/>
                  </a:lnTo>
                  <a:lnTo>
                    <a:pt x="952500" y="738092"/>
                  </a:lnTo>
                  <a:lnTo>
                    <a:pt x="950119" y="731901"/>
                  </a:lnTo>
                  <a:lnTo>
                    <a:pt x="951357" y="728567"/>
                  </a:lnTo>
                  <a:lnTo>
                    <a:pt x="948119" y="728948"/>
                  </a:lnTo>
                  <a:lnTo>
                    <a:pt x="950881" y="725424"/>
                  </a:lnTo>
                  <a:lnTo>
                    <a:pt x="950500" y="722281"/>
                  </a:lnTo>
                  <a:lnTo>
                    <a:pt x="948881" y="722471"/>
                  </a:lnTo>
                  <a:lnTo>
                    <a:pt x="947738" y="725805"/>
                  </a:lnTo>
                  <a:lnTo>
                    <a:pt x="948881" y="722471"/>
                  </a:lnTo>
                  <a:lnTo>
                    <a:pt x="946976" y="719519"/>
                  </a:lnTo>
                  <a:lnTo>
                    <a:pt x="953452" y="720281"/>
                  </a:lnTo>
                  <a:lnTo>
                    <a:pt x="953262" y="718757"/>
                  </a:lnTo>
                  <a:lnTo>
                    <a:pt x="946785" y="717899"/>
                  </a:lnTo>
                  <a:lnTo>
                    <a:pt x="946976" y="719519"/>
                  </a:lnTo>
                  <a:lnTo>
                    <a:pt x="946785" y="717899"/>
                  </a:lnTo>
                  <a:lnTo>
                    <a:pt x="943547" y="718376"/>
                  </a:lnTo>
                  <a:lnTo>
                    <a:pt x="940213" y="717137"/>
                  </a:lnTo>
                  <a:lnTo>
                    <a:pt x="939451" y="710851"/>
                  </a:lnTo>
                  <a:lnTo>
                    <a:pt x="940784" y="709041"/>
                  </a:lnTo>
                  <a:lnTo>
                    <a:pt x="938784" y="706088"/>
                  </a:lnTo>
                  <a:lnTo>
                    <a:pt x="942023" y="705707"/>
                  </a:lnTo>
                  <a:lnTo>
                    <a:pt x="943166" y="702374"/>
                  </a:lnTo>
                  <a:lnTo>
                    <a:pt x="946499" y="703516"/>
                  </a:lnTo>
                  <a:lnTo>
                    <a:pt x="947738" y="700183"/>
                  </a:lnTo>
                  <a:lnTo>
                    <a:pt x="947261" y="697040"/>
                  </a:lnTo>
                  <a:lnTo>
                    <a:pt x="942118" y="694468"/>
                  </a:lnTo>
                  <a:lnTo>
                    <a:pt x="943356" y="691134"/>
                  </a:lnTo>
                  <a:lnTo>
                    <a:pt x="947642" y="687324"/>
                  </a:lnTo>
                  <a:lnTo>
                    <a:pt x="948881" y="683990"/>
                  </a:lnTo>
                  <a:lnTo>
                    <a:pt x="952214" y="685133"/>
                  </a:lnTo>
                  <a:lnTo>
                    <a:pt x="952976" y="678656"/>
                  </a:lnTo>
                  <a:lnTo>
                    <a:pt x="954310" y="676847"/>
                  </a:lnTo>
                  <a:lnTo>
                    <a:pt x="956120" y="665416"/>
                  </a:lnTo>
                  <a:lnTo>
                    <a:pt x="956691" y="657320"/>
                  </a:lnTo>
                  <a:lnTo>
                    <a:pt x="951548" y="654749"/>
                  </a:lnTo>
                  <a:lnTo>
                    <a:pt x="952119" y="646652"/>
                  </a:lnTo>
                  <a:lnTo>
                    <a:pt x="941642" y="639985"/>
                  </a:lnTo>
                  <a:lnTo>
                    <a:pt x="938498" y="640366"/>
                  </a:lnTo>
                  <a:lnTo>
                    <a:pt x="933164" y="649129"/>
                  </a:lnTo>
                  <a:lnTo>
                    <a:pt x="931355" y="647700"/>
                  </a:lnTo>
                  <a:lnTo>
                    <a:pt x="935736" y="643985"/>
                  </a:lnTo>
                  <a:lnTo>
                    <a:pt x="937451" y="632555"/>
                  </a:lnTo>
                  <a:lnTo>
                    <a:pt x="935450" y="629603"/>
                  </a:lnTo>
                  <a:lnTo>
                    <a:pt x="933736" y="628174"/>
                  </a:lnTo>
                  <a:lnTo>
                    <a:pt x="936403" y="611791"/>
                  </a:lnTo>
                  <a:lnTo>
                    <a:pt x="933641" y="602552"/>
                  </a:lnTo>
                  <a:lnTo>
                    <a:pt x="937736" y="597218"/>
                  </a:lnTo>
                  <a:lnTo>
                    <a:pt x="941737" y="590264"/>
                  </a:lnTo>
                  <a:lnTo>
                    <a:pt x="941261" y="574262"/>
                  </a:lnTo>
                  <a:lnTo>
                    <a:pt x="943832" y="569119"/>
                  </a:lnTo>
                  <a:lnTo>
                    <a:pt x="944594" y="562642"/>
                  </a:lnTo>
                  <a:lnTo>
                    <a:pt x="940880" y="558356"/>
                  </a:lnTo>
                  <a:lnTo>
                    <a:pt x="936308" y="560451"/>
                  </a:lnTo>
                  <a:lnTo>
                    <a:pt x="929640" y="558165"/>
                  </a:lnTo>
                  <a:lnTo>
                    <a:pt x="928973" y="553403"/>
                  </a:lnTo>
                  <a:lnTo>
                    <a:pt x="925449" y="550640"/>
                  </a:lnTo>
                  <a:lnTo>
                    <a:pt x="921068" y="554450"/>
                  </a:lnTo>
                  <a:lnTo>
                    <a:pt x="919544" y="554641"/>
                  </a:lnTo>
                  <a:lnTo>
                    <a:pt x="912590" y="550640"/>
                  </a:lnTo>
                  <a:lnTo>
                    <a:pt x="912209" y="547497"/>
                  </a:lnTo>
                  <a:lnTo>
                    <a:pt x="915352" y="547116"/>
                  </a:lnTo>
                  <a:lnTo>
                    <a:pt x="916496" y="543782"/>
                  </a:lnTo>
                  <a:lnTo>
                    <a:pt x="906875" y="543401"/>
                  </a:lnTo>
                  <a:lnTo>
                    <a:pt x="906494" y="540258"/>
                  </a:lnTo>
                  <a:lnTo>
                    <a:pt x="901732" y="540830"/>
                  </a:lnTo>
                  <a:lnTo>
                    <a:pt x="898208" y="538067"/>
                  </a:lnTo>
                  <a:lnTo>
                    <a:pt x="895064" y="538544"/>
                  </a:lnTo>
                  <a:lnTo>
                    <a:pt x="892588" y="532352"/>
                  </a:lnTo>
                  <a:lnTo>
                    <a:pt x="889254" y="531209"/>
                  </a:lnTo>
                  <a:lnTo>
                    <a:pt x="897350" y="531781"/>
                  </a:lnTo>
                  <a:lnTo>
                    <a:pt x="904494" y="537305"/>
                  </a:lnTo>
                  <a:lnTo>
                    <a:pt x="912400" y="536257"/>
                  </a:lnTo>
                  <a:lnTo>
                    <a:pt x="913733" y="534543"/>
                  </a:lnTo>
                  <a:lnTo>
                    <a:pt x="918496" y="533876"/>
                  </a:lnTo>
                  <a:lnTo>
                    <a:pt x="921449" y="531876"/>
                  </a:lnTo>
                  <a:lnTo>
                    <a:pt x="918115" y="530733"/>
                  </a:lnTo>
                  <a:lnTo>
                    <a:pt x="911543" y="517112"/>
                  </a:lnTo>
                  <a:lnTo>
                    <a:pt x="901827" y="516731"/>
                  </a:lnTo>
                  <a:lnTo>
                    <a:pt x="898112" y="512445"/>
                  </a:lnTo>
                  <a:lnTo>
                    <a:pt x="900684" y="507302"/>
                  </a:lnTo>
                  <a:lnTo>
                    <a:pt x="898684" y="504349"/>
                  </a:lnTo>
                  <a:lnTo>
                    <a:pt x="899827" y="501015"/>
                  </a:lnTo>
                  <a:lnTo>
                    <a:pt x="901827" y="503968"/>
                  </a:lnTo>
                  <a:lnTo>
                    <a:pt x="902018" y="505492"/>
                  </a:lnTo>
                  <a:lnTo>
                    <a:pt x="903827" y="506920"/>
                  </a:lnTo>
                  <a:lnTo>
                    <a:pt x="906590" y="503301"/>
                  </a:lnTo>
                  <a:lnTo>
                    <a:pt x="906780" y="504920"/>
                  </a:lnTo>
                  <a:lnTo>
                    <a:pt x="908399" y="504730"/>
                  </a:lnTo>
                  <a:lnTo>
                    <a:pt x="908399" y="504730"/>
                  </a:lnTo>
                  <a:lnTo>
                    <a:pt x="909733" y="502920"/>
                  </a:lnTo>
                  <a:lnTo>
                    <a:pt x="917448" y="500348"/>
                  </a:lnTo>
                  <a:lnTo>
                    <a:pt x="920782" y="501491"/>
                  </a:lnTo>
                  <a:lnTo>
                    <a:pt x="927830" y="494252"/>
                  </a:lnTo>
                  <a:lnTo>
                    <a:pt x="923163" y="494824"/>
                  </a:lnTo>
                  <a:lnTo>
                    <a:pt x="922496" y="490061"/>
                  </a:lnTo>
                  <a:lnTo>
                    <a:pt x="917829" y="490728"/>
                  </a:lnTo>
                  <a:lnTo>
                    <a:pt x="917639" y="489109"/>
                  </a:lnTo>
                  <a:lnTo>
                    <a:pt x="914210" y="487966"/>
                  </a:lnTo>
                  <a:lnTo>
                    <a:pt x="909733" y="490157"/>
                  </a:lnTo>
                  <a:lnTo>
                    <a:pt x="912495" y="486537"/>
                  </a:lnTo>
                  <a:lnTo>
                    <a:pt x="909066" y="485394"/>
                  </a:lnTo>
                  <a:lnTo>
                    <a:pt x="904780" y="489109"/>
                  </a:lnTo>
                  <a:lnTo>
                    <a:pt x="902780" y="486156"/>
                  </a:lnTo>
                  <a:lnTo>
                    <a:pt x="899827" y="488156"/>
                  </a:lnTo>
                  <a:lnTo>
                    <a:pt x="898684" y="491490"/>
                  </a:lnTo>
                  <a:lnTo>
                    <a:pt x="895731" y="493490"/>
                  </a:lnTo>
                  <a:lnTo>
                    <a:pt x="896112" y="496633"/>
                  </a:lnTo>
                  <a:lnTo>
                    <a:pt x="891159" y="495681"/>
                  </a:lnTo>
                  <a:lnTo>
                    <a:pt x="888397" y="486442"/>
                  </a:lnTo>
                  <a:lnTo>
                    <a:pt x="891731" y="487585"/>
                  </a:lnTo>
                  <a:lnTo>
                    <a:pt x="891540" y="486061"/>
                  </a:lnTo>
                  <a:lnTo>
                    <a:pt x="888206" y="484823"/>
                  </a:lnTo>
                  <a:lnTo>
                    <a:pt x="892302" y="479489"/>
                  </a:lnTo>
                  <a:lnTo>
                    <a:pt x="888397" y="473583"/>
                  </a:lnTo>
                  <a:lnTo>
                    <a:pt x="890873" y="468440"/>
                  </a:lnTo>
                  <a:lnTo>
                    <a:pt x="900017" y="464058"/>
                  </a:lnTo>
                  <a:lnTo>
                    <a:pt x="907447" y="447103"/>
                  </a:lnTo>
                  <a:lnTo>
                    <a:pt x="930116" y="436245"/>
                  </a:lnTo>
                  <a:lnTo>
                    <a:pt x="934593" y="434054"/>
                  </a:lnTo>
                  <a:lnTo>
                    <a:pt x="940975" y="433197"/>
                  </a:lnTo>
                  <a:lnTo>
                    <a:pt x="937832" y="433578"/>
                  </a:lnTo>
                  <a:lnTo>
                    <a:pt x="938594" y="439960"/>
                  </a:lnTo>
                  <a:lnTo>
                    <a:pt x="940403" y="441293"/>
                  </a:lnTo>
                  <a:lnTo>
                    <a:pt x="945261" y="442246"/>
                  </a:lnTo>
                  <a:lnTo>
                    <a:pt x="947452" y="446818"/>
                  </a:lnTo>
                  <a:lnTo>
                    <a:pt x="949071" y="446627"/>
                  </a:lnTo>
                  <a:lnTo>
                    <a:pt x="949262" y="448151"/>
                  </a:lnTo>
                  <a:lnTo>
                    <a:pt x="954024" y="447580"/>
                  </a:lnTo>
                  <a:lnTo>
                    <a:pt x="955739" y="448913"/>
                  </a:lnTo>
                  <a:lnTo>
                    <a:pt x="956786" y="444056"/>
                  </a:lnTo>
                  <a:lnTo>
                    <a:pt x="958310" y="443865"/>
                  </a:lnTo>
                  <a:lnTo>
                    <a:pt x="957929" y="440627"/>
                  </a:lnTo>
                  <a:lnTo>
                    <a:pt x="959263" y="438912"/>
                  </a:lnTo>
                  <a:lnTo>
                    <a:pt x="960120" y="432340"/>
                  </a:lnTo>
                  <a:lnTo>
                    <a:pt x="963073" y="430435"/>
                  </a:lnTo>
                  <a:lnTo>
                    <a:pt x="965359" y="423672"/>
                  </a:lnTo>
                  <a:lnTo>
                    <a:pt x="968502" y="423291"/>
                  </a:lnTo>
                  <a:lnTo>
                    <a:pt x="974693" y="420910"/>
                  </a:lnTo>
                  <a:lnTo>
                    <a:pt x="974217" y="417766"/>
                  </a:lnTo>
                  <a:lnTo>
                    <a:pt x="976027" y="419100"/>
                  </a:lnTo>
                  <a:lnTo>
                    <a:pt x="977456" y="417386"/>
                  </a:lnTo>
                  <a:lnTo>
                    <a:pt x="980599" y="416909"/>
                  </a:lnTo>
                  <a:lnTo>
                    <a:pt x="984885" y="413194"/>
                  </a:lnTo>
                  <a:lnTo>
                    <a:pt x="986695" y="414528"/>
                  </a:lnTo>
                  <a:lnTo>
                    <a:pt x="990600" y="407670"/>
                  </a:lnTo>
                  <a:lnTo>
                    <a:pt x="988409" y="403098"/>
                  </a:lnTo>
                  <a:lnTo>
                    <a:pt x="983266" y="400526"/>
                  </a:lnTo>
                  <a:lnTo>
                    <a:pt x="981266" y="397573"/>
                  </a:lnTo>
                  <a:lnTo>
                    <a:pt x="977932" y="396431"/>
                  </a:lnTo>
                  <a:lnTo>
                    <a:pt x="974979" y="398431"/>
                  </a:lnTo>
                  <a:lnTo>
                    <a:pt x="973646" y="400145"/>
                  </a:lnTo>
                  <a:lnTo>
                    <a:pt x="967740" y="404146"/>
                  </a:lnTo>
                  <a:lnTo>
                    <a:pt x="965930" y="402717"/>
                  </a:lnTo>
                  <a:lnTo>
                    <a:pt x="966502" y="394716"/>
                  </a:lnTo>
                  <a:lnTo>
                    <a:pt x="975741" y="391858"/>
                  </a:lnTo>
                  <a:lnTo>
                    <a:pt x="978884" y="378619"/>
                  </a:lnTo>
                  <a:lnTo>
                    <a:pt x="978122" y="372332"/>
                  </a:lnTo>
                  <a:lnTo>
                    <a:pt x="974312" y="368046"/>
                  </a:lnTo>
                  <a:lnTo>
                    <a:pt x="973931" y="364903"/>
                  </a:lnTo>
                  <a:lnTo>
                    <a:pt x="971550" y="358711"/>
                  </a:lnTo>
                  <a:lnTo>
                    <a:pt x="972502" y="353854"/>
                  </a:lnTo>
                  <a:lnTo>
                    <a:pt x="982027" y="352615"/>
                  </a:lnTo>
                  <a:lnTo>
                    <a:pt x="981170" y="346329"/>
                  </a:lnTo>
                  <a:lnTo>
                    <a:pt x="987076" y="342328"/>
                  </a:lnTo>
                  <a:lnTo>
                    <a:pt x="983933" y="342710"/>
                  </a:lnTo>
                  <a:lnTo>
                    <a:pt x="986123" y="334423"/>
                  </a:lnTo>
                  <a:lnTo>
                    <a:pt x="979170" y="330518"/>
                  </a:lnTo>
                  <a:lnTo>
                    <a:pt x="978122" y="322612"/>
                  </a:lnTo>
                  <a:lnTo>
                    <a:pt x="985076" y="313753"/>
                  </a:lnTo>
                  <a:lnTo>
                    <a:pt x="983075" y="310801"/>
                  </a:lnTo>
                  <a:lnTo>
                    <a:pt x="979361" y="306419"/>
                  </a:lnTo>
                  <a:lnTo>
                    <a:pt x="982027" y="302895"/>
                  </a:lnTo>
                  <a:lnTo>
                    <a:pt x="985457" y="304038"/>
                  </a:lnTo>
                  <a:lnTo>
                    <a:pt x="989171" y="295561"/>
                  </a:lnTo>
                  <a:lnTo>
                    <a:pt x="985171" y="289655"/>
                  </a:lnTo>
                  <a:lnTo>
                    <a:pt x="988314" y="289274"/>
                  </a:lnTo>
                  <a:lnTo>
                    <a:pt x="987171" y="279749"/>
                  </a:lnTo>
                  <a:lnTo>
                    <a:pt x="988886" y="281178"/>
                  </a:lnTo>
                  <a:lnTo>
                    <a:pt x="992124" y="280797"/>
                  </a:lnTo>
                  <a:lnTo>
                    <a:pt x="991838" y="279178"/>
                  </a:lnTo>
                  <a:lnTo>
                    <a:pt x="992124" y="280797"/>
                  </a:lnTo>
                  <a:lnTo>
                    <a:pt x="993648" y="280511"/>
                  </a:lnTo>
                  <a:lnTo>
                    <a:pt x="995077" y="278797"/>
                  </a:lnTo>
                  <a:lnTo>
                    <a:pt x="998411" y="279940"/>
                  </a:lnTo>
                  <a:lnTo>
                    <a:pt x="1001363" y="277940"/>
                  </a:lnTo>
                  <a:lnTo>
                    <a:pt x="1001935" y="282702"/>
                  </a:lnTo>
                  <a:lnTo>
                    <a:pt x="1004888" y="280702"/>
                  </a:lnTo>
                  <a:lnTo>
                    <a:pt x="1001363" y="265176"/>
                  </a:lnTo>
                  <a:lnTo>
                    <a:pt x="999744" y="252508"/>
                  </a:lnTo>
                  <a:lnTo>
                    <a:pt x="999744" y="252508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7" name="Volný tvar: obrazec 26">
              <a:extLst>
                <a:ext uri="{FF2B5EF4-FFF2-40B4-BE49-F238E27FC236}">
                  <a16:creationId xmlns:a16="http://schemas.microsoft.com/office/drawing/2014/main" id="{B535F71C-1701-6A94-B8BF-016E74F3926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25" y="2971418"/>
              <a:ext cx="1044701" cy="731424"/>
            </a:xfrm>
            <a:custGeom>
              <a:avLst/>
              <a:gdLst>
                <a:gd name="connsiteX0" fmla="*/ 1038797 w 1044701"/>
                <a:gd name="connsiteY0" fmla="*/ 17907 h 731424"/>
                <a:gd name="connsiteX1" fmla="*/ 1039558 w 1044701"/>
                <a:gd name="connsiteY1" fmla="*/ 11430 h 731424"/>
                <a:gd name="connsiteX2" fmla="*/ 1037463 w 1044701"/>
                <a:gd name="connsiteY2" fmla="*/ 6953 h 731424"/>
                <a:gd name="connsiteX3" fmla="*/ 1028509 w 1044701"/>
                <a:gd name="connsiteY3" fmla="*/ 0 h 731424"/>
                <a:gd name="connsiteX4" fmla="*/ 1019651 w 1044701"/>
                <a:gd name="connsiteY4" fmla="*/ 6001 h 731424"/>
                <a:gd name="connsiteX5" fmla="*/ 1018889 w 1044701"/>
                <a:gd name="connsiteY5" fmla="*/ 12478 h 731424"/>
                <a:gd name="connsiteX6" fmla="*/ 1017270 w 1044701"/>
                <a:gd name="connsiteY6" fmla="*/ 12668 h 731424"/>
                <a:gd name="connsiteX7" fmla="*/ 1012984 w 1044701"/>
                <a:gd name="connsiteY7" fmla="*/ 16478 h 731424"/>
                <a:gd name="connsiteX8" fmla="*/ 1010412 w 1044701"/>
                <a:gd name="connsiteY8" fmla="*/ 21527 h 731424"/>
                <a:gd name="connsiteX9" fmla="*/ 1006888 w 1044701"/>
                <a:gd name="connsiteY9" fmla="*/ 18860 h 731424"/>
                <a:gd name="connsiteX10" fmla="*/ 1002316 w 1044701"/>
                <a:gd name="connsiteY10" fmla="*/ 20955 h 731424"/>
                <a:gd name="connsiteX11" fmla="*/ 995839 w 1044701"/>
                <a:gd name="connsiteY11" fmla="*/ 33052 h 731424"/>
                <a:gd name="connsiteX12" fmla="*/ 994696 w 1044701"/>
                <a:gd name="connsiteY12" fmla="*/ 49244 h 731424"/>
                <a:gd name="connsiteX13" fmla="*/ 989362 w 1044701"/>
                <a:gd name="connsiteY13" fmla="*/ 57912 h 731424"/>
                <a:gd name="connsiteX14" fmla="*/ 982313 w 1044701"/>
                <a:gd name="connsiteY14" fmla="*/ 65246 h 731424"/>
                <a:gd name="connsiteX15" fmla="*/ 984504 w 1044701"/>
                <a:gd name="connsiteY15" fmla="*/ 69818 h 731424"/>
                <a:gd name="connsiteX16" fmla="*/ 983361 w 1044701"/>
                <a:gd name="connsiteY16" fmla="*/ 73152 h 731424"/>
                <a:gd name="connsiteX17" fmla="*/ 972883 w 1044701"/>
                <a:gd name="connsiteY17" fmla="*/ 79248 h 731424"/>
                <a:gd name="connsiteX18" fmla="*/ 965549 w 1044701"/>
                <a:gd name="connsiteY18" fmla="*/ 85058 h 731424"/>
                <a:gd name="connsiteX19" fmla="*/ 962215 w 1044701"/>
                <a:gd name="connsiteY19" fmla="*/ 83820 h 731424"/>
                <a:gd name="connsiteX20" fmla="*/ 959263 w 1044701"/>
                <a:gd name="connsiteY20" fmla="*/ 85820 h 731424"/>
                <a:gd name="connsiteX21" fmla="*/ 947452 w 1044701"/>
                <a:gd name="connsiteY21" fmla="*/ 106585 h 731424"/>
                <a:gd name="connsiteX22" fmla="*/ 944308 w 1044701"/>
                <a:gd name="connsiteY22" fmla="*/ 119825 h 731424"/>
                <a:gd name="connsiteX23" fmla="*/ 941641 w 1044701"/>
                <a:gd name="connsiteY23" fmla="*/ 123349 h 731424"/>
                <a:gd name="connsiteX24" fmla="*/ 932783 w 1044701"/>
                <a:gd name="connsiteY24" fmla="*/ 129254 h 731424"/>
                <a:gd name="connsiteX25" fmla="*/ 924401 w 1044701"/>
                <a:gd name="connsiteY25" fmla="*/ 127159 h 731424"/>
                <a:gd name="connsiteX26" fmla="*/ 917734 w 1044701"/>
                <a:gd name="connsiteY26" fmla="*/ 124777 h 731424"/>
                <a:gd name="connsiteX27" fmla="*/ 914209 w 1044701"/>
                <a:gd name="connsiteY27" fmla="*/ 122015 h 731424"/>
                <a:gd name="connsiteX28" fmla="*/ 893826 w 1044701"/>
                <a:gd name="connsiteY28" fmla="*/ 113443 h 731424"/>
                <a:gd name="connsiteX29" fmla="*/ 887349 w 1044701"/>
                <a:gd name="connsiteY29" fmla="*/ 112586 h 731424"/>
                <a:gd name="connsiteX30" fmla="*/ 882396 w 1044701"/>
                <a:gd name="connsiteY30" fmla="*/ 111633 h 731424"/>
                <a:gd name="connsiteX31" fmla="*/ 878205 w 1044701"/>
                <a:gd name="connsiteY31" fmla="*/ 104204 h 731424"/>
                <a:gd name="connsiteX32" fmla="*/ 867537 w 1044701"/>
                <a:gd name="connsiteY32" fmla="*/ 95917 h 731424"/>
                <a:gd name="connsiteX33" fmla="*/ 866775 w 1044701"/>
                <a:gd name="connsiteY33" fmla="*/ 89630 h 731424"/>
                <a:gd name="connsiteX34" fmla="*/ 859822 w 1044701"/>
                <a:gd name="connsiteY34" fmla="*/ 85630 h 731424"/>
                <a:gd name="connsiteX35" fmla="*/ 855821 w 1044701"/>
                <a:gd name="connsiteY35" fmla="*/ 79724 h 731424"/>
                <a:gd name="connsiteX36" fmla="*/ 844391 w 1044701"/>
                <a:gd name="connsiteY36" fmla="*/ 78010 h 731424"/>
                <a:gd name="connsiteX37" fmla="*/ 840105 w 1044701"/>
                <a:gd name="connsiteY37" fmla="*/ 81725 h 731424"/>
                <a:gd name="connsiteX38" fmla="*/ 838295 w 1044701"/>
                <a:gd name="connsiteY38" fmla="*/ 80391 h 731424"/>
                <a:gd name="connsiteX39" fmla="*/ 836962 w 1044701"/>
                <a:gd name="connsiteY39" fmla="*/ 82201 h 731424"/>
                <a:gd name="connsiteX40" fmla="*/ 816197 w 1044701"/>
                <a:gd name="connsiteY40" fmla="*/ 70390 h 731424"/>
                <a:gd name="connsiteX41" fmla="*/ 813245 w 1044701"/>
                <a:gd name="connsiteY41" fmla="*/ 72390 h 731424"/>
                <a:gd name="connsiteX42" fmla="*/ 811435 w 1044701"/>
                <a:gd name="connsiteY42" fmla="*/ 70961 h 731424"/>
                <a:gd name="connsiteX43" fmla="*/ 807720 w 1044701"/>
                <a:gd name="connsiteY43" fmla="*/ 66675 h 731424"/>
                <a:gd name="connsiteX44" fmla="*/ 804767 w 1044701"/>
                <a:gd name="connsiteY44" fmla="*/ 68580 h 731424"/>
                <a:gd name="connsiteX45" fmla="*/ 801719 w 1044701"/>
                <a:gd name="connsiteY45" fmla="*/ 57817 h 731424"/>
                <a:gd name="connsiteX46" fmla="*/ 793242 w 1044701"/>
                <a:gd name="connsiteY46" fmla="*/ 54102 h 731424"/>
                <a:gd name="connsiteX47" fmla="*/ 790099 w 1044701"/>
                <a:gd name="connsiteY47" fmla="*/ 54483 h 731424"/>
                <a:gd name="connsiteX48" fmla="*/ 786384 w 1044701"/>
                <a:gd name="connsiteY48" fmla="*/ 50102 h 731424"/>
                <a:gd name="connsiteX49" fmla="*/ 784955 w 1044701"/>
                <a:gd name="connsiteY49" fmla="*/ 51911 h 731424"/>
                <a:gd name="connsiteX50" fmla="*/ 778478 w 1044701"/>
                <a:gd name="connsiteY50" fmla="*/ 51149 h 731424"/>
                <a:gd name="connsiteX51" fmla="*/ 772763 w 1044701"/>
                <a:gd name="connsiteY51" fmla="*/ 56674 h 731424"/>
                <a:gd name="connsiteX52" fmla="*/ 772382 w 1044701"/>
                <a:gd name="connsiteY52" fmla="*/ 79153 h 731424"/>
                <a:gd name="connsiteX53" fmla="*/ 769811 w 1044701"/>
                <a:gd name="connsiteY53" fmla="*/ 84296 h 731424"/>
                <a:gd name="connsiteX54" fmla="*/ 762190 w 1044701"/>
                <a:gd name="connsiteY54" fmla="*/ 86868 h 731424"/>
                <a:gd name="connsiteX55" fmla="*/ 759428 w 1044701"/>
                <a:gd name="connsiteY55" fmla="*/ 90392 h 731424"/>
                <a:gd name="connsiteX56" fmla="*/ 757809 w 1044701"/>
                <a:gd name="connsiteY56" fmla="*/ 90678 h 731424"/>
                <a:gd name="connsiteX57" fmla="*/ 755237 w 1044701"/>
                <a:gd name="connsiteY57" fmla="*/ 95821 h 731424"/>
                <a:gd name="connsiteX58" fmla="*/ 755047 w 1044701"/>
                <a:gd name="connsiteY58" fmla="*/ 94202 h 731424"/>
                <a:gd name="connsiteX59" fmla="*/ 745617 w 1044701"/>
                <a:gd name="connsiteY59" fmla="*/ 95441 h 731424"/>
                <a:gd name="connsiteX60" fmla="*/ 745236 w 1044701"/>
                <a:gd name="connsiteY60" fmla="*/ 92202 h 731424"/>
                <a:gd name="connsiteX61" fmla="*/ 743617 w 1044701"/>
                <a:gd name="connsiteY61" fmla="*/ 92488 h 731424"/>
                <a:gd name="connsiteX62" fmla="*/ 743998 w 1044701"/>
                <a:gd name="connsiteY62" fmla="*/ 95631 h 731424"/>
                <a:gd name="connsiteX63" fmla="*/ 736378 w 1044701"/>
                <a:gd name="connsiteY63" fmla="*/ 98203 h 731424"/>
                <a:gd name="connsiteX64" fmla="*/ 739712 w 1044701"/>
                <a:gd name="connsiteY64" fmla="*/ 99346 h 731424"/>
                <a:gd name="connsiteX65" fmla="*/ 740092 w 1044701"/>
                <a:gd name="connsiteY65" fmla="*/ 102489 h 731424"/>
                <a:gd name="connsiteX66" fmla="*/ 737330 w 1044701"/>
                <a:gd name="connsiteY66" fmla="*/ 106108 h 731424"/>
                <a:gd name="connsiteX67" fmla="*/ 733615 w 1044701"/>
                <a:gd name="connsiteY67" fmla="*/ 101727 h 731424"/>
                <a:gd name="connsiteX68" fmla="*/ 730663 w 1044701"/>
                <a:gd name="connsiteY68" fmla="*/ 103727 h 731424"/>
                <a:gd name="connsiteX69" fmla="*/ 727424 w 1044701"/>
                <a:gd name="connsiteY69" fmla="*/ 104108 h 731424"/>
                <a:gd name="connsiteX70" fmla="*/ 727900 w 1044701"/>
                <a:gd name="connsiteY70" fmla="*/ 107252 h 731424"/>
                <a:gd name="connsiteX71" fmla="*/ 724757 w 1044701"/>
                <a:gd name="connsiteY71" fmla="*/ 107728 h 731424"/>
                <a:gd name="connsiteX72" fmla="*/ 725138 w 1044701"/>
                <a:gd name="connsiteY72" fmla="*/ 110871 h 731424"/>
                <a:gd name="connsiteX73" fmla="*/ 721805 w 1044701"/>
                <a:gd name="connsiteY73" fmla="*/ 109633 h 731424"/>
                <a:gd name="connsiteX74" fmla="*/ 719995 w 1044701"/>
                <a:gd name="connsiteY74" fmla="*/ 108299 h 731424"/>
                <a:gd name="connsiteX75" fmla="*/ 715232 w 1044701"/>
                <a:gd name="connsiteY75" fmla="*/ 108871 h 731424"/>
                <a:gd name="connsiteX76" fmla="*/ 715423 w 1044701"/>
                <a:gd name="connsiteY76" fmla="*/ 110490 h 731424"/>
                <a:gd name="connsiteX77" fmla="*/ 703040 w 1044701"/>
                <a:gd name="connsiteY77" fmla="*/ 126492 h 731424"/>
                <a:gd name="connsiteX78" fmla="*/ 691801 w 1044701"/>
                <a:gd name="connsiteY78" fmla="*/ 126302 h 731424"/>
                <a:gd name="connsiteX79" fmla="*/ 687038 w 1044701"/>
                <a:gd name="connsiteY79" fmla="*/ 126968 h 731424"/>
                <a:gd name="connsiteX80" fmla="*/ 687705 w 1044701"/>
                <a:gd name="connsiteY80" fmla="*/ 131636 h 731424"/>
                <a:gd name="connsiteX81" fmla="*/ 681514 w 1044701"/>
                <a:gd name="connsiteY81" fmla="*/ 134017 h 731424"/>
                <a:gd name="connsiteX82" fmla="*/ 677608 w 1044701"/>
                <a:gd name="connsiteY82" fmla="*/ 140970 h 731424"/>
                <a:gd name="connsiteX83" fmla="*/ 679990 w 1044701"/>
                <a:gd name="connsiteY83" fmla="*/ 147066 h 731424"/>
                <a:gd name="connsiteX84" fmla="*/ 681419 w 1044701"/>
                <a:gd name="connsiteY84" fmla="*/ 145256 h 731424"/>
                <a:gd name="connsiteX85" fmla="*/ 685133 w 1044701"/>
                <a:gd name="connsiteY85" fmla="*/ 149638 h 731424"/>
                <a:gd name="connsiteX86" fmla="*/ 690467 w 1044701"/>
                <a:gd name="connsiteY86" fmla="*/ 153734 h 731424"/>
                <a:gd name="connsiteX87" fmla="*/ 684562 w 1044701"/>
                <a:gd name="connsiteY87" fmla="*/ 157734 h 731424"/>
                <a:gd name="connsiteX88" fmla="*/ 683419 w 1044701"/>
                <a:gd name="connsiteY88" fmla="*/ 161068 h 731424"/>
                <a:gd name="connsiteX89" fmla="*/ 677132 w 1044701"/>
                <a:gd name="connsiteY89" fmla="*/ 161830 h 731424"/>
                <a:gd name="connsiteX90" fmla="*/ 674561 w 1044701"/>
                <a:gd name="connsiteY90" fmla="*/ 166973 h 731424"/>
                <a:gd name="connsiteX91" fmla="*/ 669227 w 1044701"/>
                <a:gd name="connsiteY91" fmla="*/ 162877 h 731424"/>
                <a:gd name="connsiteX92" fmla="*/ 667798 w 1044701"/>
                <a:gd name="connsiteY92" fmla="*/ 164687 h 731424"/>
                <a:gd name="connsiteX93" fmla="*/ 663035 w 1044701"/>
                <a:gd name="connsiteY93" fmla="*/ 165259 h 731424"/>
                <a:gd name="connsiteX94" fmla="*/ 665226 w 1044701"/>
                <a:gd name="connsiteY94" fmla="*/ 169831 h 731424"/>
                <a:gd name="connsiteX95" fmla="*/ 664083 w 1044701"/>
                <a:gd name="connsiteY95" fmla="*/ 173165 h 731424"/>
                <a:gd name="connsiteX96" fmla="*/ 662273 w 1044701"/>
                <a:gd name="connsiteY96" fmla="*/ 171736 h 731424"/>
                <a:gd name="connsiteX97" fmla="*/ 662940 w 1044701"/>
                <a:gd name="connsiteY97" fmla="*/ 176498 h 731424"/>
                <a:gd name="connsiteX98" fmla="*/ 668083 w 1044701"/>
                <a:gd name="connsiteY98" fmla="*/ 179070 h 731424"/>
                <a:gd name="connsiteX99" fmla="*/ 670465 w 1044701"/>
                <a:gd name="connsiteY99" fmla="*/ 185166 h 731424"/>
                <a:gd name="connsiteX100" fmla="*/ 673798 w 1044701"/>
                <a:gd name="connsiteY100" fmla="*/ 186309 h 731424"/>
                <a:gd name="connsiteX101" fmla="*/ 675227 w 1044701"/>
                <a:gd name="connsiteY101" fmla="*/ 197358 h 731424"/>
                <a:gd name="connsiteX102" fmla="*/ 655034 w 1044701"/>
                <a:gd name="connsiteY102" fmla="*/ 190310 h 731424"/>
                <a:gd name="connsiteX103" fmla="*/ 651700 w 1044701"/>
                <a:gd name="connsiteY103" fmla="*/ 189167 h 731424"/>
                <a:gd name="connsiteX104" fmla="*/ 646366 w 1044701"/>
                <a:gd name="connsiteY104" fmla="*/ 185071 h 731424"/>
                <a:gd name="connsiteX105" fmla="*/ 645033 w 1044701"/>
                <a:gd name="connsiteY105" fmla="*/ 186785 h 731424"/>
                <a:gd name="connsiteX106" fmla="*/ 638270 w 1044701"/>
                <a:gd name="connsiteY106" fmla="*/ 184499 h 731424"/>
                <a:gd name="connsiteX107" fmla="*/ 640080 w 1044701"/>
                <a:gd name="connsiteY107" fmla="*/ 185833 h 731424"/>
                <a:gd name="connsiteX108" fmla="*/ 638842 w 1044701"/>
                <a:gd name="connsiteY108" fmla="*/ 189167 h 731424"/>
                <a:gd name="connsiteX109" fmla="*/ 640652 w 1044701"/>
                <a:gd name="connsiteY109" fmla="*/ 190595 h 731424"/>
                <a:gd name="connsiteX110" fmla="*/ 633984 w 1044701"/>
                <a:gd name="connsiteY110" fmla="*/ 188214 h 731424"/>
                <a:gd name="connsiteX111" fmla="*/ 632555 w 1044701"/>
                <a:gd name="connsiteY111" fmla="*/ 190024 h 731424"/>
                <a:gd name="connsiteX112" fmla="*/ 630936 w 1044701"/>
                <a:gd name="connsiteY112" fmla="*/ 190214 h 731424"/>
                <a:gd name="connsiteX113" fmla="*/ 627793 w 1044701"/>
                <a:gd name="connsiteY113" fmla="*/ 190595 h 731424"/>
                <a:gd name="connsiteX114" fmla="*/ 615410 w 1044701"/>
                <a:gd name="connsiteY114" fmla="*/ 193834 h 731424"/>
                <a:gd name="connsiteX115" fmla="*/ 614839 w 1044701"/>
                <a:gd name="connsiteY115" fmla="*/ 189071 h 731424"/>
                <a:gd name="connsiteX116" fmla="*/ 614648 w 1044701"/>
                <a:gd name="connsiteY116" fmla="*/ 187452 h 731424"/>
                <a:gd name="connsiteX117" fmla="*/ 618744 w 1044701"/>
                <a:gd name="connsiteY117" fmla="*/ 182118 h 731424"/>
                <a:gd name="connsiteX118" fmla="*/ 616934 w 1044701"/>
                <a:gd name="connsiteY118" fmla="*/ 180785 h 731424"/>
                <a:gd name="connsiteX119" fmla="*/ 612267 w 1044701"/>
                <a:gd name="connsiteY119" fmla="*/ 181356 h 731424"/>
                <a:gd name="connsiteX120" fmla="*/ 611981 w 1044701"/>
                <a:gd name="connsiteY120" fmla="*/ 179832 h 731424"/>
                <a:gd name="connsiteX121" fmla="*/ 610457 w 1044701"/>
                <a:gd name="connsiteY121" fmla="*/ 180023 h 731424"/>
                <a:gd name="connsiteX122" fmla="*/ 612457 w 1044701"/>
                <a:gd name="connsiteY122" fmla="*/ 182975 h 731424"/>
                <a:gd name="connsiteX123" fmla="*/ 611219 w 1044701"/>
                <a:gd name="connsiteY123" fmla="*/ 186309 h 731424"/>
                <a:gd name="connsiteX124" fmla="*/ 611410 w 1044701"/>
                <a:gd name="connsiteY124" fmla="*/ 187833 h 731424"/>
                <a:gd name="connsiteX125" fmla="*/ 602552 w 1044701"/>
                <a:gd name="connsiteY125" fmla="*/ 193834 h 731424"/>
                <a:gd name="connsiteX126" fmla="*/ 598837 w 1044701"/>
                <a:gd name="connsiteY126" fmla="*/ 189452 h 731424"/>
                <a:gd name="connsiteX127" fmla="*/ 596074 w 1044701"/>
                <a:gd name="connsiteY127" fmla="*/ 193072 h 731424"/>
                <a:gd name="connsiteX128" fmla="*/ 589597 w 1044701"/>
                <a:gd name="connsiteY128" fmla="*/ 192310 h 731424"/>
                <a:gd name="connsiteX129" fmla="*/ 587026 w 1044701"/>
                <a:gd name="connsiteY129" fmla="*/ 197358 h 731424"/>
                <a:gd name="connsiteX130" fmla="*/ 582073 w 1044701"/>
                <a:gd name="connsiteY130" fmla="*/ 196406 h 731424"/>
                <a:gd name="connsiteX131" fmla="*/ 580644 w 1044701"/>
                <a:gd name="connsiteY131" fmla="*/ 198215 h 731424"/>
                <a:gd name="connsiteX132" fmla="*/ 576929 w 1044701"/>
                <a:gd name="connsiteY132" fmla="*/ 193834 h 731424"/>
                <a:gd name="connsiteX133" fmla="*/ 574929 w 1044701"/>
                <a:gd name="connsiteY133" fmla="*/ 190881 h 731424"/>
                <a:gd name="connsiteX134" fmla="*/ 576167 w 1044701"/>
                <a:gd name="connsiteY134" fmla="*/ 187547 h 731424"/>
                <a:gd name="connsiteX135" fmla="*/ 574548 w 1044701"/>
                <a:gd name="connsiteY135" fmla="*/ 187738 h 731424"/>
                <a:gd name="connsiteX136" fmla="*/ 569405 w 1044701"/>
                <a:gd name="connsiteY136" fmla="*/ 185261 h 731424"/>
                <a:gd name="connsiteX137" fmla="*/ 564832 w 1044701"/>
                <a:gd name="connsiteY137" fmla="*/ 174593 h 731424"/>
                <a:gd name="connsiteX138" fmla="*/ 561689 w 1044701"/>
                <a:gd name="connsiteY138" fmla="*/ 174974 h 731424"/>
                <a:gd name="connsiteX139" fmla="*/ 559880 w 1044701"/>
                <a:gd name="connsiteY139" fmla="*/ 173546 h 731424"/>
                <a:gd name="connsiteX140" fmla="*/ 558546 w 1044701"/>
                <a:gd name="connsiteY140" fmla="*/ 175355 h 731424"/>
                <a:gd name="connsiteX141" fmla="*/ 556736 w 1044701"/>
                <a:gd name="connsiteY141" fmla="*/ 174022 h 731424"/>
                <a:gd name="connsiteX142" fmla="*/ 553593 w 1044701"/>
                <a:gd name="connsiteY142" fmla="*/ 174403 h 731424"/>
                <a:gd name="connsiteX143" fmla="*/ 551974 w 1044701"/>
                <a:gd name="connsiteY143" fmla="*/ 174593 h 731424"/>
                <a:gd name="connsiteX144" fmla="*/ 546068 w 1044701"/>
                <a:gd name="connsiteY144" fmla="*/ 165735 h 731424"/>
                <a:gd name="connsiteX145" fmla="*/ 543115 w 1044701"/>
                <a:gd name="connsiteY145" fmla="*/ 167735 h 731424"/>
                <a:gd name="connsiteX146" fmla="*/ 541972 w 1044701"/>
                <a:gd name="connsiteY146" fmla="*/ 171069 h 731424"/>
                <a:gd name="connsiteX147" fmla="*/ 540353 w 1044701"/>
                <a:gd name="connsiteY147" fmla="*/ 171260 h 731424"/>
                <a:gd name="connsiteX148" fmla="*/ 531495 w 1044701"/>
                <a:gd name="connsiteY148" fmla="*/ 164402 h 731424"/>
                <a:gd name="connsiteX149" fmla="*/ 528447 w 1044701"/>
                <a:gd name="connsiteY149" fmla="*/ 153543 h 731424"/>
                <a:gd name="connsiteX150" fmla="*/ 519589 w 1044701"/>
                <a:gd name="connsiteY150" fmla="*/ 146685 h 731424"/>
                <a:gd name="connsiteX151" fmla="*/ 513493 w 1044701"/>
                <a:gd name="connsiteY151" fmla="*/ 149066 h 731424"/>
                <a:gd name="connsiteX152" fmla="*/ 511683 w 1044701"/>
                <a:gd name="connsiteY152" fmla="*/ 147638 h 731424"/>
                <a:gd name="connsiteX153" fmla="*/ 506921 w 1044701"/>
                <a:gd name="connsiteY153" fmla="*/ 148304 h 731424"/>
                <a:gd name="connsiteX154" fmla="*/ 505015 w 1044701"/>
                <a:gd name="connsiteY154" fmla="*/ 145352 h 731424"/>
                <a:gd name="connsiteX155" fmla="*/ 498443 w 1044701"/>
                <a:gd name="connsiteY155" fmla="*/ 144494 h 731424"/>
                <a:gd name="connsiteX156" fmla="*/ 495300 w 1044701"/>
                <a:gd name="connsiteY156" fmla="*/ 144971 h 731424"/>
                <a:gd name="connsiteX157" fmla="*/ 493300 w 1044701"/>
                <a:gd name="connsiteY157" fmla="*/ 142018 h 731424"/>
                <a:gd name="connsiteX158" fmla="*/ 492347 w 1044701"/>
                <a:gd name="connsiteY158" fmla="*/ 134112 h 731424"/>
                <a:gd name="connsiteX159" fmla="*/ 486728 w 1044701"/>
                <a:gd name="connsiteY159" fmla="*/ 115538 h 731424"/>
                <a:gd name="connsiteX160" fmla="*/ 480250 w 1044701"/>
                <a:gd name="connsiteY160" fmla="*/ 114776 h 731424"/>
                <a:gd name="connsiteX161" fmla="*/ 449675 w 1044701"/>
                <a:gd name="connsiteY161" fmla="*/ 113824 h 731424"/>
                <a:gd name="connsiteX162" fmla="*/ 449580 w 1044701"/>
                <a:gd name="connsiteY162" fmla="*/ 88202 h 731424"/>
                <a:gd name="connsiteX163" fmla="*/ 448437 w 1044701"/>
                <a:gd name="connsiteY163" fmla="*/ 78772 h 731424"/>
                <a:gd name="connsiteX164" fmla="*/ 435197 w 1044701"/>
                <a:gd name="connsiteY164" fmla="*/ 75629 h 731424"/>
                <a:gd name="connsiteX165" fmla="*/ 435102 w 1044701"/>
                <a:gd name="connsiteY165" fmla="*/ 62770 h 731424"/>
                <a:gd name="connsiteX166" fmla="*/ 415957 w 1044701"/>
                <a:gd name="connsiteY166" fmla="*/ 63627 h 731424"/>
                <a:gd name="connsiteX167" fmla="*/ 410623 w 1044701"/>
                <a:gd name="connsiteY167" fmla="*/ 59531 h 731424"/>
                <a:gd name="connsiteX168" fmla="*/ 405955 w 1044701"/>
                <a:gd name="connsiteY168" fmla="*/ 60103 h 731424"/>
                <a:gd name="connsiteX169" fmla="*/ 405289 w 1044701"/>
                <a:gd name="connsiteY169" fmla="*/ 55340 h 731424"/>
                <a:gd name="connsiteX170" fmla="*/ 401193 w 1044701"/>
                <a:gd name="connsiteY170" fmla="*/ 60674 h 731424"/>
                <a:gd name="connsiteX171" fmla="*/ 388525 w 1044701"/>
                <a:gd name="connsiteY171" fmla="*/ 49530 h 731424"/>
                <a:gd name="connsiteX172" fmla="*/ 383572 w 1044701"/>
                <a:gd name="connsiteY172" fmla="*/ 48482 h 731424"/>
                <a:gd name="connsiteX173" fmla="*/ 384429 w 1044701"/>
                <a:gd name="connsiteY173" fmla="*/ 54864 h 731424"/>
                <a:gd name="connsiteX174" fmla="*/ 383000 w 1044701"/>
                <a:gd name="connsiteY174" fmla="*/ 56579 h 731424"/>
                <a:gd name="connsiteX175" fmla="*/ 362331 w 1044701"/>
                <a:gd name="connsiteY175" fmla="*/ 57626 h 731424"/>
                <a:gd name="connsiteX176" fmla="*/ 362903 w 1044701"/>
                <a:gd name="connsiteY176" fmla="*/ 75248 h 731424"/>
                <a:gd name="connsiteX177" fmla="*/ 351663 w 1044701"/>
                <a:gd name="connsiteY177" fmla="*/ 75057 h 731424"/>
                <a:gd name="connsiteX178" fmla="*/ 338899 w 1044701"/>
                <a:gd name="connsiteY178" fmla="*/ 75057 h 731424"/>
                <a:gd name="connsiteX179" fmla="*/ 338328 w 1044701"/>
                <a:gd name="connsiteY179" fmla="*/ 83153 h 731424"/>
                <a:gd name="connsiteX180" fmla="*/ 329470 w 1044701"/>
                <a:gd name="connsiteY180" fmla="*/ 89059 h 731424"/>
                <a:gd name="connsiteX181" fmla="*/ 329851 w 1044701"/>
                <a:gd name="connsiteY181" fmla="*/ 92297 h 731424"/>
                <a:gd name="connsiteX182" fmla="*/ 326898 w 1044701"/>
                <a:gd name="connsiteY182" fmla="*/ 94202 h 731424"/>
                <a:gd name="connsiteX183" fmla="*/ 326231 w 1044701"/>
                <a:gd name="connsiteY183" fmla="*/ 89535 h 731424"/>
                <a:gd name="connsiteX184" fmla="*/ 314992 w 1044701"/>
                <a:gd name="connsiteY184" fmla="*/ 89344 h 731424"/>
                <a:gd name="connsiteX185" fmla="*/ 313468 w 1044701"/>
                <a:gd name="connsiteY185" fmla="*/ 89535 h 731424"/>
                <a:gd name="connsiteX186" fmla="*/ 313087 w 1044701"/>
                <a:gd name="connsiteY186" fmla="*/ 86392 h 731424"/>
                <a:gd name="connsiteX187" fmla="*/ 306324 w 1044701"/>
                <a:gd name="connsiteY187" fmla="*/ 84011 h 731424"/>
                <a:gd name="connsiteX188" fmla="*/ 304133 w 1044701"/>
                <a:gd name="connsiteY188" fmla="*/ 79439 h 731424"/>
                <a:gd name="connsiteX189" fmla="*/ 304514 w 1044701"/>
                <a:gd name="connsiteY189" fmla="*/ 69818 h 731424"/>
                <a:gd name="connsiteX190" fmla="*/ 308229 w 1044701"/>
                <a:gd name="connsiteY190" fmla="*/ 61341 h 731424"/>
                <a:gd name="connsiteX191" fmla="*/ 303086 w 1044701"/>
                <a:gd name="connsiteY191" fmla="*/ 58769 h 731424"/>
                <a:gd name="connsiteX192" fmla="*/ 304324 w 1044701"/>
                <a:gd name="connsiteY192" fmla="*/ 55435 h 731424"/>
                <a:gd name="connsiteX193" fmla="*/ 303847 w 1044701"/>
                <a:gd name="connsiteY193" fmla="*/ 52292 h 731424"/>
                <a:gd name="connsiteX194" fmla="*/ 294227 w 1044701"/>
                <a:gd name="connsiteY194" fmla="*/ 51911 h 731424"/>
                <a:gd name="connsiteX195" fmla="*/ 290513 w 1044701"/>
                <a:gd name="connsiteY195" fmla="*/ 47530 h 731424"/>
                <a:gd name="connsiteX196" fmla="*/ 285083 w 1044701"/>
                <a:gd name="connsiteY196" fmla="*/ 43434 h 731424"/>
                <a:gd name="connsiteX197" fmla="*/ 280797 w 1044701"/>
                <a:gd name="connsiteY197" fmla="*/ 47149 h 731424"/>
                <a:gd name="connsiteX198" fmla="*/ 278416 w 1044701"/>
                <a:gd name="connsiteY198" fmla="*/ 53912 h 731424"/>
                <a:gd name="connsiteX199" fmla="*/ 270129 w 1044701"/>
                <a:gd name="connsiteY199" fmla="*/ 51721 h 731424"/>
                <a:gd name="connsiteX200" fmla="*/ 269177 w 1044701"/>
                <a:gd name="connsiteY200" fmla="*/ 56674 h 731424"/>
                <a:gd name="connsiteX201" fmla="*/ 264414 w 1044701"/>
                <a:gd name="connsiteY201" fmla="*/ 57245 h 731424"/>
                <a:gd name="connsiteX202" fmla="*/ 264605 w 1044701"/>
                <a:gd name="connsiteY202" fmla="*/ 58865 h 731424"/>
                <a:gd name="connsiteX203" fmla="*/ 260128 w 1044701"/>
                <a:gd name="connsiteY203" fmla="*/ 61055 h 731424"/>
                <a:gd name="connsiteX204" fmla="*/ 260890 w 1044701"/>
                <a:gd name="connsiteY204" fmla="*/ 67342 h 731424"/>
                <a:gd name="connsiteX205" fmla="*/ 262699 w 1044701"/>
                <a:gd name="connsiteY205" fmla="*/ 68771 h 731424"/>
                <a:gd name="connsiteX206" fmla="*/ 260985 w 1044701"/>
                <a:gd name="connsiteY206" fmla="*/ 80200 h 731424"/>
                <a:gd name="connsiteX207" fmla="*/ 259747 w 1044701"/>
                <a:gd name="connsiteY207" fmla="*/ 83534 h 731424"/>
                <a:gd name="connsiteX208" fmla="*/ 256604 w 1044701"/>
                <a:gd name="connsiteY208" fmla="*/ 83915 h 731424"/>
                <a:gd name="connsiteX209" fmla="*/ 256794 w 1044701"/>
                <a:gd name="connsiteY209" fmla="*/ 85535 h 731424"/>
                <a:gd name="connsiteX210" fmla="*/ 254794 w 1044701"/>
                <a:gd name="connsiteY210" fmla="*/ 82582 h 731424"/>
                <a:gd name="connsiteX211" fmla="*/ 251079 w 1044701"/>
                <a:gd name="connsiteY211" fmla="*/ 91059 h 731424"/>
                <a:gd name="connsiteX212" fmla="*/ 247364 w 1044701"/>
                <a:gd name="connsiteY212" fmla="*/ 86677 h 731424"/>
                <a:gd name="connsiteX213" fmla="*/ 242411 w 1044701"/>
                <a:gd name="connsiteY213" fmla="*/ 85725 h 731424"/>
                <a:gd name="connsiteX214" fmla="*/ 239458 w 1044701"/>
                <a:gd name="connsiteY214" fmla="*/ 87725 h 731424"/>
                <a:gd name="connsiteX215" fmla="*/ 239268 w 1044701"/>
                <a:gd name="connsiteY215" fmla="*/ 86106 h 731424"/>
                <a:gd name="connsiteX216" fmla="*/ 235934 w 1044701"/>
                <a:gd name="connsiteY216" fmla="*/ 84963 h 731424"/>
                <a:gd name="connsiteX217" fmla="*/ 234696 w 1044701"/>
                <a:gd name="connsiteY217" fmla="*/ 88297 h 731424"/>
                <a:gd name="connsiteX218" fmla="*/ 231553 w 1044701"/>
                <a:gd name="connsiteY218" fmla="*/ 88773 h 731424"/>
                <a:gd name="connsiteX219" fmla="*/ 228981 w 1044701"/>
                <a:gd name="connsiteY219" fmla="*/ 93917 h 731424"/>
                <a:gd name="connsiteX220" fmla="*/ 227457 w 1044701"/>
                <a:gd name="connsiteY220" fmla="*/ 94107 h 731424"/>
                <a:gd name="connsiteX221" fmla="*/ 227838 w 1044701"/>
                <a:gd name="connsiteY221" fmla="*/ 97250 h 731424"/>
                <a:gd name="connsiteX222" fmla="*/ 225076 w 1044701"/>
                <a:gd name="connsiteY222" fmla="*/ 100775 h 731424"/>
                <a:gd name="connsiteX223" fmla="*/ 221552 w 1044701"/>
                <a:gd name="connsiteY223" fmla="*/ 98012 h 731424"/>
                <a:gd name="connsiteX224" fmla="*/ 219932 w 1044701"/>
                <a:gd name="connsiteY224" fmla="*/ 98203 h 731424"/>
                <a:gd name="connsiteX225" fmla="*/ 218789 w 1044701"/>
                <a:gd name="connsiteY225" fmla="*/ 101632 h 731424"/>
                <a:gd name="connsiteX226" fmla="*/ 215170 w 1044701"/>
                <a:gd name="connsiteY226" fmla="*/ 98869 h 731424"/>
                <a:gd name="connsiteX227" fmla="*/ 214979 w 1044701"/>
                <a:gd name="connsiteY227" fmla="*/ 97250 h 731424"/>
                <a:gd name="connsiteX228" fmla="*/ 209836 w 1044701"/>
                <a:gd name="connsiteY228" fmla="*/ 94679 h 731424"/>
                <a:gd name="connsiteX229" fmla="*/ 209645 w 1044701"/>
                <a:gd name="connsiteY229" fmla="*/ 93154 h 731424"/>
                <a:gd name="connsiteX230" fmla="*/ 199358 w 1044701"/>
                <a:gd name="connsiteY230" fmla="*/ 88011 h 731424"/>
                <a:gd name="connsiteX231" fmla="*/ 197644 w 1044701"/>
                <a:gd name="connsiteY231" fmla="*/ 86677 h 731424"/>
                <a:gd name="connsiteX232" fmla="*/ 195834 w 1044701"/>
                <a:gd name="connsiteY232" fmla="*/ 85249 h 731424"/>
                <a:gd name="connsiteX233" fmla="*/ 195263 w 1044701"/>
                <a:gd name="connsiteY233" fmla="*/ 93345 h 731424"/>
                <a:gd name="connsiteX234" fmla="*/ 191738 w 1044701"/>
                <a:gd name="connsiteY234" fmla="*/ 90583 h 731424"/>
                <a:gd name="connsiteX235" fmla="*/ 191929 w 1044701"/>
                <a:gd name="connsiteY235" fmla="*/ 92202 h 731424"/>
                <a:gd name="connsiteX236" fmla="*/ 186785 w 1044701"/>
                <a:gd name="connsiteY236" fmla="*/ 89630 h 731424"/>
                <a:gd name="connsiteX237" fmla="*/ 182023 w 1044701"/>
                <a:gd name="connsiteY237" fmla="*/ 90202 h 731424"/>
                <a:gd name="connsiteX238" fmla="*/ 181832 w 1044701"/>
                <a:gd name="connsiteY238" fmla="*/ 88678 h 731424"/>
                <a:gd name="connsiteX239" fmla="*/ 183452 w 1044701"/>
                <a:gd name="connsiteY239" fmla="*/ 88487 h 731424"/>
                <a:gd name="connsiteX240" fmla="*/ 183261 w 1044701"/>
                <a:gd name="connsiteY240" fmla="*/ 86868 h 731424"/>
                <a:gd name="connsiteX241" fmla="*/ 181642 w 1044701"/>
                <a:gd name="connsiteY241" fmla="*/ 87058 h 731424"/>
                <a:gd name="connsiteX242" fmla="*/ 180213 w 1044701"/>
                <a:gd name="connsiteY242" fmla="*/ 88868 h 731424"/>
                <a:gd name="connsiteX243" fmla="*/ 175070 w 1044701"/>
                <a:gd name="connsiteY243" fmla="*/ 86296 h 731424"/>
                <a:gd name="connsiteX244" fmla="*/ 173736 w 1044701"/>
                <a:gd name="connsiteY244" fmla="*/ 88106 h 731424"/>
                <a:gd name="connsiteX245" fmla="*/ 175355 w 1044701"/>
                <a:gd name="connsiteY245" fmla="*/ 87916 h 731424"/>
                <a:gd name="connsiteX246" fmla="*/ 170783 w 1044701"/>
                <a:gd name="connsiteY246" fmla="*/ 90106 h 731424"/>
                <a:gd name="connsiteX247" fmla="*/ 168783 w 1044701"/>
                <a:gd name="connsiteY247" fmla="*/ 87154 h 731424"/>
                <a:gd name="connsiteX248" fmla="*/ 165640 w 1044701"/>
                <a:gd name="connsiteY248" fmla="*/ 87535 h 731424"/>
                <a:gd name="connsiteX249" fmla="*/ 163925 w 1044701"/>
                <a:gd name="connsiteY249" fmla="*/ 86106 h 731424"/>
                <a:gd name="connsiteX250" fmla="*/ 162496 w 1044701"/>
                <a:gd name="connsiteY250" fmla="*/ 87916 h 731424"/>
                <a:gd name="connsiteX251" fmla="*/ 162115 w 1044701"/>
                <a:gd name="connsiteY251" fmla="*/ 84773 h 731424"/>
                <a:gd name="connsiteX252" fmla="*/ 160496 w 1044701"/>
                <a:gd name="connsiteY252" fmla="*/ 84963 h 731424"/>
                <a:gd name="connsiteX253" fmla="*/ 161354 w 1044701"/>
                <a:gd name="connsiteY253" fmla="*/ 91250 h 731424"/>
                <a:gd name="connsiteX254" fmla="*/ 164497 w 1044701"/>
                <a:gd name="connsiteY254" fmla="*/ 90869 h 731424"/>
                <a:gd name="connsiteX255" fmla="*/ 163068 w 1044701"/>
                <a:gd name="connsiteY255" fmla="*/ 92678 h 731424"/>
                <a:gd name="connsiteX256" fmla="*/ 161354 w 1044701"/>
                <a:gd name="connsiteY256" fmla="*/ 91250 h 731424"/>
                <a:gd name="connsiteX257" fmla="*/ 157734 w 1044701"/>
                <a:gd name="connsiteY257" fmla="*/ 88487 h 731424"/>
                <a:gd name="connsiteX258" fmla="*/ 156400 w 1044701"/>
                <a:gd name="connsiteY258" fmla="*/ 90297 h 731424"/>
                <a:gd name="connsiteX259" fmla="*/ 156591 w 1044701"/>
                <a:gd name="connsiteY259" fmla="*/ 91916 h 731424"/>
                <a:gd name="connsiteX260" fmla="*/ 154972 w 1044701"/>
                <a:gd name="connsiteY260" fmla="*/ 92107 h 731424"/>
                <a:gd name="connsiteX261" fmla="*/ 153448 w 1044701"/>
                <a:gd name="connsiteY261" fmla="*/ 92297 h 731424"/>
                <a:gd name="connsiteX262" fmla="*/ 152781 w 1044701"/>
                <a:gd name="connsiteY262" fmla="*/ 87535 h 731424"/>
                <a:gd name="connsiteX263" fmla="*/ 149638 w 1044701"/>
                <a:gd name="connsiteY263" fmla="*/ 87916 h 731424"/>
                <a:gd name="connsiteX264" fmla="*/ 149828 w 1044701"/>
                <a:gd name="connsiteY264" fmla="*/ 76676 h 731424"/>
                <a:gd name="connsiteX265" fmla="*/ 142970 w 1044701"/>
                <a:gd name="connsiteY265" fmla="*/ 72771 h 731424"/>
                <a:gd name="connsiteX266" fmla="*/ 139732 w 1044701"/>
                <a:gd name="connsiteY266" fmla="*/ 73152 h 731424"/>
                <a:gd name="connsiteX267" fmla="*/ 138779 w 1044701"/>
                <a:gd name="connsiteY267" fmla="*/ 78105 h 731424"/>
                <a:gd name="connsiteX268" fmla="*/ 143923 w 1044701"/>
                <a:gd name="connsiteY268" fmla="*/ 80677 h 731424"/>
                <a:gd name="connsiteX269" fmla="*/ 137827 w 1044701"/>
                <a:gd name="connsiteY269" fmla="*/ 83058 h 731424"/>
                <a:gd name="connsiteX270" fmla="*/ 136017 w 1044701"/>
                <a:gd name="connsiteY270" fmla="*/ 81629 h 731424"/>
                <a:gd name="connsiteX271" fmla="*/ 134684 w 1044701"/>
                <a:gd name="connsiteY271" fmla="*/ 83439 h 731424"/>
                <a:gd name="connsiteX272" fmla="*/ 135255 w 1044701"/>
                <a:gd name="connsiteY272" fmla="*/ 88202 h 731424"/>
                <a:gd name="connsiteX273" fmla="*/ 130683 w 1044701"/>
                <a:gd name="connsiteY273" fmla="*/ 90392 h 731424"/>
                <a:gd name="connsiteX274" fmla="*/ 127349 w 1044701"/>
                <a:gd name="connsiteY274" fmla="*/ 89154 h 731424"/>
                <a:gd name="connsiteX275" fmla="*/ 126778 w 1044701"/>
                <a:gd name="connsiteY275" fmla="*/ 84487 h 731424"/>
                <a:gd name="connsiteX276" fmla="*/ 125349 w 1044701"/>
                <a:gd name="connsiteY276" fmla="*/ 86201 h 731424"/>
                <a:gd name="connsiteX277" fmla="*/ 123444 w 1044701"/>
                <a:gd name="connsiteY277" fmla="*/ 83248 h 731424"/>
                <a:gd name="connsiteX278" fmla="*/ 120301 w 1044701"/>
                <a:gd name="connsiteY278" fmla="*/ 83629 h 731424"/>
                <a:gd name="connsiteX279" fmla="*/ 109823 w 1044701"/>
                <a:gd name="connsiteY279" fmla="*/ 89821 h 731424"/>
                <a:gd name="connsiteX280" fmla="*/ 108394 w 1044701"/>
                <a:gd name="connsiteY280" fmla="*/ 91631 h 731424"/>
                <a:gd name="connsiteX281" fmla="*/ 107823 w 1044701"/>
                <a:gd name="connsiteY281" fmla="*/ 99727 h 731424"/>
                <a:gd name="connsiteX282" fmla="*/ 106680 w 1044701"/>
                <a:gd name="connsiteY282" fmla="*/ 103061 h 731424"/>
                <a:gd name="connsiteX283" fmla="*/ 108490 w 1044701"/>
                <a:gd name="connsiteY283" fmla="*/ 104394 h 731424"/>
                <a:gd name="connsiteX284" fmla="*/ 110680 w 1044701"/>
                <a:gd name="connsiteY284" fmla="*/ 108966 h 731424"/>
                <a:gd name="connsiteX285" fmla="*/ 109252 w 1044701"/>
                <a:gd name="connsiteY285" fmla="*/ 110776 h 731424"/>
                <a:gd name="connsiteX286" fmla="*/ 105727 w 1044701"/>
                <a:gd name="connsiteY286" fmla="*/ 108014 h 731424"/>
                <a:gd name="connsiteX287" fmla="*/ 102965 w 1044701"/>
                <a:gd name="connsiteY287" fmla="*/ 111538 h 731424"/>
                <a:gd name="connsiteX288" fmla="*/ 98393 w 1044701"/>
                <a:gd name="connsiteY288" fmla="*/ 113729 h 731424"/>
                <a:gd name="connsiteX289" fmla="*/ 98584 w 1044701"/>
                <a:gd name="connsiteY289" fmla="*/ 115252 h 731424"/>
                <a:gd name="connsiteX290" fmla="*/ 96869 w 1044701"/>
                <a:gd name="connsiteY290" fmla="*/ 113919 h 731424"/>
                <a:gd name="connsiteX291" fmla="*/ 85630 w 1044701"/>
                <a:gd name="connsiteY291" fmla="*/ 113729 h 731424"/>
                <a:gd name="connsiteX292" fmla="*/ 86201 w 1044701"/>
                <a:gd name="connsiteY292" fmla="*/ 118491 h 731424"/>
                <a:gd name="connsiteX293" fmla="*/ 90964 w 1044701"/>
                <a:gd name="connsiteY293" fmla="*/ 117919 h 731424"/>
                <a:gd name="connsiteX294" fmla="*/ 88011 w 1044701"/>
                <a:gd name="connsiteY294" fmla="*/ 119825 h 731424"/>
                <a:gd name="connsiteX295" fmla="*/ 83058 w 1044701"/>
                <a:gd name="connsiteY295" fmla="*/ 118872 h 731424"/>
                <a:gd name="connsiteX296" fmla="*/ 83248 w 1044701"/>
                <a:gd name="connsiteY296" fmla="*/ 120491 h 731424"/>
                <a:gd name="connsiteX297" fmla="*/ 78962 w 1044701"/>
                <a:gd name="connsiteY297" fmla="*/ 124206 h 731424"/>
                <a:gd name="connsiteX298" fmla="*/ 77343 w 1044701"/>
                <a:gd name="connsiteY298" fmla="*/ 124396 h 731424"/>
                <a:gd name="connsiteX299" fmla="*/ 73247 w 1044701"/>
                <a:gd name="connsiteY299" fmla="*/ 129731 h 731424"/>
                <a:gd name="connsiteX300" fmla="*/ 60960 w 1044701"/>
                <a:gd name="connsiteY300" fmla="*/ 134493 h 731424"/>
                <a:gd name="connsiteX301" fmla="*/ 50863 w 1044701"/>
                <a:gd name="connsiteY301" fmla="*/ 118205 h 731424"/>
                <a:gd name="connsiteX302" fmla="*/ 49054 w 1044701"/>
                <a:gd name="connsiteY302" fmla="*/ 116777 h 731424"/>
                <a:gd name="connsiteX303" fmla="*/ 47530 w 1044701"/>
                <a:gd name="connsiteY303" fmla="*/ 116967 h 731424"/>
                <a:gd name="connsiteX304" fmla="*/ 50292 w 1044701"/>
                <a:gd name="connsiteY304" fmla="*/ 126302 h 731424"/>
                <a:gd name="connsiteX305" fmla="*/ 44386 w 1044701"/>
                <a:gd name="connsiteY305" fmla="*/ 130207 h 731424"/>
                <a:gd name="connsiteX306" fmla="*/ 39243 w 1044701"/>
                <a:gd name="connsiteY306" fmla="*/ 127635 h 731424"/>
                <a:gd name="connsiteX307" fmla="*/ 38671 w 1044701"/>
                <a:gd name="connsiteY307" fmla="*/ 122968 h 731424"/>
                <a:gd name="connsiteX308" fmla="*/ 35147 w 1044701"/>
                <a:gd name="connsiteY308" fmla="*/ 120206 h 731424"/>
                <a:gd name="connsiteX309" fmla="*/ 29146 w 1044701"/>
                <a:gd name="connsiteY309" fmla="*/ 124111 h 731424"/>
                <a:gd name="connsiteX310" fmla="*/ 25622 w 1044701"/>
                <a:gd name="connsiteY310" fmla="*/ 134207 h 731424"/>
                <a:gd name="connsiteX311" fmla="*/ 32766 w 1044701"/>
                <a:gd name="connsiteY311" fmla="*/ 139732 h 731424"/>
                <a:gd name="connsiteX312" fmla="*/ 37147 w 1044701"/>
                <a:gd name="connsiteY312" fmla="*/ 135922 h 731424"/>
                <a:gd name="connsiteX313" fmla="*/ 41243 w 1044701"/>
                <a:gd name="connsiteY313" fmla="*/ 143446 h 731424"/>
                <a:gd name="connsiteX314" fmla="*/ 44386 w 1044701"/>
                <a:gd name="connsiteY314" fmla="*/ 143066 h 731424"/>
                <a:gd name="connsiteX315" fmla="*/ 39910 w 1044701"/>
                <a:gd name="connsiteY315" fmla="*/ 145256 h 731424"/>
                <a:gd name="connsiteX316" fmla="*/ 36100 w 1044701"/>
                <a:gd name="connsiteY316" fmla="*/ 140875 h 731424"/>
                <a:gd name="connsiteX317" fmla="*/ 33338 w 1044701"/>
                <a:gd name="connsiteY317" fmla="*/ 144494 h 731424"/>
                <a:gd name="connsiteX318" fmla="*/ 30194 w 1044701"/>
                <a:gd name="connsiteY318" fmla="*/ 144875 h 731424"/>
                <a:gd name="connsiteX319" fmla="*/ 28861 w 1044701"/>
                <a:gd name="connsiteY319" fmla="*/ 146685 h 731424"/>
                <a:gd name="connsiteX320" fmla="*/ 31432 w 1044701"/>
                <a:gd name="connsiteY320" fmla="*/ 154305 h 731424"/>
                <a:gd name="connsiteX321" fmla="*/ 33623 w 1044701"/>
                <a:gd name="connsiteY321" fmla="*/ 158877 h 731424"/>
                <a:gd name="connsiteX322" fmla="*/ 33814 w 1044701"/>
                <a:gd name="connsiteY322" fmla="*/ 173260 h 731424"/>
                <a:gd name="connsiteX323" fmla="*/ 27337 w 1044701"/>
                <a:gd name="connsiteY323" fmla="*/ 172498 h 731424"/>
                <a:gd name="connsiteX324" fmla="*/ 22765 w 1044701"/>
                <a:gd name="connsiteY324" fmla="*/ 174689 h 731424"/>
                <a:gd name="connsiteX325" fmla="*/ 21050 w 1044701"/>
                <a:gd name="connsiteY325" fmla="*/ 173260 h 731424"/>
                <a:gd name="connsiteX326" fmla="*/ 21431 w 1044701"/>
                <a:gd name="connsiteY326" fmla="*/ 176403 h 731424"/>
                <a:gd name="connsiteX327" fmla="*/ 18288 w 1044701"/>
                <a:gd name="connsiteY327" fmla="*/ 176879 h 731424"/>
                <a:gd name="connsiteX328" fmla="*/ 16478 w 1044701"/>
                <a:gd name="connsiteY328" fmla="*/ 175450 h 731424"/>
                <a:gd name="connsiteX329" fmla="*/ 13144 w 1044701"/>
                <a:gd name="connsiteY329" fmla="*/ 174308 h 731424"/>
                <a:gd name="connsiteX330" fmla="*/ 11906 w 1044701"/>
                <a:gd name="connsiteY330" fmla="*/ 177641 h 731424"/>
                <a:gd name="connsiteX331" fmla="*/ 8954 w 1044701"/>
                <a:gd name="connsiteY331" fmla="*/ 179642 h 731424"/>
                <a:gd name="connsiteX332" fmla="*/ 9239 w 1044701"/>
                <a:gd name="connsiteY332" fmla="*/ 181261 h 731424"/>
                <a:gd name="connsiteX333" fmla="*/ 12763 w 1044701"/>
                <a:gd name="connsiteY333" fmla="*/ 183928 h 731424"/>
                <a:gd name="connsiteX334" fmla="*/ 24003 w 1044701"/>
                <a:gd name="connsiteY334" fmla="*/ 184118 h 731424"/>
                <a:gd name="connsiteX335" fmla="*/ 22860 w 1044701"/>
                <a:gd name="connsiteY335" fmla="*/ 187547 h 731424"/>
                <a:gd name="connsiteX336" fmla="*/ 27337 w 1044701"/>
                <a:gd name="connsiteY336" fmla="*/ 185356 h 731424"/>
                <a:gd name="connsiteX337" fmla="*/ 28004 w 1044701"/>
                <a:gd name="connsiteY337" fmla="*/ 190024 h 731424"/>
                <a:gd name="connsiteX338" fmla="*/ 26575 w 1044701"/>
                <a:gd name="connsiteY338" fmla="*/ 191834 h 731424"/>
                <a:gd name="connsiteX339" fmla="*/ 24765 w 1044701"/>
                <a:gd name="connsiteY339" fmla="*/ 190500 h 731424"/>
                <a:gd name="connsiteX340" fmla="*/ 23431 w 1044701"/>
                <a:gd name="connsiteY340" fmla="*/ 192215 h 731424"/>
                <a:gd name="connsiteX341" fmla="*/ 18288 w 1044701"/>
                <a:gd name="connsiteY341" fmla="*/ 189643 h 731424"/>
                <a:gd name="connsiteX342" fmla="*/ 18479 w 1044701"/>
                <a:gd name="connsiteY342" fmla="*/ 191262 h 731424"/>
                <a:gd name="connsiteX343" fmla="*/ 21812 w 1044701"/>
                <a:gd name="connsiteY343" fmla="*/ 192405 h 731424"/>
                <a:gd name="connsiteX344" fmla="*/ 20288 w 1044701"/>
                <a:gd name="connsiteY344" fmla="*/ 192596 h 731424"/>
                <a:gd name="connsiteX345" fmla="*/ 15145 w 1044701"/>
                <a:gd name="connsiteY345" fmla="*/ 190119 h 731424"/>
                <a:gd name="connsiteX346" fmla="*/ 11811 w 1044701"/>
                <a:gd name="connsiteY346" fmla="*/ 188881 h 731424"/>
                <a:gd name="connsiteX347" fmla="*/ 6096 w 1044701"/>
                <a:gd name="connsiteY347" fmla="*/ 194405 h 731424"/>
                <a:gd name="connsiteX348" fmla="*/ 0 w 1044701"/>
                <a:gd name="connsiteY348" fmla="*/ 196787 h 731424"/>
                <a:gd name="connsiteX349" fmla="*/ 5334 w 1044701"/>
                <a:gd name="connsiteY349" fmla="*/ 200977 h 731424"/>
                <a:gd name="connsiteX350" fmla="*/ 5715 w 1044701"/>
                <a:gd name="connsiteY350" fmla="*/ 204121 h 731424"/>
                <a:gd name="connsiteX351" fmla="*/ 7239 w 1044701"/>
                <a:gd name="connsiteY351" fmla="*/ 203930 h 731424"/>
                <a:gd name="connsiteX352" fmla="*/ 8096 w 1044701"/>
                <a:gd name="connsiteY352" fmla="*/ 210217 h 731424"/>
                <a:gd name="connsiteX353" fmla="*/ 11621 w 1044701"/>
                <a:gd name="connsiteY353" fmla="*/ 212979 h 731424"/>
                <a:gd name="connsiteX354" fmla="*/ 13240 w 1044701"/>
                <a:gd name="connsiteY354" fmla="*/ 212789 h 731424"/>
                <a:gd name="connsiteX355" fmla="*/ 11811 w 1044701"/>
                <a:gd name="connsiteY355" fmla="*/ 214598 h 731424"/>
                <a:gd name="connsiteX356" fmla="*/ 14954 w 1044701"/>
                <a:gd name="connsiteY356" fmla="*/ 214122 h 731424"/>
                <a:gd name="connsiteX357" fmla="*/ 15430 w 1044701"/>
                <a:gd name="connsiteY357" fmla="*/ 217265 h 731424"/>
                <a:gd name="connsiteX358" fmla="*/ 20574 w 1044701"/>
                <a:gd name="connsiteY358" fmla="*/ 219837 h 731424"/>
                <a:gd name="connsiteX359" fmla="*/ 25717 w 1044701"/>
                <a:gd name="connsiteY359" fmla="*/ 222409 h 731424"/>
                <a:gd name="connsiteX360" fmla="*/ 27432 w 1044701"/>
                <a:gd name="connsiteY360" fmla="*/ 223838 h 731424"/>
                <a:gd name="connsiteX361" fmla="*/ 31623 w 1044701"/>
                <a:gd name="connsiteY361" fmla="*/ 218504 h 731424"/>
                <a:gd name="connsiteX362" fmla="*/ 39910 w 1044701"/>
                <a:gd name="connsiteY362" fmla="*/ 220599 h 731424"/>
                <a:gd name="connsiteX363" fmla="*/ 38481 w 1044701"/>
                <a:gd name="connsiteY363" fmla="*/ 222409 h 731424"/>
                <a:gd name="connsiteX364" fmla="*/ 36767 w 1044701"/>
                <a:gd name="connsiteY364" fmla="*/ 220980 h 731424"/>
                <a:gd name="connsiteX365" fmla="*/ 40481 w 1044701"/>
                <a:gd name="connsiteY365" fmla="*/ 225362 h 731424"/>
                <a:gd name="connsiteX366" fmla="*/ 43434 w 1044701"/>
                <a:gd name="connsiteY366" fmla="*/ 223361 h 731424"/>
                <a:gd name="connsiteX367" fmla="*/ 48577 w 1044701"/>
                <a:gd name="connsiteY367" fmla="*/ 225933 h 731424"/>
                <a:gd name="connsiteX368" fmla="*/ 44196 w 1044701"/>
                <a:gd name="connsiteY368" fmla="*/ 229648 h 731424"/>
                <a:gd name="connsiteX369" fmla="*/ 41053 w 1044701"/>
                <a:gd name="connsiteY369" fmla="*/ 230029 h 731424"/>
                <a:gd name="connsiteX370" fmla="*/ 43053 w 1044701"/>
                <a:gd name="connsiteY370" fmla="*/ 232981 h 731424"/>
                <a:gd name="connsiteX371" fmla="*/ 46387 w 1044701"/>
                <a:gd name="connsiteY371" fmla="*/ 234220 h 731424"/>
                <a:gd name="connsiteX372" fmla="*/ 49625 w 1044701"/>
                <a:gd name="connsiteY372" fmla="*/ 233839 h 731424"/>
                <a:gd name="connsiteX373" fmla="*/ 49816 w 1044701"/>
                <a:gd name="connsiteY373" fmla="*/ 235363 h 731424"/>
                <a:gd name="connsiteX374" fmla="*/ 51149 w 1044701"/>
                <a:gd name="connsiteY374" fmla="*/ 233648 h 731424"/>
                <a:gd name="connsiteX375" fmla="*/ 52959 w 1044701"/>
                <a:gd name="connsiteY375" fmla="*/ 234982 h 731424"/>
                <a:gd name="connsiteX376" fmla="*/ 58102 w 1044701"/>
                <a:gd name="connsiteY376" fmla="*/ 237554 h 731424"/>
                <a:gd name="connsiteX377" fmla="*/ 65342 w 1044701"/>
                <a:gd name="connsiteY377" fmla="*/ 231839 h 731424"/>
                <a:gd name="connsiteX378" fmla="*/ 67151 w 1044701"/>
                <a:gd name="connsiteY378" fmla="*/ 233172 h 731424"/>
                <a:gd name="connsiteX379" fmla="*/ 67532 w 1044701"/>
                <a:gd name="connsiteY379" fmla="*/ 236315 h 731424"/>
                <a:gd name="connsiteX380" fmla="*/ 69342 w 1044701"/>
                <a:gd name="connsiteY380" fmla="*/ 237744 h 731424"/>
                <a:gd name="connsiteX381" fmla="*/ 66389 w 1044701"/>
                <a:gd name="connsiteY381" fmla="*/ 239649 h 731424"/>
                <a:gd name="connsiteX382" fmla="*/ 67151 w 1044701"/>
                <a:gd name="connsiteY382" fmla="*/ 246031 h 731424"/>
                <a:gd name="connsiteX383" fmla="*/ 70294 w 1044701"/>
                <a:gd name="connsiteY383" fmla="*/ 245555 h 731424"/>
                <a:gd name="connsiteX384" fmla="*/ 73819 w 1044701"/>
                <a:gd name="connsiteY384" fmla="*/ 235553 h 731424"/>
                <a:gd name="connsiteX385" fmla="*/ 75819 w 1044701"/>
                <a:gd name="connsiteY385" fmla="*/ 238506 h 731424"/>
                <a:gd name="connsiteX386" fmla="*/ 74676 w 1044701"/>
                <a:gd name="connsiteY386" fmla="*/ 241840 h 731424"/>
                <a:gd name="connsiteX387" fmla="*/ 77819 w 1044701"/>
                <a:gd name="connsiteY387" fmla="*/ 241459 h 731424"/>
                <a:gd name="connsiteX388" fmla="*/ 76867 w 1044701"/>
                <a:gd name="connsiteY388" fmla="*/ 246412 h 731424"/>
                <a:gd name="connsiteX389" fmla="*/ 77438 w 1044701"/>
                <a:gd name="connsiteY389" fmla="*/ 251079 h 731424"/>
                <a:gd name="connsiteX390" fmla="*/ 76105 w 1044701"/>
                <a:gd name="connsiteY390" fmla="*/ 252889 h 731424"/>
                <a:gd name="connsiteX391" fmla="*/ 68580 w 1044701"/>
                <a:gd name="connsiteY391" fmla="*/ 257080 h 731424"/>
                <a:gd name="connsiteX392" fmla="*/ 68771 w 1044701"/>
                <a:gd name="connsiteY392" fmla="*/ 258604 h 731424"/>
                <a:gd name="connsiteX393" fmla="*/ 70771 w 1044701"/>
                <a:gd name="connsiteY393" fmla="*/ 261556 h 731424"/>
                <a:gd name="connsiteX394" fmla="*/ 79438 w 1044701"/>
                <a:gd name="connsiteY394" fmla="*/ 266890 h 731424"/>
                <a:gd name="connsiteX395" fmla="*/ 98774 w 1044701"/>
                <a:gd name="connsiteY395" fmla="*/ 280416 h 731424"/>
                <a:gd name="connsiteX396" fmla="*/ 100203 w 1044701"/>
                <a:gd name="connsiteY396" fmla="*/ 278702 h 731424"/>
                <a:gd name="connsiteX397" fmla="*/ 103346 w 1044701"/>
                <a:gd name="connsiteY397" fmla="*/ 278225 h 731424"/>
                <a:gd name="connsiteX398" fmla="*/ 105537 w 1044701"/>
                <a:gd name="connsiteY398" fmla="*/ 282797 h 731424"/>
                <a:gd name="connsiteX399" fmla="*/ 106871 w 1044701"/>
                <a:gd name="connsiteY399" fmla="*/ 280988 h 731424"/>
                <a:gd name="connsiteX400" fmla="*/ 108680 w 1044701"/>
                <a:gd name="connsiteY400" fmla="*/ 282416 h 731424"/>
                <a:gd name="connsiteX401" fmla="*/ 110490 w 1044701"/>
                <a:gd name="connsiteY401" fmla="*/ 283750 h 731424"/>
                <a:gd name="connsiteX402" fmla="*/ 109252 w 1044701"/>
                <a:gd name="connsiteY402" fmla="*/ 287179 h 731424"/>
                <a:gd name="connsiteX403" fmla="*/ 112681 w 1044701"/>
                <a:gd name="connsiteY403" fmla="*/ 288322 h 731424"/>
                <a:gd name="connsiteX404" fmla="*/ 115443 w 1044701"/>
                <a:gd name="connsiteY404" fmla="*/ 284798 h 731424"/>
                <a:gd name="connsiteX405" fmla="*/ 119348 w 1044701"/>
                <a:gd name="connsiteY405" fmla="*/ 290703 h 731424"/>
                <a:gd name="connsiteX406" fmla="*/ 116776 w 1044701"/>
                <a:gd name="connsiteY406" fmla="*/ 295847 h 731424"/>
                <a:gd name="connsiteX407" fmla="*/ 118586 w 1044701"/>
                <a:gd name="connsiteY407" fmla="*/ 297180 h 731424"/>
                <a:gd name="connsiteX408" fmla="*/ 117634 w 1044701"/>
                <a:gd name="connsiteY408" fmla="*/ 302133 h 731424"/>
                <a:gd name="connsiteX409" fmla="*/ 119634 w 1044701"/>
                <a:gd name="connsiteY409" fmla="*/ 305086 h 731424"/>
                <a:gd name="connsiteX410" fmla="*/ 116205 w 1044701"/>
                <a:gd name="connsiteY410" fmla="*/ 303943 h 731424"/>
                <a:gd name="connsiteX411" fmla="*/ 111728 w 1044701"/>
                <a:gd name="connsiteY411" fmla="*/ 306038 h 731424"/>
                <a:gd name="connsiteX412" fmla="*/ 107537 w 1044701"/>
                <a:gd name="connsiteY412" fmla="*/ 311372 h 731424"/>
                <a:gd name="connsiteX413" fmla="*/ 117062 w 1044701"/>
                <a:gd name="connsiteY413" fmla="*/ 322993 h 731424"/>
                <a:gd name="connsiteX414" fmla="*/ 118872 w 1044701"/>
                <a:gd name="connsiteY414" fmla="*/ 324422 h 731424"/>
                <a:gd name="connsiteX415" fmla="*/ 120682 w 1044701"/>
                <a:gd name="connsiteY415" fmla="*/ 325755 h 731424"/>
                <a:gd name="connsiteX416" fmla="*/ 121063 w 1044701"/>
                <a:gd name="connsiteY416" fmla="*/ 328898 h 731424"/>
                <a:gd name="connsiteX417" fmla="*/ 119825 w 1044701"/>
                <a:gd name="connsiteY417" fmla="*/ 332327 h 731424"/>
                <a:gd name="connsiteX418" fmla="*/ 118491 w 1044701"/>
                <a:gd name="connsiteY418" fmla="*/ 334042 h 731424"/>
                <a:gd name="connsiteX419" fmla="*/ 114967 w 1044701"/>
                <a:gd name="connsiteY419" fmla="*/ 331280 h 731424"/>
                <a:gd name="connsiteX420" fmla="*/ 115919 w 1044701"/>
                <a:gd name="connsiteY420" fmla="*/ 339185 h 731424"/>
                <a:gd name="connsiteX421" fmla="*/ 114395 w 1044701"/>
                <a:gd name="connsiteY421" fmla="*/ 339376 h 731424"/>
                <a:gd name="connsiteX422" fmla="*/ 113347 w 1044701"/>
                <a:gd name="connsiteY422" fmla="*/ 344329 h 731424"/>
                <a:gd name="connsiteX423" fmla="*/ 111823 w 1044701"/>
                <a:gd name="connsiteY423" fmla="*/ 344519 h 731424"/>
                <a:gd name="connsiteX424" fmla="*/ 112014 w 1044701"/>
                <a:gd name="connsiteY424" fmla="*/ 346139 h 731424"/>
                <a:gd name="connsiteX425" fmla="*/ 106680 w 1044701"/>
                <a:gd name="connsiteY425" fmla="*/ 354806 h 731424"/>
                <a:gd name="connsiteX426" fmla="*/ 110300 w 1044701"/>
                <a:gd name="connsiteY426" fmla="*/ 357569 h 731424"/>
                <a:gd name="connsiteX427" fmla="*/ 107251 w 1044701"/>
                <a:gd name="connsiteY427" fmla="*/ 359569 h 731424"/>
                <a:gd name="connsiteX428" fmla="*/ 98012 w 1044701"/>
                <a:gd name="connsiteY428" fmla="*/ 362331 h 731424"/>
                <a:gd name="connsiteX429" fmla="*/ 96488 w 1044701"/>
                <a:gd name="connsiteY429" fmla="*/ 362522 h 731424"/>
                <a:gd name="connsiteX430" fmla="*/ 96869 w 1044701"/>
                <a:gd name="connsiteY430" fmla="*/ 365665 h 731424"/>
                <a:gd name="connsiteX431" fmla="*/ 96869 w 1044701"/>
                <a:gd name="connsiteY431" fmla="*/ 365665 h 731424"/>
                <a:gd name="connsiteX432" fmla="*/ 95726 w 1044701"/>
                <a:gd name="connsiteY432" fmla="*/ 369094 h 731424"/>
                <a:gd name="connsiteX433" fmla="*/ 100775 w 1044701"/>
                <a:gd name="connsiteY433" fmla="*/ 371570 h 731424"/>
                <a:gd name="connsiteX434" fmla="*/ 100013 w 1044701"/>
                <a:gd name="connsiteY434" fmla="*/ 378143 h 731424"/>
                <a:gd name="connsiteX435" fmla="*/ 99060 w 1044701"/>
                <a:gd name="connsiteY435" fmla="*/ 383095 h 731424"/>
                <a:gd name="connsiteX436" fmla="*/ 100870 w 1044701"/>
                <a:gd name="connsiteY436" fmla="*/ 384429 h 731424"/>
                <a:gd name="connsiteX437" fmla="*/ 100108 w 1044701"/>
                <a:gd name="connsiteY437" fmla="*/ 390906 h 731424"/>
                <a:gd name="connsiteX438" fmla="*/ 98488 w 1044701"/>
                <a:gd name="connsiteY438" fmla="*/ 391192 h 731424"/>
                <a:gd name="connsiteX439" fmla="*/ 96488 w 1044701"/>
                <a:gd name="connsiteY439" fmla="*/ 388239 h 731424"/>
                <a:gd name="connsiteX440" fmla="*/ 93917 w 1044701"/>
                <a:gd name="connsiteY440" fmla="*/ 393287 h 731424"/>
                <a:gd name="connsiteX441" fmla="*/ 97536 w 1044701"/>
                <a:gd name="connsiteY441" fmla="*/ 396049 h 731424"/>
                <a:gd name="connsiteX442" fmla="*/ 98298 w 1044701"/>
                <a:gd name="connsiteY442" fmla="*/ 402431 h 731424"/>
                <a:gd name="connsiteX443" fmla="*/ 95155 w 1044701"/>
                <a:gd name="connsiteY443" fmla="*/ 402812 h 731424"/>
                <a:gd name="connsiteX444" fmla="*/ 105823 w 1044701"/>
                <a:gd name="connsiteY444" fmla="*/ 411099 h 731424"/>
                <a:gd name="connsiteX445" fmla="*/ 110966 w 1044701"/>
                <a:gd name="connsiteY445" fmla="*/ 413576 h 731424"/>
                <a:gd name="connsiteX446" fmla="*/ 114776 w 1044701"/>
                <a:gd name="connsiteY446" fmla="*/ 417957 h 731424"/>
                <a:gd name="connsiteX447" fmla="*/ 118491 w 1044701"/>
                <a:gd name="connsiteY447" fmla="*/ 422243 h 731424"/>
                <a:gd name="connsiteX448" fmla="*/ 122015 w 1044701"/>
                <a:gd name="connsiteY448" fmla="*/ 425006 h 731424"/>
                <a:gd name="connsiteX449" fmla="*/ 128588 w 1044701"/>
                <a:gd name="connsiteY449" fmla="*/ 425768 h 731424"/>
                <a:gd name="connsiteX450" fmla="*/ 137827 w 1044701"/>
                <a:gd name="connsiteY450" fmla="*/ 435864 h 731424"/>
                <a:gd name="connsiteX451" fmla="*/ 142589 w 1044701"/>
                <a:gd name="connsiteY451" fmla="*/ 435293 h 731424"/>
                <a:gd name="connsiteX452" fmla="*/ 142970 w 1044701"/>
                <a:gd name="connsiteY452" fmla="*/ 438436 h 731424"/>
                <a:gd name="connsiteX453" fmla="*/ 144971 w 1044701"/>
                <a:gd name="connsiteY453" fmla="*/ 441389 h 731424"/>
                <a:gd name="connsiteX454" fmla="*/ 151257 w 1044701"/>
                <a:gd name="connsiteY454" fmla="*/ 440531 h 731424"/>
                <a:gd name="connsiteX455" fmla="*/ 150304 w 1044701"/>
                <a:gd name="connsiteY455" fmla="*/ 445484 h 731424"/>
                <a:gd name="connsiteX456" fmla="*/ 150495 w 1044701"/>
                <a:gd name="connsiteY456" fmla="*/ 447103 h 731424"/>
                <a:gd name="connsiteX457" fmla="*/ 154305 w 1044701"/>
                <a:gd name="connsiteY457" fmla="*/ 451390 h 731424"/>
                <a:gd name="connsiteX458" fmla="*/ 157448 w 1044701"/>
                <a:gd name="connsiteY458" fmla="*/ 451009 h 731424"/>
                <a:gd name="connsiteX459" fmla="*/ 159258 w 1044701"/>
                <a:gd name="connsiteY459" fmla="*/ 452342 h 731424"/>
                <a:gd name="connsiteX460" fmla="*/ 162401 w 1044701"/>
                <a:gd name="connsiteY460" fmla="*/ 451961 h 731424"/>
                <a:gd name="connsiteX461" fmla="*/ 160972 w 1044701"/>
                <a:gd name="connsiteY461" fmla="*/ 453771 h 731424"/>
                <a:gd name="connsiteX462" fmla="*/ 163163 w 1044701"/>
                <a:gd name="connsiteY462" fmla="*/ 458248 h 731424"/>
                <a:gd name="connsiteX463" fmla="*/ 160401 w 1044701"/>
                <a:gd name="connsiteY463" fmla="*/ 461867 h 731424"/>
                <a:gd name="connsiteX464" fmla="*/ 162401 w 1044701"/>
                <a:gd name="connsiteY464" fmla="*/ 464820 h 731424"/>
                <a:gd name="connsiteX465" fmla="*/ 163354 w 1044701"/>
                <a:gd name="connsiteY465" fmla="*/ 459867 h 731424"/>
                <a:gd name="connsiteX466" fmla="*/ 163735 w 1044701"/>
                <a:gd name="connsiteY466" fmla="*/ 463010 h 731424"/>
                <a:gd name="connsiteX467" fmla="*/ 166497 w 1044701"/>
                <a:gd name="connsiteY467" fmla="*/ 459486 h 731424"/>
                <a:gd name="connsiteX468" fmla="*/ 168497 w 1044701"/>
                <a:gd name="connsiteY468" fmla="*/ 462439 h 731424"/>
                <a:gd name="connsiteX469" fmla="*/ 171450 w 1044701"/>
                <a:gd name="connsiteY469" fmla="*/ 460439 h 731424"/>
                <a:gd name="connsiteX470" fmla="*/ 174784 w 1044701"/>
                <a:gd name="connsiteY470" fmla="*/ 461582 h 731424"/>
                <a:gd name="connsiteX471" fmla="*/ 181165 w 1044701"/>
                <a:gd name="connsiteY471" fmla="*/ 460819 h 731424"/>
                <a:gd name="connsiteX472" fmla="*/ 181356 w 1044701"/>
                <a:gd name="connsiteY472" fmla="*/ 462344 h 731424"/>
                <a:gd name="connsiteX473" fmla="*/ 184499 w 1044701"/>
                <a:gd name="connsiteY473" fmla="*/ 461963 h 731424"/>
                <a:gd name="connsiteX474" fmla="*/ 184309 w 1044701"/>
                <a:gd name="connsiteY474" fmla="*/ 460439 h 731424"/>
                <a:gd name="connsiteX475" fmla="*/ 189071 w 1044701"/>
                <a:gd name="connsiteY475" fmla="*/ 459772 h 731424"/>
                <a:gd name="connsiteX476" fmla="*/ 188595 w 1044701"/>
                <a:gd name="connsiteY476" fmla="*/ 456628 h 731424"/>
                <a:gd name="connsiteX477" fmla="*/ 194977 w 1044701"/>
                <a:gd name="connsiteY477" fmla="*/ 455867 h 731424"/>
                <a:gd name="connsiteX478" fmla="*/ 193738 w 1044701"/>
                <a:gd name="connsiteY478" fmla="*/ 459200 h 731424"/>
                <a:gd name="connsiteX479" fmla="*/ 197929 w 1044701"/>
                <a:gd name="connsiteY479" fmla="*/ 466725 h 731424"/>
                <a:gd name="connsiteX480" fmla="*/ 199263 w 1044701"/>
                <a:gd name="connsiteY480" fmla="*/ 464915 h 731424"/>
                <a:gd name="connsiteX481" fmla="*/ 201073 w 1044701"/>
                <a:gd name="connsiteY481" fmla="*/ 466249 h 731424"/>
                <a:gd name="connsiteX482" fmla="*/ 207359 w 1044701"/>
                <a:gd name="connsiteY482" fmla="*/ 465487 h 731424"/>
                <a:gd name="connsiteX483" fmla="*/ 207931 w 1044701"/>
                <a:gd name="connsiteY483" fmla="*/ 457390 h 731424"/>
                <a:gd name="connsiteX484" fmla="*/ 210693 w 1044701"/>
                <a:gd name="connsiteY484" fmla="*/ 453866 h 731424"/>
                <a:gd name="connsiteX485" fmla="*/ 214694 w 1044701"/>
                <a:gd name="connsiteY485" fmla="*/ 459772 h 731424"/>
                <a:gd name="connsiteX486" fmla="*/ 216503 w 1044701"/>
                <a:gd name="connsiteY486" fmla="*/ 461105 h 731424"/>
                <a:gd name="connsiteX487" fmla="*/ 219646 w 1044701"/>
                <a:gd name="connsiteY487" fmla="*/ 460724 h 731424"/>
                <a:gd name="connsiteX488" fmla="*/ 219837 w 1044701"/>
                <a:gd name="connsiteY488" fmla="*/ 462344 h 731424"/>
                <a:gd name="connsiteX489" fmla="*/ 227743 w 1044701"/>
                <a:gd name="connsiteY489" fmla="*/ 461296 h 731424"/>
                <a:gd name="connsiteX490" fmla="*/ 229648 w 1044701"/>
                <a:gd name="connsiteY490" fmla="*/ 464248 h 731424"/>
                <a:gd name="connsiteX491" fmla="*/ 226504 w 1044701"/>
                <a:gd name="connsiteY491" fmla="*/ 464630 h 731424"/>
                <a:gd name="connsiteX492" fmla="*/ 226886 w 1044701"/>
                <a:gd name="connsiteY492" fmla="*/ 467773 h 731424"/>
                <a:gd name="connsiteX493" fmla="*/ 230696 w 1044701"/>
                <a:gd name="connsiteY493" fmla="*/ 472154 h 731424"/>
                <a:gd name="connsiteX494" fmla="*/ 235077 w 1044701"/>
                <a:gd name="connsiteY494" fmla="*/ 468344 h 731424"/>
                <a:gd name="connsiteX495" fmla="*/ 235648 w 1044701"/>
                <a:gd name="connsiteY495" fmla="*/ 473107 h 731424"/>
                <a:gd name="connsiteX496" fmla="*/ 240602 w 1044701"/>
                <a:gd name="connsiteY496" fmla="*/ 474059 h 731424"/>
                <a:gd name="connsiteX497" fmla="*/ 244697 w 1044701"/>
                <a:gd name="connsiteY497" fmla="*/ 468725 h 731424"/>
                <a:gd name="connsiteX498" fmla="*/ 243554 w 1044701"/>
                <a:gd name="connsiteY498" fmla="*/ 472059 h 731424"/>
                <a:gd name="connsiteX499" fmla="*/ 246888 w 1044701"/>
                <a:gd name="connsiteY499" fmla="*/ 473297 h 731424"/>
                <a:gd name="connsiteX500" fmla="*/ 247650 w 1044701"/>
                <a:gd name="connsiteY500" fmla="*/ 479584 h 731424"/>
                <a:gd name="connsiteX501" fmla="*/ 249269 w 1044701"/>
                <a:gd name="connsiteY501" fmla="*/ 479393 h 731424"/>
                <a:gd name="connsiteX502" fmla="*/ 251079 w 1044701"/>
                <a:gd name="connsiteY502" fmla="*/ 480727 h 731424"/>
                <a:gd name="connsiteX503" fmla="*/ 252603 w 1044701"/>
                <a:gd name="connsiteY503" fmla="*/ 480536 h 731424"/>
                <a:gd name="connsiteX504" fmla="*/ 251460 w 1044701"/>
                <a:gd name="connsiteY504" fmla="*/ 483965 h 731424"/>
                <a:gd name="connsiteX505" fmla="*/ 249841 w 1044701"/>
                <a:gd name="connsiteY505" fmla="*/ 484156 h 731424"/>
                <a:gd name="connsiteX506" fmla="*/ 251650 w 1044701"/>
                <a:gd name="connsiteY506" fmla="*/ 485489 h 731424"/>
                <a:gd name="connsiteX507" fmla="*/ 253174 w 1044701"/>
                <a:gd name="connsiteY507" fmla="*/ 485299 h 731424"/>
                <a:gd name="connsiteX508" fmla="*/ 253460 w 1044701"/>
                <a:gd name="connsiteY508" fmla="*/ 486918 h 731424"/>
                <a:gd name="connsiteX509" fmla="*/ 256413 w 1044701"/>
                <a:gd name="connsiteY509" fmla="*/ 484918 h 731424"/>
                <a:gd name="connsiteX510" fmla="*/ 258128 w 1044701"/>
                <a:gd name="connsiteY510" fmla="*/ 486251 h 731424"/>
                <a:gd name="connsiteX511" fmla="*/ 260318 w 1044701"/>
                <a:gd name="connsiteY511" fmla="*/ 490823 h 731424"/>
                <a:gd name="connsiteX512" fmla="*/ 258985 w 1044701"/>
                <a:gd name="connsiteY512" fmla="*/ 492633 h 731424"/>
                <a:gd name="connsiteX513" fmla="*/ 267462 w 1044701"/>
                <a:gd name="connsiteY513" fmla="*/ 496348 h 731424"/>
                <a:gd name="connsiteX514" fmla="*/ 267271 w 1044701"/>
                <a:gd name="connsiteY514" fmla="*/ 494728 h 731424"/>
                <a:gd name="connsiteX515" fmla="*/ 276701 w 1044701"/>
                <a:gd name="connsiteY515" fmla="*/ 493490 h 731424"/>
                <a:gd name="connsiteX516" fmla="*/ 282035 w 1044701"/>
                <a:gd name="connsiteY516" fmla="*/ 497681 h 731424"/>
                <a:gd name="connsiteX517" fmla="*/ 286798 w 1044701"/>
                <a:gd name="connsiteY517" fmla="*/ 497015 h 731424"/>
                <a:gd name="connsiteX518" fmla="*/ 291941 w 1044701"/>
                <a:gd name="connsiteY518" fmla="*/ 499586 h 731424"/>
                <a:gd name="connsiteX519" fmla="*/ 291560 w 1044701"/>
                <a:gd name="connsiteY519" fmla="*/ 496443 h 731424"/>
                <a:gd name="connsiteX520" fmla="*/ 296228 w 1044701"/>
                <a:gd name="connsiteY520" fmla="*/ 495872 h 731424"/>
                <a:gd name="connsiteX521" fmla="*/ 293941 w 1044701"/>
                <a:gd name="connsiteY521" fmla="*/ 502539 h 731424"/>
                <a:gd name="connsiteX522" fmla="*/ 290608 w 1044701"/>
                <a:gd name="connsiteY522" fmla="*/ 514255 h 731424"/>
                <a:gd name="connsiteX523" fmla="*/ 292132 w 1044701"/>
                <a:gd name="connsiteY523" fmla="*/ 514064 h 731424"/>
                <a:gd name="connsiteX524" fmla="*/ 291560 w 1044701"/>
                <a:gd name="connsiteY524" fmla="*/ 522065 h 731424"/>
                <a:gd name="connsiteX525" fmla="*/ 293561 w 1044701"/>
                <a:gd name="connsiteY525" fmla="*/ 525113 h 731424"/>
                <a:gd name="connsiteX526" fmla="*/ 296704 w 1044701"/>
                <a:gd name="connsiteY526" fmla="*/ 524637 h 731424"/>
                <a:gd name="connsiteX527" fmla="*/ 301085 w 1044701"/>
                <a:gd name="connsiteY527" fmla="*/ 520922 h 731424"/>
                <a:gd name="connsiteX528" fmla="*/ 302800 w 1044701"/>
                <a:gd name="connsiteY528" fmla="*/ 522256 h 731424"/>
                <a:gd name="connsiteX529" fmla="*/ 302609 w 1044701"/>
                <a:gd name="connsiteY529" fmla="*/ 520732 h 731424"/>
                <a:gd name="connsiteX530" fmla="*/ 305562 w 1044701"/>
                <a:gd name="connsiteY530" fmla="*/ 518732 h 731424"/>
                <a:gd name="connsiteX531" fmla="*/ 309372 w 1044701"/>
                <a:gd name="connsiteY531" fmla="*/ 523018 h 731424"/>
                <a:gd name="connsiteX532" fmla="*/ 313849 w 1044701"/>
                <a:gd name="connsiteY532" fmla="*/ 520827 h 731424"/>
                <a:gd name="connsiteX533" fmla="*/ 315849 w 1044701"/>
                <a:gd name="connsiteY533" fmla="*/ 523875 h 731424"/>
                <a:gd name="connsiteX534" fmla="*/ 320992 w 1044701"/>
                <a:gd name="connsiteY534" fmla="*/ 526352 h 731424"/>
                <a:gd name="connsiteX535" fmla="*/ 321183 w 1044701"/>
                <a:gd name="connsiteY535" fmla="*/ 527971 h 731424"/>
                <a:gd name="connsiteX536" fmla="*/ 324326 w 1044701"/>
                <a:gd name="connsiteY536" fmla="*/ 527590 h 731424"/>
                <a:gd name="connsiteX537" fmla="*/ 330708 w 1044701"/>
                <a:gd name="connsiteY537" fmla="*/ 539591 h 731424"/>
                <a:gd name="connsiteX538" fmla="*/ 342138 w 1044701"/>
                <a:gd name="connsiteY538" fmla="*/ 541306 h 731424"/>
                <a:gd name="connsiteX539" fmla="*/ 344329 w 1044701"/>
                <a:gd name="connsiteY539" fmla="*/ 545878 h 731424"/>
                <a:gd name="connsiteX540" fmla="*/ 350234 w 1044701"/>
                <a:gd name="connsiteY540" fmla="*/ 541877 h 731424"/>
                <a:gd name="connsiteX541" fmla="*/ 354521 w 1044701"/>
                <a:gd name="connsiteY541" fmla="*/ 538163 h 731424"/>
                <a:gd name="connsiteX542" fmla="*/ 354616 w 1044701"/>
                <a:gd name="connsiteY542" fmla="*/ 550926 h 731424"/>
                <a:gd name="connsiteX543" fmla="*/ 350044 w 1044701"/>
                <a:gd name="connsiteY543" fmla="*/ 553117 h 731424"/>
                <a:gd name="connsiteX544" fmla="*/ 343567 w 1044701"/>
                <a:gd name="connsiteY544" fmla="*/ 565214 h 731424"/>
                <a:gd name="connsiteX545" fmla="*/ 349282 w 1044701"/>
                <a:gd name="connsiteY545" fmla="*/ 572453 h 731424"/>
                <a:gd name="connsiteX546" fmla="*/ 348139 w 1044701"/>
                <a:gd name="connsiteY546" fmla="*/ 575882 h 731424"/>
                <a:gd name="connsiteX547" fmla="*/ 358807 w 1044701"/>
                <a:gd name="connsiteY547" fmla="*/ 584073 h 731424"/>
                <a:gd name="connsiteX548" fmla="*/ 366713 w 1044701"/>
                <a:gd name="connsiteY548" fmla="*/ 583120 h 731424"/>
                <a:gd name="connsiteX549" fmla="*/ 377190 w 1044701"/>
                <a:gd name="connsiteY549" fmla="*/ 589788 h 731424"/>
                <a:gd name="connsiteX550" fmla="*/ 382143 w 1044701"/>
                <a:gd name="connsiteY550" fmla="*/ 590740 h 731424"/>
                <a:gd name="connsiteX551" fmla="*/ 382333 w 1044701"/>
                <a:gd name="connsiteY551" fmla="*/ 592360 h 731424"/>
                <a:gd name="connsiteX552" fmla="*/ 384143 w 1044701"/>
                <a:gd name="connsiteY552" fmla="*/ 593693 h 731424"/>
                <a:gd name="connsiteX553" fmla="*/ 393382 w 1044701"/>
                <a:gd name="connsiteY553" fmla="*/ 603790 h 731424"/>
                <a:gd name="connsiteX554" fmla="*/ 396526 w 1044701"/>
                <a:gd name="connsiteY554" fmla="*/ 603314 h 731424"/>
                <a:gd name="connsiteX555" fmla="*/ 399479 w 1044701"/>
                <a:gd name="connsiteY555" fmla="*/ 601409 h 731424"/>
                <a:gd name="connsiteX556" fmla="*/ 404241 w 1044701"/>
                <a:gd name="connsiteY556" fmla="*/ 600742 h 731424"/>
                <a:gd name="connsiteX557" fmla="*/ 409384 w 1044701"/>
                <a:gd name="connsiteY557" fmla="*/ 603314 h 731424"/>
                <a:gd name="connsiteX558" fmla="*/ 414147 w 1044701"/>
                <a:gd name="connsiteY558" fmla="*/ 602742 h 731424"/>
                <a:gd name="connsiteX559" fmla="*/ 413956 w 1044701"/>
                <a:gd name="connsiteY559" fmla="*/ 601123 h 731424"/>
                <a:gd name="connsiteX560" fmla="*/ 421577 w 1044701"/>
                <a:gd name="connsiteY560" fmla="*/ 598551 h 731424"/>
                <a:gd name="connsiteX561" fmla="*/ 416623 w 1044701"/>
                <a:gd name="connsiteY561" fmla="*/ 584740 h 731424"/>
                <a:gd name="connsiteX562" fmla="*/ 428054 w 1044701"/>
                <a:gd name="connsiteY562" fmla="*/ 586549 h 731424"/>
                <a:gd name="connsiteX563" fmla="*/ 429482 w 1044701"/>
                <a:gd name="connsiteY563" fmla="*/ 584740 h 731424"/>
                <a:gd name="connsiteX564" fmla="*/ 431006 w 1044701"/>
                <a:gd name="connsiteY564" fmla="*/ 584549 h 731424"/>
                <a:gd name="connsiteX565" fmla="*/ 428244 w 1044701"/>
                <a:gd name="connsiteY565" fmla="*/ 575215 h 731424"/>
                <a:gd name="connsiteX566" fmla="*/ 430244 w 1044701"/>
                <a:gd name="connsiteY566" fmla="*/ 565404 h 731424"/>
                <a:gd name="connsiteX567" fmla="*/ 445961 w 1044701"/>
                <a:gd name="connsiteY567" fmla="*/ 550545 h 731424"/>
                <a:gd name="connsiteX568" fmla="*/ 446722 w 1044701"/>
                <a:gd name="connsiteY568" fmla="*/ 544068 h 731424"/>
                <a:gd name="connsiteX569" fmla="*/ 451485 w 1044701"/>
                <a:gd name="connsiteY569" fmla="*/ 543401 h 731424"/>
                <a:gd name="connsiteX570" fmla="*/ 453485 w 1044701"/>
                <a:gd name="connsiteY570" fmla="*/ 546354 h 731424"/>
                <a:gd name="connsiteX571" fmla="*/ 456438 w 1044701"/>
                <a:gd name="connsiteY571" fmla="*/ 544449 h 731424"/>
                <a:gd name="connsiteX572" fmla="*/ 455200 w 1044701"/>
                <a:gd name="connsiteY572" fmla="*/ 547783 h 731424"/>
                <a:gd name="connsiteX573" fmla="*/ 453866 w 1044701"/>
                <a:gd name="connsiteY573" fmla="*/ 549593 h 731424"/>
                <a:gd name="connsiteX574" fmla="*/ 456057 w 1044701"/>
                <a:gd name="connsiteY574" fmla="*/ 554069 h 731424"/>
                <a:gd name="connsiteX575" fmla="*/ 454438 w 1044701"/>
                <a:gd name="connsiteY575" fmla="*/ 554260 h 731424"/>
                <a:gd name="connsiteX576" fmla="*/ 455105 w 1044701"/>
                <a:gd name="connsiteY576" fmla="*/ 559022 h 731424"/>
                <a:gd name="connsiteX577" fmla="*/ 464153 w 1044701"/>
                <a:gd name="connsiteY577" fmla="*/ 567499 h 731424"/>
                <a:gd name="connsiteX578" fmla="*/ 469106 w 1044701"/>
                <a:gd name="connsiteY578" fmla="*/ 568452 h 731424"/>
                <a:gd name="connsiteX579" fmla="*/ 473773 w 1044701"/>
                <a:gd name="connsiteY579" fmla="*/ 567881 h 731424"/>
                <a:gd name="connsiteX580" fmla="*/ 475774 w 1044701"/>
                <a:gd name="connsiteY580" fmla="*/ 570833 h 731424"/>
                <a:gd name="connsiteX581" fmla="*/ 482537 w 1044701"/>
                <a:gd name="connsiteY581" fmla="*/ 573119 h 731424"/>
                <a:gd name="connsiteX582" fmla="*/ 484251 w 1044701"/>
                <a:gd name="connsiteY582" fmla="*/ 574548 h 731424"/>
                <a:gd name="connsiteX583" fmla="*/ 486823 w 1044701"/>
                <a:gd name="connsiteY583" fmla="*/ 569405 h 731424"/>
                <a:gd name="connsiteX584" fmla="*/ 490252 w 1044701"/>
                <a:gd name="connsiteY584" fmla="*/ 570548 h 731424"/>
                <a:gd name="connsiteX585" fmla="*/ 493395 w 1044701"/>
                <a:gd name="connsiteY585" fmla="*/ 570167 h 731424"/>
                <a:gd name="connsiteX586" fmla="*/ 498538 w 1044701"/>
                <a:gd name="connsiteY586" fmla="*/ 572738 h 731424"/>
                <a:gd name="connsiteX587" fmla="*/ 500063 w 1044701"/>
                <a:gd name="connsiteY587" fmla="*/ 572548 h 731424"/>
                <a:gd name="connsiteX588" fmla="*/ 503872 w 1044701"/>
                <a:gd name="connsiteY588" fmla="*/ 576834 h 731424"/>
                <a:gd name="connsiteX589" fmla="*/ 507397 w 1044701"/>
                <a:gd name="connsiteY589" fmla="*/ 579596 h 731424"/>
                <a:gd name="connsiteX590" fmla="*/ 507587 w 1044701"/>
                <a:gd name="connsiteY590" fmla="*/ 581215 h 731424"/>
                <a:gd name="connsiteX591" fmla="*/ 513112 w 1044701"/>
                <a:gd name="connsiteY591" fmla="*/ 586931 h 731424"/>
                <a:gd name="connsiteX592" fmla="*/ 516541 w 1044701"/>
                <a:gd name="connsiteY592" fmla="*/ 600932 h 731424"/>
                <a:gd name="connsiteX593" fmla="*/ 522065 w 1044701"/>
                <a:gd name="connsiteY593" fmla="*/ 606647 h 731424"/>
                <a:gd name="connsiteX594" fmla="*/ 526161 w 1044701"/>
                <a:gd name="connsiteY594" fmla="*/ 601313 h 731424"/>
                <a:gd name="connsiteX595" fmla="*/ 529590 w 1044701"/>
                <a:gd name="connsiteY595" fmla="*/ 602456 h 731424"/>
                <a:gd name="connsiteX596" fmla="*/ 529399 w 1044701"/>
                <a:gd name="connsiteY596" fmla="*/ 600837 h 731424"/>
                <a:gd name="connsiteX597" fmla="*/ 539210 w 1044701"/>
                <a:gd name="connsiteY597" fmla="*/ 602837 h 731424"/>
                <a:gd name="connsiteX598" fmla="*/ 548069 w 1044701"/>
                <a:gd name="connsiteY598" fmla="*/ 596836 h 731424"/>
                <a:gd name="connsiteX599" fmla="*/ 551879 w 1044701"/>
                <a:gd name="connsiteY599" fmla="*/ 601218 h 731424"/>
                <a:gd name="connsiteX600" fmla="*/ 555784 w 1044701"/>
                <a:gd name="connsiteY600" fmla="*/ 607124 h 731424"/>
                <a:gd name="connsiteX601" fmla="*/ 554641 w 1044701"/>
                <a:gd name="connsiteY601" fmla="*/ 610457 h 731424"/>
                <a:gd name="connsiteX602" fmla="*/ 557974 w 1044701"/>
                <a:gd name="connsiteY602" fmla="*/ 611695 h 731424"/>
                <a:gd name="connsiteX603" fmla="*/ 562356 w 1044701"/>
                <a:gd name="connsiteY603" fmla="*/ 607886 h 731424"/>
                <a:gd name="connsiteX604" fmla="*/ 568642 w 1044701"/>
                <a:gd name="connsiteY604" fmla="*/ 607124 h 731424"/>
                <a:gd name="connsiteX605" fmla="*/ 572357 w 1044701"/>
                <a:gd name="connsiteY605" fmla="*/ 611410 h 731424"/>
                <a:gd name="connsiteX606" fmla="*/ 579501 w 1044701"/>
                <a:gd name="connsiteY606" fmla="*/ 616934 h 731424"/>
                <a:gd name="connsiteX607" fmla="*/ 582644 w 1044701"/>
                <a:gd name="connsiteY607" fmla="*/ 616553 h 731424"/>
                <a:gd name="connsiteX608" fmla="*/ 583692 w 1044701"/>
                <a:gd name="connsiteY608" fmla="*/ 611600 h 731424"/>
                <a:gd name="connsiteX609" fmla="*/ 586835 w 1044701"/>
                <a:gd name="connsiteY609" fmla="*/ 611219 h 731424"/>
                <a:gd name="connsiteX610" fmla="*/ 589216 w 1044701"/>
                <a:gd name="connsiteY610" fmla="*/ 617315 h 731424"/>
                <a:gd name="connsiteX611" fmla="*/ 594550 w 1044701"/>
                <a:gd name="connsiteY611" fmla="*/ 621411 h 731424"/>
                <a:gd name="connsiteX612" fmla="*/ 594931 w 1044701"/>
                <a:gd name="connsiteY612" fmla="*/ 624554 h 731424"/>
                <a:gd name="connsiteX613" fmla="*/ 599694 w 1044701"/>
                <a:gd name="connsiteY613" fmla="*/ 623983 h 731424"/>
                <a:gd name="connsiteX614" fmla="*/ 601408 w 1044701"/>
                <a:gd name="connsiteY614" fmla="*/ 625316 h 731424"/>
                <a:gd name="connsiteX615" fmla="*/ 602837 w 1044701"/>
                <a:gd name="connsiteY615" fmla="*/ 623602 h 731424"/>
                <a:gd name="connsiteX616" fmla="*/ 609695 w 1044701"/>
                <a:gd name="connsiteY616" fmla="*/ 627507 h 731424"/>
                <a:gd name="connsiteX617" fmla="*/ 617982 w 1044701"/>
                <a:gd name="connsiteY617" fmla="*/ 629698 h 731424"/>
                <a:gd name="connsiteX618" fmla="*/ 621792 w 1044701"/>
                <a:gd name="connsiteY618" fmla="*/ 633984 h 731424"/>
                <a:gd name="connsiteX619" fmla="*/ 631507 w 1044701"/>
                <a:gd name="connsiteY619" fmla="*/ 647224 h 731424"/>
                <a:gd name="connsiteX620" fmla="*/ 637222 w 1044701"/>
                <a:gd name="connsiteY620" fmla="*/ 654463 h 731424"/>
                <a:gd name="connsiteX621" fmla="*/ 642366 w 1044701"/>
                <a:gd name="connsiteY621" fmla="*/ 657035 h 731424"/>
                <a:gd name="connsiteX622" fmla="*/ 640366 w 1044701"/>
                <a:gd name="connsiteY622" fmla="*/ 666940 h 731424"/>
                <a:gd name="connsiteX623" fmla="*/ 647129 w 1044701"/>
                <a:gd name="connsiteY623" fmla="*/ 669227 h 731424"/>
                <a:gd name="connsiteX624" fmla="*/ 650653 w 1044701"/>
                <a:gd name="connsiteY624" fmla="*/ 671989 h 731424"/>
                <a:gd name="connsiteX625" fmla="*/ 653034 w 1044701"/>
                <a:gd name="connsiteY625" fmla="*/ 678085 h 731424"/>
                <a:gd name="connsiteX626" fmla="*/ 657987 w 1044701"/>
                <a:gd name="connsiteY626" fmla="*/ 679132 h 731424"/>
                <a:gd name="connsiteX627" fmla="*/ 661130 w 1044701"/>
                <a:gd name="connsiteY627" fmla="*/ 678656 h 731424"/>
                <a:gd name="connsiteX628" fmla="*/ 663702 w 1044701"/>
                <a:gd name="connsiteY628" fmla="*/ 673513 h 731424"/>
                <a:gd name="connsiteX629" fmla="*/ 670846 w 1044701"/>
                <a:gd name="connsiteY629" fmla="*/ 679037 h 731424"/>
                <a:gd name="connsiteX630" fmla="*/ 673798 w 1044701"/>
                <a:gd name="connsiteY630" fmla="*/ 677037 h 731424"/>
                <a:gd name="connsiteX631" fmla="*/ 682657 w 1044701"/>
                <a:gd name="connsiteY631" fmla="*/ 683990 h 731424"/>
                <a:gd name="connsiteX632" fmla="*/ 688943 w 1044701"/>
                <a:gd name="connsiteY632" fmla="*/ 683133 h 731424"/>
                <a:gd name="connsiteX633" fmla="*/ 695706 w 1044701"/>
                <a:gd name="connsiteY633" fmla="*/ 685514 h 731424"/>
                <a:gd name="connsiteX634" fmla="*/ 698087 w 1044701"/>
                <a:gd name="connsiteY634" fmla="*/ 691610 h 731424"/>
                <a:gd name="connsiteX635" fmla="*/ 703802 w 1044701"/>
                <a:gd name="connsiteY635" fmla="*/ 698945 h 731424"/>
                <a:gd name="connsiteX636" fmla="*/ 710184 w 1044701"/>
                <a:gd name="connsiteY636" fmla="*/ 698087 h 731424"/>
                <a:gd name="connsiteX637" fmla="*/ 715708 w 1044701"/>
                <a:gd name="connsiteY637" fmla="*/ 703802 h 731424"/>
                <a:gd name="connsiteX638" fmla="*/ 716280 w 1044701"/>
                <a:gd name="connsiteY638" fmla="*/ 708565 h 731424"/>
                <a:gd name="connsiteX639" fmla="*/ 725996 w 1044701"/>
                <a:gd name="connsiteY639" fmla="*/ 721709 h 731424"/>
                <a:gd name="connsiteX640" fmla="*/ 729329 w 1044701"/>
                <a:gd name="connsiteY640" fmla="*/ 722948 h 731424"/>
                <a:gd name="connsiteX641" fmla="*/ 733330 w 1044701"/>
                <a:gd name="connsiteY641" fmla="*/ 728853 h 731424"/>
                <a:gd name="connsiteX642" fmla="*/ 738378 w 1044701"/>
                <a:gd name="connsiteY642" fmla="*/ 731425 h 731424"/>
                <a:gd name="connsiteX643" fmla="*/ 737616 w 1044701"/>
                <a:gd name="connsiteY643" fmla="*/ 725043 h 731424"/>
                <a:gd name="connsiteX644" fmla="*/ 746284 w 1044701"/>
                <a:gd name="connsiteY644" fmla="*/ 717518 h 731424"/>
                <a:gd name="connsiteX645" fmla="*/ 743712 w 1044701"/>
                <a:gd name="connsiteY645" fmla="*/ 709898 h 731424"/>
                <a:gd name="connsiteX646" fmla="*/ 744664 w 1044701"/>
                <a:gd name="connsiteY646" fmla="*/ 704945 h 731424"/>
                <a:gd name="connsiteX647" fmla="*/ 751427 w 1044701"/>
                <a:gd name="connsiteY647" fmla="*/ 707327 h 731424"/>
                <a:gd name="connsiteX648" fmla="*/ 755904 w 1044701"/>
                <a:gd name="connsiteY648" fmla="*/ 705136 h 731424"/>
                <a:gd name="connsiteX649" fmla="*/ 758476 w 1044701"/>
                <a:gd name="connsiteY649" fmla="*/ 699992 h 731424"/>
                <a:gd name="connsiteX650" fmla="*/ 760286 w 1044701"/>
                <a:gd name="connsiteY650" fmla="*/ 701326 h 731424"/>
                <a:gd name="connsiteX651" fmla="*/ 761809 w 1044701"/>
                <a:gd name="connsiteY651" fmla="*/ 701135 h 731424"/>
                <a:gd name="connsiteX652" fmla="*/ 766953 w 1044701"/>
                <a:gd name="connsiteY652" fmla="*/ 703707 h 731424"/>
                <a:gd name="connsiteX653" fmla="*/ 765048 w 1044701"/>
                <a:gd name="connsiteY653" fmla="*/ 713613 h 731424"/>
                <a:gd name="connsiteX654" fmla="*/ 768191 w 1044701"/>
                <a:gd name="connsiteY654" fmla="*/ 713137 h 731424"/>
                <a:gd name="connsiteX655" fmla="*/ 771144 w 1044701"/>
                <a:gd name="connsiteY655" fmla="*/ 711232 h 731424"/>
                <a:gd name="connsiteX656" fmla="*/ 774287 w 1044701"/>
                <a:gd name="connsiteY656" fmla="*/ 710756 h 731424"/>
                <a:gd name="connsiteX657" fmla="*/ 777240 w 1044701"/>
                <a:gd name="connsiteY657" fmla="*/ 708851 h 731424"/>
                <a:gd name="connsiteX658" fmla="*/ 783812 w 1044701"/>
                <a:gd name="connsiteY658" fmla="*/ 709613 h 731424"/>
                <a:gd name="connsiteX659" fmla="*/ 793813 w 1044701"/>
                <a:gd name="connsiteY659" fmla="*/ 700278 h 731424"/>
                <a:gd name="connsiteX660" fmla="*/ 796957 w 1044701"/>
                <a:gd name="connsiteY660" fmla="*/ 699897 h 731424"/>
                <a:gd name="connsiteX661" fmla="*/ 804481 w 1044701"/>
                <a:gd name="connsiteY661" fmla="*/ 708565 h 731424"/>
                <a:gd name="connsiteX662" fmla="*/ 806291 w 1044701"/>
                <a:gd name="connsiteY662" fmla="*/ 709898 h 731424"/>
                <a:gd name="connsiteX663" fmla="*/ 809244 w 1044701"/>
                <a:gd name="connsiteY663" fmla="*/ 707898 h 731424"/>
                <a:gd name="connsiteX664" fmla="*/ 810958 w 1044701"/>
                <a:gd name="connsiteY664" fmla="*/ 709327 h 731424"/>
                <a:gd name="connsiteX665" fmla="*/ 814388 w 1044701"/>
                <a:gd name="connsiteY665" fmla="*/ 710470 h 731424"/>
                <a:gd name="connsiteX666" fmla="*/ 813911 w 1044701"/>
                <a:gd name="connsiteY666" fmla="*/ 707327 h 731424"/>
                <a:gd name="connsiteX667" fmla="*/ 826961 w 1044701"/>
                <a:gd name="connsiteY667" fmla="*/ 708851 h 731424"/>
                <a:gd name="connsiteX668" fmla="*/ 829913 w 1044701"/>
                <a:gd name="connsiteY668" fmla="*/ 706945 h 731424"/>
                <a:gd name="connsiteX669" fmla="*/ 830294 w 1044701"/>
                <a:gd name="connsiteY669" fmla="*/ 710089 h 731424"/>
                <a:gd name="connsiteX670" fmla="*/ 833247 w 1044701"/>
                <a:gd name="connsiteY670" fmla="*/ 708089 h 731424"/>
                <a:gd name="connsiteX671" fmla="*/ 832866 w 1044701"/>
                <a:gd name="connsiteY671" fmla="*/ 704945 h 731424"/>
                <a:gd name="connsiteX672" fmla="*/ 830485 w 1044701"/>
                <a:gd name="connsiteY672" fmla="*/ 698849 h 731424"/>
                <a:gd name="connsiteX673" fmla="*/ 834390 w 1044701"/>
                <a:gd name="connsiteY673" fmla="*/ 691896 h 731424"/>
                <a:gd name="connsiteX674" fmla="*/ 834199 w 1044701"/>
                <a:gd name="connsiteY674" fmla="*/ 690277 h 731424"/>
                <a:gd name="connsiteX675" fmla="*/ 835628 w 1044701"/>
                <a:gd name="connsiteY675" fmla="*/ 688562 h 731424"/>
                <a:gd name="connsiteX676" fmla="*/ 834962 w 1044701"/>
                <a:gd name="connsiteY676" fmla="*/ 683800 h 731424"/>
                <a:gd name="connsiteX677" fmla="*/ 834009 w 1044701"/>
                <a:gd name="connsiteY677" fmla="*/ 675894 h 731424"/>
                <a:gd name="connsiteX678" fmla="*/ 838105 w 1044701"/>
                <a:gd name="connsiteY678" fmla="*/ 670560 h 731424"/>
                <a:gd name="connsiteX679" fmla="*/ 837724 w 1044701"/>
                <a:gd name="connsiteY679" fmla="*/ 667417 h 731424"/>
                <a:gd name="connsiteX680" fmla="*/ 840677 w 1044701"/>
                <a:gd name="connsiteY680" fmla="*/ 665417 h 731424"/>
                <a:gd name="connsiteX681" fmla="*/ 845439 w 1044701"/>
                <a:gd name="connsiteY681" fmla="*/ 664845 h 731424"/>
                <a:gd name="connsiteX682" fmla="*/ 848963 w 1044701"/>
                <a:gd name="connsiteY682" fmla="*/ 667607 h 731424"/>
                <a:gd name="connsiteX683" fmla="*/ 850582 w 1044701"/>
                <a:gd name="connsiteY683" fmla="*/ 667417 h 731424"/>
                <a:gd name="connsiteX684" fmla="*/ 854869 w 1044701"/>
                <a:gd name="connsiteY684" fmla="*/ 663607 h 731424"/>
                <a:gd name="connsiteX685" fmla="*/ 855536 w 1044701"/>
                <a:gd name="connsiteY685" fmla="*/ 668369 h 731424"/>
                <a:gd name="connsiteX686" fmla="*/ 862394 w 1044701"/>
                <a:gd name="connsiteY686" fmla="*/ 672274 h 731424"/>
                <a:gd name="connsiteX687" fmla="*/ 866775 w 1044701"/>
                <a:gd name="connsiteY687" fmla="*/ 668560 h 731424"/>
                <a:gd name="connsiteX688" fmla="*/ 871919 w 1044701"/>
                <a:gd name="connsiteY688" fmla="*/ 671132 h 731424"/>
                <a:gd name="connsiteX689" fmla="*/ 875252 w 1044701"/>
                <a:gd name="connsiteY689" fmla="*/ 672274 h 731424"/>
                <a:gd name="connsiteX690" fmla="*/ 875252 w 1044701"/>
                <a:gd name="connsiteY690" fmla="*/ 672274 h 731424"/>
                <a:gd name="connsiteX691" fmla="*/ 883158 w 1044701"/>
                <a:gd name="connsiteY691" fmla="*/ 671227 h 731424"/>
                <a:gd name="connsiteX692" fmla="*/ 882872 w 1044701"/>
                <a:gd name="connsiteY692" fmla="*/ 669703 h 731424"/>
                <a:gd name="connsiteX693" fmla="*/ 886111 w 1044701"/>
                <a:gd name="connsiteY693" fmla="*/ 669322 h 731424"/>
                <a:gd name="connsiteX694" fmla="*/ 884111 w 1044701"/>
                <a:gd name="connsiteY694" fmla="*/ 666369 h 731424"/>
                <a:gd name="connsiteX695" fmla="*/ 885063 w 1044701"/>
                <a:gd name="connsiteY695" fmla="*/ 661416 h 731424"/>
                <a:gd name="connsiteX696" fmla="*/ 886682 w 1044701"/>
                <a:gd name="connsiteY696" fmla="*/ 661226 h 731424"/>
                <a:gd name="connsiteX697" fmla="*/ 896683 w 1044701"/>
                <a:gd name="connsiteY697" fmla="*/ 664750 h 731424"/>
                <a:gd name="connsiteX698" fmla="*/ 909352 w 1044701"/>
                <a:gd name="connsiteY698" fmla="*/ 675894 h 731424"/>
                <a:gd name="connsiteX699" fmla="*/ 914876 w 1044701"/>
                <a:gd name="connsiteY699" fmla="*/ 668845 h 731424"/>
                <a:gd name="connsiteX700" fmla="*/ 921639 w 1044701"/>
                <a:gd name="connsiteY700" fmla="*/ 671132 h 731424"/>
                <a:gd name="connsiteX701" fmla="*/ 921163 w 1044701"/>
                <a:gd name="connsiteY701" fmla="*/ 667988 h 731424"/>
                <a:gd name="connsiteX702" fmla="*/ 917829 w 1044701"/>
                <a:gd name="connsiteY702" fmla="*/ 666845 h 731424"/>
                <a:gd name="connsiteX703" fmla="*/ 919258 w 1044701"/>
                <a:gd name="connsiteY703" fmla="*/ 665036 h 731424"/>
                <a:gd name="connsiteX704" fmla="*/ 927925 w 1044701"/>
                <a:gd name="connsiteY704" fmla="*/ 670370 h 731424"/>
                <a:gd name="connsiteX705" fmla="*/ 931259 w 1044701"/>
                <a:gd name="connsiteY705" fmla="*/ 671513 h 731424"/>
                <a:gd name="connsiteX706" fmla="*/ 932688 w 1044701"/>
                <a:gd name="connsiteY706" fmla="*/ 669798 h 731424"/>
                <a:gd name="connsiteX707" fmla="*/ 936022 w 1044701"/>
                <a:gd name="connsiteY707" fmla="*/ 670941 h 731424"/>
                <a:gd name="connsiteX708" fmla="*/ 941927 w 1044701"/>
                <a:gd name="connsiteY708" fmla="*/ 666940 h 731424"/>
                <a:gd name="connsiteX709" fmla="*/ 939165 w 1044701"/>
                <a:gd name="connsiteY709" fmla="*/ 670560 h 731424"/>
                <a:gd name="connsiteX710" fmla="*/ 953929 w 1044701"/>
                <a:gd name="connsiteY710" fmla="*/ 673418 h 731424"/>
                <a:gd name="connsiteX711" fmla="*/ 956310 w 1044701"/>
                <a:gd name="connsiteY711" fmla="*/ 679609 h 731424"/>
                <a:gd name="connsiteX712" fmla="*/ 959739 w 1044701"/>
                <a:gd name="connsiteY712" fmla="*/ 680752 h 731424"/>
                <a:gd name="connsiteX713" fmla="*/ 961263 w 1044701"/>
                <a:gd name="connsiteY713" fmla="*/ 680561 h 731424"/>
                <a:gd name="connsiteX714" fmla="*/ 980027 w 1044701"/>
                <a:gd name="connsiteY714" fmla="*/ 689420 h 731424"/>
                <a:gd name="connsiteX715" fmla="*/ 983361 w 1044701"/>
                <a:gd name="connsiteY715" fmla="*/ 690563 h 731424"/>
                <a:gd name="connsiteX716" fmla="*/ 995458 w 1044701"/>
                <a:gd name="connsiteY716" fmla="*/ 697040 h 731424"/>
                <a:gd name="connsiteX717" fmla="*/ 1002411 w 1044701"/>
                <a:gd name="connsiteY717" fmla="*/ 700945 h 731424"/>
                <a:gd name="connsiteX718" fmla="*/ 1016413 w 1044701"/>
                <a:gd name="connsiteY718" fmla="*/ 697611 h 731424"/>
                <a:gd name="connsiteX719" fmla="*/ 1014031 w 1044701"/>
                <a:gd name="connsiteY719" fmla="*/ 691515 h 731424"/>
                <a:gd name="connsiteX720" fmla="*/ 1016984 w 1044701"/>
                <a:gd name="connsiteY720" fmla="*/ 689515 h 731424"/>
                <a:gd name="connsiteX721" fmla="*/ 1018127 w 1044701"/>
                <a:gd name="connsiteY721" fmla="*/ 686086 h 731424"/>
                <a:gd name="connsiteX722" fmla="*/ 1014413 w 1044701"/>
                <a:gd name="connsiteY722" fmla="*/ 681799 h 731424"/>
                <a:gd name="connsiteX723" fmla="*/ 1018699 w 1044701"/>
                <a:gd name="connsiteY723" fmla="*/ 678085 h 731424"/>
                <a:gd name="connsiteX724" fmla="*/ 1019270 w 1044701"/>
                <a:gd name="connsiteY724" fmla="*/ 669989 h 731424"/>
                <a:gd name="connsiteX725" fmla="*/ 1020794 w 1044701"/>
                <a:gd name="connsiteY725" fmla="*/ 669798 h 731424"/>
                <a:gd name="connsiteX726" fmla="*/ 1022032 w 1044701"/>
                <a:gd name="connsiteY726" fmla="*/ 666369 h 731424"/>
                <a:gd name="connsiteX727" fmla="*/ 1021652 w 1044701"/>
                <a:gd name="connsiteY727" fmla="*/ 663226 h 731424"/>
                <a:gd name="connsiteX728" fmla="*/ 1023366 w 1044701"/>
                <a:gd name="connsiteY728" fmla="*/ 664655 h 731424"/>
                <a:gd name="connsiteX729" fmla="*/ 1023842 w 1044701"/>
                <a:gd name="connsiteY729" fmla="*/ 667798 h 731424"/>
                <a:gd name="connsiteX730" fmla="*/ 1027366 w 1044701"/>
                <a:gd name="connsiteY730" fmla="*/ 670560 h 731424"/>
                <a:gd name="connsiteX731" fmla="*/ 1028700 w 1044701"/>
                <a:gd name="connsiteY731" fmla="*/ 668750 h 731424"/>
                <a:gd name="connsiteX732" fmla="*/ 1021461 w 1044701"/>
                <a:gd name="connsiteY732" fmla="*/ 661702 h 731424"/>
                <a:gd name="connsiteX733" fmla="*/ 1015460 w 1044701"/>
                <a:gd name="connsiteY733" fmla="*/ 652844 h 731424"/>
                <a:gd name="connsiteX734" fmla="*/ 1014698 w 1044701"/>
                <a:gd name="connsiteY734" fmla="*/ 646462 h 731424"/>
                <a:gd name="connsiteX735" fmla="*/ 1016032 w 1044701"/>
                <a:gd name="connsiteY735" fmla="*/ 644747 h 731424"/>
                <a:gd name="connsiteX736" fmla="*/ 1014413 w 1044701"/>
                <a:gd name="connsiteY736" fmla="*/ 632079 h 731424"/>
                <a:gd name="connsiteX737" fmla="*/ 1019175 w 1044701"/>
                <a:gd name="connsiteY737" fmla="*/ 631507 h 731424"/>
                <a:gd name="connsiteX738" fmla="*/ 1018604 w 1044701"/>
                <a:gd name="connsiteY738" fmla="*/ 626745 h 731424"/>
                <a:gd name="connsiteX739" fmla="*/ 1022699 w 1044701"/>
                <a:gd name="connsiteY739" fmla="*/ 621411 h 731424"/>
                <a:gd name="connsiteX740" fmla="*/ 1029176 w 1044701"/>
                <a:gd name="connsiteY740" fmla="*/ 622173 h 731424"/>
                <a:gd name="connsiteX741" fmla="*/ 1030605 w 1044701"/>
                <a:gd name="connsiteY741" fmla="*/ 620363 h 731424"/>
                <a:gd name="connsiteX742" fmla="*/ 1031938 w 1044701"/>
                <a:gd name="connsiteY742" fmla="*/ 618649 h 731424"/>
                <a:gd name="connsiteX743" fmla="*/ 1029748 w 1044701"/>
                <a:gd name="connsiteY743" fmla="*/ 614077 h 731424"/>
                <a:gd name="connsiteX744" fmla="*/ 1035939 w 1044701"/>
                <a:gd name="connsiteY744" fmla="*/ 611695 h 731424"/>
                <a:gd name="connsiteX745" fmla="*/ 1039082 w 1044701"/>
                <a:gd name="connsiteY745" fmla="*/ 611315 h 731424"/>
                <a:gd name="connsiteX746" fmla="*/ 1044607 w 1044701"/>
                <a:gd name="connsiteY746" fmla="*/ 604171 h 731424"/>
                <a:gd name="connsiteX747" fmla="*/ 1042225 w 1044701"/>
                <a:gd name="connsiteY747" fmla="*/ 598075 h 731424"/>
                <a:gd name="connsiteX748" fmla="*/ 1044702 w 1044701"/>
                <a:gd name="connsiteY748" fmla="*/ 580073 h 731424"/>
                <a:gd name="connsiteX749" fmla="*/ 1044130 w 1044701"/>
                <a:gd name="connsiteY749" fmla="*/ 575405 h 731424"/>
                <a:gd name="connsiteX750" fmla="*/ 1041178 w 1044701"/>
                <a:gd name="connsiteY750" fmla="*/ 577310 h 731424"/>
                <a:gd name="connsiteX751" fmla="*/ 1040702 w 1044701"/>
                <a:gd name="connsiteY751" fmla="*/ 574167 h 731424"/>
                <a:gd name="connsiteX752" fmla="*/ 1038987 w 1044701"/>
                <a:gd name="connsiteY752" fmla="*/ 572834 h 731424"/>
                <a:gd name="connsiteX753" fmla="*/ 1042702 w 1044701"/>
                <a:gd name="connsiteY753" fmla="*/ 564356 h 731424"/>
                <a:gd name="connsiteX754" fmla="*/ 1043464 w 1044701"/>
                <a:gd name="connsiteY754" fmla="*/ 557784 h 731424"/>
                <a:gd name="connsiteX755" fmla="*/ 1036511 w 1044701"/>
                <a:gd name="connsiteY755" fmla="*/ 553879 h 731424"/>
                <a:gd name="connsiteX756" fmla="*/ 1032605 w 1044701"/>
                <a:gd name="connsiteY756" fmla="*/ 547973 h 731424"/>
                <a:gd name="connsiteX757" fmla="*/ 1026319 w 1044701"/>
                <a:gd name="connsiteY757" fmla="*/ 548735 h 731424"/>
                <a:gd name="connsiteX758" fmla="*/ 1021747 w 1044701"/>
                <a:gd name="connsiteY758" fmla="*/ 550926 h 731424"/>
                <a:gd name="connsiteX759" fmla="*/ 1019937 w 1044701"/>
                <a:gd name="connsiteY759" fmla="*/ 549593 h 731424"/>
                <a:gd name="connsiteX760" fmla="*/ 1019365 w 1044701"/>
                <a:gd name="connsiteY760" fmla="*/ 544830 h 731424"/>
                <a:gd name="connsiteX761" fmla="*/ 1014603 w 1044701"/>
                <a:gd name="connsiteY761" fmla="*/ 545497 h 731424"/>
                <a:gd name="connsiteX762" fmla="*/ 1013650 w 1044701"/>
                <a:gd name="connsiteY762" fmla="*/ 550355 h 731424"/>
                <a:gd name="connsiteX763" fmla="*/ 1008888 w 1044701"/>
                <a:gd name="connsiteY763" fmla="*/ 551021 h 731424"/>
                <a:gd name="connsiteX764" fmla="*/ 1005745 w 1044701"/>
                <a:gd name="connsiteY764" fmla="*/ 551402 h 731424"/>
                <a:gd name="connsiteX765" fmla="*/ 1003554 w 1044701"/>
                <a:gd name="connsiteY765" fmla="*/ 546830 h 731424"/>
                <a:gd name="connsiteX766" fmla="*/ 1007936 w 1044701"/>
                <a:gd name="connsiteY766" fmla="*/ 543115 h 731424"/>
                <a:gd name="connsiteX767" fmla="*/ 1011841 w 1044701"/>
                <a:gd name="connsiteY767" fmla="*/ 536162 h 731424"/>
                <a:gd name="connsiteX768" fmla="*/ 1014984 w 1044701"/>
                <a:gd name="connsiteY768" fmla="*/ 535781 h 731424"/>
                <a:gd name="connsiteX769" fmla="*/ 1018699 w 1044701"/>
                <a:gd name="connsiteY769" fmla="*/ 527304 h 731424"/>
                <a:gd name="connsiteX770" fmla="*/ 1013555 w 1044701"/>
                <a:gd name="connsiteY770" fmla="*/ 524732 h 731424"/>
                <a:gd name="connsiteX771" fmla="*/ 1004316 w 1044701"/>
                <a:gd name="connsiteY771" fmla="*/ 514731 h 731424"/>
                <a:gd name="connsiteX772" fmla="*/ 1004125 w 1044701"/>
                <a:gd name="connsiteY772" fmla="*/ 513112 h 731424"/>
                <a:gd name="connsiteX773" fmla="*/ 1008602 w 1044701"/>
                <a:gd name="connsiteY773" fmla="*/ 510921 h 731424"/>
                <a:gd name="connsiteX774" fmla="*/ 1008412 w 1044701"/>
                <a:gd name="connsiteY774" fmla="*/ 509397 h 731424"/>
                <a:gd name="connsiteX775" fmla="*/ 1008031 w 1044701"/>
                <a:gd name="connsiteY775" fmla="*/ 506159 h 731424"/>
                <a:gd name="connsiteX776" fmla="*/ 1010983 w 1044701"/>
                <a:gd name="connsiteY776" fmla="*/ 504253 h 731424"/>
                <a:gd name="connsiteX777" fmla="*/ 1006983 w 1044701"/>
                <a:gd name="connsiteY777" fmla="*/ 498348 h 731424"/>
                <a:gd name="connsiteX778" fmla="*/ 1002125 w 1044701"/>
                <a:gd name="connsiteY778" fmla="*/ 497300 h 731424"/>
                <a:gd name="connsiteX779" fmla="*/ 996791 w 1044701"/>
                <a:gd name="connsiteY779" fmla="*/ 493205 h 731424"/>
                <a:gd name="connsiteX780" fmla="*/ 985075 w 1044701"/>
                <a:gd name="connsiteY780" fmla="*/ 477012 h 731424"/>
                <a:gd name="connsiteX781" fmla="*/ 976979 w 1044701"/>
                <a:gd name="connsiteY781" fmla="*/ 463677 h 731424"/>
                <a:gd name="connsiteX782" fmla="*/ 979265 w 1044701"/>
                <a:gd name="connsiteY782" fmla="*/ 456914 h 731424"/>
                <a:gd name="connsiteX783" fmla="*/ 976884 w 1044701"/>
                <a:gd name="connsiteY783" fmla="*/ 450818 h 731424"/>
                <a:gd name="connsiteX784" fmla="*/ 979646 w 1044701"/>
                <a:gd name="connsiteY784" fmla="*/ 447294 h 731424"/>
                <a:gd name="connsiteX785" fmla="*/ 974503 w 1044701"/>
                <a:gd name="connsiteY785" fmla="*/ 444722 h 731424"/>
                <a:gd name="connsiteX786" fmla="*/ 972598 w 1044701"/>
                <a:gd name="connsiteY786" fmla="*/ 441769 h 731424"/>
                <a:gd name="connsiteX787" fmla="*/ 968978 w 1044701"/>
                <a:gd name="connsiteY787" fmla="*/ 439007 h 731424"/>
                <a:gd name="connsiteX788" fmla="*/ 968788 w 1044701"/>
                <a:gd name="connsiteY788" fmla="*/ 437388 h 731424"/>
                <a:gd name="connsiteX789" fmla="*/ 963835 w 1044701"/>
                <a:gd name="connsiteY789" fmla="*/ 436436 h 731424"/>
                <a:gd name="connsiteX790" fmla="*/ 961263 w 1044701"/>
                <a:gd name="connsiteY790" fmla="*/ 428720 h 731424"/>
                <a:gd name="connsiteX791" fmla="*/ 965168 w 1044701"/>
                <a:gd name="connsiteY791" fmla="*/ 421862 h 731424"/>
                <a:gd name="connsiteX792" fmla="*/ 961644 w 1044701"/>
                <a:gd name="connsiteY792" fmla="*/ 419100 h 731424"/>
                <a:gd name="connsiteX793" fmla="*/ 962406 w 1044701"/>
                <a:gd name="connsiteY793" fmla="*/ 412623 h 731424"/>
                <a:gd name="connsiteX794" fmla="*/ 962406 w 1044701"/>
                <a:gd name="connsiteY794" fmla="*/ 399764 h 731424"/>
                <a:gd name="connsiteX795" fmla="*/ 965168 w 1044701"/>
                <a:gd name="connsiteY795" fmla="*/ 396240 h 731424"/>
                <a:gd name="connsiteX796" fmla="*/ 971074 w 1044701"/>
                <a:gd name="connsiteY796" fmla="*/ 392240 h 731424"/>
                <a:gd name="connsiteX797" fmla="*/ 974217 w 1044701"/>
                <a:gd name="connsiteY797" fmla="*/ 391859 h 731424"/>
                <a:gd name="connsiteX798" fmla="*/ 983075 w 1044701"/>
                <a:gd name="connsiteY798" fmla="*/ 385858 h 731424"/>
                <a:gd name="connsiteX799" fmla="*/ 981265 w 1044701"/>
                <a:gd name="connsiteY799" fmla="*/ 384524 h 731424"/>
                <a:gd name="connsiteX800" fmla="*/ 984218 w 1044701"/>
                <a:gd name="connsiteY800" fmla="*/ 382524 h 731424"/>
                <a:gd name="connsiteX801" fmla="*/ 977551 w 1044701"/>
                <a:gd name="connsiteY801" fmla="*/ 380143 h 731424"/>
                <a:gd name="connsiteX802" fmla="*/ 976503 w 1044701"/>
                <a:gd name="connsiteY802" fmla="*/ 372332 h 731424"/>
                <a:gd name="connsiteX803" fmla="*/ 970216 w 1044701"/>
                <a:gd name="connsiteY803" fmla="*/ 360236 h 731424"/>
                <a:gd name="connsiteX804" fmla="*/ 974122 w 1044701"/>
                <a:gd name="connsiteY804" fmla="*/ 353378 h 731424"/>
                <a:gd name="connsiteX805" fmla="*/ 972122 w 1044701"/>
                <a:gd name="connsiteY805" fmla="*/ 350425 h 731424"/>
                <a:gd name="connsiteX806" fmla="*/ 971359 w 1044701"/>
                <a:gd name="connsiteY806" fmla="*/ 344043 h 731424"/>
                <a:gd name="connsiteX807" fmla="*/ 973931 w 1044701"/>
                <a:gd name="connsiteY807" fmla="*/ 338995 h 731424"/>
                <a:gd name="connsiteX808" fmla="*/ 971740 w 1044701"/>
                <a:gd name="connsiteY808" fmla="*/ 334423 h 731424"/>
                <a:gd name="connsiteX809" fmla="*/ 974217 w 1044701"/>
                <a:gd name="connsiteY809" fmla="*/ 329279 h 731424"/>
                <a:gd name="connsiteX810" fmla="*/ 965740 w 1044701"/>
                <a:gd name="connsiteY810" fmla="*/ 325565 h 731424"/>
                <a:gd name="connsiteX811" fmla="*/ 969455 w 1044701"/>
                <a:gd name="connsiteY811" fmla="*/ 317087 h 731424"/>
                <a:gd name="connsiteX812" fmla="*/ 962597 w 1044701"/>
                <a:gd name="connsiteY812" fmla="*/ 313087 h 731424"/>
                <a:gd name="connsiteX813" fmla="*/ 961168 w 1044701"/>
                <a:gd name="connsiteY813" fmla="*/ 302133 h 731424"/>
                <a:gd name="connsiteX814" fmla="*/ 956024 w 1044701"/>
                <a:gd name="connsiteY814" fmla="*/ 299561 h 731424"/>
                <a:gd name="connsiteX815" fmla="*/ 955453 w 1044701"/>
                <a:gd name="connsiteY815" fmla="*/ 294799 h 731424"/>
                <a:gd name="connsiteX816" fmla="*/ 955834 w 1044701"/>
                <a:gd name="connsiteY816" fmla="*/ 285083 h 731424"/>
                <a:gd name="connsiteX817" fmla="*/ 957929 w 1044701"/>
                <a:gd name="connsiteY817" fmla="*/ 276797 h 731424"/>
                <a:gd name="connsiteX818" fmla="*/ 952405 w 1044701"/>
                <a:gd name="connsiteY818" fmla="*/ 271082 h 731424"/>
                <a:gd name="connsiteX819" fmla="*/ 953357 w 1044701"/>
                <a:gd name="connsiteY819" fmla="*/ 266224 h 731424"/>
                <a:gd name="connsiteX820" fmla="*/ 949452 w 1044701"/>
                <a:gd name="connsiteY820" fmla="*/ 260318 h 731424"/>
                <a:gd name="connsiteX821" fmla="*/ 944118 w 1044701"/>
                <a:gd name="connsiteY821" fmla="*/ 256127 h 731424"/>
                <a:gd name="connsiteX822" fmla="*/ 940308 w 1044701"/>
                <a:gd name="connsiteY822" fmla="*/ 238982 h 731424"/>
                <a:gd name="connsiteX823" fmla="*/ 946404 w 1044701"/>
                <a:gd name="connsiteY823" fmla="*/ 236601 h 731424"/>
                <a:gd name="connsiteX824" fmla="*/ 959453 w 1044701"/>
                <a:gd name="connsiteY824" fmla="*/ 238125 h 731424"/>
                <a:gd name="connsiteX825" fmla="*/ 965168 w 1044701"/>
                <a:gd name="connsiteY825" fmla="*/ 245459 h 731424"/>
                <a:gd name="connsiteX826" fmla="*/ 969740 w 1044701"/>
                <a:gd name="connsiteY826" fmla="*/ 243269 h 731424"/>
                <a:gd name="connsiteX827" fmla="*/ 969550 w 1044701"/>
                <a:gd name="connsiteY827" fmla="*/ 241649 h 731424"/>
                <a:gd name="connsiteX828" fmla="*/ 973455 w 1044701"/>
                <a:gd name="connsiteY828" fmla="*/ 234791 h 731424"/>
                <a:gd name="connsiteX829" fmla="*/ 977741 w 1044701"/>
                <a:gd name="connsiteY829" fmla="*/ 230981 h 731424"/>
                <a:gd name="connsiteX830" fmla="*/ 978980 w 1044701"/>
                <a:gd name="connsiteY830" fmla="*/ 227648 h 731424"/>
                <a:gd name="connsiteX831" fmla="*/ 978122 w 1044701"/>
                <a:gd name="connsiteY831" fmla="*/ 221361 h 731424"/>
                <a:gd name="connsiteX832" fmla="*/ 979361 w 1044701"/>
                <a:gd name="connsiteY832" fmla="*/ 218027 h 731424"/>
                <a:gd name="connsiteX833" fmla="*/ 984218 w 1044701"/>
                <a:gd name="connsiteY833" fmla="*/ 218980 h 731424"/>
                <a:gd name="connsiteX834" fmla="*/ 986599 w 1044701"/>
                <a:gd name="connsiteY834" fmla="*/ 212217 h 731424"/>
                <a:gd name="connsiteX835" fmla="*/ 995648 w 1044701"/>
                <a:gd name="connsiteY835" fmla="*/ 207836 h 731424"/>
                <a:gd name="connsiteX836" fmla="*/ 996887 w 1044701"/>
                <a:gd name="connsiteY836" fmla="*/ 204502 h 731424"/>
                <a:gd name="connsiteX837" fmla="*/ 1004697 w 1044701"/>
                <a:gd name="connsiteY837" fmla="*/ 203549 h 731424"/>
                <a:gd name="connsiteX838" fmla="*/ 1005935 w 1044701"/>
                <a:gd name="connsiteY838" fmla="*/ 200120 h 731424"/>
                <a:gd name="connsiteX839" fmla="*/ 1005554 w 1044701"/>
                <a:gd name="connsiteY839" fmla="*/ 196977 h 731424"/>
                <a:gd name="connsiteX840" fmla="*/ 1006507 w 1044701"/>
                <a:gd name="connsiteY840" fmla="*/ 192024 h 731424"/>
                <a:gd name="connsiteX841" fmla="*/ 1012412 w 1044701"/>
                <a:gd name="connsiteY841" fmla="*/ 188119 h 731424"/>
                <a:gd name="connsiteX842" fmla="*/ 1004697 w 1044701"/>
                <a:gd name="connsiteY842" fmla="*/ 177832 h 731424"/>
                <a:gd name="connsiteX843" fmla="*/ 1008602 w 1044701"/>
                <a:gd name="connsiteY843" fmla="*/ 170974 h 731424"/>
                <a:gd name="connsiteX844" fmla="*/ 997744 w 1044701"/>
                <a:gd name="connsiteY844" fmla="*/ 161068 h 731424"/>
                <a:gd name="connsiteX845" fmla="*/ 1000315 w 1044701"/>
                <a:gd name="connsiteY845" fmla="*/ 155924 h 731424"/>
                <a:gd name="connsiteX846" fmla="*/ 1007173 w 1044701"/>
                <a:gd name="connsiteY846" fmla="*/ 147066 h 731424"/>
                <a:gd name="connsiteX847" fmla="*/ 1014508 w 1044701"/>
                <a:gd name="connsiteY847" fmla="*/ 141351 h 731424"/>
                <a:gd name="connsiteX848" fmla="*/ 1010698 w 1044701"/>
                <a:gd name="connsiteY848" fmla="*/ 136969 h 731424"/>
                <a:gd name="connsiteX849" fmla="*/ 1009936 w 1044701"/>
                <a:gd name="connsiteY849" fmla="*/ 130683 h 731424"/>
                <a:gd name="connsiteX850" fmla="*/ 1003363 w 1044701"/>
                <a:gd name="connsiteY850" fmla="*/ 117062 h 731424"/>
                <a:gd name="connsiteX851" fmla="*/ 1001363 w 1044701"/>
                <a:gd name="connsiteY851" fmla="*/ 114110 h 731424"/>
                <a:gd name="connsiteX852" fmla="*/ 1002792 w 1044701"/>
                <a:gd name="connsiteY852" fmla="*/ 112395 h 731424"/>
                <a:gd name="connsiteX853" fmla="*/ 1010603 w 1044701"/>
                <a:gd name="connsiteY853" fmla="*/ 111347 h 731424"/>
                <a:gd name="connsiteX854" fmla="*/ 1016317 w 1044701"/>
                <a:gd name="connsiteY854" fmla="*/ 105823 h 731424"/>
                <a:gd name="connsiteX855" fmla="*/ 1014508 w 1044701"/>
                <a:gd name="connsiteY855" fmla="*/ 91631 h 731424"/>
                <a:gd name="connsiteX856" fmla="*/ 1017651 w 1044701"/>
                <a:gd name="connsiteY856" fmla="*/ 91250 h 731424"/>
                <a:gd name="connsiteX857" fmla="*/ 1018318 w 1044701"/>
                <a:gd name="connsiteY857" fmla="*/ 95917 h 731424"/>
                <a:gd name="connsiteX858" fmla="*/ 1019842 w 1044701"/>
                <a:gd name="connsiteY858" fmla="*/ 95726 h 731424"/>
                <a:gd name="connsiteX859" fmla="*/ 1022223 w 1044701"/>
                <a:gd name="connsiteY859" fmla="*/ 89059 h 731424"/>
                <a:gd name="connsiteX860" fmla="*/ 1021461 w 1044701"/>
                <a:gd name="connsiteY860" fmla="*/ 82677 h 731424"/>
                <a:gd name="connsiteX861" fmla="*/ 1023366 w 1044701"/>
                <a:gd name="connsiteY861" fmla="*/ 72866 h 731424"/>
                <a:gd name="connsiteX862" fmla="*/ 1026128 w 1044701"/>
                <a:gd name="connsiteY862" fmla="*/ 69247 h 731424"/>
                <a:gd name="connsiteX863" fmla="*/ 1026700 w 1044701"/>
                <a:gd name="connsiteY863" fmla="*/ 61246 h 731424"/>
                <a:gd name="connsiteX864" fmla="*/ 1030414 w 1044701"/>
                <a:gd name="connsiteY864" fmla="*/ 52673 h 731424"/>
                <a:gd name="connsiteX865" fmla="*/ 1031177 w 1044701"/>
                <a:gd name="connsiteY865" fmla="*/ 46196 h 731424"/>
                <a:gd name="connsiteX866" fmla="*/ 1038511 w 1044701"/>
                <a:gd name="connsiteY866" fmla="*/ 40481 h 731424"/>
                <a:gd name="connsiteX867" fmla="*/ 1041082 w 1044701"/>
                <a:gd name="connsiteY867" fmla="*/ 35338 h 731424"/>
                <a:gd name="connsiteX868" fmla="*/ 1040035 w 1044701"/>
                <a:gd name="connsiteY868" fmla="*/ 27432 h 731424"/>
                <a:gd name="connsiteX869" fmla="*/ 1040987 w 1044701"/>
                <a:gd name="connsiteY869" fmla="*/ 22479 h 731424"/>
                <a:gd name="connsiteX870" fmla="*/ 1038797 w 1044701"/>
                <a:gd name="connsiteY870" fmla="*/ 17907 h 731424"/>
                <a:gd name="connsiteX871" fmla="*/ 1038797 w 1044701"/>
                <a:gd name="connsiteY871" fmla="*/ 17907 h 731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</a:cxnLst>
              <a:rect l="l" t="t" r="r" b="b"/>
              <a:pathLst>
                <a:path w="1044701" h="731424">
                  <a:moveTo>
                    <a:pt x="1038797" y="17907"/>
                  </a:moveTo>
                  <a:lnTo>
                    <a:pt x="1039558" y="11430"/>
                  </a:lnTo>
                  <a:lnTo>
                    <a:pt x="1037463" y="6953"/>
                  </a:lnTo>
                  <a:lnTo>
                    <a:pt x="1028509" y="0"/>
                  </a:lnTo>
                  <a:lnTo>
                    <a:pt x="1019651" y="6001"/>
                  </a:lnTo>
                  <a:lnTo>
                    <a:pt x="1018889" y="12478"/>
                  </a:lnTo>
                  <a:lnTo>
                    <a:pt x="1017270" y="12668"/>
                  </a:lnTo>
                  <a:lnTo>
                    <a:pt x="1012984" y="16478"/>
                  </a:lnTo>
                  <a:lnTo>
                    <a:pt x="1010412" y="21527"/>
                  </a:lnTo>
                  <a:lnTo>
                    <a:pt x="1006888" y="18860"/>
                  </a:lnTo>
                  <a:lnTo>
                    <a:pt x="1002316" y="20955"/>
                  </a:lnTo>
                  <a:lnTo>
                    <a:pt x="995839" y="33052"/>
                  </a:lnTo>
                  <a:lnTo>
                    <a:pt x="994696" y="49244"/>
                  </a:lnTo>
                  <a:lnTo>
                    <a:pt x="989362" y="57912"/>
                  </a:lnTo>
                  <a:lnTo>
                    <a:pt x="982313" y="65246"/>
                  </a:lnTo>
                  <a:lnTo>
                    <a:pt x="984504" y="69818"/>
                  </a:lnTo>
                  <a:lnTo>
                    <a:pt x="983361" y="73152"/>
                  </a:lnTo>
                  <a:lnTo>
                    <a:pt x="972883" y="79248"/>
                  </a:lnTo>
                  <a:lnTo>
                    <a:pt x="965549" y="85058"/>
                  </a:lnTo>
                  <a:lnTo>
                    <a:pt x="962215" y="83820"/>
                  </a:lnTo>
                  <a:lnTo>
                    <a:pt x="959263" y="85820"/>
                  </a:lnTo>
                  <a:lnTo>
                    <a:pt x="947452" y="106585"/>
                  </a:lnTo>
                  <a:lnTo>
                    <a:pt x="944308" y="119825"/>
                  </a:lnTo>
                  <a:lnTo>
                    <a:pt x="941641" y="123349"/>
                  </a:lnTo>
                  <a:lnTo>
                    <a:pt x="932783" y="129254"/>
                  </a:lnTo>
                  <a:lnTo>
                    <a:pt x="924401" y="127159"/>
                  </a:lnTo>
                  <a:lnTo>
                    <a:pt x="917734" y="124777"/>
                  </a:lnTo>
                  <a:lnTo>
                    <a:pt x="914209" y="122015"/>
                  </a:lnTo>
                  <a:lnTo>
                    <a:pt x="893826" y="113443"/>
                  </a:lnTo>
                  <a:lnTo>
                    <a:pt x="887349" y="112586"/>
                  </a:lnTo>
                  <a:lnTo>
                    <a:pt x="882396" y="111633"/>
                  </a:lnTo>
                  <a:lnTo>
                    <a:pt x="878205" y="104204"/>
                  </a:lnTo>
                  <a:lnTo>
                    <a:pt x="867537" y="95917"/>
                  </a:lnTo>
                  <a:lnTo>
                    <a:pt x="866775" y="89630"/>
                  </a:lnTo>
                  <a:lnTo>
                    <a:pt x="859822" y="85630"/>
                  </a:lnTo>
                  <a:lnTo>
                    <a:pt x="855821" y="79724"/>
                  </a:lnTo>
                  <a:lnTo>
                    <a:pt x="844391" y="78010"/>
                  </a:lnTo>
                  <a:lnTo>
                    <a:pt x="840105" y="81725"/>
                  </a:lnTo>
                  <a:lnTo>
                    <a:pt x="838295" y="80391"/>
                  </a:lnTo>
                  <a:lnTo>
                    <a:pt x="836962" y="82201"/>
                  </a:lnTo>
                  <a:lnTo>
                    <a:pt x="816197" y="70390"/>
                  </a:lnTo>
                  <a:lnTo>
                    <a:pt x="813245" y="72390"/>
                  </a:lnTo>
                  <a:lnTo>
                    <a:pt x="811435" y="70961"/>
                  </a:lnTo>
                  <a:lnTo>
                    <a:pt x="807720" y="66675"/>
                  </a:lnTo>
                  <a:lnTo>
                    <a:pt x="804767" y="68580"/>
                  </a:lnTo>
                  <a:lnTo>
                    <a:pt x="801719" y="57817"/>
                  </a:lnTo>
                  <a:lnTo>
                    <a:pt x="793242" y="54102"/>
                  </a:lnTo>
                  <a:lnTo>
                    <a:pt x="790099" y="54483"/>
                  </a:lnTo>
                  <a:lnTo>
                    <a:pt x="786384" y="50102"/>
                  </a:lnTo>
                  <a:lnTo>
                    <a:pt x="784955" y="51911"/>
                  </a:lnTo>
                  <a:lnTo>
                    <a:pt x="778478" y="51149"/>
                  </a:lnTo>
                  <a:lnTo>
                    <a:pt x="772763" y="56674"/>
                  </a:lnTo>
                  <a:lnTo>
                    <a:pt x="772382" y="79153"/>
                  </a:lnTo>
                  <a:lnTo>
                    <a:pt x="769811" y="84296"/>
                  </a:lnTo>
                  <a:lnTo>
                    <a:pt x="762190" y="86868"/>
                  </a:lnTo>
                  <a:lnTo>
                    <a:pt x="759428" y="90392"/>
                  </a:lnTo>
                  <a:lnTo>
                    <a:pt x="757809" y="90678"/>
                  </a:lnTo>
                  <a:lnTo>
                    <a:pt x="755237" y="95821"/>
                  </a:lnTo>
                  <a:lnTo>
                    <a:pt x="755047" y="94202"/>
                  </a:lnTo>
                  <a:lnTo>
                    <a:pt x="745617" y="95441"/>
                  </a:lnTo>
                  <a:lnTo>
                    <a:pt x="745236" y="92202"/>
                  </a:lnTo>
                  <a:lnTo>
                    <a:pt x="743617" y="92488"/>
                  </a:lnTo>
                  <a:lnTo>
                    <a:pt x="743998" y="95631"/>
                  </a:lnTo>
                  <a:lnTo>
                    <a:pt x="736378" y="98203"/>
                  </a:lnTo>
                  <a:lnTo>
                    <a:pt x="739712" y="99346"/>
                  </a:lnTo>
                  <a:lnTo>
                    <a:pt x="740092" y="102489"/>
                  </a:lnTo>
                  <a:lnTo>
                    <a:pt x="737330" y="106108"/>
                  </a:lnTo>
                  <a:lnTo>
                    <a:pt x="733615" y="101727"/>
                  </a:lnTo>
                  <a:lnTo>
                    <a:pt x="730663" y="103727"/>
                  </a:lnTo>
                  <a:lnTo>
                    <a:pt x="727424" y="104108"/>
                  </a:lnTo>
                  <a:lnTo>
                    <a:pt x="727900" y="107252"/>
                  </a:lnTo>
                  <a:lnTo>
                    <a:pt x="724757" y="107728"/>
                  </a:lnTo>
                  <a:lnTo>
                    <a:pt x="725138" y="110871"/>
                  </a:lnTo>
                  <a:lnTo>
                    <a:pt x="721805" y="109633"/>
                  </a:lnTo>
                  <a:lnTo>
                    <a:pt x="719995" y="108299"/>
                  </a:lnTo>
                  <a:lnTo>
                    <a:pt x="715232" y="108871"/>
                  </a:lnTo>
                  <a:lnTo>
                    <a:pt x="715423" y="110490"/>
                  </a:lnTo>
                  <a:lnTo>
                    <a:pt x="703040" y="126492"/>
                  </a:lnTo>
                  <a:lnTo>
                    <a:pt x="691801" y="126302"/>
                  </a:lnTo>
                  <a:lnTo>
                    <a:pt x="687038" y="126968"/>
                  </a:lnTo>
                  <a:lnTo>
                    <a:pt x="687705" y="131636"/>
                  </a:lnTo>
                  <a:lnTo>
                    <a:pt x="681514" y="134017"/>
                  </a:lnTo>
                  <a:lnTo>
                    <a:pt x="677608" y="140970"/>
                  </a:lnTo>
                  <a:lnTo>
                    <a:pt x="679990" y="147066"/>
                  </a:lnTo>
                  <a:lnTo>
                    <a:pt x="681419" y="145256"/>
                  </a:lnTo>
                  <a:lnTo>
                    <a:pt x="685133" y="149638"/>
                  </a:lnTo>
                  <a:lnTo>
                    <a:pt x="690467" y="153734"/>
                  </a:lnTo>
                  <a:lnTo>
                    <a:pt x="684562" y="157734"/>
                  </a:lnTo>
                  <a:lnTo>
                    <a:pt x="683419" y="161068"/>
                  </a:lnTo>
                  <a:lnTo>
                    <a:pt x="677132" y="161830"/>
                  </a:lnTo>
                  <a:lnTo>
                    <a:pt x="674561" y="166973"/>
                  </a:lnTo>
                  <a:lnTo>
                    <a:pt x="669227" y="162877"/>
                  </a:lnTo>
                  <a:lnTo>
                    <a:pt x="667798" y="164687"/>
                  </a:lnTo>
                  <a:lnTo>
                    <a:pt x="663035" y="165259"/>
                  </a:lnTo>
                  <a:lnTo>
                    <a:pt x="665226" y="169831"/>
                  </a:lnTo>
                  <a:lnTo>
                    <a:pt x="664083" y="173165"/>
                  </a:lnTo>
                  <a:lnTo>
                    <a:pt x="662273" y="171736"/>
                  </a:lnTo>
                  <a:lnTo>
                    <a:pt x="662940" y="176498"/>
                  </a:lnTo>
                  <a:lnTo>
                    <a:pt x="668083" y="179070"/>
                  </a:lnTo>
                  <a:lnTo>
                    <a:pt x="670465" y="185166"/>
                  </a:lnTo>
                  <a:lnTo>
                    <a:pt x="673798" y="186309"/>
                  </a:lnTo>
                  <a:lnTo>
                    <a:pt x="675227" y="197358"/>
                  </a:lnTo>
                  <a:lnTo>
                    <a:pt x="655034" y="190310"/>
                  </a:lnTo>
                  <a:lnTo>
                    <a:pt x="651700" y="189167"/>
                  </a:lnTo>
                  <a:lnTo>
                    <a:pt x="646366" y="185071"/>
                  </a:lnTo>
                  <a:lnTo>
                    <a:pt x="645033" y="186785"/>
                  </a:lnTo>
                  <a:lnTo>
                    <a:pt x="638270" y="184499"/>
                  </a:lnTo>
                  <a:lnTo>
                    <a:pt x="640080" y="185833"/>
                  </a:lnTo>
                  <a:lnTo>
                    <a:pt x="638842" y="189167"/>
                  </a:lnTo>
                  <a:lnTo>
                    <a:pt x="640652" y="190595"/>
                  </a:lnTo>
                  <a:lnTo>
                    <a:pt x="633984" y="188214"/>
                  </a:lnTo>
                  <a:lnTo>
                    <a:pt x="632555" y="190024"/>
                  </a:lnTo>
                  <a:lnTo>
                    <a:pt x="630936" y="190214"/>
                  </a:lnTo>
                  <a:lnTo>
                    <a:pt x="627793" y="190595"/>
                  </a:lnTo>
                  <a:lnTo>
                    <a:pt x="615410" y="193834"/>
                  </a:lnTo>
                  <a:lnTo>
                    <a:pt x="614839" y="189071"/>
                  </a:lnTo>
                  <a:lnTo>
                    <a:pt x="614648" y="187452"/>
                  </a:lnTo>
                  <a:lnTo>
                    <a:pt x="618744" y="182118"/>
                  </a:lnTo>
                  <a:lnTo>
                    <a:pt x="616934" y="180785"/>
                  </a:lnTo>
                  <a:lnTo>
                    <a:pt x="612267" y="181356"/>
                  </a:lnTo>
                  <a:lnTo>
                    <a:pt x="611981" y="179832"/>
                  </a:lnTo>
                  <a:lnTo>
                    <a:pt x="610457" y="180023"/>
                  </a:lnTo>
                  <a:lnTo>
                    <a:pt x="612457" y="182975"/>
                  </a:lnTo>
                  <a:lnTo>
                    <a:pt x="611219" y="186309"/>
                  </a:lnTo>
                  <a:lnTo>
                    <a:pt x="611410" y="187833"/>
                  </a:lnTo>
                  <a:lnTo>
                    <a:pt x="602552" y="193834"/>
                  </a:lnTo>
                  <a:lnTo>
                    <a:pt x="598837" y="189452"/>
                  </a:lnTo>
                  <a:lnTo>
                    <a:pt x="596074" y="193072"/>
                  </a:lnTo>
                  <a:lnTo>
                    <a:pt x="589597" y="192310"/>
                  </a:lnTo>
                  <a:lnTo>
                    <a:pt x="587026" y="197358"/>
                  </a:lnTo>
                  <a:lnTo>
                    <a:pt x="582073" y="196406"/>
                  </a:lnTo>
                  <a:lnTo>
                    <a:pt x="580644" y="198215"/>
                  </a:lnTo>
                  <a:lnTo>
                    <a:pt x="576929" y="193834"/>
                  </a:lnTo>
                  <a:lnTo>
                    <a:pt x="574929" y="190881"/>
                  </a:lnTo>
                  <a:lnTo>
                    <a:pt x="576167" y="187547"/>
                  </a:lnTo>
                  <a:lnTo>
                    <a:pt x="574548" y="187738"/>
                  </a:lnTo>
                  <a:lnTo>
                    <a:pt x="569405" y="185261"/>
                  </a:lnTo>
                  <a:lnTo>
                    <a:pt x="564832" y="174593"/>
                  </a:lnTo>
                  <a:lnTo>
                    <a:pt x="561689" y="174974"/>
                  </a:lnTo>
                  <a:lnTo>
                    <a:pt x="559880" y="173546"/>
                  </a:lnTo>
                  <a:lnTo>
                    <a:pt x="558546" y="175355"/>
                  </a:lnTo>
                  <a:lnTo>
                    <a:pt x="556736" y="174022"/>
                  </a:lnTo>
                  <a:lnTo>
                    <a:pt x="553593" y="174403"/>
                  </a:lnTo>
                  <a:lnTo>
                    <a:pt x="551974" y="174593"/>
                  </a:lnTo>
                  <a:lnTo>
                    <a:pt x="546068" y="165735"/>
                  </a:lnTo>
                  <a:lnTo>
                    <a:pt x="543115" y="167735"/>
                  </a:lnTo>
                  <a:lnTo>
                    <a:pt x="541972" y="171069"/>
                  </a:lnTo>
                  <a:lnTo>
                    <a:pt x="540353" y="171260"/>
                  </a:lnTo>
                  <a:lnTo>
                    <a:pt x="531495" y="164402"/>
                  </a:lnTo>
                  <a:lnTo>
                    <a:pt x="528447" y="153543"/>
                  </a:lnTo>
                  <a:lnTo>
                    <a:pt x="519589" y="146685"/>
                  </a:lnTo>
                  <a:lnTo>
                    <a:pt x="513493" y="149066"/>
                  </a:lnTo>
                  <a:lnTo>
                    <a:pt x="511683" y="147638"/>
                  </a:lnTo>
                  <a:lnTo>
                    <a:pt x="506921" y="148304"/>
                  </a:lnTo>
                  <a:lnTo>
                    <a:pt x="505015" y="145352"/>
                  </a:lnTo>
                  <a:lnTo>
                    <a:pt x="498443" y="144494"/>
                  </a:lnTo>
                  <a:lnTo>
                    <a:pt x="495300" y="144971"/>
                  </a:lnTo>
                  <a:lnTo>
                    <a:pt x="493300" y="142018"/>
                  </a:lnTo>
                  <a:lnTo>
                    <a:pt x="492347" y="134112"/>
                  </a:lnTo>
                  <a:lnTo>
                    <a:pt x="486728" y="115538"/>
                  </a:lnTo>
                  <a:lnTo>
                    <a:pt x="480250" y="114776"/>
                  </a:lnTo>
                  <a:lnTo>
                    <a:pt x="449675" y="113824"/>
                  </a:lnTo>
                  <a:lnTo>
                    <a:pt x="449580" y="88202"/>
                  </a:lnTo>
                  <a:lnTo>
                    <a:pt x="448437" y="78772"/>
                  </a:lnTo>
                  <a:lnTo>
                    <a:pt x="435197" y="75629"/>
                  </a:lnTo>
                  <a:lnTo>
                    <a:pt x="435102" y="62770"/>
                  </a:lnTo>
                  <a:lnTo>
                    <a:pt x="415957" y="63627"/>
                  </a:lnTo>
                  <a:lnTo>
                    <a:pt x="410623" y="59531"/>
                  </a:lnTo>
                  <a:lnTo>
                    <a:pt x="405955" y="60103"/>
                  </a:lnTo>
                  <a:lnTo>
                    <a:pt x="405289" y="55340"/>
                  </a:lnTo>
                  <a:lnTo>
                    <a:pt x="401193" y="60674"/>
                  </a:lnTo>
                  <a:lnTo>
                    <a:pt x="388525" y="49530"/>
                  </a:lnTo>
                  <a:lnTo>
                    <a:pt x="383572" y="48482"/>
                  </a:lnTo>
                  <a:lnTo>
                    <a:pt x="384429" y="54864"/>
                  </a:lnTo>
                  <a:lnTo>
                    <a:pt x="383000" y="56579"/>
                  </a:lnTo>
                  <a:lnTo>
                    <a:pt x="362331" y="57626"/>
                  </a:lnTo>
                  <a:lnTo>
                    <a:pt x="362903" y="75248"/>
                  </a:lnTo>
                  <a:lnTo>
                    <a:pt x="351663" y="75057"/>
                  </a:lnTo>
                  <a:lnTo>
                    <a:pt x="338899" y="75057"/>
                  </a:lnTo>
                  <a:lnTo>
                    <a:pt x="338328" y="83153"/>
                  </a:lnTo>
                  <a:lnTo>
                    <a:pt x="329470" y="89059"/>
                  </a:lnTo>
                  <a:lnTo>
                    <a:pt x="329851" y="92297"/>
                  </a:lnTo>
                  <a:lnTo>
                    <a:pt x="326898" y="94202"/>
                  </a:lnTo>
                  <a:lnTo>
                    <a:pt x="326231" y="89535"/>
                  </a:lnTo>
                  <a:lnTo>
                    <a:pt x="314992" y="89344"/>
                  </a:lnTo>
                  <a:lnTo>
                    <a:pt x="313468" y="89535"/>
                  </a:lnTo>
                  <a:lnTo>
                    <a:pt x="313087" y="86392"/>
                  </a:lnTo>
                  <a:lnTo>
                    <a:pt x="306324" y="84011"/>
                  </a:lnTo>
                  <a:lnTo>
                    <a:pt x="304133" y="79439"/>
                  </a:lnTo>
                  <a:lnTo>
                    <a:pt x="304514" y="69818"/>
                  </a:lnTo>
                  <a:lnTo>
                    <a:pt x="308229" y="61341"/>
                  </a:lnTo>
                  <a:lnTo>
                    <a:pt x="303086" y="58769"/>
                  </a:lnTo>
                  <a:lnTo>
                    <a:pt x="304324" y="55435"/>
                  </a:lnTo>
                  <a:lnTo>
                    <a:pt x="303847" y="52292"/>
                  </a:lnTo>
                  <a:lnTo>
                    <a:pt x="294227" y="51911"/>
                  </a:lnTo>
                  <a:lnTo>
                    <a:pt x="290513" y="47530"/>
                  </a:lnTo>
                  <a:lnTo>
                    <a:pt x="285083" y="43434"/>
                  </a:lnTo>
                  <a:lnTo>
                    <a:pt x="280797" y="47149"/>
                  </a:lnTo>
                  <a:lnTo>
                    <a:pt x="278416" y="53912"/>
                  </a:lnTo>
                  <a:lnTo>
                    <a:pt x="270129" y="51721"/>
                  </a:lnTo>
                  <a:lnTo>
                    <a:pt x="269177" y="56674"/>
                  </a:lnTo>
                  <a:lnTo>
                    <a:pt x="264414" y="57245"/>
                  </a:lnTo>
                  <a:lnTo>
                    <a:pt x="264605" y="58865"/>
                  </a:lnTo>
                  <a:lnTo>
                    <a:pt x="260128" y="61055"/>
                  </a:lnTo>
                  <a:lnTo>
                    <a:pt x="260890" y="67342"/>
                  </a:lnTo>
                  <a:lnTo>
                    <a:pt x="262699" y="68771"/>
                  </a:lnTo>
                  <a:lnTo>
                    <a:pt x="260985" y="80200"/>
                  </a:lnTo>
                  <a:lnTo>
                    <a:pt x="259747" y="83534"/>
                  </a:lnTo>
                  <a:lnTo>
                    <a:pt x="256604" y="83915"/>
                  </a:lnTo>
                  <a:lnTo>
                    <a:pt x="256794" y="85535"/>
                  </a:lnTo>
                  <a:lnTo>
                    <a:pt x="254794" y="82582"/>
                  </a:lnTo>
                  <a:lnTo>
                    <a:pt x="251079" y="91059"/>
                  </a:lnTo>
                  <a:lnTo>
                    <a:pt x="247364" y="86677"/>
                  </a:lnTo>
                  <a:lnTo>
                    <a:pt x="242411" y="85725"/>
                  </a:lnTo>
                  <a:lnTo>
                    <a:pt x="239458" y="87725"/>
                  </a:lnTo>
                  <a:lnTo>
                    <a:pt x="239268" y="86106"/>
                  </a:lnTo>
                  <a:lnTo>
                    <a:pt x="235934" y="84963"/>
                  </a:lnTo>
                  <a:lnTo>
                    <a:pt x="234696" y="88297"/>
                  </a:lnTo>
                  <a:lnTo>
                    <a:pt x="231553" y="88773"/>
                  </a:lnTo>
                  <a:lnTo>
                    <a:pt x="228981" y="93917"/>
                  </a:lnTo>
                  <a:lnTo>
                    <a:pt x="227457" y="94107"/>
                  </a:lnTo>
                  <a:lnTo>
                    <a:pt x="227838" y="97250"/>
                  </a:lnTo>
                  <a:lnTo>
                    <a:pt x="225076" y="100775"/>
                  </a:lnTo>
                  <a:lnTo>
                    <a:pt x="221552" y="98012"/>
                  </a:lnTo>
                  <a:lnTo>
                    <a:pt x="219932" y="98203"/>
                  </a:lnTo>
                  <a:lnTo>
                    <a:pt x="218789" y="101632"/>
                  </a:lnTo>
                  <a:lnTo>
                    <a:pt x="215170" y="98869"/>
                  </a:lnTo>
                  <a:lnTo>
                    <a:pt x="214979" y="97250"/>
                  </a:lnTo>
                  <a:lnTo>
                    <a:pt x="209836" y="94679"/>
                  </a:lnTo>
                  <a:lnTo>
                    <a:pt x="209645" y="93154"/>
                  </a:lnTo>
                  <a:lnTo>
                    <a:pt x="199358" y="88011"/>
                  </a:lnTo>
                  <a:lnTo>
                    <a:pt x="197644" y="86677"/>
                  </a:lnTo>
                  <a:lnTo>
                    <a:pt x="195834" y="85249"/>
                  </a:lnTo>
                  <a:lnTo>
                    <a:pt x="195263" y="93345"/>
                  </a:lnTo>
                  <a:lnTo>
                    <a:pt x="191738" y="90583"/>
                  </a:lnTo>
                  <a:lnTo>
                    <a:pt x="191929" y="92202"/>
                  </a:lnTo>
                  <a:lnTo>
                    <a:pt x="186785" y="89630"/>
                  </a:lnTo>
                  <a:lnTo>
                    <a:pt x="182023" y="90202"/>
                  </a:lnTo>
                  <a:lnTo>
                    <a:pt x="181832" y="88678"/>
                  </a:lnTo>
                  <a:lnTo>
                    <a:pt x="183452" y="88487"/>
                  </a:lnTo>
                  <a:lnTo>
                    <a:pt x="183261" y="86868"/>
                  </a:lnTo>
                  <a:lnTo>
                    <a:pt x="181642" y="87058"/>
                  </a:lnTo>
                  <a:lnTo>
                    <a:pt x="180213" y="88868"/>
                  </a:lnTo>
                  <a:lnTo>
                    <a:pt x="175070" y="86296"/>
                  </a:lnTo>
                  <a:lnTo>
                    <a:pt x="173736" y="88106"/>
                  </a:lnTo>
                  <a:lnTo>
                    <a:pt x="175355" y="87916"/>
                  </a:lnTo>
                  <a:lnTo>
                    <a:pt x="170783" y="90106"/>
                  </a:lnTo>
                  <a:lnTo>
                    <a:pt x="168783" y="87154"/>
                  </a:lnTo>
                  <a:lnTo>
                    <a:pt x="165640" y="87535"/>
                  </a:lnTo>
                  <a:lnTo>
                    <a:pt x="163925" y="86106"/>
                  </a:lnTo>
                  <a:lnTo>
                    <a:pt x="162496" y="87916"/>
                  </a:lnTo>
                  <a:lnTo>
                    <a:pt x="162115" y="84773"/>
                  </a:lnTo>
                  <a:lnTo>
                    <a:pt x="160496" y="84963"/>
                  </a:lnTo>
                  <a:lnTo>
                    <a:pt x="161354" y="91250"/>
                  </a:lnTo>
                  <a:lnTo>
                    <a:pt x="164497" y="90869"/>
                  </a:lnTo>
                  <a:lnTo>
                    <a:pt x="163068" y="92678"/>
                  </a:lnTo>
                  <a:lnTo>
                    <a:pt x="161354" y="91250"/>
                  </a:lnTo>
                  <a:lnTo>
                    <a:pt x="157734" y="88487"/>
                  </a:lnTo>
                  <a:lnTo>
                    <a:pt x="156400" y="90297"/>
                  </a:lnTo>
                  <a:lnTo>
                    <a:pt x="156591" y="91916"/>
                  </a:lnTo>
                  <a:lnTo>
                    <a:pt x="154972" y="92107"/>
                  </a:lnTo>
                  <a:lnTo>
                    <a:pt x="153448" y="92297"/>
                  </a:lnTo>
                  <a:lnTo>
                    <a:pt x="152781" y="87535"/>
                  </a:lnTo>
                  <a:lnTo>
                    <a:pt x="149638" y="87916"/>
                  </a:lnTo>
                  <a:lnTo>
                    <a:pt x="149828" y="76676"/>
                  </a:lnTo>
                  <a:lnTo>
                    <a:pt x="142970" y="72771"/>
                  </a:lnTo>
                  <a:lnTo>
                    <a:pt x="139732" y="73152"/>
                  </a:lnTo>
                  <a:lnTo>
                    <a:pt x="138779" y="78105"/>
                  </a:lnTo>
                  <a:lnTo>
                    <a:pt x="143923" y="80677"/>
                  </a:lnTo>
                  <a:lnTo>
                    <a:pt x="137827" y="83058"/>
                  </a:lnTo>
                  <a:lnTo>
                    <a:pt x="136017" y="81629"/>
                  </a:lnTo>
                  <a:lnTo>
                    <a:pt x="134684" y="83439"/>
                  </a:lnTo>
                  <a:lnTo>
                    <a:pt x="135255" y="88202"/>
                  </a:lnTo>
                  <a:lnTo>
                    <a:pt x="130683" y="90392"/>
                  </a:lnTo>
                  <a:lnTo>
                    <a:pt x="127349" y="89154"/>
                  </a:lnTo>
                  <a:lnTo>
                    <a:pt x="126778" y="84487"/>
                  </a:lnTo>
                  <a:lnTo>
                    <a:pt x="125349" y="86201"/>
                  </a:lnTo>
                  <a:lnTo>
                    <a:pt x="123444" y="83248"/>
                  </a:lnTo>
                  <a:lnTo>
                    <a:pt x="120301" y="83629"/>
                  </a:lnTo>
                  <a:lnTo>
                    <a:pt x="109823" y="89821"/>
                  </a:lnTo>
                  <a:lnTo>
                    <a:pt x="108394" y="91631"/>
                  </a:lnTo>
                  <a:lnTo>
                    <a:pt x="107823" y="99727"/>
                  </a:lnTo>
                  <a:lnTo>
                    <a:pt x="106680" y="103061"/>
                  </a:lnTo>
                  <a:lnTo>
                    <a:pt x="108490" y="104394"/>
                  </a:lnTo>
                  <a:lnTo>
                    <a:pt x="110680" y="108966"/>
                  </a:lnTo>
                  <a:lnTo>
                    <a:pt x="109252" y="110776"/>
                  </a:lnTo>
                  <a:lnTo>
                    <a:pt x="105727" y="108014"/>
                  </a:lnTo>
                  <a:lnTo>
                    <a:pt x="102965" y="111538"/>
                  </a:lnTo>
                  <a:lnTo>
                    <a:pt x="98393" y="113729"/>
                  </a:lnTo>
                  <a:lnTo>
                    <a:pt x="98584" y="115252"/>
                  </a:lnTo>
                  <a:lnTo>
                    <a:pt x="96869" y="113919"/>
                  </a:lnTo>
                  <a:lnTo>
                    <a:pt x="85630" y="113729"/>
                  </a:lnTo>
                  <a:lnTo>
                    <a:pt x="86201" y="118491"/>
                  </a:lnTo>
                  <a:lnTo>
                    <a:pt x="90964" y="117919"/>
                  </a:lnTo>
                  <a:lnTo>
                    <a:pt x="88011" y="119825"/>
                  </a:lnTo>
                  <a:lnTo>
                    <a:pt x="83058" y="118872"/>
                  </a:lnTo>
                  <a:lnTo>
                    <a:pt x="83248" y="120491"/>
                  </a:lnTo>
                  <a:lnTo>
                    <a:pt x="78962" y="124206"/>
                  </a:lnTo>
                  <a:lnTo>
                    <a:pt x="77343" y="124396"/>
                  </a:lnTo>
                  <a:lnTo>
                    <a:pt x="73247" y="129731"/>
                  </a:lnTo>
                  <a:lnTo>
                    <a:pt x="60960" y="134493"/>
                  </a:lnTo>
                  <a:lnTo>
                    <a:pt x="50863" y="118205"/>
                  </a:lnTo>
                  <a:lnTo>
                    <a:pt x="49054" y="116777"/>
                  </a:lnTo>
                  <a:lnTo>
                    <a:pt x="47530" y="116967"/>
                  </a:lnTo>
                  <a:lnTo>
                    <a:pt x="50292" y="126302"/>
                  </a:lnTo>
                  <a:lnTo>
                    <a:pt x="44386" y="130207"/>
                  </a:lnTo>
                  <a:lnTo>
                    <a:pt x="39243" y="127635"/>
                  </a:lnTo>
                  <a:lnTo>
                    <a:pt x="38671" y="122968"/>
                  </a:lnTo>
                  <a:lnTo>
                    <a:pt x="35147" y="120206"/>
                  </a:lnTo>
                  <a:lnTo>
                    <a:pt x="29146" y="124111"/>
                  </a:lnTo>
                  <a:lnTo>
                    <a:pt x="25622" y="134207"/>
                  </a:lnTo>
                  <a:lnTo>
                    <a:pt x="32766" y="139732"/>
                  </a:lnTo>
                  <a:lnTo>
                    <a:pt x="37147" y="135922"/>
                  </a:lnTo>
                  <a:lnTo>
                    <a:pt x="41243" y="143446"/>
                  </a:lnTo>
                  <a:lnTo>
                    <a:pt x="44386" y="143066"/>
                  </a:lnTo>
                  <a:lnTo>
                    <a:pt x="39910" y="145256"/>
                  </a:lnTo>
                  <a:lnTo>
                    <a:pt x="36100" y="140875"/>
                  </a:lnTo>
                  <a:lnTo>
                    <a:pt x="33338" y="144494"/>
                  </a:lnTo>
                  <a:lnTo>
                    <a:pt x="30194" y="144875"/>
                  </a:lnTo>
                  <a:lnTo>
                    <a:pt x="28861" y="146685"/>
                  </a:lnTo>
                  <a:lnTo>
                    <a:pt x="31432" y="154305"/>
                  </a:lnTo>
                  <a:lnTo>
                    <a:pt x="33623" y="158877"/>
                  </a:lnTo>
                  <a:lnTo>
                    <a:pt x="33814" y="173260"/>
                  </a:lnTo>
                  <a:lnTo>
                    <a:pt x="27337" y="172498"/>
                  </a:lnTo>
                  <a:lnTo>
                    <a:pt x="22765" y="174689"/>
                  </a:lnTo>
                  <a:lnTo>
                    <a:pt x="21050" y="173260"/>
                  </a:lnTo>
                  <a:lnTo>
                    <a:pt x="21431" y="176403"/>
                  </a:lnTo>
                  <a:lnTo>
                    <a:pt x="18288" y="176879"/>
                  </a:lnTo>
                  <a:lnTo>
                    <a:pt x="16478" y="175450"/>
                  </a:lnTo>
                  <a:lnTo>
                    <a:pt x="13144" y="174308"/>
                  </a:lnTo>
                  <a:lnTo>
                    <a:pt x="11906" y="177641"/>
                  </a:lnTo>
                  <a:lnTo>
                    <a:pt x="8954" y="179642"/>
                  </a:lnTo>
                  <a:lnTo>
                    <a:pt x="9239" y="181261"/>
                  </a:lnTo>
                  <a:lnTo>
                    <a:pt x="12763" y="183928"/>
                  </a:lnTo>
                  <a:lnTo>
                    <a:pt x="24003" y="184118"/>
                  </a:lnTo>
                  <a:lnTo>
                    <a:pt x="22860" y="187547"/>
                  </a:lnTo>
                  <a:lnTo>
                    <a:pt x="27337" y="185356"/>
                  </a:lnTo>
                  <a:lnTo>
                    <a:pt x="28004" y="190024"/>
                  </a:lnTo>
                  <a:lnTo>
                    <a:pt x="26575" y="191834"/>
                  </a:lnTo>
                  <a:lnTo>
                    <a:pt x="24765" y="190500"/>
                  </a:lnTo>
                  <a:lnTo>
                    <a:pt x="23431" y="192215"/>
                  </a:lnTo>
                  <a:lnTo>
                    <a:pt x="18288" y="189643"/>
                  </a:lnTo>
                  <a:lnTo>
                    <a:pt x="18479" y="191262"/>
                  </a:lnTo>
                  <a:lnTo>
                    <a:pt x="21812" y="192405"/>
                  </a:lnTo>
                  <a:lnTo>
                    <a:pt x="20288" y="192596"/>
                  </a:lnTo>
                  <a:lnTo>
                    <a:pt x="15145" y="190119"/>
                  </a:lnTo>
                  <a:lnTo>
                    <a:pt x="11811" y="188881"/>
                  </a:lnTo>
                  <a:lnTo>
                    <a:pt x="6096" y="194405"/>
                  </a:lnTo>
                  <a:lnTo>
                    <a:pt x="0" y="196787"/>
                  </a:lnTo>
                  <a:lnTo>
                    <a:pt x="5334" y="200977"/>
                  </a:lnTo>
                  <a:lnTo>
                    <a:pt x="5715" y="204121"/>
                  </a:lnTo>
                  <a:lnTo>
                    <a:pt x="7239" y="203930"/>
                  </a:lnTo>
                  <a:lnTo>
                    <a:pt x="8096" y="210217"/>
                  </a:lnTo>
                  <a:lnTo>
                    <a:pt x="11621" y="212979"/>
                  </a:lnTo>
                  <a:lnTo>
                    <a:pt x="13240" y="212789"/>
                  </a:lnTo>
                  <a:lnTo>
                    <a:pt x="11811" y="214598"/>
                  </a:lnTo>
                  <a:lnTo>
                    <a:pt x="14954" y="214122"/>
                  </a:lnTo>
                  <a:lnTo>
                    <a:pt x="15430" y="217265"/>
                  </a:lnTo>
                  <a:lnTo>
                    <a:pt x="20574" y="219837"/>
                  </a:lnTo>
                  <a:lnTo>
                    <a:pt x="25717" y="222409"/>
                  </a:lnTo>
                  <a:lnTo>
                    <a:pt x="27432" y="223838"/>
                  </a:lnTo>
                  <a:lnTo>
                    <a:pt x="31623" y="218504"/>
                  </a:lnTo>
                  <a:lnTo>
                    <a:pt x="39910" y="220599"/>
                  </a:lnTo>
                  <a:lnTo>
                    <a:pt x="38481" y="222409"/>
                  </a:lnTo>
                  <a:lnTo>
                    <a:pt x="36767" y="220980"/>
                  </a:lnTo>
                  <a:lnTo>
                    <a:pt x="40481" y="225362"/>
                  </a:lnTo>
                  <a:lnTo>
                    <a:pt x="43434" y="223361"/>
                  </a:lnTo>
                  <a:lnTo>
                    <a:pt x="48577" y="225933"/>
                  </a:lnTo>
                  <a:lnTo>
                    <a:pt x="44196" y="229648"/>
                  </a:lnTo>
                  <a:lnTo>
                    <a:pt x="41053" y="230029"/>
                  </a:lnTo>
                  <a:lnTo>
                    <a:pt x="43053" y="232981"/>
                  </a:lnTo>
                  <a:lnTo>
                    <a:pt x="46387" y="234220"/>
                  </a:lnTo>
                  <a:lnTo>
                    <a:pt x="49625" y="233839"/>
                  </a:lnTo>
                  <a:lnTo>
                    <a:pt x="49816" y="235363"/>
                  </a:lnTo>
                  <a:lnTo>
                    <a:pt x="51149" y="233648"/>
                  </a:lnTo>
                  <a:lnTo>
                    <a:pt x="52959" y="234982"/>
                  </a:lnTo>
                  <a:lnTo>
                    <a:pt x="58102" y="237554"/>
                  </a:lnTo>
                  <a:lnTo>
                    <a:pt x="65342" y="231839"/>
                  </a:lnTo>
                  <a:lnTo>
                    <a:pt x="67151" y="233172"/>
                  </a:lnTo>
                  <a:lnTo>
                    <a:pt x="67532" y="236315"/>
                  </a:lnTo>
                  <a:lnTo>
                    <a:pt x="69342" y="237744"/>
                  </a:lnTo>
                  <a:lnTo>
                    <a:pt x="66389" y="239649"/>
                  </a:lnTo>
                  <a:lnTo>
                    <a:pt x="67151" y="246031"/>
                  </a:lnTo>
                  <a:lnTo>
                    <a:pt x="70294" y="245555"/>
                  </a:lnTo>
                  <a:lnTo>
                    <a:pt x="73819" y="235553"/>
                  </a:lnTo>
                  <a:lnTo>
                    <a:pt x="75819" y="238506"/>
                  </a:lnTo>
                  <a:lnTo>
                    <a:pt x="74676" y="241840"/>
                  </a:lnTo>
                  <a:lnTo>
                    <a:pt x="77819" y="241459"/>
                  </a:lnTo>
                  <a:lnTo>
                    <a:pt x="76867" y="246412"/>
                  </a:lnTo>
                  <a:lnTo>
                    <a:pt x="77438" y="251079"/>
                  </a:lnTo>
                  <a:lnTo>
                    <a:pt x="76105" y="252889"/>
                  </a:lnTo>
                  <a:lnTo>
                    <a:pt x="68580" y="257080"/>
                  </a:lnTo>
                  <a:lnTo>
                    <a:pt x="68771" y="258604"/>
                  </a:lnTo>
                  <a:lnTo>
                    <a:pt x="70771" y="261556"/>
                  </a:lnTo>
                  <a:lnTo>
                    <a:pt x="79438" y="266890"/>
                  </a:lnTo>
                  <a:lnTo>
                    <a:pt x="98774" y="280416"/>
                  </a:lnTo>
                  <a:lnTo>
                    <a:pt x="100203" y="278702"/>
                  </a:lnTo>
                  <a:lnTo>
                    <a:pt x="103346" y="278225"/>
                  </a:lnTo>
                  <a:lnTo>
                    <a:pt x="105537" y="282797"/>
                  </a:lnTo>
                  <a:lnTo>
                    <a:pt x="106871" y="280988"/>
                  </a:lnTo>
                  <a:lnTo>
                    <a:pt x="108680" y="282416"/>
                  </a:lnTo>
                  <a:lnTo>
                    <a:pt x="110490" y="283750"/>
                  </a:lnTo>
                  <a:lnTo>
                    <a:pt x="109252" y="287179"/>
                  </a:lnTo>
                  <a:lnTo>
                    <a:pt x="112681" y="288322"/>
                  </a:lnTo>
                  <a:lnTo>
                    <a:pt x="115443" y="284798"/>
                  </a:lnTo>
                  <a:lnTo>
                    <a:pt x="119348" y="290703"/>
                  </a:lnTo>
                  <a:lnTo>
                    <a:pt x="116776" y="295847"/>
                  </a:lnTo>
                  <a:lnTo>
                    <a:pt x="118586" y="297180"/>
                  </a:lnTo>
                  <a:lnTo>
                    <a:pt x="117634" y="302133"/>
                  </a:lnTo>
                  <a:lnTo>
                    <a:pt x="119634" y="305086"/>
                  </a:lnTo>
                  <a:lnTo>
                    <a:pt x="116205" y="303943"/>
                  </a:lnTo>
                  <a:lnTo>
                    <a:pt x="111728" y="306038"/>
                  </a:lnTo>
                  <a:lnTo>
                    <a:pt x="107537" y="311372"/>
                  </a:lnTo>
                  <a:lnTo>
                    <a:pt x="117062" y="322993"/>
                  </a:lnTo>
                  <a:lnTo>
                    <a:pt x="118872" y="324422"/>
                  </a:lnTo>
                  <a:lnTo>
                    <a:pt x="120682" y="325755"/>
                  </a:lnTo>
                  <a:lnTo>
                    <a:pt x="121063" y="328898"/>
                  </a:lnTo>
                  <a:lnTo>
                    <a:pt x="119825" y="332327"/>
                  </a:lnTo>
                  <a:lnTo>
                    <a:pt x="118491" y="334042"/>
                  </a:lnTo>
                  <a:lnTo>
                    <a:pt x="114967" y="331280"/>
                  </a:lnTo>
                  <a:lnTo>
                    <a:pt x="115919" y="339185"/>
                  </a:lnTo>
                  <a:lnTo>
                    <a:pt x="114395" y="339376"/>
                  </a:lnTo>
                  <a:lnTo>
                    <a:pt x="113347" y="344329"/>
                  </a:lnTo>
                  <a:lnTo>
                    <a:pt x="111823" y="344519"/>
                  </a:lnTo>
                  <a:lnTo>
                    <a:pt x="112014" y="346139"/>
                  </a:lnTo>
                  <a:lnTo>
                    <a:pt x="106680" y="354806"/>
                  </a:lnTo>
                  <a:lnTo>
                    <a:pt x="110300" y="357569"/>
                  </a:lnTo>
                  <a:lnTo>
                    <a:pt x="107251" y="359569"/>
                  </a:lnTo>
                  <a:lnTo>
                    <a:pt x="98012" y="362331"/>
                  </a:lnTo>
                  <a:lnTo>
                    <a:pt x="96488" y="362522"/>
                  </a:lnTo>
                  <a:lnTo>
                    <a:pt x="96869" y="365665"/>
                  </a:lnTo>
                  <a:lnTo>
                    <a:pt x="96869" y="365665"/>
                  </a:lnTo>
                  <a:lnTo>
                    <a:pt x="95726" y="369094"/>
                  </a:lnTo>
                  <a:lnTo>
                    <a:pt x="100775" y="371570"/>
                  </a:lnTo>
                  <a:lnTo>
                    <a:pt x="100013" y="378143"/>
                  </a:lnTo>
                  <a:lnTo>
                    <a:pt x="99060" y="383095"/>
                  </a:lnTo>
                  <a:lnTo>
                    <a:pt x="100870" y="384429"/>
                  </a:lnTo>
                  <a:lnTo>
                    <a:pt x="100108" y="390906"/>
                  </a:lnTo>
                  <a:lnTo>
                    <a:pt x="98488" y="391192"/>
                  </a:lnTo>
                  <a:lnTo>
                    <a:pt x="96488" y="388239"/>
                  </a:lnTo>
                  <a:lnTo>
                    <a:pt x="93917" y="393287"/>
                  </a:lnTo>
                  <a:lnTo>
                    <a:pt x="97536" y="396049"/>
                  </a:lnTo>
                  <a:lnTo>
                    <a:pt x="98298" y="402431"/>
                  </a:lnTo>
                  <a:lnTo>
                    <a:pt x="95155" y="402812"/>
                  </a:lnTo>
                  <a:lnTo>
                    <a:pt x="105823" y="411099"/>
                  </a:lnTo>
                  <a:lnTo>
                    <a:pt x="110966" y="413576"/>
                  </a:lnTo>
                  <a:lnTo>
                    <a:pt x="114776" y="417957"/>
                  </a:lnTo>
                  <a:lnTo>
                    <a:pt x="118491" y="422243"/>
                  </a:lnTo>
                  <a:lnTo>
                    <a:pt x="122015" y="425006"/>
                  </a:lnTo>
                  <a:lnTo>
                    <a:pt x="128588" y="425768"/>
                  </a:lnTo>
                  <a:lnTo>
                    <a:pt x="137827" y="435864"/>
                  </a:lnTo>
                  <a:lnTo>
                    <a:pt x="142589" y="435293"/>
                  </a:lnTo>
                  <a:lnTo>
                    <a:pt x="142970" y="438436"/>
                  </a:lnTo>
                  <a:lnTo>
                    <a:pt x="144971" y="441389"/>
                  </a:lnTo>
                  <a:lnTo>
                    <a:pt x="151257" y="440531"/>
                  </a:lnTo>
                  <a:lnTo>
                    <a:pt x="150304" y="445484"/>
                  </a:lnTo>
                  <a:lnTo>
                    <a:pt x="150495" y="447103"/>
                  </a:lnTo>
                  <a:lnTo>
                    <a:pt x="154305" y="451390"/>
                  </a:lnTo>
                  <a:lnTo>
                    <a:pt x="157448" y="451009"/>
                  </a:lnTo>
                  <a:lnTo>
                    <a:pt x="159258" y="452342"/>
                  </a:lnTo>
                  <a:lnTo>
                    <a:pt x="162401" y="451961"/>
                  </a:lnTo>
                  <a:lnTo>
                    <a:pt x="160972" y="453771"/>
                  </a:lnTo>
                  <a:lnTo>
                    <a:pt x="163163" y="458248"/>
                  </a:lnTo>
                  <a:lnTo>
                    <a:pt x="160401" y="461867"/>
                  </a:lnTo>
                  <a:lnTo>
                    <a:pt x="162401" y="464820"/>
                  </a:lnTo>
                  <a:lnTo>
                    <a:pt x="163354" y="459867"/>
                  </a:lnTo>
                  <a:lnTo>
                    <a:pt x="163735" y="463010"/>
                  </a:lnTo>
                  <a:lnTo>
                    <a:pt x="166497" y="459486"/>
                  </a:lnTo>
                  <a:lnTo>
                    <a:pt x="168497" y="462439"/>
                  </a:lnTo>
                  <a:lnTo>
                    <a:pt x="171450" y="460439"/>
                  </a:lnTo>
                  <a:lnTo>
                    <a:pt x="174784" y="461582"/>
                  </a:lnTo>
                  <a:lnTo>
                    <a:pt x="181165" y="460819"/>
                  </a:lnTo>
                  <a:lnTo>
                    <a:pt x="181356" y="462344"/>
                  </a:lnTo>
                  <a:lnTo>
                    <a:pt x="184499" y="461963"/>
                  </a:lnTo>
                  <a:lnTo>
                    <a:pt x="184309" y="460439"/>
                  </a:lnTo>
                  <a:lnTo>
                    <a:pt x="189071" y="459772"/>
                  </a:lnTo>
                  <a:lnTo>
                    <a:pt x="188595" y="456628"/>
                  </a:lnTo>
                  <a:lnTo>
                    <a:pt x="194977" y="455867"/>
                  </a:lnTo>
                  <a:lnTo>
                    <a:pt x="193738" y="459200"/>
                  </a:lnTo>
                  <a:lnTo>
                    <a:pt x="197929" y="466725"/>
                  </a:lnTo>
                  <a:lnTo>
                    <a:pt x="199263" y="464915"/>
                  </a:lnTo>
                  <a:lnTo>
                    <a:pt x="201073" y="466249"/>
                  </a:lnTo>
                  <a:lnTo>
                    <a:pt x="207359" y="465487"/>
                  </a:lnTo>
                  <a:lnTo>
                    <a:pt x="207931" y="457390"/>
                  </a:lnTo>
                  <a:lnTo>
                    <a:pt x="210693" y="453866"/>
                  </a:lnTo>
                  <a:lnTo>
                    <a:pt x="214694" y="459772"/>
                  </a:lnTo>
                  <a:lnTo>
                    <a:pt x="216503" y="461105"/>
                  </a:lnTo>
                  <a:lnTo>
                    <a:pt x="219646" y="460724"/>
                  </a:lnTo>
                  <a:lnTo>
                    <a:pt x="219837" y="462344"/>
                  </a:lnTo>
                  <a:lnTo>
                    <a:pt x="227743" y="461296"/>
                  </a:lnTo>
                  <a:lnTo>
                    <a:pt x="229648" y="464248"/>
                  </a:lnTo>
                  <a:lnTo>
                    <a:pt x="226504" y="464630"/>
                  </a:lnTo>
                  <a:lnTo>
                    <a:pt x="226886" y="467773"/>
                  </a:lnTo>
                  <a:lnTo>
                    <a:pt x="230696" y="472154"/>
                  </a:lnTo>
                  <a:lnTo>
                    <a:pt x="235077" y="468344"/>
                  </a:lnTo>
                  <a:lnTo>
                    <a:pt x="235648" y="473107"/>
                  </a:lnTo>
                  <a:lnTo>
                    <a:pt x="240602" y="474059"/>
                  </a:lnTo>
                  <a:lnTo>
                    <a:pt x="244697" y="468725"/>
                  </a:lnTo>
                  <a:lnTo>
                    <a:pt x="243554" y="472059"/>
                  </a:lnTo>
                  <a:lnTo>
                    <a:pt x="246888" y="473297"/>
                  </a:lnTo>
                  <a:lnTo>
                    <a:pt x="247650" y="479584"/>
                  </a:lnTo>
                  <a:lnTo>
                    <a:pt x="249269" y="479393"/>
                  </a:lnTo>
                  <a:lnTo>
                    <a:pt x="251079" y="480727"/>
                  </a:lnTo>
                  <a:lnTo>
                    <a:pt x="252603" y="480536"/>
                  </a:lnTo>
                  <a:lnTo>
                    <a:pt x="251460" y="483965"/>
                  </a:lnTo>
                  <a:lnTo>
                    <a:pt x="249841" y="484156"/>
                  </a:lnTo>
                  <a:lnTo>
                    <a:pt x="251650" y="485489"/>
                  </a:lnTo>
                  <a:lnTo>
                    <a:pt x="253174" y="485299"/>
                  </a:lnTo>
                  <a:lnTo>
                    <a:pt x="253460" y="486918"/>
                  </a:lnTo>
                  <a:lnTo>
                    <a:pt x="256413" y="484918"/>
                  </a:lnTo>
                  <a:lnTo>
                    <a:pt x="258128" y="486251"/>
                  </a:lnTo>
                  <a:lnTo>
                    <a:pt x="260318" y="490823"/>
                  </a:lnTo>
                  <a:lnTo>
                    <a:pt x="258985" y="492633"/>
                  </a:lnTo>
                  <a:lnTo>
                    <a:pt x="267462" y="496348"/>
                  </a:lnTo>
                  <a:lnTo>
                    <a:pt x="267271" y="494728"/>
                  </a:lnTo>
                  <a:lnTo>
                    <a:pt x="276701" y="493490"/>
                  </a:lnTo>
                  <a:lnTo>
                    <a:pt x="282035" y="497681"/>
                  </a:lnTo>
                  <a:lnTo>
                    <a:pt x="286798" y="497015"/>
                  </a:lnTo>
                  <a:lnTo>
                    <a:pt x="291941" y="499586"/>
                  </a:lnTo>
                  <a:lnTo>
                    <a:pt x="291560" y="496443"/>
                  </a:lnTo>
                  <a:lnTo>
                    <a:pt x="296228" y="495872"/>
                  </a:lnTo>
                  <a:lnTo>
                    <a:pt x="293941" y="502539"/>
                  </a:lnTo>
                  <a:lnTo>
                    <a:pt x="290608" y="514255"/>
                  </a:lnTo>
                  <a:lnTo>
                    <a:pt x="292132" y="514064"/>
                  </a:lnTo>
                  <a:lnTo>
                    <a:pt x="291560" y="522065"/>
                  </a:lnTo>
                  <a:lnTo>
                    <a:pt x="293561" y="525113"/>
                  </a:lnTo>
                  <a:lnTo>
                    <a:pt x="296704" y="524637"/>
                  </a:lnTo>
                  <a:lnTo>
                    <a:pt x="301085" y="520922"/>
                  </a:lnTo>
                  <a:lnTo>
                    <a:pt x="302800" y="522256"/>
                  </a:lnTo>
                  <a:lnTo>
                    <a:pt x="302609" y="520732"/>
                  </a:lnTo>
                  <a:lnTo>
                    <a:pt x="305562" y="518732"/>
                  </a:lnTo>
                  <a:lnTo>
                    <a:pt x="309372" y="523018"/>
                  </a:lnTo>
                  <a:lnTo>
                    <a:pt x="313849" y="520827"/>
                  </a:lnTo>
                  <a:lnTo>
                    <a:pt x="315849" y="523875"/>
                  </a:lnTo>
                  <a:lnTo>
                    <a:pt x="320992" y="526352"/>
                  </a:lnTo>
                  <a:lnTo>
                    <a:pt x="321183" y="527971"/>
                  </a:lnTo>
                  <a:lnTo>
                    <a:pt x="324326" y="527590"/>
                  </a:lnTo>
                  <a:lnTo>
                    <a:pt x="330708" y="539591"/>
                  </a:lnTo>
                  <a:lnTo>
                    <a:pt x="342138" y="541306"/>
                  </a:lnTo>
                  <a:lnTo>
                    <a:pt x="344329" y="545878"/>
                  </a:lnTo>
                  <a:lnTo>
                    <a:pt x="350234" y="541877"/>
                  </a:lnTo>
                  <a:lnTo>
                    <a:pt x="354521" y="538163"/>
                  </a:lnTo>
                  <a:lnTo>
                    <a:pt x="354616" y="550926"/>
                  </a:lnTo>
                  <a:lnTo>
                    <a:pt x="350044" y="553117"/>
                  </a:lnTo>
                  <a:lnTo>
                    <a:pt x="343567" y="565214"/>
                  </a:lnTo>
                  <a:lnTo>
                    <a:pt x="349282" y="572453"/>
                  </a:lnTo>
                  <a:lnTo>
                    <a:pt x="348139" y="575882"/>
                  </a:lnTo>
                  <a:lnTo>
                    <a:pt x="358807" y="584073"/>
                  </a:lnTo>
                  <a:lnTo>
                    <a:pt x="366713" y="583120"/>
                  </a:lnTo>
                  <a:lnTo>
                    <a:pt x="377190" y="589788"/>
                  </a:lnTo>
                  <a:lnTo>
                    <a:pt x="382143" y="590740"/>
                  </a:lnTo>
                  <a:lnTo>
                    <a:pt x="382333" y="592360"/>
                  </a:lnTo>
                  <a:lnTo>
                    <a:pt x="384143" y="593693"/>
                  </a:lnTo>
                  <a:lnTo>
                    <a:pt x="393382" y="603790"/>
                  </a:lnTo>
                  <a:lnTo>
                    <a:pt x="396526" y="603314"/>
                  </a:lnTo>
                  <a:lnTo>
                    <a:pt x="399479" y="601409"/>
                  </a:lnTo>
                  <a:lnTo>
                    <a:pt x="404241" y="600742"/>
                  </a:lnTo>
                  <a:lnTo>
                    <a:pt x="409384" y="603314"/>
                  </a:lnTo>
                  <a:lnTo>
                    <a:pt x="414147" y="602742"/>
                  </a:lnTo>
                  <a:lnTo>
                    <a:pt x="413956" y="601123"/>
                  </a:lnTo>
                  <a:lnTo>
                    <a:pt x="421577" y="598551"/>
                  </a:lnTo>
                  <a:lnTo>
                    <a:pt x="416623" y="584740"/>
                  </a:lnTo>
                  <a:lnTo>
                    <a:pt x="428054" y="586549"/>
                  </a:lnTo>
                  <a:lnTo>
                    <a:pt x="429482" y="584740"/>
                  </a:lnTo>
                  <a:lnTo>
                    <a:pt x="431006" y="584549"/>
                  </a:lnTo>
                  <a:lnTo>
                    <a:pt x="428244" y="575215"/>
                  </a:lnTo>
                  <a:lnTo>
                    <a:pt x="430244" y="565404"/>
                  </a:lnTo>
                  <a:lnTo>
                    <a:pt x="445961" y="550545"/>
                  </a:lnTo>
                  <a:lnTo>
                    <a:pt x="446722" y="544068"/>
                  </a:lnTo>
                  <a:lnTo>
                    <a:pt x="451485" y="543401"/>
                  </a:lnTo>
                  <a:lnTo>
                    <a:pt x="453485" y="546354"/>
                  </a:lnTo>
                  <a:lnTo>
                    <a:pt x="456438" y="544449"/>
                  </a:lnTo>
                  <a:lnTo>
                    <a:pt x="455200" y="547783"/>
                  </a:lnTo>
                  <a:lnTo>
                    <a:pt x="453866" y="549593"/>
                  </a:lnTo>
                  <a:lnTo>
                    <a:pt x="456057" y="554069"/>
                  </a:lnTo>
                  <a:lnTo>
                    <a:pt x="454438" y="554260"/>
                  </a:lnTo>
                  <a:lnTo>
                    <a:pt x="455105" y="559022"/>
                  </a:lnTo>
                  <a:lnTo>
                    <a:pt x="464153" y="567499"/>
                  </a:lnTo>
                  <a:lnTo>
                    <a:pt x="469106" y="568452"/>
                  </a:lnTo>
                  <a:lnTo>
                    <a:pt x="473773" y="567881"/>
                  </a:lnTo>
                  <a:lnTo>
                    <a:pt x="475774" y="570833"/>
                  </a:lnTo>
                  <a:lnTo>
                    <a:pt x="482537" y="573119"/>
                  </a:lnTo>
                  <a:lnTo>
                    <a:pt x="484251" y="574548"/>
                  </a:lnTo>
                  <a:lnTo>
                    <a:pt x="486823" y="569405"/>
                  </a:lnTo>
                  <a:lnTo>
                    <a:pt x="490252" y="570548"/>
                  </a:lnTo>
                  <a:lnTo>
                    <a:pt x="493395" y="570167"/>
                  </a:lnTo>
                  <a:lnTo>
                    <a:pt x="498538" y="572738"/>
                  </a:lnTo>
                  <a:lnTo>
                    <a:pt x="500063" y="572548"/>
                  </a:lnTo>
                  <a:lnTo>
                    <a:pt x="503872" y="576834"/>
                  </a:lnTo>
                  <a:lnTo>
                    <a:pt x="507397" y="579596"/>
                  </a:lnTo>
                  <a:lnTo>
                    <a:pt x="507587" y="581215"/>
                  </a:lnTo>
                  <a:lnTo>
                    <a:pt x="513112" y="586931"/>
                  </a:lnTo>
                  <a:lnTo>
                    <a:pt x="516541" y="600932"/>
                  </a:lnTo>
                  <a:lnTo>
                    <a:pt x="522065" y="606647"/>
                  </a:lnTo>
                  <a:lnTo>
                    <a:pt x="526161" y="601313"/>
                  </a:lnTo>
                  <a:lnTo>
                    <a:pt x="529590" y="602456"/>
                  </a:lnTo>
                  <a:lnTo>
                    <a:pt x="529399" y="600837"/>
                  </a:lnTo>
                  <a:lnTo>
                    <a:pt x="539210" y="602837"/>
                  </a:lnTo>
                  <a:lnTo>
                    <a:pt x="548069" y="596836"/>
                  </a:lnTo>
                  <a:lnTo>
                    <a:pt x="551879" y="601218"/>
                  </a:lnTo>
                  <a:lnTo>
                    <a:pt x="555784" y="607124"/>
                  </a:lnTo>
                  <a:lnTo>
                    <a:pt x="554641" y="610457"/>
                  </a:lnTo>
                  <a:lnTo>
                    <a:pt x="557974" y="611695"/>
                  </a:lnTo>
                  <a:lnTo>
                    <a:pt x="562356" y="607886"/>
                  </a:lnTo>
                  <a:lnTo>
                    <a:pt x="568642" y="607124"/>
                  </a:lnTo>
                  <a:lnTo>
                    <a:pt x="572357" y="611410"/>
                  </a:lnTo>
                  <a:lnTo>
                    <a:pt x="579501" y="616934"/>
                  </a:lnTo>
                  <a:lnTo>
                    <a:pt x="582644" y="616553"/>
                  </a:lnTo>
                  <a:lnTo>
                    <a:pt x="583692" y="611600"/>
                  </a:lnTo>
                  <a:lnTo>
                    <a:pt x="586835" y="611219"/>
                  </a:lnTo>
                  <a:lnTo>
                    <a:pt x="589216" y="617315"/>
                  </a:lnTo>
                  <a:lnTo>
                    <a:pt x="594550" y="621411"/>
                  </a:lnTo>
                  <a:lnTo>
                    <a:pt x="594931" y="624554"/>
                  </a:lnTo>
                  <a:lnTo>
                    <a:pt x="599694" y="623983"/>
                  </a:lnTo>
                  <a:lnTo>
                    <a:pt x="601408" y="625316"/>
                  </a:lnTo>
                  <a:lnTo>
                    <a:pt x="602837" y="623602"/>
                  </a:lnTo>
                  <a:lnTo>
                    <a:pt x="609695" y="627507"/>
                  </a:lnTo>
                  <a:lnTo>
                    <a:pt x="617982" y="629698"/>
                  </a:lnTo>
                  <a:lnTo>
                    <a:pt x="621792" y="633984"/>
                  </a:lnTo>
                  <a:lnTo>
                    <a:pt x="631507" y="647224"/>
                  </a:lnTo>
                  <a:lnTo>
                    <a:pt x="637222" y="654463"/>
                  </a:lnTo>
                  <a:lnTo>
                    <a:pt x="642366" y="657035"/>
                  </a:lnTo>
                  <a:lnTo>
                    <a:pt x="640366" y="666940"/>
                  </a:lnTo>
                  <a:lnTo>
                    <a:pt x="647129" y="669227"/>
                  </a:lnTo>
                  <a:lnTo>
                    <a:pt x="650653" y="671989"/>
                  </a:lnTo>
                  <a:lnTo>
                    <a:pt x="653034" y="678085"/>
                  </a:lnTo>
                  <a:lnTo>
                    <a:pt x="657987" y="679132"/>
                  </a:lnTo>
                  <a:lnTo>
                    <a:pt x="661130" y="678656"/>
                  </a:lnTo>
                  <a:lnTo>
                    <a:pt x="663702" y="673513"/>
                  </a:lnTo>
                  <a:lnTo>
                    <a:pt x="670846" y="679037"/>
                  </a:lnTo>
                  <a:lnTo>
                    <a:pt x="673798" y="677037"/>
                  </a:lnTo>
                  <a:lnTo>
                    <a:pt x="682657" y="683990"/>
                  </a:lnTo>
                  <a:lnTo>
                    <a:pt x="688943" y="683133"/>
                  </a:lnTo>
                  <a:lnTo>
                    <a:pt x="695706" y="685514"/>
                  </a:lnTo>
                  <a:lnTo>
                    <a:pt x="698087" y="691610"/>
                  </a:lnTo>
                  <a:lnTo>
                    <a:pt x="703802" y="698945"/>
                  </a:lnTo>
                  <a:lnTo>
                    <a:pt x="710184" y="698087"/>
                  </a:lnTo>
                  <a:lnTo>
                    <a:pt x="715708" y="703802"/>
                  </a:lnTo>
                  <a:lnTo>
                    <a:pt x="716280" y="708565"/>
                  </a:lnTo>
                  <a:lnTo>
                    <a:pt x="725996" y="721709"/>
                  </a:lnTo>
                  <a:lnTo>
                    <a:pt x="729329" y="722948"/>
                  </a:lnTo>
                  <a:lnTo>
                    <a:pt x="733330" y="728853"/>
                  </a:lnTo>
                  <a:lnTo>
                    <a:pt x="738378" y="731425"/>
                  </a:lnTo>
                  <a:lnTo>
                    <a:pt x="737616" y="725043"/>
                  </a:lnTo>
                  <a:lnTo>
                    <a:pt x="746284" y="717518"/>
                  </a:lnTo>
                  <a:lnTo>
                    <a:pt x="743712" y="709898"/>
                  </a:lnTo>
                  <a:lnTo>
                    <a:pt x="744664" y="704945"/>
                  </a:lnTo>
                  <a:lnTo>
                    <a:pt x="751427" y="707327"/>
                  </a:lnTo>
                  <a:lnTo>
                    <a:pt x="755904" y="705136"/>
                  </a:lnTo>
                  <a:lnTo>
                    <a:pt x="758476" y="699992"/>
                  </a:lnTo>
                  <a:lnTo>
                    <a:pt x="760286" y="701326"/>
                  </a:lnTo>
                  <a:lnTo>
                    <a:pt x="761809" y="701135"/>
                  </a:lnTo>
                  <a:lnTo>
                    <a:pt x="766953" y="703707"/>
                  </a:lnTo>
                  <a:lnTo>
                    <a:pt x="765048" y="713613"/>
                  </a:lnTo>
                  <a:lnTo>
                    <a:pt x="768191" y="713137"/>
                  </a:lnTo>
                  <a:lnTo>
                    <a:pt x="771144" y="711232"/>
                  </a:lnTo>
                  <a:lnTo>
                    <a:pt x="774287" y="710756"/>
                  </a:lnTo>
                  <a:lnTo>
                    <a:pt x="777240" y="708851"/>
                  </a:lnTo>
                  <a:lnTo>
                    <a:pt x="783812" y="709613"/>
                  </a:lnTo>
                  <a:lnTo>
                    <a:pt x="793813" y="700278"/>
                  </a:lnTo>
                  <a:lnTo>
                    <a:pt x="796957" y="699897"/>
                  </a:lnTo>
                  <a:lnTo>
                    <a:pt x="804481" y="708565"/>
                  </a:lnTo>
                  <a:lnTo>
                    <a:pt x="806291" y="709898"/>
                  </a:lnTo>
                  <a:lnTo>
                    <a:pt x="809244" y="707898"/>
                  </a:lnTo>
                  <a:lnTo>
                    <a:pt x="810958" y="709327"/>
                  </a:lnTo>
                  <a:lnTo>
                    <a:pt x="814388" y="710470"/>
                  </a:lnTo>
                  <a:lnTo>
                    <a:pt x="813911" y="707327"/>
                  </a:lnTo>
                  <a:lnTo>
                    <a:pt x="826961" y="708851"/>
                  </a:lnTo>
                  <a:lnTo>
                    <a:pt x="829913" y="706945"/>
                  </a:lnTo>
                  <a:lnTo>
                    <a:pt x="830294" y="710089"/>
                  </a:lnTo>
                  <a:lnTo>
                    <a:pt x="833247" y="708089"/>
                  </a:lnTo>
                  <a:lnTo>
                    <a:pt x="832866" y="704945"/>
                  </a:lnTo>
                  <a:lnTo>
                    <a:pt x="830485" y="698849"/>
                  </a:lnTo>
                  <a:lnTo>
                    <a:pt x="834390" y="691896"/>
                  </a:lnTo>
                  <a:lnTo>
                    <a:pt x="834199" y="690277"/>
                  </a:lnTo>
                  <a:lnTo>
                    <a:pt x="835628" y="688562"/>
                  </a:lnTo>
                  <a:lnTo>
                    <a:pt x="834962" y="683800"/>
                  </a:lnTo>
                  <a:lnTo>
                    <a:pt x="834009" y="675894"/>
                  </a:lnTo>
                  <a:lnTo>
                    <a:pt x="838105" y="670560"/>
                  </a:lnTo>
                  <a:lnTo>
                    <a:pt x="837724" y="667417"/>
                  </a:lnTo>
                  <a:lnTo>
                    <a:pt x="840677" y="665417"/>
                  </a:lnTo>
                  <a:lnTo>
                    <a:pt x="845439" y="664845"/>
                  </a:lnTo>
                  <a:lnTo>
                    <a:pt x="848963" y="667607"/>
                  </a:lnTo>
                  <a:lnTo>
                    <a:pt x="850582" y="667417"/>
                  </a:lnTo>
                  <a:lnTo>
                    <a:pt x="854869" y="663607"/>
                  </a:lnTo>
                  <a:lnTo>
                    <a:pt x="855536" y="668369"/>
                  </a:lnTo>
                  <a:lnTo>
                    <a:pt x="862394" y="672274"/>
                  </a:lnTo>
                  <a:lnTo>
                    <a:pt x="866775" y="668560"/>
                  </a:lnTo>
                  <a:lnTo>
                    <a:pt x="871919" y="671132"/>
                  </a:lnTo>
                  <a:lnTo>
                    <a:pt x="875252" y="672274"/>
                  </a:lnTo>
                  <a:lnTo>
                    <a:pt x="875252" y="672274"/>
                  </a:lnTo>
                  <a:lnTo>
                    <a:pt x="883158" y="671227"/>
                  </a:lnTo>
                  <a:lnTo>
                    <a:pt x="882872" y="669703"/>
                  </a:lnTo>
                  <a:lnTo>
                    <a:pt x="886111" y="669322"/>
                  </a:lnTo>
                  <a:lnTo>
                    <a:pt x="884111" y="666369"/>
                  </a:lnTo>
                  <a:lnTo>
                    <a:pt x="885063" y="661416"/>
                  </a:lnTo>
                  <a:lnTo>
                    <a:pt x="886682" y="661226"/>
                  </a:lnTo>
                  <a:lnTo>
                    <a:pt x="896683" y="664750"/>
                  </a:lnTo>
                  <a:lnTo>
                    <a:pt x="909352" y="675894"/>
                  </a:lnTo>
                  <a:lnTo>
                    <a:pt x="914876" y="668845"/>
                  </a:lnTo>
                  <a:lnTo>
                    <a:pt x="921639" y="671132"/>
                  </a:lnTo>
                  <a:lnTo>
                    <a:pt x="921163" y="667988"/>
                  </a:lnTo>
                  <a:lnTo>
                    <a:pt x="917829" y="666845"/>
                  </a:lnTo>
                  <a:lnTo>
                    <a:pt x="919258" y="665036"/>
                  </a:lnTo>
                  <a:lnTo>
                    <a:pt x="927925" y="670370"/>
                  </a:lnTo>
                  <a:lnTo>
                    <a:pt x="931259" y="671513"/>
                  </a:lnTo>
                  <a:lnTo>
                    <a:pt x="932688" y="669798"/>
                  </a:lnTo>
                  <a:lnTo>
                    <a:pt x="936022" y="670941"/>
                  </a:lnTo>
                  <a:lnTo>
                    <a:pt x="941927" y="666940"/>
                  </a:lnTo>
                  <a:lnTo>
                    <a:pt x="939165" y="670560"/>
                  </a:lnTo>
                  <a:lnTo>
                    <a:pt x="953929" y="673418"/>
                  </a:lnTo>
                  <a:lnTo>
                    <a:pt x="956310" y="679609"/>
                  </a:lnTo>
                  <a:lnTo>
                    <a:pt x="959739" y="680752"/>
                  </a:lnTo>
                  <a:lnTo>
                    <a:pt x="961263" y="680561"/>
                  </a:lnTo>
                  <a:lnTo>
                    <a:pt x="980027" y="689420"/>
                  </a:lnTo>
                  <a:lnTo>
                    <a:pt x="983361" y="690563"/>
                  </a:lnTo>
                  <a:lnTo>
                    <a:pt x="995458" y="697040"/>
                  </a:lnTo>
                  <a:lnTo>
                    <a:pt x="1002411" y="700945"/>
                  </a:lnTo>
                  <a:lnTo>
                    <a:pt x="1016413" y="697611"/>
                  </a:lnTo>
                  <a:lnTo>
                    <a:pt x="1014031" y="691515"/>
                  </a:lnTo>
                  <a:lnTo>
                    <a:pt x="1016984" y="689515"/>
                  </a:lnTo>
                  <a:lnTo>
                    <a:pt x="1018127" y="686086"/>
                  </a:lnTo>
                  <a:lnTo>
                    <a:pt x="1014413" y="681799"/>
                  </a:lnTo>
                  <a:lnTo>
                    <a:pt x="1018699" y="678085"/>
                  </a:lnTo>
                  <a:lnTo>
                    <a:pt x="1019270" y="669989"/>
                  </a:lnTo>
                  <a:lnTo>
                    <a:pt x="1020794" y="669798"/>
                  </a:lnTo>
                  <a:lnTo>
                    <a:pt x="1022032" y="666369"/>
                  </a:lnTo>
                  <a:lnTo>
                    <a:pt x="1021652" y="663226"/>
                  </a:lnTo>
                  <a:lnTo>
                    <a:pt x="1023366" y="664655"/>
                  </a:lnTo>
                  <a:lnTo>
                    <a:pt x="1023842" y="667798"/>
                  </a:lnTo>
                  <a:lnTo>
                    <a:pt x="1027366" y="670560"/>
                  </a:lnTo>
                  <a:lnTo>
                    <a:pt x="1028700" y="668750"/>
                  </a:lnTo>
                  <a:lnTo>
                    <a:pt x="1021461" y="661702"/>
                  </a:lnTo>
                  <a:lnTo>
                    <a:pt x="1015460" y="652844"/>
                  </a:lnTo>
                  <a:lnTo>
                    <a:pt x="1014698" y="646462"/>
                  </a:lnTo>
                  <a:lnTo>
                    <a:pt x="1016032" y="644747"/>
                  </a:lnTo>
                  <a:lnTo>
                    <a:pt x="1014413" y="632079"/>
                  </a:lnTo>
                  <a:lnTo>
                    <a:pt x="1019175" y="631507"/>
                  </a:lnTo>
                  <a:lnTo>
                    <a:pt x="1018604" y="626745"/>
                  </a:lnTo>
                  <a:lnTo>
                    <a:pt x="1022699" y="621411"/>
                  </a:lnTo>
                  <a:lnTo>
                    <a:pt x="1029176" y="622173"/>
                  </a:lnTo>
                  <a:lnTo>
                    <a:pt x="1030605" y="620363"/>
                  </a:lnTo>
                  <a:lnTo>
                    <a:pt x="1031938" y="618649"/>
                  </a:lnTo>
                  <a:lnTo>
                    <a:pt x="1029748" y="614077"/>
                  </a:lnTo>
                  <a:lnTo>
                    <a:pt x="1035939" y="611695"/>
                  </a:lnTo>
                  <a:lnTo>
                    <a:pt x="1039082" y="611315"/>
                  </a:lnTo>
                  <a:lnTo>
                    <a:pt x="1044607" y="604171"/>
                  </a:lnTo>
                  <a:lnTo>
                    <a:pt x="1042225" y="598075"/>
                  </a:lnTo>
                  <a:lnTo>
                    <a:pt x="1044702" y="580073"/>
                  </a:lnTo>
                  <a:lnTo>
                    <a:pt x="1044130" y="575405"/>
                  </a:lnTo>
                  <a:lnTo>
                    <a:pt x="1041178" y="577310"/>
                  </a:lnTo>
                  <a:lnTo>
                    <a:pt x="1040702" y="574167"/>
                  </a:lnTo>
                  <a:lnTo>
                    <a:pt x="1038987" y="572834"/>
                  </a:lnTo>
                  <a:lnTo>
                    <a:pt x="1042702" y="564356"/>
                  </a:lnTo>
                  <a:lnTo>
                    <a:pt x="1043464" y="557784"/>
                  </a:lnTo>
                  <a:lnTo>
                    <a:pt x="1036511" y="553879"/>
                  </a:lnTo>
                  <a:lnTo>
                    <a:pt x="1032605" y="547973"/>
                  </a:lnTo>
                  <a:lnTo>
                    <a:pt x="1026319" y="548735"/>
                  </a:lnTo>
                  <a:lnTo>
                    <a:pt x="1021747" y="550926"/>
                  </a:lnTo>
                  <a:lnTo>
                    <a:pt x="1019937" y="549593"/>
                  </a:lnTo>
                  <a:lnTo>
                    <a:pt x="1019365" y="544830"/>
                  </a:lnTo>
                  <a:lnTo>
                    <a:pt x="1014603" y="545497"/>
                  </a:lnTo>
                  <a:lnTo>
                    <a:pt x="1013650" y="550355"/>
                  </a:lnTo>
                  <a:lnTo>
                    <a:pt x="1008888" y="551021"/>
                  </a:lnTo>
                  <a:lnTo>
                    <a:pt x="1005745" y="551402"/>
                  </a:lnTo>
                  <a:lnTo>
                    <a:pt x="1003554" y="546830"/>
                  </a:lnTo>
                  <a:lnTo>
                    <a:pt x="1007936" y="543115"/>
                  </a:lnTo>
                  <a:lnTo>
                    <a:pt x="1011841" y="536162"/>
                  </a:lnTo>
                  <a:lnTo>
                    <a:pt x="1014984" y="535781"/>
                  </a:lnTo>
                  <a:lnTo>
                    <a:pt x="1018699" y="527304"/>
                  </a:lnTo>
                  <a:lnTo>
                    <a:pt x="1013555" y="524732"/>
                  </a:lnTo>
                  <a:lnTo>
                    <a:pt x="1004316" y="514731"/>
                  </a:lnTo>
                  <a:lnTo>
                    <a:pt x="1004125" y="513112"/>
                  </a:lnTo>
                  <a:lnTo>
                    <a:pt x="1008602" y="510921"/>
                  </a:lnTo>
                  <a:lnTo>
                    <a:pt x="1008412" y="509397"/>
                  </a:lnTo>
                  <a:lnTo>
                    <a:pt x="1008031" y="506159"/>
                  </a:lnTo>
                  <a:lnTo>
                    <a:pt x="1010983" y="504253"/>
                  </a:lnTo>
                  <a:lnTo>
                    <a:pt x="1006983" y="498348"/>
                  </a:lnTo>
                  <a:lnTo>
                    <a:pt x="1002125" y="497300"/>
                  </a:lnTo>
                  <a:lnTo>
                    <a:pt x="996791" y="493205"/>
                  </a:lnTo>
                  <a:lnTo>
                    <a:pt x="985075" y="477012"/>
                  </a:lnTo>
                  <a:lnTo>
                    <a:pt x="976979" y="463677"/>
                  </a:lnTo>
                  <a:lnTo>
                    <a:pt x="979265" y="456914"/>
                  </a:lnTo>
                  <a:lnTo>
                    <a:pt x="976884" y="450818"/>
                  </a:lnTo>
                  <a:lnTo>
                    <a:pt x="979646" y="447294"/>
                  </a:lnTo>
                  <a:lnTo>
                    <a:pt x="974503" y="444722"/>
                  </a:lnTo>
                  <a:lnTo>
                    <a:pt x="972598" y="441769"/>
                  </a:lnTo>
                  <a:lnTo>
                    <a:pt x="968978" y="439007"/>
                  </a:lnTo>
                  <a:lnTo>
                    <a:pt x="968788" y="437388"/>
                  </a:lnTo>
                  <a:lnTo>
                    <a:pt x="963835" y="436436"/>
                  </a:lnTo>
                  <a:lnTo>
                    <a:pt x="961263" y="428720"/>
                  </a:lnTo>
                  <a:lnTo>
                    <a:pt x="965168" y="421862"/>
                  </a:lnTo>
                  <a:lnTo>
                    <a:pt x="961644" y="419100"/>
                  </a:lnTo>
                  <a:lnTo>
                    <a:pt x="962406" y="412623"/>
                  </a:lnTo>
                  <a:lnTo>
                    <a:pt x="962406" y="399764"/>
                  </a:lnTo>
                  <a:lnTo>
                    <a:pt x="965168" y="396240"/>
                  </a:lnTo>
                  <a:lnTo>
                    <a:pt x="971074" y="392240"/>
                  </a:lnTo>
                  <a:lnTo>
                    <a:pt x="974217" y="391859"/>
                  </a:lnTo>
                  <a:lnTo>
                    <a:pt x="983075" y="385858"/>
                  </a:lnTo>
                  <a:lnTo>
                    <a:pt x="981265" y="384524"/>
                  </a:lnTo>
                  <a:lnTo>
                    <a:pt x="984218" y="382524"/>
                  </a:lnTo>
                  <a:lnTo>
                    <a:pt x="977551" y="380143"/>
                  </a:lnTo>
                  <a:lnTo>
                    <a:pt x="976503" y="372332"/>
                  </a:lnTo>
                  <a:lnTo>
                    <a:pt x="970216" y="360236"/>
                  </a:lnTo>
                  <a:lnTo>
                    <a:pt x="974122" y="353378"/>
                  </a:lnTo>
                  <a:lnTo>
                    <a:pt x="972122" y="350425"/>
                  </a:lnTo>
                  <a:lnTo>
                    <a:pt x="971359" y="344043"/>
                  </a:lnTo>
                  <a:lnTo>
                    <a:pt x="973931" y="338995"/>
                  </a:lnTo>
                  <a:lnTo>
                    <a:pt x="971740" y="334423"/>
                  </a:lnTo>
                  <a:lnTo>
                    <a:pt x="974217" y="329279"/>
                  </a:lnTo>
                  <a:lnTo>
                    <a:pt x="965740" y="325565"/>
                  </a:lnTo>
                  <a:lnTo>
                    <a:pt x="969455" y="317087"/>
                  </a:lnTo>
                  <a:lnTo>
                    <a:pt x="962597" y="313087"/>
                  </a:lnTo>
                  <a:lnTo>
                    <a:pt x="961168" y="302133"/>
                  </a:lnTo>
                  <a:lnTo>
                    <a:pt x="956024" y="299561"/>
                  </a:lnTo>
                  <a:lnTo>
                    <a:pt x="955453" y="294799"/>
                  </a:lnTo>
                  <a:lnTo>
                    <a:pt x="955834" y="285083"/>
                  </a:lnTo>
                  <a:lnTo>
                    <a:pt x="957929" y="276797"/>
                  </a:lnTo>
                  <a:lnTo>
                    <a:pt x="952405" y="271082"/>
                  </a:lnTo>
                  <a:lnTo>
                    <a:pt x="953357" y="266224"/>
                  </a:lnTo>
                  <a:lnTo>
                    <a:pt x="949452" y="260318"/>
                  </a:lnTo>
                  <a:lnTo>
                    <a:pt x="944118" y="256127"/>
                  </a:lnTo>
                  <a:lnTo>
                    <a:pt x="940308" y="238982"/>
                  </a:lnTo>
                  <a:lnTo>
                    <a:pt x="946404" y="236601"/>
                  </a:lnTo>
                  <a:lnTo>
                    <a:pt x="959453" y="238125"/>
                  </a:lnTo>
                  <a:lnTo>
                    <a:pt x="965168" y="245459"/>
                  </a:lnTo>
                  <a:lnTo>
                    <a:pt x="969740" y="243269"/>
                  </a:lnTo>
                  <a:lnTo>
                    <a:pt x="969550" y="241649"/>
                  </a:lnTo>
                  <a:lnTo>
                    <a:pt x="973455" y="234791"/>
                  </a:lnTo>
                  <a:lnTo>
                    <a:pt x="977741" y="230981"/>
                  </a:lnTo>
                  <a:lnTo>
                    <a:pt x="978980" y="227648"/>
                  </a:lnTo>
                  <a:lnTo>
                    <a:pt x="978122" y="221361"/>
                  </a:lnTo>
                  <a:lnTo>
                    <a:pt x="979361" y="218027"/>
                  </a:lnTo>
                  <a:lnTo>
                    <a:pt x="984218" y="218980"/>
                  </a:lnTo>
                  <a:lnTo>
                    <a:pt x="986599" y="212217"/>
                  </a:lnTo>
                  <a:lnTo>
                    <a:pt x="995648" y="207836"/>
                  </a:lnTo>
                  <a:lnTo>
                    <a:pt x="996887" y="204502"/>
                  </a:lnTo>
                  <a:lnTo>
                    <a:pt x="1004697" y="203549"/>
                  </a:lnTo>
                  <a:lnTo>
                    <a:pt x="1005935" y="200120"/>
                  </a:lnTo>
                  <a:lnTo>
                    <a:pt x="1005554" y="196977"/>
                  </a:lnTo>
                  <a:lnTo>
                    <a:pt x="1006507" y="192024"/>
                  </a:lnTo>
                  <a:lnTo>
                    <a:pt x="1012412" y="188119"/>
                  </a:lnTo>
                  <a:lnTo>
                    <a:pt x="1004697" y="177832"/>
                  </a:lnTo>
                  <a:lnTo>
                    <a:pt x="1008602" y="170974"/>
                  </a:lnTo>
                  <a:lnTo>
                    <a:pt x="997744" y="161068"/>
                  </a:lnTo>
                  <a:lnTo>
                    <a:pt x="1000315" y="155924"/>
                  </a:lnTo>
                  <a:lnTo>
                    <a:pt x="1007173" y="147066"/>
                  </a:lnTo>
                  <a:lnTo>
                    <a:pt x="1014508" y="141351"/>
                  </a:lnTo>
                  <a:lnTo>
                    <a:pt x="1010698" y="136969"/>
                  </a:lnTo>
                  <a:lnTo>
                    <a:pt x="1009936" y="130683"/>
                  </a:lnTo>
                  <a:lnTo>
                    <a:pt x="1003363" y="117062"/>
                  </a:lnTo>
                  <a:lnTo>
                    <a:pt x="1001363" y="114110"/>
                  </a:lnTo>
                  <a:lnTo>
                    <a:pt x="1002792" y="112395"/>
                  </a:lnTo>
                  <a:lnTo>
                    <a:pt x="1010603" y="111347"/>
                  </a:lnTo>
                  <a:lnTo>
                    <a:pt x="1016317" y="105823"/>
                  </a:lnTo>
                  <a:lnTo>
                    <a:pt x="1014508" y="91631"/>
                  </a:lnTo>
                  <a:lnTo>
                    <a:pt x="1017651" y="91250"/>
                  </a:lnTo>
                  <a:lnTo>
                    <a:pt x="1018318" y="95917"/>
                  </a:lnTo>
                  <a:lnTo>
                    <a:pt x="1019842" y="95726"/>
                  </a:lnTo>
                  <a:lnTo>
                    <a:pt x="1022223" y="89059"/>
                  </a:lnTo>
                  <a:lnTo>
                    <a:pt x="1021461" y="82677"/>
                  </a:lnTo>
                  <a:lnTo>
                    <a:pt x="1023366" y="72866"/>
                  </a:lnTo>
                  <a:lnTo>
                    <a:pt x="1026128" y="69247"/>
                  </a:lnTo>
                  <a:lnTo>
                    <a:pt x="1026700" y="61246"/>
                  </a:lnTo>
                  <a:lnTo>
                    <a:pt x="1030414" y="52673"/>
                  </a:lnTo>
                  <a:lnTo>
                    <a:pt x="1031177" y="46196"/>
                  </a:lnTo>
                  <a:lnTo>
                    <a:pt x="1038511" y="40481"/>
                  </a:lnTo>
                  <a:lnTo>
                    <a:pt x="1041082" y="35338"/>
                  </a:lnTo>
                  <a:lnTo>
                    <a:pt x="1040035" y="27432"/>
                  </a:lnTo>
                  <a:lnTo>
                    <a:pt x="1040987" y="22479"/>
                  </a:lnTo>
                  <a:lnTo>
                    <a:pt x="1038797" y="17907"/>
                  </a:lnTo>
                  <a:lnTo>
                    <a:pt x="1038797" y="17907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8" name="Volný tvar: obrazec 27">
              <a:extLst>
                <a:ext uri="{FF2B5EF4-FFF2-40B4-BE49-F238E27FC236}">
                  <a16:creationId xmlns:a16="http://schemas.microsoft.com/office/drawing/2014/main" id="{A6E92542-F8EC-D18B-A503-67876A64BF2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243286" y="2823209"/>
              <a:ext cx="1216913" cy="1049655"/>
            </a:xfrm>
            <a:custGeom>
              <a:avLst/>
              <a:gdLst>
                <a:gd name="connsiteX0" fmla="*/ 1209770 w 1216913"/>
                <a:gd name="connsiteY0" fmla="*/ 853249 h 1049655"/>
                <a:gd name="connsiteX1" fmla="*/ 1205674 w 1216913"/>
                <a:gd name="connsiteY1" fmla="*/ 845725 h 1049655"/>
                <a:gd name="connsiteX2" fmla="*/ 1200912 w 1216913"/>
                <a:gd name="connsiteY2" fmla="*/ 846296 h 1049655"/>
                <a:gd name="connsiteX3" fmla="*/ 1200722 w 1216913"/>
                <a:gd name="connsiteY3" fmla="*/ 844772 h 1049655"/>
                <a:gd name="connsiteX4" fmla="*/ 1199674 w 1216913"/>
                <a:gd name="connsiteY4" fmla="*/ 836866 h 1049655"/>
                <a:gd name="connsiteX5" fmla="*/ 1195959 w 1216913"/>
                <a:gd name="connsiteY5" fmla="*/ 832580 h 1049655"/>
                <a:gd name="connsiteX6" fmla="*/ 1196911 w 1216913"/>
                <a:gd name="connsiteY6" fmla="*/ 827627 h 1049655"/>
                <a:gd name="connsiteX7" fmla="*/ 1194340 w 1216913"/>
                <a:gd name="connsiteY7" fmla="*/ 819912 h 1049655"/>
                <a:gd name="connsiteX8" fmla="*/ 1197292 w 1216913"/>
                <a:gd name="connsiteY8" fmla="*/ 817912 h 1049655"/>
                <a:gd name="connsiteX9" fmla="*/ 1199007 w 1216913"/>
                <a:gd name="connsiteY9" fmla="*/ 806482 h 1049655"/>
                <a:gd name="connsiteX10" fmla="*/ 1192721 w 1216913"/>
                <a:gd name="connsiteY10" fmla="*/ 807244 h 1049655"/>
                <a:gd name="connsiteX11" fmla="*/ 1190911 w 1216913"/>
                <a:gd name="connsiteY11" fmla="*/ 805910 h 1049655"/>
                <a:gd name="connsiteX12" fmla="*/ 1187958 w 1216913"/>
                <a:gd name="connsiteY12" fmla="*/ 795052 h 1049655"/>
                <a:gd name="connsiteX13" fmla="*/ 1188530 w 1216913"/>
                <a:gd name="connsiteY13" fmla="*/ 786956 h 1049655"/>
                <a:gd name="connsiteX14" fmla="*/ 1183005 w 1216913"/>
                <a:gd name="connsiteY14" fmla="*/ 781240 h 1049655"/>
                <a:gd name="connsiteX15" fmla="*/ 1185577 w 1216913"/>
                <a:gd name="connsiteY15" fmla="*/ 776097 h 1049655"/>
                <a:gd name="connsiteX16" fmla="*/ 1181005 w 1216913"/>
                <a:gd name="connsiteY16" fmla="*/ 765524 h 1049655"/>
                <a:gd name="connsiteX17" fmla="*/ 1179195 w 1216913"/>
                <a:gd name="connsiteY17" fmla="*/ 764095 h 1049655"/>
                <a:gd name="connsiteX18" fmla="*/ 1178433 w 1216913"/>
                <a:gd name="connsiteY18" fmla="*/ 757809 h 1049655"/>
                <a:gd name="connsiteX19" fmla="*/ 1173671 w 1216913"/>
                <a:gd name="connsiteY19" fmla="*/ 745617 h 1049655"/>
                <a:gd name="connsiteX20" fmla="*/ 1174432 w 1216913"/>
                <a:gd name="connsiteY20" fmla="*/ 739045 h 1049655"/>
                <a:gd name="connsiteX21" fmla="*/ 1173004 w 1216913"/>
                <a:gd name="connsiteY21" fmla="*/ 727996 h 1049655"/>
                <a:gd name="connsiteX22" fmla="*/ 1173766 w 1216913"/>
                <a:gd name="connsiteY22" fmla="*/ 721519 h 1049655"/>
                <a:gd name="connsiteX23" fmla="*/ 1171194 w 1216913"/>
                <a:gd name="connsiteY23" fmla="*/ 713803 h 1049655"/>
                <a:gd name="connsiteX24" fmla="*/ 1169384 w 1216913"/>
                <a:gd name="connsiteY24" fmla="*/ 712470 h 1049655"/>
                <a:gd name="connsiteX25" fmla="*/ 1163098 w 1216913"/>
                <a:gd name="connsiteY25" fmla="*/ 713232 h 1049655"/>
                <a:gd name="connsiteX26" fmla="*/ 1152620 w 1216913"/>
                <a:gd name="connsiteY26" fmla="*/ 706565 h 1049655"/>
                <a:gd name="connsiteX27" fmla="*/ 1143381 w 1216913"/>
                <a:gd name="connsiteY27" fmla="*/ 709327 h 1049655"/>
                <a:gd name="connsiteX28" fmla="*/ 1141571 w 1216913"/>
                <a:gd name="connsiteY28" fmla="*/ 707993 h 1049655"/>
                <a:gd name="connsiteX29" fmla="*/ 1131570 w 1216913"/>
                <a:gd name="connsiteY29" fmla="*/ 717232 h 1049655"/>
                <a:gd name="connsiteX30" fmla="*/ 1124998 w 1216913"/>
                <a:gd name="connsiteY30" fmla="*/ 716470 h 1049655"/>
                <a:gd name="connsiteX31" fmla="*/ 1122616 w 1216913"/>
                <a:gd name="connsiteY31" fmla="*/ 710374 h 1049655"/>
                <a:gd name="connsiteX32" fmla="*/ 1117473 w 1216913"/>
                <a:gd name="connsiteY32" fmla="*/ 707803 h 1049655"/>
                <a:gd name="connsiteX33" fmla="*/ 1112996 w 1216913"/>
                <a:gd name="connsiteY33" fmla="*/ 709994 h 1049655"/>
                <a:gd name="connsiteX34" fmla="*/ 1108043 w 1216913"/>
                <a:gd name="connsiteY34" fmla="*/ 709041 h 1049655"/>
                <a:gd name="connsiteX35" fmla="*/ 1108996 w 1216913"/>
                <a:gd name="connsiteY35" fmla="*/ 704088 h 1049655"/>
                <a:gd name="connsiteX36" fmla="*/ 1105472 w 1216913"/>
                <a:gd name="connsiteY36" fmla="*/ 701326 h 1049655"/>
                <a:gd name="connsiteX37" fmla="*/ 1106424 w 1216913"/>
                <a:gd name="connsiteY37" fmla="*/ 696373 h 1049655"/>
                <a:gd name="connsiteX38" fmla="*/ 1101661 w 1216913"/>
                <a:gd name="connsiteY38" fmla="*/ 697040 h 1049655"/>
                <a:gd name="connsiteX39" fmla="*/ 1102709 w 1216913"/>
                <a:gd name="connsiteY39" fmla="*/ 692086 h 1049655"/>
                <a:gd name="connsiteX40" fmla="*/ 1101852 w 1216913"/>
                <a:gd name="connsiteY40" fmla="*/ 685800 h 1049655"/>
                <a:gd name="connsiteX41" fmla="*/ 1090422 w 1216913"/>
                <a:gd name="connsiteY41" fmla="*/ 683990 h 1049655"/>
                <a:gd name="connsiteX42" fmla="*/ 1081183 w 1216913"/>
                <a:gd name="connsiteY42" fmla="*/ 686753 h 1049655"/>
                <a:gd name="connsiteX43" fmla="*/ 1077754 w 1216913"/>
                <a:gd name="connsiteY43" fmla="*/ 685610 h 1049655"/>
                <a:gd name="connsiteX44" fmla="*/ 1073467 w 1216913"/>
                <a:gd name="connsiteY44" fmla="*/ 689420 h 1049655"/>
                <a:gd name="connsiteX45" fmla="*/ 1072420 w 1216913"/>
                <a:gd name="connsiteY45" fmla="*/ 681514 h 1049655"/>
                <a:gd name="connsiteX46" fmla="*/ 1069086 w 1216913"/>
                <a:gd name="connsiteY46" fmla="*/ 680276 h 1049655"/>
                <a:gd name="connsiteX47" fmla="*/ 1065943 w 1216913"/>
                <a:gd name="connsiteY47" fmla="*/ 680752 h 1049655"/>
                <a:gd name="connsiteX48" fmla="*/ 1062990 w 1216913"/>
                <a:gd name="connsiteY48" fmla="*/ 682657 h 1049655"/>
                <a:gd name="connsiteX49" fmla="*/ 1062609 w 1216913"/>
                <a:gd name="connsiteY49" fmla="*/ 679514 h 1049655"/>
                <a:gd name="connsiteX50" fmla="*/ 1054513 w 1216913"/>
                <a:gd name="connsiteY50" fmla="*/ 678942 h 1049655"/>
                <a:gd name="connsiteX51" fmla="*/ 1050893 w 1216913"/>
                <a:gd name="connsiteY51" fmla="*/ 676180 h 1049655"/>
                <a:gd name="connsiteX52" fmla="*/ 1050512 w 1216913"/>
                <a:gd name="connsiteY52" fmla="*/ 673036 h 1049655"/>
                <a:gd name="connsiteX53" fmla="*/ 1048702 w 1216913"/>
                <a:gd name="connsiteY53" fmla="*/ 671703 h 1049655"/>
                <a:gd name="connsiteX54" fmla="*/ 1044988 w 1216913"/>
                <a:gd name="connsiteY54" fmla="*/ 667322 h 1049655"/>
                <a:gd name="connsiteX55" fmla="*/ 1041844 w 1216913"/>
                <a:gd name="connsiteY55" fmla="*/ 667703 h 1049655"/>
                <a:gd name="connsiteX56" fmla="*/ 1044607 w 1216913"/>
                <a:gd name="connsiteY56" fmla="*/ 664178 h 1049655"/>
                <a:gd name="connsiteX57" fmla="*/ 1042416 w 1216913"/>
                <a:gd name="connsiteY57" fmla="*/ 659606 h 1049655"/>
                <a:gd name="connsiteX58" fmla="*/ 1044702 w 1216913"/>
                <a:gd name="connsiteY58" fmla="*/ 640080 h 1049655"/>
                <a:gd name="connsiteX59" fmla="*/ 1040987 w 1216913"/>
                <a:gd name="connsiteY59" fmla="*/ 635794 h 1049655"/>
                <a:gd name="connsiteX60" fmla="*/ 1036034 w 1216913"/>
                <a:gd name="connsiteY60" fmla="*/ 634841 h 1049655"/>
                <a:gd name="connsiteX61" fmla="*/ 1032510 w 1216913"/>
                <a:gd name="connsiteY61" fmla="*/ 632079 h 1049655"/>
                <a:gd name="connsiteX62" fmla="*/ 1033272 w 1216913"/>
                <a:gd name="connsiteY62" fmla="*/ 625507 h 1049655"/>
                <a:gd name="connsiteX63" fmla="*/ 1030033 w 1216913"/>
                <a:gd name="connsiteY63" fmla="*/ 613124 h 1049655"/>
                <a:gd name="connsiteX64" fmla="*/ 1024890 w 1216913"/>
                <a:gd name="connsiteY64" fmla="*/ 610553 h 1049655"/>
                <a:gd name="connsiteX65" fmla="*/ 1023938 w 1216913"/>
                <a:gd name="connsiteY65" fmla="*/ 602647 h 1049655"/>
                <a:gd name="connsiteX66" fmla="*/ 1020127 w 1216913"/>
                <a:gd name="connsiteY66" fmla="*/ 598361 h 1049655"/>
                <a:gd name="connsiteX67" fmla="*/ 1020889 w 1216913"/>
                <a:gd name="connsiteY67" fmla="*/ 591788 h 1049655"/>
                <a:gd name="connsiteX68" fmla="*/ 1018699 w 1216913"/>
                <a:gd name="connsiteY68" fmla="*/ 587311 h 1049655"/>
                <a:gd name="connsiteX69" fmla="*/ 1016794 w 1216913"/>
                <a:gd name="connsiteY69" fmla="*/ 584359 h 1049655"/>
                <a:gd name="connsiteX70" fmla="*/ 1016127 w 1216913"/>
                <a:gd name="connsiteY70" fmla="*/ 579596 h 1049655"/>
                <a:gd name="connsiteX71" fmla="*/ 1009079 w 1216913"/>
                <a:gd name="connsiteY71" fmla="*/ 574072 h 1049655"/>
                <a:gd name="connsiteX72" fmla="*/ 1006221 w 1216913"/>
                <a:gd name="connsiteY72" fmla="*/ 564832 h 1049655"/>
                <a:gd name="connsiteX73" fmla="*/ 1007459 w 1216913"/>
                <a:gd name="connsiteY73" fmla="*/ 561499 h 1049655"/>
                <a:gd name="connsiteX74" fmla="*/ 1003840 w 1216913"/>
                <a:gd name="connsiteY74" fmla="*/ 558736 h 1049655"/>
                <a:gd name="connsiteX75" fmla="*/ 1003268 w 1216913"/>
                <a:gd name="connsiteY75" fmla="*/ 553974 h 1049655"/>
                <a:gd name="connsiteX76" fmla="*/ 999744 w 1216913"/>
                <a:gd name="connsiteY76" fmla="*/ 551212 h 1049655"/>
                <a:gd name="connsiteX77" fmla="*/ 996124 w 1216913"/>
                <a:gd name="connsiteY77" fmla="*/ 548449 h 1049655"/>
                <a:gd name="connsiteX78" fmla="*/ 996886 w 1216913"/>
                <a:gd name="connsiteY78" fmla="*/ 541973 h 1049655"/>
                <a:gd name="connsiteX79" fmla="*/ 1007173 w 1216913"/>
                <a:gd name="connsiteY79" fmla="*/ 534257 h 1049655"/>
                <a:gd name="connsiteX80" fmla="*/ 1011079 w 1216913"/>
                <a:gd name="connsiteY80" fmla="*/ 527304 h 1049655"/>
                <a:gd name="connsiteX81" fmla="*/ 1009364 w 1216913"/>
                <a:gd name="connsiteY81" fmla="*/ 525970 h 1049655"/>
                <a:gd name="connsiteX82" fmla="*/ 1007173 w 1216913"/>
                <a:gd name="connsiteY82" fmla="*/ 521398 h 1049655"/>
                <a:gd name="connsiteX83" fmla="*/ 1010317 w 1216913"/>
                <a:gd name="connsiteY83" fmla="*/ 521018 h 1049655"/>
                <a:gd name="connsiteX84" fmla="*/ 1011269 w 1216913"/>
                <a:gd name="connsiteY84" fmla="*/ 516065 h 1049655"/>
                <a:gd name="connsiteX85" fmla="*/ 1020794 w 1216913"/>
                <a:gd name="connsiteY85" fmla="*/ 514922 h 1049655"/>
                <a:gd name="connsiteX86" fmla="*/ 1021747 w 1216913"/>
                <a:gd name="connsiteY86" fmla="*/ 509969 h 1049655"/>
                <a:gd name="connsiteX87" fmla="*/ 1017937 w 1216913"/>
                <a:gd name="connsiteY87" fmla="*/ 505587 h 1049655"/>
                <a:gd name="connsiteX88" fmla="*/ 1009650 w 1216913"/>
                <a:gd name="connsiteY88" fmla="*/ 503491 h 1049655"/>
                <a:gd name="connsiteX89" fmla="*/ 1001744 w 1216913"/>
                <a:gd name="connsiteY89" fmla="*/ 504444 h 1049655"/>
                <a:gd name="connsiteX90" fmla="*/ 1001363 w 1216913"/>
                <a:gd name="connsiteY90" fmla="*/ 501301 h 1049655"/>
                <a:gd name="connsiteX91" fmla="*/ 996029 w 1216913"/>
                <a:gd name="connsiteY91" fmla="*/ 497205 h 1049655"/>
                <a:gd name="connsiteX92" fmla="*/ 995648 w 1216913"/>
                <a:gd name="connsiteY92" fmla="*/ 493966 h 1049655"/>
                <a:gd name="connsiteX93" fmla="*/ 991838 w 1216913"/>
                <a:gd name="connsiteY93" fmla="*/ 489680 h 1049655"/>
                <a:gd name="connsiteX94" fmla="*/ 991457 w 1216913"/>
                <a:gd name="connsiteY94" fmla="*/ 486537 h 1049655"/>
                <a:gd name="connsiteX95" fmla="*/ 995839 w 1216913"/>
                <a:gd name="connsiteY95" fmla="*/ 482727 h 1049655"/>
                <a:gd name="connsiteX96" fmla="*/ 996982 w 1216913"/>
                <a:gd name="connsiteY96" fmla="*/ 479393 h 1049655"/>
                <a:gd name="connsiteX97" fmla="*/ 994791 w 1216913"/>
                <a:gd name="connsiteY97" fmla="*/ 474916 h 1049655"/>
                <a:gd name="connsiteX98" fmla="*/ 997363 w 1216913"/>
                <a:gd name="connsiteY98" fmla="*/ 469773 h 1049655"/>
                <a:gd name="connsiteX99" fmla="*/ 1000887 w 1216913"/>
                <a:gd name="connsiteY99" fmla="*/ 459677 h 1049655"/>
                <a:gd name="connsiteX100" fmla="*/ 995743 w 1216913"/>
                <a:gd name="connsiteY100" fmla="*/ 457105 h 1049655"/>
                <a:gd name="connsiteX101" fmla="*/ 996886 w 1216913"/>
                <a:gd name="connsiteY101" fmla="*/ 453771 h 1049655"/>
                <a:gd name="connsiteX102" fmla="*/ 995172 w 1216913"/>
                <a:gd name="connsiteY102" fmla="*/ 452342 h 1049655"/>
                <a:gd name="connsiteX103" fmla="*/ 998315 w 1216913"/>
                <a:gd name="connsiteY103" fmla="*/ 451961 h 1049655"/>
                <a:gd name="connsiteX104" fmla="*/ 993743 w 1216913"/>
                <a:gd name="connsiteY104" fmla="*/ 441293 h 1049655"/>
                <a:gd name="connsiteX105" fmla="*/ 992124 w 1216913"/>
                <a:gd name="connsiteY105" fmla="*/ 441579 h 1049655"/>
                <a:gd name="connsiteX106" fmla="*/ 984694 w 1216913"/>
                <a:gd name="connsiteY106" fmla="*/ 445675 h 1049655"/>
                <a:gd name="connsiteX107" fmla="*/ 974026 w 1216913"/>
                <a:gd name="connsiteY107" fmla="*/ 437388 h 1049655"/>
                <a:gd name="connsiteX108" fmla="*/ 969264 w 1216913"/>
                <a:gd name="connsiteY108" fmla="*/ 438055 h 1049655"/>
                <a:gd name="connsiteX109" fmla="*/ 972979 w 1216913"/>
                <a:gd name="connsiteY109" fmla="*/ 442341 h 1049655"/>
                <a:gd name="connsiteX110" fmla="*/ 971264 w 1216913"/>
                <a:gd name="connsiteY110" fmla="*/ 453771 h 1049655"/>
                <a:gd name="connsiteX111" fmla="*/ 976408 w 1216913"/>
                <a:gd name="connsiteY111" fmla="*/ 456343 h 1049655"/>
                <a:gd name="connsiteX112" fmla="*/ 970883 w 1216913"/>
                <a:gd name="connsiteY112" fmla="*/ 463486 h 1049655"/>
                <a:gd name="connsiteX113" fmla="*/ 966597 w 1216913"/>
                <a:gd name="connsiteY113" fmla="*/ 467297 h 1049655"/>
                <a:gd name="connsiteX114" fmla="*/ 963454 w 1216913"/>
                <a:gd name="connsiteY114" fmla="*/ 467678 h 1049655"/>
                <a:gd name="connsiteX115" fmla="*/ 960215 w 1216913"/>
                <a:gd name="connsiteY115" fmla="*/ 468058 h 1049655"/>
                <a:gd name="connsiteX116" fmla="*/ 958310 w 1216913"/>
                <a:gd name="connsiteY116" fmla="*/ 465106 h 1049655"/>
                <a:gd name="connsiteX117" fmla="*/ 953929 w 1216913"/>
                <a:gd name="connsiteY117" fmla="*/ 468820 h 1049655"/>
                <a:gd name="connsiteX118" fmla="*/ 955357 w 1216913"/>
                <a:gd name="connsiteY118" fmla="*/ 467106 h 1049655"/>
                <a:gd name="connsiteX119" fmla="*/ 951738 w 1216913"/>
                <a:gd name="connsiteY119" fmla="*/ 464344 h 1049655"/>
                <a:gd name="connsiteX120" fmla="*/ 947261 w 1216913"/>
                <a:gd name="connsiteY120" fmla="*/ 466535 h 1049655"/>
                <a:gd name="connsiteX121" fmla="*/ 940117 w 1216913"/>
                <a:gd name="connsiteY121" fmla="*/ 461010 h 1049655"/>
                <a:gd name="connsiteX122" fmla="*/ 937546 w 1216913"/>
                <a:gd name="connsiteY122" fmla="*/ 466153 h 1049655"/>
                <a:gd name="connsiteX123" fmla="*/ 933831 w 1216913"/>
                <a:gd name="connsiteY123" fmla="*/ 461772 h 1049655"/>
                <a:gd name="connsiteX124" fmla="*/ 931640 w 1216913"/>
                <a:gd name="connsiteY124" fmla="*/ 457295 h 1049655"/>
                <a:gd name="connsiteX125" fmla="*/ 928021 w 1216913"/>
                <a:gd name="connsiteY125" fmla="*/ 454533 h 1049655"/>
                <a:gd name="connsiteX126" fmla="*/ 921163 w 1216913"/>
                <a:gd name="connsiteY126" fmla="*/ 450628 h 1049655"/>
                <a:gd name="connsiteX127" fmla="*/ 918591 w 1216913"/>
                <a:gd name="connsiteY127" fmla="*/ 442912 h 1049655"/>
                <a:gd name="connsiteX128" fmla="*/ 905732 w 1216913"/>
                <a:gd name="connsiteY128" fmla="*/ 442912 h 1049655"/>
                <a:gd name="connsiteX129" fmla="*/ 900398 w 1216913"/>
                <a:gd name="connsiteY129" fmla="*/ 438817 h 1049655"/>
                <a:gd name="connsiteX130" fmla="*/ 897064 w 1216913"/>
                <a:gd name="connsiteY130" fmla="*/ 437578 h 1049655"/>
                <a:gd name="connsiteX131" fmla="*/ 895636 w 1216913"/>
                <a:gd name="connsiteY131" fmla="*/ 426529 h 1049655"/>
                <a:gd name="connsiteX132" fmla="*/ 875157 w 1216913"/>
                <a:gd name="connsiteY132" fmla="*/ 429197 h 1049655"/>
                <a:gd name="connsiteX133" fmla="*/ 872204 w 1216913"/>
                <a:gd name="connsiteY133" fmla="*/ 431197 h 1049655"/>
                <a:gd name="connsiteX134" fmla="*/ 862489 w 1216913"/>
                <a:gd name="connsiteY134" fmla="*/ 430816 h 1049655"/>
                <a:gd name="connsiteX135" fmla="*/ 851249 w 1216913"/>
                <a:gd name="connsiteY135" fmla="*/ 430625 h 1049655"/>
                <a:gd name="connsiteX136" fmla="*/ 847439 w 1216913"/>
                <a:gd name="connsiteY136" fmla="*/ 426339 h 1049655"/>
                <a:gd name="connsiteX137" fmla="*/ 827151 w 1216913"/>
                <a:gd name="connsiteY137" fmla="*/ 417671 h 1049655"/>
                <a:gd name="connsiteX138" fmla="*/ 826770 w 1216913"/>
                <a:gd name="connsiteY138" fmla="*/ 427291 h 1049655"/>
                <a:gd name="connsiteX139" fmla="*/ 830104 w 1216913"/>
                <a:gd name="connsiteY139" fmla="*/ 428530 h 1049655"/>
                <a:gd name="connsiteX140" fmla="*/ 836676 w 1216913"/>
                <a:gd name="connsiteY140" fmla="*/ 429292 h 1049655"/>
                <a:gd name="connsiteX141" fmla="*/ 838581 w 1216913"/>
                <a:gd name="connsiteY141" fmla="*/ 432244 h 1049655"/>
                <a:gd name="connsiteX142" fmla="*/ 830961 w 1216913"/>
                <a:gd name="connsiteY142" fmla="*/ 434816 h 1049655"/>
                <a:gd name="connsiteX143" fmla="*/ 832961 w 1216913"/>
                <a:gd name="connsiteY143" fmla="*/ 437769 h 1049655"/>
                <a:gd name="connsiteX144" fmla="*/ 834676 w 1216913"/>
                <a:gd name="connsiteY144" fmla="*/ 439103 h 1049655"/>
                <a:gd name="connsiteX145" fmla="*/ 830389 w 1216913"/>
                <a:gd name="connsiteY145" fmla="*/ 442912 h 1049655"/>
                <a:gd name="connsiteX146" fmla="*/ 826770 w 1216913"/>
                <a:gd name="connsiteY146" fmla="*/ 440150 h 1049655"/>
                <a:gd name="connsiteX147" fmla="*/ 826389 w 1216913"/>
                <a:gd name="connsiteY147" fmla="*/ 437007 h 1049655"/>
                <a:gd name="connsiteX148" fmla="*/ 823246 w 1216913"/>
                <a:gd name="connsiteY148" fmla="*/ 437388 h 1049655"/>
                <a:gd name="connsiteX149" fmla="*/ 824198 w 1216913"/>
                <a:gd name="connsiteY149" fmla="*/ 445294 h 1049655"/>
                <a:gd name="connsiteX150" fmla="*/ 819150 w 1216913"/>
                <a:gd name="connsiteY150" fmla="*/ 455581 h 1049655"/>
                <a:gd name="connsiteX151" fmla="*/ 814197 w 1216913"/>
                <a:gd name="connsiteY151" fmla="*/ 454628 h 1049655"/>
                <a:gd name="connsiteX152" fmla="*/ 813816 w 1216913"/>
                <a:gd name="connsiteY152" fmla="*/ 451390 h 1049655"/>
                <a:gd name="connsiteX153" fmla="*/ 805148 w 1216913"/>
                <a:gd name="connsiteY153" fmla="*/ 446151 h 1049655"/>
                <a:gd name="connsiteX154" fmla="*/ 802767 w 1216913"/>
                <a:gd name="connsiteY154" fmla="*/ 440055 h 1049655"/>
                <a:gd name="connsiteX155" fmla="*/ 796385 w 1216913"/>
                <a:gd name="connsiteY155" fmla="*/ 440817 h 1049655"/>
                <a:gd name="connsiteX156" fmla="*/ 788289 w 1216913"/>
                <a:gd name="connsiteY156" fmla="*/ 427387 h 1049655"/>
                <a:gd name="connsiteX157" fmla="*/ 789813 w 1216913"/>
                <a:gd name="connsiteY157" fmla="*/ 414433 h 1049655"/>
                <a:gd name="connsiteX158" fmla="*/ 786860 w 1216913"/>
                <a:gd name="connsiteY158" fmla="*/ 403574 h 1049655"/>
                <a:gd name="connsiteX159" fmla="*/ 784860 w 1216913"/>
                <a:gd name="connsiteY159" fmla="*/ 400622 h 1049655"/>
                <a:gd name="connsiteX160" fmla="*/ 758380 w 1216913"/>
                <a:gd name="connsiteY160" fmla="*/ 394335 h 1049655"/>
                <a:gd name="connsiteX161" fmla="*/ 749141 w 1216913"/>
                <a:gd name="connsiteY161" fmla="*/ 397097 h 1049655"/>
                <a:gd name="connsiteX162" fmla="*/ 746188 w 1216913"/>
                <a:gd name="connsiteY162" fmla="*/ 399098 h 1049655"/>
                <a:gd name="connsiteX163" fmla="*/ 742188 w 1216913"/>
                <a:gd name="connsiteY163" fmla="*/ 393192 h 1049655"/>
                <a:gd name="connsiteX164" fmla="*/ 743236 w 1216913"/>
                <a:gd name="connsiteY164" fmla="*/ 388239 h 1049655"/>
                <a:gd name="connsiteX165" fmla="*/ 740378 w 1216913"/>
                <a:gd name="connsiteY165" fmla="*/ 379000 h 1049655"/>
                <a:gd name="connsiteX166" fmla="*/ 735235 w 1216913"/>
                <a:gd name="connsiteY166" fmla="*/ 363569 h 1049655"/>
                <a:gd name="connsiteX167" fmla="*/ 724567 w 1216913"/>
                <a:gd name="connsiteY167" fmla="*/ 368141 h 1049655"/>
                <a:gd name="connsiteX168" fmla="*/ 722471 w 1216913"/>
                <a:gd name="connsiteY168" fmla="*/ 363665 h 1049655"/>
                <a:gd name="connsiteX169" fmla="*/ 719233 w 1216913"/>
                <a:gd name="connsiteY169" fmla="*/ 364046 h 1049655"/>
                <a:gd name="connsiteX170" fmla="*/ 717518 w 1216913"/>
                <a:gd name="connsiteY170" fmla="*/ 362712 h 1049655"/>
                <a:gd name="connsiteX171" fmla="*/ 711232 w 1216913"/>
                <a:gd name="connsiteY171" fmla="*/ 363474 h 1049655"/>
                <a:gd name="connsiteX172" fmla="*/ 711422 w 1216913"/>
                <a:gd name="connsiteY172" fmla="*/ 365093 h 1049655"/>
                <a:gd name="connsiteX173" fmla="*/ 708184 w 1216913"/>
                <a:gd name="connsiteY173" fmla="*/ 365474 h 1049655"/>
                <a:gd name="connsiteX174" fmla="*/ 708469 w 1216913"/>
                <a:gd name="connsiteY174" fmla="*/ 366998 h 1049655"/>
                <a:gd name="connsiteX175" fmla="*/ 709231 w 1216913"/>
                <a:gd name="connsiteY175" fmla="*/ 373380 h 1049655"/>
                <a:gd name="connsiteX176" fmla="*/ 708279 w 1216913"/>
                <a:gd name="connsiteY176" fmla="*/ 378238 h 1049655"/>
                <a:gd name="connsiteX177" fmla="*/ 699421 w 1216913"/>
                <a:gd name="connsiteY177" fmla="*/ 384238 h 1049655"/>
                <a:gd name="connsiteX178" fmla="*/ 693230 w 1216913"/>
                <a:gd name="connsiteY178" fmla="*/ 373761 h 1049655"/>
                <a:gd name="connsiteX179" fmla="*/ 686372 w 1216913"/>
                <a:gd name="connsiteY179" fmla="*/ 369856 h 1049655"/>
                <a:gd name="connsiteX180" fmla="*/ 684371 w 1216913"/>
                <a:gd name="connsiteY180" fmla="*/ 366903 h 1049655"/>
                <a:gd name="connsiteX181" fmla="*/ 671893 w 1216913"/>
                <a:gd name="connsiteY181" fmla="*/ 370046 h 1049655"/>
                <a:gd name="connsiteX182" fmla="*/ 664845 w 1216913"/>
                <a:gd name="connsiteY182" fmla="*/ 364522 h 1049655"/>
                <a:gd name="connsiteX183" fmla="*/ 659035 w 1216913"/>
                <a:gd name="connsiteY183" fmla="*/ 357283 h 1049655"/>
                <a:gd name="connsiteX184" fmla="*/ 654748 w 1216913"/>
                <a:gd name="connsiteY184" fmla="*/ 348234 h 1049655"/>
                <a:gd name="connsiteX185" fmla="*/ 657701 w 1216913"/>
                <a:gd name="connsiteY185" fmla="*/ 346234 h 1049655"/>
                <a:gd name="connsiteX186" fmla="*/ 661606 w 1216913"/>
                <a:gd name="connsiteY186" fmla="*/ 339280 h 1049655"/>
                <a:gd name="connsiteX187" fmla="*/ 654463 w 1216913"/>
                <a:gd name="connsiteY187" fmla="*/ 333851 h 1049655"/>
                <a:gd name="connsiteX188" fmla="*/ 652272 w 1216913"/>
                <a:gd name="connsiteY188" fmla="*/ 329279 h 1049655"/>
                <a:gd name="connsiteX189" fmla="*/ 649129 w 1216913"/>
                <a:gd name="connsiteY189" fmla="*/ 329660 h 1049655"/>
                <a:gd name="connsiteX190" fmla="*/ 650462 w 1216913"/>
                <a:gd name="connsiteY190" fmla="*/ 315087 h 1049655"/>
                <a:gd name="connsiteX191" fmla="*/ 648748 w 1216913"/>
                <a:gd name="connsiteY191" fmla="*/ 313658 h 1049655"/>
                <a:gd name="connsiteX192" fmla="*/ 643985 w 1216913"/>
                <a:gd name="connsiteY192" fmla="*/ 314325 h 1049655"/>
                <a:gd name="connsiteX193" fmla="*/ 635508 w 1216913"/>
                <a:gd name="connsiteY193" fmla="*/ 310610 h 1049655"/>
                <a:gd name="connsiteX194" fmla="*/ 634841 w 1216913"/>
                <a:gd name="connsiteY194" fmla="*/ 305848 h 1049655"/>
                <a:gd name="connsiteX195" fmla="*/ 633127 w 1216913"/>
                <a:gd name="connsiteY195" fmla="*/ 304419 h 1049655"/>
                <a:gd name="connsiteX196" fmla="*/ 630746 w 1216913"/>
                <a:gd name="connsiteY196" fmla="*/ 298323 h 1049655"/>
                <a:gd name="connsiteX197" fmla="*/ 622840 w 1216913"/>
                <a:gd name="connsiteY197" fmla="*/ 299371 h 1049655"/>
                <a:gd name="connsiteX198" fmla="*/ 620649 w 1216913"/>
                <a:gd name="connsiteY198" fmla="*/ 294799 h 1049655"/>
                <a:gd name="connsiteX199" fmla="*/ 615696 w 1216913"/>
                <a:gd name="connsiteY199" fmla="*/ 293846 h 1049655"/>
                <a:gd name="connsiteX200" fmla="*/ 613886 w 1216913"/>
                <a:gd name="connsiteY200" fmla="*/ 292513 h 1049655"/>
                <a:gd name="connsiteX201" fmla="*/ 610552 w 1216913"/>
                <a:gd name="connsiteY201" fmla="*/ 291275 h 1049655"/>
                <a:gd name="connsiteX202" fmla="*/ 596170 w 1216913"/>
                <a:gd name="connsiteY202" fmla="*/ 304324 h 1049655"/>
                <a:gd name="connsiteX203" fmla="*/ 591693 w 1216913"/>
                <a:gd name="connsiteY203" fmla="*/ 306515 h 1049655"/>
                <a:gd name="connsiteX204" fmla="*/ 592646 w 1216913"/>
                <a:gd name="connsiteY204" fmla="*/ 314420 h 1049655"/>
                <a:gd name="connsiteX205" fmla="*/ 592264 w 1216913"/>
                <a:gd name="connsiteY205" fmla="*/ 324136 h 1049655"/>
                <a:gd name="connsiteX206" fmla="*/ 596646 w 1216913"/>
                <a:gd name="connsiteY206" fmla="*/ 333184 h 1049655"/>
                <a:gd name="connsiteX207" fmla="*/ 602932 w 1216913"/>
                <a:gd name="connsiteY207" fmla="*/ 332327 h 1049655"/>
                <a:gd name="connsiteX208" fmla="*/ 604933 w 1216913"/>
                <a:gd name="connsiteY208" fmla="*/ 322517 h 1049655"/>
                <a:gd name="connsiteX209" fmla="*/ 611410 w 1216913"/>
                <a:gd name="connsiteY209" fmla="*/ 323278 h 1049655"/>
                <a:gd name="connsiteX210" fmla="*/ 615029 w 1216913"/>
                <a:gd name="connsiteY210" fmla="*/ 326041 h 1049655"/>
                <a:gd name="connsiteX211" fmla="*/ 619697 w 1216913"/>
                <a:gd name="connsiteY211" fmla="*/ 325374 h 1049655"/>
                <a:gd name="connsiteX212" fmla="*/ 624078 w 1216913"/>
                <a:gd name="connsiteY212" fmla="*/ 334518 h 1049655"/>
                <a:gd name="connsiteX213" fmla="*/ 622744 w 1216913"/>
                <a:gd name="connsiteY213" fmla="*/ 336232 h 1049655"/>
                <a:gd name="connsiteX214" fmla="*/ 622935 w 1216913"/>
                <a:gd name="connsiteY214" fmla="*/ 337852 h 1049655"/>
                <a:gd name="connsiteX215" fmla="*/ 618554 w 1216913"/>
                <a:gd name="connsiteY215" fmla="*/ 341567 h 1049655"/>
                <a:gd name="connsiteX216" fmla="*/ 622173 w 1216913"/>
                <a:gd name="connsiteY216" fmla="*/ 344329 h 1049655"/>
                <a:gd name="connsiteX217" fmla="*/ 622744 w 1216913"/>
                <a:gd name="connsiteY217" fmla="*/ 349091 h 1049655"/>
                <a:gd name="connsiteX218" fmla="*/ 619601 w 1216913"/>
                <a:gd name="connsiteY218" fmla="*/ 349472 h 1049655"/>
                <a:gd name="connsiteX219" fmla="*/ 618172 w 1216913"/>
                <a:gd name="connsiteY219" fmla="*/ 351282 h 1049655"/>
                <a:gd name="connsiteX220" fmla="*/ 621982 w 1216913"/>
                <a:gd name="connsiteY220" fmla="*/ 355568 h 1049655"/>
                <a:gd name="connsiteX221" fmla="*/ 621030 w 1216913"/>
                <a:gd name="connsiteY221" fmla="*/ 360521 h 1049655"/>
                <a:gd name="connsiteX222" fmla="*/ 617410 w 1216913"/>
                <a:gd name="connsiteY222" fmla="*/ 357759 h 1049655"/>
                <a:gd name="connsiteX223" fmla="*/ 617220 w 1216913"/>
                <a:gd name="connsiteY223" fmla="*/ 356235 h 1049655"/>
                <a:gd name="connsiteX224" fmla="*/ 613696 w 1216913"/>
                <a:gd name="connsiteY224" fmla="*/ 353473 h 1049655"/>
                <a:gd name="connsiteX225" fmla="*/ 594741 w 1216913"/>
                <a:gd name="connsiteY225" fmla="*/ 355854 h 1049655"/>
                <a:gd name="connsiteX226" fmla="*/ 593503 w 1216913"/>
                <a:gd name="connsiteY226" fmla="*/ 346424 h 1049655"/>
                <a:gd name="connsiteX227" fmla="*/ 582930 w 1216913"/>
                <a:gd name="connsiteY227" fmla="*/ 350996 h 1049655"/>
                <a:gd name="connsiteX228" fmla="*/ 577786 w 1216913"/>
                <a:gd name="connsiteY228" fmla="*/ 361188 h 1049655"/>
                <a:gd name="connsiteX229" fmla="*/ 569309 w 1216913"/>
                <a:gd name="connsiteY229" fmla="*/ 357473 h 1049655"/>
                <a:gd name="connsiteX230" fmla="*/ 563404 w 1216913"/>
                <a:gd name="connsiteY230" fmla="*/ 361474 h 1049655"/>
                <a:gd name="connsiteX231" fmla="*/ 558641 w 1216913"/>
                <a:gd name="connsiteY231" fmla="*/ 362045 h 1049655"/>
                <a:gd name="connsiteX232" fmla="*/ 539591 w 1216913"/>
                <a:gd name="connsiteY232" fmla="*/ 388525 h 1049655"/>
                <a:gd name="connsiteX233" fmla="*/ 537019 w 1216913"/>
                <a:gd name="connsiteY233" fmla="*/ 393668 h 1049655"/>
                <a:gd name="connsiteX234" fmla="*/ 529304 w 1216913"/>
                <a:gd name="connsiteY234" fmla="*/ 396240 h 1049655"/>
                <a:gd name="connsiteX235" fmla="*/ 515874 w 1216913"/>
                <a:gd name="connsiteY235" fmla="*/ 391573 h 1049655"/>
                <a:gd name="connsiteX236" fmla="*/ 509778 w 1216913"/>
                <a:gd name="connsiteY236" fmla="*/ 393954 h 1049655"/>
                <a:gd name="connsiteX237" fmla="*/ 500920 w 1216913"/>
                <a:gd name="connsiteY237" fmla="*/ 399860 h 1049655"/>
                <a:gd name="connsiteX238" fmla="*/ 495205 w 1216913"/>
                <a:gd name="connsiteY238" fmla="*/ 392620 h 1049655"/>
                <a:gd name="connsiteX239" fmla="*/ 492061 w 1216913"/>
                <a:gd name="connsiteY239" fmla="*/ 393002 h 1049655"/>
                <a:gd name="connsiteX240" fmla="*/ 491395 w 1216913"/>
                <a:gd name="connsiteY240" fmla="*/ 388239 h 1049655"/>
                <a:gd name="connsiteX241" fmla="*/ 488251 w 1216913"/>
                <a:gd name="connsiteY241" fmla="*/ 388620 h 1049655"/>
                <a:gd name="connsiteX242" fmla="*/ 487871 w 1216913"/>
                <a:gd name="connsiteY242" fmla="*/ 385477 h 1049655"/>
                <a:gd name="connsiteX243" fmla="*/ 482917 w 1216913"/>
                <a:gd name="connsiteY243" fmla="*/ 384524 h 1049655"/>
                <a:gd name="connsiteX244" fmla="*/ 479012 w 1216913"/>
                <a:gd name="connsiteY244" fmla="*/ 378619 h 1049655"/>
                <a:gd name="connsiteX245" fmla="*/ 477393 w 1216913"/>
                <a:gd name="connsiteY245" fmla="*/ 378809 h 1049655"/>
                <a:gd name="connsiteX246" fmla="*/ 476059 w 1216913"/>
                <a:gd name="connsiteY246" fmla="*/ 380619 h 1049655"/>
                <a:gd name="connsiteX247" fmla="*/ 472249 w 1216913"/>
                <a:gd name="connsiteY247" fmla="*/ 376238 h 1049655"/>
                <a:gd name="connsiteX248" fmla="*/ 475964 w 1216913"/>
                <a:gd name="connsiteY248" fmla="*/ 367760 h 1049655"/>
                <a:gd name="connsiteX249" fmla="*/ 470059 w 1216913"/>
                <a:gd name="connsiteY249" fmla="*/ 358902 h 1049655"/>
                <a:gd name="connsiteX250" fmla="*/ 468249 w 1216913"/>
                <a:gd name="connsiteY250" fmla="*/ 357569 h 1049655"/>
                <a:gd name="connsiteX251" fmla="*/ 453866 w 1216913"/>
                <a:gd name="connsiteY251" fmla="*/ 357759 h 1049655"/>
                <a:gd name="connsiteX252" fmla="*/ 451866 w 1216913"/>
                <a:gd name="connsiteY252" fmla="*/ 354806 h 1049655"/>
                <a:gd name="connsiteX253" fmla="*/ 448723 w 1216913"/>
                <a:gd name="connsiteY253" fmla="*/ 355187 h 1049655"/>
                <a:gd name="connsiteX254" fmla="*/ 448342 w 1216913"/>
                <a:gd name="connsiteY254" fmla="*/ 352044 h 1049655"/>
                <a:gd name="connsiteX255" fmla="*/ 444532 w 1216913"/>
                <a:gd name="connsiteY255" fmla="*/ 347758 h 1049655"/>
                <a:gd name="connsiteX256" fmla="*/ 441579 w 1216913"/>
                <a:gd name="connsiteY256" fmla="*/ 349663 h 1049655"/>
                <a:gd name="connsiteX257" fmla="*/ 439864 w 1216913"/>
                <a:gd name="connsiteY257" fmla="*/ 348329 h 1049655"/>
                <a:gd name="connsiteX258" fmla="*/ 434911 w 1216913"/>
                <a:gd name="connsiteY258" fmla="*/ 347377 h 1049655"/>
                <a:gd name="connsiteX259" fmla="*/ 430911 w 1216913"/>
                <a:gd name="connsiteY259" fmla="*/ 341471 h 1049655"/>
                <a:gd name="connsiteX260" fmla="*/ 433673 w 1216913"/>
                <a:gd name="connsiteY260" fmla="*/ 337852 h 1049655"/>
                <a:gd name="connsiteX261" fmla="*/ 434816 w 1216913"/>
                <a:gd name="connsiteY261" fmla="*/ 334518 h 1049655"/>
                <a:gd name="connsiteX262" fmla="*/ 432721 w 1216913"/>
                <a:gd name="connsiteY262" fmla="*/ 330041 h 1049655"/>
                <a:gd name="connsiteX263" fmla="*/ 427958 w 1216913"/>
                <a:gd name="connsiteY263" fmla="*/ 330613 h 1049655"/>
                <a:gd name="connsiteX264" fmla="*/ 431863 w 1216913"/>
                <a:gd name="connsiteY264" fmla="*/ 323659 h 1049655"/>
                <a:gd name="connsiteX265" fmla="*/ 428339 w 1216913"/>
                <a:gd name="connsiteY265" fmla="*/ 320897 h 1049655"/>
                <a:gd name="connsiteX266" fmla="*/ 429673 w 1216913"/>
                <a:gd name="connsiteY266" fmla="*/ 319183 h 1049655"/>
                <a:gd name="connsiteX267" fmla="*/ 428911 w 1216913"/>
                <a:gd name="connsiteY267" fmla="*/ 312801 h 1049655"/>
                <a:gd name="connsiteX268" fmla="*/ 422148 w 1216913"/>
                <a:gd name="connsiteY268" fmla="*/ 310515 h 1049655"/>
                <a:gd name="connsiteX269" fmla="*/ 423386 w 1216913"/>
                <a:gd name="connsiteY269" fmla="*/ 307086 h 1049655"/>
                <a:gd name="connsiteX270" fmla="*/ 419386 w 1216913"/>
                <a:gd name="connsiteY270" fmla="*/ 301180 h 1049655"/>
                <a:gd name="connsiteX271" fmla="*/ 417862 w 1216913"/>
                <a:gd name="connsiteY271" fmla="*/ 301466 h 1049655"/>
                <a:gd name="connsiteX272" fmla="*/ 420814 w 1216913"/>
                <a:gd name="connsiteY272" fmla="*/ 299466 h 1049655"/>
                <a:gd name="connsiteX273" fmla="*/ 420529 w 1216913"/>
                <a:gd name="connsiteY273" fmla="*/ 297847 h 1049655"/>
                <a:gd name="connsiteX274" fmla="*/ 419005 w 1216913"/>
                <a:gd name="connsiteY274" fmla="*/ 298037 h 1049655"/>
                <a:gd name="connsiteX275" fmla="*/ 420148 w 1216913"/>
                <a:gd name="connsiteY275" fmla="*/ 294703 h 1049655"/>
                <a:gd name="connsiteX276" fmla="*/ 416623 w 1216913"/>
                <a:gd name="connsiteY276" fmla="*/ 291941 h 1049655"/>
                <a:gd name="connsiteX277" fmla="*/ 416052 w 1216913"/>
                <a:gd name="connsiteY277" fmla="*/ 287179 h 1049655"/>
                <a:gd name="connsiteX278" fmla="*/ 413861 w 1216913"/>
                <a:gd name="connsiteY278" fmla="*/ 282702 h 1049655"/>
                <a:gd name="connsiteX279" fmla="*/ 408527 w 1216913"/>
                <a:gd name="connsiteY279" fmla="*/ 278511 h 1049655"/>
                <a:gd name="connsiteX280" fmla="*/ 405289 w 1216913"/>
                <a:gd name="connsiteY280" fmla="*/ 278987 h 1049655"/>
                <a:gd name="connsiteX281" fmla="*/ 405098 w 1216913"/>
                <a:gd name="connsiteY281" fmla="*/ 277368 h 1049655"/>
                <a:gd name="connsiteX282" fmla="*/ 398050 w 1216913"/>
                <a:gd name="connsiteY282" fmla="*/ 271844 h 1049655"/>
                <a:gd name="connsiteX283" fmla="*/ 399955 w 1216913"/>
                <a:gd name="connsiteY283" fmla="*/ 262033 h 1049655"/>
                <a:gd name="connsiteX284" fmla="*/ 379952 w 1216913"/>
                <a:gd name="connsiteY284" fmla="*/ 243650 h 1049655"/>
                <a:gd name="connsiteX285" fmla="*/ 374618 w 1216913"/>
                <a:gd name="connsiteY285" fmla="*/ 239554 h 1049655"/>
                <a:gd name="connsiteX286" fmla="*/ 364998 w 1216913"/>
                <a:gd name="connsiteY286" fmla="*/ 239173 h 1049655"/>
                <a:gd name="connsiteX287" fmla="*/ 360712 w 1216913"/>
                <a:gd name="connsiteY287" fmla="*/ 255746 h 1049655"/>
                <a:gd name="connsiteX288" fmla="*/ 350234 w 1216913"/>
                <a:gd name="connsiteY288" fmla="*/ 249079 h 1049655"/>
                <a:gd name="connsiteX289" fmla="*/ 343471 w 1216913"/>
                <a:gd name="connsiteY289" fmla="*/ 246698 h 1049655"/>
                <a:gd name="connsiteX290" fmla="*/ 334327 w 1216913"/>
                <a:gd name="connsiteY290" fmla="*/ 225457 h 1049655"/>
                <a:gd name="connsiteX291" fmla="*/ 325660 w 1216913"/>
                <a:gd name="connsiteY291" fmla="*/ 220123 h 1049655"/>
                <a:gd name="connsiteX292" fmla="*/ 318706 w 1216913"/>
                <a:gd name="connsiteY292" fmla="*/ 216217 h 1049655"/>
                <a:gd name="connsiteX293" fmla="*/ 318516 w 1216913"/>
                <a:gd name="connsiteY293" fmla="*/ 214598 h 1049655"/>
                <a:gd name="connsiteX294" fmla="*/ 313658 w 1216913"/>
                <a:gd name="connsiteY294" fmla="*/ 213646 h 1049655"/>
                <a:gd name="connsiteX295" fmla="*/ 309086 w 1216913"/>
                <a:gd name="connsiteY295" fmla="*/ 202978 h 1049655"/>
                <a:gd name="connsiteX296" fmla="*/ 301085 w 1216913"/>
                <a:gd name="connsiteY296" fmla="*/ 191167 h 1049655"/>
                <a:gd name="connsiteX297" fmla="*/ 306229 w 1216913"/>
                <a:gd name="connsiteY297" fmla="*/ 180880 h 1049655"/>
                <a:gd name="connsiteX298" fmla="*/ 309181 w 1216913"/>
                <a:gd name="connsiteY298" fmla="*/ 178975 h 1049655"/>
                <a:gd name="connsiteX299" fmla="*/ 317278 w 1216913"/>
                <a:gd name="connsiteY299" fmla="*/ 179546 h 1049655"/>
                <a:gd name="connsiteX300" fmla="*/ 322421 w 1216913"/>
                <a:gd name="connsiteY300" fmla="*/ 182023 h 1049655"/>
                <a:gd name="connsiteX301" fmla="*/ 326517 w 1216913"/>
                <a:gd name="connsiteY301" fmla="*/ 176689 h 1049655"/>
                <a:gd name="connsiteX302" fmla="*/ 331089 w 1216913"/>
                <a:gd name="connsiteY302" fmla="*/ 174593 h 1049655"/>
                <a:gd name="connsiteX303" fmla="*/ 337185 w 1216913"/>
                <a:gd name="connsiteY303" fmla="*/ 172212 h 1049655"/>
                <a:gd name="connsiteX304" fmla="*/ 349853 w 1216913"/>
                <a:gd name="connsiteY304" fmla="*/ 170593 h 1049655"/>
                <a:gd name="connsiteX305" fmla="*/ 358711 w 1216913"/>
                <a:gd name="connsiteY305" fmla="*/ 164592 h 1049655"/>
                <a:gd name="connsiteX306" fmla="*/ 362045 w 1216913"/>
                <a:gd name="connsiteY306" fmla="*/ 165830 h 1049655"/>
                <a:gd name="connsiteX307" fmla="*/ 366617 w 1216913"/>
                <a:gd name="connsiteY307" fmla="*/ 163640 h 1049655"/>
                <a:gd name="connsiteX308" fmla="*/ 369951 w 1216913"/>
                <a:gd name="connsiteY308" fmla="*/ 164782 h 1049655"/>
                <a:gd name="connsiteX309" fmla="*/ 377380 w 1216913"/>
                <a:gd name="connsiteY309" fmla="*/ 160592 h 1049655"/>
                <a:gd name="connsiteX310" fmla="*/ 376809 w 1216913"/>
                <a:gd name="connsiteY310" fmla="*/ 155924 h 1049655"/>
                <a:gd name="connsiteX311" fmla="*/ 381381 w 1216913"/>
                <a:gd name="connsiteY311" fmla="*/ 153734 h 1049655"/>
                <a:gd name="connsiteX312" fmla="*/ 380333 w 1216913"/>
                <a:gd name="connsiteY312" fmla="*/ 145828 h 1049655"/>
                <a:gd name="connsiteX313" fmla="*/ 384715 w 1216913"/>
                <a:gd name="connsiteY313" fmla="*/ 142018 h 1049655"/>
                <a:gd name="connsiteX314" fmla="*/ 385858 w 1216913"/>
                <a:gd name="connsiteY314" fmla="*/ 138684 h 1049655"/>
                <a:gd name="connsiteX315" fmla="*/ 388810 w 1216913"/>
                <a:gd name="connsiteY315" fmla="*/ 136684 h 1049655"/>
                <a:gd name="connsiteX316" fmla="*/ 392335 w 1216913"/>
                <a:gd name="connsiteY316" fmla="*/ 139446 h 1049655"/>
                <a:gd name="connsiteX317" fmla="*/ 400621 w 1216913"/>
                <a:gd name="connsiteY317" fmla="*/ 141637 h 1049655"/>
                <a:gd name="connsiteX318" fmla="*/ 406527 w 1216913"/>
                <a:gd name="connsiteY318" fmla="*/ 137636 h 1049655"/>
                <a:gd name="connsiteX319" fmla="*/ 412909 w 1216913"/>
                <a:gd name="connsiteY319" fmla="*/ 136874 h 1049655"/>
                <a:gd name="connsiteX320" fmla="*/ 412051 w 1216913"/>
                <a:gd name="connsiteY320" fmla="*/ 130588 h 1049655"/>
                <a:gd name="connsiteX321" fmla="*/ 412813 w 1216913"/>
                <a:gd name="connsiteY321" fmla="*/ 124015 h 1049655"/>
                <a:gd name="connsiteX322" fmla="*/ 412051 w 1216913"/>
                <a:gd name="connsiteY322" fmla="*/ 117729 h 1049655"/>
                <a:gd name="connsiteX323" fmla="*/ 416528 w 1216913"/>
                <a:gd name="connsiteY323" fmla="*/ 102679 h 1049655"/>
                <a:gd name="connsiteX324" fmla="*/ 400336 w 1216913"/>
                <a:gd name="connsiteY324" fmla="*/ 88773 h 1049655"/>
                <a:gd name="connsiteX325" fmla="*/ 387858 w 1216913"/>
                <a:gd name="connsiteY325" fmla="*/ 79153 h 1049655"/>
                <a:gd name="connsiteX326" fmla="*/ 388620 w 1216913"/>
                <a:gd name="connsiteY326" fmla="*/ 72580 h 1049655"/>
                <a:gd name="connsiteX327" fmla="*/ 388620 w 1216913"/>
                <a:gd name="connsiteY327" fmla="*/ 59722 h 1049655"/>
                <a:gd name="connsiteX328" fmla="*/ 394335 w 1216913"/>
                <a:gd name="connsiteY328" fmla="*/ 54197 h 1049655"/>
                <a:gd name="connsiteX329" fmla="*/ 398812 w 1216913"/>
                <a:gd name="connsiteY329" fmla="*/ 39243 h 1049655"/>
                <a:gd name="connsiteX330" fmla="*/ 403193 w 1216913"/>
                <a:gd name="connsiteY330" fmla="*/ 35433 h 1049655"/>
                <a:gd name="connsiteX331" fmla="*/ 402812 w 1216913"/>
                <a:gd name="connsiteY331" fmla="*/ 32290 h 1049655"/>
                <a:gd name="connsiteX332" fmla="*/ 405765 w 1216913"/>
                <a:gd name="connsiteY332" fmla="*/ 30290 h 1049655"/>
                <a:gd name="connsiteX333" fmla="*/ 403765 w 1216913"/>
                <a:gd name="connsiteY333" fmla="*/ 27337 h 1049655"/>
                <a:gd name="connsiteX334" fmla="*/ 394240 w 1216913"/>
                <a:gd name="connsiteY334" fmla="*/ 28575 h 1049655"/>
                <a:gd name="connsiteX335" fmla="*/ 392335 w 1216913"/>
                <a:gd name="connsiteY335" fmla="*/ 25622 h 1049655"/>
                <a:gd name="connsiteX336" fmla="*/ 387382 w 1216913"/>
                <a:gd name="connsiteY336" fmla="*/ 24670 h 1049655"/>
                <a:gd name="connsiteX337" fmla="*/ 381952 w 1216913"/>
                <a:gd name="connsiteY337" fmla="*/ 7715 h 1049655"/>
                <a:gd name="connsiteX338" fmla="*/ 366617 w 1216913"/>
                <a:gd name="connsiteY338" fmla="*/ 0 h 1049655"/>
                <a:gd name="connsiteX339" fmla="*/ 358711 w 1216913"/>
                <a:gd name="connsiteY339" fmla="*/ 1048 h 1049655"/>
                <a:gd name="connsiteX340" fmla="*/ 360331 w 1216913"/>
                <a:gd name="connsiteY340" fmla="*/ 13621 h 1049655"/>
                <a:gd name="connsiteX341" fmla="*/ 358330 w 1216913"/>
                <a:gd name="connsiteY341" fmla="*/ 23527 h 1049655"/>
                <a:gd name="connsiteX342" fmla="*/ 360521 w 1216913"/>
                <a:gd name="connsiteY342" fmla="*/ 28099 h 1049655"/>
                <a:gd name="connsiteX343" fmla="*/ 360712 w 1216913"/>
                <a:gd name="connsiteY343" fmla="*/ 29623 h 1049655"/>
                <a:gd name="connsiteX344" fmla="*/ 359378 w 1216913"/>
                <a:gd name="connsiteY344" fmla="*/ 31432 h 1049655"/>
                <a:gd name="connsiteX345" fmla="*/ 340614 w 1216913"/>
                <a:gd name="connsiteY345" fmla="*/ 48196 h 1049655"/>
                <a:gd name="connsiteX346" fmla="*/ 335375 w 1216913"/>
                <a:gd name="connsiteY346" fmla="*/ 56959 h 1049655"/>
                <a:gd name="connsiteX347" fmla="*/ 323279 w 1216913"/>
                <a:gd name="connsiteY347" fmla="*/ 63246 h 1049655"/>
                <a:gd name="connsiteX348" fmla="*/ 312706 w 1216913"/>
                <a:gd name="connsiteY348" fmla="*/ 67818 h 1049655"/>
                <a:gd name="connsiteX349" fmla="*/ 309753 w 1216913"/>
                <a:gd name="connsiteY349" fmla="*/ 69818 h 1049655"/>
                <a:gd name="connsiteX350" fmla="*/ 303181 w 1216913"/>
                <a:gd name="connsiteY350" fmla="*/ 69056 h 1049655"/>
                <a:gd name="connsiteX351" fmla="*/ 302800 w 1216913"/>
                <a:gd name="connsiteY351" fmla="*/ 65913 h 1049655"/>
                <a:gd name="connsiteX352" fmla="*/ 299466 w 1216913"/>
                <a:gd name="connsiteY352" fmla="*/ 64675 h 1049655"/>
                <a:gd name="connsiteX353" fmla="*/ 298609 w 1216913"/>
                <a:gd name="connsiteY353" fmla="*/ 58388 h 1049655"/>
                <a:gd name="connsiteX354" fmla="*/ 295084 w 1216913"/>
                <a:gd name="connsiteY354" fmla="*/ 55626 h 1049655"/>
                <a:gd name="connsiteX355" fmla="*/ 287179 w 1216913"/>
                <a:gd name="connsiteY355" fmla="*/ 56674 h 1049655"/>
                <a:gd name="connsiteX356" fmla="*/ 285845 w 1216913"/>
                <a:gd name="connsiteY356" fmla="*/ 58388 h 1049655"/>
                <a:gd name="connsiteX357" fmla="*/ 279749 w 1216913"/>
                <a:gd name="connsiteY357" fmla="*/ 60865 h 1049655"/>
                <a:gd name="connsiteX358" fmla="*/ 275558 w 1216913"/>
                <a:gd name="connsiteY358" fmla="*/ 66199 h 1049655"/>
                <a:gd name="connsiteX359" fmla="*/ 272224 w 1216913"/>
                <a:gd name="connsiteY359" fmla="*/ 64960 h 1049655"/>
                <a:gd name="connsiteX360" fmla="*/ 266129 w 1216913"/>
                <a:gd name="connsiteY360" fmla="*/ 67342 h 1049655"/>
                <a:gd name="connsiteX361" fmla="*/ 261175 w 1216913"/>
                <a:gd name="connsiteY361" fmla="*/ 66389 h 1049655"/>
                <a:gd name="connsiteX362" fmla="*/ 256032 w 1216913"/>
                <a:gd name="connsiteY362" fmla="*/ 63817 h 1049655"/>
                <a:gd name="connsiteX363" fmla="*/ 251079 w 1216913"/>
                <a:gd name="connsiteY363" fmla="*/ 62865 h 1049655"/>
                <a:gd name="connsiteX364" fmla="*/ 249364 w 1216913"/>
                <a:gd name="connsiteY364" fmla="*/ 61436 h 1049655"/>
                <a:gd name="connsiteX365" fmla="*/ 244602 w 1216913"/>
                <a:gd name="connsiteY365" fmla="*/ 62103 h 1049655"/>
                <a:gd name="connsiteX366" fmla="*/ 228409 w 1216913"/>
                <a:gd name="connsiteY366" fmla="*/ 60960 h 1049655"/>
                <a:gd name="connsiteX367" fmla="*/ 214789 w 1216913"/>
                <a:gd name="connsiteY367" fmla="*/ 67437 h 1049655"/>
                <a:gd name="connsiteX368" fmla="*/ 211836 w 1216913"/>
                <a:gd name="connsiteY368" fmla="*/ 69437 h 1049655"/>
                <a:gd name="connsiteX369" fmla="*/ 210121 w 1216913"/>
                <a:gd name="connsiteY369" fmla="*/ 68104 h 1049655"/>
                <a:gd name="connsiteX370" fmla="*/ 205740 w 1216913"/>
                <a:gd name="connsiteY370" fmla="*/ 71819 h 1049655"/>
                <a:gd name="connsiteX371" fmla="*/ 202216 w 1216913"/>
                <a:gd name="connsiteY371" fmla="*/ 69056 h 1049655"/>
                <a:gd name="connsiteX372" fmla="*/ 200596 w 1216913"/>
                <a:gd name="connsiteY372" fmla="*/ 69247 h 1049655"/>
                <a:gd name="connsiteX373" fmla="*/ 202025 w 1216913"/>
                <a:gd name="connsiteY373" fmla="*/ 80296 h 1049655"/>
                <a:gd name="connsiteX374" fmla="*/ 200882 w 1216913"/>
                <a:gd name="connsiteY374" fmla="*/ 83725 h 1049655"/>
                <a:gd name="connsiteX375" fmla="*/ 196310 w 1216913"/>
                <a:gd name="connsiteY375" fmla="*/ 85915 h 1049655"/>
                <a:gd name="connsiteX376" fmla="*/ 190405 w 1216913"/>
                <a:gd name="connsiteY376" fmla="*/ 89821 h 1049655"/>
                <a:gd name="connsiteX377" fmla="*/ 183451 w 1216913"/>
                <a:gd name="connsiteY377" fmla="*/ 85915 h 1049655"/>
                <a:gd name="connsiteX378" fmla="*/ 181927 w 1216913"/>
                <a:gd name="connsiteY378" fmla="*/ 98965 h 1049655"/>
                <a:gd name="connsiteX379" fmla="*/ 179546 w 1216913"/>
                <a:gd name="connsiteY379" fmla="*/ 105632 h 1049655"/>
                <a:gd name="connsiteX380" fmla="*/ 182404 w 1216913"/>
                <a:gd name="connsiteY380" fmla="*/ 114967 h 1049655"/>
                <a:gd name="connsiteX381" fmla="*/ 181546 w 1216913"/>
                <a:gd name="connsiteY381" fmla="*/ 121444 h 1049655"/>
                <a:gd name="connsiteX382" fmla="*/ 182404 w 1216913"/>
                <a:gd name="connsiteY382" fmla="*/ 127730 h 1049655"/>
                <a:gd name="connsiteX383" fmla="*/ 179641 w 1216913"/>
                <a:gd name="connsiteY383" fmla="*/ 131350 h 1049655"/>
                <a:gd name="connsiteX384" fmla="*/ 180213 w 1216913"/>
                <a:gd name="connsiteY384" fmla="*/ 136017 h 1049655"/>
                <a:gd name="connsiteX385" fmla="*/ 174307 w 1216913"/>
                <a:gd name="connsiteY385" fmla="*/ 140017 h 1049655"/>
                <a:gd name="connsiteX386" fmla="*/ 166021 w 1216913"/>
                <a:gd name="connsiteY386" fmla="*/ 137827 h 1049655"/>
                <a:gd name="connsiteX387" fmla="*/ 163068 w 1216913"/>
                <a:gd name="connsiteY387" fmla="*/ 139827 h 1049655"/>
                <a:gd name="connsiteX388" fmla="*/ 157734 w 1216913"/>
                <a:gd name="connsiteY388" fmla="*/ 135731 h 1049655"/>
                <a:gd name="connsiteX389" fmla="*/ 150019 w 1216913"/>
                <a:gd name="connsiteY389" fmla="*/ 125444 h 1049655"/>
                <a:gd name="connsiteX390" fmla="*/ 148209 w 1216913"/>
                <a:gd name="connsiteY390" fmla="*/ 124111 h 1049655"/>
                <a:gd name="connsiteX391" fmla="*/ 144971 w 1216913"/>
                <a:gd name="connsiteY391" fmla="*/ 135731 h 1049655"/>
                <a:gd name="connsiteX392" fmla="*/ 136493 w 1216913"/>
                <a:gd name="connsiteY392" fmla="*/ 144780 h 1049655"/>
                <a:gd name="connsiteX393" fmla="*/ 129159 w 1216913"/>
                <a:gd name="connsiteY393" fmla="*/ 163354 h 1049655"/>
                <a:gd name="connsiteX394" fmla="*/ 121920 w 1216913"/>
                <a:gd name="connsiteY394" fmla="*/ 169164 h 1049655"/>
                <a:gd name="connsiteX395" fmla="*/ 108299 w 1216913"/>
                <a:gd name="connsiteY395" fmla="*/ 162877 h 1049655"/>
                <a:gd name="connsiteX396" fmla="*/ 102394 w 1216913"/>
                <a:gd name="connsiteY396" fmla="*/ 166783 h 1049655"/>
                <a:gd name="connsiteX397" fmla="*/ 98488 w 1216913"/>
                <a:gd name="connsiteY397" fmla="*/ 173736 h 1049655"/>
                <a:gd name="connsiteX398" fmla="*/ 99250 w 1216913"/>
                <a:gd name="connsiteY398" fmla="*/ 180023 h 1049655"/>
                <a:gd name="connsiteX399" fmla="*/ 94964 w 1216913"/>
                <a:gd name="connsiteY399" fmla="*/ 183832 h 1049655"/>
                <a:gd name="connsiteX400" fmla="*/ 91916 w 1216913"/>
                <a:gd name="connsiteY400" fmla="*/ 185738 h 1049655"/>
                <a:gd name="connsiteX401" fmla="*/ 86582 w 1216913"/>
                <a:gd name="connsiteY401" fmla="*/ 181642 h 1049655"/>
                <a:gd name="connsiteX402" fmla="*/ 81534 w 1216913"/>
                <a:gd name="connsiteY402" fmla="*/ 191929 h 1049655"/>
                <a:gd name="connsiteX403" fmla="*/ 77343 w 1216913"/>
                <a:gd name="connsiteY403" fmla="*/ 197263 h 1049655"/>
                <a:gd name="connsiteX404" fmla="*/ 69342 w 1216913"/>
                <a:gd name="connsiteY404" fmla="*/ 209550 h 1049655"/>
                <a:gd name="connsiteX405" fmla="*/ 66199 w 1216913"/>
                <a:gd name="connsiteY405" fmla="*/ 209931 h 1049655"/>
                <a:gd name="connsiteX406" fmla="*/ 55912 w 1216913"/>
                <a:gd name="connsiteY406" fmla="*/ 217646 h 1049655"/>
                <a:gd name="connsiteX407" fmla="*/ 58483 w 1216913"/>
                <a:gd name="connsiteY407" fmla="*/ 225361 h 1049655"/>
                <a:gd name="connsiteX408" fmla="*/ 59912 w 1216913"/>
                <a:gd name="connsiteY408" fmla="*/ 236411 h 1049655"/>
                <a:gd name="connsiteX409" fmla="*/ 63913 w 1216913"/>
                <a:gd name="connsiteY409" fmla="*/ 242316 h 1049655"/>
                <a:gd name="connsiteX410" fmla="*/ 59912 w 1216913"/>
                <a:gd name="connsiteY410" fmla="*/ 249174 h 1049655"/>
                <a:gd name="connsiteX411" fmla="*/ 44196 w 1216913"/>
                <a:gd name="connsiteY411" fmla="*/ 264033 h 1049655"/>
                <a:gd name="connsiteX412" fmla="*/ 51721 w 1216913"/>
                <a:gd name="connsiteY412" fmla="*/ 285559 h 1049655"/>
                <a:gd name="connsiteX413" fmla="*/ 51340 w 1216913"/>
                <a:gd name="connsiteY413" fmla="*/ 295180 h 1049655"/>
                <a:gd name="connsiteX414" fmla="*/ 53721 w 1216913"/>
                <a:gd name="connsiteY414" fmla="*/ 301276 h 1049655"/>
                <a:gd name="connsiteX415" fmla="*/ 54769 w 1216913"/>
                <a:gd name="connsiteY415" fmla="*/ 309182 h 1049655"/>
                <a:gd name="connsiteX416" fmla="*/ 47530 w 1216913"/>
                <a:gd name="connsiteY416" fmla="*/ 327755 h 1049655"/>
                <a:gd name="connsiteX417" fmla="*/ 39814 w 1216913"/>
                <a:gd name="connsiteY417" fmla="*/ 330327 h 1049655"/>
                <a:gd name="connsiteX418" fmla="*/ 37242 w 1216913"/>
                <a:gd name="connsiteY418" fmla="*/ 335471 h 1049655"/>
                <a:gd name="connsiteX419" fmla="*/ 31718 w 1216913"/>
                <a:gd name="connsiteY419" fmla="*/ 342614 h 1049655"/>
                <a:gd name="connsiteX420" fmla="*/ 24098 w 1216913"/>
                <a:gd name="connsiteY420" fmla="*/ 345186 h 1049655"/>
                <a:gd name="connsiteX421" fmla="*/ 19526 w 1216913"/>
                <a:gd name="connsiteY421" fmla="*/ 360140 h 1049655"/>
                <a:gd name="connsiteX422" fmla="*/ 11049 w 1216913"/>
                <a:gd name="connsiteY422" fmla="*/ 369284 h 1049655"/>
                <a:gd name="connsiteX423" fmla="*/ 12668 w 1216913"/>
                <a:gd name="connsiteY423" fmla="*/ 381857 h 1049655"/>
                <a:gd name="connsiteX424" fmla="*/ 15049 w 1216913"/>
                <a:gd name="connsiteY424" fmla="*/ 388048 h 1049655"/>
                <a:gd name="connsiteX425" fmla="*/ 14288 w 1216913"/>
                <a:gd name="connsiteY425" fmla="*/ 394526 h 1049655"/>
                <a:gd name="connsiteX426" fmla="*/ 5429 w 1216913"/>
                <a:gd name="connsiteY426" fmla="*/ 400431 h 1049655"/>
                <a:gd name="connsiteX427" fmla="*/ 3905 w 1216913"/>
                <a:gd name="connsiteY427" fmla="*/ 400622 h 1049655"/>
                <a:gd name="connsiteX428" fmla="*/ 6286 w 1216913"/>
                <a:gd name="connsiteY428" fmla="*/ 406813 h 1049655"/>
                <a:gd name="connsiteX429" fmla="*/ 14764 w 1216913"/>
                <a:gd name="connsiteY429" fmla="*/ 410528 h 1049655"/>
                <a:gd name="connsiteX430" fmla="*/ 29432 w 1216913"/>
                <a:gd name="connsiteY430" fmla="*/ 424720 h 1049655"/>
                <a:gd name="connsiteX431" fmla="*/ 33528 w 1216913"/>
                <a:gd name="connsiteY431" fmla="*/ 432149 h 1049655"/>
                <a:gd name="connsiteX432" fmla="*/ 33718 w 1216913"/>
                <a:gd name="connsiteY432" fmla="*/ 433769 h 1049655"/>
                <a:gd name="connsiteX433" fmla="*/ 36100 w 1216913"/>
                <a:gd name="connsiteY433" fmla="*/ 439865 h 1049655"/>
                <a:gd name="connsiteX434" fmla="*/ 33338 w 1216913"/>
                <a:gd name="connsiteY434" fmla="*/ 443389 h 1049655"/>
                <a:gd name="connsiteX435" fmla="*/ 35338 w 1216913"/>
                <a:gd name="connsiteY435" fmla="*/ 446341 h 1049655"/>
                <a:gd name="connsiteX436" fmla="*/ 32766 w 1216913"/>
                <a:gd name="connsiteY436" fmla="*/ 451485 h 1049655"/>
                <a:gd name="connsiteX437" fmla="*/ 31051 w 1216913"/>
                <a:gd name="connsiteY437" fmla="*/ 450152 h 1049655"/>
                <a:gd name="connsiteX438" fmla="*/ 28861 w 1216913"/>
                <a:gd name="connsiteY438" fmla="*/ 458438 h 1049655"/>
                <a:gd name="connsiteX439" fmla="*/ 22574 w 1216913"/>
                <a:gd name="connsiteY439" fmla="*/ 459200 h 1049655"/>
                <a:gd name="connsiteX440" fmla="*/ 21622 w 1216913"/>
                <a:gd name="connsiteY440" fmla="*/ 464153 h 1049655"/>
                <a:gd name="connsiteX441" fmla="*/ 17050 w 1216913"/>
                <a:gd name="connsiteY441" fmla="*/ 466344 h 1049655"/>
                <a:gd name="connsiteX442" fmla="*/ 17431 w 1216913"/>
                <a:gd name="connsiteY442" fmla="*/ 469487 h 1049655"/>
                <a:gd name="connsiteX443" fmla="*/ 9811 w 1216913"/>
                <a:gd name="connsiteY443" fmla="*/ 472059 h 1049655"/>
                <a:gd name="connsiteX444" fmla="*/ 12097 w 1216913"/>
                <a:gd name="connsiteY444" fmla="*/ 478155 h 1049655"/>
                <a:gd name="connsiteX445" fmla="*/ 10954 w 1216913"/>
                <a:gd name="connsiteY445" fmla="*/ 481584 h 1049655"/>
                <a:gd name="connsiteX446" fmla="*/ 19240 w 1216913"/>
                <a:gd name="connsiteY446" fmla="*/ 483679 h 1049655"/>
                <a:gd name="connsiteX447" fmla="*/ 16954 w 1216913"/>
                <a:gd name="connsiteY447" fmla="*/ 490442 h 1049655"/>
                <a:gd name="connsiteX448" fmla="*/ 17335 w 1216913"/>
                <a:gd name="connsiteY448" fmla="*/ 493586 h 1049655"/>
                <a:gd name="connsiteX449" fmla="*/ 15907 w 1216913"/>
                <a:gd name="connsiteY449" fmla="*/ 495395 h 1049655"/>
                <a:gd name="connsiteX450" fmla="*/ 14192 w 1216913"/>
                <a:gd name="connsiteY450" fmla="*/ 493966 h 1049655"/>
                <a:gd name="connsiteX451" fmla="*/ 13144 w 1216913"/>
                <a:gd name="connsiteY451" fmla="*/ 498919 h 1049655"/>
                <a:gd name="connsiteX452" fmla="*/ 13430 w 1216913"/>
                <a:gd name="connsiteY452" fmla="*/ 500539 h 1049655"/>
                <a:gd name="connsiteX453" fmla="*/ 7715 w 1216913"/>
                <a:gd name="connsiteY453" fmla="*/ 506063 h 1049655"/>
                <a:gd name="connsiteX454" fmla="*/ 6477 w 1216913"/>
                <a:gd name="connsiteY454" fmla="*/ 509397 h 1049655"/>
                <a:gd name="connsiteX455" fmla="*/ 1714 w 1216913"/>
                <a:gd name="connsiteY455" fmla="*/ 509969 h 1049655"/>
                <a:gd name="connsiteX456" fmla="*/ 4191 w 1216913"/>
                <a:gd name="connsiteY456" fmla="*/ 516065 h 1049655"/>
                <a:gd name="connsiteX457" fmla="*/ 952 w 1216913"/>
                <a:gd name="connsiteY457" fmla="*/ 516541 h 1049655"/>
                <a:gd name="connsiteX458" fmla="*/ 0 w 1216913"/>
                <a:gd name="connsiteY458" fmla="*/ 521398 h 1049655"/>
                <a:gd name="connsiteX459" fmla="*/ 8477 w 1216913"/>
                <a:gd name="connsiteY459" fmla="*/ 525208 h 1049655"/>
                <a:gd name="connsiteX460" fmla="*/ 10858 w 1216913"/>
                <a:gd name="connsiteY460" fmla="*/ 531304 h 1049655"/>
                <a:gd name="connsiteX461" fmla="*/ 10287 w 1216913"/>
                <a:gd name="connsiteY461" fmla="*/ 539401 h 1049655"/>
                <a:gd name="connsiteX462" fmla="*/ 12859 w 1216913"/>
                <a:gd name="connsiteY462" fmla="*/ 534257 h 1049655"/>
                <a:gd name="connsiteX463" fmla="*/ 16192 w 1216913"/>
                <a:gd name="connsiteY463" fmla="*/ 535400 h 1049655"/>
                <a:gd name="connsiteX464" fmla="*/ 18192 w 1216913"/>
                <a:gd name="connsiteY464" fmla="*/ 538353 h 1049655"/>
                <a:gd name="connsiteX465" fmla="*/ 19050 w 1216913"/>
                <a:gd name="connsiteY465" fmla="*/ 544640 h 1049655"/>
                <a:gd name="connsiteX466" fmla="*/ 23622 w 1216913"/>
                <a:gd name="connsiteY466" fmla="*/ 555307 h 1049655"/>
                <a:gd name="connsiteX467" fmla="*/ 26956 w 1216913"/>
                <a:gd name="connsiteY467" fmla="*/ 556546 h 1049655"/>
                <a:gd name="connsiteX468" fmla="*/ 29146 w 1216913"/>
                <a:gd name="connsiteY468" fmla="*/ 561023 h 1049655"/>
                <a:gd name="connsiteX469" fmla="*/ 36195 w 1216913"/>
                <a:gd name="connsiteY469" fmla="*/ 553688 h 1049655"/>
                <a:gd name="connsiteX470" fmla="*/ 39338 w 1216913"/>
                <a:gd name="connsiteY470" fmla="*/ 553307 h 1049655"/>
                <a:gd name="connsiteX471" fmla="*/ 44291 w 1216913"/>
                <a:gd name="connsiteY471" fmla="*/ 554260 h 1049655"/>
                <a:gd name="connsiteX472" fmla="*/ 43720 w 1216913"/>
                <a:gd name="connsiteY472" fmla="*/ 549593 h 1049655"/>
                <a:gd name="connsiteX473" fmla="*/ 45053 w 1216913"/>
                <a:gd name="connsiteY473" fmla="*/ 547783 h 1049655"/>
                <a:gd name="connsiteX474" fmla="*/ 50197 w 1216913"/>
                <a:gd name="connsiteY474" fmla="*/ 550354 h 1049655"/>
                <a:gd name="connsiteX475" fmla="*/ 53911 w 1216913"/>
                <a:gd name="connsiteY475" fmla="*/ 541877 h 1049655"/>
                <a:gd name="connsiteX476" fmla="*/ 57055 w 1216913"/>
                <a:gd name="connsiteY476" fmla="*/ 541401 h 1049655"/>
                <a:gd name="connsiteX477" fmla="*/ 54578 w 1216913"/>
                <a:gd name="connsiteY477" fmla="*/ 559403 h 1049655"/>
                <a:gd name="connsiteX478" fmla="*/ 48482 w 1216913"/>
                <a:gd name="connsiteY478" fmla="*/ 574643 h 1049655"/>
                <a:gd name="connsiteX479" fmla="*/ 46101 w 1216913"/>
                <a:gd name="connsiteY479" fmla="*/ 581311 h 1049655"/>
                <a:gd name="connsiteX480" fmla="*/ 49244 w 1216913"/>
                <a:gd name="connsiteY480" fmla="*/ 580930 h 1049655"/>
                <a:gd name="connsiteX481" fmla="*/ 49721 w 1216913"/>
                <a:gd name="connsiteY481" fmla="*/ 584073 h 1049655"/>
                <a:gd name="connsiteX482" fmla="*/ 51435 w 1216913"/>
                <a:gd name="connsiteY482" fmla="*/ 585407 h 1049655"/>
                <a:gd name="connsiteX483" fmla="*/ 51911 w 1216913"/>
                <a:gd name="connsiteY483" fmla="*/ 588645 h 1049655"/>
                <a:gd name="connsiteX484" fmla="*/ 53245 w 1216913"/>
                <a:gd name="connsiteY484" fmla="*/ 586835 h 1049655"/>
                <a:gd name="connsiteX485" fmla="*/ 56197 w 1216913"/>
                <a:gd name="connsiteY485" fmla="*/ 584835 h 1049655"/>
                <a:gd name="connsiteX486" fmla="*/ 58007 w 1216913"/>
                <a:gd name="connsiteY486" fmla="*/ 586264 h 1049655"/>
                <a:gd name="connsiteX487" fmla="*/ 59531 w 1216913"/>
                <a:gd name="connsiteY487" fmla="*/ 585978 h 1049655"/>
                <a:gd name="connsiteX488" fmla="*/ 59150 w 1216913"/>
                <a:gd name="connsiteY488" fmla="*/ 582835 h 1049655"/>
                <a:gd name="connsiteX489" fmla="*/ 62293 w 1216913"/>
                <a:gd name="connsiteY489" fmla="*/ 582454 h 1049655"/>
                <a:gd name="connsiteX490" fmla="*/ 63532 w 1216913"/>
                <a:gd name="connsiteY490" fmla="*/ 579120 h 1049655"/>
                <a:gd name="connsiteX491" fmla="*/ 65437 w 1216913"/>
                <a:gd name="connsiteY491" fmla="*/ 582073 h 1049655"/>
                <a:gd name="connsiteX492" fmla="*/ 70009 w 1216913"/>
                <a:gd name="connsiteY492" fmla="*/ 579882 h 1049655"/>
                <a:gd name="connsiteX493" fmla="*/ 73533 w 1216913"/>
                <a:gd name="connsiteY493" fmla="*/ 582644 h 1049655"/>
                <a:gd name="connsiteX494" fmla="*/ 76486 w 1216913"/>
                <a:gd name="connsiteY494" fmla="*/ 580644 h 1049655"/>
                <a:gd name="connsiteX495" fmla="*/ 78867 w 1216913"/>
                <a:gd name="connsiteY495" fmla="*/ 586740 h 1049655"/>
                <a:gd name="connsiteX496" fmla="*/ 85439 w 1216913"/>
                <a:gd name="connsiteY496" fmla="*/ 587502 h 1049655"/>
                <a:gd name="connsiteX497" fmla="*/ 88963 w 1216913"/>
                <a:gd name="connsiteY497" fmla="*/ 590264 h 1049655"/>
                <a:gd name="connsiteX498" fmla="*/ 93535 w 1216913"/>
                <a:gd name="connsiteY498" fmla="*/ 588074 h 1049655"/>
                <a:gd name="connsiteX499" fmla="*/ 95536 w 1216913"/>
                <a:gd name="connsiteY499" fmla="*/ 591026 h 1049655"/>
                <a:gd name="connsiteX500" fmla="*/ 96107 w 1216913"/>
                <a:gd name="connsiteY500" fmla="*/ 595789 h 1049655"/>
                <a:gd name="connsiteX501" fmla="*/ 97250 w 1216913"/>
                <a:gd name="connsiteY501" fmla="*/ 592455 h 1049655"/>
                <a:gd name="connsiteX502" fmla="*/ 98869 w 1216913"/>
                <a:gd name="connsiteY502" fmla="*/ 592265 h 1049655"/>
                <a:gd name="connsiteX503" fmla="*/ 104204 w 1216913"/>
                <a:gd name="connsiteY503" fmla="*/ 596360 h 1049655"/>
                <a:gd name="connsiteX504" fmla="*/ 104394 w 1216913"/>
                <a:gd name="connsiteY504" fmla="*/ 597979 h 1049655"/>
                <a:gd name="connsiteX505" fmla="*/ 104584 w 1216913"/>
                <a:gd name="connsiteY505" fmla="*/ 599503 h 1049655"/>
                <a:gd name="connsiteX506" fmla="*/ 109538 w 1216913"/>
                <a:gd name="connsiteY506" fmla="*/ 600551 h 1049655"/>
                <a:gd name="connsiteX507" fmla="*/ 115633 w 1216913"/>
                <a:gd name="connsiteY507" fmla="*/ 598075 h 1049655"/>
                <a:gd name="connsiteX508" fmla="*/ 127254 w 1216913"/>
                <a:gd name="connsiteY508" fmla="*/ 601408 h 1049655"/>
                <a:gd name="connsiteX509" fmla="*/ 126301 w 1216913"/>
                <a:gd name="connsiteY509" fmla="*/ 606361 h 1049655"/>
                <a:gd name="connsiteX510" fmla="*/ 128302 w 1216913"/>
                <a:gd name="connsiteY510" fmla="*/ 609314 h 1049655"/>
                <a:gd name="connsiteX511" fmla="*/ 130873 w 1216913"/>
                <a:gd name="connsiteY511" fmla="*/ 604171 h 1049655"/>
                <a:gd name="connsiteX512" fmla="*/ 133636 w 1216913"/>
                <a:gd name="connsiteY512" fmla="*/ 600647 h 1049655"/>
                <a:gd name="connsiteX513" fmla="*/ 143065 w 1216913"/>
                <a:gd name="connsiteY513" fmla="*/ 599408 h 1049655"/>
                <a:gd name="connsiteX514" fmla="*/ 150400 w 1216913"/>
                <a:gd name="connsiteY514" fmla="*/ 593693 h 1049655"/>
                <a:gd name="connsiteX515" fmla="*/ 157829 w 1216913"/>
                <a:gd name="connsiteY515" fmla="*/ 602361 h 1049655"/>
                <a:gd name="connsiteX516" fmla="*/ 159258 w 1216913"/>
                <a:gd name="connsiteY516" fmla="*/ 600551 h 1049655"/>
                <a:gd name="connsiteX517" fmla="*/ 161258 w 1216913"/>
                <a:gd name="connsiteY517" fmla="*/ 603504 h 1049655"/>
                <a:gd name="connsiteX518" fmla="*/ 172688 w 1216913"/>
                <a:gd name="connsiteY518" fmla="*/ 618077 h 1049655"/>
                <a:gd name="connsiteX519" fmla="*/ 174688 w 1216913"/>
                <a:gd name="connsiteY519" fmla="*/ 621030 h 1049655"/>
                <a:gd name="connsiteX520" fmla="*/ 177832 w 1216913"/>
                <a:gd name="connsiteY520" fmla="*/ 620649 h 1049655"/>
                <a:gd name="connsiteX521" fmla="*/ 180022 w 1216913"/>
                <a:gd name="connsiteY521" fmla="*/ 625221 h 1049655"/>
                <a:gd name="connsiteX522" fmla="*/ 186976 w 1216913"/>
                <a:gd name="connsiteY522" fmla="*/ 629126 h 1049655"/>
                <a:gd name="connsiteX523" fmla="*/ 189357 w 1216913"/>
                <a:gd name="connsiteY523" fmla="*/ 635222 h 1049655"/>
                <a:gd name="connsiteX524" fmla="*/ 186404 w 1216913"/>
                <a:gd name="connsiteY524" fmla="*/ 637223 h 1049655"/>
                <a:gd name="connsiteX525" fmla="*/ 186785 w 1216913"/>
                <a:gd name="connsiteY525" fmla="*/ 640366 h 1049655"/>
                <a:gd name="connsiteX526" fmla="*/ 193929 w 1216913"/>
                <a:gd name="connsiteY526" fmla="*/ 645890 h 1049655"/>
                <a:gd name="connsiteX527" fmla="*/ 195834 w 1216913"/>
                <a:gd name="connsiteY527" fmla="*/ 648843 h 1049655"/>
                <a:gd name="connsiteX528" fmla="*/ 189738 w 1216913"/>
                <a:gd name="connsiteY528" fmla="*/ 651224 h 1049655"/>
                <a:gd name="connsiteX529" fmla="*/ 196882 w 1216913"/>
                <a:gd name="connsiteY529" fmla="*/ 656749 h 1049655"/>
                <a:gd name="connsiteX530" fmla="*/ 199072 w 1216913"/>
                <a:gd name="connsiteY530" fmla="*/ 661226 h 1049655"/>
                <a:gd name="connsiteX531" fmla="*/ 198691 w 1216913"/>
                <a:gd name="connsiteY531" fmla="*/ 658082 h 1049655"/>
                <a:gd name="connsiteX532" fmla="*/ 203359 w 1216913"/>
                <a:gd name="connsiteY532" fmla="*/ 657511 h 1049655"/>
                <a:gd name="connsiteX533" fmla="*/ 207740 w 1216913"/>
                <a:gd name="connsiteY533" fmla="*/ 653701 h 1049655"/>
                <a:gd name="connsiteX534" fmla="*/ 215170 w 1216913"/>
                <a:gd name="connsiteY534" fmla="*/ 649605 h 1049655"/>
                <a:gd name="connsiteX535" fmla="*/ 230219 w 1216913"/>
                <a:gd name="connsiteY535" fmla="*/ 654082 h 1049655"/>
                <a:gd name="connsiteX536" fmla="*/ 235363 w 1216913"/>
                <a:gd name="connsiteY536" fmla="*/ 656653 h 1049655"/>
                <a:gd name="connsiteX537" fmla="*/ 238125 w 1216913"/>
                <a:gd name="connsiteY537" fmla="*/ 653034 h 1049655"/>
                <a:gd name="connsiteX538" fmla="*/ 241459 w 1216913"/>
                <a:gd name="connsiteY538" fmla="*/ 654272 h 1049655"/>
                <a:gd name="connsiteX539" fmla="*/ 249746 w 1216913"/>
                <a:gd name="connsiteY539" fmla="*/ 669227 h 1049655"/>
                <a:gd name="connsiteX540" fmla="*/ 253174 w 1216913"/>
                <a:gd name="connsiteY540" fmla="*/ 670370 h 1049655"/>
                <a:gd name="connsiteX541" fmla="*/ 266319 w 1216913"/>
                <a:gd name="connsiteY541" fmla="*/ 673513 h 1049655"/>
                <a:gd name="connsiteX542" fmla="*/ 274225 w 1216913"/>
                <a:gd name="connsiteY542" fmla="*/ 659702 h 1049655"/>
                <a:gd name="connsiteX543" fmla="*/ 272415 w 1216913"/>
                <a:gd name="connsiteY543" fmla="*/ 658368 h 1049655"/>
                <a:gd name="connsiteX544" fmla="*/ 273653 w 1216913"/>
                <a:gd name="connsiteY544" fmla="*/ 654939 h 1049655"/>
                <a:gd name="connsiteX545" fmla="*/ 276225 w 1216913"/>
                <a:gd name="connsiteY545" fmla="*/ 649795 h 1049655"/>
                <a:gd name="connsiteX546" fmla="*/ 279559 w 1216913"/>
                <a:gd name="connsiteY546" fmla="*/ 651034 h 1049655"/>
                <a:gd name="connsiteX547" fmla="*/ 281559 w 1216913"/>
                <a:gd name="connsiteY547" fmla="*/ 653986 h 1049655"/>
                <a:gd name="connsiteX548" fmla="*/ 289846 w 1216913"/>
                <a:gd name="connsiteY548" fmla="*/ 656082 h 1049655"/>
                <a:gd name="connsiteX549" fmla="*/ 298323 w 1216913"/>
                <a:gd name="connsiteY549" fmla="*/ 659797 h 1049655"/>
                <a:gd name="connsiteX550" fmla="*/ 310134 w 1216913"/>
                <a:gd name="connsiteY550" fmla="*/ 677608 h 1049655"/>
                <a:gd name="connsiteX551" fmla="*/ 316897 w 1216913"/>
                <a:gd name="connsiteY551" fmla="*/ 679895 h 1049655"/>
                <a:gd name="connsiteX552" fmla="*/ 329565 w 1216913"/>
                <a:gd name="connsiteY552" fmla="*/ 678275 h 1049655"/>
                <a:gd name="connsiteX553" fmla="*/ 330327 w 1216913"/>
                <a:gd name="connsiteY553" fmla="*/ 671798 h 1049655"/>
                <a:gd name="connsiteX554" fmla="*/ 336423 w 1216913"/>
                <a:gd name="connsiteY554" fmla="*/ 669417 h 1049655"/>
                <a:gd name="connsiteX555" fmla="*/ 340519 w 1216913"/>
                <a:gd name="connsiteY555" fmla="*/ 664083 h 1049655"/>
                <a:gd name="connsiteX556" fmla="*/ 343852 w 1216913"/>
                <a:gd name="connsiteY556" fmla="*/ 665226 h 1049655"/>
                <a:gd name="connsiteX557" fmla="*/ 346234 w 1216913"/>
                <a:gd name="connsiteY557" fmla="*/ 658558 h 1049655"/>
                <a:gd name="connsiteX558" fmla="*/ 354901 w 1216913"/>
                <a:gd name="connsiteY558" fmla="*/ 663893 h 1049655"/>
                <a:gd name="connsiteX559" fmla="*/ 359664 w 1216913"/>
                <a:gd name="connsiteY559" fmla="*/ 663226 h 1049655"/>
                <a:gd name="connsiteX560" fmla="*/ 365569 w 1216913"/>
                <a:gd name="connsiteY560" fmla="*/ 672084 h 1049655"/>
                <a:gd name="connsiteX561" fmla="*/ 371761 w 1216913"/>
                <a:gd name="connsiteY561" fmla="*/ 669703 h 1049655"/>
                <a:gd name="connsiteX562" fmla="*/ 375094 w 1216913"/>
                <a:gd name="connsiteY562" fmla="*/ 670941 h 1049655"/>
                <a:gd name="connsiteX563" fmla="*/ 378619 w 1216913"/>
                <a:gd name="connsiteY563" fmla="*/ 673703 h 1049655"/>
                <a:gd name="connsiteX564" fmla="*/ 376047 w 1216913"/>
                <a:gd name="connsiteY564" fmla="*/ 678847 h 1049655"/>
                <a:gd name="connsiteX565" fmla="*/ 379476 w 1216913"/>
                <a:gd name="connsiteY565" fmla="*/ 679990 h 1049655"/>
                <a:gd name="connsiteX566" fmla="*/ 381190 w 1216913"/>
                <a:gd name="connsiteY566" fmla="*/ 681323 h 1049655"/>
                <a:gd name="connsiteX567" fmla="*/ 384810 w 1216913"/>
                <a:gd name="connsiteY567" fmla="*/ 684086 h 1049655"/>
                <a:gd name="connsiteX568" fmla="*/ 387953 w 1216913"/>
                <a:gd name="connsiteY568" fmla="*/ 683704 h 1049655"/>
                <a:gd name="connsiteX569" fmla="*/ 390334 w 1216913"/>
                <a:gd name="connsiteY569" fmla="*/ 677037 h 1049655"/>
                <a:gd name="connsiteX570" fmla="*/ 391858 w 1216913"/>
                <a:gd name="connsiteY570" fmla="*/ 676751 h 1049655"/>
                <a:gd name="connsiteX571" fmla="*/ 391287 w 1216913"/>
                <a:gd name="connsiteY571" fmla="*/ 684848 h 1049655"/>
                <a:gd name="connsiteX572" fmla="*/ 393287 w 1216913"/>
                <a:gd name="connsiteY572" fmla="*/ 687800 h 1049655"/>
                <a:gd name="connsiteX573" fmla="*/ 391668 w 1216913"/>
                <a:gd name="connsiteY573" fmla="*/ 687991 h 1049655"/>
                <a:gd name="connsiteX574" fmla="*/ 390715 w 1216913"/>
                <a:gd name="connsiteY574" fmla="*/ 692944 h 1049655"/>
                <a:gd name="connsiteX575" fmla="*/ 389096 w 1216913"/>
                <a:gd name="connsiteY575" fmla="*/ 693134 h 1049655"/>
                <a:gd name="connsiteX576" fmla="*/ 382905 w 1216913"/>
                <a:gd name="connsiteY576" fmla="*/ 706755 h 1049655"/>
                <a:gd name="connsiteX577" fmla="*/ 381857 w 1216913"/>
                <a:gd name="connsiteY577" fmla="*/ 711708 h 1049655"/>
                <a:gd name="connsiteX578" fmla="*/ 385096 w 1216913"/>
                <a:gd name="connsiteY578" fmla="*/ 724186 h 1049655"/>
                <a:gd name="connsiteX579" fmla="*/ 386715 w 1216913"/>
                <a:gd name="connsiteY579" fmla="*/ 736759 h 1049655"/>
                <a:gd name="connsiteX580" fmla="*/ 389096 w 1216913"/>
                <a:gd name="connsiteY580" fmla="*/ 742855 h 1049655"/>
                <a:gd name="connsiteX581" fmla="*/ 409861 w 1216913"/>
                <a:gd name="connsiteY581" fmla="*/ 754666 h 1049655"/>
                <a:gd name="connsiteX582" fmla="*/ 410242 w 1216913"/>
                <a:gd name="connsiteY582" fmla="*/ 757809 h 1049655"/>
                <a:gd name="connsiteX583" fmla="*/ 411956 w 1216913"/>
                <a:gd name="connsiteY583" fmla="*/ 759238 h 1049655"/>
                <a:gd name="connsiteX584" fmla="*/ 414528 w 1216913"/>
                <a:gd name="connsiteY584" fmla="*/ 754094 h 1049655"/>
                <a:gd name="connsiteX585" fmla="*/ 416338 w 1216913"/>
                <a:gd name="connsiteY585" fmla="*/ 755428 h 1049655"/>
                <a:gd name="connsiteX586" fmla="*/ 417671 w 1216913"/>
                <a:gd name="connsiteY586" fmla="*/ 753713 h 1049655"/>
                <a:gd name="connsiteX587" fmla="*/ 419290 w 1216913"/>
                <a:gd name="connsiteY587" fmla="*/ 753523 h 1049655"/>
                <a:gd name="connsiteX588" fmla="*/ 419671 w 1216913"/>
                <a:gd name="connsiteY588" fmla="*/ 743807 h 1049655"/>
                <a:gd name="connsiteX589" fmla="*/ 422243 w 1216913"/>
                <a:gd name="connsiteY589" fmla="*/ 738664 h 1049655"/>
                <a:gd name="connsiteX590" fmla="*/ 422243 w 1216913"/>
                <a:gd name="connsiteY590" fmla="*/ 738664 h 1049655"/>
                <a:gd name="connsiteX591" fmla="*/ 429292 w 1216913"/>
                <a:gd name="connsiteY591" fmla="*/ 744188 h 1049655"/>
                <a:gd name="connsiteX592" fmla="*/ 437864 w 1216913"/>
                <a:gd name="connsiteY592" fmla="*/ 760762 h 1049655"/>
                <a:gd name="connsiteX593" fmla="*/ 448532 w 1216913"/>
                <a:gd name="connsiteY593" fmla="*/ 769049 h 1049655"/>
                <a:gd name="connsiteX594" fmla="*/ 444817 w 1216913"/>
                <a:gd name="connsiteY594" fmla="*/ 777526 h 1049655"/>
                <a:gd name="connsiteX595" fmla="*/ 450151 w 1216913"/>
                <a:gd name="connsiteY595" fmla="*/ 781622 h 1049655"/>
                <a:gd name="connsiteX596" fmla="*/ 451294 w 1216913"/>
                <a:gd name="connsiteY596" fmla="*/ 791051 h 1049655"/>
                <a:gd name="connsiteX597" fmla="*/ 453104 w 1216913"/>
                <a:gd name="connsiteY597" fmla="*/ 792480 h 1049655"/>
                <a:gd name="connsiteX598" fmla="*/ 455866 w 1216913"/>
                <a:gd name="connsiteY598" fmla="*/ 788956 h 1049655"/>
                <a:gd name="connsiteX599" fmla="*/ 459010 w 1216913"/>
                <a:gd name="connsiteY599" fmla="*/ 788479 h 1049655"/>
                <a:gd name="connsiteX600" fmla="*/ 464820 w 1216913"/>
                <a:gd name="connsiteY600" fmla="*/ 795814 h 1049655"/>
                <a:gd name="connsiteX601" fmla="*/ 473488 w 1216913"/>
                <a:gd name="connsiteY601" fmla="*/ 801148 h 1049655"/>
                <a:gd name="connsiteX602" fmla="*/ 479965 w 1216913"/>
                <a:gd name="connsiteY602" fmla="*/ 801910 h 1049655"/>
                <a:gd name="connsiteX603" fmla="*/ 484537 w 1216913"/>
                <a:gd name="connsiteY603" fmla="*/ 812482 h 1049655"/>
                <a:gd name="connsiteX604" fmla="*/ 490061 w 1216913"/>
                <a:gd name="connsiteY604" fmla="*/ 818198 h 1049655"/>
                <a:gd name="connsiteX605" fmla="*/ 493681 w 1216913"/>
                <a:gd name="connsiteY605" fmla="*/ 820960 h 1049655"/>
                <a:gd name="connsiteX606" fmla="*/ 495586 w 1216913"/>
                <a:gd name="connsiteY606" fmla="*/ 823912 h 1049655"/>
                <a:gd name="connsiteX607" fmla="*/ 497967 w 1216913"/>
                <a:gd name="connsiteY607" fmla="*/ 830008 h 1049655"/>
                <a:gd name="connsiteX608" fmla="*/ 501110 w 1216913"/>
                <a:gd name="connsiteY608" fmla="*/ 829628 h 1049655"/>
                <a:gd name="connsiteX609" fmla="*/ 501777 w 1216913"/>
                <a:gd name="connsiteY609" fmla="*/ 834390 h 1049655"/>
                <a:gd name="connsiteX610" fmla="*/ 503301 w 1216913"/>
                <a:gd name="connsiteY610" fmla="*/ 834199 h 1049655"/>
                <a:gd name="connsiteX611" fmla="*/ 501967 w 1216913"/>
                <a:gd name="connsiteY611" fmla="*/ 836009 h 1049655"/>
                <a:gd name="connsiteX612" fmla="*/ 504158 w 1216913"/>
                <a:gd name="connsiteY612" fmla="*/ 840486 h 1049655"/>
                <a:gd name="connsiteX613" fmla="*/ 507111 w 1216913"/>
                <a:gd name="connsiteY613" fmla="*/ 838486 h 1049655"/>
                <a:gd name="connsiteX614" fmla="*/ 508921 w 1216913"/>
                <a:gd name="connsiteY614" fmla="*/ 839915 h 1049655"/>
                <a:gd name="connsiteX615" fmla="*/ 508063 w 1216913"/>
                <a:gd name="connsiteY615" fmla="*/ 846391 h 1049655"/>
                <a:gd name="connsiteX616" fmla="*/ 513207 w 1216913"/>
                <a:gd name="connsiteY616" fmla="*/ 848963 h 1049655"/>
                <a:gd name="connsiteX617" fmla="*/ 516350 w 1216913"/>
                <a:gd name="connsiteY617" fmla="*/ 848582 h 1049655"/>
                <a:gd name="connsiteX618" fmla="*/ 513397 w 1216913"/>
                <a:gd name="connsiteY618" fmla="*/ 850582 h 1049655"/>
                <a:gd name="connsiteX619" fmla="*/ 515017 w 1216913"/>
                <a:gd name="connsiteY619" fmla="*/ 850297 h 1049655"/>
                <a:gd name="connsiteX620" fmla="*/ 513874 w 1216913"/>
                <a:gd name="connsiteY620" fmla="*/ 853726 h 1049655"/>
                <a:gd name="connsiteX621" fmla="*/ 517207 w 1216913"/>
                <a:gd name="connsiteY621" fmla="*/ 854869 h 1049655"/>
                <a:gd name="connsiteX622" fmla="*/ 513302 w 1216913"/>
                <a:gd name="connsiteY622" fmla="*/ 861822 h 1049655"/>
                <a:gd name="connsiteX623" fmla="*/ 508349 w 1216913"/>
                <a:gd name="connsiteY623" fmla="*/ 860774 h 1049655"/>
                <a:gd name="connsiteX624" fmla="*/ 501205 w 1216913"/>
                <a:gd name="connsiteY624" fmla="*/ 868108 h 1049655"/>
                <a:gd name="connsiteX625" fmla="*/ 501682 w 1216913"/>
                <a:gd name="connsiteY625" fmla="*/ 871252 h 1049655"/>
                <a:gd name="connsiteX626" fmla="*/ 504825 w 1216913"/>
                <a:gd name="connsiteY626" fmla="*/ 870871 h 1049655"/>
                <a:gd name="connsiteX627" fmla="*/ 508730 w 1216913"/>
                <a:gd name="connsiteY627" fmla="*/ 876776 h 1049655"/>
                <a:gd name="connsiteX628" fmla="*/ 509588 w 1216913"/>
                <a:gd name="connsiteY628" fmla="*/ 883063 h 1049655"/>
                <a:gd name="connsiteX629" fmla="*/ 516731 w 1216913"/>
                <a:gd name="connsiteY629" fmla="*/ 888587 h 1049655"/>
                <a:gd name="connsiteX630" fmla="*/ 521398 w 1216913"/>
                <a:gd name="connsiteY630" fmla="*/ 875157 h 1049655"/>
                <a:gd name="connsiteX631" fmla="*/ 522732 w 1216913"/>
                <a:gd name="connsiteY631" fmla="*/ 873443 h 1049655"/>
                <a:gd name="connsiteX632" fmla="*/ 527494 w 1216913"/>
                <a:gd name="connsiteY632" fmla="*/ 872776 h 1049655"/>
                <a:gd name="connsiteX633" fmla="*/ 526923 w 1216913"/>
                <a:gd name="connsiteY633" fmla="*/ 868108 h 1049655"/>
                <a:gd name="connsiteX634" fmla="*/ 529685 w 1216913"/>
                <a:gd name="connsiteY634" fmla="*/ 864489 h 1049655"/>
                <a:gd name="connsiteX635" fmla="*/ 539972 w 1216913"/>
                <a:gd name="connsiteY635" fmla="*/ 869632 h 1049655"/>
                <a:gd name="connsiteX636" fmla="*/ 540925 w 1216913"/>
                <a:gd name="connsiteY636" fmla="*/ 864679 h 1049655"/>
                <a:gd name="connsiteX637" fmla="*/ 544068 w 1216913"/>
                <a:gd name="connsiteY637" fmla="*/ 864299 h 1049655"/>
                <a:gd name="connsiteX638" fmla="*/ 544258 w 1216913"/>
                <a:gd name="connsiteY638" fmla="*/ 865823 h 1049655"/>
                <a:gd name="connsiteX639" fmla="*/ 541687 w 1216913"/>
                <a:gd name="connsiteY639" fmla="*/ 870966 h 1049655"/>
                <a:gd name="connsiteX640" fmla="*/ 548830 w 1216913"/>
                <a:gd name="connsiteY640" fmla="*/ 876490 h 1049655"/>
                <a:gd name="connsiteX641" fmla="*/ 546449 w 1216913"/>
                <a:gd name="connsiteY641" fmla="*/ 883253 h 1049655"/>
                <a:gd name="connsiteX642" fmla="*/ 548068 w 1216913"/>
                <a:gd name="connsiteY642" fmla="*/ 883063 h 1049655"/>
                <a:gd name="connsiteX643" fmla="*/ 548449 w 1216913"/>
                <a:gd name="connsiteY643" fmla="*/ 886206 h 1049655"/>
                <a:gd name="connsiteX644" fmla="*/ 550259 w 1216913"/>
                <a:gd name="connsiteY644" fmla="*/ 887540 h 1049655"/>
                <a:gd name="connsiteX645" fmla="*/ 549497 w 1216913"/>
                <a:gd name="connsiteY645" fmla="*/ 894016 h 1049655"/>
                <a:gd name="connsiteX646" fmla="*/ 554164 w 1216913"/>
                <a:gd name="connsiteY646" fmla="*/ 893445 h 1049655"/>
                <a:gd name="connsiteX647" fmla="*/ 554641 w 1216913"/>
                <a:gd name="connsiteY647" fmla="*/ 896588 h 1049655"/>
                <a:gd name="connsiteX648" fmla="*/ 576643 w 1216913"/>
                <a:gd name="connsiteY648" fmla="*/ 893826 h 1049655"/>
                <a:gd name="connsiteX649" fmla="*/ 583216 w 1216913"/>
                <a:gd name="connsiteY649" fmla="*/ 894588 h 1049655"/>
                <a:gd name="connsiteX650" fmla="*/ 590264 w 1216913"/>
                <a:gd name="connsiteY650" fmla="*/ 900112 h 1049655"/>
                <a:gd name="connsiteX651" fmla="*/ 591502 w 1216913"/>
                <a:gd name="connsiteY651" fmla="*/ 896683 h 1049655"/>
                <a:gd name="connsiteX652" fmla="*/ 594646 w 1216913"/>
                <a:gd name="connsiteY652" fmla="*/ 896303 h 1049655"/>
                <a:gd name="connsiteX653" fmla="*/ 600551 w 1216913"/>
                <a:gd name="connsiteY653" fmla="*/ 905161 h 1049655"/>
                <a:gd name="connsiteX654" fmla="*/ 607885 w 1216913"/>
                <a:gd name="connsiteY654" fmla="*/ 912304 h 1049655"/>
                <a:gd name="connsiteX655" fmla="*/ 609314 w 1216913"/>
                <a:gd name="connsiteY655" fmla="*/ 923353 h 1049655"/>
                <a:gd name="connsiteX656" fmla="*/ 608933 w 1216913"/>
                <a:gd name="connsiteY656" fmla="*/ 932974 h 1049655"/>
                <a:gd name="connsiteX657" fmla="*/ 615696 w 1216913"/>
                <a:gd name="connsiteY657" fmla="*/ 935355 h 1049655"/>
                <a:gd name="connsiteX658" fmla="*/ 617030 w 1216913"/>
                <a:gd name="connsiteY658" fmla="*/ 933545 h 1049655"/>
                <a:gd name="connsiteX659" fmla="*/ 623316 w 1216913"/>
                <a:gd name="connsiteY659" fmla="*/ 932783 h 1049655"/>
                <a:gd name="connsiteX660" fmla="*/ 638365 w 1216913"/>
                <a:gd name="connsiteY660" fmla="*/ 924401 h 1049655"/>
                <a:gd name="connsiteX661" fmla="*/ 652367 w 1216913"/>
                <a:gd name="connsiteY661" fmla="*/ 921068 h 1049655"/>
                <a:gd name="connsiteX662" fmla="*/ 659987 w 1216913"/>
                <a:gd name="connsiteY662" fmla="*/ 918496 h 1049655"/>
                <a:gd name="connsiteX663" fmla="*/ 668083 w 1216913"/>
                <a:gd name="connsiteY663" fmla="*/ 919067 h 1049655"/>
                <a:gd name="connsiteX664" fmla="*/ 669703 w 1216913"/>
                <a:gd name="connsiteY664" fmla="*/ 918877 h 1049655"/>
                <a:gd name="connsiteX665" fmla="*/ 673989 w 1216913"/>
                <a:gd name="connsiteY665" fmla="*/ 915067 h 1049655"/>
                <a:gd name="connsiteX666" fmla="*/ 682276 w 1216913"/>
                <a:gd name="connsiteY666" fmla="*/ 917257 h 1049655"/>
                <a:gd name="connsiteX667" fmla="*/ 685229 w 1216913"/>
                <a:gd name="connsiteY667" fmla="*/ 915257 h 1049655"/>
                <a:gd name="connsiteX668" fmla="*/ 691801 w 1216913"/>
                <a:gd name="connsiteY668" fmla="*/ 916019 h 1049655"/>
                <a:gd name="connsiteX669" fmla="*/ 702373 w 1216913"/>
                <a:gd name="connsiteY669" fmla="*/ 911447 h 1049655"/>
                <a:gd name="connsiteX670" fmla="*/ 710374 w 1216913"/>
                <a:gd name="connsiteY670" fmla="*/ 923258 h 1049655"/>
                <a:gd name="connsiteX671" fmla="*/ 725900 w 1216913"/>
                <a:gd name="connsiteY671" fmla="*/ 919734 h 1049655"/>
                <a:gd name="connsiteX672" fmla="*/ 730282 w 1216913"/>
                <a:gd name="connsiteY672" fmla="*/ 915924 h 1049655"/>
                <a:gd name="connsiteX673" fmla="*/ 733806 w 1216913"/>
                <a:gd name="connsiteY673" fmla="*/ 918686 h 1049655"/>
                <a:gd name="connsiteX674" fmla="*/ 738378 w 1216913"/>
                <a:gd name="connsiteY674" fmla="*/ 929354 h 1049655"/>
                <a:gd name="connsiteX675" fmla="*/ 749617 w 1216913"/>
                <a:gd name="connsiteY675" fmla="*/ 942308 h 1049655"/>
                <a:gd name="connsiteX676" fmla="*/ 758190 w 1216913"/>
                <a:gd name="connsiteY676" fmla="*/ 946023 h 1049655"/>
                <a:gd name="connsiteX677" fmla="*/ 767239 w 1216913"/>
                <a:gd name="connsiteY677" fmla="*/ 941641 h 1049655"/>
                <a:gd name="connsiteX678" fmla="*/ 770382 w 1216913"/>
                <a:gd name="connsiteY678" fmla="*/ 941261 h 1049655"/>
                <a:gd name="connsiteX679" fmla="*/ 774382 w 1216913"/>
                <a:gd name="connsiteY679" fmla="*/ 947166 h 1049655"/>
                <a:gd name="connsiteX680" fmla="*/ 794290 w 1216913"/>
                <a:gd name="connsiteY680" fmla="*/ 952690 h 1049655"/>
                <a:gd name="connsiteX681" fmla="*/ 798766 w 1216913"/>
                <a:gd name="connsiteY681" fmla="*/ 950500 h 1049655"/>
                <a:gd name="connsiteX682" fmla="*/ 803910 w 1216913"/>
                <a:gd name="connsiteY682" fmla="*/ 940213 h 1049655"/>
                <a:gd name="connsiteX683" fmla="*/ 808672 w 1216913"/>
                <a:gd name="connsiteY683" fmla="*/ 939641 h 1049655"/>
                <a:gd name="connsiteX684" fmla="*/ 820102 w 1216913"/>
                <a:gd name="connsiteY684" fmla="*/ 941356 h 1049655"/>
                <a:gd name="connsiteX685" fmla="*/ 826770 w 1216913"/>
                <a:gd name="connsiteY685" fmla="*/ 943737 h 1049655"/>
                <a:gd name="connsiteX686" fmla="*/ 830580 w 1216913"/>
                <a:gd name="connsiteY686" fmla="*/ 948023 h 1049655"/>
                <a:gd name="connsiteX687" fmla="*/ 833342 w 1216913"/>
                <a:gd name="connsiteY687" fmla="*/ 970121 h 1049655"/>
                <a:gd name="connsiteX688" fmla="*/ 838962 w 1216913"/>
                <a:gd name="connsiteY688" fmla="*/ 975836 h 1049655"/>
                <a:gd name="connsiteX689" fmla="*/ 845058 w 1216913"/>
                <a:gd name="connsiteY689" fmla="*/ 986314 h 1049655"/>
                <a:gd name="connsiteX690" fmla="*/ 850011 w 1216913"/>
                <a:gd name="connsiteY690" fmla="*/ 987266 h 1049655"/>
                <a:gd name="connsiteX691" fmla="*/ 858679 w 1216913"/>
                <a:gd name="connsiteY691" fmla="*/ 992600 h 1049655"/>
                <a:gd name="connsiteX692" fmla="*/ 864965 w 1216913"/>
                <a:gd name="connsiteY692" fmla="*/ 991743 h 1049655"/>
                <a:gd name="connsiteX693" fmla="*/ 869347 w 1216913"/>
                <a:gd name="connsiteY693" fmla="*/ 1000792 h 1049655"/>
                <a:gd name="connsiteX694" fmla="*/ 871347 w 1216913"/>
                <a:gd name="connsiteY694" fmla="*/ 1003840 h 1049655"/>
                <a:gd name="connsiteX695" fmla="*/ 869728 w 1216913"/>
                <a:gd name="connsiteY695" fmla="*/ 1004030 h 1049655"/>
                <a:gd name="connsiteX696" fmla="*/ 871728 w 1216913"/>
                <a:gd name="connsiteY696" fmla="*/ 1006983 h 1049655"/>
                <a:gd name="connsiteX697" fmla="*/ 876490 w 1216913"/>
                <a:gd name="connsiteY697" fmla="*/ 1006316 h 1049655"/>
                <a:gd name="connsiteX698" fmla="*/ 881253 w 1216913"/>
                <a:gd name="connsiteY698" fmla="*/ 1018603 h 1049655"/>
                <a:gd name="connsiteX699" fmla="*/ 876014 w 1216913"/>
                <a:gd name="connsiteY699" fmla="*/ 1040130 h 1049655"/>
                <a:gd name="connsiteX700" fmla="*/ 883825 w 1216913"/>
                <a:gd name="connsiteY700" fmla="*/ 1039082 h 1049655"/>
                <a:gd name="connsiteX701" fmla="*/ 888778 w 1216913"/>
                <a:gd name="connsiteY701" fmla="*/ 1040035 h 1049655"/>
                <a:gd name="connsiteX702" fmla="*/ 895922 w 1216913"/>
                <a:gd name="connsiteY702" fmla="*/ 1045559 h 1049655"/>
                <a:gd name="connsiteX703" fmla="*/ 900684 w 1216913"/>
                <a:gd name="connsiteY703" fmla="*/ 1044988 h 1049655"/>
                <a:gd name="connsiteX704" fmla="*/ 905827 w 1216913"/>
                <a:gd name="connsiteY704" fmla="*/ 1047560 h 1049655"/>
                <a:gd name="connsiteX705" fmla="*/ 910114 w 1216913"/>
                <a:gd name="connsiteY705" fmla="*/ 1043749 h 1049655"/>
                <a:gd name="connsiteX706" fmla="*/ 926878 w 1216913"/>
                <a:gd name="connsiteY706" fmla="*/ 1049655 h 1049655"/>
                <a:gd name="connsiteX707" fmla="*/ 936403 w 1216913"/>
                <a:gd name="connsiteY707" fmla="*/ 1048417 h 1049655"/>
                <a:gd name="connsiteX708" fmla="*/ 937355 w 1216913"/>
                <a:gd name="connsiteY708" fmla="*/ 1043464 h 1049655"/>
                <a:gd name="connsiteX709" fmla="*/ 940117 w 1216913"/>
                <a:gd name="connsiteY709" fmla="*/ 1039940 h 1049655"/>
                <a:gd name="connsiteX710" fmla="*/ 955072 w 1216913"/>
                <a:gd name="connsiteY710" fmla="*/ 1031653 h 1049655"/>
                <a:gd name="connsiteX711" fmla="*/ 956024 w 1216913"/>
                <a:gd name="connsiteY711" fmla="*/ 1026700 h 1049655"/>
                <a:gd name="connsiteX712" fmla="*/ 955262 w 1216913"/>
                <a:gd name="connsiteY712" fmla="*/ 1020413 h 1049655"/>
                <a:gd name="connsiteX713" fmla="*/ 958024 w 1216913"/>
                <a:gd name="connsiteY713" fmla="*/ 1016794 h 1049655"/>
                <a:gd name="connsiteX714" fmla="*/ 959167 w 1216913"/>
                <a:gd name="connsiteY714" fmla="*/ 1013460 h 1049655"/>
                <a:gd name="connsiteX715" fmla="*/ 968026 w 1216913"/>
                <a:gd name="connsiteY715" fmla="*/ 1007554 h 1049655"/>
                <a:gd name="connsiteX716" fmla="*/ 962692 w 1216913"/>
                <a:gd name="connsiteY716" fmla="*/ 1003364 h 1049655"/>
                <a:gd name="connsiteX717" fmla="*/ 967073 w 1216913"/>
                <a:gd name="connsiteY717" fmla="*/ 999649 h 1049655"/>
                <a:gd name="connsiteX718" fmla="*/ 971740 w 1216913"/>
                <a:gd name="connsiteY718" fmla="*/ 998982 h 1049655"/>
                <a:gd name="connsiteX719" fmla="*/ 972598 w 1216913"/>
                <a:gd name="connsiteY719" fmla="*/ 992505 h 1049655"/>
                <a:gd name="connsiteX720" fmla="*/ 984409 w 1216913"/>
                <a:gd name="connsiteY720" fmla="*/ 984599 h 1049655"/>
                <a:gd name="connsiteX721" fmla="*/ 987933 w 1216913"/>
                <a:gd name="connsiteY721" fmla="*/ 974503 h 1049655"/>
                <a:gd name="connsiteX722" fmla="*/ 990886 w 1216913"/>
                <a:gd name="connsiteY722" fmla="*/ 972503 h 1049655"/>
                <a:gd name="connsiteX723" fmla="*/ 993172 w 1216913"/>
                <a:gd name="connsiteY723" fmla="*/ 965835 h 1049655"/>
                <a:gd name="connsiteX724" fmla="*/ 999554 w 1216913"/>
                <a:gd name="connsiteY724" fmla="*/ 964978 h 1049655"/>
                <a:gd name="connsiteX725" fmla="*/ 1000887 w 1216913"/>
                <a:gd name="connsiteY725" fmla="*/ 963263 h 1049655"/>
                <a:gd name="connsiteX726" fmla="*/ 1002030 w 1216913"/>
                <a:gd name="connsiteY726" fmla="*/ 959834 h 1049655"/>
                <a:gd name="connsiteX727" fmla="*/ 998315 w 1216913"/>
                <a:gd name="connsiteY727" fmla="*/ 955548 h 1049655"/>
                <a:gd name="connsiteX728" fmla="*/ 997458 w 1216913"/>
                <a:gd name="connsiteY728" fmla="*/ 949261 h 1049655"/>
                <a:gd name="connsiteX729" fmla="*/ 993743 w 1216913"/>
                <a:gd name="connsiteY729" fmla="*/ 944880 h 1049655"/>
                <a:gd name="connsiteX730" fmla="*/ 991552 w 1216913"/>
                <a:gd name="connsiteY730" fmla="*/ 940403 h 1049655"/>
                <a:gd name="connsiteX731" fmla="*/ 992505 w 1216913"/>
                <a:gd name="connsiteY731" fmla="*/ 935450 h 1049655"/>
                <a:gd name="connsiteX732" fmla="*/ 997077 w 1216913"/>
                <a:gd name="connsiteY732" fmla="*/ 933260 h 1049655"/>
                <a:gd name="connsiteX733" fmla="*/ 996886 w 1216913"/>
                <a:gd name="connsiteY733" fmla="*/ 931640 h 1049655"/>
                <a:gd name="connsiteX734" fmla="*/ 997648 w 1216913"/>
                <a:gd name="connsiteY734" fmla="*/ 925163 h 1049655"/>
                <a:gd name="connsiteX735" fmla="*/ 1002221 w 1216913"/>
                <a:gd name="connsiteY735" fmla="*/ 922973 h 1049655"/>
                <a:gd name="connsiteX736" fmla="*/ 1003554 w 1216913"/>
                <a:gd name="connsiteY736" fmla="*/ 921163 h 1049655"/>
                <a:gd name="connsiteX737" fmla="*/ 1015555 w 1216913"/>
                <a:gd name="connsiteY737" fmla="*/ 914876 h 1049655"/>
                <a:gd name="connsiteX738" fmla="*/ 1023842 w 1216913"/>
                <a:gd name="connsiteY738" fmla="*/ 916972 h 1049655"/>
                <a:gd name="connsiteX739" fmla="*/ 1031367 w 1216913"/>
                <a:gd name="connsiteY739" fmla="*/ 912876 h 1049655"/>
                <a:gd name="connsiteX740" fmla="*/ 1034320 w 1216913"/>
                <a:gd name="connsiteY740" fmla="*/ 910876 h 1049655"/>
                <a:gd name="connsiteX741" fmla="*/ 1036130 w 1216913"/>
                <a:gd name="connsiteY741" fmla="*/ 912209 h 1049655"/>
                <a:gd name="connsiteX742" fmla="*/ 1038320 w 1216913"/>
                <a:gd name="connsiteY742" fmla="*/ 916781 h 1049655"/>
                <a:gd name="connsiteX743" fmla="*/ 1039463 w 1216913"/>
                <a:gd name="connsiteY743" fmla="*/ 926211 h 1049655"/>
                <a:gd name="connsiteX744" fmla="*/ 1049369 w 1216913"/>
                <a:gd name="connsiteY744" fmla="*/ 928211 h 1049655"/>
                <a:gd name="connsiteX745" fmla="*/ 1058418 w 1216913"/>
                <a:gd name="connsiteY745" fmla="*/ 923830 h 1049655"/>
                <a:gd name="connsiteX746" fmla="*/ 1065181 w 1216913"/>
                <a:gd name="connsiteY746" fmla="*/ 926211 h 1049655"/>
                <a:gd name="connsiteX747" fmla="*/ 1066133 w 1216913"/>
                <a:gd name="connsiteY747" fmla="*/ 921258 h 1049655"/>
                <a:gd name="connsiteX748" fmla="*/ 1074039 w 1216913"/>
                <a:gd name="connsiteY748" fmla="*/ 920210 h 1049655"/>
                <a:gd name="connsiteX749" fmla="*/ 1076992 w 1216913"/>
                <a:gd name="connsiteY749" fmla="*/ 918305 h 1049655"/>
                <a:gd name="connsiteX750" fmla="*/ 1081659 w 1216913"/>
                <a:gd name="connsiteY750" fmla="*/ 917639 h 1049655"/>
                <a:gd name="connsiteX751" fmla="*/ 1085850 w 1216913"/>
                <a:gd name="connsiteY751" fmla="*/ 912304 h 1049655"/>
                <a:gd name="connsiteX752" fmla="*/ 1087374 w 1216913"/>
                <a:gd name="connsiteY752" fmla="*/ 912114 h 1049655"/>
                <a:gd name="connsiteX753" fmla="*/ 1094137 w 1216913"/>
                <a:gd name="connsiteY753" fmla="*/ 914495 h 1049655"/>
                <a:gd name="connsiteX754" fmla="*/ 1094708 w 1216913"/>
                <a:gd name="connsiteY754" fmla="*/ 919162 h 1049655"/>
                <a:gd name="connsiteX755" fmla="*/ 1098042 w 1216913"/>
                <a:gd name="connsiteY755" fmla="*/ 920401 h 1049655"/>
                <a:gd name="connsiteX756" fmla="*/ 1102995 w 1216913"/>
                <a:gd name="connsiteY756" fmla="*/ 921353 h 1049655"/>
                <a:gd name="connsiteX757" fmla="*/ 1113663 w 1216913"/>
                <a:gd name="connsiteY757" fmla="*/ 916781 h 1049655"/>
                <a:gd name="connsiteX758" fmla="*/ 1120616 w 1216913"/>
                <a:gd name="connsiteY758" fmla="*/ 920686 h 1049655"/>
                <a:gd name="connsiteX759" fmla="*/ 1131475 w 1216913"/>
                <a:gd name="connsiteY759" fmla="*/ 930593 h 1049655"/>
                <a:gd name="connsiteX760" fmla="*/ 1139761 w 1216913"/>
                <a:gd name="connsiteY760" fmla="*/ 932688 h 1049655"/>
                <a:gd name="connsiteX761" fmla="*/ 1142524 w 1216913"/>
                <a:gd name="connsiteY761" fmla="*/ 929164 h 1049655"/>
                <a:gd name="connsiteX762" fmla="*/ 1145857 w 1216913"/>
                <a:gd name="connsiteY762" fmla="*/ 930307 h 1049655"/>
                <a:gd name="connsiteX763" fmla="*/ 1161383 w 1216913"/>
                <a:gd name="connsiteY763" fmla="*/ 913924 h 1049655"/>
                <a:gd name="connsiteX764" fmla="*/ 1168717 w 1216913"/>
                <a:gd name="connsiteY764" fmla="*/ 908209 h 1049655"/>
                <a:gd name="connsiteX765" fmla="*/ 1168908 w 1216913"/>
                <a:gd name="connsiteY765" fmla="*/ 909733 h 1049655"/>
                <a:gd name="connsiteX766" fmla="*/ 1176623 w 1216913"/>
                <a:gd name="connsiteY766" fmla="*/ 907161 h 1049655"/>
                <a:gd name="connsiteX767" fmla="*/ 1181862 w 1216913"/>
                <a:gd name="connsiteY767" fmla="*/ 898493 h 1049655"/>
                <a:gd name="connsiteX768" fmla="*/ 1189958 w 1216913"/>
                <a:gd name="connsiteY768" fmla="*/ 899065 h 1049655"/>
                <a:gd name="connsiteX769" fmla="*/ 1202817 w 1216913"/>
                <a:gd name="connsiteY769" fmla="*/ 898970 h 1049655"/>
                <a:gd name="connsiteX770" fmla="*/ 1212056 w 1216913"/>
                <a:gd name="connsiteY770" fmla="*/ 896207 h 1049655"/>
                <a:gd name="connsiteX771" fmla="*/ 1211866 w 1216913"/>
                <a:gd name="connsiteY771" fmla="*/ 894683 h 1049655"/>
                <a:gd name="connsiteX772" fmla="*/ 1205579 w 1216913"/>
                <a:gd name="connsiteY772" fmla="*/ 895445 h 1049655"/>
                <a:gd name="connsiteX773" fmla="*/ 1201579 w 1216913"/>
                <a:gd name="connsiteY773" fmla="*/ 889540 h 1049655"/>
                <a:gd name="connsiteX774" fmla="*/ 1205770 w 1216913"/>
                <a:gd name="connsiteY774" fmla="*/ 884206 h 1049655"/>
                <a:gd name="connsiteX775" fmla="*/ 1205103 w 1216913"/>
                <a:gd name="connsiteY775" fmla="*/ 879443 h 1049655"/>
                <a:gd name="connsiteX776" fmla="*/ 1204913 w 1216913"/>
                <a:gd name="connsiteY776" fmla="*/ 877919 h 1049655"/>
                <a:gd name="connsiteX777" fmla="*/ 1207865 w 1216913"/>
                <a:gd name="connsiteY777" fmla="*/ 875919 h 1049655"/>
                <a:gd name="connsiteX778" fmla="*/ 1209675 w 1216913"/>
                <a:gd name="connsiteY778" fmla="*/ 877253 h 1049655"/>
                <a:gd name="connsiteX779" fmla="*/ 1215390 w 1216913"/>
                <a:gd name="connsiteY779" fmla="*/ 871728 h 1049655"/>
                <a:gd name="connsiteX780" fmla="*/ 1216914 w 1216913"/>
                <a:gd name="connsiteY780" fmla="*/ 858774 h 1049655"/>
                <a:gd name="connsiteX781" fmla="*/ 1209770 w 1216913"/>
                <a:gd name="connsiteY781" fmla="*/ 853249 h 1049655"/>
                <a:gd name="connsiteX782" fmla="*/ 1209770 w 1216913"/>
                <a:gd name="connsiteY782" fmla="*/ 853249 h 1049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</a:cxnLst>
              <a:rect l="l" t="t" r="r" b="b"/>
              <a:pathLst>
                <a:path w="1216913" h="1049655">
                  <a:moveTo>
                    <a:pt x="1209770" y="853249"/>
                  </a:moveTo>
                  <a:lnTo>
                    <a:pt x="1205674" y="845725"/>
                  </a:lnTo>
                  <a:lnTo>
                    <a:pt x="1200912" y="846296"/>
                  </a:lnTo>
                  <a:lnTo>
                    <a:pt x="1200722" y="844772"/>
                  </a:lnTo>
                  <a:lnTo>
                    <a:pt x="1199674" y="836866"/>
                  </a:lnTo>
                  <a:lnTo>
                    <a:pt x="1195959" y="832580"/>
                  </a:lnTo>
                  <a:lnTo>
                    <a:pt x="1196911" y="827627"/>
                  </a:lnTo>
                  <a:lnTo>
                    <a:pt x="1194340" y="819912"/>
                  </a:lnTo>
                  <a:lnTo>
                    <a:pt x="1197292" y="817912"/>
                  </a:lnTo>
                  <a:lnTo>
                    <a:pt x="1199007" y="806482"/>
                  </a:lnTo>
                  <a:lnTo>
                    <a:pt x="1192721" y="807244"/>
                  </a:lnTo>
                  <a:lnTo>
                    <a:pt x="1190911" y="805910"/>
                  </a:lnTo>
                  <a:lnTo>
                    <a:pt x="1187958" y="795052"/>
                  </a:lnTo>
                  <a:lnTo>
                    <a:pt x="1188530" y="786956"/>
                  </a:lnTo>
                  <a:lnTo>
                    <a:pt x="1183005" y="781240"/>
                  </a:lnTo>
                  <a:lnTo>
                    <a:pt x="1185577" y="776097"/>
                  </a:lnTo>
                  <a:lnTo>
                    <a:pt x="1181005" y="765524"/>
                  </a:lnTo>
                  <a:lnTo>
                    <a:pt x="1179195" y="764095"/>
                  </a:lnTo>
                  <a:lnTo>
                    <a:pt x="1178433" y="757809"/>
                  </a:lnTo>
                  <a:lnTo>
                    <a:pt x="1173671" y="745617"/>
                  </a:lnTo>
                  <a:lnTo>
                    <a:pt x="1174432" y="739045"/>
                  </a:lnTo>
                  <a:lnTo>
                    <a:pt x="1173004" y="727996"/>
                  </a:lnTo>
                  <a:lnTo>
                    <a:pt x="1173766" y="721519"/>
                  </a:lnTo>
                  <a:lnTo>
                    <a:pt x="1171194" y="713803"/>
                  </a:lnTo>
                  <a:lnTo>
                    <a:pt x="1169384" y="712470"/>
                  </a:lnTo>
                  <a:lnTo>
                    <a:pt x="1163098" y="713232"/>
                  </a:lnTo>
                  <a:lnTo>
                    <a:pt x="1152620" y="706565"/>
                  </a:lnTo>
                  <a:lnTo>
                    <a:pt x="1143381" y="709327"/>
                  </a:lnTo>
                  <a:lnTo>
                    <a:pt x="1141571" y="707993"/>
                  </a:lnTo>
                  <a:lnTo>
                    <a:pt x="1131570" y="717232"/>
                  </a:lnTo>
                  <a:lnTo>
                    <a:pt x="1124998" y="716470"/>
                  </a:lnTo>
                  <a:lnTo>
                    <a:pt x="1122616" y="710374"/>
                  </a:lnTo>
                  <a:lnTo>
                    <a:pt x="1117473" y="707803"/>
                  </a:lnTo>
                  <a:lnTo>
                    <a:pt x="1112996" y="709994"/>
                  </a:lnTo>
                  <a:lnTo>
                    <a:pt x="1108043" y="709041"/>
                  </a:lnTo>
                  <a:lnTo>
                    <a:pt x="1108996" y="704088"/>
                  </a:lnTo>
                  <a:lnTo>
                    <a:pt x="1105472" y="701326"/>
                  </a:lnTo>
                  <a:lnTo>
                    <a:pt x="1106424" y="696373"/>
                  </a:lnTo>
                  <a:lnTo>
                    <a:pt x="1101661" y="697040"/>
                  </a:lnTo>
                  <a:lnTo>
                    <a:pt x="1102709" y="692086"/>
                  </a:lnTo>
                  <a:lnTo>
                    <a:pt x="1101852" y="685800"/>
                  </a:lnTo>
                  <a:lnTo>
                    <a:pt x="1090422" y="683990"/>
                  </a:lnTo>
                  <a:lnTo>
                    <a:pt x="1081183" y="686753"/>
                  </a:lnTo>
                  <a:lnTo>
                    <a:pt x="1077754" y="685610"/>
                  </a:lnTo>
                  <a:lnTo>
                    <a:pt x="1073467" y="689420"/>
                  </a:lnTo>
                  <a:lnTo>
                    <a:pt x="1072420" y="681514"/>
                  </a:lnTo>
                  <a:lnTo>
                    <a:pt x="1069086" y="680276"/>
                  </a:lnTo>
                  <a:lnTo>
                    <a:pt x="1065943" y="680752"/>
                  </a:lnTo>
                  <a:lnTo>
                    <a:pt x="1062990" y="682657"/>
                  </a:lnTo>
                  <a:lnTo>
                    <a:pt x="1062609" y="679514"/>
                  </a:lnTo>
                  <a:lnTo>
                    <a:pt x="1054513" y="678942"/>
                  </a:lnTo>
                  <a:lnTo>
                    <a:pt x="1050893" y="676180"/>
                  </a:lnTo>
                  <a:lnTo>
                    <a:pt x="1050512" y="673036"/>
                  </a:lnTo>
                  <a:lnTo>
                    <a:pt x="1048702" y="671703"/>
                  </a:lnTo>
                  <a:lnTo>
                    <a:pt x="1044988" y="667322"/>
                  </a:lnTo>
                  <a:lnTo>
                    <a:pt x="1041844" y="667703"/>
                  </a:lnTo>
                  <a:lnTo>
                    <a:pt x="1044607" y="664178"/>
                  </a:lnTo>
                  <a:lnTo>
                    <a:pt x="1042416" y="659606"/>
                  </a:lnTo>
                  <a:lnTo>
                    <a:pt x="1044702" y="640080"/>
                  </a:lnTo>
                  <a:lnTo>
                    <a:pt x="1040987" y="635794"/>
                  </a:lnTo>
                  <a:lnTo>
                    <a:pt x="1036034" y="634841"/>
                  </a:lnTo>
                  <a:lnTo>
                    <a:pt x="1032510" y="632079"/>
                  </a:lnTo>
                  <a:lnTo>
                    <a:pt x="1033272" y="625507"/>
                  </a:lnTo>
                  <a:lnTo>
                    <a:pt x="1030033" y="613124"/>
                  </a:lnTo>
                  <a:lnTo>
                    <a:pt x="1024890" y="610553"/>
                  </a:lnTo>
                  <a:lnTo>
                    <a:pt x="1023938" y="602647"/>
                  </a:lnTo>
                  <a:lnTo>
                    <a:pt x="1020127" y="598361"/>
                  </a:lnTo>
                  <a:lnTo>
                    <a:pt x="1020889" y="591788"/>
                  </a:lnTo>
                  <a:lnTo>
                    <a:pt x="1018699" y="587311"/>
                  </a:lnTo>
                  <a:lnTo>
                    <a:pt x="1016794" y="584359"/>
                  </a:lnTo>
                  <a:lnTo>
                    <a:pt x="1016127" y="579596"/>
                  </a:lnTo>
                  <a:lnTo>
                    <a:pt x="1009079" y="574072"/>
                  </a:lnTo>
                  <a:lnTo>
                    <a:pt x="1006221" y="564832"/>
                  </a:lnTo>
                  <a:lnTo>
                    <a:pt x="1007459" y="561499"/>
                  </a:lnTo>
                  <a:lnTo>
                    <a:pt x="1003840" y="558736"/>
                  </a:lnTo>
                  <a:lnTo>
                    <a:pt x="1003268" y="553974"/>
                  </a:lnTo>
                  <a:lnTo>
                    <a:pt x="999744" y="551212"/>
                  </a:lnTo>
                  <a:lnTo>
                    <a:pt x="996124" y="548449"/>
                  </a:lnTo>
                  <a:lnTo>
                    <a:pt x="996886" y="541973"/>
                  </a:lnTo>
                  <a:lnTo>
                    <a:pt x="1007173" y="534257"/>
                  </a:lnTo>
                  <a:lnTo>
                    <a:pt x="1011079" y="527304"/>
                  </a:lnTo>
                  <a:lnTo>
                    <a:pt x="1009364" y="525970"/>
                  </a:lnTo>
                  <a:lnTo>
                    <a:pt x="1007173" y="521398"/>
                  </a:lnTo>
                  <a:lnTo>
                    <a:pt x="1010317" y="521018"/>
                  </a:lnTo>
                  <a:lnTo>
                    <a:pt x="1011269" y="516065"/>
                  </a:lnTo>
                  <a:lnTo>
                    <a:pt x="1020794" y="514922"/>
                  </a:lnTo>
                  <a:lnTo>
                    <a:pt x="1021747" y="509969"/>
                  </a:lnTo>
                  <a:lnTo>
                    <a:pt x="1017937" y="505587"/>
                  </a:lnTo>
                  <a:lnTo>
                    <a:pt x="1009650" y="503491"/>
                  </a:lnTo>
                  <a:lnTo>
                    <a:pt x="1001744" y="504444"/>
                  </a:lnTo>
                  <a:lnTo>
                    <a:pt x="1001363" y="501301"/>
                  </a:lnTo>
                  <a:lnTo>
                    <a:pt x="996029" y="497205"/>
                  </a:lnTo>
                  <a:lnTo>
                    <a:pt x="995648" y="493966"/>
                  </a:lnTo>
                  <a:lnTo>
                    <a:pt x="991838" y="489680"/>
                  </a:lnTo>
                  <a:lnTo>
                    <a:pt x="991457" y="486537"/>
                  </a:lnTo>
                  <a:lnTo>
                    <a:pt x="995839" y="482727"/>
                  </a:lnTo>
                  <a:lnTo>
                    <a:pt x="996982" y="479393"/>
                  </a:lnTo>
                  <a:lnTo>
                    <a:pt x="994791" y="474916"/>
                  </a:lnTo>
                  <a:lnTo>
                    <a:pt x="997363" y="469773"/>
                  </a:lnTo>
                  <a:lnTo>
                    <a:pt x="1000887" y="459677"/>
                  </a:lnTo>
                  <a:lnTo>
                    <a:pt x="995743" y="457105"/>
                  </a:lnTo>
                  <a:lnTo>
                    <a:pt x="996886" y="453771"/>
                  </a:lnTo>
                  <a:lnTo>
                    <a:pt x="995172" y="452342"/>
                  </a:lnTo>
                  <a:lnTo>
                    <a:pt x="998315" y="451961"/>
                  </a:lnTo>
                  <a:lnTo>
                    <a:pt x="993743" y="441293"/>
                  </a:lnTo>
                  <a:lnTo>
                    <a:pt x="992124" y="441579"/>
                  </a:lnTo>
                  <a:lnTo>
                    <a:pt x="984694" y="445675"/>
                  </a:lnTo>
                  <a:lnTo>
                    <a:pt x="974026" y="437388"/>
                  </a:lnTo>
                  <a:lnTo>
                    <a:pt x="969264" y="438055"/>
                  </a:lnTo>
                  <a:lnTo>
                    <a:pt x="972979" y="442341"/>
                  </a:lnTo>
                  <a:lnTo>
                    <a:pt x="971264" y="453771"/>
                  </a:lnTo>
                  <a:lnTo>
                    <a:pt x="976408" y="456343"/>
                  </a:lnTo>
                  <a:lnTo>
                    <a:pt x="970883" y="463486"/>
                  </a:lnTo>
                  <a:lnTo>
                    <a:pt x="966597" y="467297"/>
                  </a:lnTo>
                  <a:lnTo>
                    <a:pt x="963454" y="467678"/>
                  </a:lnTo>
                  <a:lnTo>
                    <a:pt x="960215" y="468058"/>
                  </a:lnTo>
                  <a:lnTo>
                    <a:pt x="958310" y="465106"/>
                  </a:lnTo>
                  <a:lnTo>
                    <a:pt x="953929" y="468820"/>
                  </a:lnTo>
                  <a:lnTo>
                    <a:pt x="955357" y="467106"/>
                  </a:lnTo>
                  <a:lnTo>
                    <a:pt x="951738" y="464344"/>
                  </a:lnTo>
                  <a:lnTo>
                    <a:pt x="947261" y="466535"/>
                  </a:lnTo>
                  <a:lnTo>
                    <a:pt x="940117" y="461010"/>
                  </a:lnTo>
                  <a:lnTo>
                    <a:pt x="937546" y="466153"/>
                  </a:lnTo>
                  <a:lnTo>
                    <a:pt x="933831" y="461772"/>
                  </a:lnTo>
                  <a:lnTo>
                    <a:pt x="931640" y="457295"/>
                  </a:lnTo>
                  <a:lnTo>
                    <a:pt x="928021" y="454533"/>
                  </a:lnTo>
                  <a:lnTo>
                    <a:pt x="921163" y="450628"/>
                  </a:lnTo>
                  <a:lnTo>
                    <a:pt x="918591" y="442912"/>
                  </a:lnTo>
                  <a:lnTo>
                    <a:pt x="905732" y="442912"/>
                  </a:lnTo>
                  <a:lnTo>
                    <a:pt x="900398" y="438817"/>
                  </a:lnTo>
                  <a:lnTo>
                    <a:pt x="897064" y="437578"/>
                  </a:lnTo>
                  <a:lnTo>
                    <a:pt x="895636" y="426529"/>
                  </a:lnTo>
                  <a:lnTo>
                    <a:pt x="875157" y="429197"/>
                  </a:lnTo>
                  <a:lnTo>
                    <a:pt x="872204" y="431197"/>
                  </a:lnTo>
                  <a:lnTo>
                    <a:pt x="862489" y="430816"/>
                  </a:lnTo>
                  <a:lnTo>
                    <a:pt x="851249" y="430625"/>
                  </a:lnTo>
                  <a:lnTo>
                    <a:pt x="847439" y="426339"/>
                  </a:lnTo>
                  <a:lnTo>
                    <a:pt x="827151" y="417671"/>
                  </a:lnTo>
                  <a:lnTo>
                    <a:pt x="826770" y="427291"/>
                  </a:lnTo>
                  <a:lnTo>
                    <a:pt x="830104" y="428530"/>
                  </a:lnTo>
                  <a:lnTo>
                    <a:pt x="836676" y="429292"/>
                  </a:lnTo>
                  <a:lnTo>
                    <a:pt x="838581" y="432244"/>
                  </a:lnTo>
                  <a:lnTo>
                    <a:pt x="830961" y="434816"/>
                  </a:lnTo>
                  <a:lnTo>
                    <a:pt x="832961" y="437769"/>
                  </a:lnTo>
                  <a:lnTo>
                    <a:pt x="834676" y="439103"/>
                  </a:lnTo>
                  <a:lnTo>
                    <a:pt x="830389" y="442912"/>
                  </a:lnTo>
                  <a:lnTo>
                    <a:pt x="826770" y="440150"/>
                  </a:lnTo>
                  <a:lnTo>
                    <a:pt x="826389" y="437007"/>
                  </a:lnTo>
                  <a:lnTo>
                    <a:pt x="823246" y="437388"/>
                  </a:lnTo>
                  <a:lnTo>
                    <a:pt x="824198" y="445294"/>
                  </a:lnTo>
                  <a:lnTo>
                    <a:pt x="819150" y="455581"/>
                  </a:lnTo>
                  <a:lnTo>
                    <a:pt x="814197" y="454628"/>
                  </a:lnTo>
                  <a:lnTo>
                    <a:pt x="813816" y="451390"/>
                  </a:lnTo>
                  <a:lnTo>
                    <a:pt x="805148" y="446151"/>
                  </a:lnTo>
                  <a:lnTo>
                    <a:pt x="802767" y="440055"/>
                  </a:lnTo>
                  <a:lnTo>
                    <a:pt x="796385" y="440817"/>
                  </a:lnTo>
                  <a:lnTo>
                    <a:pt x="788289" y="427387"/>
                  </a:lnTo>
                  <a:lnTo>
                    <a:pt x="789813" y="414433"/>
                  </a:lnTo>
                  <a:lnTo>
                    <a:pt x="786860" y="403574"/>
                  </a:lnTo>
                  <a:lnTo>
                    <a:pt x="784860" y="400622"/>
                  </a:lnTo>
                  <a:lnTo>
                    <a:pt x="758380" y="394335"/>
                  </a:lnTo>
                  <a:lnTo>
                    <a:pt x="749141" y="397097"/>
                  </a:lnTo>
                  <a:lnTo>
                    <a:pt x="746188" y="399098"/>
                  </a:lnTo>
                  <a:lnTo>
                    <a:pt x="742188" y="393192"/>
                  </a:lnTo>
                  <a:lnTo>
                    <a:pt x="743236" y="388239"/>
                  </a:lnTo>
                  <a:lnTo>
                    <a:pt x="740378" y="379000"/>
                  </a:lnTo>
                  <a:lnTo>
                    <a:pt x="735235" y="363569"/>
                  </a:lnTo>
                  <a:lnTo>
                    <a:pt x="724567" y="368141"/>
                  </a:lnTo>
                  <a:lnTo>
                    <a:pt x="722471" y="363665"/>
                  </a:lnTo>
                  <a:lnTo>
                    <a:pt x="719233" y="364046"/>
                  </a:lnTo>
                  <a:lnTo>
                    <a:pt x="717518" y="362712"/>
                  </a:lnTo>
                  <a:lnTo>
                    <a:pt x="711232" y="363474"/>
                  </a:lnTo>
                  <a:lnTo>
                    <a:pt x="711422" y="365093"/>
                  </a:lnTo>
                  <a:lnTo>
                    <a:pt x="708184" y="365474"/>
                  </a:lnTo>
                  <a:lnTo>
                    <a:pt x="708469" y="366998"/>
                  </a:lnTo>
                  <a:lnTo>
                    <a:pt x="709231" y="373380"/>
                  </a:lnTo>
                  <a:lnTo>
                    <a:pt x="708279" y="378238"/>
                  </a:lnTo>
                  <a:lnTo>
                    <a:pt x="699421" y="384238"/>
                  </a:lnTo>
                  <a:lnTo>
                    <a:pt x="693230" y="373761"/>
                  </a:lnTo>
                  <a:lnTo>
                    <a:pt x="686372" y="369856"/>
                  </a:lnTo>
                  <a:lnTo>
                    <a:pt x="684371" y="366903"/>
                  </a:lnTo>
                  <a:lnTo>
                    <a:pt x="671893" y="370046"/>
                  </a:lnTo>
                  <a:lnTo>
                    <a:pt x="664845" y="364522"/>
                  </a:lnTo>
                  <a:lnTo>
                    <a:pt x="659035" y="357283"/>
                  </a:lnTo>
                  <a:lnTo>
                    <a:pt x="654748" y="348234"/>
                  </a:lnTo>
                  <a:lnTo>
                    <a:pt x="657701" y="346234"/>
                  </a:lnTo>
                  <a:lnTo>
                    <a:pt x="661606" y="339280"/>
                  </a:lnTo>
                  <a:lnTo>
                    <a:pt x="654463" y="333851"/>
                  </a:lnTo>
                  <a:lnTo>
                    <a:pt x="652272" y="329279"/>
                  </a:lnTo>
                  <a:lnTo>
                    <a:pt x="649129" y="329660"/>
                  </a:lnTo>
                  <a:lnTo>
                    <a:pt x="650462" y="315087"/>
                  </a:lnTo>
                  <a:lnTo>
                    <a:pt x="648748" y="313658"/>
                  </a:lnTo>
                  <a:lnTo>
                    <a:pt x="643985" y="314325"/>
                  </a:lnTo>
                  <a:lnTo>
                    <a:pt x="635508" y="310610"/>
                  </a:lnTo>
                  <a:lnTo>
                    <a:pt x="634841" y="305848"/>
                  </a:lnTo>
                  <a:lnTo>
                    <a:pt x="633127" y="304419"/>
                  </a:lnTo>
                  <a:lnTo>
                    <a:pt x="630746" y="298323"/>
                  </a:lnTo>
                  <a:lnTo>
                    <a:pt x="622840" y="299371"/>
                  </a:lnTo>
                  <a:lnTo>
                    <a:pt x="620649" y="294799"/>
                  </a:lnTo>
                  <a:lnTo>
                    <a:pt x="615696" y="293846"/>
                  </a:lnTo>
                  <a:lnTo>
                    <a:pt x="613886" y="292513"/>
                  </a:lnTo>
                  <a:lnTo>
                    <a:pt x="610552" y="291275"/>
                  </a:lnTo>
                  <a:lnTo>
                    <a:pt x="596170" y="304324"/>
                  </a:lnTo>
                  <a:lnTo>
                    <a:pt x="591693" y="306515"/>
                  </a:lnTo>
                  <a:lnTo>
                    <a:pt x="592646" y="314420"/>
                  </a:lnTo>
                  <a:lnTo>
                    <a:pt x="592264" y="324136"/>
                  </a:lnTo>
                  <a:lnTo>
                    <a:pt x="596646" y="333184"/>
                  </a:lnTo>
                  <a:lnTo>
                    <a:pt x="602932" y="332327"/>
                  </a:lnTo>
                  <a:lnTo>
                    <a:pt x="604933" y="322517"/>
                  </a:lnTo>
                  <a:lnTo>
                    <a:pt x="611410" y="323278"/>
                  </a:lnTo>
                  <a:lnTo>
                    <a:pt x="615029" y="326041"/>
                  </a:lnTo>
                  <a:lnTo>
                    <a:pt x="619697" y="325374"/>
                  </a:lnTo>
                  <a:lnTo>
                    <a:pt x="624078" y="334518"/>
                  </a:lnTo>
                  <a:lnTo>
                    <a:pt x="622744" y="336232"/>
                  </a:lnTo>
                  <a:lnTo>
                    <a:pt x="622935" y="337852"/>
                  </a:lnTo>
                  <a:lnTo>
                    <a:pt x="618554" y="341567"/>
                  </a:lnTo>
                  <a:lnTo>
                    <a:pt x="622173" y="344329"/>
                  </a:lnTo>
                  <a:lnTo>
                    <a:pt x="622744" y="349091"/>
                  </a:lnTo>
                  <a:lnTo>
                    <a:pt x="619601" y="349472"/>
                  </a:lnTo>
                  <a:lnTo>
                    <a:pt x="618172" y="351282"/>
                  </a:lnTo>
                  <a:lnTo>
                    <a:pt x="621982" y="355568"/>
                  </a:lnTo>
                  <a:lnTo>
                    <a:pt x="621030" y="360521"/>
                  </a:lnTo>
                  <a:lnTo>
                    <a:pt x="617410" y="357759"/>
                  </a:lnTo>
                  <a:lnTo>
                    <a:pt x="617220" y="356235"/>
                  </a:lnTo>
                  <a:lnTo>
                    <a:pt x="613696" y="353473"/>
                  </a:lnTo>
                  <a:lnTo>
                    <a:pt x="594741" y="355854"/>
                  </a:lnTo>
                  <a:lnTo>
                    <a:pt x="593503" y="346424"/>
                  </a:lnTo>
                  <a:lnTo>
                    <a:pt x="582930" y="350996"/>
                  </a:lnTo>
                  <a:lnTo>
                    <a:pt x="577786" y="361188"/>
                  </a:lnTo>
                  <a:lnTo>
                    <a:pt x="569309" y="357473"/>
                  </a:lnTo>
                  <a:lnTo>
                    <a:pt x="563404" y="361474"/>
                  </a:lnTo>
                  <a:lnTo>
                    <a:pt x="558641" y="362045"/>
                  </a:lnTo>
                  <a:lnTo>
                    <a:pt x="539591" y="388525"/>
                  </a:lnTo>
                  <a:lnTo>
                    <a:pt x="537019" y="393668"/>
                  </a:lnTo>
                  <a:lnTo>
                    <a:pt x="529304" y="396240"/>
                  </a:lnTo>
                  <a:lnTo>
                    <a:pt x="515874" y="391573"/>
                  </a:lnTo>
                  <a:lnTo>
                    <a:pt x="509778" y="393954"/>
                  </a:lnTo>
                  <a:lnTo>
                    <a:pt x="500920" y="399860"/>
                  </a:lnTo>
                  <a:lnTo>
                    <a:pt x="495205" y="392620"/>
                  </a:lnTo>
                  <a:lnTo>
                    <a:pt x="492061" y="393002"/>
                  </a:lnTo>
                  <a:lnTo>
                    <a:pt x="491395" y="388239"/>
                  </a:lnTo>
                  <a:lnTo>
                    <a:pt x="488251" y="388620"/>
                  </a:lnTo>
                  <a:lnTo>
                    <a:pt x="487871" y="385477"/>
                  </a:lnTo>
                  <a:lnTo>
                    <a:pt x="482917" y="384524"/>
                  </a:lnTo>
                  <a:lnTo>
                    <a:pt x="479012" y="378619"/>
                  </a:lnTo>
                  <a:lnTo>
                    <a:pt x="477393" y="378809"/>
                  </a:lnTo>
                  <a:lnTo>
                    <a:pt x="476059" y="380619"/>
                  </a:lnTo>
                  <a:lnTo>
                    <a:pt x="472249" y="376238"/>
                  </a:lnTo>
                  <a:lnTo>
                    <a:pt x="475964" y="367760"/>
                  </a:lnTo>
                  <a:lnTo>
                    <a:pt x="470059" y="358902"/>
                  </a:lnTo>
                  <a:lnTo>
                    <a:pt x="468249" y="357569"/>
                  </a:lnTo>
                  <a:lnTo>
                    <a:pt x="453866" y="357759"/>
                  </a:lnTo>
                  <a:lnTo>
                    <a:pt x="451866" y="354806"/>
                  </a:lnTo>
                  <a:lnTo>
                    <a:pt x="448723" y="355187"/>
                  </a:lnTo>
                  <a:lnTo>
                    <a:pt x="448342" y="352044"/>
                  </a:lnTo>
                  <a:lnTo>
                    <a:pt x="444532" y="347758"/>
                  </a:lnTo>
                  <a:lnTo>
                    <a:pt x="441579" y="349663"/>
                  </a:lnTo>
                  <a:lnTo>
                    <a:pt x="439864" y="348329"/>
                  </a:lnTo>
                  <a:lnTo>
                    <a:pt x="434911" y="347377"/>
                  </a:lnTo>
                  <a:lnTo>
                    <a:pt x="430911" y="341471"/>
                  </a:lnTo>
                  <a:lnTo>
                    <a:pt x="433673" y="337852"/>
                  </a:lnTo>
                  <a:lnTo>
                    <a:pt x="434816" y="334518"/>
                  </a:lnTo>
                  <a:lnTo>
                    <a:pt x="432721" y="330041"/>
                  </a:lnTo>
                  <a:lnTo>
                    <a:pt x="427958" y="330613"/>
                  </a:lnTo>
                  <a:lnTo>
                    <a:pt x="431863" y="323659"/>
                  </a:lnTo>
                  <a:lnTo>
                    <a:pt x="428339" y="320897"/>
                  </a:lnTo>
                  <a:lnTo>
                    <a:pt x="429673" y="319183"/>
                  </a:lnTo>
                  <a:lnTo>
                    <a:pt x="428911" y="312801"/>
                  </a:lnTo>
                  <a:lnTo>
                    <a:pt x="422148" y="310515"/>
                  </a:lnTo>
                  <a:lnTo>
                    <a:pt x="423386" y="307086"/>
                  </a:lnTo>
                  <a:lnTo>
                    <a:pt x="419386" y="301180"/>
                  </a:lnTo>
                  <a:lnTo>
                    <a:pt x="417862" y="301466"/>
                  </a:lnTo>
                  <a:lnTo>
                    <a:pt x="420814" y="299466"/>
                  </a:lnTo>
                  <a:lnTo>
                    <a:pt x="420529" y="297847"/>
                  </a:lnTo>
                  <a:lnTo>
                    <a:pt x="419005" y="298037"/>
                  </a:lnTo>
                  <a:lnTo>
                    <a:pt x="420148" y="294703"/>
                  </a:lnTo>
                  <a:lnTo>
                    <a:pt x="416623" y="291941"/>
                  </a:lnTo>
                  <a:lnTo>
                    <a:pt x="416052" y="287179"/>
                  </a:lnTo>
                  <a:lnTo>
                    <a:pt x="413861" y="282702"/>
                  </a:lnTo>
                  <a:lnTo>
                    <a:pt x="408527" y="278511"/>
                  </a:lnTo>
                  <a:lnTo>
                    <a:pt x="405289" y="278987"/>
                  </a:lnTo>
                  <a:lnTo>
                    <a:pt x="405098" y="277368"/>
                  </a:lnTo>
                  <a:lnTo>
                    <a:pt x="398050" y="271844"/>
                  </a:lnTo>
                  <a:lnTo>
                    <a:pt x="399955" y="262033"/>
                  </a:lnTo>
                  <a:lnTo>
                    <a:pt x="379952" y="243650"/>
                  </a:lnTo>
                  <a:lnTo>
                    <a:pt x="374618" y="239554"/>
                  </a:lnTo>
                  <a:lnTo>
                    <a:pt x="364998" y="239173"/>
                  </a:lnTo>
                  <a:lnTo>
                    <a:pt x="360712" y="255746"/>
                  </a:lnTo>
                  <a:lnTo>
                    <a:pt x="350234" y="249079"/>
                  </a:lnTo>
                  <a:lnTo>
                    <a:pt x="343471" y="246698"/>
                  </a:lnTo>
                  <a:lnTo>
                    <a:pt x="334327" y="225457"/>
                  </a:lnTo>
                  <a:lnTo>
                    <a:pt x="325660" y="220123"/>
                  </a:lnTo>
                  <a:lnTo>
                    <a:pt x="318706" y="216217"/>
                  </a:lnTo>
                  <a:lnTo>
                    <a:pt x="318516" y="214598"/>
                  </a:lnTo>
                  <a:lnTo>
                    <a:pt x="313658" y="213646"/>
                  </a:lnTo>
                  <a:lnTo>
                    <a:pt x="309086" y="202978"/>
                  </a:lnTo>
                  <a:lnTo>
                    <a:pt x="301085" y="191167"/>
                  </a:lnTo>
                  <a:lnTo>
                    <a:pt x="306229" y="180880"/>
                  </a:lnTo>
                  <a:lnTo>
                    <a:pt x="309181" y="178975"/>
                  </a:lnTo>
                  <a:lnTo>
                    <a:pt x="317278" y="179546"/>
                  </a:lnTo>
                  <a:lnTo>
                    <a:pt x="322421" y="182023"/>
                  </a:lnTo>
                  <a:lnTo>
                    <a:pt x="326517" y="176689"/>
                  </a:lnTo>
                  <a:lnTo>
                    <a:pt x="331089" y="174593"/>
                  </a:lnTo>
                  <a:lnTo>
                    <a:pt x="337185" y="172212"/>
                  </a:lnTo>
                  <a:lnTo>
                    <a:pt x="349853" y="170593"/>
                  </a:lnTo>
                  <a:lnTo>
                    <a:pt x="358711" y="164592"/>
                  </a:lnTo>
                  <a:lnTo>
                    <a:pt x="362045" y="165830"/>
                  </a:lnTo>
                  <a:lnTo>
                    <a:pt x="366617" y="163640"/>
                  </a:lnTo>
                  <a:lnTo>
                    <a:pt x="369951" y="164782"/>
                  </a:lnTo>
                  <a:lnTo>
                    <a:pt x="377380" y="160592"/>
                  </a:lnTo>
                  <a:lnTo>
                    <a:pt x="376809" y="155924"/>
                  </a:lnTo>
                  <a:lnTo>
                    <a:pt x="381381" y="153734"/>
                  </a:lnTo>
                  <a:lnTo>
                    <a:pt x="380333" y="145828"/>
                  </a:lnTo>
                  <a:lnTo>
                    <a:pt x="384715" y="142018"/>
                  </a:lnTo>
                  <a:lnTo>
                    <a:pt x="385858" y="138684"/>
                  </a:lnTo>
                  <a:lnTo>
                    <a:pt x="388810" y="136684"/>
                  </a:lnTo>
                  <a:lnTo>
                    <a:pt x="392335" y="139446"/>
                  </a:lnTo>
                  <a:lnTo>
                    <a:pt x="400621" y="141637"/>
                  </a:lnTo>
                  <a:lnTo>
                    <a:pt x="406527" y="137636"/>
                  </a:lnTo>
                  <a:lnTo>
                    <a:pt x="412909" y="136874"/>
                  </a:lnTo>
                  <a:lnTo>
                    <a:pt x="412051" y="130588"/>
                  </a:lnTo>
                  <a:lnTo>
                    <a:pt x="412813" y="124015"/>
                  </a:lnTo>
                  <a:lnTo>
                    <a:pt x="412051" y="117729"/>
                  </a:lnTo>
                  <a:lnTo>
                    <a:pt x="416528" y="102679"/>
                  </a:lnTo>
                  <a:lnTo>
                    <a:pt x="400336" y="88773"/>
                  </a:lnTo>
                  <a:lnTo>
                    <a:pt x="387858" y="79153"/>
                  </a:lnTo>
                  <a:lnTo>
                    <a:pt x="388620" y="72580"/>
                  </a:lnTo>
                  <a:lnTo>
                    <a:pt x="388620" y="59722"/>
                  </a:lnTo>
                  <a:lnTo>
                    <a:pt x="394335" y="54197"/>
                  </a:lnTo>
                  <a:lnTo>
                    <a:pt x="398812" y="39243"/>
                  </a:lnTo>
                  <a:lnTo>
                    <a:pt x="403193" y="35433"/>
                  </a:lnTo>
                  <a:lnTo>
                    <a:pt x="402812" y="32290"/>
                  </a:lnTo>
                  <a:lnTo>
                    <a:pt x="405765" y="30290"/>
                  </a:lnTo>
                  <a:lnTo>
                    <a:pt x="403765" y="27337"/>
                  </a:lnTo>
                  <a:lnTo>
                    <a:pt x="394240" y="28575"/>
                  </a:lnTo>
                  <a:lnTo>
                    <a:pt x="392335" y="25622"/>
                  </a:lnTo>
                  <a:lnTo>
                    <a:pt x="387382" y="24670"/>
                  </a:lnTo>
                  <a:lnTo>
                    <a:pt x="381952" y="7715"/>
                  </a:lnTo>
                  <a:lnTo>
                    <a:pt x="366617" y="0"/>
                  </a:lnTo>
                  <a:lnTo>
                    <a:pt x="358711" y="1048"/>
                  </a:lnTo>
                  <a:lnTo>
                    <a:pt x="360331" y="13621"/>
                  </a:lnTo>
                  <a:lnTo>
                    <a:pt x="358330" y="23527"/>
                  </a:lnTo>
                  <a:lnTo>
                    <a:pt x="360521" y="28099"/>
                  </a:lnTo>
                  <a:lnTo>
                    <a:pt x="360712" y="29623"/>
                  </a:lnTo>
                  <a:lnTo>
                    <a:pt x="359378" y="31432"/>
                  </a:lnTo>
                  <a:lnTo>
                    <a:pt x="340614" y="48196"/>
                  </a:lnTo>
                  <a:lnTo>
                    <a:pt x="335375" y="56959"/>
                  </a:lnTo>
                  <a:lnTo>
                    <a:pt x="323279" y="63246"/>
                  </a:lnTo>
                  <a:lnTo>
                    <a:pt x="312706" y="67818"/>
                  </a:lnTo>
                  <a:lnTo>
                    <a:pt x="309753" y="69818"/>
                  </a:lnTo>
                  <a:lnTo>
                    <a:pt x="303181" y="69056"/>
                  </a:lnTo>
                  <a:lnTo>
                    <a:pt x="302800" y="65913"/>
                  </a:lnTo>
                  <a:lnTo>
                    <a:pt x="299466" y="64675"/>
                  </a:lnTo>
                  <a:lnTo>
                    <a:pt x="298609" y="58388"/>
                  </a:lnTo>
                  <a:lnTo>
                    <a:pt x="295084" y="55626"/>
                  </a:lnTo>
                  <a:lnTo>
                    <a:pt x="287179" y="56674"/>
                  </a:lnTo>
                  <a:lnTo>
                    <a:pt x="285845" y="58388"/>
                  </a:lnTo>
                  <a:lnTo>
                    <a:pt x="279749" y="60865"/>
                  </a:lnTo>
                  <a:lnTo>
                    <a:pt x="275558" y="66199"/>
                  </a:lnTo>
                  <a:lnTo>
                    <a:pt x="272224" y="64960"/>
                  </a:lnTo>
                  <a:lnTo>
                    <a:pt x="266129" y="67342"/>
                  </a:lnTo>
                  <a:lnTo>
                    <a:pt x="261175" y="66389"/>
                  </a:lnTo>
                  <a:lnTo>
                    <a:pt x="256032" y="63817"/>
                  </a:lnTo>
                  <a:lnTo>
                    <a:pt x="251079" y="62865"/>
                  </a:lnTo>
                  <a:lnTo>
                    <a:pt x="249364" y="61436"/>
                  </a:lnTo>
                  <a:lnTo>
                    <a:pt x="244602" y="62103"/>
                  </a:lnTo>
                  <a:lnTo>
                    <a:pt x="228409" y="60960"/>
                  </a:lnTo>
                  <a:lnTo>
                    <a:pt x="214789" y="67437"/>
                  </a:lnTo>
                  <a:lnTo>
                    <a:pt x="211836" y="69437"/>
                  </a:lnTo>
                  <a:lnTo>
                    <a:pt x="210121" y="68104"/>
                  </a:lnTo>
                  <a:lnTo>
                    <a:pt x="205740" y="71819"/>
                  </a:lnTo>
                  <a:lnTo>
                    <a:pt x="202216" y="69056"/>
                  </a:lnTo>
                  <a:lnTo>
                    <a:pt x="200596" y="69247"/>
                  </a:lnTo>
                  <a:lnTo>
                    <a:pt x="202025" y="80296"/>
                  </a:lnTo>
                  <a:lnTo>
                    <a:pt x="200882" y="83725"/>
                  </a:lnTo>
                  <a:lnTo>
                    <a:pt x="196310" y="85915"/>
                  </a:lnTo>
                  <a:lnTo>
                    <a:pt x="190405" y="89821"/>
                  </a:lnTo>
                  <a:lnTo>
                    <a:pt x="183451" y="85915"/>
                  </a:lnTo>
                  <a:lnTo>
                    <a:pt x="181927" y="98965"/>
                  </a:lnTo>
                  <a:lnTo>
                    <a:pt x="179546" y="105632"/>
                  </a:lnTo>
                  <a:lnTo>
                    <a:pt x="182404" y="114967"/>
                  </a:lnTo>
                  <a:lnTo>
                    <a:pt x="181546" y="121444"/>
                  </a:lnTo>
                  <a:lnTo>
                    <a:pt x="182404" y="127730"/>
                  </a:lnTo>
                  <a:lnTo>
                    <a:pt x="179641" y="131350"/>
                  </a:lnTo>
                  <a:lnTo>
                    <a:pt x="180213" y="136017"/>
                  </a:lnTo>
                  <a:lnTo>
                    <a:pt x="174307" y="140017"/>
                  </a:lnTo>
                  <a:lnTo>
                    <a:pt x="166021" y="137827"/>
                  </a:lnTo>
                  <a:lnTo>
                    <a:pt x="163068" y="139827"/>
                  </a:lnTo>
                  <a:lnTo>
                    <a:pt x="157734" y="135731"/>
                  </a:lnTo>
                  <a:lnTo>
                    <a:pt x="150019" y="125444"/>
                  </a:lnTo>
                  <a:lnTo>
                    <a:pt x="148209" y="124111"/>
                  </a:lnTo>
                  <a:lnTo>
                    <a:pt x="144971" y="135731"/>
                  </a:lnTo>
                  <a:lnTo>
                    <a:pt x="136493" y="144780"/>
                  </a:lnTo>
                  <a:lnTo>
                    <a:pt x="129159" y="163354"/>
                  </a:lnTo>
                  <a:lnTo>
                    <a:pt x="121920" y="169164"/>
                  </a:lnTo>
                  <a:lnTo>
                    <a:pt x="108299" y="162877"/>
                  </a:lnTo>
                  <a:lnTo>
                    <a:pt x="102394" y="166783"/>
                  </a:lnTo>
                  <a:lnTo>
                    <a:pt x="98488" y="173736"/>
                  </a:lnTo>
                  <a:lnTo>
                    <a:pt x="99250" y="180023"/>
                  </a:lnTo>
                  <a:lnTo>
                    <a:pt x="94964" y="183832"/>
                  </a:lnTo>
                  <a:lnTo>
                    <a:pt x="91916" y="185738"/>
                  </a:lnTo>
                  <a:lnTo>
                    <a:pt x="86582" y="181642"/>
                  </a:lnTo>
                  <a:lnTo>
                    <a:pt x="81534" y="191929"/>
                  </a:lnTo>
                  <a:lnTo>
                    <a:pt x="77343" y="197263"/>
                  </a:lnTo>
                  <a:lnTo>
                    <a:pt x="69342" y="209550"/>
                  </a:lnTo>
                  <a:lnTo>
                    <a:pt x="66199" y="209931"/>
                  </a:lnTo>
                  <a:lnTo>
                    <a:pt x="55912" y="217646"/>
                  </a:lnTo>
                  <a:lnTo>
                    <a:pt x="58483" y="225361"/>
                  </a:lnTo>
                  <a:lnTo>
                    <a:pt x="59912" y="236411"/>
                  </a:lnTo>
                  <a:lnTo>
                    <a:pt x="63913" y="242316"/>
                  </a:lnTo>
                  <a:lnTo>
                    <a:pt x="59912" y="249174"/>
                  </a:lnTo>
                  <a:lnTo>
                    <a:pt x="44196" y="264033"/>
                  </a:lnTo>
                  <a:lnTo>
                    <a:pt x="51721" y="285559"/>
                  </a:lnTo>
                  <a:lnTo>
                    <a:pt x="51340" y="295180"/>
                  </a:lnTo>
                  <a:lnTo>
                    <a:pt x="53721" y="301276"/>
                  </a:lnTo>
                  <a:lnTo>
                    <a:pt x="54769" y="309182"/>
                  </a:lnTo>
                  <a:lnTo>
                    <a:pt x="47530" y="327755"/>
                  </a:lnTo>
                  <a:lnTo>
                    <a:pt x="39814" y="330327"/>
                  </a:lnTo>
                  <a:lnTo>
                    <a:pt x="37242" y="335471"/>
                  </a:lnTo>
                  <a:lnTo>
                    <a:pt x="31718" y="342614"/>
                  </a:lnTo>
                  <a:lnTo>
                    <a:pt x="24098" y="345186"/>
                  </a:lnTo>
                  <a:lnTo>
                    <a:pt x="19526" y="360140"/>
                  </a:lnTo>
                  <a:lnTo>
                    <a:pt x="11049" y="369284"/>
                  </a:lnTo>
                  <a:lnTo>
                    <a:pt x="12668" y="381857"/>
                  </a:lnTo>
                  <a:lnTo>
                    <a:pt x="15049" y="388048"/>
                  </a:lnTo>
                  <a:lnTo>
                    <a:pt x="14288" y="394526"/>
                  </a:lnTo>
                  <a:lnTo>
                    <a:pt x="5429" y="400431"/>
                  </a:lnTo>
                  <a:lnTo>
                    <a:pt x="3905" y="400622"/>
                  </a:lnTo>
                  <a:lnTo>
                    <a:pt x="6286" y="406813"/>
                  </a:lnTo>
                  <a:lnTo>
                    <a:pt x="14764" y="410528"/>
                  </a:lnTo>
                  <a:lnTo>
                    <a:pt x="29432" y="424720"/>
                  </a:lnTo>
                  <a:lnTo>
                    <a:pt x="33528" y="432149"/>
                  </a:lnTo>
                  <a:lnTo>
                    <a:pt x="33718" y="433769"/>
                  </a:lnTo>
                  <a:lnTo>
                    <a:pt x="36100" y="439865"/>
                  </a:lnTo>
                  <a:lnTo>
                    <a:pt x="33338" y="443389"/>
                  </a:lnTo>
                  <a:lnTo>
                    <a:pt x="35338" y="446341"/>
                  </a:lnTo>
                  <a:lnTo>
                    <a:pt x="32766" y="451485"/>
                  </a:lnTo>
                  <a:lnTo>
                    <a:pt x="31051" y="450152"/>
                  </a:lnTo>
                  <a:lnTo>
                    <a:pt x="28861" y="458438"/>
                  </a:lnTo>
                  <a:lnTo>
                    <a:pt x="22574" y="459200"/>
                  </a:lnTo>
                  <a:lnTo>
                    <a:pt x="21622" y="464153"/>
                  </a:lnTo>
                  <a:lnTo>
                    <a:pt x="17050" y="466344"/>
                  </a:lnTo>
                  <a:lnTo>
                    <a:pt x="17431" y="469487"/>
                  </a:lnTo>
                  <a:lnTo>
                    <a:pt x="9811" y="472059"/>
                  </a:lnTo>
                  <a:lnTo>
                    <a:pt x="12097" y="478155"/>
                  </a:lnTo>
                  <a:lnTo>
                    <a:pt x="10954" y="481584"/>
                  </a:lnTo>
                  <a:lnTo>
                    <a:pt x="19240" y="483679"/>
                  </a:lnTo>
                  <a:lnTo>
                    <a:pt x="16954" y="490442"/>
                  </a:lnTo>
                  <a:lnTo>
                    <a:pt x="17335" y="493586"/>
                  </a:lnTo>
                  <a:lnTo>
                    <a:pt x="15907" y="495395"/>
                  </a:lnTo>
                  <a:lnTo>
                    <a:pt x="14192" y="493966"/>
                  </a:lnTo>
                  <a:lnTo>
                    <a:pt x="13144" y="498919"/>
                  </a:lnTo>
                  <a:lnTo>
                    <a:pt x="13430" y="500539"/>
                  </a:lnTo>
                  <a:lnTo>
                    <a:pt x="7715" y="506063"/>
                  </a:lnTo>
                  <a:lnTo>
                    <a:pt x="6477" y="509397"/>
                  </a:lnTo>
                  <a:lnTo>
                    <a:pt x="1714" y="509969"/>
                  </a:lnTo>
                  <a:lnTo>
                    <a:pt x="4191" y="516065"/>
                  </a:lnTo>
                  <a:lnTo>
                    <a:pt x="952" y="516541"/>
                  </a:lnTo>
                  <a:lnTo>
                    <a:pt x="0" y="521398"/>
                  </a:lnTo>
                  <a:lnTo>
                    <a:pt x="8477" y="525208"/>
                  </a:lnTo>
                  <a:lnTo>
                    <a:pt x="10858" y="531304"/>
                  </a:lnTo>
                  <a:lnTo>
                    <a:pt x="10287" y="539401"/>
                  </a:lnTo>
                  <a:lnTo>
                    <a:pt x="12859" y="534257"/>
                  </a:lnTo>
                  <a:lnTo>
                    <a:pt x="16192" y="535400"/>
                  </a:lnTo>
                  <a:lnTo>
                    <a:pt x="18192" y="538353"/>
                  </a:lnTo>
                  <a:lnTo>
                    <a:pt x="19050" y="544640"/>
                  </a:lnTo>
                  <a:lnTo>
                    <a:pt x="23622" y="555307"/>
                  </a:lnTo>
                  <a:lnTo>
                    <a:pt x="26956" y="556546"/>
                  </a:lnTo>
                  <a:lnTo>
                    <a:pt x="29146" y="561023"/>
                  </a:lnTo>
                  <a:lnTo>
                    <a:pt x="36195" y="553688"/>
                  </a:lnTo>
                  <a:lnTo>
                    <a:pt x="39338" y="553307"/>
                  </a:lnTo>
                  <a:lnTo>
                    <a:pt x="44291" y="554260"/>
                  </a:lnTo>
                  <a:lnTo>
                    <a:pt x="43720" y="549593"/>
                  </a:lnTo>
                  <a:lnTo>
                    <a:pt x="45053" y="547783"/>
                  </a:lnTo>
                  <a:lnTo>
                    <a:pt x="50197" y="550354"/>
                  </a:lnTo>
                  <a:lnTo>
                    <a:pt x="53911" y="541877"/>
                  </a:lnTo>
                  <a:lnTo>
                    <a:pt x="57055" y="541401"/>
                  </a:lnTo>
                  <a:lnTo>
                    <a:pt x="54578" y="559403"/>
                  </a:lnTo>
                  <a:lnTo>
                    <a:pt x="48482" y="574643"/>
                  </a:lnTo>
                  <a:lnTo>
                    <a:pt x="46101" y="581311"/>
                  </a:lnTo>
                  <a:lnTo>
                    <a:pt x="49244" y="580930"/>
                  </a:lnTo>
                  <a:lnTo>
                    <a:pt x="49721" y="584073"/>
                  </a:lnTo>
                  <a:lnTo>
                    <a:pt x="51435" y="585407"/>
                  </a:lnTo>
                  <a:lnTo>
                    <a:pt x="51911" y="588645"/>
                  </a:lnTo>
                  <a:lnTo>
                    <a:pt x="53245" y="586835"/>
                  </a:lnTo>
                  <a:lnTo>
                    <a:pt x="56197" y="584835"/>
                  </a:lnTo>
                  <a:lnTo>
                    <a:pt x="58007" y="586264"/>
                  </a:lnTo>
                  <a:lnTo>
                    <a:pt x="59531" y="585978"/>
                  </a:lnTo>
                  <a:lnTo>
                    <a:pt x="59150" y="582835"/>
                  </a:lnTo>
                  <a:lnTo>
                    <a:pt x="62293" y="582454"/>
                  </a:lnTo>
                  <a:lnTo>
                    <a:pt x="63532" y="579120"/>
                  </a:lnTo>
                  <a:lnTo>
                    <a:pt x="65437" y="582073"/>
                  </a:lnTo>
                  <a:lnTo>
                    <a:pt x="70009" y="579882"/>
                  </a:lnTo>
                  <a:lnTo>
                    <a:pt x="73533" y="582644"/>
                  </a:lnTo>
                  <a:lnTo>
                    <a:pt x="76486" y="580644"/>
                  </a:lnTo>
                  <a:lnTo>
                    <a:pt x="78867" y="586740"/>
                  </a:lnTo>
                  <a:lnTo>
                    <a:pt x="85439" y="587502"/>
                  </a:lnTo>
                  <a:lnTo>
                    <a:pt x="88963" y="590264"/>
                  </a:lnTo>
                  <a:lnTo>
                    <a:pt x="93535" y="588074"/>
                  </a:lnTo>
                  <a:lnTo>
                    <a:pt x="95536" y="591026"/>
                  </a:lnTo>
                  <a:lnTo>
                    <a:pt x="96107" y="595789"/>
                  </a:lnTo>
                  <a:lnTo>
                    <a:pt x="97250" y="592455"/>
                  </a:lnTo>
                  <a:lnTo>
                    <a:pt x="98869" y="592265"/>
                  </a:lnTo>
                  <a:lnTo>
                    <a:pt x="104204" y="596360"/>
                  </a:lnTo>
                  <a:lnTo>
                    <a:pt x="104394" y="597979"/>
                  </a:lnTo>
                  <a:lnTo>
                    <a:pt x="104584" y="599503"/>
                  </a:lnTo>
                  <a:lnTo>
                    <a:pt x="109538" y="600551"/>
                  </a:lnTo>
                  <a:lnTo>
                    <a:pt x="115633" y="598075"/>
                  </a:lnTo>
                  <a:lnTo>
                    <a:pt x="127254" y="601408"/>
                  </a:lnTo>
                  <a:lnTo>
                    <a:pt x="126301" y="606361"/>
                  </a:lnTo>
                  <a:lnTo>
                    <a:pt x="128302" y="609314"/>
                  </a:lnTo>
                  <a:lnTo>
                    <a:pt x="130873" y="604171"/>
                  </a:lnTo>
                  <a:lnTo>
                    <a:pt x="133636" y="600647"/>
                  </a:lnTo>
                  <a:lnTo>
                    <a:pt x="143065" y="599408"/>
                  </a:lnTo>
                  <a:lnTo>
                    <a:pt x="150400" y="593693"/>
                  </a:lnTo>
                  <a:lnTo>
                    <a:pt x="157829" y="602361"/>
                  </a:lnTo>
                  <a:lnTo>
                    <a:pt x="159258" y="600551"/>
                  </a:lnTo>
                  <a:lnTo>
                    <a:pt x="161258" y="603504"/>
                  </a:lnTo>
                  <a:lnTo>
                    <a:pt x="172688" y="618077"/>
                  </a:lnTo>
                  <a:lnTo>
                    <a:pt x="174688" y="621030"/>
                  </a:lnTo>
                  <a:lnTo>
                    <a:pt x="177832" y="620649"/>
                  </a:lnTo>
                  <a:lnTo>
                    <a:pt x="180022" y="625221"/>
                  </a:lnTo>
                  <a:lnTo>
                    <a:pt x="186976" y="629126"/>
                  </a:lnTo>
                  <a:lnTo>
                    <a:pt x="189357" y="635222"/>
                  </a:lnTo>
                  <a:lnTo>
                    <a:pt x="186404" y="637223"/>
                  </a:lnTo>
                  <a:lnTo>
                    <a:pt x="186785" y="640366"/>
                  </a:lnTo>
                  <a:lnTo>
                    <a:pt x="193929" y="645890"/>
                  </a:lnTo>
                  <a:lnTo>
                    <a:pt x="195834" y="648843"/>
                  </a:lnTo>
                  <a:lnTo>
                    <a:pt x="189738" y="651224"/>
                  </a:lnTo>
                  <a:lnTo>
                    <a:pt x="196882" y="656749"/>
                  </a:lnTo>
                  <a:lnTo>
                    <a:pt x="199072" y="661226"/>
                  </a:lnTo>
                  <a:lnTo>
                    <a:pt x="198691" y="658082"/>
                  </a:lnTo>
                  <a:lnTo>
                    <a:pt x="203359" y="657511"/>
                  </a:lnTo>
                  <a:lnTo>
                    <a:pt x="207740" y="653701"/>
                  </a:lnTo>
                  <a:lnTo>
                    <a:pt x="215170" y="649605"/>
                  </a:lnTo>
                  <a:lnTo>
                    <a:pt x="230219" y="654082"/>
                  </a:lnTo>
                  <a:lnTo>
                    <a:pt x="235363" y="656653"/>
                  </a:lnTo>
                  <a:lnTo>
                    <a:pt x="238125" y="653034"/>
                  </a:lnTo>
                  <a:lnTo>
                    <a:pt x="241459" y="654272"/>
                  </a:lnTo>
                  <a:lnTo>
                    <a:pt x="249746" y="669227"/>
                  </a:lnTo>
                  <a:lnTo>
                    <a:pt x="253174" y="670370"/>
                  </a:lnTo>
                  <a:lnTo>
                    <a:pt x="266319" y="673513"/>
                  </a:lnTo>
                  <a:lnTo>
                    <a:pt x="274225" y="659702"/>
                  </a:lnTo>
                  <a:lnTo>
                    <a:pt x="272415" y="658368"/>
                  </a:lnTo>
                  <a:lnTo>
                    <a:pt x="273653" y="654939"/>
                  </a:lnTo>
                  <a:lnTo>
                    <a:pt x="276225" y="649795"/>
                  </a:lnTo>
                  <a:lnTo>
                    <a:pt x="279559" y="651034"/>
                  </a:lnTo>
                  <a:lnTo>
                    <a:pt x="281559" y="653986"/>
                  </a:lnTo>
                  <a:lnTo>
                    <a:pt x="289846" y="656082"/>
                  </a:lnTo>
                  <a:lnTo>
                    <a:pt x="298323" y="659797"/>
                  </a:lnTo>
                  <a:lnTo>
                    <a:pt x="310134" y="677608"/>
                  </a:lnTo>
                  <a:lnTo>
                    <a:pt x="316897" y="679895"/>
                  </a:lnTo>
                  <a:lnTo>
                    <a:pt x="329565" y="678275"/>
                  </a:lnTo>
                  <a:lnTo>
                    <a:pt x="330327" y="671798"/>
                  </a:lnTo>
                  <a:lnTo>
                    <a:pt x="336423" y="669417"/>
                  </a:lnTo>
                  <a:lnTo>
                    <a:pt x="340519" y="664083"/>
                  </a:lnTo>
                  <a:lnTo>
                    <a:pt x="343852" y="665226"/>
                  </a:lnTo>
                  <a:lnTo>
                    <a:pt x="346234" y="658558"/>
                  </a:lnTo>
                  <a:lnTo>
                    <a:pt x="354901" y="663893"/>
                  </a:lnTo>
                  <a:lnTo>
                    <a:pt x="359664" y="663226"/>
                  </a:lnTo>
                  <a:lnTo>
                    <a:pt x="365569" y="672084"/>
                  </a:lnTo>
                  <a:lnTo>
                    <a:pt x="371761" y="669703"/>
                  </a:lnTo>
                  <a:lnTo>
                    <a:pt x="375094" y="670941"/>
                  </a:lnTo>
                  <a:lnTo>
                    <a:pt x="378619" y="673703"/>
                  </a:lnTo>
                  <a:lnTo>
                    <a:pt x="376047" y="678847"/>
                  </a:lnTo>
                  <a:lnTo>
                    <a:pt x="379476" y="679990"/>
                  </a:lnTo>
                  <a:lnTo>
                    <a:pt x="381190" y="681323"/>
                  </a:lnTo>
                  <a:lnTo>
                    <a:pt x="384810" y="684086"/>
                  </a:lnTo>
                  <a:lnTo>
                    <a:pt x="387953" y="683704"/>
                  </a:lnTo>
                  <a:lnTo>
                    <a:pt x="390334" y="677037"/>
                  </a:lnTo>
                  <a:lnTo>
                    <a:pt x="391858" y="676751"/>
                  </a:lnTo>
                  <a:lnTo>
                    <a:pt x="391287" y="684848"/>
                  </a:lnTo>
                  <a:lnTo>
                    <a:pt x="393287" y="687800"/>
                  </a:lnTo>
                  <a:lnTo>
                    <a:pt x="391668" y="687991"/>
                  </a:lnTo>
                  <a:lnTo>
                    <a:pt x="390715" y="692944"/>
                  </a:lnTo>
                  <a:lnTo>
                    <a:pt x="389096" y="693134"/>
                  </a:lnTo>
                  <a:lnTo>
                    <a:pt x="382905" y="706755"/>
                  </a:lnTo>
                  <a:lnTo>
                    <a:pt x="381857" y="711708"/>
                  </a:lnTo>
                  <a:lnTo>
                    <a:pt x="385096" y="724186"/>
                  </a:lnTo>
                  <a:lnTo>
                    <a:pt x="386715" y="736759"/>
                  </a:lnTo>
                  <a:lnTo>
                    <a:pt x="389096" y="742855"/>
                  </a:lnTo>
                  <a:lnTo>
                    <a:pt x="409861" y="754666"/>
                  </a:lnTo>
                  <a:lnTo>
                    <a:pt x="410242" y="757809"/>
                  </a:lnTo>
                  <a:lnTo>
                    <a:pt x="411956" y="759238"/>
                  </a:lnTo>
                  <a:lnTo>
                    <a:pt x="414528" y="754094"/>
                  </a:lnTo>
                  <a:lnTo>
                    <a:pt x="416338" y="755428"/>
                  </a:lnTo>
                  <a:lnTo>
                    <a:pt x="417671" y="753713"/>
                  </a:lnTo>
                  <a:lnTo>
                    <a:pt x="419290" y="753523"/>
                  </a:lnTo>
                  <a:lnTo>
                    <a:pt x="419671" y="743807"/>
                  </a:lnTo>
                  <a:lnTo>
                    <a:pt x="422243" y="738664"/>
                  </a:lnTo>
                  <a:lnTo>
                    <a:pt x="422243" y="738664"/>
                  </a:lnTo>
                  <a:lnTo>
                    <a:pt x="429292" y="744188"/>
                  </a:lnTo>
                  <a:lnTo>
                    <a:pt x="437864" y="760762"/>
                  </a:lnTo>
                  <a:lnTo>
                    <a:pt x="448532" y="769049"/>
                  </a:lnTo>
                  <a:lnTo>
                    <a:pt x="444817" y="777526"/>
                  </a:lnTo>
                  <a:lnTo>
                    <a:pt x="450151" y="781622"/>
                  </a:lnTo>
                  <a:lnTo>
                    <a:pt x="451294" y="791051"/>
                  </a:lnTo>
                  <a:lnTo>
                    <a:pt x="453104" y="792480"/>
                  </a:lnTo>
                  <a:lnTo>
                    <a:pt x="455866" y="788956"/>
                  </a:lnTo>
                  <a:lnTo>
                    <a:pt x="459010" y="788479"/>
                  </a:lnTo>
                  <a:lnTo>
                    <a:pt x="464820" y="795814"/>
                  </a:lnTo>
                  <a:lnTo>
                    <a:pt x="473488" y="801148"/>
                  </a:lnTo>
                  <a:lnTo>
                    <a:pt x="479965" y="801910"/>
                  </a:lnTo>
                  <a:lnTo>
                    <a:pt x="484537" y="812482"/>
                  </a:lnTo>
                  <a:lnTo>
                    <a:pt x="490061" y="818198"/>
                  </a:lnTo>
                  <a:lnTo>
                    <a:pt x="493681" y="820960"/>
                  </a:lnTo>
                  <a:lnTo>
                    <a:pt x="495586" y="823912"/>
                  </a:lnTo>
                  <a:lnTo>
                    <a:pt x="497967" y="830008"/>
                  </a:lnTo>
                  <a:lnTo>
                    <a:pt x="501110" y="829628"/>
                  </a:lnTo>
                  <a:lnTo>
                    <a:pt x="501777" y="834390"/>
                  </a:lnTo>
                  <a:lnTo>
                    <a:pt x="503301" y="834199"/>
                  </a:lnTo>
                  <a:lnTo>
                    <a:pt x="501967" y="836009"/>
                  </a:lnTo>
                  <a:lnTo>
                    <a:pt x="504158" y="840486"/>
                  </a:lnTo>
                  <a:lnTo>
                    <a:pt x="507111" y="838486"/>
                  </a:lnTo>
                  <a:lnTo>
                    <a:pt x="508921" y="839915"/>
                  </a:lnTo>
                  <a:lnTo>
                    <a:pt x="508063" y="846391"/>
                  </a:lnTo>
                  <a:lnTo>
                    <a:pt x="513207" y="848963"/>
                  </a:lnTo>
                  <a:lnTo>
                    <a:pt x="516350" y="848582"/>
                  </a:lnTo>
                  <a:lnTo>
                    <a:pt x="513397" y="850582"/>
                  </a:lnTo>
                  <a:lnTo>
                    <a:pt x="515017" y="850297"/>
                  </a:lnTo>
                  <a:lnTo>
                    <a:pt x="513874" y="853726"/>
                  </a:lnTo>
                  <a:lnTo>
                    <a:pt x="517207" y="854869"/>
                  </a:lnTo>
                  <a:lnTo>
                    <a:pt x="513302" y="861822"/>
                  </a:lnTo>
                  <a:lnTo>
                    <a:pt x="508349" y="860774"/>
                  </a:lnTo>
                  <a:lnTo>
                    <a:pt x="501205" y="868108"/>
                  </a:lnTo>
                  <a:lnTo>
                    <a:pt x="501682" y="871252"/>
                  </a:lnTo>
                  <a:lnTo>
                    <a:pt x="504825" y="870871"/>
                  </a:lnTo>
                  <a:lnTo>
                    <a:pt x="508730" y="876776"/>
                  </a:lnTo>
                  <a:lnTo>
                    <a:pt x="509588" y="883063"/>
                  </a:lnTo>
                  <a:lnTo>
                    <a:pt x="516731" y="888587"/>
                  </a:lnTo>
                  <a:lnTo>
                    <a:pt x="521398" y="875157"/>
                  </a:lnTo>
                  <a:lnTo>
                    <a:pt x="522732" y="873443"/>
                  </a:lnTo>
                  <a:lnTo>
                    <a:pt x="527494" y="872776"/>
                  </a:lnTo>
                  <a:lnTo>
                    <a:pt x="526923" y="868108"/>
                  </a:lnTo>
                  <a:lnTo>
                    <a:pt x="529685" y="864489"/>
                  </a:lnTo>
                  <a:lnTo>
                    <a:pt x="539972" y="869632"/>
                  </a:lnTo>
                  <a:lnTo>
                    <a:pt x="540925" y="864679"/>
                  </a:lnTo>
                  <a:lnTo>
                    <a:pt x="544068" y="864299"/>
                  </a:lnTo>
                  <a:lnTo>
                    <a:pt x="544258" y="865823"/>
                  </a:lnTo>
                  <a:lnTo>
                    <a:pt x="541687" y="870966"/>
                  </a:lnTo>
                  <a:lnTo>
                    <a:pt x="548830" y="876490"/>
                  </a:lnTo>
                  <a:lnTo>
                    <a:pt x="546449" y="883253"/>
                  </a:lnTo>
                  <a:lnTo>
                    <a:pt x="548068" y="883063"/>
                  </a:lnTo>
                  <a:lnTo>
                    <a:pt x="548449" y="886206"/>
                  </a:lnTo>
                  <a:lnTo>
                    <a:pt x="550259" y="887540"/>
                  </a:lnTo>
                  <a:lnTo>
                    <a:pt x="549497" y="894016"/>
                  </a:lnTo>
                  <a:lnTo>
                    <a:pt x="554164" y="893445"/>
                  </a:lnTo>
                  <a:lnTo>
                    <a:pt x="554641" y="896588"/>
                  </a:lnTo>
                  <a:lnTo>
                    <a:pt x="576643" y="893826"/>
                  </a:lnTo>
                  <a:lnTo>
                    <a:pt x="583216" y="894588"/>
                  </a:lnTo>
                  <a:lnTo>
                    <a:pt x="590264" y="900112"/>
                  </a:lnTo>
                  <a:lnTo>
                    <a:pt x="591502" y="896683"/>
                  </a:lnTo>
                  <a:lnTo>
                    <a:pt x="594646" y="896303"/>
                  </a:lnTo>
                  <a:lnTo>
                    <a:pt x="600551" y="905161"/>
                  </a:lnTo>
                  <a:lnTo>
                    <a:pt x="607885" y="912304"/>
                  </a:lnTo>
                  <a:lnTo>
                    <a:pt x="609314" y="923353"/>
                  </a:lnTo>
                  <a:lnTo>
                    <a:pt x="608933" y="932974"/>
                  </a:lnTo>
                  <a:lnTo>
                    <a:pt x="615696" y="935355"/>
                  </a:lnTo>
                  <a:lnTo>
                    <a:pt x="617030" y="933545"/>
                  </a:lnTo>
                  <a:lnTo>
                    <a:pt x="623316" y="932783"/>
                  </a:lnTo>
                  <a:lnTo>
                    <a:pt x="638365" y="924401"/>
                  </a:lnTo>
                  <a:lnTo>
                    <a:pt x="652367" y="921068"/>
                  </a:lnTo>
                  <a:lnTo>
                    <a:pt x="659987" y="918496"/>
                  </a:lnTo>
                  <a:lnTo>
                    <a:pt x="668083" y="919067"/>
                  </a:lnTo>
                  <a:lnTo>
                    <a:pt x="669703" y="918877"/>
                  </a:lnTo>
                  <a:lnTo>
                    <a:pt x="673989" y="915067"/>
                  </a:lnTo>
                  <a:lnTo>
                    <a:pt x="682276" y="917257"/>
                  </a:lnTo>
                  <a:lnTo>
                    <a:pt x="685229" y="915257"/>
                  </a:lnTo>
                  <a:lnTo>
                    <a:pt x="691801" y="916019"/>
                  </a:lnTo>
                  <a:lnTo>
                    <a:pt x="702373" y="911447"/>
                  </a:lnTo>
                  <a:lnTo>
                    <a:pt x="710374" y="923258"/>
                  </a:lnTo>
                  <a:lnTo>
                    <a:pt x="725900" y="919734"/>
                  </a:lnTo>
                  <a:lnTo>
                    <a:pt x="730282" y="915924"/>
                  </a:lnTo>
                  <a:lnTo>
                    <a:pt x="733806" y="918686"/>
                  </a:lnTo>
                  <a:lnTo>
                    <a:pt x="738378" y="929354"/>
                  </a:lnTo>
                  <a:lnTo>
                    <a:pt x="749617" y="942308"/>
                  </a:lnTo>
                  <a:lnTo>
                    <a:pt x="758190" y="946023"/>
                  </a:lnTo>
                  <a:lnTo>
                    <a:pt x="767239" y="941641"/>
                  </a:lnTo>
                  <a:lnTo>
                    <a:pt x="770382" y="941261"/>
                  </a:lnTo>
                  <a:lnTo>
                    <a:pt x="774382" y="947166"/>
                  </a:lnTo>
                  <a:lnTo>
                    <a:pt x="794290" y="952690"/>
                  </a:lnTo>
                  <a:lnTo>
                    <a:pt x="798766" y="950500"/>
                  </a:lnTo>
                  <a:lnTo>
                    <a:pt x="803910" y="940213"/>
                  </a:lnTo>
                  <a:lnTo>
                    <a:pt x="808672" y="939641"/>
                  </a:lnTo>
                  <a:lnTo>
                    <a:pt x="820102" y="941356"/>
                  </a:lnTo>
                  <a:lnTo>
                    <a:pt x="826770" y="943737"/>
                  </a:lnTo>
                  <a:lnTo>
                    <a:pt x="830580" y="948023"/>
                  </a:lnTo>
                  <a:lnTo>
                    <a:pt x="833342" y="970121"/>
                  </a:lnTo>
                  <a:lnTo>
                    <a:pt x="838962" y="975836"/>
                  </a:lnTo>
                  <a:lnTo>
                    <a:pt x="845058" y="986314"/>
                  </a:lnTo>
                  <a:lnTo>
                    <a:pt x="850011" y="987266"/>
                  </a:lnTo>
                  <a:lnTo>
                    <a:pt x="858679" y="992600"/>
                  </a:lnTo>
                  <a:lnTo>
                    <a:pt x="864965" y="991743"/>
                  </a:lnTo>
                  <a:lnTo>
                    <a:pt x="869347" y="1000792"/>
                  </a:lnTo>
                  <a:lnTo>
                    <a:pt x="871347" y="1003840"/>
                  </a:lnTo>
                  <a:lnTo>
                    <a:pt x="869728" y="1004030"/>
                  </a:lnTo>
                  <a:lnTo>
                    <a:pt x="871728" y="1006983"/>
                  </a:lnTo>
                  <a:lnTo>
                    <a:pt x="876490" y="1006316"/>
                  </a:lnTo>
                  <a:lnTo>
                    <a:pt x="881253" y="1018603"/>
                  </a:lnTo>
                  <a:lnTo>
                    <a:pt x="876014" y="1040130"/>
                  </a:lnTo>
                  <a:lnTo>
                    <a:pt x="883825" y="1039082"/>
                  </a:lnTo>
                  <a:lnTo>
                    <a:pt x="888778" y="1040035"/>
                  </a:lnTo>
                  <a:lnTo>
                    <a:pt x="895922" y="1045559"/>
                  </a:lnTo>
                  <a:lnTo>
                    <a:pt x="900684" y="1044988"/>
                  </a:lnTo>
                  <a:lnTo>
                    <a:pt x="905827" y="1047560"/>
                  </a:lnTo>
                  <a:lnTo>
                    <a:pt x="910114" y="1043749"/>
                  </a:lnTo>
                  <a:lnTo>
                    <a:pt x="926878" y="1049655"/>
                  </a:lnTo>
                  <a:lnTo>
                    <a:pt x="936403" y="1048417"/>
                  </a:lnTo>
                  <a:lnTo>
                    <a:pt x="937355" y="1043464"/>
                  </a:lnTo>
                  <a:lnTo>
                    <a:pt x="940117" y="1039940"/>
                  </a:lnTo>
                  <a:lnTo>
                    <a:pt x="955072" y="1031653"/>
                  </a:lnTo>
                  <a:lnTo>
                    <a:pt x="956024" y="1026700"/>
                  </a:lnTo>
                  <a:lnTo>
                    <a:pt x="955262" y="1020413"/>
                  </a:lnTo>
                  <a:lnTo>
                    <a:pt x="958024" y="1016794"/>
                  </a:lnTo>
                  <a:lnTo>
                    <a:pt x="959167" y="1013460"/>
                  </a:lnTo>
                  <a:lnTo>
                    <a:pt x="968026" y="1007554"/>
                  </a:lnTo>
                  <a:lnTo>
                    <a:pt x="962692" y="1003364"/>
                  </a:lnTo>
                  <a:lnTo>
                    <a:pt x="967073" y="999649"/>
                  </a:lnTo>
                  <a:lnTo>
                    <a:pt x="971740" y="998982"/>
                  </a:lnTo>
                  <a:lnTo>
                    <a:pt x="972598" y="992505"/>
                  </a:lnTo>
                  <a:lnTo>
                    <a:pt x="984409" y="984599"/>
                  </a:lnTo>
                  <a:lnTo>
                    <a:pt x="987933" y="974503"/>
                  </a:lnTo>
                  <a:lnTo>
                    <a:pt x="990886" y="972503"/>
                  </a:lnTo>
                  <a:lnTo>
                    <a:pt x="993172" y="965835"/>
                  </a:lnTo>
                  <a:lnTo>
                    <a:pt x="999554" y="964978"/>
                  </a:lnTo>
                  <a:lnTo>
                    <a:pt x="1000887" y="963263"/>
                  </a:lnTo>
                  <a:lnTo>
                    <a:pt x="1002030" y="959834"/>
                  </a:lnTo>
                  <a:lnTo>
                    <a:pt x="998315" y="955548"/>
                  </a:lnTo>
                  <a:lnTo>
                    <a:pt x="997458" y="949261"/>
                  </a:lnTo>
                  <a:lnTo>
                    <a:pt x="993743" y="944880"/>
                  </a:lnTo>
                  <a:lnTo>
                    <a:pt x="991552" y="940403"/>
                  </a:lnTo>
                  <a:lnTo>
                    <a:pt x="992505" y="935450"/>
                  </a:lnTo>
                  <a:lnTo>
                    <a:pt x="997077" y="933260"/>
                  </a:lnTo>
                  <a:lnTo>
                    <a:pt x="996886" y="931640"/>
                  </a:lnTo>
                  <a:lnTo>
                    <a:pt x="997648" y="925163"/>
                  </a:lnTo>
                  <a:lnTo>
                    <a:pt x="1002221" y="922973"/>
                  </a:lnTo>
                  <a:lnTo>
                    <a:pt x="1003554" y="921163"/>
                  </a:lnTo>
                  <a:lnTo>
                    <a:pt x="1015555" y="914876"/>
                  </a:lnTo>
                  <a:lnTo>
                    <a:pt x="1023842" y="916972"/>
                  </a:lnTo>
                  <a:lnTo>
                    <a:pt x="1031367" y="912876"/>
                  </a:lnTo>
                  <a:lnTo>
                    <a:pt x="1034320" y="910876"/>
                  </a:lnTo>
                  <a:lnTo>
                    <a:pt x="1036130" y="912209"/>
                  </a:lnTo>
                  <a:lnTo>
                    <a:pt x="1038320" y="916781"/>
                  </a:lnTo>
                  <a:lnTo>
                    <a:pt x="1039463" y="926211"/>
                  </a:lnTo>
                  <a:lnTo>
                    <a:pt x="1049369" y="928211"/>
                  </a:lnTo>
                  <a:lnTo>
                    <a:pt x="1058418" y="923830"/>
                  </a:lnTo>
                  <a:lnTo>
                    <a:pt x="1065181" y="926211"/>
                  </a:lnTo>
                  <a:lnTo>
                    <a:pt x="1066133" y="921258"/>
                  </a:lnTo>
                  <a:lnTo>
                    <a:pt x="1074039" y="920210"/>
                  </a:lnTo>
                  <a:lnTo>
                    <a:pt x="1076992" y="918305"/>
                  </a:lnTo>
                  <a:lnTo>
                    <a:pt x="1081659" y="917639"/>
                  </a:lnTo>
                  <a:lnTo>
                    <a:pt x="1085850" y="912304"/>
                  </a:lnTo>
                  <a:lnTo>
                    <a:pt x="1087374" y="912114"/>
                  </a:lnTo>
                  <a:lnTo>
                    <a:pt x="1094137" y="914495"/>
                  </a:lnTo>
                  <a:lnTo>
                    <a:pt x="1094708" y="919162"/>
                  </a:lnTo>
                  <a:lnTo>
                    <a:pt x="1098042" y="920401"/>
                  </a:lnTo>
                  <a:lnTo>
                    <a:pt x="1102995" y="921353"/>
                  </a:lnTo>
                  <a:lnTo>
                    <a:pt x="1113663" y="916781"/>
                  </a:lnTo>
                  <a:lnTo>
                    <a:pt x="1120616" y="920686"/>
                  </a:lnTo>
                  <a:lnTo>
                    <a:pt x="1131475" y="930593"/>
                  </a:lnTo>
                  <a:lnTo>
                    <a:pt x="1139761" y="932688"/>
                  </a:lnTo>
                  <a:lnTo>
                    <a:pt x="1142524" y="929164"/>
                  </a:lnTo>
                  <a:lnTo>
                    <a:pt x="1145857" y="930307"/>
                  </a:lnTo>
                  <a:lnTo>
                    <a:pt x="1161383" y="913924"/>
                  </a:lnTo>
                  <a:lnTo>
                    <a:pt x="1168717" y="908209"/>
                  </a:lnTo>
                  <a:lnTo>
                    <a:pt x="1168908" y="909733"/>
                  </a:lnTo>
                  <a:lnTo>
                    <a:pt x="1176623" y="907161"/>
                  </a:lnTo>
                  <a:lnTo>
                    <a:pt x="1181862" y="898493"/>
                  </a:lnTo>
                  <a:lnTo>
                    <a:pt x="1189958" y="899065"/>
                  </a:lnTo>
                  <a:lnTo>
                    <a:pt x="1202817" y="898970"/>
                  </a:lnTo>
                  <a:lnTo>
                    <a:pt x="1212056" y="896207"/>
                  </a:lnTo>
                  <a:lnTo>
                    <a:pt x="1211866" y="894683"/>
                  </a:lnTo>
                  <a:lnTo>
                    <a:pt x="1205579" y="895445"/>
                  </a:lnTo>
                  <a:lnTo>
                    <a:pt x="1201579" y="889540"/>
                  </a:lnTo>
                  <a:lnTo>
                    <a:pt x="1205770" y="884206"/>
                  </a:lnTo>
                  <a:lnTo>
                    <a:pt x="1205103" y="879443"/>
                  </a:lnTo>
                  <a:lnTo>
                    <a:pt x="1204913" y="877919"/>
                  </a:lnTo>
                  <a:lnTo>
                    <a:pt x="1207865" y="875919"/>
                  </a:lnTo>
                  <a:lnTo>
                    <a:pt x="1209675" y="877253"/>
                  </a:lnTo>
                  <a:lnTo>
                    <a:pt x="1215390" y="871728"/>
                  </a:lnTo>
                  <a:lnTo>
                    <a:pt x="1216914" y="858774"/>
                  </a:lnTo>
                  <a:lnTo>
                    <a:pt x="1209770" y="853249"/>
                  </a:lnTo>
                  <a:lnTo>
                    <a:pt x="1209770" y="85324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1" name="Volný tvar: obrazec 30">
              <a:extLst>
                <a:ext uri="{FF2B5EF4-FFF2-40B4-BE49-F238E27FC236}">
                  <a16:creationId xmlns:a16="http://schemas.microsoft.com/office/drawing/2014/main" id="{07BC0644-A972-EAFF-AE26-66E2C69366FE}"/>
                </a:ext>
              </a:extLst>
            </p:cNvPr>
            <p:cNvSpPr>
              <a:spLocks noChangeAspect="1"/>
            </p:cNvSpPr>
            <p:nvPr userDrawn="1">
              <p:custDataLst>
                <p:tags r:id="rId4"/>
              </p:custDataLst>
            </p:nvPr>
          </p:nvSpPr>
          <p:spPr>
            <a:xfrm>
              <a:off x="5670423" y="3374230"/>
              <a:ext cx="1073848" cy="1057751"/>
            </a:xfrm>
            <a:custGeom>
              <a:avLst/>
              <a:gdLst>
                <a:gd name="connsiteX0" fmla="*/ 1072801 w 1073848"/>
                <a:gd name="connsiteY0" fmla="*/ 375761 h 1057751"/>
                <a:gd name="connsiteX1" fmla="*/ 1068705 w 1073848"/>
                <a:gd name="connsiteY1" fmla="*/ 368237 h 1057751"/>
                <a:gd name="connsiteX2" fmla="*/ 1057180 w 1073848"/>
                <a:gd name="connsiteY2" fmla="*/ 366522 h 1057751"/>
                <a:gd name="connsiteX3" fmla="*/ 1056989 w 1073848"/>
                <a:gd name="connsiteY3" fmla="*/ 364903 h 1057751"/>
                <a:gd name="connsiteX4" fmla="*/ 1052322 w 1073848"/>
                <a:gd name="connsiteY4" fmla="*/ 365474 h 1057751"/>
                <a:gd name="connsiteX5" fmla="*/ 1050322 w 1073848"/>
                <a:gd name="connsiteY5" fmla="*/ 362521 h 1057751"/>
                <a:gd name="connsiteX6" fmla="*/ 1048512 w 1073848"/>
                <a:gd name="connsiteY6" fmla="*/ 361188 h 1057751"/>
                <a:gd name="connsiteX7" fmla="*/ 1046797 w 1073848"/>
                <a:gd name="connsiteY7" fmla="*/ 359759 h 1057751"/>
                <a:gd name="connsiteX8" fmla="*/ 1045178 w 1073848"/>
                <a:gd name="connsiteY8" fmla="*/ 360045 h 1057751"/>
                <a:gd name="connsiteX9" fmla="*/ 1044607 w 1073848"/>
                <a:gd name="connsiteY9" fmla="*/ 355283 h 1057751"/>
                <a:gd name="connsiteX10" fmla="*/ 1041178 w 1073848"/>
                <a:gd name="connsiteY10" fmla="*/ 354139 h 1057751"/>
                <a:gd name="connsiteX11" fmla="*/ 1042416 w 1073848"/>
                <a:gd name="connsiteY11" fmla="*/ 350711 h 1057751"/>
                <a:gd name="connsiteX12" fmla="*/ 1048703 w 1073848"/>
                <a:gd name="connsiteY12" fmla="*/ 349949 h 1057751"/>
                <a:gd name="connsiteX13" fmla="*/ 1049846 w 1073848"/>
                <a:gd name="connsiteY13" fmla="*/ 346615 h 1057751"/>
                <a:gd name="connsiteX14" fmla="*/ 1053846 w 1073848"/>
                <a:gd name="connsiteY14" fmla="*/ 339662 h 1057751"/>
                <a:gd name="connsiteX15" fmla="*/ 1052989 w 1073848"/>
                <a:gd name="connsiteY15" fmla="*/ 333375 h 1057751"/>
                <a:gd name="connsiteX16" fmla="*/ 1054608 w 1073848"/>
                <a:gd name="connsiteY16" fmla="*/ 333184 h 1057751"/>
                <a:gd name="connsiteX17" fmla="*/ 1055941 w 1073848"/>
                <a:gd name="connsiteY17" fmla="*/ 331375 h 1057751"/>
                <a:gd name="connsiteX18" fmla="*/ 1054798 w 1073848"/>
                <a:gd name="connsiteY18" fmla="*/ 321850 h 1057751"/>
                <a:gd name="connsiteX19" fmla="*/ 1052798 w 1073848"/>
                <a:gd name="connsiteY19" fmla="*/ 318897 h 1057751"/>
                <a:gd name="connsiteX20" fmla="*/ 1043083 w 1073848"/>
                <a:gd name="connsiteY20" fmla="*/ 305753 h 1057751"/>
                <a:gd name="connsiteX21" fmla="*/ 1042511 w 1073848"/>
                <a:gd name="connsiteY21" fmla="*/ 300990 h 1057751"/>
                <a:gd name="connsiteX22" fmla="*/ 1036987 w 1073848"/>
                <a:gd name="connsiteY22" fmla="*/ 295275 h 1057751"/>
                <a:gd name="connsiteX23" fmla="*/ 1030605 w 1073848"/>
                <a:gd name="connsiteY23" fmla="*/ 296132 h 1057751"/>
                <a:gd name="connsiteX24" fmla="*/ 1024890 w 1073848"/>
                <a:gd name="connsiteY24" fmla="*/ 288798 h 1057751"/>
                <a:gd name="connsiteX25" fmla="*/ 1022509 w 1073848"/>
                <a:gd name="connsiteY25" fmla="*/ 282702 h 1057751"/>
                <a:gd name="connsiteX26" fmla="*/ 1015746 w 1073848"/>
                <a:gd name="connsiteY26" fmla="*/ 280321 h 1057751"/>
                <a:gd name="connsiteX27" fmla="*/ 1009459 w 1073848"/>
                <a:gd name="connsiteY27" fmla="*/ 281178 h 1057751"/>
                <a:gd name="connsiteX28" fmla="*/ 1000601 w 1073848"/>
                <a:gd name="connsiteY28" fmla="*/ 274225 h 1057751"/>
                <a:gd name="connsiteX29" fmla="*/ 997648 w 1073848"/>
                <a:gd name="connsiteY29" fmla="*/ 276225 h 1057751"/>
                <a:gd name="connsiteX30" fmla="*/ 990505 w 1073848"/>
                <a:gd name="connsiteY30" fmla="*/ 270700 h 1057751"/>
                <a:gd name="connsiteX31" fmla="*/ 987933 w 1073848"/>
                <a:gd name="connsiteY31" fmla="*/ 275844 h 1057751"/>
                <a:gd name="connsiteX32" fmla="*/ 984790 w 1073848"/>
                <a:gd name="connsiteY32" fmla="*/ 276320 h 1057751"/>
                <a:gd name="connsiteX33" fmla="*/ 979837 w 1073848"/>
                <a:gd name="connsiteY33" fmla="*/ 275272 h 1057751"/>
                <a:gd name="connsiteX34" fmla="*/ 977455 w 1073848"/>
                <a:gd name="connsiteY34" fmla="*/ 269176 h 1057751"/>
                <a:gd name="connsiteX35" fmla="*/ 973931 w 1073848"/>
                <a:gd name="connsiteY35" fmla="*/ 266414 h 1057751"/>
                <a:gd name="connsiteX36" fmla="*/ 967168 w 1073848"/>
                <a:gd name="connsiteY36" fmla="*/ 264128 h 1057751"/>
                <a:gd name="connsiteX37" fmla="*/ 969169 w 1073848"/>
                <a:gd name="connsiteY37" fmla="*/ 254222 h 1057751"/>
                <a:gd name="connsiteX38" fmla="*/ 964025 w 1073848"/>
                <a:gd name="connsiteY38" fmla="*/ 251650 h 1057751"/>
                <a:gd name="connsiteX39" fmla="*/ 958310 w 1073848"/>
                <a:gd name="connsiteY39" fmla="*/ 244412 h 1057751"/>
                <a:gd name="connsiteX40" fmla="*/ 948595 w 1073848"/>
                <a:gd name="connsiteY40" fmla="*/ 231172 h 1057751"/>
                <a:gd name="connsiteX41" fmla="*/ 944785 w 1073848"/>
                <a:gd name="connsiteY41" fmla="*/ 226886 h 1057751"/>
                <a:gd name="connsiteX42" fmla="*/ 936498 w 1073848"/>
                <a:gd name="connsiteY42" fmla="*/ 224695 h 1057751"/>
                <a:gd name="connsiteX43" fmla="*/ 929640 w 1073848"/>
                <a:gd name="connsiteY43" fmla="*/ 220789 h 1057751"/>
                <a:gd name="connsiteX44" fmla="*/ 928211 w 1073848"/>
                <a:gd name="connsiteY44" fmla="*/ 222504 h 1057751"/>
                <a:gd name="connsiteX45" fmla="*/ 926497 w 1073848"/>
                <a:gd name="connsiteY45" fmla="*/ 221171 h 1057751"/>
                <a:gd name="connsiteX46" fmla="*/ 921734 w 1073848"/>
                <a:gd name="connsiteY46" fmla="*/ 221742 h 1057751"/>
                <a:gd name="connsiteX47" fmla="*/ 921353 w 1073848"/>
                <a:gd name="connsiteY47" fmla="*/ 218599 h 1057751"/>
                <a:gd name="connsiteX48" fmla="*/ 916019 w 1073848"/>
                <a:gd name="connsiteY48" fmla="*/ 214503 h 1057751"/>
                <a:gd name="connsiteX49" fmla="*/ 913638 w 1073848"/>
                <a:gd name="connsiteY49" fmla="*/ 208407 h 1057751"/>
                <a:gd name="connsiteX50" fmla="*/ 910495 w 1073848"/>
                <a:gd name="connsiteY50" fmla="*/ 208788 h 1057751"/>
                <a:gd name="connsiteX51" fmla="*/ 909447 w 1073848"/>
                <a:gd name="connsiteY51" fmla="*/ 213741 h 1057751"/>
                <a:gd name="connsiteX52" fmla="*/ 906304 w 1073848"/>
                <a:gd name="connsiteY52" fmla="*/ 214122 h 1057751"/>
                <a:gd name="connsiteX53" fmla="*/ 899160 w 1073848"/>
                <a:gd name="connsiteY53" fmla="*/ 208597 h 1057751"/>
                <a:gd name="connsiteX54" fmla="*/ 895445 w 1073848"/>
                <a:gd name="connsiteY54" fmla="*/ 204311 h 1057751"/>
                <a:gd name="connsiteX55" fmla="*/ 889159 w 1073848"/>
                <a:gd name="connsiteY55" fmla="*/ 205073 h 1057751"/>
                <a:gd name="connsiteX56" fmla="*/ 884777 w 1073848"/>
                <a:gd name="connsiteY56" fmla="*/ 208883 h 1057751"/>
                <a:gd name="connsiteX57" fmla="*/ 881443 w 1073848"/>
                <a:gd name="connsiteY57" fmla="*/ 207645 h 1057751"/>
                <a:gd name="connsiteX58" fmla="*/ 882587 w 1073848"/>
                <a:gd name="connsiteY58" fmla="*/ 204311 h 1057751"/>
                <a:gd name="connsiteX59" fmla="*/ 878681 w 1073848"/>
                <a:gd name="connsiteY59" fmla="*/ 198406 h 1057751"/>
                <a:gd name="connsiteX60" fmla="*/ 874871 w 1073848"/>
                <a:gd name="connsiteY60" fmla="*/ 194024 h 1057751"/>
                <a:gd name="connsiteX61" fmla="*/ 866013 w 1073848"/>
                <a:gd name="connsiteY61" fmla="*/ 200025 h 1057751"/>
                <a:gd name="connsiteX62" fmla="*/ 856202 w 1073848"/>
                <a:gd name="connsiteY62" fmla="*/ 198025 h 1057751"/>
                <a:gd name="connsiteX63" fmla="*/ 856393 w 1073848"/>
                <a:gd name="connsiteY63" fmla="*/ 199644 h 1057751"/>
                <a:gd name="connsiteX64" fmla="*/ 852964 w 1073848"/>
                <a:gd name="connsiteY64" fmla="*/ 198501 h 1057751"/>
                <a:gd name="connsiteX65" fmla="*/ 848868 w 1073848"/>
                <a:gd name="connsiteY65" fmla="*/ 203835 h 1057751"/>
                <a:gd name="connsiteX66" fmla="*/ 843343 w 1073848"/>
                <a:gd name="connsiteY66" fmla="*/ 198120 h 1057751"/>
                <a:gd name="connsiteX67" fmla="*/ 839914 w 1073848"/>
                <a:gd name="connsiteY67" fmla="*/ 184118 h 1057751"/>
                <a:gd name="connsiteX68" fmla="*/ 834390 w 1073848"/>
                <a:gd name="connsiteY68" fmla="*/ 178403 h 1057751"/>
                <a:gd name="connsiteX69" fmla="*/ 834199 w 1073848"/>
                <a:gd name="connsiteY69" fmla="*/ 176784 h 1057751"/>
                <a:gd name="connsiteX70" fmla="*/ 830675 w 1073848"/>
                <a:gd name="connsiteY70" fmla="*/ 174022 h 1057751"/>
                <a:gd name="connsiteX71" fmla="*/ 826865 w 1073848"/>
                <a:gd name="connsiteY71" fmla="*/ 169736 h 1057751"/>
                <a:gd name="connsiteX72" fmla="*/ 825341 w 1073848"/>
                <a:gd name="connsiteY72" fmla="*/ 169926 h 1057751"/>
                <a:gd name="connsiteX73" fmla="*/ 820198 w 1073848"/>
                <a:gd name="connsiteY73" fmla="*/ 167354 h 1057751"/>
                <a:gd name="connsiteX74" fmla="*/ 817055 w 1073848"/>
                <a:gd name="connsiteY74" fmla="*/ 167735 h 1057751"/>
                <a:gd name="connsiteX75" fmla="*/ 813625 w 1073848"/>
                <a:gd name="connsiteY75" fmla="*/ 166592 h 1057751"/>
                <a:gd name="connsiteX76" fmla="*/ 811054 w 1073848"/>
                <a:gd name="connsiteY76" fmla="*/ 171736 h 1057751"/>
                <a:gd name="connsiteX77" fmla="*/ 809339 w 1073848"/>
                <a:gd name="connsiteY77" fmla="*/ 170307 h 1057751"/>
                <a:gd name="connsiteX78" fmla="*/ 802576 w 1073848"/>
                <a:gd name="connsiteY78" fmla="*/ 168021 h 1057751"/>
                <a:gd name="connsiteX79" fmla="*/ 800576 w 1073848"/>
                <a:gd name="connsiteY79" fmla="*/ 165068 h 1057751"/>
                <a:gd name="connsiteX80" fmla="*/ 795909 w 1073848"/>
                <a:gd name="connsiteY80" fmla="*/ 165640 h 1057751"/>
                <a:gd name="connsiteX81" fmla="*/ 790956 w 1073848"/>
                <a:gd name="connsiteY81" fmla="*/ 164687 h 1057751"/>
                <a:gd name="connsiteX82" fmla="*/ 781907 w 1073848"/>
                <a:gd name="connsiteY82" fmla="*/ 156210 h 1057751"/>
                <a:gd name="connsiteX83" fmla="*/ 781240 w 1073848"/>
                <a:gd name="connsiteY83" fmla="*/ 151447 h 1057751"/>
                <a:gd name="connsiteX84" fmla="*/ 782860 w 1073848"/>
                <a:gd name="connsiteY84" fmla="*/ 151257 h 1057751"/>
                <a:gd name="connsiteX85" fmla="*/ 780669 w 1073848"/>
                <a:gd name="connsiteY85" fmla="*/ 146780 h 1057751"/>
                <a:gd name="connsiteX86" fmla="*/ 782003 w 1073848"/>
                <a:gd name="connsiteY86" fmla="*/ 144971 h 1057751"/>
                <a:gd name="connsiteX87" fmla="*/ 783241 w 1073848"/>
                <a:gd name="connsiteY87" fmla="*/ 141637 h 1057751"/>
                <a:gd name="connsiteX88" fmla="*/ 780288 w 1073848"/>
                <a:gd name="connsiteY88" fmla="*/ 143542 h 1057751"/>
                <a:gd name="connsiteX89" fmla="*/ 778288 w 1073848"/>
                <a:gd name="connsiteY89" fmla="*/ 140589 h 1057751"/>
                <a:gd name="connsiteX90" fmla="*/ 773525 w 1073848"/>
                <a:gd name="connsiteY90" fmla="*/ 141256 h 1057751"/>
                <a:gd name="connsiteX91" fmla="*/ 772763 w 1073848"/>
                <a:gd name="connsiteY91" fmla="*/ 147733 h 1057751"/>
                <a:gd name="connsiteX92" fmla="*/ 757047 w 1073848"/>
                <a:gd name="connsiteY92" fmla="*/ 162592 h 1057751"/>
                <a:gd name="connsiteX93" fmla="*/ 755047 w 1073848"/>
                <a:gd name="connsiteY93" fmla="*/ 172403 h 1057751"/>
                <a:gd name="connsiteX94" fmla="*/ 757809 w 1073848"/>
                <a:gd name="connsiteY94" fmla="*/ 181737 h 1057751"/>
                <a:gd name="connsiteX95" fmla="*/ 756285 w 1073848"/>
                <a:gd name="connsiteY95" fmla="*/ 181928 h 1057751"/>
                <a:gd name="connsiteX96" fmla="*/ 754856 w 1073848"/>
                <a:gd name="connsiteY96" fmla="*/ 183737 h 1057751"/>
                <a:gd name="connsiteX97" fmla="*/ 743426 w 1073848"/>
                <a:gd name="connsiteY97" fmla="*/ 181928 h 1057751"/>
                <a:gd name="connsiteX98" fmla="*/ 748379 w 1073848"/>
                <a:gd name="connsiteY98" fmla="*/ 195739 h 1057751"/>
                <a:gd name="connsiteX99" fmla="*/ 740759 w 1073848"/>
                <a:gd name="connsiteY99" fmla="*/ 198311 h 1057751"/>
                <a:gd name="connsiteX100" fmla="*/ 740950 w 1073848"/>
                <a:gd name="connsiteY100" fmla="*/ 199930 h 1057751"/>
                <a:gd name="connsiteX101" fmla="*/ 736187 w 1073848"/>
                <a:gd name="connsiteY101" fmla="*/ 200501 h 1057751"/>
                <a:gd name="connsiteX102" fmla="*/ 731044 w 1073848"/>
                <a:gd name="connsiteY102" fmla="*/ 197929 h 1057751"/>
                <a:gd name="connsiteX103" fmla="*/ 726281 w 1073848"/>
                <a:gd name="connsiteY103" fmla="*/ 198596 h 1057751"/>
                <a:gd name="connsiteX104" fmla="*/ 723329 w 1073848"/>
                <a:gd name="connsiteY104" fmla="*/ 200501 h 1057751"/>
                <a:gd name="connsiteX105" fmla="*/ 720185 w 1073848"/>
                <a:gd name="connsiteY105" fmla="*/ 200978 h 1057751"/>
                <a:gd name="connsiteX106" fmla="*/ 710946 w 1073848"/>
                <a:gd name="connsiteY106" fmla="*/ 190881 h 1057751"/>
                <a:gd name="connsiteX107" fmla="*/ 709136 w 1073848"/>
                <a:gd name="connsiteY107" fmla="*/ 189547 h 1057751"/>
                <a:gd name="connsiteX108" fmla="*/ 708946 w 1073848"/>
                <a:gd name="connsiteY108" fmla="*/ 187928 h 1057751"/>
                <a:gd name="connsiteX109" fmla="*/ 703993 w 1073848"/>
                <a:gd name="connsiteY109" fmla="*/ 186976 h 1057751"/>
                <a:gd name="connsiteX110" fmla="*/ 693515 w 1073848"/>
                <a:gd name="connsiteY110" fmla="*/ 180308 h 1057751"/>
                <a:gd name="connsiteX111" fmla="*/ 685609 w 1073848"/>
                <a:gd name="connsiteY111" fmla="*/ 181261 h 1057751"/>
                <a:gd name="connsiteX112" fmla="*/ 674941 w 1073848"/>
                <a:gd name="connsiteY112" fmla="*/ 173069 h 1057751"/>
                <a:gd name="connsiteX113" fmla="*/ 676084 w 1073848"/>
                <a:gd name="connsiteY113" fmla="*/ 169640 h 1057751"/>
                <a:gd name="connsiteX114" fmla="*/ 670370 w 1073848"/>
                <a:gd name="connsiteY114" fmla="*/ 162401 h 1057751"/>
                <a:gd name="connsiteX115" fmla="*/ 676847 w 1073848"/>
                <a:gd name="connsiteY115" fmla="*/ 150304 h 1057751"/>
                <a:gd name="connsiteX116" fmla="*/ 681418 w 1073848"/>
                <a:gd name="connsiteY116" fmla="*/ 148114 h 1057751"/>
                <a:gd name="connsiteX117" fmla="*/ 681323 w 1073848"/>
                <a:gd name="connsiteY117" fmla="*/ 135350 h 1057751"/>
                <a:gd name="connsiteX118" fmla="*/ 677037 w 1073848"/>
                <a:gd name="connsiteY118" fmla="*/ 139065 h 1057751"/>
                <a:gd name="connsiteX119" fmla="*/ 671131 w 1073848"/>
                <a:gd name="connsiteY119" fmla="*/ 143066 h 1057751"/>
                <a:gd name="connsiteX120" fmla="*/ 668941 w 1073848"/>
                <a:gd name="connsiteY120" fmla="*/ 138493 h 1057751"/>
                <a:gd name="connsiteX121" fmla="*/ 657511 w 1073848"/>
                <a:gd name="connsiteY121" fmla="*/ 136779 h 1057751"/>
                <a:gd name="connsiteX122" fmla="*/ 651129 w 1073848"/>
                <a:gd name="connsiteY122" fmla="*/ 124778 h 1057751"/>
                <a:gd name="connsiteX123" fmla="*/ 647986 w 1073848"/>
                <a:gd name="connsiteY123" fmla="*/ 125158 h 1057751"/>
                <a:gd name="connsiteX124" fmla="*/ 647795 w 1073848"/>
                <a:gd name="connsiteY124" fmla="*/ 123539 h 1057751"/>
                <a:gd name="connsiteX125" fmla="*/ 642652 w 1073848"/>
                <a:gd name="connsiteY125" fmla="*/ 121063 h 1057751"/>
                <a:gd name="connsiteX126" fmla="*/ 640651 w 1073848"/>
                <a:gd name="connsiteY126" fmla="*/ 118015 h 1057751"/>
                <a:gd name="connsiteX127" fmla="*/ 636175 w 1073848"/>
                <a:gd name="connsiteY127" fmla="*/ 120205 h 1057751"/>
                <a:gd name="connsiteX128" fmla="*/ 632365 w 1073848"/>
                <a:gd name="connsiteY128" fmla="*/ 115919 h 1057751"/>
                <a:gd name="connsiteX129" fmla="*/ 629412 w 1073848"/>
                <a:gd name="connsiteY129" fmla="*/ 117920 h 1057751"/>
                <a:gd name="connsiteX130" fmla="*/ 629603 w 1073848"/>
                <a:gd name="connsiteY130" fmla="*/ 119443 h 1057751"/>
                <a:gd name="connsiteX131" fmla="*/ 627888 w 1073848"/>
                <a:gd name="connsiteY131" fmla="*/ 118110 h 1057751"/>
                <a:gd name="connsiteX132" fmla="*/ 623506 w 1073848"/>
                <a:gd name="connsiteY132" fmla="*/ 121825 h 1057751"/>
                <a:gd name="connsiteX133" fmla="*/ 620363 w 1073848"/>
                <a:gd name="connsiteY133" fmla="*/ 122301 h 1057751"/>
                <a:gd name="connsiteX134" fmla="*/ 618363 w 1073848"/>
                <a:gd name="connsiteY134" fmla="*/ 119253 h 1057751"/>
                <a:gd name="connsiteX135" fmla="*/ 618934 w 1073848"/>
                <a:gd name="connsiteY135" fmla="*/ 111252 h 1057751"/>
                <a:gd name="connsiteX136" fmla="*/ 617411 w 1073848"/>
                <a:gd name="connsiteY136" fmla="*/ 111442 h 1057751"/>
                <a:gd name="connsiteX137" fmla="*/ 620744 w 1073848"/>
                <a:gd name="connsiteY137" fmla="*/ 99727 h 1057751"/>
                <a:gd name="connsiteX138" fmla="*/ 623030 w 1073848"/>
                <a:gd name="connsiteY138" fmla="*/ 93059 h 1057751"/>
                <a:gd name="connsiteX139" fmla="*/ 618363 w 1073848"/>
                <a:gd name="connsiteY139" fmla="*/ 93631 h 1057751"/>
                <a:gd name="connsiteX140" fmla="*/ 618744 w 1073848"/>
                <a:gd name="connsiteY140" fmla="*/ 96774 h 1057751"/>
                <a:gd name="connsiteX141" fmla="*/ 613600 w 1073848"/>
                <a:gd name="connsiteY141" fmla="*/ 94202 h 1057751"/>
                <a:gd name="connsiteX142" fmla="*/ 608838 w 1073848"/>
                <a:gd name="connsiteY142" fmla="*/ 94869 h 1057751"/>
                <a:gd name="connsiteX143" fmla="*/ 603504 w 1073848"/>
                <a:gd name="connsiteY143" fmla="*/ 90678 h 1057751"/>
                <a:gd name="connsiteX144" fmla="*/ 594074 w 1073848"/>
                <a:gd name="connsiteY144" fmla="*/ 91916 h 1057751"/>
                <a:gd name="connsiteX145" fmla="*/ 594265 w 1073848"/>
                <a:gd name="connsiteY145" fmla="*/ 93536 h 1057751"/>
                <a:gd name="connsiteX146" fmla="*/ 585788 w 1073848"/>
                <a:gd name="connsiteY146" fmla="*/ 89821 h 1057751"/>
                <a:gd name="connsiteX147" fmla="*/ 587121 w 1073848"/>
                <a:gd name="connsiteY147" fmla="*/ 88011 h 1057751"/>
                <a:gd name="connsiteX148" fmla="*/ 584930 w 1073848"/>
                <a:gd name="connsiteY148" fmla="*/ 83439 h 1057751"/>
                <a:gd name="connsiteX149" fmla="*/ 583216 w 1073848"/>
                <a:gd name="connsiteY149" fmla="*/ 82105 h 1057751"/>
                <a:gd name="connsiteX150" fmla="*/ 580263 w 1073848"/>
                <a:gd name="connsiteY150" fmla="*/ 84106 h 1057751"/>
                <a:gd name="connsiteX151" fmla="*/ 579977 w 1073848"/>
                <a:gd name="connsiteY151" fmla="*/ 82487 h 1057751"/>
                <a:gd name="connsiteX152" fmla="*/ 578453 w 1073848"/>
                <a:gd name="connsiteY152" fmla="*/ 82677 h 1057751"/>
                <a:gd name="connsiteX153" fmla="*/ 576643 w 1073848"/>
                <a:gd name="connsiteY153" fmla="*/ 81343 h 1057751"/>
                <a:gd name="connsiteX154" fmla="*/ 578263 w 1073848"/>
                <a:gd name="connsiteY154" fmla="*/ 81153 h 1057751"/>
                <a:gd name="connsiteX155" fmla="*/ 579406 w 1073848"/>
                <a:gd name="connsiteY155" fmla="*/ 77724 h 1057751"/>
                <a:gd name="connsiteX156" fmla="*/ 577882 w 1073848"/>
                <a:gd name="connsiteY156" fmla="*/ 77914 h 1057751"/>
                <a:gd name="connsiteX157" fmla="*/ 576072 w 1073848"/>
                <a:gd name="connsiteY157" fmla="*/ 76581 h 1057751"/>
                <a:gd name="connsiteX158" fmla="*/ 574453 w 1073848"/>
                <a:gd name="connsiteY158" fmla="*/ 76771 h 1057751"/>
                <a:gd name="connsiteX159" fmla="*/ 573691 w 1073848"/>
                <a:gd name="connsiteY159" fmla="*/ 70485 h 1057751"/>
                <a:gd name="connsiteX160" fmla="*/ 570357 w 1073848"/>
                <a:gd name="connsiteY160" fmla="*/ 69247 h 1057751"/>
                <a:gd name="connsiteX161" fmla="*/ 571500 w 1073848"/>
                <a:gd name="connsiteY161" fmla="*/ 65913 h 1057751"/>
                <a:gd name="connsiteX162" fmla="*/ 567404 w 1073848"/>
                <a:gd name="connsiteY162" fmla="*/ 71247 h 1057751"/>
                <a:gd name="connsiteX163" fmla="*/ 562451 w 1073848"/>
                <a:gd name="connsiteY163" fmla="*/ 70295 h 1057751"/>
                <a:gd name="connsiteX164" fmla="*/ 561880 w 1073848"/>
                <a:gd name="connsiteY164" fmla="*/ 65532 h 1057751"/>
                <a:gd name="connsiteX165" fmla="*/ 557498 w 1073848"/>
                <a:gd name="connsiteY165" fmla="*/ 69342 h 1057751"/>
                <a:gd name="connsiteX166" fmla="*/ 553688 w 1073848"/>
                <a:gd name="connsiteY166" fmla="*/ 64961 h 1057751"/>
                <a:gd name="connsiteX167" fmla="*/ 553307 w 1073848"/>
                <a:gd name="connsiteY167" fmla="*/ 61817 h 1057751"/>
                <a:gd name="connsiteX168" fmla="*/ 556450 w 1073848"/>
                <a:gd name="connsiteY168" fmla="*/ 61436 h 1057751"/>
                <a:gd name="connsiteX169" fmla="*/ 554546 w 1073848"/>
                <a:gd name="connsiteY169" fmla="*/ 58483 h 1057751"/>
                <a:gd name="connsiteX170" fmla="*/ 546640 w 1073848"/>
                <a:gd name="connsiteY170" fmla="*/ 59531 h 1057751"/>
                <a:gd name="connsiteX171" fmla="*/ 546449 w 1073848"/>
                <a:gd name="connsiteY171" fmla="*/ 57912 h 1057751"/>
                <a:gd name="connsiteX172" fmla="*/ 543306 w 1073848"/>
                <a:gd name="connsiteY172" fmla="*/ 58293 h 1057751"/>
                <a:gd name="connsiteX173" fmla="*/ 541496 w 1073848"/>
                <a:gd name="connsiteY173" fmla="*/ 56959 h 1057751"/>
                <a:gd name="connsiteX174" fmla="*/ 537496 w 1073848"/>
                <a:gd name="connsiteY174" fmla="*/ 51054 h 1057751"/>
                <a:gd name="connsiteX175" fmla="*/ 534733 w 1073848"/>
                <a:gd name="connsiteY175" fmla="*/ 54578 h 1057751"/>
                <a:gd name="connsiteX176" fmla="*/ 534162 w 1073848"/>
                <a:gd name="connsiteY176" fmla="*/ 62675 h 1057751"/>
                <a:gd name="connsiteX177" fmla="*/ 527875 w 1073848"/>
                <a:gd name="connsiteY177" fmla="*/ 63437 h 1057751"/>
                <a:gd name="connsiteX178" fmla="*/ 526066 w 1073848"/>
                <a:gd name="connsiteY178" fmla="*/ 62103 h 1057751"/>
                <a:gd name="connsiteX179" fmla="*/ 524732 w 1073848"/>
                <a:gd name="connsiteY179" fmla="*/ 63913 h 1057751"/>
                <a:gd name="connsiteX180" fmla="*/ 520541 w 1073848"/>
                <a:gd name="connsiteY180" fmla="*/ 56388 h 1057751"/>
                <a:gd name="connsiteX181" fmla="*/ 521780 w 1073848"/>
                <a:gd name="connsiteY181" fmla="*/ 53054 h 1057751"/>
                <a:gd name="connsiteX182" fmla="*/ 515398 w 1073848"/>
                <a:gd name="connsiteY182" fmla="*/ 53816 h 1057751"/>
                <a:gd name="connsiteX183" fmla="*/ 515874 w 1073848"/>
                <a:gd name="connsiteY183" fmla="*/ 56959 h 1057751"/>
                <a:gd name="connsiteX184" fmla="*/ 511112 w 1073848"/>
                <a:gd name="connsiteY184" fmla="*/ 57626 h 1057751"/>
                <a:gd name="connsiteX185" fmla="*/ 511302 w 1073848"/>
                <a:gd name="connsiteY185" fmla="*/ 59150 h 1057751"/>
                <a:gd name="connsiteX186" fmla="*/ 508159 w 1073848"/>
                <a:gd name="connsiteY186" fmla="*/ 59531 h 1057751"/>
                <a:gd name="connsiteX187" fmla="*/ 507968 w 1073848"/>
                <a:gd name="connsiteY187" fmla="*/ 58007 h 1057751"/>
                <a:gd name="connsiteX188" fmla="*/ 501587 w 1073848"/>
                <a:gd name="connsiteY188" fmla="*/ 58769 h 1057751"/>
                <a:gd name="connsiteX189" fmla="*/ 498253 w 1073848"/>
                <a:gd name="connsiteY189" fmla="*/ 57626 h 1057751"/>
                <a:gd name="connsiteX190" fmla="*/ 495300 w 1073848"/>
                <a:gd name="connsiteY190" fmla="*/ 59626 h 1057751"/>
                <a:gd name="connsiteX191" fmla="*/ 493300 w 1073848"/>
                <a:gd name="connsiteY191" fmla="*/ 56674 h 1057751"/>
                <a:gd name="connsiteX192" fmla="*/ 490538 w 1073848"/>
                <a:gd name="connsiteY192" fmla="*/ 60198 h 1057751"/>
                <a:gd name="connsiteX193" fmla="*/ 490156 w 1073848"/>
                <a:gd name="connsiteY193" fmla="*/ 57055 h 1057751"/>
                <a:gd name="connsiteX194" fmla="*/ 489204 w 1073848"/>
                <a:gd name="connsiteY194" fmla="*/ 62008 h 1057751"/>
                <a:gd name="connsiteX195" fmla="*/ 487204 w 1073848"/>
                <a:gd name="connsiteY195" fmla="*/ 59055 h 1057751"/>
                <a:gd name="connsiteX196" fmla="*/ 489966 w 1073848"/>
                <a:gd name="connsiteY196" fmla="*/ 55436 h 1057751"/>
                <a:gd name="connsiteX197" fmla="*/ 487775 w 1073848"/>
                <a:gd name="connsiteY197" fmla="*/ 50959 h 1057751"/>
                <a:gd name="connsiteX198" fmla="*/ 489204 w 1073848"/>
                <a:gd name="connsiteY198" fmla="*/ 49149 h 1057751"/>
                <a:gd name="connsiteX199" fmla="*/ 486061 w 1073848"/>
                <a:gd name="connsiteY199" fmla="*/ 49530 h 1057751"/>
                <a:gd name="connsiteX200" fmla="*/ 484251 w 1073848"/>
                <a:gd name="connsiteY200" fmla="*/ 48196 h 1057751"/>
                <a:gd name="connsiteX201" fmla="*/ 481108 w 1073848"/>
                <a:gd name="connsiteY201" fmla="*/ 48578 h 1057751"/>
                <a:gd name="connsiteX202" fmla="*/ 477298 w 1073848"/>
                <a:gd name="connsiteY202" fmla="*/ 44291 h 1057751"/>
                <a:gd name="connsiteX203" fmla="*/ 477107 w 1073848"/>
                <a:gd name="connsiteY203" fmla="*/ 42672 h 1057751"/>
                <a:gd name="connsiteX204" fmla="*/ 478060 w 1073848"/>
                <a:gd name="connsiteY204" fmla="*/ 37719 h 1057751"/>
                <a:gd name="connsiteX205" fmla="*/ 471773 w 1073848"/>
                <a:gd name="connsiteY205" fmla="*/ 38576 h 1057751"/>
                <a:gd name="connsiteX206" fmla="*/ 469773 w 1073848"/>
                <a:gd name="connsiteY206" fmla="*/ 35624 h 1057751"/>
                <a:gd name="connsiteX207" fmla="*/ 469392 w 1073848"/>
                <a:gd name="connsiteY207" fmla="*/ 32480 h 1057751"/>
                <a:gd name="connsiteX208" fmla="*/ 464630 w 1073848"/>
                <a:gd name="connsiteY208" fmla="*/ 33052 h 1057751"/>
                <a:gd name="connsiteX209" fmla="*/ 455390 w 1073848"/>
                <a:gd name="connsiteY209" fmla="*/ 22955 h 1057751"/>
                <a:gd name="connsiteX210" fmla="*/ 448818 w 1073848"/>
                <a:gd name="connsiteY210" fmla="*/ 22193 h 1057751"/>
                <a:gd name="connsiteX211" fmla="*/ 445294 w 1073848"/>
                <a:gd name="connsiteY211" fmla="*/ 19431 h 1057751"/>
                <a:gd name="connsiteX212" fmla="*/ 441579 w 1073848"/>
                <a:gd name="connsiteY212" fmla="*/ 15145 h 1057751"/>
                <a:gd name="connsiteX213" fmla="*/ 437769 w 1073848"/>
                <a:gd name="connsiteY213" fmla="*/ 10763 h 1057751"/>
                <a:gd name="connsiteX214" fmla="*/ 432625 w 1073848"/>
                <a:gd name="connsiteY214" fmla="*/ 8287 h 1057751"/>
                <a:gd name="connsiteX215" fmla="*/ 421957 w 1073848"/>
                <a:gd name="connsiteY215" fmla="*/ 0 h 1057751"/>
                <a:gd name="connsiteX216" fmla="*/ 420624 w 1073848"/>
                <a:gd name="connsiteY216" fmla="*/ 1810 h 1057751"/>
                <a:gd name="connsiteX217" fmla="*/ 421386 w 1073848"/>
                <a:gd name="connsiteY217" fmla="*/ 8096 h 1057751"/>
                <a:gd name="connsiteX218" fmla="*/ 417290 w 1073848"/>
                <a:gd name="connsiteY218" fmla="*/ 13430 h 1057751"/>
                <a:gd name="connsiteX219" fmla="*/ 413480 w 1073848"/>
                <a:gd name="connsiteY219" fmla="*/ 9049 h 1057751"/>
                <a:gd name="connsiteX220" fmla="*/ 405860 w 1073848"/>
                <a:gd name="connsiteY220" fmla="*/ 11716 h 1057751"/>
                <a:gd name="connsiteX221" fmla="*/ 406051 w 1073848"/>
                <a:gd name="connsiteY221" fmla="*/ 13240 h 1057751"/>
                <a:gd name="connsiteX222" fmla="*/ 407765 w 1073848"/>
                <a:gd name="connsiteY222" fmla="*/ 14668 h 1057751"/>
                <a:gd name="connsiteX223" fmla="*/ 406241 w 1073848"/>
                <a:gd name="connsiteY223" fmla="*/ 14859 h 1057751"/>
                <a:gd name="connsiteX224" fmla="*/ 406813 w 1073848"/>
                <a:gd name="connsiteY224" fmla="*/ 19526 h 1057751"/>
                <a:gd name="connsiteX225" fmla="*/ 402336 w 1073848"/>
                <a:gd name="connsiteY225" fmla="*/ 21717 h 1057751"/>
                <a:gd name="connsiteX226" fmla="*/ 399097 w 1073848"/>
                <a:gd name="connsiteY226" fmla="*/ 22193 h 1057751"/>
                <a:gd name="connsiteX227" fmla="*/ 399574 w 1073848"/>
                <a:gd name="connsiteY227" fmla="*/ 25337 h 1057751"/>
                <a:gd name="connsiteX228" fmla="*/ 397955 w 1073848"/>
                <a:gd name="connsiteY228" fmla="*/ 25527 h 1057751"/>
                <a:gd name="connsiteX229" fmla="*/ 393954 w 1073848"/>
                <a:gd name="connsiteY229" fmla="*/ 19621 h 1057751"/>
                <a:gd name="connsiteX230" fmla="*/ 388906 w 1073848"/>
                <a:gd name="connsiteY230" fmla="*/ 17050 h 1057751"/>
                <a:gd name="connsiteX231" fmla="*/ 385953 w 1073848"/>
                <a:gd name="connsiteY231" fmla="*/ 19050 h 1057751"/>
                <a:gd name="connsiteX232" fmla="*/ 376047 w 1073848"/>
                <a:gd name="connsiteY232" fmla="*/ 29908 h 1057751"/>
                <a:gd name="connsiteX233" fmla="*/ 376428 w 1073848"/>
                <a:gd name="connsiteY233" fmla="*/ 33052 h 1057751"/>
                <a:gd name="connsiteX234" fmla="*/ 371570 w 1073848"/>
                <a:gd name="connsiteY234" fmla="*/ 32099 h 1057751"/>
                <a:gd name="connsiteX235" fmla="*/ 368998 w 1073848"/>
                <a:gd name="connsiteY235" fmla="*/ 37243 h 1057751"/>
                <a:gd name="connsiteX236" fmla="*/ 365093 w 1073848"/>
                <a:gd name="connsiteY236" fmla="*/ 44101 h 1057751"/>
                <a:gd name="connsiteX237" fmla="*/ 365665 w 1073848"/>
                <a:gd name="connsiteY237" fmla="*/ 48863 h 1057751"/>
                <a:gd name="connsiteX238" fmla="*/ 367665 w 1073848"/>
                <a:gd name="connsiteY238" fmla="*/ 51816 h 1057751"/>
                <a:gd name="connsiteX239" fmla="*/ 372332 w 1073848"/>
                <a:gd name="connsiteY239" fmla="*/ 51245 h 1057751"/>
                <a:gd name="connsiteX240" fmla="*/ 375475 w 1073848"/>
                <a:gd name="connsiteY240" fmla="*/ 50768 h 1057751"/>
                <a:gd name="connsiteX241" fmla="*/ 374523 w 1073848"/>
                <a:gd name="connsiteY241" fmla="*/ 55721 h 1057751"/>
                <a:gd name="connsiteX242" fmla="*/ 378142 w 1073848"/>
                <a:gd name="connsiteY242" fmla="*/ 58483 h 1057751"/>
                <a:gd name="connsiteX243" fmla="*/ 377095 w 1073848"/>
                <a:gd name="connsiteY243" fmla="*/ 63437 h 1057751"/>
                <a:gd name="connsiteX244" fmla="*/ 382238 w 1073848"/>
                <a:gd name="connsiteY244" fmla="*/ 66008 h 1057751"/>
                <a:gd name="connsiteX245" fmla="*/ 379285 w 1073848"/>
                <a:gd name="connsiteY245" fmla="*/ 68008 h 1057751"/>
                <a:gd name="connsiteX246" fmla="*/ 379762 w 1073848"/>
                <a:gd name="connsiteY246" fmla="*/ 71152 h 1057751"/>
                <a:gd name="connsiteX247" fmla="*/ 376999 w 1073848"/>
                <a:gd name="connsiteY247" fmla="*/ 74676 h 1057751"/>
                <a:gd name="connsiteX248" fmla="*/ 373761 w 1073848"/>
                <a:gd name="connsiteY248" fmla="*/ 75057 h 1057751"/>
                <a:gd name="connsiteX249" fmla="*/ 371094 w 1073848"/>
                <a:gd name="connsiteY249" fmla="*/ 78676 h 1057751"/>
                <a:gd name="connsiteX250" fmla="*/ 371284 w 1073848"/>
                <a:gd name="connsiteY250" fmla="*/ 80200 h 1057751"/>
                <a:gd name="connsiteX251" fmla="*/ 367665 w 1073848"/>
                <a:gd name="connsiteY251" fmla="*/ 77438 h 1057751"/>
                <a:gd name="connsiteX252" fmla="*/ 366141 w 1073848"/>
                <a:gd name="connsiteY252" fmla="*/ 77629 h 1057751"/>
                <a:gd name="connsiteX253" fmla="*/ 364331 w 1073848"/>
                <a:gd name="connsiteY253" fmla="*/ 76295 h 1057751"/>
                <a:gd name="connsiteX254" fmla="*/ 359759 w 1073848"/>
                <a:gd name="connsiteY254" fmla="*/ 78486 h 1057751"/>
                <a:gd name="connsiteX255" fmla="*/ 352711 w 1073848"/>
                <a:gd name="connsiteY255" fmla="*/ 72962 h 1057751"/>
                <a:gd name="connsiteX256" fmla="*/ 353282 w 1073848"/>
                <a:gd name="connsiteY256" fmla="*/ 77724 h 1057751"/>
                <a:gd name="connsiteX257" fmla="*/ 350139 w 1073848"/>
                <a:gd name="connsiteY257" fmla="*/ 78105 h 1057751"/>
                <a:gd name="connsiteX258" fmla="*/ 346615 w 1073848"/>
                <a:gd name="connsiteY258" fmla="*/ 75343 h 1057751"/>
                <a:gd name="connsiteX259" fmla="*/ 345757 w 1073848"/>
                <a:gd name="connsiteY259" fmla="*/ 69056 h 1057751"/>
                <a:gd name="connsiteX260" fmla="*/ 344424 w 1073848"/>
                <a:gd name="connsiteY260" fmla="*/ 70771 h 1057751"/>
                <a:gd name="connsiteX261" fmla="*/ 342614 w 1073848"/>
                <a:gd name="connsiteY261" fmla="*/ 69437 h 1057751"/>
                <a:gd name="connsiteX262" fmla="*/ 340233 w 1073848"/>
                <a:gd name="connsiteY262" fmla="*/ 76200 h 1057751"/>
                <a:gd name="connsiteX263" fmla="*/ 336137 w 1073848"/>
                <a:gd name="connsiteY263" fmla="*/ 81534 h 1057751"/>
                <a:gd name="connsiteX264" fmla="*/ 333756 w 1073848"/>
                <a:gd name="connsiteY264" fmla="*/ 88201 h 1057751"/>
                <a:gd name="connsiteX265" fmla="*/ 335566 w 1073848"/>
                <a:gd name="connsiteY265" fmla="*/ 89630 h 1057751"/>
                <a:gd name="connsiteX266" fmla="*/ 332803 w 1073848"/>
                <a:gd name="connsiteY266" fmla="*/ 93154 h 1057751"/>
                <a:gd name="connsiteX267" fmla="*/ 333565 w 1073848"/>
                <a:gd name="connsiteY267" fmla="*/ 99441 h 1057751"/>
                <a:gd name="connsiteX268" fmla="*/ 332041 w 1073848"/>
                <a:gd name="connsiteY268" fmla="*/ 99632 h 1057751"/>
                <a:gd name="connsiteX269" fmla="*/ 331470 w 1073848"/>
                <a:gd name="connsiteY269" fmla="*/ 94964 h 1057751"/>
                <a:gd name="connsiteX270" fmla="*/ 326517 w 1073848"/>
                <a:gd name="connsiteY270" fmla="*/ 93917 h 1057751"/>
                <a:gd name="connsiteX271" fmla="*/ 319564 w 1073848"/>
                <a:gd name="connsiteY271" fmla="*/ 102870 h 1057751"/>
                <a:gd name="connsiteX272" fmla="*/ 310896 w 1073848"/>
                <a:gd name="connsiteY272" fmla="*/ 97536 h 1057751"/>
                <a:gd name="connsiteX273" fmla="*/ 303466 w 1073848"/>
                <a:gd name="connsiteY273" fmla="*/ 101727 h 1057751"/>
                <a:gd name="connsiteX274" fmla="*/ 296323 w 1073848"/>
                <a:gd name="connsiteY274" fmla="*/ 109061 h 1057751"/>
                <a:gd name="connsiteX275" fmla="*/ 294513 w 1073848"/>
                <a:gd name="connsiteY275" fmla="*/ 107633 h 1057751"/>
                <a:gd name="connsiteX276" fmla="*/ 293180 w 1073848"/>
                <a:gd name="connsiteY276" fmla="*/ 109442 h 1057751"/>
                <a:gd name="connsiteX277" fmla="*/ 288226 w 1073848"/>
                <a:gd name="connsiteY277" fmla="*/ 108395 h 1057751"/>
                <a:gd name="connsiteX278" fmla="*/ 285083 w 1073848"/>
                <a:gd name="connsiteY278" fmla="*/ 108871 h 1057751"/>
                <a:gd name="connsiteX279" fmla="*/ 284702 w 1073848"/>
                <a:gd name="connsiteY279" fmla="*/ 105728 h 1057751"/>
                <a:gd name="connsiteX280" fmla="*/ 283750 w 1073848"/>
                <a:gd name="connsiteY280" fmla="*/ 110585 h 1057751"/>
                <a:gd name="connsiteX281" fmla="*/ 283559 w 1073848"/>
                <a:gd name="connsiteY281" fmla="*/ 109061 h 1057751"/>
                <a:gd name="connsiteX282" fmla="*/ 280321 w 1073848"/>
                <a:gd name="connsiteY282" fmla="*/ 109442 h 1057751"/>
                <a:gd name="connsiteX283" fmla="*/ 275653 w 1073848"/>
                <a:gd name="connsiteY283" fmla="*/ 110014 h 1057751"/>
                <a:gd name="connsiteX284" fmla="*/ 274891 w 1073848"/>
                <a:gd name="connsiteY284" fmla="*/ 116586 h 1057751"/>
                <a:gd name="connsiteX285" fmla="*/ 271272 w 1073848"/>
                <a:gd name="connsiteY285" fmla="*/ 113824 h 1057751"/>
                <a:gd name="connsiteX286" fmla="*/ 269938 w 1073848"/>
                <a:gd name="connsiteY286" fmla="*/ 115633 h 1057751"/>
                <a:gd name="connsiteX287" fmla="*/ 272129 w 1073848"/>
                <a:gd name="connsiteY287" fmla="*/ 120110 h 1057751"/>
                <a:gd name="connsiteX288" fmla="*/ 264414 w 1073848"/>
                <a:gd name="connsiteY288" fmla="*/ 122682 h 1057751"/>
                <a:gd name="connsiteX289" fmla="*/ 264223 w 1073848"/>
                <a:gd name="connsiteY289" fmla="*/ 121158 h 1057751"/>
                <a:gd name="connsiteX290" fmla="*/ 261461 w 1073848"/>
                <a:gd name="connsiteY290" fmla="*/ 124682 h 1057751"/>
                <a:gd name="connsiteX291" fmla="*/ 259461 w 1073848"/>
                <a:gd name="connsiteY291" fmla="*/ 121729 h 1057751"/>
                <a:gd name="connsiteX292" fmla="*/ 256508 w 1073848"/>
                <a:gd name="connsiteY292" fmla="*/ 123730 h 1057751"/>
                <a:gd name="connsiteX293" fmla="*/ 256318 w 1073848"/>
                <a:gd name="connsiteY293" fmla="*/ 122111 h 1057751"/>
                <a:gd name="connsiteX294" fmla="*/ 250031 w 1073848"/>
                <a:gd name="connsiteY294" fmla="*/ 122968 h 1057751"/>
                <a:gd name="connsiteX295" fmla="*/ 249841 w 1073848"/>
                <a:gd name="connsiteY295" fmla="*/ 121349 h 1057751"/>
                <a:gd name="connsiteX296" fmla="*/ 255270 w 1073848"/>
                <a:gd name="connsiteY296" fmla="*/ 114205 h 1057751"/>
                <a:gd name="connsiteX297" fmla="*/ 253365 w 1073848"/>
                <a:gd name="connsiteY297" fmla="*/ 111252 h 1057751"/>
                <a:gd name="connsiteX298" fmla="*/ 250126 w 1073848"/>
                <a:gd name="connsiteY298" fmla="*/ 111728 h 1057751"/>
                <a:gd name="connsiteX299" fmla="*/ 247459 w 1073848"/>
                <a:gd name="connsiteY299" fmla="*/ 115253 h 1057751"/>
                <a:gd name="connsiteX300" fmla="*/ 244030 w 1073848"/>
                <a:gd name="connsiteY300" fmla="*/ 114109 h 1057751"/>
                <a:gd name="connsiteX301" fmla="*/ 241459 w 1073848"/>
                <a:gd name="connsiteY301" fmla="*/ 119253 h 1057751"/>
                <a:gd name="connsiteX302" fmla="*/ 236791 w 1073848"/>
                <a:gd name="connsiteY302" fmla="*/ 119825 h 1057751"/>
                <a:gd name="connsiteX303" fmla="*/ 234982 w 1073848"/>
                <a:gd name="connsiteY303" fmla="*/ 118396 h 1057751"/>
                <a:gd name="connsiteX304" fmla="*/ 231076 w 1073848"/>
                <a:gd name="connsiteY304" fmla="*/ 125349 h 1057751"/>
                <a:gd name="connsiteX305" fmla="*/ 229457 w 1073848"/>
                <a:gd name="connsiteY305" fmla="*/ 125539 h 1057751"/>
                <a:gd name="connsiteX306" fmla="*/ 229934 w 1073848"/>
                <a:gd name="connsiteY306" fmla="*/ 128683 h 1057751"/>
                <a:gd name="connsiteX307" fmla="*/ 233267 w 1073848"/>
                <a:gd name="connsiteY307" fmla="*/ 129921 h 1057751"/>
                <a:gd name="connsiteX308" fmla="*/ 231838 w 1073848"/>
                <a:gd name="connsiteY308" fmla="*/ 131636 h 1057751"/>
                <a:gd name="connsiteX309" fmla="*/ 233839 w 1073848"/>
                <a:gd name="connsiteY309" fmla="*/ 134588 h 1057751"/>
                <a:gd name="connsiteX310" fmla="*/ 226314 w 1073848"/>
                <a:gd name="connsiteY310" fmla="*/ 138779 h 1057751"/>
                <a:gd name="connsiteX311" fmla="*/ 227552 w 1073848"/>
                <a:gd name="connsiteY311" fmla="*/ 148209 h 1057751"/>
                <a:gd name="connsiteX312" fmla="*/ 228409 w 1073848"/>
                <a:gd name="connsiteY312" fmla="*/ 154591 h 1057751"/>
                <a:gd name="connsiteX313" fmla="*/ 214598 w 1073848"/>
                <a:gd name="connsiteY313" fmla="*/ 159544 h 1057751"/>
                <a:gd name="connsiteX314" fmla="*/ 216503 w 1073848"/>
                <a:gd name="connsiteY314" fmla="*/ 162496 h 1057751"/>
                <a:gd name="connsiteX315" fmla="*/ 211264 w 1073848"/>
                <a:gd name="connsiteY315" fmla="*/ 171164 h 1057751"/>
                <a:gd name="connsiteX316" fmla="*/ 209645 w 1073848"/>
                <a:gd name="connsiteY316" fmla="*/ 171355 h 1057751"/>
                <a:gd name="connsiteX317" fmla="*/ 209264 w 1073848"/>
                <a:gd name="connsiteY317" fmla="*/ 168212 h 1057751"/>
                <a:gd name="connsiteX318" fmla="*/ 207931 w 1073848"/>
                <a:gd name="connsiteY318" fmla="*/ 170021 h 1057751"/>
                <a:gd name="connsiteX319" fmla="*/ 207931 w 1073848"/>
                <a:gd name="connsiteY319" fmla="*/ 170021 h 1057751"/>
                <a:gd name="connsiteX320" fmla="*/ 204692 w 1073848"/>
                <a:gd name="connsiteY320" fmla="*/ 170402 h 1057751"/>
                <a:gd name="connsiteX321" fmla="*/ 206502 w 1073848"/>
                <a:gd name="connsiteY321" fmla="*/ 171736 h 1057751"/>
                <a:gd name="connsiteX322" fmla="*/ 203359 w 1073848"/>
                <a:gd name="connsiteY322" fmla="*/ 172212 h 1057751"/>
                <a:gd name="connsiteX323" fmla="*/ 205359 w 1073848"/>
                <a:gd name="connsiteY323" fmla="*/ 175165 h 1057751"/>
                <a:gd name="connsiteX324" fmla="*/ 202597 w 1073848"/>
                <a:gd name="connsiteY324" fmla="*/ 178689 h 1057751"/>
                <a:gd name="connsiteX325" fmla="*/ 201644 w 1073848"/>
                <a:gd name="connsiteY325" fmla="*/ 183642 h 1057751"/>
                <a:gd name="connsiteX326" fmla="*/ 200406 w 1073848"/>
                <a:gd name="connsiteY326" fmla="*/ 186976 h 1057751"/>
                <a:gd name="connsiteX327" fmla="*/ 202597 w 1073848"/>
                <a:gd name="connsiteY327" fmla="*/ 191548 h 1057751"/>
                <a:gd name="connsiteX328" fmla="*/ 200692 w 1073848"/>
                <a:gd name="connsiteY328" fmla="*/ 201359 h 1057751"/>
                <a:gd name="connsiteX329" fmla="*/ 202882 w 1073848"/>
                <a:gd name="connsiteY329" fmla="*/ 205930 h 1057751"/>
                <a:gd name="connsiteX330" fmla="*/ 201835 w 1073848"/>
                <a:gd name="connsiteY330" fmla="*/ 210884 h 1057751"/>
                <a:gd name="connsiteX331" fmla="*/ 205454 w 1073848"/>
                <a:gd name="connsiteY331" fmla="*/ 213646 h 1057751"/>
                <a:gd name="connsiteX332" fmla="*/ 203835 w 1073848"/>
                <a:gd name="connsiteY332" fmla="*/ 213836 h 1057751"/>
                <a:gd name="connsiteX333" fmla="*/ 206407 w 1073848"/>
                <a:gd name="connsiteY333" fmla="*/ 221551 h 1057751"/>
                <a:gd name="connsiteX334" fmla="*/ 209550 w 1073848"/>
                <a:gd name="connsiteY334" fmla="*/ 221075 h 1057751"/>
                <a:gd name="connsiteX335" fmla="*/ 213550 w 1073848"/>
                <a:gd name="connsiteY335" fmla="*/ 214217 h 1057751"/>
                <a:gd name="connsiteX336" fmla="*/ 221456 w 1073848"/>
                <a:gd name="connsiteY336" fmla="*/ 226028 h 1057751"/>
                <a:gd name="connsiteX337" fmla="*/ 229171 w 1073848"/>
                <a:gd name="connsiteY337" fmla="*/ 223457 h 1057751"/>
                <a:gd name="connsiteX338" fmla="*/ 240411 w 1073848"/>
                <a:gd name="connsiteY338" fmla="*/ 223552 h 1057751"/>
                <a:gd name="connsiteX339" fmla="*/ 239363 w 1073848"/>
                <a:gd name="connsiteY339" fmla="*/ 228505 h 1057751"/>
                <a:gd name="connsiteX340" fmla="*/ 243745 w 1073848"/>
                <a:gd name="connsiteY340" fmla="*/ 237554 h 1057751"/>
                <a:gd name="connsiteX341" fmla="*/ 251460 w 1073848"/>
                <a:gd name="connsiteY341" fmla="*/ 247841 h 1057751"/>
                <a:gd name="connsiteX342" fmla="*/ 252127 w 1073848"/>
                <a:gd name="connsiteY342" fmla="*/ 252603 h 1057751"/>
                <a:gd name="connsiteX343" fmla="*/ 249174 w 1073848"/>
                <a:gd name="connsiteY343" fmla="*/ 254508 h 1057751"/>
                <a:gd name="connsiteX344" fmla="*/ 247936 w 1073848"/>
                <a:gd name="connsiteY344" fmla="*/ 257937 h 1057751"/>
                <a:gd name="connsiteX345" fmla="*/ 251746 w 1073848"/>
                <a:gd name="connsiteY345" fmla="*/ 262223 h 1057751"/>
                <a:gd name="connsiteX346" fmla="*/ 248031 w 1073848"/>
                <a:gd name="connsiteY346" fmla="*/ 270700 h 1057751"/>
                <a:gd name="connsiteX347" fmla="*/ 244411 w 1073848"/>
                <a:gd name="connsiteY347" fmla="*/ 267938 h 1057751"/>
                <a:gd name="connsiteX348" fmla="*/ 245078 w 1073848"/>
                <a:gd name="connsiteY348" fmla="*/ 272701 h 1057751"/>
                <a:gd name="connsiteX349" fmla="*/ 243268 w 1073848"/>
                <a:gd name="connsiteY349" fmla="*/ 271367 h 1057751"/>
                <a:gd name="connsiteX350" fmla="*/ 243459 w 1073848"/>
                <a:gd name="connsiteY350" fmla="*/ 272891 h 1057751"/>
                <a:gd name="connsiteX351" fmla="*/ 241840 w 1073848"/>
                <a:gd name="connsiteY351" fmla="*/ 273082 h 1057751"/>
                <a:gd name="connsiteX352" fmla="*/ 237553 w 1073848"/>
                <a:gd name="connsiteY352" fmla="*/ 276892 h 1057751"/>
                <a:gd name="connsiteX353" fmla="*/ 238125 w 1073848"/>
                <a:gd name="connsiteY353" fmla="*/ 281654 h 1057751"/>
                <a:gd name="connsiteX354" fmla="*/ 232029 w 1073848"/>
                <a:gd name="connsiteY354" fmla="*/ 284036 h 1057751"/>
                <a:gd name="connsiteX355" fmla="*/ 231838 w 1073848"/>
                <a:gd name="connsiteY355" fmla="*/ 282416 h 1057751"/>
                <a:gd name="connsiteX356" fmla="*/ 228695 w 1073848"/>
                <a:gd name="connsiteY356" fmla="*/ 282797 h 1057751"/>
                <a:gd name="connsiteX357" fmla="*/ 224123 w 1073848"/>
                <a:gd name="connsiteY357" fmla="*/ 284988 h 1057751"/>
                <a:gd name="connsiteX358" fmla="*/ 222123 w 1073848"/>
                <a:gd name="connsiteY358" fmla="*/ 282035 h 1057751"/>
                <a:gd name="connsiteX359" fmla="*/ 219456 w 1073848"/>
                <a:gd name="connsiteY359" fmla="*/ 285559 h 1057751"/>
                <a:gd name="connsiteX360" fmla="*/ 216979 w 1073848"/>
                <a:gd name="connsiteY360" fmla="*/ 279463 h 1057751"/>
                <a:gd name="connsiteX361" fmla="*/ 210121 w 1073848"/>
                <a:gd name="connsiteY361" fmla="*/ 275558 h 1057751"/>
                <a:gd name="connsiteX362" fmla="*/ 208978 w 1073848"/>
                <a:gd name="connsiteY362" fmla="*/ 278892 h 1057751"/>
                <a:gd name="connsiteX363" fmla="*/ 204025 w 1073848"/>
                <a:gd name="connsiteY363" fmla="*/ 277939 h 1057751"/>
                <a:gd name="connsiteX364" fmla="*/ 204978 w 1073848"/>
                <a:gd name="connsiteY364" fmla="*/ 285845 h 1057751"/>
                <a:gd name="connsiteX365" fmla="*/ 204978 w 1073848"/>
                <a:gd name="connsiteY365" fmla="*/ 285845 h 1057751"/>
                <a:gd name="connsiteX366" fmla="*/ 202025 w 1073848"/>
                <a:gd name="connsiteY366" fmla="*/ 287846 h 1057751"/>
                <a:gd name="connsiteX367" fmla="*/ 198501 w 1073848"/>
                <a:gd name="connsiteY367" fmla="*/ 285083 h 1057751"/>
                <a:gd name="connsiteX368" fmla="*/ 199644 w 1073848"/>
                <a:gd name="connsiteY368" fmla="*/ 281750 h 1057751"/>
                <a:gd name="connsiteX369" fmla="*/ 194977 w 1073848"/>
                <a:gd name="connsiteY369" fmla="*/ 282321 h 1057751"/>
                <a:gd name="connsiteX370" fmla="*/ 195358 w 1073848"/>
                <a:gd name="connsiteY370" fmla="*/ 285464 h 1057751"/>
                <a:gd name="connsiteX371" fmla="*/ 198882 w 1073848"/>
                <a:gd name="connsiteY371" fmla="*/ 288226 h 1057751"/>
                <a:gd name="connsiteX372" fmla="*/ 197929 w 1073848"/>
                <a:gd name="connsiteY372" fmla="*/ 293180 h 1057751"/>
                <a:gd name="connsiteX373" fmla="*/ 193167 w 1073848"/>
                <a:gd name="connsiteY373" fmla="*/ 293751 h 1057751"/>
                <a:gd name="connsiteX374" fmla="*/ 193548 w 1073848"/>
                <a:gd name="connsiteY374" fmla="*/ 296894 h 1057751"/>
                <a:gd name="connsiteX375" fmla="*/ 192214 w 1073848"/>
                <a:gd name="connsiteY375" fmla="*/ 298704 h 1057751"/>
                <a:gd name="connsiteX376" fmla="*/ 191071 w 1073848"/>
                <a:gd name="connsiteY376" fmla="*/ 302038 h 1057751"/>
                <a:gd name="connsiteX377" fmla="*/ 192976 w 1073848"/>
                <a:gd name="connsiteY377" fmla="*/ 304991 h 1057751"/>
                <a:gd name="connsiteX378" fmla="*/ 191643 w 1073848"/>
                <a:gd name="connsiteY378" fmla="*/ 306800 h 1057751"/>
                <a:gd name="connsiteX379" fmla="*/ 191834 w 1073848"/>
                <a:gd name="connsiteY379" fmla="*/ 308324 h 1057751"/>
                <a:gd name="connsiteX380" fmla="*/ 183737 w 1073848"/>
                <a:gd name="connsiteY380" fmla="*/ 307753 h 1057751"/>
                <a:gd name="connsiteX381" fmla="*/ 183166 w 1073848"/>
                <a:gd name="connsiteY381" fmla="*/ 303086 h 1057751"/>
                <a:gd name="connsiteX382" fmla="*/ 180784 w 1073848"/>
                <a:gd name="connsiteY382" fmla="*/ 296989 h 1057751"/>
                <a:gd name="connsiteX383" fmla="*/ 173831 w 1073848"/>
                <a:gd name="connsiteY383" fmla="*/ 292989 h 1057751"/>
                <a:gd name="connsiteX384" fmla="*/ 174212 w 1073848"/>
                <a:gd name="connsiteY384" fmla="*/ 296132 h 1057751"/>
                <a:gd name="connsiteX385" fmla="*/ 172498 w 1073848"/>
                <a:gd name="connsiteY385" fmla="*/ 294799 h 1057751"/>
                <a:gd name="connsiteX386" fmla="*/ 172688 w 1073848"/>
                <a:gd name="connsiteY386" fmla="*/ 296323 h 1057751"/>
                <a:gd name="connsiteX387" fmla="*/ 169545 w 1073848"/>
                <a:gd name="connsiteY387" fmla="*/ 296799 h 1057751"/>
                <a:gd name="connsiteX388" fmla="*/ 164782 w 1073848"/>
                <a:gd name="connsiteY388" fmla="*/ 297371 h 1057751"/>
                <a:gd name="connsiteX389" fmla="*/ 162973 w 1073848"/>
                <a:gd name="connsiteY389" fmla="*/ 296037 h 1057751"/>
                <a:gd name="connsiteX390" fmla="*/ 160972 w 1073848"/>
                <a:gd name="connsiteY390" fmla="*/ 293084 h 1057751"/>
                <a:gd name="connsiteX391" fmla="*/ 160782 w 1073848"/>
                <a:gd name="connsiteY391" fmla="*/ 291465 h 1057751"/>
                <a:gd name="connsiteX392" fmla="*/ 156115 w 1073848"/>
                <a:gd name="connsiteY392" fmla="*/ 292037 h 1057751"/>
                <a:gd name="connsiteX393" fmla="*/ 157067 w 1073848"/>
                <a:gd name="connsiteY393" fmla="*/ 287179 h 1057751"/>
                <a:gd name="connsiteX394" fmla="*/ 158591 w 1073848"/>
                <a:gd name="connsiteY394" fmla="*/ 286893 h 1057751"/>
                <a:gd name="connsiteX395" fmla="*/ 160020 w 1073848"/>
                <a:gd name="connsiteY395" fmla="*/ 285179 h 1057751"/>
                <a:gd name="connsiteX396" fmla="*/ 155257 w 1073848"/>
                <a:gd name="connsiteY396" fmla="*/ 285750 h 1057751"/>
                <a:gd name="connsiteX397" fmla="*/ 154114 w 1073848"/>
                <a:gd name="connsiteY397" fmla="*/ 289084 h 1057751"/>
                <a:gd name="connsiteX398" fmla="*/ 152305 w 1073848"/>
                <a:gd name="connsiteY398" fmla="*/ 287750 h 1057751"/>
                <a:gd name="connsiteX399" fmla="*/ 149161 w 1073848"/>
                <a:gd name="connsiteY399" fmla="*/ 288131 h 1057751"/>
                <a:gd name="connsiteX400" fmla="*/ 150209 w 1073848"/>
                <a:gd name="connsiteY400" fmla="*/ 296037 h 1057751"/>
                <a:gd name="connsiteX401" fmla="*/ 145066 w 1073848"/>
                <a:gd name="connsiteY401" fmla="*/ 293465 h 1057751"/>
                <a:gd name="connsiteX402" fmla="*/ 137350 w 1073848"/>
                <a:gd name="connsiteY402" fmla="*/ 296037 h 1057751"/>
                <a:gd name="connsiteX403" fmla="*/ 135731 w 1073848"/>
                <a:gd name="connsiteY403" fmla="*/ 296228 h 1057751"/>
                <a:gd name="connsiteX404" fmla="*/ 136207 w 1073848"/>
                <a:gd name="connsiteY404" fmla="*/ 299371 h 1057751"/>
                <a:gd name="connsiteX405" fmla="*/ 132969 w 1073848"/>
                <a:gd name="connsiteY405" fmla="*/ 299847 h 1057751"/>
                <a:gd name="connsiteX406" fmla="*/ 129445 w 1073848"/>
                <a:gd name="connsiteY406" fmla="*/ 297085 h 1057751"/>
                <a:gd name="connsiteX407" fmla="*/ 128302 w 1073848"/>
                <a:gd name="connsiteY407" fmla="*/ 300418 h 1057751"/>
                <a:gd name="connsiteX408" fmla="*/ 125158 w 1073848"/>
                <a:gd name="connsiteY408" fmla="*/ 300800 h 1057751"/>
                <a:gd name="connsiteX409" fmla="*/ 121729 w 1073848"/>
                <a:gd name="connsiteY409" fmla="*/ 299657 h 1057751"/>
                <a:gd name="connsiteX410" fmla="*/ 115824 w 1073848"/>
                <a:gd name="connsiteY410" fmla="*/ 303562 h 1057751"/>
                <a:gd name="connsiteX411" fmla="*/ 108585 w 1073848"/>
                <a:gd name="connsiteY411" fmla="*/ 296513 h 1057751"/>
                <a:gd name="connsiteX412" fmla="*/ 104013 w 1073848"/>
                <a:gd name="connsiteY412" fmla="*/ 298704 h 1057751"/>
                <a:gd name="connsiteX413" fmla="*/ 101822 w 1073848"/>
                <a:gd name="connsiteY413" fmla="*/ 294132 h 1057751"/>
                <a:gd name="connsiteX414" fmla="*/ 95726 w 1073848"/>
                <a:gd name="connsiteY414" fmla="*/ 296513 h 1057751"/>
                <a:gd name="connsiteX415" fmla="*/ 94488 w 1073848"/>
                <a:gd name="connsiteY415" fmla="*/ 299942 h 1057751"/>
                <a:gd name="connsiteX416" fmla="*/ 92773 w 1073848"/>
                <a:gd name="connsiteY416" fmla="*/ 298513 h 1057751"/>
                <a:gd name="connsiteX417" fmla="*/ 91345 w 1073848"/>
                <a:gd name="connsiteY417" fmla="*/ 300323 h 1057751"/>
                <a:gd name="connsiteX418" fmla="*/ 89154 w 1073848"/>
                <a:gd name="connsiteY418" fmla="*/ 295751 h 1057751"/>
                <a:gd name="connsiteX419" fmla="*/ 87630 w 1073848"/>
                <a:gd name="connsiteY419" fmla="*/ 295942 h 1057751"/>
                <a:gd name="connsiteX420" fmla="*/ 87820 w 1073848"/>
                <a:gd name="connsiteY420" fmla="*/ 297561 h 1057751"/>
                <a:gd name="connsiteX421" fmla="*/ 82677 w 1073848"/>
                <a:gd name="connsiteY421" fmla="*/ 294989 h 1057751"/>
                <a:gd name="connsiteX422" fmla="*/ 84106 w 1073848"/>
                <a:gd name="connsiteY422" fmla="*/ 293275 h 1057751"/>
                <a:gd name="connsiteX423" fmla="*/ 78772 w 1073848"/>
                <a:gd name="connsiteY423" fmla="*/ 289084 h 1057751"/>
                <a:gd name="connsiteX424" fmla="*/ 78486 w 1073848"/>
                <a:gd name="connsiteY424" fmla="*/ 287560 h 1057751"/>
                <a:gd name="connsiteX425" fmla="*/ 66103 w 1073848"/>
                <a:gd name="connsiteY425" fmla="*/ 290703 h 1057751"/>
                <a:gd name="connsiteX426" fmla="*/ 59817 w 1073848"/>
                <a:gd name="connsiteY426" fmla="*/ 291465 h 1057751"/>
                <a:gd name="connsiteX427" fmla="*/ 54673 w 1073848"/>
                <a:gd name="connsiteY427" fmla="*/ 301752 h 1057751"/>
                <a:gd name="connsiteX428" fmla="*/ 58198 w 1073848"/>
                <a:gd name="connsiteY428" fmla="*/ 304514 h 1057751"/>
                <a:gd name="connsiteX429" fmla="*/ 63151 w 1073848"/>
                <a:gd name="connsiteY429" fmla="*/ 305467 h 1057751"/>
                <a:gd name="connsiteX430" fmla="*/ 67151 w 1073848"/>
                <a:gd name="connsiteY430" fmla="*/ 311372 h 1057751"/>
                <a:gd name="connsiteX431" fmla="*/ 65722 w 1073848"/>
                <a:gd name="connsiteY431" fmla="*/ 313182 h 1057751"/>
                <a:gd name="connsiteX432" fmla="*/ 67913 w 1073848"/>
                <a:gd name="connsiteY432" fmla="*/ 317754 h 1057751"/>
                <a:gd name="connsiteX433" fmla="*/ 66580 w 1073848"/>
                <a:gd name="connsiteY433" fmla="*/ 319468 h 1057751"/>
                <a:gd name="connsiteX434" fmla="*/ 60484 w 1073848"/>
                <a:gd name="connsiteY434" fmla="*/ 321850 h 1057751"/>
                <a:gd name="connsiteX435" fmla="*/ 48958 w 1073848"/>
                <a:gd name="connsiteY435" fmla="*/ 320135 h 1057751"/>
                <a:gd name="connsiteX436" fmla="*/ 46482 w 1073848"/>
                <a:gd name="connsiteY436" fmla="*/ 325279 h 1057751"/>
                <a:gd name="connsiteX437" fmla="*/ 39338 w 1073848"/>
                <a:gd name="connsiteY437" fmla="*/ 319754 h 1057751"/>
                <a:gd name="connsiteX438" fmla="*/ 34576 w 1073848"/>
                <a:gd name="connsiteY438" fmla="*/ 320421 h 1057751"/>
                <a:gd name="connsiteX439" fmla="*/ 31813 w 1073848"/>
                <a:gd name="connsiteY439" fmla="*/ 323945 h 1057751"/>
                <a:gd name="connsiteX440" fmla="*/ 32671 w 1073848"/>
                <a:gd name="connsiteY440" fmla="*/ 330232 h 1057751"/>
                <a:gd name="connsiteX441" fmla="*/ 31242 w 1073848"/>
                <a:gd name="connsiteY441" fmla="*/ 332042 h 1057751"/>
                <a:gd name="connsiteX442" fmla="*/ 29908 w 1073848"/>
                <a:gd name="connsiteY442" fmla="*/ 333756 h 1057751"/>
                <a:gd name="connsiteX443" fmla="*/ 33433 w 1073848"/>
                <a:gd name="connsiteY443" fmla="*/ 336518 h 1057751"/>
                <a:gd name="connsiteX444" fmla="*/ 37624 w 1073848"/>
                <a:gd name="connsiteY444" fmla="*/ 344043 h 1057751"/>
                <a:gd name="connsiteX445" fmla="*/ 34480 w 1073848"/>
                <a:gd name="connsiteY445" fmla="*/ 344424 h 1057751"/>
                <a:gd name="connsiteX446" fmla="*/ 29718 w 1073848"/>
                <a:gd name="connsiteY446" fmla="*/ 345091 h 1057751"/>
                <a:gd name="connsiteX447" fmla="*/ 28384 w 1073848"/>
                <a:gd name="connsiteY447" fmla="*/ 346805 h 1057751"/>
                <a:gd name="connsiteX448" fmla="*/ 29146 w 1073848"/>
                <a:gd name="connsiteY448" fmla="*/ 353187 h 1057751"/>
                <a:gd name="connsiteX449" fmla="*/ 25241 w 1073848"/>
                <a:gd name="connsiteY449" fmla="*/ 360045 h 1057751"/>
                <a:gd name="connsiteX450" fmla="*/ 26956 w 1073848"/>
                <a:gd name="connsiteY450" fmla="*/ 361474 h 1057751"/>
                <a:gd name="connsiteX451" fmla="*/ 30956 w 1073848"/>
                <a:gd name="connsiteY451" fmla="*/ 367379 h 1057751"/>
                <a:gd name="connsiteX452" fmla="*/ 33718 w 1073848"/>
                <a:gd name="connsiteY452" fmla="*/ 376618 h 1057751"/>
                <a:gd name="connsiteX453" fmla="*/ 37338 w 1073848"/>
                <a:gd name="connsiteY453" fmla="*/ 379381 h 1057751"/>
                <a:gd name="connsiteX454" fmla="*/ 36100 w 1073848"/>
                <a:gd name="connsiteY454" fmla="*/ 382714 h 1057751"/>
                <a:gd name="connsiteX455" fmla="*/ 31813 w 1073848"/>
                <a:gd name="connsiteY455" fmla="*/ 386525 h 1057751"/>
                <a:gd name="connsiteX456" fmla="*/ 23527 w 1073848"/>
                <a:gd name="connsiteY456" fmla="*/ 384334 h 1057751"/>
                <a:gd name="connsiteX457" fmla="*/ 20383 w 1073848"/>
                <a:gd name="connsiteY457" fmla="*/ 384715 h 1057751"/>
                <a:gd name="connsiteX458" fmla="*/ 16764 w 1073848"/>
                <a:gd name="connsiteY458" fmla="*/ 381953 h 1057751"/>
                <a:gd name="connsiteX459" fmla="*/ 17145 w 1073848"/>
                <a:gd name="connsiteY459" fmla="*/ 385096 h 1057751"/>
                <a:gd name="connsiteX460" fmla="*/ 12097 w 1073848"/>
                <a:gd name="connsiteY460" fmla="*/ 382619 h 1057751"/>
                <a:gd name="connsiteX461" fmla="*/ 9715 w 1073848"/>
                <a:gd name="connsiteY461" fmla="*/ 389287 h 1057751"/>
                <a:gd name="connsiteX462" fmla="*/ 8763 w 1073848"/>
                <a:gd name="connsiteY462" fmla="*/ 394240 h 1057751"/>
                <a:gd name="connsiteX463" fmla="*/ 15430 w 1073848"/>
                <a:gd name="connsiteY463" fmla="*/ 396621 h 1057751"/>
                <a:gd name="connsiteX464" fmla="*/ 17240 w 1073848"/>
                <a:gd name="connsiteY464" fmla="*/ 397955 h 1057751"/>
                <a:gd name="connsiteX465" fmla="*/ 19240 w 1073848"/>
                <a:gd name="connsiteY465" fmla="*/ 400907 h 1057751"/>
                <a:gd name="connsiteX466" fmla="*/ 19621 w 1073848"/>
                <a:gd name="connsiteY466" fmla="*/ 404050 h 1057751"/>
                <a:gd name="connsiteX467" fmla="*/ 26956 w 1073848"/>
                <a:gd name="connsiteY467" fmla="*/ 411194 h 1057751"/>
                <a:gd name="connsiteX468" fmla="*/ 25336 w 1073848"/>
                <a:gd name="connsiteY468" fmla="*/ 411385 h 1057751"/>
                <a:gd name="connsiteX469" fmla="*/ 25717 w 1073848"/>
                <a:gd name="connsiteY469" fmla="*/ 414528 h 1057751"/>
                <a:gd name="connsiteX470" fmla="*/ 27527 w 1073848"/>
                <a:gd name="connsiteY470" fmla="*/ 415862 h 1057751"/>
                <a:gd name="connsiteX471" fmla="*/ 26956 w 1073848"/>
                <a:gd name="connsiteY471" fmla="*/ 423958 h 1057751"/>
                <a:gd name="connsiteX472" fmla="*/ 29146 w 1073848"/>
                <a:gd name="connsiteY472" fmla="*/ 428530 h 1057751"/>
                <a:gd name="connsiteX473" fmla="*/ 26194 w 1073848"/>
                <a:gd name="connsiteY473" fmla="*/ 430530 h 1057751"/>
                <a:gd name="connsiteX474" fmla="*/ 23813 w 1073848"/>
                <a:gd name="connsiteY474" fmla="*/ 437197 h 1057751"/>
                <a:gd name="connsiteX475" fmla="*/ 20860 w 1073848"/>
                <a:gd name="connsiteY475" fmla="*/ 439198 h 1057751"/>
                <a:gd name="connsiteX476" fmla="*/ 19336 w 1073848"/>
                <a:gd name="connsiteY476" fmla="*/ 439388 h 1057751"/>
                <a:gd name="connsiteX477" fmla="*/ 21431 w 1073848"/>
                <a:gd name="connsiteY477" fmla="*/ 443960 h 1057751"/>
                <a:gd name="connsiteX478" fmla="*/ 24860 w 1073848"/>
                <a:gd name="connsiteY478" fmla="*/ 445103 h 1057751"/>
                <a:gd name="connsiteX479" fmla="*/ 25241 w 1073848"/>
                <a:gd name="connsiteY479" fmla="*/ 448246 h 1057751"/>
                <a:gd name="connsiteX480" fmla="*/ 23146 w 1073848"/>
                <a:gd name="connsiteY480" fmla="*/ 469392 h 1057751"/>
                <a:gd name="connsiteX481" fmla="*/ 18383 w 1073848"/>
                <a:gd name="connsiteY481" fmla="*/ 469963 h 1057751"/>
                <a:gd name="connsiteX482" fmla="*/ 15811 w 1073848"/>
                <a:gd name="connsiteY482" fmla="*/ 475107 h 1057751"/>
                <a:gd name="connsiteX483" fmla="*/ 15621 w 1073848"/>
                <a:gd name="connsiteY483" fmla="*/ 486346 h 1057751"/>
                <a:gd name="connsiteX484" fmla="*/ 11716 w 1073848"/>
                <a:gd name="connsiteY484" fmla="*/ 493300 h 1057751"/>
                <a:gd name="connsiteX485" fmla="*/ 8572 w 1073848"/>
                <a:gd name="connsiteY485" fmla="*/ 493681 h 1057751"/>
                <a:gd name="connsiteX486" fmla="*/ 7429 w 1073848"/>
                <a:gd name="connsiteY486" fmla="*/ 497014 h 1057751"/>
                <a:gd name="connsiteX487" fmla="*/ 7810 w 1073848"/>
                <a:gd name="connsiteY487" fmla="*/ 500158 h 1057751"/>
                <a:gd name="connsiteX488" fmla="*/ 12287 w 1073848"/>
                <a:gd name="connsiteY488" fmla="*/ 498062 h 1057751"/>
                <a:gd name="connsiteX489" fmla="*/ 13716 w 1073848"/>
                <a:gd name="connsiteY489" fmla="*/ 496253 h 1057751"/>
                <a:gd name="connsiteX490" fmla="*/ 16859 w 1073848"/>
                <a:gd name="connsiteY490" fmla="*/ 495871 h 1057751"/>
                <a:gd name="connsiteX491" fmla="*/ 14478 w 1073848"/>
                <a:gd name="connsiteY491" fmla="*/ 502539 h 1057751"/>
                <a:gd name="connsiteX492" fmla="*/ 11525 w 1073848"/>
                <a:gd name="connsiteY492" fmla="*/ 504539 h 1057751"/>
                <a:gd name="connsiteX493" fmla="*/ 12192 w 1073848"/>
                <a:gd name="connsiteY493" fmla="*/ 509302 h 1057751"/>
                <a:gd name="connsiteX494" fmla="*/ 9239 w 1073848"/>
                <a:gd name="connsiteY494" fmla="*/ 511207 h 1057751"/>
                <a:gd name="connsiteX495" fmla="*/ 10192 w 1073848"/>
                <a:gd name="connsiteY495" fmla="*/ 519113 h 1057751"/>
                <a:gd name="connsiteX496" fmla="*/ 9049 w 1073848"/>
                <a:gd name="connsiteY496" fmla="*/ 522446 h 1057751"/>
                <a:gd name="connsiteX497" fmla="*/ 9430 w 1073848"/>
                <a:gd name="connsiteY497" fmla="*/ 525685 h 1057751"/>
                <a:gd name="connsiteX498" fmla="*/ 8477 w 1073848"/>
                <a:gd name="connsiteY498" fmla="*/ 530543 h 1057751"/>
                <a:gd name="connsiteX499" fmla="*/ 5524 w 1073848"/>
                <a:gd name="connsiteY499" fmla="*/ 532543 h 1057751"/>
                <a:gd name="connsiteX500" fmla="*/ 2191 w 1073848"/>
                <a:gd name="connsiteY500" fmla="*/ 531400 h 1057751"/>
                <a:gd name="connsiteX501" fmla="*/ 1143 w 1073848"/>
                <a:gd name="connsiteY501" fmla="*/ 536353 h 1057751"/>
                <a:gd name="connsiteX502" fmla="*/ 4572 w 1073848"/>
                <a:gd name="connsiteY502" fmla="*/ 537496 h 1057751"/>
                <a:gd name="connsiteX503" fmla="*/ 1619 w 1073848"/>
                <a:gd name="connsiteY503" fmla="*/ 539496 h 1057751"/>
                <a:gd name="connsiteX504" fmla="*/ 381 w 1073848"/>
                <a:gd name="connsiteY504" fmla="*/ 542830 h 1057751"/>
                <a:gd name="connsiteX505" fmla="*/ 2381 w 1073848"/>
                <a:gd name="connsiteY505" fmla="*/ 545783 h 1057751"/>
                <a:gd name="connsiteX506" fmla="*/ 2762 w 1073848"/>
                <a:gd name="connsiteY506" fmla="*/ 548926 h 1057751"/>
                <a:gd name="connsiteX507" fmla="*/ 0 w 1073848"/>
                <a:gd name="connsiteY507" fmla="*/ 552545 h 1057751"/>
                <a:gd name="connsiteX508" fmla="*/ 2000 w 1073848"/>
                <a:gd name="connsiteY508" fmla="*/ 555498 h 1057751"/>
                <a:gd name="connsiteX509" fmla="*/ 3619 w 1073848"/>
                <a:gd name="connsiteY509" fmla="*/ 555308 h 1057751"/>
                <a:gd name="connsiteX510" fmla="*/ 12287 w 1073848"/>
                <a:gd name="connsiteY510" fmla="*/ 560546 h 1057751"/>
                <a:gd name="connsiteX511" fmla="*/ 20383 w 1073848"/>
                <a:gd name="connsiteY511" fmla="*/ 561118 h 1057751"/>
                <a:gd name="connsiteX512" fmla="*/ 24289 w 1073848"/>
                <a:gd name="connsiteY512" fmla="*/ 567023 h 1057751"/>
                <a:gd name="connsiteX513" fmla="*/ 25717 w 1073848"/>
                <a:gd name="connsiteY513" fmla="*/ 578072 h 1057751"/>
                <a:gd name="connsiteX514" fmla="*/ 30289 w 1073848"/>
                <a:gd name="connsiteY514" fmla="*/ 575882 h 1057751"/>
                <a:gd name="connsiteX515" fmla="*/ 29337 w 1073848"/>
                <a:gd name="connsiteY515" fmla="*/ 580834 h 1057751"/>
                <a:gd name="connsiteX516" fmla="*/ 25908 w 1073848"/>
                <a:gd name="connsiteY516" fmla="*/ 579692 h 1057751"/>
                <a:gd name="connsiteX517" fmla="*/ 22955 w 1073848"/>
                <a:gd name="connsiteY517" fmla="*/ 581692 h 1057751"/>
                <a:gd name="connsiteX518" fmla="*/ 19050 w 1073848"/>
                <a:gd name="connsiteY518" fmla="*/ 588550 h 1057751"/>
                <a:gd name="connsiteX519" fmla="*/ 17240 w 1073848"/>
                <a:gd name="connsiteY519" fmla="*/ 587216 h 1057751"/>
                <a:gd name="connsiteX520" fmla="*/ 17907 w 1073848"/>
                <a:gd name="connsiteY520" fmla="*/ 591979 h 1057751"/>
                <a:gd name="connsiteX521" fmla="*/ 13144 w 1073848"/>
                <a:gd name="connsiteY521" fmla="*/ 592550 h 1057751"/>
                <a:gd name="connsiteX522" fmla="*/ 13716 w 1073848"/>
                <a:gd name="connsiteY522" fmla="*/ 597313 h 1057751"/>
                <a:gd name="connsiteX523" fmla="*/ 10763 w 1073848"/>
                <a:gd name="connsiteY523" fmla="*/ 599218 h 1057751"/>
                <a:gd name="connsiteX524" fmla="*/ 11239 w 1073848"/>
                <a:gd name="connsiteY524" fmla="*/ 602361 h 1057751"/>
                <a:gd name="connsiteX525" fmla="*/ 13335 w 1073848"/>
                <a:gd name="connsiteY525" fmla="*/ 606933 h 1057751"/>
                <a:gd name="connsiteX526" fmla="*/ 20669 w 1073848"/>
                <a:gd name="connsiteY526" fmla="*/ 613982 h 1057751"/>
                <a:gd name="connsiteX527" fmla="*/ 27432 w 1073848"/>
                <a:gd name="connsiteY527" fmla="*/ 616363 h 1057751"/>
                <a:gd name="connsiteX528" fmla="*/ 27813 w 1073848"/>
                <a:gd name="connsiteY528" fmla="*/ 619506 h 1057751"/>
                <a:gd name="connsiteX529" fmla="*/ 24098 w 1073848"/>
                <a:gd name="connsiteY529" fmla="*/ 627983 h 1057751"/>
                <a:gd name="connsiteX530" fmla="*/ 30766 w 1073848"/>
                <a:gd name="connsiteY530" fmla="*/ 630364 h 1057751"/>
                <a:gd name="connsiteX531" fmla="*/ 39052 w 1073848"/>
                <a:gd name="connsiteY531" fmla="*/ 632555 h 1057751"/>
                <a:gd name="connsiteX532" fmla="*/ 39529 w 1073848"/>
                <a:gd name="connsiteY532" fmla="*/ 635699 h 1057751"/>
                <a:gd name="connsiteX533" fmla="*/ 42863 w 1073848"/>
                <a:gd name="connsiteY533" fmla="*/ 636842 h 1057751"/>
                <a:gd name="connsiteX534" fmla="*/ 41910 w 1073848"/>
                <a:gd name="connsiteY534" fmla="*/ 641795 h 1057751"/>
                <a:gd name="connsiteX535" fmla="*/ 45815 w 1073848"/>
                <a:gd name="connsiteY535" fmla="*/ 647700 h 1057751"/>
                <a:gd name="connsiteX536" fmla="*/ 47625 w 1073848"/>
                <a:gd name="connsiteY536" fmla="*/ 649129 h 1057751"/>
                <a:gd name="connsiteX537" fmla="*/ 50578 w 1073848"/>
                <a:gd name="connsiteY537" fmla="*/ 647129 h 1057751"/>
                <a:gd name="connsiteX538" fmla="*/ 57912 w 1073848"/>
                <a:gd name="connsiteY538" fmla="*/ 654177 h 1057751"/>
                <a:gd name="connsiteX539" fmla="*/ 61817 w 1073848"/>
                <a:gd name="connsiteY539" fmla="*/ 660083 h 1057751"/>
                <a:gd name="connsiteX540" fmla="*/ 62484 w 1073848"/>
                <a:gd name="connsiteY540" fmla="*/ 664845 h 1057751"/>
                <a:gd name="connsiteX541" fmla="*/ 64008 w 1073848"/>
                <a:gd name="connsiteY541" fmla="*/ 664655 h 1057751"/>
                <a:gd name="connsiteX542" fmla="*/ 64198 w 1073848"/>
                <a:gd name="connsiteY542" fmla="*/ 666179 h 1057751"/>
                <a:gd name="connsiteX543" fmla="*/ 72485 w 1073848"/>
                <a:gd name="connsiteY543" fmla="*/ 668369 h 1057751"/>
                <a:gd name="connsiteX544" fmla="*/ 80581 w 1073848"/>
                <a:gd name="connsiteY544" fmla="*/ 656082 h 1057751"/>
                <a:gd name="connsiteX545" fmla="*/ 85153 w 1073848"/>
                <a:gd name="connsiteY545" fmla="*/ 653891 h 1057751"/>
                <a:gd name="connsiteX546" fmla="*/ 89440 w 1073848"/>
                <a:gd name="connsiteY546" fmla="*/ 650176 h 1057751"/>
                <a:gd name="connsiteX547" fmla="*/ 92583 w 1073848"/>
                <a:gd name="connsiteY547" fmla="*/ 649796 h 1057751"/>
                <a:gd name="connsiteX548" fmla="*/ 94012 w 1073848"/>
                <a:gd name="connsiteY548" fmla="*/ 647986 h 1057751"/>
                <a:gd name="connsiteX549" fmla="*/ 99917 w 1073848"/>
                <a:gd name="connsiteY549" fmla="*/ 643985 h 1057751"/>
                <a:gd name="connsiteX550" fmla="*/ 101917 w 1073848"/>
                <a:gd name="connsiteY550" fmla="*/ 646938 h 1057751"/>
                <a:gd name="connsiteX551" fmla="*/ 103251 w 1073848"/>
                <a:gd name="connsiteY551" fmla="*/ 645224 h 1057751"/>
                <a:gd name="connsiteX552" fmla="*/ 102298 w 1073848"/>
                <a:gd name="connsiteY552" fmla="*/ 650176 h 1057751"/>
                <a:gd name="connsiteX553" fmla="*/ 107251 w 1073848"/>
                <a:gd name="connsiteY553" fmla="*/ 651129 h 1057751"/>
                <a:gd name="connsiteX554" fmla="*/ 111538 w 1073848"/>
                <a:gd name="connsiteY554" fmla="*/ 660178 h 1057751"/>
                <a:gd name="connsiteX555" fmla="*/ 113728 w 1073848"/>
                <a:gd name="connsiteY555" fmla="*/ 664750 h 1057751"/>
                <a:gd name="connsiteX556" fmla="*/ 122491 w 1073848"/>
                <a:gd name="connsiteY556" fmla="*/ 669988 h 1057751"/>
                <a:gd name="connsiteX557" fmla="*/ 121063 w 1073848"/>
                <a:gd name="connsiteY557" fmla="*/ 671798 h 1057751"/>
                <a:gd name="connsiteX558" fmla="*/ 126016 w 1073848"/>
                <a:gd name="connsiteY558" fmla="*/ 672751 h 1057751"/>
                <a:gd name="connsiteX559" fmla="*/ 127159 w 1073848"/>
                <a:gd name="connsiteY559" fmla="*/ 669417 h 1057751"/>
                <a:gd name="connsiteX560" fmla="*/ 128968 w 1073848"/>
                <a:gd name="connsiteY560" fmla="*/ 670751 h 1057751"/>
                <a:gd name="connsiteX561" fmla="*/ 137255 w 1073848"/>
                <a:gd name="connsiteY561" fmla="*/ 672941 h 1057751"/>
                <a:gd name="connsiteX562" fmla="*/ 152019 w 1073848"/>
                <a:gd name="connsiteY562" fmla="*/ 675894 h 1057751"/>
                <a:gd name="connsiteX563" fmla="*/ 151447 w 1073848"/>
                <a:gd name="connsiteY563" fmla="*/ 683990 h 1057751"/>
                <a:gd name="connsiteX564" fmla="*/ 147161 w 1073848"/>
                <a:gd name="connsiteY564" fmla="*/ 687705 h 1057751"/>
                <a:gd name="connsiteX565" fmla="*/ 151162 w 1073848"/>
                <a:gd name="connsiteY565" fmla="*/ 693611 h 1057751"/>
                <a:gd name="connsiteX566" fmla="*/ 150114 w 1073848"/>
                <a:gd name="connsiteY566" fmla="*/ 698563 h 1057751"/>
                <a:gd name="connsiteX567" fmla="*/ 137160 w 1073848"/>
                <a:gd name="connsiteY567" fmla="*/ 697039 h 1057751"/>
                <a:gd name="connsiteX568" fmla="*/ 133731 w 1073848"/>
                <a:gd name="connsiteY568" fmla="*/ 695801 h 1057751"/>
                <a:gd name="connsiteX569" fmla="*/ 132207 w 1073848"/>
                <a:gd name="connsiteY569" fmla="*/ 696087 h 1057751"/>
                <a:gd name="connsiteX570" fmla="*/ 136112 w 1073848"/>
                <a:gd name="connsiteY570" fmla="*/ 701993 h 1057751"/>
                <a:gd name="connsiteX571" fmla="*/ 142684 w 1073848"/>
                <a:gd name="connsiteY571" fmla="*/ 702755 h 1057751"/>
                <a:gd name="connsiteX572" fmla="*/ 148209 w 1073848"/>
                <a:gd name="connsiteY572" fmla="*/ 708470 h 1057751"/>
                <a:gd name="connsiteX573" fmla="*/ 153734 w 1073848"/>
                <a:gd name="connsiteY573" fmla="*/ 701326 h 1057751"/>
                <a:gd name="connsiteX574" fmla="*/ 163163 w 1073848"/>
                <a:gd name="connsiteY574" fmla="*/ 700088 h 1057751"/>
                <a:gd name="connsiteX575" fmla="*/ 166497 w 1073848"/>
                <a:gd name="connsiteY575" fmla="*/ 701326 h 1057751"/>
                <a:gd name="connsiteX576" fmla="*/ 168688 w 1073848"/>
                <a:gd name="connsiteY576" fmla="*/ 705803 h 1057751"/>
                <a:gd name="connsiteX577" fmla="*/ 171831 w 1073848"/>
                <a:gd name="connsiteY577" fmla="*/ 705422 h 1057751"/>
                <a:gd name="connsiteX578" fmla="*/ 174403 w 1073848"/>
                <a:gd name="connsiteY578" fmla="*/ 713137 h 1057751"/>
                <a:gd name="connsiteX579" fmla="*/ 176213 w 1073848"/>
                <a:gd name="connsiteY579" fmla="*/ 714470 h 1057751"/>
                <a:gd name="connsiteX580" fmla="*/ 176403 w 1073848"/>
                <a:gd name="connsiteY580" fmla="*/ 716089 h 1057751"/>
                <a:gd name="connsiteX581" fmla="*/ 175069 w 1073848"/>
                <a:gd name="connsiteY581" fmla="*/ 717804 h 1057751"/>
                <a:gd name="connsiteX582" fmla="*/ 177832 w 1073848"/>
                <a:gd name="connsiteY582" fmla="*/ 727138 h 1057751"/>
                <a:gd name="connsiteX583" fmla="*/ 176689 w 1073848"/>
                <a:gd name="connsiteY583" fmla="*/ 730472 h 1057751"/>
                <a:gd name="connsiteX584" fmla="*/ 184975 w 1073848"/>
                <a:gd name="connsiteY584" fmla="*/ 732568 h 1057751"/>
                <a:gd name="connsiteX585" fmla="*/ 191643 w 1073848"/>
                <a:gd name="connsiteY585" fmla="*/ 734949 h 1057751"/>
                <a:gd name="connsiteX586" fmla="*/ 194977 w 1073848"/>
                <a:gd name="connsiteY586" fmla="*/ 736187 h 1057751"/>
                <a:gd name="connsiteX587" fmla="*/ 204121 w 1073848"/>
                <a:gd name="connsiteY587" fmla="*/ 731806 h 1057751"/>
                <a:gd name="connsiteX588" fmla="*/ 213741 w 1073848"/>
                <a:gd name="connsiteY588" fmla="*/ 719328 h 1057751"/>
                <a:gd name="connsiteX589" fmla="*/ 213169 w 1073848"/>
                <a:gd name="connsiteY589" fmla="*/ 714566 h 1057751"/>
                <a:gd name="connsiteX590" fmla="*/ 218027 w 1073848"/>
                <a:gd name="connsiteY590" fmla="*/ 715613 h 1057751"/>
                <a:gd name="connsiteX591" fmla="*/ 224409 w 1073848"/>
                <a:gd name="connsiteY591" fmla="*/ 727615 h 1057751"/>
                <a:gd name="connsiteX592" fmla="*/ 225552 w 1073848"/>
                <a:gd name="connsiteY592" fmla="*/ 724186 h 1057751"/>
                <a:gd name="connsiteX593" fmla="*/ 231934 w 1073848"/>
                <a:gd name="connsiteY593" fmla="*/ 723424 h 1057751"/>
                <a:gd name="connsiteX594" fmla="*/ 240601 w 1073848"/>
                <a:gd name="connsiteY594" fmla="*/ 728758 h 1057751"/>
                <a:gd name="connsiteX595" fmla="*/ 243745 w 1073848"/>
                <a:gd name="connsiteY595" fmla="*/ 728377 h 1057751"/>
                <a:gd name="connsiteX596" fmla="*/ 248888 w 1073848"/>
                <a:gd name="connsiteY596" fmla="*/ 730853 h 1057751"/>
                <a:gd name="connsiteX597" fmla="*/ 250222 w 1073848"/>
                <a:gd name="connsiteY597" fmla="*/ 729139 h 1057751"/>
                <a:gd name="connsiteX598" fmla="*/ 260890 w 1073848"/>
                <a:gd name="connsiteY598" fmla="*/ 737330 h 1057751"/>
                <a:gd name="connsiteX599" fmla="*/ 258223 w 1073848"/>
                <a:gd name="connsiteY599" fmla="*/ 740950 h 1057751"/>
                <a:gd name="connsiteX600" fmla="*/ 259937 w 1073848"/>
                <a:gd name="connsiteY600" fmla="*/ 742283 h 1057751"/>
                <a:gd name="connsiteX601" fmla="*/ 257651 w 1073848"/>
                <a:gd name="connsiteY601" fmla="*/ 749046 h 1057751"/>
                <a:gd name="connsiteX602" fmla="*/ 262128 w 1073848"/>
                <a:gd name="connsiteY602" fmla="*/ 746855 h 1057751"/>
                <a:gd name="connsiteX603" fmla="*/ 261747 w 1073848"/>
                <a:gd name="connsiteY603" fmla="*/ 743712 h 1057751"/>
                <a:gd name="connsiteX604" fmla="*/ 266033 w 1073848"/>
                <a:gd name="connsiteY604" fmla="*/ 739902 h 1057751"/>
                <a:gd name="connsiteX605" fmla="*/ 269462 w 1073848"/>
                <a:gd name="connsiteY605" fmla="*/ 741140 h 1057751"/>
                <a:gd name="connsiteX606" fmla="*/ 271367 w 1073848"/>
                <a:gd name="connsiteY606" fmla="*/ 744093 h 1057751"/>
                <a:gd name="connsiteX607" fmla="*/ 275939 w 1073848"/>
                <a:gd name="connsiteY607" fmla="*/ 741902 h 1057751"/>
                <a:gd name="connsiteX608" fmla="*/ 280035 w 1073848"/>
                <a:gd name="connsiteY608" fmla="*/ 736568 h 1057751"/>
                <a:gd name="connsiteX609" fmla="*/ 286417 w 1073848"/>
                <a:gd name="connsiteY609" fmla="*/ 735711 h 1057751"/>
                <a:gd name="connsiteX610" fmla="*/ 295084 w 1073848"/>
                <a:gd name="connsiteY610" fmla="*/ 741045 h 1057751"/>
                <a:gd name="connsiteX611" fmla="*/ 301180 w 1073848"/>
                <a:gd name="connsiteY611" fmla="*/ 738664 h 1057751"/>
                <a:gd name="connsiteX612" fmla="*/ 300609 w 1073848"/>
                <a:gd name="connsiteY612" fmla="*/ 733901 h 1057751"/>
                <a:gd name="connsiteX613" fmla="*/ 305276 w 1073848"/>
                <a:gd name="connsiteY613" fmla="*/ 733330 h 1057751"/>
                <a:gd name="connsiteX614" fmla="*/ 307276 w 1073848"/>
                <a:gd name="connsiteY614" fmla="*/ 736283 h 1057751"/>
                <a:gd name="connsiteX615" fmla="*/ 310420 w 1073848"/>
                <a:gd name="connsiteY615" fmla="*/ 735901 h 1057751"/>
                <a:gd name="connsiteX616" fmla="*/ 313372 w 1073848"/>
                <a:gd name="connsiteY616" fmla="*/ 733901 h 1057751"/>
                <a:gd name="connsiteX617" fmla="*/ 320135 w 1073848"/>
                <a:gd name="connsiteY617" fmla="*/ 736283 h 1057751"/>
                <a:gd name="connsiteX618" fmla="*/ 323659 w 1073848"/>
                <a:gd name="connsiteY618" fmla="*/ 739045 h 1057751"/>
                <a:gd name="connsiteX619" fmla="*/ 323088 w 1073848"/>
                <a:gd name="connsiteY619" fmla="*/ 747046 h 1057751"/>
                <a:gd name="connsiteX620" fmla="*/ 324326 w 1073848"/>
                <a:gd name="connsiteY620" fmla="*/ 756571 h 1057751"/>
                <a:gd name="connsiteX621" fmla="*/ 326517 w 1073848"/>
                <a:gd name="connsiteY621" fmla="*/ 761047 h 1057751"/>
                <a:gd name="connsiteX622" fmla="*/ 325088 w 1073848"/>
                <a:gd name="connsiteY622" fmla="*/ 762857 h 1057751"/>
                <a:gd name="connsiteX623" fmla="*/ 328517 w 1073848"/>
                <a:gd name="connsiteY623" fmla="*/ 764000 h 1057751"/>
                <a:gd name="connsiteX624" fmla="*/ 324517 w 1073848"/>
                <a:gd name="connsiteY624" fmla="*/ 770954 h 1057751"/>
                <a:gd name="connsiteX625" fmla="*/ 324993 w 1073848"/>
                <a:gd name="connsiteY625" fmla="*/ 774097 h 1057751"/>
                <a:gd name="connsiteX626" fmla="*/ 320992 w 1073848"/>
                <a:gd name="connsiteY626" fmla="*/ 781050 h 1057751"/>
                <a:gd name="connsiteX627" fmla="*/ 321850 w 1073848"/>
                <a:gd name="connsiteY627" fmla="*/ 787337 h 1057751"/>
                <a:gd name="connsiteX628" fmla="*/ 321850 w 1073848"/>
                <a:gd name="connsiteY628" fmla="*/ 787337 h 1057751"/>
                <a:gd name="connsiteX629" fmla="*/ 317849 w 1073848"/>
                <a:gd name="connsiteY629" fmla="*/ 794290 h 1057751"/>
                <a:gd name="connsiteX630" fmla="*/ 321088 w 1073848"/>
                <a:gd name="connsiteY630" fmla="*/ 793813 h 1057751"/>
                <a:gd name="connsiteX631" fmla="*/ 324421 w 1073848"/>
                <a:gd name="connsiteY631" fmla="*/ 795052 h 1057751"/>
                <a:gd name="connsiteX632" fmla="*/ 324993 w 1073848"/>
                <a:gd name="connsiteY632" fmla="*/ 799814 h 1057751"/>
                <a:gd name="connsiteX633" fmla="*/ 327565 w 1073848"/>
                <a:gd name="connsiteY633" fmla="*/ 807434 h 1057751"/>
                <a:gd name="connsiteX634" fmla="*/ 329565 w 1073848"/>
                <a:gd name="connsiteY634" fmla="*/ 810387 h 1057751"/>
                <a:gd name="connsiteX635" fmla="*/ 332708 w 1073848"/>
                <a:gd name="connsiteY635" fmla="*/ 810006 h 1057751"/>
                <a:gd name="connsiteX636" fmla="*/ 330517 w 1073848"/>
                <a:gd name="connsiteY636" fmla="*/ 805434 h 1057751"/>
                <a:gd name="connsiteX637" fmla="*/ 333946 w 1073848"/>
                <a:gd name="connsiteY637" fmla="*/ 806672 h 1057751"/>
                <a:gd name="connsiteX638" fmla="*/ 335470 w 1073848"/>
                <a:gd name="connsiteY638" fmla="*/ 806482 h 1057751"/>
                <a:gd name="connsiteX639" fmla="*/ 334518 w 1073848"/>
                <a:gd name="connsiteY639" fmla="*/ 811435 h 1057751"/>
                <a:gd name="connsiteX640" fmla="*/ 341471 w 1073848"/>
                <a:gd name="connsiteY640" fmla="*/ 815340 h 1057751"/>
                <a:gd name="connsiteX641" fmla="*/ 342614 w 1073848"/>
                <a:gd name="connsiteY641" fmla="*/ 812006 h 1057751"/>
                <a:gd name="connsiteX642" fmla="*/ 346329 w 1073848"/>
                <a:gd name="connsiteY642" fmla="*/ 816293 h 1057751"/>
                <a:gd name="connsiteX643" fmla="*/ 348710 w 1073848"/>
                <a:gd name="connsiteY643" fmla="*/ 822388 h 1057751"/>
                <a:gd name="connsiteX644" fmla="*/ 347758 w 1073848"/>
                <a:gd name="connsiteY644" fmla="*/ 827342 h 1057751"/>
                <a:gd name="connsiteX645" fmla="*/ 354711 w 1073848"/>
                <a:gd name="connsiteY645" fmla="*/ 831247 h 1057751"/>
                <a:gd name="connsiteX646" fmla="*/ 357854 w 1073848"/>
                <a:gd name="connsiteY646" fmla="*/ 830866 h 1057751"/>
                <a:gd name="connsiteX647" fmla="*/ 359378 w 1073848"/>
                <a:gd name="connsiteY647" fmla="*/ 830675 h 1057751"/>
                <a:gd name="connsiteX648" fmla="*/ 366331 w 1073848"/>
                <a:gd name="connsiteY648" fmla="*/ 834580 h 1057751"/>
                <a:gd name="connsiteX649" fmla="*/ 370046 w 1073848"/>
                <a:gd name="connsiteY649" fmla="*/ 838962 h 1057751"/>
                <a:gd name="connsiteX650" fmla="*/ 378619 w 1073848"/>
                <a:gd name="connsiteY650" fmla="*/ 842677 h 1057751"/>
                <a:gd name="connsiteX651" fmla="*/ 377857 w 1073848"/>
                <a:gd name="connsiteY651" fmla="*/ 849154 h 1057751"/>
                <a:gd name="connsiteX652" fmla="*/ 379571 w 1073848"/>
                <a:gd name="connsiteY652" fmla="*/ 850583 h 1057751"/>
                <a:gd name="connsiteX653" fmla="*/ 382143 w 1073848"/>
                <a:gd name="connsiteY653" fmla="*/ 845439 h 1057751"/>
                <a:gd name="connsiteX654" fmla="*/ 384334 w 1073848"/>
                <a:gd name="connsiteY654" fmla="*/ 837152 h 1057751"/>
                <a:gd name="connsiteX655" fmla="*/ 385858 w 1073848"/>
                <a:gd name="connsiteY655" fmla="*/ 836962 h 1057751"/>
                <a:gd name="connsiteX656" fmla="*/ 387286 w 1073848"/>
                <a:gd name="connsiteY656" fmla="*/ 835152 h 1057751"/>
                <a:gd name="connsiteX657" fmla="*/ 390239 w 1073848"/>
                <a:gd name="connsiteY657" fmla="*/ 833152 h 1057751"/>
                <a:gd name="connsiteX658" fmla="*/ 393382 w 1073848"/>
                <a:gd name="connsiteY658" fmla="*/ 832771 h 1057751"/>
                <a:gd name="connsiteX659" fmla="*/ 396907 w 1073848"/>
                <a:gd name="connsiteY659" fmla="*/ 835533 h 1057751"/>
                <a:gd name="connsiteX660" fmla="*/ 404622 w 1073848"/>
                <a:gd name="connsiteY660" fmla="*/ 845725 h 1057751"/>
                <a:gd name="connsiteX661" fmla="*/ 406241 w 1073848"/>
                <a:gd name="connsiteY661" fmla="*/ 845534 h 1057751"/>
                <a:gd name="connsiteX662" fmla="*/ 408241 w 1073848"/>
                <a:gd name="connsiteY662" fmla="*/ 848487 h 1057751"/>
                <a:gd name="connsiteX663" fmla="*/ 409575 w 1073848"/>
                <a:gd name="connsiteY663" fmla="*/ 846772 h 1057751"/>
                <a:gd name="connsiteX664" fmla="*/ 412909 w 1073848"/>
                <a:gd name="connsiteY664" fmla="*/ 847916 h 1057751"/>
                <a:gd name="connsiteX665" fmla="*/ 412528 w 1073848"/>
                <a:gd name="connsiteY665" fmla="*/ 844772 h 1057751"/>
                <a:gd name="connsiteX666" fmla="*/ 423958 w 1073848"/>
                <a:gd name="connsiteY666" fmla="*/ 846487 h 1057751"/>
                <a:gd name="connsiteX667" fmla="*/ 430530 w 1073848"/>
                <a:gd name="connsiteY667" fmla="*/ 847249 h 1057751"/>
                <a:gd name="connsiteX668" fmla="*/ 435388 w 1073848"/>
                <a:gd name="connsiteY668" fmla="*/ 848201 h 1057751"/>
                <a:gd name="connsiteX669" fmla="*/ 442150 w 1073848"/>
                <a:gd name="connsiteY669" fmla="*/ 837819 h 1057751"/>
                <a:gd name="connsiteX670" fmla="*/ 443484 w 1073848"/>
                <a:gd name="connsiteY670" fmla="*/ 836009 h 1057751"/>
                <a:gd name="connsiteX671" fmla="*/ 451580 w 1073848"/>
                <a:gd name="connsiteY671" fmla="*/ 836581 h 1057751"/>
                <a:gd name="connsiteX672" fmla="*/ 455295 w 1073848"/>
                <a:gd name="connsiteY672" fmla="*/ 840867 h 1057751"/>
                <a:gd name="connsiteX673" fmla="*/ 455581 w 1073848"/>
                <a:gd name="connsiteY673" fmla="*/ 842486 h 1057751"/>
                <a:gd name="connsiteX674" fmla="*/ 460438 w 1073848"/>
                <a:gd name="connsiteY674" fmla="*/ 843439 h 1057751"/>
                <a:gd name="connsiteX675" fmla="*/ 463201 w 1073848"/>
                <a:gd name="connsiteY675" fmla="*/ 839914 h 1057751"/>
                <a:gd name="connsiteX676" fmla="*/ 459486 w 1073848"/>
                <a:gd name="connsiteY676" fmla="*/ 835533 h 1057751"/>
                <a:gd name="connsiteX677" fmla="*/ 460438 w 1073848"/>
                <a:gd name="connsiteY677" fmla="*/ 830675 h 1057751"/>
                <a:gd name="connsiteX678" fmla="*/ 463772 w 1073848"/>
                <a:gd name="connsiteY678" fmla="*/ 831818 h 1057751"/>
                <a:gd name="connsiteX679" fmla="*/ 466725 w 1073848"/>
                <a:gd name="connsiteY679" fmla="*/ 829818 h 1057751"/>
                <a:gd name="connsiteX680" fmla="*/ 473869 w 1073848"/>
                <a:gd name="connsiteY680" fmla="*/ 835343 h 1057751"/>
                <a:gd name="connsiteX681" fmla="*/ 473107 w 1073848"/>
                <a:gd name="connsiteY681" fmla="*/ 841820 h 1057751"/>
                <a:gd name="connsiteX682" fmla="*/ 475488 w 1073848"/>
                <a:gd name="connsiteY682" fmla="*/ 835152 h 1057751"/>
                <a:gd name="connsiteX683" fmla="*/ 482155 w 1073848"/>
                <a:gd name="connsiteY683" fmla="*/ 837438 h 1057751"/>
                <a:gd name="connsiteX684" fmla="*/ 483394 w 1073848"/>
                <a:gd name="connsiteY684" fmla="*/ 846963 h 1057751"/>
                <a:gd name="connsiteX685" fmla="*/ 485775 w 1073848"/>
                <a:gd name="connsiteY685" fmla="*/ 853059 h 1057751"/>
                <a:gd name="connsiteX686" fmla="*/ 483965 w 1073848"/>
                <a:gd name="connsiteY686" fmla="*/ 851726 h 1057751"/>
                <a:gd name="connsiteX687" fmla="*/ 476059 w 1073848"/>
                <a:gd name="connsiteY687" fmla="*/ 852678 h 1057751"/>
                <a:gd name="connsiteX688" fmla="*/ 474726 w 1073848"/>
                <a:gd name="connsiteY688" fmla="*/ 854488 h 1057751"/>
                <a:gd name="connsiteX689" fmla="*/ 478250 w 1073848"/>
                <a:gd name="connsiteY689" fmla="*/ 857250 h 1057751"/>
                <a:gd name="connsiteX690" fmla="*/ 487585 w 1073848"/>
                <a:gd name="connsiteY690" fmla="*/ 867251 h 1057751"/>
                <a:gd name="connsiteX691" fmla="*/ 488918 w 1073848"/>
                <a:gd name="connsiteY691" fmla="*/ 865442 h 1057751"/>
                <a:gd name="connsiteX692" fmla="*/ 487204 w 1073848"/>
                <a:gd name="connsiteY692" fmla="*/ 864108 h 1057751"/>
                <a:gd name="connsiteX693" fmla="*/ 490156 w 1073848"/>
                <a:gd name="connsiteY693" fmla="*/ 862108 h 1057751"/>
                <a:gd name="connsiteX694" fmla="*/ 498443 w 1073848"/>
                <a:gd name="connsiteY694" fmla="*/ 864299 h 1057751"/>
                <a:gd name="connsiteX695" fmla="*/ 500348 w 1073848"/>
                <a:gd name="connsiteY695" fmla="*/ 867251 h 1057751"/>
                <a:gd name="connsiteX696" fmla="*/ 495681 w 1073848"/>
                <a:gd name="connsiteY696" fmla="*/ 867823 h 1057751"/>
                <a:gd name="connsiteX697" fmla="*/ 492919 w 1073848"/>
                <a:gd name="connsiteY697" fmla="*/ 871347 h 1057751"/>
                <a:gd name="connsiteX698" fmla="*/ 507778 w 1073848"/>
                <a:gd name="connsiteY698" fmla="*/ 887159 h 1057751"/>
                <a:gd name="connsiteX699" fmla="*/ 499872 w 1073848"/>
                <a:gd name="connsiteY699" fmla="*/ 888111 h 1057751"/>
                <a:gd name="connsiteX700" fmla="*/ 503777 w 1073848"/>
                <a:gd name="connsiteY700" fmla="*/ 894017 h 1057751"/>
                <a:gd name="connsiteX701" fmla="*/ 504444 w 1073848"/>
                <a:gd name="connsiteY701" fmla="*/ 898779 h 1057751"/>
                <a:gd name="connsiteX702" fmla="*/ 501682 w 1073848"/>
                <a:gd name="connsiteY702" fmla="*/ 902399 h 1057751"/>
                <a:gd name="connsiteX703" fmla="*/ 495395 w 1073848"/>
                <a:gd name="connsiteY703" fmla="*/ 903161 h 1057751"/>
                <a:gd name="connsiteX704" fmla="*/ 493586 w 1073848"/>
                <a:gd name="connsiteY704" fmla="*/ 901827 h 1057751"/>
                <a:gd name="connsiteX705" fmla="*/ 492157 w 1073848"/>
                <a:gd name="connsiteY705" fmla="*/ 903542 h 1057751"/>
                <a:gd name="connsiteX706" fmla="*/ 490442 w 1073848"/>
                <a:gd name="connsiteY706" fmla="*/ 902208 h 1057751"/>
                <a:gd name="connsiteX707" fmla="*/ 482536 w 1073848"/>
                <a:gd name="connsiteY707" fmla="*/ 903161 h 1057751"/>
                <a:gd name="connsiteX708" fmla="*/ 472249 w 1073848"/>
                <a:gd name="connsiteY708" fmla="*/ 898112 h 1057751"/>
                <a:gd name="connsiteX709" fmla="*/ 471297 w 1073848"/>
                <a:gd name="connsiteY709" fmla="*/ 902970 h 1057751"/>
                <a:gd name="connsiteX710" fmla="*/ 475202 w 1073848"/>
                <a:gd name="connsiteY710" fmla="*/ 908971 h 1057751"/>
                <a:gd name="connsiteX711" fmla="*/ 474631 w 1073848"/>
                <a:gd name="connsiteY711" fmla="*/ 916972 h 1057751"/>
                <a:gd name="connsiteX712" fmla="*/ 471106 w 1073848"/>
                <a:gd name="connsiteY712" fmla="*/ 914305 h 1057751"/>
                <a:gd name="connsiteX713" fmla="*/ 463391 w 1073848"/>
                <a:gd name="connsiteY713" fmla="*/ 916876 h 1057751"/>
                <a:gd name="connsiteX714" fmla="*/ 465201 w 1073848"/>
                <a:gd name="connsiteY714" fmla="*/ 918210 h 1057751"/>
                <a:gd name="connsiteX715" fmla="*/ 467011 w 1073848"/>
                <a:gd name="connsiteY715" fmla="*/ 919639 h 1057751"/>
                <a:gd name="connsiteX716" fmla="*/ 466153 w 1073848"/>
                <a:gd name="connsiteY716" fmla="*/ 926116 h 1057751"/>
                <a:gd name="connsiteX717" fmla="*/ 471297 w 1073848"/>
                <a:gd name="connsiteY717" fmla="*/ 928688 h 1057751"/>
                <a:gd name="connsiteX718" fmla="*/ 469201 w 1073848"/>
                <a:gd name="connsiteY718" fmla="*/ 936974 h 1057751"/>
                <a:gd name="connsiteX719" fmla="*/ 463105 w 1073848"/>
                <a:gd name="connsiteY719" fmla="*/ 939355 h 1057751"/>
                <a:gd name="connsiteX720" fmla="*/ 455200 w 1073848"/>
                <a:gd name="connsiteY720" fmla="*/ 940308 h 1057751"/>
                <a:gd name="connsiteX721" fmla="*/ 454057 w 1073848"/>
                <a:gd name="connsiteY721" fmla="*/ 943737 h 1057751"/>
                <a:gd name="connsiteX722" fmla="*/ 455962 w 1073848"/>
                <a:gd name="connsiteY722" fmla="*/ 946690 h 1057751"/>
                <a:gd name="connsiteX723" fmla="*/ 454628 w 1073848"/>
                <a:gd name="connsiteY723" fmla="*/ 948404 h 1057751"/>
                <a:gd name="connsiteX724" fmla="*/ 457962 w 1073848"/>
                <a:gd name="connsiteY724" fmla="*/ 949643 h 1057751"/>
                <a:gd name="connsiteX725" fmla="*/ 455390 w 1073848"/>
                <a:gd name="connsiteY725" fmla="*/ 954786 h 1057751"/>
                <a:gd name="connsiteX726" fmla="*/ 457200 w 1073848"/>
                <a:gd name="connsiteY726" fmla="*/ 956120 h 1057751"/>
                <a:gd name="connsiteX727" fmla="*/ 454247 w 1073848"/>
                <a:gd name="connsiteY727" fmla="*/ 958120 h 1057751"/>
                <a:gd name="connsiteX728" fmla="*/ 453104 w 1073848"/>
                <a:gd name="connsiteY728" fmla="*/ 961454 h 1057751"/>
                <a:gd name="connsiteX729" fmla="*/ 448151 w 1073848"/>
                <a:gd name="connsiteY729" fmla="*/ 960501 h 1057751"/>
                <a:gd name="connsiteX730" fmla="*/ 449104 w 1073848"/>
                <a:gd name="connsiteY730" fmla="*/ 968407 h 1057751"/>
                <a:gd name="connsiteX731" fmla="*/ 447389 w 1073848"/>
                <a:gd name="connsiteY731" fmla="*/ 966978 h 1057751"/>
                <a:gd name="connsiteX732" fmla="*/ 443960 w 1073848"/>
                <a:gd name="connsiteY732" fmla="*/ 965835 h 1057751"/>
                <a:gd name="connsiteX733" fmla="*/ 442436 w 1073848"/>
                <a:gd name="connsiteY733" fmla="*/ 966026 h 1057751"/>
                <a:gd name="connsiteX734" fmla="*/ 441484 w 1073848"/>
                <a:gd name="connsiteY734" fmla="*/ 970979 h 1057751"/>
                <a:gd name="connsiteX735" fmla="*/ 438912 w 1073848"/>
                <a:gd name="connsiteY735" fmla="*/ 976122 h 1057751"/>
                <a:gd name="connsiteX736" fmla="*/ 434149 w 1073848"/>
                <a:gd name="connsiteY736" fmla="*/ 976693 h 1057751"/>
                <a:gd name="connsiteX737" fmla="*/ 428053 w 1073848"/>
                <a:gd name="connsiteY737" fmla="*/ 979075 h 1057751"/>
                <a:gd name="connsiteX738" fmla="*/ 430435 w 1073848"/>
                <a:gd name="connsiteY738" fmla="*/ 985171 h 1057751"/>
                <a:gd name="connsiteX739" fmla="*/ 426053 w 1073848"/>
                <a:gd name="connsiteY739" fmla="*/ 988981 h 1057751"/>
                <a:gd name="connsiteX740" fmla="*/ 430435 w 1073848"/>
                <a:gd name="connsiteY740" fmla="*/ 998030 h 1057751"/>
                <a:gd name="connsiteX741" fmla="*/ 432054 w 1073848"/>
                <a:gd name="connsiteY741" fmla="*/ 997839 h 1057751"/>
                <a:gd name="connsiteX742" fmla="*/ 433197 w 1073848"/>
                <a:gd name="connsiteY742" fmla="*/ 994505 h 1057751"/>
                <a:gd name="connsiteX743" fmla="*/ 437959 w 1073848"/>
                <a:gd name="connsiteY743" fmla="*/ 993838 h 1057751"/>
                <a:gd name="connsiteX744" fmla="*/ 441865 w 1073848"/>
                <a:gd name="connsiteY744" fmla="*/ 986980 h 1057751"/>
                <a:gd name="connsiteX745" fmla="*/ 448627 w 1073848"/>
                <a:gd name="connsiteY745" fmla="*/ 989267 h 1057751"/>
                <a:gd name="connsiteX746" fmla="*/ 451961 w 1073848"/>
                <a:gd name="connsiteY746" fmla="*/ 990505 h 1057751"/>
                <a:gd name="connsiteX747" fmla="*/ 454342 w 1073848"/>
                <a:gd name="connsiteY747" fmla="*/ 996601 h 1057751"/>
                <a:gd name="connsiteX748" fmla="*/ 452914 w 1073848"/>
                <a:gd name="connsiteY748" fmla="*/ 998411 h 1057751"/>
                <a:gd name="connsiteX749" fmla="*/ 452152 w 1073848"/>
                <a:gd name="connsiteY749" fmla="*/ 1004888 h 1057751"/>
                <a:gd name="connsiteX750" fmla="*/ 451199 w 1073848"/>
                <a:gd name="connsiteY750" fmla="*/ 1009841 h 1057751"/>
                <a:gd name="connsiteX751" fmla="*/ 453199 w 1073848"/>
                <a:gd name="connsiteY751" fmla="*/ 1012793 h 1057751"/>
                <a:gd name="connsiteX752" fmla="*/ 456724 w 1073848"/>
                <a:gd name="connsiteY752" fmla="*/ 1015555 h 1057751"/>
                <a:gd name="connsiteX753" fmla="*/ 467963 w 1073848"/>
                <a:gd name="connsiteY753" fmla="*/ 1015651 h 1057751"/>
                <a:gd name="connsiteX754" fmla="*/ 471106 w 1073848"/>
                <a:gd name="connsiteY754" fmla="*/ 1015270 h 1057751"/>
                <a:gd name="connsiteX755" fmla="*/ 483013 w 1073848"/>
                <a:gd name="connsiteY755" fmla="*/ 1020223 h 1057751"/>
                <a:gd name="connsiteX756" fmla="*/ 493300 w 1073848"/>
                <a:gd name="connsiteY756" fmla="*/ 1025271 h 1057751"/>
                <a:gd name="connsiteX757" fmla="*/ 492061 w 1073848"/>
                <a:gd name="connsiteY757" fmla="*/ 1028700 h 1057751"/>
                <a:gd name="connsiteX758" fmla="*/ 492538 w 1073848"/>
                <a:gd name="connsiteY758" fmla="*/ 1031843 h 1057751"/>
                <a:gd name="connsiteX759" fmla="*/ 489585 w 1073848"/>
                <a:gd name="connsiteY759" fmla="*/ 1033748 h 1057751"/>
                <a:gd name="connsiteX760" fmla="*/ 488347 w 1073848"/>
                <a:gd name="connsiteY760" fmla="*/ 1037177 h 1057751"/>
                <a:gd name="connsiteX761" fmla="*/ 497300 w 1073848"/>
                <a:gd name="connsiteY761" fmla="*/ 1044035 h 1057751"/>
                <a:gd name="connsiteX762" fmla="*/ 503206 w 1073848"/>
                <a:gd name="connsiteY762" fmla="*/ 1040035 h 1057751"/>
                <a:gd name="connsiteX763" fmla="*/ 500063 w 1073848"/>
                <a:gd name="connsiteY763" fmla="*/ 1040511 h 1057751"/>
                <a:gd name="connsiteX764" fmla="*/ 499586 w 1073848"/>
                <a:gd name="connsiteY764" fmla="*/ 1037368 h 1057751"/>
                <a:gd name="connsiteX765" fmla="*/ 496443 w 1073848"/>
                <a:gd name="connsiteY765" fmla="*/ 1037749 h 1057751"/>
                <a:gd name="connsiteX766" fmla="*/ 493109 w 1073848"/>
                <a:gd name="connsiteY766" fmla="*/ 1036511 h 1057751"/>
                <a:gd name="connsiteX767" fmla="*/ 499396 w 1073848"/>
                <a:gd name="connsiteY767" fmla="*/ 1035749 h 1057751"/>
                <a:gd name="connsiteX768" fmla="*/ 511492 w 1073848"/>
                <a:gd name="connsiteY768" fmla="*/ 1042226 h 1057751"/>
                <a:gd name="connsiteX769" fmla="*/ 508921 w 1073848"/>
                <a:gd name="connsiteY769" fmla="*/ 1034510 h 1057751"/>
                <a:gd name="connsiteX770" fmla="*/ 515017 w 1073848"/>
                <a:gd name="connsiteY770" fmla="*/ 1032129 h 1057751"/>
                <a:gd name="connsiteX771" fmla="*/ 518541 w 1073848"/>
                <a:gd name="connsiteY771" fmla="*/ 1034891 h 1057751"/>
                <a:gd name="connsiteX772" fmla="*/ 520732 w 1073848"/>
                <a:gd name="connsiteY772" fmla="*/ 1039463 h 1057751"/>
                <a:gd name="connsiteX773" fmla="*/ 524065 w 1073848"/>
                <a:gd name="connsiteY773" fmla="*/ 1040606 h 1057751"/>
                <a:gd name="connsiteX774" fmla="*/ 521780 w 1073848"/>
                <a:gd name="connsiteY774" fmla="*/ 1047369 h 1057751"/>
                <a:gd name="connsiteX775" fmla="*/ 523684 w 1073848"/>
                <a:gd name="connsiteY775" fmla="*/ 1050322 h 1057751"/>
                <a:gd name="connsiteX776" fmla="*/ 528828 w 1073848"/>
                <a:gd name="connsiteY776" fmla="*/ 1052893 h 1057751"/>
                <a:gd name="connsiteX777" fmla="*/ 531971 w 1073848"/>
                <a:gd name="connsiteY777" fmla="*/ 1052417 h 1057751"/>
                <a:gd name="connsiteX778" fmla="*/ 534924 w 1073848"/>
                <a:gd name="connsiteY778" fmla="*/ 1050417 h 1057751"/>
                <a:gd name="connsiteX779" fmla="*/ 537305 w 1073848"/>
                <a:gd name="connsiteY779" fmla="*/ 1056608 h 1057751"/>
                <a:gd name="connsiteX780" fmla="*/ 540734 w 1073848"/>
                <a:gd name="connsiteY780" fmla="*/ 1057751 h 1057751"/>
                <a:gd name="connsiteX781" fmla="*/ 543211 w 1073848"/>
                <a:gd name="connsiteY781" fmla="*/ 1052608 h 1057751"/>
                <a:gd name="connsiteX782" fmla="*/ 544449 w 1073848"/>
                <a:gd name="connsiteY782" fmla="*/ 1049274 h 1057751"/>
                <a:gd name="connsiteX783" fmla="*/ 542449 w 1073848"/>
                <a:gd name="connsiteY783" fmla="*/ 1046321 h 1057751"/>
                <a:gd name="connsiteX784" fmla="*/ 548735 w 1073848"/>
                <a:gd name="connsiteY784" fmla="*/ 1045464 h 1057751"/>
                <a:gd name="connsiteX785" fmla="*/ 548164 w 1073848"/>
                <a:gd name="connsiteY785" fmla="*/ 1040797 h 1057751"/>
                <a:gd name="connsiteX786" fmla="*/ 552736 w 1073848"/>
                <a:gd name="connsiteY786" fmla="*/ 1038606 h 1057751"/>
                <a:gd name="connsiteX787" fmla="*/ 554069 w 1073848"/>
                <a:gd name="connsiteY787" fmla="*/ 1036796 h 1057751"/>
                <a:gd name="connsiteX788" fmla="*/ 549688 w 1073848"/>
                <a:gd name="connsiteY788" fmla="*/ 1027747 h 1057751"/>
                <a:gd name="connsiteX789" fmla="*/ 554260 w 1073848"/>
                <a:gd name="connsiteY789" fmla="*/ 1025557 h 1057751"/>
                <a:gd name="connsiteX790" fmla="*/ 557403 w 1073848"/>
                <a:gd name="connsiteY790" fmla="*/ 1025176 h 1057751"/>
                <a:gd name="connsiteX791" fmla="*/ 559403 w 1073848"/>
                <a:gd name="connsiteY791" fmla="*/ 1028129 h 1057751"/>
                <a:gd name="connsiteX792" fmla="*/ 564071 w 1073848"/>
                <a:gd name="connsiteY792" fmla="*/ 1027462 h 1057751"/>
                <a:gd name="connsiteX793" fmla="*/ 564547 w 1073848"/>
                <a:gd name="connsiteY793" fmla="*/ 1030700 h 1057751"/>
                <a:gd name="connsiteX794" fmla="*/ 567499 w 1073848"/>
                <a:gd name="connsiteY794" fmla="*/ 1028700 h 1057751"/>
                <a:gd name="connsiteX795" fmla="*/ 573214 w 1073848"/>
                <a:gd name="connsiteY795" fmla="*/ 1023176 h 1057751"/>
                <a:gd name="connsiteX796" fmla="*/ 582644 w 1073848"/>
                <a:gd name="connsiteY796" fmla="*/ 1021937 h 1057751"/>
                <a:gd name="connsiteX797" fmla="*/ 583025 w 1073848"/>
                <a:gd name="connsiteY797" fmla="*/ 1025080 h 1057751"/>
                <a:gd name="connsiteX798" fmla="*/ 590169 w 1073848"/>
                <a:gd name="connsiteY798" fmla="*/ 1030605 h 1057751"/>
                <a:gd name="connsiteX799" fmla="*/ 592550 w 1073848"/>
                <a:gd name="connsiteY799" fmla="*/ 1036701 h 1057751"/>
                <a:gd name="connsiteX800" fmla="*/ 597884 w 1073848"/>
                <a:gd name="connsiteY800" fmla="*/ 1040892 h 1057751"/>
                <a:gd name="connsiteX801" fmla="*/ 600075 w 1073848"/>
                <a:gd name="connsiteY801" fmla="*/ 1045369 h 1057751"/>
                <a:gd name="connsiteX802" fmla="*/ 602837 w 1073848"/>
                <a:gd name="connsiteY802" fmla="*/ 1041845 h 1057751"/>
                <a:gd name="connsiteX803" fmla="*/ 605980 w 1073848"/>
                <a:gd name="connsiteY803" fmla="*/ 1041463 h 1057751"/>
                <a:gd name="connsiteX804" fmla="*/ 605409 w 1073848"/>
                <a:gd name="connsiteY804" fmla="*/ 1036701 h 1057751"/>
                <a:gd name="connsiteX805" fmla="*/ 607886 w 1073848"/>
                <a:gd name="connsiteY805" fmla="*/ 1031558 h 1057751"/>
                <a:gd name="connsiteX806" fmla="*/ 606171 w 1073848"/>
                <a:gd name="connsiteY806" fmla="*/ 1030129 h 1057751"/>
                <a:gd name="connsiteX807" fmla="*/ 605980 w 1073848"/>
                <a:gd name="connsiteY807" fmla="*/ 1028605 h 1057751"/>
                <a:gd name="connsiteX808" fmla="*/ 604171 w 1073848"/>
                <a:gd name="connsiteY808" fmla="*/ 1027176 h 1057751"/>
                <a:gd name="connsiteX809" fmla="*/ 607505 w 1073848"/>
                <a:gd name="connsiteY809" fmla="*/ 1028414 h 1057751"/>
                <a:gd name="connsiteX810" fmla="*/ 611219 w 1073848"/>
                <a:gd name="connsiteY810" fmla="*/ 1019937 h 1057751"/>
                <a:gd name="connsiteX811" fmla="*/ 616553 w 1073848"/>
                <a:gd name="connsiteY811" fmla="*/ 1024033 h 1057751"/>
                <a:gd name="connsiteX812" fmla="*/ 619315 w 1073848"/>
                <a:gd name="connsiteY812" fmla="*/ 1020509 h 1057751"/>
                <a:gd name="connsiteX813" fmla="*/ 619125 w 1073848"/>
                <a:gd name="connsiteY813" fmla="*/ 1018889 h 1057751"/>
                <a:gd name="connsiteX814" fmla="*/ 619506 w 1073848"/>
                <a:gd name="connsiteY814" fmla="*/ 1009174 h 1057751"/>
                <a:gd name="connsiteX815" fmla="*/ 619315 w 1073848"/>
                <a:gd name="connsiteY815" fmla="*/ 1007650 h 1057751"/>
                <a:gd name="connsiteX816" fmla="*/ 622649 w 1073848"/>
                <a:gd name="connsiteY816" fmla="*/ 1008793 h 1057751"/>
                <a:gd name="connsiteX817" fmla="*/ 635508 w 1073848"/>
                <a:gd name="connsiteY817" fmla="*/ 1008793 h 1057751"/>
                <a:gd name="connsiteX818" fmla="*/ 643033 w 1073848"/>
                <a:gd name="connsiteY818" fmla="*/ 1004602 h 1057751"/>
                <a:gd name="connsiteX819" fmla="*/ 645128 w 1073848"/>
                <a:gd name="connsiteY819" fmla="*/ 996315 h 1057751"/>
                <a:gd name="connsiteX820" fmla="*/ 645128 w 1073848"/>
                <a:gd name="connsiteY820" fmla="*/ 996315 h 1057751"/>
                <a:gd name="connsiteX821" fmla="*/ 649891 w 1073848"/>
                <a:gd name="connsiteY821" fmla="*/ 995743 h 1057751"/>
                <a:gd name="connsiteX822" fmla="*/ 651034 w 1073848"/>
                <a:gd name="connsiteY822" fmla="*/ 992410 h 1057751"/>
                <a:gd name="connsiteX823" fmla="*/ 652653 w 1073848"/>
                <a:gd name="connsiteY823" fmla="*/ 992124 h 1057751"/>
                <a:gd name="connsiteX824" fmla="*/ 652463 w 1073848"/>
                <a:gd name="connsiteY824" fmla="*/ 990600 h 1057751"/>
                <a:gd name="connsiteX825" fmla="*/ 645890 w 1073848"/>
                <a:gd name="connsiteY825" fmla="*/ 989838 h 1057751"/>
                <a:gd name="connsiteX826" fmla="*/ 650081 w 1073848"/>
                <a:gd name="connsiteY826" fmla="*/ 984504 h 1057751"/>
                <a:gd name="connsiteX827" fmla="*/ 651605 w 1073848"/>
                <a:gd name="connsiteY827" fmla="*/ 984313 h 1057751"/>
                <a:gd name="connsiteX828" fmla="*/ 658939 w 1073848"/>
                <a:gd name="connsiteY828" fmla="*/ 978503 h 1057751"/>
                <a:gd name="connsiteX829" fmla="*/ 661511 w 1073848"/>
                <a:gd name="connsiteY829" fmla="*/ 973360 h 1057751"/>
                <a:gd name="connsiteX830" fmla="*/ 668369 w 1073848"/>
                <a:gd name="connsiteY830" fmla="*/ 977360 h 1057751"/>
                <a:gd name="connsiteX831" fmla="*/ 673894 w 1073848"/>
                <a:gd name="connsiteY831" fmla="*/ 970217 h 1057751"/>
                <a:gd name="connsiteX832" fmla="*/ 680847 w 1073848"/>
                <a:gd name="connsiteY832" fmla="*/ 974122 h 1057751"/>
                <a:gd name="connsiteX833" fmla="*/ 683323 w 1073848"/>
                <a:gd name="connsiteY833" fmla="*/ 968978 h 1057751"/>
                <a:gd name="connsiteX834" fmla="*/ 691896 w 1073848"/>
                <a:gd name="connsiteY834" fmla="*/ 972788 h 1057751"/>
                <a:gd name="connsiteX835" fmla="*/ 695039 w 1073848"/>
                <a:gd name="connsiteY835" fmla="*/ 972312 h 1057751"/>
                <a:gd name="connsiteX836" fmla="*/ 695801 w 1073848"/>
                <a:gd name="connsiteY836" fmla="*/ 978694 h 1057751"/>
                <a:gd name="connsiteX837" fmla="*/ 701897 w 1073848"/>
                <a:gd name="connsiteY837" fmla="*/ 976313 h 1057751"/>
                <a:gd name="connsiteX838" fmla="*/ 698373 w 1073848"/>
                <a:gd name="connsiteY838" fmla="*/ 973550 h 1057751"/>
                <a:gd name="connsiteX839" fmla="*/ 701135 w 1073848"/>
                <a:gd name="connsiteY839" fmla="*/ 969931 h 1057751"/>
                <a:gd name="connsiteX840" fmla="*/ 704279 w 1073848"/>
                <a:gd name="connsiteY840" fmla="*/ 969550 h 1057751"/>
                <a:gd name="connsiteX841" fmla="*/ 705898 w 1073848"/>
                <a:gd name="connsiteY841" fmla="*/ 969359 h 1057751"/>
                <a:gd name="connsiteX842" fmla="*/ 703707 w 1073848"/>
                <a:gd name="connsiteY842" fmla="*/ 964787 h 1057751"/>
                <a:gd name="connsiteX843" fmla="*/ 705231 w 1073848"/>
                <a:gd name="connsiteY843" fmla="*/ 964597 h 1057751"/>
                <a:gd name="connsiteX844" fmla="*/ 706660 w 1073848"/>
                <a:gd name="connsiteY844" fmla="*/ 962787 h 1057751"/>
                <a:gd name="connsiteX845" fmla="*/ 703231 w 1073848"/>
                <a:gd name="connsiteY845" fmla="*/ 961644 h 1057751"/>
                <a:gd name="connsiteX846" fmla="*/ 707231 w 1073848"/>
                <a:gd name="connsiteY846" fmla="*/ 954786 h 1057751"/>
                <a:gd name="connsiteX847" fmla="*/ 706564 w 1073848"/>
                <a:gd name="connsiteY847" fmla="*/ 950024 h 1057751"/>
                <a:gd name="connsiteX848" fmla="*/ 709327 w 1073848"/>
                <a:gd name="connsiteY848" fmla="*/ 946404 h 1057751"/>
                <a:gd name="connsiteX849" fmla="*/ 706946 w 1073848"/>
                <a:gd name="connsiteY849" fmla="*/ 940308 h 1057751"/>
                <a:gd name="connsiteX850" fmla="*/ 710374 w 1073848"/>
                <a:gd name="connsiteY850" fmla="*/ 941546 h 1057751"/>
                <a:gd name="connsiteX851" fmla="*/ 715042 w 1073848"/>
                <a:gd name="connsiteY851" fmla="*/ 940880 h 1057751"/>
                <a:gd name="connsiteX852" fmla="*/ 725519 w 1073848"/>
                <a:gd name="connsiteY852" fmla="*/ 947642 h 1057751"/>
                <a:gd name="connsiteX853" fmla="*/ 725710 w 1073848"/>
                <a:gd name="connsiteY853" fmla="*/ 949166 h 1057751"/>
                <a:gd name="connsiteX854" fmla="*/ 721042 w 1073848"/>
                <a:gd name="connsiteY854" fmla="*/ 949738 h 1057751"/>
                <a:gd name="connsiteX855" fmla="*/ 719614 w 1073848"/>
                <a:gd name="connsiteY855" fmla="*/ 951547 h 1057751"/>
                <a:gd name="connsiteX856" fmla="*/ 724567 w 1073848"/>
                <a:gd name="connsiteY856" fmla="*/ 952500 h 1057751"/>
                <a:gd name="connsiteX857" fmla="*/ 727520 w 1073848"/>
                <a:gd name="connsiteY857" fmla="*/ 950595 h 1057751"/>
                <a:gd name="connsiteX858" fmla="*/ 729520 w 1073848"/>
                <a:gd name="connsiteY858" fmla="*/ 953548 h 1057751"/>
                <a:gd name="connsiteX859" fmla="*/ 734949 w 1073848"/>
                <a:gd name="connsiteY859" fmla="*/ 946404 h 1057751"/>
                <a:gd name="connsiteX860" fmla="*/ 743903 w 1073848"/>
                <a:gd name="connsiteY860" fmla="*/ 940403 h 1057751"/>
                <a:gd name="connsiteX861" fmla="*/ 740473 w 1073848"/>
                <a:gd name="connsiteY861" fmla="*/ 939260 h 1057751"/>
                <a:gd name="connsiteX862" fmla="*/ 740473 w 1073848"/>
                <a:gd name="connsiteY862" fmla="*/ 926497 h 1057751"/>
                <a:gd name="connsiteX863" fmla="*/ 750951 w 1073848"/>
                <a:gd name="connsiteY863" fmla="*/ 933164 h 1057751"/>
                <a:gd name="connsiteX864" fmla="*/ 754856 w 1073848"/>
                <a:gd name="connsiteY864" fmla="*/ 926211 h 1057751"/>
                <a:gd name="connsiteX865" fmla="*/ 762190 w 1073848"/>
                <a:gd name="connsiteY865" fmla="*/ 920496 h 1057751"/>
                <a:gd name="connsiteX866" fmla="*/ 764191 w 1073848"/>
                <a:gd name="connsiteY866" fmla="*/ 923449 h 1057751"/>
                <a:gd name="connsiteX867" fmla="*/ 764572 w 1073848"/>
                <a:gd name="connsiteY867" fmla="*/ 926592 h 1057751"/>
                <a:gd name="connsiteX868" fmla="*/ 766763 w 1073848"/>
                <a:gd name="connsiteY868" fmla="*/ 931164 h 1057751"/>
                <a:gd name="connsiteX869" fmla="*/ 770096 w 1073848"/>
                <a:gd name="connsiteY869" fmla="*/ 932307 h 1057751"/>
                <a:gd name="connsiteX870" fmla="*/ 768953 w 1073848"/>
                <a:gd name="connsiteY870" fmla="*/ 935641 h 1057751"/>
                <a:gd name="connsiteX871" fmla="*/ 767524 w 1073848"/>
                <a:gd name="connsiteY871" fmla="*/ 937451 h 1057751"/>
                <a:gd name="connsiteX872" fmla="*/ 769525 w 1073848"/>
                <a:gd name="connsiteY872" fmla="*/ 940403 h 1057751"/>
                <a:gd name="connsiteX873" fmla="*/ 767715 w 1073848"/>
                <a:gd name="connsiteY873" fmla="*/ 938975 h 1057751"/>
                <a:gd name="connsiteX874" fmla="*/ 768096 w 1073848"/>
                <a:gd name="connsiteY874" fmla="*/ 942213 h 1057751"/>
                <a:gd name="connsiteX875" fmla="*/ 771334 w 1073848"/>
                <a:gd name="connsiteY875" fmla="*/ 941737 h 1057751"/>
                <a:gd name="connsiteX876" fmla="*/ 773239 w 1073848"/>
                <a:gd name="connsiteY876" fmla="*/ 944689 h 1057751"/>
                <a:gd name="connsiteX877" fmla="*/ 774668 w 1073848"/>
                <a:gd name="connsiteY877" fmla="*/ 942975 h 1057751"/>
                <a:gd name="connsiteX878" fmla="*/ 774287 w 1073848"/>
                <a:gd name="connsiteY878" fmla="*/ 939832 h 1057751"/>
                <a:gd name="connsiteX879" fmla="*/ 774478 w 1073848"/>
                <a:gd name="connsiteY879" fmla="*/ 941356 h 1057751"/>
                <a:gd name="connsiteX880" fmla="*/ 778002 w 1073848"/>
                <a:gd name="connsiteY880" fmla="*/ 944118 h 1057751"/>
                <a:gd name="connsiteX881" fmla="*/ 774859 w 1073848"/>
                <a:gd name="connsiteY881" fmla="*/ 944499 h 1057751"/>
                <a:gd name="connsiteX882" fmla="*/ 776859 w 1073848"/>
                <a:gd name="connsiteY882" fmla="*/ 947452 h 1057751"/>
                <a:gd name="connsiteX883" fmla="*/ 784003 w 1073848"/>
                <a:gd name="connsiteY883" fmla="*/ 952976 h 1057751"/>
                <a:gd name="connsiteX884" fmla="*/ 790480 w 1073848"/>
                <a:gd name="connsiteY884" fmla="*/ 953738 h 1057751"/>
                <a:gd name="connsiteX885" fmla="*/ 798576 w 1073848"/>
                <a:gd name="connsiteY885" fmla="*/ 954310 h 1057751"/>
                <a:gd name="connsiteX886" fmla="*/ 801529 w 1073848"/>
                <a:gd name="connsiteY886" fmla="*/ 952309 h 1057751"/>
                <a:gd name="connsiteX887" fmla="*/ 804672 w 1073848"/>
                <a:gd name="connsiteY887" fmla="*/ 951929 h 1057751"/>
                <a:gd name="connsiteX888" fmla="*/ 808577 w 1073848"/>
                <a:gd name="connsiteY888" fmla="*/ 945071 h 1057751"/>
                <a:gd name="connsiteX889" fmla="*/ 813340 w 1073848"/>
                <a:gd name="connsiteY889" fmla="*/ 944404 h 1057751"/>
                <a:gd name="connsiteX890" fmla="*/ 814102 w 1073848"/>
                <a:gd name="connsiteY890" fmla="*/ 937927 h 1057751"/>
                <a:gd name="connsiteX891" fmla="*/ 812101 w 1073848"/>
                <a:gd name="connsiteY891" fmla="*/ 934974 h 1057751"/>
                <a:gd name="connsiteX892" fmla="*/ 811721 w 1073848"/>
                <a:gd name="connsiteY892" fmla="*/ 931831 h 1057751"/>
                <a:gd name="connsiteX893" fmla="*/ 814864 w 1073848"/>
                <a:gd name="connsiteY893" fmla="*/ 931355 h 1057751"/>
                <a:gd name="connsiteX894" fmla="*/ 816673 w 1073848"/>
                <a:gd name="connsiteY894" fmla="*/ 932783 h 1057751"/>
                <a:gd name="connsiteX895" fmla="*/ 817245 w 1073848"/>
                <a:gd name="connsiteY895" fmla="*/ 937546 h 1057751"/>
                <a:gd name="connsiteX896" fmla="*/ 822007 w 1073848"/>
                <a:gd name="connsiteY896" fmla="*/ 936879 h 1057751"/>
                <a:gd name="connsiteX897" fmla="*/ 822198 w 1073848"/>
                <a:gd name="connsiteY897" fmla="*/ 938498 h 1057751"/>
                <a:gd name="connsiteX898" fmla="*/ 826961 w 1073848"/>
                <a:gd name="connsiteY898" fmla="*/ 937927 h 1057751"/>
                <a:gd name="connsiteX899" fmla="*/ 828484 w 1073848"/>
                <a:gd name="connsiteY899" fmla="*/ 937641 h 1057751"/>
                <a:gd name="connsiteX900" fmla="*/ 835628 w 1073848"/>
                <a:gd name="connsiteY900" fmla="*/ 943166 h 1057751"/>
                <a:gd name="connsiteX901" fmla="*/ 838962 w 1073848"/>
                <a:gd name="connsiteY901" fmla="*/ 944404 h 1057751"/>
                <a:gd name="connsiteX902" fmla="*/ 840200 w 1073848"/>
                <a:gd name="connsiteY902" fmla="*/ 940975 h 1057751"/>
                <a:gd name="connsiteX903" fmla="*/ 845058 w 1073848"/>
                <a:gd name="connsiteY903" fmla="*/ 942022 h 1057751"/>
                <a:gd name="connsiteX904" fmla="*/ 849058 w 1073848"/>
                <a:gd name="connsiteY904" fmla="*/ 947928 h 1057751"/>
                <a:gd name="connsiteX905" fmla="*/ 852583 w 1073848"/>
                <a:gd name="connsiteY905" fmla="*/ 950690 h 1057751"/>
                <a:gd name="connsiteX906" fmla="*/ 852392 w 1073848"/>
                <a:gd name="connsiteY906" fmla="*/ 949071 h 1057751"/>
                <a:gd name="connsiteX907" fmla="*/ 850011 w 1073848"/>
                <a:gd name="connsiteY907" fmla="*/ 942975 h 1057751"/>
                <a:gd name="connsiteX908" fmla="*/ 851440 w 1073848"/>
                <a:gd name="connsiteY908" fmla="*/ 941165 h 1057751"/>
                <a:gd name="connsiteX909" fmla="*/ 856107 w 1073848"/>
                <a:gd name="connsiteY909" fmla="*/ 940594 h 1057751"/>
                <a:gd name="connsiteX910" fmla="*/ 861250 w 1073848"/>
                <a:gd name="connsiteY910" fmla="*/ 943166 h 1057751"/>
                <a:gd name="connsiteX911" fmla="*/ 862489 w 1073848"/>
                <a:gd name="connsiteY911" fmla="*/ 939737 h 1057751"/>
                <a:gd name="connsiteX912" fmla="*/ 863822 w 1073848"/>
                <a:gd name="connsiteY912" fmla="*/ 938022 h 1057751"/>
                <a:gd name="connsiteX913" fmla="*/ 874109 w 1073848"/>
                <a:gd name="connsiteY913" fmla="*/ 943070 h 1057751"/>
                <a:gd name="connsiteX914" fmla="*/ 875443 w 1073848"/>
                <a:gd name="connsiteY914" fmla="*/ 941356 h 1057751"/>
                <a:gd name="connsiteX915" fmla="*/ 878396 w 1073848"/>
                <a:gd name="connsiteY915" fmla="*/ 939355 h 1057751"/>
                <a:gd name="connsiteX916" fmla="*/ 875062 w 1073848"/>
                <a:gd name="connsiteY916" fmla="*/ 938117 h 1057751"/>
                <a:gd name="connsiteX917" fmla="*/ 878014 w 1073848"/>
                <a:gd name="connsiteY917" fmla="*/ 936212 h 1057751"/>
                <a:gd name="connsiteX918" fmla="*/ 878967 w 1073848"/>
                <a:gd name="connsiteY918" fmla="*/ 931259 h 1057751"/>
                <a:gd name="connsiteX919" fmla="*/ 882205 w 1073848"/>
                <a:gd name="connsiteY919" fmla="*/ 930878 h 1057751"/>
                <a:gd name="connsiteX920" fmla="*/ 884396 w 1073848"/>
                <a:gd name="connsiteY920" fmla="*/ 935355 h 1057751"/>
                <a:gd name="connsiteX921" fmla="*/ 893445 w 1073848"/>
                <a:gd name="connsiteY921" fmla="*/ 930974 h 1057751"/>
                <a:gd name="connsiteX922" fmla="*/ 893064 w 1073848"/>
                <a:gd name="connsiteY922" fmla="*/ 927830 h 1057751"/>
                <a:gd name="connsiteX923" fmla="*/ 889635 w 1073848"/>
                <a:gd name="connsiteY923" fmla="*/ 926687 h 1057751"/>
                <a:gd name="connsiteX924" fmla="*/ 889063 w 1073848"/>
                <a:gd name="connsiteY924" fmla="*/ 921925 h 1057751"/>
                <a:gd name="connsiteX925" fmla="*/ 880586 w 1073848"/>
                <a:gd name="connsiteY925" fmla="*/ 918210 h 1057751"/>
                <a:gd name="connsiteX926" fmla="*/ 886015 w 1073848"/>
                <a:gd name="connsiteY926" fmla="*/ 911066 h 1057751"/>
                <a:gd name="connsiteX927" fmla="*/ 884301 w 1073848"/>
                <a:gd name="connsiteY927" fmla="*/ 909733 h 1057751"/>
                <a:gd name="connsiteX928" fmla="*/ 886015 w 1073848"/>
                <a:gd name="connsiteY928" fmla="*/ 911066 h 1057751"/>
                <a:gd name="connsiteX929" fmla="*/ 896493 w 1073848"/>
                <a:gd name="connsiteY929" fmla="*/ 904970 h 1057751"/>
                <a:gd name="connsiteX930" fmla="*/ 901255 w 1073848"/>
                <a:gd name="connsiteY930" fmla="*/ 904399 h 1057751"/>
                <a:gd name="connsiteX931" fmla="*/ 904018 w 1073848"/>
                <a:gd name="connsiteY931" fmla="*/ 900779 h 1057751"/>
                <a:gd name="connsiteX932" fmla="*/ 908780 w 1073848"/>
                <a:gd name="connsiteY932" fmla="*/ 900208 h 1057751"/>
                <a:gd name="connsiteX933" fmla="*/ 915638 w 1073848"/>
                <a:gd name="connsiteY933" fmla="*/ 904113 h 1057751"/>
                <a:gd name="connsiteX934" fmla="*/ 918400 w 1073848"/>
                <a:gd name="connsiteY934" fmla="*/ 900589 h 1057751"/>
                <a:gd name="connsiteX935" fmla="*/ 923544 w 1073848"/>
                <a:gd name="connsiteY935" fmla="*/ 903161 h 1057751"/>
                <a:gd name="connsiteX936" fmla="*/ 931069 w 1073848"/>
                <a:gd name="connsiteY936" fmla="*/ 898970 h 1057751"/>
                <a:gd name="connsiteX937" fmla="*/ 937927 w 1073848"/>
                <a:gd name="connsiteY937" fmla="*/ 902875 h 1057751"/>
                <a:gd name="connsiteX938" fmla="*/ 942118 w 1073848"/>
                <a:gd name="connsiteY938" fmla="*/ 897541 h 1057751"/>
                <a:gd name="connsiteX939" fmla="*/ 941641 w 1073848"/>
                <a:gd name="connsiteY939" fmla="*/ 894397 h 1057751"/>
                <a:gd name="connsiteX940" fmla="*/ 945832 w 1073848"/>
                <a:gd name="connsiteY940" fmla="*/ 889063 h 1057751"/>
                <a:gd name="connsiteX941" fmla="*/ 950500 w 1073848"/>
                <a:gd name="connsiteY941" fmla="*/ 888492 h 1057751"/>
                <a:gd name="connsiteX942" fmla="*/ 950119 w 1073848"/>
                <a:gd name="connsiteY942" fmla="*/ 885349 h 1057751"/>
                <a:gd name="connsiteX943" fmla="*/ 944213 w 1073848"/>
                <a:gd name="connsiteY943" fmla="*/ 876395 h 1057751"/>
                <a:gd name="connsiteX944" fmla="*/ 945166 w 1073848"/>
                <a:gd name="connsiteY944" fmla="*/ 871538 h 1057751"/>
                <a:gd name="connsiteX945" fmla="*/ 949928 w 1073848"/>
                <a:gd name="connsiteY945" fmla="*/ 870871 h 1057751"/>
                <a:gd name="connsiteX946" fmla="*/ 956405 w 1073848"/>
                <a:gd name="connsiteY946" fmla="*/ 871633 h 1057751"/>
                <a:gd name="connsiteX947" fmla="*/ 960977 w 1073848"/>
                <a:gd name="connsiteY947" fmla="*/ 869442 h 1057751"/>
                <a:gd name="connsiteX948" fmla="*/ 964121 w 1073848"/>
                <a:gd name="connsiteY948" fmla="*/ 869061 h 1057751"/>
                <a:gd name="connsiteX949" fmla="*/ 965263 w 1073848"/>
                <a:gd name="connsiteY949" fmla="*/ 865727 h 1057751"/>
                <a:gd name="connsiteX950" fmla="*/ 969836 w 1073848"/>
                <a:gd name="connsiteY950" fmla="*/ 863537 h 1057751"/>
                <a:gd name="connsiteX951" fmla="*/ 970979 w 1073848"/>
                <a:gd name="connsiteY951" fmla="*/ 860203 h 1057751"/>
                <a:gd name="connsiteX952" fmla="*/ 973741 w 1073848"/>
                <a:gd name="connsiteY952" fmla="*/ 856679 h 1057751"/>
                <a:gd name="connsiteX953" fmla="*/ 976313 w 1073848"/>
                <a:gd name="connsiteY953" fmla="*/ 851535 h 1057751"/>
                <a:gd name="connsiteX954" fmla="*/ 978122 w 1073848"/>
                <a:gd name="connsiteY954" fmla="*/ 852868 h 1057751"/>
                <a:gd name="connsiteX955" fmla="*/ 977837 w 1073848"/>
                <a:gd name="connsiteY955" fmla="*/ 851249 h 1057751"/>
                <a:gd name="connsiteX956" fmla="*/ 980599 w 1073848"/>
                <a:gd name="connsiteY956" fmla="*/ 834962 h 1057751"/>
                <a:gd name="connsiteX957" fmla="*/ 977455 w 1073848"/>
                <a:gd name="connsiteY957" fmla="*/ 835343 h 1057751"/>
                <a:gd name="connsiteX958" fmla="*/ 976884 w 1073848"/>
                <a:gd name="connsiteY958" fmla="*/ 830580 h 1057751"/>
                <a:gd name="connsiteX959" fmla="*/ 968788 w 1073848"/>
                <a:gd name="connsiteY959" fmla="*/ 830009 h 1057751"/>
                <a:gd name="connsiteX960" fmla="*/ 972503 w 1073848"/>
                <a:gd name="connsiteY960" fmla="*/ 821531 h 1057751"/>
                <a:gd name="connsiteX961" fmla="*/ 971836 w 1073848"/>
                <a:gd name="connsiteY961" fmla="*/ 816769 h 1057751"/>
                <a:gd name="connsiteX962" fmla="*/ 968502 w 1073848"/>
                <a:gd name="connsiteY962" fmla="*/ 815626 h 1057751"/>
                <a:gd name="connsiteX963" fmla="*/ 969073 w 1073848"/>
                <a:gd name="connsiteY963" fmla="*/ 820388 h 1057751"/>
                <a:gd name="connsiteX964" fmla="*/ 961834 w 1073848"/>
                <a:gd name="connsiteY964" fmla="*/ 826103 h 1057751"/>
                <a:gd name="connsiteX965" fmla="*/ 956881 w 1073848"/>
                <a:gd name="connsiteY965" fmla="*/ 825151 h 1057751"/>
                <a:gd name="connsiteX966" fmla="*/ 955738 w 1073848"/>
                <a:gd name="connsiteY966" fmla="*/ 828484 h 1057751"/>
                <a:gd name="connsiteX967" fmla="*/ 954119 w 1073848"/>
                <a:gd name="connsiteY967" fmla="*/ 828675 h 1057751"/>
                <a:gd name="connsiteX968" fmla="*/ 956691 w 1073848"/>
                <a:gd name="connsiteY968" fmla="*/ 823532 h 1057751"/>
                <a:gd name="connsiteX969" fmla="*/ 957643 w 1073848"/>
                <a:gd name="connsiteY969" fmla="*/ 818579 h 1057751"/>
                <a:gd name="connsiteX970" fmla="*/ 959453 w 1073848"/>
                <a:gd name="connsiteY970" fmla="*/ 820007 h 1057751"/>
                <a:gd name="connsiteX971" fmla="*/ 962215 w 1073848"/>
                <a:gd name="connsiteY971" fmla="*/ 816388 h 1057751"/>
                <a:gd name="connsiteX972" fmla="*/ 956691 w 1073848"/>
                <a:gd name="connsiteY972" fmla="*/ 810673 h 1057751"/>
                <a:gd name="connsiteX973" fmla="*/ 956024 w 1073848"/>
                <a:gd name="connsiteY973" fmla="*/ 806005 h 1057751"/>
                <a:gd name="connsiteX974" fmla="*/ 953929 w 1073848"/>
                <a:gd name="connsiteY974" fmla="*/ 801434 h 1057751"/>
                <a:gd name="connsiteX975" fmla="*/ 949357 w 1073848"/>
                <a:gd name="connsiteY975" fmla="*/ 803624 h 1057751"/>
                <a:gd name="connsiteX976" fmla="*/ 951929 w 1073848"/>
                <a:gd name="connsiteY976" fmla="*/ 798481 h 1057751"/>
                <a:gd name="connsiteX977" fmla="*/ 946975 w 1073848"/>
                <a:gd name="connsiteY977" fmla="*/ 797528 h 1057751"/>
                <a:gd name="connsiteX978" fmla="*/ 949738 w 1073848"/>
                <a:gd name="connsiteY978" fmla="*/ 793909 h 1057751"/>
                <a:gd name="connsiteX979" fmla="*/ 951643 w 1073848"/>
                <a:gd name="connsiteY979" fmla="*/ 784098 h 1057751"/>
                <a:gd name="connsiteX980" fmla="*/ 959548 w 1073848"/>
                <a:gd name="connsiteY980" fmla="*/ 783050 h 1057751"/>
                <a:gd name="connsiteX981" fmla="*/ 969455 w 1073848"/>
                <a:gd name="connsiteY981" fmla="*/ 785051 h 1057751"/>
                <a:gd name="connsiteX982" fmla="*/ 972217 w 1073848"/>
                <a:gd name="connsiteY982" fmla="*/ 781431 h 1057751"/>
                <a:gd name="connsiteX983" fmla="*/ 971740 w 1073848"/>
                <a:gd name="connsiteY983" fmla="*/ 778288 h 1057751"/>
                <a:gd name="connsiteX984" fmla="*/ 978694 w 1073848"/>
                <a:gd name="connsiteY984" fmla="*/ 782193 h 1057751"/>
                <a:gd name="connsiteX985" fmla="*/ 982408 w 1073848"/>
                <a:gd name="connsiteY985" fmla="*/ 773716 h 1057751"/>
                <a:gd name="connsiteX986" fmla="*/ 977455 w 1073848"/>
                <a:gd name="connsiteY986" fmla="*/ 772763 h 1057751"/>
                <a:gd name="connsiteX987" fmla="*/ 976122 w 1073848"/>
                <a:gd name="connsiteY987" fmla="*/ 761714 h 1057751"/>
                <a:gd name="connsiteX988" fmla="*/ 977265 w 1073848"/>
                <a:gd name="connsiteY988" fmla="*/ 758380 h 1057751"/>
                <a:gd name="connsiteX989" fmla="*/ 979075 w 1073848"/>
                <a:gd name="connsiteY989" fmla="*/ 759714 h 1057751"/>
                <a:gd name="connsiteX990" fmla="*/ 980027 w 1073848"/>
                <a:gd name="connsiteY990" fmla="*/ 754761 h 1057751"/>
                <a:gd name="connsiteX991" fmla="*/ 974503 w 1073848"/>
                <a:gd name="connsiteY991" fmla="*/ 749046 h 1057751"/>
                <a:gd name="connsiteX992" fmla="*/ 970693 w 1073848"/>
                <a:gd name="connsiteY992" fmla="*/ 744760 h 1057751"/>
                <a:gd name="connsiteX993" fmla="*/ 966025 w 1073848"/>
                <a:gd name="connsiteY993" fmla="*/ 745331 h 1057751"/>
                <a:gd name="connsiteX994" fmla="*/ 959263 w 1073848"/>
                <a:gd name="connsiteY994" fmla="*/ 743045 h 1057751"/>
                <a:gd name="connsiteX995" fmla="*/ 954500 w 1073848"/>
                <a:gd name="connsiteY995" fmla="*/ 743617 h 1057751"/>
                <a:gd name="connsiteX996" fmla="*/ 950976 w 1073848"/>
                <a:gd name="connsiteY996" fmla="*/ 740855 h 1057751"/>
                <a:gd name="connsiteX997" fmla="*/ 954691 w 1073848"/>
                <a:gd name="connsiteY997" fmla="*/ 732377 h 1057751"/>
                <a:gd name="connsiteX998" fmla="*/ 952309 w 1073848"/>
                <a:gd name="connsiteY998" fmla="*/ 726281 h 1057751"/>
                <a:gd name="connsiteX999" fmla="*/ 954881 w 1073848"/>
                <a:gd name="connsiteY999" fmla="*/ 721138 h 1057751"/>
                <a:gd name="connsiteX1000" fmla="*/ 959548 w 1073848"/>
                <a:gd name="connsiteY1000" fmla="*/ 707708 h 1057751"/>
                <a:gd name="connsiteX1001" fmla="*/ 963739 w 1073848"/>
                <a:gd name="connsiteY1001" fmla="*/ 702374 h 1057751"/>
                <a:gd name="connsiteX1002" fmla="*/ 963073 w 1073848"/>
                <a:gd name="connsiteY1002" fmla="*/ 697611 h 1057751"/>
                <a:gd name="connsiteX1003" fmla="*/ 965835 w 1073848"/>
                <a:gd name="connsiteY1003" fmla="*/ 694087 h 1057751"/>
                <a:gd name="connsiteX1004" fmla="*/ 967454 w 1073848"/>
                <a:gd name="connsiteY1004" fmla="*/ 693896 h 1057751"/>
                <a:gd name="connsiteX1005" fmla="*/ 973741 w 1073848"/>
                <a:gd name="connsiteY1005" fmla="*/ 693039 h 1057751"/>
                <a:gd name="connsiteX1006" fmla="*/ 975741 w 1073848"/>
                <a:gd name="connsiteY1006" fmla="*/ 695992 h 1057751"/>
                <a:gd name="connsiteX1007" fmla="*/ 978884 w 1073848"/>
                <a:gd name="connsiteY1007" fmla="*/ 695611 h 1057751"/>
                <a:gd name="connsiteX1008" fmla="*/ 980218 w 1073848"/>
                <a:gd name="connsiteY1008" fmla="*/ 693801 h 1057751"/>
                <a:gd name="connsiteX1009" fmla="*/ 984790 w 1073848"/>
                <a:gd name="connsiteY1009" fmla="*/ 691610 h 1057751"/>
                <a:gd name="connsiteX1010" fmla="*/ 986123 w 1073848"/>
                <a:gd name="connsiteY1010" fmla="*/ 689896 h 1057751"/>
                <a:gd name="connsiteX1011" fmla="*/ 989362 w 1073848"/>
                <a:gd name="connsiteY1011" fmla="*/ 689420 h 1057751"/>
                <a:gd name="connsiteX1012" fmla="*/ 988314 w 1073848"/>
                <a:gd name="connsiteY1012" fmla="*/ 681609 h 1057751"/>
                <a:gd name="connsiteX1013" fmla="*/ 981361 w 1073848"/>
                <a:gd name="connsiteY1013" fmla="*/ 677609 h 1057751"/>
                <a:gd name="connsiteX1014" fmla="*/ 982408 w 1073848"/>
                <a:gd name="connsiteY1014" fmla="*/ 672751 h 1057751"/>
                <a:gd name="connsiteX1015" fmla="*/ 979075 w 1073848"/>
                <a:gd name="connsiteY1015" fmla="*/ 671513 h 1057751"/>
                <a:gd name="connsiteX1016" fmla="*/ 978789 w 1073848"/>
                <a:gd name="connsiteY1016" fmla="*/ 669988 h 1057751"/>
                <a:gd name="connsiteX1017" fmla="*/ 969359 w 1073848"/>
                <a:gd name="connsiteY1017" fmla="*/ 671132 h 1057751"/>
                <a:gd name="connsiteX1018" fmla="*/ 967168 w 1073848"/>
                <a:gd name="connsiteY1018" fmla="*/ 666655 h 1057751"/>
                <a:gd name="connsiteX1019" fmla="*/ 966121 w 1073848"/>
                <a:gd name="connsiteY1019" fmla="*/ 658749 h 1057751"/>
                <a:gd name="connsiteX1020" fmla="*/ 968312 w 1073848"/>
                <a:gd name="connsiteY1020" fmla="*/ 650462 h 1057751"/>
                <a:gd name="connsiteX1021" fmla="*/ 969740 w 1073848"/>
                <a:gd name="connsiteY1021" fmla="*/ 648653 h 1057751"/>
                <a:gd name="connsiteX1022" fmla="*/ 971455 w 1073848"/>
                <a:gd name="connsiteY1022" fmla="*/ 650081 h 1057751"/>
                <a:gd name="connsiteX1023" fmla="*/ 979170 w 1073848"/>
                <a:gd name="connsiteY1023" fmla="*/ 647509 h 1057751"/>
                <a:gd name="connsiteX1024" fmla="*/ 978789 w 1073848"/>
                <a:gd name="connsiteY1024" fmla="*/ 644271 h 1057751"/>
                <a:gd name="connsiteX1025" fmla="*/ 983742 w 1073848"/>
                <a:gd name="connsiteY1025" fmla="*/ 645319 h 1057751"/>
                <a:gd name="connsiteX1026" fmla="*/ 983456 w 1073848"/>
                <a:gd name="connsiteY1026" fmla="*/ 643700 h 1057751"/>
                <a:gd name="connsiteX1027" fmla="*/ 979932 w 1073848"/>
                <a:gd name="connsiteY1027" fmla="*/ 640937 h 1057751"/>
                <a:gd name="connsiteX1028" fmla="*/ 982694 w 1073848"/>
                <a:gd name="connsiteY1028" fmla="*/ 637413 h 1057751"/>
                <a:gd name="connsiteX1029" fmla="*/ 987457 w 1073848"/>
                <a:gd name="connsiteY1029" fmla="*/ 636746 h 1057751"/>
                <a:gd name="connsiteX1030" fmla="*/ 990219 w 1073848"/>
                <a:gd name="connsiteY1030" fmla="*/ 633222 h 1057751"/>
                <a:gd name="connsiteX1031" fmla="*/ 989552 w 1073848"/>
                <a:gd name="connsiteY1031" fmla="*/ 628459 h 1057751"/>
                <a:gd name="connsiteX1032" fmla="*/ 992505 w 1073848"/>
                <a:gd name="connsiteY1032" fmla="*/ 626555 h 1057751"/>
                <a:gd name="connsiteX1033" fmla="*/ 988600 w 1073848"/>
                <a:gd name="connsiteY1033" fmla="*/ 620554 h 1057751"/>
                <a:gd name="connsiteX1034" fmla="*/ 989933 w 1073848"/>
                <a:gd name="connsiteY1034" fmla="*/ 618839 h 1057751"/>
                <a:gd name="connsiteX1035" fmla="*/ 989743 w 1073848"/>
                <a:gd name="connsiteY1035" fmla="*/ 617220 h 1057751"/>
                <a:gd name="connsiteX1036" fmla="*/ 989171 w 1073848"/>
                <a:gd name="connsiteY1036" fmla="*/ 612553 h 1057751"/>
                <a:gd name="connsiteX1037" fmla="*/ 990695 w 1073848"/>
                <a:gd name="connsiteY1037" fmla="*/ 612267 h 1057751"/>
                <a:gd name="connsiteX1038" fmla="*/ 998601 w 1073848"/>
                <a:gd name="connsiteY1038" fmla="*/ 611314 h 1057751"/>
                <a:gd name="connsiteX1039" fmla="*/ 1002982 w 1073848"/>
                <a:gd name="connsiteY1039" fmla="*/ 607505 h 1057751"/>
                <a:gd name="connsiteX1040" fmla="*/ 1006316 w 1073848"/>
                <a:gd name="connsiteY1040" fmla="*/ 608743 h 1057751"/>
                <a:gd name="connsiteX1041" fmla="*/ 1017937 w 1073848"/>
                <a:gd name="connsiteY1041" fmla="*/ 599218 h 1057751"/>
                <a:gd name="connsiteX1042" fmla="*/ 1020699 w 1073848"/>
                <a:gd name="connsiteY1042" fmla="*/ 595693 h 1057751"/>
                <a:gd name="connsiteX1043" fmla="*/ 1020032 w 1073848"/>
                <a:gd name="connsiteY1043" fmla="*/ 590931 h 1057751"/>
                <a:gd name="connsiteX1044" fmla="*/ 1021461 w 1073848"/>
                <a:gd name="connsiteY1044" fmla="*/ 589121 h 1057751"/>
                <a:gd name="connsiteX1045" fmla="*/ 1027747 w 1073848"/>
                <a:gd name="connsiteY1045" fmla="*/ 588359 h 1057751"/>
                <a:gd name="connsiteX1046" fmla="*/ 1028605 w 1073848"/>
                <a:gd name="connsiteY1046" fmla="*/ 594646 h 1057751"/>
                <a:gd name="connsiteX1047" fmla="*/ 1031938 w 1073848"/>
                <a:gd name="connsiteY1047" fmla="*/ 595789 h 1057751"/>
                <a:gd name="connsiteX1048" fmla="*/ 1031748 w 1073848"/>
                <a:gd name="connsiteY1048" fmla="*/ 594265 h 1057751"/>
                <a:gd name="connsiteX1049" fmla="*/ 1035844 w 1073848"/>
                <a:gd name="connsiteY1049" fmla="*/ 588931 h 1057751"/>
                <a:gd name="connsiteX1050" fmla="*/ 1035653 w 1073848"/>
                <a:gd name="connsiteY1050" fmla="*/ 587312 h 1057751"/>
                <a:gd name="connsiteX1051" fmla="*/ 1040416 w 1073848"/>
                <a:gd name="connsiteY1051" fmla="*/ 586740 h 1057751"/>
                <a:gd name="connsiteX1052" fmla="*/ 1047655 w 1073848"/>
                <a:gd name="connsiteY1052" fmla="*/ 581025 h 1057751"/>
                <a:gd name="connsiteX1053" fmla="*/ 1048893 w 1073848"/>
                <a:gd name="connsiteY1053" fmla="*/ 577691 h 1057751"/>
                <a:gd name="connsiteX1054" fmla="*/ 1055180 w 1073848"/>
                <a:gd name="connsiteY1054" fmla="*/ 576834 h 1057751"/>
                <a:gd name="connsiteX1055" fmla="*/ 1056132 w 1073848"/>
                <a:gd name="connsiteY1055" fmla="*/ 571881 h 1057751"/>
                <a:gd name="connsiteX1056" fmla="*/ 1052798 w 1073848"/>
                <a:gd name="connsiteY1056" fmla="*/ 570738 h 1057751"/>
                <a:gd name="connsiteX1057" fmla="*/ 1056132 w 1073848"/>
                <a:gd name="connsiteY1057" fmla="*/ 571881 h 1057751"/>
                <a:gd name="connsiteX1058" fmla="*/ 1052417 w 1073848"/>
                <a:gd name="connsiteY1058" fmla="*/ 567595 h 1057751"/>
                <a:gd name="connsiteX1059" fmla="*/ 1052227 w 1073848"/>
                <a:gd name="connsiteY1059" fmla="*/ 565976 h 1057751"/>
                <a:gd name="connsiteX1060" fmla="*/ 1046416 w 1073848"/>
                <a:gd name="connsiteY1060" fmla="*/ 558737 h 1057751"/>
                <a:gd name="connsiteX1061" fmla="*/ 1051941 w 1073848"/>
                <a:gd name="connsiteY1061" fmla="*/ 551593 h 1057751"/>
                <a:gd name="connsiteX1062" fmla="*/ 1048798 w 1073848"/>
                <a:gd name="connsiteY1062" fmla="*/ 551974 h 1057751"/>
                <a:gd name="connsiteX1063" fmla="*/ 1045845 w 1073848"/>
                <a:gd name="connsiteY1063" fmla="*/ 541115 h 1057751"/>
                <a:gd name="connsiteX1064" fmla="*/ 1045559 w 1073848"/>
                <a:gd name="connsiteY1064" fmla="*/ 539591 h 1057751"/>
                <a:gd name="connsiteX1065" fmla="*/ 1048988 w 1073848"/>
                <a:gd name="connsiteY1065" fmla="*/ 540734 h 1057751"/>
                <a:gd name="connsiteX1066" fmla="*/ 1048322 w 1073848"/>
                <a:gd name="connsiteY1066" fmla="*/ 535972 h 1057751"/>
                <a:gd name="connsiteX1067" fmla="*/ 1050512 w 1073848"/>
                <a:gd name="connsiteY1067" fmla="*/ 527685 h 1057751"/>
                <a:gd name="connsiteX1068" fmla="*/ 1049750 w 1073848"/>
                <a:gd name="connsiteY1068" fmla="*/ 521399 h 1057751"/>
                <a:gd name="connsiteX1069" fmla="*/ 1050893 w 1073848"/>
                <a:gd name="connsiteY1069" fmla="*/ 518065 h 1057751"/>
                <a:gd name="connsiteX1070" fmla="*/ 1053656 w 1073848"/>
                <a:gd name="connsiteY1070" fmla="*/ 514445 h 1057751"/>
                <a:gd name="connsiteX1071" fmla="*/ 1052798 w 1073848"/>
                <a:gd name="connsiteY1071" fmla="*/ 508159 h 1057751"/>
                <a:gd name="connsiteX1072" fmla="*/ 1046893 w 1073848"/>
                <a:gd name="connsiteY1072" fmla="*/ 512159 h 1057751"/>
                <a:gd name="connsiteX1073" fmla="*/ 1043559 w 1073848"/>
                <a:gd name="connsiteY1073" fmla="*/ 510921 h 1057751"/>
                <a:gd name="connsiteX1074" fmla="*/ 1041368 w 1073848"/>
                <a:gd name="connsiteY1074" fmla="*/ 506444 h 1057751"/>
                <a:gd name="connsiteX1075" fmla="*/ 1045750 w 1073848"/>
                <a:gd name="connsiteY1075" fmla="*/ 502634 h 1057751"/>
                <a:gd name="connsiteX1076" fmla="*/ 1042130 w 1073848"/>
                <a:gd name="connsiteY1076" fmla="*/ 499872 h 1057751"/>
                <a:gd name="connsiteX1077" fmla="*/ 1043368 w 1073848"/>
                <a:gd name="connsiteY1077" fmla="*/ 496538 h 1057751"/>
                <a:gd name="connsiteX1078" fmla="*/ 1046131 w 1073848"/>
                <a:gd name="connsiteY1078" fmla="*/ 493014 h 1057751"/>
                <a:gd name="connsiteX1079" fmla="*/ 1038415 w 1073848"/>
                <a:gd name="connsiteY1079" fmla="*/ 482727 h 1057751"/>
                <a:gd name="connsiteX1080" fmla="*/ 1039178 w 1073848"/>
                <a:gd name="connsiteY1080" fmla="*/ 476250 h 1057751"/>
                <a:gd name="connsiteX1081" fmla="*/ 1041654 w 1073848"/>
                <a:gd name="connsiteY1081" fmla="*/ 471107 h 1057751"/>
                <a:gd name="connsiteX1082" fmla="*/ 1047559 w 1073848"/>
                <a:gd name="connsiteY1082" fmla="*/ 467106 h 1057751"/>
                <a:gd name="connsiteX1083" fmla="*/ 1049941 w 1073848"/>
                <a:gd name="connsiteY1083" fmla="*/ 460438 h 1057751"/>
                <a:gd name="connsiteX1084" fmla="*/ 1044226 w 1073848"/>
                <a:gd name="connsiteY1084" fmla="*/ 453104 h 1057751"/>
                <a:gd name="connsiteX1085" fmla="*/ 1054703 w 1073848"/>
                <a:gd name="connsiteY1085" fmla="*/ 447008 h 1057751"/>
                <a:gd name="connsiteX1086" fmla="*/ 1055465 w 1073848"/>
                <a:gd name="connsiteY1086" fmla="*/ 440436 h 1057751"/>
                <a:gd name="connsiteX1087" fmla="*/ 1048893 w 1073848"/>
                <a:gd name="connsiteY1087" fmla="*/ 439674 h 1057751"/>
                <a:gd name="connsiteX1088" fmla="*/ 1046893 w 1073848"/>
                <a:gd name="connsiteY1088" fmla="*/ 436721 h 1057751"/>
                <a:gd name="connsiteX1089" fmla="*/ 1046512 w 1073848"/>
                <a:gd name="connsiteY1089" fmla="*/ 433578 h 1057751"/>
                <a:gd name="connsiteX1090" fmla="*/ 1050893 w 1073848"/>
                <a:gd name="connsiteY1090" fmla="*/ 429863 h 1057751"/>
                <a:gd name="connsiteX1091" fmla="*/ 1045940 w 1073848"/>
                <a:gd name="connsiteY1091" fmla="*/ 428911 h 1057751"/>
                <a:gd name="connsiteX1092" fmla="*/ 1044797 w 1073848"/>
                <a:gd name="connsiteY1092" fmla="*/ 432245 h 1057751"/>
                <a:gd name="connsiteX1093" fmla="*/ 1042988 w 1073848"/>
                <a:gd name="connsiteY1093" fmla="*/ 430816 h 1057751"/>
                <a:gd name="connsiteX1094" fmla="*/ 1036034 w 1073848"/>
                <a:gd name="connsiteY1094" fmla="*/ 426911 h 1057751"/>
                <a:gd name="connsiteX1095" fmla="*/ 1033843 w 1073848"/>
                <a:gd name="connsiteY1095" fmla="*/ 422338 h 1057751"/>
                <a:gd name="connsiteX1096" fmla="*/ 1035082 w 1073848"/>
                <a:gd name="connsiteY1096" fmla="*/ 419005 h 1057751"/>
                <a:gd name="connsiteX1097" fmla="*/ 1034891 w 1073848"/>
                <a:gd name="connsiteY1097" fmla="*/ 417481 h 1057751"/>
                <a:gd name="connsiteX1098" fmla="*/ 1029557 w 1073848"/>
                <a:gd name="connsiteY1098" fmla="*/ 413290 h 1057751"/>
                <a:gd name="connsiteX1099" fmla="*/ 1030891 w 1073848"/>
                <a:gd name="connsiteY1099" fmla="*/ 411575 h 1057751"/>
                <a:gd name="connsiteX1100" fmla="*/ 1037177 w 1073848"/>
                <a:gd name="connsiteY1100" fmla="*/ 410718 h 1057751"/>
                <a:gd name="connsiteX1101" fmla="*/ 1039178 w 1073848"/>
                <a:gd name="connsiteY1101" fmla="*/ 413671 h 1057751"/>
                <a:gd name="connsiteX1102" fmla="*/ 1043559 w 1073848"/>
                <a:gd name="connsiteY1102" fmla="*/ 422720 h 1057751"/>
                <a:gd name="connsiteX1103" fmla="*/ 1051274 w 1073848"/>
                <a:gd name="connsiteY1103" fmla="*/ 420148 h 1057751"/>
                <a:gd name="connsiteX1104" fmla="*/ 1054037 w 1073848"/>
                <a:gd name="connsiteY1104" fmla="*/ 416624 h 1057751"/>
                <a:gd name="connsiteX1105" fmla="*/ 1053560 w 1073848"/>
                <a:gd name="connsiteY1105" fmla="*/ 413480 h 1057751"/>
                <a:gd name="connsiteX1106" fmla="*/ 1059466 w 1073848"/>
                <a:gd name="connsiteY1106" fmla="*/ 409480 h 1057751"/>
                <a:gd name="connsiteX1107" fmla="*/ 1063276 w 1073848"/>
                <a:gd name="connsiteY1107" fmla="*/ 401003 h 1057751"/>
                <a:gd name="connsiteX1108" fmla="*/ 1067943 w 1073848"/>
                <a:gd name="connsiteY1108" fmla="*/ 400431 h 1057751"/>
                <a:gd name="connsiteX1109" fmla="*/ 1073848 w 1073848"/>
                <a:gd name="connsiteY1109" fmla="*/ 383572 h 1057751"/>
                <a:gd name="connsiteX1110" fmla="*/ 1072801 w 1073848"/>
                <a:gd name="connsiteY1110" fmla="*/ 375761 h 1057751"/>
                <a:gd name="connsiteX1111" fmla="*/ 1072801 w 1073848"/>
                <a:gd name="connsiteY1111" fmla="*/ 375761 h 1057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</a:cxnLst>
              <a:rect l="l" t="t" r="r" b="b"/>
              <a:pathLst>
                <a:path w="1073848" h="1057751">
                  <a:moveTo>
                    <a:pt x="1072801" y="375761"/>
                  </a:moveTo>
                  <a:lnTo>
                    <a:pt x="1068705" y="368237"/>
                  </a:lnTo>
                  <a:lnTo>
                    <a:pt x="1057180" y="366522"/>
                  </a:lnTo>
                  <a:lnTo>
                    <a:pt x="1056989" y="364903"/>
                  </a:lnTo>
                  <a:lnTo>
                    <a:pt x="1052322" y="365474"/>
                  </a:lnTo>
                  <a:lnTo>
                    <a:pt x="1050322" y="362521"/>
                  </a:lnTo>
                  <a:lnTo>
                    <a:pt x="1048512" y="361188"/>
                  </a:lnTo>
                  <a:lnTo>
                    <a:pt x="1046797" y="359759"/>
                  </a:lnTo>
                  <a:lnTo>
                    <a:pt x="1045178" y="360045"/>
                  </a:lnTo>
                  <a:lnTo>
                    <a:pt x="1044607" y="355283"/>
                  </a:lnTo>
                  <a:lnTo>
                    <a:pt x="1041178" y="354139"/>
                  </a:lnTo>
                  <a:lnTo>
                    <a:pt x="1042416" y="350711"/>
                  </a:lnTo>
                  <a:lnTo>
                    <a:pt x="1048703" y="349949"/>
                  </a:lnTo>
                  <a:lnTo>
                    <a:pt x="1049846" y="346615"/>
                  </a:lnTo>
                  <a:lnTo>
                    <a:pt x="1053846" y="339662"/>
                  </a:lnTo>
                  <a:lnTo>
                    <a:pt x="1052989" y="333375"/>
                  </a:lnTo>
                  <a:lnTo>
                    <a:pt x="1054608" y="333184"/>
                  </a:lnTo>
                  <a:lnTo>
                    <a:pt x="1055941" y="331375"/>
                  </a:lnTo>
                  <a:lnTo>
                    <a:pt x="1054798" y="321850"/>
                  </a:lnTo>
                  <a:lnTo>
                    <a:pt x="1052798" y="318897"/>
                  </a:lnTo>
                  <a:lnTo>
                    <a:pt x="1043083" y="305753"/>
                  </a:lnTo>
                  <a:lnTo>
                    <a:pt x="1042511" y="300990"/>
                  </a:lnTo>
                  <a:lnTo>
                    <a:pt x="1036987" y="295275"/>
                  </a:lnTo>
                  <a:lnTo>
                    <a:pt x="1030605" y="296132"/>
                  </a:lnTo>
                  <a:lnTo>
                    <a:pt x="1024890" y="288798"/>
                  </a:lnTo>
                  <a:lnTo>
                    <a:pt x="1022509" y="282702"/>
                  </a:lnTo>
                  <a:lnTo>
                    <a:pt x="1015746" y="280321"/>
                  </a:lnTo>
                  <a:lnTo>
                    <a:pt x="1009459" y="281178"/>
                  </a:lnTo>
                  <a:lnTo>
                    <a:pt x="1000601" y="274225"/>
                  </a:lnTo>
                  <a:lnTo>
                    <a:pt x="997648" y="276225"/>
                  </a:lnTo>
                  <a:lnTo>
                    <a:pt x="990505" y="270700"/>
                  </a:lnTo>
                  <a:lnTo>
                    <a:pt x="987933" y="275844"/>
                  </a:lnTo>
                  <a:lnTo>
                    <a:pt x="984790" y="276320"/>
                  </a:lnTo>
                  <a:lnTo>
                    <a:pt x="979837" y="275272"/>
                  </a:lnTo>
                  <a:lnTo>
                    <a:pt x="977455" y="269176"/>
                  </a:lnTo>
                  <a:lnTo>
                    <a:pt x="973931" y="266414"/>
                  </a:lnTo>
                  <a:lnTo>
                    <a:pt x="967168" y="264128"/>
                  </a:lnTo>
                  <a:lnTo>
                    <a:pt x="969169" y="254222"/>
                  </a:lnTo>
                  <a:lnTo>
                    <a:pt x="964025" y="251650"/>
                  </a:lnTo>
                  <a:lnTo>
                    <a:pt x="958310" y="244412"/>
                  </a:lnTo>
                  <a:lnTo>
                    <a:pt x="948595" y="231172"/>
                  </a:lnTo>
                  <a:lnTo>
                    <a:pt x="944785" y="226886"/>
                  </a:lnTo>
                  <a:lnTo>
                    <a:pt x="936498" y="224695"/>
                  </a:lnTo>
                  <a:lnTo>
                    <a:pt x="929640" y="220789"/>
                  </a:lnTo>
                  <a:lnTo>
                    <a:pt x="928211" y="222504"/>
                  </a:lnTo>
                  <a:lnTo>
                    <a:pt x="926497" y="221171"/>
                  </a:lnTo>
                  <a:lnTo>
                    <a:pt x="921734" y="221742"/>
                  </a:lnTo>
                  <a:lnTo>
                    <a:pt x="921353" y="218599"/>
                  </a:lnTo>
                  <a:lnTo>
                    <a:pt x="916019" y="214503"/>
                  </a:lnTo>
                  <a:lnTo>
                    <a:pt x="913638" y="208407"/>
                  </a:lnTo>
                  <a:lnTo>
                    <a:pt x="910495" y="208788"/>
                  </a:lnTo>
                  <a:lnTo>
                    <a:pt x="909447" y="213741"/>
                  </a:lnTo>
                  <a:lnTo>
                    <a:pt x="906304" y="214122"/>
                  </a:lnTo>
                  <a:lnTo>
                    <a:pt x="899160" y="208597"/>
                  </a:lnTo>
                  <a:lnTo>
                    <a:pt x="895445" y="204311"/>
                  </a:lnTo>
                  <a:lnTo>
                    <a:pt x="889159" y="205073"/>
                  </a:lnTo>
                  <a:lnTo>
                    <a:pt x="884777" y="208883"/>
                  </a:lnTo>
                  <a:lnTo>
                    <a:pt x="881443" y="207645"/>
                  </a:lnTo>
                  <a:lnTo>
                    <a:pt x="882587" y="204311"/>
                  </a:lnTo>
                  <a:lnTo>
                    <a:pt x="878681" y="198406"/>
                  </a:lnTo>
                  <a:lnTo>
                    <a:pt x="874871" y="194024"/>
                  </a:lnTo>
                  <a:lnTo>
                    <a:pt x="866013" y="200025"/>
                  </a:lnTo>
                  <a:lnTo>
                    <a:pt x="856202" y="198025"/>
                  </a:lnTo>
                  <a:lnTo>
                    <a:pt x="856393" y="199644"/>
                  </a:lnTo>
                  <a:lnTo>
                    <a:pt x="852964" y="198501"/>
                  </a:lnTo>
                  <a:lnTo>
                    <a:pt x="848868" y="203835"/>
                  </a:lnTo>
                  <a:lnTo>
                    <a:pt x="843343" y="198120"/>
                  </a:lnTo>
                  <a:lnTo>
                    <a:pt x="839914" y="184118"/>
                  </a:lnTo>
                  <a:lnTo>
                    <a:pt x="834390" y="178403"/>
                  </a:lnTo>
                  <a:lnTo>
                    <a:pt x="834199" y="176784"/>
                  </a:lnTo>
                  <a:lnTo>
                    <a:pt x="830675" y="174022"/>
                  </a:lnTo>
                  <a:lnTo>
                    <a:pt x="826865" y="169736"/>
                  </a:lnTo>
                  <a:lnTo>
                    <a:pt x="825341" y="169926"/>
                  </a:lnTo>
                  <a:lnTo>
                    <a:pt x="820198" y="167354"/>
                  </a:lnTo>
                  <a:lnTo>
                    <a:pt x="817055" y="167735"/>
                  </a:lnTo>
                  <a:lnTo>
                    <a:pt x="813625" y="166592"/>
                  </a:lnTo>
                  <a:lnTo>
                    <a:pt x="811054" y="171736"/>
                  </a:lnTo>
                  <a:lnTo>
                    <a:pt x="809339" y="170307"/>
                  </a:lnTo>
                  <a:lnTo>
                    <a:pt x="802576" y="168021"/>
                  </a:lnTo>
                  <a:lnTo>
                    <a:pt x="800576" y="165068"/>
                  </a:lnTo>
                  <a:lnTo>
                    <a:pt x="795909" y="165640"/>
                  </a:lnTo>
                  <a:lnTo>
                    <a:pt x="790956" y="164687"/>
                  </a:lnTo>
                  <a:lnTo>
                    <a:pt x="781907" y="156210"/>
                  </a:lnTo>
                  <a:lnTo>
                    <a:pt x="781240" y="151447"/>
                  </a:lnTo>
                  <a:lnTo>
                    <a:pt x="782860" y="151257"/>
                  </a:lnTo>
                  <a:lnTo>
                    <a:pt x="780669" y="146780"/>
                  </a:lnTo>
                  <a:lnTo>
                    <a:pt x="782003" y="144971"/>
                  </a:lnTo>
                  <a:lnTo>
                    <a:pt x="783241" y="141637"/>
                  </a:lnTo>
                  <a:lnTo>
                    <a:pt x="780288" y="143542"/>
                  </a:lnTo>
                  <a:lnTo>
                    <a:pt x="778288" y="140589"/>
                  </a:lnTo>
                  <a:lnTo>
                    <a:pt x="773525" y="141256"/>
                  </a:lnTo>
                  <a:lnTo>
                    <a:pt x="772763" y="147733"/>
                  </a:lnTo>
                  <a:lnTo>
                    <a:pt x="757047" y="162592"/>
                  </a:lnTo>
                  <a:lnTo>
                    <a:pt x="755047" y="172403"/>
                  </a:lnTo>
                  <a:lnTo>
                    <a:pt x="757809" y="181737"/>
                  </a:lnTo>
                  <a:lnTo>
                    <a:pt x="756285" y="181928"/>
                  </a:lnTo>
                  <a:lnTo>
                    <a:pt x="754856" y="183737"/>
                  </a:lnTo>
                  <a:lnTo>
                    <a:pt x="743426" y="181928"/>
                  </a:lnTo>
                  <a:lnTo>
                    <a:pt x="748379" y="195739"/>
                  </a:lnTo>
                  <a:lnTo>
                    <a:pt x="740759" y="198311"/>
                  </a:lnTo>
                  <a:lnTo>
                    <a:pt x="740950" y="199930"/>
                  </a:lnTo>
                  <a:lnTo>
                    <a:pt x="736187" y="200501"/>
                  </a:lnTo>
                  <a:lnTo>
                    <a:pt x="731044" y="197929"/>
                  </a:lnTo>
                  <a:lnTo>
                    <a:pt x="726281" y="198596"/>
                  </a:lnTo>
                  <a:lnTo>
                    <a:pt x="723329" y="200501"/>
                  </a:lnTo>
                  <a:lnTo>
                    <a:pt x="720185" y="200978"/>
                  </a:lnTo>
                  <a:lnTo>
                    <a:pt x="710946" y="190881"/>
                  </a:lnTo>
                  <a:lnTo>
                    <a:pt x="709136" y="189547"/>
                  </a:lnTo>
                  <a:lnTo>
                    <a:pt x="708946" y="187928"/>
                  </a:lnTo>
                  <a:lnTo>
                    <a:pt x="703993" y="186976"/>
                  </a:lnTo>
                  <a:lnTo>
                    <a:pt x="693515" y="180308"/>
                  </a:lnTo>
                  <a:lnTo>
                    <a:pt x="685609" y="181261"/>
                  </a:lnTo>
                  <a:lnTo>
                    <a:pt x="674941" y="173069"/>
                  </a:lnTo>
                  <a:lnTo>
                    <a:pt x="676084" y="169640"/>
                  </a:lnTo>
                  <a:lnTo>
                    <a:pt x="670370" y="162401"/>
                  </a:lnTo>
                  <a:lnTo>
                    <a:pt x="676847" y="150304"/>
                  </a:lnTo>
                  <a:lnTo>
                    <a:pt x="681418" y="148114"/>
                  </a:lnTo>
                  <a:lnTo>
                    <a:pt x="681323" y="135350"/>
                  </a:lnTo>
                  <a:lnTo>
                    <a:pt x="677037" y="139065"/>
                  </a:lnTo>
                  <a:lnTo>
                    <a:pt x="671131" y="143066"/>
                  </a:lnTo>
                  <a:lnTo>
                    <a:pt x="668941" y="138493"/>
                  </a:lnTo>
                  <a:lnTo>
                    <a:pt x="657511" y="136779"/>
                  </a:lnTo>
                  <a:lnTo>
                    <a:pt x="651129" y="124778"/>
                  </a:lnTo>
                  <a:lnTo>
                    <a:pt x="647986" y="125158"/>
                  </a:lnTo>
                  <a:lnTo>
                    <a:pt x="647795" y="123539"/>
                  </a:lnTo>
                  <a:lnTo>
                    <a:pt x="642652" y="121063"/>
                  </a:lnTo>
                  <a:lnTo>
                    <a:pt x="640651" y="118015"/>
                  </a:lnTo>
                  <a:lnTo>
                    <a:pt x="636175" y="120205"/>
                  </a:lnTo>
                  <a:lnTo>
                    <a:pt x="632365" y="115919"/>
                  </a:lnTo>
                  <a:lnTo>
                    <a:pt x="629412" y="117920"/>
                  </a:lnTo>
                  <a:lnTo>
                    <a:pt x="629603" y="119443"/>
                  </a:lnTo>
                  <a:lnTo>
                    <a:pt x="627888" y="118110"/>
                  </a:lnTo>
                  <a:lnTo>
                    <a:pt x="623506" y="121825"/>
                  </a:lnTo>
                  <a:lnTo>
                    <a:pt x="620363" y="122301"/>
                  </a:lnTo>
                  <a:lnTo>
                    <a:pt x="618363" y="119253"/>
                  </a:lnTo>
                  <a:lnTo>
                    <a:pt x="618934" y="111252"/>
                  </a:lnTo>
                  <a:lnTo>
                    <a:pt x="617411" y="111442"/>
                  </a:lnTo>
                  <a:lnTo>
                    <a:pt x="620744" y="99727"/>
                  </a:lnTo>
                  <a:lnTo>
                    <a:pt x="623030" y="93059"/>
                  </a:lnTo>
                  <a:lnTo>
                    <a:pt x="618363" y="93631"/>
                  </a:lnTo>
                  <a:lnTo>
                    <a:pt x="618744" y="96774"/>
                  </a:lnTo>
                  <a:lnTo>
                    <a:pt x="613600" y="94202"/>
                  </a:lnTo>
                  <a:lnTo>
                    <a:pt x="608838" y="94869"/>
                  </a:lnTo>
                  <a:lnTo>
                    <a:pt x="603504" y="90678"/>
                  </a:lnTo>
                  <a:lnTo>
                    <a:pt x="594074" y="91916"/>
                  </a:lnTo>
                  <a:lnTo>
                    <a:pt x="594265" y="93536"/>
                  </a:lnTo>
                  <a:lnTo>
                    <a:pt x="585788" y="89821"/>
                  </a:lnTo>
                  <a:lnTo>
                    <a:pt x="587121" y="88011"/>
                  </a:lnTo>
                  <a:lnTo>
                    <a:pt x="584930" y="83439"/>
                  </a:lnTo>
                  <a:lnTo>
                    <a:pt x="583216" y="82105"/>
                  </a:lnTo>
                  <a:lnTo>
                    <a:pt x="580263" y="84106"/>
                  </a:lnTo>
                  <a:lnTo>
                    <a:pt x="579977" y="82487"/>
                  </a:lnTo>
                  <a:lnTo>
                    <a:pt x="578453" y="82677"/>
                  </a:lnTo>
                  <a:lnTo>
                    <a:pt x="576643" y="81343"/>
                  </a:lnTo>
                  <a:lnTo>
                    <a:pt x="578263" y="81153"/>
                  </a:lnTo>
                  <a:lnTo>
                    <a:pt x="579406" y="77724"/>
                  </a:lnTo>
                  <a:lnTo>
                    <a:pt x="577882" y="77914"/>
                  </a:lnTo>
                  <a:lnTo>
                    <a:pt x="576072" y="76581"/>
                  </a:lnTo>
                  <a:lnTo>
                    <a:pt x="574453" y="76771"/>
                  </a:lnTo>
                  <a:lnTo>
                    <a:pt x="573691" y="70485"/>
                  </a:lnTo>
                  <a:lnTo>
                    <a:pt x="570357" y="69247"/>
                  </a:lnTo>
                  <a:lnTo>
                    <a:pt x="571500" y="65913"/>
                  </a:lnTo>
                  <a:lnTo>
                    <a:pt x="567404" y="71247"/>
                  </a:lnTo>
                  <a:lnTo>
                    <a:pt x="562451" y="70295"/>
                  </a:lnTo>
                  <a:lnTo>
                    <a:pt x="561880" y="65532"/>
                  </a:lnTo>
                  <a:lnTo>
                    <a:pt x="557498" y="69342"/>
                  </a:lnTo>
                  <a:lnTo>
                    <a:pt x="553688" y="64961"/>
                  </a:lnTo>
                  <a:lnTo>
                    <a:pt x="553307" y="61817"/>
                  </a:lnTo>
                  <a:lnTo>
                    <a:pt x="556450" y="61436"/>
                  </a:lnTo>
                  <a:lnTo>
                    <a:pt x="554546" y="58483"/>
                  </a:lnTo>
                  <a:lnTo>
                    <a:pt x="546640" y="59531"/>
                  </a:lnTo>
                  <a:lnTo>
                    <a:pt x="546449" y="57912"/>
                  </a:lnTo>
                  <a:lnTo>
                    <a:pt x="543306" y="58293"/>
                  </a:lnTo>
                  <a:lnTo>
                    <a:pt x="541496" y="56959"/>
                  </a:lnTo>
                  <a:lnTo>
                    <a:pt x="537496" y="51054"/>
                  </a:lnTo>
                  <a:lnTo>
                    <a:pt x="534733" y="54578"/>
                  </a:lnTo>
                  <a:lnTo>
                    <a:pt x="534162" y="62675"/>
                  </a:lnTo>
                  <a:lnTo>
                    <a:pt x="527875" y="63437"/>
                  </a:lnTo>
                  <a:lnTo>
                    <a:pt x="526066" y="62103"/>
                  </a:lnTo>
                  <a:lnTo>
                    <a:pt x="524732" y="63913"/>
                  </a:lnTo>
                  <a:lnTo>
                    <a:pt x="520541" y="56388"/>
                  </a:lnTo>
                  <a:lnTo>
                    <a:pt x="521780" y="53054"/>
                  </a:lnTo>
                  <a:lnTo>
                    <a:pt x="515398" y="53816"/>
                  </a:lnTo>
                  <a:lnTo>
                    <a:pt x="515874" y="56959"/>
                  </a:lnTo>
                  <a:lnTo>
                    <a:pt x="511112" y="57626"/>
                  </a:lnTo>
                  <a:lnTo>
                    <a:pt x="511302" y="59150"/>
                  </a:lnTo>
                  <a:lnTo>
                    <a:pt x="508159" y="59531"/>
                  </a:lnTo>
                  <a:lnTo>
                    <a:pt x="507968" y="58007"/>
                  </a:lnTo>
                  <a:lnTo>
                    <a:pt x="501587" y="58769"/>
                  </a:lnTo>
                  <a:lnTo>
                    <a:pt x="498253" y="57626"/>
                  </a:lnTo>
                  <a:lnTo>
                    <a:pt x="495300" y="59626"/>
                  </a:lnTo>
                  <a:lnTo>
                    <a:pt x="493300" y="56674"/>
                  </a:lnTo>
                  <a:lnTo>
                    <a:pt x="490538" y="60198"/>
                  </a:lnTo>
                  <a:lnTo>
                    <a:pt x="490156" y="57055"/>
                  </a:lnTo>
                  <a:lnTo>
                    <a:pt x="489204" y="62008"/>
                  </a:lnTo>
                  <a:lnTo>
                    <a:pt x="487204" y="59055"/>
                  </a:lnTo>
                  <a:lnTo>
                    <a:pt x="489966" y="55436"/>
                  </a:lnTo>
                  <a:lnTo>
                    <a:pt x="487775" y="50959"/>
                  </a:lnTo>
                  <a:lnTo>
                    <a:pt x="489204" y="49149"/>
                  </a:lnTo>
                  <a:lnTo>
                    <a:pt x="486061" y="49530"/>
                  </a:lnTo>
                  <a:lnTo>
                    <a:pt x="484251" y="48196"/>
                  </a:lnTo>
                  <a:lnTo>
                    <a:pt x="481108" y="48578"/>
                  </a:lnTo>
                  <a:lnTo>
                    <a:pt x="477298" y="44291"/>
                  </a:lnTo>
                  <a:lnTo>
                    <a:pt x="477107" y="42672"/>
                  </a:lnTo>
                  <a:lnTo>
                    <a:pt x="478060" y="37719"/>
                  </a:lnTo>
                  <a:lnTo>
                    <a:pt x="471773" y="38576"/>
                  </a:lnTo>
                  <a:lnTo>
                    <a:pt x="469773" y="35624"/>
                  </a:lnTo>
                  <a:lnTo>
                    <a:pt x="469392" y="32480"/>
                  </a:lnTo>
                  <a:lnTo>
                    <a:pt x="464630" y="33052"/>
                  </a:lnTo>
                  <a:lnTo>
                    <a:pt x="455390" y="22955"/>
                  </a:lnTo>
                  <a:lnTo>
                    <a:pt x="448818" y="22193"/>
                  </a:lnTo>
                  <a:lnTo>
                    <a:pt x="445294" y="19431"/>
                  </a:lnTo>
                  <a:lnTo>
                    <a:pt x="441579" y="15145"/>
                  </a:lnTo>
                  <a:lnTo>
                    <a:pt x="437769" y="10763"/>
                  </a:lnTo>
                  <a:lnTo>
                    <a:pt x="432625" y="8287"/>
                  </a:lnTo>
                  <a:lnTo>
                    <a:pt x="421957" y="0"/>
                  </a:lnTo>
                  <a:lnTo>
                    <a:pt x="420624" y="1810"/>
                  </a:lnTo>
                  <a:lnTo>
                    <a:pt x="421386" y="8096"/>
                  </a:lnTo>
                  <a:lnTo>
                    <a:pt x="417290" y="13430"/>
                  </a:lnTo>
                  <a:lnTo>
                    <a:pt x="413480" y="9049"/>
                  </a:lnTo>
                  <a:lnTo>
                    <a:pt x="405860" y="11716"/>
                  </a:lnTo>
                  <a:lnTo>
                    <a:pt x="406051" y="13240"/>
                  </a:lnTo>
                  <a:lnTo>
                    <a:pt x="407765" y="14668"/>
                  </a:lnTo>
                  <a:lnTo>
                    <a:pt x="406241" y="14859"/>
                  </a:lnTo>
                  <a:lnTo>
                    <a:pt x="406813" y="19526"/>
                  </a:lnTo>
                  <a:lnTo>
                    <a:pt x="402336" y="21717"/>
                  </a:lnTo>
                  <a:lnTo>
                    <a:pt x="399097" y="22193"/>
                  </a:lnTo>
                  <a:lnTo>
                    <a:pt x="399574" y="25337"/>
                  </a:lnTo>
                  <a:lnTo>
                    <a:pt x="397955" y="25527"/>
                  </a:lnTo>
                  <a:lnTo>
                    <a:pt x="393954" y="19621"/>
                  </a:lnTo>
                  <a:lnTo>
                    <a:pt x="388906" y="17050"/>
                  </a:lnTo>
                  <a:lnTo>
                    <a:pt x="385953" y="19050"/>
                  </a:lnTo>
                  <a:lnTo>
                    <a:pt x="376047" y="29908"/>
                  </a:lnTo>
                  <a:lnTo>
                    <a:pt x="376428" y="33052"/>
                  </a:lnTo>
                  <a:lnTo>
                    <a:pt x="371570" y="32099"/>
                  </a:lnTo>
                  <a:lnTo>
                    <a:pt x="368998" y="37243"/>
                  </a:lnTo>
                  <a:lnTo>
                    <a:pt x="365093" y="44101"/>
                  </a:lnTo>
                  <a:lnTo>
                    <a:pt x="365665" y="48863"/>
                  </a:lnTo>
                  <a:lnTo>
                    <a:pt x="367665" y="51816"/>
                  </a:lnTo>
                  <a:lnTo>
                    <a:pt x="372332" y="51245"/>
                  </a:lnTo>
                  <a:lnTo>
                    <a:pt x="375475" y="50768"/>
                  </a:lnTo>
                  <a:lnTo>
                    <a:pt x="374523" y="55721"/>
                  </a:lnTo>
                  <a:lnTo>
                    <a:pt x="378142" y="58483"/>
                  </a:lnTo>
                  <a:lnTo>
                    <a:pt x="377095" y="63437"/>
                  </a:lnTo>
                  <a:lnTo>
                    <a:pt x="382238" y="66008"/>
                  </a:lnTo>
                  <a:lnTo>
                    <a:pt x="379285" y="68008"/>
                  </a:lnTo>
                  <a:lnTo>
                    <a:pt x="379762" y="71152"/>
                  </a:lnTo>
                  <a:lnTo>
                    <a:pt x="376999" y="74676"/>
                  </a:lnTo>
                  <a:lnTo>
                    <a:pt x="373761" y="75057"/>
                  </a:lnTo>
                  <a:lnTo>
                    <a:pt x="371094" y="78676"/>
                  </a:lnTo>
                  <a:lnTo>
                    <a:pt x="371284" y="80200"/>
                  </a:lnTo>
                  <a:lnTo>
                    <a:pt x="367665" y="77438"/>
                  </a:lnTo>
                  <a:lnTo>
                    <a:pt x="366141" y="77629"/>
                  </a:lnTo>
                  <a:lnTo>
                    <a:pt x="364331" y="76295"/>
                  </a:lnTo>
                  <a:lnTo>
                    <a:pt x="359759" y="78486"/>
                  </a:lnTo>
                  <a:lnTo>
                    <a:pt x="352711" y="72962"/>
                  </a:lnTo>
                  <a:lnTo>
                    <a:pt x="353282" y="77724"/>
                  </a:lnTo>
                  <a:lnTo>
                    <a:pt x="350139" y="78105"/>
                  </a:lnTo>
                  <a:lnTo>
                    <a:pt x="346615" y="75343"/>
                  </a:lnTo>
                  <a:lnTo>
                    <a:pt x="345757" y="69056"/>
                  </a:lnTo>
                  <a:lnTo>
                    <a:pt x="344424" y="70771"/>
                  </a:lnTo>
                  <a:lnTo>
                    <a:pt x="342614" y="69437"/>
                  </a:lnTo>
                  <a:lnTo>
                    <a:pt x="340233" y="76200"/>
                  </a:lnTo>
                  <a:lnTo>
                    <a:pt x="336137" y="81534"/>
                  </a:lnTo>
                  <a:lnTo>
                    <a:pt x="333756" y="88201"/>
                  </a:lnTo>
                  <a:lnTo>
                    <a:pt x="335566" y="89630"/>
                  </a:lnTo>
                  <a:lnTo>
                    <a:pt x="332803" y="93154"/>
                  </a:lnTo>
                  <a:lnTo>
                    <a:pt x="333565" y="99441"/>
                  </a:lnTo>
                  <a:lnTo>
                    <a:pt x="332041" y="99632"/>
                  </a:lnTo>
                  <a:lnTo>
                    <a:pt x="331470" y="94964"/>
                  </a:lnTo>
                  <a:lnTo>
                    <a:pt x="326517" y="93917"/>
                  </a:lnTo>
                  <a:lnTo>
                    <a:pt x="319564" y="102870"/>
                  </a:lnTo>
                  <a:lnTo>
                    <a:pt x="310896" y="97536"/>
                  </a:lnTo>
                  <a:lnTo>
                    <a:pt x="303466" y="101727"/>
                  </a:lnTo>
                  <a:lnTo>
                    <a:pt x="296323" y="109061"/>
                  </a:lnTo>
                  <a:lnTo>
                    <a:pt x="294513" y="107633"/>
                  </a:lnTo>
                  <a:lnTo>
                    <a:pt x="293180" y="109442"/>
                  </a:lnTo>
                  <a:lnTo>
                    <a:pt x="288226" y="108395"/>
                  </a:lnTo>
                  <a:lnTo>
                    <a:pt x="285083" y="108871"/>
                  </a:lnTo>
                  <a:lnTo>
                    <a:pt x="284702" y="105728"/>
                  </a:lnTo>
                  <a:lnTo>
                    <a:pt x="283750" y="110585"/>
                  </a:lnTo>
                  <a:lnTo>
                    <a:pt x="283559" y="109061"/>
                  </a:lnTo>
                  <a:lnTo>
                    <a:pt x="280321" y="109442"/>
                  </a:lnTo>
                  <a:lnTo>
                    <a:pt x="275653" y="110014"/>
                  </a:lnTo>
                  <a:lnTo>
                    <a:pt x="274891" y="116586"/>
                  </a:lnTo>
                  <a:lnTo>
                    <a:pt x="271272" y="113824"/>
                  </a:lnTo>
                  <a:lnTo>
                    <a:pt x="269938" y="115633"/>
                  </a:lnTo>
                  <a:lnTo>
                    <a:pt x="272129" y="120110"/>
                  </a:lnTo>
                  <a:lnTo>
                    <a:pt x="264414" y="122682"/>
                  </a:lnTo>
                  <a:lnTo>
                    <a:pt x="264223" y="121158"/>
                  </a:lnTo>
                  <a:lnTo>
                    <a:pt x="261461" y="124682"/>
                  </a:lnTo>
                  <a:lnTo>
                    <a:pt x="259461" y="121729"/>
                  </a:lnTo>
                  <a:lnTo>
                    <a:pt x="256508" y="123730"/>
                  </a:lnTo>
                  <a:lnTo>
                    <a:pt x="256318" y="122111"/>
                  </a:lnTo>
                  <a:lnTo>
                    <a:pt x="250031" y="122968"/>
                  </a:lnTo>
                  <a:lnTo>
                    <a:pt x="249841" y="121349"/>
                  </a:lnTo>
                  <a:lnTo>
                    <a:pt x="255270" y="114205"/>
                  </a:lnTo>
                  <a:lnTo>
                    <a:pt x="253365" y="111252"/>
                  </a:lnTo>
                  <a:lnTo>
                    <a:pt x="250126" y="111728"/>
                  </a:lnTo>
                  <a:lnTo>
                    <a:pt x="247459" y="115253"/>
                  </a:lnTo>
                  <a:lnTo>
                    <a:pt x="244030" y="114109"/>
                  </a:lnTo>
                  <a:lnTo>
                    <a:pt x="241459" y="119253"/>
                  </a:lnTo>
                  <a:lnTo>
                    <a:pt x="236791" y="119825"/>
                  </a:lnTo>
                  <a:lnTo>
                    <a:pt x="234982" y="118396"/>
                  </a:lnTo>
                  <a:lnTo>
                    <a:pt x="231076" y="125349"/>
                  </a:lnTo>
                  <a:lnTo>
                    <a:pt x="229457" y="125539"/>
                  </a:lnTo>
                  <a:lnTo>
                    <a:pt x="229934" y="128683"/>
                  </a:lnTo>
                  <a:lnTo>
                    <a:pt x="233267" y="129921"/>
                  </a:lnTo>
                  <a:lnTo>
                    <a:pt x="231838" y="131636"/>
                  </a:lnTo>
                  <a:lnTo>
                    <a:pt x="233839" y="134588"/>
                  </a:lnTo>
                  <a:lnTo>
                    <a:pt x="226314" y="138779"/>
                  </a:lnTo>
                  <a:lnTo>
                    <a:pt x="227552" y="148209"/>
                  </a:lnTo>
                  <a:lnTo>
                    <a:pt x="228409" y="154591"/>
                  </a:lnTo>
                  <a:lnTo>
                    <a:pt x="214598" y="159544"/>
                  </a:lnTo>
                  <a:lnTo>
                    <a:pt x="216503" y="162496"/>
                  </a:lnTo>
                  <a:lnTo>
                    <a:pt x="211264" y="171164"/>
                  </a:lnTo>
                  <a:lnTo>
                    <a:pt x="209645" y="171355"/>
                  </a:lnTo>
                  <a:lnTo>
                    <a:pt x="209264" y="168212"/>
                  </a:lnTo>
                  <a:lnTo>
                    <a:pt x="207931" y="170021"/>
                  </a:lnTo>
                  <a:lnTo>
                    <a:pt x="207931" y="170021"/>
                  </a:lnTo>
                  <a:lnTo>
                    <a:pt x="204692" y="170402"/>
                  </a:lnTo>
                  <a:lnTo>
                    <a:pt x="206502" y="171736"/>
                  </a:lnTo>
                  <a:lnTo>
                    <a:pt x="203359" y="172212"/>
                  </a:lnTo>
                  <a:lnTo>
                    <a:pt x="205359" y="175165"/>
                  </a:lnTo>
                  <a:lnTo>
                    <a:pt x="202597" y="178689"/>
                  </a:lnTo>
                  <a:lnTo>
                    <a:pt x="201644" y="183642"/>
                  </a:lnTo>
                  <a:lnTo>
                    <a:pt x="200406" y="186976"/>
                  </a:lnTo>
                  <a:lnTo>
                    <a:pt x="202597" y="191548"/>
                  </a:lnTo>
                  <a:lnTo>
                    <a:pt x="200692" y="201359"/>
                  </a:lnTo>
                  <a:lnTo>
                    <a:pt x="202882" y="205930"/>
                  </a:lnTo>
                  <a:lnTo>
                    <a:pt x="201835" y="210884"/>
                  </a:lnTo>
                  <a:lnTo>
                    <a:pt x="205454" y="213646"/>
                  </a:lnTo>
                  <a:lnTo>
                    <a:pt x="203835" y="213836"/>
                  </a:lnTo>
                  <a:lnTo>
                    <a:pt x="206407" y="221551"/>
                  </a:lnTo>
                  <a:lnTo>
                    <a:pt x="209550" y="221075"/>
                  </a:lnTo>
                  <a:lnTo>
                    <a:pt x="213550" y="214217"/>
                  </a:lnTo>
                  <a:lnTo>
                    <a:pt x="221456" y="226028"/>
                  </a:lnTo>
                  <a:lnTo>
                    <a:pt x="229171" y="223457"/>
                  </a:lnTo>
                  <a:lnTo>
                    <a:pt x="240411" y="223552"/>
                  </a:lnTo>
                  <a:lnTo>
                    <a:pt x="239363" y="228505"/>
                  </a:lnTo>
                  <a:lnTo>
                    <a:pt x="243745" y="237554"/>
                  </a:lnTo>
                  <a:lnTo>
                    <a:pt x="251460" y="247841"/>
                  </a:lnTo>
                  <a:lnTo>
                    <a:pt x="252127" y="252603"/>
                  </a:lnTo>
                  <a:lnTo>
                    <a:pt x="249174" y="254508"/>
                  </a:lnTo>
                  <a:lnTo>
                    <a:pt x="247936" y="257937"/>
                  </a:lnTo>
                  <a:lnTo>
                    <a:pt x="251746" y="262223"/>
                  </a:lnTo>
                  <a:lnTo>
                    <a:pt x="248031" y="270700"/>
                  </a:lnTo>
                  <a:lnTo>
                    <a:pt x="244411" y="267938"/>
                  </a:lnTo>
                  <a:lnTo>
                    <a:pt x="245078" y="272701"/>
                  </a:lnTo>
                  <a:lnTo>
                    <a:pt x="243268" y="271367"/>
                  </a:lnTo>
                  <a:lnTo>
                    <a:pt x="243459" y="272891"/>
                  </a:lnTo>
                  <a:lnTo>
                    <a:pt x="241840" y="273082"/>
                  </a:lnTo>
                  <a:lnTo>
                    <a:pt x="237553" y="276892"/>
                  </a:lnTo>
                  <a:lnTo>
                    <a:pt x="238125" y="281654"/>
                  </a:lnTo>
                  <a:lnTo>
                    <a:pt x="232029" y="284036"/>
                  </a:lnTo>
                  <a:lnTo>
                    <a:pt x="231838" y="282416"/>
                  </a:lnTo>
                  <a:lnTo>
                    <a:pt x="228695" y="282797"/>
                  </a:lnTo>
                  <a:lnTo>
                    <a:pt x="224123" y="284988"/>
                  </a:lnTo>
                  <a:lnTo>
                    <a:pt x="222123" y="282035"/>
                  </a:lnTo>
                  <a:lnTo>
                    <a:pt x="219456" y="285559"/>
                  </a:lnTo>
                  <a:lnTo>
                    <a:pt x="216979" y="279463"/>
                  </a:lnTo>
                  <a:lnTo>
                    <a:pt x="210121" y="275558"/>
                  </a:lnTo>
                  <a:lnTo>
                    <a:pt x="208978" y="278892"/>
                  </a:lnTo>
                  <a:lnTo>
                    <a:pt x="204025" y="277939"/>
                  </a:lnTo>
                  <a:lnTo>
                    <a:pt x="204978" y="285845"/>
                  </a:lnTo>
                  <a:lnTo>
                    <a:pt x="204978" y="285845"/>
                  </a:lnTo>
                  <a:lnTo>
                    <a:pt x="202025" y="287846"/>
                  </a:lnTo>
                  <a:lnTo>
                    <a:pt x="198501" y="285083"/>
                  </a:lnTo>
                  <a:lnTo>
                    <a:pt x="199644" y="281750"/>
                  </a:lnTo>
                  <a:lnTo>
                    <a:pt x="194977" y="282321"/>
                  </a:lnTo>
                  <a:lnTo>
                    <a:pt x="195358" y="285464"/>
                  </a:lnTo>
                  <a:lnTo>
                    <a:pt x="198882" y="288226"/>
                  </a:lnTo>
                  <a:lnTo>
                    <a:pt x="197929" y="293180"/>
                  </a:lnTo>
                  <a:lnTo>
                    <a:pt x="193167" y="293751"/>
                  </a:lnTo>
                  <a:lnTo>
                    <a:pt x="193548" y="296894"/>
                  </a:lnTo>
                  <a:lnTo>
                    <a:pt x="192214" y="298704"/>
                  </a:lnTo>
                  <a:lnTo>
                    <a:pt x="191071" y="302038"/>
                  </a:lnTo>
                  <a:lnTo>
                    <a:pt x="192976" y="304991"/>
                  </a:lnTo>
                  <a:lnTo>
                    <a:pt x="191643" y="306800"/>
                  </a:lnTo>
                  <a:lnTo>
                    <a:pt x="191834" y="308324"/>
                  </a:lnTo>
                  <a:lnTo>
                    <a:pt x="183737" y="307753"/>
                  </a:lnTo>
                  <a:lnTo>
                    <a:pt x="183166" y="303086"/>
                  </a:lnTo>
                  <a:lnTo>
                    <a:pt x="180784" y="296989"/>
                  </a:lnTo>
                  <a:lnTo>
                    <a:pt x="173831" y="292989"/>
                  </a:lnTo>
                  <a:lnTo>
                    <a:pt x="174212" y="296132"/>
                  </a:lnTo>
                  <a:lnTo>
                    <a:pt x="172498" y="294799"/>
                  </a:lnTo>
                  <a:lnTo>
                    <a:pt x="172688" y="296323"/>
                  </a:lnTo>
                  <a:lnTo>
                    <a:pt x="169545" y="296799"/>
                  </a:lnTo>
                  <a:lnTo>
                    <a:pt x="164782" y="297371"/>
                  </a:lnTo>
                  <a:lnTo>
                    <a:pt x="162973" y="296037"/>
                  </a:lnTo>
                  <a:lnTo>
                    <a:pt x="160972" y="293084"/>
                  </a:lnTo>
                  <a:lnTo>
                    <a:pt x="160782" y="291465"/>
                  </a:lnTo>
                  <a:lnTo>
                    <a:pt x="156115" y="292037"/>
                  </a:lnTo>
                  <a:lnTo>
                    <a:pt x="157067" y="287179"/>
                  </a:lnTo>
                  <a:lnTo>
                    <a:pt x="158591" y="286893"/>
                  </a:lnTo>
                  <a:lnTo>
                    <a:pt x="160020" y="285179"/>
                  </a:lnTo>
                  <a:lnTo>
                    <a:pt x="155257" y="285750"/>
                  </a:lnTo>
                  <a:lnTo>
                    <a:pt x="154114" y="289084"/>
                  </a:lnTo>
                  <a:lnTo>
                    <a:pt x="152305" y="287750"/>
                  </a:lnTo>
                  <a:lnTo>
                    <a:pt x="149161" y="288131"/>
                  </a:lnTo>
                  <a:lnTo>
                    <a:pt x="150209" y="296037"/>
                  </a:lnTo>
                  <a:lnTo>
                    <a:pt x="145066" y="293465"/>
                  </a:lnTo>
                  <a:lnTo>
                    <a:pt x="137350" y="296037"/>
                  </a:lnTo>
                  <a:lnTo>
                    <a:pt x="135731" y="296228"/>
                  </a:lnTo>
                  <a:lnTo>
                    <a:pt x="136207" y="299371"/>
                  </a:lnTo>
                  <a:lnTo>
                    <a:pt x="132969" y="299847"/>
                  </a:lnTo>
                  <a:lnTo>
                    <a:pt x="129445" y="297085"/>
                  </a:lnTo>
                  <a:lnTo>
                    <a:pt x="128302" y="300418"/>
                  </a:lnTo>
                  <a:lnTo>
                    <a:pt x="125158" y="300800"/>
                  </a:lnTo>
                  <a:lnTo>
                    <a:pt x="121729" y="299657"/>
                  </a:lnTo>
                  <a:lnTo>
                    <a:pt x="115824" y="303562"/>
                  </a:lnTo>
                  <a:lnTo>
                    <a:pt x="108585" y="296513"/>
                  </a:lnTo>
                  <a:lnTo>
                    <a:pt x="104013" y="298704"/>
                  </a:lnTo>
                  <a:lnTo>
                    <a:pt x="101822" y="294132"/>
                  </a:lnTo>
                  <a:lnTo>
                    <a:pt x="95726" y="296513"/>
                  </a:lnTo>
                  <a:lnTo>
                    <a:pt x="94488" y="299942"/>
                  </a:lnTo>
                  <a:lnTo>
                    <a:pt x="92773" y="298513"/>
                  </a:lnTo>
                  <a:lnTo>
                    <a:pt x="91345" y="300323"/>
                  </a:lnTo>
                  <a:lnTo>
                    <a:pt x="89154" y="295751"/>
                  </a:lnTo>
                  <a:lnTo>
                    <a:pt x="87630" y="295942"/>
                  </a:lnTo>
                  <a:lnTo>
                    <a:pt x="87820" y="297561"/>
                  </a:lnTo>
                  <a:lnTo>
                    <a:pt x="82677" y="294989"/>
                  </a:lnTo>
                  <a:lnTo>
                    <a:pt x="84106" y="293275"/>
                  </a:lnTo>
                  <a:lnTo>
                    <a:pt x="78772" y="289084"/>
                  </a:lnTo>
                  <a:lnTo>
                    <a:pt x="78486" y="287560"/>
                  </a:lnTo>
                  <a:lnTo>
                    <a:pt x="66103" y="290703"/>
                  </a:lnTo>
                  <a:lnTo>
                    <a:pt x="59817" y="291465"/>
                  </a:lnTo>
                  <a:lnTo>
                    <a:pt x="54673" y="301752"/>
                  </a:lnTo>
                  <a:lnTo>
                    <a:pt x="58198" y="304514"/>
                  </a:lnTo>
                  <a:lnTo>
                    <a:pt x="63151" y="305467"/>
                  </a:lnTo>
                  <a:lnTo>
                    <a:pt x="67151" y="311372"/>
                  </a:lnTo>
                  <a:lnTo>
                    <a:pt x="65722" y="313182"/>
                  </a:lnTo>
                  <a:lnTo>
                    <a:pt x="67913" y="317754"/>
                  </a:lnTo>
                  <a:lnTo>
                    <a:pt x="66580" y="319468"/>
                  </a:lnTo>
                  <a:lnTo>
                    <a:pt x="60484" y="321850"/>
                  </a:lnTo>
                  <a:lnTo>
                    <a:pt x="48958" y="320135"/>
                  </a:lnTo>
                  <a:lnTo>
                    <a:pt x="46482" y="325279"/>
                  </a:lnTo>
                  <a:lnTo>
                    <a:pt x="39338" y="319754"/>
                  </a:lnTo>
                  <a:lnTo>
                    <a:pt x="34576" y="320421"/>
                  </a:lnTo>
                  <a:lnTo>
                    <a:pt x="31813" y="323945"/>
                  </a:lnTo>
                  <a:lnTo>
                    <a:pt x="32671" y="330232"/>
                  </a:lnTo>
                  <a:lnTo>
                    <a:pt x="31242" y="332042"/>
                  </a:lnTo>
                  <a:lnTo>
                    <a:pt x="29908" y="333756"/>
                  </a:lnTo>
                  <a:lnTo>
                    <a:pt x="33433" y="336518"/>
                  </a:lnTo>
                  <a:lnTo>
                    <a:pt x="37624" y="344043"/>
                  </a:lnTo>
                  <a:lnTo>
                    <a:pt x="34480" y="344424"/>
                  </a:lnTo>
                  <a:lnTo>
                    <a:pt x="29718" y="345091"/>
                  </a:lnTo>
                  <a:lnTo>
                    <a:pt x="28384" y="346805"/>
                  </a:lnTo>
                  <a:lnTo>
                    <a:pt x="29146" y="353187"/>
                  </a:lnTo>
                  <a:lnTo>
                    <a:pt x="25241" y="360045"/>
                  </a:lnTo>
                  <a:lnTo>
                    <a:pt x="26956" y="361474"/>
                  </a:lnTo>
                  <a:lnTo>
                    <a:pt x="30956" y="367379"/>
                  </a:lnTo>
                  <a:lnTo>
                    <a:pt x="33718" y="376618"/>
                  </a:lnTo>
                  <a:lnTo>
                    <a:pt x="37338" y="379381"/>
                  </a:lnTo>
                  <a:lnTo>
                    <a:pt x="36100" y="382714"/>
                  </a:lnTo>
                  <a:lnTo>
                    <a:pt x="31813" y="386525"/>
                  </a:lnTo>
                  <a:lnTo>
                    <a:pt x="23527" y="384334"/>
                  </a:lnTo>
                  <a:lnTo>
                    <a:pt x="20383" y="384715"/>
                  </a:lnTo>
                  <a:lnTo>
                    <a:pt x="16764" y="381953"/>
                  </a:lnTo>
                  <a:lnTo>
                    <a:pt x="17145" y="385096"/>
                  </a:lnTo>
                  <a:lnTo>
                    <a:pt x="12097" y="382619"/>
                  </a:lnTo>
                  <a:lnTo>
                    <a:pt x="9715" y="389287"/>
                  </a:lnTo>
                  <a:lnTo>
                    <a:pt x="8763" y="394240"/>
                  </a:lnTo>
                  <a:lnTo>
                    <a:pt x="15430" y="396621"/>
                  </a:lnTo>
                  <a:lnTo>
                    <a:pt x="17240" y="397955"/>
                  </a:lnTo>
                  <a:lnTo>
                    <a:pt x="19240" y="400907"/>
                  </a:lnTo>
                  <a:lnTo>
                    <a:pt x="19621" y="404050"/>
                  </a:lnTo>
                  <a:lnTo>
                    <a:pt x="26956" y="411194"/>
                  </a:lnTo>
                  <a:lnTo>
                    <a:pt x="25336" y="411385"/>
                  </a:lnTo>
                  <a:lnTo>
                    <a:pt x="25717" y="414528"/>
                  </a:lnTo>
                  <a:lnTo>
                    <a:pt x="27527" y="415862"/>
                  </a:lnTo>
                  <a:lnTo>
                    <a:pt x="26956" y="423958"/>
                  </a:lnTo>
                  <a:lnTo>
                    <a:pt x="29146" y="428530"/>
                  </a:lnTo>
                  <a:lnTo>
                    <a:pt x="26194" y="430530"/>
                  </a:lnTo>
                  <a:lnTo>
                    <a:pt x="23813" y="437197"/>
                  </a:lnTo>
                  <a:lnTo>
                    <a:pt x="20860" y="439198"/>
                  </a:lnTo>
                  <a:lnTo>
                    <a:pt x="19336" y="439388"/>
                  </a:lnTo>
                  <a:lnTo>
                    <a:pt x="21431" y="443960"/>
                  </a:lnTo>
                  <a:lnTo>
                    <a:pt x="24860" y="445103"/>
                  </a:lnTo>
                  <a:lnTo>
                    <a:pt x="25241" y="448246"/>
                  </a:lnTo>
                  <a:lnTo>
                    <a:pt x="23146" y="469392"/>
                  </a:lnTo>
                  <a:lnTo>
                    <a:pt x="18383" y="469963"/>
                  </a:lnTo>
                  <a:lnTo>
                    <a:pt x="15811" y="475107"/>
                  </a:lnTo>
                  <a:lnTo>
                    <a:pt x="15621" y="486346"/>
                  </a:lnTo>
                  <a:lnTo>
                    <a:pt x="11716" y="493300"/>
                  </a:lnTo>
                  <a:lnTo>
                    <a:pt x="8572" y="493681"/>
                  </a:lnTo>
                  <a:lnTo>
                    <a:pt x="7429" y="497014"/>
                  </a:lnTo>
                  <a:lnTo>
                    <a:pt x="7810" y="500158"/>
                  </a:lnTo>
                  <a:lnTo>
                    <a:pt x="12287" y="498062"/>
                  </a:lnTo>
                  <a:lnTo>
                    <a:pt x="13716" y="496253"/>
                  </a:lnTo>
                  <a:lnTo>
                    <a:pt x="16859" y="495871"/>
                  </a:lnTo>
                  <a:lnTo>
                    <a:pt x="14478" y="502539"/>
                  </a:lnTo>
                  <a:lnTo>
                    <a:pt x="11525" y="504539"/>
                  </a:lnTo>
                  <a:lnTo>
                    <a:pt x="12192" y="509302"/>
                  </a:lnTo>
                  <a:lnTo>
                    <a:pt x="9239" y="511207"/>
                  </a:lnTo>
                  <a:lnTo>
                    <a:pt x="10192" y="519113"/>
                  </a:lnTo>
                  <a:lnTo>
                    <a:pt x="9049" y="522446"/>
                  </a:lnTo>
                  <a:lnTo>
                    <a:pt x="9430" y="525685"/>
                  </a:lnTo>
                  <a:lnTo>
                    <a:pt x="8477" y="530543"/>
                  </a:lnTo>
                  <a:lnTo>
                    <a:pt x="5524" y="532543"/>
                  </a:lnTo>
                  <a:lnTo>
                    <a:pt x="2191" y="531400"/>
                  </a:lnTo>
                  <a:lnTo>
                    <a:pt x="1143" y="536353"/>
                  </a:lnTo>
                  <a:lnTo>
                    <a:pt x="4572" y="537496"/>
                  </a:lnTo>
                  <a:lnTo>
                    <a:pt x="1619" y="539496"/>
                  </a:lnTo>
                  <a:lnTo>
                    <a:pt x="381" y="542830"/>
                  </a:lnTo>
                  <a:lnTo>
                    <a:pt x="2381" y="545783"/>
                  </a:lnTo>
                  <a:lnTo>
                    <a:pt x="2762" y="548926"/>
                  </a:lnTo>
                  <a:lnTo>
                    <a:pt x="0" y="552545"/>
                  </a:lnTo>
                  <a:lnTo>
                    <a:pt x="2000" y="555498"/>
                  </a:lnTo>
                  <a:lnTo>
                    <a:pt x="3619" y="555308"/>
                  </a:lnTo>
                  <a:lnTo>
                    <a:pt x="12287" y="560546"/>
                  </a:lnTo>
                  <a:lnTo>
                    <a:pt x="20383" y="561118"/>
                  </a:lnTo>
                  <a:lnTo>
                    <a:pt x="24289" y="567023"/>
                  </a:lnTo>
                  <a:lnTo>
                    <a:pt x="25717" y="578072"/>
                  </a:lnTo>
                  <a:lnTo>
                    <a:pt x="30289" y="575882"/>
                  </a:lnTo>
                  <a:lnTo>
                    <a:pt x="29337" y="580834"/>
                  </a:lnTo>
                  <a:lnTo>
                    <a:pt x="25908" y="579692"/>
                  </a:lnTo>
                  <a:lnTo>
                    <a:pt x="22955" y="581692"/>
                  </a:lnTo>
                  <a:lnTo>
                    <a:pt x="19050" y="588550"/>
                  </a:lnTo>
                  <a:lnTo>
                    <a:pt x="17240" y="587216"/>
                  </a:lnTo>
                  <a:lnTo>
                    <a:pt x="17907" y="591979"/>
                  </a:lnTo>
                  <a:lnTo>
                    <a:pt x="13144" y="592550"/>
                  </a:lnTo>
                  <a:lnTo>
                    <a:pt x="13716" y="597313"/>
                  </a:lnTo>
                  <a:lnTo>
                    <a:pt x="10763" y="599218"/>
                  </a:lnTo>
                  <a:lnTo>
                    <a:pt x="11239" y="602361"/>
                  </a:lnTo>
                  <a:lnTo>
                    <a:pt x="13335" y="606933"/>
                  </a:lnTo>
                  <a:lnTo>
                    <a:pt x="20669" y="613982"/>
                  </a:lnTo>
                  <a:lnTo>
                    <a:pt x="27432" y="616363"/>
                  </a:lnTo>
                  <a:lnTo>
                    <a:pt x="27813" y="619506"/>
                  </a:lnTo>
                  <a:lnTo>
                    <a:pt x="24098" y="627983"/>
                  </a:lnTo>
                  <a:lnTo>
                    <a:pt x="30766" y="630364"/>
                  </a:lnTo>
                  <a:lnTo>
                    <a:pt x="39052" y="632555"/>
                  </a:lnTo>
                  <a:lnTo>
                    <a:pt x="39529" y="635699"/>
                  </a:lnTo>
                  <a:lnTo>
                    <a:pt x="42863" y="636842"/>
                  </a:lnTo>
                  <a:lnTo>
                    <a:pt x="41910" y="641795"/>
                  </a:lnTo>
                  <a:lnTo>
                    <a:pt x="45815" y="647700"/>
                  </a:lnTo>
                  <a:lnTo>
                    <a:pt x="47625" y="649129"/>
                  </a:lnTo>
                  <a:lnTo>
                    <a:pt x="50578" y="647129"/>
                  </a:lnTo>
                  <a:lnTo>
                    <a:pt x="57912" y="654177"/>
                  </a:lnTo>
                  <a:lnTo>
                    <a:pt x="61817" y="660083"/>
                  </a:lnTo>
                  <a:lnTo>
                    <a:pt x="62484" y="664845"/>
                  </a:lnTo>
                  <a:lnTo>
                    <a:pt x="64008" y="664655"/>
                  </a:lnTo>
                  <a:lnTo>
                    <a:pt x="64198" y="666179"/>
                  </a:lnTo>
                  <a:lnTo>
                    <a:pt x="72485" y="668369"/>
                  </a:lnTo>
                  <a:lnTo>
                    <a:pt x="80581" y="656082"/>
                  </a:lnTo>
                  <a:lnTo>
                    <a:pt x="85153" y="653891"/>
                  </a:lnTo>
                  <a:lnTo>
                    <a:pt x="89440" y="650176"/>
                  </a:lnTo>
                  <a:lnTo>
                    <a:pt x="92583" y="649796"/>
                  </a:lnTo>
                  <a:lnTo>
                    <a:pt x="94012" y="647986"/>
                  </a:lnTo>
                  <a:lnTo>
                    <a:pt x="99917" y="643985"/>
                  </a:lnTo>
                  <a:lnTo>
                    <a:pt x="101917" y="646938"/>
                  </a:lnTo>
                  <a:lnTo>
                    <a:pt x="103251" y="645224"/>
                  </a:lnTo>
                  <a:lnTo>
                    <a:pt x="102298" y="650176"/>
                  </a:lnTo>
                  <a:lnTo>
                    <a:pt x="107251" y="651129"/>
                  </a:lnTo>
                  <a:lnTo>
                    <a:pt x="111538" y="660178"/>
                  </a:lnTo>
                  <a:lnTo>
                    <a:pt x="113728" y="664750"/>
                  </a:lnTo>
                  <a:lnTo>
                    <a:pt x="122491" y="669988"/>
                  </a:lnTo>
                  <a:lnTo>
                    <a:pt x="121063" y="671798"/>
                  </a:lnTo>
                  <a:lnTo>
                    <a:pt x="126016" y="672751"/>
                  </a:lnTo>
                  <a:lnTo>
                    <a:pt x="127159" y="669417"/>
                  </a:lnTo>
                  <a:lnTo>
                    <a:pt x="128968" y="670751"/>
                  </a:lnTo>
                  <a:lnTo>
                    <a:pt x="137255" y="672941"/>
                  </a:lnTo>
                  <a:lnTo>
                    <a:pt x="152019" y="675894"/>
                  </a:lnTo>
                  <a:lnTo>
                    <a:pt x="151447" y="683990"/>
                  </a:lnTo>
                  <a:lnTo>
                    <a:pt x="147161" y="687705"/>
                  </a:lnTo>
                  <a:lnTo>
                    <a:pt x="151162" y="693611"/>
                  </a:lnTo>
                  <a:lnTo>
                    <a:pt x="150114" y="698563"/>
                  </a:lnTo>
                  <a:lnTo>
                    <a:pt x="137160" y="697039"/>
                  </a:lnTo>
                  <a:lnTo>
                    <a:pt x="133731" y="695801"/>
                  </a:lnTo>
                  <a:lnTo>
                    <a:pt x="132207" y="696087"/>
                  </a:lnTo>
                  <a:lnTo>
                    <a:pt x="136112" y="701993"/>
                  </a:lnTo>
                  <a:lnTo>
                    <a:pt x="142684" y="702755"/>
                  </a:lnTo>
                  <a:lnTo>
                    <a:pt x="148209" y="708470"/>
                  </a:lnTo>
                  <a:lnTo>
                    <a:pt x="153734" y="701326"/>
                  </a:lnTo>
                  <a:lnTo>
                    <a:pt x="163163" y="700088"/>
                  </a:lnTo>
                  <a:lnTo>
                    <a:pt x="166497" y="701326"/>
                  </a:lnTo>
                  <a:lnTo>
                    <a:pt x="168688" y="705803"/>
                  </a:lnTo>
                  <a:lnTo>
                    <a:pt x="171831" y="705422"/>
                  </a:lnTo>
                  <a:lnTo>
                    <a:pt x="174403" y="713137"/>
                  </a:lnTo>
                  <a:lnTo>
                    <a:pt x="176213" y="714470"/>
                  </a:lnTo>
                  <a:lnTo>
                    <a:pt x="176403" y="716089"/>
                  </a:lnTo>
                  <a:lnTo>
                    <a:pt x="175069" y="717804"/>
                  </a:lnTo>
                  <a:lnTo>
                    <a:pt x="177832" y="727138"/>
                  </a:lnTo>
                  <a:lnTo>
                    <a:pt x="176689" y="730472"/>
                  </a:lnTo>
                  <a:lnTo>
                    <a:pt x="184975" y="732568"/>
                  </a:lnTo>
                  <a:lnTo>
                    <a:pt x="191643" y="734949"/>
                  </a:lnTo>
                  <a:lnTo>
                    <a:pt x="194977" y="736187"/>
                  </a:lnTo>
                  <a:lnTo>
                    <a:pt x="204121" y="731806"/>
                  </a:lnTo>
                  <a:lnTo>
                    <a:pt x="213741" y="719328"/>
                  </a:lnTo>
                  <a:lnTo>
                    <a:pt x="213169" y="714566"/>
                  </a:lnTo>
                  <a:lnTo>
                    <a:pt x="218027" y="715613"/>
                  </a:lnTo>
                  <a:lnTo>
                    <a:pt x="224409" y="727615"/>
                  </a:lnTo>
                  <a:lnTo>
                    <a:pt x="225552" y="724186"/>
                  </a:lnTo>
                  <a:lnTo>
                    <a:pt x="231934" y="723424"/>
                  </a:lnTo>
                  <a:lnTo>
                    <a:pt x="240601" y="728758"/>
                  </a:lnTo>
                  <a:lnTo>
                    <a:pt x="243745" y="728377"/>
                  </a:lnTo>
                  <a:lnTo>
                    <a:pt x="248888" y="730853"/>
                  </a:lnTo>
                  <a:lnTo>
                    <a:pt x="250222" y="729139"/>
                  </a:lnTo>
                  <a:lnTo>
                    <a:pt x="260890" y="737330"/>
                  </a:lnTo>
                  <a:lnTo>
                    <a:pt x="258223" y="740950"/>
                  </a:lnTo>
                  <a:lnTo>
                    <a:pt x="259937" y="742283"/>
                  </a:lnTo>
                  <a:lnTo>
                    <a:pt x="257651" y="749046"/>
                  </a:lnTo>
                  <a:lnTo>
                    <a:pt x="262128" y="746855"/>
                  </a:lnTo>
                  <a:lnTo>
                    <a:pt x="261747" y="743712"/>
                  </a:lnTo>
                  <a:lnTo>
                    <a:pt x="266033" y="739902"/>
                  </a:lnTo>
                  <a:lnTo>
                    <a:pt x="269462" y="741140"/>
                  </a:lnTo>
                  <a:lnTo>
                    <a:pt x="271367" y="744093"/>
                  </a:lnTo>
                  <a:lnTo>
                    <a:pt x="275939" y="741902"/>
                  </a:lnTo>
                  <a:lnTo>
                    <a:pt x="280035" y="736568"/>
                  </a:lnTo>
                  <a:lnTo>
                    <a:pt x="286417" y="735711"/>
                  </a:lnTo>
                  <a:lnTo>
                    <a:pt x="295084" y="741045"/>
                  </a:lnTo>
                  <a:lnTo>
                    <a:pt x="301180" y="738664"/>
                  </a:lnTo>
                  <a:lnTo>
                    <a:pt x="300609" y="733901"/>
                  </a:lnTo>
                  <a:lnTo>
                    <a:pt x="305276" y="733330"/>
                  </a:lnTo>
                  <a:lnTo>
                    <a:pt x="307276" y="736283"/>
                  </a:lnTo>
                  <a:lnTo>
                    <a:pt x="310420" y="735901"/>
                  </a:lnTo>
                  <a:lnTo>
                    <a:pt x="313372" y="733901"/>
                  </a:lnTo>
                  <a:lnTo>
                    <a:pt x="320135" y="736283"/>
                  </a:lnTo>
                  <a:lnTo>
                    <a:pt x="323659" y="739045"/>
                  </a:lnTo>
                  <a:lnTo>
                    <a:pt x="323088" y="747046"/>
                  </a:lnTo>
                  <a:lnTo>
                    <a:pt x="324326" y="756571"/>
                  </a:lnTo>
                  <a:lnTo>
                    <a:pt x="326517" y="761047"/>
                  </a:lnTo>
                  <a:lnTo>
                    <a:pt x="325088" y="762857"/>
                  </a:lnTo>
                  <a:lnTo>
                    <a:pt x="328517" y="764000"/>
                  </a:lnTo>
                  <a:lnTo>
                    <a:pt x="324517" y="770954"/>
                  </a:lnTo>
                  <a:lnTo>
                    <a:pt x="324993" y="774097"/>
                  </a:lnTo>
                  <a:lnTo>
                    <a:pt x="320992" y="781050"/>
                  </a:lnTo>
                  <a:lnTo>
                    <a:pt x="321850" y="787337"/>
                  </a:lnTo>
                  <a:lnTo>
                    <a:pt x="321850" y="787337"/>
                  </a:lnTo>
                  <a:lnTo>
                    <a:pt x="317849" y="794290"/>
                  </a:lnTo>
                  <a:lnTo>
                    <a:pt x="321088" y="793813"/>
                  </a:lnTo>
                  <a:lnTo>
                    <a:pt x="324421" y="795052"/>
                  </a:lnTo>
                  <a:lnTo>
                    <a:pt x="324993" y="799814"/>
                  </a:lnTo>
                  <a:lnTo>
                    <a:pt x="327565" y="807434"/>
                  </a:lnTo>
                  <a:lnTo>
                    <a:pt x="329565" y="810387"/>
                  </a:lnTo>
                  <a:lnTo>
                    <a:pt x="332708" y="810006"/>
                  </a:lnTo>
                  <a:lnTo>
                    <a:pt x="330517" y="805434"/>
                  </a:lnTo>
                  <a:lnTo>
                    <a:pt x="333946" y="806672"/>
                  </a:lnTo>
                  <a:lnTo>
                    <a:pt x="335470" y="806482"/>
                  </a:lnTo>
                  <a:lnTo>
                    <a:pt x="334518" y="811435"/>
                  </a:lnTo>
                  <a:lnTo>
                    <a:pt x="341471" y="815340"/>
                  </a:lnTo>
                  <a:lnTo>
                    <a:pt x="342614" y="812006"/>
                  </a:lnTo>
                  <a:lnTo>
                    <a:pt x="346329" y="816293"/>
                  </a:lnTo>
                  <a:lnTo>
                    <a:pt x="348710" y="822388"/>
                  </a:lnTo>
                  <a:lnTo>
                    <a:pt x="347758" y="827342"/>
                  </a:lnTo>
                  <a:lnTo>
                    <a:pt x="354711" y="831247"/>
                  </a:lnTo>
                  <a:lnTo>
                    <a:pt x="357854" y="830866"/>
                  </a:lnTo>
                  <a:lnTo>
                    <a:pt x="359378" y="830675"/>
                  </a:lnTo>
                  <a:lnTo>
                    <a:pt x="366331" y="834580"/>
                  </a:lnTo>
                  <a:lnTo>
                    <a:pt x="370046" y="838962"/>
                  </a:lnTo>
                  <a:lnTo>
                    <a:pt x="378619" y="842677"/>
                  </a:lnTo>
                  <a:lnTo>
                    <a:pt x="377857" y="849154"/>
                  </a:lnTo>
                  <a:lnTo>
                    <a:pt x="379571" y="850583"/>
                  </a:lnTo>
                  <a:lnTo>
                    <a:pt x="382143" y="845439"/>
                  </a:lnTo>
                  <a:lnTo>
                    <a:pt x="384334" y="837152"/>
                  </a:lnTo>
                  <a:lnTo>
                    <a:pt x="385858" y="836962"/>
                  </a:lnTo>
                  <a:lnTo>
                    <a:pt x="387286" y="835152"/>
                  </a:lnTo>
                  <a:lnTo>
                    <a:pt x="390239" y="833152"/>
                  </a:lnTo>
                  <a:lnTo>
                    <a:pt x="393382" y="832771"/>
                  </a:lnTo>
                  <a:lnTo>
                    <a:pt x="396907" y="835533"/>
                  </a:lnTo>
                  <a:lnTo>
                    <a:pt x="404622" y="845725"/>
                  </a:lnTo>
                  <a:lnTo>
                    <a:pt x="406241" y="845534"/>
                  </a:lnTo>
                  <a:lnTo>
                    <a:pt x="408241" y="848487"/>
                  </a:lnTo>
                  <a:lnTo>
                    <a:pt x="409575" y="846772"/>
                  </a:lnTo>
                  <a:lnTo>
                    <a:pt x="412909" y="847916"/>
                  </a:lnTo>
                  <a:lnTo>
                    <a:pt x="412528" y="844772"/>
                  </a:lnTo>
                  <a:lnTo>
                    <a:pt x="423958" y="846487"/>
                  </a:lnTo>
                  <a:lnTo>
                    <a:pt x="430530" y="847249"/>
                  </a:lnTo>
                  <a:lnTo>
                    <a:pt x="435388" y="848201"/>
                  </a:lnTo>
                  <a:lnTo>
                    <a:pt x="442150" y="837819"/>
                  </a:lnTo>
                  <a:lnTo>
                    <a:pt x="443484" y="836009"/>
                  </a:lnTo>
                  <a:lnTo>
                    <a:pt x="451580" y="836581"/>
                  </a:lnTo>
                  <a:lnTo>
                    <a:pt x="455295" y="840867"/>
                  </a:lnTo>
                  <a:lnTo>
                    <a:pt x="455581" y="842486"/>
                  </a:lnTo>
                  <a:lnTo>
                    <a:pt x="460438" y="843439"/>
                  </a:lnTo>
                  <a:lnTo>
                    <a:pt x="463201" y="839914"/>
                  </a:lnTo>
                  <a:lnTo>
                    <a:pt x="459486" y="835533"/>
                  </a:lnTo>
                  <a:lnTo>
                    <a:pt x="460438" y="830675"/>
                  </a:lnTo>
                  <a:lnTo>
                    <a:pt x="463772" y="831818"/>
                  </a:lnTo>
                  <a:lnTo>
                    <a:pt x="466725" y="829818"/>
                  </a:lnTo>
                  <a:lnTo>
                    <a:pt x="473869" y="835343"/>
                  </a:lnTo>
                  <a:lnTo>
                    <a:pt x="473107" y="841820"/>
                  </a:lnTo>
                  <a:lnTo>
                    <a:pt x="475488" y="835152"/>
                  </a:lnTo>
                  <a:lnTo>
                    <a:pt x="482155" y="837438"/>
                  </a:lnTo>
                  <a:lnTo>
                    <a:pt x="483394" y="846963"/>
                  </a:lnTo>
                  <a:lnTo>
                    <a:pt x="485775" y="853059"/>
                  </a:lnTo>
                  <a:lnTo>
                    <a:pt x="483965" y="851726"/>
                  </a:lnTo>
                  <a:lnTo>
                    <a:pt x="476059" y="852678"/>
                  </a:lnTo>
                  <a:lnTo>
                    <a:pt x="474726" y="854488"/>
                  </a:lnTo>
                  <a:lnTo>
                    <a:pt x="478250" y="857250"/>
                  </a:lnTo>
                  <a:lnTo>
                    <a:pt x="487585" y="867251"/>
                  </a:lnTo>
                  <a:lnTo>
                    <a:pt x="488918" y="865442"/>
                  </a:lnTo>
                  <a:lnTo>
                    <a:pt x="487204" y="864108"/>
                  </a:lnTo>
                  <a:lnTo>
                    <a:pt x="490156" y="862108"/>
                  </a:lnTo>
                  <a:lnTo>
                    <a:pt x="498443" y="864299"/>
                  </a:lnTo>
                  <a:lnTo>
                    <a:pt x="500348" y="867251"/>
                  </a:lnTo>
                  <a:lnTo>
                    <a:pt x="495681" y="867823"/>
                  </a:lnTo>
                  <a:lnTo>
                    <a:pt x="492919" y="871347"/>
                  </a:lnTo>
                  <a:lnTo>
                    <a:pt x="507778" y="887159"/>
                  </a:lnTo>
                  <a:lnTo>
                    <a:pt x="499872" y="888111"/>
                  </a:lnTo>
                  <a:lnTo>
                    <a:pt x="503777" y="894017"/>
                  </a:lnTo>
                  <a:lnTo>
                    <a:pt x="504444" y="898779"/>
                  </a:lnTo>
                  <a:lnTo>
                    <a:pt x="501682" y="902399"/>
                  </a:lnTo>
                  <a:lnTo>
                    <a:pt x="495395" y="903161"/>
                  </a:lnTo>
                  <a:lnTo>
                    <a:pt x="493586" y="901827"/>
                  </a:lnTo>
                  <a:lnTo>
                    <a:pt x="492157" y="903542"/>
                  </a:lnTo>
                  <a:lnTo>
                    <a:pt x="490442" y="902208"/>
                  </a:lnTo>
                  <a:lnTo>
                    <a:pt x="482536" y="903161"/>
                  </a:lnTo>
                  <a:lnTo>
                    <a:pt x="472249" y="898112"/>
                  </a:lnTo>
                  <a:lnTo>
                    <a:pt x="471297" y="902970"/>
                  </a:lnTo>
                  <a:lnTo>
                    <a:pt x="475202" y="908971"/>
                  </a:lnTo>
                  <a:lnTo>
                    <a:pt x="474631" y="916972"/>
                  </a:lnTo>
                  <a:lnTo>
                    <a:pt x="471106" y="914305"/>
                  </a:lnTo>
                  <a:lnTo>
                    <a:pt x="463391" y="916876"/>
                  </a:lnTo>
                  <a:lnTo>
                    <a:pt x="465201" y="918210"/>
                  </a:lnTo>
                  <a:lnTo>
                    <a:pt x="467011" y="919639"/>
                  </a:lnTo>
                  <a:lnTo>
                    <a:pt x="466153" y="926116"/>
                  </a:lnTo>
                  <a:lnTo>
                    <a:pt x="471297" y="928688"/>
                  </a:lnTo>
                  <a:lnTo>
                    <a:pt x="469201" y="936974"/>
                  </a:lnTo>
                  <a:lnTo>
                    <a:pt x="463105" y="939355"/>
                  </a:lnTo>
                  <a:lnTo>
                    <a:pt x="455200" y="940308"/>
                  </a:lnTo>
                  <a:lnTo>
                    <a:pt x="454057" y="943737"/>
                  </a:lnTo>
                  <a:lnTo>
                    <a:pt x="455962" y="946690"/>
                  </a:lnTo>
                  <a:lnTo>
                    <a:pt x="454628" y="948404"/>
                  </a:lnTo>
                  <a:lnTo>
                    <a:pt x="457962" y="949643"/>
                  </a:lnTo>
                  <a:lnTo>
                    <a:pt x="455390" y="954786"/>
                  </a:lnTo>
                  <a:lnTo>
                    <a:pt x="457200" y="956120"/>
                  </a:lnTo>
                  <a:lnTo>
                    <a:pt x="454247" y="958120"/>
                  </a:lnTo>
                  <a:lnTo>
                    <a:pt x="453104" y="961454"/>
                  </a:lnTo>
                  <a:lnTo>
                    <a:pt x="448151" y="960501"/>
                  </a:lnTo>
                  <a:lnTo>
                    <a:pt x="449104" y="968407"/>
                  </a:lnTo>
                  <a:lnTo>
                    <a:pt x="447389" y="966978"/>
                  </a:lnTo>
                  <a:lnTo>
                    <a:pt x="443960" y="965835"/>
                  </a:lnTo>
                  <a:lnTo>
                    <a:pt x="442436" y="966026"/>
                  </a:lnTo>
                  <a:lnTo>
                    <a:pt x="441484" y="970979"/>
                  </a:lnTo>
                  <a:lnTo>
                    <a:pt x="438912" y="976122"/>
                  </a:lnTo>
                  <a:lnTo>
                    <a:pt x="434149" y="976693"/>
                  </a:lnTo>
                  <a:lnTo>
                    <a:pt x="428053" y="979075"/>
                  </a:lnTo>
                  <a:lnTo>
                    <a:pt x="430435" y="985171"/>
                  </a:lnTo>
                  <a:lnTo>
                    <a:pt x="426053" y="988981"/>
                  </a:lnTo>
                  <a:lnTo>
                    <a:pt x="430435" y="998030"/>
                  </a:lnTo>
                  <a:lnTo>
                    <a:pt x="432054" y="997839"/>
                  </a:lnTo>
                  <a:lnTo>
                    <a:pt x="433197" y="994505"/>
                  </a:lnTo>
                  <a:lnTo>
                    <a:pt x="437959" y="993838"/>
                  </a:lnTo>
                  <a:lnTo>
                    <a:pt x="441865" y="986980"/>
                  </a:lnTo>
                  <a:lnTo>
                    <a:pt x="448627" y="989267"/>
                  </a:lnTo>
                  <a:lnTo>
                    <a:pt x="451961" y="990505"/>
                  </a:lnTo>
                  <a:lnTo>
                    <a:pt x="454342" y="996601"/>
                  </a:lnTo>
                  <a:lnTo>
                    <a:pt x="452914" y="998411"/>
                  </a:lnTo>
                  <a:lnTo>
                    <a:pt x="452152" y="1004888"/>
                  </a:lnTo>
                  <a:lnTo>
                    <a:pt x="451199" y="1009841"/>
                  </a:lnTo>
                  <a:lnTo>
                    <a:pt x="453199" y="1012793"/>
                  </a:lnTo>
                  <a:lnTo>
                    <a:pt x="456724" y="1015555"/>
                  </a:lnTo>
                  <a:lnTo>
                    <a:pt x="467963" y="1015651"/>
                  </a:lnTo>
                  <a:lnTo>
                    <a:pt x="471106" y="1015270"/>
                  </a:lnTo>
                  <a:lnTo>
                    <a:pt x="483013" y="1020223"/>
                  </a:lnTo>
                  <a:lnTo>
                    <a:pt x="493300" y="1025271"/>
                  </a:lnTo>
                  <a:lnTo>
                    <a:pt x="492061" y="1028700"/>
                  </a:lnTo>
                  <a:lnTo>
                    <a:pt x="492538" y="1031843"/>
                  </a:lnTo>
                  <a:lnTo>
                    <a:pt x="489585" y="1033748"/>
                  </a:lnTo>
                  <a:lnTo>
                    <a:pt x="488347" y="1037177"/>
                  </a:lnTo>
                  <a:lnTo>
                    <a:pt x="497300" y="1044035"/>
                  </a:lnTo>
                  <a:lnTo>
                    <a:pt x="503206" y="1040035"/>
                  </a:lnTo>
                  <a:lnTo>
                    <a:pt x="500063" y="1040511"/>
                  </a:lnTo>
                  <a:lnTo>
                    <a:pt x="499586" y="1037368"/>
                  </a:lnTo>
                  <a:lnTo>
                    <a:pt x="496443" y="1037749"/>
                  </a:lnTo>
                  <a:lnTo>
                    <a:pt x="493109" y="1036511"/>
                  </a:lnTo>
                  <a:lnTo>
                    <a:pt x="499396" y="1035749"/>
                  </a:lnTo>
                  <a:lnTo>
                    <a:pt x="511492" y="1042226"/>
                  </a:lnTo>
                  <a:lnTo>
                    <a:pt x="508921" y="1034510"/>
                  </a:lnTo>
                  <a:lnTo>
                    <a:pt x="515017" y="1032129"/>
                  </a:lnTo>
                  <a:lnTo>
                    <a:pt x="518541" y="1034891"/>
                  </a:lnTo>
                  <a:lnTo>
                    <a:pt x="520732" y="1039463"/>
                  </a:lnTo>
                  <a:lnTo>
                    <a:pt x="524065" y="1040606"/>
                  </a:lnTo>
                  <a:lnTo>
                    <a:pt x="521780" y="1047369"/>
                  </a:lnTo>
                  <a:lnTo>
                    <a:pt x="523684" y="1050322"/>
                  </a:lnTo>
                  <a:lnTo>
                    <a:pt x="528828" y="1052893"/>
                  </a:lnTo>
                  <a:lnTo>
                    <a:pt x="531971" y="1052417"/>
                  </a:lnTo>
                  <a:lnTo>
                    <a:pt x="534924" y="1050417"/>
                  </a:lnTo>
                  <a:lnTo>
                    <a:pt x="537305" y="1056608"/>
                  </a:lnTo>
                  <a:lnTo>
                    <a:pt x="540734" y="1057751"/>
                  </a:lnTo>
                  <a:lnTo>
                    <a:pt x="543211" y="1052608"/>
                  </a:lnTo>
                  <a:lnTo>
                    <a:pt x="544449" y="1049274"/>
                  </a:lnTo>
                  <a:lnTo>
                    <a:pt x="542449" y="1046321"/>
                  </a:lnTo>
                  <a:lnTo>
                    <a:pt x="548735" y="1045464"/>
                  </a:lnTo>
                  <a:lnTo>
                    <a:pt x="548164" y="1040797"/>
                  </a:lnTo>
                  <a:lnTo>
                    <a:pt x="552736" y="1038606"/>
                  </a:lnTo>
                  <a:lnTo>
                    <a:pt x="554069" y="1036796"/>
                  </a:lnTo>
                  <a:lnTo>
                    <a:pt x="549688" y="1027747"/>
                  </a:lnTo>
                  <a:lnTo>
                    <a:pt x="554260" y="1025557"/>
                  </a:lnTo>
                  <a:lnTo>
                    <a:pt x="557403" y="1025176"/>
                  </a:lnTo>
                  <a:lnTo>
                    <a:pt x="559403" y="1028129"/>
                  </a:lnTo>
                  <a:lnTo>
                    <a:pt x="564071" y="1027462"/>
                  </a:lnTo>
                  <a:lnTo>
                    <a:pt x="564547" y="1030700"/>
                  </a:lnTo>
                  <a:lnTo>
                    <a:pt x="567499" y="1028700"/>
                  </a:lnTo>
                  <a:lnTo>
                    <a:pt x="573214" y="1023176"/>
                  </a:lnTo>
                  <a:lnTo>
                    <a:pt x="582644" y="1021937"/>
                  </a:lnTo>
                  <a:lnTo>
                    <a:pt x="583025" y="1025080"/>
                  </a:lnTo>
                  <a:lnTo>
                    <a:pt x="590169" y="1030605"/>
                  </a:lnTo>
                  <a:lnTo>
                    <a:pt x="592550" y="1036701"/>
                  </a:lnTo>
                  <a:lnTo>
                    <a:pt x="597884" y="1040892"/>
                  </a:lnTo>
                  <a:lnTo>
                    <a:pt x="600075" y="1045369"/>
                  </a:lnTo>
                  <a:lnTo>
                    <a:pt x="602837" y="1041845"/>
                  </a:lnTo>
                  <a:lnTo>
                    <a:pt x="605980" y="1041463"/>
                  </a:lnTo>
                  <a:lnTo>
                    <a:pt x="605409" y="1036701"/>
                  </a:lnTo>
                  <a:lnTo>
                    <a:pt x="607886" y="1031558"/>
                  </a:lnTo>
                  <a:lnTo>
                    <a:pt x="606171" y="1030129"/>
                  </a:lnTo>
                  <a:lnTo>
                    <a:pt x="605980" y="1028605"/>
                  </a:lnTo>
                  <a:lnTo>
                    <a:pt x="604171" y="1027176"/>
                  </a:lnTo>
                  <a:lnTo>
                    <a:pt x="607505" y="1028414"/>
                  </a:lnTo>
                  <a:lnTo>
                    <a:pt x="611219" y="1019937"/>
                  </a:lnTo>
                  <a:lnTo>
                    <a:pt x="616553" y="1024033"/>
                  </a:lnTo>
                  <a:lnTo>
                    <a:pt x="619315" y="1020509"/>
                  </a:lnTo>
                  <a:lnTo>
                    <a:pt x="619125" y="1018889"/>
                  </a:lnTo>
                  <a:lnTo>
                    <a:pt x="619506" y="1009174"/>
                  </a:lnTo>
                  <a:lnTo>
                    <a:pt x="619315" y="1007650"/>
                  </a:lnTo>
                  <a:lnTo>
                    <a:pt x="622649" y="1008793"/>
                  </a:lnTo>
                  <a:lnTo>
                    <a:pt x="635508" y="1008793"/>
                  </a:lnTo>
                  <a:lnTo>
                    <a:pt x="643033" y="1004602"/>
                  </a:lnTo>
                  <a:lnTo>
                    <a:pt x="645128" y="996315"/>
                  </a:lnTo>
                  <a:lnTo>
                    <a:pt x="645128" y="996315"/>
                  </a:lnTo>
                  <a:lnTo>
                    <a:pt x="649891" y="995743"/>
                  </a:lnTo>
                  <a:lnTo>
                    <a:pt x="651034" y="992410"/>
                  </a:lnTo>
                  <a:lnTo>
                    <a:pt x="652653" y="992124"/>
                  </a:lnTo>
                  <a:lnTo>
                    <a:pt x="652463" y="990600"/>
                  </a:lnTo>
                  <a:lnTo>
                    <a:pt x="645890" y="989838"/>
                  </a:lnTo>
                  <a:lnTo>
                    <a:pt x="650081" y="984504"/>
                  </a:lnTo>
                  <a:lnTo>
                    <a:pt x="651605" y="984313"/>
                  </a:lnTo>
                  <a:lnTo>
                    <a:pt x="658939" y="978503"/>
                  </a:lnTo>
                  <a:lnTo>
                    <a:pt x="661511" y="973360"/>
                  </a:lnTo>
                  <a:lnTo>
                    <a:pt x="668369" y="977360"/>
                  </a:lnTo>
                  <a:lnTo>
                    <a:pt x="673894" y="970217"/>
                  </a:lnTo>
                  <a:lnTo>
                    <a:pt x="680847" y="974122"/>
                  </a:lnTo>
                  <a:lnTo>
                    <a:pt x="683323" y="968978"/>
                  </a:lnTo>
                  <a:lnTo>
                    <a:pt x="691896" y="972788"/>
                  </a:lnTo>
                  <a:lnTo>
                    <a:pt x="695039" y="972312"/>
                  </a:lnTo>
                  <a:lnTo>
                    <a:pt x="695801" y="978694"/>
                  </a:lnTo>
                  <a:lnTo>
                    <a:pt x="701897" y="976313"/>
                  </a:lnTo>
                  <a:lnTo>
                    <a:pt x="698373" y="973550"/>
                  </a:lnTo>
                  <a:lnTo>
                    <a:pt x="701135" y="969931"/>
                  </a:lnTo>
                  <a:lnTo>
                    <a:pt x="704279" y="969550"/>
                  </a:lnTo>
                  <a:lnTo>
                    <a:pt x="705898" y="969359"/>
                  </a:lnTo>
                  <a:lnTo>
                    <a:pt x="703707" y="964787"/>
                  </a:lnTo>
                  <a:lnTo>
                    <a:pt x="705231" y="964597"/>
                  </a:lnTo>
                  <a:lnTo>
                    <a:pt x="706660" y="962787"/>
                  </a:lnTo>
                  <a:lnTo>
                    <a:pt x="703231" y="961644"/>
                  </a:lnTo>
                  <a:lnTo>
                    <a:pt x="707231" y="954786"/>
                  </a:lnTo>
                  <a:lnTo>
                    <a:pt x="706564" y="950024"/>
                  </a:lnTo>
                  <a:lnTo>
                    <a:pt x="709327" y="946404"/>
                  </a:lnTo>
                  <a:lnTo>
                    <a:pt x="706946" y="940308"/>
                  </a:lnTo>
                  <a:lnTo>
                    <a:pt x="710374" y="941546"/>
                  </a:lnTo>
                  <a:lnTo>
                    <a:pt x="715042" y="940880"/>
                  </a:lnTo>
                  <a:lnTo>
                    <a:pt x="725519" y="947642"/>
                  </a:lnTo>
                  <a:lnTo>
                    <a:pt x="725710" y="949166"/>
                  </a:lnTo>
                  <a:lnTo>
                    <a:pt x="721042" y="949738"/>
                  </a:lnTo>
                  <a:lnTo>
                    <a:pt x="719614" y="951547"/>
                  </a:lnTo>
                  <a:lnTo>
                    <a:pt x="724567" y="952500"/>
                  </a:lnTo>
                  <a:lnTo>
                    <a:pt x="727520" y="950595"/>
                  </a:lnTo>
                  <a:lnTo>
                    <a:pt x="729520" y="953548"/>
                  </a:lnTo>
                  <a:lnTo>
                    <a:pt x="734949" y="946404"/>
                  </a:lnTo>
                  <a:lnTo>
                    <a:pt x="743903" y="940403"/>
                  </a:lnTo>
                  <a:lnTo>
                    <a:pt x="740473" y="939260"/>
                  </a:lnTo>
                  <a:lnTo>
                    <a:pt x="740473" y="926497"/>
                  </a:lnTo>
                  <a:lnTo>
                    <a:pt x="750951" y="933164"/>
                  </a:lnTo>
                  <a:lnTo>
                    <a:pt x="754856" y="926211"/>
                  </a:lnTo>
                  <a:lnTo>
                    <a:pt x="762190" y="920496"/>
                  </a:lnTo>
                  <a:lnTo>
                    <a:pt x="764191" y="923449"/>
                  </a:lnTo>
                  <a:lnTo>
                    <a:pt x="764572" y="926592"/>
                  </a:lnTo>
                  <a:lnTo>
                    <a:pt x="766763" y="931164"/>
                  </a:lnTo>
                  <a:lnTo>
                    <a:pt x="770096" y="932307"/>
                  </a:lnTo>
                  <a:lnTo>
                    <a:pt x="768953" y="935641"/>
                  </a:lnTo>
                  <a:lnTo>
                    <a:pt x="767524" y="937451"/>
                  </a:lnTo>
                  <a:lnTo>
                    <a:pt x="769525" y="940403"/>
                  </a:lnTo>
                  <a:lnTo>
                    <a:pt x="767715" y="938975"/>
                  </a:lnTo>
                  <a:lnTo>
                    <a:pt x="768096" y="942213"/>
                  </a:lnTo>
                  <a:lnTo>
                    <a:pt x="771334" y="941737"/>
                  </a:lnTo>
                  <a:lnTo>
                    <a:pt x="773239" y="944689"/>
                  </a:lnTo>
                  <a:lnTo>
                    <a:pt x="774668" y="942975"/>
                  </a:lnTo>
                  <a:lnTo>
                    <a:pt x="774287" y="939832"/>
                  </a:lnTo>
                  <a:lnTo>
                    <a:pt x="774478" y="941356"/>
                  </a:lnTo>
                  <a:lnTo>
                    <a:pt x="778002" y="944118"/>
                  </a:lnTo>
                  <a:lnTo>
                    <a:pt x="774859" y="944499"/>
                  </a:lnTo>
                  <a:lnTo>
                    <a:pt x="776859" y="947452"/>
                  </a:lnTo>
                  <a:lnTo>
                    <a:pt x="784003" y="952976"/>
                  </a:lnTo>
                  <a:lnTo>
                    <a:pt x="790480" y="953738"/>
                  </a:lnTo>
                  <a:lnTo>
                    <a:pt x="798576" y="954310"/>
                  </a:lnTo>
                  <a:lnTo>
                    <a:pt x="801529" y="952309"/>
                  </a:lnTo>
                  <a:lnTo>
                    <a:pt x="804672" y="951929"/>
                  </a:lnTo>
                  <a:lnTo>
                    <a:pt x="808577" y="945071"/>
                  </a:lnTo>
                  <a:lnTo>
                    <a:pt x="813340" y="944404"/>
                  </a:lnTo>
                  <a:lnTo>
                    <a:pt x="814102" y="937927"/>
                  </a:lnTo>
                  <a:lnTo>
                    <a:pt x="812101" y="934974"/>
                  </a:lnTo>
                  <a:lnTo>
                    <a:pt x="811721" y="931831"/>
                  </a:lnTo>
                  <a:lnTo>
                    <a:pt x="814864" y="931355"/>
                  </a:lnTo>
                  <a:lnTo>
                    <a:pt x="816673" y="932783"/>
                  </a:lnTo>
                  <a:lnTo>
                    <a:pt x="817245" y="937546"/>
                  </a:lnTo>
                  <a:lnTo>
                    <a:pt x="822007" y="936879"/>
                  </a:lnTo>
                  <a:lnTo>
                    <a:pt x="822198" y="938498"/>
                  </a:lnTo>
                  <a:lnTo>
                    <a:pt x="826961" y="937927"/>
                  </a:lnTo>
                  <a:lnTo>
                    <a:pt x="828484" y="937641"/>
                  </a:lnTo>
                  <a:lnTo>
                    <a:pt x="835628" y="943166"/>
                  </a:lnTo>
                  <a:lnTo>
                    <a:pt x="838962" y="944404"/>
                  </a:lnTo>
                  <a:lnTo>
                    <a:pt x="840200" y="940975"/>
                  </a:lnTo>
                  <a:lnTo>
                    <a:pt x="845058" y="942022"/>
                  </a:lnTo>
                  <a:lnTo>
                    <a:pt x="849058" y="947928"/>
                  </a:lnTo>
                  <a:lnTo>
                    <a:pt x="852583" y="950690"/>
                  </a:lnTo>
                  <a:lnTo>
                    <a:pt x="852392" y="949071"/>
                  </a:lnTo>
                  <a:lnTo>
                    <a:pt x="850011" y="942975"/>
                  </a:lnTo>
                  <a:lnTo>
                    <a:pt x="851440" y="941165"/>
                  </a:lnTo>
                  <a:lnTo>
                    <a:pt x="856107" y="940594"/>
                  </a:lnTo>
                  <a:lnTo>
                    <a:pt x="861250" y="943166"/>
                  </a:lnTo>
                  <a:lnTo>
                    <a:pt x="862489" y="939737"/>
                  </a:lnTo>
                  <a:lnTo>
                    <a:pt x="863822" y="938022"/>
                  </a:lnTo>
                  <a:lnTo>
                    <a:pt x="874109" y="943070"/>
                  </a:lnTo>
                  <a:lnTo>
                    <a:pt x="875443" y="941356"/>
                  </a:lnTo>
                  <a:lnTo>
                    <a:pt x="878396" y="939355"/>
                  </a:lnTo>
                  <a:lnTo>
                    <a:pt x="875062" y="938117"/>
                  </a:lnTo>
                  <a:lnTo>
                    <a:pt x="878014" y="936212"/>
                  </a:lnTo>
                  <a:lnTo>
                    <a:pt x="878967" y="931259"/>
                  </a:lnTo>
                  <a:lnTo>
                    <a:pt x="882205" y="930878"/>
                  </a:lnTo>
                  <a:lnTo>
                    <a:pt x="884396" y="935355"/>
                  </a:lnTo>
                  <a:lnTo>
                    <a:pt x="893445" y="930974"/>
                  </a:lnTo>
                  <a:lnTo>
                    <a:pt x="893064" y="927830"/>
                  </a:lnTo>
                  <a:lnTo>
                    <a:pt x="889635" y="926687"/>
                  </a:lnTo>
                  <a:lnTo>
                    <a:pt x="889063" y="921925"/>
                  </a:lnTo>
                  <a:lnTo>
                    <a:pt x="880586" y="918210"/>
                  </a:lnTo>
                  <a:lnTo>
                    <a:pt x="886015" y="911066"/>
                  </a:lnTo>
                  <a:lnTo>
                    <a:pt x="884301" y="909733"/>
                  </a:lnTo>
                  <a:lnTo>
                    <a:pt x="886015" y="911066"/>
                  </a:lnTo>
                  <a:lnTo>
                    <a:pt x="896493" y="904970"/>
                  </a:lnTo>
                  <a:lnTo>
                    <a:pt x="901255" y="904399"/>
                  </a:lnTo>
                  <a:lnTo>
                    <a:pt x="904018" y="900779"/>
                  </a:lnTo>
                  <a:lnTo>
                    <a:pt x="908780" y="900208"/>
                  </a:lnTo>
                  <a:lnTo>
                    <a:pt x="915638" y="904113"/>
                  </a:lnTo>
                  <a:lnTo>
                    <a:pt x="918400" y="900589"/>
                  </a:lnTo>
                  <a:lnTo>
                    <a:pt x="923544" y="903161"/>
                  </a:lnTo>
                  <a:lnTo>
                    <a:pt x="931069" y="898970"/>
                  </a:lnTo>
                  <a:lnTo>
                    <a:pt x="937927" y="902875"/>
                  </a:lnTo>
                  <a:lnTo>
                    <a:pt x="942118" y="897541"/>
                  </a:lnTo>
                  <a:lnTo>
                    <a:pt x="941641" y="894397"/>
                  </a:lnTo>
                  <a:lnTo>
                    <a:pt x="945832" y="889063"/>
                  </a:lnTo>
                  <a:lnTo>
                    <a:pt x="950500" y="888492"/>
                  </a:lnTo>
                  <a:lnTo>
                    <a:pt x="950119" y="885349"/>
                  </a:lnTo>
                  <a:lnTo>
                    <a:pt x="944213" y="876395"/>
                  </a:lnTo>
                  <a:lnTo>
                    <a:pt x="945166" y="871538"/>
                  </a:lnTo>
                  <a:lnTo>
                    <a:pt x="949928" y="870871"/>
                  </a:lnTo>
                  <a:lnTo>
                    <a:pt x="956405" y="871633"/>
                  </a:lnTo>
                  <a:lnTo>
                    <a:pt x="960977" y="869442"/>
                  </a:lnTo>
                  <a:lnTo>
                    <a:pt x="964121" y="869061"/>
                  </a:lnTo>
                  <a:lnTo>
                    <a:pt x="965263" y="865727"/>
                  </a:lnTo>
                  <a:lnTo>
                    <a:pt x="969836" y="863537"/>
                  </a:lnTo>
                  <a:lnTo>
                    <a:pt x="970979" y="860203"/>
                  </a:lnTo>
                  <a:lnTo>
                    <a:pt x="973741" y="856679"/>
                  </a:lnTo>
                  <a:lnTo>
                    <a:pt x="976313" y="851535"/>
                  </a:lnTo>
                  <a:lnTo>
                    <a:pt x="978122" y="852868"/>
                  </a:lnTo>
                  <a:lnTo>
                    <a:pt x="977837" y="851249"/>
                  </a:lnTo>
                  <a:lnTo>
                    <a:pt x="980599" y="834962"/>
                  </a:lnTo>
                  <a:lnTo>
                    <a:pt x="977455" y="835343"/>
                  </a:lnTo>
                  <a:lnTo>
                    <a:pt x="976884" y="830580"/>
                  </a:lnTo>
                  <a:lnTo>
                    <a:pt x="968788" y="830009"/>
                  </a:lnTo>
                  <a:lnTo>
                    <a:pt x="972503" y="821531"/>
                  </a:lnTo>
                  <a:lnTo>
                    <a:pt x="971836" y="816769"/>
                  </a:lnTo>
                  <a:lnTo>
                    <a:pt x="968502" y="815626"/>
                  </a:lnTo>
                  <a:lnTo>
                    <a:pt x="969073" y="820388"/>
                  </a:lnTo>
                  <a:lnTo>
                    <a:pt x="961834" y="826103"/>
                  </a:lnTo>
                  <a:lnTo>
                    <a:pt x="956881" y="825151"/>
                  </a:lnTo>
                  <a:lnTo>
                    <a:pt x="955738" y="828484"/>
                  </a:lnTo>
                  <a:lnTo>
                    <a:pt x="954119" y="828675"/>
                  </a:lnTo>
                  <a:lnTo>
                    <a:pt x="956691" y="823532"/>
                  </a:lnTo>
                  <a:lnTo>
                    <a:pt x="957643" y="818579"/>
                  </a:lnTo>
                  <a:lnTo>
                    <a:pt x="959453" y="820007"/>
                  </a:lnTo>
                  <a:lnTo>
                    <a:pt x="962215" y="816388"/>
                  </a:lnTo>
                  <a:lnTo>
                    <a:pt x="956691" y="810673"/>
                  </a:lnTo>
                  <a:lnTo>
                    <a:pt x="956024" y="806005"/>
                  </a:lnTo>
                  <a:lnTo>
                    <a:pt x="953929" y="801434"/>
                  </a:lnTo>
                  <a:lnTo>
                    <a:pt x="949357" y="803624"/>
                  </a:lnTo>
                  <a:lnTo>
                    <a:pt x="951929" y="798481"/>
                  </a:lnTo>
                  <a:lnTo>
                    <a:pt x="946975" y="797528"/>
                  </a:lnTo>
                  <a:lnTo>
                    <a:pt x="949738" y="793909"/>
                  </a:lnTo>
                  <a:lnTo>
                    <a:pt x="951643" y="784098"/>
                  </a:lnTo>
                  <a:lnTo>
                    <a:pt x="959548" y="783050"/>
                  </a:lnTo>
                  <a:lnTo>
                    <a:pt x="969455" y="785051"/>
                  </a:lnTo>
                  <a:lnTo>
                    <a:pt x="972217" y="781431"/>
                  </a:lnTo>
                  <a:lnTo>
                    <a:pt x="971740" y="778288"/>
                  </a:lnTo>
                  <a:lnTo>
                    <a:pt x="978694" y="782193"/>
                  </a:lnTo>
                  <a:lnTo>
                    <a:pt x="982408" y="773716"/>
                  </a:lnTo>
                  <a:lnTo>
                    <a:pt x="977455" y="772763"/>
                  </a:lnTo>
                  <a:lnTo>
                    <a:pt x="976122" y="761714"/>
                  </a:lnTo>
                  <a:lnTo>
                    <a:pt x="977265" y="758380"/>
                  </a:lnTo>
                  <a:lnTo>
                    <a:pt x="979075" y="759714"/>
                  </a:lnTo>
                  <a:lnTo>
                    <a:pt x="980027" y="754761"/>
                  </a:lnTo>
                  <a:lnTo>
                    <a:pt x="974503" y="749046"/>
                  </a:lnTo>
                  <a:lnTo>
                    <a:pt x="970693" y="744760"/>
                  </a:lnTo>
                  <a:lnTo>
                    <a:pt x="966025" y="745331"/>
                  </a:lnTo>
                  <a:lnTo>
                    <a:pt x="959263" y="743045"/>
                  </a:lnTo>
                  <a:lnTo>
                    <a:pt x="954500" y="743617"/>
                  </a:lnTo>
                  <a:lnTo>
                    <a:pt x="950976" y="740855"/>
                  </a:lnTo>
                  <a:lnTo>
                    <a:pt x="954691" y="732377"/>
                  </a:lnTo>
                  <a:lnTo>
                    <a:pt x="952309" y="726281"/>
                  </a:lnTo>
                  <a:lnTo>
                    <a:pt x="954881" y="721138"/>
                  </a:lnTo>
                  <a:lnTo>
                    <a:pt x="959548" y="707708"/>
                  </a:lnTo>
                  <a:lnTo>
                    <a:pt x="963739" y="702374"/>
                  </a:lnTo>
                  <a:lnTo>
                    <a:pt x="963073" y="697611"/>
                  </a:lnTo>
                  <a:lnTo>
                    <a:pt x="965835" y="694087"/>
                  </a:lnTo>
                  <a:lnTo>
                    <a:pt x="967454" y="693896"/>
                  </a:lnTo>
                  <a:lnTo>
                    <a:pt x="973741" y="693039"/>
                  </a:lnTo>
                  <a:lnTo>
                    <a:pt x="975741" y="695992"/>
                  </a:lnTo>
                  <a:lnTo>
                    <a:pt x="978884" y="695611"/>
                  </a:lnTo>
                  <a:lnTo>
                    <a:pt x="980218" y="693801"/>
                  </a:lnTo>
                  <a:lnTo>
                    <a:pt x="984790" y="691610"/>
                  </a:lnTo>
                  <a:lnTo>
                    <a:pt x="986123" y="689896"/>
                  </a:lnTo>
                  <a:lnTo>
                    <a:pt x="989362" y="689420"/>
                  </a:lnTo>
                  <a:lnTo>
                    <a:pt x="988314" y="681609"/>
                  </a:lnTo>
                  <a:lnTo>
                    <a:pt x="981361" y="677609"/>
                  </a:lnTo>
                  <a:lnTo>
                    <a:pt x="982408" y="672751"/>
                  </a:lnTo>
                  <a:lnTo>
                    <a:pt x="979075" y="671513"/>
                  </a:lnTo>
                  <a:lnTo>
                    <a:pt x="978789" y="669988"/>
                  </a:lnTo>
                  <a:lnTo>
                    <a:pt x="969359" y="671132"/>
                  </a:lnTo>
                  <a:lnTo>
                    <a:pt x="967168" y="666655"/>
                  </a:lnTo>
                  <a:lnTo>
                    <a:pt x="966121" y="658749"/>
                  </a:lnTo>
                  <a:lnTo>
                    <a:pt x="968312" y="650462"/>
                  </a:lnTo>
                  <a:lnTo>
                    <a:pt x="969740" y="648653"/>
                  </a:lnTo>
                  <a:lnTo>
                    <a:pt x="971455" y="650081"/>
                  </a:lnTo>
                  <a:lnTo>
                    <a:pt x="979170" y="647509"/>
                  </a:lnTo>
                  <a:lnTo>
                    <a:pt x="978789" y="644271"/>
                  </a:lnTo>
                  <a:lnTo>
                    <a:pt x="983742" y="645319"/>
                  </a:lnTo>
                  <a:lnTo>
                    <a:pt x="983456" y="643700"/>
                  </a:lnTo>
                  <a:lnTo>
                    <a:pt x="979932" y="640937"/>
                  </a:lnTo>
                  <a:lnTo>
                    <a:pt x="982694" y="637413"/>
                  </a:lnTo>
                  <a:lnTo>
                    <a:pt x="987457" y="636746"/>
                  </a:lnTo>
                  <a:lnTo>
                    <a:pt x="990219" y="633222"/>
                  </a:lnTo>
                  <a:lnTo>
                    <a:pt x="989552" y="628459"/>
                  </a:lnTo>
                  <a:lnTo>
                    <a:pt x="992505" y="626555"/>
                  </a:lnTo>
                  <a:lnTo>
                    <a:pt x="988600" y="620554"/>
                  </a:lnTo>
                  <a:lnTo>
                    <a:pt x="989933" y="618839"/>
                  </a:lnTo>
                  <a:lnTo>
                    <a:pt x="989743" y="617220"/>
                  </a:lnTo>
                  <a:lnTo>
                    <a:pt x="989171" y="612553"/>
                  </a:lnTo>
                  <a:lnTo>
                    <a:pt x="990695" y="612267"/>
                  </a:lnTo>
                  <a:lnTo>
                    <a:pt x="998601" y="611314"/>
                  </a:lnTo>
                  <a:lnTo>
                    <a:pt x="1002982" y="607505"/>
                  </a:lnTo>
                  <a:lnTo>
                    <a:pt x="1006316" y="608743"/>
                  </a:lnTo>
                  <a:lnTo>
                    <a:pt x="1017937" y="599218"/>
                  </a:lnTo>
                  <a:lnTo>
                    <a:pt x="1020699" y="595693"/>
                  </a:lnTo>
                  <a:lnTo>
                    <a:pt x="1020032" y="590931"/>
                  </a:lnTo>
                  <a:lnTo>
                    <a:pt x="1021461" y="589121"/>
                  </a:lnTo>
                  <a:lnTo>
                    <a:pt x="1027747" y="588359"/>
                  </a:lnTo>
                  <a:lnTo>
                    <a:pt x="1028605" y="594646"/>
                  </a:lnTo>
                  <a:lnTo>
                    <a:pt x="1031938" y="595789"/>
                  </a:lnTo>
                  <a:lnTo>
                    <a:pt x="1031748" y="594265"/>
                  </a:lnTo>
                  <a:lnTo>
                    <a:pt x="1035844" y="588931"/>
                  </a:lnTo>
                  <a:lnTo>
                    <a:pt x="1035653" y="587312"/>
                  </a:lnTo>
                  <a:lnTo>
                    <a:pt x="1040416" y="586740"/>
                  </a:lnTo>
                  <a:lnTo>
                    <a:pt x="1047655" y="581025"/>
                  </a:lnTo>
                  <a:lnTo>
                    <a:pt x="1048893" y="577691"/>
                  </a:lnTo>
                  <a:lnTo>
                    <a:pt x="1055180" y="576834"/>
                  </a:lnTo>
                  <a:lnTo>
                    <a:pt x="1056132" y="571881"/>
                  </a:lnTo>
                  <a:lnTo>
                    <a:pt x="1052798" y="570738"/>
                  </a:lnTo>
                  <a:lnTo>
                    <a:pt x="1056132" y="571881"/>
                  </a:lnTo>
                  <a:lnTo>
                    <a:pt x="1052417" y="567595"/>
                  </a:lnTo>
                  <a:lnTo>
                    <a:pt x="1052227" y="565976"/>
                  </a:lnTo>
                  <a:lnTo>
                    <a:pt x="1046416" y="558737"/>
                  </a:lnTo>
                  <a:lnTo>
                    <a:pt x="1051941" y="551593"/>
                  </a:lnTo>
                  <a:lnTo>
                    <a:pt x="1048798" y="551974"/>
                  </a:lnTo>
                  <a:lnTo>
                    <a:pt x="1045845" y="541115"/>
                  </a:lnTo>
                  <a:lnTo>
                    <a:pt x="1045559" y="539591"/>
                  </a:lnTo>
                  <a:lnTo>
                    <a:pt x="1048988" y="540734"/>
                  </a:lnTo>
                  <a:lnTo>
                    <a:pt x="1048322" y="535972"/>
                  </a:lnTo>
                  <a:lnTo>
                    <a:pt x="1050512" y="527685"/>
                  </a:lnTo>
                  <a:lnTo>
                    <a:pt x="1049750" y="521399"/>
                  </a:lnTo>
                  <a:lnTo>
                    <a:pt x="1050893" y="518065"/>
                  </a:lnTo>
                  <a:lnTo>
                    <a:pt x="1053656" y="514445"/>
                  </a:lnTo>
                  <a:lnTo>
                    <a:pt x="1052798" y="508159"/>
                  </a:lnTo>
                  <a:lnTo>
                    <a:pt x="1046893" y="512159"/>
                  </a:lnTo>
                  <a:lnTo>
                    <a:pt x="1043559" y="510921"/>
                  </a:lnTo>
                  <a:lnTo>
                    <a:pt x="1041368" y="506444"/>
                  </a:lnTo>
                  <a:lnTo>
                    <a:pt x="1045750" y="502634"/>
                  </a:lnTo>
                  <a:lnTo>
                    <a:pt x="1042130" y="499872"/>
                  </a:lnTo>
                  <a:lnTo>
                    <a:pt x="1043368" y="496538"/>
                  </a:lnTo>
                  <a:lnTo>
                    <a:pt x="1046131" y="493014"/>
                  </a:lnTo>
                  <a:lnTo>
                    <a:pt x="1038415" y="482727"/>
                  </a:lnTo>
                  <a:lnTo>
                    <a:pt x="1039178" y="476250"/>
                  </a:lnTo>
                  <a:lnTo>
                    <a:pt x="1041654" y="471107"/>
                  </a:lnTo>
                  <a:lnTo>
                    <a:pt x="1047559" y="467106"/>
                  </a:lnTo>
                  <a:lnTo>
                    <a:pt x="1049941" y="460438"/>
                  </a:lnTo>
                  <a:lnTo>
                    <a:pt x="1044226" y="453104"/>
                  </a:lnTo>
                  <a:lnTo>
                    <a:pt x="1054703" y="447008"/>
                  </a:lnTo>
                  <a:lnTo>
                    <a:pt x="1055465" y="440436"/>
                  </a:lnTo>
                  <a:lnTo>
                    <a:pt x="1048893" y="439674"/>
                  </a:lnTo>
                  <a:lnTo>
                    <a:pt x="1046893" y="436721"/>
                  </a:lnTo>
                  <a:lnTo>
                    <a:pt x="1046512" y="433578"/>
                  </a:lnTo>
                  <a:lnTo>
                    <a:pt x="1050893" y="429863"/>
                  </a:lnTo>
                  <a:lnTo>
                    <a:pt x="1045940" y="428911"/>
                  </a:lnTo>
                  <a:lnTo>
                    <a:pt x="1044797" y="432245"/>
                  </a:lnTo>
                  <a:lnTo>
                    <a:pt x="1042988" y="430816"/>
                  </a:lnTo>
                  <a:lnTo>
                    <a:pt x="1036034" y="426911"/>
                  </a:lnTo>
                  <a:lnTo>
                    <a:pt x="1033843" y="422338"/>
                  </a:lnTo>
                  <a:lnTo>
                    <a:pt x="1035082" y="419005"/>
                  </a:lnTo>
                  <a:lnTo>
                    <a:pt x="1034891" y="417481"/>
                  </a:lnTo>
                  <a:lnTo>
                    <a:pt x="1029557" y="413290"/>
                  </a:lnTo>
                  <a:lnTo>
                    <a:pt x="1030891" y="411575"/>
                  </a:lnTo>
                  <a:lnTo>
                    <a:pt x="1037177" y="410718"/>
                  </a:lnTo>
                  <a:lnTo>
                    <a:pt x="1039178" y="413671"/>
                  </a:lnTo>
                  <a:lnTo>
                    <a:pt x="1043559" y="422720"/>
                  </a:lnTo>
                  <a:lnTo>
                    <a:pt x="1051274" y="420148"/>
                  </a:lnTo>
                  <a:lnTo>
                    <a:pt x="1054037" y="416624"/>
                  </a:lnTo>
                  <a:lnTo>
                    <a:pt x="1053560" y="413480"/>
                  </a:lnTo>
                  <a:lnTo>
                    <a:pt x="1059466" y="409480"/>
                  </a:lnTo>
                  <a:lnTo>
                    <a:pt x="1063276" y="401003"/>
                  </a:lnTo>
                  <a:lnTo>
                    <a:pt x="1067943" y="400431"/>
                  </a:lnTo>
                  <a:lnTo>
                    <a:pt x="1073848" y="383572"/>
                  </a:lnTo>
                  <a:lnTo>
                    <a:pt x="1072801" y="375761"/>
                  </a:lnTo>
                  <a:lnTo>
                    <a:pt x="1072801" y="375761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2" name="Volný tvar: obrazec 31">
              <a:extLst>
                <a:ext uri="{FF2B5EF4-FFF2-40B4-BE49-F238E27FC236}">
                  <a16:creationId xmlns:a16="http://schemas.microsoft.com/office/drawing/2014/main" id="{B579A35E-4B4C-FF39-71FD-5B55CEAFF22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247858" y="3717035"/>
              <a:ext cx="910018" cy="791432"/>
            </a:xfrm>
            <a:custGeom>
              <a:avLst/>
              <a:gdLst>
                <a:gd name="connsiteX0" fmla="*/ 910019 w 910018"/>
                <a:gd name="connsiteY0" fmla="*/ 184690 h 791432"/>
                <a:gd name="connsiteX1" fmla="*/ 904208 w 910018"/>
                <a:gd name="connsiteY1" fmla="*/ 164497 h 791432"/>
                <a:gd name="connsiteX2" fmla="*/ 903637 w 910018"/>
                <a:gd name="connsiteY2" fmla="*/ 159829 h 791432"/>
                <a:gd name="connsiteX3" fmla="*/ 901255 w 910018"/>
                <a:gd name="connsiteY3" fmla="*/ 153734 h 791432"/>
                <a:gd name="connsiteX4" fmla="*/ 896112 w 910018"/>
                <a:gd name="connsiteY4" fmla="*/ 151162 h 791432"/>
                <a:gd name="connsiteX5" fmla="*/ 891350 w 910018"/>
                <a:gd name="connsiteY5" fmla="*/ 151733 h 791432"/>
                <a:gd name="connsiteX6" fmla="*/ 884206 w 910018"/>
                <a:gd name="connsiteY6" fmla="*/ 146209 h 791432"/>
                <a:gd name="connsiteX7" fmla="*/ 879253 w 910018"/>
                <a:gd name="connsiteY7" fmla="*/ 145256 h 791432"/>
                <a:gd name="connsiteX8" fmla="*/ 871442 w 910018"/>
                <a:gd name="connsiteY8" fmla="*/ 146304 h 791432"/>
                <a:gd name="connsiteX9" fmla="*/ 876681 w 910018"/>
                <a:gd name="connsiteY9" fmla="*/ 124777 h 791432"/>
                <a:gd name="connsiteX10" fmla="*/ 871919 w 910018"/>
                <a:gd name="connsiteY10" fmla="*/ 112490 h 791432"/>
                <a:gd name="connsiteX11" fmla="*/ 867156 w 910018"/>
                <a:gd name="connsiteY11" fmla="*/ 113157 h 791432"/>
                <a:gd name="connsiteX12" fmla="*/ 865156 w 910018"/>
                <a:gd name="connsiteY12" fmla="*/ 110204 h 791432"/>
                <a:gd name="connsiteX13" fmla="*/ 866775 w 910018"/>
                <a:gd name="connsiteY13" fmla="*/ 110014 h 791432"/>
                <a:gd name="connsiteX14" fmla="*/ 864775 w 910018"/>
                <a:gd name="connsiteY14" fmla="*/ 106966 h 791432"/>
                <a:gd name="connsiteX15" fmla="*/ 860393 w 910018"/>
                <a:gd name="connsiteY15" fmla="*/ 97917 h 791432"/>
                <a:gd name="connsiteX16" fmla="*/ 854107 w 910018"/>
                <a:gd name="connsiteY16" fmla="*/ 98774 h 791432"/>
                <a:gd name="connsiteX17" fmla="*/ 845439 w 910018"/>
                <a:gd name="connsiteY17" fmla="*/ 93440 h 791432"/>
                <a:gd name="connsiteX18" fmla="*/ 840486 w 910018"/>
                <a:gd name="connsiteY18" fmla="*/ 92488 h 791432"/>
                <a:gd name="connsiteX19" fmla="*/ 834390 w 910018"/>
                <a:gd name="connsiteY19" fmla="*/ 82010 h 791432"/>
                <a:gd name="connsiteX20" fmla="*/ 828770 w 910018"/>
                <a:gd name="connsiteY20" fmla="*/ 76295 h 791432"/>
                <a:gd name="connsiteX21" fmla="*/ 826008 w 910018"/>
                <a:gd name="connsiteY21" fmla="*/ 54197 h 791432"/>
                <a:gd name="connsiteX22" fmla="*/ 822198 w 910018"/>
                <a:gd name="connsiteY22" fmla="*/ 49911 h 791432"/>
                <a:gd name="connsiteX23" fmla="*/ 815530 w 910018"/>
                <a:gd name="connsiteY23" fmla="*/ 47530 h 791432"/>
                <a:gd name="connsiteX24" fmla="*/ 804101 w 910018"/>
                <a:gd name="connsiteY24" fmla="*/ 45815 h 791432"/>
                <a:gd name="connsiteX25" fmla="*/ 799338 w 910018"/>
                <a:gd name="connsiteY25" fmla="*/ 46387 h 791432"/>
                <a:gd name="connsiteX26" fmla="*/ 794195 w 910018"/>
                <a:gd name="connsiteY26" fmla="*/ 56674 h 791432"/>
                <a:gd name="connsiteX27" fmla="*/ 789718 w 910018"/>
                <a:gd name="connsiteY27" fmla="*/ 58864 h 791432"/>
                <a:gd name="connsiteX28" fmla="*/ 769811 w 910018"/>
                <a:gd name="connsiteY28" fmla="*/ 53340 h 791432"/>
                <a:gd name="connsiteX29" fmla="*/ 765810 w 910018"/>
                <a:gd name="connsiteY29" fmla="*/ 47434 h 791432"/>
                <a:gd name="connsiteX30" fmla="*/ 762667 w 910018"/>
                <a:gd name="connsiteY30" fmla="*/ 47815 h 791432"/>
                <a:gd name="connsiteX31" fmla="*/ 753618 w 910018"/>
                <a:gd name="connsiteY31" fmla="*/ 52197 h 791432"/>
                <a:gd name="connsiteX32" fmla="*/ 745046 w 910018"/>
                <a:gd name="connsiteY32" fmla="*/ 48482 h 791432"/>
                <a:gd name="connsiteX33" fmla="*/ 733806 w 910018"/>
                <a:gd name="connsiteY33" fmla="*/ 35528 h 791432"/>
                <a:gd name="connsiteX34" fmla="*/ 729234 w 910018"/>
                <a:gd name="connsiteY34" fmla="*/ 24860 h 791432"/>
                <a:gd name="connsiteX35" fmla="*/ 725710 w 910018"/>
                <a:gd name="connsiteY35" fmla="*/ 22098 h 791432"/>
                <a:gd name="connsiteX36" fmla="*/ 721328 w 910018"/>
                <a:gd name="connsiteY36" fmla="*/ 25908 h 791432"/>
                <a:gd name="connsiteX37" fmla="*/ 705803 w 910018"/>
                <a:gd name="connsiteY37" fmla="*/ 29432 h 791432"/>
                <a:gd name="connsiteX38" fmla="*/ 697802 w 910018"/>
                <a:gd name="connsiteY38" fmla="*/ 17621 h 791432"/>
                <a:gd name="connsiteX39" fmla="*/ 687229 w 910018"/>
                <a:gd name="connsiteY39" fmla="*/ 22193 h 791432"/>
                <a:gd name="connsiteX40" fmla="*/ 680657 w 910018"/>
                <a:gd name="connsiteY40" fmla="*/ 21431 h 791432"/>
                <a:gd name="connsiteX41" fmla="*/ 677704 w 910018"/>
                <a:gd name="connsiteY41" fmla="*/ 23431 h 791432"/>
                <a:gd name="connsiteX42" fmla="*/ 669417 w 910018"/>
                <a:gd name="connsiteY42" fmla="*/ 21241 h 791432"/>
                <a:gd name="connsiteX43" fmla="*/ 665131 w 910018"/>
                <a:gd name="connsiteY43" fmla="*/ 25051 h 791432"/>
                <a:gd name="connsiteX44" fmla="*/ 663512 w 910018"/>
                <a:gd name="connsiteY44" fmla="*/ 25241 h 791432"/>
                <a:gd name="connsiteX45" fmla="*/ 655415 w 910018"/>
                <a:gd name="connsiteY45" fmla="*/ 24670 h 791432"/>
                <a:gd name="connsiteX46" fmla="*/ 647795 w 910018"/>
                <a:gd name="connsiteY46" fmla="*/ 27242 h 791432"/>
                <a:gd name="connsiteX47" fmla="*/ 633794 w 910018"/>
                <a:gd name="connsiteY47" fmla="*/ 30575 h 791432"/>
                <a:gd name="connsiteX48" fmla="*/ 618744 w 910018"/>
                <a:gd name="connsiteY48" fmla="*/ 38957 h 791432"/>
                <a:gd name="connsiteX49" fmla="*/ 612458 w 910018"/>
                <a:gd name="connsiteY49" fmla="*/ 39719 h 791432"/>
                <a:gd name="connsiteX50" fmla="*/ 611124 w 910018"/>
                <a:gd name="connsiteY50" fmla="*/ 41529 h 791432"/>
                <a:gd name="connsiteX51" fmla="*/ 604361 w 910018"/>
                <a:gd name="connsiteY51" fmla="*/ 39148 h 791432"/>
                <a:gd name="connsiteX52" fmla="*/ 604742 w 910018"/>
                <a:gd name="connsiteY52" fmla="*/ 29527 h 791432"/>
                <a:gd name="connsiteX53" fmla="*/ 603313 w 910018"/>
                <a:gd name="connsiteY53" fmla="*/ 18478 h 791432"/>
                <a:gd name="connsiteX54" fmla="*/ 595979 w 910018"/>
                <a:gd name="connsiteY54" fmla="*/ 11335 h 791432"/>
                <a:gd name="connsiteX55" fmla="*/ 590074 w 910018"/>
                <a:gd name="connsiteY55" fmla="*/ 2476 h 791432"/>
                <a:gd name="connsiteX56" fmla="*/ 586930 w 910018"/>
                <a:gd name="connsiteY56" fmla="*/ 2857 h 791432"/>
                <a:gd name="connsiteX57" fmla="*/ 585692 w 910018"/>
                <a:gd name="connsiteY57" fmla="*/ 6286 h 791432"/>
                <a:gd name="connsiteX58" fmla="*/ 578644 w 910018"/>
                <a:gd name="connsiteY58" fmla="*/ 762 h 791432"/>
                <a:gd name="connsiteX59" fmla="*/ 572072 w 910018"/>
                <a:gd name="connsiteY59" fmla="*/ 0 h 791432"/>
                <a:gd name="connsiteX60" fmla="*/ 550069 w 910018"/>
                <a:gd name="connsiteY60" fmla="*/ 2762 h 791432"/>
                <a:gd name="connsiteX61" fmla="*/ 547116 w 910018"/>
                <a:gd name="connsiteY61" fmla="*/ 17621 h 791432"/>
                <a:gd name="connsiteX62" fmla="*/ 538829 w 910018"/>
                <a:gd name="connsiteY62" fmla="*/ 28289 h 791432"/>
                <a:gd name="connsiteX63" fmla="*/ 539210 w 910018"/>
                <a:gd name="connsiteY63" fmla="*/ 31432 h 791432"/>
                <a:gd name="connsiteX64" fmla="*/ 539687 w 910018"/>
                <a:gd name="connsiteY64" fmla="*/ 34576 h 791432"/>
                <a:gd name="connsiteX65" fmla="*/ 530352 w 910018"/>
                <a:gd name="connsiteY65" fmla="*/ 37338 h 791432"/>
                <a:gd name="connsiteX66" fmla="*/ 524828 w 910018"/>
                <a:gd name="connsiteY66" fmla="*/ 31623 h 791432"/>
                <a:gd name="connsiteX67" fmla="*/ 520255 w 910018"/>
                <a:gd name="connsiteY67" fmla="*/ 33814 h 791432"/>
                <a:gd name="connsiteX68" fmla="*/ 518351 w 910018"/>
                <a:gd name="connsiteY68" fmla="*/ 30861 h 791432"/>
                <a:gd name="connsiteX69" fmla="*/ 515207 w 910018"/>
                <a:gd name="connsiteY69" fmla="*/ 31242 h 791432"/>
                <a:gd name="connsiteX70" fmla="*/ 513017 w 910018"/>
                <a:gd name="connsiteY70" fmla="*/ 26765 h 791432"/>
                <a:gd name="connsiteX71" fmla="*/ 505111 w 910018"/>
                <a:gd name="connsiteY71" fmla="*/ 27718 h 791432"/>
                <a:gd name="connsiteX72" fmla="*/ 503111 w 910018"/>
                <a:gd name="connsiteY72" fmla="*/ 24765 h 791432"/>
                <a:gd name="connsiteX73" fmla="*/ 499586 w 910018"/>
                <a:gd name="connsiteY73" fmla="*/ 22003 h 791432"/>
                <a:gd name="connsiteX74" fmla="*/ 496443 w 910018"/>
                <a:gd name="connsiteY74" fmla="*/ 22479 h 791432"/>
                <a:gd name="connsiteX75" fmla="*/ 498348 w 910018"/>
                <a:gd name="connsiteY75" fmla="*/ 25432 h 791432"/>
                <a:gd name="connsiteX76" fmla="*/ 498824 w 910018"/>
                <a:gd name="connsiteY76" fmla="*/ 28575 h 791432"/>
                <a:gd name="connsiteX77" fmla="*/ 497777 w 910018"/>
                <a:gd name="connsiteY77" fmla="*/ 33528 h 791432"/>
                <a:gd name="connsiteX78" fmla="*/ 498253 w 910018"/>
                <a:gd name="connsiteY78" fmla="*/ 36671 h 791432"/>
                <a:gd name="connsiteX79" fmla="*/ 496634 w 910018"/>
                <a:gd name="connsiteY79" fmla="*/ 36862 h 791432"/>
                <a:gd name="connsiteX80" fmla="*/ 497396 w 910018"/>
                <a:gd name="connsiteY80" fmla="*/ 43148 h 791432"/>
                <a:gd name="connsiteX81" fmla="*/ 483680 w 910018"/>
                <a:gd name="connsiteY81" fmla="*/ 48101 h 791432"/>
                <a:gd name="connsiteX82" fmla="*/ 480060 w 910018"/>
                <a:gd name="connsiteY82" fmla="*/ 45339 h 791432"/>
                <a:gd name="connsiteX83" fmla="*/ 477488 w 910018"/>
                <a:gd name="connsiteY83" fmla="*/ 50482 h 791432"/>
                <a:gd name="connsiteX84" fmla="*/ 478155 w 910018"/>
                <a:gd name="connsiteY84" fmla="*/ 55245 h 791432"/>
                <a:gd name="connsiteX85" fmla="*/ 476917 w 910018"/>
                <a:gd name="connsiteY85" fmla="*/ 58579 h 791432"/>
                <a:gd name="connsiteX86" fmla="*/ 467868 w 910018"/>
                <a:gd name="connsiteY86" fmla="*/ 62960 h 791432"/>
                <a:gd name="connsiteX87" fmla="*/ 464915 w 910018"/>
                <a:gd name="connsiteY87" fmla="*/ 64960 h 791432"/>
                <a:gd name="connsiteX88" fmla="*/ 461391 w 910018"/>
                <a:gd name="connsiteY88" fmla="*/ 62198 h 791432"/>
                <a:gd name="connsiteX89" fmla="*/ 461772 w 910018"/>
                <a:gd name="connsiteY89" fmla="*/ 65342 h 791432"/>
                <a:gd name="connsiteX90" fmla="*/ 467678 w 910018"/>
                <a:gd name="connsiteY90" fmla="*/ 74200 h 791432"/>
                <a:gd name="connsiteX91" fmla="*/ 470249 w 910018"/>
                <a:gd name="connsiteY91" fmla="*/ 81915 h 791432"/>
                <a:gd name="connsiteX92" fmla="*/ 465963 w 910018"/>
                <a:gd name="connsiteY92" fmla="*/ 85630 h 791432"/>
                <a:gd name="connsiteX93" fmla="*/ 467773 w 910018"/>
                <a:gd name="connsiteY93" fmla="*/ 87058 h 791432"/>
                <a:gd name="connsiteX94" fmla="*/ 464820 w 910018"/>
                <a:gd name="connsiteY94" fmla="*/ 89059 h 791432"/>
                <a:gd name="connsiteX95" fmla="*/ 463582 w 910018"/>
                <a:gd name="connsiteY95" fmla="*/ 92392 h 791432"/>
                <a:gd name="connsiteX96" fmla="*/ 456152 w 910018"/>
                <a:gd name="connsiteY96" fmla="*/ 96583 h 791432"/>
                <a:gd name="connsiteX97" fmla="*/ 456343 w 910018"/>
                <a:gd name="connsiteY97" fmla="*/ 98107 h 791432"/>
                <a:gd name="connsiteX98" fmla="*/ 460058 w 910018"/>
                <a:gd name="connsiteY98" fmla="*/ 102489 h 791432"/>
                <a:gd name="connsiteX99" fmla="*/ 456152 w 910018"/>
                <a:gd name="connsiteY99" fmla="*/ 109347 h 791432"/>
                <a:gd name="connsiteX100" fmla="*/ 456724 w 910018"/>
                <a:gd name="connsiteY100" fmla="*/ 114109 h 791432"/>
                <a:gd name="connsiteX101" fmla="*/ 457200 w 910018"/>
                <a:gd name="connsiteY101" fmla="*/ 117253 h 791432"/>
                <a:gd name="connsiteX102" fmla="*/ 455581 w 910018"/>
                <a:gd name="connsiteY102" fmla="*/ 117443 h 791432"/>
                <a:gd name="connsiteX103" fmla="*/ 455962 w 910018"/>
                <a:gd name="connsiteY103" fmla="*/ 120586 h 791432"/>
                <a:gd name="connsiteX104" fmla="*/ 452819 w 910018"/>
                <a:gd name="connsiteY104" fmla="*/ 121063 h 791432"/>
                <a:gd name="connsiteX105" fmla="*/ 451009 w 910018"/>
                <a:gd name="connsiteY105" fmla="*/ 119634 h 791432"/>
                <a:gd name="connsiteX106" fmla="*/ 447866 w 910018"/>
                <a:gd name="connsiteY106" fmla="*/ 120015 h 791432"/>
                <a:gd name="connsiteX107" fmla="*/ 447675 w 910018"/>
                <a:gd name="connsiteY107" fmla="*/ 118491 h 791432"/>
                <a:gd name="connsiteX108" fmla="*/ 444532 w 910018"/>
                <a:gd name="connsiteY108" fmla="*/ 118872 h 791432"/>
                <a:gd name="connsiteX109" fmla="*/ 430721 w 910018"/>
                <a:gd name="connsiteY109" fmla="*/ 123825 h 791432"/>
                <a:gd name="connsiteX110" fmla="*/ 429387 w 910018"/>
                <a:gd name="connsiteY110" fmla="*/ 125635 h 791432"/>
                <a:gd name="connsiteX111" fmla="*/ 426149 w 910018"/>
                <a:gd name="connsiteY111" fmla="*/ 126016 h 791432"/>
                <a:gd name="connsiteX112" fmla="*/ 419100 w 910018"/>
                <a:gd name="connsiteY112" fmla="*/ 120491 h 791432"/>
                <a:gd name="connsiteX113" fmla="*/ 414338 w 910018"/>
                <a:gd name="connsiteY113" fmla="*/ 121158 h 791432"/>
                <a:gd name="connsiteX114" fmla="*/ 415766 w 910018"/>
                <a:gd name="connsiteY114" fmla="*/ 119348 h 791432"/>
                <a:gd name="connsiteX115" fmla="*/ 408813 w 910018"/>
                <a:gd name="connsiteY115" fmla="*/ 115443 h 791432"/>
                <a:gd name="connsiteX116" fmla="*/ 408622 w 910018"/>
                <a:gd name="connsiteY116" fmla="*/ 113824 h 791432"/>
                <a:gd name="connsiteX117" fmla="*/ 411194 w 910018"/>
                <a:gd name="connsiteY117" fmla="*/ 108680 h 791432"/>
                <a:gd name="connsiteX118" fmla="*/ 407956 w 910018"/>
                <a:gd name="connsiteY118" fmla="*/ 109061 h 791432"/>
                <a:gd name="connsiteX119" fmla="*/ 405860 w 910018"/>
                <a:gd name="connsiteY119" fmla="*/ 104584 h 791432"/>
                <a:gd name="connsiteX120" fmla="*/ 398907 w 910018"/>
                <a:gd name="connsiteY120" fmla="*/ 100584 h 791432"/>
                <a:gd name="connsiteX121" fmla="*/ 396335 w 910018"/>
                <a:gd name="connsiteY121" fmla="*/ 92964 h 791432"/>
                <a:gd name="connsiteX122" fmla="*/ 392239 w 910018"/>
                <a:gd name="connsiteY122" fmla="*/ 98298 h 791432"/>
                <a:gd name="connsiteX123" fmla="*/ 386810 w 910018"/>
                <a:gd name="connsiteY123" fmla="*/ 94107 h 791432"/>
                <a:gd name="connsiteX124" fmla="*/ 382334 w 910018"/>
                <a:gd name="connsiteY124" fmla="*/ 96298 h 791432"/>
                <a:gd name="connsiteX125" fmla="*/ 382905 w 910018"/>
                <a:gd name="connsiteY125" fmla="*/ 101060 h 791432"/>
                <a:gd name="connsiteX126" fmla="*/ 379952 w 910018"/>
                <a:gd name="connsiteY126" fmla="*/ 103060 h 791432"/>
                <a:gd name="connsiteX127" fmla="*/ 380619 w 910018"/>
                <a:gd name="connsiteY127" fmla="*/ 107728 h 791432"/>
                <a:gd name="connsiteX128" fmla="*/ 379190 w 910018"/>
                <a:gd name="connsiteY128" fmla="*/ 109538 h 791432"/>
                <a:gd name="connsiteX129" fmla="*/ 381762 w 910018"/>
                <a:gd name="connsiteY129" fmla="*/ 117253 h 791432"/>
                <a:gd name="connsiteX130" fmla="*/ 377476 w 910018"/>
                <a:gd name="connsiteY130" fmla="*/ 120967 h 791432"/>
                <a:gd name="connsiteX131" fmla="*/ 372523 w 910018"/>
                <a:gd name="connsiteY131" fmla="*/ 120015 h 791432"/>
                <a:gd name="connsiteX132" fmla="*/ 366141 w 910018"/>
                <a:gd name="connsiteY132" fmla="*/ 108013 h 791432"/>
                <a:gd name="connsiteX133" fmla="*/ 358712 w 910018"/>
                <a:gd name="connsiteY133" fmla="*/ 112204 h 791432"/>
                <a:gd name="connsiteX134" fmla="*/ 358521 w 910018"/>
                <a:gd name="connsiteY134" fmla="*/ 110585 h 791432"/>
                <a:gd name="connsiteX135" fmla="*/ 353759 w 910018"/>
                <a:gd name="connsiteY135" fmla="*/ 111157 h 791432"/>
                <a:gd name="connsiteX136" fmla="*/ 352520 w 910018"/>
                <a:gd name="connsiteY136" fmla="*/ 114586 h 791432"/>
                <a:gd name="connsiteX137" fmla="*/ 348805 w 910018"/>
                <a:gd name="connsiteY137" fmla="*/ 110204 h 791432"/>
                <a:gd name="connsiteX138" fmla="*/ 346043 w 910018"/>
                <a:gd name="connsiteY138" fmla="*/ 113728 h 791432"/>
                <a:gd name="connsiteX139" fmla="*/ 349568 w 910018"/>
                <a:gd name="connsiteY139" fmla="*/ 116491 h 791432"/>
                <a:gd name="connsiteX140" fmla="*/ 348425 w 910018"/>
                <a:gd name="connsiteY140" fmla="*/ 119920 h 791432"/>
                <a:gd name="connsiteX141" fmla="*/ 357378 w 910018"/>
                <a:gd name="connsiteY141" fmla="*/ 126778 h 791432"/>
                <a:gd name="connsiteX142" fmla="*/ 357950 w 910018"/>
                <a:gd name="connsiteY142" fmla="*/ 131540 h 791432"/>
                <a:gd name="connsiteX143" fmla="*/ 358140 w 910018"/>
                <a:gd name="connsiteY143" fmla="*/ 133064 h 791432"/>
                <a:gd name="connsiteX144" fmla="*/ 361855 w 910018"/>
                <a:gd name="connsiteY144" fmla="*/ 137446 h 791432"/>
                <a:gd name="connsiteX145" fmla="*/ 367189 w 910018"/>
                <a:gd name="connsiteY145" fmla="*/ 141542 h 791432"/>
                <a:gd name="connsiteX146" fmla="*/ 364236 w 910018"/>
                <a:gd name="connsiteY146" fmla="*/ 143542 h 791432"/>
                <a:gd name="connsiteX147" fmla="*/ 368237 w 910018"/>
                <a:gd name="connsiteY147" fmla="*/ 149447 h 791432"/>
                <a:gd name="connsiteX148" fmla="*/ 361379 w 910018"/>
                <a:gd name="connsiteY148" fmla="*/ 158305 h 791432"/>
                <a:gd name="connsiteX149" fmla="*/ 356616 w 910018"/>
                <a:gd name="connsiteY149" fmla="*/ 158972 h 791432"/>
                <a:gd name="connsiteX150" fmla="*/ 355854 w 910018"/>
                <a:gd name="connsiteY150" fmla="*/ 165449 h 791432"/>
                <a:gd name="connsiteX151" fmla="*/ 348329 w 910018"/>
                <a:gd name="connsiteY151" fmla="*/ 169640 h 791432"/>
                <a:gd name="connsiteX152" fmla="*/ 343471 w 910018"/>
                <a:gd name="connsiteY152" fmla="*/ 168592 h 791432"/>
                <a:gd name="connsiteX153" fmla="*/ 342043 w 910018"/>
                <a:gd name="connsiteY153" fmla="*/ 170402 h 791432"/>
                <a:gd name="connsiteX154" fmla="*/ 341662 w 910018"/>
                <a:gd name="connsiteY154" fmla="*/ 167259 h 791432"/>
                <a:gd name="connsiteX155" fmla="*/ 340424 w 910018"/>
                <a:gd name="connsiteY155" fmla="*/ 170593 h 791432"/>
                <a:gd name="connsiteX156" fmla="*/ 335566 w 910018"/>
                <a:gd name="connsiteY156" fmla="*/ 169640 h 791432"/>
                <a:gd name="connsiteX157" fmla="*/ 333946 w 910018"/>
                <a:gd name="connsiteY157" fmla="*/ 169831 h 791432"/>
                <a:gd name="connsiteX158" fmla="*/ 333756 w 910018"/>
                <a:gd name="connsiteY158" fmla="*/ 168211 h 791432"/>
                <a:gd name="connsiteX159" fmla="*/ 331946 w 910018"/>
                <a:gd name="connsiteY159" fmla="*/ 166878 h 791432"/>
                <a:gd name="connsiteX160" fmla="*/ 327660 w 910018"/>
                <a:gd name="connsiteY160" fmla="*/ 170688 h 791432"/>
                <a:gd name="connsiteX161" fmla="*/ 328803 w 910018"/>
                <a:gd name="connsiteY161" fmla="*/ 167259 h 791432"/>
                <a:gd name="connsiteX162" fmla="*/ 328422 w 910018"/>
                <a:gd name="connsiteY162" fmla="*/ 164116 h 791432"/>
                <a:gd name="connsiteX163" fmla="*/ 323088 w 910018"/>
                <a:gd name="connsiteY163" fmla="*/ 160020 h 791432"/>
                <a:gd name="connsiteX164" fmla="*/ 319754 w 910018"/>
                <a:gd name="connsiteY164" fmla="*/ 158782 h 791432"/>
                <a:gd name="connsiteX165" fmla="*/ 316802 w 910018"/>
                <a:gd name="connsiteY165" fmla="*/ 160782 h 791432"/>
                <a:gd name="connsiteX166" fmla="*/ 312039 w 910018"/>
                <a:gd name="connsiteY166" fmla="*/ 161449 h 791432"/>
                <a:gd name="connsiteX167" fmla="*/ 310229 w 910018"/>
                <a:gd name="connsiteY167" fmla="*/ 160020 h 791432"/>
                <a:gd name="connsiteX168" fmla="*/ 296418 w 910018"/>
                <a:gd name="connsiteY168" fmla="*/ 164973 h 791432"/>
                <a:gd name="connsiteX169" fmla="*/ 294513 w 910018"/>
                <a:gd name="connsiteY169" fmla="*/ 162020 h 791432"/>
                <a:gd name="connsiteX170" fmla="*/ 290132 w 910018"/>
                <a:gd name="connsiteY170" fmla="*/ 165830 h 791432"/>
                <a:gd name="connsiteX171" fmla="*/ 286988 w 910018"/>
                <a:gd name="connsiteY171" fmla="*/ 166211 h 791432"/>
                <a:gd name="connsiteX172" fmla="*/ 283083 w 910018"/>
                <a:gd name="connsiteY172" fmla="*/ 173069 h 791432"/>
                <a:gd name="connsiteX173" fmla="*/ 279654 w 910018"/>
                <a:gd name="connsiteY173" fmla="*/ 171926 h 791432"/>
                <a:gd name="connsiteX174" fmla="*/ 279463 w 910018"/>
                <a:gd name="connsiteY174" fmla="*/ 170402 h 791432"/>
                <a:gd name="connsiteX175" fmla="*/ 277273 w 910018"/>
                <a:gd name="connsiteY175" fmla="*/ 165830 h 791432"/>
                <a:gd name="connsiteX176" fmla="*/ 274320 w 910018"/>
                <a:gd name="connsiteY176" fmla="*/ 167830 h 791432"/>
                <a:gd name="connsiteX177" fmla="*/ 274606 w 910018"/>
                <a:gd name="connsiteY177" fmla="*/ 169354 h 791432"/>
                <a:gd name="connsiteX178" fmla="*/ 266224 w 910018"/>
                <a:gd name="connsiteY178" fmla="*/ 167259 h 791432"/>
                <a:gd name="connsiteX179" fmla="*/ 273177 w 910018"/>
                <a:gd name="connsiteY179" fmla="*/ 171164 h 791432"/>
                <a:gd name="connsiteX180" fmla="*/ 269081 w 910018"/>
                <a:gd name="connsiteY180" fmla="*/ 176498 h 791432"/>
                <a:gd name="connsiteX181" fmla="*/ 272225 w 910018"/>
                <a:gd name="connsiteY181" fmla="*/ 176117 h 791432"/>
                <a:gd name="connsiteX182" fmla="*/ 274225 w 910018"/>
                <a:gd name="connsiteY182" fmla="*/ 179070 h 791432"/>
                <a:gd name="connsiteX183" fmla="*/ 274034 w 910018"/>
                <a:gd name="connsiteY183" fmla="*/ 190309 h 791432"/>
                <a:gd name="connsiteX184" fmla="*/ 271272 w 910018"/>
                <a:gd name="connsiteY184" fmla="*/ 193834 h 791432"/>
                <a:gd name="connsiteX185" fmla="*/ 269462 w 910018"/>
                <a:gd name="connsiteY185" fmla="*/ 192500 h 791432"/>
                <a:gd name="connsiteX186" fmla="*/ 266510 w 910018"/>
                <a:gd name="connsiteY186" fmla="*/ 194500 h 791432"/>
                <a:gd name="connsiteX187" fmla="*/ 261176 w 910018"/>
                <a:gd name="connsiteY187" fmla="*/ 203168 h 791432"/>
                <a:gd name="connsiteX188" fmla="*/ 245840 w 910018"/>
                <a:gd name="connsiteY188" fmla="*/ 221171 h 791432"/>
                <a:gd name="connsiteX189" fmla="*/ 245650 w 910018"/>
                <a:gd name="connsiteY189" fmla="*/ 219551 h 791432"/>
                <a:gd name="connsiteX190" fmla="*/ 244507 w 910018"/>
                <a:gd name="connsiteY190" fmla="*/ 210121 h 791432"/>
                <a:gd name="connsiteX191" fmla="*/ 238887 w 910018"/>
                <a:gd name="connsiteY191" fmla="*/ 204406 h 791432"/>
                <a:gd name="connsiteX192" fmla="*/ 238887 w 910018"/>
                <a:gd name="connsiteY192" fmla="*/ 204406 h 791432"/>
                <a:gd name="connsiteX193" fmla="*/ 233172 w 910018"/>
                <a:gd name="connsiteY193" fmla="*/ 197072 h 791432"/>
                <a:gd name="connsiteX194" fmla="*/ 226695 w 910018"/>
                <a:gd name="connsiteY194" fmla="*/ 196310 h 791432"/>
                <a:gd name="connsiteX195" fmla="*/ 227838 w 910018"/>
                <a:gd name="connsiteY195" fmla="*/ 192976 h 791432"/>
                <a:gd name="connsiteX196" fmla="*/ 221552 w 910018"/>
                <a:gd name="connsiteY196" fmla="*/ 193834 h 791432"/>
                <a:gd name="connsiteX197" fmla="*/ 218218 w 910018"/>
                <a:gd name="connsiteY197" fmla="*/ 192596 h 791432"/>
                <a:gd name="connsiteX198" fmla="*/ 218408 w 910018"/>
                <a:gd name="connsiteY198" fmla="*/ 194215 h 791432"/>
                <a:gd name="connsiteX199" fmla="*/ 213455 w 910018"/>
                <a:gd name="connsiteY199" fmla="*/ 193262 h 791432"/>
                <a:gd name="connsiteX200" fmla="*/ 215646 w 910018"/>
                <a:gd name="connsiteY200" fmla="*/ 197739 h 791432"/>
                <a:gd name="connsiteX201" fmla="*/ 214217 w 910018"/>
                <a:gd name="connsiteY201" fmla="*/ 199549 h 791432"/>
                <a:gd name="connsiteX202" fmla="*/ 212027 w 910018"/>
                <a:gd name="connsiteY202" fmla="*/ 194977 h 791432"/>
                <a:gd name="connsiteX203" fmla="*/ 202597 w 910018"/>
                <a:gd name="connsiteY203" fmla="*/ 196215 h 791432"/>
                <a:gd name="connsiteX204" fmla="*/ 203549 w 910018"/>
                <a:gd name="connsiteY204" fmla="*/ 191262 h 791432"/>
                <a:gd name="connsiteX205" fmla="*/ 199835 w 910018"/>
                <a:gd name="connsiteY205" fmla="*/ 186976 h 791432"/>
                <a:gd name="connsiteX206" fmla="*/ 196882 w 910018"/>
                <a:gd name="connsiteY206" fmla="*/ 188881 h 791432"/>
                <a:gd name="connsiteX207" fmla="*/ 184976 w 910018"/>
                <a:gd name="connsiteY207" fmla="*/ 184023 h 791432"/>
                <a:gd name="connsiteX208" fmla="*/ 186214 w 910018"/>
                <a:gd name="connsiteY208" fmla="*/ 193453 h 791432"/>
                <a:gd name="connsiteX209" fmla="*/ 182880 w 910018"/>
                <a:gd name="connsiteY209" fmla="*/ 192310 h 791432"/>
                <a:gd name="connsiteX210" fmla="*/ 174974 w 910018"/>
                <a:gd name="connsiteY210" fmla="*/ 193262 h 791432"/>
                <a:gd name="connsiteX211" fmla="*/ 174593 w 910018"/>
                <a:gd name="connsiteY211" fmla="*/ 190119 h 791432"/>
                <a:gd name="connsiteX212" fmla="*/ 175355 w 910018"/>
                <a:gd name="connsiteY212" fmla="*/ 183642 h 791432"/>
                <a:gd name="connsiteX213" fmla="*/ 175546 w 910018"/>
                <a:gd name="connsiteY213" fmla="*/ 172402 h 791432"/>
                <a:gd name="connsiteX214" fmla="*/ 181261 w 910018"/>
                <a:gd name="connsiteY214" fmla="*/ 166878 h 791432"/>
                <a:gd name="connsiteX215" fmla="*/ 180975 w 910018"/>
                <a:gd name="connsiteY215" fmla="*/ 165259 h 791432"/>
                <a:gd name="connsiteX216" fmla="*/ 177832 w 910018"/>
                <a:gd name="connsiteY216" fmla="*/ 165640 h 791432"/>
                <a:gd name="connsiteX217" fmla="*/ 170307 w 910018"/>
                <a:gd name="connsiteY217" fmla="*/ 156972 h 791432"/>
                <a:gd name="connsiteX218" fmla="*/ 170307 w 910018"/>
                <a:gd name="connsiteY218" fmla="*/ 156972 h 791432"/>
                <a:gd name="connsiteX219" fmla="*/ 170783 w 910018"/>
                <a:gd name="connsiteY219" fmla="*/ 160210 h 791432"/>
                <a:gd name="connsiteX220" fmla="*/ 166021 w 910018"/>
                <a:gd name="connsiteY220" fmla="*/ 160782 h 791432"/>
                <a:gd name="connsiteX221" fmla="*/ 166211 w 910018"/>
                <a:gd name="connsiteY221" fmla="*/ 162306 h 791432"/>
                <a:gd name="connsiteX222" fmla="*/ 159925 w 910018"/>
                <a:gd name="connsiteY222" fmla="*/ 163163 h 791432"/>
                <a:gd name="connsiteX223" fmla="*/ 159353 w 910018"/>
                <a:gd name="connsiteY223" fmla="*/ 171259 h 791432"/>
                <a:gd name="connsiteX224" fmla="*/ 156401 w 910018"/>
                <a:gd name="connsiteY224" fmla="*/ 173260 h 791432"/>
                <a:gd name="connsiteX225" fmla="*/ 157925 w 910018"/>
                <a:gd name="connsiteY225" fmla="*/ 172974 h 791432"/>
                <a:gd name="connsiteX226" fmla="*/ 156782 w 910018"/>
                <a:gd name="connsiteY226" fmla="*/ 176403 h 791432"/>
                <a:gd name="connsiteX227" fmla="*/ 154972 w 910018"/>
                <a:gd name="connsiteY227" fmla="*/ 174974 h 791432"/>
                <a:gd name="connsiteX228" fmla="*/ 152210 w 910018"/>
                <a:gd name="connsiteY228" fmla="*/ 178594 h 791432"/>
                <a:gd name="connsiteX229" fmla="*/ 152400 w 910018"/>
                <a:gd name="connsiteY229" fmla="*/ 180118 h 791432"/>
                <a:gd name="connsiteX230" fmla="*/ 151257 w 910018"/>
                <a:gd name="connsiteY230" fmla="*/ 183451 h 791432"/>
                <a:gd name="connsiteX231" fmla="*/ 146495 w 910018"/>
                <a:gd name="connsiteY231" fmla="*/ 184118 h 791432"/>
                <a:gd name="connsiteX232" fmla="*/ 147542 w 910018"/>
                <a:gd name="connsiteY232" fmla="*/ 192024 h 791432"/>
                <a:gd name="connsiteX233" fmla="*/ 145733 w 910018"/>
                <a:gd name="connsiteY233" fmla="*/ 190595 h 791432"/>
                <a:gd name="connsiteX234" fmla="*/ 146399 w 910018"/>
                <a:gd name="connsiteY234" fmla="*/ 195358 h 791432"/>
                <a:gd name="connsiteX235" fmla="*/ 146971 w 910018"/>
                <a:gd name="connsiteY235" fmla="*/ 200120 h 791432"/>
                <a:gd name="connsiteX236" fmla="*/ 149543 w 910018"/>
                <a:gd name="connsiteY236" fmla="*/ 207740 h 791432"/>
                <a:gd name="connsiteX237" fmla="*/ 153543 w 910018"/>
                <a:gd name="connsiteY237" fmla="*/ 213646 h 791432"/>
                <a:gd name="connsiteX238" fmla="*/ 152495 w 910018"/>
                <a:gd name="connsiteY238" fmla="*/ 218599 h 791432"/>
                <a:gd name="connsiteX239" fmla="*/ 159258 w 910018"/>
                <a:gd name="connsiteY239" fmla="*/ 220980 h 791432"/>
                <a:gd name="connsiteX240" fmla="*/ 159449 w 910018"/>
                <a:gd name="connsiteY240" fmla="*/ 222504 h 791432"/>
                <a:gd name="connsiteX241" fmla="*/ 162020 w 910018"/>
                <a:gd name="connsiteY241" fmla="*/ 230219 h 791432"/>
                <a:gd name="connsiteX242" fmla="*/ 160496 w 910018"/>
                <a:gd name="connsiteY242" fmla="*/ 230410 h 791432"/>
                <a:gd name="connsiteX243" fmla="*/ 163068 w 910018"/>
                <a:gd name="connsiteY243" fmla="*/ 238125 h 791432"/>
                <a:gd name="connsiteX244" fmla="*/ 156686 w 910018"/>
                <a:gd name="connsiteY244" fmla="*/ 238887 h 791432"/>
                <a:gd name="connsiteX245" fmla="*/ 155162 w 910018"/>
                <a:gd name="connsiteY245" fmla="*/ 239173 h 791432"/>
                <a:gd name="connsiteX246" fmla="*/ 152019 w 910018"/>
                <a:gd name="connsiteY246" fmla="*/ 239554 h 791432"/>
                <a:gd name="connsiteX247" fmla="*/ 148304 w 910018"/>
                <a:gd name="connsiteY247" fmla="*/ 248031 h 791432"/>
                <a:gd name="connsiteX248" fmla="*/ 143351 w 910018"/>
                <a:gd name="connsiteY248" fmla="*/ 247078 h 791432"/>
                <a:gd name="connsiteX249" fmla="*/ 143732 w 910018"/>
                <a:gd name="connsiteY249" fmla="*/ 250222 h 791432"/>
                <a:gd name="connsiteX250" fmla="*/ 137636 w 910018"/>
                <a:gd name="connsiteY250" fmla="*/ 252603 h 791432"/>
                <a:gd name="connsiteX251" fmla="*/ 135636 w 910018"/>
                <a:gd name="connsiteY251" fmla="*/ 249650 h 791432"/>
                <a:gd name="connsiteX252" fmla="*/ 132874 w 910018"/>
                <a:gd name="connsiteY252" fmla="*/ 266033 h 791432"/>
                <a:gd name="connsiteX253" fmla="*/ 131350 w 910018"/>
                <a:gd name="connsiteY253" fmla="*/ 266224 h 791432"/>
                <a:gd name="connsiteX254" fmla="*/ 130207 w 910018"/>
                <a:gd name="connsiteY254" fmla="*/ 269557 h 791432"/>
                <a:gd name="connsiteX255" fmla="*/ 126968 w 910018"/>
                <a:gd name="connsiteY255" fmla="*/ 269938 h 791432"/>
                <a:gd name="connsiteX256" fmla="*/ 128969 w 910018"/>
                <a:gd name="connsiteY256" fmla="*/ 272891 h 791432"/>
                <a:gd name="connsiteX257" fmla="*/ 125825 w 910018"/>
                <a:gd name="connsiteY257" fmla="*/ 273367 h 791432"/>
                <a:gd name="connsiteX258" fmla="*/ 124682 w 910018"/>
                <a:gd name="connsiteY258" fmla="*/ 276701 h 791432"/>
                <a:gd name="connsiteX259" fmla="*/ 120301 w 910018"/>
                <a:gd name="connsiteY259" fmla="*/ 280416 h 791432"/>
                <a:gd name="connsiteX260" fmla="*/ 119158 w 910018"/>
                <a:gd name="connsiteY260" fmla="*/ 283845 h 791432"/>
                <a:gd name="connsiteX261" fmla="*/ 120968 w 910018"/>
                <a:gd name="connsiteY261" fmla="*/ 285178 h 791432"/>
                <a:gd name="connsiteX262" fmla="*/ 119539 w 910018"/>
                <a:gd name="connsiteY262" fmla="*/ 286988 h 791432"/>
                <a:gd name="connsiteX263" fmla="*/ 110680 w 910018"/>
                <a:gd name="connsiteY263" fmla="*/ 292894 h 791432"/>
                <a:gd name="connsiteX264" fmla="*/ 107347 w 910018"/>
                <a:gd name="connsiteY264" fmla="*/ 291751 h 791432"/>
                <a:gd name="connsiteX265" fmla="*/ 106109 w 910018"/>
                <a:gd name="connsiteY265" fmla="*/ 295084 h 791432"/>
                <a:gd name="connsiteX266" fmla="*/ 97250 w 910018"/>
                <a:gd name="connsiteY266" fmla="*/ 288226 h 791432"/>
                <a:gd name="connsiteX267" fmla="*/ 95917 w 910018"/>
                <a:gd name="connsiteY267" fmla="*/ 289941 h 791432"/>
                <a:gd name="connsiteX268" fmla="*/ 93726 w 910018"/>
                <a:gd name="connsiteY268" fmla="*/ 285464 h 791432"/>
                <a:gd name="connsiteX269" fmla="*/ 92678 w 910018"/>
                <a:gd name="connsiteY269" fmla="*/ 290417 h 791432"/>
                <a:gd name="connsiteX270" fmla="*/ 88202 w 910018"/>
                <a:gd name="connsiteY270" fmla="*/ 292608 h 791432"/>
                <a:gd name="connsiteX271" fmla="*/ 85249 w 910018"/>
                <a:gd name="connsiteY271" fmla="*/ 294513 h 791432"/>
                <a:gd name="connsiteX272" fmla="*/ 76771 w 910018"/>
                <a:gd name="connsiteY272" fmla="*/ 290798 h 791432"/>
                <a:gd name="connsiteX273" fmla="*/ 75343 w 910018"/>
                <a:gd name="connsiteY273" fmla="*/ 292608 h 791432"/>
                <a:gd name="connsiteX274" fmla="*/ 70866 w 910018"/>
                <a:gd name="connsiteY274" fmla="*/ 294799 h 791432"/>
                <a:gd name="connsiteX275" fmla="*/ 66104 w 910018"/>
                <a:gd name="connsiteY275" fmla="*/ 295370 h 791432"/>
                <a:gd name="connsiteX276" fmla="*/ 65151 w 910018"/>
                <a:gd name="connsiteY276" fmla="*/ 300323 h 791432"/>
                <a:gd name="connsiteX277" fmla="*/ 63722 w 910018"/>
                <a:gd name="connsiteY277" fmla="*/ 302133 h 791432"/>
                <a:gd name="connsiteX278" fmla="*/ 56864 w 910018"/>
                <a:gd name="connsiteY278" fmla="*/ 298132 h 791432"/>
                <a:gd name="connsiteX279" fmla="*/ 54483 w 910018"/>
                <a:gd name="connsiteY279" fmla="*/ 292036 h 791432"/>
                <a:gd name="connsiteX280" fmla="*/ 51245 w 910018"/>
                <a:gd name="connsiteY280" fmla="*/ 292417 h 791432"/>
                <a:gd name="connsiteX281" fmla="*/ 48292 w 910018"/>
                <a:gd name="connsiteY281" fmla="*/ 294418 h 791432"/>
                <a:gd name="connsiteX282" fmla="*/ 53912 w 910018"/>
                <a:gd name="connsiteY282" fmla="*/ 300133 h 791432"/>
                <a:gd name="connsiteX283" fmla="*/ 49339 w 910018"/>
                <a:gd name="connsiteY283" fmla="*/ 302323 h 791432"/>
                <a:gd name="connsiteX284" fmla="*/ 44577 w 910018"/>
                <a:gd name="connsiteY284" fmla="*/ 302895 h 791432"/>
                <a:gd name="connsiteX285" fmla="*/ 40291 w 910018"/>
                <a:gd name="connsiteY285" fmla="*/ 306705 h 791432"/>
                <a:gd name="connsiteX286" fmla="*/ 41053 w 910018"/>
                <a:gd name="connsiteY286" fmla="*/ 312992 h 791432"/>
                <a:gd name="connsiteX287" fmla="*/ 42672 w 910018"/>
                <a:gd name="connsiteY287" fmla="*/ 312801 h 791432"/>
                <a:gd name="connsiteX288" fmla="*/ 42101 w 910018"/>
                <a:gd name="connsiteY288" fmla="*/ 320897 h 791432"/>
                <a:gd name="connsiteX289" fmla="*/ 39529 w 910018"/>
                <a:gd name="connsiteY289" fmla="*/ 326041 h 791432"/>
                <a:gd name="connsiteX290" fmla="*/ 39338 w 910018"/>
                <a:gd name="connsiteY290" fmla="*/ 324421 h 791432"/>
                <a:gd name="connsiteX291" fmla="*/ 37719 w 910018"/>
                <a:gd name="connsiteY291" fmla="*/ 324612 h 791432"/>
                <a:gd name="connsiteX292" fmla="*/ 37910 w 910018"/>
                <a:gd name="connsiteY292" fmla="*/ 326231 h 791432"/>
                <a:gd name="connsiteX293" fmla="*/ 36004 w 910018"/>
                <a:gd name="connsiteY293" fmla="*/ 323278 h 791432"/>
                <a:gd name="connsiteX294" fmla="*/ 32576 w 910018"/>
                <a:gd name="connsiteY294" fmla="*/ 322135 h 791432"/>
                <a:gd name="connsiteX295" fmla="*/ 30671 w 910018"/>
                <a:gd name="connsiteY295" fmla="*/ 319183 h 791432"/>
                <a:gd name="connsiteX296" fmla="*/ 27242 w 910018"/>
                <a:gd name="connsiteY296" fmla="*/ 317944 h 791432"/>
                <a:gd name="connsiteX297" fmla="*/ 23336 w 910018"/>
                <a:gd name="connsiteY297" fmla="*/ 324898 h 791432"/>
                <a:gd name="connsiteX298" fmla="*/ 23527 w 910018"/>
                <a:gd name="connsiteY298" fmla="*/ 326422 h 791432"/>
                <a:gd name="connsiteX299" fmla="*/ 21622 w 910018"/>
                <a:gd name="connsiteY299" fmla="*/ 336328 h 791432"/>
                <a:gd name="connsiteX300" fmla="*/ 17050 w 910018"/>
                <a:gd name="connsiteY300" fmla="*/ 338518 h 791432"/>
                <a:gd name="connsiteX301" fmla="*/ 14478 w 910018"/>
                <a:gd name="connsiteY301" fmla="*/ 343662 h 791432"/>
                <a:gd name="connsiteX302" fmla="*/ 8572 w 910018"/>
                <a:gd name="connsiteY302" fmla="*/ 347567 h 791432"/>
                <a:gd name="connsiteX303" fmla="*/ 7811 w 910018"/>
                <a:gd name="connsiteY303" fmla="*/ 354139 h 791432"/>
                <a:gd name="connsiteX304" fmla="*/ 12954 w 910018"/>
                <a:gd name="connsiteY304" fmla="*/ 356711 h 791432"/>
                <a:gd name="connsiteX305" fmla="*/ 15145 w 910018"/>
                <a:gd name="connsiteY305" fmla="*/ 361188 h 791432"/>
                <a:gd name="connsiteX306" fmla="*/ 18860 w 910018"/>
                <a:gd name="connsiteY306" fmla="*/ 365569 h 791432"/>
                <a:gd name="connsiteX307" fmla="*/ 19907 w 910018"/>
                <a:gd name="connsiteY307" fmla="*/ 373475 h 791432"/>
                <a:gd name="connsiteX308" fmla="*/ 13621 w 910018"/>
                <a:gd name="connsiteY308" fmla="*/ 387096 h 791432"/>
                <a:gd name="connsiteX309" fmla="*/ 18955 w 910018"/>
                <a:gd name="connsiteY309" fmla="*/ 391192 h 791432"/>
                <a:gd name="connsiteX310" fmla="*/ 23146 w 910018"/>
                <a:gd name="connsiteY310" fmla="*/ 398717 h 791432"/>
                <a:gd name="connsiteX311" fmla="*/ 26099 w 910018"/>
                <a:gd name="connsiteY311" fmla="*/ 409575 h 791432"/>
                <a:gd name="connsiteX312" fmla="*/ 29432 w 910018"/>
                <a:gd name="connsiteY312" fmla="*/ 410718 h 791432"/>
                <a:gd name="connsiteX313" fmla="*/ 31242 w 910018"/>
                <a:gd name="connsiteY313" fmla="*/ 412051 h 791432"/>
                <a:gd name="connsiteX314" fmla="*/ 32861 w 910018"/>
                <a:gd name="connsiteY314" fmla="*/ 411861 h 791432"/>
                <a:gd name="connsiteX315" fmla="*/ 35052 w 910018"/>
                <a:gd name="connsiteY315" fmla="*/ 416433 h 791432"/>
                <a:gd name="connsiteX316" fmla="*/ 29337 w 910018"/>
                <a:gd name="connsiteY316" fmla="*/ 421957 h 791432"/>
                <a:gd name="connsiteX317" fmla="*/ 27527 w 910018"/>
                <a:gd name="connsiteY317" fmla="*/ 420529 h 791432"/>
                <a:gd name="connsiteX318" fmla="*/ 26765 w 910018"/>
                <a:gd name="connsiteY318" fmla="*/ 427101 h 791432"/>
                <a:gd name="connsiteX319" fmla="*/ 22574 w 910018"/>
                <a:gd name="connsiteY319" fmla="*/ 432435 h 791432"/>
                <a:gd name="connsiteX320" fmla="*/ 27908 w 910018"/>
                <a:gd name="connsiteY320" fmla="*/ 436531 h 791432"/>
                <a:gd name="connsiteX321" fmla="*/ 27337 w 910018"/>
                <a:gd name="connsiteY321" fmla="*/ 431863 h 791432"/>
                <a:gd name="connsiteX322" fmla="*/ 38386 w 910018"/>
                <a:gd name="connsiteY322" fmla="*/ 430435 h 791432"/>
                <a:gd name="connsiteX323" fmla="*/ 40196 w 910018"/>
                <a:gd name="connsiteY323" fmla="*/ 431768 h 791432"/>
                <a:gd name="connsiteX324" fmla="*/ 43339 w 910018"/>
                <a:gd name="connsiteY324" fmla="*/ 431387 h 791432"/>
                <a:gd name="connsiteX325" fmla="*/ 46863 w 910018"/>
                <a:gd name="connsiteY325" fmla="*/ 434150 h 791432"/>
                <a:gd name="connsiteX326" fmla="*/ 51435 w 910018"/>
                <a:gd name="connsiteY326" fmla="*/ 431959 h 791432"/>
                <a:gd name="connsiteX327" fmla="*/ 56579 w 910018"/>
                <a:gd name="connsiteY327" fmla="*/ 421672 h 791432"/>
                <a:gd name="connsiteX328" fmla="*/ 58103 w 910018"/>
                <a:gd name="connsiteY328" fmla="*/ 421481 h 791432"/>
                <a:gd name="connsiteX329" fmla="*/ 62103 w 910018"/>
                <a:gd name="connsiteY329" fmla="*/ 427387 h 791432"/>
                <a:gd name="connsiteX330" fmla="*/ 58769 w 910018"/>
                <a:gd name="connsiteY330" fmla="*/ 439007 h 791432"/>
                <a:gd name="connsiteX331" fmla="*/ 57531 w 910018"/>
                <a:gd name="connsiteY331" fmla="*/ 442436 h 791432"/>
                <a:gd name="connsiteX332" fmla="*/ 59531 w 910018"/>
                <a:gd name="connsiteY332" fmla="*/ 445389 h 791432"/>
                <a:gd name="connsiteX333" fmla="*/ 58007 w 910018"/>
                <a:gd name="connsiteY333" fmla="*/ 445580 h 791432"/>
                <a:gd name="connsiteX334" fmla="*/ 59912 w 910018"/>
                <a:gd name="connsiteY334" fmla="*/ 448532 h 791432"/>
                <a:gd name="connsiteX335" fmla="*/ 55436 w 910018"/>
                <a:gd name="connsiteY335" fmla="*/ 450723 h 791432"/>
                <a:gd name="connsiteX336" fmla="*/ 51911 w 910018"/>
                <a:gd name="connsiteY336" fmla="*/ 473583 h 791432"/>
                <a:gd name="connsiteX337" fmla="*/ 46958 w 910018"/>
                <a:gd name="connsiteY337" fmla="*/ 472630 h 791432"/>
                <a:gd name="connsiteX338" fmla="*/ 45625 w 910018"/>
                <a:gd name="connsiteY338" fmla="*/ 474440 h 791432"/>
                <a:gd name="connsiteX339" fmla="*/ 42291 w 910018"/>
                <a:gd name="connsiteY339" fmla="*/ 473202 h 791432"/>
                <a:gd name="connsiteX340" fmla="*/ 41053 w 910018"/>
                <a:gd name="connsiteY340" fmla="*/ 476536 h 791432"/>
                <a:gd name="connsiteX341" fmla="*/ 39910 w 910018"/>
                <a:gd name="connsiteY341" fmla="*/ 479965 h 791432"/>
                <a:gd name="connsiteX342" fmla="*/ 36767 w 910018"/>
                <a:gd name="connsiteY342" fmla="*/ 480346 h 791432"/>
                <a:gd name="connsiteX343" fmla="*/ 34957 w 910018"/>
                <a:gd name="connsiteY343" fmla="*/ 478917 h 791432"/>
                <a:gd name="connsiteX344" fmla="*/ 28480 w 910018"/>
                <a:gd name="connsiteY344" fmla="*/ 478155 h 791432"/>
                <a:gd name="connsiteX345" fmla="*/ 23908 w 910018"/>
                <a:gd name="connsiteY345" fmla="*/ 480346 h 791432"/>
                <a:gd name="connsiteX346" fmla="*/ 23527 w 910018"/>
                <a:gd name="connsiteY346" fmla="*/ 490061 h 791432"/>
                <a:gd name="connsiteX347" fmla="*/ 20574 w 910018"/>
                <a:gd name="connsiteY347" fmla="*/ 504825 h 791432"/>
                <a:gd name="connsiteX348" fmla="*/ 19050 w 910018"/>
                <a:gd name="connsiteY348" fmla="*/ 505015 h 791432"/>
                <a:gd name="connsiteX349" fmla="*/ 20003 w 910018"/>
                <a:gd name="connsiteY349" fmla="*/ 512921 h 791432"/>
                <a:gd name="connsiteX350" fmla="*/ 15716 w 910018"/>
                <a:gd name="connsiteY350" fmla="*/ 516731 h 791432"/>
                <a:gd name="connsiteX351" fmla="*/ 12383 w 910018"/>
                <a:gd name="connsiteY351" fmla="*/ 515493 h 791432"/>
                <a:gd name="connsiteX352" fmla="*/ 857 w 910018"/>
                <a:gd name="connsiteY352" fmla="*/ 513778 h 791432"/>
                <a:gd name="connsiteX353" fmla="*/ 3143 w 910018"/>
                <a:gd name="connsiteY353" fmla="*/ 531114 h 791432"/>
                <a:gd name="connsiteX354" fmla="*/ 4477 w 910018"/>
                <a:gd name="connsiteY354" fmla="*/ 529400 h 791432"/>
                <a:gd name="connsiteX355" fmla="*/ 6668 w 910018"/>
                <a:gd name="connsiteY355" fmla="*/ 533876 h 791432"/>
                <a:gd name="connsiteX356" fmla="*/ 5905 w 910018"/>
                <a:gd name="connsiteY356" fmla="*/ 540353 h 791432"/>
                <a:gd name="connsiteX357" fmla="*/ 0 w 910018"/>
                <a:gd name="connsiteY357" fmla="*/ 544354 h 791432"/>
                <a:gd name="connsiteX358" fmla="*/ 16383 w 910018"/>
                <a:gd name="connsiteY358" fmla="*/ 547116 h 791432"/>
                <a:gd name="connsiteX359" fmla="*/ 20860 w 910018"/>
                <a:gd name="connsiteY359" fmla="*/ 544925 h 791432"/>
                <a:gd name="connsiteX360" fmla="*/ 24479 w 910018"/>
                <a:gd name="connsiteY360" fmla="*/ 547688 h 791432"/>
                <a:gd name="connsiteX361" fmla="*/ 28385 w 910018"/>
                <a:gd name="connsiteY361" fmla="*/ 540734 h 791432"/>
                <a:gd name="connsiteX362" fmla="*/ 31528 w 910018"/>
                <a:gd name="connsiteY362" fmla="*/ 540353 h 791432"/>
                <a:gd name="connsiteX363" fmla="*/ 34480 w 910018"/>
                <a:gd name="connsiteY363" fmla="*/ 538353 h 791432"/>
                <a:gd name="connsiteX364" fmla="*/ 37910 w 910018"/>
                <a:gd name="connsiteY364" fmla="*/ 539496 h 791432"/>
                <a:gd name="connsiteX365" fmla="*/ 42386 w 910018"/>
                <a:gd name="connsiteY365" fmla="*/ 537401 h 791432"/>
                <a:gd name="connsiteX366" fmla="*/ 53245 w 910018"/>
                <a:gd name="connsiteY366" fmla="*/ 534352 h 791432"/>
                <a:gd name="connsiteX367" fmla="*/ 63532 w 910018"/>
                <a:gd name="connsiteY367" fmla="*/ 526637 h 791432"/>
                <a:gd name="connsiteX368" fmla="*/ 71533 w 910018"/>
                <a:gd name="connsiteY368" fmla="*/ 527209 h 791432"/>
                <a:gd name="connsiteX369" fmla="*/ 73343 w 910018"/>
                <a:gd name="connsiteY369" fmla="*/ 528638 h 791432"/>
                <a:gd name="connsiteX370" fmla="*/ 76962 w 910018"/>
                <a:gd name="connsiteY370" fmla="*/ 544163 h 791432"/>
                <a:gd name="connsiteX371" fmla="*/ 81915 w 910018"/>
                <a:gd name="connsiteY371" fmla="*/ 545116 h 791432"/>
                <a:gd name="connsiteX372" fmla="*/ 83820 w 910018"/>
                <a:gd name="connsiteY372" fmla="*/ 548068 h 791432"/>
                <a:gd name="connsiteX373" fmla="*/ 84487 w 910018"/>
                <a:gd name="connsiteY373" fmla="*/ 552831 h 791432"/>
                <a:gd name="connsiteX374" fmla="*/ 86678 w 910018"/>
                <a:gd name="connsiteY374" fmla="*/ 557403 h 791432"/>
                <a:gd name="connsiteX375" fmla="*/ 86296 w 910018"/>
                <a:gd name="connsiteY375" fmla="*/ 567023 h 791432"/>
                <a:gd name="connsiteX376" fmla="*/ 85344 w 910018"/>
                <a:gd name="connsiteY376" fmla="*/ 571976 h 791432"/>
                <a:gd name="connsiteX377" fmla="*/ 81153 w 910018"/>
                <a:gd name="connsiteY377" fmla="*/ 577310 h 791432"/>
                <a:gd name="connsiteX378" fmla="*/ 81534 w 910018"/>
                <a:gd name="connsiteY378" fmla="*/ 580453 h 791432"/>
                <a:gd name="connsiteX379" fmla="*/ 79248 w 910018"/>
                <a:gd name="connsiteY379" fmla="*/ 587216 h 791432"/>
                <a:gd name="connsiteX380" fmla="*/ 78010 w 910018"/>
                <a:gd name="connsiteY380" fmla="*/ 590550 h 791432"/>
                <a:gd name="connsiteX381" fmla="*/ 80010 w 910018"/>
                <a:gd name="connsiteY381" fmla="*/ 593503 h 791432"/>
                <a:gd name="connsiteX382" fmla="*/ 82963 w 910018"/>
                <a:gd name="connsiteY382" fmla="*/ 591502 h 791432"/>
                <a:gd name="connsiteX383" fmla="*/ 85344 w 910018"/>
                <a:gd name="connsiteY383" fmla="*/ 584835 h 791432"/>
                <a:gd name="connsiteX384" fmla="*/ 101537 w 910018"/>
                <a:gd name="connsiteY384" fmla="*/ 585978 h 791432"/>
                <a:gd name="connsiteX385" fmla="*/ 102679 w 910018"/>
                <a:gd name="connsiteY385" fmla="*/ 595408 h 791432"/>
                <a:gd name="connsiteX386" fmla="*/ 104299 w 910018"/>
                <a:gd name="connsiteY386" fmla="*/ 595217 h 791432"/>
                <a:gd name="connsiteX387" fmla="*/ 108585 w 910018"/>
                <a:gd name="connsiteY387" fmla="*/ 591502 h 791432"/>
                <a:gd name="connsiteX388" fmla="*/ 113538 w 910018"/>
                <a:gd name="connsiteY388" fmla="*/ 592455 h 791432"/>
                <a:gd name="connsiteX389" fmla="*/ 115919 w 910018"/>
                <a:gd name="connsiteY389" fmla="*/ 598551 h 791432"/>
                <a:gd name="connsiteX390" fmla="*/ 119539 w 910018"/>
                <a:gd name="connsiteY390" fmla="*/ 601313 h 791432"/>
                <a:gd name="connsiteX391" fmla="*/ 119539 w 910018"/>
                <a:gd name="connsiteY391" fmla="*/ 614172 h 791432"/>
                <a:gd name="connsiteX392" fmla="*/ 124301 w 910018"/>
                <a:gd name="connsiteY392" fmla="*/ 613505 h 791432"/>
                <a:gd name="connsiteX393" fmla="*/ 127063 w 910018"/>
                <a:gd name="connsiteY393" fmla="*/ 609981 h 791432"/>
                <a:gd name="connsiteX394" fmla="*/ 130588 w 910018"/>
                <a:gd name="connsiteY394" fmla="*/ 612743 h 791432"/>
                <a:gd name="connsiteX395" fmla="*/ 130397 w 910018"/>
                <a:gd name="connsiteY395" fmla="*/ 611124 h 791432"/>
                <a:gd name="connsiteX396" fmla="*/ 136874 w 910018"/>
                <a:gd name="connsiteY396" fmla="*/ 611886 h 791432"/>
                <a:gd name="connsiteX397" fmla="*/ 138303 w 910018"/>
                <a:gd name="connsiteY397" fmla="*/ 610172 h 791432"/>
                <a:gd name="connsiteX398" fmla="*/ 139827 w 910018"/>
                <a:gd name="connsiteY398" fmla="*/ 609981 h 791432"/>
                <a:gd name="connsiteX399" fmla="*/ 143256 w 910018"/>
                <a:gd name="connsiteY399" fmla="*/ 611124 h 791432"/>
                <a:gd name="connsiteX400" fmla="*/ 145352 w 910018"/>
                <a:gd name="connsiteY400" fmla="*/ 615601 h 791432"/>
                <a:gd name="connsiteX401" fmla="*/ 151733 w 910018"/>
                <a:gd name="connsiteY401" fmla="*/ 614839 h 791432"/>
                <a:gd name="connsiteX402" fmla="*/ 155067 w 910018"/>
                <a:gd name="connsiteY402" fmla="*/ 615982 h 791432"/>
                <a:gd name="connsiteX403" fmla="*/ 162592 w 910018"/>
                <a:gd name="connsiteY403" fmla="*/ 611886 h 791432"/>
                <a:gd name="connsiteX404" fmla="*/ 167926 w 910018"/>
                <a:gd name="connsiteY404" fmla="*/ 615982 h 791432"/>
                <a:gd name="connsiteX405" fmla="*/ 166688 w 910018"/>
                <a:gd name="connsiteY405" fmla="*/ 619315 h 791432"/>
                <a:gd name="connsiteX406" fmla="*/ 173641 w 910018"/>
                <a:gd name="connsiteY406" fmla="*/ 623316 h 791432"/>
                <a:gd name="connsiteX407" fmla="*/ 174784 w 910018"/>
                <a:gd name="connsiteY407" fmla="*/ 619887 h 791432"/>
                <a:gd name="connsiteX408" fmla="*/ 180118 w 910018"/>
                <a:gd name="connsiteY408" fmla="*/ 624078 h 791432"/>
                <a:gd name="connsiteX409" fmla="*/ 178022 w 910018"/>
                <a:gd name="connsiteY409" fmla="*/ 632365 h 791432"/>
                <a:gd name="connsiteX410" fmla="*/ 179927 w 910018"/>
                <a:gd name="connsiteY410" fmla="*/ 635318 h 791432"/>
                <a:gd name="connsiteX411" fmla="*/ 178784 w 910018"/>
                <a:gd name="connsiteY411" fmla="*/ 638651 h 791432"/>
                <a:gd name="connsiteX412" fmla="*/ 179165 w 910018"/>
                <a:gd name="connsiteY412" fmla="*/ 641794 h 791432"/>
                <a:gd name="connsiteX413" fmla="*/ 175070 w 910018"/>
                <a:gd name="connsiteY413" fmla="*/ 647128 h 791432"/>
                <a:gd name="connsiteX414" fmla="*/ 176879 w 910018"/>
                <a:gd name="connsiteY414" fmla="*/ 648557 h 791432"/>
                <a:gd name="connsiteX415" fmla="*/ 175641 w 910018"/>
                <a:gd name="connsiteY415" fmla="*/ 651891 h 791432"/>
                <a:gd name="connsiteX416" fmla="*/ 175832 w 910018"/>
                <a:gd name="connsiteY416" fmla="*/ 653415 h 791432"/>
                <a:gd name="connsiteX417" fmla="*/ 177641 w 910018"/>
                <a:gd name="connsiteY417" fmla="*/ 654844 h 791432"/>
                <a:gd name="connsiteX418" fmla="*/ 184404 w 910018"/>
                <a:gd name="connsiteY418" fmla="*/ 657225 h 791432"/>
                <a:gd name="connsiteX419" fmla="*/ 185738 w 910018"/>
                <a:gd name="connsiteY419" fmla="*/ 655415 h 791432"/>
                <a:gd name="connsiteX420" fmla="*/ 189071 w 910018"/>
                <a:gd name="connsiteY420" fmla="*/ 656558 h 791432"/>
                <a:gd name="connsiteX421" fmla="*/ 190500 w 910018"/>
                <a:gd name="connsiteY421" fmla="*/ 654844 h 791432"/>
                <a:gd name="connsiteX422" fmla="*/ 192691 w 910018"/>
                <a:gd name="connsiteY422" fmla="*/ 659321 h 791432"/>
                <a:gd name="connsiteX423" fmla="*/ 194977 w 910018"/>
                <a:gd name="connsiteY423" fmla="*/ 652653 h 791432"/>
                <a:gd name="connsiteX424" fmla="*/ 205835 w 910018"/>
                <a:gd name="connsiteY424" fmla="*/ 649605 h 791432"/>
                <a:gd name="connsiteX425" fmla="*/ 207264 w 910018"/>
                <a:gd name="connsiteY425" fmla="*/ 660654 h 791432"/>
                <a:gd name="connsiteX426" fmla="*/ 214217 w 910018"/>
                <a:gd name="connsiteY426" fmla="*/ 664655 h 791432"/>
                <a:gd name="connsiteX427" fmla="*/ 223457 w 910018"/>
                <a:gd name="connsiteY427" fmla="*/ 674656 h 791432"/>
                <a:gd name="connsiteX428" fmla="*/ 225076 w 910018"/>
                <a:gd name="connsiteY428" fmla="*/ 674465 h 791432"/>
                <a:gd name="connsiteX429" fmla="*/ 234125 w 910018"/>
                <a:gd name="connsiteY429" fmla="*/ 682943 h 791432"/>
                <a:gd name="connsiteX430" fmla="*/ 245936 w 910018"/>
                <a:gd name="connsiteY430" fmla="*/ 675037 h 791432"/>
                <a:gd name="connsiteX431" fmla="*/ 247745 w 910018"/>
                <a:gd name="connsiteY431" fmla="*/ 676370 h 791432"/>
                <a:gd name="connsiteX432" fmla="*/ 250508 w 910018"/>
                <a:gd name="connsiteY432" fmla="*/ 672846 h 791432"/>
                <a:gd name="connsiteX433" fmla="*/ 252317 w 910018"/>
                <a:gd name="connsiteY433" fmla="*/ 674180 h 791432"/>
                <a:gd name="connsiteX434" fmla="*/ 258223 w 910018"/>
                <a:gd name="connsiteY434" fmla="*/ 670274 h 791432"/>
                <a:gd name="connsiteX435" fmla="*/ 258413 w 910018"/>
                <a:gd name="connsiteY435" fmla="*/ 671798 h 791432"/>
                <a:gd name="connsiteX436" fmla="*/ 261366 w 910018"/>
                <a:gd name="connsiteY436" fmla="*/ 669798 h 791432"/>
                <a:gd name="connsiteX437" fmla="*/ 267081 w 910018"/>
                <a:gd name="connsiteY437" fmla="*/ 677132 h 791432"/>
                <a:gd name="connsiteX438" fmla="*/ 280892 w 910018"/>
                <a:gd name="connsiteY438" fmla="*/ 672179 h 791432"/>
                <a:gd name="connsiteX439" fmla="*/ 279845 w 910018"/>
                <a:gd name="connsiteY439" fmla="*/ 664273 h 791432"/>
                <a:gd name="connsiteX440" fmla="*/ 286417 w 910018"/>
                <a:gd name="connsiteY440" fmla="*/ 677894 h 791432"/>
                <a:gd name="connsiteX441" fmla="*/ 288417 w 910018"/>
                <a:gd name="connsiteY441" fmla="*/ 680847 h 791432"/>
                <a:gd name="connsiteX442" fmla="*/ 297275 w 910018"/>
                <a:gd name="connsiteY442" fmla="*/ 674846 h 791432"/>
                <a:gd name="connsiteX443" fmla="*/ 311277 w 910018"/>
                <a:gd name="connsiteY443" fmla="*/ 684276 h 791432"/>
                <a:gd name="connsiteX444" fmla="*/ 320040 w 910018"/>
                <a:gd name="connsiteY444" fmla="*/ 689610 h 791432"/>
                <a:gd name="connsiteX445" fmla="*/ 317278 w 910018"/>
                <a:gd name="connsiteY445" fmla="*/ 693134 h 791432"/>
                <a:gd name="connsiteX446" fmla="*/ 317849 w 910018"/>
                <a:gd name="connsiteY446" fmla="*/ 697897 h 791432"/>
                <a:gd name="connsiteX447" fmla="*/ 310420 w 910018"/>
                <a:gd name="connsiteY447" fmla="*/ 714947 h 791432"/>
                <a:gd name="connsiteX448" fmla="*/ 319088 w 910018"/>
                <a:gd name="connsiteY448" fmla="*/ 720185 h 791432"/>
                <a:gd name="connsiteX449" fmla="*/ 323183 w 910018"/>
                <a:gd name="connsiteY449" fmla="*/ 714851 h 791432"/>
                <a:gd name="connsiteX450" fmla="*/ 327946 w 910018"/>
                <a:gd name="connsiteY450" fmla="*/ 714280 h 791432"/>
                <a:gd name="connsiteX451" fmla="*/ 344138 w 910018"/>
                <a:gd name="connsiteY451" fmla="*/ 728282 h 791432"/>
                <a:gd name="connsiteX452" fmla="*/ 355378 w 910018"/>
                <a:gd name="connsiteY452" fmla="*/ 728377 h 791432"/>
                <a:gd name="connsiteX453" fmla="*/ 367475 w 910018"/>
                <a:gd name="connsiteY453" fmla="*/ 747712 h 791432"/>
                <a:gd name="connsiteX454" fmla="*/ 373666 w 910018"/>
                <a:gd name="connsiteY454" fmla="*/ 758190 h 791432"/>
                <a:gd name="connsiteX455" fmla="*/ 372428 w 910018"/>
                <a:gd name="connsiteY455" fmla="*/ 761524 h 791432"/>
                <a:gd name="connsiteX456" fmla="*/ 376238 w 910018"/>
                <a:gd name="connsiteY456" fmla="*/ 765810 h 791432"/>
                <a:gd name="connsiteX457" fmla="*/ 383858 w 910018"/>
                <a:gd name="connsiteY457" fmla="*/ 763238 h 791432"/>
                <a:gd name="connsiteX458" fmla="*/ 381191 w 910018"/>
                <a:gd name="connsiteY458" fmla="*/ 766858 h 791432"/>
                <a:gd name="connsiteX459" fmla="*/ 382905 w 910018"/>
                <a:gd name="connsiteY459" fmla="*/ 768191 h 791432"/>
                <a:gd name="connsiteX460" fmla="*/ 381381 w 910018"/>
                <a:gd name="connsiteY460" fmla="*/ 768382 h 791432"/>
                <a:gd name="connsiteX461" fmla="*/ 381953 w 910018"/>
                <a:gd name="connsiteY461" fmla="*/ 773144 h 791432"/>
                <a:gd name="connsiteX462" fmla="*/ 389096 w 910018"/>
                <a:gd name="connsiteY462" fmla="*/ 791432 h 791432"/>
                <a:gd name="connsiteX463" fmla="*/ 396812 w 910018"/>
                <a:gd name="connsiteY463" fmla="*/ 788860 h 791432"/>
                <a:gd name="connsiteX464" fmla="*/ 403479 w 910018"/>
                <a:gd name="connsiteY464" fmla="*/ 791242 h 791432"/>
                <a:gd name="connsiteX465" fmla="*/ 409385 w 910018"/>
                <a:gd name="connsiteY465" fmla="*/ 787241 h 791432"/>
                <a:gd name="connsiteX466" fmla="*/ 412623 w 910018"/>
                <a:gd name="connsiteY466" fmla="*/ 786860 h 791432"/>
                <a:gd name="connsiteX467" fmla="*/ 416719 w 910018"/>
                <a:gd name="connsiteY467" fmla="*/ 781526 h 791432"/>
                <a:gd name="connsiteX468" fmla="*/ 419862 w 910018"/>
                <a:gd name="connsiteY468" fmla="*/ 781145 h 791432"/>
                <a:gd name="connsiteX469" fmla="*/ 431292 w 910018"/>
                <a:gd name="connsiteY469" fmla="*/ 782860 h 791432"/>
                <a:gd name="connsiteX470" fmla="*/ 438436 w 910018"/>
                <a:gd name="connsiteY470" fmla="*/ 775526 h 791432"/>
                <a:gd name="connsiteX471" fmla="*/ 440531 w 910018"/>
                <a:gd name="connsiteY471" fmla="*/ 767239 h 791432"/>
                <a:gd name="connsiteX472" fmla="*/ 450818 w 910018"/>
                <a:gd name="connsiteY472" fmla="*/ 759524 h 791432"/>
                <a:gd name="connsiteX473" fmla="*/ 454914 w 910018"/>
                <a:gd name="connsiteY473" fmla="*/ 754190 h 791432"/>
                <a:gd name="connsiteX474" fmla="*/ 456057 w 910018"/>
                <a:gd name="connsiteY474" fmla="*/ 750856 h 791432"/>
                <a:gd name="connsiteX475" fmla="*/ 460438 w 910018"/>
                <a:gd name="connsiteY475" fmla="*/ 747141 h 791432"/>
                <a:gd name="connsiteX476" fmla="*/ 460058 w 910018"/>
                <a:gd name="connsiteY476" fmla="*/ 743902 h 791432"/>
                <a:gd name="connsiteX477" fmla="*/ 465106 w 910018"/>
                <a:gd name="connsiteY477" fmla="*/ 733711 h 791432"/>
                <a:gd name="connsiteX478" fmla="*/ 476345 w 910018"/>
                <a:gd name="connsiteY478" fmla="*/ 721043 h 791432"/>
                <a:gd name="connsiteX479" fmla="*/ 479488 w 910018"/>
                <a:gd name="connsiteY479" fmla="*/ 720566 h 791432"/>
                <a:gd name="connsiteX480" fmla="*/ 484061 w 910018"/>
                <a:gd name="connsiteY480" fmla="*/ 718471 h 791432"/>
                <a:gd name="connsiteX481" fmla="*/ 482632 w 910018"/>
                <a:gd name="connsiteY481" fmla="*/ 707422 h 791432"/>
                <a:gd name="connsiteX482" fmla="*/ 504920 w 910018"/>
                <a:gd name="connsiteY482" fmla="*/ 706184 h 791432"/>
                <a:gd name="connsiteX483" fmla="*/ 508063 w 910018"/>
                <a:gd name="connsiteY483" fmla="*/ 705707 h 791432"/>
                <a:gd name="connsiteX484" fmla="*/ 509492 w 910018"/>
                <a:gd name="connsiteY484" fmla="*/ 703993 h 791432"/>
                <a:gd name="connsiteX485" fmla="*/ 523875 w 910018"/>
                <a:gd name="connsiteY485" fmla="*/ 703707 h 791432"/>
                <a:gd name="connsiteX486" fmla="*/ 533305 w 910018"/>
                <a:gd name="connsiteY486" fmla="*/ 702564 h 791432"/>
                <a:gd name="connsiteX487" fmla="*/ 545211 w 910018"/>
                <a:gd name="connsiteY487" fmla="*/ 707422 h 791432"/>
                <a:gd name="connsiteX488" fmla="*/ 557403 w 910018"/>
                <a:gd name="connsiteY488" fmla="*/ 702659 h 791432"/>
                <a:gd name="connsiteX489" fmla="*/ 557594 w 910018"/>
                <a:gd name="connsiteY489" fmla="*/ 691420 h 791432"/>
                <a:gd name="connsiteX490" fmla="*/ 563499 w 910018"/>
                <a:gd name="connsiteY490" fmla="*/ 674656 h 791432"/>
                <a:gd name="connsiteX491" fmla="*/ 565595 w 910018"/>
                <a:gd name="connsiteY491" fmla="*/ 666369 h 791432"/>
                <a:gd name="connsiteX492" fmla="*/ 566833 w 910018"/>
                <a:gd name="connsiteY492" fmla="*/ 662940 h 791432"/>
                <a:gd name="connsiteX493" fmla="*/ 563975 w 910018"/>
                <a:gd name="connsiteY493" fmla="*/ 653701 h 791432"/>
                <a:gd name="connsiteX494" fmla="*/ 564737 w 910018"/>
                <a:gd name="connsiteY494" fmla="*/ 647224 h 791432"/>
                <a:gd name="connsiteX495" fmla="*/ 568262 w 910018"/>
                <a:gd name="connsiteY495" fmla="*/ 637127 h 791432"/>
                <a:gd name="connsiteX496" fmla="*/ 572262 w 910018"/>
                <a:gd name="connsiteY496" fmla="*/ 630174 h 791432"/>
                <a:gd name="connsiteX497" fmla="*/ 574167 w 910018"/>
                <a:gd name="connsiteY497" fmla="*/ 620363 h 791432"/>
                <a:gd name="connsiteX498" fmla="*/ 571405 w 910018"/>
                <a:gd name="connsiteY498" fmla="*/ 611029 h 791432"/>
                <a:gd name="connsiteX499" fmla="*/ 572357 w 910018"/>
                <a:gd name="connsiteY499" fmla="*/ 606171 h 791432"/>
                <a:gd name="connsiteX500" fmla="*/ 576739 w 910018"/>
                <a:gd name="connsiteY500" fmla="*/ 602361 h 791432"/>
                <a:gd name="connsiteX501" fmla="*/ 579215 w 910018"/>
                <a:gd name="connsiteY501" fmla="*/ 597218 h 791432"/>
                <a:gd name="connsiteX502" fmla="*/ 585121 w 910018"/>
                <a:gd name="connsiteY502" fmla="*/ 593312 h 791432"/>
                <a:gd name="connsiteX503" fmla="*/ 596170 w 910018"/>
                <a:gd name="connsiteY503" fmla="*/ 591884 h 791432"/>
                <a:gd name="connsiteX504" fmla="*/ 599122 w 910018"/>
                <a:gd name="connsiteY504" fmla="*/ 589883 h 791432"/>
                <a:gd name="connsiteX505" fmla="*/ 615601 w 910018"/>
                <a:gd name="connsiteY505" fmla="*/ 592646 h 791432"/>
                <a:gd name="connsiteX506" fmla="*/ 619887 w 910018"/>
                <a:gd name="connsiteY506" fmla="*/ 588835 h 791432"/>
                <a:gd name="connsiteX507" fmla="*/ 622649 w 910018"/>
                <a:gd name="connsiteY507" fmla="*/ 585311 h 791432"/>
                <a:gd name="connsiteX508" fmla="*/ 628936 w 910018"/>
                <a:gd name="connsiteY508" fmla="*/ 584454 h 791432"/>
                <a:gd name="connsiteX509" fmla="*/ 637889 w 910018"/>
                <a:gd name="connsiteY509" fmla="*/ 591407 h 791432"/>
                <a:gd name="connsiteX510" fmla="*/ 649129 w 910018"/>
                <a:gd name="connsiteY510" fmla="*/ 591598 h 791432"/>
                <a:gd name="connsiteX511" fmla="*/ 652272 w 910018"/>
                <a:gd name="connsiteY511" fmla="*/ 591122 h 791432"/>
                <a:gd name="connsiteX512" fmla="*/ 654558 w 910018"/>
                <a:gd name="connsiteY512" fmla="*/ 584454 h 791432"/>
                <a:gd name="connsiteX513" fmla="*/ 662464 w 910018"/>
                <a:gd name="connsiteY513" fmla="*/ 583406 h 791432"/>
                <a:gd name="connsiteX514" fmla="*/ 680466 w 910018"/>
                <a:gd name="connsiteY514" fmla="*/ 573119 h 791432"/>
                <a:gd name="connsiteX515" fmla="*/ 684562 w 910018"/>
                <a:gd name="connsiteY515" fmla="*/ 567785 h 791432"/>
                <a:gd name="connsiteX516" fmla="*/ 690086 w 910018"/>
                <a:gd name="connsiteY516" fmla="*/ 560642 h 791432"/>
                <a:gd name="connsiteX517" fmla="*/ 690848 w 910018"/>
                <a:gd name="connsiteY517" fmla="*/ 554164 h 791432"/>
                <a:gd name="connsiteX518" fmla="*/ 699516 w 910018"/>
                <a:gd name="connsiteY518" fmla="*/ 546640 h 791432"/>
                <a:gd name="connsiteX519" fmla="*/ 697516 w 910018"/>
                <a:gd name="connsiteY519" fmla="*/ 543687 h 791432"/>
                <a:gd name="connsiteX520" fmla="*/ 698468 w 910018"/>
                <a:gd name="connsiteY520" fmla="*/ 538734 h 791432"/>
                <a:gd name="connsiteX521" fmla="*/ 705707 w 910018"/>
                <a:gd name="connsiteY521" fmla="*/ 520160 h 791432"/>
                <a:gd name="connsiteX522" fmla="*/ 712470 w 910018"/>
                <a:gd name="connsiteY522" fmla="*/ 509683 h 791432"/>
                <a:gd name="connsiteX523" fmla="*/ 707612 w 910018"/>
                <a:gd name="connsiteY523" fmla="*/ 484632 h 791432"/>
                <a:gd name="connsiteX524" fmla="*/ 709994 w 910018"/>
                <a:gd name="connsiteY524" fmla="*/ 477964 h 791432"/>
                <a:gd name="connsiteX525" fmla="*/ 711613 w 910018"/>
                <a:gd name="connsiteY525" fmla="*/ 477774 h 791432"/>
                <a:gd name="connsiteX526" fmla="*/ 713327 w 910018"/>
                <a:gd name="connsiteY526" fmla="*/ 479107 h 791432"/>
                <a:gd name="connsiteX527" fmla="*/ 714947 w 910018"/>
                <a:gd name="connsiteY527" fmla="*/ 478917 h 791432"/>
                <a:gd name="connsiteX528" fmla="*/ 712375 w 910018"/>
                <a:gd name="connsiteY528" fmla="*/ 471202 h 791432"/>
                <a:gd name="connsiteX529" fmla="*/ 705231 w 910018"/>
                <a:gd name="connsiteY529" fmla="*/ 465772 h 791432"/>
                <a:gd name="connsiteX530" fmla="*/ 704469 w 910018"/>
                <a:gd name="connsiteY530" fmla="*/ 459391 h 791432"/>
                <a:gd name="connsiteX531" fmla="*/ 706755 w 910018"/>
                <a:gd name="connsiteY531" fmla="*/ 452723 h 791432"/>
                <a:gd name="connsiteX532" fmla="*/ 711137 w 910018"/>
                <a:gd name="connsiteY532" fmla="*/ 448913 h 791432"/>
                <a:gd name="connsiteX533" fmla="*/ 710089 w 910018"/>
                <a:gd name="connsiteY533" fmla="*/ 441007 h 791432"/>
                <a:gd name="connsiteX534" fmla="*/ 711518 w 910018"/>
                <a:gd name="connsiteY534" fmla="*/ 439293 h 791432"/>
                <a:gd name="connsiteX535" fmla="*/ 724662 w 910018"/>
                <a:gd name="connsiteY535" fmla="*/ 429577 h 791432"/>
                <a:gd name="connsiteX536" fmla="*/ 718757 w 910018"/>
                <a:gd name="connsiteY536" fmla="*/ 420719 h 791432"/>
                <a:gd name="connsiteX537" fmla="*/ 718852 w 910018"/>
                <a:gd name="connsiteY537" fmla="*/ 396621 h 791432"/>
                <a:gd name="connsiteX538" fmla="*/ 724567 w 910018"/>
                <a:gd name="connsiteY538" fmla="*/ 391096 h 791432"/>
                <a:gd name="connsiteX539" fmla="*/ 727901 w 910018"/>
                <a:gd name="connsiteY539" fmla="*/ 379476 h 791432"/>
                <a:gd name="connsiteX540" fmla="*/ 729520 w 910018"/>
                <a:gd name="connsiteY540" fmla="*/ 379285 h 791432"/>
                <a:gd name="connsiteX541" fmla="*/ 727901 w 910018"/>
                <a:gd name="connsiteY541" fmla="*/ 366617 h 791432"/>
                <a:gd name="connsiteX542" fmla="*/ 732663 w 910018"/>
                <a:gd name="connsiteY542" fmla="*/ 366046 h 791432"/>
                <a:gd name="connsiteX543" fmla="*/ 731996 w 910018"/>
                <a:gd name="connsiteY543" fmla="*/ 361283 h 791432"/>
                <a:gd name="connsiteX544" fmla="*/ 733997 w 910018"/>
                <a:gd name="connsiteY544" fmla="*/ 351377 h 791432"/>
                <a:gd name="connsiteX545" fmla="*/ 726091 w 910018"/>
                <a:gd name="connsiteY545" fmla="*/ 352425 h 791432"/>
                <a:gd name="connsiteX546" fmla="*/ 727805 w 910018"/>
                <a:gd name="connsiteY546" fmla="*/ 340995 h 791432"/>
                <a:gd name="connsiteX547" fmla="*/ 726186 w 910018"/>
                <a:gd name="connsiteY547" fmla="*/ 328327 h 791432"/>
                <a:gd name="connsiteX548" fmla="*/ 736663 w 910018"/>
                <a:gd name="connsiteY548" fmla="*/ 322231 h 791432"/>
                <a:gd name="connsiteX549" fmla="*/ 737235 w 910018"/>
                <a:gd name="connsiteY549" fmla="*/ 314134 h 791432"/>
                <a:gd name="connsiteX550" fmla="*/ 751808 w 910018"/>
                <a:gd name="connsiteY550" fmla="*/ 302609 h 791432"/>
                <a:gd name="connsiteX551" fmla="*/ 751999 w 910018"/>
                <a:gd name="connsiteY551" fmla="*/ 291370 h 791432"/>
                <a:gd name="connsiteX552" fmla="*/ 751142 w 910018"/>
                <a:gd name="connsiteY552" fmla="*/ 285083 h 791432"/>
                <a:gd name="connsiteX553" fmla="*/ 750951 w 910018"/>
                <a:gd name="connsiteY553" fmla="*/ 283464 h 791432"/>
                <a:gd name="connsiteX554" fmla="*/ 755333 w 910018"/>
                <a:gd name="connsiteY554" fmla="*/ 279749 h 791432"/>
                <a:gd name="connsiteX555" fmla="*/ 758666 w 910018"/>
                <a:gd name="connsiteY555" fmla="*/ 280892 h 791432"/>
                <a:gd name="connsiteX556" fmla="*/ 762953 w 910018"/>
                <a:gd name="connsiteY556" fmla="*/ 277177 h 791432"/>
                <a:gd name="connsiteX557" fmla="*/ 767905 w 910018"/>
                <a:gd name="connsiteY557" fmla="*/ 278130 h 791432"/>
                <a:gd name="connsiteX558" fmla="*/ 770668 w 910018"/>
                <a:gd name="connsiteY558" fmla="*/ 274606 h 791432"/>
                <a:gd name="connsiteX559" fmla="*/ 774002 w 910018"/>
                <a:gd name="connsiteY559" fmla="*/ 275749 h 791432"/>
                <a:gd name="connsiteX560" fmla="*/ 776764 w 910018"/>
                <a:gd name="connsiteY560" fmla="*/ 272225 h 791432"/>
                <a:gd name="connsiteX561" fmla="*/ 792956 w 910018"/>
                <a:gd name="connsiteY561" fmla="*/ 273367 h 791432"/>
                <a:gd name="connsiteX562" fmla="*/ 797528 w 910018"/>
                <a:gd name="connsiteY562" fmla="*/ 271177 h 791432"/>
                <a:gd name="connsiteX563" fmla="*/ 806768 w 910018"/>
                <a:gd name="connsiteY563" fmla="*/ 268319 h 791432"/>
                <a:gd name="connsiteX564" fmla="*/ 811149 w 910018"/>
                <a:gd name="connsiteY564" fmla="*/ 264605 h 791432"/>
                <a:gd name="connsiteX565" fmla="*/ 817245 w 910018"/>
                <a:gd name="connsiteY565" fmla="*/ 262223 h 791432"/>
                <a:gd name="connsiteX566" fmla="*/ 831437 w 910018"/>
                <a:gd name="connsiteY566" fmla="*/ 260413 h 791432"/>
                <a:gd name="connsiteX567" fmla="*/ 832771 w 910018"/>
                <a:gd name="connsiteY567" fmla="*/ 258604 h 791432"/>
                <a:gd name="connsiteX568" fmla="*/ 832390 w 910018"/>
                <a:gd name="connsiteY568" fmla="*/ 255460 h 791432"/>
                <a:gd name="connsiteX569" fmla="*/ 844582 w 910018"/>
                <a:gd name="connsiteY569" fmla="*/ 250698 h 791432"/>
                <a:gd name="connsiteX570" fmla="*/ 851726 w 910018"/>
                <a:gd name="connsiteY570" fmla="*/ 243364 h 791432"/>
                <a:gd name="connsiteX571" fmla="*/ 855059 w 910018"/>
                <a:gd name="connsiteY571" fmla="*/ 244602 h 791432"/>
                <a:gd name="connsiteX572" fmla="*/ 875157 w 910018"/>
                <a:gd name="connsiteY572" fmla="*/ 238792 h 791432"/>
                <a:gd name="connsiteX573" fmla="*/ 885444 w 910018"/>
                <a:gd name="connsiteY573" fmla="*/ 231076 h 791432"/>
                <a:gd name="connsiteX574" fmla="*/ 892683 w 910018"/>
                <a:gd name="connsiteY574" fmla="*/ 212503 h 791432"/>
                <a:gd name="connsiteX575" fmla="*/ 896969 w 910018"/>
                <a:gd name="connsiteY575" fmla="*/ 208788 h 791432"/>
                <a:gd name="connsiteX576" fmla="*/ 903351 w 910018"/>
                <a:gd name="connsiteY576" fmla="*/ 207931 h 791432"/>
                <a:gd name="connsiteX577" fmla="*/ 899160 w 910018"/>
                <a:gd name="connsiteY577" fmla="*/ 200501 h 791432"/>
                <a:gd name="connsiteX578" fmla="*/ 906494 w 910018"/>
                <a:gd name="connsiteY578" fmla="*/ 194691 h 791432"/>
                <a:gd name="connsiteX579" fmla="*/ 910019 w 910018"/>
                <a:gd name="connsiteY579" fmla="*/ 184690 h 791432"/>
                <a:gd name="connsiteX580" fmla="*/ 910019 w 910018"/>
                <a:gd name="connsiteY580" fmla="*/ 184690 h 791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</a:cxnLst>
              <a:rect l="l" t="t" r="r" b="b"/>
              <a:pathLst>
                <a:path w="910018" h="791432">
                  <a:moveTo>
                    <a:pt x="910019" y="184690"/>
                  </a:moveTo>
                  <a:lnTo>
                    <a:pt x="904208" y="164497"/>
                  </a:lnTo>
                  <a:lnTo>
                    <a:pt x="903637" y="159829"/>
                  </a:lnTo>
                  <a:lnTo>
                    <a:pt x="901255" y="153734"/>
                  </a:lnTo>
                  <a:lnTo>
                    <a:pt x="896112" y="151162"/>
                  </a:lnTo>
                  <a:lnTo>
                    <a:pt x="891350" y="151733"/>
                  </a:lnTo>
                  <a:lnTo>
                    <a:pt x="884206" y="146209"/>
                  </a:lnTo>
                  <a:lnTo>
                    <a:pt x="879253" y="145256"/>
                  </a:lnTo>
                  <a:lnTo>
                    <a:pt x="871442" y="146304"/>
                  </a:lnTo>
                  <a:lnTo>
                    <a:pt x="876681" y="124777"/>
                  </a:lnTo>
                  <a:lnTo>
                    <a:pt x="871919" y="112490"/>
                  </a:lnTo>
                  <a:lnTo>
                    <a:pt x="867156" y="113157"/>
                  </a:lnTo>
                  <a:lnTo>
                    <a:pt x="865156" y="110204"/>
                  </a:lnTo>
                  <a:lnTo>
                    <a:pt x="866775" y="110014"/>
                  </a:lnTo>
                  <a:lnTo>
                    <a:pt x="864775" y="106966"/>
                  </a:lnTo>
                  <a:lnTo>
                    <a:pt x="860393" y="97917"/>
                  </a:lnTo>
                  <a:lnTo>
                    <a:pt x="854107" y="98774"/>
                  </a:lnTo>
                  <a:lnTo>
                    <a:pt x="845439" y="93440"/>
                  </a:lnTo>
                  <a:lnTo>
                    <a:pt x="840486" y="92488"/>
                  </a:lnTo>
                  <a:lnTo>
                    <a:pt x="834390" y="82010"/>
                  </a:lnTo>
                  <a:lnTo>
                    <a:pt x="828770" y="76295"/>
                  </a:lnTo>
                  <a:lnTo>
                    <a:pt x="826008" y="54197"/>
                  </a:lnTo>
                  <a:lnTo>
                    <a:pt x="822198" y="49911"/>
                  </a:lnTo>
                  <a:lnTo>
                    <a:pt x="815530" y="47530"/>
                  </a:lnTo>
                  <a:lnTo>
                    <a:pt x="804101" y="45815"/>
                  </a:lnTo>
                  <a:lnTo>
                    <a:pt x="799338" y="46387"/>
                  </a:lnTo>
                  <a:lnTo>
                    <a:pt x="794195" y="56674"/>
                  </a:lnTo>
                  <a:lnTo>
                    <a:pt x="789718" y="58864"/>
                  </a:lnTo>
                  <a:lnTo>
                    <a:pt x="769811" y="53340"/>
                  </a:lnTo>
                  <a:lnTo>
                    <a:pt x="765810" y="47434"/>
                  </a:lnTo>
                  <a:lnTo>
                    <a:pt x="762667" y="47815"/>
                  </a:lnTo>
                  <a:lnTo>
                    <a:pt x="753618" y="52197"/>
                  </a:lnTo>
                  <a:lnTo>
                    <a:pt x="745046" y="48482"/>
                  </a:lnTo>
                  <a:lnTo>
                    <a:pt x="733806" y="35528"/>
                  </a:lnTo>
                  <a:lnTo>
                    <a:pt x="729234" y="24860"/>
                  </a:lnTo>
                  <a:lnTo>
                    <a:pt x="725710" y="22098"/>
                  </a:lnTo>
                  <a:lnTo>
                    <a:pt x="721328" y="25908"/>
                  </a:lnTo>
                  <a:lnTo>
                    <a:pt x="705803" y="29432"/>
                  </a:lnTo>
                  <a:lnTo>
                    <a:pt x="697802" y="17621"/>
                  </a:lnTo>
                  <a:lnTo>
                    <a:pt x="687229" y="22193"/>
                  </a:lnTo>
                  <a:lnTo>
                    <a:pt x="680657" y="21431"/>
                  </a:lnTo>
                  <a:lnTo>
                    <a:pt x="677704" y="23431"/>
                  </a:lnTo>
                  <a:lnTo>
                    <a:pt x="669417" y="21241"/>
                  </a:lnTo>
                  <a:lnTo>
                    <a:pt x="665131" y="25051"/>
                  </a:lnTo>
                  <a:lnTo>
                    <a:pt x="663512" y="25241"/>
                  </a:lnTo>
                  <a:lnTo>
                    <a:pt x="655415" y="24670"/>
                  </a:lnTo>
                  <a:lnTo>
                    <a:pt x="647795" y="27242"/>
                  </a:lnTo>
                  <a:lnTo>
                    <a:pt x="633794" y="30575"/>
                  </a:lnTo>
                  <a:lnTo>
                    <a:pt x="618744" y="38957"/>
                  </a:lnTo>
                  <a:lnTo>
                    <a:pt x="612458" y="39719"/>
                  </a:lnTo>
                  <a:lnTo>
                    <a:pt x="611124" y="41529"/>
                  </a:lnTo>
                  <a:lnTo>
                    <a:pt x="604361" y="39148"/>
                  </a:lnTo>
                  <a:lnTo>
                    <a:pt x="604742" y="29527"/>
                  </a:lnTo>
                  <a:lnTo>
                    <a:pt x="603313" y="18478"/>
                  </a:lnTo>
                  <a:lnTo>
                    <a:pt x="595979" y="11335"/>
                  </a:lnTo>
                  <a:lnTo>
                    <a:pt x="590074" y="2476"/>
                  </a:lnTo>
                  <a:lnTo>
                    <a:pt x="586930" y="2857"/>
                  </a:lnTo>
                  <a:lnTo>
                    <a:pt x="585692" y="6286"/>
                  </a:lnTo>
                  <a:lnTo>
                    <a:pt x="578644" y="762"/>
                  </a:lnTo>
                  <a:lnTo>
                    <a:pt x="572072" y="0"/>
                  </a:lnTo>
                  <a:lnTo>
                    <a:pt x="550069" y="2762"/>
                  </a:lnTo>
                  <a:lnTo>
                    <a:pt x="547116" y="17621"/>
                  </a:lnTo>
                  <a:lnTo>
                    <a:pt x="538829" y="28289"/>
                  </a:lnTo>
                  <a:lnTo>
                    <a:pt x="539210" y="31432"/>
                  </a:lnTo>
                  <a:lnTo>
                    <a:pt x="539687" y="34576"/>
                  </a:lnTo>
                  <a:lnTo>
                    <a:pt x="530352" y="37338"/>
                  </a:lnTo>
                  <a:lnTo>
                    <a:pt x="524828" y="31623"/>
                  </a:lnTo>
                  <a:lnTo>
                    <a:pt x="520255" y="33814"/>
                  </a:lnTo>
                  <a:lnTo>
                    <a:pt x="518351" y="30861"/>
                  </a:lnTo>
                  <a:lnTo>
                    <a:pt x="515207" y="31242"/>
                  </a:lnTo>
                  <a:lnTo>
                    <a:pt x="513017" y="26765"/>
                  </a:lnTo>
                  <a:lnTo>
                    <a:pt x="505111" y="27718"/>
                  </a:lnTo>
                  <a:lnTo>
                    <a:pt x="503111" y="24765"/>
                  </a:lnTo>
                  <a:lnTo>
                    <a:pt x="499586" y="22003"/>
                  </a:lnTo>
                  <a:lnTo>
                    <a:pt x="496443" y="22479"/>
                  </a:lnTo>
                  <a:lnTo>
                    <a:pt x="498348" y="25432"/>
                  </a:lnTo>
                  <a:lnTo>
                    <a:pt x="498824" y="28575"/>
                  </a:lnTo>
                  <a:lnTo>
                    <a:pt x="497777" y="33528"/>
                  </a:lnTo>
                  <a:lnTo>
                    <a:pt x="498253" y="36671"/>
                  </a:lnTo>
                  <a:lnTo>
                    <a:pt x="496634" y="36862"/>
                  </a:lnTo>
                  <a:lnTo>
                    <a:pt x="497396" y="43148"/>
                  </a:lnTo>
                  <a:lnTo>
                    <a:pt x="483680" y="48101"/>
                  </a:lnTo>
                  <a:lnTo>
                    <a:pt x="480060" y="45339"/>
                  </a:lnTo>
                  <a:lnTo>
                    <a:pt x="477488" y="50482"/>
                  </a:lnTo>
                  <a:lnTo>
                    <a:pt x="478155" y="55245"/>
                  </a:lnTo>
                  <a:lnTo>
                    <a:pt x="476917" y="58579"/>
                  </a:lnTo>
                  <a:lnTo>
                    <a:pt x="467868" y="62960"/>
                  </a:lnTo>
                  <a:lnTo>
                    <a:pt x="464915" y="64960"/>
                  </a:lnTo>
                  <a:lnTo>
                    <a:pt x="461391" y="62198"/>
                  </a:lnTo>
                  <a:lnTo>
                    <a:pt x="461772" y="65342"/>
                  </a:lnTo>
                  <a:lnTo>
                    <a:pt x="467678" y="74200"/>
                  </a:lnTo>
                  <a:lnTo>
                    <a:pt x="470249" y="81915"/>
                  </a:lnTo>
                  <a:lnTo>
                    <a:pt x="465963" y="85630"/>
                  </a:lnTo>
                  <a:lnTo>
                    <a:pt x="467773" y="87058"/>
                  </a:lnTo>
                  <a:lnTo>
                    <a:pt x="464820" y="89059"/>
                  </a:lnTo>
                  <a:lnTo>
                    <a:pt x="463582" y="92392"/>
                  </a:lnTo>
                  <a:lnTo>
                    <a:pt x="456152" y="96583"/>
                  </a:lnTo>
                  <a:lnTo>
                    <a:pt x="456343" y="98107"/>
                  </a:lnTo>
                  <a:lnTo>
                    <a:pt x="460058" y="102489"/>
                  </a:lnTo>
                  <a:lnTo>
                    <a:pt x="456152" y="109347"/>
                  </a:lnTo>
                  <a:lnTo>
                    <a:pt x="456724" y="114109"/>
                  </a:lnTo>
                  <a:lnTo>
                    <a:pt x="457200" y="117253"/>
                  </a:lnTo>
                  <a:lnTo>
                    <a:pt x="455581" y="117443"/>
                  </a:lnTo>
                  <a:lnTo>
                    <a:pt x="455962" y="120586"/>
                  </a:lnTo>
                  <a:lnTo>
                    <a:pt x="452819" y="121063"/>
                  </a:lnTo>
                  <a:lnTo>
                    <a:pt x="451009" y="119634"/>
                  </a:lnTo>
                  <a:lnTo>
                    <a:pt x="447866" y="120015"/>
                  </a:lnTo>
                  <a:lnTo>
                    <a:pt x="447675" y="118491"/>
                  </a:lnTo>
                  <a:lnTo>
                    <a:pt x="444532" y="118872"/>
                  </a:lnTo>
                  <a:lnTo>
                    <a:pt x="430721" y="123825"/>
                  </a:lnTo>
                  <a:lnTo>
                    <a:pt x="429387" y="125635"/>
                  </a:lnTo>
                  <a:lnTo>
                    <a:pt x="426149" y="126016"/>
                  </a:lnTo>
                  <a:lnTo>
                    <a:pt x="419100" y="120491"/>
                  </a:lnTo>
                  <a:lnTo>
                    <a:pt x="414338" y="121158"/>
                  </a:lnTo>
                  <a:lnTo>
                    <a:pt x="415766" y="119348"/>
                  </a:lnTo>
                  <a:lnTo>
                    <a:pt x="408813" y="115443"/>
                  </a:lnTo>
                  <a:lnTo>
                    <a:pt x="408622" y="113824"/>
                  </a:lnTo>
                  <a:lnTo>
                    <a:pt x="411194" y="108680"/>
                  </a:lnTo>
                  <a:lnTo>
                    <a:pt x="407956" y="109061"/>
                  </a:lnTo>
                  <a:lnTo>
                    <a:pt x="405860" y="104584"/>
                  </a:lnTo>
                  <a:lnTo>
                    <a:pt x="398907" y="100584"/>
                  </a:lnTo>
                  <a:lnTo>
                    <a:pt x="396335" y="92964"/>
                  </a:lnTo>
                  <a:lnTo>
                    <a:pt x="392239" y="98298"/>
                  </a:lnTo>
                  <a:lnTo>
                    <a:pt x="386810" y="94107"/>
                  </a:lnTo>
                  <a:lnTo>
                    <a:pt x="382334" y="96298"/>
                  </a:lnTo>
                  <a:lnTo>
                    <a:pt x="382905" y="101060"/>
                  </a:lnTo>
                  <a:lnTo>
                    <a:pt x="379952" y="103060"/>
                  </a:lnTo>
                  <a:lnTo>
                    <a:pt x="380619" y="107728"/>
                  </a:lnTo>
                  <a:lnTo>
                    <a:pt x="379190" y="109538"/>
                  </a:lnTo>
                  <a:lnTo>
                    <a:pt x="381762" y="117253"/>
                  </a:lnTo>
                  <a:lnTo>
                    <a:pt x="377476" y="120967"/>
                  </a:lnTo>
                  <a:lnTo>
                    <a:pt x="372523" y="120015"/>
                  </a:lnTo>
                  <a:lnTo>
                    <a:pt x="366141" y="108013"/>
                  </a:lnTo>
                  <a:lnTo>
                    <a:pt x="358712" y="112204"/>
                  </a:lnTo>
                  <a:lnTo>
                    <a:pt x="358521" y="110585"/>
                  </a:lnTo>
                  <a:lnTo>
                    <a:pt x="353759" y="111157"/>
                  </a:lnTo>
                  <a:lnTo>
                    <a:pt x="352520" y="114586"/>
                  </a:lnTo>
                  <a:lnTo>
                    <a:pt x="348805" y="110204"/>
                  </a:lnTo>
                  <a:lnTo>
                    <a:pt x="346043" y="113728"/>
                  </a:lnTo>
                  <a:lnTo>
                    <a:pt x="349568" y="116491"/>
                  </a:lnTo>
                  <a:lnTo>
                    <a:pt x="348425" y="119920"/>
                  </a:lnTo>
                  <a:lnTo>
                    <a:pt x="357378" y="126778"/>
                  </a:lnTo>
                  <a:lnTo>
                    <a:pt x="357950" y="131540"/>
                  </a:lnTo>
                  <a:lnTo>
                    <a:pt x="358140" y="133064"/>
                  </a:lnTo>
                  <a:lnTo>
                    <a:pt x="361855" y="137446"/>
                  </a:lnTo>
                  <a:lnTo>
                    <a:pt x="367189" y="141542"/>
                  </a:lnTo>
                  <a:lnTo>
                    <a:pt x="364236" y="143542"/>
                  </a:lnTo>
                  <a:lnTo>
                    <a:pt x="368237" y="149447"/>
                  </a:lnTo>
                  <a:lnTo>
                    <a:pt x="361379" y="158305"/>
                  </a:lnTo>
                  <a:lnTo>
                    <a:pt x="356616" y="158972"/>
                  </a:lnTo>
                  <a:lnTo>
                    <a:pt x="355854" y="165449"/>
                  </a:lnTo>
                  <a:lnTo>
                    <a:pt x="348329" y="169640"/>
                  </a:lnTo>
                  <a:lnTo>
                    <a:pt x="343471" y="168592"/>
                  </a:lnTo>
                  <a:lnTo>
                    <a:pt x="342043" y="170402"/>
                  </a:lnTo>
                  <a:lnTo>
                    <a:pt x="341662" y="167259"/>
                  </a:lnTo>
                  <a:lnTo>
                    <a:pt x="340424" y="170593"/>
                  </a:lnTo>
                  <a:lnTo>
                    <a:pt x="335566" y="169640"/>
                  </a:lnTo>
                  <a:lnTo>
                    <a:pt x="333946" y="169831"/>
                  </a:lnTo>
                  <a:lnTo>
                    <a:pt x="333756" y="168211"/>
                  </a:lnTo>
                  <a:lnTo>
                    <a:pt x="331946" y="166878"/>
                  </a:lnTo>
                  <a:lnTo>
                    <a:pt x="327660" y="170688"/>
                  </a:lnTo>
                  <a:lnTo>
                    <a:pt x="328803" y="167259"/>
                  </a:lnTo>
                  <a:lnTo>
                    <a:pt x="328422" y="164116"/>
                  </a:lnTo>
                  <a:lnTo>
                    <a:pt x="323088" y="160020"/>
                  </a:lnTo>
                  <a:lnTo>
                    <a:pt x="319754" y="158782"/>
                  </a:lnTo>
                  <a:lnTo>
                    <a:pt x="316802" y="160782"/>
                  </a:lnTo>
                  <a:lnTo>
                    <a:pt x="312039" y="161449"/>
                  </a:lnTo>
                  <a:lnTo>
                    <a:pt x="310229" y="160020"/>
                  </a:lnTo>
                  <a:lnTo>
                    <a:pt x="296418" y="164973"/>
                  </a:lnTo>
                  <a:lnTo>
                    <a:pt x="294513" y="162020"/>
                  </a:lnTo>
                  <a:lnTo>
                    <a:pt x="290132" y="165830"/>
                  </a:lnTo>
                  <a:lnTo>
                    <a:pt x="286988" y="166211"/>
                  </a:lnTo>
                  <a:lnTo>
                    <a:pt x="283083" y="173069"/>
                  </a:lnTo>
                  <a:lnTo>
                    <a:pt x="279654" y="171926"/>
                  </a:lnTo>
                  <a:lnTo>
                    <a:pt x="279463" y="170402"/>
                  </a:lnTo>
                  <a:lnTo>
                    <a:pt x="277273" y="165830"/>
                  </a:lnTo>
                  <a:lnTo>
                    <a:pt x="274320" y="167830"/>
                  </a:lnTo>
                  <a:lnTo>
                    <a:pt x="274606" y="169354"/>
                  </a:lnTo>
                  <a:lnTo>
                    <a:pt x="266224" y="167259"/>
                  </a:lnTo>
                  <a:lnTo>
                    <a:pt x="273177" y="171164"/>
                  </a:lnTo>
                  <a:lnTo>
                    <a:pt x="269081" y="176498"/>
                  </a:lnTo>
                  <a:lnTo>
                    <a:pt x="272225" y="176117"/>
                  </a:lnTo>
                  <a:lnTo>
                    <a:pt x="274225" y="179070"/>
                  </a:lnTo>
                  <a:lnTo>
                    <a:pt x="274034" y="190309"/>
                  </a:lnTo>
                  <a:lnTo>
                    <a:pt x="271272" y="193834"/>
                  </a:lnTo>
                  <a:lnTo>
                    <a:pt x="269462" y="192500"/>
                  </a:lnTo>
                  <a:lnTo>
                    <a:pt x="266510" y="194500"/>
                  </a:lnTo>
                  <a:lnTo>
                    <a:pt x="261176" y="203168"/>
                  </a:lnTo>
                  <a:lnTo>
                    <a:pt x="245840" y="221171"/>
                  </a:lnTo>
                  <a:lnTo>
                    <a:pt x="245650" y="219551"/>
                  </a:lnTo>
                  <a:lnTo>
                    <a:pt x="244507" y="210121"/>
                  </a:lnTo>
                  <a:lnTo>
                    <a:pt x="238887" y="204406"/>
                  </a:lnTo>
                  <a:lnTo>
                    <a:pt x="238887" y="204406"/>
                  </a:lnTo>
                  <a:lnTo>
                    <a:pt x="233172" y="197072"/>
                  </a:lnTo>
                  <a:lnTo>
                    <a:pt x="226695" y="196310"/>
                  </a:lnTo>
                  <a:lnTo>
                    <a:pt x="227838" y="192976"/>
                  </a:lnTo>
                  <a:lnTo>
                    <a:pt x="221552" y="193834"/>
                  </a:lnTo>
                  <a:lnTo>
                    <a:pt x="218218" y="192596"/>
                  </a:lnTo>
                  <a:lnTo>
                    <a:pt x="218408" y="194215"/>
                  </a:lnTo>
                  <a:lnTo>
                    <a:pt x="213455" y="193262"/>
                  </a:lnTo>
                  <a:lnTo>
                    <a:pt x="215646" y="197739"/>
                  </a:lnTo>
                  <a:lnTo>
                    <a:pt x="214217" y="199549"/>
                  </a:lnTo>
                  <a:lnTo>
                    <a:pt x="212027" y="194977"/>
                  </a:lnTo>
                  <a:lnTo>
                    <a:pt x="202597" y="196215"/>
                  </a:lnTo>
                  <a:lnTo>
                    <a:pt x="203549" y="191262"/>
                  </a:lnTo>
                  <a:lnTo>
                    <a:pt x="199835" y="186976"/>
                  </a:lnTo>
                  <a:lnTo>
                    <a:pt x="196882" y="188881"/>
                  </a:lnTo>
                  <a:lnTo>
                    <a:pt x="184976" y="184023"/>
                  </a:lnTo>
                  <a:lnTo>
                    <a:pt x="186214" y="193453"/>
                  </a:lnTo>
                  <a:lnTo>
                    <a:pt x="182880" y="192310"/>
                  </a:lnTo>
                  <a:lnTo>
                    <a:pt x="174974" y="193262"/>
                  </a:lnTo>
                  <a:lnTo>
                    <a:pt x="174593" y="190119"/>
                  </a:lnTo>
                  <a:lnTo>
                    <a:pt x="175355" y="183642"/>
                  </a:lnTo>
                  <a:lnTo>
                    <a:pt x="175546" y="172402"/>
                  </a:lnTo>
                  <a:lnTo>
                    <a:pt x="181261" y="166878"/>
                  </a:lnTo>
                  <a:lnTo>
                    <a:pt x="180975" y="165259"/>
                  </a:lnTo>
                  <a:lnTo>
                    <a:pt x="177832" y="165640"/>
                  </a:lnTo>
                  <a:lnTo>
                    <a:pt x="170307" y="156972"/>
                  </a:lnTo>
                  <a:lnTo>
                    <a:pt x="170307" y="156972"/>
                  </a:lnTo>
                  <a:lnTo>
                    <a:pt x="170783" y="160210"/>
                  </a:lnTo>
                  <a:lnTo>
                    <a:pt x="166021" y="160782"/>
                  </a:lnTo>
                  <a:lnTo>
                    <a:pt x="166211" y="162306"/>
                  </a:lnTo>
                  <a:lnTo>
                    <a:pt x="159925" y="163163"/>
                  </a:lnTo>
                  <a:lnTo>
                    <a:pt x="159353" y="171259"/>
                  </a:lnTo>
                  <a:lnTo>
                    <a:pt x="156401" y="173260"/>
                  </a:lnTo>
                  <a:lnTo>
                    <a:pt x="157925" y="172974"/>
                  </a:lnTo>
                  <a:lnTo>
                    <a:pt x="156782" y="176403"/>
                  </a:lnTo>
                  <a:lnTo>
                    <a:pt x="154972" y="174974"/>
                  </a:lnTo>
                  <a:lnTo>
                    <a:pt x="152210" y="178594"/>
                  </a:lnTo>
                  <a:lnTo>
                    <a:pt x="152400" y="180118"/>
                  </a:lnTo>
                  <a:lnTo>
                    <a:pt x="151257" y="183451"/>
                  </a:lnTo>
                  <a:lnTo>
                    <a:pt x="146495" y="184118"/>
                  </a:lnTo>
                  <a:lnTo>
                    <a:pt x="147542" y="192024"/>
                  </a:lnTo>
                  <a:lnTo>
                    <a:pt x="145733" y="190595"/>
                  </a:lnTo>
                  <a:lnTo>
                    <a:pt x="146399" y="195358"/>
                  </a:lnTo>
                  <a:lnTo>
                    <a:pt x="146971" y="200120"/>
                  </a:lnTo>
                  <a:lnTo>
                    <a:pt x="149543" y="207740"/>
                  </a:lnTo>
                  <a:lnTo>
                    <a:pt x="153543" y="213646"/>
                  </a:lnTo>
                  <a:lnTo>
                    <a:pt x="152495" y="218599"/>
                  </a:lnTo>
                  <a:lnTo>
                    <a:pt x="159258" y="220980"/>
                  </a:lnTo>
                  <a:lnTo>
                    <a:pt x="159449" y="222504"/>
                  </a:lnTo>
                  <a:lnTo>
                    <a:pt x="162020" y="230219"/>
                  </a:lnTo>
                  <a:lnTo>
                    <a:pt x="160496" y="230410"/>
                  </a:lnTo>
                  <a:lnTo>
                    <a:pt x="163068" y="238125"/>
                  </a:lnTo>
                  <a:lnTo>
                    <a:pt x="156686" y="238887"/>
                  </a:lnTo>
                  <a:lnTo>
                    <a:pt x="155162" y="239173"/>
                  </a:lnTo>
                  <a:lnTo>
                    <a:pt x="152019" y="239554"/>
                  </a:lnTo>
                  <a:lnTo>
                    <a:pt x="148304" y="248031"/>
                  </a:lnTo>
                  <a:lnTo>
                    <a:pt x="143351" y="247078"/>
                  </a:lnTo>
                  <a:lnTo>
                    <a:pt x="143732" y="250222"/>
                  </a:lnTo>
                  <a:lnTo>
                    <a:pt x="137636" y="252603"/>
                  </a:lnTo>
                  <a:lnTo>
                    <a:pt x="135636" y="249650"/>
                  </a:lnTo>
                  <a:lnTo>
                    <a:pt x="132874" y="266033"/>
                  </a:lnTo>
                  <a:lnTo>
                    <a:pt x="131350" y="266224"/>
                  </a:lnTo>
                  <a:lnTo>
                    <a:pt x="130207" y="269557"/>
                  </a:lnTo>
                  <a:lnTo>
                    <a:pt x="126968" y="269938"/>
                  </a:lnTo>
                  <a:lnTo>
                    <a:pt x="128969" y="272891"/>
                  </a:lnTo>
                  <a:lnTo>
                    <a:pt x="125825" y="273367"/>
                  </a:lnTo>
                  <a:lnTo>
                    <a:pt x="124682" y="276701"/>
                  </a:lnTo>
                  <a:lnTo>
                    <a:pt x="120301" y="280416"/>
                  </a:lnTo>
                  <a:lnTo>
                    <a:pt x="119158" y="283845"/>
                  </a:lnTo>
                  <a:lnTo>
                    <a:pt x="120968" y="285178"/>
                  </a:lnTo>
                  <a:lnTo>
                    <a:pt x="119539" y="286988"/>
                  </a:lnTo>
                  <a:lnTo>
                    <a:pt x="110680" y="292894"/>
                  </a:lnTo>
                  <a:lnTo>
                    <a:pt x="107347" y="291751"/>
                  </a:lnTo>
                  <a:lnTo>
                    <a:pt x="106109" y="295084"/>
                  </a:lnTo>
                  <a:lnTo>
                    <a:pt x="97250" y="288226"/>
                  </a:lnTo>
                  <a:lnTo>
                    <a:pt x="95917" y="289941"/>
                  </a:lnTo>
                  <a:lnTo>
                    <a:pt x="93726" y="285464"/>
                  </a:lnTo>
                  <a:lnTo>
                    <a:pt x="92678" y="290417"/>
                  </a:lnTo>
                  <a:lnTo>
                    <a:pt x="88202" y="292608"/>
                  </a:lnTo>
                  <a:lnTo>
                    <a:pt x="85249" y="294513"/>
                  </a:lnTo>
                  <a:lnTo>
                    <a:pt x="76771" y="290798"/>
                  </a:lnTo>
                  <a:lnTo>
                    <a:pt x="75343" y="292608"/>
                  </a:lnTo>
                  <a:lnTo>
                    <a:pt x="70866" y="294799"/>
                  </a:lnTo>
                  <a:lnTo>
                    <a:pt x="66104" y="295370"/>
                  </a:lnTo>
                  <a:lnTo>
                    <a:pt x="65151" y="300323"/>
                  </a:lnTo>
                  <a:lnTo>
                    <a:pt x="63722" y="302133"/>
                  </a:lnTo>
                  <a:lnTo>
                    <a:pt x="56864" y="298132"/>
                  </a:lnTo>
                  <a:lnTo>
                    <a:pt x="54483" y="292036"/>
                  </a:lnTo>
                  <a:lnTo>
                    <a:pt x="51245" y="292417"/>
                  </a:lnTo>
                  <a:lnTo>
                    <a:pt x="48292" y="294418"/>
                  </a:lnTo>
                  <a:lnTo>
                    <a:pt x="53912" y="300133"/>
                  </a:lnTo>
                  <a:lnTo>
                    <a:pt x="49339" y="302323"/>
                  </a:lnTo>
                  <a:lnTo>
                    <a:pt x="44577" y="302895"/>
                  </a:lnTo>
                  <a:lnTo>
                    <a:pt x="40291" y="306705"/>
                  </a:lnTo>
                  <a:lnTo>
                    <a:pt x="41053" y="312992"/>
                  </a:lnTo>
                  <a:lnTo>
                    <a:pt x="42672" y="312801"/>
                  </a:lnTo>
                  <a:lnTo>
                    <a:pt x="42101" y="320897"/>
                  </a:lnTo>
                  <a:lnTo>
                    <a:pt x="39529" y="326041"/>
                  </a:lnTo>
                  <a:lnTo>
                    <a:pt x="39338" y="324421"/>
                  </a:lnTo>
                  <a:lnTo>
                    <a:pt x="37719" y="324612"/>
                  </a:lnTo>
                  <a:lnTo>
                    <a:pt x="37910" y="326231"/>
                  </a:lnTo>
                  <a:lnTo>
                    <a:pt x="36004" y="323278"/>
                  </a:lnTo>
                  <a:lnTo>
                    <a:pt x="32576" y="322135"/>
                  </a:lnTo>
                  <a:lnTo>
                    <a:pt x="30671" y="319183"/>
                  </a:lnTo>
                  <a:lnTo>
                    <a:pt x="27242" y="317944"/>
                  </a:lnTo>
                  <a:lnTo>
                    <a:pt x="23336" y="324898"/>
                  </a:lnTo>
                  <a:lnTo>
                    <a:pt x="23527" y="326422"/>
                  </a:lnTo>
                  <a:lnTo>
                    <a:pt x="21622" y="336328"/>
                  </a:lnTo>
                  <a:lnTo>
                    <a:pt x="17050" y="338518"/>
                  </a:lnTo>
                  <a:lnTo>
                    <a:pt x="14478" y="343662"/>
                  </a:lnTo>
                  <a:lnTo>
                    <a:pt x="8572" y="347567"/>
                  </a:lnTo>
                  <a:lnTo>
                    <a:pt x="7811" y="354139"/>
                  </a:lnTo>
                  <a:lnTo>
                    <a:pt x="12954" y="356711"/>
                  </a:lnTo>
                  <a:lnTo>
                    <a:pt x="15145" y="361188"/>
                  </a:lnTo>
                  <a:lnTo>
                    <a:pt x="18860" y="365569"/>
                  </a:lnTo>
                  <a:lnTo>
                    <a:pt x="19907" y="373475"/>
                  </a:lnTo>
                  <a:lnTo>
                    <a:pt x="13621" y="387096"/>
                  </a:lnTo>
                  <a:lnTo>
                    <a:pt x="18955" y="391192"/>
                  </a:lnTo>
                  <a:lnTo>
                    <a:pt x="23146" y="398717"/>
                  </a:lnTo>
                  <a:lnTo>
                    <a:pt x="26099" y="409575"/>
                  </a:lnTo>
                  <a:lnTo>
                    <a:pt x="29432" y="410718"/>
                  </a:lnTo>
                  <a:lnTo>
                    <a:pt x="31242" y="412051"/>
                  </a:lnTo>
                  <a:lnTo>
                    <a:pt x="32861" y="411861"/>
                  </a:lnTo>
                  <a:lnTo>
                    <a:pt x="35052" y="416433"/>
                  </a:lnTo>
                  <a:lnTo>
                    <a:pt x="29337" y="421957"/>
                  </a:lnTo>
                  <a:lnTo>
                    <a:pt x="27527" y="420529"/>
                  </a:lnTo>
                  <a:lnTo>
                    <a:pt x="26765" y="427101"/>
                  </a:lnTo>
                  <a:lnTo>
                    <a:pt x="22574" y="432435"/>
                  </a:lnTo>
                  <a:lnTo>
                    <a:pt x="27908" y="436531"/>
                  </a:lnTo>
                  <a:lnTo>
                    <a:pt x="27337" y="431863"/>
                  </a:lnTo>
                  <a:lnTo>
                    <a:pt x="38386" y="430435"/>
                  </a:lnTo>
                  <a:lnTo>
                    <a:pt x="40196" y="431768"/>
                  </a:lnTo>
                  <a:lnTo>
                    <a:pt x="43339" y="431387"/>
                  </a:lnTo>
                  <a:lnTo>
                    <a:pt x="46863" y="434150"/>
                  </a:lnTo>
                  <a:lnTo>
                    <a:pt x="51435" y="431959"/>
                  </a:lnTo>
                  <a:lnTo>
                    <a:pt x="56579" y="421672"/>
                  </a:lnTo>
                  <a:lnTo>
                    <a:pt x="58103" y="421481"/>
                  </a:lnTo>
                  <a:lnTo>
                    <a:pt x="62103" y="427387"/>
                  </a:lnTo>
                  <a:lnTo>
                    <a:pt x="58769" y="439007"/>
                  </a:lnTo>
                  <a:lnTo>
                    <a:pt x="57531" y="442436"/>
                  </a:lnTo>
                  <a:lnTo>
                    <a:pt x="59531" y="445389"/>
                  </a:lnTo>
                  <a:lnTo>
                    <a:pt x="58007" y="445580"/>
                  </a:lnTo>
                  <a:lnTo>
                    <a:pt x="59912" y="448532"/>
                  </a:lnTo>
                  <a:lnTo>
                    <a:pt x="55436" y="450723"/>
                  </a:lnTo>
                  <a:lnTo>
                    <a:pt x="51911" y="473583"/>
                  </a:lnTo>
                  <a:lnTo>
                    <a:pt x="46958" y="472630"/>
                  </a:lnTo>
                  <a:lnTo>
                    <a:pt x="45625" y="474440"/>
                  </a:lnTo>
                  <a:lnTo>
                    <a:pt x="42291" y="473202"/>
                  </a:lnTo>
                  <a:lnTo>
                    <a:pt x="41053" y="476536"/>
                  </a:lnTo>
                  <a:lnTo>
                    <a:pt x="39910" y="479965"/>
                  </a:lnTo>
                  <a:lnTo>
                    <a:pt x="36767" y="480346"/>
                  </a:lnTo>
                  <a:lnTo>
                    <a:pt x="34957" y="478917"/>
                  </a:lnTo>
                  <a:lnTo>
                    <a:pt x="28480" y="478155"/>
                  </a:lnTo>
                  <a:lnTo>
                    <a:pt x="23908" y="480346"/>
                  </a:lnTo>
                  <a:lnTo>
                    <a:pt x="23527" y="490061"/>
                  </a:lnTo>
                  <a:lnTo>
                    <a:pt x="20574" y="504825"/>
                  </a:lnTo>
                  <a:lnTo>
                    <a:pt x="19050" y="505015"/>
                  </a:lnTo>
                  <a:lnTo>
                    <a:pt x="20003" y="512921"/>
                  </a:lnTo>
                  <a:lnTo>
                    <a:pt x="15716" y="516731"/>
                  </a:lnTo>
                  <a:lnTo>
                    <a:pt x="12383" y="515493"/>
                  </a:lnTo>
                  <a:lnTo>
                    <a:pt x="857" y="513778"/>
                  </a:lnTo>
                  <a:lnTo>
                    <a:pt x="3143" y="531114"/>
                  </a:lnTo>
                  <a:lnTo>
                    <a:pt x="4477" y="529400"/>
                  </a:lnTo>
                  <a:lnTo>
                    <a:pt x="6668" y="533876"/>
                  </a:lnTo>
                  <a:lnTo>
                    <a:pt x="5905" y="540353"/>
                  </a:lnTo>
                  <a:lnTo>
                    <a:pt x="0" y="544354"/>
                  </a:lnTo>
                  <a:lnTo>
                    <a:pt x="16383" y="547116"/>
                  </a:lnTo>
                  <a:lnTo>
                    <a:pt x="20860" y="544925"/>
                  </a:lnTo>
                  <a:lnTo>
                    <a:pt x="24479" y="547688"/>
                  </a:lnTo>
                  <a:lnTo>
                    <a:pt x="28385" y="540734"/>
                  </a:lnTo>
                  <a:lnTo>
                    <a:pt x="31528" y="540353"/>
                  </a:lnTo>
                  <a:lnTo>
                    <a:pt x="34480" y="538353"/>
                  </a:lnTo>
                  <a:lnTo>
                    <a:pt x="37910" y="539496"/>
                  </a:lnTo>
                  <a:lnTo>
                    <a:pt x="42386" y="537401"/>
                  </a:lnTo>
                  <a:lnTo>
                    <a:pt x="53245" y="534352"/>
                  </a:lnTo>
                  <a:lnTo>
                    <a:pt x="63532" y="526637"/>
                  </a:lnTo>
                  <a:lnTo>
                    <a:pt x="71533" y="527209"/>
                  </a:lnTo>
                  <a:lnTo>
                    <a:pt x="73343" y="528638"/>
                  </a:lnTo>
                  <a:lnTo>
                    <a:pt x="76962" y="544163"/>
                  </a:lnTo>
                  <a:lnTo>
                    <a:pt x="81915" y="545116"/>
                  </a:lnTo>
                  <a:lnTo>
                    <a:pt x="83820" y="548068"/>
                  </a:lnTo>
                  <a:lnTo>
                    <a:pt x="84487" y="552831"/>
                  </a:lnTo>
                  <a:lnTo>
                    <a:pt x="86678" y="557403"/>
                  </a:lnTo>
                  <a:lnTo>
                    <a:pt x="86296" y="567023"/>
                  </a:lnTo>
                  <a:lnTo>
                    <a:pt x="85344" y="571976"/>
                  </a:lnTo>
                  <a:lnTo>
                    <a:pt x="81153" y="577310"/>
                  </a:lnTo>
                  <a:lnTo>
                    <a:pt x="81534" y="580453"/>
                  </a:lnTo>
                  <a:lnTo>
                    <a:pt x="79248" y="587216"/>
                  </a:lnTo>
                  <a:lnTo>
                    <a:pt x="78010" y="590550"/>
                  </a:lnTo>
                  <a:lnTo>
                    <a:pt x="80010" y="593503"/>
                  </a:lnTo>
                  <a:lnTo>
                    <a:pt x="82963" y="591502"/>
                  </a:lnTo>
                  <a:lnTo>
                    <a:pt x="85344" y="584835"/>
                  </a:lnTo>
                  <a:lnTo>
                    <a:pt x="101537" y="585978"/>
                  </a:lnTo>
                  <a:lnTo>
                    <a:pt x="102679" y="595408"/>
                  </a:lnTo>
                  <a:lnTo>
                    <a:pt x="104299" y="595217"/>
                  </a:lnTo>
                  <a:lnTo>
                    <a:pt x="108585" y="591502"/>
                  </a:lnTo>
                  <a:lnTo>
                    <a:pt x="113538" y="592455"/>
                  </a:lnTo>
                  <a:lnTo>
                    <a:pt x="115919" y="598551"/>
                  </a:lnTo>
                  <a:lnTo>
                    <a:pt x="119539" y="601313"/>
                  </a:lnTo>
                  <a:lnTo>
                    <a:pt x="119539" y="614172"/>
                  </a:lnTo>
                  <a:lnTo>
                    <a:pt x="124301" y="613505"/>
                  </a:lnTo>
                  <a:lnTo>
                    <a:pt x="127063" y="609981"/>
                  </a:lnTo>
                  <a:lnTo>
                    <a:pt x="130588" y="612743"/>
                  </a:lnTo>
                  <a:lnTo>
                    <a:pt x="130397" y="611124"/>
                  </a:lnTo>
                  <a:lnTo>
                    <a:pt x="136874" y="611886"/>
                  </a:lnTo>
                  <a:lnTo>
                    <a:pt x="138303" y="610172"/>
                  </a:lnTo>
                  <a:lnTo>
                    <a:pt x="139827" y="609981"/>
                  </a:lnTo>
                  <a:lnTo>
                    <a:pt x="143256" y="611124"/>
                  </a:lnTo>
                  <a:lnTo>
                    <a:pt x="145352" y="615601"/>
                  </a:lnTo>
                  <a:lnTo>
                    <a:pt x="151733" y="614839"/>
                  </a:lnTo>
                  <a:lnTo>
                    <a:pt x="155067" y="615982"/>
                  </a:lnTo>
                  <a:lnTo>
                    <a:pt x="162592" y="611886"/>
                  </a:lnTo>
                  <a:lnTo>
                    <a:pt x="167926" y="615982"/>
                  </a:lnTo>
                  <a:lnTo>
                    <a:pt x="166688" y="619315"/>
                  </a:lnTo>
                  <a:lnTo>
                    <a:pt x="173641" y="623316"/>
                  </a:lnTo>
                  <a:lnTo>
                    <a:pt x="174784" y="619887"/>
                  </a:lnTo>
                  <a:lnTo>
                    <a:pt x="180118" y="624078"/>
                  </a:lnTo>
                  <a:lnTo>
                    <a:pt x="178022" y="632365"/>
                  </a:lnTo>
                  <a:lnTo>
                    <a:pt x="179927" y="635318"/>
                  </a:lnTo>
                  <a:lnTo>
                    <a:pt x="178784" y="638651"/>
                  </a:lnTo>
                  <a:lnTo>
                    <a:pt x="179165" y="641794"/>
                  </a:lnTo>
                  <a:lnTo>
                    <a:pt x="175070" y="647128"/>
                  </a:lnTo>
                  <a:lnTo>
                    <a:pt x="176879" y="648557"/>
                  </a:lnTo>
                  <a:lnTo>
                    <a:pt x="175641" y="651891"/>
                  </a:lnTo>
                  <a:lnTo>
                    <a:pt x="175832" y="653415"/>
                  </a:lnTo>
                  <a:lnTo>
                    <a:pt x="177641" y="654844"/>
                  </a:lnTo>
                  <a:lnTo>
                    <a:pt x="184404" y="657225"/>
                  </a:lnTo>
                  <a:lnTo>
                    <a:pt x="185738" y="655415"/>
                  </a:lnTo>
                  <a:lnTo>
                    <a:pt x="189071" y="656558"/>
                  </a:lnTo>
                  <a:lnTo>
                    <a:pt x="190500" y="654844"/>
                  </a:lnTo>
                  <a:lnTo>
                    <a:pt x="192691" y="659321"/>
                  </a:lnTo>
                  <a:lnTo>
                    <a:pt x="194977" y="652653"/>
                  </a:lnTo>
                  <a:lnTo>
                    <a:pt x="205835" y="649605"/>
                  </a:lnTo>
                  <a:lnTo>
                    <a:pt x="207264" y="660654"/>
                  </a:lnTo>
                  <a:lnTo>
                    <a:pt x="214217" y="664655"/>
                  </a:lnTo>
                  <a:lnTo>
                    <a:pt x="223457" y="674656"/>
                  </a:lnTo>
                  <a:lnTo>
                    <a:pt x="225076" y="674465"/>
                  </a:lnTo>
                  <a:lnTo>
                    <a:pt x="234125" y="682943"/>
                  </a:lnTo>
                  <a:lnTo>
                    <a:pt x="245936" y="675037"/>
                  </a:lnTo>
                  <a:lnTo>
                    <a:pt x="247745" y="676370"/>
                  </a:lnTo>
                  <a:lnTo>
                    <a:pt x="250508" y="672846"/>
                  </a:lnTo>
                  <a:lnTo>
                    <a:pt x="252317" y="674180"/>
                  </a:lnTo>
                  <a:lnTo>
                    <a:pt x="258223" y="670274"/>
                  </a:lnTo>
                  <a:lnTo>
                    <a:pt x="258413" y="671798"/>
                  </a:lnTo>
                  <a:lnTo>
                    <a:pt x="261366" y="669798"/>
                  </a:lnTo>
                  <a:lnTo>
                    <a:pt x="267081" y="677132"/>
                  </a:lnTo>
                  <a:lnTo>
                    <a:pt x="280892" y="672179"/>
                  </a:lnTo>
                  <a:lnTo>
                    <a:pt x="279845" y="664273"/>
                  </a:lnTo>
                  <a:lnTo>
                    <a:pt x="286417" y="677894"/>
                  </a:lnTo>
                  <a:lnTo>
                    <a:pt x="288417" y="680847"/>
                  </a:lnTo>
                  <a:lnTo>
                    <a:pt x="297275" y="674846"/>
                  </a:lnTo>
                  <a:lnTo>
                    <a:pt x="311277" y="684276"/>
                  </a:lnTo>
                  <a:lnTo>
                    <a:pt x="320040" y="689610"/>
                  </a:lnTo>
                  <a:lnTo>
                    <a:pt x="317278" y="693134"/>
                  </a:lnTo>
                  <a:lnTo>
                    <a:pt x="317849" y="697897"/>
                  </a:lnTo>
                  <a:lnTo>
                    <a:pt x="310420" y="714947"/>
                  </a:lnTo>
                  <a:lnTo>
                    <a:pt x="319088" y="720185"/>
                  </a:lnTo>
                  <a:lnTo>
                    <a:pt x="323183" y="714851"/>
                  </a:lnTo>
                  <a:lnTo>
                    <a:pt x="327946" y="714280"/>
                  </a:lnTo>
                  <a:lnTo>
                    <a:pt x="344138" y="728282"/>
                  </a:lnTo>
                  <a:lnTo>
                    <a:pt x="355378" y="728377"/>
                  </a:lnTo>
                  <a:lnTo>
                    <a:pt x="367475" y="747712"/>
                  </a:lnTo>
                  <a:lnTo>
                    <a:pt x="373666" y="758190"/>
                  </a:lnTo>
                  <a:lnTo>
                    <a:pt x="372428" y="761524"/>
                  </a:lnTo>
                  <a:lnTo>
                    <a:pt x="376238" y="765810"/>
                  </a:lnTo>
                  <a:lnTo>
                    <a:pt x="383858" y="763238"/>
                  </a:lnTo>
                  <a:lnTo>
                    <a:pt x="381191" y="766858"/>
                  </a:lnTo>
                  <a:lnTo>
                    <a:pt x="382905" y="768191"/>
                  </a:lnTo>
                  <a:lnTo>
                    <a:pt x="381381" y="768382"/>
                  </a:lnTo>
                  <a:lnTo>
                    <a:pt x="381953" y="773144"/>
                  </a:lnTo>
                  <a:lnTo>
                    <a:pt x="389096" y="791432"/>
                  </a:lnTo>
                  <a:lnTo>
                    <a:pt x="396812" y="788860"/>
                  </a:lnTo>
                  <a:lnTo>
                    <a:pt x="403479" y="791242"/>
                  </a:lnTo>
                  <a:lnTo>
                    <a:pt x="409385" y="787241"/>
                  </a:lnTo>
                  <a:lnTo>
                    <a:pt x="412623" y="786860"/>
                  </a:lnTo>
                  <a:lnTo>
                    <a:pt x="416719" y="781526"/>
                  </a:lnTo>
                  <a:lnTo>
                    <a:pt x="419862" y="781145"/>
                  </a:lnTo>
                  <a:lnTo>
                    <a:pt x="431292" y="782860"/>
                  </a:lnTo>
                  <a:lnTo>
                    <a:pt x="438436" y="775526"/>
                  </a:lnTo>
                  <a:lnTo>
                    <a:pt x="440531" y="767239"/>
                  </a:lnTo>
                  <a:lnTo>
                    <a:pt x="450818" y="759524"/>
                  </a:lnTo>
                  <a:lnTo>
                    <a:pt x="454914" y="754190"/>
                  </a:lnTo>
                  <a:lnTo>
                    <a:pt x="456057" y="750856"/>
                  </a:lnTo>
                  <a:lnTo>
                    <a:pt x="460438" y="747141"/>
                  </a:lnTo>
                  <a:lnTo>
                    <a:pt x="460058" y="743902"/>
                  </a:lnTo>
                  <a:lnTo>
                    <a:pt x="465106" y="733711"/>
                  </a:lnTo>
                  <a:lnTo>
                    <a:pt x="476345" y="721043"/>
                  </a:lnTo>
                  <a:lnTo>
                    <a:pt x="479488" y="720566"/>
                  </a:lnTo>
                  <a:lnTo>
                    <a:pt x="484061" y="718471"/>
                  </a:lnTo>
                  <a:lnTo>
                    <a:pt x="482632" y="707422"/>
                  </a:lnTo>
                  <a:lnTo>
                    <a:pt x="504920" y="706184"/>
                  </a:lnTo>
                  <a:lnTo>
                    <a:pt x="508063" y="705707"/>
                  </a:lnTo>
                  <a:lnTo>
                    <a:pt x="509492" y="703993"/>
                  </a:lnTo>
                  <a:lnTo>
                    <a:pt x="523875" y="703707"/>
                  </a:lnTo>
                  <a:lnTo>
                    <a:pt x="533305" y="702564"/>
                  </a:lnTo>
                  <a:lnTo>
                    <a:pt x="545211" y="707422"/>
                  </a:lnTo>
                  <a:lnTo>
                    <a:pt x="557403" y="702659"/>
                  </a:lnTo>
                  <a:lnTo>
                    <a:pt x="557594" y="691420"/>
                  </a:lnTo>
                  <a:lnTo>
                    <a:pt x="563499" y="674656"/>
                  </a:lnTo>
                  <a:lnTo>
                    <a:pt x="565595" y="666369"/>
                  </a:lnTo>
                  <a:lnTo>
                    <a:pt x="566833" y="662940"/>
                  </a:lnTo>
                  <a:lnTo>
                    <a:pt x="563975" y="653701"/>
                  </a:lnTo>
                  <a:lnTo>
                    <a:pt x="564737" y="647224"/>
                  </a:lnTo>
                  <a:lnTo>
                    <a:pt x="568262" y="637127"/>
                  </a:lnTo>
                  <a:lnTo>
                    <a:pt x="572262" y="630174"/>
                  </a:lnTo>
                  <a:lnTo>
                    <a:pt x="574167" y="620363"/>
                  </a:lnTo>
                  <a:lnTo>
                    <a:pt x="571405" y="611029"/>
                  </a:lnTo>
                  <a:lnTo>
                    <a:pt x="572357" y="606171"/>
                  </a:lnTo>
                  <a:lnTo>
                    <a:pt x="576739" y="602361"/>
                  </a:lnTo>
                  <a:lnTo>
                    <a:pt x="579215" y="597218"/>
                  </a:lnTo>
                  <a:lnTo>
                    <a:pt x="585121" y="593312"/>
                  </a:lnTo>
                  <a:lnTo>
                    <a:pt x="596170" y="591884"/>
                  </a:lnTo>
                  <a:lnTo>
                    <a:pt x="599122" y="589883"/>
                  </a:lnTo>
                  <a:lnTo>
                    <a:pt x="615601" y="592646"/>
                  </a:lnTo>
                  <a:lnTo>
                    <a:pt x="619887" y="588835"/>
                  </a:lnTo>
                  <a:lnTo>
                    <a:pt x="622649" y="585311"/>
                  </a:lnTo>
                  <a:lnTo>
                    <a:pt x="628936" y="584454"/>
                  </a:lnTo>
                  <a:lnTo>
                    <a:pt x="637889" y="591407"/>
                  </a:lnTo>
                  <a:lnTo>
                    <a:pt x="649129" y="591598"/>
                  </a:lnTo>
                  <a:lnTo>
                    <a:pt x="652272" y="591122"/>
                  </a:lnTo>
                  <a:lnTo>
                    <a:pt x="654558" y="584454"/>
                  </a:lnTo>
                  <a:lnTo>
                    <a:pt x="662464" y="583406"/>
                  </a:lnTo>
                  <a:lnTo>
                    <a:pt x="680466" y="573119"/>
                  </a:lnTo>
                  <a:lnTo>
                    <a:pt x="684562" y="567785"/>
                  </a:lnTo>
                  <a:lnTo>
                    <a:pt x="690086" y="560642"/>
                  </a:lnTo>
                  <a:lnTo>
                    <a:pt x="690848" y="554164"/>
                  </a:lnTo>
                  <a:lnTo>
                    <a:pt x="699516" y="546640"/>
                  </a:lnTo>
                  <a:lnTo>
                    <a:pt x="697516" y="543687"/>
                  </a:lnTo>
                  <a:lnTo>
                    <a:pt x="698468" y="538734"/>
                  </a:lnTo>
                  <a:lnTo>
                    <a:pt x="705707" y="520160"/>
                  </a:lnTo>
                  <a:lnTo>
                    <a:pt x="712470" y="509683"/>
                  </a:lnTo>
                  <a:lnTo>
                    <a:pt x="707612" y="484632"/>
                  </a:lnTo>
                  <a:lnTo>
                    <a:pt x="709994" y="477964"/>
                  </a:lnTo>
                  <a:lnTo>
                    <a:pt x="711613" y="477774"/>
                  </a:lnTo>
                  <a:lnTo>
                    <a:pt x="713327" y="479107"/>
                  </a:lnTo>
                  <a:lnTo>
                    <a:pt x="714947" y="478917"/>
                  </a:lnTo>
                  <a:lnTo>
                    <a:pt x="712375" y="471202"/>
                  </a:lnTo>
                  <a:lnTo>
                    <a:pt x="705231" y="465772"/>
                  </a:lnTo>
                  <a:lnTo>
                    <a:pt x="704469" y="459391"/>
                  </a:lnTo>
                  <a:lnTo>
                    <a:pt x="706755" y="452723"/>
                  </a:lnTo>
                  <a:lnTo>
                    <a:pt x="711137" y="448913"/>
                  </a:lnTo>
                  <a:lnTo>
                    <a:pt x="710089" y="441007"/>
                  </a:lnTo>
                  <a:lnTo>
                    <a:pt x="711518" y="439293"/>
                  </a:lnTo>
                  <a:lnTo>
                    <a:pt x="724662" y="429577"/>
                  </a:lnTo>
                  <a:lnTo>
                    <a:pt x="718757" y="420719"/>
                  </a:lnTo>
                  <a:lnTo>
                    <a:pt x="718852" y="396621"/>
                  </a:lnTo>
                  <a:lnTo>
                    <a:pt x="724567" y="391096"/>
                  </a:lnTo>
                  <a:lnTo>
                    <a:pt x="727901" y="379476"/>
                  </a:lnTo>
                  <a:lnTo>
                    <a:pt x="729520" y="379285"/>
                  </a:lnTo>
                  <a:lnTo>
                    <a:pt x="727901" y="366617"/>
                  </a:lnTo>
                  <a:lnTo>
                    <a:pt x="732663" y="366046"/>
                  </a:lnTo>
                  <a:lnTo>
                    <a:pt x="731996" y="361283"/>
                  </a:lnTo>
                  <a:lnTo>
                    <a:pt x="733997" y="351377"/>
                  </a:lnTo>
                  <a:lnTo>
                    <a:pt x="726091" y="352425"/>
                  </a:lnTo>
                  <a:lnTo>
                    <a:pt x="727805" y="340995"/>
                  </a:lnTo>
                  <a:lnTo>
                    <a:pt x="726186" y="328327"/>
                  </a:lnTo>
                  <a:lnTo>
                    <a:pt x="736663" y="322231"/>
                  </a:lnTo>
                  <a:lnTo>
                    <a:pt x="737235" y="314134"/>
                  </a:lnTo>
                  <a:lnTo>
                    <a:pt x="751808" y="302609"/>
                  </a:lnTo>
                  <a:lnTo>
                    <a:pt x="751999" y="291370"/>
                  </a:lnTo>
                  <a:lnTo>
                    <a:pt x="751142" y="285083"/>
                  </a:lnTo>
                  <a:lnTo>
                    <a:pt x="750951" y="283464"/>
                  </a:lnTo>
                  <a:lnTo>
                    <a:pt x="755333" y="279749"/>
                  </a:lnTo>
                  <a:lnTo>
                    <a:pt x="758666" y="280892"/>
                  </a:lnTo>
                  <a:lnTo>
                    <a:pt x="762953" y="277177"/>
                  </a:lnTo>
                  <a:lnTo>
                    <a:pt x="767905" y="278130"/>
                  </a:lnTo>
                  <a:lnTo>
                    <a:pt x="770668" y="274606"/>
                  </a:lnTo>
                  <a:lnTo>
                    <a:pt x="774002" y="275749"/>
                  </a:lnTo>
                  <a:lnTo>
                    <a:pt x="776764" y="272225"/>
                  </a:lnTo>
                  <a:lnTo>
                    <a:pt x="792956" y="273367"/>
                  </a:lnTo>
                  <a:lnTo>
                    <a:pt x="797528" y="271177"/>
                  </a:lnTo>
                  <a:lnTo>
                    <a:pt x="806768" y="268319"/>
                  </a:lnTo>
                  <a:lnTo>
                    <a:pt x="811149" y="264605"/>
                  </a:lnTo>
                  <a:lnTo>
                    <a:pt x="817245" y="262223"/>
                  </a:lnTo>
                  <a:lnTo>
                    <a:pt x="831437" y="260413"/>
                  </a:lnTo>
                  <a:lnTo>
                    <a:pt x="832771" y="258604"/>
                  </a:lnTo>
                  <a:lnTo>
                    <a:pt x="832390" y="255460"/>
                  </a:lnTo>
                  <a:lnTo>
                    <a:pt x="844582" y="250698"/>
                  </a:lnTo>
                  <a:lnTo>
                    <a:pt x="851726" y="243364"/>
                  </a:lnTo>
                  <a:lnTo>
                    <a:pt x="855059" y="244602"/>
                  </a:lnTo>
                  <a:lnTo>
                    <a:pt x="875157" y="238792"/>
                  </a:lnTo>
                  <a:lnTo>
                    <a:pt x="885444" y="231076"/>
                  </a:lnTo>
                  <a:lnTo>
                    <a:pt x="892683" y="212503"/>
                  </a:lnTo>
                  <a:lnTo>
                    <a:pt x="896969" y="208788"/>
                  </a:lnTo>
                  <a:lnTo>
                    <a:pt x="903351" y="207931"/>
                  </a:lnTo>
                  <a:lnTo>
                    <a:pt x="899160" y="200501"/>
                  </a:lnTo>
                  <a:lnTo>
                    <a:pt x="906494" y="194691"/>
                  </a:lnTo>
                  <a:lnTo>
                    <a:pt x="910019" y="184690"/>
                  </a:lnTo>
                  <a:lnTo>
                    <a:pt x="910019" y="184690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3" name="Volný tvar: obrazec 32">
              <a:extLst>
                <a:ext uri="{FF2B5EF4-FFF2-40B4-BE49-F238E27FC236}">
                  <a16:creationId xmlns:a16="http://schemas.microsoft.com/office/drawing/2014/main" id="{6023EBE9-9C75-C316-CD8F-FC5634A25149}"/>
                </a:ext>
              </a:extLst>
            </p:cNvPr>
            <p:cNvSpPr>
              <a:spLocks noChangeAspect="1"/>
            </p:cNvSpPr>
            <p:nvPr userDrawn="1">
              <p:custDataLst>
                <p:tags r:id="rId5"/>
              </p:custDataLst>
            </p:nvPr>
          </p:nvSpPr>
          <p:spPr>
            <a:xfrm>
              <a:off x="4709541" y="3644550"/>
              <a:ext cx="1468659" cy="1218057"/>
            </a:xfrm>
            <a:custGeom>
              <a:avLst/>
              <a:gdLst>
                <a:gd name="connsiteX0" fmla="*/ 1468660 w 1468659"/>
                <a:gd name="connsiteY0" fmla="*/ 616839 h 1218057"/>
                <a:gd name="connsiteX1" fmla="*/ 1453801 w 1468659"/>
                <a:gd name="connsiteY1" fmla="*/ 601027 h 1218057"/>
                <a:gd name="connsiteX2" fmla="*/ 1456563 w 1468659"/>
                <a:gd name="connsiteY2" fmla="*/ 597503 h 1218057"/>
                <a:gd name="connsiteX3" fmla="*/ 1461230 w 1468659"/>
                <a:gd name="connsiteY3" fmla="*/ 596932 h 1218057"/>
                <a:gd name="connsiteX4" fmla="*/ 1459325 w 1468659"/>
                <a:gd name="connsiteY4" fmla="*/ 593979 h 1218057"/>
                <a:gd name="connsiteX5" fmla="*/ 1451039 w 1468659"/>
                <a:gd name="connsiteY5" fmla="*/ 591788 h 1218057"/>
                <a:gd name="connsiteX6" fmla="*/ 1448086 w 1468659"/>
                <a:gd name="connsiteY6" fmla="*/ 593788 h 1218057"/>
                <a:gd name="connsiteX7" fmla="*/ 1449800 w 1468659"/>
                <a:gd name="connsiteY7" fmla="*/ 595122 h 1218057"/>
                <a:gd name="connsiteX8" fmla="*/ 1448467 w 1468659"/>
                <a:gd name="connsiteY8" fmla="*/ 596932 h 1218057"/>
                <a:gd name="connsiteX9" fmla="*/ 1439132 w 1468659"/>
                <a:gd name="connsiteY9" fmla="*/ 586930 h 1218057"/>
                <a:gd name="connsiteX10" fmla="*/ 1435608 w 1468659"/>
                <a:gd name="connsiteY10" fmla="*/ 584168 h 1218057"/>
                <a:gd name="connsiteX11" fmla="*/ 1436942 w 1468659"/>
                <a:gd name="connsiteY11" fmla="*/ 582359 h 1218057"/>
                <a:gd name="connsiteX12" fmla="*/ 1444847 w 1468659"/>
                <a:gd name="connsiteY12" fmla="*/ 581406 h 1218057"/>
                <a:gd name="connsiteX13" fmla="*/ 1446657 w 1468659"/>
                <a:gd name="connsiteY13" fmla="*/ 582739 h 1218057"/>
                <a:gd name="connsiteX14" fmla="*/ 1444276 w 1468659"/>
                <a:gd name="connsiteY14" fmla="*/ 576643 h 1218057"/>
                <a:gd name="connsiteX15" fmla="*/ 1443038 w 1468659"/>
                <a:gd name="connsiteY15" fmla="*/ 567118 h 1218057"/>
                <a:gd name="connsiteX16" fmla="*/ 1436370 w 1468659"/>
                <a:gd name="connsiteY16" fmla="*/ 564832 h 1218057"/>
                <a:gd name="connsiteX17" fmla="*/ 1433989 w 1468659"/>
                <a:gd name="connsiteY17" fmla="*/ 571500 h 1218057"/>
                <a:gd name="connsiteX18" fmla="*/ 1434751 w 1468659"/>
                <a:gd name="connsiteY18" fmla="*/ 565023 h 1218057"/>
                <a:gd name="connsiteX19" fmla="*/ 1427607 w 1468659"/>
                <a:gd name="connsiteY19" fmla="*/ 559498 h 1218057"/>
                <a:gd name="connsiteX20" fmla="*/ 1424654 w 1468659"/>
                <a:gd name="connsiteY20" fmla="*/ 561499 h 1218057"/>
                <a:gd name="connsiteX21" fmla="*/ 1421321 w 1468659"/>
                <a:gd name="connsiteY21" fmla="*/ 560356 h 1218057"/>
                <a:gd name="connsiteX22" fmla="*/ 1420368 w 1468659"/>
                <a:gd name="connsiteY22" fmla="*/ 565213 h 1218057"/>
                <a:gd name="connsiteX23" fmla="*/ 1424083 w 1468659"/>
                <a:gd name="connsiteY23" fmla="*/ 569595 h 1218057"/>
                <a:gd name="connsiteX24" fmla="*/ 1421321 w 1468659"/>
                <a:gd name="connsiteY24" fmla="*/ 573119 h 1218057"/>
                <a:gd name="connsiteX25" fmla="*/ 1416463 w 1468659"/>
                <a:gd name="connsiteY25" fmla="*/ 572167 h 1218057"/>
                <a:gd name="connsiteX26" fmla="*/ 1416177 w 1468659"/>
                <a:gd name="connsiteY26" fmla="*/ 570547 h 1218057"/>
                <a:gd name="connsiteX27" fmla="*/ 1412462 w 1468659"/>
                <a:gd name="connsiteY27" fmla="*/ 566261 h 1218057"/>
                <a:gd name="connsiteX28" fmla="*/ 1404366 w 1468659"/>
                <a:gd name="connsiteY28" fmla="*/ 565690 h 1218057"/>
                <a:gd name="connsiteX29" fmla="*/ 1403033 w 1468659"/>
                <a:gd name="connsiteY29" fmla="*/ 567500 h 1218057"/>
                <a:gd name="connsiteX30" fmla="*/ 1396270 w 1468659"/>
                <a:gd name="connsiteY30" fmla="*/ 577882 h 1218057"/>
                <a:gd name="connsiteX31" fmla="*/ 1391412 w 1468659"/>
                <a:gd name="connsiteY31" fmla="*/ 576929 h 1218057"/>
                <a:gd name="connsiteX32" fmla="*/ 1384840 w 1468659"/>
                <a:gd name="connsiteY32" fmla="*/ 576167 h 1218057"/>
                <a:gd name="connsiteX33" fmla="*/ 1373410 w 1468659"/>
                <a:gd name="connsiteY33" fmla="*/ 574453 h 1218057"/>
                <a:gd name="connsiteX34" fmla="*/ 1373791 w 1468659"/>
                <a:gd name="connsiteY34" fmla="*/ 577596 h 1218057"/>
                <a:gd name="connsiteX35" fmla="*/ 1370457 w 1468659"/>
                <a:gd name="connsiteY35" fmla="*/ 576453 h 1218057"/>
                <a:gd name="connsiteX36" fmla="*/ 1369123 w 1468659"/>
                <a:gd name="connsiteY36" fmla="*/ 578168 h 1218057"/>
                <a:gd name="connsiteX37" fmla="*/ 1367123 w 1468659"/>
                <a:gd name="connsiteY37" fmla="*/ 575215 h 1218057"/>
                <a:gd name="connsiteX38" fmla="*/ 1365504 w 1468659"/>
                <a:gd name="connsiteY38" fmla="*/ 575405 h 1218057"/>
                <a:gd name="connsiteX39" fmla="*/ 1357789 w 1468659"/>
                <a:gd name="connsiteY39" fmla="*/ 565213 h 1218057"/>
                <a:gd name="connsiteX40" fmla="*/ 1354264 w 1468659"/>
                <a:gd name="connsiteY40" fmla="*/ 562451 h 1218057"/>
                <a:gd name="connsiteX41" fmla="*/ 1351121 w 1468659"/>
                <a:gd name="connsiteY41" fmla="*/ 562832 h 1218057"/>
                <a:gd name="connsiteX42" fmla="*/ 1348168 w 1468659"/>
                <a:gd name="connsiteY42" fmla="*/ 564832 h 1218057"/>
                <a:gd name="connsiteX43" fmla="*/ 1346740 w 1468659"/>
                <a:gd name="connsiteY43" fmla="*/ 566642 h 1218057"/>
                <a:gd name="connsiteX44" fmla="*/ 1345216 w 1468659"/>
                <a:gd name="connsiteY44" fmla="*/ 566833 h 1218057"/>
                <a:gd name="connsiteX45" fmla="*/ 1343025 w 1468659"/>
                <a:gd name="connsiteY45" fmla="*/ 575119 h 1218057"/>
                <a:gd name="connsiteX46" fmla="*/ 1340453 w 1468659"/>
                <a:gd name="connsiteY46" fmla="*/ 580263 h 1218057"/>
                <a:gd name="connsiteX47" fmla="*/ 1338739 w 1468659"/>
                <a:gd name="connsiteY47" fmla="*/ 578834 h 1218057"/>
                <a:gd name="connsiteX48" fmla="*/ 1339501 w 1468659"/>
                <a:gd name="connsiteY48" fmla="*/ 572357 h 1218057"/>
                <a:gd name="connsiteX49" fmla="*/ 1330928 w 1468659"/>
                <a:gd name="connsiteY49" fmla="*/ 568643 h 1218057"/>
                <a:gd name="connsiteX50" fmla="*/ 1327214 w 1468659"/>
                <a:gd name="connsiteY50" fmla="*/ 564261 h 1218057"/>
                <a:gd name="connsiteX51" fmla="*/ 1320260 w 1468659"/>
                <a:gd name="connsiteY51" fmla="*/ 560356 h 1218057"/>
                <a:gd name="connsiteX52" fmla="*/ 1318736 w 1468659"/>
                <a:gd name="connsiteY52" fmla="*/ 560546 h 1218057"/>
                <a:gd name="connsiteX53" fmla="*/ 1315593 w 1468659"/>
                <a:gd name="connsiteY53" fmla="*/ 560927 h 1218057"/>
                <a:gd name="connsiteX54" fmla="*/ 1308640 w 1468659"/>
                <a:gd name="connsiteY54" fmla="*/ 557022 h 1218057"/>
                <a:gd name="connsiteX55" fmla="*/ 1309592 w 1468659"/>
                <a:gd name="connsiteY55" fmla="*/ 552069 h 1218057"/>
                <a:gd name="connsiteX56" fmla="*/ 1307211 w 1468659"/>
                <a:gd name="connsiteY56" fmla="*/ 545973 h 1218057"/>
                <a:gd name="connsiteX57" fmla="*/ 1303496 w 1468659"/>
                <a:gd name="connsiteY57" fmla="*/ 541687 h 1218057"/>
                <a:gd name="connsiteX58" fmla="*/ 1302353 w 1468659"/>
                <a:gd name="connsiteY58" fmla="*/ 545021 h 1218057"/>
                <a:gd name="connsiteX59" fmla="*/ 1295400 w 1468659"/>
                <a:gd name="connsiteY59" fmla="*/ 541115 h 1218057"/>
                <a:gd name="connsiteX60" fmla="*/ 1296352 w 1468659"/>
                <a:gd name="connsiteY60" fmla="*/ 536162 h 1218057"/>
                <a:gd name="connsiteX61" fmla="*/ 1294829 w 1468659"/>
                <a:gd name="connsiteY61" fmla="*/ 536353 h 1218057"/>
                <a:gd name="connsiteX62" fmla="*/ 1291400 w 1468659"/>
                <a:gd name="connsiteY62" fmla="*/ 535114 h 1218057"/>
                <a:gd name="connsiteX63" fmla="*/ 1293590 w 1468659"/>
                <a:gd name="connsiteY63" fmla="*/ 539686 h 1218057"/>
                <a:gd name="connsiteX64" fmla="*/ 1290447 w 1468659"/>
                <a:gd name="connsiteY64" fmla="*/ 540068 h 1218057"/>
                <a:gd name="connsiteX65" fmla="*/ 1288447 w 1468659"/>
                <a:gd name="connsiteY65" fmla="*/ 537115 h 1218057"/>
                <a:gd name="connsiteX66" fmla="*/ 1285875 w 1468659"/>
                <a:gd name="connsiteY66" fmla="*/ 529495 h 1218057"/>
                <a:gd name="connsiteX67" fmla="*/ 1285304 w 1468659"/>
                <a:gd name="connsiteY67" fmla="*/ 524732 h 1218057"/>
                <a:gd name="connsiteX68" fmla="*/ 1281970 w 1468659"/>
                <a:gd name="connsiteY68" fmla="*/ 523494 h 1218057"/>
                <a:gd name="connsiteX69" fmla="*/ 1278731 w 1468659"/>
                <a:gd name="connsiteY69" fmla="*/ 523970 h 1218057"/>
                <a:gd name="connsiteX70" fmla="*/ 1282732 w 1468659"/>
                <a:gd name="connsiteY70" fmla="*/ 517017 h 1218057"/>
                <a:gd name="connsiteX71" fmla="*/ 1282732 w 1468659"/>
                <a:gd name="connsiteY71" fmla="*/ 517017 h 1218057"/>
                <a:gd name="connsiteX72" fmla="*/ 1281875 w 1468659"/>
                <a:gd name="connsiteY72" fmla="*/ 510730 h 1218057"/>
                <a:gd name="connsiteX73" fmla="*/ 1285875 w 1468659"/>
                <a:gd name="connsiteY73" fmla="*/ 503777 h 1218057"/>
                <a:gd name="connsiteX74" fmla="*/ 1285399 w 1468659"/>
                <a:gd name="connsiteY74" fmla="*/ 500634 h 1218057"/>
                <a:gd name="connsiteX75" fmla="*/ 1289399 w 1468659"/>
                <a:gd name="connsiteY75" fmla="*/ 493681 h 1218057"/>
                <a:gd name="connsiteX76" fmla="*/ 1285970 w 1468659"/>
                <a:gd name="connsiteY76" fmla="*/ 492538 h 1218057"/>
                <a:gd name="connsiteX77" fmla="*/ 1287399 w 1468659"/>
                <a:gd name="connsiteY77" fmla="*/ 490728 h 1218057"/>
                <a:gd name="connsiteX78" fmla="*/ 1285208 w 1468659"/>
                <a:gd name="connsiteY78" fmla="*/ 486251 h 1218057"/>
                <a:gd name="connsiteX79" fmla="*/ 1283970 w 1468659"/>
                <a:gd name="connsiteY79" fmla="*/ 476726 h 1218057"/>
                <a:gd name="connsiteX80" fmla="*/ 1284542 w 1468659"/>
                <a:gd name="connsiteY80" fmla="*/ 468725 h 1218057"/>
                <a:gd name="connsiteX81" fmla="*/ 1281017 w 1468659"/>
                <a:gd name="connsiteY81" fmla="*/ 465963 h 1218057"/>
                <a:gd name="connsiteX82" fmla="*/ 1274255 w 1468659"/>
                <a:gd name="connsiteY82" fmla="*/ 463582 h 1218057"/>
                <a:gd name="connsiteX83" fmla="*/ 1271302 w 1468659"/>
                <a:gd name="connsiteY83" fmla="*/ 465582 h 1218057"/>
                <a:gd name="connsiteX84" fmla="*/ 1268159 w 1468659"/>
                <a:gd name="connsiteY84" fmla="*/ 465963 h 1218057"/>
                <a:gd name="connsiteX85" fmla="*/ 1266158 w 1468659"/>
                <a:gd name="connsiteY85" fmla="*/ 463010 h 1218057"/>
                <a:gd name="connsiteX86" fmla="*/ 1261491 w 1468659"/>
                <a:gd name="connsiteY86" fmla="*/ 463582 h 1218057"/>
                <a:gd name="connsiteX87" fmla="*/ 1262063 w 1468659"/>
                <a:gd name="connsiteY87" fmla="*/ 468344 h 1218057"/>
                <a:gd name="connsiteX88" fmla="*/ 1255967 w 1468659"/>
                <a:gd name="connsiteY88" fmla="*/ 470725 h 1218057"/>
                <a:gd name="connsiteX89" fmla="*/ 1247299 w 1468659"/>
                <a:gd name="connsiteY89" fmla="*/ 465392 h 1218057"/>
                <a:gd name="connsiteX90" fmla="*/ 1240917 w 1468659"/>
                <a:gd name="connsiteY90" fmla="*/ 466249 h 1218057"/>
                <a:gd name="connsiteX91" fmla="*/ 1236821 w 1468659"/>
                <a:gd name="connsiteY91" fmla="*/ 471583 h 1218057"/>
                <a:gd name="connsiteX92" fmla="*/ 1232249 w 1468659"/>
                <a:gd name="connsiteY92" fmla="*/ 473773 h 1218057"/>
                <a:gd name="connsiteX93" fmla="*/ 1230344 w 1468659"/>
                <a:gd name="connsiteY93" fmla="*/ 470821 h 1218057"/>
                <a:gd name="connsiteX94" fmla="*/ 1226915 w 1468659"/>
                <a:gd name="connsiteY94" fmla="*/ 469582 h 1218057"/>
                <a:gd name="connsiteX95" fmla="*/ 1222629 w 1468659"/>
                <a:gd name="connsiteY95" fmla="*/ 473392 h 1218057"/>
                <a:gd name="connsiteX96" fmla="*/ 1223010 w 1468659"/>
                <a:gd name="connsiteY96" fmla="*/ 476536 h 1218057"/>
                <a:gd name="connsiteX97" fmla="*/ 1218533 w 1468659"/>
                <a:gd name="connsiteY97" fmla="*/ 478726 h 1218057"/>
                <a:gd name="connsiteX98" fmla="*/ 1220819 w 1468659"/>
                <a:gd name="connsiteY98" fmla="*/ 471964 h 1218057"/>
                <a:gd name="connsiteX99" fmla="*/ 1219105 w 1468659"/>
                <a:gd name="connsiteY99" fmla="*/ 470630 h 1218057"/>
                <a:gd name="connsiteX100" fmla="*/ 1221772 w 1468659"/>
                <a:gd name="connsiteY100" fmla="*/ 467011 h 1218057"/>
                <a:gd name="connsiteX101" fmla="*/ 1211104 w 1468659"/>
                <a:gd name="connsiteY101" fmla="*/ 458819 h 1218057"/>
                <a:gd name="connsiteX102" fmla="*/ 1209770 w 1468659"/>
                <a:gd name="connsiteY102" fmla="*/ 460534 h 1218057"/>
                <a:gd name="connsiteX103" fmla="*/ 1204627 w 1468659"/>
                <a:gd name="connsiteY103" fmla="*/ 458057 h 1218057"/>
                <a:gd name="connsiteX104" fmla="*/ 1201484 w 1468659"/>
                <a:gd name="connsiteY104" fmla="*/ 458438 h 1218057"/>
                <a:gd name="connsiteX105" fmla="*/ 1192816 w 1468659"/>
                <a:gd name="connsiteY105" fmla="*/ 453104 h 1218057"/>
                <a:gd name="connsiteX106" fmla="*/ 1186434 w 1468659"/>
                <a:gd name="connsiteY106" fmla="*/ 453866 h 1218057"/>
                <a:gd name="connsiteX107" fmla="*/ 1185291 w 1468659"/>
                <a:gd name="connsiteY107" fmla="*/ 457295 h 1218057"/>
                <a:gd name="connsiteX108" fmla="*/ 1178909 w 1468659"/>
                <a:gd name="connsiteY108" fmla="*/ 445294 h 1218057"/>
                <a:gd name="connsiteX109" fmla="*/ 1174052 w 1468659"/>
                <a:gd name="connsiteY109" fmla="*/ 444246 h 1218057"/>
                <a:gd name="connsiteX110" fmla="*/ 1174623 w 1468659"/>
                <a:gd name="connsiteY110" fmla="*/ 449009 h 1218057"/>
                <a:gd name="connsiteX111" fmla="*/ 1165003 w 1468659"/>
                <a:gd name="connsiteY111" fmla="*/ 461486 h 1218057"/>
                <a:gd name="connsiteX112" fmla="*/ 1155859 w 1468659"/>
                <a:gd name="connsiteY112" fmla="*/ 465868 h 1218057"/>
                <a:gd name="connsiteX113" fmla="*/ 1152525 w 1468659"/>
                <a:gd name="connsiteY113" fmla="*/ 464630 h 1218057"/>
                <a:gd name="connsiteX114" fmla="*/ 1145858 w 1468659"/>
                <a:gd name="connsiteY114" fmla="*/ 462248 h 1218057"/>
                <a:gd name="connsiteX115" fmla="*/ 1137571 w 1468659"/>
                <a:gd name="connsiteY115" fmla="*/ 460153 h 1218057"/>
                <a:gd name="connsiteX116" fmla="*/ 1138714 w 1468659"/>
                <a:gd name="connsiteY116" fmla="*/ 456819 h 1218057"/>
                <a:gd name="connsiteX117" fmla="*/ 1135952 w 1468659"/>
                <a:gd name="connsiteY117" fmla="*/ 447484 h 1218057"/>
                <a:gd name="connsiteX118" fmla="*/ 1137285 w 1468659"/>
                <a:gd name="connsiteY118" fmla="*/ 445770 h 1218057"/>
                <a:gd name="connsiteX119" fmla="*/ 1137095 w 1468659"/>
                <a:gd name="connsiteY119" fmla="*/ 444151 h 1218057"/>
                <a:gd name="connsiteX120" fmla="*/ 1135285 w 1468659"/>
                <a:gd name="connsiteY120" fmla="*/ 442817 h 1218057"/>
                <a:gd name="connsiteX121" fmla="*/ 1132713 w 1468659"/>
                <a:gd name="connsiteY121" fmla="*/ 435102 h 1218057"/>
                <a:gd name="connsiteX122" fmla="*/ 1129570 w 1468659"/>
                <a:gd name="connsiteY122" fmla="*/ 435483 h 1218057"/>
                <a:gd name="connsiteX123" fmla="*/ 1127379 w 1468659"/>
                <a:gd name="connsiteY123" fmla="*/ 431006 h 1218057"/>
                <a:gd name="connsiteX124" fmla="*/ 1124045 w 1468659"/>
                <a:gd name="connsiteY124" fmla="*/ 429768 h 1218057"/>
                <a:gd name="connsiteX125" fmla="*/ 1114616 w 1468659"/>
                <a:gd name="connsiteY125" fmla="*/ 431006 h 1218057"/>
                <a:gd name="connsiteX126" fmla="*/ 1109091 w 1468659"/>
                <a:gd name="connsiteY126" fmla="*/ 438150 h 1218057"/>
                <a:gd name="connsiteX127" fmla="*/ 1103567 w 1468659"/>
                <a:gd name="connsiteY127" fmla="*/ 432435 h 1218057"/>
                <a:gd name="connsiteX128" fmla="*/ 1096994 w 1468659"/>
                <a:gd name="connsiteY128" fmla="*/ 431673 h 1218057"/>
                <a:gd name="connsiteX129" fmla="*/ 1093089 w 1468659"/>
                <a:gd name="connsiteY129" fmla="*/ 425767 h 1218057"/>
                <a:gd name="connsiteX130" fmla="*/ 1094613 w 1468659"/>
                <a:gd name="connsiteY130" fmla="*/ 425482 h 1218057"/>
                <a:gd name="connsiteX131" fmla="*/ 1098042 w 1468659"/>
                <a:gd name="connsiteY131" fmla="*/ 426720 h 1218057"/>
                <a:gd name="connsiteX132" fmla="*/ 1110996 w 1468659"/>
                <a:gd name="connsiteY132" fmla="*/ 428244 h 1218057"/>
                <a:gd name="connsiteX133" fmla="*/ 1112044 w 1468659"/>
                <a:gd name="connsiteY133" fmla="*/ 423291 h 1218057"/>
                <a:gd name="connsiteX134" fmla="*/ 1108043 w 1468659"/>
                <a:gd name="connsiteY134" fmla="*/ 417385 h 1218057"/>
                <a:gd name="connsiteX135" fmla="*/ 1112330 w 1468659"/>
                <a:gd name="connsiteY135" fmla="*/ 413671 h 1218057"/>
                <a:gd name="connsiteX136" fmla="*/ 1112901 w 1468659"/>
                <a:gd name="connsiteY136" fmla="*/ 405575 h 1218057"/>
                <a:gd name="connsiteX137" fmla="*/ 1098137 w 1468659"/>
                <a:gd name="connsiteY137" fmla="*/ 402622 h 1218057"/>
                <a:gd name="connsiteX138" fmla="*/ 1089851 w 1468659"/>
                <a:gd name="connsiteY138" fmla="*/ 400431 h 1218057"/>
                <a:gd name="connsiteX139" fmla="*/ 1088041 w 1468659"/>
                <a:gd name="connsiteY139" fmla="*/ 399097 h 1218057"/>
                <a:gd name="connsiteX140" fmla="*/ 1086898 w 1468659"/>
                <a:gd name="connsiteY140" fmla="*/ 402431 h 1218057"/>
                <a:gd name="connsiteX141" fmla="*/ 1081945 w 1468659"/>
                <a:gd name="connsiteY141" fmla="*/ 401479 h 1218057"/>
                <a:gd name="connsiteX142" fmla="*/ 1083373 w 1468659"/>
                <a:gd name="connsiteY142" fmla="*/ 399669 h 1218057"/>
                <a:gd name="connsiteX143" fmla="*/ 1074610 w 1468659"/>
                <a:gd name="connsiteY143" fmla="*/ 394430 h 1218057"/>
                <a:gd name="connsiteX144" fmla="*/ 1072420 w 1468659"/>
                <a:gd name="connsiteY144" fmla="*/ 389858 h 1218057"/>
                <a:gd name="connsiteX145" fmla="*/ 1068134 w 1468659"/>
                <a:gd name="connsiteY145" fmla="*/ 380809 h 1218057"/>
                <a:gd name="connsiteX146" fmla="*/ 1063181 w 1468659"/>
                <a:gd name="connsiteY146" fmla="*/ 379857 h 1218057"/>
                <a:gd name="connsiteX147" fmla="*/ 1064133 w 1468659"/>
                <a:gd name="connsiteY147" fmla="*/ 374904 h 1218057"/>
                <a:gd name="connsiteX148" fmla="*/ 1062800 w 1468659"/>
                <a:gd name="connsiteY148" fmla="*/ 376618 h 1218057"/>
                <a:gd name="connsiteX149" fmla="*/ 1060799 w 1468659"/>
                <a:gd name="connsiteY149" fmla="*/ 373666 h 1218057"/>
                <a:gd name="connsiteX150" fmla="*/ 1054894 w 1468659"/>
                <a:gd name="connsiteY150" fmla="*/ 377666 h 1218057"/>
                <a:gd name="connsiteX151" fmla="*/ 1053465 w 1468659"/>
                <a:gd name="connsiteY151" fmla="*/ 379476 h 1218057"/>
                <a:gd name="connsiteX152" fmla="*/ 1050322 w 1468659"/>
                <a:gd name="connsiteY152" fmla="*/ 379857 h 1218057"/>
                <a:gd name="connsiteX153" fmla="*/ 1046035 w 1468659"/>
                <a:gd name="connsiteY153" fmla="*/ 383572 h 1218057"/>
                <a:gd name="connsiteX154" fmla="*/ 1041463 w 1468659"/>
                <a:gd name="connsiteY154" fmla="*/ 385763 h 1218057"/>
                <a:gd name="connsiteX155" fmla="*/ 1033367 w 1468659"/>
                <a:gd name="connsiteY155" fmla="*/ 398050 h 1218057"/>
                <a:gd name="connsiteX156" fmla="*/ 1025080 w 1468659"/>
                <a:gd name="connsiteY156" fmla="*/ 395859 h 1218057"/>
                <a:gd name="connsiteX157" fmla="*/ 1024890 w 1468659"/>
                <a:gd name="connsiteY157" fmla="*/ 394335 h 1218057"/>
                <a:gd name="connsiteX158" fmla="*/ 1023366 w 1468659"/>
                <a:gd name="connsiteY158" fmla="*/ 394525 h 1218057"/>
                <a:gd name="connsiteX159" fmla="*/ 1022699 w 1468659"/>
                <a:gd name="connsiteY159" fmla="*/ 389763 h 1218057"/>
                <a:gd name="connsiteX160" fmla="*/ 1018794 w 1468659"/>
                <a:gd name="connsiteY160" fmla="*/ 383857 h 1218057"/>
                <a:gd name="connsiteX161" fmla="*/ 1011460 w 1468659"/>
                <a:gd name="connsiteY161" fmla="*/ 376809 h 1218057"/>
                <a:gd name="connsiteX162" fmla="*/ 1008507 w 1468659"/>
                <a:gd name="connsiteY162" fmla="*/ 378809 h 1218057"/>
                <a:gd name="connsiteX163" fmla="*/ 1006697 w 1468659"/>
                <a:gd name="connsiteY163" fmla="*/ 377380 h 1218057"/>
                <a:gd name="connsiteX164" fmla="*/ 1002792 w 1468659"/>
                <a:gd name="connsiteY164" fmla="*/ 371475 h 1218057"/>
                <a:gd name="connsiteX165" fmla="*/ 1003745 w 1468659"/>
                <a:gd name="connsiteY165" fmla="*/ 366522 h 1218057"/>
                <a:gd name="connsiteX166" fmla="*/ 1000411 w 1468659"/>
                <a:gd name="connsiteY166" fmla="*/ 365379 h 1218057"/>
                <a:gd name="connsiteX167" fmla="*/ 999934 w 1468659"/>
                <a:gd name="connsiteY167" fmla="*/ 362236 h 1218057"/>
                <a:gd name="connsiteX168" fmla="*/ 991648 w 1468659"/>
                <a:gd name="connsiteY168" fmla="*/ 360045 h 1218057"/>
                <a:gd name="connsiteX169" fmla="*/ 984980 w 1468659"/>
                <a:gd name="connsiteY169" fmla="*/ 357664 h 1218057"/>
                <a:gd name="connsiteX170" fmla="*/ 988695 w 1468659"/>
                <a:gd name="connsiteY170" fmla="*/ 349186 h 1218057"/>
                <a:gd name="connsiteX171" fmla="*/ 988314 w 1468659"/>
                <a:gd name="connsiteY171" fmla="*/ 346043 h 1218057"/>
                <a:gd name="connsiteX172" fmla="*/ 981551 w 1468659"/>
                <a:gd name="connsiteY172" fmla="*/ 343662 h 1218057"/>
                <a:gd name="connsiteX173" fmla="*/ 974217 w 1468659"/>
                <a:gd name="connsiteY173" fmla="*/ 336613 h 1218057"/>
                <a:gd name="connsiteX174" fmla="*/ 972122 w 1468659"/>
                <a:gd name="connsiteY174" fmla="*/ 332042 h 1218057"/>
                <a:gd name="connsiteX175" fmla="*/ 971645 w 1468659"/>
                <a:gd name="connsiteY175" fmla="*/ 328898 h 1218057"/>
                <a:gd name="connsiteX176" fmla="*/ 974598 w 1468659"/>
                <a:gd name="connsiteY176" fmla="*/ 326993 h 1218057"/>
                <a:gd name="connsiteX177" fmla="*/ 974026 w 1468659"/>
                <a:gd name="connsiteY177" fmla="*/ 322231 h 1218057"/>
                <a:gd name="connsiteX178" fmla="*/ 978789 w 1468659"/>
                <a:gd name="connsiteY178" fmla="*/ 321659 h 1218057"/>
                <a:gd name="connsiteX179" fmla="*/ 978122 w 1468659"/>
                <a:gd name="connsiteY179" fmla="*/ 316897 h 1218057"/>
                <a:gd name="connsiteX180" fmla="*/ 979932 w 1468659"/>
                <a:gd name="connsiteY180" fmla="*/ 318230 h 1218057"/>
                <a:gd name="connsiteX181" fmla="*/ 983837 w 1468659"/>
                <a:gd name="connsiteY181" fmla="*/ 311372 h 1218057"/>
                <a:gd name="connsiteX182" fmla="*/ 986790 w 1468659"/>
                <a:gd name="connsiteY182" fmla="*/ 309372 h 1218057"/>
                <a:gd name="connsiteX183" fmla="*/ 990219 w 1468659"/>
                <a:gd name="connsiteY183" fmla="*/ 310515 h 1218057"/>
                <a:gd name="connsiteX184" fmla="*/ 991172 w 1468659"/>
                <a:gd name="connsiteY184" fmla="*/ 305562 h 1218057"/>
                <a:gd name="connsiteX185" fmla="*/ 986600 w 1468659"/>
                <a:gd name="connsiteY185" fmla="*/ 307753 h 1218057"/>
                <a:gd name="connsiteX186" fmla="*/ 985171 w 1468659"/>
                <a:gd name="connsiteY186" fmla="*/ 296704 h 1218057"/>
                <a:gd name="connsiteX187" fmla="*/ 981266 w 1468659"/>
                <a:gd name="connsiteY187" fmla="*/ 290798 h 1218057"/>
                <a:gd name="connsiteX188" fmla="*/ 973169 w 1468659"/>
                <a:gd name="connsiteY188" fmla="*/ 290227 h 1218057"/>
                <a:gd name="connsiteX189" fmla="*/ 964501 w 1468659"/>
                <a:gd name="connsiteY189" fmla="*/ 284988 h 1218057"/>
                <a:gd name="connsiteX190" fmla="*/ 962882 w 1468659"/>
                <a:gd name="connsiteY190" fmla="*/ 285179 h 1218057"/>
                <a:gd name="connsiteX191" fmla="*/ 960882 w 1468659"/>
                <a:gd name="connsiteY191" fmla="*/ 282226 h 1218057"/>
                <a:gd name="connsiteX192" fmla="*/ 963644 w 1468659"/>
                <a:gd name="connsiteY192" fmla="*/ 278606 h 1218057"/>
                <a:gd name="connsiteX193" fmla="*/ 963263 w 1468659"/>
                <a:gd name="connsiteY193" fmla="*/ 275463 h 1218057"/>
                <a:gd name="connsiteX194" fmla="*/ 961263 w 1468659"/>
                <a:gd name="connsiteY194" fmla="*/ 272510 h 1218057"/>
                <a:gd name="connsiteX195" fmla="*/ 962501 w 1468659"/>
                <a:gd name="connsiteY195" fmla="*/ 269176 h 1218057"/>
                <a:gd name="connsiteX196" fmla="*/ 965454 w 1468659"/>
                <a:gd name="connsiteY196" fmla="*/ 267176 h 1218057"/>
                <a:gd name="connsiteX197" fmla="*/ 962025 w 1468659"/>
                <a:gd name="connsiteY197" fmla="*/ 266033 h 1218057"/>
                <a:gd name="connsiteX198" fmla="*/ 963073 w 1468659"/>
                <a:gd name="connsiteY198" fmla="*/ 261080 h 1218057"/>
                <a:gd name="connsiteX199" fmla="*/ 966406 w 1468659"/>
                <a:gd name="connsiteY199" fmla="*/ 262223 h 1218057"/>
                <a:gd name="connsiteX200" fmla="*/ 969359 w 1468659"/>
                <a:gd name="connsiteY200" fmla="*/ 260223 h 1218057"/>
                <a:gd name="connsiteX201" fmla="*/ 970312 w 1468659"/>
                <a:gd name="connsiteY201" fmla="*/ 255365 h 1218057"/>
                <a:gd name="connsiteX202" fmla="*/ 969931 w 1468659"/>
                <a:gd name="connsiteY202" fmla="*/ 252127 h 1218057"/>
                <a:gd name="connsiteX203" fmla="*/ 971074 w 1468659"/>
                <a:gd name="connsiteY203" fmla="*/ 248793 h 1218057"/>
                <a:gd name="connsiteX204" fmla="*/ 970121 w 1468659"/>
                <a:gd name="connsiteY204" fmla="*/ 240887 h 1218057"/>
                <a:gd name="connsiteX205" fmla="*/ 973074 w 1468659"/>
                <a:gd name="connsiteY205" fmla="*/ 238982 h 1218057"/>
                <a:gd name="connsiteX206" fmla="*/ 972407 w 1468659"/>
                <a:gd name="connsiteY206" fmla="*/ 234220 h 1218057"/>
                <a:gd name="connsiteX207" fmla="*/ 975360 w 1468659"/>
                <a:gd name="connsiteY207" fmla="*/ 232219 h 1218057"/>
                <a:gd name="connsiteX208" fmla="*/ 977741 w 1468659"/>
                <a:gd name="connsiteY208" fmla="*/ 225552 h 1218057"/>
                <a:gd name="connsiteX209" fmla="*/ 974598 w 1468659"/>
                <a:gd name="connsiteY209" fmla="*/ 225933 h 1218057"/>
                <a:gd name="connsiteX210" fmla="*/ 973169 w 1468659"/>
                <a:gd name="connsiteY210" fmla="*/ 227743 h 1218057"/>
                <a:gd name="connsiteX211" fmla="*/ 968693 w 1468659"/>
                <a:gd name="connsiteY211" fmla="*/ 229838 h 1218057"/>
                <a:gd name="connsiteX212" fmla="*/ 968312 w 1468659"/>
                <a:gd name="connsiteY212" fmla="*/ 226695 h 1218057"/>
                <a:gd name="connsiteX213" fmla="*/ 969455 w 1468659"/>
                <a:gd name="connsiteY213" fmla="*/ 223361 h 1218057"/>
                <a:gd name="connsiteX214" fmla="*/ 972598 w 1468659"/>
                <a:gd name="connsiteY214" fmla="*/ 222980 h 1218057"/>
                <a:gd name="connsiteX215" fmla="*/ 976503 w 1468659"/>
                <a:gd name="connsiteY215" fmla="*/ 216027 h 1218057"/>
                <a:gd name="connsiteX216" fmla="*/ 976693 w 1468659"/>
                <a:gd name="connsiteY216" fmla="*/ 204788 h 1218057"/>
                <a:gd name="connsiteX217" fmla="*/ 979265 w 1468659"/>
                <a:gd name="connsiteY217" fmla="*/ 199644 h 1218057"/>
                <a:gd name="connsiteX218" fmla="*/ 984028 w 1468659"/>
                <a:gd name="connsiteY218" fmla="*/ 199072 h 1218057"/>
                <a:gd name="connsiteX219" fmla="*/ 986123 w 1468659"/>
                <a:gd name="connsiteY219" fmla="*/ 177927 h 1218057"/>
                <a:gd name="connsiteX220" fmla="*/ 985742 w 1468659"/>
                <a:gd name="connsiteY220" fmla="*/ 174784 h 1218057"/>
                <a:gd name="connsiteX221" fmla="*/ 982313 w 1468659"/>
                <a:gd name="connsiteY221" fmla="*/ 173641 h 1218057"/>
                <a:gd name="connsiteX222" fmla="*/ 980218 w 1468659"/>
                <a:gd name="connsiteY222" fmla="*/ 169069 h 1218057"/>
                <a:gd name="connsiteX223" fmla="*/ 981742 w 1468659"/>
                <a:gd name="connsiteY223" fmla="*/ 168878 h 1218057"/>
                <a:gd name="connsiteX224" fmla="*/ 984695 w 1468659"/>
                <a:gd name="connsiteY224" fmla="*/ 166878 h 1218057"/>
                <a:gd name="connsiteX225" fmla="*/ 987076 w 1468659"/>
                <a:gd name="connsiteY225" fmla="*/ 160210 h 1218057"/>
                <a:gd name="connsiteX226" fmla="*/ 990029 w 1468659"/>
                <a:gd name="connsiteY226" fmla="*/ 158210 h 1218057"/>
                <a:gd name="connsiteX227" fmla="*/ 987838 w 1468659"/>
                <a:gd name="connsiteY227" fmla="*/ 153638 h 1218057"/>
                <a:gd name="connsiteX228" fmla="*/ 988409 w 1468659"/>
                <a:gd name="connsiteY228" fmla="*/ 145542 h 1218057"/>
                <a:gd name="connsiteX229" fmla="*/ 986600 w 1468659"/>
                <a:gd name="connsiteY229" fmla="*/ 144209 h 1218057"/>
                <a:gd name="connsiteX230" fmla="*/ 986218 w 1468659"/>
                <a:gd name="connsiteY230" fmla="*/ 141065 h 1218057"/>
                <a:gd name="connsiteX231" fmla="*/ 987838 w 1468659"/>
                <a:gd name="connsiteY231" fmla="*/ 140875 h 1218057"/>
                <a:gd name="connsiteX232" fmla="*/ 980504 w 1468659"/>
                <a:gd name="connsiteY232" fmla="*/ 133731 h 1218057"/>
                <a:gd name="connsiteX233" fmla="*/ 980122 w 1468659"/>
                <a:gd name="connsiteY233" fmla="*/ 130588 h 1218057"/>
                <a:gd name="connsiteX234" fmla="*/ 978122 w 1468659"/>
                <a:gd name="connsiteY234" fmla="*/ 127635 h 1218057"/>
                <a:gd name="connsiteX235" fmla="*/ 976313 w 1468659"/>
                <a:gd name="connsiteY235" fmla="*/ 126301 h 1218057"/>
                <a:gd name="connsiteX236" fmla="*/ 969645 w 1468659"/>
                <a:gd name="connsiteY236" fmla="*/ 123920 h 1218057"/>
                <a:gd name="connsiteX237" fmla="*/ 970597 w 1468659"/>
                <a:gd name="connsiteY237" fmla="*/ 118967 h 1218057"/>
                <a:gd name="connsiteX238" fmla="*/ 972979 w 1468659"/>
                <a:gd name="connsiteY238" fmla="*/ 112300 h 1218057"/>
                <a:gd name="connsiteX239" fmla="*/ 978027 w 1468659"/>
                <a:gd name="connsiteY239" fmla="*/ 114776 h 1218057"/>
                <a:gd name="connsiteX240" fmla="*/ 977646 w 1468659"/>
                <a:gd name="connsiteY240" fmla="*/ 111633 h 1218057"/>
                <a:gd name="connsiteX241" fmla="*/ 981266 w 1468659"/>
                <a:gd name="connsiteY241" fmla="*/ 114395 h 1218057"/>
                <a:gd name="connsiteX242" fmla="*/ 984409 w 1468659"/>
                <a:gd name="connsiteY242" fmla="*/ 114014 h 1218057"/>
                <a:gd name="connsiteX243" fmla="*/ 992696 w 1468659"/>
                <a:gd name="connsiteY243" fmla="*/ 116205 h 1218057"/>
                <a:gd name="connsiteX244" fmla="*/ 996982 w 1468659"/>
                <a:gd name="connsiteY244" fmla="*/ 112395 h 1218057"/>
                <a:gd name="connsiteX245" fmla="*/ 998220 w 1468659"/>
                <a:gd name="connsiteY245" fmla="*/ 109061 h 1218057"/>
                <a:gd name="connsiteX246" fmla="*/ 994601 w 1468659"/>
                <a:gd name="connsiteY246" fmla="*/ 106299 h 1218057"/>
                <a:gd name="connsiteX247" fmla="*/ 991838 w 1468659"/>
                <a:gd name="connsiteY247" fmla="*/ 97060 h 1218057"/>
                <a:gd name="connsiteX248" fmla="*/ 987838 w 1468659"/>
                <a:gd name="connsiteY248" fmla="*/ 91154 h 1218057"/>
                <a:gd name="connsiteX249" fmla="*/ 986123 w 1468659"/>
                <a:gd name="connsiteY249" fmla="*/ 89725 h 1218057"/>
                <a:gd name="connsiteX250" fmla="*/ 990029 w 1468659"/>
                <a:gd name="connsiteY250" fmla="*/ 82867 h 1218057"/>
                <a:gd name="connsiteX251" fmla="*/ 985266 w 1468659"/>
                <a:gd name="connsiteY251" fmla="*/ 83439 h 1218057"/>
                <a:gd name="connsiteX252" fmla="*/ 984313 w 1468659"/>
                <a:gd name="connsiteY252" fmla="*/ 88392 h 1218057"/>
                <a:gd name="connsiteX253" fmla="*/ 982789 w 1468659"/>
                <a:gd name="connsiteY253" fmla="*/ 88582 h 1218057"/>
                <a:gd name="connsiteX254" fmla="*/ 977646 w 1468659"/>
                <a:gd name="connsiteY254" fmla="*/ 86011 h 1218057"/>
                <a:gd name="connsiteX255" fmla="*/ 975074 w 1468659"/>
                <a:gd name="connsiteY255" fmla="*/ 91154 h 1218057"/>
                <a:gd name="connsiteX256" fmla="*/ 970121 w 1468659"/>
                <a:gd name="connsiteY256" fmla="*/ 90202 h 1218057"/>
                <a:gd name="connsiteX257" fmla="*/ 967740 w 1468659"/>
                <a:gd name="connsiteY257" fmla="*/ 84106 h 1218057"/>
                <a:gd name="connsiteX258" fmla="*/ 960596 w 1468659"/>
                <a:gd name="connsiteY258" fmla="*/ 78581 h 1218057"/>
                <a:gd name="connsiteX259" fmla="*/ 964978 w 1468659"/>
                <a:gd name="connsiteY259" fmla="*/ 74771 h 1218057"/>
                <a:gd name="connsiteX260" fmla="*/ 959834 w 1468659"/>
                <a:gd name="connsiteY260" fmla="*/ 72200 h 1218057"/>
                <a:gd name="connsiteX261" fmla="*/ 957834 w 1468659"/>
                <a:gd name="connsiteY261" fmla="*/ 69247 h 1218057"/>
                <a:gd name="connsiteX262" fmla="*/ 959263 w 1468659"/>
                <a:gd name="connsiteY262" fmla="*/ 67532 h 1218057"/>
                <a:gd name="connsiteX263" fmla="*/ 957453 w 1468659"/>
                <a:gd name="connsiteY263" fmla="*/ 66104 h 1218057"/>
                <a:gd name="connsiteX264" fmla="*/ 955643 w 1468659"/>
                <a:gd name="connsiteY264" fmla="*/ 64770 h 1218057"/>
                <a:gd name="connsiteX265" fmla="*/ 954214 w 1468659"/>
                <a:gd name="connsiteY265" fmla="*/ 53721 h 1218057"/>
                <a:gd name="connsiteX266" fmla="*/ 949928 w 1468659"/>
                <a:gd name="connsiteY266" fmla="*/ 57436 h 1218057"/>
                <a:gd name="connsiteX267" fmla="*/ 951071 w 1468659"/>
                <a:gd name="connsiteY267" fmla="*/ 54102 h 1218057"/>
                <a:gd name="connsiteX268" fmla="*/ 950690 w 1468659"/>
                <a:gd name="connsiteY268" fmla="*/ 50959 h 1218057"/>
                <a:gd name="connsiteX269" fmla="*/ 949071 w 1468659"/>
                <a:gd name="connsiteY269" fmla="*/ 51149 h 1218057"/>
                <a:gd name="connsiteX270" fmla="*/ 950500 w 1468659"/>
                <a:gd name="connsiteY270" fmla="*/ 49339 h 1218057"/>
                <a:gd name="connsiteX271" fmla="*/ 949928 w 1468659"/>
                <a:gd name="connsiteY271" fmla="*/ 44672 h 1218057"/>
                <a:gd name="connsiteX272" fmla="*/ 944975 w 1468659"/>
                <a:gd name="connsiteY272" fmla="*/ 43625 h 1218057"/>
                <a:gd name="connsiteX273" fmla="*/ 948118 w 1468659"/>
                <a:gd name="connsiteY273" fmla="*/ 43243 h 1218057"/>
                <a:gd name="connsiteX274" fmla="*/ 951262 w 1468659"/>
                <a:gd name="connsiteY274" fmla="*/ 42863 h 1218057"/>
                <a:gd name="connsiteX275" fmla="*/ 951071 w 1468659"/>
                <a:gd name="connsiteY275" fmla="*/ 41243 h 1218057"/>
                <a:gd name="connsiteX276" fmla="*/ 944309 w 1468659"/>
                <a:gd name="connsiteY276" fmla="*/ 38957 h 1218057"/>
                <a:gd name="connsiteX277" fmla="*/ 943927 w 1468659"/>
                <a:gd name="connsiteY277" fmla="*/ 35814 h 1218057"/>
                <a:gd name="connsiteX278" fmla="*/ 942975 w 1468659"/>
                <a:gd name="connsiteY278" fmla="*/ 40672 h 1218057"/>
                <a:gd name="connsiteX279" fmla="*/ 939832 w 1468659"/>
                <a:gd name="connsiteY279" fmla="*/ 41148 h 1218057"/>
                <a:gd name="connsiteX280" fmla="*/ 937831 w 1468659"/>
                <a:gd name="connsiteY280" fmla="*/ 38195 h 1218057"/>
                <a:gd name="connsiteX281" fmla="*/ 934879 w 1468659"/>
                <a:gd name="connsiteY281" fmla="*/ 40100 h 1218057"/>
                <a:gd name="connsiteX282" fmla="*/ 931355 w 1468659"/>
                <a:gd name="connsiteY282" fmla="*/ 50197 h 1218057"/>
                <a:gd name="connsiteX283" fmla="*/ 933164 w 1468659"/>
                <a:gd name="connsiteY283" fmla="*/ 51625 h 1218057"/>
                <a:gd name="connsiteX284" fmla="*/ 931735 w 1468659"/>
                <a:gd name="connsiteY284" fmla="*/ 53340 h 1218057"/>
                <a:gd name="connsiteX285" fmla="*/ 928402 w 1468659"/>
                <a:gd name="connsiteY285" fmla="*/ 52197 h 1218057"/>
                <a:gd name="connsiteX286" fmla="*/ 927830 w 1468659"/>
                <a:gd name="connsiteY286" fmla="*/ 47434 h 1218057"/>
                <a:gd name="connsiteX287" fmla="*/ 924020 w 1468659"/>
                <a:gd name="connsiteY287" fmla="*/ 43148 h 1218057"/>
                <a:gd name="connsiteX288" fmla="*/ 922496 w 1468659"/>
                <a:gd name="connsiteY288" fmla="*/ 43339 h 1218057"/>
                <a:gd name="connsiteX289" fmla="*/ 917353 w 1468659"/>
                <a:gd name="connsiteY289" fmla="*/ 40767 h 1218057"/>
                <a:gd name="connsiteX290" fmla="*/ 911543 w 1468659"/>
                <a:gd name="connsiteY290" fmla="*/ 33528 h 1218057"/>
                <a:gd name="connsiteX291" fmla="*/ 906971 w 1468659"/>
                <a:gd name="connsiteY291" fmla="*/ 22860 h 1218057"/>
                <a:gd name="connsiteX292" fmla="*/ 900684 w 1468659"/>
                <a:gd name="connsiteY292" fmla="*/ 23622 h 1218057"/>
                <a:gd name="connsiteX293" fmla="*/ 884110 w 1468659"/>
                <a:gd name="connsiteY293" fmla="*/ 19336 h 1218057"/>
                <a:gd name="connsiteX294" fmla="*/ 881729 w 1468659"/>
                <a:gd name="connsiteY294" fmla="*/ 13240 h 1218057"/>
                <a:gd name="connsiteX295" fmla="*/ 872395 w 1468659"/>
                <a:gd name="connsiteY295" fmla="*/ 3143 h 1218057"/>
                <a:gd name="connsiteX296" fmla="*/ 873823 w 1468659"/>
                <a:gd name="connsiteY296" fmla="*/ 1429 h 1218057"/>
                <a:gd name="connsiteX297" fmla="*/ 872014 w 1468659"/>
                <a:gd name="connsiteY297" fmla="*/ 0 h 1218057"/>
                <a:gd name="connsiteX298" fmla="*/ 871252 w 1468659"/>
                <a:gd name="connsiteY298" fmla="*/ 6572 h 1218057"/>
                <a:gd name="connsiteX299" fmla="*/ 870490 w 1468659"/>
                <a:gd name="connsiteY299" fmla="*/ 13049 h 1218057"/>
                <a:gd name="connsiteX300" fmla="*/ 862584 w 1468659"/>
                <a:gd name="connsiteY300" fmla="*/ 14097 h 1218057"/>
                <a:gd name="connsiteX301" fmla="*/ 862775 w 1468659"/>
                <a:gd name="connsiteY301" fmla="*/ 15621 h 1218057"/>
                <a:gd name="connsiteX302" fmla="*/ 859822 w 1468659"/>
                <a:gd name="connsiteY302" fmla="*/ 17621 h 1218057"/>
                <a:gd name="connsiteX303" fmla="*/ 860012 w 1468659"/>
                <a:gd name="connsiteY303" fmla="*/ 19240 h 1218057"/>
                <a:gd name="connsiteX304" fmla="*/ 858298 w 1468659"/>
                <a:gd name="connsiteY304" fmla="*/ 17812 h 1218057"/>
                <a:gd name="connsiteX305" fmla="*/ 855535 w 1468659"/>
                <a:gd name="connsiteY305" fmla="*/ 21336 h 1218057"/>
                <a:gd name="connsiteX306" fmla="*/ 855726 w 1468659"/>
                <a:gd name="connsiteY306" fmla="*/ 22955 h 1218057"/>
                <a:gd name="connsiteX307" fmla="*/ 858869 w 1468659"/>
                <a:gd name="connsiteY307" fmla="*/ 22574 h 1218057"/>
                <a:gd name="connsiteX308" fmla="*/ 858298 w 1468659"/>
                <a:gd name="connsiteY308" fmla="*/ 30671 h 1218057"/>
                <a:gd name="connsiteX309" fmla="*/ 846677 w 1468659"/>
                <a:gd name="connsiteY309" fmla="*/ 27337 h 1218057"/>
                <a:gd name="connsiteX310" fmla="*/ 847058 w 1468659"/>
                <a:gd name="connsiteY310" fmla="*/ 30480 h 1218057"/>
                <a:gd name="connsiteX311" fmla="*/ 848868 w 1468659"/>
                <a:gd name="connsiteY311" fmla="*/ 31813 h 1218057"/>
                <a:gd name="connsiteX312" fmla="*/ 844105 w 1468659"/>
                <a:gd name="connsiteY312" fmla="*/ 32480 h 1218057"/>
                <a:gd name="connsiteX313" fmla="*/ 845630 w 1468659"/>
                <a:gd name="connsiteY313" fmla="*/ 32290 h 1218057"/>
                <a:gd name="connsiteX314" fmla="*/ 847630 w 1468659"/>
                <a:gd name="connsiteY314" fmla="*/ 35242 h 1218057"/>
                <a:gd name="connsiteX315" fmla="*/ 846296 w 1468659"/>
                <a:gd name="connsiteY315" fmla="*/ 36957 h 1218057"/>
                <a:gd name="connsiteX316" fmla="*/ 849630 w 1468659"/>
                <a:gd name="connsiteY316" fmla="*/ 38195 h 1218057"/>
                <a:gd name="connsiteX317" fmla="*/ 847058 w 1468659"/>
                <a:gd name="connsiteY317" fmla="*/ 43339 h 1218057"/>
                <a:gd name="connsiteX318" fmla="*/ 848868 w 1468659"/>
                <a:gd name="connsiteY318" fmla="*/ 44672 h 1218057"/>
                <a:gd name="connsiteX319" fmla="*/ 845725 w 1468659"/>
                <a:gd name="connsiteY319" fmla="*/ 45053 h 1218057"/>
                <a:gd name="connsiteX320" fmla="*/ 844487 w 1468659"/>
                <a:gd name="connsiteY320" fmla="*/ 48482 h 1218057"/>
                <a:gd name="connsiteX321" fmla="*/ 842963 w 1468659"/>
                <a:gd name="connsiteY321" fmla="*/ 48673 h 1218057"/>
                <a:gd name="connsiteX322" fmla="*/ 842201 w 1468659"/>
                <a:gd name="connsiteY322" fmla="*/ 55150 h 1218057"/>
                <a:gd name="connsiteX323" fmla="*/ 840581 w 1468659"/>
                <a:gd name="connsiteY323" fmla="*/ 55340 h 1218057"/>
                <a:gd name="connsiteX324" fmla="*/ 839438 w 1468659"/>
                <a:gd name="connsiteY324" fmla="*/ 58674 h 1218057"/>
                <a:gd name="connsiteX325" fmla="*/ 840962 w 1468659"/>
                <a:gd name="connsiteY325" fmla="*/ 58483 h 1218057"/>
                <a:gd name="connsiteX326" fmla="*/ 841438 w 1468659"/>
                <a:gd name="connsiteY326" fmla="*/ 61627 h 1218057"/>
                <a:gd name="connsiteX327" fmla="*/ 846296 w 1468659"/>
                <a:gd name="connsiteY327" fmla="*/ 62675 h 1218057"/>
                <a:gd name="connsiteX328" fmla="*/ 844010 w 1468659"/>
                <a:gd name="connsiteY328" fmla="*/ 69342 h 1218057"/>
                <a:gd name="connsiteX329" fmla="*/ 846010 w 1468659"/>
                <a:gd name="connsiteY329" fmla="*/ 72295 h 1218057"/>
                <a:gd name="connsiteX330" fmla="*/ 848963 w 1468659"/>
                <a:gd name="connsiteY330" fmla="*/ 70294 h 1218057"/>
                <a:gd name="connsiteX331" fmla="*/ 849344 w 1468659"/>
                <a:gd name="connsiteY331" fmla="*/ 73533 h 1218057"/>
                <a:gd name="connsiteX332" fmla="*/ 847725 w 1468659"/>
                <a:gd name="connsiteY332" fmla="*/ 73723 h 1218057"/>
                <a:gd name="connsiteX333" fmla="*/ 852868 w 1468659"/>
                <a:gd name="connsiteY333" fmla="*/ 76200 h 1218057"/>
                <a:gd name="connsiteX334" fmla="*/ 853250 w 1468659"/>
                <a:gd name="connsiteY334" fmla="*/ 79438 h 1218057"/>
                <a:gd name="connsiteX335" fmla="*/ 848773 w 1468659"/>
                <a:gd name="connsiteY335" fmla="*/ 81534 h 1218057"/>
                <a:gd name="connsiteX336" fmla="*/ 853440 w 1468659"/>
                <a:gd name="connsiteY336" fmla="*/ 80963 h 1218057"/>
                <a:gd name="connsiteX337" fmla="*/ 852106 w 1468659"/>
                <a:gd name="connsiteY337" fmla="*/ 82772 h 1218057"/>
                <a:gd name="connsiteX338" fmla="*/ 847534 w 1468659"/>
                <a:gd name="connsiteY338" fmla="*/ 84963 h 1218057"/>
                <a:gd name="connsiteX339" fmla="*/ 844201 w 1468659"/>
                <a:gd name="connsiteY339" fmla="*/ 83725 h 1218057"/>
                <a:gd name="connsiteX340" fmla="*/ 842867 w 1468659"/>
                <a:gd name="connsiteY340" fmla="*/ 85534 h 1218057"/>
                <a:gd name="connsiteX341" fmla="*/ 843058 w 1468659"/>
                <a:gd name="connsiteY341" fmla="*/ 87154 h 1218057"/>
                <a:gd name="connsiteX342" fmla="*/ 835343 w 1468659"/>
                <a:gd name="connsiteY342" fmla="*/ 89725 h 1218057"/>
                <a:gd name="connsiteX343" fmla="*/ 835533 w 1468659"/>
                <a:gd name="connsiteY343" fmla="*/ 91250 h 1218057"/>
                <a:gd name="connsiteX344" fmla="*/ 832390 w 1468659"/>
                <a:gd name="connsiteY344" fmla="*/ 91726 h 1218057"/>
                <a:gd name="connsiteX345" fmla="*/ 832009 w 1468659"/>
                <a:gd name="connsiteY345" fmla="*/ 88487 h 1218057"/>
                <a:gd name="connsiteX346" fmla="*/ 825722 w 1468659"/>
                <a:gd name="connsiteY346" fmla="*/ 89344 h 1218057"/>
                <a:gd name="connsiteX347" fmla="*/ 822293 w 1468659"/>
                <a:gd name="connsiteY347" fmla="*/ 88106 h 1218057"/>
                <a:gd name="connsiteX348" fmla="*/ 820960 w 1468659"/>
                <a:gd name="connsiteY348" fmla="*/ 89916 h 1218057"/>
                <a:gd name="connsiteX349" fmla="*/ 821341 w 1468659"/>
                <a:gd name="connsiteY349" fmla="*/ 93059 h 1218057"/>
                <a:gd name="connsiteX350" fmla="*/ 816578 w 1468659"/>
                <a:gd name="connsiteY350" fmla="*/ 93726 h 1218057"/>
                <a:gd name="connsiteX351" fmla="*/ 815054 w 1468659"/>
                <a:gd name="connsiteY351" fmla="*/ 93917 h 1218057"/>
                <a:gd name="connsiteX352" fmla="*/ 814102 w 1468659"/>
                <a:gd name="connsiteY352" fmla="*/ 98869 h 1218057"/>
                <a:gd name="connsiteX353" fmla="*/ 806958 w 1468659"/>
                <a:gd name="connsiteY353" fmla="*/ 106108 h 1218057"/>
                <a:gd name="connsiteX354" fmla="*/ 803624 w 1468659"/>
                <a:gd name="connsiteY354" fmla="*/ 104965 h 1218057"/>
                <a:gd name="connsiteX355" fmla="*/ 802481 w 1468659"/>
                <a:gd name="connsiteY355" fmla="*/ 108299 h 1218057"/>
                <a:gd name="connsiteX356" fmla="*/ 797528 w 1468659"/>
                <a:gd name="connsiteY356" fmla="*/ 107347 h 1218057"/>
                <a:gd name="connsiteX357" fmla="*/ 794766 w 1468659"/>
                <a:gd name="connsiteY357" fmla="*/ 110871 h 1218057"/>
                <a:gd name="connsiteX358" fmla="*/ 795147 w 1468659"/>
                <a:gd name="connsiteY358" fmla="*/ 114109 h 1218057"/>
                <a:gd name="connsiteX359" fmla="*/ 790384 w 1468659"/>
                <a:gd name="connsiteY359" fmla="*/ 114681 h 1218057"/>
                <a:gd name="connsiteX360" fmla="*/ 796195 w 1468659"/>
                <a:gd name="connsiteY360" fmla="*/ 121920 h 1218057"/>
                <a:gd name="connsiteX361" fmla="*/ 793433 w 1468659"/>
                <a:gd name="connsiteY361" fmla="*/ 125539 h 1218057"/>
                <a:gd name="connsiteX362" fmla="*/ 792671 w 1468659"/>
                <a:gd name="connsiteY362" fmla="*/ 132017 h 1218057"/>
                <a:gd name="connsiteX363" fmla="*/ 791242 w 1468659"/>
                <a:gd name="connsiteY363" fmla="*/ 133826 h 1218057"/>
                <a:gd name="connsiteX364" fmla="*/ 784765 w 1468659"/>
                <a:gd name="connsiteY364" fmla="*/ 133064 h 1218057"/>
                <a:gd name="connsiteX365" fmla="*/ 782764 w 1468659"/>
                <a:gd name="connsiteY365" fmla="*/ 130111 h 1218057"/>
                <a:gd name="connsiteX366" fmla="*/ 783908 w 1468659"/>
                <a:gd name="connsiteY366" fmla="*/ 126682 h 1218057"/>
                <a:gd name="connsiteX367" fmla="*/ 781145 w 1468659"/>
                <a:gd name="connsiteY367" fmla="*/ 117443 h 1218057"/>
                <a:gd name="connsiteX368" fmla="*/ 776192 w 1468659"/>
                <a:gd name="connsiteY368" fmla="*/ 116491 h 1218057"/>
                <a:gd name="connsiteX369" fmla="*/ 762572 w 1468659"/>
                <a:gd name="connsiteY369" fmla="*/ 110204 h 1218057"/>
                <a:gd name="connsiteX370" fmla="*/ 748760 w 1468659"/>
                <a:gd name="connsiteY370" fmla="*/ 115157 h 1218057"/>
                <a:gd name="connsiteX371" fmla="*/ 745617 w 1468659"/>
                <a:gd name="connsiteY371" fmla="*/ 115538 h 1218057"/>
                <a:gd name="connsiteX372" fmla="*/ 743426 w 1468659"/>
                <a:gd name="connsiteY372" fmla="*/ 111061 h 1218057"/>
                <a:gd name="connsiteX373" fmla="*/ 738759 w 1468659"/>
                <a:gd name="connsiteY373" fmla="*/ 111633 h 1218057"/>
                <a:gd name="connsiteX374" fmla="*/ 738283 w 1468659"/>
                <a:gd name="connsiteY374" fmla="*/ 108490 h 1218057"/>
                <a:gd name="connsiteX375" fmla="*/ 741235 w 1468659"/>
                <a:gd name="connsiteY375" fmla="*/ 106489 h 1218057"/>
                <a:gd name="connsiteX376" fmla="*/ 744379 w 1468659"/>
                <a:gd name="connsiteY376" fmla="*/ 106108 h 1218057"/>
                <a:gd name="connsiteX377" fmla="*/ 745426 w 1468659"/>
                <a:gd name="connsiteY377" fmla="*/ 101155 h 1218057"/>
                <a:gd name="connsiteX378" fmla="*/ 748189 w 1468659"/>
                <a:gd name="connsiteY378" fmla="*/ 97631 h 1218057"/>
                <a:gd name="connsiteX379" fmla="*/ 748760 w 1468659"/>
                <a:gd name="connsiteY379" fmla="*/ 89535 h 1218057"/>
                <a:gd name="connsiteX380" fmla="*/ 748284 w 1468659"/>
                <a:gd name="connsiteY380" fmla="*/ 86392 h 1218057"/>
                <a:gd name="connsiteX381" fmla="*/ 746760 w 1468659"/>
                <a:gd name="connsiteY381" fmla="*/ 86582 h 1218057"/>
                <a:gd name="connsiteX382" fmla="*/ 745331 w 1468659"/>
                <a:gd name="connsiteY382" fmla="*/ 88297 h 1218057"/>
                <a:gd name="connsiteX383" fmla="*/ 744379 w 1468659"/>
                <a:gd name="connsiteY383" fmla="*/ 93250 h 1218057"/>
                <a:gd name="connsiteX384" fmla="*/ 741426 w 1468659"/>
                <a:gd name="connsiteY384" fmla="*/ 95250 h 1218057"/>
                <a:gd name="connsiteX385" fmla="*/ 736473 w 1468659"/>
                <a:gd name="connsiteY385" fmla="*/ 94297 h 1218057"/>
                <a:gd name="connsiteX386" fmla="*/ 736949 w 1468659"/>
                <a:gd name="connsiteY386" fmla="*/ 97441 h 1218057"/>
                <a:gd name="connsiteX387" fmla="*/ 733711 w 1468659"/>
                <a:gd name="connsiteY387" fmla="*/ 97822 h 1218057"/>
                <a:gd name="connsiteX388" fmla="*/ 734568 w 1468659"/>
                <a:gd name="connsiteY388" fmla="*/ 91345 h 1218057"/>
                <a:gd name="connsiteX389" fmla="*/ 729425 w 1468659"/>
                <a:gd name="connsiteY389" fmla="*/ 101632 h 1218057"/>
                <a:gd name="connsiteX390" fmla="*/ 724472 w 1468659"/>
                <a:gd name="connsiteY390" fmla="*/ 100584 h 1218057"/>
                <a:gd name="connsiteX391" fmla="*/ 725900 w 1468659"/>
                <a:gd name="connsiteY391" fmla="*/ 98869 h 1218057"/>
                <a:gd name="connsiteX392" fmla="*/ 724281 w 1468659"/>
                <a:gd name="connsiteY392" fmla="*/ 99060 h 1218057"/>
                <a:gd name="connsiteX393" fmla="*/ 722947 w 1468659"/>
                <a:gd name="connsiteY393" fmla="*/ 100775 h 1218057"/>
                <a:gd name="connsiteX394" fmla="*/ 720947 w 1468659"/>
                <a:gd name="connsiteY394" fmla="*/ 97822 h 1218057"/>
                <a:gd name="connsiteX395" fmla="*/ 719518 w 1468659"/>
                <a:gd name="connsiteY395" fmla="*/ 99631 h 1218057"/>
                <a:gd name="connsiteX396" fmla="*/ 717804 w 1468659"/>
                <a:gd name="connsiteY396" fmla="*/ 98298 h 1218057"/>
                <a:gd name="connsiteX397" fmla="*/ 712851 w 1468659"/>
                <a:gd name="connsiteY397" fmla="*/ 97250 h 1218057"/>
                <a:gd name="connsiteX398" fmla="*/ 710851 w 1468659"/>
                <a:gd name="connsiteY398" fmla="*/ 94297 h 1218057"/>
                <a:gd name="connsiteX399" fmla="*/ 707898 w 1468659"/>
                <a:gd name="connsiteY399" fmla="*/ 96298 h 1218057"/>
                <a:gd name="connsiteX400" fmla="*/ 705136 w 1468659"/>
                <a:gd name="connsiteY400" fmla="*/ 99917 h 1218057"/>
                <a:gd name="connsiteX401" fmla="*/ 702945 w 1468659"/>
                <a:gd name="connsiteY401" fmla="*/ 95345 h 1218057"/>
                <a:gd name="connsiteX402" fmla="*/ 701612 w 1468659"/>
                <a:gd name="connsiteY402" fmla="*/ 97155 h 1218057"/>
                <a:gd name="connsiteX403" fmla="*/ 701135 w 1468659"/>
                <a:gd name="connsiteY403" fmla="*/ 94012 h 1218057"/>
                <a:gd name="connsiteX404" fmla="*/ 696659 w 1468659"/>
                <a:gd name="connsiteY404" fmla="*/ 96107 h 1218057"/>
                <a:gd name="connsiteX405" fmla="*/ 696468 w 1468659"/>
                <a:gd name="connsiteY405" fmla="*/ 94583 h 1218057"/>
                <a:gd name="connsiteX406" fmla="*/ 693134 w 1468659"/>
                <a:gd name="connsiteY406" fmla="*/ 93440 h 1218057"/>
                <a:gd name="connsiteX407" fmla="*/ 695420 w 1468659"/>
                <a:gd name="connsiteY407" fmla="*/ 86677 h 1218057"/>
                <a:gd name="connsiteX408" fmla="*/ 693706 w 1468659"/>
                <a:gd name="connsiteY408" fmla="*/ 85344 h 1218057"/>
                <a:gd name="connsiteX409" fmla="*/ 688943 w 1468659"/>
                <a:gd name="connsiteY409" fmla="*/ 85915 h 1218057"/>
                <a:gd name="connsiteX410" fmla="*/ 686181 w 1468659"/>
                <a:gd name="connsiteY410" fmla="*/ 89440 h 1218057"/>
                <a:gd name="connsiteX411" fmla="*/ 681228 w 1468659"/>
                <a:gd name="connsiteY411" fmla="*/ 88487 h 1218057"/>
                <a:gd name="connsiteX412" fmla="*/ 672560 w 1468659"/>
                <a:gd name="connsiteY412" fmla="*/ 83153 h 1218057"/>
                <a:gd name="connsiteX413" fmla="*/ 667798 w 1468659"/>
                <a:gd name="connsiteY413" fmla="*/ 83820 h 1218057"/>
                <a:gd name="connsiteX414" fmla="*/ 669608 w 1468659"/>
                <a:gd name="connsiteY414" fmla="*/ 85154 h 1218057"/>
                <a:gd name="connsiteX415" fmla="*/ 667226 w 1468659"/>
                <a:gd name="connsiteY415" fmla="*/ 91916 h 1218057"/>
                <a:gd name="connsiteX416" fmla="*/ 661130 w 1468659"/>
                <a:gd name="connsiteY416" fmla="*/ 94297 h 1218057"/>
                <a:gd name="connsiteX417" fmla="*/ 663130 w 1468659"/>
                <a:gd name="connsiteY417" fmla="*/ 97250 h 1218057"/>
                <a:gd name="connsiteX418" fmla="*/ 666274 w 1468659"/>
                <a:gd name="connsiteY418" fmla="*/ 96774 h 1218057"/>
                <a:gd name="connsiteX419" fmla="*/ 664845 w 1468659"/>
                <a:gd name="connsiteY419" fmla="*/ 98584 h 1218057"/>
                <a:gd name="connsiteX420" fmla="*/ 663321 w 1468659"/>
                <a:gd name="connsiteY420" fmla="*/ 98774 h 1218057"/>
                <a:gd name="connsiteX421" fmla="*/ 659511 w 1468659"/>
                <a:gd name="connsiteY421" fmla="*/ 94488 h 1218057"/>
                <a:gd name="connsiteX422" fmla="*/ 658368 w 1468659"/>
                <a:gd name="connsiteY422" fmla="*/ 97822 h 1218057"/>
                <a:gd name="connsiteX423" fmla="*/ 654844 w 1468659"/>
                <a:gd name="connsiteY423" fmla="*/ 95059 h 1218057"/>
                <a:gd name="connsiteX424" fmla="*/ 654368 w 1468659"/>
                <a:gd name="connsiteY424" fmla="*/ 91916 h 1218057"/>
                <a:gd name="connsiteX425" fmla="*/ 652843 w 1468659"/>
                <a:gd name="connsiteY425" fmla="*/ 92107 h 1218057"/>
                <a:gd name="connsiteX426" fmla="*/ 650653 w 1468659"/>
                <a:gd name="connsiteY426" fmla="*/ 87535 h 1218057"/>
                <a:gd name="connsiteX427" fmla="*/ 645890 w 1468659"/>
                <a:gd name="connsiteY427" fmla="*/ 88201 h 1218057"/>
                <a:gd name="connsiteX428" fmla="*/ 644938 w 1468659"/>
                <a:gd name="connsiteY428" fmla="*/ 80296 h 1218057"/>
                <a:gd name="connsiteX429" fmla="*/ 638556 w 1468659"/>
                <a:gd name="connsiteY429" fmla="*/ 81058 h 1218057"/>
                <a:gd name="connsiteX430" fmla="*/ 637413 w 1468659"/>
                <a:gd name="connsiteY430" fmla="*/ 84487 h 1218057"/>
                <a:gd name="connsiteX431" fmla="*/ 634270 w 1468659"/>
                <a:gd name="connsiteY431" fmla="*/ 84868 h 1218057"/>
                <a:gd name="connsiteX432" fmla="*/ 626173 w 1468659"/>
                <a:gd name="connsiteY432" fmla="*/ 71438 h 1218057"/>
                <a:gd name="connsiteX433" fmla="*/ 623030 w 1468659"/>
                <a:gd name="connsiteY433" fmla="*/ 71818 h 1218057"/>
                <a:gd name="connsiteX434" fmla="*/ 619220 w 1468659"/>
                <a:gd name="connsiteY434" fmla="*/ 67532 h 1218057"/>
                <a:gd name="connsiteX435" fmla="*/ 621601 w 1468659"/>
                <a:gd name="connsiteY435" fmla="*/ 73628 h 1218057"/>
                <a:gd name="connsiteX436" fmla="*/ 620077 w 1468659"/>
                <a:gd name="connsiteY436" fmla="*/ 73819 h 1218057"/>
                <a:gd name="connsiteX437" fmla="*/ 616458 w 1468659"/>
                <a:gd name="connsiteY437" fmla="*/ 71056 h 1218057"/>
                <a:gd name="connsiteX438" fmla="*/ 615125 w 1468659"/>
                <a:gd name="connsiteY438" fmla="*/ 72866 h 1218057"/>
                <a:gd name="connsiteX439" fmla="*/ 616648 w 1468659"/>
                <a:gd name="connsiteY439" fmla="*/ 72676 h 1218057"/>
                <a:gd name="connsiteX440" fmla="*/ 621030 w 1468659"/>
                <a:gd name="connsiteY440" fmla="*/ 81725 h 1218057"/>
                <a:gd name="connsiteX441" fmla="*/ 619697 w 1468659"/>
                <a:gd name="connsiteY441" fmla="*/ 83534 h 1218057"/>
                <a:gd name="connsiteX442" fmla="*/ 621411 w 1468659"/>
                <a:gd name="connsiteY442" fmla="*/ 84868 h 1218057"/>
                <a:gd name="connsiteX443" fmla="*/ 618649 w 1468659"/>
                <a:gd name="connsiteY443" fmla="*/ 88487 h 1218057"/>
                <a:gd name="connsiteX444" fmla="*/ 620649 w 1468659"/>
                <a:gd name="connsiteY444" fmla="*/ 91440 h 1218057"/>
                <a:gd name="connsiteX445" fmla="*/ 625412 w 1468659"/>
                <a:gd name="connsiteY445" fmla="*/ 90773 h 1218057"/>
                <a:gd name="connsiteX446" fmla="*/ 623983 w 1468659"/>
                <a:gd name="connsiteY446" fmla="*/ 92583 h 1218057"/>
                <a:gd name="connsiteX447" fmla="*/ 620649 w 1468659"/>
                <a:gd name="connsiteY447" fmla="*/ 91440 h 1218057"/>
                <a:gd name="connsiteX448" fmla="*/ 621030 w 1468659"/>
                <a:gd name="connsiteY448" fmla="*/ 94583 h 1218057"/>
                <a:gd name="connsiteX449" fmla="*/ 619506 w 1468659"/>
                <a:gd name="connsiteY449" fmla="*/ 94774 h 1218057"/>
                <a:gd name="connsiteX450" fmla="*/ 616934 w 1468659"/>
                <a:gd name="connsiteY450" fmla="*/ 87058 h 1218057"/>
                <a:gd name="connsiteX451" fmla="*/ 613791 w 1468659"/>
                <a:gd name="connsiteY451" fmla="*/ 87439 h 1218057"/>
                <a:gd name="connsiteX452" fmla="*/ 610172 w 1468659"/>
                <a:gd name="connsiteY452" fmla="*/ 84677 h 1218057"/>
                <a:gd name="connsiteX453" fmla="*/ 605504 w 1468659"/>
                <a:gd name="connsiteY453" fmla="*/ 85344 h 1218057"/>
                <a:gd name="connsiteX454" fmla="*/ 604266 w 1468659"/>
                <a:gd name="connsiteY454" fmla="*/ 88678 h 1218057"/>
                <a:gd name="connsiteX455" fmla="*/ 600932 w 1468659"/>
                <a:gd name="connsiteY455" fmla="*/ 87535 h 1218057"/>
                <a:gd name="connsiteX456" fmla="*/ 601123 w 1468659"/>
                <a:gd name="connsiteY456" fmla="*/ 89059 h 1218057"/>
                <a:gd name="connsiteX457" fmla="*/ 599504 w 1468659"/>
                <a:gd name="connsiteY457" fmla="*/ 89249 h 1218057"/>
                <a:gd name="connsiteX458" fmla="*/ 601504 w 1468659"/>
                <a:gd name="connsiteY458" fmla="*/ 92202 h 1218057"/>
                <a:gd name="connsiteX459" fmla="*/ 599980 w 1468659"/>
                <a:gd name="connsiteY459" fmla="*/ 92392 h 1218057"/>
                <a:gd name="connsiteX460" fmla="*/ 600170 w 1468659"/>
                <a:gd name="connsiteY460" fmla="*/ 94012 h 1218057"/>
                <a:gd name="connsiteX461" fmla="*/ 598360 w 1468659"/>
                <a:gd name="connsiteY461" fmla="*/ 92678 h 1218057"/>
                <a:gd name="connsiteX462" fmla="*/ 598551 w 1468659"/>
                <a:gd name="connsiteY462" fmla="*/ 94202 h 1218057"/>
                <a:gd name="connsiteX463" fmla="*/ 597218 w 1468659"/>
                <a:gd name="connsiteY463" fmla="*/ 96012 h 1218057"/>
                <a:gd name="connsiteX464" fmla="*/ 595217 w 1468659"/>
                <a:gd name="connsiteY464" fmla="*/ 93059 h 1218057"/>
                <a:gd name="connsiteX465" fmla="*/ 593884 w 1468659"/>
                <a:gd name="connsiteY465" fmla="*/ 94774 h 1218057"/>
                <a:gd name="connsiteX466" fmla="*/ 591502 w 1468659"/>
                <a:gd name="connsiteY466" fmla="*/ 101536 h 1218057"/>
                <a:gd name="connsiteX467" fmla="*/ 589883 w 1468659"/>
                <a:gd name="connsiteY467" fmla="*/ 101727 h 1218057"/>
                <a:gd name="connsiteX468" fmla="*/ 591122 w 1468659"/>
                <a:gd name="connsiteY468" fmla="*/ 98393 h 1218057"/>
                <a:gd name="connsiteX469" fmla="*/ 587693 w 1468659"/>
                <a:gd name="connsiteY469" fmla="*/ 97155 h 1218057"/>
                <a:gd name="connsiteX470" fmla="*/ 584930 w 1468659"/>
                <a:gd name="connsiteY470" fmla="*/ 100775 h 1218057"/>
                <a:gd name="connsiteX471" fmla="*/ 583978 w 1468659"/>
                <a:gd name="connsiteY471" fmla="*/ 105727 h 1218057"/>
                <a:gd name="connsiteX472" fmla="*/ 582454 w 1468659"/>
                <a:gd name="connsiteY472" fmla="*/ 105918 h 1218057"/>
                <a:gd name="connsiteX473" fmla="*/ 581787 w 1468659"/>
                <a:gd name="connsiteY473" fmla="*/ 101155 h 1218057"/>
                <a:gd name="connsiteX474" fmla="*/ 578644 w 1468659"/>
                <a:gd name="connsiteY474" fmla="*/ 101536 h 1218057"/>
                <a:gd name="connsiteX475" fmla="*/ 578263 w 1468659"/>
                <a:gd name="connsiteY475" fmla="*/ 98393 h 1218057"/>
                <a:gd name="connsiteX476" fmla="*/ 574929 w 1468659"/>
                <a:gd name="connsiteY476" fmla="*/ 97250 h 1218057"/>
                <a:gd name="connsiteX477" fmla="*/ 567595 w 1468659"/>
                <a:gd name="connsiteY477" fmla="*/ 102965 h 1218057"/>
                <a:gd name="connsiteX478" fmla="*/ 564261 w 1468659"/>
                <a:gd name="connsiteY478" fmla="*/ 101822 h 1218057"/>
                <a:gd name="connsiteX479" fmla="*/ 562451 w 1468659"/>
                <a:gd name="connsiteY479" fmla="*/ 100393 h 1218057"/>
                <a:gd name="connsiteX480" fmla="*/ 565595 w 1468659"/>
                <a:gd name="connsiteY480" fmla="*/ 100013 h 1218057"/>
                <a:gd name="connsiteX481" fmla="*/ 567023 w 1468659"/>
                <a:gd name="connsiteY481" fmla="*/ 98203 h 1218057"/>
                <a:gd name="connsiteX482" fmla="*/ 564833 w 1468659"/>
                <a:gd name="connsiteY482" fmla="*/ 93726 h 1218057"/>
                <a:gd name="connsiteX483" fmla="*/ 567595 w 1468659"/>
                <a:gd name="connsiteY483" fmla="*/ 90106 h 1218057"/>
                <a:gd name="connsiteX484" fmla="*/ 567214 w 1468659"/>
                <a:gd name="connsiteY484" fmla="*/ 86963 h 1218057"/>
                <a:gd name="connsiteX485" fmla="*/ 564071 w 1468659"/>
                <a:gd name="connsiteY485" fmla="*/ 87344 h 1218057"/>
                <a:gd name="connsiteX486" fmla="*/ 562261 w 1468659"/>
                <a:gd name="connsiteY486" fmla="*/ 86011 h 1218057"/>
                <a:gd name="connsiteX487" fmla="*/ 560451 w 1468659"/>
                <a:gd name="connsiteY487" fmla="*/ 84677 h 1218057"/>
                <a:gd name="connsiteX488" fmla="*/ 560451 w 1468659"/>
                <a:gd name="connsiteY488" fmla="*/ 84677 h 1218057"/>
                <a:gd name="connsiteX489" fmla="*/ 558260 w 1468659"/>
                <a:gd name="connsiteY489" fmla="*/ 80105 h 1218057"/>
                <a:gd name="connsiteX490" fmla="*/ 556927 w 1468659"/>
                <a:gd name="connsiteY490" fmla="*/ 81915 h 1218057"/>
                <a:gd name="connsiteX491" fmla="*/ 549783 w 1468659"/>
                <a:gd name="connsiteY491" fmla="*/ 76390 h 1218057"/>
                <a:gd name="connsiteX492" fmla="*/ 544068 w 1468659"/>
                <a:gd name="connsiteY492" fmla="*/ 81915 h 1218057"/>
                <a:gd name="connsiteX493" fmla="*/ 541877 w 1468659"/>
                <a:gd name="connsiteY493" fmla="*/ 77343 h 1218057"/>
                <a:gd name="connsiteX494" fmla="*/ 540544 w 1468659"/>
                <a:gd name="connsiteY494" fmla="*/ 79153 h 1218057"/>
                <a:gd name="connsiteX495" fmla="*/ 540353 w 1468659"/>
                <a:gd name="connsiteY495" fmla="*/ 77629 h 1218057"/>
                <a:gd name="connsiteX496" fmla="*/ 538543 w 1468659"/>
                <a:gd name="connsiteY496" fmla="*/ 76200 h 1218057"/>
                <a:gd name="connsiteX497" fmla="*/ 539115 w 1468659"/>
                <a:gd name="connsiteY497" fmla="*/ 68104 h 1218057"/>
                <a:gd name="connsiteX498" fmla="*/ 540448 w 1468659"/>
                <a:gd name="connsiteY498" fmla="*/ 66294 h 1218057"/>
                <a:gd name="connsiteX499" fmla="*/ 535114 w 1468659"/>
                <a:gd name="connsiteY499" fmla="*/ 62198 h 1218057"/>
                <a:gd name="connsiteX500" fmla="*/ 528638 w 1468659"/>
                <a:gd name="connsiteY500" fmla="*/ 61436 h 1218057"/>
                <a:gd name="connsiteX501" fmla="*/ 528256 w 1468659"/>
                <a:gd name="connsiteY501" fmla="*/ 58293 h 1218057"/>
                <a:gd name="connsiteX502" fmla="*/ 523684 w 1468659"/>
                <a:gd name="connsiteY502" fmla="*/ 60484 h 1218057"/>
                <a:gd name="connsiteX503" fmla="*/ 521303 w 1468659"/>
                <a:gd name="connsiteY503" fmla="*/ 54292 h 1218057"/>
                <a:gd name="connsiteX504" fmla="*/ 515588 w 1468659"/>
                <a:gd name="connsiteY504" fmla="*/ 59912 h 1218057"/>
                <a:gd name="connsiteX505" fmla="*/ 512445 w 1468659"/>
                <a:gd name="connsiteY505" fmla="*/ 60293 h 1218057"/>
                <a:gd name="connsiteX506" fmla="*/ 501587 w 1468659"/>
                <a:gd name="connsiteY506" fmla="*/ 63246 h 1218057"/>
                <a:gd name="connsiteX507" fmla="*/ 499396 w 1468659"/>
                <a:gd name="connsiteY507" fmla="*/ 58769 h 1218057"/>
                <a:gd name="connsiteX508" fmla="*/ 496634 w 1468659"/>
                <a:gd name="connsiteY508" fmla="*/ 62293 h 1218057"/>
                <a:gd name="connsiteX509" fmla="*/ 493490 w 1468659"/>
                <a:gd name="connsiteY509" fmla="*/ 62675 h 1218057"/>
                <a:gd name="connsiteX510" fmla="*/ 492157 w 1468659"/>
                <a:gd name="connsiteY510" fmla="*/ 64484 h 1218057"/>
                <a:gd name="connsiteX511" fmla="*/ 492538 w 1468659"/>
                <a:gd name="connsiteY511" fmla="*/ 67627 h 1218057"/>
                <a:gd name="connsiteX512" fmla="*/ 493585 w 1468659"/>
                <a:gd name="connsiteY512" fmla="*/ 75533 h 1218057"/>
                <a:gd name="connsiteX513" fmla="*/ 489013 w 1468659"/>
                <a:gd name="connsiteY513" fmla="*/ 77724 h 1218057"/>
                <a:gd name="connsiteX514" fmla="*/ 489395 w 1468659"/>
                <a:gd name="connsiteY514" fmla="*/ 80867 h 1218057"/>
                <a:gd name="connsiteX515" fmla="*/ 485108 w 1468659"/>
                <a:gd name="connsiteY515" fmla="*/ 84582 h 1218057"/>
                <a:gd name="connsiteX516" fmla="*/ 481965 w 1468659"/>
                <a:gd name="connsiteY516" fmla="*/ 85058 h 1218057"/>
                <a:gd name="connsiteX517" fmla="*/ 482346 w 1468659"/>
                <a:gd name="connsiteY517" fmla="*/ 88201 h 1218057"/>
                <a:gd name="connsiteX518" fmla="*/ 485299 w 1468659"/>
                <a:gd name="connsiteY518" fmla="*/ 86201 h 1218057"/>
                <a:gd name="connsiteX519" fmla="*/ 479584 w 1468659"/>
                <a:gd name="connsiteY519" fmla="*/ 91726 h 1218057"/>
                <a:gd name="connsiteX520" fmla="*/ 480155 w 1468659"/>
                <a:gd name="connsiteY520" fmla="*/ 96488 h 1218057"/>
                <a:gd name="connsiteX521" fmla="*/ 475297 w 1468659"/>
                <a:gd name="connsiteY521" fmla="*/ 95536 h 1218057"/>
                <a:gd name="connsiteX522" fmla="*/ 474821 w 1468659"/>
                <a:gd name="connsiteY522" fmla="*/ 92297 h 1218057"/>
                <a:gd name="connsiteX523" fmla="*/ 477774 w 1468659"/>
                <a:gd name="connsiteY523" fmla="*/ 90392 h 1218057"/>
                <a:gd name="connsiteX524" fmla="*/ 476059 w 1468659"/>
                <a:gd name="connsiteY524" fmla="*/ 88963 h 1218057"/>
                <a:gd name="connsiteX525" fmla="*/ 469868 w 1468659"/>
                <a:gd name="connsiteY525" fmla="*/ 91345 h 1218057"/>
                <a:gd name="connsiteX526" fmla="*/ 462058 w 1468659"/>
                <a:gd name="connsiteY526" fmla="*/ 92392 h 1218057"/>
                <a:gd name="connsiteX527" fmla="*/ 459105 w 1468659"/>
                <a:gd name="connsiteY527" fmla="*/ 94393 h 1218057"/>
                <a:gd name="connsiteX528" fmla="*/ 455676 w 1468659"/>
                <a:gd name="connsiteY528" fmla="*/ 93154 h 1218057"/>
                <a:gd name="connsiteX529" fmla="*/ 450818 w 1468659"/>
                <a:gd name="connsiteY529" fmla="*/ 92202 h 1218057"/>
                <a:gd name="connsiteX530" fmla="*/ 444437 w 1468659"/>
                <a:gd name="connsiteY530" fmla="*/ 92964 h 1218057"/>
                <a:gd name="connsiteX531" fmla="*/ 441293 w 1468659"/>
                <a:gd name="connsiteY531" fmla="*/ 93440 h 1218057"/>
                <a:gd name="connsiteX532" fmla="*/ 440150 w 1468659"/>
                <a:gd name="connsiteY532" fmla="*/ 96774 h 1218057"/>
                <a:gd name="connsiteX533" fmla="*/ 433006 w 1468659"/>
                <a:gd name="connsiteY533" fmla="*/ 91250 h 1218057"/>
                <a:gd name="connsiteX534" fmla="*/ 428244 w 1468659"/>
                <a:gd name="connsiteY534" fmla="*/ 91821 h 1218057"/>
                <a:gd name="connsiteX535" fmla="*/ 419957 w 1468659"/>
                <a:gd name="connsiteY535" fmla="*/ 89725 h 1218057"/>
                <a:gd name="connsiteX536" fmla="*/ 421196 w 1468659"/>
                <a:gd name="connsiteY536" fmla="*/ 99155 h 1218057"/>
                <a:gd name="connsiteX537" fmla="*/ 416052 w 1468659"/>
                <a:gd name="connsiteY537" fmla="*/ 96583 h 1218057"/>
                <a:gd name="connsiteX538" fmla="*/ 411480 w 1468659"/>
                <a:gd name="connsiteY538" fmla="*/ 98774 h 1218057"/>
                <a:gd name="connsiteX539" fmla="*/ 409766 w 1468659"/>
                <a:gd name="connsiteY539" fmla="*/ 97441 h 1218057"/>
                <a:gd name="connsiteX540" fmla="*/ 409384 w 1468659"/>
                <a:gd name="connsiteY540" fmla="*/ 94297 h 1218057"/>
                <a:gd name="connsiteX541" fmla="*/ 410527 w 1468659"/>
                <a:gd name="connsiteY541" fmla="*/ 90868 h 1218057"/>
                <a:gd name="connsiteX542" fmla="*/ 408527 w 1468659"/>
                <a:gd name="connsiteY542" fmla="*/ 87916 h 1218057"/>
                <a:gd name="connsiteX543" fmla="*/ 405384 w 1468659"/>
                <a:gd name="connsiteY543" fmla="*/ 88392 h 1218057"/>
                <a:gd name="connsiteX544" fmla="*/ 406146 w 1468659"/>
                <a:gd name="connsiteY544" fmla="*/ 94679 h 1218057"/>
                <a:gd name="connsiteX545" fmla="*/ 405003 w 1468659"/>
                <a:gd name="connsiteY545" fmla="*/ 98012 h 1218057"/>
                <a:gd name="connsiteX546" fmla="*/ 398526 w 1468659"/>
                <a:gd name="connsiteY546" fmla="*/ 97250 h 1218057"/>
                <a:gd name="connsiteX547" fmla="*/ 397097 w 1468659"/>
                <a:gd name="connsiteY547" fmla="*/ 99060 h 1218057"/>
                <a:gd name="connsiteX548" fmla="*/ 395097 w 1468659"/>
                <a:gd name="connsiteY548" fmla="*/ 96107 h 1218057"/>
                <a:gd name="connsiteX549" fmla="*/ 388810 w 1468659"/>
                <a:gd name="connsiteY549" fmla="*/ 96869 h 1218057"/>
                <a:gd name="connsiteX550" fmla="*/ 388620 w 1468659"/>
                <a:gd name="connsiteY550" fmla="*/ 95345 h 1218057"/>
                <a:gd name="connsiteX551" fmla="*/ 385667 w 1468659"/>
                <a:gd name="connsiteY551" fmla="*/ 97250 h 1218057"/>
                <a:gd name="connsiteX552" fmla="*/ 383667 w 1468659"/>
                <a:gd name="connsiteY552" fmla="*/ 94297 h 1218057"/>
                <a:gd name="connsiteX553" fmla="*/ 382143 w 1468659"/>
                <a:gd name="connsiteY553" fmla="*/ 94488 h 1218057"/>
                <a:gd name="connsiteX554" fmla="*/ 379762 w 1468659"/>
                <a:gd name="connsiteY554" fmla="*/ 88392 h 1218057"/>
                <a:gd name="connsiteX555" fmla="*/ 380714 w 1468659"/>
                <a:gd name="connsiteY555" fmla="*/ 83439 h 1218057"/>
                <a:gd name="connsiteX556" fmla="*/ 382048 w 1468659"/>
                <a:gd name="connsiteY556" fmla="*/ 81725 h 1218057"/>
                <a:gd name="connsiteX557" fmla="*/ 381286 w 1468659"/>
                <a:gd name="connsiteY557" fmla="*/ 75343 h 1218057"/>
                <a:gd name="connsiteX558" fmla="*/ 380905 w 1468659"/>
                <a:gd name="connsiteY558" fmla="*/ 72200 h 1218057"/>
                <a:gd name="connsiteX559" fmla="*/ 382238 w 1468659"/>
                <a:gd name="connsiteY559" fmla="*/ 70485 h 1218057"/>
                <a:gd name="connsiteX560" fmla="*/ 381857 w 1468659"/>
                <a:gd name="connsiteY560" fmla="*/ 67342 h 1218057"/>
                <a:gd name="connsiteX561" fmla="*/ 386620 w 1468659"/>
                <a:gd name="connsiteY561" fmla="*/ 66675 h 1218057"/>
                <a:gd name="connsiteX562" fmla="*/ 381667 w 1468659"/>
                <a:gd name="connsiteY562" fmla="*/ 65722 h 1218057"/>
                <a:gd name="connsiteX563" fmla="*/ 376142 w 1468659"/>
                <a:gd name="connsiteY563" fmla="*/ 60007 h 1218057"/>
                <a:gd name="connsiteX564" fmla="*/ 374713 w 1468659"/>
                <a:gd name="connsiteY564" fmla="*/ 61817 h 1218057"/>
                <a:gd name="connsiteX565" fmla="*/ 365284 w 1468659"/>
                <a:gd name="connsiteY565" fmla="*/ 62960 h 1218057"/>
                <a:gd name="connsiteX566" fmla="*/ 361950 w 1468659"/>
                <a:gd name="connsiteY566" fmla="*/ 61817 h 1218057"/>
                <a:gd name="connsiteX567" fmla="*/ 357950 w 1468659"/>
                <a:gd name="connsiteY567" fmla="*/ 68771 h 1218057"/>
                <a:gd name="connsiteX568" fmla="*/ 357759 w 1468659"/>
                <a:gd name="connsiteY568" fmla="*/ 67151 h 1218057"/>
                <a:gd name="connsiteX569" fmla="*/ 352044 w 1468659"/>
                <a:gd name="connsiteY569" fmla="*/ 72676 h 1218057"/>
                <a:gd name="connsiteX570" fmla="*/ 350330 w 1468659"/>
                <a:gd name="connsiteY570" fmla="*/ 71342 h 1218057"/>
                <a:gd name="connsiteX571" fmla="*/ 348901 w 1468659"/>
                <a:gd name="connsiteY571" fmla="*/ 73057 h 1218057"/>
                <a:gd name="connsiteX572" fmla="*/ 342233 w 1468659"/>
                <a:gd name="connsiteY572" fmla="*/ 70771 h 1218057"/>
                <a:gd name="connsiteX573" fmla="*/ 341471 w 1468659"/>
                <a:gd name="connsiteY573" fmla="*/ 77248 h 1218057"/>
                <a:gd name="connsiteX574" fmla="*/ 345376 w 1468659"/>
                <a:gd name="connsiteY574" fmla="*/ 83153 h 1218057"/>
                <a:gd name="connsiteX575" fmla="*/ 342614 w 1468659"/>
                <a:gd name="connsiteY575" fmla="*/ 86773 h 1218057"/>
                <a:gd name="connsiteX576" fmla="*/ 342233 w 1468659"/>
                <a:gd name="connsiteY576" fmla="*/ 83534 h 1218057"/>
                <a:gd name="connsiteX577" fmla="*/ 341471 w 1468659"/>
                <a:gd name="connsiteY577" fmla="*/ 90106 h 1218057"/>
                <a:gd name="connsiteX578" fmla="*/ 340042 w 1468659"/>
                <a:gd name="connsiteY578" fmla="*/ 91821 h 1218057"/>
                <a:gd name="connsiteX579" fmla="*/ 340519 w 1468659"/>
                <a:gd name="connsiteY579" fmla="*/ 95059 h 1218057"/>
                <a:gd name="connsiteX580" fmla="*/ 338900 w 1468659"/>
                <a:gd name="connsiteY580" fmla="*/ 95250 h 1218057"/>
                <a:gd name="connsiteX581" fmla="*/ 337566 w 1468659"/>
                <a:gd name="connsiteY581" fmla="*/ 96964 h 1218057"/>
                <a:gd name="connsiteX582" fmla="*/ 335566 w 1468659"/>
                <a:gd name="connsiteY582" fmla="*/ 94012 h 1218057"/>
                <a:gd name="connsiteX583" fmla="*/ 333946 w 1468659"/>
                <a:gd name="connsiteY583" fmla="*/ 94202 h 1218057"/>
                <a:gd name="connsiteX584" fmla="*/ 334327 w 1468659"/>
                <a:gd name="connsiteY584" fmla="*/ 97441 h 1218057"/>
                <a:gd name="connsiteX585" fmla="*/ 332804 w 1468659"/>
                <a:gd name="connsiteY585" fmla="*/ 97631 h 1218057"/>
                <a:gd name="connsiteX586" fmla="*/ 336709 w 1468659"/>
                <a:gd name="connsiteY586" fmla="*/ 103537 h 1218057"/>
                <a:gd name="connsiteX587" fmla="*/ 333566 w 1468659"/>
                <a:gd name="connsiteY587" fmla="*/ 103918 h 1218057"/>
                <a:gd name="connsiteX588" fmla="*/ 334042 w 1468659"/>
                <a:gd name="connsiteY588" fmla="*/ 107061 h 1218057"/>
                <a:gd name="connsiteX589" fmla="*/ 330803 w 1468659"/>
                <a:gd name="connsiteY589" fmla="*/ 107442 h 1218057"/>
                <a:gd name="connsiteX590" fmla="*/ 330041 w 1468659"/>
                <a:gd name="connsiteY590" fmla="*/ 101155 h 1218057"/>
                <a:gd name="connsiteX591" fmla="*/ 326898 w 1468659"/>
                <a:gd name="connsiteY591" fmla="*/ 101536 h 1218057"/>
                <a:gd name="connsiteX592" fmla="*/ 324707 w 1468659"/>
                <a:gd name="connsiteY592" fmla="*/ 97060 h 1218057"/>
                <a:gd name="connsiteX593" fmla="*/ 322135 w 1468659"/>
                <a:gd name="connsiteY593" fmla="*/ 102203 h 1218057"/>
                <a:gd name="connsiteX594" fmla="*/ 320612 w 1468659"/>
                <a:gd name="connsiteY594" fmla="*/ 102394 h 1218057"/>
                <a:gd name="connsiteX595" fmla="*/ 320992 w 1468659"/>
                <a:gd name="connsiteY595" fmla="*/ 105537 h 1218057"/>
                <a:gd name="connsiteX596" fmla="*/ 318230 w 1468659"/>
                <a:gd name="connsiteY596" fmla="*/ 109061 h 1218057"/>
                <a:gd name="connsiteX597" fmla="*/ 318611 w 1468659"/>
                <a:gd name="connsiteY597" fmla="*/ 112204 h 1218057"/>
                <a:gd name="connsiteX598" fmla="*/ 318992 w 1468659"/>
                <a:gd name="connsiteY598" fmla="*/ 115443 h 1218057"/>
                <a:gd name="connsiteX599" fmla="*/ 309372 w 1468659"/>
                <a:gd name="connsiteY599" fmla="*/ 115062 h 1218057"/>
                <a:gd name="connsiteX600" fmla="*/ 302609 w 1468659"/>
                <a:gd name="connsiteY600" fmla="*/ 112681 h 1218057"/>
                <a:gd name="connsiteX601" fmla="*/ 302038 w 1468659"/>
                <a:gd name="connsiteY601" fmla="*/ 107918 h 1218057"/>
                <a:gd name="connsiteX602" fmla="*/ 298704 w 1468659"/>
                <a:gd name="connsiteY602" fmla="*/ 106775 h 1218057"/>
                <a:gd name="connsiteX603" fmla="*/ 290036 w 1468659"/>
                <a:gd name="connsiteY603" fmla="*/ 114300 h 1218057"/>
                <a:gd name="connsiteX604" fmla="*/ 290989 w 1468659"/>
                <a:gd name="connsiteY604" fmla="*/ 122206 h 1218057"/>
                <a:gd name="connsiteX605" fmla="*/ 290989 w 1468659"/>
                <a:gd name="connsiteY605" fmla="*/ 122206 h 1218057"/>
                <a:gd name="connsiteX606" fmla="*/ 289465 w 1468659"/>
                <a:gd name="connsiteY606" fmla="*/ 122396 h 1218057"/>
                <a:gd name="connsiteX607" fmla="*/ 285083 w 1468659"/>
                <a:gd name="connsiteY607" fmla="*/ 126111 h 1218057"/>
                <a:gd name="connsiteX608" fmla="*/ 284702 w 1468659"/>
                <a:gd name="connsiteY608" fmla="*/ 122968 h 1218057"/>
                <a:gd name="connsiteX609" fmla="*/ 275463 w 1468659"/>
                <a:gd name="connsiteY609" fmla="*/ 125730 h 1218057"/>
                <a:gd name="connsiteX610" fmla="*/ 273463 w 1468659"/>
                <a:gd name="connsiteY610" fmla="*/ 122777 h 1218057"/>
                <a:gd name="connsiteX611" fmla="*/ 268700 w 1468659"/>
                <a:gd name="connsiteY611" fmla="*/ 123444 h 1218057"/>
                <a:gd name="connsiteX612" fmla="*/ 268129 w 1468659"/>
                <a:gd name="connsiteY612" fmla="*/ 118681 h 1218057"/>
                <a:gd name="connsiteX613" fmla="*/ 264605 w 1468659"/>
                <a:gd name="connsiteY613" fmla="*/ 115919 h 1218057"/>
                <a:gd name="connsiteX614" fmla="*/ 263366 w 1468659"/>
                <a:gd name="connsiteY614" fmla="*/ 119253 h 1218057"/>
                <a:gd name="connsiteX615" fmla="*/ 257080 w 1468659"/>
                <a:gd name="connsiteY615" fmla="*/ 120110 h 1218057"/>
                <a:gd name="connsiteX616" fmla="*/ 261366 w 1468659"/>
                <a:gd name="connsiteY616" fmla="*/ 116300 h 1218057"/>
                <a:gd name="connsiteX617" fmla="*/ 260985 w 1468659"/>
                <a:gd name="connsiteY617" fmla="*/ 113157 h 1218057"/>
                <a:gd name="connsiteX618" fmla="*/ 263938 w 1468659"/>
                <a:gd name="connsiteY618" fmla="*/ 111157 h 1218057"/>
                <a:gd name="connsiteX619" fmla="*/ 256032 w 1468659"/>
                <a:gd name="connsiteY619" fmla="*/ 112204 h 1218057"/>
                <a:gd name="connsiteX620" fmla="*/ 254698 w 1468659"/>
                <a:gd name="connsiteY620" fmla="*/ 114014 h 1218057"/>
                <a:gd name="connsiteX621" fmla="*/ 251174 w 1468659"/>
                <a:gd name="connsiteY621" fmla="*/ 111252 h 1218057"/>
                <a:gd name="connsiteX622" fmla="*/ 248984 w 1468659"/>
                <a:gd name="connsiteY622" fmla="*/ 106680 h 1218057"/>
                <a:gd name="connsiteX623" fmla="*/ 249746 w 1468659"/>
                <a:gd name="connsiteY623" fmla="*/ 100203 h 1218057"/>
                <a:gd name="connsiteX624" fmla="*/ 239649 w 1468659"/>
                <a:gd name="connsiteY624" fmla="*/ 96679 h 1218057"/>
                <a:gd name="connsiteX625" fmla="*/ 235077 w 1468659"/>
                <a:gd name="connsiteY625" fmla="*/ 98869 h 1218057"/>
                <a:gd name="connsiteX626" fmla="*/ 235363 w 1468659"/>
                <a:gd name="connsiteY626" fmla="*/ 100393 h 1218057"/>
                <a:gd name="connsiteX627" fmla="*/ 238696 w 1468659"/>
                <a:gd name="connsiteY627" fmla="*/ 101536 h 1218057"/>
                <a:gd name="connsiteX628" fmla="*/ 234125 w 1468659"/>
                <a:gd name="connsiteY628" fmla="*/ 103727 h 1218057"/>
                <a:gd name="connsiteX629" fmla="*/ 230410 w 1468659"/>
                <a:gd name="connsiteY629" fmla="*/ 112204 h 1218057"/>
                <a:gd name="connsiteX630" fmla="*/ 227076 w 1468659"/>
                <a:gd name="connsiteY630" fmla="*/ 111061 h 1218057"/>
                <a:gd name="connsiteX631" fmla="*/ 227267 w 1468659"/>
                <a:gd name="connsiteY631" fmla="*/ 112681 h 1218057"/>
                <a:gd name="connsiteX632" fmla="*/ 225457 w 1468659"/>
                <a:gd name="connsiteY632" fmla="*/ 111252 h 1218057"/>
                <a:gd name="connsiteX633" fmla="*/ 222694 w 1468659"/>
                <a:gd name="connsiteY633" fmla="*/ 114871 h 1218057"/>
                <a:gd name="connsiteX634" fmla="*/ 220790 w 1468659"/>
                <a:gd name="connsiteY634" fmla="*/ 111919 h 1218057"/>
                <a:gd name="connsiteX635" fmla="*/ 222123 w 1468659"/>
                <a:gd name="connsiteY635" fmla="*/ 110109 h 1218057"/>
                <a:gd name="connsiteX636" fmla="*/ 220504 w 1468659"/>
                <a:gd name="connsiteY636" fmla="*/ 110300 h 1218057"/>
                <a:gd name="connsiteX637" fmla="*/ 219170 w 1468659"/>
                <a:gd name="connsiteY637" fmla="*/ 112109 h 1218057"/>
                <a:gd name="connsiteX638" fmla="*/ 217742 w 1468659"/>
                <a:gd name="connsiteY638" fmla="*/ 113824 h 1218057"/>
                <a:gd name="connsiteX639" fmla="*/ 216408 w 1468659"/>
                <a:gd name="connsiteY639" fmla="*/ 102775 h 1218057"/>
                <a:gd name="connsiteX640" fmla="*/ 214979 w 1468659"/>
                <a:gd name="connsiteY640" fmla="*/ 104584 h 1218057"/>
                <a:gd name="connsiteX641" fmla="*/ 213265 w 1468659"/>
                <a:gd name="connsiteY641" fmla="*/ 103251 h 1218057"/>
                <a:gd name="connsiteX642" fmla="*/ 210407 w 1468659"/>
                <a:gd name="connsiteY642" fmla="*/ 93917 h 1218057"/>
                <a:gd name="connsiteX643" fmla="*/ 207264 w 1468659"/>
                <a:gd name="connsiteY643" fmla="*/ 94393 h 1218057"/>
                <a:gd name="connsiteX644" fmla="*/ 209264 w 1468659"/>
                <a:gd name="connsiteY644" fmla="*/ 97346 h 1218057"/>
                <a:gd name="connsiteX645" fmla="*/ 202978 w 1468659"/>
                <a:gd name="connsiteY645" fmla="*/ 98107 h 1218057"/>
                <a:gd name="connsiteX646" fmla="*/ 203740 w 1468659"/>
                <a:gd name="connsiteY646" fmla="*/ 104394 h 1218057"/>
                <a:gd name="connsiteX647" fmla="*/ 198977 w 1468659"/>
                <a:gd name="connsiteY647" fmla="*/ 105061 h 1218057"/>
                <a:gd name="connsiteX648" fmla="*/ 199453 w 1468659"/>
                <a:gd name="connsiteY648" fmla="*/ 108204 h 1218057"/>
                <a:gd name="connsiteX649" fmla="*/ 192500 w 1468659"/>
                <a:gd name="connsiteY649" fmla="*/ 104299 h 1218057"/>
                <a:gd name="connsiteX650" fmla="*/ 186023 w 1468659"/>
                <a:gd name="connsiteY650" fmla="*/ 103442 h 1218057"/>
                <a:gd name="connsiteX651" fmla="*/ 182499 w 1468659"/>
                <a:gd name="connsiteY651" fmla="*/ 113538 h 1218057"/>
                <a:gd name="connsiteX652" fmla="*/ 180880 w 1468659"/>
                <a:gd name="connsiteY652" fmla="*/ 113729 h 1218057"/>
                <a:gd name="connsiteX653" fmla="*/ 180880 w 1468659"/>
                <a:gd name="connsiteY653" fmla="*/ 113729 h 1218057"/>
                <a:gd name="connsiteX654" fmla="*/ 170974 w 1468659"/>
                <a:gd name="connsiteY654" fmla="*/ 111823 h 1218057"/>
                <a:gd name="connsiteX655" fmla="*/ 169259 w 1468659"/>
                <a:gd name="connsiteY655" fmla="*/ 110395 h 1218057"/>
                <a:gd name="connsiteX656" fmla="*/ 165925 w 1468659"/>
                <a:gd name="connsiteY656" fmla="*/ 109252 h 1218057"/>
                <a:gd name="connsiteX657" fmla="*/ 164687 w 1468659"/>
                <a:gd name="connsiteY657" fmla="*/ 112585 h 1218057"/>
                <a:gd name="connsiteX658" fmla="*/ 160401 w 1468659"/>
                <a:gd name="connsiteY658" fmla="*/ 116396 h 1218057"/>
                <a:gd name="connsiteX659" fmla="*/ 159163 w 1468659"/>
                <a:gd name="connsiteY659" fmla="*/ 119729 h 1218057"/>
                <a:gd name="connsiteX660" fmla="*/ 164306 w 1468659"/>
                <a:gd name="connsiteY660" fmla="*/ 122301 h 1218057"/>
                <a:gd name="connsiteX661" fmla="*/ 164782 w 1468659"/>
                <a:gd name="connsiteY661" fmla="*/ 125444 h 1218057"/>
                <a:gd name="connsiteX662" fmla="*/ 163544 w 1468659"/>
                <a:gd name="connsiteY662" fmla="*/ 128778 h 1218057"/>
                <a:gd name="connsiteX663" fmla="*/ 160211 w 1468659"/>
                <a:gd name="connsiteY663" fmla="*/ 127635 h 1218057"/>
                <a:gd name="connsiteX664" fmla="*/ 159067 w 1468659"/>
                <a:gd name="connsiteY664" fmla="*/ 130969 h 1218057"/>
                <a:gd name="connsiteX665" fmla="*/ 155829 w 1468659"/>
                <a:gd name="connsiteY665" fmla="*/ 131350 h 1218057"/>
                <a:gd name="connsiteX666" fmla="*/ 157829 w 1468659"/>
                <a:gd name="connsiteY666" fmla="*/ 134302 h 1218057"/>
                <a:gd name="connsiteX667" fmla="*/ 156496 w 1468659"/>
                <a:gd name="connsiteY667" fmla="*/ 136112 h 1218057"/>
                <a:gd name="connsiteX668" fmla="*/ 157258 w 1468659"/>
                <a:gd name="connsiteY668" fmla="*/ 142399 h 1218057"/>
                <a:gd name="connsiteX669" fmla="*/ 160592 w 1468659"/>
                <a:gd name="connsiteY669" fmla="*/ 143637 h 1218057"/>
                <a:gd name="connsiteX670" fmla="*/ 163830 w 1468659"/>
                <a:gd name="connsiteY670" fmla="*/ 143161 h 1218057"/>
                <a:gd name="connsiteX671" fmla="*/ 164021 w 1468659"/>
                <a:gd name="connsiteY671" fmla="*/ 144780 h 1218057"/>
                <a:gd name="connsiteX672" fmla="*/ 163830 w 1468659"/>
                <a:gd name="connsiteY672" fmla="*/ 143161 h 1218057"/>
                <a:gd name="connsiteX673" fmla="*/ 170307 w 1468659"/>
                <a:gd name="connsiteY673" fmla="*/ 144018 h 1218057"/>
                <a:gd name="connsiteX674" fmla="*/ 170497 w 1468659"/>
                <a:gd name="connsiteY674" fmla="*/ 145542 h 1218057"/>
                <a:gd name="connsiteX675" fmla="*/ 164021 w 1468659"/>
                <a:gd name="connsiteY675" fmla="*/ 144780 h 1218057"/>
                <a:gd name="connsiteX676" fmla="*/ 165925 w 1468659"/>
                <a:gd name="connsiteY676" fmla="*/ 147733 h 1218057"/>
                <a:gd name="connsiteX677" fmla="*/ 164782 w 1468659"/>
                <a:gd name="connsiteY677" fmla="*/ 151067 h 1218057"/>
                <a:gd name="connsiteX678" fmla="*/ 165925 w 1468659"/>
                <a:gd name="connsiteY678" fmla="*/ 147733 h 1218057"/>
                <a:gd name="connsiteX679" fmla="*/ 167545 w 1468659"/>
                <a:gd name="connsiteY679" fmla="*/ 147542 h 1218057"/>
                <a:gd name="connsiteX680" fmla="*/ 167926 w 1468659"/>
                <a:gd name="connsiteY680" fmla="*/ 150685 h 1218057"/>
                <a:gd name="connsiteX681" fmla="*/ 165163 w 1468659"/>
                <a:gd name="connsiteY681" fmla="*/ 154210 h 1218057"/>
                <a:gd name="connsiteX682" fmla="*/ 168402 w 1468659"/>
                <a:gd name="connsiteY682" fmla="*/ 153829 h 1218057"/>
                <a:gd name="connsiteX683" fmla="*/ 167164 w 1468659"/>
                <a:gd name="connsiteY683" fmla="*/ 157163 h 1218057"/>
                <a:gd name="connsiteX684" fmla="*/ 169545 w 1468659"/>
                <a:gd name="connsiteY684" fmla="*/ 163354 h 1218057"/>
                <a:gd name="connsiteX685" fmla="*/ 166592 w 1468659"/>
                <a:gd name="connsiteY685" fmla="*/ 165259 h 1218057"/>
                <a:gd name="connsiteX686" fmla="*/ 165640 w 1468659"/>
                <a:gd name="connsiteY686" fmla="*/ 170212 h 1218057"/>
                <a:gd name="connsiteX687" fmla="*/ 168973 w 1468659"/>
                <a:gd name="connsiteY687" fmla="*/ 171355 h 1218057"/>
                <a:gd name="connsiteX688" fmla="*/ 167640 w 1468659"/>
                <a:gd name="connsiteY688" fmla="*/ 173164 h 1218057"/>
                <a:gd name="connsiteX689" fmla="*/ 168021 w 1468659"/>
                <a:gd name="connsiteY689" fmla="*/ 176308 h 1218057"/>
                <a:gd name="connsiteX690" fmla="*/ 166878 w 1468659"/>
                <a:gd name="connsiteY690" fmla="*/ 179642 h 1218057"/>
                <a:gd name="connsiteX691" fmla="*/ 168592 w 1468659"/>
                <a:gd name="connsiteY691" fmla="*/ 181070 h 1218057"/>
                <a:gd name="connsiteX692" fmla="*/ 170783 w 1468659"/>
                <a:gd name="connsiteY692" fmla="*/ 185642 h 1218057"/>
                <a:gd name="connsiteX693" fmla="*/ 172402 w 1468659"/>
                <a:gd name="connsiteY693" fmla="*/ 185452 h 1218057"/>
                <a:gd name="connsiteX694" fmla="*/ 172784 w 1468659"/>
                <a:gd name="connsiteY694" fmla="*/ 188595 h 1218057"/>
                <a:gd name="connsiteX695" fmla="*/ 174593 w 1468659"/>
                <a:gd name="connsiteY695" fmla="*/ 189929 h 1218057"/>
                <a:gd name="connsiteX696" fmla="*/ 174974 w 1468659"/>
                <a:gd name="connsiteY696" fmla="*/ 193072 h 1218057"/>
                <a:gd name="connsiteX697" fmla="*/ 178117 w 1468659"/>
                <a:gd name="connsiteY697" fmla="*/ 192691 h 1218057"/>
                <a:gd name="connsiteX698" fmla="*/ 178308 w 1468659"/>
                <a:gd name="connsiteY698" fmla="*/ 194310 h 1218057"/>
                <a:gd name="connsiteX699" fmla="*/ 175165 w 1468659"/>
                <a:gd name="connsiteY699" fmla="*/ 194691 h 1218057"/>
                <a:gd name="connsiteX700" fmla="*/ 177165 w 1468659"/>
                <a:gd name="connsiteY700" fmla="*/ 197644 h 1218057"/>
                <a:gd name="connsiteX701" fmla="*/ 185261 w 1468659"/>
                <a:gd name="connsiteY701" fmla="*/ 198215 h 1218057"/>
                <a:gd name="connsiteX702" fmla="*/ 185452 w 1468659"/>
                <a:gd name="connsiteY702" fmla="*/ 199739 h 1218057"/>
                <a:gd name="connsiteX703" fmla="*/ 182309 w 1468659"/>
                <a:gd name="connsiteY703" fmla="*/ 200215 h 1218057"/>
                <a:gd name="connsiteX704" fmla="*/ 175736 w 1468659"/>
                <a:gd name="connsiteY704" fmla="*/ 199358 h 1218057"/>
                <a:gd name="connsiteX705" fmla="*/ 173165 w 1468659"/>
                <a:gd name="connsiteY705" fmla="*/ 204502 h 1218057"/>
                <a:gd name="connsiteX706" fmla="*/ 174974 w 1468659"/>
                <a:gd name="connsiteY706" fmla="*/ 205930 h 1218057"/>
                <a:gd name="connsiteX707" fmla="*/ 173450 w 1468659"/>
                <a:gd name="connsiteY707" fmla="*/ 206121 h 1218057"/>
                <a:gd name="connsiteX708" fmla="*/ 169450 w 1468659"/>
                <a:gd name="connsiteY708" fmla="*/ 213074 h 1218057"/>
                <a:gd name="connsiteX709" fmla="*/ 166306 w 1468659"/>
                <a:gd name="connsiteY709" fmla="*/ 213455 h 1218057"/>
                <a:gd name="connsiteX710" fmla="*/ 168116 w 1468659"/>
                <a:gd name="connsiteY710" fmla="*/ 214789 h 1218057"/>
                <a:gd name="connsiteX711" fmla="*/ 165544 w 1468659"/>
                <a:gd name="connsiteY711" fmla="*/ 219932 h 1218057"/>
                <a:gd name="connsiteX712" fmla="*/ 166402 w 1468659"/>
                <a:gd name="connsiteY712" fmla="*/ 226219 h 1218057"/>
                <a:gd name="connsiteX713" fmla="*/ 168116 w 1468659"/>
                <a:gd name="connsiteY713" fmla="*/ 227647 h 1218057"/>
                <a:gd name="connsiteX714" fmla="*/ 164211 w 1468659"/>
                <a:gd name="connsiteY714" fmla="*/ 234505 h 1218057"/>
                <a:gd name="connsiteX715" fmla="*/ 162592 w 1468659"/>
                <a:gd name="connsiteY715" fmla="*/ 234791 h 1218057"/>
                <a:gd name="connsiteX716" fmla="*/ 163068 w 1468659"/>
                <a:gd name="connsiteY716" fmla="*/ 237934 h 1218057"/>
                <a:gd name="connsiteX717" fmla="*/ 164592 w 1468659"/>
                <a:gd name="connsiteY717" fmla="*/ 237744 h 1218057"/>
                <a:gd name="connsiteX718" fmla="*/ 163259 w 1468659"/>
                <a:gd name="connsiteY718" fmla="*/ 239459 h 1218057"/>
                <a:gd name="connsiteX719" fmla="*/ 164782 w 1468659"/>
                <a:gd name="connsiteY719" fmla="*/ 239268 h 1218057"/>
                <a:gd name="connsiteX720" fmla="*/ 163449 w 1468659"/>
                <a:gd name="connsiteY720" fmla="*/ 241078 h 1218057"/>
                <a:gd name="connsiteX721" fmla="*/ 167354 w 1468659"/>
                <a:gd name="connsiteY721" fmla="*/ 246983 h 1218057"/>
                <a:gd name="connsiteX722" fmla="*/ 166402 w 1468659"/>
                <a:gd name="connsiteY722" fmla="*/ 251936 h 1218057"/>
                <a:gd name="connsiteX723" fmla="*/ 171926 w 1468659"/>
                <a:gd name="connsiteY723" fmla="*/ 257651 h 1218057"/>
                <a:gd name="connsiteX724" fmla="*/ 173926 w 1468659"/>
                <a:gd name="connsiteY724" fmla="*/ 260604 h 1218057"/>
                <a:gd name="connsiteX725" fmla="*/ 170974 w 1468659"/>
                <a:gd name="connsiteY725" fmla="*/ 262604 h 1218057"/>
                <a:gd name="connsiteX726" fmla="*/ 174307 w 1468659"/>
                <a:gd name="connsiteY726" fmla="*/ 263747 h 1218057"/>
                <a:gd name="connsiteX727" fmla="*/ 171164 w 1468659"/>
                <a:gd name="connsiteY727" fmla="*/ 264128 h 1218057"/>
                <a:gd name="connsiteX728" fmla="*/ 171355 w 1468659"/>
                <a:gd name="connsiteY728" fmla="*/ 265747 h 1218057"/>
                <a:gd name="connsiteX729" fmla="*/ 174498 w 1468659"/>
                <a:gd name="connsiteY729" fmla="*/ 265271 h 1218057"/>
                <a:gd name="connsiteX730" fmla="*/ 178308 w 1468659"/>
                <a:gd name="connsiteY730" fmla="*/ 269653 h 1218057"/>
                <a:gd name="connsiteX731" fmla="*/ 181261 w 1468659"/>
                <a:gd name="connsiteY731" fmla="*/ 267652 h 1218057"/>
                <a:gd name="connsiteX732" fmla="*/ 180118 w 1468659"/>
                <a:gd name="connsiteY732" fmla="*/ 270986 h 1218057"/>
                <a:gd name="connsiteX733" fmla="*/ 183451 w 1468659"/>
                <a:gd name="connsiteY733" fmla="*/ 272225 h 1218057"/>
                <a:gd name="connsiteX734" fmla="*/ 182690 w 1468659"/>
                <a:gd name="connsiteY734" fmla="*/ 278701 h 1218057"/>
                <a:gd name="connsiteX735" fmla="*/ 184594 w 1468659"/>
                <a:gd name="connsiteY735" fmla="*/ 281654 h 1218057"/>
                <a:gd name="connsiteX736" fmla="*/ 181261 w 1468659"/>
                <a:gd name="connsiteY736" fmla="*/ 280511 h 1218057"/>
                <a:gd name="connsiteX737" fmla="*/ 181642 w 1468659"/>
                <a:gd name="connsiteY737" fmla="*/ 283655 h 1218057"/>
                <a:gd name="connsiteX738" fmla="*/ 180118 w 1468659"/>
                <a:gd name="connsiteY738" fmla="*/ 283845 h 1218057"/>
                <a:gd name="connsiteX739" fmla="*/ 176022 w 1468659"/>
                <a:gd name="connsiteY739" fmla="*/ 289179 h 1218057"/>
                <a:gd name="connsiteX740" fmla="*/ 177736 w 1468659"/>
                <a:gd name="connsiteY740" fmla="*/ 290513 h 1218057"/>
                <a:gd name="connsiteX741" fmla="*/ 180308 w 1468659"/>
                <a:gd name="connsiteY741" fmla="*/ 285464 h 1218057"/>
                <a:gd name="connsiteX742" fmla="*/ 181356 w 1468659"/>
                <a:gd name="connsiteY742" fmla="*/ 293275 h 1218057"/>
                <a:gd name="connsiteX743" fmla="*/ 183071 w 1468659"/>
                <a:gd name="connsiteY743" fmla="*/ 294704 h 1218057"/>
                <a:gd name="connsiteX744" fmla="*/ 175165 w 1468659"/>
                <a:gd name="connsiteY744" fmla="*/ 295656 h 1218057"/>
                <a:gd name="connsiteX745" fmla="*/ 171450 w 1468659"/>
                <a:gd name="connsiteY745" fmla="*/ 304229 h 1218057"/>
                <a:gd name="connsiteX746" fmla="*/ 169164 w 1468659"/>
                <a:gd name="connsiteY746" fmla="*/ 310896 h 1218057"/>
                <a:gd name="connsiteX747" fmla="*/ 171069 w 1468659"/>
                <a:gd name="connsiteY747" fmla="*/ 313849 h 1218057"/>
                <a:gd name="connsiteX748" fmla="*/ 167926 w 1468659"/>
                <a:gd name="connsiteY748" fmla="*/ 314230 h 1218057"/>
                <a:gd name="connsiteX749" fmla="*/ 170497 w 1468659"/>
                <a:gd name="connsiteY749" fmla="*/ 321945 h 1218057"/>
                <a:gd name="connsiteX750" fmla="*/ 169354 w 1468659"/>
                <a:gd name="connsiteY750" fmla="*/ 325279 h 1218057"/>
                <a:gd name="connsiteX751" fmla="*/ 168021 w 1468659"/>
                <a:gd name="connsiteY751" fmla="*/ 327088 h 1218057"/>
                <a:gd name="connsiteX752" fmla="*/ 159639 w 1468659"/>
                <a:gd name="connsiteY752" fmla="*/ 324898 h 1218057"/>
                <a:gd name="connsiteX753" fmla="*/ 155162 w 1468659"/>
                <a:gd name="connsiteY753" fmla="*/ 327088 h 1218057"/>
                <a:gd name="connsiteX754" fmla="*/ 154210 w 1468659"/>
                <a:gd name="connsiteY754" fmla="*/ 332042 h 1218057"/>
                <a:gd name="connsiteX755" fmla="*/ 151067 w 1468659"/>
                <a:gd name="connsiteY755" fmla="*/ 332422 h 1218057"/>
                <a:gd name="connsiteX756" fmla="*/ 146494 w 1468659"/>
                <a:gd name="connsiteY756" fmla="*/ 334613 h 1218057"/>
                <a:gd name="connsiteX757" fmla="*/ 144494 w 1468659"/>
                <a:gd name="connsiteY757" fmla="*/ 344519 h 1218057"/>
                <a:gd name="connsiteX758" fmla="*/ 136017 w 1468659"/>
                <a:gd name="connsiteY758" fmla="*/ 340805 h 1218057"/>
                <a:gd name="connsiteX759" fmla="*/ 139065 w 1468659"/>
                <a:gd name="connsiteY759" fmla="*/ 351663 h 1218057"/>
                <a:gd name="connsiteX760" fmla="*/ 136112 w 1468659"/>
                <a:gd name="connsiteY760" fmla="*/ 353568 h 1218057"/>
                <a:gd name="connsiteX761" fmla="*/ 134493 w 1468659"/>
                <a:gd name="connsiteY761" fmla="*/ 353759 h 1218057"/>
                <a:gd name="connsiteX762" fmla="*/ 138684 w 1468659"/>
                <a:gd name="connsiteY762" fmla="*/ 361283 h 1218057"/>
                <a:gd name="connsiteX763" fmla="*/ 141827 w 1468659"/>
                <a:gd name="connsiteY763" fmla="*/ 360902 h 1218057"/>
                <a:gd name="connsiteX764" fmla="*/ 145161 w 1468659"/>
                <a:gd name="connsiteY764" fmla="*/ 362045 h 1218057"/>
                <a:gd name="connsiteX765" fmla="*/ 144399 w 1468659"/>
                <a:gd name="connsiteY765" fmla="*/ 368617 h 1218057"/>
                <a:gd name="connsiteX766" fmla="*/ 141446 w 1468659"/>
                <a:gd name="connsiteY766" fmla="*/ 370522 h 1218057"/>
                <a:gd name="connsiteX767" fmla="*/ 140684 w 1468659"/>
                <a:gd name="connsiteY767" fmla="*/ 377095 h 1218057"/>
                <a:gd name="connsiteX768" fmla="*/ 137541 w 1468659"/>
                <a:gd name="connsiteY768" fmla="*/ 377476 h 1218057"/>
                <a:gd name="connsiteX769" fmla="*/ 134398 w 1468659"/>
                <a:gd name="connsiteY769" fmla="*/ 377857 h 1218057"/>
                <a:gd name="connsiteX770" fmla="*/ 130588 w 1468659"/>
                <a:gd name="connsiteY770" fmla="*/ 373571 h 1218057"/>
                <a:gd name="connsiteX771" fmla="*/ 126111 w 1468659"/>
                <a:gd name="connsiteY771" fmla="*/ 375761 h 1218057"/>
                <a:gd name="connsiteX772" fmla="*/ 119539 w 1468659"/>
                <a:gd name="connsiteY772" fmla="*/ 374999 h 1218057"/>
                <a:gd name="connsiteX773" fmla="*/ 118205 w 1468659"/>
                <a:gd name="connsiteY773" fmla="*/ 376714 h 1218057"/>
                <a:gd name="connsiteX774" fmla="*/ 121729 w 1468659"/>
                <a:gd name="connsiteY774" fmla="*/ 379476 h 1218057"/>
                <a:gd name="connsiteX775" fmla="*/ 121348 w 1468659"/>
                <a:gd name="connsiteY775" fmla="*/ 389192 h 1218057"/>
                <a:gd name="connsiteX776" fmla="*/ 124301 w 1468659"/>
                <a:gd name="connsiteY776" fmla="*/ 400050 h 1218057"/>
                <a:gd name="connsiteX777" fmla="*/ 127540 w 1468659"/>
                <a:gd name="connsiteY777" fmla="*/ 399574 h 1218057"/>
                <a:gd name="connsiteX778" fmla="*/ 129254 w 1468659"/>
                <a:gd name="connsiteY778" fmla="*/ 401002 h 1218057"/>
                <a:gd name="connsiteX779" fmla="*/ 138970 w 1468659"/>
                <a:gd name="connsiteY779" fmla="*/ 401384 h 1218057"/>
                <a:gd name="connsiteX780" fmla="*/ 141922 w 1468659"/>
                <a:gd name="connsiteY780" fmla="*/ 399383 h 1218057"/>
                <a:gd name="connsiteX781" fmla="*/ 143923 w 1468659"/>
                <a:gd name="connsiteY781" fmla="*/ 402336 h 1218057"/>
                <a:gd name="connsiteX782" fmla="*/ 140684 w 1468659"/>
                <a:gd name="connsiteY782" fmla="*/ 402717 h 1218057"/>
                <a:gd name="connsiteX783" fmla="*/ 133636 w 1468659"/>
                <a:gd name="connsiteY783" fmla="*/ 410051 h 1218057"/>
                <a:gd name="connsiteX784" fmla="*/ 133826 w 1468659"/>
                <a:gd name="connsiteY784" fmla="*/ 411575 h 1218057"/>
                <a:gd name="connsiteX785" fmla="*/ 137827 w 1468659"/>
                <a:gd name="connsiteY785" fmla="*/ 417576 h 1218057"/>
                <a:gd name="connsiteX786" fmla="*/ 136207 w 1468659"/>
                <a:gd name="connsiteY786" fmla="*/ 417767 h 1218057"/>
                <a:gd name="connsiteX787" fmla="*/ 129730 w 1468659"/>
                <a:gd name="connsiteY787" fmla="*/ 417005 h 1218057"/>
                <a:gd name="connsiteX788" fmla="*/ 129540 w 1468659"/>
                <a:gd name="connsiteY788" fmla="*/ 415385 h 1218057"/>
                <a:gd name="connsiteX789" fmla="*/ 124396 w 1468659"/>
                <a:gd name="connsiteY789" fmla="*/ 412813 h 1218057"/>
                <a:gd name="connsiteX790" fmla="*/ 123444 w 1468659"/>
                <a:gd name="connsiteY790" fmla="*/ 417767 h 1218057"/>
                <a:gd name="connsiteX791" fmla="*/ 125158 w 1468659"/>
                <a:gd name="connsiteY791" fmla="*/ 419100 h 1218057"/>
                <a:gd name="connsiteX792" fmla="*/ 126016 w 1468659"/>
                <a:gd name="connsiteY792" fmla="*/ 425482 h 1218057"/>
                <a:gd name="connsiteX793" fmla="*/ 119253 w 1468659"/>
                <a:gd name="connsiteY793" fmla="*/ 423100 h 1218057"/>
                <a:gd name="connsiteX794" fmla="*/ 113538 w 1468659"/>
                <a:gd name="connsiteY794" fmla="*/ 428625 h 1218057"/>
                <a:gd name="connsiteX795" fmla="*/ 115348 w 1468659"/>
                <a:gd name="connsiteY795" fmla="*/ 430054 h 1218057"/>
                <a:gd name="connsiteX796" fmla="*/ 115729 w 1468659"/>
                <a:gd name="connsiteY796" fmla="*/ 433197 h 1218057"/>
                <a:gd name="connsiteX797" fmla="*/ 112395 w 1468659"/>
                <a:gd name="connsiteY797" fmla="*/ 431959 h 1218057"/>
                <a:gd name="connsiteX798" fmla="*/ 110966 w 1468659"/>
                <a:gd name="connsiteY798" fmla="*/ 433768 h 1218057"/>
                <a:gd name="connsiteX799" fmla="*/ 111633 w 1468659"/>
                <a:gd name="connsiteY799" fmla="*/ 438531 h 1218057"/>
                <a:gd name="connsiteX800" fmla="*/ 114776 w 1468659"/>
                <a:gd name="connsiteY800" fmla="*/ 438150 h 1218057"/>
                <a:gd name="connsiteX801" fmla="*/ 113157 w 1468659"/>
                <a:gd name="connsiteY801" fmla="*/ 438340 h 1218057"/>
                <a:gd name="connsiteX802" fmla="*/ 114014 w 1468659"/>
                <a:gd name="connsiteY802" fmla="*/ 444627 h 1218057"/>
                <a:gd name="connsiteX803" fmla="*/ 116776 w 1468659"/>
                <a:gd name="connsiteY803" fmla="*/ 441103 h 1218057"/>
                <a:gd name="connsiteX804" fmla="*/ 116396 w 1468659"/>
                <a:gd name="connsiteY804" fmla="*/ 450723 h 1218057"/>
                <a:gd name="connsiteX805" fmla="*/ 124682 w 1468659"/>
                <a:gd name="connsiteY805" fmla="*/ 452914 h 1218057"/>
                <a:gd name="connsiteX806" fmla="*/ 126206 w 1468659"/>
                <a:gd name="connsiteY806" fmla="*/ 452723 h 1218057"/>
                <a:gd name="connsiteX807" fmla="*/ 125063 w 1468659"/>
                <a:gd name="connsiteY807" fmla="*/ 456057 h 1218057"/>
                <a:gd name="connsiteX808" fmla="*/ 128397 w 1468659"/>
                <a:gd name="connsiteY808" fmla="*/ 457200 h 1218057"/>
                <a:gd name="connsiteX809" fmla="*/ 129445 w 1468659"/>
                <a:gd name="connsiteY809" fmla="*/ 465106 h 1218057"/>
                <a:gd name="connsiteX810" fmla="*/ 132017 w 1468659"/>
                <a:gd name="connsiteY810" fmla="*/ 472821 h 1218057"/>
                <a:gd name="connsiteX811" fmla="*/ 127730 w 1468659"/>
                <a:gd name="connsiteY811" fmla="*/ 476536 h 1218057"/>
                <a:gd name="connsiteX812" fmla="*/ 122587 w 1468659"/>
                <a:gd name="connsiteY812" fmla="*/ 473964 h 1218057"/>
                <a:gd name="connsiteX813" fmla="*/ 119348 w 1468659"/>
                <a:gd name="connsiteY813" fmla="*/ 474440 h 1218057"/>
                <a:gd name="connsiteX814" fmla="*/ 112490 w 1468659"/>
                <a:gd name="connsiteY814" fmla="*/ 483298 h 1218057"/>
                <a:gd name="connsiteX815" fmla="*/ 113157 w 1468659"/>
                <a:gd name="connsiteY815" fmla="*/ 500825 h 1218057"/>
                <a:gd name="connsiteX816" fmla="*/ 113347 w 1468659"/>
                <a:gd name="connsiteY816" fmla="*/ 502444 h 1218057"/>
                <a:gd name="connsiteX817" fmla="*/ 108775 w 1468659"/>
                <a:gd name="connsiteY817" fmla="*/ 504634 h 1218057"/>
                <a:gd name="connsiteX818" fmla="*/ 110776 w 1468659"/>
                <a:gd name="connsiteY818" fmla="*/ 507587 h 1218057"/>
                <a:gd name="connsiteX819" fmla="*/ 112204 w 1468659"/>
                <a:gd name="connsiteY819" fmla="*/ 505777 h 1218057"/>
                <a:gd name="connsiteX820" fmla="*/ 112395 w 1468659"/>
                <a:gd name="connsiteY820" fmla="*/ 507397 h 1218057"/>
                <a:gd name="connsiteX821" fmla="*/ 115348 w 1468659"/>
                <a:gd name="connsiteY821" fmla="*/ 505396 h 1218057"/>
                <a:gd name="connsiteX822" fmla="*/ 115538 w 1468659"/>
                <a:gd name="connsiteY822" fmla="*/ 507016 h 1218057"/>
                <a:gd name="connsiteX823" fmla="*/ 112776 w 1468659"/>
                <a:gd name="connsiteY823" fmla="*/ 510540 h 1218057"/>
                <a:gd name="connsiteX824" fmla="*/ 111633 w 1468659"/>
                <a:gd name="connsiteY824" fmla="*/ 513874 h 1218057"/>
                <a:gd name="connsiteX825" fmla="*/ 110966 w 1468659"/>
                <a:gd name="connsiteY825" fmla="*/ 509111 h 1218057"/>
                <a:gd name="connsiteX826" fmla="*/ 109442 w 1468659"/>
                <a:gd name="connsiteY826" fmla="*/ 509397 h 1218057"/>
                <a:gd name="connsiteX827" fmla="*/ 105823 w 1468659"/>
                <a:gd name="connsiteY827" fmla="*/ 506635 h 1218057"/>
                <a:gd name="connsiteX828" fmla="*/ 103061 w 1468659"/>
                <a:gd name="connsiteY828" fmla="*/ 510159 h 1218057"/>
                <a:gd name="connsiteX829" fmla="*/ 101346 w 1468659"/>
                <a:gd name="connsiteY829" fmla="*/ 508825 h 1218057"/>
                <a:gd name="connsiteX830" fmla="*/ 96965 w 1468659"/>
                <a:gd name="connsiteY830" fmla="*/ 512540 h 1218057"/>
                <a:gd name="connsiteX831" fmla="*/ 88868 w 1468659"/>
                <a:gd name="connsiteY831" fmla="*/ 511969 h 1218057"/>
                <a:gd name="connsiteX832" fmla="*/ 89535 w 1468659"/>
                <a:gd name="connsiteY832" fmla="*/ 516731 h 1218057"/>
                <a:gd name="connsiteX833" fmla="*/ 86582 w 1468659"/>
                <a:gd name="connsiteY833" fmla="*/ 518731 h 1218057"/>
                <a:gd name="connsiteX834" fmla="*/ 86963 w 1468659"/>
                <a:gd name="connsiteY834" fmla="*/ 521875 h 1218057"/>
                <a:gd name="connsiteX835" fmla="*/ 84011 w 1468659"/>
                <a:gd name="connsiteY835" fmla="*/ 523780 h 1218057"/>
                <a:gd name="connsiteX836" fmla="*/ 79057 w 1468659"/>
                <a:gd name="connsiteY836" fmla="*/ 522827 h 1218057"/>
                <a:gd name="connsiteX837" fmla="*/ 78105 w 1468659"/>
                <a:gd name="connsiteY837" fmla="*/ 527780 h 1218057"/>
                <a:gd name="connsiteX838" fmla="*/ 68008 w 1468659"/>
                <a:gd name="connsiteY838" fmla="*/ 537115 h 1218057"/>
                <a:gd name="connsiteX839" fmla="*/ 66103 w 1468659"/>
                <a:gd name="connsiteY839" fmla="*/ 534162 h 1218057"/>
                <a:gd name="connsiteX840" fmla="*/ 64103 w 1468659"/>
                <a:gd name="connsiteY840" fmla="*/ 531209 h 1218057"/>
                <a:gd name="connsiteX841" fmla="*/ 59341 w 1468659"/>
                <a:gd name="connsiteY841" fmla="*/ 531781 h 1218057"/>
                <a:gd name="connsiteX842" fmla="*/ 50863 w 1468659"/>
                <a:gd name="connsiteY842" fmla="*/ 528066 h 1218057"/>
                <a:gd name="connsiteX843" fmla="*/ 53816 w 1468659"/>
                <a:gd name="connsiteY843" fmla="*/ 526066 h 1218057"/>
                <a:gd name="connsiteX844" fmla="*/ 53626 w 1468659"/>
                <a:gd name="connsiteY844" fmla="*/ 524447 h 1218057"/>
                <a:gd name="connsiteX845" fmla="*/ 40576 w 1468659"/>
                <a:gd name="connsiteY845" fmla="*/ 522922 h 1218057"/>
                <a:gd name="connsiteX846" fmla="*/ 39243 w 1468659"/>
                <a:gd name="connsiteY846" fmla="*/ 524732 h 1218057"/>
                <a:gd name="connsiteX847" fmla="*/ 39433 w 1468659"/>
                <a:gd name="connsiteY847" fmla="*/ 526256 h 1218057"/>
                <a:gd name="connsiteX848" fmla="*/ 46101 w 1468659"/>
                <a:gd name="connsiteY848" fmla="*/ 528638 h 1218057"/>
                <a:gd name="connsiteX849" fmla="*/ 48101 w 1468659"/>
                <a:gd name="connsiteY849" fmla="*/ 531590 h 1218057"/>
                <a:gd name="connsiteX850" fmla="*/ 46768 w 1468659"/>
                <a:gd name="connsiteY850" fmla="*/ 533400 h 1218057"/>
                <a:gd name="connsiteX851" fmla="*/ 43720 w 1468659"/>
                <a:gd name="connsiteY851" fmla="*/ 535400 h 1218057"/>
                <a:gd name="connsiteX852" fmla="*/ 41434 w 1468659"/>
                <a:gd name="connsiteY852" fmla="*/ 542068 h 1218057"/>
                <a:gd name="connsiteX853" fmla="*/ 41624 w 1468659"/>
                <a:gd name="connsiteY853" fmla="*/ 543687 h 1218057"/>
                <a:gd name="connsiteX854" fmla="*/ 40481 w 1468659"/>
                <a:gd name="connsiteY854" fmla="*/ 547021 h 1218057"/>
                <a:gd name="connsiteX855" fmla="*/ 39433 w 1468659"/>
                <a:gd name="connsiteY855" fmla="*/ 551974 h 1218057"/>
                <a:gd name="connsiteX856" fmla="*/ 42863 w 1468659"/>
                <a:gd name="connsiteY856" fmla="*/ 553117 h 1218057"/>
                <a:gd name="connsiteX857" fmla="*/ 44386 w 1468659"/>
                <a:gd name="connsiteY857" fmla="*/ 565785 h 1218057"/>
                <a:gd name="connsiteX858" fmla="*/ 43244 w 1468659"/>
                <a:gd name="connsiteY858" fmla="*/ 569119 h 1218057"/>
                <a:gd name="connsiteX859" fmla="*/ 32385 w 1468659"/>
                <a:gd name="connsiteY859" fmla="*/ 572072 h 1218057"/>
                <a:gd name="connsiteX860" fmla="*/ 32575 w 1468659"/>
                <a:gd name="connsiteY860" fmla="*/ 573691 h 1218057"/>
                <a:gd name="connsiteX861" fmla="*/ 35433 w 1468659"/>
                <a:gd name="connsiteY861" fmla="*/ 582930 h 1218057"/>
                <a:gd name="connsiteX862" fmla="*/ 42481 w 1468659"/>
                <a:gd name="connsiteY862" fmla="*/ 588455 h 1218057"/>
                <a:gd name="connsiteX863" fmla="*/ 44482 w 1468659"/>
                <a:gd name="connsiteY863" fmla="*/ 591407 h 1218057"/>
                <a:gd name="connsiteX864" fmla="*/ 42386 w 1468659"/>
                <a:gd name="connsiteY864" fmla="*/ 599694 h 1218057"/>
                <a:gd name="connsiteX865" fmla="*/ 50292 w 1468659"/>
                <a:gd name="connsiteY865" fmla="*/ 611505 h 1218057"/>
                <a:gd name="connsiteX866" fmla="*/ 51054 w 1468659"/>
                <a:gd name="connsiteY866" fmla="*/ 617792 h 1218057"/>
                <a:gd name="connsiteX867" fmla="*/ 49911 w 1468659"/>
                <a:gd name="connsiteY867" fmla="*/ 621221 h 1218057"/>
                <a:gd name="connsiteX868" fmla="*/ 47720 w 1468659"/>
                <a:gd name="connsiteY868" fmla="*/ 629507 h 1218057"/>
                <a:gd name="connsiteX869" fmla="*/ 34957 w 1468659"/>
                <a:gd name="connsiteY869" fmla="*/ 642366 h 1218057"/>
                <a:gd name="connsiteX870" fmla="*/ 31147 w 1468659"/>
                <a:gd name="connsiteY870" fmla="*/ 637984 h 1218057"/>
                <a:gd name="connsiteX871" fmla="*/ 27813 w 1468659"/>
                <a:gd name="connsiteY871" fmla="*/ 636842 h 1218057"/>
                <a:gd name="connsiteX872" fmla="*/ 25813 w 1468659"/>
                <a:gd name="connsiteY872" fmla="*/ 633889 h 1218057"/>
                <a:gd name="connsiteX873" fmla="*/ 24289 w 1468659"/>
                <a:gd name="connsiteY873" fmla="*/ 634079 h 1218057"/>
                <a:gd name="connsiteX874" fmla="*/ 24670 w 1468659"/>
                <a:gd name="connsiteY874" fmla="*/ 637222 h 1218057"/>
                <a:gd name="connsiteX875" fmla="*/ 15049 w 1468659"/>
                <a:gd name="connsiteY875" fmla="*/ 649700 h 1218057"/>
                <a:gd name="connsiteX876" fmla="*/ 13240 w 1468659"/>
                <a:gd name="connsiteY876" fmla="*/ 661130 h 1218057"/>
                <a:gd name="connsiteX877" fmla="*/ 5048 w 1468659"/>
                <a:gd name="connsiteY877" fmla="*/ 671798 h 1218057"/>
                <a:gd name="connsiteX878" fmla="*/ 7048 w 1468659"/>
                <a:gd name="connsiteY878" fmla="*/ 674751 h 1218057"/>
                <a:gd name="connsiteX879" fmla="*/ 6191 w 1468659"/>
                <a:gd name="connsiteY879" fmla="*/ 681228 h 1218057"/>
                <a:gd name="connsiteX880" fmla="*/ 6858 w 1468659"/>
                <a:gd name="connsiteY880" fmla="*/ 685990 h 1218057"/>
                <a:gd name="connsiteX881" fmla="*/ 1524 w 1468659"/>
                <a:gd name="connsiteY881" fmla="*/ 694658 h 1218057"/>
                <a:gd name="connsiteX882" fmla="*/ 2096 w 1468659"/>
                <a:gd name="connsiteY882" fmla="*/ 699421 h 1218057"/>
                <a:gd name="connsiteX883" fmla="*/ 0 w 1468659"/>
                <a:gd name="connsiteY883" fmla="*/ 707707 h 1218057"/>
                <a:gd name="connsiteX884" fmla="*/ 3905 w 1468659"/>
                <a:gd name="connsiteY884" fmla="*/ 713613 h 1218057"/>
                <a:gd name="connsiteX885" fmla="*/ 10668 w 1468659"/>
                <a:gd name="connsiteY885" fmla="*/ 715994 h 1218057"/>
                <a:gd name="connsiteX886" fmla="*/ 9715 w 1468659"/>
                <a:gd name="connsiteY886" fmla="*/ 720947 h 1218057"/>
                <a:gd name="connsiteX887" fmla="*/ 10668 w 1468659"/>
                <a:gd name="connsiteY887" fmla="*/ 728853 h 1218057"/>
                <a:gd name="connsiteX888" fmla="*/ 15621 w 1468659"/>
                <a:gd name="connsiteY888" fmla="*/ 729805 h 1218057"/>
                <a:gd name="connsiteX889" fmla="*/ 18383 w 1468659"/>
                <a:gd name="connsiteY889" fmla="*/ 726186 h 1218057"/>
                <a:gd name="connsiteX890" fmla="*/ 25527 w 1468659"/>
                <a:gd name="connsiteY890" fmla="*/ 731710 h 1218057"/>
                <a:gd name="connsiteX891" fmla="*/ 28289 w 1468659"/>
                <a:gd name="connsiteY891" fmla="*/ 728186 h 1218057"/>
                <a:gd name="connsiteX892" fmla="*/ 31242 w 1468659"/>
                <a:gd name="connsiteY892" fmla="*/ 726186 h 1218057"/>
                <a:gd name="connsiteX893" fmla="*/ 38957 w 1468659"/>
                <a:gd name="connsiteY893" fmla="*/ 736473 h 1218057"/>
                <a:gd name="connsiteX894" fmla="*/ 36767 w 1468659"/>
                <a:gd name="connsiteY894" fmla="*/ 744760 h 1218057"/>
                <a:gd name="connsiteX895" fmla="*/ 40957 w 1468659"/>
                <a:gd name="connsiteY895" fmla="*/ 752189 h 1218057"/>
                <a:gd name="connsiteX896" fmla="*/ 52006 w 1468659"/>
                <a:gd name="connsiteY896" fmla="*/ 763619 h 1218057"/>
                <a:gd name="connsiteX897" fmla="*/ 51435 w 1468659"/>
                <a:gd name="connsiteY897" fmla="*/ 758952 h 1218057"/>
                <a:gd name="connsiteX898" fmla="*/ 54388 w 1468659"/>
                <a:gd name="connsiteY898" fmla="*/ 756952 h 1218057"/>
                <a:gd name="connsiteX899" fmla="*/ 58483 w 1468659"/>
                <a:gd name="connsiteY899" fmla="*/ 751618 h 1218057"/>
                <a:gd name="connsiteX900" fmla="*/ 64960 w 1468659"/>
                <a:gd name="connsiteY900" fmla="*/ 752380 h 1218057"/>
                <a:gd name="connsiteX901" fmla="*/ 66770 w 1468659"/>
                <a:gd name="connsiteY901" fmla="*/ 753713 h 1218057"/>
                <a:gd name="connsiteX902" fmla="*/ 61055 w 1468659"/>
                <a:gd name="connsiteY902" fmla="*/ 759238 h 1218057"/>
                <a:gd name="connsiteX903" fmla="*/ 59912 w 1468659"/>
                <a:gd name="connsiteY903" fmla="*/ 762667 h 1218057"/>
                <a:gd name="connsiteX904" fmla="*/ 69818 w 1468659"/>
                <a:gd name="connsiteY904" fmla="*/ 777430 h 1218057"/>
                <a:gd name="connsiteX905" fmla="*/ 71247 w 1468659"/>
                <a:gd name="connsiteY905" fmla="*/ 788480 h 1218057"/>
                <a:gd name="connsiteX906" fmla="*/ 72771 w 1468659"/>
                <a:gd name="connsiteY906" fmla="*/ 788289 h 1218057"/>
                <a:gd name="connsiteX907" fmla="*/ 74771 w 1468659"/>
                <a:gd name="connsiteY907" fmla="*/ 791242 h 1218057"/>
                <a:gd name="connsiteX908" fmla="*/ 82486 w 1468659"/>
                <a:gd name="connsiteY908" fmla="*/ 814292 h 1218057"/>
                <a:gd name="connsiteX909" fmla="*/ 87630 w 1468659"/>
                <a:gd name="connsiteY909" fmla="*/ 816864 h 1218057"/>
                <a:gd name="connsiteX910" fmla="*/ 92773 w 1468659"/>
                <a:gd name="connsiteY910" fmla="*/ 819340 h 1218057"/>
                <a:gd name="connsiteX911" fmla="*/ 91630 w 1468659"/>
                <a:gd name="connsiteY911" fmla="*/ 822770 h 1218057"/>
                <a:gd name="connsiteX912" fmla="*/ 94202 w 1468659"/>
                <a:gd name="connsiteY912" fmla="*/ 830389 h 1218057"/>
                <a:gd name="connsiteX913" fmla="*/ 97726 w 1468659"/>
                <a:gd name="connsiteY913" fmla="*/ 833152 h 1218057"/>
                <a:gd name="connsiteX914" fmla="*/ 104108 w 1468659"/>
                <a:gd name="connsiteY914" fmla="*/ 832390 h 1218057"/>
                <a:gd name="connsiteX915" fmla="*/ 105823 w 1468659"/>
                <a:gd name="connsiteY915" fmla="*/ 833723 h 1218057"/>
                <a:gd name="connsiteX916" fmla="*/ 114871 w 1468659"/>
                <a:gd name="connsiteY916" fmla="*/ 829437 h 1218057"/>
                <a:gd name="connsiteX917" fmla="*/ 126778 w 1468659"/>
                <a:gd name="connsiteY917" fmla="*/ 834295 h 1218057"/>
                <a:gd name="connsiteX918" fmla="*/ 132683 w 1468659"/>
                <a:gd name="connsiteY918" fmla="*/ 830294 h 1218057"/>
                <a:gd name="connsiteX919" fmla="*/ 136779 w 1468659"/>
                <a:gd name="connsiteY919" fmla="*/ 824960 h 1218057"/>
                <a:gd name="connsiteX920" fmla="*/ 141922 w 1468659"/>
                <a:gd name="connsiteY920" fmla="*/ 827532 h 1218057"/>
                <a:gd name="connsiteX921" fmla="*/ 142970 w 1468659"/>
                <a:gd name="connsiteY921" fmla="*/ 835438 h 1218057"/>
                <a:gd name="connsiteX922" fmla="*/ 151067 w 1468659"/>
                <a:gd name="connsiteY922" fmla="*/ 848868 h 1218057"/>
                <a:gd name="connsiteX923" fmla="*/ 148685 w 1468659"/>
                <a:gd name="connsiteY923" fmla="*/ 855536 h 1218057"/>
                <a:gd name="connsiteX924" fmla="*/ 160020 w 1468659"/>
                <a:gd name="connsiteY924" fmla="*/ 881348 h 1218057"/>
                <a:gd name="connsiteX925" fmla="*/ 160401 w 1468659"/>
                <a:gd name="connsiteY925" fmla="*/ 884491 h 1218057"/>
                <a:gd name="connsiteX926" fmla="*/ 164401 w 1468659"/>
                <a:gd name="connsiteY926" fmla="*/ 890492 h 1218057"/>
                <a:gd name="connsiteX927" fmla="*/ 170688 w 1468659"/>
                <a:gd name="connsiteY927" fmla="*/ 889635 h 1218057"/>
                <a:gd name="connsiteX928" fmla="*/ 180594 w 1468659"/>
                <a:gd name="connsiteY928" fmla="*/ 891635 h 1218057"/>
                <a:gd name="connsiteX929" fmla="*/ 176594 w 1468659"/>
                <a:gd name="connsiteY929" fmla="*/ 898493 h 1218057"/>
                <a:gd name="connsiteX930" fmla="*/ 183737 w 1468659"/>
                <a:gd name="connsiteY930" fmla="*/ 904018 h 1218057"/>
                <a:gd name="connsiteX931" fmla="*/ 182975 w 1468659"/>
                <a:gd name="connsiteY931" fmla="*/ 910495 h 1218057"/>
                <a:gd name="connsiteX932" fmla="*/ 194881 w 1468659"/>
                <a:gd name="connsiteY932" fmla="*/ 928306 h 1218057"/>
                <a:gd name="connsiteX933" fmla="*/ 190405 w 1468659"/>
                <a:gd name="connsiteY933" fmla="*/ 943261 h 1218057"/>
                <a:gd name="connsiteX934" fmla="*/ 187833 w 1468659"/>
                <a:gd name="connsiteY934" fmla="*/ 948404 h 1218057"/>
                <a:gd name="connsiteX935" fmla="*/ 193357 w 1468659"/>
                <a:gd name="connsiteY935" fmla="*/ 954119 h 1218057"/>
                <a:gd name="connsiteX936" fmla="*/ 208597 w 1468659"/>
                <a:gd name="connsiteY936" fmla="*/ 960215 h 1218057"/>
                <a:gd name="connsiteX937" fmla="*/ 216217 w 1468659"/>
                <a:gd name="connsiteY937" fmla="*/ 957644 h 1218057"/>
                <a:gd name="connsiteX938" fmla="*/ 218408 w 1468659"/>
                <a:gd name="connsiteY938" fmla="*/ 962120 h 1218057"/>
                <a:gd name="connsiteX939" fmla="*/ 224504 w 1468659"/>
                <a:gd name="connsiteY939" fmla="*/ 959739 h 1218057"/>
                <a:gd name="connsiteX940" fmla="*/ 236220 w 1468659"/>
                <a:gd name="connsiteY940" fmla="*/ 963073 h 1218057"/>
                <a:gd name="connsiteX941" fmla="*/ 247079 w 1468659"/>
                <a:gd name="connsiteY941" fmla="*/ 972979 h 1218057"/>
                <a:gd name="connsiteX942" fmla="*/ 253937 w 1468659"/>
                <a:gd name="connsiteY942" fmla="*/ 976884 h 1218057"/>
                <a:gd name="connsiteX943" fmla="*/ 265462 w 1468659"/>
                <a:gd name="connsiteY943" fmla="*/ 991457 h 1218057"/>
                <a:gd name="connsiteX944" fmla="*/ 270986 w 1468659"/>
                <a:gd name="connsiteY944" fmla="*/ 997172 h 1218057"/>
                <a:gd name="connsiteX945" fmla="*/ 271367 w 1468659"/>
                <a:gd name="connsiteY945" fmla="*/ 1000315 h 1218057"/>
                <a:gd name="connsiteX946" fmla="*/ 274796 w 1468659"/>
                <a:gd name="connsiteY946" fmla="*/ 1001458 h 1218057"/>
                <a:gd name="connsiteX947" fmla="*/ 275368 w 1468659"/>
                <a:gd name="connsiteY947" fmla="*/ 1006221 h 1218057"/>
                <a:gd name="connsiteX948" fmla="*/ 286417 w 1468659"/>
                <a:gd name="connsiteY948" fmla="*/ 1017651 h 1218057"/>
                <a:gd name="connsiteX949" fmla="*/ 289560 w 1468659"/>
                <a:gd name="connsiteY949" fmla="*/ 1017270 h 1218057"/>
                <a:gd name="connsiteX950" fmla="*/ 293180 w 1468659"/>
                <a:gd name="connsiteY950" fmla="*/ 1019937 h 1218057"/>
                <a:gd name="connsiteX951" fmla="*/ 297275 w 1468659"/>
                <a:gd name="connsiteY951" fmla="*/ 1027462 h 1218057"/>
                <a:gd name="connsiteX952" fmla="*/ 306991 w 1468659"/>
                <a:gd name="connsiteY952" fmla="*/ 1027843 h 1218057"/>
                <a:gd name="connsiteX953" fmla="*/ 312515 w 1468659"/>
                <a:gd name="connsiteY953" fmla="*/ 1033558 h 1218057"/>
                <a:gd name="connsiteX954" fmla="*/ 317278 w 1468659"/>
                <a:gd name="connsiteY954" fmla="*/ 1032986 h 1218057"/>
                <a:gd name="connsiteX955" fmla="*/ 330327 w 1468659"/>
                <a:gd name="connsiteY955" fmla="*/ 1034510 h 1218057"/>
                <a:gd name="connsiteX956" fmla="*/ 333851 w 1468659"/>
                <a:gd name="connsiteY956" fmla="*/ 1037272 h 1218057"/>
                <a:gd name="connsiteX957" fmla="*/ 334804 w 1468659"/>
                <a:gd name="connsiteY957" fmla="*/ 1045178 h 1218057"/>
                <a:gd name="connsiteX958" fmla="*/ 336423 w 1468659"/>
                <a:gd name="connsiteY958" fmla="*/ 1044988 h 1218057"/>
                <a:gd name="connsiteX959" fmla="*/ 333851 w 1468659"/>
                <a:gd name="connsiteY959" fmla="*/ 1050036 h 1218057"/>
                <a:gd name="connsiteX960" fmla="*/ 340138 w 1468659"/>
                <a:gd name="connsiteY960" fmla="*/ 1049274 h 1218057"/>
                <a:gd name="connsiteX961" fmla="*/ 338995 w 1468659"/>
                <a:gd name="connsiteY961" fmla="*/ 1052608 h 1218057"/>
                <a:gd name="connsiteX962" fmla="*/ 344329 w 1468659"/>
                <a:gd name="connsiteY962" fmla="*/ 1056799 h 1218057"/>
                <a:gd name="connsiteX963" fmla="*/ 346520 w 1468659"/>
                <a:gd name="connsiteY963" fmla="*/ 1061275 h 1218057"/>
                <a:gd name="connsiteX964" fmla="*/ 344900 w 1468659"/>
                <a:gd name="connsiteY964" fmla="*/ 1061466 h 1218057"/>
                <a:gd name="connsiteX965" fmla="*/ 343567 w 1468659"/>
                <a:gd name="connsiteY965" fmla="*/ 1063276 h 1218057"/>
                <a:gd name="connsiteX966" fmla="*/ 350710 w 1468659"/>
                <a:gd name="connsiteY966" fmla="*/ 1068800 h 1218057"/>
                <a:gd name="connsiteX967" fmla="*/ 351092 w 1468659"/>
                <a:gd name="connsiteY967" fmla="*/ 1071944 h 1218057"/>
                <a:gd name="connsiteX968" fmla="*/ 354425 w 1468659"/>
                <a:gd name="connsiteY968" fmla="*/ 1073087 h 1218057"/>
                <a:gd name="connsiteX969" fmla="*/ 358997 w 1468659"/>
                <a:gd name="connsiteY969" fmla="*/ 1070896 h 1218057"/>
                <a:gd name="connsiteX970" fmla="*/ 365855 w 1468659"/>
                <a:gd name="connsiteY970" fmla="*/ 1074896 h 1218057"/>
                <a:gd name="connsiteX971" fmla="*/ 369284 w 1468659"/>
                <a:gd name="connsiteY971" fmla="*/ 1076039 h 1218057"/>
                <a:gd name="connsiteX972" fmla="*/ 368903 w 1468659"/>
                <a:gd name="connsiteY972" fmla="*/ 1085659 h 1218057"/>
                <a:gd name="connsiteX973" fmla="*/ 368141 w 1468659"/>
                <a:gd name="connsiteY973" fmla="*/ 1092232 h 1218057"/>
                <a:gd name="connsiteX974" fmla="*/ 364141 w 1468659"/>
                <a:gd name="connsiteY974" fmla="*/ 1099185 h 1218057"/>
                <a:gd name="connsiteX975" fmla="*/ 355663 w 1468659"/>
                <a:gd name="connsiteY975" fmla="*/ 1095375 h 1218057"/>
                <a:gd name="connsiteX976" fmla="*/ 343281 w 1468659"/>
                <a:gd name="connsiteY976" fmla="*/ 1098614 h 1218057"/>
                <a:gd name="connsiteX977" fmla="*/ 342709 w 1468659"/>
                <a:gd name="connsiteY977" fmla="*/ 1106710 h 1218057"/>
                <a:gd name="connsiteX978" fmla="*/ 338138 w 1468659"/>
                <a:gd name="connsiteY978" fmla="*/ 1108900 h 1218057"/>
                <a:gd name="connsiteX979" fmla="*/ 335375 w 1468659"/>
                <a:gd name="connsiteY979" fmla="*/ 1112425 h 1218057"/>
                <a:gd name="connsiteX980" fmla="*/ 333851 w 1468659"/>
                <a:gd name="connsiteY980" fmla="*/ 1112615 h 1218057"/>
                <a:gd name="connsiteX981" fmla="*/ 342900 w 1468659"/>
                <a:gd name="connsiteY981" fmla="*/ 1121092 h 1218057"/>
                <a:gd name="connsiteX982" fmla="*/ 343091 w 1468659"/>
                <a:gd name="connsiteY982" fmla="*/ 1122712 h 1218057"/>
                <a:gd name="connsiteX983" fmla="*/ 348425 w 1468659"/>
                <a:gd name="connsiteY983" fmla="*/ 1126807 h 1218057"/>
                <a:gd name="connsiteX984" fmla="*/ 347091 w 1468659"/>
                <a:gd name="connsiteY984" fmla="*/ 1128617 h 1218057"/>
                <a:gd name="connsiteX985" fmla="*/ 356521 w 1468659"/>
                <a:gd name="connsiteY985" fmla="*/ 1127379 h 1218057"/>
                <a:gd name="connsiteX986" fmla="*/ 359950 w 1468659"/>
                <a:gd name="connsiteY986" fmla="*/ 1128522 h 1218057"/>
                <a:gd name="connsiteX987" fmla="*/ 359569 w 1468659"/>
                <a:gd name="connsiteY987" fmla="*/ 1138238 h 1218057"/>
                <a:gd name="connsiteX988" fmla="*/ 354806 w 1468659"/>
                <a:gd name="connsiteY988" fmla="*/ 1138809 h 1218057"/>
                <a:gd name="connsiteX989" fmla="*/ 356806 w 1468659"/>
                <a:gd name="connsiteY989" fmla="*/ 1141762 h 1218057"/>
                <a:gd name="connsiteX990" fmla="*/ 355568 w 1468659"/>
                <a:gd name="connsiteY990" fmla="*/ 1145096 h 1218057"/>
                <a:gd name="connsiteX991" fmla="*/ 362331 w 1468659"/>
                <a:gd name="connsiteY991" fmla="*/ 1147477 h 1218057"/>
                <a:gd name="connsiteX992" fmla="*/ 362712 w 1468659"/>
                <a:gd name="connsiteY992" fmla="*/ 1150620 h 1218057"/>
                <a:gd name="connsiteX993" fmla="*/ 364903 w 1468659"/>
                <a:gd name="connsiteY993" fmla="*/ 1155192 h 1218057"/>
                <a:gd name="connsiteX994" fmla="*/ 370808 w 1468659"/>
                <a:gd name="connsiteY994" fmla="*/ 1151191 h 1218057"/>
                <a:gd name="connsiteX995" fmla="*/ 375761 w 1468659"/>
                <a:gd name="connsiteY995" fmla="*/ 1152239 h 1218057"/>
                <a:gd name="connsiteX996" fmla="*/ 373189 w 1468659"/>
                <a:gd name="connsiteY996" fmla="*/ 1157288 h 1218057"/>
                <a:gd name="connsiteX997" fmla="*/ 374237 w 1468659"/>
                <a:gd name="connsiteY997" fmla="*/ 1165193 h 1218057"/>
                <a:gd name="connsiteX998" fmla="*/ 375761 w 1468659"/>
                <a:gd name="connsiteY998" fmla="*/ 1165003 h 1218057"/>
                <a:gd name="connsiteX999" fmla="*/ 378333 w 1468659"/>
                <a:gd name="connsiteY999" fmla="*/ 1159859 h 1218057"/>
                <a:gd name="connsiteX1000" fmla="*/ 394525 w 1468659"/>
                <a:gd name="connsiteY1000" fmla="*/ 1161002 h 1218057"/>
                <a:gd name="connsiteX1001" fmla="*/ 394525 w 1468659"/>
                <a:gd name="connsiteY1001" fmla="*/ 1161002 h 1218057"/>
                <a:gd name="connsiteX1002" fmla="*/ 396335 w 1468659"/>
                <a:gd name="connsiteY1002" fmla="*/ 1162431 h 1218057"/>
                <a:gd name="connsiteX1003" fmla="*/ 393954 w 1468659"/>
                <a:gd name="connsiteY1003" fmla="*/ 1169098 h 1218057"/>
                <a:gd name="connsiteX1004" fmla="*/ 400812 w 1468659"/>
                <a:gd name="connsiteY1004" fmla="*/ 1173004 h 1218057"/>
                <a:gd name="connsiteX1005" fmla="*/ 410337 w 1468659"/>
                <a:gd name="connsiteY1005" fmla="*/ 1171861 h 1218057"/>
                <a:gd name="connsiteX1006" fmla="*/ 420529 w 1468659"/>
                <a:gd name="connsiteY1006" fmla="*/ 1164146 h 1218057"/>
                <a:gd name="connsiteX1007" fmla="*/ 429101 w 1468659"/>
                <a:gd name="connsiteY1007" fmla="*/ 1167860 h 1218057"/>
                <a:gd name="connsiteX1008" fmla="*/ 435197 w 1468659"/>
                <a:gd name="connsiteY1008" fmla="*/ 1165479 h 1218057"/>
                <a:gd name="connsiteX1009" fmla="*/ 440531 w 1468659"/>
                <a:gd name="connsiteY1009" fmla="*/ 1169575 h 1218057"/>
                <a:gd name="connsiteX1010" fmla="*/ 442055 w 1468659"/>
                <a:gd name="connsiteY1010" fmla="*/ 1169384 h 1218057"/>
                <a:gd name="connsiteX1011" fmla="*/ 442722 w 1468659"/>
                <a:gd name="connsiteY1011" fmla="*/ 1174147 h 1218057"/>
                <a:gd name="connsiteX1012" fmla="*/ 451961 w 1468659"/>
                <a:gd name="connsiteY1012" fmla="*/ 1171384 h 1218057"/>
                <a:gd name="connsiteX1013" fmla="*/ 453580 w 1468659"/>
                <a:gd name="connsiteY1013" fmla="*/ 1171099 h 1218057"/>
                <a:gd name="connsiteX1014" fmla="*/ 453295 w 1468659"/>
                <a:gd name="connsiteY1014" fmla="*/ 1169575 h 1218057"/>
                <a:gd name="connsiteX1015" fmla="*/ 456533 w 1468659"/>
                <a:gd name="connsiteY1015" fmla="*/ 1169194 h 1218057"/>
                <a:gd name="connsiteX1016" fmla="*/ 459867 w 1468659"/>
                <a:gd name="connsiteY1016" fmla="*/ 1170337 h 1218057"/>
                <a:gd name="connsiteX1017" fmla="*/ 466344 w 1468659"/>
                <a:gd name="connsiteY1017" fmla="*/ 1171099 h 1218057"/>
                <a:gd name="connsiteX1018" fmla="*/ 479965 w 1468659"/>
                <a:gd name="connsiteY1018" fmla="*/ 1177385 h 1218057"/>
                <a:gd name="connsiteX1019" fmla="*/ 488251 w 1468659"/>
                <a:gd name="connsiteY1019" fmla="*/ 1179576 h 1218057"/>
                <a:gd name="connsiteX1020" fmla="*/ 496824 w 1468659"/>
                <a:gd name="connsiteY1020" fmla="*/ 1183291 h 1218057"/>
                <a:gd name="connsiteX1021" fmla="*/ 497396 w 1468659"/>
                <a:gd name="connsiteY1021" fmla="*/ 1188053 h 1218057"/>
                <a:gd name="connsiteX1022" fmla="*/ 511207 w 1468659"/>
                <a:gd name="connsiteY1022" fmla="*/ 1183005 h 1218057"/>
                <a:gd name="connsiteX1023" fmla="*/ 521017 w 1468659"/>
                <a:gd name="connsiteY1023" fmla="*/ 1185005 h 1218057"/>
                <a:gd name="connsiteX1024" fmla="*/ 527018 w 1468659"/>
                <a:gd name="connsiteY1024" fmla="*/ 1193864 h 1218057"/>
                <a:gd name="connsiteX1025" fmla="*/ 549307 w 1468659"/>
                <a:gd name="connsiteY1025" fmla="*/ 1205484 h 1218057"/>
                <a:gd name="connsiteX1026" fmla="*/ 555879 w 1468659"/>
                <a:gd name="connsiteY1026" fmla="*/ 1206246 h 1218057"/>
                <a:gd name="connsiteX1027" fmla="*/ 558832 w 1468659"/>
                <a:gd name="connsiteY1027" fmla="*/ 1204246 h 1218057"/>
                <a:gd name="connsiteX1028" fmla="*/ 560165 w 1468659"/>
                <a:gd name="connsiteY1028" fmla="*/ 1215295 h 1218057"/>
                <a:gd name="connsiteX1029" fmla="*/ 563785 w 1468659"/>
                <a:gd name="connsiteY1029" fmla="*/ 1218057 h 1218057"/>
                <a:gd name="connsiteX1030" fmla="*/ 571405 w 1468659"/>
                <a:gd name="connsiteY1030" fmla="*/ 1215485 h 1218057"/>
                <a:gd name="connsiteX1031" fmla="*/ 573786 w 1468659"/>
                <a:gd name="connsiteY1031" fmla="*/ 1208723 h 1218057"/>
                <a:gd name="connsiteX1032" fmla="*/ 579882 w 1468659"/>
                <a:gd name="connsiteY1032" fmla="*/ 1206341 h 1218057"/>
                <a:gd name="connsiteX1033" fmla="*/ 579120 w 1468659"/>
                <a:gd name="connsiteY1033" fmla="*/ 1200055 h 1218057"/>
                <a:gd name="connsiteX1034" fmla="*/ 583025 w 1468659"/>
                <a:gd name="connsiteY1034" fmla="*/ 1193102 h 1218057"/>
                <a:gd name="connsiteX1035" fmla="*/ 589312 w 1468659"/>
                <a:gd name="connsiteY1035" fmla="*/ 1192339 h 1218057"/>
                <a:gd name="connsiteX1036" fmla="*/ 591693 w 1468659"/>
                <a:gd name="connsiteY1036" fmla="*/ 1198436 h 1218057"/>
                <a:gd name="connsiteX1037" fmla="*/ 595122 w 1468659"/>
                <a:gd name="connsiteY1037" fmla="*/ 1199579 h 1218057"/>
                <a:gd name="connsiteX1038" fmla="*/ 599789 w 1468659"/>
                <a:gd name="connsiteY1038" fmla="*/ 1199007 h 1218057"/>
                <a:gd name="connsiteX1039" fmla="*/ 604361 w 1468659"/>
                <a:gd name="connsiteY1039" fmla="*/ 1196816 h 1218057"/>
                <a:gd name="connsiteX1040" fmla="*/ 608267 w 1468659"/>
                <a:gd name="connsiteY1040" fmla="*/ 1189958 h 1218057"/>
                <a:gd name="connsiteX1041" fmla="*/ 606076 w 1468659"/>
                <a:gd name="connsiteY1041" fmla="*/ 1185386 h 1218057"/>
                <a:gd name="connsiteX1042" fmla="*/ 604076 w 1468659"/>
                <a:gd name="connsiteY1042" fmla="*/ 1182433 h 1218057"/>
                <a:gd name="connsiteX1043" fmla="*/ 602933 w 1468659"/>
                <a:gd name="connsiteY1043" fmla="*/ 1173004 h 1218057"/>
                <a:gd name="connsiteX1044" fmla="*/ 605885 w 1468659"/>
                <a:gd name="connsiteY1044" fmla="*/ 1171004 h 1218057"/>
                <a:gd name="connsiteX1045" fmla="*/ 609409 w 1468659"/>
                <a:gd name="connsiteY1045" fmla="*/ 1173766 h 1218057"/>
                <a:gd name="connsiteX1046" fmla="*/ 615696 w 1468659"/>
                <a:gd name="connsiteY1046" fmla="*/ 1172908 h 1218057"/>
                <a:gd name="connsiteX1047" fmla="*/ 617315 w 1468659"/>
                <a:gd name="connsiteY1047" fmla="*/ 1172718 h 1218057"/>
                <a:gd name="connsiteX1048" fmla="*/ 623792 w 1468659"/>
                <a:gd name="connsiteY1048" fmla="*/ 1173480 h 1218057"/>
                <a:gd name="connsiteX1049" fmla="*/ 630746 w 1468659"/>
                <a:gd name="connsiteY1049" fmla="*/ 1177481 h 1218057"/>
                <a:gd name="connsiteX1050" fmla="*/ 635698 w 1468659"/>
                <a:gd name="connsiteY1050" fmla="*/ 1178433 h 1218057"/>
                <a:gd name="connsiteX1051" fmla="*/ 637604 w 1468659"/>
                <a:gd name="connsiteY1051" fmla="*/ 1168527 h 1218057"/>
                <a:gd name="connsiteX1052" fmla="*/ 643509 w 1468659"/>
                <a:gd name="connsiteY1052" fmla="*/ 1164527 h 1218057"/>
                <a:gd name="connsiteX1053" fmla="*/ 644271 w 1468659"/>
                <a:gd name="connsiteY1053" fmla="*/ 1158049 h 1218057"/>
                <a:gd name="connsiteX1054" fmla="*/ 648081 w 1468659"/>
                <a:gd name="connsiteY1054" fmla="*/ 1149572 h 1218057"/>
                <a:gd name="connsiteX1055" fmla="*/ 647033 w 1468659"/>
                <a:gd name="connsiteY1055" fmla="*/ 1141666 h 1218057"/>
                <a:gd name="connsiteX1056" fmla="*/ 651129 w 1468659"/>
                <a:gd name="connsiteY1056" fmla="*/ 1136332 h 1218057"/>
                <a:gd name="connsiteX1057" fmla="*/ 654558 w 1468659"/>
                <a:gd name="connsiteY1057" fmla="*/ 1137475 h 1218057"/>
                <a:gd name="connsiteX1058" fmla="*/ 651701 w 1468659"/>
                <a:gd name="connsiteY1058" fmla="*/ 1128236 h 1218057"/>
                <a:gd name="connsiteX1059" fmla="*/ 644462 w 1468659"/>
                <a:gd name="connsiteY1059" fmla="*/ 1121188 h 1218057"/>
                <a:gd name="connsiteX1060" fmla="*/ 643604 w 1468659"/>
                <a:gd name="connsiteY1060" fmla="*/ 1114806 h 1218057"/>
                <a:gd name="connsiteX1061" fmla="*/ 651510 w 1468659"/>
                <a:gd name="connsiteY1061" fmla="*/ 1113854 h 1218057"/>
                <a:gd name="connsiteX1062" fmla="*/ 654844 w 1468659"/>
                <a:gd name="connsiteY1062" fmla="*/ 1114997 h 1218057"/>
                <a:gd name="connsiteX1063" fmla="*/ 662559 w 1468659"/>
                <a:gd name="connsiteY1063" fmla="*/ 1112425 h 1218057"/>
                <a:gd name="connsiteX1064" fmla="*/ 662368 w 1468659"/>
                <a:gd name="connsiteY1064" fmla="*/ 1110901 h 1218057"/>
                <a:gd name="connsiteX1065" fmla="*/ 664559 w 1468659"/>
                <a:gd name="connsiteY1065" fmla="*/ 1115378 h 1218057"/>
                <a:gd name="connsiteX1066" fmla="*/ 668084 w 1468659"/>
                <a:gd name="connsiteY1066" fmla="*/ 1118140 h 1218057"/>
                <a:gd name="connsiteX1067" fmla="*/ 666559 w 1468659"/>
                <a:gd name="connsiteY1067" fmla="*/ 1118330 h 1218057"/>
                <a:gd name="connsiteX1068" fmla="*/ 666750 w 1468659"/>
                <a:gd name="connsiteY1068" fmla="*/ 1119949 h 1218057"/>
                <a:gd name="connsiteX1069" fmla="*/ 672275 w 1468659"/>
                <a:gd name="connsiteY1069" fmla="*/ 1125664 h 1218057"/>
                <a:gd name="connsiteX1070" fmla="*/ 679133 w 1468659"/>
                <a:gd name="connsiteY1070" fmla="*/ 1129570 h 1218057"/>
                <a:gd name="connsiteX1071" fmla="*/ 681514 w 1468659"/>
                <a:gd name="connsiteY1071" fmla="*/ 1135666 h 1218057"/>
                <a:gd name="connsiteX1072" fmla="*/ 680371 w 1468659"/>
                <a:gd name="connsiteY1072" fmla="*/ 1138999 h 1218057"/>
                <a:gd name="connsiteX1073" fmla="*/ 683895 w 1468659"/>
                <a:gd name="connsiteY1073" fmla="*/ 1141762 h 1218057"/>
                <a:gd name="connsiteX1074" fmla="*/ 687896 w 1468659"/>
                <a:gd name="connsiteY1074" fmla="*/ 1147667 h 1218057"/>
                <a:gd name="connsiteX1075" fmla="*/ 692277 w 1468659"/>
                <a:gd name="connsiteY1075" fmla="*/ 1143953 h 1218057"/>
                <a:gd name="connsiteX1076" fmla="*/ 698563 w 1468659"/>
                <a:gd name="connsiteY1076" fmla="*/ 1143095 h 1218057"/>
                <a:gd name="connsiteX1077" fmla="*/ 704088 w 1468659"/>
                <a:gd name="connsiteY1077" fmla="*/ 1148810 h 1218057"/>
                <a:gd name="connsiteX1078" fmla="*/ 718661 w 1468659"/>
                <a:gd name="connsiteY1078" fmla="*/ 1150144 h 1218057"/>
                <a:gd name="connsiteX1079" fmla="*/ 720662 w 1468659"/>
                <a:gd name="connsiteY1079" fmla="*/ 1153097 h 1218057"/>
                <a:gd name="connsiteX1080" fmla="*/ 723043 w 1468659"/>
                <a:gd name="connsiteY1080" fmla="*/ 1159288 h 1218057"/>
                <a:gd name="connsiteX1081" fmla="*/ 728377 w 1468659"/>
                <a:gd name="connsiteY1081" fmla="*/ 1163383 h 1218057"/>
                <a:gd name="connsiteX1082" fmla="*/ 731330 w 1468659"/>
                <a:gd name="connsiteY1082" fmla="*/ 1161383 h 1218057"/>
                <a:gd name="connsiteX1083" fmla="*/ 730758 w 1468659"/>
                <a:gd name="connsiteY1083" fmla="*/ 1156716 h 1218057"/>
                <a:gd name="connsiteX1084" fmla="*/ 733901 w 1468659"/>
                <a:gd name="connsiteY1084" fmla="*/ 1156240 h 1218057"/>
                <a:gd name="connsiteX1085" fmla="*/ 736854 w 1468659"/>
                <a:gd name="connsiteY1085" fmla="*/ 1154335 h 1218057"/>
                <a:gd name="connsiteX1086" fmla="*/ 739997 w 1468659"/>
                <a:gd name="connsiteY1086" fmla="*/ 1153858 h 1218057"/>
                <a:gd name="connsiteX1087" fmla="*/ 744093 w 1468659"/>
                <a:gd name="connsiteY1087" fmla="*/ 1148524 h 1218057"/>
                <a:gd name="connsiteX1088" fmla="*/ 750475 w 1468659"/>
                <a:gd name="connsiteY1088" fmla="*/ 1147763 h 1218057"/>
                <a:gd name="connsiteX1089" fmla="*/ 755713 w 1468659"/>
                <a:gd name="connsiteY1089" fmla="*/ 1139095 h 1218057"/>
                <a:gd name="connsiteX1090" fmla="*/ 758476 w 1468659"/>
                <a:gd name="connsiteY1090" fmla="*/ 1135475 h 1218057"/>
                <a:gd name="connsiteX1091" fmla="*/ 764858 w 1468659"/>
                <a:gd name="connsiteY1091" fmla="*/ 1134713 h 1218057"/>
                <a:gd name="connsiteX1092" fmla="*/ 769144 w 1468659"/>
                <a:gd name="connsiteY1092" fmla="*/ 1143762 h 1218057"/>
                <a:gd name="connsiteX1093" fmla="*/ 772954 w 1468659"/>
                <a:gd name="connsiteY1093" fmla="*/ 1160907 h 1218057"/>
                <a:gd name="connsiteX1094" fmla="*/ 776383 w 1468659"/>
                <a:gd name="connsiteY1094" fmla="*/ 1162050 h 1218057"/>
                <a:gd name="connsiteX1095" fmla="*/ 779717 w 1468659"/>
                <a:gd name="connsiteY1095" fmla="*/ 1163288 h 1218057"/>
                <a:gd name="connsiteX1096" fmla="*/ 790099 w 1468659"/>
                <a:gd name="connsiteY1096" fmla="*/ 1157097 h 1218057"/>
                <a:gd name="connsiteX1097" fmla="*/ 796671 w 1468659"/>
                <a:gd name="connsiteY1097" fmla="*/ 1170718 h 1218057"/>
                <a:gd name="connsiteX1098" fmla="*/ 802291 w 1468659"/>
                <a:gd name="connsiteY1098" fmla="*/ 1189291 h 1218057"/>
                <a:gd name="connsiteX1099" fmla="*/ 816483 w 1468659"/>
                <a:gd name="connsiteY1099" fmla="*/ 1187482 h 1218057"/>
                <a:gd name="connsiteX1100" fmla="*/ 820769 w 1468659"/>
                <a:gd name="connsiteY1100" fmla="*/ 1183672 h 1218057"/>
                <a:gd name="connsiteX1101" fmla="*/ 821150 w 1468659"/>
                <a:gd name="connsiteY1101" fmla="*/ 1186815 h 1218057"/>
                <a:gd name="connsiteX1102" fmla="*/ 824103 w 1468659"/>
                <a:gd name="connsiteY1102" fmla="*/ 1184910 h 1218057"/>
                <a:gd name="connsiteX1103" fmla="*/ 829437 w 1468659"/>
                <a:gd name="connsiteY1103" fmla="*/ 1189006 h 1218057"/>
                <a:gd name="connsiteX1104" fmla="*/ 833628 w 1468659"/>
                <a:gd name="connsiteY1104" fmla="*/ 1183672 h 1218057"/>
                <a:gd name="connsiteX1105" fmla="*/ 832771 w 1468659"/>
                <a:gd name="connsiteY1105" fmla="*/ 1177385 h 1218057"/>
                <a:gd name="connsiteX1106" fmla="*/ 837343 w 1468659"/>
                <a:gd name="connsiteY1106" fmla="*/ 1175195 h 1218057"/>
                <a:gd name="connsiteX1107" fmla="*/ 836962 w 1468659"/>
                <a:gd name="connsiteY1107" fmla="*/ 1172051 h 1218057"/>
                <a:gd name="connsiteX1108" fmla="*/ 844201 w 1468659"/>
                <a:gd name="connsiteY1108" fmla="*/ 1166241 h 1218057"/>
                <a:gd name="connsiteX1109" fmla="*/ 838676 w 1468659"/>
                <a:gd name="connsiteY1109" fmla="*/ 1147763 h 1218057"/>
                <a:gd name="connsiteX1110" fmla="*/ 845058 w 1468659"/>
                <a:gd name="connsiteY1110" fmla="*/ 1122902 h 1218057"/>
                <a:gd name="connsiteX1111" fmla="*/ 843534 w 1468659"/>
                <a:gd name="connsiteY1111" fmla="*/ 1123093 h 1218057"/>
                <a:gd name="connsiteX1112" fmla="*/ 841915 w 1468659"/>
                <a:gd name="connsiteY1112" fmla="*/ 1110424 h 1218057"/>
                <a:gd name="connsiteX1113" fmla="*/ 837152 w 1468659"/>
                <a:gd name="connsiteY1113" fmla="*/ 1110996 h 1218057"/>
                <a:gd name="connsiteX1114" fmla="*/ 844582 w 1468659"/>
                <a:gd name="connsiteY1114" fmla="*/ 1081183 h 1218057"/>
                <a:gd name="connsiteX1115" fmla="*/ 847344 w 1468659"/>
                <a:gd name="connsiteY1115" fmla="*/ 1077658 h 1218057"/>
                <a:gd name="connsiteX1116" fmla="*/ 847725 w 1468659"/>
                <a:gd name="connsiteY1116" fmla="*/ 1068038 h 1218057"/>
                <a:gd name="connsiteX1117" fmla="*/ 854202 w 1468659"/>
                <a:gd name="connsiteY1117" fmla="*/ 1055941 h 1218057"/>
                <a:gd name="connsiteX1118" fmla="*/ 856964 w 1468659"/>
                <a:gd name="connsiteY1118" fmla="*/ 1052417 h 1218057"/>
                <a:gd name="connsiteX1119" fmla="*/ 867823 w 1468659"/>
                <a:gd name="connsiteY1119" fmla="*/ 1049369 h 1218057"/>
                <a:gd name="connsiteX1120" fmla="*/ 870204 w 1468659"/>
                <a:gd name="connsiteY1120" fmla="*/ 1042702 h 1218057"/>
                <a:gd name="connsiteX1121" fmla="*/ 881253 w 1468659"/>
                <a:gd name="connsiteY1121" fmla="*/ 1041273 h 1218057"/>
                <a:gd name="connsiteX1122" fmla="*/ 889921 w 1468659"/>
                <a:gd name="connsiteY1122" fmla="*/ 1033748 h 1218057"/>
                <a:gd name="connsiteX1123" fmla="*/ 890873 w 1468659"/>
                <a:gd name="connsiteY1123" fmla="*/ 1028795 h 1218057"/>
                <a:gd name="connsiteX1124" fmla="*/ 893635 w 1468659"/>
                <a:gd name="connsiteY1124" fmla="*/ 1025271 h 1218057"/>
                <a:gd name="connsiteX1125" fmla="*/ 894588 w 1468659"/>
                <a:gd name="connsiteY1125" fmla="*/ 1020318 h 1218057"/>
                <a:gd name="connsiteX1126" fmla="*/ 899160 w 1468659"/>
                <a:gd name="connsiteY1126" fmla="*/ 1018127 h 1218057"/>
                <a:gd name="connsiteX1127" fmla="*/ 898874 w 1468659"/>
                <a:gd name="connsiteY1127" fmla="*/ 1016603 h 1218057"/>
                <a:gd name="connsiteX1128" fmla="*/ 900684 w 1468659"/>
                <a:gd name="connsiteY1128" fmla="*/ 1017937 h 1218057"/>
                <a:gd name="connsiteX1129" fmla="*/ 905256 w 1468659"/>
                <a:gd name="connsiteY1129" fmla="*/ 1015746 h 1218057"/>
                <a:gd name="connsiteX1130" fmla="*/ 900113 w 1468659"/>
                <a:gd name="connsiteY1130" fmla="*/ 1000411 h 1218057"/>
                <a:gd name="connsiteX1131" fmla="*/ 907733 w 1468659"/>
                <a:gd name="connsiteY1131" fmla="*/ 984980 h 1218057"/>
                <a:gd name="connsiteX1132" fmla="*/ 906875 w 1468659"/>
                <a:gd name="connsiteY1132" fmla="*/ 978694 h 1218057"/>
                <a:gd name="connsiteX1133" fmla="*/ 904494 w 1468659"/>
                <a:gd name="connsiteY1133" fmla="*/ 972598 h 1218057"/>
                <a:gd name="connsiteX1134" fmla="*/ 905923 w 1468659"/>
                <a:gd name="connsiteY1134" fmla="*/ 970788 h 1218057"/>
                <a:gd name="connsiteX1135" fmla="*/ 905066 w 1468659"/>
                <a:gd name="connsiteY1135" fmla="*/ 964502 h 1218057"/>
                <a:gd name="connsiteX1136" fmla="*/ 912781 w 1468659"/>
                <a:gd name="connsiteY1136" fmla="*/ 961834 h 1218057"/>
                <a:gd name="connsiteX1137" fmla="*/ 915734 w 1468659"/>
                <a:gd name="connsiteY1137" fmla="*/ 959930 h 1218057"/>
                <a:gd name="connsiteX1138" fmla="*/ 920877 w 1468659"/>
                <a:gd name="connsiteY1138" fmla="*/ 962406 h 1218057"/>
                <a:gd name="connsiteX1139" fmla="*/ 927163 w 1468659"/>
                <a:gd name="connsiteY1139" fmla="*/ 961644 h 1218057"/>
                <a:gd name="connsiteX1140" fmla="*/ 929926 w 1468659"/>
                <a:gd name="connsiteY1140" fmla="*/ 958120 h 1218057"/>
                <a:gd name="connsiteX1141" fmla="*/ 932307 w 1468659"/>
                <a:gd name="connsiteY1141" fmla="*/ 964216 h 1218057"/>
                <a:gd name="connsiteX1142" fmla="*/ 932307 w 1468659"/>
                <a:gd name="connsiteY1142" fmla="*/ 964216 h 1218057"/>
                <a:gd name="connsiteX1143" fmla="*/ 933736 w 1468659"/>
                <a:gd name="connsiteY1143" fmla="*/ 962406 h 1218057"/>
                <a:gd name="connsiteX1144" fmla="*/ 935736 w 1468659"/>
                <a:gd name="connsiteY1144" fmla="*/ 965359 h 1218057"/>
                <a:gd name="connsiteX1145" fmla="*/ 939260 w 1468659"/>
                <a:gd name="connsiteY1145" fmla="*/ 968121 h 1218057"/>
                <a:gd name="connsiteX1146" fmla="*/ 940594 w 1468659"/>
                <a:gd name="connsiteY1146" fmla="*/ 966311 h 1218057"/>
                <a:gd name="connsiteX1147" fmla="*/ 944023 w 1468659"/>
                <a:gd name="connsiteY1147" fmla="*/ 967549 h 1218057"/>
                <a:gd name="connsiteX1148" fmla="*/ 948118 w 1468659"/>
                <a:gd name="connsiteY1148" fmla="*/ 962215 h 1218057"/>
                <a:gd name="connsiteX1149" fmla="*/ 953072 w 1468659"/>
                <a:gd name="connsiteY1149" fmla="*/ 963168 h 1218057"/>
                <a:gd name="connsiteX1150" fmla="*/ 959930 w 1468659"/>
                <a:gd name="connsiteY1150" fmla="*/ 967073 h 1218057"/>
                <a:gd name="connsiteX1151" fmla="*/ 958977 w 1468659"/>
                <a:gd name="connsiteY1151" fmla="*/ 972026 h 1218057"/>
                <a:gd name="connsiteX1152" fmla="*/ 960787 w 1468659"/>
                <a:gd name="connsiteY1152" fmla="*/ 973455 h 1218057"/>
                <a:gd name="connsiteX1153" fmla="*/ 968693 w 1468659"/>
                <a:gd name="connsiteY1153" fmla="*/ 972407 h 1218057"/>
                <a:gd name="connsiteX1154" fmla="*/ 972217 w 1468659"/>
                <a:gd name="connsiteY1154" fmla="*/ 975170 h 1218057"/>
                <a:gd name="connsiteX1155" fmla="*/ 977360 w 1468659"/>
                <a:gd name="connsiteY1155" fmla="*/ 977741 h 1218057"/>
                <a:gd name="connsiteX1156" fmla="*/ 981932 w 1468659"/>
                <a:gd name="connsiteY1156" fmla="*/ 975550 h 1218057"/>
                <a:gd name="connsiteX1157" fmla="*/ 988790 w 1468659"/>
                <a:gd name="connsiteY1157" fmla="*/ 979456 h 1218057"/>
                <a:gd name="connsiteX1158" fmla="*/ 993743 w 1468659"/>
                <a:gd name="connsiteY1158" fmla="*/ 980408 h 1218057"/>
                <a:gd name="connsiteX1159" fmla="*/ 997458 w 1468659"/>
                <a:gd name="connsiteY1159" fmla="*/ 984790 h 1218057"/>
                <a:gd name="connsiteX1160" fmla="*/ 1002411 w 1468659"/>
                <a:gd name="connsiteY1160" fmla="*/ 985742 h 1218057"/>
                <a:gd name="connsiteX1161" fmla="*/ 1005364 w 1468659"/>
                <a:gd name="connsiteY1161" fmla="*/ 983742 h 1218057"/>
                <a:gd name="connsiteX1162" fmla="*/ 1012508 w 1468659"/>
                <a:gd name="connsiteY1162" fmla="*/ 989266 h 1218057"/>
                <a:gd name="connsiteX1163" fmla="*/ 1015079 w 1468659"/>
                <a:gd name="connsiteY1163" fmla="*/ 984123 h 1218057"/>
                <a:gd name="connsiteX1164" fmla="*/ 1018222 w 1468659"/>
                <a:gd name="connsiteY1164" fmla="*/ 983742 h 1218057"/>
                <a:gd name="connsiteX1165" fmla="*/ 1023938 w 1468659"/>
                <a:gd name="connsiteY1165" fmla="*/ 978217 h 1218057"/>
                <a:gd name="connsiteX1166" fmla="*/ 1027652 w 1468659"/>
                <a:gd name="connsiteY1166" fmla="*/ 969740 h 1218057"/>
                <a:gd name="connsiteX1167" fmla="*/ 1025843 w 1468659"/>
                <a:gd name="connsiteY1167" fmla="*/ 968312 h 1218057"/>
                <a:gd name="connsiteX1168" fmla="*/ 1027081 w 1468659"/>
                <a:gd name="connsiteY1168" fmla="*/ 964978 h 1218057"/>
                <a:gd name="connsiteX1169" fmla="*/ 1026890 w 1468659"/>
                <a:gd name="connsiteY1169" fmla="*/ 963358 h 1218057"/>
                <a:gd name="connsiteX1170" fmla="*/ 1011269 w 1468659"/>
                <a:gd name="connsiteY1170" fmla="*/ 954119 h 1218057"/>
                <a:gd name="connsiteX1171" fmla="*/ 1011079 w 1468659"/>
                <a:gd name="connsiteY1171" fmla="*/ 952595 h 1218057"/>
                <a:gd name="connsiteX1172" fmla="*/ 1010602 w 1468659"/>
                <a:gd name="connsiteY1172" fmla="*/ 949452 h 1218057"/>
                <a:gd name="connsiteX1173" fmla="*/ 1008697 w 1468659"/>
                <a:gd name="connsiteY1173" fmla="*/ 946499 h 1218057"/>
                <a:gd name="connsiteX1174" fmla="*/ 1013936 w 1468659"/>
                <a:gd name="connsiteY1174" fmla="*/ 937736 h 1218057"/>
                <a:gd name="connsiteX1175" fmla="*/ 1012603 w 1468659"/>
                <a:gd name="connsiteY1175" fmla="*/ 926687 h 1218057"/>
                <a:gd name="connsiteX1176" fmla="*/ 1020604 w 1468659"/>
                <a:gd name="connsiteY1176" fmla="*/ 914495 h 1218057"/>
                <a:gd name="connsiteX1177" fmla="*/ 1018604 w 1468659"/>
                <a:gd name="connsiteY1177" fmla="*/ 898684 h 1218057"/>
                <a:gd name="connsiteX1178" fmla="*/ 1022985 w 1468659"/>
                <a:gd name="connsiteY1178" fmla="*/ 894969 h 1218057"/>
                <a:gd name="connsiteX1179" fmla="*/ 1022699 w 1468659"/>
                <a:gd name="connsiteY1179" fmla="*/ 893350 h 1218057"/>
                <a:gd name="connsiteX1180" fmla="*/ 1030605 w 1468659"/>
                <a:gd name="connsiteY1180" fmla="*/ 892302 h 1218057"/>
                <a:gd name="connsiteX1181" fmla="*/ 1030034 w 1468659"/>
                <a:gd name="connsiteY1181" fmla="*/ 887635 h 1218057"/>
                <a:gd name="connsiteX1182" fmla="*/ 1026033 w 1468659"/>
                <a:gd name="connsiteY1182" fmla="*/ 881729 h 1218057"/>
                <a:gd name="connsiteX1183" fmla="*/ 1025843 w 1468659"/>
                <a:gd name="connsiteY1183" fmla="*/ 880110 h 1218057"/>
                <a:gd name="connsiteX1184" fmla="*/ 1022699 w 1468659"/>
                <a:gd name="connsiteY1184" fmla="*/ 880491 h 1218057"/>
                <a:gd name="connsiteX1185" fmla="*/ 1021747 w 1468659"/>
                <a:gd name="connsiteY1185" fmla="*/ 872585 h 1218057"/>
                <a:gd name="connsiteX1186" fmla="*/ 1022890 w 1468659"/>
                <a:gd name="connsiteY1186" fmla="*/ 856488 h 1218057"/>
                <a:gd name="connsiteX1187" fmla="*/ 1030700 w 1468659"/>
                <a:gd name="connsiteY1187" fmla="*/ 855440 h 1218057"/>
                <a:gd name="connsiteX1188" fmla="*/ 1029938 w 1468659"/>
                <a:gd name="connsiteY1188" fmla="*/ 836295 h 1218057"/>
                <a:gd name="connsiteX1189" fmla="*/ 1033272 w 1468659"/>
                <a:gd name="connsiteY1189" fmla="*/ 837438 h 1218057"/>
                <a:gd name="connsiteX1190" fmla="*/ 1034225 w 1468659"/>
                <a:gd name="connsiteY1190" fmla="*/ 832580 h 1218057"/>
                <a:gd name="connsiteX1191" fmla="*/ 1035368 w 1468659"/>
                <a:gd name="connsiteY1191" fmla="*/ 829151 h 1218057"/>
                <a:gd name="connsiteX1192" fmla="*/ 1036415 w 1468659"/>
                <a:gd name="connsiteY1192" fmla="*/ 824294 h 1218057"/>
                <a:gd name="connsiteX1193" fmla="*/ 1034415 w 1468659"/>
                <a:gd name="connsiteY1193" fmla="*/ 808482 h 1218057"/>
                <a:gd name="connsiteX1194" fmla="*/ 1030796 w 1468659"/>
                <a:gd name="connsiteY1194" fmla="*/ 805720 h 1218057"/>
                <a:gd name="connsiteX1195" fmla="*/ 1030034 w 1468659"/>
                <a:gd name="connsiteY1195" fmla="*/ 799433 h 1218057"/>
                <a:gd name="connsiteX1196" fmla="*/ 1026414 w 1468659"/>
                <a:gd name="connsiteY1196" fmla="*/ 796671 h 1218057"/>
                <a:gd name="connsiteX1197" fmla="*/ 1026033 w 1468659"/>
                <a:gd name="connsiteY1197" fmla="*/ 793528 h 1218057"/>
                <a:gd name="connsiteX1198" fmla="*/ 1030414 w 1468659"/>
                <a:gd name="connsiteY1198" fmla="*/ 789718 h 1218057"/>
                <a:gd name="connsiteX1199" fmla="*/ 1031558 w 1468659"/>
                <a:gd name="connsiteY1199" fmla="*/ 786384 h 1218057"/>
                <a:gd name="connsiteX1200" fmla="*/ 1030796 w 1468659"/>
                <a:gd name="connsiteY1200" fmla="*/ 780097 h 1218057"/>
                <a:gd name="connsiteX1201" fmla="*/ 1027176 w 1468659"/>
                <a:gd name="connsiteY1201" fmla="*/ 777335 h 1218057"/>
                <a:gd name="connsiteX1202" fmla="*/ 1023842 w 1468659"/>
                <a:gd name="connsiteY1202" fmla="*/ 763334 h 1218057"/>
                <a:gd name="connsiteX1203" fmla="*/ 1024604 w 1468659"/>
                <a:gd name="connsiteY1203" fmla="*/ 756761 h 1218057"/>
                <a:gd name="connsiteX1204" fmla="*/ 1024795 w 1468659"/>
                <a:gd name="connsiteY1204" fmla="*/ 745522 h 1218057"/>
                <a:gd name="connsiteX1205" fmla="*/ 1026700 w 1468659"/>
                <a:gd name="connsiteY1205" fmla="*/ 735711 h 1218057"/>
                <a:gd name="connsiteX1206" fmla="*/ 1026890 w 1468659"/>
                <a:gd name="connsiteY1206" fmla="*/ 737235 h 1218057"/>
                <a:gd name="connsiteX1207" fmla="*/ 1029081 w 1468659"/>
                <a:gd name="connsiteY1207" fmla="*/ 728948 h 1218057"/>
                <a:gd name="connsiteX1208" fmla="*/ 1036510 w 1468659"/>
                <a:gd name="connsiteY1208" fmla="*/ 724757 h 1218057"/>
                <a:gd name="connsiteX1209" fmla="*/ 1039273 w 1468659"/>
                <a:gd name="connsiteY1209" fmla="*/ 721233 h 1218057"/>
                <a:gd name="connsiteX1210" fmla="*/ 1037558 w 1468659"/>
                <a:gd name="connsiteY1210" fmla="*/ 719900 h 1218057"/>
                <a:gd name="connsiteX1211" fmla="*/ 1040892 w 1468659"/>
                <a:gd name="connsiteY1211" fmla="*/ 708184 h 1218057"/>
                <a:gd name="connsiteX1212" fmla="*/ 1035939 w 1468659"/>
                <a:gd name="connsiteY1212" fmla="*/ 707231 h 1218057"/>
                <a:gd name="connsiteX1213" fmla="*/ 1033748 w 1468659"/>
                <a:gd name="connsiteY1213" fmla="*/ 702659 h 1218057"/>
                <a:gd name="connsiteX1214" fmla="*/ 1037654 w 1468659"/>
                <a:gd name="connsiteY1214" fmla="*/ 695801 h 1218057"/>
                <a:gd name="connsiteX1215" fmla="*/ 1042797 w 1468659"/>
                <a:gd name="connsiteY1215" fmla="*/ 698373 h 1218057"/>
                <a:gd name="connsiteX1216" fmla="*/ 1048893 w 1468659"/>
                <a:gd name="connsiteY1216" fmla="*/ 695992 h 1218057"/>
                <a:gd name="connsiteX1217" fmla="*/ 1051465 w 1468659"/>
                <a:gd name="connsiteY1217" fmla="*/ 690848 h 1218057"/>
                <a:gd name="connsiteX1218" fmla="*/ 1056037 w 1468659"/>
                <a:gd name="connsiteY1218" fmla="*/ 688657 h 1218057"/>
                <a:gd name="connsiteX1219" fmla="*/ 1060133 w 1468659"/>
                <a:gd name="connsiteY1219" fmla="*/ 696087 h 1218057"/>
                <a:gd name="connsiteX1220" fmla="*/ 1068610 w 1468659"/>
                <a:gd name="connsiteY1220" fmla="*/ 699897 h 1218057"/>
                <a:gd name="connsiteX1221" fmla="*/ 1079278 w 1468659"/>
                <a:gd name="connsiteY1221" fmla="*/ 695325 h 1218057"/>
                <a:gd name="connsiteX1222" fmla="*/ 1086041 w 1468659"/>
                <a:gd name="connsiteY1222" fmla="*/ 697611 h 1218057"/>
                <a:gd name="connsiteX1223" fmla="*/ 1088612 w 1468659"/>
                <a:gd name="connsiteY1223" fmla="*/ 705326 h 1218057"/>
                <a:gd name="connsiteX1224" fmla="*/ 1085850 w 1468659"/>
                <a:gd name="connsiteY1224" fmla="*/ 708851 h 1218057"/>
                <a:gd name="connsiteX1225" fmla="*/ 1086231 w 1468659"/>
                <a:gd name="connsiteY1225" fmla="*/ 712089 h 1218057"/>
                <a:gd name="connsiteX1226" fmla="*/ 1088231 w 1468659"/>
                <a:gd name="connsiteY1226" fmla="*/ 715042 h 1218057"/>
                <a:gd name="connsiteX1227" fmla="*/ 1102805 w 1468659"/>
                <a:gd name="connsiteY1227" fmla="*/ 716375 h 1218057"/>
                <a:gd name="connsiteX1228" fmla="*/ 1112901 w 1468659"/>
                <a:gd name="connsiteY1228" fmla="*/ 719900 h 1218057"/>
                <a:gd name="connsiteX1229" fmla="*/ 1116997 w 1468659"/>
                <a:gd name="connsiteY1229" fmla="*/ 714565 h 1218057"/>
                <a:gd name="connsiteX1230" fmla="*/ 1121759 w 1468659"/>
                <a:gd name="connsiteY1230" fmla="*/ 713899 h 1218057"/>
                <a:gd name="connsiteX1231" fmla="*/ 1126903 w 1468659"/>
                <a:gd name="connsiteY1231" fmla="*/ 716471 h 1218057"/>
                <a:gd name="connsiteX1232" fmla="*/ 1128236 w 1468659"/>
                <a:gd name="connsiteY1232" fmla="*/ 714756 h 1218057"/>
                <a:gd name="connsiteX1233" fmla="*/ 1131665 w 1468659"/>
                <a:gd name="connsiteY1233" fmla="*/ 715899 h 1218057"/>
                <a:gd name="connsiteX1234" fmla="*/ 1136142 w 1468659"/>
                <a:gd name="connsiteY1234" fmla="*/ 713708 h 1218057"/>
                <a:gd name="connsiteX1235" fmla="*/ 1136618 w 1468659"/>
                <a:gd name="connsiteY1235" fmla="*/ 716851 h 1218057"/>
                <a:gd name="connsiteX1236" fmla="*/ 1149953 w 1468659"/>
                <a:gd name="connsiteY1236" fmla="*/ 721614 h 1218057"/>
                <a:gd name="connsiteX1237" fmla="*/ 1151763 w 1468659"/>
                <a:gd name="connsiteY1237" fmla="*/ 722947 h 1218057"/>
                <a:gd name="connsiteX1238" fmla="*/ 1152811 w 1468659"/>
                <a:gd name="connsiteY1238" fmla="*/ 730853 h 1218057"/>
                <a:gd name="connsiteX1239" fmla="*/ 1149382 w 1468659"/>
                <a:gd name="connsiteY1239" fmla="*/ 729615 h 1218057"/>
                <a:gd name="connsiteX1240" fmla="*/ 1146715 w 1468659"/>
                <a:gd name="connsiteY1240" fmla="*/ 733234 h 1218057"/>
                <a:gd name="connsiteX1241" fmla="*/ 1147096 w 1468659"/>
                <a:gd name="connsiteY1241" fmla="*/ 736378 h 1218057"/>
                <a:gd name="connsiteX1242" fmla="*/ 1155573 w 1468659"/>
                <a:gd name="connsiteY1242" fmla="*/ 740093 h 1218057"/>
                <a:gd name="connsiteX1243" fmla="*/ 1155764 w 1468659"/>
                <a:gd name="connsiteY1243" fmla="*/ 741712 h 1218057"/>
                <a:gd name="connsiteX1244" fmla="*/ 1153001 w 1468659"/>
                <a:gd name="connsiteY1244" fmla="*/ 745236 h 1218057"/>
                <a:gd name="connsiteX1245" fmla="*/ 1158335 w 1468659"/>
                <a:gd name="connsiteY1245" fmla="*/ 749332 h 1218057"/>
                <a:gd name="connsiteX1246" fmla="*/ 1160907 w 1468659"/>
                <a:gd name="connsiteY1246" fmla="*/ 757047 h 1218057"/>
                <a:gd name="connsiteX1247" fmla="*/ 1159573 w 1468659"/>
                <a:gd name="connsiteY1247" fmla="*/ 758857 h 1218057"/>
                <a:gd name="connsiteX1248" fmla="*/ 1156621 w 1468659"/>
                <a:gd name="connsiteY1248" fmla="*/ 760857 h 1218057"/>
                <a:gd name="connsiteX1249" fmla="*/ 1150334 w 1468659"/>
                <a:gd name="connsiteY1249" fmla="*/ 774478 h 1218057"/>
                <a:gd name="connsiteX1250" fmla="*/ 1155859 w 1468659"/>
                <a:gd name="connsiteY1250" fmla="*/ 780193 h 1218057"/>
                <a:gd name="connsiteX1251" fmla="*/ 1158812 w 1468659"/>
                <a:gd name="connsiteY1251" fmla="*/ 778193 h 1218057"/>
                <a:gd name="connsiteX1252" fmla="*/ 1160621 w 1468659"/>
                <a:gd name="connsiteY1252" fmla="*/ 779526 h 1218057"/>
                <a:gd name="connsiteX1253" fmla="*/ 1167860 w 1468659"/>
                <a:gd name="connsiteY1253" fmla="*/ 773811 h 1218057"/>
                <a:gd name="connsiteX1254" fmla="*/ 1175004 w 1468659"/>
                <a:gd name="connsiteY1254" fmla="*/ 779335 h 1218057"/>
                <a:gd name="connsiteX1255" fmla="*/ 1183291 w 1468659"/>
                <a:gd name="connsiteY1255" fmla="*/ 768668 h 1218057"/>
                <a:gd name="connsiteX1256" fmla="*/ 1187768 w 1468659"/>
                <a:gd name="connsiteY1256" fmla="*/ 766477 h 1218057"/>
                <a:gd name="connsiteX1257" fmla="*/ 1190530 w 1468659"/>
                <a:gd name="connsiteY1257" fmla="*/ 762952 h 1218057"/>
                <a:gd name="connsiteX1258" fmla="*/ 1195102 w 1468659"/>
                <a:gd name="connsiteY1258" fmla="*/ 760762 h 1218057"/>
                <a:gd name="connsiteX1259" fmla="*/ 1201388 w 1468659"/>
                <a:gd name="connsiteY1259" fmla="*/ 759905 h 1218057"/>
                <a:gd name="connsiteX1260" fmla="*/ 1211294 w 1468659"/>
                <a:gd name="connsiteY1260" fmla="*/ 761905 h 1218057"/>
                <a:gd name="connsiteX1261" fmla="*/ 1215962 w 1468659"/>
                <a:gd name="connsiteY1261" fmla="*/ 761238 h 1218057"/>
                <a:gd name="connsiteX1262" fmla="*/ 1226439 w 1468659"/>
                <a:gd name="connsiteY1262" fmla="*/ 768001 h 1218057"/>
                <a:gd name="connsiteX1263" fmla="*/ 1227487 w 1468659"/>
                <a:gd name="connsiteY1263" fmla="*/ 763048 h 1218057"/>
                <a:gd name="connsiteX1264" fmla="*/ 1232154 w 1468659"/>
                <a:gd name="connsiteY1264" fmla="*/ 762381 h 1218057"/>
                <a:gd name="connsiteX1265" fmla="*/ 1229582 w 1468659"/>
                <a:gd name="connsiteY1265" fmla="*/ 754761 h 1218057"/>
                <a:gd name="connsiteX1266" fmla="*/ 1231011 w 1468659"/>
                <a:gd name="connsiteY1266" fmla="*/ 752951 h 1218057"/>
                <a:gd name="connsiteX1267" fmla="*/ 1234345 w 1468659"/>
                <a:gd name="connsiteY1267" fmla="*/ 754094 h 1218057"/>
                <a:gd name="connsiteX1268" fmla="*/ 1240441 w 1468659"/>
                <a:gd name="connsiteY1268" fmla="*/ 738950 h 1218057"/>
                <a:gd name="connsiteX1269" fmla="*/ 1241774 w 1468659"/>
                <a:gd name="connsiteY1269" fmla="*/ 737140 h 1218057"/>
                <a:gd name="connsiteX1270" fmla="*/ 1236059 w 1468659"/>
                <a:gd name="connsiteY1270" fmla="*/ 729805 h 1218057"/>
                <a:gd name="connsiteX1271" fmla="*/ 1238250 w 1468659"/>
                <a:gd name="connsiteY1271" fmla="*/ 721519 h 1218057"/>
                <a:gd name="connsiteX1272" fmla="*/ 1246537 w 1468659"/>
                <a:gd name="connsiteY1272" fmla="*/ 723709 h 1218057"/>
                <a:gd name="connsiteX1273" fmla="*/ 1250061 w 1468659"/>
                <a:gd name="connsiteY1273" fmla="*/ 726472 h 1218057"/>
                <a:gd name="connsiteX1274" fmla="*/ 1247680 w 1468659"/>
                <a:gd name="connsiteY1274" fmla="*/ 733139 h 1218057"/>
                <a:gd name="connsiteX1275" fmla="*/ 1258157 w 1468659"/>
                <a:gd name="connsiteY1275" fmla="*/ 739902 h 1218057"/>
                <a:gd name="connsiteX1276" fmla="*/ 1262729 w 1468659"/>
                <a:gd name="connsiteY1276" fmla="*/ 737711 h 1218057"/>
                <a:gd name="connsiteX1277" fmla="*/ 1269587 w 1468659"/>
                <a:gd name="connsiteY1277" fmla="*/ 741617 h 1218057"/>
                <a:gd name="connsiteX1278" fmla="*/ 1273969 w 1468659"/>
                <a:gd name="connsiteY1278" fmla="*/ 737806 h 1218057"/>
                <a:gd name="connsiteX1279" fmla="*/ 1276541 w 1468659"/>
                <a:gd name="connsiteY1279" fmla="*/ 732758 h 1218057"/>
                <a:gd name="connsiteX1280" fmla="*/ 1281684 w 1468659"/>
                <a:gd name="connsiteY1280" fmla="*/ 735235 h 1218057"/>
                <a:gd name="connsiteX1281" fmla="*/ 1289304 w 1468659"/>
                <a:gd name="connsiteY1281" fmla="*/ 732663 h 1218057"/>
                <a:gd name="connsiteX1282" fmla="*/ 1301020 w 1468659"/>
                <a:gd name="connsiteY1282" fmla="*/ 735997 h 1218057"/>
                <a:gd name="connsiteX1283" fmla="*/ 1316831 w 1468659"/>
                <a:gd name="connsiteY1283" fmla="*/ 746855 h 1218057"/>
                <a:gd name="connsiteX1284" fmla="*/ 1321118 w 1468659"/>
                <a:gd name="connsiteY1284" fmla="*/ 755904 h 1218057"/>
                <a:gd name="connsiteX1285" fmla="*/ 1327690 w 1468659"/>
                <a:gd name="connsiteY1285" fmla="*/ 756666 h 1218057"/>
                <a:gd name="connsiteX1286" fmla="*/ 1335214 w 1468659"/>
                <a:gd name="connsiteY1286" fmla="*/ 765334 h 1218057"/>
                <a:gd name="connsiteX1287" fmla="*/ 1343882 w 1468659"/>
                <a:gd name="connsiteY1287" fmla="*/ 770668 h 1218057"/>
                <a:gd name="connsiteX1288" fmla="*/ 1350645 w 1468659"/>
                <a:gd name="connsiteY1288" fmla="*/ 772954 h 1218057"/>
                <a:gd name="connsiteX1289" fmla="*/ 1356931 w 1468659"/>
                <a:gd name="connsiteY1289" fmla="*/ 772192 h 1218057"/>
                <a:gd name="connsiteX1290" fmla="*/ 1361885 w 1468659"/>
                <a:gd name="connsiteY1290" fmla="*/ 773144 h 1218057"/>
                <a:gd name="connsiteX1291" fmla="*/ 1365599 w 1468659"/>
                <a:gd name="connsiteY1291" fmla="*/ 777526 h 1218057"/>
                <a:gd name="connsiteX1292" fmla="*/ 1374267 w 1468659"/>
                <a:gd name="connsiteY1292" fmla="*/ 770001 h 1218057"/>
                <a:gd name="connsiteX1293" fmla="*/ 1378268 w 1468659"/>
                <a:gd name="connsiteY1293" fmla="*/ 775906 h 1218057"/>
                <a:gd name="connsiteX1294" fmla="*/ 1381792 w 1468659"/>
                <a:gd name="connsiteY1294" fmla="*/ 778669 h 1218057"/>
                <a:gd name="connsiteX1295" fmla="*/ 1385126 w 1468659"/>
                <a:gd name="connsiteY1295" fmla="*/ 779812 h 1218057"/>
                <a:gd name="connsiteX1296" fmla="*/ 1398937 w 1468659"/>
                <a:gd name="connsiteY1296" fmla="*/ 787718 h 1218057"/>
                <a:gd name="connsiteX1297" fmla="*/ 1401032 w 1468659"/>
                <a:gd name="connsiteY1297" fmla="*/ 803434 h 1218057"/>
                <a:gd name="connsiteX1298" fmla="*/ 1406938 w 1468659"/>
                <a:gd name="connsiteY1298" fmla="*/ 812292 h 1218057"/>
                <a:gd name="connsiteX1299" fmla="*/ 1425512 w 1468659"/>
                <a:gd name="connsiteY1299" fmla="*/ 819531 h 1218057"/>
                <a:gd name="connsiteX1300" fmla="*/ 1432179 w 1468659"/>
                <a:gd name="connsiteY1300" fmla="*/ 809149 h 1218057"/>
                <a:gd name="connsiteX1301" fmla="*/ 1433798 w 1468659"/>
                <a:gd name="connsiteY1301" fmla="*/ 808863 h 1218057"/>
                <a:gd name="connsiteX1302" fmla="*/ 1432941 w 1468659"/>
                <a:gd name="connsiteY1302" fmla="*/ 802577 h 1218057"/>
                <a:gd name="connsiteX1303" fmla="*/ 1434370 w 1468659"/>
                <a:gd name="connsiteY1303" fmla="*/ 800767 h 1218057"/>
                <a:gd name="connsiteX1304" fmla="*/ 1439513 w 1468659"/>
                <a:gd name="connsiteY1304" fmla="*/ 803338 h 1218057"/>
                <a:gd name="connsiteX1305" fmla="*/ 1442180 w 1468659"/>
                <a:gd name="connsiteY1305" fmla="*/ 799814 h 1218057"/>
                <a:gd name="connsiteX1306" fmla="*/ 1446752 w 1468659"/>
                <a:gd name="connsiteY1306" fmla="*/ 797623 h 1218057"/>
                <a:gd name="connsiteX1307" fmla="*/ 1440275 w 1468659"/>
                <a:gd name="connsiteY1307" fmla="*/ 796862 h 1218057"/>
                <a:gd name="connsiteX1308" fmla="*/ 1438466 w 1468659"/>
                <a:gd name="connsiteY1308" fmla="*/ 795433 h 1218057"/>
                <a:gd name="connsiteX1309" fmla="*/ 1440085 w 1468659"/>
                <a:gd name="connsiteY1309" fmla="*/ 795242 h 1218057"/>
                <a:gd name="connsiteX1310" fmla="*/ 1442752 w 1468659"/>
                <a:gd name="connsiteY1310" fmla="*/ 791718 h 1218057"/>
                <a:gd name="connsiteX1311" fmla="*/ 1446181 w 1468659"/>
                <a:gd name="connsiteY1311" fmla="*/ 792861 h 1218057"/>
                <a:gd name="connsiteX1312" fmla="*/ 1447133 w 1468659"/>
                <a:gd name="connsiteY1312" fmla="*/ 788003 h 1218057"/>
                <a:gd name="connsiteX1313" fmla="*/ 1445323 w 1468659"/>
                <a:gd name="connsiteY1313" fmla="*/ 786575 h 1218057"/>
                <a:gd name="connsiteX1314" fmla="*/ 1441990 w 1468659"/>
                <a:gd name="connsiteY1314" fmla="*/ 785431 h 1218057"/>
                <a:gd name="connsiteX1315" fmla="*/ 1441799 w 1468659"/>
                <a:gd name="connsiteY1315" fmla="*/ 783812 h 1218057"/>
                <a:gd name="connsiteX1316" fmla="*/ 1440371 w 1468659"/>
                <a:gd name="connsiteY1316" fmla="*/ 785622 h 1218057"/>
                <a:gd name="connsiteX1317" fmla="*/ 1438466 w 1468659"/>
                <a:gd name="connsiteY1317" fmla="*/ 782669 h 1218057"/>
                <a:gd name="connsiteX1318" fmla="*/ 1439227 w 1468659"/>
                <a:gd name="connsiteY1318" fmla="*/ 776097 h 1218057"/>
                <a:gd name="connsiteX1319" fmla="*/ 1444181 w 1468659"/>
                <a:gd name="connsiteY1319" fmla="*/ 777145 h 1218057"/>
                <a:gd name="connsiteX1320" fmla="*/ 1444752 w 1468659"/>
                <a:gd name="connsiteY1320" fmla="*/ 781812 h 1218057"/>
                <a:gd name="connsiteX1321" fmla="*/ 1449705 w 1468659"/>
                <a:gd name="connsiteY1321" fmla="*/ 782860 h 1218057"/>
                <a:gd name="connsiteX1322" fmla="*/ 1452848 w 1468659"/>
                <a:gd name="connsiteY1322" fmla="*/ 782384 h 1218057"/>
                <a:gd name="connsiteX1323" fmla="*/ 1454182 w 1468659"/>
                <a:gd name="connsiteY1323" fmla="*/ 780669 h 1218057"/>
                <a:gd name="connsiteX1324" fmla="*/ 1455611 w 1468659"/>
                <a:gd name="connsiteY1324" fmla="*/ 778859 h 1218057"/>
                <a:gd name="connsiteX1325" fmla="*/ 1458182 w 1468659"/>
                <a:gd name="connsiteY1325" fmla="*/ 773716 h 1218057"/>
                <a:gd name="connsiteX1326" fmla="*/ 1449229 w 1468659"/>
                <a:gd name="connsiteY1326" fmla="*/ 766858 h 1218057"/>
                <a:gd name="connsiteX1327" fmla="*/ 1450467 w 1468659"/>
                <a:gd name="connsiteY1327" fmla="*/ 763429 h 1218057"/>
                <a:gd name="connsiteX1328" fmla="*/ 1453420 w 1468659"/>
                <a:gd name="connsiteY1328" fmla="*/ 761524 h 1218057"/>
                <a:gd name="connsiteX1329" fmla="*/ 1452943 w 1468659"/>
                <a:gd name="connsiteY1329" fmla="*/ 758380 h 1218057"/>
                <a:gd name="connsiteX1330" fmla="*/ 1454182 w 1468659"/>
                <a:gd name="connsiteY1330" fmla="*/ 754951 h 1218057"/>
                <a:gd name="connsiteX1331" fmla="*/ 1443895 w 1468659"/>
                <a:gd name="connsiteY1331" fmla="*/ 749903 h 1218057"/>
                <a:gd name="connsiteX1332" fmla="*/ 1431989 w 1468659"/>
                <a:gd name="connsiteY1332" fmla="*/ 744950 h 1218057"/>
                <a:gd name="connsiteX1333" fmla="*/ 1428845 w 1468659"/>
                <a:gd name="connsiteY1333" fmla="*/ 745331 h 1218057"/>
                <a:gd name="connsiteX1334" fmla="*/ 1417606 w 1468659"/>
                <a:gd name="connsiteY1334" fmla="*/ 745236 h 1218057"/>
                <a:gd name="connsiteX1335" fmla="*/ 1414081 w 1468659"/>
                <a:gd name="connsiteY1335" fmla="*/ 742474 h 1218057"/>
                <a:gd name="connsiteX1336" fmla="*/ 1412081 w 1468659"/>
                <a:gd name="connsiteY1336" fmla="*/ 739521 h 1218057"/>
                <a:gd name="connsiteX1337" fmla="*/ 1413034 w 1468659"/>
                <a:gd name="connsiteY1337" fmla="*/ 734568 h 1218057"/>
                <a:gd name="connsiteX1338" fmla="*/ 1413796 w 1468659"/>
                <a:gd name="connsiteY1338" fmla="*/ 728091 h 1218057"/>
                <a:gd name="connsiteX1339" fmla="*/ 1415225 w 1468659"/>
                <a:gd name="connsiteY1339" fmla="*/ 726281 h 1218057"/>
                <a:gd name="connsiteX1340" fmla="*/ 1412843 w 1468659"/>
                <a:gd name="connsiteY1340" fmla="*/ 720185 h 1218057"/>
                <a:gd name="connsiteX1341" fmla="*/ 1409510 w 1468659"/>
                <a:gd name="connsiteY1341" fmla="*/ 718947 h 1218057"/>
                <a:gd name="connsiteX1342" fmla="*/ 1402747 w 1468659"/>
                <a:gd name="connsiteY1342" fmla="*/ 716661 h 1218057"/>
                <a:gd name="connsiteX1343" fmla="*/ 1398842 w 1468659"/>
                <a:gd name="connsiteY1343" fmla="*/ 723519 h 1218057"/>
                <a:gd name="connsiteX1344" fmla="*/ 1394079 w 1468659"/>
                <a:gd name="connsiteY1344" fmla="*/ 724186 h 1218057"/>
                <a:gd name="connsiteX1345" fmla="*/ 1392936 w 1468659"/>
                <a:gd name="connsiteY1345" fmla="*/ 727519 h 1218057"/>
                <a:gd name="connsiteX1346" fmla="*/ 1391317 w 1468659"/>
                <a:gd name="connsiteY1346" fmla="*/ 727710 h 1218057"/>
                <a:gd name="connsiteX1347" fmla="*/ 1386935 w 1468659"/>
                <a:gd name="connsiteY1347" fmla="*/ 718661 h 1218057"/>
                <a:gd name="connsiteX1348" fmla="*/ 1391317 w 1468659"/>
                <a:gd name="connsiteY1348" fmla="*/ 714851 h 1218057"/>
                <a:gd name="connsiteX1349" fmla="*/ 1388935 w 1468659"/>
                <a:gd name="connsiteY1349" fmla="*/ 708755 h 1218057"/>
                <a:gd name="connsiteX1350" fmla="*/ 1395031 w 1468659"/>
                <a:gd name="connsiteY1350" fmla="*/ 706374 h 1218057"/>
                <a:gd name="connsiteX1351" fmla="*/ 1399794 w 1468659"/>
                <a:gd name="connsiteY1351" fmla="*/ 705802 h 1218057"/>
                <a:gd name="connsiteX1352" fmla="*/ 1402366 w 1468659"/>
                <a:gd name="connsiteY1352" fmla="*/ 700659 h 1218057"/>
                <a:gd name="connsiteX1353" fmla="*/ 1403318 w 1468659"/>
                <a:gd name="connsiteY1353" fmla="*/ 695706 h 1218057"/>
                <a:gd name="connsiteX1354" fmla="*/ 1404842 w 1468659"/>
                <a:gd name="connsiteY1354" fmla="*/ 695515 h 1218057"/>
                <a:gd name="connsiteX1355" fmla="*/ 1408271 w 1468659"/>
                <a:gd name="connsiteY1355" fmla="*/ 696659 h 1218057"/>
                <a:gd name="connsiteX1356" fmla="*/ 1409986 w 1468659"/>
                <a:gd name="connsiteY1356" fmla="*/ 698087 h 1218057"/>
                <a:gd name="connsiteX1357" fmla="*/ 1409033 w 1468659"/>
                <a:gd name="connsiteY1357" fmla="*/ 690181 h 1218057"/>
                <a:gd name="connsiteX1358" fmla="*/ 1413986 w 1468659"/>
                <a:gd name="connsiteY1358" fmla="*/ 691134 h 1218057"/>
                <a:gd name="connsiteX1359" fmla="*/ 1415129 w 1468659"/>
                <a:gd name="connsiteY1359" fmla="*/ 687800 h 1218057"/>
                <a:gd name="connsiteX1360" fmla="*/ 1418082 w 1468659"/>
                <a:gd name="connsiteY1360" fmla="*/ 685800 h 1218057"/>
                <a:gd name="connsiteX1361" fmla="*/ 1416272 w 1468659"/>
                <a:gd name="connsiteY1361" fmla="*/ 684467 h 1218057"/>
                <a:gd name="connsiteX1362" fmla="*/ 1418844 w 1468659"/>
                <a:gd name="connsiteY1362" fmla="*/ 679323 h 1218057"/>
                <a:gd name="connsiteX1363" fmla="*/ 1415510 w 1468659"/>
                <a:gd name="connsiteY1363" fmla="*/ 678085 h 1218057"/>
                <a:gd name="connsiteX1364" fmla="*/ 1416844 w 1468659"/>
                <a:gd name="connsiteY1364" fmla="*/ 676370 h 1218057"/>
                <a:gd name="connsiteX1365" fmla="*/ 1414939 w 1468659"/>
                <a:gd name="connsiteY1365" fmla="*/ 673418 h 1218057"/>
                <a:gd name="connsiteX1366" fmla="*/ 1416082 w 1468659"/>
                <a:gd name="connsiteY1366" fmla="*/ 669988 h 1218057"/>
                <a:gd name="connsiteX1367" fmla="*/ 1423988 w 1468659"/>
                <a:gd name="connsiteY1367" fmla="*/ 669036 h 1218057"/>
                <a:gd name="connsiteX1368" fmla="*/ 1430084 w 1468659"/>
                <a:gd name="connsiteY1368" fmla="*/ 666655 h 1218057"/>
                <a:gd name="connsiteX1369" fmla="*/ 1432179 w 1468659"/>
                <a:gd name="connsiteY1369" fmla="*/ 658368 h 1218057"/>
                <a:gd name="connsiteX1370" fmla="*/ 1427035 w 1468659"/>
                <a:gd name="connsiteY1370" fmla="*/ 655796 h 1218057"/>
                <a:gd name="connsiteX1371" fmla="*/ 1427893 w 1468659"/>
                <a:gd name="connsiteY1371" fmla="*/ 649319 h 1218057"/>
                <a:gd name="connsiteX1372" fmla="*/ 1426083 w 1468659"/>
                <a:gd name="connsiteY1372" fmla="*/ 647890 h 1218057"/>
                <a:gd name="connsiteX1373" fmla="*/ 1424273 w 1468659"/>
                <a:gd name="connsiteY1373" fmla="*/ 646557 h 1218057"/>
                <a:gd name="connsiteX1374" fmla="*/ 1431989 w 1468659"/>
                <a:gd name="connsiteY1374" fmla="*/ 643985 h 1218057"/>
                <a:gd name="connsiteX1375" fmla="*/ 1435513 w 1468659"/>
                <a:gd name="connsiteY1375" fmla="*/ 646652 h 1218057"/>
                <a:gd name="connsiteX1376" fmla="*/ 1436084 w 1468659"/>
                <a:gd name="connsiteY1376" fmla="*/ 638651 h 1218057"/>
                <a:gd name="connsiteX1377" fmla="*/ 1432179 w 1468659"/>
                <a:gd name="connsiteY1377" fmla="*/ 632651 h 1218057"/>
                <a:gd name="connsiteX1378" fmla="*/ 1433131 w 1468659"/>
                <a:gd name="connsiteY1378" fmla="*/ 627793 h 1218057"/>
                <a:gd name="connsiteX1379" fmla="*/ 1443418 w 1468659"/>
                <a:gd name="connsiteY1379" fmla="*/ 632841 h 1218057"/>
                <a:gd name="connsiteX1380" fmla="*/ 1451324 w 1468659"/>
                <a:gd name="connsiteY1380" fmla="*/ 631888 h 1218057"/>
                <a:gd name="connsiteX1381" fmla="*/ 1453039 w 1468659"/>
                <a:gd name="connsiteY1381" fmla="*/ 633222 h 1218057"/>
                <a:gd name="connsiteX1382" fmla="*/ 1454468 w 1468659"/>
                <a:gd name="connsiteY1382" fmla="*/ 631507 h 1218057"/>
                <a:gd name="connsiteX1383" fmla="*/ 1456277 w 1468659"/>
                <a:gd name="connsiteY1383" fmla="*/ 632841 h 1218057"/>
                <a:gd name="connsiteX1384" fmla="*/ 1462564 w 1468659"/>
                <a:gd name="connsiteY1384" fmla="*/ 632079 h 1218057"/>
                <a:gd name="connsiteX1385" fmla="*/ 1465326 w 1468659"/>
                <a:gd name="connsiteY1385" fmla="*/ 628459 h 1218057"/>
                <a:gd name="connsiteX1386" fmla="*/ 1464659 w 1468659"/>
                <a:gd name="connsiteY1386" fmla="*/ 623697 h 1218057"/>
                <a:gd name="connsiteX1387" fmla="*/ 1460754 w 1468659"/>
                <a:gd name="connsiteY1387" fmla="*/ 617792 h 1218057"/>
                <a:gd name="connsiteX1388" fmla="*/ 1468660 w 1468659"/>
                <a:gd name="connsiteY1388" fmla="*/ 616839 h 1218057"/>
                <a:gd name="connsiteX1389" fmla="*/ 1468660 w 1468659"/>
                <a:gd name="connsiteY1389" fmla="*/ 616839 h 1218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</a:cxnLst>
              <a:rect l="l" t="t" r="r" b="b"/>
              <a:pathLst>
                <a:path w="1468659" h="1218057">
                  <a:moveTo>
                    <a:pt x="1468660" y="616839"/>
                  </a:moveTo>
                  <a:lnTo>
                    <a:pt x="1453801" y="601027"/>
                  </a:lnTo>
                  <a:lnTo>
                    <a:pt x="1456563" y="597503"/>
                  </a:lnTo>
                  <a:lnTo>
                    <a:pt x="1461230" y="596932"/>
                  </a:lnTo>
                  <a:lnTo>
                    <a:pt x="1459325" y="593979"/>
                  </a:lnTo>
                  <a:lnTo>
                    <a:pt x="1451039" y="591788"/>
                  </a:lnTo>
                  <a:lnTo>
                    <a:pt x="1448086" y="593788"/>
                  </a:lnTo>
                  <a:lnTo>
                    <a:pt x="1449800" y="595122"/>
                  </a:lnTo>
                  <a:lnTo>
                    <a:pt x="1448467" y="596932"/>
                  </a:lnTo>
                  <a:lnTo>
                    <a:pt x="1439132" y="586930"/>
                  </a:lnTo>
                  <a:lnTo>
                    <a:pt x="1435608" y="584168"/>
                  </a:lnTo>
                  <a:lnTo>
                    <a:pt x="1436942" y="582359"/>
                  </a:lnTo>
                  <a:lnTo>
                    <a:pt x="1444847" y="581406"/>
                  </a:lnTo>
                  <a:lnTo>
                    <a:pt x="1446657" y="582739"/>
                  </a:lnTo>
                  <a:lnTo>
                    <a:pt x="1444276" y="576643"/>
                  </a:lnTo>
                  <a:lnTo>
                    <a:pt x="1443038" y="567118"/>
                  </a:lnTo>
                  <a:lnTo>
                    <a:pt x="1436370" y="564832"/>
                  </a:lnTo>
                  <a:lnTo>
                    <a:pt x="1433989" y="571500"/>
                  </a:lnTo>
                  <a:lnTo>
                    <a:pt x="1434751" y="565023"/>
                  </a:lnTo>
                  <a:lnTo>
                    <a:pt x="1427607" y="559498"/>
                  </a:lnTo>
                  <a:lnTo>
                    <a:pt x="1424654" y="561499"/>
                  </a:lnTo>
                  <a:lnTo>
                    <a:pt x="1421321" y="560356"/>
                  </a:lnTo>
                  <a:lnTo>
                    <a:pt x="1420368" y="565213"/>
                  </a:lnTo>
                  <a:lnTo>
                    <a:pt x="1424083" y="569595"/>
                  </a:lnTo>
                  <a:lnTo>
                    <a:pt x="1421321" y="573119"/>
                  </a:lnTo>
                  <a:lnTo>
                    <a:pt x="1416463" y="572167"/>
                  </a:lnTo>
                  <a:lnTo>
                    <a:pt x="1416177" y="570547"/>
                  </a:lnTo>
                  <a:lnTo>
                    <a:pt x="1412462" y="566261"/>
                  </a:lnTo>
                  <a:lnTo>
                    <a:pt x="1404366" y="565690"/>
                  </a:lnTo>
                  <a:lnTo>
                    <a:pt x="1403033" y="567500"/>
                  </a:lnTo>
                  <a:lnTo>
                    <a:pt x="1396270" y="577882"/>
                  </a:lnTo>
                  <a:lnTo>
                    <a:pt x="1391412" y="576929"/>
                  </a:lnTo>
                  <a:lnTo>
                    <a:pt x="1384840" y="576167"/>
                  </a:lnTo>
                  <a:lnTo>
                    <a:pt x="1373410" y="574453"/>
                  </a:lnTo>
                  <a:lnTo>
                    <a:pt x="1373791" y="577596"/>
                  </a:lnTo>
                  <a:lnTo>
                    <a:pt x="1370457" y="576453"/>
                  </a:lnTo>
                  <a:lnTo>
                    <a:pt x="1369123" y="578168"/>
                  </a:lnTo>
                  <a:lnTo>
                    <a:pt x="1367123" y="575215"/>
                  </a:lnTo>
                  <a:lnTo>
                    <a:pt x="1365504" y="575405"/>
                  </a:lnTo>
                  <a:lnTo>
                    <a:pt x="1357789" y="565213"/>
                  </a:lnTo>
                  <a:lnTo>
                    <a:pt x="1354264" y="562451"/>
                  </a:lnTo>
                  <a:lnTo>
                    <a:pt x="1351121" y="562832"/>
                  </a:lnTo>
                  <a:lnTo>
                    <a:pt x="1348168" y="564832"/>
                  </a:lnTo>
                  <a:lnTo>
                    <a:pt x="1346740" y="566642"/>
                  </a:lnTo>
                  <a:lnTo>
                    <a:pt x="1345216" y="566833"/>
                  </a:lnTo>
                  <a:lnTo>
                    <a:pt x="1343025" y="575119"/>
                  </a:lnTo>
                  <a:lnTo>
                    <a:pt x="1340453" y="580263"/>
                  </a:lnTo>
                  <a:lnTo>
                    <a:pt x="1338739" y="578834"/>
                  </a:lnTo>
                  <a:lnTo>
                    <a:pt x="1339501" y="572357"/>
                  </a:lnTo>
                  <a:lnTo>
                    <a:pt x="1330928" y="568643"/>
                  </a:lnTo>
                  <a:lnTo>
                    <a:pt x="1327214" y="564261"/>
                  </a:lnTo>
                  <a:lnTo>
                    <a:pt x="1320260" y="560356"/>
                  </a:lnTo>
                  <a:lnTo>
                    <a:pt x="1318736" y="560546"/>
                  </a:lnTo>
                  <a:lnTo>
                    <a:pt x="1315593" y="560927"/>
                  </a:lnTo>
                  <a:lnTo>
                    <a:pt x="1308640" y="557022"/>
                  </a:lnTo>
                  <a:lnTo>
                    <a:pt x="1309592" y="552069"/>
                  </a:lnTo>
                  <a:lnTo>
                    <a:pt x="1307211" y="545973"/>
                  </a:lnTo>
                  <a:lnTo>
                    <a:pt x="1303496" y="541687"/>
                  </a:lnTo>
                  <a:lnTo>
                    <a:pt x="1302353" y="545021"/>
                  </a:lnTo>
                  <a:lnTo>
                    <a:pt x="1295400" y="541115"/>
                  </a:lnTo>
                  <a:lnTo>
                    <a:pt x="1296352" y="536162"/>
                  </a:lnTo>
                  <a:lnTo>
                    <a:pt x="1294829" y="536353"/>
                  </a:lnTo>
                  <a:lnTo>
                    <a:pt x="1291400" y="535114"/>
                  </a:lnTo>
                  <a:lnTo>
                    <a:pt x="1293590" y="539686"/>
                  </a:lnTo>
                  <a:lnTo>
                    <a:pt x="1290447" y="540068"/>
                  </a:lnTo>
                  <a:lnTo>
                    <a:pt x="1288447" y="537115"/>
                  </a:lnTo>
                  <a:lnTo>
                    <a:pt x="1285875" y="529495"/>
                  </a:lnTo>
                  <a:lnTo>
                    <a:pt x="1285304" y="524732"/>
                  </a:lnTo>
                  <a:lnTo>
                    <a:pt x="1281970" y="523494"/>
                  </a:lnTo>
                  <a:lnTo>
                    <a:pt x="1278731" y="523970"/>
                  </a:lnTo>
                  <a:lnTo>
                    <a:pt x="1282732" y="517017"/>
                  </a:lnTo>
                  <a:lnTo>
                    <a:pt x="1282732" y="517017"/>
                  </a:lnTo>
                  <a:lnTo>
                    <a:pt x="1281875" y="510730"/>
                  </a:lnTo>
                  <a:lnTo>
                    <a:pt x="1285875" y="503777"/>
                  </a:lnTo>
                  <a:lnTo>
                    <a:pt x="1285399" y="500634"/>
                  </a:lnTo>
                  <a:lnTo>
                    <a:pt x="1289399" y="493681"/>
                  </a:lnTo>
                  <a:lnTo>
                    <a:pt x="1285970" y="492538"/>
                  </a:lnTo>
                  <a:lnTo>
                    <a:pt x="1287399" y="490728"/>
                  </a:lnTo>
                  <a:lnTo>
                    <a:pt x="1285208" y="486251"/>
                  </a:lnTo>
                  <a:lnTo>
                    <a:pt x="1283970" y="476726"/>
                  </a:lnTo>
                  <a:lnTo>
                    <a:pt x="1284542" y="468725"/>
                  </a:lnTo>
                  <a:lnTo>
                    <a:pt x="1281017" y="465963"/>
                  </a:lnTo>
                  <a:lnTo>
                    <a:pt x="1274255" y="463582"/>
                  </a:lnTo>
                  <a:lnTo>
                    <a:pt x="1271302" y="465582"/>
                  </a:lnTo>
                  <a:lnTo>
                    <a:pt x="1268159" y="465963"/>
                  </a:lnTo>
                  <a:lnTo>
                    <a:pt x="1266158" y="463010"/>
                  </a:lnTo>
                  <a:lnTo>
                    <a:pt x="1261491" y="463582"/>
                  </a:lnTo>
                  <a:lnTo>
                    <a:pt x="1262063" y="468344"/>
                  </a:lnTo>
                  <a:lnTo>
                    <a:pt x="1255967" y="470725"/>
                  </a:lnTo>
                  <a:lnTo>
                    <a:pt x="1247299" y="465392"/>
                  </a:lnTo>
                  <a:lnTo>
                    <a:pt x="1240917" y="466249"/>
                  </a:lnTo>
                  <a:lnTo>
                    <a:pt x="1236821" y="471583"/>
                  </a:lnTo>
                  <a:lnTo>
                    <a:pt x="1232249" y="473773"/>
                  </a:lnTo>
                  <a:lnTo>
                    <a:pt x="1230344" y="470821"/>
                  </a:lnTo>
                  <a:lnTo>
                    <a:pt x="1226915" y="469582"/>
                  </a:lnTo>
                  <a:lnTo>
                    <a:pt x="1222629" y="473392"/>
                  </a:lnTo>
                  <a:lnTo>
                    <a:pt x="1223010" y="476536"/>
                  </a:lnTo>
                  <a:lnTo>
                    <a:pt x="1218533" y="478726"/>
                  </a:lnTo>
                  <a:lnTo>
                    <a:pt x="1220819" y="471964"/>
                  </a:lnTo>
                  <a:lnTo>
                    <a:pt x="1219105" y="470630"/>
                  </a:lnTo>
                  <a:lnTo>
                    <a:pt x="1221772" y="467011"/>
                  </a:lnTo>
                  <a:lnTo>
                    <a:pt x="1211104" y="458819"/>
                  </a:lnTo>
                  <a:lnTo>
                    <a:pt x="1209770" y="460534"/>
                  </a:lnTo>
                  <a:lnTo>
                    <a:pt x="1204627" y="458057"/>
                  </a:lnTo>
                  <a:lnTo>
                    <a:pt x="1201484" y="458438"/>
                  </a:lnTo>
                  <a:lnTo>
                    <a:pt x="1192816" y="453104"/>
                  </a:lnTo>
                  <a:lnTo>
                    <a:pt x="1186434" y="453866"/>
                  </a:lnTo>
                  <a:lnTo>
                    <a:pt x="1185291" y="457295"/>
                  </a:lnTo>
                  <a:lnTo>
                    <a:pt x="1178909" y="445294"/>
                  </a:lnTo>
                  <a:lnTo>
                    <a:pt x="1174052" y="444246"/>
                  </a:lnTo>
                  <a:lnTo>
                    <a:pt x="1174623" y="449009"/>
                  </a:lnTo>
                  <a:lnTo>
                    <a:pt x="1165003" y="461486"/>
                  </a:lnTo>
                  <a:lnTo>
                    <a:pt x="1155859" y="465868"/>
                  </a:lnTo>
                  <a:lnTo>
                    <a:pt x="1152525" y="464630"/>
                  </a:lnTo>
                  <a:lnTo>
                    <a:pt x="1145858" y="462248"/>
                  </a:lnTo>
                  <a:lnTo>
                    <a:pt x="1137571" y="460153"/>
                  </a:lnTo>
                  <a:lnTo>
                    <a:pt x="1138714" y="456819"/>
                  </a:lnTo>
                  <a:lnTo>
                    <a:pt x="1135952" y="447484"/>
                  </a:lnTo>
                  <a:lnTo>
                    <a:pt x="1137285" y="445770"/>
                  </a:lnTo>
                  <a:lnTo>
                    <a:pt x="1137095" y="444151"/>
                  </a:lnTo>
                  <a:lnTo>
                    <a:pt x="1135285" y="442817"/>
                  </a:lnTo>
                  <a:lnTo>
                    <a:pt x="1132713" y="435102"/>
                  </a:lnTo>
                  <a:lnTo>
                    <a:pt x="1129570" y="435483"/>
                  </a:lnTo>
                  <a:lnTo>
                    <a:pt x="1127379" y="431006"/>
                  </a:lnTo>
                  <a:lnTo>
                    <a:pt x="1124045" y="429768"/>
                  </a:lnTo>
                  <a:lnTo>
                    <a:pt x="1114616" y="431006"/>
                  </a:lnTo>
                  <a:lnTo>
                    <a:pt x="1109091" y="438150"/>
                  </a:lnTo>
                  <a:lnTo>
                    <a:pt x="1103567" y="432435"/>
                  </a:lnTo>
                  <a:lnTo>
                    <a:pt x="1096994" y="431673"/>
                  </a:lnTo>
                  <a:lnTo>
                    <a:pt x="1093089" y="425767"/>
                  </a:lnTo>
                  <a:lnTo>
                    <a:pt x="1094613" y="425482"/>
                  </a:lnTo>
                  <a:lnTo>
                    <a:pt x="1098042" y="426720"/>
                  </a:lnTo>
                  <a:lnTo>
                    <a:pt x="1110996" y="428244"/>
                  </a:lnTo>
                  <a:lnTo>
                    <a:pt x="1112044" y="423291"/>
                  </a:lnTo>
                  <a:lnTo>
                    <a:pt x="1108043" y="417385"/>
                  </a:lnTo>
                  <a:lnTo>
                    <a:pt x="1112330" y="413671"/>
                  </a:lnTo>
                  <a:lnTo>
                    <a:pt x="1112901" y="405575"/>
                  </a:lnTo>
                  <a:lnTo>
                    <a:pt x="1098137" y="402622"/>
                  </a:lnTo>
                  <a:lnTo>
                    <a:pt x="1089851" y="400431"/>
                  </a:lnTo>
                  <a:lnTo>
                    <a:pt x="1088041" y="399097"/>
                  </a:lnTo>
                  <a:lnTo>
                    <a:pt x="1086898" y="402431"/>
                  </a:lnTo>
                  <a:lnTo>
                    <a:pt x="1081945" y="401479"/>
                  </a:lnTo>
                  <a:lnTo>
                    <a:pt x="1083373" y="399669"/>
                  </a:lnTo>
                  <a:lnTo>
                    <a:pt x="1074610" y="394430"/>
                  </a:lnTo>
                  <a:lnTo>
                    <a:pt x="1072420" y="389858"/>
                  </a:lnTo>
                  <a:lnTo>
                    <a:pt x="1068134" y="380809"/>
                  </a:lnTo>
                  <a:lnTo>
                    <a:pt x="1063181" y="379857"/>
                  </a:lnTo>
                  <a:lnTo>
                    <a:pt x="1064133" y="374904"/>
                  </a:lnTo>
                  <a:lnTo>
                    <a:pt x="1062800" y="376618"/>
                  </a:lnTo>
                  <a:lnTo>
                    <a:pt x="1060799" y="373666"/>
                  </a:lnTo>
                  <a:lnTo>
                    <a:pt x="1054894" y="377666"/>
                  </a:lnTo>
                  <a:lnTo>
                    <a:pt x="1053465" y="379476"/>
                  </a:lnTo>
                  <a:lnTo>
                    <a:pt x="1050322" y="379857"/>
                  </a:lnTo>
                  <a:lnTo>
                    <a:pt x="1046035" y="383572"/>
                  </a:lnTo>
                  <a:lnTo>
                    <a:pt x="1041463" y="385763"/>
                  </a:lnTo>
                  <a:lnTo>
                    <a:pt x="1033367" y="398050"/>
                  </a:lnTo>
                  <a:lnTo>
                    <a:pt x="1025080" y="395859"/>
                  </a:lnTo>
                  <a:lnTo>
                    <a:pt x="1024890" y="394335"/>
                  </a:lnTo>
                  <a:lnTo>
                    <a:pt x="1023366" y="394525"/>
                  </a:lnTo>
                  <a:lnTo>
                    <a:pt x="1022699" y="389763"/>
                  </a:lnTo>
                  <a:lnTo>
                    <a:pt x="1018794" y="383857"/>
                  </a:lnTo>
                  <a:lnTo>
                    <a:pt x="1011460" y="376809"/>
                  </a:lnTo>
                  <a:lnTo>
                    <a:pt x="1008507" y="378809"/>
                  </a:lnTo>
                  <a:lnTo>
                    <a:pt x="1006697" y="377380"/>
                  </a:lnTo>
                  <a:lnTo>
                    <a:pt x="1002792" y="371475"/>
                  </a:lnTo>
                  <a:lnTo>
                    <a:pt x="1003745" y="366522"/>
                  </a:lnTo>
                  <a:lnTo>
                    <a:pt x="1000411" y="365379"/>
                  </a:lnTo>
                  <a:lnTo>
                    <a:pt x="999934" y="362236"/>
                  </a:lnTo>
                  <a:lnTo>
                    <a:pt x="991648" y="360045"/>
                  </a:lnTo>
                  <a:lnTo>
                    <a:pt x="984980" y="357664"/>
                  </a:lnTo>
                  <a:lnTo>
                    <a:pt x="988695" y="349186"/>
                  </a:lnTo>
                  <a:lnTo>
                    <a:pt x="988314" y="346043"/>
                  </a:lnTo>
                  <a:lnTo>
                    <a:pt x="981551" y="343662"/>
                  </a:lnTo>
                  <a:lnTo>
                    <a:pt x="974217" y="336613"/>
                  </a:lnTo>
                  <a:lnTo>
                    <a:pt x="972122" y="332042"/>
                  </a:lnTo>
                  <a:lnTo>
                    <a:pt x="971645" y="328898"/>
                  </a:lnTo>
                  <a:lnTo>
                    <a:pt x="974598" y="326993"/>
                  </a:lnTo>
                  <a:lnTo>
                    <a:pt x="974026" y="322231"/>
                  </a:lnTo>
                  <a:lnTo>
                    <a:pt x="978789" y="321659"/>
                  </a:lnTo>
                  <a:lnTo>
                    <a:pt x="978122" y="316897"/>
                  </a:lnTo>
                  <a:lnTo>
                    <a:pt x="979932" y="318230"/>
                  </a:lnTo>
                  <a:lnTo>
                    <a:pt x="983837" y="311372"/>
                  </a:lnTo>
                  <a:lnTo>
                    <a:pt x="986790" y="309372"/>
                  </a:lnTo>
                  <a:lnTo>
                    <a:pt x="990219" y="310515"/>
                  </a:lnTo>
                  <a:lnTo>
                    <a:pt x="991172" y="305562"/>
                  </a:lnTo>
                  <a:lnTo>
                    <a:pt x="986600" y="307753"/>
                  </a:lnTo>
                  <a:lnTo>
                    <a:pt x="985171" y="296704"/>
                  </a:lnTo>
                  <a:lnTo>
                    <a:pt x="981266" y="290798"/>
                  </a:lnTo>
                  <a:lnTo>
                    <a:pt x="973169" y="290227"/>
                  </a:lnTo>
                  <a:lnTo>
                    <a:pt x="964501" y="284988"/>
                  </a:lnTo>
                  <a:lnTo>
                    <a:pt x="962882" y="285179"/>
                  </a:lnTo>
                  <a:lnTo>
                    <a:pt x="960882" y="282226"/>
                  </a:lnTo>
                  <a:lnTo>
                    <a:pt x="963644" y="278606"/>
                  </a:lnTo>
                  <a:lnTo>
                    <a:pt x="963263" y="275463"/>
                  </a:lnTo>
                  <a:lnTo>
                    <a:pt x="961263" y="272510"/>
                  </a:lnTo>
                  <a:lnTo>
                    <a:pt x="962501" y="269176"/>
                  </a:lnTo>
                  <a:lnTo>
                    <a:pt x="965454" y="267176"/>
                  </a:lnTo>
                  <a:lnTo>
                    <a:pt x="962025" y="266033"/>
                  </a:lnTo>
                  <a:lnTo>
                    <a:pt x="963073" y="261080"/>
                  </a:lnTo>
                  <a:lnTo>
                    <a:pt x="966406" y="262223"/>
                  </a:lnTo>
                  <a:lnTo>
                    <a:pt x="969359" y="260223"/>
                  </a:lnTo>
                  <a:lnTo>
                    <a:pt x="970312" y="255365"/>
                  </a:lnTo>
                  <a:lnTo>
                    <a:pt x="969931" y="252127"/>
                  </a:lnTo>
                  <a:lnTo>
                    <a:pt x="971074" y="248793"/>
                  </a:lnTo>
                  <a:lnTo>
                    <a:pt x="970121" y="240887"/>
                  </a:lnTo>
                  <a:lnTo>
                    <a:pt x="973074" y="238982"/>
                  </a:lnTo>
                  <a:lnTo>
                    <a:pt x="972407" y="234220"/>
                  </a:lnTo>
                  <a:lnTo>
                    <a:pt x="975360" y="232219"/>
                  </a:lnTo>
                  <a:lnTo>
                    <a:pt x="977741" y="225552"/>
                  </a:lnTo>
                  <a:lnTo>
                    <a:pt x="974598" y="225933"/>
                  </a:lnTo>
                  <a:lnTo>
                    <a:pt x="973169" y="227743"/>
                  </a:lnTo>
                  <a:lnTo>
                    <a:pt x="968693" y="229838"/>
                  </a:lnTo>
                  <a:lnTo>
                    <a:pt x="968312" y="226695"/>
                  </a:lnTo>
                  <a:lnTo>
                    <a:pt x="969455" y="223361"/>
                  </a:lnTo>
                  <a:lnTo>
                    <a:pt x="972598" y="222980"/>
                  </a:lnTo>
                  <a:lnTo>
                    <a:pt x="976503" y="216027"/>
                  </a:lnTo>
                  <a:lnTo>
                    <a:pt x="976693" y="204788"/>
                  </a:lnTo>
                  <a:lnTo>
                    <a:pt x="979265" y="199644"/>
                  </a:lnTo>
                  <a:lnTo>
                    <a:pt x="984028" y="199072"/>
                  </a:lnTo>
                  <a:lnTo>
                    <a:pt x="986123" y="177927"/>
                  </a:lnTo>
                  <a:lnTo>
                    <a:pt x="985742" y="174784"/>
                  </a:lnTo>
                  <a:lnTo>
                    <a:pt x="982313" y="173641"/>
                  </a:lnTo>
                  <a:lnTo>
                    <a:pt x="980218" y="169069"/>
                  </a:lnTo>
                  <a:lnTo>
                    <a:pt x="981742" y="168878"/>
                  </a:lnTo>
                  <a:lnTo>
                    <a:pt x="984695" y="166878"/>
                  </a:lnTo>
                  <a:lnTo>
                    <a:pt x="987076" y="160210"/>
                  </a:lnTo>
                  <a:lnTo>
                    <a:pt x="990029" y="158210"/>
                  </a:lnTo>
                  <a:lnTo>
                    <a:pt x="987838" y="153638"/>
                  </a:lnTo>
                  <a:lnTo>
                    <a:pt x="988409" y="145542"/>
                  </a:lnTo>
                  <a:lnTo>
                    <a:pt x="986600" y="144209"/>
                  </a:lnTo>
                  <a:lnTo>
                    <a:pt x="986218" y="141065"/>
                  </a:lnTo>
                  <a:lnTo>
                    <a:pt x="987838" y="140875"/>
                  </a:lnTo>
                  <a:lnTo>
                    <a:pt x="980504" y="133731"/>
                  </a:lnTo>
                  <a:lnTo>
                    <a:pt x="980122" y="130588"/>
                  </a:lnTo>
                  <a:lnTo>
                    <a:pt x="978122" y="127635"/>
                  </a:lnTo>
                  <a:lnTo>
                    <a:pt x="976313" y="126301"/>
                  </a:lnTo>
                  <a:lnTo>
                    <a:pt x="969645" y="123920"/>
                  </a:lnTo>
                  <a:lnTo>
                    <a:pt x="970597" y="118967"/>
                  </a:lnTo>
                  <a:lnTo>
                    <a:pt x="972979" y="112300"/>
                  </a:lnTo>
                  <a:lnTo>
                    <a:pt x="978027" y="114776"/>
                  </a:lnTo>
                  <a:lnTo>
                    <a:pt x="977646" y="111633"/>
                  </a:lnTo>
                  <a:lnTo>
                    <a:pt x="981266" y="114395"/>
                  </a:lnTo>
                  <a:lnTo>
                    <a:pt x="984409" y="114014"/>
                  </a:lnTo>
                  <a:lnTo>
                    <a:pt x="992696" y="116205"/>
                  </a:lnTo>
                  <a:lnTo>
                    <a:pt x="996982" y="112395"/>
                  </a:lnTo>
                  <a:lnTo>
                    <a:pt x="998220" y="109061"/>
                  </a:lnTo>
                  <a:lnTo>
                    <a:pt x="994601" y="106299"/>
                  </a:lnTo>
                  <a:lnTo>
                    <a:pt x="991838" y="97060"/>
                  </a:lnTo>
                  <a:lnTo>
                    <a:pt x="987838" y="91154"/>
                  </a:lnTo>
                  <a:lnTo>
                    <a:pt x="986123" y="89725"/>
                  </a:lnTo>
                  <a:lnTo>
                    <a:pt x="990029" y="82867"/>
                  </a:lnTo>
                  <a:lnTo>
                    <a:pt x="985266" y="83439"/>
                  </a:lnTo>
                  <a:lnTo>
                    <a:pt x="984313" y="88392"/>
                  </a:lnTo>
                  <a:lnTo>
                    <a:pt x="982789" y="88582"/>
                  </a:lnTo>
                  <a:lnTo>
                    <a:pt x="977646" y="86011"/>
                  </a:lnTo>
                  <a:lnTo>
                    <a:pt x="975074" y="91154"/>
                  </a:lnTo>
                  <a:lnTo>
                    <a:pt x="970121" y="90202"/>
                  </a:lnTo>
                  <a:lnTo>
                    <a:pt x="967740" y="84106"/>
                  </a:lnTo>
                  <a:lnTo>
                    <a:pt x="960596" y="78581"/>
                  </a:lnTo>
                  <a:lnTo>
                    <a:pt x="964978" y="74771"/>
                  </a:lnTo>
                  <a:lnTo>
                    <a:pt x="959834" y="72200"/>
                  </a:lnTo>
                  <a:lnTo>
                    <a:pt x="957834" y="69247"/>
                  </a:lnTo>
                  <a:lnTo>
                    <a:pt x="959263" y="67532"/>
                  </a:lnTo>
                  <a:lnTo>
                    <a:pt x="957453" y="66104"/>
                  </a:lnTo>
                  <a:lnTo>
                    <a:pt x="955643" y="64770"/>
                  </a:lnTo>
                  <a:lnTo>
                    <a:pt x="954214" y="53721"/>
                  </a:lnTo>
                  <a:lnTo>
                    <a:pt x="949928" y="57436"/>
                  </a:lnTo>
                  <a:lnTo>
                    <a:pt x="951071" y="54102"/>
                  </a:lnTo>
                  <a:lnTo>
                    <a:pt x="950690" y="50959"/>
                  </a:lnTo>
                  <a:lnTo>
                    <a:pt x="949071" y="51149"/>
                  </a:lnTo>
                  <a:lnTo>
                    <a:pt x="950500" y="49339"/>
                  </a:lnTo>
                  <a:lnTo>
                    <a:pt x="949928" y="44672"/>
                  </a:lnTo>
                  <a:lnTo>
                    <a:pt x="944975" y="43625"/>
                  </a:lnTo>
                  <a:lnTo>
                    <a:pt x="948118" y="43243"/>
                  </a:lnTo>
                  <a:lnTo>
                    <a:pt x="951262" y="42863"/>
                  </a:lnTo>
                  <a:lnTo>
                    <a:pt x="951071" y="41243"/>
                  </a:lnTo>
                  <a:lnTo>
                    <a:pt x="944309" y="38957"/>
                  </a:lnTo>
                  <a:lnTo>
                    <a:pt x="943927" y="35814"/>
                  </a:lnTo>
                  <a:lnTo>
                    <a:pt x="942975" y="40672"/>
                  </a:lnTo>
                  <a:lnTo>
                    <a:pt x="939832" y="41148"/>
                  </a:lnTo>
                  <a:lnTo>
                    <a:pt x="937831" y="38195"/>
                  </a:lnTo>
                  <a:lnTo>
                    <a:pt x="934879" y="40100"/>
                  </a:lnTo>
                  <a:lnTo>
                    <a:pt x="931355" y="50197"/>
                  </a:lnTo>
                  <a:lnTo>
                    <a:pt x="933164" y="51625"/>
                  </a:lnTo>
                  <a:lnTo>
                    <a:pt x="931735" y="53340"/>
                  </a:lnTo>
                  <a:lnTo>
                    <a:pt x="928402" y="52197"/>
                  </a:lnTo>
                  <a:lnTo>
                    <a:pt x="927830" y="47434"/>
                  </a:lnTo>
                  <a:lnTo>
                    <a:pt x="924020" y="43148"/>
                  </a:lnTo>
                  <a:lnTo>
                    <a:pt x="922496" y="43339"/>
                  </a:lnTo>
                  <a:lnTo>
                    <a:pt x="917353" y="40767"/>
                  </a:lnTo>
                  <a:lnTo>
                    <a:pt x="911543" y="33528"/>
                  </a:lnTo>
                  <a:lnTo>
                    <a:pt x="906971" y="22860"/>
                  </a:lnTo>
                  <a:lnTo>
                    <a:pt x="900684" y="23622"/>
                  </a:lnTo>
                  <a:lnTo>
                    <a:pt x="884110" y="19336"/>
                  </a:lnTo>
                  <a:lnTo>
                    <a:pt x="881729" y="13240"/>
                  </a:lnTo>
                  <a:lnTo>
                    <a:pt x="872395" y="3143"/>
                  </a:lnTo>
                  <a:lnTo>
                    <a:pt x="873823" y="1429"/>
                  </a:lnTo>
                  <a:lnTo>
                    <a:pt x="872014" y="0"/>
                  </a:lnTo>
                  <a:lnTo>
                    <a:pt x="871252" y="6572"/>
                  </a:lnTo>
                  <a:lnTo>
                    <a:pt x="870490" y="13049"/>
                  </a:lnTo>
                  <a:lnTo>
                    <a:pt x="862584" y="14097"/>
                  </a:lnTo>
                  <a:lnTo>
                    <a:pt x="862775" y="15621"/>
                  </a:lnTo>
                  <a:lnTo>
                    <a:pt x="859822" y="17621"/>
                  </a:lnTo>
                  <a:lnTo>
                    <a:pt x="860012" y="19240"/>
                  </a:lnTo>
                  <a:lnTo>
                    <a:pt x="858298" y="17812"/>
                  </a:lnTo>
                  <a:lnTo>
                    <a:pt x="855535" y="21336"/>
                  </a:lnTo>
                  <a:lnTo>
                    <a:pt x="855726" y="22955"/>
                  </a:lnTo>
                  <a:lnTo>
                    <a:pt x="858869" y="22574"/>
                  </a:lnTo>
                  <a:lnTo>
                    <a:pt x="858298" y="30671"/>
                  </a:lnTo>
                  <a:lnTo>
                    <a:pt x="846677" y="27337"/>
                  </a:lnTo>
                  <a:lnTo>
                    <a:pt x="847058" y="30480"/>
                  </a:lnTo>
                  <a:lnTo>
                    <a:pt x="848868" y="31813"/>
                  </a:lnTo>
                  <a:lnTo>
                    <a:pt x="844105" y="32480"/>
                  </a:lnTo>
                  <a:lnTo>
                    <a:pt x="845630" y="32290"/>
                  </a:lnTo>
                  <a:lnTo>
                    <a:pt x="847630" y="35242"/>
                  </a:lnTo>
                  <a:lnTo>
                    <a:pt x="846296" y="36957"/>
                  </a:lnTo>
                  <a:lnTo>
                    <a:pt x="849630" y="38195"/>
                  </a:lnTo>
                  <a:lnTo>
                    <a:pt x="847058" y="43339"/>
                  </a:lnTo>
                  <a:lnTo>
                    <a:pt x="848868" y="44672"/>
                  </a:lnTo>
                  <a:lnTo>
                    <a:pt x="845725" y="45053"/>
                  </a:lnTo>
                  <a:lnTo>
                    <a:pt x="844487" y="48482"/>
                  </a:lnTo>
                  <a:lnTo>
                    <a:pt x="842963" y="48673"/>
                  </a:lnTo>
                  <a:lnTo>
                    <a:pt x="842201" y="55150"/>
                  </a:lnTo>
                  <a:lnTo>
                    <a:pt x="840581" y="55340"/>
                  </a:lnTo>
                  <a:lnTo>
                    <a:pt x="839438" y="58674"/>
                  </a:lnTo>
                  <a:lnTo>
                    <a:pt x="840962" y="58483"/>
                  </a:lnTo>
                  <a:lnTo>
                    <a:pt x="841438" y="61627"/>
                  </a:lnTo>
                  <a:lnTo>
                    <a:pt x="846296" y="62675"/>
                  </a:lnTo>
                  <a:lnTo>
                    <a:pt x="844010" y="69342"/>
                  </a:lnTo>
                  <a:lnTo>
                    <a:pt x="846010" y="72295"/>
                  </a:lnTo>
                  <a:lnTo>
                    <a:pt x="848963" y="70294"/>
                  </a:lnTo>
                  <a:lnTo>
                    <a:pt x="849344" y="73533"/>
                  </a:lnTo>
                  <a:lnTo>
                    <a:pt x="847725" y="73723"/>
                  </a:lnTo>
                  <a:lnTo>
                    <a:pt x="852868" y="76200"/>
                  </a:lnTo>
                  <a:lnTo>
                    <a:pt x="853250" y="79438"/>
                  </a:lnTo>
                  <a:lnTo>
                    <a:pt x="848773" y="81534"/>
                  </a:lnTo>
                  <a:lnTo>
                    <a:pt x="853440" y="80963"/>
                  </a:lnTo>
                  <a:lnTo>
                    <a:pt x="852106" y="82772"/>
                  </a:lnTo>
                  <a:lnTo>
                    <a:pt x="847534" y="84963"/>
                  </a:lnTo>
                  <a:lnTo>
                    <a:pt x="844201" y="83725"/>
                  </a:lnTo>
                  <a:lnTo>
                    <a:pt x="842867" y="85534"/>
                  </a:lnTo>
                  <a:lnTo>
                    <a:pt x="843058" y="87154"/>
                  </a:lnTo>
                  <a:lnTo>
                    <a:pt x="835343" y="89725"/>
                  </a:lnTo>
                  <a:lnTo>
                    <a:pt x="835533" y="91250"/>
                  </a:lnTo>
                  <a:lnTo>
                    <a:pt x="832390" y="91726"/>
                  </a:lnTo>
                  <a:lnTo>
                    <a:pt x="832009" y="88487"/>
                  </a:lnTo>
                  <a:lnTo>
                    <a:pt x="825722" y="89344"/>
                  </a:lnTo>
                  <a:lnTo>
                    <a:pt x="822293" y="88106"/>
                  </a:lnTo>
                  <a:lnTo>
                    <a:pt x="820960" y="89916"/>
                  </a:lnTo>
                  <a:lnTo>
                    <a:pt x="821341" y="93059"/>
                  </a:lnTo>
                  <a:lnTo>
                    <a:pt x="816578" y="93726"/>
                  </a:lnTo>
                  <a:lnTo>
                    <a:pt x="815054" y="93917"/>
                  </a:lnTo>
                  <a:lnTo>
                    <a:pt x="814102" y="98869"/>
                  </a:lnTo>
                  <a:lnTo>
                    <a:pt x="806958" y="106108"/>
                  </a:lnTo>
                  <a:lnTo>
                    <a:pt x="803624" y="104965"/>
                  </a:lnTo>
                  <a:lnTo>
                    <a:pt x="802481" y="108299"/>
                  </a:lnTo>
                  <a:lnTo>
                    <a:pt x="797528" y="107347"/>
                  </a:lnTo>
                  <a:lnTo>
                    <a:pt x="794766" y="110871"/>
                  </a:lnTo>
                  <a:lnTo>
                    <a:pt x="795147" y="114109"/>
                  </a:lnTo>
                  <a:lnTo>
                    <a:pt x="790384" y="114681"/>
                  </a:lnTo>
                  <a:lnTo>
                    <a:pt x="796195" y="121920"/>
                  </a:lnTo>
                  <a:lnTo>
                    <a:pt x="793433" y="125539"/>
                  </a:lnTo>
                  <a:lnTo>
                    <a:pt x="792671" y="132017"/>
                  </a:lnTo>
                  <a:lnTo>
                    <a:pt x="791242" y="133826"/>
                  </a:lnTo>
                  <a:lnTo>
                    <a:pt x="784765" y="133064"/>
                  </a:lnTo>
                  <a:lnTo>
                    <a:pt x="782764" y="130111"/>
                  </a:lnTo>
                  <a:lnTo>
                    <a:pt x="783908" y="126682"/>
                  </a:lnTo>
                  <a:lnTo>
                    <a:pt x="781145" y="117443"/>
                  </a:lnTo>
                  <a:lnTo>
                    <a:pt x="776192" y="116491"/>
                  </a:lnTo>
                  <a:lnTo>
                    <a:pt x="762572" y="110204"/>
                  </a:lnTo>
                  <a:lnTo>
                    <a:pt x="748760" y="115157"/>
                  </a:lnTo>
                  <a:lnTo>
                    <a:pt x="745617" y="115538"/>
                  </a:lnTo>
                  <a:lnTo>
                    <a:pt x="743426" y="111061"/>
                  </a:lnTo>
                  <a:lnTo>
                    <a:pt x="738759" y="111633"/>
                  </a:lnTo>
                  <a:lnTo>
                    <a:pt x="738283" y="108490"/>
                  </a:lnTo>
                  <a:lnTo>
                    <a:pt x="741235" y="106489"/>
                  </a:lnTo>
                  <a:lnTo>
                    <a:pt x="744379" y="106108"/>
                  </a:lnTo>
                  <a:lnTo>
                    <a:pt x="745426" y="101155"/>
                  </a:lnTo>
                  <a:lnTo>
                    <a:pt x="748189" y="97631"/>
                  </a:lnTo>
                  <a:lnTo>
                    <a:pt x="748760" y="89535"/>
                  </a:lnTo>
                  <a:lnTo>
                    <a:pt x="748284" y="86392"/>
                  </a:lnTo>
                  <a:lnTo>
                    <a:pt x="746760" y="86582"/>
                  </a:lnTo>
                  <a:lnTo>
                    <a:pt x="745331" y="88297"/>
                  </a:lnTo>
                  <a:lnTo>
                    <a:pt x="744379" y="93250"/>
                  </a:lnTo>
                  <a:lnTo>
                    <a:pt x="741426" y="95250"/>
                  </a:lnTo>
                  <a:lnTo>
                    <a:pt x="736473" y="94297"/>
                  </a:lnTo>
                  <a:lnTo>
                    <a:pt x="736949" y="97441"/>
                  </a:lnTo>
                  <a:lnTo>
                    <a:pt x="733711" y="97822"/>
                  </a:lnTo>
                  <a:lnTo>
                    <a:pt x="734568" y="91345"/>
                  </a:lnTo>
                  <a:lnTo>
                    <a:pt x="729425" y="101632"/>
                  </a:lnTo>
                  <a:lnTo>
                    <a:pt x="724472" y="100584"/>
                  </a:lnTo>
                  <a:lnTo>
                    <a:pt x="725900" y="98869"/>
                  </a:lnTo>
                  <a:lnTo>
                    <a:pt x="724281" y="99060"/>
                  </a:lnTo>
                  <a:lnTo>
                    <a:pt x="722947" y="100775"/>
                  </a:lnTo>
                  <a:lnTo>
                    <a:pt x="720947" y="97822"/>
                  </a:lnTo>
                  <a:lnTo>
                    <a:pt x="719518" y="99631"/>
                  </a:lnTo>
                  <a:lnTo>
                    <a:pt x="717804" y="98298"/>
                  </a:lnTo>
                  <a:lnTo>
                    <a:pt x="712851" y="97250"/>
                  </a:lnTo>
                  <a:lnTo>
                    <a:pt x="710851" y="94297"/>
                  </a:lnTo>
                  <a:lnTo>
                    <a:pt x="707898" y="96298"/>
                  </a:lnTo>
                  <a:lnTo>
                    <a:pt x="705136" y="99917"/>
                  </a:lnTo>
                  <a:lnTo>
                    <a:pt x="702945" y="95345"/>
                  </a:lnTo>
                  <a:lnTo>
                    <a:pt x="701612" y="97155"/>
                  </a:lnTo>
                  <a:lnTo>
                    <a:pt x="701135" y="94012"/>
                  </a:lnTo>
                  <a:lnTo>
                    <a:pt x="696659" y="96107"/>
                  </a:lnTo>
                  <a:lnTo>
                    <a:pt x="696468" y="94583"/>
                  </a:lnTo>
                  <a:lnTo>
                    <a:pt x="693134" y="93440"/>
                  </a:lnTo>
                  <a:lnTo>
                    <a:pt x="695420" y="86677"/>
                  </a:lnTo>
                  <a:lnTo>
                    <a:pt x="693706" y="85344"/>
                  </a:lnTo>
                  <a:lnTo>
                    <a:pt x="688943" y="85915"/>
                  </a:lnTo>
                  <a:lnTo>
                    <a:pt x="686181" y="89440"/>
                  </a:lnTo>
                  <a:lnTo>
                    <a:pt x="681228" y="88487"/>
                  </a:lnTo>
                  <a:lnTo>
                    <a:pt x="672560" y="83153"/>
                  </a:lnTo>
                  <a:lnTo>
                    <a:pt x="667798" y="83820"/>
                  </a:lnTo>
                  <a:lnTo>
                    <a:pt x="669608" y="85154"/>
                  </a:lnTo>
                  <a:lnTo>
                    <a:pt x="667226" y="91916"/>
                  </a:lnTo>
                  <a:lnTo>
                    <a:pt x="661130" y="94297"/>
                  </a:lnTo>
                  <a:lnTo>
                    <a:pt x="663130" y="97250"/>
                  </a:lnTo>
                  <a:lnTo>
                    <a:pt x="666274" y="96774"/>
                  </a:lnTo>
                  <a:lnTo>
                    <a:pt x="664845" y="98584"/>
                  </a:lnTo>
                  <a:lnTo>
                    <a:pt x="663321" y="98774"/>
                  </a:lnTo>
                  <a:lnTo>
                    <a:pt x="659511" y="94488"/>
                  </a:lnTo>
                  <a:lnTo>
                    <a:pt x="658368" y="97822"/>
                  </a:lnTo>
                  <a:lnTo>
                    <a:pt x="654844" y="95059"/>
                  </a:lnTo>
                  <a:lnTo>
                    <a:pt x="654368" y="91916"/>
                  </a:lnTo>
                  <a:lnTo>
                    <a:pt x="652843" y="92107"/>
                  </a:lnTo>
                  <a:lnTo>
                    <a:pt x="650653" y="87535"/>
                  </a:lnTo>
                  <a:lnTo>
                    <a:pt x="645890" y="88201"/>
                  </a:lnTo>
                  <a:lnTo>
                    <a:pt x="644938" y="80296"/>
                  </a:lnTo>
                  <a:lnTo>
                    <a:pt x="638556" y="81058"/>
                  </a:lnTo>
                  <a:lnTo>
                    <a:pt x="637413" y="84487"/>
                  </a:lnTo>
                  <a:lnTo>
                    <a:pt x="634270" y="84868"/>
                  </a:lnTo>
                  <a:lnTo>
                    <a:pt x="626173" y="71438"/>
                  </a:lnTo>
                  <a:lnTo>
                    <a:pt x="623030" y="71818"/>
                  </a:lnTo>
                  <a:lnTo>
                    <a:pt x="619220" y="67532"/>
                  </a:lnTo>
                  <a:lnTo>
                    <a:pt x="621601" y="73628"/>
                  </a:lnTo>
                  <a:lnTo>
                    <a:pt x="620077" y="73819"/>
                  </a:lnTo>
                  <a:lnTo>
                    <a:pt x="616458" y="71056"/>
                  </a:lnTo>
                  <a:lnTo>
                    <a:pt x="615125" y="72866"/>
                  </a:lnTo>
                  <a:lnTo>
                    <a:pt x="616648" y="72676"/>
                  </a:lnTo>
                  <a:lnTo>
                    <a:pt x="621030" y="81725"/>
                  </a:lnTo>
                  <a:lnTo>
                    <a:pt x="619697" y="83534"/>
                  </a:lnTo>
                  <a:lnTo>
                    <a:pt x="621411" y="84868"/>
                  </a:lnTo>
                  <a:lnTo>
                    <a:pt x="618649" y="88487"/>
                  </a:lnTo>
                  <a:lnTo>
                    <a:pt x="620649" y="91440"/>
                  </a:lnTo>
                  <a:lnTo>
                    <a:pt x="625412" y="90773"/>
                  </a:lnTo>
                  <a:lnTo>
                    <a:pt x="623983" y="92583"/>
                  </a:lnTo>
                  <a:lnTo>
                    <a:pt x="620649" y="91440"/>
                  </a:lnTo>
                  <a:lnTo>
                    <a:pt x="621030" y="94583"/>
                  </a:lnTo>
                  <a:lnTo>
                    <a:pt x="619506" y="94774"/>
                  </a:lnTo>
                  <a:lnTo>
                    <a:pt x="616934" y="87058"/>
                  </a:lnTo>
                  <a:lnTo>
                    <a:pt x="613791" y="87439"/>
                  </a:lnTo>
                  <a:lnTo>
                    <a:pt x="610172" y="84677"/>
                  </a:lnTo>
                  <a:lnTo>
                    <a:pt x="605504" y="85344"/>
                  </a:lnTo>
                  <a:lnTo>
                    <a:pt x="604266" y="88678"/>
                  </a:lnTo>
                  <a:lnTo>
                    <a:pt x="600932" y="87535"/>
                  </a:lnTo>
                  <a:lnTo>
                    <a:pt x="601123" y="89059"/>
                  </a:lnTo>
                  <a:lnTo>
                    <a:pt x="599504" y="89249"/>
                  </a:lnTo>
                  <a:lnTo>
                    <a:pt x="601504" y="92202"/>
                  </a:lnTo>
                  <a:lnTo>
                    <a:pt x="599980" y="92392"/>
                  </a:lnTo>
                  <a:lnTo>
                    <a:pt x="600170" y="94012"/>
                  </a:lnTo>
                  <a:lnTo>
                    <a:pt x="598360" y="92678"/>
                  </a:lnTo>
                  <a:lnTo>
                    <a:pt x="598551" y="94202"/>
                  </a:lnTo>
                  <a:lnTo>
                    <a:pt x="597218" y="96012"/>
                  </a:lnTo>
                  <a:lnTo>
                    <a:pt x="595217" y="93059"/>
                  </a:lnTo>
                  <a:lnTo>
                    <a:pt x="593884" y="94774"/>
                  </a:lnTo>
                  <a:lnTo>
                    <a:pt x="591502" y="101536"/>
                  </a:lnTo>
                  <a:lnTo>
                    <a:pt x="589883" y="101727"/>
                  </a:lnTo>
                  <a:lnTo>
                    <a:pt x="591122" y="98393"/>
                  </a:lnTo>
                  <a:lnTo>
                    <a:pt x="587693" y="97155"/>
                  </a:lnTo>
                  <a:lnTo>
                    <a:pt x="584930" y="100775"/>
                  </a:lnTo>
                  <a:lnTo>
                    <a:pt x="583978" y="105727"/>
                  </a:lnTo>
                  <a:lnTo>
                    <a:pt x="582454" y="105918"/>
                  </a:lnTo>
                  <a:lnTo>
                    <a:pt x="581787" y="101155"/>
                  </a:lnTo>
                  <a:lnTo>
                    <a:pt x="578644" y="101536"/>
                  </a:lnTo>
                  <a:lnTo>
                    <a:pt x="578263" y="98393"/>
                  </a:lnTo>
                  <a:lnTo>
                    <a:pt x="574929" y="97250"/>
                  </a:lnTo>
                  <a:lnTo>
                    <a:pt x="567595" y="102965"/>
                  </a:lnTo>
                  <a:lnTo>
                    <a:pt x="564261" y="101822"/>
                  </a:lnTo>
                  <a:lnTo>
                    <a:pt x="562451" y="100393"/>
                  </a:lnTo>
                  <a:lnTo>
                    <a:pt x="565595" y="100013"/>
                  </a:lnTo>
                  <a:lnTo>
                    <a:pt x="567023" y="98203"/>
                  </a:lnTo>
                  <a:lnTo>
                    <a:pt x="564833" y="93726"/>
                  </a:lnTo>
                  <a:lnTo>
                    <a:pt x="567595" y="90106"/>
                  </a:lnTo>
                  <a:lnTo>
                    <a:pt x="567214" y="86963"/>
                  </a:lnTo>
                  <a:lnTo>
                    <a:pt x="564071" y="87344"/>
                  </a:lnTo>
                  <a:lnTo>
                    <a:pt x="562261" y="86011"/>
                  </a:lnTo>
                  <a:lnTo>
                    <a:pt x="560451" y="84677"/>
                  </a:lnTo>
                  <a:lnTo>
                    <a:pt x="560451" y="84677"/>
                  </a:lnTo>
                  <a:lnTo>
                    <a:pt x="558260" y="80105"/>
                  </a:lnTo>
                  <a:lnTo>
                    <a:pt x="556927" y="81915"/>
                  </a:lnTo>
                  <a:lnTo>
                    <a:pt x="549783" y="76390"/>
                  </a:lnTo>
                  <a:lnTo>
                    <a:pt x="544068" y="81915"/>
                  </a:lnTo>
                  <a:lnTo>
                    <a:pt x="541877" y="77343"/>
                  </a:lnTo>
                  <a:lnTo>
                    <a:pt x="540544" y="79153"/>
                  </a:lnTo>
                  <a:lnTo>
                    <a:pt x="540353" y="77629"/>
                  </a:lnTo>
                  <a:lnTo>
                    <a:pt x="538543" y="76200"/>
                  </a:lnTo>
                  <a:lnTo>
                    <a:pt x="539115" y="68104"/>
                  </a:lnTo>
                  <a:lnTo>
                    <a:pt x="540448" y="66294"/>
                  </a:lnTo>
                  <a:lnTo>
                    <a:pt x="535114" y="62198"/>
                  </a:lnTo>
                  <a:lnTo>
                    <a:pt x="528638" y="61436"/>
                  </a:lnTo>
                  <a:lnTo>
                    <a:pt x="528256" y="58293"/>
                  </a:lnTo>
                  <a:lnTo>
                    <a:pt x="523684" y="60484"/>
                  </a:lnTo>
                  <a:lnTo>
                    <a:pt x="521303" y="54292"/>
                  </a:lnTo>
                  <a:lnTo>
                    <a:pt x="515588" y="59912"/>
                  </a:lnTo>
                  <a:lnTo>
                    <a:pt x="512445" y="60293"/>
                  </a:lnTo>
                  <a:lnTo>
                    <a:pt x="501587" y="63246"/>
                  </a:lnTo>
                  <a:lnTo>
                    <a:pt x="499396" y="58769"/>
                  </a:lnTo>
                  <a:lnTo>
                    <a:pt x="496634" y="62293"/>
                  </a:lnTo>
                  <a:lnTo>
                    <a:pt x="493490" y="62675"/>
                  </a:lnTo>
                  <a:lnTo>
                    <a:pt x="492157" y="64484"/>
                  </a:lnTo>
                  <a:lnTo>
                    <a:pt x="492538" y="67627"/>
                  </a:lnTo>
                  <a:lnTo>
                    <a:pt x="493585" y="75533"/>
                  </a:lnTo>
                  <a:lnTo>
                    <a:pt x="489013" y="77724"/>
                  </a:lnTo>
                  <a:lnTo>
                    <a:pt x="489395" y="80867"/>
                  </a:lnTo>
                  <a:lnTo>
                    <a:pt x="485108" y="84582"/>
                  </a:lnTo>
                  <a:lnTo>
                    <a:pt x="481965" y="85058"/>
                  </a:lnTo>
                  <a:lnTo>
                    <a:pt x="482346" y="88201"/>
                  </a:lnTo>
                  <a:lnTo>
                    <a:pt x="485299" y="86201"/>
                  </a:lnTo>
                  <a:lnTo>
                    <a:pt x="479584" y="91726"/>
                  </a:lnTo>
                  <a:lnTo>
                    <a:pt x="480155" y="96488"/>
                  </a:lnTo>
                  <a:lnTo>
                    <a:pt x="475297" y="95536"/>
                  </a:lnTo>
                  <a:lnTo>
                    <a:pt x="474821" y="92297"/>
                  </a:lnTo>
                  <a:lnTo>
                    <a:pt x="477774" y="90392"/>
                  </a:lnTo>
                  <a:lnTo>
                    <a:pt x="476059" y="88963"/>
                  </a:lnTo>
                  <a:lnTo>
                    <a:pt x="469868" y="91345"/>
                  </a:lnTo>
                  <a:lnTo>
                    <a:pt x="462058" y="92392"/>
                  </a:lnTo>
                  <a:lnTo>
                    <a:pt x="459105" y="94393"/>
                  </a:lnTo>
                  <a:lnTo>
                    <a:pt x="455676" y="93154"/>
                  </a:lnTo>
                  <a:lnTo>
                    <a:pt x="450818" y="92202"/>
                  </a:lnTo>
                  <a:lnTo>
                    <a:pt x="444437" y="92964"/>
                  </a:lnTo>
                  <a:lnTo>
                    <a:pt x="441293" y="93440"/>
                  </a:lnTo>
                  <a:lnTo>
                    <a:pt x="440150" y="96774"/>
                  </a:lnTo>
                  <a:lnTo>
                    <a:pt x="433006" y="91250"/>
                  </a:lnTo>
                  <a:lnTo>
                    <a:pt x="428244" y="91821"/>
                  </a:lnTo>
                  <a:lnTo>
                    <a:pt x="419957" y="89725"/>
                  </a:lnTo>
                  <a:lnTo>
                    <a:pt x="421196" y="99155"/>
                  </a:lnTo>
                  <a:lnTo>
                    <a:pt x="416052" y="96583"/>
                  </a:lnTo>
                  <a:lnTo>
                    <a:pt x="411480" y="98774"/>
                  </a:lnTo>
                  <a:lnTo>
                    <a:pt x="409766" y="97441"/>
                  </a:lnTo>
                  <a:lnTo>
                    <a:pt x="409384" y="94297"/>
                  </a:lnTo>
                  <a:lnTo>
                    <a:pt x="410527" y="90868"/>
                  </a:lnTo>
                  <a:lnTo>
                    <a:pt x="408527" y="87916"/>
                  </a:lnTo>
                  <a:lnTo>
                    <a:pt x="405384" y="88392"/>
                  </a:lnTo>
                  <a:lnTo>
                    <a:pt x="406146" y="94679"/>
                  </a:lnTo>
                  <a:lnTo>
                    <a:pt x="405003" y="98012"/>
                  </a:lnTo>
                  <a:lnTo>
                    <a:pt x="398526" y="97250"/>
                  </a:lnTo>
                  <a:lnTo>
                    <a:pt x="397097" y="99060"/>
                  </a:lnTo>
                  <a:lnTo>
                    <a:pt x="395097" y="96107"/>
                  </a:lnTo>
                  <a:lnTo>
                    <a:pt x="388810" y="96869"/>
                  </a:lnTo>
                  <a:lnTo>
                    <a:pt x="388620" y="95345"/>
                  </a:lnTo>
                  <a:lnTo>
                    <a:pt x="385667" y="97250"/>
                  </a:lnTo>
                  <a:lnTo>
                    <a:pt x="383667" y="94297"/>
                  </a:lnTo>
                  <a:lnTo>
                    <a:pt x="382143" y="94488"/>
                  </a:lnTo>
                  <a:lnTo>
                    <a:pt x="379762" y="88392"/>
                  </a:lnTo>
                  <a:lnTo>
                    <a:pt x="380714" y="83439"/>
                  </a:lnTo>
                  <a:lnTo>
                    <a:pt x="382048" y="81725"/>
                  </a:lnTo>
                  <a:lnTo>
                    <a:pt x="381286" y="75343"/>
                  </a:lnTo>
                  <a:lnTo>
                    <a:pt x="380905" y="72200"/>
                  </a:lnTo>
                  <a:lnTo>
                    <a:pt x="382238" y="70485"/>
                  </a:lnTo>
                  <a:lnTo>
                    <a:pt x="381857" y="67342"/>
                  </a:lnTo>
                  <a:lnTo>
                    <a:pt x="386620" y="66675"/>
                  </a:lnTo>
                  <a:lnTo>
                    <a:pt x="381667" y="65722"/>
                  </a:lnTo>
                  <a:lnTo>
                    <a:pt x="376142" y="60007"/>
                  </a:lnTo>
                  <a:lnTo>
                    <a:pt x="374713" y="61817"/>
                  </a:lnTo>
                  <a:lnTo>
                    <a:pt x="365284" y="62960"/>
                  </a:lnTo>
                  <a:lnTo>
                    <a:pt x="361950" y="61817"/>
                  </a:lnTo>
                  <a:lnTo>
                    <a:pt x="357950" y="68771"/>
                  </a:lnTo>
                  <a:lnTo>
                    <a:pt x="357759" y="67151"/>
                  </a:lnTo>
                  <a:lnTo>
                    <a:pt x="352044" y="72676"/>
                  </a:lnTo>
                  <a:lnTo>
                    <a:pt x="350330" y="71342"/>
                  </a:lnTo>
                  <a:lnTo>
                    <a:pt x="348901" y="73057"/>
                  </a:lnTo>
                  <a:lnTo>
                    <a:pt x="342233" y="70771"/>
                  </a:lnTo>
                  <a:lnTo>
                    <a:pt x="341471" y="77248"/>
                  </a:lnTo>
                  <a:lnTo>
                    <a:pt x="345376" y="83153"/>
                  </a:lnTo>
                  <a:lnTo>
                    <a:pt x="342614" y="86773"/>
                  </a:lnTo>
                  <a:lnTo>
                    <a:pt x="342233" y="83534"/>
                  </a:lnTo>
                  <a:lnTo>
                    <a:pt x="341471" y="90106"/>
                  </a:lnTo>
                  <a:lnTo>
                    <a:pt x="340042" y="91821"/>
                  </a:lnTo>
                  <a:lnTo>
                    <a:pt x="340519" y="95059"/>
                  </a:lnTo>
                  <a:lnTo>
                    <a:pt x="338900" y="95250"/>
                  </a:lnTo>
                  <a:lnTo>
                    <a:pt x="337566" y="96964"/>
                  </a:lnTo>
                  <a:lnTo>
                    <a:pt x="335566" y="94012"/>
                  </a:lnTo>
                  <a:lnTo>
                    <a:pt x="333946" y="94202"/>
                  </a:lnTo>
                  <a:lnTo>
                    <a:pt x="334327" y="97441"/>
                  </a:lnTo>
                  <a:lnTo>
                    <a:pt x="332804" y="97631"/>
                  </a:lnTo>
                  <a:lnTo>
                    <a:pt x="336709" y="103537"/>
                  </a:lnTo>
                  <a:lnTo>
                    <a:pt x="333566" y="103918"/>
                  </a:lnTo>
                  <a:lnTo>
                    <a:pt x="334042" y="107061"/>
                  </a:lnTo>
                  <a:lnTo>
                    <a:pt x="330803" y="107442"/>
                  </a:lnTo>
                  <a:lnTo>
                    <a:pt x="330041" y="101155"/>
                  </a:lnTo>
                  <a:lnTo>
                    <a:pt x="326898" y="101536"/>
                  </a:lnTo>
                  <a:lnTo>
                    <a:pt x="324707" y="97060"/>
                  </a:lnTo>
                  <a:lnTo>
                    <a:pt x="322135" y="102203"/>
                  </a:lnTo>
                  <a:lnTo>
                    <a:pt x="320612" y="102394"/>
                  </a:lnTo>
                  <a:lnTo>
                    <a:pt x="320992" y="105537"/>
                  </a:lnTo>
                  <a:lnTo>
                    <a:pt x="318230" y="109061"/>
                  </a:lnTo>
                  <a:lnTo>
                    <a:pt x="318611" y="112204"/>
                  </a:lnTo>
                  <a:lnTo>
                    <a:pt x="318992" y="115443"/>
                  </a:lnTo>
                  <a:lnTo>
                    <a:pt x="309372" y="115062"/>
                  </a:lnTo>
                  <a:lnTo>
                    <a:pt x="302609" y="112681"/>
                  </a:lnTo>
                  <a:lnTo>
                    <a:pt x="302038" y="107918"/>
                  </a:lnTo>
                  <a:lnTo>
                    <a:pt x="298704" y="106775"/>
                  </a:lnTo>
                  <a:lnTo>
                    <a:pt x="290036" y="114300"/>
                  </a:lnTo>
                  <a:lnTo>
                    <a:pt x="290989" y="122206"/>
                  </a:lnTo>
                  <a:lnTo>
                    <a:pt x="290989" y="122206"/>
                  </a:lnTo>
                  <a:lnTo>
                    <a:pt x="289465" y="122396"/>
                  </a:lnTo>
                  <a:lnTo>
                    <a:pt x="285083" y="126111"/>
                  </a:lnTo>
                  <a:lnTo>
                    <a:pt x="284702" y="122968"/>
                  </a:lnTo>
                  <a:lnTo>
                    <a:pt x="275463" y="125730"/>
                  </a:lnTo>
                  <a:lnTo>
                    <a:pt x="273463" y="122777"/>
                  </a:lnTo>
                  <a:lnTo>
                    <a:pt x="268700" y="123444"/>
                  </a:lnTo>
                  <a:lnTo>
                    <a:pt x="268129" y="118681"/>
                  </a:lnTo>
                  <a:lnTo>
                    <a:pt x="264605" y="115919"/>
                  </a:lnTo>
                  <a:lnTo>
                    <a:pt x="263366" y="119253"/>
                  </a:lnTo>
                  <a:lnTo>
                    <a:pt x="257080" y="120110"/>
                  </a:lnTo>
                  <a:lnTo>
                    <a:pt x="261366" y="116300"/>
                  </a:lnTo>
                  <a:lnTo>
                    <a:pt x="260985" y="113157"/>
                  </a:lnTo>
                  <a:lnTo>
                    <a:pt x="263938" y="111157"/>
                  </a:lnTo>
                  <a:lnTo>
                    <a:pt x="256032" y="112204"/>
                  </a:lnTo>
                  <a:lnTo>
                    <a:pt x="254698" y="114014"/>
                  </a:lnTo>
                  <a:lnTo>
                    <a:pt x="251174" y="111252"/>
                  </a:lnTo>
                  <a:lnTo>
                    <a:pt x="248984" y="106680"/>
                  </a:lnTo>
                  <a:lnTo>
                    <a:pt x="249746" y="100203"/>
                  </a:lnTo>
                  <a:lnTo>
                    <a:pt x="239649" y="96679"/>
                  </a:lnTo>
                  <a:lnTo>
                    <a:pt x="235077" y="98869"/>
                  </a:lnTo>
                  <a:lnTo>
                    <a:pt x="235363" y="100393"/>
                  </a:lnTo>
                  <a:lnTo>
                    <a:pt x="238696" y="101536"/>
                  </a:lnTo>
                  <a:lnTo>
                    <a:pt x="234125" y="103727"/>
                  </a:lnTo>
                  <a:lnTo>
                    <a:pt x="230410" y="112204"/>
                  </a:lnTo>
                  <a:lnTo>
                    <a:pt x="227076" y="111061"/>
                  </a:lnTo>
                  <a:lnTo>
                    <a:pt x="227267" y="112681"/>
                  </a:lnTo>
                  <a:lnTo>
                    <a:pt x="225457" y="111252"/>
                  </a:lnTo>
                  <a:lnTo>
                    <a:pt x="222694" y="114871"/>
                  </a:lnTo>
                  <a:lnTo>
                    <a:pt x="220790" y="111919"/>
                  </a:lnTo>
                  <a:lnTo>
                    <a:pt x="222123" y="110109"/>
                  </a:lnTo>
                  <a:lnTo>
                    <a:pt x="220504" y="110300"/>
                  </a:lnTo>
                  <a:lnTo>
                    <a:pt x="219170" y="112109"/>
                  </a:lnTo>
                  <a:lnTo>
                    <a:pt x="217742" y="113824"/>
                  </a:lnTo>
                  <a:lnTo>
                    <a:pt x="216408" y="102775"/>
                  </a:lnTo>
                  <a:lnTo>
                    <a:pt x="214979" y="104584"/>
                  </a:lnTo>
                  <a:lnTo>
                    <a:pt x="213265" y="103251"/>
                  </a:lnTo>
                  <a:lnTo>
                    <a:pt x="210407" y="93917"/>
                  </a:lnTo>
                  <a:lnTo>
                    <a:pt x="207264" y="94393"/>
                  </a:lnTo>
                  <a:lnTo>
                    <a:pt x="209264" y="97346"/>
                  </a:lnTo>
                  <a:lnTo>
                    <a:pt x="202978" y="98107"/>
                  </a:lnTo>
                  <a:lnTo>
                    <a:pt x="203740" y="104394"/>
                  </a:lnTo>
                  <a:lnTo>
                    <a:pt x="198977" y="105061"/>
                  </a:lnTo>
                  <a:lnTo>
                    <a:pt x="199453" y="108204"/>
                  </a:lnTo>
                  <a:lnTo>
                    <a:pt x="192500" y="104299"/>
                  </a:lnTo>
                  <a:lnTo>
                    <a:pt x="186023" y="103442"/>
                  </a:lnTo>
                  <a:lnTo>
                    <a:pt x="182499" y="113538"/>
                  </a:lnTo>
                  <a:lnTo>
                    <a:pt x="180880" y="113729"/>
                  </a:lnTo>
                  <a:lnTo>
                    <a:pt x="180880" y="113729"/>
                  </a:lnTo>
                  <a:lnTo>
                    <a:pt x="170974" y="111823"/>
                  </a:lnTo>
                  <a:lnTo>
                    <a:pt x="169259" y="110395"/>
                  </a:lnTo>
                  <a:lnTo>
                    <a:pt x="165925" y="109252"/>
                  </a:lnTo>
                  <a:lnTo>
                    <a:pt x="164687" y="112585"/>
                  </a:lnTo>
                  <a:lnTo>
                    <a:pt x="160401" y="116396"/>
                  </a:lnTo>
                  <a:lnTo>
                    <a:pt x="159163" y="119729"/>
                  </a:lnTo>
                  <a:lnTo>
                    <a:pt x="164306" y="122301"/>
                  </a:lnTo>
                  <a:lnTo>
                    <a:pt x="164782" y="125444"/>
                  </a:lnTo>
                  <a:lnTo>
                    <a:pt x="163544" y="128778"/>
                  </a:lnTo>
                  <a:lnTo>
                    <a:pt x="160211" y="127635"/>
                  </a:lnTo>
                  <a:lnTo>
                    <a:pt x="159067" y="130969"/>
                  </a:lnTo>
                  <a:lnTo>
                    <a:pt x="155829" y="131350"/>
                  </a:lnTo>
                  <a:lnTo>
                    <a:pt x="157829" y="134302"/>
                  </a:lnTo>
                  <a:lnTo>
                    <a:pt x="156496" y="136112"/>
                  </a:lnTo>
                  <a:lnTo>
                    <a:pt x="157258" y="142399"/>
                  </a:lnTo>
                  <a:lnTo>
                    <a:pt x="160592" y="143637"/>
                  </a:lnTo>
                  <a:lnTo>
                    <a:pt x="163830" y="143161"/>
                  </a:lnTo>
                  <a:lnTo>
                    <a:pt x="164021" y="144780"/>
                  </a:lnTo>
                  <a:lnTo>
                    <a:pt x="163830" y="143161"/>
                  </a:lnTo>
                  <a:lnTo>
                    <a:pt x="170307" y="144018"/>
                  </a:lnTo>
                  <a:lnTo>
                    <a:pt x="170497" y="145542"/>
                  </a:lnTo>
                  <a:lnTo>
                    <a:pt x="164021" y="144780"/>
                  </a:lnTo>
                  <a:lnTo>
                    <a:pt x="165925" y="147733"/>
                  </a:lnTo>
                  <a:lnTo>
                    <a:pt x="164782" y="151067"/>
                  </a:lnTo>
                  <a:lnTo>
                    <a:pt x="165925" y="147733"/>
                  </a:lnTo>
                  <a:lnTo>
                    <a:pt x="167545" y="147542"/>
                  </a:lnTo>
                  <a:lnTo>
                    <a:pt x="167926" y="150685"/>
                  </a:lnTo>
                  <a:lnTo>
                    <a:pt x="165163" y="154210"/>
                  </a:lnTo>
                  <a:lnTo>
                    <a:pt x="168402" y="153829"/>
                  </a:lnTo>
                  <a:lnTo>
                    <a:pt x="167164" y="157163"/>
                  </a:lnTo>
                  <a:lnTo>
                    <a:pt x="169545" y="163354"/>
                  </a:lnTo>
                  <a:lnTo>
                    <a:pt x="166592" y="165259"/>
                  </a:lnTo>
                  <a:lnTo>
                    <a:pt x="165640" y="170212"/>
                  </a:lnTo>
                  <a:lnTo>
                    <a:pt x="168973" y="171355"/>
                  </a:lnTo>
                  <a:lnTo>
                    <a:pt x="167640" y="173164"/>
                  </a:lnTo>
                  <a:lnTo>
                    <a:pt x="168021" y="176308"/>
                  </a:lnTo>
                  <a:lnTo>
                    <a:pt x="166878" y="179642"/>
                  </a:lnTo>
                  <a:lnTo>
                    <a:pt x="168592" y="181070"/>
                  </a:lnTo>
                  <a:lnTo>
                    <a:pt x="170783" y="185642"/>
                  </a:lnTo>
                  <a:lnTo>
                    <a:pt x="172402" y="185452"/>
                  </a:lnTo>
                  <a:lnTo>
                    <a:pt x="172784" y="188595"/>
                  </a:lnTo>
                  <a:lnTo>
                    <a:pt x="174593" y="189929"/>
                  </a:lnTo>
                  <a:lnTo>
                    <a:pt x="174974" y="193072"/>
                  </a:lnTo>
                  <a:lnTo>
                    <a:pt x="178117" y="192691"/>
                  </a:lnTo>
                  <a:lnTo>
                    <a:pt x="178308" y="194310"/>
                  </a:lnTo>
                  <a:lnTo>
                    <a:pt x="175165" y="194691"/>
                  </a:lnTo>
                  <a:lnTo>
                    <a:pt x="177165" y="197644"/>
                  </a:lnTo>
                  <a:lnTo>
                    <a:pt x="185261" y="198215"/>
                  </a:lnTo>
                  <a:lnTo>
                    <a:pt x="185452" y="199739"/>
                  </a:lnTo>
                  <a:lnTo>
                    <a:pt x="182309" y="200215"/>
                  </a:lnTo>
                  <a:lnTo>
                    <a:pt x="175736" y="199358"/>
                  </a:lnTo>
                  <a:lnTo>
                    <a:pt x="173165" y="204502"/>
                  </a:lnTo>
                  <a:lnTo>
                    <a:pt x="174974" y="205930"/>
                  </a:lnTo>
                  <a:lnTo>
                    <a:pt x="173450" y="206121"/>
                  </a:lnTo>
                  <a:lnTo>
                    <a:pt x="169450" y="213074"/>
                  </a:lnTo>
                  <a:lnTo>
                    <a:pt x="166306" y="213455"/>
                  </a:lnTo>
                  <a:lnTo>
                    <a:pt x="168116" y="214789"/>
                  </a:lnTo>
                  <a:lnTo>
                    <a:pt x="165544" y="219932"/>
                  </a:lnTo>
                  <a:lnTo>
                    <a:pt x="166402" y="226219"/>
                  </a:lnTo>
                  <a:lnTo>
                    <a:pt x="168116" y="227647"/>
                  </a:lnTo>
                  <a:lnTo>
                    <a:pt x="164211" y="234505"/>
                  </a:lnTo>
                  <a:lnTo>
                    <a:pt x="162592" y="234791"/>
                  </a:lnTo>
                  <a:lnTo>
                    <a:pt x="163068" y="237934"/>
                  </a:lnTo>
                  <a:lnTo>
                    <a:pt x="164592" y="237744"/>
                  </a:lnTo>
                  <a:lnTo>
                    <a:pt x="163259" y="239459"/>
                  </a:lnTo>
                  <a:lnTo>
                    <a:pt x="164782" y="239268"/>
                  </a:lnTo>
                  <a:lnTo>
                    <a:pt x="163449" y="241078"/>
                  </a:lnTo>
                  <a:lnTo>
                    <a:pt x="167354" y="246983"/>
                  </a:lnTo>
                  <a:lnTo>
                    <a:pt x="166402" y="251936"/>
                  </a:lnTo>
                  <a:lnTo>
                    <a:pt x="171926" y="257651"/>
                  </a:lnTo>
                  <a:lnTo>
                    <a:pt x="173926" y="260604"/>
                  </a:lnTo>
                  <a:lnTo>
                    <a:pt x="170974" y="262604"/>
                  </a:lnTo>
                  <a:lnTo>
                    <a:pt x="174307" y="263747"/>
                  </a:lnTo>
                  <a:lnTo>
                    <a:pt x="171164" y="264128"/>
                  </a:lnTo>
                  <a:lnTo>
                    <a:pt x="171355" y="265747"/>
                  </a:lnTo>
                  <a:lnTo>
                    <a:pt x="174498" y="265271"/>
                  </a:lnTo>
                  <a:lnTo>
                    <a:pt x="178308" y="269653"/>
                  </a:lnTo>
                  <a:lnTo>
                    <a:pt x="181261" y="267652"/>
                  </a:lnTo>
                  <a:lnTo>
                    <a:pt x="180118" y="270986"/>
                  </a:lnTo>
                  <a:lnTo>
                    <a:pt x="183451" y="272225"/>
                  </a:lnTo>
                  <a:lnTo>
                    <a:pt x="182690" y="278701"/>
                  </a:lnTo>
                  <a:lnTo>
                    <a:pt x="184594" y="281654"/>
                  </a:lnTo>
                  <a:lnTo>
                    <a:pt x="181261" y="280511"/>
                  </a:lnTo>
                  <a:lnTo>
                    <a:pt x="181642" y="283655"/>
                  </a:lnTo>
                  <a:lnTo>
                    <a:pt x="180118" y="283845"/>
                  </a:lnTo>
                  <a:lnTo>
                    <a:pt x="176022" y="289179"/>
                  </a:lnTo>
                  <a:lnTo>
                    <a:pt x="177736" y="290513"/>
                  </a:lnTo>
                  <a:lnTo>
                    <a:pt x="180308" y="285464"/>
                  </a:lnTo>
                  <a:lnTo>
                    <a:pt x="181356" y="293275"/>
                  </a:lnTo>
                  <a:lnTo>
                    <a:pt x="183071" y="294704"/>
                  </a:lnTo>
                  <a:lnTo>
                    <a:pt x="175165" y="295656"/>
                  </a:lnTo>
                  <a:lnTo>
                    <a:pt x="171450" y="304229"/>
                  </a:lnTo>
                  <a:lnTo>
                    <a:pt x="169164" y="310896"/>
                  </a:lnTo>
                  <a:lnTo>
                    <a:pt x="171069" y="313849"/>
                  </a:lnTo>
                  <a:lnTo>
                    <a:pt x="167926" y="314230"/>
                  </a:lnTo>
                  <a:lnTo>
                    <a:pt x="170497" y="321945"/>
                  </a:lnTo>
                  <a:lnTo>
                    <a:pt x="169354" y="325279"/>
                  </a:lnTo>
                  <a:lnTo>
                    <a:pt x="168021" y="327088"/>
                  </a:lnTo>
                  <a:lnTo>
                    <a:pt x="159639" y="324898"/>
                  </a:lnTo>
                  <a:lnTo>
                    <a:pt x="155162" y="327088"/>
                  </a:lnTo>
                  <a:lnTo>
                    <a:pt x="154210" y="332042"/>
                  </a:lnTo>
                  <a:lnTo>
                    <a:pt x="151067" y="332422"/>
                  </a:lnTo>
                  <a:lnTo>
                    <a:pt x="146494" y="334613"/>
                  </a:lnTo>
                  <a:lnTo>
                    <a:pt x="144494" y="344519"/>
                  </a:lnTo>
                  <a:lnTo>
                    <a:pt x="136017" y="340805"/>
                  </a:lnTo>
                  <a:lnTo>
                    <a:pt x="139065" y="351663"/>
                  </a:lnTo>
                  <a:lnTo>
                    <a:pt x="136112" y="353568"/>
                  </a:lnTo>
                  <a:lnTo>
                    <a:pt x="134493" y="353759"/>
                  </a:lnTo>
                  <a:lnTo>
                    <a:pt x="138684" y="361283"/>
                  </a:lnTo>
                  <a:lnTo>
                    <a:pt x="141827" y="360902"/>
                  </a:lnTo>
                  <a:lnTo>
                    <a:pt x="145161" y="362045"/>
                  </a:lnTo>
                  <a:lnTo>
                    <a:pt x="144399" y="368617"/>
                  </a:lnTo>
                  <a:lnTo>
                    <a:pt x="141446" y="370522"/>
                  </a:lnTo>
                  <a:lnTo>
                    <a:pt x="140684" y="377095"/>
                  </a:lnTo>
                  <a:lnTo>
                    <a:pt x="137541" y="377476"/>
                  </a:lnTo>
                  <a:lnTo>
                    <a:pt x="134398" y="377857"/>
                  </a:lnTo>
                  <a:lnTo>
                    <a:pt x="130588" y="373571"/>
                  </a:lnTo>
                  <a:lnTo>
                    <a:pt x="126111" y="375761"/>
                  </a:lnTo>
                  <a:lnTo>
                    <a:pt x="119539" y="374999"/>
                  </a:lnTo>
                  <a:lnTo>
                    <a:pt x="118205" y="376714"/>
                  </a:lnTo>
                  <a:lnTo>
                    <a:pt x="121729" y="379476"/>
                  </a:lnTo>
                  <a:lnTo>
                    <a:pt x="121348" y="389192"/>
                  </a:lnTo>
                  <a:lnTo>
                    <a:pt x="124301" y="400050"/>
                  </a:lnTo>
                  <a:lnTo>
                    <a:pt x="127540" y="399574"/>
                  </a:lnTo>
                  <a:lnTo>
                    <a:pt x="129254" y="401002"/>
                  </a:lnTo>
                  <a:lnTo>
                    <a:pt x="138970" y="401384"/>
                  </a:lnTo>
                  <a:lnTo>
                    <a:pt x="141922" y="399383"/>
                  </a:lnTo>
                  <a:lnTo>
                    <a:pt x="143923" y="402336"/>
                  </a:lnTo>
                  <a:lnTo>
                    <a:pt x="140684" y="402717"/>
                  </a:lnTo>
                  <a:lnTo>
                    <a:pt x="133636" y="410051"/>
                  </a:lnTo>
                  <a:lnTo>
                    <a:pt x="133826" y="411575"/>
                  </a:lnTo>
                  <a:lnTo>
                    <a:pt x="137827" y="417576"/>
                  </a:lnTo>
                  <a:lnTo>
                    <a:pt x="136207" y="417767"/>
                  </a:lnTo>
                  <a:lnTo>
                    <a:pt x="129730" y="417005"/>
                  </a:lnTo>
                  <a:lnTo>
                    <a:pt x="129540" y="415385"/>
                  </a:lnTo>
                  <a:lnTo>
                    <a:pt x="124396" y="412813"/>
                  </a:lnTo>
                  <a:lnTo>
                    <a:pt x="123444" y="417767"/>
                  </a:lnTo>
                  <a:lnTo>
                    <a:pt x="125158" y="419100"/>
                  </a:lnTo>
                  <a:lnTo>
                    <a:pt x="126016" y="425482"/>
                  </a:lnTo>
                  <a:lnTo>
                    <a:pt x="119253" y="423100"/>
                  </a:lnTo>
                  <a:lnTo>
                    <a:pt x="113538" y="428625"/>
                  </a:lnTo>
                  <a:lnTo>
                    <a:pt x="115348" y="430054"/>
                  </a:lnTo>
                  <a:lnTo>
                    <a:pt x="115729" y="433197"/>
                  </a:lnTo>
                  <a:lnTo>
                    <a:pt x="112395" y="431959"/>
                  </a:lnTo>
                  <a:lnTo>
                    <a:pt x="110966" y="433768"/>
                  </a:lnTo>
                  <a:lnTo>
                    <a:pt x="111633" y="438531"/>
                  </a:lnTo>
                  <a:lnTo>
                    <a:pt x="114776" y="438150"/>
                  </a:lnTo>
                  <a:lnTo>
                    <a:pt x="113157" y="438340"/>
                  </a:lnTo>
                  <a:lnTo>
                    <a:pt x="114014" y="444627"/>
                  </a:lnTo>
                  <a:lnTo>
                    <a:pt x="116776" y="441103"/>
                  </a:lnTo>
                  <a:lnTo>
                    <a:pt x="116396" y="450723"/>
                  </a:lnTo>
                  <a:lnTo>
                    <a:pt x="124682" y="452914"/>
                  </a:lnTo>
                  <a:lnTo>
                    <a:pt x="126206" y="452723"/>
                  </a:lnTo>
                  <a:lnTo>
                    <a:pt x="125063" y="456057"/>
                  </a:lnTo>
                  <a:lnTo>
                    <a:pt x="128397" y="457200"/>
                  </a:lnTo>
                  <a:lnTo>
                    <a:pt x="129445" y="465106"/>
                  </a:lnTo>
                  <a:lnTo>
                    <a:pt x="132017" y="472821"/>
                  </a:lnTo>
                  <a:lnTo>
                    <a:pt x="127730" y="476536"/>
                  </a:lnTo>
                  <a:lnTo>
                    <a:pt x="122587" y="473964"/>
                  </a:lnTo>
                  <a:lnTo>
                    <a:pt x="119348" y="474440"/>
                  </a:lnTo>
                  <a:lnTo>
                    <a:pt x="112490" y="483298"/>
                  </a:lnTo>
                  <a:lnTo>
                    <a:pt x="113157" y="500825"/>
                  </a:lnTo>
                  <a:lnTo>
                    <a:pt x="113347" y="502444"/>
                  </a:lnTo>
                  <a:lnTo>
                    <a:pt x="108775" y="504634"/>
                  </a:lnTo>
                  <a:lnTo>
                    <a:pt x="110776" y="507587"/>
                  </a:lnTo>
                  <a:lnTo>
                    <a:pt x="112204" y="505777"/>
                  </a:lnTo>
                  <a:lnTo>
                    <a:pt x="112395" y="507397"/>
                  </a:lnTo>
                  <a:lnTo>
                    <a:pt x="115348" y="505396"/>
                  </a:lnTo>
                  <a:lnTo>
                    <a:pt x="115538" y="507016"/>
                  </a:lnTo>
                  <a:lnTo>
                    <a:pt x="112776" y="510540"/>
                  </a:lnTo>
                  <a:lnTo>
                    <a:pt x="111633" y="513874"/>
                  </a:lnTo>
                  <a:lnTo>
                    <a:pt x="110966" y="509111"/>
                  </a:lnTo>
                  <a:lnTo>
                    <a:pt x="109442" y="509397"/>
                  </a:lnTo>
                  <a:lnTo>
                    <a:pt x="105823" y="506635"/>
                  </a:lnTo>
                  <a:lnTo>
                    <a:pt x="103061" y="510159"/>
                  </a:lnTo>
                  <a:lnTo>
                    <a:pt x="101346" y="508825"/>
                  </a:lnTo>
                  <a:lnTo>
                    <a:pt x="96965" y="512540"/>
                  </a:lnTo>
                  <a:lnTo>
                    <a:pt x="88868" y="511969"/>
                  </a:lnTo>
                  <a:lnTo>
                    <a:pt x="89535" y="516731"/>
                  </a:lnTo>
                  <a:lnTo>
                    <a:pt x="86582" y="518731"/>
                  </a:lnTo>
                  <a:lnTo>
                    <a:pt x="86963" y="521875"/>
                  </a:lnTo>
                  <a:lnTo>
                    <a:pt x="84011" y="523780"/>
                  </a:lnTo>
                  <a:lnTo>
                    <a:pt x="79057" y="522827"/>
                  </a:lnTo>
                  <a:lnTo>
                    <a:pt x="78105" y="527780"/>
                  </a:lnTo>
                  <a:lnTo>
                    <a:pt x="68008" y="537115"/>
                  </a:lnTo>
                  <a:lnTo>
                    <a:pt x="66103" y="534162"/>
                  </a:lnTo>
                  <a:lnTo>
                    <a:pt x="64103" y="531209"/>
                  </a:lnTo>
                  <a:lnTo>
                    <a:pt x="59341" y="531781"/>
                  </a:lnTo>
                  <a:lnTo>
                    <a:pt x="50863" y="528066"/>
                  </a:lnTo>
                  <a:lnTo>
                    <a:pt x="53816" y="526066"/>
                  </a:lnTo>
                  <a:lnTo>
                    <a:pt x="53626" y="524447"/>
                  </a:lnTo>
                  <a:lnTo>
                    <a:pt x="40576" y="522922"/>
                  </a:lnTo>
                  <a:lnTo>
                    <a:pt x="39243" y="524732"/>
                  </a:lnTo>
                  <a:lnTo>
                    <a:pt x="39433" y="526256"/>
                  </a:lnTo>
                  <a:lnTo>
                    <a:pt x="46101" y="528638"/>
                  </a:lnTo>
                  <a:lnTo>
                    <a:pt x="48101" y="531590"/>
                  </a:lnTo>
                  <a:lnTo>
                    <a:pt x="46768" y="533400"/>
                  </a:lnTo>
                  <a:lnTo>
                    <a:pt x="43720" y="535400"/>
                  </a:lnTo>
                  <a:lnTo>
                    <a:pt x="41434" y="542068"/>
                  </a:lnTo>
                  <a:lnTo>
                    <a:pt x="41624" y="543687"/>
                  </a:lnTo>
                  <a:lnTo>
                    <a:pt x="40481" y="547021"/>
                  </a:lnTo>
                  <a:lnTo>
                    <a:pt x="39433" y="551974"/>
                  </a:lnTo>
                  <a:lnTo>
                    <a:pt x="42863" y="553117"/>
                  </a:lnTo>
                  <a:lnTo>
                    <a:pt x="44386" y="565785"/>
                  </a:lnTo>
                  <a:lnTo>
                    <a:pt x="43244" y="569119"/>
                  </a:lnTo>
                  <a:lnTo>
                    <a:pt x="32385" y="572072"/>
                  </a:lnTo>
                  <a:lnTo>
                    <a:pt x="32575" y="573691"/>
                  </a:lnTo>
                  <a:lnTo>
                    <a:pt x="35433" y="582930"/>
                  </a:lnTo>
                  <a:lnTo>
                    <a:pt x="42481" y="588455"/>
                  </a:lnTo>
                  <a:lnTo>
                    <a:pt x="44482" y="591407"/>
                  </a:lnTo>
                  <a:lnTo>
                    <a:pt x="42386" y="599694"/>
                  </a:lnTo>
                  <a:lnTo>
                    <a:pt x="50292" y="611505"/>
                  </a:lnTo>
                  <a:lnTo>
                    <a:pt x="51054" y="617792"/>
                  </a:lnTo>
                  <a:lnTo>
                    <a:pt x="49911" y="621221"/>
                  </a:lnTo>
                  <a:lnTo>
                    <a:pt x="47720" y="629507"/>
                  </a:lnTo>
                  <a:lnTo>
                    <a:pt x="34957" y="642366"/>
                  </a:lnTo>
                  <a:lnTo>
                    <a:pt x="31147" y="637984"/>
                  </a:lnTo>
                  <a:lnTo>
                    <a:pt x="27813" y="636842"/>
                  </a:lnTo>
                  <a:lnTo>
                    <a:pt x="25813" y="633889"/>
                  </a:lnTo>
                  <a:lnTo>
                    <a:pt x="24289" y="634079"/>
                  </a:lnTo>
                  <a:lnTo>
                    <a:pt x="24670" y="637222"/>
                  </a:lnTo>
                  <a:lnTo>
                    <a:pt x="15049" y="649700"/>
                  </a:lnTo>
                  <a:lnTo>
                    <a:pt x="13240" y="661130"/>
                  </a:lnTo>
                  <a:lnTo>
                    <a:pt x="5048" y="671798"/>
                  </a:lnTo>
                  <a:lnTo>
                    <a:pt x="7048" y="674751"/>
                  </a:lnTo>
                  <a:lnTo>
                    <a:pt x="6191" y="681228"/>
                  </a:lnTo>
                  <a:lnTo>
                    <a:pt x="6858" y="685990"/>
                  </a:lnTo>
                  <a:lnTo>
                    <a:pt x="1524" y="694658"/>
                  </a:lnTo>
                  <a:lnTo>
                    <a:pt x="2096" y="699421"/>
                  </a:lnTo>
                  <a:lnTo>
                    <a:pt x="0" y="707707"/>
                  </a:lnTo>
                  <a:lnTo>
                    <a:pt x="3905" y="713613"/>
                  </a:lnTo>
                  <a:lnTo>
                    <a:pt x="10668" y="715994"/>
                  </a:lnTo>
                  <a:lnTo>
                    <a:pt x="9715" y="720947"/>
                  </a:lnTo>
                  <a:lnTo>
                    <a:pt x="10668" y="728853"/>
                  </a:lnTo>
                  <a:lnTo>
                    <a:pt x="15621" y="729805"/>
                  </a:lnTo>
                  <a:lnTo>
                    <a:pt x="18383" y="726186"/>
                  </a:lnTo>
                  <a:lnTo>
                    <a:pt x="25527" y="731710"/>
                  </a:lnTo>
                  <a:lnTo>
                    <a:pt x="28289" y="728186"/>
                  </a:lnTo>
                  <a:lnTo>
                    <a:pt x="31242" y="726186"/>
                  </a:lnTo>
                  <a:lnTo>
                    <a:pt x="38957" y="736473"/>
                  </a:lnTo>
                  <a:lnTo>
                    <a:pt x="36767" y="744760"/>
                  </a:lnTo>
                  <a:lnTo>
                    <a:pt x="40957" y="752189"/>
                  </a:lnTo>
                  <a:lnTo>
                    <a:pt x="52006" y="763619"/>
                  </a:lnTo>
                  <a:lnTo>
                    <a:pt x="51435" y="758952"/>
                  </a:lnTo>
                  <a:lnTo>
                    <a:pt x="54388" y="756952"/>
                  </a:lnTo>
                  <a:lnTo>
                    <a:pt x="58483" y="751618"/>
                  </a:lnTo>
                  <a:lnTo>
                    <a:pt x="64960" y="752380"/>
                  </a:lnTo>
                  <a:lnTo>
                    <a:pt x="66770" y="753713"/>
                  </a:lnTo>
                  <a:lnTo>
                    <a:pt x="61055" y="759238"/>
                  </a:lnTo>
                  <a:lnTo>
                    <a:pt x="59912" y="762667"/>
                  </a:lnTo>
                  <a:lnTo>
                    <a:pt x="69818" y="777430"/>
                  </a:lnTo>
                  <a:lnTo>
                    <a:pt x="71247" y="788480"/>
                  </a:lnTo>
                  <a:lnTo>
                    <a:pt x="72771" y="788289"/>
                  </a:lnTo>
                  <a:lnTo>
                    <a:pt x="74771" y="791242"/>
                  </a:lnTo>
                  <a:lnTo>
                    <a:pt x="82486" y="814292"/>
                  </a:lnTo>
                  <a:lnTo>
                    <a:pt x="87630" y="816864"/>
                  </a:lnTo>
                  <a:lnTo>
                    <a:pt x="92773" y="819340"/>
                  </a:lnTo>
                  <a:lnTo>
                    <a:pt x="91630" y="822770"/>
                  </a:lnTo>
                  <a:lnTo>
                    <a:pt x="94202" y="830389"/>
                  </a:lnTo>
                  <a:lnTo>
                    <a:pt x="97726" y="833152"/>
                  </a:lnTo>
                  <a:lnTo>
                    <a:pt x="104108" y="832390"/>
                  </a:lnTo>
                  <a:lnTo>
                    <a:pt x="105823" y="833723"/>
                  </a:lnTo>
                  <a:lnTo>
                    <a:pt x="114871" y="829437"/>
                  </a:lnTo>
                  <a:lnTo>
                    <a:pt x="126778" y="834295"/>
                  </a:lnTo>
                  <a:lnTo>
                    <a:pt x="132683" y="830294"/>
                  </a:lnTo>
                  <a:lnTo>
                    <a:pt x="136779" y="824960"/>
                  </a:lnTo>
                  <a:lnTo>
                    <a:pt x="141922" y="827532"/>
                  </a:lnTo>
                  <a:lnTo>
                    <a:pt x="142970" y="835438"/>
                  </a:lnTo>
                  <a:lnTo>
                    <a:pt x="151067" y="848868"/>
                  </a:lnTo>
                  <a:lnTo>
                    <a:pt x="148685" y="855536"/>
                  </a:lnTo>
                  <a:lnTo>
                    <a:pt x="160020" y="881348"/>
                  </a:lnTo>
                  <a:lnTo>
                    <a:pt x="160401" y="884491"/>
                  </a:lnTo>
                  <a:lnTo>
                    <a:pt x="164401" y="890492"/>
                  </a:lnTo>
                  <a:lnTo>
                    <a:pt x="170688" y="889635"/>
                  </a:lnTo>
                  <a:lnTo>
                    <a:pt x="180594" y="891635"/>
                  </a:lnTo>
                  <a:lnTo>
                    <a:pt x="176594" y="898493"/>
                  </a:lnTo>
                  <a:lnTo>
                    <a:pt x="183737" y="904018"/>
                  </a:lnTo>
                  <a:lnTo>
                    <a:pt x="182975" y="910495"/>
                  </a:lnTo>
                  <a:lnTo>
                    <a:pt x="194881" y="928306"/>
                  </a:lnTo>
                  <a:lnTo>
                    <a:pt x="190405" y="943261"/>
                  </a:lnTo>
                  <a:lnTo>
                    <a:pt x="187833" y="948404"/>
                  </a:lnTo>
                  <a:lnTo>
                    <a:pt x="193357" y="954119"/>
                  </a:lnTo>
                  <a:lnTo>
                    <a:pt x="208597" y="960215"/>
                  </a:lnTo>
                  <a:lnTo>
                    <a:pt x="216217" y="957644"/>
                  </a:lnTo>
                  <a:lnTo>
                    <a:pt x="218408" y="962120"/>
                  </a:lnTo>
                  <a:lnTo>
                    <a:pt x="224504" y="959739"/>
                  </a:lnTo>
                  <a:lnTo>
                    <a:pt x="236220" y="963073"/>
                  </a:lnTo>
                  <a:lnTo>
                    <a:pt x="247079" y="972979"/>
                  </a:lnTo>
                  <a:lnTo>
                    <a:pt x="253937" y="976884"/>
                  </a:lnTo>
                  <a:lnTo>
                    <a:pt x="265462" y="991457"/>
                  </a:lnTo>
                  <a:lnTo>
                    <a:pt x="270986" y="997172"/>
                  </a:lnTo>
                  <a:lnTo>
                    <a:pt x="271367" y="1000315"/>
                  </a:lnTo>
                  <a:lnTo>
                    <a:pt x="274796" y="1001458"/>
                  </a:lnTo>
                  <a:lnTo>
                    <a:pt x="275368" y="1006221"/>
                  </a:lnTo>
                  <a:lnTo>
                    <a:pt x="286417" y="1017651"/>
                  </a:lnTo>
                  <a:lnTo>
                    <a:pt x="289560" y="1017270"/>
                  </a:lnTo>
                  <a:lnTo>
                    <a:pt x="293180" y="1019937"/>
                  </a:lnTo>
                  <a:lnTo>
                    <a:pt x="297275" y="1027462"/>
                  </a:lnTo>
                  <a:lnTo>
                    <a:pt x="306991" y="1027843"/>
                  </a:lnTo>
                  <a:lnTo>
                    <a:pt x="312515" y="1033558"/>
                  </a:lnTo>
                  <a:lnTo>
                    <a:pt x="317278" y="1032986"/>
                  </a:lnTo>
                  <a:lnTo>
                    <a:pt x="330327" y="1034510"/>
                  </a:lnTo>
                  <a:lnTo>
                    <a:pt x="333851" y="1037272"/>
                  </a:lnTo>
                  <a:lnTo>
                    <a:pt x="334804" y="1045178"/>
                  </a:lnTo>
                  <a:lnTo>
                    <a:pt x="336423" y="1044988"/>
                  </a:lnTo>
                  <a:lnTo>
                    <a:pt x="333851" y="1050036"/>
                  </a:lnTo>
                  <a:lnTo>
                    <a:pt x="340138" y="1049274"/>
                  </a:lnTo>
                  <a:lnTo>
                    <a:pt x="338995" y="1052608"/>
                  </a:lnTo>
                  <a:lnTo>
                    <a:pt x="344329" y="1056799"/>
                  </a:lnTo>
                  <a:lnTo>
                    <a:pt x="346520" y="1061275"/>
                  </a:lnTo>
                  <a:lnTo>
                    <a:pt x="344900" y="1061466"/>
                  </a:lnTo>
                  <a:lnTo>
                    <a:pt x="343567" y="1063276"/>
                  </a:lnTo>
                  <a:lnTo>
                    <a:pt x="350710" y="1068800"/>
                  </a:lnTo>
                  <a:lnTo>
                    <a:pt x="351092" y="1071944"/>
                  </a:lnTo>
                  <a:lnTo>
                    <a:pt x="354425" y="1073087"/>
                  </a:lnTo>
                  <a:lnTo>
                    <a:pt x="358997" y="1070896"/>
                  </a:lnTo>
                  <a:lnTo>
                    <a:pt x="365855" y="1074896"/>
                  </a:lnTo>
                  <a:lnTo>
                    <a:pt x="369284" y="1076039"/>
                  </a:lnTo>
                  <a:lnTo>
                    <a:pt x="368903" y="1085659"/>
                  </a:lnTo>
                  <a:lnTo>
                    <a:pt x="368141" y="1092232"/>
                  </a:lnTo>
                  <a:lnTo>
                    <a:pt x="364141" y="1099185"/>
                  </a:lnTo>
                  <a:lnTo>
                    <a:pt x="355663" y="1095375"/>
                  </a:lnTo>
                  <a:lnTo>
                    <a:pt x="343281" y="1098614"/>
                  </a:lnTo>
                  <a:lnTo>
                    <a:pt x="342709" y="1106710"/>
                  </a:lnTo>
                  <a:lnTo>
                    <a:pt x="338138" y="1108900"/>
                  </a:lnTo>
                  <a:lnTo>
                    <a:pt x="335375" y="1112425"/>
                  </a:lnTo>
                  <a:lnTo>
                    <a:pt x="333851" y="1112615"/>
                  </a:lnTo>
                  <a:lnTo>
                    <a:pt x="342900" y="1121092"/>
                  </a:lnTo>
                  <a:lnTo>
                    <a:pt x="343091" y="1122712"/>
                  </a:lnTo>
                  <a:lnTo>
                    <a:pt x="348425" y="1126807"/>
                  </a:lnTo>
                  <a:lnTo>
                    <a:pt x="347091" y="1128617"/>
                  </a:lnTo>
                  <a:lnTo>
                    <a:pt x="356521" y="1127379"/>
                  </a:lnTo>
                  <a:lnTo>
                    <a:pt x="359950" y="1128522"/>
                  </a:lnTo>
                  <a:lnTo>
                    <a:pt x="359569" y="1138238"/>
                  </a:lnTo>
                  <a:lnTo>
                    <a:pt x="354806" y="1138809"/>
                  </a:lnTo>
                  <a:lnTo>
                    <a:pt x="356806" y="1141762"/>
                  </a:lnTo>
                  <a:lnTo>
                    <a:pt x="355568" y="1145096"/>
                  </a:lnTo>
                  <a:lnTo>
                    <a:pt x="362331" y="1147477"/>
                  </a:lnTo>
                  <a:lnTo>
                    <a:pt x="362712" y="1150620"/>
                  </a:lnTo>
                  <a:lnTo>
                    <a:pt x="364903" y="1155192"/>
                  </a:lnTo>
                  <a:lnTo>
                    <a:pt x="370808" y="1151191"/>
                  </a:lnTo>
                  <a:lnTo>
                    <a:pt x="375761" y="1152239"/>
                  </a:lnTo>
                  <a:lnTo>
                    <a:pt x="373189" y="1157288"/>
                  </a:lnTo>
                  <a:lnTo>
                    <a:pt x="374237" y="1165193"/>
                  </a:lnTo>
                  <a:lnTo>
                    <a:pt x="375761" y="1165003"/>
                  </a:lnTo>
                  <a:lnTo>
                    <a:pt x="378333" y="1159859"/>
                  </a:lnTo>
                  <a:lnTo>
                    <a:pt x="394525" y="1161002"/>
                  </a:lnTo>
                  <a:lnTo>
                    <a:pt x="394525" y="1161002"/>
                  </a:lnTo>
                  <a:lnTo>
                    <a:pt x="396335" y="1162431"/>
                  </a:lnTo>
                  <a:lnTo>
                    <a:pt x="393954" y="1169098"/>
                  </a:lnTo>
                  <a:lnTo>
                    <a:pt x="400812" y="1173004"/>
                  </a:lnTo>
                  <a:lnTo>
                    <a:pt x="410337" y="1171861"/>
                  </a:lnTo>
                  <a:lnTo>
                    <a:pt x="420529" y="1164146"/>
                  </a:lnTo>
                  <a:lnTo>
                    <a:pt x="429101" y="1167860"/>
                  </a:lnTo>
                  <a:lnTo>
                    <a:pt x="435197" y="1165479"/>
                  </a:lnTo>
                  <a:lnTo>
                    <a:pt x="440531" y="1169575"/>
                  </a:lnTo>
                  <a:lnTo>
                    <a:pt x="442055" y="1169384"/>
                  </a:lnTo>
                  <a:lnTo>
                    <a:pt x="442722" y="1174147"/>
                  </a:lnTo>
                  <a:lnTo>
                    <a:pt x="451961" y="1171384"/>
                  </a:lnTo>
                  <a:lnTo>
                    <a:pt x="453580" y="1171099"/>
                  </a:lnTo>
                  <a:lnTo>
                    <a:pt x="453295" y="1169575"/>
                  </a:lnTo>
                  <a:lnTo>
                    <a:pt x="456533" y="1169194"/>
                  </a:lnTo>
                  <a:lnTo>
                    <a:pt x="459867" y="1170337"/>
                  </a:lnTo>
                  <a:lnTo>
                    <a:pt x="466344" y="1171099"/>
                  </a:lnTo>
                  <a:lnTo>
                    <a:pt x="479965" y="1177385"/>
                  </a:lnTo>
                  <a:lnTo>
                    <a:pt x="488251" y="1179576"/>
                  </a:lnTo>
                  <a:lnTo>
                    <a:pt x="496824" y="1183291"/>
                  </a:lnTo>
                  <a:lnTo>
                    <a:pt x="497396" y="1188053"/>
                  </a:lnTo>
                  <a:lnTo>
                    <a:pt x="511207" y="1183005"/>
                  </a:lnTo>
                  <a:lnTo>
                    <a:pt x="521017" y="1185005"/>
                  </a:lnTo>
                  <a:lnTo>
                    <a:pt x="527018" y="1193864"/>
                  </a:lnTo>
                  <a:lnTo>
                    <a:pt x="549307" y="1205484"/>
                  </a:lnTo>
                  <a:lnTo>
                    <a:pt x="555879" y="1206246"/>
                  </a:lnTo>
                  <a:lnTo>
                    <a:pt x="558832" y="1204246"/>
                  </a:lnTo>
                  <a:lnTo>
                    <a:pt x="560165" y="1215295"/>
                  </a:lnTo>
                  <a:lnTo>
                    <a:pt x="563785" y="1218057"/>
                  </a:lnTo>
                  <a:lnTo>
                    <a:pt x="571405" y="1215485"/>
                  </a:lnTo>
                  <a:lnTo>
                    <a:pt x="573786" y="1208723"/>
                  </a:lnTo>
                  <a:lnTo>
                    <a:pt x="579882" y="1206341"/>
                  </a:lnTo>
                  <a:lnTo>
                    <a:pt x="579120" y="1200055"/>
                  </a:lnTo>
                  <a:lnTo>
                    <a:pt x="583025" y="1193102"/>
                  </a:lnTo>
                  <a:lnTo>
                    <a:pt x="589312" y="1192339"/>
                  </a:lnTo>
                  <a:lnTo>
                    <a:pt x="591693" y="1198436"/>
                  </a:lnTo>
                  <a:lnTo>
                    <a:pt x="595122" y="1199579"/>
                  </a:lnTo>
                  <a:lnTo>
                    <a:pt x="599789" y="1199007"/>
                  </a:lnTo>
                  <a:lnTo>
                    <a:pt x="604361" y="1196816"/>
                  </a:lnTo>
                  <a:lnTo>
                    <a:pt x="608267" y="1189958"/>
                  </a:lnTo>
                  <a:lnTo>
                    <a:pt x="606076" y="1185386"/>
                  </a:lnTo>
                  <a:lnTo>
                    <a:pt x="604076" y="1182433"/>
                  </a:lnTo>
                  <a:lnTo>
                    <a:pt x="602933" y="1173004"/>
                  </a:lnTo>
                  <a:lnTo>
                    <a:pt x="605885" y="1171004"/>
                  </a:lnTo>
                  <a:lnTo>
                    <a:pt x="609409" y="1173766"/>
                  </a:lnTo>
                  <a:lnTo>
                    <a:pt x="615696" y="1172908"/>
                  </a:lnTo>
                  <a:lnTo>
                    <a:pt x="617315" y="1172718"/>
                  </a:lnTo>
                  <a:lnTo>
                    <a:pt x="623792" y="1173480"/>
                  </a:lnTo>
                  <a:lnTo>
                    <a:pt x="630746" y="1177481"/>
                  </a:lnTo>
                  <a:lnTo>
                    <a:pt x="635698" y="1178433"/>
                  </a:lnTo>
                  <a:lnTo>
                    <a:pt x="637604" y="1168527"/>
                  </a:lnTo>
                  <a:lnTo>
                    <a:pt x="643509" y="1164527"/>
                  </a:lnTo>
                  <a:lnTo>
                    <a:pt x="644271" y="1158049"/>
                  </a:lnTo>
                  <a:lnTo>
                    <a:pt x="648081" y="1149572"/>
                  </a:lnTo>
                  <a:lnTo>
                    <a:pt x="647033" y="1141666"/>
                  </a:lnTo>
                  <a:lnTo>
                    <a:pt x="651129" y="1136332"/>
                  </a:lnTo>
                  <a:lnTo>
                    <a:pt x="654558" y="1137475"/>
                  </a:lnTo>
                  <a:lnTo>
                    <a:pt x="651701" y="1128236"/>
                  </a:lnTo>
                  <a:lnTo>
                    <a:pt x="644462" y="1121188"/>
                  </a:lnTo>
                  <a:lnTo>
                    <a:pt x="643604" y="1114806"/>
                  </a:lnTo>
                  <a:lnTo>
                    <a:pt x="651510" y="1113854"/>
                  </a:lnTo>
                  <a:lnTo>
                    <a:pt x="654844" y="1114997"/>
                  </a:lnTo>
                  <a:lnTo>
                    <a:pt x="662559" y="1112425"/>
                  </a:lnTo>
                  <a:lnTo>
                    <a:pt x="662368" y="1110901"/>
                  </a:lnTo>
                  <a:lnTo>
                    <a:pt x="664559" y="1115378"/>
                  </a:lnTo>
                  <a:lnTo>
                    <a:pt x="668084" y="1118140"/>
                  </a:lnTo>
                  <a:lnTo>
                    <a:pt x="666559" y="1118330"/>
                  </a:lnTo>
                  <a:lnTo>
                    <a:pt x="666750" y="1119949"/>
                  </a:lnTo>
                  <a:lnTo>
                    <a:pt x="672275" y="1125664"/>
                  </a:lnTo>
                  <a:lnTo>
                    <a:pt x="679133" y="1129570"/>
                  </a:lnTo>
                  <a:lnTo>
                    <a:pt x="681514" y="1135666"/>
                  </a:lnTo>
                  <a:lnTo>
                    <a:pt x="680371" y="1138999"/>
                  </a:lnTo>
                  <a:lnTo>
                    <a:pt x="683895" y="1141762"/>
                  </a:lnTo>
                  <a:lnTo>
                    <a:pt x="687896" y="1147667"/>
                  </a:lnTo>
                  <a:lnTo>
                    <a:pt x="692277" y="1143953"/>
                  </a:lnTo>
                  <a:lnTo>
                    <a:pt x="698563" y="1143095"/>
                  </a:lnTo>
                  <a:lnTo>
                    <a:pt x="704088" y="1148810"/>
                  </a:lnTo>
                  <a:lnTo>
                    <a:pt x="718661" y="1150144"/>
                  </a:lnTo>
                  <a:lnTo>
                    <a:pt x="720662" y="1153097"/>
                  </a:lnTo>
                  <a:lnTo>
                    <a:pt x="723043" y="1159288"/>
                  </a:lnTo>
                  <a:lnTo>
                    <a:pt x="728377" y="1163383"/>
                  </a:lnTo>
                  <a:lnTo>
                    <a:pt x="731330" y="1161383"/>
                  </a:lnTo>
                  <a:lnTo>
                    <a:pt x="730758" y="1156716"/>
                  </a:lnTo>
                  <a:lnTo>
                    <a:pt x="733901" y="1156240"/>
                  </a:lnTo>
                  <a:lnTo>
                    <a:pt x="736854" y="1154335"/>
                  </a:lnTo>
                  <a:lnTo>
                    <a:pt x="739997" y="1153858"/>
                  </a:lnTo>
                  <a:lnTo>
                    <a:pt x="744093" y="1148524"/>
                  </a:lnTo>
                  <a:lnTo>
                    <a:pt x="750475" y="1147763"/>
                  </a:lnTo>
                  <a:lnTo>
                    <a:pt x="755713" y="1139095"/>
                  </a:lnTo>
                  <a:lnTo>
                    <a:pt x="758476" y="1135475"/>
                  </a:lnTo>
                  <a:lnTo>
                    <a:pt x="764858" y="1134713"/>
                  </a:lnTo>
                  <a:lnTo>
                    <a:pt x="769144" y="1143762"/>
                  </a:lnTo>
                  <a:lnTo>
                    <a:pt x="772954" y="1160907"/>
                  </a:lnTo>
                  <a:lnTo>
                    <a:pt x="776383" y="1162050"/>
                  </a:lnTo>
                  <a:lnTo>
                    <a:pt x="779717" y="1163288"/>
                  </a:lnTo>
                  <a:lnTo>
                    <a:pt x="790099" y="1157097"/>
                  </a:lnTo>
                  <a:lnTo>
                    <a:pt x="796671" y="1170718"/>
                  </a:lnTo>
                  <a:lnTo>
                    <a:pt x="802291" y="1189291"/>
                  </a:lnTo>
                  <a:lnTo>
                    <a:pt x="816483" y="1187482"/>
                  </a:lnTo>
                  <a:lnTo>
                    <a:pt x="820769" y="1183672"/>
                  </a:lnTo>
                  <a:lnTo>
                    <a:pt x="821150" y="1186815"/>
                  </a:lnTo>
                  <a:lnTo>
                    <a:pt x="824103" y="1184910"/>
                  </a:lnTo>
                  <a:lnTo>
                    <a:pt x="829437" y="1189006"/>
                  </a:lnTo>
                  <a:lnTo>
                    <a:pt x="833628" y="1183672"/>
                  </a:lnTo>
                  <a:lnTo>
                    <a:pt x="832771" y="1177385"/>
                  </a:lnTo>
                  <a:lnTo>
                    <a:pt x="837343" y="1175195"/>
                  </a:lnTo>
                  <a:lnTo>
                    <a:pt x="836962" y="1172051"/>
                  </a:lnTo>
                  <a:lnTo>
                    <a:pt x="844201" y="1166241"/>
                  </a:lnTo>
                  <a:lnTo>
                    <a:pt x="838676" y="1147763"/>
                  </a:lnTo>
                  <a:lnTo>
                    <a:pt x="845058" y="1122902"/>
                  </a:lnTo>
                  <a:lnTo>
                    <a:pt x="843534" y="1123093"/>
                  </a:lnTo>
                  <a:lnTo>
                    <a:pt x="841915" y="1110424"/>
                  </a:lnTo>
                  <a:lnTo>
                    <a:pt x="837152" y="1110996"/>
                  </a:lnTo>
                  <a:lnTo>
                    <a:pt x="844582" y="1081183"/>
                  </a:lnTo>
                  <a:lnTo>
                    <a:pt x="847344" y="1077658"/>
                  </a:lnTo>
                  <a:lnTo>
                    <a:pt x="847725" y="1068038"/>
                  </a:lnTo>
                  <a:lnTo>
                    <a:pt x="854202" y="1055941"/>
                  </a:lnTo>
                  <a:lnTo>
                    <a:pt x="856964" y="1052417"/>
                  </a:lnTo>
                  <a:lnTo>
                    <a:pt x="867823" y="1049369"/>
                  </a:lnTo>
                  <a:lnTo>
                    <a:pt x="870204" y="1042702"/>
                  </a:lnTo>
                  <a:lnTo>
                    <a:pt x="881253" y="1041273"/>
                  </a:lnTo>
                  <a:lnTo>
                    <a:pt x="889921" y="1033748"/>
                  </a:lnTo>
                  <a:lnTo>
                    <a:pt x="890873" y="1028795"/>
                  </a:lnTo>
                  <a:lnTo>
                    <a:pt x="893635" y="1025271"/>
                  </a:lnTo>
                  <a:lnTo>
                    <a:pt x="894588" y="1020318"/>
                  </a:lnTo>
                  <a:lnTo>
                    <a:pt x="899160" y="1018127"/>
                  </a:lnTo>
                  <a:lnTo>
                    <a:pt x="898874" y="1016603"/>
                  </a:lnTo>
                  <a:lnTo>
                    <a:pt x="900684" y="1017937"/>
                  </a:lnTo>
                  <a:lnTo>
                    <a:pt x="905256" y="1015746"/>
                  </a:lnTo>
                  <a:lnTo>
                    <a:pt x="900113" y="1000411"/>
                  </a:lnTo>
                  <a:lnTo>
                    <a:pt x="907733" y="984980"/>
                  </a:lnTo>
                  <a:lnTo>
                    <a:pt x="906875" y="978694"/>
                  </a:lnTo>
                  <a:lnTo>
                    <a:pt x="904494" y="972598"/>
                  </a:lnTo>
                  <a:lnTo>
                    <a:pt x="905923" y="970788"/>
                  </a:lnTo>
                  <a:lnTo>
                    <a:pt x="905066" y="964502"/>
                  </a:lnTo>
                  <a:lnTo>
                    <a:pt x="912781" y="961834"/>
                  </a:lnTo>
                  <a:lnTo>
                    <a:pt x="915734" y="959930"/>
                  </a:lnTo>
                  <a:lnTo>
                    <a:pt x="920877" y="962406"/>
                  </a:lnTo>
                  <a:lnTo>
                    <a:pt x="927163" y="961644"/>
                  </a:lnTo>
                  <a:lnTo>
                    <a:pt x="929926" y="958120"/>
                  </a:lnTo>
                  <a:lnTo>
                    <a:pt x="932307" y="964216"/>
                  </a:lnTo>
                  <a:lnTo>
                    <a:pt x="932307" y="964216"/>
                  </a:lnTo>
                  <a:lnTo>
                    <a:pt x="933736" y="962406"/>
                  </a:lnTo>
                  <a:lnTo>
                    <a:pt x="935736" y="965359"/>
                  </a:lnTo>
                  <a:lnTo>
                    <a:pt x="939260" y="968121"/>
                  </a:lnTo>
                  <a:lnTo>
                    <a:pt x="940594" y="966311"/>
                  </a:lnTo>
                  <a:lnTo>
                    <a:pt x="944023" y="967549"/>
                  </a:lnTo>
                  <a:lnTo>
                    <a:pt x="948118" y="962215"/>
                  </a:lnTo>
                  <a:lnTo>
                    <a:pt x="953072" y="963168"/>
                  </a:lnTo>
                  <a:lnTo>
                    <a:pt x="959930" y="967073"/>
                  </a:lnTo>
                  <a:lnTo>
                    <a:pt x="958977" y="972026"/>
                  </a:lnTo>
                  <a:lnTo>
                    <a:pt x="960787" y="973455"/>
                  </a:lnTo>
                  <a:lnTo>
                    <a:pt x="968693" y="972407"/>
                  </a:lnTo>
                  <a:lnTo>
                    <a:pt x="972217" y="975170"/>
                  </a:lnTo>
                  <a:lnTo>
                    <a:pt x="977360" y="977741"/>
                  </a:lnTo>
                  <a:lnTo>
                    <a:pt x="981932" y="975550"/>
                  </a:lnTo>
                  <a:lnTo>
                    <a:pt x="988790" y="979456"/>
                  </a:lnTo>
                  <a:lnTo>
                    <a:pt x="993743" y="980408"/>
                  </a:lnTo>
                  <a:lnTo>
                    <a:pt x="997458" y="984790"/>
                  </a:lnTo>
                  <a:lnTo>
                    <a:pt x="1002411" y="985742"/>
                  </a:lnTo>
                  <a:lnTo>
                    <a:pt x="1005364" y="983742"/>
                  </a:lnTo>
                  <a:lnTo>
                    <a:pt x="1012508" y="989266"/>
                  </a:lnTo>
                  <a:lnTo>
                    <a:pt x="1015079" y="984123"/>
                  </a:lnTo>
                  <a:lnTo>
                    <a:pt x="1018222" y="983742"/>
                  </a:lnTo>
                  <a:lnTo>
                    <a:pt x="1023938" y="978217"/>
                  </a:lnTo>
                  <a:lnTo>
                    <a:pt x="1027652" y="969740"/>
                  </a:lnTo>
                  <a:lnTo>
                    <a:pt x="1025843" y="968312"/>
                  </a:lnTo>
                  <a:lnTo>
                    <a:pt x="1027081" y="964978"/>
                  </a:lnTo>
                  <a:lnTo>
                    <a:pt x="1026890" y="963358"/>
                  </a:lnTo>
                  <a:lnTo>
                    <a:pt x="1011269" y="954119"/>
                  </a:lnTo>
                  <a:lnTo>
                    <a:pt x="1011079" y="952595"/>
                  </a:lnTo>
                  <a:lnTo>
                    <a:pt x="1010602" y="949452"/>
                  </a:lnTo>
                  <a:lnTo>
                    <a:pt x="1008697" y="946499"/>
                  </a:lnTo>
                  <a:lnTo>
                    <a:pt x="1013936" y="937736"/>
                  </a:lnTo>
                  <a:lnTo>
                    <a:pt x="1012603" y="926687"/>
                  </a:lnTo>
                  <a:lnTo>
                    <a:pt x="1020604" y="914495"/>
                  </a:lnTo>
                  <a:lnTo>
                    <a:pt x="1018604" y="898684"/>
                  </a:lnTo>
                  <a:lnTo>
                    <a:pt x="1022985" y="894969"/>
                  </a:lnTo>
                  <a:lnTo>
                    <a:pt x="1022699" y="893350"/>
                  </a:lnTo>
                  <a:lnTo>
                    <a:pt x="1030605" y="892302"/>
                  </a:lnTo>
                  <a:lnTo>
                    <a:pt x="1030034" y="887635"/>
                  </a:lnTo>
                  <a:lnTo>
                    <a:pt x="1026033" y="881729"/>
                  </a:lnTo>
                  <a:lnTo>
                    <a:pt x="1025843" y="880110"/>
                  </a:lnTo>
                  <a:lnTo>
                    <a:pt x="1022699" y="880491"/>
                  </a:lnTo>
                  <a:lnTo>
                    <a:pt x="1021747" y="872585"/>
                  </a:lnTo>
                  <a:lnTo>
                    <a:pt x="1022890" y="856488"/>
                  </a:lnTo>
                  <a:lnTo>
                    <a:pt x="1030700" y="855440"/>
                  </a:lnTo>
                  <a:lnTo>
                    <a:pt x="1029938" y="836295"/>
                  </a:lnTo>
                  <a:lnTo>
                    <a:pt x="1033272" y="837438"/>
                  </a:lnTo>
                  <a:lnTo>
                    <a:pt x="1034225" y="832580"/>
                  </a:lnTo>
                  <a:lnTo>
                    <a:pt x="1035368" y="829151"/>
                  </a:lnTo>
                  <a:lnTo>
                    <a:pt x="1036415" y="824294"/>
                  </a:lnTo>
                  <a:lnTo>
                    <a:pt x="1034415" y="808482"/>
                  </a:lnTo>
                  <a:lnTo>
                    <a:pt x="1030796" y="805720"/>
                  </a:lnTo>
                  <a:lnTo>
                    <a:pt x="1030034" y="799433"/>
                  </a:lnTo>
                  <a:lnTo>
                    <a:pt x="1026414" y="796671"/>
                  </a:lnTo>
                  <a:lnTo>
                    <a:pt x="1026033" y="793528"/>
                  </a:lnTo>
                  <a:lnTo>
                    <a:pt x="1030414" y="789718"/>
                  </a:lnTo>
                  <a:lnTo>
                    <a:pt x="1031558" y="786384"/>
                  </a:lnTo>
                  <a:lnTo>
                    <a:pt x="1030796" y="780097"/>
                  </a:lnTo>
                  <a:lnTo>
                    <a:pt x="1027176" y="777335"/>
                  </a:lnTo>
                  <a:lnTo>
                    <a:pt x="1023842" y="763334"/>
                  </a:lnTo>
                  <a:lnTo>
                    <a:pt x="1024604" y="756761"/>
                  </a:lnTo>
                  <a:lnTo>
                    <a:pt x="1024795" y="745522"/>
                  </a:lnTo>
                  <a:lnTo>
                    <a:pt x="1026700" y="735711"/>
                  </a:lnTo>
                  <a:lnTo>
                    <a:pt x="1026890" y="737235"/>
                  </a:lnTo>
                  <a:lnTo>
                    <a:pt x="1029081" y="728948"/>
                  </a:lnTo>
                  <a:lnTo>
                    <a:pt x="1036510" y="724757"/>
                  </a:lnTo>
                  <a:lnTo>
                    <a:pt x="1039273" y="721233"/>
                  </a:lnTo>
                  <a:lnTo>
                    <a:pt x="1037558" y="719900"/>
                  </a:lnTo>
                  <a:lnTo>
                    <a:pt x="1040892" y="708184"/>
                  </a:lnTo>
                  <a:lnTo>
                    <a:pt x="1035939" y="707231"/>
                  </a:lnTo>
                  <a:lnTo>
                    <a:pt x="1033748" y="702659"/>
                  </a:lnTo>
                  <a:lnTo>
                    <a:pt x="1037654" y="695801"/>
                  </a:lnTo>
                  <a:lnTo>
                    <a:pt x="1042797" y="698373"/>
                  </a:lnTo>
                  <a:lnTo>
                    <a:pt x="1048893" y="695992"/>
                  </a:lnTo>
                  <a:lnTo>
                    <a:pt x="1051465" y="690848"/>
                  </a:lnTo>
                  <a:lnTo>
                    <a:pt x="1056037" y="688657"/>
                  </a:lnTo>
                  <a:lnTo>
                    <a:pt x="1060133" y="696087"/>
                  </a:lnTo>
                  <a:lnTo>
                    <a:pt x="1068610" y="699897"/>
                  </a:lnTo>
                  <a:lnTo>
                    <a:pt x="1079278" y="695325"/>
                  </a:lnTo>
                  <a:lnTo>
                    <a:pt x="1086041" y="697611"/>
                  </a:lnTo>
                  <a:lnTo>
                    <a:pt x="1088612" y="705326"/>
                  </a:lnTo>
                  <a:lnTo>
                    <a:pt x="1085850" y="708851"/>
                  </a:lnTo>
                  <a:lnTo>
                    <a:pt x="1086231" y="712089"/>
                  </a:lnTo>
                  <a:lnTo>
                    <a:pt x="1088231" y="715042"/>
                  </a:lnTo>
                  <a:lnTo>
                    <a:pt x="1102805" y="716375"/>
                  </a:lnTo>
                  <a:lnTo>
                    <a:pt x="1112901" y="719900"/>
                  </a:lnTo>
                  <a:lnTo>
                    <a:pt x="1116997" y="714565"/>
                  </a:lnTo>
                  <a:lnTo>
                    <a:pt x="1121759" y="713899"/>
                  </a:lnTo>
                  <a:lnTo>
                    <a:pt x="1126903" y="716471"/>
                  </a:lnTo>
                  <a:lnTo>
                    <a:pt x="1128236" y="714756"/>
                  </a:lnTo>
                  <a:lnTo>
                    <a:pt x="1131665" y="715899"/>
                  </a:lnTo>
                  <a:lnTo>
                    <a:pt x="1136142" y="713708"/>
                  </a:lnTo>
                  <a:lnTo>
                    <a:pt x="1136618" y="716851"/>
                  </a:lnTo>
                  <a:lnTo>
                    <a:pt x="1149953" y="721614"/>
                  </a:lnTo>
                  <a:lnTo>
                    <a:pt x="1151763" y="722947"/>
                  </a:lnTo>
                  <a:lnTo>
                    <a:pt x="1152811" y="730853"/>
                  </a:lnTo>
                  <a:lnTo>
                    <a:pt x="1149382" y="729615"/>
                  </a:lnTo>
                  <a:lnTo>
                    <a:pt x="1146715" y="733234"/>
                  </a:lnTo>
                  <a:lnTo>
                    <a:pt x="1147096" y="736378"/>
                  </a:lnTo>
                  <a:lnTo>
                    <a:pt x="1155573" y="740093"/>
                  </a:lnTo>
                  <a:lnTo>
                    <a:pt x="1155764" y="741712"/>
                  </a:lnTo>
                  <a:lnTo>
                    <a:pt x="1153001" y="745236"/>
                  </a:lnTo>
                  <a:lnTo>
                    <a:pt x="1158335" y="749332"/>
                  </a:lnTo>
                  <a:lnTo>
                    <a:pt x="1160907" y="757047"/>
                  </a:lnTo>
                  <a:lnTo>
                    <a:pt x="1159573" y="758857"/>
                  </a:lnTo>
                  <a:lnTo>
                    <a:pt x="1156621" y="760857"/>
                  </a:lnTo>
                  <a:lnTo>
                    <a:pt x="1150334" y="774478"/>
                  </a:lnTo>
                  <a:lnTo>
                    <a:pt x="1155859" y="780193"/>
                  </a:lnTo>
                  <a:lnTo>
                    <a:pt x="1158812" y="778193"/>
                  </a:lnTo>
                  <a:lnTo>
                    <a:pt x="1160621" y="779526"/>
                  </a:lnTo>
                  <a:lnTo>
                    <a:pt x="1167860" y="773811"/>
                  </a:lnTo>
                  <a:lnTo>
                    <a:pt x="1175004" y="779335"/>
                  </a:lnTo>
                  <a:lnTo>
                    <a:pt x="1183291" y="768668"/>
                  </a:lnTo>
                  <a:lnTo>
                    <a:pt x="1187768" y="766477"/>
                  </a:lnTo>
                  <a:lnTo>
                    <a:pt x="1190530" y="762952"/>
                  </a:lnTo>
                  <a:lnTo>
                    <a:pt x="1195102" y="760762"/>
                  </a:lnTo>
                  <a:lnTo>
                    <a:pt x="1201388" y="759905"/>
                  </a:lnTo>
                  <a:lnTo>
                    <a:pt x="1211294" y="761905"/>
                  </a:lnTo>
                  <a:lnTo>
                    <a:pt x="1215962" y="761238"/>
                  </a:lnTo>
                  <a:lnTo>
                    <a:pt x="1226439" y="768001"/>
                  </a:lnTo>
                  <a:lnTo>
                    <a:pt x="1227487" y="763048"/>
                  </a:lnTo>
                  <a:lnTo>
                    <a:pt x="1232154" y="762381"/>
                  </a:lnTo>
                  <a:lnTo>
                    <a:pt x="1229582" y="754761"/>
                  </a:lnTo>
                  <a:lnTo>
                    <a:pt x="1231011" y="752951"/>
                  </a:lnTo>
                  <a:lnTo>
                    <a:pt x="1234345" y="754094"/>
                  </a:lnTo>
                  <a:lnTo>
                    <a:pt x="1240441" y="738950"/>
                  </a:lnTo>
                  <a:lnTo>
                    <a:pt x="1241774" y="737140"/>
                  </a:lnTo>
                  <a:lnTo>
                    <a:pt x="1236059" y="729805"/>
                  </a:lnTo>
                  <a:lnTo>
                    <a:pt x="1238250" y="721519"/>
                  </a:lnTo>
                  <a:lnTo>
                    <a:pt x="1246537" y="723709"/>
                  </a:lnTo>
                  <a:lnTo>
                    <a:pt x="1250061" y="726472"/>
                  </a:lnTo>
                  <a:lnTo>
                    <a:pt x="1247680" y="733139"/>
                  </a:lnTo>
                  <a:lnTo>
                    <a:pt x="1258157" y="739902"/>
                  </a:lnTo>
                  <a:lnTo>
                    <a:pt x="1262729" y="737711"/>
                  </a:lnTo>
                  <a:lnTo>
                    <a:pt x="1269587" y="741617"/>
                  </a:lnTo>
                  <a:lnTo>
                    <a:pt x="1273969" y="737806"/>
                  </a:lnTo>
                  <a:lnTo>
                    <a:pt x="1276541" y="732758"/>
                  </a:lnTo>
                  <a:lnTo>
                    <a:pt x="1281684" y="735235"/>
                  </a:lnTo>
                  <a:lnTo>
                    <a:pt x="1289304" y="732663"/>
                  </a:lnTo>
                  <a:lnTo>
                    <a:pt x="1301020" y="735997"/>
                  </a:lnTo>
                  <a:lnTo>
                    <a:pt x="1316831" y="746855"/>
                  </a:lnTo>
                  <a:lnTo>
                    <a:pt x="1321118" y="755904"/>
                  </a:lnTo>
                  <a:lnTo>
                    <a:pt x="1327690" y="756666"/>
                  </a:lnTo>
                  <a:lnTo>
                    <a:pt x="1335214" y="765334"/>
                  </a:lnTo>
                  <a:lnTo>
                    <a:pt x="1343882" y="770668"/>
                  </a:lnTo>
                  <a:lnTo>
                    <a:pt x="1350645" y="772954"/>
                  </a:lnTo>
                  <a:lnTo>
                    <a:pt x="1356931" y="772192"/>
                  </a:lnTo>
                  <a:lnTo>
                    <a:pt x="1361885" y="773144"/>
                  </a:lnTo>
                  <a:lnTo>
                    <a:pt x="1365599" y="777526"/>
                  </a:lnTo>
                  <a:lnTo>
                    <a:pt x="1374267" y="770001"/>
                  </a:lnTo>
                  <a:lnTo>
                    <a:pt x="1378268" y="775906"/>
                  </a:lnTo>
                  <a:lnTo>
                    <a:pt x="1381792" y="778669"/>
                  </a:lnTo>
                  <a:lnTo>
                    <a:pt x="1385126" y="779812"/>
                  </a:lnTo>
                  <a:lnTo>
                    <a:pt x="1398937" y="787718"/>
                  </a:lnTo>
                  <a:lnTo>
                    <a:pt x="1401032" y="803434"/>
                  </a:lnTo>
                  <a:lnTo>
                    <a:pt x="1406938" y="812292"/>
                  </a:lnTo>
                  <a:lnTo>
                    <a:pt x="1425512" y="819531"/>
                  </a:lnTo>
                  <a:lnTo>
                    <a:pt x="1432179" y="809149"/>
                  </a:lnTo>
                  <a:lnTo>
                    <a:pt x="1433798" y="808863"/>
                  </a:lnTo>
                  <a:lnTo>
                    <a:pt x="1432941" y="802577"/>
                  </a:lnTo>
                  <a:lnTo>
                    <a:pt x="1434370" y="800767"/>
                  </a:lnTo>
                  <a:lnTo>
                    <a:pt x="1439513" y="803338"/>
                  </a:lnTo>
                  <a:lnTo>
                    <a:pt x="1442180" y="799814"/>
                  </a:lnTo>
                  <a:lnTo>
                    <a:pt x="1446752" y="797623"/>
                  </a:lnTo>
                  <a:lnTo>
                    <a:pt x="1440275" y="796862"/>
                  </a:lnTo>
                  <a:lnTo>
                    <a:pt x="1438466" y="795433"/>
                  </a:lnTo>
                  <a:lnTo>
                    <a:pt x="1440085" y="795242"/>
                  </a:lnTo>
                  <a:lnTo>
                    <a:pt x="1442752" y="791718"/>
                  </a:lnTo>
                  <a:lnTo>
                    <a:pt x="1446181" y="792861"/>
                  </a:lnTo>
                  <a:lnTo>
                    <a:pt x="1447133" y="788003"/>
                  </a:lnTo>
                  <a:lnTo>
                    <a:pt x="1445323" y="786575"/>
                  </a:lnTo>
                  <a:lnTo>
                    <a:pt x="1441990" y="785431"/>
                  </a:lnTo>
                  <a:lnTo>
                    <a:pt x="1441799" y="783812"/>
                  </a:lnTo>
                  <a:lnTo>
                    <a:pt x="1440371" y="785622"/>
                  </a:lnTo>
                  <a:lnTo>
                    <a:pt x="1438466" y="782669"/>
                  </a:lnTo>
                  <a:lnTo>
                    <a:pt x="1439227" y="776097"/>
                  </a:lnTo>
                  <a:lnTo>
                    <a:pt x="1444181" y="777145"/>
                  </a:lnTo>
                  <a:lnTo>
                    <a:pt x="1444752" y="781812"/>
                  </a:lnTo>
                  <a:lnTo>
                    <a:pt x="1449705" y="782860"/>
                  </a:lnTo>
                  <a:lnTo>
                    <a:pt x="1452848" y="782384"/>
                  </a:lnTo>
                  <a:lnTo>
                    <a:pt x="1454182" y="780669"/>
                  </a:lnTo>
                  <a:lnTo>
                    <a:pt x="1455611" y="778859"/>
                  </a:lnTo>
                  <a:lnTo>
                    <a:pt x="1458182" y="773716"/>
                  </a:lnTo>
                  <a:lnTo>
                    <a:pt x="1449229" y="766858"/>
                  </a:lnTo>
                  <a:lnTo>
                    <a:pt x="1450467" y="763429"/>
                  </a:lnTo>
                  <a:lnTo>
                    <a:pt x="1453420" y="761524"/>
                  </a:lnTo>
                  <a:lnTo>
                    <a:pt x="1452943" y="758380"/>
                  </a:lnTo>
                  <a:lnTo>
                    <a:pt x="1454182" y="754951"/>
                  </a:lnTo>
                  <a:lnTo>
                    <a:pt x="1443895" y="749903"/>
                  </a:lnTo>
                  <a:lnTo>
                    <a:pt x="1431989" y="744950"/>
                  </a:lnTo>
                  <a:lnTo>
                    <a:pt x="1428845" y="745331"/>
                  </a:lnTo>
                  <a:lnTo>
                    <a:pt x="1417606" y="745236"/>
                  </a:lnTo>
                  <a:lnTo>
                    <a:pt x="1414081" y="742474"/>
                  </a:lnTo>
                  <a:lnTo>
                    <a:pt x="1412081" y="739521"/>
                  </a:lnTo>
                  <a:lnTo>
                    <a:pt x="1413034" y="734568"/>
                  </a:lnTo>
                  <a:lnTo>
                    <a:pt x="1413796" y="728091"/>
                  </a:lnTo>
                  <a:lnTo>
                    <a:pt x="1415225" y="726281"/>
                  </a:lnTo>
                  <a:lnTo>
                    <a:pt x="1412843" y="720185"/>
                  </a:lnTo>
                  <a:lnTo>
                    <a:pt x="1409510" y="718947"/>
                  </a:lnTo>
                  <a:lnTo>
                    <a:pt x="1402747" y="716661"/>
                  </a:lnTo>
                  <a:lnTo>
                    <a:pt x="1398842" y="723519"/>
                  </a:lnTo>
                  <a:lnTo>
                    <a:pt x="1394079" y="724186"/>
                  </a:lnTo>
                  <a:lnTo>
                    <a:pt x="1392936" y="727519"/>
                  </a:lnTo>
                  <a:lnTo>
                    <a:pt x="1391317" y="727710"/>
                  </a:lnTo>
                  <a:lnTo>
                    <a:pt x="1386935" y="718661"/>
                  </a:lnTo>
                  <a:lnTo>
                    <a:pt x="1391317" y="714851"/>
                  </a:lnTo>
                  <a:lnTo>
                    <a:pt x="1388935" y="708755"/>
                  </a:lnTo>
                  <a:lnTo>
                    <a:pt x="1395031" y="706374"/>
                  </a:lnTo>
                  <a:lnTo>
                    <a:pt x="1399794" y="705802"/>
                  </a:lnTo>
                  <a:lnTo>
                    <a:pt x="1402366" y="700659"/>
                  </a:lnTo>
                  <a:lnTo>
                    <a:pt x="1403318" y="695706"/>
                  </a:lnTo>
                  <a:lnTo>
                    <a:pt x="1404842" y="695515"/>
                  </a:lnTo>
                  <a:lnTo>
                    <a:pt x="1408271" y="696659"/>
                  </a:lnTo>
                  <a:lnTo>
                    <a:pt x="1409986" y="698087"/>
                  </a:lnTo>
                  <a:lnTo>
                    <a:pt x="1409033" y="690181"/>
                  </a:lnTo>
                  <a:lnTo>
                    <a:pt x="1413986" y="691134"/>
                  </a:lnTo>
                  <a:lnTo>
                    <a:pt x="1415129" y="687800"/>
                  </a:lnTo>
                  <a:lnTo>
                    <a:pt x="1418082" y="685800"/>
                  </a:lnTo>
                  <a:lnTo>
                    <a:pt x="1416272" y="684467"/>
                  </a:lnTo>
                  <a:lnTo>
                    <a:pt x="1418844" y="679323"/>
                  </a:lnTo>
                  <a:lnTo>
                    <a:pt x="1415510" y="678085"/>
                  </a:lnTo>
                  <a:lnTo>
                    <a:pt x="1416844" y="676370"/>
                  </a:lnTo>
                  <a:lnTo>
                    <a:pt x="1414939" y="673418"/>
                  </a:lnTo>
                  <a:lnTo>
                    <a:pt x="1416082" y="669988"/>
                  </a:lnTo>
                  <a:lnTo>
                    <a:pt x="1423988" y="669036"/>
                  </a:lnTo>
                  <a:lnTo>
                    <a:pt x="1430084" y="666655"/>
                  </a:lnTo>
                  <a:lnTo>
                    <a:pt x="1432179" y="658368"/>
                  </a:lnTo>
                  <a:lnTo>
                    <a:pt x="1427035" y="655796"/>
                  </a:lnTo>
                  <a:lnTo>
                    <a:pt x="1427893" y="649319"/>
                  </a:lnTo>
                  <a:lnTo>
                    <a:pt x="1426083" y="647890"/>
                  </a:lnTo>
                  <a:lnTo>
                    <a:pt x="1424273" y="646557"/>
                  </a:lnTo>
                  <a:lnTo>
                    <a:pt x="1431989" y="643985"/>
                  </a:lnTo>
                  <a:lnTo>
                    <a:pt x="1435513" y="646652"/>
                  </a:lnTo>
                  <a:lnTo>
                    <a:pt x="1436084" y="638651"/>
                  </a:lnTo>
                  <a:lnTo>
                    <a:pt x="1432179" y="632651"/>
                  </a:lnTo>
                  <a:lnTo>
                    <a:pt x="1433131" y="627793"/>
                  </a:lnTo>
                  <a:lnTo>
                    <a:pt x="1443418" y="632841"/>
                  </a:lnTo>
                  <a:lnTo>
                    <a:pt x="1451324" y="631888"/>
                  </a:lnTo>
                  <a:lnTo>
                    <a:pt x="1453039" y="633222"/>
                  </a:lnTo>
                  <a:lnTo>
                    <a:pt x="1454468" y="631507"/>
                  </a:lnTo>
                  <a:lnTo>
                    <a:pt x="1456277" y="632841"/>
                  </a:lnTo>
                  <a:lnTo>
                    <a:pt x="1462564" y="632079"/>
                  </a:lnTo>
                  <a:lnTo>
                    <a:pt x="1465326" y="628459"/>
                  </a:lnTo>
                  <a:lnTo>
                    <a:pt x="1464659" y="623697"/>
                  </a:lnTo>
                  <a:lnTo>
                    <a:pt x="1460754" y="617792"/>
                  </a:lnTo>
                  <a:lnTo>
                    <a:pt x="1468660" y="616839"/>
                  </a:lnTo>
                  <a:lnTo>
                    <a:pt x="1468660" y="61683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4" name="Volný tvar: obrazec 33">
              <a:extLst>
                <a:ext uri="{FF2B5EF4-FFF2-40B4-BE49-F238E27FC236}">
                  <a16:creationId xmlns:a16="http://schemas.microsoft.com/office/drawing/2014/main" id="{76DDDEC6-4717-3386-B44F-052148E5632E}"/>
                </a:ext>
              </a:extLst>
            </p:cNvPr>
            <p:cNvSpPr>
              <a:spLocks noChangeAspect="1"/>
            </p:cNvSpPr>
            <p:nvPr userDrawn="1">
              <p:custDataLst>
                <p:tags r:id="rId6"/>
              </p:custDataLst>
            </p:nvPr>
          </p:nvSpPr>
          <p:spPr>
            <a:xfrm>
              <a:off x="6140100" y="3632692"/>
              <a:ext cx="1502283" cy="1161573"/>
            </a:xfrm>
            <a:custGeom>
              <a:avLst/>
              <a:gdLst>
                <a:gd name="connsiteX0" fmla="*/ 1496282 w 1502283"/>
                <a:gd name="connsiteY0" fmla="*/ 857155 h 1161573"/>
                <a:gd name="connsiteX1" fmla="*/ 1495711 w 1502283"/>
                <a:gd name="connsiteY1" fmla="*/ 852392 h 1161573"/>
                <a:gd name="connsiteX2" fmla="*/ 1497330 w 1502283"/>
                <a:gd name="connsiteY2" fmla="*/ 852202 h 1161573"/>
                <a:gd name="connsiteX3" fmla="*/ 1495520 w 1502283"/>
                <a:gd name="connsiteY3" fmla="*/ 850868 h 1161573"/>
                <a:gd name="connsiteX4" fmla="*/ 1498282 w 1502283"/>
                <a:gd name="connsiteY4" fmla="*/ 847344 h 1161573"/>
                <a:gd name="connsiteX5" fmla="*/ 1490567 w 1502283"/>
                <a:gd name="connsiteY5" fmla="*/ 849916 h 1161573"/>
                <a:gd name="connsiteX6" fmla="*/ 1486853 w 1502283"/>
                <a:gd name="connsiteY6" fmla="*/ 845630 h 1161573"/>
                <a:gd name="connsiteX7" fmla="*/ 1487996 w 1502283"/>
                <a:gd name="connsiteY7" fmla="*/ 842296 h 1161573"/>
                <a:gd name="connsiteX8" fmla="*/ 1481899 w 1502283"/>
                <a:gd name="connsiteY8" fmla="*/ 831818 h 1161573"/>
                <a:gd name="connsiteX9" fmla="*/ 1469803 w 1502283"/>
                <a:gd name="connsiteY9" fmla="*/ 812483 h 1161573"/>
                <a:gd name="connsiteX10" fmla="*/ 1458563 w 1502283"/>
                <a:gd name="connsiteY10" fmla="*/ 812292 h 1161573"/>
                <a:gd name="connsiteX11" fmla="*/ 1442371 w 1502283"/>
                <a:gd name="connsiteY11" fmla="*/ 798290 h 1161573"/>
                <a:gd name="connsiteX12" fmla="*/ 1437608 w 1502283"/>
                <a:gd name="connsiteY12" fmla="*/ 798862 h 1161573"/>
                <a:gd name="connsiteX13" fmla="*/ 1433513 w 1502283"/>
                <a:gd name="connsiteY13" fmla="*/ 804196 h 1161573"/>
                <a:gd name="connsiteX14" fmla="*/ 1424845 w 1502283"/>
                <a:gd name="connsiteY14" fmla="*/ 798862 h 1161573"/>
                <a:gd name="connsiteX15" fmla="*/ 1432274 w 1502283"/>
                <a:gd name="connsiteY15" fmla="*/ 781907 h 1161573"/>
                <a:gd name="connsiteX16" fmla="*/ 1431703 w 1502283"/>
                <a:gd name="connsiteY16" fmla="*/ 777145 h 1161573"/>
                <a:gd name="connsiteX17" fmla="*/ 1434465 w 1502283"/>
                <a:gd name="connsiteY17" fmla="*/ 773621 h 1161573"/>
                <a:gd name="connsiteX18" fmla="*/ 1425797 w 1502283"/>
                <a:gd name="connsiteY18" fmla="*/ 768287 h 1161573"/>
                <a:gd name="connsiteX19" fmla="*/ 1411796 w 1502283"/>
                <a:gd name="connsiteY19" fmla="*/ 758857 h 1161573"/>
                <a:gd name="connsiteX20" fmla="*/ 1402937 w 1502283"/>
                <a:gd name="connsiteY20" fmla="*/ 764762 h 1161573"/>
                <a:gd name="connsiteX21" fmla="*/ 1400937 w 1502283"/>
                <a:gd name="connsiteY21" fmla="*/ 761809 h 1161573"/>
                <a:gd name="connsiteX22" fmla="*/ 1394365 w 1502283"/>
                <a:gd name="connsiteY22" fmla="*/ 748189 h 1161573"/>
                <a:gd name="connsiteX23" fmla="*/ 1395413 w 1502283"/>
                <a:gd name="connsiteY23" fmla="*/ 756095 h 1161573"/>
                <a:gd name="connsiteX24" fmla="*/ 1381601 w 1502283"/>
                <a:gd name="connsiteY24" fmla="*/ 761048 h 1161573"/>
                <a:gd name="connsiteX25" fmla="*/ 1375886 w 1502283"/>
                <a:gd name="connsiteY25" fmla="*/ 753809 h 1161573"/>
                <a:gd name="connsiteX26" fmla="*/ 1372933 w 1502283"/>
                <a:gd name="connsiteY26" fmla="*/ 755809 h 1161573"/>
                <a:gd name="connsiteX27" fmla="*/ 1372743 w 1502283"/>
                <a:gd name="connsiteY27" fmla="*/ 754190 h 1161573"/>
                <a:gd name="connsiteX28" fmla="*/ 1366838 w 1502283"/>
                <a:gd name="connsiteY28" fmla="*/ 758190 h 1161573"/>
                <a:gd name="connsiteX29" fmla="*/ 1365028 w 1502283"/>
                <a:gd name="connsiteY29" fmla="*/ 756857 h 1161573"/>
                <a:gd name="connsiteX30" fmla="*/ 1362265 w 1502283"/>
                <a:gd name="connsiteY30" fmla="*/ 760381 h 1161573"/>
                <a:gd name="connsiteX31" fmla="*/ 1360456 w 1502283"/>
                <a:gd name="connsiteY31" fmla="*/ 759047 h 1161573"/>
                <a:gd name="connsiteX32" fmla="*/ 1348645 w 1502283"/>
                <a:gd name="connsiteY32" fmla="*/ 766953 h 1161573"/>
                <a:gd name="connsiteX33" fmla="*/ 1339596 w 1502283"/>
                <a:gd name="connsiteY33" fmla="*/ 758476 h 1161573"/>
                <a:gd name="connsiteX34" fmla="*/ 1337977 w 1502283"/>
                <a:gd name="connsiteY34" fmla="*/ 758666 h 1161573"/>
                <a:gd name="connsiteX35" fmla="*/ 1328642 w 1502283"/>
                <a:gd name="connsiteY35" fmla="*/ 748665 h 1161573"/>
                <a:gd name="connsiteX36" fmla="*/ 1321689 w 1502283"/>
                <a:gd name="connsiteY36" fmla="*/ 744760 h 1161573"/>
                <a:gd name="connsiteX37" fmla="*/ 1320260 w 1502283"/>
                <a:gd name="connsiteY37" fmla="*/ 733711 h 1161573"/>
                <a:gd name="connsiteX38" fmla="*/ 1309402 w 1502283"/>
                <a:gd name="connsiteY38" fmla="*/ 736663 h 1161573"/>
                <a:gd name="connsiteX39" fmla="*/ 1307021 w 1502283"/>
                <a:gd name="connsiteY39" fmla="*/ 743331 h 1161573"/>
                <a:gd name="connsiteX40" fmla="*/ 1304830 w 1502283"/>
                <a:gd name="connsiteY40" fmla="*/ 738759 h 1161573"/>
                <a:gd name="connsiteX41" fmla="*/ 1303496 w 1502283"/>
                <a:gd name="connsiteY41" fmla="*/ 740569 h 1161573"/>
                <a:gd name="connsiteX42" fmla="*/ 1300163 w 1502283"/>
                <a:gd name="connsiteY42" fmla="*/ 739426 h 1161573"/>
                <a:gd name="connsiteX43" fmla="*/ 1298829 w 1502283"/>
                <a:gd name="connsiteY43" fmla="*/ 741236 h 1161573"/>
                <a:gd name="connsiteX44" fmla="*/ 1292162 w 1502283"/>
                <a:gd name="connsiteY44" fmla="*/ 738854 h 1161573"/>
                <a:gd name="connsiteX45" fmla="*/ 1290352 w 1502283"/>
                <a:gd name="connsiteY45" fmla="*/ 737521 h 1161573"/>
                <a:gd name="connsiteX46" fmla="*/ 1290161 w 1502283"/>
                <a:gd name="connsiteY46" fmla="*/ 735901 h 1161573"/>
                <a:gd name="connsiteX47" fmla="*/ 1291304 w 1502283"/>
                <a:gd name="connsiteY47" fmla="*/ 732568 h 1161573"/>
                <a:gd name="connsiteX48" fmla="*/ 1289495 w 1502283"/>
                <a:gd name="connsiteY48" fmla="*/ 731234 h 1161573"/>
                <a:gd name="connsiteX49" fmla="*/ 1293590 w 1502283"/>
                <a:gd name="connsiteY49" fmla="*/ 725900 h 1161573"/>
                <a:gd name="connsiteX50" fmla="*/ 1293209 w 1502283"/>
                <a:gd name="connsiteY50" fmla="*/ 722757 h 1161573"/>
                <a:gd name="connsiteX51" fmla="*/ 1294352 w 1502283"/>
                <a:gd name="connsiteY51" fmla="*/ 719423 h 1161573"/>
                <a:gd name="connsiteX52" fmla="*/ 1292352 w 1502283"/>
                <a:gd name="connsiteY52" fmla="*/ 716471 h 1161573"/>
                <a:gd name="connsiteX53" fmla="*/ 1294543 w 1502283"/>
                <a:gd name="connsiteY53" fmla="*/ 708184 h 1161573"/>
                <a:gd name="connsiteX54" fmla="*/ 1289209 w 1502283"/>
                <a:gd name="connsiteY54" fmla="*/ 704088 h 1161573"/>
                <a:gd name="connsiteX55" fmla="*/ 1288066 w 1502283"/>
                <a:gd name="connsiteY55" fmla="*/ 707422 h 1161573"/>
                <a:gd name="connsiteX56" fmla="*/ 1281113 w 1502283"/>
                <a:gd name="connsiteY56" fmla="*/ 703517 h 1161573"/>
                <a:gd name="connsiteX57" fmla="*/ 1282256 w 1502283"/>
                <a:gd name="connsiteY57" fmla="*/ 700183 h 1161573"/>
                <a:gd name="connsiteX58" fmla="*/ 1276922 w 1502283"/>
                <a:gd name="connsiteY58" fmla="*/ 696087 h 1161573"/>
                <a:gd name="connsiteX59" fmla="*/ 1269397 w 1502283"/>
                <a:gd name="connsiteY59" fmla="*/ 700278 h 1161573"/>
                <a:gd name="connsiteX60" fmla="*/ 1266063 w 1502283"/>
                <a:gd name="connsiteY60" fmla="*/ 699135 h 1161573"/>
                <a:gd name="connsiteX61" fmla="*/ 1259777 w 1502283"/>
                <a:gd name="connsiteY61" fmla="*/ 699897 h 1161573"/>
                <a:gd name="connsiteX62" fmla="*/ 1257586 w 1502283"/>
                <a:gd name="connsiteY62" fmla="*/ 695325 h 1161573"/>
                <a:gd name="connsiteX63" fmla="*/ 1254252 w 1502283"/>
                <a:gd name="connsiteY63" fmla="*/ 694182 h 1161573"/>
                <a:gd name="connsiteX64" fmla="*/ 1252633 w 1502283"/>
                <a:gd name="connsiteY64" fmla="*/ 694373 h 1161573"/>
                <a:gd name="connsiteX65" fmla="*/ 1251299 w 1502283"/>
                <a:gd name="connsiteY65" fmla="*/ 696182 h 1161573"/>
                <a:gd name="connsiteX66" fmla="*/ 1244822 w 1502283"/>
                <a:gd name="connsiteY66" fmla="*/ 695420 h 1161573"/>
                <a:gd name="connsiteX67" fmla="*/ 1245013 w 1502283"/>
                <a:gd name="connsiteY67" fmla="*/ 697040 h 1161573"/>
                <a:gd name="connsiteX68" fmla="*/ 1241489 w 1502283"/>
                <a:gd name="connsiteY68" fmla="*/ 694277 h 1161573"/>
                <a:gd name="connsiteX69" fmla="*/ 1238726 w 1502283"/>
                <a:gd name="connsiteY69" fmla="*/ 697801 h 1161573"/>
                <a:gd name="connsiteX70" fmla="*/ 1233964 w 1502283"/>
                <a:gd name="connsiteY70" fmla="*/ 698373 h 1161573"/>
                <a:gd name="connsiteX71" fmla="*/ 1233964 w 1502283"/>
                <a:gd name="connsiteY71" fmla="*/ 685514 h 1161573"/>
                <a:gd name="connsiteX72" fmla="*/ 1230344 w 1502283"/>
                <a:gd name="connsiteY72" fmla="*/ 682752 h 1161573"/>
                <a:gd name="connsiteX73" fmla="*/ 1227963 w 1502283"/>
                <a:gd name="connsiteY73" fmla="*/ 676656 h 1161573"/>
                <a:gd name="connsiteX74" fmla="*/ 1223010 w 1502283"/>
                <a:gd name="connsiteY74" fmla="*/ 675704 h 1161573"/>
                <a:gd name="connsiteX75" fmla="*/ 1218724 w 1502283"/>
                <a:gd name="connsiteY75" fmla="*/ 679418 h 1161573"/>
                <a:gd name="connsiteX76" fmla="*/ 1217105 w 1502283"/>
                <a:gd name="connsiteY76" fmla="*/ 679609 h 1161573"/>
                <a:gd name="connsiteX77" fmla="*/ 1215866 w 1502283"/>
                <a:gd name="connsiteY77" fmla="*/ 670179 h 1161573"/>
                <a:gd name="connsiteX78" fmla="*/ 1199674 w 1502283"/>
                <a:gd name="connsiteY78" fmla="*/ 669036 h 1161573"/>
                <a:gd name="connsiteX79" fmla="*/ 1197293 w 1502283"/>
                <a:gd name="connsiteY79" fmla="*/ 675704 h 1161573"/>
                <a:gd name="connsiteX80" fmla="*/ 1194340 w 1502283"/>
                <a:gd name="connsiteY80" fmla="*/ 677704 h 1161573"/>
                <a:gd name="connsiteX81" fmla="*/ 1192339 w 1502283"/>
                <a:gd name="connsiteY81" fmla="*/ 674751 h 1161573"/>
                <a:gd name="connsiteX82" fmla="*/ 1193482 w 1502283"/>
                <a:gd name="connsiteY82" fmla="*/ 671417 h 1161573"/>
                <a:gd name="connsiteX83" fmla="*/ 1195864 w 1502283"/>
                <a:gd name="connsiteY83" fmla="*/ 664750 h 1161573"/>
                <a:gd name="connsiteX84" fmla="*/ 1195483 w 1502283"/>
                <a:gd name="connsiteY84" fmla="*/ 661607 h 1161573"/>
                <a:gd name="connsiteX85" fmla="*/ 1199579 w 1502283"/>
                <a:gd name="connsiteY85" fmla="*/ 656273 h 1161573"/>
                <a:gd name="connsiteX86" fmla="*/ 1200531 w 1502283"/>
                <a:gd name="connsiteY86" fmla="*/ 651320 h 1161573"/>
                <a:gd name="connsiteX87" fmla="*/ 1200912 w 1502283"/>
                <a:gd name="connsiteY87" fmla="*/ 641604 h 1161573"/>
                <a:gd name="connsiteX88" fmla="*/ 1198721 w 1502283"/>
                <a:gd name="connsiteY88" fmla="*/ 637032 h 1161573"/>
                <a:gd name="connsiteX89" fmla="*/ 1198150 w 1502283"/>
                <a:gd name="connsiteY89" fmla="*/ 632270 h 1161573"/>
                <a:gd name="connsiteX90" fmla="*/ 1196149 w 1502283"/>
                <a:gd name="connsiteY90" fmla="*/ 629317 h 1161573"/>
                <a:gd name="connsiteX91" fmla="*/ 1191197 w 1502283"/>
                <a:gd name="connsiteY91" fmla="*/ 628364 h 1161573"/>
                <a:gd name="connsiteX92" fmla="*/ 1187577 w 1502283"/>
                <a:gd name="connsiteY92" fmla="*/ 612743 h 1161573"/>
                <a:gd name="connsiteX93" fmla="*/ 1185767 w 1502283"/>
                <a:gd name="connsiteY93" fmla="*/ 611410 h 1161573"/>
                <a:gd name="connsiteX94" fmla="*/ 1177671 w 1502283"/>
                <a:gd name="connsiteY94" fmla="*/ 610838 h 1161573"/>
                <a:gd name="connsiteX95" fmla="*/ 1167384 w 1502283"/>
                <a:gd name="connsiteY95" fmla="*/ 618554 h 1161573"/>
                <a:gd name="connsiteX96" fmla="*/ 1156525 w 1502283"/>
                <a:gd name="connsiteY96" fmla="*/ 621506 h 1161573"/>
                <a:gd name="connsiteX97" fmla="*/ 1151954 w 1502283"/>
                <a:gd name="connsiteY97" fmla="*/ 623697 h 1161573"/>
                <a:gd name="connsiteX98" fmla="*/ 1148620 w 1502283"/>
                <a:gd name="connsiteY98" fmla="*/ 622554 h 1161573"/>
                <a:gd name="connsiteX99" fmla="*/ 1145667 w 1502283"/>
                <a:gd name="connsiteY99" fmla="*/ 624554 h 1161573"/>
                <a:gd name="connsiteX100" fmla="*/ 1142524 w 1502283"/>
                <a:gd name="connsiteY100" fmla="*/ 624935 h 1161573"/>
                <a:gd name="connsiteX101" fmla="*/ 1138619 w 1502283"/>
                <a:gd name="connsiteY101" fmla="*/ 631888 h 1161573"/>
                <a:gd name="connsiteX102" fmla="*/ 1135094 w 1502283"/>
                <a:gd name="connsiteY102" fmla="*/ 629126 h 1161573"/>
                <a:gd name="connsiteX103" fmla="*/ 1130618 w 1502283"/>
                <a:gd name="connsiteY103" fmla="*/ 631317 h 1161573"/>
                <a:gd name="connsiteX104" fmla="*/ 1114235 w 1502283"/>
                <a:gd name="connsiteY104" fmla="*/ 628555 h 1161573"/>
                <a:gd name="connsiteX105" fmla="*/ 1120140 w 1502283"/>
                <a:gd name="connsiteY105" fmla="*/ 624554 h 1161573"/>
                <a:gd name="connsiteX106" fmla="*/ 1120902 w 1502283"/>
                <a:gd name="connsiteY106" fmla="*/ 618077 h 1161573"/>
                <a:gd name="connsiteX107" fmla="*/ 1118711 w 1502283"/>
                <a:gd name="connsiteY107" fmla="*/ 613505 h 1161573"/>
                <a:gd name="connsiteX108" fmla="*/ 1117282 w 1502283"/>
                <a:gd name="connsiteY108" fmla="*/ 615315 h 1161573"/>
                <a:gd name="connsiteX109" fmla="*/ 1115092 w 1502283"/>
                <a:gd name="connsiteY109" fmla="*/ 597980 h 1161573"/>
                <a:gd name="connsiteX110" fmla="*/ 1126522 w 1502283"/>
                <a:gd name="connsiteY110" fmla="*/ 599694 h 1161573"/>
                <a:gd name="connsiteX111" fmla="*/ 1129856 w 1502283"/>
                <a:gd name="connsiteY111" fmla="*/ 600837 h 1161573"/>
                <a:gd name="connsiteX112" fmla="*/ 1134142 w 1502283"/>
                <a:gd name="connsiteY112" fmla="*/ 597122 h 1161573"/>
                <a:gd name="connsiteX113" fmla="*/ 1133094 w 1502283"/>
                <a:gd name="connsiteY113" fmla="*/ 589217 h 1161573"/>
                <a:gd name="connsiteX114" fmla="*/ 1134713 w 1502283"/>
                <a:gd name="connsiteY114" fmla="*/ 589026 h 1161573"/>
                <a:gd name="connsiteX115" fmla="*/ 1137666 w 1502283"/>
                <a:gd name="connsiteY115" fmla="*/ 574262 h 1161573"/>
                <a:gd name="connsiteX116" fmla="*/ 1138047 w 1502283"/>
                <a:gd name="connsiteY116" fmla="*/ 564642 h 1161573"/>
                <a:gd name="connsiteX117" fmla="*/ 1142619 w 1502283"/>
                <a:gd name="connsiteY117" fmla="*/ 562451 h 1161573"/>
                <a:gd name="connsiteX118" fmla="*/ 1149096 w 1502283"/>
                <a:gd name="connsiteY118" fmla="*/ 563213 h 1161573"/>
                <a:gd name="connsiteX119" fmla="*/ 1150906 w 1502283"/>
                <a:gd name="connsiteY119" fmla="*/ 564547 h 1161573"/>
                <a:gd name="connsiteX120" fmla="*/ 1154049 w 1502283"/>
                <a:gd name="connsiteY120" fmla="*/ 564166 h 1161573"/>
                <a:gd name="connsiteX121" fmla="*/ 1155192 w 1502283"/>
                <a:gd name="connsiteY121" fmla="*/ 560832 h 1161573"/>
                <a:gd name="connsiteX122" fmla="*/ 1156335 w 1502283"/>
                <a:gd name="connsiteY122" fmla="*/ 557498 h 1161573"/>
                <a:gd name="connsiteX123" fmla="*/ 1159669 w 1502283"/>
                <a:gd name="connsiteY123" fmla="*/ 558641 h 1161573"/>
                <a:gd name="connsiteX124" fmla="*/ 1161002 w 1502283"/>
                <a:gd name="connsiteY124" fmla="*/ 556832 h 1161573"/>
                <a:gd name="connsiteX125" fmla="*/ 1165955 w 1502283"/>
                <a:gd name="connsiteY125" fmla="*/ 557784 h 1161573"/>
                <a:gd name="connsiteX126" fmla="*/ 1169480 w 1502283"/>
                <a:gd name="connsiteY126" fmla="*/ 534924 h 1161573"/>
                <a:gd name="connsiteX127" fmla="*/ 1174052 w 1502283"/>
                <a:gd name="connsiteY127" fmla="*/ 532733 h 1161573"/>
                <a:gd name="connsiteX128" fmla="*/ 1172051 w 1502283"/>
                <a:gd name="connsiteY128" fmla="*/ 529780 h 1161573"/>
                <a:gd name="connsiteX129" fmla="*/ 1173671 w 1502283"/>
                <a:gd name="connsiteY129" fmla="*/ 529590 h 1161573"/>
                <a:gd name="connsiteX130" fmla="*/ 1171670 w 1502283"/>
                <a:gd name="connsiteY130" fmla="*/ 526637 h 1161573"/>
                <a:gd name="connsiteX131" fmla="*/ 1172813 w 1502283"/>
                <a:gd name="connsiteY131" fmla="*/ 523304 h 1161573"/>
                <a:gd name="connsiteX132" fmla="*/ 1176147 w 1502283"/>
                <a:gd name="connsiteY132" fmla="*/ 511683 h 1161573"/>
                <a:gd name="connsiteX133" fmla="*/ 1172147 w 1502283"/>
                <a:gd name="connsiteY133" fmla="*/ 505778 h 1161573"/>
                <a:gd name="connsiteX134" fmla="*/ 1170623 w 1502283"/>
                <a:gd name="connsiteY134" fmla="*/ 505968 h 1161573"/>
                <a:gd name="connsiteX135" fmla="*/ 1165479 w 1502283"/>
                <a:gd name="connsiteY135" fmla="*/ 516255 h 1161573"/>
                <a:gd name="connsiteX136" fmla="*/ 1160907 w 1502283"/>
                <a:gd name="connsiteY136" fmla="*/ 518446 h 1161573"/>
                <a:gd name="connsiteX137" fmla="*/ 1157383 w 1502283"/>
                <a:gd name="connsiteY137" fmla="*/ 515684 h 1161573"/>
                <a:gd name="connsiteX138" fmla="*/ 1154239 w 1502283"/>
                <a:gd name="connsiteY138" fmla="*/ 516065 h 1161573"/>
                <a:gd name="connsiteX139" fmla="*/ 1152430 w 1502283"/>
                <a:gd name="connsiteY139" fmla="*/ 514731 h 1161573"/>
                <a:gd name="connsiteX140" fmla="*/ 1141381 w 1502283"/>
                <a:gd name="connsiteY140" fmla="*/ 516160 h 1161573"/>
                <a:gd name="connsiteX141" fmla="*/ 1141952 w 1502283"/>
                <a:gd name="connsiteY141" fmla="*/ 520922 h 1161573"/>
                <a:gd name="connsiteX142" fmla="*/ 1136618 w 1502283"/>
                <a:gd name="connsiteY142" fmla="*/ 516826 h 1161573"/>
                <a:gd name="connsiteX143" fmla="*/ 1140714 w 1502283"/>
                <a:gd name="connsiteY143" fmla="*/ 511492 h 1161573"/>
                <a:gd name="connsiteX144" fmla="*/ 1141476 w 1502283"/>
                <a:gd name="connsiteY144" fmla="*/ 505016 h 1161573"/>
                <a:gd name="connsiteX145" fmla="*/ 1143286 w 1502283"/>
                <a:gd name="connsiteY145" fmla="*/ 506349 h 1161573"/>
                <a:gd name="connsiteX146" fmla="*/ 1149001 w 1502283"/>
                <a:gd name="connsiteY146" fmla="*/ 500825 h 1161573"/>
                <a:gd name="connsiteX147" fmla="*/ 1146810 w 1502283"/>
                <a:gd name="connsiteY147" fmla="*/ 496253 h 1161573"/>
                <a:gd name="connsiteX148" fmla="*/ 1145191 w 1502283"/>
                <a:gd name="connsiteY148" fmla="*/ 496443 h 1161573"/>
                <a:gd name="connsiteX149" fmla="*/ 1143381 w 1502283"/>
                <a:gd name="connsiteY149" fmla="*/ 495109 h 1161573"/>
                <a:gd name="connsiteX150" fmla="*/ 1140047 w 1502283"/>
                <a:gd name="connsiteY150" fmla="*/ 493967 h 1161573"/>
                <a:gd name="connsiteX151" fmla="*/ 1137095 w 1502283"/>
                <a:gd name="connsiteY151" fmla="*/ 483108 h 1161573"/>
                <a:gd name="connsiteX152" fmla="*/ 1132904 w 1502283"/>
                <a:gd name="connsiteY152" fmla="*/ 475583 h 1161573"/>
                <a:gd name="connsiteX153" fmla="*/ 1127570 w 1502283"/>
                <a:gd name="connsiteY153" fmla="*/ 471488 h 1161573"/>
                <a:gd name="connsiteX154" fmla="*/ 1133856 w 1502283"/>
                <a:gd name="connsiteY154" fmla="*/ 457867 h 1161573"/>
                <a:gd name="connsiteX155" fmla="*/ 1132808 w 1502283"/>
                <a:gd name="connsiteY155" fmla="*/ 449961 h 1161573"/>
                <a:gd name="connsiteX156" fmla="*/ 1129094 w 1502283"/>
                <a:gd name="connsiteY156" fmla="*/ 445675 h 1161573"/>
                <a:gd name="connsiteX157" fmla="*/ 1126903 w 1502283"/>
                <a:gd name="connsiteY157" fmla="*/ 441103 h 1161573"/>
                <a:gd name="connsiteX158" fmla="*/ 1121759 w 1502283"/>
                <a:gd name="connsiteY158" fmla="*/ 438531 h 1161573"/>
                <a:gd name="connsiteX159" fmla="*/ 1122521 w 1502283"/>
                <a:gd name="connsiteY159" fmla="*/ 432054 h 1161573"/>
                <a:gd name="connsiteX160" fmla="*/ 1128427 w 1502283"/>
                <a:gd name="connsiteY160" fmla="*/ 428054 h 1161573"/>
                <a:gd name="connsiteX161" fmla="*/ 1130998 w 1502283"/>
                <a:gd name="connsiteY161" fmla="*/ 422910 h 1161573"/>
                <a:gd name="connsiteX162" fmla="*/ 1135571 w 1502283"/>
                <a:gd name="connsiteY162" fmla="*/ 420719 h 1161573"/>
                <a:gd name="connsiteX163" fmla="*/ 1137475 w 1502283"/>
                <a:gd name="connsiteY163" fmla="*/ 410813 h 1161573"/>
                <a:gd name="connsiteX164" fmla="*/ 1137285 w 1502283"/>
                <a:gd name="connsiteY164" fmla="*/ 409194 h 1161573"/>
                <a:gd name="connsiteX165" fmla="*/ 1141190 w 1502283"/>
                <a:gd name="connsiteY165" fmla="*/ 402241 h 1161573"/>
                <a:gd name="connsiteX166" fmla="*/ 1142810 w 1502283"/>
                <a:gd name="connsiteY166" fmla="*/ 402050 h 1161573"/>
                <a:gd name="connsiteX167" fmla="*/ 1142429 w 1502283"/>
                <a:gd name="connsiteY167" fmla="*/ 398907 h 1161573"/>
                <a:gd name="connsiteX168" fmla="*/ 1142238 w 1502283"/>
                <a:gd name="connsiteY168" fmla="*/ 397288 h 1161573"/>
                <a:gd name="connsiteX169" fmla="*/ 1139285 w 1502283"/>
                <a:gd name="connsiteY169" fmla="*/ 399288 h 1161573"/>
                <a:gd name="connsiteX170" fmla="*/ 1140428 w 1502283"/>
                <a:gd name="connsiteY170" fmla="*/ 395954 h 1161573"/>
                <a:gd name="connsiteX171" fmla="*/ 1138619 w 1502283"/>
                <a:gd name="connsiteY171" fmla="*/ 394621 h 1161573"/>
                <a:gd name="connsiteX172" fmla="*/ 1135856 w 1502283"/>
                <a:gd name="connsiteY172" fmla="*/ 385382 h 1161573"/>
                <a:gd name="connsiteX173" fmla="*/ 1135285 w 1502283"/>
                <a:gd name="connsiteY173" fmla="*/ 380619 h 1161573"/>
                <a:gd name="connsiteX174" fmla="*/ 1133475 w 1502283"/>
                <a:gd name="connsiteY174" fmla="*/ 379286 h 1161573"/>
                <a:gd name="connsiteX175" fmla="*/ 1132141 w 1502283"/>
                <a:gd name="connsiteY175" fmla="*/ 381095 h 1161573"/>
                <a:gd name="connsiteX176" fmla="*/ 1129951 w 1502283"/>
                <a:gd name="connsiteY176" fmla="*/ 376523 h 1161573"/>
                <a:gd name="connsiteX177" fmla="*/ 1129189 w 1502283"/>
                <a:gd name="connsiteY177" fmla="*/ 370237 h 1161573"/>
                <a:gd name="connsiteX178" fmla="*/ 1126617 w 1502283"/>
                <a:gd name="connsiteY178" fmla="*/ 362521 h 1161573"/>
                <a:gd name="connsiteX179" fmla="*/ 1122616 w 1502283"/>
                <a:gd name="connsiteY179" fmla="*/ 356616 h 1161573"/>
                <a:gd name="connsiteX180" fmla="*/ 1125569 w 1502283"/>
                <a:gd name="connsiteY180" fmla="*/ 354616 h 1161573"/>
                <a:gd name="connsiteX181" fmla="*/ 1125379 w 1502283"/>
                <a:gd name="connsiteY181" fmla="*/ 352996 h 1161573"/>
                <a:gd name="connsiteX182" fmla="*/ 1126522 w 1502283"/>
                <a:gd name="connsiteY182" fmla="*/ 349663 h 1161573"/>
                <a:gd name="connsiteX183" fmla="*/ 1125760 w 1502283"/>
                <a:gd name="connsiteY183" fmla="*/ 343376 h 1161573"/>
                <a:gd name="connsiteX184" fmla="*/ 1118045 w 1502283"/>
                <a:gd name="connsiteY184" fmla="*/ 345948 h 1161573"/>
                <a:gd name="connsiteX185" fmla="*/ 1112139 w 1502283"/>
                <a:gd name="connsiteY185" fmla="*/ 337090 h 1161573"/>
                <a:gd name="connsiteX186" fmla="*/ 1108424 w 1502283"/>
                <a:gd name="connsiteY186" fmla="*/ 332804 h 1161573"/>
                <a:gd name="connsiteX187" fmla="*/ 1109758 w 1502283"/>
                <a:gd name="connsiteY187" fmla="*/ 330994 h 1161573"/>
                <a:gd name="connsiteX188" fmla="*/ 1104805 w 1502283"/>
                <a:gd name="connsiteY188" fmla="*/ 330041 h 1161573"/>
                <a:gd name="connsiteX189" fmla="*/ 1096328 w 1502283"/>
                <a:gd name="connsiteY189" fmla="*/ 326326 h 1161573"/>
                <a:gd name="connsiteX190" fmla="*/ 1093184 w 1502283"/>
                <a:gd name="connsiteY190" fmla="*/ 326708 h 1161573"/>
                <a:gd name="connsiteX191" fmla="*/ 1091851 w 1502283"/>
                <a:gd name="connsiteY191" fmla="*/ 328517 h 1161573"/>
                <a:gd name="connsiteX192" fmla="*/ 1083183 w 1502283"/>
                <a:gd name="connsiteY192" fmla="*/ 323183 h 1161573"/>
                <a:gd name="connsiteX193" fmla="*/ 1080040 w 1502283"/>
                <a:gd name="connsiteY193" fmla="*/ 323564 h 1161573"/>
                <a:gd name="connsiteX194" fmla="*/ 1078516 w 1502283"/>
                <a:gd name="connsiteY194" fmla="*/ 323755 h 1161573"/>
                <a:gd name="connsiteX195" fmla="*/ 1078325 w 1502283"/>
                <a:gd name="connsiteY195" fmla="*/ 322136 h 1161573"/>
                <a:gd name="connsiteX196" fmla="*/ 1071563 w 1502283"/>
                <a:gd name="connsiteY196" fmla="*/ 319754 h 1161573"/>
                <a:gd name="connsiteX197" fmla="*/ 1069562 w 1502283"/>
                <a:gd name="connsiteY197" fmla="*/ 316801 h 1161573"/>
                <a:gd name="connsiteX198" fmla="*/ 1070896 w 1502283"/>
                <a:gd name="connsiteY198" fmla="*/ 314992 h 1161573"/>
                <a:gd name="connsiteX199" fmla="*/ 1060799 w 1502283"/>
                <a:gd name="connsiteY199" fmla="*/ 311467 h 1161573"/>
                <a:gd name="connsiteX200" fmla="*/ 1059466 w 1502283"/>
                <a:gd name="connsiteY200" fmla="*/ 313277 h 1161573"/>
                <a:gd name="connsiteX201" fmla="*/ 1055465 w 1502283"/>
                <a:gd name="connsiteY201" fmla="*/ 307372 h 1161573"/>
                <a:gd name="connsiteX202" fmla="*/ 1060037 w 1502283"/>
                <a:gd name="connsiteY202" fmla="*/ 305181 h 1161573"/>
                <a:gd name="connsiteX203" fmla="*/ 1060990 w 1502283"/>
                <a:gd name="connsiteY203" fmla="*/ 300228 h 1161573"/>
                <a:gd name="connsiteX204" fmla="*/ 1059180 w 1502283"/>
                <a:gd name="connsiteY204" fmla="*/ 298895 h 1161573"/>
                <a:gd name="connsiteX205" fmla="*/ 1059180 w 1502283"/>
                <a:gd name="connsiteY205" fmla="*/ 298895 h 1161573"/>
                <a:gd name="connsiteX206" fmla="*/ 1057180 w 1502283"/>
                <a:gd name="connsiteY206" fmla="*/ 295942 h 1161573"/>
                <a:gd name="connsiteX207" fmla="*/ 1062514 w 1502283"/>
                <a:gd name="connsiteY207" fmla="*/ 287274 h 1161573"/>
                <a:gd name="connsiteX208" fmla="*/ 1065276 w 1502283"/>
                <a:gd name="connsiteY208" fmla="*/ 283750 h 1161573"/>
                <a:gd name="connsiteX209" fmla="*/ 1063276 w 1502283"/>
                <a:gd name="connsiteY209" fmla="*/ 280797 h 1161573"/>
                <a:gd name="connsiteX210" fmla="*/ 1064228 w 1502283"/>
                <a:gd name="connsiteY210" fmla="*/ 275844 h 1161573"/>
                <a:gd name="connsiteX211" fmla="*/ 1068324 w 1502283"/>
                <a:gd name="connsiteY211" fmla="*/ 270510 h 1161573"/>
                <a:gd name="connsiteX212" fmla="*/ 1067562 w 1502283"/>
                <a:gd name="connsiteY212" fmla="*/ 264224 h 1161573"/>
                <a:gd name="connsiteX213" fmla="*/ 1063752 w 1502283"/>
                <a:gd name="connsiteY213" fmla="*/ 259937 h 1161573"/>
                <a:gd name="connsiteX214" fmla="*/ 1061371 w 1502283"/>
                <a:gd name="connsiteY214" fmla="*/ 253841 h 1161573"/>
                <a:gd name="connsiteX215" fmla="*/ 1059180 w 1502283"/>
                <a:gd name="connsiteY215" fmla="*/ 249269 h 1161573"/>
                <a:gd name="connsiteX216" fmla="*/ 1057561 w 1502283"/>
                <a:gd name="connsiteY216" fmla="*/ 249460 h 1161573"/>
                <a:gd name="connsiteX217" fmla="*/ 1059752 w 1502283"/>
                <a:gd name="connsiteY217" fmla="*/ 254032 h 1161573"/>
                <a:gd name="connsiteX218" fmla="*/ 1056989 w 1502283"/>
                <a:gd name="connsiteY218" fmla="*/ 257556 h 1161573"/>
                <a:gd name="connsiteX219" fmla="*/ 1057370 w 1502283"/>
                <a:gd name="connsiteY219" fmla="*/ 260699 h 1161573"/>
                <a:gd name="connsiteX220" fmla="*/ 1052608 w 1502283"/>
                <a:gd name="connsiteY220" fmla="*/ 261271 h 1161573"/>
                <a:gd name="connsiteX221" fmla="*/ 1055941 w 1502283"/>
                <a:gd name="connsiteY221" fmla="*/ 262414 h 1161573"/>
                <a:gd name="connsiteX222" fmla="*/ 1054989 w 1502283"/>
                <a:gd name="connsiteY222" fmla="*/ 267367 h 1161573"/>
                <a:gd name="connsiteX223" fmla="*/ 1056608 w 1502283"/>
                <a:gd name="connsiteY223" fmla="*/ 267176 h 1161573"/>
                <a:gd name="connsiteX224" fmla="*/ 1056989 w 1502283"/>
                <a:gd name="connsiteY224" fmla="*/ 270320 h 1161573"/>
                <a:gd name="connsiteX225" fmla="*/ 1058323 w 1502283"/>
                <a:gd name="connsiteY225" fmla="*/ 268510 h 1161573"/>
                <a:gd name="connsiteX226" fmla="*/ 1055561 w 1502283"/>
                <a:gd name="connsiteY226" fmla="*/ 272034 h 1161573"/>
                <a:gd name="connsiteX227" fmla="*/ 1055561 w 1502283"/>
                <a:gd name="connsiteY227" fmla="*/ 272034 h 1161573"/>
                <a:gd name="connsiteX228" fmla="*/ 1055751 w 1502283"/>
                <a:gd name="connsiteY228" fmla="*/ 273653 h 1161573"/>
                <a:gd name="connsiteX229" fmla="*/ 1050798 w 1502283"/>
                <a:gd name="connsiteY229" fmla="*/ 272701 h 1161573"/>
                <a:gd name="connsiteX230" fmla="*/ 1049179 w 1502283"/>
                <a:gd name="connsiteY230" fmla="*/ 272891 h 1161573"/>
                <a:gd name="connsiteX231" fmla="*/ 1049369 w 1502283"/>
                <a:gd name="connsiteY231" fmla="*/ 274511 h 1161573"/>
                <a:gd name="connsiteX232" fmla="*/ 1046226 w 1502283"/>
                <a:gd name="connsiteY232" fmla="*/ 274892 h 1161573"/>
                <a:gd name="connsiteX233" fmla="*/ 1045655 w 1502283"/>
                <a:gd name="connsiteY233" fmla="*/ 270129 h 1161573"/>
                <a:gd name="connsiteX234" fmla="*/ 1046797 w 1502283"/>
                <a:gd name="connsiteY234" fmla="*/ 266795 h 1161573"/>
                <a:gd name="connsiteX235" fmla="*/ 1043654 w 1502283"/>
                <a:gd name="connsiteY235" fmla="*/ 267176 h 1161573"/>
                <a:gd name="connsiteX236" fmla="*/ 1041273 w 1502283"/>
                <a:gd name="connsiteY236" fmla="*/ 261080 h 1161573"/>
                <a:gd name="connsiteX237" fmla="*/ 1039654 w 1502283"/>
                <a:gd name="connsiteY237" fmla="*/ 261271 h 1161573"/>
                <a:gd name="connsiteX238" fmla="*/ 1042225 w 1502283"/>
                <a:gd name="connsiteY238" fmla="*/ 256127 h 1161573"/>
                <a:gd name="connsiteX239" fmla="*/ 1032796 w 1502283"/>
                <a:gd name="connsiteY239" fmla="*/ 257366 h 1161573"/>
                <a:gd name="connsiteX240" fmla="*/ 1032224 w 1502283"/>
                <a:gd name="connsiteY240" fmla="*/ 252603 h 1161573"/>
                <a:gd name="connsiteX241" fmla="*/ 1035558 w 1502283"/>
                <a:gd name="connsiteY241" fmla="*/ 253746 h 1161573"/>
                <a:gd name="connsiteX242" fmla="*/ 1034987 w 1502283"/>
                <a:gd name="connsiteY242" fmla="*/ 248984 h 1161573"/>
                <a:gd name="connsiteX243" fmla="*/ 1033367 w 1502283"/>
                <a:gd name="connsiteY243" fmla="*/ 249174 h 1161573"/>
                <a:gd name="connsiteX244" fmla="*/ 1035748 w 1502283"/>
                <a:gd name="connsiteY244" fmla="*/ 242507 h 1161573"/>
                <a:gd name="connsiteX245" fmla="*/ 1035368 w 1502283"/>
                <a:gd name="connsiteY245" fmla="*/ 239363 h 1161573"/>
                <a:gd name="connsiteX246" fmla="*/ 1030605 w 1502283"/>
                <a:gd name="connsiteY246" fmla="*/ 239935 h 1161573"/>
                <a:gd name="connsiteX247" fmla="*/ 1030224 w 1502283"/>
                <a:gd name="connsiteY247" fmla="*/ 236792 h 1161573"/>
                <a:gd name="connsiteX248" fmla="*/ 1025652 w 1502283"/>
                <a:gd name="connsiteY248" fmla="*/ 238982 h 1161573"/>
                <a:gd name="connsiteX249" fmla="*/ 1020699 w 1502283"/>
                <a:gd name="connsiteY249" fmla="*/ 238030 h 1161573"/>
                <a:gd name="connsiteX250" fmla="*/ 1013555 w 1502283"/>
                <a:gd name="connsiteY250" fmla="*/ 232505 h 1161573"/>
                <a:gd name="connsiteX251" fmla="*/ 1014698 w 1502283"/>
                <a:gd name="connsiteY251" fmla="*/ 229171 h 1161573"/>
                <a:gd name="connsiteX252" fmla="*/ 1016508 w 1502283"/>
                <a:gd name="connsiteY252" fmla="*/ 230505 h 1161573"/>
                <a:gd name="connsiteX253" fmla="*/ 1017270 w 1502283"/>
                <a:gd name="connsiteY253" fmla="*/ 224028 h 1161573"/>
                <a:gd name="connsiteX254" fmla="*/ 1016698 w 1502283"/>
                <a:gd name="connsiteY254" fmla="*/ 219266 h 1161573"/>
                <a:gd name="connsiteX255" fmla="*/ 1012127 w 1502283"/>
                <a:gd name="connsiteY255" fmla="*/ 208598 h 1161573"/>
                <a:gd name="connsiteX256" fmla="*/ 1011936 w 1502283"/>
                <a:gd name="connsiteY256" fmla="*/ 206978 h 1161573"/>
                <a:gd name="connsiteX257" fmla="*/ 1013555 w 1502283"/>
                <a:gd name="connsiteY257" fmla="*/ 206788 h 1161573"/>
                <a:gd name="connsiteX258" fmla="*/ 1012507 w 1502283"/>
                <a:gd name="connsiteY258" fmla="*/ 198882 h 1161573"/>
                <a:gd name="connsiteX259" fmla="*/ 1010698 w 1502283"/>
                <a:gd name="connsiteY259" fmla="*/ 197453 h 1161573"/>
                <a:gd name="connsiteX260" fmla="*/ 1008697 w 1502283"/>
                <a:gd name="connsiteY260" fmla="*/ 194500 h 1161573"/>
                <a:gd name="connsiteX261" fmla="*/ 1005745 w 1502283"/>
                <a:gd name="connsiteY261" fmla="*/ 196501 h 1161573"/>
                <a:gd name="connsiteX262" fmla="*/ 1002221 w 1502283"/>
                <a:gd name="connsiteY262" fmla="*/ 193738 h 1161573"/>
                <a:gd name="connsiteX263" fmla="*/ 1000601 w 1502283"/>
                <a:gd name="connsiteY263" fmla="*/ 193929 h 1161573"/>
                <a:gd name="connsiteX264" fmla="*/ 1000220 w 1502283"/>
                <a:gd name="connsiteY264" fmla="*/ 190786 h 1161573"/>
                <a:gd name="connsiteX265" fmla="*/ 1004983 w 1502283"/>
                <a:gd name="connsiteY265" fmla="*/ 190214 h 1161573"/>
                <a:gd name="connsiteX266" fmla="*/ 1006316 w 1502283"/>
                <a:gd name="connsiteY266" fmla="*/ 188404 h 1161573"/>
                <a:gd name="connsiteX267" fmla="*/ 1004316 w 1502283"/>
                <a:gd name="connsiteY267" fmla="*/ 185452 h 1161573"/>
                <a:gd name="connsiteX268" fmla="*/ 992886 w 1502283"/>
                <a:gd name="connsiteY268" fmla="*/ 183737 h 1161573"/>
                <a:gd name="connsiteX269" fmla="*/ 992314 w 1502283"/>
                <a:gd name="connsiteY269" fmla="*/ 178975 h 1161573"/>
                <a:gd name="connsiteX270" fmla="*/ 989171 w 1502283"/>
                <a:gd name="connsiteY270" fmla="*/ 179356 h 1161573"/>
                <a:gd name="connsiteX271" fmla="*/ 987171 w 1502283"/>
                <a:gd name="connsiteY271" fmla="*/ 176403 h 1161573"/>
                <a:gd name="connsiteX272" fmla="*/ 993457 w 1502283"/>
                <a:gd name="connsiteY272" fmla="*/ 175641 h 1161573"/>
                <a:gd name="connsiteX273" fmla="*/ 992219 w 1502283"/>
                <a:gd name="connsiteY273" fmla="*/ 166211 h 1161573"/>
                <a:gd name="connsiteX274" fmla="*/ 985266 w 1502283"/>
                <a:gd name="connsiteY274" fmla="*/ 162306 h 1161573"/>
                <a:gd name="connsiteX275" fmla="*/ 983266 w 1502283"/>
                <a:gd name="connsiteY275" fmla="*/ 159353 h 1161573"/>
                <a:gd name="connsiteX276" fmla="*/ 984599 w 1502283"/>
                <a:gd name="connsiteY276" fmla="*/ 157544 h 1161573"/>
                <a:gd name="connsiteX277" fmla="*/ 981265 w 1502283"/>
                <a:gd name="connsiteY277" fmla="*/ 156400 h 1161573"/>
                <a:gd name="connsiteX278" fmla="*/ 981075 w 1502283"/>
                <a:gd name="connsiteY278" fmla="*/ 154781 h 1161573"/>
                <a:gd name="connsiteX279" fmla="*/ 977741 w 1502283"/>
                <a:gd name="connsiteY279" fmla="*/ 153638 h 1161573"/>
                <a:gd name="connsiteX280" fmla="*/ 973836 w 1502283"/>
                <a:gd name="connsiteY280" fmla="*/ 160592 h 1161573"/>
                <a:gd name="connsiteX281" fmla="*/ 962787 w 1502283"/>
                <a:gd name="connsiteY281" fmla="*/ 149162 h 1161573"/>
                <a:gd name="connsiteX282" fmla="*/ 960977 w 1502283"/>
                <a:gd name="connsiteY282" fmla="*/ 147828 h 1161573"/>
                <a:gd name="connsiteX283" fmla="*/ 958215 w 1502283"/>
                <a:gd name="connsiteY283" fmla="*/ 151352 h 1161573"/>
                <a:gd name="connsiteX284" fmla="*/ 954881 w 1502283"/>
                <a:gd name="connsiteY284" fmla="*/ 150209 h 1161573"/>
                <a:gd name="connsiteX285" fmla="*/ 940118 w 1502283"/>
                <a:gd name="connsiteY285" fmla="*/ 160115 h 1161573"/>
                <a:gd name="connsiteX286" fmla="*/ 935355 w 1502283"/>
                <a:gd name="connsiteY286" fmla="*/ 160687 h 1161573"/>
                <a:gd name="connsiteX287" fmla="*/ 932402 w 1502283"/>
                <a:gd name="connsiteY287" fmla="*/ 162687 h 1161573"/>
                <a:gd name="connsiteX288" fmla="*/ 934212 w 1502283"/>
                <a:gd name="connsiteY288" fmla="*/ 164021 h 1161573"/>
                <a:gd name="connsiteX289" fmla="*/ 935831 w 1502283"/>
                <a:gd name="connsiteY289" fmla="*/ 163830 h 1161573"/>
                <a:gd name="connsiteX290" fmla="*/ 937641 w 1502283"/>
                <a:gd name="connsiteY290" fmla="*/ 165163 h 1161573"/>
                <a:gd name="connsiteX291" fmla="*/ 934498 w 1502283"/>
                <a:gd name="connsiteY291" fmla="*/ 165545 h 1161573"/>
                <a:gd name="connsiteX292" fmla="*/ 933545 w 1502283"/>
                <a:gd name="connsiteY292" fmla="*/ 170498 h 1161573"/>
                <a:gd name="connsiteX293" fmla="*/ 930593 w 1502283"/>
                <a:gd name="connsiteY293" fmla="*/ 172498 h 1161573"/>
                <a:gd name="connsiteX294" fmla="*/ 925449 w 1502283"/>
                <a:gd name="connsiteY294" fmla="*/ 169926 h 1161573"/>
                <a:gd name="connsiteX295" fmla="*/ 921163 w 1502283"/>
                <a:gd name="connsiteY295" fmla="*/ 173641 h 1161573"/>
                <a:gd name="connsiteX296" fmla="*/ 927449 w 1502283"/>
                <a:gd name="connsiteY296" fmla="*/ 172879 h 1161573"/>
                <a:gd name="connsiteX297" fmla="*/ 931164 w 1502283"/>
                <a:gd name="connsiteY297" fmla="*/ 177165 h 1161573"/>
                <a:gd name="connsiteX298" fmla="*/ 928783 w 1502283"/>
                <a:gd name="connsiteY298" fmla="*/ 183833 h 1161573"/>
                <a:gd name="connsiteX299" fmla="*/ 930402 w 1502283"/>
                <a:gd name="connsiteY299" fmla="*/ 183642 h 1161573"/>
                <a:gd name="connsiteX300" fmla="*/ 933736 w 1502283"/>
                <a:gd name="connsiteY300" fmla="*/ 184785 h 1161573"/>
                <a:gd name="connsiteX301" fmla="*/ 936688 w 1502283"/>
                <a:gd name="connsiteY301" fmla="*/ 182785 h 1161573"/>
                <a:gd name="connsiteX302" fmla="*/ 936879 w 1502283"/>
                <a:gd name="connsiteY302" fmla="*/ 184404 h 1161573"/>
                <a:gd name="connsiteX303" fmla="*/ 938689 w 1502283"/>
                <a:gd name="connsiteY303" fmla="*/ 185738 h 1161573"/>
                <a:gd name="connsiteX304" fmla="*/ 941070 w 1502283"/>
                <a:gd name="connsiteY304" fmla="*/ 191834 h 1161573"/>
                <a:gd name="connsiteX305" fmla="*/ 942689 w 1502283"/>
                <a:gd name="connsiteY305" fmla="*/ 191643 h 1161573"/>
                <a:gd name="connsiteX306" fmla="*/ 943261 w 1502283"/>
                <a:gd name="connsiteY306" fmla="*/ 196405 h 1161573"/>
                <a:gd name="connsiteX307" fmla="*/ 944594 w 1502283"/>
                <a:gd name="connsiteY307" fmla="*/ 194596 h 1161573"/>
                <a:gd name="connsiteX308" fmla="*/ 949357 w 1502283"/>
                <a:gd name="connsiteY308" fmla="*/ 194024 h 1161573"/>
                <a:gd name="connsiteX309" fmla="*/ 949738 w 1502283"/>
                <a:gd name="connsiteY309" fmla="*/ 197167 h 1161573"/>
                <a:gd name="connsiteX310" fmla="*/ 953072 w 1502283"/>
                <a:gd name="connsiteY310" fmla="*/ 198311 h 1161573"/>
                <a:gd name="connsiteX311" fmla="*/ 951929 w 1502283"/>
                <a:gd name="connsiteY311" fmla="*/ 201644 h 1161573"/>
                <a:gd name="connsiteX312" fmla="*/ 952119 w 1502283"/>
                <a:gd name="connsiteY312" fmla="*/ 203263 h 1161573"/>
                <a:gd name="connsiteX313" fmla="*/ 947642 w 1502283"/>
                <a:gd name="connsiteY313" fmla="*/ 205454 h 1161573"/>
                <a:gd name="connsiteX314" fmla="*/ 946499 w 1502283"/>
                <a:gd name="connsiteY314" fmla="*/ 208788 h 1161573"/>
                <a:gd name="connsiteX315" fmla="*/ 948499 w 1502283"/>
                <a:gd name="connsiteY315" fmla="*/ 211741 h 1161573"/>
                <a:gd name="connsiteX316" fmla="*/ 956786 w 1502283"/>
                <a:gd name="connsiteY316" fmla="*/ 213932 h 1161573"/>
                <a:gd name="connsiteX317" fmla="*/ 958596 w 1502283"/>
                <a:gd name="connsiteY317" fmla="*/ 215265 h 1161573"/>
                <a:gd name="connsiteX318" fmla="*/ 957834 w 1502283"/>
                <a:gd name="connsiteY318" fmla="*/ 221742 h 1161573"/>
                <a:gd name="connsiteX319" fmla="*/ 965168 w 1502283"/>
                <a:gd name="connsiteY319" fmla="*/ 228791 h 1161573"/>
                <a:gd name="connsiteX320" fmla="*/ 959453 w 1502283"/>
                <a:gd name="connsiteY320" fmla="*/ 234315 h 1161573"/>
                <a:gd name="connsiteX321" fmla="*/ 956500 w 1502283"/>
                <a:gd name="connsiteY321" fmla="*/ 236315 h 1161573"/>
                <a:gd name="connsiteX322" fmla="*/ 952500 w 1502283"/>
                <a:gd name="connsiteY322" fmla="*/ 230410 h 1161573"/>
                <a:gd name="connsiteX323" fmla="*/ 949357 w 1502283"/>
                <a:gd name="connsiteY323" fmla="*/ 243650 h 1161573"/>
                <a:gd name="connsiteX324" fmla="*/ 947738 w 1502283"/>
                <a:gd name="connsiteY324" fmla="*/ 243840 h 1161573"/>
                <a:gd name="connsiteX325" fmla="*/ 948309 w 1502283"/>
                <a:gd name="connsiteY325" fmla="*/ 248603 h 1161573"/>
                <a:gd name="connsiteX326" fmla="*/ 948499 w 1502283"/>
                <a:gd name="connsiteY326" fmla="*/ 250222 h 1161573"/>
                <a:gd name="connsiteX327" fmla="*/ 947738 w 1502283"/>
                <a:gd name="connsiteY327" fmla="*/ 256699 h 1161573"/>
                <a:gd name="connsiteX328" fmla="*/ 951547 w 1502283"/>
                <a:gd name="connsiteY328" fmla="*/ 260985 h 1161573"/>
                <a:gd name="connsiteX329" fmla="*/ 948214 w 1502283"/>
                <a:gd name="connsiteY329" fmla="*/ 259842 h 1161573"/>
                <a:gd name="connsiteX330" fmla="*/ 943928 w 1502283"/>
                <a:gd name="connsiteY330" fmla="*/ 263557 h 1161573"/>
                <a:gd name="connsiteX331" fmla="*/ 939165 w 1502283"/>
                <a:gd name="connsiteY331" fmla="*/ 264128 h 1161573"/>
                <a:gd name="connsiteX332" fmla="*/ 933260 w 1502283"/>
                <a:gd name="connsiteY332" fmla="*/ 268129 h 1161573"/>
                <a:gd name="connsiteX333" fmla="*/ 928116 w 1502283"/>
                <a:gd name="connsiteY333" fmla="*/ 278416 h 1161573"/>
                <a:gd name="connsiteX334" fmla="*/ 928497 w 1502283"/>
                <a:gd name="connsiteY334" fmla="*/ 281559 h 1161573"/>
                <a:gd name="connsiteX335" fmla="*/ 925544 w 1502283"/>
                <a:gd name="connsiteY335" fmla="*/ 283559 h 1161573"/>
                <a:gd name="connsiteX336" fmla="*/ 921544 w 1502283"/>
                <a:gd name="connsiteY336" fmla="*/ 277654 h 1161573"/>
                <a:gd name="connsiteX337" fmla="*/ 911447 w 1502283"/>
                <a:gd name="connsiteY337" fmla="*/ 274130 h 1161573"/>
                <a:gd name="connsiteX338" fmla="*/ 903922 w 1502283"/>
                <a:gd name="connsiteY338" fmla="*/ 265462 h 1161573"/>
                <a:gd name="connsiteX339" fmla="*/ 886778 w 1502283"/>
                <a:gd name="connsiteY339" fmla="*/ 256413 h 1161573"/>
                <a:gd name="connsiteX340" fmla="*/ 889159 w 1502283"/>
                <a:gd name="connsiteY340" fmla="*/ 249746 h 1161573"/>
                <a:gd name="connsiteX341" fmla="*/ 884206 w 1502283"/>
                <a:gd name="connsiteY341" fmla="*/ 248793 h 1161573"/>
                <a:gd name="connsiteX342" fmla="*/ 883063 w 1502283"/>
                <a:gd name="connsiteY342" fmla="*/ 252127 h 1161573"/>
                <a:gd name="connsiteX343" fmla="*/ 879729 w 1502283"/>
                <a:gd name="connsiteY343" fmla="*/ 250984 h 1161573"/>
                <a:gd name="connsiteX344" fmla="*/ 878967 w 1502283"/>
                <a:gd name="connsiteY344" fmla="*/ 244697 h 1161573"/>
                <a:gd name="connsiteX345" fmla="*/ 881348 w 1502283"/>
                <a:gd name="connsiteY345" fmla="*/ 238030 h 1161573"/>
                <a:gd name="connsiteX346" fmla="*/ 880967 w 1502283"/>
                <a:gd name="connsiteY346" fmla="*/ 234887 h 1161573"/>
                <a:gd name="connsiteX347" fmla="*/ 883539 w 1502283"/>
                <a:gd name="connsiteY347" fmla="*/ 229743 h 1161573"/>
                <a:gd name="connsiteX348" fmla="*/ 890016 w 1502283"/>
                <a:gd name="connsiteY348" fmla="*/ 230505 h 1161573"/>
                <a:gd name="connsiteX349" fmla="*/ 891445 w 1502283"/>
                <a:gd name="connsiteY349" fmla="*/ 228695 h 1161573"/>
                <a:gd name="connsiteX350" fmla="*/ 897731 w 1502283"/>
                <a:gd name="connsiteY350" fmla="*/ 227933 h 1161573"/>
                <a:gd name="connsiteX351" fmla="*/ 899065 w 1502283"/>
                <a:gd name="connsiteY351" fmla="*/ 226124 h 1161573"/>
                <a:gd name="connsiteX352" fmla="*/ 900874 w 1502283"/>
                <a:gd name="connsiteY352" fmla="*/ 227457 h 1161573"/>
                <a:gd name="connsiteX353" fmla="*/ 901827 w 1502283"/>
                <a:gd name="connsiteY353" fmla="*/ 222504 h 1161573"/>
                <a:gd name="connsiteX354" fmla="*/ 901446 w 1502283"/>
                <a:gd name="connsiteY354" fmla="*/ 219361 h 1161573"/>
                <a:gd name="connsiteX355" fmla="*/ 896493 w 1502283"/>
                <a:gd name="connsiteY355" fmla="*/ 218408 h 1161573"/>
                <a:gd name="connsiteX356" fmla="*/ 897827 w 1502283"/>
                <a:gd name="connsiteY356" fmla="*/ 216599 h 1161573"/>
                <a:gd name="connsiteX357" fmla="*/ 895636 w 1502283"/>
                <a:gd name="connsiteY357" fmla="*/ 212026 h 1161573"/>
                <a:gd name="connsiteX358" fmla="*/ 892493 w 1502283"/>
                <a:gd name="connsiteY358" fmla="*/ 212408 h 1161573"/>
                <a:gd name="connsiteX359" fmla="*/ 894683 w 1502283"/>
                <a:gd name="connsiteY359" fmla="*/ 204121 h 1161573"/>
                <a:gd name="connsiteX360" fmla="*/ 892873 w 1502283"/>
                <a:gd name="connsiteY360" fmla="*/ 202787 h 1161573"/>
                <a:gd name="connsiteX361" fmla="*/ 886587 w 1502283"/>
                <a:gd name="connsiteY361" fmla="*/ 203549 h 1161573"/>
                <a:gd name="connsiteX362" fmla="*/ 884587 w 1502283"/>
                <a:gd name="connsiteY362" fmla="*/ 200596 h 1161573"/>
                <a:gd name="connsiteX363" fmla="*/ 879634 w 1502283"/>
                <a:gd name="connsiteY363" fmla="*/ 199644 h 1161573"/>
                <a:gd name="connsiteX364" fmla="*/ 880586 w 1502283"/>
                <a:gd name="connsiteY364" fmla="*/ 181928 h 1161573"/>
                <a:gd name="connsiteX365" fmla="*/ 877253 w 1502283"/>
                <a:gd name="connsiteY365" fmla="*/ 180784 h 1161573"/>
                <a:gd name="connsiteX366" fmla="*/ 880396 w 1502283"/>
                <a:gd name="connsiteY366" fmla="*/ 180404 h 1161573"/>
                <a:gd name="connsiteX367" fmla="*/ 880205 w 1502283"/>
                <a:gd name="connsiteY367" fmla="*/ 178784 h 1161573"/>
                <a:gd name="connsiteX368" fmla="*/ 876205 w 1502283"/>
                <a:gd name="connsiteY368" fmla="*/ 172879 h 1161573"/>
                <a:gd name="connsiteX369" fmla="*/ 875633 w 1502283"/>
                <a:gd name="connsiteY369" fmla="*/ 168116 h 1161573"/>
                <a:gd name="connsiteX370" fmla="*/ 873633 w 1502283"/>
                <a:gd name="connsiteY370" fmla="*/ 165163 h 1161573"/>
                <a:gd name="connsiteX371" fmla="*/ 872871 w 1502283"/>
                <a:gd name="connsiteY371" fmla="*/ 158877 h 1161573"/>
                <a:gd name="connsiteX372" fmla="*/ 869156 w 1502283"/>
                <a:gd name="connsiteY372" fmla="*/ 154496 h 1161573"/>
                <a:gd name="connsiteX373" fmla="*/ 872490 w 1502283"/>
                <a:gd name="connsiteY373" fmla="*/ 142875 h 1161573"/>
                <a:gd name="connsiteX374" fmla="*/ 870490 w 1502283"/>
                <a:gd name="connsiteY374" fmla="*/ 139922 h 1161573"/>
                <a:gd name="connsiteX375" fmla="*/ 876205 w 1502283"/>
                <a:gd name="connsiteY375" fmla="*/ 134398 h 1161573"/>
                <a:gd name="connsiteX376" fmla="*/ 879538 w 1502283"/>
                <a:gd name="connsiteY376" fmla="*/ 135541 h 1161573"/>
                <a:gd name="connsiteX377" fmla="*/ 882491 w 1502283"/>
                <a:gd name="connsiteY377" fmla="*/ 133541 h 1161573"/>
                <a:gd name="connsiteX378" fmla="*/ 883825 w 1502283"/>
                <a:gd name="connsiteY378" fmla="*/ 131731 h 1161573"/>
                <a:gd name="connsiteX379" fmla="*/ 882777 w 1502283"/>
                <a:gd name="connsiteY379" fmla="*/ 123825 h 1161573"/>
                <a:gd name="connsiteX380" fmla="*/ 880777 w 1502283"/>
                <a:gd name="connsiteY380" fmla="*/ 120872 h 1161573"/>
                <a:gd name="connsiteX381" fmla="*/ 884682 w 1502283"/>
                <a:gd name="connsiteY381" fmla="*/ 113919 h 1161573"/>
                <a:gd name="connsiteX382" fmla="*/ 889254 w 1502283"/>
                <a:gd name="connsiteY382" fmla="*/ 111728 h 1161573"/>
                <a:gd name="connsiteX383" fmla="*/ 894397 w 1502283"/>
                <a:gd name="connsiteY383" fmla="*/ 114300 h 1161573"/>
                <a:gd name="connsiteX384" fmla="*/ 900684 w 1502283"/>
                <a:gd name="connsiteY384" fmla="*/ 113538 h 1161573"/>
                <a:gd name="connsiteX385" fmla="*/ 902018 w 1502283"/>
                <a:gd name="connsiteY385" fmla="*/ 111728 h 1161573"/>
                <a:gd name="connsiteX386" fmla="*/ 900398 w 1502283"/>
                <a:gd name="connsiteY386" fmla="*/ 111919 h 1161573"/>
                <a:gd name="connsiteX387" fmla="*/ 898588 w 1502283"/>
                <a:gd name="connsiteY387" fmla="*/ 110585 h 1161573"/>
                <a:gd name="connsiteX388" fmla="*/ 895636 w 1502283"/>
                <a:gd name="connsiteY388" fmla="*/ 112586 h 1161573"/>
                <a:gd name="connsiteX389" fmla="*/ 895445 w 1502283"/>
                <a:gd name="connsiteY389" fmla="*/ 110966 h 1161573"/>
                <a:gd name="connsiteX390" fmla="*/ 890492 w 1502283"/>
                <a:gd name="connsiteY390" fmla="*/ 110014 h 1161573"/>
                <a:gd name="connsiteX391" fmla="*/ 888682 w 1502283"/>
                <a:gd name="connsiteY391" fmla="*/ 108680 h 1161573"/>
                <a:gd name="connsiteX392" fmla="*/ 887539 w 1502283"/>
                <a:gd name="connsiteY392" fmla="*/ 112014 h 1161573"/>
                <a:gd name="connsiteX393" fmla="*/ 887158 w 1502283"/>
                <a:gd name="connsiteY393" fmla="*/ 108871 h 1161573"/>
                <a:gd name="connsiteX394" fmla="*/ 888587 w 1502283"/>
                <a:gd name="connsiteY394" fmla="*/ 107061 h 1161573"/>
                <a:gd name="connsiteX395" fmla="*/ 884206 w 1502283"/>
                <a:gd name="connsiteY395" fmla="*/ 110776 h 1161573"/>
                <a:gd name="connsiteX396" fmla="*/ 876110 w 1502283"/>
                <a:gd name="connsiteY396" fmla="*/ 110204 h 1161573"/>
                <a:gd name="connsiteX397" fmla="*/ 867442 w 1502283"/>
                <a:gd name="connsiteY397" fmla="*/ 104870 h 1161573"/>
                <a:gd name="connsiteX398" fmla="*/ 865441 w 1502283"/>
                <a:gd name="connsiteY398" fmla="*/ 101917 h 1161573"/>
                <a:gd name="connsiteX399" fmla="*/ 858774 w 1502283"/>
                <a:gd name="connsiteY399" fmla="*/ 99536 h 1161573"/>
                <a:gd name="connsiteX400" fmla="*/ 855821 w 1502283"/>
                <a:gd name="connsiteY400" fmla="*/ 101537 h 1161573"/>
                <a:gd name="connsiteX401" fmla="*/ 850868 w 1502283"/>
                <a:gd name="connsiteY401" fmla="*/ 100584 h 1161573"/>
                <a:gd name="connsiteX402" fmla="*/ 847535 w 1502283"/>
                <a:gd name="connsiteY402" fmla="*/ 99441 h 1161573"/>
                <a:gd name="connsiteX403" fmla="*/ 841438 w 1502283"/>
                <a:gd name="connsiteY403" fmla="*/ 101822 h 1161573"/>
                <a:gd name="connsiteX404" fmla="*/ 834962 w 1502283"/>
                <a:gd name="connsiteY404" fmla="*/ 101060 h 1161573"/>
                <a:gd name="connsiteX405" fmla="*/ 837343 w 1502283"/>
                <a:gd name="connsiteY405" fmla="*/ 94393 h 1161573"/>
                <a:gd name="connsiteX406" fmla="*/ 840296 w 1502283"/>
                <a:gd name="connsiteY406" fmla="*/ 92392 h 1161573"/>
                <a:gd name="connsiteX407" fmla="*/ 842486 w 1502283"/>
                <a:gd name="connsiteY407" fmla="*/ 84106 h 1161573"/>
                <a:gd name="connsiteX408" fmla="*/ 845248 w 1502283"/>
                <a:gd name="connsiteY408" fmla="*/ 80582 h 1161573"/>
                <a:gd name="connsiteX409" fmla="*/ 845058 w 1502283"/>
                <a:gd name="connsiteY409" fmla="*/ 78962 h 1161573"/>
                <a:gd name="connsiteX410" fmla="*/ 844868 w 1502283"/>
                <a:gd name="connsiteY410" fmla="*/ 77343 h 1161573"/>
                <a:gd name="connsiteX411" fmla="*/ 841724 w 1502283"/>
                <a:gd name="connsiteY411" fmla="*/ 77724 h 1161573"/>
                <a:gd name="connsiteX412" fmla="*/ 839914 w 1502283"/>
                <a:gd name="connsiteY412" fmla="*/ 76391 h 1161573"/>
                <a:gd name="connsiteX413" fmla="*/ 840677 w 1502283"/>
                <a:gd name="connsiteY413" fmla="*/ 69913 h 1161573"/>
                <a:gd name="connsiteX414" fmla="*/ 838295 w 1502283"/>
                <a:gd name="connsiteY414" fmla="*/ 63817 h 1161573"/>
                <a:gd name="connsiteX415" fmla="*/ 838105 w 1502283"/>
                <a:gd name="connsiteY415" fmla="*/ 62198 h 1161573"/>
                <a:gd name="connsiteX416" fmla="*/ 841057 w 1502283"/>
                <a:gd name="connsiteY416" fmla="*/ 60198 h 1161573"/>
                <a:gd name="connsiteX417" fmla="*/ 838867 w 1502283"/>
                <a:gd name="connsiteY417" fmla="*/ 55626 h 1161573"/>
                <a:gd name="connsiteX418" fmla="*/ 842010 w 1502283"/>
                <a:gd name="connsiteY418" fmla="*/ 55245 h 1161573"/>
                <a:gd name="connsiteX419" fmla="*/ 838010 w 1502283"/>
                <a:gd name="connsiteY419" fmla="*/ 49340 h 1161573"/>
                <a:gd name="connsiteX420" fmla="*/ 843534 w 1502283"/>
                <a:gd name="connsiteY420" fmla="*/ 55054 h 1161573"/>
                <a:gd name="connsiteX421" fmla="*/ 850202 w 1502283"/>
                <a:gd name="connsiteY421" fmla="*/ 57436 h 1161573"/>
                <a:gd name="connsiteX422" fmla="*/ 852202 w 1502283"/>
                <a:gd name="connsiteY422" fmla="*/ 60388 h 1161573"/>
                <a:gd name="connsiteX423" fmla="*/ 853154 w 1502283"/>
                <a:gd name="connsiteY423" fmla="*/ 55436 h 1161573"/>
                <a:gd name="connsiteX424" fmla="*/ 855345 w 1502283"/>
                <a:gd name="connsiteY424" fmla="*/ 60008 h 1161573"/>
                <a:gd name="connsiteX425" fmla="*/ 858298 w 1502283"/>
                <a:gd name="connsiteY425" fmla="*/ 58007 h 1161573"/>
                <a:gd name="connsiteX426" fmla="*/ 861822 w 1502283"/>
                <a:gd name="connsiteY426" fmla="*/ 60770 h 1161573"/>
                <a:gd name="connsiteX427" fmla="*/ 864013 w 1502283"/>
                <a:gd name="connsiteY427" fmla="*/ 65342 h 1161573"/>
                <a:gd name="connsiteX428" fmla="*/ 865822 w 1502283"/>
                <a:gd name="connsiteY428" fmla="*/ 66675 h 1161573"/>
                <a:gd name="connsiteX429" fmla="*/ 873538 w 1502283"/>
                <a:gd name="connsiteY429" fmla="*/ 64103 h 1161573"/>
                <a:gd name="connsiteX430" fmla="*/ 878014 w 1502283"/>
                <a:gd name="connsiteY430" fmla="*/ 61913 h 1161573"/>
                <a:gd name="connsiteX431" fmla="*/ 879157 w 1502283"/>
                <a:gd name="connsiteY431" fmla="*/ 58579 h 1161573"/>
                <a:gd name="connsiteX432" fmla="*/ 875824 w 1502283"/>
                <a:gd name="connsiteY432" fmla="*/ 57436 h 1161573"/>
                <a:gd name="connsiteX433" fmla="*/ 873443 w 1502283"/>
                <a:gd name="connsiteY433" fmla="*/ 51340 h 1161573"/>
                <a:gd name="connsiteX434" fmla="*/ 868489 w 1502283"/>
                <a:gd name="connsiteY434" fmla="*/ 50387 h 1161573"/>
                <a:gd name="connsiteX435" fmla="*/ 869252 w 1502283"/>
                <a:gd name="connsiteY435" fmla="*/ 43910 h 1161573"/>
                <a:gd name="connsiteX436" fmla="*/ 871061 w 1502283"/>
                <a:gd name="connsiteY436" fmla="*/ 45244 h 1161573"/>
                <a:gd name="connsiteX437" fmla="*/ 875538 w 1502283"/>
                <a:gd name="connsiteY437" fmla="*/ 43053 h 1161573"/>
                <a:gd name="connsiteX438" fmla="*/ 875157 w 1502283"/>
                <a:gd name="connsiteY438" fmla="*/ 39910 h 1161573"/>
                <a:gd name="connsiteX439" fmla="*/ 881253 w 1502283"/>
                <a:gd name="connsiteY439" fmla="*/ 37529 h 1161573"/>
                <a:gd name="connsiteX440" fmla="*/ 879443 w 1502283"/>
                <a:gd name="connsiteY440" fmla="*/ 36195 h 1161573"/>
                <a:gd name="connsiteX441" fmla="*/ 865441 w 1502283"/>
                <a:gd name="connsiteY441" fmla="*/ 39624 h 1161573"/>
                <a:gd name="connsiteX442" fmla="*/ 858488 w 1502283"/>
                <a:gd name="connsiteY442" fmla="*/ 35719 h 1161573"/>
                <a:gd name="connsiteX443" fmla="*/ 846391 w 1502283"/>
                <a:gd name="connsiteY443" fmla="*/ 29242 h 1161573"/>
                <a:gd name="connsiteX444" fmla="*/ 843058 w 1502283"/>
                <a:gd name="connsiteY444" fmla="*/ 28099 h 1161573"/>
                <a:gd name="connsiteX445" fmla="*/ 824294 w 1502283"/>
                <a:gd name="connsiteY445" fmla="*/ 19241 h 1161573"/>
                <a:gd name="connsiteX446" fmla="*/ 822674 w 1502283"/>
                <a:gd name="connsiteY446" fmla="*/ 19431 h 1161573"/>
                <a:gd name="connsiteX447" fmla="*/ 819340 w 1502283"/>
                <a:gd name="connsiteY447" fmla="*/ 18288 h 1161573"/>
                <a:gd name="connsiteX448" fmla="*/ 816959 w 1502283"/>
                <a:gd name="connsiteY448" fmla="*/ 12192 h 1161573"/>
                <a:gd name="connsiteX449" fmla="*/ 802100 w 1502283"/>
                <a:gd name="connsiteY449" fmla="*/ 9239 h 1161573"/>
                <a:gd name="connsiteX450" fmla="*/ 804863 w 1502283"/>
                <a:gd name="connsiteY450" fmla="*/ 5715 h 1161573"/>
                <a:gd name="connsiteX451" fmla="*/ 798957 w 1502283"/>
                <a:gd name="connsiteY451" fmla="*/ 9716 h 1161573"/>
                <a:gd name="connsiteX452" fmla="*/ 795623 w 1502283"/>
                <a:gd name="connsiteY452" fmla="*/ 8573 h 1161573"/>
                <a:gd name="connsiteX453" fmla="*/ 794290 w 1502283"/>
                <a:gd name="connsiteY453" fmla="*/ 10382 h 1161573"/>
                <a:gd name="connsiteX454" fmla="*/ 790956 w 1502283"/>
                <a:gd name="connsiteY454" fmla="*/ 9239 h 1161573"/>
                <a:gd name="connsiteX455" fmla="*/ 782288 w 1502283"/>
                <a:gd name="connsiteY455" fmla="*/ 3905 h 1161573"/>
                <a:gd name="connsiteX456" fmla="*/ 780955 w 1502283"/>
                <a:gd name="connsiteY456" fmla="*/ 5715 h 1161573"/>
                <a:gd name="connsiteX457" fmla="*/ 784288 w 1502283"/>
                <a:gd name="connsiteY457" fmla="*/ 6858 h 1161573"/>
                <a:gd name="connsiteX458" fmla="*/ 784670 w 1502283"/>
                <a:gd name="connsiteY458" fmla="*/ 10001 h 1161573"/>
                <a:gd name="connsiteX459" fmla="*/ 778002 w 1502283"/>
                <a:gd name="connsiteY459" fmla="*/ 7620 h 1161573"/>
                <a:gd name="connsiteX460" fmla="*/ 772478 w 1502283"/>
                <a:gd name="connsiteY460" fmla="*/ 14764 h 1161573"/>
                <a:gd name="connsiteX461" fmla="*/ 759809 w 1502283"/>
                <a:gd name="connsiteY461" fmla="*/ 3524 h 1161573"/>
                <a:gd name="connsiteX462" fmla="*/ 749713 w 1502283"/>
                <a:gd name="connsiteY462" fmla="*/ 0 h 1161573"/>
                <a:gd name="connsiteX463" fmla="*/ 748094 w 1502283"/>
                <a:gd name="connsiteY463" fmla="*/ 191 h 1161573"/>
                <a:gd name="connsiteX464" fmla="*/ 747141 w 1502283"/>
                <a:gd name="connsiteY464" fmla="*/ 5144 h 1161573"/>
                <a:gd name="connsiteX465" fmla="*/ 749141 w 1502283"/>
                <a:gd name="connsiteY465" fmla="*/ 8096 h 1161573"/>
                <a:gd name="connsiteX466" fmla="*/ 745998 w 1502283"/>
                <a:gd name="connsiteY466" fmla="*/ 8477 h 1161573"/>
                <a:gd name="connsiteX467" fmla="*/ 746188 w 1502283"/>
                <a:gd name="connsiteY467" fmla="*/ 10096 h 1161573"/>
                <a:gd name="connsiteX468" fmla="*/ 738283 w 1502283"/>
                <a:gd name="connsiteY468" fmla="*/ 11144 h 1161573"/>
                <a:gd name="connsiteX469" fmla="*/ 738283 w 1502283"/>
                <a:gd name="connsiteY469" fmla="*/ 11144 h 1161573"/>
                <a:gd name="connsiteX470" fmla="*/ 734949 w 1502283"/>
                <a:gd name="connsiteY470" fmla="*/ 10001 h 1161573"/>
                <a:gd name="connsiteX471" fmla="*/ 729805 w 1502283"/>
                <a:gd name="connsiteY471" fmla="*/ 7429 h 1161573"/>
                <a:gd name="connsiteX472" fmla="*/ 725519 w 1502283"/>
                <a:gd name="connsiteY472" fmla="*/ 11144 h 1161573"/>
                <a:gd name="connsiteX473" fmla="*/ 718566 w 1502283"/>
                <a:gd name="connsiteY473" fmla="*/ 7239 h 1161573"/>
                <a:gd name="connsiteX474" fmla="*/ 717995 w 1502283"/>
                <a:gd name="connsiteY474" fmla="*/ 2476 h 1161573"/>
                <a:gd name="connsiteX475" fmla="*/ 713708 w 1502283"/>
                <a:gd name="connsiteY475" fmla="*/ 6287 h 1161573"/>
                <a:gd name="connsiteX476" fmla="*/ 712089 w 1502283"/>
                <a:gd name="connsiteY476" fmla="*/ 6477 h 1161573"/>
                <a:gd name="connsiteX477" fmla="*/ 708565 w 1502283"/>
                <a:gd name="connsiteY477" fmla="*/ 3715 h 1161573"/>
                <a:gd name="connsiteX478" fmla="*/ 703802 w 1502283"/>
                <a:gd name="connsiteY478" fmla="*/ 4286 h 1161573"/>
                <a:gd name="connsiteX479" fmla="*/ 700849 w 1502283"/>
                <a:gd name="connsiteY479" fmla="*/ 6287 h 1161573"/>
                <a:gd name="connsiteX480" fmla="*/ 701230 w 1502283"/>
                <a:gd name="connsiteY480" fmla="*/ 9430 h 1161573"/>
                <a:gd name="connsiteX481" fmla="*/ 697135 w 1502283"/>
                <a:gd name="connsiteY481" fmla="*/ 14764 h 1161573"/>
                <a:gd name="connsiteX482" fmla="*/ 698182 w 1502283"/>
                <a:gd name="connsiteY482" fmla="*/ 22670 h 1161573"/>
                <a:gd name="connsiteX483" fmla="*/ 698754 w 1502283"/>
                <a:gd name="connsiteY483" fmla="*/ 27432 h 1161573"/>
                <a:gd name="connsiteX484" fmla="*/ 697421 w 1502283"/>
                <a:gd name="connsiteY484" fmla="*/ 29242 h 1161573"/>
                <a:gd name="connsiteX485" fmla="*/ 697611 w 1502283"/>
                <a:gd name="connsiteY485" fmla="*/ 30861 h 1161573"/>
                <a:gd name="connsiteX486" fmla="*/ 693706 w 1502283"/>
                <a:gd name="connsiteY486" fmla="*/ 37814 h 1161573"/>
                <a:gd name="connsiteX487" fmla="*/ 696087 w 1502283"/>
                <a:gd name="connsiteY487" fmla="*/ 43910 h 1161573"/>
                <a:gd name="connsiteX488" fmla="*/ 696468 w 1502283"/>
                <a:gd name="connsiteY488" fmla="*/ 47054 h 1161573"/>
                <a:gd name="connsiteX489" fmla="*/ 693515 w 1502283"/>
                <a:gd name="connsiteY489" fmla="*/ 49054 h 1161573"/>
                <a:gd name="connsiteX490" fmla="*/ 693134 w 1502283"/>
                <a:gd name="connsiteY490" fmla="*/ 45911 h 1161573"/>
                <a:gd name="connsiteX491" fmla="*/ 690181 w 1502283"/>
                <a:gd name="connsiteY491" fmla="*/ 47911 h 1161573"/>
                <a:gd name="connsiteX492" fmla="*/ 677132 w 1502283"/>
                <a:gd name="connsiteY492" fmla="*/ 46387 h 1161573"/>
                <a:gd name="connsiteX493" fmla="*/ 677513 w 1502283"/>
                <a:gd name="connsiteY493" fmla="*/ 49530 h 1161573"/>
                <a:gd name="connsiteX494" fmla="*/ 674180 w 1502283"/>
                <a:gd name="connsiteY494" fmla="*/ 48387 h 1161573"/>
                <a:gd name="connsiteX495" fmla="*/ 672370 w 1502283"/>
                <a:gd name="connsiteY495" fmla="*/ 47054 h 1161573"/>
                <a:gd name="connsiteX496" fmla="*/ 669417 w 1502283"/>
                <a:gd name="connsiteY496" fmla="*/ 49054 h 1161573"/>
                <a:gd name="connsiteX497" fmla="*/ 667607 w 1502283"/>
                <a:gd name="connsiteY497" fmla="*/ 47720 h 1161573"/>
                <a:gd name="connsiteX498" fmla="*/ 660082 w 1502283"/>
                <a:gd name="connsiteY498" fmla="*/ 39053 h 1161573"/>
                <a:gd name="connsiteX499" fmla="*/ 656939 w 1502283"/>
                <a:gd name="connsiteY499" fmla="*/ 39433 h 1161573"/>
                <a:gd name="connsiteX500" fmla="*/ 646938 w 1502283"/>
                <a:gd name="connsiteY500" fmla="*/ 48768 h 1161573"/>
                <a:gd name="connsiteX501" fmla="*/ 640461 w 1502283"/>
                <a:gd name="connsiteY501" fmla="*/ 48006 h 1161573"/>
                <a:gd name="connsiteX502" fmla="*/ 637508 w 1502283"/>
                <a:gd name="connsiteY502" fmla="*/ 50006 h 1161573"/>
                <a:gd name="connsiteX503" fmla="*/ 634365 w 1502283"/>
                <a:gd name="connsiteY503" fmla="*/ 50387 h 1161573"/>
                <a:gd name="connsiteX504" fmla="*/ 631412 w 1502283"/>
                <a:gd name="connsiteY504" fmla="*/ 52388 h 1161573"/>
                <a:gd name="connsiteX505" fmla="*/ 628269 w 1502283"/>
                <a:gd name="connsiteY505" fmla="*/ 52769 h 1161573"/>
                <a:gd name="connsiteX506" fmla="*/ 630269 w 1502283"/>
                <a:gd name="connsiteY506" fmla="*/ 42863 h 1161573"/>
                <a:gd name="connsiteX507" fmla="*/ 625126 w 1502283"/>
                <a:gd name="connsiteY507" fmla="*/ 40291 h 1161573"/>
                <a:gd name="connsiteX508" fmla="*/ 623506 w 1502283"/>
                <a:gd name="connsiteY508" fmla="*/ 40481 h 1161573"/>
                <a:gd name="connsiteX509" fmla="*/ 621697 w 1502283"/>
                <a:gd name="connsiteY509" fmla="*/ 39148 h 1161573"/>
                <a:gd name="connsiteX510" fmla="*/ 619125 w 1502283"/>
                <a:gd name="connsiteY510" fmla="*/ 44291 h 1161573"/>
                <a:gd name="connsiteX511" fmla="*/ 614553 w 1502283"/>
                <a:gd name="connsiteY511" fmla="*/ 46482 h 1161573"/>
                <a:gd name="connsiteX512" fmla="*/ 607886 w 1502283"/>
                <a:gd name="connsiteY512" fmla="*/ 44101 h 1161573"/>
                <a:gd name="connsiteX513" fmla="*/ 606933 w 1502283"/>
                <a:gd name="connsiteY513" fmla="*/ 49054 h 1161573"/>
                <a:gd name="connsiteX514" fmla="*/ 609505 w 1502283"/>
                <a:gd name="connsiteY514" fmla="*/ 56769 h 1161573"/>
                <a:gd name="connsiteX515" fmla="*/ 600837 w 1502283"/>
                <a:gd name="connsiteY515" fmla="*/ 64294 h 1161573"/>
                <a:gd name="connsiteX516" fmla="*/ 601599 w 1502283"/>
                <a:gd name="connsiteY516" fmla="*/ 70580 h 1161573"/>
                <a:gd name="connsiteX517" fmla="*/ 596455 w 1502283"/>
                <a:gd name="connsiteY517" fmla="*/ 68008 h 1161573"/>
                <a:gd name="connsiteX518" fmla="*/ 592455 w 1502283"/>
                <a:gd name="connsiteY518" fmla="*/ 62103 h 1161573"/>
                <a:gd name="connsiteX519" fmla="*/ 589121 w 1502283"/>
                <a:gd name="connsiteY519" fmla="*/ 60960 h 1161573"/>
                <a:gd name="connsiteX520" fmla="*/ 591122 w 1502283"/>
                <a:gd name="connsiteY520" fmla="*/ 63913 h 1161573"/>
                <a:gd name="connsiteX521" fmla="*/ 592360 w 1502283"/>
                <a:gd name="connsiteY521" fmla="*/ 73342 h 1161573"/>
                <a:gd name="connsiteX522" fmla="*/ 591026 w 1502283"/>
                <a:gd name="connsiteY522" fmla="*/ 75152 h 1161573"/>
                <a:gd name="connsiteX523" fmla="*/ 589407 w 1502283"/>
                <a:gd name="connsiteY523" fmla="*/ 75343 h 1161573"/>
                <a:gd name="connsiteX524" fmla="*/ 590169 w 1502283"/>
                <a:gd name="connsiteY524" fmla="*/ 81629 h 1161573"/>
                <a:gd name="connsiteX525" fmla="*/ 586264 w 1502283"/>
                <a:gd name="connsiteY525" fmla="*/ 88583 h 1161573"/>
                <a:gd name="connsiteX526" fmla="*/ 585121 w 1502283"/>
                <a:gd name="connsiteY526" fmla="*/ 91916 h 1161573"/>
                <a:gd name="connsiteX527" fmla="*/ 578834 w 1502283"/>
                <a:gd name="connsiteY527" fmla="*/ 92678 h 1161573"/>
                <a:gd name="connsiteX528" fmla="*/ 577691 w 1502283"/>
                <a:gd name="connsiteY528" fmla="*/ 96012 h 1161573"/>
                <a:gd name="connsiteX529" fmla="*/ 581025 w 1502283"/>
                <a:gd name="connsiteY529" fmla="*/ 97155 h 1161573"/>
                <a:gd name="connsiteX530" fmla="*/ 581597 w 1502283"/>
                <a:gd name="connsiteY530" fmla="*/ 101917 h 1161573"/>
                <a:gd name="connsiteX531" fmla="*/ 583121 w 1502283"/>
                <a:gd name="connsiteY531" fmla="*/ 101727 h 1161573"/>
                <a:gd name="connsiteX532" fmla="*/ 584930 w 1502283"/>
                <a:gd name="connsiteY532" fmla="*/ 103061 h 1161573"/>
                <a:gd name="connsiteX533" fmla="*/ 586740 w 1502283"/>
                <a:gd name="connsiteY533" fmla="*/ 104394 h 1161573"/>
                <a:gd name="connsiteX534" fmla="*/ 588740 w 1502283"/>
                <a:gd name="connsiteY534" fmla="*/ 107347 h 1161573"/>
                <a:gd name="connsiteX535" fmla="*/ 593503 w 1502283"/>
                <a:gd name="connsiteY535" fmla="*/ 106775 h 1161573"/>
                <a:gd name="connsiteX536" fmla="*/ 593693 w 1502283"/>
                <a:gd name="connsiteY536" fmla="*/ 108395 h 1161573"/>
                <a:gd name="connsiteX537" fmla="*/ 605123 w 1502283"/>
                <a:gd name="connsiteY537" fmla="*/ 110109 h 1161573"/>
                <a:gd name="connsiteX538" fmla="*/ 609314 w 1502283"/>
                <a:gd name="connsiteY538" fmla="*/ 117634 h 1161573"/>
                <a:gd name="connsiteX539" fmla="*/ 610362 w 1502283"/>
                <a:gd name="connsiteY539" fmla="*/ 125540 h 1161573"/>
                <a:gd name="connsiteX540" fmla="*/ 604456 w 1502283"/>
                <a:gd name="connsiteY540" fmla="*/ 142304 h 1161573"/>
                <a:gd name="connsiteX541" fmla="*/ 599694 w 1502283"/>
                <a:gd name="connsiteY541" fmla="*/ 142875 h 1161573"/>
                <a:gd name="connsiteX542" fmla="*/ 595979 w 1502283"/>
                <a:gd name="connsiteY542" fmla="*/ 151352 h 1161573"/>
                <a:gd name="connsiteX543" fmla="*/ 590074 w 1502283"/>
                <a:gd name="connsiteY543" fmla="*/ 155353 h 1161573"/>
                <a:gd name="connsiteX544" fmla="*/ 590455 w 1502283"/>
                <a:gd name="connsiteY544" fmla="*/ 158496 h 1161573"/>
                <a:gd name="connsiteX545" fmla="*/ 587693 w 1502283"/>
                <a:gd name="connsiteY545" fmla="*/ 162020 h 1161573"/>
                <a:gd name="connsiteX546" fmla="*/ 579977 w 1502283"/>
                <a:gd name="connsiteY546" fmla="*/ 164592 h 1161573"/>
                <a:gd name="connsiteX547" fmla="*/ 575596 w 1502283"/>
                <a:gd name="connsiteY547" fmla="*/ 155543 h 1161573"/>
                <a:gd name="connsiteX548" fmla="*/ 573596 w 1502283"/>
                <a:gd name="connsiteY548" fmla="*/ 152591 h 1161573"/>
                <a:gd name="connsiteX549" fmla="*/ 567309 w 1502283"/>
                <a:gd name="connsiteY549" fmla="*/ 153353 h 1161573"/>
                <a:gd name="connsiteX550" fmla="*/ 565975 w 1502283"/>
                <a:gd name="connsiteY550" fmla="*/ 155162 h 1161573"/>
                <a:gd name="connsiteX551" fmla="*/ 571310 w 1502283"/>
                <a:gd name="connsiteY551" fmla="*/ 159258 h 1161573"/>
                <a:gd name="connsiteX552" fmla="*/ 571500 w 1502283"/>
                <a:gd name="connsiteY552" fmla="*/ 160877 h 1161573"/>
                <a:gd name="connsiteX553" fmla="*/ 570357 w 1502283"/>
                <a:gd name="connsiteY553" fmla="*/ 164211 h 1161573"/>
                <a:gd name="connsiteX554" fmla="*/ 572548 w 1502283"/>
                <a:gd name="connsiteY554" fmla="*/ 168783 h 1161573"/>
                <a:gd name="connsiteX555" fmla="*/ 579501 w 1502283"/>
                <a:gd name="connsiteY555" fmla="*/ 172688 h 1161573"/>
                <a:gd name="connsiteX556" fmla="*/ 581311 w 1502283"/>
                <a:gd name="connsiteY556" fmla="*/ 174022 h 1161573"/>
                <a:gd name="connsiteX557" fmla="*/ 582454 w 1502283"/>
                <a:gd name="connsiteY557" fmla="*/ 170688 h 1161573"/>
                <a:gd name="connsiteX558" fmla="*/ 587407 w 1502283"/>
                <a:gd name="connsiteY558" fmla="*/ 171641 h 1161573"/>
                <a:gd name="connsiteX559" fmla="*/ 583121 w 1502283"/>
                <a:gd name="connsiteY559" fmla="*/ 175355 h 1161573"/>
                <a:gd name="connsiteX560" fmla="*/ 583502 w 1502283"/>
                <a:gd name="connsiteY560" fmla="*/ 178499 h 1161573"/>
                <a:gd name="connsiteX561" fmla="*/ 585502 w 1502283"/>
                <a:gd name="connsiteY561" fmla="*/ 181451 h 1161573"/>
                <a:gd name="connsiteX562" fmla="*/ 591979 w 1502283"/>
                <a:gd name="connsiteY562" fmla="*/ 182213 h 1161573"/>
                <a:gd name="connsiteX563" fmla="*/ 591217 w 1502283"/>
                <a:gd name="connsiteY563" fmla="*/ 188690 h 1161573"/>
                <a:gd name="connsiteX564" fmla="*/ 580739 w 1502283"/>
                <a:gd name="connsiteY564" fmla="*/ 194786 h 1161573"/>
                <a:gd name="connsiteX565" fmla="*/ 586454 w 1502283"/>
                <a:gd name="connsiteY565" fmla="*/ 202121 h 1161573"/>
                <a:gd name="connsiteX566" fmla="*/ 584073 w 1502283"/>
                <a:gd name="connsiteY566" fmla="*/ 208788 h 1161573"/>
                <a:gd name="connsiteX567" fmla="*/ 578168 w 1502283"/>
                <a:gd name="connsiteY567" fmla="*/ 212788 h 1161573"/>
                <a:gd name="connsiteX568" fmla="*/ 575596 w 1502283"/>
                <a:gd name="connsiteY568" fmla="*/ 217932 h 1161573"/>
                <a:gd name="connsiteX569" fmla="*/ 574834 w 1502283"/>
                <a:gd name="connsiteY569" fmla="*/ 224409 h 1161573"/>
                <a:gd name="connsiteX570" fmla="*/ 582549 w 1502283"/>
                <a:gd name="connsiteY570" fmla="*/ 234696 h 1161573"/>
                <a:gd name="connsiteX571" fmla="*/ 579787 w 1502283"/>
                <a:gd name="connsiteY571" fmla="*/ 238220 h 1161573"/>
                <a:gd name="connsiteX572" fmla="*/ 578644 w 1502283"/>
                <a:gd name="connsiteY572" fmla="*/ 241554 h 1161573"/>
                <a:gd name="connsiteX573" fmla="*/ 582168 w 1502283"/>
                <a:gd name="connsiteY573" fmla="*/ 244316 h 1161573"/>
                <a:gd name="connsiteX574" fmla="*/ 577882 w 1502283"/>
                <a:gd name="connsiteY574" fmla="*/ 248031 h 1161573"/>
                <a:gd name="connsiteX575" fmla="*/ 580072 w 1502283"/>
                <a:gd name="connsiteY575" fmla="*/ 252603 h 1161573"/>
                <a:gd name="connsiteX576" fmla="*/ 583406 w 1502283"/>
                <a:gd name="connsiteY576" fmla="*/ 253746 h 1161573"/>
                <a:gd name="connsiteX577" fmla="*/ 589312 w 1502283"/>
                <a:gd name="connsiteY577" fmla="*/ 249746 h 1161573"/>
                <a:gd name="connsiteX578" fmla="*/ 590074 w 1502283"/>
                <a:gd name="connsiteY578" fmla="*/ 256032 h 1161573"/>
                <a:gd name="connsiteX579" fmla="*/ 587312 w 1502283"/>
                <a:gd name="connsiteY579" fmla="*/ 259556 h 1161573"/>
                <a:gd name="connsiteX580" fmla="*/ 586169 w 1502283"/>
                <a:gd name="connsiteY580" fmla="*/ 262890 h 1161573"/>
                <a:gd name="connsiteX581" fmla="*/ 586930 w 1502283"/>
                <a:gd name="connsiteY581" fmla="*/ 269176 h 1161573"/>
                <a:gd name="connsiteX582" fmla="*/ 584740 w 1502283"/>
                <a:gd name="connsiteY582" fmla="*/ 277463 h 1161573"/>
                <a:gd name="connsiteX583" fmla="*/ 585311 w 1502283"/>
                <a:gd name="connsiteY583" fmla="*/ 282226 h 1161573"/>
                <a:gd name="connsiteX584" fmla="*/ 581978 w 1502283"/>
                <a:gd name="connsiteY584" fmla="*/ 281083 h 1161573"/>
                <a:gd name="connsiteX585" fmla="*/ 582168 w 1502283"/>
                <a:gd name="connsiteY585" fmla="*/ 282702 h 1161573"/>
                <a:gd name="connsiteX586" fmla="*/ 585121 w 1502283"/>
                <a:gd name="connsiteY586" fmla="*/ 293561 h 1161573"/>
                <a:gd name="connsiteX587" fmla="*/ 588264 w 1502283"/>
                <a:gd name="connsiteY587" fmla="*/ 293180 h 1161573"/>
                <a:gd name="connsiteX588" fmla="*/ 582739 w 1502283"/>
                <a:gd name="connsiteY588" fmla="*/ 300323 h 1161573"/>
                <a:gd name="connsiteX589" fmla="*/ 588455 w 1502283"/>
                <a:gd name="connsiteY589" fmla="*/ 307562 h 1161573"/>
                <a:gd name="connsiteX590" fmla="*/ 588645 w 1502283"/>
                <a:gd name="connsiteY590" fmla="*/ 309182 h 1161573"/>
                <a:gd name="connsiteX591" fmla="*/ 592360 w 1502283"/>
                <a:gd name="connsiteY591" fmla="*/ 313563 h 1161573"/>
                <a:gd name="connsiteX592" fmla="*/ 589026 w 1502283"/>
                <a:gd name="connsiteY592" fmla="*/ 312420 h 1161573"/>
                <a:gd name="connsiteX593" fmla="*/ 592360 w 1502283"/>
                <a:gd name="connsiteY593" fmla="*/ 313563 h 1161573"/>
                <a:gd name="connsiteX594" fmla="*/ 591407 w 1502283"/>
                <a:gd name="connsiteY594" fmla="*/ 318516 h 1161573"/>
                <a:gd name="connsiteX595" fmla="*/ 585121 w 1502283"/>
                <a:gd name="connsiteY595" fmla="*/ 319278 h 1161573"/>
                <a:gd name="connsiteX596" fmla="*/ 583978 w 1502283"/>
                <a:gd name="connsiteY596" fmla="*/ 322612 h 1161573"/>
                <a:gd name="connsiteX597" fmla="*/ 576739 w 1502283"/>
                <a:gd name="connsiteY597" fmla="*/ 328327 h 1161573"/>
                <a:gd name="connsiteX598" fmla="*/ 571976 w 1502283"/>
                <a:gd name="connsiteY598" fmla="*/ 328898 h 1161573"/>
                <a:gd name="connsiteX599" fmla="*/ 572167 w 1502283"/>
                <a:gd name="connsiteY599" fmla="*/ 330517 h 1161573"/>
                <a:gd name="connsiteX600" fmla="*/ 568071 w 1502283"/>
                <a:gd name="connsiteY600" fmla="*/ 335851 h 1161573"/>
                <a:gd name="connsiteX601" fmla="*/ 568262 w 1502283"/>
                <a:gd name="connsiteY601" fmla="*/ 337471 h 1161573"/>
                <a:gd name="connsiteX602" fmla="*/ 564928 w 1502283"/>
                <a:gd name="connsiteY602" fmla="*/ 336328 h 1161573"/>
                <a:gd name="connsiteX603" fmla="*/ 564166 w 1502283"/>
                <a:gd name="connsiteY603" fmla="*/ 330041 h 1161573"/>
                <a:gd name="connsiteX604" fmla="*/ 557879 w 1502283"/>
                <a:gd name="connsiteY604" fmla="*/ 330803 h 1161573"/>
                <a:gd name="connsiteX605" fmla="*/ 556450 w 1502283"/>
                <a:gd name="connsiteY605" fmla="*/ 332613 h 1161573"/>
                <a:gd name="connsiteX606" fmla="*/ 557022 w 1502283"/>
                <a:gd name="connsiteY606" fmla="*/ 337375 h 1161573"/>
                <a:gd name="connsiteX607" fmla="*/ 554260 w 1502283"/>
                <a:gd name="connsiteY607" fmla="*/ 340900 h 1161573"/>
                <a:gd name="connsiteX608" fmla="*/ 542639 w 1502283"/>
                <a:gd name="connsiteY608" fmla="*/ 350425 h 1161573"/>
                <a:gd name="connsiteX609" fmla="*/ 539305 w 1502283"/>
                <a:gd name="connsiteY609" fmla="*/ 349282 h 1161573"/>
                <a:gd name="connsiteX610" fmla="*/ 535019 w 1502283"/>
                <a:gd name="connsiteY610" fmla="*/ 352996 h 1161573"/>
                <a:gd name="connsiteX611" fmla="*/ 527113 w 1502283"/>
                <a:gd name="connsiteY611" fmla="*/ 354044 h 1161573"/>
                <a:gd name="connsiteX612" fmla="*/ 525494 w 1502283"/>
                <a:gd name="connsiteY612" fmla="*/ 354235 h 1161573"/>
                <a:gd name="connsiteX613" fmla="*/ 526066 w 1502283"/>
                <a:gd name="connsiteY613" fmla="*/ 358997 h 1161573"/>
                <a:gd name="connsiteX614" fmla="*/ 526256 w 1502283"/>
                <a:gd name="connsiteY614" fmla="*/ 360617 h 1161573"/>
                <a:gd name="connsiteX615" fmla="*/ 524923 w 1502283"/>
                <a:gd name="connsiteY615" fmla="*/ 362426 h 1161573"/>
                <a:gd name="connsiteX616" fmla="*/ 528923 w 1502283"/>
                <a:gd name="connsiteY616" fmla="*/ 368332 h 1161573"/>
                <a:gd name="connsiteX617" fmla="*/ 525971 w 1502283"/>
                <a:gd name="connsiteY617" fmla="*/ 370332 h 1161573"/>
                <a:gd name="connsiteX618" fmla="*/ 526542 w 1502283"/>
                <a:gd name="connsiteY618" fmla="*/ 375095 h 1161573"/>
                <a:gd name="connsiteX619" fmla="*/ 523780 w 1502283"/>
                <a:gd name="connsiteY619" fmla="*/ 378619 h 1161573"/>
                <a:gd name="connsiteX620" fmla="*/ 519017 w 1502283"/>
                <a:gd name="connsiteY620" fmla="*/ 379190 h 1161573"/>
                <a:gd name="connsiteX621" fmla="*/ 516255 w 1502283"/>
                <a:gd name="connsiteY621" fmla="*/ 382715 h 1161573"/>
                <a:gd name="connsiteX622" fmla="*/ 519779 w 1502283"/>
                <a:gd name="connsiteY622" fmla="*/ 385477 h 1161573"/>
                <a:gd name="connsiteX623" fmla="*/ 519970 w 1502283"/>
                <a:gd name="connsiteY623" fmla="*/ 387096 h 1161573"/>
                <a:gd name="connsiteX624" fmla="*/ 515017 w 1502283"/>
                <a:gd name="connsiteY624" fmla="*/ 386144 h 1161573"/>
                <a:gd name="connsiteX625" fmla="*/ 515398 w 1502283"/>
                <a:gd name="connsiteY625" fmla="*/ 389287 h 1161573"/>
                <a:gd name="connsiteX626" fmla="*/ 507682 w 1502283"/>
                <a:gd name="connsiteY626" fmla="*/ 391859 h 1161573"/>
                <a:gd name="connsiteX627" fmla="*/ 505873 w 1502283"/>
                <a:gd name="connsiteY627" fmla="*/ 390525 h 1161573"/>
                <a:gd name="connsiteX628" fmla="*/ 504444 w 1502283"/>
                <a:gd name="connsiteY628" fmla="*/ 392335 h 1161573"/>
                <a:gd name="connsiteX629" fmla="*/ 502253 w 1502283"/>
                <a:gd name="connsiteY629" fmla="*/ 400621 h 1161573"/>
                <a:gd name="connsiteX630" fmla="*/ 503301 w 1502283"/>
                <a:gd name="connsiteY630" fmla="*/ 408527 h 1161573"/>
                <a:gd name="connsiteX631" fmla="*/ 505492 w 1502283"/>
                <a:gd name="connsiteY631" fmla="*/ 413099 h 1161573"/>
                <a:gd name="connsiteX632" fmla="*/ 514921 w 1502283"/>
                <a:gd name="connsiteY632" fmla="*/ 411861 h 1161573"/>
                <a:gd name="connsiteX633" fmla="*/ 515112 w 1502283"/>
                <a:gd name="connsiteY633" fmla="*/ 413480 h 1161573"/>
                <a:gd name="connsiteX634" fmla="*/ 518446 w 1502283"/>
                <a:gd name="connsiteY634" fmla="*/ 414623 h 1161573"/>
                <a:gd name="connsiteX635" fmla="*/ 517493 w 1502283"/>
                <a:gd name="connsiteY635" fmla="*/ 419576 h 1161573"/>
                <a:gd name="connsiteX636" fmla="*/ 524447 w 1502283"/>
                <a:gd name="connsiteY636" fmla="*/ 423482 h 1161573"/>
                <a:gd name="connsiteX637" fmla="*/ 525494 w 1502283"/>
                <a:gd name="connsiteY637" fmla="*/ 431387 h 1161573"/>
                <a:gd name="connsiteX638" fmla="*/ 522351 w 1502283"/>
                <a:gd name="connsiteY638" fmla="*/ 431768 h 1161573"/>
                <a:gd name="connsiteX639" fmla="*/ 521018 w 1502283"/>
                <a:gd name="connsiteY639" fmla="*/ 433578 h 1161573"/>
                <a:gd name="connsiteX640" fmla="*/ 516446 w 1502283"/>
                <a:gd name="connsiteY640" fmla="*/ 435769 h 1161573"/>
                <a:gd name="connsiteX641" fmla="*/ 515112 w 1502283"/>
                <a:gd name="connsiteY641" fmla="*/ 437579 h 1161573"/>
                <a:gd name="connsiteX642" fmla="*/ 511969 w 1502283"/>
                <a:gd name="connsiteY642" fmla="*/ 437959 h 1161573"/>
                <a:gd name="connsiteX643" fmla="*/ 509969 w 1502283"/>
                <a:gd name="connsiteY643" fmla="*/ 435007 h 1161573"/>
                <a:gd name="connsiteX644" fmla="*/ 503682 w 1502283"/>
                <a:gd name="connsiteY644" fmla="*/ 435769 h 1161573"/>
                <a:gd name="connsiteX645" fmla="*/ 502063 w 1502283"/>
                <a:gd name="connsiteY645" fmla="*/ 435959 h 1161573"/>
                <a:gd name="connsiteX646" fmla="*/ 499300 w 1502283"/>
                <a:gd name="connsiteY646" fmla="*/ 439484 h 1161573"/>
                <a:gd name="connsiteX647" fmla="*/ 499872 w 1502283"/>
                <a:gd name="connsiteY647" fmla="*/ 444246 h 1161573"/>
                <a:gd name="connsiteX648" fmla="*/ 495776 w 1502283"/>
                <a:gd name="connsiteY648" fmla="*/ 449580 h 1161573"/>
                <a:gd name="connsiteX649" fmla="*/ 491109 w 1502283"/>
                <a:gd name="connsiteY649" fmla="*/ 463010 h 1161573"/>
                <a:gd name="connsiteX650" fmla="*/ 488537 w 1502283"/>
                <a:gd name="connsiteY650" fmla="*/ 468154 h 1161573"/>
                <a:gd name="connsiteX651" fmla="*/ 490919 w 1502283"/>
                <a:gd name="connsiteY651" fmla="*/ 474250 h 1161573"/>
                <a:gd name="connsiteX652" fmla="*/ 487204 w 1502283"/>
                <a:gd name="connsiteY652" fmla="*/ 482727 h 1161573"/>
                <a:gd name="connsiteX653" fmla="*/ 490728 w 1502283"/>
                <a:gd name="connsiteY653" fmla="*/ 485489 h 1161573"/>
                <a:gd name="connsiteX654" fmla="*/ 495490 w 1502283"/>
                <a:gd name="connsiteY654" fmla="*/ 484918 h 1161573"/>
                <a:gd name="connsiteX655" fmla="*/ 502158 w 1502283"/>
                <a:gd name="connsiteY655" fmla="*/ 487299 h 1161573"/>
                <a:gd name="connsiteX656" fmla="*/ 506921 w 1502283"/>
                <a:gd name="connsiteY656" fmla="*/ 486728 h 1161573"/>
                <a:gd name="connsiteX657" fmla="*/ 510635 w 1502283"/>
                <a:gd name="connsiteY657" fmla="*/ 491014 h 1161573"/>
                <a:gd name="connsiteX658" fmla="*/ 516160 w 1502283"/>
                <a:gd name="connsiteY658" fmla="*/ 496729 h 1161573"/>
                <a:gd name="connsiteX659" fmla="*/ 515207 w 1502283"/>
                <a:gd name="connsiteY659" fmla="*/ 501682 h 1161573"/>
                <a:gd name="connsiteX660" fmla="*/ 513397 w 1502283"/>
                <a:gd name="connsiteY660" fmla="*/ 500348 h 1161573"/>
                <a:gd name="connsiteX661" fmla="*/ 512255 w 1502283"/>
                <a:gd name="connsiteY661" fmla="*/ 503682 h 1161573"/>
                <a:gd name="connsiteX662" fmla="*/ 513683 w 1502283"/>
                <a:gd name="connsiteY662" fmla="*/ 514731 h 1161573"/>
                <a:gd name="connsiteX663" fmla="*/ 518636 w 1502283"/>
                <a:gd name="connsiteY663" fmla="*/ 515684 h 1161573"/>
                <a:gd name="connsiteX664" fmla="*/ 514921 w 1502283"/>
                <a:gd name="connsiteY664" fmla="*/ 524161 h 1161573"/>
                <a:gd name="connsiteX665" fmla="*/ 507968 w 1502283"/>
                <a:gd name="connsiteY665" fmla="*/ 520255 h 1161573"/>
                <a:gd name="connsiteX666" fmla="*/ 508349 w 1502283"/>
                <a:gd name="connsiteY666" fmla="*/ 523399 h 1161573"/>
                <a:gd name="connsiteX667" fmla="*/ 505587 w 1502283"/>
                <a:gd name="connsiteY667" fmla="*/ 526923 h 1161573"/>
                <a:gd name="connsiteX668" fmla="*/ 495681 w 1502283"/>
                <a:gd name="connsiteY668" fmla="*/ 525018 h 1161573"/>
                <a:gd name="connsiteX669" fmla="*/ 487775 w 1502283"/>
                <a:gd name="connsiteY669" fmla="*/ 526066 h 1161573"/>
                <a:gd name="connsiteX670" fmla="*/ 485775 w 1502283"/>
                <a:gd name="connsiteY670" fmla="*/ 535972 h 1161573"/>
                <a:gd name="connsiteX671" fmla="*/ 483013 w 1502283"/>
                <a:gd name="connsiteY671" fmla="*/ 539496 h 1161573"/>
                <a:gd name="connsiteX672" fmla="*/ 487966 w 1502283"/>
                <a:gd name="connsiteY672" fmla="*/ 540449 h 1161573"/>
                <a:gd name="connsiteX673" fmla="*/ 485394 w 1502283"/>
                <a:gd name="connsiteY673" fmla="*/ 545592 h 1161573"/>
                <a:gd name="connsiteX674" fmla="*/ 489966 w 1502283"/>
                <a:gd name="connsiteY674" fmla="*/ 543401 h 1161573"/>
                <a:gd name="connsiteX675" fmla="*/ 492157 w 1502283"/>
                <a:gd name="connsiteY675" fmla="*/ 547973 h 1161573"/>
                <a:gd name="connsiteX676" fmla="*/ 492728 w 1502283"/>
                <a:gd name="connsiteY676" fmla="*/ 552736 h 1161573"/>
                <a:gd name="connsiteX677" fmla="*/ 498253 w 1502283"/>
                <a:gd name="connsiteY677" fmla="*/ 558451 h 1161573"/>
                <a:gd name="connsiteX678" fmla="*/ 495490 w 1502283"/>
                <a:gd name="connsiteY678" fmla="*/ 561975 h 1161573"/>
                <a:gd name="connsiteX679" fmla="*/ 493681 w 1502283"/>
                <a:gd name="connsiteY679" fmla="*/ 560642 h 1161573"/>
                <a:gd name="connsiteX680" fmla="*/ 492728 w 1502283"/>
                <a:gd name="connsiteY680" fmla="*/ 565595 h 1161573"/>
                <a:gd name="connsiteX681" fmla="*/ 490156 w 1502283"/>
                <a:gd name="connsiteY681" fmla="*/ 570738 h 1161573"/>
                <a:gd name="connsiteX682" fmla="*/ 491776 w 1502283"/>
                <a:gd name="connsiteY682" fmla="*/ 570548 h 1161573"/>
                <a:gd name="connsiteX683" fmla="*/ 492919 w 1502283"/>
                <a:gd name="connsiteY683" fmla="*/ 567214 h 1161573"/>
                <a:gd name="connsiteX684" fmla="*/ 497872 w 1502283"/>
                <a:gd name="connsiteY684" fmla="*/ 568166 h 1161573"/>
                <a:gd name="connsiteX685" fmla="*/ 505111 w 1502283"/>
                <a:gd name="connsiteY685" fmla="*/ 562451 h 1161573"/>
                <a:gd name="connsiteX686" fmla="*/ 504539 w 1502283"/>
                <a:gd name="connsiteY686" fmla="*/ 557689 h 1161573"/>
                <a:gd name="connsiteX687" fmla="*/ 507873 w 1502283"/>
                <a:gd name="connsiteY687" fmla="*/ 558832 h 1161573"/>
                <a:gd name="connsiteX688" fmla="*/ 508445 w 1502283"/>
                <a:gd name="connsiteY688" fmla="*/ 563594 h 1161573"/>
                <a:gd name="connsiteX689" fmla="*/ 504730 w 1502283"/>
                <a:gd name="connsiteY689" fmla="*/ 572072 h 1161573"/>
                <a:gd name="connsiteX690" fmla="*/ 512826 w 1502283"/>
                <a:gd name="connsiteY690" fmla="*/ 572643 h 1161573"/>
                <a:gd name="connsiteX691" fmla="*/ 513397 w 1502283"/>
                <a:gd name="connsiteY691" fmla="*/ 577405 h 1161573"/>
                <a:gd name="connsiteX692" fmla="*/ 516541 w 1502283"/>
                <a:gd name="connsiteY692" fmla="*/ 577025 h 1161573"/>
                <a:gd name="connsiteX693" fmla="*/ 513779 w 1502283"/>
                <a:gd name="connsiteY693" fmla="*/ 593408 h 1161573"/>
                <a:gd name="connsiteX694" fmla="*/ 513969 w 1502283"/>
                <a:gd name="connsiteY694" fmla="*/ 595027 h 1161573"/>
                <a:gd name="connsiteX695" fmla="*/ 512159 w 1502283"/>
                <a:gd name="connsiteY695" fmla="*/ 593693 h 1161573"/>
                <a:gd name="connsiteX696" fmla="*/ 509588 w 1502283"/>
                <a:gd name="connsiteY696" fmla="*/ 598837 h 1161573"/>
                <a:gd name="connsiteX697" fmla="*/ 506825 w 1502283"/>
                <a:gd name="connsiteY697" fmla="*/ 602361 h 1161573"/>
                <a:gd name="connsiteX698" fmla="*/ 505682 w 1502283"/>
                <a:gd name="connsiteY698" fmla="*/ 605695 h 1161573"/>
                <a:gd name="connsiteX699" fmla="*/ 501110 w 1502283"/>
                <a:gd name="connsiteY699" fmla="*/ 607886 h 1161573"/>
                <a:gd name="connsiteX700" fmla="*/ 499967 w 1502283"/>
                <a:gd name="connsiteY700" fmla="*/ 611219 h 1161573"/>
                <a:gd name="connsiteX701" fmla="*/ 496824 w 1502283"/>
                <a:gd name="connsiteY701" fmla="*/ 611600 h 1161573"/>
                <a:gd name="connsiteX702" fmla="*/ 492252 w 1502283"/>
                <a:gd name="connsiteY702" fmla="*/ 613791 h 1161573"/>
                <a:gd name="connsiteX703" fmla="*/ 485775 w 1502283"/>
                <a:gd name="connsiteY703" fmla="*/ 613029 h 1161573"/>
                <a:gd name="connsiteX704" fmla="*/ 481013 w 1502283"/>
                <a:gd name="connsiteY704" fmla="*/ 613601 h 1161573"/>
                <a:gd name="connsiteX705" fmla="*/ 480060 w 1502283"/>
                <a:gd name="connsiteY705" fmla="*/ 618554 h 1161573"/>
                <a:gd name="connsiteX706" fmla="*/ 485965 w 1502283"/>
                <a:gd name="connsiteY706" fmla="*/ 627412 h 1161573"/>
                <a:gd name="connsiteX707" fmla="*/ 486346 w 1502283"/>
                <a:gd name="connsiteY707" fmla="*/ 630555 h 1161573"/>
                <a:gd name="connsiteX708" fmla="*/ 481584 w 1502283"/>
                <a:gd name="connsiteY708" fmla="*/ 631126 h 1161573"/>
                <a:gd name="connsiteX709" fmla="*/ 477488 w 1502283"/>
                <a:gd name="connsiteY709" fmla="*/ 636461 h 1161573"/>
                <a:gd name="connsiteX710" fmla="*/ 477869 w 1502283"/>
                <a:gd name="connsiteY710" fmla="*/ 639604 h 1161573"/>
                <a:gd name="connsiteX711" fmla="*/ 473773 w 1502283"/>
                <a:gd name="connsiteY711" fmla="*/ 644938 h 1161573"/>
                <a:gd name="connsiteX712" fmla="*/ 466820 w 1502283"/>
                <a:gd name="connsiteY712" fmla="*/ 641033 h 1161573"/>
                <a:gd name="connsiteX713" fmla="*/ 459296 w 1502283"/>
                <a:gd name="connsiteY713" fmla="*/ 645224 h 1161573"/>
                <a:gd name="connsiteX714" fmla="*/ 454152 w 1502283"/>
                <a:gd name="connsiteY714" fmla="*/ 642652 h 1161573"/>
                <a:gd name="connsiteX715" fmla="*/ 451390 w 1502283"/>
                <a:gd name="connsiteY715" fmla="*/ 646176 h 1161573"/>
                <a:gd name="connsiteX716" fmla="*/ 444437 w 1502283"/>
                <a:gd name="connsiteY716" fmla="*/ 642271 h 1161573"/>
                <a:gd name="connsiteX717" fmla="*/ 439674 w 1502283"/>
                <a:gd name="connsiteY717" fmla="*/ 642842 h 1161573"/>
                <a:gd name="connsiteX718" fmla="*/ 436912 w 1502283"/>
                <a:gd name="connsiteY718" fmla="*/ 646367 h 1161573"/>
                <a:gd name="connsiteX719" fmla="*/ 432149 w 1502283"/>
                <a:gd name="connsiteY719" fmla="*/ 646938 h 1161573"/>
                <a:gd name="connsiteX720" fmla="*/ 421672 w 1502283"/>
                <a:gd name="connsiteY720" fmla="*/ 653034 h 1161573"/>
                <a:gd name="connsiteX721" fmla="*/ 419862 w 1502283"/>
                <a:gd name="connsiteY721" fmla="*/ 651701 h 1161573"/>
                <a:gd name="connsiteX722" fmla="*/ 421672 w 1502283"/>
                <a:gd name="connsiteY722" fmla="*/ 653034 h 1161573"/>
                <a:gd name="connsiteX723" fmla="*/ 416147 w 1502283"/>
                <a:gd name="connsiteY723" fmla="*/ 660178 h 1161573"/>
                <a:gd name="connsiteX724" fmla="*/ 424624 w 1502283"/>
                <a:gd name="connsiteY724" fmla="*/ 663893 h 1161573"/>
                <a:gd name="connsiteX725" fmla="*/ 425196 w 1502283"/>
                <a:gd name="connsiteY725" fmla="*/ 668655 h 1161573"/>
                <a:gd name="connsiteX726" fmla="*/ 428530 w 1502283"/>
                <a:gd name="connsiteY726" fmla="*/ 669798 h 1161573"/>
                <a:gd name="connsiteX727" fmla="*/ 428911 w 1502283"/>
                <a:gd name="connsiteY727" fmla="*/ 672941 h 1161573"/>
                <a:gd name="connsiteX728" fmla="*/ 419862 w 1502283"/>
                <a:gd name="connsiteY728" fmla="*/ 677323 h 1161573"/>
                <a:gd name="connsiteX729" fmla="*/ 417671 w 1502283"/>
                <a:gd name="connsiteY729" fmla="*/ 672751 h 1161573"/>
                <a:gd name="connsiteX730" fmla="*/ 414528 w 1502283"/>
                <a:gd name="connsiteY730" fmla="*/ 673132 h 1161573"/>
                <a:gd name="connsiteX731" fmla="*/ 413575 w 1502283"/>
                <a:gd name="connsiteY731" fmla="*/ 678085 h 1161573"/>
                <a:gd name="connsiteX732" fmla="*/ 410623 w 1502283"/>
                <a:gd name="connsiteY732" fmla="*/ 680085 h 1161573"/>
                <a:gd name="connsiteX733" fmla="*/ 413956 w 1502283"/>
                <a:gd name="connsiteY733" fmla="*/ 681228 h 1161573"/>
                <a:gd name="connsiteX734" fmla="*/ 411004 w 1502283"/>
                <a:gd name="connsiteY734" fmla="*/ 683228 h 1161573"/>
                <a:gd name="connsiteX735" fmla="*/ 409670 w 1502283"/>
                <a:gd name="connsiteY735" fmla="*/ 685038 h 1161573"/>
                <a:gd name="connsiteX736" fmla="*/ 399383 w 1502283"/>
                <a:gd name="connsiteY736" fmla="*/ 679895 h 1161573"/>
                <a:gd name="connsiteX737" fmla="*/ 398050 w 1502283"/>
                <a:gd name="connsiteY737" fmla="*/ 681704 h 1161573"/>
                <a:gd name="connsiteX738" fmla="*/ 396907 w 1502283"/>
                <a:gd name="connsiteY738" fmla="*/ 685038 h 1161573"/>
                <a:gd name="connsiteX739" fmla="*/ 391763 w 1502283"/>
                <a:gd name="connsiteY739" fmla="*/ 682466 h 1161573"/>
                <a:gd name="connsiteX740" fmla="*/ 387001 w 1502283"/>
                <a:gd name="connsiteY740" fmla="*/ 683038 h 1161573"/>
                <a:gd name="connsiteX741" fmla="*/ 385572 w 1502283"/>
                <a:gd name="connsiteY741" fmla="*/ 684848 h 1161573"/>
                <a:gd name="connsiteX742" fmla="*/ 387953 w 1502283"/>
                <a:gd name="connsiteY742" fmla="*/ 690944 h 1161573"/>
                <a:gd name="connsiteX743" fmla="*/ 388144 w 1502283"/>
                <a:gd name="connsiteY743" fmla="*/ 692563 h 1161573"/>
                <a:gd name="connsiteX744" fmla="*/ 384620 w 1502283"/>
                <a:gd name="connsiteY744" fmla="*/ 689801 h 1161573"/>
                <a:gd name="connsiteX745" fmla="*/ 380619 w 1502283"/>
                <a:gd name="connsiteY745" fmla="*/ 683895 h 1161573"/>
                <a:gd name="connsiteX746" fmla="*/ 375666 w 1502283"/>
                <a:gd name="connsiteY746" fmla="*/ 682943 h 1161573"/>
                <a:gd name="connsiteX747" fmla="*/ 374523 w 1502283"/>
                <a:gd name="connsiteY747" fmla="*/ 686276 h 1161573"/>
                <a:gd name="connsiteX748" fmla="*/ 371189 w 1502283"/>
                <a:gd name="connsiteY748" fmla="*/ 685133 h 1161573"/>
                <a:gd name="connsiteX749" fmla="*/ 364046 w 1502283"/>
                <a:gd name="connsiteY749" fmla="*/ 679609 h 1161573"/>
                <a:gd name="connsiteX750" fmla="*/ 362426 w 1502283"/>
                <a:gd name="connsiteY750" fmla="*/ 679799 h 1161573"/>
                <a:gd name="connsiteX751" fmla="*/ 357664 w 1502283"/>
                <a:gd name="connsiteY751" fmla="*/ 680371 h 1161573"/>
                <a:gd name="connsiteX752" fmla="*/ 357473 w 1502283"/>
                <a:gd name="connsiteY752" fmla="*/ 678751 h 1161573"/>
                <a:gd name="connsiteX753" fmla="*/ 352711 w 1502283"/>
                <a:gd name="connsiteY753" fmla="*/ 679323 h 1161573"/>
                <a:gd name="connsiteX754" fmla="*/ 352139 w 1502283"/>
                <a:gd name="connsiteY754" fmla="*/ 674561 h 1161573"/>
                <a:gd name="connsiteX755" fmla="*/ 350330 w 1502283"/>
                <a:gd name="connsiteY755" fmla="*/ 673227 h 1161573"/>
                <a:gd name="connsiteX756" fmla="*/ 347186 w 1502283"/>
                <a:gd name="connsiteY756" fmla="*/ 673608 h 1161573"/>
                <a:gd name="connsiteX757" fmla="*/ 347567 w 1502283"/>
                <a:gd name="connsiteY757" fmla="*/ 676751 h 1161573"/>
                <a:gd name="connsiteX758" fmla="*/ 349568 w 1502283"/>
                <a:gd name="connsiteY758" fmla="*/ 679704 h 1161573"/>
                <a:gd name="connsiteX759" fmla="*/ 348805 w 1502283"/>
                <a:gd name="connsiteY759" fmla="*/ 686181 h 1161573"/>
                <a:gd name="connsiteX760" fmla="*/ 344043 w 1502283"/>
                <a:gd name="connsiteY760" fmla="*/ 686753 h 1161573"/>
                <a:gd name="connsiteX761" fmla="*/ 340138 w 1502283"/>
                <a:gd name="connsiteY761" fmla="*/ 693706 h 1161573"/>
                <a:gd name="connsiteX762" fmla="*/ 336995 w 1502283"/>
                <a:gd name="connsiteY762" fmla="*/ 694087 h 1161573"/>
                <a:gd name="connsiteX763" fmla="*/ 334042 w 1502283"/>
                <a:gd name="connsiteY763" fmla="*/ 696087 h 1161573"/>
                <a:gd name="connsiteX764" fmla="*/ 325946 w 1502283"/>
                <a:gd name="connsiteY764" fmla="*/ 695516 h 1161573"/>
                <a:gd name="connsiteX765" fmla="*/ 319469 w 1502283"/>
                <a:gd name="connsiteY765" fmla="*/ 694754 h 1161573"/>
                <a:gd name="connsiteX766" fmla="*/ 312325 w 1502283"/>
                <a:gd name="connsiteY766" fmla="*/ 689229 h 1161573"/>
                <a:gd name="connsiteX767" fmla="*/ 310324 w 1502283"/>
                <a:gd name="connsiteY767" fmla="*/ 686276 h 1161573"/>
                <a:gd name="connsiteX768" fmla="*/ 313468 w 1502283"/>
                <a:gd name="connsiteY768" fmla="*/ 685895 h 1161573"/>
                <a:gd name="connsiteX769" fmla="*/ 309944 w 1502283"/>
                <a:gd name="connsiteY769" fmla="*/ 683133 h 1161573"/>
                <a:gd name="connsiteX770" fmla="*/ 309753 w 1502283"/>
                <a:gd name="connsiteY770" fmla="*/ 681514 h 1161573"/>
                <a:gd name="connsiteX771" fmla="*/ 310134 w 1502283"/>
                <a:gd name="connsiteY771" fmla="*/ 684657 h 1161573"/>
                <a:gd name="connsiteX772" fmla="*/ 308800 w 1502283"/>
                <a:gd name="connsiteY772" fmla="*/ 686467 h 1161573"/>
                <a:gd name="connsiteX773" fmla="*/ 306800 w 1502283"/>
                <a:gd name="connsiteY773" fmla="*/ 683514 h 1161573"/>
                <a:gd name="connsiteX774" fmla="*/ 303657 w 1502283"/>
                <a:gd name="connsiteY774" fmla="*/ 683895 h 1161573"/>
                <a:gd name="connsiteX775" fmla="*/ 303276 w 1502283"/>
                <a:gd name="connsiteY775" fmla="*/ 680752 h 1161573"/>
                <a:gd name="connsiteX776" fmla="*/ 305086 w 1502283"/>
                <a:gd name="connsiteY776" fmla="*/ 682085 h 1161573"/>
                <a:gd name="connsiteX777" fmla="*/ 303086 w 1502283"/>
                <a:gd name="connsiteY777" fmla="*/ 679133 h 1161573"/>
                <a:gd name="connsiteX778" fmla="*/ 304514 w 1502283"/>
                <a:gd name="connsiteY778" fmla="*/ 677323 h 1161573"/>
                <a:gd name="connsiteX779" fmla="*/ 305657 w 1502283"/>
                <a:gd name="connsiteY779" fmla="*/ 673989 h 1161573"/>
                <a:gd name="connsiteX780" fmla="*/ 302323 w 1502283"/>
                <a:gd name="connsiteY780" fmla="*/ 672846 h 1161573"/>
                <a:gd name="connsiteX781" fmla="*/ 300133 w 1502283"/>
                <a:gd name="connsiteY781" fmla="*/ 668274 h 1161573"/>
                <a:gd name="connsiteX782" fmla="*/ 299752 w 1502283"/>
                <a:gd name="connsiteY782" fmla="*/ 665131 h 1161573"/>
                <a:gd name="connsiteX783" fmla="*/ 297752 w 1502283"/>
                <a:gd name="connsiteY783" fmla="*/ 662178 h 1161573"/>
                <a:gd name="connsiteX784" fmla="*/ 290513 w 1502283"/>
                <a:gd name="connsiteY784" fmla="*/ 667893 h 1161573"/>
                <a:gd name="connsiteX785" fmla="*/ 286607 w 1502283"/>
                <a:gd name="connsiteY785" fmla="*/ 674846 h 1161573"/>
                <a:gd name="connsiteX786" fmla="*/ 276130 w 1502283"/>
                <a:gd name="connsiteY786" fmla="*/ 668179 h 1161573"/>
                <a:gd name="connsiteX787" fmla="*/ 276130 w 1502283"/>
                <a:gd name="connsiteY787" fmla="*/ 681038 h 1161573"/>
                <a:gd name="connsiteX788" fmla="*/ 279559 w 1502283"/>
                <a:gd name="connsiteY788" fmla="*/ 682180 h 1161573"/>
                <a:gd name="connsiteX789" fmla="*/ 270700 w 1502283"/>
                <a:gd name="connsiteY789" fmla="*/ 688086 h 1161573"/>
                <a:gd name="connsiteX790" fmla="*/ 265176 w 1502283"/>
                <a:gd name="connsiteY790" fmla="*/ 695230 h 1161573"/>
                <a:gd name="connsiteX791" fmla="*/ 263176 w 1502283"/>
                <a:gd name="connsiteY791" fmla="*/ 692277 h 1161573"/>
                <a:gd name="connsiteX792" fmla="*/ 260223 w 1502283"/>
                <a:gd name="connsiteY792" fmla="*/ 694277 h 1161573"/>
                <a:gd name="connsiteX793" fmla="*/ 255270 w 1502283"/>
                <a:gd name="connsiteY793" fmla="*/ 693325 h 1161573"/>
                <a:gd name="connsiteX794" fmla="*/ 256699 w 1502283"/>
                <a:gd name="connsiteY794" fmla="*/ 691515 h 1161573"/>
                <a:gd name="connsiteX795" fmla="*/ 261461 w 1502283"/>
                <a:gd name="connsiteY795" fmla="*/ 690944 h 1161573"/>
                <a:gd name="connsiteX796" fmla="*/ 261271 w 1502283"/>
                <a:gd name="connsiteY796" fmla="*/ 689324 h 1161573"/>
                <a:gd name="connsiteX797" fmla="*/ 250793 w 1502283"/>
                <a:gd name="connsiteY797" fmla="*/ 682657 h 1161573"/>
                <a:gd name="connsiteX798" fmla="*/ 246031 w 1502283"/>
                <a:gd name="connsiteY798" fmla="*/ 683228 h 1161573"/>
                <a:gd name="connsiteX799" fmla="*/ 242697 w 1502283"/>
                <a:gd name="connsiteY799" fmla="*/ 682085 h 1161573"/>
                <a:gd name="connsiteX800" fmla="*/ 245078 w 1502283"/>
                <a:gd name="connsiteY800" fmla="*/ 688181 h 1161573"/>
                <a:gd name="connsiteX801" fmla="*/ 242316 w 1502283"/>
                <a:gd name="connsiteY801" fmla="*/ 691705 h 1161573"/>
                <a:gd name="connsiteX802" fmla="*/ 242888 w 1502283"/>
                <a:gd name="connsiteY802" fmla="*/ 696468 h 1161573"/>
                <a:gd name="connsiteX803" fmla="*/ 238982 w 1502283"/>
                <a:gd name="connsiteY803" fmla="*/ 703421 h 1161573"/>
                <a:gd name="connsiteX804" fmla="*/ 242316 w 1502283"/>
                <a:gd name="connsiteY804" fmla="*/ 704564 h 1161573"/>
                <a:gd name="connsiteX805" fmla="*/ 240982 w 1502283"/>
                <a:gd name="connsiteY805" fmla="*/ 706374 h 1161573"/>
                <a:gd name="connsiteX806" fmla="*/ 239363 w 1502283"/>
                <a:gd name="connsiteY806" fmla="*/ 706565 h 1161573"/>
                <a:gd name="connsiteX807" fmla="*/ 241554 w 1502283"/>
                <a:gd name="connsiteY807" fmla="*/ 711137 h 1161573"/>
                <a:gd name="connsiteX808" fmla="*/ 239935 w 1502283"/>
                <a:gd name="connsiteY808" fmla="*/ 711327 h 1161573"/>
                <a:gd name="connsiteX809" fmla="*/ 236791 w 1502283"/>
                <a:gd name="connsiteY809" fmla="*/ 711708 h 1161573"/>
                <a:gd name="connsiteX810" fmla="*/ 234029 w 1502283"/>
                <a:gd name="connsiteY810" fmla="*/ 715232 h 1161573"/>
                <a:gd name="connsiteX811" fmla="*/ 237554 w 1502283"/>
                <a:gd name="connsiteY811" fmla="*/ 717995 h 1161573"/>
                <a:gd name="connsiteX812" fmla="*/ 231457 w 1502283"/>
                <a:gd name="connsiteY812" fmla="*/ 720376 h 1161573"/>
                <a:gd name="connsiteX813" fmla="*/ 230696 w 1502283"/>
                <a:gd name="connsiteY813" fmla="*/ 714089 h 1161573"/>
                <a:gd name="connsiteX814" fmla="*/ 227552 w 1502283"/>
                <a:gd name="connsiteY814" fmla="*/ 714470 h 1161573"/>
                <a:gd name="connsiteX815" fmla="*/ 219075 w 1502283"/>
                <a:gd name="connsiteY815" fmla="*/ 710755 h 1161573"/>
                <a:gd name="connsiteX816" fmla="*/ 216503 w 1502283"/>
                <a:gd name="connsiteY816" fmla="*/ 715899 h 1161573"/>
                <a:gd name="connsiteX817" fmla="*/ 209550 w 1502283"/>
                <a:gd name="connsiteY817" fmla="*/ 711994 h 1161573"/>
                <a:gd name="connsiteX818" fmla="*/ 204025 w 1502283"/>
                <a:gd name="connsiteY818" fmla="*/ 719138 h 1161573"/>
                <a:gd name="connsiteX819" fmla="*/ 197072 w 1502283"/>
                <a:gd name="connsiteY819" fmla="*/ 715232 h 1161573"/>
                <a:gd name="connsiteX820" fmla="*/ 194500 w 1502283"/>
                <a:gd name="connsiteY820" fmla="*/ 720376 h 1161573"/>
                <a:gd name="connsiteX821" fmla="*/ 187166 w 1502283"/>
                <a:gd name="connsiteY821" fmla="*/ 726091 h 1161573"/>
                <a:gd name="connsiteX822" fmla="*/ 185547 w 1502283"/>
                <a:gd name="connsiteY822" fmla="*/ 726281 h 1161573"/>
                <a:gd name="connsiteX823" fmla="*/ 181451 w 1502283"/>
                <a:gd name="connsiteY823" fmla="*/ 731615 h 1161573"/>
                <a:gd name="connsiteX824" fmla="*/ 187928 w 1502283"/>
                <a:gd name="connsiteY824" fmla="*/ 732377 h 1161573"/>
                <a:gd name="connsiteX825" fmla="*/ 188119 w 1502283"/>
                <a:gd name="connsiteY825" fmla="*/ 733997 h 1161573"/>
                <a:gd name="connsiteX826" fmla="*/ 186499 w 1502283"/>
                <a:gd name="connsiteY826" fmla="*/ 734187 h 1161573"/>
                <a:gd name="connsiteX827" fmla="*/ 185356 w 1502283"/>
                <a:gd name="connsiteY827" fmla="*/ 737521 h 1161573"/>
                <a:gd name="connsiteX828" fmla="*/ 180594 w 1502283"/>
                <a:gd name="connsiteY828" fmla="*/ 738092 h 1161573"/>
                <a:gd name="connsiteX829" fmla="*/ 180594 w 1502283"/>
                <a:gd name="connsiteY829" fmla="*/ 738092 h 1161573"/>
                <a:gd name="connsiteX830" fmla="*/ 178403 w 1502283"/>
                <a:gd name="connsiteY830" fmla="*/ 746379 h 1161573"/>
                <a:gd name="connsiteX831" fmla="*/ 170879 w 1502283"/>
                <a:gd name="connsiteY831" fmla="*/ 750570 h 1161573"/>
                <a:gd name="connsiteX832" fmla="*/ 158020 w 1502283"/>
                <a:gd name="connsiteY832" fmla="*/ 750570 h 1161573"/>
                <a:gd name="connsiteX833" fmla="*/ 154686 w 1502283"/>
                <a:gd name="connsiteY833" fmla="*/ 749427 h 1161573"/>
                <a:gd name="connsiteX834" fmla="*/ 154877 w 1502283"/>
                <a:gd name="connsiteY834" fmla="*/ 751046 h 1161573"/>
                <a:gd name="connsiteX835" fmla="*/ 154496 w 1502283"/>
                <a:gd name="connsiteY835" fmla="*/ 760762 h 1161573"/>
                <a:gd name="connsiteX836" fmla="*/ 154686 w 1502283"/>
                <a:gd name="connsiteY836" fmla="*/ 762381 h 1161573"/>
                <a:gd name="connsiteX837" fmla="*/ 151924 w 1502283"/>
                <a:gd name="connsiteY837" fmla="*/ 765905 h 1161573"/>
                <a:gd name="connsiteX838" fmla="*/ 146590 w 1502283"/>
                <a:gd name="connsiteY838" fmla="*/ 761809 h 1161573"/>
                <a:gd name="connsiteX839" fmla="*/ 142875 w 1502283"/>
                <a:gd name="connsiteY839" fmla="*/ 770287 h 1161573"/>
                <a:gd name="connsiteX840" fmla="*/ 139541 w 1502283"/>
                <a:gd name="connsiteY840" fmla="*/ 769144 h 1161573"/>
                <a:gd name="connsiteX841" fmla="*/ 141351 w 1502283"/>
                <a:gd name="connsiteY841" fmla="*/ 770477 h 1161573"/>
                <a:gd name="connsiteX842" fmla="*/ 141541 w 1502283"/>
                <a:gd name="connsiteY842" fmla="*/ 772097 h 1161573"/>
                <a:gd name="connsiteX843" fmla="*/ 143351 w 1502283"/>
                <a:gd name="connsiteY843" fmla="*/ 773430 h 1161573"/>
                <a:gd name="connsiteX844" fmla="*/ 140779 w 1502283"/>
                <a:gd name="connsiteY844" fmla="*/ 778574 h 1161573"/>
                <a:gd name="connsiteX845" fmla="*/ 141351 w 1502283"/>
                <a:gd name="connsiteY845" fmla="*/ 783336 h 1161573"/>
                <a:gd name="connsiteX846" fmla="*/ 138208 w 1502283"/>
                <a:gd name="connsiteY846" fmla="*/ 783717 h 1161573"/>
                <a:gd name="connsiteX847" fmla="*/ 135446 w 1502283"/>
                <a:gd name="connsiteY847" fmla="*/ 787241 h 1161573"/>
                <a:gd name="connsiteX848" fmla="*/ 133255 w 1502283"/>
                <a:gd name="connsiteY848" fmla="*/ 782669 h 1161573"/>
                <a:gd name="connsiteX849" fmla="*/ 127921 w 1502283"/>
                <a:gd name="connsiteY849" fmla="*/ 778574 h 1161573"/>
                <a:gd name="connsiteX850" fmla="*/ 125539 w 1502283"/>
                <a:gd name="connsiteY850" fmla="*/ 772478 h 1161573"/>
                <a:gd name="connsiteX851" fmla="*/ 118396 w 1502283"/>
                <a:gd name="connsiteY851" fmla="*/ 766953 h 1161573"/>
                <a:gd name="connsiteX852" fmla="*/ 118015 w 1502283"/>
                <a:gd name="connsiteY852" fmla="*/ 763810 h 1161573"/>
                <a:gd name="connsiteX853" fmla="*/ 108585 w 1502283"/>
                <a:gd name="connsiteY853" fmla="*/ 765048 h 1161573"/>
                <a:gd name="connsiteX854" fmla="*/ 102870 w 1502283"/>
                <a:gd name="connsiteY854" fmla="*/ 770573 h 1161573"/>
                <a:gd name="connsiteX855" fmla="*/ 99917 w 1502283"/>
                <a:gd name="connsiteY855" fmla="*/ 772573 h 1161573"/>
                <a:gd name="connsiteX856" fmla="*/ 99536 w 1502283"/>
                <a:gd name="connsiteY856" fmla="*/ 769430 h 1161573"/>
                <a:gd name="connsiteX857" fmla="*/ 94774 w 1502283"/>
                <a:gd name="connsiteY857" fmla="*/ 770001 h 1161573"/>
                <a:gd name="connsiteX858" fmla="*/ 92773 w 1502283"/>
                <a:gd name="connsiteY858" fmla="*/ 767048 h 1161573"/>
                <a:gd name="connsiteX859" fmla="*/ 89630 w 1502283"/>
                <a:gd name="connsiteY859" fmla="*/ 767429 h 1161573"/>
                <a:gd name="connsiteX860" fmla="*/ 85058 w 1502283"/>
                <a:gd name="connsiteY860" fmla="*/ 769620 h 1161573"/>
                <a:gd name="connsiteX861" fmla="*/ 89440 w 1502283"/>
                <a:gd name="connsiteY861" fmla="*/ 778669 h 1161573"/>
                <a:gd name="connsiteX862" fmla="*/ 88106 w 1502283"/>
                <a:gd name="connsiteY862" fmla="*/ 780479 h 1161573"/>
                <a:gd name="connsiteX863" fmla="*/ 83534 w 1502283"/>
                <a:gd name="connsiteY863" fmla="*/ 782669 h 1161573"/>
                <a:gd name="connsiteX864" fmla="*/ 84106 w 1502283"/>
                <a:gd name="connsiteY864" fmla="*/ 787432 h 1161573"/>
                <a:gd name="connsiteX865" fmla="*/ 77819 w 1502283"/>
                <a:gd name="connsiteY865" fmla="*/ 788194 h 1161573"/>
                <a:gd name="connsiteX866" fmla="*/ 79820 w 1502283"/>
                <a:gd name="connsiteY866" fmla="*/ 791147 h 1161573"/>
                <a:gd name="connsiteX867" fmla="*/ 78677 w 1502283"/>
                <a:gd name="connsiteY867" fmla="*/ 794480 h 1161573"/>
                <a:gd name="connsiteX868" fmla="*/ 76105 w 1502283"/>
                <a:gd name="connsiteY868" fmla="*/ 799624 h 1161573"/>
                <a:gd name="connsiteX869" fmla="*/ 72771 w 1502283"/>
                <a:gd name="connsiteY869" fmla="*/ 798481 h 1161573"/>
                <a:gd name="connsiteX870" fmla="*/ 70390 w 1502283"/>
                <a:gd name="connsiteY870" fmla="*/ 792385 h 1161573"/>
                <a:gd name="connsiteX871" fmla="*/ 67437 w 1502283"/>
                <a:gd name="connsiteY871" fmla="*/ 794385 h 1161573"/>
                <a:gd name="connsiteX872" fmla="*/ 64294 w 1502283"/>
                <a:gd name="connsiteY872" fmla="*/ 794766 h 1161573"/>
                <a:gd name="connsiteX873" fmla="*/ 59150 w 1502283"/>
                <a:gd name="connsiteY873" fmla="*/ 792194 h 1161573"/>
                <a:gd name="connsiteX874" fmla="*/ 57150 w 1502283"/>
                <a:gd name="connsiteY874" fmla="*/ 789242 h 1161573"/>
                <a:gd name="connsiteX875" fmla="*/ 59531 w 1502283"/>
                <a:gd name="connsiteY875" fmla="*/ 782479 h 1161573"/>
                <a:gd name="connsiteX876" fmla="*/ 56197 w 1502283"/>
                <a:gd name="connsiteY876" fmla="*/ 781336 h 1161573"/>
                <a:gd name="connsiteX877" fmla="*/ 54007 w 1502283"/>
                <a:gd name="connsiteY877" fmla="*/ 776764 h 1161573"/>
                <a:gd name="connsiteX878" fmla="*/ 50482 w 1502283"/>
                <a:gd name="connsiteY878" fmla="*/ 774001 h 1161573"/>
                <a:gd name="connsiteX879" fmla="*/ 44387 w 1502283"/>
                <a:gd name="connsiteY879" fmla="*/ 776383 h 1161573"/>
                <a:gd name="connsiteX880" fmla="*/ 46958 w 1502283"/>
                <a:gd name="connsiteY880" fmla="*/ 784098 h 1161573"/>
                <a:gd name="connsiteX881" fmla="*/ 34862 w 1502283"/>
                <a:gd name="connsiteY881" fmla="*/ 777621 h 1161573"/>
                <a:gd name="connsiteX882" fmla="*/ 28575 w 1502283"/>
                <a:gd name="connsiteY882" fmla="*/ 778383 h 1161573"/>
                <a:gd name="connsiteX883" fmla="*/ 31909 w 1502283"/>
                <a:gd name="connsiteY883" fmla="*/ 779526 h 1161573"/>
                <a:gd name="connsiteX884" fmla="*/ 35052 w 1502283"/>
                <a:gd name="connsiteY884" fmla="*/ 779145 h 1161573"/>
                <a:gd name="connsiteX885" fmla="*/ 35433 w 1502283"/>
                <a:gd name="connsiteY885" fmla="*/ 782288 h 1161573"/>
                <a:gd name="connsiteX886" fmla="*/ 38576 w 1502283"/>
                <a:gd name="connsiteY886" fmla="*/ 781907 h 1161573"/>
                <a:gd name="connsiteX887" fmla="*/ 32671 w 1502283"/>
                <a:gd name="connsiteY887" fmla="*/ 785908 h 1161573"/>
                <a:gd name="connsiteX888" fmla="*/ 30099 w 1502283"/>
                <a:gd name="connsiteY888" fmla="*/ 791051 h 1161573"/>
                <a:gd name="connsiteX889" fmla="*/ 28766 w 1502283"/>
                <a:gd name="connsiteY889" fmla="*/ 792861 h 1161573"/>
                <a:gd name="connsiteX890" fmla="*/ 27432 w 1502283"/>
                <a:gd name="connsiteY890" fmla="*/ 794671 h 1161573"/>
                <a:gd name="connsiteX891" fmla="*/ 24289 w 1502283"/>
                <a:gd name="connsiteY891" fmla="*/ 795052 h 1161573"/>
                <a:gd name="connsiteX892" fmla="*/ 19336 w 1502283"/>
                <a:gd name="connsiteY892" fmla="*/ 794099 h 1161573"/>
                <a:gd name="connsiteX893" fmla="*/ 18764 w 1502283"/>
                <a:gd name="connsiteY893" fmla="*/ 789337 h 1161573"/>
                <a:gd name="connsiteX894" fmla="*/ 13811 w 1502283"/>
                <a:gd name="connsiteY894" fmla="*/ 788384 h 1161573"/>
                <a:gd name="connsiteX895" fmla="*/ 13049 w 1502283"/>
                <a:gd name="connsiteY895" fmla="*/ 794861 h 1161573"/>
                <a:gd name="connsiteX896" fmla="*/ 15050 w 1502283"/>
                <a:gd name="connsiteY896" fmla="*/ 797814 h 1161573"/>
                <a:gd name="connsiteX897" fmla="*/ 16383 w 1502283"/>
                <a:gd name="connsiteY897" fmla="*/ 796004 h 1161573"/>
                <a:gd name="connsiteX898" fmla="*/ 16573 w 1502283"/>
                <a:gd name="connsiteY898" fmla="*/ 797624 h 1161573"/>
                <a:gd name="connsiteX899" fmla="*/ 19907 w 1502283"/>
                <a:gd name="connsiteY899" fmla="*/ 798767 h 1161573"/>
                <a:gd name="connsiteX900" fmla="*/ 21717 w 1502283"/>
                <a:gd name="connsiteY900" fmla="*/ 800100 h 1161573"/>
                <a:gd name="connsiteX901" fmla="*/ 20764 w 1502283"/>
                <a:gd name="connsiteY901" fmla="*/ 805053 h 1161573"/>
                <a:gd name="connsiteX902" fmla="*/ 17431 w 1502283"/>
                <a:gd name="connsiteY902" fmla="*/ 803910 h 1161573"/>
                <a:gd name="connsiteX903" fmla="*/ 14668 w 1502283"/>
                <a:gd name="connsiteY903" fmla="*/ 807434 h 1161573"/>
                <a:gd name="connsiteX904" fmla="*/ 13049 w 1502283"/>
                <a:gd name="connsiteY904" fmla="*/ 807625 h 1161573"/>
                <a:gd name="connsiteX905" fmla="*/ 14859 w 1502283"/>
                <a:gd name="connsiteY905" fmla="*/ 808958 h 1161573"/>
                <a:gd name="connsiteX906" fmla="*/ 21336 w 1502283"/>
                <a:gd name="connsiteY906" fmla="*/ 809720 h 1161573"/>
                <a:gd name="connsiteX907" fmla="*/ 16764 w 1502283"/>
                <a:gd name="connsiteY907" fmla="*/ 811911 h 1161573"/>
                <a:gd name="connsiteX908" fmla="*/ 14002 w 1502283"/>
                <a:gd name="connsiteY908" fmla="*/ 815435 h 1161573"/>
                <a:gd name="connsiteX909" fmla="*/ 8858 w 1502283"/>
                <a:gd name="connsiteY909" fmla="*/ 812864 h 1161573"/>
                <a:gd name="connsiteX910" fmla="*/ 7525 w 1502283"/>
                <a:gd name="connsiteY910" fmla="*/ 814673 h 1161573"/>
                <a:gd name="connsiteX911" fmla="*/ 8287 w 1502283"/>
                <a:gd name="connsiteY911" fmla="*/ 820960 h 1161573"/>
                <a:gd name="connsiteX912" fmla="*/ 6667 w 1502283"/>
                <a:gd name="connsiteY912" fmla="*/ 821150 h 1161573"/>
                <a:gd name="connsiteX913" fmla="*/ 0 w 1502283"/>
                <a:gd name="connsiteY913" fmla="*/ 831628 h 1161573"/>
                <a:gd name="connsiteX914" fmla="*/ 13430 w 1502283"/>
                <a:gd name="connsiteY914" fmla="*/ 836295 h 1161573"/>
                <a:gd name="connsiteX915" fmla="*/ 27432 w 1502283"/>
                <a:gd name="connsiteY915" fmla="*/ 845725 h 1161573"/>
                <a:gd name="connsiteX916" fmla="*/ 43434 w 1502283"/>
                <a:gd name="connsiteY916" fmla="*/ 845249 h 1161573"/>
                <a:gd name="connsiteX917" fmla="*/ 49911 w 1502283"/>
                <a:gd name="connsiteY917" fmla="*/ 846010 h 1161573"/>
                <a:gd name="connsiteX918" fmla="*/ 52864 w 1502283"/>
                <a:gd name="connsiteY918" fmla="*/ 844010 h 1161573"/>
                <a:gd name="connsiteX919" fmla="*/ 58198 w 1502283"/>
                <a:gd name="connsiteY919" fmla="*/ 848106 h 1161573"/>
                <a:gd name="connsiteX920" fmla="*/ 65913 w 1502283"/>
                <a:gd name="connsiteY920" fmla="*/ 858393 h 1161573"/>
                <a:gd name="connsiteX921" fmla="*/ 70675 w 1502283"/>
                <a:gd name="connsiteY921" fmla="*/ 857822 h 1161573"/>
                <a:gd name="connsiteX922" fmla="*/ 68866 w 1502283"/>
                <a:gd name="connsiteY922" fmla="*/ 856488 h 1161573"/>
                <a:gd name="connsiteX923" fmla="*/ 82487 w 1502283"/>
                <a:gd name="connsiteY923" fmla="*/ 862775 h 1161573"/>
                <a:gd name="connsiteX924" fmla="*/ 91821 w 1502283"/>
                <a:gd name="connsiteY924" fmla="*/ 872776 h 1161573"/>
                <a:gd name="connsiteX925" fmla="*/ 95821 w 1502283"/>
                <a:gd name="connsiteY925" fmla="*/ 878681 h 1161573"/>
                <a:gd name="connsiteX926" fmla="*/ 102965 w 1502283"/>
                <a:gd name="connsiteY926" fmla="*/ 884206 h 1161573"/>
                <a:gd name="connsiteX927" fmla="*/ 107156 w 1502283"/>
                <a:gd name="connsiteY927" fmla="*/ 891731 h 1161573"/>
                <a:gd name="connsiteX928" fmla="*/ 110490 w 1502283"/>
                <a:gd name="connsiteY928" fmla="*/ 892874 h 1161573"/>
                <a:gd name="connsiteX929" fmla="*/ 114776 w 1502283"/>
                <a:gd name="connsiteY929" fmla="*/ 889159 h 1161573"/>
                <a:gd name="connsiteX930" fmla="*/ 122682 w 1502283"/>
                <a:gd name="connsiteY930" fmla="*/ 888111 h 1161573"/>
                <a:gd name="connsiteX931" fmla="*/ 125825 w 1502283"/>
                <a:gd name="connsiteY931" fmla="*/ 887730 h 1161573"/>
                <a:gd name="connsiteX932" fmla="*/ 126016 w 1502283"/>
                <a:gd name="connsiteY932" fmla="*/ 889349 h 1161573"/>
                <a:gd name="connsiteX933" fmla="*/ 144208 w 1502283"/>
                <a:gd name="connsiteY933" fmla="*/ 893445 h 1161573"/>
                <a:gd name="connsiteX934" fmla="*/ 154305 w 1502283"/>
                <a:gd name="connsiteY934" fmla="*/ 896969 h 1161573"/>
                <a:gd name="connsiteX935" fmla="*/ 165545 w 1502283"/>
                <a:gd name="connsiteY935" fmla="*/ 884301 h 1161573"/>
                <a:gd name="connsiteX936" fmla="*/ 169259 w 1502283"/>
                <a:gd name="connsiteY936" fmla="*/ 875824 h 1161573"/>
                <a:gd name="connsiteX937" fmla="*/ 171831 w 1502283"/>
                <a:gd name="connsiteY937" fmla="*/ 870680 h 1161573"/>
                <a:gd name="connsiteX938" fmla="*/ 181546 w 1502283"/>
                <a:gd name="connsiteY938" fmla="*/ 871061 h 1161573"/>
                <a:gd name="connsiteX939" fmla="*/ 191643 w 1502283"/>
                <a:gd name="connsiteY939" fmla="*/ 874585 h 1161573"/>
                <a:gd name="connsiteX940" fmla="*/ 202692 w 1502283"/>
                <a:gd name="connsiteY940" fmla="*/ 873157 h 1161573"/>
                <a:gd name="connsiteX941" fmla="*/ 206026 w 1502283"/>
                <a:gd name="connsiteY941" fmla="*/ 874300 h 1161573"/>
                <a:gd name="connsiteX942" fmla="*/ 209169 w 1502283"/>
                <a:gd name="connsiteY942" fmla="*/ 873919 h 1161573"/>
                <a:gd name="connsiteX943" fmla="*/ 214694 w 1502283"/>
                <a:gd name="connsiteY943" fmla="*/ 866775 h 1161573"/>
                <a:gd name="connsiteX944" fmla="*/ 216884 w 1502283"/>
                <a:gd name="connsiteY944" fmla="*/ 871347 h 1161573"/>
                <a:gd name="connsiteX945" fmla="*/ 222599 w 1502283"/>
                <a:gd name="connsiteY945" fmla="*/ 878681 h 1161573"/>
                <a:gd name="connsiteX946" fmla="*/ 221456 w 1502283"/>
                <a:gd name="connsiteY946" fmla="*/ 882015 h 1161573"/>
                <a:gd name="connsiteX947" fmla="*/ 216884 w 1502283"/>
                <a:gd name="connsiteY947" fmla="*/ 884206 h 1161573"/>
                <a:gd name="connsiteX948" fmla="*/ 217456 w 1502283"/>
                <a:gd name="connsiteY948" fmla="*/ 888968 h 1161573"/>
                <a:gd name="connsiteX949" fmla="*/ 227362 w 1502283"/>
                <a:gd name="connsiteY949" fmla="*/ 890873 h 1161573"/>
                <a:gd name="connsiteX950" fmla="*/ 232886 w 1502283"/>
                <a:gd name="connsiteY950" fmla="*/ 896588 h 1161573"/>
                <a:gd name="connsiteX951" fmla="*/ 240602 w 1502283"/>
                <a:gd name="connsiteY951" fmla="*/ 894017 h 1161573"/>
                <a:gd name="connsiteX952" fmla="*/ 240030 w 1502283"/>
                <a:gd name="connsiteY952" fmla="*/ 889254 h 1161573"/>
                <a:gd name="connsiteX953" fmla="*/ 238220 w 1502283"/>
                <a:gd name="connsiteY953" fmla="*/ 887921 h 1161573"/>
                <a:gd name="connsiteX954" fmla="*/ 241363 w 1502283"/>
                <a:gd name="connsiteY954" fmla="*/ 887540 h 1161573"/>
                <a:gd name="connsiteX955" fmla="*/ 243364 w 1502283"/>
                <a:gd name="connsiteY955" fmla="*/ 890492 h 1161573"/>
                <a:gd name="connsiteX956" fmla="*/ 243554 w 1502283"/>
                <a:gd name="connsiteY956" fmla="*/ 892111 h 1161573"/>
                <a:gd name="connsiteX957" fmla="*/ 243364 w 1502283"/>
                <a:gd name="connsiteY957" fmla="*/ 903351 h 1161573"/>
                <a:gd name="connsiteX958" fmla="*/ 247079 w 1502283"/>
                <a:gd name="connsiteY958" fmla="*/ 907637 h 1161573"/>
                <a:gd name="connsiteX959" fmla="*/ 250222 w 1502283"/>
                <a:gd name="connsiteY959" fmla="*/ 907256 h 1161573"/>
                <a:gd name="connsiteX960" fmla="*/ 255746 w 1502283"/>
                <a:gd name="connsiteY960" fmla="*/ 900113 h 1161573"/>
                <a:gd name="connsiteX961" fmla="*/ 259937 w 1502283"/>
                <a:gd name="connsiteY961" fmla="*/ 907637 h 1161573"/>
                <a:gd name="connsiteX962" fmla="*/ 260509 w 1502283"/>
                <a:gd name="connsiteY962" fmla="*/ 912400 h 1161573"/>
                <a:gd name="connsiteX963" fmla="*/ 258889 w 1502283"/>
                <a:gd name="connsiteY963" fmla="*/ 912590 h 1161573"/>
                <a:gd name="connsiteX964" fmla="*/ 255556 w 1502283"/>
                <a:gd name="connsiteY964" fmla="*/ 911447 h 1161573"/>
                <a:gd name="connsiteX965" fmla="*/ 253174 w 1502283"/>
                <a:gd name="connsiteY965" fmla="*/ 905351 h 1161573"/>
                <a:gd name="connsiteX966" fmla="*/ 253365 w 1502283"/>
                <a:gd name="connsiteY966" fmla="*/ 906971 h 1161573"/>
                <a:gd name="connsiteX967" fmla="*/ 252413 w 1502283"/>
                <a:gd name="connsiteY967" fmla="*/ 911924 h 1161573"/>
                <a:gd name="connsiteX968" fmla="*/ 254603 w 1502283"/>
                <a:gd name="connsiteY968" fmla="*/ 916496 h 1161573"/>
                <a:gd name="connsiteX969" fmla="*/ 264033 w 1502283"/>
                <a:gd name="connsiteY969" fmla="*/ 915257 h 1161573"/>
                <a:gd name="connsiteX970" fmla="*/ 269938 w 1502283"/>
                <a:gd name="connsiteY970" fmla="*/ 911257 h 1161573"/>
                <a:gd name="connsiteX971" fmla="*/ 273653 w 1502283"/>
                <a:gd name="connsiteY971" fmla="*/ 915543 h 1161573"/>
                <a:gd name="connsiteX972" fmla="*/ 278606 w 1502283"/>
                <a:gd name="connsiteY972" fmla="*/ 916496 h 1161573"/>
                <a:gd name="connsiteX973" fmla="*/ 275272 w 1502283"/>
                <a:gd name="connsiteY973" fmla="*/ 928116 h 1161573"/>
                <a:gd name="connsiteX974" fmla="*/ 278797 w 1502283"/>
                <a:gd name="connsiteY974" fmla="*/ 930878 h 1161573"/>
                <a:gd name="connsiteX975" fmla="*/ 282512 w 1502283"/>
                <a:gd name="connsiteY975" fmla="*/ 935260 h 1161573"/>
                <a:gd name="connsiteX976" fmla="*/ 285655 w 1502283"/>
                <a:gd name="connsiteY976" fmla="*/ 934879 h 1161573"/>
                <a:gd name="connsiteX977" fmla="*/ 288607 w 1502283"/>
                <a:gd name="connsiteY977" fmla="*/ 932878 h 1161573"/>
                <a:gd name="connsiteX978" fmla="*/ 287560 w 1502283"/>
                <a:gd name="connsiteY978" fmla="*/ 924973 h 1161573"/>
                <a:gd name="connsiteX979" fmla="*/ 290703 w 1502283"/>
                <a:gd name="connsiteY979" fmla="*/ 924592 h 1161573"/>
                <a:gd name="connsiteX980" fmla="*/ 292513 w 1502283"/>
                <a:gd name="connsiteY980" fmla="*/ 925925 h 1161573"/>
                <a:gd name="connsiteX981" fmla="*/ 291560 w 1502283"/>
                <a:gd name="connsiteY981" fmla="*/ 930878 h 1161573"/>
                <a:gd name="connsiteX982" fmla="*/ 299466 w 1502283"/>
                <a:gd name="connsiteY982" fmla="*/ 929831 h 1161573"/>
                <a:gd name="connsiteX983" fmla="*/ 301466 w 1502283"/>
                <a:gd name="connsiteY983" fmla="*/ 932783 h 1161573"/>
                <a:gd name="connsiteX984" fmla="*/ 294418 w 1502283"/>
                <a:gd name="connsiteY984" fmla="*/ 940118 h 1161573"/>
                <a:gd name="connsiteX985" fmla="*/ 294227 w 1502283"/>
                <a:gd name="connsiteY985" fmla="*/ 951357 h 1161573"/>
                <a:gd name="connsiteX986" fmla="*/ 303086 w 1502283"/>
                <a:gd name="connsiteY986" fmla="*/ 958215 h 1161573"/>
                <a:gd name="connsiteX987" fmla="*/ 306229 w 1502283"/>
                <a:gd name="connsiteY987" fmla="*/ 957834 h 1161573"/>
                <a:gd name="connsiteX988" fmla="*/ 321088 w 1502283"/>
                <a:gd name="connsiteY988" fmla="*/ 973550 h 1161573"/>
                <a:gd name="connsiteX989" fmla="*/ 326612 w 1502283"/>
                <a:gd name="connsiteY989" fmla="*/ 979265 h 1161573"/>
                <a:gd name="connsiteX990" fmla="*/ 366141 w 1502283"/>
                <a:gd name="connsiteY990" fmla="*/ 999934 h 1161573"/>
                <a:gd name="connsiteX991" fmla="*/ 378428 w 1502283"/>
                <a:gd name="connsiteY991" fmla="*/ 1008031 h 1161573"/>
                <a:gd name="connsiteX992" fmla="*/ 388715 w 1502283"/>
                <a:gd name="connsiteY992" fmla="*/ 1013174 h 1161573"/>
                <a:gd name="connsiteX993" fmla="*/ 400526 w 1502283"/>
                <a:gd name="connsiteY993" fmla="*/ 1018032 h 1161573"/>
                <a:gd name="connsiteX994" fmla="*/ 408622 w 1502283"/>
                <a:gd name="connsiteY994" fmla="*/ 1018603 h 1161573"/>
                <a:gd name="connsiteX995" fmla="*/ 411766 w 1502283"/>
                <a:gd name="connsiteY995" fmla="*/ 1018223 h 1161573"/>
                <a:gd name="connsiteX996" fmla="*/ 411385 w 1502283"/>
                <a:gd name="connsiteY996" fmla="*/ 1015079 h 1161573"/>
                <a:gd name="connsiteX997" fmla="*/ 414719 w 1502283"/>
                <a:gd name="connsiteY997" fmla="*/ 1016222 h 1161573"/>
                <a:gd name="connsiteX998" fmla="*/ 416528 w 1502283"/>
                <a:gd name="connsiteY998" fmla="*/ 1017556 h 1161573"/>
                <a:gd name="connsiteX999" fmla="*/ 429768 w 1502283"/>
                <a:gd name="connsiteY999" fmla="*/ 1020699 h 1161573"/>
                <a:gd name="connsiteX1000" fmla="*/ 430911 w 1502283"/>
                <a:gd name="connsiteY1000" fmla="*/ 1017365 h 1161573"/>
                <a:gd name="connsiteX1001" fmla="*/ 435864 w 1502283"/>
                <a:gd name="connsiteY1001" fmla="*/ 1018318 h 1161573"/>
                <a:gd name="connsiteX1002" fmla="*/ 437674 w 1502283"/>
                <a:gd name="connsiteY1002" fmla="*/ 1019651 h 1161573"/>
                <a:gd name="connsiteX1003" fmla="*/ 440627 w 1502283"/>
                <a:gd name="connsiteY1003" fmla="*/ 1017651 h 1161573"/>
                <a:gd name="connsiteX1004" fmla="*/ 440246 w 1502283"/>
                <a:gd name="connsiteY1004" fmla="*/ 1014508 h 1161573"/>
                <a:gd name="connsiteX1005" fmla="*/ 469868 w 1502283"/>
                <a:gd name="connsiteY1005" fmla="*/ 1020318 h 1161573"/>
                <a:gd name="connsiteX1006" fmla="*/ 507206 w 1502283"/>
                <a:gd name="connsiteY1006" fmla="*/ 1023557 h 1161573"/>
                <a:gd name="connsiteX1007" fmla="*/ 517303 w 1502283"/>
                <a:gd name="connsiteY1007" fmla="*/ 1027081 h 1161573"/>
                <a:gd name="connsiteX1008" fmla="*/ 518922 w 1502283"/>
                <a:gd name="connsiteY1008" fmla="*/ 1026890 h 1161573"/>
                <a:gd name="connsiteX1009" fmla="*/ 521684 w 1502283"/>
                <a:gd name="connsiteY1009" fmla="*/ 1023366 h 1161573"/>
                <a:gd name="connsiteX1010" fmla="*/ 529590 w 1502283"/>
                <a:gd name="connsiteY1010" fmla="*/ 1022318 h 1161573"/>
                <a:gd name="connsiteX1011" fmla="*/ 542830 w 1502283"/>
                <a:gd name="connsiteY1011" fmla="*/ 1025461 h 1161573"/>
                <a:gd name="connsiteX1012" fmla="*/ 547306 w 1502283"/>
                <a:gd name="connsiteY1012" fmla="*/ 1023271 h 1161573"/>
                <a:gd name="connsiteX1013" fmla="*/ 554641 w 1502283"/>
                <a:gd name="connsiteY1013" fmla="*/ 1030319 h 1161573"/>
                <a:gd name="connsiteX1014" fmla="*/ 567880 w 1502283"/>
                <a:gd name="connsiteY1014" fmla="*/ 1033463 h 1161573"/>
                <a:gd name="connsiteX1015" fmla="*/ 573596 w 1502283"/>
                <a:gd name="connsiteY1015" fmla="*/ 1027938 h 1161573"/>
                <a:gd name="connsiteX1016" fmla="*/ 574357 w 1502283"/>
                <a:gd name="connsiteY1016" fmla="*/ 1021461 h 1161573"/>
                <a:gd name="connsiteX1017" fmla="*/ 575691 w 1502283"/>
                <a:gd name="connsiteY1017" fmla="*/ 1019651 h 1161573"/>
                <a:gd name="connsiteX1018" fmla="*/ 575310 w 1502283"/>
                <a:gd name="connsiteY1018" fmla="*/ 1016508 h 1161573"/>
                <a:gd name="connsiteX1019" fmla="*/ 577691 w 1502283"/>
                <a:gd name="connsiteY1019" fmla="*/ 1022604 h 1161573"/>
                <a:gd name="connsiteX1020" fmla="*/ 582263 w 1502283"/>
                <a:gd name="connsiteY1020" fmla="*/ 1020413 h 1161573"/>
                <a:gd name="connsiteX1021" fmla="*/ 584263 w 1502283"/>
                <a:gd name="connsiteY1021" fmla="*/ 1023366 h 1161573"/>
                <a:gd name="connsiteX1022" fmla="*/ 586264 w 1502283"/>
                <a:gd name="connsiteY1022" fmla="*/ 1026319 h 1161573"/>
                <a:gd name="connsiteX1023" fmla="*/ 583502 w 1502283"/>
                <a:gd name="connsiteY1023" fmla="*/ 1029843 h 1161573"/>
                <a:gd name="connsiteX1024" fmla="*/ 587216 w 1502283"/>
                <a:gd name="connsiteY1024" fmla="*/ 1034129 h 1161573"/>
                <a:gd name="connsiteX1025" fmla="*/ 588550 w 1502283"/>
                <a:gd name="connsiteY1025" fmla="*/ 1032319 h 1161573"/>
                <a:gd name="connsiteX1026" fmla="*/ 588931 w 1502283"/>
                <a:gd name="connsiteY1026" fmla="*/ 1035463 h 1161573"/>
                <a:gd name="connsiteX1027" fmla="*/ 599980 w 1502283"/>
                <a:gd name="connsiteY1027" fmla="*/ 1034034 h 1161573"/>
                <a:gd name="connsiteX1028" fmla="*/ 600170 w 1502283"/>
                <a:gd name="connsiteY1028" fmla="*/ 1035653 h 1161573"/>
                <a:gd name="connsiteX1029" fmla="*/ 603313 w 1502283"/>
                <a:gd name="connsiteY1029" fmla="*/ 1035272 h 1161573"/>
                <a:gd name="connsiteX1030" fmla="*/ 606266 w 1502283"/>
                <a:gd name="connsiteY1030" fmla="*/ 1033272 h 1161573"/>
                <a:gd name="connsiteX1031" fmla="*/ 607219 w 1502283"/>
                <a:gd name="connsiteY1031" fmla="*/ 1028319 h 1161573"/>
                <a:gd name="connsiteX1032" fmla="*/ 608647 w 1502283"/>
                <a:gd name="connsiteY1032" fmla="*/ 1026509 h 1161573"/>
                <a:gd name="connsiteX1033" fmla="*/ 609790 w 1502283"/>
                <a:gd name="connsiteY1033" fmla="*/ 1023176 h 1161573"/>
                <a:gd name="connsiteX1034" fmla="*/ 611410 w 1502283"/>
                <a:gd name="connsiteY1034" fmla="*/ 1022985 h 1161573"/>
                <a:gd name="connsiteX1035" fmla="*/ 613410 w 1502283"/>
                <a:gd name="connsiteY1035" fmla="*/ 1025938 h 1161573"/>
                <a:gd name="connsiteX1036" fmla="*/ 619125 w 1502283"/>
                <a:gd name="connsiteY1036" fmla="*/ 1020413 h 1161573"/>
                <a:gd name="connsiteX1037" fmla="*/ 620935 w 1502283"/>
                <a:gd name="connsiteY1037" fmla="*/ 1021747 h 1161573"/>
                <a:gd name="connsiteX1038" fmla="*/ 623888 w 1502283"/>
                <a:gd name="connsiteY1038" fmla="*/ 1019747 h 1161573"/>
                <a:gd name="connsiteX1039" fmla="*/ 626078 w 1502283"/>
                <a:gd name="connsiteY1039" fmla="*/ 1011460 h 1161573"/>
                <a:gd name="connsiteX1040" fmla="*/ 627412 w 1502283"/>
                <a:gd name="connsiteY1040" fmla="*/ 1009650 h 1161573"/>
                <a:gd name="connsiteX1041" fmla="*/ 628364 w 1502283"/>
                <a:gd name="connsiteY1041" fmla="*/ 1004697 h 1161573"/>
                <a:gd name="connsiteX1042" fmla="*/ 633889 w 1502283"/>
                <a:gd name="connsiteY1042" fmla="*/ 997553 h 1161573"/>
                <a:gd name="connsiteX1043" fmla="*/ 639985 w 1502283"/>
                <a:gd name="connsiteY1043" fmla="*/ 995172 h 1161573"/>
                <a:gd name="connsiteX1044" fmla="*/ 644366 w 1502283"/>
                <a:gd name="connsiteY1044" fmla="*/ 991457 h 1161573"/>
                <a:gd name="connsiteX1045" fmla="*/ 644938 w 1502283"/>
                <a:gd name="connsiteY1045" fmla="*/ 983361 h 1161573"/>
                <a:gd name="connsiteX1046" fmla="*/ 643128 w 1502283"/>
                <a:gd name="connsiteY1046" fmla="*/ 982027 h 1161573"/>
                <a:gd name="connsiteX1047" fmla="*/ 642938 w 1502283"/>
                <a:gd name="connsiteY1047" fmla="*/ 980408 h 1161573"/>
                <a:gd name="connsiteX1048" fmla="*/ 645128 w 1502283"/>
                <a:gd name="connsiteY1048" fmla="*/ 972122 h 1161573"/>
                <a:gd name="connsiteX1049" fmla="*/ 650462 w 1502283"/>
                <a:gd name="connsiteY1049" fmla="*/ 963454 h 1161573"/>
                <a:gd name="connsiteX1050" fmla="*/ 649700 w 1502283"/>
                <a:gd name="connsiteY1050" fmla="*/ 957167 h 1161573"/>
                <a:gd name="connsiteX1051" fmla="*/ 652463 w 1502283"/>
                <a:gd name="connsiteY1051" fmla="*/ 953643 h 1161573"/>
                <a:gd name="connsiteX1052" fmla="*/ 661130 w 1502283"/>
                <a:gd name="connsiteY1052" fmla="*/ 946118 h 1161573"/>
                <a:gd name="connsiteX1053" fmla="*/ 660940 w 1502283"/>
                <a:gd name="connsiteY1053" fmla="*/ 944499 h 1161573"/>
                <a:gd name="connsiteX1054" fmla="*/ 657606 w 1502283"/>
                <a:gd name="connsiteY1054" fmla="*/ 943356 h 1161573"/>
                <a:gd name="connsiteX1055" fmla="*/ 660749 w 1502283"/>
                <a:gd name="connsiteY1055" fmla="*/ 942975 h 1161573"/>
                <a:gd name="connsiteX1056" fmla="*/ 671417 w 1502283"/>
                <a:gd name="connsiteY1056" fmla="*/ 951262 h 1161573"/>
                <a:gd name="connsiteX1057" fmla="*/ 687610 w 1502283"/>
                <a:gd name="connsiteY1057" fmla="*/ 952405 h 1161573"/>
                <a:gd name="connsiteX1058" fmla="*/ 698468 w 1502283"/>
                <a:gd name="connsiteY1058" fmla="*/ 949452 h 1161573"/>
                <a:gd name="connsiteX1059" fmla="*/ 700659 w 1502283"/>
                <a:gd name="connsiteY1059" fmla="*/ 954024 h 1161573"/>
                <a:gd name="connsiteX1060" fmla="*/ 705231 w 1502283"/>
                <a:gd name="connsiteY1060" fmla="*/ 951833 h 1161573"/>
                <a:gd name="connsiteX1061" fmla="*/ 710565 w 1502283"/>
                <a:gd name="connsiteY1061" fmla="*/ 943166 h 1161573"/>
                <a:gd name="connsiteX1062" fmla="*/ 714661 w 1502283"/>
                <a:gd name="connsiteY1062" fmla="*/ 937832 h 1161573"/>
                <a:gd name="connsiteX1063" fmla="*/ 725519 w 1502283"/>
                <a:gd name="connsiteY1063" fmla="*/ 947642 h 1161573"/>
                <a:gd name="connsiteX1064" fmla="*/ 727520 w 1502283"/>
                <a:gd name="connsiteY1064" fmla="*/ 950595 h 1161573"/>
                <a:gd name="connsiteX1065" fmla="*/ 735044 w 1502283"/>
                <a:gd name="connsiteY1065" fmla="*/ 959263 h 1161573"/>
                <a:gd name="connsiteX1066" fmla="*/ 746474 w 1502283"/>
                <a:gd name="connsiteY1066" fmla="*/ 960977 h 1161573"/>
                <a:gd name="connsiteX1067" fmla="*/ 755142 w 1502283"/>
                <a:gd name="connsiteY1067" fmla="*/ 966311 h 1161573"/>
                <a:gd name="connsiteX1068" fmla="*/ 754380 w 1502283"/>
                <a:gd name="connsiteY1068" fmla="*/ 972788 h 1161573"/>
                <a:gd name="connsiteX1069" fmla="*/ 765810 w 1502283"/>
                <a:gd name="connsiteY1069" fmla="*/ 974503 h 1161573"/>
                <a:gd name="connsiteX1070" fmla="*/ 770572 w 1502283"/>
                <a:gd name="connsiteY1070" fmla="*/ 973931 h 1161573"/>
                <a:gd name="connsiteX1071" fmla="*/ 780193 w 1502283"/>
                <a:gd name="connsiteY1071" fmla="*/ 974312 h 1161573"/>
                <a:gd name="connsiteX1072" fmla="*/ 781812 w 1502283"/>
                <a:gd name="connsiteY1072" fmla="*/ 974122 h 1161573"/>
                <a:gd name="connsiteX1073" fmla="*/ 782764 w 1502283"/>
                <a:gd name="connsiteY1073" fmla="*/ 969169 h 1161573"/>
                <a:gd name="connsiteX1074" fmla="*/ 790480 w 1502283"/>
                <a:gd name="connsiteY1074" fmla="*/ 966597 h 1161573"/>
                <a:gd name="connsiteX1075" fmla="*/ 790670 w 1502283"/>
                <a:gd name="connsiteY1075" fmla="*/ 968216 h 1161573"/>
                <a:gd name="connsiteX1076" fmla="*/ 797338 w 1502283"/>
                <a:gd name="connsiteY1076" fmla="*/ 970598 h 1161573"/>
                <a:gd name="connsiteX1077" fmla="*/ 804005 w 1502283"/>
                <a:gd name="connsiteY1077" fmla="*/ 972979 h 1161573"/>
                <a:gd name="connsiteX1078" fmla="*/ 806387 w 1502283"/>
                <a:gd name="connsiteY1078" fmla="*/ 979075 h 1161573"/>
                <a:gd name="connsiteX1079" fmla="*/ 813721 w 1502283"/>
                <a:gd name="connsiteY1079" fmla="*/ 986123 h 1161573"/>
                <a:gd name="connsiteX1080" fmla="*/ 817150 w 1502283"/>
                <a:gd name="connsiteY1080" fmla="*/ 1000125 h 1161573"/>
                <a:gd name="connsiteX1081" fmla="*/ 818197 w 1502283"/>
                <a:gd name="connsiteY1081" fmla="*/ 1008031 h 1161573"/>
                <a:gd name="connsiteX1082" fmla="*/ 812863 w 1502283"/>
                <a:gd name="connsiteY1082" fmla="*/ 1016699 h 1161573"/>
                <a:gd name="connsiteX1083" fmla="*/ 813245 w 1502283"/>
                <a:gd name="connsiteY1083" fmla="*/ 1019842 h 1161573"/>
                <a:gd name="connsiteX1084" fmla="*/ 817436 w 1502283"/>
                <a:gd name="connsiteY1084" fmla="*/ 1027367 h 1161573"/>
                <a:gd name="connsiteX1085" fmla="*/ 819817 w 1502283"/>
                <a:gd name="connsiteY1085" fmla="*/ 1033463 h 1161573"/>
                <a:gd name="connsiteX1086" fmla="*/ 822960 w 1502283"/>
                <a:gd name="connsiteY1086" fmla="*/ 1033082 h 1161573"/>
                <a:gd name="connsiteX1087" fmla="*/ 833247 w 1502283"/>
                <a:gd name="connsiteY1087" fmla="*/ 1025366 h 1161573"/>
                <a:gd name="connsiteX1088" fmla="*/ 834771 w 1502283"/>
                <a:gd name="connsiteY1088" fmla="*/ 1025176 h 1161573"/>
                <a:gd name="connsiteX1089" fmla="*/ 836200 w 1502283"/>
                <a:gd name="connsiteY1089" fmla="*/ 1023366 h 1161573"/>
                <a:gd name="connsiteX1090" fmla="*/ 844105 w 1502283"/>
                <a:gd name="connsiteY1090" fmla="*/ 1022318 h 1161573"/>
                <a:gd name="connsiteX1091" fmla="*/ 849058 w 1502283"/>
                <a:gd name="connsiteY1091" fmla="*/ 1023271 h 1161573"/>
                <a:gd name="connsiteX1092" fmla="*/ 850868 w 1502283"/>
                <a:gd name="connsiteY1092" fmla="*/ 1024604 h 1161573"/>
                <a:gd name="connsiteX1093" fmla="*/ 854012 w 1502283"/>
                <a:gd name="connsiteY1093" fmla="*/ 1024223 h 1161573"/>
                <a:gd name="connsiteX1094" fmla="*/ 852678 w 1502283"/>
                <a:gd name="connsiteY1094" fmla="*/ 1026033 h 1161573"/>
                <a:gd name="connsiteX1095" fmla="*/ 852869 w 1502283"/>
                <a:gd name="connsiteY1095" fmla="*/ 1027652 h 1161573"/>
                <a:gd name="connsiteX1096" fmla="*/ 856012 w 1502283"/>
                <a:gd name="connsiteY1096" fmla="*/ 1027271 h 1161573"/>
                <a:gd name="connsiteX1097" fmla="*/ 857822 w 1502283"/>
                <a:gd name="connsiteY1097" fmla="*/ 1028605 h 1161573"/>
                <a:gd name="connsiteX1098" fmla="*/ 858203 w 1502283"/>
                <a:gd name="connsiteY1098" fmla="*/ 1031748 h 1161573"/>
                <a:gd name="connsiteX1099" fmla="*/ 865918 w 1502283"/>
                <a:gd name="connsiteY1099" fmla="*/ 1029176 h 1161573"/>
                <a:gd name="connsiteX1100" fmla="*/ 870109 w 1502283"/>
                <a:gd name="connsiteY1100" fmla="*/ 1036701 h 1161573"/>
                <a:gd name="connsiteX1101" fmla="*/ 870680 w 1502283"/>
                <a:gd name="connsiteY1101" fmla="*/ 1041464 h 1161573"/>
                <a:gd name="connsiteX1102" fmla="*/ 874205 w 1502283"/>
                <a:gd name="connsiteY1102" fmla="*/ 1044226 h 1161573"/>
                <a:gd name="connsiteX1103" fmla="*/ 874395 w 1502283"/>
                <a:gd name="connsiteY1103" fmla="*/ 1045845 h 1161573"/>
                <a:gd name="connsiteX1104" fmla="*/ 878967 w 1502283"/>
                <a:gd name="connsiteY1104" fmla="*/ 1043654 h 1161573"/>
                <a:gd name="connsiteX1105" fmla="*/ 884682 w 1502283"/>
                <a:gd name="connsiteY1105" fmla="*/ 1050893 h 1161573"/>
                <a:gd name="connsiteX1106" fmla="*/ 886301 w 1502283"/>
                <a:gd name="connsiteY1106" fmla="*/ 1050703 h 1161573"/>
                <a:gd name="connsiteX1107" fmla="*/ 889254 w 1502283"/>
                <a:gd name="connsiteY1107" fmla="*/ 1048702 h 1161573"/>
                <a:gd name="connsiteX1108" fmla="*/ 891064 w 1502283"/>
                <a:gd name="connsiteY1108" fmla="*/ 1050036 h 1161573"/>
                <a:gd name="connsiteX1109" fmla="*/ 895826 w 1502283"/>
                <a:gd name="connsiteY1109" fmla="*/ 1049465 h 1161573"/>
                <a:gd name="connsiteX1110" fmla="*/ 902780 w 1502283"/>
                <a:gd name="connsiteY1110" fmla="*/ 1053370 h 1161573"/>
                <a:gd name="connsiteX1111" fmla="*/ 904970 w 1502283"/>
                <a:gd name="connsiteY1111" fmla="*/ 1057942 h 1161573"/>
                <a:gd name="connsiteX1112" fmla="*/ 908875 w 1502283"/>
                <a:gd name="connsiteY1112" fmla="*/ 1050989 h 1161573"/>
                <a:gd name="connsiteX1113" fmla="*/ 913829 w 1502283"/>
                <a:gd name="connsiteY1113" fmla="*/ 1051941 h 1161573"/>
                <a:gd name="connsiteX1114" fmla="*/ 923449 w 1502283"/>
                <a:gd name="connsiteY1114" fmla="*/ 1052322 h 1161573"/>
                <a:gd name="connsiteX1115" fmla="*/ 928973 w 1502283"/>
                <a:gd name="connsiteY1115" fmla="*/ 1045178 h 1161573"/>
                <a:gd name="connsiteX1116" fmla="*/ 934498 w 1502283"/>
                <a:gd name="connsiteY1116" fmla="*/ 1050893 h 1161573"/>
                <a:gd name="connsiteX1117" fmla="*/ 953643 w 1502283"/>
                <a:gd name="connsiteY1117" fmla="*/ 1050036 h 1161573"/>
                <a:gd name="connsiteX1118" fmla="*/ 960120 w 1502283"/>
                <a:gd name="connsiteY1118" fmla="*/ 1037939 h 1161573"/>
                <a:gd name="connsiteX1119" fmla="*/ 964311 w 1502283"/>
                <a:gd name="connsiteY1119" fmla="*/ 1045464 h 1161573"/>
                <a:gd name="connsiteX1120" fmla="*/ 974027 w 1502283"/>
                <a:gd name="connsiteY1120" fmla="*/ 1045845 h 1161573"/>
                <a:gd name="connsiteX1121" fmla="*/ 976979 w 1502283"/>
                <a:gd name="connsiteY1121" fmla="*/ 1043845 h 1161573"/>
                <a:gd name="connsiteX1122" fmla="*/ 980504 w 1502283"/>
                <a:gd name="connsiteY1122" fmla="*/ 1046607 h 1161573"/>
                <a:gd name="connsiteX1123" fmla="*/ 977360 w 1502283"/>
                <a:gd name="connsiteY1123" fmla="*/ 1046988 h 1161573"/>
                <a:gd name="connsiteX1124" fmla="*/ 979551 w 1502283"/>
                <a:gd name="connsiteY1124" fmla="*/ 1051560 h 1161573"/>
                <a:gd name="connsiteX1125" fmla="*/ 983266 w 1502283"/>
                <a:gd name="connsiteY1125" fmla="*/ 1055846 h 1161573"/>
                <a:gd name="connsiteX1126" fmla="*/ 981932 w 1502283"/>
                <a:gd name="connsiteY1126" fmla="*/ 1057656 h 1161573"/>
                <a:gd name="connsiteX1127" fmla="*/ 987266 w 1502283"/>
                <a:gd name="connsiteY1127" fmla="*/ 1061752 h 1161573"/>
                <a:gd name="connsiteX1128" fmla="*/ 988028 w 1502283"/>
                <a:gd name="connsiteY1128" fmla="*/ 1068038 h 1161573"/>
                <a:gd name="connsiteX1129" fmla="*/ 988409 w 1502283"/>
                <a:gd name="connsiteY1129" fmla="*/ 1071182 h 1161573"/>
                <a:gd name="connsiteX1130" fmla="*/ 987266 w 1502283"/>
                <a:gd name="connsiteY1130" fmla="*/ 1074515 h 1161573"/>
                <a:gd name="connsiteX1131" fmla="*/ 989076 w 1502283"/>
                <a:gd name="connsiteY1131" fmla="*/ 1075849 h 1161573"/>
                <a:gd name="connsiteX1132" fmla="*/ 987743 w 1502283"/>
                <a:gd name="connsiteY1132" fmla="*/ 1077659 h 1161573"/>
                <a:gd name="connsiteX1133" fmla="*/ 988123 w 1502283"/>
                <a:gd name="connsiteY1133" fmla="*/ 1080802 h 1161573"/>
                <a:gd name="connsiteX1134" fmla="*/ 986504 w 1502283"/>
                <a:gd name="connsiteY1134" fmla="*/ 1080992 h 1161573"/>
                <a:gd name="connsiteX1135" fmla="*/ 986695 w 1502283"/>
                <a:gd name="connsiteY1135" fmla="*/ 1082611 h 1161573"/>
                <a:gd name="connsiteX1136" fmla="*/ 984123 w 1502283"/>
                <a:gd name="connsiteY1136" fmla="*/ 1087755 h 1161573"/>
                <a:gd name="connsiteX1137" fmla="*/ 984695 w 1502283"/>
                <a:gd name="connsiteY1137" fmla="*/ 1092518 h 1161573"/>
                <a:gd name="connsiteX1138" fmla="*/ 991362 w 1502283"/>
                <a:gd name="connsiteY1138" fmla="*/ 1094899 h 1161573"/>
                <a:gd name="connsiteX1139" fmla="*/ 993553 w 1502283"/>
                <a:gd name="connsiteY1139" fmla="*/ 1099471 h 1161573"/>
                <a:gd name="connsiteX1140" fmla="*/ 992219 w 1502283"/>
                <a:gd name="connsiteY1140" fmla="*/ 1101281 h 1161573"/>
                <a:gd name="connsiteX1141" fmla="*/ 994029 w 1502283"/>
                <a:gd name="connsiteY1141" fmla="*/ 1102614 h 1161573"/>
                <a:gd name="connsiteX1142" fmla="*/ 992696 w 1502283"/>
                <a:gd name="connsiteY1142" fmla="*/ 1104424 h 1161573"/>
                <a:gd name="connsiteX1143" fmla="*/ 994886 w 1502283"/>
                <a:gd name="connsiteY1143" fmla="*/ 1108996 h 1161573"/>
                <a:gd name="connsiteX1144" fmla="*/ 993934 w 1502283"/>
                <a:gd name="connsiteY1144" fmla="*/ 1113949 h 1161573"/>
                <a:gd name="connsiteX1145" fmla="*/ 990981 w 1502283"/>
                <a:gd name="connsiteY1145" fmla="*/ 1115949 h 1161573"/>
                <a:gd name="connsiteX1146" fmla="*/ 993362 w 1502283"/>
                <a:gd name="connsiteY1146" fmla="*/ 1122045 h 1161573"/>
                <a:gd name="connsiteX1147" fmla="*/ 992029 w 1502283"/>
                <a:gd name="connsiteY1147" fmla="*/ 1123855 h 1161573"/>
                <a:gd name="connsiteX1148" fmla="*/ 995744 w 1502283"/>
                <a:gd name="connsiteY1148" fmla="*/ 1128141 h 1161573"/>
                <a:gd name="connsiteX1149" fmla="*/ 997363 w 1502283"/>
                <a:gd name="connsiteY1149" fmla="*/ 1127951 h 1161573"/>
                <a:gd name="connsiteX1150" fmla="*/ 997934 w 1502283"/>
                <a:gd name="connsiteY1150" fmla="*/ 1132713 h 1161573"/>
                <a:gd name="connsiteX1151" fmla="*/ 996601 w 1502283"/>
                <a:gd name="connsiteY1151" fmla="*/ 1134523 h 1161573"/>
                <a:gd name="connsiteX1152" fmla="*/ 997363 w 1502283"/>
                <a:gd name="connsiteY1152" fmla="*/ 1140809 h 1161573"/>
                <a:gd name="connsiteX1153" fmla="*/ 993457 w 1502283"/>
                <a:gd name="connsiteY1153" fmla="*/ 1147763 h 1161573"/>
                <a:gd name="connsiteX1154" fmla="*/ 992505 w 1502283"/>
                <a:gd name="connsiteY1154" fmla="*/ 1152716 h 1161573"/>
                <a:gd name="connsiteX1155" fmla="*/ 999172 w 1502283"/>
                <a:gd name="connsiteY1155" fmla="*/ 1155097 h 1161573"/>
                <a:gd name="connsiteX1156" fmla="*/ 1007459 w 1502283"/>
                <a:gd name="connsiteY1156" fmla="*/ 1157288 h 1161573"/>
                <a:gd name="connsiteX1157" fmla="*/ 1011174 w 1502283"/>
                <a:gd name="connsiteY1157" fmla="*/ 1161574 h 1161573"/>
                <a:gd name="connsiteX1158" fmla="*/ 1010983 w 1502283"/>
                <a:gd name="connsiteY1158" fmla="*/ 1159955 h 1161573"/>
                <a:gd name="connsiteX1159" fmla="*/ 1010412 w 1502283"/>
                <a:gd name="connsiteY1159" fmla="*/ 1155192 h 1161573"/>
                <a:gd name="connsiteX1160" fmla="*/ 1015365 w 1502283"/>
                <a:gd name="connsiteY1160" fmla="*/ 1156144 h 1161573"/>
                <a:gd name="connsiteX1161" fmla="*/ 1016889 w 1502283"/>
                <a:gd name="connsiteY1161" fmla="*/ 1155954 h 1161573"/>
                <a:gd name="connsiteX1162" fmla="*/ 1015079 w 1502283"/>
                <a:gd name="connsiteY1162" fmla="*/ 1154621 h 1161573"/>
                <a:gd name="connsiteX1163" fmla="*/ 1014698 w 1502283"/>
                <a:gd name="connsiteY1163" fmla="*/ 1151477 h 1161573"/>
                <a:gd name="connsiteX1164" fmla="*/ 1017841 w 1502283"/>
                <a:gd name="connsiteY1164" fmla="*/ 1151096 h 1161573"/>
                <a:gd name="connsiteX1165" fmla="*/ 1017080 w 1502283"/>
                <a:gd name="connsiteY1165" fmla="*/ 1144810 h 1161573"/>
                <a:gd name="connsiteX1166" fmla="*/ 1018604 w 1502283"/>
                <a:gd name="connsiteY1166" fmla="*/ 1144619 h 1161573"/>
                <a:gd name="connsiteX1167" fmla="*/ 1020794 w 1502283"/>
                <a:gd name="connsiteY1167" fmla="*/ 1149191 h 1161573"/>
                <a:gd name="connsiteX1168" fmla="*/ 1020223 w 1502283"/>
                <a:gd name="connsiteY1168" fmla="*/ 1144429 h 1161573"/>
                <a:gd name="connsiteX1169" fmla="*/ 1025366 w 1502283"/>
                <a:gd name="connsiteY1169" fmla="*/ 1147001 h 1161573"/>
                <a:gd name="connsiteX1170" fmla="*/ 1026795 w 1502283"/>
                <a:gd name="connsiteY1170" fmla="*/ 1145191 h 1161573"/>
                <a:gd name="connsiteX1171" fmla="*/ 1023271 w 1502283"/>
                <a:gd name="connsiteY1171" fmla="*/ 1142428 h 1161573"/>
                <a:gd name="connsiteX1172" fmla="*/ 1026414 w 1502283"/>
                <a:gd name="connsiteY1172" fmla="*/ 1142048 h 1161573"/>
                <a:gd name="connsiteX1173" fmla="*/ 1020508 w 1502283"/>
                <a:gd name="connsiteY1173" fmla="*/ 1133189 h 1161573"/>
                <a:gd name="connsiteX1174" fmla="*/ 1021937 w 1502283"/>
                <a:gd name="connsiteY1174" fmla="*/ 1131380 h 1161573"/>
                <a:gd name="connsiteX1175" fmla="*/ 1027271 w 1502283"/>
                <a:gd name="connsiteY1175" fmla="*/ 1135475 h 1161573"/>
                <a:gd name="connsiteX1176" fmla="*/ 1025080 w 1502283"/>
                <a:gd name="connsiteY1176" fmla="*/ 1130903 h 1161573"/>
                <a:gd name="connsiteX1177" fmla="*/ 1029653 w 1502283"/>
                <a:gd name="connsiteY1177" fmla="*/ 1128713 h 1161573"/>
                <a:gd name="connsiteX1178" fmla="*/ 1024319 w 1502283"/>
                <a:gd name="connsiteY1178" fmla="*/ 1124617 h 1161573"/>
                <a:gd name="connsiteX1179" fmla="*/ 1032034 w 1502283"/>
                <a:gd name="connsiteY1179" fmla="*/ 1122045 h 1161573"/>
                <a:gd name="connsiteX1180" fmla="*/ 1026700 w 1502283"/>
                <a:gd name="connsiteY1180" fmla="*/ 1117949 h 1161573"/>
                <a:gd name="connsiteX1181" fmla="*/ 1026223 w 1502283"/>
                <a:gd name="connsiteY1181" fmla="*/ 1101947 h 1161573"/>
                <a:gd name="connsiteX1182" fmla="*/ 1030510 w 1502283"/>
                <a:gd name="connsiteY1182" fmla="*/ 1098233 h 1161573"/>
                <a:gd name="connsiteX1183" fmla="*/ 1026795 w 1502283"/>
                <a:gd name="connsiteY1183" fmla="*/ 1093946 h 1161573"/>
                <a:gd name="connsiteX1184" fmla="*/ 1028129 w 1502283"/>
                <a:gd name="connsiteY1184" fmla="*/ 1092136 h 1161573"/>
                <a:gd name="connsiteX1185" fmla="*/ 1030319 w 1502283"/>
                <a:gd name="connsiteY1185" fmla="*/ 1096709 h 1161573"/>
                <a:gd name="connsiteX1186" fmla="*/ 1031653 w 1502283"/>
                <a:gd name="connsiteY1186" fmla="*/ 1094899 h 1161573"/>
                <a:gd name="connsiteX1187" fmla="*/ 1030891 w 1502283"/>
                <a:gd name="connsiteY1187" fmla="*/ 1088612 h 1161573"/>
                <a:gd name="connsiteX1188" fmla="*/ 1032510 w 1502283"/>
                <a:gd name="connsiteY1188" fmla="*/ 1088422 h 1161573"/>
                <a:gd name="connsiteX1189" fmla="*/ 1031938 w 1502283"/>
                <a:gd name="connsiteY1189" fmla="*/ 1083659 h 1161573"/>
                <a:gd name="connsiteX1190" fmla="*/ 1034891 w 1502283"/>
                <a:gd name="connsiteY1190" fmla="*/ 1081659 h 1161573"/>
                <a:gd name="connsiteX1191" fmla="*/ 1034129 w 1502283"/>
                <a:gd name="connsiteY1191" fmla="*/ 1075373 h 1161573"/>
                <a:gd name="connsiteX1192" fmla="*/ 1035463 w 1502283"/>
                <a:gd name="connsiteY1192" fmla="*/ 1073563 h 1161573"/>
                <a:gd name="connsiteX1193" fmla="*/ 1038987 w 1502283"/>
                <a:gd name="connsiteY1193" fmla="*/ 1076325 h 1161573"/>
                <a:gd name="connsiteX1194" fmla="*/ 1042130 w 1502283"/>
                <a:gd name="connsiteY1194" fmla="*/ 1075944 h 1161573"/>
                <a:gd name="connsiteX1195" fmla="*/ 1041940 w 1502283"/>
                <a:gd name="connsiteY1195" fmla="*/ 1074325 h 1161573"/>
                <a:gd name="connsiteX1196" fmla="*/ 1043083 w 1502283"/>
                <a:gd name="connsiteY1196" fmla="*/ 1070991 h 1161573"/>
                <a:gd name="connsiteX1197" fmla="*/ 1046607 w 1502283"/>
                <a:gd name="connsiteY1197" fmla="*/ 1073753 h 1161573"/>
                <a:gd name="connsiteX1198" fmla="*/ 1049179 w 1502283"/>
                <a:gd name="connsiteY1198" fmla="*/ 1068610 h 1161573"/>
                <a:gd name="connsiteX1199" fmla="*/ 1044416 w 1502283"/>
                <a:gd name="connsiteY1199" fmla="*/ 1069181 h 1161573"/>
                <a:gd name="connsiteX1200" fmla="*/ 1045750 w 1502283"/>
                <a:gd name="connsiteY1200" fmla="*/ 1067372 h 1161573"/>
                <a:gd name="connsiteX1201" fmla="*/ 1042416 w 1502283"/>
                <a:gd name="connsiteY1201" fmla="*/ 1066228 h 1161573"/>
                <a:gd name="connsiteX1202" fmla="*/ 1043749 w 1502283"/>
                <a:gd name="connsiteY1202" fmla="*/ 1064419 h 1161573"/>
                <a:gd name="connsiteX1203" fmla="*/ 1053179 w 1502283"/>
                <a:gd name="connsiteY1203" fmla="*/ 1063181 h 1161573"/>
                <a:gd name="connsiteX1204" fmla="*/ 1048036 w 1502283"/>
                <a:gd name="connsiteY1204" fmla="*/ 1060609 h 1161573"/>
                <a:gd name="connsiteX1205" fmla="*/ 1049179 w 1502283"/>
                <a:gd name="connsiteY1205" fmla="*/ 1057275 h 1161573"/>
                <a:gd name="connsiteX1206" fmla="*/ 1047845 w 1502283"/>
                <a:gd name="connsiteY1206" fmla="*/ 1059085 h 1161573"/>
                <a:gd name="connsiteX1207" fmla="*/ 1046036 w 1502283"/>
                <a:gd name="connsiteY1207" fmla="*/ 1057751 h 1161573"/>
                <a:gd name="connsiteX1208" fmla="*/ 1047179 w 1502283"/>
                <a:gd name="connsiteY1208" fmla="*/ 1054418 h 1161573"/>
                <a:gd name="connsiteX1209" fmla="*/ 1048988 w 1502283"/>
                <a:gd name="connsiteY1209" fmla="*/ 1055751 h 1161573"/>
                <a:gd name="connsiteX1210" fmla="*/ 1047179 w 1502283"/>
                <a:gd name="connsiteY1210" fmla="*/ 1054418 h 1161573"/>
                <a:gd name="connsiteX1211" fmla="*/ 1048131 w 1502283"/>
                <a:gd name="connsiteY1211" fmla="*/ 1049465 h 1161573"/>
                <a:gd name="connsiteX1212" fmla="*/ 1049941 w 1502283"/>
                <a:gd name="connsiteY1212" fmla="*/ 1050798 h 1161573"/>
                <a:gd name="connsiteX1213" fmla="*/ 1051370 w 1502283"/>
                <a:gd name="connsiteY1213" fmla="*/ 1048988 h 1161573"/>
                <a:gd name="connsiteX1214" fmla="*/ 1049560 w 1502283"/>
                <a:gd name="connsiteY1214" fmla="*/ 1047655 h 1161573"/>
                <a:gd name="connsiteX1215" fmla="*/ 1048988 w 1502283"/>
                <a:gd name="connsiteY1215" fmla="*/ 1042892 h 1161573"/>
                <a:gd name="connsiteX1216" fmla="*/ 1051941 w 1502283"/>
                <a:gd name="connsiteY1216" fmla="*/ 1040892 h 1161573"/>
                <a:gd name="connsiteX1217" fmla="*/ 1048798 w 1502283"/>
                <a:gd name="connsiteY1217" fmla="*/ 1041273 h 1161573"/>
                <a:gd name="connsiteX1218" fmla="*/ 1048226 w 1502283"/>
                <a:gd name="connsiteY1218" fmla="*/ 1036510 h 1161573"/>
                <a:gd name="connsiteX1219" fmla="*/ 1046607 w 1502283"/>
                <a:gd name="connsiteY1219" fmla="*/ 1036701 h 1161573"/>
                <a:gd name="connsiteX1220" fmla="*/ 1044988 w 1502283"/>
                <a:gd name="connsiteY1220" fmla="*/ 1036892 h 1161573"/>
                <a:gd name="connsiteX1221" fmla="*/ 1049369 w 1502283"/>
                <a:gd name="connsiteY1221" fmla="*/ 1033177 h 1161573"/>
                <a:gd name="connsiteX1222" fmla="*/ 1052703 w 1502283"/>
                <a:gd name="connsiteY1222" fmla="*/ 1034320 h 1161573"/>
                <a:gd name="connsiteX1223" fmla="*/ 1052322 w 1502283"/>
                <a:gd name="connsiteY1223" fmla="*/ 1031176 h 1161573"/>
                <a:gd name="connsiteX1224" fmla="*/ 1055656 w 1502283"/>
                <a:gd name="connsiteY1224" fmla="*/ 1032319 h 1161573"/>
                <a:gd name="connsiteX1225" fmla="*/ 1056799 w 1502283"/>
                <a:gd name="connsiteY1225" fmla="*/ 1028986 h 1161573"/>
                <a:gd name="connsiteX1226" fmla="*/ 1057751 w 1502283"/>
                <a:gd name="connsiteY1226" fmla="*/ 1024033 h 1161573"/>
                <a:gd name="connsiteX1227" fmla="*/ 1059561 w 1502283"/>
                <a:gd name="connsiteY1227" fmla="*/ 1025366 h 1161573"/>
                <a:gd name="connsiteX1228" fmla="*/ 1058989 w 1502283"/>
                <a:gd name="connsiteY1228" fmla="*/ 1020604 h 1161573"/>
                <a:gd name="connsiteX1229" fmla="*/ 1065276 w 1502283"/>
                <a:gd name="connsiteY1229" fmla="*/ 1019842 h 1161573"/>
                <a:gd name="connsiteX1230" fmla="*/ 1064514 w 1502283"/>
                <a:gd name="connsiteY1230" fmla="*/ 1013555 h 1161573"/>
                <a:gd name="connsiteX1231" fmla="*/ 1066895 w 1502283"/>
                <a:gd name="connsiteY1231" fmla="*/ 1006793 h 1161573"/>
                <a:gd name="connsiteX1232" fmla="*/ 1072801 w 1502283"/>
                <a:gd name="connsiteY1232" fmla="*/ 1002792 h 1161573"/>
                <a:gd name="connsiteX1233" fmla="*/ 1075373 w 1502283"/>
                <a:gd name="connsiteY1233" fmla="*/ 997649 h 1161573"/>
                <a:gd name="connsiteX1234" fmla="*/ 1079659 w 1502283"/>
                <a:gd name="connsiteY1234" fmla="*/ 993934 h 1161573"/>
                <a:gd name="connsiteX1235" fmla="*/ 1079468 w 1502283"/>
                <a:gd name="connsiteY1235" fmla="*/ 992315 h 1161573"/>
                <a:gd name="connsiteX1236" fmla="*/ 1076706 w 1502283"/>
                <a:gd name="connsiteY1236" fmla="*/ 995839 h 1161573"/>
                <a:gd name="connsiteX1237" fmla="*/ 1074896 w 1502283"/>
                <a:gd name="connsiteY1237" fmla="*/ 994505 h 1161573"/>
                <a:gd name="connsiteX1238" fmla="*/ 1078230 w 1502283"/>
                <a:gd name="connsiteY1238" fmla="*/ 982885 h 1161573"/>
                <a:gd name="connsiteX1239" fmla="*/ 1078039 w 1502283"/>
                <a:gd name="connsiteY1239" fmla="*/ 981266 h 1161573"/>
                <a:gd name="connsiteX1240" fmla="*/ 1083183 w 1502283"/>
                <a:gd name="connsiteY1240" fmla="*/ 983837 h 1161573"/>
                <a:gd name="connsiteX1241" fmla="*/ 1084326 w 1502283"/>
                <a:gd name="connsiteY1241" fmla="*/ 980503 h 1161573"/>
                <a:gd name="connsiteX1242" fmla="*/ 1086136 w 1502283"/>
                <a:gd name="connsiteY1242" fmla="*/ 981837 h 1161573"/>
                <a:gd name="connsiteX1243" fmla="*/ 1087469 w 1502283"/>
                <a:gd name="connsiteY1243" fmla="*/ 980027 h 1161573"/>
                <a:gd name="connsiteX1244" fmla="*/ 1085660 w 1502283"/>
                <a:gd name="connsiteY1244" fmla="*/ 978694 h 1161573"/>
                <a:gd name="connsiteX1245" fmla="*/ 1090613 w 1502283"/>
                <a:gd name="connsiteY1245" fmla="*/ 979646 h 1161573"/>
                <a:gd name="connsiteX1246" fmla="*/ 1093565 w 1502283"/>
                <a:gd name="connsiteY1246" fmla="*/ 977646 h 1161573"/>
                <a:gd name="connsiteX1247" fmla="*/ 1088422 w 1502283"/>
                <a:gd name="connsiteY1247" fmla="*/ 975074 h 1161573"/>
                <a:gd name="connsiteX1248" fmla="*/ 1088231 w 1502283"/>
                <a:gd name="connsiteY1248" fmla="*/ 973455 h 1161573"/>
                <a:gd name="connsiteX1249" fmla="*/ 1090041 w 1502283"/>
                <a:gd name="connsiteY1249" fmla="*/ 974789 h 1161573"/>
                <a:gd name="connsiteX1250" fmla="*/ 1094804 w 1502283"/>
                <a:gd name="connsiteY1250" fmla="*/ 974217 h 1161573"/>
                <a:gd name="connsiteX1251" fmla="*/ 1094423 w 1502283"/>
                <a:gd name="connsiteY1251" fmla="*/ 971074 h 1161573"/>
                <a:gd name="connsiteX1252" fmla="*/ 1095756 w 1502283"/>
                <a:gd name="connsiteY1252" fmla="*/ 969264 h 1161573"/>
                <a:gd name="connsiteX1253" fmla="*/ 1097566 w 1502283"/>
                <a:gd name="connsiteY1253" fmla="*/ 970598 h 1161573"/>
                <a:gd name="connsiteX1254" fmla="*/ 1097185 w 1502283"/>
                <a:gd name="connsiteY1254" fmla="*/ 967454 h 1161573"/>
                <a:gd name="connsiteX1255" fmla="*/ 1098804 w 1502283"/>
                <a:gd name="connsiteY1255" fmla="*/ 967264 h 1161573"/>
                <a:gd name="connsiteX1256" fmla="*/ 1103186 w 1502283"/>
                <a:gd name="connsiteY1256" fmla="*/ 963549 h 1161573"/>
                <a:gd name="connsiteX1257" fmla="*/ 1105186 w 1502283"/>
                <a:gd name="connsiteY1257" fmla="*/ 966502 h 1161573"/>
                <a:gd name="connsiteX1258" fmla="*/ 1112044 w 1502283"/>
                <a:gd name="connsiteY1258" fmla="*/ 957643 h 1161573"/>
                <a:gd name="connsiteX1259" fmla="*/ 1108710 w 1502283"/>
                <a:gd name="connsiteY1259" fmla="*/ 956501 h 1161573"/>
                <a:gd name="connsiteX1260" fmla="*/ 1109472 w 1502283"/>
                <a:gd name="connsiteY1260" fmla="*/ 950024 h 1161573"/>
                <a:gd name="connsiteX1261" fmla="*/ 1112234 w 1502283"/>
                <a:gd name="connsiteY1261" fmla="*/ 946499 h 1161573"/>
                <a:gd name="connsiteX1262" fmla="*/ 1113854 w 1502283"/>
                <a:gd name="connsiteY1262" fmla="*/ 946309 h 1161573"/>
                <a:gd name="connsiteX1263" fmla="*/ 1111853 w 1502283"/>
                <a:gd name="connsiteY1263" fmla="*/ 943356 h 1161573"/>
                <a:gd name="connsiteX1264" fmla="*/ 1113473 w 1502283"/>
                <a:gd name="connsiteY1264" fmla="*/ 943166 h 1161573"/>
                <a:gd name="connsiteX1265" fmla="*/ 1114997 w 1502283"/>
                <a:gd name="connsiteY1265" fmla="*/ 942975 h 1161573"/>
                <a:gd name="connsiteX1266" fmla="*/ 1114615 w 1502283"/>
                <a:gd name="connsiteY1266" fmla="*/ 939832 h 1161573"/>
                <a:gd name="connsiteX1267" fmla="*/ 1117759 w 1502283"/>
                <a:gd name="connsiteY1267" fmla="*/ 939451 h 1161573"/>
                <a:gd name="connsiteX1268" fmla="*/ 1117378 w 1502283"/>
                <a:gd name="connsiteY1268" fmla="*/ 936308 h 1161573"/>
                <a:gd name="connsiteX1269" fmla="*/ 1120140 w 1502283"/>
                <a:gd name="connsiteY1269" fmla="*/ 932783 h 1161573"/>
                <a:gd name="connsiteX1270" fmla="*/ 1121093 w 1502283"/>
                <a:gd name="connsiteY1270" fmla="*/ 927830 h 1161573"/>
                <a:gd name="connsiteX1271" fmla="*/ 1118521 w 1502283"/>
                <a:gd name="connsiteY1271" fmla="*/ 920115 h 1161573"/>
                <a:gd name="connsiteX1272" fmla="*/ 1120712 w 1502283"/>
                <a:gd name="connsiteY1272" fmla="*/ 911828 h 1161573"/>
                <a:gd name="connsiteX1273" fmla="*/ 1118902 w 1502283"/>
                <a:gd name="connsiteY1273" fmla="*/ 910495 h 1161573"/>
                <a:gd name="connsiteX1274" fmla="*/ 1123188 w 1502283"/>
                <a:gd name="connsiteY1274" fmla="*/ 906780 h 1161573"/>
                <a:gd name="connsiteX1275" fmla="*/ 1121188 w 1502283"/>
                <a:gd name="connsiteY1275" fmla="*/ 903827 h 1161573"/>
                <a:gd name="connsiteX1276" fmla="*/ 1124331 w 1502283"/>
                <a:gd name="connsiteY1276" fmla="*/ 903446 h 1161573"/>
                <a:gd name="connsiteX1277" fmla="*/ 1126903 w 1502283"/>
                <a:gd name="connsiteY1277" fmla="*/ 898303 h 1161573"/>
                <a:gd name="connsiteX1278" fmla="*/ 1138714 w 1502283"/>
                <a:gd name="connsiteY1278" fmla="*/ 903160 h 1161573"/>
                <a:gd name="connsiteX1279" fmla="*/ 1146620 w 1502283"/>
                <a:gd name="connsiteY1279" fmla="*/ 902113 h 1161573"/>
                <a:gd name="connsiteX1280" fmla="*/ 1149763 w 1502283"/>
                <a:gd name="connsiteY1280" fmla="*/ 901732 h 1161573"/>
                <a:gd name="connsiteX1281" fmla="*/ 1150715 w 1502283"/>
                <a:gd name="connsiteY1281" fmla="*/ 896779 h 1161573"/>
                <a:gd name="connsiteX1282" fmla="*/ 1153668 w 1502283"/>
                <a:gd name="connsiteY1282" fmla="*/ 894778 h 1161573"/>
                <a:gd name="connsiteX1283" fmla="*/ 1153668 w 1502283"/>
                <a:gd name="connsiteY1283" fmla="*/ 894778 h 1161573"/>
                <a:gd name="connsiteX1284" fmla="*/ 1150525 w 1502283"/>
                <a:gd name="connsiteY1284" fmla="*/ 895159 h 1161573"/>
                <a:gd name="connsiteX1285" fmla="*/ 1151287 w 1502283"/>
                <a:gd name="connsiteY1285" fmla="*/ 888683 h 1161573"/>
                <a:gd name="connsiteX1286" fmla="*/ 1153287 w 1502283"/>
                <a:gd name="connsiteY1286" fmla="*/ 891635 h 1161573"/>
                <a:gd name="connsiteX1287" fmla="*/ 1157764 w 1502283"/>
                <a:gd name="connsiteY1287" fmla="*/ 889444 h 1161573"/>
                <a:gd name="connsiteX1288" fmla="*/ 1155764 w 1502283"/>
                <a:gd name="connsiteY1288" fmla="*/ 886492 h 1161573"/>
                <a:gd name="connsiteX1289" fmla="*/ 1160716 w 1502283"/>
                <a:gd name="connsiteY1289" fmla="*/ 887444 h 1161573"/>
                <a:gd name="connsiteX1290" fmla="*/ 1160526 w 1502283"/>
                <a:gd name="connsiteY1290" fmla="*/ 885825 h 1161573"/>
                <a:gd name="connsiteX1291" fmla="*/ 1158526 w 1502283"/>
                <a:gd name="connsiteY1291" fmla="*/ 882872 h 1161573"/>
                <a:gd name="connsiteX1292" fmla="*/ 1161669 w 1502283"/>
                <a:gd name="connsiteY1292" fmla="*/ 882491 h 1161573"/>
                <a:gd name="connsiteX1293" fmla="*/ 1164622 w 1502283"/>
                <a:gd name="connsiteY1293" fmla="*/ 880491 h 1161573"/>
                <a:gd name="connsiteX1294" fmla="*/ 1162622 w 1502283"/>
                <a:gd name="connsiteY1294" fmla="*/ 877538 h 1161573"/>
                <a:gd name="connsiteX1295" fmla="*/ 1165574 w 1502283"/>
                <a:gd name="connsiteY1295" fmla="*/ 875538 h 1161573"/>
                <a:gd name="connsiteX1296" fmla="*/ 1167194 w 1502283"/>
                <a:gd name="connsiteY1296" fmla="*/ 875348 h 1161573"/>
                <a:gd name="connsiteX1297" fmla="*/ 1166241 w 1502283"/>
                <a:gd name="connsiteY1297" fmla="*/ 880301 h 1161573"/>
                <a:gd name="connsiteX1298" fmla="*/ 1169384 w 1502283"/>
                <a:gd name="connsiteY1298" fmla="*/ 879919 h 1161573"/>
                <a:gd name="connsiteX1299" fmla="*/ 1169003 w 1502283"/>
                <a:gd name="connsiteY1299" fmla="*/ 876776 h 1161573"/>
                <a:gd name="connsiteX1300" fmla="*/ 1166813 w 1502283"/>
                <a:gd name="connsiteY1300" fmla="*/ 872204 h 1161573"/>
                <a:gd name="connsiteX1301" fmla="*/ 1166431 w 1502283"/>
                <a:gd name="connsiteY1301" fmla="*/ 869061 h 1161573"/>
                <a:gd name="connsiteX1302" fmla="*/ 1167765 w 1502283"/>
                <a:gd name="connsiteY1302" fmla="*/ 867251 h 1161573"/>
                <a:gd name="connsiteX1303" fmla="*/ 1174528 w 1502283"/>
                <a:gd name="connsiteY1303" fmla="*/ 869633 h 1161573"/>
                <a:gd name="connsiteX1304" fmla="*/ 1173956 w 1502283"/>
                <a:gd name="connsiteY1304" fmla="*/ 864870 h 1161573"/>
                <a:gd name="connsiteX1305" fmla="*/ 1179671 w 1502283"/>
                <a:gd name="connsiteY1305" fmla="*/ 859346 h 1161573"/>
                <a:gd name="connsiteX1306" fmla="*/ 1182814 w 1502283"/>
                <a:gd name="connsiteY1306" fmla="*/ 858965 h 1161573"/>
                <a:gd name="connsiteX1307" fmla="*/ 1182814 w 1502283"/>
                <a:gd name="connsiteY1307" fmla="*/ 858965 h 1161573"/>
                <a:gd name="connsiteX1308" fmla="*/ 1185958 w 1502283"/>
                <a:gd name="connsiteY1308" fmla="*/ 858584 h 1161573"/>
                <a:gd name="connsiteX1309" fmla="*/ 1187577 w 1502283"/>
                <a:gd name="connsiteY1309" fmla="*/ 858393 h 1161573"/>
                <a:gd name="connsiteX1310" fmla="*/ 1187768 w 1502283"/>
                <a:gd name="connsiteY1310" fmla="*/ 860012 h 1161573"/>
                <a:gd name="connsiteX1311" fmla="*/ 1189577 w 1502283"/>
                <a:gd name="connsiteY1311" fmla="*/ 861346 h 1161573"/>
                <a:gd name="connsiteX1312" fmla="*/ 1190911 w 1502283"/>
                <a:gd name="connsiteY1312" fmla="*/ 859536 h 1161573"/>
                <a:gd name="connsiteX1313" fmla="*/ 1196054 w 1502283"/>
                <a:gd name="connsiteY1313" fmla="*/ 862108 h 1161573"/>
                <a:gd name="connsiteX1314" fmla="*/ 1200340 w 1502283"/>
                <a:gd name="connsiteY1314" fmla="*/ 858393 h 1161573"/>
                <a:gd name="connsiteX1315" fmla="*/ 1202531 w 1502283"/>
                <a:gd name="connsiteY1315" fmla="*/ 862965 h 1161573"/>
                <a:gd name="connsiteX1316" fmla="*/ 1205865 w 1502283"/>
                <a:gd name="connsiteY1316" fmla="*/ 864108 h 1161573"/>
                <a:gd name="connsiteX1317" fmla="*/ 1209389 w 1502283"/>
                <a:gd name="connsiteY1317" fmla="*/ 866870 h 1161573"/>
                <a:gd name="connsiteX1318" fmla="*/ 1217295 w 1502283"/>
                <a:gd name="connsiteY1318" fmla="*/ 865823 h 1161573"/>
                <a:gd name="connsiteX1319" fmla="*/ 1221296 w 1502283"/>
                <a:gd name="connsiteY1319" fmla="*/ 871728 h 1161573"/>
                <a:gd name="connsiteX1320" fmla="*/ 1227963 w 1502283"/>
                <a:gd name="connsiteY1320" fmla="*/ 874109 h 1161573"/>
                <a:gd name="connsiteX1321" fmla="*/ 1234249 w 1502283"/>
                <a:gd name="connsiteY1321" fmla="*/ 873347 h 1161573"/>
                <a:gd name="connsiteX1322" fmla="*/ 1240727 w 1502283"/>
                <a:gd name="connsiteY1322" fmla="*/ 874109 h 1161573"/>
                <a:gd name="connsiteX1323" fmla="*/ 1243108 w 1502283"/>
                <a:gd name="connsiteY1323" fmla="*/ 880205 h 1161573"/>
                <a:gd name="connsiteX1324" fmla="*/ 1255205 w 1502283"/>
                <a:gd name="connsiteY1324" fmla="*/ 886682 h 1161573"/>
                <a:gd name="connsiteX1325" fmla="*/ 1259205 w 1502283"/>
                <a:gd name="connsiteY1325" fmla="*/ 892588 h 1161573"/>
                <a:gd name="connsiteX1326" fmla="*/ 1264158 w 1502283"/>
                <a:gd name="connsiteY1326" fmla="*/ 893540 h 1161573"/>
                <a:gd name="connsiteX1327" fmla="*/ 1270254 w 1502283"/>
                <a:gd name="connsiteY1327" fmla="*/ 891159 h 1161573"/>
                <a:gd name="connsiteX1328" fmla="*/ 1272064 w 1502283"/>
                <a:gd name="connsiteY1328" fmla="*/ 892493 h 1161573"/>
                <a:gd name="connsiteX1329" fmla="*/ 1274445 w 1502283"/>
                <a:gd name="connsiteY1329" fmla="*/ 898589 h 1161573"/>
                <a:gd name="connsiteX1330" fmla="*/ 1280160 w 1502283"/>
                <a:gd name="connsiteY1330" fmla="*/ 905827 h 1161573"/>
                <a:gd name="connsiteX1331" fmla="*/ 1290638 w 1502283"/>
                <a:gd name="connsiteY1331" fmla="*/ 912495 h 1161573"/>
                <a:gd name="connsiteX1332" fmla="*/ 1292828 w 1502283"/>
                <a:gd name="connsiteY1332" fmla="*/ 917067 h 1161573"/>
                <a:gd name="connsiteX1333" fmla="*/ 1295972 w 1502283"/>
                <a:gd name="connsiteY1333" fmla="*/ 916686 h 1161573"/>
                <a:gd name="connsiteX1334" fmla="*/ 1302068 w 1502283"/>
                <a:gd name="connsiteY1334" fmla="*/ 927164 h 1161573"/>
                <a:gd name="connsiteX1335" fmla="*/ 1314069 w 1502283"/>
                <a:gd name="connsiteY1335" fmla="*/ 920782 h 1161573"/>
                <a:gd name="connsiteX1336" fmla="*/ 1319213 w 1502283"/>
                <a:gd name="connsiteY1336" fmla="*/ 923353 h 1161573"/>
                <a:gd name="connsiteX1337" fmla="*/ 1322356 w 1502283"/>
                <a:gd name="connsiteY1337" fmla="*/ 922973 h 1161573"/>
                <a:gd name="connsiteX1338" fmla="*/ 1325880 w 1502283"/>
                <a:gd name="connsiteY1338" fmla="*/ 925735 h 1161573"/>
                <a:gd name="connsiteX1339" fmla="*/ 1331405 w 1502283"/>
                <a:gd name="connsiteY1339" fmla="*/ 918591 h 1161573"/>
                <a:gd name="connsiteX1340" fmla="*/ 1338644 w 1502283"/>
                <a:gd name="connsiteY1340" fmla="*/ 912876 h 1161573"/>
                <a:gd name="connsiteX1341" fmla="*/ 1341406 w 1502283"/>
                <a:gd name="connsiteY1341" fmla="*/ 909352 h 1161573"/>
                <a:gd name="connsiteX1342" fmla="*/ 1347883 w 1502283"/>
                <a:gd name="connsiteY1342" fmla="*/ 910114 h 1161573"/>
                <a:gd name="connsiteX1343" fmla="*/ 1350455 w 1502283"/>
                <a:gd name="connsiteY1343" fmla="*/ 904970 h 1161573"/>
                <a:gd name="connsiteX1344" fmla="*/ 1353979 w 1502283"/>
                <a:gd name="connsiteY1344" fmla="*/ 894874 h 1161573"/>
                <a:gd name="connsiteX1345" fmla="*/ 1359313 w 1502283"/>
                <a:gd name="connsiteY1345" fmla="*/ 898969 h 1161573"/>
                <a:gd name="connsiteX1346" fmla="*/ 1358741 w 1502283"/>
                <a:gd name="connsiteY1346" fmla="*/ 894207 h 1161573"/>
                <a:gd name="connsiteX1347" fmla="*/ 1364266 w 1502283"/>
                <a:gd name="connsiteY1347" fmla="*/ 887063 h 1161573"/>
                <a:gd name="connsiteX1348" fmla="*/ 1382649 w 1502283"/>
                <a:gd name="connsiteY1348" fmla="*/ 892778 h 1161573"/>
                <a:gd name="connsiteX1349" fmla="*/ 1387793 w 1502283"/>
                <a:gd name="connsiteY1349" fmla="*/ 895350 h 1161573"/>
                <a:gd name="connsiteX1350" fmla="*/ 1395698 w 1502283"/>
                <a:gd name="connsiteY1350" fmla="*/ 907161 h 1161573"/>
                <a:gd name="connsiteX1351" fmla="*/ 1406747 w 1502283"/>
                <a:gd name="connsiteY1351" fmla="*/ 918591 h 1161573"/>
                <a:gd name="connsiteX1352" fmla="*/ 1405128 w 1502283"/>
                <a:gd name="connsiteY1352" fmla="*/ 918782 h 1161573"/>
                <a:gd name="connsiteX1353" fmla="*/ 1406938 w 1502283"/>
                <a:gd name="connsiteY1353" fmla="*/ 920115 h 1161573"/>
                <a:gd name="connsiteX1354" fmla="*/ 1412462 w 1502283"/>
                <a:gd name="connsiteY1354" fmla="*/ 925830 h 1161573"/>
                <a:gd name="connsiteX1355" fmla="*/ 1420368 w 1502283"/>
                <a:gd name="connsiteY1355" fmla="*/ 924782 h 1161573"/>
                <a:gd name="connsiteX1356" fmla="*/ 1427416 w 1502283"/>
                <a:gd name="connsiteY1356" fmla="*/ 917448 h 1161573"/>
                <a:gd name="connsiteX1357" fmla="*/ 1435703 w 1502283"/>
                <a:gd name="connsiteY1357" fmla="*/ 919639 h 1161573"/>
                <a:gd name="connsiteX1358" fmla="*/ 1442371 w 1502283"/>
                <a:gd name="connsiteY1358" fmla="*/ 909161 h 1161573"/>
                <a:gd name="connsiteX1359" fmla="*/ 1450657 w 1502283"/>
                <a:gd name="connsiteY1359" fmla="*/ 911352 h 1161573"/>
                <a:gd name="connsiteX1360" fmla="*/ 1455230 w 1502283"/>
                <a:gd name="connsiteY1360" fmla="*/ 909161 h 1161573"/>
                <a:gd name="connsiteX1361" fmla="*/ 1463326 w 1502283"/>
                <a:gd name="connsiteY1361" fmla="*/ 909733 h 1161573"/>
                <a:gd name="connsiteX1362" fmla="*/ 1467612 w 1502283"/>
                <a:gd name="connsiteY1362" fmla="*/ 906018 h 1161573"/>
                <a:gd name="connsiteX1363" fmla="*/ 1469327 w 1502283"/>
                <a:gd name="connsiteY1363" fmla="*/ 894588 h 1161573"/>
                <a:gd name="connsiteX1364" fmla="*/ 1472089 w 1502283"/>
                <a:gd name="connsiteY1364" fmla="*/ 891064 h 1161573"/>
                <a:gd name="connsiteX1365" fmla="*/ 1484757 w 1502283"/>
                <a:gd name="connsiteY1365" fmla="*/ 889444 h 1161573"/>
                <a:gd name="connsiteX1366" fmla="*/ 1485519 w 1502283"/>
                <a:gd name="connsiteY1366" fmla="*/ 882968 h 1161573"/>
                <a:gd name="connsiteX1367" fmla="*/ 1491044 w 1502283"/>
                <a:gd name="connsiteY1367" fmla="*/ 875824 h 1161573"/>
                <a:gd name="connsiteX1368" fmla="*/ 1497330 w 1502283"/>
                <a:gd name="connsiteY1368" fmla="*/ 875062 h 1161573"/>
                <a:gd name="connsiteX1369" fmla="*/ 1502283 w 1502283"/>
                <a:gd name="connsiteY1369" fmla="*/ 876014 h 1161573"/>
                <a:gd name="connsiteX1370" fmla="*/ 1495139 w 1502283"/>
                <a:gd name="connsiteY1370" fmla="*/ 857726 h 1161573"/>
                <a:gd name="connsiteX1371" fmla="*/ 1495139 w 1502283"/>
                <a:gd name="connsiteY1371" fmla="*/ 857726 h 116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</a:cxnLst>
              <a:rect l="l" t="t" r="r" b="b"/>
              <a:pathLst>
                <a:path w="1502283" h="1161573">
                  <a:moveTo>
                    <a:pt x="1496282" y="857155"/>
                  </a:moveTo>
                  <a:lnTo>
                    <a:pt x="1495711" y="852392"/>
                  </a:lnTo>
                  <a:lnTo>
                    <a:pt x="1497330" y="852202"/>
                  </a:lnTo>
                  <a:lnTo>
                    <a:pt x="1495520" y="850868"/>
                  </a:lnTo>
                  <a:lnTo>
                    <a:pt x="1498282" y="847344"/>
                  </a:lnTo>
                  <a:lnTo>
                    <a:pt x="1490567" y="849916"/>
                  </a:lnTo>
                  <a:lnTo>
                    <a:pt x="1486853" y="845630"/>
                  </a:lnTo>
                  <a:lnTo>
                    <a:pt x="1487996" y="842296"/>
                  </a:lnTo>
                  <a:lnTo>
                    <a:pt x="1481899" y="831818"/>
                  </a:lnTo>
                  <a:lnTo>
                    <a:pt x="1469803" y="812483"/>
                  </a:lnTo>
                  <a:lnTo>
                    <a:pt x="1458563" y="812292"/>
                  </a:lnTo>
                  <a:lnTo>
                    <a:pt x="1442371" y="798290"/>
                  </a:lnTo>
                  <a:lnTo>
                    <a:pt x="1437608" y="798862"/>
                  </a:lnTo>
                  <a:lnTo>
                    <a:pt x="1433513" y="804196"/>
                  </a:lnTo>
                  <a:lnTo>
                    <a:pt x="1424845" y="798862"/>
                  </a:lnTo>
                  <a:lnTo>
                    <a:pt x="1432274" y="781907"/>
                  </a:lnTo>
                  <a:lnTo>
                    <a:pt x="1431703" y="777145"/>
                  </a:lnTo>
                  <a:lnTo>
                    <a:pt x="1434465" y="773621"/>
                  </a:lnTo>
                  <a:lnTo>
                    <a:pt x="1425797" y="768287"/>
                  </a:lnTo>
                  <a:lnTo>
                    <a:pt x="1411796" y="758857"/>
                  </a:lnTo>
                  <a:lnTo>
                    <a:pt x="1402937" y="764762"/>
                  </a:lnTo>
                  <a:lnTo>
                    <a:pt x="1400937" y="761809"/>
                  </a:lnTo>
                  <a:lnTo>
                    <a:pt x="1394365" y="748189"/>
                  </a:lnTo>
                  <a:lnTo>
                    <a:pt x="1395413" y="756095"/>
                  </a:lnTo>
                  <a:lnTo>
                    <a:pt x="1381601" y="761048"/>
                  </a:lnTo>
                  <a:lnTo>
                    <a:pt x="1375886" y="753809"/>
                  </a:lnTo>
                  <a:lnTo>
                    <a:pt x="1372933" y="755809"/>
                  </a:lnTo>
                  <a:lnTo>
                    <a:pt x="1372743" y="754190"/>
                  </a:lnTo>
                  <a:lnTo>
                    <a:pt x="1366838" y="758190"/>
                  </a:lnTo>
                  <a:lnTo>
                    <a:pt x="1365028" y="756857"/>
                  </a:lnTo>
                  <a:lnTo>
                    <a:pt x="1362265" y="760381"/>
                  </a:lnTo>
                  <a:lnTo>
                    <a:pt x="1360456" y="759047"/>
                  </a:lnTo>
                  <a:lnTo>
                    <a:pt x="1348645" y="766953"/>
                  </a:lnTo>
                  <a:lnTo>
                    <a:pt x="1339596" y="758476"/>
                  </a:lnTo>
                  <a:lnTo>
                    <a:pt x="1337977" y="758666"/>
                  </a:lnTo>
                  <a:lnTo>
                    <a:pt x="1328642" y="748665"/>
                  </a:lnTo>
                  <a:lnTo>
                    <a:pt x="1321689" y="744760"/>
                  </a:lnTo>
                  <a:lnTo>
                    <a:pt x="1320260" y="733711"/>
                  </a:lnTo>
                  <a:lnTo>
                    <a:pt x="1309402" y="736663"/>
                  </a:lnTo>
                  <a:lnTo>
                    <a:pt x="1307021" y="743331"/>
                  </a:lnTo>
                  <a:lnTo>
                    <a:pt x="1304830" y="738759"/>
                  </a:lnTo>
                  <a:lnTo>
                    <a:pt x="1303496" y="740569"/>
                  </a:lnTo>
                  <a:lnTo>
                    <a:pt x="1300163" y="739426"/>
                  </a:lnTo>
                  <a:lnTo>
                    <a:pt x="1298829" y="741236"/>
                  </a:lnTo>
                  <a:lnTo>
                    <a:pt x="1292162" y="738854"/>
                  </a:lnTo>
                  <a:lnTo>
                    <a:pt x="1290352" y="737521"/>
                  </a:lnTo>
                  <a:lnTo>
                    <a:pt x="1290161" y="735901"/>
                  </a:lnTo>
                  <a:lnTo>
                    <a:pt x="1291304" y="732568"/>
                  </a:lnTo>
                  <a:lnTo>
                    <a:pt x="1289495" y="731234"/>
                  </a:lnTo>
                  <a:lnTo>
                    <a:pt x="1293590" y="725900"/>
                  </a:lnTo>
                  <a:lnTo>
                    <a:pt x="1293209" y="722757"/>
                  </a:lnTo>
                  <a:lnTo>
                    <a:pt x="1294352" y="719423"/>
                  </a:lnTo>
                  <a:lnTo>
                    <a:pt x="1292352" y="716471"/>
                  </a:lnTo>
                  <a:lnTo>
                    <a:pt x="1294543" y="708184"/>
                  </a:lnTo>
                  <a:lnTo>
                    <a:pt x="1289209" y="704088"/>
                  </a:lnTo>
                  <a:lnTo>
                    <a:pt x="1288066" y="707422"/>
                  </a:lnTo>
                  <a:lnTo>
                    <a:pt x="1281113" y="703517"/>
                  </a:lnTo>
                  <a:lnTo>
                    <a:pt x="1282256" y="700183"/>
                  </a:lnTo>
                  <a:lnTo>
                    <a:pt x="1276922" y="696087"/>
                  </a:lnTo>
                  <a:lnTo>
                    <a:pt x="1269397" y="700278"/>
                  </a:lnTo>
                  <a:lnTo>
                    <a:pt x="1266063" y="699135"/>
                  </a:lnTo>
                  <a:lnTo>
                    <a:pt x="1259777" y="699897"/>
                  </a:lnTo>
                  <a:lnTo>
                    <a:pt x="1257586" y="695325"/>
                  </a:lnTo>
                  <a:lnTo>
                    <a:pt x="1254252" y="694182"/>
                  </a:lnTo>
                  <a:lnTo>
                    <a:pt x="1252633" y="694373"/>
                  </a:lnTo>
                  <a:lnTo>
                    <a:pt x="1251299" y="696182"/>
                  </a:lnTo>
                  <a:lnTo>
                    <a:pt x="1244822" y="695420"/>
                  </a:lnTo>
                  <a:lnTo>
                    <a:pt x="1245013" y="697040"/>
                  </a:lnTo>
                  <a:lnTo>
                    <a:pt x="1241489" y="694277"/>
                  </a:lnTo>
                  <a:lnTo>
                    <a:pt x="1238726" y="697801"/>
                  </a:lnTo>
                  <a:lnTo>
                    <a:pt x="1233964" y="698373"/>
                  </a:lnTo>
                  <a:lnTo>
                    <a:pt x="1233964" y="685514"/>
                  </a:lnTo>
                  <a:cubicBezTo>
                    <a:pt x="1233964" y="685514"/>
                    <a:pt x="1230344" y="682752"/>
                    <a:pt x="1230344" y="682752"/>
                  </a:cubicBezTo>
                  <a:lnTo>
                    <a:pt x="1227963" y="676656"/>
                  </a:lnTo>
                  <a:lnTo>
                    <a:pt x="1223010" y="675704"/>
                  </a:lnTo>
                  <a:lnTo>
                    <a:pt x="1218724" y="679418"/>
                  </a:lnTo>
                  <a:lnTo>
                    <a:pt x="1217105" y="679609"/>
                  </a:lnTo>
                  <a:lnTo>
                    <a:pt x="1215866" y="670179"/>
                  </a:lnTo>
                  <a:lnTo>
                    <a:pt x="1199674" y="669036"/>
                  </a:lnTo>
                  <a:lnTo>
                    <a:pt x="1197293" y="675704"/>
                  </a:lnTo>
                  <a:lnTo>
                    <a:pt x="1194340" y="677704"/>
                  </a:lnTo>
                  <a:lnTo>
                    <a:pt x="1192339" y="674751"/>
                  </a:lnTo>
                  <a:lnTo>
                    <a:pt x="1193482" y="671417"/>
                  </a:lnTo>
                  <a:lnTo>
                    <a:pt x="1195864" y="664750"/>
                  </a:lnTo>
                  <a:lnTo>
                    <a:pt x="1195483" y="661607"/>
                  </a:lnTo>
                  <a:lnTo>
                    <a:pt x="1199579" y="656273"/>
                  </a:lnTo>
                  <a:lnTo>
                    <a:pt x="1200531" y="651320"/>
                  </a:lnTo>
                  <a:lnTo>
                    <a:pt x="1200912" y="641604"/>
                  </a:lnTo>
                  <a:lnTo>
                    <a:pt x="1198721" y="637032"/>
                  </a:lnTo>
                  <a:lnTo>
                    <a:pt x="1198150" y="632270"/>
                  </a:lnTo>
                  <a:lnTo>
                    <a:pt x="1196149" y="629317"/>
                  </a:lnTo>
                  <a:lnTo>
                    <a:pt x="1191197" y="628364"/>
                  </a:lnTo>
                  <a:lnTo>
                    <a:pt x="1187577" y="612743"/>
                  </a:lnTo>
                  <a:lnTo>
                    <a:pt x="1185767" y="611410"/>
                  </a:lnTo>
                  <a:lnTo>
                    <a:pt x="1177671" y="610838"/>
                  </a:lnTo>
                  <a:lnTo>
                    <a:pt x="1167384" y="618554"/>
                  </a:lnTo>
                  <a:lnTo>
                    <a:pt x="1156525" y="621506"/>
                  </a:lnTo>
                  <a:lnTo>
                    <a:pt x="1151954" y="623697"/>
                  </a:lnTo>
                  <a:lnTo>
                    <a:pt x="1148620" y="622554"/>
                  </a:lnTo>
                  <a:lnTo>
                    <a:pt x="1145667" y="624554"/>
                  </a:lnTo>
                  <a:lnTo>
                    <a:pt x="1142524" y="624935"/>
                  </a:lnTo>
                  <a:lnTo>
                    <a:pt x="1138619" y="631888"/>
                  </a:lnTo>
                  <a:lnTo>
                    <a:pt x="1135094" y="629126"/>
                  </a:lnTo>
                  <a:lnTo>
                    <a:pt x="1130618" y="631317"/>
                  </a:lnTo>
                  <a:lnTo>
                    <a:pt x="1114235" y="628555"/>
                  </a:lnTo>
                  <a:lnTo>
                    <a:pt x="1120140" y="624554"/>
                  </a:lnTo>
                  <a:lnTo>
                    <a:pt x="1120902" y="618077"/>
                  </a:lnTo>
                  <a:lnTo>
                    <a:pt x="1118711" y="613505"/>
                  </a:lnTo>
                  <a:lnTo>
                    <a:pt x="1117282" y="615315"/>
                  </a:lnTo>
                  <a:lnTo>
                    <a:pt x="1115092" y="597980"/>
                  </a:lnTo>
                  <a:lnTo>
                    <a:pt x="1126522" y="599694"/>
                  </a:lnTo>
                  <a:lnTo>
                    <a:pt x="1129856" y="600837"/>
                  </a:lnTo>
                  <a:lnTo>
                    <a:pt x="1134142" y="597122"/>
                  </a:lnTo>
                  <a:lnTo>
                    <a:pt x="1133094" y="589217"/>
                  </a:lnTo>
                  <a:lnTo>
                    <a:pt x="1134713" y="589026"/>
                  </a:lnTo>
                  <a:lnTo>
                    <a:pt x="1137666" y="574262"/>
                  </a:lnTo>
                  <a:lnTo>
                    <a:pt x="1138047" y="564642"/>
                  </a:lnTo>
                  <a:lnTo>
                    <a:pt x="1142619" y="562451"/>
                  </a:lnTo>
                  <a:lnTo>
                    <a:pt x="1149096" y="563213"/>
                  </a:lnTo>
                  <a:lnTo>
                    <a:pt x="1150906" y="564547"/>
                  </a:lnTo>
                  <a:lnTo>
                    <a:pt x="1154049" y="564166"/>
                  </a:lnTo>
                  <a:lnTo>
                    <a:pt x="1155192" y="560832"/>
                  </a:lnTo>
                  <a:lnTo>
                    <a:pt x="1156335" y="557498"/>
                  </a:lnTo>
                  <a:lnTo>
                    <a:pt x="1159669" y="558641"/>
                  </a:lnTo>
                  <a:lnTo>
                    <a:pt x="1161002" y="556832"/>
                  </a:lnTo>
                  <a:lnTo>
                    <a:pt x="1165955" y="557784"/>
                  </a:lnTo>
                  <a:lnTo>
                    <a:pt x="1169480" y="534924"/>
                  </a:lnTo>
                  <a:lnTo>
                    <a:pt x="1174052" y="532733"/>
                  </a:lnTo>
                  <a:lnTo>
                    <a:pt x="1172051" y="529780"/>
                  </a:lnTo>
                  <a:lnTo>
                    <a:pt x="1173671" y="529590"/>
                  </a:lnTo>
                  <a:lnTo>
                    <a:pt x="1171670" y="526637"/>
                  </a:lnTo>
                  <a:lnTo>
                    <a:pt x="1172813" y="523304"/>
                  </a:lnTo>
                  <a:lnTo>
                    <a:pt x="1176147" y="511683"/>
                  </a:lnTo>
                  <a:lnTo>
                    <a:pt x="1172147" y="505778"/>
                  </a:lnTo>
                  <a:lnTo>
                    <a:pt x="1170623" y="505968"/>
                  </a:lnTo>
                  <a:lnTo>
                    <a:pt x="1165479" y="516255"/>
                  </a:lnTo>
                  <a:lnTo>
                    <a:pt x="1160907" y="518446"/>
                  </a:lnTo>
                  <a:lnTo>
                    <a:pt x="1157383" y="515684"/>
                  </a:lnTo>
                  <a:lnTo>
                    <a:pt x="1154239" y="516065"/>
                  </a:lnTo>
                  <a:lnTo>
                    <a:pt x="1152430" y="514731"/>
                  </a:lnTo>
                  <a:lnTo>
                    <a:pt x="1141381" y="516160"/>
                  </a:lnTo>
                  <a:lnTo>
                    <a:pt x="1141952" y="520922"/>
                  </a:lnTo>
                  <a:lnTo>
                    <a:pt x="1136618" y="516826"/>
                  </a:lnTo>
                  <a:lnTo>
                    <a:pt x="1140714" y="511492"/>
                  </a:lnTo>
                  <a:lnTo>
                    <a:pt x="1141476" y="505016"/>
                  </a:lnTo>
                  <a:lnTo>
                    <a:pt x="1143286" y="506349"/>
                  </a:lnTo>
                  <a:lnTo>
                    <a:pt x="1149001" y="500825"/>
                  </a:lnTo>
                  <a:lnTo>
                    <a:pt x="1146810" y="496253"/>
                  </a:lnTo>
                  <a:lnTo>
                    <a:pt x="1145191" y="496443"/>
                  </a:lnTo>
                  <a:lnTo>
                    <a:pt x="1143381" y="495109"/>
                  </a:lnTo>
                  <a:lnTo>
                    <a:pt x="1140047" y="493967"/>
                  </a:lnTo>
                  <a:lnTo>
                    <a:pt x="1137095" y="483108"/>
                  </a:lnTo>
                  <a:lnTo>
                    <a:pt x="1132904" y="475583"/>
                  </a:lnTo>
                  <a:lnTo>
                    <a:pt x="1127570" y="471488"/>
                  </a:lnTo>
                  <a:lnTo>
                    <a:pt x="1133856" y="457867"/>
                  </a:lnTo>
                  <a:lnTo>
                    <a:pt x="1132808" y="449961"/>
                  </a:lnTo>
                  <a:lnTo>
                    <a:pt x="1129094" y="445675"/>
                  </a:lnTo>
                  <a:lnTo>
                    <a:pt x="1126903" y="441103"/>
                  </a:lnTo>
                  <a:lnTo>
                    <a:pt x="1121759" y="438531"/>
                  </a:lnTo>
                  <a:lnTo>
                    <a:pt x="1122521" y="432054"/>
                  </a:lnTo>
                  <a:lnTo>
                    <a:pt x="1128427" y="428054"/>
                  </a:lnTo>
                  <a:lnTo>
                    <a:pt x="1130998" y="422910"/>
                  </a:lnTo>
                  <a:lnTo>
                    <a:pt x="1135571" y="420719"/>
                  </a:lnTo>
                  <a:lnTo>
                    <a:pt x="1137475" y="410813"/>
                  </a:lnTo>
                  <a:lnTo>
                    <a:pt x="1137285" y="409194"/>
                  </a:lnTo>
                  <a:lnTo>
                    <a:pt x="1141190" y="402241"/>
                  </a:lnTo>
                  <a:lnTo>
                    <a:pt x="1142810" y="402050"/>
                  </a:lnTo>
                  <a:lnTo>
                    <a:pt x="1142429" y="398907"/>
                  </a:lnTo>
                  <a:lnTo>
                    <a:pt x="1142238" y="397288"/>
                  </a:lnTo>
                  <a:lnTo>
                    <a:pt x="1139285" y="399288"/>
                  </a:lnTo>
                  <a:lnTo>
                    <a:pt x="1140428" y="395954"/>
                  </a:lnTo>
                  <a:lnTo>
                    <a:pt x="1138619" y="394621"/>
                  </a:lnTo>
                  <a:lnTo>
                    <a:pt x="1135856" y="385382"/>
                  </a:lnTo>
                  <a:lnTo>
                    <a:pt x="1135285" y="380619"/>
                  </a:lnTo>
                  <a:lnTo>
                    <a:pt x="1133475" y="379286"/>
                  </a:lnTo>
                  <a:lnTo>
                    <a:pt x="1132141" y="381095"/>
                  </a:lnTo>
                  <a:lnTo>
                    <a:pt x="1129951" y="376523"/>
                  </a:lnTo>
                  <a:lnTo>
                    <a:pt x="1129189" y="370237"/>
                  </a:lnTo>
                  <a:lnTo>
                    <a:pt x="1126617" y="362521"/>
                  </a:lnTo>
                  <a:lnTo>
                    <a:pt x="1122616" y="356616"/>
                  </a:lnTo>
                  <a:lnTo>
                    <a:pt x="1125569" y="354616"/>
                  </a:lnTo>
                  <a:lnTo>
                    <a:pt x="1125379" y="352996"/>
                  </a:lnTo>
                  <a:lnTo>
                    <a:pt x="1126522" y="349663"/>
                  </a:lnTo>
                  <a:lnTo>
                    <a:pt x="1125760" y="343376"/>
                  </a:lnTo>
                  <a:lnTo>
                    <a:pt x="1118045" y="345948"/>
                  </a:lnTo>
                  <a:lnTo>
                    <a:pt x="1112139" y="337090"/>
                  </a:lnTo>
                  <a:lnTo>
                    <a:pt x="1108424" y="332804"/>
                  </a:lnTo>
                  <a:lnTo>
                    <a:pt x="1109758" y="330994"/>
                  </a:lnTo>
                  <a:lnTo>
                    <a:pt x="1104805" y="330041"/>
                  </a:lnTo>
                  <a:lnTo>
                    <a:pt x="1096328" y="326326"/>
                  </a:lnTo>
                  <a:lnTo>
                    <a:pt x="1093184" y="326708"/>
                  </a:lnTo>
                  <a:lnTo>
                    <a:pt x="1091851" y="328517"/>
                  </a:lnTo>
                  <a:lnTo>
                    <a:pt x="1083183" y="323183"/>
                  </a:lnTo>
                  <a:lnTo>
                    <a:pt x="1080040" y="323564"/>
                  </a:lnTo>
                  <a:lnTo>
                    <a:pt x="1078516" y="323755"/>
                  </a:lnTo>
                  <a:lnTo>
                    <a:pt x="1078325" y="322136"/>
                  </a:lnTo>
                  <a:lnTo>
                    <a:pt x="1071563" y="319754"/>
                  </a:lnTo>
                  <a:lnTo>
                    <a:pt x="1069562" y="316801"/>
                  </a:lnTo>
                  <a:lnTo>
                    <a:pt x="1070896" y="314992"/>
                  </a:lnTo>
                  <a:lnTo>
                    <a:pt x="1060799" y="311467"/>
                  </a:lnTo>
                  <a:lnTo>
                    <a:pt x="1059466" y="313277"/>
                  </a:lnTo>
                  <a:lnTo>
                    <a:pt x="1055465" y="307372"/>
                  </a:lnTo>
                  <a:lnTo>
                    <a:pt x="1060037" y="305181"/>
                  </a:lnTo>
                  <a:lnTo>
                    <a:pt x="1060990" y="300228"/>
                  </a:lnTo>
                  <a:lnTo>
                    <a:pt x="1059180" y="298895"/>
                  </a:lnTo>
                  <a:lnTo>
                    <a:pt x="1059180" y="298895"/>
                  </a:lnTo>
                  <a:lnTo>
                    <a:pt x="1057180" y="295942"/>
                  </a:lnTo>
                  <a:lnTo>
                    <a:pt x="1062514" y="287274"/>
                  </a:lnTo>
                  <a:lnTo>
                    <a:pt x="1065276" y="283750"/>
                  </a:lnTo>
                  <a:lnTo>
                    <a:pt x="1063276" y="280797"/>
                  </a:lnTo>
                  <a:lnTo>
                    <a:pt x="1064228" y="275844"/>
                  </a:lnTo>
                  <a:lnTo>
                    <a:pt x="1068324" y="270510"/>
                  </a:lnTo>
                  <a:lnTo>
                    <a:pt x="1067562" y="264224"/>
                  </a:lnTo>
                  <a:lnTo>
                    <a:pt x="1063752" y="259937"/>
                  </a:lnTo>
                  <a:lnTo>
                    <a:pt x="1061371" y="253841"/>
                  </a:lnTo>
                  <a:lnTo>
                    <a:pt x="1059180" y="249269"/>
                  </a:lnTo>
                  <a:lnTo>
                    <a:pt x="1057561" y="249460"/>
                  </a:lnTo>
                  <a:lnTo>
                    <a:pt x="1059752" y="254032"/>
                  </a:lnTo>
                  <a:lnTo>
                    <a:pt x="1056989" y="257556"/>
                  </a:lnTo>
                  <a:lnTo>
                    <a:pt x="1057370" y="260699"/>
                  </a:lnTo>
                  <a:lnTo>
                    <a:pt x="1052608" y="261271"/>
                  </a:lnTo>
                  <a:lnTo>
                    <a:pt x="1055941" y="262414"/>
                  </a:lnTo>
                  <a:lnTo>
                    <a:pt x="1054989" y="267367"/>
                  </a:lnTo>
                  <a:lnTo>
                    <a:pt x="1056608" y="267176"/>
                  </a:lnTo>
                  <a:lnTo>
                    <a:pt x="1056989" y="270320"/>
                  </a:lnTo>
                  <a:lnTo>
                    <a:pt x="1058323" y="268510"/>
                  </a:lnTo>
                  <a:lnTo>
                    <a:pt x="1055561" y="272034"/>
                  </a:lnTo>
                  <a:lnTo>
                    <a:pt x="1055561" y="272034"/>
                  </a:lnTo>
                  <a:lnTo>
                    <a:pt x="1055751" y="273653"/>
                  </a:lnTo>
                  <a:lnTo>
                    <a:pt x="1050798" y="272701"/>
                  </a:lnTo>
                  <a:lnTo>
                    <a:pt x="1049179" y="272891"/>
                  </a:lnTo>
                  <a:lnTo>
                    <a:pt x="1049369" y="274511"/>
                  </a:lnTo>
                  <a:lnTo>
                    <a:pt x="1046226" y="274892"/>
                  </a:lnTo>
                  <a:lnTo>
                    <a:pt x="1045655" y="270129"/>
                  </a:lnTo>
                  <a:lnTo>
                    <a:pt x="1046797" y="266795"/>
                  </a:lnTo>
                  <a:lnTo>
                    <a:pt x="1043654" y="267176"/>
                  </a:lnTo>
                  <a:lnTo>
                    <a:pt x="1041273" y="261080"/>
                  </a:lnTo>
                  <a:lnTo>
                    <a:pt x="1039654" y="261271"/>
                  </a:lnTo>
                  <a:lnTo>
                    <a:pt x="1042225" y="256127"/>
                  </a:lnTo>
                  <a:lnTo>
                    <a:pt x="1032796" y="257366"/>
                  </a:lnTo>
                  <a:lnTo>
                    <a:pt x="1032224" y="252603"/>
                  </a:lnTo>
                  <a:lnTo>
                    <a:pt x="1035558" y="253746"/>
                  </a:lnTo>
                  <a:lnTo>
                    <a:pt x="1034987" y="248984"/>
                  </a:lnTo>
                  <a:lnTo>
                    <a:pt x="1033367" y="249174"/>
                  </a:lnTo>
                  <a:lnTo>
                    <a:pt x="1035748" y="242507"/>
                  </a:lnTo>
                  <a:lnTo>
                    <a:pt x="1035368" y="239363"/>
                  </a:lnTo>
                  <a:lnTo>
                    <a:pt x="1030605" y="239935"/>
                  </a:lnTo>
                  <a:lnTo>
                    <a:pt x="1030224" y="236792"/>
                  </a:lnTo>
                  <a:lnTo>
                    <a:pt x="1025652" y="238982"/>
                  </a:lnTo>
                  <a:lnTo>
                    <a:pt x="1020699" y="238030"/>
                  </a:lnTo>
                  <a:lnTo>
                    <a:pt x="1013555" y="232505"/>
                  </a:lnTo>
                  <a:lnTo>
                    <a:pt x="1014698" y="229171"/>
                  </a:lnTo>
                  <a:lnTo>
                    <a:pt x="1016508" y="230505"/>
                  </a:lnTo>
                  <a:lnTo>
                    <a:pt x="1017270" y="224028"/>
                  </a:lnTo>
                  <a:lnTo>
                    <a:pt x="1016698" y="219266"/>
                  </a:lnTo>
                  <a:lnTo>
                    <a:pt x="1012127" y="208598"/>
                  </a:lnTo>
                  <a:lnTo>
                    <a:pt x="1011936" y="206978"/>
                  </a:lnTo>
                  <a:lnTo>
                    <a:pt x="1013555" y="206788"/>
                  </a:lnTo>
                  <a:lnTo>
                    <a:pt x="1012507" y="198882"/>
                  </a:lnTo>
                  <a:lnTo>
                    <a:pt x="1010698" y="197453"/>
                  </a:lnTo>
                  <a:lnTo>
                    <a:pt x="1008697" y="194500"/>
                  </a:lnTo>
                  <a:lnTo>
                    <a:pt x="1005745" y="196501"/>
                  </a:lnTo>
                  <a:lnTo>
                    <a:pt x="1002221" y="193738"/>
                  </a:lnTo>
                  <a:lnTo>
                    <a:pt x="1000601" y="193929"/>
                  </a:lnTo>
                  <a:lnTo>
                    <a:pt x="1000220" y="190786"/>
                  </a:lnTo>
                  <a:lnTo>
                    <a:pt x="1004983" y="190214"/>
                  </a:lnTo>
                  <a:lnTo>
                    <a:pt x="1006316" y="188404"/>
                  </a:lnTo>
                  <a:lnTo>
                    <a:pt x="1004316" y="185452"/>
                  </a:lnTo>
                  <a:lnTo>
                    <a:pt x="992886" y="183737"/>
                  </a:lnTo>
                  <a:lnTo>
                    <a:pt x="992314" y="178975"/>
                  </a:lnTo>
                  <a:lnTo>
                    <a:pt x="989171" y="179356"/>
                  </a:lnTo>
                  <a:lnTo>
                    <a:pt x="987171" y="176403"/>
                  </a:lnTo>
                  <a:lnTo>
                    <a:pt x="993457" y="175641"/>
                  </a:lnTo>
                  <a:lnTo>
                    <a:pt x="992219" y="166211"/>
                  </a:lnTo>
                  <a:lnTo>
                    <a:pt x="985266" y="162306"/>
                  </a:lnTo>
                  <a:lnTo>
                    <a:pt x="983266" y="159353"/>
                  </a:lnTo>
                  <a:lnTo>
                    <a:pt x="984599" y="157544"/>
                  </a:lnTo>
                  <a:lnTo>
                    <a:pt x="981265" y="156400"/>
                  </a:lnTo>
                  <a:lnTo>
                    <a:pt x="981075" y="154781"/>
                  </a:lnTo>
                  <a:lnTo>
                    <a:pt x="977741" y="153638"/>
                  </a:lnTo>
                  <a:lnTo>
                    <a:pt x="973836" y="160592"/>
                  </a:lnTo>
                  <a:lnTo>
                    <a:pt x="962787" y="149162"/>
                  </a:lnTo>
                  <a:lnTo>
                    <a:pt x="960977" y="147828"/>
                  </a:lnTo>
                  <a:lnTo>
                    <a:pt x="958215" y="151352"/>
                  </a:lnTo>
                  <a:lnTo>
                    <a:pt x="954881" y="150209"/>
                  </a:lnTo>
                  <a:lnTo>
                    <a:pt x="940118" y="160115"/>
                  </a:lnTo>
                  <a:lnTo>
                    <a:pt x="935355" y="160687"/>
                  </a:lnTo>
                  <a:lnTo>
                    <a:pt x="932402" y="162687"/>
                  </a:lnTo>
                  <a:lnTo>
                    <a:pt x="934212" y="164021"/>
                  </a:lnTo>
                  <a:lnTo>
                    <a:pt x="935831" y="163830"/>
                  </a:lnTo>
                  <a:lnTo>
                    <a:pt x="937641" y="165163"/>
                  </a:lnTo>
                  <a:lnTo>
                    <a:pt x="934498" y="165545"/>
                  </a:lnTo>
                  <a:lnTo>
                    <a:pt x="933545" y="170498"/>
                  </a:lnTo>
                  <a:lnTo>
                    <a:pt x="930593" y="172498"/>
                  </a:lnTo>
                  <a:lnTo>
                    <a:pt x="925449" y="169926"/>
                  </a:lnTo>
                  <a:lnTo>
                    <a:pt x="921163" y="173641"/>
                  </a:lnTo>
                  <a:lnTo>
                    <a:pt x="927449" y="172879"/>
                  </a:lnTo>
                  <a:lnTo>
                    <a:pt x="931164" y="177165"/>
                  </a:lnTo>
                  <a:lnTo>
                    <a:pt x="928783" y="183833"/>
                  </a:lnTo>
                  <a:lnTo>
                    <a:pt x="930402" y="183642"/>
                  </a:lnTo>
                  <a:lnTo>
                    <a:pt x="933736" y="184785"/>
                  </a:lnTo>
                  <a:lnTo>
                    <a:pt x="936688" y="182785"/>
                  </a:lnTo>
                  <a:lnTo>
                    <a:pt x="936879" y="184404"/>
                  </a:lnTo>
                  <a:lnTo>
                    <a:pt x="938689" y="185738"/>
                  </a:lnTo>
                  <a:lnTo>
                    <a:pt x="941070" y="191834"/>
                  </a:lnTo>
                  <a:lnTo>
                    <a:pt x="942689" y="191643"/>
                  </a:lnTo>
                  <a:lnTo>
                    <a:pt x="943261" y="196405"/>
                  </a:lnTo>
                  <a:lnTo>
                    <a:pt x="944594" y="194596"/>
                  </a:lnTo>
                  <a:lnTo>
                    <a:pt x="949357" y="194024"/>
                  </a:lnTo>
                  <a:lnTo>
                    <a:pt x="949738" y="197167"/>
                  </a:lnTo>
                  <a:lnTo>
                    <a:pt x="953072" y="198311"/>
                  </a:lnTo>
                  <a:lnTo>
                    <a:pt x="951929" y="201644"/>
                  </a:lnTo>
                  <a:lnTo>
                    <a:pt x="952119" y="203263"/>
                  </a:lnTo>
                  <a:lnTo>
                    <a:pt x="947642" y="205454"/>
                  </a:lnTo>
                  <a:lnTo>
                    <a:pt x="946499" y="208788"/>
                  </a:lnTo>
                  <a:lnTo>
                    <a:pt x="948499" y="211741"/>
                  </a:lnTo>
                  <a:lnTo>
                    <a:pt x="956786" y="213932"/>
                  </a:lnTo>
                  <a:lnTo>
                    <a:pt x="958596" y="215265"/>
                  </a:lnTo>
                  <a:lnTo>
                    <a:pt x="957834" y="221742"/>
                  </a:lnTo>
                  <a:lnTo>
                    <a:pt x="965168" y="228791"/>
                  </a:lnTo>
                  <a:lnTo>
                    <a:pt x="959453" y="234315"/>
                  </a:lnTo>
                  <a:lnTo>
                    <a:pt x="956500" y="236315"/>
                  </a:lnTo>
                  <a:lnTo>
                    <a:pt x="952500" y="230410"/>
                  </a:lnTo>
                  <a:lnTo>
                    <a:pt x="949357" y="243650"/>
                  </a:lnTo>
                  <a:lnTo>
                    <a:pt x="947738" y="243840"/>
                  </a:lnTo>
                  <a:lnTo>
                    <a:pt x="948309" y="248603"/>
                  </a:lnTo>
                  <a:lnTo>
                    <a:pt x="948499" y="250222"/>
                  </a:lnTo>
                  <a:lnTo>
                    <a:pt x="947738" y="256699"/>
                  </a:lnTo>
                  <a:lnTo>
                    <a:pt x="951547" y="260985"/>
                  </a:lnTo>
                  <a:lnTo>
                    <a:pt x="948214" y="259842"/>
                  </a:lnTo>
                  <a:lnTo>
                    <a:pt x="943928" y="263557"/>
                  </a:lnTo>
                  <a:lnTo>
                    <a:pt x="939165" y="264128"/>
                  </a:lnTo>
                  <a:lnTo>
                    <a:pt x="933260" y="268129"/>
                  </a:lnTo>
                  <a:lnTo>
                    <a:pt x="928116" y="278416"/>
                  </a:lnTo>
                  <a:lnTo>
                    <a:pt x="928497" y="281559"/>
                  </a:lnTo>
                  <a:lnTo>
                    <a:pt x="925544" y="283559"/>
                  </a:lnTo>
                  <a:lnTo>
                    <a:pt x="921544" y="277654"/>
                  </a:lnTo>
                  <a:lnTo>
                    <a:pt x="911447" y="274130"/>
                  </a:lnTo>
                  <a:lnTo>
                    <a:pt x="903922" y="265462"/>
                  </a:lnTo>
                  <a:lnTo>
                    <a:pt x="886778" y="256413"/>
                  </a:lnTo>
                  <a:lnTo>
                    <a:pt x="889159" y="249746"/>
                  </a:lnTo>
                  <a:lnTo>
                    <a:pt x="884206" y="248793"/>
                  </a:lnTo>
                  <a:lnTo>
                    <a:pt x="883063" y="252127"/>
                  </a:lnTo>
                  <a:lnTo>
                    <a:pt x="879729" y="250984"/>
                  </a:lnTo>
                  <a:lnTo>
                    <a:pt x="878967" y="244697"/>
                  </a:lnTo>
                  <a:lnTo>
                    <a:pt x="881348" y="238030"/>
                  </a:lnTo>
                  <a:lnTo>
                    <a:pt x="880967" y="234887"/>
                  </a:lnTo>
                  <a:lnTo>
                    <a:pt x="883539" y="229743"/>
                  </a:lnTo>
                  <a:lnTo>
                    <a:pt x="890016" y="230505"/>
                  </a:lnTo>
                  <a:lnTo>
                    <a:pt x="891445" y="228695"/>
                  </a:lnTo>
                  <a:lnTo>
                    <a:pt x="897731" y="227933"/>
                  </a:lnTo>
                  <a:lnTo>
                    <a:pt x="899065" y="226124"/>
                  </a:lnTo>
                  <a:lnTo>
                    <a:pt x="900874" y="227457"/>
                  </a:lnTo>
                  <a:lnTo>
                    <a:pt x="901827" y="222504"/>
                  </a:lnTo>
                  <a:lnTo>
                    <a:pt x="901446" y="219361"/>
                  </a:lnTo>
                  <a:lnTo>
                    <a:pt x="896493" y="218408"/>
                  </a:lnTo>
                  <a:lnTo>
                    <a:pt x="897827" y="216599"/>
                  </a:lnTo>
                  <a:lnTo>
                    <a:pt x="895636" y="212026"/>
                  </a:lnTo>
                  <a:lnTo>
                    <a:pt x="892493" y="212408"/>
                  </a:lnTo>
                  <a:lnTo>
                    <a:pt x="894683" y="204121"/>
                  </a:lnTo>
                  <a:lnTo>
                    <a:pt x="892873" y="202787"/>
                  </a:lnTo>
                  <a:lnTo>
                    <a:pt x="886587" y="203549"/>
                  </a:lnTo>
                  <a:lnTo>
                    <a:pt x="884587" y="200596"/>
                  </a:lnTo>
                  <a:lnTo>
                    <a:pt x="879634" y="199644"/>
                  </a:lnTo>
                  <a:lnTo>
                    <a:pt x="880586" y="181928"/>
                  </a:lnTo>
                  <a:lnTo>
                    <a:pt x="877253" y="180784"/>
                  </a:lnTo>
                  <a:lnTo>
                    <a:pt x="880396" y="180404"/>
                  </a:lnTo>
                  <a:lnTo>
                    <a:pt x="880205" y="178784"/>
                  </a:lnTo>
                  <a:lnTo>
                    <a:pt x="876205" y="172879"/>
                  </a:lnTo>
                  <a:lnTo>
                    <a:pt x="875633" y="168116"/>
                  </a:lnTo>
                  <a:lnTo>
                    <a:pt x="873633" y="165163"/>
                  </a:lnTo>
                  <a:lnTo>
                    <a:pt x="872871" y="158877"/>
                  </a:lnTo>
                  <a:lnTo>
                    <a:pt x="869156" y="154496"/>
                  </a:lnTo>
                  <a:lnTo>
                    <a:pt x="872490" y="142875"/>
                  </a:lnTo>
                  <a:lnTo>
                    <a:pt x="870490" y="139922"/>
                  </a:lnTo>
                  <a:lnTo>
                    <a:pt x="876205" y="134398"/>
                  </a:lnTo>
                  <a:lnTo>
                    <a:pt x="879538" y="135541"/>
                  </a:lnTo>
                  <a:lnTo>
                    <a:pt x="882491" y="133541"/>
                  </a:lnTo>
                  <a:lnTo>
                    <a:pt x="883825" y="131731"/>
                  </a:lnTo>
                  <a:lnTo>
                    <a:pt x="882777" y="123825"/>
                  </a:lnTo>
                  <a:lnTo>
                    <a:pt x="880777" y="120872"/>
                  </a:lnTo>
                  <a:lnTo>
                    <a:pt x="884682" y="113919"/>
                  </a:lnTo>
                  <a:lnTo>
                    <a:pt x="889254" y="111728"/>
                  </a:lnTo>
                  <a:lnTo>
                    <a:pt x="894397" y="114300"/>
                  </a:lnTo>
                  <a:lnTo>
                    <a:pt x="900684" y="113538"/>
                  </a:lnTo>
                  <a:lnTo>
                    <a:pt x="902018" y="111728"/>
                  </a:lnTo>
                  <a:lnTo>
                    <a:pt x="900398" y="111919"/>
                  </a:lnTo>
                  <a:lnTo>
                    <a:pt x="898588" y="110585"/>
                  </a:lnTo>
                  <a:lnTo>
                    <a:pt x="895636" y="112586"/>
                  </a:lnTo>
                  <a:lnTo>
                    <a:pt x="895445" y="110966"/>
                  </a:lnTo>
                  <a:lnTo>
                    <a:pt x="890492" y="110014"/>
                  </a:lnTo>
                  <a:lnTo>
                    <a:pt x="888682" y="108680"/>
                  </a:lnTo>
                  <a:lnTo>
                    <a:pt x="887539" y="112014"/>
                  </a:lnTo>
                  <a:lnTo>
                    <a:pt x="887158" y="108871"/>
                  </a:lnTo>
                  <a:lnTo>
                    <a:pt x="888587" y="107061"/>
                  </a:lnTo>
                  <a:lnTo>
                    <a:pt x="884206" y="110776"/>
                  </a:lnTo>
                  <a:lnTo>
                    <a:pt x="876110" y="110204"/>
                  </a:lnTo>
                  <a:lnTo>
                    <a:pt x="867442" y="104870"/>
                  </a:lnTo>
                  <a:lnTo>
                    <a:pt x="865441" y="101917"/>
                  </a:lnTo>
                  <a:lnTo>
                    <a:pt x="858774" y="99536"/>
                  </a:lnTo>
                  <a:lnTo>
                    <a:pt x="855821" y="101537"/>
                  </a:lnTo>
                  <a:lnTo>
                    <a:pt x="850868" y="100584"/>
                  </a:lnTo>
                  <a:lnTo>
                    <a:pt x="847535" y="99441"/>
                  </a:lnTo>
                  <a:lnTo>
                    <a:pt x="841438" y="101822"/>
                  </a:lnTo>
                  <a:lnTo>
                    <a:pt x="834962" y="101060"/>
                  </a:lnTo>
                  <a:lnTo>
                    <a:pt x="837343" y="94393"/>
                  </a:lnTo>
                  <a:lnTo>
                    <a:pt x="840296" y="92392"/>
                  </a:lnTo>
                  <a:lnTo>
                    <a:pt x="842486" y="84106"/>
                  </a:lnTo>
                  <a:lnTo>
                    <a:pt x="845248" y="80582"/>
                  </a:lnTo>
                  <a:lnTo>
                    <a:pt x="845058" y="78962"/>
                  </a:lnTo>
                  <a:lnTo>
                    <a:pt x="844868" y="77343"/>
                  </a:lnTo>
                  <a:lnTo>
                    <a:pt x="841724" y="77724"/>
                  </a:lnTo>
                  <a:lnTo>
                    <a:pt x="839914" y="76391"/>
                  </a:lnTo>
                  <a:lnTo>
                    <a:pt x="840677" y="69913"/>
                  </a:lnTo>
                  <a:lnTo>
                    <a:pt x="838295" y="63817"/>
                  </a:lnTo>
                  <a:lnTo>
                    <a:pt x="838105" y="62198"/>
                  </a:lnTo>
                  <a:lnTo>
                    <a:pt x="841057" y="60198"/>
                  </a:lnTo>
                  <a:lnTo>
                    <a:pt x="838867" y="55626"/>
                  </a:lnTo>
                  <a:lnTo>
                    <a:pt x="842010" y="55245"/>
                  </a:lnTo>
                  <a:lnTo>
                    <a:pt x="838010" y="49340"/>
                  </a:lnTo>
                  <a:lnTo>
                    <a:pt x="843534" y="55054"/>
                  </a:lnTo>
                  <a:lnTo>
                    <a:pt x="850202" y="57436"/>
                  </a:lnTo>
                  <a:lnTo>
                    <a:pt x="852202" y="60388"/>
                  </a:lnTo>
                  <a:lnTo>
                    <a:pt x="853154" y="55436"/>
                  </a:lnTo>
                  <a:lnTo>
                    <a:pt x="855345" y="60008"/>
                  </a:lnTo>
                  <a:lnTo>
                    <a:pt x="858298" y="58007"/>
                  </a:lnTo>
                  <a:lnTo>
                    <a:pt x="861822" y="60770"/>
                  </a:lnTo>
                  <a:lnTo>
                    <a:pt x="864013" y="65342"/>
                  </a:lnTo>
                  <a:lnTo>
                    <a:pt x="865822" y="66675"/>
                  </a:lnTo>
                  <a:lnTo>
                    <a:pt x="873538" y="64103"/>
                  </a:lnTo>
                  <a:lnTo>
                    <a:pt x="878014" y="61913"/>
                  </a:lnTo>
                  <a:lnTo>
                    <a:pt x="879157" y="58579"/>
                  </a:lnTo>
                  <a:lnTo>
                    <a:pt x="875824" y="57436"/>
                  </a:lnTo>
                  <a:lnTo>
                    <a:pt x="873443" y="51340"/>
                  </a:lnTo>
                  <a:lnTo>
                    <a:pt x="868489" y="50387"/>
                  </a:lnTo>
                  <a:lnTo>
                    <a:pt x="869252" y="43910"/>
                  </a:lnTo>
                  <a:lnTo>
                    <a:pt x="871061" y="45244"/>
                  </a:lnTo>
                  <a:lnTo>
                    <a:pt x="875538" y="43053"/>
                  </a:lnTo>
                  <a:lnTo>
                    <a:pt x="875157" y="39910"/>
                  </a:lnTo>
                  <a:lnTo>
                    <a:pt x="881253" y="37529"/>
                  </a:lnTo>
                  <a:lnTo>
                    <a:pt x="879443" y="36195"/>
                  </a:lnTo>
                  <a:lnTo>
                    <a:pt x="865441" y="39624"/>
                  </a:lnTo>
                  <a:lnTo>
                    <a:pt x="858488" y="35719"/>
                  </a:lnTo>
                  <a:lnTo>
                    <a:pt x="846391" y="29242"/>
                  </a:lnTo>
                  <a:lnTo>
                    <a:pt x="843058" y="28099"/>
                  </a:lnTo>
                  <a:lnTo>
                    <a:pt x="824294" y="19241"/>
                  </a:lnTo>
                  <a:lnTo>
                    <a:pt x="822674" y="19431"/>
                  </a:lnTo>
                  <a:lnTo>
                    <a:pt x="819340" y="18288"/>
                  </a:lnTo>
                  <a:lnTo>
                    <a:pt x="816959" y="12192"/>
                  </a:lnTo>
                  <a:lnTo>
                    <a:pt x="802100" y="9239"/>
                  </a:lnTo>
                  <a:lnTo>
                    <a:pt x="804863" y="5715"/>
                  </a:lnTo>
                  <a:lnTo>
                    <a:pt x="798957" y="9716"/>
                  </a:lnTo>
                  <a:lnTo>
                    <a:pt x="795623" y="8573"/>
                  </a:lnTo>
                  <a:lnTo>
                    <a:pt x="794290" y="10382"/>
                  </a:lnTo>
                  <a:lnTo>
                    <a:pt x="790956" y="9239"/>
                  </a:lnTo>
                  <a:lnTo>
                    <a:pt x="782288" y="3905"/>
                  </a:lnTo>
                  <a:lnTo>
                    <a:pt x="780955" y="5715"/>
                  </a:lnTo>
                  <a:lnTo>
                    <a:pt x="784288" y="6858"/>
                  </a:lnTo>
                  <a:lnTo>
                    <a:pt x="784670" y="10001"/>
                  </a:lnTo>
                  <a:lnTo>
                    <a:pt x="778002" y="7620"/>
                  </a:lnTo>
                  <a:lnTo>
                    <a:pt x="772478" y="14764"/>
                  </a:lnTo>
                  <a:lnTo>
                    <a:pt x="759809" y="3524"/>
                  </a:lnTo>
                  <a:lnTo>
                    <a:pt x="749713" y="0"/>
                  </a:lnTo>
                  <a:lnTo>
                    <a:pt x="748094" y="191"/>
                  </a:lnTo>
                  <a:lnTo>
                    <a:pt x="747141" y="5144"/>
                  </a:lnTo>
                  <a:lnTo>
                    <a:pt x="749141" y="8096"/>
                  </a:lnTo>
                  <a:lnTo>
                    <a:pt x="745998" y="8477"/>
                  </a:lnTo>
                  <a:lnTo>
                    <a:pt x="746188" y="10096"/>
                  </a:lnTo>
                  <a:lnTo>
                    <a:pt x="738283" y="11144"/>
                  </a:lnTo>
                  <a:lnTo>
                    <a:pt x="738283" y="11144"/>
                  </a:lnTo>
                  <a:lnTo>
                    <a:pt x="734949" y="10001"/>
                  </a:lnTo>
                  <a:lnTo>
                    <a:pt x="729805" y="7429"/>
                  </a:lnTo>
                  <a:lnTo>
                    <a:pt x="725519" y="11144"/>
                  </a:lnTo>
                  <a:lnTo>
                    <a:pt x="718566" y="7239"/>
                  </a:lnTo>
                  <a:lnTo>
                    <a:pt x="717995" y="2476"/>
                  </a:lnTo>
                  <a:lnTo>
                    <a:pt x="713708" y="6287"/>
                  </a:lnTo>
                  <a:lnTo>
                    <a:pt x="712089" y="6477"/>
                  </a:lnTo>
                  <a:lnTo>
                    <a:pt x="708565" y="3715"/>
                  </a:lnTo>
                  <a:lnTo>
                    <a:pt x="703802" y="4286"/>
                  </a:lnTo>
                  <a:lnTo>
                    <a:pt x="700849" y="6287"/>
                  </a:lnTo>
                  <a:lnTo>
                    <a:pt x="701230" y="9430"/>
                  </a:lnTo>
                  <a:lnTo>
                    <a:pt x="697135" y="14764"/>
                  </a:lnTo>
                  <a:lnTo>
                    <a:pt x="698182" y="22670"/>
                  </a:lnTo>
                  <a:lnTo>
                    <a:pt x="698754" y="27432"/>
                  </a:lnTo>
                  <a:lnTo>
                    <a:pt x="697421" y="29242"/>
                  </a:lnTo>
                  <a:lnTo>
                    <a:pt x="697611" y="30861"/>
                  </a:lnTo>
                  <a:lnTo>
                    <a:pt x="693706" y="37814"/>
                  </a:lnTo>
                  <a:lnTo>
                    <a:pt x="696087" y="43910"/>
                  </a:lnTo>
                  <a:lnTo>
                    <a:pt x="696468" y="47054"/>
                  </a:lnTo>
                  <a:lnTo>
                    <a:pt x="693515" y="49054"/>
                  </a:lnTo>
                  <a:lnTo>
                    <a:pt x="693134" y="45911"/>
                  </a:lnTo>
                  <a:lnTo>
                    <a:pt x="690181" y="47911"/>
                  </a:lnTo>
                  <a:lnTo>
                    <a:pt x="677132" y="46387"/>
                  </a:lnTo>
                  <a:lnTo>
                    <a:pt x="677513" y="49530"/>
                  </a:lnTo>
                  <a:lnTo>
                    <a:pt x="674180" y="48387"/>
                  </a:lnTo>
                  <a:lnTo>
                    <a:pt x="672370" y="47054"/>
                  </a:lnTo>
                  <a:lnTo>
                    <a:pt x="669417" y="49054"/>
                  </a:lnTo>
                  <a:lnTo>
                    <a:pt x="667607" y="47720"/>
                  </a:lnTo>
                  <a:lnTo>
                    <a:pt x="660082" y="39053"/>
                  </a:lnTo>
                  <a:lnTo>
                    <a:pt x="656939" y="39433"/>
                  </a:lnTo>
                  <a:lnTo>
                    <a:pt x="646938" y="48768"/>
                  </a:lnTo>
                  <a:lnTo>
                    <a:pt x="640461" y="48006"/>
                  </a:lnTo>
                  <a:lnTo>
                    <a:pt x="637508" y="50006"/>
                  </a:lnTo>
                  <a:lnTo>
                    <a:pt x="634365" y="50387"/>
                  </a:lnTo>
                  <a:lnTo>
                    <a:pt x="631412" y="52388"/>
                  </a:lnTo>
                  <a:lnTo>
                    <a:pt x="628269" y="52769"/>
                  </a:lnTo>
                  <a:lnTo>
                    <a:pt x="630269" y="42863"/>
                  </a:lnTo>
                  <a:lnTo>
                    <a:pt x="625126" y="40291"/>
                  </a:lnTo>
                  <a:lnTo>
                    <a:pt x="623506" y="40481"/>
                  </a:lnTo>
                  <a:lnTo>
                    <a:pt x="621697" y="39148"/>
                  </a:lnTo>
                  <a:lnTo>
                    <a:pt x="619125" y="44291"/>
                  </a:lnTo>
                  <a:lnTo>
                    <a:pt x="614553" y="46482"/>
                  </a:lnTo>
                  <a:lnTo>
                    <a:pt x="607886" y="44101"/>
                  </a:lnTo>
                  <a:lnTo>
                    <a:pt x="606933" y="49054"/>
                  </a:lnTo>
                  <a:lnTo>
                    <a:pt x="609505" y="56769"/>
                  </a:lnTo>
                  <a:lnTo>
                    <a:pt x="600837" y="64294"/>
                  </a:lnTo>
                  <a:lnTo>
                    <a:pt x="601599" y="70580"/>
                  </a:lnTo>
                  <a:lnTo>
                    <a:pt x="596455" y="68008"/>
                  </a:lnTo>
                  <a:lnTo>
                    <a:pt x="592455" y="62103"/>
                  </a:lnTo>
                  <a:lnTo>
                    <a:pt x="589121" y="60960"/>
                  </a:lnTo>
                  <a:lnTo>
                    <a:pt x="591122" y="63913"/>
                  </a:lnTo>
                  <a:lnTo>
                    <a:pt x="592360" y="73342"/>
                  </a:lnTo>
                  <a:lnTo>
                    <a:pt x="591026" y="75152"/>
                  </a:lnTo>
                  <a:lnTo>
                    <a:pt x="589407" y="75343"/>
                  </a:lnTo>
                  <a:lnTo>
                    <a:pt x="590169" y="81629"/>
                  </a:lnTo>
                  <a:lnTo>
                    <a:pt x="586264" y="88583"/>
                  </a:lnTo>
                  <a:lnTo>
                    <a:pt x="585121" y="91916"/>
                  </a:lnTo>
                  <a:lnTo>
                    <a:pt x="578834" y="92678"/>
                  </a:lnTo>
                  <a:lnTo>
                    <a:pt x="577691" y="96012"/>
                  </a:lnTo>
                  <a:lnTo>
                    <a:pt x="581025" y="97155"/>
                  </a:lnTo>
                  <a:lnTo>
                    <a:pt x="581597" y="101917"/>
                  </a:lnTo>
                  <a:lnTo>
                    <a:pt x="583121" y="101727"/>
                  </a:lnTo>
                  <a:lnTo>
                    <a:pt x="584930" y="103061"/>
                  </a:lnTo>
                  <a:lnTo>
                    <a:pt x="586740" y="104394"/>
                  </a:lnTo>
                  <a:lnTo>
                    <a:pt x="588740" y="107347"/>
                  </a:lnTo>
                  <a:lnTo>
                    <a:pt x="593503" y="106775"/>
                  </a:lnTo>
                  <a:lnTo>
                    <a:pt x="593693" y="108395"/>
                  </a:lnTo>
                  <a:lnTo>
                    <a:pt x="605123" y="110109"/>
                  </a:lnTo>
                  <a:lnTo>
                    <a:pt x="609314" y="117634"/>
                  </a:lnTo>
                  <a:lnTo>
                    <a:pt x="610362" y="125540"/>
                  </a:lnTo>
                  <a:lnTo>
                    <a:pt x="604456" y="142304"/>
                  </a:lnTo>
                  <a:lnTo>
                    <a:pt x="599694" y="142875"/>
                  </a:lnTo>
                  <a:lnTo>
                    <a:pt x="595979" y="151352"/>
                  </a:lnTo>
                  <a:lnTo>
                    <a:pt x="590074" y="155353"/>
                  </a:lnTo>
                  <a:lnTo>
                    <a:pt x="590455" y="158496"/>
                  </a:lnTo>
                  <a:lnTo>
                    <a:pt x="587693" y="162020"/>
                  </a:lnTo>
                  <a:lnTo>
                    <a:pt x="579977" y="164592"/>
                  </a:lnTo>
                  <a:lnTo>
                    <a:pt x="575596" y="155543"/>
                  </a:lnTo>
                  <a:lnTo>
                    <a:pt x="573596" y="152591"/>
                  </a:lnTo>
                  <a:lnTo>
                    <a:pt x="567309" y="153353"/>
                  </a:lnTo>
                  <a:lnTo>
                    <a:pt x="565975" y="155162"/>
                  </a:lnTo>
                  <a:lnTo>
                    <a:pt x="571310" y="159258"/>
                  </a:lnTo>
                  <a:lnTo>
                    <a:pt x="571500" y="160877"/>
                  </a:lnTo>
                  <a:lnTo>
                    <a:pt x="570357" y="164211"/>
                  </a:lnTo>
                  <a:lnTo>
                    <a:pt x="572548" y="168783"/>
                  </a:lnTo>
                  <a:lnTo>
                    <a:pt x="579501" y="172688"/>
                  </a:lnTo>
                  <a:lnTo>
                    <a:pt x="581311" y="174022"/>
                  </a:lnTo>
                  <a:lnTo>
                    <a:pt x="582454" y="170688"/>
                  </a:lnTo>
                  <a:lnTo>
                    <a:pt x="587407" y="171641"/>
                  </a:lnTo>
                  <a:lnTo>
                    <a:pt x="583121" y="175355"/>
                  </a:lnTo>
                  <a:lnTo>
                    <a:pt x="583502" y="178499"/>
                  </a:lnTo>
                  <a:lnTo>
                    <a:pt x="585502" y="181451"/>
                  </a:lnTo>
                  <a:lnTo>
                    <a:pt x="591979" y="182213"/>
                  </a:lnTo>
                  <a:lnTo>
                    <a:pt x="591217" y="188690"/>
                  </a:lnTo>
                  <a:lnTo>
                    <a:pt x="580739" y="194786"/>
                  </a:lnTo>
                  <a:lnTo>
                    <a:pt x="586454" y="202121"/>
                  </a:lnTo>
                  <a:lnTo>
                    <a:pt x="584073" y="208788"/>
                  </a:lnTo>
                  <a:lnTo>
                    <a:pt x="578168" y="212788"/>
                  </a:lnTo>
                  <a:lnTo>
                    <a:pt x="575596" y="217932"/>
                  </a:lnTo>
                  <a:lnTo>
                    <a:pt x="574834" y="224409"/>
                  </a:lnTo>
                  <a:lnTo>
                    <a:pt x="582549" y="234696"/>
                  </a:lnTo>
                  <a:lnTo>
                    <a:pt x="579787" y="238220"/>
                  </a:lnTo>
                  <a:lnTo>
                    <a:pt x="578644" y="241554"/>
                  </a:lnTo>
                  <a:lnTo>
                    <a:pt x="582168" y="244316"/>
                  </a:lnTo>
                  <a:lnTo>
                    <a:pt x="577882" y="248031"/>
                  </a:lnTo>
                  <a:lnTo>
                    <a:pt x="580072" y="252603"/>
                  </a:lnTo>
                  <a:lnTo>
                    <a:pt x="583406" y="253746"/>
                  </a:lnTo>
                  <a:lnTo>
                    <a:pt x="589312" y="249746"/>
                  </a:lnTo>
                  <a:lnTo>
                    <a:pt x="590074" y="256032"/>
                  </a:lnTo>
                  <a:lnTo>
                    <a:pt x="587312" y="259556"/>
                  </a:lnTo>
                  <a:lnTo>
                    <a:pt x="586169" y="262890"/>
                  </a:lnTo>
                  <a:lnTo>
                    <a:pt x="586930" y="269176"/>
                  </a:lnTo>
                  <a:lnTo>
                    <a:pt x="584740" y="277463"/>
                  </a:lnTo>
                  <a:lnTo>
                    <a:pt x="585311" y="282226"/>
                  </a:lnTo>
                  <a:lnTo>
                    <a:pt x="581978" y="281083"/>
                  </a:lnTo>
                  <a:lnTo>
                    <a:pt x="582168" y="282702"/>
                  </a:lnTo>
                  <a:lnTo>
                    <a:pt x="585121" y="293561"/>
                  </a:lnTo>
                  <a:lnTo>
                    <a:pt x="588264" y="293180"/>
                  </a:lnTo>
                  <a:lnTo>
                    <a:pt x="582739" y="300323"/>
                  </a:lnTo>
                  <a:lnTo>
                    <a:pt x="588455" y="307562"/>
                  </a:lnTo>
                  <a:lnTo>
                    <a:pt x="588645" y="309182"/>
                  </a:lnTo>
                  <a:lnTo>
                    <a:pt x="592360" y="313563"/>
                  </a:lnTo>
                  <a:lnTo>
                    <a:pt x="589026" y="312420"/>
                  </a:lnTo>
                  <a:lnTo>
                    <a:pt x="592360" y="313563"/>
                  </a:lnTo>
                  <a:lnTo>
                    <a:pt x="591407" y="318516"/>
                  </a:lnTo>
                  <a:lnTo>
                    <a:pt x="585121" y="319278"/>
                  </a:lnTo>
                  <a:lnTo>
                    <a:pt x="583978" y="322612"/>
                  </a:lnTo>
                  <a:lnTo>
                    <a:pt x="576739" y="328327"/>
                  </a:lnTo>
                  <a:lnTo>
                    <a:pt x="571976" y="328898"/>
                  </a:lnTo>
                  <a:lnTo>
                    <a:pt x="572167" y="330517"/>
                  </a:lnTo>
                  <a:lnTo>
                    <a:pt x="568071" y="335851"/>
                  </a:lnTo>
                  <a:lnTo>
                    <a:pt x="568262" y="337471"/>
                  </a:lnTo>
                  <a:lnTo>
                    <a:pt x="564928" y="336328"/>
                  </a:lnTo>
                  <a:lnTo>
                    <a:pt x="564166" y="330041"/>
                  </a:lnTo>
                  <a:lnTo>
                    <a:pt x="557879" y="330803"/>
                  </a:lnTo>
                  <a:lnTo>
                    <a:pt x="556450" y="332613"/>
                  </a:lnTo>
                  <a:lnTo>
                    <a:pt x="557022" y="337375"/>
                  </a:lnTo>
                  <a:lnTo>
                    <a:pt x="554260" y="340900"/>
                  </a:lnTo>
                  <a:lnTo>
                    <a:pt x="542639" y="350425"/>
                  </a:lnTo>
                  <a:lnTo>
                    <a:pt x="539305" y="349282"/>
                  </a:lnTo>
                  <a:lnTo>
                    <a:pt x="535019" y="352996"/>
                  </a:lnTo>
                  <a:lnTo>
                    <a:pt x="527113" y="354044"/>
                  </a:lnTo>
                  <a:lnTo>
                    <a:pt x="525494" y="354235"/>
                  </a:lnTo>
                  <a:lnTo>
                    <a:pt x="526066" y="358997"/>
                  </a:lnTo>
                  <a:lnTo>
                    <a:pt x="526256" y="360617"/>
                  </a:lnTo>
                  <a:lnTo>
                    <a:pt x="524923" y="362426"/>
                  </a:lnTo>
                  <a:lnTo>
                    <a:pt x="528923" y="368332"/>
                  </a:lnTo>
                  <a:lnTo>
                    <a:pt x="525971" y="370332"/>
                  </a:lnTo>
                  <a:lnTo>
                    <a:pt x="526542" y="375095"/>
                  </a:lnTo>
                  <a:lnTo>
                    <a:pt x="523780" y="378619"/>
                  </a:lnTo>
                  <a:lnTo>
                    <a:pt x="519017" y="379190"/>
                  </a:lnTo>
                  <a:lnTo>
                    <a:pt x="516255" y="382715"/>
                  </a:lnTo>
                  <a:lnTo>
                    <a:pt x="519779" y="385477"/>
                  </a:lnTo>
                  <a:lnTo>
                    <a:pt x="519970" y="387096"/>
                  </a:lnTo>
                  <a:lnTo>
                    <a:pt x="515017" y="386144"/>
                  </a:lnTo>
                  <a:lnTo>
                    <a:pt x="515398" y="389287"/>
                  </a:lnTo>
                  <a:lnTo>
                    <a:pt x="507682" y="391859"/>
                  </a:lnTo>
                  <a:lnTo>
                    <a:pt x="505873" y="390525"/>
                  </a:lnTo>
                  <a:lnTo>
                    <a:pt x="504444" y="392335"/>
                  </a:lnTo>
                  <a:lnTo>
                    <a:pt x="502253" y="400621"/>
                  </a:lnTo>
                  <a:lnTo>
                    <a:pt x="503301" y="408527"/>
                  </a:lnTo>
                  <a:lnTo>
                    <a:pt x="505492" y="413099"/>
                  </a:lnTo>
                  <a:lnTo>
                    <a:pt x="514921" y="411861"/>
                  </a:lnTo>
                  <a:lnTo>
                    <a:pt x="515112" y="413480"/>
                  </a:lnTo>
                  <a:lnTo>
                    <a:pt x="518446" y="414623"/>
                  </a:lnTo>
                  <a:lnTo>
                    <a:pt x="517493" y="419576"/>
                  </a:lnTo>
                  <a:lnTo>
                    <a:pt x="524447" y="423482"/>
                  </a:lnTo>
                  <a:lnTo>
                    <a:pt x="525494" y="431387"/>
                  </a:lnTo>
                  <a:lnTo>
                    <a:pt x="522351" y="431768"/>
                  </a:lnTo>
                  <a:lnTo>
                    <a:pt x="521018" y="433578"/>
                  </a:lnTo>
                  <a:lnTo>
                    <a:pt x="516446" y="435769"/>
                  </a:lnTo>
                  <a:lnTo>
                    <a:pt x="515112" y="437579"/>
                  </a:lnTo>
                  <a:lnTo>
                    <a:pt x="511969" y="437959"/>
                  </a:lnTo>
                  <a:lnTo>
                    <a:pt x="509969" y="435007"/>
                  </a:lnTo>
                  <a:lnTo>
                    <a:pt x="503682" y="435769"/>
                  </a:lnTo>
                  <a:lnTo>
                    <a:pt x="502063" y="435959"/>
                  </a:lnTo>
                  <a:lnTo>
                    <a:pt x="499300" y="439484"/>
                  </a:lnTo>
                  <a:lnTo>
                    <a:pt x="499872" y="444246"/>
                  </a:lnTo>
                  <a:lnTo>
                    <a:pt x="495776" y="449580"/>
                  </a:lnTo>
                  <a:lnTo>
                    <a:pt x="491109" y="463010"/>
                  </a:lnTo>
                  <a:lnTo>
                    <a:pt x="488537" y="468154"/>
                  </a:lnTo>
                  <a:lnTo>
                    <a:pt x="490919" y="474250"/>
                  </a:lnTo>
                  <a:lnTo>
                    <a:pt x="487204" y="482727"/>
                  </a:lnTo>
                  <a:lnTo>
                    <a:pt x="490728" y="485489"/>
                  </a:lnTo>
                  <a:lnTo>
                    <a:pt x="495490" y="484918"/>
                  </a:lnTo>
                  <a:lnTo>
                    <a:pt x="502158" y="487299"/>
                  </a:lnTo>
                  <a:lnTo>
                    <a:pt x="506921" y="486728"/>
                  </a:lnTo>
                  <a:lnTo>
                    <a:pt x="510635" y="491014"/>
                  </a:lnTo>
                  <a:lnTo>
                    <a:pt x="516160" y="496729"/>
                  </a:lnTo>
                  <a:lnTo>
                    <a:pt x="515207" y="501682"/>
                  </a:lnTo>
                  <a:lnTo>
                    <a:pt x="513397" y="500348"/>
                  </a:lnTo>
                  <a:lnTo>
                    <a:pt x="512255" y="503682"/>
                  </a:lnTo>
                  <a:lnTo>
                    <a:pt x="513683" y="514731"/>
                  </a:lnTo>
                  <a:lnTo>
                    <a:pt x="518636" y="515684"/>
                  </a:lnTo>
                  <a:lnTo>
                    <a:pt x="514921" y="524161"/>
                  </a:lnTo>
                  <a:lnTo>
                    <a:pt x="507968" y="520255"/>
                  </a:lnTo>
                  <a:lnTo>
                    <a:pt x="508349" y="523399"/>
                  </a:lnTo>
                  <a:lnTo>
                    <a:pt x="505587" y="526923"/>
                  </a:lnTo>
                  <a:lnTo>
                    <a:pt x="495681" y="525018"/>
                  </a:lnTo>
                  <a:lnTo>
                    <a:pt x="487775" y="526066"/>
                  </a:lnTo>
                  <a:lnTo>
                    <a:pt x="485775" y="535972"/>
                  </a:lnTo>
                  <a:lnTo>
                    <a:pt x="483013" y="539496"/>
                  </a:lnTo>
                  <a:lnTo>
                    <a:pt x="487966" y="540449"/>
                  </a:lnTo>
                  <a:lnTo>
                    <a:pt x="485394" y="545592"/>
                  </a:lnTo>
                  <a:lnTo>
                    <a:pt x="489966" y="543401"/>
                  </a:lnTo>
                  <a:lnTo>
                    <a:pt x="492157" y="547973"/>
                  </a:lnTo>
                  <a:lnTo>
                    <a:pt x="492728" y="552736"/>
                  </a:lnTo>
                  <a:lnTo>
                    <a:pt x="498253" y="558451"/>
                  </a:lnTo>
                  <a:lnTo>
                    <a:pt x="495490" y="561975"/>
                  </a:lnTo>
                  <a:lnTo>
                    <a:pt x="493681" y="560642"/>
                  </a:lnTo>
                  <a:lnTo>
                    <a:pt x="492728" y="565595"/>
                  </a:lnTo>
                  <a:lnTo>
                    <a:pt x="490156" y="570738"/>
                  </a:lnTo>
                  <a:lnTo>
                    <a:pt x="491776" y="570548"/>
                  </a:lnTo>
                  <a:lnTo>
                    <a:pt x="492919" y="567214"/>
                  </a:lnTo>
                  <a:lnTo>
                    <a:pt x="497872" y="568166"/>
                  </a:lnTo>
                  <a:lnTo>
                    <a:pt x="505111" y="562451"/>
                  </a:lnTo>
                  <a:lnTo>
                    <a:pt x="504539" y="557689"/>
                  </a:lnTo>
                  <a:lnTo>
                    <a:pt x="507873" y="558832"/>
                  </a:lnTo>
                  <a:lnTo>
                    <a:pt x="508445" y="563594"/>
                  </a:lnTo>
                  <a:lnTo>
                    <a:pt x="504730" y="572072"/>
                  </a:lnTo>
                  <a:lnTo>
                    <a:pt x="512826" y="572643"/>
                  </a:lnTo>
                  <a:lnTo>
                    <a:pt x="513397" y="577405"/>
                  </a:lnTo>
                  <a:lnTo>
                    <a:pt x="516541" y="577025"/>
                  </a:lnTo>
                  <a:lnTo>
                    <a:pt x="513779" y="593408"/>
                  </a:lnTo>
                  <a:lnTo>
                    <a:pt x="513969" y="595027"/>
                  </a:lnTo>
                  <a:lnTo>
                    <a:pt x="512159" y="593693"/>
                  </a:lnTo>
                  <a:lnTo>
                    <a:pt x="509588" y="598837"/>
                  </a:lnTo>
                  <a:lnTo>
                    <a:pt x="506825" y="602361"/>
                  </a:lnTo>
                  <a:lnTo>
                    <a:pt x="505682" y="605695"/>
                  </a:lnTo>
                  <a:lnTo>
                    <a:pt x="501110" y="607886"/>
                  </a:lnTo>
                  <a:lnTo>
                    <a:pt x="499967" y="611219"/>
                  </a:lnTo>
                  <a:lnTo>
                    <a:pt x="496824" y="611600"/>
                  </a:lnTo>
                  <a:lnTo>
                    <a:pt x="492252" y="613791"/>
                  </a:lnTo>
                  <a:lnTo>
                    <a:pt x="485775" y="613029"/>
                  </a:lnTo>
                  <a:lnTo>
                    <a:pt x="481013" y="613601"/>
                  </a:lnTo>
                  <a:lnTo>
                    <a:pt x="480060" y="618554"/>
                  </a:lnTo>
                  <a:lnTo>
                    <a:pt x="485965" y="627412"/>
                  </a:lnTo>
                  <a:lnTo>
                    <a:pt x="486346" y="630555"/>
                  </a:lnTo>
                  <a:lnTo>
                    <a:pt x="481584" y="631126"/>
                  </a:lnTo>
                  <a:lnTo>
                    <a:pt x="477488" y="636461"/>
                  </a:lnTo>
                  <a:lnTo>
                    <a:pt x="477869" y="639604"/>
                  </a:lnTo>
                  <a:lnTo>
                    <a:pt x="473773" y="644938"/>
                  </a:lnTo>
                  <a:lnTo>
                    <a:pt x="466820" y="641033"/>
                  </a:lnTo>
                  <a:lnTo>
                    <a:pt x="459296" y="645224"/>
                  </a:lnTo>
                  <a:lnTo>
                    <a:pt x="454152" y="642652"/>
                  </a:lnTo>
                  <a:lnTo>
                    <a:pt x="451390" y="646176"/>
                  </a:lnTo>
                  <a:lnTo>
                    <a:pt x="444437" y="642271"/>
                  </a:lnTo>
                  <a:lnTo>
                    <a:pt x="439674" y="642842"/>
                  </a:lnTo>
                  <a:lnTo>
                    <a:pt x="436912" y="646367"/>
                  </a:lnTo>
                  <a:lnTo>
                    <a:pt x="432149" y="646938"/>
                  </a:lnTo>
                  <a:lnTo>
                    <a:pt x="421672" y="653034"/>
                  </a:lnTo>
                  <a:lnTo>
                    <a:pt x="419862" y="651701"/>
                  </a:lnTo>
                  <a:lnTo>
                    <a:pt x="421672" y="653034"/>
                  </a:lnTo>
                  <a:lnTo>
                    <a:pt x="416147" y="660178"/>
                  </a:lnTo>
                  <a:lnTo>
                    <a:pt x="424624" y="663893"/>
                  </a:lnTo>
                  <a:lnTo>
                    <a:pt x="425196" y="668655"/>
                  </a:lnTo>
                  <a:lnTo>
                    <a:pt x="428530" y="669798"/>
                  </a:lnTo>
                  <a:lnTo>
                    <a:pt x="428911" y="672941"/>
                  </a:lnTo>
                  <a:lnTo>
                    <a:pt x="419862" y="677323"/>
                  </a:lnTo>
                  <a:lnTo>
                    <a:pt x="417671" y="672751"/>
                  </a:lnTo>
                  <a:lnTo>
                    <a:pt x="414528" y="673132"/>
                  </a:lnTo>
                  <a:lnTo>
                    <a:pt x="413575" y="678085"/>
                  </a:lnTo>
                  <a:lnTo>
                    <a:pt x="410623" y="680085"/>
                  </a:lnTo>
                  <a:lnTo>
                    <a:pt x="413956" y="681228"/>
                  </a:lnTo>
                  <a:lnTo>
                    <a:pt x="411004" y="683228"/>
                  </a:lnTo>
                  <a:lnTo>
                    <a:pt x="409670" y="685038"/>
                  </a:lnTo>
                  <a:lnTo>
                    <a:pt x="399383" y="679895"/>
                  </a:lnTo>
                  <a:lnTo>
                    <a:pt x="398050" y="681704"/>
                  </a:lnTo>
                  <a:lnTo>
                    <a:pt x="396907" y="685038"/>
                  </a:lnTo>
                  <a:lnTo>
                    <a:pt x="391763" y="682466"/>
                  </a:lnTo>
                  <a:lnTo>
                    <a:pt x="387001" y="683038"/>
                  </a:lnTo>
                  <a:lnTo>
                    <a:pt x="385572" y="684848"/>
                  </a:lnTo>
                  <a:lnTo>
                    <a:pt x="387953" y="690944"/>
                  </a:lnTo>
                  <a:lnTo>
                    <a:pt x="388144" y="692563"/>
                  </a:lnTo>
                  <a:lnTo>
                    <a:pt x="384620" y="689801"/>
                  </a:lnTo>
                  <a:lnTo>
                    <a:pt x="380619" y="683895"/>
                  </a:lnTo>
                  <a:lnTo>
                    <a:pt x="375666" y="682943"/>
                  </a:lnTo>
                  <a:lnTo>
                    <a:pt x="374523" y="686276"/>
                  </a:lnTo>
                  <a:lnTo>
                    <a:pt x="371189" y="685133"/>
                  </a:lnTo>
                  <a:lnTo>
                    <a:pt x="364046" y="679609"/>
                  </a:lnTo>
                  <a:lnTo>
                    <a:pt x="362426" y="679799"/>
                  </a:lnTo>
                  <a:lnTo>
                    <a:pt x="357664" y="680371"/>
                  </a:lnTo>
                  <a:lnTo>
                    <a:pt x="357473" y="678751"/>
                  </a:lnTo>
                  <a:lnTo>
                    <a:pt x="352711" y="679323"/>
                  </a:lnTo>
                  <a:lnTo>
                    <a:pt x="352139" y="674561"/>
                  </a:lnTo>
                  <a:lnTo>
                    <a:pt x="350330" y="673227"/>
                  </a:lnTo>
                  <a:lnTo>
                    <a:pt x="347186" y="673608"/>
                  </a:lnTo>
                  <a:lnTo>
                    <a:pt x="347567" y="676751"/>
                  </a:lnTo>
                  <a:lnTo>
                    <a:pt x="349568" y="679704"/>
                  </a:lnTo>
                  <a:lnTo>
                    <a:pt x="348805" y="686181"/>
                  </a:lnTo>
                  <a:lnTo>
                    <a:pt x="344043" y="686753"/>
                  </a:lnTo>
                  <a:lnTo>
                    <a:pt x="340138" y="693706"/>
                  </a:lnTo>
                  <a:lnTo>
                    <a:pt x="336995" y="694087"/>
                  </a:lnTo>
                  <a:lnTo>
                    <a:pt x="334042" y="696087"/>
                  </a:lnTo>
                  <a:lnTo>
                    <a:pt x="325946" y="695516"/>
                  </a:lnTo>
                  <a:lnTo>
                    <a:pt x="319469" y="694754"/>
                  </a:lnTo>
                  <a:lnTo>
                    <a:pt x="312325" y="689229"/>
                  </a:lnTo>
                  <a:lnTo>
                    <a:pt x="310324" y="686276"/>
                  </a:lnTo>
                  <a:lnTo>
                    <a:pt x="313468" y="685895"/>
                  </a:lnTo>
                  <a:lnTo>
                    <a:pt x="309944" y="683133"/>
                  </a:lnTo>
                  <a:lnTo>
                    <a:pt x="309753" y="681514"/>
                  </a:lnTo>
                  <a:lnTo>
                    <a:pt x="310134" y="684657"/>
                  </a:lnTo>
                  <a:lnTo>
                    <a:pt x="308800" y="686467"/>
                  </a:lnTo>
                  <a:lnTo>
                    <a:pt x="306800" y="683514"/>
                  </a:lnTo>
                  <a:lnTo>
                    <a:pt x="303657" y="683895"/>
                  </a:lnTo>
                  <a:lnTo>
                    <a:pt x="303276" y="680752"/>
                  </a:lnTo>
                  <a:lnTo>
                    <a:pt x="305086" y="682085"/>
                  </a:lnTo>
                  <a:lnTo>
                    <a:pt x="303086" y="679133"/>
                  </a:lnTo>
                  <a:lnTo>
                    <a:pt x="304514" y="677323"/>
                  </a:lnTo>
                  <a:lnTo>
                    <a:pt x="305657" y="673989"/>
                  </a:lnTo>
                  <a:lnTo>
                    <a:pt x="302323" y="672846"/>
                  </a:lnTo>
                  <a:lnTo>
                    <a:pt x="300133" y="668274"/>
                  </a:lnTo>
                  <a:lnTo>
                    <a:pt x="299752" y="665131"/>
                  </a:lnTo>
                  <a:lnTo>
                    <a:pt x="297752" y="662178"/>
                  </a:lnTo>
                  <a:lnTo>
                    <a:pt x="290513" y="667893"/>
                  </a:lnTo>
                  <a:lnTo>
                    <a:pt x="286607" y="674846"/>
                  </a:lnTo>
                  <a:lnTo>
                    <a:pt x="276130" y="668179"/>
                  </a:lnTo>
                  <a:lnTo>
                    <a:pt x="276130" y="681038"/>
                  </a:lnTo>
                  <a:cubicBezTo>
                    <a:pt x="276130" y="681038"/>
                    <a:pt x="279559" y="682180"/>
                    <a:pt x="279559" y="682180"/>
                  </a:cubicBezTo>
                  <a:lnTo>
                    <a:pt x="270700" y="688086"/>
                  </a:lnTo>
                  <a:lnTo>
                    <a:pt x="265176" y="695230"/>
                  </a:lnTo>
                  <a:lnTo>
                    <a:pt x="263176" y="692277"/>
                  </a:lnTo>
                  <a:lnTo>
                    <a:pt x="260223" y="694277"/>
                  </a:lnTo>
                  <a:lnTo>
                    <a:pt x="255270" y="693325"/>
                  </a:lnTo>
                  <a:lnTo>
                    <a:pt x="256699" y="691515"/>
                  </a:lnTo>
                  <a:lnTo>
                    <a:pt x="261461" y="690944"/>
                  </a:lnTo>
                  <a:lnTo>
                    <a:pt x="261271" y="689324"/>
                  </a:lnTo>
                  <a:lnTo>
                    <a:pt x="250793" y="682657"/>
                  </a:lnTo>
                  <a:lnTo>
                    <a:pt x="246031" y="683228"/>
                  </a:lnTo>
                  <a:lnTo>
                    <a:pt x="242697" y="682085"/>
                  </a:lnTo>
                  <a:lnTo>
                    <a:pt x="245078" y="688181"/>
                  </a:lnTo>
                  <a:lnTo>
                    <a:pt x="242316" y="691705"/>
                  </a:lnTo>
                  <a:lnTo>
                    <a:pt x="242888" y="696468"/>
                  </a:lnTo>
                  <a:lnTo>
                    <a:pt x="238982" y="703421"/>
                  </a:lnTo>
                  <a:lnTo>
                    <a:pt x="242316" y="704564"/>
                  </a:lnTo>
                  <a:lnTo>
                    <a:pt x="240982" y="706374"/>
                  </a:lnTo>
                  <a:lnTo>
                    <a:pt x="239363" y="706565"/>
                  </a:lnTo>
                  <a:lnTo>
                    <a:pt x="241554" y="711137"/>
                  </a:lnTo>
                  <a:lnTo>
                    <a:pt x="239935" y="711327"/>
                  </a:lnTo>
                  <a:lnTo>
                    <a:pt x="236791" y="711708"/>
                  </a:lnTo>
                  <a:lnTo>
                    <a:pt x="234029" y="715232"/>
                  </a:lnTo>
                  <a:lnTo>
                    <a:pt x="237554" y="717995"/>
                  </a:lnTo>
                  <a:lnTo>
                    <a:pt x="231457" y="720376"/>
                  </a:lnTo>
                  <a:lnTo>
                    <a:pt x="230696" y="714089"/>
                  </a:lnTo>
                  <a:lnTo>
                    <a:pt x="227552" y="714470"/>
                  </a:lnTo>
                  <a:lnTo>
                    <a:pt x="219075" y="710755"/>
                  </a:lnTo>
                  <a:lnTo>
                    <a:pt x="216503" y="715899"/>
                  </a:lnTo>
                  <a:lnTo>
                    <a:pt x="209550" y="711994"/>
                  </a:lnTo>
                  <a:lnTo>
                    <a:pt x="204025" y="719138"/>
                  </a:lnTo>
                  <a:lnTo>
                    <a:pt x="197072" y="715232"/>
                  </a:lnTo>
                  <a:lnTo>
                    <a:pt x="194500" y="720376"/>
                  </a:lnTo>
                  <a:lnTo>
                    <a:pt x="187166" y="726091"/>
                  </a:lnTo>
                  <a:lnTo>
                    <a:pt x="185547" y="726281"/>
                  </a:lnTo>
                  <a:lnTo>
                    <a:pt x="181451" y="731615"/>
                  </a:lnTo>
                  <a:lnTo>
                    <a:pt x="187928" y="732377"/>
                  </a:lnTo>
                  <a:lnTo>
                    <a:pt x="188119" y="733997"/>
                  </a:lnTo>
                  <a:lnTo>
                    <a:pt x="186499" y="734187"/>
                  </a:lnTo>
                  <a:lnTo>
                    <a:pt x="185356" y="737521"/>
                  </a:lnTo>
                  <a:lnTo>
                    <a:pt x="180594" y="738092"/>
                  </a:lnTo>
                  <a:lnTo>
                    <a:pt x="180594" y="738092"/>
                  </a:lnTo>
                  <a:lnTo>
                    <a:pt x="178403" y="746379"/>
                  </a:lnTo>
                  <a:lnTo>
                    <a:pt x="170879" y="750570"/>
                  </a:lnTo>
                  <a:lnTo>
                    <a:pt x="158020" y="750570"/>
                  </a:lnTo>
                  <a:cubicBezTo>
                    <a:pt x="158020" y="750570"/>
                    <a:pt x="154686" y="749427"/>
                    <a:pt x="154686" y="749427"/>
                  </a:cubicBezTo>
                  <a:lnTo>
                    <a:pt x="154877" y="751046"/>
                  </a:lnTo>
                  <a:lnTo>
                    <a:pt x="154496" y="760762"/>
                  </a:lnTo>
                  <a:lnTo>
                    <a:pt x="154686" y="762381"/>
                  </a:lnTo>
                  <a:lnTo>
                    <a:pt x="151924" y="765905"/>
                  </a:lnTo>
                  <a:lnTo>
                    <a:pt x="146590" y="761809"/>
                  </a:lnTo>
                  <a:lnTo>
                    <a:pt x="142875" y="770287"/>
                  </a:lnTo>
                  <a:lnTo>
                    <a:pt x="139541" y="769144"/>
                  </a:lnTo>
                  <a:lnTo>
                    <a:pt x="141351" y="770477"/>
                  </a:lnTo>
                  <a:lnTo>
                    <a:pt x="141541" y="772097"/>
                  </a:lnTo>
                  <a:lnTo>
                    <a:pt x="143351" y="773430"/>
                  </a:lnTo>
                  <a:lnTo>
                    <a:pt x="140779" y="778574"/>
                  </a:lnTo>
                  <a:lnTo>
                    <a:pt x="141351" y="783336"/>
                  </a:lnTo>
                  <a:lnTo>
                    <a:pt x="138208" y="783717"/>
                  </a:lnTo>
                  <a:lnTo>
                    <a:pt x="135446" y="787241"/>
                  </a:lnTo>
                  <a:lnTo>
                    <a:pt x="133255" y="782669"/>
                  </a:lnTo>
                  <a:lnTo>
                    <a:pt x="127921" y="778574"/>
                  </a:lnTo>
                  <a:lnTo>
                    <a:pt x="125539" y="772478"/>
                  </a:lnTo>
                  <a:lnTo>
                    <a:pt x="118396" y="766953"/>
                  </a:lnTo>
                  <a:lnTo>
                    <a:pt x="118015" y="763810"/>
                  </a:lnTo>
                  <a:lnTo>
                    <a:pt x="108585" y="765048"/>
                  </a:lnTo>
                  <a:lnTo>
                    <a:pt x="102870" y="770573"/>
                  </a:lnTo>
                  <a:lnTo>
                    <a:pt x="99917" y="772573"/>
                  </a:lnTo>
                  <a:lnTo>
                    <a:pt x="99536" y="769430"/>
                  </a:lnTo>
                  <a:lnTo>
                    <a:pt x="94774" y="770001"/>
                  </a:lnTo>
                  <a:lnTo>
                    <a:pt x="92773" y="767048"/>
                  </a:lnTo>
                  <a:lnTo>
                    <a:pt x="89630" y="767429"/>
                  </a:lnTo>
                  <a:lnTo>
                    <a:pt x="85058" y="769620"/>
                  </a:lnTo>
                  <a:lnTo>
                    <a:pt x="89440" y="778669"/>
                  </a:lnTo>
                  <a:lnTo>
                    <a:pt x="88106" y="780479"/>
                  </a:lnTo>
                  <a:lnTo>
                    <a:pt x="83534" y="782669"/>
                  </a:lnTo>
                  <a:lnTo>
                    <a:pt x="84106" y="787432"/>
                  </a:lnTo>
                  <a:lnTo>
                    <a:pt x="77819" y="788194"/>
                  </a:lnTo>
                  <a:lnTo>
                    <a:pt x="79820" y="791147"/>
                  </a:lnTo>
                  <a:lnTo>
                    <a:pt x="78677" y="794480"/>
                  </a:lnTo>
                  <a:lnTo>
                    <a:pt x="76105" y="799624"/>
                  </a:lnTo>
                  <a:lnTo>
                    <a:pt x="72771" y="798481"/>
                  </a:lnTo>
                  <a:lnTo>
                    <a:pt x="70390" y="792385"/>
                  </a:lnTo>
                  <a:lnTo>
                    <a:pt x="67437" y="794385"/>
                  </a:lnTo>
                  <a:lnTo>
                    <a:pt x="64294" y="794766"/>
                  </a:lnTo>
                  <a:lnTo>
                    <a:pt x="59150" y="792194"/>
                  </a:lnTo>
                  <a:lnTo>
                    <a:pt x="57150" y="789242"/>
                  </a:lnTo>
                  <a:lnTo>
                    <a:pt x="59531" y="782479"/>
                  </a:lnTo>
                  <a:lnTo>
                    <a:pt x="56197" y="781336"/>
                  </a:lnTo>
                  <a:lnTo>
                    <a:pt x="54007" y="776764"/>
                  </a:lnTo>
                  <a:lnTo>
                    <a:pt x="50482" y="774001"/>
                  </a:lnTo>
                  <a:lnTo>
                    <a:pt x="44387" y="776383"/>
                  </a:lnTo>
                  <a:lnTo>
                    <a:pt x="46958" y="784098"/>
                  </a:lnTo>
                  <a:lnTo>
                    <a:pt x="34862" y="777621"/>
                  </a:lnTo>
                  <a:lnTo>
                    <a:pt x="28575" y="778383"/>
                  </a:lnTo>
                  <a:lnTo>
                    <a:pt x="31909" y="779526"/>
                  </a:lnTo>
                  <a:lnTo>
                    <a:pt x="35052" y="779145"/>
                  </a:lnTo>
                  <a:lnTo>
                    <a:pt x="35433" y="782288"/>
                  </a:lnTo>
                  <a:lnTo>
                    <a:pt x="38576" y="781907"/>
                  </a:lnTo>
                  <a:lnTo>
                    <a:pt x="32671" y="785908"/>
                  </a:lnTo>
                  <a:lnTo>
                    <a:pt x="30099" y="791051"/>
                  </a:lnTo>
                  <a:lnTo>
                    <a:pt x="28766" y="792861"/>
                  </a:lnTo>
                  <a:lnTo>
                    <a:pt x="27432" y="794671"/>
                  </a:lnTo>
                  <a:lnTo>
                    <a:pt x="24289" y="795052"/>
                  </a:lnTo>
                  <a:lnTo>
                    <a:pt x="19336" y="794099"/>
                  </a:lnTo>
                  <a:lnTo>
                    <a:pt x="18764" y="789337"/>
                  </a:lnTo>
                  <a:lnTo>
                    <a:pt x="13811" y="788384"/>
                  </a:lnTo>
                  <a:lnTo>
                    <a:pt x="13049" y="794861"/>
                  </a:lnTo>
                  <a:lnTo>
                    <a:pt x="15050" y="797814"/>
                  </a:lnTo>
                  <a:lnTo>
                    <a:pt x="16383" y="796004"/>
                  </a:lnTo>
                  <a:lnTo>
                    <a:pt x="16573" y="797624"/>
                  </a:lnTo>
                  <a:lnTo>
                    <a:pt x="19907" y="798767"/>
                  </a:lnTo>
                  <a:lnTo>
                    <a:pt x="21717" y="800100"/>
                  </a:lnTo>
                  <a:lnTo>
                    <a:pt x="20764" y="805053"/>
                  </a:lnTo>
                  <a:lnTo>
                    <a:pt x="17431" y="803910"/>
                  </a:lnTo>
                  <a:lnTo>
                    <a:pt x="14668" y="807434"/>
                  </a:lnTo>
                  <a:lnTo>
                    <a:pt x="13049" y="807625"/>
                  </a:lnTo>
                  <a:lnTo>
                    <a:pt x="14859" y="808958"/>
                  </a:lnTo>
                  <a:lnTo>
                    <a:pt x="21336" y="809720"/>
                  </a:lnTo>
                  <a:lnTo>
                    <a:pt x="16764" y="811911"/>
                  </a:lnTo>
                  <a:lnTo>
                    <a:pt x="14002" y="815435"/>
                  </a:lnTo>
                  <a:lnTo>
                    <a:pt x="8858" y="812864"/>
                  </a:lnTo>
                  <a:lnTo>
                    <a:pt x="7525" y="814673"/>
                  </a:lnTo>
                  <a:lnTo>
                    <a:pt x="8287" y="820960"/>
                  </a:lnTo>
                  <a:lnTo>
                    <a:pt x="6667" y="821150"/>
                  </a:lnTo>
                  <a:lnTo>
                    <a:pt x="0" y="831628"/>
                  </a:lnTo>
                  <a:lnTo>
                    <a:pt x="13430" y="836295"/>
                  </a:lnTo>
                  <a:lnTo>
                    <a:pt x="27432" y="845725"/>
                  </a:lnTo>
                  <a:lnTo>
                    <a:pt x="43434" y="845249"/>
                  </a:lnTo>
                  <a:lnTo>
                    <a:pt x="49911" y="846010"/>
                  </a:lnTo>
                  <a:lnTo>
                    <a:pt x="52864" y="844010"/>
                  </a:lnTo>
                  <a:lnTo>
                    <a:pt x="58198" y="848106"/>
                  </a:lnTo>
                  <a:lnTo>
                    <a:pt x="65913" y="858393"/>
                  </a:lnTo>
                  <a:lnTo>
                    <a:pt x="70675" y="857822"/>
                  </a:lnTo>
                  <a:lnTo>
                    <a:pt x="68866" y="856488"/>
                  </a:lnTo>
                  <a:lnTo>
                    <a:pt x="82487" y="862775"/>
                  </a:lnTo>
                  <a:lnTo>
                    <a:pt x="91821" y="872776"/>
                  </a:lnTo>
                  <a:lnTo>
                    <a:pt x="95821" y="878681"/>
                  </a:lnTo>
                  <a:lnTo>
                    <a:pt x="102965" y="884206"/>
                  </a:lnTo>
                  <a:lnTo>
                    <a:pt x="107156" y="891731"/>
                  </a:lnTo>
                  <a:lnTo>
                    <a:pt x="110490" y="892874"/>
                  </a:lnTo>
                  <a:lnTo>
                    <a:pt x="114776" y="889159"/>
                  </a:lnTo>
                  <a:lnTo>
                    <a:pt x="122682" y="888111"/>
                  </a:lnTo>
                  <a:lnTo>
                    <a:pt x="125825" y="887730"/>
                  </a:lnTo>
                  <a:lnTo>
                    <a:pt x="126016" y="889349"/>
                  </a:lnTo>
                  <a:lnTo>
                    <a:pt x="144208" y="893445"/>
                  </a:lnTo>
                  <a:lnTo>
                    <a:pt x="154305" y="896969"/>
                  </a:lnTo>
                  <a:lnTo>
                    <a:pt x="165545" y="884301"/>
                  </a:lnTo>
                  <a:lnTo>
                    <a:pt x="169259" y="875824"/>
                  </a:lnTo>
                  <a:lnTo>
                    <a:pt x="171831" y="870680"/>
                  </a:lnTo>
                  <a:lnTo>
                    <a:pt x="181546" y="871061"/>
                  </a:lnTo>
                  <a:lnTo>
                    <a:pt x="191643" y="874585"/>
                  </a:lnTo>
                  <a:lnTo>
                    <a:pt x="202692" y="873157"/>
                  </a:lnTo>
                  <a:lnTo>
                    <a:pt x="206026" y="874300"/>
                  </a:lnTo>
                  <a:lnTo>
                    <a:pt x="209169" y="873919"/>
                  </a:lnTo>
                  <a:lnTo>
                    <a:pt x="214694" y="866775"/>
                  </a:lnTo>
                  <a:lnTo>
                    <a:pt x="216884" y="871347"/>
                  </a:lnTo>
                  <a:lnTo>
                    <a:pt x="222599" y="878681"/>
                  </a:lnTo>
                  <a:lnTo>
                    <a:pt x="221456" y="882015"/>
                  </a:lnTo>
                  <a:lnTo>
                    <a:pt x="216884" y="884206"/>
                  </a:lnTo>
                  <a:lnTo>
                    <a:pt x="217456" y="888968"/>
                  </a:lnTo>
                  <a:lnTo>
                    <a:pt x="227362" y="890873"/>
                  </a:lnTo>
                  <a:lnTo>
                    <a:pt x="232886" y="896588"/>
                  </a:lnTo>
                  <a:lnTo>
                    <a:pt x="240602" y="894017"/>
                  </a:lnTo>
                  <a:lnTo>
                    <a:pt x="240030" y="889254"/>
                  </a:lnTo>
                  <a:lnTo>
                    <a:pt x="238220" y="887921"/>
                  </a:lnTo>
                  <a:lnTo>
                    <a:pt x="241363" y="887540"/>
                  </a:lnTo>
                  <a:lnTo>
                    <a:pt x="243364" y="890492"/>
                  </a:lnTo>
                  <a:lnTo>
                    <a:pt x="243554" y="892111"/>
                  </a:lnTo>
                  <a:lnTo>
                    <a:pt x="243364" y="903351"/>
                  </a:lnTo>
                  <a:lnTo>
                    <a:pt x="247079" y="907637"/>
                  </a:lnTo>
                  <a:lnTo>
                    <a:pt x="250222" y="907256"/>
                  </a:lnTo>
                  <a:lnTo>
                    <a:pt x="255746" y="900113"/>
                  </a:lnTo>
                  <a:lnTo>
                    <a:pt x="259937" y="907637"/>
                  </a:lnTo>
                  <a:lnTo>
                    <a:pt x="260509" y="912400"/>
                  </a:lnTo>
                  <a:lnTo>
                    <a:pt x="258889" y="912590"/>
                  </a:lnTo>
                  <a:lnTo>
                    <a:pt x="255556" y="911447"/>
                  </a:lnTo>
                  <a:lnTo>
                    <a:pt x="253174" y="905351"/>
                  </a:lnTo>
                  <a:lnTo>
                    <a:pt x="253365" y="906971"/>
                  </a:lnTo>
                  <a:lnTo>
                    <a:pt x="252413" y="911924"/>
                  </a:lnTo>
                  <a:lnTo>
                    <a:pt x="254603" y="916496"/>
                  </a:lnTo>
                  <a:lnTo>
                    <a:pt x="264033" y="915257"/>
                  </a:lnTo>
                  <a:lnTo>
                    <a:pt x="269938" y="911257"/>
                  </a:lnTo>
                  <a:lnTo>
                    <a:pt x="273653" y="915543"/>
                  </a:lnTo>
                  <a:lnTo>
                    <a:pt x="278606" y="916496"/>
                  </a:lnTo>
                  <a:lnTo>
                    <a:pt x="275272" y="928116"/>
                  </a:lnTo>
                  <a:lnTo>
                    <a:pt x="278797" y="930878"/>
                  </a:lnTo>
                  <a:lnTo>
                    <a:pt x="282512" y="935260"/>
                  </a:lnTo>
                  <a:lnTo>
                    <a:pt x="285655" y="934879"/>
                  </a:lnTo>
                  <a:lnTo>
                    <a:pt x="288607" y="932878"/>
                  </a:lnTo>
                  <a:lnTo>
                    <a:pt x="287560" y="924973"/>
                  </a:lnTo>
                  <a:lnTo>
                    <a:pt x="290703" y="924592"/>
                  </a:lnTo>
                  <a:lnTo>
                    <a:pt x="292513" y="925925"/>
                  </a:lnTo>
                  <a:lnTo>
                    <a:pt x="291560" y="930878"/>
                  </a:lnTo>
                  <a:lnTo>
                    <a:pt x="299466" y="929831"/>
                  </a:lnTo>
                  <a:lnTo>
                    <a:pt x="301466" y="932783"/>
                  </a:lnTo>
                  <a:lnTo>
                    <a:pt x="294418" y="940118"/>
                  </a:lnTo>
                  <a:lnTo>
                    <a:pt x="294227" y="951357"/>
                  </a:lnTo>
                  <a:lnTo>
                    <a:pt x="303086" y="958215"/>
                  </a:lnTo>
                  <a:lnTo>
                    <a:pt x="306229" y="957834"/>
                  </a:lnTo>
                  <a:lnTo>
                    <a:pt x="321088" y="973550"/>
                  </a:lnTo>
                  <a:lnTo>
                    <a:pt x="326612" y="979265"/>
                  </a:lnTo>
                  <a:lnTo>
                    <a:pt x="366141" y="999934"/>
                  </a:lnTo>
                  <a:lnTo>
                    <a:pt x="378428" y="1008031"/>
                  </a:lnTo>
                  <a:lnTo>
                    <a:pt x="388715" y="1013174"/>
                  </a:lnTo>
                  <a:lnTo>
                    <a:pt x="400526" y="1018032"/>
                  </a:lnTo>
                  <a:lnTo>
                    <a:pt x="408622" y="1018603"/>
                  </a:lnTo>
                  <a:lnTo>
                    <a:pt x="411766" y="1018223"/>
                  </a:lnTo>
                  <a:lnTo>
                    <a:pt x="411385" y="1015079"/>
                  </a:lnTo>
                  <a:lnTo>
                    <a:pt x="414719" y="1016222"/>
                  </a:lnTo>
                  <a:lnTo>
                    <a:pt x="416528" y="1017556"/>
                  </a:lnTo>
                  <a:lnTo>
                    <a:pt x="429768" y="1020699"/>
                  </a:lnTo>
                  <a:lnTo>
                    <a:pt x="430911" y="1017365"/>
                  </a:lnTo>
                  <a:lnTo>
                    <a:pt x="435864" y="1018318"/>
                  </a:lnTo>
                  <a:lnTo>
                    <a:pt x="437674" y="1019651"/>
                  </a:lnTo>
                  <a:lnTo>
                    <a:pt x="440627" y="1017651"/>
                  </a:lnTo>
                  <a:lnTo>
                    <a:pt x="440246" y="1014508"/>
                  </a:lnTo>
                  <a:lnTo>
                    <a:pt x="469868" y="1020318"/>
                  </a:lnTo>
                  <a:lnTo>
                    <a:pt x="507206" y="1023557"/>
                  </a:lnTo>
                  <a:lnTo>
                    <a:pt x="517303" y="1027081"/>
                  </a:lnTo>
                  <a:lnTo>
                    <a:pt x="518922" y="1026890"/>
                  </a:lnTo>
                  <a:lnTo>
                    <a:pt x="521684" y="1023366"/>
                  </a:lnTo>
                  <a:lnTo>
                    <a:pt x="529590" y="1022318"/>
                  </a:lnTo>
                  <a:lnTo>
                    <a:pt x="542830" y="1025461"/>
                  </a:lnTo>
                  <a:lnTo>
                    <a:pt x="547306" y="1023271"/>
                  </a:lnTo>
                  <a:lnTo>
                    <a:pt x="554641" y="1030319"/>
                  </a:lnTo>
                  <a:lnTo>
                    <a:pt x="567880" y="1033463"/>
                  </a:lnTo>
                  <a:lnTo>
                    <a:pt x="573596" y="1027938"/>
                  </a:lnTo>
                  <a:lnTo>
                    <a:pt x="574357" y="1021461"/>
                  </a:lnTo>
                  <a:lnTo>
                    <a:pt x="575691" y="1019651"/>
                  </a:lnTo>
                  <a:lnTo>
                    <a:pt x="575310" y="1016508"/>
                  </a:lnTo>
                  <a:lnTo>
                    <a:pt x="577691" y="1022604"/>
                  </a:lnTo>
                  <a:lnTo>
                    <a:pt x="582263" y="1020413"/>
                  </a:lnTo>
                  <a:lnTo>
                    <a:pt x="584263" y="1023366"/>
                  </a:lnTo>
                  <a:lnTo>
                    <a:pt x="586264" y="1026319"/>
                  </a:lnTo>
                  <a:lnTo>
                    <a:pt x="583502" y="1029843"/>
                  </a:lnTo>
                  <a:lnTo>
                    <a:pt x="587216" y="1034129"/>
                  </a:lnTo>
                  <a:lnTo>
                    <a:pt x="588550" y="1032319"/>
                  </a:lnTo>
                  <a:lnTo>
                    <a:pt x="588931" y="1035463"/>
                  </a:lnTo>
                  <a:lnTo>
                    <a:pt x="599980" y="1034034"/>
                  </a:lnTo>
                  <a:lnTo>
                    <a:pt x="600170" y="1035653"/>
                  </a:lnTo>
                  <a:lnTo>
                    <a:pt x="603313" y="1035272"/>
                  </a:lnTo>
                  <a:lnTo>
                    <a:pt x="606266" y="1033272"/>
                  </a:lnTo>
                  <a:lnTo>
                    <a:pt x="607219" y="1028319"/>
                  </a:lnTo>
                  <a:lnTo>
                    <a:pt x="608647" y="1026509"/>
                  </a:lnTo>
                  <a:lnTo>
                    <a:pt x="609790" y="1023176"/>
                  </a:lnTo>
                  <a:lnTo>
                    <a:pt x="611410" y="1022985"/>
                  </a:lnTo>
                  <a:lnTo>
                    <a:pt x="613410" y="1025938"/>
                  </a:lnTo>
                  <a:lnTo>
                    <a:pt x="619125" y="1020413"/>
                  </a:lnTo>
                  <a:lnTo>
                    <a:pt x="620935" y="1021747"/>
                  </a:lnTo>
                  <a:lnTo>
                    <a:pt x="623888" y="1019747"/>
                  </a:lnTo>
                  <a:lnTo>
                    <a:pt x="626078" y="1011460"/>
                  </a:lnTo>
                  <a:lnTo>
                    <a:pt x="627412" y="1009650"/>
                  </a:lnTo>
                  <a:lnTo>
                    <a:pt x="628364" y="1004697"/>
                  </a:lnTo>
                  <a:lnTo>
                    <a:pt x="633889" y="997553"/>
                  </a:lnTo>
                  <a:lnTo>
                    <a:pt x="639985" y="995172"/>
                  </a:lnTo>
                  <a:lnTo>
                    <a:pt x="644366" y="991457"/>
                  </a:lnTo>
                  <a:lnTo>
                    <a:pt x="644938" y="983361"/>
                  </a:lnTo>
                  <a:lnTo>
                    <a:pt x="643128" y="982027"/>
                  </a:lnTo>
                  <a:lnTo>
                    <a:pt x="642938" y="980408"/>
                  </a:lnTo>
                  <a:lnTo>
                    <a:pt x="645128" y="972122"/>
                  </a:lnTo>
                  <a:lnTo>
                    <a:pt x="650462" y="963454"/>
                  </a:lnTo>
                  <a:lnTo>
                    <a:pt x="649700" y="957167"/>
                  </a:lnTo>
                  <a:lnTo>
                    <a:pt x="652463" y="953643"/>
                  </a:lnTo>
                  <a:lnTo>
                    <a:pt x="661130" y="946118"/>
                  </a:lnTo>
                  <a:lnTo>
                    <a:pt x="660940" y="944499"/>
                  </a:lnTo>
                  <a:lnTo>
                    <a:pt x="657606" y="943356"/>
                  </a:lnTo>
                  <a:lnTo>
                    <a:pt x="660749" y="942975"/>
                  </a:lnTo>
                  <a:lnTo>
                    <a:pt x="671417" y="951262"/>
                  </a:lnTo>
                  <a:lnTo>
                    <a:pt x="687610" y="952405"/>
                  </a:lnTo>
                  <a:lnTo>
                    <a:pt x="698468" y="949452"/>
                  </a:lnTo>
                  <a:lnTo>
                    <a:pt x="700659" y="954024"/>
                  </a:lnTo>
                  <a:lnTo>
                    <a:pt x="705231" y="951833"/>
                  </a:lnTo>
                  <a:lnTo>
                    <a:pt x="710565" y="943166"/>
                  </a:lnTo>
                  <a:lnTo>
                    <a:pt x="714661" y="937832"/>
                  </a:lnTo>
                  <a:lnTo>
                    <a:pt x="725519" y="947642"/>
                  </a:lnTo>
                  <a:lnTo>
                    <a:pt x="727520" y="950595"/>
                  </a:lnTo>
                  <a:lnTo>
                    <a:pt x="735044" y="959263"/>
                  </a:lnTo>
                  <a:lnTo>
                    <a:pt x="746474" y="960977"/>
                  </a:lnTo>
                  <a:lnTo>
                    <a:pt x="755142" y="966311"/>
                  </a:lnTo>
                  <a:lnTo>
                    <a:pt x="754380" y="972788"/>
                  </a:lnTo>
                  <a:lnTo>
                    <a:pt x="765810" y="974503"/>
                  </a:lnTo>
                  <a:lnTo>
                    <a:pt x="770572" y="973931"/>
                  </a:lnTo>
                  <a:lnTo>
                    <a:pt x="780193" y="974312"/>
                  </a:lnTo>
                  <a:lnTo>
                    <a:pt x="781812" y="974122"/>
                  </a:lnTo>
                  <a:lnTo>
                    <a:pt x="782764" y="969169"/>
                  </a:lnTo>
                  <a:lnTo>
                    <a:pt x="790480" y="966597"/>
                  </a:lnTo>
                  <a:lnTo>
                    <a:pt x="790670" y="968216"/>
                  </a:lnTo>
                  <a:lnTo>
                    <a:pt x="797338" y="970598"/>
                  </a:lnTo>
                  <a:lnTo>
                    <a:pt x="804005" y="972979"/>
                  </a:lnTo>
                  <a:lnTo>
                    <a:pt x="806387" y="979075"/>
                  </a:lnTo>
                  <a:lnTo>
                    <a:pt x="813721" y="986123"/>
                  </a:lnTo>
                  <a:lnTo>
                    <a:pt x="817150" y="1000125"/>
                  </a:lnTo>
                  <a:lnTo>
                    <a:pt x="818197" y="1008031"/>
                  </a:lnTo>
                  <a:lnTo>
                    <a:pt x="812863" y="1016699"/>
                  </a:lnTo>
                  <a:lnTo>
                    <a:pt x="813245" y="1019842"/>
                  </a:lnTo>
                  <a:lnTo>
                    <a:pt x="817436" y="1027367"/>
                  </a:lnTo>
                  <a:lnTo>
                    <a:pt x="819817" y="1033463"/>
                  </a:lnTo>
                  <a:lnTo>
                    <a:pt x="822960" y="1033082"/>
                  </a:lnTo>
                  <a:lnTo>
                    <a:pt x="833247" y="1025366"/>
                  </a:lnTo>
                  <a:lnTo>
                    <a:pt x="834771" y="1025176"/>
                  </a:lnTo>
                  <a:lnTo>
                    <a:pt x="836200" y="1023366"/>
                  </a:lnTo>
                  <a:lnTo>
                    <a:pt x="844105" y="1022318"/>
                  </a:lnTo>
                  <a:lnTo>
                    <a:pt x="849058" y="1023271"/>
                  </a:lnTo>
                  <a:lnTo>
                    <a:pt x="850868" y="1024604"/>
                  </a:lnTo>
                  <a:lnTo>
                    <a:pt x="854012" y="1024223"/>
                  </a:lnTo>
                  <a:lnTo>
                    <a:pt x="852678" y="1026033"/>
                  </a:lnTo>
                  <a:lnTo>
                    <a:pt x="852869" y="1027652"/>
                  </a:lnTo>
                  <a:lnTo>
                    <a:pt x="856012" y="1027271"/>
                  </a:lnTo>
                  <a:lnTo>
                    <a:pt x="857822" y="1028605"/>
                  </a:lnTo>
                  <a:lnTo>
                    <a:pt x="858203" y="1031748"/>
                  </a:lnTo>
                  <a:lnTo>
                    <a:pt x="865918" y="1029176"/>
                  </a:lnTo>
                  <a:lnTo>
                    <a:pt x="870109" y="1036701"/>
                  </a:lnTo>
                  <a:lnTo>
                    <a:pt x="870680" y="1041464"/>
                  </a:lnTo>
                  <a:lnTo>
                    <a:pt x="874205" y="1044226"/>
                  </a:lnTo>
                  <a:lnTo>
                    <a:pt x="874395" y="1045845"/>
                  </a:lnTo>
                  <a:lnTo>
                    <a:pt x="878967" y="1043654"/>
                  </a:lnTo>
                  <a:lnTo>
                    <a:pt x="884682" y="1050893"/>
                  </a:lnTo>
                  <a:lnTo>
                    <a:pt x="886301" y="1050703"/>
                  </a:lnTo>
                  <a:lnTo>
                    <a:pt x="889254" y="1048702"/>
                  </a:lnTo>
                  <a:lnTo>
                    <a:pt x="891064" y="1050036"/>
                  </a:lnTo>
                  <a:lnTo>
                    <a:pt x="895826" y="1049465"/>
                  </a:lnTo>
                  <a:lnTo>
                    <a:pt x="902780" y="1053370"/>
                  </a:lnTo>
                  <a:lnTo>
                    <a:pt x="904970" y="1057942"/>
                  </a:lnTo>
                  <a:lnTo>
                    <a:pt x="908875" y="1050989"/>
                  </a:lnTo>
                  <a:lnTo>
                    <a:pt x="913829" y="1051941"/>
                  </a:lnTo>
                  <a:lnTo>
                    <a:pt x="923449" y="1052322"/>
                  </a:lnTo>
                  <a:lnTo>
                    <a:pt x="928973" y="1045178"/>
                  </a:lnTo>
                  <a:lnTo>
                    <a:pt x="934498" y="1050893"/>
                  </a:lnTo>
                  <a:lnTo>
                    <a:pt x="953643" y="1050036"/>
                  </a:lnTo>
                  <a:lnTo>
                    <a:pt x="960120" y="1037939"/>
                  </a:lnTo>
                  <a:lnTo>
                    <a:pt x="964311" y="1045464"/>
                  </a:lnTo>
                  <a:lnTo>
                    <a:pt x="974027" y="1045845"/>
                  </a:lnTo>
                  <a:lnTo>
                    <a:pt x="976979" y="1043845"/>
                  </a:lnTo>
                  <a:lnTo>
                    <a:pt x="980504" y="1046607"/>
                  </a:lnTo>
                  <a:lnTo>
                    <a:pt x="977360" y="1046988"/>
                  </a:lnTo>
                  <a:lnTo>
                    <a:pt x="979551" y="1051560"/>
                  </a:lnTo>
                  <a:lnTo>
                    <a:pt x="983266" y="1055846"/>
                  </a:lnTo>
                  <a:lnTo>
                    <a:pt x="981932" y="1057656"/>
                  </a:lnTo>
                  <a:lnTo>
                    <a:pt x="987266" y="1061752"/>
                  </a:lnTo>
                  <a:lnTo>
                    <a:pt x="988028" y="1068038"/>
                  </a:lnTo>
                  <a:lnTo>
                    <a:pt x="988409" y="1071182"/>
                  </a:lnTo>
                  <a:lnTo>
                    <a:pt x="987266" y="1074515"/>
                  </a:lnTo>
                  <a:lnTo>
                    <a:pt x="989076" y="1075849"/>
                  </a:lnTo>
                  <a:lnTo>
                    <a:pt x="987743" y="1077659"/>
                  </a:lnTo>
                  <a:lnTo>
                    <a:pt x="988123" y="1080802"/>
                  </a:lnTo>
                  <a:lnTo>
                    <a:pt x="986504" y="1080992"/>
                  </a:lnTo>
                  <a:lnTo>
                    <a:pt x="986695" y="1082611"/>
                  </a:lnTo>
                  <a:lnTo>
                    <a:pt x="984123" y="1087755"/>
                  </a:lnTo>
                  <a:lnTo>
                    <a:pt x="984695" y="1092518"/>
                  </a:lnTo>
                  <a:lnTo>
                    <a:pt x="991362" y="1094899"/>
                  </a:lnTo>
                  <a:lnTo>
                    <a:pt x="993553" y="1099471"/>
                  </a:lnTo>
                  <a:lnTo>
                    <a:pt x="992219" y="1101281"/>
                  </a:lnTo>
                  <a:lnTo>
                    <a:pt x="994029" y="1102614"/>
                  </a:lnTo>
                  <a:lnTo>
                    <a:pt x="992696" y="1104424"/>
                  </a:lnTo>
                  <a:lnTo>
                    <a:pt x="994886" y="1108996"/>
                  </a:lnTo>
                  <a:lnTo>
                    <a:pt x="993934" y="1113949"/>
                  </a:lnTo>
                  <a:lnTo>
                    <a:pt x="990981" y="1115949"/>
                  </a:lnTo>
                  <a:lnTo>
                    <a:pt x="993362" y="1122045"/>
                  </a:lnTo>
                  <a:lnTo>
                    <a:pt x="992029" y="1123855"/>
                  </a:lnTo>
                  <a:lnTo>
                    <a:pt x="995744" y="1128141"/>
                  </a:lnTo>
                  <a:lnTo>
                    <a:pt x="997363" y="1127951"/>
                  </a:lnTo>
                  <a:lnTo>
                    <a:pt x="997934" y="1132713"/>
                  </a:lnTo>
                  <a:lnTo>
                    <a:pt x="996601" y="1134523"/>
                  </a:lnTo>
                  <a:lnTo>
                    <a:pt x="997363" y="1140809"/>
                  </a:lnTo>
                  <a:lnTo>
                    <a:pt x="993457" y="1147763"/>
                  </a:lnTo>
                  <a:lnTo>
                    <a:pt x="992505" y="1152716"/>
                  </a:lnTo>
                  <a:lnTo>
                    <a:pt x="999172" y="1155097"/>
                  </a:lnTo>
                  <a:lnTo>
                    <a:pt x="1007459" y="1157288"/>
                  </a:lnTo>
                  <a:lnTo>
                    <a:pt x="1011174" y="1161574"/>
                  </a:lnTo>
                  <a:lnTo>
                    <a:pt x="1010983" y="1159955"/>
                  </a:lnTo>
                  <a:lnTo>
                    <a:pt x="1010412" y="1155192"/>
                  </a:lnTo>
                  <a:lnTo>
                    <a:pt x="1015365" y="1156144"/>
                  </a:lnTo>
                  <a:lnTo>
                    <a:pt x="1016889" y="1155954"/>
                  </a:lnTo>
                  <a:lnTo>
                    <a:pt x="1015079" y="1154621"/>
                  </a:lnTo>
                  <a:lnTo>
                    <a:pt x="1014698" y="1151477"/>
                  </a:lnTo>
                  <a:lnTo>
                    <a:pt x="1017841" y="1151096"/>
                  </a:lnTo>
                  <a:lnTo>
                    <a:pt x="1017080" y="1144810"/>
                  </a:lnTo>
                  <a:lnTo>
                    <a:pt x="1018604" y="1144619"/>
                  </a:lnTo>
                  <a:lnTo>
                    <a:pt x="1020794" y="1149191"/>
                  </a:lnTo>
                  <a:lnTo>
                    <a:pt x="1020223" y="1144429"/>
                  </a:lnTo>
                  <a:lnTo>
                    <a:pt x="1025366" y="1147001"/>
                  </a:lnTo>
                  <a:lnTo>
                    <a:pt x="1026795" y="1145191"/>
                  </a:lnTo>
                  <a:lnTo>
                    <a:pt x="1023271" y="1142428"/>
                  </a:lnTo>
                  <a:lnTo>
                    <a:pt x="1026414" y="1142048"/>
                  </a:lnTo>
                  <a:lnTo>
                    <a:pt x="1020508" y="1133189"/>
                  </a:lnTo>
                  <a:lnTo>
                    <a:pt x="1021937" y="1131380"/>
                  </a:lnTo>
                  <a:lnTo>
                    <a:pt x="1027271" y="1135475"/>
                  </a:lnTo>
                  <a:lnTo>
                    <a:pt x="1025080" y="1130903"/>
                  </a:lnTo>
                  <a:lnTo>
                    <a:pt x="1029653" y="1128713"/>
                  </a:lnTo>
                  <a:lnTo>
                    <a:pt x="1024319" y="1124617"/>
                  </a:lnTo>
                  <a:lnTo>
                    <a:pt x="1032034" y="1122045"/>
                  </a:lnTo>
                  <a:lnTo>
                    <a:pt x="1026700" y="1117949"/>
                  </a:lnTo>
                  <a:lnTo>
                    <a:pt x="1026223" y="1101947"/>
                  </a:lnTo>
                  <a:lnTo>
                    <a:pt x="1030510" y="1098233"/>
                  </a:lnTo>
                  <a:lnTo>
                    <a:pt x="1026795" y="1093946"/>
                  </a:lnTo>
                  <a:lnTo>
                    <a:pt x="1028129" y="1092136"/>
                  </a:lnTo>
                  <a:lnTo>
                    <a:pt x="1030319" y="1096709"/>
                  </a:lnTo>
                  <a:lnTo>
                    <a:pt x="1031653" y="1094899"/>
                  </a:lnTo>
                  <a:lnTo>
                    <a:pt x="1030891" y="1088612"/>
                  </a:lnTo>
                  <a:lnTo>
                    <a:pt x="1032510" y="1088422"/>
                  </a:lnTo>
                  <a:lnTo>
                    <a:pt x="1031938" y="1083659"/>
                  </a:lnTo>
                  <a:lnTo>
                    <a:pt x="1034891" y="1081659"/>
                  </a:lnTo>
                  <a:lnTo>
                    <a:pt x="1034129" y="1075373"/>
                  </a:lnTo>
                  <a:lnTo>
                    <a:pt x="1035463" y="1073563"/>
                  </a:lnTo>
                  <a:lnTo>
                    <a:pt x="1038987" y="1076325"/>
                  </a:lnTo>
                  <a:lnTo>
                    <a:pt x="1042130" y="1075944"/>
                  </a:lnTo>
                  <a:lnTo>
                    <a:pt x="1041940" y="1074325"/>
                  </a:lnTo>
                  <a:lnTo>
                    <a:pt x="1043083" y="1070991"/>
                  </a:lnTo>
                  <a:lnTo>
                    <a:pt x="1046607" y="1073753"/>
                  </a:lnTo>
                  <a:lnTo>
                    <a:pt x="1049179" y="1068610"/>
                  </a:lnTo>
                  <a:lnTo>
                    <a:pt x="1044416" y="1069181"/>
                  </a:lnTo>
                  <a:lnTo>
                    <a:pt x="1045750" y="1067372"/>
                  </a:lnTo>
                  <a:lnTo>
                    <a:pt x="1042416" y="1066228"/>
                  </a:lnTo>
                  <a:lnTo>
                    <a:pt x="1043749" y="1064419"/>
                  </a:lnTo>
                  <a:lnTo>
                    <a:pt x="1053179" y="1063181"/>
                  </a:lnTo>
                  <a:lnTo>
                    <a:pt x="1048036" y="1060609"/>
                  </a:lnTo>
                  <a:lnTo>
                    <a:pt x="1049179" y="1057275"/>
                  </a:lnTo>
                  <a:lnTo>
                    <a:pt x="1047845" y="1059085"/>
                  </a:lnTo>
                  <a:lnTo>
                    <a:pt x="1046036" y="1057751"/>
                  </a:lnTo>
                  <a:lnTo>
                    <a:pt x="1047179" y="1054418"/>
                  </a:lnTo>
                  <a:lnTo>
                    <a:pt x="1048988" y="1055751"/>
                  </a:lnTo>
                  <a:lnTo>
                    <a:pt x="1047179" y="1054418"/>
                  </a:lnTo>
                  <a:lnTo>
                    <a:pt x="1048131" y="1049465"/>
                  </a:lnTo>
                  <a:lnTo>
                    <a:pt x="1049941" y="1050798"/>
                  </a:lnTo>
                  <a:lnTo>
                    <a:pt x="1051370" y="1048988"/>
                  </a:lnTo>
                  <a:lnTo>
                    <a:pt x="1049560" y="1047655"/>
                  </a:lnTo>
                  <a:lnTo>
                    <a:pt x="1048988" y="1042892"/>
                  </a:lnTo>
                  <a:lnTo>
                    <a:pt x="1051941" y="1040892"/>
                  </a:lnTo>
                  <a:lnTo>
                    <a:pt x="1048798" y="1041273"/>
                  </a:lnTo>
                  <a:lnTo>
                    <a:pt x="1048226" y="1036510"/>
                  </a:lnTo>
                  <a:lnTo>
                    <a:pt x="1046607" y="1036701"/>
                  </a:lnTo>
                  <a:lnTo>
                    <a:pt x="1044988" y="1036892"/>
                  </a:lnTo>
                  <a:lnTo>
                    <a:pt x="1049369" y="1033177"/>
                  </a:lnTo>
                  <a:lnTo>
                    <a:pt x="1052703" y="1034320"/>
                  </a:lnTo>
                  <a:lnTo>
                    <a:pt x="1052322" y="1031176"/>
                  </a:lnTo>
                  <a:lnTo>
                    <a:pt x="1055656" y="1032319"/>
                  </a:lnTo>
                  <a:lnTo>
                    <a:pt x="1056799" y="1028986"/>
                  </a:lnTo>
                  <a:lnTo>
                    <a:pt x="1057751" y="1024033"/>
                  </a:lnTo>
                  <a:lnTo>
                    <a:pt x="1059561" y="1025366"/>
                  </a:lnTo>
                  <a:lnTo>
                    <a:pt x="1058989" y="1020604"/>
                  </a:lnTo>
                  <a:lnTo>
                    <a:pt x="1065276" y="1019842"/>
                  </a:lnTo>
                  <a:lnTo>
                    <a:pt x="1064514" y="1013555"/>
                  </a:lnTo>
                  <a:lnTo>
                    <a:pt x="1066895" y="1006793"/>
                  </a:lnTo>
                  <a:lnTo>
                    <a:pt x="1072801" y="1002792"/>
                  </a:lnTo>
                  <a:lnTo>
                    <a:pt x="1075373" y="997649"/>
                  </a:lnTo>
                  <a:lnTo>
                    <a:pt x="1079659" y="993934"/>
                  </a:lnTo>
                  <a:lnTo>
                    <a:pt x="1079468" y="992315"/>
                  </a:lnTo>
                  <a:lnTo>
                    <a:pt x="1076706" y="995839"/>
                  </a:lnTo>
                  <a:lnTo>
                    <a:pt x="1074896" y="994505"/>
                  </a:lnTo>
                  <a:lnTo>
                    <a:pt x="1078230" y="982885"/>
                  </a:lnTo>
                  <a:lnTo>
                    <a:pt x="1078039" y="981266"/>
                  </a:lnTo>
                  <a:lnTo>
                    <a:pt x="1083183" y="983837"/>
                  </a:lnTo>
                  <a:lnTo>
                    <a:pt x="1084326" y="980503"/>
                  </a:lnTo>
                  <a:lnTo>
                    <a:pt x="1086136" y="981837"/>
                  </a:lnTo>
                  <a:lnTo>
                    <a:pt x="1087469" y="980027"/>
                  </a:lnTo>
                  <a:lnTo>
                    <a:pt x="1085660" y="978694"/>
                  </a:lnTo>
                  <a:lnTo>
                    <a:pt x="1090613" y="979646"/>
                  </a:lnTo>
                  <a:lnTo>
                    <a:pt x="1093565" y="977646"/>
                  </a:lnTo>
                  <a:lnTo>
                    <a:pt x="1088422" y="975074"/>
                  </a:lnTo>
                  <a:lnTo>
                    <a:pt x="1088231" y="973455"/>
                  </a:lnTo>
                  <a:lnTo>
                    <a:pt x="1090041" y="974789"/>
                  </a:lnTo>
                  <a:lnTo>
                    <a:pt x="1094804" y="974217"/>
                  </a:lnTo>
                  <a:lnTo>
                    <a:pt x="1094423" y="971074"/>
                  </a:lnTo>
                  <a:lnTo>
                    <a:pt x="1095756" y="969264"/>
                  </a:lnTo>
                  <a:lnTo>
                    <a:pt x="1097566" y="970598"/>
                  </a:lnTo>
                  <a:lnTo>
                    <a:pt x="1097185" y="967454"/>
                  </a:lnTo>
                  <a:lnTo>
                    <a:pt x="1098804" y="967264"/>
                  </a:lnTo>
                  <a:lnTo>
                    <a:pt x="1103186" y="963549"/>
                  </a:lnTo>
                  <a:lnTo>
                    <a:pt x="1105186" y="966502"/>
                  </a:lnTo>
                  <a:lnTo>
                    <a:pt x="1112044" y="957643"/>
                  </a:lnTo>
                  <a:lnTo>
                    <a:pt x="1108710" y="956501"/>
                  </a:lnTo>
                  <a:lnTo>
                    <a:pt x="1109472" y="950024"/>
                  </a:lnTo>
                  <a:lnTo>
                    <a:pt x="1112234" y="946499"/>
                  </a:lnTo>
                  <a:lnTo>
                    <a:pt x="1113854" y="946309"/>
                  </a:lnTo>
                  <a:lnTo>
                    <a:pt x="1111853" y="943356"/>
                  </a:lnTo>
                  <a:lnTo>
                    <a:pt x="1113473" y="943166"/>
                  </a:lnTo>
                  <a:lnTo>
                    <a:pt x="1114997" y="942975"/>
                  </a:lnTo>
                  <a:lnTo>
                    <a:pt x="1114615" y="939832"/>
                  </a:lnTo>
                  <a:lnTo>
                    <a:pt x="1117759" y="939451"/>
                  </a:lnTo>
                  <a:lnTo>
                    <a:pt x="1117378" y="936308"/>
                  </a:lnTo>
                  <a:lnTo>
                    <a:pt x="1120140" y="932783"/>
                  </a:lnTo>
                  <a:lnTo>
                    <a:pt x="1121093" y="927830"/>
                  </a:lnTo>
                  <a:lnTo>
                    <a:pt x="1118521" y="920115"/>
                  </a:lnTo>
                  <a:lnTo>
                    <a:pt x="1120712" y="911828"/>
                  </a:lnTo>
                  <a:lnTo>
                    <a:pt x="1118902" y="910495"/>
                  </a:lnTo>
                  <a:lnTo>
                    <a:pt x="1123188" y="906780"/>
                  </a:lnTo>
                  <a:lnTo>
                    <a:pt x="1121188" y="903827"/>
                  </a:lnTo>
                  <a:lnTo>
                    <a:pt x="1124331" y="903446"/>
                  </a:lnTo>
                  <a:lnTo>
                    <a:pt x="1126903" y="898303"/>
                  </a:lnTo>
                  <a:lnTo>
                    <a:pt x="1138714" y="903160"/>
                  </a:lnTo>
                  <a:lnTo>
                    <a:pt x="1146620" y="902113"/>
                  </a:lnTo>
                  <a:lnTo>
                    <a:pt x="1149763" y="901732"/>
                  </a:lnTo>
                  <a:lnTo>
                    <a:pt x="1150715" y="896779"/>
                  </a:lnTo>
                  <a:lnTo>
                    <a:pt x="1153668" y="894778"/>
                  </a:lnTo>
                  <a:lnTo>
                    <a:pt x="1153668" y="894778"/>
                  </a:lnTo>
                  <a:lnTo>
                    <a:pt x="1150525" y="895159"/>
                  </a:lnTo>
                  <a:lnTo>
                    <a:pt x="1151287" y="888683"/>
                  </a:lnTo>
                  <a:lnTo>
                    <a:pt x="1153287" y="891635"/>
                  </a:lnTo>
                  <a:lnTo>
                    <a:pt x="1157764" y="889444"/>
                  </a:lnTo>
                  <a:lnTo>
                    <a:pt x="1155764" y="886492"/>
                  </a:lnTo>
                  <a:lnTo>
                    <a:pt x="1160716" y="887444"/>
                  </a:lnTo>
                  <a:lnTo>
                    <a:pt x="1160526" y="885825"/>
                  </a:lnTo>
                  <a:lnTo>
                    <a:pt x="1158526" y="882872"/>
                  </a:lnTo>
                  <a:lnTo>
                    <a:pt x="1161669" y="882491"/>
                  </a:lnTo>
                  <a:lnTo>
                    <a:pt x="1164622" y="880491"/>
                  </a:lnTo>
                  <a:lnTo>
                    <a:pt x="1162622" y="877538"/>
                  </a:lnTo>
                  <a:lnTo>
                    <a:pt x="1165574" y="875538"/>
                  </a:lnTo>
                  <a:lnTo>
                    <a:pt x="1167194" y="875348"/>
                  </a:lnTo>
                  <a:lnTo>
                    <a:pt x="1166241" y="880301"/>
                  </a:lnTo>
                  <a:lnTo>
                    <a:pt x="1169384" y="879919"/>
                  </a:lnTo>
                  <a:lnTo>
                    <a:pt x="1169003" y="876776"/>
                  </a:lnTo>
                  <a:lnTo>
                    <a:pt x="1166813" y="872204"/>
                  </a:lnTo>
                  <a:lnTo>
                    <a:pt x="1166431" y="869061"/>
                  </a:lnTo>
                  <a:lnTo>
                    <a:pt x="1167765" y="867251"/>
                  </a:lnTo>
                  <a:lnTo>
                    <a:pt x="1174528" y="869633"/>
                  </a:lnTo>
                  <a:lnTo>
                    <a:pt x="1173956" y="864870"/>
                  </a:lnTo>
                  <a:lnTo>
                    <a:pt x="1179671" y="859346"/>
                  </a:lnTo>
                  <a:lnTo>
                    <a:pt x="1182814" y="858965"/>
                  </a:lnTo>
                  <a:lnTo>
                    <a:pt x="1182814" y="858965"/>
                  </a:lnTo>
                  <a:lnTo>
                    <a:pt x="1185958" y="858584"/>
                  </a:lnTo>
                  <a:lnTo>
                    <a:pt x="1187577" y="858393"/>
                  </a:lnTo>
                  <a:lnTo>
                    <a:pt x="1187768" y="860012"/>
                  </a:lnTo>
                  <a:lnTo>
                    <a:pt x="1189577" y="861346"/>
                  </a:lnTo>
                  <a:lnTo>
                    <a:pt x="1190911" y="859536"/>
                  </a:lnTo>
                  <a:lnTo>
                    <a:pt x="1196054" y="862108"/>
                  </a:lnTo>
                  <a:lnTo>
                    <a:pt x="1200340" y="858393"/>
                  </a:lnTo>
                  <a:lnTo>
                    <a:pt x="1202531" y="862965"/>
                  </a:lnTo>
                  <a:lnTo>
                    <a:pt x="1205865" y="864108"/>
                  </a:lnTo>
                  <a:lnTo>
                    <a:pt x="1209389" y="866870"/>
                  </a:lnTo>
                  <a:lnTo>
                    <a:pt x="1217295" y="865823"/>
                  </a:lnTo>
                  <a:lnTo>
                    <a:pt x="1221296" y="871728"/>
                  </a:lnTo>
                  <a:lnTo>
                    <a:pt x="1227963" y="874109"/>
                  </a:lnTo>
                  <a:lnTo>
                    <a:pt x="1234249" y="873347"/>
                  </a:lnTo>
                  <a:lnTo>
                    <a:pt x="1240727" y="874109"/>
                  </a:lnTo>
                  <a:lnTo>
                    <a:pt x="1243108" y="880205"/>
                  </a:lnTo>
                  <a:lnTo>
                    <a:pt x="1255205" y="886682"/>
                  </a:lnTo>
                  <a:lnTo>
                    <a:pt x="1259205" y="892588"/>
                  </a:lnTo>
                  <a:lnTo>
                    <a:pt x="1264158" y="893540"/>
                  </a:lnTo>
                  <a:lnTo>
                    <a:pt x="1270254" y="891159"/>
                  </a:lnTo>
                  <a:lnTo>
                    <a:pt x="1272064" y="892493"/>
                  </a:lnTo>
                  <a:lnTo>
                    <a:pt x="1274445" y="898589"/>
                  </a:lnTo>
                  <a:lnTo>
                    <a:pt x="1280160" y="905827"/>
                  </a:lnTo>
                  <a:lnTo>
                    <a:pt x="1290638" y="912495"/>
                  </a:lnTo>
                  <a:lnTo>
                    <a:pt x="1292828" y="917067"/>
                  </a:lnTo>
                  <a:lnTo>
                    <a:pt x="1295972" y="916686"/>
                  </a:lnTo>
                  <a:lnTo>
                    <a:pt x="1302068" y="927164"/>
                  </a:lnTo>
                  <a:lnTo>
                    <a:pt x="1314069" y="920782"/>
                  </a:lnTo>
                  <a:lnTo>
                    <a:pt x="1319213" y="923353"/>
                  </a:lnTo>
                  <a:lnTo>
                    <a:pt x="1322356" y="922973"/>
                  </a:lnTo>
                  <a:lnTo>
                    <a:pt x="1325880" y="925735"/>
                  </a:lnTo>
                  <a:lnTo>
                    <a:pt x="1331405" y="918591"/>
                  </a:lnTo>
                  <a:lnTo>
                    <a:pt x="1338644" y="912876"/>
                  </a:lnTo>
                  <a:lnTo>
                    <a:pt x="1341406" y="909352"/>
                  </a:lnTo>
                  <a:lnTo>
                    <a:pt x="1347883" y="910114"/>
                  </a:lnTo>
                  <a:lnTo>
                    <a:pt x="1350455" y="904970"/>
                  </a:lnTo>
                  <a:lnTo>
                    <a:pt x="1353979" y="894874"/>
                  </a:lnTo>
                  <a:lnTo>
                    <a:pt x="1359313" y="898969"/>
                  </a:lnTo>
                  <a:lnTo>
                    <a:pt x="1358741" y="894207"/>
                  </a:lnTo>
                  <a:lnTo>
                    <a:pt x="1364266" y="887063"/>
                  </a:lnTo>
                  <a:lnTo>
                    <a:pt x="1382649" y="892778"/>
                  </a:lnTo>
                  <a:lnTo>
                    <a:pt x="1387793" y="895350"/>
                  </a:lnTo>
                  <a:lnTo>
                    <a:pt x="1395698" y="907161"/>
                  </a:lnTo>
                  <a:lnTo>
                    <a:pt x="1406747" y="918591"/>
                  </a:lnTo>
                  <a:lnTo>
                    <a:pt x="1405128" y="918782"/>
                  </a:lnTo>
                  <a:lnTo>
                    <a:pt x="1406938" y="920115"/>
                  </a:lnTo>
                  <a:lnTo>
                    <a:pt x="1412462" y="925830"/>
                  </a:lnTo>
                  <a:lnTo>
                    <a:pt x="1420368" y="924782"/>
                  </a:lnTo>
                  <a:lnTo>
                    <a:pt x="1427416" y="917448"/>
                  </a:lnTo>
                  <a:lnTo>
                    <a:pt x="1435703" y="919639"/>
                  </a:lnTo>
                  <a:lnTo>
                    <a:pt x="1442371" y="909161"/>
                  </a:lnTo>
                  <a:lnTo>
                    <a:pt x="1450657" y="911352"/>
                  </a:lnTo>
                  <a:lnTo>
                    <a:pt x="1455230" y="909161"/>
                  </a:lnTo>
                  <a:lnTo>
                    <a:pt x="1463326" y="909733"/>
                  </a:lnTo>
                  <a:lnTo>
                    <a:pt x="1467612" y="906018"/>
                  </a:lnTo>
                  <a:lnTo>
                    <a:pt x="1469327" y="894588"/>
                  </a:lnTo>
                  <a:lnTo>
                    <a:pt x="1472089" y="891064"/>
                  </a:lnTo>
                  <a:lnTo>
                    <a:pt x="1484757" y="889444"/>
                  </a:lnTo>
                  <a:lnTo>
                    <a:pt x="1485519" y="882968"/>
                  </a:lnTo>
                  <a:lnTo>
                    <a:pt x="1491044" y="875824"/>
                  </a:lnTo>
                  <a:lnTo>
                    <a:pt x="1497330" y="875062"/>
                  </a:lnTo>
                  <a:lnTo>
                    <a:pt x="1502283" y="876014"/>
                  </a:lnTo>
                  <a:lnTo>
                    <a:pt x="1495139" y="857726"/>
                  </a:lnTo>
                  <a:lnTo>
                    <a:pt x="1495139" y="857726"/>
                  </a:lnTo>
                  <a:close/>
                </a:path>
              </a:pathLst>
            </a:custGeom>
            <a:solidFill>
              <a:schemeClr val="bg1"/>
            </a:solidFill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5" name="Volný tvar: obrazec 34">
              <a:extLst>
                <a:ext uri="{FF2B5EF4-FFF2-40B4-BE49-F238E27FC236}">
                  <a16:creationId xmlns:a16="http://schemas.microsoft.com/office/drawing/2014/main" id="{7A1C3BBC-A7B8-7383-F39C-ABAC8308B8A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90470" y="2042826"/>
              <a:ext cx="887920" cy="627602"/>
            </a:xfrm>
            <a:custGeom>
              <a:avLst/>
              <a:gdLst>
                <a:gd name="connsiteX0" fmla="*/ 883920 w 887920"/>
                <a:gd name="connsiteY0" fmla="*/ 565595 h 627602"/>
                <a:gd name="connsiteX1" fmla="*/ 883158 w 887920"/>
                <a:gd name="connsiteY1" fmla="*/ 559308 h 627602"/>
                <a:gd name="connsiteX2" fmla="*/ 881634 w 887920"/>
                <a:gd name="connsiteY2" fmla="*/ 559499 h 627602"/>
                <a:gd name="connsiteX3" fmla="*/ 877443 w 887920"/>
                <a:gd name="connsiteY3" fmla="*/ 551974 h 627602"/>
                <a:gd name="connsiteX4" fmla="*/ 873824 w 887920"/>
                <a:gd name="connsiteY4" fmla="*/ 549212 h 627602"/>
                <a:gd name="connsiteX5" fmla="*/ 873443 w 887920"/>
                <a:gd name="connsiteY5" fmla="*/ 546068 h 627602"/>
                <a:gd name="connsiteX6" fmla="*/ 868109 w 887920"/>
                <a:gd name="connsiteY6" fmla="*/ 541973 h 627602"/>
                <a:gd name="connsiteX7" fmla="*/ 865727 w 887920"/>
                <a:gd name="connsiteY7" fmla="*/ 535877 h 627602"/>
                <a:gd name="connsiteX8" fmla="*/ 859250 w 887920"/>
                <a:gd name="connsiteY8" fmla="*/ 535019 h 627602"/>
                <a:gd name="connsiteX9" fmla="*/ 859060 w 887920"/>
                <a:gd name="connsiteY9" fmla="*/ 533495 h 627602"/>
                <a:gd name="connsiteX10" fmla="*/ 863918 w 887920"/>
                <a:gd name="connsiteY10" fmla="*/ 534448 h 627602"/>
                <a:gd name="connsiteX11" fmla="*/ 852869 w 887920"/>
                <a:gd name="connsiteY11" fmla="*/ 523018 h 627602"/>
                <a:gd name="connsiteX12" fmla="*/ 857441 w 887920"/>
                <a:gd name="connsiteY12" fmla="*/ 520827 h 627602"/>
                <a:gd name="connsiteX13" fmla="*/ 860012 w 887920"/>
                <a:gd name="connsiteY13" fmla="*/ 515684 h 627602"/>
                <a:gd name="connsiteX14" fmla="*/ 850297 w 887920"/>
                <a:gd name="connsiteY14" fmla="*/ 515303 h 627602"/>
                <a:gd name="connsiteX15" fmla="*/ 843153 w 887920"/>
                <a:gd name="connsiteY15" fmla="*/ 509873 h 627602"/>
                <a:gd name="connsiteX16" fmla="*/ 853631 w 887920"/>
                <a:gd name="connsiteY16" fmla="*/ 490919 h 627602"/>
                <a:gd name="connsiteX17" fmla="*/ 851440 w 887920"/>
                <a:gd name="connsiteY17" fmla="*/ 486347 h 627602"/>
                <a:gd name="connsiteX18" fmla="*/ 858107 w 887920"/>
                <a:gd name="connsiteY18" fmla="*/ 475869 h 627602"/>
                <a:gd name="connsiteX19" fmla="*/ 863822 w 887920"/>
                <a:gd name="connsiteY19" fmla="*/ 470345 h 627602"/>
                <a:gd name="connsiteX20" fmla="*/ 855155 w 887920"/>
                <a:gd name="connsiteY20" fmla="*/ 465011 h 627602"/>
                <a:gd name="connsiteX21" fmla="*/ 854297 w 887920"/>
                <a:gd name="connsiteY21" fmla="*/ 458724 h 627602"/>
                <a:gd name="connsiteX22" fmla="*/ 850106 w 887920"/>
                <a:gd name="connsiteY22" fmla="*/ 451199 h 627602"/>
                <a:gd name="connsiteX23" fmla="*/ 839629 w 887920"/>
                <a:gd name="connsiteY23" fmla="*/ 444532 h 627602"/>
                <a:gd name="connsiteX24" fmla="*/ 839438 w 887920"/>
                <a:gd name="connsiteY24" fmla="*/ 442913 h 627602"/>
                <a:gd name="connsiteX25" fmla="*/ 844582 w 887920"/>
                <a:gd name="connsiteY25" fmla="*/ 432721 h 627602"/>
                <a:gd name="connsiteX26" fmla="*/ 851630 w 887920"/>
                <a:gd name="connsiteY26" fmla="*/ 425387 h 627602"/>
                <a:gd name="connsiteX27" fmla="*/ 844582 w 887920"/>
                <a:gd name="connsiteY27" fmla="*/ 419862 h 627602"/>
                <a:gd name="connsiteX28" fmla="*/ 838200 w 887920"/>
                <a:gd name="connsiteY28" fmla="*/ 395002 h 627602"/>
                <a:gd name="connsiteX29" fmla="*/ 836390 w 887920"/>
                <a:gd name="connsiteY29" fmla="*/ 393668 h 627602"/>
                <a:gd name="connsiteX30" fmla="*/ 835819 w 887920"/>
                <a:gd name="connsiteY30" fmla="*/ 388906 h 627602"/>
                <a:gd name="connsiteX31" fmla="*/ 839343 w 887920"/>
                <a:gd name="connsiteY31" fmla="*/ 378809 h 627602"/>
                <a:gd name="connsiteX32" fmla="*/ 837343 w 887920"/>
                <a:gd name="connsiteY32" fmla="*/ 375857 h 627602"/>
                <a:gd name="connsiteX33" fmla="*/ 838867 w 887920"/>
                <a:gd name="connsiteY33" fmla="*/ 362807 h 627602"/>
                <a:gd name="connsiteX34" fmla="*/ 831723 w 887920"/>
                <a:gd name="connsiteY34" fmla="*/ 357378 h 627602"/>
                <a:gd name="connsiteX35" fmla="*/ 832961 w 887920"/>
                <a:gd name="connsiteY35" fmla="*/ 353949 h 627602"/>
                <a:gd name="connsiteX36" fmla="*/ 840772 w 887920"/>
                <a:gd name="connsiteY36" fmla="*/ 340138 h 627602"/>
                <a:gd name="connsiteX37" fmla="*/ 842963 w 887920"/>
                <a:gd name="connsiteY37" fmla="*/ 331851 h 627602"/>
                <a:gd name="connsiteX38" fmla="*/ 838391 w 887920"/>
                <a:gd name="connsiteY38" fmla="*/ 321183 h 627602"/>
                <a:gd name="connsiteX39" fmla="*/ 822579 w 887920"/>
                <a:gd name="connsiteY39" fmla="*/ 310420 h 627602"/>
                <a:gd name="connsiteX40" fmla="*/ 818579 w 887920"/>
                <a:gd name="connsiteY40" fmla="*/ 304514 h 627602"/>
                <a:gd name="connsiteX41" fmla="*/ 817626 w 887920"/>
                <a:gd name="connsiteY41" fmla="*/ 296609 h 627602"/>
                <a:gd name="connsiteX42" fmla="*/ 817340 w 887920"/>
                <a:gd name="connsiteY42" fmla="*/ 282226 h 627602"/>
                <a:gd name="connsiteX43" fmla="*/ 808101 w 887920"/>
                <a:gd name="connsiteY43" fmla="*/ 284988 h 627602"/>
                <a:gd name="connsiteX44" fmla="*/ 799624 w 887920"/>
                <a:gd name="connsiteY44" fmla="*/ 268415 h 627602"/>
                <a:gd name="connsiteX45" fmla="*/ 791909 w 887920"/>
                <a:gd name="connsiteY45" fmla="*/ 270986 h 627602"/>
                <a:gd name="connsiteX46" fmla="*/ 778669 w 887920"/>
                <a:gd name="connsiteY46" fmla="*/ 267843 h 627602"/>
                <a:gd name="connsiteX47" fmla="*/ 774764 w 887920"/>
                <a:gd name="connsiteY47" fmla="*/ 261938 h 627602"/>
                <a:gd name="connsiteX48" fmla="*/ 767620 w 887920"/>
                <a:gd name="connsiteY48" fmla="*/ 256508 h 627602"/>
                <a:gd name="connsiteX49" fmla="*/ 759333 w 887920"/>
                <a:gd name="connsiteY49" fmla="*/ 254318 h 627602"/>
                <a:gd name="connsiteX50" fmla="*/ 757142 w 887920"/>
                <a:gd name="connsiteY50" fmla="*/ 249746 h 627602"/>
                <a:gd name="connsiteX51" fmla="*/ 750380 w 887920"/>
                <a:gd name="connsiteY51" fmla="*/ 247460 h 627602"/>
                <a:gd name="connsiteX52" fmla="*/ 745712 w 887920"/>
                <a:gd name="connsiteY52" fmla="*/ 248031 h 627602"/>
                <a:gd name="connsiteX53" fmla="*/ 741140 w 887920"/>
                <a:gd name="connsiteY53" fmla="*/ 250222 h 627602"/>
                <a:gd name="connsiteX54" fmla="*/ 729520 w 887920"/>
                <a:gd name="connsiteY54" fmla="*/ 272510 h 627602"/>
                <a:gd name="connsiteX55" fmla="*/ 718376 w 887920"/>
                <a:gd name="connsiteY55" fmla="*/ 285179 h 627602"/>
                <a:gd name="connsiteX56" fmla="*/ 713613 w 887920"/>
                <a:gd name="connsiteY56" fmla="*/ 285750 h 627602"/>
                <a:gd name="connsiteX57" fmla="*/ 710089 w 887920"/>
                <a:gd name="connsiteY57" fmla="*/ 283083 h 627602"/>
                <a:gd name="connsiteX58" fmla="*/ 706850 w 887920"/>
                <a:gd name="connsiteY58" fmla="*/ 283464 h 627602"/>
                <a:gd name="connsiteX59" fmla="*/ 703136 w 887920"/>
                <a:gd name="connsiteY59" fmla="*/ 279083 h 627602"/>
                <a:gd name="connsiteX60" fmla="*/ 705898 w 887920"/>
                <a:gd name="connsiteY60" fmla="*/ 275558 h 627602"/>
                <a:gd name="connsiteX61" fmla="*/ 705517 w 887920"/>
                <a:gd name="connsiteY61" fmla="*/ 272415 h 627602"/>
                <a:gd name="connsiteX62" fmla="*/ 706660 w 887920"/>
                <a:gd name="connsiteY62" fmla="*/ 269081 h 627602"/>
                <a:gd name="connsiteX63" fmla="*/ 704660 w 887920"/>
                <a:gd name="connsiteY63" fmla="*/ 266129 h 627602"/>
                <a:gd name="connsiteX64" fmla="*/ 704279 w 887920"/>
                <a:gd name="connsiteY64" fmla="*/ 262890 h 627602"/>
                <a:gd name="connsiteX65" fmla="*/ 699897 w 887920"/>
                <a:gd name="connsiteY65" fmla="*/ 253841 h 627602"/>
                <a:gd name="connsiteX66" fmla="*/ 705803 w 887920"/>
                <a:gd name="connsiteY66" fmla="*/ 249936 h 627602"/>
                <a:gd name="connsiteX67" fmla="*/ 703802 w 887920"/>
                <a:gd name="connsiteY67" fmla="*/ 246983 h 627602"/>
                <a:gd name="connsiteX68" fmla="*/ 706565 w 887920"/>
                <a:gd name="connsiteY68" fmla="*/ 243364 h 627602"/>
                <a:gd name="connsiteX69" fmla="*/ 702850 w 887920"/>
                <a:gd name="connsiteY69" fmla="*/ 239078 h 627602"/>
                <a:gd name="connsiteX70" fmla="*/ 706755 w 887920"/>
                <a:gd name="connsiteY70" fmla="*/ 232124 h 627602"/>
                <a:gd name="connsiteX71" fmla="*/ 704945 w 887920"/>
                <a:gd name="connsiteY71" fmla="*/ 230791 h 627602"/>
                <a:gd name="connsiteX72" fmla="*/ 701231 w 887920"/>
                <a:gd name="connsiteY72" fmla="*/ 213646 h 627602"/>
                <a:gd name="connsiteX73" fmla="*/ 695420 w 887920"/>
                <a:gd name="connsiteY73" fmla="*/ 206312 h 627602"/>
                <a:gd name="connsiteX74" fmla="*/ 691134 w 887920"/>
                <a:gd name="connsiteY74" fmla="*/ 197263 h 627602"/>
                <a:gd name="connsiteX75" fmla="*/ 689515 w 887920"/>
                <a:gd name="connsiteY75" fmla="*/ 197453 h 627602"/>
                <a:gd name="connsiteX76" fmla="*/ 686181 w 887920"/>
                <a:gd name="connsiteY76" fmla="*/ 196310 h 627602"/>
                <a:gd name="connsiteX77" fmla="*/ 684562 w 887920"/>
                <a:gd name="connsiteY77" fmla="*/ 196501 h 627602"/>
                <a:gd name="connsiteX78" fmla="*/ 684181 w 887920"/>
                <a:gd name="connsiteY78" fmla="*/ 193358 h 627602"/>
                <a:gd name="connsiteX79" fmla="*/ 682847 w 887920"/>
                <a:gd name="connsiteY79" fmla="*/ 195072 h 627602"/>
                <a:gd name="connsiteX80" fmla="*/ 680847 w 887920"/>
                <a:gd name="connsiteY80" fmla="*/ 192119 h 627602"/>
                <a:gd name="connsiteX81" fmla="*/ 674465 w 887920"/>
                <a:gd name="connsiteY81" fmla="*/ 192977 h 627602"/>
                <a:gd name="connsiteX82" fmla="*/ 674084 w 887920"/>
                <a:gd name="connsiteY82" fmla="*/ 189833 h 627602"/>
                <a:gd name="connsiteX83" fmla="*/ 672560 w 887920"/>
                <a:gd name="connsiteY83" fmla="*/ 190024 h 627602"/>
                <a:gd name="connsiteX84" fmla="*/ 665798 w 887920"/>
                <a:gd name="connsiteY84" fmla="*/ 187643 h 627602"/>
                <a:gd name="connsiteX85" fmla="*/ 660654 w 887920"/>
                <a:gd name="connsiteY85" fmla="*/ 185071 h 627602"/>
                <a:gd name="connsiteX86" fmla="*/ 649224 w 887920"/>
                <a:gd name="connsiteY86" fmla="*/ 170498 h 627602"/>
                <a:gd name="connsiteX87" fmla="*/ 648367 w 887920"/>
                <a:gd name="connsiteY87" fmla="*/ 164211 h 627602"/>
                <a:gd name="connsiteX88" fmla="*/ 640842 w 887920"/>
                <a:gd name="connsiteY88" fmla="*/ 155543 h 627602"/>
                <a:gd name="connsiteX89" fmla="*/ 638651 w 887920"/>
                <a:gd name="connsiteY89" fmla="*/ 150971 h 627602"/>
                <a:gd name="connsiteX90" fmla="*/ 635318 w 887920"/>
                <a:gd name="connsiteY90" fmla="*/ 124206 h 627602"/>
                <a:gd name="connsiteX91" fmla="*/ 631508 w 887920"/>
                <a:gd name="connsiteY91" fmla="*/ 119824 h 627602"/>
                <a:gd name="connsiteX92" fmla="*/ 633698 w 887920"/>
                <a:gd name="connsiteY92" fmla="*/ 111538 h 627602"/>
                <a:gd name="connsiteX93" fmla="*/ 632841 w 887920"/>
                <a:gd name="connsiteY93" fmla="*/ 105251 h 627602"/>
                <a:gd name="connsiteX94" fmla="*/ 634079 w 887920"/>
                <a:gd name="connsiteY94" fmla="*/ 101918 h 627602"/>
                <a:gd name="connsiteX95" fmla="*/ 638366 w 887920"/>
                <a:gd name="connsiteY95" fmla="*/ 98108 h 627602"/>
                <a:gd name="connsiteX96" fmla="*/ 639509 w 887920"/>
                <a:gd name="connsiteY96" fmla="*/ 94774 h 627602"/>
                <a:gd name="connsiteX97" fmla="*/ 646843 w 887920"/>
                <a:gd name="connsiteY97" fmla="*/ 89059 h 627602"/>
                <a:gd name="connsiteX98" fmla="*/ 647605 w 887920"/>
                <a:gd name="connsiteY98" fmla="*/ 82487 h 627602"/>
                <a:gd name="connsiteX99" fmla="*/ 643223 w 887920"/>
                <a:gd name="connsiteY99" fmla="*/ 73438 h 627602"/>
                <a:gd name="connsiteX100" fmla="*/ 636556 w 887920"/>
                <a:gd name="connsiteY100" fmla="*/ 71057 h 627602"/>
                <a:gd name="connsiteX101" fmla="*/ 638270 w 887920"/>
                <a:gd name="connsiteY101" fmla="*/ 59626 h 627602"/>
                <a:gd name="connsiteX102" fmla="*/ 637318 w 887920"/>
                <a:gd name="connsiteY102" fmla="*/ 51721 h 627602"/>
                <a:gd name="connsiteX103" fmla="*/ 622459 w 887920"/>
                <a:gd name="connsiteY103" fmla="*/ 48863 h 627602"/>
                <a:gd name="connsiteX104" fmla="*/ 619316 w 887920"/>
                <a:gd name="connsiteY104" fmla="*/ 49244 h 627602"/>
                <a:gd name="connsiteX105" fmla="*/ 617982 w 887920"/>
                <a:gd name="connsiteY105" fmla="*/ 51054 h 627602"/>
                <a:gd name="connsiteX106" fmla="*/ 612172 w 887920"/>
                <a:gd name="connsiteY106" fmla="*/ 43720 h 627602"/>
                <a:gd name="connsiteX107" fmla="*/ 615125 w 887920"/>
                <a:gd name="connsiteY107" fmla="*/ 41720 h 627602"/>
                <a:gd name="connsiteX108" fmla="*/ 613124 w 887920"/>
                <a:gd name="connsiteY108" fmla="*/ 38767 h 627602"/>
                <a:gd name="connsiteX109" fmla="*/ 610743 w 887920"/>
                <a:gd name="connsiteY109" fmla="*/ 32671 h 627602"/>
                <a:gd name="connsiteX110" fmla="*/ 613696 w 887920"/>
                <a:gd name="connsiteY110" fmla="*/ 30670 h 627602"/>
                <a:gd name="connsiteX111" fmla="*/ 611981 w 887920"/>
                <a:gd name="connsiteY111" fmla="*/ 29337 h 627602"/>
                <a:gd name="connsiteX112" fmla="*/ 597980 w 887920"/>
                <a:gd name="connsiteY112" fmla="*/ 32671 h 627602"/>
                <a:gd name="connsiteX113" fmla="*/ 592074 w 887920"/>
                <a:gd name="connsiteY113" fmla="*/ 36671 h 627602"/>
                <a:gd name="connsiteX114" fmla="*/ 587121 w 887920"/>
                <a:gd name="connsiteY114" fmla="*/ 35719 h 627602"/>
                <a:gd name="connsiteX115" fmla="*/ 583025 w 887920"/>
                <a:gd name="connsiteY115" fmla="*/ 41053 h 627602"/>
                <a:gd name="connsiteX116" fmla="*/ 583787 w 887920"/>
                <a:gd name="connsiteY116" fmla="*/ 47339 h 627602"/>
                <a:gd name="connsiteX117" fmla="*/ 577691 w 887920"/>
                <a:gd name="connsiteY117" fmla="*/ 49720 h 627602"/>
                <a:gd name="connsiteX118" fmla="*/ 569024 w 887920"/>
                <a:gd name="connsiteY118" fmla="*/ 44387 h 627602"/>
                <a:gd name="connsiteX119" fmla="*/ 565595 w 887920"/>
                <a:gd name="connsiteY119" fmla="*/ 43244 h 627602"/>
                <a:gd name="connsiteX120" fmla="*/ 568547 w 887920"/>
                <a:gd name="connsiteY120" fmla="*/ 41243 h 627602"/>
                <a:gd name="connsiteX121" fmla="*/ 569309 w 887920"/>
                <a:gd name="connsiteY121" fmla="*/ 34766 h 627602"/>
                <a:gd name="connsiteX122" fmla="*/ 568928 w 887920"/>
                <a:gd name="connsiteY122" fmla="*/ 31623 h 627602"/>
                <a:gd name="connsiteX123" fmla="*/ 568547 w 887920"/>
                <a:gd name="connsiteY123" fmla="*/ 15621 h 627602"/>
                <a:gd name="connsiteX124" fmla="*/ 565499 w 887920"/>
                <a:gd name="connsiteY124" fmla="*/ 4763 h 627602"/>
                <a:gd name="connsiteX125" fmla="*/ 553498 w 887920"/>
                <a:gd name="connsiteY125" fmla="*/ 11144 h 627602"/>
                <a:gd name="connsiteX126" fmla="*/ 545592 w 887920"/>
                <a:gd name="connsiteY126" fmla="*/ 12097 h 627602"/>
                <a:gd name="connsiteX127" fmla="*/ 544830 w 887920"/>
                <a:gd name="connsiteY127" fmla="*/ 18669 h 627602"/>
                <a:gd name="connsiteX128" fmla="*/ 539591 w 887920"/>
                <a:gd name="connsiteY128" fmla="*/ 27337 h 627602"/>
                <a:gd name="connsiteX129" fmla="*/ 538734 w 887920"/>
                <a:gd name="connsiteY129" fmla="*/ 33814 h 627602"/>
                <a:gd name="connsiteX130" fmla="*/ 542163 w 887920"/>
                <a:gd name="connsiteY130" fmla="*/ 35052 h 627602"/>
                <a:gd name="connsiteX131" fmla="*/ 545687 w 887920"/>
                <a:gd name="connsiteY131" fmla="*/ 37814 h 627602"/>
                <a:gd name="connsiteX132" fmla="*/ 540734 w 887920"/>
                <a:gd name="connsiteY132" fmla="*/ 36767 h 627602"/>
                <a:gd name="connsiteX133" fmla="*/ 536258 w 887920"/>
                <a:gd name="connsiteY133" fmla="*/ 38957 h 627602"/>
                <a:gd name="connsiteX134" fmla="*/ 530924 w 887920"/>
                <a:gd name="connsiteY134" fmla="*/ 34862 h 627602"/>
                <a:gd name="connsiteX135" fmla="*/ 524542 w 887920"/>
                <a:gd name="connsiteY135" fmla="*/ 35624 h 627602"/>
                <a:gd name="connsiteX136" fmla="*/ 519875 w 887920"/>
                <a:gd name="connsiteY136" fmla="*/ 36290 h 627602"/>
                <a:gd name="connsiteX137" fmla="*/ 515684 w 887920"/>
                <a:gd name="connsiteY137" fmla="*/ 28766 h 627602"/>
                <a:gd name="connsiteX138" fmla="*/ 515112 w 887920"/>
                <a:gd name="connsiteY138" fmla="*/ 24003 h 627602"/>
                <a:gd name="connsiteX139" fmla="*/ 522161 w 887920"/>
                <a:gd name="connsiteY139" fmla="*/ 16669 h 627602"/>
                <a:gd name="connsiteX140" fmla="*/ 518351 w 887920"/>
                <a:gd name="connsiteY140" fmla="*/ 12383 h 627602"/>
                <a:gd name="connsiteX141" fmla="*/ 505397 w 887920"/>
                <a:gd name="connsiteY141" fmla="*/ 10859 h 627602"/>
                <a:gd name="connsiteX142" fmla="*/ 500634 w 887920"/>
                <a:gd name="connsiteY142" fmla="*/ 11430 h 627602"/>
                <a:gd name="connsiteX143" fmla="*/ 500063 w 887920"/>
                <a:gd name="connsiteY143" fmla="*/ 6668 h 627602"/>
                <a:gd name="connsiteX144" fmla="*/ 495110 w 887920"/>
                <a:gd name="connsiteY144" fmla="*/ 5715 h 627602"/>
                <a:gd name="connsiteX145" fmla="*/ 494729 w 887920"/>
                <a:gd name="connsiteY145" fmla="*/ 2572 h 627602"/>
                <a:gd name="connsiteX146" fmla="*/ 489585 w 887920"/>
                <a:gd name="connsiteY146" fmla="*/ 0 h 627602"/>
                <a:gd name="connsiteX147" fmla="*/ 487966 w 887920"/>
                <a:gd name="connsiteY147" fmla="*/ 190 h 627602"/>
                <a:gd name="connsiteX148" fmla="*/ 487775 w 887920"/>
                <a:gd name="connsiteY148" fmla="*/ 11430 h 627602"/>
                <a:gd name="connsiteX149" fmla="*/ 481679 w 887920"/>
                <a:gd name="connsiteY149" fmla="*/ 13811 h 627602"/>
                <a:gd name="connsiteX150" fmla="*/ 471869 w 887920"/>
                <a:gd name="connsiteY150" fmla="*/ 11906 h 627602"/>
                <a:gd name="connsiteX151" fmla="*/ 471392 w 887920"/>
                <a:gd name="connsiteY151" fmla="*/ 8763 h 627602"/>
                <a:gd name="connsiteX152" fmla="*/ 471202 w 887920"/>
                <a:gd name="connsiteY152" fmla="*/ 7144 h 627602"/>
                <a:gd name="connsiteX153" fmla="*/ 470630 w 887920"/>
                <a:gd name="connsiteY153" fmla="*/ 2477 h 627602"/>
                <a:gd name="connsiteX154" fmla="*/ 463868 w 887920"/>
                <a:gd name="connsiteY154" fmla="*/ 95 h 627602"/>
                <a:gd name="connsiteX155" fmla="*/ 459200 w 887920"/>
                <a:gd name="connsiteY155" fmla="*/ 667 h 627602"/>
                <a:gd name="connsiteX156" fmla="*/ 458438 w 887920"/>
                <a:gd name="connsiteY156" fmla="*/ 7239 h 627602"/>
                <a:gd name="connsiteX157" fmla="*/ 455200 w 887920"/>
                <a:gd name="connsiteY157" fmla="*/ 7620 h 627602"/>
                <a:gd name="connsiteX158" fmla="*/ 449485 w 887920"/>
                <a:gd name="connsiteY158" fmla="*/ 13145 h 627602"/>
                <a:gd name="connsiteX159" fmla="*/ 445008 w 887920"/>
                <a:gd name="connsiteY159" fmla="*/ 15335 h 627602"/>
                <a:gd name="connsiteX160" fmla="*/ 438436 w 887920"/>
                <a:gd name="connsiteY160" fmla="*/ 14573 h 627602"/>
                <a:gd name="connsiteX161" fmla="*/ 435959 w 887920"/>
                <a:gd name="connsiteY161" fmla="*/ 19717 h 627602"/>
                <a:gd name="connsiteX162" fmla="*/ 426911 w 887920"/>
                <a:gd name="connsiteY162" fmla="*/ 36862 h 627602"/>
                <a:gd name="connsiteX163" fmla="*/ 432245 w 887920"/>
                <a:gd name="connsiteY163" fmla="*/ 40958 h 627602"/>
                <a:gd name="connsiteX164" fmla="*/ 440150 w 887920"/>
                <a:gd name="connsiteY164" fmla="*/ 52864 h 627602"/>
                <a:gd name="connsiteX165" fmla="*/ 444246 w 887920"/>
                <a:gd name="connsiteY165" fmla="*/ 47435 h 627602"/>
                <a:gd name="connsiteX166" fmla="*/ 451771 w 887920"/>
                <a:gd name="connsiteY166" fmla="*/ 43339 h 627602"/>
                <a:gd name="connsiteX167" fmla="*/ 453581 w 887920"/>
                <a:gd name="connsiteY167" fmla="*/ 44672 h 627602"/>
                <a:gd name="connsiteX168" fmla="*/ 458534 w 887920"/>
                <a:gd name="connsiteY168" fmla="*/ 58484 h 627602"/>
                <a:gd name="connsiteX169" fmla="*/ 462725 w 887920"/>
                <a:gd name="connsiteY169" fmla="*/ 66008 h 627602"/>
                <a:gd name="connsiteX170" fmla="*/ 460915 w 887920"/>
                <a:gd name="connsiteY170" fmla="*/ 64580 h 627602"/>
                <a:gd name="connsiteX171" fmla="*/ 455200 w 887920"/>
                <a:gd name="connsiteY171" fmla="*/ 70104 h 627602"/>
                <a:gd name="connsiteX172" fmla="*/ 458534 w 887920"/>
                <a:gd name="connsiteY172" fmla="*/ 84106 h 627602"/>
                <a:gd name="connsiteX173" fmla="*/ 456248 w 887920"/>
                <a:gd name="connsiteY173" fmla="*/ 90869 h 627602"/>
                <a:gd name="connsiteX174" fmla="*/ 458248 w 887920"/>
                <a:gd name="connsiteY174" fmla="*/ 93821 h 627602"/>
                <a:gd name="connsiteX175" fmla="*/ 448723 w 887920"/>
                <a:gd name="connsiteY175" fmla="*/ 107823 h 627602"/>
                <a:gd name="connsiteX176" fmla="*/ 445770 w 887920"/>
                <a:gd name="connsiteY176" fmla="*/ 109823 h 627602"/>
                <a:gd name="connsiteX177" fmla="*/ 441674 w 887920"/>
                <a:gd name="connsiteY177" fmla="*/ 115157 h 627602"/>
                <a:gd name="connsiteX178" fmla="*/ 444056 w 887920"/>
                <a:gd name="connsiteY178" fmla="*/ 121253 h 627602"/>
                <a:gd name="connsiteX179" fmla="*/ 448056 w 887920"/>
                <a:gd name="connsiteY179" fmla="*/ 127159 h 627602"/>
                <a:gd name="connsiteX180" fmla="*/ 448818 w 887920"/>
                <a:gd name="connsiteY180" fmla="*/ 133541 h 627602"/>
                <a:gd name="connsiteX181" fmla="*/ 453581 w 887920"/>
                <a:gd name="connsiteY181" fmla="*/ 132874 h 627602"/>
                <a:gd name="connsiteX182" fmla="*/ 446437 w 887920"/>
                <a:gd name="connsiteY182" fmla="*/ 140208 h 627602"/>
                <a:gd name="connsiteX183" fmla="*/ 447294 w 887920"/>
                <a:gd name="connsiteY183" fmla="*/ 146495 h 627602"/>
                <a:gd name="connsiteX184" fmla="*/ 444532 w 887920"/>
                <a:gd name="connsiteY184" fmla="*/ 150114 h 627602"/>
                <a:gd name="connsiteX185" fmla="*/ 448056 w 887920"/>
                <a:gd name="connsiteY185" fmla="*/ 152876 h 627602"/>
                <a:gd name="connsiteX186" fmla="*/ 450056 w 887920"/>
                <a:gd name="connsiteY186" fmla="*/ 168593 h 627602"/>
                <a:gd name="connsiteX187" fmla="*/ 451104 w 887920"/>
                <a:gd name="connsiteY187" fmla="*/ 176498 h 627602"/>
                <a:gd name="connsiteX188" fmla="*/ 447961 w 887920"/>
                <a:gd name="connsiteY188" fmla="*/ 176879 h 627602"/>
                <a:gd name="connsiteX189" fmla="*/ 433578 w 887920"/>
                <a:gd name="connsiteY189" fmla="*/ 177165 h 627602"/>
                <a:gd name="connsiteX190" fmla="*/ 429387 w 887920"/>
                <a:gd name="connsiteY190" fmla="*/ 182499 h 627602"/>
                <a:gd name="connsiteX191" fmla="*/ 421481 w 887920"/>
                <a:gd name="connsiteY191" fmla="*/ 183452 h 627602"/>
                <a:gd name="connsiteX192" fmla="*/ 413195 w 887920"/>
                <a:gd name="connsiteY192" fmla="*/ 181356 h 627602"/>
                <a:gd name="connsiteX193" fmla="*/ 407670 w 887920"/>
                <a:gd name="connsiteY193" fmla="*/ 175641 h 627602"/>
                <a:gd name="connsiteX194" fmla="*/ 381000 w 887920"/>
                <a:gd name="connsiteY194" fmla="*/ 167831 h 627602"/>
                <a:gd name="connsiteX195" fmla="*/ 379095 w 887920"/>
                <a:gd name="connsiteY195" fmla="*/ 177641 h 627602"/>
                <a:gd name="connsiteX196" fmla="*/ 363093 w 887920"/>
                <a:gd name="connsiteY196" fmla="*/ 165259 h 627602"/>
                <a:gd name="connsiteX197" fmla="*/ 356711 w 887920"/>
                <a:gd name="connsiteY197" fmla="*/ 166116 h 627602"/>
                <a:gd name="connsiteX198" fmla="*/ 356140 w 887920"/>
                <a:gd name="connsiteY198" fmla="*/ 174212 h 627602"/>
                <a:gd name="connsiteX199" fmla="*/ 349853 w 887920"/>
                <a:gd name="connsiteY199" fmla="*/ 174974 h 627602"/>
                <a:gd name="connsiteX200" fmla="*/ 344900 w 887920"/>
                <a:gd name="connsiteY200" fmla="*/ 174022 h 627602"/>
                <a:gd name="connsiteX201" fmla="*/ 340233 w 887920"/>
                <a:gd name="connsiteY201" fmla="*/ 174593 h 627602"/>
                <a:gd name="connsiteX202" fmla="*/ 333280 w 887920"/>
                <a:gd name="connsiteY202" fmla="*/ 170688 h 627602"/>
                <a:gd name="connsiteX203" fmla="*/ 328803 w 887920"/>
                <a:gd name="connsiteY203" fmla="*/ 172879 h 627602"/>
                <a:gd name="connsiteX204" fmla="*/ 329184 w 887920"/>
                <a:gd name="connsiteY204" fmla="*/ 176022 h 627602"/>
                <a:gd name="connsiteX205" fmla="*/ 325660 w 887920"/>
                <a:gd name="connsiteY205" fmla="*/ 186119 h 627602"/>
                <a:gd name="connsiteX206" fmla="*/ 320326 w 887920"/>
                <a:gd name="connsiteY206" fmla="*/ 194786 h 627602"/>
                <a:gd name="connsiteX207" fmla="*/ 314420 w 887920"/>
                <a:gd name="connsiteY207" fmla="*/ 211550 h 627602"/>
                <a:gd name="connsiteX208" fmla="*/ 312896 w 887920"/>
                <a:gd name="connsiteY208" fmla="*/ 224600 h 627602"/>
                <a:gd name="connsiteX209" fmla="*/ 307181 w 887920"/>
                <a:gd name="connsiteY209" fmla="*/ 230124 h 627602"/>
                <a:gd name="connsiteX210" fmla="*/ 308324 w 887920"/>
                <a:gd name="connsiteY210" fmla="*/ 226790 h 627602"/>
                <a:gd name="connsiteX211" fmla="*/ 306610 w 887920"/>
                <a:gd name="connsiteY211" fmla="*/ 225362 h 627602"/>
                <a:gd name="connsiteX212" fmla="*/ 297752 w 887920"/>
                <a:gd name="connsiteY212" fmla="*/ 231362 h 627602"/>
                <a:gd name="connsiteX213" fmla="*/ 289655 w 887920"/>
                <a:gd name="connsiteY213" fmla="*/ 230791 h 627602"/>
                <a:gd name="connsiteX214" fmla="*/ 289179 w 887920"/>
                <a:gd name="connsiteY214" fmla="*/ 227648 h 627602"/>
                <a:gd name="connsiteX215" fmla="*/ 286036 w 887920"/>
                <a:gd name="connsiteY215" fmla="*/ 228029 h 627602"/>
                <a:gd name="connsiteX216" fmla="*/ 284131 w 887920"/>
                <a:gd name="connsiteY216" fmla="*/ 225076 h 627602"/>
                <a:gd name="connsiteX217" fmla="*/ 279178 w 887920"/>
                <a:gd name="connsiteY217" fmla="*/ 224123 h 627602"/>
                <a:gd name="connsiteX218" fmla="*/ 273844 w 887920"/>
                <a:gd name="connsiteY218" fmla="*/ 219932 h 627602"/>
                <a:gd name="connsiteX219" fmla="*/ 268891 w 887920"/>
                <a:gd name="connsiteY219" fmla="*/ 218980 h 627602"/>
                <a:gd name="connsiteX220" fmla="*/ 266319 w 887920"/>
                <a:gd name="connsiteY220" fmla="*/ 224123 h 627602"/>
                <a:gd name="connsiteX221" fmla="*/ 258604 w 887920"/>
                <a:gd name="connsiteY221" fmla="*/ 226695 h 627602"/>
                <a:gd name="connsiteX222" fmla="*/ 255270 w 887920"/>
                <a:gd name="connsiteY222" fmla="*/ 225552 h 627602"/>
                <a:gd name="connsiteX223" fmla="*/ 255080 w 887920"/>
                <a:gd name="connsiteY223" fmla="*/ 223933 h 627602"/>
                <a:gd name="connsiteX224" fmla="*/ 257270 w 887920"/>
                <a:gd name="connsiteY224" fmla="*/ 215646 h 627602"/>
                <a:gd name="connsiteX225" fmla="*/ 249746 w 887920"/>
                <a:gd name="connsiteY225" fmla="*/ 206978 h 627602"/>
                <a:gd name="connsiteX226" fmla="*/ 237077 w 887920"/>
                <a:gd name="connsiteY226" fmla="*/ 208598 h 627602"/>
                <a:gd name="connsiteX227" fmla="*/ 231743 w 887920"/>
                <a:gd name="connsiteY227" fmla="*/ 204502 h 627602"/>
                <a:gd name="connsiteX228" fmla="*/ 217742 w 887920"/>
                <a:gd name="connsiteY228" fmla="*/ 194977 h 627602"/>
                <a:gd name="connsiteX229" fmla="*/ 208407 w 887920"/>
                <a:gd name="connsiteY229" fmla="*/ 197834 h 627602"/>
                <a:gd name="connsiteX230" fmla="*/ 196215 w 887920"/>
                <a:gd name="connsiteY230" fmla="*/ 189738 h 627602"/>
                <a:gd name="connsiteX231" fmla="*/ 187738 w 887920"/>
                <a:gd name="connsiteY231" fmla="*/ 186023 h 627602"/>
                <a:gd name="connsiteX232" fmla="*/ 180213 w 887920"/>
                <a:gd name="connsiteY232" fmla="*/ 202978 h 627602"/>
                <a:gd name="connsiteX233" fmla="*/ 177260 w 887920"/>
                <a:gd name="connsiteY233" fmla="*/ 204978 h 627602"/>
                <a:gd name="connsiteX234" fmla="*/ 172593 w 887920"/>
                <a:gd name="connsiteY234" fmla="*/ 205550 h 627602"/>
                <a:gd name="connsiteX235" fmla="*/ 168212 w 887920"/>
                <a:gd name="connsiteY235" fmla="*/ 209360 h 627602"/>
                <a:gd name="connsiteX236" fmla="*/ 153448 w 887920"/>
                <a:gd name="connsiteY236" fmla="*/ 206407 h 627602"/>
                <a:gd name="connsiteX237" fmla="*/ 152210 w 887920"/>
                <a:gd name="connsiteY237" fmla="*/ 209741 h 627602"/>
                <a:gd name="connsiteX238" fmla="*/ 154781 w 887920"/>
                <a:gd name="connsiteY238" fmla="*/ 217456 h 627602"/>
                <a:gd name="connsiteX239" fmla="*/ 150495 w 887920"/>
                <a:gd name="connsiteY239" fmla="*/ 221266 h 627602"/>
                <a:gd name="connsiteX240" fmla="*/ 151448 w 887920"/>
                <a:gd name="connsiteY240" fmla="*/ 229076 h 627602"/>
                <a:gd name="connsiteX241" fmla="*/ 148971 w 887920"/>
                <a:gd name="connsiteY241" fmla="*/ 234220 h 627602"/>
                <a:gd name="connsiteX242" fmla="*/ 150114 w 887920"/>
                <a:gd name="connsiteY242" fmla="*/ 243745 h 627602"/>
                <a:gd name="connsiteX243" fmla="*/ 148019 w 887920"/>
                <a:gd name="connsiteY243" fmla="*/ 252032 h 627602"/>
                <a:gd name="connsiteX244" fmla="*/ 140303 w 887920"/>
                <a:gd name="connsiteY244" fmla="*/ 254603 h 627602"/>
                <a:gd name="connsiteX245" fmla="*/ 135541 w 887920"/>
                <a:gd name="connsiteY245" fmla="*/ 255175 h 627602"/>
                <a:gd name="connsiteX246" fmla="*/ 135350 w 887920"/>
                <a:gd name="connsiteY246" fmla="*/ 253651 h 627602"/>
                <a:gd name="connsiteX247" fmla="*/ 134398 w 887920"/>
                <a:gd name="connsiteY247" fmla="*/ 258604 h 627602"/>
                <a:gd name="connsiteX248" fmla="*/ 130683 w 887920"/>
                <a:gd name="connsiteY248" fmla="*/ 254222 h 627602"/>
                <a:gd name="connsiteX249" fmla="*/ 124301 w 887920"/>
                <a:gd name="connsiteY249" fmla="*/ 255080 h 627602"/>
                <a:gd name="connsiteX250" fmla="*/ 122301 w 887920"/>
                <a:gd name="connsiteY250" fmla="*/ 252127 h 627602"/>
                <a:gd name="connsiteX251" fmla="*/ 114014 w 887920"/>
                <a:gd name="connsiteY251" fmla="*/ 249936 h 627602"/>
                <a:gd name="connsiteX252" fmla="*/ 111633 w 887920"/>
                <a:gd name="connsiteY252" fmla="*/ 243840 h 627602"/>
                <a:gd name="connsiteX253" fmla="*/ 102965 w 887920"/>
                <a:gd name="connsiteY253" fmla="*/ 238506 h 627602"/>
                <a:gd name="connsiteX254" fmla="*/ 99822 w 887920"/>
                <a:gd name="connsiteY254" fmla="*/ 238887 h 627602"/>
                <a:gd name="connsiteX255" fmla="*/ 98393 w 887920"/>
                <a:gd name="connsiteY255" fmla="*/ 240697 h 627602"/>
                <a:gd name="connsiteX256" fmla="*/ 96679 w 887920"/>
                <a:gd name="connsiteY256" fmla="*/ 239268 h 627602"/>
                <a:gd name="connsiteX257" fmla="*/ 92107 w 887920"/>
                <a:gd name="connsiteY257" fmla="*/ 241459 h 627602"/>
                <a:gd name="connsiteX258" fmla="*/ 94869 w 887920"/>
                <a:gd name="connsiteY258" fmla="*/ 237935 h 627602"/>
                <a:gd name="connsiteX259" fmla="*/ 95822 w 887920"/>
                <a:gd name="connsiteY259" fmla="*/ 232982 h 627602"/>
                <a:gd name="connsiteX260" fmla="*/ 92678 w 887920"/>
                <a:gd name="connsiteY260" fmla="*/ 233363 h 627602"/>
                <a:gd name="connsiteX261" fmla="*/ 90964 w 887920"/>
                <a:gd name="connsiteY261" fmla="*/ 232029 h 627602"/>
                <a:gd name="connsiteX262" fmla="*/ 83249 w 887920"/>
                <a:gd name="connsiteY262" fmla="*/ 234601 h 627602"/>
                <a:gd name="connsiteX263" fmla="*/ 79058 w 887920"/>
                <a:gd name="connsiteY263" fmla="*/ 239935 h 627602"/>
                <a:gd name="connsiteX264" fmla="*/ 73533 w 887920"/>
                <a:gd name="connsiteY264" fmla="*/ 234220 h 627602"/>
                <a:gd name="connsiteX265" fmla="*/ 67437 w 887920"/>
                <a:gd name="connsiteY265" fmla="*/ 236601 h 627602"/>
                <a:gd name="connsiteX266" fmla="*/ 71247 w 887920"/>
                <a:gd name="connsiteY266" fmla="*/ 240983 h 627602"/>
                <a:gd name="connsiteX267" fmla="*/ 69818 w 887920"/>
                <a:gd name="connsiteY267" fmla="*/ 242697 h 627602"/>
                <a:gd name="connsiteX268" fmla="*/ 73152 w 887920"/>
                <a:gd name="connsiteY268" fmla="*/ 243935 h 627602"/>
                <a:gd name="connsiteX269" fmla="*/ 74581 w 887920"/>
                <a:gd name="connsiteY269" fmla="*/ 242126 h 627602"/>
                <a:gd name="connsiteX270" fmla="*/ 77915 w 887920"/>
                <a:gd name="connsiteY270" fmla="*/ 243269 h 627602"/>
                <a:gd name="connsiteX271" fmla="*/ 78296 w 887920"/>
                <a:gd name="connsiteY271" fmla="*/ 246507 h 627602"/>
                <a:gd name="connsiteX272" fmla="*/ 74771 w 887920"/>
                <a:gd name="connsiteY272" fmla="*/ 243745 h 627602"/>
                <a:gd name="connsiteX273" fmla="*/ 72200 w 887920"/>
                <a:gd name="connsiteY273" fmla="*/ 248888 h 627602"/>
                <a:gd name="connsiteX274" fmla="*/ 74009 w 887920"/>
                <a:gd name="connsiteY274" fmla="*/ 250222 h 627602"/>
                <a:gd name="connsiteX275" fmla="*/ 73057 w 887920"/>
                <a:gd name="connsiteY275" fmla="*/ 255175 h 627602"/>
                <a:gd name="connsiteX276" fmla="*/ 74771 w 887920"/>
                <a:gd name="connsiteY276" fmla="*/ 256508 h 627602"/>
                <a:gd name="connsiteX277" fmla="*/ 76391 w 887920"/>
                <a:gd name="connsiteY277" fmla="*/ 256318 h 627602"/>
                <a:gd name="connsiteX278" fmla="*/ 78200 w 887920"/>
                <a:gd name="connsiteY278" fmla="*/ 257746 h 627602"/>
                <a:gd name="connsiteX279" fmla="*/ 78391 w 887920"/>
                <a:gd name="connsiteY279" fmla="*/ 259270 h 627602"/>
                <a:gd name="connsiteX280" fmla="*/ 78581 w 887920"/>
                <a:gd name="connsiteY280" fmla="*/ 260890 h 627602"/>
                <a:gd name="connsiteX281" fmla="*/ 72676 w 887920"/>
                <a:gd name="connsiteY281" fmla="*/ 264795 h 627602"/>
                <a:gd name="connsiteX282" fmla="*/ 71438 w 887920"/>
                <a:gd name="connsiteY282" fmla="*/ 268224 h 627602"/>
                <a:gd name="connsiteX283" fmla="*/ 77057 w 887920"/>
                <a:gd name="connsiteY283" fmla="*/ 273844 h 627602"/>
                <a:gd name="connsiteX284" fmla="*/ 71723 w 887920"/>
                <a:gd name="connsiteY284" fmla="*/ 282607 h 627602"/>
                <a:gd name="connsiteX285" fmla="*/ 66580 w 887920"/>
                <a:gd name="connsiteY285" fmla="*/ 280035 h 627602"/>
                <a:gd name="connsiteX286" fmla="*/ 61817 w 887920"/>
                <a:gd name="connsiteY286" fmla="*/ 280607 h 627602"/>
                <a:gd name="connsiteX287" fmla="*/ 62008 w 887920"/>
                <a:gd name="connsiteY287" fmla="*/ 282226 h 627602"/>
                <a:gd name="connsiteX288" fmla="*/ 56483 w 887920"/>
                <a:gd name="connsiteY288" fmla="*/ 289370 h 627602"/>
                <a:gd name="connsiteX289" fmla="*/ 54959 w 887920"/>
                <a:gd name="connsiteY289" fmla="*/ 302324 h 627602"/>
                <a:gd name="connsiteX290" fmla="*/ 54007 w 887920"/>
                <a:gd name="connsiteY290" fmla="*/ 307277 h 627602"/>
                <a:gd name="connsiteX291" fmla="*/ 51054 w 887920"/>
                <a:gd name="connsiteY291" fmla="*/ 309277 h 627602"/>
                <a:gd name="connsiteX292" fmla="*/ 50292 w 887920"/>
                <a:gd name="connsiteY292" fmla="*/ 315754 h 627602"/>
                <a:gd name="connsiteX293" fmla="*/ 59150 w 887920"/>
                <a:gd name="connsiteY293" fmla="*/ 322707 h 627602"/>
                <a:gd name="connsiteX294" fmla="*/ 56388 w 887920"/>
                <a:gd name="connsiteY294" fmla="*/ 326231 h 627602"/>
                <a:gd name="connsiteX295" fmla="*/ 50102 w 887920"/>
                <a:gd name="connsiteY295" fmla="*/ 326993 h 627602"/>
                <a:gd name="connsiteX296" fmla="*/ 48482 w 887920"/>
                <a:gd name="connsiteY296" fmla="*/ 327279 h 627602"/>
                <a:gd name="connsiteX297" fmla="*/ 49721 w 887920"/>
                <a:gd name="connsiteY297" fmla="*/ 323850 h 627602"/>
                <a:gd name="connsiteX298" fmla="*/ 47339 w 887920"/>
                <a:gd name="connsiteY298" fmla="*/ 317754 h 627602"/>
                <a:gd name="connsiteX299" fmla="*/ 44768 w 887920"/>
                <a:gd name="connsiteY299" fmla="*/ 322898 h 627602"/>
                <a:gd name="connsiteX300" fmla="*/ 44958 w 887920"/>
                <a:gd name="connsiteY300" fmla="*/ 324517 h 627602"/>
                <a:gd name="connsiteX301" fmla="*/ 41243 w 887920"/>
                <a:gd name="connsiteY301" fmla="*/ 332994 h 627602"/>
                <a:gd name="connsiteX302" fmla="*/ 32195 w 887920"/>
                <a:gd name="connsiteY302" fmla="*/ 337376 h 627602"/>
                <a:gd name="connsiteX303" fmla="*/ 22860 w 887920"/>
                <a:gd name="connsiteY303" fmla="*/ 340138 h 627602"/>
                <a:gd name="connsiteX304" fmla="*/ 18955 w 887920"/>
                <a:gd name="connsiteY304" fmla="*/ 346996 h 627602"/>
                <a:gd name="connsiteX305" fmla="*/ 19812 w 887920"/>
                <a:gd name="connsiteY305" fmla="*/ 353378 h 627602"/>
                <a:gd name="connsiteX306" fmla="*/ 15621 w 887920"/>
                <a:gd name="connsiteY306" fmla="*/ 358712 h 627602"/>
                <a:gd name="connsiteX307" fmla="*/ 15050 w 887920"/>
                <a:gd name="connsiteY307" fmla="*/ 366808 h 627602"/>
                <a:gd name="connsiteX308" fmla="*/ 22003 w 887920"/>
                <a:gd name="connsiteY308" fmla="*/ 370713 h 627602"/>
                <a:gd name="connsiteX309" fmla="*/ 22574 w 887920"/>
                <a:gd name="connsiteY309" fmla="*/ 375476 h 627602"/>
                <a:gd name="connsiteX310" fmla="*/ 8192 w 887920"/>
                <a:gd name="connsiteY310" fmla="*/ 388525 h 627602"/>
                <a:gd name="connsiteX311" fmla="*/ 6477 w 887920"/>
                <a:gd name="connsiteY311" fmla="*/ 387096 h 627602"/>
                <a:gd name="connsiteX312" fmla="*/ 191 w 887920"/>
                <a:gd name="connsiteY312" fmla="*/ 400717 h 627602"/>
                <a:gd name="connsiteX313" fmla="*/ 0 w 887920"/>
                <a:gd name="connsiteY313" fmla="*/ 412052 h 627602"/>
                <a:gd name="connsiteX314" fmla="*/ 4953 w 887920"/>
                <a:gd name="connsiteY314" fmla="*/ 413004 h 627602"/>
                <a:gd name="connsiteX315" fmla="*/ 9620 w 887920"/>
                <a:gd name="connsiteY315" fmla="*/ 412337 h 627602"/>
                <a:gd name="connsiteX316" fmla="*/ 11240 w 887920"/>
                <a:gd name="connsiteY316" fmla="*/ 412147 h 627602"/>
                <a:gd name="connsiteX317" fmla="*/ 10478 w 887920"/>
                <a:gd name="connsiteY317" fmla="*/ 418719 h 627602"/>
                <a:gd name="connsiteX318" fmla="*/ 10859 w 887920"/>
                <a:gd name="connsiteY318" fmla="*/ 421862 h 627602"/>
                <a:gd name="connsiteX319" fmla="*/ 11049 w 887920"/>
                <a:gd name="connsiteY319" fmla="*/ 423386 h 627602"/>
                <a:gd name="connsiteX320" fmla="*/ 13811 w 887920"/>
                <a:gd name="connsiteY320" fmla="*/ 432721 h 627602"/>
                <a:gd name="connsiteX321" fmla="*/ 14288 w 887920"/>
                <a:gd name="connsiteY321" fmla="*/ 435864 h 627602"/>
                <a:gd name="connsiteX322" fmla="*/ 10763 w 887920"/>
                <a:gd name="connsiteY322" fmla="*/ 445961 h 627602"/>
                <a:gd name="connsiteX323" fmla="*/ 17812 w 887920"/>
                <a:gd name="connsiteY323" fmla="*/ 451390 h 627602"/>
                <a:gd name="connsiteX324" fmla="*/ 16478 w 887920"/>
                <a:gd name="connsiteY324" fmla="*/ 453200 h 627602"/>
                <a:gd name="connsiteX325" fmla="*/ 16859 w 887920"/>
                <a:gd name="connsiteY325" fmla="*/ 456343 h 627602"/>
                <a:gd name="connsiteX326" fmla="*/ 24003 w 887920"/>
                <a:gd name="connsiteY326" fmla="*/ 461867 h 627602"/>
                <a:gd name="connsiteX327" fmla="*/ 26956 w 887920"/>
                <a:gd name="connsiteY327" fmla="*/ 472726 h 627602"/>
                <a:gd name="connsiteX328" fmla="*/ 24384 w 887920"/>
                <a:gd name="connsiteY328" fmla="*/ 477869 h 627602"/>
                <a:gd name="connsiteX329" fmla="*/ 29337 w 887920"/>
                <a:gd name="connsiteY329" fmla="*/ 478822 h 627602"/>
                <a:gd name="connsiteX330" fmla="*/ 33338 w 887920"/>
                <a:gd name="connsiteY330" fmla="*/ 484727 h 627602"/>
                <a:gd name="connsiteX331" fmla="*/ 32099 w 887920"/>
                <a:gd name="connsiteY331" fmla="*/ 488061 h 627602"/>
                <a:gd name="connsiteX332" fmla="*/ 42196 w 887920"/>
                <a:gd name="connsiteY332" fmla="*/ 491585 h 627602"/>
                <a:gd name="connsiteX333" fmla="*/ 41434 w 887920"/>
                <a:gd name="connsiteY333" fmla="*/ 498158 h 627602"/>
                <a:gd name="connsiteX334" fmla="*/ 43053 w 887920"/>
                <a:gd name="connsiteY334" fmla="*/ 497967 h 627602"/>
                <a:gd name="connsiteX335" fmla="*/ 41624 w 887920"/>
                <a:gd name="connsiteY335" fmla="*/ 499682 h 627602"/>
                <a:gd name="connsiteX336" fmla="*/ 44768 w 887920"/>
                <a:gd name="connsiteY336" fmla="*/ 499301 h 627602"/>
                <a:gd name="connsiteX337" fmla="*/ 46006 w 887920"/>
                <a:gd name="connsiteY337" fmla="*/ 508826 h 627602"/>
                <a:gd name="connsiteX338" fmla="*/ 47625 w 887920"/>
                <a:gd name="connsiteY338" fmla="*/ 508540 h 627602"/>
                <a:gd name="connsiteX339" fmla="*/ 48006 w 887920"/>
                <a:gd name="connsiteY339" fmla="*/ 511778 h 627602"/>
                <a:gd name="connsiteX340" fmla="*/ 50006 w 887920"/>
                <a:gd name="connsiteY340" fmla="*/ 514731 h 627602"/>
                <a:gd name="connsiteX341" fmla="*/ 51149 w 887920"/>
                <a:gd name="connsiteY341" fmla="*/ 524161 h 627602"/>
                <a:gd name="connsiteX342" fmla="*/ 50006 w 887920"/>
                <a:gd name="connsiteY342" fmla="*/ 527495 h 627602"/>
                <a:gd name="connsiteX343" fmla="*/ 56864 w 887920"/>
                <a:gd name="connsiteY343" fmla="*/ 531400 h 627602"/>
                <a:gd name="connsiteX344" fmla="*/ 59531 w 887920"/>
                <a:gd name="connsiteY344" fmla="*/ 539115 h 627602"/>
                <a:gd name="connsiteX345" fmla="*/ 61055 w 887920"/>
                <a:gd name="connsiteY345" fmla="*/ 538925 h 627602"/>
                <a:gd name="connsiteX346" fmla="*/ 59722 w 887920"/>
                <a:gd name="connsiteY346" fmla="*/ 540734 h 627602"/>
                <a:gd name="connsiteX347" fmla="*/ 62865 w 887920"/>
                <a:gd name="connsiteY347" fmla="*/ 540353 h 627602"/>
                <a:gd name="connsiteX348" fmla="*/ 61627 w 887920"/>
                <a:gd name="connsiteY348" fmla="*/ 543687 h 627602"/>
                <a:gd name="connsiteX349" fmla="*/ 63437 w 887920"/>
                <a:gd name="connsiteY349" fmla="*/ 545021 h 627602"/>
                <a:gd name="connsiteX350" fmla="*/ 62103 w 887920"/>
                <a:gd name="connsiteY350" fmla="*/ 546830 h 627602"/>
                <a:gd name="connsiteX351" fmla="*/ 63627 w 887920"/>
                <a:gd name="connsiteY351" fmla="*/ 546640 h 627602"/>
                <a:gd name="connsiteX352" fmla="*/ 65246 w 887920"/>
                <a:gd name="connsiteY352" fmla="*/ 546449 h 627602"/>
                <a:gd name="connsiteX353" fmla="*/ 65437 w 887920"/>
                <a:gd name="connsiteY353" fmla="*/ 547973 h 627602"/>
                <a:gd name="connsiteX354" fmla="*/ 64484 w 887920"/>
                <a:gd name="connsiteY354" fmla="*/ 552926 h 627602"/>
                <a:gd name="connsiteX355" fmla="*/ 66389 w 887920"/>
                <a:gd name="connsiteY355" fmla="*/ 555879 h 627602"/>
                <a:gd name="connsiteX356" fmla="*/ 67818 w 887920"/>
                <a:gd name="connsiteY356" fmla="*/ 554069 h 627602"/>
                <a:gd name="connsiteX357" fmla="*/ 67056 w 887920"/>
                <a:gd name="connsiteY357" fmla="*/ 560642 h 627602"/>
                <a:gd name="connsiteX358" fmla="*/ 75343 w 887920"/>
                <a:gd name="connsiteY358" fmla="*/ 562737 h 627602"/>
                <a:gd name="connsiteX359" fmla="*/ 76676 w 887920"/>
                <a:gd name="connsiteY359" fmla="*/ 561023 h 627602"/>
                <a:gd name="connsiteX360" fmla="*/ 76867 w 887920"/>
                <a:gd name="connsiteY360" fmla="*/ 562547 h 627602"/>
                <a:gd name="connsiteX361" fmla="*/ 76867 w 887920"/>
                <a:gd name="connsiteY361" fmla="*/ 562547 h 627602"/>
                <a:gd name="connsiteX362" fmla="*/ 78677 w 887920"/>
                <a:gd name="connsiteY362" fmla="*/ 563975 h 627602"/>
                <a:gd name="connsiteX363" fmla="*/ 78486 w 887920"/>
                <a:gd name="connsiteY363" fmla="*/ 562356 h 627602"/>
                <a:gd name="connsiteX364" fmla="*/ 83439 w 887920"/>
                <a:gd name="connsiteY364" fmla="*/ 563309 h 627602"/>
                <a:gd name="connsiteX365" fmla="*/ 86582 w 887920"/>
                <a:gd name="connsiteY365" fmla="*/ 562928 h 627602"/>
                <a:gd name="connsiteX366" fmla="*/ 86773 w 887920"/>
                <a:gd name="connsiteY366" fmla="*/ 564547 h 627602"/>
                <a:gd name="connsiteX367" fmla="*/ 85439 w 887920"/>
                <a:gd name="connsiteY367" fmla="*/ 566261 h 627602"/>
                <a:gd name="connsiteX368" fmla="*/ 90297 w 887920"/>
                <a:gd name="connsiteY368" fmla="*/ 567309 h 627602"/>
                <a:gd name="connsiteX369" fmla="*/ 89726 w 887920"/>
                <a:gd name="connsiteY369" fmla="*/ 575405 h 627602"/>
                <a:gd name="connsiteX370" fmla="*/ 93155 w 887920"/>
                <a:gd name="connsiteY370" fmla="*/ 576548 h 627602"/>
                <a:gd name="connsiteX371" fmla="*/ 95345 w 887920"/>
                <a:gd name="connsiteY371" fmla="*/ 581120 h 627602"/>
                <a:gd name="connsiteX372" fmla="*/ 97917 w 887920"/>
                <a:gd name="connsiteY372" fmla="*/ 588740 h 627602"/>
                <a:gd name="connsiteX373" fmla="*/ 99441 w 887920"/>
                <a:gd name="connsiteY373" fmla="*/ 588550 h 627602"/>
                <a:gd name="connsiteX374" fmla="*/ 98679 w 887920"/>
                <a:gd name="connsiteY374" fmla="*/ 595122 h 627602"/>
                <a:gd name="connsiteX375" fmla="*/ 105251 w 887920"/>
                <a:gd name="connsiteY375" fmla="*/ 595884 h 627602"/>
                <a:gd name="connsiteX376" fmla="*/ 103823 w 887920"/>
                <a:gd name="connsiteY376" fmla="*/ 597599 h 627602"/>
                <a:gd name="connsiteX377" fmla="*/ 107633 w 887920"/>
                <a:gd name="connsiteY377" fmla="*/ 601980 h 627602"/>
                <a:gd name="connsiteX378" fmla="*/ 109919 w 887920"/>
                <a:gd name="connsiteY378" fmla="*/ 595217 h 627602"/>
                <a:gd name="connsiteX379" fmla="*/ 108204 w 887920"/>
                <a:gd name="connsiteY379" fmla="*/ 593884 h 627602"/>
                <a:gd name="connsiteX380" fmla="*/ 113252 w 887920"/>
                <a:gd name="connsiteY380" fmla="*/ 583597 h 627602"/>
                <a:gd name="connsiteX381" fmla="*/ 124301 w 887920"/>
                <a:gd name="connsiteY381" fmla="*/ 582168 h 627602"/>
                <a:gd name="connsiteX382" fmla="*/ 121349 w 887920"/>
                <a:gd name="connsiteY382" fmla="*/ 584168 h 627602"/>
                <a:gd name="connsiteX383" fmla="*/ 125159 w 887920"/>
                <a:gd name="connsiteY383" fmla="*/ 588550 h 627602"/>
                <a:gd name="connsiteX384" fmla="*/ 127730 w 887920"/>
                <a:gd name="connsiteY384" fmla="*/ 596170 h 627602"/>
                <a:gd name="connsiteX385" fmla="*/ 129445 w 887920"/>
                <a:gd name="connsiteY385" fmla="*/ 597599 h 627602"/>
                <a:gd name="connsiteX386" fmla="*/ 137732 w 887920"/>
                <a:gd name="connsiteY386" fmla="*/ 599694 h 627602"/>
                <a:gd name="connsiteX387" fmla="*/ 142494 w 887920"/>
                <a:gd name="connsiteY387" fmla="*/ 599123 h 627602"/>
                <a:gd name="connsiteX388" fmla="*/ 145256 w 887920"/>
                <a:gd name="connsiteY388" fmla="*/ 595598 h 627602"/>
                <a:gd name="connsiteX389" fmla="*/ 139732 w 887920"/>
                <a:gd name="connsiteY389" fmla="*/ 589883 h 627602"/>
                <a:gd name="connsiteX390" fmla="*/ 139541 w 887920"/>
                <a:gd name="connsiteY390" fmla="*/ 588264 h 627602"/>
                <a:gd name="connsiteX391" fmla="*/ 149162 w 887920"/>
                <a:gd name="connsiteY391" fmla="*/ 588645 h 627602"/>
                <a:gd name="connsiteX392" fmla="*/ 150590 w 887920"/>
                <a:gd name="connsiteY392" fmla="*/ 586835 h 627602"/>
                <a:gd name="connsiteX393" fmla="*/ 153162 w 887920"/>
                <a:gd name="connsiteY393" fmla="*/ 581692 h 627602"/>
                <a:gd name="connsiteX394" fmla="*/ 159639 w 887920"/>
                <a:gd name="connsiteY394" fmla="*/ 582549 h 627602"/>
                <a:gd name="connsiteX395" fmla="*/ 161258 w 887920"/>
                <a:gd name="connsiteY395" fmla="*/ 582263 h 627602"/>
                <a:gd name="connsiteX396" fmla="*/ 161449 w 887920"/>
                <a:gd name="connsiteY396" fmla="*/ 583883 h 627602"/>
                <a:gd name="connsiteX397" fmla="*/ 160020 w 887920"/>
                <a:gd name="connsiteY397" fmla="*/ 585692 h 627602"/>
                <a:gd name="connsiteX398" fmla="*/ 160687 w 887920"/>
                <a:gd name="connsiteY398" fmla="*/ 590360 h 627602"/>
                <a:gd name="connsiteX399" fmla="*/ 159258 w 887920"/>
                <a:gd name="connsiteY399" fmla="*/ 592169 h 627602"/>
                <a:gd name="connsiteX400" fmla="*/ 164783 w 887920"/>
                <a:gd name="connsiteY400" fmla="*/ 597884 h 627602"/>
                <a:gd name="connsiteX401" fmla="*/ 163068 w 887920"/>
                <a:gd name="connsiteY401" fmla="*/ 596551 h 627602"/>
                <a:gd name="connsiteX402" fmla="*/ 160306 w 887920"/>
                <a:gd name="connsiteY402" fmla="*/ 600075 h 627602"/>
                <a:gd name="connsiteX403" fmla="*/ 159258 w 887920"/>
                <a:gd name="connsiteY403" fmla="*/ 605028 h 627602"/>
                <a:gd name="connsiteX404" fmla="*/ 161068 w 887920"/>
                <a:gd name="connsiteY404" fmla="*/ 606362 h 627602"/>
                <a:gd name="connsiteX405" fmla="*/ 162497 w 887920"/>
                <a:gd name="connsiteY405" fmla="*/ 617411 h 627602"/>
                <a:gd name="connsiteX406" fmla="*/ 168021 w 887920"/>
                <a:gd name="connsiteY406" fmla="*/ 623126 h 627602"/>
                <a:gd name="connsiteX407" fmla="*/ 169640 w 887920"/>
                <a:gd name="connsiteY407" fmla="*/ 622935 h 627602"/>
                <a:gd name="connsiteX408" fmla="*/ 170593 w 887920"/>
                <a:gd name="connsiteY408" fmla="*/ 617982 h 627602"/>
                <a:gd name="connsiteX409" fmla="*/ 172593 w 887920"/>
                <a:gd name="connsiteY409" fmla="*/ 620935 h 627602"/>
                <a:gd name="connsiteX410" fmla="*/ 173927 w 887920"/>
                <a:gd name="connsiteY410" fmla="*/ 619220 h 627602"/>
                <a:gd name="connsiteX411" fmla="*/ 174117 w 887920"/>
                <a:gd name="connsiteY411" fmla="*/ 620744 h 627602"/>
                <a:gd name="connsiteX412" fmla="*/ 177260 w 887920"/>
                <a:gd name="connsiteY412" fmla="*/ 620363 h 627602"/>
                <a:gd name="connsiteX413" fmla="*/ 175927 w 887920"/>
                <a:gd name="connsiteY413" fmla="*/ 622173 h 627602"/>
                <a:gd name="connsiteX414" fmla="*/ 175927 w 887920"/>
                <a:gd name="connsiteY414" fmla="*/ 622173 h 627602"/>
                <a:gd name="connsiteX415" fmla="*/ 181070 w 887920"/>
                <a:gd name="connsiteY415" fmla="*/ 624650 h 627602"/>
                <a:gd name="connsiteX416" fmla="*/ 183071 w 887920"/>
                <a:gd name="connsiteY416" fmla="*/ 627602 h 627602"/>
                <a:gd name="connsiteX417" fmla="*/ 185738 w 887920"/>
                <a:gd name="connsiteY417" fmla="*/ 624078 h 627602"/>
                <a:gd name="connsiteX418" fmla="*/ 183642 w 887920"/>
                <a:gd name="connsiteY418" fmla="*/ 619506 h 627602"/>
                <a:gd name="connsiteX419" fmla="*/ 187738 w 887920"/>
                <a:gd name="connsiteY419" fmla="*/ 614172 h 627602"/>
                <a:gd name="connsiteX420" fmla="*/ 188119 w 887920"/>
                <a:gd name="connsiteY420" fmla="*/ 617411 h 627602"/>
                <a:gd name="connsiteX421" fmla="*/ 194691 w 887920"/>
                <a:gd name="connsiteY421" fmla="*/ 618173 h 627602"/>
                <a:gd name="connsiteX422" fmla="*/ 196215 w 887920"/>
                <a:gd name="connsiteY422" fmla="*/ 617982 h 627602"/>
                <a:gd name="connsiteX423" fmla="*/ 196977 w 887920"/>
                <a:gd name="connsiteY423" fmla="*/ 611410 h 627602"/>
                <a:gd name="connsiteX424" fmla="*/ 201930 w 887920"/>
                <a:gd name="connsiteY424" fmla="*/ 612362 h 627602"/>
                <a:gd name="connsiteX425" fmla="*/ 204121 w 887920"/>
                <a:gd name="connsiteY425" fmla="*/ 616934 h 627602"/>
                <a:gd name="connsiteX426" fmla="*/ 209074 w 887920"/>
                <a:gd name="connsiteY426" fmla="*/ 617887 h 627602"/>
                <a:gd name="connsiteX427" fmla="*/ 208407 w 887920"/>
                <a:gd name="connsiteY427" fmla="*/ 613220 h 627602"/>
                <a:gd name="connsiteX428" fmla="*/ 209836 w 887920"/>
                <a:gd name="connsiteY428" fmla="*/ 611410 h 627602"/>
                <a:gd name="connsiteX429" fmla="*/ 221266 w 887920"/>
                <a:gd name="connsiteY429" fmla="*/ 613124 h 627602"/>
                <a:gd name="connsiteX430" fmla="*/ 227552 w 887920"/>
                <a:gd name="connsiteY430" fmla="*/ 612362 h 627602"/>
                <a:gd name="connsiteX431" fmla="*/ 227362 w 887920"/>
                <a:gd name="connsiteY431" fmla="*/ 610743 h 627602"/>
                <a:gd name="connsiteX432" fmla="*/ 237839 w 887920"/>
                <a:gd name="connsiteY432" fmla="*/ 617411 h 627602"/>
                <a:gd name="connsiteX433" fmla="*/ 237839 w 887920"/>
                <a:gd name="connsiteY433" fmla="*/ 617411 h 627602"/>
                <a:gd name="connsiteX434" fmla="*/ 239268 w 887920"/>
                <a:gd name="connsiteY434" fmla="*/ 615696 h 627602"/>
                <a:gd name="connsiteX435" fmla="*/ 236220 w 887920"/>
                <a:gd name="connsiteY435" fmla="*/ 604838 h 627602"/>
                <a:gd name="connsiteX436" fmla="*/ 242316 w 887920"/>
                <a:gd name="connsiteY436" fmla="*/ 602456 h 627602"/>
                <a:gd name="connsiteX437" fmla="*/ 242126 w 887920"/>
                <a:gd name="connsiteY437" fmla="*/ 600837 h 627602"/>
                <a:gd name="connsiteX438" fmla="*/ 251841 w 887920"/>
                <a:gd name="connsiteY438" fmla="*/ 601218 h 627602"/>
                <a:gd name="connsiteX439" fmla="*/ 254603 w 887920"/>
                <a:gd name="connsiteY439" fmla="*/ 597694 h 627602"/>
                <a:gd name="connsiteX440" fmla="*/ 257937 w 887920"/>
                <a:gd name="connsiteY440" fmla="*/ 598837 h 627602"/>
                <a:gd name="connsiteX441" fmla="*/ 261652 w 887920"/>
                <a:gd name="connsiteY441" fmla="*/ 577501 h 627602"/>
                <a:gd name="connsiteX442" fmla="*/ 261271 w 887920"/>
                <a:gd name="connsiteY442" fmla="*/ 574358 h 627602"/>
                <a:gd name="connsiteX443" fmla="*/ 280988 w 887920"/>
                <a:gd name="connsiteY443" fmla="*/ 578263 h 627602"/>
                <a:gd name="connsiteX444" fmla="*/ 282131 w 887920"/>
                <a:gd name="connsiteY444" fmla="*/ 574929 h 627602"/>
                <a:gd name="connsiteX445" fmla="*/ 284131 w 887920"/>
                <a:gd name="connsiteY445" fmla="*/ 565023 h 627602"/>
                <a:gd name="connsiteX446" fmla="*/ 278130 w 887920"/>
                <a:gd name="connsiteY446" fmla="*/ 543401 h 627602"/>
                <a:gd name="connsiteX447" fmla="*/ 278321 w 887920"/>
                <a:gd name="connsiteY447" fmla="*/ 532067 h 627602"/>
                <a:gd name="connsiteX448" fmla="*/ 312896 w 887920"/>
                <a:gd name="connsiteY448" fmla="*/ 538925 h 627602"/>
                <a:gd name="connsiteX449" fmla="*/ 332232 w 887920"/>
                <a:gd name="connsiteY449" fmla="*/ 552450 h 627602"/>
                <a:gd name="connsiteX450" fmla="*/ 346424 w 887920"/>
                <a:gd name="connsiteY450" fmla="*/ 537877 h 627602"/>
                <a:gd name="connsiteX451" fmla="*/ 349568 w 887920"/>
                <a:gd name="connsiteY451" fmla="*/ 537496 h 627602"/>
                <a:gd name="connsiteX452" fmla="*/ 352330 w 887920"/>
                <a:gd name="connsiteY452" fmla="*/ 533876 h 627602"/>
                <a:gd name="connsiteX453" fmla="*/ 353473 w 887920"/>
                <a:gd name="connsiteY453" fmla="*/ 530543 h 627602"/>
                <a:gd name="connsiteX454" fmla="*/ 351473 w 887920"/>
                <a:gd name="connsiteY454" fmla="*/ 527590 h 627602"/>
                <a:gd name="connsiteX455" fmla="*/ 346139 w 887920"/>
                <a:gd name="connsiteY455" fmla="*/ 523494 h 627602"/>
                <a:gd name="connsiteX456" fmla="*/ 347091 w 887920"/>
                <a:gd name="connsiteY456" fmla="*/ 518541 h 627602"/>
                <a:gd name="connsiteX457" fmla="*/ 345186 w 887920"/>
                <a:gd name="connsiteY457" fmla="*/ 515588 h 627602"/>
                <a:gd name="connsiteX458" fmla="*/ 357569 w 887920"/>
                <a:gd name="connsiteY458" fmla="*/ 512350 h 627602"/>
                <a:gd name="connsiteX459" fmla="*/ 357378 w 887920"/>
                <a:gd name="connsiteY459" fmla="*/ 510826 h 627602"/>
                <a:gd name="connsiteX460" fmla="*/ 364903 w 887920"/>
                <a:gd name="connsiteY460" fmla="*/ 506635 h 627602"/>
                <a:gd name="connsiteX461" fmla="*/ 369570 w 887920"/>
                <a:gd name="connsiteY461" fmla="*/ 506063 h 627602"/>
                <a:gd name="connsiteX462" fmla="*/ 372713 w 887920"/>
                <a:gd name="connsiteY462" fmla="*/ 505587 h 627602"/>
                <a:gd name="connsiteX463" fmla="*/ 375476 w 887920"/>
                <a:gd name="connsiteY463" fmla="*/ 502063 h 627602"/>
                <a:gd name="connsiteX464" fmla="*/ 376142 w 887920"/>
                <a:gd name="connsiteY464" fmla="*/ 506825 h 627602"/>
                <a:gd name="connsiteX465" fmla="*/ 381857 w 887920"/>
                <a:gd name="connsiteY465" fmla="*/ 501301 h 627602"/>
                <a:gd name="connsiteX466" fmla="*/ 387953 w 887920"/>
                <a:gd name="connsiteY466" fmla="*/ 498920 h 627602"/>
                <a:gd name="connsiteX467" fmla="*/ 383572 w 887920"/>
                <a:gd name="connsiteY467" fmla="*/ 489871 h 627602"/>
                <a:gd name="connsiteX468" fmla="*/ 385191 w 887920"/>
                <a:gd name="connsiteY468" fmla="*/ 489585 h 627602"/>
                <a:gd name="connsiteX469" fmla="*/ 380810 w 887920"/>
                <a:gd name="connsiteY469" fmla="*/ 480536 h 627602"/>
                <a:gd name="connsiteX470" fmla="*/ 377666 w 887920"/>
                <a:gd name="connsiteY470" fmla="*/ 480917 h 627602"/>
                <a:gd name="connsiteX471" fmla="*/ 383762 w 887920"/>
                <a:gd name="connsiteY471" fmla="*/ 478536 h 627602"/>
                <a:gd name="connsiteX472" fmla="*/ 385096 w 887920"/>
                <a:gd name="connsiteY472" fmla="*/ 476822 h 627602"/>
                <a:gd name="connsiteX473" fmla="*/ 388430 w 887920"/>
                <a:gd name="connsiteY473" fmla="*/ 477965 h 627602"/>
                <a:gd name="connsiteX474" fmla="*/ 388239 w 887920"/>
                <a:gd name="connsiteY474" fmla="*/ 476441 h 627602"/>
                <a:gd name="connsiteX475" fmla="*/ 391478 w 887920"/>
                <a:gd name="connsiteY475" fmla="*/ 475964 h 627602"/>
                <a:gd name="connsiteX476" fmla="*/ 393192 w 887920"/>
                <a:gd name="connsiteY476" fmla="*/ 477393 h 627602"/>
                <a:gd name="connsiteX477" fmla="*/ 386620 w 887920"/>
                <a:gd name="connsiteY477" fmla="*/ 463772 h 627602"/>
                <a:gd name="connsiteX478" fmla="*/ 391192 w 887920"/>
                <a:gd name="connsiteY478" fmla="*/ 461582 h 627602"/>
                <a:gd name="connsiteX479" fmla="*/ 404241 w 887920"/>
                <a:gd name="connsiteY479" fmla="*/ 463106 h 627602"/>
                <a:gd name="connsiteX480" fmla="*/ 402812 w 887920"/>
                <a:gd name="connsiteY480" fmla="*/ 464915 h 627602"/>
                <a:gd name="connsiteX481" fmla="*/ 405194 w 887920"/>
                <a:gd name="connsiteY481" fmla="*/ 471011 h 627602"/>
                <a:gd name="connsiteX482" fmla="*/ 402241 w 887920"/>
                <a:gd name="connsiteY482" fmla="*/ 473012 h 627602"/>
                <a:gd name="connsiteX483" fmla="*/ 404241 w 887920"/>
                <a:gd name="connsiteY483" fmla="*/ 475964 h 627602"/>
                <a:gd name="connsiteX484" fmla="*/ 407384 w 887920"/>
                <a:gd name="connsiteY484" fmla="*/ 475583 h 627602"/>
                <a:gd name="connsiteX485" fmla="*/ 411004 w 887920"/>
                <a:gd name="connsiteY485" fmla="*/ 478346 h 627602"/>
                <a:gd name="connsiteX486" fmla="*/ 410528 w 887920"/>
                <a:gd name="connsiteY486" fmla="*/ 475202 h 627602"/>
                <a:gd name="connsiteX487" fmla="*/ 415481 w 887920"/>
                <a:gd name="connsiteY487" fmla="*/ 476155 h 627602"/>
                <a:gd name="connsiteX488" fmla="*/ 419862 w 887920"/>
                <a:gd name="connsiteY488" fmla="*/ 485204 h 627602"/>
                <a:gd name="connsiteX489" fmla="*/ 415100 w 887920"/>
                <a:gd name="connsiteY489" fmla="*/ 485775 h 627602"/>
                <a:gd name="connsiteX490" fmla="*/ 418529 w 887920"/>
                <a:gd name="connsiteY490" fmla="*/ 487013 h 627602"/>
                <a:gd name="connsiteX491" fmla="*/ 420434 w 887920"/>
                <a:gd name="connsiteY491" fmla="*/ 489966 h 627602"/>
                <a:gd name="connsiteX492" fmla="*/ 425196 w 887920"/>
                <a:gd name="connsiteY492" fmla="*/ 489299 h 627602"/>
                <a:gd name="connsiteX493" fmla="*/ 428720 w 887920"/>
                <a:gd name="connsiteY493" fmla="*/ 492062 h 627602"/>
                <a:gd name="connsiteX494" fmla="*/ 427958 w 887920"/>
                <a:gd name="connsiteY494" fmla="*/ 485775 h 627602"/>
                <a:gd name="connsiteX495" fmla="*/ 432721 w 887920"/>
                <a:gd name="connsiteY495" fmla="*/ 485204 h 627602"/>
                <a:gd name="connsiteX496" fmla="*/ 433483 w 887920"/>
                <a:gd name="connsiteY496" fmla="*/ 478631 h 627602"/>
                <a:gd name="connsiteX497" fmla="*/ 434816 w 887920"/>
                <a:gd name="connsiteY497" fmla="*/ 476917 h 627602"/>
                <a:gd name="connsiteX498" fmla="*/ 438245 w 887920"/>
                <a:gd name="connsiteY498" fmla="*/ 478060 h 627602"/>
                <a:gd name="connsiteX499" fmla="*/ 435293 w 887920"/>
                <a:gd name="connsiteY499" fmla="*/ 480060 h 627602"/>
                <a:gd name="connsiteX500" fmla="*/ 437007 w 887920"/>
                <a:gd name="connsiteY500" fmla="*/ 481394 h 627602"/>
                <a:gd name="connsiteX501" fmla="*/ 440150 w 887920"/>
                <a:gd name="connsiteY501" fmla="*/ 481013 h 627602"/>
                <a:gd name="connsiteX502" fmla="*/ 442151 w 887920"/>
                <a:gd name="connsiteY502" fmla="*/ 483965 h 627602"/>
                <a:gd name="connsiteX503" fmla="*/ 446913 w 887920"/>
                <a:gd name="connsiteY503" fmla="*/ 483394 h 627602"/>
                <a:gd name="connsiteX504" fmla="*/ 450056 w 887920"/>
                <a:gd name="connsiteY504" fmla="*/ 482918 h 627602"/>
                <a:gd name="connsiteX505" fmla="*/ 455962 w 887920"/>
                <a:gd name="connsiteY505" fmla="*/ 479012 h 627602"/>
                <a:gd name="connsiteX506" fmla="*/ 456343 w 887920"/>
                <a:gd name="connsiteY506" fmla="*/ 482156 h 627602"/>
                <a:gd name="connsiteX507" fmla="*/ 455200 w 887920"/>
                <a:gd name="connsiteY507" fmla="*/ 485489 h 627602"/>
                <a:gd name="connsiteX508" fmla="*/ 457010 w 887920"/>
                <a:gd name="connsiteY508" fmla="*/ 486918 h 627602"/>
                <a:gd name="connsiteX509" fmla="*/ 463487 w 887920"/>
                <a:gd name="connsiteY509" fmla="*/ 500444 h 627602"/>
                <a:gd name="connsiteX510" fmla="*/ 465106 w 887920"/>
                <a:gd name="connsiteY510" fmla="*/ 500253 h 627602"/>
                <a:gd name="connsiteX511" fmla="*/ 466630 w 887920"/>
                <a:gd name="connsiteY511" fmla="*/ 500063 h 627602"/>
                <a:gd name="connsiteX512" fmla="*/ 471773 w 887920"/>
                <a:gd name="connsiteY512" fmla="*/ 502634 h 627602"/>
                <a:gd name="connsiteX513" fmla="*/ 472631 w 887920"/>
                <a:gd name="connsiteY513" fmla="*/ 508921 h 627602"/>
                <a:gd name="connsiteX514" fmla="*/ 473964 w 887920"/>
                <a:gd name="connsiteY514" fmla="*/ 507206 h 627602"/>
                <a:gd name="connsiteX515" fmla="*/ 477107 w 887920"/>
                <a:gd name="connsiteY515" fmla="*/ 506730 h 627602"/>
                <a:gd name="connsiteX516" fmla="*/ 477298 w 887920"/>
                <a:gd name="connsiteY516" fmla="*/ 508349 h 627602"/>
                <a:gd name="connsiteX517" fmla="*/ 476345 w 887920"/>
                <a:gd name="connsiteY517" fmla="*/ 513302 h 627602"/>
                <a:gd name="connsiteX518" fmla="*/ 480155 w 887920"/>
                <a:gd name="connsiteY518" fmla="*/ 517589 h 627602"/>
                <a:gd name="connsiteX519" fmla="*/ 479108 w 887920"/>
                <a:gd name="connsiteY519" fmla="*/ 522542 h 627602"/>
                <a:gd name="connsiteX520" fmla="*/ 483489 w 887920"/>
                <a:gd name="connsiteY520" fmla="*/ 518827 h 627602"/>
                <a:gd name="connsiteX521" fmla="*/ 485299 w 887920"/>
                <a:gd name="connsiteY521" fmla="*/ 520160 h 627602"/>
                <a:gd name="connsiteX522" fmla="*/ 489776 w 887920"/>
                <a:gd name="connsiteY522" fmla="*/ 517970 h 627602"/>
                <a:gd name="connsiteX523" fmla="*/ 494538 w 887920"/>
                <a:gd name="connsiteY523" fmla="*/ 517398 h 627602"/>
                <a:gd name="connsiteX524" fmla="*/ 494538 w 887920"/>
                <a:gd name="connsiteY524" fmla="*/ 517398 h 627602"/>
                <a:gd name="connsiteX525" fmla="*/ 498729 w 887920"/>
                <a:gd name="connsiteY525" fmla="*/ 524828 h 627602"/>
                <a:gd name="connsiteX526" fmla="*/ 503873 w 887920"/>
                <a:gd name="connsiteY526" fmla="*/ 527399 h 627602"/>
                <a:gd name="connsiteX527" fmla="*/ 502634 w 887920"/>
                <a:gd name="connsiteY527" fmla="*/ 530828 h 627602"/>
                <a:gd name="connsiteX528" fmla="*/ 507397 w 887920"/>
                <a:gd name="connsiteY528" fmla="*/ 530162 h 627602"/>
                <a:gd name="connsiteX529" fmla="*/ 516255 w 887920"/>
                <a:gd name="connsiteY529" fmla="*/ 537020 h 627602"/>
                <a:gd name="connsiteX530" fmla="*/ 513493 w 887920"/>
                <a:gd name="connsiteY530" fmla="*/ 540639 h 627602"/>
                <a:gd name="connsiteX531" fmla="*/ 513683 w 887920"/>
                <a:gd name="connsiteY531" fmla="*/ 542163 h 627602"/>
                <a:gd name="connsiteX532" fmla="*/ 516731 w 887920"/>
                <a:gd name="connsiteY532" fmla="*/ 540258 h 627602"/>
                <a:gd name="connsiteX533" fmla="*/ 515684 w 887920"/>
                <a:gd name="connsiteY533" fmla="*/ 545116 h 627602"/>
                <a:gd name="connsiteX534" fmla="*/ 519113 w 887920"/>
                <a:gd name="connsiteY534" fmla="*/ 559118 h 627602"/>
                <a:gd name="connsiteX535" fmla="*/ 520922 w 887920"/>
                <a:gd name="connsiteY535" fmla="*/ 560546 h 627602"/>
                <a:gd name="connsiteX536" fmla="*/ 522827 w 887920"/>
                <a:gd name="connsiteY536" fmla="*/ 563499 h 627602"/>
                <a:gd name="connsiteX537" fmla="*/ 530543 w 887920"/>
                <a:gd name="connsiteY537" fmla="*/ 560927 h 627602"/>
                <a:gd name="connsiteX538" fmla="*/ 530924 w 887920"/>
                <a:gd name="connsiteY538" fmla="*/ 564071 h 627602"/>
                <a:gd name="connsiteX539" fmla="*/ 532543 w 887920"/>
                <a:gd name="connsiteY539" fmla="*/ 563880 h 627602"/>
                <a:gd name="connsiteX540" fmla="*/ 532733 w 887920"/>
                <a:gd name="connsiteY540" fmla="*/ 565404 h 627602"/>
                <a:gd name="connsiteX541" fmla="*/ 537305 w 887920"/>
                <a:gd name="connsiteY541" fmla="*/ 563309 h 627602"/>
                <a:gd name="connsiteX542" fmla="*/ 542163 w 887920"/>
                <a:gd name="connsiteY542" fmla="*/ 564261 h 627602"/>
                <a:gd name="connsiteX543" fmla="*/ 547497 w 887920"/>
                <a:gd name="connsiteY543" fmla="*/ 568357 h 627602"/>
                <a:gd name="connsiteX544" fmla="*/ 546164 w 887920"/>
                <a:gd name="connsiteY544" fmla="*/ 570167 h 627602"/>
                <a:gd name="connsiteX545" fmla="*/ 547783 w 887920"/>
                <a:gd name="connsiteY545" fmla="*/ 569976 h 627602"/>
                <a:gd name="connsiteX546" fmla="*/ 548164 w 887920"/>
                <a:gd name="connsiteY546" fmla="*/ 573119 h 627602"/>
                <a:gd name="connsiteX547" fmla="*/ 551307 w 887920"/>
                <a:gd name="connsiteY547" fmla="*/ 572738 h 627602"/>
                <a:gd name="connsiteX548" fmla="*/ 553307 w 887920"/>
                <a:gd name="connsiteY548" fmla="*/ 575691 h 627602"/>
                <a:gd name="connsiteX549" fmla="*/ 553879 w 887920"/>
                <a:gd name="connsiteY549" fmla="*/ 580358 h 627602"/>
                <a:gd name="connsiteX550" fmla="*/ 558832 w 887920"/>
                <a:gd name="connsiteY550" fmla="*/ 581406 h 627602"/>
                <a:gd name="connsiteX551" fmla="*/ 560165 w 887920"/>
                <a:gd name="connsiteY551" fmla="*/ 579596 h 627602"/>
                <a:gd name="connsiteX552" fmla="*/ 572262 w 887920"/>
                <a:gd name="connsiteY552" fmla="*/ 586073 h 627602"/>
                <a:gd name="connsiteX553" fmla="*/ 575786 w 887920"/>
                <a:gd name="connsiteY553" fmla="*/ 588836 h 627602"/>
                <a:gd name="connsiteX554" fmla="*/ 579596 w 887920"/>
                <a:gd name="connsiteY554" fmla="*/ 593122 h 627602"/>
                <a:gd name="connsiteX555" fmla="*/ 587883 w 887920"/>
                <a:gd name="connsiteY555" fmla="*/ 595313 h 627602"/>
                <a:gd name="connsiteX556" fmla="*/ 596360 w 887920"/>
                <a:gd name="connsiteY556" fmla="*/ 599027 h 627602"/>
                <a:gd name="connsiteX557" fmla="*/ 605409 w 887920"/>
                <a:gd name="connsiteY557" fmla="*/ 607505 h 627602"/>
                <a:gd name="connsiteX558" fmla="*/ 609981 w 887920"/>
                <a:gd name="connsiteY558" fmla="*/ 605314 h 627602"/>
                <a:gd name="connsiteX559" fmla="*/ 613124 w 887920"/>
                <a:gd name="connsiteY559" fmla="*/ 604933 h 627602"/>
                <a:gd name="connsiteX560" fmla="*/ 617887 w 887920"/>
                <a:gd name="connsiteY560" fmla="*/ 604266 h 627602"/>
                <a:gd name="connsiteX561" fmla="*/ 617506 w 887920"/>
                <a:gd name="connsiteY561" fmla="*/ 601123 h 627602"/>
                <a:gd name="connsiteX562" fmla="*/ 618268 w 887920"/>
                <a:gd name="connsiteY562" fmla="*/ 594646 h 627602"/>
                <a:gd name="connsiteX563" fmla="*/ 616268 w 887920"/>
                <a:gd name="connsiteY563" fmla="*/ 591693 h 627602"/>
                <a:gd name="connsiteX564" fmla="*/ 621221 w 887920"/>
                <a:gd name="connsiteY564" fmla="*/ 592646 h 627602"/>
                <a:gd name="connsiteX565" fmla="*/ 620363 w 887920"/>
                <a:gd name="connsiteY565" fmla="*/ 586359 h 627602"/>
                <a:gd name="connsiteX566" fmla="*/ 628079 w 887920"/>
                <a:gd name="connsiteY566" fmla="*/ 583787 h 627602"/>
                <a:gd name="connsiteX567" fmla="*/ 626269 w 887920"/>
                <a:gd name="connsiteY567" fmla="*/ 582359 h 627602"/>
                <a:gd name="connsiteX568" fmla="*/ 629031 w 887920"/>
                <a:gd name="connsiteY568" fmla="*/ 578834 h 627602"/>
                <a:gd name="connsiteX569" fmla="*/ 630650 w 887920"/>
                <a:gd name="connsiteY569" fmla="*/ 578644 h 627602"/>
                <a:gd name="connsiteX570" fmla="*/ 631793 w 887920"/>
                <a:gd name="connsiteY570" fmla="*/ 575310 h 627602"/>
                <a:gd name="connsiteX571" fmla="*/ 634937 w 887920"/>
                <a:gd name="connsiteY571" fmla="*/ 574834 h 627602"/>
                <a:gd name="connsiteX572" fmla="*/ 636175 w 887920"/>
                <a:gd name="connsiteY572" fmla="*/ 571500 h 627602"/>
                <a:gd name="connsiteX573" fmla="*/ 639890 w 887920"/>
                <a:gd name="connsiteY573" fmla="*/ 575882 h 627602"/>
                <a:gd name="connsiteX574" fmla="*/ 641318 w 887920"/>
                <a:gd name="connsiteY574" fmla="*/ 574072 h 627602"/>
                <a:gd name="connsiteX575" fmla="*/ 645986 w 887920"/>
                <a:gd name="connsiteY575" fmla="*/ 573500 h 627602"/>
                <a:gd name="connsiteX576" fmla="*/ 649605 w 887920"/>
                <a:gd name="connsiteY576" fmla="*/ 576167 h 627602"/>
                <a:gd name="connsiteX577" fmla="*/ 650939 w 887920"/>
                <a:gd name="connsiteY577" fmla="*/ 574453 h 627602"/>
                <a:gd name="connsiteX578" fmla="*/ 659606 w 887920"/>
                <a:gd name="connsiteY578" fmla="*/ 579692 h 627602"/>
                <a:gd name="connsiteX579" fmla="*/ 658463 w 887920"/>
                <a:gd name="connsiteY579" fmla="*/ 583121 h 627602"/>
                <a:gd name="connsiteX580" fmla="*/ 666750 w 887920"/>
                <a:gd name="connsiteY580" fmla="*/ 585216 h 627602"/>
                <a:gd name="connsiteX581" fmla="*/ 668750 w 887920"/>
                <a:gd name="connsiteY581" fmla="*/ 588169 h 627602"/>
                <a:gd name="connsiteX582" fmla="*/ 672846 w 887920"/>
                <a:gd name="connsiteY582" fmla="*/ 582835 h 627602"/>
                <a:gd name="connsiteX583" fmla="*/ 675037 w 887920"/>
                <a:gd name="connsiteY583" fmla="*/ 587407 h 627602"/>
                <a:gd name="connsiteX584" fmla="*/ 676656 w 887920"/>
                <a:gd name="connsiteY584" fmla="*/ 587216 h 627602"/>
                <a:gd name="connsiteX585" fmla="*/ 677799 w 887920"/>
                <a:gd name="connsiteY585" fmla="*/ 583883 h 627602"/>
                <a:gd name="connsiteX586" fmla="*/ 686086 w 887920"/>
                <a:gd name="connsiteY586" fmla="*/ 585978 h 627602"/>
                <a:gd name="connsiteX587" fmla="*/ 684943 w 887920"/>
                <a:gd name="connsiteY587" fmla="*/ 589312 h 627602"/>
                <a:gd name="connsiteX588" fmla="*/ 689039 w 887920"/>
                <a:gd name="connsiteY588" fmla="*/ 596837 h 627602"/>
                <a:gd name="connsiteX589" fmla="*/ 690658 w 887920"/>
                <a:gd name="connsiteY589" fmla="*/ 596646 h 627602"/>
                <a:gd name="connsiteX590" fmla="*/ 697421 w 887920"/>
                <a:gd name="connsiteY590" fmla="*/ 599027 h 627602"/>
                <a:gd name="connsiteX591" fmla="*/ 699516 w 887920"/>
                <a:gd name="connsiteY591" fmla="*/ 603504 h 627602"/>
                <a:gd name="connsiteX592" fmla="*/ 706469 w 887920"/>
                <a:gd name="connsiteY592" fmla="*/ 607409 h 627602"/>
                <a:gd name="connsiteX593" fmla="*/ 706660 w 887920"/>
                <a:gd name="connsiteY593" fmla="*/ 596170 h 627602"/>
                <a:gd name="connsiteX594" fmla="*/ 712565 w 887920"/>
                <a:gd name="connsiteY594" fmla="*/ 592265 h 627602"/>
                <a:gd name="connsiteX595" fmla="*/ 715899 w 887920"/>
                <a:gd name="connsiteY595" fmla="*/ 593408 h 627602"/>
                <a:gd name="connsiteX596" fmla="*/ 714756 w 887920"/>
                <a:gd name="connsiteY596" fmla="*/ 596741 h 627602"/>
                <a:gd name="connsiteX597" fmla="*/ 718852 w 887920"/>
                <a:gd name="connsiteY597" fmla="*/ 604266 h 627602"/>
                <a:gd name="connsiteX598" fmla="*/ 715709 w 887920"/>
                <a:gd name="connsiteY598" fmla="*/ 604647 h 627602"/>
                <a:gd name="connsiteX599" fmla="*/ 717899 w 887920"/>
                <a:gd name="connsiteY599" fmla="*/ 609219 h 627602"/>
                <a:gd name="connsiteX600" fmla="*/ 721233 w 887920"/>
                <a:gd name="connsiteY600" fmla="*/ 610362 h 627602"/>
                <a:gd name="connsiteX601" fmla="*/ 721519 w 887920"/>
                <a:gd name="connsiteY601" fmla="*/ 611981 h 627602"/>
                <a:gd name="connsiteX602" fmla="*/ 713423 w 887920"/>
                <a:gd name="connsiteY602" fmla="*/ 611410 h 627602"/>
                <a:gd name="connsiteX603" fmla="*/ 715328 w 887920"/>
                <a:gd name="connsiteY603" fmla="*/ 614363 h 627602"/>
                <a:gd name="connsiteX604" fmla="*/ 720090 w 887920"/>
                <a:gd name="connsiteY604" fmla="*/ 613696 h 627602"/>
                <a:gd name="connsiteX605" fmla="*/ 720471 w 887920"/>
                <a:gd name="connsiteY605" fmla="*/ 616934 h 627602"/>
                <a:gd name="connsiteX606" fmla="*/ 717328 w 887920"/>
                <a:gd name="connsiteY606" fmla="*/ 617315 h 627602"/>
                <a:gd name="connsiteX607" fmla="*/ 720662 w 887920"/>
                <a:gd name="connsiteY607" fmla="*/ 618458 h 627602"/>
                <a:gd name="connsiteX608" fmla="*/ 721328 w 887920"/>
                <a:gd name="connsiteY608" fmla="*/ 623221 h 627602"/>
                <a:gd name="connsiteX609" fmla="*/ 727805 w 887920"/>
                <a:gd name="connsiteY609" fmla="*/ 623983 h 627602"/>
                <a:gd name="connsiteX610" fmla="*/ 732377 w 887920"/>
                <a:gd name="connsiteY610" fmla="*/ 621792 h 627602"/>
                <a:gd name="connsiteX611" fmla="*/ 737330 w 887920"/>
                <a:gd name="connsiteY611" fmla="*/ 622745 h 627602"/>
                <a:gd name="connsiteX612" fmla="*/ 738473 w 887920"/>
                <a:gd name="connsiteY612" fmla="*/ 619411 h 627602"/>
                <a:gd name="connsiteX613" fmla="*/ 743617 w 887920"/>
                <a:gd name="connsiteY613" fmla="*/ 621983 h 627602"/>
                <a:gd name="connsiteX614" fmla="*/ 743426 w 887920"/>
                <a:gd name="connsiteY614" fmla="*/ 620363 h 627602"/>
                <a:gd name="connsiteX615" fmla="*/ 746760 w 887920"/>
                <a:gd name="connsiteY615" fmla="*/ 621602 h 627602"/>
                <a:gd name="connsiteX616" fmla="*/ 746570 w 887920"/>
                <a:gd name="connsiteY616" fmla="*/ 619982 h 627602"/>
                <a:gd name="connsiteX617" fmla="*/ 742760 w 887920"/>
                <a:gd name="connsiteY617" fmla="*/ 615696 h 627602"/>
                <a:gd name="connsiteX618" fmla="*/ 745522 w 887920"/>
                <a:gd name="connsiteY618" fmla="*/ 612077 h 627602"/>
                <a:gd name="connsiteX619" fmla="*/ 748475 w 887920"/>
                <a:gd name="connsiteY619" fmla="*/ 610076 h 627602"/>
                <a:gd name="connsiteX620" fmla="*/ 750856 w 887920"/>
                <a:gd name="connsiteY620" fmla="*/ 616268 h 627602"/>
                <a:gd name="connsiteX621" fmla="*/ 755809 w 887920"/>
                <a:gd name="connsiteY621" fmla="*/ 617220 h 627602"/>
                <a:gd name="connsiteX622" fmla="*/ 756761 w 887920"/>
                <a:gd name="connsiteY622" fmla="*/ 612267 h 627602"/>
                <a:gd name="connsiteX623" fmla="*/ 759524 w 887920"/>
                <a:gd name="connsiteY623" fmla="*/ 608743 h 627602"/>
                <a:gd name="connsiteX624" fmla="*/ 757619 w 887920"/>
                <a:gd name="connsiteY624" fmla="*/ 605790 h 627602"/>
                <a:gd name="connsiteX625" fmla="*/ 762286 w 887920"/>
                <a:gd name="connsiteY625" fmla="*/ 605123 h 627602"/>
                <a:gd name="connsiteX626" fmla="*/ 763334 w 887920"/>
                <a:gd name="connsiteY626" fmla="*/ 600170 h 627602"/>
                <a:gd name="connsiteX627" fmla="*/ 756380 w 887920"/>
                <a:gd name="connsiteY627" fmla="*/ 596265 h 627602"/>
                <a:gd name="connsiteX628" fmla="*/ 755142 w 887920"/>
                <a:gd name="connsiteY628" fmla="*/ 586835 h 627602"/>
                <a:gd name="connsiteX629" fmla="*/ 751427 w 887920"/>
                <a:gd name="connsiteY629" fmla="*/ 582454 h 627602"/>
                <a:gd name="connsiteX630" fmla="*/ 752761 w 887920"/>
                <a:gd name="connsiteY630" fmla="*/ 580739 h 627602"/>
                <a:gd name="connsiteX631" fmla="*/ 753713 w 887920"/>
                <a:gd name="connsiteY631" fmla="*/ 575786 h 627602"/>
                <a:gd name="connsiteX632" fmla="*/ 763048 w 887920"/>
                <a:gd name="connsiteY632" fmla="*/ 573024 h 627602"/>
                <a:gd name="connsiteX633" fmla="*/ 764762 w 887920"/>
                <a:gd name="connsiteY633" fmla="*/ 574358 h 627602"/>
                <a:gd name="connsiteX634" fmla="*/ 772478 w 887920"/>
                <a:gd name="connsiteY634" fmla="*/ 571786 h 627602"/>
                <a:gd name="connsiteX635" fmla="*/ 772668 w 887920"/>
                <a:gd name="connsiteY635" fmla="*/ 560546 h 627602"/>
                <a:gd name="connsiteX636" fmla="*/ 778002 w 887920"/>
                <a:gd name="connsiteY636" fmla="*/ 564642 h 627602"/>
                <a:gd name="connsiteX637" fmla="*/ 779336 w 887920"/>
                <a:gd name="connsiteY637" fmla="*/ 562832 h 627602"/>
                <a:gd name="connsiteX638" fmla="*/ 781145 w 887920"/>
                <a:gd name="connsiteY638" fmla="*/ 564261 h 627602"/>
                <a:gd name="connsiteX639" fmla="*/ 782098 w 887920"/>
                <a:gd name="connsiteY639" fmla="*/ 559308 h 627602"/>
                <a:gd name="connsiteX640" fmla="*/ 778383 w 887920"/>
                <a:gd name="connsiteY640" fmla="*/ 555022 h 627602"/>
                <a:gd name="connsiteX641" fmla="*/ 781145 w 887920"/>
                <a:gd name="connsiteY641" fmla="*/ 551402 h 627602"/>
                <a:gd name="connsiteX642" fmla="*/ 779526 w 887920"/>
                <a:gd name="connsiteY642" fmla="*/ 551593 h 627602"/>
                <a:gd name="connsiteX643" fmla="*/ 778955 w 887920"/>
                <a:gd name="connsiteY643" fmla="*/ 546926 h 627602"/>
                <a:gd name="connsiteX644" fmla="*/ 792385 w 887920"/>
                <a:gd name="connsiteY644" fmla="*/ 551593 h 627602"/>
                <a:gd name="connsiteX645" fmla="*/ 794385 w 887920"/>
                <a:gd name="connsiteY645" fmla="*/ 554546 h 627602"/>
                <a:gd name="connsiteX646" fmla="*/ 794766 w 887920"/>
                <a:gd name="connsiteY646" fmla="*/ 557689 h 627602"/>
                <a:gd name="connsiteX647" fmla="*/ 792956 w 887920"/>
                <a:gd name="connsiteY647" fmla="*/ 556355 h 627602"/>
                <a:gd name="connsiteX648" fmla="*/ 792194 w 887920"/>
                <a:gd name="connsiteY648" fmla="*/ 562832 h 627602"/>
                <a:gd name="connsiteX649" fmla="*/ 803243 w 887920"/>
                <a:gd name="connsiteY649" fmla="*/ 574262 h 627602"/>
                <a:gd name="connsiteX650" fmla="*/ 804101 w 887920"/>
                <a:gd name="connsiteY650" fmla="*/ 580549 h 627602"/>
                <a:gd name="connsiteX651" fmla="*/ 810387 w 887920"/>
                <a:gd name="connsiteY651" fmla="*/ 579787 h 627602"/>
                <a:gd name="connsiteX652" fmla="*/ 812387 w 887920"/>
                <a:gd name="connsiteY652" fmla="*/ 582740 h 627602"/>
                <a:gd name="connsiteX653" fmla="*/ 816864 w 887920"/>
                <a:gd name="connsiteY653" fmla="*/ 580549 h 627602"/>
                <a:gd name="connsiteX654" fmla="*/ 819055 w 887920"/>
                <a:gd name="connsiteY654" fmla="*/ 585121 h 627602"/>
                <a:gd name="connsiteX655" fmla="*/ 826961 w 887920"/>
                <a:gd name="connsiteY655" fmla="*/ 584073 h 627602"/>
                <a:gd name="connsiteX656" fmla="*/ 826008 w 887920"/>
                <a:gd name="connsiteY656" fmla="*/ 576167 h 627602"/>
                <a:gd name="connsiteX657" fmla="*/ 829342 w 887920"/>
                <a:gd name="connsiteY657" fmla="*/ 577310 h 627602"/>
                <a:gd name="connsiteX658" fmla="*/ 833914 w 887920"/>
                <a:gd name="connsiteY658" fmla="*/ 575215 h 627602"/>
                <a:gd name="connsiteX659" fmla="*/ 835438 w 887920"/>
                <a:gd name="connsiteY659" fmla="*/ 574929 h 627602"/>
                <a:gd name="connsiteX660" fmla="*/ 841343 w 887920"/>
                <a:gd name="connsiteY660" fmla="*/ 571024 h 627602"/>
                <a:gd name="connsiteX661" fmla="*/ 842963 w 887920"/>
                <a:gd name="connsiteY661" fmla="*/ 570833 h 627602"/>
                <a:gd name="connsiteX662" fmla="*/ 843344 w 887920"/>
                <a:gd name="connsiteY662" fmla="*/ 573977 h 627602"/>
                <a:gd name="connsiteX663" fmla="*/ 844677 w 887920"/>
                <a:gd name="connsiteY663" fmla="*/ 572167 h 627602"/>
                <a:gd name="connsiteX664" fmla="*/ 845153 w 887920"/>
                <a:gd name="connsiteY664" fmla="*/ 575310 h 627602"/>
                <a:gd name="connsiteX665" fmla="*/ 848487 w 887920"/>
                <a:gd name="connsiteY665" fmla="*/ 576548 h 627602"/>
                <a:gd name="connsiteX666" fmla="*/ 848297 w 887920"/>
                <a:gd name="connsiteY666" fmla="*/ 574929 h 627602"/>
                <a:gd name="connsiteX667" fmla="*/ 851440 w 887920"/>
                <a:gd name="connsiteY667" fmla="*/ 574548 h 627602"/>
                <a:gd name="connsiteX668" fmla="*/ 852678 w 887920"/>
                <a:gd name="connsiteY668" fmla="*/ 583978 h 627602"/>
                <a:gd name="connsiteX669" fmla="*/ 855821 w 887920"/>
                <a:gd name="connsiteY669" fmla="*/ 583597 h 627602"/>
                <a:gd name="connsiteX670" fmla="*/ 853821 w 887920"/>
                <a:gd name="connsiteY670" fmla="*/ 580644 h 627602"/>
                <a:gd name="connsiteX671" fmla="*/ 856583 w 887920"/>
                <a:gd name="connsiteY671" fmla="*/ 577120 h 627602"/>
                <a:gd name="connsiteX672" fmla="*/ 858774 w 887920"/>
                <a:gd name="connsiteY672" fmla="*/ 581597 h 627602"/>
                <a:gd name="connsiteX673" fmla="*/ 860108 w 887920"/>
                <a:gd name="connsiteY673" fmla="*/ 579882 h 627602"/>
                <a:gd name="connsiteX674" fmla="*/ 864680 w 887920"/>
                <a:gd name="connsiteY674" fmla="*/ 577691 h 627602"/>
                <a:gd name="connsiteX675" fmla="*/ 886778 w 887920"/>
                <a:gd name="connsiteY675" fmla="*/ 574834 h 627602"/>
                <a:gd name="connsiteX676" fmla="*/ 887921 w 887920"/>
                <a:gd name="connsiteY676" fmla="*/ 571500 h 627602"/>
                <a:gd name="connsiteX677" fmla="*/ 883920 w 887920"/>
                <a:gd name="connsiteY677" fmla="*/ 565595 h 627602"/>
                <a:gd name="connsiteX678" fmla="*/ 883920 w 887920"/>
                <a:gd name="connsiteY678" fmla="*/ 565595 h 627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</a:cxnLst>
              <a:rect l="l" t="t" r="r" b="b"/>
              <a:pathLst>
                <a:path w="887920" h="627602">
                  <a:moveTo>
                    <a:pt x="883920" y="565595"/>
                  </a:moveTo>
                  <a:lnTo>
                    <a:pt x="883158" y="559308"/>
                  </a:lnTo>
                  <a:lnTo>
                    <a:pt x="881634" y="559499"/>
                  </a:lnTo>
                  <a:lnTo>
                    <a:pt x="877443" y="551974"/>
                  </a:lnTo>
                  <a:lnTo>
                    <a:pt x="873824" y="549212"/>
                  </a:lnTo>
                  <a:lnTo>
                    <a:pt x="873443" y="546068"/>
                  </a:lnTo>
                  <a:lnTo>
                    <a:pt x="868109" y="541973"/>
                  </a:lnTo>
                  <a:lnTo>
                    <a:pt x="865727" y="535877"/>
                  </a:lnTo>
                  <a:lnTo>
                    <a:pt x="859250" y="535019"/>
                  </a:lnTo>
                  <a:lnTo>
                    <a:pt x="859060" y="533495"/>
                  </a:lnTo>
                  <a:lnTo>
                    <a:pt x="863918" y="534448"/>
                  </a:lnTo>
                  <a:lnTo>
                    <a:pt x="852869" y="523018"/>
                  </a:lnTo>
                  <a:lnTo>
                    <a:pt x="857441" y="520827"/>
                  </a:lnTo>
                  <a:lnTo>
                    <a:pt x="860012" y="515684"/>
                  </a:lnTo>
                  <a:lnTo>
                    <a:pt x="850297" y="515303"/>
                  </a:lnTo>
                  <a:lnTo>
                    <a:pt x="843153" y="509873"/>
                  </a:lnTo>
                  <a:lnTo>
                    <a:pt x="853631" y="490919"/>
                  </a:lnTo>
                  <a:lnTo>
                    <a:pt x="851440" y="486347"/>
                  </a:lnTo>
                  <a:lnTo>
                    <a:pt x="858107" y="475869"/>
                  </a:lnTo>
                  <a:lnTo>
                    <a:pt x="863822" y="470345"/>
                  </a:lnTo>
                  <a:lnTo>
                    <a:pt x="855155" y="465011"/>
                  </a:lnTo>
                  <a:lnTo>
                    <a:pt x="854297" y="458724"/>
                  </a:lnTo>
                  <a:lnTo>
                    <a:pt x="850106" y="451199"/>
                  </a:lnTo>
                  <a:lnTo>
                    <a:pt x="839629" y="444532"/>
                  </a:lnTo>
                  <a:lnTo>
                    <a:pt x="839438" y="442913"/>
                  </a:lnTo>
                  <a:lnTo>
                    <a:pt x="844582" y="432721"/>
                  </a:lnTo>
                  <a:lnTo>
                    <a:pt x="851630" y="425387"/>
                  </a:lnTo>
                  <a:lnTo>
                    <a:pt x="844582" y="419862"/>
                  </a:lnTo>
                  <a:lnTo>
                    <a:pt x="838200" y="395002"/>
                  </a:lnTo>
                  <a:lnTo>
                    <a:pt x="836390" y="393668"/>
                  </a:lnTo>
                  <a:lnTo>
                    <a:pt x="835819" y="388906"/>
                  </a:lnTo>
                  <a:lnTo>
                    <a:pt x="839343" y="378809"/>
                  </a:lnTo>
                  <a:lnTo>
                    <a:pt x="837343" y="375857"/>
                  </a:lnTo>
                  <a:lnTo>
                    <a:pt x="838867" y="362807"/>
                  </a:lnTo>
                  <a:lnTo>
                    <a:pt x="831723" y="357378"/>
                  </a:lnTo>
                  <a:lnTo>
                    <a:pt x="832961" y="353949"/>
                  </a:lnTo>
                  <a:lnTo>
                    <a:pt x="840772" y="340138"/>
                  </a:lnTo>
                  <a:lnTo>
                    <a:pt x="842963" y="331851"/>
                  </a:lnTo>
                  <a:lnTo>
                    <a:pt x="838391" y="321183"/>
                  </a:lnTo>
                  <a:lnTo>
                    <a:pt x="822579" y="310420"/>
                  </a:lnTo>
                  <a:lnTo>
                    <a:pt x="818579" y="304514"/>
                  </a:lnTo>
                  <a:lnTo>
                    <a:pt x="817626" y="296609"/>
                  </a:lnTo>
                  <a:lnTo>
                    <a:pt x="817340" y="282226"/>
                  </a:lnTo>
                  <a:lnTo>
                    <a:pt x="808101" y="284988"/>
                  </a:lnTo>
                  <a:lnTo>
                    <a:pt x="799624" y="268415"/>
                  </a:lnTo>
                  <a:lnTo>
                    <a:pt x="791909" y="270986"/>
                  </a:lnTo>
                  <a:lnTo>
                    <a:pt x="778669" y="267843"/>
                  </a:lnTo>
                  <a:lnTo>
                    <a:pt x="774764" y="261938"/>
                  </a:lnTo>
                  <a:lnTo>
                    <a:pt x="767620" y="256508"/>
                  </a:lnTo>
                  <a:lnTo>
                    <a:pt x="759333" y="254318"/>
                  </a:lnTo>
                  <a:lnTo>
                    <a:pt x="757142" y="249746"/>
                  </a:lnTo>
                  <a:lnTo>
                    <a:pt x="750380" y="247460"/>
                  </a:lnTo>
                  <a:lnTo>
                    <a:pt x="745712" y="248031"/>
                  </a:lnTo>
                  <a:lnTo>
                    <a:pt x="741140" y="250222"/>
                  </a:lnTo>
                  <a:lnTo>
                    <a:pt x="729520" y="272510"/>
                  </a:lnTo>
                  <a:lnTo>
                    <a:pt x="718376" y="285179"/>
                  </a:lnTo>
                  <a:lnTo>
                    <a:pt x="713613" y="285750"/>
                  </a:lnTo>
                  <a:lnTo>
                    <a:pt x="710089" y="283083"/>
                  </a:lnTo>
                  <a:lnTo>
                    <a:pt x="706850" y="283464"/>
                  </a:lnTo>
                  <a:lnTo>
                    <a:pt x="703136" y="279083"/>
                  </a:lnTo>
                  <a:lnTo>
                    <a:pt x="705898" y="275558"/>
                  </a:lnTo>
                  <a:lnTo>
                    <a:pt x="705517" y="272415"/>
                  </a:lnTo>
                  <a:lnTo>
                    <a:pt x="706660" y="269081"/>
                  </a:lnTo>
                  <a:lnTo>
                    <a:pt x="704660" y="266129"/>
                  </a:lnTo>
                  <a:lnTo>
                    <a:pt x="704279" y="262890"/>
                  </a:lnTo>
                  <a:lnTo>
                    <a:pt x="699897" y="253841"/>
                  </a:lnTo>
                  <a:lnTo>
                    <a:pt x="705803" y="249936"/>
                  </a:lnTo>
                  <a:lnTo>
                    <a:pt x="703802" y="246983"/>
                  </a:lnTo>
                  <a:lnTo>
                    <a:pt x="706565" y="243364"/>
                  </a:lnTo>
                  <a:lnTo>
                    <a:pt x="702850" y="239078"/>
                  </a:lnTo>
                  <a:lnTo>
                    <a:pt x="706755" y="232124"/>
                  </a:lnTo>
                  <a:lnTo>
                    <a:pt x="704945" y="230791"/>
                  </a:lnTo>
                  <a:lnTo>
                    <a:pt x="701231" y="213646"/>
                  </a:lnTo>
                  <a:lnTo>
                    <a:pt x="695420" y="206312"/>
                  </a:lnTo>
                  <a:lnTo>
                    <a:pt x="691134" y="197263"/>
                  </a:lnTo>
                  <a:lnTo>
                    <a:pt x="689515" y="197453"/>
                  </a:lnTo>
                  <a:lnTo>
                    <a:pt x="686181" y="196310"/>
                  </a:lnTo>
                  <a:lnTo>
                    <a:pt x="684562" y="196501"/>
                  </a:lnTo>
                  <a:lnTo>
                    <a:pt x="684181" y="193358"/>
                  </a:lnTo>
                  <a:lnTo>
                    <a:pt x="682847" y="195072"/>
                  </a:lnTo>
                  <a:lnTo>
                    <a:pt x="680847" y="192119"/>
                  </a:lnTo>
                  <a:lnTo>
                    <a:pt x="674465" y="192977"/>
                  </a:lnTo>
                  <a:lnTo>
                    <a:pt x="674084" y="189833"/>
                  </a:lnTo>
                  <a:lnTo>
                    <a:pt x="672560" y="190024"/>
                  </a:lnTo>
                  <a:lnTo>
                    <a:pt x="665798" y="187643"/>
                  </a:lnTo>
                  <a:lnTo>
                    <a:pt x="660654" y="185071"/>
                  </a:lnTo>
                  <a:lnTo>
                    <a:pt x="649224" y="170498"/>
                  </a:lnTo>
                  <a:lnTo>
                    <a:pt x="648367" y="164211"/>
                  </a:lnTo>
                  <a:lnTo>
                    <a:pt x="640842" y="155543"/>
                  </a:lnTo>
                  <a:lnTo>
                    <a:pt x="638651" y="150971"/>
                  </a:lnTo>
                  <a:lnTo>
                    <a:pt x="635318" y="124206"/>
                  </a:lnTo>
                  <a:lnTo>
                    <a:pt x="631508" y="119824"/>
                  </a:lnTo>
                  <a:lnTo>
                    <a:pt x="633698" y="111538"/>
                  </a:lnTo>
                  <a:lnTo>
                    <a:pt x="632841" y="105251"/>
                  </a:lnTo>
                  <a:lnTo>
                    <a:pt x="634079" y="101918"/>
                  </a:lnTo>
                  <a:lnTo>
                    <a:pt x="638366" y="98108"/>
                  </a:lnTo>
                  <a:lnTo>
                    <a:pt x="639509" y="94774"/>
                  </a:lnTo>
                  <a:lnTo>
                    <a:pt x="646843" y="89059"/>
                  </a:lnTo>
                  <a:lnTo>
                    <a:pt x="647605" y="82487"/>
                  </a:lnTo>
                  <a:lnTo>
                    <a:pt x="643223" y="73438"/>
                  </a:lnTo>
                  <a:lnTo>
                    <a:pt x="636556" y="71057"/>
                  </a:lnTo>
                  <a:lnTo>
                    <a:pt x="638270" y="59626"/>
                  </a:lnTo>
                  <a:lnTo>
                    <a:pt x="637318" y="51721"/>
                  </a:lnTo>
                  <a:lnTo>
                    <a:pt x="622459" y="48863"/>
                  </a:lnTo>
                  <a:lnTo>
                    <a:pt x="619316" y="49244"/>
                  </a:lnTo>
                  <a:lnTo>
                    <a:pt x="617982" y="51054"/>
                  </a:lnTo>
                  <a:lnTo>
                    <a:pt x="612172" y="43720"/>
                  </a:lnTo>
                  <a:lnTo>
                    <a:pt x="615125" y="41720"/>
                  </a:lnTo>
                  <a:lnTo>
                    <a:pt x="613124" y="38767"/>
                  </a:lnTo>
                  <a:lnTo>
                    <a:pt x="610743" y="32671"/>
                  </a:lnTo>
                  <a:lnTo>
                    <a:pt x="613696" y="30670"/>
                  </a:lnTo>
                  <a:lnTo>
                    <a:pt x="611981" y="29337"/>
                  </a:lnTo>
                  <a:lnTo>
                    <a:pt x="597980" y="32671"/>
                  </a:lnTo>
                  <a:lnTo>
                    <a:pt x="592074" y="36671"/>
                  </a:lnTo>
                  <a:lnTo>
                    <a:pt x="587121" y="35719"/>
                  </a:lnTo>
                  <a:lnTo>
                    <a:pt x="583025" y="41053"/>
                  </a:lnTo>
                  <a:lnTo>
                    <a:pt x="583787" y="47339"/>
                  </a:lnTo>
                  <a:lnTo>
                    <a:pt x="577691" y="49720"/>
                  </a:lnTo>
                  <a:lnTo>
                    <a:pt x="569024" y="44387"/>
                  </a:lnTo>
                  <a:lnTo>
                    <a:pt x="565595" y="43244"/>
                  </a:lnTo>
                  <a:lnTo>
                    <a:pt x="568547" y="41243"/>
                  </a:lnTo>
                  <a:lnTo>
                    <a:pt x="569309" y="34766"/>
                  </a:lnTo>
                  <a:lnTo>
                    <a:pt x="568928" y="31623"/>
                  </a:lnTo>
                  <a:lnTo>
                    <a:pt x="568547" y="15621"/>
                  </a:lnTo>
                  <a:lnTo>
                    <a:pt x="565499" y="4763"/>
                  </a:lnTo>
                  <a:lnTo>
                    <a:pt x="553498" y="11144"/>
                  </a:lnTo>
                  <a:lnTo>
                    <a:pt x="545592" y="12097"/>
                  </a:lnTo>
                  <a:lnTo>
                    <a:pt x="544830" y="18669"/>
                  </a:lnTo>
                  <a:lnTo>
                    <a:pt x="539591" y="27337"/>
                  </a:lnTo>
                  <a:lnTo>
                    <a:pt x="538734" y="33814"/>
                  </a:lnTo>
                  <a:lnTo>
                    <a:pt x="542163" y="35052"/>
                  </a:lnTo>
                  <a:lnTo>
                    <a:pt x="545687" y="37814"/>
                  </a:lnTo>
                  <a:lnTo>
                    <a:pt x="540734" y="36767"/>
                  </a:lnTo>
                  <a:lnTo>
                    <a:pt x="536258" y="38957"/>
                  </a:lnTo>
                  <a:lnTo>
                    <a:pt x="530924" y="34862"/>
                  </a:lnTo>
                  <a:lnTo>
                    <a:pt x="524542" y="35624"/>
                  </a:lnTo>
                  <a:lnTo>
                    <a:pt x="519875" y="36290"/>
                  </a:lnTo>
                  <a:lnTo>
                    <a:pt x="515684" y="28766"/>
                  </a:lnTo>
                  <a:lnTo>
                    <a:pt x="515112" y="24003"/>
                  </a:lnTo>
                  <a:lnTo>
                    <a:pt x="522161" y="16669"/>
                  </a:lnTo>
                  <a:lnTo>
                    <a:pt x="518351" y="12383"/>
                  </a:lnTo>
                  <a:lnTo>
                    <a:pt x="505397" y="10859"/>
                  </a:lnTo>
                  <a:lnTo>
                    <a:pt x="500634" y="11430"/>
                  </a:lnTo>
                  <a:lnTo>
                    <a:pt x="500063" y="6668"/>
                  </a:lnTo>
                  <a:lnTo>
                    <a:pt x="495110" y="5715"/>
                  </a:lnTo>
                  <a:lnTo>
                    <a:pt x="494729" y="2572"/>
                  </a:lnTo>
                  <a:lnTo>
                    <a:pt x="489585" y="0"/>
                  </a:lnTo>
                  <a:lnTo>
                    <a:pt x="487966" y="190"/>
                  </a:lnTo>
                  <a:lnTo>
                    <a:pt x="487775" y="11430"/>
                  </a:lnTo>
                  <a:lnTo>
                    <a:pt x="481679" y="13811"/>
                  </a:lnTo>
                  <a:lnTo>
                    <a:pt x="471869" y="11906"/>
                  </a:lnTo>
                  <a:lnTo>
                    <a:pt x="471392" y="8763"/>
                  </a:lnTo>
                  <a:lnTo>
                    <a:pt x="471202" y="7144"/>
                  </a:lnTo>
                  <a:lnTo>
                    <a:pt x="470630" y="2477"/>
                  </a:lnTo>
                  <a:lnTo>
                    <a:pt x="463868" y="95"/>
                  </a:lnTo>
                  <a:lnTo>
                    <a:pt x="459200" y="667"/>
                  </a:lnTo>
                  <a:lnTo>
                    <a:pt x="458438" y="7239"/>
                  </a:lnTo>
                  <a:lnTo>
                    <a:pt x="455200" y="7620"/>
                  </a:lnTo>
                  <a:lnTo>
                    <a:pt x="449485" y="13145"/>
                  </a:lnTo>
                  <a:lnTo>
                    <a:pt x="445008" y="15335"/>
                  </a:lnTo>
                  <a:lnTo>
                    <a:pt x="438436" y="14573"/>
                  </a:lnTo>
                  <a:lnTo>
                    <a:pt x="435959" y="19717"/>
                  </a:lnTo>
                  <a:lnTo>
                    <a:pt x="426911" y="36862"/>
                  </a:lnTo>
                  <a:lnTo>
                    <a:pt x="432245" y="40958"/>
                  </a:lnTo>
                  <a:lnTo>
                    <a:pt x="440150" y="52864"/>
                  </a:lnTo>
                  <a:lnTo>
                    <a:pt x="444246" y="47435"/>
                  </a:lnTo>
                  <a:lnTo>
                    <a:pt x="451771" y="43339"/>
                  </a:lnTo>
                  <a:lnTo>
                    <a:pt x="453581" y="44672"/>
                  </a:lnTo>
                  <a:lnTo>
                    <a:pt x="458534" y="58484"/>
                  </a:lnTo>
                  <a:lnTo>
                    <a:pt x="462725" y="66008"/>
                  </a:lnTo>
                  <a:lnTo>
                    <a:pt x="460915" y="64580"/>
                  </a:lnTo>
                  <a:lnTo>
                    <a:pt x="455200" y="70104"/>
                  </a:lnTo>
                  <a:lnTo>
                    <a:pt x="458534" y="84106"/>
                  </a:lnTo>
                  <a:lnTo>
                    <a:pt x="456248" y="90869"/>
                  </a:lnTo>
                  <a:lnTo>
                    <a:pt x="458248" y="93821"/>
                  </a:lnTo>
                  <a:lnTo>
                    <a:pt x="448723" y="107823"/>
                  </a:lnTo>
                  <a:lnTo>
                    <a:pt x="445770" y="109823"/>
                  </a:lnTo>
                  <a:lnTo>
                    <a:pt x="441674" y="115157"/>
                  </a:lnTo>
                  <a:lnTo>
                    <a:pt x="444056" y="121253"/>
                  </a:lnTo>
                  <a:lnTo>
                    <a:pt x="448056" y="127159"/>
                  </a:lnTo>
                  <a:lnTo>
                    <a:pt x="448818" y="133541"/>
                  </a:lnTo>
                  <a:lnTo>
                    <a:pt x="453581" y="132874"/>
                  </a:lnTo>
                  <a:lnTo>
                    <a:pt x="446437" y="140208"/>
                  </a:lnTo>
                  <a:lnTo>
                    <a:pt x="447294" y="146495"/>
                  </a:lnTo>
                  <a:lnTo>
                    <a:pt x="444532" y="150114"/>
                  </a:lnTo>
                  <a:lnTo>
                    <a:pt x="448056" y="152876"/>
                  </a:lnTo>
                  <a:lnTo>
                    <a:pt x="450056" y="168593"/>
                  </a:lnTo>
                  <a:lnTo>
                    <a:pt x="451104" y="176498"/>
                  </a:lnTo>
                  <a:lnTo>
                    <a:pt x="447961" y="176879"/>
                  </a:lnTo>
                  <a:lnTo>
                    <a:pt x="433578" y="177165"/>
                  </a:lnTo>
                  <a:lnTo>
                    <a:pt x="429387" y="182499"/>
                  </a:lnTo>
                  <a:lnTo>
                    <a:pt x="421481" y="183452"/>
                  </a:lnTo>
                  <a:lnTo>
                    <a:pt x="413195" y="181356"/>
                  </a:lnTo>
                  <a:lnTo>
                    <a:pt x="407670" y="175641"/>
                  </a:lnTo>
                  <a:lnTo>
                    <a:pt x="381000" y="167831"/>
                  </a:lnTo>
                  <a:lnTo>
                    <a:pt x="379095" y="177641"/>
                  </a:lnTo>
                  <a:lnTo>
                    <a:pt x="363093" y="165259"/>
                  </a:lnTo>
                  <a:lnTo>
                    <a:pt x="356711" y="166116"/>
                  </a:lnTo>
                  <a:lnTo>
                    <a:pt x="356140" y="174212"/>
                  </a:lnTo>
                  <a:lnTo>
                    <a:pt x="349853" y="174974"/>
                  </a:lnTo>
                  <a:lnTo>
                    <a:pt x="344900" y="174022"/>
                  </a:lnTo>
                  <a:lnTo>
                    <a:pt x="340233" y="174593"/>
                  </a:lnTo>
                  <a:lnTo>
                    <a:pt x="333280" y="170688"/>
                  </a:lnTo>
                  <a:lnTo>
                    <a:pt x="328803" y="172879"/>
                  </a:lnTo>
                  <a:lnTo>
                    <a:pt x="329184" y="176022"/>
                  </a:lnTo>
                  <a:lnTo>
                    <a:pt x="325660" y="186119"/>
                  </a:lnTo>
                  <a:lnTo>
                    <a:pt x="320326" y="194786"/>
                  </a:lnTo>
                  <a:lnTo>
                    <a:pt x="314420" y="211550"/>
                  </a:lnTo>
                  <a:lnTo>
                    <a:pt x="312896" y="224600"/>
                  </a:lnTo>
                  <a:lnTo>
                    <a:pt x="307181" y="230124"/>
                  </a:lnTo>
                  <a:lnTo>
                    <a:pt x="308324" y="226790"/>
                  </a:lnTo>
                  <a:lnTo>
                    <a:pt x="306610" y="225362"/>
                  </a:lnTo>
                  <a:lnTo>
                    <a:pt x="297752" y="231362"/>
                  </a:lnTo>
                  <a:lnTo>
                    <a:pt x="289655" y="230791"/>
                  </a:lnTo>
                  <a:lnTo>
                    <a:pt x="289179" y="227648"/>
                  </a:lnTo>
                  <a:lnTo>
                    <a:pt x="286036" y="228029"/>
                  </a:lnTo>
                  <a:lnTo>
                    <a:pt x="284131" y="225076"/>
                  </a:lnTo>
                  <a:lnTo>
                    <a:pt x="279178" y="224123"/>
                  </a:lnTo>
                  <a:lnTo>
                    <a:pt x="273844" y="219932"/>
                  </a:lnTo>
                  <a:lnTo>
                    <a:pt x="268891" y="218980"/>
                  </a:lnTo>
                  <a:lnTo>
                    <a:pt x="266319" y="224123"/>
                  </a:lnTo>
                  <a:lnTo>
                    <a:pt x="258604" y="226695"/>
                  </a:lnTo>
                  <a:lnTo>
                    <a:pt x="255270" y="225552"/>
                  </a:lnTo>
                  <a:lnTo>
                    <a:pt x="255080" y="223933"/>
                  </a:lnTo>
                  <a:lnTo>
                    <a:pt x="257270" y="215646"/>
                  </a:lnTo>
                  <a:lnTo>
                    <a:pt x="249746" y="206978"/>
                  </a:lnTo>
                  <a:lnTo>
                    <a:pt x="237077" y="208598"/>
                  </a:lnTo>
                  <a:lnTo>
                    <a:pt x="231743" y="204502"/>
                  </a:lnTo>
                  <a:lnTo>
                    <a:pt x="217742" y="194977"/>
                  </a:lnTo>
                  <a:lnTo>
                    <a:pt x="208407" y="197834"/>
                  </a:lnTo>
                  <a:lnTo>
                    <a:pt x="196215" y="189738"/>
                  </a:lnTo>
                  <a:lnTo>
                    <a:pt x="187738" y="186023"/>
                  </a:lnTo>
                  <a:lnTo>
                    <a:pt x="180213" y="202978"/>
                  </a:lnTo>
                  <a:lnTo>
                    <a:pt x="177260" y="204978"/>
                  </a:lnTo>
                  <a:lnTo>
                    <a:pt x="172593" y="205550"/>
                  </a:lnTo>
                  <a:lnTo>
                    <a:pt x="168212" y="209360"/>
                  </a:lnTo>
                  <a:lnTo>
                    <a:pt x="153448" y="206407"/>
                  </a:lnTo>
                  <a:lnTo>
                    <a:pt x="152210" y="209741"/>
                  </a:lnTo>
                  <a:lnTo>
                    <a:pt x="154781" y="217456"/>
                  </a:lnTo>
                  <a:lnTo>
                    <a:pt x="150495" y="221266"/>
                  </a:lnTo>
                  <a:lnTo>
                    <a:pt x="151448" y="229076"/>
                  </a:lnTo>
                  <a:lnTo>
                    <a:pt x="148971" y="234220"/>
                  </a:lnTo>
                  <a:lnTo>
                    <a:pt x="150114" y="243745"/>
                  </a:lnTo>
                  <a:lnTo>
                    <a:pt x="148019" y="252032"/>
                  </a:lnTo>
                  <a:lnTo>
                    <a:pt x="140303" y="254603"/>
                  </a:lnTo>
                  <a:lnTo>
                    <a:pt x="135541" y="255175"/>
                  </a:lnTo>
                  <a:lnTo>
                    <a:pt x="135350" y="253651"/>
                  </a:lnTo>
                  <a:lnTo>
                    <a:pt x="134398" y="258604"/>
                  </a:lnTo>
                  <a:lnTo>
                    <a:pt x="130683" y="254222"/>
                  </a:lnTo>
                  <a:lnTo>
                    <a:pt x="124301" y="255080"/>
                  </a:lnTo>
                  <a:lnTo>
                    <a:pt x="122301" y="252127"/>
                  </a:lnTo>
                  <a:lnTo>
                    <a:pt x="114014" y="249936"/>
                  </a:lnTo>
                  <a:lnTo>
                    <a:pt x="111633" y="243840"/>
                  </a:lnTo>
                  <a:lnTo>
                    <a:pt x="102965" y="238506"/>
                  </a:lnTo>
                  <a:lnTo>
                    <a:pt x="99822" y="238887"/>
                  </a:lnTo>
                  <a:lnTo>
                    <a:pt x="98393" y="240697"/>
                  </a:lnTo>
                  <a:lnTo>
                    <a:pt x="96679" y="239268"/>
                  </a:lnTo>
                  <a:lnTo>
                    <a:pt x="92107" y="241459"/>
                  </a:lnTo>
                  <a:lnTo>
                    <a:pt x="94869" y="237935"/>
                  </a:lnTo>
                  <a:lnTo>
                    <a:pt x="95822" y="232982"/>
                  </a:lnTo>
                  <a:lnTo>
                    <a:pt x="92678" y="233363"/>
                  </a:lnTo>
                  <a:lnTo>
                    <a:pt x="90964" y="232029"/>
                  </a:lnTo>
                  <a:lnTo>
                    <a:pt x="83249" y="234601"/>
                  </a:lnTo>
                  <a:lnTo>
                    <a:pt x="79058" y="239935"/>
                  </a:lnTo>
                  <a:lnTo>
                    <a:pt x="73533" y="234220"/>
                  </a:lnTo>
                  <a:lnTo>
                    <a:pt x="67437" y="236601"/>
                  </a:lnTo>
                  <a:lnTo>
                    <a:pt x="71247" y="240983"/>
                  </a:lnTo>
                  <a:lnTo>
                    <a:pt x="69818" y="242697"/>
                  </a:lnTo>
                  <a:lnTo>
                    <a:pt x="73152" y="243935"/>
                  </a:lnTo>
                  <a:lnTo>
                    <a:pt x="74581" y="242126"/>
                  </a:lnTo>
                  <a:lnTo>
                    <a:pt x="77915" y="243269"/>
                  </a:lnTo>
                  <a:lnTo>
                    <a:pt x="78296" y="246507"/>
                  </a:lnTo>
                  <a:lnTo>
                    <a:pt x="74771" y="243745"/>
                  </a:lnTo>
                  <a:lnTo>
                    <a:pt x="72200" y="248888"/>
                  </a:lnTo>
                  <a:lnTo>
                    <a:pt x="74009" y="250222"/>
                  </a:lnTo>
                  <a:lnTo>
                    <a:pt x="73057" y="255175"/>
                  </a:lnTo>
                  <a:lnTo>
                    <a:pt x="74771" y="256508"/>
                  </a:lnTo>
                  <a:lnTo>
                    <a:pt x="76391" y="256318"/>
                  </a:lnTo>
                  <a:lnTo>
                    <a:pt x="78200" y="257746"/>
                  </a:lnTo>
                  <a:lnTo>
                    <a:pt x="78391" y="259270"/>
                  </a:lnTo>
                  <a:lnTo>
                    <a:pt x="78581" y="260890"/>
                  </a:lnTo>
                  <a:lnTo>
                    <a:pt x="72676" y="264795"/>
                  </a:lnTo>
                  <a:lnTo>
                    <a:pt x="71438" y="268224"/>
                  </a:lnTo>
                  <a:lnTo>
                    <a:pt x="77057" y="273844"/>
                  </a:lnTo>
                  <a:lnTo>
                    <a:pt x="71723" y="282607"/>
                  </a:lnTo>
                  <a:lnTo>
                    <a:pt x="66580" y="280035"/>
                  </a:lnTo>
                  <a:lnTo>
                    <a:pt x="61817" y="280607"/>
                  </a:lnTo>
                  <a:lnTo>
                    <a:pt x="62008" y="282226"/>
                  </a:lnTo>
                  <a:lnTo>
                    <a:pt x="56483" y="289370"/>
                  </a:lnTo>
                  <a:lnTo>
                    <a:pt x="54959" y="302324"/>
                  </a:lnTo>
                  <a:lnTo>
                    <a:pt x="54007" y="307277"/>
                  </a:lnTo>
                  <a:lnTo>
                    <a:pt x="51054" y="309277"/>
                  </a:lnTo>
                  <a:lnTo>
                    <a:pt x="50292" y="315754"/>
                  </a:lnTo>
                  <a:lnTo>
                    <a:pt x="59150" y="322707"/>
                  </a:lnTo>
                  <a:lnTo>
                    <a:pt x="56388" y="326231"/>
                  </a:lnTo>
                  <a:lnTo>
                    <a:pt x="50102" y="326993"/>
                  </a:lnTo>
                  <a:lnTo>
                    <a:pt x="48482" y="327279"/>
                  </a:lnTo>
                  <a:lnTo>
                    <a:pt x="49721" y="323850"/>
                  </a:lnTo>
                  <a:lnTo>
                    <a:pt x="47339" y="317754"/>
                  </a:lnTo>
                  <a:lnTo>
                    <a:pt x="44768" y="322898"/>
                  </a:lnTo>
                  <a:lnTo>
                    <a:pt x="44958" y="324517"/>
                  </a:lnTo>
                  <a:lnTo>
                    <a:pt x="41243" y="332994"/>
                  </a:lnTo>
                  <a:lnTo>
                    <a:pt x="32195" y="337376"/>
                  </a:lnTo>
                  <a:lnTo>
                    <a:pt x="22860" y="340138"/>
                  </a:lnTo>
                  <a:lnTo>
                    <a:pt x="18955" y="346996"/>
                  </a:lnTo>
                  <a:lnTo>
                    <a:pt x="19812" y="353378"/>
                  </a:lnTo>
                  <a:lnTo>
                    <a:pt x="15621" y="358712"/>
                  </a:lnTo>
                  <a:lnTo>
                    <a:pt x="15050" y="366808"/>
                  </a:lnTo>
                  <a:lnTo>
                    <a:pt x="22003" y="370713"/>
                  </a:lnTo>
                  <a:lnTo>
                    <a:pt x="22574" y="375476"/>
                  </a:lnTo>
                  <a:lnTo>
                    <a:pt x="8192" y="388525"/>
                  </a:lnTo>
                  <a:lnTo>
                    <a:pt x="6477" y="387096"/>
                  </a:lnTo>
                  <a:lnTo>
                    <a:pt x="191" y="400717"/>
                  </a:lnTo>
                  <a:lnTo>
                    <a:pt x="0" y="412052"/>
                  </a:lnTo>
                  <a:lnTo>
                    <a:pt x="4953" y="413004"/>
                  </a:lnTo>
                  <a:lnTo>
                    <a:pt x="9620" y="412337"/>
                  </a:lnTo>
                  <a:lnTo>
                    <a:pt x="11240" y="412147"/>
                  </a:lnTo>
                  <a:lnTo>
                    <a:pt x="10478" y="418719"/>
                  </a:lnTo>
                  <a:lnTo>
                    <a:pt x="10859" y="421862"/>
                  </a:lnTo>
                  <a:lnTo>
                    <a:pt x="11049" y="423386"/>
                  </a:lnTo>
                  <a:lnTo>
                    <a:pt x="13811" y="432721"/>
                  </a:lnTo>
                  <a:lnTo>
                    <a:pt x="14288" y="435864"/>
                  </a:lnTo>
                  <a:lnTo>
                    <a:pt x="10763" y="445961"/>
                  </a:lnTo>
                  <a:lnTo>
                    <a:pt x="17812" y="451390"/>
                  </a:lnTo>
                  <a:lnTo>
                    <a:pt x="16478" y="453200"/>
                  </a:lnTo>
                  <a:lnTo>
                    <a:pt x="16859" y="456343"/>
                  </a:lnTo>
                  <a:lnTo>
                    <a:pt x="24003" y="461867"/>
                  </a:lnTo>
                  <a:lnTo>
                    <a:pt x="26956" y="472726"/>
                  </a:lnTo>
                  <a:lnTo>
                    <a:pt x="24384" y="477869"/>
                  </a:lnTo>
                  <a:lnTo>
                    <a:pt x="29337" y="478822"/>
                  </a:lnTo>
                  <a:lnTo>
                    <a:pt x="33338" y="484727"/>
                  </a:lnTo>
                  <a:lnTo>
                    <a:pt x="32099" y="488061"/>
                  </a:lnTo>
                  <a:lnTo>
                    <a:pt x="42196" y="491585"/>
                  </a:lnTo>
                  <a:lnTo>
                    <a:pt x="41434" y="498158"/>
                  </a:lnTo>
                  <a:lnTo>
                    <a:pt x="43053" y="497967"/>
                  </a:lnTo>
                  <a:lnTo>
                    <a:pt x="41624" y="499682"/>
                  </a:lnTo>
                  <a:lnTo>
                    <a:pt x="44768" y="499301"/>
                  </a:lnTo>
                  <a:lnTo>
                    <a:pt x="46006" y="508826"/>
                  </a:lnTo>
                  <a:lnTo>
                    <a:pt x="47625" y="508540"/>
                  </a:lnTo>
                  <a:lnTo>
                    <a:pt x="48006" y="511778"/>
                  </a:lnTo>
                  <a:lnTo>
                    <a:pt x="50006" y="514731"/>
                  </a:lnTo>
                  <a:lnTo>
                    <a:pt x="51149" y="524161"/>
                  </a:lnTo>
                  <a:lnTo>
                    <a:pt x="50006" y="527495"/>
                  </a:lnTo>
                  <a:lnTo>
                    <a:pt x="56864" y="531400"/>
                  </a:lnTo>
                  <a:lnTo>
                    <a:pt x="59531" y="539115"/>
                  </a:lnTo>
                  <a:lnTo>
                    <a:pt x="61055" y="538925"/>
                  </a:lnTo>
                  <a:lnTo>
                    <a:pt x="59722" y="540734"/>
                  </a:lnTo>
                  <a:lnTo>
                    <a:pt x="62865" y="540353"/>
                  </a:lnTo>
                  <a:lnTo>
                    <a:pt x="61627" y="543687"/>
                  </a:lnTo>
                  <a:lnTo>
                    <a:pt x="63437" y="545021"/>
                  </a:lnTo>
                  <a:lnTo>
                    <a:pt x="62103" y="546830"/>
                  </a:lnTo>
                  <a:lnTo>
                    <a:pt x="63627" y="546640"/>
                  </a:lnTo>
                  <a:lnTo>
                    <a:pt x="65246" y="546449"/>
                  </a:lnTo>
                  <a:lnTo>
                    <a:pt x="65437" y="547973"/>
                  </a:lnTo>
                  <a:lnTo>
                    <a:pt x="64484" y="552926"/>
                  </a:lnTo>
                  <a:lnTo>
                    <a:pt x="66389" y="555879"/>
                  </a:lnTo>
                  <a:lnTo>
                    <a:pt x="67818" y="554069"/>
                  </a:lnTo>
                  <a:lnTo>
                    <a:pt x="67056" y="560642"/>
                  </a:lnTo>
                  <a:lnTo>
                    <a:pt x="75343" y="562737"/>
                  </a:lnTo>
                  <a:lnTo>
                    <a:pt x="76676" y="561023"/>
                  </a:lnTo>
                  <a:lnTo>
                    <a:pt x="76867" y="562547"/>
                  </a:lnTo>
                  <a:lnTo>
                    <a:pt x="76867" y="562547"/>
                  </a:lnTo>
                  <a:lnTo>
                    <a:pt x="78677" y="563975"/>
                  </a:lnTo>
                  <a:lnTo>
                    <a:pt x="78486" y="562356"/>
                  </a:lnTo>
                  <a:lnTo>
                    <a:pt x="83439" y="563309"/>
                  </a:lnTo>
                  <a:lnTo>
                    <a:pt x="86582" y="562928"/>
                  </a:lnTo>
                  <a:lnTo>
                    <a:pt x="86773" y="564547"/>
                  </a:lnTo>
                  <a:lnTo>
                    <a:pt x="85439" y="566261"/>
                  </a:lnTo>
                  <a:lnTo>
                    <a:pt x="90297" y="567309"/>
                  </a:lnTo>
                  <a:lnTo>
                    <a:pt x="89726" y="575405"/>
                  </a:lnTo>
                  <a:lnTo>
                    <a:pt x="93155" y="576548"/>
                  </a:lnTo>
                  <a:lnTo>
                    <a:pt x="95345" y="581120"/>
                  </a:lnTo>
                  <a:lnTo>
                    <a:pt x="97917" y="588740"/>
                  </a:lnTo>
                  <a:lnTo>
                    <a:pt x="99441" y="588550"/>
                  </a:lnTo>
                  <a:lnTo>
                    <a:pt x="98679" y="595122"/>
                  </a:lnTo>
                  <a:lnTo>
                    <a:pt x="105251" y="595884"/>
                  </a:lnTo>
                  <a:lnTo>
                    <a:pt x="103823" y="597599"/>
                  </a:lnTo>
                  <a:lnTo>
                    <a:pt x="107633" y="601980"/>
                  </a:lnTo>
                  <a:lnTo>
                    <a:pt x="109919" y="595217"/>
                  </a:lnTo>
                  <a:lnTo>
                    <a:pt x="108204" y="593884"/>
                  </a:lnTo>
                  <a:lnTo>
                    <a:pt x="113252" y="583597"/>
                  </a:lnTo>
                  <a:lnTo>
                    <a:pt x="124301" y="582168"/>
                  </a:lnTo>
                  <a:lnTo>
                    <a:pt x="121349" y="584168"/>
                  </a:lnTo>
                  <a:lnTo>
                    <a:pt x="125159" y="588550"/>
                  </a:lnTo>
                  <a:lnTo>
                    <a:pt x="127730" y="596170"/>
                  </a:lnTo>
                  <a:lnTo>
                    <a:pt x="129445" y="597599"/>
                  </a:lnTo>
                  <a:lnTo>
                    <a:pt x="137732" y="599694"/>
                  </a:lnTo>
                  <a:lnTo>
                    <a:pt x="142494" y="599123"/>
                  </a:lnTo>
                  <a:lnTo>
                    <a:pt x="145256" y="595598"/>
                  </a:lnTo>
                  <a:lnTo>
                    <a:pt x="139732" y="589883"/>
                  </a:lnTo>
                  <a:lnTo>
                    <a:pt x="139541" y="588264"/>
                  </a:lnTo>
                  <a:lnTo>
                    <a:pt x="149162" y="588645"/>
                  </a:lnTo>
                  <a:lnTo>
                    <a:pt x="150590" y="586835"/>
                  </a:lnTo>
                  <a:lnTo>
                    <a:pt x="153162" y="581692"/>
                  </a:lnTo>
                  <a:lnTo>
                    <a:pt x="159639" y="582549"/>
                  </a:lnTo>
                  <a:lnTo>
                    <a:pt x="161258" y="582263"/>
                  </a:lnTo>
                  <a:lnTo>
                    <a:pt x="161449" y="583883"/>
                  </a:lnTo>
                  <a:lnTo>
                    <a:pt x="160020" y="585692"/>
                  </a:lnTo>
                  <a:lnTo>
                    <a:pt x="160687" y="590360"/>
                  </a:lnTo>
                  <a:lnTo>
                    <a:pt x="159258" y="592169"/>
                  </a:lnTo>
                  <a:lnTo>
                    <a:pt x="164783" y="597884"/>
                  </a:lnTo>
                  <a:lnTo>
                    <a:pt x="163068" y="596551"/>
                  </a:lnTo>
                  <a:lnTo>
                    <a:pt x="160306" y="600075"/>
                  </a:lnTo>
                  <a:lnTo>
                    <a:pt x="159258" y="605028"/>
                  </a:lnTo>
                  <a:lnTo>
                    <a:pt x="161068" y="606362"/>
                  </a:lnTo>
                  <a:lnTo>
                    <a:pt x="162497" y="617411"/>
                  </a:lnTo>
                  <a:lnTo>
                    <a:pt x="168021" y="623126"/>
                  </a:lnTo>
                  <a:lnTo>
                    <a:pt x="169640" y="622935"/>
                  </a:lnTo>
                  <a:lnTo>
                    <a:pt x="170593" y="617982"/>
                  </a:lnTo>
                  <a:lnTo>
                    <a:pt x="172593" y="620935"/>
                  </a:lnTo>
                  <a:lnTo>
                    <a:pt x="173927" y="619220"/>
                  </a:lnTo>
                  <a:lnTo>
                    <a:pt x="174117" y="620744"/>
                  </a:lnTo>
                  <a:lnTo>
                    <a:pt x="177260" y="620363"/>
                  </a:lnTo>
                  <a:lnTo>
                    <a:pt x="175927" y="622173"/>
                  </a:lnTo>
                  <a:lnTo>
                    <a:pt x="175927" y="622173"/>
                  </a:lnTo>
                  <a:lnTo>
                    <a:pt x="181070" y="624650"/>
                  </a:lnTo>
                  <a:lnTo>
                    <a:pt x="183071" y="627602"/>
                  </a:lnTo>
                  <a:lnTo>
                    <a:pt x="185738" y="624078"/>
                  </a:lnTo>
                  <a:lnTo>
                    <a:pt x="183642" y="619506"/>
                  </a:lnTo>
                  <a:lnTo>
                    <a:pt x="187738" y="614172"/>
                  </a:lnTo>
                  <a:lnTo>
                    <a:pt x="188119" y="617411"/>
                  </a:lnTo>
                  <a:lnTo>
                    <a:pt x="194691" y="618173"/>
                  </a:lnTo>
                  <a:lnTo>
                    <a:pt x="196215" y="617982"/>
                  </a:lnTo>
                  <a:lnTo>
                    <a:pt x="196977" y="611410"/>
                  </a:lnTo>
                  <a:lnTo>
                    <a:pt x="201930" y="612362"/>
                  </a:lnTo>
                  <a:lnTo>
                    <a:pt x="204121" y="616934"/>
                  </a:lnTo>
                  <a:lnTo>
                    <a:pt x="209074" y="617887"/>
                  </a:lnTo>
                  <a:lnTo>
                    <a:pt x="208407" y="613220"/>
                  </a:lnTo>
                  <a:lnTo>
                    <a:pt x="209836" y="611410"/>
                  </a:lnTo>
                  <a:lnTo>
                    <a:pt x="221266" y="613124"/>
                  </a:lnTo>
                  <a:lnTo>
                    <a:pt x="227552" y="612362"/>
                  </a:lnTo>
                  <a:lnTo>
                    <a:pt x="227362" y="610743"/>
                  </a:lnTo>
                  <a:lnTo>
                    <a:pt x="237839" y="617411"/>
                  </a:lnTo>
                  <a:lnTo>
                    <a:pt x="237839" y="617411"/>
                  </a:lnTo>
                  <a:lnTo>
                    <a:pt x="239268" y="615696"/>
                  </a:lnTo>
                  <a:lnTo>
                    <a:pt x="236220" y="604838"/>
                  </a:lnTo>
                  <a:lnTo>
                    <a:pt x="242316" y="602456"/>
                  </a:lnTo>
                  <a:lnTo>
                    <a:pt x="242126" y="600837"/>
                  </a:lnTo>
                  <a:lnTo>
                    <a:pt x="251841" y="601218"/>
                  </a:lnTo>
                  <a:lnTo>
                    <a:pt x="254603" y="597694"/>
                  </a:lnTo>
                  <a:lnTo>
                    <a:pt x="257937" y="598837"/>
                  </a:lnTo>
                  <a:lnTo>
                    <a:pt x="261652" y="577501"/>
                  </a:lnTo>
                  <a:lnTo>
                    <a:pt x="261271" y="574358"/>
                  </a:lnTo>
                  <a:lnTo>
                    <a:pt x="280988" y="578263"/>
                  </a:lnTo>
                  <a:lnTo>
                    <a:pt x="282131" y="574929"/>
                  </a:lnTo>
                  <a:lnTo>
                    <a:pt x="284131" y="565023"/>
                  </a:lnTo>
                  <a:lnTo>
                    <a:pt x="278130" y="543401"/>
                  </a:lnTo>
                  <a:lnTo>
                    <a:pt x="278321" y="532067"/>
                  </a:lnTo>
                  <a:lnTo>
                    <a:pt x="312896" y="538925"/>
                  </a:lnTo>
                  <a:lnTo>
                    <a:pt x="332232" y="552450"/>
                  </a:lnTo>
                  <a:lnTo>
                    <a:pt x="346424" y="537877"/>
                  </a:lnTo>
                  <a:lnTo>
                    <a:pt x="349568" y="537496"/>
                  </a:lnTo>
                  <a:lnTo>
                    <a:pt x="352330" y="533876"/>
                  </a:lnTo>
                  <a:lnTo>
                    <a:pt x="353473" y="530543"/>
                  </a:lnTo>
                  <a:lnTo>
                    <a:pt x="351473" y="527590"/>
                  </a:lnTo>
                  <a:lnTo>
                    <a:pt x="346139" y="523494"/>
                  </a:lnTo>
                  <a:lnTo>
                    <a:pt x="347091" y="518541"/>
                  </a:lnTo>
                  <a:lnTo>
                    <a:pt x="345186" y="515588"/>
                  </a:lnTo>
                  <a:lnTo>
                    <a:pt x="357569" y="512350"/>
                  </a:lnTo>
                  <a:lnTo>
                    <a:pt x="357378" y="510826"/>
                  </a:lnTo>
                  <a:lnTo>
                    <a:pt x="364903" y="506635"/>
                  </a:lnTo>
                  <a:lnTo>
                    <a:pt x="369570" y="506063"/>
                  </a:lnTo>
                  <a:lnTo>
                    <a:pt x="372713" y="505587"/>
                  </a:lnTo>
                  <a:lnTo>
                    <a:pt x="375476" y="502063"/>
                  </a:lnTo>
                  <a:lnTo>
                    <a:pt x="376142" y="506825"/>
                  </a:lnTo>
                  <a:lnTo>
                    <a:pt x="381857" y="501301"/>
                  </a:lnTo>
                  <a:lnTo>
                    <a:pt x="387953" y="498920"/>
                  </a:lnTo>
                  <a:lnTo>
                    <a:pt x="383572" y="489871"/>
                  </a:lnTo>
                  <a:lnTo>
                    <a:pt x="385191" y="489585"/>
                  </a:lnTo>
                  <a:lnTo>
                    <a:pt x="380810" y="480536"/>
                  </a:lnTo>
                  <a:lnTo>
                    <a:pt x="377666" y="480917"/>
                  </a:lnTo>
                  <a:lnTo>
                    <a:pt x="383762" y="478536"/>
                  </a:lnTo>
                  <a:lnTo>
                    <a:pt x="385096" y="476822"/>
                  </a:lnTo>
                  <a:lnTo>
                    <a:pt x="388430" y="477965"/>
                  </a:lnTo>
                  <a:lnTo>
                    <a:pt x="388239" y="476441"/>
                  </a:lnTo>
                  <a:lnTo>
                    <a:pt x="391478" y="475964"/>
                  </a:lnTo>
                  <a:lnTo>
                    <a:pt x="393192" y="477393"/>
                  </a:lnTo>
                  <a:lnTo>
                    <a:pt x="386620" y="463772"/>
                  </a:lnTo>
                  <a:lnTo>
                    <a:pt x="391192" y="461582"/>
                  </a:lnTo>
                  <a:lnTo>
                    <a:pt x="404241" y="463106"/>
                  </a:lnTo>
                  <a:lnTo>
                    <a:pt x="402812" y="464915"/>
                  </a:lnTo>
                  <a:lnTo>
                    <a:pt x="405194" y="471011"/>
                  </a:lnTo>
                  <a:lnTo>
                    <a:pt x="402241" y="473012"/>
                  </a:lnTo>
                  <a:lnTo>
                    <a:pt x="404241" y="475964"/>
                  </a:lnTo>
                  <a:lnTo>
                    <a:pt x="407384" y="475583"/>
                  </a:lnTo>
                  <a:lnTo>
                    <a:pt x="411004" y="478346"/>
                  </a:lnTo>
                  <a:lnTo>
                    <a:pt x="410528" y="475202"/>
                  </a:lnTo>
                  <a:lnTo>
                    <a:pt x="415481" y="476155"/>
                  </a:lnTo>
                  <a:lnTo>
                    <a:pt x="419862" y="485204"/>
                  </a:lnTo>
                  <a:lnTo>
                    <a:pt x="415100" y="485775"/>
                  </a:lnTo>
                  <a:lnTo>
                    <a:pt x="418529" y="487013"/>
                  </a:lnTo>
                  <a:lnTo>
                    <a:pt x="420434" y="489966"/>
                  </a:lnTo>
                  <a:lnTo>
                    <a:pt x="425196" y="489299"/>
                  </a:lnTo>
                  <a:lnTo>
                    <a:pt x="428720" y="492062"/>
                  </a:lnTo>
                  <a:lnTo>
                    <a:pt x="427958" y="485775"/>
                  </a:lnTo>
                  <a:lnTo>
                    <a:pt x="432721" y="485204"/>
                  </a:lnTo>
                  <a:lnTo>
                    <a:pt x="433483" y="478631"/>
                  </a:lnTo>
                  <a:lnTo>
                    <a:pt x="434816" y="476917"/>
                  </a:lnTo>
                  <a:lnTo>
                    <a:pt x="438245" y="478060"/>
                  </a:lnTo>
                  <a:lnTo>
                    <a:pt x="435293" y="480060"/>
                  </a:lnTo>
                  <a:lnTo>
                    <a:pt x="437007" y="481394"/>
                  </a:lnTo>
                  <a:lnTo>
                    <a:pt x="440150" y="481013"/>
                  </a:lnTo>
                  <a:lnTo>
                    <a:pt x="442151" y="483965"/>
                  </a:lnTo>
                  <a:lnTo>
                    <a:pt x="446913" y="483394"/>
                  </a:lnTo>
                  <a:lnTo>
                    <a:pt x="450056" y="482918"/>
                  </a:lnTo>
                  <a:lnTo>
                    <a:pt x="455962" y="479012"/>
                  </a:lnTo>
                  <a:lnTo>
                    <a:pt x="456343" y="482156"/>
                  </a:lnTo>
                  <a:lnTo>
                    <a:pt x="455200" y="485489"/>
                  </a:lnTo>
                  <a:lnTo>
                    <a:pt x="457010" y="486918"/>
                  </a:lnTo>
                  <a:lnTo>
                    <a:pt x="463487" y="500444"/>
                  </a:lnTo>
                  <a:lnTo>
                    <a:pt x="465106" y="500253"/>
                  </a:lnTo>
                  <a:lnTo>
                    <a:pt x="466630" y="500063"/>
                  </a:lnTo>
                  <a:lnTo>
                    <a:pt x="471773" y="502634"/>
                  </a:lnTo>
                  <a:lnTo>
                    <a:pt x="472631" y="508921"/>
                  </a:lnTo>
                  <a:lnTo>
                    <a:pt x="473964" y="507206"/>
                  </a:lnTo>
                  <a:lnTo>
                    <a:pt x="477107" y="506730"/>
                  </a:lnTo>
                  <a:lnTo>
                    <a:pt x="477298" y="508349"/>
                  </a:lnTo>
                  <a:lnTo>
                    <a:pt x="476345" y="513302"/>
                  </a:lnTo>
                  <a:lnTo>
                    <a:pt x="480155" y="517589"/>
                  </a:lnTo>
                  <a:lnTo>
                    <a:pt x="479108" y="522542"/>
                  </a:lnTo>
                  <a:lnTo>
                    <a:pt x="483489" y="518827"/>
                  </a:lnTo>
                  <a:lnTo>
                    <a:pt x="485299" y="520160"/>
                  </a:lnTo>
                  <a:lnTo>
                    <a:pt x="489776" y="517970"/>
                  </a:lnTo>
                  <a:lnTo>
                    <a:pt x="494538" y="517398"/>
                  </a:lnTo>
                  <a:lnTo>
                    <a:pt x="494538" y="517398"/>
                  </a:lnTo>
                  <a:lnTo>
                    <a:pt x="498729" y="524828"/>
                  </a:lnTo>
                  <a:lnTo>
                    <a:pt x="503873" y="527399"/>
                  </a:lnTo>
                  <a:lnTo>
                    <a:pt x="502634" y="530828"/>
                  </a:lnTo>
                  <a:lnTo>
                    <a:pt x="507397" y="530162"/>
                  </a:lnTo>
                  <a:lnTo>
                    <a:pt x="516255" y="537020"/>
                  </a:lnTo>
                  <a:lnTo>
                    <a:pt x="513493" y="540639"/>
                  </a:lnTo>
                  <a:lnTo>
                    <a:pt x="513683" y="542163"/>
                  </a:lnTo>
                  <a:lnTo>
                    <a:pt x="516731" y="540258"/>
                  </a:lnTo>
                  <a:lnTo>
                    <a:pt x="515684" y="545116"/>
                  </a:lnTo>
                  <a:lnTo>
                    <a:pt x="519113" y="559118"/>
                  </a:lnTo>
                  <a:lnTo>
                    <a:pt x="520922" y="560546"/>
                  </a:lnTo>
                  <a:lnTo>
                    <a:pt x="522827" y="563499"/>
                  </a:lnTo>
                  <a:lnTo>
                    <a:pt x="530543" y="560927"/>
                  </a:lnTo>
                  <a:lnTo>
                    <a:pt x="530924" y="564071"/>
                  </a:lnTo>
                  <a:lnTo>
                    <a:pt x="532543" y="563880"/>
                  </a:lnTo>
                  <a:lnTo>
                    <a:pt x="532733" y="565404"/>
                  </a:lnTo>
                  <a:lnTo>
                    <a:pt x="537305" y="563309"/>
                  </a:lnTo>
                  <a:lnTo>
                    <a:pt x="542163" y="564261"/>
                  </a:lnTo>
                  <a:lnTo>
                    <a:pt x="547497" y="568357"/>
                  </a:lnTo>
                  <a:lnTo>
                    <a:pt x="546164" y="570167"/>
                  </a:lnTo>
                  <a:lnTo>
                    <a:pt x="547783" y="569976"/>
                  </a:lnTo>
                  <a:lnTo>
                    <a:pt x="548164" y="573119"/>
                  </a:lnTo>
                  <a:lnTo>
                    <a:pt x="551307" y="572738"/>
                  </a:lnTo>
                  <a:lnTo>
                    <a:pt x="553307" y="575691"/>
                  </a:lnTo>
                  <a:lnTo>
                    <a:pt x="553879" y="580358"/>
                  </a:lnTo>
                  <a:lnTo>
                    <a:pt x="558832" y="581406"/>
                  </a:lnTo>
                  <a:lnTo>
                    <a:pt x="560165" y="579596"/>
                  </a:lnTo>
                  <a:lnTo>
                    <a:pt x="572262" y="586073"/>
                  </a:lnTo>
                  <a:lnTo>
                    <a:pt x="575786" y="588836"/>
                  </a:lnTo>
                  <a:lnTo>
                    <a:pt x="579596" y="593122"/>
                  </a:lnTo>
                  <a:lnTo>
                    <a:pt x="587883" y="595313"/>
                  </a:lnTo>
                  <a:lnTo>
                    <a:pt x="596360" y="599027"/>
                  </a:lnTo>
                  <a:lnTo>
                    <a:pt x="605409" y="607505"/>
                  </a:lnTo>
                  <a:lnTo>
                    <a:pt x="609981" y="605314"/>
                  </a:lnTo>
                  <a:lnTo>
                    <a:pt x="613124" y="604933"/>
                  </a:lnTo>
                  <a:lnTo>
                    <a:pt x="617887" y="604266"/>
                  </a:lnTo>
                  <a:lnTo>
                    <a:pt x="617506" y="601123"/>
                  </a:lnTo>
                  <a:lnTo>
                    <a:pt x="618268" y="594646"/>
                  </a:lnTo>
                  <a:lnTo>
                    <a:pt x="616268" y="591693"/>
                  </a:lnTo>
                  <a:lnTo>
                    <a:pt x="621221" y="592646"/>
                  </a:lnTo>
                  <a:lnTo>
                    <a:pt x="620363" y="586359"/>
                  </a:lnTo>
                  <a:lnTo>
                    <a:pt x="628079" y="583787"/>
                  </a:lnTo>
                  <a:lnTo>
                    <a:pt x="626269" y="582359"/>
                  </a:lnTo>
                  <a:lnTo>
                    <a:pt x="629031" y="578834"/>
                  </a:lnTo>
                  <a:lnTo>
                    <a:pt x="630650" y="578644"/>
                  </a:lnTo>
                  <a:lnTo>
                    <a:pt x="631793" y="575310"/>
                  </a:lnTo>
                  <a:lnTo>
                    <a:pt x="634937" y="574834"/>
                  </a:lnTo>
                  <a:lnTo>
                    <a:pt x="636175" y="571500"/>
                  </a:lnTo>
                  <a:lnTo>
                    <a:pt x="639890" y="575882"/>
                  </a:lnTo>
                  <a:lnTo>
                    <a:pt x="641318" y="574072"/>
                  </a:lnTo>
                  <a:lnTo>
                    <a:pt x="645986" y="573500"/>
                  </a:lnTo>
                  <a:lnTo>
                    <a:pt x="649605" y="576167"/>
                  </a:lnTo>
                  <a:lnTo>
                    <a:pt x="650939" y="574453"/>
                  </a:lnTo>
                  <a:lnTo>
                    <a:pt x="659606" y="579692"/>
                  </a:lnTo>
                  <a:lnTo>
                    <a:pt x="658463" y="583121"/>
                  </a:lnTo>
                  <a:lnTo>
                    <a:pt x="666750" y="585216"/>
                  </a:lnTo>
                  <a:lnTo>
                    <a:pt x="668750" y="588169"/>
                  </a:lnTo>
                  <a:lnTo>
                    <a:pt x="672846" y="582835"/>
                  </a:lnTo>
                  <a:lnTo>
                    <a:pt x="675037" y="587407"/>
                  </a:lnTo>
                  <a:lnTo>
                    <a:pt x="676656" y="587216"/>
                  </a:lnTo>
                  <a:lnTo>
                    <a:pt x="677799" y="583883"/>
                  </a:lnTo>
                  <a:lnTo>
                    <a:pt x="686086" y="585978"/>
                  </a:lnTo>
                  <a:lnTo>
                    <a:pt x="684943" y="589312"/>
                  </a:lnTo>
                  <a:lnTo>
                    <a:pt x="689039" y="596837"/>
                  </a:lnTo>
                  <a:lnTo>
                    <a:pt x="690658" y="596646"/>
                  </a:lnTo>
                  <a:lnTo>
                    <a:pt x="697421" y="599027"/>
                  </a:lnTo>
                  <a:lnTo>
                    <a:pt x="699516" y="603504"/>
                  </a:lnTo>
                  <a:lnTo>
                    <a:pt x="706469" y="607409"/>
                  </a:lnTo>
                  <a:lnTo>
                    <a:pt x="706660" y="596170"/>
                  </a:lnTo>
                  <a:lnTo>
                    <a:pt x="712565" y="592265"/>
                  </a:lnTo>
                  <a:lnTo>
                    <a:pt x="715899" y="593408"/>
                  </a:lnTo>
                  <a:lnTo>
                    <a:pt x="714756" y="596741"/>
                  </a:lnTo>
                  <a:lnTo>
                    <a:pt x="718852" y="604266"/>
                  </a:lnTo>
                  <a:lnTo>
                    <a:pt x="715709" y="604647"/>
                  </a:lnTo>
                  <a:lnTo>
                    <a:pt x="717899" y="609219"/>
                  </a:lnTo>
                  <a:lnTo>
                    <a:pt x="721233" y="610362"/>
                  </a:lnTo>
                  <a:lnTo>
                    <a:pt x="721519" y="611981"/>
                  </a:lnTo>
                  <a:lnTo>
                    <a:pt x="713423" y="611410"/>
                  </a:lnTo>
                  <a:lnTo>
                    <a:pt x="715328" y="614363"/>
                  </a:lnTo>
                  <a:lnTo>
                    <a:pt x="720090" y="613696"/>
                  </a:lnTo>
                  <a:lnTo>
                    <a:pt x="720471" y="616934"/>
                  </a:lnTo>
                  <a:lnTo>
                    <a:pt x="717328" y="617315"/>
                  </a:lnTo>
                  <a:lnTo>
                    <a:pt x="720662" y="618458"/>
                  </a:lnTo>
                  <a:lnTo>
                    <a:pt x="721328" y="623221"/>
                  </a:lnTo>
                  <a:lnTo>
                    <a:pt x="727805" y="623983"/>
                  </a:lnTo>
                  <a:lnTo>
                    <a:pt x="732377" y="621792"/>
                  </a:lnTo>
                  <a:lnTo>
                    <a:pt x="737330" y="622745"/>
                  </a:lnTo>
                  <a:lnTo>
                    <a:pt x="738473" y="619411"/>
                  </a:lnTo>
                  <a:lnTo>
                    <a:pt x="743617" y="621983"/>
                  </a:lnTo>
                  <a:lnTo>
                    <a:pt x="743426" y="620363"/>
                  </a:lnTo>
                  <a:lnTo>
                    <a:pt x="746760" y="621602"/>
                  </a:lnTo>
                  <a:lnTo>
                    <a:pt x="746570" y="619982"/>
                  </a:lnTo>
                  <a:lnTo>
                    <a:pt x="742760" y="615696"/>
                  </a:lnTo>
                  <a:lnTo>
                    <a:pt x="745522" y="612077"/>
                  </a:lnTo>
                  <a:lnTo>
                    <a:pt x="748475" y="610076"/>
                  </a:lnTo>
                  <a:lnTo>
                    <a:pt x="750856" y="616268"/>
                  </a:lnTo>
                  <a:lnTo>
                    <a:pt x="755809" y="617220"/>
                  </a:lnTo>
                  <a:lnTo>
                    <a:pt x="756761" y="612267"/>
                  </a:lnTo>
                  <a:lnTo>
                    <a:pt x="759524" y="608743"/>
                  </a:lnTo>
                  <a:lnTo>
                    <a:pt x="757619" y="605790"/>
                  </a:lnTo>
                  <a:lnTo>
                    <a:pt x="762286" y="605123"/>
                  </a:lnTo>
                  <a:lnTo>
                    <a:pt x="763334" y="600170"/>
                  </a:lnTo>
                  <a:lnTo>
                    <a:pt x="756380" y="596265"/>
                  </a:lnTo>
                  <a:lnTo>
                    <a:pt x="755142" y="586835"/>
                  </a:lnTo>
                  <a:lnTo>
                    <a:pt x="751427" y="582454"/>
                  </a:lnTo>
                  <a:lnTo>
                    <a:pt x="752761" y="580739"/>
                  </a:lnTo>
                  <a:lnTo>
                    <a:pt x="753713" y="575786"/>
                  </a:lnTo>
                  <a:lnTo>
                    <a:pt x="763048" y="573024"/>
                  </a:lnTo>
                  <a:lnTo>
                    <a:pt x="764762" y="574358"/>
                  </a:lnTo>
                  <a:lnTo>
                    <a:pt x="772478" y="571786"/>
                  </a:lnTo>
                  <a:lnTo>
                    <a:pt x="772668" y="560546"/>
                  </a:lnTo>
                  <a:lnTo>
                    <a:pt x="778002" y="564642"/>
                  </a:lnTo>
                  <a:lnTo>
                    <a:pt x="779336" y="562832"/>
                  </a:lnTo>
                  <a:lnTo>
                    <a:pt x="781145" y="564261"/>
                  </a:lnTo>
                  <a:lnTo>
                    <a:pt x="782098" y="559308"/>
                  </a:lnTo>
                  <a:lnTo>
                    <a:pt x="778383" y="555022"/>
                  </a:lnTo>
                  <a:lnTo>
                    <a:pt x="781145" y="551402"/>
                  </a:lnTo>
                  <a:lnTo>
                    <a:pt x="779526" y="551593"/>
                  </a:lnTo>
                  <a:lnTo>
                    <a:pt x="778955" y="546926"/>
                  </a:lnTo>
                  <a:lnTo>
                    <a:pt x="792385" y="551593"/>
                  </a:lnTo>
                  <a:lnTo>
                    <a:pt x="794385" y="554546"/>
                  </a:lnTo>
                  <a:lnTo>
                    <a:pt x="794766" y="557689"/>
                  </a:lnTo>
                  <a:lnTo>
                    <a:pt x="792956" y="556355"/>
                  </a:lnTo>
                  <a:lnTo>
                    <a:pt x="792194" y="562832"/>
                  </a:lnTo>
                  <a:lnTo>
                    <a:pt x="803243" y="574262"/>
                  </a:lnTo>
                  <a:lnTo>
                    <a:pt x="804101" y="580549"/>
                  </a:lnTo>
                  <a:lnTo>
                    <a:pt x="810387" y="579787"/>
                  </a:lnTo>
                  <a:lnTo>
                    <a:pt x="812387" y="582740"/>
                  </a:lnTo>
                  <a:lnTo>
                    <a:pt x="816864" y="580549"/>
                  </a:lnTo>
                  <a:lnTo>
                    <a:pt x="819055" y="585121"/>
                  </a:lnTo>
                  <a:lnTo>
                    <a:pt x="826961" y="584073"/>
                  </a:lnTo>
                  <a:lnTo>
                    <a:pt x="826008" y="576167"/>
                  </a:lnTo>
                  <a:lnTo>
                    <a:pt x="829342" y="577310"/>
                  </a:lnTo>
                  <a:lnTo>
                    <a:pt x="833914" y="575215"/>
                  </a:lnTo>
                  <a:lnTo>
                    <a:pt x="835438" y="574929"/>
                  </a:lnTo>
                  <a:lnTo>
                    <a:pt x="841343" y="571024"/>
                  </a:lnTo>
                  <a:lnTo>
                    <a:pt x="842963" y="570833"/>
                  </a:lnTo>
                  <a:lnTo>
                    <a:pt x="843344" y="573977"/>
                  </a:lnTo>
                  <a:lnTo>
                    <a:pt x="844677" y="572167"/>
                  </a:lnTo>
                  <a:lnTo>
                    <a:pt x="845153" y="575310"/>
                  </a:lnTo>
                  <a:lnTo>
                    <a:pt x="848487" y="576548"/>
                  </a:lnTo>
                  <a:lnTo>
                    <a:pt x="848297" y="574929"/>
                  </a:lnTo>
                  <a:lnTo>
                    <a:pt x="851440" y="574548"/>
                  </a:lnTo>
                  <a:lnTo>
                    <a:pt x="852678" y="583978"/>
                  </a:lnTo>
                  <a:lnTo>
                    <a:pt x="855821" y="583597"/>
                  </a:lnTo>
                  <a:lnTo>
                    <a:pt x="853821" y="580644"/>
                  </a:lnTo>
                  <a:lnTo>
                    <a:pt x="856583" y="577120"/>
                  </a:lnTo>
                  <a:lnTo>
                    <a:pt x="858774" y="581597"/>
                  </a:lnTo>
                  <a:lnTo>
                    <a:pt x="860108" y="579882"/>
                  </a:lnTo>
                  <a:lnTo>
                    <a:pt x="864680" y="577691"/>
                  </a:lnTo>
                  <a:lnTo>
                    <a:pt x="886778" y="574834"/>
                  </a:lnTo>
                  <a:lnTo>
                    <a:pt x="887921" y="571500"/>
                  </a:lnTo>
                  <a:lnTo>
                    <a:pt x="883920" y="565595"/>
                  </a:lnTo>
                  <a:lnTo>
                    <a:pt x="883920" y="565595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6" name="Volný tvar: obrazec 35">
              <a:extLst>
                <a:ext uri="{FF2B5EF4-FFF2-40B4-BE49-F238E27FC236}">
                  <a16:creationId xmlns:a16="http://schemas.microsoft.com/office/drawing/2014/main" id="{564403E3-AA92-CE9C-EB8E-AAF2CDED94C9}"/>
                </a:ext>
              </a:extLst>
            </p:cNvPr>
            <p:cNvSpPr>
              <a:spLocks noChangeAspect="1"/>
            </p:cNvSpPr>
            <p:nvPr userDrawn="1">
              <p:custDataLst>
                <p:tags r:id="rId7"/>
              </p:custDataLst>
            </p:nvPr>
          </p:nvSpPr>
          <p:spPr>
            <a:xfrm>
              <a:off x="4628292" y="2504407"/>
              <a:ext cx="1489995" cy="1273968"/>
            </a:xfrm>
            <a:custGeom>
              <a:avLst/>
              <a:gdLst>
                <a:gd name="connsiteX0" fmla="*/ 443198 w 1489995"/>
                <a:gd name="connsiteY0" fmla="*/ 1201960 h 1273968"/>
                <a:gd name="connsiteX1" fmla="*/ 439198 w 1489995"/>
                <a:gd name="connsiteY1" fmla="*/ 1208913 h 1273968"/>
                <a:gd name="connsiteX2" fmla="*/ 439007 w 1489995"/>
                <a:gd name="connsiteY2" fmla="*/ 1207294 h 1273968"/>
                <a:gd name="connsiteX3" fmla="*/ 433292 w 1489995"/>
                <a:gd name="connsiteY3" fmla="*/ 1212818 h 1273968"/>
                <a:gd name="connsiteX4" fmla="*/ 431578 w 1489995"/>
                <a:gd name="connsiteY4" fmla="*/ 1211485 h 1273968"/>
                <a:gd name="connsiteX5" fmla="*/ 430149 w 1489995"/>
                <a:gd name="connsiteY5" fmla="*/ 1213199 h 1273968"/>
                <a:gd name="connsiteX6" fmla="*/ 423481 w 1489995"/>
                <a:gd name="connsiteY6" fmla="*/ 1210913 h 1273968"/>
                <a:gd name="connsiteX7" fmla="*/ 422719 w 1489995"/>
                <a:gd name="connsiteY7" fmla="*/ 1217390 h 1273968"/>
                <a:gd name="connsiteX8" fmla="*/ 426625 w 1489995"/>
                <a:gd name="connsiteY8" fmla="*/ 1223296 h 1273968"/>
                <a:gd name="connsiteX9" fmla="*/ 423863 w 1489995"/>
                <a:gd name="connsiteY9" fmla="*/ 1226915 h 1273968"/>
                <a:gd name="connsiteX10" fmla="*/ 423481 w 1489995"/>
                <a:gd name="connsiteY10" fmla="*/ 1223677 h 1273968"/>
                <a:gd name="connsiteX11" fmla="*/ 422719 w 1489995"/>
                <a:gd name="connsiteY11" fmla="*/ 1230249 h 1273968"/>
                <a:gd name="connsiteX12" fmla="*/ 421291 w 1489995"/>
                <a:gd name="connsiteY12" fmla="*/ 1231964 h 1273968"/>
                <a:gd name="connsiteX13" fmla="*/ 421767 w 1489995"/>
                <a:gd name="connsiteY13" fmla="*/ 1235202 h 1273968"/>
                <a:gd name="connsiteX14" fmla="*/ 420148 w 1489995"/>
                <a:gd name="connsiteY14" fmla="*/ 1235393 h 1273968"/>
                <a:gd name="connsiteX15" fmla="*/ 418814 w 1489995"/>
                <a:gd name="connsiteY15" fmla="*/ 1237107 h 1273968"/>
                <a:gd name="connsiteX16" fmla="*/ 416814 w 1489995"/>
                <a:gd name="connsiteY16" fmla="*/ 1234154 h 1273968"/>
                <a:gd name="connsiteX17" fmla="*/ 415195 w 1489995"/>
                <a:gd name="connsiteY17" fmla="*/ 1234345 h 1273968"/>
                <a:gd name="connsiteX18" fmla="*/ 415576 w 1489995"/>
                <a:gd name="connsiteY18" fmla="*/ 1237583 h 1273968"/>
                <a:gd name="connsiteX19" fmla="*/ 414052 w 1489995"/>
                <a:gd name="connsiteY19" fmla="*/ 1237774 h 1273968"/>
                <a:gd name="connsiteX20" fmla="*/ 417957 w 1489995"/>
                <a:gd name="connsiteY20" fmla="*/ 1243679 h 1273968"/>
                <a:gd name="connsiteX21" fmla="*/ 414814 w 1489995"/>
                <a:gd name="connsiteY21" fmla="*/ 1244060 h 1273968"/>
                <a:gd name="connsiteX22" fmla="*/ 415290 w 1489995"/>
                <a:gd name="connsiteY22" fmla="*/ 1247204 h 1273968"/>
                <a:gd name="connsiteX23" fmla="*/ 412051 w 1489995"/>
                <a:gd name="connsiteY23" fmla="*/ 1247585 h 1273968"/>
                <a:gd name="connsiteX24" fmla="*/ 411289 w 1489995"/>
                <a:gd name="connsiteY24" fmla="*/ 1241298 h 1273968"/>
                <a:gd name="connsiteX25" fmla="*/ 408146 w 1489995"/>
                <a:gd name="connsiteY25" fmla="*/ 1241679 h 1273968"/>
                <a:gd name="connsiteX26" fmla="*/ 405955 w 1489995"/>
                <a:gd name="connsiteY26" fmla="*/ 1237202 h 1273968"/>
                <a:gd name="connsiteX27" fmla="*/ 403384 w 1489995"/>
                <a:gd name="connsiteY27" fmla="*/ 1242346 h 1273968"/>
                <a:gd name="connsiteX28" fmla="*/ 401860 w 1489995"/>
                <a:gd name="connsiteY28" fmla="*/ 1242536 h 1273968"/>
                <a:gd name="connsiteX29" fmla="*/ 402241 w 1489995"/>
                <a:gd name="connsiteY29" fmla="*/ 1245680 h 1273968"/>
                <a:gd name="connsiteX30" fmla="*/ 399479 w 1489995"/>
                <a:gd name="connsiteY30" fmla="*/ 1249204 h 1273968"/>
                <a:gd name="connsiteX31" fmla="*/ 399859 w 1489995"/>
                <a:gd name="connsiteY31" fmla="*/ 1252347 h 1273968"/>
                <a:gd name="connsiteX32" fmla="*/ 400240 w 1489995"/>
                <a:gd name="connsiteY32" fmla="*/ 1255586 h 1273968"/>
                <a:gd name="connsiteX33" fmla="*/ 390620 w 1489995"/>
                <a:gd name="connsiteY33" fmla="*/ 1255205 h 1273968"/>
                <a:gd name="connsiteX34" fmla="*/ 383858 w 1489995"/>
                <a:gd name="connsiteY34" fmla="*/ 1252823 h 1273968"/>
                <a:gd name="connsiteX35" fmla="*/ 383286 w 1489995"/>
                <a:gd name="connsiteY35" fmla="*/ 1248061 h 1273968"/>
                <a:gd name="connsiteX36" fmla="*/ 379952 w 1489995"/>
                <a:gd name="connsiteY36" fmla="*/ 1246918 h 1273968"/>
                <a:gd name="connsiteX37" fmla="*/ 371284 w 1489995"/>
                <a:gd name="connsiteY37" fmla="*/ 1254443 h 1273968"/>
                <a:gd name="connsiteX38" fmla="*/ 372237 w 1489995"/>
                <a:gd name="connsiteY38" fmla="*/ 1262348 h 1273968"/>
                <a:gd name="connsiteX39" fmla="*/ 372237 w 1489995"/>
                <a:gd name="connsiteY39" fmla="*/ 1262348 h 1273968"/>
                <a:gd name="connsiteX40" fmla="*/ 370713 w 1489995"/>
                <a:gd name="connsiteY40" fmla="*/ 1262539 h 1273968"/>
                <a:gd name="connsiteX41" fmla="*/ 366331 w 1489995"/>
                <a:gd name="connsiteY41" fmla="*/ 1266254 h 1273968"/>
                <a:gd name="connsiteX42" fmla="*/ 365950 w 1489995"/>
                <a:gd name="connsiteY42" fmla="*/ 1263110 h 1273968"/>
                <a:gd name="connsiteX43" fmla="*/ 356711 w 1489995"/>
                <a:gd name="connsiteY43" fmla="*/ 1265873 h 1273968"/>
                <a:gd name="connsiteX44" fmla="*/ 354711 w 1489995"/>
                <a:gd name="connsiteY44" fmla="*/ 1262920 h 1273968"/>
                <a:gd name="connsiteX45" fmla="*/ 349948 w 1489995"/>
                <a:gd name="connsiteY45" fmla="*/ 1263587 h 1273968"/>
                <a:gd name="connsiteX46" fmla="*/ 349377 w 1489995"/>
                <a:gd name="connsiteY46" fmla="*/ 1258824 h 1273968"/>
                <a:gd name="connsiteX47" fmla="*/ 345853 w 1489995"/>
                <a:gd name="connsiteY47" fmla="*/ 1256062 h 1273968"/>
                <a:gd name="connsiteX48" fmla="*/ 344614 w 1489995"/>
                <a:gd name="connsiteY48" fmla="*/ 1259396 h 1273968"/>
                <a:gd name="connsiteX49" fmla="*/ 338328 w 1489995"/>
                <a:gd name="connsiteY49" fmla="*/ 1260253 h 1273968"/>
                <a:gd name="connsiteX50" fmla="*/ 342614 w 1489995"/>
                <a:gd name="connsiteY50" fmla="*/ 1256443 h 1273968"/>
                <a:gd name="connsiteX51" fmla="*/ 342233 w 1489995"/>
                <a:gd name="connsiteY51" fmla="*/ 1253300 h 1273968"/>
                <a:gd name="connsiteX52" fmla="*/ 345186 w 1489995"/>
                <a:gd name="connsiteY52" fmla="*/ 1251299 h 1273968"/>
                <a:gd name="connsiteX53" fmla="*/ 337280 w 1489995"/>
                <a:gd name="connsiteY53" fmla="*/ 1252347 h 1273968"/>
                <a:gd name="connsiteX54" fmla="*/ 335947 w 1489995"/>
                <a:gd name="connsiteY54" fmla="*/ 1254157 h 1273968"/>
                <a:gd name="connsiteX55" fmla="*/ 332422 w 1489995"/>
                <a:gd name="connsiteY55" fmla="*/ 1251395 h 1273968"/>
                <a:gd name="connsiteX56" fmla="*/ 330232 w 1489995"/>
                <a:gd name="connsiteY56" fmla="*/ 1246823 h 1273968"/>
                <a:gd name="connsiteX57" fmla="*/ 330994 w 1489995"/>
                <a:gd name="connsiteY57" fmla="*/ 1240346 h 1273968"/>
                <a:gd name="connsiteX58" fmla="*/ 320897 w 1489995"/>
                <a:gd name="connsiteY58" fmla="*/ 1236821 h 1273968"/>
                <a:gd name="connsiteX59" fmla="*/ 316325 w 1489995"/>
                <a:gd name="connsiteY59" fmla="*/ 1239012 h 1273968"/>
                <a:gd name="connsiteX60" fmla="*/ 316611 w 1489995"/>
                <a:gd name="connsiteY60" fmla="*/ 1240536 h 1273968"/>
                <a:gd name="connsiteX61" fmla="*/ 319945 w 1489995"/>
                <a:gd name="connsiteY61" fmla="*/ 1241679 h 1273968"/>
                <a:gd name="connsiteX62" fmla="*/ 315373 w 1489995"/>
                <a:gd name="connsiteY62" fmla="*/ 1243870 h 1273968"/>
                <a:gd name="connsiteX63" fmla="*/ 311658 w 1489995"/>
                <a:gd name="connsiteY63" fmla="*/ 1252347 h 1273968"/>
                <a:gd name="connsiteX64" fmla="*/ 308324 w 1489995"/>
                <a:gd name="connsiteY64" fmla="*/ 1251204 h 1273968"/>
                <a:gd name="connsiteX65" fmla="*/ 308515 w 1489995"/>
                <a:gd name="connsiteY65" fmla="*/ 1252823 h 1273968"/>
                <a:gd name="connsiteX66" fmla="*/ 306705 w 1489995"/>
                <a:gd name="connsiteY66" fmla="*/ 1251395 h 1273968"/>
                <a:gd name="connsiteX67" fmla="*/ 303943 w 1489995"/>
                <a:gd name="connsiteY67" fmla="*/ 1255014 h 1273968"/>
                <a:gd name="connsiteX68" fmla="*/ 302038 w 1489995"/>
                <a:gd name="connsiteY68" fmla="*/ 1252061 h 1273968"/>
                <a:gd name="connsiteX69" fmla="*/ 303371 w 1489995"/>
                <a:gd name="connsiteY69" fmla="*/ 1250252 h 1273968"/>
                <a:gd name="connsiteX70" fmla="*/ 301752 w 1489995"/>
                <a:gd name="connsiteY70" fmla="*/ 1250442 h 1273968"/>
                <a:gd name="connsiteX71" fmla="*/ 300418 w 1489995"/>
                <a:gd name="connsiteY71" fmla="*/ 1252252 h 1273968"/>
                <a:gd name="connsiteX72" fmla="*/ 298990 w 1489995"/>
                <a:gd name="connsiteY72" fmla="*/ 1253966 h 1273968"/>
                <a:gd name="connsiteX73" fmla="*/ 297656 w 1489995"/>
                <a:gd name="connsiteY73" fmla="*/ 1242917 h 1273968"/>
                <a:gd name="connsiteX74" fmla="*/ 296228 w 1489995"/>
                <a:gd name="connsiteY74" fmla="*/ 1244727 h 1273968"/>
                <a:gd name="connsiteX75" fmla="*/ 294513 w 1489995"/>
                <a:gd name="connsiteY75" fmla="*/ 1243394 h 1273968"/>
                <a:gd name="connsiteX76" fmla="*/ 291655 w 1489995"/>
                <a:gd name="connsiteY76" fmla="*/ 1234059 h 1273968"/>
                <a:gd name="connsiteX77" fmla="*/ 288512 w 1489995"/>
                <a:gd name="connsiteY77" fmla="*/ 1234535 h 1273968"/>
                <a:gd name="connsiteX78" fmla="*/ 290513 w 1489995"/>
                <a:gd name="connsiteY78" fmla="*/ 1237488 h 1273968"/>
                <a:gd name="connsiteX79" fmla="*/ 284226 w 1489995"/>
                <a:gd name="connsiteY79" fmla="*/ 1238250 h 1273968"/>
                <a:gd name="connsiteX80" fmla="*/ 284988 w 1489995"/>
                <a:gd name="connsiteY80" fmla="*/ 1244537 h 1273968"/>
                <a:gd name="connsiteX81" fmla="*/ 280225 w 1489995"/>
                <a:gd name="connsiteY81" fmla="*/ 1245203 h 1273968"/>
                <a:gd name="connsiteX82" fmla="*/ 280702 w 1489995"/>
                <a:gd name="connsiteY82" fmla="*/ 1248347 h 1273968"/>
                <a:gd name="connsiteX83" fmla="*/ 273748 w 1489995"/>
                <a:gd name="connsiteY83" fmla="*/ 1244441 h 1273968"/>
                <a:gd name="connsiteX84" fmla="*/ 267271 w 1489995"/>
                <a:gd name="connsiteY84" fmla="*/ 1243584 h 1273968"/>
                <a:gd name="connsiteX85" fmla="*/ 263747 w 1489995"/>
                <a:gd name="connsiteY85" fmla="*/ 1253681 h 1273968"/>
                <a:gd name="connsiteX86" fmla="*/ 262128 w 1489995"/>
                <a:gd name="connsiteY86" fmla="*/ 1253871 h 1273968"/>
                <a:gd name="connsiteX87" fmla="*/ 262128 w 1489995"/>
                <a:gd name="connsiteY87" fmla="*/ 1253871 h 1273968"/>
                <a:gd name="connsiteX88" fmla="*/ 252222 w 1489995"/>
                <a:gd name="connsiteY88" fmla="*/ 1251966 h 1273968"/>
                <a:gd name="connsiteX89" fmla="*/ 250507 w 1489995"/>
                <a:gd name="connsiteY89" fmla="*/ 1250537 h 1273968"/>
                <a:gd name="connsiteX90" fmla="*/ 251269 w 1489995"/>
                <a:gd name="connsiteY90" fmla="*/ 1244060 h 1273968"/>
                <a:gd name="connsiteX91" fmla="*/ 252603 w 1489995"/>
                <a:gd name="connsiteY91" fmla="*/ 1242251 h 1273968"/>
                <a:gd name="connsiteX92" fmla="*/ 254413 w 1489995"/>
                <a:gd name="connsiteY92" fmla="*/ 1230821 h 1273968"/>
                <a:gd name="connsiteX93" fmla="*/ 254984 w 1489995"/>
                <a:gd name="connsiteY93" fmla="*/ 1222724 h 1273968"/>
                <a:gd name="connsiteX94" fmla="*/ 249841 w 1489995"/>
                <a:gd name="connsiteY94" fmla="*/ 1220153 h 1273968"/>
                <a:gd name="connsiteX95" fmla="*/ 250412 w 1489995"/>
                <a:gd name="connsiteY95" fmla="*/ 1212056 h 1273968"/>
                <a:gd name="connsiteX96" fmla="*/ 239935 w 1489995"/>
                <a:gd name="connsiteY96" fmla="*/ 1205389 h 1273968"/>
                <a:gd name="connsiteX97" fmla="*/ 236791 w 1489995"/>
                <a:gd name="connsiteY97" fmla="*/ 1205770 h 1273968"/>
                <a:gd name="connsiteX98" fmla="*/ 231457 w 1489995"/>
                <a:gd name="connsiteY98" fmla="*/ 1214533 h 1273968"/>
                <a:gd name="connsiteX99" fmla="*/ 229648 w 1489995"/>
                <a:gd name="connsiteY99" fmla="*/ 1213104 h 1273968"/>
                <a:gd name="connsiteX100" fmla="*/ 234029 w 1489995"/>
                <a:gd name="connsiteY100" fmla="*/ 1209389 h 1273968"/>
                <a:gd name="connsiteX101" fmla="*/ 235744 w 1489995"/>
                <a:gd name="connsiteY101" fmla="*/ 1197959 h 1273968"/>
                <a:gd name="connsiteX102" fmla="*/ 233743 w 1489995"/>
                <a:gd name="connsiteY102" fmla="*/ 1195007 h 1273968"/>
                <a:gd name="connsiteX103" fmla="*/ 232029 w 1489995"/>
                <a:gd name="connsiteY103" fmla="*/ 1193578 h 1273968"/>
                <a:gd name="connsiteX104" fmla="*/ 234696 w 1489995"/>
                <a:gd name="connsiteY104" fmla="*/ 1177195 h 1273968"/>
                <a:gd name="connsiteX105" fmla="*/ 231934 w 1489995"/>
                <a:gd name="connsiteY105" fmla="*/ 1167956 h 1273968"/>
                <a:gd name="connsiteX106" fmla="*/ 236029 w 1489995"/>
                <a:gd name="connsiteY106" fmla="*/ 1162622 h 1273968"/>
                <a:gd name="connsiteX107" fmla="*/ 240030 w 1489995"/>
                <a:gd name="connsiteY107" fmla="*/ 1155668 h 1273968"/>
                <a:gd name="connsiteX108" fmla="*/ 239554 w 1489995"/>
                <a:gd name="connsiteY108" fmla="*/ 1139666 h 1273968"/>
                <a:gd name="connsiteX109" fmla="*/ 242125 w 1489995"/>
                <a:gd name="connsiteY109" fmla="*/ 1134523 h 1273968"/>
                <a:gd name="connsiteX110" fmla="*/ 242888 w 1489995"/>
                <a:gd name="connsiteY110" fmla="*/ 1128046 h 1273968"/>
                <a:gd name="connsiteX111" fmla="*/ 239173 w 1489995"/>
                <a:gd name="connsiteY111" fmla="*/ 1123760 h 1273968"/>
                <a:gd name="connsiteX112" fmla="*/ 234601 w 1489995"/>
                <a:gd name="connsiteY112" fmla="*/ 1125855 h 1273968"/>
                <a:gd name="connsiteX113" fmla="*/ 227933 w 1489995"/>
                <a:gd name="connsiteY113" fmla="*/ 1123569 h 1273968"/>
                <a:gd name="connsiteX114" fmla="*/ 227266 w 1489995"/>
                <a:gd name="connsiteY114" fmla="*/ 1118807 h 1273968"/>
                <a:gd name="connsiteX115" fmla="*/ 223742 w 1489995"/>
                <a:gd name="connsiteY115" fmla="*/ 1116044 h 1273968"/>
                <a:gd name="connsiteX116" fmla="*/ 219361 w 1489995"/>
                <a:gd name="connsiteY116" fmla="*/ 1119854 h 1273968"/>
                <a:gd name="connsiteX117" fmla="*/ 217837 w 1489995"/>
                <a:gd name="connsiteY117" fmla="*/ 1120045 h 1273968"/>
                <a:gd name="connsiteX118" fmla="*/ 210884 w 1489995"/>
                <a:gd name="connsiteY118" fmla="*/ 1116044 h 1273968"/>
                <a:gd name="connsiteX119" fmla="*/ 210502 w 1489995"/>
                <a:gd name="connsiteY119" fmla="*/ 1112901 h 1273968"/>
                <a:gd name="connsiteX120" fmla="*/ 213646 w 1489995"/>
                <a:gd name="connsiteY120" fmla="*/ 1112520 h 1273968"/>
                <a:gd name="connsiteX121" fmla="*/ 214789 w 1489995"/>
                <a:gd name="connsiteY121" fmla="*/ 1109186 h 1273968"/>
                <a:gd name="connsiteX122" fmla="*/ 205168 w 1489995"/>
                <a:gd name="connsiteY122" fmla="*/ 1108805 h 1273968"/>
                <a:gd name="connsiteX123" fmla="*/ 204788 w 1489995"/>
                <a:gd name="connsiteY123" fmla="*/ 1105662 h 1273968"/>
                <a:gd name="connsiteX124" fmla="*/ 200025 w 1489995"/>
                <a:gd name="connsiteY124" fmla="*/ 1106234 h 1273968"/>
                <a:gd name="connsiteX125" fmla="*/ 196501 w 1489995"/>
                <a:gd name="connsiteY125" fmla="*/ 1103471 h 1273968"/>
                <a:gd name="connsiteX126" fmla="*/ 193357 w 1489995"/>
                <a:gd name="connsiteY126" fmla="*/ 1103948 h 1273968"/>
                <a:gd name="connsiteX127" fmla="*/ 190881 w 1489995"/>
                <a:gd name="connsiteY127" fmla="*/ 1097756 h 1273968"/>
                <a:gd name="connsiteX128" fmla="*/ 187547 w 1489995"/>
                <a:gd name="connsiteY128" fmla="*/ 1096613 h 1273968"/>
                <a:gd name="connsiteX129" fmla="*/ 195643 w 1489995"/>
                <a:gd name="connsiteY129" fmla="*/ 1097185 h 1273968"/>
                <a:gd name="connsiteX130" fmla="*/ 202787 w 1489995"/>
                <a:gd name="connsiteY130" fmla="*/ 1102709 h 1273968"/>
                <a:gd name="connsiteX131" fmla="*/ 210693 w 1489995"/>
                <a:gd name="connsiteY131" fmla="*/ 1101662 h 1273968"/>
                <a:gd name="connsiteX132" fmla="*/ 212026 w 1489995"/>
                <a:gd name="connsiteY132" fmla="*/ 1099947 h 1273968"/>
                <a:gd name="connsiteX133" fmla="*/ 216789 w 1489995"/>
                <a:gd name="connsiteY133" fmla="*/ 1099280 h 1273968"/>
                <a:gd name="connsiteX134" fmla="*/ 219742 w 1489995"/>
                <a:gd name="connsiteY134" fmla="*/ 1097280 h 1273968"/>
                <a:gd name="connsiteX135" fmla="*/ 216408 w 1489995"/>
                <a:gd name="connsiteY135" fmla="*/ 1096137 h 1273968"/>
                <a:gd name="connsiteX136" fmla="*/ 209836 w 1489995"/>
                <a:gd name="connsiteY136" fmla="*/ 1082516 h 1273968"/>
                <a:gd name="connsiteX137" fmla="*/ 200120 w 1489995"/>
                <a:gd name="connsiteY137" fmla="*/ 1082135 h 1273968"/>
                <a:gd name="connsiteX138" fmla="*/ 196405 w 1489995"/>
                <a:gd name="connsiteY138" fmla="*/ 1077849 h 1273968"/>
                <a:gd name="connsiteX139" fmla="*/ 198977 w 1489995"/>
                <a:gd name="connsiteY139" fmla="*/ 1072706 h 1273968"/>
                <a:gd name="connsiteX140" fmla="*/ 196977 w 1489995"/>
                <a:gd name="connsiteY140" fmla="*/ 1069753 h 1273968"/>
                <a:gd name="connsiteX141" fmla="*/ 198120 w 1489995"/>
                <a:gd name="connsiteY141" fmla="*/ 1066419 h 1273968"/>
                <a:gd name="connsiteX142" fmla="*/ 200120 w 1489995"/>
                <a:gd name="connsiteY142" fmla="*/ 1069372 h 1273968"/>
                <a:gd name="connsiteX143" fmla="*/ 200311 w 1489995"/>
                <a:gd name="connsiteY143" fmla="*/ 1070896 h 1273968"/>
                <a:gd name="connsiteX144" fmla="*/ 202120 w 1489995"/>
                <a:gd name="connsiteY144" fmla="*/ 1072325 h 1273968"/>
                <a:gd name="connsiteX145" fmla="*/ 204883 w 1489995"/>
                <a:gd name="connsiteY145" fmla="*/ 1068705 h 1273968"/>
                <a:gd name="connsiteX146" fmla="*/ 205073 w 1489995"/>
                <a:gd name="connsiteY146" fmla="*/ 1070324 h 1273968"/>
                <a:gd name="connsiteX147" fmla="*/ 206692 w 1489995"/>
                <a:gd name="connsiteY147" fmla="*/ 1070134 h 1273968"/>
                <a:gd name="connsiteX148" fmla="*/ 206692 w 1489995"/>
                <a:gd name="connsiteY148" fmla="*/ 1070134 h 1273968"/>
                <a:gd name="connsiteX149" fmla="*/ 208026 w 1489995"/>
                <a:gd name="connsiteY149" fmla="*/ 1068324 h 1273968"/>
                <a:gd name="connsiteX150" fmla="*/ 215741 w 1489995"/>
                <a:gd name="connsiteY150" fmla="*/ 1065752 h 1273968"/>
                <a:gd name="connsiteX151" fmla="*/ 219075 w 1489995"/>
                <a:gd name="connsiteY151" fmla="*/ 1066895 h 1273968"/>
                <a:gd name="connsiteX152" fmla="*/ 226123 w 1489995"/>
                <a:gd name="connsiteY152" fmla="*/ 1059656 h 1273968"/>
                <a:gd name="connsiteX153" fmla="*/ 221456 w 1489995"/>
                <a:gd name="connsiteY153" fmla="*/ 1060228 h 1273968"/>
                <a:gd name="connsiteX154" fmla="*/ 220789 w 1489995"/>
                <a:gd name="connsiteY154" fmla="*/ 1055465 h 1273968"/>
                <a:gd name="connsiteX155" fmla="*/ 216122 w 1489995"/>
                <a:gd name="connsiteY155" fmla="*/ 1056132 h 1273968"/>
                <a:gd name="connsiteX156" fmla="*/ 215932 w 1489995"/>
                <a:gd name="connsiteY156" fmla="*/ 1054513 h 1273968"/>
                <a:gd name="connsiteX157" fmla="*/ 212503 w 1489995"/>
                <a:gd name="connsiteY157" fmla="*/ 1053370 h 1273968"/>
                <a:gd name="connsiteX158" fmla="*/ 208026 w 1489995"/>
                <a:gd name="connsiteY158" fmla="*/ 1055561 h 1273968"/>
                <a:gd name="connsiteX159" fmla="*/ 210788 w 1489995"/>
                <a:gd name="connsiteY159" fmla="*/ 1051941 h 1273968"/>
                <a:gd name="connsiteX160" fmla="*/ 207359 w 1489995"/>
                <a:gd name="connsiteY160" fmla="*/ 1050798 h 1273968"/>
                <a:gd name="connsiteX161" fmla="*/ 203073 w 1489995"/>
                <a:gd name="connsiteY161" fmla="*/ 1054513 h 1273968"/>
                <a:gd name="connsiteX162" fmla="*/ 201073 w 1489995"/>
                <a:gd name="connsiteY162" fmla="*/ 1051560 h 1273968"/>
                <a:gd name="connsiteX163" fmla="*/ 198120 w 1489995"/>
                <a:gd name="connsiteY163" fmla="*/ 1053560 h 1273968"/>
                <a:gd name="connsiteX164" fmla="*/ 196977 w 1489995"/>
                <a:gd name="connsiteY164" fmla="*/ 1056894 h 1273968"/>
                <a:gd name="connsiteX165" fmla="*/ 194024 w 1489995"/>
                <a:gd name="connsiteY165" fmla="*/ 1058894 h 1273968"/>
                <a:gd name="connsiteX166" fmla="*/ 194405 w 1489995"/>
                <a:gd name="connsiteY166" fmla="*/ 1062037 h 1273968"/>
                <a:gd name="connsiteX167" fmla="*/ 189452 w 1489995"/>
                <a:gd name="connsiteY167" fmla="*/ 1061085 h 1273968"/>
                <a:gd name="connsiteX168" fmla="*/ 186690 w 1489995"/>
                <a:gd name="connsiteY168" fmla="*/ 1051846 h 1273968"/>
                <a:gd name="connsiteX169" fmla="*/ 190024 w 1489995"/>
                <a:gd name="connsiteY169" fmla="*/ 1052989 h 1273968"/>
                <a:gd name="connsiteX170" fmla="*/ 189833 w 1489995"/>
                <a:gd name="connsiteY170" fmla="*/ 1051465 h 1273968"/>
                <a:gd name="connsiteX171" fmla="*/ 186499 w 1489995"/>
                <a:gd name="connsiteY171" fmla="*/ 1050227 h 1273968"/>
                <a:gd name="connsiteX172" fmla="*/ 190595 w 1489995"/>
                <a:gd name="connsiteY172" fmla="*/ 1044893 h 1273968"/>
                <a:gd name="connsiteX173" fmla="*/ 186690 w 1489995"/>
                <a:gd name="connsiteY173" fmla="*/ 1038987 h 1273968"/>
                <a:gd name="connsiteX174" fmla="*/ 189166 w 1489995"/>
                <a:gd name="connsiteY174" fmla="*/ 1033844 h 1273968"/>
                <a:gd name="connsiteX175" fmla="*/ 198311 w 1489995"/>
                <a:gd name="connsiteY175" fmla="*/ 1029462 h 1273968"/>
                <a:gd name="connsiteX176" fmla="*/ 205740 w 1489995"/>
                <a:gd name="connsiteY176" fmla="*/ 1012507 h 1273968"/>
                <a:gd name="connsiteX177" fmla="*/ 228409 w 1489995"/>
                <a:gd name="connsiteY177" fmla="*/ 1001649 h 1273968"/>
                <a:gd name="connsiteX178" fmla="*/ 232886 w 1489995"/>
                <a:gd name="connsiteY178" fmla="*/ 999458 h 1273968"/>
                <a:gd name="connsiteX179" fmla="*/ 239268 w 1489995"/>
                <a:gd name="connsiteY179" fmla="*/ 998601 h 1273968"/>
                <a:gd name="connsiteX180" fmla="*/ 236125 w 1489995"/>
                <a:gd name="connsiteY180" fmla="*/ 998982 h 1273968"/>
                <a:gd name="connsiteX181" fmla="*/ 236887 w 1489995"/>
                <a:gd name="connsiteY181" fmla="*/ 1005364 h 1273968"/>
                <a:gd name="connsiteX182" fmla="*/ 238696 w 1489995"/>
                <a:gd name="connsiteY182" fmla="*/ 1006697 h 1273968"/>
                <a:gd name="connsiteX183" fmla="*/ 243554 w 1489995"/>
                <a:gd name="connsiteY183" fmla="*/ 1007650 h 1273968"/>
                <a:gd name="connsiteX184" fmla="*/ 245745 w 1489995"/>
                <a:gd name="connsiteY184" fmla="*/ 1012222 h 1273968"/>
                <a:gd name="connsiteX185" fmla="*/ 247364 w 1489995"/>
                <a:gd name="connsiteY185" fmla="*/ 1012031 h 1273968"/>
                <a:gd name="connsiteX186" fmla="*/ 247555 w 1489995"/>
                <a:gd name="connsiteY186" fmla="*/ 1013555 h 1273968"/>
                <a:gd name="connsiteX187" fmla="*/ 252317 w 1489995"/>
                <a:gd name="connsiteY187" fmla="*/ 1012984 h 1273968"/>
                <a:gd name="connsiteX188" fmla="*/ 254032 w 1489995"/>
                <a:gd name="connsiteY188" fmla="*/ 1014317 h 1273968"/>
                <a:gd name="connsiteX189" fmla="*/ 255079 w 1489995"/>
                <a:gd name="connsiteY189" fmla="*/ 1009460 h 1273968"/>
                <a:gd name="connsiteX190" fmla="*/ 256603 w 1489995"/>
                <a:gd name="connsiteY190" fmla="*/ 1009269 h 1273968"/>
                <a:gd name="connsiteX191" fmla="*/ 256222 w 1489995"/>
                <a:gd name="connsiteY191" fmla="*/ 1006031 h 1273968"/>
                <a:gd name="connsiteX192" fmla="*/ 257556 w 1489995"/>
                <a:gd name="connsiteY192" fmla="*/ 1004316 h 1273968"/>
                <a:gd name="connsiteX193" fmla="*/ 258413 w 1489995"/>
                <a:gd name="connsiteY193" fmla="*/ 997744 h 1273968"/>
                <a:gd name="connsiteX194" fmla="*/ 261366 w 1489995"/>
                <a:gd name="connsiteY194" fmla="*/ 995839 h 1273968"/>
                <a:gd name="connsiteX195" fmla="*/ 263652 w 1489995"/>
                <a:gd name="connsiteY195" fmla="*/ 989076 h 1273968"/>
                <a:gd name="connsiteX196" fmla="*/ 266795 w 1489995"/>
                <a:gd name="connsiteY196" fmla="*/ 988695 h 1273968"/>
                <a:gd name="connsiteX197" fmla="*/ 272986 w 1489995"/>
                <a:gd name="connsiteY197" fmla="*/ 986314 h 1273968"/>
                <a:gd name="connsiteX198" fmla="*/ 272510 w 1489995"/>
                <a:gd name="connsiteY198" fmla="*/ 983170 h 1273968"/>
                <a:gd name="connsiteX199" fmla="*/ 274320 w 1489995"/>
                <a:gd name="connsiteY199" fmla="*/ 984504 h 1273968"/>
                <a:gd name="connsiteX200" fmla="*/ 275749 w 1489995"/>
                <a:gd name="connsiteY200" fmla="*/ 982790 h 1273968"/>
                <a:gd name="connsiteX201" fmla="*/ 278892 w 1489995"/>
                <a:gd name="connsiteY201" fmla="*/ 982313 h 1273968"/>
                <a:gd name="connsiteX202" fmla="*/ 283178 w 1489995"/>
                <a:gd name="connsiteY202" fmla="*/ 978599 h 1273968"/>
                <a:gd name="connsiteX203" fmla="*/ 284988 w 1489995"/>
                <a:gd name="connsiteY203" fmla="*/ 979932 h 1273968"/>
                <a:gd name="connsiteX204" fmla="*/ 288893 w 1489995"/>
                <a:gd name="connsiteY204" fmla="*/ 973074 h 1273968"/>
                <a:gd name="connsiteX205" fmla="*/ 286703 w 1489995"/>
                <a:gd name="connsiteY205" fmla="*/ 968502 h 1273968"/>
                <a:gd name="connsiteX206" fmla="*/ 281559 w 1489995"/>
                <a:gd name="connsiteY206" fmla="*/ 965930 h 1273968"/>
                <a:gd name="connsiteX207" fmla="*/ 279559 w 1489995"/>
                <a:gd name="connsiteY207" fmla="*/ 962978 h 1273968"/>
                <a:gd name="connsiteX208" fmla="*/ 276225 w 1489995"/>
                <a:gd name="connsiteY208" fmla="*/ 961835 h 1273968"/>
                <a:gd name="connsiteX209" fmla="*/ 273272 w 1489995"/>
                <a:gd name="connsiteY209" fmla="*/ 963835 h 1273968"/>
                <a:gd name="connsiteX210" fmla="*/ 271939 w 1489995"/>
                <a:gd name="connsiteY210" fmla="*/ 965549 h 1273968"/>
                <a:gd name="connsiteX211" fmla="*/ 266033 w 1489995"/>
                <a:gd name="connsiteY211" fmla="*/ 969550 h 1273968"/>
                <a:gd name="connsiteX212" fmla="*/ 264223 w 1489995"/>
                <a:gd name="connsiteY212" fmla="*/ 968121 h 1273968"/>
                <a:gd name="connsiteX213" fmla="*/ 264795 w 1489995"/>
                <a:gd name="connsiteY213" fmla="*/ 960120 h 1273968"/>
                <a:gd name="connsiteX214" fmla="*/ 274034 w 1489995"/>
                <a:gd name="connsiteY214" fmla="*/ 957262 h 1273968"/>
                <a:gd name="connsiteX215" fmla="*/ 277178 w 1489995"/>
                <a:gd name="connsiteY215" fmla="*/ 944023 h 1273968"/>
                <a:gd name="connsiteX216" fmla="*/ 276415 w 1489995"/>
                <a:gd name="connsiteY216" fmla="*/ 937736 h 1273968"/>
                <a:gd name="connsiteX217" fmla="*/ 272605 w 1489995"/>
                <a:gd name="connsiteY217" fmla="*/ 933450 h 1273968"/>
                <a:gd name="connsiteX218" fmla="*/ 272224 w 1489995"/>
                <a:gd name="connsiteY218" fmla="*/ 930307 h 1273968"/>
                <a:gd name="connsiteX219" fmla="*/ 269843 w 1489995"/>
                <a:gd name="connsiteY219" fmla="*/ 924115 h 1273968"/>
                <a:gd name="connsiteX220" fmla="*/ 270796 w 1489995"/>
                <a:gd name="connsiteY220" fmla="*/ 919258 h 1273968"/>
                <a:gd name="connsiteX221" fmla="*/ 280321 w 1489995"/>
                <a:gd name="connsiteY221" fmla="*/ 918020 h 1273968"/>
                <a:gd name="connsiteX222" fmla="*/ 279463 w 1489995"/>
                <a:gd name="connsiteY222" fmla="*/ 911733 h 1273968"/>
                <a:gd name="connsiteX223" fmla="*/ 285369 w 1489995"/>
                <a:gd name="connsiteY223" fmla="*/ 907732 h 1273968"/>
                <a:gd name="connsiteX224" fmla="*/ 282226 w 1489995"/>
                <a:gd name="connsiteY224" fmla="*/ 908114 h 1273968"/>
                <a:gd name="connsiteX225" fmla="*/ 284416 w 1489995"/>
                <a:gd name="connsiteY225" fmla="*/ 899827 h 1273968"/>
                <a:gd name="connsiteX226" fmla="*/ 277463 w 1489995"/>
                <a:gd name="connsiteY226" fmla="*/ 895922 h 1273968"/>
                <a:gd name="connsiteX227" fmla="*/ 276415 w 1489995"/>
                <a:gd name="connsiteY227" fmla="*/ 888016 h 1273968"/>
                <a:gd name="connsiteX228" fmla="*/ 283369 w 1489995"/>
                <a:gd name="connsiteY228" fmla="*/ 879157 h 1273968"/>
                <a:gd name="connsiteX229" fmla="*/ 281368 w 1489995"/>
                <a:gd name="connsiteY229" fmla="*/ 876205 h 1273968"/>
                <a:gd name="connsiteX230" fmla="*/ 277654 w 1489995"/>
                <a:gd name="connsiteY230" fmla="*/ 871823 h 1273968"/>
                <a:gd name="connsiteX231" fmla="*/ 280321 w 1489995"/>
                <a:gd name="connsiteY231" fmla="*/ 868299 h 1273968"/>
                <a:gd name="connsiteX232" fmla="*/ 283750 w 1489995"/>
                <a:gd name="connsiteY232" fmla="*/ 869442 h 1273968"/>
                <a:gd name="connsiteX233" fmla="*/ 287464 w 1489995"/>
                <a:gd name="connsiteY233" fmla="*/ 860965 h 1273968"/>
                <a:gd name="connsiteX234" fmla="*/ 283464 w 1489995"/>
                <a:gd name="connsiteY234" fmla="*/ 855059 h 1273968"/>
                <a:gd name="connsiteX235" fmla="*/ 286607 w 1489995"/>
                <a:gd name="connsiteY235" fmla="*/ 854678 h 1273968"/>
                <a:gd name="connsiteX236" fmla="*/ 285464 w 1489995"/>
                <a:gd name="connsiteY236" fmla="*/ 845153 h 1273968"/>
                <a:gd name="connsiteX237" fmla="*/ 287179 w 1489995"/>
                <a:gd name="connsiteY237" fmla="*/ 846582 h 1273968"/>
                <a:gd name="connsiteX238" fmla="*/ 290417 w 1489995"/>
                <a:gd name="connsiteY238" fmla="*/ 846201 h 1273968"/>
                <a:gd name="connsiteX239" fmla="*/ 290132 w 1489995"/>
                <a:gd name="connsiteY239" fmla="*/ 844582 h 1273968"/>
                <a:gd name="connsiteX240" fmla="*/ 290417 w 1489995"/>
                <a:gd name="connsiteY240" fmla="*/ 846201 h 1273968"/>
                <a:gd name="connsiteX241" fmla="*/ 291941 w 1489995"/>
                <a:gd name="connsiteY241" fmla="*/ 845915 h 1273968"/>
                <a:gd name="connsiteX242" fmla="*/ 293370 w 1489995"/>
                <a:gd name="connsiteY242" fmla="*/ 844201 h 1273968"/>
                <a:gd name="connsiteX243" fmla="*/ 296704 w 1489995"/>
                <a:gd name="connsiteY243" fmla="*/ 845344 h 1273968"/>
                <a:gd name="connsiteX244" fmla="*/ 299657 w 1489995"/>
                <a:gd name="connsiteY244" fmla="*/ 843344 h 1273968"/>
                <a:gd name="connsiteX245" fmla="*/ 300228 w 1489995"/>
                <a:gd name="connsiteY245" fmla="*/ 848106 h 1273968"/>
                <a:gd name="connsiteX246" fmla="*/ 303181 w 1489995"/>
                <a:gd name="connsiteY246" fmla="*/ 846106 h 1273968"/>
                <a:gd name="connsiteX247" fmla="*/ 299657 w 1489995"/>
                <a:gd name="connsiteY247" fmla="*/ 830580 h 1273968"/>
                <a:gd name="connsiteX248" fmla="*/ 298037 w 1489995"/>
                <a:gd name="connsiteY248" fmla="*/ 817912 h 1273968"/>
                <a:gd name="connsiteX249" fmla="*/ 295656 w 1489995"/>
                <a:gd name="connsiteY249" fmla="*/ 811816 h 1273968"/>
                <a:gd name="connsiteX250" fmla="*/ 296609 w 1489995"/>
                <a:gd name="connsiteY250" fmla="*/ 806863 h 1273968"/>
                <a:gd name="connsiteX251" fmla="*/ 296228 w 1489995"/>
                <a:gd name="connsiteY251" fmla="*/ 803720 h 1273968"/>
                <a:gd name="connsiteX252" fmla="*/ 294418 w 1489995"/>
                <a:gd name="connsiteY252" fmla="*/ 802386 h 1273968"/>
                <a:gd name="connsiteX253" fmla="*/ 292417 w 1489995"/>
                <a:gd name="connsiteY253" fmla="*/ 799433 h 1273968"/>
                <a:gd name="connsiteX254" fmla="*/ 293656 w 1489995"/>
                <a:gd name="connsiteY254" fmla="*/ 796004 h 1273968"/>
                <a:gd name="connsiteX255" fmla="*/ 294799 w 1489995"/>
                <a:gd name="connsiteY255" fmla="*/ 792670 h 1273968"/>
                <a:gd name="connsiteX256" fmla="*/ 293941 w 1489995"/>
                <a:gd name="connsiteY256" fmla="*/ 786384 h 1273968"/>
                <a:gd name="connsiteX257" fmla="*/ 292227 w 1489995"/>
                <a:gd name="connsiteY257" fmla="*/ 784955 h 1273968"/>
                <a:gd name="connsiteX258" fmla="*/ 294799 w 1489995"/>
                <a:gd name="connsiteY258" fmla="*/ 779812 h 1273968"/>
                <a:gd name="connsiteX259" fmla="*/ 302419 w 1489995"/>
                <a:gd name="connsiteY259" fmla="*/ 777240 h 1273968"/>
                <a:gd name="connsiteX260" fmla="*/ 291370 w 1489995"/>
                <a:gd name="connsiteY260" fmla="*/ 778669 h 1273968"/>
                <a:gd name="connsiteX261" fmla="*/ 286226 w 1489995"/>
                <a:gd name="connsiteY261" fmla="*/ 776097 h 1273968"/>
                <a:gd name="connsiteX262" fmla="*/ 274034 w 1489995"/>
                <a:gd name="connsiteY262" fmla="*/ 768096 h 1273968"/>
                <a:gd name="connsiteX263" fmla="*/ 270034 w 1489995"/>
                <a:gd name="connsiteY263" fmla="*/ 762190 h 1273968"/>
                <a:gd name="connsiteX264" fmla="*/ 256984 w 1489995"/>
                <a:gd name="connsiteY264" fmla="*/ 760571 h 1273968"/>
                <a:gd name="connsiteX265" fmla="*/ 251841 w 1489995"/>
                <a:gd name="connsiteY265" fmla="*/ 758095 h 1273968"/>
                <a:gd name="connsiteX266" fmla="*/ 245936 w 1489995"/>
                <a:gd name="connsiteY266" fmla="*/ 762000 h 1273968"/>
                <a:gd name="connsiteX267" fmla="*/ 239459 w 1489995"/>
                <a:gd name="connsiteY267" fmla="*/ 761238 h 1273968"/>
                <a:gd name="connsiteX268" fmla="*/ 240792 w 1489995"/>
                <a:gd name="connsiteY268" fmla="*/ 759428 h 1273968"/>
                <a:gd name="connsiteX269" fmla="*/ 239077 w 1489995"/>
                <a:gd name="connsiteY269" fmla="*/ 758095 h 1273968"/>
                <a:gd name="connsiteX270" fmla="*/ 240411 w 1489995"/>
                <a:gd name="connsiteY270" fmla="*/ 756285 h 1273968"/>
                <a:gd name="connsiteX271" fmla="*/ 244030 w 1489995"/>
                <a:gd name="connsiteY271" fmla="*/ 759047 h 1273968"/>
                <a:gd name="connsiteX272" fmla="*/ 245554 w 1489995"/>
                <a:gd name="connsiteY272" fmla="*/ 758857 h 1273968"/>
                <a:gd name="connsiteX273" fmla="*/ 245745 w 1489995"/>
                <a:gd name="connsiteY273" fmla="*/ 747617 h 1273968"/>
                <a:gd name="connsiteX274" fmla="*/ 246507 w 1489995"/>
                <a:gd name="connsiteY274" fmla="*/ 741140 h 1273968"/>
                <a:gd name="connsiteX275" fmla="*/ 244697 w 1489995"/>
                <a:gd name="connsiteY275" fmla="*/ 739711 h 1273968"/>
                <a:gd name="connsiteX276" fmla="*/ 243745 w 1489995"/>
                <a:gd name="connsiteY276" fmla="*/ 731806 h 1273968"/>
                <a:gd name="connsiteX277" fmla="*/ 237649 w 1489995"/>
                <a:gd name="connsiteY277" fmla="*/ 734187 h 1273968"/>
                <a:gd name="connsiteX278" fmla="*/ 232505 w 1489995"/>
                <a:gd name="connsiteY278" fmla="*/ 731615 h 1273968"/>
                <a:gd name="connsiteX279" fmla="*/ 225742 w 1489995"/>
                <a:gd name="connsiteY279" fmla="*/ 729329 h 1273968"/>
                <a:gd name="connsiteX280" fmla="*/ 216503 w 1489995"/>
                <a:gd name="connsiteY280" fmla="*/ 732091 h 1273968"/>
                <a:gd name="connsiteX281" fmla="*/ 211931 w 1489995"/>
                <a:gd name="connsiteY281" fmla="*/ 734282 h 1273968"/>
                <a:gd name="connsiteX282" fmla="*/ 211931 w 1489995"/>
                <a:gd name="connsiteY282" fmla="*/ 734282 h 1273968"/>
                <a:gd name="connsiteX283" fmla="*/ 210407 w 1489995"/>
                <a:gd name="connsiteY283" fmla="*/ 734473 h 1273968"/>
                <a:gd name="connsiteX284" fmla="*/ 209359 w 1489995"/>
                <a:gd name="connsiteY284" fmla="*/ 726567 h 1273968"/>
                <a:gd name="connsiteX285" fmla="*/ 204978 w 1489995"/>
                <a:gd name="connsiteY285" fmla="*/ 717518 h 1273968"/>
                <a:gd name="connsiteX286" fmla="*/ 201644 w 1489995"/>
                <a:gd name="connsiteY286" fmla="*/ 716375 h 1273968"/>
                <a:gd name="connsiteX287" fmla="*/ 198691 w 1489995"/>
                <a:gd name="connsiteY287" fmla="*/ 718280 h 1273968"/>
                <a:gd name="connsiteX288" fmla="*/ 196977 w 1489995"/>
                <a:gd name="connsiteY288" fmla="*/ 716947 h 1273968"/>
                <a:gd name="connsiteX289" fmla="*/ 192976 w 1489995"/>
                <a:gd name="connsiteY289" fmla="*/ 711041 h 1273968"/>
                <a:gd name="connsiteX290" fmla="*/ 189833 w 1489995"/>
                <a:gd name="connsiteY290" fmla="*/ 711422 h 1273968"/>
                <a:gd name="connsiteX291" fmla="*/ 187833 w 1489995"/>
                <a:gd name="connsiteY291" fmla="*/ 695611 h 1273968"/>
                <a:gd name="connsiteX292" fmla="*/ 182880 w 1489995"/>
                <a:gd name="connsiteY292" fmla="*/ 694658 h 1273968"/>
                <a:gd name="connsiteX293" fmla="*/ 178879 w 1489995"/>
                <a:gd name="connsiteY293" fmla="*/ 688753 h 1273968"/>
                <a:gd name="connsiteX294" fmla="*/ 175736 w 1489995"/>
                <a:gd name="connsiteY294" fmla="*/ 689134 h 1273968"/>
                <a:gd name="connsiteX295" fmla="*/ 172402 w 1489995"/>
                <a:gd name="connsiteY295" fmla="*/ 687991 h 1273968"/>
                <a:gd name="connsiteX296" fmla="*/ 169640 w 1489995"/>
                <a:gd name="connsiteY296" fmla="*/ 691515 h 1273968"/>
                <a:gd name="connsiteX297" fmla="*/ 168021 w 1489995"/>
                <a:gd name="connsiteY297" fmla="*/ 691801 h 1273968"/>
                <a:gd name="connsiteX298" fmla="*/ 166497 w 1489995"/>
                <a:gd name="connsiteY298" fmla="*/ 691991 h 1273968"/>
                <a:gd name="connsiteX299" fmla="*/ 163163 w 1489995"/>
                <a:gd name="connsiteY299" fmla="*/ 690753 h 1273968"/>
                <a:gd name="connsiteX300" fmla="*/ 161734 w 1489995"/>
                <a:gd name="connsiteY300" fmla="*/ 692563 h 1273968"/>
                <a:gd name="connsiteX301" fmla="*/ 163925 w 1489995"/>
                <a:gd name="connsiteY301" fmla="*/ 697135 h 1273968"/>
                <a:gd name="connsiteX302" fmla="*/ 144970 w 1489995"/>
                <a:gd name="connsiteY302" fmla="*/ 699516 h 1273968"/>
                <a:gd name="connsiteX303" fmla="*/ 139827 w 1489995"/>
                <a:gd name="connsiteY303" fmla="*/ 696944 h 1273968"/>
                <a:gd name="connsiteX304" fmla="*/ 118777 w 1489995"/>
                <a:gd name="connsiteY304" fmla="*/ 694849 h 1273968"/>
                <a:gd name="connsiteX305" fmla="*/ 118300 w 1489995"/>
                <a:gd name="connsiteY305" fmla="*/ 691706 h 1273968"/>
                <a:gd name="connsiteX306" fmla="*/ 114967 w 1489995"/>
                <a:gd name="connsiteY306" fmla="*/ 690467 h 1273968"/>
                <a:gd name="connsiteX307" fmla="*/ 114586 w 1489995"/>
                <a:gd name="connsiteY307" fmla="*/ 687324 h 1273968"/>
                <a:gd name="connsiteX308" fmla="*/ 109252 w 1489995"/>
                <a:gd name="connsiteY308" fmla="*/ 683228 h 1273968"/>
                <a:gd name="connsiteX309" fmla="*/ 110585 w 1489995"/>
                <a:gd name="connsiteY309" fmla="*/ 681419 h 1273968"/>
                <a:gd name="connsiteX310" fmla="*/ 108680 w 1489995"/>
                <a:gd name="connsiteY310" fmla="*/ 678466 h 1273968"/>
                <a:gd name="connsiteX311" fmla="*/ 103537 w 1489995"/>
                <a:gd name="connsiteY311" fmla="*/ 675894 h 1273968"/>
                <a:gd name="connsiteX312" fmla="*/ 99917 w 1489995"/>
                <a:gd name="connsiteY312" fmla="*/ 673132 h 1273968"/>
                <a:gd name="connsiteX313" fmla="*/ 98393 w 1489995"/>
                <a:gd name="connsiteY313" fmla="*/ 673322 h 1273968"/>
                <a:gd name="connsiteX314" fmla="*/ 94774 w 1489995"/>
                <a:gd name="connsiteY314" fmla="*/ 670655 h 1273968"/>
                <a:gd name="connsiteX315" fmla="*/ 85534 w 1489995"/>
                <a:gd name="connsiteY315" fmla="*/ 673418 h 1273968"/>
                <a:gd name="connsiteX316" fmla="*/ 82772 w 1489995"/>
                <a:gd name="connsiteY316" fmla="*/ 664178 h 1273968"/>
                <a:gd name="connsiteX317" fmla="*/ 78010 w 1489995"/>
                <a:gd name="connsiteY317" fmla="*/ 664750 h 1273968"/>
                <a:gd name="connsiteX318" fmla="*/ 72866 w 1489995"/>
                <a:gd name="connsiteY318" fmla="*/ 662178 h 1273968"/>
                <a:gd name="connsiteX319" fmla="*/ 73438 w 1489995"/>
                <a:gd name="connsiteY319" fmla="*/ 654082 h 1273968"/>
                <a:gd name="connsiteX320" fmla="*/ 76771 w 1489995"/>
                <a:gd name="connsiteY320" fmla="*/ 655225 h 1273968"/>
                <a:gd name="connsiteX321" fmla="*/ 78010 w 1489995"/>
                <a:gd name="connsiteY321" fmla="*/ 651891 h 1273968"/>
                <a:gd name="connsiteX322" fmla="*/ 89249 w 1489995"/>
                <a:gd name="connsiteY322" fmla="*/ 652082 h 1273968"/>
                <a:gd name="connsiteX323" fmla="*/ 97726 w 1489995"/>
                <a:gd name="connsiteY323" fmla="*/ 655796 h 1273968"/>
                <a:gd name="connsiteX324" fmla="*/ 97345 w 1489995"/>
                <a:gd name="connsiteY324" fmla="*/ 652653 h 1273968"/>
                <a:gd name="connsiteX325" fmla="*/ 90583 w 1489995"/>
                <a:gd name="connsiteY325" fmla="*/ 650272 h 1273968"/>
                <a:gd name="connsiteX326" fmla="*/ 89059 w 1489995"/>
                <a:gd name="connsiteY326" fmla="*/ 650462 h 1273968"/>
                <a:gd name="connsiteX327" fmla="*/ 86296 w 1489995"/>
                <a:gd name="connsiteY327" fmla="*/ 641223 h 1273968"/>
                <a:gd name="connsiteX328" fmla="*/ 82867 w 1489995"/>
                <a:gd name="connsiteY328" fmla="*/ 640080 h 1273968"/>
                <a:gd name="connsiteX329" fmla="*/ 70294 w 1489995"/>
                <a:gd name="connsiteY329" fmla="*/ 641699 h 1273968"/>
                <a:gd name="connsiteX330" fmla="*/ 66294 w 1489995"/>
                <a:gd name="connsiteY330" fmla="*/ 648557 h 1273968"/>
                <a:gd name="connsiteX331" fmla="*/ 60007 w 1489995"/>
                <a:gd name="connsiteY331" fmla="*/ 649415 h 1273968"/>
                <a:gd name="connsiteX332" fmla="*/ 56483 w 1489995"/>
                <a:gd name="connsiteY332" fmla="*/ 646652 h 1273968"/>
                <a:gd name="connsiteX333" fmla="*/ 57626 w 1489995"/>
                <a:gd name="connsiteY333" fmla="*/ 643319 h 1273968"/>
                <a:gd name="connsiteX334" fmla="*/ 57245 w 1489995"/>
                <a:gd name="connsiteY334" fmla="*/ 640080 h 1273968"/>
                <a:gd name="connsiteX335" fmla="*/ 54292 w 1489995"/>
                <a:gd name="connsiteY335" fmla="*/ 642080 h 1273968"/>
                <a:gd name="connsiteX336" fmla="*/ 52102 w 1489995"/>
                <a:gd name="connsiteY336" fmla="*/ 637604 h 1273968"/>
                <a:gd name="connsiteX337" fmla="*/ 47815 w 1489995"/>
                <a:gd name="connsiteY337" fmla="*/ 641318 h 1273968"/>
                <a:gd name="connsiteX338" fmla="*/ 32956 w 1489995"/>
                <a:gd name="connsiteY338" fmla="*/ 638365 h 1273968"/>
                <a:gd name="connsiteX339" fmla="*/ 30861 w 1489995"/>
                <a:gd name="connsiteY339" fmla="*/ 646652 h 1273968"/>
                <a:gd name="connsiteX340" fmla="*/ 27622 w 1489995"/>
                <a:gd name="connsiteY340" fmla="*/ 647129 h 1273968"/>
                <a:gd name="connsiteX341" fmla="*/ 25336 w 1489995"/>
                <a:gd name="connsiteY341" fmla="*/ 653796 h 1273968"/>
                <a:gd name="connsiteX342" fmla="*/ 23717 w 1489995"/>
                <a:gd name="connsiteY342" fmla="*/ 653986 h 1273968"/>
                <a:gd name="connsiteX343" fmla="*/ 18764 w 1489995"/>
                <a:gd name="connsiteY343" fmla="*/ 653034 h 1273968"/>
                <a:gd name="connsiteX344" fmla="*/ 17812 w 1489995"/>
                <a:gd name="connsiteY344" fmla="*/ 645128 h 1273968"/>
                <a:gd name="connsiteX345" fmla="*/ 6763 w 1489995"/>
                <a:gd name="connsiteY345" fmla="*/ 646557 h 1273968"/>
                <a:gd name="connsiteX346" fmla="*/ 2191 w 1489995"/>
                <a:gd name="connsiteY346" fmla="*/ 648748 h 1273968"/>
                <a:gd name="connsiteX347" fmla="*/ 667 w 1489995"/>
                <a:gd name="connsiteY347" fmla="*/ 648938 h 1273968"/>
                <a:gd name="connsiteX348" fmla="*/ 0 w 1489995"/>
                <a:gd name="connsiteY348" fmla="*/ 644176 h 1273968"/>
                <a:gd name="connsiteX349" fmla="*/ 4191 w 1489995"/>
                <a:gd name="connsiteY349" fmla="*/ 638842 h 1273968"/>
                <a:gd name="connsiteX350" fmla="*/ 3524 w 1489995"/>
                <a:gd name="connsiteY350" fmla="*/ 634175 h 1273968"/>
                <a:gd name="connsiteX351" fmla="*/ 9430 w 1489995"/>
                <a:gd name="connsiteY351" fmla="*/ 630174 h 1273968"/>
                <a:gd name="connsiteX352" fmla="*/ 10858 w 1489995"/>
                <a:gd name="connsiteY352" fmla="*/ 628364 h 1273968"/>
                <a:gd name="connsiteX353" fmla="*/ 8858 w 1489995"/>
                <a:gd name="connsiteY353" fmla="*/ 625411 h 1273968"/>
                <a:gd name="connsiteX354" fmla="*/ 12954 w 1489995"/>
                <a:gd name="connsiteY354" fmla="*/ 620078 h 1273968"/>
                <a:gd name="connsiteX355" fmla="*/ 12382 w 1489995"/>
                <a:gd name="connsiteY355" fmla="*/ 615410 h 1273968"/>
                <a:gd name="connsiteX356" fmla="*/ 17335 w 1489995"/>
                <a:gd name="connsiteY356" fmla="*/ 616363 h 1273968"/>
                <a:gd name="connsiteX357" fmla="*/ 23622 w 1489995"/>
                <a:gd name="connsiteY357" fmla="*/ 615506 h 1273968"/>
                <a:gd name="connsiteX358" fmla="*/ 24003 w 1489995"/>
                <a:gd name="connsiteY358" fmla="*/ 605885 h 1273968"/>
                <a:gd name="connsiteX359" fmla="*/ 21622 w 1489995"/>
                <a:gd name="connsiteY359" fmla="*/ 599789 h 1273968"/>
                <a:gd name="connsiteX360" fmla="*/ 21431 w 1489995"/>
                <a:gd name="connsiteY360" fmla="*/ 598170 h 1273968"/>
                <a:gd name="connsiteX361" fmla="*/ 16478 w 1489995"/>
                <a:gd name="connsiteY361" fmla="*/ 597218 h 1273968"/>
                <a:gd name="connsiteX362" fmla="*/ 13906 w 1489995"/>
                <a:gd name="connsiteY362" fmla="*/ 589502 h 1273968"/>
                <a:gd name="connsiteX363" fmla="*/ 9811 w 1489995"/>
                <a:gd name="connsiteY363" fmla="*/ 594836 h 1273968"/>
                <a:gd name="connsiteX364" fmla="*/ 7810 w 1489995"/>
                <a:gd name="connsiteY364" fmla="*/ 591884 h 1273968"/>
                <a:gd name="connsiteX365" fmla="*/ 8382 w 1489995"/>
                <a:gd name="connsiteY365" fmla="*/ 583787 h 1273968"/>
                <a:gd name="connsiteX366" fmla="*/ 9144 w 1489995"/>
                <a:gd name="connsiteY366" fmla="*/ 577310 h 1273968"/>
                <a:gd name="connsiteX367" fmla="*/ 7144 w 1489995"/>
                <a:gd name="connsiteY367" fmla="*/ 574358 h 1273968"/>
                <a:gd name="connsiteX368" fmla="*/ 11525 w 1489995"/>
                <a:gd name="connsiteY368" fmla="*/ 570548 h 1273968"/>
                <a:gd name="connsiteX369" fmla="*/ 14859 w 1489995"/>
                <a:gd name="connsiteY369" fmla="*/ 571786 h 1273968"/>
                <a:gd name="connsiteX370" fmla="*/ 17621 w 1489995"/>
                <a:gd name="connsiteY370" fmla="*/ 568166 h 1273968"/>
                <a:gd name="connsiteX371" fmla="*/ 20764 w 1489995"/>
                <a:gd name="connsiteY371" fmla="*/ 567785 h 1273968"/>
                <a:gd name="connsiteX372" fmla="*/ 21526 w 1489995"/>
                <a:gd name="connsiteY372" fmla="*/ 561308 h 1273968"/>
                <a:gd name="connsiteX373" fmla="*/ 31242 w 1489995"/>
                <a:gd name="connsiteY373" fmla="*/ 561689 h 1273968"/>
                <a:gd name="connsiteX374" fmla="*/ 31242 w 1489995"/>
                <a:gd name="connsiteY374" fmla="*/ 561689 h 1273968"/>
                <a:gd name="connsiteX375" fmla="*/ 31432 w 1489995"/>
                <a:gd name="connsiteY375" fmla="*/ 563213 h 1273968"/>
                <a:gd name="connsiteX376" fmla="*/ 41434 w 1489995"/>
                <a:gd name="connsiteY376" fmla="*/ 566738 h 1273968"/>
                <a:gd name="connsiteX377" fmla="*/ 46196 w 1489995"/>
                <a:gd name="connsiteY377" fmla="*/ 566166 h 1273968"/>
                <a:gd name="connsiteX378" fmla="*/ 47149 w 1489995"/>
                <a:gd name="connsiteY378" fmla="*/ 561213 h 1273968"/>
                <a:gd name="connsiteX379" fmla="*/ 45434 w 1489995"/>
                <a:gd name="connsiteY379" fmla="*/ 559880 h 1273968"/>
                <a:gd name="connsiteX380" fmla="*/ 46577 w 1489995"/>
                <a:gd name="connsiteY380" fmla="*/ 556451 h 1273968"/>
                <a:gd name="connsiteX381" fmla="*/ 48387 w 1489995"/>
                <a:gd name="connsiteY381" fmla="*/ 557879 h 1273968"/>
                <a:gd name="connsiteX382" fmla="*/ 53054 w 1489995"/>
                <a:gd name="connsiteY382" fmla="*/ 557213 h 1273968"/>
                <a:gd name="connsiteX383" fmla="*/ 51911 w 1489995"/>
                <a:gd name="connsiteY383" fmla="*/ 547783 h 1273968"/>
                <a:gd name="connsiteX384" fmla="*/ 51721 w 1489995"/>
                <a:gd name="connsiteY384" fmla="*/ 546163 h 1273968"/>
                <a:gd name="connsiteX385" fmla="*/ 52102 w 1489995"/>
                <a:gd name="connsiteY385" fmla="*/ 536543 h 1273968"/>
                <a:gd name="connsiteX386" fmla="*/ 52483 w 1489995"/>
                <a:gd name="connsiteY386" fmla="*/ 539686 h 1273968"/>
                <a:gd name="connsiteX387" fmla="*/ 53816 w 1489995"/>
                <a:gd name="connsiteY387" fmla="*/ 537877 h 1273968"/>
                <a:gd name="connsiteX388" fmla="*/ 56007 w 1489995"/>
                <a:gd name="connsiteY388" fmla="*/ 542449 h 1273968"/>
                <a:gd name="connsiteX389" fmla="*/ 60960 w 1489995"/>
                <a:gd name="connsiteY389" fmla="*/ 543401 h 1273968"/>
                <a:gd name="connsiteX390" fmla="*/ 65913 w 1489995"/>
                <a:gd name="connsiteY390" fmla="*/ 544354 h 1273968"/>
                <a:gd name="connsiteX391" fmla="*/ 66865 w 1489995"/>
                <a:gd name="connsiteY391" fmla="*/ 539496 h 1273968"/>
                <a:gd name="connsiteX392" fmla="*/ 66103 w 1489995"/>
                <a:gd name="connsiteY392" fmla="*/ 533114 h 1273968"/>
                <a:gd name="connsiteX393" fmla="*/ 65246 w 1489995"/>
                <a:gd name="connsiteY393" fmla="*/ 526828 h 1273968"/>
                <a:gd name="connsiteX394" fmla="*/ 60103 w 1489995"/>
                <a:gd name="connsiteY394" fmla="*/ 524256 h 1273968"/>
                <a:gd name="connsiteX395" fmla="*/ 60103 w 1489995"/>
                <a:gd name="connsiteY395" fmla="*/ 524256 h 1273968"/>
                <a:gd name="connsiteX396" fmla="*/ 69628 w 1489995"/>
                <a:gd name="connsiteY396" fmla="*/ 523113 h 1273968"/>
                <a:gd name="connsiteX397" fmla="*/ 70580 w 1489995"/>
                <a:gd name="connsiteY397" fmla="*/ 518160 h 1273968"/>
                <a:gd name="connsiteX398" fmla="*/ 66008 w 1489995"/>
                <a:gd name="connsiteY398" fmla="*/ 507492 h 1273968"/>
                <a:gd name="connsiteX399" fmla="*/ 68770 w 1489995"/>
                <a:gd name="connsiteY399" fmla="*/ 503968 h 1273968"/>
                <a:gd name="connsiteX400" fmla="*/ 66199 w 1489995"/>
                <a:gd name="connsiteY400" fmla="*/ 496253 h 1273968"/>
                <a:gd name="connsiteX401" fmla="*/ 69913 w 1489995"/>
                <a:gd name="connsiteY401" fmla="*/ 500539 h 1273968"/>
                <a:gd name="connsiteX402" fmla="*/ 69723 w 1489995"/>
                <a:gd name="connsiteY402" fmla="*/ 499015 h 1273968"/>
                <a:gd name="connsiteX403" fmla="*/ 77629 w 1489995"/>
                <a:gd name="connsiteY403" fmla="*/ 497967 h 1273968"/>
                <a:gd name="connsiteX404" fmla="*/ 80581 w 1489995"/>
                <a:gd name="connsiteY404" fmla="*/ 496062 h 1273968"/>
                <a:gd name="connsiteX405" fmla="*/ 80391 w 1489995"/>
                <a:gd name="connsiteY405" fmla="*/ 494443 h 1273968"/>
                <a:gd name="connsiteX406" fmla="*/ 83534 w 1489995"/>
                <a:gd name="connsiteY406" fmla="*/ 494062 h 1273968"/>
                <a:gd name="connsiteX407" fmla="*/ 83534 w 1489995"/>
                <a:gd name="connsiteY407" fmla="*/ 494062 h 1273968"/>
                <a:gd name="connsiteX408" fmla="*/ 83153 w 1489995"/>
                <a:gd name="connsiteY408" fmla="*/ 490919 h 1273968"/>
                <a:gd name="connsiteX409" fmla="*/ 87820 w 1489995"/>
                <a:gd name="connsiteY409" fmla="*/ 490252 h 1273968"/>
                <a:gd name="connsiteX410" fmla="*/ 86106 w 1489995"/>
                <a:gd name="connsiteY410" fmla="*/ 488918 h 1273968"/>
                <a:gd name="connsiteX411" fmla="*/ 85249 w 1489995"/>
                <a:gd name="connsiteY411" fmla="*/ 482632 h 1273968"/>
                <a:gd name="connsiteX412" fmla="*/ 86868 w 1489995"/>
                <a:gd name="connsiteY412" fmla="*/ 482346 h 1273968"/>
                <a:gd name="connsiteX413" fmla="*/ 90202 w 1489995"/>
                <a:gd name="connsiteY413" fmla="*/ 483584 h 1273968"/>
                <a:gd name="connsiteX414" fmla="*/ 91345 w 1489995"/>
                <a:gd name="connsiteY414" fmla="*/ 480250 h 1273968"/>
                <a:gd name="connsiteX415" fmla="*/ 97726 w 1489995"/>
                <a:gd name="connsiteY415" fmla="*/ 479393 h 1273968"/>
                <a:gd name="connsiteX416" fmla="*/ 100013 w 1489995"/>
                <a:gd name="connsiteY416" fmla="*/ 472726 h 1273968"/>
                <a:gd name="connsiteX417" fmla="*/ 107728 w 1489995"/>
                <a:gd name="connsiteY417" fmla="*/ 470154 h 1273968"/>
                <a:gd name="connsiteX418" fmla="*/ 110871 w 1489995"/>
                <a:gd name="connsiteY418" fmla="*/ 469678 h 1273968"/>
                <a:gd name="connsiteX419" fmla="*/ 110680 w 1489995"/>
                <a:gd name="connsiteY419" fmla="*/ 468154 h 1273968"/>
                <a:gd name="connsiteX420" fmla="*/ 113633 w 1489995"/>
                <a:gd name="connsiteY420" fmla="*/ 466154 h 1273968"/>
                <a:gd name="connsiteX421" fmla="*/ 113633 w 1489995"/>
                <a:gd name="connsiteY421" fmla="*/ 466154 h 1273968"/>
                <a:gd name="connsiteX422" fmla="*/ 121348 w 1489995"/>
                <a:gd name="connsiteY422" fmla="*/ 476345 h 1273968"/>
                <a:gd name="connsiteX423" fmla="*/ 124777 w 1489995"/>
                <a:gd name="connsiteY423" fmla="*/ 477584 h 1273968"/>
                <a:gd name="connsiteX424" fmla="*/ 127730 w 1489995"/>
                <a:gd name="connsiteY424" fmla="*/ 475583 h 1273968"/>
                <a:gd name="connsiteX425" fmla="*/ 135541 w 1489995"/>
                <a:gd name="connsiteY425" fmla="*/ 474536 h 1273968"/>
                <a:gd name="connsiteX426" fmla="*/ 142684 w 1489995"/>
                <a:gd name="connsiteY426" fmla="*/ 467296 h 1273968"/>
                <a:gd name="connsiteX427" fmla="*/ 147828 w 1489995"/>
                <a:gd name="connsiteY427" fmla="*/ 469773 h 1273968"/>
                <a:gd name="connsiteX428" fmla="*/ 147352 w 1489995"/>
                <a:gd name="connsiteY428" fmla="*/ 466630 h 1273968"/>
                <a:gd name="connsiteX429" fmla="*/ 160782 w 1489995"/>
                <a:gd name="connsiteY429" fmla="*/ 458534 h 1273968"/>
                <a:gd name="connsiteX430" fmla="*/ 156591 w 1489995"/>
                <a:gd name="connsiteY430" fmla="*/ 451009 h 1273968"/>
                <a:gd name="connsiteX431" fmla="*/ 164973 w 1489995"/>
                <a:gd name="connsiteY431" fmla="*/ 453200 h 1273968"/>
                <a:gd name="connsiteX432" fmla="*/ 167926 w 1489995"/>
                <a:gd name="connsiteY432" fmla="*/ 451199 h 1273968"/>
                <a:gd name="connsiteX433" fmla="*/ 171640 w 1489995"/>
                <a:gd name="connsiteY433" fmla="*/ 442722 h 1273968"/>
                <a:gd name="connsiteX434" fmla="*/ 169831 w 1489995"/>
                <a:gd name="connsiteY434" fmla="*/ 441388 h 1273968"/>
                <a:gd name="connsiteX435" fmla="*/ 171164 w 1489995"/>
                <a:gd name="connsiteY435" fmla="*/ 439579 h 1273968"/>
                <a:gd name="connsiteX436" fmla="*/ 171450 w 1489995"/>
                <a:gd name="connsiteY436" fmla="*/ 441103 h 1273968"/>
                <a:gd name="connsiteX437" fmla="*/ 176117 w 1489995"/>
                <a:gd name="connsiteY437" fmla="*/ 440531 h 1273968"/>
                <a:gd name="connsiteX438" fmla="*/ 180308 w 1489995"/>
                <a:gd name="connsiteY438" fmla="*/ 435197 h 1273968"/>
                <a:gd name="connsiteX439" fmla="*/ 192691 w 1489995"/>
                <a:gd name="connsiteY439" fmla="*/ 419195 h 1273968"/>
                <a:gd name="connsiteX440" fmla="*/ 194691 w 1489995"/>
                <a:gd name="connsiteY440" fmla="*/ 422148 h 1273968"/>
                <a:gd name="connsiteX441" fmla="*/ 193262 w 1489995"/>
                <a:gd name="connsiteY441" fmla="*/ 423958 h 1273968"/>
                <a:gd name="connsiteX442" fmla="*/ 193262 w 1489995"/>
                <a:gd name="connsiteY442" fmla="*/ 436721 h 1273968"/>
                <a:gd name="connsiteX443" fmla="*/ 202597 w 1489995"/>
                <a:gd name="connsiteY443" fmla="*/ 433959 h 1273968"/>
                <a:gd name="connsiteX444" fmla="*/ 205930 w 1489995"/>
                <a:gd name="connsiteY444" fmla="*/ 435102 h 1273968"/>
                <a:gd name="connsiteX445" fmla="*/ 211264 w 1489995"/>
                <a:gd name="connsiteY445" fmla="*/ 439293 h 1273968"/>
                <a:gd name="connsiteX446" fmla="*/ 214408 w 1489995"/>
                <a:gd name="connsiteY446" fmla="*/ 438912 h 1273968"/>
                <a:gd name="connsiteX447" fmla="*/ 225076 w 1489995"/>
                <a:gd name="connsiteY447" fmla="*/ 434340 h 1273968"/>
                <a:gd name="connsiteX448" fmla="*/ 242792 w 1489995"/>
                <a:gd name="connsiteY448" fmla="*/ 435292 h 1273968"/>
                <a:gd name="connsiteX449" fmla="*/ 247936 w 1489995"/>
                <a:gd name="connsiteY449" fmla="*/ 437769 h 1273968"/>
                <a:gd name="connsiteX450" fmla="*/ 250317 w 1489995"/>
                <a:gd name="connsiteY450" fmla="*/ 431102 h 1273968"/>
                <a:gd name="connsiteX451" fmla="*/ 251079 w 1489995"/>
                <a:gd name="connsiteY451" fmla="*/ 424529 h 1273968"/>
                <a:gd name="connsiteX452" fmla="*/ 253079 w 1489995"/>
                <a:gd name="connsiteY452" fmla="*/ 427577 h 1273968"/>
                <a:gd name="connsiteX453" fmla="*/ 256794 w 1489995"/>
                <a:gd name="connsiteY453" fmla="*/ 419005 h 1273968"/>
                <a:gd name="connsiteX454" fmla="*/ 258794 w 1489995"/>
                <a:gd name="connsiteY454" fmla="*/ 421958 h 1273968"/>
                <a:gd name="connsiteX455" fmla="*/ 258032 w 1489995"/>
                <a:gd name="connsiteY455" fmla="*/ 428530 h 1273968"/>
                <a:gd name="connsiteX456" fmla="*/ 261175 w 1489995"/>
                <a:gd name="connsiteY456" fmla="*/ 428149 h 1273968"/>
                <a:gd name="connsiteX457" fmla="*/ 263747 w 1489995"/>
                <a:gd name="connsiteY457" fmla="*/ 423005 h 1273968"/>
                <a:gd name="connsiteX458" fmla="*/ 266890 w 1489995"/>
                <a:gd name="connsiteY458" fmla="*/ 422529 h 1273968"/>
                <a:gd name="connsiteX459" fmla="*/ 275177 w 1489995"/>
                <a:gd name="connsiteY459" fmla="*/ 411861 h 1273968"/>
                <a:gd name="connsiteX460" fmla="*/ 280607 w 1489995"/>
                <a:gd name="connsiteY460" fmla="*/ 404813 h 1273968"/>
                <a:gd name="connsiteX461" fmla="*/ 282988 w 1489995"/>
                <a:gd name="connsiteY461" fmla="*/ 398050 h 1273968"/>
                <a:gd name="connsiteX462" fmla="*/ 286131 w 1489995"/>
                <a:gd name="connsiteY462" fmla="*/ 397669 h 1273968"/>
                <a:gd name="connsiteX463" fmla="*/ 292036 w 1489995"/>
                <a:gd name="connsiteY463" fmla="*/ 393668 h 1273968"/>
                <a:gd name="connsiteX464" fmla="*/ 295180 w 1489995"/>
                <a:gd name="connsiteY464" fmla="*/ 393287 h 1273968"/>
                <a:gd name="connsiteX465" fmla="*/ 299180 w 1489995"/>
                <a:gd name="connsiteY465" fmla="*/ 399193 h 1273968"/>
                <a:gd name="connsiteX466" fmla="*/ 300323 w 1489995"/>
                <a:gd name="connsiteY466" fmla="*/ 395859 h 1273968"/>
                <a:gd name="connsiteX467" fmla="*/ 302133 w 1489995"/>
                <a:gd name="connsiteY467" fmla="*/ 397192 h 1273968"/>
                <a:gd name="connsiteX468" fmla="*/ 308705 w 1489995"/>
                <a:gd name="connsiteY468" fmla="*/ 410813 h 1273968"/>
                <a:gd name="connsiteX469" fmla="*/ 307943 w 1489995"/>
                <a:gd name="connsiteY469" fmla="*/ 417386 h 1273968"/>
                <a:gd name="connsiteX470" fmla="*/ 309848 w 1489995"/>
                <a:gd name="connsiteY470" fmla="*/ 420338 h 1273968"/>
                <a:gd name="connsiteX471" fmla="*/ 309848 w 1489995"/>
                <a:gd name="connsiteY471" fmla="*/ 420338 h 1273968"/>
                <a:gd name="connsiteX472" fmla="*/ 326993 w 1489995"/>
                <a:gd name="connsiteY472" fmla="*/ 416528 h 1273968"/>
                <a:gd name="connsiteX473" fmla="*/ 327374 w 1489995"/>
                <a:gd name="connsiteY473" fmla="*/ 406813 h 1273968"/>
                <a:gd name="connsiteX474" fmla="*/ 330327 w 1489995"/>
                <a:gd name="connsiteY474" fmla="*/ 404813 h 1273968"/>
                <a:gd name="connsiteX475" fmla="*/ 327946 w 1489995"/>
                <a:gd name="connsiteY475" fmla="*/ 398717 h 1273968"/>
                <a:gd name="connsiteX476" fmla="*/ 333661 w 1489995"/>
                <a:gd name="connsiteY476" fmla="*/ 393192 h 1273968"/>
                <a:gd name="connsiteX477" fmla="*/ 337661 w 1489995"/>
                <a:gd name="connsiteY477" fmla="*/ 386334 h 1273968"/>
                <a:gd name="connsiteX478" fmla="*/ 343948 w 1489995"/>
                <a:gd name="connsiteY478" fmla="*/ 385477 h 1273968"/>
                <a:gd name="connsiteX479" fmla="*/ 359473 w 1489995"/>
                <a:gd name="connsiteY479" fmla="*/ 381857 h 1273968"/>
                <a:gd name="connsiteX480" fmla="*/ 362712 w 1489995"/>
                <a:gd name="connsiteY480" fmla="*/ 381476 h 1273968"/>
                <a:gd name="connsiteX481" fmla="*/ 361474 w 1489995"/>
                <a:gd name="connsiteY481" fmla="*/ 384810 h 1273968"/>
                <a:gd name="connsiteX482" fmla="*/ 370522 w 1489995"/>
                <a:gd name="connsiteY482" fmla="*/ 380524 h 1273968"/>
                <a:gd name="connsiteX483" fmla="*/ 371761 w 1489995"/>
                <a:gd name="connsiteY483" fmla="*/ 377095 h 1273968"/>
                <a:gd name="connsiteX484" fmla="*/ 376428 w 1489995"/>
                <a:gd name="connsiteY484" fmla="*/ 376523 h 1273968"/>
                <a:gd name="connsiteX485" fmla="*/ 381000 w 1489995"/>
                <a:gd name="connsiteY485" fmla="*/ 374333 h 1273968"/>
                <a:gd name="connsiteX486" fmla="*/ 381762 w 1489995"/>
                <a:gd name="connsiteY486" fmla="*/ 367856 h 1273968"/>
                <a:gd name="connsiteX487" fmla="*/ 384905 w 1489995"/>
                <a:gd name="connsiteY487" fmla="*/ 367475 h 1273968"/>
                <a:gd name="connsiteX488" fmla="*/ 384715 w 1489995"/>
                <a:gd name="connsiteY488" fmla="*/ 365855 h 1273968"/>
                <a:gd name="connsiteX489" fmla="*/ 388048 w 1489995"/>
                <a:gd name="connsiteY489" fmla="*/ 366998 h 1273968"/>
                <a:gd name="connsiteX490" fmla="*/ 390811 w 1489995"/>
                <a:gd name="connsiteY490" fmla="*/ 363474 h 1273968"/>
                <a:gd name="connsiteX491" fmla="*/ 392049 w 1489995"/>
                <a:gd name="connsiteY491" fmla="*/ 360140 h 1273968"/>
                <a:gd name="connsiteX492" fmla="*/ 390811 w 1489995"/>
                <a:gd name="connsiteY492" fmla="*/ 350615 h 1273968"/>
                <a:gd name="connsiteX493" fmla="*/ 390430 w 1489995"/>
                <a:gd name="connsiteY493" fmla="*/ 347472 h 1273968"/>
                <a:gd name="connsiteX494" fmla="*/ 387287 w 1489995"/>
                <a:gd name="connsiteY494" fmla="*/ 347853 h 1273968"/>
                <a:gd name="connsiteX495" fmla="*/ 388810 w 1489995"/>
                <a:gd name="connsiteY495" fmla="*/ 347663 h 1273968"/>
                <a:gd name="connsiteX496" fmla="*/ 388620 w 1489995"/>
                <a:gd name="connsiteY496" fmla="*/ 346138 h 1273968"/>
                <a:gd name="connsiteX497" fmla="*/ 395192 w 1489995"/>
                <a:gd name="connsiteY497" fmla="*/ 346900 h 1273968"/>
                <a:gd name="connsiteX498" fmla="*/ 395383 w 1489995"/>
                <a:gd name="connsiteY498" fmla="*/ 348425 h 1273968"/>
                <a:gd name="connsiteX499" fmla="*/ 401669 w 1489995"/>
                <a:gd name="connsiteY499" fmla="*/ 347663 h 1273968"/>
                <a:gd name="connsiteX500" fmla="*/ 402050 w 1489995"/>
                <a:gd name="connsiteY500" fmla="*/ 350806 h 1273968"/>
                <a:gd name="connsiteX501" fmla="*/ 414909 w 1489995"/>
                <a:gd name="connsiteY501" fmla="*/ 350806 h 1273968"/>
                <a:gd name="connsiteX502" fmla="*/ 418052 w 1489995"/>
                <a:gd name="connsiteY502" fmla="*/ 350425 h 1273968"/>
                <a:gd name="connsiteX503" fmla="*/ 417862 w 1489995"/>
                <a:gd name="connsiteY503" fmla="*/ 348806 h 1273968"/>
                <a:gd name="connsiteX504" fmla="*/ 415862 w 1489995"/>
                <a:gd name="connsiteY504" fmla="*/ 345853 h 1273968"/>
                <a:gd name="connsiteX505" fmla="*/ 417481 w 1489995"/>
                <a:gd name="connsiteY505" fmla="*/ 345662 h 1273968"/>
                <a:gd name="connsiteX506" fmla="*/ 417195 w 1489995"/>
                <a:gd name="connsiteY506" fmla="*/ 344043 h 1273968"/>
                <a:gd name="connsiteX507" fmla="*/ 415480 w 1489995"/>
                <a:gd name="connsiteY507" fmla="*/ 342710 h 1273968"/>
                <a:gd name="connsiteX508" fmla="*/ 417767 w 1489995"/>
                <a:gd name="connsiteY508" fmla="*/ 335947 h 1273968"/>
                <a:gd name="connsiteX509" fmla="*/ 413861 w 1489995"/>
                <a:gd name="connsiteY509" fmla="*/ 330041 h 1273968"/>
                <a:gd name="connsiteX510" fmla="*/ 410718 w 1489995"/>
                <a:gd name="connsiteY510" fmla="*/ 330517 h 1273968"/>
                <a:gd name="connsiteX511" fmla="*/ 408908 w 1489995"/>
                <a:gd name="connsiteY511" fmla="*/ 316230 h 1273968"/>
                <a:gd name="connsiteX512" fmla="*/ 416623 w 1489995"/>
                <a:gd name="connsiteY512" fmla="*/ 313658 h 1273968"/>
                <a:gd name="connsiteX513" fmla="*/ 414814 w 1489995"/>
                <a:gd name="connsiteY513" fmla="*/ 312325 h 1273968"/>
                <a:gd name="connsiteX514" fmla="*/ 419576 w 1489995"/>
                <a:gd name="connsiteY514" fmla="*/ 311753 h 1273968"/>
                <a:gd name="connsiteX515" fmla="*/ 422053 w 1489995"/>
                <a:gd name="connsiteY515" fmla="*/ 306610 h 1273968"/>
                <a:gd name="connsiteX516" fmla="*/ 425196 w 1489995"/>
                <a:gd name="connsiteY516" fmla="*/ 306134 h 1273968"/>
                <a:gd name="connsiteX517" fmla="*/ 427958 w 1489995"/>
                <a:gd name="connsiteY517" fmla="*/ 302609 h 1273968"/>
                <a:gd name="connsiteX518" fmla="*/ 435673 w 1489995"/>
                <a:gd name="connsiteY518" fmla="*/ 300038 h 1273968"/>
                <a:gd name="connsiteX519" fmla="*/ 441388 w 1489995"/>
                <a:gd name="connsiteY519" fmla="*/ 307277 h 1273968"/>
                <a:gd name="connsiteX520" fmla="*/ 444817 w 1489995"/>
                <a:gd name="connsiteY520" fmla="*/ 308515 h 1273968"/>
                <a:gd name="connsiteX521" fmla="*/ 444151 w 1489995"/>
                <a:gd name="connsiteY521" fmla="*/ 303752 h 1273968"/>
                <a:gd name="connsiteX522" fmla="*/ 447294 w 1489995"/>
                <a:gd name="connsiteY522" fmla="*/ 303371 h 1273968"/>
                <a:gd name="connsiteX523" fmla="*/ 447104 w 1489995"/>
                <a:gd name="connsiteY523" fmla="*/ 301752 h 1273968"/>
                <a:gd name="connsiteX524" fmla="*/ 459200 w 1489995"/>
                <a:gd name="connsiteY524" fmla="*/ 308229 h 1273968"/>
                <a:gd name="connsiteX525" fmla="*/ 469011 w 1489995"/>
                <a:gd name="connsiteY525" fmla="*/ 310229 h 1273968"/>
                <a:gd name="connsiteX526" fmla="*/ 471011 w 1489995"/>
                <a:gd name="connsiteY526" fmla="*/ 313182 h 1273968"/>
                <a:gd name="connsiteX527" fmla="*/ 474155 w 1489995"/>
                <a:gd name="connsiteY527" fmla="*/ 312801 h 1273968"/>
                <a:gd name="connsiteX528" fmla="*/ 474631 w 1489995"/>
                <a:gd name="connsiteY528" fmla="*/ 315944 h 1273968"/>
                <a:gd name="connsiteX529" fmla="*/ 476155 w 1489995"/>
                <a:gd name="connsiteY529" fmla="*/ 315754 h 1273968"/>
                <a:gd name="connsiteX530" fmla="*/ 489013 w 1489995"/>
                <a:gd name="connsiteY530" fmla="*/ 315659 h 1273968"/>
                <a:gd name="connsiteX531" fmla="*/ 503396 w 1489995"/>
                <a:gd name="connsiteY531" fmla="*/ 315468 h 1273968"/>
                <a:gd name="connsiteX532" fmla="*/ 503777 w 1489995"/>
                <a:gd name="connsiteY532" fmla="*/ 318611 h 1273968"/>
                <a:gd name="connsiteX533" fmla="*/ 510350 w 1489995"/>
                <a:gd name="connsiteY533" fmla="*/ 319373 h 1273968"/>
                <a:gd name="connsiteX534" fmla="*/ 519970 w 1489995"/>
                <a:gd name="connsiteY534" fmla="*/ 319754 h 1273968"/>
                <a:gd name="connsiteX535" fmla="*/ 521780 w 1489995"/>
                <a:gd name="connsiteY535" fmla="*/ 321088 h 1273968"/>
                <a:gd name="connsiteX536" fmla="*/ 523113 w 1489995"/>
                <a:gd name="connsiteY536" fmla="*/ 319373 h 1273968"/>
                <a:gd name="connsiteX537" fmla="*/ 538925 w 1489995"/>
                <a:gd name="connsiteY537" fmla="*/ 317373 h 1273968"/>
                <a:gd name="connsiteX538" fmla="*/ 540258 w 1489995"/>
                <a:gd name="connsiteY538" fmla="*/ 315563 h 1273968"/>
                <a:gd name="connsiteX539" fmla="*/ 548640 w 1489995"/>
                <a:gd name="connsiteY539" fmla="*/ 317754 h 1273968"/>
                <a:gd name="connsiteX540" fmla="*/ 550926 w 1489995"/>
                <a:gd name="connsiteY540" fmla="*/ 310991 h 1273968"/>
                <a:gd name="connsiteX541" fmla="*/ 548735 w 1489995"/>
                <a:gd name="connsiteY541" fmla="*/ 306419 h 1273968"/>
                <a:gd name="connsiteX542" fmla="*/ 558832 w 1489995"/>
                <a:gd name="connsiteY542" fmla="*/ 310039 h 1273968"/>
                <a:gd name="connsiteX543" fmla="*/ 557498 w 1489995"/>
                <a:gd name="connsiteY543" fmla="*/ 311753 h 1273968"/>
                <a:gd name="connsiteX544" fmla="*/ 561404 w 1489995"/>
                <a:gd name="connsiteY544" fmla="*/ 317659 h 1273968"/>
                <a:gd name="connsiteX545" fmla="*/ 562642 w 1489995"/>
                <a:gd name="connsiteY545" fmla="*/ 314325 h 1273968"/>
                <a:gd name="connsiteX546" fmla="*/ 569500 w 1489995"/>
                <a:gd name="connsiteY546" fmla="*/ 318230 h 1273968"/>
                <a:gd name="connsiteX547" fmla="*/ 569119 w 1489995"/>
                <a:gd name="connsiteY547" fmla="*/ 315087 h 1273968"/>
                <a:gd name="connsiteX548" fmla="*/ 572452 w 1489995"/>
                <a:gd name="connsiteY548" fmla="*/ 316230 h 1273968"/>
                <a:gd name="connsiteX549" fmla="*/ 573405 w 1489995"/>
                <a:gd name="connsiteY549" fmla="*/ 311372 h 1273968"/>
                <a:gd name="connsiteX550" fmla="*/ 589026 w 1489995"/>
                <a:gd name="connsiteY550" fmla="*/ 320611 h 1273968"/>
                <a:gd name="connsiteX551" fmla="*/ 593979 w 1489995"/>
                <a:gd name="connsiteY551" fmla="*/ 321564 h 1273968"/>
                <a:gd name="connsiteX552" fmla="*/ 594360 w 1489995"/>
                <a:gd name="connsiteY552" fmla="*/ 324707 h 1273968"/>
                <a:gd name="connsiteX553" fmla="*/ 596170 w 1489995"/>
                <a:gd name="connsiteY553" fmla="*/ 326041 h 1273968"/>
                <a:gd name="connsiteX554" fmla="*/ 599694 w 1489995"/>
                <a:gd name="connsiteY554" fmla="*/ 316040 h 1273968"/>
                <a:gd name="connsiteX555" fmla="*/ 601313 w 1489995"/>
                <a:gd name="connsiteY555" fmla="*/ 315849 h 1273968"/>
                <a:gd name="connsiteX556" fmla="*/ 605600 w 1489995"/>
                <a:gd name="connsiteY556" fmla="*/ 312039 h 1273968"/>
                <a:gd name="connsiteX557" fmla="*/ 605218 w 1489995"/>
                <a:gd name="connsiteY557" fmla="*/ 308896 h 1273968"/>
                <a:gd name="connsiteX558" fmla="*/ 608933 w 1489995"/>
                <a:gd name="connsiteY558" fmla="*/ 300419 h 1273968"/>
                <a:gd name="connsiteX559" fmla="*/ 610743 w 1489995"/>
                <a:gd name="connsiteY559" fmla="*/ 301752 h 1273968"/>
                <a:gd name="connsiteX560" fmla="*/ 614839 w 1489995"/>
                <a:gd name="connsiteY560" fmla="*/ 296418 h 1273968"/>
                <a:gd name="connsiteX561" fmla="*/ 621983 w 1489995"/>
                <a:gd name="connsiteY561" fmla="*/ 301942 h 1273968"/>
                <a:gd name="connsiteX562" fmla="*/ 626935 w 1489995"/>
                <a:gd name="connsiteY562" fmla="*/ 302895 h 1273968"/>
                <a:gd name="connsiteX563" fmla="*/ 628269 w 1489995"/>
                <a:gd name="connsiteY563" fmla="*/ 301181 h 1273968"/>
                <a:gd name="connsiteX564" fmla="*/ 628079 w 1489995"/>
                <a:gd name="connsiteY564" fmla="*/ 299561 h 1273968"/>
                <a:gd name="connsiteX565" fmla="*/ 633222 w 1489995"/>
                <a:gd name="connsiteY565" fmla="*/ 302133 h 1273968"/>
                <a:gd name="connsiteX566" fmla="*/ 637984 w 1489995"/>
                <a:gd name="connsiteY566" fmla="*/ 301561 h 1273968"/>
                <a:gd name="connsiteX567" fmla="*/ 635794 w 1489995"/>
                <a:gd name="connsiteY567" fmla="*/ 296990 h 1273968"/>
                <a:gd name="connsiteX568" fmla="*/ 647224 w 1489995"/>
                <a:gd name="connsiteY568" fmla="*/ 298704 h 1273968"/>
                <a:gd name="connsiteX569" fmla="*/ 646652 w 1489995"/>
                <a:gd name="connsiteY569" fmla="*/ 294037 h 1273968"/>
                <a:gd name="connsiteX570" fmla="*/ 649986 w 1489995"/>
                <a:gd name="connsiteY570" fmla="*/ 295180 h 1273968"/>
                <a:gd name="connsiteX571" fmla="*/ 651319 w 1489995"/>
                <a:gd name="connsiteY571" fmla="*/ 293370 h 1273968"/>
                <a:gd name="connsiteX572" fmla="*/ 657892 w 1489995"/>
                <a:gd name="connsiteY572" fmla="*/ 294132 h 1273968"/>
                <a:gd name="connsiteX573" fmla="*/ 658082 w 1489995"/>
                <a:gd name="connsiteY573" fmla="*/ 295751 h 1273968"/>
                <a:gd name="connsiteX574" fmla="*/ 661416 w 1489995"/>
                <a:gd name="connsiteY574" fmla="*/ 296894 h 1273968"/>
                <a:gd name="connsiteX575" fmla="*/ 661606 w 1489995"/>
                <a:gd name="connsiteY575" fmla="*/ 298513 h 1273968"/>
                <a:gd name="connsiteX576" fmla="*/ 664940 w 1489995"/>
                <a:gd name="connsiteY576" fmla="*/ 299657 h 1273968"/>
                <a:gd name="connsiteX577" fmla="*/ 665607 w 1489995"/>
                <a:gd name="connsiteY577" fmla="*/ 304419 h 1273968"/>
                <a:gd name="connsiteX578" fmla="*/ 666750 w 1489995"/>
                <a:gd name="connsiteY578" fmla="*/ 301085 h 1273968"/>
                <a:gd name="connsiteX579" fmla="*/ 670084 w 1489995"/>
                <a:gd name="connsiteY579" fmla="*/ 302228 h 1273968"/>
                <a:gd name="connsiteX580" fmla="*/ 666559 w 1489995"/>
                <a:gd name="connsiteY580" fmla="*/ 299466 h 1273968"/>
                <a:gd name="connsiteX581" fmla="*/ 669703 w 1489995"/>
                <a:gd name="connsiteY581" fmla="*/ 299085 h 1273968"/>
                <a:gd name="connsiteX582" fmla="*/ 671513 w 1489995"/>
                <a:gd name="connsiteY582" fmla="*/ 300419 h 1273968"/>
                <a:gd name="connsiteX583" fmla="*/ 670084 w 1489995"/>
                <a:gd name="connsiteY583" fmla="*/ 302228 h 1273968"/>
                <a:gd name="connsiteX584" fmla="*/ 670274 w 1489995"/>
                <a:gd name="connsiteY584" fmla="*/ 303848 h 1273968"/>
                <a:gd name="connsiteX585" fmla="*/ 674656 w 1489995"/>
                <a:gd name="connsiteY585" fmla="*/ 300038 h 1273968"/>
                <a:gd name="connsiteX586" fmla="*/ 676180 w 1489995"/>
                <a:gd name="connsiteY586" fmla="*/ 299847 h 1273968"/>
                <a:gd name="connsiteX587" fmla="*/ 681323 w 1489995"/>
                <a:gd name="connsiteY587" fmla="*/ 289560 h 1273968"/>
                <a:gd name="connsiteX588" fmla="*/ 679704 w 1489995"/>
                <a:gd name="connsiteY588" fmla="*/ 289750 h 1273968"/>
                <a:gd name="connsiteX589" fmla="*/ 680752 w 1489995"/>
                <a:gd name="connsiteY589" fmla="*/ 284798 h 1273968"/>
                <a:gd name="connsiteX590" fmla="*/ 679133 w 1489995"/>
                <a:gd name="connsiteY590" fmla="*/ 285083 h 1273968"/>
                <a:gd name="connsiteX591" fmla="*/ 680561 w 1489995"/>
                <a:gd name="connsiteY591" fmla="*/ 283273 h 1273968"/>
                <a:gd name="connsiteX592" fmla="*/ 677132 w 1489995"/>
                <a:gd name="connsiteY592" fmla="*/ 282131 h 1273968"/>
                <a:gd name="connsiteX593" fmla="*/ 678561 w 1489995"/>
                <a:gd name="connsiteY593" fmla="*/ 280321 h 1273968"/>
                <a:gd name="connsiteX594" fmla="*/ 677323 w 1489995"/>
                <a:gd name="connsiteY594" fmla="*/ 270796 h 1273968"/>
                <a:gd name="connsiteX595" fmla="*/ 684085 w 1489995"/>
                <a:gd name="connsiteY595" fmla="*/ 273177 h 1273968"/>
                <a:gd name="connsiteX596" fmla="*/ 683800 w 1489995"/>
                <a:gd name="connsiteY596" fmla="*/ 258794 h 1273968"/>
                <a:gd name="connsiteX597" fmla="*/ 683228 w 1489995"/>
                <a:gd name="connsiteY597" fmla="*/ 254032 h 1273968"/>
                <a:gd name="connsiteX598" fmla="*/ 684752 w 1489995"/>
                <a:gd name="connsiteY598" fmla="*/ 253841 h 1273968"/>
                <a:gd name="connsiteX599" fmla="*/ 685990 w 1489995"/>
                <a:gd name="connsiteY599" fmla="*/ 250508 h 1273968"/>
                <a:gd name="connsiteX600" fmla="*/ 682371 w 1489995"/>
                <a:gd name="connsiteY600" fmla="*/ 247745 h 1273968"/>
                <a:gd name="connsiteX601" fmla="*/ 679037 w 1489995"/>
                <a:gd name="connsiteY601" fmla="*/ 246602 h 1273968"/>
                <a:gd name="connsiteX602" fmla="*/ 678466 w 1489995"/>
                <a:gd name="connsiteY602" fmla="*/ 241840 h 1273968"/>
                <a:gd name="connsiteX603" fmla="*/ 674942 w 1489995"/>
                <a:gd name="connsiteY603" fmla="*/ 239077 h 1273968"/>
                <a:gd name="connsiteX604" fmla="*/ 674465 w 1489995"/>
                <a:gd name="connsiteY604" fmla="*/ 235934 h 1273968"/>
                <a:gd name="connsiteX605" fmla="*/ 678847 w 1489995"/>
                <a:gd name="connsiteY605" fmla="*/ 232124 h 1273968"/>
                <a:gd name="connsiteX606" fmla="*/ 680847 w 1489995"/>
                <a:gd name="connsiteY606" fmla="*/ 235077 h 1273968"/>
                <a:gd name="connsiteX607" fmla="*/ 683800 w 1489995"/>
                <a:gd name="connsiteY607" fmla="*/ 233172 h 1273968"/>
                <a:gd name="connsiteX608" fmla="*/ 680180 w 1489995"/>
                <a:gd name="connsiteY608" fmla="*/ 230410 h 1273968"/>
                <a:gd name="connsiteX609" fmla="*/ 679799 w 1489995"/>
                <a:gd name="connsiteY609" fmla="*/ 227267 h 1273968"/>
                <a:gd name="connsiteX610" fmla="*/ 676275 w 1489995"/>
                <a:gd name="connsiteY610" fmla="*/ 224504 h 1273968"/>
                <a:gd name="connsiteX611" fmla="*/ 677418 w 1489995"/>
                <a:gd name="connsiteY611" fmla="*/ 221075 h 1273968"/>
                <a:gd name="connsiteX612" fmla="*/ 679228 w 1489995"/>
                <a:gd name="connsiteY612" fmla="*/ 222504 h 1273968"/>
                <a:gd name="connsiteX613" fmla="*/ 678751 w 1489995"/>
                <a:gd name="connsiteY613" fmla="*/ 219361 h 1273968"/>
                <a:gd name="connsiteX614" fmla="*/ 677037 w 1489995"/>
                <a:gd name="connsiteY614" fmla="*/ 217932 h 1273968"/>
                <a:gd name="connsiteX615" fmla="*/ 676847 w 1489995"/>
                <a:gd name="connsiteY615" fmla="*/ 216408 h 1273968"/>
                <a:gd name="connsiteX616" fmla="*/ 673227 w 1489995"/>
                <a:gd name="connsiteY616" fmla="*/ 213646 h 1273968"/>
                <a:gd name="connsiteX617" fmla="*/ 673037 w 1489995"/>
                <a:gd name="connsiteY617" fmla="*/ 212027 h 1273968"/>
                <a:gd name="connsiteX618" fmla="*/ 675989 w 1489995"/>
                <a:gd name="connsiteY618" fmla="*/ 210026 h 1273968"/>
                <a:gd name="connsiteX619" fmla="*/ 679133 w 1489995"/>
                <a:gd name="connsiteY619" fmla="*/ 209645 h 1273968"/>
                <a:gd name="connsiteX620" fmla="*/ 680371 w 1489995"/>
                <a:gd name="connsiteY620" fmla="*/ 206311 h 1273968"/>
                <a:gd name="connsiteX621" fmla="*/ 683323 w 1489995"/>
                <a:gd name="connsiteY621" fmla="*/ 204311 h 1273968"/>
                <a:gd name="connsiteX622" fmla="*/ 695992 w 1489995"/>
                <a:gd name="connsiteY622" fmla="*/ 215551 h 1273968"/>
                <a:gd name="connsiteX623" fmla="*/ 711137 w 1489995"/>
                <a:gd name="connsiteY623" fmla="*/ 221647 h 1273968"/>
                <a:gd name="connsiteX624" fmla="*/ 712375 w 1489995"/>
                <a:gd name="connsiteY624" fmla="*/ 218313 h 1273968"/>
                <a:gd name="connsiteX625" fmla="*/ 715709 w 1489995"/>
                <a:gd name="connsiteY625" fmla="*/ 219456 h 1273968"/>
                <a:gd name="connsiteX626" fmla="*/ 712089 w 1489995"/>
                <a:gd name="connsiteY626" fmla="*/ 216694 h 1273968"/>
                <a:gd name="connsiteX627" fmla="*/ 714851 w 1489995"/>
                <a:gd name="connsiteY627" fmla="*/ 213169 h 1273968"/>
                <a:gd name="connsiteX628" fmla="*/ 713137 w 1489995"/>
                <a:gd name="connsiteY628" fmla="*/ 211741 h 1273968"/>
                <a:gd name="connsiteX629" fmla="*/ 708374 w 1489995"/>
                <a:gd name="connsiteY629" fmla="*/ 212312 h 1273968"/>
                <a:gd name="connsiteX630" fmla="*/ 706564 w 1489995"/>
                <a:gd name="connsiteY630" fmla="*/ 210979 h 1273968"/>
                <a:gd name="connsiteX631" fmla="*/ 710755 w 1489995"/>
                <a:gd name="connsiteY631" fmla="*/ 205645 h 1273968"/>
                <a:gd name="connsiteX632" fmla="*/ 714280 w 1489995"/>
                <a:gd name="connsiteY632" fmla="*/ 208407 h 1273968"/>
                <a:gd name="connsiteX633" fmla="*/ 715423 w 1489995"/>
                <a:gd name="connsiteY633" fmla="*/ 205073 h 1273968"/>
                <a:gd name="connsiteX634" fmla="*/ 712089 w 1489995"/>
                <a:gd name="connsiteY634" fmla="*/ 203835 h 1273968"/>
                <a:gd name="connsiteX635" fmla="*/ 713708 w 1489995"/>
                <a:gd name="connsiteY635" fmla="*/ 203644 h 1273968"/>
                <a:gd name="connsiteX636" fmla="*/ 718185 w 1489995"/>
                <a:gd name="connsiteY636" fmla="*/ 201454 h 1273968"/>
                <a:gd name="connsiteX637" fmla="*/ 716185 w 1489995"/>
                <a:gd name="connsiteY637" fmla="*/ 185738 h 1273968"/>
                <a:gd name="connsiteX638" fmla="*/ 726853 w 1489995"/>
                <a:gd name="connsiteY638" fmla="*/ 193929 h 1273968"/>
                <a:gd name="connsiteX639" fmla="*/ 734759 w 1489995"/>
                <a:gd name="connsiteY639" fmla="*/ 192977 h 1273968"/>
                <a:gd name="connsiteX640" fmla="*/ 733806 w 1489995"/>
                <a:gd name="connsiteY640" fmla="*/ 185071 h 1273968"/>
                <a:gd name="connsiteX641" fmla="*/ 742474 w 1489995"/>
                <a:gd name="connsiteY641" fmla="*/ 190405 h 1273968"/>
                <a:gd name="connsiteX642" fmla="*/ 750570 w 1489995"/>
                <a:gd name="connsiteY642" fmla="*/ 190976 h 1273968"/>
                <a:gd name="connsiteX643" fmla="*/ 749141 w 1489995"/>
                <a:gd name="connsiteY643" fmla="*/ 179927 h 1273968"/>
                <a:gd name="connsiteX644" fmla="*/ 750284 w 1489995"/>
                <a:gd name="connsiteY644" fmla="*/ 176498 h 1273968"/>
                <a:gd name="connsiteX645" fmla="*/ 749713 w 1489995"/>
                <a:gd name="connsiteY645" fmla="*/ 171831 h 1273968"/>
                <a:gd name="connsiteX646" fmla="*/ 750856 w 1489995"/>
                <a:gd name="connsiteY646" fmla="*/ 168497 h 1273968"/>
                <a:gd name="connsiteX647" fmla="*/ 745998 w 1489995"/>
                <a:gd name="connsiteY647" fmla="*/ 167450 h 1273968"/>
                <a:gd name="connsiteX648" fmla="*/ 749141 w 1489995"/>
                <a:gd name="connsiteY648" fmla="*/ 167069 h 1273968"/>
                <a:gd name="connsiteX649" fmla="*/ 749522 w 1489995"/>
                <a:gd name="connsiteY649" fmla="*/ 157448 h 1273968"/>
                <a:gd name="connsiteX650" fmla="*/ 738759 w 1489995"/>
                <a:gd name="connsiteY650" fmla="*/ 136303 h 1273968"/>
                <a:gd name="connsiteX651" fmla="*/ 751237 w 1489995"/>
                <a:gd name="connsiteY651" fmla="*/ 133160 h 1273968"/>
                <a:gd name="connsiteX652" fmla="*/ 748189 w 1489995"/>
                <a:gd name="connsiteY652" fmla="*/ 122301 h 1273968"/>
                <a:gd name="connsiteX653" fmla="*/ 760095 w 1489995"/>
                <a:gd name="connsiteY653" fmla="*/ 127159 h 1273968"/>
                <a:gd name="connsiteX654" fmla="*/ 761619 w 1489995"/>
                <a:gd name="connsiteY654" fmla="*/ 126968 h 1273968"/>
                <a:gd name="connsiteX655" fmla="*/ 760857 w 1489995"/>
                <a:gd name="connsiteY655" fmla="*/ 133540 h 1273968"/>
                <a:gd name="connsiteX656" fmla="*/ 767429 w 1489995"/>
                <a:gd name="connsiteY656" fmla="*/ 134302 h 1273968"/>
                <a:gd name="connsiteX657" fmla="*/ 766001 w 1489995"/>
                <a:gd name="connsiteY657" fmla="*/ 136017 h 1273968"/>
                <a:gd name="connsiteX658" fmla="*/ 769810 w 1489995"/>
                <a:gd name="connsiteY658" fmla="*/ 140398 h 1273968"/>
                <a:gd name="connsiteX659" fmla="*/ 772097 w 1489995"/>
                <a:gd name="connsiteY659" fmla="*/ 133636 h 1273968"/>
                <a:gd name="connsiteX660" fmla="*/ 770382 w 1489995"/>
                <a:gd name="connsiteY660" fmla="*/ 132302 h 1273968"/>
                <a:gd name="connsiteX661" fmla="*/ 775430 w 1489995"/>
                <a:gd name="connsiteY661" fmla="*/ 122015 h 1273968"/>
                <a:gd name="connsiteX662" fmla="*/ 786479 w 1489995"/>
                <a:gd name="connsiteY662" fmla="*/ 120586 h 1273968"/>
                <a:gd name="connsiteX663" fmla="*/ 783526 w 1489995"/>
                <a:gd name="connsiteY663" fmla="*/ 122587 h 1273968"/>
                <a:gd name="connsiteX664" fmla="*/ 787337 w 1489995"/>
                <a:gd name="connsiteY664" fmla="*/ 126968 h 1273968"/>
                <a:gd name="connsiteX665" fmla="*/ 789908 w 1489995"/>
                <a:gd name="connsiteY665" fmla="*/ 134588 h 1273968"/>
                <a:gd name="connsiteX666" fmla="*/ 791623 w 1489995"/>
                <a:gd name="connsiteY666" fmla="*/ 136017 h 1273968"/>
                <a:gd name="connsiteX667" fmla="*/ 799909 w 1489995"/>
                <a:gd name="connsiteY667" fmla="*/ 138113 h 1273968"/>
                <a:gd name="connsiteX668" fmla="*/ 804672 w 1489995"/>
                <a:gd name="connsiteY668" fmla="*/ 137541 h 1273968"/>
                <a:gd name="connsiteX669" fmla="*/ 807434 w 1489995"/>
                <a:gd name="connsiteY669" fmla="*/ 134017 h 1273968"/>
                <a:gd name="connsiteX670" fmla="*/ 801910 w 1489995"/>
                <a:gd name="connsiteY670" fmla="*/ 128302 h 1273968"/>
                <a:gd name="connsiteX671" fmla="*/ 801719 w 1489995"/>
                <a:gd name="connsiteY671" fmla="*/ 126683 h 1273968"/>
                <a:gd name="connsiteX672" fmla="*/ 811339 w 1489995"/>
                <a:gd name="connsiteY672" fmla="*/ 127063 h 1273968"/>
                <a:gd name="connsiteX673" fmla="*/ 812768 w 1489995"/>
                <a:gd name="connsiteY673" fmla="*/ 125254 h 1273968"/>
                <a:gd name="connsiteX674" fmla="*/ 815340 w 1489995"/>
                <a:gd name="connsiteY674" fmla="*/ 120110 h 1273968"/>
                <a:gd name="connsiteX675" fmla="*/ 821817 w 1489995"/>
                <a:gd name="connsiteY675" fmla="*/ 120967 h 1273968"/>
                <a:gd name="connsiteX676" fmla="*/ 823436 w 1489995"/>
                <a:gd name="connsiteY676" fmla="*/ 120682 h 1273968"/>
                <a:gd name="connsiteX677" fmla="*/ 823627 w 1489995"/>
                <a:gd name="connsiteY677" fmla="*/ 122301 h 1273968"/>
                <a:gd name="connsiteX678" fmla="*/ 822198 w 1489995"/>
                <a:gd name="connsiteY678" fmla="*/ 124111 h 1273968"/>
                <a:gd name="connsiteX679" fmla="*/ 822865 w 1489995"/>
                <a:gd name="connsiteY679" fmla="*/ 128778 h 1273968"/>
                <a:gd name="connsiteX680" fmla="*/ 821436 w 1489995"/>
                <a:gd name="connsiteY680" fmla="*/ 130588 h 1273968"/>
                <a:gd name="connsiteX681" fmla="*/ 826960 w 1489995"/>
                <a:gd name="connsiteY681" fmla="*/ 136303 h 1273968"/>
                <a:gd name="connsiteX682" fmla="*/ 825246 w 1489995"/>
                <a:gd name="connsiteY682" fmla="*/ 134969 h 1273968"/>
                <a:gd name="connsiteX683" fmla="*/ 822484 w 1489995"/>
                <a:gd name="connsiteY683" fmla="*/ 138494 h 1273968"/>
                <a:gd name="connsiteX684" fmla="*/ 821436 w 1489995"/>
                <a:gd name="connsiteY684" fmla="*/ 143446 h 1273968"/>
                <a:gd name="connsiteX685" fmla="*/ 823246 w 1489995"/>
                <a:gd name="connsiteY685" fmla="*/ 144780 h 1273968"/>
                <a:gd name="connsiteX686" fmla="*/ 824675 w 1489995"/>
                <a:gd name="connsiteY686" fmla="*/ 155829 h 1273968"/>
                <a:gd name="connsiteX687" fmla="*/ 830199 w 1489995"/>
                <a:gd name="connsiteY687" fmla="*/ 161544 h 1273968"/>
                <a:gd name="connsiteX688" fmla="*/ 831818 w 1489995"/>
                <a:gd name="connsiteY688" fmla="*/ 161354 h 1273968"/>
                <a:gd name="connsiteX689" fmla="*/ 832771 w 1489995"/>
                <a:gd name="connsiteY689" fmla="*/ 156400 h 1273968"/>
                <a:gd name="connsiteX690" fmla="*/ 834771 w 1489995"/>
                <a:gd name="connsiteY690" fmla="*/ 159353 h 1273968"/>
                <a:gd name="connsiteX691" fmla="*/ 836105 w 1489995"/>
                <a:gd name="connsiteY691" fmla="*/ 157639 h 1273968"/>
                <a:gd name="connsiteX692" fmla="*/ 836295 w 1489995"/>
                <a:gd name="connsiteY692" fmla="*/ 159163 h 1273968"/>
                <a:gd name="connsiteX693" fmla="*/ 839438 w 1489995"/>
                <a:gd name="connsiteY693" fmla="*/ 158782 h 1273968"/>
                <a:gd name="connsiteX694" fmla="*/ 838105 w 1489995"/>
                <a:gd name="connsiteY694" fmla="*/ 160592 h 1273968"/>
                <a:gd name="connsiteX695" fmla="*/ 838105 w 1489995"/>
                <a:gd name="connsiteY695" fmla="*/ 160592 h 1273968"/>
                <a:gd name="connsiteX696" fmla="*/ 843248 w 1489995"/>
                <a:gd name="connsiteY696" fmla="*/ 163068 h 1273968"/>
                <a:gd name="connsiteX697" fmla="*/ 845248 w 1489995"/>
                <a:gd name="connsiteY697" fmla="*/ 166021 h 1273968"/>
                <a:gd name="connsiteX698" fmla="*/ 847915 w 1489995"/>
                <a:gd name="connsiteY698" fmla="*/ 162496 h 1273968"/>
                <a:gd name="connsiteX699" fmla="*/ 845820 w 1489995"/>
                <a:gd name="connsiteY699" fmla="*/ 157925 h 1273968"/>
                <a:gd name="connsiteX700" fmla="*/ 849916 w 1489995"/>
                <a:gd name="connsiteY700" fmla="*/ 152590 h 1273968"/>
                <a:gd name="connsiteX701" fmla="*/ 850297 w 1489995"/>
                <a:gd name="connsiteY701" fmla="*/ 155829 h 1273968"/>
                <a:gd name="connsiteX702" fmla="*/ 856869 w 1489995"/>
                <a:gd name="connsiteY702" fmla="*/ 156591 h 1273968"/>
                <a:gd name="connsiteX703" fmla="*/ 858393 w 1489995"/>
                <a:gd name="connsiteY703" fmla="*/ 156400 h 1273968"/>
                <a:gd name="connsiteX704" fmla="*/ 859155 w 1489995"/>
                <a:gd name="connsiteY704" fmla="*/ 149828 h 1273968"/>
                <a:gd name="connsiteX705" fmla="*/ 864108 w 1489995"/>
                <a:gd name="connsiteY705" fmla="*/ 150781 h 1273968"/>
                <a:gd name="connsiteX706" fmla="*/ 866299 w 1489995"/>
                <a:gd name="connsiteY706" fmla="*/ 155353 h 1273968"/>
                <a:gd name="connsiteX707" fmla="*/ 871252 w 1489995"/>
                <a:gd name="connsiteY707" fmla="*/ 156305 h 1273968"/>
                <a:gd name="connsiteX708" fmla="*/ 870585 w 1489995"/>
                <a:gd name="connsiteY708" fmla="*/ 151638 h 1273968"/>
                <a:gd name="connsiteX709" fmla="*/ 872014 w 1489995"/>
                <a:gd name="connsiteY709" fmla="*/ 149828 h 1273968"/>
                <a:gd name="connsiteX710" fmla="*/ 883444 w 1489995"/>
                <a:gd name="connsiteY710" fmla="*/ 151543 h 1273968"/>
                <a:gd name="connsiteX711" fmla="*/ 889730 w 1489995"/>
                <a:gd name="connsiteY711" fmla="*/ 150781 h 1273968"/>
                <a:gd name="connsiteX712" fmla="*/ 889540 w 1489995"/>
                <a:gd name="connsiteY712" fmla="*/ 149161 h 1273968"/>
                <a:gd name="connsiteX713" fmla="*/ 900017 w 1489995"/>
                <a:gd name="connsiteY713" fmla="*/ 155829 h 1273968"/>
                <a:gd name="connsiteX714" fmla="*/ 900017 w 1489995"/>
                <a:gd name="connsiteY714" fmla="*/ 155829 h 1273968"/>
                <a:gd name="connsiteX715" fmla="*/ 900779 w 1489995"/>
                <a:gd name="connsiteY715" fmla="*/ 155543 h 1273968"/>
                <a:gd name="connsiteX716" fmla="*/ 901446 w 1489995"/>
                <a:gd name="connsiteY716" fmla="*/ 154115 h 1273968"/>
                <a:gd name="connsiteX717" fmla="*/ 898398 w 1489995"/>
                <a:gd name="connsiteY717" fmla="*/ 143256 h 1273968"/>
                <a:gd name="connsiteX718" fmla="*/ 904494 w 1489995"/>
                <a:gd name="connsiteY718" fmla="*/ 140875 h 1273968"/>
                <a:gd name="connsiteX719" fmla="*/ 904304 w 1489995"/>
                <a:gd name="connsiteY719" fmla="*/ 139256 h 1273968"/>
                <a:gd name="connsiteX720" fmla="*/ 914019 w 1489995"/>
                <a:gd name="connsiteY720" fmla="*/ 139636 h 1273968"/>
                <a:gd name="connsiteX721" fmla="*/ 916781 w 1489995"/>
                <a:gd name="connsiteY721" fmla="*/ 136112 h 1273968"/>
                <a:gd name="connsiteX722" fmla="*/ 920115 w 1489995"/>
                <a:gd name="connsiteY722" fmla="*/ 137255 h 1273968"/>
                <a:gd name="connsiteX723" fmla="*/ 923830 w 1489995"/>
                <a:gd name="connsiteY723" fmla="*/ 115919 h 1273968"/>
                <a:gd name="connsiteX724" fmla="*/ 923449 w 1489995"/>
                <a:gd name="connsiteY724" fmla="*/ 112776 h 1273968"/>
                <a:gd name="connsiteX725" fmla="*/ 943165 w 1489995"/>
                <a:gd name="connsiteY725" fmla="*/ 116681 h 1273968"/>
                <a:gd name="connsiteX726" fmla="*/ 944309 w 1489995"/>
                <a:gd name="connsiteY726" fmla="*/ 113348 h 1273968"/>
                <a:gd name="connsiteX727" fmla="*/ 946309 w 1489995"/>
                <a:gd name="connsiteY727" fmla="*/ 103442 h 1273968"/>
                <a:gd name="connsiteX728" fmla="*/ 940308 w 1489995"/>
                <a:gd name="connsiteY728" fmla="*/ 81820 h 1273968"/>
                <a:gd name="connsiteX729" fmla="*/ 940498 w 1489995"/>
                <a:gd name="connsiteY729" fmla="*/ 70485 h 1273968"/>
                <a:gd name="connsiteX730" fmla="*/ 975074 w 1489995"/>
                <a:gd name="connsiteY730" fmla="*/ 77343 h 1273968"/>
                <a:gd name="connsiteX731" fmla="*/ 994410 w 1489995"/>
                <a:gd name="connsiteY731" fmla="*/ 90869 h 1273968"/>
                <a:gd name="connsiteX732" fmla="*/ 1008602 w 1489995"/>
                <a:gd name="connsiteY732" fmla="*/ 76295 h 1273968"/>
                <a:gd name="connsiteX733" fmla="*/ 1011746 w 1489995"/>
                <a:gd name="connsiteY733" fmla="*/ 75914 h 1273968"/>
                <a:gd name="connsiteX734" fmla="*/ 1014508 w 1489995"/>
                <a:gd name="connsiteY734" fmla="*/ 72295 h 1273968"/>
                <a:gd name="connsiteX735" fmla="*/ 1015651 w 1489995"/>
                <a:gd name="connsiteY735" fmla="*/ 68961 h 1273968"/>
                <a:gd name="connsiteX736" fmla="*/ 1013651 w 1489995"/>
                <a:gd name="connsiteY736" fmla="*/ 66008 h 1273968"/>
                <a:gd name="connsiteX737" fmla="*/ 1008317 w 1489995"/>
                <a:gd name="connsiteY737" fmla="*/ 61913 h 1273968"/>
                <a:gd name="connsiteX738" fmla="*/ 1009269 w 1489995"/>
                <a:gd name="connsiteY738" fmla="*/ 56959 h 1273968"/>
                <a:gd name="connsiteX739" fmla="*/ 1007364 w 1489995"/>
                <a:gd name="connsiteY739" fmla="*/ 54007 h 1273968"/>
                <a:gd name="connsiteX740" fmla="*/ 1019747 w 1489995"/>
                <a:gd name="connsiteY740" fmla="*/ 50768 h 1273968"/>
                <a:gd name="connsiteX741" fmla="*/ 1019556 w 1489995"/>
                <a:gd name="connsiteY741" fmla="*/ 49244 h 1273968"/>
                <a:gd name="connsiteX742" fmla="*/ 1027081 w 1489995"/>
                <a:gd name="connsiteY742" fmla="*/ 45053 h 1273968"/>
                <a:gd name="connsiteX743" fmla="*/ 1031748 w 1489995"/>
                <a:gd name="connsiteY743" fmla="*/ 44482 h 1273968"/>
                <a:gd name="connsiteX744" fmla="*/ 1034891 w 1489995"/>
                <a:gd name="connsiteY744" fmla="*/ 44005 h 1273968"/>
                <a:gd name="connsiteX745" fmla="*/ 1037654 w 1489995"/>
                <a:gd name="connsiteY745" fmla="*/ 40481 h 1273968"/>
                <a:gd name="connsiteX746" fmla="*/ 1038320 w 1489995"/>
                <a:gd name="connsiteY746" fmla="*/ 45244 h 1273968"/>
                <a:gd name="connsiteX747" fmla="*/ 1044035 w 1489995"/>
                <a:gd name="connsiteY747" fmla="*/ 39719 h 1273968"/>
                <a:gd name="connsiteX748" fmla="*/ 1050131 w 1489995"/>
                <a:gd name="connsiteY748" fmla="*/ 37338 h 1273968"/>
                <a:gd name="connsiteX749" fmla="*/ 1045750 w 1489995"/>
                <a:gd name="connsiteY749" fmla="*/ 28289 h 1273968"/>
                <a:gd name="connsiteX750" fmla="*/ 1047369 w 1489995"/>
                <a:gd name="connsiteY750" fmla="*/ 28003 h 1273968"/>
                <a:gd name="connsiteX751" fmla="*/ 1042988 w 1489995"/>
                <a:gd name="connsiteY751" fmla="*/ 18955 h 1273968"/>
                <a:gd name="connsiteX752" fmla="*/ 1039844 w 1489995"/>
                <a:gd name="connsiteY752" fmla="*/ 19336 h 1273968"/>
                <a:gd name="connsiteX753" fmla="*/ 1045940 w 1489995"/>
                <a:gd name="connsiteY753" fmla="*/ 16954 h 1273968"/>
                <a:gd name="connsiteX754" fmla="*/ 1047274 w 1489995"/>
                <a:gd name="connsiteY754" fmla="*/ 15240 h 1273968"/>
                <a:gd name="connsiteX755" fmla="*/ 1050608 w 1489995"/>
                <a:gd name="connsiteY755" fmla="*/ 16383 h 1273968"/>
                <a:gd name="connsiteX756" fmla="*/ 1050417 w 1489995"/>
                <a:gd name="connsiteY756" fmla="*/ 14859 h 1273968"/>
                <a:gd name="connsiteX757" fmla="*/ 1053656 w 1489995"/>
                <a:gd name="connsiteY757" fmla="*/ 14383 h 1273968"/>
                <a:gd name="connsiteX758" fmla="*/ 1055370 w 1489995"/>
                <a:gd name="connsiteY758" fmla="*/ 15811 h 1273968"/>
                <a:gd name="connsiteX759" fmla="*/ 1048798 w 1489995"/>
                <a:gd name="connsiteY759" fmla="*/ 2191 h 1273968"/>
                <a:gd name="connsiteX760" fmla="*/ 1053370 w 1489995"/>
                <a:gd name="connsiteY760" fmla="*/ 0 h 1273968"/>
                <a:gd name="connsiteX761" fmla="*/ 1066419 w 1489995"/>
                <a:gd name="connsiteY761" fmla="*/ 1524 h 1273968"/>
                <a:gd name="connsiteX762" fmla="*/ 1064990 w 1489995"/>
                <a:gd name="connsiteY762" fmla="*/ 3334 h 1273968"/>
                <a:gd name="connsiteX763" fmla="*/ 1067372 w 1489995"/>
                <a:gd name="connsiteY763" fmla="*/ 9430 h 1273968"/>
                <a:gd name="connsiteX764" fmla="*/ 1064419 w 1489995"/>
                <a:gd name="connsiteY764" fmla="*/ 11430 h 1273968"/>
                <a:gd name="connsiteX765" fmla="*/ 1066419 w 1489995"/>
                <a:gd name="connsiteY765" fmla="*/ 14383 h 1273968"/>
                <a:gd name="connsiteX766" fmla="*/ 1069562 w 1489995"/>
                <a:gd name="connsiteY766" fmla="*/ 14002 h 1273968"/>
                <a:gd name="connsiteX767" fmla="*/ 1073182 w 1489995"/>
                <a:gd name="connsiteY767" fmla="*/ 16764 h 1273968"/>
                <a:gd name="connsiteX768" fmla="*/ 1072706 w 1489995"/>
                <a:gd name="connsiteY768" fmla="*/ 13621 h 1273968"/>
                <a:gd name="connsiteX769" fmla="*/ 1077659 w 1489995"/>
                <a:gd name="connsiteY769" fmla="*/ 14573 h 1273968"/>
                <a:gd name="connsiteX770" fmla="*/ 1082040 w 1489995"/>
                <a:gd name="connsiteY770" fmla="*/ 23622 h 1273968"/>
                <a:gd name="connsiteX771" fmla="*/ 1077277 w 1489995"/>
                <a:gd name="connsiteY771" fmla="*/ 24194 h 1273968"/>
                <a:gd name="connsiteX772" fmla="*/ 1080706 w 1489995"/>
                <a:gd name="connsiteY772" fmla="*/ 25432 h 1273968"/>
                <a:gd name="connsiteX773" fmla="*/ 1082612 w 1489995"/>
                <a:gd name="connsiteY773" fmla="*/ 28384 h 1273968"/>
                <a:gd name="connsiteX774" fmla="*/ 1087374 w 1489995"/>
                <a:gd name="connsiteY774" fmla="*/ 27718 h 1273968"/>
                <a:gd name="connsiteX775" fmla="*/ 1090898 w 1489995"/>
                <a:gd name="connsiteY775" fmla="*/ 30480 h 1273968"/>
                <a:gd name="connsiteX776" fmla="*/ 1090136 w 1489995"/>
                <a:gd name="connsiteY776" fmla="*/ 24194 h 1273968"/>
                <a:gd name="connsiteX777" fmla="*/ 1094899 w 1489995"/>
                <a:gd name="connsiteY777" fmla="*/ 23622 h 1273968"/>
                <a:gd name="connsiteX778" fmla="*/ 1095661 w 1489995"/>
                <a:gd name="connsiteY778" fmla="*/ 17050 h 1273968"/>
                <a:gd name="connsiteX779" fmla="*/ 1096994 w 1489995"/>
                <a:gd name="connsiteY779" fmla="*/ 15335 h 1273968"/>
                <a:gd name="connsiteX780" fmla="*/ 1100423 w 1489995"/>
                <a:gd name="connsiteY780" fmla="*/ 16478 h 1273968"/>
                <a:gd name="connsiteX781" fmla="*/ 1097471 w 1489995"/>
                <a:gd name="connsiteY781" fmla="*/ 18478 h 1273968"/>
                <a:gd name="connsiteX782" fmla="*/ 1099185 w 1489995"/>
                <a:gd name="connsiteY782" fmla="*/ 19812 h 1273968"/>
                <a:gd name="connsiteX783" fmla="*/ 1102328 w 1489995"/>
                <a:gd name="connsiteY783" fmla="*/ 19431 h 1273968"/>
                <a:gd name="connsiteX784" fmla="*/ 1104329 w 1489995"/>
                <a:gd name="connsiteY784" fmla="*/ 22384 h 1273968"/>
                <a:gd name="connsiteX785" fmla="*/ 1109091 w 1489995"/>
                <a:gd name="connsiteY785" fmla="*/ 21812 h 1273968"/>
                <a:gd name="connsiteX786" fmla="*/ 1112234 w 1489995"/>
                <a:gd name="connsiteY786" fmla="*/ 21336 h 1273968"/>
                <a:gd name="connsiteX787" fmla="*/ 1118140 w 1489995"/>
                <a:gd name="connsiteY787" fmla="*/ 17431 h 1273968"/>
                <a:gd name="connsiteX788" fmla="*/ 1118521 w 1489995"/>
                <a:gd name="connsiteY788" fmla="*/ 20574 h 1273968"/>
                <a:gd name="connsiteX789" fmla="*/ 1117378 w 1489995"/>
                <a:gd name="connsiteY789" fmla="*/ 23908 h 1273968"/>
                <a:gd name="connsiteX790" fmla="*/ 1119188 w 1489995"/>
                <a:gd name="connsiteY790" fmla="*/ 25336 h 1273968"/>
                <a:gd name="connsiteX791" fmla="*/ 1125664 w 1489995"/>
                <a:gd name="connsiteY791" fmla="*/ 38862 h 1273968"/>
                <a:gd name="connsiteX792" fmla="*/ 1127284 w 1489995"/>
                <a:gd name="connsiteY792" fmla="*/ 38672 h 1273968"/>
                <a:gd name="connsiteX793" fmla="*/ 1128808 w 1489995"/>
                <a:gd name="connsiteY793" fmla="*/ 38481 h 1273968"/>
                <a:gd name="connsiteX794" fmla="*/ 1133951 w 1489995"/>
                <a:gd name="connsiteY794" fmla="*/ 41053 h 1273968"/>
                <a:gd name="connsiteX795" fmla="*/ 1134809 w 1489995"/>
                <a:gd name="connsiteY795" fmla="*/ 47339 h 1273968"/>
                <a:gd name="connsiteX796" fmla="*/ 1136142 w 1489995"/>
                <a:gd name="connsiteY796" fmla="*/ 45625 h 1273968"/>
                <a:gd name="connsiteX797" fmla="*/ 1139285 w 1489995"/>
                <a:gd name="connsiteY797" fmla="*/ 45148 h 1273968"/>
                <a:gd name="connsiteX798" fmla="*/ 1139476 w 1489995"/>
                <a:gd name="connsiteY798" fmla="*/ 46768 h 1273968"/>
                <a:gd name="connsiteX799" fmla="*/ 1138523 w 1489995"/>
                <a:gd name="connsiteY799" fmla="*/ 51721 h 1273968"/>
                <a:gd name="connsiteX800" fmla="*/ 1142333 w 1489995"/>
                <a:gd name="connsiteY800" fmla="*/ 56007 h 1273968"/>
                <a:gd name="connsiteX801" fmla="*/ 1141285 w 1489995"/>
                <a:gd name="connsiteY801" fmla="*/ 60960 h 1273968"/>
                <a:gd name="connsiteX802" fmla="*/ 1145667 w 1489995"/>
                <a:gd name="connsiteY802" fmla="*/ 57245 h 1273968"/>
                <a:gd name="connsiteX803" fmla="*/ 1147477 w 1489995"/>
                <a:gd name="connsiteY803" fmla="*/ 58579 h 1273968"/>
                <a:gd name="connsiteX804" fmla="*/ 1151954 w 1489995"/>
                <a:gd name="connsiteY804" fmla="*/ 56388 h 1273968"/>
                <a:gd name="connsiteX805" fmla="*/ 1156716 w 1489995"/>
                <a:gd name="connsiteY805" fmla="*/ 55817 h 1273968"/>
                <a:gd name="connsiteX806" fmla="*/ 1156716 w 1489995"/>
                <a:gd name="connsiteY806" fmla="*/ 55817 h 1273968"/>
                <a:gd name="connsiteX807" fmla="*/ 1160907 w 1489995"/>
                <a:gd name="connsiteY807" fmla="*/ 63246 h 1273968"/>
                <a:gd name="connsiteX808" fmla="*/ 1166051 w 1489995"/>
                <a:gd name="connsiteY808" fmla="*/ 65818 h 1273968"/>
                <a:gd name="connsiteX809" fmla="*/ 1164812 w 1489995"/>
                <a:gd name="connsiteY809" fmla="*/ 69247 h 1273968"/>
                <a:gd name="connsiteX810" fmla="*/ 1169575 w 1489995"/>
                <a:gd name="connsiteY810" fmla="*/ 68580 h 1273968"/>
                <a:gd name="connsiteX811" fmla="*/ 1178433 w 1489995"/>
                <a:gd name="connsiteY811" fmla="*/ 75438 h 1273968"/>
                <a:gd name="connsiteX812" fmla="*/ 1175671 w 1489995"/>
                <a:gd name="connsiteY812" fmla="*/ 79057 h 1273968"/>
                <a:gd name="connsiteX813" fmla="*/ 1175861 w 1489995"/>
                <a:gd name="connsiteY813" fmla="*/ 80581 h 1273968"/>
                <a:gd name="connsiteX814" fmla="*/ 1178909 w 1489995"/>
                <a:gd name="connsiteY814" fmla="*/ 78676 h 1273968"/>
                <a:gd name="connsiteX815" fmla="*/ 1177862 w 1489995"/>
                <a:gd name="connsiteY815" fmla="*/ 83534 h 1273968"/>
                <a:gd name="connsiteX816" fmla="*/ 1181290 w 1489995"/>
                <a:gd name="connsiteY816" fmla="*/ 97536 h 1273968"/>
                <a:gd name="connsiteX817" fmla="*/ 1183100 w 1489995"/>
                <a:gd name="connsiteY817" fmla="*/ 98965 h 1273968"/>
                <a:gd name="connsiteX818" fmla="*/ 1185005 w 1489995"/>
                <a:gd name="connsiteY818" fmla="*/ 101917 h 1273968"/>
                <a:gd name="connsiteX819" fmla="*/ 1192721 w 1489995"/>
                <a:gd name="connsiteY819" fmla="*/ 99346 h 1273968"/>
                <a:gd name="connsiteX820" fmla="*/ 1193102 w 1489995"/>
                <a:gd name="connsiteY820" fmla="*/ 102489 h 1273968"/>
                <a:gd name="connsiteX821" fmla="*/ 1194721 w 1489995"/>
                <a:gd name="connsiteY821" fmla="*/ 102298 h 1273968"/>
                <a:gd name="connsiteX822" fmla="*/ 1194911 w 1489995"/>
                <a:gd name="connsiteY822" fmla="*/ 103823 h 1273968"/>
                <a:gd name="connsiteX823" fmla="*/ 1199483 w 1489995"/>
                <a:gd name="connsiteY823" fmla="*/ 101727 h 1273968"/>
                <a:gd name="connsiteX824" fmla="*/ 1204341 w 1489995"/>
                <a:gd name="connsiteY824" fmla="*/ 102679 h 1273968"/>
                <a:gd name="connsiteX825" fmla="*/ 1209675 w 1489995"/>
                <a:gd name="connsiteY825" fmla="*/ 106775 h 1273968"/>
                <a:gd name="connsiteX826" fmla="*/ 1208342 w 1489995"/>
                <a:gd name="connsiteY826" fmla="*/ 108585 h 1273968"/>
                <a:gd name="connsiteX827" fmla="*/ 1209961 w 1489995"/>
                <a:gd name="connsiteY827" fmla="*/ 108394 h 1273968"/>
                <a:gd name="connsiteX828" fmla="*/ 1210342 w 1489995"/>
                <a:gd name="connsiteY828" fmla="*/ 111538 h 1273968"/>
                <a:gd name="connsiteX829" fmla="*/ 1213485 w 1489995"/>
                <a:gd name="connsiteY829" fmla="*/ 111157 h 1273968"/>
                <a:gd name="connsiteX830" fmla="*/ 1212342 w 1489995"/>
                <a:gd name="connsiteY830" fmla="*/ 114490 h 1273968"/>
                <a:gd name="connsiteX831" fmla="*/ 1210723 w 1489995"/>
                <a:gd name="connsiteY831" fmla="*/ 114681 h 1273968"/>
                <a:gd name="connsiteX832" fmla="*/ 1211104 w 1489995"/>
                <a:gd name="connsiteY832" fmla="*/ 117824 h 1273968"/>
                <a:gd name="connsiteX833" fmla="*/ 1209580 w 1489995"/>
                <a:gd name="connsiteY833" fmla="*/ 118015 h 1273968"/>
                <a:gd name="connsiteX834" fmla="*/ 1210151 w 1489995"/>
                <a:gd name="connsiteY834" fmla="*/ 122777 h 1273968"/>
                <a:gd name="connsiteX835" fmla="*/ 1203674 w 1489995"/>
                <a:gd name="connsiteY835" fmla="*/ 122015 h 1273968"/>
                <a:gd name="connsiteX836" fmla="*/ 1204055 w 1489995"/>
                <a:gd name="connsiteY836" fmla="*/ 125158 h 1273968"/>
                <a:gd name="connsiteX837" fmla="*/ 1196150 w 1489995"/>
                <a:gd name="connsiteY837" fmla="*/ 126111 h 1273968"/>
                <a:gd name="connsiteX838" fmla="*/ 1191768 w 1489995"/>
                <a:gd name="connsiteY838" fmla="*/ 129921 h 1273968"/>
                <a:gd name="connsiteX839" fmla="*/ 1192816 w 1489995"/>
                <a:gd name="connsiteY839" fmla="*/ 137827 h 1273968"/>
                <a:gd name="connsiteX840" fmla="*/ 1194816 w 1489995"/>
                <a:gd name="connsiteY840" fmla="*/ 140779 h 1273968"/>
                <a:gd name="connsiteX841" fmla="*/ 1198150 w 1489995"/>
                <a:gd name="connsiteY841" fmla="*/ 141923 h 1273968"/>
                <a:gd name="connsiteX842" fmla="*/ 1205675 w 1489995"/>
                <a:gd name="connsiteY842" fmla="*/ 150590 h 1273968"/>
                <a:gd name="connsiteX843" fmla="*/ 1206246 w 1489995"/>
                <a:gd name="connsiteY843" fmla="*/ 155353 h 1273968"/>
                <a:gd name="connsiteX844" fmla="*/ 1205103 w 1489995"/>
                <a:gd name="connsiteY844" fmla="*/ 158686 h 1273968"/>
                <a:gd name="connsiteX845" fmla="*/ 1203769 w 1489995"/>
                <a:gd name="connsiteY845" fmla="*/ 160496 h 1273968"/>
                <a:gd name="connsiteX846" fmla="*/ 1207103 w 1489995"/>
                <a:gd name="connsiteY846" fmla="*/ 161639 h 1273968"/>
                <a:gd name="connsiteX847" fmla="*/ 1212437 w 1489995"/>
                <a:gd name="connsiteY847" fmla="*/ 165735 h 1273968"/>
                <a:gd name="connsiteX848" fmla="*/ 1211009 w 1489995"/>
                <a:gd name="connsiteY848" fmla="*/ 167545 h 1273968"/>
                <a:gd name="connsiteX849" fmla="*/ 1211485 w 1489995"/>
                <a:gd name="connsiteY849" fmla="*/ 170688 h 1273968"/>
                <a:gd name="connsiteX850" fmla="*/ 1208056 w 1489995"/>
                <a:gd name="connsiteY850" fmla="*/ 169545 h 1273968"/>
                <a:gd name="connsiteX851" fmla="*/ 1206722 w 1489995"/>
                <a:gd name="connsiteY851" fmla="*/ 171355 h 1273968"/>
                <a:gd name="connsiteX852" fmla="*/ 1208246 w 1489995"/>
                <a:gd name="connsiteY852" fmla="*/ 171069 h 1273968"/>
                <a:gd name="connsiteX853" fmla="*/ 1208723 w 1489995"/>
                <a:gd name="connsiteY853" fmla="*/ 174308 h 1273968"/>
                <a:gd name="connsiteX854" fmla="*/ 1207484 w 1489995"/>
                <a:gd name="connsiteY854" fmla="*/ 177641 h 1273968"/>
                <a:gd name="connsiteX855" fmla="*/ 1209104 w 1489995"/>
                <a:gd name="connsiteY855" fmla="*/ 177451 h 1273968"/>
                <a:gd name="connsiteX856" fmla="*/ 1208342 w 1489995"/>
                <a:gd name="connsiteY856" fmla="*/ 183928 h 1273968"/>
                <a:gd name="connsiteX857" fmla="*/ 1206722 w 1489995"/>
                <a:gd name="connsiteY857" fmla="*/ 184118 h 1273968"/>
                <a:gd name="connsiteX858" fmla="*/ 1207389 w 1489995"/>
                <a:gd name="connsiteY858" fmla="*/ 188881 h 1273968"/>
                <a:gd name="connsiteX859" fmla="*/ 1203008 w 1489995"/>
                <a:gd name="connsiteY859" fmla="*/ 192596 h 1273968"/>
                <a:gd name="connsiteX860" fmla="*/ 1205389 w 1489995"/>
                <a:gd name="connsiteY860" fmla="*/ 198787 h 1273968"/>
                <a:gd name="connsiteX861" fmla="*/ 1209961 w 1489995"/>
                <a:gd name="connsiteY861" fmla="*/ 196596 h 1273968"/>
                <a:gd name="connsiteX862" fmla="*/ 1210342 w 1489995"/>
                <a:gd name="connsiteY862" fmla="*/ 199739 h 1273968"/>
                <a:gd name="connsiteX863" fmla="*/ 1213294 w 1489995"/>
                <a:gd name="connsiteY863" fmla="*/ 197739 h 1273968"/>
                <a:gd name="connsiteX864" fmla="*/ 1215104 w 1489995"/>
                <a:gd name="connsiteY864" fmla="*/ 199073 h 1273968"/>
                <a:gd name="connsiteX865" fmla="*/ 1221010 w 1489995"/>
                <a:gd name="connsiteY865" fmla="*/ 208026 h 1273968"/>
                <a:gd name="connsiteX866" fmla="*/ 1221391 w 1489995"/>
                <a:gd name="connsiteY866" fmla="*/ 211169 h 1273968"/>
                <a:gd name="connsiteX867" fmla="*/ 1216628 w 1489995"/>
                <a:gd name="connsiteY867" fmla="*/ 211741 h 1273968"/>
                <a:gd name="connsiteX868" fmla="*/ 1217295 w 1489995"/>
                <a:gd name="connsiteY868" fmla="*/ 216503 h 1273968"/>
                <a:gd name="connsiteX869" fmla="*/ 1220629 w 1489995"/>
                <a:gd name="connsiteY869" fmla="*/ 217646 h 1273968"/>
                <a:gd name="connsiteX870" fmla="*/ 1219486 w 1489995"/>
                <a:gd name="connsiteY870" fmla="*/ 220980 h 1273968"/>
                <a:gd name="connsiteX871" fmla="*/ 1226153 w 1489995"/>
                <a:gd name="connsiteY871" fmla="*/ 223361 h 1273968"/>
                <a:gd name="connsiteX872" fmla="*/ 1220914 w 1489995"/>
                <a:gd name="connsiteY872" fmla="*/ 244888 h 1273968"/>
                <a:gd name="connsiteX873" fmla="*/ 1219105 w 1489995"/>
                <a:gd name="connsiteY873" fmla="*/ 243459 h 1273968"/>
                <a:gd name="connsiteX874" fmla="*/ 1217962 w 1489995"/>
                <a:gd name="connsiteY874" fmla="*/ 246888 h 1273968"/>
                <a:gd name="connsiteX875" fmla="*/ 1215962 w 1489995"/>
                <a:gd name="connsiteY875" fmla="*/ 243935 h 1273968"/>
                <a:gd name="connsiteX876" fmla="*/ 1214818 w 1489995"/>
                <a:gd name="connsiteY876" fmla="*/ 247269 h 1273968"/>
                <a:gd name="connsiteX877" fmla="*/ 1208437 w 1489995"/>
                <a:gd name="connsiteY877" fmla="*/ 248031 h 1273968"/>
                <a:gd name="connsiteX878" fmla="*/ 1209294 w 1489995"/>
                <a:gd name="connsiteY878" fmla="*/ 254413 h 1273968"/>
                <a:gd name="connsiteX879" fmla="*/ 1210818 w 1489995"/>
                <a:gd name="connsiteY879" fmla="*/ 254222 h 1273968"/>
                <a:gd name="connsiteX880" fmla="*/ 1211294 w 1489995"/>
                <a:gd name="connsiteY880" fmla="*/ 257365 h 1273968"/>
                <a:gd name="connsiteX881" fmla="*/ 1208342 w 1489995"/>
                <a:gd name="connsiteY881" fmla="*/ 259271 h 1273968"/>
                <a:gd name="connsiteX882" fmla="*/ 1213676 w 1489995"/>
                <a:gd name="connsiteY882" fmla="*/ 263461 h 1273968"/>
                <a:gd name="connsiteX883" fmla="*/ 1212437 w 1489995"/>
                <a:gd name="connsiteY883" fmla="*/ 266795 h 1273968"/>
                <a:gd name="connsiteX884" fmla="*/ 1209294 w 1489995"/>
                <a:gd name="connsiteY884" fmla="*/ 267176 h 1273968"/>
                <a:gd name="connsiteX885" fmla="*/ 1207960 w 1489995"/>
                <a:gd name="connsiteY885" fmla="*/ 268986 h 1273968"/>
                <a:gd name="connsiteX886" fmla="*/ 1206341 w 1489995"/>
                <a:gd name="connsiteY886" fmla="*/ 269177 h 1273968"/>
                <a:gd name="connsiteX887" fmla="*/ 1207770 w 1489995"/>
                <a:gd name="connsiteY887" fmla="*/ 267367 h 1273968"/>
                <a:gd name="connsiteX888" fmla="*/ 1205960 w 1489995"/>
                <a:gd name="connsiteY888" fmla="*/ 266033 h 1273968"/>
                <a:gd name="connsiteX889" fmla="*/ 1204531 w 1489995"/>
                <a:gd name="connsiteY889" fmla="*/ 267843 h 1273968"/>
                <a:gd name="connsiteX890" fmla="*/ 1201198 w 1489995"/>
                <a:gd name="connsiteY890" fmla="*/ 266605 h 1273968"/>
                <a:gd name="connsiteX891" fmla="*/ 1199864 w 1489995"/>
                <a:gd name="connsiteY891" fmla="*/ 268415 h 1273968"/>
                <a:gd name="connsiteX892" fmla="*/ 1196245 w 1489995"/>
                <a:gd name="connsiteY892" fmla="*/ 265652 h 1273968"/>
                <a:gd name="connsiteX893" fmla="*/ 1193768 w 1489995"/>
                <a:gd name="connsiteY893" fmla="*/ 270796 h 1273968"/>
                <a:gd name="connsiteX894" fmla="*/ 1186815 w 1489995"/>
                <a:gd name="connsiteY894" fmla="*/ 279654 h 1273968"/>
                <a:gd name="connsiteX895" fmla="*/ 1192339 w 1489995"/>
                <a:gd name="connsiteY895" fmla="*/ 285369 h 1273968"/>
                <a:gd name="connsiteX896" fmla="*/ 1196340 w 1489995"/>
                <a:gd name="connsiteY896" fmla="*/ 291275 h 1273968"/>
                <a:gd name="connsiteX897" fmla="*/ 1199483 w 1489995"/>
                <a:gd name="connsiteY897" fmla="*/ 290894 h 1273968"/>
                <a:gd name="connsiteX898" fmla="*/ 1204817 w 1489995"/>
                <a:gd name="connsiteY898" fmla="*/ 295085 h 1273968"/>
                <a:gd name="connsiteX899" fmla="*/ 1203293 w 1489995"/>
                <a:gd name="connsiteY899" fmla="*/ 295275 h 1273968"/>
                <a:gd name="connsiteX900" fmla="*/ 1199102 w 1489995"/>
                <a:gd name="connsiteY900" fmla="*/ 300609 h 1273968"/>
                <a:gd name="connsiteX901" fmla="*/ 1201864 w 1489995"/>
                <a:gd name="connsiteY901" fmla="*/ 309848 h 1273968"/>
                <a:gd name="connsiteX902" fmla="*/ 1204055 w 1489995"/>
                <a:gd name="connsiteY902" fmla="*/ 314420 h 1273968"/>
                <a:gd name="connsiteX903" fmla="*/ 1207675 w 1489995"/>
                <a:gd name="connsiteY903" fmla="*/ 317087 h 1273968"/>
                <a:gd name="connsiteX904" fmla="*/ 1214533 w 1489995"/>
                <a:gd name="connsiteY904" fmla="*/ 321088 h 1273968"/>
                <a:gd name="connsiteX905" fmla="*/ 1221296 w 1489995"/>
                <a:gd name="connsiteY905" fmla="*/ 323374 h 1273968"/>
                <a:gd name="connsiteX906" fmla="*/ 1224248 w 1489995"/>
                <a:gd name="connsiteY906" fmla="*/ 321469 h 1273968"/>
                <a:gd name="connsiteX907" fmla="*/ 1229582 w 1489995"/>
                <a:gd name="connsiteY907" fmla="*/ 312706 h 1273968"/>
                <a:gd name="connsiteX908" fmla="*/ 1233488 w 1489995"/>
                <a:gd name="connsiteY908" fmla="*/ 318611 h 1273968"/>
                <a:gd name="connsiteX909" fmla="*/ 1241965 w 1489995"/>
                <a:gd name="connsiteY909" fmla="*/ 322326 h 1273968"/>
                <a:gd name="connsiteX910" fmla="*/ 1245394 w 1489995"/>
                <a:gd name="connsiteY910" fmla="*/ 323564 h 1273968"/>
                <a:gd name="connsiteX911" fmla="*/ 1243965 w 1489995"/>
                <a:gd name="connsiteY911" fmla="*/ 325374 h 1273968"/>
                <a:gd name="connsiteX912" fmla="*/ 1242631 w 1489995"/>
                <a:gd name="connsiteY912" fmla="*/ 327088 h 1273968"/>
                <a:gd name="connsiteX913" fmla="*/ 1241012 w 1489995"/>
                <a:gd name="connsiteY913" fmla="*/ 327279 h 1273968"/>
                <a:gd name="connsiteX914" fmla="*/ 1240441 w 1489995"/>
                <a:gd name="connsiteY914" fmla="*/ 335375 h 1273968"/>
                <a:gd name="connsiteX915" fmla="*/ 1243775 w 1489995"/>
                <a:gd name="connsiteY915" fmla="*/ 336613 h 1273968"/>
                <a:gd name="connsiteX916" fmla="*/ 1247965 w 1489995"/>
                <a:gd name="connsiteY916" fmla="*/ 331280 h 1273968"/>
                <a:gd name="connsiteX917" fmla="*/ 1249680 w 1489995"/>
                <a:gd name="connsiteY917" fmla="*/ 332613 h 1273968"/>
                <a:gd name="connsiteX918" fmla="*/ 1249871 w 1489995"/>
                <a:gd name="connsiteY918" fmla="*/ 334232 h 1273968"/>
                <a:gd name="connsiteX919" fmla="*/ 1253871 w 1489995"/>
                <a:gd name="connsiteY919" fmla="*/ 340138 h 1273968"/>
                <a:gd name="connsiteX920" fmla="*/ 1255490 w 1489995"/>
                <a:gd name="connsiteY920" fmla="*/ 339947 h 1273968"/>
                <a:gd name="connsiteX921" fmla="*/ 1257395 w 1489995"/>
                <a:gd name="connsiteY921" fmla="*/ 342900 h 1273968"/>
                <a:gd name="connsiteX922" fmla="*/ 1260634 w 1489995"/>
                <a:gd name="connsiteY922" fmla="*/ 342424 h 1273968"/>
                <a:gd name="connsiteX923" fmla="*/ 1264348 w 1489995"/>
                <a:gd name="connsiteY923" fmla="*/ 346805 h 1273968"/>
                <a:gd name="connsiteX924" fmla="*/ 1264920 w 1489995"/>
                <a:gd name="connsiteY924" fmla="*/ 351568 h 1273968"/>
                <a:gd name="connsiteX925" fmla="*/ 1261586 w 1489995"/>
                <a:gd name="connsiteY925" fmla="*/ 350330 h 1273968"/>
                <a:gd name="connsiteX926" fmla="*/ 1255681 w 1489995"/>
                <a:gd name="connsiteY926" fmla="*/ 354330 h 1273968"/>
                <a:gd name="connsiteX927" fmla="*/ 1256062 w 1489995"/>
                <a:gd name="connsiteY927" fmla="*/ 357473 h 1273968"/>
                <a:gd name="connsiteX928" fmla="*/ 1259681 w 1489995"/>
                <a:gd name="connsiteY928" fmla="*/ 360236 h 1273968"/>
                <a:gd name="connsiteX929" fmla="*/ 1260253 w 1489995"/>
                <a:gd name="connsiteY929" fmla="*/ 364998 h 1273968"/>
                <a:gd name="connsiteX930" fmla="*/ 1257681 w 1489995"/>
                <a:gd name="connsiteY930" fmla="*/ 370046 h 1273968"/>
                <a:gd name="connsiteX931" fmla="*/ 1261301 w 1489995"/>
                <a:gd name="connsiteY931" fmla="*/ 372809 h 1273968"/>
                <a:gd name="connsiteX932" fmla="*/ 1271492 w 1489995"/>
                <a:gd name="connsiteY932" fmla="*/ 377952 h 1273968"/>
                <a:gd name="connsiteX933" fmla="*/ 1271968 w 1489995"/>
                <a:gd name="connsiteY933" fmla="*/ 381095 h 1273968"/>
                <a:gd name="connsiteX934" fmla="*/ 1273683 w 1489995"/>
                <a:gd name="connsiteY934" fmla="*/ 382524 h 1273968"/>
                <a:gd name="connsiteX935" fmla="*/ 1274921 w 1489995"/>
                <a:gd name="connsiteY935" fmla="*/ 379095 h 1273968"/>
                <a:gd name="connsiteX936" fmla="*/ 1276445 w 1489995"/>
                <a:gd name="connsiteY936" fmla="*/ 378905 h 1273968"/>
                <a:gd name="connsiteX937" fmla="*/ 1276826 w 1489995"/>
                <a:gd name="connsiteY937" fmla="*/ 382048 h 1273968"/>
                <a:gd name="connsiteX938" fmla="*/ 1278636 w 1489995"/>
                <a:gd name="connsiteY938" fmla="*/ 383477 h 1273968"/>
                <a:gd name="connsiteX939" fmla="*/ 1280065 w 1489995"/>
                <a:gd name="connsiteY939" fmla="*/ 381667 h 1273968"/>
                <a:gd name="connsiteX940" fmla="*/ 1281589 w 1489995"/>
                <a:gd name="connsiteY940" fmla="*/ 381476 h 1273968"/>
                <a:gd name="connsiteX941" fmla="*/ 1281208 w 1489995"/>
                <a:gd name="connsiteY941" fmla="*/ 378333 h 1273968"/>
                <a:gd name="connsiteX942" fmla="*/ 1290828 w 1489995"/>
                <a:gd name="connsiteY942" fmla="*/ 378714 h 1273968"/>
                <a:gd name="connsiteX943" fmla="*/ 1295019 w 1489995"/>
                <a:gd name="connsiteY943" fmla="*/ 373380 h 1273968"/>
                <a:gd name="connsiteX944" fmla="*/ 1298162 w 1489995"/>
                <a:gd name="connsiteY944" fmla="*/ 372999 h 1273968"/>
                <a:gd name="connsiteX945" fmla="*/ 1299972 w 1489995"/>
                <a:gd name="connsiteY945" fmla="*/ 374333 h 1273968"/>
                <a:gd name="connsiteX946" fmla="*/ 1300163 w 1489995"/>
                <a:gd name="connsiteY946" fmla="*/ 375952 h 1273968"/>
                <a:gd name="connsiteX947" fmla="*/ 1303687 w 1489995"/>
                <a:gd name="connsiteY947" fmla="*/ 378714 h 1273968"/>
                <a:gd name="connsiteX948" fmla="*/ 1303877 w 1489995"/>
                <a:gd name="connsiteY948" fmla="*/ 380238 h 1273968"/>
                <a:gd name="connsiteX949" fmla="*/ 1306830 w 1489995"/>
                <a:gd name="connsiteY949" fmla="*/ 378238 h 1273968"/>
                <a:gd name="connsiteX950" fmla="*/ 1310450 w 1489995"/>
                <a:gd name="connsiteY950" fmla="*/ 381000 h 1273968"/>
                <a:gd name="connsiteX951" fmla="*/ 1311783 w 1489995"/>
                <a:gd name="connsiteY951" fmla="*/ 379286 h 1273968"/>
                <a:gd name="connsiteX952" fmla="*/ 1318546 w 1489995"/>
                <a:gd name="connsiteY952" fmla="*/ 381571 h 1273968"/>
                <a:gd name="connsiteX953" fmla="*/ 1325404 w 1489995"/>
                <a:gd name="connsiteY953" fmla="*/ 385477 h 1273968"/>
                <a:gd name="connsiteX954" fmla="*/ 1324070 w 1489995"/>
                <a:gd name="connsiteY954" fmla="*/ 387286 h 1273968"/>
                <a:gd name="connsiteX955" fmla="*/ 1327594 w 1489995"/>
                <a:gd name="connsiteY955" fmla="*/ 390049 h 1273968"/>
                <a:gd name="connsiteX956" fmla="*/ 1328928 w 1489995"/>
                <a:gd name="connsiteY956" fmla="*/ 388239 h 1273968"/>
                <a:gd name="connsiteX957" fmla="*/ 1333310 w 1489995"/>
                <a:gd name="connsiteY957" fmla="*/ 384524 h 1273968"/>
                <a:gd name="connsiteX958" fmla="*/ 1335691 w 1489995"/>
                <a:gd name="connsiteY958" fmla="*/ 377761 h 1273968"/>
                <a:gd name="connsiteX959" fmla="*/ 1342168 w 1489995"/>
                <a:gd name="connsiteY959" fmla="*/ 378619 h 1273968"/>
                <a:gd name="connsiteX960" fmla="*/ 1346549 w 1489995"/>
                <a:gd name="connsiteY960" fmla="*/ 374809 h 1273968"/>
                <a:gd name="connsiteX961" fmla="*/ 1351217 w 1489995"/>
                <a:gd name="connsiteY961" fmla="*/ 374237 h 1273968"/>
                <a:gd name="connsiteX962" fmla="*/ 1352645 w 1489995"/>
                <a:gd name="connsiteY962" fmla="*/ 372428 h 1273968"/>
                <a:gd name="connsiteX963" fmla="*/ 1357313 w 1489995"/>
                <a:gd name="connsiteY963" fmla="*/ 371856 h 1273968"/>
                <a:gd name="connsiteX964" fmla="*/ 1358551 w 1489995"/>
                <a:gd name="connsiteY964" fmla="*/ 368522 h 1273968"/>
                <a:gd name="connsiteX965" fmla="*/ 1358932 w 1489995"/>
                <a:gd name="connsiteY965" fmla="*/ 371665 h 1273968"/>
                <a:gd name="connsiteX966" fmla="*/ 1360551 w 1489995"/>
                <a:gd name="connsiteY966" fmla="*/ 371475 h 1273968"/>
                <a:gd name="connsiteX967" fmla="*/ 1361504 w 1489995"/>
                <a:gd name="connsiteY967" fmla="*/ 379286 h 1273968"/>
                <a:gd name="connsiteX968" fmla="*/ 1363123 w 1489995"/>
                <a:gd name="connsiteY968" fmla="*/ 379095 h 1273968"/>
                <a:gd name="connsiteX969" fmla="*/ 1363313 w 1489995"/>
                <a:gd name="connsiteY969" fmla="*/ 380714 h 1273968"/>
                <a:gd name="connsiteX970" fmla="*/ 1367981 w 1489995"/>
                <a:gd name="connsiteY970" fmla="*/ 380048 h 1273968"/>
                <a:gd name="connsiteX971" fmla="*/ 1371600 w 1489995"/>
                <a:gd name="connsiteY971" fmla="*/ 382810 h 1273968"/>
                <a:gd name="connsiteX972" fmla="*/ 1371790 w 1489995"/>
                <a:gd name="connsiteY972" fmla="*/ 384429 h 1273968"/>
                <a:gd name="connsiteX973" fmla="*/ 1376553 w 1489995"/>
                <a:gd name="connsiteY973" fmla="*/ 383858 h 1273968"/>
                <a:gd name="connsiteX974" fmla="*/ 1378744 w 1489995"/>
                <a:gd name="connsiteY974" fmla="*/ 388334 h 1273968"/>
                <a:gd name="connsiteX975" fmla="*/ 1374362 w 1489995"/>
                <a:gd name="connsiteY975" fmla="*/ 392144 h 1273968"/>
                <a:gd name="connsiteX976" fmla="*/ 1376553 w 1489995"/>
                <a:gd name="connsiteY976" fmla="*/ 396621 h 1273968"/>
                <a:gd name="connsiteX977" fmla="*/ 1376743 w 1489995"/>
                <a:gd name="connsiteY977" fmla="*/ 398240 h 1273968"/>
                <a:gd name="connsiteX978" fmla="*/ 1375219 w 1489995"/>
                <a:gd name="connsiteY978" fmla="*/ 398431 h 1273968"/>
                <a:gd name="connsiteX979" fmla="*/ 1377982 w 1489995"/>
                <a:gd name="connsiteY979" fmla="*/ 407670 h 1273968"/>
                <a:gd name="connsiteX980" fmla="*/ 1377029 w 1489995"/>
                <a:gd name="connsiteY980" fmla="*/ 412623 h 1273968"/>
                <a:gd name="connsiteX981" fmla="*/ 1378744 w 1489995"/>
                <a:gd name="connsiteY981" fmla="*/ 413957 h 1273968"/>
                <a:gd name="connsiteX982" fmla="*/ 1382744 w 1489995"/>
                <a:gd name="connsiteY982" fmla="*/ 419957 h 1273968"/>
                <a:gd name="connsiteX983" fmla="*/ 1378363 w 1489995"/>
                <a:gd name="connsiteY983" fmla="*/ 423672 h 1273968"/>
                <a:gd name="connsiteX984" fmla="*/ 1373696 w 1489995"/>
                <a:gd name="connsiteY984" fmla="*/ 424244 h 1273968"/>
                <a:gd name="connsiteX985" fmla="*/ 1370933 w 1489995"/>
                <a:gd name="connsiteY985" fmla="*/ 427863 h 1273968"/>
                <a:gd name="connsiteX986" fmla="*/ 1374267 w 1489995"/>
                <a:gd name="connsiteY986" fmla="*/ 429006 h 1273968"/>
                <a:gd name="connsiteX987" fmla="*/ 1376077 w 1489995"/>
                <a:gd name="connsiteY987" fmla="*/ 443198 h 1273968"/>
                <a:gd name="connsiteX988" fmla="*/ 1372362 w 1489995"/>
                <a:gd name="connsiteY988" fmla="*/ 451675 h 1273968"/>
                <a:gd name="connsiteX989" fmla="*/ 1378839 w 1489995"/>
                <a:gd name="connsiteY989" fmla="*/ 452438 h 1273968"/>
                <a:gd name="connsiteX990" fmla="*/ 1379696 w 1489995"/>
                <a:gd name="connsiteY990" fmla="*/ 458819 h 1273968"/>
                <a:gd name="connsiteX991" fmla="*/ 1381220 w 1489995"/>
                <a:gd name="connsiteY991" fmla="*/ 458629 h 1273968"/>
                <a:gd name="connsiteX992" fmla="*/ 1387983 w 1489995"/>
                <a:gd name="connsiteY992" fmla="*/ 460915 h 1273968"/>
                <a:gd name="connsiteX993" fmla="*/ 1385983 w 1489995"/>
                <a:gd name="connsiteY993" fmla="*/ 470821 h 1273968"/>
                <a:gd name="connsiteX994" fmla="*/ 1388745 w 1489995"/>
                <a:gd name="connsiteY994" fmla="*/ 467296 h 1273968"/>
                <a:gd name="connsiteX995" fmla="*/ 1389126 w 1489995"/>
                <a:gd name="connsiteY995" fmla="*/ 470440 h 1273968"/>
                <a:gd name="connsiteX996" fmla="*/ 1390936 w 1489995"/>
                <a:gd name="connsiteY996" fmla="*/ 471773 h 1273968"/>
                <a:gd name="connsiteX997" fmla="*/ 1388364 w 1489995"/>
                <a:gd name="connsiteY997" fmla="*/ 476917 h 1273968"/>
                <a:gd name="connsiteX998" fmla="*/ 1394269 w 1489995"/>
                <a:gd name="connsiteY998" fmla="*/ 472916 h 1273968"/>
                <a:gd name="connsiteX999" fmla="*/ 1390364 w 1489995"/>
                <a:gd name="connsiteY999" fmla="*/ 479869 h 1273968"/>
                <a:gd name="connsiteX1000" fmla="*/ 1391126 w 1489995"/>
                <a:gd name="connsiteY1000" fmla="*/ 486156 h 1273968"/>
                <a:gd name="connsiteX1001" fmla="*/ 1388650 w 1489995"/>
                <a:gd name="connsiteY1001" fmla="*/ 491300 h 1273968"/>
                <a:gd name="connsiteX1002" fmla="*/ 1386840 w 1489995"/>
                <a:gd name="connsiteY1002" fmla="*/ 489966 h 1273968"/>
                <a:gd name="connsiteX1003" fmla="*/ 1384078 w 1489995"/>
                <a:gd name="connsiteY1003" fmla="*/ 493490 h 1273968"/>
                <a:gd name="connsiteX1004" fmla="*/ 1385888 w 1489995"/>
                <a:gd name="connsiteY1004" fmla="*/ 494919 h 1273968"/>
                <a:gd name="connsiteX1005" fmla="*/ 1387888 w 1489995"/>
                <a:gd name="connsiteY1005" fmla="*/ 497872 h 1273968"/>
                <a:gd name="connsiteX1006" fmla="*/ 1386268 w 1489995"/>
                <a:gd name="connsiteY1006" fmla="*/ 498062 h 1273968"/>
                <a:gd name="connsiteX1007" fmla="*/ 1385316 w 1489995"/>
                <a:gd name="connsiteY1007" fmla="*/ 503015 h 1273968"/>
                <a:gd name="connsiteX1008" fmla="*/ 1383506 w 1489995"/>
                <a:gd name="connsiteY1008" fmla="*/ 501586 h 1273968"/>
                <a:gd name="connsiteX1009" fmla="*/ 1383887 w 1489995"/>
                <a:gd name="connsiteY1009" fmla="*/ 504730 h 1273968"/>
                <a:gd name="connsiteX1010" fmla="*/ 1379410 w 1489995"/>
                <a:gd name="connsiteY1010" fmla="*/ 506921 h 1273968"/>
                <a:gd name="connsiteX1011" fmla="*/ 1378363 w 1489995"/>
                <a:gd name="connsiteY1011" fmla="*/ 511873 h 1273968"/>
                <a:gd name="connsiteX1012" fmla="*/ 1373505 w 1489995"/>
                <a:gd name="connsiteY1012" fmla="*/ 510921 h 1273968"/>
                <a:gd name="connsiteX1013" fmla="*/ 1372648 w 1489995"/>
                <a:gd name="connsiteY1013" fmla="*/ 517398 h 1273968"/>
                <a:gd name="connsiteX1014" fmla="*/ 1370743 w 1489995"/>
                <a:gd name="connsiteY1014" fmla="*/ 514445 h 1273968"/>
                <a:gd name="connsiteX1015" fmla="*/ 1369314 w 1489995"/>
                <a:gd name="connsiteY1015" fmla="*/ 516255 h 1273968"/>
                <a:gd name="connsiteX1016" fmla="*/ 1369981 w 1489995"/>
                <a:gd name="connsiteY1016" fmla="*/ 521017 h 1273968"/>
                <a:gd name="connsiteX1017" fmla="*/ 1366742 w 1489995"/>
                <a:gd name="connsiteY1017" fmla="*/ 521398 h 1273968"/>
                <a:gd name="connsiteX1018" fmla="*/ 1365028 w 1489995"/>
                <a:gd name="connsiteY1018" fmla="*/ 519970 h 1273968"/>
                <a:gd name="connsiteX1019" fmla="*/ 1363409 w 1489995"/>
                <a:gd name="connsiteY1019" fmla="*/ 520160 h 1273968"/>
                <a:gd name="connsiteX1020" fmla="*/ 1362456 w 1489995"/>
                <a:gd name="connsiteY1020" fmla="*/ 525113 h 1273968"/>
                <a:gd name="connsiteX1021" fmla="*/ 1367218 w 1489995"/>
                <a:gd name="connsiteY1021" fmla="*/ 524542 h 1273968"/>
                <a:gd name="connsiteX1022" fmla="*/ 1375886 w 1489995"/>
                <a:gd name="connsiteY1022" fmla="*/ 529876 h 1273968"/>
                <a:gd name="connsiteX1023" fmla="*/ 1376077 w 1489995"/>
                <a:gd name="connsiteY1023" fmla="*/ 531400 h 1273968"/>
                <a:gd name="connsiteX1024" fmla="*/ 1366076 w 1489995"/>
                <a:gd name="connsiteY1024" fmla="*/ 540734 h 1273968"/>
                <a:gd name="connsiteX1025" fmla="*/ 1358360 w 1489995"/>
                <a:gd name="connsiteY1025" fmla="*/ 543306 h 1273968"/>
                <a:gd name="connsiteX1026" fmla="*/ 1358551 w 1489995"/>
                <a:gd name="connsiteY1026" fmla="*/ 544925 h 1273968"/>
                <a:gd name="connsiteX1027" fmla="*/ 1369981 w 1489995"/>
                <a:gd name="connsiteY1027" fmla="*/ 546640 h 1273968"/>
                <a:gd name="connsiteX1028" fmla="*/ 1379220 w 1489995"/>
                <a:gd name="connsiteY1028" fmla="*/ 543878 h 1273968"/>
                <a:gd name="connsiteX1029" fmla="*/ 1386554 w 1489995"/>
                <a:gd name="connsiteY1029" fmla="*/ 550926 h 1273968"/>
                <a:gd name="connsiteX1030" fmla="*/ 1388555 w 1489995"/>
                <a:gd name="connsiteY1030" fmla="*/ 553879 h 1273968"/>
                <a:gd name="connsiteX1031" fmla="*/ 1395317 w 1489995"/>
                <a:gd name="connsiteY1031" fmla="*/ 556260 h 1273968"/>
                <a:gd name="connsiteX1032" fmla="*/ 1396460 w 1489995"/>
                <a:gd name="connsiteY1032" fmla="*/ 552926 h 1273968"/>
                <a:gd name="connsiteX1033" fmla="*/ 1396079 w 1489995"/>
                <a:gd name="connsiteY1033" fmla="*/ 549688 h 1273968"/>
                <a:gd name="connsiteX1034" fmla="*/ 1399604 w 1489995"/>
                <a:gd name="connsiteY1034" fmla="*/ 552450 h 1273968"/>
                <a:gd name="connsiteX1035" fmla="*/ 1402747 w 1489995"/>
                <a:gd name="connsiteY1035" fmla="*/ 552069 h 1273968"/>
                <a:gd name="connsiteX1036" fmla="*/ 1401604 w 1489995"/>
                <a:gd name="connsiteY1036" fmla="*/ 555403 h 1273968"/>
                <a:gd name="connsiteX1037" fmla="*/ 1412272 w 1489995"/>
                <a:gd name="connsiteY1037" fmla="*/ 563690 h 1273968"/>
                <a:gd name="connsiteX1038" fmla="*/ 1418939 w 1489995"/>
                <a:gd name="connsiteY1038" fmla="*/ 566071 h 1273968"/>
                <a:gd name="connsiteX1039" fmla="*/ 1420368 w 1489995"/>
                <a:gd name="connsiteY1039" fmla="*/ 564261 h 1273968"/>
                <a:gd name="connsiteX1040" fmla="*/ 1422178 w 1489995"/>
                <a:gd name="connsiteY1040" fmla="*/ 565595 h 1273968"/>
                <a:gd name="connsiteX1041" fmla="*/ 1420559 w 1489995"/>
                <a:gd name="connsiteY1041" fmla="*/ 565880 h 1273968"/>
                <a:gd name="connsiteX1042" fmla="*/ 1427321 w 1489995"/>
                <a:gd name="connsiteY1042" fmla="*/ 568166 h 1273968"/>
                <a:gd name="connsiteX1043" fmla="*/ 1419035 w 1489995"/>
                <a:gd name="connsiteY1043" fmla="*/ 578834 h 1273968"/>
                <a:gd name="connsiteX1044" fmla="*/ 1419797 w 1489995"/>
                <a:gd name="connsiteY1044" fmla="*/ 585216 h 1273968"/>
                <a:gd name="connsiteX1045" fmla="*/ 1417987 w 1489995"/>
                <a:gd name="connsiteY1045" fmla="*/ 583787 h 1273968"/>
                <a:gd name="connsiteX1046" fmla="*/ 1416463 w 1489995"/>
                <a:gd name="connsiteY1046" fmla="*/ 583978 h 1273968"/>
                <a:gd name="connsiteX1047" fmla="*/ 1419225 w 1489995"/>
                <a:gd name="connsiteY1047" fmla="*/ 593312 h 1273968"/>
                <a:gd name="connsiteX1048" fmla="*/ 1413319 w 1489995"/>
                <a:gd name="connsiteY1048" fmla="*/ 597218 h 1273968"/>
                <a:gd name="connsiteX1049" fmla="*/ 1408176 w 1489995"/>
                <a:gd name="connsiteY1049" fmla="*/ 594646 h 1273968"/>
                <a:gd name="connsiteX1050" fmla="*/ 1407605 w 1489995"/>
                <a:gd name="connsiteY1050" fmla="*/ 589979 h 1273968"/>
                <a:gd name="connsiteX1051" fmla="*/ 1404080 w 1489995"/>
                <a:gd name="connsiteY1051" fmla="*/ 587216 h 1273968"/>
                <a:gd name="connsiteX1052" fmla="*/ 1398080 w 1489995"/>
                <a:gd name="connsiteY1052" fmla="*/ 591122 h 1273968"/>
                <a:gd name="connsiteX1053" fmla="*/ 1394555 w 1489995"/>
                <a:gd name="connsiteY1053" fmla="*/ 601218 h 1273968"/>
                <a:gd name="connsiteX1054" fmla="*/ 1401699 w 1489995"/>
                <a:gd name="connsiteY1054" fmla="*/ 606743 h 1273968"/>
                <a:gd name="connsiteX1055" fmla="*/ 1406081 w 1489995"/>
                <a:gd name="connsiteY1055" fmla="*/ 602933 h 1273968"/>
                <a:gd name="connsiteX1056" fmla="*/ 1410176 w 1489995"/>
                <a:gd name="connsiteY1056" fmla="*/ 610457 h 1273968"/>
                <a:gd name="connsiteX1057" fmla="*/ 1413319 w 1489995"/>
                <a:gd name="connsiteY1057" fmla="*/ 610076 h 1273968"/>
                <a:gd name="connsiteX1058" fmla="*/ 1408843 w 1489995"/>
                <a:gd name="connsiteY1058" fmla="*/ 612267 h 1273968"/>
                <a:gd name="connsiteX1059" fmla="*/ 1405033 w 1489995"/>
                <a:gd name="connsiteY1059" fmla="*/ 607886 h 1273968"/>
                <a:gd name="connsiteX1060" fmla="*/ 1402271 w 1489995"/>
                <a:gd name="connsiteY1060" fmla="*/ 611505 h 1273968"/>
                <a:gd name="connsiteX1061" fmla="*/ 1399127 w 1489995"/>
                <a:gd name="connsiteY1061" fmla="*/ 611886 h 1273968"/>
                <a:gd name="connsiteX1062" fmla="*/ 1397794 w 1489995"/>
                <a:gd name="connsiteY1062" fmla="*/ 613696 h 1273968"/>
                <a:gd name="connsiteX1063" fmla="*/ 1400365 w 1489995"/>
                <a:gd name="connsiteY1063" fmla="*/ 621316 h 1273968"/>
                <a:gd name="connsiteX1064" fmla="*/ 1402556 w 1489995"/>
                <a:gd name="connsiteY1064" fmla="*/ 625888 h 1273968"/>
                <a:gd name="connsiteX1065" fmla="*/ 1402747 w 1489995"/>
                <a:gd name="connsiteY1065" fmla="*/ 640271 h 1273968"/>
                <a:gd name="connsiteX1066" fmla="*/ 1396270 w 1489995"/>
                <a:gd name="connsiteY1066" fmla="*/ 639509 h 1273968"/>
                <a:gd name="connsiteX1067" fmla="*/ 1391698 w 1489995"/>
                <a:gd name="connsiteY1067" fmla="*/ 641699 h 1273968"/>
                <a:gd name="connsiteX1068" fmla="*/ 1389983 w 1489995"/>
                <a:gd name="connsiteY1068" fmla="*/ 640271 h 1273968"/>
                <a:gd name="connsiteX1069" fmla="*/ 1390364 w 1489995"/>
                <a:gd name="connsiteY1069" fmla="*/ 643414 h 1273968"/>
                <a:gd name="connsiteX1070" fmla="*/ 1387221 w 1489995"/>
                <a:gd name="connsiteY1070" fmla="*/ 643890 h 1273968"/>
                <a:gd name="connsiteX1071" fmla="*/ 1385411 w 1489995"/>
                <a:gd name="connsiteY1071" fmla="*/ 642461 h 1273968"/>
                <a:gd name="connsiteX1072" fmla="*/ 1382077 w 1489995"/>
                <a:gd name="connsiteY1072" fmla="*/ 641318 h 1273968"/>
                <a:gd name="connsiteX1073" fmla="*/ 1380839 w 1489995"/>
                <a:gd name="connsiteY1073" fmla="*/ 644652 h 1273968"/>
                <a:gd name="connsiteX1074" fmla="*/ 1377887 w 1489995"/>
                <a:gd name="connsiteY1074" fmla="*/ 646652 h 1273968"/>
                <a:gd name="connsiteX1075" fmla="*/ 1378172 w 1489995"/>
                <a:gd name="connsiteY1075" fmla="*/ 648272 h 1273968"/>
                <a:gd name="connsiteX1076" fmla="*/ 1381697 w 1489995"/>
                <a:gd name="connsiteY1076" fmla="*/ 650938 h 1273968"/>
                <a:gd name="connsiteX1077" fmla="*/ 1392936 w 1489995"/>
                <a:gd name="connsiteY1077" fmla="*/ 651129 h 1273968"/>
                <a:gd name="connsiteX1078" fmla="*/ 1391793 w 1489995"/>
                <a:gd name="connsiteY1078" fmla="*/ 654558 h 1273968"/>
                <a:gd name="connsiteX1079" fmla="*/ 1396270 w 1489995"/>
                <a:gd name="connsiteY1079" fmla="*/ 652367 h 1273968"/>
                <a:gd name="connsiteX1080" fmla="*/ 1396937 w 1489995"/>
                <a:gd name="connsiteY1080" fmla="*/ 657035 h 1273968"/>
                <a:gd name="connsiteX1081" fmla="*/ 1395508 w 1489995"/>
                <a:gd name="connsiteY1081" fmla="*/ 658844 h 1273968"/>
                <a:gd name="connsiteX1082" fmla="*/ 1393698 w 1489995"/>
                <a:gd name="connsiteY1082" fmla="*/ 657511 h 1273968"/>
                <a:gd name="connsiteX1083" fmla="*/ 1392364 w 1489995"/>
                <a:gd name="connsiteY1083" fmla="*/ 659225 h 1273968"/>
                <a:gd name="connsiteX1084" fmla="*/ 1387221 w 1489995"/>
                <a:gd name="connsiteY1084" fmla="*/ 656654 h 1273968"/>
                <a:gd name="connsiteX1085" fmla="*/ 1387412 w 1489995"/>
                <a:gd name="connsiteY1085" fmla="*/ 658273 h 1273968"/>
                <a:gd name="connsiteX1086" fmla="*/ 1390745 w 1489995"/>
                <a:gd name="connsiteY1086" fmla="*/ 659416 h 1273968"/>
                <a:gd name="connsiteX1087" fmla="*/ 1389221 w 1489995"/>
                <a:gd name="connsiteY1087" fmla="*/ 659606 h 1273968"/>
                <a:gd name="connsiteX1088" fmla="*/ 1384078 w 1489995"/>
                <a:gd name="connsiteY1088" fmla="*/ 657130 h 1273968"/>
                <a:gd name="connsiteX1089" fmla="*/ 1380744 w 1489995"/>
                <a:gd name="connsiteY1089" fmla="*/ 655892 h 1273968"/>
                <a:gd name="connsiteX1090" fmla="*/ 1375029 w 1489995"/>
                <a:gd name="connsiteY1090" fmla="*/ 661416 h 1273968"/>
                <a:gd name="connsiteX1091" fmla="*/ 1368933 w 1489995"/>
                <a:gd name="connsiteY1091" fmla="*/ 663797 h 1273968"/>
                <a:gd name="connsiteX1092" fmla="*/ 1374267 w 1489995"/>
                <a:gd name="connsiteY1092" fmla="*/ 667988 h 1273968"/>
                <a:gd name="connsiteX1093" fmla="*/ 1374648 w 1489995"/>
                <a:gd name="connsiteY1093" fmla="*/ 671132 h 1273968"/>
                <a:gd name="connsiteX1094" fmla="*/ 1376172 w 1489995"/>
                <a:gd name="connsiteY1094" fmla="*/ 670941 h 1273968"/>
                <a:gd name="connsiteX1095" fmla="*/ 1377029 w 1489995"/>
                <a:gd name="connsiteY1095" fmla="*/ 677228 h 1273968"/>
                <a:gd name="connsiteX1096" fmla="*/ 1380554 w 1489995"/>
                <a:gd name="connsiteY1096" fmla="*/ 679990 h 1273968"/>
                <a:gd name="connsiteX1097" fmla="*/ 1382173 w 1489995"/>
                <a:gd name="connsiteY1097" fmla="*/ 679799 h 1273968"/>
                <a:gd name="connsiteX1098" fmla="*/ 1380744 w 1489995"/>
                <a:gd name="connsiteY1098" fmla="*/ 681609 h 1273968"/>
                <a:gd name="connsiteX1099" fmla="*/ 1383887 w 1489995"/>
                <a:gd name="connsiteY1099" fmla="*/ 681133 h 1273968"/>
                <a:gd name="connsiteX1100" fmla="*/ 1384364 w 1489995"/>
                <a:gd name="connsiteY1100" fmla="*/ 684276 h 1273968"/>
                <a:gd name="connsiteX1101" fmla="*/ 1389507 w 1489995"/>
                <a:gd name="connsiteY1101" fmla="*/ 686848 h 1273968"/>
                <a:gd name="connsiteX1102" fmla="*/ 1394651 w 1489995"/>
                <a:gd name="connsiteY1102" fmla="*/ 689420 h 1273968"/>
                <a:gd name="connsiteX1103" fmla="*/ 1396365 w 1489995"/>
                <a:gd name="connsiteY1103" fmla="*/ 690848 h 1273968"/>
                <a:gd name="connsiteX1104" fmla="*/ 1400556 w 1489995"/>
                <a:gd name="connsiteY1104" fmla="*/ 685514 h 1273968"/>
                <a:gd name="connsiteX1105" fmla="*/ 1408843 w 1489995"/>
                <a:gd name="connsiteY1105" fmla="*/ 687610 h 1273968"/>
                <a:gd name="connsiteX1106" fmla="*/ 1407414 w 1489995"/>
                <a:gd name="connsiteY1106" fmla="*/ 689420 h 1273968"/>
                <a:gd name="connsiteX1107" fmla="*/ 1405700 w 1489995"/>
                <a:gd name="connsiteY1107" fmla="*/ 687991 h 1273968"/>
                <a:gd name="connsiteX1108" fmla="*/ 1409414 w 1489995"/>
                <a:gd name="connsiteY1108" fmla="*/ 692372 h 1273968"/>
                <a:gd name="connsiteX1109" fmla="*/ 1412367 w 1489995"/>
                <a:gd name="connsiteY1109" fmla="*/ 690372 h 1273968"/>
                <a:gd name="connsiteX1110" fmla="*/ 1417510 w 1489995"/>
                <a:gd name="connsiteY1110" fmla="*/ 692944 h 1273968"/>
                <a:gd name="connsiteX1111" fmla="*/ 1413129 w 1489995"/>
                <a:gd name="connsiteY1111" fmla="*/ 696659 h 1273968"/>
                <a:gd name="connsiteX1112" fmla="*/ 1409986 w 1489995"/>
                <a:gd name="connsiteY1112" fmla="*/ 697040 h 1273968"/>
                <a:gd name="connsiteX1113" fmla="*/ 1411986 w 1489995"/>
                <a:gd name="connsiteY1113" fmla="*/ 699992 h 1273968"/>
                <a:gd name="connsiteX1114" fmla="*/ 1415320 w 1489995"/>
                <a:gd name="connsiteY1114" fmla="*/ 701231 h 1273968"/>
                <a:gd name="connsiteX1115" fmla="*/ 1418558 w 1489995"/>
                <a:gd name="connsiteY1115" fmla="*/ 700850 h 1273968"/>
                <a:gd name="connsiteX1116" fmla="*/ 1418749 w 1489995"/>
                <a:gd name="connsiteY1116" fmla="*/ 702374 h 1273968"/>
                <a:gd name="connsiteX1117" fmla="*/ 1420082 w 1489995"/>
                <a:gd name="connsiteY1117" fmla="*/ 700659 h 1273968"/>
                <a:gd name="connsiteX1118" fmla="*/ 1421892 w 1489995"/>
                <a:gd name="connsiteY1118" fmla="*/ 701993 h 1273968"/>
                <a:gd name="connsiteX1119" fmla="*/ 1427035 w 1489995"/>
                <a:gd name="connsiteY1119" fmla="*/ 704564 h 1273968"/>
                <a:gd name="connsiteX1120" fmla="*/ 1434275 w 1489995"/>
                <a:gd name="connsiteY1120" fmla="*/ 698849 h 1273968"/>
                <a:gd name="connsiteX1121" fmla="*/ 1436084 w 1489995"/>
                <a:gd name="connsiteY1121" fmla="*/ 700183 h 1273968"/>
                <a:gd name="connsiteX1122" fmla="*/ 1436465 w 1489995"/>
                <a:gd name="connsiteY1122" fmla="*/ 703326 h 1273968"/>
                <a:gd name="connsiteX1123" fmla="*/ 1438275 w 1489995"/>
                <a:gd name="connsiteY1123" fmla="*/ 704755 h 1273968"/>
                <a:gd name="connsiteX1124" fmla="*/ 1435322 w 1489995"/>
                <a:gd name="connsiteY1124" fmla="*/ 706660 h 1273968"/>
                <a:gd name="connsiteX1125" fmla="*/ 1436084 w 1489995"/>
                <a:gd name="connsiteY1125" fmla="*/ 713041 h 1273968"/>
                <a:gd name="connsiteX1126" fmla="*/ 1439227 w 1489995"/>
                <a:gd name="connsiteY1126" fmla="*/ 712565 h 1273968"/>
                <a:gd name="connsiteX1127" fmla="*/ 1442752 w 1489995"/>
                <a:gd name="connsiteY1127" fmla="*/ 702564 h 1273968"/>
                <a:gd name="connsiteX1128" fmla="*/ 1444752 w 1489995"/>
                <a:gd name="connsiteY1128" fmla="*/ 705517 h 1273968"/>
                <a:gd name="connsiteX1129" fmla="*/ 1443609 w 1489995"/>
                <a:gd name="connsiteY1129" fmla="*/ 708851 h 1273968"/>
                <a:gd name="connsiteX1130" fmla="*/ 1446752 w 1489995"/>
                <a:gd name="connsiteY1130" fmla="*/ 708470 h 1273968"/>
                <a:gd name="connsiteX1131" fmla="*/ 1445800 w 1489995"/>
                <a:gd name="connsiteY1131" fmla="*/ 713423 h 1273968"/>
                <a:gd name="connsiteX1132" fmla="*/ 1446371 w 1489995"/>
                <a:gd name="connsiteY1132" fmla="*/ 718090 h 1273968"/>
                <a:gd name="connsiteX1133" fmla="*/ 1445038 w 1489995"/>
                <a:gd name="connsiteY1133" fmla="*/ 719899 h 1273968"/>
                <a:gd name="connsiteX1134" fmla="*/ 1437513 w 1489995"/>
                <a:gd name="connsiteY1134" fmla="*/ 724090 h 1273968"/>
                <a:gd name="connsiteX1135" fmla="*/ 1437704 w 1489995"/>
                <a:gd name="connsiteY1135" fmla="*/ 725615 h 1273968"/>
                <a:gd name="connsiteX1136" fmla="*/ 1439704 w 1489995"/>
                <a:gd name="connsiteY1136" fmla="*/ 728567 h 1273968"/>
                <a:gd name="connsiteX1137" fmla="*/ 1448372 w 1489995"/>
                <a:gd name="connsiteY1137" fmla="*/ 733901 h 1273968"/>
                <a:gd name="connsiteX1138" fmla="*/ 1467707 w 1489995"/>
                <a:gd name="connsiteY1138" fmla="*/ 747427 h 1273968"/>
                <a:gd name="connsiteX1139" fmla="*/ 1469136 w 1489995"/>
                <a:gd name="connsiteY1139" fmla="*/ 745712 h 1273968"/>
                <a:gd name="connsiteX1140" fmla="*/ 1472279 w 1489995"/>
                <a:gd name="connsiteY1140" fmla="*/ 745236 h 1273968"/>
                <a:gd name="connsiteX1141" fmla="*/ 1474470 w 1489995"/>
                <a:gd name="connsiteY1141" fmla="*/ 749808 h 1273968"/>
                <a:gd name="connsiteX1142" fmla="*/ 1475804 w 1489995"/>
                <a:gd name="connsiteY1142" fmla="*/ 747998 h 1273968"/>
                <a:gd name="connsiteX1143" fmla="*/ 1477613 w 1489995"/>
                <a:gd name="connsiteY1143" fmla="*/ 749427 h 1273968"/>
                <a:gd name="connsiteX1144" fmla="*/ 1479423 w 1489995"/>
                <a:gd name="connsiteY1144" fmla="*/ 750761 h 1273968"/>
                <a:gd name="connsiteX1145" fmla="*/ 1478185 w 1489995"/>
                <a:gd name="connsiteY1145" fmla="*/ 754190 h 1273968"/>
                <a:gd name="connsiteX1146" fmla="*/ 1481614 w 1489995"/>
                <a:gd name="connsiteY1146" fmla="*/ 755332 h 1273968"/>
                <a:gd name="connsiteX1147" fmla="*/ 1484376 w 1489995"/>
                <a:gd name="connsiteY1147" fmla="*/ 751808 h 1273968"/>
                <a:gd name="connsiteX1148" fmla="*/ 1488281 w 1489995"/>
                <a:gd name="connsiteY1148" fmla="*/ 757714 h 1273968"/>
                <a:gd name="connsiteX1149" fmla="*/ 1485710 w 1489995"/>
                <a:gd name="connsiteY1149" fmla="*/ 762857 h 1273968"/>
                <a:gd name="connsiteX1150" fmla="*/ 1487519 w 1489995"/>
                <a:gd name="connsiteY1150" fmla="*/ 764191 h 1273968"/>
                <a:gd name="connsiteX1151" fmla="*/ 1486567 w 1489995"/>
                <a:gd name="connsiteY1151" fmla="*/ 769144 h 1273968"/>
                <a:gd name="connsiteX1152" fmla="*/ 1488567 w 1489995"/>
                <a:gd name="connsiteY1152" fmla="*/ 772097 h 1273968"/>
                <a:gd name="connsiteX1153" fmla="*/ 1485138 w 1489995"/>
                <a:gd name="connsiteY1153" fmla="*/ 770953 h 1273968"/>
                <a:gd name="connsiteX1154" fmla="*/ 1480661 w 1489995"/>
                <a:gd name="connsiteY1154" fmla="*/ 773049 h 1273968"/>
                <a:gd name="connsiteX1155" fmla="*/ 1476470 w 1489995"/>
                <a:gd name="connsiteY1155" fmla="*/ 778383 h 1273968"/>
                <a:gd name="connsiteX1156" fmla="*/ 1485995 w 1489995"/>
                <a:gd name="connsiteY1156" fmla="*/ 790003 h 1273968"/>
                <a:gd name="connsiteX1157" fmla="*/ 1487805 w 1489995"/>
                <a:gd name="connsiteY1157" fmla="*/ 791432 h 1273968"/>
                <a:gd name="connsiteX1158" fmla="*/ 1489615 w 1489995"/>
                <a:gd name="connsiteY1158" fmla="*/ 792766 h 1273968"/>
                <a:gd name="connsiteX1159" fmla="*/ 1489996 w 1489995"/>
                <a:gd name="connsiteY1159" fmla="*/ 795909 h 1273968"/>
                <a:gd name="connsiteX1160" fmla="*/ 1488758 w 1489995"/>
                <a:gd name="connsiteY1160" fmla="*/ 799338 h 1273968"/>
                <a:gd name="connsiteX1161" fmla="*/ 1487424 w 1489995"/>
                <a:gd name="connsiteY1161" fmla="*/ 801053 h 1273968"/>
                <a:gd name="connsiteX1162" fmla="*/ 1483900 w 1489995"/>
                <a:gd name="connsiteY1162" fmla="*/ 798290 h 1273968"/>
                <a:gd name="connsiteX1163" fmla="*/ 1484852 w 1489995"/>
                <a:gd name="connsiteY1163" fmla="*/ 806196 h 1273968"/>
                <a:gd name="connsiteX1164" fmla="*/ 1483328 w 1489995"/>
                <a:gd name="connsiteY1164" fmla="*/ 806386 h 1273968"/>
                <a:gd name="connsiteX1165" fmla="*/ 1482281 w 1489995"/>
                <a:gd name="connsiteY1165" fmla="*/ 811340 h 1273968"/>
                <a:gd name="connsiteX1166" fmla="*/ 1480756 w 1489995"/>
                <a:gd name="connsiteY1166" fmla="*/ 811530 h 1273968"/>
                <a:gd name="connsiteX1167" fmla="*/ 1480947 w 1489995"/>
                <a:gd name="connsiteY1167" fmla="*/ 813149 h 1273968"/>
                <a:gd name="connsiteX1168" fmla="*/ 1475613 w 1489995"/>
                <a:gd name="connsiteY1168" fmla="*/ 821817 h 1273968"/>
                <a:gd name="connsiteX1169" fmla="*/ 1479233 w 1489995"/>
                <a:gd name="connsiteY1169" fmla="*/ 824579 h 1273968"/>
                <a:gd name="connsiteX1170" fmla="*/ 1476185 w 1489995"/>
                <a:gd name="connsiteY1170" fmla="*/ 826580 h 1273968"/>
                <a:gd name="connsiteX1171" fmla="*/ 1466945 w 1489995"/>
                <a:gd name="connsiteY1171" fmla="*/ 829342 h 1273968"/>
                <a:gd name="connsiteX1172" fmla="*/ 1465421 w 1489995"/>
                <a:gd name="connsiteY1172" fmla="*/ 829532 h 1273968"/>
                <a:gd name="connsiteX1173" fmla="*/ 1465802 w 1489995"/>
                <a:gd name="connsiteY1173" fmla="*/ 832676 h 1273968"/>
                <a:gd name="connsiteX1174" fmla="*/ 1465802 w 1489995"/>
                <a:gd name="connsiteY1174" fmla="*/ 832676 h 1273968"/>
                <a:gd name="connsiteX1175" fmla="*/ 1464659 w 1489995"/>
                <a:gd name="connsiteY1175" fmla="*/ 836105 h 1273968"/>
                <a:gd name="connsiteX1176" fmla="*/ 1469708 w 1489995"/>
                <a:gd name="connsiteY1176" fmla="*/ 838581 h 1273968"/>
                <a:gd name="connsiteX1177" fmla="*/ 1468946 w 1489995"/>
                <a:gd name="connsiteY1177" fmla="*/ 845153 h 1273968"/>
                <a:gd name="connsiteX1178" fmla="*/ 1467993 w 1489995"/>
                <a:gd name="connsiteY1178" fmla="*/ 850106 h 1273968"/>
                <a:gd name="connsiteX1179" fmla="*/ 1469803 w 1489995"/>
                <a:gd name="connsiteY1179" fmla="*/ 851440 h 1273968"/>
                <a:gd name="connsiteX1180" fmla="*/ 1469041 w 1489995"/>
                <a:gd name="connsiteY1180" fmla="*/ 857917 h 1273968"/>
                <a:gd name="connsiteX1181" fmla="*/ 1467422 w 1489995"/>
                <a:gd name="connsiteY1181" fmla="*/ 858203 h 1273968"/>
                <a:gd name="connsiteX1182" fmla="*/ 1465421 w 1489995"/>
                <a:gd name="connsiteY1182" fmla="*/ 855250 h 1273968"/>
                <a:gd name="connsiteX1183" fmla="*/ 1462850 w 1489995"/>
                <a:gd name="connsiteY1183" fmla="*/ 860298 h 1273968"/>
                <a:gd name="connsiteX1184" fmla="*/ 1466469 w 1489995"/>
                <a:gd name="connsiteY1184" fmla="*/ 863060 h 1273968"/>
                <a:gd name="connsiteX1185" fmla="*/ 1466660 w 1489995"/>
                <a:gd name="connsiteY1185" fmla="*/ 864680 h 1273968"/>
                <a:gd name="connsiteX1186" fmla="*/ 1467231 w 1489995"/>
                <a:gd name="connsiteY1186" fmla="*/ 869442 h 1273968"/>
                <a:gd name="connsiteX1187" fmla="*/ 1464088 w 1489995"/>
                <a:gd name="connsiteY1187" fmla="*/ 869823 h 1273968"/>
                <a:gd name="connsiteX1188" fmla="*/ 1462754 w 1489995"/>
                <a:gd name="connsiteY1188" fmla="*/ 871633 h 1273968"/>
                <a:gd name="connsiteX1189" fmla="*/ 1463326 w 1489995"/>
                <a:gd name="connsiteY1189" fmla="*/ 876300 h 1273968"/>
                <a:gd name="connsiteX1190" fmla="*/ 1463516 w 1489995"/>
                <a:gd name="connsiteY1190" fmla="*/ 877919 h 1273968"/>
                <a:gd name="connsiteX1191" fmla="*/ 1459421 w 1489995"/>
                <a:gd name="connsiteY1191" fmla="*/ 883253 h 1273968"/>
                <a:gd name="connsiteX1192" fmla="*/ 1455610 w 1489995"/>
                <a:gd name="connsiteY1192" fmla="*/ 878872 h 1273968"/>
                <a:gd name="connsiteX1193" fmla="*/ 1447990 w 1489995"/>
                <a:gd name="connsiteY1193" fmla="*/ 881539 h 1273968"/>
                <a:gd name="connsiteX1194" fmla="*/ 1448181 w 1489995"/>
                <a:gd name="connsiteY1194" fmla="*/ 883063 h 1273968"/>
                <a:gd name="connsiteX1195" fmla="*/ 1449896 w 1489995"/>
                <a:gd name="connsiteY1195" fmla="*/ 884491 h 1273968"/>
                <a:gd name="connsiteX1196" fmla="*/ 1448372 w 1489995"/>
                <a:gd name="connsiteY1196" fmla="*/ 884682 h 1273968"/>
                <a:gd name="connsiteX1197" fmla="*/ 1448943 w 1489995"/>
                <a:gd name="connsiteY1197" fmla="*/ 889349 h 1273968"/>
                <a:gd name="connsiteX1198" fmla="*/ 1444466 w 1489995"/>
                <a:gd name="connsiteY1198" fmla="*/ 891540 h 1273968"/>
                <a:gd name="connsiteX1199" fmla="*/ 1441228 w 1489995"/>
                <a:gd name="connsiteY1199" fmla="*/ 892016 h 1273968"/>
                <a:gd name="connsiteX1200" fmla="*/ 1441704 w 1489995"/>
                <a:gd name="connsiteY1200" fmla="*/ 895160 h 1273968"/>
                <a:gd name="connsiteX1201" fmla="*/ 1440085 w 1489995"/>
                <a:gd name="connsiteY1201" fmla="*/ 895350 h 1273968"/>
                <a:gd name="connsiteX1202" fmla="*/ 1436084 w 1489995"/>
                <a:gd name="connsiteY1202" fmla="*/ 889445 h 1273968"/>
                <a:gd name="connsiteX1203" fmla="*/ 1431036 w 1489995"/>
                <a:gd name="connsiteY1203" fmla="*/ 886873 h 1273968"/>
                <a:gd name="connsiteX1204" fmla="*/ 1428083 w 1489995"/>
                <a:gd name="connsiteY1204" fmla="*/ 888873 h 1273968"/>
                <a:gd name="connsiteX1205" fmla="*/ 1418177 w 1489995"/>
                <a:gd name="connsiteY1205" fmla="*/ 899732 h 1273968"/>
                <a:gd name="connsiteX1206" fmla="*/ 1418558 w 1489995"/>
                <a:gd name="connsiteY1206" fmla="*/ 902875 h 1273968"/>
                <a:gd name="connsiteX1207" fmla="*/ 1413701 w 1489995"/>
                <a:gd name="connsiteY1207" fmla="*/ 901922 h 1273968"/>
                <a:gd name="connsiteX1208" fmla="*/ 1411129 w 1489995"/>
                <a:gd name="connsiteY1208" fmla="*/ 907066 h 1273968"/>
                <a:gd name="connsiteX1209" fmla="*/ 1407223 w 1489995"/>
                <a:gd name="connsiteY1209" fmla="*/ 913924 h 1273968"/>
                <a:gd name="connsiteX1210" fmla="*/ 1407795 w 1489995"/>
                <a:gd name="connsiteY1210" fmla="*/ 918686 h 1273968"/>
                <a:gd name="connsiteX1211" fmla="*/ 1409795 w 1489995"/>
                <a:gd name="connsiteY1211" fmla="*/ 921639 h 1273968"/>
                <a:gd name="connsiteX1212" fmla="*/ 1414463 w 1489995"/>
                <a:gd name="connsiteY1212" fmla="*/ 921068 h 1273968"/>
                <a:gd name="connsiteX1213" fmla="*/ 1417606 w 1489995"/>
                <a:gd name="connsiteY1213" fmla="*/ 920591 h 1273968"/>
                <a:gd name="connsiteX1214" fmla="*/ 1416653 w 1489995"/>
                <a:gd name="connsiteY1214" fmla="*/ 925544 h 1273968"/>
                <a:gd name="connsiteX1215" fmla="*/ 1420273 w 1489995"/>
                <a:gd name="connsiteY1215" fmla="*/ 928307 h 1273968"/>
                <a:gd name="connsiteX1216" fmla="*/ 1419225 w 1489995"/>
                <a:gd name="connsiteY1216" fmla="*/ 933260 h 1273968"/>
                <a:gd name="connsiteX1217" fmla="*/ 1424368 w 1489995"/>
                <a:gd name="connsiteY1217" fmla="*/ 935831 h 1273968"/>
                <a:gd name="connsiteX1218" fmla="*/ 1421416 w 1489995"/>
                <a:gd name="connsiteY1218" fmla="*/ 937832 h 1273968"/>
                <a:gd name="connsiteX1219" fmla="*/ 1421892 w 1489995"/>
                <a:gd name="connsiteY1219" fmla="*/ 940975 h 1273968"/>
                <a:gd name="connsiteX1220" fmla="*/ 1419130 w 1489995"/>
                <a:gd name="connsiteY1220" fmla="*/ 944499 h 1273968"/>
                <a:gd name="connsiteX1221" fmla="*/ 1415891 w 1489995"/>
                <a:gd name="connsiteY1221" fmla="*/ 944880 h 1273968"/>
                <a:gd name="connsiteX1222" fmla="*/ 1413224 w 1489995"/>
                <a:gd name="connsiteY1222" fmla="*/ 948499 h 1273968"/>
                <a:gd name="connsiteX1223" fmla="*/ 1413415 w 1489995"/>
                <a:gd name="connsiteY1223" fmla="*/ 950024 h 1273968"/>
                <a:gd name="connsiteX1224" fmla="*/ 1409795 w 1489995"/>
                <a:gd name="connsiteY1224" fmla="*/ 947261 h 1273968"/>
                <a:gd name="connsiteX1225" fmla="*/ 1408271 w 1489995"/>
                <a:gd name="connsiteY1225" fmla="*/ 947452 h 1273968"/>
                <a:gd name="connsiteX1226" fmla="*/ 1406462 w 1489995"/>
                <a:gd name="connsiteY1226" fmla="*/ 946118 h 1273968"/>
                <a:gd name="connsiteX1227" fmla="*/ 1401889 w 1489995"/>
                <a:gd name="connsiteY1227" fmla="*/ 948309 h 1273968"/>
                <a:gd name="connsiteX1228" fmla="*/ 1394841 w 1489995"/>
                <a:gd name="connsiteY1228" fmla="*/ 942785 h 1273968"/>
                <a:gd name="connsiteX1229" fmla="*/ 1395413 w 1489995"/>
                <a:gd name="connsiteY1229" fmla="*/ 947547 h 1273968"/>
                <a:gd name="connsiteX1230" fmla="*/ 1392269 w 1489995"/>
                <a:gd name="connsiteY1230" fmla="*/ 947928 h 1273968"/>
                <a:gd name="connsiteX1231" fmla="*/ 1388745 w 1489995"/>
                <a:gd name="connsiteY1231" fmla="*/ 945166 h 1273968"/>
                <a:gd name="connsiteX1232" fmla="*/ 1387888 w 1489995"/>
                <a:gd name="connsiteY1232" fmla="*/ 938879 h 1273968"/>
                <a:gd name="connsiteX1233" fmla="*/ 1386554 w 1489995"/>
                <a:gd name="connsiteY1233" fmla="*/ 940594 h 1273968"/>
                <a:gd name="connsiteX1234" fmla="*/ 1384744 w 1489995"/>
                <a:gd name="connsiteY1234" fmla="*/ 939260 h 1273968"/>
                <a:gd name="connsiteX1235" fmla="*/ 1382363 w 1489995"/>
                <a:gd name="connsiteY1235" fmla="*/ 946023 h 1273968"/>
                <a:gd name="connsiteX1236" fmla="*/ 1378268 w 1489995"/>
                <a:gd name="connsiteY1236" fmla="*/ 951357 h 1273968"/>
                <a:gd name="connsiteX1237" fmla="*/ 1375886 w 1489995"/>
                <a:gd name="connsiteY1237" fmla="*/ 958024 h 1273968"/>
                <a:gd name="connsiteX1238" fmla="*/ 1377696 w 1489995"/>
                <a:gd name="connsiteY1238" fmla="*/ 959453 h 1273968"/>
                <a:gd name="connsiteX1239" fmla="*/ 1374934 w 1489995"/>
                <a:gd name="connsiteY1239" fmla="*/ 962978 h 1273968"/>
                <a:gd name="connsiteX1240" fmla="*/ 1375696 w 1489995"/>
                <a:gd name="connsiteY1240" fmla="*/ 969264 h 1273968"/>
                <a:gd name="connsiteX1241" fmla="*/ 1374172 w 1489995"/>
                <a:gd name="connsiteY1241" fmla="*/ 969455 h 1273968"/>
                <a:gd name="connsiteX1242" fmla="*/ 1373600 w 1489995"/>
                <a:gd name="connsiteY1242" fmla="*/ 964787 h 1273968"/>
                <a:gd name="connsiteX1243" fmla="*/ 1368647 w 1489995"/>
                <a:gd name="connsiteY1243" fmla="*/ 963740 h 1273968"/>
                <a:gd name="connsiteX1244" fmla="*/ 1361694 w 1489995"/>
                <a:gd name="connsiteY1244" fmla="*/ 972693 h 1273968"/>
                <a:gd name="connsiteX1245" fmla="*/ 1353026 w 1489995"/>
                <a:gd name="connsiteY1245" fmla="*/ 967359 h 1273968"/>
                <a:gd name="connsiteX1246" fmla="*/ 1345597 w 1489995"/>
                <a:gd name="connsiteY1246" fmla="*/ 971550 h 1273968"/>
                <a:gd name="connsiteX1247" fmla="*/ 1338453 w 1489995"/>
                <a:gd name="connsiteY1247" fmla="*/ 978884 h 1273968"/>
                <a:gd name="connsiteX1248" fmla="*/ 1336643 w 1489995"/>
                <a:gd name="connsiteY1248" fmla="*/ 977456 h 1273968"/>
                <a:gd name="connsiteX1249" fmla="*/ 1335310 w 1489995"/>
                <a:gd name="connsiteY1249" fmla="*/ 979265 h 1273968"/>
                <a:gd name="connsiteX1250" fmla="*/ 1330357 w 1489995"/>
                <a:gd name="connsiteY1250" fmla="*/ 978218 h 1273968"/>
                <a:gd name="connsiteX1251" fmla="*/ 1327214 w 1489995"/>
                <a:gd name="connsiteY1251" fmla="*/ 978694 h 1273968"/>
                <a:gd name="connsiteX1252" fmla="*/ 1326833 w 1489995"/>
                <a:gd name="connsiteY1252" fmla="*/ 975551 h 1273968"/>
                <a:gd name="connsiteX1253" fmla="*/ 1325880 w 1489995"/>
                <a:gd name="connsiteY1253" fmla="*/ 980408 h 1273968"/>
                <a:gd name="connsiteX1254" fmla="*/ 1325689 w 1489995"/>
                <a:gd name="connsiteY1254" fmla="*/ 978884 h 1273968"/>
                <a:gd name="connsiteX1255" fmla="*/ 1322451 w 1489995"/>
                <a:gd name="connsiteY1255" fmla="*/ 979265 h 1273968"/>
                <a:gd name="connsiteX1256" fmla="*/ 1317784 w 1489995"/>
                <a:gd name="connsiteY1256" fmla="*/ 979837 h 1273968"/>
                <a:gd name="connsiteX1257" fmla="*/ 1317022 w 1489995"/>
                <a:gd name="connsiteY1257" fmla="*/ 986409 h 1273968"/>
                <a:gd name="connsiteX1258" fmla="*/ 1313402 w 1489995"/>
                <a:gd name="connsiteY1258" fmla="*/ 983647 h 1273968"/>
                <a:gd name="connsiteX1259" fmla="*/ 1312069 w 1489995"/>
                <a:gd name="connsiteY1259" fmla="*/ 985457 h 1273968"/>
                <a:gd name="connsiteX1260" fmla="*/ 1314260 w 1489995"/>
                <a:gd name="connsiteY1260" fmla="*/ 989933 h 1273968"/>
                <a:gd name="connsiteX1261" fmla="*/ 1306544 w 1489995"/>
                <a:gd name="connsiteY1261" fmla="*/ 992505 h 1273968"/>
                <a:gd name="connsiteX1262" fmla="*/ 1306354 w 1489995"/>
                <a:gd name="connsiteY1262" fmla="*/ 990981 h 1273968"/>
                <a:gd name="connsiteX1263" fmla="*/ 1303592 w 1489995"/>
                <a:gd name="connsiteY1263" fmla="*/ 994505 h 1273968"/>
                <a:gd name="connsiteX1264" fmla="*/ 1301591 w 1489995"/>
                <a:gd name="connsiteY1264" fmla="*/ 991553 h 1273968"/>
                <a:gd name="connsiteX1265" fmla="*/ 1298639 w 1489995"/>
                <a:gd name="connsiteY1265" fmla="*/ 993553 h 1273968"/>
                <a:gd name="connsiteX1266" fmla="*/ 1298448 w 1489995"/>
                <a:gd name="connsiteY1266" fmla="*/ 991934 h 1273968"/>
                <a:gd name="connsiteX1267" fmla="*/ 1292162 w 1489995"/>
                <a:gd name="connsiteY1267" fmla="*/ 992791 h 1273968"/>
                <a:gd name="connsiteX1268" fmla="*/ 1291971 w 1489995"/>
                <a:gd name="connsiteY1268" fmla="*/ 991172 h 1273968"/>
                <a:gd name="connsiteX1269" fmla="*/ 1297400 w 1489995"/>
                <a:gd name="connsiteY1269" fmla="*/ 984028 h 1273968"/>
                <a:gd name="connsiteX1270" fmla="*/ 1295495 w 1489995"/>
                <a:gd name="connsiteY1270" fmla="*/ 981075 h 1273968"/>
                <a:gd name="connsiteX1271" fmla="*/ 1292257 w 1489995"/>
                <a:gd name="connsiteY1271" fmla="*/ 981551 h 1273968"/>
                <a:gd name="connsiteX1272" fmla="*/ 1289590 w 1489995"/>
                <a:gd name="connsiteY1272" fmla="*/ 985076 h 1273968"/>
                <a:gd name="connsiteX1273" fmla="*/ 1286161 w 1489995"/>
                <a:gd name="connsiteY1273" fmla="*/ 983932 h 1273968"/>
                <a:gd name="connsiteX1274" fmla="*/ 1283589 w 1489995"/>
                <a:gd name="connsiteY1274" fmla="*/ 989076 h 1273968"/>
                <a:gd name="connsiteX1275" fmla="*/ 1278922 w 1489995"/>
                <a:gd name="connsiteY1275" fmla="*/ 989648 h 1273968"/>
                <a:gd name="connsiteX1276" fmla="*/ 1277112 w 1489995"/>
                <a:gd name="connsiteY1276" fmla="*/ 988219 h 1273968"/>
                <a:gd name="connsiteX1277" fmla="*/ 1273207 w 1489995"/>
                <a:gd name="connsiteY1277" fmla="*/ 995172 h 1273968"/>
                <a:gd name="connsiteX1278" fmla="*/ 1271588 w 1489995"/>
                <a:gd name="connsiteY1278" fmla="*/ 995362 h 1273968"/>
                <a:gd name="connsiteX1279" fmla="*/ 1272064 w 1489995"/>
                <a:gd name="connsiteY1279" fmla="*/ 998506 h 1273968"/>
                <a:gd name="connsiteX1280" fmla="*/ 1275398 w 1489995"/>
                <a:gd name="connsiteY1280" fmla="*/ 999744 h 1273968"/>
                <a:gd name="connsiteX1281" fmla="*/ 1273969 w 1489995"/>
                <a:gd name="connsiteY1281" fmla="*/ 1001459 h 1273968"/>
                <a:gd name="connsiteX1282" fmla="*/ 1275969 w 1489995"/>
                <a:gd name="connsiteY1282" fmla="*/ 1004411 h 1273968"/>
                <a:gd name="connsiteX1283" fmla="*/ 1268444 w 1489995"/>
                <a:gd name="connsiteY1283" fmla="*/ 1008602 h 1273968"/>
                <a:gd name="connsiteX1284" fmla="*/ 1269683 w 1489995"/>
                <a:gd name="connsiteY1284" fmla="*/ 1018032 h 1273968"/>
                <a:gd name="connsiteX1285" fmla="*/ 1270540 w 1489995"/>
                <a:gd name="connsiteY1285" fmla="*/ 1024414 h 1273968"/>
                <a:gd name="connsiteX1286" fmla="*/ 1256729 w 1489995"/>
                <a:gd name="connsiteY1286" fmla="*/ 1029367 h 1273968"/>
                <a:gd name="connsiteX1287" fmla="*/ 1258634 w 1489995"/>
                <a:gd name="connsiteY1287" fmla="*/ 1032320 h 1273968"/>
                <a:gd name="connsiteX1288" fmla="*/ 1253395 w 1489995"/>
                <a:gd name="connsiteY1288" fmla="*/ 1040987 h 1273968"/>
                <a:gd name="connsiteX1289" fmla="*/ 1251776 w 1489995"/>
                <a:gd name="connsiteY1289" fmla="*/ 1041178 h 1273968"/>
                <a:gd name="connsiteX1290" fmla="*/ 1251394 w 1489995"/>
                <a:gd name="connsiteY1290" fmla="*/ 1038035 h 1273968"/>
                <a:gd name="connsiteX1291" fmla="*/ 1250061 w 1489995"/>
                <a:gd name="connsiteY1291" fmla="*/ 1039844 h 1273968"/>
                <a:gd name="connsiteX1292" fmla="*/ 1250061 w 1489995"/>
                <a:gd name="connsiteY1292" fmla="*/ 1039844 h 1273968"/>
                <a:gd name="connsiteX1293" fmla="*/ 1246823 w 1489995"/>
                <a:gd name="connsiteY1293" fmla="*/ 1040225 h 1273968"/>
                <a:gd name="connsiteX1294" fmla="*/ 1248632 w 1489995"/>
                <a:gd name="connsiteY1294" fmla="*/ 1041559 h 1273968"/>
                <a:gd name="connsiteX1295" fmla="*/ 1245489 w 1489995"/>
                <a:gd name="connsiteY1295" fmla="*/ 1042035 h 1273968"/>
                <a:gd name="connsiteX1296" fmla="*/ 1247489 w 1489995"/>
                <a:gd name="connsiteY1296" fmla="*/ 1044988 h 1273968"/>
                <a:gd name="connsiteX1297" fmla="*/ 1244727 w 1489995"/>
                <a:gd name="connsiteY1297" fmla="*/ 1048512 h 1273968"/>
                <a:gd name="connsiteX1298" fmla="*/ 1243775 w 1489995"/>
                <a:gd name="connsiteY1298" fmla="*/ 1053465 h 1273968"/>
                <a:gd name="connsiteX1299" fmla="*/ 1242536 w 1489995"/>
                <a:gd name="connsiteY1299" fmla="*/ 1056799 h 1273968"/>
                <a:gd name="connsiteX1300" fmla="*/ 1244727 w 1489995"/>
                <a:gd name="connsiteY1300" fmla="*/ 1061371 h 1273968"/>
                <a:gd name="connsiteX1301" fmla="*/ 1242822 w 1489995"/>
                <a:gd name="connsiteY1301" fmla="*/ 1071182 h 1273968"/>
                <a:gd name="connsiteX1302" fmla="*/ 1245013 w 1489995"/>
                <a:gd name="connsiteY1302" fmla="*/ 1075754 h 1273968"/>
                <a:gd name="connsiteX1303" fmla="*/ 1243965 w 1489995"/>
                <a:gd name="connsiteY1303" fmla="*/ 1080707 h 1273968"/>
                <a:gd name="connsiteX1304" fmla="*/ 1247585 w 1489995"/>
                <a:gd name="connsiteY1304" fmla="*/ 1083469 h 1273968"/>
                <a:gd name="connsiteX1305" fmla="*/ 1245965 w 1489995"/>
                <a:gd name="connsiteY1305" fmla="*/ 1083659 h 1273968"/>
                <a:gd name="connsiteX1306" fmla="*/ 1248537 w 1489995"/>
                <a:gd name="connsiteY1306" fmla="*/ 1091375 h 1273968"/>
                <a:gd name="connsiteX1307" fmla="*/ 1251680 w 1489995"/>
                <a:gd name="connsiteY1307" fmla="*/ 1090898 h 1273968"/>
                <a:gd name="connsiteX1308" fmla="*/ 1255681 w 1489995"/>
                <a:gd name="connsiteY1308" fmla="*/ 1084040 h 1273968"/>
                <a:gd name="connsiteX1309" fmla="*/ 1263587 w 1489995"/>
                <a:gd name="connsiteY1309" fmla="*/ 1095851 h 1273968"/>
                <a:gd name="connsiteX1310" fmla="*/ 1271302 w 1489995"/>
                <a:gd name="connsiteY1310" fmla="*/ 1093280 h 1273968"/>
                <a:gd name="connsiteX1311" fmla="*/ 1282541 w 1489995"/>
                <a:gd name="connsiteY1311" fmla="*/ 1093375 h 1273968"/>
                <a:gd name="connsiteX1312" fmla="*/ 1281493 w 1489995"/>
                <a:gd name="connsiteY1312" fmla="*/ 1098328 h 1273968"/>
                <a:gd name="connsiteX1313" fmla="*/ 1285875 w 1489995"/>
                <a:gd name="connsiteY1313" fmla="*/ 1107377 h 1273968"/>
                <a:gd name="connsiteX1314" fmla="*/ 1293590 w 1489995"/>
                <a:gd name="connsiteY1314" fmla="*/ 1117664 h 1273968"/>
                <a:gd name="connsiteX1315" fmla="*/ 1294257 w 1489995"/>
                <a:gd name="connsiteY1315" fmla="*/ 1122426 h 1273968"/>
                <a:gd name="connsiteX1316" fmla="*/ 1291304 w 1489995"/>
                <a:gd name="connsiteY1316" fmla="*/ 1124331 h 1273968"/>
                <a:gd name="connsiteX1317" fmla="*/ 1290066 w 1489995"/>
                <a:gd name="connsiteY1317" fmla="*/ 1127760 h 1273968"/>
                <a:gd name="connsiteX1318" fmla="*/ 1293876 w 1489995"/>
                <a:gd name="connsiteY1318" fmla="*/ 1132046 h 1273968"/>
                <a:gd name="connsiteX1319" fmla="*/ 1290161 w 1489995"/>
                <a:gd name="connsiteY1319" fmla="*/ 1140524 h 1273968"/>
                <a:gd name="connsiteX1320" fmla="*/ 1286542 w 1489995"/>
                <a:gd name="connsiteY1320" fmla="*/ 1137761 h 1273968"/>
                <a:gd name="connsiteX1321" fmla="*/ 1287209 w 1489995"/>
                <a:gd name="connsiteY1321" fmla="*/ 1142524 h 1273968"/>
                <a:gd name="connsiteX1322" fmla="*/ 1285399 w 1489995"/>
                <a:gd name="connsiteY1322" fmla="*/ 1141190 h 1273968"/>
                <a:gd name="connsiteX1323" fmla="*/ 1285589 w 1489995"/>
                <a:gd name="connsiteY1323" fmla="*/ 1142714 h 1273968"/>
                <a:gd name="connsiteX1324" fmla="*/ 1283970 w 1489995"/>
                <a:gd name="connsiteY1324" fmla="*/ 1142905 h 1273968"/>
                <a:gd name="connsiteX1325" fmla="*/ 1279684 w 1489995"/>
                <a:gd name="connsiteY1325" fmla="*/ 1146715 h 1273968"/>
                <a:gd name="connsiteX1326" fmla="*/ 1280255 w 1489995"/>
                <a:gd name="connsiteY1326" fmla="*/ 1151477 h 1273968"/>
                <a:gd name="connsiteX1327" fmla="*/ 1274159 w 1489995"/>
                <a:gd name="connsiteY1327" fmla="*/ 1153859 h 1273968"/>
                <a:gd name="connsiteX1328" fmla="*/ 1273969 w 1489995"/>
                <a:gd name="connsiteY1328" fmla="*/ 1152239 h 1273968"/>
                <a:gd name="connsiteX1329" fmla="*/ 1270826 w 1489995"/>
                <a:gd name="connsiteY1329" fmla="*/ 1152620 h 1273968"/>
                <a:gd name="connsiteX1330" fmla="*/ 1266254 w 1489995"/>
                <a:gd name="connsiteY1330" fmla="*/ 1154811 h 1273968"/>
                <a:gd name="connsiteX1331" fmla="*/ 1264253 w 1489995"/>
                <a:gd name="connsiteY1331" fmla="*/ 1151858 h 1273968"/>
                <a:gd name="connsiteX1332" fmla="*/ 1261586 w 1489995"/>
                <a:gd name="connsiteY1332" fmla="*/ 1155383 h 1273968"/>
                <a:gd name="connsiteX1333" fmla="*/ 1259110 w 1489995"/>
                <a:gd name="connsiteY1333" fmla="*/ 1149287 h 1273968"/>
                <a:gd name="connsiteX1334" fmla="*/ 1252252 w 1489995"/>
                <a:gd name="connsiteY1334" fmla="*/ 1145381 h 1273968"/>
                <a:gd name="connsiteX1335" fmla="*/ 1251109 w 1489995"/>
                <a:gd name="connsiteY1335" fmla="*/ 1148715 h 1273968"/>
                <a:gd name="connsiteX1336" fmla="*/ 1246156 w 1489995"/>
                <a:gd name="connsiteY1336" fmla="*/ 1147762 h 1273968"/>
                <a:gd name="connsiteX1337" fmla="*/ 1247108 w 1489995"/>
                <a:gd name="connsiteY1337" fmla="*/ 1155668 h 1273968"/>
                <a:gd name="connsiteX1338" fmla="*/ 1247108 w 1489995"/>
                <a:gd name="connsiteY1338" fmla="*/ 1155668 h 1273968"/>
                <a:gd name="connsiteX1339" fmla="*/ 1244156 w 1489995"/>
                <a:gd name="connsiteY1339" fmla="*/ 1157669 h 1273968"/>
                <a:gd name="connsiteX1340" fmla="*/ 1240631 w 1489995"/>
                <a:gd name="connsiteY1340" fmla="*/ 1154906 h 1273968"/>
                <a:gd name="connsiteX1341" fmla="*/ 1241774 w 1489995"/>
                <a:gd name="connsiteY1341" fmla="*/ 1151573 h 1273968"/>
                <a:gd name="connsiteX1342" fmla="*/ 1237107 w 1489995"/>
                <a:gd name="connsiteY1342" fmla="*/ 1152144 h 1273968"/>
                <a:gd name="connsiteX1343" fmla="*/ 1237488 w 1489995"/>
                <a:gd name="connsiteY1343" fmla="*/ 1155287 h 1273968"/>
                <a:gd name="connsiteX1344" fmla="*/ 1241012 w 1489995"/>
                <a:gd name="connsiteY1344" fmla="*/ 1158050 h 1273968"/>
                <a:gd name="connsiteX1345" fmla="*/ 1240060 w 1489995"/>
                <a:gd name="connsiteY1345" fmla="*/ 1163003 h 1273968"/>
                <a:gd name="connsiteX1346" fmla="*/ 1235297 w 1489995"/>
                <a:gd name="connsiteY1346" fmla="*/ 1163574 h 1273968"/>
                <a:gd name="connsiteX1347" fmla="*/ 1235678 w 1489995"/>
                <a:gd name="connsiteY1347" fmla="*/ 1166717 h 1273968"/>
                <a:gd name="connsiteX1348" fmla="*/ 1234345 w 1489995"/>
                <a:gd name="connsiteY1348" fmla="*/ 1168527 h 1273968"/>
                <a:gd name="connsiteX1349" fmla="*/ 1233202 w 1489995"/>
                <a:gd name="connsiteY1349" fmla="*/ 1171861 h 1273968"/>
                <a:gd name="connsiteX1350" fmla="*/ 1235107 w 1489995"/>
                <a:gd name="connsiteY1350" fmla="*/ 1174814 h 1273968"/>
                <a:gd name="connsiteX1351" fmla="*/ 1233773 w 1489995"/>
                <a:gd name="connsiteY1351" fmla="*/ 1176623 h 1273968"/>
                <a:gd name="connsiteX1352" fmla="*/ 1233964 w 1489995"/>
                <a:gd name="connsiteY1352" fmla="*/ 1178147 h 1273968"/>
                <a:gd name="connsiteX1353" fmla="*/ 1225868 w 1489995"/>
                <a:gd name="connsiteY1353" fmla="*/ 1177576 h 1273968"/>
                <a:gd name="connsiteX1354" fmla="*/ 1225296 w 1489995"/>
                <a:gd name="connsiteY1354" fmla="*/ 1172909 h 1273968"/>
                <a:gd name="connsiteX1355" fmla="*/ 1222915 w 1489995"/>
                <a:gd name="connsiteY1355" fmla="*/ 1166812 h 1273968"/>
                <a:gd name="connsiteX1356" fmla="*/ 1215962 w 1489995"/>
                <a:gd name="connsiteY1356" fmla="*/ 1162812 h 1273968"/>
                <a:gd name="connsiteX1357" fmla="*/ 1216343 w 1489995"/>
                <a:gd name="connsiteY1357" fmla="*/ 1165955 h 1273968"/>
                <a:gd name="connsiteX1358" fmla="*/ 1214628 w 1489995"/>
                <a:gd name="connsiteY1358" fmla="*/ 1164622 h 1273968"/>
                <a:gd name="connsiteX1359" fmla="*/ 1214818 w 1489995"/>
                <a:gd name="connsiteY1359" fmla="*/ 1166146 h 1273968"/>
                <a:gd name="connsiteX1360" fmla="*/ 1211675 w 1489995"/>
                <a:gd name="connsiteY1360" fmla="*/ 1166622 h 1273968"/>
                <a:gd name="connsiteX1361" fmla="*/ 1206913 w 1489995"/>
                <a:gd name="connsiteY1361" fmla="*/ 1167194 h 1273968"/>
                <a:gd name="connsiteX1362" fmla="*/ 1205103 w 1489995"/>
                <a:gd name="connsiteY1362" fmla="*/ 1165860 h 1273968"/>
                <a:gd name="connsiteX1363" fmla="*/ 1203103 w 1489995"/>
                <a:gd name="connsiteY1363" fmla="*/ 1162907 h 1273968"/>
                <a:gd name="connsiteX1364" fmla="*/ 1202912 w 1489995"/>
                <a:gd name="connsiteY1364" fmla="*/ 1161288 h 1273968"/>
                <a:gd name="connsiteX1365" fmla="*/ 1198245 w 1489995"/>
                <a:gd name="connsiteY1365" fmla="*/ 1161860 h 1273968"/>
                <a:gd name="connsiteX1366" fmla="*/ 1199198 w 1489995"/>
                <a:gd name="connsiteY1366" fmla="*/ 1157002 h 1273968"/>
                <a:gd name="connsiteX1367" fmla="*/ 1200722 w 1489995"/>
                <a:gd name="connsiteY1367" fmla="*/ 1156716 h 1273968"/>
                <a:gd name="connsiteX1368" fmla="*/ 1202150 w 1489995"/>
                <a:gd name="connsiteY1368" fmla="*/ 1155002 h 1273968"/>
                <a:gd name="connsiteX1369" fmla="*/ 1197388 w 1489995"/>
                <a:gd name="connsiteY1369" fmla="*/ 1155573 h 1273968"/>
                <a:gd name="connsiteX1370" fmla="*/ 1196245 w 1489995"/>
                <a:gd name="connsiteY1370" fmla="*/ 1158907 h 1273968"/>
                <a:gd name="connsiteX1371" fmla="*/ 1194435 w 1489995"/>
                <a:gd name="connsiteY1371" fmla="*/ 1157573 h 1273968"/>
                <a:gd name="connsiteX1372" fmla="*/ 1191292 w 1489995"/>
                <a:gd name="connsiteY1372" fmla="*/ 1157954 h 1273968"/>
                <a:gd name="connsiteX1373" fmla="*/ 1192339 w 1489995"/>
                <a:gd name="connsiteY1373" fmla="*/ 1165860 h 1273968"/>
                <a:gd name="connsiteX1374" fmla="*/ 1187196 w 1489995"/>
                <a:gd name="connsiteY1374" fmla="*/ 1163288 h 1273968"/>
                <a:gd name="connsiteX1375" fmla="*/ 1179481 w 1489995"/>
                <a:gd name="connsiteY1375" fmla="*/ 1165860 h 1273968"/>
                <a:gd name="connsiteX1376" fmla="*/ 1177862 w 1489995"/>
                <a:gd name="connsiteY1376" fmla="*/ 1166051 h 1273968"/>
                <a:gd name="connsiteX1377" fmla="*/ 1178338 w 1489995"/>
                <a:gd name="connsiteY1377" fmla="*/ 1169194 h 1273968"/>
                <a:gd name="connsiteX1378" fmla="*/ 1175099 w 1489995"/>
                <a:gd name="connsiteY1378" fmla="*/ 1169670 h 1273968"/>
                <a:gd name="connsiteX1379" fmla="*/ 1171575 w 1489995"/>
                <a:gd name="connsiteY1379" fmla="*/ 1166908 h 1273968"/>
                <a:gd name="connsiteX1380" fmla="*/ 1170432 w 1489995"/>
                <a:gd name="connsiteY1380" fmla="*/ 1170241 h 1273968"/>
                <a:gd name="connsiteX1381" fmla="*/ 1167289 w 1489995"/>
                <a:gd name="connsiteY1381" fmla="*/ 1170623 h 1273968"/>
                <a:gd name="connsiteX1382" fmla="*/ 1163860 w 1489995"/>
                <a:gd name="connsiteY1382" fmla="*/ 1169480 h 1273968"/>
                <a:gd name="connsiteX1383" fmla="*/ 1157954 w 1489995"/>
                <a:gd name="connsiteY1383" fmla="*/ 1173385 h 1273968"/>
                <a:gd name="connsiteX1384" fmla="*/ 1150715 w 1489995"/>
                <a:gd name="connsiteY1384" fmla="*/ 1166336 h 1273968"/>
                <a:gd name="connsiteX1385" fmla="*/ 1146143 w 1489995"/>
                <a:gd name="connsiteY1385" fmla="*/ 1168527 h 1273968"/>
                <a:gd name="connsiteX1386" fmla="*/ 1143952 w 1489995"/>
                <a:gd name="connsiteY1386" fmla="*/ 1163955 h 1273968"/>
                <a:gd name="connsiteX1387" fmla="*/ 1137856 w 1489995"/>
                <a:gd name="connsiteY1387" fmla="*/ 1166336 h 1273968"/>
                <a:gd name="connsiteX1388" fmla="*/ 1136618 w 1489995"/>
                <a:gd name="connsiteY1388" fmla="*/ 1169765 h 1273968"/>
                <a:gd name="connsiteX1389" fmla="*/ 1134904 w 1489995"/>
                <a:gd name="connsiteY1389" fmla="*/ 1168337 h 1273968"/>
                <a:gd name="connsiteX1390" fmla="*/ 1133475 w 1489995"/>
                <a:gd name="connsiteY1390" fmla="*/ 1170146 h 1273968"/>
                <a:gd name="connsiteX1391" fmla="*/ 1131284 w 1489995"/>
                <a:gd name="connsiteY1391" fmla="*/ 1165574 h 1273968"/>
                <a:gd name="connsiteX1392" fmla="*/ 1129760 w 1489995"/>
                <a:gd name="connsiteY1392" fmla="*/ 1165765 h 1273968"/>
                <a:gd name="connsiteX1393" fmla="*/ 1129951 w 1489995"/>
                <a:gd name="connsiteY1393" fmla="*/ 1167384 h 1273968"/>
                <a:gd name="connsiteX1394" fmla="*/ 1124807 w 1489995"/>
                <a:gd name="connsiteY1394" fmla="*/ 1164812 h 1273968"/>
                <a:gd name="connsiteX1395" fmla="*/ 1126236 w 1489995"/>
                <a:gd name="connsiteY1395" fmla="*/ 1163098 h 1273968"/>
                <a:gd name="connsiteX1396" fmla="*/ 1120902 w 1489995"/>
                <a:gd name="connsiteY1396" fmla="*/ 1158907 h 1273968"/>
                <a:gd name="connsiteX1397" fmla="*/ 1120616 w 1489995"/>
                <a:gd name="connsiteY1397" fmla="*/ 1157383 h 1273968"/>
                <a:gd name="connsiteX1398" fmla="*/ 1108234 w 1489995"/>
                <a:gd name="connsiteY1398" fmla="*/ 1160526 h 1273968"/>
                <a:gd name="connsiteX1399" fmla="*/ 1101947 w 1489995"/>
                <a:gd name="connsiteY1399" fmla="*/ 1161288 h 1273968"/>
                <a:gd name="connsiteX1400" fmla="*/ 1096804 w 1489995"/>
                <a:gd name="connsiteY1400" fmla="*/ 1171575 h 1273968"/>
                <a:gd name="connsiteX1401" fmla="*/ 1100328 w 1489995"/>
                <a:gd name="connsiteY1401" fmla="*/ 1174337 h 1273968"/>
                <a:gd name="connsiteX1402" fmla="*/ 1105281 w 1489995"/>
                <a:gd name="connsiteY1402" fmla="*/ 1175290 h 1273968"/>
                <a:gd name="connsiteX1403" fmla="*/ 1109281 w 1489995"/>
                <a:gd name="connsiteY1403" fmla="*/ 1181195 h 1273968"/>
                <a:gd name="connsiteX1404" fmla="*/ 1107853 w 1489995"/>
                <a:gd name="connsiteY1404" fmla="*/ 1183005 h 1273968"/>
                <a:gd name="connsiteX1405" fmla="*/ 1110043 w 1489995"/>
                <a:gd name="connsiteY1405" fmla="*/ 1187577 h 1273968"/>
                <a:gd name="connsiteX1406" fmla="*/ 1108710 w 1489995"/>
                <a:gd name="connsiteY1406" fmla="*/ 1189291 h 1273968"/>
                <a:gd name="connsiteX1407" fmla="*/ 1102614 w 1489995"/>
                <a:gd name="connsiteY1407" fmla="*/ 1191673 h 1273968"/>
                <a:gd name="connsiteX1408" fmla="*/ 1091089 w 1489995"/>
                <a:gd name="connsiteY1408" fmla="*/ 1189958 h 1273968"/>
                <a:gd name="connsiteX1409" fmla="*/ 1088612 w 1489995"/>
                <a:gd name="connsiteY1409" fmla="*/ 1195102 h 1273968"/>
                <a:gd name="connsiteX1410" fmla="*/ 1081468 w 1489995"/>
                <a:gd name="connsiteY1410" fmla="*/ 1189577 h 1273968"/>
                <a:gd name="connsiteX1411" fmla="*/ 1076706 w 1489995"/>
                <a:gd name="connsiteY1411" fmla="*/ 1190244 h 1273968"/>
                <a:gd name="connsiteX1412" fmla="*/ 1073944 w 1489995"/>
                <a:gd name="connsiteY1412" fmla="*/ 1193768 h 1273968"/>
                <a:gd name="connsiteX1413" fmla="*/ 1074801 w 1489995"/>
                <a:gd name="connsiteY1413" fmla="*/ 1200055 h 1273968"/>
                <a:gd name="connsiteX1414" fmla="*/ 1073372 w 1489995"/>
                <a:gd name="connsiteY1414" fmla="*/ 1201865 h 1273968"/>
                <a:gd name="connsiteX1415" fmla="*/ 1072039 w 1489995"/>
                <a:gd name="connsiteY1415" fmla="*/ 1203579 h 1273968"/>
                <a:gd name="connsiteX1416" fmla="*/ 1075563 w 1489995"/>
                <a:gd name="connsiteY1416" fmla="*/ 1206341 h 1273968"/>
                <a:gd name="connsiteX1417" fmla="*/ 1079754 w 1489995"/>
                <a:gd name="connsiteY1417" fmla="*/ 1213866 h 1273968"/>
                <a:gd name="connsiteX1418" fmla="*/ 1076611 w 1489995"/>
                <a:gd name="connsiteY1418" fmla="*/ 1214247 h 1273968"/>
                <a:gd name="connsiteX1419" fmla="*/ 1071848 w 1489995"/>
                <a:gd name="connsiteY1419" fmla="*/ 1214914 h 1273968"/>
                <a:gd name="connsiteX1420" fmla="*/ 1070515 w 1489995"/>
                <a:gd name="connsiteY1420" fmla="*/ 1216628 h 1273968"/>
                <a:gd name="connsiteX1421" fmla="*/ 1071277 w 1489995"/>
                <a:gd name="connsiteY1421" fmla="*/ 1223010 h 1273968"/>
                <a:gd name="connsiteX1422" fmla="*/ 1066514 w 1489995"/>
                <a:gd name="connsiteY1422" fmla="*/ 1223582 h 1273968"/>
                <a:gd name="connsiteX1423" fmla="*/ 1065562 w 1489995"/>
                <a:gd name="connsiteY1423" fmla="*/ 1228535 h 1273968"/>
                <a:gd name="connsiteX1424" fmla="*/ 1064038 w 1489995"/>
                <a:gd name="connsiteY1424" fmla="*/ 1228725 h 1273968"/>
                <a:gd name="connsiteX1425" fmla="*/ 1058894 w 1489995"/>
                <a:gd name="connsiteY1425" fmla="*/ 1226153 h 1273968"/>
                <a:gd name="connsiteX1426" fmla="*/ 1056323 w 1489995"/>
                <a:gd name="connsiteY1426" fmla="*/ 1231297 h 1273968"/>
                <a:gd name="connsiteX1427" fmla="*/ 1051369 w 1489995"/>
                <a:gd name="connsiteY1427" fmla="*/ 1230344 h 1273968"/>
                <a:gd name="connsiteX1428" fmla="*/ 1048988 w 1489995"/>
                <a:gd name="connsiteY1428" fmla="*/ 1224248 h 1273968"/>
                <a:gd name="connsiteX1429" fmla="*/ 1041844 w 1489995"/>
                <a:gd name="connsiteY1429" fmla="*/ 1218724 h 1273968"/>
                <a:gd name="connsiteX1430" fmla="*/ 1046226 w 1489995"/>
                <a:gd name="connsiteY1430" fmla="*/ 1214914 h 1273968"/>
                <a:gd name="connsiteX1431" fmla="*/ 1041083 w 1489995"/>
                <a:gd name="connsiteY1431" fmla="*/ 1212342 h 1273968"/>
                <a:gd name="connsiteX1432" fmla="*/ 1039082 w 1489995"/>
                <a:gd name="connsiteY1432" fmla="*/ 1209389 h 1273968"/>
                <a:gd name="connsiteX1433" fmla="*/ 1040511 w 1489995"/>
                <a:gd name="connsiteY1433" fmla="*/ 1207675 h 1273968"/>
                <a:gd name="connsiteX1434" fmla="*/ 1038701 w 1489995"/>
                <a:gd name="connsiteY1434" fmla="*/ 1206246 h 1273968"/>
                <a:gd name="connsiteX1435" fmla="*/ 1036892 w 1489995"/>
                <a:gd name="connsiteY1435" fmla="*/ 1204912 h 1273968"/>
                <a:gd name="connsiteX1436" fmla="*/ 1035463 w 1489995"/>
                <a:gd name="connsiteY1436" fmla="*/ 1193864 h 1273968"/>
                <a:gd name="connsiteX1437" fmla="*/ 1031176 w 1489995"/>
                <a:gd name="connsiteY1437" fmla="*/ 1197578 h 1273968"/>
                <a:gd name="connsiteX1438" fmla="*/ 1032319 w 1489995"/>
                <a:gd name="connsiteY1438" fmla="*/ 1194245 h 1273968"/>
                <a:gd name="connsiteX1439" fmla="*/ 1031938 w 1489995"/>
                <a:gd name="connsiteY1439" fmla="*/ 1191101 h 1273968"/>
                <a:gd name="connsiteX1440" fmla="*/ 1030319 w 1489995"/>
                <a:gd name="connsiteY1440" fmla="*/ 1191292 h 1273968"/>
                <a:gd name="connsiteX1441" fmla="*/ 1031748 w 1489995"/>
                <a:gd name="connsiteY1441" fmla="*/ 1189482 h 1273968"/>
                <a:gd name="connsiteX1442" fmla="*/ 1031176 w 1489995"/>
                <a:gd name="connsiteY1442" fmla="*/ 1184815 h 1273968"/>
                <a:gd name="connsiteX1443" fmla="*/ 1026223 w 1489995"/>
                <a:gd name="connsiteY1443" fmla="*/ 1183767 h 1273968"/>
                <a:gd name="connsiteX1444" fmla="*/ 1029367 w 1489995"/>
                <a:gd name="connsiteY1444" fmla="*/ 1183386 h 1273968"/>
                <a:gd name="connsiteX1445" fmla="*/ 1032510 w 1489995"/>
                <a:gd name="connsiteY1445" fmla="*/ 1183005 h 1273968"/>
                <a:gd name="connsiteX1446" fmla="*/ 1032319 w 1489995"/>
                <a:gd name="connsiteY1446" fmla="*/ 1181386 h 1273968"/>
                <a:gd name="connsiteX1447" fmla="*/ 1025557 w 1489995"/>
                <a:gd name="connsiteY1447" fmla="*/ 1179100 h 1273968"/>
                <a:gd name="connsiteX1448" fmla="*/ 1025176 w 1489995"/>
                <a:gd name="connsiteY1448" fmla="*/ 1175957 h 1273968"/>
                <a:gd name="connsiteX1449" fmla="*/ 1024223 w 1489995"/>
                <a:gd name="connsiteY1449" fmla="*/ 1180814 h 1273968"/>
                <a:gd name="connsiteX1450" fmla="*/ 1021080 w 1489995"/>
                <a:gd name="connsiteY1450" fmla="*/ 1181291 h 1273968"/>
                <a:gd name="connsiteX1451" fmla="*/ 1019080 w 1489995"/>
                <a:gd name="connsiteY1451" fmla="*/ 1178338 h 1273968"/>
                <a:gd name="connsiteX1452" fmla="*/ 1016127 w 1489995"/>
                <a:gd name="connsiteY1452" fmla="*/ 1180243 h 1273968"/>
                <a:gd name="connsiteX1453" fmla="*/ 1012603 w 1489995"/>
                <a:gd name="connsiteY1453" fmla="*/ 1190339 h 1273968"/>
                <a:gd name="connsiteX1454" fmla="*/ 1014413 w 1489995"/>
                <a:gd name="connsiteY1454" fmla="*/ 1191768 h 1273968"/>
                <a:gd name="connsiteX1455" fmla="*/ 1012984 w 1489995"/>
                <a:gd name="connsiteY1455" fmla="*/ 1193483 h 1273968"/>
                <a:gd name="connsiteX1456" fmla="*/ 1009650 w 1489995"/>
                <a:gd name="connsiteY1456" fmla="*/ 1192340 h 1273968"/>
                <a:gd name="connsiteX1457" fmla="*/ 1009079 w 1489995"/>
                <a:gd name="connsiteY1457" fmla="*/ 1187577 h 1273968"/>
                <a:gd name="connsiteX1458" fmla="*/ 1005268 w 1489995"/>
                <a:gd name="connsiteY1458" fmla="*/ 1183291 h 1273968"/>
                <a:gd name="connsiteX1459" fmla="*/ 1003744 w 1489995"/>
                <a:gd name="connsiteY1459" fmla="*/ 1183481 h 1273968"/>
                <a:gd name="connsiteX1460" fmla="*/ 998601 w 1489995"/>
                <a:gd name="connsiteY1460" fmla="*/ 1180910 h 1273968"/>
                <a:gd name="connsiteX1461" fmla="*/ 992791 w 1489995"/>
                <a:gd name="connsiteY1461" fmla="*/ 1173671 h 1273968"/>
                <a:gd name="connsiteX1462" fmla="*/ 988219 w 1489995"/>
                <a:gd name="connsiteY1462" fmla="*/ 1163003 h 1273968"/>
                <a:gd name="connsiteX1463" fmla="*/ 985076 w 1489995"/>
                <a:gd name="connsiteY1463" fmla="*/ 1163384 h 1273968"/>
                <a:gd name="connsiteX1464" fmla="*/ 981932 w 1489995"/>
                <a:gd name="connsiteY1464" fmla="*/ 1163765 h 1273968"/>
                <a:gd name="connsiteX1465" fmla="*/ 965359 w 1489995"/>
                <a:gd name="connsiteY1465" fmla="*/ 1159478 h 1273968"/>
                <a:gd name="connsiteX1466" fmla="*/ 962977 w 1489995"/>
                <a:gd name="connsiteY1466" fmla="*/ 1153382 h 1273968"/>
                <a:gd name="connsiteX1467" fmla="*/ 953643 w 1489995"/>
                <a:gd name="connsiteY1467" fmla="*/ 1143286 h 1273968"/>
                <a:gd name="connsiteX1468" fmla="*/ 955072 w 1489995"/>
                <a:gd name="connsiteY1468" fmla="*/ 1141571 h 1273968"/>
                <a:gd name="connsiteX1469" fmla="*/ 953262 w 1489995"/>
                <a:gd name="connsiteY1469" fmla="*/ 1140143 h 1273968"/>
                <a:gd name="connsiteX1470" fmla="*/ 952500 w 1489995"/>
                <a:gd name="connsiteY1470" fmla="*/ 1146715 h 1273968"/>
                <a:gd name="connsiteX1471" fmla="*/ 951738 w 1489995"/>
                <a:gd name="connsiteY1471" fmla="*/ 1153192 h 1273968"/>
                <a:gd name="connsiteX1472" fmla="*/ 943832 w 1489995"/>
                <a:gd name="connsiteY1472" fmla="*/ 1154240 h 1273968"/>
                <a:gd name="connsiteX1473" fmla="*/ 944023 w 1489995"/>
                <a:gd name="connsiteY1473" fmla="*/ 1155764 h 1273968"/>
                <a:gd name="connsiteX1474" fmla="*/ 941070 w 1489995"/>
                <a:gd name="connsiteY1474" fmla="*/ 1157764 h 1273968"/>
                <a:gd name="connsiteX1475" fmla="*/ 941260 w 1489995"/>
                <a:gd name="connsiteY1475" fmla="*/ 1159383 h 1273968"/>
                <a:gd name="connsiteX1476" fmla="*/ 939546 w 1489995"/>
                <a:gd name="connsiteY1476" fmla="*/ 1157954 h 1273968"/>
                <a:gd name="connsiteX1477" fmla="*/ 936784 w 1489995"/>
                <a:gd name="connsiteY1477" fmla="*/ 1161479 h 1273968"/>
                <a:gd name="connsiteX1478" fmla="*/ 936974 w 1489995"/>
                <a:gd name="connsiteY1478" fmla="*/ 1163098 h 1273968"/>
                <a:gd name="connsiteX1479" fmla="*/ 940118 w 1489995"/>
                <a:gd name="connsiteY1479" fmla="*/ 1162717 h 1273968"/>
                <a:gd name="connsiteX1480" fmla="*/ 939546 w 1489995"/>
                <a:gd name="connsiteY1480" fmla="*/ 1170813 h 1273968"/>
                <a:gd name="connsiteX1481" fmla="*/ 927926 w 1489995"/>
                <a:gd name="connsiteY1481" fmla="*/ 1167479 h 1273968"/>
                <a:gd name="connsiteX1482" fmla="*/ 928306 w 1489995"/>
                <a:gd name="connsiteY1482" fmla="*/ 1170623 h 1273968"/>
                <a:gd name="connsiteX1483" fmla="*/ 930116 w 1489995"/>
                <a:gd name="connsiteY1483" fmla="*/ 1171956 h 1273968"/>
                <a:gd name="connsiteX1484" fmla="*/ 925354 w 1489995"/>
                <a:gd name="connsiteY1484" fmla="*/ 1172623 h 1273968"/>
                <a:gd name="connsiteX1485" fmla="*/ 926878 w 1489995"/>
                <a:gd name="connsiteY1485" fmla="*/ 1172432 h 1273968"/>
                <a:gd name="connsiteX1486" fmla="*/ 928878 w 1489995"/>
                <a:gd name="connsiteY1486" fmla="*/ 1175385 h 1273968"/>
                <a:gd name="connsiteX1487" fmla="*/ 927544 w 1489995"/>
                <a:gd name="connsiteY1487" fmla="*/ 1177100 h 1273968"/>
                <a:gd name="connsiteX1488" fmla="*/ 930878 w 1489995"/>
                <a:gd name="connsiteY1488" fmla="*/ 1178338 h 1273968"/>
                <a:gd name="connsiteX1489" fmla="*/ 928306 w 1489995"/>
                <a:gd name="connsiteY1489" fmla="*/ 1183481 h 1273968"/>
                <a:gd name="connsiteX1490" fmla="*/ 930116 w 1489995"/>
                <a:gd name="connsiteY1490" fmla="*/ 1184815 h 1273968"/>
                <a:gd name="connsiteX1491" fmla="*/ 926973 w 1489995"/>
                <a:gd name="connsiteY1491" fmla="*/ 1185196 h 1273968"/>
                <a:gd name="connsiteX1492" fmla="*/ 925735 w 1489995"/>
                <a:gd name="connsiteY1492" fmla="*/ 1188625 h 1273968"/>
                <a:gd name="connsiteX1493" fmla="*/ 924211 w 1489995"/>
                <a:gd name="connsiteY1493" fmla="*/ 1188815 h 1273968"/>
                <a:gd name="connsiteX1494" fmla="*/ 923449 w 1489995"/>
                <a:gd name="connsiteY1494" fmla="*/ 1195292 h 1273968"/>
                <a:gd name="connsiteX1495" fmla="*/ 921830 w 1489995"/>
                <a:gd name="connsiteY1495" fmla="*/ 1195483 h 1273968"/>
                <a:gd name="connsiteX1496" fmla="*/ 920687 w 1489995"/>
                <a:gd name="connsiteY1496" fmla="*/ 1198816 h 1273968"/>
                <a:gd name="connsiteX1497" fmla="*/ 922210 w 1489995"/>
                <a:gd name="connsiteY1497" fmla="*/ 1198626 h 1273968"/>
                <a:gd name="connsiteX1498" fmla="*/ 922687 w 1489995"/>
                <a:gd name="connsiteY1498" fmla="*/ 1201769 h 1273968"/>
                <a:gd name="connsiteX1499" fmla="*/ 927544 w 1489995"/>
                <a:gd name="connsiteY1499" fmla="*/ 1202817 h 1273968"/>
                <a:gd name="connsiteX1500" fmla="*/ 925259 w 1489995"/>
                <a:gd name="connsiteY1500" fmla="*/ 1209485 h 1273968"/>
                <a:gd name="connsiteX1501" fmla="*/ 927259 w 1489995"/>
                <a:gd name="connsiteY1501" fmla="*/ 1212437 h 1273968"/>
                <a:gd name="connsiteX1502" fmla="*/ 930212 w 1489995"/>
                <a:gd name="connsiteY1502" fmla="*/ 1210437 h 1273968"/>
                <a:gd name="connsiteX1503" fmla="*/ 930593 w 1489995"/>
                <a:gd name="connsiteY1503" fmla="*/ 1213676 h 1273968"/>
                <a:gd name="connsiteX1504" fmla="*/ 928973 w 1489995"/>
                <a:gd name="connsiteY1504" fmla="*/ 1213866 h 1273968"/>
                <a:gd name="connsiteX1505" fmla="*/ 934117 w 1489995"/>
                <a:gd name="connsiteY1505" fmla="*/ 1216343 h 1273968"/>
                <a:gd name="connsiteX1506" fmla="*/ 934498 w 1489995"/>
                <a:gd name="connsiteY1506" fmla="*/ 1219581 h 1273968"/>
                <a:gd name="connsiteX1507" fmla="*/ 930021 w 1489995"/>
                <a:gd name="connsiteY1507" fmla="*/ 1221677 h 1273968"/>
                <a:gd name="connsiteX1508" fmla="*/ 934688 w 1489995"/>
                <a:gd name="connsiteY1508" fmla="*/ 1221105 h 1273968"/>
                <a:gd name="connsiteX1509" fmla="*/ 933355 w 1489995"/>
                <a:gd name="connsiteY1509" fmla="*/ 1222915 h 1273968"/>
                <a:gd name="connsiteX1510" fmla="*/ 928783 w 1489995"/>
                <a:gd name="connsiteY1510" fmla="*/ 1225106 h 1273968"/>
                <a:gd name="connsiteX1511" fmla="*/ 925449 w 1489995"/>
                <a:gd name="connsiteY1511" fmla="*/ 1223867 h 1273968"/>
                <a:gd name="connsiteX1512" fmla="*/ 924115 w 1489995"/>
                <a:gd name="connsiteY1512" fmla="*/ 1225677 h 1273968"/>
                <a:gd name="connsiteX1513" fmla="*/ 924306 w 1489995"/>
                <a:gd name="connsiteY1513" fmla="*/ 1227296 h 1273968"/>
                <a:gd name="connsiteX1514" fmla="*/ 916591 w 1489995"/>
                <a:gd name="connsiteY1514" fmla="*/ 1229868 h 1273968"/>
                <a:gd name="connsiteX1515" fmla="*/ 916781 w 1489995"/>
                <a:gd name="connsiteY1515" fmla="*/ 1231392 h 1273968"/>
                <a:gd name="connsiteX1516" fmla="*/ 913638 w 1489995"/>
                <a:gd name="connsiteY1516" fmla="*/ 1231868 h 1273968"/>
                <a:gd name="connsiteX1517" fmla="*/ 913257 w 1489995"/>
                <a:gd name="connsiteY1517" fmla="*/ 1228630 h 1273968"/>
                <a:gd name="connsiteX1518" fmla="*/ 906971 w 1489995"/>
                <a:gd name="connsiteY1518" fmla="*/ 1229487 h 1273968"/>
                <a:gd name="connsiteX1519" fmla="*/ 903542 w 1489995"/>
                <a:gd name="connsiteY1519" fmla="*/ 1228249 h 1273968"/>
                <a:gd name="connsiteX1520" fmla="*/ 902208 w 1489995"/>
                <a:gd name="connsiteY1520" fmla="*/ 1230059 h 1273968"/>
                <a:gd name="connsiteX1521" fmla="*/ 902589 w 1489995"/>
                <a:gd name="connsiteY1521" fmla="*/ 1233202 h 1273968"/>
                <a:gd name="connsiteX1522" fmla="*/ 897826 w 1489995"/>
                <a:gd name="connsiteY1522" fmla="*/ 1233869 h 1273968"/>
                <a:gd name="connsiteX1523" fmla="*/ 896302 w 1489995"/>
                <a:gd name="connsiteY1523" fmla="*/ 1234059 h 1273968"/>
                <a:gd name="connsiteX1524" fmla="*/ 895350 w 1489995"/>
                <a:gd name="connsiteY1524" fmla="*/ 1239012 h 1273968"/>
                <a:gd name="connsiteX1525" fmla="*/ 888206 w 1489995"/>
                <a:gd name="connsiteY1525" fmla="*/ 1246251 h 1273968"/>
                <a:gd name="connsiteX1526" fmla="*/ 884872 w 1489995"/>
                <a:gd name="connsiteY1526" fmla="*/ 1245108 h 1273968"/>
                <a:gd name="connsiteX1527" fmla="*/ 883730 w 1489995"/>
                <a:gd name="connsiteY1527" fmla="*/ 1248442 h 1273968"/>
                <a:gd name="connsiteX1528" fmla="*/ 878776 w 1489995"/>
                <a:gd name="connsiteY1528" fmla="*/ 1247489 h 1273968"/>
                <a:gd name="connsiteX1529" fmla="*/ 876014 w 1489995"/>
                <a:gd name="connsiteY1529" fmla="*/ 1251014 h 1273968"/>
                <a:gd name="connsiteX1530" fmla="*/ 876395 w 1489995"/>
                <a:gd name="connsiteY1530" fmla="*/ 1254252 h 1273968"/>
                <a:gd name="connsiteX1531" fmla="*/ 871633 w 1489995"/>
                <a:gd name="connsiteY1531" fmla="*/ 1254824 h 1273968"/>
                <a:gd name="connsiteX1532" fmla="*/ 877443 w 1489995"/>
                <a:gd name="connsiteY1532" fmla="*/ 1262062 h 1273968"/>
                <a:gd name="connsiteX1533" fmla="*/ 874681 w 1489995"/>
                <a:gd name="connsiteY1533" fmla="*/ 1265682 h 1273968"/>
                <a:gd name="connsiteX1534" fmla="*/ 873919 w 1489995"/>
                <a:gd name="connsiteY1534" fmla="*/ 1272159 h 1273968"/>
                <a:gd name="connsiteX1535" fmla="*/ 872490 w 1489995"/>
                <a:gd name="connsiteY1535" fmla="*/ 1273969 h 1273968"/>
                <a:gd name="connsiteX1536" fmla="*/ 866013 w 1489995"/>
                <a:gd name="connsiteY1536" fmla="*/ 1273207 h 1273968"/>
                <a:gd name="connsiteX1537" fmla="*/ 864013 w 1489995"/>
                <a:gd name="connsiteY1537" fmla="*/ 1270254 h 1273968"/>
                <a:gd name="connsiteX1538" fmla="*/ 865156 w 1489995"/>
                <a:gd name="connsiteY1538" fmla="*/ 1266825 h 1273968"/>
                <a:gd name="connsiteX1539" fmla="*/ 862393 w 1489995"/>
                <a:gd name="connsiteY1539" fmla="*/ 1257586 h 1273968"/>
                <a:gd name="connsiteX1540" fmla="*/ 857440 w 1489995"/>
                <a:gd name="connsiteY1540" fmla="*/ 1256633 h 1273968"/>
                <a:gd name="connsiteX1541" fmla="*/ 843820 w 1489995"/>
                <a:gd name="connsiteY1541" fmla="*/ 1250347 h 1273968"/>
                <a:gd name="connsiteX1542" fmla="*/ 830009 w 1489995"/>
                <a:gd name="connsiteY1542" fmla="*/ 1255300 h 1273968"/>
                <a:gd name="connsiteX1543" fmla="*/ 826865 w 1489995"/>
                <a:gd name="connsiteY1543" fmla="*/ 1255681 h 1273968"/>
                <a:gd name="connsiteX1544" fmla="*/ 824675 w 1489995"/>
                <a:gd name="connsiteY1544" fmla="*/ 1251204 h 1273968"/>
                <a:gd name="connsiteX1545" fmla="*/ 820007 w 1489995"/>
                <a:gd name="connsiteY1545" fmla="*/ 1251776 h 1273968"/>
                <a:gd name="connsiteX1546" fmla="*/ 819531 w 1489995"/>
                <a:gd name="connsiteY1546" fmla="*/ 1248632 h 1273968"/>
                <a:gd name="connsiteX1547" fmla="*/ 822484 w 1489995"/>
                <a:gd name="connsiteY1547" fmla="*/ 1246632 h 1273968"/>
                <a:gd name="connsiteX1548" fmla="*/ 825627 w 1489995"/>
                <a:gd name="connsiteY1548" fmla="*/ 1246251 h 1273968"/>
                <a:gd name="connsiteX1549" fmla="*/ 826675 w 1489995"/>
                <a:gd name="connsiteY1549" fmla="*/ 1241298 h 1273968"/>
                <a:gd name="connsiteX1550" fmla="*/ 829437 w 1489995"/>
                <a:gd name="connsiteY1550" fmla="*/ 1237774 h 1273968"/>
                <a:gd name="connsiteX1551" fmla="*/ 830009 w 1489995"/>
                <a:gd name="connsiteY1551" fmla="*/ 1229678 h 1273968"/>
                <a:gd name="connsiteX1552" fmla="*/ 829532 w 1489995"/>
                <a:gd name="connsiteY1552" fmla="*/ 1226534 h 1273968"/>
                <a:gd name="connsiteX1553" fmla="*/ 828008 w 1489995"/>
                <a:gd name="connsiteY1553" fmla="*/ 1226725 h 1273968"/>
                <a:gd name="connsiteX1554" fmla="*/ 826580 w 1489995"/>
                <a:gd name="connsiteY1554" fmla="*/ 1228439 h 1273968"/>
                <a:gd name="connsiteX1555" fmla="*/ 825627 w 1489995"/>
                <a:gd name="connsiteY1555" fmla="*/ 1233392 h 1273968"/>
                <a:gd name="connsiteX1556" fmla="*/ 822674 w 1489995"/>
                <a:gd name="connsiteY1556" fmla="*/ 1235393 h 1273968"/>
                <a:gd name="connsiteX1557" fmla="*/ 817721 w 1489995"/>
                <a:gd name="connsiteY1557" fmla="*/ 1234440 h 1273968"/>
                <a:gd name="connsiteX1558" fmla="*/ 818197 w 1489995"/>
                <a:gd name="connsiteY1558" fmla="*/ 1237583 h 1273968"/>
                <a:gd name="connsiteX1559" fmla="*/ 814959 w 1489995"/>
                <a:gd name="connsiteY1559" fmla="*/ 1237964 h 1273968"/>
                <a:gd name="connsiteX1560" fmla="*/ 815816 w 1489995"/>
                <a:gd name="connsiteY1560" fmla="*/ 1231487 h 1273968"/>
                <a:gd name="connsiteX1561" fmla="*/ 810673 w 1489995"/>
                <a:gd name="connsiteY1561" fmla="*/ 1241774 h 1273968"/>
                <a:gd name="connsiteX1562" fmla="*/ 805720 w 1489995"/>
                <a:gd name="connsiteY1562" fmla="*/ 1240727 h 1273968"/>
                <a:gd name="connsiteX1563" fmla="*/ 807148 w 1489995"/>
                <a:gd name="connsiteY1563" fmla="*/ 1239012 h 1273968"/>
                <a:gd name="connsiteX1564" fmla="*/ 805529 w 1489995"/>
                <a:gd name="connsiteY1564" fmla="*/ 1239203 h 1273968"/>
                <a:gd name="connsiteX1565" fmla="*/ 804196 w 1489995"/>
                <a:gd name="connsiteY1565" fmla="*/ 1240917 h 1273968"/>
                <a:gd name="connsiteX1566" fmla="*/ 802196 w 1489995"/>
                <a:gd name="connsiteY1566" fmla="*/ 1237964 h 1273968"/>
                <a:gd name="connsiteX1567" fmla="*/ 800767 w 1489995"/>
                <a:gd name="connsiteY1567" fmla="*/ 1239774 h 1273968"/>
                <a:gd name="connsiteX1568" fmla="*/ 799052 w 1489995"/>
                <a:gd name="connsiteY1568" fmla="*/ 1238441 h 1273968"/>
                <a:gd name="connsiteX1569" fmla="*/ 794099 w 1489995"/>
                <a:gd name="connsiteY1569" fmla="*/ 1237393 h 1273968"/>
                <a:gd name="connsiteX1570" fmla="*/ 792099 w 1489995"/>
                <a:gd name="connsiteY1570" fmla="*/ 1234440 h 1273968"/>
                <a:gd name="connsiteX1571" fmla="*/ 789146 w 1489995"/>
                <a:gd name="connsiteY1571" fmla="*/ 1236440 h 1273968"/>
                <a:gd name="connsiteX1572" fmla="*/ 786384 w 1489995"/>
                <a:gd name="connsiteY1572" fmla="*/ 1240060 h 1273968"/>
                <a:gd name="connsiteX1573" fmla="*/ 784193 w 1489995"/>
                <a:gd name="connsiteY1573" fmla="*/ 1235488 h 1273968"/>
                <a:gd name="connsiteX1574" fmla="*/ 782860 w 1489995"/>
                <a:gd name="connsiteY1574" fmla="*/ 1237298 h 1273968"/>
                <a:gd name="connsiteX1575" fmla="*/ 782384 w 1489995"/>
                <a:gd name="connsiteY1575" fmla="*/ 1234154 h 1273968"/>
                <a:gd name="connsiteX1576" fmla="*/ 777907 w 1489995"/>
                <a:gd name="connsiteY1576" fmla="*/ 1236250 h 1273968"/>
                <a:gd name="connsiteX1577" fmla="*/ 777716 w 1489995"/>
                <a:gd name="connsiteY1577" fmla="*/ 1234726 h 1273968"/>
                <a:gd name="connsiteX1578" fmla="*/ 774383 w 1489995"/>
                <a:gd name="connsiteY1578" fmla="*/ 1233583 h 1273968"/>
                <a:gd name="connsiteX1579" fmla="*/ 776668 w 1489995"/>
                <a:gd name="connsiteY1579" fmla="*/ 1226820 h 1273968"/>
                <a:gd name="connsiteX1580" fmla="*/ 774954 w 1489995"/>
                <a:gd name="connsiteY1580" fmla="*/ 1225487 h 1273968"/>
                <a:gd name="connsiteX1581" fmla="*/ 770192 w 1489995"/>
                <a:gd name="connsiteY1581" fmla="*/ 1226058 h 1273968"/>
                <a:gd name="connsiteX1582" fmla="*/ 767429 w 1489995"/>
                <a:gd name="connsiteY1582" fmla="*/ 1229582 h 1273968"/>
                <a:gd name="connsiteX1583" fmla="*/ 762476 w 1489995"/>
                <a:gd name="connsiteY1583" fmla="*/ 1228630 h 1273968"/>
                <a:gd name="connsiteX1584" fmla="*/ 753809 w 1489995"/>
                <a:gd name="connsiteY1584" fmla="*/ 1223296 h 1273968"/>
                <a:gd name="connsiteX1585" fmla="*/ 749046 w 1489995"/>
                <a:gd name="connsiteY1585" fmla="*/ 1223962 h 1273968"/>
                <a:gd name="connsiteX1586" fmla="*/ 750856 w 1489995"/>
                <a:gd name="connsiteY1586" fmla="*/ 1225296 h 1273968"/>
                <a:gd name="connsiteX1587" fmla="*/ 748475 w 1489995"/>
                <a:gd name="connsiteY1587" fmla="*/ 1232059 h 1273968"/>
                <a:gd name="connsiteX1588" fmla="*/ 742379 w 1489995"/>
                <a:gd name="connsiteY1588" fmla="*/ 1234440 h 1273968"/>
                <a:gd name="connsiteX1589" fmla="*/ 744379 w 1489995"/>
                <a:gd name="connsiteY1589" fmla="*/ 1237393 h 1273968"/>
                <a:gd name="connsiteX1590" fmla="*/ 747522 w 1489995"/>
                <a:gd name="connsiteY1590" fmla="*/ 1236916 h 1273968"/>
                <a:gd name="connsiteX1591" fmla="*/ 746093 w 1489995"/>
                <a:gd name="connsiteY1591" fmla="*/ 1238726 h 1273968"/>
                <a:gd name="connsiteX1592" fmla="*/ 744569 w 1489995"/>
                <a:gd name="connsiteY1592" fmla="*/ 1238917 h 1273968"/>
                <a:gd name="connsiteX1593" fmla="*/ 740759 w 1489995"/>
                <a:gd name="connsiteY1593" fmla="*/ 1234631 h 1273968"/>
                <a:gd name="connsiteX1594" fmla="*/ 739616 w 1489995"/>
                <a:gd name="connsiteY1594" fmla="*/ 1237964 h 1273968"/>
                <a:gd name="connsiteX1595" fmla="*/ 736092 w 1489995"/>
                <a:gd name="connsiteY1595" fmla="*/ 1235202 h 1273968"/>
                <a:gd name="connsiteX1596" fmla="*/ 735616 w 1489995"/>
                <a:gd name="connsiteY1596" fmla="*/ 1232059 h 1273968"/>
                <a:gd name="connsiteX1597" fmla="*/ 734092 w 1489995"/>
                <a:gd name="connsiteY1597" fmla="*/ 1232249 h 1273968"/>
                <a:gd name="connsiteX1598" fmla="*/ 731901 w 1489995"/>
                <a:gd name="connsiteY1598" fmla="*/ 1227677 h 1273968"/>
                <a:gd name="connsiteX1599" fmla="*/ 727138 w 1489995"/>
                <a:gd name="connsiteY1599" fmla="*/ 1228344 h 1273968"/>
                <a:gd name="connsiteX1600" fmla="*/ 726186 w 1489995"/>
                <a:gd name="connsiteY1600" fmla="*/ 1220438 h 1273968"/>
                <a:gd name="connsiteX1601" fmla="*/ 719804 w 1489995"/>
                <a:gd name="connsiteY1601" fmla="*/ 1221200 h 1273968"/>
                <a:gd name="connsiteX1602" fmla="*/ 718661 w 1489995"/>
                <a:gd name="connsiteY1602" fmla="*/ 1224629 h 1273968"/>
                <a:gd name="connsiteX1603" fmla="*/ 715518 w 1489995"/>
                <a:gd name="connsiteY1603" fmla="*/ 1225010 h 1273968"/>
                <a:gd name="connsiteX1604" fmla="*/ 707422 w 1489995"/>
                <a:gd name="connsiteY1604" fmla="*/ 1211580 h 1273968"/>
                <a:gd name="connsiteX1605" fmla="*/ 704279 w 1489995"/>
                <a:gd name="connsiteY1605" fmla="*/ 1211961 h 1273968"/>
                <a:gd name="connsiteX1606" fmla="*/ 700468 w 1489995"/>
                <a:gd name="connsiteY1606" fmla="*/ 1207675 h 1273968"/>
                <a:gd name="connsiteX1607" fmla="*/ 702850 w 1489995"/>
                <a:gd name="connsiteY1607" fmla="*/ 1213771 h 1273968"/>
                <a:gd name="connsiteX1608" fmla="*/ 701326 w 1489995"/>
                <a:gd name="connsiteY1608" fmla="*/ 1213961 h 1273968"/>
                <a:gd name="connsiteX1609" fmla="*/ 697706 w 1489995"/>
                <a:gd name="connsiteY1609" fmla="*/ 1211199 h 1273968"/>
                <a:gd name="connsiteX1610" fmla="*/ 696373 w 1489995"/>
                <a:gd name="connsiteY1610" fmla="*/ 1213009 h 1273968"/>
                <a:gd name="connsiteX1611" fmla="*/ 697897 w 1489995"/>
                <a:gd name="connsiteY1611" fmla="*/ 1212818 h 1273968"/>
                <a:gd name="connsiteX1612" fmla="*/ 702278 w 1489995"/>
                <a:gd name="connsiteY1612" fmla="*/ 1221867 h 1273968"/>
                <a:gd name="connsiteX1613" fmla="*/ 700945 w 1489995"/>
                <a:gd name="connsiteY1613" fmla="*/ 1223677 h 1273968"/>
                <a:gd name="connsiteX1614" fmla="*/ 702659 w 1489995"/>
                <a:gd name="connsiteY1614" fmla="*/ 1225010 h 1273968"/>
                <a:gd name="connsiteX1615" fmla="*/ 699897 w 1489995"/>
                <a:gd name="connsiteY1615" fmla="*/ 1228630 h 1273968"/>
                <a:gd name="connsiteX1616" fmla="*/ 701897 w 1489995"/>
                <a:gd name="connsiteY1616" fmla="*/ 1231583 h 1273968"/>
                <a:gd name="connsiteX1617" fmla="*/ 706660 w 1489995"/>
                <a:gd name="connsiteY1617" fmla="*/ 1230916 h 1273968"/>
                <a:gd name="connsiteX1618" fmla="*/ 705231 w 1489995"/>
                <a:gd name="connsiteY1618" fmla="*/ 1232726 h 1273968"/>
                <a:gd name="connsiteX1619" fmla="*/ 701897 w 1489995"/>
                <a:gd name="connsiteY1619" fmla="*/ 1231583 h 1273968"/>
                <a:gd name="connsiteX1620" fmla="*/ 702278 w 1489995"/>
                <a:gd name="connsiteY1620" fmla="*/ 1234726 h 1273968"/>
                <a:gd name="connsiteX1621" fmla="*/ 700754 w 1489995"/>
                <a:gd name="connsiteY1621" fmla="*/ 1234916 h 1273968"/>
                <a:gd name="connsiteX1622" fmla="*/ 698183 w 1489995"/>
                <a:gd name="connsiteY1622" fmla="*/ 1227201 h 1273968"/>
                <a:gd name="connsiteX1623" fmla="*/ 695039 w 1489995"/>
                <a:gd name="connsiteY1623" fmla="*/ 1227582 h 1273968"/>
                <a:gd name="connsiteX1624" fmla="*/ 691420 w 1489995"/>
                <a:gd name="connsiteY1624" fmla="*/ 1224820 h 1273968"/>
                <a:gd name="connsiteX1625" fmla="*/ 686752 w 1489995"/>
                <a:gd name="connsiteY1625" fmla="*/ 1225487 h 1273968"/>
                <a:gd name="connsiteX1626" fmla="*/ 685514 w 1489995"/>
                <a:gd name="connsiteY1626" fmla="*/ 1228820 h 1273968"/>
                <a:gd name="connsiteX1627" fmla="*/ 682180 w 1489995"/>
                <a:gd name="connsiteY1627" fmla="*/ 1227677 h 1273968"/>
                <a:gd name="connsiteX1628" fmla="*/ 682371 w 1489995"/>
                <a:gd name="connsiteY1628" fmla="*/ 1229201 h 1273968"/>
                <a:gd name="connsiteX1629" fmla="*/ 680752 w 1489995"/>
                <a:gd name="connsiteY1629" fmla="*/ 1229392 h 1273968"/>
                <a:gd name="connsiteX1630" fmla="*/ 682752 w 1489995"/>
                <a:gd name="connsiteY1630" fmla="*/ 1232345 h 1273968"/>
                <a:gd name="connsiteX1631" fmla="*/ 681228 w 1489995"/>
                <a:gd name="connsiteY1631" fmla="*/ 1232535 h 1273968"/>
                <a:gd name="connsiteX1632" fmla="*/ 681418 w 1489995"/>
                <a:gd name="connsiteY1632" fmla="*/ 1234154 h 1273968"/>
                <a:gd name="connsiteX1633" fmla="*/ 679609 w 1489995"/>
                <a:gd name="connsiteY1633" fmla="*/ 1232821 h 1273968"/>
                <a:gd name="connsiteX1634" fmla="*/ 679799 w 1489995"/>
                <a:gd name="connsiteY1634" fmla="*/ 1234345 h 1273968"/>
                <a:gd name="connsiteX1635" fmla="*/ 678466 w 1489995"/>
                <a:gd name="connsiteY1635" fmla="*/ 1236155 h 1273968"/>
                <a:gd name="connsiteX1636" fmla="*/ 676465 w 1489995"/>
                <a:gd name="connsiteY1636" fmla="*/ 1233202 h 1273968"/>
                <a:gd name="connsiteX1637" fmla="*/ 675132 w 1489995"/>
                <a:gd name="connsiteY1637" fmla="*/ 1234916 h 1273968"/>
                <a:gd name="connsiteX1638" fmla="*/ 672751 w 1489995"/>
                <a:gd name="connsiteY1638" fmla="*/ 1241679 h 1273968"/>
                <a:gd name="connsiteX1639" fmla="*/ 671131 w 1489995"/>
                <a:gd name="connsiteY1639" fmla="*/ 1241870 h 1273968"/>
                <a:gd name="connsiteX1640" fmla="*/ 672370 w 1489995"/>
                <a:gd name="connsiteY1640" fmla="*/ 1238536 h 1273968"/>
                <a:gd name="connsiteX1641" fmla="*/ 668941 w 1489995"/>
                <a:gd name="connsiteY1641" fmla="*/ 1237298 h 1273968"/>
                <a:gd name="connsiteX1642" fmla="*/ 666179 w 1489995"/>
                <a:gd name="connsiteY1642" fmla="*/ 1240917 h 1273968"/>
                <a:gd name="connsiteX1643" fmla="*/ 665226 w 1489995"/>
                <a:gd name="connsiteY1643" fmla="*/ 1245870 h 1273968"/>
                <a:gd name="connsiteX1644" fmla="*/ 663702 w 1489995"/>
                <a:gd name="connsiteY1644" fmla="*/ 1246061 h 1273968"/>
                <a:gd name="connsiteX1645" fmla="*/ 663035 w 1489995"/>
                <a:gd name="connsiteY1645" fmla="*/ 1241298 h 1273968"/>
                <a:gd name="connsiteX1646" fmla="*/ 659892 w 1489995"/>
                <a:gd name="connsiteY1646" fmla="*/ 1241679 h 1273968"/>
                <a:gd name="connsiteX1647" fmla="*/ 659511 w 1489995"/>
                <a:gd name="connsiteY1647" fmla="*/ 1238536 h 1273968"/>
                <a:gd name="connsiteX1648" fmla="*/ 656177 w 1489995"/>
                <a:gd name="connsiteY1648" fmla="*/ 1237393 h 1273968"/>
                <a:gd name="connsiteX1649" fmla="*/ 648843 w 1489995"/>
                <a:gd name="connsiteY1649" fmla="*/ 1243108 h 1273968"/>
                <a:gd name="connsiteX1650" fmla="*/ 645509 w 1489995"/>
                <a:gd name="connsiteY1650" fmla="*/ 1241965 h 1273968"/>
                <a:gd name="connsiteX1651" fmla="*/ 643700 w 1489995"/>
                <a:gd name="connsiteY1651" fmla="*/ 1240536 h 1273968"/>
                <a:gd name="connsiteX1652" fmla="*/ 646843 w 1489995"/>
                <a:gd name="connsiteY1652" fmla="*/ 1240155 h 1273968"/>
                <a:gd name="connsiteX1653" fmla="*/ 648272 w 1489995"/>
                <a:gd name="connsiteY1653" fmla="*/ 1238345 h 1273968"/>
                <a:gd name="connsiteX1654" fmla="*/ 646081 w 1489995"/>
                <a:gd name="connsiteY1654" fmla="*/ 1233869 h 1273968"/>
                <a:gd name="connsiteX1655" fmla="*/ 648843 w 1489995"/>
                <a:gd name="connsiteY1655" fmla="*/ 1230249 h 1273968"/>
                <a:gd name="connsiteX1656" fmla="*/ 648462 w 1489995"/>
                <a:gd name="connsiteY1656" fmla="*/ 1227106 h 1273968"/>
                <a:gd name="connsiteX1657" fmla="*/ 645319 w 1489995"/>
                <a:gd name="connsiteY1657" fmla="*/ 1227487 h 1273968"/>
                <a:gd name="connsiteX1658" fmla="*/ 643509 w 1489995"/>
                <a:gd name="connsiteY1658" fmla="*/ 1226153 h 1273968"/>
                <a:gd name="connsiteX1659" fmla="*/ 641699 w 1489995"/>
                <a:gd name="connsiteY1659" fmla="*/ 1224820 h 1273968"/>
                <a:gd name="connsiteX1660" fmla="*/ 641699 w 1489995"/>
                <a:gd name="connsiteY1660" fmla="*/ 1224820 h 1273968"/>
                <a:gd name="connsiteX1661" fmla="*/ 639509 w 1489995"/>
                <a:gd name="connsiteY1661" fmla="*/ 1220248 h 1273968"/>
                <a:gd name="connsiteX1662" fmla="*/ 638175 w 1489995"/>
                <a:gd name="connsiteY1662" fmla="*/ 1222058 h 1273968"/>
                <a:gd name="connsiteX1663" fmla="*/ 631031 w 1489995"/>
                <a:gd name="connsiteY1663" fmla="*/ 1216533 h 1273968"/>
                <a:gd name="connsiteX1664" fmla="*/ 625316 w 1489995"/>
                <a:gd name="connsiteY1664" fmla="*/ 1222058 h 1273968"/>
                <a:gd name="connsiteX1665" fmla="*/ 623126 w 1489995"/>
                <a:gd name="connsiteY1665" fmla="*/ 1217486 h 1273968"/>
                <a:gd name="connsiteX1666" fmla="*/ 621792 w 1489995"/>
                <a:gd name="connsiteY1666" fmla="*/ 1219295 h 1273968"/>
                <a:gd name="connsiteX1667" fmla="*/ 621601 w 1489995"/>
                <a:gd name="connsiteY1667" fmla="*/ 1217771 h 1273968"/>
                <a:gd name="connsiteX1668" fmla="*/ 619792 w 1489995"/>
                <a:gd name="connsiteY1668" fmla="*/ 1216343 h 1273968"/>
                <a:gd name="connsiteX1669" fmla="*/ 620363 w 1489995"/>
                <a:gd name="connsiteY1669" fmla="*/ 1208246 h 1273968"/>
                <a:gd name="connsiteX1670" fmla="*/ 621697 w 1489995"/>
                <a:gd name="connsiteY1670" fmla="*/ 1206437 h 1273968"/>
                <a:gd name="connsiteX1671" fmla="*/ 616363 w 1489995"/>
                <a:gd name="connsiteY1671" fmla="*/ 1202341 h 1273968"/>
                <a:gd name="connsiteX1672" fmla="*/ 609886 w 1489995"/>
                <a:gd name="connsiteY1672" fmla="*/ 1201579 h 1273968"/>
                <a:gd name="connsiteX1673" fmla="*/ 609505 w 1489995"/>
                <a:gd name="connsiteY1673" fmla="*/ 1198436 h 1273968"/>
                <a:gd name="connsiteX1674" fmla="*/ 604933 w 1489995"/>
                <a:gd name="connsiteY1674" fmla="*/ 1200626 h 1273968"/>
                <a:gd name="connsiteX1675" fmla="*/ 602551 w 1489995"/>
                <a:gd name="connsiteY1675" fmla="*/ 1194435 h 1273968"/>
                <a:gd name="connsiteX1676" fmla="*/ 596837 w 1489995"/>
                <a:gd name="connsiteY1676" fmla="*/ 1200055 h 1273968"/>
                <a:gd name="connsiteX1677" fmla="*/ 593693 w 1489995"/>
                <a:gd name="connsiteY1677" fmla="*/ 1200436 h 1273968"/>
                <a:gd name="connsiteX1678" fmla="*/ 582835 w 1489995"/>
                <a:gd name="connsiteY1678" fmla="*/ 1203389 h 1273968"/>
                <a:gd name="connsiteX1679" fmla="*/ 580644 w 1489995"/>
                <a:gd name="connsiteY1679" fmla="*/ 1198912 h 1273968"/>
                <a:gd name="connsiteX1680" fmla="*/ 577882 w 1489995"/>
                <a:gd name="connsiteY1680" fmla="*/ 1202436 h 1273968"/>
                <a:gd name="connsiteX1681" fmla="*/ 574738 w 1489995"/>
                <a:gd name="connsiteY1681" fmla="*/ 1202817 h 1273968"/>
                <a:gd name="connsiteX1682" fmla="*/ 573405 w 1489995"/>
                <a:gd name="connsiteY1682" fmla="*/ 1204627 h 1273968"/>
                <a:gd name="connsiteX1683" fmla="*/ 573786 w 1489995"/>
                <a:gd name="connsiteY1683" fmla="*/ 1207770 h 1273968"/>
                <a:gd name="connsiteX1684" fmla="*/ 574834 w 1489995"/>
                <a:gd name="connsiteY1684" fmla="*/ 1215676 h 1273968"/>
                <a:gd name="connsiteX1685" fmla="*/ 570262 w 1489995"/>
                <a:gd name="connsiteY1685" fmla="*/ 1217866 h 1273968"/>
                <a:gd name="connsiteX1686" fmla="*/ 570643 w 1489995"/>
                <a:gd name="connsiteY1686" fmla="*/ 1221010 h 1273968"/>
                <a:gd name="connsiteX1687" fmla="*/ 566356 w 1489995"/>
                <a:gd name="connsiteY1687" fmla="*/ 1224725 h 1273968"/>
                <a:gd name="connsiteX1688" fmla="*/ 563213 w 1489995"/>
                <a:gd name="connsiteY1688" fmla="*/ 1225201 h 1273968"/>
                <a:gd name="connsiteX1689" fmla="*/ 563594 w 1489995"/>
                <a:gd name="connsiteY1689" fmla="*/ 1228344 h 1273968"/>
                <a:gd name="connsiteX1690" fmla="*/ 566547 w 1489995"/>
                <a:gd name="connsiteY1690" fmla="*/ 1226344 h 1273968"/>
                <a:gd name="connsiteX1691" fmla="*/ 560832 w 1489995"/>
                <a:gd name="connsiteY1691" fmla="*/ 1231868 h 1273968"/>
                <a:gd name="connsiteX1692" fmla="*/ 561404 w 1489995"/>
                <a:gd name="connsiteY1692" fmla="*/ 1236631 h 1273968"/>
                <a:gd name="connsiteX1693" fmla="*/ 556546 w 1489995"/>
                <a:gd name="connsiteY1693" fmla="*/ 1235678 h 1273968"/>
                <a:gd name="connsiteX1694" fmla="*/ 556069 w 1489995"/>
                <a:gd name="connsiteY1694" fmla="*/ 1232440 h 1273968"/>
                <a:gd name="connsiteX1695" fmla="*/ 559022 w 1489995"/>
                <a:gd name="connsiteY1695" fmla="*/ 1230535 h 1273968"/>
                <a:gd name="connsiteX1696" fmla="*/ 557308 w 1489995"/>
                <a:gd name="connsiteY1696" fmla="*/ 1229106 h 1273968"/>
                <a:gd name="connsiteX1697" fmla="*/ 551117 w 1489995"/>
                <a:gd name="connsiteY1697" fmla="*/ 1231487 h 1273968"/>
                <a:gd name="connsiteX1698" fmla="*/ 543306 w 1489995"/>
                <a:gd name="connsiteY1698" fmla="*/ 1232535 h 1273968"/>
                <a:gd name="connsiteX1699" fmla="*/ 540353 w 1489995"/>
                <a:gd name="connsiteY1699" fmla="*/ 1234535 h 1273968"/>
                <a:gd name="connsiteX1700" fmla="*/ 536924 w 1489995"/>
                <a:gd name="connsiteY1700" fmla="*/ 1233297 h 1273968"/>
                <a:gd name="connsiteX1701" fmla="*/ 532067 w 1489995"/>
                <a:gd name="connsiteY1701" fmla="*/ 1232345 h 1273968"/>
                <a:gd name="connsiteX1702" fmla="*/ 525685 w 1489995"/>
                <a:gd name="connsiteY1702" fmla="*/ 1233107 h 1273968"/>
                <a:gd name="connsiteX1703" fmla="*/ 522542 w 1489995"/>
                <a:gd name="connsiteY1703" fmla="*/ 1233583 h 1273968"/>
                <a:gd name="connsiteX1704" fmla="*/ 521398 w 1489995"/>
                <a:gd name="connsiteY1704" fmla="*/ 1236916 h 1273968"/>
                <a:gd name="connsiteX1705" fmla="*/ 514255 w 1489995"/>
                <a:gd name="connsiteY1705" fmla="*/ 1231392 h 1273968"/>
                <a:gd name="connsiteX1706" fmla="*/ 509492 w 1489995"/>
                <a:gd name="connsiteY1706" fmla="*/ 1231964 h 1273968"/>
                <a:gd name="connsiteX1707" fmla="*/ 501205 w 1489995"/>
                <a:gd name="connsiteY1707" fmla="*/ 1229868 h 1273968"/>
                <a:gd name="connsiteX1708" fmla="*/ 502444 w 1489995"/>
                <a:gd name="connsiteY1708" fmla="*/ 1239298 h 1273968"/>
                <a:gd name="connsiteX1709" fmla="*/ 497300 w 1489995"/>
                <a:gd name="connsiteY1709" fmla="*/ 1236726 h 1273968"/>
                <a:gd name="connsiteX1710" fmla="*/ 492728 w 1489995"/>
                <a:gd name="connsiteY1710" fmla="*/ 1238917 h 1273968"/>
                <a:gd name="connsiteX1711" fmla="*/ 491014 w 1489995"/>
                <a:gd name="connsiteY1711" fmla="*/ 1237583 h 1273968"/>
                <a:gd name="connsiteX1712" fmla="*/ 490633 w 1489995"/>
                <a:gd name="connsiteY1712" fmla="*/ 1234440 h 1273968"/>
                <a:gd name="connsiteX1713" fmla="*/ 491776 w 1489995"/>
                <a:gd name="connsiteY1713" fmla="*/ 1231011 h 1273968"/>
                <a:gd name="connsiteX1714" fmla="*/ 489775 w 1489995"/>
                <a:gd name="connsiteY1714" fmla="*/ 1228058 h 1273968"/>
                <a:gd name="connsiteX1715" fmla="*/ 486632 w 1489995"/>
                <a:gd name="connsiteY1715" fmla="*/ 1228535 h 1273968"/>
                <a:gd name="connsiteX1716" fmla="*/ 487394 w 1489995"/>
                <a:gd name="connsiteY1716" fmla="*/ 1234821 h 1273968"/>
                <a:gd name="connsiteX1717" fmla="*/ 486251 w 1489995"/>
                <a:gd name="connsiteY1717" fmla="*/ 1238155 h 1273968"/>
                <a:gd name="connsiteX1718" fmla="*/ 479774 w 1489995"/>
                <a:gd name="connsiteY1718" fmla="*/ 1237393 h 1273968"/>
                <a:gd name="connsiteX1719" fmla="*/ 478346 w 1489995"/>
                <a:gd name="connsiteY1719" fmla="*/ 1239203 h 1273968"/>
                <a:gd name="connsiteX1720" fmla="*/ 476345 w 1489995"/>
                <a:gd name="connsiteY1720" fmla="*/ 1236250 h 1273968"/>
                <a:gd name="connsiteX1721" fmla="*/ 470059 w 1489995"/>
                <a:gd name="connsiteY1721" fmla="*/ 1237012 h 1273968"/>
                <a:gd name="connsiteX1722" fmla="*/ 469868 w 1489995"/>
                <a:gd name="connsiteY1722" fmla="*/ 1235488 h 1273968"/>
                <a:gd name="connsiteX1723" fmla="*/ 466915 w 1489995"/>
                <a:gd name="connsiteY1723" fmla="*/ 1237393 h 1273968"/>
                <a:gd name="connsiteX1724" fmla="*/ 464915 w 1489995"/>
                <a:gd name="connsiteY1724" fmla="*/ 1234440 h 1273968"/>
                <a:gd name="connsiteX1725" fmla="*/ 463391 w 1489995"/>
                <a:gd name="connsiteY1725" fmla="*/ 1234631 h 1273968"/>
                <a:gd name="connsiteX1726" fmla="*/ 461010 w 1489995"/>
                <a:gd name="connsiteY1726" fmla="*/ 1228535 h 1273968"/>
                <a:gd name="connsiteX1727" fmla="*/ 461963 w 1489995"/>
                <a:gd name="connsiteY1727" fmla="*/ 1223582 h 1273968"/>
                <a:gd name="connsiteX1728" fmla="*/ 463296 w 1489995"/>
                <a:gd name="connsiteY1728" fmla="*/ 1221867 h 1273968"/>
                <a:gd name="connsiteX1729" fmla="*/ 462534 w 1489995"/>
                <a:gd name="connsiteY1729" fmla="*/ 1215485 h 1273968"/>
                <a:gd name="connsiteX1730" fmla="*/ 462153 w 1489995"/>
                <a:gd name="connsiteY1730" fmla="*/ 1212342 h 1273968"/>
                <a:gd name="connsiteX1731" fmla="*/ 463487 w 1489995"/>
                <a:gd name="connsiteY1731" fmla="*/ 1210628 h 1273968"/>
                <a:gd name="connsiteX1732" fmla="*/ 463105 w 1489995"/>
                <a:gd name="connsiteY1732" fmla="*/ 1207484 h 1273968"/>
                <a:gd name="connsiteX1733" fmla="*/ 467868 w 1489995"/>
                <a:gd name="connsiteY1733" fmla="*/ 1206818 h 1273968"/>
                <a:gd name="connsiteX1734" fmla="*/ 462915 w 1489995"/>
                <a:gd name="connsiteY1734" fmla="*/ 1205865 h 1273968"/>
                <a:gd name="connsiteX1735" fmla="*/ 457390 w 1489995"/>
                <a:gd name="connsiteY1735" fmla="*/ 1200150 h 1273968"/>
                <a:gd name="connsiteX1736" fmla="*/ 455962 w 1489995"/>
                <a:gd name="connsiteY1736" fmla="*/ 1201960 h 1273968"/>
                <a:gd name="connsiteX1737" fmla="*/ 446532 w 1489995"/>
                <a:gd name="connsiteY1737" fmla="*/ 1203103 h 1273968"/>
                <a:gd name="connsiteX1738" fmla="*/ 443198 w 1489995"/>
                <a:gd name="connsiteY1738" fmla="*/ 1201960 h 127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</a:cxnLst>
              <a:rect l="l" t="t" r="r" b="b"/>
              <a:pathLst>
                <a:path w="1489995" h="1273968">
                  <a:moveTo>
                    <a:pt x="443198" y="1201960"/>
                  </a:moveTo>
                  <a:lnTo>
                    <a:pt x="439198" y="1208913"/>
                  </a:lnTo>
                  <a:lnTo>
                    <a:pt x="439007" y="1207294"/>
                  </a:lnTo>
                  <a:lnTo>
                    <a:pt x="433292" y="1212818"/>
                  </a:lnTo>
                  <a:lnTo>
                    <a:pt x="431578" y="1211485"/>
                  </a:lnTo>
                  <a:lnTo>
                    <a:pt x="430149" y="1213199"/>
                  </a:lnTo>
                  <a:lnTo>
                    <a:pt x="423481" y="1210913"/>
                  </a:lnTo>
                  <a:lnTo>
                    <a:pt x="422719" y="1217390"/>
                  </a:lnTo>
                  <a:lnTo>
                    <a:pt x="426625" y="1223296"/>
                  </a:lnTo>
                  <a:lnTo>
                    <a:pt x="423863" y="1226915"/>
                  </a:lnTo>
                  <a:lnTo>
                    <a:pt x="423481" y="1223677"/>
                  </a:lnTo>
                  <a:lnTo>
                    <a:pt x="422719" y="1230249"/>
                  </a:lnTo>
                  <a:lnTo>
                    <a:pt x="421291" y="1231964"/>
                  </a:lnTo>
                  <a:lnTo>
                    <a:pt x="421767" y="1235202"/>
                  </a:lnTo>
                  <a:lnTo>
                    <a:pt x="420148" y="1235393"/>
                  </a:lnTo>
                  <a:lnTo>
                    <a:pt x="418814" y="1237107"/>
                  </a:lnTo>
                  <a:lnTo>
                    <a:pt x="416814" y="1234154"/>
                  </a:lnTo>
                  <a:lnTo>
                    <a:pt x="415195" y="1234345"/>
                  </a:lnTo>
                  <a:lnTo>
                    <a:pt x="415576" y="1237583"/>
                  </a:lnTo>
                  <a:lnTo>
                    <a:pt x="414052" y="1237774"/>
                  </a:lnTo>
                  <a:lnTo>
                    <a:pt x="417957" y="1243679"/>
                  </a:lnTo>
                  <a:lnTo>
                    <a:pt x="414814" y="1244060"/>
                  </a:lnTo>
                  <a:lnTo>
                    <a:pt x="415290" y="1247204"/>
                  </a:lnTo>
                  <a:lnTo>
                    <a:pt x="412051" y="1247585"/>
                  </a:lnTo>
                  <a:lnTo>
                    <a:pt x="411289" y="1241298"/>
                  </a:lnTo>
                  <a:lnTo>
                    <a:pt x="408146" y="1241679"/>
                  </a:lnTo>
                  <a:lnTo>
                    <a:pt x="405955" y="1237202"/>
                  </a:lnTo>
                  <a:lnTo>
                    <a:pt x="403384" y="1242346"/>
                  </a:lnTo>
                  <a:lnTo>
                    <a:pt x="401860" y="1242536"/>
                  </a:lnTo>
                  <a:lnTo>
                    <a:pt x="402241" y="1245680"/>
                  </a:lnTo>
                  <a:lnTo>
                    <a:pt x="399479" y="1249204"/>
                  </a:lnTo>
                  <a:lnTo>
                    <a:pt x="399859" y="1252347"/>
                  </a:lnTo>
                  <a:lnTo>
                    <a:pt x="400240" y="1255586"/>
                  </a:lnTo>
                  <a:lnTo>
                    <a:pt x="390620" y="1255205"/>
                  </a:lnTo>
                  <a:lnTo>
                    <a:pt x="383858" y="1252823"/>
                  </a:lnTo>
                  <a:lnTo>
                    <a:pt x="383286" y="1248061"/>
                  </a:lnTo>
                  <a:lnTo>
                    <a:pt x="379952" y="1246918"/>
                  </a:lnTo>
                  <a:lnTo>
                    <a:pt x="371284" y="1254443"/>
                  </a:lnTo>
                  <a:lnTo>
                    <a:pt x="372237" y="1262348"/>
                  </a:lnTo>
                  <a:lnTo>
                    <a:pt x="372237" y="1262348"/>
                  </a:lnTo>
                  <a:lnTo>
                    <a:pt x="370713" y="1262539"/>
                  </a:lnTo>
                  <a:lnTo>
                    <a:pt x="366331" y="1266254"/>
                  </a:lnTo>
                  <a:lnTo>
                    <a:pt x="365950" y="1263110"/>
                  </a:lnTo>
                  <a:lnTo>
                    <a:pt x="356711" y="1265873"/>
                  </a:lnTo>
                  <a:lnTo>
                    <a:pt x="354711" y="1262920"/>
                  </a:lnTo>
                  <a:lnTo>
                    <a:pt x="349948" y="1263587"/>
                  </a:lnTo>
                  <a:lnTo>
                    <a:pt x="349377" y="1258824"/>
                  </a:lnTo>
                  <a:lnTo>
                    <a:pt x="345853" y="1256062"/>
                  </a:lnTo>
                  <a:lnTo>
                    <a:pt x="344614" y="1259396"/>
                  </a:lnTo>
                  <a:lnTo>
                    <a:pt x="338328" y="1260253"/>
                  </a:lnTo>
                  <a:lnTo>
                    <a:pt x="342614" y="1256443"/>
                  </a:lnTo>
                  <a:lnTo>
                    <a:pt x="342233" y="1253300"/>
                  </a:lnTo>
                  <a:lnTo>
                    <a:pt x="345186" y="1251299"/>
                  </a:lnTo>
                  <a:lnTo>
                    <a:pt x="337280" y="1252347"/>
                  </a:lnTo>
                  <a:lnTo>
                    <a:pt x="335947" y="1254157"/>
                  </a:lnTo>
                  <a:lnTo>
                    <a:pt x="332422" y="1251395"/>
                  </a:lnTo>
                  <a:lnTo>
                    <a:pt x="330232" y="1246823"/>
                  </a:lnTo>
                  <a:lnTo>
                    <a:pt x="330994" y="1240346"/>
                  </a:lnTo>
                  <a:lnTo>
                    <a:pt x="320897" y="1236821"/>
                  </a:lnTo>
                  <a:lnTo>
                    <a:pt x="316325" y="1239012"/>
                  </a:lnTo>
                  <a:lnTo>
                    <a:pt x="316611" y="1240536"/>
                  </a:lnTo>
                  <a:lnTo>
                    <a:pt x="319945" y="1241679"/>
                  </a:lnTo>
                  <a:lnTo>
                    <a:pt x="315373" y="1243870"/>
                  </a:lnTo>
                  <a:lnTo>
                    <a:pt x="311658" y="1252347"/>
                  </a:lnTo>
                  <a:lnTo>
                    <a:pt x="308324" y="1251204"/>
                  </a:lnTo>
                  <a:lnTo>
                    <a:pt x="308515" y="1252823"/>
                  </a:lnTo>
                  <a:lnTo>
                    <a:pt x="306705" y="1251395"/>
                  </a:lnTo>
                  <a:lnTo>
                    <a:pt x="303943" y="1255014"/>
                  </a:lnTo>
                  <a:lnTo>
                    <a:pt x="302038" y="1252061"/>
                  </a:lnTo>
                  <a:lnTo>
                    <a:pt x="303371" y="1250252"/>
                  </a:lnTo>
                  <a:lnTo>
                    <a:pt x="301752" y="1250442"/>
                  </a:lnTo>
                  <a:lnTo>
                    <a:pt x="300418" y="1252252"/>
                  </a:lnTo>
                  <a:lnTo>
                    <a:pt x="298990" y="1253966"/>
                  </a:lnTo>
                  <a:lnTo>
                    <a:pt x="297656" y="1242917"/>
                  </a:lnTo>
                  <a:lnTo>
                    <a:pt x="296228" y="1244727"/>
                  </a:lnTo>
                  <a:lnTo>
                    <a:pt x="294513" y="1243394"/>
                  </a:lnTo>
                  <a:lnTo>
                    <a:pt x="291655" y="1234059"/>
                  </a:lnTo>
                  <a:lnTo>
                    <a:pt x="288512" y="1234535"/>
                  </a:lnTo>
                  <a:lnTo>
                    <a:pt x="290513" y="1237488"/>
                  </a:lnTo>
                  <a:lnTo>
                    <a:pt x="284226" y="1238250"/>
                  </a:lnTo>
                  <a:lnTo>
                    <a:pt x="284988" y="1244537"/>
                  </a:lnTo>
                  <a:lnTo>
                    <a:pt x="280225" y="1245203"/>
                  </a:lnTo>
                  <a:lnTo>
                    <a:pt x="280702" y="1248347"/>
                  </a:lnTo>
                  <a:lnTo>
                    <a:pt x="273748" y="1244441"/>
                  </a:lnTo>
                  <a:lnTo>
                    <a:pt x="267271" y="1243584"/>
                  </a:lnTo>
                  <a:lnTo>
                    <a:pt x="263747" y="1253681"/>
                  </a:lnTo>
                  <a:lnTo>
                    <a:pt x="262128" y="1253871"/>
                  </a:lnTo>
                  <a:lnTo>
                    <a:pt x="262128" y="1253871"/>
                  </a:lnTo>
                  <a:lnTo>
                    <a:pt x="252222" y="1251966"/>
                  </a:lnTo>
                  <a:lnTo>
                    <a:pt x="250507" y="1250537"/>
                  </a:lnTo>
                  <a:lnTo>
                    <a:pt x="251269" y="1244060"/>
                  </a:lnTo>
                  <a:lnTo>
                    <a:pt x="252603" y="1242251"/>
                  </a:lnTo>
                  <a:lnTo>
                    <a:pt x="254413" y="1230821"/>
                  </a:lnTo>
                  <a:lnTo>
                    <a:pt x="254984" y="1222724"/>
                  </a:lnTo>
                  <a:lnTo>
                    <a:pt x="249841" y="1220153"/>
                  </a:lnTo>
                  <a:lnTo>
                    <a:pt x="250412" y="1212056"/>
                  </a:lnTo>
                  <a:lnTo>
                    <a:pt x="239935" y="1205389"/>
                  </a:lnTo>
                  <a:lnTo>
                    <a:pt x="236791" y="1205770"/>
                  </a:lnTo>
                  <a:lnTo>
                    <a:pt x="231457" y="1214533"/>
                  </a:lnTo>
                  <a:lnTo>
                    <a:pt x="229648" y="1213104"/>
                  </a:lnTo>
                  <a:lnTo>
                    <a:pt x="234029" y="1209389"/>
                  </a:lnTo>
                  <a:lnTo>
                    <a:pt x="235744" y="1197959"/>
                  </a:lnTo>
                  <a:lnTo>
                    <a:pt x="233743" y="1195007"/>
                  </a:lnTo>
                  <a:lnTo>
                    <a:pt x="232029" y="1193578"/>
                  </a:lnTo>
                  <a:lnTo>
                    <a:pt x="234696" y="1177195"/>
                  </a:lnTo>
                  <a:lnTo>
                    <a:pt x="231934" y="1167956"/>
                  </a:lnTo>
                  <a:lnTo>
                    <a:pt x="236029" y="1162622"/>
                  </a:lnTo>
                  <a:lnTo>
                    <a:pt x="240030" y="1155668"/>
                  </a:lnTo>
                  <a:lnTo>
                    <a:pt x="239554" y="1139666"/>
                  </a:lnTo>
                  <a:lnTo>
                    <a:pt x="242125" y="1134523"/>
                  </a:lnTo>
                  <a:lnTo>
                    <a:pt x="242888" y="1128046"/>
                  </a:lnTo>
                  <a:lnTo>
                    <a:pt x="239173" y="1123760"/>
                  </a:lnTo>
                  <a:lnTo>
                    <a:pt x="234601" y="1125855"/>
                  </a:lnTo>
                  <a:lnTo>
                    <a:pt x="227933" y="1123569"/>
                  </a:lnTo>
                  <a:lnTo>
                    <a:pt x="227266" y="1118807"/>
                  </a:lnTo>
                  <a:lnTo>
                    <a:pt x="223742" y="1116044"/>
                  </a:lnTo>
                  <a:lnTo>
                    <a:pt x="219361" y="1119854"/>
                  </a:lnTo>
                  <a:lnTo>
                    <a:pt x="217837" y="1120045"/>
                  </a:lnTo>
                  <a:lnTo>
                    <a:pt x="210884" y="1116044"/>
                  </a:lnTo>
                  <a:lnTo>
                    <a:pt x="210502" y="1112901"/>
                  </a:lnTo>
                  <a:lnTo>
                    <a:pt x="213646" y="1112520"/>
                  </a:lnTo>
                  <a:lnTo>
                    <a:pt x="214789" y="1109186"/>
                  </a:lnTo>
                  <a:lnTo>
                    <a:pt x="205168" y="1108805"/>
                  </a:lnTo>
                  <a:lnTo>
                    <a:pt x="204788" y="1105662"/>
                  </a:lnTo>
                  <a:lnTo>
                    <a:pt x="200025" y="1106234"/>
                  </a:lnTo>
                  <a:lnTo>
                    <a:pt x="196501" y="1103471"/>
                  </a:lnTo>
                  <a:lnTo>
                    <a:pt x="193357" y="1103948"/>
                  </a:lnTo>
                  <a:lnTo>
                    <a:pt x="190881" y="1097756"/>
                  </a:lnTo>
                  <a:lnTo>
                    <a:pt x="187547" y="1096613"/>
                  </a:lnTo>
                  <a:lnTo>
                    <a:pt x="195643" y="1097185"/>
                  </a:lnTo>
                  <a:lnTo>
                    <a:pt x="202787" y="1102709"/>
                  </a:lnTo>
                  <a:lnTo>
                    <a:pt x="210693" y="1101662"/>
                  </a:lnTo>
                  <a:lnTo>
                    <a:pt x="212026" y="1099947"/>
                  </a:lnTo>
                  <a:lnTo>
                    <a:pt x="216789" y="1099280"/>
                  </a:lnTo>
                  <a:lnTo>
                    <a:pt x="219742" y="1097280"/>
                  </a:lnTo>
                  <a:lnTo>
                    <a:pt x="216408" y="1096137"/>
                  </a:lnTo>
                  <a:lnTo>
                    <a:pt x="209836" y="1082516"/>
                  </a:lnTo>
                  <a:lnTo>
                    <a:pt x="200120" y="1082135"/>
                  </a:lnTo>
                  <a:lnTo>
                    <a:pt x="196405" y="1077849"/>
                  </a:lnTo>
                  <a:lnTo>
                    <a:pt x="198977" y="1072706"/>
                  </a:lnTo>
                  <a:lnTo>
                    <a:pt x="196977" y="1069753"/>
                  </a:lnTo>
                  <a:lnTo>
                    <a:pt x="198120" y="1066419"/>
                  </a:lnTo>
                  <a:lnTo>
                    <a:pt x="200120" y="1069372"/>
                  </a:lnTo>
                  <a:lnTo>
                    <a:pt x="200311" y="1070896"/>
                  </a:lnTo>
                  <a:lnTo>
                    <a:pt x="202120" y="1072325"/>
                  </a:lnTo>
                  <a:lnTo>
                    <a:pt x="204883" y="1068705"/>
                  </a:lnTo>
                  <a:lnTo>
                    <a:pt x="205073" y="1070324"/>
                  </a:lnTo>
                  <a:lnTo>
                    <a:pt x="206692" y="1070134"/>
                  </a:lnTo>
                  <a:lnTo>
                    <a:pt x="206692" y="1070134"/>
                  </a:lnTo>
                  <a:lnTo>
                    <a:pt x="208026" y="1068324"/>
                  </a:lnTo>
                  <a:lnTo>
                    <a:pt x="215741" y="1065752"/>
                  </a:lnTo>
                  <a:lnTo>
                    <a:pt x="219075" y="1066895"/>
                  </a:lnTo>
                  <a:lnTo>
                    <a:pt x="226123" y="1059656"/>
                  </a:lnTo>
                  <a:lnTo>
                    <a:pt x="221456" y="1060228"/>
                  </a:lnTo>
                  <a:lnTo>
                    <a:pt x="220789" y="1055465"/>
                  </a:lnTo>
                  <a:lnTo>
                    <a:pt x="216122" y="1056132"/>
                  </a:lnTo>
                  <a:lnTo>
                    <a:pt x="215932" y="1054513"/>
                  </a:lnTo>
                  <a:lnTo>
                    <a:pt x="212503" y="1053370"/>
                  </a:lnTo>
                  <a:lnTo>
                    <a:pt x="208026" y="1055561"/>
                  </a:lnTo>
                  <a:lnTo>
                    <a:pt x="210788" y="1051941"/>
                  </a:lnTo>
                  <a:lnTo>
                    <a:pt x="207359" y="1050798"/>
                  </a:lnTo>
                  <a:lnTo>
                    <a:pt x="203073" y="1054513"/>
                  </a:lnTo>
                  <a:lnTo>
                    <a:pt x="201073" y="1051560"/>
                  </a:lnTo>
                  <a:lnTo>
                    <a:pt x="198120" y="1053560"/>
                  </a:lnTo>
                  <a:lnTo>
                    <a:pt x="196977" y="1056894"/>
                  </a:lnTo>
                  <a:lnTo>
                    <a:pt x="194024" y="1058894"/>
                  </a:lnTo>
                  <a:lnTo>
                    <a:pt x="194405" y="1062037"/>
                  </a:lnTo>
                  <a:lnTo>
                    <a:pt x="189452" y="1061085"/>
                  </a:lnTo>
                  <a:lnTo>
                    <a:pt x="186690" y="1051846"/>
                  </a:lnTo>
                  <a:lnTo>
                    <a:pt x="190024" y="1052989"/>
                  </a:lnTo>
                  <a:lnTo>
                    <a:pt x="189833" y="1051465"/>
                  </a:lnTo>
                  <a:lnTo>
                    <a:pt x="186499" y="1050227"/>
                  </a:lnTo>
                  <a:lnTo>
                    <a:pt x="190595" y="1044893"/>
                  </a:lnTo>
                  <a:lnTo>
                    <a:pt x="186690" y="1038987"/>
                  </a:lnTo>
                  <a:lnTo>
                    <a:pt x="189166" y="1033844"/>
                  </a:lnTo>
                  <a:lnTo>
                    <a:pt x="198311" y="1029462"/>
                  </a:lnTo>
                  <a:lnTo>
                    <a:pt x="205740" y="1012507"/>
                  </a:lnTo>
                  <a:lnTo>
                    <a:pt x="228409" y="1001649"/>
                  </a:lnTo>
                  <a:lnTo>
                    <a:pt x="232886" y="999458"/>
                  </a:lnTo>
                  <a:lnTo>
                    <a:pt x="239268" y="998601"/>
                  </a:lnTo>
                  <a:lnTo>
                    <a:pt x="236125" y="998982"/>
                  </a:lnTo>
                  <a:lnTo>
                    <a:pt x="236887" y="1005364"/>
                  </a:lnTo>
                  <a:lnTo>
                    <a:pt x="238696" y="1006697"/>
                  </a:lnTo>
                  <a:lnTo>
                    <a:pt x="243554" y="1007650"/>
                  </a:lnTo>
                  <a:lnTo>
                    <a:pt x="245745" y="1012222"/>
                  </a:lnTo>
                  <a:lnTo>
                    <a:pt x="247364" y="1012031"/>
                  </a:lnTo>
                  <a:lnTo>
                    <a:pt x="247555" y="1013555"/>
                  </a:lnTo>
                  <a:lnTo>
                    <a:pt x="252317" y="1012984"/>
                  </a:lnTo>
                  <a:lnTo>
                    <a:pt x="254032" y="1014317"/>
                  </a:lnTo>
                  <a:lnTo>
                    <a:pt x="255079" y="1009460"/>
                  </a:lnTo>
                  <a:lnTo>
                    <a:pt x="256603" y="1009269"/>
                  </a:lnTo>
                  <a:lnTo>
                    <a:pt x="256222" y="1006031"/>
                  </a:lnTo>
                  <a:lnTo>
                    <a:pt x="257556" y="1004316"/>
                  </a:lnTo>
                  <a:lnTo>
                    <a:pt x="258413" y="997744"/>
                  </a:lnTo>
                  <a:lnTo>
                    <a:pt x="261366" y="995839"/>
                  </a:lnTo>
                  <a:lnTo>
                    <a:pt x="263652" y="989076"/>
                  </a:lnTo>
                  <a:lnTo>
                    <a:pt x="266795" y="988695"/>
                  </a:lnTo>
                  <a:lnTo>
                    <a:pt x="272986" y="986314"/>
                  </a:lnTo>
                  <a:lnTo>
                    <a:pt x="272510" y="983170"/>
                  </a:lnTo>
                  <a:lnTo>
                    <a:pt x="274320" y="984504"/>
                  </a:lnTo>
                  <a:lnTo>
                    <a:pt x="275749" y="982790"/>
                  </a:lnTo>
                  <a:lnTo>
                    <a:pt x="278892" y="982313"/>
                  </a:lnTo>
                  <a:lnTo>
                    <a:pt x="283178" y="978599"/>
                  </a:lnTo>
                  <a:lnTo>
                    <a:pt x="284988" y="979932"/>
                  </a:lnTo>
                  <a:lnTo>
                    <a:pt x="288893" y="973074"/>
                  </a:lnTo>
                  <a:lnTo>
                    <a:pt x="286703" y="968502"/>
                  </a:lnTo>
                  <a:lnTo>
                    <a:pt x="281559" y="965930"/>
                  </a:lnTo>
                  <a:lnTo>
                    <a:pt x="279559" y="962978"/>
                  </a:lnTo>
                  <a:lnTo>
                    <a:pt x="276225" y="961835"/>
                  </a:lnTo>
                  <a:lnTo>
                    <a:pt x="273272" y="963835"/>
                  </a:lnTo>
                  <a:lnTo>
                    <a:pt x="271939" y="965549"/>
                  </a:lnTo>
                  <a:lnTo>
                    <a:pt x="266033" y="969550"/>
                  </a:lnTo>
                  <a:lnTo>
                    <a:pt x="264223" y="968121"/>
                  </a:lnTo>
                  <a:lnTo>
                    <a:pt x="264795" y="960120"/>
                  </a:lnTo>
                  <a:lnTo>
                    <a:pt x="274034" y="957262"/>
                  </a:lnTo>
                  <a:lnTo>
                    <a:pt x="277178" y="944023"/>
                  </a:lnTo>
                  <a:lnTo>
                    <a:pt x="276415" y="937736"/>
                  </a:lnTo>
                  <a:lnTo>
                    <a:pt x="272605" y="933450"/>
                  </a:lnTo>
                  <a:lnTo>
                    <a:pt x="272224" y="930307"/>
                  </a:lnTo>
                  <a:lnTo>
                    <a:pt x="269843" y="924115"/>
                  </a:lnTo>
                  <a:lnTo>
                    <a:pt x="270796" y="919258"/>
                  </a:lnTo>
                  <a:lnTo>
                    <a:pt x="280321" y="918020"/>
                  </a:lnTo>
                  <a:lnTo>
                    <a:pt x="279463" y="911733"/>
                  </a:lnTo>
                  <a:lnTo>
                    <a:pt x="285369" y="907732"/>
                  </a:lnTo>
                  <a:lnTo>
                    <a:pt x="282226" y="908114"/>
                  </a:lnTo>
                  <a:lnTo>
                    <a:pt x="284416" y="899827"/>
                  </a:lnTo>
                  <a:lnTo>
                    <a:pt x="277463" y="895922"/>
                  </a:lnTo>
                  <a:lnTo>
                    <a:pt x="276415" y="888016"/>
                  </a:lnTo>
                  <a:lnTo>
                    <a:pt x="283369" y="879157"/>
                  </a:lnTo>
                  <a:lnTo>
                    <a:pt x="281368" y="876205"/>
                  </a:lnTo>
                  <a:lnTo>
                    <a:pt x="277654" y="871823"/>
                  </a:lnTo>
                  <a:lnTo>
                    <a:pt x="280321" y="868299"/>
                  </a:lnTo>
                  <a:lnTo>
                    <a:pt x="283750" y="869442"/>
                  </a:lnTo>
                  <a:lnTo>
                    <a:pt x="287464" y="860965"/>
                  </a:lnTo>
                  <a:lnTo>
                    <a:pt x="283464" y="855059"/>
                  </a:lnTo>
                  <a:lnTo>
                    <a:pt x="286607" y="854678"/>
                  </a:lnTo>
                  <a:lnTo>
                    <a:pt x="285464" y="845153"/>
                  </a:lnTo>
                  <a:lnTo>
                    <a:pt x="287179" y="846582"/>
                  </a:lnTo>
                  <a:lnTo>
                    <a:pt x="290417" y="846201"/>
                  </a:lnTo>
                  <a:lnTo>
                    <a:pt x="290132" y="844582"/>
                  </a:lnTo>
                  <a:lnTo>
                    <a:pt x="290417" y="846201"/>
                  </a:lnTo>
                  <a:lnTo>
                    <a:pt x="291941" y="845915"/>
                  </a:lnTo>
                  <a:lnTo>
                    <a:pt x="293370" y="844201"/>
                  </a:lnTo>
                  <a:lnTo>
                    <a:pt x="296704" y="845344"/>
                  </a:lnTo>
                  <a:lnTo>
                    <a:pt x="299657" y="843344"/>
                  </a:lnTo>
                  <a:lnTo>
                    <a:pt x="300228" y="848106"/>
                  </a:lnTo>
                  <a:lnTo>
                    <a:pt x="303181" y="846106"/>
                  </a:lnTo>
                  <a:lnTo>
                    <a:pt x="299657" y="830580"/>
                  </a:lnTo>
                  <a:lnTo>
                    <a:pt x="298037" y="817912"/>
                  </a:lnTo>
                  <a:lnTo>
                    <a:pt x="295656" y="811816"/>
                  </a:lnTo>
                  <a:lnTo>
                    <a:pt x="296609" y="806863"/>
                  </a:lnTo>
                  <a:lnTo>
                    <a:pt x="296228" y="803720"/>
                  </a:lnTo>
                  <a:lnTo>
                    <a:pt x="294418" y="802386"/>
                  </a:lnTo>
                  <a:lnTo>
                    <a:pt x="292417" y="799433"/>
                  </a:lnTo>
                  <a:lnTo>
                    <a:pt x="293656" y="796004"/>
                  </a:lnTo>
                  <a:lnTo>
                    <a:pt x="294799" y="792670"/>
                  </a:lnTo>
                  <a:lnTo>
                    <a:pt x="293941" y="786384"/>
                  </a:lnTo>
                  <a:lnTo>
                    <a:pt x="292227" y="784955"/>
                  </a:lnTo>
                  <a:lnTo>
                    <a:pt x="294799" y="779812"/>
                  </a:lnTo>
                  <a:lnTo>
                    <a:pt x="302419" y="777240"/>
                  </a:lnTo>
                  <a:lnTo>
                    <a:pt x="291370" y="778669"/>
                  </a:lnTo>
                  <a:lnTo>
                    <a:pt x="286226" y="776097"/>
                  </a:lnTo>
                  <a:lnTo>
                    <a:pt x="274034" y="768096"/>
                  </a:lnTo>
                  <a:lnTo>
                    <a:pt x="270034" y="762190"/>
                  </a:lnTo>
                  <a:lnTo>
                    <a:pt x="256984" y="760571"/>
                  </a:lnTo>
                  <a:lnTo>
                    <a:pt x="251841" y="758095"/>
                  </a:lnTo>
                  <a:lnTo>
                    <a:pt x="245936" y="762000"/>
                  </a:lnTo>
                  <a:lnTo>
                    <a:pt x="239459" y="761238"/>
                  </a:lnTo>
                  <a:lnTo>
                    <a:pt x="240792" y="759428"/>
                  </a:lnTo>
                  <a:lnTo>
                    <a:pt x="239077" y="758095"/>
                  </a:lnTo>
                  <a:lnTo>
                    <a:pt x="240411" y="756285"/>
                  </a:lnTo>
                  <a:lnTo>
                    <a:pt x="244030" y="759047"/>
                  </a:lnTo>
                  <a:lnTo>
                    <a:pt x="245554" y="758857"/>
                  </a:lnTo>
                  <a:lnTo>
                    <a:pt x="245745" y="747617"/>
                  </a:lnTo>
                  <a:lnTo>
                    <a:pt x="246507" y="741140"/>
                  </a:lnTo>
                  <a:lnTo>
                    <a:pt x="244697" y="739711"/>
                  </a:lnTo>
                  <a:lnTo>
                    <a:pt x="243745" y="731806"/>
                  </a:lnTo>
                  <a:lnTo>
                    <a:pt x="237649" y="734187"/>
                  </a:lnTo>
                  <a:lnTo>
                    <a:pt x="232505" y="731615"/>
                  </a:lnTo>
                  <a:lnTo>
                    <a:pt x="225742" y="729329"/>
                  </a:lnTo>
                  <a:lnTo>
                    <a:pt x="216503" y="732091"/>
                  </a:lnTo>
                  <a:lnTo>
                    <a:pt x="211931" y="734282"/>
                  </a:lnTo>
                  <a:lnTo>
                    <a:pt x="211931" y="734282"/>
                  </a:lnTo>
                  <a:lnTo>
                    <a:pt x="210407" y="734473"/>
                  </a:lnTo>
                  <a:lnTo>
                    <a:pt x="209359" y="726567"/>
                  </a:lnTo>
                  <a:lnTo>
                    <a:pt x="204978" y="717518"/>
                  </a:lnTo>
                  <a:lnTo>
                    <a:pt x="201644" y="716375"/>
                  </a:lnTo>
                  <a:lnTo>
                    <a:pt x="198691" y="718280"/>
                  </a:lnTo>
                  <a:lnTo>
                    <a:pt x="196977" y="716947"/>
                  </a:lnTo>
                  <a:lnTo>
                    <a:pt x="192976" y="711041"/>
                  </a:lnTo>
                  <a:lnTo>
                    <a:pt x="189833" y="711422"/>
                  </a:lnTo>
                  <a:lnTo>
                    <a:pt x="187833" y="695611"/>
                  </a:lnTo>
                  <a:lnTo>
                    <a:pt x="182880" y="694658"/>
                  </a:lnTo>
                  <a:lnTo>
                    <a:pt x="178879" y="688753"/>
                  </a:lnTo>
                  <a:lnTo>
                    <a:pt x="175736" y="689134"/>
                  </a:lnTo>
                  <a:lnTo>
                    <a:pt x="172402" y="687991"/>
                  </a:lnTo>
                  <a:lnTo>
                    <a:pt x="169640" y="691515"/>
                  </a:lnTo>
                  <a:lnTo>
                    <a:pt x="168021" y="691801"/>
                  </a:lnTo>
                  <a:lnTo>
                    <a:pt x="166497" y="691991"/>
                  </a:lnTo>
                  <a:lnTo>
                    <a:pt x="163163" y="690753"/>
                  </a:lnTo>
                  <a:lnTo>
                    <a:pt x="161734" y="692563"/>
                  </a:lnTo>
                  <a:lnTo>
                    <a:pt x="163925" y="697135"/>
                  </a:lnTo>
                  <a:lnTo>
                    <a:pt x="144970" y="699516"/>
                  </a:lnTo>
                  <a:lnTo>
                    <a:pt x="139827" y="696944"/>
                  </a:lnTo>
                  <a:lnTo>
                    <a:pt x="118777" y="694849"/>
                  </a:lnTo>
                  <a:lnTo>
                    <a:pt x="118300" y="691706"/>
                  </a:lnTo>
                  <a:lnTo>
                    <a:pt x="114967" y="690467"/>
                  </a:lnTo>
                  <a:lnTo>
                    <a:pt x="114586" y="687324"/>
                  </a:lnTo>
                  <a:lnTo>
                    <a:pt x="109252" y="683228"/>
                  </a:lnTo>
                  <a:lnTo>
                    <a:pt x="110585" y="681419"/>
                  </a:lnTo>
                  <a:lnTo>
                    <a:pt x="108680" y="678466"/>
                  </a:lnTo>
                  <a:lnTo>
                    <a:pt x="103537" y="675894"/>
                  </a:lnTo>
                  <a:lnTo>
                    <a:pt x="99917" y="673132"/>
                  </a:lnTo>
                  <a:lnTo>
                    <a:pt x="98393" y="673322"/>
                  </a:lnTo>
                  <a:lnTo>
                    <a:pt x="94774" y="670655"/>
                  </a:lnTo>
                  <a:lnTo>
                    <a:pt x="85534" y="673418"/>
                  </a:lnTo>
                  <a:lnTo>
                    <a:pt x="82772" y="664178"/>
                  </a:lnTo>
                  <a:lnTo>
                    <a:pt x="78010" y="664750"/>
                  </a:lnTo>
                  <a:lnTo>
                    <a:pt x="72866" y="662178"/>
                  </a:lnTo>
                  <a:lnTo>
                    <a:pt x="73438" y="654082"/>
                  </a:lnTo>
                  <a:lnTo>
                    <a:pt x="76771" y="655225"/>
                  </a:lnTo>
                  <a:lnTo>
                    <a:pt x="78010" y="651891"/>
                  </a:lnTo>
                  <a:lnTo>
                    <a:pt x="89249" y="652082"/>
                  </a:lnTo>
                  <a:lnTo>
                    <a:pt x="97726" y="655796"/>
                  </a:lnTo>
                  <a:lnTo>
                    <a:pt x="97345" y="652653"/>
                  </a:lnTo>
                  <a:lnTo>
                    <a:pt x="90583" y="650272"/>
                  </a:lnTo>
                  <a:lnTo>
                    <a:pt x="89059" y="650462"/>
                  </a:lnTo>
                  <a:lnTo>
                    <a:pt x="86296" y="641223"/>
                  </a:lnTo>
                  <a:lnTo>
                    <a:pt x="82867" y="640080"/>
                  </a:lnTo>
                  <a:lnTo>
                    <a:pt x="70294" y="641699"/>
                  </a:lnTo>
                  <a:lnTo>
                    <a:pt x="66294" y="648557"/>
                  </a:lnTo>
                  <a:lnTo>
                    <a:pt x="60007" y="649415"/>
                  </a:lnTo>
                  <a:lnTo>
                    <a:pt x="56483" y="646652"/>
                  </a:lnTo>
                  <a:lnTo>
                    <a:pt x="57626" y="643319"/>
                  </a:lnTo>
                  <a:lnTo>
                    <a:pt x="57245" y="640080"/>
                  </a:lnTo>
                  <a:lnTo>
                    <a:pt x="54292" y="642080"/>
                  </a:lnTo>
                  <a:lnTo>
                    <a:pt x="52102" y="637604"/>
                  </a:lnTo>
                  <a:lnTo>
                    <a:pt x="47815" y="641318"/>
                  </a:lnTo>
                  <a:lnTo>
                    <a:pt x="32956" y="638365"/>
                  </a:lnTo>
                  <a:lnTo>
                    <a:pt x="30861" y="646652"/>
                  </a:lnTo>
                  <a:lnTo>
                    <a:pt x="27622" y="647129"/>
                  </a:lnTo>
                  <a:lnTo>
                    <a:pt x="25336" y="653796"/>
                  </a:lnTo>
                  <a:lnTo>
                    <a:pt x="23717" y="653986"/>
                  </a:lnTo>
                  <a:lnTo>
                    <a:pt x="18764" y="653034"/>
                  </a:lnTo>
                  <a:lnTo>
                    <a:pt x="17812" y="645128"/>
                  </a:lnTo>
                  <a:lnTo>
                    <a:pt x="6763" y="646557"/>
                  </a:lnTo>
                  <a:lnTo>
                    <a:pt x="2191" y="648748"/>
                  </a:lnTo>
                  <a:lnTo>
                    <a:pt x="667" y="648938"/>
                  </a:lnTo>
                  <a:lnTo>
                    <a:pt x="0" y="644176"/>
                  </a:lnTo>
                  <a:lnTo>
                    <a:pt x="4191" y="638842"/>
                  </a:lnTo>
                  <a:lnTo>
                    <a:pt x="3524" y="634175"/>
                  </a:lnTo>
                  <a:lnTo>
                    <a:pt x="9430" y="630174"/>
                  </a:lnTo>
                  <a:lnTo>
                    <a:pt x="10858" y="628364"/>
                  </a:lnTo>
                  <a:lnTo>
                    <a:pt x="8858" y="625411"/>
                  </a:lnTo>
                  <a:lnTo>
                    <a:pt x="12954" y="620078"/>
                  </a:lnTo>
                  <a:lnTo>
                    <a:pt x="12382" y="615410"/>
                  </a:lnTo>
                  <a:lnTo>
                    <a:pt x="17335" y="616363"/>
                  </a:lnTo>
                  <a:lnTo>
                    <a:pt x="23622" y="615506"/>
                  </a:lnTo>
                  <a:lnTo>
                    <a:pt x="24003" y="605885"/>
                  </a:lnTo>
                  <a:lnTo>
                    <a:pt x="21622" y="599789"/>
                  </a:lnTo>
                  <a:lnTo>
                    <a:pt x="21431" y="598170"/>
                  </a:lnTo>
                  <a:lnTo>
                    <a:pt x="16478" y="597218"/>
                  </a:lnTo>
                  <a:lnTo>
                    <a:pt x="13906" y="589502"/>
                  </a:lnTo>
                  <a:lnTo>
                    <a:pt x="9811" y="594836"/>
                  </a:lnTo>
                  <a:lnTo>
                    <a:pt x="7810" y="591884"/>
                  </a:lnTo>
                  <a:lnTo>
                    <a:pt x="8382" y="583787"/>
                  </a:lnTo>
                  <a:lnTo>
                    <a:pt x="9144" y="577310"/>
                  </a:lnTo>
                  <a:lnTo>
                    <a:pt x="7144" y="574358"/>
                  </a:lnTo>
                  <a:lnTo>
                    <a:pt x="11525" y="570548"/>
                  </a:lnTo>
                  <a:lnTo>
                    <a:pt x="14859" y="571786"/>
                  </a:lnTo>
                  <a:lnTo>
                    <a:pt x="17621" y="568166"/>
                  </a:lnTo>
                  <a:lnTo>
                    <a:pt x="20764" y="567785"/>
                  </a:lnTo>
                  <a:lnTo>
                    <a:pt x="21526" y="561308"/>
                  </a:lnTo>
                  <a:lnTo>
                    <a:pt x="31242" y="561689"/>
                  </a:lnTo>
                  <a:lnTo>
                    <a:pt x="31242" y="561689"/>
                  </a:lnTo>
                  <a:lnTo>
                    <a:pt x="31432" y="563213"/>
                  </a:lnTo>
                  <a:lnTo>
                    <a:pt x="41434" y="566738"/>
                  </a:lnTo>
                  <a:lnTo>
                    <a:pt x="46196" y="566166"/>
                  </a:lnTo>
                  <a:lnTo>
                    <a:pt x="47149" y="561213"/>
                  </a:lnTo>
                  <a:lnTo>
                    <a:pt x="45434" y="559880"/>
                  </a:lnTo>
                  <a:lnTo>
                    <a:pt x="46577" y="556451"/>
                  </a:lnTo>
                  <a:lnTo>
                    <a:pt x="48387" y="557879"/>
                  </a:lnTo>
                  <a:lnTo>
                    <a:pt x="53054" y="557213"/>
                  </a:lnTo>
                  <a:lnTo>
                    <a:pt x="51911" y="547783"/>
                  </a:lnTo>
                  <a:lnTo>
                    <a:pt x="51721" y="546163"/>
                  </a:lnTo>
                  <a:lnTo>
                    <a:pt x="52102" y="536543"/>
                  </a:lnTo>
                  <a:lnTo>
                    <a:pt x="52483" y="539686"/>
                  </a:lnTo>
                  <a:lnTo>
                    <a:pt x="53816" y="537877"/>
                  </a:lnTo>
                  <a:lnTo>
                    <a:pt x="56007" y="542449"/>
                  </a:lnTo>
                  <a:lnTo>
                    <a:pt x="60960" y="543401"/>
                  </a:lnTo>
                  <a:lnTo>
                    <a:pt x="65913" y="544354"/>
                  </a:lnTo>
                  <a:lnTo>
                    <a:pt x="66865" y="539496"/>
                  </a:lnTo>
                  <a:lnTo>
                    <a:pt x="66103" y="533114"/>
                  </a:lnTo>
                  <a:lnTo>
                    <a:pt x="65246" y="526828"/>
                  </a:lnTo>
                  <a:lnTo>
                    <a:pt x="60103" y="524256"/>
                  </a:lnTo>
                  <a:lnTo>
                    <a:pt x="60103" y="524256"/>
                  </a:lnTo>
                  <a:lnTo>
                    <a:pt x="69628" y="523113"/>
                  </a:lnTo>
                  <a:lnTo>
                    <a:pt x="70580" y="518160"/>
                  </a:lnTo>
                  <a:lnTo>
                    <a:pt x="66008" y="507492"/>
                  </a:lnTo>
                  <a:lnTo>
                    <a:pt x="68770" y="503968"/>
                  </a:lnTo>
                  <a:lnTo>
                    <a:pt x="66199" y="496253"/>
                  </a:lnTo>
                  <a:lnTo>
                    <a:pt x="69913" y="500539"/>
                  </a:lnTo>
                  <a:lnTo>
                    <a:pt x="69723" y="499015"/>
                  </a:lnTo>
                  <a:lnTo>
                    <a:pt x="77629" y="497967"/>
                  </a:lnTo>
                  <a:lnTo>
                    <a:pt x="80581" y="496062"/>
                  </a:lnTo>
                  <a:lnTo>
                    <a:pt x="80391" y="494443"/>
                  </a:lnTo>
                  <a:lnTo>
                    <a:pt x="83534" y="494062"/>
                  </a:lnTo>
                  <a:lnTo>
                    <a:pt x="83534" y="494062"/>
                  </a:lnTo>
                  <a:lnTo>
                    <a:pt x="83153" y="490919"/>
                  </a:lnTo>
                  <a:lnTo>
                    <a:pt x="87820" y="490252"/>
                  </a:lnTo>
                  <a:lnTo>
                    <a:pt x="86106" y="488918"/>
                  </a:lnTo>
                  <a:lnTo>
                    <a:pt x="85249" y="482632"/>
                  </a:lnTo>
                  <a:lnTo>
                    <a:pt x="86868" y="482346"/>
                  </a:lnTo>
                  <a:lnTo>
                    <a:pt x="90202" y="483584"/>
                  </a:lnTo>
                  <a:lnTo>
                    <a:pt x="91345" y="480250"/>
                  </a:lnTo>
                  <a:lnTo>
                    <a:pt x="97726" y="479393"/>
                  </a:lnTo>
                  <a:lnTo>
                    <a:pt x="100013" y="472726"/>
                  </a:lnTo>
                  <a:lnTo>
                    <a:pt x="107728" y="470154"/>
                  </a:lnTo>
                  <a:lnTo>
                    <a:pt x="110871" y="469678"/>
                  </a:lnTo>
                  <a:lnTo>
                    <a:pt x="110680" y="468154"/>
                  </a:lnTo>
                  <a:lnTo>
                    <a:pt x="113633" y="466154"/>
                  </a:lnTo>
                  <a:lnTo>
                    <a:pt x="113633" y="466154"/>
                  </a:lnTo>
                  <a:lnTo>
                    <a:pt x="121348" y="476345"/>
                  </a:lnTo>
                  <a:lnTo>
                    <a:pt x="124777" y="477584"/>
                  </a:lnTo>
                  <a:lnTo>
                    <a:pt x="127730" y="475583"/>
                  </a:lnTo>
                  <a:lnTo>
                    <a:pt x="135541" y="474536"/>
                  </a:lnTo>
                  <a:lnTo>
                    <a:pt x="142684" y="467296"/>
                  </a:lnTo>
                  <a:lnTo>
                    <a:pt x="147828" y="469773"/>
                  </a:lnTo>
                  <a:lnTo>
                    <a:pt x="147352" y="466630"/>
                  </a:lnTo>
                  <a:lnTo>
                    <a:pt x="160782" y="458534"/>
                  </a:lnTo>
                  <a:lnTo>
                    <a:pt x="156591" y="451009"/>
                  </a:lnTo>
                  <a:lnTo>
                    <a:pt x="164973" y="453200"/>
                  </a:lnTo>
                  <a:lnTo>
                    <a:pt x="167926" y="451199"/>
                  </a:lnTo>
                  <a:lnTo>
                    <a:pt x="171640" y="442722"/>
                  </a:lnTo>
                  <a:lnTo>
                    <a:pt x="169831" y="441388"/>
                  </a:lnTo>
                  <a:lnTo>
                    <a:pt x="171164" y="439579"/>
                  </a:lnTo>
                  <a:lnTo>
                    <a:pt x="171450" y="441103"/>
                  </a:lnTo>
                  <a:lnTo>
                    <a:pt x="176117" y="440531"/>
                  </a:lnTo>
                  <a:lnTo>
                    <a:pt x="180308" y="435197"/>
                  </a:lnTo>
                  <a:lnTo>
                    <a:pt x="192691" y="419195"/>
                  </a:lnTo>
                  <a:lnTo>
                    <a:pt x="194691" y="422148"/>
                  </a:lnTo>
                  <a:lnTo>
                    <a:pt x="193262" y="423958"/>
                  </a:lnTo>
                  <a:lnTo>
                    <a:pt x="193262" y="436721"/>
                  </a:lnTo>
                  <a:lnTo>
                    <a:pt x="202597" y="433959"/>
                  </a:lnTo>
                  <a:lnTo>
                    <a:pt x="205930" y="435102"/>
                  </a:lnTo>
                  <a:lnTo>
                    <a:pt x="211264" y="439293"/>
                  </a:lnTo>
                  <a:lnTo>
                    <a:pt x="214408" y="438912"/>
                  </a:lnTo>
                  <a:lnTo>
                    <a:pt x="225076" y="434340"/>
                  </a:lnTo>
                  <a:lnTo>
                    <a:pt x="242792" y="435292"/>
                  </a:lnTo>
                  <a:lnTo>
                    <a:pt x="247936" y="437769"/>
                  </a:lnTo>
                  <a:lnTo>
                    <a:pt x="250317" y="431102"/>
                  </a:lnTo>
                  <a:lnTo>
                    <a:pt x="251079" y="424529"/>
                  </a:lnTo>
                  <a:lnTo>
                    <a:pt x="253079" y="427577"/>
                  </a:lnTo>
                  <a:lnTo>
                    <a:pt x="256794" y="419005"/>
                  </a:lnTo>
                  <a:lnTo>
                    <a:pt x="258794" y="421958"/>
                  </a:lnTo>
                  <a:lnTo>
                    <a:pt x="258032" y="428530"/>
                  </a:lnTo>
                  <a:lnTo>
                    <a:pt x="261175" y="428149"/>
                  </a:lnTo>
                  <a:lnTo>
                    <a:pt x="263747" y="423005"/>
                  </a:lnTo>
                  <a:lnTo>
                    <a:pt x="266890" y="422529"/>
                  </a:lnTo>
                  <a:lnTo>
                    <a:pt x="275177" y="411861"/>
                  </a:lnTo>
                  <a:lnTo>
                    <a:pt x="280607" y="404813"/>
                  </a:lnTo>
                  <a:lnTo>
                    <a:pt x="282988" y="398050"/>
                  </a:lnTo>
                  <a:lnTo>
                    <a:pt x="286131" y="397669"/>
                  </a:lnTo>
                  <a:lnTo>
                    <a:pt x="292036" y="393668"/>
                  </a:lnTo>
                  <a:lnTo>
                    <a:pt x="295180" y="393287"/>
                  </a:lnTo>
                  <a:lnTo>
                    <a:pt x="299180" y="399193"/>
                  </a:lnTo>
                  <a:lnTo>
                    <a:pt x="300323" y="395859"/>
                  </a:lnTo>
                  <a:lnTo>
                    <a:pt x="302133" y="397192"/>
                  </a:lnTo>
                  <a:lnTo>
                    <a:pt x="308705" y="410813"/>
                  </a:lnTo>
                  <a:lnTo>
                    <a:pt x="307943" y="417386"/>
                  </a:lnTo>
                  <a:lnTo>
                    <a:pt x="309848" y="420338"/>
                  </a:lnTo>
                  <a:lnTo>
                    <a:pt x="309848" y="420338"/>
                  </a:lnTo>
                  <a:lnTo>
                    <a:pt x="326993" y="416528"/>
                  </a:lnTo>
                  <a:lnTo>
                    <a:pt x="327374" y="406813"/>
                  </a:lnTo>
                  <a:lnTo>
                    <a:pt x="330327" y="404813"/>
                  </a:lnTo>
                  <a:lnTo>
                    <a:pt x="327946" y="398717"/>
                  </a:lnTo>
                  <a:lnTo>
                    <a:pt x="333661" y="393192"/>
                  </a:lnTo>
                  <a:lnTo>
                    <a:pt x="337661" y="386334"/>
                  </a:lnTo>
                  <a:lnTo>
                    <a:pt x="343948" y="385477"/>
                  </a:lnTo>
                  <a:lnTo>
                    <a:pt x="359473" y="381857"/>
                  </a:lnTo>
                  <a:lnTo>
                    <a:pt x="362712" y="381476"/>
                  </a:lnTo>
                  <a:lnTo>
                    <a:pt x="361474" y="384810"/>
                  </a:lnTo>
                  <a:lnTo>
                    <a:pt x="370522" y="380524"/>
                  </a:lnTo>
                  <a:lnTo>
                    <a:pt x="371761" y="377095"/>
                  </a:lnTo>
                  <a:lnTo>
                    <a:pt x="376428" y="376523"/>
                  </a:lnTo>
                  <a:lnTo>
                    <a:pt x="381000" y="374333"/>
                  </a:lnTo>
                  <a:lnTo>
                    <a:pt x="381762" y="367856"/>
                  </a:lnTo>
                  <a:lnTo>
                    <a:pt x="384905" y="367475"/>
                  </a:lnTo>
                  <a:lnTo>
                    <a:pt x="384715" y="365855"/>
                  </a:lnTo>
                  <a:lnTo>
                    <a:pt x="388048" y="366998"/>
                  </a:lnTo>
                  <a:lnTo>
                    <a:pt x="390811" y="363474"/>
                  </a:lnTo>
                  <a:lnTo>
                    <a:pt x="392049" y="360140"/>
                  </a:lnTo>
                  <a:lnTo>
                    <a:pt x="390811" y="350615"/>
                  </a:lnTo>
                  <a:lnTo>
                    <a:pt x="390430" y="347472"/>
                  </a:lnTo>
                  <a:lnTo>
                    <a:pt x="387287" y="347853"/>
                  </a:lnTo>
                  <a:lnTo>
                    <a:pt x="388810" y="347663"/>
                  </a:lnTo>
                  <a:lnTo>
                    <a:pt x="388620" y="346138"/>
                  </a:lnTo>
                  <a:lnTo>
                    <a:pt x="395192" y="346900"/>
                  </a:lnTo>
                  <a:lnTo>
                    <a:pt x="395383" y="348425"/>
                  </a:lnTo>
                  <a:lnTo>
                    <a:pt x="401669" y="347663"/>
                  </a:lnTo>
                  <a:lnTo>
                    <a:pt x="402050" y="350806"/>
                  </a:lnTo>
                  <a:lnTo>
                    <a:pt x="414909" y="350806"/>
                  </a:lnTo>
                  <a:lnTo>
                    <a:pt x="418052" y="350425"/>
                  </a:lnTo>
                  <a:lnTo>
                    <a:pt x="417862" y="348806"/>
                  </a:lnTo>
                  <a:lnTo>
                    <a:pt x="415862" y="345853"/>
                  </a:lnTo>
                  <a:lnTo>
                    <a:pt x="417481" y="345662"/>
                  </a:lnTo>
                  <a:lnTo>
                    <a:pt x="417195" y="344043"/>
                  </a:lnTo>
                  <a:lnTo>
                    <a:pt x="415480" y="342710"/>
                  </a:lnTo>
                  <a:lnTo>
                    <a:pt x="417767" y="335947"/>
                  </a:lnTo>
                  <a:lnTo>
                    <a:pt x="413861" y="330041"/>
                  </a:lnTo>
                  <a:lnTo>
                    <a:pt x="410718" y="330517"/>
                  </a:lnTo>
                  <a:lnTo>
                    <a:pt x="408908" y="316230"/>
                  </a:lnTo>
                  <a:lnTo>
                    <a:pt x="416623" y="313658"/>
                  </a:lnTo>
                  <a:lnTo>
                    <a:pt x="414814" y="312325"/>
                  </a:lnTo>
                  <a:lnTo>
                    <a:pt x="419576" y="311753"/>
                  </a:lnTo>
                  <a:lnTo>
                    <a:pt x="422053" y="306610"/>
                  </a:lnTo>
                  <a:lnTo>
                    <a:pt x="425196" y="306134"/>
                  </a:lnTo>
                  <a:lnTo>
                    <a:pt x="427958" y="302609"/>
                  </a:lnTo>
                  <a:lnTo>
                    <a:pt x="435673" y="300038"/>
                  </a:lnTo>
                  <a:lnTo>
                    <a:pt x="441388" y="307277"/>
                  </a:lnTo>
                  <a:lnTo>
                    <a:pt x="444817" y="308515"/>
                  </a:lnTo>
                  <a:lnTo>
                    <a:pt x="444151" y="303752"/>
                  </a:lnTo>
                  <a:lnTo>
                    <a:pt x="447294" y="303371"/>
                  </a:lnTo>
                  <a:lnTo>
                    <a:pt x="447104" y="301752"/>
                  </a:lnTo>
                  <a:lnTo>
                    <a:pt x="459200" y="308229"/>
                  </a:lnTo>
                  <a:lnTo>
                    <a:pt x="469011" y="310229"/>
                  </a:lnTo>
                  <a:lnTo>
                    <a:pt x="471011" y="313182"/>
                  </a:lnTo>
                  <a:lnTo>
                    <a:pt x="474155" y="312801"/>
                  </a:lnTo>
                  <a:lnTo>
                    <a:pt x="474631" y="315944"/>
                  </a:lnTo>
                  <a:lnTo>
                    <a:pt x="476155" y="315754"/>
                  </a:lnTo>
                  <a:lnTo>
                    <a:pt x="489013" y="315659"/>
                  </a:lnTo>
                  <a:lnTo>
                    <a:pt x="503396" y="315468"/>
                  </a:lnTo>
                  <a:lnTo>
                    <a:pt x="503777" y="318611"/>
                  </a:lnTo>
                  <a:lnTo>
                    <a:pt x="510350" y="319373"/>
                  </a:lnTo>
                  <a:lnTo>
                    <a:pt x="519970" y="319754"/>
                  </a:lnTo>
                  <a:lnTo>
                    <a:pt x="521780" y="321088"/>
                  </a:lnTo>
                  <a:lnTo>
                    <a:pt x="523113" y="319373"/>
                  </a:lnTo>
                  <a:lnTo>
                    <a:pt x="538925" y="317373"/>
                  </a:lnTo>
                  <a:lnTo>
                    <a:pt x="540258" y="315563"/>
                  </a:lnTo>
                  <a:lnTo>
                    <a:pt x="548640" y="317754"/>
                  </a:lnTo>
                  <a:lnTo>
                    <a:pt x="550926" y="310991"/>
                  </a:lnTo>
                  <a:lnTo>
                    <a:pt x="548735" y="306419"/>
                  </a:lnTo>
                  <a:lnTo>
                    <a:pt x="558832" y="310039"/>
                  </a:lnTo>
                  <a:lnTo>
                    <a:pt x="557498" y="311753"/>
                  </a:lnTo>
                  <a:lnTo>
                    <a:pt x="561404" y="317659"/>
                  </a:lnTo>
                  <a:lnTo>
                    <a:pt x="562642" y="314325"/>
                  </a:lnTo>
                  <a:lnTo>
                    <a:pt x="569500" y="318230"/>
                  </a:lnTo>
                  <a:lnTo>
                    <a:pt x="569119" y="315087"/>
                  </a:lnTo>
                  <a:lnTo>
                    <a:pt x="572452" y="316230"/>
                  </a:lnTo>
                  <a:lnTo>
                    <a:pt x="573405" y="311372"/>
                  </a:lnTo>
                  <a:lnTo>
                    <a:pt x="589026" y="320611"/>
                  </a:lnTo>
                  <a:lnTo>
                    <a:pt x="593979" y="321564"/>
                  </a:lnTo>
                  <a:lnTo>
                    <a:pt x="594360" y="324707"/>
                  </a:lnTo>
                  <a:lnTo>
                    <a:pt x="596170" y="326041"/>
                  </a:lnTo>
                  <a:lnTo>
                    <a:pt x="599694" y="316040"/>
                  </a:lnTo>
                  <a:lnTo>
                    <a:pt x="601313" y="315849"/>
                  </a:lnTo>
                  <a:lnTo>
                    <a:pt x="605600" y="312039"/>
                  </a:lnTo>
                  <a:lnTo>
                    <a:pt x="605218" y="308896"/>
                  </a:lnTo>
                  <a:lnTo>
                    <a:pt x="608933" y="300419"/>
                  </a:lnTo>
                  <a:lnTo>
                    <a:pt x="610743" y="301752"/>
                  </a:lnTo>
                  <a:lnTo>
                    <a:pt x="614839" y="296418"/>
                  </a:lnTo>
                  <a:lnTo>
                    <a:pt x="621983" y="301942"/>
                  </a:lnTo>
                  <a:lnTo>
                    <a:pt x="626935" y="302895"/>
                  </a:lnTo>
                  <a:lnTo>
                    <a:pt x="628269" y="301181"/>
                  </a:lnTo>
                  <a:lnTo>
                    <a:pt x="628079" y="299561"/>
                  </a:lnTo>
                  <a:lnTo>
                    <a:pt x="633222" y="302133"/>
                  </a:lnTo>
                  <a:lnTo>
                    <a:pt x="637984" y="301561"/>
                  </a:lnTo>
                  <a:lnTo>
                    <a:pt x="635794" y="296990"/>
                  </a:lnTo>
                  <a:lnTo>
                    <a:pt x="647224" y="298704"/>
                  </a:lnTo>
                  <a:lnTo>
                    <a:pt x="646652" y="294037"/>
                  </a:lnTo>
                  <a:lnTo>
                    <a:pt x="649986" y="295180"/>
                  </a:lnTo>
                  <a:lnTo>
                    <a:pt x="651319" y="293370"/>
                  </a:lnTo>
                  <a:lnTo>
                    <a:pt x="657892" y="294132"/>
                  </a:lnTo>
                  <a:lnTo>
                    <a:pt x="658082" y="295751"/>
                  </a:lnTo>
                  <a:lnTo>
                    <a:pt x="661416" y="296894"/>
                  </a:lnTo>
                  <a:lnTo>
                    <a:pt x="661606" y="298513"/>
                  </a:lnTo>
                  <a:lnTo>
                    <a:pt x="664940" y="299657"/>
                  </a:lnTo>
                  <a:lnTo>
                    <a:pt x="665607" y="304419"/>
                  </a:lnTo>
                  <a:lnTo>
                    <a:pt x="666750" y="301085"/>
                  </a:lnTo>
                  <a:lnTo>
                    <a:pt x="670084" y="302228"/>
                  </a:lnTo>
                  <a:lnTo>
                    <a:pt x="666559" y="299466"/>
                  </a:lnTo>
                  <a:lnTo>
                    <a:pt x="669703" y="299085"/>
                  </a:lnTo>
                  <a:lnTo>
                    <a:pt x="671513" y="300419"/>
                  </a:lnTo>
                  <a:lnTo>
                    <a:pt x="670084" y="302228"/>
                  </a:lnTo>
                  <a:lnTo>
                    <a:pt x="670274" y="303848"/>
                  </a:lnTo>
                  <a:lnTo>
                    <a:pt x="674656" y="300038"/>
                  </a:lnTo>
                  <a:lnTo>
                    <a:pt x="676180" y="299847"/>
                  </a:lnTo>
                  <a:lnTo>
                    <a:pt x="681323" y="289560"/>
                  </a:lnTo>
                  <a:lnTo>
                    <a:pt x="679704" y="289750"/>
                  </a:lnTo>
                  <a:lnTo>
                    <a:pt x="680752" y="284798"/>
                  </a:lnTo>
                  <a:lnTo>
                    <a:pt x="679133" y="285083"/>
                  </a:lnTo>
                  <a:lnTo>
                    <a:pt x="680561" y="283273"/>
                  </a:lnTo>
                  <a:lnTo>
                    <a:pt x="677132" y="282131"/>
                  </a:lnTo>
                  <a:lnTo>
                    <a:pt x="678561" y="280321"/>
                  </a:lnTo>
                  <a:lnTo>
                    <a:pt x="677323" y="270796"/>
                  </a:lnTo>
                  <a:lnTo>
                    <a:pt x="684085" y="273177"/>
                  </a:lnTo>
                  <a:lnTo>
                    <a:pt x="683800" y="258794"/>
                  </a:lnTo>
                  <a:lnTo>
                    <a:pt x="683228" y="254032"/>
                  </a:lnTo>
                  <a:lnTo>
                    <a:pt x="684752" y="253841"/>
                  </a:lnTo>
                  <a:lnTo>
                    <a:pt x="685990" y="250508"/>
                  </a:lnTo>
                  <a:lnTo>
                    <a:pt x="682371" y="247745"/>
                  </a:lnTo>
                  <a:lnTo>
                    <a:pt x="679037" y="246602"/>
                  </a:lnTo>
                  <a:lnTo>
                    <a:pt x="678466" y="241840"/>
                  </a:lnTo>
                  <a:lnTo>
                    <a:pt x="674942" y="239077"/>
                  </a:lnTo>
                  <a:lnTo>
                    <a:pt x="674465" y="235934"/>
                  </a:lnTo>
                  <a:lnTo>
                    <a:pt x="678847" y="232124"/>
                  </a:lnTo>
                  <a:lnTo>
                    <a:pt x="680847" y="235077"/>
                  </a:lnTo>
                  <a:lnTo>
                    <a:pt x="683800" y="233172"/>
                  </a:lnTo>
                  <a:lnTo>
                    <a:pt x="680180" y="230410"/>
                  </a:lnTo>
                  <a:lnTo>
                    <a:pt x="679799" y="227267"/>
                  </a:lnTo>
                  <a:lnTo>
                    <a:pt x="676275" y="224504"/>
                  </a:lnTo>
                  <a:lnTo>
                    <a:pt x="677418" y="221075"/>
                  </a:lnTo>
                  <a:lnTo>
                    <a:pt x="679228" y="222504"/>
                  </a:lnTo>
                  <a:lnTo>
                    <a:pt x="678751" y="219361"/>
                  </a:lnTo>
                  <a:lnTo>
                    <a:pt x="677037" y="217932"/>
                  </a:lnTo>
                  <a:lnTo>
                    <a:pt x="676847" y="216408"/>
                  </a:lnTo>
                  <a:lnTo>
                    <a:pt x="673227" y="213646"/>
                  </a:lnTo>
                  <a:lnTo>
                    <a:pt x="673037" y="212027"/>
                  </a:lnTo>
                  <a:lnTo>
                    <a:pt x="675989" y="210026"/>
                  </a:lnTo>
                  <a:lnTo>
                    <a:pt x="679133" y="209645"/>
                  </a:lnTo>
                  <a:lnTo>
                    <a:pt x="680371" y="206311"/>
                  </a:lnTo>
                  <a:lnTo>
                    <a:pt x="683323" y="204311"/>
                  </a:lnTo>
                  <a:lnTo>
                    <a:pt x="695992" y="215551"/>
                  </a:lnTo>
                  <a:lnTo>
                    <a:pt x="711137" y="221647"/>
                  </a:lnTo>
                  <a:lnTo>
                    <a:pt x="712375" y="218313"/>
                  </a:lnTo>
                  <a:lnTo>
                    <a:pt x="715709" y="219456"/>
                  </a:lnTo>
                  <a:lnTo>
                    <a:pt x="712089" y="216694"/>
                  </a:lnTo>
                  <a:lnTo>
                    <a:pt x="714851" y="213169"/>
                  </a:lnTo>
                  <a:lnTo>
                    <a:pt x="713137" y="211741"/>
                  </a:lnTo>
                  <a:lnTo>
                    <a:pt x="708374" y="212312"/>
                  </a:lnTo>
                  <a:lnTo>
                    <a:pt x="706564" y="210979"/>
                  </a:lnTo>
                  <a:lnTo>
                    <a:pt x="710755" y="205645"/>
                  </a:lnTo>
                  <a:lnTo>
                    <a:pt x="714280" y="208407"/>
                  </a:lnTo>
                  <a:lnTo>
                    <a:pt x="715423" y="205073"/>
                  </a:lnTo>
                  <a:lnTo>
                    <a:pt x="712089" y="203835"/>
                  </a:lnTo>
                  <a:lnTo>
                    <a:pt x="713708" y="203644"/>
                  </a:lnTo>
                  <a:lnTo>
                    <a:pt x="718185" y="201454"/>
                  </a:lnTo>
                  <a:lnTo>
                    <a:pt x="716185" y="185738"/>
                  </a:lnTo>
                  <a:lnTo>
                    <a:pt x="726853" y="193929"/>
                  </a:lnTo>
                  <a:lnTo>
                    <a:pt x="734759" y="192977"/>
                  </a:lnTo>
                  <a:lnTo>
                    <a:pt x="733806" y="185071"/>
                  </a:lnTo>
                  <a:lnTo>
                    <a:pt x="742474" y="190405"/>
                  </a:lnTo>
                  <a:lnTo>
                    <a:pt x="750570" y="190976"/>
                  </a:lnTo>
                  <a:lnTo>
                    <a:pt x="749141" y="179927"/>
                  </a:lnTo>
                  <a:lnTo>
                    <a:pt x="750284" y="176498"/>
                  </a:lnTo>
                  <a:lnTo>
                    <a:pt x="749713" y="171831"/>
                  </a:lnTo>
                  <a:lnTo>
                    <a:pt x="750856" y="168497"/>
                  </a:lnTo>
                  <a:lnTo>
                    <a:pt x="745998" y="167450"/>
                  </a:lnTo>
                  <a:lnTo>
                    <a:pt x="749141" y="167069"/>
                  </a:lnTo>
                  <a:lnTo>
                    <a:pt x="749522" y="157448"/>
                  </a:lnTo>
                  <a:lnTo>
                    <a:pt x="738759" y="136303"/>
                  </a:lnTo>
                  <a:lnTo>
                    <a:pt x="751237" y="133160"/>
                  </a:lnTo>
                  <a:lnTo>
                    <a:pt x="748189" y="122301"/>
                  </a:lnTo>
                  <a:lnTo>
                    <a:pt x="760095" y="127159"/>
                  </a:lnTo>
                  <a:lnTo>
                    <a:pt x="761619" y="126968"/>
                  </a:lnTo>
                  <a:lnTo>
                    <a:pt x="760857" y="133540"/>
                  </a:lnTo>
                  <a:lnTo>
                    <a:pt x="767429" y="134302"/>
                  </a:lnTo>
                  <a:lnTo>
                    <a:pt x="766001" y="136017"/>
                  </a:lnTo>
                  <a:lnTo>
                    <a:pt x="769810" y="140398"/>
                  </a:lnTo>
                  <a:lnTo>
                    <a:pt x="772097" y="133636"/>
                  </a:lnTo>
                  <a:lnTo>
                    <a:pt x="770382" y="132302"/>
                  </a:lnTo>
                  <a:lnTo>
                    <a:pt x="775430" y="122015"/>
                  </a:lnTo>
                  <a:lnTo>
                    <a:pt x="786479" y="120586"/>
                  </a:lnTo>
                  <a:lnTo>
                    <a:pt x="783526" y="122587"/>
                  </a:lnTo>
                  <a:lnTo>
                    <a:pt x="787337" y="126968"/>
                  </a:lnTo>
                  <a:lnTo>
                    <a:pt x="789908" y="134588"/>
                  </a:lnTo>
                  <a:lnTo>
                    <a:pt x="791623" y="136017"/>
                  </a:lnTo>
                  <a:lnTo>
                    <a:pt x="799909" y="138113"/>
                  </a:lnTo>
                  <a:lnTo>
                    <a:pt x="804672" y="137541"/>
                  </a:lnTo>
                  <a:lnTo>
                    <a:pt x="807434" y="134017"/>
                  </a:lnTo>
                  <a:lnTo>
                    <a:pt x="801910" y="128302"/>
                  </a:lnTo>
                  <a:lnTo>
                    <a:pt x="801719" y="126683"/>
                  </a:lnTo>
                  <a:lnTo>
                    <a:pt x="811339" y="127063"/>
                  </a:lnTo>
                  <a:lnTo>
                    <a:pt x="812768" y="125254"/>
                  </a:lnTo>
                  <a:lnTo>
                    <a:pt x="815340" y="120110"/>
                  </a:lnTo>
                  <a:lnTo>
                    <a:pt x="821817" y="120967"/>
                  </a:lnTo>
                  <a:lnTo>
                    <a:pt x="823436" y="120682"/>
                  </a:lnTo>
                  <a:lnTo>
                    <a:pt x="823627" y="122301"/>
                  </a:lnTo>
                  <a:lnTo>
                    <a:pt x="822198" y="124111"/>
                  </a:lnTo>
                  <a:lnTo>
                    <a:pt x="822865" y="128778"/>
                  </a:lnTo>
                  <a:lnTo>
                    <a:pt x="821436" y="130588"/>
                  </a:lnTo>
                  <a:lnTo>
                    <a:pt x="826960" y="136303"/>
                  </a:lnTo>
                  <a:lnTo>
                    <a:pt x="825246" y="134969"/>
                  </a:lnTo>
                  <a:lnTo>
                    <a:pt x="822484" y="138494"/>
                  </a:lnTo>
                  <a:lnTo>
                    <a:pt x="821436" y="143446"/>
                  </a:lnTo>
                  <a:lnTo>
                    <a:pt x="823246" y="144780"/>
                  </a:lnTo>
                  <a:lnTo>
                    <a:pt x="824675" y="155829"/>
                  </a:lnTo>
                  <a:lnTo>
                    <a:pt x="830199" y="161544"/>
                  </a:lnTo>
                  <a:lnTo>
                    <a:pt x="831818" y="161354"/>
                  </a:lnTo>
                  <a:lnTo>
                    <a:pt x="832771" y="156400"/>
                  </a:lnTo>
                  <a:lnTo>
                    <a:pt x="834771" y="159353"/>
                  </a:lnTo>
                  <a:lnTo>
                    <a:pt x="836105" y="157639"/>
                  </a:lnTo>
                  <a:lnTo>
                    <a:pt x="836295" y="159163"/>
                  </a:lnTo>
                  <a:lnTo>
                    <a:pt x="839438" y="158782"/>
                  </a:lnTo>
                  <a:lnTo>
                    <a:pt x="838105" y="160592"/>
                  </a:lnTo>
                  <a:lnTo>
                    <a:pt x="838105" y="160592"/>
                  </a:lnTo>
                  <a:lnTo>
                    <a:pt x="843248" y="163068"/>
                  </a:lnTo>
                  <a:lnTo>
                    <a:pt x="845248" y="166021"/>
                  </a:lnTo>
                  <a:lnTo>
                    <a:pt x="847915" y="162496"/>
                  </a:lnTo>
                  <a:lnTo>
                    <a:pt x="845820" y="157925"/>
                  </a:lnTo>
                  <a:lnTo>
                    <a:pt x="849916" y="152590"/>
                  </a:lnTo>
                  <a:lnTo>
                    <a:pt x="850297" y="155829"/>
                  </a:lnTo>
                  <a:lnTo>
                    <a:pt x="856869" y="156591"/>
                  </a:lnTo>
                  <a:lnTo>
                    <a:pt x="858393" y="156400"/>
                  </a:lnTo>
                  <a:lnTo>
                    <a:pt x="859155" y="149828"/>
                  </a:lnTo>
                  <a:lnTo>
                    <a:pt x="864108" y="150781"/>
                  </a:lnTo>
                  <a:lnTo>
                    <a:pt x="866299" y="155353"/>
                  </a:lnTo>
                  <a:lnTo>
                    <a:pt x="871252" y="156305"/>
                  </a:lnTo>
                  <a:lnTo>
                    <a:pt x="870585" y="151638"/>
                  </a:lnTo>
                  <a:lnTo>
                    <a:pt x="872014" y="149828"/>
                  </a:lnTo>
                  <a:lnTo>
                    <a:pt x="883444" y="151543"/>
                  </a:lnTo>
                  <a:lnTo>
                    <a:pt x="889730" y="150781"/>
                  </a:lnTo>
                  <a:lnTo>
                    <a:pt x="889540" y="149161"/>
                  </a:lnTo>
                  <a:lnTo>
                    <a:pt x="900017" y="155829"/>
                  </a:lnTo>
                  <a:lnTo>
                    <a:pt x="900017" y="155829"/>
                  </a:lnTo>
                  <a:lnTo>
                    <a:pt x="900779" y="155543"/>
                  </a:lnTo>
                  <a:lnTo>
                    <a:pt x="901446" y="154115"/>
                  </a:lnTo>
                  <a:lnTo>
                    <a:pt x="898398" y="143256"/>
                  </a:lnTo>
                  <a:lnTo>
                    <a:pt x="904494" y="140875"/>
                  </a:lnTo>
                  <a:lnTo>
                    <a:pt x="904304" y="139256"/>
                  </a:lnTo>
                  <a:lnTo>
                    <a:pt x="914019" y="139636"/>
                  </a:lnTo>
                  <a:lnTo>
                    <a:pt x="916781" y="136112"/>
                  </a:lnTo>
                  <a:lnTo>
                    <a:pt x="920115" y="137255"/>
                  </a:lnTo>
                  <a:lnTo>
                    <a:pt x="923830" y="115919"/>
                  </a:lnTo>
                  <a:lnTo>
                    <a:pt x="923449" y="112776"/>
                  </a:lnTo>
                  <a:lnTo>
                    <a:pt x="943165" y="116681"/>
                  </a:lnTo>
                  <a:lnTo>
                    <a:pt x="944309" y="113348"/>
                  </a:lnTo>
                  <a:lnTo>
                    <a:pt x="946309" y="103442"/>
                  </a:lnTo>
                  <a:lnTo>
                    <a:pt x="940308" y="81820"/>
                  </a:lnTo>
                  <a:lnTo>
                    <a:pt x="940498" y="70485"/>
                  </a:lnTo>
                  <a:lnTo>
                    <a:pt x="975074" y="77343"/>
                  </a:lnTo>
                  <a:lnTo>
                    <a:pt x="994410" y="90869"/>
                  </a:lnTo>
                  <a:lnTo>
                    <a:pt x="1008602" y="76295"/>
                  </a:lnTo>
                  <a:lnTo>
                    <a:pt x="1011746" y="75914"/>
                  </a:lnTo>
                  <a:lnTo>
                    <a:pt x="1014508" y="72295"/>
                  </a:lnTo>
                  <a:lnTo>
                    <a:pt x="1015651" y="68961"/>
                  </a:lnTo>
                  <a:lnTo>
                    <a:pt x="1013651" y="66008"/>
                  </a:lnTo>
                  <a:lnTo>
                    <a:pt x="1008317" y="61913"/>
                  </a:lnTo>
                  <a:lnTo>
                    <a:pt x="1009269" y="56959"/>
                  </a:lnTo>
                  <a:lnTo>
                    <a:pt x="1007364" y="54007"/>
                  </a:lnTo>
                  <a:lnTo>
                    <a:pt x="1019747" y="50768"/>
                  </a:lnTo>
                  <a:lnTo>
                    <a:pt x="1019556" y="49244"/>
                  </a:lnTo>
                  <a:lnTo>
                    <a:pt x="1027081" y="45053"/>
                  </a:lnTo>
                  <a:lnTo>
                    <a:pt x="1031748" y="44482"/>
                  </a:lnTo>
                  <a:lnTo>
                    <a:pt x="1034891" y="44005"/>
                  </a:lnTo>
                  <a:lnTo>
                    <a:pt x="1037654" y="40481"/>
                  </a:lnTo>
                  <a:lnTo>
                    <a:pt x="1038320" y="45244"/>
                  </a:lnTo>
                  <a:lnTo>
                    <a:pt x="1044035" y="39719"/>
                  </a:lnTo>
                  <a:lnTo>
                    <a:pt x="1050131" y="37338"/>
                  </a:lnTo>
                  <a:lnTo>
                    <a:pt x="1045750" y="28289"/>
                  </a:lnTo>
                  <a:lnTo>
                    <a:pt x="1047369" y="28003"/>
                  </a:lnTo>
                  <a:lnTo>
                    <a:pt x="1042988" y="18955"/>
                  </a:lnTo>
                  <a:lnTo>
                    <a:pt x="1039844" y="19336"/>
                  </a:lnTo>
                  <a:lnTo>
                    <a:pt x="1045940" y="16954"/>
                  </a:lnTo>
                  <a:lnTo>
                    <a:pt x="1047274" y="15240"/>
                  </a:lnTo>
                  <a:lnTo>
                    <a:pt x="1050608" y="16383"/>
                  </a:lnTo>
                  <a:lnTo>
                    <a:pt x="1050417" y="14859"/>
                  </a:lnTo>
                  <a:lnTo>
                    <a:pt x="1053656" y="14383"/>
                  </a:lnTo>
                  <a:lnTo>
                    <a:pt x="1055370" y="15811"/>
                  </a:lnTo>
                  <a:lnTo>
                    <a:pt x="1048798" y="2191"/>
                  </a:lnTo>
                  <a:lnTo>
                    <a:pt x="1053370" y="0"/>
                  </a:lnTo>
                  <a:lnTo>
                    <a:pt x="1066419" y="1524"/>
                  </a:lnTo>
                  <a:lnTo>
                    <a:pt x="1064990" y="3334"/>
                  </a:lnTo>
                  <a:lnTo>
                    <a:pt x="1067372" y="9430"/>
                  </a:lnTo>
                  <a:lnTo>
                    <a:pt x="1064419" y="11430"/>
                  </a:lnTo>
                  <a:lnTo>
                    <a:pt x="1066419" y="14383"/>
                  </a:lnTo>
                  <a:lnTo>
                    <a:pt x="1069562" y="14002"/>
                  </a:lnTo>
                  <a:lnTo>
                    <a:pt x="1073182" y="16764"/>
                  </a:lnTo>
                  <a:lnTo>
                    <a:pt x="1072706" y="13621"/>
                  </a:lnTo>
                  <a:lnTo>
                    <a:pt x="1077659" y="14573"/>
                  </a:lnTo>
                  <a:lnTo>
                    <a:pt x="1082040" y="23622"/>
                  </a:lnTo>
                  <a:lnTo>
                    <a:pt x="1077277" y="24194"/>
                  </a:lnTo>
                  <a:lnTo>
                    <a:pt x="1080706" y="25432"/>
                  </a:lnTo>
                  <a:lnTo>
                    <a:pt x="1082612" y="28384"/>
                  </a:lnTo>
                  <a:lnTo>
                    <a:pt x="1087374" y="27718"/>
                  </a:lnTo>
                  <a:lnTo>
                    <a:pt x="1090898" y="30480"/>
                  </a:lnTo>
                  <a:lnTo>
                    <a:pt x="1090136" y="24194"/>
                  </a:lnTo>
                  <a:lnTo>
                    <a:pt x="1094899" y="23622"/>
                  </a:lnTo>
                  <a:lnTo>
                    <a:pt x="1095661" y="17050"/>
                  </a:lnTo>
                  <a:lnTo>
                    <a:pt x="1096994" y="15335"/>
                  </a:lnTo>
                  <a:lnTo>
                    <a:pt x="1100423" y="16478"/>
                  </a:lnTo>
                  <a:lnTo>
                    <a:pt x="1097471" y="18478"/>
                  </a:lnTo>
                  <a:lnTo>
                    <a:pt x="1099185" y="19812"/>
                  </a:lnTo>
                  <a:lnTo>
                    <a:pt x="1102328" y="19431"/>
                  </a:lnTo>
                  <a:lnTo>
                    <a:pt x="1104329" y="22384"/>
                  </a:lnTo>
                  <a:lnTo>
                    <a:pt x="1109091" y="21812"/>
                  </a:lnTo>
                  <a:lnTo>
                    <a:pt x="1112234" y="21336"/>
                  </a:lnTo>
                  <a:lnTo>
                    <a:pt x="1118140" y="17431"/>
                  </a:lnTo>
                  <a:lnTo>
                    <a:pt x="1118521" y="20574"/>
                  </a:lnTo>
                  <a:lnTo>
                    <a:pt x="1117378" y="23908"/>
                  </a:lnTo>
                  <a:lnTo>
                    <a:pt x="1119188" y="25336"/>
                  </a:lnTo>
                  <a:lnTo>
                    <a:pt x="1125664" y="38862"/>
                  </a:lnTo>
                  <a:lnTo>
                    <a:pt x="1127284" y="38672"/>
                  </a:lnTo>
                  <a:lnTo>
                    <a:pt x="1128808" y="38481"/>
                  </a:lnTo>
                  <a:lnTo>
                    <a:pt x="1133951" y="41053"/>
                  </a:lnTo>
                  <a:lnTo>
                    <a:pt x="1134809" y="47339"/>
                  </a:lnTo>
                  <a:lnTo>
                    <a:pt x="1136142" y="45625"/>
                  </a:lnTo>
                  <a:lnTo>
                    <a:pt x="1139285" y="45148"/>
                  </a:lnTo>
                  <a:lnTo>
                    <a:pt x="1139476" y="46768"/>
                  </a:lnTo>
                  <a:lnTo>
                    <a:pt x="1138523" y="51721"/>
                  </a:lnTo>
                  <a:lnTo>
                    <a:pt x="1142333" y="56007"/>
                  </a:lnTo>
                  <a:lnTo>
                    <a:pt x="1141285" y="60960"/>
                  </a:lnTo>
                  <a:lnTo>
                    <a:pt x="1145667" y="57245"/>
                  </a:lnTo>
                  <a:lnTo>
                    <a:pt x="1147477" y="58579"/>
                  </a:lnTo>
                  <a:lnTo>
                    <a:pt x="1151954" y="56388"/>
                  </a:lnTo>
                  <a:lnTo>
                    <a:pt x="1156716" y="55817"/>
                  </a:lnTo>
                  <a:lnTo>
                    <a:pt x="1156716" y="55817"/>
                  </a:lnTo>
                  <a:lnTo>
                    <a:pt x="1160907" y="63246"/>
                  </a:lnTo>
                  <a:lnTo>
                    <a:pt x="1166051" y="65818"/>
                  </a:lnTo>
                  <a:lnTo>
                    <a:pt x="1164812" y="69247"/>
                  </a:lnTo>
                  <a:lnTo>
                    <a:pt x="1169575" y="68580"/>
                  </a:lnTo>
                  <a:lnTo>
                    <a:pt x="1178433" y="75438"/>
                  </a:lnTo>
                  <a:lnTo>
                    <a:pt x="1175671" y="79057"/>
                  </a:lnTo>
                  <a:lnTo>
                    <a:pt x="1175861" y="80581"/>
                  </a:lnTo>
                  <a:lnTo>
                    <a:pt x="1178909" y="78676"/>
                  </a:lnTo>
                  <a:lnTo>
                    <a:pt x="1177862" y="83534"/>
                  </a:lnTo>
                  <a:lnTo>
                    <a:pt x="1181290" y="97536"/>
                  </a:lnTo>
                  <a:lnTo>
                    <a:pt x="1183100" y="98965"/>
                  </a:lnTo>
                  <a:lnTo>
                    <a:pt x="1185005" y="101917"/>
                  </a:lnTo>
                  <a:lnTo>
                    <a:pt x="1192721" y="99346"/>
                  </a:lnTo>
                  <a:lnTo>
                    <a:pt x="1193102" y="102489"/>
                  </a:lnTo>
                  <a:lnTo>
                    <a:pt x="1194721" y="102298"/>
                  </a:lnTo>
                  <a:lnTo>
                    <a:pt x="1194911" y="103823"/>
                  </a:lnTo>
                  <a:lnTo>
                    <a:pt x="1199483" y="101727"/>
                  </a:lnTo>
                  <a:lnTo>
                    <a:pt x="1204341" y="102679"/>
                  </a:lnTo>
                  <a:lnTo>
                    <a:pt x="1209675" y="106775"/>
                  </a:lnTo>
                  <a:lnTo>
                    <a:pt x="1208342" y="108585"/>
                  </a:lnTo>
                  <a:lnTo>
                    <a:pt x="1209961" y="108394"/>
                  </a:lnTo>
                  <a:lnTo>
                    <a:pt x="1210342" y="111538"/>
                  </a:lnTo>
                  <a:lnTo>
                    <a:pt x="1213485" y="111157"/>
                  </a:lnTo>
                  <a:lnTo>
                    <a:pt x="1212342" y="114490"/>
                  </a:lnTo>
                  <a:lnTo>
                    <a:pt x="1210723" y="114681"/>
                  </a:lnTo>
                  <a:lnTo>
                    <a:pt x="1211104" y="117824"/>
                  </a:lnTo>
                  <a:lnTo>
                    <a:pt x="1209580" y="118015"/>
                  </a:lnTo>
                  <a:lnTo>
                    <a:pt x="1210151" y="122777"/>
                  </a:lnTo>
                  <a:lnTo>
                    <a:pt x="1203674" y="122015"/>
                  </a:lnTo>
                  <a:lnTo>
                    <a:pt x="1204055" y="125158"/>
                  </a:lnTo>
                  <a:lnTo>
                    <a:pt x="1196150" y="126111"/>
                  </a:lnTo>
                  <a:lnTo>
                    <a:pt x="1191768" y="129921"/>
                  </a:lnTo>
                  <a:lnTo>
                    <a:pt x="1192816" y="137827"/>
                  </a:lnTo>
                  <a:lnTo>
                    <a:pt x="1194816" y="140779"/>
                  </a:lnTo>
                  <a:lnTo>
                    <a:pt x="1198150" y="141923"/>
                  </a:lnTo>
                  <a:lnTo>
                    <a:pt x="1205675" y="150590"/>
                  </a:lnTo>
                  <a:lnTo>
                    <a:pt x="1206246" y="155353"/>
                  </a:lnTo>
                  <a:lnTo>
                    <a:pt x="1205103" y="158686"/>
                  </a:lnTo>
                  <a:lnTo>
                    <a:pt x="1203769" y="160496"/>
                  </a:lnTo>
                  <a:lnTo>
                    <a:pt x="1207103" y="161639"/>
                  </a:lnTo>
                  <a:lnTo>
                    <a:pt x="1212437" y="165735"/>
                  </a:lnTo>
                  <a:lnTo>
                    <a:pt x="1211009" y="167545"/>
                  </a:lnTo>
                  <a:lnTo>
                    <a:pt x="1211485" y="170688"/>
                  </a:lnTo>
                  <a:lnTo>
                    <a:pt x="1208056" y="169545"/>
                  </a:lnTo>
                  <a:lnTo>
                    <a:pt x="1206722" y="171355"/>
                  </a:lnTo>
                  <a:lnTo>
                    <a:pt x="1208246" y="171069"/>
                  </a:lnTo>
                  <a:lnTo>
                    <a:pt x="1208723" y="174308"/>
                  </a:lnTo>
                  <a:lnTo>
                    <a:pt x="1207484" y="177641"/>
                  </a:lnTo>
                  <a:lnTo>
                    <a:pt x="1209104" y="177451"/>
                  </a:lnTo>
                  <a:lnTo>
                    <a:pt x="1208342" y="183928"/>
                  </a:lnTo>
                  <a:lnTo>
                    <a:pt x="1206722" y="184118"/>
                  </a:lnTo>
                  <a:lnTo>
                    <a:pt x="1207389" y="188881"/>
                  </a:lnTo>
                  <a:lnTo>
                    <a:pt x="1203008" y="192596"/>
                  </a:lnTo>
                  <a:lnTo>
                    <a:pt x="1205389" y="198787"/>
                  </a:lnTo>
                  <a:lnTo>
                    <a:pt x="1209961" y="196596"/>
                  </a:lnTo>
                  <a:lnTo>
                    <a:pt x="1210342" y="199739"/>
                  </a:lnTo>
                  <a:lnTo>
                    <a:pt x="1213294" y="197739"/>
                  </a:lnTo>
                  <a:lnTo>
                    <a:pt x="1215104" y="199073"/>
                  </a:lnTo>
                  <a:lnTo>
                    <a:pt x="1221010" y="208026"/>
                  </a:lnTo>
                  <a:lnTo>
                    <a:pt x="1221391" y="211169"/>
                  </a:lnTo>
                  <a:lnTo>
                    <a:pt x="1216628" y="211741"/>
                  </a:lnTo>
                  <a:lnTo>
                    <a:pt x="1217295" y="216503"/>
                  </a:lnTo>
                  <a:lnTo>
                    <a:pt x="1220629" y="217646"/>
                  </a:lnTo>
                  <a:lnTo>
                    <a:pt x="1219486" y="220980"/>
                  </a:lnTo>
                  <a:lnTo>
                    <a:pt x="1226153" y="223361"/>
                  </a:lnTo>
                  <a:lnTo>
                    <a:pt x="1220914" y="244888"/>
                  </a:lnTo>
                  <a:lnTo>
                    <a:pt x="1219105" y="243459"/>
                  </a:lnTo>
                  <a:lnTo>
                    <a:pt x="1217962" y="246888"/>
                  </a:lnTo>
                  <a:lnTo>
                    <a:pt x="1215962" y="243935"/>
                  </a:lnTo>
                  <a:lnTo>
                    <a:pt x="1214818" y="247269"/>
                  </a:lnTo>
                  <a:lnTo>
                    <a:pt x="1208437" y="248031"/>
                  </a:lnTo>
                  <a:lnTo>
                    <a:pt x="1209294" y="254413"/>
                  </a:lnTo>
                  <a:lnTo>
                    <a:pt x="1210818" y="254222"/>
                  </a:lnTo>
                  <a:lnTo>
                    <a:pt x="1211294" y="257365"/>
                  </a:lnTo>
                  <a:lnTo>
                    <a:pt x="1208342" y="259271"/>
                  </a:lnTo>
                  <a:lnTo>
                    <a:pt x="1213676" y="263461"/>
                  </a:lnTo>
                  <a:lnTo>
                    <a:pt x="1212437" y="266795"/>
                  </a:lnTo>
                  <a:lnTo>
                    <a:pt x="1209294" y="267176"/>
                  </a:lnTo>
                  <a:lnTo>
                    <a:pt x="1207960" y="268986"/>
                  </a:lnTo>
                  <a:lnTo>
                    <a:pt x="1206341" y="269177"/>
                  </a:lnTo>
                  <a:lnTo>
                    <a:pt x="1207770" y="267367"/>
                  </a:lnTo>
                  <a:lnTo>
                    <a:pt x="1205960" y="266033"/>
                  </a:lnTo>
                  <a:lnTo>
                    <a:pt x="1204531" y="267843"/>
                  </a:lnTo>
                  <a:lnTo>
                    <a:pt x="1201198" y="266605"/>
                  </a:lnTo>
                  <a:lnTo>
                    <a:pt x="1199864" y="268415"/>
                  </a:lnTo>
                  <a:lnTo>
                    <a:pt x="1196245" y="265652"/>
                  </a:lnTo>
                  <a:lnTo>
                    <a:pt x="1193768" y="270796"/>
                  </a:lnTo>
                  <a:lnTo>
                    <a:pt x="1186815" y="279654"/>
                  </a:lnTo>
                  <a:lnTo>
                    <a:pt x="1192339" y="285369"/>
                  </a:lnTo>
                  <a:lnTo>
                    <a:pt x="1196340" y="291275"/>
                  </a:lnTo>
                  <a:lnTo>
                    <a:pt x="1199483" y="290894"/>
                  </a:lnTo>
                  <a:lnTo>
                    <a:pt x="1204817" y="295085"/>
                  </a:lnTo>
                  <a:lnTo>
                    <a:pt x="1203293" y="295275"/>
                  </a:lnTo>
                  <a:lnTo>
                    <a:pt x="1199102" y="300609"/>
                  </a:lnTo>
                  <a:lnTo>
                    <a:pt x="1201864" y="309848"/>
                  </a:lnTo>
                  <a:lnTo>
                    <a:pt x="1204055" y="314420"/>
                  </a:lnTo>
                  <a:lnTo>
                    <a:pt x="1207675" y="317087"/>
                  </a:lnTo>
                  <a:lnTo>
                    <a:pt x="1214533" y="321088"/>
                  </a:lnTo>
                  <a:lnTo>
                    <a:pt x="1221296" y="323374"/>
                  </a:lnTo>
                  <a:lnTo>
                    <a:pt x="1224248" y="321469"/>
                  </a:lnTo>
                  <a:lnTo>
                    <a:pt x="1229582" y="312706"/>
                  </a:lnTo>
                  <a:lnTo>
                    <a:pt x="1233488" y="318611"/>
                  </a:lnTo>
                  <a:lnTo>
                    <a:pt x="1241965" y="322326"/>
                  </a:lnTo>
                  <a:lnTo>
                    <a:pt x="1245394" y="323564"/>
                  </a:lnTo>
                  <a:lnTo>
                    <a:pt x="1243965" y="325374"/>
                  </a:lnTo>
                  <a:lnTo>
                    <a:pt x="1242631" y="327088"/>
                  </a:lnTo>
                  <a:lnTo>
                    <a:pt x="1241012" y="327279"/>
                  </a:lnTo>
                  <a:lnTo>
                    <a:pt x="1240441" y="335375"/>
                  </a:lnTo>
                  <a:lnTo>
                    <a:pt x="1243775" y="336613"/>
                  </a:lnTo>
                  <a:lnTo>
                    <a:pt x="1247965" y="331280"/>
                  </a:lnTo>
                  <a:lnTo>
                    <a:pt x="1249680" y="332613"/>
                  </a:lnTo>
                  <a:lnTo>
                    <a:pt x="1249871" y="334232"/>
                  </a:lnTo>
                  <a:lnTo>
                    <a:pt x="1253871" y="340138"/>
                  </a:lnTo>
                  <a:lnTo>
                    <a:pt x="1255490" y="339947"/>
                  </a:lnTo>
                  <a:lnTo>
                    <a:pt x="1257395" y="342900"/>
                  </a:lnTo>
                  <a:lnTo>
                    <a:pt x="1260634" y="342424"/>
                  </a:lnTo>
                  <a:lnTo>
                    <a:pt x="1264348" y="346805"/>
                  </a:lnTo>
                  <a:lnTo>
                    <a:pt x="1264920" y="351568"/>
                  </a:lnTo>
                  <a:lnTo>
                    <a:pt x="1261586" y="350330"/>
                  </a:lnTo>
                  <a:lnTo>
                    <a:pt x="1255681" y="354330"/>
                  </a:lnTo>
                  <a:lnTo>
                    <a:pt x="1256062" y="357473"/>
                  </a:lnTo>
                  <a:lnTo>
                    <a:pt x="1259681" y="360236"/>
                  </a:lnTo>
                  <a:lnTo>
                    <a:pt x="1260253" y="364998"/>
                  </a:lnTo>
                  <a:lnTo>
                    <a:pt x="1257681" y="370046"/>
                  </a:lnTo>
                  <a:lnTo>
                    <a:pt x="1261301" y="372809"/>
                  </a:lnTo>
                  <a:lnTo>
                    <a:pt x="1271492" y="377952"/>
                  </a:lnTo>
                  <a:lnTo>
                    <a:pt x="1271968" y="381095"/>
                  </a:lnTo>
                  <a:lnTo>
                    <a:pt x="1273683" y="382524"/>
                  </a:lnTo>
                  <a:lnTo>
                    <a:pt x="1274921" y="379095"/>
                  </a:lnTo>
                  <a:lnTo>
                    <a:pt x="1276445" y="378905"/>
                  </a:lnTo>
                  <a:lnTo>
                    <a:pt x="1276826" y="382048"/>
                  </a:lnTo>
                  <a:lnTo>
                    <a:pt x="1278636" y="383477"/>
                  </a:lnTo>
                  <a:lnTo>
                    <a:pt x="1280065" y="381667"/>
                  </a:lnTo>
                  <a:lnTo>
                    <a:pt x="1281589" y="381476"/>
                  </a:lnTo>
                  <a:lnTo>
                    <a:pt x="1281208" y="378333"/>
                  </a:lnTo>
                  <a:lnTo>
                    <a:pt x="1290828" y="378714"/>
                  </a:lnTo>
                  <a:lnTo>
                    <a:pt x="1295019" y="373380"/>
                  </a:lnTo>
                  <a:lnTo>
                    <a:pt x="1298162" y="372999"/>
                  </a:lnTo>
                  <a:lnTo>
                    <a:pt x="1299972" y="374333"/>
                  </a:lnTo>
                  <a:lnTo>
                    <a:pt x="1300163" y="375952"/>
                  </a:lnTo>
                  <a:lnTo>
                    <a:pt x="1303687" y="378714"/>
                  </a:lnTo>
                  <a:lnTo>
                    <a:pt x="1303877" y="380238"/>
                  </a:lnTo>
                  <a:lnTo>
                    <a:pt x="1306830" y="378238"/>
                  </a:lnTo>
                  <a:lnTo>
                    <a:pt x="1310450" y="381000"/>
                  </a:lnTo>
                  <a:lnTo>
                    <a:pt x="1311783" y="379286"/>
                  </a:lnTo>
                  <a:lnTo>
                    <a:pt x="1318546" y="381571"/>
                  </a:lnTo>
                  <a:lnTo>
                    <a:pt x="1325404" y="385477"/>
                  </a:lnTo>
                  <a:lnTo>
                    <a:pt x="1324070" y="387286"/>
                  </a:lnTo>
                  <a:lnTo>
                    <a:pt x="1327594" y="390049"/>
                  </a:lnTo>
                  <a:lnTo>
                    <a:pt x="1328928" y="388239"/>
                  </a:lnTo>
                  <a:lnTo>
                    <a:pt x="1333310" y="384524"/>
                  </a:lnTo>
                  <a:lnTo>
                    <a:pt x="1335691" y="377761"/>
                  </a:lnTo>
                  <a:lnTo>
                    <a:pt x="1342168" y="378619"/>
                  </a:lnTo>
                  <a:lnTo>
                    <a:pt x="1346549" y="374809"/>
                  </a:lnTo>
                  <a:lnTo>
                    <a:pt x="1351217" y="374237"/>
                  </a:lnTo>
                  <a:lnTo>
                    <a:pt x="1352645" y="372428"/>
                  </a:lnTo>
                  <a:lnTo>
                    <a:pt x="1357313" y="371856"/>
                  </a:lnTo>
                  <a:lnTo>
                    <a:pt x="1358551" y="368522"/>
                  </a:lnTo>
                  <a:lnTo>
                    <a:pt x="1358932" y="371665"/>
                  </a:lnTo>
                  <a:lnTo>
                    <a:pt x="1360551" y="371475"/>
                  </a:lnTo>
                  <a:lnTo>
                    <a:pt x="1361504" y="379286"/>
                  </a:lnTo>
                  <a:lnTo>
                    <a:pt x="1363123" y="379095"/>
                  </a:lnTo>
                  <a:lnTo>
                    <a:pt x="1363313" y="380714"/>
                  </a:lnTo>
                  <a:lnTo>
                    <a:pt x="1367981" y="380048"/>
                  </a:lnTo>
                  <a:lnTo>
                    <a:pt x="1371600" y="382810"/>
                  </a:lnTo>
                  <a:lnTo>
                    <a:pt x="1371790" y="384429"/>
                  </a:lnTo>
                  <a:lnTo>
                    <a:pt x="1376553" y="383858"/>
                  </a:lnTo>
                  <a:lnTo>
                    <a:pt x="1378744" y="388334"/>
                  </a:lnTo>
                  <a:lnTo>
                    <a:pt x="1374362" y="392144"/>
                  </a:lnTo>
                  <a:lnTo>
                    <a:pt x="1376553" y="396621"/>
                  </a:lnTo>
                  <a:lnTo>
                    <a:pt x="1376743" y="398240"/>
                  </a:lnTo>
                  <a:lnTo>
                    <a:pt x="1375219" y="398431"/>
                  </a:lnTo>
                  <a:lnTo>
                    <a:pt x="1377982" y="407670"/>
                  </a:lnTo>
                  <a:lnTo>
                    <a:pt x="1377029" y="412623"/>
                  </a:lnTo>
                  <a:lnTo>
                    <a:pt x="1378744" y="413957"/>
                  </a:lnTo>
                  <a:lnTo>
                    <a:pt x="1382744" y="419957"/>
                  </a:lnTo>
                  <a:lnTo>
                    <a:pt x="1378363" y="423672"/>
                  </a:lnTo>
                  <a:lnTo>
                    <a:pt x="1373696" y="424244"/>
                  </a:lnTo>
                  <a:lnTo>
                    <a:pt x="1370933" y="427863"/>
                  </a:lnTo>
                  <a:lnTo>
                    <a:pt x="1374267" y="429006"/>
                  </a:lnTo>
                  <a:lnTo>
                    <a:pt x="1376077" y="443198"/>
                  </a:lnTo>
                  <a:lnTo>
                    <a:pt x="1372362" y="451675"/>
                  </a:lnTo>
                  <a:lnTo>
                    <a:pt x="1378839" y="452438"/>
                  </a:lnTo>
                  <a:lnTo>
                    <a:pt x="1379696" y="458819"/>
                  </a:lnTo>
                  <a:lnTo>
                    <a:pt x="1381220" y="458629"/>
                  </a:lnTo>
                  <a:lnTo>
                    <a:pt x="1387983" y="460915"/>
                  </a:lnTo>
                  <a:lnTo>
                    <a:pt x="1385983" y="470821"/>
                  </a:lnTo>
                  <a:lnTo>
                    <a:pt x="1388745" y="467296"/>
                  </a:lnTo>
                  <a:lnTo>
                    <a:pt x="1389126" y="470440"/>
                  </a:lnTo>
                  <a:lnTo>
                    <a:pt x="1390936" y="471773"/>
                  </a:lnTo>
                  <a:lnTo>
                    <a:pt x="1388364" y="476917"/>
                  </a:lnTo>
                  <a:lnTo>
                    <a:pt x="1394269" y="472916"/>
                  </a:lnTo>
                  <a:lnTo>
                    <a:pt x="1390364" y="479869"/>
                  </a:lnTo>
                  <a:lnTo>
                    <a:pt x="1391126" y="486156"/>
                  </a:lnTo>
                  <a:lnTo>
                    <a:pt x="1388650" y="491300"/>
                  </a:lnTo>
                  <a:lnTo>
                    <a:pt x="1386840" y="489966"/>
                  </a:lnTo>
                  <a:lnTo>
                    <a:pt x="1384078" y="493490"/>
                  </a:lnTo>
                  <a:lnTo>
                    <a:pt x="1385888" y="494919"/>
                  </a:lnTo>
                  <a:lnTo>
                    <a:pt x="1387888" y="497872"/>
                  </a:lnTo>
                  <a:lnTo>
                    <a:pt x="1386268" y="498062"/>
                  </a:lnTo>
                  <a:lnTo>
                    <a:pt x="1385316" y="503015"/>
                  </a:lnTo>
                  <a:lnTo>
                    <a:pt x="1383506" y="501586"/>
                  </a:lnTo>
                  <a:lnTo>
                    <a:pt x="1383887" y="504730"/>
                  </a:lnTo>
                  <a:lnTo>
                    <a:pt x="1379410" y="506921"/>
                  </a:lnTo>
                  <a:lnTo>
                    <a:pt x="1378363" y="511873"/>
                  </a:lnTo>
                  <a:lnTo>
                    <a:pt x="1373505" y="510921"/>
                  </a:lnTo>
                  <a:lnTo>
                    <a:pt x="1372648" y="517398"/>
                  </a:lnTo>
                  <a:lnTo>
                    <a:pt x="1370743" y="514445"/>
                  </a:lnTo>
                  <a:lnTo>
                    <a:pt x="1369314" y="516255"/>
                  </a:lnTo>
                  <a:lnTo>
                    <a:pt x="1369981" y="521017"/>
                  </a:lnTo>
                  <a:lnTo>
                    <a:pt x="1366742" y="521398"/>
                  </a:lnTo>
                  <a:lnTo>
                    <a:pt x="1365028" y="519970"/>
                  </a:lnTo>
                  <a:lnTo>
                    <a:pt x="1363409" y="520160"/>
                  </a:lnTo>
                  <a:lnTo>
                    <a:pt x="1362456" y="525113"/>
                  </a:lnTo>
                  <a:lnTo>
                    <a:pt x="1367218" y="524542"/>
                  </a:lnTo>
                  <a:lnTo>
                    <a:pt x="1375886" y="529876"/>
                  </a:lnTo>
                  <a:lnTo>
                    <a:pt x="1376077" y="531400"/>
                  </a:lnTo>
                  <a:lnTo>
                    <a:pt x="1366076" y="540734"/>
                  </a:lnTo>
                  <a:lnTo>
                    <a:pt x="1358360" y="543306"/>
                  </a:lnTo>
                  <a:lnTo>
                    <a:pt x="1358551" y="544925"/>
                  </a:lnTo>
                  <a:lnTo>
                    <a:pt x="1369981" y="546640"/>
                  </a:lnTo>
                  <a:lnTo>
                    <a:pt x="1379220" y="543878"/>
                  </a:lnTo>
                  <a:lnTo>
                    <a:pt x="1386554" y="550926"/>
                  </a:lnTo>
                  <a:lnTo>
                    <a:pt x="1388555" y="553879"/>
                  </a:lnTo>
                  <a:lnTo>
                    <a:pt x="1395317" y="556260"/>
                  </a:lnTo>
                  <a:lnTo>
                    <a:pt x="1396460" y="552926"/>
                  </a:lnTo>
                  <a:lnTo>
                    <a:pt x="1396079" y="549688"/>
                  </a:lnTo>
                  <a:lnTo>
                    <a:pt x="1399604" y="552450"/>
                  </a:lnTo>
                  <a:lnTo>
                    <a:pt x="1402747" y="552069"/>
                  </a:lnTo>
                  <a:lnTo>
                    <a:pt x="1401604" y="555403"/>
                  </a:lnTo>
                  <a:lnTo>
                    <a:pt x="1412272" y="563690"/>
                  </a:lnTo>
                  <a:lnTo>
                    <a:pt x="1418939" y="566071"/>
                  </a:lnTo>
                  <a:lnTo>
                    <a:pt x="1420368" y="564261"/>
                  </a:lnTo>
                  <a:lnTo>
                    <a:pt x="1422178" y="565595"/>
                  </a:lnTo>
                  <a:lnTo>
                    <a:pt x="1420559" y="565880"/>
                  </a:lnTo>
                  <a:lnTo>
                    <a:pt x="1427321" y="568166"/>
                  </a:lnTo>
                  <a:lnTo>
                    <a:pt x="1419035" y="578834"/>
                  </a:lnTo>
                  <a:lnTo>
                    <a:pt x="1419797" y="585216"/>
                  </a:lnTo>
                  <a:lnTo>
                    <a:pt x="1417987" y="583787"/>
                  </a:lnTo>
                  <a:lnTo>
                    <a:pt x="1416463" y="583978"/>
                  </a:lnTo>
                  <a:lnTo>
                    <a:pt x="1419225" y="593312"/>
                  </a:lnTo>
                  <a:lnTo>
                    <a:pt x="1413319" y="597218"/>
                  </a:lnTo>
                  <a:lnTo>
                    <a:pt x="1408176" y="594646"/>
                  </a:lnTo>
                  <a:lnTo>
                    <a:pt x="1407605" y="589979"/>
                  </a:lnTo>
                  <a:lnTo>
                    <a:pt x="1404080" y="587216"/>
                  </a:lnTo>
                  <a:lnTo>
                    <a:pt x="1398080" y="591122"/>
                  </a:lnTo>
                  <a:lnTo>
                    <a:pt x="1394555" y="601218"/>
                  </a:lnTo>
                  <a:lnTo>
                    <a:pt x="1401699" y="606743"/>
                  </a:lnTo>
                  <a:lnTo>
                    <a:pt x="1406081" y="602933"/>
                  </a:lnTo>
                  <a:lnTo>
                    <a:pt x="1410176" y="610457"/>
                  </a:lnTo>
                  <a:lnTo>
                    <a:pt x="1413319" y="610076"/>
                  </a:lnTo>
                  <a:lnTo>
                    <a:pt x="1408843" y="612267"/>
                  </a:lnTo>
                  <a:lnTo>
                    <a:pt x="1405033" y="607886"/>
                  </a:lnTo>
                  <a:lnTo>
                    <a:pt x="1402271" y="611505"/>
                  </a:lnTo>
                  <a:lnTo>
                    <a:pt x="1399127" y="611886"/>
                  </a:lnTo>
                  <a:lnTo>
                    <a:pt x="1397794" y="613696"/>
                  </a:lnTo>
                  <a:lnTo>
                    <a:pt x="1400365" y="621316"/>
                  </a:lnTo>
                  <a:lnTo>
                    <a:pt x="1402556" y="625888"/>
                  </a:lnTo>
                  <a:lnTo>
                    <a:pt x="1402747" y="640271"/>
                  </a:lnTo>
                  <a:lnTo>
                    <a:pt x="1396270" y="639509"/>
                  </a:lnTo>
                  <a:lnTo>
                    <a:pt x="1391698" y="641699"/>
                  </a:lnTo>
                  <a:lnTo>
                    <a:pt x="1389983" y="640271"/>
                  </a:lnTo>
                  <a:lnTo>
                    <a:pt x="1390364" y="643414"/>
                  </a:lnTo>
                  <a:lnTo>
                    <a:pt x="1387221" y="643890"/>
                  </a:lnTo>
                  <a:lnTo>
                    <a:pt x="1385411" y="642461"/>
                  </a:lnTo>
                  <a:lnTo>
                    <a:pt x="1382077" y="641318"/>
                  </a:lnTo>
                  <a:lnTo>
                    <a:pt x="1380839" y="644652"/>
                  </a:lnTo>
                  <a:lnTo>
                    <a:pt x="1377887" y="646652"/>
                  </a:lnTo>
                  <a:lnTo>
                    <a:pt x="1378172" y="648272"/>
                  </a:lnTo>
                  <a:lnTo>
                    <a:pt x="1381697" y="650938"/>
                  </a:lnTo>
                  <a:lnTo>
                    <a:pt x="1392936" y="651129"/>
                  </a:lnTo>
                  <a:lnTo>
                    <a:pt x="1391793" y="654558"/>
                  </a:lnTo>
                  <a:lnTo>
                    <a:pt x="1396270" y="652367"/>
                  </a:lnTo>
                  <a:lnTo>
                    <a:pt x="1396937" y="657035"/>
                  </a:lnTo>
                  <a:lnTo>
                    <a:pt x="1395508" y="658844"/>
                  </a:lnTo>
                  <a:lnTo>
                    <a:pt x="1393698" y="657511"/>
                  </a:lnTo>
                  <a:lnTo>
                    <a:pt x="1392364" y="659225"/>
                  </a:lnTo>
                  <a:lnTo>
                    <a:pt x="1387221" y="656654"/>
                  </a:lnTo>
                  <a:lnTo>
                    <a:pt x="1387412" y="658273"/>
                  </a:lnTo>
                  <a:lnTo>
                    <a:pt x="1390745" y="659416"/>
                  </a:lnTo>
                  <a:lnTo>
                    <a:pt x="1389221" y="659606"/>
                  </a:lnTo>
                  <a:lnTo>
                    <a:pt x="1384078" y="657130"/>
                  </a:lnTo>
                  <a:lnTo>
                    <a:pt x="1380744" y="655892"/>
                  </a:lnTo>
                  <a:lnTo>
                    <a:pt x="1375029" y="661416"/>
                  </a:lnTo>
                  <a:lnTo>
                    <a:pt x="1368933" y="663797"/>
                  </a:lnTo>
                  <a:lnTo>
                    <a:pt x="1374267" y="667988"/>
                  </a:lnTo>
                  <a:lnTo>
                    <a:pt x="1374648" y="671132"/>
                  </a:lnTo>
                  <a:lnTo>
                    <a:pt x="1376172" y="670941"/>
                  </a:lnTo>
                  <a:lnTo>
                    <a:pt x="1377029" y="677228"/>
                  </a:lnTo>
                  <a:lnTo>
                    <a:pt x="1380554" y="679990"/>
                  </a:lnTo>
                  <a:lnTo>
                    <a:pt x="1382173" y="679799"/>
                  </a:lnTo>
                  <a:lnTo>
                    <a:pt x="1380744" y="681609"/>
                  </a:lnTo>
                  <a:lnTo>
                    <a:pt x="1383887" y="681133"/>
                  </a:lnTo>
                  <a:lnTo>
                    <a:pt x="1384364" y="684276"/>
                  </a:lnTo>
                  <a:lnTo>
                    <a:pt x="1389507" y="686848"/>
                  </a:lnTo>
                  <a:lnTo>
                    <a:pt x="1394651" y="689420"/>
                  </a:lnTo>
                  <a:lnTo>
                    <a:pt x="1396365" y="690848"/>
                  </a:lnTo>
                  <a:lnTo>
                    <a:pt x="1400556" y="685514"/>
                  </a:lnTo>
                  <a:lnTo>
                    <a:pt x="1408843" y="687610"/>
                  </a:lnTo>
                  <a:lnTo>
                    <a:pt x="1407414" y="689420"/>
                  </a:lnTo>
                  <a:lnTo>
                    <a:pt x="1405700" y="687991"/>
                  </a:lnTo>
                  <a:lnTo>
                    <a:pt x="1409414" y="692372"/>
                  </a:lnTo>
                  <a:lnTo>
                    <a:pt x="1412367" y="690372"/>
                  </a:lnTo>
                  <a:lnTo>
                    <a:pt x="1417510" y="692944"/>
                  </a:lnTo>
                  <a:lnTo>
                    <a:pt x="1413129" y="696659"/>
                  </a:lnTo>
                  <a:lnTo>
                    <a:pt x="1409986" y="697040"/>
                  </a:lnTo>
                  <a:lnTo>
                    <a:pt x="1411986" y="699992"/>
                  </a:lnTo>
                  <a:lnTo>
                    <a:pt x="1415320" y="701231"/>
                  </a:lnTo>
                  <a:lnTo>
                    <a:pt x="1418558" y="700850"/>
                  </a:lnTo>
                  <a:lnTo>
                    <a:pt x="1418749" y="702374"/>
                  </a:lnTo>
                  <a:lnTo>
                    <a:pt x="1420082" y="700659"/>
                  </a:lnTo>
                  <a:lnTo>
                    <a:pt x="1421892" y="701993"/>
                  </a:lnTo>
                  <a:lnTo>
                    <a:pt x="1427035" y="704564"/>
                  </a:lnTo>
                  <a:lnTo>
                    <a:pt x="1434275" y="698849"/>
                  </a:lnTo>
                  <a:lnTo>
                    <a:pt x="1436084" y="700183"/>
                  </a:lnTo>
                  <a:lnTo>
                    <a:pt x="1436465" y="703326"/>
                  </a:lnTo>
                  <a:lnTo>
                    <a:pt x="1438275" y="704755"/>
                  </a:lnTo>
                  <a:lnTo>
                    <a:pt x="1435322" y="706660"/>
                  </a:lnTo>
                  <a:lnTo>
                    <a:pt x="1436084" y="713041"/>
                  </a:lnTo>
                  <a:lnTo>
                    <a:pt x="1439227" y="712565"/>
                  </a:lnTo>
                  <a:lnTo>
                    <a:pt x="1442752" y="702564"/>
                  </a:lnTo>
                  <a:lnTo>
                    <a:pt x="1444752" y="705517"/>
                  </a:lnTo>
                  <a:lnTo>
                    <a:pt x="1443609" y="708851"/>
                  </a:lnTo>
                  <a:lnTo>
                    <a:pt x="1446752" y="708470"/>
                  </a:lnTo>
                  <a:lnTo>
                    <a:pt x="1445800" y="713423"/>
                  </a:lnTo>
                  <a:lnTo>
                    <a:pt x="1446371" y="718090"/>
                  </a:lnTo>
                  <a:lnTo>
                    <a:pt x="1445038" y="719899"/>
                  </a:lnTo>
                  <a:lnTo>
                    <a:pt x="1437513" y="724090"/>
                  </a:lnTo>
                  <a:lnTo>
                    <a:pt x="1437704" y="725615"/>
                  </a:lnTo>
                  <a:lnTo>
                    <a:pt x="1439704" y="728567"/>
                  </a:lnTo>
                  <a:lnTo>
                    <a:pt x="1448372" y="733901"/>
                  </a:lnTo>
                  <a:lnTo>
                    <a:pt x="1467707" y="747427"/>
                  </a:lnTo>
                  <a:lnTo>
                    <a:pt x="1469136" y="745712"/>
                  </a:lnTo>
                  <a:lnTo>
                    <a:pt x="1472279" y="745236"/>
                  </a:lnTo>
                  <a:lnTo>
                    <a:pt x="1474470" y="749808"/>
                  </a:lnTo>
                  <a:lnTo>
                    <a:pt x="1475804" y="747998"/>
                  </a:lnTo>
                  <a:lnTo>
                    <a:pt x="1477613" y="749427"/>
                  </a:lnTo>
                  <a:lnTo>
                    <a:pt x="1479423" y="750761"/>
                  </a:lnTo>
                  <a:lnTo>
                    <a:pt x="1478185" y="754190"/>
                  </a:lnTo>
                  <a:lnTo>
                    <a:pt x="1481614" y="755332"/>
                  </a:lnTo>
                  <a:lnTo>
                    <a:pt x="1484376" y="751808"/>
                  </a:lnTo>
                  <a:lnTo>
                    <a:pt x="1488281" y="757714"/>
                  </a:lnTo>
                  <a:lnTo>
                    <a:pt x="1485710" y="762857"/>
                  </a:lnTo>
                  <a:lnTo>
                    <a:pt x="1487519" y="764191"/>
                  </a:lnTo>
                  <a:lnTo>
                    <a:pt x="1486567" y="769144"/>
                  </a:lnTo>
                  <a:lnTo>
                    <a:pt x="1488567" y="772097"/>
                  </a:lnTo>
                  <a:lnTo>
                    <a:pt x="1485138" y="770953"/>
                  </a:lnTo>
                  <a:lnTo>
                    <a:pt x="1480661" y="773049"/>
                  </a:lnTo>
                  <a:lnTo>
                    <a:pt x="1476470" y="778383"/>
                  </a:lnTo>
                  <a:lnTo>
                    <a:pt x="1485995" y="790003"/>
                  </a:lnTo>
                  <a:lnTo>
                    <a:pt x="1487805" y="791432"/>
                  </a:lnTo>
                  <a:lnTo>
                    <a:pt x="1489615" y="792766"/>
                  </a:lnTo>
                  <a:lnTo>
                    <a:pt x="1489996" y="795909"/>
                  </a:lnTo>
                  <a:lnTo>
                    <a:pt x="1488758" y="799338"/>
                  </a:lnTo>
                  <a:lnTo>
                    <a:pt x="1487424" y="801053"/>
                  </a:lnTo>
                  <a:lnTo>
                    <a:pt x="1483900" y="798290"/>
                  </a:lnTo>
                  <a:lnTo>
                    <a:pt x="1484852" y="806196"/>
                  </a:lnTo>
                  <a:lnTo>
                    <a:pt x="1483328" y="806386"/>
                  </a:lnTo>
                  <a:lnTo>
                    <a:pt x="1482281" y="811340"/>
                  </a:lnTo>
                  <a:lnTo>
                    <a:pt x="1480756" y="811530"/>
                  </a:lnTo>
                  <a:lnTo>
                    <a:pt x="1480947" y="813149"/>
                  </a:lnTo>
                  <a:lnTo>
                    <a:pt x="1475613" y="821817"/>
                  </a:lnTo>
                  <a:lnTo>
                    <a:pt x="1479233" y="824579"/>
                  </a:lnTo>
                  <a:lnTo>
                    <a:pt x="1476185" y="826580"/>
                  </a:lnTo>
                  <a:lnTo>
                    <a:pt x="1466945" y="829342"/>
                  </a:lnTo>
                  <a:lnTo>
                    <a:pt x="1465421" y="829532"/>
                  </a:lnTo>
                  <a:lnTo>
                    <a:pt x="1465802" y="832676"/>
                  </a:lnTo>
                  <a:lnTo>
                    <a:pt x="1465802" y="832676"/>
                  </a:lnTo>
                  <a:lnTo>
                    <a:pt x="1464659" y="836105"/>
                  </a:lnTo>
                  <a:lnTo>
                    <a:pt x="1469708" y="838581"/>
                  </a:lnTo>
                  <a:lnTo>
                    <a:pt x="1468946" y="845153"/>
                  </a:lnTo>
                  <a:lnTo>
                    <a:pt x="1467993" y="850106"/>
                  </a:lnTo>
                  <a:lnTo>
                    <a:pt x="1469803" y="851440"/>
                  </a:lnTo>
                  <a:lnTo>
                    <a:pt x="1469041" y="857917"/>
                  </a:lnTo>
                  <a:lnTo>
                    <a:pt x="1467422" y="858203"/>
                  </a:lnTo>
                  <a:lnTo>
                    <a:pt x="1465421" y="855250"/>
                  </a:lnTo>
                  <a:lnTo>
                    <a:pt x="1462850" y="860298"/>
                  </a:lnTo>
                  <a:lnTo>
                    <a:pt x="1466469" y="863060"/>
                  </a:lnTo>
                  <a:lnTo>
                    <a:pt x="1466660" y="864680"/>
                  </a:lnTo>
                  <a:lnTo>
                    <a:pt x="1467231" y="869442"/>
                  </a:lnTo>
                  <a:lnTo>
                    <a:pt x="1464088" y="869823"/>
                  </a:lnTo>
                  <a:lnTo>
                    <a:pt x="1462754" y="871633"/>
                  </a:lnTo>
                  <a:lnTo>
                    <a:pt x="1463326" y="876300"/>
                  </a:lnTo>
                  <a:lnTo>
                    <a:pt x="1463516" y="877919"/>
                  </a:lnTo>
                  <a:lnTo>
                    <a:pt x="1459421" y="883253"/>
                  </a:lnTo>
                  <a:lnTo>
                    <a:pt x="1455610" y="878872"/>
                  </a:lnTo>
                  <a:lnTo>
                    <a:pt x="1447990" y="881539"/>
                  </a:lnTo>
                  <a:lnTo>
                    <a:pt x="1448181" y="883063"/>
                  </a:lnTo>
                  <a:lnTo>
                    <a:pt x="1449896" y="884491"/>
                  </a:lnTo>
                  <a:lnTo>
                    <a:pt x="1448372" y="884682"/>
                  </a:lnTo>
                  <a:lnTo>
                    <a:pt x="1448943" y="889349"/>
                  </a:lnTo>
                  <a:lnTo>
                    <a:pt x="1444466" y="891540"/>
                  </a:lnTo>
                  <a:lnTo>
                    <a:pt x="1441228" y="892016"/>
                  </a:lnTo>
                  <a:lnTo>
                    <a:pt x="1441704" y="895160"/>
                  </a:lnTo>
                  <a:lnTo>
                    <a:pt x="1440085" y="895350"/>
                  </a:lnTo>
                  <a:lnTo>
                    <a:pt x="1436084" y="889445"/>
                  </a:lnTo>
                  <a:lnTo>
                    <a:pt x="1431036" y="886873"/>
                  </a:lnTo>
                  <a:lnTo>
                    <a:pt x="1428083" y="888873"/>
                  </a:lnTo>
                  <a:lnTo>
                    <a:pt x="1418177" y="899732"/>
                  </a:lnTo>
                  <a:lnTo>
                    <a:pt x="1418558" y="902875"/>
                  </a:lnTo>
                  <a:lnTo>
                    <a:pt x="1413701" y="901922"/>
                  </a:lnTo>
                  <a:lnTo>
                    <a:pt x="1411129" y="907066"/>
                  </a:lnTo>
                  <a:lnTo>
                    <a:pt x="1407223" y="913924"/>
                  </a:lnTo>
                  <a:lnTo>
                    <a:pt x="1407795" y="918686"/>
                  </a:lnTo>
                  <a:lnTo>
                    <a:pt x="1409795" y="921639"/>
                  </a:lnTo>
                  <a:lnTo>
                    <a:pt x="1414463" y="921068"/>
                  </a:lnTo>
                  <a:lnTo>
                    <a:pt x="1417606" y="920591"/>
                  </a:lnTo>
                  <a:lnTo>
                    <a:pt x="1416653" y="925544"/>
                  </a:lnTo>
                  <a:lnTo>
                    <a:pt x="1420273" y="928307"/>
                  </a:lnTo>
                  <a:lnTo>
                    <a:pt x="1419225" y="933260"/>
                  </a:lnTo>
                  <a:lnTo>
                    <a:pt x="1424368" y="935831"/>
                  </a:lnTo>
                  <a:lnTo>
                    <a:pt x="1421416" y="937832"/>
                  </a:lnTo>
                  <a:lnTo>
                    <a:pt x="1421892" y="940975"/>
                  </a:lnTo>
                  <a:lnTo>
                    <a:pt x="1419130" y="944499"/>
                  </a:lnTo>
                  <a:lnTo>
                    <a:pt x="1415891" y="944880"/>
                  </a:lnTo>
                  <a:lnTo>
                    <a:pt x="1413224" y="948499"/>
                  </a:lnTo>
                  <a:lnTo>
                    <a:pt x="1413415" y="950024"/>
                  </a:lnTo>
                  <a:lnTo>
                    <a:pt x="1409795" y="947261"/>
                  </a:lnTo>
                  <a:lnTo>
                    <a:pt x="1408271" y="947452"/>
                  </a:lnTo>
                  <a:lnTo>
                    <a:pt x="1406462" y="946118"/>
                  </a:lnTo>
                  <a:lnTo>
                    <a:pt x="1401889" y="948309"/>
                  </a:lnTo>
                  <a:lnTo>
                    <a:pt x="1394841" y="942785"/>
                  </a:lnTo>
                  <a:lnTo>
                    <a:pt x="1395413" y="947547"/>
                  </a:lnTo>
                  <a:lnTo>
                    <a:pt x="1392269" y="947928"/>
                  </a:lnTo>
                  <a:lnTo>
                    <a:pt x="1388745" y="945166"/>
                  </a:lnTo>
                  <a:lnTo>
                    <a:pt x="1387888" y="938879"/>
                  </a:lnTo>
                  <a:lnTo>
                    <a:pt x="1386554" y="940594"/>
                  </a:lnTo>
                  <a:lnTo>
                    <a:pt x="1384744" y="939260"/>
                  </a:lnTo>
                  <a:lnTo>
                    <a:pt x="1382363" y="946023"/>
                  </a:lnTo>
                  <a:lnTo>
                    <a:pt x="1378268" y="951357"/>
                  </a:lnTo>
                  <a:lnTo>
                    <a:pt x="1375886" y="958024"/>
                  </a:lnTo>
                  <a:lnTo>
                    <a:pt x="1377696" y="959453"/>
                  </a:lnTo>
                  <a:lnTo>
                    <a:pt x="1374934" y="962978"/>
                  </a:lnTo>
                  <a:lnTo>
                    <a:pt x="1375696" y="969264"/>
                  </a:lnTo>
                  <a:lnTo>
                    <a:pt x="1374172" y="969455"/>
                  </a:lnTo>
                  <a:lnTo>
                    <a:pt x="1373600" y="964787"/>
                  </a:lnTo>
                  <a:lnTo>
                    <a:pt x="1368647" y="963740"/>
                  </a:lnTo>
                  <a:lnTo>
                    <a:pt x="1361694" y="972693"/>
                  </a:lnTo>
                  <a:lnTo>
                    <a:pt x="1353026" y="967359"/>
                  </a:lnTo>
                  <a:lnTo>
                    <a:pt x="1345597" y="971550"/>
                  </a:lnTo>
                  <a:lnTo>
                    <a:pt x="1338453" y="978884"/>
                  </a:lnTo>
                  <a:lnTo>
                    <a:pt x="1336643" y="977456"/>
                  </a:lnTo>
                  <a:lnTo>
                    <a:pt x="1335310" y="979265"/>
                  </a:lnTo>
                  <a:lnTo>
                    <a:pt x="1330357" y="978218"/>
                  </a:lnTo>
                  <a:lnTo>
                    <a:pt x="1327214" y="978694"/>
                  </a:lnTo>
                  <a:lnTo>
                    <a:pt x="1326833" y="975551"/>
                  </a:lnTo>
                  <a:lnTo>
                    <a:pt x="1325880" y="980408"/>
                  </a:lnTo>
                  <a:lnTo>
                    <a:pt x="1325689" y="978884"/>
                  </a:lnTo>
                  <a:lnTo>
                    <a:pt x="1322451" y="979265"/>
                  </a:lnTo>
                  <a:lnTo>
                    <a:pt x="1317784" y="979837"/>
                  </a:lnTo>
                  <a:lnTo>
                    <a:pt x="1317022" y="986409"/>
                  </a:lnTo>
                  <a:lnTo>
                    <a:pt x="1313402" y="983647"/>
                  </a:lnTo>
                  <a:lnTo>
                    <a:pt x="1312069" y="985457"/>
                  </a:lnTo>
                  <a:lnTo>
                    <a:pt x="1314260" y="989933"/>
                  </a:lnTo>
                  <a:lnTo>
                    <a:pt x="1306544" y="992505"/>
                  </a:lnTo>
                  <a:lnTo>
                    <a:pt x="1306354" y="990981"/>
                  </a:lnTo>
                  <a:lnTo>
                    <a:pt x="1303592" y="994505"/>
                  </a:lnTo>
                  <a:lnTo>
                    <a:pt x="1301591" y="991553"/>
                  </a:lnTo>
                  <a:lnTo>
                    <a:pt x="1298639" y="993553"/>
                  </a:lnTo>
                  <a:lnTo>
                    <a:pt x="1298448" y="991934"/>
                  </a:lnTo>
                  <a:lnTo>
                    <a:pt x="1292162" y="992791"/>
                  </a:lnTo>
                  <a:lnTo>
                    <a:pt x="1291971" y="991172"/>
                  </a:lnTo>
                  <a:lnTo>
                    <a:pt x="1297400" y="984028"/>
                  </a:lnTo>
                  <a:lnTo>
                    <a:pt x="1295495" y="981075"/>
                  </a:lnTo>
                  <a:lnTo>
                    <a:pt x="1292257" y="981551"/>
                  </a:lnTo>
                  <a:lnTo>
                    <a:pt x="1289590" y="985076"/>
                  </a:lnTo>
                  <a:lnTo>
                    <a:pt x="1286161" y="983932"/>
                  </a:lnTo>
                  <a:lnTo>
                    <a:pt x="1283589" y="989076"/>
                  </a:lnTo>
                  <a:lnTo>
                    <a:pt x="1278922" y="989648"/>
                  </a:lnTo>
                  <a:lnTo>
                    <a:pt x="1277112" y="988219"/>
                  </a:lnTo>
                  <a:lnTo>
                    <a:pt x="1273207" y="995172"/>
                  </a:lnTo>
                  <a:lnTo>
                    <a:pt x="1271588" y="995362"/>
                  </a:lnTo>
                  <a:lnTo>
                    <a:pt x="1272064" y="998506"/>
                  </a:lnTo>
                  <a:lnTo>
                    <a:pt x="1275398" y="999744"/>
                  </a:lnTo>
                  <a:lnTo>
                    <a:pt x="1273969" y="1001459"/>
                  </a:lnTo>
                  <a:lnTo>
                    <a:pt x="1275969" y="1004411"/>
                  </a:lnTo>
                  <a:lnTo>
                    <a:pt x="1268444" y="1008602"/>
                  </a:lnTo>
                  <a:lnTo>
                    <a:pt x="1269683" y="1018032"/>
                  </a:lnTo>
                  <a:lnTo>
                    <a:pt x="1270540" y="1024414"/>
                  </a:lnTo>
                  <a:lnTo>
                    <a:pt x="1256729" y="1029367"/>
                  </a:lnTo>
                  <a:lnTo>
                    <a:pt x="1258634" y="1032320"/>
                  </a:lnTo>
                  <a:lnTo>
                    <a:pt x="1253395" y="1040987"/>
                  </a:lnTo>
                  <a:lnTo>
                    <a:pt x="1251776" y="1041178"/>
                  </a:lnTo>
                  <a:lnTo>
                    <a:pt x="1251394" y="1038035"/>
                  </a:lnTo>
                  <a:lnTo>
                    <a:pt x="1250061" y="1039844"/>
                  </a:lnTo>
                  <a:lnTo>
                    <a:pt x="1250061" y="1039844"/>
                  </a:lnTo>
                  <a:lnTo>
                    <a:pt x="1246823" y="1040225"/>
                  </a:lnTo>
                  <a:lnTo>
                    <a:pt x="1248632" y="1041559"/>
                  </a:lnTo>
                  <a:lnTo>
                    <a:pt x="1245489" y="1042035"/>
                  </a:lnTo>
                  <a:lnTo>
                    <a:pt x="1247489" y="1044988"/>
                  </a:lnTo>
                  <a:lnTo>
                    <a:pt x="1244727" y="1048512"/>
                  </a:lnTo>
                  <a:lnTo>
                    <a:pt x="1243775" y="1053465"/>
                  </a:lnTo>
                  <a:lnTo>
                    <a:pt x="1242536" y="1056799"/>
                  </a:lnTo>
                  <a:lnTo>
                    <a:pt x="1244727" y="1061371"/>
                  </a:lnTo>
                  <a:lnTo>
                    <a:pt x="1242822" y="1071182"/>
                  </a:lnTo>
                  <a:lnTo>
                    <a:pt x="1245013" y="1075754"/>
                  </a:lnTo>
                  <a:lnTo>
                    <a:pt x="1243965" y="1080707"/>
                  </a:lnTo>
                  <a:lnTo>
                    <a:pt x="1247585" y="1083469"/>
                  </a:lnTo>
                  <a:lnTo>
                    <a:pt x="1245965" y="1083659"/>
                  </a:lnTo>
                  <a:lnTo>
                    <a:pt x="1248537" y="1091375"/>
                  </a:lnTo>
                  <a:lnTo>
                    <a:pt x="1251680" y="1090898"/>
                  </a:lnTo>
                  <a:lnTo>
                    <a:pt x="1255681" y="1084040"/>
                  </a:lnTo>
                  <a:lnTo>
                    <a:pt x="1263587" y="1095851"/>
                  </a:lnTo>
                  <a:lnTo>
                    <a:pt x="1271302" y="1093280"/>
                  </a:lnTo>
                  <a:lnTo>
                    <a:pt x="1282541" y="1093375"/>
                  </a:lnTo>
                  <a:lnTo>
                    <a:pt x="1281493" y="1098328"/>
                  </a:lnTo>
                  <a:lnTo>
                    <a:pt x="1285875" y="1107377"/>
                  </a:lnTo>
                  <a:lnTo>
                    <a:pt x="1293590" y="1117664"/>
                  </a:lnTo>
                  <a:lnTo>
                    <a:pt x="1294257" y="1122426"/>
                  </a:lnTo>
                  <a:lnTo>
                    <a:pt x="1291304" y="1124331"/>
                  </a:lnTo>
                  <a:lnTo>
                    <a:pt x="1290066" y="1127760"/>
                  </a:lnTo>
                  <a:lnTo>
                    <a:pt x="1293876" y="1132046"/>
                  </a:lnTo>
                  <a:lnTo>
                    <a:pt x="1290161" y="1140524"/>
                  </a:lnTo>
                  <a:lnTo>
                    <a:pt x="1286542" y="1137761"/>
                  </a:lnTo>
                  <a:lnTo>
                    <a:pt x="1287209" y="1142524"/>
                  </a:lnTo>
                  <a:lnTo>
                    <a:pt x="1285399" y="1141190"/>
                  </a:lnTo>
                  <a:lnTo>
                    <a:pt x="1285589" y="1142714"/>
                  </a:lnTo>
                  <a:lnTo>
                    <a:pt x="1283970" y="1142905"/>
                  </a:lnTo>
                  <a:lnTo>
                    <a:pt x="1279684" y="1146715"/>
                  </a:lnTo>
                  <a:lnTo>
                    <a:pt x="1280255" y="1151477"/>
                  </a:lnTo>
                  <a:lnTo>
                    <a:pt x="1274159" y="1153859"/>
                  </a:lnTo>
                  <a:lnTo>
                    <a:pt x="1273969" y="1152239"/>
                  </a:lnTo>
                  <a:lnTo>
                    <a:pt x="1270826" y="1152620"/>
                  </a:lnTo>
                  <a:lnTo>
                    <a:pt x="1266254" y="1154811"/>
                  </a:lnTo>
                  <a:lnTo>
                    <a:pt x="1264253" y="1151858"/>
                  </a:lnTo>
                  <a:lnTo>
                    <a:pt x="1261586" y="1155383"/>
                  </a:lnTo>
                  <a:lnTo>
                    <a:pt x="1259110" y="1149287"/>
                  </a:lnTo>
                  <a:lnTo>
                    <a:pt x="1252252" y="1145381"/>
                  </a:lnTo>
                  <a:lnTo>
                    <a:pt x="1251109" y="1148715"/>
                  </a:lnTo>
                  <a:lnTo>
                    <a:pt x="1246156" y="1147762"/>
                  </a:lnTo>
                  <a:lnTo>
                    <a:pt x="1247108" y="1155668"/>
                  </a:lnTo>
                  <a:lnTo>
                    <a:pt x="1247108" y="1155668"/>
                  </a:lnTo>
                  <a:lnTo>
                    <a:pt x="1244156" y="1157669"/>
                  </a:lnTo>
                  <a:lnTo>
                    <a:pt x="1240631" y="1154906"/>
                  </a:lnTo>
                  <a:lnTo>
                    <a:pt x="1241774" y="1151573"/>
                  </a:lnTo>
                  <a:lnTo>
                    <a:pt x="1237107" y="1152144"/>
                  </a:lnTo>
                  <a:lnTo>
                    <a:pt x="1237488" y="1155287"/>
                  </a:lnTo>
                  <a:lnTo>
                    <a:pt x="1241012" y="1158050"/>
                  </a:lnTo>
                  <a:lnTo>
                    <a:pt x="1240060" y="1163003"/>
                  </a:lnTo>
                  <a:lnTo>
                    <a:pt x="1235297" y="1163574"/>
                  </a:lnTo>
                  <a:lnTo>
                    <a:pt x="1235678" y="1166717"/>
                  </a:lnTo>
                  <a:lnTo>
                    <a:pt x="1234345" y="1168527"/>
                  </a:lnTo>
                  <a:lnTo>
                    <a:pt x="1233202" y="1171861"/>
                  </a:lnTo>
                  <a:lnTo>
                    <a:pt x="1235107" y="1174814"/>
                  </a:lnTo>
                  <a:lnTo>
                    <a:pt x="1233773" y="1176623"/>
                  </a:lnTo>
                  <a:lnTo>
                    <a:pt x="1233964" y="1178147"/>
                  </a:lnTo>
                  <a:lnTo>
                    <a:pt x="1225868" y="1177576"/>
                  </a:lnTo>
                  <a:lnTo>
                    <a:pt x="1225296" y="1172909"/>
                  </a:lnTo>
                  <a:lnTo>
                    <a:pt x="1222915" y="1166812"/>
                  </a:lnTo>
                  <a:lnTo>
                    <a:pt x="1215962" y="1162812"/>
                  </a:lnTo>
                  <a:lnTo>
                    <a:pt x="1216343" y="1165955"/>
                  </a:lnTo>
                  <a:lnTo>
                    <a:pt x="1214628" y="1164622"/>
                  </a:lnTo>
                  <a:lnTo>
                    <a:pt x="1214818" y="1166146"/>
                  </a:lnTo>
                  <a:lnTo>
                    <a:pt x="1211675" y="1166622"/>
                  </a:lnTo>
                  <a:lnTo>
                    <a:pt x="1206913" y="1167194"/>
                  </a:lnTo>
                  <a:lnTo>
                    <a:pt x="1205103" y="1165860"/>
                  </a:lnTo>
                  <a:lnTo>
                    <a:pt x="1203103" y="1162907"/>
                  </a:lnTo>
                  <a:lnTo>
                    <a:pt x="1202912" y="1161288"/>
                  </a:lnTo>
                  <a:lnTo>
                    <a:pt x="1198245" y="1161860"/>
                  </a:lnTo>
                  <a:lnTo>
                    <a:pt x="1199198" y="1157002"/>
                  </a:lnTo>
                  <a:lnTo>
                    <a:pt x="1200722" y="1156716"/>
                  </a:lnTo>
                  <a:lnTo>
                    <a:pt x="1202150" y="1155002"/>
                  </a:lnTo>
                  <a:lnTo>
                    <a:pt x="1197388" y="1155573"/>
                  </a:lnTo>
                  <a:lnTo>
                    <a:pt x="1196245" y="1158907"/>
                  </a:lnTo>
                  <a:lnTo>
                    <a:pt x="1194435" y="1157573"/>
                  </a:lnTo>
                  <a:lnTo>
                    <a:pt x="1191292" y="1157954"/>
                  </a:lnTo>
                  <a:lnTo>
                    <a:pt x="1192339" y="1165860"/>
                  </a:lnTo>
                  <a:lnTo>
                    <a:pt x="1187196" y="1163288"/>
                  </a:lnTo>
                  <a:lnTo>
                    <a:pt x="1179481" y="1165860"/>
                  </a:lnTo>
                  <a:lnTo>
                    <a:pt x="1177862" y="1166051"/>
                  </a:lnTo>
                  <a:lnTo>
                    <a:pt x="1178338" y="1169194"/>
                  </a:lnTo>
                  <a:lnTo>
                    <a:pt x="1175099" y="1169670"/>
                  </a:lnTo>
                  <a:lnTo>
                    <a:pt x="1171575" y="1166908"/>
                  </a:lnTo>
                  <a:lnTo>
                    <a:pt x="1170432" y="1170241"/>
                  </a:lnTo>
                  <a:lnTo>
                    <a:pt x="1167289" y="1170623"/>
                  </a:lnTo>
                  <a:lnTo>
                    <a:pt x="1163860" y="1169480"/>
                  </a:lnTo>
                  <a:lnTo>
                    <a:pt x="1157954" y="1173385"/>
                  </a:lnTo>
                  <a:lnTo>
                    <a:pt x="1150715" y="1166336"/>
                  </a:lnTo>
                  <a:lnTo>
                    <a:pt x="1146143" y="1168527"/>
                  </a:lnTo>
                  <a:lnTo>
                    <a:pt x="1143952" y="1163955"/>
                  </a:lnTo>
                  <a:lnTo>
                    <a:pt x="1137856" y="1166336"/>
                  </a:lnTo>
                  <a:lnTo>
                    <a:pt x="1136618" y="1169765"/>
                  </a:lnTo>
                  <a:lnTo>
                    <a:pt x="1134904" y="1168337"/>
                  </a:lnTo>
                  <a:lnTo>
                    <a:pt x="1133475" y="1170146"/>
                  </a:lnTo>
                  <a:lnTo>
                    <a:pt x="1131284" y="1165574"/>
                  </a:lnTo>
                  <a:lnTo>
                    <a:pt x="1129760" y="1165765"/>
                  </a:lnTo>
                  <a:lnTo>
                    <a:pt x="1129951" y="1167384"/>
                  </a:lnTo>
                  <a:lnTo>
                    <a:pt x="1124807" y="1164812"/>
                  </a:lnTo>
                  <a:lnTo>
                    <a:pt x="1126236" y="1163098"/>
                  </a:lnTo>
                  <a:lnTo>
                    <a:pt x="1120902" y="1158907"/>
                  </a:lnTo>
                  <a:lnTo>
                    <a:pt x="1120616" y="1157383"/>
                  </a:lnTo>
                  <a:lnTo>
                    <a:pt x="1108234" y="1160526"/>
                  </a:lnTo>
                  <a:lnTo>
                    <a:pt x="1101947" y="1161288"/>
                  </a:lnTo>
                  <a:lnTo>
                    <a:pt x="1096804" y="1171575"/>
                  </a:lnTo>
                  <a:lnTo>
                    <a:pt x="1100328" y="1174337"/>
                  </a:lnTo>
                  <a:lnTo>
                    <a:pt x="1105281" y="1175290"/>
                  </a:lnTo>
                  <a:lnTo>
                    <a:pt x="1109281" y="1181195"/>
                  </a:lnTo>
                  <a:lnTo>
                    <a:pt x="1107853" y="1183005"/>
                  </a:lnTo>
                  <a:lnTo>
                    <a:pt x="1110043" y="1187577"/>
                  </a:lnTo>
                  <a:lnTo>
                    <a:pt x="1108710" y="1189291"/>
                  </a:lnTo>
                  <a:lnTo>
                    <a:pt x="1102614" y="1191673"/>
                  </a:lnTo>
                  <a:lnTo>
                    <a:pt x="1091089" y="1189958"/>
                  </a:lnTo>
                  <a:lnTo>
                    <a:pt x="1088612" y="1195102"/>
                  </a:lnTo>
                  <a:lnTo>
                    <a:pt x="1081468" y="1189577"/>
                  </a:lnTo>
                  <a:lnTo>
                    <a:pt x="1076706" y="1190244"/>
                  </a:lnTo>
                  <a:lnTo>
                    <a:pt x="1073944" y="1193768"/>
                  </a:lnTo>
                  <a:lnTo>
                    <a:pt x="1074801" y="1200055"/>
                  </a:lnTo>
                  <a:lnTo>
                    <a:pt x="1073372" y="1201865"/>
                  </a:lnTo>
                  <a:lnTo>
                    <a:pt x="1072039" y="1203579"/>
                  </a:lnTo>
                  <a:lnTo>
                    <a:pt x="1075563" y="1206341"/>
                  </a:lnTo>
                  <a:lnTo>
                    <a:pt x="1079754" y="1213866"/>
                  </a:lnTo>
                  <a:lnTo>
                    <a:pt x="1076611" y="1214247"/>
                  </a:lnTo>
                  <a:lnTo>
                    <a:pt x="1071848" y="1214914"/>
                  </a:lnTo>
                  <a:lnTo>
                    <a:pt x="1070515" y="1216628"/>
                  </a:lnTo>
                  <a:lnTo>
                    <a:pt x="1071277" y="1223010"/>
                  </a:lnTo>
                  <a:lnTo>
                    <a:pt x="1066514" y="1223582"/>
                  </a:lnTo>
                  <a:lnTo>
                    <a:pt x="1065562" y="1228535"/>
                  </a:lnTo>
                  <a:lnTo>
                    <a:pt x="1064038" y="1228725"/>
                  </a:lnTo>
                  <a:lnTo>
                    <a:pt x="1058894" y="1226153"/>
                  </a:lnTo>
                  <a:lnTo>
                    <a:pt x="1056323" y="1231297"/>
                  </a:lnTo>
                  <a:lnTo>
                    <a:pt x="1051369" y="1230344"/>
                  </a:lnTo>
                  <a:lnTo>
                    <a:pt x="1048988" y="1224248"/>
                  </a:lnTo>
                  <a:lnTo>
                    <a:pt x="1041844" y="1218724"/>
                  </a:lnTo>
                  <a:lnTo>
                    <a:pt x="1046226" y="1214914"/>
                  </a:lnTo>
                  <a:lnTo>
                    <a:pt x="1041083" y="1212342"/>
                  </a:lnTo>
                  <a:lnTo>
                    <a:pt x="1039082" y="1209389"/>
                  </a:lnTo>
                  <a:lnTo>
                    <a:pt x="1040511" y="1207675"/>
                  </a:lnTo>
                  <a:lnTo>
                    <a:pt x="1038701" y="1206246"/>
                  </a:lnTo>
                  <a:lnTo>
                    <a:pt x="1036892" y="1204912"/>
                  </a:lnTo>
                  <a:lnTo>
                    <a:pt x="1035463" y="1193864"/>
                  </a:lnTo>
                  <a:lnTo>
                    <a:pt x="1031176" y="1197578"/>
                  </a:lnTo>
                  <a:lnTo>
                    <a:pt x="1032319" y="1194245"/>
                  </a:lnTo>
                  <a:lnTo>
                    <a:pt x="1031938" y="1191101"/>
                  </a:lnTo>
                  <a:lnTo>
                    <a:pt x="1030319" y="1191292"/>
                  </a:lnTo>
                  <a:lnTo>
                    <a:pt x="1031748" y="1189482"/>
                  </a:lnTo>
                  <a:lnTo>
                    <a:pt x="1031176" y="1184815"/>
                  </a:lnTo>
                  <a:lnTo>
                    <a:pt x="1026223" y="1183767"/>
                  </a:lnTo>
                  <a:lnTo>
                    <a:pt x="1029367" y="1183386"/>
                  </a:lnTo>
                  <a:lnTo>
                    <a:pt x="1032510" y="1183005"/>
                  </a:lnTo>
                  <a:lnTo>
                    <a:pt x="1032319" y="1181386"/>
                  </a:lnTo>
                  <a:lnTo>
                    <a:pt x="1025557" y="1179100"/>
                  </a:lnTo>
                  <a:lnTo>
                    <a:pt x="1025176" y="1175957"/>
                  </a:lnTo>
                  <a:lnTo>
                    <a:pt x="1024223" y="1180814"/>
                  </a:lnTo>
                  <a:lnTo>
                    <a:pt x="1021080" y="1181291"/>
                  </a:lnTo>
                  <a:lnTo>
                    <a:pt x="1019080" y="1178338"/>
                  </a:lnTo>
                  <a:lnTo>
                    <a:pt x="1016127" y="1180243"/>
                  </a:lnTo>
                  <a:lnTo>
                    <a:pt x="1012603" y="1190339"/>
                  </a:lnTo>
                  <a:lnTo>
                    <a:pt x="1014413" y="1191768"/>
                  </a:lnTo>
                  <a:lnTo>
                    <a:pt x="1012984" y="1193483"/>
                  </a:lnTo>
                  <a:lnTo>
                    <a:pt x="1009650" y="1192340"/>
                  </a:lnTo>
                  <a:lnTo>
                    <a:pt x="1009079" y="1187577"/>
                  </a:lnTo>
                  <a:lnTo>
                    <a:pt x="1005268" y="1183291"/>
                  </a:lnTo>
                  <a:lnTo>
                    <a:pt x="1003744" y="1183481"/>
                  </a:lnTo>
                  <a:lnTo>
                    <a:pt x="998601" y="1180910"/>
                  </a:lnTo>
                  <a:lnTo>
                    <a:pt x="992791" y="1173671"/>
                  </a:lnTo>
                  <a:lnTo>
                    <a:pt x="988219" y="1163003"/>
                  </a:lnTo>
                  <a:lnTo>
                    <a:pt x="985076" y="1163384"/>
                  </a:lnTo>
                  <a:lnTo>
                    <a:pt x="981932" y="1163765"/>
                  </a:lnTo>
                  <a:lnTo>
                    <a:pt x="965359" y="1159478"/>
                  </a:lnTo>
                  <a:lnTo>
                    <a:pt x="962977" y="1153382"/>
                  </a:lnTo>
                  <a:lnTo>
                    <a:pt x="953643" y="1143286"/>
                  </a:lnTo>
                  <a:lnTo>
                    <a:pt x="955072" y="1141571"/>
                  </a:lnTo>
                  <a:lnTo>
                    <a:pt x="953262" y="1140143"/>
                  </a:lnTo>
                  <a:lnTo>
                    <a:pt x="952500" y="1146715"/>
                  </a:lnTo>
                  <a:lnTo>
                    <a:pt x="951738" y="1153192"/>
                  </a:lnTo>
                  <a:lnTo>
                    <a:pt x="943832" y="1154240"/>
                  </a:lnTo>
                  <a:lnTo>
                    <a:pt x="944023" y="1155764"/>
                  </a:lnTo>
                  <a:lnTo>
                    <a:pt x="941070" y="1157764"/>
                  </a:lnTo>
                  <a:lnTo>
                    <a:pt x="941260" y="1159383"/>
                  </a:lnTo>
                  <a:lnTo>
                    <a:pt x="939546" y="1157954"/>
                  </a:lnTo>
                  <a:lnTo>
                    <a:pt x="936784" y="1161479"/>
                  </a:lnTo>
                  <a:lnTo>
                    <a:pt x="936974" y="1163098"/>
                  </a:lnTo>
                  <a:lnTo>
                    <a:pt x="940118" y="1162717"/>
                  </a:lnTo>
                  <a:lnTo>
                    <a:pt x="939546" y="1170813"/>
                  </a:lnTo>
                  <a:lnTo>
                    <a:pt x="927926" y="1167479"/>
                  </a:lnTo>
                  <a:lnTo>
                    <a:pt x="928306" y="1170623"/>
                  </a:lnTo>
                  <a:lnTo>
                    <a:pt x="930116" y="1171956"/>
                  </a:lnTo>
                  <a:lnTo>
                    <a:pt x="925354" y="1172623"/>
                  </a:lnTo>
                  <a:lnTo>
                    <a:pt x="926878" y="1172432"/>
                  </a:lnTo>
                  <a:lnTo>
                    <a:pt x="928878" y="1175385"/>
                  </a:lnTo>
                  <a:lnTo>
                    <a:pt x="927544" y="1177100"/>
                  </a:lnTo>
                  <a:lnTo>
                    <a:pt x="930878" y="1178338"/>
                  </a:lnTo>
                  <a:lnTo>
                    <a:pt x="928306" y="1183481"/>
                  </a:lnTo>
                  <a:lnTo>
                    <a:pt x="930116" y="1184815"/>
                  </a:lnTo>
                  <a:lnTo>
                    <a:pt x="926973" y="1185196"/>
                  </a:lnTo>
                  <a:lnTo>
                    <a:pt x="925735" y="1188625"/>
                  </a:lnTo>
                  <a:lnTo>
                    <a:pt x="924211" y="1188815"/>
                  </a:lnTo>
                  <a:lnTo>
                    <a:pt x="923449" y="1195292"/>
                  </a:lnTo>
                  <a:lnTo>
                    <a:pt x="921830" y="1195483"/>
                  </a:lnTo>
                  <a:lnTo>
                    <a:pt x="920687" y="1198816"/>
                  </a:lnTo>
                  <a:lnTo>
                    <a:pt x="922210" y="1198626"/>
                  </a:lnTo>
                  <a:lnTo>
                    <a:pt x="922687" y="1201769"/>
                  </a:lnTo>
                  <a:lnTo>
                    <a:pt x="927544" y="1202817"/>
                  </a:lnTo>
                  <a:lnTo>
                    <a:pt x="925259" y="1209485"/>
                  </a:lnTo>
                  <a:lnTo>
                    <a:pt x="927259" y="1212437"/>
                  </a:lnTo>
                  <a:lnTo>
                    <a:pt x="930212" y="1210437"/>
                  </a:lnTo>
                  <a:lnTo>
                    <a:pt x="930593" y="1213676"/>
                  </a:lnTo>
                  <a:lnTo>
                    <a:pt x="928973" y="1213866"/>
                  </a:lnTo>
                  <a:lnTo>
                    <a:pt x="934117" y="1216343"/>
                  </a:lnTo>
                  <a:lnTo>
                    <a:pt x="934498" y="1219581"/>
                  </a:lnTo>
                  <a:lnTo>
                    <a:pt x="930021" y="1221677"/>
                  </a:lnTo>
                  <a:lnTo>
                    <a:pt x="934688" y="1221105"/>
                  </a:lnTo>
                  <a:lnTo>
                    <a:pt x="933355" y="1222915"/>
                  </a:lnTo>
                  <a:lnTo>
                    <a:pt x="928783" y="1225106"/>
                  </a:lnTo>
                  <a:lnTo>
                    <a:pt x="925449" y="1223867"/>
                  </a:lnTo>
                  <a:lnTo>
                    <a:pt x="924115" y="1225677"/>
                  </a:lnTo>
                  <a:lnTo>
                    <a:pt x="924306" y="1227296"/>
                  </a:lnTo>
                  <a:lnTo>
                    <a:pt x="916591" y="1229868"/>
                  </a:lnTo>
                  <a:lnTo>
                    <a:pt x="916781" y="1231392"/>
                  </a:lnTo>
                  <a:lnTo>
                    <a:pt x="913638" y="1231868"/>
                  </a:lnTo>
                  <a:lnTo>
                    <a:pt x="913257" y="1228630"/>
                  </a:lnTo>
                  <a:lnTo>
                    <a:pt x="906971" y="1229487"/>
                  </a:lnTo>
                  <a:lnTo>
                    <a:pt x="903542" y="1228249"/>
                  </a:lnTo>
                  <a:lnTo>
                    <a:pt x="902208" y="1230059"/>
                  </a:lnTo>
                  <a:lnTo>
                    <a:pt x="902589" y="1233202"/>
                  </a:lnTo>
                  <a:lnTo>
                    <a:pt x="897826" y="1233869"/>
                  </a:lnTo>
                  <a:lnTo>
                    <a:pt x="896302" y="1234059"/>
                  </a:lnTo>
                  <a:lnTo>
                    <a:pt x="895350" y="1239012"/>
                  </a:lnTo>
                  <a:lnTo>
                    <a:pt x="888206" y="1246251"/>
                  </a:lnTo>
                  <a:lnTo>
                    <a:pt x="884872" y="1245108"/>
                  </a:lnTo>
                  <a:lnTo>
                    <a:pt x="883730" y="1248442"/>
                  </a:lnTo>
                  <a:lnTo>
                    <a:pt x="878776" y="1247489"/>
                  </a:lnTo>
                  <a:lnTo>
                    <a:pt x="876014" y="1251014"/>
                  </a:lnTo>
                  <a:lnTo>
                    <a:pt x="876395" y="1254252"/>
                  </a:lnTo>
                  <a:lnTo>
                    <a:pt x="871633" y="1254824"/>
                  </a:lnTo>
                  <a:lnTo>
                    <a:pt x="877443" y="1262062"/>
                  </a:lnTo>
                  <a:lnTo>
                    <a:pt x="874681" y="1265682"/>
                  </a:lnTo>
                  <a:lnTo>
                    <a:pt x="873919" y="1272159"/>
                  </a:lnTo>
                  <a:lnTo>
                    <a:pt x="872490" y="1273969"/>
                  </a:lnTo>
                  <a:lnTo>
                    <a:pt x="866013" y="1273207"/>
                  </a:lnTo>
                  <a:lnTo>
                    <a:pt x="864013" y="1270254"/>
                  </a:lnTo>
                  <a:lnTo>
                    <a:pt x="865156" y="1266825"/>
                  </a:lnTo>
                  <a:lnTo>
                    <a:pt x="862393" y="1257586"/>
                  </a:lnTo>
                  <a:lnTo>
                    <a:pt x="857440" y="1256633"/>
                  </a:lnTo>
                  <a:lnTo>
                    <a:pt x="843820" y="1250347"/>
                  </a:lnTo>
                  <a:lnTo>
                    <a:pt x="830009" y="1255300"/>
                  </a:lnTo>
                  <a:lnTo>
                    <a:pt x="826865" y="1255681"/>
                  </a:lnTo>
                  <a:lnTo>
                    <a:pt x="824675" y="1251204"/>
                  </a:lnTo>
                  <a:lnTo>
                    <a:pt x="820007" y="1251776"/>
                  </a:lnTo>
                  <a:lnTo>
                    <a:pt x="819531" y="1248632"/>
                  </a:lnTo>
                  <a:lnTo>
                    <a:pt x="822484" y="1246632"/>
                  </a:lnTo>
                  <a:lnTo>
                    <a:pt x="825627" y="1246251"/>
                  </a:lnTo>
                  <a:lnTo>
                    <a:pt x="826675" y="1241298"/>
                  </a:lnTo>
                  <a:lnTo>
                    <a:pt x="829437" y="1237774"/>
                  </a:lnTo>
                  <a:lnTo>
                    <a:pt x="830009" y="1229678"/>
                  </a:lnTo>
                  <a:lnTo>
                    <a:pt x="829532" y="1226534"/>
                  </a:lnTo>
                  <a:lnTo>
                    <a:pt x="828008" y="1226725"/>
                  </a:lnTo>
                  <a:lnTo>
                    <a:pt x="826580" y="1228439"/>
                  </a:lnTo>
                  <a:lnTo>
                    <a:pt x="825627" y="1233392"/>
                  </a:lnTo>
                  <a:lnTo>
                    <a:pt x="822674" y="1235393"/>
                  </a:lnTo>
                  <a:lnTo>
                    <a:pt x="817721" y="1234440"/>
                  </a:lnTo>
                  <a:lnTo>
                    <a:pt x="818197" y="1237583"/>
                  </a:lnTo>
                  <a:lnTo>
                    <a:pt x="814959" y="1237964"/>
                  </a:lnTo>
                  <a:lnTo>
                    <a:pt x="815816" y="1231487"/>
                  </a:lnTo>
                  <a:lnTo>
                    <a:pt x="810673" y="1241774"/>
                  </a:lnTo>
                  <a:lnTo>
                    <a:pt x="805720" y="1240727"/>
                  </a:lnTo>
                  <a:lnTo>
                    <a:pt x="807148" y="1239012"/>
                  </a:lnTo>
                  <a:lnTo>
                    <a:pt x="805529" y="1239203"/>
                  </a:lnTo>
                  <a:lnTo>
                    <a:pt x="804196" y="1240917"/>
                  </a:lnTo>
                  <a:lnTo>
                    <a:pt x="802196" y="1237964"/>
                  </a:lnTo>
                  <a:lnTo>
                    <a:pt x="800767" y="1239774"/>
                  </a:lnTo>
                  <a:lnTo>
                    <a:pt x="799052" y="1238441"/>
                  </a:lnTo>
                  <a:lnTo>
                    <a:pt x="794099" y="1237393"/>
                  </a:lnTo>
                  <a:lnTo>
                    <a:pt x="792099" y="1234440"/>
                  </a:lnTo>
                  <a:lnTo>
                    <a:pt x="789146" y="1236440"/>
                  </a:lnTo>
                  <a:lnTo>
                    <a:pt x="786384" y="1240060"/>
                  </a:lnTo>
                  <a:lnTo>
                    <a:pt x="784193" y="1235488"/>
                  </a:lnTo>
                  <a:lnTo>
                    <a:pt x="782860" y="1237298"/>
                  </a:lnTo>
                  <a:lnTo>
                    <a:pt x="782384" y="1234154"/>
                  </a:lnTo>
                  <a:lnTo>
                    <a:pt x="777907" y="1236250"/>
                  </a:lnTo>
                  <a:lnTo>
                    <a:pt x="777716" y="1234726"/>
                  </a:lnTo>
                  <a:lnTo>
                    <a:pt x="774383" y="1233583"/>
                  </a:lnTo>
                  <a:lnTo>
                    <a:pt x="776668" y="1226820"/>
                  </a:lnTo>
                  <a:lnTo>
                    <a:pt x="774954" y="1225487"/>
                  </a:lnTo>
                  <a:lnTo>
                    <a:pt x="770192" y="1226058"/>
                  </a:lnTo>
                  <a:lnTo>
                    <a:pt x="767429" y="1229582"/>
                  </a:lnTo>
                  <a:lnTo>
                    <a:pt x="762476" y="1228630"/>
                  </a:lnTo>
                  <a:lnTo>
                    <a:pt x="753809" y="1223296"/>
                  </a:lnTo>
                  <a:lnTo>
                    <a:pt x="749046" y="1223962"/>
                  </a:lnTo>
                  <a:lnTo>
                    <a:pt x="750856" y="1225296"/>
                  </a:lnTo>
                  <a:lnTo>
                    <a:pt x="748475" y="1232059"/>
                  </a:lnTo>
                  <a:lnTo>
                    <a:pt x="742379" y="1234440"/>
                  </a:lnTo>
                  <a:lnTo>
                    <a:pt x="744379" y="1237393"/>
                  </a:lnTo>
                  <a:lnTo>
                    <a:pt x="747522" y="1236916"/>
                  </a:lnTo>
                  <a:lnTo>
                    <a:pt x="746093" y="1238726"/>
                  </a:lnTo>
                  <a:lnTo>
                    <a:pt x="744569" y="1238917"/>
                  </a:lnTo>
                  <a:lnTo>
                    <a:pt x="740759" y="1234631"/>
                  </a:lnTo>
                  <a:lnTo>
                    <a:pt x="739616" y="1237964"/>
                  </a:lnTo>
                  <a:lnTo>
                    <a:pt x="736092" y="1235202"/>
                  </a:lnTo>
                  <a:lnTo>
                    <a:pt x="735616" y="1232059"/>
                  </a:lnTo>
                  <a:lnTo>
                    <a:pt x="734092" y="1232249"/>
                  </a:lnTo>
                  <a:lnTo>
                    <a:pt x="731901" y="1227677"/>
                  </a:lnTo>
                  <a:lnTo>
                    <a:pt x="727138" y="1228344"/>
                  </a:lnTo>
                  <a:lnTo>
                    <a:pt x="726186" y="1220438"/>
                  </a:lnTo>
                  <a:lnTo>
                    <a:pt x="719804" y="1221200"/>
                  </a:lnTo>
                  <a:lnTo>
                    <a:pt x="718661" y="1224629"/>
                  </a:lnTo>
                  <a:lnTo>
                    <a:pt x="715518" y="1225010"/>
                  </a:lnTo>
                  <a:lnTo>
                    <a:pt x="707422" y="1211580"/>
                  </a:lnTo>
                  <a:lnTo>
                    <a:pt x="704279" y="1211961"/>
                  </a:lnTo>
                  <a:lnTo>
                    <a:pt x="700468" y="1207675"/>
                  </a:lnTo>
                  <a:lnTo>
                    <a:pt x="702850" y="1213771"/>
                  </a:lnTo>
                  <a:lnTo>
                    <a:pt x="701326" y="1213961"/>
                  </a:lnTo>
                  <a:lnTo>
                    <a:pt x="697706" y="1211199"/>
                  </a:lnTo>
                  <a:lnTo>
                    <a:pt x="696373" y="1213009"/>
                  </a:lnTo>
                  <a:lnTo>
                    <a:pt x="697897" y="1212818"/>
                  </a:lnTo>
                  <a:lnTo>
                    <a:pt x="702278" y="1221867"/>
                  </a:lnTo>
                  <a:lnTo>
                    <a:pt x="700945" y="1223677"/>
                  </a:lnTo>
                  <a:lnTo>
                    <a:pt x="702659" y="1225010"/>
                  </a:lnTo>
                  <a:lnTo>
                    <a:pt x="699897" y="1228630"/>
                  </a:lnTo>
                  <a:lnTo>
                    <a:pt x="701897" y="1231583"/>
                  </a:lnTo>
                  <a:lnTo>
                    <a:pt x="706660" y="1230916"/>
                  </a:lnTo>
                  <a:lnTo>
                    <a:pt x="705231" y="1232726"/>
                  </a:lnTo>
                  <a:lnTo>
                    <a:pt x="701897" y="1231583"/>
                  </a:lnTo>
                  <a:lnTo>
                    <a:pt x="702278" y="1234726"/>
                  </a:lnTo>
                  <a:lnTo>
                    <a:pt x="700754" y="1234916"/>
                  </a:lnTo>
                  <a:lnTo>
                    <a:pt x="698183" y="1227201"/>
                  </a:lnTo>
                  <a:lnTo>
                    <a:pt x="695039" y="1227582"/>
                  </a:lnTo>
                  <a:lnTo>
                    <a:pt x="691420" y="1224820"/>
                  </a:lnTo>
                  <a:lnTo>
                    <a:pt x="686752" y="1225487"/>
                  </a:lnTo>
                  <a:lnTo>
                    <a:pt x="685514" y="1228820"/>
                  </a:lnTo>
                  <a:lnTo>
                    <a:pt x="682180" y="1227677"/>
                  </a:lnTo>
                  <a:lnTo>
                    <a:pt x="682371" y="1229201"/>
                  </a:lnTo>
                  <a:lnTo>
                    <a:pt x="680752" y="1229392"/>
                  </a:lnTo>
                  <a:lnTo>
                    <a:pt x="682752" y="1232345"/>
                  </a:lnTo>
                  <a:lnTo>
                    <a:pt x="681228" y="1232535"/>
                  </a:lnTo>
                  <a:lnTo>
                    <a:pt x="681418" y="1234154"/>
                  </a:lnTo>
                  <a:lnTo>
                    <a:pt x="679609" y="1232821"/>
                  </a:lnTo>
                  <a:lnTo>
                    <a:pt x="679799" y="1234345"/>
                  </a:lnTo>
                  <a:lnTo>
                    <a:pt x="678466" y="1236155"/>
                  </a:lnTo>
                  <a:lnTo>
                    <a:pt x="676465" y="1233202"/>
                  </a:lnTo>
                  <a:lnTo>
                    <a:pt x="675132" y="1234916"/>
                  </a:lnTo>
                  <a:lnTo>
                    <a:pt x="672751" y="1241679"/>
                  </a:lnTo>
                  <a:lnTo>
                    <a:pt x="671131" y="1241870"/>
                  </a:lnTo>
                  <a:lnTo>
                    <a:pt x="672370" y="1238536"/>
                  </a:lnTo>
                  <a:lnTo>
                    <a:pt x="668941" y="1237298"/>
                  </a:lnTo>
                  <a:lnTo>
                    <a:pt x="666179" y="1240917"/>
                  </a:lnTo>
                  <a:lnTo>
                    <a:pt x="665226" y="1245870"/>
                  </a:lnTo>
                  <a:lnTo>
                    <a:pt x="663702" y="1246061"/>
                  </a:lnTo>
                  <a:lnTo>
                    <a:pt x="663035" y="1241298"/>
                  </a:lnTo>
                  <a:lnTo>
                    <a:pt x="659892" y="1241679"/>
                  </a:lnTo>
                  <a:lnTo>
                    <a:pt x="659511" y="1238536"/>
                  </a:lnTo>
                  <a:lnTo>
                    <a:pt x="656177" y="1237393"/>
                  </a:lnTo>
                  <a:lnTo>
                    <a:pt x="648843" y="1243108"/>
                  </a:lnTo>
                  <a:lnTo>
                    <a:pt x="645509" y="1241965"/>
                  </a:lnTo>
                  <a:lnTo>
                    <a:pt x="643700" y="1240536"/>
                  </a:lnTo>
                  <a:lnTo>
                    <a:pt x="646843" y="1240155"/>
                  </a:lnTo>
                  <a:lnTo>
                    <a:pt x="648272" y="1238345"/>
                  </a:lnTo>
                  <a:lnTo>
                    <a:pt x="646081" y="1233869"/>
                  </a:lnTo>
                  <a:lnTo>
                    <a:pt x="648843" y="1230249"/>
                  </a:lnTo>
                  <a:lnTo>
                    <a:pt x="648462" y="1227106"/>
                  </a:lnTo>
                  <a:lnTo>
                    <a:pt x="645319" y="1227487"/>
                  </a:lnTo>
                  <a:lnTo>
                    <a:pt x="643509" y="1226153"/>
                  </a:lnTo>
                  <a:lnTo>
                    <a:pt x="641699" y="1224820"/>
                  </a:lnTo>
                  <a:lnTo>
                    <a:pt x="641699" y="1224820"/>
                  </a:lnTo>
                  <a:lnTo>
                    <a:pt x="639509" y="1220248"/>
                  </a:lnTo>
                  <a:lnTo>
                    <a:pt x="638175" y="1222058"/>
                  </a:lnTo>
                  <a:lnTo>
                    <a:pt x="631031" y="1216533"/>
                  </a:lnTo>
                  <a:lnTo>
                    <a:pt x="625316" y="1222058"/>
                  </a:lnTo>
                  <a:lnTo>
                    <a:pt x="623126" y="1217486"/>
                  </a:lnTo>
                  <a:lnTo>
                    <a:pt x="621792" y="1219295"/>
                  </a:lnTo>
                  <a:lnTo>
                    <a:pt x="621601" y="1217771"/>
                  </a:lnTo>
                  <a:lnTo>
                    <a:pt x="619792" y="1216343"/>
                  </a:lnTo>
                  <a:lnTo>
                    <a:pt x="620363" y="1208246"/>
                  </a:lnTo>
                  <a:lnTo>
                    <a:pt x="621697" y="1206437"/>
                  </a:lnTo>
                  <a:lnTo>
                    <a:pt x="616363" y="1202341"/>
                  </a:lnTo>
                  <a:lnTo>
                    <a:pt x="609886" y="1201579"/>
                  </a:lnTo>
                  <a:lnTo>
                    <a:pt x="609505" y="1198436"/>
                  </a:lnTo>
                  <a:lnTo>
                    <a:pt x="604933" y="1200626"/>
                  </a:lnTo>
                  <a:lnTo>
                    <a:pt x="602551" y="1194435"/>
                  </a:lnTo>
                  <a:lnTo>
                    <a:pt x="596837" y="1200055"/>
                  </a:lnTo>
                  <a:lnTo>
                    <a:pt x="593693" y="1200436"/>
                  </a:lnTo>
                  <a:lnTo>
                    <a:pt x="582835" y="1203389"/>
                  </a:lnTo>
                  <a:lnTo>
                    <a:pt x="580644" y="1198912"/>
                  </a:lnTo>
                  <a:lnTo>
                    <a:pt x="577882" y="1202436"/>
                  </a:lnTo>
                  <a:lnTo>
                    <a:pt x="574738" y="1202817"/>
                  </a:lnTo>
                  <a:lnTo>
                    <a:pt x="573405" y="1204627"/>
                  </a:lnTo>
                  <a:lnTo>
                    <a:pt x="573786" y="1207770"/>
                  </a:lnTo>
                  <a:lnTo>
                    <a:pt x="574834" y="1215676"/>
                  </a:lnTo>
                  <a:lnTo>
                    <a:pt x="570262" y="1217866"/>
                  </a:lnTo>
                  <a:lnTo>
                    <a:pt x="570643" y="1221010"/>
                  </a:lnTo>
                  <a:lnTo>
                    <a:pt x="566356" y="1224725"/>
                  </a:lnTo>
                  <a:lnTo>
                    <a:pt x="563213" y="1225201"/>
                  </a:lnTo>
                  <a:lnTo>
                    <a:pt x="563594" y="1228344"/>
                  </a:lnTo>
                  <a:lnTo>
                    <a:pt x="566547" y="1226344"/>
                  </a:lnTo>
                  <a:lnTo>
                    <a:pt x="560832" y="1231868"/>
                  </a:lnTo>
                  <a:lnTo>
                    <a:pt x="561404" y="1236631"/>
                  </a:lnTo>
                  <a:lnTo>
                    <a:pt x="556546" y="1235678"/>
                  </a:lnTo>
                  <a:lnTo>
                    <a:pt x="556069" y="1232440"/>
                  </a:lnTo>
                  <a:lnTo>
                    <a:pt x="559022" y="1230535"/>
                  </a:lnTo>
                  <a:lnTo>
                    <a:pt x="557308" y="1229106"/>
                  </a:lnTo>
                  <a:lnTo>
                    <a:pt x="551117" y="1231487"/>
                  </a:lnTo>
                  <a:lnTo>
                    <a:pt x="543306" y="1232535"/>
                  </a:lnTo>
                  <a:lnTo>
                    <a:pt x="540353" y="1234535"/>
                  </a:lnTo>
                  <a:lnTo>
                    <a:pt x="536924" y="1233297"/>
                  </a:lnTo>
                  <a:lnTo>
                    <a:pt x="532067" y="1232345"/>
                  </a:lnTo>
                  <a:lnTo>
                    <a:pt x="525685" y="1233107"/>
                  </a:lnTo>
                  <a:lnTo>
                    <a:pt x="522542" y="1233583"/>
                  </a:lnTo>
                  <a:lnTo>
                    <a:pt x="521398" y="1236916"/>
                  </a:lnTo>
                  <a:lnTo>
                    <a:pt x="514255" y="1231392"/>
                  </a:lnTo>
                  <a:lnTo>
                    <a:pt x="509492" y="1231964"/>
                  </a:lnTo>
                  <a:lnTo>
                    <a:pt x="501205" y="1229868"/>
                  </a:lnTo>
                  <a:lnTo>
                    <a:pt x="502444" y="1239298"/>
                  </a:lnTo>
                  <a:lnTo>
                    <a:pt x="497300" y="1236726"/>
                  </a:lnTo>
                  <a:lnTo>
                    <a:pt x="492728" y="1238917"/>
                  </a:lnTo>
                  <a:lnTo>
                    <a:pt x="491014" y="1237583"/>
                  </a:lnTo>
                  <a:lnTo>
                    <a:pt x="490633" y="1234440"/>
                  </a:lnTo>
                  <a:lnTo>
                    <a:pt x="491776" y="1231011"/>
                  </a:lnTo>
                  <a:lnTo>
                    <a:pt x="489775" y="1228058"/>
                  </a:lnTo>
                  <a:lnTo>
                    <a:pt x="486632" y="1228535"/>
                  </a:lnTo>
                  <a:lnTo>
                    <a:pt x="487394" y="1234821"/>
                  </a:lnTo>
                  <a:lnTo>
                    <a:pt x="486251" y="1238155"/>
                  </a:lnTo>
                  <a:lnTo>
                    <a:pt x="479774" y="1237393"/>
                  </a:lnTo>
                  <a:lnTo>
                    <a:pt x="478346" y="1239203"/>
                  </a:lnTo>
                  <a:lnTo>
                    <a:pt x="476345" y="1236250"/>
                  </a:lnTo>
                  <a:lnTo>
                    <a:pt x="470059" y="1237012"/>
                  </a:lnTo>
                  <a:lnTo>
                    <a:pt x="469868" y="1235488"/>
                  </a:lnTo>
                  <a:lnTo>
                    <a:pt x="466915" y="1237393"/>
                  </a:lnTo>
                  <a:lnTo>
                    <a:pt x="464915" y="1234440"/>
                  </a:lnTo>
                  <a:lnTo>
                    <a:pt x="463391" y="1234631"/>
                  </a:lnTo>
                  <a:lnTo>
                    <a:pt x="461010" y="1228535"/>
                  </a:lnTo>
                  <a:lnTo>
                    <a:pt x="461963" y="1223582"/>
                  </a:lnTo>
                  <a:lnTo>
                    <a:pt x="463296" y="1221867"/>
                  </a:lnTo>
                  <a:lnTo>
                    <a:pt x="462534" y="1215485"/>
                  </a:lnTo>
                  <a:lnTo>
                    <a:pt x="462153" y="1212342"/>
                  </a:lnTo>
                  <a:lnTo>
                    <a:pt x="463487" y="1210628"/>
                  </a:lnTo>
                  <a:lnTo>
                    <a:pt x="463105" y="1207484"/>
                  </a:lnTo>
                  <a:lnTo>
                    <a:pt x="467868" y="1206818"/>
                  </a:lnTo>
                  <a:lnTo>
                    <a:pt x="462915" y="1205865"/>
                  </a:lnTo>
                  <a:lnTo>
                    <a:pt x="457390" y="1200150"/>
                  </a:lnTo>
                  <a:lnTo>
                    <a:pt x="455962" y="1201960"/>
                  </a:lnTo>
                  <a:lnTo>
                    <a:pt x="446532" y="1203103"/>
                  </a:lnTo>
                  <a:lnTo>
                    <a:pt x="443198" y="1201960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7" name="Volný tvar: obrazec 36">
              <a:extLst>
                <a:ext uri="{FF2B5EF4-FFF2-40B4-BE49-F238E27FC236}">
                  <a16:creationId xmlns:a16="http://schemas.microsoft.com/office/drawing/2014/main" id="{0659051C-D7EF-9CA4-575F-8528903006A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37533" y="2694717"/>
              <a:ext cx="860393" cy="1348549"/>
            </a:xfrm>
            <a:custGeom>
              <a:avLst/>
              <a:gdLst>
                <a:gd name="connsiteX0" fmla="*/ 855250 w 860393"/>
                <a:gd name="connsiteY0" fmla="*/ 1022509 h 1348549"/>
                <a:gd name="connsiteX1" fmla="*/ 856012 w 860393"/>
                <a:gd name="connsiteY1" fmla="*/ 1016032 h 1348549"/>
                <a:gd name="connsiteX2" fmla="*/ 854202 w 860393"/>
                <a:gd name="connsiteY2" fmla="*/ 1014698 h 1348549"/>
                <a:gd name="connsiteX3" fmla="*/ 853821 w 860393"/>
                <a:gd name="connsiteY3" fmla="*/ 1011555 h 1348549"/>
                <a:gd name="connsiteX4" fmla="*/ 852202 w 860393"/>
                <a:gd name="connsiteY4" fmla="*/ 1011746 h 1348549"/>
                <a:gd name="connsiteX5" fmla="*/ 854583 w 860393"/>
                <a:gd name="connsiteY5" fmla="*/ 1004983 h 1348549"/>
                <a:gd name="connsiteX6" fmla="*/ 847439 w 860393"/>
                <a:gd name="connsiteY6" fmla="*/ 999458 h 1348549"/>
                <a:gd name="connsiteX7" fmla="*/ 850011 w 860393"/>
                <a:gd name="connsiteY7" fmla="*/ 994315 h 1348549"/>
                <a:gd name="connsiteX8" fmla="*/ 849821 w 860393"/>
                <a:gd name="connsiteY8" fmla="*/ 992791 h 1348549"/>
                <a:gd name="connsiteX9" fmla="*/ 846677 w 860393"/>
                <a:gd name="connsiteY9" fmla="*/ 993172 h 1348549"/>
                <a:gd name="connsiteX10" fmla="*/ 845725 w 860393"/>
                <a:gd name="connsiteY10" fmla="*/ 998125 h 1348549"/>
                <a:gd name="connsiteX11" fmla="*/ 835438 w 860393"/>
                <a:gd name="connsiteY11" fmla="*/ 992981 h 1348549"/>
                <a:gd name="connsiteX12" fmla="*/ 832675 w 860393"/>
                <a:gd name="connsiteY12" fmla="*/ 996601 h 1348549"/>
                <a:gd name="connsiteX13" fmla="*/ 833247 w 860393"/>
                <a:gd name="connsiteY13" fmla="*/ 1001268 h 1348549"/>
                <a:gd name="connsiteX14" fmla="*/ 828484 w 860393"/>
                <a:gd name="connsiteY14" fmla="*/ 1001935 h 1348549"/>
                <a:gd name="connsiteX15" fmla="*/ 827151 w 860393"/>
                <a:gd name="connsiteY15" fmla="*/ 1003649 h 1348549"/>
                <a:gd name="connsiteX16" fmla="*/ 822484 w 860393"/>
                <a:gd name="connsiteY16" fmla="*/ 1017080 h 1348549"/>
                <a:gd name="connsiteX17" fmla="*/ 815340 w 860393"/>
                <a:gd name="connsiteY17" fmla="*/ 1011555 h 1348549"/>
                <a:gd name="connsiteX18" fmla="*/ 814483 w 860393"/>
                <a:gd name="connsiteY18" fmla="*/ 1005268 h 1348549"/>
                <a:gd name="connsiteX19" fmla="*/ 810578 w 860393"/>
                <a:gd name="connsiteY19" fmla="*/ 999363 h 1348549"/>
                <a:gd name="connsiteX20" fmla="*/ 807434 w 860393"/>
                <a:gd name="connsiteY20" fmla="*/ 999744 h 1348549"/>
                <a:gd name="connsiteX21" fmla="*/ 806958 w 860393"/>
                <a:gd name="connsiteY21" fmla="*/ 996601 h 1348549"/>
                <a:gd name="connsiteX22" fmla="*/ 814102 w 860393"/>
                <a:gd name="connsiteY22" fmla="*/ 989267 h 1348549"/>
                <a:gd name="connsiteX23" fmla="*/ 819055 w 860393"/>
                <a:gd name="connsiteY23" fmla="*/ 990314 h 1348549"/>
                <a:gd name="connsiteX24" fmla="*/ 822960 w 860393"/>
                <a:gd name="connsiteY24" fmla="*/ 983361 h 1348549"/>
                <a:gd name="connsiteX25" fmla="*/ 819626 w 860393"/>
                <a:gd name="connsiteY25" fmla="*/ 982218 h 1348549"/>
                <a:gd name="connsiteX26" fmla="*/ 820769 w 860393"/>
                <a:gd name="connsiteY26" fmla="*/ 978789 h 1348549"/>
                <a:gd name="connsiteX27" fmla="*/ 819150 w 860393"/>
                <a:gd name="connsiteY27" fmla="*/ 979075 h 1348549"/>
                <a:gd name="connsiteX28" fmla="*/ 822103 w 860393"/>
                <a:gd name="connsiteY28" fmla="*/ 977075 h 1348549"/>
                <a:gd name="connsiteX29" fmla="*/ 818959 w 860393"/>
                <a:gd name="connsiteY29" fmla="*/ 977455 h 1348549"/>
                <a:gd name="connsiteX30" fmla="*/ 813816 w 860393"/>
                <a:gd name="connsiteY30" fmla="*/ 974884 h 1348549"/>
                <a:gd name="connsiteX31" fmla="*/ 814673 w 860393"/>
                <a:gd name="connsiteY31" fmla="*/ 968407 h 1348549"/>
                <a:gd name="connsiteX32" fmla="*/ 812863 w 860393"/>
                <a:gd name="connsiteY32" fmla="*/ 966978 h 1348549"/>
                <a:gd name="connsiteX33" fmla="*/ 809911 w 860393"/>
                <a:gd name="connsiteY33" fmla="*/ 968978 h 1348549"/>
                <a:gd name="connsiteX34" fmla="*/ 807720 w 860393"/>
                <a:gd name="connsiteY34" fmla="*/ 964501 h 1348549"/>
                <a:gd name="connsiteX35" fmla="*/ 809054 w 860393"/>
                <a:gd name="connsiteY35" fmla="*/ 962692 h 1348549"/>
                <a:gd name="connsiteX36" fmla="*/ 807530 w 860393"/>
                <a:gd name="connsiteY36" fmla="*/ 962882 h 1348549"/>
                <a:gd name="connsiteX37" fmla="*/ 806863 w 860393"/>
                <a:gd name="connsiteY37" fmla="*/ 958120 h 1348549"/>
                <a:gd name="connsiteX38" fmla="*/ 803720 w 860393"/>
                <a:gd name="connsiteY38" fmla="*/ 958501 h 1348549"/>
                <a:gd name="connsiteX39" fmla="*/ 801338 w 860393"/>
                <a:gd name="connsiteY39" fmla="*/ 952405 h 1348549"/>
                <a:gd name="connsiteX40" fmla="*/ 799433 w 860393"/>
                <a:gd name="connsiteY40" fmla="*/ 949452 h 1348549"/>
                <a:gd name="connsiteX41" fmla="*/ 795814 w 860393"/>
                <a:gd name="connsiteY41" fmla="*/ 946690 h 1348549"/>
                <a:gd name="connsiteX42" fmla="*/ 790289 w 860393"/>
                <a:gd name="connsiteY42" fmla="*/ 940975 h 1348549"/>
                <a:gd name="connsiteX43" fmla="*/ 785717 w 860393"/>
                <a:gd name="connsiteY43" fmla="*/ 930402 h 1348549"/>
                <a:gd name="connsiteX44" fmla="*/ 779240 w 860393"/>
                <a:gd name="connsiteY44" fmla="*/ 929640 h 1348549"/>
                <a:gd name="connsiteX45" fmla="*/ 770572 w 860393"/>
                <a:gd name="connsiteY45" fmla="*/ 924306 h 1348549"/>
                <a:gd name="connsiteX46" fmla="*/ 764762 w 860393"/>
                <a:gd name="connsiteY46" fmla="*/ 916972 h 1348549"/>
                <a:gd name="connsiteX47" fmla="*/ 761619 w 860393"/>
                <a:gd name="connsiteY47" fmla="*/ 917448 h 1348549"/>
                <a:gd name="connsiteX48" fmla="*/ 758857 w 860393"/>
                <a:gd name="connsiteY48" fmla="*/ 920972 h 1348549"/>
                <a:gd name="connsiteX49" fmla="*/ 757047 w 860393"/>
                <a:gd name="connsiteY49" fmla="*/ 919543 h 1348549"/>
                <a:gd name="connsiteX50" fmla="*/ 755904 w 860393"/>
                <a:gd name="connsiteY50" fmla="*/ 910114 h 1348549"/>
                <a:gd name="connsiteX51" fmla="*/ 750570 w 860393"/>
                <a:gd name="connsiteY51" fmla="*/ 906018 h 1348549"/>
                <a:gd name="connsiteX52" fmla="*/ 754285 w 860393"/>
                <a:gd name="connsiteY52" fmla="*/ 897541 h 1348549"/>
                <a:gd name="connsiteX53" fmla="*/ 743617 w 860393"/>
                <a:gd name="connsiteY53" fmla="*/ 889254 h 1348549"/>
                <a:gd name="connsiteX54" fmla="*/ 735044 w 860393"/>
                <a:gd name="connsiteY54" fmla="*/ 872680 h 1348549"/>
                <a:gd name="connsiteX55" fmla="*/ 727996 w 860393"/>
                <a:gd name="connsiteY55" fmla="*/ 867156 h 1348549"/>
                <a:gd name="connsiteX56" fmla="*/ 727996 w 860393"/>
                <a:gd name="connsiteY56" fmla="*/ 867156 h 1348549"/>
                <a:gd name="connsiteX57" fmla="*/ 725424 w 860393"/>
                <a:gd name="connsiteY57" fmla="*/ 872300 h 1348549"/>
                <a:gd name="connsiteX58" fmla="*/ 725043 w 860393"/>
                <a:gd name="connsiteY58" fmla="*/ 882015 h 1348549"/>
                <a:gd name="connsiteX59" fmla="*/ 723424 w 860393"/>
                <a:gd name="connsiteY59" fmla="*/ 882205 h 1348549"/>
                <a:gd name="connsiteX60" fmla="*/ 722090 w 860393"/>
                <a:gd name="connsiteY60" fmla="*/ 883920 h 1348549"/>
                <a:gd name="connsiteX61" fmla="*/ 720280 w 860393"/>
                <a:gd name="connsiteY61" fmla="*/ 882587 h 1348549"/>
                <a:gd name="connsiteX62" fmla="*/ 717709 w 860393"/>
                <a:gd name="connsiteY62" fmla="*/ 887730 h 1348549"/>
                <a:gd name="connsiteX63" fmla="*/ 715994 w 860393"/>
                <a:gd name="connsiteY63" fmla="*/ 886301 h 1348549"/>
                <a:gd name="connsiteX64" fmla="*/ 715613 w 860393"/>
                <a:gd name="connsiteY64" fmla="*/ 883158 h 1348549"/>
                <a:gd name="connsiteX65" fmla="*/ 694849 w 860393"/>
                <a:gd name="connsiteY65" fmla="*/ 871347 h 1348549"/>
                <a:gd name="connsiteX66" fmla="*/ 692467 w 860393"/>
                <a:gd name="connsiteY66" fmla="*/ 865251 h 1348549"/>
                <a:gd name="connsiteX67" fmla="*/ 690848 w 860393"/>
                <a:gd name="connsiteY67" fmla="*/ 852678 h 1348549"/>
                <a:gd name="connsiteX68" fmla="*/ 687610 w 860393"/>
                <a:gd name="connsiteY68" fmla="*/ 840200 h 1348549"/>
                <a:gd name="connsiteX69" fmla="*/ 688657 w 860393"/>
                <a:gd name="connsiteY69" fmla="*/ 835247 h 1348549"/>
                <a:gd name="connsiteX70" fmla="*/ 694849 w 860393"/>
                <a:gd name="connsiteY70" fmla="*/ 821626 h 1348549"/>
                <a:gd name="connsiteX71" fmla="*/ 696468 w 860393"/>
                <a:gd name="connsiteY71" fmla="*/ 821436 h 1348549"/>
                <a:gd name="connsiteX72" fmla="*/ 697421 w 860393"/>
                <a:gd name="connsiteY72" fmla="*/ 816483 h 1348549"/>
                <a:gd name="connsiteX73" fmla="*/ 699040 w 860393"/>
                <a:gd name="connsiteY73" fmla="*/ 816293 h 1348549"/>
                <a:gd name="connsiteX74" fmla="*/ 697039 w 860393"/>
                <a:gd name="connsiteY74" fmla="*/ 813340 h 1348549"/>
                <a:gd name="connsiteX75" fmla="*/ 697611 w 860393"/>
                <a:gd name="connsiteY75" fmla="*/ 805243 h 1348549"/>
                <a:gd name="connsiteX76" fmla="*/ 696087 w 860393"/>
                <a:gd name="connsiteY76" fmla="*/ 805529 h 1348549"/>
                <a:gd name="connsiteX77" fmla="*/ 693706 w 860393"/>
                <a:gd name="connsiteY77" fmla="*/ 812197 h 1348549"/>
                <a:gd name="connsiteX78" fmla="*/ 690563 w 860393"/>
                <a:gd name="connsiteY78" fmla="*/ 812578 h 1348549"/>
                <a:gd name="connsiteX79" fmla="*/ 686943 w 860393"/>
                <a:gd name="connsiteY79" fmla="*/ 809815 h 1348549"/>
                <a:gd name="connsiteX80" fmla="*/ 685229 w 860393"/>
                <a:gd name="connsiteY80" fmla="*/ 808482 h 1348549"/>
                <a:gd name="connsiteX81" fmla="*/ 681799 w 860393"/>
                <a:gd name="connsiteY81" fmla="*/ 807339 h 1348549"/>
                <a:gd name="connsiteX82" fmla="*/ 684371 w 860393"/>
                <a:gd name="connsiteY82" fmla="*/ 802196 h 1348549"/>
                <a:gd name="connsiteX83" fmla="*/ 680847 w 860393"/>
                <a:gd name="connsiteY83" fmla="*/ 799433 h 1348549"/>
                <a:gd name="connsiteX84" fmla="*/ 677513 w 860393"/>
                <a:gd name="connsiteY84" fmla="*/ 798195 h 1348549"/>
                <a:gd name="connsiteX85" fmla="*/ 671322 w 860393"/>
                <a:gd name="connsiteY85" fmla="*/ 800576 h 1348549"/>
                <a:gd name="connsiteX86" fmla="*/ 665416 w 860393"/>
                <a:gd name="connsiteY86" fmla="*/ 791718 h 1348549"/>
                <a:gd name="connsiteX87" fmla="*/ 660654 w 860393"/>
                <a:gd name="connsiteY87" fmla="*/ 792385 h 1348549"/>
                <a:gd name="connsiteX88" fmla="*/ 651986 w 860393"/>
                <a:gd name="connsiteY88" fmla="*/ 787051 h 1348549"/>
                <a:gd name="connsiteX89" fmla="*/ 649605 w 860393"/>
                <a:gd name="connsiteY89" fmla="*/ 793718 h 1348549"/>
                <a:gd name="connsiteX90" fmla="*/ 646271 w 860393"/>
                <a:gd name="connsiteY90" fmla="*/ 792575 h 1348549"/>
                <a:gd name="connsiteX91" fmla="*/ 642175 w 860393"/>
                <a:gd name="connsiteY91" fmla="*/ 797909 h 1348549"/>
                <a:gd name="connsiteX92" fmla="*/ 636080 w 860393"/>
                <a:gd name="connsiteY92" fmla="*/ 800290 h 1348549"/>
                <a:gd name="connsiteX93" fmla="*/ 635317 w 860393"/>
                <a:gd name="connsiteY93" fmla="*/ 806768 h 1348549"/>
                <a:gd name="connsiteX94" fmla="*/ 622649 w 860393"/>
                <a:gd name="connsiteY94" fmla="*/ 808387 h 1348549"/>
                <a:gd name="connsiteX95" fmla="*/ 615887 w 860393"/>
                <a:gd name="connsiteY95" fmla="*/ 806101 h 1348549"/>
                <a:gd name="connsiteX96" fmla="*/ 604075 w 860393"/>
                <a:gd name="connsiteY96" fmla="*/ 788289 h 1348549"/>
                <a:gd name="connsiteX97" fmla="*/ 595598 w 860393"/>
                <a:gd name="connsiteY97" fmla="*/ 784574 h 1348549"/>
                <a:gd name="connsiteX98" fmla="*/ 587312 w 860393"/>
                <a:gd name="connsiteY98" fmla="*/ 782479 h 1348549"/>
                <a:gd name="connsiteX99" fmla="*/ 585311 w 860393"/>
                <a:gd name="connsiteY99" fmla="*/ 779526 h 1348549"/>
                <a:gd name="connsiteX100" fmla="*/ 581978 w 860393"/>
                <a:gd name="connsiteY100" fmla="*/ 778288 h 1348549"/>
                <a:gd name="connsiteX101" fmla="*/ 579406 w 860393"/>
                <a:gd name="connsiteY101" fmla="*/ 783431 h 1348549"/>
                <a:gd name="connsiteX102" fmla="*/ 578167 w 860393"/>
                <a:gd name="connsiteY102" fmla="*/ 786860 h 1348549"/>
                <a:gd name="connsiteX103" fmla="*/ 579977 w 860393"/>
                <a:gd name="connsiteY103" fmla="*/ 788194 h 1348549"/>
                <a:gd name="connsiteX104" fmla="*/ 572072 w 860393"/>
                <a:gd name="connsiteY104" fmla="*/ 802005 h 1348549"/>
                <a:gd name="connsiteX105" fmla="*/ 558927 w 860393"/>
                <a:gd name="connsiteY105" fmla="*/ 798862 h 1348549"/>
                <a:gd name="connsiteX106" fmla="*/ 555498 w 860393"/>
                <a:gd name="connsiteY106" fmla="*/ 797719 h 1348549"/>
                <a:gd name="connsiteX107" fmla="*/ 547211 w 860393"/>
                <a:gd name="connsiteY107" fmla="*/ 782764 h 1348549"/>
                <a:gd name="connsiteX108" fmla="*/ 543878 w 860393"/>
                <a:gd name="connsiteY108" fmla="*/ 781526 h 1348549"/>
                <a:gd name="connsiteX109" fmla="*/ 541115 w 860393"/>
                <a:gd name="connsiteY109" fmla="*/ 785146 h 1348549"/>
                <a:gd name="connsiteX110" fmla="*/ 535972 w 860393"/>
                <a:gd name="connsiteY110" fmla="*/ 782574 h 1348549"/>
                <a:gd name="connsiteX111" fmla="*/ 520922 w 860393"/>
                <a:gd name="connsiteY111" fmla="*/ 778097 h 1348549"/>
                <a:gd name="connsiteX112" fmla="*/ 513493 w 860393"/>
                <a:gd name="connsiteY112" fmla="*/ 782193 h 1348549"/>
                <a:gd name="connsiteX113" fmla="*/ 509111 w 860393"/>
                <a:gd name="connsiteY113" fmla="*/ 786003 h 1348549"/>
                <a:gd name="connsiteX114" fmla="*/ 504444 w 860393"/>
                <a:gd name="connsiteY114" fmla="*/ 786575 h 1348549"/>
                <a:gd name="connsiteX115" fmla="*/ 504825 w 860393"/>
                <a:gd name="connsiteY115" fmla="*/ 789718 h 1348549"/>
                <a:gd name="connsiteX116" fmla="*/ 502634 w 860393"/>
                <a:gd name="connsiteY116" fmla="*/ 785241 h 1348549"/>
                <a:gd name="connsiteX117" fmla="*/ 495490 w 860393"/>
                <a:gd name="connsiteY117" fmla="*/ 779717 h 1348549"/>
                <a:gd name="connsiteX118" fmla="*/ 501587 w 860393"/>
                <a:gd name="connsiteY118" fmla="*/ 777335 h 1348549"/>
                <a:gd name="connsiteX119" fmla="*/ 499681 w 860393"/>
                <a:gd name="connsiteY119" fmla="*/ 774383 h 1348549"/>
                <a:gd name="connsiteX120" fmla="*/ 492538 w 860393"/>
                <a:gd name="connsiteY120" fmla="*/ 768858 h 1348549"/>
                <a:gd name="connsiteX121" fmla="*/ 492157 w 860393"/>
                <a:gd name="connsiteY121" fmla="*/ 765715 h 1348549"/>
                <a:gd name="connsiteX122" fmla="*/ 495109 w 860393"/>
                <a:gd name="connsiteY122" fmla="*/ 763714 h 1348549"/>
                <a:gd name="connsiteX123" fmla="*/ 492728 w 860393"/>
                <a:gd name="connsiteY123" fmla="*/ 757618 h 1348549"/>
                <a:gd name="connsiteX124" fmla="*/ 485775 w 860393"/>
                <a:gd name="connsiteY124" fmla="*/ 753713 h 1348549"/>
                <a:gd name="connsiteX125" fmla="*/ 483584 w 860393"/>
                <a:gd name="connsiteY125" fmla="*/ 749141 h 1348549"/>
                <a:gd name="connsiteX126" fmla="*/ 480441 w 860393"/>
                <a:gd name="connsiteY126" fmla="*/ 749522 h 1348549"/>
                <a:gd name="connsiteX127" fmla="*/ 478441 w 860393"/>
                <a:gd name="connsiteY127" fmla="*/ 746569 h 1348549"/>
                <a:gd name="connsiteX128" fmla="*/ 467011 w 860393"/>
                <a:gd name="connsiteY128" fmla="*/ 731996 h 1348549"/>
                <a:gd name="connsiteX129" fmla="*/ 465011 w 860393"/>
                <a:gd name="connsiteY129" fmla="*/ 729043 h 1348549"/>
                <a:gd name="connsiteX130" fmla="*/ 463582 w 860393"/>
                <a:gd name="connsiteY130" fmla="*/ 730853 h 1348549"/>
                <a:gd name="connsiteX131" fmla="*/ 456152 w 860393"/>
                <a:gd name="connsiteY131" fmla="*/ 722185 h 1348549"/>
                <a:gd name="connsiteX132" fmla="*/ 448818 w 860393"/>
                <a:gd name="connsiteY132" fmla="*/ 727901 h 1348549"/>
                <a:gd name="connsiteX133" fmla="*/ 439388 w 860393"/>
                <a:gd name="connsiteY133" fmla="*/ 729139 h 1348549"/>
                <a:gd name="connsiteX134" fmla="*/ 436626 w 860393"/>
                <a:gd name="connsiteY134" fmla="*/ 732663 h 1348549"/>
                <a:gd name="connsiteX135" fmla="*/ 434054 w 860393"/>
                <a:gd name="connsiteY135" fmla="*/ 737806 h 1348549"/>
                <a:gd name="connsiteX136" fmla="*/ 432054 w 860393"/>
                <a:gd name="connsiteY136" fmla="*/ 734854 h 1348549"/>
                <a:gd name="connsiteX137" fmla="*/ 433006 w 860393"/>
                <a:gd name="connsiteY137" fmla="*/ 729901 h 1348549"/>
                <a:gd name="connsiteX138" fmla="*/ 421386 w 860393"/>
                <a:gd name="connsiteY138" fmla="*/ 726567 h 1348549"/>
                <a:gd name="connsiteX139" fmla="*/ 415290 w 860393"/>
                <a:gd name="connsiteY139" fmla="*/ 729043 h 1348549"/>
                <a:gd name="connsiteX140" fmla="*/ 410337 w 860393"/>
                <a:gd name="connsiteY140" fmla="*/ 727996 h 1348549"/>
                <a:gd name="connsiteX141" fmla="*/ 410146 w 860393"/>
                <a:gd name="connsiteY141" fmla="*/ 726472 h 1348549"/>
                <a:gd name="connsiteX142" fmla="*/ 409956 w 860393"/>
                <a:gd name="connsiteY142" fmla="*/ 724852 h 1348549"/>
                <a:gd name="connsiteX143" fmla="*/ 404622 w 860393"/>
                <a:gd name="connsiteY143" fmla="*/ 720757 h 1348549"/>
                <a:gd name="connsiteX144" fmla="*/ 403003 w 860393"/>
                <a:gd name="connsiteY144" fmla="*/ 720947 h 1348549"/>
                <a:gd name="connsiteX145" fmla="*/ 401860 w 860393"/>
                <a:gd name="connsiteY145" fmla="*/ 724281 h 1348549"/>
                <a:gd name="connsiteX146" fmla="*/ 401288 w 860393"/>
                <a:gd name="connsiteY146" fmla="*/ 719518 h 1348549"/>
                <a:gd name="connsiteX147" fmla="*/ 399288 w 860393"/>
                <a:gd name="connsiteY147" fmla="*/ 716566 h 1348549"/>
                <a:gd name="connsiteX148" fmla="*/ 394716 w 860393"/>
                <a:gd name="connsiteY148" fmla="*/ 718756 h 1348549"/>
                <a:gd name="connsiteX149" fmla="*/ 391192 w 860393"/>
                <a:gd name="connsiteY149" fmla="*/ 715994 h 1348549"/>
                <a:gd name="connsiteX150" fmla="*/ 384620 w 860393"/>
                <a:gd name="connsiteY150" fmla="*/ 715232 h 1348549"/>
                <a:gd name="connsiteX151" fmla="*/ 382238 w 860393"/>
                <a:gd name="connsiteY151" fmla="*/ 709136 h 1348549"/>
                <a:gd name="connsiteX152" fmla="*/ 379286 w 860393"/>
                <a:gd name="connsiteY152" fmla="*/ 711137 h 1348549"/>
                <a:gd name="connsiteX153" fmla="*/ 375761 w 860393"/>
                <a:gd name="connsiteY153" fmla="*/ 708374 h 1348549"/>
                <a:gd name="connsiteX154" fmla="*/ 371189 w 860393"/>
                <a:gd name="connsiteY154" fmla="*/ 710565 h 1348549"/>
                <a:gd name="connsiteX155" fmla="*/ 369284 w 860393"/>
                <a:gd name="connsiteY155" fmla="*/ 707612 h 1348549"/>
                <a:gd name="connsiteX156" fmla="*/ 368046 w 860393"/>
                <a:gd name="connsiteY156" fmla="*/ 710946 h 1348549"/>
                <a:gd name="connsiteX157" fmla="*/ 364903 w 860393"/>
                <a:gd name="connsiteY157" fmla="*/ 711327 h 1348549"/>
                <a:gd name="connsiteX158" fmla="*/ 365284 w 860393"/>
                <a:gd name="connsiteY158" fmla="*/ 714470 h 1348549"/>
                <a:gd name="connsiteX159" fmla="*/ 363760 w 860393"/>
                <a:gd name="connsiteY159" fmla="*/ 714756 h 1348549"/>
                <a:gd name="connsiteX160" fmla="*/ 361950 w 860393"/>
                <a:gd name="connsiteY160" fmla="*/ 713327 h 1348549"/>
                <a:gd name="connsiteX161" fmla="*/ 358997 w 860393"/>
                <a:gd name="connsiteY161" fmla="*/ 715327 h 1348549"/>
                <a:gd name="connsiteX162" fmla="*/ 357664 w 860393"/>
                <a:gd name="connsiteY162" fmla="*/ 717137 h 1348549"/>
                <a:gd name="connsiteX163" fmla="*/ 357188 w 860393"/>
                <a:gd name="connsiteY163" fmla="*/ 713899 h 1348549"/>
                <a:gd name="connsiteX164" fmla="*/ 355473 w 860393"/>
                <a:gd name="connsiteY164" fmla="*/ 712565 h 1348549"/>
                <a:gd name="connsiteX165" fmla="*/ 354997 w 860393"/>
                <a:gd name="connsiteY165" fmla="*/ 709422 h 1348549"/>
                <a:gd name="connsiteX166" fmla="*/ 351854 w 860393"/>
                <a:gd name="connsiteY166" fmla="*/ 709803 h 1348549"/>
                <a:gd name="connsiteX167" fmla="*/ 354235 w 860393"/>
                <a:gd name="connsiteY167" fmla="*/ 703135 h 1348549"/>
                <a:gd name="connsiteX168" fmla="*/ 360331 w 860393"/>
                <a:gd name="connsiteY168" fmla="*/ 687896 h 1348549"/>
                <a:gd name="connsiteX169" fmla="*/ 362807 w 860393"/>
                <a:gd name="connsiteY169" fmla="*/ 669893 h 1348549"/>
                <a:gd name="connsiteX170" fmla="*/ 359664 w 860393"/>
                <a:gd name="connsiteY170" fmla="*/ 670369 h 1348549"/>
                <a:gd name="connsiteX171" fmla="*/ 355949 w 860393"/>
                <a:gd name="connsiteY171" fmla="*/ 678847 h 1348549"/>
                <a:gd name="connsiteX172" fmla="*/ 350806 w 860393"/>
                <a:gd name="connsiteY172" fmla="*/ 676275 h 1348549"/>
                <a:gd name="connsiteX173" fmla="*/ 349472 w 860393"/>
                <a:gd name="connsiteY173" fmla="*/ 678085 h 1348549"/>
                <a:gd name="connsiteX174" fmla="*/ 350044 w 860393"/>
                <a:gd name="connsiteY174" fmla="*/ 682752 h 1348549"/>
                <a:gd name="connsiteX175" fmla="*/ 345091 w 860393"/>
                <a:gd name="connsiteY175" fmla="*/ 681800 h 1348549"/>
                <a:gd name="connsiteX176" fmla="*/ 341947 w 860393"/>
                <a:gd name="connsiteY176" fmla="*/ 682180 h 1348549"/>
                <a:gd name="connsiteX177" fmla="*/ 334899 w 860393"/>
                <a:gd name="connsiteY177" fmla="*/ 689515 h 1348549"/>
                <a:gd name="connsiteX178" fmla="*/ 332708 w 860393"/>
                <a:gd name="connsiteY178" fmla="*/ 685038 h 1348549"/>
                <a:gd name="connsiteX179" fmla="*/ 329374 w 860393"/>
                <a:gd name="connsiteY179" fmla="*/ 683800 h 1348549"/>
                <a:gd name="connsiteX180" fmla="*/ 324803 w 860393"/>
                <a:gd name="connsiteY180" fmla="*/ 673132 h 1348549"/>
                <a:gd name="connsiteX181" fmla="*/ 323945 w 860393"/>
                <a:gd name="connsiteY181" fmla="*/ 666845 h 1348549"/>
                <a:gd name="connsiteX182" fmla="*/ 321945 w 860393"/>
                <a:gd name="connsiteY182" fmla="*/ 663893 h 1348549"/>
                <a:gd name="connsiteX183" fmla="*/ 318611 w 860393"/>
                <a:gd name="connsiteY183" fmla="*/ 662750 h 1348549"/>
                <a:gd name="connsiteX184" fmla="*/ 316039 w 860393"/>
                <a:gd name="connsiteY184" fmla="*/ 667893 h 1348549"/>
                <a:gd name="connsiteX185" fmla="*/ 316611 w 860393"/>
                <a:gd name="connsiteY185" fmla="*/ 659797 h 1348549"/>
                <a:gd name="connsiteX186" fmla="*/ 314230 w 860393"/>
                <a:gd name="connsiteY186" fmla="*/ 653701 h 1348549"/>
                <a:gd name="connsiteX187" fmla="*/ 305753 w 860393"/>
                <a:gd name="connsiteY187" fmla="*/ 649891 h 1348549"/>
                <a:gd name="connsiteX188" fmla="*/ 306705 w 860393"/>
                <a:gd name="connsiteY188" fmla="*/ 645033 h 1348549"/>
                <a:gd name="connsiteX189" fmla="*/ 309944 w 860393"/>
                <a:gd name="connsiteY189" fmla="*/ 644557 h 1348549"/>
                <a:gd name="connsiteX190" fmla="*/ 307467 w 860393"/>
                <a:gd name="connsiteY190" fmla="*/ 638461 h 1348549"/>
                <a:gd name="connsiteX191" fmla="*/ 312230 w 860393"/>
                <a:gd name="connsiteY191" fmla="*/ 637889 h 1348549"/>
                <a:gd name="connsiteX192" fmla="*/ 313468 w 860393"/>
                <a:gd name="connsiteY192" fmla="*/ 634555 h 1348549"/>
                <a:gd name="connsiteX193" fmla="*/ 319183 w 860393"/>
                <a:gd name="connsiteY193" fmla="*/ 629031 h 1348549"/>
                <a:gd name="connsiteX194" fmla="*/ 318897 w 860393"/>
                <a:gd name="connsiteY194" fmla="*/ 627412 h 1348549"/>
                <a:gd name="connsiteX195" fmla="*/ 319945 w 860393"/>
                <a:gd name="connsiteY195" fmla="*/ 622459 h 1348549"/>
                <a:gd name="connsiteX196" fmla="*/ 321659 w 860393"/>
                <a:gd name="connsiteY196" fmla="*/ 623888 h 1348549"/>
                <a:gd name="connsiteX197" fmla="*/ 323088 w 860393"/>
                <a:gd name="connsiteY197" fmla="*/ 622078 h 1348549"/>
                <a:gd name="connsiteX198" fmla="*/ 322707 w 860393"/>
                <a:gd name="connsiteY198" fmla="*/ 618934 h 1348549"/>
                <a:gd name="connsiteX199" fmla="*/ 324993 w 860393"/>
                <a:gd name="connsiteY199" fmla="*/ 612172 h 1348549"/>
                <a:gd name="connsiteX200" fmla="*/ 316706 w 860393"/>
                <a:gd name="connsiteY200" fmla="*/ 610076 h 1348549"/>
                <a:gd name="connsiteX201" fmla="*/ 317849 w 860393"/>
                <a:gd name="connsiteY201" fmla="*/ 606647 h 1348549"/>
                <a:gd name="connsiteX202" fmla="*/ 315563 w 860393"/>
                <a:gd name="connsiteY202" fmla="*/ 600551 h 1348549"/>
                <a:gd name="connsiteX203" fmla="*/ 323183 w 860393"/>
                <a:gd name="connsiteY203" fmla="*/ 597980 h 1348549"/>
                <a:gd name="connsiteX204" fmla="*/ 322802 w 860393"/>
                <a:gd name="connsiteY204" fmla="*/ 594836 h 1348549"/>
                <a:gd name="connsiteX205" fmla="*/ 327374 w 860393"/>
                <a:gd name="connsiteY205" fmla="*/ 592646 h 1348549"/>
                <a:gd name="connsiteX206" fmla="*/ 328327 w 860393"/>
                <a:gd name="connsiteY206" fmla="*/ 587693 h 1348549"/>
                <a:gd name="connsiteX207" fmla="*/ 334613 w 860393"/>
                <a:gd name="connsiteY207" fmla="*/ 586930 h 1348549"/>
                <a:gd name="connsiteX208" fmla="*/ 336804 w 860393"/>
                <a:gd name="connsiteY208" fmla="*/ 578644 h 1348549"/>
                <a:gd name="connsiteX209" fmla="*/ 338519 w 860393"/>
                <a:gd name="connsiteY209" fmla="*/ 579977 h 1348549"/>
                <a:gd name="connsiteX210" fmla="*/ 341090 w 860393"/>
                <a:gd name="connsiteY210" fmla="*/ 574834 h 1348549"/>
                <a:gd name="connsiteX211" fmla="*/ 339090 w 860393"/>
                <a:gd name="connsiteY211" fmla="*/ 571881 h 1348549"/>
                <a:gd name="connsiteX212" fmla="*/ 341852 w 860393"/>
                <a:gd name="connsiteY212" fmla="*/ 568357 h 1348549"/>
                <a:gd name="connsiteX213" fmla="*/ 339471 w 860393"/>
                <a:gd name="connsiteY213" fmla="*/ 562261 h 1348549"/>
                <a:gd name="connsiteX214" fmla="*/ 339280 w 860393"/>
                <a:gd name="connsiteY214" fmla="*/ 560642 h 1348549"/>
                <a:gd name="connsiteX215" fmla="*/ 335185 w 860393"/>
                <a:gd name="connsiteY215" fmla="*/ 553212 h 1348549"/>
                <a:gd name="connsiteX216" fmla="*/ 320516 w 860393"/>
                <a:gd name="connsiteY216" fmla="*/ 539020 h 1348549"/>
                <a:gd name="connsiteX217" fmla="*/ 312039 w 860393"/>
                <a:gd name="connsiteY217" fmla="*/ 535305 h 1348549"/>
                <a:gd name="connsiteX218" fmla="*/ 309658 w 860393"/>
                <a:gd name="connsiteY218" fmla="*/ 529114 h 1348549"/>
                <a:gd name="connsiteX219" fmla="*/ 311182 w 860393"/>
                <a:gd name="connsiteY219" fmla="*/ 528923 h 1348549"/>
                <a:gd name="connsiteX220" fmla="*/ 320040 w 860393"/>
                <a:gd name="connsiteY220" fmla="*/ 523018 h 1348549"/>
                <a:gd name="connsiteX221" fmla="*/ 320802 w 860393"/>
                <a:gd name="connsiteY221" fmla="*/ 516541 h 1348549"/>
                <a:gd name="connsiteX222" fmla="*/ 318421 w 860393"/>
                <a:gd name="connsiteY222" fmla="*/ 510349 h 1348549"/>
                <a:gd name="connsiteX223" fmla="*/ 316801 w 860393"/>
                <a:gd name="connsiteY223" fmla="*/ 497776 h 1348549"/>
                <a:gd name="connsiteX224" fmla="*/ 325279 w 860393"/>
                <a:gd name="connsiteY224" fmla="*/ 488632 h 1348549"/>
                <a:gd name="connsiteX225" fmla="*/ 329851 w 860393"/>
                <a:gd name="connsiteY225" fmla="*/ 473678 h 1348549"/>
                <a:gd name="connsiteX226" fmla="*/ 337471 w 860393"/>
                <a:gd name="connsiteY226" fmla="*/ 471107 h 1348549"/>
                <a:gd name="connsiteX227" fmla="*/ 342995 w 860393"/>
                <a:gd name="connsiteY227" fmla="*/ 463963 h 1348549"/>
                <a:gd name="connsiteX228" fmla="*/ 345567 w 860393"/>
                <a:gd name="connsiteY228" fmla="*/ 458819 h 1348549"/>
                <a:gd name="connsiteX229" fmla="*/ 353282 w 860393"/>
                <a:gd name="connsiteY229" fmla="*/ 456247 h 1348549"/>
                <a:gd name="connsiteX230" fmla="*/ 360521 w 860393"/>
                <a:gd name="connsiteY230" fmla="*/ 437674 h 1348549"/>
                <a:gd name="connsiteX231" fmla="*/ 359473 w 860393"/>
                <a:gd name="connsiteY231" fmla="*/ 429768 h 1348549"/>
                <a:gd name="connsiteX232" fmla="*/ 357092 w 860393"/>
                <a:gd name="connsiteY232" fmla="*/ 423672 h 1348549"/>
                <a:gd name="connsiteX233" fmla="*/ 357473 w 860393"/>
                <a:gd name="connsiteY233" fmla="*/ 414052 h 1348549"/>
                <a:gd name="connsiteX234" fmla="*/ 349948 w 860393"/>
                <a:gd name="connsiteY234" fmla="*/ 392525 h 1348549"/>
                <a:gd name="connsiteX235" fmla="*/ 365665 w 860393"/>
                <a:gd name="connsiteY235" fmla="*/ 377666 h 1348549"/>
                <a:gd name="connsiteX236" fmla="*/ 369665 w 860393"/>
                <a:gd name="connsiteY236" fmla="*/ 370808 h 1348549"/>
                <a:gd name="connsiteX237" fmla="*/ 365665 w 860393"/>
                <a:gd name="connsiteY237" fmla="*/ 364903 h 1348549"/>
                <a:gd name="connsiteX238" fmla="*/ 364236 w 860393"/>
                <a:gd name="connsiteY238" fmla="*/ 353854 h 1348549"/>
                <a:gd name="connsiteX239" fmla="*/ 361664 w 860393"/>
                <a:gd name="connsiteY239" fmla="*/ 346138 h 1348549"/>
                <a:gd name="connsiteX240" fmla="*/ 371951 w 860393"/>
                <a:gd name="connsiteY240" fmla="*/ 338423 h 1348549"/>
                <a:gd name="connsiteX241" fmla="*/ 375095 w 860393"/>
                <a:gd name="connsiteY241" fmla="*/ 338042 h 1348549"/>
                <a:gd name="connsiteX242" fmla="*/ 383096 w 860393"/>
                <a:gd name="connsiteY242" fmla="*/ 325755 h 1348549"/>
                <a:gd name="connsiteX243" fmla="*/ 387287 w 860393"/>
                <a:gd name="connsiteY243" fmla="*/ 320421 h 1348549"/>
                <a:gd name="connsiteX244" fmla="*/ 392335 w 860393"/>
                <a:gd name="connsiteY244" fmla="*/ 310134 h 1348549"/>
                <a:gd name="connsiteX245" fmla="*/ 397669 w 860393"/>
                <a:gd name="connsiteY245" fmla="*/ 314230 h 1348549"/>
                <a:gd name="connsiteX246" fmla="*/ 400717 w 860393"/>
                <a:gd name="connsiteY246" fmla="*/ 312325 h 1348549"/>
                <a:gd name="connsiteX247" fmla="*/ 405003 w 860393"/>
                <a:gd name="connsiteY247" fmla="*/ 308515 h 1348549"/>
                <a:gd name="connsiteX248" fmla="*/ 404241 w 860393"/>
                <a:gd name="connsiteY248" fmla="*/ 302228 h 1348549"/>
                <a:gd name="connsiteX249" fmla="*/ 408146 w 860393"/>
                <a:gd name="connsiteY249" fmla="*/ 295275 h 1348549"/>
                <a:gd name="connsiteX250" fmla="*/ 414052 w 860393"/>
                <a:gd name="connsiteY250" fmla="*/ 291370 h 1348549"/>
                <a:gd name="connsiteX251" fmla="*/ 427672 w 860393"/>
                <a:gd name="connsiteY251" fmla="*/ 297656 h 1348549"/>
                <a:gd name="connsiteX252" fmla="*/ 434912 w 860393"/>
                <a:gd name="connsiteY252" fmla="*/ 291846 h 1348549"/>
                <a:gd name="connsiteX253" fmla="*/ 442246 w 860393"/>
                <a:gd name="connsiteY253" fmla="*/ 273272 h 1348549"/>
                <a:gd name="connsiteX254" fmla="*/ 450723 w 860393"/>
                <a:gd name="connsiteY254" fmla="*/ 264223 h 1348549"/>
                <a:gd name="connsiteX255" fmla="*/ 453962 w 860393"/>
                <a:gd name="connsiteY255" fmla="*/ 252603 h 1348549"/>
                <a:gd name="connsiteX256" fmla="*/ 455771 w 860393"/>
                <a:gd name="connsiteY256" fmla="*/ 253936 h 1348549"/>
                <a:gd name="connsiteX257" fmla="*/ 463487 w 860393"/>
                <a:gd name="connsiteY257" fmla="*/ 264223 h 1348549"/>
                <a:gd name="connsiteX258" fmla="*/ 468821 w 860393"/>
                <a:gd name="connsiteY258" fmla="*/ 268319 h 1348549"/>
                <a:gd name="connsiteX259" fmla="*/ 471773 w 860393"/>
                <a:gd name="connsiteY259" fmla="*/ 266319 h 1348549"/>
                <a:gd name="connsiteX260" fmla="*/ 480060 w 860393"/>
                <a:gd name="connsiteY260" fmla="*/ 268510 h 1348549"/>
                <a:gd name="connsiteX261" fmla="*/ 485965 w 860393"/>
                <a:gd name="connsiteY261" fmla="*/ 264509 h 1348549"/>
                <a:gd name="connsiteX262" fmla="*/ 485394 w 860393"/>
                <a:gd name="connsiteY262" fmla="*/ 259842 h 1348549"/>
                <a:gd name="connsiteX263" fmla="*/ 488156 w 860393"/>
                <a:gd name="connsiteY263" fmla="*/ 256222 h 1348549"/>
                <a:gd name="connsiteX264" fmla="*/ 487299 w 860393"/>
                <a:gd name="connsiteY264" fmla="*/ 249936 h 1348549"/>
                <a:gd name="connsiteX265" fmla="*/ 488156 w 860393"/>
                <a:gd name="connsiteY265" fmla="*/ 243459 h 1348549"/>
                <a:gd name="connsiteX266" fmla="*/ 485299 w 860393"/>
                <a:gd name="connsiteY266" fmla="*/ 234124 h 1348549"/>
                <a:gd name="connsiteX267" fmla="*/ 487680 w 860393"/>
                <a:gd name="connsiteY267" fmla="*/ 227457 h 1348549"/>
                <a:gd name="connsiteX268" fmla="*/ 489204 w 860393"/>
                <a:gd name="connsiteY268" fmla="*/ 214408 h 1348549"/>
                <a:gd name="connsiteX269" fmla="*/ 487013 w 860393"/>
                <a:gd name="connsiteY269" fmla="*/ 209836 h 1348549"/>
                <a:gd name="connsiteX270" fmla="*/ 489775 w 860393"/>
                <a:gd name="connsiteY270" fmla="*/ 206311 h 1348549"/>
                <a:gd name="connsiteX271" fmla="*/ 481108 w 860393"/>
                <a:gd name="connsiteY271" fmla="*/ 188214 h 1348549"/>
                <a:gd name="connsiteX272" fmla="*/ 472249 w 860393"/>
                <a:gd name="connsiteY272" fmla="*/ 194119 h 1348549"/>
                <a:gd name="connsiteX273" fmla="*/ 469582 w 860393"/>
                <a:gd name="connsiteY273" fmla="*/ 186404 h 1348549"/>
                <a:gd name="connsiteX274" fmla="*/ 459581 w 860393"/>
                <a:gd name="connsiteY274" fmla="*/ 182880 h 1348549"/>
                <a:gd name="connsiteX275" fmla="*/ 445389 w 860393"/>
                <a:gd name="connsiteY275" fmla="*/ 184690 h 1348549"/>
                <a:gd name="connsiteX276" fmla="*/ 442436 w 860393"/>
                <a:gd name="connsiteY276" fmla="*/ 186690 h 1348549"/>
                <a:gd name="connsiteX277" fmla="*/ 441484 w 860393"/>
                <a:gd name="connsiteY277" fmla="*/ 204406 h 1348549"/>
                <a:gd name="connsiteX278" fmla="*/ 435102 w 860393"/>
                <a:gd name="connsiteY278" fmla="*/ 205264 h 1348549"/>
                <a:gd name="connsiteX279" fmla="*/ 431578 w 860393"/>
                <a:gd name="connsiteY279" fmla="*/ 202501 h 1348549"/>
                <a:gd name="connsiteX280" fmla="*/ 428149 w 860393"/>
                <a:gd name="connsiteY280" fmla="*/ 188500 h 1348549"/>
                <a:gd name="connsiteX281" fmla="*/ 424244 w 860393"/>
                <a:gd name="connsiteY281" fmla="*/ 182594 h 1348549"/>
                <a:gd name="connsiteX282" fmla="*/ 431959 w 860393"/>
                <a:gd name="connsiteY282" fmla="*/ 180022 h 1348549"/>
                <a:gd name="connsiteX283" fmla="*/ 429768 w 860393"/>
                <a:gd name="connsiteY283" fmla="*/ 175450 h 1348549"/>
                <a:gd name="connsiteX284" fmla="*/ 430339 w 860393"/>
                <a:gd name="connsiteY284" fmla="*/ 167354 h 1348549"/>
                <a:gd name="connsiteX285" fmla="*/ 435197 w 860393"/>
                <a:gd name="connsiteY285" fmla="*/ 155543 h 1348549"/>
                <a:gd name="connsiteX286" fmla="*/ 429673 w 860393"/>
                <a:gd name="connsiteY286" fmla="*/ 149828 h 1348549"/>
                <a:gd name="connsiteX287" fmla="*/ 426530 w 860393"/>
                <a:gd name="connsiteY287" fmla="*/ 150209 h 1348549"/>
                <a:gd name="connsiteX288" fmla="*/ 423196 w 860393"/>
                <a:gd name="connsiteY288" fmla="*/ 149066 h 1348549"/>
                <a:gd name="connsiteX289" fmla="*/ 425101 w 860393"/>
                <a:gd name="connsiteY289" fmla="*/ 139160 h 1348549"/>
                <a:gd name="connsiteX290" fmla="*/ 430054 w 860393"/>
                <a:gd name="connsiteY290" fmla="*/ 140113 h 1348549"/>
                <a:gd name="connsiteX291" fmla="*/ 432625 w 860393"/>
                <a:gd name="connsiteY291" fmla="*/ 135064 h 1348549"/>
                <a:gd name="connsiteX292" fmla="*/ 430435 w 860393"/>
                <a:gd name="connsiteY292" fmla="*/ 130492 h 1348549"/>
                <a:gd name="connsiteX293" fmla="*/ 414814 w 860393"/>
                <a:gd name="connsiteY293" fmla="*/ 134112 h 1348549"/>
                <a:gd name="connsiteX294" fmla="*/ 406146 w 860393"/>
                <a:gd name="connsiteY294" fmla="*/ 141637 h 1348549"/>
                <a:gd name="connsiteX295" fmla="*/ 398336 w 860393"/>
                <a:gd name="connsiteY295" fmla="*/ 142589 h 1348549"/>
                <a:gd name="connsiteX296" fmla="*/ 389001 w 860393"/>
                <a:gd name="connsiteY296" fmla="*/ 145351 h 1348549"/>
                <a:gd name="connsiteX297" fmla="*/ 378714 w 860393"/>
                <a:gd name="connsiteY297" fmla="*/ 140303 h 1348549"/>
                <a:gd name="connsiteX298" fmla="*/ 371665 w 860393"/>
                <a:gd name="connsiteY298" fmla="*/ 134779 h 1348549"/>
                <a:gd name="connsiteX299" fmla="*/ 359759 w 860393"/>
                <a:gd name="connsiteY299" fmla="*/ 129826 h 1348549"/>
                <a:gd name="connsiteX300" fmla="*/ 357378 w 860393"/>
                <a:gd name="connsiteY300" fmla="*/ 123730 h 1348549"/>
                <a:gd name="connsiteX301" fmla="*/ 350330 w 860393"/>
                <a:gd name="connsiteY301" fmla="*/ 118205 h 1348549"/>
                <a:gd name="connsiteX302" fmla="*/ 343376 w 860393"/>
                <a:gd name="connsiteY302" fmla="*/ 114300 h 1348549"/>
                <a:gd name="connsiteX303" fmla="*/ 335471 w 860393"/>
                <a:gd name="connsiteY303" fmla="*/ 102489 h 1348549"/>
                <a:gd name="connsiteX304" fmla="*/ 326136 w 860393"/>
                <a:gd name="connsiteY304" fmla="*/ 92488 h 1348549"/>
                <a:gd name="connsiteX305" fmla="*/ 324517 w 860393"/>
                <a:gd name="connsiteY305" fmla="*/ 79819 h 1348549"/>
                <a:gd name="connsiteX306" fmla="*/ 328041 w 860393"/>
                <a:gd name="connsiteY306" fmla="*/ 69723 h 1348549"/>
                <a:gd name="connsiteX307" fmla="*/ 321183 w 860393"/>
                <a:gd name="connsiteY307" fmla="*/ 65818 h 1348549"/>
                <a:gd name="connsiteX308" fmla="*/ 314611 w 860393"/>
                <a:gd name="connsiteY308" fmla="*/ 65056 h 1348549"/>
                <a:gd name="connsiteX309" fmla="*/ 310324 w 860393"/>
                <a:gd name="connsiteY309" fmla="*/ 68770 h 1348549"/>
                <a:gd name="connsiteX310" fmla="*/ 299466 w 860393"/>
                <a:gd name="connsiteY310" fmla="*/ 71818 h 1348549"/>
                <a:gd name="connsiteX311" fmla="*/ 295084 w 860393"/>
                <a:gd name="connsiteY311" fmla="*/ 75533 h 1348549"/>
                <a:gd name="connsiteX312" fmla="*/ 293370 w 860393"/>
                <a:gd name="connsiteY312" fmla="*/ 74200 h 1348549"/>
                <a:gd name="connsiteX313" fmla="*/ 285464 w 860393"/>
                <a:gd name="connsiteY313" fmla="*/ 75152 h 1348549"/>
                <a:gd name="connsiteX314" fmla="*/ 272224 w 860393"/>
                <a:gd name="connsiteY314" fmla="*/ 59245 h 1348549"/>
                <a:gd name="connsiteX315" fmla="*/ 264319 w 860393"/>
                <a:gd name="connsiteY315" fmla="*/ 60198 h 1348549"/>
                <a:gd name="connsiteX316" fmla="*/ 262699 w 860393"/>
                <a:gd name="connsiteY316" fmla="*/ 47625 h 1348549"/>
                <a:gd name="connsiteX317" fmla="*/ 257746 w 860393"/>
                <a:gd name="connsiteY317" fmla="*/ 46672 h 1348549"/>
                <a:gd name="connsiteX318" fmla="*/ 245173 w 860393"/>
                <a:gd name="connsiteY318" fmla="*/ 48292 h 1348549"/>
                <a:gd name="connsiteX319" fmla="*/ 243935 w 860393"/>
                <a:gd name="connsiteY319" fmla="*/ 51625 h 1348549"/>
                <a:gd name="connsiteX320" fmla="*/ 222409 w 860393"/>
                <a:gd name="connsiteY320" fmla="*/ 46291 h 1348549"/>
                <a:gd name="connsiteX321" fmla="*/ 211550 w 860393"/>
                <a:gd name="connsiteY321" fmla="*/ 36481 h 1348549"/>
                <a:gd name="connsiteX322" fmla="*/ 206883 w 860393"/>
                <a:gd name="connsiteY322" fmla="*/ 37052 h 1348549"/>
                <a:gd name="connsiteX323" fmla="*/ 202692 w 860393"/>
                <a:gd name="connsiteY323" fmla="*/ 29623 h 1348549"/>
                <a:gd name="connsiteX324" fmla="*/ 199549 w 860393"/>
                <a:gd name="connsiteY324" fmla="*/ 30004 h 1348549"/>
                <a:gd name="connsiteX325" fmla="*/ 195167 w 860393"/>
                <a:gd name="connsiteY325" fmla="*/ 33814 h 1348549"/>
                <a:gd name="connsiteX326" fmla="*/ 189452 w 860393"/>
                <a:gd name="connsiteY326" fmla="*/ 26479 h 1348549"/>
                <a:gd name="connsiteX327" fmla="*/ 184309 w 860393"/>
                <a:gd name="connsiteY327" fmla="*/ 23908 h 1348549"/>
                <a:gd name="connsiteX328" fmla="*/ 175831 w 860393"/>
                <a:gd name="connsiteY328" fmla="*/ 33052 h 1348549"/>
                <a:gd name="connsiteX329" fmla="*/ 167926 w 860393"/>
                <a:gd name="connsiteY329" fmla="*/ 34004 h 1348549"/>
                <a:gd name="connsiteX330" fmla="*/ 165735 w 860393"/>
                <a:gd name="connsiteY330" fmla="*/ 29527 h 1348549"/>
                <a:gd name="connsiteX331" fmla="*/ 151543 w 860393"/>
                <a:gd name="connsiteY331" fmla="*/ 18478 h 1348549"/>
                <a:gd name="connsiteX332" fmla="*/ 134588 w 860393"/>
                <a:gd name="connsiteY332" fmla="*/ 11049 h 1348549"/>
                <a:gd name="connsiteX333" fmla="*/ 120301 w 860393"/>
                <a:gd name="connsiteY333" fmla="*/ 0 h 1348549"/>
                <a:gd name="connsiteX334" fmla="*/ 118967 w 860393"/>
                <a:gd name="connsiteY334" fmla="*/ 1810 h 1348549"/>
                <a:gd name="connsiteX335" fmla="*/ 115538 w 860393"/>
                <a:gd name="connsiteY335" fmla="*/ 571 h 1348549"/>
                <a:gd name="connsiteX336" fmla="*/ 111633 w 860393"/>
                <a:gd name="connsiteY336" fmla="*/ 7525 h 1348549"/>
                <a:gd name="connsiteX337" fmla="*/ 106680 w 860393"/>
                <a:gd name="connsiteY337" fmla="*/ 6572 h 1348549"/>
                <a:gd name="connsiteX338" fmla="*/ 103727 w 860393"/>
                <a:gd name="connsiteY338" fmla="*/ 8572 h 1348549"/>
                <a:gd name="connsiteX339" fmla="*/ 102965 w 860393"/>
                <a:gd name="connsiteY339" fmla="*/ 15049 h 1348549"/>
                <a:gd name="connsiteX340" fmla="*/ 98679 w 860393"/>
                <a:gd name="connsiteY340" fmla="*/ 18764 h 1348549"/>
                <a:gd name="connsiteX341" fmla="*/ 99441 w 860393"/>
                <a:gd name="connsiteY341" fmla="*/ 25146 h 1348549"/>
                <a:gd name="connsiteX342" fmla="*/ 95536 w 860393"/>
                <a:gd name="connsiteY342" fmla="*/ 32004 h 1348549"/>
                <a:gd name="connsiteX343" fmla="*/ 96298 w 860393"/>
                <a:gd name="connsiteY343" fmla="*/ 38290 h 1348549"/>
                <a:gd name="connsiteX344" fmla="*/ 90678 w 860393"/>
                <a:gd name="connsiteY344" fmla="*/ 43910 h 1348549"/>
                <a:gd name="connsiteX345" fmla="*/ 89630 w 860393"/>
                <a:gd name="connsiteY345" fmla="*/ 48768 h 1348549"/>
                <a:gd name="connsiteX346" fmla="*/ 92773 w 860393"/>
                <a:gd name="connsiteY346" fmla="*/ 48387 h 1348549"/>
                <a:gd name="connsiteX347" fmla="*/ 100108 w 860393"/>
                <a:gd name="connsiteY347" fmla="*/ 55531 h 1348549"/>
                <a:gd name="connsiteX348" fmla="*/ 107061 w 860393"/>
                <a:gd name="connsiteY348" fmla="*/ 59436 h 1348549"/>
                <a:gd name="connsiteX349" fmla="*/ 112204 w 860393"/>
                <a:gd name="connsiteY349" fmla="*/ 62008 h 1348549"/>
                <a:gd name="connsiteX350" fmla="*/ 116300 w 860393"/>
                <a:gd name="connsiteY350" fmla="*/ 69437 h 1348549"/>
                <a:gd name="connsiteX351" fmla="*/ 122491 w 860393"/>
                <a:gd name="connsiteY351" fmla="*/ 67056 h 1348549"/>
                <a:gd name="connsiteX352" fmla="*/ 124396 w 860393"/>
                <a:gd name="connsiteY352" fmla="*/ 70009 h 1348549"/>
                <a:gd name="connsiteX353" fmla="*/ 124873 w 860393"/>
                <a:gd name="connsiteY353" fmla="*/ 73152 h 1348549"/>
                <a:gd name="connsiteX354" fmla="*/ 127063 w 860393"/>
                <a:gd name="connsiteY354" fmla="*/ 77724 h 1348549"/>
                <a:gd name="connsiteX355" fmla="*/ 130397 w 860393"/>
                <a:gd name="connsiteY355" fmla="*/ 91726 h 1348549"/>
                <a:gd name="connsiteX356" fmla="*/ 128016 w 860393"/>
                <a:gd name="connsiteY356" fmla="*/ 98488 h 1348549"/>
                <a:gd name="connsiteX357" fmla="*/ 136588 w 860393"/>
                <a:gd name="connsiteY357" fmla="*/ 114967 h 1348549"/>
                <a:gd name="connsiteX358" fmla="*/ 143923 w 860393"/>
                <a:gd name="connsiteY358" fmla="*/ 122111 h 1348549"/>
                <a:gd name="connsiteX359" fmla="*/ 145256 w 860393"/>
                <a:gd name="connsiteY359" fmla="*/ 133159 h 1348549"/>
                <a:gd name="connsiteX360" fmla="*/ 142589 w 860393"/>
                <a:gd name="connsiteY360" fmla="*/ 136684 h 1348549"/>
                <a:gd name="connsiteX361" fmla="*/ 147066 w 860393"/>
                <a:gd name="connsiteY361" fmla="*/ 147352 h 1348549"/>
                <a:gd name="connsiteX362" fmla="*/ 156210 w 860393"/>
                <a:gd name="connsiteY362" fmla="*/ 155829 h 1348549"/>
                <a:gd name="connsiteX363" fmla="*/ 161163 w 860393"/>
                <a:gd name="connsiteY363" fmla="*/ 156781 h 1348549"/>
                <a:gd name="connsiteX364" fmla="*/ 164116 w 860393"/>
                <a:gd name="connsiteY364" fmla="*/ 154781 h 1348549"/>
                <a:gd name="connsiteX365" fmla="*/ 167259 w 860393"/>
                <a:gd name="connsiteY365" fmla="*/ 154400 h 1348549"/>
                <a:gd name="connsiteX366" fmla="*/ 169640 w 860393"/>
                <a:gd name="connsiteY366" fmla="*/ 160496 h 1348549"/>
                <a:gd name="connsiteX367" fmla="*/ 186595 w 860393"/>
                <a:gd name="connsiteY367" fmla="*/ 167926 h 1348549"/>
                <a:gd name="connsiteX368" fmla="*/ 189547 w 860393"/>
                <a:gd name="connsiteY368" fmla="*/ 166021 h 1348549"/>
                <a:gd name="connsiteX369" fmla="*/ 191357 w 860393"/>
                <a:gd name="connsiteY369" fmla="*/ 167354 h 1348549"/>
                <a:gd name="connsiteX370" fmla="*/ 192214 w 860393"/>
                <a:gd name="connsiteY370" fmla="*/ 173641 h 1348549"/>
                <a:gd name="connsiteX371" fmla="*/ 195739 w 860393"/>
                <a:gd name="connsiteY371" fmla="*/ 176403 h 1348549"/>
                <a:gd name="connsiteX372" fmla="*/ 204406 w 860393"/>
                <a:gd name="connsiteY372" fmla="*/ 194596 h 1348549"/>
                <a:gd name="connsiteX373" fmla="*/ 202882 w 860393"/>
                <a:gd name="connsiteY373" fmla="*/ 207550 h 1348549"/>
                <a:gd name="connsiteX374" fmla="*/ 198977 w 860393"/>
                <a:gd name="connsiteY374" fmla="*/ 214503 h 1348549"/>
                <a:gd name="connsiteX375" fmla="*/ 193072 w 860393"/>
                <a:gd name="connsiteY375" fmla="*/ 218503 h 1348549"/>
                <a:gd name="connsiteX376" fmla="*/ 191929 w 860393"/>
                <a:gd name="connsiteY376" fmla="*/ 221837 h 1348549"/>
                <a:gd name="connsiteX377" fmla="*/ 199168 w 860393"/>
                <a:gd name="connsiteY377" fmla="*/ 228886 h 1348549"/>
                <a:gd name="connsiteX378" fmla="*/ 198596 w 860393"/>
                <a:gd name="connsiteY378" fmla="*/ 236982 h 1348549"/>
                <a:gd name="connsiteX379" fmla="*/ 211455 w 860393"/>
                <a:gd name="connsiteY379" fmla="*/ 249745 h 1348549"/>
                <a:gd name="connsiteX380" fmla="*/ 207169 w 860393"/>
                <a:gd name="connsiteY380" fmla="*/ 253555 h 1348549"/>
                <a:gd name="connsiteX381" fmla="*/ 203454 w 860393"/>
                <a:gd name="connsiteY381" fmla="*/ 262033 h 1348549"/>
                <a:gd name="connsiteX382" fmla="*/ 192596 w 860393"/>
                <a:gd name="connsiteY382" fmla="*/ 265081 h 1348549"/>
                <a:gd name="connsiteX383" fmla="*/ 190976 w 860393"/>
                <a:gd name="connsiteY383" fmla="*/ 265271 h 1348549"/>
                <a:gd name="connsiteX384" fmla="*/ 186214 w 860393"/>
                <a:gd name="connsiteY384" fmla="*/ 252984 h 1348549"/>
                <a:gd name="connsiteX385" fmla="*/ 180499 w 860393"/>
                <a:gd name="connsiteY385" fmla="*/ 245745 h 1348549"/>
                <a:gd name="connsiteX386" fmla="*/ 179261 w 860393"/>
                <a:gd name="connsiteY386" fmla="*/ 236220 h 1348549"/>
                <a:gd name="connsiteX387" fmla="*/ 174117 w 860393"/>
                <a:gd name="connsiteY387" fmla="*/ 233743 h 1348549"/>
                <a:gd name="connsiteX388" fmla="*/ 165449 w 860393"/>
                <a:gd name="connsiteY388" fmla="*/ 241173 h 1348549"/>
                <a:gd name="connsiteX389" fmla="*/ 166116 w 860393"/>
                <a:gd name="connsiteY389" fmla="*/ 245936 h 1348549"/>
                <a:gd name="connsiteX390" fmla="*/ 168116 w 860393"/>
                <a:gd name="connsiteY390" fmla="*/ 248888 h 1348549"/>
                <a:gd name="connsiteX391" fmla="*/ 163925 w 860393"/>
                <a:gd name="connsiteY391" fmla="*/ 254222 h 1348549"/>
                <a:gd name="connsiteX392" fmla="*/ 162782 w 860393"/>
                <a:gd name="connsiteY392" fmla="*/ 257556 h 1348549"/>
                <a:gd name="connsiteX393" fmla="*/ 158210 w 860393"/>
                <a:gd name="connsiteY393" fmla="*/ 259747 h 1348549"/>
                <a:gd name="connsiteX394" fmla="*/ 154686 w 860393"/>
                <a:gd name="connsiteY394" fmla="*/ 256984 h 1348549"/>
                <a:gd name="connsiteX395" fmla="*/ 142018 w 860393"/>
                <a:gd name="connsiteY395" fmla="*/ 258604 h 1348549"/>
                <a:gd name="connsiteX396" fmla="*/ 140113 w 860393"/>
                <a:gd name="connsiteY396" fmla="*/ 255651 h 1348549"/>
                <a:gd name="connsiteX397" fmla="*/ 135160 w 860393"/>
                <a:gd name="connsiteY397" fmla="*/ 254698 h 1348549"/>
                <a:gd name="connsiteX398" fmla="*/ 122872 w 860393"/>
                <a:gd name="connsiteY398" fmla="*/ 259461 h 1348549"/>
                <a:gd name="connsiteX399" fmla="*/ 121920 w 860393"/>
                <a:gd name="connsiteY399" fmla="*/ 264414 h 1348549"/>
                <a:gd name="connsiteX400" fmla="*/ 115824 w 860393"/>
                <a:gd name="connsiteY400" fmla="*/ 266795 h 1348549"/>
                <a:gd name="connsiteX401" fmla="*/ 111728 w 860393"/>
                <a:gd name="connsiteY401" fmla="*/ 272129 h 1348549"/>
                <a:gd name="connsiteX402" fmla="*/ 112871 w 860393"/>
                <a:gd name="connsiteY402" fmla="*/ 281559 h 1348549"/>
                <a:gd name="connsiteX403" fmla="*/ 111919 w 860393"/>
                <a:gd name="connsiteY403" fmla="*/ 286512 h 1348549"/>
                <a:gd name="connsiteX404" fmla="*/ 105823 w 860393"/>
                <a:gd name="connsiteY404" fmla="*/ 288893 h 1348549"/>
                <a:gd name="connsiteX405" fmla="*/ 99250 w 860393"/>
                <a:gd name="connsiteY405" fmla="*/ 288131 h 1348549"/>
                <a:gd name="connsiteX406" fmla="*/ 98488 w 860393"/>
                <a:gd name="connsiteY406" fmla="*/ 294608 h 1348549"/>
                <a:gd name="connsiteX407" fmla="*/ 100679 w 860393"/>
                <a:gd name="connsiteY407" fmla="*/ 299180 h 1348549"/>
                <a:gd name="connsiteX408" fmla="*/ 99727 w 860393"/>
                <a:gd name="connsiteY408" fmla="*/ 304133 h 1348549"/>
                <a:gd name="connsiteX409" fmla="*/ 100774 w 860393"/>
                <a:gd name="connsiteY409" fmla="*/ 312039 h 1348549"/>
                <a:gd name="connsiteX410" fmla="*/ 98203 w 860393"/>
                <a:gd name="connsiteY410" fmla="*/ 317182 h 1348549"/>
                <a:gd name="connsiteX411" fmla="*/ 90869 w 860393"/>
                <a:gd name="connsiteY411" fmla="*/ 322897 h 1348549"/>
                <a:gd name="connsiteX412" fmla="*/ 90106 w 860393"/>
                <a:gd name="connsiteY412" fmla="*/ 329374 h 1348549"/>
                <a:gd name="connsiteX413" fmla="*/ 86392 w 860393"/>
                <a:gd name="connsiteY413" fmla="*/ 337947 h 1348549"/>
                <a:gd name="connsiteX414" fmla="*/ 85820 w 860393"/>
                <a:gd name="connsiteY414" fmla="*/ 345948 h 1348549"/>
                <a:gd name="connsiteX415" fmla="*/ 83058 w 860393"/>
                <a:gd name="connsiteY415" fmla="*/ 349567 h 1348549"/>
                <a:gd name="connsiteX416" fmla="*/ 81153 w 860393"/>
                <a:gd name="connsiteY416" fmla="*/ 359378 h 1348549"/>
                <a:gd name="connsiteX417" fmla="*/ 81915 w 860393"/>
                <a:gd name="connsiteY417" fmla="*/ 365760 h 1348549"/>
                <a:gd name="connsiteX418" fmla="*/ 79534 w 860393"/>
                <a:gd name="connsiteY418" fmla="*/ 372428 h 1348549"/>
                <a:gd name="connsiteX419" fmla="*/ 78010 w 860393"/>
                <a:gd name="connsiteY419" fmla="*/ 372618 h 1348549"/>
                <a:gd name="connsiteX420" fmla="*/ 77343 w 860393"/>
                <a:gd name="connsiteY420" fmla="*/ 367951 h 1348549"/>
                <a:gd name="connsiteX421" fmla="*/ 74200 w 860393"/>
                <a:gd name="connsiteY421" fmla="*/ 368332 h 1348549"/>
                <a:gd name="connsiteX422" fmla="*/ 76009 w 860393"/>
                <a:gd name="connsiteY422" fmla="*/ 382524 h 1348549"/>
                <a:gd name="connsiteX423" fmla="*/ 70295 w 860393"/>
                <a:gd name="connsiteY423" fmla="*/ 388048 h 1348549"/>
                <a:gd name="connsiteX424" fmla="*/ 62484 w 860393"/>
                <a:gd name="connsiteY424" fmla="*/ 389096 h 1348549"/>
                <a:gd name="connsiteX425" fmla="*/ 61055 w 860393"/>
                <a:gd name="connsiteY425" fmla="*/ 390811 h 1348549"/>
                <a:gd name="connsiteX426" fmla="*/ 63055 w 860393"/>
                <a:gd name="connsiteY426" fmla="*/ 393763 h 1348549"/>
                <a:gd name="connsiteX427" fmla="*/ 69628 w 860393"/>
                <a:gd name="connsiteY427" fmla="*/ 407384 h 1348549"/>
                <a:gd name="connsiteX428" fmla="*/ 70390 w 860393"/>
                <a:gd name="connsiteY428" fmla="*/ 413671 h 1348549"/>
                <a:gd name="connsiteX429" fmla="*/ 74200 w 860393"/>
                <a:gd name="connsiteY429" fmla="*/ 418052 h 1348549"/>
                <a:gd name="connsiteX430" fmla="*/ 66865 w 860393"/>
                <a:gd name="connsiteY430" fmla="*/ 423767 h 1348549"/>
                <a:gd name="connsiteX431" fmla="*/ 60007 w 860393"/>
                <a:gd name="connsiteY431" fmla="*/ 432625 h 1348549"/>
                <a:gd name="connsiteX432" fmla="*/ 57436 w 860393"/>
                <a:gd name="connsiteY432" fmla="*/ 437769 h 1348549"/>
                <a:gd name="connsiteX433" fmla="*/ 68294 w 860393"/>
                <a:gd name="connsiteY433" fmla="*/ 447675 h 1348549"/>
                <a:gd name="connsiteX434" fmla="*/ 64389 w 860393"/>
                <a:gd name="connsiteY434" fmla="*/ 454533 h 1348549"/>
                <a:gd name="connsiteX435" fmla="*/ 72104 w 860393"/>
                <a:gd name="connsiteY435" fmla="*/ 464820 h 1348549"/>
                <a:gd name="connsiteX436" fmla="*/ 66199 w 860393"/>
                <a:gd name="connsiteY436" fmla="*/ 468725 h 1348549"/>
                <a:gd name="connsiteX437" fmla="*/ 65246 w 860393"/>
                <a:gd name="connsiteY437" fmla="*/ 473678 h 1348549"/>
                <a:gd name="connsiteX438" fmla="*/ 65627 w 860393"/>
                <a:gd name="connsiteY438" fmla="*/ 476821 h 1348549"/>
                <a:gd name="connsiteX439" fmla="*/ 64389 w 860393"/>
                <a:gd name="connsiteY439" fmla="*/ 480250 h 1348549"/>
                <a:gd name="connsiteX440" fmla="*/ 56579 w 860393"/>
                <a:gd name="connsiteY440" fmla="*/ 481203 h 1348549"/>
                <a:gd name="connsiteX441" fmla="*/ 55340 w 860393"/>
                <a:gd name="connsiteY441" fmla="*/ 484537 h 1348549"/>
                <a:gd name="connsiteX442" fmla="*/ 46291 w 860393"/>
                <a:gd name="connsiteY442" fmla="*/ 488918 h 1348549"/>
                <a:gd name="connsiteX443" fmla="*/ 43910 w 860393"/>
                <a:gd name="connsiteY443" fmla="*/ 495681 h 1348549"/>
                <a:gd name="connsiteX444" fmla="*/ 39053 w 860393"/>
                <a:gd name="connsiteY444" fmla="*/ 494728 h 1348549"/>
                <a:gd name="connsiteX445" fmla="*/ 37814 w 860393"/>
                <a:gd name="connsiteY445" fmla="*/ 498062 h 1348549"/>
                <a:gd name="connsiteX446" fmla="*/ 38671 w 860393"/>
                <a:gd name="connsiteY446" fmla="*/ 504349 h 1348549"/>
                <a:gd name="connsiteX447" fmla="*/ 37433 w 860393"/>
                <a:gd name="connsiteY447" fmla="*/ 507682 h 1348549"/>
                <a:gd name="connsiteX448" fmla="*/ 33147 w 860393"/>
                <a:gd name="connsiteY448" fmla="*/ 511492 h 1348549"/>
                <a:gd name="connsiteX449" fmla="*/ 29242 w 860393"/>
                <a:gd name="connsiteY449" fmla="*/ 518350 h 1348549"/>
                <a:gd name="connsiteX450" fmla="*/ 29432 w 860393"/>
                <a:gd name="connsiteY450" fmla="*/ 519970 h 1348549"/>
                <a:gd name="connsiteX451" fmla="*/ 24860 w 860393"/>
                <a:gd name="connsiteY451" fmla="*/ 522160 h 1348549"/>
                <a:gd name="connsiteX452" fmla="*/ 19145 w 860393"/>
                <a:gd name="connsiteY452" fmla="*/ 514826 h 1348549"/>
                <a:gd name="connsiteX453" fmla="*/ 6096 w 860393"/>
                <a:gd name="connsiteY453" fmla="*/ 513302 h 1348549"/>
                <a:gd name="connsiteX454" fmla="*/ 0 w 860393"/>
                <a:gd name="connsiteY454" fmla="*/ 515684 h 1348549"/>
                <a:gd name="connsiteX455" fmla="*/ 3810 w 860393"/>
                <a:gd name="connsiteY455" fmla="*/ 532829 h 1348549"/>
                <a:gd name="connsiteX456" fmla="*/ 9144 w 860393"/>
                <a:gd name="connsiteY456" fmla="*/ 537019 h 1348549"/>
                <a:gd name="connsiteX457" fmla="*/ 13049 w 860393"/>
                <a:gd name="connsiteY457" fmla="*/ 542925 h 1348549"/>
                <a:gd name="connsiteX458" fmla="*/ 12097 w 860393"/>
                <a:gd name="connsiteY458" fmla="*/ 547783 h 1348549"/>
                <a:gd name="connsiteX459" fmla="*/ 17621 w 860393"/>
                <a:gd name="connsiteY459" fmla="*/ 553498 h 1348549"/>
                <a:gd name="connsiteX460" fmla="*/ 15526 w 860393"/>
                <a:gd name="connsiteY460" fmla="*/ 561784 h 1348549"/>
                <a:gd name="connsiteX461" fmla="*/ 15145 w 860393"/>
                <a:gd name="connsiteY461" fmla="*/ 571500 h 1348549"/>
                <a:gd name="connsiteX462" fmla="*/ 15716 w 860393"/>
                <a:gd name="connsiteY462" fmla="*/ 576263 h 1348549"/>
                <a:gd name="connsiteX463" fmla="*/ 20860 w 860393"/>
                <a:gd name="connsiteY463" fmla="*/ 578834 h 1348549"/>
                <a:gd name="connsiteX464" fmla="*/ 22288 w 860393"/>
                <a:gd name="connsiteY464" fmla="*/ 589788 h 1348549"/>
                <a:gd name="connsiteX465" fmla="*/ 29146 w 860393"/>
                <a:gd name="connsiteY465" fmla="*/ 593788 h 1348549"/>
                <a:gd name="connsiteX466" fmla="*/ 25432 w 860393"/>
                <a:gd name="connsiteY466" fmla="*/ 602266 h 1348549"/>
                <a:gd name="connsiteX467" fmla="*/ 33909 w 860393"/>
                <a:gd name="connsiteY467" fmla="*/ 605980 h 1348549"/>
                <a:gd name="connsiteX468" fmla="*/ 31432 w 860393"/>
                <a:gd name="connsiteY468" fmla="*/ 611124 h 1348549"/>
                <a:gd name="connsiteX469" fmla="*/ 33623 w 860393"/>
                <a:gd name="connsiteY469" fmla="*/ 615696 h 1348549"/>
                <a:gd name="connsiteX470" fmla="*/ 31051 w 860393"/>
                <a:gd name="connsiteY470" fmla="*/ 620744 h 1348549"/>
                <a:gd name="connsiteX471" fmla="*/ 31813 w 860393"/>
                <a:gd name="connsiteY471" fmla="*/ 627126 h 1348549"/>
                <a:gd name="connsiteX472" fmla="*/ 33814 w 860393"/>
                <a:gd name="connsiteY472" fmla="*/ 630079 h 1348549"/>
                <a:gd name="connsiteX473" fmla="*/ 29908 w 860393"/>
                <a:gd name="connsiteY473" fmla="*/ 636937 h 1348549"/>
                <a:gd name="connsiteX474" fmla="*/ 36195 w 860393"/>
                <a:gd name="connsiteY474" fmla="*/ 649034 h 1348549"/>
                <a:gd name="connsiteX475" fmla="*/ 37243 w 860393"/>
                <a:gd name="connsiteY475" fmla="*/ 656844 h 1348549"/>
                <a:gd name="connsiteX476" fmla="*/ 43910 w 860393"/>
                <a:gd name="connsiteY476" fmla="*/ 659225 h 1348549"/>
                <a:gd name="connsiteX477" fmla="*/ 40957 w 860393"/>
                <a:gd name="connsiteY477" fmla="*/ 661226 h 1348549"/>
                <a:gd name="connsiteX478" fmla="*/ 42767 w 860393"/>
                <a:gd name="connsiteY478" fmla="*/ 662559 h 1348549"/>
                <a:gd name="connsiteX479" fmla="*/ 33909 w 860393"/>
                <a:gd name="connsiteY479" fmla="*/ 668560 h 1348549"/>
                <a:gd name="connsiteX480" fmla="*/ 30766 w 860393"/>
                <a:gd name="connsiteY480" fmla="*/ 668941 h 1348549"/>
                <a:gd name="connsiteX481" fmla="*/ 24860 w 860393"/>
                <a:gd name="connsiteY481" fmla="*/ 672941 h 1348549"/>
                <a:gd name="connsiteX482" fmla="*/ 22098 w 860393"/>
                <a:gd name="connsiteY482" fmla="*/ 676465 h 1348549"/>
                <a:gd name="connsiteX483" fmla="*/ 22098 w 860393"/>
                <a:gd name="connsiteY483" fmla="*/ 689324 h 1348549"/>
                <a:gd name="connsiteX484" fmla="*/ 21336 w 860393"/>
                <a:gd name="connsiteY484" fmla="*/ 695801 h 1348549"/>
                <a:gd name="connsiteX485" fmla="*/ 24860 w 860393"/>
                <a:gd name="connsiteY485" fmla="*/ 698563 h 1348549"/>
                <a:gd name="connsiteX486" fmla="*/ 20955 w 860393"/>
                <a:gd name="connsiteY486" fmla="*/ 705422 h 1348549"/>
                <a:gd name="connsiteX487" fmla="*/ 23527 w 860393"/>
                <a:gd name="connsiteY487" fmla="*/ 713137 h 1348549"/>
                <a:gd name="connsiteX488" fmla="*/ 28480 w 860393"/>
                <a:gd name="connsiteY488" fmla="*/ 714089 h 1348549"/>
                <a:gd name="connsiteX489" fmla="*/ 28670 w 860393"/>
                <a:gd name="connsiteY489" fmla="*/ 715709 h 1348549"/>
                <a:gd name="connsiteX490" fmla="*/ 32290 w 860393"/>
                <a:gd name="connsiteY490" fmla="*/ 718471 h 1348549"/>
                <a:gd name="connsiteX491" fmla="*/ 34195 w 860393"/>
                <a:gd name="connsiteY491" fmla="*/ 721423 h 1348549"/>
                <a:gd name="connsiteX492" fmla="*/ 39338 w 860393"/>
                <a:gd name="connsiteY492" fmla="*/ 723995 h 1348549"/>
                <a:gd name="connsiteX493" fmla="*/ 36576 w 860393"/>
                <a:gd name="connsiteY493" fmla="*/ 727519 h 1348549"/>
                <a:gd name="connsiteX494" fmla="*/ 38957 w 860393"/>
                <a:gd name="connsiteY494" fmla="*/ 733615 h 1348549"/>
                <a:gd name="connsiteX495" fmla="*/ 36671 w 860393"/>
                <a:gd name="connsiteY495" fmla="*/ 740378 h 1348549"/>
                <a:gd name="connsiteX496" fmla="*/ 44767 w 860393"/>
                <a:gd name="connsiteY496" fmla="*/ 753713 h 1348549"/>
                <a:gd name="connsiteX497" fmla="*/ 56483 w 860393"/>
                <a:gd name="connsiteY497" fmla="*/ 769906 h 1348549"/>
                <a:gd name="connsiteX498" fmla="*/ 61817 w 860393"/>
                <a:gd name="connsiteY498" fmla="*/ 774001 h 1348549"/>
                <a:gd name="connsiteX499" fmla="*/ 66675 w 860393"/>
                <a:gd name="connsiteY499" fmla="*/ 775049 h 1348549"/>
                <a:gd name="connsiteX500" fmla="*/ 70675 w 860393"/>
                <a:gd name="connsiteY500" fmla="*/ 780955 h 1348549"/>
                <a:gd name="connsiteX501" fmla="*/ 67723 w 860393"/>
                <a:gd name="connsiteY501" fmla="*/ 782860 h 1348549"/>
                <a:gd name="connsiteX502" fmla="*/ 68104 w 860393"/>
                <a:gd name="connsiteY502" fmla="*/ 786098 h 1348549"/>
                <a:gd name="connsiteX503" fmla="*/ 68294 w 860393"/>
                <a:gd name="connsiteY503" fmla="*/ 787622 h 1348549"/>
                <a:gd name="connsiteX504" fmla="*/ 63817 w 860393"/>
                <a:gd name="connsiteY504" fmla="*/ 789813 h 1348549"/>
                <a:gd name="connsiteX505" fmla="*/ 64008 w 860393"/>
                <a:gd name="connsiteY505" fmla="*/ 791432 h 1348549"/>
                <a:gd name="connsiteX506" fmla="*/ 73247 w 860393"/>
                <a:gd name="connsiteY506" fmla="*/ 801434 h 1348549"/>
                <a:gd name="connsiteX507" fmla="*/ 78391 w 860393"/>
                <a:gd name="connsiteY507" fmla="*/ 804005 h 1348549"/>
                <a:gd name="connsiteX508" fmla="*/ 74676 w 860393"/>
                <a:gd name="connsiteY508" fmla="*/ 812483 h 1348549"/>
                <a:gd name="connsiteX509" fmla="*/ 71533 w 860393"/>
                <a:gd name="connsiteY509" fmla="*/ 812863 h 1348549"/>
                <a:gd name="connsiteX510" fmla="*/ 67628 w 860393"/>
                <a:gd name="connsiteY510" fmla="*/ 819817 h 1348549"/>
                <a:gd name="connsiteX511" fmla="*/ 63246 w 860393"/>
                <a:gd name="connsiteY511" fmla="*/ 823531 h 1348549"/>
                <a:gd name="connsiteX512" fmla="*/ 65437 w 860393"/>
                <a:gd name="connsiteY512" fmla="*/ 828104 h 1348549"/>
                <a:gd name="connsiteX513" fmla="*/ 68580 w 860393"/>
                <a:gd name="connsiteY513" fmla="*/ 827722 h 1348549"/>
                <a:gd name="connsiteX514" fmla="*/ 73342 w 860393"/>
                <a:gd name="connsiteY514" fmla="*/ 827056 h 1348549"/>
                <a:gd name="connsiteX515" fmla="*/ 74295 w 860393"/>
                <a:gd name="connsiteY515" fmla="*/ 822198 h 1348549"/>
                <a:gd name="connsiteX516" fmla="*/ 79057 w 860393"/>
                <a:gd name="connsiteY516" fmla="*/ 821531 h 1348549"/>
                <a:gd name="connsiteX517" fmla="*/ 79629 w 860393"/>
                <a:gd name="connsiteY517" fmla="*/ 826294 h 1348549"/>
                <a:gd name="connsiteX518" fmla="*/ 81439 w 860393"/>
                <a:gd name="connsiteY518" fmla="*/ 827627 h 1348549"/>
                <a:gd name="connsiteX519" fmla="*/ 86011 w 860393"/>
                <a:gd name="connsiteY519" fmla="*/ 825437 h 1348549"/>
                <a:gd name="connsiteX520" fmla="*/ 92297 w 860393"/>
                <a:gd name="connsiteY520" fmla="*/ 824675 h 1348549"/>
                <a:gd name="connsiteX521" fmla="*/ 96203 w 860393"/>
                <a:gd name="connsiteY521" fmla="*/ 830580 h 1348549"/>
                <a:gd name="connsiteX522" fmla="*/ 103156 w 860393"/>
                <a:gd name="connsiteY522" fmla="*/ 834485 h 1348549"/>
                <a:gd name="connsiteX523" fmla="*/ 102394 w 860393"/>
                <a:gd name="connsiteY523" fmla="*/ 841058 h 1348549"/>
                <a:gd name="connsiteX524" fmla="*/ 98679 w 860393"/>
                <a:gd name="connsiteY524" fmla="*/ 849535 h 1348549"/>
                <a:gd name="connsiteX525" fmla="*/ 100394 w 860393"/>
                <a:gd name="connsiteY525" fmla="*/ 850868 h 1348549"/>
                <a:gd name="connsiteX526" fmla="*/ 100870 w 860393"/>
                <a:gd name="connsiteY526" fmla="*/ 854012 h 1348549"/>
                <a:gd name="connsiteX527" fmla="*/ 103822 w 860393"/>
                <a:gd name="connsiteY527" fmla="*/ 852106 h 1348549"/>
                <a:gd name="connsiteX528" fmla="*/ 104394 w 860393"/>
                <a:gd name="connsiteY528" fmla="*/ 856774 h 1348549"/>
                <a:gd name="connsiteX529" fmla="*/ 101917 w 860393"/>
                <a:gd name="connsiteY529" fmla="*/ 874776 h 1348549"/>
                <a:gd name="connsiteX530" fmla="*/ 104299 w 860393"/>
                <a:gd name="connsiteY530" fmla="*/ 880872 h 1348549"/>
                <a:gd name="connsiteX531" fmla="*/ 98774 w 860393"/>
                <a:gd name="connsiteY531" fmla="*/ 888016 h 1348549"/>
                <a:gd name="connsiteX532" fmla="*/ 95631 w 860393"/>
                <a:gd name="connsiteY532" fmla="*/ 888397 h 1348549"/>
                <a:gd name="connsiteX533" fmla="*/ 89440 w 860393"/>
                <a:gd name="connsiteY533" fmla="*/ 890778 h 1348549"/>
                <a:gd name="connsiteX534" fmla="*/ 91630 w 860393"/>
                <a:gd name="connsiteY534" fmla="*/ 895350 h 1348549"/>
                <a:gd name="connsiteX535" fmla="*/ 90297 w 860393"/>
                <a:gd name="connsiteY535" fmla="*/ 897064 h 1348549"/>
                <a:gd name="connsiteX536" fmla="*/ 88868 w 860393"/>
                <a:gd name="connsiteY536" fmla="*/ 898874 h 1348549"/>
                <a:gd name="connsiteX537" fmla="*/ 82391 w 860393"/>
                <a:gd name="connsiteY537" fmla="*/ 898112 h 1348549"/>
                <a:gd name="connsiteX538" fmla="*/ 78296 w 860393"/>
                <a:gd name="connsiteY538" fmla="*/ 903446 h 1348549"/>
                <a:gd name="connsiteX539" fmla="*/ 78867 w 860393"/>
                <a:gd name="connsiteY539" fmla="*/ 908209 h 1348549"/>
                <a:gd name="connsiteX540" fmla="*/ 74104 w 860393"/>
                <a:gd name="connsiteY540" fmla="*/ 908780 h 1348549"/>
                <a:gd name="connsiteX541" fmla="*/ 75724 w 860393"/>
                <a:gd name="connsiteY541" fmla="*/ 921448 h 1348549"/>
                <a:gd name="connsiteX542" fmla="*/ 74390 w 860393"/>
                <a:gd name="connsiteY542" fmla="*/ 923163 h 1348549"/>
                <a:gd name="connsiteX543" fmla="*/ 75152 w 860393"/>
                <a:gd name="connsiteY543" fmla="*/ 929545 h 1348549"/>
                <a:gd name="connsiteX544" fmla="*/ 81153 w 860393"/>
                <a:gd name="connsiteY544" fmla="*/ 938403 h 1348549"/>
                <a:gd name="connsiteX545" fmla="*/ 88392 w 860393"/>
                <a:gd name="connsiteY545" fmla="*/ 945451 h 1348549"/>
                <a:gd name="connsiteX546" fmla="*/ 87058 w 860393"/>
                <a:gd name="connsiteY546" fmla="*/ 947261 h 1348549"/>
                <a:gd name="connsiteX547" fmla="*/ 83534 w 860393"/>
                <a:gd name="connsiteY547" fmla="*/ 944499 h 1348549"/>
                <a:gd name="connsiteX548" fmla="*/ 83058 w 860393"/>
                <a:gd name="connsiteY548" fmla="*/ 941356 h 1348549"/>
                <a:gd name="connsiteX549" fmla="*/ 81344 w 860393"/>
                <a:gd name="connsiteY549" fmla="*/ 939927 h 1348549"/>
                <a:gd name="connsiteX550" fmla="*/ 81724 w 860393"/>
                <a:gd name="connsiteY550" fmla="*/ 943070 h 1348549"/>
                <a:gd name="connsiteX551" fmla="*/ 80486 w 860393"/>
                <a:gd name="connsiteY551" fmla="*/ 946499 h 1348549"/>
                <a:gd name="connsiteX552" fmla="*/ 78962 w 860393"/>
                <a:gd name="connsiteY552" fmla="*/ 946690 h 1348549"/>
                <a:gd name="connsiteX553" fmla="*/ 78391 w 860393"/>
                <a:gd name="connsiteY553" fmla="*/ 954786 h 1348549"/>
                <a:gd name="connsiteX554" fmla="*/ 74104 w 860393"/>
                <a:gd name="connsiteY554" fmla="*/ 958501 h 1348549"/>
                <a:gd name="connsiteX555" fmla="*/ 77819 w 860393"/>
                <a:gd name="connsiteY555" fmla="*/ 962787 h 1348549"/>
                <a:gd name="connsiteX556" fmla="*/ 76676 w 860393"/>
                <a:gd name="connsiteY556" fmla="*/ 966216 h 1348549"/>
                <a:gd name="connsiteX557" fmla="*/ 73723 w 860393"/>
                <a:gd name="connsiteY557" fmla="*/ 968216 h 1348549"/>
                <a:gd name="connsiteX558" fmla="*/ 76105 w 860393"/>
                <a:gd name="connsiteY558" fmla="*/ 974312 h 1348549"/>
                <a:gd name="connsiteX559" fmla="*/ 77819 w 860393"/>
                <a:gd name="connsiteY559" fmla="*/ 975646 h 1348549"/>
                <a:gd name="connsiteX560" fmla="*/ 71723 w 860393"/>
                <a:gd name="connsiteY560" fmla="*/ 978027 h 1348549"/>
                <a:gd name="connsiteX561" fmla="*/ 72104 w 860393"/>
                <a:gd name="connsiteY561" fmla="*/ 981170 h 1348549"/>
                <a:gd name="connsiteX562" fmla="*/ 67628 w 860393"/>
                <a:gd name="connsiteY562" fmla="*/ 983361 h 1348549"/>
                <a:gd name="connsiteX563" fmla="*/ 65818 w 860393"/>
                <a:gd name="connsiteY563" fmla="*/ 982027 h 1348549"/>
                <a:gd name="connsiteX564" fmla="*/ 65056 w 860393"/>
                <a:gd name="connsiteY564" fmla="*/ 988505 h 1348549"/>
                <a:gd name="connsiteX565" fmla="*/ 70009 w 860393"/>
                <a:gd name="connsiteY565" fmla="*/ 989457 h 1348549"/>
                <a:gd name="connsiteX566" fmla="*/ 72390 w 860393"/>
                <a:gd name="connsiteY566" fmla="*/ 995648 h 1348549"/>
                <a:gd name="connsiteX567" fmla="*/ 75724 w 860393"/>
                <a:gd name="connsiteY567" fmla="*/ 996791 h 1348549"/>
                <a:gd name="connsiteX568" fmla="*/ 74581 w 860393"/>
                <a:gd name="connsiteY568" fmla="*/ 1000125 h 1348549"/>
                <a:gd name="connsiteX569" fmla="*/ 70009 w 860393"/>
                <a:gd name="connsiteY569" fmla="*/ 1002316 h 1348549"/>
                <a:gd name="connsiteX570" fmla="*/ 62294 w 860393"/>
                <a:gd name="connsiteY570" fmla="*/ 1004888 h 1348549"/>
                <a:gd name="connsiteX571" fmla="*/ 60579 w 860393"/>
                <a:gd name="connsiteY571" fmla="*/ 1003554 h 1348549"/>
                <a:gd name="connsiteX572" fmla="*/ 58388 w 860393"/>
                <a:gd name="connsiteY572" fmla="*/ 998982 h 1348549"/>
                <a:gd name="connsiteX573" fmla="*/ 54769 w 860393"/>
                <a:gd name="connsiteY573" fmla="*/ 996220 h 1348549"/>
                <a:gd name="connsiteX574" fmla="*/ 51816 w 860393"/>
                <a:gd name="connsiteY574" fmla="*/ 998220 h 1348549"/>
                <a:gd name="connsiteX575" fmla="*/ 49625 w 860393"/>
                <a:gd name="connsiteY575" fmla="*/ 993648 h 1348549"/>
                <a:gd name="connsiteX576" fmla="*/ 48673 w 860393"/>
                <a:gd name="connsiteY576" fmla="*/ 998601 h 1348549"/>
                <a:gd name="connsiteX577" fmla="*/ 46672 w 860393"/>
                <a:gd name="connsiteY577" fmla="*/ 995648 h 1348549"/>
                <a:gd name="connsiteX578" fmla="*/ 40005 w 860393"/>
                <a:gd name="connsiteY578" fmla="*/ 993362 h 1348549"/>
                <a:gd name="connsiteX579" fmla="*/ 34480 w 860393"/>
                <a:gd name="connsiteY579" fmla="*/ 987647 h 1348549"/>
                <a:gd name="connsiteX580" fmla="*/ 38386 w 860393"/>
                <a:gd name="connsiteY580" fmla="*/ 993553 h 1348549"/>
                <a:gd name="connsiteX581" fmla="*/ 35242 w 860393"/>
                <a:gd name="connsiteY581" fmla="*/ 993934 h 1348549"/>
                <a:gd name="connsiteX582" fmla="*/ 37433 w 860393"/>
                <a:gd name="connsiteY582" fmla="*/ 998410 h 1348549"/>
                <a:gd name="connsiteX583" fmla="*/ 34480 w 860393"/>
                <a:gd name="connsiteY583" fmla="*/ 1000411 h 1348549"/>
                <a:gd name="connsiteX584" fmla="*/ 34671 w 860393"/>
                <a:gd name="connsiteY584" fmla="*/ 1002030 h 1348549"/>
                <a:gd name="connsiteX585" fmla="*/ 37052 w 860393"/>
                <a:gd name="connsiteY585" fmla="*/ 1008126 h 1348549"/>
                <a:gd name="connsiteX586" fmla="*/ 36290 w 860393"/>
                <a:gd name="connsiteY586" fmla="*/ 1014603 h 1348549"/>
                <a:gd name="connsiteX587" fmla="*/ 38100 w 860393"/>
                <a:gd name="connsiteY587" fmla="*/ 1016032 h 1348549"/>
                <a:gd name="connsiteX588" fmla="*/ 41243 w 860393"/>
                <a:gd name="connsiteY588" fmla="*/ 1015651 h 1348549"/>
                <a:gd name="connsiteX589" fmla="*/ 41434 w 860393"/>
                <a:gd name="connsiteY589" fmla="*/ 1017175 h 1348549"/>
                <a:gd name="connsiteX590" fmla="*/ 41624 w 860393"/>
                <a:gd name="connsiteY590" fmla="*/ 1018794 h 1348549"/>
                <a:gd name="connsiteX591" fmla="*/ 38862 w 860393"/>
                <a:gd name="connsiteY591" fmla="*/ 1022318 h 1348549"/>
                <a:gd name="connsiteX592" fmla="*/ 36766 w 860393"/>
                <a:gd name="connsiteY592" fmla="*/ 1030605 h 1348549"/>
                <a:gd name="connsiteX593" fmla="*/ 33814 w 860393"/>
                <a:gd name="connsiteY593" fmla="*/ 1032605 h 1348549"/>
                <a:gd name="connsiteX594" fmla="*/ 31432 w 860393"/>
                <a:gd name="connsiteY594" fmla="*/ 1039273 h 1348549"/>
                <a:gd name="connsiteX595" fmla="*/ 37909 w 860393"/>
                <a:gd name="connsiteY595" fmla="*/ 1040035 h 1348549"/>
                <a:gd name="connsiteX596" fmla="*/ 44101 w 860393"/>
                <a:gd name="connsiteY596" fmla="*/ 1037654 h 1348549"/>
                <a:gd name="connsiteX597" fmla="*/ 47434 w 860393"/>
                <a:gd name="connsiteY597" fmla="*/ 1038892 h 1348549"/>
                <a:gd name="connsiteX598" fmla="*/ 52388 w 860393"/>
                <a:gd name="connsiteY598" fmla="*/ 1039844 h 1348549"/>
                <a:gd name="connsiteX599" fmla="*/ 55340 w 860393"/>
                <a:gd name="connsiteY599" fmla="*/ 1037844 h 1348549"/>
                <a:gd name="connsiteX600" fmla="*/ 62008 w 860393"/>
                <a:gd name="connsiteY600" fmla="*/ 1040225 h 1348549"/>
                <a:gd name="connsiteX601" fmla="*/ 64008 w 860393"/>
                <a:gd name="connsiteY601" fmla="*/ 1043178 h 1348549"/>
                <a:gd name="connsiteX602" fmla="*/ 72676 w 860393"/>
                <a:gd name="connsiteY602" fmla="*/ 1048512 h 1348549"/>
                <a:gd name="connsiteX603" fmla="*/ 80772 w 860393"/>
                <a:gd name="connsiteY603" fmla="*/ 1049084 h 1348549"/>
                <a:gd name="connsiteX604" fmla="*/ 85154 w 860393"/>
                <a:gd name="connsiteY604" fmla="*/ 1045273 h 1348549"/>
                <a:gd name="connsiteX605" fmla="*/ 83725 w 860393"/>
                <a:gd name="connsiteY605" fmla="*/ 1047083 h 1348549"/>
                <a:gd name="connsiteX606" fmla="*/ 84106 w 860393"/>
                <a:gd name="connsiteY606" fmla="*/ 1050227 h 1348549"/>
                <a:gd name="connsiteX607" fmla="*/ 85344 w 860393"/>
                <a:gd name="connsiteY607" fmla="*/ 1046893 h 1348549"/>
                <a:gd name="connsiteX608" fmla="*/ 87058 w 860393"/>
                <a:gd name="connsiteY608" fmla="*/ 1048226 h 1348549"/>
                <a:gd name="connsiteX609" fmla="*/ 92012 w 860393"/>
                <a:gd name="connsiteY609" fmla="*/ 1049274 h 1348549"/>
                <a:gd name="connsiteX610" fmla="*/ 92202 w 860393"/>
                <a:gd name="connsiteY610" fmla="*/ 1050798 h 1348549"/>
                <a:gd name="connsiteX611" fmla="*/ 95155 w 860393"/>
                <a:gd name="connsiteY611" fmla="*/ 1048798 h 1348549"/>
                <a:gd name="connsiteX612" fmla="*/ 96964 w 860393"/>
                <a:gd name="connsiteY612" fmla="*/ 1050227 h 1348549"/>
                <a:gd name="connsiteX613" fmla="*/ 98584 w 860393"/>
                <a:gd name="connsiteY613" fmla="*/ 1050036 h 1348549"/>
                <a:gd name="connsiteX614" fmla="*/ 97155 w 860393"/>
                <a:gd name="connsiteY614" fmla="*/ 1051751 h 1348549"/>
                <a:gd name="connsiteX615" fmla="*/ 90869 w 860393"/>
                <a:gd name="connsiteY615" fmla="*/ 1052608 h 1348549"/>
                <a:gd name="connsiteX616" fmla="*/ 85725 w 860393"/>
                <a:gd name="connsiteY616" fmla="*/ 1050036 h 1348549"/>
                <a:gd name="connsiteX617" fmla="*/ 81153 w 860393"/>
                <a:gd name="connsiteY617" fmla="*/ 1052227 h 1348549"/>
                <a:gd name="connsiteX618" fmla="*/ 77248 w 860393"/>
                <a:gd name="connsiteY618" fmla="*/ 1059085 h 1348549"/>
                <a:gd name="connsiteX619" fmla="*/ 79248 w 860393"/>
                <a:gd name="connsiteY619" fmla="*/ 1062133 h 1348549"/>
                <a:gd name="connsiteX620" fmla="*/ 80200 w 860393"/>
                <a:gd name="connsiteY620" fmla="*/ 1069943 h 1348549"/>
                <a:gd name="connsiteX621" fmla="*/ 78867 w 860393"/>
                <a:gd name="connsiteY621" fmla="*/ 1071753 h 1348549"/>
                <a:gd name="connsiteX622" fmla="*/ 75914 w 860393"/>
                <a:gd name="connsiteY622" fmla="*/ 1073753 h 1348549"/>
                <a:gd name="connsiteX623" fmla="*/ 72580 w 860393"/>
                <a:gd name="connsiteY623" fmla="*/ 1072515 h 1348549"/>
                <a:gd name="connsiteX624" fmla="*/ 66865 w 860393"/>
                <a:gd name="connsiteY624" fmla="*/ 1078135 h 1348549"/>
                <a:gd name="connsiteX625" fmla="*/ 68866 w 860393"/>
                <a:gd name="connsiteY625" fmla="*/ 1081088 h 1348549"/>
                <a:gd name="connsiteX626" fmla="*/ 65532 w 860393"/>
                <a:gd name="connsiteY626" fmla="*/ 1092708 h 1348549"/>
                <a:gd name="connsiteX627" fmla="*/ 69247 w 860393"/>
                <a:gd name="connsiteY627" fmla="*/ 1096994 h 1348549"/>
                <a:gd name="connsiteX628" fmla="*/ 70104 w 860393"/>
                <a:gd name="connsiteY628" fmla="*/ 1103376 h 1348549"/>
                <a:gd name="connsiteX629" fmla="*/ 72009 w 860393"/>
                <a:gd name="connsiteY629" fmla="*/ 1106329 h 1348549"/>
                <a:gd name="connsiteX630" fmla="*/ 72676 w 860393"/>
                <a:gd name="connsiteY630" fmla="*/ 1110996 h 1348549"/>
                <a:gd name="connsiteX631" fmla="*/ 76581 w 860393"/>
                <a:gd name="connsiteY631" fmla="*/ 1116902 h 1348549"/>
                <a:gd name="connsiteX632" fmla="*/ 76771 w 860393"/>
                <a:gd name="connsiteY632" fmla="*/ 1118521 h 1348549"/>
                <a:gd name="connsiteX633" fmla="*/ 73628 w 860393"/>
                <a:gd name="connsiteY633" fmla="*/ 1118902 h 1348549"/>
                <a:gd name="connsiteX634" fmla="*/ 76962 w 860393"/>
                <a:gd name="connsiteY634" fmla="*/ 1120140 h 1348549"/>
                <a:gd name="connsiteX635" fmla="*/ 76105 w 860393"/>
                <a:gd name="connsiteY635" fmla="*/ 1137856 h 1348549"/>
                <a:gd name="connsiteX636" fmla="*/ 80963 w 860393"/>
                <a:gd name="connsiteY636" fmla="*/ 1138809 h 1348549"/>
                <a:gd name="connsiteX637" fmla="*/ 82963 w 860393"/>
                <a:gd name="connsiteY637" fmla="*/ 1141762 h 1348549"/>
                <a:gd name="connsiteX638" fmla="*/ 89249 w 860393"/>
                <a:gd name="connsiteY638" fmla="*/ 1141000 h 1348549"/>
                <a:gd name="connsiteX639" fmla="*/ 91059 w 860393"/>
                <a:gd name="connsiteY639" fmla="*/ 1142333 h 1348549"/>
                <a:gd name="connsiteX640" fmla="*/ 88963 w 860393"/>
                <a:gd name="connsiteY640" fmla="*/ 1150620 h 1348549"/>
                <a:gd name="connsiteX641" fmla="*/ 92107 w 860393"/>
                <a:gd name="connsiteY641" fmla="*/ 1150239 h 1348549"/>
                <a:gd name="connsiteX642" fmla="*/ 94297 w 860393"/>
                <a:gd name="connsiteY642" fmla="*/ 1154811 h 1348549"/>
                <a:gd name="connsiteX643" fmla="*/ 92869 w 860393"/>
                <a:gd name="connsiteY643" fmla="*/ 1156526 h 1348549"/>
                <a:gd name="connsiteX644" fmla="*/ 97822 w 860393"/>
                <a:gd name="connsiteY644" fmla="*/ 1157573 h 1348549"/>
                <a:gd name="connsiteX645" fmla="*/ 98203 w 860393"/>
                <a:gd name="connsiteY645" fmla="*/ 1160717 h 1348549"/>
                <a:gd name="connsiteX646" fmla="*/ 97250 w 860393"/>
                <a:gd name="connsiteY646" fmla="*/ 1165669 h 1348549"/>
                <a:gd name="connsiteX647" fmla="*/ 95440 w 860393"/>
                <a:gd name="connsiteY647" fmla="*/ 1164241 h 1348549"/>
                <a:gd name="connsiteX648" fmla="*/ 94107 w 860393"/>
                <a:gd name="connsiteY648" fmla="*/ 1166051 h 1348549"/>
                <a:gd name="connsiteX649" fmla="*/ 87821 w 860393"/>
                <a:gd name="connsiteY649" fmla="*/ 1166813 h 1348549"/>
                <a:gd name="connsiteX650" fmla="*/ 86392 w 860393"/>
                <a:gd name="connsiteY650" fmla="*/ 1168622 h 1348549"/>
                <a:gd name="connsiteX651" fmla="*/ 79915 w 860393"/>
                <a:gd name="connsiteY651" fmla="*/ 1167860 h 1348549"/>
                <a:gd name="connsiteX652" fmla="*/ 77343 w 860393"/>
                <a:gd name="connsiteY652" fmla="*/ 1173004 h 1348549"/>
                <a:gd name="connsiteX653" fmla="*/ 77724 w 860393"/>
                <a:gd name="connsiteY653" fmla="*/ 1176147 h 1348549"/>
                <a:gd name="connsiteX654" fmla="*/ 75343 w 860393"/>
                <a:gd name="connsiteY654" fmla="*/ 1182814 h 1348549"/>
                <a:gd name="connsiteX655" fmla="*/ 76200 w 860393"/>
                <a:gd name="connsiteY655" fmla="*/ 1189196 h 1348549"/>
                <a:gd name="connsiteX656" fmla="*/ 79534 w 860393"/>
                <a:gd name="connsiteY656" fmla="*/ 1190339 h 1348549"/>
                <a:gd name="connsiteX657" fmla="*/ 80677 w 860393"/>
                <a:gd name="connsiteY657" fmla="*/ 1187006 h 1348549"/>
                <a:gd name="connsiteX658" fmla="*/ 85630 w 860393"/>
                <a:gd name="connsiteY658" fmla="*/ 1187958 h 1348549"/>
                <a:gd name="connsiteX659" fmla="*/ 83344 w 860393"/>
                <a:gd name="connsiteY659" fmla="*/ 1194721 h 1348549"/>
                <a:gd name="connsiteX660" fmla="*/ 100489 w 860393"/>
                <a:gd name="connsiteY660" fmla="*/ 1203674 h 1348549"/>
                <a:gd name="connsiteX661" fmla="*/ 108013 w 860393"/>
                <a:gd name="connsiteY661" fmla="*/ 1212342 h 1348549"/>
                <a:gd name="connsiteX662" fmla="*/ 118110 w 860393"/>
                <a:gd name="connsiteY662" fmla="*/ 1215866 h 1348549"/>
                <a:gd name="connsiteX663" fmla="*/ 122015 w 860393"/>
                <a:gd name="connsiteY663" fmla="*/ 1221772 h 1348549"/>
                <a:gd name="connsiteX664" fmla="*/ 124968 w 860393"/>
                <a:gd name="connsiteY664" fmla="*/ 1219867 h 1348549"/>
                <a:gd name="connsiteX665" fmla="*/ 124587 w 860393"/>
                <a:gd name="connsiteY665" fmla="*/ 1216723 h 1348549"/>
                <a:gd name="connsiteX666" fmla="*/ 129730 w 860393"/>
                <a:gd name="connsiteY666" fmla="*/ 1206437 h 1348549"/>
                <a:gd name="connsiteX667" fmla="*/ 135636 w 860393"/>
                <a:gd name="connsiteY667" fmla="*/ 1202436 h 1348549"/>
                <a:gd name="connsiteX668" fmla="*/ 140303 w 860393"/>
                <a:gd name="connsiteY668" fmla="*/ 1201864 h 1348549"/>
                <a:gd name="connsiteX669" fmla="*/ 144685 w 860393"/>
                <a:gd name="connsiteY669" fmla="*/ 1198055 h 1348549"/>
                <a:gd name="connsiteX670" fmla="*/ 148019 w 860393"/>
                <a:gd name="connsiteY670" fmla="*/ 1199293 h 1348549"/>
                <a:gd name="connsiteX671" fmla="*/ 144304 w 860393"/>
                <a:gd name="connsiteY671" fmla="*/ 1194911 h 1348549"/>
                <a:gd name="connsiteX672" fmla="*/ 145066 w 860393"/>
                <a:gd name="connsiteY672" fmla="*/ 1188434 h 1348549"/>
                <a:gd name="connsiteX673" fmla="*/ 144875 w 860393"/>
                <a:gd name="connsiteY673" fmla="*/ 1186815 h 1348549"/>
                <a:gd name="connsiteX674" fmla="*/ 144208 w 860393"/>
                <a:gd name="connsiteY674" fmla="*/ 1182052 h 1348549"/>
                <a:gd name="connsiteX675" fmla="*/ 145828 w 860393"/>
                <a:gd name="connsiteY675" fmla="*/ 1181862 h 1348549"/>
                <a:gd name="connsiteX676" fmla="*/ 148971 w 860393"/>
                <a:gd name="connsiteY676" fmla="*/ 1168718 h 1348549"/>
                <a:gd name="connsiteX677" fmla="*/ 152876 w 860393"/>
                <a:gd name="connsiteY677" fmla="*/ 1174623 h 1348549"/>
                <a:gd name="connsiteX678" fmla="*/ 155829 w 860393"/>
                <a:gd name="connsiteY678" fmla="*/ 1172623 h 1348549"/>
                <a:gd name="connsiteX679" fmla="*/ 161544 w 860393"/>
                <a:gd name="connsiteY679" fmla="*/ 1167098 h 1348549"/>
                <a:gd name="connsiteX680" fmla="*/ 154210 w 860393"/>
                <a:gd name="connsiteY680" fmla="*/ 1159955 h 1348549"/>
                <a:gd name="connsiteX681" fmla="*/ 155067 w 860393"/>
                <a:gd name="connsiteY681" fmla="*/ 1153477 h 1348549"/>
                <a:gd name="connsiteX682" fmla="*/ 153257 w 860393"/>
                <a:gd name="connsiteY682" fmla="*/ 1152049 h 1348549"/>
                <a:gd name="connsiteX683" fmla="*/ 144971 w 860393"/>
                <a:gd name="connsiteY683" fmla="*/ 1149953 h 1348549"/>
                <a:gd name="connsiteX684" fmla="*/ 142970 w 860393"/>
                <a:gd name="connsiteY684" fmla="*/ 1147001 h 1348549"/>
                <a:gd name="connsiteX685" fmla="*/ 144113 w 860393"/>
                <a:gd name="connsiteY685" fmla="*/ 1143572 h 1348549"/>
                <a:gd name="connsiteX686" fmla="*/ 148685 w 860393"/>
                <a:gd name="connsiteY686" fmla="*/ 1141476 h 1348549"/>
                <a:gd name="connsiteX687" fmla="*/ 148495 w 860393"/>
                <a:gd name="connsiteY687" fmla="*/ 1139857 h 1348549"/>
                <a:gd name="connsiteX688" fmla="*/ 149638 w 860393"/>
                <a:gd name="connsiteY688" fmla="*/ 1136523 h 1348549"/>
                <a:gd name="connsiteX689" fmla="*/ 146304 w 860393"/>
                <a:gd name="connsiteY689" fmla="*/ 1135285 h 1348549"/>
                <a:gd name="connsiteX690" fmla="*/ 145923 w 860393"/>
                <a:gd name="connsiteY690" fmla="*/ 1132142 h 1348549"/>
                <a:gd name="connsiteX691" fmla="*/ 141161 w 860393"/>
                <a:gd name="connsiteY691" fmla="*/ 1132808 h 1348549"/>
                <a:gd name="connsiteX692" fmla="*/ 139827 w 860393"/>
                <a:gd name="connsiteY692" fmla="*/ 1134523 h 1348549"/>
                <a:gd name="connsiteX693" fmla="*/ 139160 w 860393"/>
                <a:gd name="connsiteY693" fmla="*/ 1129856 h 1348549"/>
                <a:gd name="connsiteX694" fmla="*/ 137636 w 860393"/>
                <a:gd name="connsiteY694" fmla="*/ 1130046 h 1348549"/>
                <a:gd name="connsiteX695" fmla="*/ 135255 w 860393"/>
                <a:gd name="connsiteY695" fmla="*/ 1123950 h 1348549"/>
                <a:gd name="connsiteX696" fmla="*/ 133445 w 860393"/>
                <a:gd name="connsiteY696" fmla="*/ 1122521 h 1348549"/>
                <a:gd name="connsiteX697" fmla="*/ 133255 w 860393"/>
                <a:gd name="connsiteY697" fmla="*/ 1120997 h 1348549"/>
                <a:gd name="connsiteX698" fmla="*/ 130302 w 860393"/>
                <a:gd name="connsiteY698" fmla="*/ 1122902 h 1348549"/>
                <a:gd name="connsiteX699" fmla="*/ 126968 w 860393"/>
                <a:gd name="connsiteY699" fmla="*/ 1121759 h 1348549"/>
                <a:gd name="connsiteX700" fmla="*/ 125349 w 860393"/>
                <a:gd name="connsiteY700" fmla="*/ 1121950 h 1348549"/>
                <a:gd name="connsiteX701" fmla="*/ 127730 w 860393"/>
                <a:gd name="connsiteY701" fmla="*/ 1115282 h 1348549"/>
                <a:gd name="connsiteX702" fmla="*/ 123920 w 860393"/>
                <a:gd name="connsiteY702" fmla="*/ 1110901 h 1348549"/>
                <a:gd name="connsiteX703" fmla="*/ 117634 w 860393"/>
                <a:gd name="connsiteY703" fmla="*/ 1111758 h 1348549"/>
                <a:gd name="connsiteX704" fmla="*/ 121920 w 860393"/>
                <a:gd name="connsiteY704" fmla="*/ 1107948 h 1348549"/>
                <a:gd name="connsiteX705" fmla="*/ 127063 w 860393"/>
                <a:gd name="connsiteY705" fmla="*/ 1110520 h 1348549"/>
                <a:gd name="connsiteX706" fmla="*/ 130016 w 860393"/>
                <a:gd name="connsiteY706" fmla="*/ 1108519 h 1348549"/>
                <a:gd name="connsiteX707" fmla="*/ 131064 w 860393"/>
                <a:gd name="connsiteY707" fmla="*/ 1103567 h 1348549"/>
                <a:gd name="connsiteX708" fmla="*/ 134207 w 860393"/>
                <a:gd name="connsiteY708" fmla="*/ 1103185 h 1348549"/>
                <a:gd name="connsiteX709" fmla="*/ 132397 w 860393"/>
                <a:gd name="connsiteY709" fmla="*/ 1101852 h 1348549"/>
                <a:gd name="connsiteX710" fmla="*/ 130873 w 860393"/>
                <a:gd name="connsiteY710" fmla="*/ 1102043 h 1348549"/>
                <a:gd name="connsiteX711" fmla="*/ 129064 w 860393"/>
                <a:gd name="connsiteY711" fmla="*/ 1100614 h 1348549"/>
                <a:gd name="connsiteX712" fmla="*/ 132016 w 860393"/>
                <a:gd name="connsiteY712" fmla="*/ 1098709 h 1348549"/>
                <a:gd name="connsiteX713" fmla="*/ 136779 w 860393"/>
                <a:gd name="connsiteY713" fmla="*/ 1098042 h 1348549"/>
                <a:gd name="connsiteX714" fmla="*/ 151543 w 860393"/>
                <a:gd name="connsiteY714" fmla="*/ 1088136 h 1348549"/>
                <a:gd name="connsiteX715" fmla="*/ 154876 w 860393"/>
                <a:gd name="connsiteY715" fmla="*/ 1089374 h 1348549"/>
                <a:gd name="connsiteX716" fmla="*/ 157639 w 860393"/>
                <a:gd name="connsiteY716" fmla="*/ 1085755 h 1348549"/>
                <a:gd name="connsiteX717" fmla="*/ 159448 w 860393"/>
                <a:gd name="connsiteY717" fmla="*/ 1087184 h 1348549"/>
                <a:gd name="connsiteX718" fmla="*/ 170497 w 860393"/>
                <a:gd name="connsiteY718" fmla="*/ 1098614 h 1348549"/>
                <a:gd name="connsiteX719" fmla="*/ 174403 w 860393"/>
                <a:gd name="connsiteY719" fmla="*/ 1091660 h 1348549"/>
                <a:gd name="connsiteX720" fmla="*/ 177737 w 860393"/>
                <a:gd name="connsiteY720" fmla="*/ 1092803 h 1348549"/>
                <a:gd name="connsiteX721" fmla="*/ 177927 w 860393"/>
                <a:gd name="connsiteY721" fmla="*/ 1094423 h 1348549"/>
                <a:gd name="connsiteX722" fmla="*/ 181356 w 860393"/>
                <a:gd name="connsiteY722" fmla="*/ 1095565 h 1348549"/>
                <a:gd name="connsiteX723" fmla="*/ 179927 w 860393"/>
                <a:gd name="connsiteY723" fmla="*/ 1097375 h 1348549"/>
                <a:gd name="connsiteX724" fmla="*/ 181928 w 860393"/>
                <a:gd name="connsiteY724" fmla="*/ 1100328 h 1348549"/>
                <a:gd name="connsiteX725" fmla="*/ 188881 w 860393"/>
                <a:gd name="connsiteY725" fmla="*/ 1104233 h 1348549"/>
                <a:gd name="connsiteX726" fmla="*/ 190024 w 860393"/>
                <a:gd name="connsiteY726" fmla="*/ 1113758 h 1348549"/>
                <a:gd name="connsiteX727" fmla="*/ 183737 w 860393"/>
                <a:gd name="connsiteY727" fmla="*/ 1114520 h 1348549"/>
                <a:gd name="connsiteX728" fmla="*/ 185738 w 860393"/>
                <a:gd name="connsiteY728" fmla="*/ 1117473 h 1348549"/>
                <a:gd name="connsiteX729" fmla="*/ 188881 w 860393"/>
                <a:gd name="connsiteY729" fmla="*/ 1117092 h 1348549"/>
                <a:gd name="connsiteX730" fmla="*/ 189452 w 860393"/>
                <a:gd name="connsiteY730" fmla="*/ 1121759 h 1348549"/>
                <a:gd name="connsiteX731" fmla="*/ 200978 w 860393"/>
                <a:gd name="connsiteY731" fmla="*/ 1123569 h 1348549"/>
                <a:gd name="connsiteX732" fmla="*/ 202882 w 860393"/>
                <a:gd name="connsiteY732" fmla="*/ 1126522 h 1348549"/>
                <a:gd name="connsiteX733" fmla="*/ 201549 w 860393"/>
                <a:gd name="connsiteY733" fmla="*/ 1128331 h 1348549"/>
                <a:gd name="connsiteX734" fmla="*/ 196787 w 860393"/>
                <a:gd name="connsiteY734" fmla="*/ 1128903 h 1348549"/>
                <a:gd name="connsiteX735" fmla="*/ 197167 w 860393"/>
                <a:gd name="connsiteY735" fmla="*/ 1132046 h 1348549"/>
                <a:gd name="connsiteX736" fmla="*/ 198787 w 860393"/>
                <a:gd name="connsiteY736" fmla="*/ 1131856 h 1348549"/>
                <a:gd name="connsiteX737" fmla="*/ 202311 w 860393"/>
                <a:gd name="connsiteY737" fmla="*/ 1134618 h 1348549"/>
                <a:gd name="connsiteX738" fmla="*/ 205264 w 860393"/>
                <a:gd name="connsiteY738" fmla="*/ 1132618 h 1348549"/>
                <a:gd name="connsiteX739" fmla="*/ 207264 w 860393"/>
                <a:gd name="connsiteY739" fmla="*/ 1135571 h 1348549"/>
                <a:gd name="connsiteX740" fmla="*/ 209074 w 860393"/>
                <a:gd name="connsiteY740" fmla="*/ 1136999 h 1348549"/>
                <a:gd name="connsiteX741" fmla="*/ 210026 w 860393"/>
                <a:gd name="connsiteY741" fmla="*/ 1144810 h 1348549"/>
                <a:gd name="connsiteX742" fmla="*/ 208502 w 860393"/>
                <a:gd name="connsiteY742" fmla="*/ 1145096 h 1348549"/>
                <a:gd name="connsiteX743" fmla="*/ 208693 w 860393"/>
                <a:gd name="connsiteY743" fmla="*/ 1146619 h 1348549"/>
                <a:gd name="connsiteX744" fmla="*/ 213265 w 860393"/>
                <a:gd name="connsiteY744" fmla="*/ 1157288 h 1348549"/>
                <a:gd name="connsiteX745" fmla="*/ 213836 w 860393"/>
                <a:gd name="connsiteY745" fmla="*/ 1162050 h 1348549"/>
                <a:gd name="connsiteX746" fmla="*/ 213074 w 860393"/>
                <a:gd name="connsiteY746" fmla="*/ 1168527 h 1348549"/>
                <a:gd name="connsiteX747" fmla="*/ 211264 w 860393"/>
                <a:gd name="connsiteY747" fmla="*/ 1167098 h 1348549"/>
                <a:gd name="connsiteX748" fmla="*/ 210121 w 860393"/>
                <a:gd name="connsiteY748" fmla="*/ 1170527 h 1348549"/>
                <a:gd name="connsiteX749" fmla="*/ 217265 w 860393"/>
                <a:gd name="connsiteY749" fmla="*/ 1175956 h 1348549"/>
                <a:gd name="connsiteX750" fmla="*/ 222123 w 860393"/>
                <a:gd name="connsiteY750" fmla="*/ 1177004 h 1348549"/>
                <a:gd name="connsiteX751" fmla="*/ 226695 w 860393"/>
                <a:gd name="connsiteY751" fmla="*/ 1174814 h 1348549"/>
                <a:gd name="connsiteX752" fmla="*/ 227076 w 860393"/>
                <a:gd name="connsiteY752" fmla="*/ 1177957 h 1348549"/>
                <a:gd name="connsiteX753" fmla="*/ 231838 w 860393"/>
                <a:gd name="connsiteY753" fmla="*/ 1177385 h 1348549"/>
                <a:gd name="connsiteX754" fmla="*/ 232220 w 860393"/>
                <a:gd name="connsiteY754" fmla="*/ 1180529 h 1348549"/>
                <a:gd name="connsiteX755" fmla="*/ 229838 w 860393"/>
                <a:gd name="connsiteY755" fmla="*/ 1187196 h 1348549"/>
                <a:gd name="connsiteX756" fmla="*/ 231457 w 860393"/>
                <a:gd name="connsiteY756" fmla="*/ 1187006 h 1348549"/>
                <a:gd name="connsiteX757" fmla="*/ 232029 w 860393"/>
                <a:gd name="connsiteY757" fmla="*/ 1191768 h 1348549"/>
                <a:gd name="connsiteX758" fmla="*/ 228695 w 860393"/>
                <a:gd name="connsiteY758" fmla="*/ 1190530 h 1348549"/>
                <a:gd name="connsiteX759" fmla="*/ 229362 w 860393"/>
                <a:gd name="connsiteY759" fmla="*/ 1195292 h 1348549"/>
                <a:gd name="connsiteX760" fmla="*/ 238792 w 860393"/>
                <a:gd name="connsiteY760" fmla="*/ 1194149 h 1348549"/>
                <a:gd name="connsiteX761" fmla="*/ 236220 w 860393"/>
                <a:gd name="connsiteY761" fmla="*/ 1199293 h 1348549"/>
                <a:gd name="connsiteX762" fmla="*/ 237839 w 860393"/>
                <a:gd name="connsiteY762" fmla="*/ 1199007 h 1348549"/>
                <a:gd name="connsiteX763" fmla="*/ 240221 w 860393"/>
                <a:gd name="connsiteY763" fmla="*/ 1205198 h 1348549"/>
                <a:gd name="connsiteX764" fmla="*/ 243364 w 860393"/>
                <a:gd name="connsiteY764" fmla="*/ 1204722 h 1348549"/>
                <a:gd name="connsiteX765" fmla="*/ 242221 w 860393"/>
                <a:gd name="connsiteY765" fmla="*/ 1208151 h 1348549"/>
                <a:gd name="connsiteX766" fmla="*/ 242792 w 860393"/>
                <a:gd name="connsiteY766" fmla="*/ 1212818 h 1348549"/>
                <a:gd name="connsiteX767" fmla="*/ 245936 w 860393"/>
                <a:gd name="connsiteY767" fmla="*/ 1212437 h 1348549"/>
                <a:gd name="connsiteX768" fmla="*/ 245745 w 860393"/>
                <a:gd name="connsiteY768" fmla="*/ 1210913 h 1348549"/>
                <a:gd name="connsiteX769" fmla="*/ 247269 w 860393"/>
                <a:gd name="connsiteY769" fmla="*/ 1210627 h 1348549"/>
                <a:gd name="connsiteX770" fmla="*/ 252222 w 860393"/>
                <a:gd name="connsiteY770" fmla="*/ 1211675 h 1348549"/>
                <a:gd name="connsiteX771" fmla="*/ 252031 w 860393"/>
                <a:gd name="connsiteY771" fmla="*/ 1210056 h 1348549"/>
                <a:gd name="connsiteX772" fmla="*/ 252031 w 860393"/>
                <a:gd name="connsiteY772" fmla="*/ 1210056 h 1348549"/>
                <a:gd name="connsiteX773" fmla="*/ 254794 w 860393"/>
                <a:gd name="connsiteY773" fmla="*/ 1206532 h 1348549"/>
                <a:gd name="connsiteX774" fmla="*/ 253460 w 860393"/>
                <a:gd name="connsiteY774" fmla="*/ 1208246 h 1348549"/>
                <a:gd name="connsiteX775" fmla="*/ 252984 w 860393"/>
                <a:gd name="connsiteY775" fmla="*/ 1205103 h 1348549"/>
                <a:gd name="connsiteX776" fmla="*/ 251460 w 860393"/>
                <a:gd name="connsiteY776" fmla="*/ 1205293 h 1348549"/>
                <a:gd name="connsiteX777" fmla="*/ 252413 w 860393"/>
                <a:gd name="connsiteY777" fmla="*/ 1200436 h 1348549"/>
                <a:gd name="connsiteX778" fmla="*/ 249079 w 860393"/>
                <a:gd name="connsiteY778" fmla="*/ 1199198 h 1348549"/>
                <a:gd name="connsiteX779" fmla="*/ 253841 w 860393"/>
                <a:gd name="connsiteY779" fmla="*/ 1198626 h 1348549"/>
                <a:gd name="connsiteX780" fmla="*/ 253365 w 860393"/>
                <a:gd name="connsiteY780" fmla="*/ 1195483 h 1348549"/>
                <a:gd name="connsiteX781" fmla="*/ 256127 w 860393"/>
                <a:gd name="connsiteY781" fmla="*/ 1191863 h 1348549"/>
                <a:gd name="connsiteX782" fmla="*/ 253937 w 860393"/>
                <a:gd name="connsiteY782" fmla="*/ 1187387 h 1348549"/>
                <a:gd name="connsiteX783" fmla="*/ 255556 w 860393"/>
                <a:gd name="connsiteY783" fmla="*/ 1187196 h 1348549"/>
                <a:gd name="connsiteX784" fmla="*/ 257746 w 860393"/>
                <a:gd name="connsiteY784" fmla="*/ 1191673 h 1348549"/>
                <a:gd name="connsiteX785" fmla="*/ 260128 w 860393"/>
                <a:gd name="connsiteY785" fmla="*/ 1197769 h 1348549"/>
                <a:gd name="connsiteX786" fmla="*/ 263842 w 860393"/>
                <a:gd name="connsiteY786" fmla="*/ 1202150 h 1348549"/>
                <a:gd name="connsiteX787" fmla="*/ 264700 w 860393"/>
                <a:gd name="connsiteY787" fmla="*/ 1208437 h 1348549"/>
                <a:gd name="connsiteX788" fmla="*/ 260509 w 860393"/>
                <a:gd name="connsiteY788" fmla="*/ 1213771 h 1348549"/>
                <a:gd name="connsiteX789" fmla="*/ 259556 w 860393"/>
                <a:gd name="connsiteY789" fmla="*/ 1218724 h 1348549"/>
                <a:gd name="connsiteX790" fmla="*/ 261556 w 860393"/>
                <a:gd name="connsiteY790" fmla="*/ 1221677 h 1348549"/>
                <a:gd name="connsiteX791" fmla="*/ 258794 w 860393"/>
                <a:gd name="connsiteY791" fmla="*/ 1225201 h 1348549"/>
                <a:gd name="connsiteX792" fmla="*/ 253460 w 860393"/>
                <a:gd name="connsiteY792" fmla="*/ 1233964 h 1348549"/>
                <a:gd name="connsiteX793" fmla="*/ 255461 w 860393"/>
                <a:gd name="connsiteY793" fmla="*/ 1236917 h 1348549"/>
                <a:gd name="connsiteX794" fmla="*/ 255461 w 860393"/>
                <a:gd name="connsiteY794" fmla="*/ 1236917 h 1348549"/>
                <a:gd name="connsiteX795" fmla="*/ 257270 w 860393"/>
                <a:gd name="connsiteY795" fmla="*/ 1238250 h 1348549"/>
                <a:gd name="connsiteX796" fmla="*/ 256222 w 860393"/>
                <a:gd name="connsiteY796" fmla="*/ 1243203 h 1348549"/>
                <a:gd name="connsiteX797" fmla="*/ 251746 w 860393"/>
                <a:gd name="connsiteY797" fmla="*/ 1245394 h 1348549"/>
                <a:gd name="connsiteX798" fmla="*/ 255651 w 860393"/>
                <a:gd name="connsiteY798" fmla="*/ 1251299 h 1348549"/>
                <a:gd name="connsiteX799" fmla="*/ 257080 w 860393"/>
                <a:gd name="connsiteY799" fmla="*/ 1249489 h 1348549"/>
                <a:gd name="connsiteX800" fmla="*/ 267176 w 860393"/>
                <a:gd name="connsiteY800" fmla="*/ 1253014 h 1348549"/>
                <a:gd name="connsiteX801" fmla="*/ 265747 w 860393"/>
                <a:gd name="connsiteY801" fmla="*/ 1254823 h 1348549"/>
                <a:gd name="connsiteX802" fmla="*/ 267748 w 860393"/>
                <a:gd name="connsiteY802" fmla="*/ 1257776 h 1348549"/>
                <a:gd name="connsiteX803" fmla="*/ 274511 w 860393"/>
                <a:gd name="connsiteY803" fmla="*/ 1260158 h 1348549"/>
                <a:gd name="connsiteX804" fmla="*/ 274701 w 860393"/>
                <a:gd name="connsiteY804" fmla="*/ 1261681 h 1348549"/>
                <a:gd name="connsiteX805" fmla="*/ 276225 w 860393"/>
                <a:gd name="connsiteY805" fmla="*/ 1261491 h 1348549"/>
                <a:gd name="connsiteX806" fmla="*/ 279368 w 860393"/>
                <a:gd name="connsiteY806" fmla="*/ 1261110 h 1348549"/>
                <a:gd name="connsiteX807" fmla="*/ 288131 w 860393"/>
                <a:gd name="connsiteY807" fmla="*/ 1266444 h 1348549"/>
                <a:gd name="connsiteX808" fmla="*/ 289465 w 860393"/>
                <a:gd name="connsiteY808" fmla="*/ 1264634 h 1348549"/>
                <a:gd name="connsiteX809" fmla="*/ 292608 w 860393"/>
                <a:gd name="connsiteY809" fmla="*/ 1264253 h 1348549"/>
                <a:gd name="connsiteX810" fmla="*/ 301085 w 860393"/>
                <a:gd name="connsiteY810" fmla="*/ 1267968 h 1348549"/>
                <a:gd name="connsiteX811" fmla="*/ 306038 w 860393"/>
                <a:gd name="connsiteY811" fmla="*/ 1268921 h 1348549"/>
                <a:gd name="connsiteX812" fmla="*/ 304705 w 860393"/>
                <a:gd name="connsiteY812" fmla="*/ 1270730 h 1348549"/>
                <a:gd name="connsiteX813" fmla="*/ 308420 w 860393"/>
                <a:gd name="connsiteY813" fmla="*/ 1275017 h 1348549"/>
                <a:gd name="connsiteX814" fmla="*/ 314420 w 860393"/>
                <a:gd name="connsiteY814" fmla="*/ 1283875 h 1348549"/>
                <a:gd name="connsiteX815" fmla="*/ 322040 w 860393"/>
                <a:gd name="connsiteY815" fmla="*/ 1281303 h 1348549"/>
                <a:gd name="connsiteX816" fmla="*/ 322897 w 860393"/>
                <a:gd name="connsiteY816" fmla="*/ 1287589 h 1348549"/>
                <a:gd name="connsiteX817" fmla="*/ 321659 w 860393"/>
                <a:gd name="connsiteY817" fmla="*/ 1291018 h 1348549"/>
                <a:gd name="connsiteX818" fmla="*/ 321850 w 860393"/>
                <a:gd name="connsiteY818" fmla="*/ 1292543 h 1348549"/>
                <a:gd name="connsiteX819" fmla="*/ 318897 w 860393"/>
                <a:gd name="connsiteY819" fmla="*/ 1294543 h 1348549"/>
                <a:gd name="connsiteX820" fmla="*/ 322897 w 860393"/>
                <a:gd name="connsiteY820" fmla="*/ 1300448 h 1348549"/>
                <a:gd name="connsiteX821" fmla="*/ 325469 w 860393"/>
                <a:gd name="connsiteY821" fmla="*/ 1308164 h 1348549"/>
                <a:gd name="connsiteX822" fmla="*/ 326326 w 860393"/>
                <a:gd name="connsiteY822" fmla="*/ 1314450 h 1348549"/>
                <a:gd name="connsiteX823" fmla="*/ 328517 w 860393"/>
                <a:gd name="connsiteY823" fmla="*/ 1319022 h 1348549"/>
                <a:gd name="connsiteX824" fmla="*/ 329851 w 860393"/>
                <a:gd name="connsiteY824" fmla="*/ 1317212 h 1348549"/>
                <a:gd name="connsiteX825" fmla="*/ 331661 w 860393"/>
                <a:gd name="connsiteY825" fmla="*/ 1318641 h 1348549"/>
                <a:gd name="connsiteX826" fmla="*/ 332232 w 860393"/>
                <a:gd name="connsiteY826" fmla="*/ 1323308 h 1348549"/>
                <a:gd name="connsiteX827" fmla="*/ 334994 w 860393"/>
                <a:gd name="connsiteY827" fmla="*/ 1332643 h 1348549"/>
                <a:gd name="connsiteX828" fmla="*/ 336804 w 860393"/>
                <a:gd name="connsiteY828" fmla="*/ 1333976 h 1348549"/>
                <a:gd name="connsiteX829" fmla="*/ 335661 w 860393"/>
                <a:gd name="connsiteY829" fmla="*/ 1337310 h 1348549"/>
                <a:gd name="connsiteX830" fmla="*/ 338614 w 860393"/>
                <a:gd name="connsiteY830" fmla="*/ 1335310 h 1348549"/>
                <a:gd name="connsiteX831" fmla="*/ 338804 w 860393"/>
                <a:gd name="connsiteY831" fmla="*/ 1336929 h 1348549"/>
                <a:gd name="connsiteX832" fmla="*/ 339185 w 860393"/>
                <a:gd name="connsiteY832" fmla="*/ 1340072 h 1348549"/>
                <a:gd name="connsiteX833" fmla="*/ 337566 w 860393"/>
                <a:gd name="connsiteY833" fmla="*/ 1340263 h 1348549"/>
                <a:gd name="connsiteX834" fmla="*/ 340995 w 860393"/>
                <a:gd name="connsiteY834" fmla="*/ 1341501 h 1348549"/>
                <a:gd name="connsiteX835" fmla="*/ 342900 w 860393"/>
                <a:gd name="connsiteY835" fmla="*/ 1344454 h 1348549"/>
                <a:gd name="connsiteX836" fmla="*/ 346329 w 860393"/>
                <a:gd name="connsiteY836" fmla="*/ 1345597 h 1348549"/>
                <a:gd name="connsiteX837" fmla="*/ 348234 w 860393"/>
                <a:gd name="connsiteY837" fmla="*/ 1348550 h 1348549"/>
                <a:gd name="connsiteX838" fmla="*/ 348044 w 860393"/>
                <a:gd name="connsiteY838" fmla="*/ 1346930 h 1348549"/>
                <a:gd name="connsiteX839" fmla="*/ 349663 w 860393"/>
                <a:gd name="connsiteY839" fmla="*/ 1346740 h 1348549"/>
                <a:gd name="connsiteX840" fmla="*/ 349853 w 860393"/>
                <a:gd name="connsiteY840" fmla="*/ 1348359 h 1348549"/>
                <a:gd name="connsiteX841" fmla="*/ 352425 w 860393"/>
                <a:gd name="connsiteY841" fmla="*/ 1343215 h 1348549"/>
                <a:gd name="connsiteX842" fmla="*/ 352996 w 860393"/>
                <a:gd name="connsiteY842" fmla="*/ 1335119 h 1348549"/>
                <a:gd name="connsiteX843" fmla="*/ 351377 w 860393"/>
                <a:gd name="connsiteY843" fmla="*/ 1335310 h 1348549"/>
                <a:gd name="connsiteX844" fmla="*/ 350615 w 860393"/>
                <a:gd name="connsiteY844" fmla="*/ 1329023 h 1348549"/>
                <a:gd name="connsiteX845" fmla="*/ 354901 w 860393"/>
                <a:gd name="connsiteY845" fmla="*/ 1325213 h 1348549"/>
                <a:gd name="connsiteX846" fmla="*/ 359664 w 860393"/>
                <a:gd name="connsiteY846" fmla="*/ 1324642 h 1348549"/>
                <a:gd name="connsiteX847" fmla="*/ 364236 w 860393"/>
                <a:gd name="connsiteY847" fmla="*/ 1322451 h 1348549"/>
                <a:gd name="connsiteX848" fmla="*/ 358616 w 860393"/>
                <a:gd name="connsiteY848" fmla="*/ 1316736 h 1348549"/>
                <a:gd name="connsiteX849" fmla="*/ 361569 w 860393"/>
                <a:gd name="connsiteY849" fmla="*/ 1314736 h 1348549"/>
                <a:gd name="connsiteX850" fmla="*/ 364807 w 860393"/>
                <a:gd name="connsiteY850" fmla="*/ 1314355 h 1348549"/>
                <a:gd name="connsiteX851" fmla="*/ 367189 w 860393"/>
                <a:gd name="connsiteY851" fmla="*/ 1320451 h 1348549"/>
                <a:gd name="connsiteX852" fmla="*/ 374047 w 860393"/>
                <a:gd name="connsiteY852" fmla="*/ 1324451 h 1348549"/>
                <a:gd name="connsiteX853" fmla="*/ 375475 w 860393"/>
                <a:gd name="connsiteY853" fmla="*/ 1322642 h 1348549"/>
                <a:gd name="connsiteX854" fmla="*/ 376428 w 860393"/>
                <a:gd name="connsiteY854" fmla="*/ 1317689 h 1348549"/>
                <a:gd name="connsiteX855" fmla="*/ 381190 w 860393"/>
                <a:gd name="connsiteY855" fmla="*/ 1317117 h 1348549"/>
                <a:gd name="connsiteX856" fmla="*/ 385667 w 860393"/>
                <a:gd name="connsiteY856" fmla="*/ 1314926 h 1348549"/>
                <a:gd name="connsiteX857" fmla="*/ 387096 w 860393"/>
                <a:gd name="connsiteY857" fmla="*/ 1313117 h 1348549"/>
                <a:gd name="connsiteX858" fmla="*/ 395573 w 860393"/>
                <a:gd name="connsiteY858" fmla="*/ 1316831 h 1348549"/>
                <a:gd name="connsiteX859" fmla="*/ 398526 w 860393"/>
                <a:gd name="connsiteY859" fmla="*/ 1314926 h 1348549"/>
                <a:gd name="connsiteX860" fmla="*/ 403003 w 860393"/>
                <a:gd name="connsiteY860" fmla="*/ 1312735 h 1348549"/>
                <a:gd name="connsiteX861" fmla="*/ 404050 w 860393"/>
                <a:gd name="connsiteY861" fmla="*/ 1307783 h 1348549"/>
                <a:gd name="connsiteX862" fmla="*/ 406241 w 860393"/>
                <a:gd name="connsiteY862" fmla="*/ 1312259 h 1348549"/>
                <a:gd name="connsiteX863" fmla="*/ 407575 w 860393"/>
                <a:gd name="connsiteY863" fmla="*/ 1310545 h 1348549"/>
                <a:gd name="connsiteX864" fmla="*/ 416433 w 860393"/>
                <a:gd name="connsiteY864" fmla="*/ 1317403 h 1348549"/>
                <a:gd name="connsiteX865" fmla="*/ 417671 w 860393"/>
                <a:gd name="connsiteY865" fmla="*/ 1314069 h 1348549"/>
                <a:gd name="connsiteX866" fmla="*/ 421005 w 860393"/>
                <a:gd name="connsiteY866" fmla="*/ 1315212 h 1348549"/>
                <a:gd name="connsiteX867" fmla="*/ 429863 w 860393"/>
                <a:gd name="connsiteY867" fmla="*/ 1309306 h 1348549"/>
                <a:gd name="connsiteX868" fmla="*/ 431292 w 860393"/>
                <a:gd name="connsiteY868" fmla="*/ 1307497 h 1348549"/>
                <a:gd name="connsiteX869" fmla="*/ 429482 w 860393"/>
                <a:gd name="connsiteY869" fmla="*/ 1306163 h 1348549"/>
                <a:gd name="connsiteX870" fmla="*/ 430625 w 860393"/>
                <a:gd name="connsiteY870" fmla="*/ 1302734 h 1348549"/>
                <a:gd name="connsiteX871" fmla="*/ 435007 w 860393"/>
                <a:gd name="connsiteY871" fmla="*/ 1299019 h 1348549"/>
                <a:gd name="connsiteX872" fmla="*/ 436150 w 860393"/>
                <a:gd name="connsiteY872" fmla="*/ 1295686 h 1348549"/>
                <a:gd name="connsiteX873" fmla="*/ 439293 w 860393"/>
                <a:gd name="connsiteY873" fmla="*/ 1295210 h 1348549"/>
                <a:gd name="connsiteX874" fmla="*/ 437293 w 860393"/>
                <a:gd name="connsiteY874" fmla="*/ 1292257 h 1348549"/>
                <a:gd name="connsiteX875" fmla="*/ 440531 w 860393"/>
                <a:gd name="connsiteY875" fmla="*/ 1291876 h 1348549"/>
                <a:gd name="connsiteX876" fmla="*/ 441674 w 860393"/>
                <a:gd name="connsiteY876" fmla="*/ 1288542 h 1348549"/>
                <a:gd name="connsiteX877" fmla="*/ 443198 w 860393"/>
                <a:gd name="connsiteY877" fmla="*/ 1288352 h 1348549"/>
                <a:gd name="connsiteX878" fmla="*/ 445961 w 860393"/>
                <a:gd name="connsiteY878" fmla="*/ 1271968 h 1348549"/>
                <a:gd name="connsiteX879" fmla="*/ 447961 w 860393"/>
                <a:gd name="connsiteY879" fmla="*/ 1274921 h 1348549"/>
                <a:gd name="connsiteX880" fmla="*/ 454057 w 860393"/>
                <a:gd name="connsiteY880" fmla="*/ 1272540 h 1348549"/>
                <a:gd name="connsiteX881" fmla="*/ 453676 w 860393"/>
                <a:gd name="connsiteY881" fmla="*/ 1269397 h 1348549"/>
                <a:gd name="connsiteX882" fmla="*/ 458629 w 860393"/>
                <a:gd name="connsiteY882" fmla="*/ 1270349 h 1348549"/>
                <a:gd name="connsiteX883" fmla="*/ 462344 w 860393"/>
                <a:gd name="connsiteY883" fmla="*/ 1261872 h 1348549"/>
                <a:gd name="connsiteX884" fmla="*/ 465487 w 860393"/>
                <a:gd name="connsiteY884" fmla="*/ 1261491 h 1348549"/>
                <a:gd name="connsiteX885" fmla="*/ 467011 w 860393"/>
                <a:gd name="connsiteY885" fmla="*/ 1261205 h 1348549"/>
                <a:gd name="connsiteX886" fmla="*/ 473392 w 860393"/>
                <a:gd name="connsiteY886" fmla="*/ 1260443 h 1348549"/>
                <a:gd name="connsiteX887" fmla="*/ 470821 w 860393"/>
                <a:gd name="connsiteY887" fmla="*/ 1252728 h 1348549"/>
                <a:gd name="connsiteX888" fmla="*/ 472345 w 860393"/>
                <a:gd name="connsiteY888" fmla="*/ 1252538 h 1348549"/>
                <a:gd name="connsiteX889" fmla="*/ 469773 w 860393"/>
                <a:gd name="connsiteY889" fmla="*/ 1244822 h 1348549"/>
                <a:gd name="connsiteX890" fmla="*/ 469582 w 860393"/>
                <a:gd name="connsiteY890" fmla="*/ 1243298 h 1348549"/>
                <a:gd name="connsiteX891" fmla="*/ 462820 w 860393"/>
                <a:gd name="connsiteY891" fmla="*/ 1240917 h 1348549"/>
                <a:gd name="connsiteX892" fmla="*/ 463867 w 860393"/>
                <a:gd name="connsiteY892" fmla="*/ 1235964 h 1348549"/>
                <a:gd name="connsiteX893" fmla="*/ 459867 w 860393"/>
                <a:gd name="connsiteY893" fmla="*/ 1230059 h 1348549"/>
                <a:gd name="connsiteX894" fmla="*/ 457295 w 860393"/>
                <a:gd name="connsiteY894" fmla="*/ 1222439 h 1348549"/>
                <a:gd name="connsiteX895" fmla="*/ 456724 w 860393"/>
                <a:gd name="connsiteY895" fmla="*/ 1217676 h 1348549"/>
                <a:gd name="connsiteX896" fmla="*/ 456057 w 860393"/>
                <a:gd name="connsiteY896" fmla="*/ 1212914 h 1348549"/>
                <a:gd name="connsiteX897" fmla="*/ 457867 w 860393"/>
                <a:gd name="connsiteY897" fmla="*/ 1214342 h 1348549"/>
                <a:gd name="connsiteX898" fmla="*/ 456819 w 860393"/>
                <a:gd name="connsiteY898" fmla="*/ 1206437 h 1348549"/>
                <a:gd name="connsiteX899" fmla="*/ 461581 w 860393"/>
                <a:gd name="connsiteY899" fmla="*/ 1205770 h 1348549"/>
                <a:gd name="connsiteX900" fmla="*/ 462724 w 860393"/>
                <a:gd name="connsiteY900" fmla="*/ 1202436 h 1348549"/>
                <a:gd name="connsiteX901" fmla="*/ 462534 w 860393"/>
                <a:gd name="connsiteY901" fmla="*/ 1200912 h 1348549"/>
                <a:gd name="connsiteX902" fmla="*/ 465296 w 860393"/>
                <a:gd name="connsiteY902" fmla="*/ 1197293 h 1348549"/>
                <a:gd name="connsiteX903" fmla="*/ 467106 w 860393"/>
                <a:gd name="connsiteY903" fmla="*/ 1198721 h 1348549"/>
                <a:gd name="connsiteX904" fmla="*/ 468249 w 860393"/>
                <a:gd name="connsiteY904" fmla="*/ 1195292 h 1348549"/>
                <a:gd name="connsiteX905" fmla="*/ 466725 w 860393"/>
                <a:gd name="connsiteY905" fmla="*/ 1195578 h 1348549"/>
                <a:gd name="connsiteX906" fmla="*/ 469678 w 860393"/>
                <a:gd name="connsiteY906" fmla="*/ 1193578 h 1348549"/>
                <a:gd name="connsiteX907" fmla="*/ 470249 w 860393"/>
                <a:gd name="connsiteY907" fmla="*/ 1185481 h 1348549"/>
                <a:gd name="connsiteX908" fmla="*/ 476536 w 860393"/>
                <a:gd name="connsiteY908" fmla="*/ 1184624 h 1348549"/>
                <a:gd name="connsiteX909" fmla="*/ 476345 w 860393"/>
                <a:gd name="connsiteY909" fmla="*/ 1183100 h 1348549"/>
                <a:gd name="connsiteX910" fmla="*/ 481108 w 860393"/>
                <a:gd name="connsiteY910" fmla="*/ 1182529 h 1348549"/>
                <a:gd name="connsiteX911" fmla="*/ 480631 w 860393"/>
                <a:gd name="connsiteY911" fmla="*/ 1179290 h 1348549"/>
                <a:gd name="connsiteX912" fmla="*/ 480631 w 860393"/>
                <a:gd name="connsiteY912" fmla="*/ 1179290 h 1348549"/>
                <a:gd name="connsiteX913" fmla="*/ 488156 w 860393"/>
                <a:gd name="connsiteY913" fmla="*/ 1187958 h 1348549"/>
                <a:gd name="connsiteX914" fmla="*/ 491299 w 860393"/>
                <a:gd name="connsiteY914" fmla="*/ 1187577 h 1348549"/>
                <a:gd name="connsiteX915" fmla="*/ 491585 w 860393"/>
                <a:gd name="connsiteY915" fmla="*/ 1189196 h 1348549"/>
                <a:gd name="connsiteX916" fmla="*/ 485870 w 860393"/>
                <a:gd name="connsiteY916" fmla="*/ 1194721 h 1348549"/>
                <a:gd name="connsiteX917" fmla="*/ 485680 w 860393"/>
                <a:gd name="connsiteY917" fmla="*/ 1205960 h 1348549"/>
                <a:gd name="connsiteX918" fmla="*/ 484918 w 860393"/>
                <a:gd name="connsiteY918" fmla="*/ 1212437 h 1348549"/>
                <a:gd name="connsiteX919" fmla="*/ 485299 w 860393"/>
                <a:gd name="connsiteY919" fmla="*/ 1215581 h 1348549"/>
                <a:gd name="connsiteX920" fmla="*/ 493205 w 860393"/>
                <a:gd name="connsiteY920" fmla="*/ 1214628 h 1348549"/>
                <a:gd name="connsiteX921" fmla="*/ 496538 w 860393"/>
                <a:gd name="connsiteY921" fmla="*/ 1215771 h 1348549"/>
                <a:gd name="connsiteX922" fmla="*/ 495300 w 860393"/>
                <a:gd name="connsiteY922" fmla="*/ 1206341 h 1348549"/>
                <a:gd name="connsiteX923" fmla="*/ 507206 w 860393"/>
                <a:gd name="connsiteY923" fmla="*/ 1211199 h 1348549"/>
                <a:gd name="connsiteX924" fmla="*/ 510159 w 860393"/>
                <a:gd name="connsiteY924" fmla="*/ 1209294 h 1348549"/>
                <a:gd name="connsiteX925" fmla="*/ 513874 w 860393"/>
                <a:gd name="connsiteY925" fmla="*/ 1213580 h 1348549"/>
                <a:gd name="connsiteX926" fmla="*/ 512921 w 860393"/>
                <a:gd name="connsiteY926" fmla="*/ 1218533 h 1348549"/>
                <a:gd name="connsiteX927" fmla="*/ 522351 w 860393"/>
                <a:gd name="connsiteY927" fmla="*/ 1217295 h 1348549"/>
                <a:gd name="connsiteX928" fmla="*/ 524542 w 860393"/>
                <a:gd name="connsiteY928" fmla="*/ 1221867 h 1348549"/>
                <a:gd name="connsiteX929" fmla="*/ 525971 w 860393"/>
                <a:gd name="connsiteY929" fmla="*/ 1220057 h 1348549"/>
                <a:gd name="connsiteX930" fmla="*/ 523780 w 860393"/>
                <a:gd name="connsiteY930" fmla="*/ 1215581 h 1348549"/>
                <a:gd name="connsiteX931" fmla="*/ 528733 w 860393"/>
                <a:gd name="connsiteY931" fmla="*/ 1216533 h 1348549"/>
                <a:gd name="connsiteX932" fmla="*/ 528542 w 860393"/>
                <a:gd name="connsiteY932" fmla="*/ 1214914 h 1348549"/>
                <a:gd name="connsiteX933" fmla="*/ 531876 w 860393"/>
                <a:gd name="connsiteY933" fmla="*/ 1216152 h 1348549"/>
                <a:gd name="connsiteX934" fmla="*/ 538163 w 860393"/>
                <a:gd name="connsiteY934" fmla="*/ 1215295 h 1348549"/>
                <a:gd name="connsiteX935" fmla="*/ 537020 w 860393"/>
                <a:gd name="connsiteY935" fmla="*/ 1218629 h 1348549"/>
                <a:gd name="connsiteX936" fmla="*/ 543497 w 860393"/>
                <a:gd name="connsiteY936" fmla="*/ 1219390 h 1348549"/>
                <a:gd name="connsiteX937" fmla="*/ 549212 w 860393"/>
                <a:gd name="connsiteY937" fmla="*/ 1226725 h 1348549"/>
                <a:gd name="connsiteX938" fmla="*/ 549212 w 860393"/>
                <a:gd name="connsiteY938" fmla="*/ 1226725 h 1348549"/>
                <a:gd name="connsiteX939" fmla="*/ 554831 w 860393"/>
                <a:gd name="connsiteY939" fmla="*/ 1232440 h 1348549"/>
                <a:gd name="connsiteX940" fmla="*/ 555974 w 860393"/>
                <a:gd name="connsiteY940" fmla="*/ 1241869 h 1348549"/>
                <a:gd name="connsiteX941" fmla="*/ 556165 w 860393"/>
                <a:gd name="connsiteY941" fmla="*/ 1243489 h 1348549"/>
                <a:gd name="connsiteX942" fmla="*/ 571500 w 860393"/>
                <a:gd name="connsiteY942" fmla="*/ 1225487 h 1348549"/>
                <a:gd name="connsiteX943" fmla="*/ 576834 w 860393"/>
                <a:gd name="connsiteY943" fmla="*/ 1216819 h 1348549"/>
                <a:gd name="connsiteX944" fmla="*/ 579787 w 860393"/>
                <a:gd name="connsiteY944" fmla="*/ 1214818 h 1348549"/>
                <a:gd name="connsiteX945" fmla="*/ 581597 w 860393"/>
                <a:gd name="connsiteY945" fmla="*/ 1216152 h 1348549"/>
                <a:gd name="connsiteX946" fmla="*/ 584359 w 860393"/>
                <a:gd name="connsiteY946" fmla="*/ 1212628 h 1348549"/>
                <a:gd name="connsiteX947" fmla="*/ 584549 w 860393"/>
                <a:gd name="connsiteY947" fmla="*/ 1201388 h 1348549"/>
                <a:gd name="connsiteX948" fmla="*/ 582549 w 860393"/>
                <a:gd name="connsiteY948" fmla="*/ 1198435 h 1348549"/>
                <a:gd name="connsiteX949" fmla="*/ 579406 w 860393"/>
                <a:gd name="connsiteY949" fmla="*/ 1198817 h 1348549"/>
                <a:gd name="connsiteX950" fmla="*/ 583501 w 860393"/>
                <a:gd name="connsiteY950" fmla="*/ 1193483 h 1348549"/>
                <a:gd name="connsiteX951" fmla="*/ 576548 w 860393"/>
                <a:gd name="connsiteY951" fmla="*/ 1189577 h 1348549"/>
                <a:gd name="connsiteX952" fmla="*/ 584930 w 860393"/>
                <a:gd name="connsiteY952" fmla="*/ 1191673 h 1348549"/>
                <a:gd name="connsiteX953" fmla="*/ 584645 w 860393"/>
                <a:gd name="connsiteY953" fmla="*/ 1190149 h 1348549"/>
                <a:gd name="connsiteX954" fmla="*/ 587597 w 860393"/>
                <a:gd name="connsiteY954" fmla="*/ 1188148 h 1348549"/>
                <a:gd name="connsiteX955" fmla="*/ 589788 w 860393"/>
                <a:gd name="connsiteY955" fmla="*/ 1192721 h 1348549"/>
                <a:gd name="connsiteX956" fmla="*/ 589979 w 860393"/>
                <a:gd name="connsiteY956" fmla="*/ 1194244 h 1348549"/>
                <a:gd name="connsiteX957" fmla="*/ 593407 w 860393"/>
                <a:gd name="connsiteY957" fmla="*/ 1195388 h 1348549"/>
                <a:gd name="connsiteX958" fmla="*/ 597313 w 860393"/>
                <a:gd name="connsiteY958" fmla="*/ 1188530 h 1348549"/>
                <a:gd name="connsiteX959" fmla="*/ 600456 w 860393"/>
                <a:gd name="connsiteY959" fmla="*/ 1188148 h 1348549"/>
                <a:gd name="connsiteX960" fmla="*/ 604838 w 860393"/>
                <a:gd name="connsiteY960" fmla="*/ 1184339 h 1348549"/>
                <a:gd name="connsiteX961" fmla="*/ 606742 w 860393"/>
                <a:gd name="connsiteY961" fmla="*/ 1187291 h 1348549"/>
                <a:gd name="connsiteX962" fmla="*/ 620554 w 860393"/>
                <a:gd name="connsiteY962" fmla="*/ 1182338 h 1348549"/>
                <a:gd name="connsiteX963" fmla="*/ 622363 w 860393"/>
                <a:gd name="connsiteY963" fmla="*/ 1183767 h 1348549"/>
                <a:gd name="connsiteX964" fmla="*/ 627126 w 860393"/>
                <a:gd name="connsiteY964" fmla="*/ 1183100 h 1348549"/>
                <a:gd name="connsiteX965" fmla="*/ 630079 w 860393"/>
                <a:gd name="connsiteY965" fmla="*/ 1181100 h 1348549"/>
                <a:gd name="connsiteX966" fmla="*/ 633413 w 860393"/>
                <a:gd name="connsiteY966" fmla="*/ 1182338 h 1348549"/>
                <a:gd name="connsiteX967" fmla="*/ 638747 w 860393"/>
                <a:gd name="connsiteY967" fmla="*/ 1186434 h 1348549"/>
                <a:gd name="connsiteX968" fmla="*/ 639128 w 860393"/>
                <a:gd name="connsiteY968" fmla="*/ 1189577 h 1348549"/>
                <a:gd name="connsiteX969" fmla="*/ 637984 w 860393"/>
                <a:gd name="connsiteY969" fmla="*/ 1193006 h 1348549"/>
                <a:gd name="connsiteX970" fmla="*/ 642271 w 860393"/>
                <a:gd name="connsiteY970" fmla="*/ 1189196 h 1348549"/>
                <a:gd name="connsiteX971" fmla="*/ 644080 w 860393"/>
                <a:gd name="connsiteY971" fmla="*/ 1190530 h 1348549"/>
                <a:gd name="connsiteX972" fmla="*/ 644271 w 860393"/>
                <a:gd name="connsiteY972" fmla="*/ 1192149 h 1348549"/>
                <a:gd name="connsiteX973" fmla="*/ 645890 w 860393"/>
                <a:gd name="connsiteY973" fmla="*/ 1191959 h 1348549"/>
                <a:gd name="connsiteX974" fmla="*/ 650748 w 860393"/>
                <a:gd name="connsiteY974" fmla="*/ 1192911 h 1348549"/>
                <a:gd name="connsiteX975" fmla="*/ 651986 w 860393"/>
                <a:gd name="connsiteY975" fmla="*/ 1189577 h 1348549"/>
                <a:gd name="connsiteX976" fmla="*/ 652367 w 860393"/>
                <a:gd name="connsiteY976" fmla="*/ 1192721 h 1348549"/>
                <a:gd name="connsiteX977" fmla="*/ 653796 w 860393"/>
                <a:gd name="connsiteY977" fmla="*/ 1190911 h 1348549"/>
                <a:gd name="connsiteX978" fmla="*/ 658654 w 860393"/>
                <a:gd name="connsiteY978" fmla="*/ 1191959 h 1348549"/>
                <a:gd name="connsiteX979" fmla="*/ 666179 w 860393"/>
                <a:gd name="connsiteY979" fmla="*/ 1187768 h 1348549"/>
                <a:gd name="connsiteX980" fmla="*/ 666940 w 860393"/>
                <a:gd name="connsiteY980" fmla="*/ 1181290 h 1348549"/>
                <a:gd name="connsiteX981" fmla="*/ 671703 w 860393"/>
                <a:gd name="connsiteY981" fmla="*/ 1180624 h 1348549"/>
                <a:gd name="connsiteX982" fmla="*/ 678561 w 860393"/>
                <a:gd name="connsiteY982" fmla="*/ 1171765 h 1348549"/>
                <a:gd name="connsiteX983" fmla="*/ 674561 w 860393"/>
                <a:gd name="connsiteY983" fmla="*/ 1165860 h 1348549"/>
                <a:gd name="connsiteX984" fmla="*/ 677513 w 860393"/>
                <a:gd name="connsiteY984" fmla="*/ 1163860 h 1348549"/>
                <a:gd name="connsiteX985" fmla="*/ 672179 w 860393"/>
                <a:gd name="connsiteY985" fmla="*/ 1159764 h 1348549"/>
                <a:gd name="connsiteX986" fmla="*/ 668464 w 860393"/>
                <a:gd name="connsiteY986" fmla="*/ 1155383 h 1348549"/>
                <a:gd name="connsiteX987" fmla="*/ 668274 w 860393"/>
                <a:gd name="connsiteY987" fmla="*/ 1153859 h 1348549"/>
                <a:gd name="connsiteX988" fmla="*/ 667703 w 860393"/>
                <a:gd name="connsiteY988" fmla="*/ 1149096 h 1348549"/>
                <a:gd name="connsiteX989" fmla="*/ 658749 w 860393"/>
                <a:gd name="connsiteY989" fmla="*/ 1142238 h 1348549"/>
                <a:gd name="connsiteX990" fmla="*/ 659892 w 860393"/>
                <a:gd name="connsiteY990" fmla="*/ 1138809 h 1348549"/>
                <a:gd name="connsiteX991" fmla="*/ 656368 w 860393"/>
                <a:gd name="connsiteY991" fmla="*/ 1136047 h 1348549"/>
                <a:gd name="connsiteX992" fmla="*/ 659130 w 860393"/>
                <a:gd name="connsiteY992" fmla="*/ 1132523 h 1348549"/>
                <a:gd name="connsiteX993" fmla="*/ 662845 w 860393"/>
                <a:gd name="connsiteY993" fmla="*/ 1136904 h 1348549"/>
                <a:gd name="connsiteX994" fmla="*/ 664083 w 860393"/>
                <a:gd name="connsiteY994" fmla="*/ 1133475 h 1348549"/>
                <a:gd name="connsiteX995" fmla="*/ 668846 w 860393"/>
                <a:gd name="connsiteY995" fmla="*/ 1132904 h 1348549"/>
                <a:gd name="connsiteX996" fmla="*/ 669036 w 860393"/>
                <a:gd name="connsiteY996" fmla="*/ 1134523 h 1348549"/>
                <a:gd name="connsiteX997" fmla="*/ 676465 w 860393"/>
                <a:gd name="connsiteY997" fmla="*/ 1130332 h 1348549"/>
                <a:gd name="connsiteX998" fmla="*/ 682847 w 860393"/>
                <a:gd name="connsiteY998" fmla="*/ 1142333 h 1348549"/>
                <a:gd name="connsiteX999" fmla="*/ 687800 w 860393"/>
                <a:gd name="connsiteY999" fmla="*/ 1143286 h 1348549"/>
                <a:gd name="connsiteX1000" fmla="*/ 692087 w 860393"/>
                <a:gd name="connsiteY1000" fmla="*/ 1139571 h 1348549"/>
                <a:gd name="connsiteX1001" fmla="*/ 689515 w 860393"/>
                <a:gd name="connsiteY1001" fmla="*/ 1131856 h 1348549"/>
                <a:gd name="connsiteX1002" fmla="*/ 690944 w 860393"/>
                <a:gd name="connsiteY1002" fmla="*/ 1130046 h 1348549"/>
                <a:gd name="connsiteX1003" fmla="*/ 690277 w 860393"/>
                <a:gd name="connsiteY1003" fmla="*/ 1125379 h 1348549"/>
                <a:gd name="connsiteX1004" fmla="*/ 693230 w 860393"/>
                <a:gd name="connsiteY1004" fmla="*/ 1123379 h 1348549"/>
                <a:gd name="connsiteX1005" fmla="*/ 692658 w 860393"/>
                <a:gd name="connsiteY1005" fmla="*/ 1118616 h 1348549"/>
                <a:gd name="connsiteX1006" fmla="*/ 697135 w 860393"/>
                <a:gd name="connsiteY1006" fmla="*/ 1116425 h 1348549"/>
                <a:gd name="connsiteX1007" fmla="*/ 702564 w 860393"/>
                <a:gd name="connsiteY1007" fmla="*/ 1120616 h 1348549"/>
                <a:gd name="connsiteX1008" fmla="*/ 706660 w 860393"/>
                <a:gd name="connsiteY1008" fmla="*/ 1115282 h 1348549"/>
                <a:gd name="connsiteX1009" fmla="*/ 709231 w 860393"/>
                <a:gd name="connsiteY1009" fmla="*/ 1122902 h 1348549"/>
                <a:gd name="connsiteX1010" fmla="*/ 716185 w 860393"/>
                <a:gd name="connsiteY1010" fmla="*/ 1126903 h 1348549"/>
                <a:gd name="connsiteX1011" fmla="*/ 718280 w 860393"/>
                <a:gd name="connsiteY1011" fmla="*/ 1131380 h 1348549"/>
                <a:gd name="connsiteX1012" fmla="*/ 721519 w 860393"/>
                <a:gd name="connsiteY1012" fmla="*/ 1130998 h 1348549"/>
                <a:gd name="connsiteX1013" fmla="*/ 718947 w 860393"/>
                <a:gd name="connsiteY1013" fmla="*/ 1136142 h 1348549"/>
                <a:gd name="connsiteX1014" fmla="*/ 719138 w 860393"/>
                <a:gd name="connsiteY1014" fmla="*/ 1137761 h 1348549"/>
                <a:gd name="connsiteX1015" fmla="*/ 726091 w 860393"/>
                <a:gd name="connsiteY1015" fmla="*/ 1141667 h 1348549"/>
                <a:gd name="connsiteX1016" fmla="*/ 724662 w 860393"/>
                <a:gd name="connsiteY1016" fmla="*/ 1143476 h 1348549"/>
                <a:gd name="connsiteX1017" fmla="*/ 729424 w 860393"/>
                <a:gd name="connsiteY1017" fmla="*/ 1142810 h 1348549"/>
                <a:gd name="connsiteX1018" fmla="*/ 736473 w 860393"/>
                <a:gd name="connsiteY1018" fmla="*/ 1148334 h 1348549"/>
                <a:gd name="connsiteX1019" fmla="*/ 739712 w 860393"/>
                <a:gd name="connsiteY1019" fmla="*/ 1147953 h 1348549"/>
                <a:gd name="connsiteX1020" fmla="*/ 741045 w 860393"/>
                <a:gd name="connsiteY1020" fmla="*/ 1146143 h 1348549"/>
                <a:gd name="connsiteX1021" fmla="*/ 754856 w 860393"/>
                <a:gd name="connsiteY1021" fmla="*/ 1141190 h 1348549"/>
                <a:gd name="connsiteX1022" fmla="*/ 757999 w 860393"/>
                <a:gd name="connsiteY1022" fmla="*/ 1140809 h 1348549"/>
                <a:gd name="connsiteX1023" fmla="*/ 758190 w 860393"/>
                <a:gd name="connsiteY1023" fmla="*/ 1142333 h 1348549"/>
                <a:gd name="connsiteX1024" fmla="*/ 761333 w 860393"/>
                <a:gd name="connsiteY1024" fmla="*/ 1141952 h 1348549"/>
                <a:gd name="connsiteX1025" fmla="*/ 763143 w 860393"/>
                <a:gd name="connsiteY1025" fmla="*/ 1143381 h 1348549"/>
                <a:gd name="connsiteX1026" fmla="*/ 766286 w 860393"/>
                <a:gd name="connsiteY1026" fmla="*/ 1142905 h 1348549"/>
                <a:gd name="connsiteX1027" fmla="*/ 765905 w 860393"/>
                <a:gd name="connsiteY1027" fmla="*/ 1139762 h 1348549"/>
                <a:gd name="connsiteX1028" fmla="*/ 767524 w 860393"/>
                <a:gd name="connsiteY1028" fmla="*/ 1139571 h 1348549"/>
                <a:gd name="connsiteX1029" fmla="*/ 767048 w 860393"/>
                <a:gd name="connsiteY1029" fmla="*/ 1136428 h 1348549"/>
                <a:gd name="connsiteX1030" fmla="*/ 766477 w 860393"/>
                <a:gd name="connsiteY1030" fmla="*/ 1131665 h 1348549"/>
                <a:gd name="connsiteX1031" fmla="*/ 770382 w 860393"/>
                <a:gd name="connsiteY1031" fmla="*/ 1124807 h 1348549"/>
                <a:gd name="connsiteX1032" fmla="*/ 766667 w 860393"/>
                <a:gd name="connsiteY1032" fmla="*/ 1120426 h 1348549"/>
                <a:gd name="connsiteX1033" fmla="*/ 766477 w 860393"/>
                <a:gd name="connsiteY1033" fmla="*/ 1118902 h 1348549"/>
                <a:gd name="connsiteX1034" fmla="*/ 773906 w 860393"/>
                <a:gd name="connsiteY1034" fmla="*/ 1114711 h 1348549"/>
                <a:gd name="connsiteX1035" fmla="*/ 775145 w 860393"/>
                <a:gd name="connsiteY1035" fmla="*/ 1111377 h 1348549"/>
                <a:gd name="connsiteX1036" fmla="*/ 778097 w 860393"/>
                <a:gd name="connsiteY1036" fmla="*/ 1109377 h 1348549"/>
                <a:gd name="connsiteX1037" fmla="*/ 776288 w 860393"/>
                <a:gd name="connsiteY1037" fmla="*/ 1107948 h 1348549"/>
                <a:gd name="connsiteX1038" fmla="*/ 780574 w 860393"/>
                <a:gd name="connsiteY1038" fmla="*/ 1104233 h 1348549"/>
                <a:gd name="connsiteX1039" fmla="*/ 778002 w 860393"/>
                <a:gd name="connsiteY1039" fmla="*/ 1096518 h 1348549"/>
                <a:gd name="connsiteX1040" fmla="*/ 772097 w 860393"/>
                <a:gd name="connsiteY1040" fmla="*/ 1087660 h 1348549"/>
                <a:gd name="connsiteX1041" fmla="*/ 771715 w 860393"/>
                <a:gd name="connsiteY1041" fmla="*/ 1084517 h 1348549"/>
                <a:gd name="connsiteX1042" fmla="*/ 775240 w 860393"/>
                <a:gd name="connsiteY1042" fmla="*/ 1087279 h 1348549"/>
                <a:gd name="connsiteX1043" fmla="*/ 778192 w 860393"/>
                <a:gd name="connsiteY1043" fmla="*/ 1085279 h 1348549"/>
                <a:gd name="connsiteX1044" fmla="*/ 787241 w 860393"/>
                <a:gd name="connsiteY1044" fmla="*/ 1080897 h 1348549"/>
                <a:gd name="connsiteX1045" fmla="*/ 788480 w 860393"/>
                <a:gd name="connsiteY1045" fmla="*/ 1077563 h 1348549"/>
                <a:gd name="connsiteX1046" fmla="*/ 787813 w 860393"/>
                <a:gd name="connsiteY1046" fmla="*/ 1072801 h 1348549"/>
                <a:gd name="connsiteX1047" fmla="*/ 790384 w 860393"/>
                <a:gd name="connsiteY1047" fmla="*/ 1067657 h 1348549"/>
                <a:gd name="connsiteX1048" fmla="*/ 794004 w 860393"/>
                <a:gd name="connsiteY1048" fmla="*/ 1070419 h 1348549"/>
                <a:gd name="connsiteX1049" fmla="*/ 807720 w 860393"/>
                <a:gd name="connsiteY1049" fmla="*/ 1065467 h 1348549"/>
                <a:gd name="connsiteX1050" fmla="*/ 806958 w 860393"/>
                <a:gd name="connsiteY1050" fmla="*/ 1059180 h 1348549"/>
                <a:gd name="connsiteX1051" fmla="*/ 808577 w 860393"/>
                <a:gd name="connsiteY1051" fmla="*/ 1058989 h 1348549"/>
                <a:gd name="connsiteX1052" fmla="*/ 808101 w 860393"/>
                <a:gd name="connsiteY1052" fmla="*/ 1055846 h 1348549"/>
                <a:gd name="connsiteX1053" fmla="*/ 809149 w 860393"/>
                <a:gd name="connsiteY1053" fmla="*/ 1050893 h 1348549"/>
                <a:gd name="connsiteX1054" fmla="*/ 808672 w 860393"/>
                <a:gd name="connsiteY1054" fmla="*/ 1047750 h 1348549"/>
                <a:gd name="connsiteX1055" fmla="*/ 806767 w 860393"/>
                <a:gd name="connsiteY1055" fmla="*/ 1044797 h 1348549"/>
                <a:gd name="connsiteX1056" fmla="*/ 809911 w 860393"/>
                <a:gd name="connsiteY1056" fmla="*/ 1044321 h 1348549"/>
                <a:gd name="connsiteX1057" fmla="*/ 813435 w 860393"/>
                <a:gd name="connsiteY1057" fmla="*/ 1047083 h 1348549"/>
                <a:gd name="connsiteX1058" fmla="*/ 815435 w 860393"/>
                <a:gd name="connsiteY1058" fmla="*/ 1050036 h 1348549"/>
                <a:gd name="connsiteX1059" fmla="*/ 823341 w 860393"/>
                <a:gd name="connsiteY1059" fmla="*/ 1049084 h 1348549"/>
                <a:gd name="connsiteX1060" fmla="*/ 825532 w 860393"/>
                <a:gd name="connsiteY1060" fmla="*/ 1053560 h 1348549"/>
                <a:gd name="connsiteX1061" fmla="*/ 828675 w 860393"/>
                <a:gd name="connsiteY1061" fmla="*/ 1053179 h 1348549"/>
                <a:gd name="connsiteX1062" fmla="*/ 830580 w 860393"/>
                <a:gd name="connsiteY1062" fmla="*/ 1056132 h 1348549"/>
                <a:gd name="connsiteX1063" fmla="*/ 835152 w 860393"/>
                <a:gd name="connsiteY1063" fmla="*/ 1053941 h 1348549"/>
                <a:gd name="connsiteX1064" fmla="*/ 840676 w 860393"/>
                <a:gd name="connsiteY1064" fmla="*/ 1059656 h 1348549"/>
                <a:gd name="connsiteX1065" fmla="*/ 850011 w 860393"/>
                <a:gd name="connsiteY1065" fmla="*/ 1056894 h 1348549"/>
                <a:gd name="connsiteX1066" fmla="*/ 849535 w 860393"/>
                <a:gd name="connsiteY1066" fmla="*/ 1053751 h 1348549"/>
                <a:gd name="connsiteX1067" fmla="*/ 849154 w 860393"/>
                <a:gd name="connsiteY1067" fmla="*/ 1050608 h 1348549"/>
                <a:gd name="connsiteX1068" fmla="*/ 857440 w 860393"/>
                <a:gd name="connsiteY1068" fmla="*/ 1039939 h 1348549"/>
                <a:gd name="connsiteX1069" fmla="*/ 860393 w 860393"/>
                <a:gd name="connsiteY1069" fmla="*/ 1025080 h 1348549"/>
                <a:gd name="connsiteX1070" fmla="*/ 859917 w 860393"/>
                <a:gd name="connsiteY1070" fmla="*/ 1021937 h 1348549"/>
                <a:gd name="connsiteX1071" fmla="*/ 855250 w 860393"/>
                <a:gd name="connsiteY1071" fmla="*/ 1022509 h 1348549"/>
                <a:gd name="connsiteX1072" fmla="*/ 855250 w 860393"/>
                <a:gd name="connsiteY1072" fmla="*/ 1022509 h 1348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</a:cxnLst>
              <a:rect l="l" t="t" r="r" b="b"/>
              <a:pathLst>
                <a:path w="860393" h="1348549">
                  <a:moveTo>
                    <a:pt x="855250" y="1022509"/>
                  </a:moveTo>
                  <a:lnTo>
                    <a:pt x="856012" y="1016032"/>
                  </a:lnTo>
                  <a:lnTo>
                    <a:pt x="854202" y="1014698"/>
                  </a:lnTo>
                  <a:lnTo>
                    <a:pt x="853821" y="1011555"/>
                  </a:lnTo>
                  <a:lnTo>
                    <a:pt x="852202" y="1011746"/>
                  </a:lnTo>
                  <a:lnTo>
                    <a:pt x="854583" y="1004983"/>
                  </a:lnTo>
                  <a:lnTo>
                    <a:pt x="847439" y="999458"/>
                  </a:lnTo>
                  <a:lnTo>
                    <a:pt x="850011" y="994315"/>
                  </a:lnTo>
                  <a:lnTo>
                    <a:pt x="849821" y="992791"/>
                  </a:lnTo>
                  <a:lnTo>
                    <a:pt x="846677" y="993172"/>
                  </a:lnTo>
                  <a:lnTo>
                    <a:pt x="845725" y="998125"/>
                  </a:lnTo>
                  <a:lnTo>
                    <a:pt x="835438" y="992981"/>
                  </a:lnTo>
                  <a:lnTo>
                    <a:pt x="832675" y="996601"/>
                  </a:lnTo>
                  <a:lnTo>
                    <a:pt x="833247" y="1001268"/>
                  </a:lnTo>
                  <a:lnTo>
                    <a:pt x="828484" y="1001935"/>
                  </a:lnTo>
                  <a:lnTo>
                    <a:pt x="827151" y="1003649"/>
                  </a:lnTo>
                  <a:lnTo>
                    <a:pt x="822484" y="1017080"/>
                  </a:lnTo>
                  <a:lnTo>
                    <a:pt x="815340" y="1011555"/>
                  </a:lnTo>
                  <a:lnTo>
                    <a:pt x="814483" y="1005268"/>
                  </a:lnTo>
                  <a:lnTo>
                    <a:pt x="810578" y="999363"/>
                  </a:lnTo>
                  <a:lnTo>
                    <a:pt x="807434" y="999744"/>
                  </a:lnTo>
                  <a:lnTo>
                    <a:pt x="806958" y="996601"/>
                  </a:lnTo>
                  <a:lnTo>
                    <a:pt x="814102" y="989267"/>
                  </a:lnTo>
                  <a:lnTo>
                    <a:pt x="819055" y="990314"/>
                  </a:lnTo>
                  <a:lnTo>
                    <a:pt x="822960" y="983361"/>
                  </a:lnTo>
                  <a:lnTo>
                    <a:pt x="819626" y="982218"/>
                  </a:lnTo>
                  <a:lnTo>
                    <a:pt x="820769" y="978789"/>
                  </a:lnTo>
                  <a:lnTo>
                    <a:pt x="819150" y="979075"/>
                  </a:lnTo>
                  <a:lnTo>
                    <a:pt x="822103" y="977075"/>
                  </a:lnTo>
                  <a:lnTo>
                    <a:pt x="818959" y="977455"/>
                  </a:lnTo>
                  <a:lnTo>
                    <a:pt x="813816" y="974884"/>
                  </a:lnTo>
                  <a:lnTo>
                    <a:pt x="814673" y="968407"/>
                  </a:lnTo>
                  <a:lnTo>
                    <a:pt x="812863" y="966978"/>
                  </a:lnTo>
                  <a:lnTo>
                    <a:pt x="809911" y="968978"/>
                  </a:lnTo>
                  <a:lnTo>
                    <a:pt x="807720" y="964501"/>
                  </a:lnTo>
                  <a:lnTo>
                    <a:pt x="809054" y="962692"/>
                  </a:lnTo>
                  <a:lnTo>
                    <a:pt x="807530" y="962882"/>
                  </a:lnTo>
                  <a:lnTo>
                    <a:pt x="806863" y="958120"/>
                  </a:lnTo>
                  <a:lnTo>
                    <a:pt x="803720" y="958501"/>
                  </a:lnTo>
                  <a:lnTo>
                    <a:pt x="801338" y="952405"/>
                  </a:lnTo>
                  <a:lnTo>
                    <a:pt x="799433" y="949452"/>
                  </a:lnTo>
                  <a:lnTo>
                    <a:pt x="795814" y="946690"/>
                  </a:lnTo>
                  <a:lnTo>
                    <a:pt x="790289" y="940975"/>
                  </a:lnTo>
                  <a:lnTo>
                    <a:pt x="785717" y="930402"/>
                  </a:lnTo>
                  <a:lnTo>
                    <a:pt x="779240" y="929640"/>
                  </a:lnTo>
                  <a:lnTo>
                    <a:pt x="770572" y="924306"/>
                  </a:lnTo>
                  <a:lnTo>
                    <a:pt x="764762" y="916972"/>
                  </a:lnTo>
                  <a:lnTo>
                    <a:pt x="761619" y="917448"/>
                  </a:lnTo>
                  <a:lnTo>
                    <a:pt x="758857" y="920972"/>
                  </a:lnTo>
                  <a:lnTo>
                    <a:pt x="757047" y="919543"/>
                  </a:lnTo>
                  <a:lnTo>
                    <a:pt x="755904" y="910114"/>
                  </a:lnTo>
                  <a:lnTo>
                    <a:pt x="750570" y="906018"/>
                  </a:lnTo>
                  <a:lnTo>
                    <a:pt x="754285" y="897541"/>
                  </a:lnTo>
                  <a:lnTo>
                    <a:pt x="743617" y="889254"/>
                  </a:lnTo>
                  <a:lnTo>
                    <a:pt x="735044" y="872680"/>
                  </a:lnTo>
                  <a:lnTo>
                    <a:pt x="727996" y="867156"/>
                  </a:lnTo>
                  <a:lnTo>
                    <a:pt x="727996" y="867156"/>
                  </a:lnTo>
                  <a:lnTo>
                    <a:pt x="725424" y="872300"/>
                  </a:lnTo>
                  <a:lnTo>
                    <a:pt x="725043" y="882015"/>
                  </a:lnTo>
                  <a:lnTo>
                    <a:pt x="723424" y="882205"/>
                  </a:lnTo>
                  <a:lnTo>
                    <a:pt x="722090" y="883920"/>
                  </a:lnTo>
                  <a:lnTo>
                    <a:pt x="720280" y="882587"/>
                  </a:lnTo>
                  <a:lnTo>
                    <a:pt x="717709" y="887730"/>
                  </a:lnTo>
                  <a:lnTo>
                    <a:pt x="715994" y="886301"/>
                  </a:lnTo>
                  <a:lnTo>
                    <a:pt x="715613" y="883158"/>
                  </a:lnTo>
                  <a:lnTo>
                    <a:pt x="694849" y="871347"/>
                  </a:lnTo>
                  <a:lnTo>
                    <a:pt x="692467" y="865251"/>
                  </a:lnTo>
                  <a:lnTo>
                    <a:pt x="690848" y="852678"/>
                  </a:lnTo>
                  <a:lnTo>
                    <a:pt x="687610" y="840200"/>
                  </a:lnTo>
                  <a:lnTo>
                    <a:pt x="688657" y="835247"/>
                  </a:lnTo>
                  <a:lnTo>
                    <a:pt x="694849" y="821626"/>
                  </a:lnTo>
                  <a:lnTo>
                    <a:pt x="696468" y="821436"/>
                  </a:lnTo>
                  <a:lnTo>
                    <a:pt x="697421" y="816483"/>
                  </a:lnTo>
                  <a:lnTo>
                    <a:pt x="699040" y="816293"/>
                  </a:lnTo>
                  <a:lnTo>
                    <a:pt x="697039" y="813340"/>
                  </a:lnTo>
                  <a:lnTo>
                    <a:pt x="697611" y="805243"/>
                  </a:lnTo>
                  <a:lnTo>
                    <a:pt x="696087" y="805529"/>
                  </a:lnTo>
                  <a:lnTo>
                    <a:pt x="693706" y="812197"/>
                  </a:lnTo>
                  <a:lnTo>
                    <a:pt x="690563" y="812578"/>
                  </a:lnTo>
                  <a:lnTo>
                    <a:pt x="686943" y="809815"/>
                  </a:lnTo>
                  <a:lnTo>
                    <a:pt x="685229" y="808482"/>
                  </a:lnTo>
                  <a:lnTo>
                    <a:pt x="681799" y="807339"/>
                  </a:lnTo>
                  <a:lnTo>
                    <a:pt x="684371" y="802196"/>
                  </a:lnTo>
                  <a:lnTo>
                    <a:pt x="680847" y="799433"/>
                  </a:lnTo>
                  <a:lnTo>
                    <a:pt x="677513" y="798195"/>
                  </a:lnTo>
                  <a:lnTo>
                    <a:pt x="671322" y="800576"/>
                  </a:lnTo>
                  <a:lnTo>
                    <a:pt x="665416" y="791718"/>
                  </a:lnTo>
                  <a:lnTo>
                    <a:pt x="660654" y="792385"/>
                  </a:lnTo>
                  <a:lnTo>
                    <a:pt x="651986" y="787051"/>
                  </a:lnTo>
                  <a:lnTo>
                    <a:pt x="649605" y="793718"/>
                  </a:lnTo>
                  <a:lnTo>
                    <a:pt x="646271" y="792575"/>
                  </a:lnTo>
                  <a:lnTo>
                    <a:pt x="642175" y="797909"/>
                  </a:lnTo>
                  <a:lnTo>
                    <a:pt x="636080" y="800290"/>
                  </a:lnTo>
                  <a:lnTo>
                    <a:pt x="635317" y="806768"/>
                  </a:lnTo>
                  <a:lnTo>
                    <a:pt x="622649" y="808387"/>
                  </a:lnTo>
                  <a:lnTo>
                    <a:pt x="615887" y="806101"/>
                  </a:lnTo>
                  <a:lnTo>
                    <a:pt x="604075" y="788289"/>
                  </a:lnTo>
                  <a:lnTo>
                    <a:pt x="595598" y="784574"/>
                  </a:lnTo>
                  <a:lnTo>
                    <a:pt x="587312" y="782479"/>
                  </a:lnTo>
                  <a:lnTo>
                    <a:pt x="585311" y="779526"/>
                  </a:lnTo>
                  <a:lnTo>
                    <a:pt x="581978" y="778288"/>
                  </a:lnTo>
                  <a:lnTo>
                    <a:pt x="579406" y="783431"/>
                  </a:lnTo>
                  <a:lnTo>
                    <a:pt x="578167" y="786860"/>
                  </a:lnTo>
                  <a:lnTo>
                    <a:pt x="579977" y="788194"/>
                  </a:lnTo>
                  <a:lnTo>
                    <a:pt x="572072" y="802005"/>
                  </a:lnTo>
                  <a:lnTo>
                    <a:pt x="558927" y="798862"/>
                  </a:lnTo>
                  <a:lnTo>
                    <a:pt x="555498" y="797719"/>
                  </a:lnTo>
                  <a:lnTo>
                    <a:pt x="547211" y="782764"/>
                  </a:lnTo>
                  <a:lnTo>
                    <a:pt x="543878" y="781526"/>
                  </a:lnTo>
                  <a:lnTo>
                    <a:pt x="541115" y="785146"/>
                  </a:lnTo>
                  <a:lnTo>
                    <a:pt x="535972" y="782574"/>
                  </a:lnTo>
                  <a:lnTo>
                    <a:pt x="520922" y="778097"/>
                  </a:lnTo>
                  <a:lnTo>
                    <a:pt x="513493" y="782193"/>
                  </a:lnTo>
                  <a:lnTo>
                    <a:pt x="509111" y="786003"/>
                  </a:lnTo>
                  <a:lnTo>
                    <a:pt x="504444" y="786575"/>
                  </a:lnTo>
                  <a:lnTo>
                    <a:pt x="504825" y="789718"/>
                  </a:lnTo>
                  <a:lnTo>
                    <a:pt x="502634" y="785241"/>
                  </a:lnTo>
                  <a:lnTo>
                    <a:pt x="495490" y="779717"/>
                  </a:lnTo>
                  <a:lnTo>
                    <a:pt x="501587" y="777335"/>
                  </a:lnTo>
                  <a:lnTo>
                    <a:pt x="499681" y="774383"/>
                  </a:lnTo>
                  <a:lnTo>
                    <a:pt x="492538" y="768858"/>
                  </a:lnTo>
                  <a:lnTo>
                    <a:pt x="492157" y="765715"/>
                  </a:lnTo>
                  <a:lnTo>
                    <a:pt x="495109" y="763714"/>
                  </a:lnTo>
                  <a:lnTo>
                    <a:pt x="492728" y="757618"/>
                  </a:lnTo>
                  <a:lnTo>
                    <a:pt x="485775" y="753713"/>
                  </a:lnTo>
                  <a:lnTo>
                    <a:pt x="483584" y="749141"/>
                  </a:lnTo>
                  <a:lnTo>
                    <a:pt x="480441" y="749522"/>
                  </a:lnTo>
                  <a:lnTo>
                    <a:pt x="478441" y="746569"/>
                  </a:lnTo>
                  <a:lnTo>
                    <a:pt x="467011" y="731996"/>
                  </a:lnTo>
                  <a:lnTo>
                    <a:pt x="465011" y="729043"/>
                  </a:lnTo>
                  <a:lnTo>
                    <a:pt x="463582" y="730853"/>
                  </a:lnTo>
                  <a:lnTo>
                    <a:pt x="456152" y="722185"/>
                  </a:lnTo>
                  <a:lnTo>
                    <a:pt x="448818" y="727901"/>
                  </a:lnTo>
                  <a:lnTo>
                    <a:pt x="439388" y="729139"/>
                  </a:lnTo>
                  <a:lnTo>
                    <a:pt x="436626" y="732663"/>
                  </a:lnTo>
                  <a:lnTo>
                    <a:pt x="434054" y="737806"/>
                  </a:lnTo>
                  <a:lnTo>
                    <a:pt x="432054" y="734854"/>
                  </a:lnTo>
                  <a:lnTo>
                    <a:pt x="433006" y="729901"/>
                  </a:lnTo>
                  <a:lnTo>
                    <a:pt x="421386" y="726567"/>
                  </a:lnTo>
                  <a:lnTo>
                    <a:pt x="415290" y="729043"/>
                  </a:lnTo>
                  <a:lnTo>
                    <a:pt x="410337" y="727996"/>
                  </a:lnTo>
                  <a:lnTo>
                    <a:pt x="410146" y="726472"/>
                  </a:lnTo>
                  <a:lnTo>
                    <a:pt x="409956" y="724852"/>
                  </a:lnTo>
                  <a:lnTo>
                    <a:pt x="404622" y="720757"/>
                  </a:lnTo>
                  <a:lnTo>
                    <a:pt x="403003" y="720947"/>
                  </a:lnTo>
                  <a:lnTo>
                    <a:pt x="401860" y="724281"/>
                  </a:lnTo>
                  <a:lnTo>
                    <a:pt x="401288" y="719518"/>
                  </a:lnTo>
                  <a:lnTo>
                    <a:pt x="399288" y="716566"/>
                  </a:lnTo>
                  <a:lnTo>
                    <a:pt x="394716" y="718756"/>
                  </a:lnTo>
                  <a:lnTo>
                    <a:pt x="391192" y="715994"/>
                  </a:lnTo>
                  <a:lnTo>
                    <a:pt x="384620" y="715232"/>
                  </a:lnTo>
                  <a:lnTo>
                    <a:pt x="382238" y="709136"/>
                  </a:lnTo>
                  <a:lnTo>
                    <a:pt x="379286" y="711137"/>
                  </a:lnTo>
                  <a:lnTo>
                    <a:pt x="375761" y="708374"/>
                  </a:lnTo>
                  <a:lnTo>
                    <a:pt x="371189" y="710565"/>
                  </a:lnTo>
                  <a:lnTo>
                    <a:pt x="369284" y="707612"/>
                  </a:lnTo>
                  <a:lnTo>
                    <a:pt x="368046" y="710946"/>
                  </a:lnTo>
                  <a:lnTo>
                    <a:pt x="364903" y="711327"/>
                  </a:lnTo>
                  <a:lnTo>
                    <a:pt x="365284" y="714470"/>
                  </a:lnTo>
                  <a:lnTo>
                    <a:pt x="363760" y="714756"/>
                  </a:lnTo>
                  <a:lnTo>
                    <a:pt x="361950" y="713327"/>
                  </a:lnTo>
                  <a:lnTo>
                    <a:pt x="358997" y="715327"/>
                  </a:lnTo>
                  <a:lnTo>
                    <a:pt x="357664" y="717137"/>
                  </a:lnTo>
                  <a:lnTo>
                    <a:pt x="357188" y="713899"/>
                  </a:lnTo>
                  <a:lnTo>
                    <a:pt x="355473" y="712565"/>
                  </a:lnTo>
                  <a:lnTo>
                    <a:pt x="354997" y="709422"/>
                  </a:lnTo>
                  <a:lnTo>
                    <a:pt x="351854" y="709803"/>
                  </a:lnTo>
                  <a:lnTo>
                    <a:pt x="354235" y="703135"/>
                  </a:lnTo>
                  <a:lnTo>
                    <a:pt x="360331" y="687896"/>
                  </a:lnTo>
                  <a:lnTo>
                    <a:pt x="362807" y="669893"/>
                  </a:lnTo>
                  <a:lnTo>
                    <a:pt x="359664" y="670369"/>
                  </a:lnTo>
                  <a:lnTo>
                    <a:pt x="355949" y="678847"/>
                  </a:lnTo>
                  <a:lnTo>
                    <a:pt x="350806" y="676275"/>
                  </a:lnTo>
                  <a:lnTo>
                    <a:pt x="349472" y="678085"/>
                  </a:lnTo>
                  <a:lnTo>
                    <a:pt x="350044" y="682752"/>
                  </a:lnTo>
                  <a:lnTo>
                    <a:pt x="345091" y="681800"/>
                  </a:lnTo>
                  <a:lnTo>
                    <a:pt x="341947" y="682180"/>
                  </a:lnTo>
                  <a:lnTo>
                    <a:pt x="334899" y="689515"/>
                  </a:lnTo>
                  <a:lnTo>
                    <a:pt x="332708" y="685038"/>
                  </a:lnTo>
                  <a:lnTo>
                    <a:pt x="329374" y="683800"/>
                  </a:lnTo>
                  <a:lnTo>
                    <a:pt x="324803" y="673132"/>
                  </a:lnTo>
                  <a:lnTo>
                    <a:pt x="323945" y="666845"/>
                  </a:lnTo>
                  <a:lnTo>
                    <a:pt x="321945" y="663893"/>
                  </a:lnTo>
                  <a:lnTo>
                    <a:pt x="318611" y="662750"/>
                  </a:lnTo>
                  <a:lnTo>
                    <a:pt x="316039" y="667893"/>
                  </a:lnTo>
                  <a:lnTo>
                    <a:pt x="316611" y="659797"/>
                  </a:lnTo>
                  <a:lnTo>
                    <a:pt x="314230" y="653701"/>
                  </a:lnTo>
                  <a:lnTo>
                    <a:pt x="305753" y="649891"/>
                  </a:lnTo>
                  <a:lnTo>
                    <a:pt x="306705" y="645033"/>
                  </a:lnTo>
                  <a:lnTo>
                    <a:pt x="309944" y="644557"/>
                  </a:lnTo>
                  <a:lnTo>
                    <a:pt x="307467" y="638461"/>
                  </a:lnTo>
                  <a:lnTo>
                    <a:pt x="312230" y="637889"/>
                  </a:lnTo>
                  <a:lnTo>
                    <a:pt x="313468" y="634555"/>
                  </a:lnTo>
                  <a:lnTo>
                    <a:pt x="319183" y="629031"/>
                  </a:lnTo>
                  <a:lnTo>
                    <a:pt x="318897" y="627412"/>
                  </a:lnTo>
                  <a:lnTo>
                    <a:pt x="319945" y="622459"/>
                  </a:lnTo>
                  <a:lnTo>
                    <a:pt x="321659" y="623888"/>
                  </a:lnTo>
                  <a:lnTo>
                    <a:pt x="323088" y="622078"/>
                  </a:lnTo>
                  <a:lnTo>
                    <a:pt x="322707" y="618934"/>
                  </a:lnTo>
                  <a:lnTo>
                    <a:pt x="324993" y="612172"/>
                  </a:lnTo>
                  <a:lnTo>
                    <a:pt x="316706" y="610076"/>
                  </a:lnTo>
                  <a:lnTo>
                    <a:pt x="317849" y="606647"/>
                  </a:lnTo>
                  <a:lnTo>
                    <a:pt x="315563" y="600551"/>
                  </a:lnTo>
                  <a:lnTo>
                    <a:pt x="323183" y="597980"/>
                  </a:lnTo>
                  <a:lnTo>
                    <a:pt x="322802" y="594836"/>
                  </a:lnTo>
                  <a:lnTo>
                    <a:pt x="327374" y="592646"/>
                  </a:lnTo>
                  <a:lnTo>
                    <a:pt x="328327" y="587693"/>
                  </a:lnTo>
                  <a:lnTo>
                    <a:pt x="334613" y="586930"/>
                  </a:lnTo>
                  <a:lnTo>
                    <a:pt x="336804" y="578644"/>
                  </a:lnTo>
                  <a:lnTo>
                    <a:pt x="338519" y="579977"/>
                  </a:lnTo>
                  <a:lnTo>
                    <a:pt x="341090" y="574834"/>
                  </a:lnTo>
                  <a:lnTo>
                    <a:pt x="339090" y="571881"/>
                  </a:lnTo>
                  <a:lnTo>
                    <a:pt x="341852" y="568357"/>
                  </a:lnTo>
                  <a:lnTo>
                    <a:pt x="339471" y="562261"/>
                  </a:lnTo>
                  <a:lnTo>
                    <a:pt x="339280" y="560642"/>
                  </a:lnTo>
                  <a:lnTo>
                    <a:pt x="335185" y="553212"/>
                  </a:lnTo>
                  <a:lnTo>
                    <a:pt x="320516" y="539020"/>
                  </a:lnTo>
                  <a:lnTo>
                    <a:pt x="312039" y="535305"/>
                  </a:lnTo>
                  <a:lnTo>
                    <a:pt x="309658" y="529114"/>
                  </a:lnTo>
                  <a:lnTo>
                    <a:pt x="311182" y="528923"/>
                  </a:lnTo>
                  <a:lnTo>
                    <a:pt x="320040" y="523018"/>
                  </a:lnTo>
                  <a:lnTo>
                    <a:pt x="320802" y="516541"/>
                  </a:lnTo>
                  <a:lnTo>
                    <a:pt x="318421" y="510349"/>
                  </a:lnTo>
                  <a:lnTo>
                    <a:pt x="316801" y="497776"/>
                  </a:lnTo>
                  <a:lnTo>
                    <a:pt x="325279" y="488632"/>
                  </a:lnTo>
                  <a:lnTo>
                    <a:pt x="329851" y="473678"/>
                  </a:lnTo>
                  <a:lnTo>
                    <a:pt x="337471" y="471107"/>
                  </a:lnTo>
                  <a:lnTo>
                    <a:pt x="342995" y="463963"/>
                  </a:lnTo>
                  <a:lnTo>
                    <a:pt x="345567" y="458819"/>
                  </a:lnTo>
                  <a:lnTo>
                    <a:pt x="353282" y="456247"/>
                  </a:lnTo>
                  <a:lnTo>
                    <a:pt x="360521" y="437674"/>
                  </a:lnTo>
                  <a:lnTo>
                    <a:pt x="359473" y="429768"/>
                  </a:lnTo>
                  <a:lnTo>
                    <a:pt x="357092" y="423672"/>
                  </a:lnTo>
                  <a:lnTo>
                    <a:pt x="357473" y="414052"/>
                  </a:lnTo>
                  <a:lnTo>
                    <a:pt x="349948" y="392525"/>
                  </a:lnTo>
                  <a:lnTo>
                    <a:pt x="365665" y="377666"/>
                  </a:lnTo>
                  <a:lnTo>
                    <a:pt x="369665" y="370808"/>
                  </a:lnTo>
                  <a:lnTo>
                    <a:pt x="365665" y="364903"/>
                  </a:lnTo>
                  <a:lnTo>
                    <a:pt x="364236" y="353854"/>
                  </a:lnTo>
                  <a:lnTo>
                    <a:pt x="361664" y="346138"/>
                  </a:lnTo>
                  <a:lnTo>
                    <a:pt x="371951" y="338423"/>
                  </a:lnTo>
                  <a:lnTo>
                    <a:pt x="375095" y="338042"/>
                  </a:lnTo>
                  <a:lnTo>
                    <a:pt x="383096" y="325755"/>
                  </a:lnTo>
                  <a:lnTo>
                    <a:pt x="387287" y="320421"/>
                  </a:lnTo>
                  <a:lnTo>
                    <a:pt x="392335" y="310134"/>
                  </a:lnTo>
                  <a:lnTo>
                    <a:pt x="397669" y="314230"/>
                  </a:lnTo>
                  <a:lnTo>
                    <a:pt x="400717" y="312325"/>
                  </a:lnTo>
                  <a:lnTo>
                    <a:pt x="405003" y="308515"/>
                  </a:lnTo>
                  <a:lnTo>
                    <a:pt x="404241" y="302228"/>
                  </a:lnTo>
                  <a:lnTo>
                    <a:pt x="408146" y="295275"/>
                  </a:lnTo>
                  <a:lnTo>
                    <a:pt x="414052" y="291370"/>
                  </a:lnTo>
                  <a:lnTo>
                    <a:pt x="427672" y="297656"/>
                  </a:lnTo>
                  <a:lnTo>
                    <a:pt x="434912" y="291846"/>
                  </a:lnTo>
                  <a:lnTo>
                    <a:pt x="442246" y="273272"/>
                  </a:lnTo>
                  <a:lnTo>
                    <a:pt x="450723" y="264223"/>
                  </a:lnTo>
                  <a:lnTo>
                    <a:pt x="453962" y="252603"/>
                  </a:lnTo>
                  <a:lnTo>
                    <a:pt x="455771" y="253936"/>
                  </a:lnTo>
                  <a:lnTo>
                    <a:pt x="463487" y="264223"/>
                  </a:lnTo>
                  <a:lnTo>
                    <a:pt x="468821" y="268319"/>
                  </a:lnTo>
                  <a:lnTo>
                    <a:pt x="471773" y="266319"/>
                  </a:lnTo>
                  <a:lnTo>
                    <a:pt x="480060" y="268510"/>
                  </a:lnTo>
                  <a:lnTo>
                    <a:pt x="485965" y="264509"/>
                  </a:lnTo>
                  <a:lnTo>
                    <a:pt x="485394" y="259842"/>
                  </a:lnTo>
                  <a:lnTo>
                    <a:pt x="488156" y="256222"/>
                  </a:lnTo>
                  <a:lnTo>
                    <a:pt x="487299" y="249936"/>
                  </a:lnTo>
                  <a:lnTo>
                    <a:pt x="488156" y="243459"/>
                  </a:lnTo>
                  <a:lnTo>
                    <a:pt x="485299" y="234124"/>
                  </a:lnTo>
                  <a:lnTo>
                    <a:pt x="487680" y="227457"/>
                  </a:lnTo>
                  <a:lnTo>
                    <a:pt x="489204" y="214408"/>
                  </a:lnTo>
                  <a:lnTo>
                    <a:pt x="487013" y="209836"/>
                  </a:lnTo>
                  <a:lnTo>
                    <a:pt x="489775" y="206311"/>
                  </a:lnTo>
                  <a:lnTo>
                    <a:pt x="481108" y="188214"/>
                  </a:lnTo>
                  <a:lnTo>
                    <a:pt x="472249" y="194119"/>
                  </a:lnTo>
                  <a:lnTo>
                    <a:pt x="469582" y="186404"/>
                  </a:lnTo>
                  <a:lnTo>
                    <a:pt x="459581" y="182880"/>
                  </a:lnTo>
                  <a:lnTo>
                    <a:pt x="445389" y="184690"/>
                  </a:lnTo>
                  <a:lnTo>
                    <a:pt x="442436" y="186690"/>
                  </a:lnTo>
                  <a:lnTo>
                    <a:pt x="441484" y="204406"/>
                  </a:lnTo>
                  <a:lnTo>
                    <a:pt x="435102" y="205264"/>
                  </a:lnTo>
                  <a:lnTo>
                    <a:pt x="431578" y="202501"/>
                  </a:lnTo>
                  <a:lnTo>
                    <a:pt x="428149" y="188500"/>
                  </a:lnTo>
                  <a:lnTo>
                    <a:pt x="424244" y="182594"/>
                  </a:lnTo>
                  <a:lnTo>
                    <a:pt x="431959" y="180022"/>
                  </a:lnTo>
                  <a:lnTo>
                    <a:pt x="429768" y="175450"/>
                  </a:lnTo>
                  <a:lnTo>
                    <a:pt x="430339" y="167354"/>
                  </a:lnTo>
                  <a:lnTo>
                    <a:pt x="435197" y="155543"/>
                  </a:lnTo>
                  <a:lnTo>
                    <a:pt x="429673" y="149828"/>
                  </a:lnTo>
                  <a:lnTo>
                    <a:pt x="426530" y="150209"/>
                  </a:lnTo>
                  <a:lnTo>
                    <a:pt x="423196" y="149066"/>
                  </a:lnTo>
                  <a:lnTo>
                    <a:pt x="425101" y="139160"/>
                  </a:lnTo>
                  <a:lnTo>
                    <a:pt x="430054" y="140113"/>
                  </a:lnTo>
                  <a:lnTo>
                    <a:pt x="432625" y="135064"/>
                  </a:lnTo>
                  <a:lnTo>
                    <a:pt x="430435" y="130492"/>
                  </a:lnTo>
                  <a:lnTo>
                    <a:pt x="414814" y="134112"/>
                  </a:lnTo>
                  <a:lnTo>
                    <a:pt x="406146" y="141637"/>
                  </a:lnTo>
                  <a:lnTo>
                    <a:pt x="398336" y="142589"/>
                  </a:lnTo>
                  <a:lnTo>
                    <a:pt x="389001" y="145351"/>
                  </a:lnTo>
                  <a:lnTo>
                    <a:pt x="378714" y="140303"/>
                  </a:lnTo>
                  <a:lnTo>
                    <a:pt x="371665" y="134779"/>
                  </a:lnTo>
                  <a:lnTo>
                    <a:pt x="359759" y="129826"/>
                  </a:lnTo>
                  <a:lnTo>
                    <a:pt x="357378" y="123730"/>
                  </a:lnTo>
                  <a:lnTo>
                    <a:pt x="350330" y="118205"/>
                  </a:lnTo>
                  <a:lnTo>
                    <a:pt x="343376" y="114300"/>
                  </a:lnTo>
                  <a:lnTo>
                    <a:pt x="335471" y="102489"/>
                  </a:lnTo>
                  <a:lnTo>
                    <a:pt x="326136" y="92488"/>
                  </a:lnTo>
                  <a:lnTo>
                    <a:pt x="324517" y="79819"/>
                  </a:lnTo>
                  <a:lnTo>
                    <a:pt x="328041" y="69723"/>
                  </a:lnTo>
                  <a:lnTo>
                    <a:pt x="321183" y="65818"/>
                  </a:lnTo>
                  <a:lnTo>
                    <a:pt x="314611" y="65056"/>
                  </a:lnTo>
                  <a:lnTo>
                    <a:pt x="310324" y="68770"/>
                  </a:lnTo>
                  <a:lnTo>
                    <a:pt x="299466" y="71818"/>
                  </a:lnTo>
                  <a:lnTo>
                    <a:pt x="295084" y="75533"/>
                  </a:lnTo>
                  <a:lnTo>
                    <a:pt x="293370" y="74200"/>
                  </a:lnTo>
                  <a:lnTo>
                    <a:pt x="285464" y="75152"/>
                  </a:lnTo>
                  <a:lnTo>
                    <a:pt x="272224" y="59245"/>
                  </a:lnTo>
                  <a:lnTo>
                    <a:pt x="264319" y="60198"/>
                  </a:lnTo>
                  <a:lnTo>
                    <a:pt x="262699" y="47625"/>
                  </a:lnTo>
                  <a:lnTo>
                    <a:pt x="257746" y="46672"/>
                  </a:lnTo>
                  <a:lnTo>
                    <a:pt x="245173" y="48292"/>
                  </a:lnTo>
                  <a:lnTo>
                    <a:pt x="243935" y="51625"/>
                  </a:lnTo>
                  <a:lnTo>
                    <a:pt x="222409" y="46291"/>
                  </a:lnTo>
                  <a:lnTo>
                    <a:pt x="211550" y="36481"/>
                  </a:lnTo>
                  <a:lnTo>
                    <a:pt x="206883" y="37052"/>
                  </a:lnTo>
                  <a:lnTo>
                    <a:pt x="202692" y="29623"/>
                  </a:lnTo>
                  <a:lnTo>
                    <a:pt x="199549" y="30004"/>
                  </a:lnTo>
                  <a:lnTo>
                    <a:pt x="195167" y="33814"/>
                  </a:lnTo>
                  <a:lnTo>
                    <a:pt x="189452" y="26479"/>
                  </a:lnTo>
                  <a:lnTo>
                    <a:pt x="184309" y="23908"/>
                  </a:lnTo>
                  <a:lnTo>
                    <a:pt x="175831" y="33052"/>
                  </a:lnTo>
                  <a:lnTo>
                    <a:pt x="167926" y="34004"/>
                  </a:lnTo>
                  <a:lnTo>
                    <a:pt x="165735" y="29527"/>
                  </a:lnTo>
                  <a:lnTo>
                    <a:pt x="151543" y="18478"/>
                  </a:lnTo>
                  <a:lnTo>
                    <a:pt x="134588" y="11049"/>
                  </a:lnTo>
                  <a:lnTo>
                    <a:pt x="120301" y="0"/>
                  </a:lnTo>
                  <a:lnTo>
                    <a:pt x="118967" y="1810"/>
                  </a:lnTo>
                  <a:lnTo>
                    <a:pt x="115538" y="571"/>
                  </a:lnTo>
                  <a:lnTo>
                    <a:pt x="111633" y="7525"/>
                  </a:lnTo>
                  <a:lnTo>
                    <a:pt x="106680" y="6572"/>
                  </a:lnTo>
                  <a:lnTo>
                    <a:pt x="103727" y="8572"/>
                  </a:lnTo>
                  <a:lnTo>
                    <a:pt x="102965" y="15049"/>
                  </a:lnTo>
                  <a:lnTo>
                    <a:pt x="98679" y="18764"/>
                  </a:lnTo>
                  <a:lnTo>
                    <a:pt x="99441" y="25146"/>
                  </a:lnTo>
                  <a:lnTo>
                    <a:pt x="95536" y="32004"/>
                  </a:lnTo>
                  <a:lnTo>
                    <a:pt x="96298" y="38290"/>
                  </a:lnTo>
                  <a:lnTo>
                    <a:pt x="90678" y="43910"/>
                  </a:lnTo>
                  <a:lnTo>
                    <a:pt x="89630" y="48768"/>
                  </a:lnTo>
                  <a:lnTo>
                    <a:pt x="92773" y="48387"/>
                  </a:lnTo>
                  <a:lnTo>
                    <a:pt x="100108" y="55531"/>
                  </a:lnTo>
                  <a:lnTo>
                    <a:pt x="107061" y="59436"/>
                  </a:lnTo>
                  <a:lnTo>
                    <a:pt x="112204" y="62008"/>
                  </a:lnTo>
                  <a:lnTo>
                    <a:pt x="116300" y="69437"/>
                  </a:lnTo>
                  <a:lnTo>
                    <a:pt x="122491" y="67056"/>
                  </a:lnTo>
                  <a:lnTo>
                    <a:pt x="124396" y="70009"/>
                  </a:lnTo>
                  <a:lnTo>
                    <a:pt x="124873" y="73152"/>
                  </a:lnTo>
                  <a:lnTo>
                    <a:pt x="127063" y="77724"/>
                  </a:lnTo>
                  <a:lnTo>
                    <a:pt x="130397" y="91726"/>
                  </a:lnTo>
                  <a:lnTo>
                    <a:pt x="128016" y="98488"/>
                  </a:lnTo>
                  <a:lnTo>
                    <a:pt x="136588" y="114967"/>
                  </a:lnTo>
                  <a:lnTo>
                    <a:pt x="143923" y="122111"/>
                  </a:lnTo>
                  <a:lnTo>
                    <a:pt x="145256" y="133159"/>
                  </a:lnTo>
                  <a:lnTo>
                    <a:pt x="142589" y="136684"/>
                  </a:lnTo>
                  <a:lnTo>
                    <a:pt x="147066" y="147352"/>
                  </a:lnTo>
                  <a:lnTo>
                    <a:pt x="156210" y="155829"/>
                  </a:lnTo>
                  <a:lnTo>
                    <a:pt x="161163" y="156781"/>
                  </a:lnTo>
                  <a:lnTo>
                    <a:pt x="164116" y="154781"/>
                  </a:lnTo>
                  <a:lnTo>
                    <a:pt x="167259" y="154400"/>
                  </a:lnTo>
                  <a:lnTo>
                    <a:pt x="169640" y="160496"/>
                  </a:lnTo>
                  <a:lnTo>
                    <a:pt x="186595" y="167926"/>
                  </a:lnTo>
                  <a:lnTo>
                    <a:pt x="189547" y="166021"/>
                  </a:lnTo>
                  <a:lnTo>
                    <a:pt x="191357" y="167354"/>
                  </a:lnTo>
                  <a:lnTo>
                    <a:pt x="192214" y="173641"/>
                  </a:lnTo>
                  <a:lnTo>
                    <a:pt x="195739" y="176403"/>
                  </a:lnTo>
                  <a:lnTo>
                    <a:pt x="204406" y="194596"/>
                  </a:lnTo>
                  <a:lnTo>
                    <a:pt x="202882" y="207550"/>
                  </a:lnTo>
                  <a:lnTo>
                    <a:pt x="198977" y="214503"/>
                  </a:lnTo>
                  <a:lnTo>
                    <a:pt x="193072" y="218503"/>
                  </a:lnTo>
                  <a:lnTo>
                    <a:pt x="191929" y="221837"/>
                  </a:lnTo>
                  <a:lnTo>
                    <a:pt x="199168" y="228886"/>
                  </a:lnTo>
                  <a:lnTo>
                    <a:pt x="198596" y="236982"/>
                  </a:lnTo>
                  <a:lnTo>
                    <a:pt x="211455" y="249745"/>
                  </a:lnTo>
                  <a:lnTo>
                    <a:pt x="207169" y="253555"/>
                  </a:lnTo>
                  <a:lnTo>
                    <a:pt x="203454" y="262033"/>
                  </a:lnTo>
                  <a:lnTo>
                    <a:pt x="192596" y="265081"/>
                  </a:lnTo>
                  <a:lnTo>
                    <a:pt x="190976" y="265271"/>
                  </a:lnTo>
                  <a:lnTo>
                    <a:pt x="186214" y="252984"/>
                  </a:lnTo>
                  <a:lnTo>
                    <a:pt x="180499" y="245745"/>
                  </a:lnTo>
                  <a:lnTo>
                    <a:pt x="179261" y="236220"/>
                  </a:lnTo>
                  <a:lnTo>
                    <a:pt x="174117" y="233743"/>
                  </a:lnTo>
                  <a:lnTo>
                    <a:pt x="165449" y="241173"/>
                  </a:lnTo>
                  <a:lnTo>
                    <a:pt x="166116" y="245936"/>
                  </a:lnTo>
                  <a:lnTo>
                    <a:pt x="168116" y="248888"/>
                  </a:lnTo>
                  <a:lnTo>
                    <a:pt x="163925" y="254222"/>
                  </a:lnTo>
                  <a:lnTo>
                    <a:pt x="162782" y="257556"/>
                  </a:lnTo>
                  <a:lnTo>
                    <a:pt x="158210" y="259747"/>
                  </a:lnTo>
                  <a:lnTo>
                    <a:pt x="154686" y="256984"/>
                  </a:lnTo>
                  <a:lnTo>
                    <a:pt x="142018" y="258604"/>
                  </a:lnTo>
                  <a:lnTo>
                    <a:pt x="140113" y="255651"/>
                  </a:lnTo>
                  <a:lnTo>
                    <a:pt x="135160" y="254698"/>
                  </a:lnTo>
                  <a:lnTo>
                    <a:pt x="122872" y="259461"/>
                  </a:lnTo>
                  <a:lnTo>
                    <a:pt x="121920" y="264414"/>
                  </a:lnTo>
                  <a:lnTo>
                    <a:pt x="115824" y="266795"/>
                  </a:lnTo>
                  <a:lnTo>
                    <a:pt x="111728" y="272129"/>
                  </a:lnTo>
                  <a:lnTo>
                    <a:pt x="112871" y="281559"/>
                  </a:lnTo>
                  <a:lnTo>
                    <a:pt x="111919" y="286512"/>
                  </a:lnTo>
                  <a:lnTo>
                    <a:pt x="105823" y="288893"/>
                  </a:lnTo>
                  <a:lnTo>
                    <a:pt x="99250" y="288131"/>
                  </a:lnTo>
                  <a:lnTo>
                    <a:pt x="98488" y="294608"/>
                  </a:lnTo>
                  <a:lnTo>
                    <a:pt x="100679" y="299180"/>
                  </a:lnTo>
                  <a:lnTo>
                    <a:pt x="99727" y="304133"/>
                  </a:lnTo>
                  <a:lnTo>
                    <a:pt x="100774" y="312039"/>
                  </a:lnTo>
                  <a:lnTo>
                    <a:pt x="98203" y="317182"/>
                  </a:lnTo>
                  <a:lnTo>
                    <a:pt x="90869" y="322897"/>
                  </a:lnTo>
                  <a:lnTo>
                    <a:pt x="90106" y="329374"/>
                  </a:lnTo>
                  <a:lnTo>
                    <a:pt x="86392" y="337947"/>
                  </a:lnTo>
                  <a:lnTo>
                    <a:pt x="85820" y="345948"/>
                  </a:lnTo>
                  <a:lnTo>
                    <a:pt x="83058" y="349567"/>
                  </a:lnTo>
                  <a:lnTo>
                    <a:pt x="81153" y="359378"/>
                  </a:lnTo>
                  <a:lnTo>
                    <a:pt x="81915" y="365760"/>
                  </a:lnTo>
                  <a:lnTo>
                    <a:pt x="79534" y="372428"/>
                  </a:lnTo>
                  <a:lnTo>
                    <a:pt x="78010" y="372618"/>
                  </a:lnTo>
                  <a:lnTo>
                    <a:pt x="77343" y="367951"/>
                  </a:lnTo>
                  <a:lnTo>
                    <a:pt x="74200" y="368332"/>
                  </a:lnTo>
                  <a:lnTo>
                    <a:pt x="76009" y="382524"/>
                  </a:lnTo>
                  <a:lnTo>
                    <a:pt x="70295" y="388048"/>
                  </a:lnTo>
                  <a:lnTo>
                    <a:pt x="62484" y="389096"/>
                  </a:lnTo>
                  <a:lnTo>
                    <a:pt x="61055" y="390811"/>
                  </a:lnTo>
                  <a:lnTo>
                    <a:pt x="63055" y="393763"/>
                  </a:lnTo>
                  <a:lnTo>
                    <a:pt x="69628" y="407384"/>
                  </a:lnTo>
                  <a:lnTo>
                    <a:pt x="70390" y="413671"/>
                  </a:lnTo>
                  <a:lnTo>
                    <a:pt x="74200" y="418052"/>
                  </a:lnTo>
                  <a:lnTo>
                    <a:pt x="66865" y="423767"/>
                  </a:lnTo>
                  <a:lnTo>
                    <a:pt x="60007" y="432625"/>
                  </a:lnTo>
                  <a:lnTo>
                    <a:pt x="57436" y="437769"/>
                  </a:lnTo>
                  <a:lnTo>
                    <a:pt x="68294" y="447675"/>
                  </a:lnTo>
                  <a:lnTo>
                    <a:pt x="64389" y="454533"/>
                  </a:lnTo>
                  <a:lnTo>
                    <a:pt x="72104" y="464820"/>
                  </a:lnTo>
                  <a:lnTo>
                    <a:pt x="66199" y="468725"/>
                  </a:lnTo>
                  <a:lnTo>
                    <a:pt x="65246" y="473678"/>
                  </a:lnTo>
                  <a:lnTo>
                    <a:pt x="65627" y="476821"/>
                  </a:lnTo>
                  <a:lnTo>
                    <a:pt x="64389" y="480250"/>
                  </a:lnTo>
                  <a:lnTo>
                    <a:pt x="56579" y="481203"/>
                  </a:lnTo>
                  <a:lnTo>
                    <a:pt x="55340" y="484537"/>
                  </a:lnTo>
                  <a:lnTo>
                    <a:pt x="46291" y="488918"/>
                  </a:lnTo>
                  <a:lnTo>
                    <a:pt x="43910" y="495681"/>
                  </a:lnTo>
                  <a:lnTo>
                    <a:pt x="39053" y="494728"/>
                  </a:lnTo>
                  <a:lnTo>
                    <a:pt x="37814" y="498062"/>
                  </a:lnTo>
                  <a:lnTo>
                    <a:pt x="38671" y="504349"/>
                  </a:lnTo>
                  <a:lnTo>
                    <a:pt x="37433" y="507682"/>
                  </a:lnTo>
                  <a:lnTo>
                    <a:pt x="33147" y="511492"/>
                  </a:lnTo>
                  <a:lnTo>
                    <a:pt x="29242" y="518350"/>
                  </a:lnTo>
                  <a:lnTo>
                    <a:pt x="29432" y="519970"/>
                  </a:lnTo>
                  <a:lnTo>
                    <a:pt x="24860" y="522160"/>
                  </a:lnTo>
                  <a:lnTo>
                    <a:pt x="19145" y="514826"/>
                  </a:lnTo>
                  <a:lnTo>
                    <a:pt x="6096" y="513302"/>
                  </a:lnTo>
                  <a:lnTo>
                    <a:pt x="0" y="515684"/>
                  </a:lnTo>
                  <a:lnTo>
                    <a:pt x="3810" y="532829"/>
                  </a:lnTo>
                  <a:lnTo>
                    <a:pt x="9144" y="537019"/>
                  </a:lnTo>
                  <a:lnTo>
                    <a:pt x="13049" y="542925"/>
                  </a:lnTo>
                  <a:lnTo>
                    <a:pt x="12097" y="547783"/>
                  </a:lnTo>
                  <a:lnTo>
                    <a:pt x="17621" y="553498"/>
                  </a:lnTo>
                  <a:lnTo>
                    <a:pt x="15526" y="561784"/>
                  </a:lnTo>
                  <a:lnTo>
                    <a:pt x="15145" y="571500"/>
                  </a:lnTo>
                  <a:lnTo>
                    <a:pt x="15716" y="576263"/>
                  </a:lnTo>
                  <a:lnTo>
                    <a:pt x="20860" y="578834"/>
                  </a:lnTo>
                  <a:lnTo>
                    <a:pt x="22288" y="589788"/>
                  </a:lnTo>
                  <a:lnTo>
                    <a:pt x="29146" y="593788"/>
                  </a:lnTo>
                  <a:lnTo>
                    <a:pt x="25432" y="602266"/>
                  </a:lnTo>
                  <a:lnTo>
                    <a:pt x="33909" y="605980"/>
                  </a:lnTo>
                  <a:lnTo>
                    <a:pt x="31432" y="611124"/>
                  </a:lnTo>
                  <a:lnTo>
                    <a:pt x="33623" y="615696"/>
                  </a:lnTo>
                  <a:lnTo>
                    <a:pt x="31051" y="620744"/>
                  </a:lnTo>
                  <a:lnTo>
                    <a:pt x="31813" y="627126"/>
                  </a:lnTo>
                  <a:lnTo>
                    <a:pt x="33814" y="630079"/>
                  </a:lnTo>
                  <a:lnTo>
                    <a:pt x="29908" y="636937"/>
                  </a:lnTo>
                  <a:lnTo>
                    <a:pt x="36195" y="649034"/>
                  </a:lnTo>
                  <a:lnTo>
                    <a:pt x="37243" y="656844"/>
                  </a:lnTo>
                  <a:lnTo>
                    <a:pt x="43910" y="659225"/>
                  </a:lnTo>
                  <a:lnTo>
                    <a:pt x="40957" y="661226"/>
                  </a:lnTo>
                  <a:lnTo>
                    <a:pt x="42767" y="662559"/>
                  </a:lnTo>
                  <a:lnTo>
                    <a:pt x="33909" y="668560"/>
                  </a:lnTo>
                  <a:lnTo>
                    <a:pt x="30766" y="668941"/>
                  </a:lnTo>
                  <a:lnTo>
                    <a:pt x="24860" y="672941"/>
                  </a:lnTo>
                  <a:lnTo>
                    <a:pt x="22098" y="676465"/>
                  </a:lnTo>
                  <a:lnTo>
                    <a:pt x="22098" y="689324"/>
                  </a:lnTo>
                  <a:lnTo>
                    <a:pt x="21336" y="695801"/>
                  </a:lnTo>
                  <a:lnTo>
                    <a:pt x="24860" y="698563"/>
                  </a:lnTo>
                  <a:lnTo>
                    <a:pt x="20955" y="705422"/>
                  </a:lnTo>
                  <a:lnTo>
                    <a:pt x="23527" y="713137"/>
                  </a:lnTo>
                  <a:lnTo>
                    <a:pt x="28480" y="714089"/>
                  </a:lnTo>
                  <a:lnTo>
                    <a:pt x="28670" y="715709"/>
                  </a:lnTo>
                  <a:lnTo>
                    <a:pt x="32290" y="718471"/>
                  </a:lnTo>
                  <a:lnTo>
                    <a:pt x="34195" y="721423"/>
                  </a:lnTo>
                  <a:lnTo>
                    <a:pt x="39338" y="723995"/>
                  </a:lnTo>
                  <a:lnTo>
                    <a:pt x="36576" y="727519"/>
                  </a:lnTo>
                  <a:lnTo>
                    <a:pt x="38957" y="733615"/>
                  </a:lnTo>
                  <a:lnTo>
                    <a:pt x="36671" y="740378"/>
                  </a:lnTo>
                  <a:lnTo>
                    <a:pt x="44767" y="753713"/>
                  </a:lnTo>
                  <a:lnTo>
                    <a:pt x="56483" y="769906"/>
                  </a:lnTo>
                  <a:lnTo>
                    <a:pt x="61817" y="774001"/>
                  </a:lnTo>
                  <a:lnTo>
                    <a:pt x="66675" y="775049"/>
                  </a:lnTo>
                  <a:lnTo>
                    <a:pt x="70675" y="780955"/>
                  </a:lnTo>
                  <a:lnTo>
                    <a:pt x="67723" y="782860"/>
                  </a:lnTo>
                  <a:lnTo>
                    <a:pt x="68104" y="786098"/>
                  </a:lnTo>
                  <a:lnTo>
                    <a:pt x="68294" y="787622"/>
                  </a:lnTo>
                  <a:lnTo>
                    <a:pt x="63817" y="789813"/>
                  </a:lnTo>
                  <a:lnTo>
                    <a:pt x="64008" y="791432"/>
                  </a:lnTo>
                  <a:lnTo>
                    <a:pt x="73247" y="801434"/>
                  </a:lnTo>
                  <a:lnTo>
                    <a:pt x="78391" y="804005"/>
                  </a:lnTo>
                  <a:lnTo>
                    <a:pt x="74676" y="812483"/>
                  </a:lnTo>
                  <a:lnTo>
                    <a:pt x="71533" y="812863"/>
                  </a:lnTo>
                  <a:lnTo>
                    <a:pt x="67628" y="819817"/>
                  </a:lnTo>
                  <a:lnTo>
                    <a:pt x="63246" y="823531"/>
                  </a:lnTo>
                  <a:lnTo>
                    <a:pt x="65437" y="828104"/>
                  </a:lnTo>
                  <a:lnTo>
                    <a:pt x="68580" y="827722"/>
                  </a:lnTo>
                  <a:lnTo>
                    <a:pt x="73342" y="827056"/>
                  </a:lnTo>
                  <a:lnTo>
                    <a:pt x="74295" y="822198"/>
                  </a:lnTo>
                  <a:lnTo>
                    <a:pt x="79057" y="821531"/>
                  </a:lnTo>
                  <a:lnTo>
                    <a:pt x="79629" y="826294"/>
                  </a:lnTo>
                  <a:lnTo>
                    <a:pt x="81439" y="827627"/>
                  </a:lnTo>
                  <a:lnTo>
                    <a:pt x="86011" y="825437"/>
                  </a:lnTo>
                  <a:lnTo>
                    <a:pt x="92297" y="824675"/>
                  </a:lnTo>
                  <a:lnTo>
                    <a:pt x="96203" y="830580"/>
                  </a:lnTo>
                  <a:lnTo>
                    <a:pt x="103156" y="834485"/>
                  </a:lnTo>
                  <a:lnTo>
                    <a:pt x="102394" y="841058"/>
                  </a:lnTo>
                  <a:lnTo>
                    <a:pt x="98679" y="849535"/>
                  </a:lnTo>
                  <a:lnTo>
                    <a:pt x="100394" y="850868"/>
                  </a:lnTo>
                  <a:lnTo>
                    <a:pt x="100870" y="854012"/>
                  </a:lnTo>
                  <a:lnTo>
                    <a:pt x="103822" y="852106"/>
                  </a:lnTo>
                  <a:lnTo>
                    <a:pt x="104394" y="856774"/>
                  </a:lnTo>
                  <a:lnTo>
                    <a:pt x="101917" y="874776"/>
                  </a:lnTo>
                  <a:lnTo>
                    <a:pt x="104299" y="880872"/>
                  </a:lnTo>
                  <a:lnTo>
                    <a:pt x="98774" y="888016"/>
                  </a:lnTo>
                  <a:lnTo>
                    <a:pt x="95631" y="888397"/>
                  </a:lnTo>
                  <a:lnTo>
                    <a:pt x="89440" y="890778"/>
                  </a:lnTo>
                  <a:lnTo>
                    <a:pt x="91630" y="895350"/>
                  </a:lnTo>
                  <a:lnTo>
                    <a:pt x="90297" y="897064"/>
                  </a:lnTo>
                  <a:lnTo>
                    <a:pt x="88868" y="898874"/>
                  </a:lnTo>
                  <a:lnTo>
                    <a:pt x="82391" y="898112"/>
                  </a:lnTo>
                  <a:lnTo>
                    <a:pt x="78296" y="903446"/>
                  </a:lnTo>
                  <a:lnTo>
                    <a:pt x="78867" y="908209"/>
                  </a:lnTo>
                  <a:lnTo>
                    <a:pt x="74104" y="908780"/>
                  </a:lnTo>
                  <a:lnTo>
                    <a:pt x="75724" y="921448"/>
                  </a:lnTo>
                  <a:lnTo>
                    <a:pt x="74390" y="923163"/>
                  </a:lnTo>
                  <a:lnTo>
                    <a:pt x="75152" y="929545"/>
                  </a:lnTo>
                  <a:lnTo>
                    <a:pt x="81153" y="938403"/>
                  </a:lnTo>
                  <a:lnTo>
                    <a:pt x="88392" y="945451"/>
                  </a:lnTo>
                  <a:lnTo>
                    <a:pt x="87058" y="947261"/>
                  </a:lnTo>
                  <a:lnTo>
                    <a:pt x="83534" y="944499"/>
                  </a:lnTo>
                  <a:lnTo>
                    <a:pt x="83058" y="941356"/>
                  </a:lnTo>
                  <a:lnTo>
                    <a:pt x="81344" y="939927"/>
                  </a:lnTo>
                  <a:lnTo>
                    <a:pt x="81724" y="943070"/>
                  </a:lnTo>
                  <a:lnTo>
                    <a:pt x="80486" y="946499"/>
                  </a:lnTo>
                  <a:lnTo>
                    <a:pt x="78962" y="946690"/>
                  </a:lnTo>
                  <a:lnTo>
                    <a:pt x="78391" y="954786"/>
                  </a:lnTo>
                  <a:lnTo>
                    <a:pt x="74104" y="958501"/>
                  </a:lnTo>
                  <a:lnTo>
                    <a:pt x="77819" y="962787"/>
                  </a:lnTo>
                  <a:lnTo>
                    <a:pt x="76676" y="966216"/>
                  </a:lnTo>
                  <a:lnTo>
                    <a:pt x="73723" y="968216"/>
                  </a:lnTo>
                  <a:lnTo>
                    <a:pt x="76105" y="974312"/>
                  </a:lnTo>
                  <a:lnTo>
                    <a:pt x="77819" y="975646"/>
                  </a:lnTo>
                  <a:lnTo>
                    <a:pt x="71723" y="978027"/>
                  </a:lnTo>
                  <a:lnTo>
                    <a:pt x="72104" y="981170"/>
                  </a:lnTo>
                  <a:lnTo>
                    <a:pt x="67628" y="983361"/>
                  </a:lnTo>
                  <a:lnTo>
                    <a:pt x="65818" y="982027"/>
                  </a:lnTo>
                  <a:lnTo>
                    <a:pt x="65056" y="988505"/>
                  </a:lnTo>
                  <a:lnTo>
                    <a:pt x="70009" y="989457"/>
                  </a:lnTo>
                  <a:lnTo>
                    <a:pt x="72390" y="995648"/>
                  </a:lnTo>
                  <a:lnTo>
                    <a:pt x="75724" y="996791"/>
                  </a:lnTo>
                  <a:lnTo>
                    <a:pt x="74581" y="1000125"/>
                  </a:lnTo>
                  <a:lnTo>
                    <a:pt x="70009" y="1002316"/>
                  </a:lnTo>
                  <a:lnTo>
                    <a:pt x="62294" y="1004888"/>
                  </a:lnTo>
                  <a:lnTo>
                    <a:pt x="60579" y="1003554"/>
                  </a:lnTo>
                  <a:lnTo>
                    <a:pt x="58388" y="998982"/>
                  </a:lnTo>
                  <a:lnTo>
                    <a:pt x="54769" y="996220"/>
                  </a:lnTo>
                  <a:lnTo>
                    <a:pt x="51816" y="998220"/>
                  </a:lnTo>
                  <a:lnTo>
                    <a:pt x="49625" y="993648"/>
                  </a:lnTo>
                  <a:lnTo>
                    <a:pt x="48673" y="998601"/>
                  </a:lnTo>
                  <a:lnTo>
                    <a:pt x="46672" y="995648"/>
                  </a:lnTo>
                  <a:lnTo>
                    <a:pt x="40005" y="993362"/>
                  </a:lnTo>
                  <a:lnTo>
                    <a:pt x="34480" y="987647"/>
                  </a:lnTo>
                  <a:lnTo>
                    <a:pt x="38386" y="993553"/>
                  </a:lnTo>
                  <a:lnTo>
                    <a:pt x="35242" y="993934"/>
                  </a:lnTo>
                  <a:lnTo>
                    <a:pt x="37433" y="998410"/>
                  </a:lnTo>
                  <a:lnTo>
                    <a:pt x="34480" y="1000411"/>
                  </a:lnTo>
                  <a:lnTo>
                    <a:pt x="34671" y="1002030"/>
                  </a:lnTo>
                  <a:lnTo>
                    <a:pt x="37052" y="1008126"/>
                  </a:lnTo>
                  <a:lnTo>
                    <a:pt x="36290" y="1014603"/>
                  </a:lnTo>
                  <a:lnTo>
                    <a:pt x="38100" y="1016032"/>
                  </a:lnTo>
                  <a:lnTo>
                    <a:pt x="41243" y="1015651"/>
                  </a:lnTo>
                  <a:lnTo>
                    <a:pt x="41434" y="1017175"/>
                  </a:lnTo>
                  <a:lnTo>
                    <a:pt x="41624" y="1018794"/>
                  </a:lnTo>
                  <a:lnTo>
                    <a:pt x="38862" y="1022318"/>
                  </a:lnTo>
                  <a:lnTo>
                    <a:pt x="36766" y="1030605"/>
                  </a:lnTo>
                  <a:lnTo>
                    <a:pt x="33814" y="1032605"/>
                  </a:lnTo>
                  <a:lnTo>
                    <a:pt x="31432" y="1039273"/>
                  </a:lnTo>
                  <a:lnTo>
                    <a:pt x="37909" y="1040035"/>
                  </a:lnTo>
                  <a:lnTo>
                    <a:pt x="44101" y="1037654"/>
                  </a:lnTo>
                  <a:lnTo>
                    <a:pt x="47434" y="1038892"/>
                  </a:lnTo>
                  <a:lnTo>
                    <a:pt x="52388" y="1039844"/>
                  </a:lnTo>
                  <a:lnTo>
                    <a:pt x="55340" y="1037844"/>
                  </a:lnTo>
                  <a:lnTo>
                    <a:pt x="62008" y="1040225"/>
                  </a:lnTo>
                  <a:lnTo>
                    <a:pt x="64008" y="1043178"/>
                  </a:lnTo>
                  <a:lnTo>
                    <a:pt x="72676" y="1048512"/>
                  </a:lnTo>
                  <a:lnTo>
                    <a:pt x="80772" y="1049084"/>
                  </a:lnTo>
                  <a:lnTo>
                    <a:pt x="85154" y="1045273"/>
                  </a:lnTo>
                  <a:lnTo>
                    <a:pt x="83725" y="1047083"/>
                  </a:lnTo>
                  <a:lnTo>
                    <a:pt x="84106" y="1050227"/>
                  </a:lnTo>
                  <a:lnTo>
                    <a:pt x="85344" y="1046893"/>
                  </a:lnTo>
                  <a:lnTo>
                    <a:pt x="87058" y="1048226"/>
                  </a:lnTo>
                  <a:lnTo>
                    <a:pt x="92012" y="1049274"/>
                  </a:lnTo>
                  <a:lnTo>
                    <a:pt x="92202" y="1050798"/>
                  </a:lnTo>
                  <a:lnTo>
                    <a:pt x="95155" y="1048798"/>
                  </a:lnTo>
                  <a:lnTo>
                    <a:pt x="96964" y="1050227"/>
                  </a:lnTo>
                  <a:lnTo>
                    <a:pt x="98584" y="1050036"/>
                  </a:lnTo>
                  <a:lnTo>
                    <a:pt x="97155" y="1051751"/>
                  </a:lnTo>
                  <a:lnTo>
                    <a:pt x="90869" y="1052608"/>
                  </a:lnTo>
                  <a:lnTo>
                    <a:pt x="85725" y="1050036"/>
                  </a:lnTo>
                  <a:lnTo>
                    <a:pt x="81153" y="1052227"/>
                  </a:lnTo>
                  <a:lnTo>
                    <a:pt x="77248" y="1059085"/>
                  </a:lnTo>
                  <a:lnTo>
                    <a:pt x="79248" y="1062133"/>
                  </a:lnTo>
                  <a:lnTo>
                    <a:pt x="80200" y="1069943"/>
                  </a:lnTo>
                  <a:lnTo>
                    <a:pt x="78867" y="1071753"/>
                  </a:lnTo>
                  <a:lnTo>
                    <a:pt x="75914" y="1073753"/>
                  </a:lnTo>
                  <a:lnTo>
                    <a:pt x="72580" y="1072515"/>
                  </a:lnTo>
                  <a:lnTo>
                    <a:pt x="66865" y="1078135"/>
                  </a:lnTo>
                  <a:lnTo>
                    <a:pt x="68866" y="1081088"/>
                  </a:lnTo>
                  <a:lnTo>
                    <a:pt x="65532" y="1092708"/>
                  </a:lnTo>
                  <a:lnTo>
                    <a:pt x="69247" y="1096994"/>
                  </a:lnTo>
                  <a:lnTo>
                    <a:pt x="70104" y="1103376"/>
                  </a:lnTo>
                  <a:lnTo>
                    <a:pt x="72009" y="1106329"/>
                  </a:lnTo>
                  <a:lnTo>
                    <a:pt x="72676" y="1110996"/>
                  </a:lnTo>
                  <a:lnTo>
                    <a:pt x="76581" y="1116902"/>
                  </a:lnTo>
                  <a:lnTo>
                    <a:pt x="76771" y="1118521"/>
                  </a:lnTo>
                  <a:lnTo>
                    <a:pt x="73628" y="1118902"/>
                  </a:lnTo>
                  <a:lnTo>
                    <a:pt x="76962" y="1120140"/>
                  </a:lnTo>
                  <a:lnTo>
                    <a:pt x="76105" y="1137856"/>
                  </a:lnTo>
                  <a:lnTo>
                    <a:pt x="80963" y="1138809"/>
                  </a:lnTo>
                  <a:lnTo>
                    <a:pt x="82963" y="1141762"/>
                  </a:lnTo>
                  <a:lnTo>
                    <a:pt x="89249" y="1141000"/>
                  </a:lnTo>
                  <a:lnTo>
                    <a:pt x="91059" y="1142333"/>
                  </a:lnTo>
                  <a:lnTo>
                    <a:pt x="88963" y="1150620"/>
                  </a:lnTo>
                  <a:lnTo>
                    <a:pt x="92107" y="1150239"/>
                  </a:lnTo>
                  <a:lnTo>
                    <a:pt x="94297" y="1154811"/>
                  </a:lnTo>
                  <a:lnTo>
                    <a:pt x="92869" y="1156526"/>
                  </a:lnTo>
                  <a:lnTo>
                    <a:pt x="97822" y="1157573"/>
                  </a:lnTo>
                  <a:lnTo>
                    <a:pt x="98203" y="1160717"/>
                  </a:lnTo>
                  <a:lnTo>
                    <a:pt x="97250" y="1165669"/>
                  </a:lnTo>
                  <a:lnTo>
                    <a:pt x="95440" y="1164241"/>
                  </a:lnTo>
                  <a:lnTo>
                    <a:pt x="94107" y="1166051"/>
                  </a:lnTo>
                  <a:lnTo>
                    <a:pt x="87821" y="1166813"/>
                  </a:lnTo>
                  <a:lnTo>
                    <a:pt x="86392" y="1168622"/>
                  </a:lnTo>
                  <a:lnTo>
                    <a:pt x="79915" y="1167860"/>
                  </a:lnTo>
                  <a:lnTo>
                    <a:pt x="77343" y="1173004"/>
                  </a:lnTo>
                  <a:lnTo>
                    <a:pt x="77724" y="1176147"/>
                  </a:lnTo>
                  <a:lnTo>
                    <a:pt x="75343" y="1182814"/>
                  </a:lnTo>
                  <a:lnTo>
                    <a:pt x="76200" y="1189196"/>
                  </a:lnTo>
                  <a:lnTo>
                    <a:pt x="79534" y="1190339"/>
                  </a:lnTo>
                  <a:lnTo>
                    <a:pt x="80677" y="1187006"/>
                  </a:lnTo>
                  <a:lnTo>
                    <a:pt x="85630" y="1187958"/>
                  </a:lnTo>
                  <a:lnTo>
                    <a:pt x="83344" y="1194721"/>
                  </a:lnTo>
                  <a:lnTo>
                    <a:pt x="100489" y="1203674"/>
                  </a:lnTo>
                  <a:lnTo>
                    <a:pt x="108013" y="1212342"/>
                  </a:lnTo>
                  <a:lnTo>
                    <a:pt x="118110" y="1215866"/>
                  </a:lnTo>
                  <a:lnTo>
                    <a:pt x="122015" y="1221772"/>
                  </a:lnTo>
                  <a:lnTo>
                    <a:pt x="124968" y="1219867"/>
                  </a:lnTo>
                  <a:lnTo>
                    <a:pt x="124587" y="1216723"/>
                  </a:lnTo>
                  <a:lnTo>
                    <a:pt x="129730" y="1206437"/>
                  </a:lnTo>
                  <a:lnTo>
                    <a:pt x="135636" y="1202436"/>
                  </a:lnTo>
                  <a:lnTo>
                    <a:pt x="140303" y="1201864"/>
                  </a:lnTo>
                  <a:lnTo>
                    <a:pt x="144685" y="1198055"/>
                  </a:lnTo>
                  <a:lnTo>
                    <a:pt x="148019" y="1199293"/>
                  </a:lnTo>
                  <a:lnTo>
                    <a:pt x="144304" y="1194911"/>
                  </a:lnTo>
                  <a:lnTo>
                    <a:pt x="145066" y="1188434"/>
                  </a:lnTo>
                  <a:lnTo>
                    <a:pt x="144875" y="1186815"/>
                  </a:lnTo>
                  <a:lnTo>
                    <a:pt x="144208" y="1182052"/>
                  </a:lnTo>
                  <a:lnTo>
                    <a:pt x="145828" y="1181862"/>
                  </a:lnTo>
                  <a:lnTo>
                    <a:pt x="148971" y="1168718"/>
                  </a:lnTo>
                  <a:lnTo>
                    <a:pt x="152876" y="1174623"/>
                  </a:lnTo>
                  <a:lnTo>
                    <a:pt x="155829" y="1172623"/>
                  </a:lnTo>
                  <a:lnTo>
                    <a:pt x="161544" y="1167098"/>
                  </a:lnTo>
                  <a:lnTo>
                    <a:pt x="154210" y="1159955"/>
                  </a:lnTo>
                  <a:lnTo>
                    <a:pt x="155067" y="1153477"/>
                  </a:lnTo>
                  <a:lnTo>
                    <a:pt x="153257" y="1152049"/>
                  </a:lnTo>
                  <a:lnTo>
                    <a:pt x="144971" y="1149953"/>
                  </a:lnTo>
                  <a:lnTo>
                    <a:pt x="142970" y="1147001"/>
                  </a:lnTo>
                  <a:lnTo>
                    <a:pt x="144113" y="1143572"/>
                  </a:lnTo>
                  <a:lnTo>
                    <a:pt x="148685" y="1141476"/>
                  </a:lnTo>
                  <a:lnTo>
                    <a:pt x="148495" y="1139857"/>
                  </a:lnTo>
                  <a:lnTo>
                    <a:pt x="149638" y="1136523"/>
                  </a:lnTo>
                  <a:lnTo>
                    <a:pt x="146304" y="1135285"/>
                  </a:lnTo>
                  <a:lnTo>
                    <a:pt x="145923" y="1132142"/>
                  </a:lnTo>
                  <a:lnTo>
                    <a:pt x="141161" y="1132808"/>
                  </a:lnTo>
                  <a:lnTo>
                    <a:pt x="139827" y="1134523"/>
                  </a:lnTo>
                  <a:lnTo>
                    <a:pt x="139160" y="1129856"/>
                  </a:lnTo>
                  <a:lnTo>
                    <a:pt x="137636" y="1130046"/>
                  </a:lnTo>
                  <a:lnTo>
                    <a:pt x="135255" y="1123950"/>
                  </a:lnTo>
                  <a:lnTo>
                    <a:pt x="133445" y="1122521"/>
                  </a:lnTo>
                  <a:lnTo>
                    <a:pt x="133255" y="1120997"/>
                  </a:lnTo>
                  <a:lnTo>
                    <a:pt x="130302" y="1122902"/>
                  </a:lnTo>
                  <a:lnTo>
                    <a:pt x="126968" y="1121759"/>
                  </a:lnTo>
                  <a:lnTo>
                    <a:pt x="125349" y="1121950"/>
                  </a:lnTo>
                  <a:lnTo>
                    <a:pt x="127730" y="1115282"/>
                  </a:lnTo>
                  <a:lnTo>
                    <a:pt x="123920" y="1110901"/>
                  </a:lnTo>
                  <a:lnTo>
                    <a:pt x="117634" y="1111758"/>
                  </a:lnTo>
                  <a:lnTo>
                    <a:pt x="121920" y="1107948"/>
                  </a:lnTo>
                  <a:lnTo>
                    <a:pt x="127063" y="1110520"/>
                  </a:lnTo>
                  <a:lnTo>
                    <a:pt x="130016" y="1108519"/>
                  </a:lnTo>
                  <a:lnTo>
                    <a:pt x="131064" y="1103567"/>
                  </a:lnTo>
                  <a:lnTo>
                    <a:pt x="134207" y="1103185"/>
                  </a:lnTo>
                  <a:lnTo>
                    <a:pt x="132397" y="1101852"/>
                  </a:lnTo>
                  <a:lnTo>
                    <a:pt x="130873" y="1102043"/>
                  </a:lnTo>
                  <a:lnTo>
                    <a:pt x="129064" y="1100614"/>
                  </a:lnTo>
                  <a:lnTo>
                    <a:pt x="132016" y="1098709"/>
                  </a:lnTo>
                  <a:lnTo>
                    <a:pt x="136779" y="1098042"/>
                  </a:lnTo>
                  <a:lnTo>
                    <a:pt x="151543" y="1088136"/>
                  </a:lnTo>
                  <a:lnTo>
                    <a:pt x="154876" y="1089374"/>
                  </a:lnTo>
                  <a:lnTo>
                    <a:pt x="157639" y="1085755"/>
                  </a:lnTo>
                  <a:lnTo>
                    <a:pt x="159448" y="1087184"/>
                  </a:lnTo>
                  <a:lnTo>
                    <a:pt x="170497" y="1098614"/>
                  </a:lnTo>
                  <a:lnTo>
                    <a:pt x="174403" y="1091660"/>
                  </a:lnTo>
                  <a:lnTo>
                    <a:pt x="177737" y="1092803"/>
                  </a:lnTo>
                  <a:lnTo>
                    <a:pt x="177927" y="1094423"/>
                  </a:lnTo>
                  <a:lnTo>
                    <a:pt x="181356" y="1095565"/>
                  </a:lnTo>
                  <a:lnTo>
                    <a:pt x="179927" y="1097375"/>
                  </a:lnTo>
                  <a:lnTo>
                    <a:pt x="181928" y="1100328"/>
                  </a:lnTo>
                  <a:lnTo>
                    <a:pt x="188881" y="1104233"/>
                  </a:lnTo>
                  <a:lnTo>
                    <a:pt x="190024" y="1113758"/>
                  </a:lnTo>
                  <a:lnTo>
                    <a:pt x="183737" y="1114520"/>
                  </a:lnTo>
                  <a:lnTo>
                    <a:pt x="185738" y="1117473"/>
                  </a:lnTo>
                  <a:lnTo>
                    <a:pt x="188881" y="1117092"/>
                  </a:lnTo>
                  <a:lnTo>
                    <a:pt x="189452" y="1121759"/>
                  </a:lnTo>
                  <a:lnTo>
                    <a:pt x="200978" y="1123569"/>
                  </a:lnTo>
                  <a:lnTo>
                    <a:pt x="202882" y="1126522"/>
                  </a:lnTo>
                  <a:lnTo>
                    <a:pt x="201549" y="1128331"/>
                  </a:lnTo>
                  <a:lnTo>
                    <a:pt x="196787" y="1128903"/>
                  </a:lnTo>
                  <a:lnTo>
                    <a:pt x="197167" y="1132046"/>
                  </a:lnTo>
                  <a:lnTo>
                    <a:pt x="198787" y="1131856"/>
                  </a:lnTo>
                  <a:lnTo>
                    <a:pt x="202311" y="1134618"/>
                  </a:lnTo>
                  <a:lnTo>
                    <a:pt x="205264" y="1132618"/>
                  </a:lnTo>
                  <a:lnTo>
                    <a:pt x="207264" y="1135571"/>
                  </a:lnTo>
                  <a:lnTo>
                    <a:pt x="209074" y="1136999"/>
                  </a:lnTo>
                  <a:lnTo>
                    <a:pt x="210026" y="1144810"/>
                  </a:lnTo>
                  <a:lnTo>
                    <a:pt x="208502" y="1145096"/>
                  </a:lnTo>
                  <a:lnTo>
                    <a:pt x="208693" y="1146619"/>
                  </a:lnTo>
                  <a:lnTo>
                    <a:pt x="213265" y="1157288"/>
                  </a:lnTo>
                  <a:lnTo>
                    <a:pt x="213836" y="1162050"/>
                  </a:lnTo>
                  <a:lnTo>
                    <a:pt x="213074" y="1168527"/>
                  </a:lnTo>
                  <a:lnTo>
                    <a:pt x="211264" y="1167098"/>
                  </a:lnTo>
                  <a:lnTo>
                    <a:pt x="210121" y="1170527"/>
                  </a:lnTo>
                  <a:lnTo>
                    <a:pt x="217265" y="1175956"/>
                  </a:lnTo>
                  <a:lnTo>
                    <a:pt x="222123" y="1177004"/>
                  </a:lnTo>
                  <a:lnTo>
                    <a:pt x="226695" y="1174814"/>
                  </a:lnTo>
                  <a:lnTo>
                    <a:pt x="227076" y="1177957"/>
                  </a:lnTo>
                  <a:lnTo>
                    <a:pt x="231838" y="1177385"/>
                  </a:lnTo>
                  <a:lnTo>
                    <a:pt x="232220" y="1180529"/>
                  </a:lnTo>
                  <a:lnTo>
                    <a:pt x="229838" y="1187196"/>
                  </a:lnTo>
                  <a:lnTo>
                    <a:pt x="231457" y="1187006"/>
                  </a:lnTo>
                  <a:lnTo>
                    <a:pt x="232029" y="1191768"/>
                  </a:lnTo>
                  <a:lnTo>
                    <a:pt x="228695" y="1190530"/>
                  </a:lnTo>
                  <a:lnTo>
                    <a:pt x="229362" y="1195292"/>
                  </a:lnTo>
                  <a:lnTo>
                    <a:pt x="238792" y="1194149"/>
                  </a:lnTo>
                  <a:lnTo>
                    <a:pt x="236220" y="1199293"/>
                  </a:lnTo>
                  <a:lnTo>
                    <a:pt x="237839" y="1199007"/>
                  </a:lnTo>
                  <a:lnTo>
                    <a:pt x="240221" y="1205198"/>
                  </a:lnTo>
                  <a:lnTo>
                    <a:pt x="243364" y="1204722"/>
                  </a:lnTo>
                  <a:lnTo>
                    <a:pt x="242221" y="1208151"/>
                  </a:lnTo>
                  <a:lnTo>
                    <a:pt x="242792" y="1212818"/>
                  </a:lnTo>
                  <a:lnTo>
                    <a:pt x="245936" y="1212437"/>
                  </a:lnTo>
                  <a:lnTo>
                    <a:pt x="245745" y="1210913"/>
                  </a:lnTo>
                  <a:lnTo>
                    <a:pt x="247269" y="1210627"/>
                  </a:lnTo>
                  <a:lnTo>
                    <a:pt x="252222" y="1211675"/>
                  </a:lnTo>
                  <a:lnTo>
                    <a:pt x="252031" y="1210056"/>
                  </a:lnTo>
                  <a:lnTo>
                    <a:pt x="252031" y="1210056"/>
                  </a:lnTo>
                  <a:lnTo>
                    <a:pt x="254794" y="1206532"/>
                  </a:lnTo>
                  <a:lnTo>
                    <a:pt x="253460" y="1208246"/>
                  </a:lnTo>
                  <a:lnTo>
                    <a:pt x="252984" y="1205103"/>
                  </a:lnTo>
                  <a:lnTo>
                    <a:pt x="251460" y="1205293"/>
                  </a:lnTo>
                  <a:lnTo>
                    <a:pt x="252413" y="1200436"/>
                  </a:lnTo>
                  <a:lnTo>
                    <a:pt x="249079" y="1199198"/>
                  </a:lnTo>
                  <a:lnTo>
                    <a:pt x="253841" y="1198626"/>
                  </a:lnTo>
                  <a:lnTo>
                    <a:pt x="253365" y="1195483"/>
                  </a:lnTo>
                  <a:lnTo>
                    <a:pt x="256127" y="1191863"/>
                  </a:lnTo>
                  <a:lnTo>
                    <a:pt x="253937" y="1187387"/>
                  </a:lnTo>
                  <a:lnTo>
                    <a:pt x="255556" y="1187196"/>
                  </a:lnTo>
                  <a:lnTo>
                    <a:pt x="257746" y="1191673"/>
                  </a:lnTo>
                  <a:lnTo>
                    <a:pt x="260128" y="1197769"/>
                  </a:lnTo>
                  <a:lnTo>
                    <a:pt x="263842" y="1202150"/>
                  </a:lnTo>
                  <a:lnTo>
                    <a:pt x="264700" y="1208437"/>
                  </a:lnTo>
                  <a:lnTo>
                    <a:pt x="260509" y="1213771"/>
                  </a:lnTo>
                  <a:lnTo>
                    <a:pt x="259556" y="1218724"/>
                  </a:lnTo>
                  <a:lnTo>
                    <a:pt x="261556" y="1221677"/>
                  </a:lnTo>
                  <a:lnTo>
                    <a:pt x="258794" y="1225201"/>
                  </a:lnTo>
                  <a:lnTo>
                    <a:pt x="253460" y="1233964"/>
                  </a:lnTo>
                  <a:lnTo>
                    <a:pt x="255461" y="1236917"/>
                  </a:lnTo>
                  <a:lnTo>
                    <a:pt x="255461" y="1236917"/>
                  </a:lnTo>
                  <a:lnTo>
                    <a:pt x="257270" y="1238250"/>
                  </a:lnTo>
                  <a:lnTo>
                    <a:pt x="256222" y="1243203"/>
                  </a:lnTo>
                  <a:lnTo>
                    <a:pt x="251746" y="1245394"/>
                  </a:lnTo>
                  <a:lnTo>
                    <a:pt x="255651" y="1251299"/>
                  </a:lnTo>
                  <a:lnTo>
                    <a:pt x="257080" y="1249489"/>
                  </a:lnTo>
                  <a:lnTo>
                    <a:pt x="267176" y="1253014"/>
                  </a:lnTo>
                  <a:lnTo>
                    <a:pt x="265747" y="1254823"/>
                  </a:lnTo>
                  <a:lnTo>
                    <a:pt x="267748" y="1257776"/>
                  </a:lnTo>
                  <a:lnTo>
                    <a:pt x="274511" y="1260158"/>
                  </a:lnTo>
                  <a:lnTo>
                    <a:pt x="274701" y="1261681"/>
                  </a:lnTo>
                  <a:lnTo>
                    <a:pt x="276225" y="1261491"/>
                  </a:lnTo>
                  <a:lnTo>
                    <a:pt x="279368" y="1261110"/>
                  </a:lnTo>
                  <a:lnTo>
                    <a:pt x="288131" y="1266444"/>
                  </a:lnTo>
                  <a:lnTo>
                    <a:pt x="289465" y="1264634"/>
                  </a:lnTo>
                  <a:lnTo>
                    <a:pt x="292608" y="1264253"/>
                  </a:lnTo>
                  <a:lnTo>
                    <a:pt x="301085" y="1267968"/>
                  </a:lnTo>
                  <a:lnTo>
                    <a:pt x="306038" y="1268921"/>
                  </a:lnTo>
                  <a:lnTo>
                    <a:pt x="304705" y="1270730"/>
                  </a:lnTo>
                  <a:lnTo>
                    <a:pt x="308420" y="1275017"/>
                  </a:lnTo>
                  <a:lnTo>
                    <a:pt x="314420" y="1283875"/>
                  </a:lnTo>
                  <a:lnTo>
                    <a:pt x="322040" y="1281303"/>
                  </a:lnTo>
                  <a:lnTo>
                    <a:pt x="322897" y="1287589"/>
                  </a:lnTo>
                  <a:lnTo>
                    <a:pt x="321659" y="1291018"/>
                  </a:lnTo>
                  <a:lnTo>
                    <a:pt x="321850" y="1292543"/>
                  </a:lnTo>
                  <a:lnTo>
                    <a:pt x="318897" y="1294543"/>
                  </a:lnTo>
                  <a:lnTo>
                    <a:pt x="322897" y="1300448"/>
                  </a:lnTo>
                  <a:lnTo>
                    <a:pt x="325469" y="1308164"/>
                  </a:lnTo>
                  <a:lnTo>
                    <a:pt x="326326" y="1314450"/>
                  </a:lnTo>
                  <a:lnTo>
                    <a:pt x="328517" y="1319022"/>
                  </a:lnTo>
                  <a:lnTo>
                    <a:pt x="329851" y="1317212"/>
                  </a:lnTo>
                  <a:lnTo>
                    <a:pt x="331661" y="1318641"/>
                  </a:lnTo>
                  <a:lnTo>
                    <a:pt x="332232" y="1323308"/>
                  </a:lnTo>
                  <a:lnTo>
                    <a:pt x="334994" y="1332643"/>
                  </a:lnTo>
                  <a:lnTo>
                    <a:pt x="336804" y="1333976"/>
                  </a:lnTo>
                  <a:lnTo>
                    <a:pt x="335661" y="1337310"/>
                  </a:lnTo>
                  <a:lnTo>
                    <a:pt x="338614" y="1335310"/>
                  </a:lnTo>
                  <a:lnTo>
                    <a:pt x="338804" y="1336929"/>
                  </a:lnTo>
                  <a:lnTo>
                    <a:pt x="339185" y="1340072"/>
                  </a:lnTo>
                  <a:lnTo>
                    <a:pt x="337566" y="1340263"/>
                  </a:lnTo>
                  <a:lnTo>
                    <a:pt x="340995" y="1341501"/>
                  </a:lnTo>
                  <a:lnTo>
                    <a:pt x="342900" y="1344454"/>
                  </a:lnTo>
                  <a:lnTo>
                    <a:pt x="346329" y="1345597"/>
                  </a:lnTo>
                  <a:lnTo>
                    <a:pt x="348234" y="1348550"/>
                  </a:lnTo>
                  <a:lnTo>
                    <a:pt x="348044" y="1346930"/>
                  </a:lnTo>
                  <a:lnTo>
                    <a:pt x="349663" y="1346740"/>
                  </a:lnTo>
                  <a:lnTo>
                    <a:pt x="349853" y="1348359"/>
                  </a:lnTo>
                  <a:lnTo>
                    <a:pt x="352425" y="1343215"/>
                  </a:lnTo>
                  <a:lnTo>
                    <a:pt x="352996" y="1335119"/>
                  </a:lnTo>
                  <a:lnTo>
                    <a:pt x="351377" y="1335310"/>
                  </a:lnTo>
                  <a:lnTo>
                    <a:pt x="350615" y="1329023"/>
                  </a:lnTo>
                  <a:lnTo>
                    <a:pt x="354901" y="1325213"/>
                  </a:lnTo>
                  <a:lnTo>
                    <a:pt x="359664" y="1324642"/>
                  </a:lnTo>
                  <a:lnTo>
                    <a:pt x="364236" y="1322451"/>
                  </a:lnTo>
                  <a:lnTo>
                    <a:pt x="358616" y="1316736"/>
                  </a:lnTo>
                  <a:lnTo>
                    <a:pt x="361569" y="1314736"/>
                  </a:lnTo>
                  <a:lnTo>
                    <a:pt x="364807" y="1314355"/>
                  </a:lnTo>
                  <a:lnTo>
                    <a:pt x="367189" y="1320451"/>
                  </a:lnTo>
                  <a:lnTo>
                    <a:pt x="374047" y="1324451"/>
                  </a:lnTo>
                  <a:lnTo>
                    <a:pt x="375475" y="1322642"/>
                  </a:lnTo>
                  <a:lnTo>
                    <a:pt x="376428" y="1317689"/>
                  </a:lnTo>
                  <a:lnTo>
                    <a:pt x="381190" y="1317117"/>
                  </a:lnTo>
                  <a:lnTo>
                    <a:pt x="385667" y="1314926"/>
                  </a:lnTo>
                  <a:lnTo>
                    <a:pt x="387096" y="1313117"/>
                  </a:lnTo>
                  <a:lnTo>
                    <a:pt x="395573" y="1316831"/>
                  </a:lnTo>
                  <a:lnTo>
                    <a:pt x="398526" y="1314926"/>
                  </a:lnTo>
                  <a:lnTo>
                    <a:pt x="403003" y="1312735"/>
                  </a:lnTo>
                  <a:lnTo>
                    <a:pt x="404050" y="1307783"/>
                  </a:lnTo>
                  <a:lnTo>
                    <a:pt x="406241" y="1312259"/>
                  </a:lnTo>
                  <a:lnTo>
                    <a:pt x="407575" y="1310545"/>
                  </a:lnTo>
                  <a:lnTo>
                    <a:pt x="416433" y="1317403"/>
                  </a:lnTo>
                  <a:lnTo>
                    <a:pt x="417671" y="1314069"/>
                  </a:lnTo>
                  <a:lnTo>
                    <a:pt x="421005" y="1315212"/>
                  </a:lnTo>
                  <a:lnTo>
                    <a:pt x="429863" y="1309306"/>
                  </a:lnTo>
                  <a:lnTo>
                    <a:pt x="431292" y="1307497"/>
                  </a:lnTo>
                  <a:lnTo>
                    <a:pt x="429482" y="1306163"/>
                  </a:lnTo>
                  <a:lnTo>
                    <a:pt x="430625" y="1302734"/>
                  </a:lnTo>
                  <a:lnTo>
                    <a:pt x="435007" y="1299019"/>
                  </a:lnTo>
                  <a:lnTo>
                    <a:pt x="436150" y="1295686"/>
                  </a:lnTo>
                  <a:lnTo>
                    <a:pt x="439293" y="1295210"/>
                  </a:lnTo>
                  <a:lnTo>
                    <a:pt x="437293" y="1292257"/>
                  </a:lnTo>
                  <a:lnTo>
                    <a:pt x="440531" y="1291876"/>
                  </a:lnTo>
                  <a:lnTo>
                    <a:pt x="441674" y="1288542"/>
                  </a:lnTo>
                  <a:lnTo>
                    <a:pt x="443198" y="1288352"/>
                  </a:lnTo>
                  <a:lnTo>
                    <a:pt x="445961" y="1271968"/>
                  </a:lnTo>
                  <a:lnTo>
                    <a:pt x="447961" y="1274921"/>
                  </a:lnTo>
                  <a:lnTo>
                    <a:pt x="454057" y="1272540"/>
                  </a:lnTo>
                  <a:lnTo>
                    <a:pt x="453676" y="1269397"/>
                  </a:lnTo>
                  <a:lnTo>
                    <a:pt x="458629" y="1270349"/>
                  </a:lnTo>
                  <a:lnTo>
                    <a:pt x="462344" y="1261872"/>
                  </a:lnTo>
                  <a:lnTo>
                    <a:pt x="465487" y="1261491"/>
                  </a:lnTo>
                  <a:lnTo>
                    <a:pt x="467011" y="1261205"/>
                  </a:lnTo>
                  <a:lnTo>
                    <a:pt x="473392" y="1260443"/>
                  </a:lnTo>
                  <a:lnTo>
                    <a:pt x="470821" y="1252728"/>
                  </a:lnTo>
                  <a:lnTo>
                    <a:pt x="472345" y="1252538"/>
                  </a:lnTo>
                  <a:lnTo>
                    <a:pt x="469773" y="1244822"/>
                  </a:lnTo>
                  <a:lnTo>
                    <a:pt x="469582" y="1243298"/>
                  </a:lnTo>
                  <a:lnTo>
                    <a:pt x="462820" y="1240917"/>
                  </a:lnTo>
                  <a:lnTo>
                    <a:pt x="463867" y="1235964"/>
                  </a:lnTo>
                  <a:lnTo>
                    <a:pt x="459867" y="1230059"/>
                  </a:lnTo>
                  <a:lnTo>
                    <a:pt x="457295" y="1222439"/>
                  </a:lnTo>
                  <a:lnTo>
                    <a:pt x="456724" y="1217676"/>
                  </a:lnTo>
                  <a:lnTo>
                    <a:pt x="456057" y="1212914"/>
                  </a:lnTo>
                  <a:lnTo>
                    <a:pt x="457867" y="1214342"/>
                  </a:lnTo>
                  <a:lnTo>
                    <a:pt x="456819" y="1206437"/>
                  </a:lnTo>
                  <a:lnTo>
                    <a:pt x="461581" y="1205770"/>
                  </a:lnTo>
                  <a:lnTo>
                    <a:pt x="462724" y="1202436"/>
                  </a:lnTo>
                  <a:lnTo>
                    <a:pt x="462534" y="1200912"/>
                  </a:lnTo>
                  <a:lnTo>
                    <a:pt x="465296" y="1197293"/>
                  </a:lnTo>
                  <a:lnTo>
                    <a:pt x="467106" y="1198721"/>
                  </a:lnTo>
                  <a:lnTo>
                    <a:pt x="468249" y="1195292"/>
                  </a:lnTo>
                  <a:lnTo>
                    <a:pt x="466725" y="1195578"/>
                  </a:lnTo>
                  <a:lnTo>
                    <a:pt x="469678" y="1193578"/>
                  </a:lnTo>
                  <a:lnTo>
                    <a:pt x="470249" y="1185481"/>
                  </a:lnTo>
                  <a:lnTo>
                    <a:pt x="476536" y="1184624"/>
                  </a:lnTo>
                  <a:lnTo>
                    <a:pt x="476345" y="1183100"/>
                  </a:lnTo>
                  <a:lnTo>
                    <a:pt x="481108" y="1182529"/>
                  </a:lnTo>
                  <a:lnTo>
                    <a:pt x="480631" y="1179290"/>
                  </a:lnTo>
                  <a:lnTo>
                    <a:pt x="480631" y="1179290"/>
                  </a:lnTo>
                  <a:lnTo>
                    <a:pt x="488156" y="1187958"/>
                  </a:lnTo>
                  <a:lnTo>
                    <a:pt x="491299" y="1187577"/>
                  </a:lnTo>
                  <a:lnTo>
                    <a:pt x="491585" y="1189196"/>
                  </a:lnTo>
                  <a:lnTo>
                    <a:pt x="485870" y="1194721"/>
                  </a:lnTo>
                  <a:lnTo>
                    <a:pt x="485680" y="1205960"/>
                  </a:lnTo>
                  <a:lnTo>
                    <a:pt x="484918" y="1212437"/>
                  </a:lnTo>
                  <a:lnTo>
                    <a:pt x="485299" y="1215581"/>
                  </a:lnTo>
                  <a:lnTo>
                    <a:pt x="493205" y="1214628"/>
                  </a:lnTo>
                  <a:lnTo>
                    <a:pt x="496538" y="1215771"/>
                  </a:lnTo>
                  <a:lnTo>
                    <a:pt x="495300" y="1206341"/>
                  </a:lnTo>
                  <a:lnTo>
                    <a:pt x="507206" y="1211199"/>
                  </a:lnTo>
                  <a:lnTo>
                    <a:pt x="510159" y="1209294"/>
                  </a:lnTo>
                  <a:lnTo>
                    <a:pt x="513874" y="1213580"/>
                  </a:lnTo>
                  <a:lnTo>
                    <a:pt x="512921" y="1218533"/>
                  </a:lnTo>
                  <a:lnTo>
                    <a:pt x="522351" y="1217295"/>
                  </a:lnTo>
                  <a:lnTo>
                    <a:pt x="524542" y="1221867"/>
                  </a:lnTo>
                  <a:lnTo>
                    <a:pt x="525971" y="1220057"/>
                  </a:lnTo>
                  <a:lnTo>
                    <a:pt x="523780" y="1215581"/>
                  </a:lnTo>
                  <a:lnTo>
                    <a:pt x="528733" y="1216533"/>
                  </a:lnTo>
                  <a:lnTo>
                    <a:pt x="528542" y="1214914"/>
                  </a:lnTo>
                  <a:lnTo>
                    <a:pt x="531876" y="1216152"/>
                  </a:lnTo>
                  <a:lnTo>
                    <a:pt x="538163" y="1215295"/>
                  </a:lnTo>
                  <a:lnTo>
                    <a:pt x="537020" y="1218629"/>
                  </a:lnTo>
                  <a:lnTo>
                    <a:pt x="543497" y="1219390"/>
                  </a:lnTo>
                  <a:lnTo>
                    <a:pt x="549212" y="1226725"/>
                  </a:lnTo>
                  <a:lnTo>
                    <a:pt x="549212" y="1226725"/>
                  </a:lnTo>
                  <a:lnTo>
                    <a:pt x="554831" y="1232440"/>
                  </a:lnTo>
                  <a:lnTo>
                    <a:pt x="555974" y="1241869"/>
                  </a:lnTo>
                  <a:lnTo>
                    <a:pt x="556165" y="1243489"/>
                  </a:lnTo>
                  <a:lnTo>
                    <a:pt x="571500" y="1225487"/>
                  </a:lnTo>
                  <a:lnTo>
                    <a:pt x="576834" y="1216819"/>
                  </a:lnTo>
                  <a:lnTo>
                    <a:pt x="579787" y="1214818"/>
                  </a:lnTo>
                  <a:lnTo>
                    <a:pt x="581597" y="1216152"/>
                  </a:lnTo>
                  <a:lnTo>
                    <a:pt x="584359" y="1212628"/>
                  </a:lnTo>
                  <a:lnTo>
                    <a:pt x="584549" y="1201388"/>
                  </a:lnTo>
                  <a:lnTo>
                    <a:pt x="582549" y="1198435"/>
                  </a:lnTo>
                  <a:lnTo>
                    <a:pt x="579406" y="1198817"/>
                  </a:lnTo>
                  <a:lnTo>
                    <a:pt x="583501" y="1193483"/>
                  </a:lnTo>
                  <a:lnTo>
                    <a:pt x="576548" y="1189577"/>
                  </a:lnTo>
                  <a:lnTo>
                    <a:pt x="584930" y="1191673"/>
                  </a:lnTo>
                  <a:lnTo>
                    <a:pt x="584645" y="1190149"/>
                  </a:lnTo>
                  <a:lnTo>
                    <a:pt x="587597" y="1188148"/>
                  </a:lnTo>
                  <a:lnTo>
                    <a:pt x="589788" y="1192721"/>
                  </a:lnTo>
                  <a:lnTo>
                    <a:pt x="589979" y="1194244"/>
                  </a:lnTo>
                  <a:lnTo>
                    <a:pt x="593407" y="1195388"/>
                  </a:lnTo>
                  <a:lnTo>
                    <a:pt x="597313" y="1188530"/>
                  </a:lnTo>
                  <a:lnTo>
                    <a:pt x="600456" y="1188148"/>
                  </a:lnTo>
                  <a:lnTo>
                    <a:pt x="604838" y="1184339"/>
                  </a:lnTo>
                  <a:lnTo>
                    <a:pt x="606742" y="1187291"/>
                  </a:lnTo>
                  <a:lnTo>
                    <a:pt x="620554" y="1182338"/>
                  </a:lnTo>
                  <a:lnTo>
                    <a:pt x="622363" y="1183767"/>
                  </a:lnTo>
                  <a:lnTo>
                    <a:pt x="627126" y="1183100"/>
                  </a:lnTo>
                  <a:lnTo>
                    <a:pt x="630079" y="1181100"/>
                  </a:lnTo>
                  <a:lnTo>
                    <a:pt x="633413" y="1182338"/>
                  </a:lnTo>
                  <a:lnTo>
                    <a:pt x="638747" y="1186434"/>
                  </a:lnTo>
                  <a:lnTo>
                    <a:pt x="639128" y="1189577"/>
                  </a:lnTo>
                  <a:lnTo>
                    <a:pt x="637984" y="1193006"/>
                  </a:lnTo>
                  <a:lnTo>
                    <a:pt x="642271" y="1189196"/>
                  </a:lnTo>
                  <a:lnTo>
                    <a:pt x="644080" y="1190530"/>
                  </a:lnTo>
                  <a:lnTo>
                    <a:pt x="644271" y="1192149"/>
                  </a:lnTo>
                  <a:lnTo>
                    <a:pt x="645890" y="1191959"/>
                  </a:lnTo>
                  <a:lnTo>
                    <a:pt x="650748" y="1192911"/>
                  </a:lnTo>
                  <a:lnTo>
                    <a:pt x="651986" y="1189577"/>
                  </a:lnTo>
                  <a:lnTo>
                    <a:pt x="652367" y="1192721"/>
                  </a:lnTo>
                  <a:lnTo>
                    <a:pt x="653796" y="1190911"/>
                  </a:lnTo>
                  <a:lnTo>
                    <a:pt x="658654" y="1191959"/>
                  </a:lnTo>
                  <a:lnTo>
                    <a:pt x="666179" y="1187768"/>
                  </a:lnTo>
                  <a:lnTo>
                    <a:pt x="666940" y="1181290"/>
                  </a:lnTo>
                  <a:lnTo>
                    <a:pt x="671703" y="1180624"/>
                  </a:lnTo>
                  <a:lnTo>
                    <a:pt x="678561" y="1171765"/>
                  </a:lnTo>
                  <a:lnTo>
                    <a:pt x="674561" y="1165860"/>
                  </a:lnTo>
                  <a:lnTo>
                    <a:pt x="677513" y="1163860"/>
                  </a:lnTo>
                  <a:lnTo>
                    <a:pt x="672179" y="1159764"/>
                  </a:lnTo>
                  <a:lnTo>
                    <a:pt x="668464" y="1155383"/>
                  </a:lnTo>
                  <a:lnTo>
                    <a:pt x="668274" y="1153859"/>
                  </a:lnTo>
                  <a:lnTo>
                    <a:pt x="667703" y="1149096"/>
                  </a:lnTo>
                  <a:lnTo>
                    <a:pt x="658749" y="1142238"/>
                  </a:lnTo>
                  <a:lnTo>
                    <a:pt x="659892" y="1138809"/>
                  </a:lnTo>
                  <a:lnTo>
                    <a:pt x="656368" y="1136047"/>
                  </a:lnTo>
                  <a:lnTo>
                    <a:pt x="659130" y="1132523"/>
                  </a:lnTo>
                  <a:lnTo>
                    <a:pt x="662845" y="1136904"/>
                  </a:lnTo>
                  <a:lnTo>
                    <a:pt x="664083" y="1133475"/>
                  </a:lnTo>
                  <a:lnTo>
                    <a:pt x="668846" y="1132904"/>
                  </a:lnTo>
                  <a:lnTo>
                    <a:pt x="669036" y="1134523"/>
                  </a:lnTo>
                  <a:lnTo>
                    <a:pt x="676465" y="1130332"/>
                  </a:lnTo>
                  <a:lnTo>
                    <a:pt x="682847" y="1142333"/>
                  </a:lnTo>
                  <a:lnTo>
                    <a:pt x="687800" y="1143286"/>
                  </a:lnTo>
                  <a:lnTo>
                    <a:pt x="692087" y="1139571"/>
                  </a:lnTo>
                  <a:lnTo>
                    <a:pt x="689515" y="1131856"/>
                  </a:lnTo>
                  <a:lnTo>
                    <a:pt x="690944" y="1130046"/>
                  </a:lnTo>
                  <a:lnTo>
                    <a:pt x="690277" y="1125379"/>
                  </a:lnTo>
                  <a:lnTo>
                    <a:pt x="693230" y="1123379"/>
                  </a:lnTo>
                  <a:lnTo>
                    <a:pt x="692658" y="1118616"/>
                  </a:lnTo>
                  <a:lnTo>
                    <a:pt x="697135" y="1116425"/>
                  </a:lnTo>
                  <a:lnTo>
                    <a:pt x="702564" y="1120616"/>
                  </a:lnTo>
                  <a:lnTo>
                    <a:pt x="706660" y="1115282"/>
                  </a:lnTo>
                  <a:lnTo>
                    <a:pt x="709231" y="1122902"/>
                  </a:lnTo>
                  <a:lnTo>
                    <a:pt x="716185" y="1126903"/>
                  </a:lnTo>
                  <a:lnTo>
                    <a:pt x="718280" y="1131380"/>
                  </a:lnTo>
                  <a:lnTo>
                    <a:pt x="721519" y="1130998"/>
                  </a:lnTo>
                  <a:lnTo>
                    <a:pt x="718947" y="1136142"/>
                  </a:lnTo>
                  <a:lnTo>
                    <a:pt x="719138" y="1137761"/>
                  </a:lnTo>
                  <a:lnTo>
                    <a:pt x="726091" y="1141667"/>
                  </a:lnTo>
                  <a:lnTo>
                    <a:pt x="724662" y="1143476"/>
                  </a:lnTo>
                  <a:lnTo>
                    <a:pt x="729424" y="1142810"/>
                  </a:lnTo>
                  <a:lnTo>
                    <a:pt x="736473" y="1148334"/>
                  </a:lnTo>
                  <a:lnTo>
                    <a:pt x="739712" y="1147953"/>
                  </a:lnTo>
                  <a:lnTo>
                    <a:pt x="741045" y="1146143"/>
                  </a:lnTo>
                  <a:lnTo>
                    <a:pt x="754856" y="1141190"/>
                  </a:lnTo>
                  <a:lnTo>
                    <a:pt x="757999" y="1140809"/>
                  </a:lnTo>
                  <a:lnTo>
                    <a:pt x="758190" y="1142333"/>
                  </a:lnTo>
                  <a:lnTo>
                    <a:pt x="761333" y="1141952"/>
                  </a:lnTo>
                  <a:lnTo>
                    <a:pt x="763143" y="1143381"/>
                  </a:lnTo>
                  <a:lnTo>
                    <a:pt x="766286" y="1142905"/>
                  </a:lnTo>
                  <a:lnTo>
                    <a:pt x="765905" y="1139762"/>
                  </a:lnTo>
                  <a:lnTo>
                    <a:pt x="767524" y="1139571"/>
                  </a:lnTo>
                  <a:lnTo>
                    <a:pt x="767048" y="1136428"/>
                  </a:lnTo>
                  <a:lnTo>
                    <a:pt x="766477" y="1131665"/>
                  </a:lnTo>
                  <a:lnTo>
                    <a:pt x="770382" y="1124807"/>
                  </a:lnTo>
                  <a:lnTo>
                    <a:pt x="766667" y="1120426"/>
                  </a:lnTo>
                  <a:lnTo>
                    <a:pt x="766477" y="1118902"/>
                  </a:lnTo>
                  <a:lnTo>
                    <a:pt x="773906" y="1114711"/>
                  </a:lnTo>
                  <a:lnTo>
                    <a:pt x="775145" y="1111377"/>
                  </a:lnTo>
                  <a:lnTo>
                    <a:pt x="778097" y="1109377"/>
                  </a:lnTo>
                  <a:lnTo>
                    <a:pt x="776288" y="1107948"/>
                  </a:lnTo>
                  <a:lnTo>
                    <a:pt x="780574" y="1104233"/>
                  </a:lnTo>
                  <a:lnTo>
                    <a:pt x="778002" y="1096518"/>
                  </a:lnTo>
                  <a:lnTo>
                    <a:pt x="772097" y="1087660"/>
                  </a:lnTo>
                  <a:lnTo>
                    <a:pt x="771715" y="1084517"/>
                  </a:lnTo>
                  <a:lnTo>
                    <a:pt x="775240" y="1087279"/>
                  </a:lnTo>
                  <a:lnTo>
                    <a:pt x="778192" y="1085279"/>
                  </a:lnTo>
                  <a:lnTo>
                    <a:pt x="787241" y="1080897"/>
                  </a:lnTo>
                  <a:lnTo>
                    <a:pt x="788480" y="1077563"/>
                  </a:lnTo>
                  <a:lnTo>
                    <a:pt x="787813" y="1072801"/>
                  </a:lnTo>
                  <a:lnTo>
                    <a:pt x="790384" y="1067657"/>
                  </a:lnTo>
                  <a:lnTo>
                    <a:pt x="794004" y="1070419"/>
                  </a:lnTo>
                  <a:lnTo>
                    <a:pt x="807720" y="1065467"/>
                  </a:lnTo>
                  <a:lnTo>
                    <a:pt x="806958" y="1059180"/>
                  </a:lnTo>
                  <a:lnTo>
                    <a:pt x="808577" y="1058989"/>
                  </a:lnTo>
                  <a:lnTo>
                    <a:pt x="808101" y="1055846"/>
                  </a:lnTo>
                  <a:lnTo>
                    <a:pt x="809149" y="1050893"/>
                  </a:lnTo>
                  <a:lnTo>
                    <a:pt x="808672" y="1047750"/>
                  </a:lnTo>
                  <a:lnTo>
                    <a:pt x="806767" y="1044797"/>
                  </a:lnTo>
                  <a:lnTo>
                    <a:pt x="809911" y="1044321"/>
                  </a:lnTo>
                  <a:lnTo>
                    <a:pt x="813435" y="1047083"/>
                  </a:lnTo>
                  <a:lnTo>
                    <a:pt x="815435" y="1050036"/>
                  </a:lnTo>
                  <a:lnTo>
                    <a:pt x="823341" y="1049084"/>
                  </a:lnTo>
                  <a:lnTo>
                    <a:pt x="825532" y="1053560"/>
                  </a:lnTo>
                  <a:lnTo>
                    <a:pt x="828675" y="1053179"/>
                  </a:lnTo>
                  <a:lnTo>
                    <a:pt x="830580" y="1056132"/>
                  </a:lnTo>
                  <a:lnTo>
                    <a:pt x="835152" y="1053941"/>
                  </a:lnTo>
                  <a:lnTo>
                    <a:pt x="840676" y="1059656"/>
                  </a:lnTo>
                  <a:lnTo>
                    <a:pt x="850011" y="1056894"/>
                  </a:lnTo>
                  <a:lnTo>
                    <a:pt x="849535" y="1053751"/>
                  </a:lnTo>
                  <a:lnTo>
                    <a:pt x="849154" y="1050608"/>
                  </a:lnTo>
                  <a:lnTo>
                    <a:pt x="857440" y="1039939"/>
                  </a:lnTo>
                  <a:lnTo>
                    <a:pt x="860393" y="1025080"/>
                  </a:lnTo>
                  <a:lnTo>
                    <a:pt x="859917" y="1021937"/>
                  </a:lnTo>
                  <a:lnTo>
                    <a:pt x="855250" y="1022509"/>
                  </a:lnTo>
                  <a:lnTo>
                    <a:pt x="855250" y="102250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8" name="Volný tvar: obrazec 37">
              <a:extLst>
                <a:ext uri="{FF2B5EF4-FFF2-40B4-BE49-F238E27FC236}">
                  <a16:creationId xmlns:a16="http://schemas.microsoft.com/office/drawing/2014/main" id="{3F32326D-2E96-13FE-D6D5-C38611B3667D}"/>
                </a:ext>
              </a:extLst>
            </p:cNvPr>
            <p:cNvSpPr>
              <a:spLocks noChangeAspect="1"/>
            </p:cNvSpPr>
            <p:nvPr userDrawn="1">
              <p:custDataLst>
                <p:tags r:id="rId8"/>
              </p:custDataLst>
            </p:nvPr>
          </p:nvSpPr>
          <p:spPr>
            <a:xfrm>
              <a:off x="3727418" y="2648330"/>
              <a:ext cx="835437" cy="647509"/>
            </a:xfrm>
            <a:custGeom>
              <a:avLst/>
              <a:gdLst>
                <a:gd name="connsiteX0" fmla="*/ 833057 w 835437"/>
                <a:gd name="connsiteY0" fmla="*/ 420719 h 647509"/>
                <a:gd name="connsiteX1" fmla="*/ 831437 w 835437"/>
                <a:gd name="connsiteY1" fmla="*/ 408146 h 647509"/>
                <a:gd name="connsiteX2" fmla="*/ 829628 w 835437"/>
                <a:gd name="connsiteY2" fmla="*/ 406717 h 647509"/>
                <a:gd name="connsiteX3" fmla="*/ 821722 w 835437"/>
                <a:gd name="connsiteY3" fmla="*/ 407765 h 647509"/>
                <a:gd name="connsiteX4" fmla="*/ 823151 w 835437"/>
                <a:gd name="connsiteY4" fmla="*/ 405956 h 647509"/>
                <a:gd name="connsiteX5" fmla="*/ 827627 w 835437"/>
                <a:gd name="connsiteY5" fmla="*/ 403765 h 647509"/>
                <a:gd name="connsiteX6" fmla="*/ 820769 w 835437"/>
                <a:gd name="connsiteY6" fmla="*/ 399859 h 647509"/>
                <a:gd name="connsiteX7" fmla="*/ 820579 w 835437"/>
                <a:gd name="connsiteY7" fmla="*/ 398240 h 647509"/>
                <a:gd name="connsiteX8" fmla="*/ 818198 w 835437"/>
                <a:gd name="connsiteY8" fmla="*/ 392144 h 647509"/>
                <a:gd name="connsiteX9" fmla="*/ 813245 w 835437"/>
                <a:gd name="connsiteY9" fmla="*/ 391192 h 647509"/>
                <a:gd name="connsiteX10" fmla="*/ 805529 w 835437"/>
                <a:gd name="connsiteY10" fmla="*/ 393763 h 647509"/>
                <a:gd name="connsiteX11" fmla="*/ 800195 w 835437"/>
                <a:gd name="connsiteY11" fmla="*/ 389668 h 647509"/>
                <a:gd name="connsiteX12" fmla="*/ 797624 w 835437"/>
                <a:gd name="connsiteY12" fmla="*/ 394716 h 647509"/>
                <a:gd name="connsiteX13" fmla="*/ 791909 w 835437"/>
                <a:gd name="connsiteY13" fmla="*/ 387477 h 647509"/>
                <a:gd name="connsiteX14" fmla="*/ 788765 w 835437"/>
                <a:gd name="connsiteY14" fmla="*/ 387858 h 647509"/>
                <a:gd name="connsiteX15" fmla="*/ 785146 w 835437"/>
                <a:gd name="connsiteY15" fmla="*/ 385096 h 647509"/>
                <a:gd name="connsiteX16" fmla="*/ 793051 w 835437"/>
                <a:gd name="connsiteY16" fmla="*/ 384143 h 647509"/>
                <a:gd name="connsiteX17" fmla="*/ 794290 w 835437"/>
                <a:gd name="connsiteY17" fmla="*/ 380714 h 647509"/>
                <a:gd name="connsiteX18" fmla="*/ 790861 w 835437"/>
                <a:gd name="connsiteY18" fmla="*/ 379571 h 647509"/>
                <a:gd name="connsiteX19" fmla="*/ 792099 w 835437"/>
                <a:gd name="connsiteY19" fmla="*/ 376238 h 647509"/>
                <a:gd name="connsiteX20" fmla="*/ 799814 w 835437"/>
                <a:gd name="connsiteY20" fmla="*/ 373666 h 647509"/>
                <a:gd name="connsiteX21" fmla="*/ 800005 w 835437"/>
                <a:gd name="connsiteY21" fmla="*/ 375190 h 647509"/>
                <a:gd name="connsiteX22" fmla="*/ 801148 w 835437"/>
                <a:gd name="connsiteY22" fmla="*/ 371856 h 647509"/>
                <a:gd name="connsiteX23" fmla="*/ 809625 w 835437"/>
                <a:gd name="connsiteY23" fmla="*/ 375571 h 647509"/>
                <a:gd name="connsiteX24" fmla="*/ 809435 w 835437"/>
                <a:gd name="connsiteY24" fmla="*/ 374047 h 647509"/>
                <a:gd name="connsiteX25" fmla="*/ 811244 w 835437"/>
                <a:gd name="connsiteY25" fmla="*/ 375380 h 647509"/>
                <a:gd name="connsiteX26" fmla="*/ 812578 w 835437"/>
                <a:gd name="connsiteY26" fmla="*/ 373571 h 647509"/>
                <a:gd name="connsiteX27" fmla="*/ 815912 w 835437"/>
                <a:gd name="connsiteY27" fmla="*/ 374809 h 647509"/>
                <a:gd name="connsiteX28" fmla="*/ 812959 w 835437"/>
                <a:gd name="connsiteY28" fmla="*/ 376809 h 647509"/>
                <a:gd name="connsiteX29" fmla="*/ 821722 w 835437"/>
                <a:gd name="connsiteY29" fmla="*/ 382048 h 647509"/>
                <a:gd name="connsiteX30" fmla="*/ 824865 w 835437"/>
                <a:gd name="connsiteY30" fmla="*/ 381667 h 647509"/>
                <a:gd name="connsiteX31" fmla="*/ 822484 w 835437"/>
                <a:gd name="connsiteY31" fmla="*/ 375571 h 647509"/>
                <a:gd name="connsiteX32" fmla="*/ 825437 w 835437"/>
                <a:gd name="connsiteY32" fmla="*/ 373571 h 647509"/>
                <a:gd name="connsiteX33" fmla="*/ 820293 w 835437"/>
                <a:gd name="connsiteY33" fmla="*/ 370999 h 647509"/>
                <a:gd name="connsiteX34" fmla="*/ 821817 w 835437"/>
                <a:gd name="connsiteY34" fmla="*/ 370808 h 647509"/>
                <a:gd name="connsiteX35" fmla="*/ 821436 w 835437"/>
                <a:gd name="connsiteY35" fmla="*/ 367665 h 647509"/>
                <a:gd name="connsiteX36" fmla="*/ 812959 w 835437"/>
                <a:gd name="connsiteY36" fmla="*/ 363950 h 647509"/>
                <a:gd name="connsiteX37" fmla="*/ 813911 w 835437"/>
                <a:gd name="connsiteY37" fmla="*/ 358997 h 647509"/>
                <a:gd name="connsiteX38" fmla="*/ 812387 w 835437"/>
                <a:gd name="connsiteY38" fmla="*/ 359188 h 647509"/>
                <a:gd name="connsiteX39" fmla="*/ 815340 w 835437"/>
                <a:gd name="connsiteY39" fmla="*/ 357188 h 647509"/>
                <a:gd name="connsiteX40" fmla="*/ 825151 w 835437"/>
                <a:gd name="connsiteY40" fmla="*/ 359188 h 647509"/>
                <a:gd name="connsiteX41" fmla="*/ 828294 w 835437"/>
                <a:gd name="connsiteY41" fmla="*/ 345948 h 647509"/>
                <a:gd name="connsiteX42" fmla="*/ 818674 w 835437"/>
                <a:gd name="connsiteY42" fmla="*/ 345567 h 647509"/>
                <a:gd name="connsiteX43" fmla="*/ 821436 w 835437"/>
                <a:gd name="connsiteY43" fmla="*/ 342043 h 647509"/>
                <a:gd name="connsiteX44" fmla="*/ 822198 w 835437"/>
                <a:gd name="connsiteY44" fmla="*/ 335471 h 647509"/>
                <a:gd name="connsiteX45" fmla="*/ 820388 w 835437"/>
                <a:gd name="connsiteY45" fmla="*/ 334137 h 647509"/>
                <a:gd name="connsiteX46" fmla="*/ 819436 w 835437"/>
                <a:gd name="connsiteY46" fmla="*/ 326231 h 647509"/>
                <a:gd name="connsiteX47" fmla="*/ 813816 w 835437"/>
                <a:gd name="connsiteY47" fmla="*/ 320516 h 647509"/>
                <a:gd name="connsiteX48" fmla="*/ 813816 w 835437"/>
                <a:gd name="connsiteY48" fmla="*/ 320516 h 647509"/>
                <a:gd name="connsiteX49" fmla="*/ 816388 w 835437"/>
                <a:gd name="connsiteY49" fmla="*/ 315373 h 647509"/>
                <a:gd name="connsiteX50" fmla="*/ 809244 w 835437"/>
                <a:gd name="connsiteY50" fmla="*/ 309848 h 647509"/>
                <a:gd name="connsiteX51" fmla="*/ 807720 w 835437"/>
                <a:gd name="connsiteY51" fmla="*/ 310134 h 647509"/>
                <a:gd name="connsiteX52" fmla="*/ 804386 w 835437"/>
                <a:gd name="connsiteY52" fmla="*/ 308896 h 647509"/>
                <a:gd name="connsiteX53" fmla="*/ 808482 w 835437"/>
                <a:gd name="connsiteY53" fmla="*/ 303562 h 647509"/>
                <a:gd name="connsiteX54" fmla="*/ 808292 w 835437"/>
                <a:gd name="connsiteY54" fmla="*/ 302038 h 647509"/>
                <a:gd name="connsiteX55" fmla="*/ 805148 w 835437"/>
                <a:gd name="connsiteY55" fmla="*/ 302419 h 647509"/>
                <a:gd name="connsiteX56" fmla="*/ 796862 w 835437"/>
                <a:gd name="connsiteY56" fmla="*/ 300228 h 647509"/>
                <a:gd name="connsiteX57" fmla="*/ 796004 w 835437"/>
                <a:gd name="connsiteY57" fmla="*/ 293942 h 647509"/>
                <a:gd name="connsiteX58" fmla="*/ 802386 w 835437"/>
                <a:gd name="connsiteY58" fmla="*/ 293180 h 647509"/>
                <a:gd name="connsiteX59" fmla="*/ 801529 w 835437"/>
                <a:gd name="connsiteY59" fmla="*/ 286798 h 647509"/>
                <a:gd name="connsiteX60" fmla="*/ 802958 w 835437"/>
                <a:gd name="connsiteY60" fmla="*/ 284988 h 647509"/>
                <a:gd name="connsiteX61" fmla="*/ 804291 w 835437"/>
                <a:gd name="connsiteY61" fmla="*/ 283273 h 647509"/>
                <a:gd name="connsiteX62" fmla="*/ 802291 w 835437"/>
                <a:gd name="connsiteY62" fmla="*/ 280321 h 647509"/>
                <a:gd name="connsiteX63" fmla="*/ 805244 w 835437"/>
                <a:gd name="connsiteY63" fmla="*/ 278321 h 647509"/>
                <a:gd name="connsiteX64" fmla="*/ 806672 w 835437"/>
                <a:gd name="connsiteY64" fmla="*/ 276511 h 647509"/>
                <a:gd name="connsiteX65" fmla="*/ 799910 w 835437"/>
                <a:gd name="connsiteY65" fmla="*/ 274225 h 647509"/>
                <a:gd name="connsiteX66" fmla="*/ 799528 w 835437"/>
                <a:gd name="connsiteY66" fmla="*/ 270986 h 647509"/>
                <a:gd name="connsiteX67" fmla="*/ 797909 w 835437"/>
                <a:gd name="connsiteY67" fmla="*/ 271272 h 647509"/>
                <a:gd name="connsiteX68" fmla="*/ 791813 w 835437"/>
                <a:gd name="connsiteY68" fmla="*/ 273653 h 647509"/>
                <a:gd name="connsiteX69" fmla="*/ 788480 w 835437"/>
                <a:gd name="connsiteY69" fmla="*/ 272415 h 647509"/>
                <a:gd name="connsiteX70" fmla="*/ 784098 w 835437"/>
                <a:gd name="connsiteY70" fmla="*/ 263366 h 647509"/>
                <a:gd name="connsiteX71" fmla="*/ 785527 w 835437"/>
                <a:gd name="connsiteY71" fmla="*/ 261556 h 647509"/>
                <a:gd name="connsiteX72" fmla="*/ 783717 w 835437"/>
                <a:gd name="connsiteY72" fmla="*/ 260223 h 647509"/>
                <a:gd name="connsiteX73" fmla="*/ 786479 w 835437"/>
                <a:gd name="connsiteY73" fmla="*/ 256699 h 647509"/>
                <a:gd name="connsiteX74" fmla="*/ 791242 w 835437"/>
                <a:gd name="connsiteY74" fmla="*/ 256032 h 647509"/>
                <a:gd name="connsiteX75" fmla="*/ 794195 w 835437"/>
                <a:gd name="connsiteY75" fmla="*/ 254032 h 647509"/>
                <a:gd name="connsiteX76" fmla="*/ 793147 w 835437"/>
                <a:gd name="connsiteY76" fmla="*/ 246221 h 647509"/>
                <a:gd name="connsiteX77" fmla="*/ 791909 w 835437"/>
                <a:gd name="connsiteY77" fmla="*/ 236696 h 647509"/>
                <a:gd name="connsiteX78" fmla="*/ 788575 w 835437"/>
                <a:gd name="connsiteY78" fmla="*/ 235553 h 647509"/>
                <a:gd name="connsiteX79" fmla="*/ 789527 w 835437"/>
                <a:gd name="connsiteY79" fmla="*/ 230600 h 647509"/>
                <a:gd name="connsiteX80" fmla="*/ 792099 w 835437"/>
                <a:gd name="connsiteY80" fmla="*/ 225457 h 647509"/>
                <a:gd name="connsiteX81" fmla="*/ 782288 w 835437"/>
                <a:gd name="connsiteY81" fmla="*/ 223552 h 647509"/>
                <a:gd name="connsiteX82" fmla="*/ 779050 w 835437"/>
                <a:gd name="connsiteY82" fmla="*/ 223933 h 647509"/>
                <a:gd name="connsiteX83" fmla="*/ 778859 w 835437"/>
                <a:gd name="connsiteY83" fmla="*/ 222313 h 647509"/>
                <a:gd name="connsiteX84" fmla="*/ 782003 w 835437"/>
                <a:gd name="connsiteY84" fmla="*/ 221932 h 647509"/>
                <a:gd name="connsiteX85" fmla="*/ 784003 w 835437"/>
                <a:gd name="connsiteY85" fmla="*/ 212027 h 647509"/>
                <a:gd name="connsiteX86" fmla="*/ 782193 w 835437"/>
                <a:gd name="connsiteY86" fmla="*/ 210693 h 647509"/>
                <a:gd name="connsiteX87" fmla="*/ 785336 w 835437"/>
                <a:gd name="connsiteY87" fmla="*/ 210312 h 647509"/>
                <a:gd name="connsiteX88" fmla="*/ 787908 w 835437"/>
                <a:gd name="connsiteY88" fmla="*/ 205169 h 647509"/>
                <a:gd name="connsiteX89" fmla="*/ 786384 w 835437"/>
                <a:gd name="connsiteY89" fmla="*/ 205359 h 647509"/>
                <a:gd name="connsiteX90" fmla="*/ 785717 w 835437"/>
                <a:gd name="connsiteY90" fmla="*/ 200596 h 647509"/>
                <a:gd name="connsiteX91" fmla="*/ 790289 w 835437"/>
                <a:gd name="connsiteY91" fmla="*/ 198406 h 647509"/>
                <a:gd name="connsiteX92" fmla="*/ 791813 w 835437"/>
                <a:gd name="connsiteY92" fmla="*/ 198215 h 647509"/>
                <a:gd name="connsiteX93" fmla="*/ 792671 w 835437"/>
                <a:gd name="connsiteY93" fmla="*/ 191738 h 647509"/>
                <a:gd name="connsiteX94" fmla="*/ 787718 w 835437"/>
                <a:gd name="connsiteY94" fmla="*/ 190786 h 647509"/>
                <a:gd name="connsiteX95" fmla="*/ 788670 w 835437"/>
                <a:gd name="connsiteY95" fmla="*/ 185833 h 647509"/>
                <a:gd name="connsiteX96" fmla="*/ 785527 w 835437"/>
                <a:gd name="connsiteY96" fmla="*/ 186214 h 647509"/>
                <a:gd name="connsiteX97" fmla="*/ 786670 w 835437"/>
                <a:gd name="connsiteY97" fmla="*/ 182880 h 647509"/>
                <a:gd name="connsiteX98" fmla="*/ 784670 w 835437"/>
                <a:gd name="connsiteY98" fmla="*/ 179927 h 647509"/>
                <a:gd name="connsiteX99" fmla="*/ 784289 w 835437"/>
                <a:gd name="connsiteY99" fmla="*/ 176784 h 647509"/>
                <a:gd name="connsiteX100" fmla="*/ 787051 w 835437"/>
                <a:gd name="connsiteY100" fmla="*/ 173165 h 647509"/>
                <a:gd name="connsiteX101" fmla="*/ 787051 w 835437"/>
                <a:gd name="connsiteY101" fmla="*/ 173165 h 647509"/>
                <a:gd name="connsiteX102" fmla="*/ 790003 w 835437"/>
                <a:gd name="connsiteY102" fmla="*/ 171164 h 647509"/>
                <a:gd name="connsiteX103" fmla="*/ 794576 w 835437"/>
                <a:gd name="connsiteY103" fmla="*/ 169069 h 647509"/>
                <a:gd name="connsiteX104" fmla="*/ 794099 w 835437"/>
                <a:gd name="connsiteY104" fmla="*/ 165830 h 647509"/>
                <a:gd name="connsiteX105" fmla="*/ 795528 w 835437"/>
                <a:gd name="connsiteY105" fmla="*/ 164116 h 647509"/>
                <a:gd name="connsiteX106" fmla="*/ 792956 w 835437"/>
                <a:gd name="connsiteY106" fmla="*/ 156400 h 647509"/>
                <a:gd name="connsiteX107" fmla="*/ 795719 w 835437"/>
                <a:gd name="connsiteY107" fmla="*/ 152876 h 647509"/>
                <a:gd name="connsiteX108" fmla="*/ 788765 w 835437"/>
                <a:gd name="connsiteY108" fmla="*/ 148876 h 647509"/>
                <a:gd name="connsiteX109" fmla="*/ 785622 w 835437"/>
                <a:gd name="connsiteY109" fmla="*/ 136493 h 647509"/>
                <a:gd name="connsiteX110" fmla="*/ 775335 w 835437"/>
                <a:gd name="connsiteY110" fmla="*/ 131350 h 647509"/>
                <a:gd name="connsiteX111" fmla="*/ 777907 w 835437"/>
                <a:gd name="connsiteY111" fmla="*/ 126302 h 647509"/>
                <a:gd name="connsiteX112" fmla="*/ 777716 w 835437"/>
                <a:gd name="connsiteY112" fmla="*/ 124682 h 647509"/>
                <a:gd name="connsiteX113" fmla="*/ 771525 w 835437"/>
                <a:gd name="connsiteY113" fmla="*/ 127063 h 647509"/>
                <a:gd name="connsiteX114" fmla="*/ 767429 w 835437"/>
                <a:gd name="connsiteY114" fmla="*/ 132398 h 647509"/>
                <a:gd name="connsiteX115" fmla="*/ 762476 w 835437"/>
                <a:gd name="connsiteY115" fmla="*/ 131445 h 647509"/>
                <a:gd name="connsiteX116" fmla="*/ 759905 w 835437"/>
                <a:gd name="connsiteY116" fmla="*/ 136588 h 647509"/>
                <a:gd name="connsiteX117" fmla="*/ 759333 w 835437"/>
                <a:gd name="connsiteY117" fmla="*/ 131826 h 647509"/>
                <a:gd name="connsiteX118" fmla="*/ 749903 w 835437"/>
                <a:gd name="connsiteY118" fmla="*/ 133064 h 647509"/>
                <a:gd name="connsiteX119" fmla="*/ 746474 w 835437"/>
                <a:gd name="connsiteY119" fmla="*/ 131826 h 647509"/>
                <a:gd name="connsiteX120" fmla="*/ 741807 w 835437"/>
                <a:gd name="connsiteY120" fmla="*/ 132493 h 647509"/>
                <a:gd name="connsiteX121" fmla="*/ 739997 w 835437"/>
                <a:gd name="connsiteY121" fmla="*/ 131064 h 647509"/>
                <a:gd name="connsiteX122" fmla="*/ 738378 w 835437"/>
                <a:gd name="connsiteY122" fmla="*/ 131254 h 647509"/>
                <a:gd name="connsiteX123" fmla="*/ 736283 w 835437"/>
                <a:gd name="connsiteY123" fmla="*/ 126778 h 647509"/>
                <a:gd name="connsiteX124" fmla="*/ 728186 w 835437"/>
                <a:gd name="connsiteY124" fmla="*/ 126206 h 647509"/>
                <a:gd name="connsiteX125" fmla="*/ 723233 w 835437"/>
                <a:gd name="connsiteY125" fmla="*/ 125158 h 647509"/>
                <a:gd name="connsiteX126" fmla="*/ 717328 w 835437"/>
                <a:gd name="connsiteY126" fmla="*/ 129159 h 647509"/>
                <a:gd name="connsiteX127" fmla="*/ 715709 w 835437"/>
                <a:gd name="connsiteY127" fmla="*/ 129350 h 647509"/>
                <a:gd name="connsiteX128" fmla="*/ 717899 w 835437"/>
                <a:gd name="connsiteY128" fmla="*/ 133921 h 647509"/>
                <a:gd name="connsiteX129" fmla="*/ 714756 w 835437"/>
                <a:gd name="connsiteY129" fmla="*/ 134302 h 647509"/>
                <a:gd name="connsiteX130" fmla="*/ 713327 w 835437"/>
                <a:gd name="connsiteY130" fmla="*/ 136112 h 647509"/>
                <a:gd name="connsiteX131" fmla="*/ 708279 w 835437"/>
                <a:gd name="connsiteY131" fmla="*/ 133540 h 647509"/>
                <a:gd name="connsiteX132" fmla="*/ 709613 w 835437"/>
                <a:gd name="connsiteY132" fmla="*/ 131731 h 647509"/>
                <a:gd name="connsiteX133" fmla="*/ 707803 w 835437"/>
                <a:gd name="connsiteY133" fmla="*/ 130397 h 647509"/>
                <a:gd name="connsiteX134" fmla="*/ 703136 w 835437"/>
                <a:gd name="connsiteY134" fmla="*/ 130969 h 647509"/>
                <a:gd name="connsiteX135" fmla="*/ 699326 w 835437"/>
                <a:gd name="connsiteY135" fmla="*/ 126587 h 647509"/>
                <a:gd name="connsiteX136" fmla="*/ 696373 w 835437"/>
                <a:gd name="connsiteY136" fmla="*/ 128588 h 647509"/>
                <a:gd name="connsiteX137" fmla="*/ 696373 w 835437"/>
                <a:gd name="connsiteY137" fmla="*/ 128588 h 647509"/>
                <a:gd name="connsiteX138" fmla="*/ 695801 w 835437"/>
                <a:gd name="connsiteY138" fmla="*/ 123920 h 647509"/>
                <a:gd name="connsiteX139" fmla="*/ 700278 w 835437"/>
                <a:gd name="connsiteY139" fmla="*/ 121729 h 647509"/>
                <a:gd name="connsiteX140" fmla="*/ 702278 w 835437"/>
                <a:gd name="connsiteY140" fmla="*/ 111823 h 647509"/>
                <a:gd name="connsiteX141" fmla="*/ 708565 w 835437"/>
                <a:gd name="connsiteY141" fmla="*/ 111061 h 647509"/>
                <a:gd name="connsiteX142" fmla="*/ 708374 w 835437"/>
                <a:gd name="connsiteY142" fmla="*/ 109442 h 647509"/>
                <a:gd name="connsiteX143" fmla="*/ 700469 w 835437"/>
                <a:gd name="connsiteY143" fmla="*/ 97631 h 647509"/>
                <a:gd name="connsiteX144" fmla="*/ 698659 w 835437"/>
                <a:gd name="connsiteY144" fmla="*/ 96298 h 647509"/>
                <a:gd name="connsiteX145" fmla="*/ 695706 w 835437"/>
                <a:gd name="connsiteY145" fmla="*/ 98203 h 647509"/>
                <a:gd name="connsiteX146" fmla="*/ 689229 w 835437"/>
                <a:gd name="connsiteY146" fmla="*/ 97441 h 647509"/>
                <a:gd name="connsiteX147" fmla="*/ 679895 w 835437"/>
                <a:gd name="connsiteY147" fmla="*/ 87440 h 647509"/>
                <a:gd name="connsiteX148" fmla="*/ 680276 w 835437"/>
                <a:gd name="connsiteY148" fmla="*/ 90583 h 647509"/>
                <a:gd name="connsiteX149" fmla="*/ 665702 w 835437"/>
                <a:gd name="connsiteY149" fmla="*/ 89249 h 647509"/>
                <a:gd name="connsiteX150" fmla="*/ 664750 w 835437"/>
                <a:gd name="connsiteY150" fmla="*/ 94202 h 647509"/>
                <a:gd name="connsiteX151" fmla="*/ 650939 w 835437"/>
                <a:gd name="connsiteY151" fmla="*/ 86296 h 647509"/>
                <a:gd name="connsiteX152" fmla="*/ 648272 w 835437"/>
                <a:gd name="connsiteY152" fmla="*/ 78581 h 647509"/>
                <a:gd name="connsiteX153" fmla="*/ 640651 w 835437"/>
                <a:gd name="connsiteY153" fmla="*/ 81153 h 647509"/>
                <a:gd name="connsiteX154" fmla="*/ 631793 w 835437"/>
                <a:gd name="connsiteY154" fmla="*/ 87154 h 647509"/>
                <a:gd name="connsiteX155" fmla="*/ 629984 w 835437"/>
                <a:gd name="connsiteY155" fmla="*/ 85725 h 647509"/>
                <a:gd name="connsiteX156" fmla="*/ 631126 w 835437"/>
                <a:gd name="connsiteY156" fmla="*/ 82391 h 647509"/>
                <a:gd name="connsiteX157" fmla="*/ 628174 w 835437"/>
                <a:gd name="connsiteY157" fmla="*/ 84392 h 647509"/>
                <a:gd name="connsiteX158" fmla="*/ 626174 w 835437"/>
                <a:gd name="connsiteY158" fmla="*/ 81439 h 647509"/>
                <a:gd name="connsiteX159" fmla="*/ 615410 w 835437"/>
                <a:gd name="connsiteY159" fmla="*/ 84392 h 647509"/>
                <a:gd name="connsiteX160" fmla="*/ 613029 w 835437"/>
                <a:gd name="connsiteY160" fmla="*/ 78296 h 647509"/>
                <a:gd name="connsiteX161" fmla="*/ 609028 w 835437"/>
                <a:gd name="connsiteY161" fmla="*/ 72390 h 647509"/>
                <a:gd name="connsiteX162" fmla="*/ 597218 w 835437"/>
                <a:gd name="connsiteY162" fmla="*/ 67437 h 647509"/>
                <a:gd name="connsiteX163" fmla="*/ 590455 w 835437"/>
                <a:gd name="connsiteY163" fmla="*/ 65151 h 647509"/>
                <a:gd name="connsiteX164" fmla="*/ 589693 w 835437"/>
                <a:gd name="connsiteY164" fmla="*/ 58865 h 647509"/>
                <a:gd name="connsiteX165" fmla="*/ 575215 w 835437"/>
                <a:gd name="connsiteY165" fmla="*/ 46196 h 647509"/>
                <a:gd name="connsiteX166" fmla="*/ 571881 w 835437"/>
                <a:gd name="connsiteY166" fmla="*/ 45053 h 647509"/>
                <a:gd name="connsiteX167" fmla="*/ 568738 w 835437"/>
                <a:gd name="connsiteY167" fmla="*/ 45434 h 647509"/>
                <a:gd name="connsiteX168" fmla="*/ 561404 w 835437"/>
                <a:gd name="connsiteY168" fmla="*/ 38386 h 647509"/>
                <a:gd name="connsiteX169" fmla="*/ 531305 w 835437"/>
                <a:gd name="connsiteY169" fmla="*/ 16573 h 647509"/>
                <a:gd name="connsiteX170" fmla="*/ 524066 w 835437"/>
                <a:gd name="connsiteY170" fmla="*/ 9430 h 647509"/>
                <a:gd name="connsiteX171" fmla="*/ 509969 w 835437"/>
                <a:gd name="connsiteY171" fmla="*/ 0 h 647509"/>
                <a:gd name="connsiteX172" fmla="*/ 508254 w 835437"/>
                <a:gd name="connsiteY172" fmla="*/ 11430 h 647509"/>
                <a:gd name="connsiteX173" fmla="*/ 501206 w 835437"/>
                <a:gd name="connsiteY173" fmla="*/ 18764 h 647509"/>
                <a:gd name="connsiteX174" fmla="*/ 501777 w 835437"/>
                <a:gd name="connsiteY174" fmla="*/ 23527 h 647509"/>
                <a:gd name="connsiteX175" fmla="*/ 503968 w 835437"/>
                <a:gd name="connsiteY175" fmla="*/ 28004 h 647509"/>
                <a:gd name="connsiteX176" fmla="*/ 503015 w 835437"/>
                <a:gd name="connsiteY176" fmla="*/ 32956 h 647509"/>
                <a:gd name="connsiteX177" fmla="*/ 498634 w 835437"/>
                <a:gd name="connsiteY177" fmla="*/ 23908 h 647509"/>
                <a:gd name="connsiteX178" fmla="*/ 493871 w 835437"/>
                <a:gd name="connsiteY178" fmla="*/ 11716 h 647509"/>
                <a:gd name="connsiteX179" fmla="*/ 451295 w 835437"/>
                <a:gd name="connsiteY179" fmla="*/ 29908 h 647509"/>
                <a:gd name="connsiteX180" fmla="*/ 446342 w 835437"/>
                <a:gd name="connsiteY180" fmla="*/ 41815 h 647509"/>
                <a:gd name="connsiteX181" fmla="*/ 440436 w 835437"/>
                <a:gd name="connsiteY181" fmla="*/ 45720 h 647509"/>
                <a:gd name="connsiteX182" fmla="*/ 432149 w 835437"/>
                <a:gd name="connsiteY182" fmla="*/ 56388 h 647509"/>
                <a:gd name="connsiteX183" fmla="*/ 429673 w 835437"/>
                <a:gd name="connsiteY183" fmla="*/ 61531 h 647509"/>
                <a:gd name="connsiteX184" fmla="*/ 431578 w 835437"/>
                <a:gd name="connsiteY184" fmla="*/ 64484 h 647509"/>
                <a:gd name="connsiteX185" fmla="*/ 430625 w 835437"/>
                <a:gd name="connsiteY185" fmla="*/ 69437 h 647509"/>
                <a:gd name="connsiteX186" fmla="*/ 423482 w 835437"/>
                <a:gd name="connsiteY186" fmla="*/ 63913 h 647509"/>
                <a:gd name="connsiteX187" fmla="*/ 421577 w 835437"/>
                <a:gd name="connsiteY187" fmla="*/ 60960 h 647509"/>
                <a:gd name="connsiteX188" fmla="*/ 414242 w 835437"/>
                <a:gd name="connsiteY188" fmla="*/ 53911 h 647509"/>
                <a:gd name="connsiteX189" fmla="*/ 408337 w 835437"/>
                <a:gd name="connsiteY189" fmla="*/ 45053 h 647509"/>
                <a:gd name="connsiteX190" fmla="*/ 396240 w 835437"/>
                <a:gd name="connsiteY190" fmla="*/ 51340 h 647509"/>
                <a:gd name="connsiteX191" fmla="*/ 388334 w 835437"/>
                <a:gd name="connsiteY191" fmla="*/ 52388 h 647509"/>
                <a:gd name="connsiteX192" fmla="*/ 384810 w 835437"/>
                <a:gd name="connsiteY192" fmla="*/ 49625 h 647509"/>
                <a:gd name="connsiteX193" fmla="*/ 376142 w 835437"/>
                <a:gd name="connsiteY193" fmla="*/ 44291 h 647509"/>
                <a:gd name="connsiteX194" fmla="*/ 368237 w 835437"/>
                <a:gd name="connsiteY194" fmla="*/ 45339 h 647509"/>
                <a:gd name="connsiteX195" fmla="*/ 368427 w 835437"/>
                <a:gd name="connsiteY195" fmla="*/ 46958 h 647509"/>
                <a:gd name="connsiteX196" fmla="*/ 358426 w 835437"/>
                <a:gd name="connsiteY196" fmla="*/ 56198 h 647509"/>
                <a:gd name="connsiteX197" fmla="*/ 355283 w 835437"/>
                <a:gd name="connsiteY197" fmla="*/ 56579 h 647509"/>
                <a:gd name="connsiteX198" fmla="*/ 353282 w 835437"/>
                <a:gd name="connsiteY198" fmla="*/ 53626 h 647509"/>
                <a:gd name="connsiteX199" fmla="*/ 348520 w 835437"/>
                <a:gd name="connsiteY199" fmla="*/ 54292 h 647509"/>
                <a:gd name="connsiteX200" fmla="*/ 343567 w 835437"/>
                <a:gd name="connsiteY200" fmla="*/ 53245 h 647509"/>
                <a:gd name="connsiteX201" fmla="*/ 339471 w 835437"/>
                <a:gd name="connsiteY201" fmla="*/ 58579 h 647509"/>
                <a:gd name="connsiteX202" fmla="*/ 326993 w 835437"/>
                <a:gd name="connsiteY202" fmla="*/ 61817 h 647509"/>
                <a:gd name="connsiteX203" fmla="*/ 323850 w 835437"/>
                <a:gd name="connsiteY203" fmla="*/ 62198 h 647509"/>
                <a:gd name="connsiteX204" fmla="*/ 320516 w 835437"/>
                <a:gd name="connsiteY204" fmla="*/ 61055 h 647509"/>
                <a:gd name="connsiteX205" fmla="*/ 317563 w 835437"/>
                <a:gd name="connsiteY205" fmla="*/ 63056 h 647509"/>
                <a:gd name="connsiteX206" fmla="*/ 310896 w 835437"/>
                <a:gd name="connsiteY206" fmla="*/ 60674 h 647509"/>
                <a:gd name="connsiteX207" fmla="*/ 306514 w 835437"/>
                <a:gd name="connsiteY207" fmla="*/ 64389 h 647509"/>
                <a:gd name="connsiteX208" fmla="*/ 298418 w 835437"/>
                <a:gd name="connsiteY208" fmla="*/ 63817 h 647509"/>
                <a:gd name="connsiteX209" fmla="*/ 295085 w 835437"/>
                <a:gd name="connsiteY209" fmla="*/ 62675 h 647509"/>
                <a:gd name="connsiteX210" fmla="*/ 294513 w 835437"/>
                <a:gd name="connsiteY210" fmla="*/ 70771 h 647509"/>
                <a:gd name="connsiteX211" fmla="*/ 288608 w 835437"/>
                <a:gd name="connsiteY211" fmla="*/ 74771 h 647509"/>
                <a:gd name="connsiteX212" fmla="*/ 284893 w 835437"/>
                <a:gd name="connsiteY212" fmla="*/ 83248 h 647509"/>
                <a:gd name="connsiteX213" fmla="*/ 279178 w 835437"/>
                <a:gd name="connsiteY213" fmla="*/ 88773 h 647509"/>
                <a:gd name="connsiteX214" fmla="*/ 278130 w 835437"/>
                <a:gd name="connsiteY214" fmla="*/ 93726 h 647509"/>
                <a:gd name="connsiteX215" fmla="*/ 281750 w 835437"/>
                <a:gd name="connsiteY215" fmla="*/ 109252 h 647509"/>
                <a:gd name="connsiteX216" fmla="*/ 279368 w 835437"/>
                <a:gd name="connsiteY216" fmla="*/ 116015 h 647509"/>
                <a:gd name="connsiteX217" fmla="*/ 275082 w 835437"/>
                <a:gd name="connsiteY217" fmla="*/ 119729 h 647509"/>
                <a:gd name="connsiteX218" fmla="*/ 264224 w 835437"/>
                <a:gd name="connsiteY218" fmla="*/ 109919 h 647509"/>
                <a:gd name="connsiteX219" fmla="*/ 258318 w 835437"/>
                <a:gd name="connsiteY219" fmla="*/ 113824 h 647509"/>
                <a:gd name="connsiteX220" fmla="*/ 257080 w 835437"/>
                <a:gd name="connsiteY220" fmla="*/ 117253 h 647509"/>
                <a:gd name="connsiteX221" fmla="*/ 249650 w 835437"/>
                <a:gd name="connsiteY221" fmla="*/ 121348 h 647509"/>
                <a:gd name="connsiteX222" fmla="*/ 245269 w 835437"/>
                <a:gd name="connsiteY222" fmla="*/ 125158 h 647509"/>
                <a:gd name="connsiteX223" fmla="*/ 244316 w 835437"/>
                <a:gd name="connsiteY223" fmla="*/ 130111 h 647509"/>
                <a:gd name="connsiteX224" fmla="*/ 240030 w 835437"/>
                <a:gd name="connsiteY224" fmla="*/ 133826 h 647509"/>
                <a:gd name="connsiteX225" fmla="*/ 242126 w 835437"/>
                <a:gd name="connsiteY225" fmla="*/ 138398 h 647509"/>
                <a:gd name="connsiteX226" fmla="*/ 238220 w 835437"/>
                <a:gd name="connsiteY226" fmla="*/ 145256 h 647509"/>
                <a:gd name="connsiteX227" fmla="*/ 234887 w 835437"/>
                <a:gd name="connsiteY227" fmla="*/ 144113 h 647509"/>
                <a:gd name="connsiteX228" fmla="*/ 231934 w 835437"/>
                <a:gd name="connsiteY228" fmla="*/ 146113 h 647509"/>
                <a:gd name="connsiteX229" fmla="*/ 228410 w 835437"/>
                <a:gd name="connsiteY229" fmla="*/ 143351 h 647509"/>
                <a:gd name="connsiteX230" fmla="*/ 218885 w 835437"/>
                <a:gd name="connsiteY230" fmla="*/ 144590 h 647509"/>
                <a:gd name="connsiteX231" fmla="*/ 214408 w 835437"/>
                <a:gd name="connsiteY231" fmla="*/ 146780 h 647509"/>
                <a:gd name="connsiteX232" fmla="*/ 216503 w 835437"/>
                <a:gd name="connsiteY232" fmla="*/ 151257 h 647509"/>
                <a:gd name="connsiteX233" fmla="*/ 214598 w 835437"/>
                <a:gd name="connsiteY233" fmla="*/ 161163 h 647509"/>
                <a:gd name="connsiteX234" fmla="*/ 216980 w 835437"/>
                <a:gd name="connsiteY234" fmla="*/ 167259 h 647509"/>
                <a:gd name="connsiteX235" fmla="*/ 215075 w 835437"/>
                <a:gd name="connsiteY235" fmla="*/ 177070 h 647509"/>
                <a:gd name="connsiteX236" fmla="*/ 210884 w 835437"/>
                <a:gd name="connsiteY236" fmla="*/ 182499 h 647509"/>
                <a:gd name="connsiteX237" fmla="*/ 202978 w 835437"/>
                <a:gd name="connsiteY237" fmla="*/ 183452 h 647509"/>
                <a:gd name="connsiteX238" fmla="*/ 193739 w 835437"/>
                <a:gd name="connsiteY238" fmla="*/ 186214 h 647509"/>
                <a:gd name="connsiteX239" fmla="*/ 194119 w 835437"/>
                <a:gd name="connsiteY239" fmla="*/ 189357 h 647509"/>
                <a:gd name="connsiteX240" fmla="*/ 191357 w 835437"/>
                <a:gd name="connsiteY240" fmla="*/ 192977 h 647509"/>
                <a:gd name="connsiteX241" fmla="*/ 187071 w 835437"/>
                <a:gd name="connsiteY241" fmla="*/ 196691 h 647509"/>
                <a:gd name="connsiteX242" fmla="*/ 188024 w 835437"/>
                <a:gd name="connsiteY242" fmla="*/ 204597 h 647509"/>
                <a:gd name="connsiteX243" fmla="*/ 180975 w 835437"/>
                <a:gd name="connsiteY243" fmla="*/ 211931 h 647509"/>
                <a:gd name="connsiteX244" fmla="*/ 179261 w 835437"/>
                <a:gd name="connsiteY244" fmla="*/ 223361 h 647509"/>
                <a:gd name="connsiteX245" fmla="*/ 183356 w 835437"/>
                <a:gd name="connsiteY245" fmla="*/ 230886 h 647509"/>
                <a:gd name="connsiteX246" fmla="*/ 185547 w 835437"/>
                <a:gd name="connsiteY246" fmla="*/ 235363 h 647509"/>
                <a:gd name="connsiteX247" fmla="*/ 179451 w 835437"/>
                <a:gd name="connsiteY247" fmla="*/ 237744 h 647509"/>
                <a:gd name="connsiteX248" fmla="*/ 182975 w 835437"/>
                <a:gd name="connsiteY248" fmla="*/ 240506 h 647509"/>
                <a:gd name="connsiteX249" fmla="*/ 178308 w 835437"/>
                <a:gd name="connsiteY249" fmla="*/ 241173 h 647509"/>
                <a:gd name="connsiteX250" fmla="*/ 178499 w 835437"/>
                <a:gd name="connsiteY250" fmla="*/ 242697 h 647509"/>
                <a:gd name="connsiteX251" fmla="*/ 172784 w 835437"/>
                <a:gd name="connsiteY251" fmla="*/ 235458 h 647509"/>
                <a:gd name="connsiteX252" fmla="*/ 166021 w 835437"/>
                <a:gd name="connsiteY252" fmla="*/ 233077 h 647509"/>
                <a:gd name="connsiteX253" fmla="*/ 166592 w 835437"/>
                <a:gd name="connsiteY253" fmla="*/ 237839 h 647509"/>
                <a:gd name="connsiteX254" fmla="*/ 164116 w 835437"/>
                <a:gd name="connsiteY254" fmla="*/ 242983 h 647509"/>
                <a:gd name="connsiteX255" fmla="*/ 165830 w 835437"/>
                <a:gd name="connsiteY255" fmla="*/ 244316 h 647509"/>
                <a:gd name="connsiteX256" fmla="*/ 165449 w 835437"/>
                <a:gd name="connsiteY256" fmla="*/ 254032 h 647509"/>
                <a:gd name="connsiteX257" fmla="*/ 167640 w 835437"/>
                <a:gd name="connsiteY257" fmla="*/ 258509 h 647509"/>
                <a:gd name="connsiteX258" fmla="*/ 168307 w 835437"/>
                <a:gd name="connsiteY258" fmla="*/ 263271 h 647509"/>
                <a:gd name="connsiteX259" fmla="*/ 161544 w 835437"/>
                <a:gd name="connsiteY259" fmla="*/ 260890 h 647509"/>
                <a:gd name="connsiteX260" fmla="*/ 162782 w 835437"/>
                <a:gd name="connsiteY260" fmla="*/ 270415 h 647509"/>
                <a:gd name="connsiteX261" fmla="*/ 160211 w 835437"/>
                <a:gd name="connsiteY261" fmla="*/ 275558 h 647509"/>
                <a:gd name="connsiteX262" fmla="*/ 162592 w 835437"/>
                <a:gd name="connsiteY262" fmla="*/ 281654 h 647509"/>
                <a:gd name="connsiteX263" fmla="*/ 165926 w 835437"/>
                <a:gd name="connsiteY263" fmla="*/ 282797 h 647509"/>
                <a:gd name="connsiteX264" fmla="*/ 164973 w 835437"/>
                <a:gd name="connsiteY264" fmla="*/ 287750 h 647509"/>
                <a:gd name="connsiteX265" fmla="*/ 168497 w 835437"/>
                <a:gd name="connsiteY265" fmla="*/ 290513 h 647509"/>
                <a:gd name="connsiteX266" fmla="*/ 168688 w 835437"/>
                <a:gd name="connsiteY266" fmla="*/ 292036 h 647509"/>
                <a:gd name="connsiteX267" fmla="*/ 167545 w 835437"/>
                <a:gd name="connsiteY267" fmla="*/ 295465 h 647509"/>
                <a:gd name="connsiteX268" fmla="*/ 163068 w 835437"/>
                <a:gd name="connsiteY268" fmla="*/ 297561 h 647509"/>
                <a:gd name="connsiteX269" fmla="*/ 162020 w 835437"/>
                <a:gd name="connsiteY269" fmla="*/ 302514 h 647509"/>
                <a:gd name="connsiteX270" fmla="*/ 158877 w 835437"/>
                <a:gd name="connsiteY270" fmla="*/ 302895 h 647509"/>
                <a:gd name="connsiteX271" fmla="*/ 160877 w 835437"/>
                <a:gd name="connsiteY271" fmla="*/ 305943 h 647509"/>
                <a:gd name="connsiteX272" fmla="*/ 161449 w 835437"/>
                <a:gd name="connsiteY272" fmla="*/ 310610 h 647509"/>
                <a:gd name="connsiteX273" fmla="*/ 168212 w 835437"/>
                <a:gd name="connsiteY273" fmla="*/ 312992 h 647509"/>
                <a:gd name="connsiteX274" fmla="*/ 165259 w 835437"/>
                <a:gd name="connsiteY274" fmla="*/ 314992 h 647509"/>
                <a:gd name="connsiteX275" fmla="*/ 152210 w 835437"/>
                <a:gd name="connsiteY275" fmla="*/ 313373 h 647509"/>
                <a:gd name="connsiteX276" fmla="*/ 143732 w 835437"/>
                <a:gd name="connsiteY276" fmla="*/ 309658 h 647509"/>
                <a:gd name="connsiteX277" fmla="*/ 138970 w 835437"/>
                <a:gd name="connsiteY277" fmla="*/ 310325 h 647509"/>
                <a:gd name="connsiteX278" fmla="*/ 135446 w 835437"/>
                <a:gd name="connsiteY278" fmla="*/ 307562 h 647509"/>
                <a:gd name="connsiteX279" fmla="*/ 137732 w 835437"/>
                <a:gd name="connsiteY279" fmla="*/ 300800 h 647509"/>
                <a:gd name="connsiteX280" fmla="*/ 135636 w 835437"/>
                <a:gd name="connsiteY280" fmla="*/ 296323 h 647509"/>
                <a:gd name="connsiteX281" fmla="*/ 132683 w 835437"/>
                <a:gd name="connsiteY281" fmla="*/ 298228 h 647509"/>
                <a:gd name="connsiteX282" fmla="*/ 131826 w 835437"/>
                <a:gd name="connsiteY282" fmla="*/ 291941 h 647509"/>
                <a:gd name="connsiteX283" fmla="*/ 128873 w 835437"/>
                <a:gd name="connsiteY283" fmla="*/ 293942 h 647509"/>
                <a:gd name="connsiteX284" fmla="*/ 126683 w 835437"/>
                <a:gd name="connsiteY284" fmla="*/ 289369 h 647509"/>
                <a:gd name="connsiteX285" fmla="*/ 126111 w 835437"/>
                <a:gd name="connsiteY285" fmla="*/ 284702 h 647509"/>
                <a:gd name="connsiteX286" fmla="*/ 127254 w 835437"/>
                <a:gd name="connsiteY286" fmla="*/ 281273 h 647509"/>
                <a:gd name="connsiteX287" fmla="*/ 134969 w 835437"/>
                <a:gd name="connsiteY287" fmla="*/ 278702 h 647509"/>
                <a:gd name="connsiteX288" fmla="*/ 136112 w 835437"/>
                <a:gd name="connsiteY288" fmla="*/ 275368 h 647509"/>
                <a:gd name="connsiteX289" fmla="*/ 132779 w 835437"/>
                <a:gd name="connsiteY289" fmla="*/ 274225 h 647509"/>
                <a:gd name="connsiteX290" fmla="*/ 135541 w 835437"/>
                <a:gd name="connsiteY290" fmla="*/ 270605 h 647509"/>
                <a:gd name="connsiteX291" fmla="*/ 130969 w 835437"/>
                <a:gd name="connsiteY291" fmla="*/ 272796 h 647509"/>
                <a:gd name="connsiteX292" fmla="*/ 131731 w 835437"/>
                <a:gd name="connsiteY292" fmla="*/ 266319 h 647509"/>
                <a:gd name="connsiteX293" fmla="*/ 138875 w 835437"/>
                <a:gd name="connsiteY293" fmla="*/ 258985 h 647509"/>
                <a:gd name="connsiteX294" fmla="*/ 133541 w 835437"/>
                <a:gd name="connsiteY294" fmla="*/ 254889 h 647509"/>
                <a:gd name="connsiteX295" fmla="*/ 128778 w 835437"/>
                <a:gd name="connsiteY295" fmla="*/ 255461 h 647509"/>
                <a:gd name="connsiteX296" fmla="*/ 131731 w 835437"/>
                <a:gd name="connsiteY296" fmla="*/ 253460 h 647509"/>
                <a:gd name="connsiteX297" fmla="*/ 130207 w 835437"/>
                <a:gd name="connsiteY297" fmla="*/ 253651 h 647509"/>
                <a:gd name="connsiteX298" fmla="*/ 134874 w 835437"/>
                <a:gd name="connsiteY298" fmla="*/ 253079 h 647509"/>
                <a:gd name="connsiteX299" fmla="*/ 127159 w 835437"/>
                <a:gd name="connsiteY299" fmla="*/ 242792 h 647509"/>
                <a:gd name="connsiteX300" fmla="*/ 121063 w 835437"/>
                <a:gd name="connsiteY300" fmla="*/ 245173 h 647509"/>
                <a:gd name="connsiteX301" fmla="*/ 118872 w 835437"/>
                <a:gd name="connsiteY301" fmla="*/ 240697 h 647509"/>
                <a:gd name="connsiteX302" fmla="*/ 112014 w 835437"/>
                <a:gd name="connsiteY302" fmla="*/ 236792 h 647509"/>
                <a:gd name="connsiteX303" fmla="*/ 111347 w 835437"/>
                <a:gd name="connsiteY303" fmla="*/ 232029 h 647509"/>
                <a:gd name="connsiteX304" fmla="*/ 102680 w 835437"/>
                <a:gd name="connsiteY304" fmla="*/ 226695 h 647509"/>
                <a:gd name="connsiteX305" fmla="*/ 105442 w 835437"/>
                <a:gd name="connsiteY305" fmla="*/ 223171 h 647509"/>
                <a:gd name="connsiteX306" fmla="*/ 109538 w 835437"/>
                <a:gd name="connsiteY306" fmla="*/ 217837 h 647509"/>
                <a:gd name="connsiteX307" fmla="*/ 107347 w 835437"/>
                <a:gd name="connsiteY307" fmla="*/ 213265 h 647509"/>
                <a:gd name="connsiteX308" fmla="*/ 111157 w 835437"/>
                <a:gd name="connsiteY308" fmla="*/ 217646 h 647509"/>
                <a:gd name="connsiteX309" fmla="*/ 114872 w 835437"/>
                <a:gd name="connsiteY309" fmla="*/ 221932 h 647509"/>
                <a:gd name="connsiteX310" fmla="*/ 116491 w 835437"/>
                <a:gd name="connsiteY310" fmla="*/ 221742 h 647509"/>
                <a:gd name="connsiteX311" fmla="*/ 121634 w 835437"/>
                <a:gd name="connsiteY311" fmla="*/ 224314 h 647509"/>
                <a:gd name="connsiteX312" fmla="*/ 119444 w 835437"/>
                <a:gd name="connsiteY312" fmla="*/ 219742 h 647509"/>
                <a:gd name="connsiteX313" fmla="*/ 120206 w 835437"/>
                <a:gd name="connsiteY313" fmla="*/ 213265 h 647509"/>
                <a:gd name="connsiteX314" fmla="*/ 118205 w 835437"/>
                <a:gd name="connsiteY314" fmla="*/ 210312 h 647509"/>
                <a:gd name="connsiteX315" fmla="*/ 113633 w 835437"/>
                <a:gd name="connsiteY315" fmla="*/ 199644 h 647509"/>
                <a:gd name="connsiteX316" fmla="*/ 109157 w 835437"/>
                <a:gd name="connsiteY316" fmla="*/ 201835 h 647509"/>
                <a:gd name="connsiteX317" fmla="*/ 101060 w 835437"/>
                <a:gd name="connsiteY317" fmla="*/ 201263 h 647509"/>
                <a:gd name="connsiteX318" fmla="*/ 97441 w 835437"/>
                <a:gd name="connsiteY318" fmla="*/ 198501 h 647509"/>
                <a:gd name="connsiteX319" fmla="*/ 86392 w 835437"/>
                <a:gd name="connsiteY319" fmla="*/ 199930 h 647509"/>
                <a:gd name="connsiteX320" fmla="*/ 77724 w 835437"/>
                <a:gd name="connsiteY320" fmla="*/ 194596 h 647509"/>
                <a:gd name="connsiteX321" fmla="*/ 78867 w 835437"/>
                <a:gd name="connsiteY321" fmla="*/ 191262 h 647509"/>
                <a:gd name="connsiteX322" fmla="*/ 78677 w 835437"/>
                <a:gd name="connsiteY322" fmla="*/ 176879 h 647509"/>
                <a:gd name="connsiteX323" fmla="*/ 74962 w 835437"/>
                <a:gd name="connsiteY323" fmla="*/ 172498 h 647509"/>
                <a:gd name="connsiteX324" fmla="*/ 78867 w 835437"/>
                <a:gd name="connsiteY324" fmla="*/ 152781 h 647509"/>
                <a:gd name="connsiteX325" fmla="*/ 76105 w 835437"/>
                <a:gd name="connsiteY325" fmla="*/ 156305 h 647509"/>
                <a:gd name="connsiteX326" fmla="*/ 73914 w 835437"/>
                <a:gd name="connsiteY326" fmla="*/ 151829 h 647509"/>
                <a:gd name="connsiteX327" fmla="*/ 68771 w 835437"/>
                <a:gd name="connsiteY327" fmla="*/ 149257 h 647509"/>
                <a:gd name="connsiteX328" fmla="*/ 66580 w 835437"/>
                <a:gd name="connsiteY328" fmla="*/ 144685 h 647509"/>
                <a:gd name="connsiteX329" fmla="*/ 67342 w 835437"/>
                <a:gd name="connsiteY329" fmla="*/ 138208 h 647509"/>
                <a:gd name="connsiteX330" fmla="*/ 52959 w 835437"/>
                <a:gd name="connsiteY330" fmla="*/ 138398 h 647509"/>
                <a:gd name="connsiteX331" fmla="*/ 41529 w 835437"/>
                <a:gd name="connsiteY331" fmla="*/ 136684 h 647509"/>
                <a:gd name="connsiteX332" fmla="*/ 29051 w 835437"/>
                <a:gd name="connsiteY332" fmla="*/ 139827 h 647509"/>
                <a:gd name="connsiteX333" fmla="*/ 26289 w 835437"/>
                <a:gd name="connsiteY333" fmla="*/ 143446 h 647509"/>
                <a:gd name="connsiteX334" fmla="*/ 18193 w 835437"/>
                <a:gd name="connsiteY334" fmla="*/ 142875 h 647509"/>
                <a:gd name="connsiteX335" fmla="*/ 19240 w 835437"/>
                <a:gd name="connsiteY335" fmla="*/ 137922 h 647509"/>
                <a:gd name="connsiteX336" fmla="*/ 16002 w 835437"/>
                <a:gd name="connsiteY336" fmla="*/ 138303 h 647509"/>
                <a:gd name="connsiteX337" fmla="*/ 14097 w 835437"/>
                <a:gd name="connsiteY337" fmla="*/ 135350 h 647509"/>
                <a:gd name="connsiteX338" fmla="*/ 8382 w 835437"/>
                <a:gd name="connsiteY338" fmla="*/ 140875 h 647509"/>
                <a:gd name="connsiteX339" fmla="*/ 12097 w 835437"/>
                <a:gd name="connsiteY339" fmla="*/ 145256 h 647509"/>
                <a:gd name="connsiteX340" fmla="*/ 18669 w 835437"/>
                <a:gd name="connsiteY340" fmla="*/ 146018 h 647509"/>
                <a:gd name="connsiteX341" fmla="*/ 25908 w 835437"/>
                <a:gd name="connsiteY341" fmla="*/ 153067 h 647509"/>
                <a:gd name="connsiteX342" fmla="*/ 26384 w 835437"/>
                <a:gd name="connsiteY342" fmla="*/ 156305 h 647509"/>
                <a:gd name="connsiteX343" fmla="*/ 22193 w 835437"/>
                <a:gd name="connsiteY343" fmla="*/ 161639 h 647509"/>
                <a:gd name="connsiteX344" fmla="*/ 23432 w 835437"/>
                <a:gd name="connsiteY344" fmla="*/ 171069 h 647509"/>
                <a:gd name="connsiteX345" fmla="*/ 32671 w 835437"/>
                <a:gd name="connsiteY345" fmla="*/ 181070 h 647509"/>
                <a:gd name="connsiteX346" fmla="*/ 33147 w 835437"/>
                <a:gd name="connsiteY346" fmla="*/ 184213 h 647509"/>
                <a:gd name="connsiteX347" fmla="*/ 35052 w 835437"/>
                <a:gd name="connsiteY347" fmla="*/ 187166 h 647509"/>
                <a:gd name="connsiteX348" fmla="*/ 33909 w 835437"/>
                <a:gd name="connsiteY348" fmla="*/ 190595 h 647509"/>
                <a:gd name="connsiteX349" fmla="*/ 25051 w 835437"/>
                <a:gd name="connsiteY349" fmla="*/ 196501 h 647509"/>
                <a:gd name="connsiteX350" fmla="*/ 21908 w 835437"/>
                <a:gd name="connsiteY350" fmla="*/ 196882 h 647509"/>
                <a:gd name="connsiteX351" fmla="*/ 20479 w 835437"/>
                <a:gd name="connsiteY351" fmla="*/ 198692 h 647509"/>
                <a:gd name="connsiteX352" fmla="*/ 15621 w 835437"/>
                <a:gd name="connsiteY352" fmla="*/ 197739 h 647509"/>
                <a:gd name="connsiteX353" fmla="*/ 11240 w 835437"/>
                <a:gd name="connsiteY353" fmla="*/ 201454 h 647509"/>
                <a:gd name="connsiteX354" fmla="*/ 5144 w 835437"/>
                <a:gd name="connsiteY354" fmla="*/ 203835 h 647509"/>
                <a:gd name="connsiteX355" fmla="*/ 8858 w 835437"/>
                <a:gd name="connsiteY355" fmla="*/ 208217 h 647509"/>
                <a:gd name="connsiteX356" fmla="*/ 7715 w 835437"/>
                <a:gd name="connsiteY356" fmla="*/ 211550 h 647509"/>
                <a:gd name="connsiteX357" fmla="*/ 6382 w 835437"/>
                <a:gd name="connsiteY357" fmla="*/ 213360 h 647509"/>
                <a:gd name="connsiteX358" fmla="*/ 0 w 835437"/>
                <a:gd name="connsiteY358" fmla="*/ 214122 h 647509"/>
                <a:gd name="connsiteX359" fmla="*/ 476 w 835437"/>
                <a:gd name="connsiteY359" fmla="*/ 217265 h 647509"/>
                <a:gd name="connsiteX360" fmla="*/ 6001 w 835437"/>
                <a:gd name="connsiteY360" fmla="*/ 222980 h 647509"/>
                <a:gd name="connsiteX361" fmla="*/ 10668 w 835437"/>
                <a:gd name="connsiteY361" fmla="*/ 222409 h 647509"/>
                <a:gd name="connsiteX362" fmla="*/ 11906 w 835437"/>
                <a:gd name="connsiteY362" fmla="*/ 231838 h 647509"/>
                <a:gd name="connsiteX363" fmla="*/ 24003 w 835437"/>
                <a:gd name="connsiteY363" fmla="*/ 238315 h 647509"/>
                <a:gd name="connsiteX364" fmla="*/ 34004 w 835437"/>
                <a:gd name="connsiteY364" fmla="*/ 241840 h 647509"/>
                <a:gd name="connsiteX365" fmla="*/ 35243 w 835437"/>
                <a:gd name="connsiteY365" fmla="*/ 238506 h 647509"/>
                <a:gd name="connsiteX366" fmla="*/ 41339 w 835437"/>
                <a:gd name="connsiteY366" fmla="*/ 236125 h 647509"/>
                <a:gd name="connsiteX367" fmla="*/ 41529 w 835437"/>
                <a:gd name="connsiteY367" fmla="*/ 237744 h 647509"/>
                <a:gd name="connsiteX368" fmla="*/ 35624 w 835437"/>
                <a:gd name="connsiteY368" fmla="*/ 241649 h 647509"/>
                <a:gd name="connsiteX369" fmla="*/ 42291 w 835437"/>
                <a:gd name="connsiteY369" fmla="*/ 244031 h 647509"/>
                <a:gd name="connsiteX370" fmla="*/ 45911 w 835437"/>
                <a:gd name="connsiteY370" fmla="*/ 246793 h 647509"/>
                <a:gd name="connsiteX371" fmla="*/ 45911 w 835437"/>
                <a:gd name="connsiteY371" fmla="*/ 246793 h 647509"/>
                <a:gd name="connsiteX372" fmla="*/ 44672 w 835437"/>
                <a:gd name="connsiteY372" fmla="*/ 250127 h 647509"/>
                <a:gd name="connsiteX373" fmla="*/ 47911 w 835437"/>
                <a:gd name="connsiteY373" fmla="*/ 249746 h 647509"/>
                <a:gd name="connsiteX374" fmla="*/ 46863 w 835437"/>
                <a:gd name="connsiteY374" fmla="*/ 254698 h 647509"/>
                <a:gd name="connsiteX375" fmla="*/ 48673 w 835437"/>
                <a:gd name="connsiteY375" fmla="*/ 256032 h 647509"/>
                <a:gd name="connsiteX376" fmla="*/ 44577 w 835437"/>
                <a:gd name="connsiteY376" fmla="*/ 261366 h 647509"/>
                <a:gd name="connsiteX377" fmla="*/ 46482 w 835437"/>
                <a:gd name="connsiteY377" fmla="*/ 264319 h 647509"/>
                <a:gd name="connsiteX378" fmla="*/ 49435 w 835437"/>
                <a:gd name="connsiteY378" fmla="*/ 262319 h 647509"/>
                <a:gd name="connsiteX379" fmla="*/ 57531 w 835437"/>
                <a:gd name="connsiteY379" fmla="*/ 262890 h 647509"/>
                <a:gd name="connsiteX380" fmla="*/ 58769 w 835437"/>
                <a:gd name="connsiteY380" fmla="*/ 272415 h 647509"/>
                <a:gd name="connsiteX381" fmla="*/ 61913 w 835437"/>
                <a:gd name="connsiteY381" fmla="*/ 272034 h 647509"/>
                <a:gd name="connsiteX382" fmla="*/ 62103 w 835437"/>
                <a:gd name="connsiteY382" fmla="*/ 273558 h 647509"/>
                <a:gd name="connsiteX383" fmla="*/ 63913 w 835437"/>
                <a:gd name="connsiteY383" fmla="*/ 274987 h 647509"/>
                <a:gd name="connsiteX384" fmla="*/ 60960 w 835437"/>
                <a:gd name="connsiteY384" fmla="*/ 276892 h 647509"/>
                <a:gd name="connsiteX385" fmla="*/ 61151 w 835437"/>
                <a:gd name="connsiteY385" fmla="*/ 278511 h 647509"/>
                <a:gd name="connsiteX386" fmla="*/ 65913 w 835437"/>
                <a:gd name="connsiteY386" fmla="*/ 277940 h 647509"/>
                <a:gd name="connsiteX387" fmla="*/ 67913 w 835437"/>
                <a:gd name="connsiteY387" fmla="*/ 280892 h 647509"/>
                <a:gd name="connsiteX388" fmla="*/ 71057 w 835437"/>
                <a:gd name="connsiteY388" fmla="*/ 280511 h 647509"/>
                <a:gd name="connsiteX389" fmla="*/ 66294 w 835437"/>
                <a:gd name="connsiteY389" fmla="*/ 281083 h 647509"/>
                <a:gd name="connsiteX390" fmla="*/ 65151 w 835437"/>
                <a:gd name="connsiteY390" fmla="*/ 284417 h 647509"/>
                <a:gd name="connsiteX391" fmla="*/ 74200 w 835437"/>
                <a:gd name="connsiteY391" fmla="*/ 292894 h 647509"/>
                <a:gd name="connsiteX392" fmla="*/ 75438 w 835437"/>
                <a:gd name="connsiteY392" fmla="*/ 302323 h 647509"/>
                <a:gd name="connsiteX393" fmla="*/ 77819 w 835437"/>
                <a:gd name="connsiteY393" fmla="*/ 308419 h 647509"/>
                <a:gd name="connsiteX394" fmla="*/ 78200 w 835437"/>
                <a:gd name="connsiteY394" fmla="*/ 311658 h 647509"/>
                <a:gd name="connsiteX395" fmla="*/ 76867 w 835437"/>
                <a:gd name="connsiteY395" fmla="*/ 313373 h 647509"/>
                <a:gd name="connsiteX396" fmla="*/ 83534 w 835437"/>
                <a:gd name="connsiteY396" fmla="*/ 315754 h 647509"/>
                <a:gd name="connsiteX397" fmla="*/ 79820 w 835437"/>
                <a:gd name="connsiteY397" fmla="*/ 324231 h 647509"/>
                <a:gd name="connsiteX398" fmla="*/ 71342 w 835437"/>
                <a:gd name="connsiteY398" fmla="*/ 333375 h 647509"/>
                <a:gd name="connsiteX399" fmla="*/ 73152 w 835437"/>
                <a:gd name="connsiteY399" fmla="*/ 334709 h 647509"/>
                <a:gd name="connsiteX400" fmla="*/ 73724 w 835437"/>
                <a:gd name="connsiteY400" fmla="*/ 339471 h 647509"/>
                <a:gd name="connsiteX401" fmla="*/ 67628 w 835437"/>
                <a:gd name="connsiteY401" fmla="*/ 341852 h 647509"/>
                <a:gd name="connsiteX402" fmla="*/ 66675 w 835437"/>
                <a:gd name="connsiteY402" fmla="*/ 346805 h 647509"/>
                <a:gd name="connsiteX403" fmla="*/ 68866 w 835437"/>
                <a:gd name="connsiteY403" fmla="*/ 351282 h 647509"/>
                <a:gd name="connsiteX404" fmla="*/ 69247 w 835437"/>
                <a:gd name="connsiteY404" fmla="*/ 367284 h 647509"/>
                <a:gd name="connsiteX405" fmla="*/ 71819 w 835437"/>
                <a:gd name="connsiteY405" fmla="*/ 374999 h 647509"/>
                <a:gd name="connsiteX406" fmla="*/ 70866 w 835437"/>
                <a:gd name="connsiteY406" fmla="*/ 379952 h 647509"/>
                <a:gd name="connsiteX407" fmla="*/ 74866 w 835437"/>
                <a:gd name="connsiteY407" fmla="*/ 385858 h 647509"/>
                <a:gd name="connsiteX408" fmla="*/ 77248 w 835437"/>
                <a:gd name="connsiteY408" fmla="*/ 391954 h 647509"/>
                <a:gd name="connsiteX409" fmla="*/ 85154 w 835437"/>
                <a:gd name="connsiteY409" fmla="*/ 390906 h 647509"/>
                <a:gd name="connsiteX410" fmla="*/ 90011 w 835437"/>
                <a:gd name="connsiteY410" fmla="*/ 391954 h 647509"/>
                <a:gd name="connsiteX411" fmla="*/ 87535 w 835437"/>
                <a:gd name="connsiteY411" fmla="*/ 397002 h 647509"/>
                <a:gd name="connsiteX412" fmla="*/ 91250 w 835437"/>
                <a:gd name="connsiteY412" fmla="*/ 401384 h 647509"/>
                <a:gd name="connsiteX413" fmla="*/ 97346 w 835437"/>
                <a:gd name="connsiteY413" fmla="*/ 399002 h 647509"/>
                <a:gd name="connsiteX414" fmla="*/ 100489 w 835437"/>
                <a:gd name="connsiteY414" fmla="*/ 398621 h 647509"/>
                <a:gd name="connsiteX415" fmla="*/ 100965 w 835437"/>
                <a:gd name="connsiteY415" fmla="*/ 401765 h 647509"/>
                <a:gd name="connsiteX416" fmla="*/ 101346 w 835437"/>
                <a:gd name="connsiteY416" fmla="*/ 404908 h 647509"/>
                <a:gd name="connsiteX417" fmla="*/ 106299 w 835437"/>
                <a:gd name="connsiteY417" fmla="*/ 405860 h 647509"/>
                <a:gd name="connsiteX418" fmla="*/ 106871 w 835437"/>
                <a:gd name="connsiteY418" fmla="*/ 410623 h 647509"/>
                <a:gd name="connsiteX419" fmla="*/ 110395 w 835437"/>
                <a:gd name="connsiteY419" fmla="*/ 413385 h 647509"/>
                <a:gd name="connsiteX420" fmla="*/ 114395 w 835437"/>
                <a:gd name="connsiteY420" fmla="*/ 419290 h 647509"/>
                <a:gd name="connsiteX421" fmla="*/ 121253 w 835437"/>
                <a:gd name="connsiteY421" fmla="*/ 423196 h 647509"/>
                <a:gd name="connsiteX422" fmla="*/ 110300 w 835437"/>
                <a:gd name="connsiteY422" fmla="*/ 437388 h 647509"/>
                <a:gd name="connsiteX423" fmla="*/ 111062 w 835437"/>
                <a:gd name="connsiteY423" fmla="*/ 443770 h 647509"/>
                <a:gd name="connsiteX424" fmla="*/ 116967 w 835437"/>
                <a:gd name="connsiteY424" fmla="*/ 439769 h 647509"/>
                <a:gd name="connsiteX425" fmla="*/ 122777 w 835437"/>
                <a:gd name="connsiteY425" fmla="*/ 447104 h 647509"/>
                <a:gd name="connsiteX426" fmla="*/ 136779 w 835437"/>
                <a:gd name="connsiteY426" fmla="*/ 443675 h 647509"/>
                <a:gd name="connsiteX427" fmla="*/ 146780 w 835437"/>
                <a:gd name="connsiteY427" fmla="*/ 447199 h 647509"/>
                <a:gd name="connsiteX428" fmla="*/ 148971 w 835437"/>
                <a:gd name="connsiteY428" fmla="*/ 451771 h 647509"/>
                <a:gd name="connsiteX429" fmla="*/ 150590 w 835437"/>
                <a:gd name="connsiteY429" fmla="*/ 451580 h 647509"/>
                <a:gd name="connsiteX430" fmla="*/ 150971 w 835437"/>
                <a:gd name="connsiteY430" fmla="*/ 454723 h 647509"/>
                <a:gd name="connsiteX431" fmla="*/ 149828 w 835437"/>
                <a:gd name="connsiteY431" fmla="*/ 458057 h 647509"/>
                <a:gd name="connsiteX432" fmla="*/ 154115 w 835437"/>
                <a:gd name="connsiteY432" fmla="*/ 467106 h 647509"/>
                <a:gd name="connsiteX433" fmla="*/ 154972 w 835437"/>
                <a:gd name="connsiteY433" fmla="*/ 473392 h 647509"/>
                <a:gd name="connsiteX434" fmla="*/ 158306 w 835437"/>
                <a:gd name="connsiteY434" fmla="*/ 474631 h 647509"/>
                <a:gd name="connsiteX435" fmla="*/ 163830 w 835437"/>
                <a:gd name="connsiteY435" fmla="*/ 467487 h 647509"/>
                <a:gd name="connsiteX436" fmla="*/ 168783 w 835437"/>
                <a:gd name="connsiteY436" fmla="*/ 468440 h 647509"/>
                <a:gd name="connsiteX437" fmla="*/ 170783 w 835437"/>
                <a:gd name="connsiteY437" fmla="*/ 471392 h 647509"/>
                <a:gd name="connsiteX438" fmla="*/ 171355 w 835437"/>
                <a:gd name="connsiteY438" fmla="*/ 476155 h 647509"/>
                <a:gd name="connsiteX439" fmla="*/ 182404 w 835437"/>
                <a:gd name="connsiteY439" fmla="*/ 487585 h 647509"/>
                <a:gd name="connsiteX440" fmla="*/ 184785 w 835437"/>
                <a:gd name="connsiteY440" fmla="*/ 493681 h 647509"/>
                <a:gd name="connsiteX441" fmla="*/ 190881 w 835437"/>
                <a:gd name="connsiteY441" fmla="*/ 491300 h 647509"/>
                <a:gd name="connsiteX442" fmla="*/ 191548 w 835437"/>
                <a:gd name="connsiteY442" fmla="*/ 496062 h 647509"/>
                <a:gd name="connsiteX443" fmla="*/ 196691 w 835437"/>
                <a:gd name="connsiteY443" fmla="*/ 498634 h 647509"/>
                <a:gd name="connsiteX444" fmla="*/ 207740 w 835437"/>
                <a:gd name="connsiteY444" fmla="*/ 497205 h 647509"/>
                <a:gd name="connsiteX445" fmla="*/ 207931 w 835437"/>
                <a:gd name="connsiteY445" fmla="*/ 498729 h 647509"/>
                <a:gd name="connsiteX446" fmla="*/ 203740 w 835437"/>
                <a:gd name="connsiteY446" fmla="*/ 504063 h 647509"/>
                <a:gd name="connsiteX447" fmla="*/ 208693 w 835437"/>
                <a:gd name="connsiteY447" fmla="*/ 505111 h 647509"/>
                <a:gd name="connsiteX448" fmla="*/ 207550 w 835437"/>
                <a:gd name="connsiteY448" fmla="*/ 508444 h 647509"/>
                <a:gd name="connsiteX449" fmla="*/ 218789 w 835437"/>
                <a:gd name="connsiteY449" fmla="*/ 508635 h 647509"/>
                <a:gd name="connsiteX450" fmla="*/ 222504 w 835437"/>
                <a:gd name="connsiteY450" fmla="*/ 512921 h 647509"/>
                <a:gd name="connsiteX451" fmla="*/ 227267 w 835437"/>
                <a:gd name="connsiteY451" fmla="*/ 512350 h 647509"/>
                <a:gd name="connsiteX452" fmla="*/ 231077 w 835437"/>
                <a:gd name="connsiteY452" fmla="*/ 516636 h 647509"/>
                <a:gd name="connsiteX453" fmla="*/ 230029 w 835437"/>
                <a:gd name="connsiteY453" fmla="*/ 521589 h 647509"/>
                <a:gd name="connsiteX454" fmla="*/ 224123 w 835437"/>
                <a:gd name="connsiteY454" fmla="*/ 525590 h 647509"/>
                <a:gd name="connsiteX455" fmla="*/ 227743 w 835437"/>
                <a:gd name="connsiteY455" fmla="*/ 528352 h 647509"/>
                <a:gd name="connsiteX456" fmla="*/ 226695 w 835437"/>
                <a:gd name="connsiteY456" fmla="*/ 533209 h 647509"/>
                <a:gd name="connsiteX457" fmla="*/ 234410 w 835437"/>
                <a:gd name="connsiteY457" fmla="*/ 530638 h 647509"/>
                <a:gd name="connsiteX458" fmla="*/ 237173 w 835437"/>
                <a:gd name="connsiteY458" fmla="*/ 527113 h 647509"/>
                <a:gd name="connsiteX459" fmla="*/ 243269 w 835437"/>
                <a:gd name="connsiteY459" fmla="*/ 524732 h 647509"/>
                <a:gd name="connsiteX460" fmla="*/ 244697 w 835437"/>
                <a:gd name="connsiteY460" fmla="*/ 522923 h 647509"/>
                <a:gd name="connsiteX461" fmla="*/ 247841 w 835437"/>
                <a:gd name="connsiteY461" fmla="*/ 522542 h 647509"/>
                <a:gd name="connsiteX462" fmla="*/ 254699 w 835437"/>
                <a:gd name="connsiteY462" fmla="*/ 526447 h 647509"/>
                <a:gd name="connsiteX463" fmla="*/ 253556 w 835437"/>
                <a:gd name="connsiteY463" fmla="*/ 529876 h 647509"/>
                <a:gd name="connsiteX464" fmla="*/ 259271 w 835437"/>
                <a:gd name="connsiteY464" fmla="*/ 537115 h 647509"/>
                <a:gd name="connsiteX465" fmla="*/ 267557 w 835437"/>
                <a:gd name="connsiteY465" fmla="*/ 539306 h 647509"/>
                <a:gd name="connsiteX466" fmla="*/ 273558 w 835437"/>
                <a:gd name="connsiteY466" fmla="*/ 548164 h 647509"/>
                <a:gd name="connsiteX467" fmla="*/ 270796 w 835437"/>
                <a:gd name="connsiteY467" fmla="*/ 551688 h 647509"/>
                <a:gd name="connsiteX468" fmla="*/ 267462 w 835437"/>
                <a:gd name="connsiteY468" fmla="*/ 563309 h 647509"/>
                <a:gd name="connsiteX469" fmla="*/ 261176 w 835437"/>
                <a:gd name="connsiteY469" fmla="*/ 564166 h 647509"/>
                <a:gd name="connsiteX470" fmla="*/ 259747 w 835437"/>
                <a:gd name="connsiteY470" fmla="*/ 565976 h 647509"/>
                <a:gd name="connsiteX471" fmla="*/ 252889 w 835437"/>
                <a:gd name="connsiteY471" fmla="*/ 574834 h 647509"/>
                <a:gd name="connsiteX472" fmla="*/ 253460 w 835437"/>
                <a:gd name="connsiteY472" fmla="*/ 579596 h 647509"/>
                <a:gd name="connsiteX473" fmla="*/ 258032 w 835437"/>
                <a:gd name="connsiteY473" fmla="*/ 590169 h 647509"/>
                <a:gd name="connsiteX474" fmla="*/ 269272 w 835437"/>
                <a:gd name="connsiteY474" fmla="*/ 590360 h 647509"/>
                <a:gd name="connsiteX475" fmla="*/ 268129 w 835437"/>
                <a:gd name="connsiteY475" fmla="*/ 593693 h 647509"/>
                <a:gd name="connsiteX476" fmla="*/ 271272 w 835437"/>
                <a:gd name="connsiteY476" fmla="*/ 593312 h 647509"/>
                <a:gd name="connsiteX477" fmla="*/ 274987 w 835437"/>
                <a:gd name="connsiteY477" fmla="*/ 597694 h 647509"/>
                <a:gd name="connsiteX478" fmla="*/ 281940 w 835437"/>
                <a:gd name="connsiteY478" fmla="*/ 601599 h 647509"/>
                <a:gd name="connsiteX479" fmla="*/ 289846 w 835437"/>
                <a:gd name="connsiteY479" fmla="*/ 600551 h 647509"/>
                <a:gd name="connsiteX480" fmla="*/ 296704 w 835437"/>
                <a:gd name="connsiteY480" fmla="*/ 604552 h 647509"/>
                <a:gd name="connsiteX481" fmla="*/ 303467 w 835437"/>
                <a:gd name="connsiteY481" fmla="*/ 606838 h 647509"/>
                <a:gd name="connsiteX482" fmla="*/ 305467 w 835437"/>
                <a:gd name="connsiteY482" fmla="*/ 609790 h 647509"/>
                <a:gd name="connsiteX483" fmla="*/ 307658 w 835437"/>
                <a:gd name="connsiteY483" fmla="*/ 627221 h 647509"/>
                <a:gd name="connsiteX484" fmla="*/ 317754 w 835437"/>
                <a:gd name="connsiteY484" fmla="*/ 630745 h 647509"/>
                <a:gd name="connsiteX485" fmla="*/ 328803 w 835437"/>
                <a:gd name="connsiteY485" fmla="*/ 629317 h 647509"/>
                <a:gd name="connsiteX486" fmla="*/ 335852 w 835437"/>
                <a:gd name="connsiteY486" fmla="*/ 634841 h 647509"/>
                <a:gd name="connsiteX487" fmla="*/ 338519 w 835437"/>
                <a:gd name="connsiteY487" fmla="*/ 642461 h 647509"/>
                <a:gd name="connsiteX488" fmla="*/ 342424 w 835437"/>
                <a:gd name="connsiteY488" fmla="*/ 635603 h 647509"/>
                <a:gd name="connsiteX489" fmla="*/ 349091 w 835437"/>
                <a:gd name="connsiteY489" fmla="*/ 637889 h 647509"/>
                <a:gd name="connsiteX490" fmla="*/ 349282 w 835437"/>
                <a:gd name="connsiteY490" fmla="*/ 626650 h 647509"/>
                <a:gd name="connsiteX491" fmla="*/ 352235 w 835437"/>
                <a:gd name="connsiteY491" fmla="*/ 624745 h 647509"/>
                <a:gd name="connsiteX492" fmla="*/ 356997 w 835437"/>
                <a:gd name="connsiteY492" fmla="*/ 624078 h 647509"/>
                <a:gd name="connsiteX493" fmla="*/ 356616 w 835437"/>
                <a:gd name="connsiteY493" fmla="*/ 620935 h 647509"/>
                <a:gd name="connsiteX494" fmla="*/ 359950 w 835437"/>
                <a:gd name="connsiteY494" fmla="*/ 622173 h 647509"/>
                <a:gd name="connsiteX495" fmla="*/ 359569 w 835437"/>
                <a:gd name="connsiteY495" fmla="*/ 618935 h 647509"/>
                <a:gd name="connsiteX496" fmla="*/ 373761 w 835437"/>
                <a:gd name="connsiteY496" fmla="*/ 617125 h 647509"/>
                <a:gd name="connsiteX497" fmla="*/ 383762 w 835437"/>
                <a:gd name="connsiteY497" fmla="*/ 620649 h 647509"/>
                <a:gd name="connsiteX498" fmla="*/ 389382 w 835437"/>
                <a:gd name="connsiteY498" fmla="*/ 626364 h 647509"/>
                <a:gd name="connsiteX499" fmla="*/ 391192 w 835437"/>
                <a:gd name="connsiteY499" fmla="*/ 640652 h 647509"/>
                <a:gd name="connsiteX500" fmla="*/ 393097 w 835437"/>
                <a:gd name="connsiteY500" fmla="*/ 643604 h 647509"/>
                <a:gd name="connsiteX501" fmla="*/ 391763 w 835437"/>
                <a:gd name="connsiteY501" fmla="*/ 645319 h 647509"/>
                <a:gd name="connsiteX502" fmla="*/ 400050 w 835437"/>
                <a:gd name="connsiteY502" fmla="*/ 647510 h 647509"/>
                <a:gd name="connsiteX503" fmla="*/ 399479 w 835437"/>
                <a:gd name="connsiteY503" fmla="*/ 642747 h 647509"/>
                <a:gd name="connsiteX504" fmla="*/ 398050 w 835437"/>
                <a:gd name="connsiteY504" fmla="*/ 631698 h 647509"/>
                <a:gd name="connsiteX505" fmla="*/ 394526 w 835437"/>
                <a:gd name="connsiteY505" fmla="*/ 628936 h 647509"/>
                <a:gd name="connsiteX506" fmla="*/ 394240 w 835437"/>
                <a:gd name="connsiteY506" fmla="*/ 627412 h 647509"/>
                <a:gd name="connsiteX507" fmla="*/ 406718 w 835437"/>
                <a:gd name="connsiteY507" fmla="*/ 624173 h 647509"/>
                <a:gd name="connsiteX508" fmla="*/ 421100 w 835437"/>
                <a:gd name="connsiteY508" fmla="*/ 623983 h 647509"/>
                <a:gd name="connsiteX509" fmla="*/ 419862 w 835437"/>
                <a:gd name="connsiteY509" fmla="*/ 614458 h 647509"/>
                <a:gd name="connsiteX510" fmla="*/ 414338 w 835437"/>
                <a:gd name="connsiteY510" fmla="*/ 608743 h 647509"/>
                <a:gd name="connsiteX511" fmla="*/ 415766 w 835437"/>
                <a:gd name="connsiteY511" fmla="*/ 607028 h 647509"/>
                <a:gd name="connsiteX512" fmla="*/ 422434 w 835437"/>
                <a:gd name="connsiteY512" fmla="*/ 609314 h 647509"/>
                <a:gd name="connsiteX513" fmla="*/ 429387 w 835437"/>
                <a:gd name="connsiteY513" fmla="*/ 613315 h 647509"/>
                <a:gd name="connsiteX514" fmla="*/ 434150 w 835437"/>
                <a:gd name="connsiteY514" fmla="*/ 612648 h 647509"/>
                <a:gd name="connsiteX515" fmla="*/ 442532 w 835437"/>
                <a:gd name="connsiteY515" fmla="*/ 603599 h 647509"/>
                <a:gd name="connsiteX516" fmla="*/ 443770 w 835437"/>
                <a:gd name="connsiteY516" fmla="*/ 600265 h 647509"/>
                <a:gd name="connsiteX517" fmla="*/ 449104 w 835437"/>
                <a:gd name="connsiteY517" fmla="*/ 604361 h 647509"/>
                <a:gd name="connsiteX518" fmla="*/ 455200 w 835437"/>
                <a:gd name="connsiteY518" fmla="*/ 601980 h 647509"/>
                <a:gd name="connsiteX519" fmla="*/ 456533 w 835437"/>
                <a:gd name="connsiteY519" fmla="*/ 600170 h 647509"/>
                <a:gd name="connsiteX520" fmla="*/ 457962 w 835437"/>
                <a:gd name="connsiteY520" fmla="*/ 598456 h 647509"/>
                <a:gd name="connsiteX521" fmla="*/ 459962 w 835437"/>
                <a:gd name="connsiteY521" fmla="*/ 601408 h 647509"/>
                <a:gd name="connsiteX522" fmla="*/ 463677 w 835437"/>
                <a:gd name="connsiteY522" fmla="*/ 605695 h 647509"/>
                <a:gd name="connsiteX523" fmla="*/ 469392 w 835437"/>
                <a:gd name="connsiteY523" fmla="*/ 600170 h 647509"/>
                <a:gd name="connsiteX524" fmla="*/ 473964 w 835437"/>
                <a:gd name="connsiteY524" fmla="*/ 597980 h 647509"/>
                <a:gd name="connsiteX525" fmla="*/ 474917 w 835437"/>
                <a:gd name="connsiteY525" fmla="*/ 593027 h 647509"/>
                <a:gd name="connsiteX526" fmla="*/ 479870 w 835437"/>
                <a:gd name="connsiteY526" fmla="*/ 593979 h 647509"/>
                <a:gd name="connsiteX527" fmla="*/ 483394 w 835437"/>
                <a:gd name="connsiteY527" fmla="*/ 596741 h 647509"/>
                <a:gd name="connsiteX528" fmla="*/ 489680 w 835437"/>
                <a:gd name="connsiteY528" fmla="*/ 595979 h 647509"/>
                <a:gd name="connsiteX529" fmla="*/ 493109 w 835437"/>
                <a:gd name="connsiteY529" fmla="*/ 597122 h 647509"/>
                <a:gd name="connsiteX530" fmla="*/ 492062 w 835437"/>
                <a:gd name="connsiteY530" fmla="*/ 602075 h 647509"/>
                <a:gd name="connsiteX531" fmla="*/ 495014 w 835437"/>
                <a:gd name="connsiteY531" fmla="*/ 600075 h 647509"/>
                <a:gd name="connsiteX532" fmla="*/ 493871 w 835437"/>
                <a:gd name="connsiteY532" fmla="*/ 603504 h 647509"/>
                <a:gd name="connsiteX533" fmla="*/ 495872 w 835437"/>
                <a:gd name="connsiteY533" fmla="*/ 606457 h 647509"/>
                <a:gd name="connsiteX534" fmla="*/ 499015 w 835437"/>
                <a:gd name="connsiteY534" fmla="*/ 605981 h 647509"/>
                <a:gd name="connsiteX535" fmla="*/ 498634 w 835437"/>
                <a:gd name="connsiteY535" fmla="*/ 602837 h 647509"/>
                <a:gd name="connsiteX536" fmla="*/ 503777 w 835437"/>
                <a:gd name="connsiteY536" fmla="*/ 605409 h 647509"/>
                <a:gd name="connsiteX537" fmla="*/ 509683 w 835437"/>
                <a:gd name="connsiteY537" fmla="*/ 601408 h 647509"/>
                <a:gd name="connsiteX538" fmla="*/ 516731 w 835437"/>
                <a:gd name="connsiteY538" fmla="*/ 606933 h 647509"/>
                <a:gd name="connsiteX539" fmla="*/ 517779 w 835437"/>
                <a:gd name="connsiteY539" fmla="*/ 614839 h 647509"/>
                <a:gd name="connsiteX540" fmla="*/ 520732 w 835437"/>
                <a:gd name="connsiteY540" fmla="*/ 612839 h 647509"/>
                <a:gd name="connsiteX541" fmla="*/ 527018 w 835437"/>
                <a:gd name="connsiteY541" fmla="*/ 612077 h 647509"/>
                <a:gd name="connsiteX542" fmla="*/ 536924 w 835437"/>
                <a:gd name="connsiteY542" fmla="*/ 613982 h 647509"/>
                <a:gd name="connsiteX543" fmla="*/ 543592 w 835437"/>
                <a:gd name="connsiteY543" fmla="*/ 603504 h 647509"/>
                <a:gd name="connsiteX544" fmla="*/ 550069 w 835437"/>
                <a:gd name="connsiteY544" fmla="*/ 604266 h 647509"/>
                <a:gd name="connsiteX545" fmla="*/ 555212 w 835437"/>
                <a:gd name="connsiteY545" fmla="*/ 606838 h 647509"/>
                <a:gd name="connsiteX546" fmla="*/ 555689 w 835437"/>
                <a:gd name="connsiteY546" fmla="*/ 609981 h 647509"/>
                <a:gd name="connsiteX547" fmla="*/ 559403 w 835437"/>
                <a:gd name="connsiteY547" fmla="*/ 614362 h 647509"/>
                <a:gd name="connsiteX548" fmla="*/ 568071 w 835437"/>
                <a:gd name="connsiteY548" fmla="*/ 619697 h 647509"/>
                <a:gd name="connsiteX549" fmla="*/ 571500 w 835437"/>
                <a:gd name="connsiteY549" fmla="*/ 620840 h 647509"/>
                <a:gd name="connsiteX550" fmla="*/ 571310 w 835437"/>
                <a:gd name="connsiteY550" fmla="*/ 619220 h 647509"/>
                <a:gd name="connsiteX551" fmla="*/ 570452 w 835437"/>
                <a:gd name="connsiteY551" fmla="*/ 612934 h 647509"/>
                <a:gd name="connsiteX552" fmla="*/ 577215 w 835437"/>
                <a:gd name="connsiteY552" fmla="*/ 615315 h 647509"/>
                <a:gd name="connsiteX553" fmla="*/ 576929 w 835437"/>
                <a:gd name="connsiteY553" fmla="*/ 613696 h 647509"/>
                <a:gd name="connsiteX554" fmla="*/ 576739 w 835437"/>
                <a:gd name="connsiteY554" fmla="*/ 612172 h 647509"/>
                <a:gd name="connsiteX555" fmla="*/ 579882 w 835437"/>
                <a:gd name="connsiteY555" fmla="*/ 611791 h 647509"/>
                <a:gd name="connsiteX556" fmla="*/ 584073 w 835437"/>
                <a:gd name="connsiteY556" fmla="*/ 606361 h 647509"/>
                <a:gd name="connsiteX557" fmla="*/ 587026 w 835437"/>
                <a:gd name="connsiteY557" fmla="*/ 604457 h 647509"/>
                <a:gd name="connsiteX558" fmla="*/ 589788 w 835437"/>
                <a:gd name="connsiteY558" fmla="*/ 600837 h 647509"/>
                <a:gd name="connsiteX559" fmla="*/ 593122 w 835437"/>
                <a:gd name="connsiteY559" fmla="*/ 602075 h 647509"/>
                <a:gd name="connsiteX560" fmla="*/ 594455 w 835437"/>
                <a:gd name="connsiteY560" fmla="*/ 600265 h 647509"/>
                <a:gd name="connsiteX561" fmla="*/ 598646 w 835437"/>
                <a:gd name="connsiteY561" fmla="*/ 594932 h 647509"/>
                <a:gd name="connsiteX562" fmla="*/ 598075 w 835437"/>
                <a:gd name="connsiteY562" fmla="*/ 590169 h 647509"/>
                <a:gd name="connsiteX563" fmla="*/ 592931 w 835437"/>
                <a:gd name="connsiteY563" fmla="*/ 587597 h 647509"/>
                <a:gd name="connsiteX564" fmla="*/ 597408 w 835437"/>
                <a:gd name="connsiteY564" fmla="*/ 585407 h 647509"/>
                <a:gd name="connsiteX565" fmla="*/ 594074 w 835437"/>
                <a:gd name="connsiteY565" fmla="*/ 584264 h 647509"/>
                <a:gd name="connsiteX566" fmla="*/ 597027 w 835437"/>
                <a:gd name="connsiteY566" fmla="*/ 582263 h 647509"/>
                <a:gd name="connsiteX567" fmla="*/ 600361 w 835437"/>
                <a:gd name="connsiteY567" fmla="*/ 583502 h 647509"/>
                <a:gd name="connsiteX568" fmla="*/ 599980 w 835437"/>
                <a:gd name="connsiteY568" fmla="*/ 580358 h 647509"/>
                <a:gd name="connsiteX569" fmla="*/ 599980 w 835437"/>
                <a:gd name="connsiteY569" fmla="*/ 580358 h 647509"/>
                <a:gd name="connsiteX570" fmla="*/ 592074 w 835437"/>
                <a:gd name="connsiteY570" fmla="*/ 568452 h 647509"/>
                <a:gd name="connsiteX571" fmla="*/ 592646 w 835437"/>
                <a:gd name="connsiteY571" fmla="*/ 560451 h 647509"/>
                <a:gd name="connsiteX572" fmla="*/ 596932 w 835437"/>
                <a:gd name="connsiteY572" fmla="*/ 556641 h 647509"/>
                <a:gd name="connsiteX573" fmla="*/ 604838 w 835437"/>
                <a:gd name="connsiteY573" fmla="*/ 555688 h 647509"/>
                <a:gd name="connsiteX574" fmla="*/ 614934 w 835437"/>
                <a:gd name="connsiteY574" fmla="*/ 559213 h 647509"/>
                <a:gd name="connsiteX575" fmla="*/ 617315 w 835437"/>
                <a:gd name="connsiteY575" fmla="*/ 552450 h 647509"/>
                <a:gd name="connsiteX576" fmla="*/ 622459 w 835437"/>
                <a:gd name="connsiteY576" fmla="*/ 555022 h 647509"/>
                <a:gd name="connsiteX577" fmla="*/ 621030 w 835437"/>
                <a:gd name="connsiteY577" fmla="*/ 556832 h 647509"/>
                <a:gd name="connsiteX578" fmla="*/ 624173 w 835437"/>
                <a:gd name="connsiteY578" fmla="*/ 556355 h 647509"/>
                <a:gd name="connsiteX579" fmla="*/ 622554 w 835437"/>
                <a:gd name="connsiteY579" fmla="*/ 543782 h 647509"/>
                <a:gd name="connsiteX580" fmla="*/ 632079 w 835437"/>
                <a:gd name="connsiteY580" fmla="*/ 542544 h 647509"/>
                <a:gd name="connsiteX581" fmla="*/ 635794 w 835437"/>
                <a:gd name="connsiteY581" fmla="*/ 546926 h 647509"/>
                <a:gd name="connsiteX582" fmla="*/ 638556 w 835437"/>
                <a:gd name="connsiteY582" fmla="*/ 543306 h 647509"/>
                <a:gd name="connsiteX583" fmla="*/ 638175 w 835437"/>
                <a:gd name="connsiteY583" fmla="*/ 540163 h 647509"/>
                <a:gd name="connsiteX584" fmla="*/ 642652 w 835437"/>
                <a:gd name="connsiteY584" fmla="*/ 537972 h 647509"/>
                <a:gd name="connsiteX585" fmla="*/ 642461 w 835437"/>
                <a:gd name="connsiteY585" fmla="*/ 536448 h 647509"/>
                <a:gd name="connsiteX586" fmla="*/ 647414 w 835437"/>
                <a:gd name="connsiteY586" fmla="*/ 537401 h 647509"/>
                <a:gd name="connsiteX587" fmla="*/ 650176 w 835437"/>
                <a:gd name="connsiteY587" fmla="*/ 533781 h 647509"/>
                <a:gd name="connsiteX588" fmla="*/ 649605 w 835437"/>
                <a:gd name="connsiteY588" fmla="*/ 529114 h 647509"/>
                <a:gd name="connsiteX589" fmla="*/ 656082 w 835437"/>
                <a:gd name="connsiteY589" fmla="*/ 529876 h 647509"/>
                <a:gd name="connsiteX590" fmla="*/ 659035 w 835437"/>
                <a:gd name="connsiteY590" fmla="*/ 527876 h 647509"/>
                <a:gd name="connsiteX591" fmla="*/ 659987 w 835437"/>
                <a:gd name="connsiteY591" fmla="*/ 522923 h 647509"/>
                <a:gd name="connsiteX592" fmla="*/ 662940 w 835437"/>
                <a:gd name="connsiteY592" fmla="*/ 521017 h 647509"/>
                <a:gd name="connsiteX593" fmla="*/ 671227 w 835437"/>
                <a:gd name="connsiteY593" fmla="*/ 523113 h 647509"/>
                <a:gd name="connsiteX594" fmla="*/ 675418 w 835437"/>
                <a:gd name="connsiteY594" fmla="*/ 517779 h 647509"/>
                <a:gd name="connsiteX595" fmla="*/ 675227 w 835437"/>
                <a:gd name="connsiteY595" fmla="*/ 516160 h 647509"/>
                <a:gd name="connsiteX596" fmla="*/ 672084 w 835437"/>
                <a:gd name="connsiteY596" fmla="*/ 516636 h 647509"/>
                <a:gd name="connsiteX597" fmla="*/ 670274 w 835437"/>
                <a:gd name="connsiteY597" fmla="*/ 515207 h 647509"/>
                <a:gd name="connsiteX598" fmla="*/ 672846 w 835437"/>
                <a:gd name="connsiteY598" fmla="*/ 510064 h 647509"/>
                <a:gd name="connsiteX599" fmla="*/ 677990 w 835437"/>
                <a:gd name="connsiteY599" fmla="*/ 512636 h 647509"/>
                <a:gd name="connsiteX600" fmla="*/ 682657 w 835437"/>
                <a:gd name="connsiteY600" fmla="*/ 512064 h 647509"/>
                <a:gd name="connsiteX601" fmla="*/ 681514 w 835437"/>
                <a:gd name="connsiteY601" fmla="*/ 502539 h 647509"/>
                <a:gd name="connsiteX602" fmla="*/ 682847 w 835437"/>
                <a:gd name="connsiteY602" fmla="*/ 500825 h 647509"/>
                <a:gd name="connsiteX603" fmla="*/ 683038 w 835437"/>
                <a:gd name="connsiteY603" fmla="*/ 502348 h 647509"/>
                <a:gd name="connsiteX604" fmla="*/ 685991 w 835437"/>
                <a:gd name="connsiteY604" fmla="*/ 500444 h 647509"/>
                <a:gd name="connsiteX605" fmla="*/ 687419 w 835437"/>
                <a:gd name="connsiteY605" fmla="*/ 498634 h 647509"/>
                <a:gd name="connsiteX606" fmla="*/ 693134 w 835437"/>
                <a:gd name="connsiteY606" fmla="*/ 493109 h 647509"/>
                <a:gd name="connsiteX607" fmla="*/ 693896 w 835437"/>
                <a:gd name="connsiteY607" fmla="*/ 499396 h 647509"/>
                <a:gd name="connsiteX608" fmla="*/ 695325 w 835437"/>
                <a:gd name="connsiteY608" fmla="*/ 497586 h 647509"/>
                <a:gd name="connsiteX609" fmla="*/ 696087 w 835437"/>
                <a:gd name="connsiteY609" fmla="*/ 503968 h 647509"/>
                <a:gd name="connsiteX610" fmla="*/ 699611 w 835437"/>
                <a:gd name="connsiteY610" fmla="*/ 506635 h 647509"/>
                <a:gd name="connsiteX611" fmla="*/ 702374 w 835437"/>
                <a:gd name="connsiteY611" fmla="*/ 503111 h 647509"/>
                <a:gd name="connsiteX612" fmla="*/ 707898 w 835437"/>
                <a:gd name="connsiteY612" fmla="*/ 508825 h 647509"/>
                <a:gd name="connsiteX613" fmla="*/ 712089 w 835437"/>
                <a:gd name="connsiteY613" fmla="*/ 503492 h 647509"/>
                <a:gd name="connsiteX614" fmla="*/ 715804 w 835437"/>
                <a:gd name="connsiteY614" fmla="*/ 507778 h 647509"/>
                <a:gd name="connsiteX615" fmla="*/ 715613 w 835437"/>
                <a:gd name="connsiteY615" fmla="*/ 506254 h 647509"/>
                <a:gd name="connsiteX616" fmla="*/ 720566 w 835437"/>
                <a:gd name="connsiteY616" fmla="*/ 507206 h 647509"/>
                <a:gd name="connsiteX617" fmla="*/ 728091 w 835437"/>
                <a:gd name="connsiteY617" fmla="*/ 503015 h 647509"/>
                <a:gd name="connsiteX618" fmla="*/ 728472 w 835437"/>
                <a:gd name="connsiteY618" fmla="*/ 506254 h 647509"/>
                <a:gd name="connsiteX619" fmla="*/ 726853 w 835437"/>
                <a:gd name="connsiteY619" fmla="*/ 506444 h 647509"/>
                <a:gd name="connsiteX620" fmla="*/ 733616 w 835437"/>
                <a:gd name="connsiteY620" fmla="*/ 508730 h 647509"/>
                <a:gd name="connsiteX621" fmla="*/ 734949 w 835437"/>
                <a:gd name="connsiteY621" fmla="*/ 507016 h 647509"/>
                <a:gd name="connsiteX622" fmla="*/ 736568 w 835437"/>
                <a:gd name="connsiteY622" fmla="*/ 506825 h 647509"/>
                <a:gd name="connsiteX623" fmla="*/ 737330 w 835437"/>
                <a:gd name="connsiteY623" fmla="*/ 513112 h 647509"/>
                <a:gd name="connsiteX624" fmla="*/ 738950 w 835437"/>
                <a:gd name="connsiteY624" fmla="*/ 512921 h 647509"/>
                <a:gd name="connsiteX625" fmla="*/ 738759 w 835437"/>
                <a:gd name="connsiteY625" fmla="*/ 511302 h 647509"/>
                <a:gd name="connsiteX626" fmla="*/ 742283 w 835437"/>
                <a:gd name="connsiteY626" fmla="*/ 514064 h 647509"/>
                <a:gd name="connsiteX627" fmla="*/ 743903 w 835437"/>
                <a:gd name="connsiteY627" fmla="*/ 513874 h 647509"/>
                <a:gd name="connsiteX628" fmla="*/ 745808 w 835437"/>
                <a:gd name="connsiteY628" fmla="*/ 516827 h 647509"/>
                <a:gd name="connsiteX629" fmla="*/ 747427 w 835437"/>
                <a:gd name="connsiteY629" fmla="*/ 516636 h 647509"/>
                <a:gd name="connsiteX630" fmla="*/ 749237 w 835437"/>
                <a:gd name="connsiteY630" fmla="*/ 517969 h 647509"/>
                <a:gd name="connsiteX631" fmla="*/ 749999 w 835437"/>
                <a:gd name="connsiteY631" fmla="*/ 524351 h 647509"/>
                <a:gd name="connsiteX632" fmla="*/ 751808 w 835437"/>
                <a:gd name="connsiteY632" fmla="*/ 525685 h 647509"/>
                <a:gd name="connsiteX633" fmla="*/ 752189 w 835437"/>
                <a:gd name="connsiteY633" fmla="*/ 516065 h 647509"/>
                <a:gd name="connsiteX634" fmla="*/ 753713 w 835437"/>
                <a:gd name="connsiteY634" fmla="*/ 515779 h 647509"/>
                <a:gd name="connsiteX635" fmla="*/ 752761 w 835437"/>
                <a:gd name="connsiteY635" fmla="*/ 520732 h 647509"/>
                <a:gd name="connsiteX636" fmla="*/ 754761 w 835437"/>
                <a:gd name="connsiteY636" fmla="*/ 523684 h 647509"/>
                <a:gd name="connsiteX637" fmla="*/ 760095 w 835437"/>
                <a:gd name="connsiteY637" fmla="*/ 527876 h 647509"/>
                <a:gd name="connsiteX638" fmla="*/ 769334 w 835437"/>
                <a:gd name="connsiteY638" fmla="*/ 537877 h 647509"/>
                <a:gd name="connsiteX639" fmla="*/ 781241 w 835437"/>
                <a:gd name="connsiteY639" fmla="*/ 542830 h 647509"/>
                <a:gd name="connsiteX640" fmla="*/ 785717 w 835437"/>
                <a:gd name="connsiteY640" fmla="*/ 540639 h 647509"/>
                <a:gd name="connsiteX641" fmla="*/ 788765 w 835437"/>
                <a:gd name="connsiteY641" fmla="*/ 538639 h 647509"/>
                <a:gd name="connsiteX642" fmla="*/ 784574 w 835437"/>
                <a:gd name="connsiteY642" fmla="*/ 531114 h 647509"/>
                <a:gd name="connsiteX643" fmla="*/ 783336 w 835437"/>
                <a:gd name="connsiteY643" fmla="*/ 521684 h 647509"/>
                <a:gd name="connsiteX644" fmla="*/ 788480 w 835437"/>
                <a:gd name="connsiteY644" fmla="*/ 511397 h 647509"/>
                <a:gd name="connsiteX645" fmla="*/ 793147 w 835437"/>
                <a:gd name="connsiteY645" fmla="*/ 510826 h 647509"/>
                <a:gd name="connsiteX646" fmla="*/ 792766 w 835437"/>
                <a:gd name="connsiteY646" fmla="*/ 507682 h 647509"/>
                <a:gd name="connsiteX647" fmla="*/ 787813 w 835437"/>
                <a:gd name="connsiteY647" fmla="*/ 493871 h 647509"/>
                <a:gd name="connsiteX648" fmla="*/ 790956 w 835437"/>
                <a:gd name="connsiteY648" fmla="*/ 493395 h 647509"/>
                <a:gd name="connsiteX649" fmla="*/ 787432 w 835437"/>
                <a:gd name="connsiteY649" fmla="*/ 490728 h 647509"/>
                <a:gd name="connsiteX650" fmla="*/ 784098 w 835437"/>
                <a:gd name="connsiteY650" fmla="*/ 489490 h 647509"/>
                <a:gd name="connsiteX651" fmla="*/ 785241 w 835437"/>
                <a:gd name="connsiteY651" fmla="*/ 486156 h 647509"/>
                <a:gd name="connsiteX652" fmla="*/ 788194 w 835437"/>
                <a:gd name="connsiteY652" fmla="*/ 484156 h 647509"/>
                <a:gd name="connsiteX653" fmla="*/ 784670 w 835437"/>
                <a:gd name="connsiteY653" fmla="*/ 481394 h 647509"/>
                <a:gd name="connsiteX654" fmla="*/ 790956 w 835437"/>
                <a:gd name="connsiteY654" fmla="*/ 480632 h 647509"/>
                <a:gd name="connsiteX655" fmla="*/ 792956 w 835437"/>
                <a:gd name="connsiteY655" fmla="*/ 483584 h 647509"/>
                <a:gd name="connsiteX656" fmla="*/ 796290 w 835437"/>
                <a:gd name="connsiteY656" fmla="*/ 484727 h 647509"/>
                <a:gd name="connsiteX657" fmla="*/ 797243 w 835437"/>
                <a:gd name="connsiteY657" fmla="*/ 479774 h 647509"/>
                <a:gd name="connsiteX658" fmla="*/ 798100 w 835437"/>
                <a:gd name="connsiteY658" fmla="*/ 486156 h 647509"/>
                <a:gd name="connsiteX659" fmla="*/ 802767 w 835437"/>
                <a:gd name="connsiteY659" fmla="*/ 485489 h 647509"/>
                <a:gd name="connsiteX660" fmla="*/ 802005 w 835437"/>
                <a:gd name="connsiteY660" fmla="*/ 479203 h 647509"/>
                <a:gd name="connsiteX661" fmla="*/ 803529 w 835437"/>
                <a:gd name="connsiteY661" fmla="*/ 479012 h 647509"/>
                <a:gd name="connsiteX662" fmla="*/ 810101 w 835437"/>
                <a:gd name="connsiteY662" fmla="*/ 479774 h 647509"/>
                <a:gd name="connsiteX663" fmla="*/ 814578 w 835437"/>
                <a:gd name="connsiteY663" fmla="*/ 477584 h 647509"/>
                <a:gd name="connsiteX664" fmla="*/ 819531 w 835437"/>
                <a:gd name="connsiteY664" fmla="*/ 478536 h 647509"/>
                <a:gd name="connsiteX665" fmla="*/ 820960 w 835437"/>
                <a:gd name="connsiteY665" fmla="*/ 476821 h 647509"/>
                <a:gd name="connsiteX666" fmla="*/ 816578 w 835437"/>
                <a:gd name="connsiteY666" fmla="*/ 467773 h 647509"/>
                <a:gd name="connsiteX667" fmla="*/ 818388 w 835437"/>
                <a:gd name="connsiteY667" fmla="*/ 469106 h 647509"/>
                <a:gd name="connsiteX668" fmla="*/ 822103 w 835437"/>
                <a:gd name="connsiteY668" fmla="*/ 473392 h 647509"/>
                <a:gd name="connsiteX669" fmla="*/ 823436 w 835437"/>
                <a:gd name="connsiteY669" fmla="*/ 471678 h 647509"/>
                <a:gd name="connsiteX670" fmla="*/ 829628 w 835437"/>
                <a:gd name="connsiteY670" fmla="*/ 469297 h 647509"/>
                <a:gd name="connsiteX671" fmla="*/ 830390 w 835437"/>
                <a:gd name="connsiteY671" fmla="*/ 462725 h 647509"/>
                <a:gd name="connsiteX672" fmla="*/ 833152 w 835437"/>
                <a:gd name="connsiteY672" fmla="*/ 459200 h 647509"/>
                <a:gd name="connsiteX673" fmla="*/ 832485 w 835437"/>
                <a:gd name="connsiteY673" fmla="*/ 454438 h 647509"/>
                <a:gd name="connsiteX674" fmla="*/ 830771 w 835437"/>
                <a:gd name="connsiteY674" fmla="*/ 453104 h 647509"/>
                <a:gd name="connsiteX675" fmla="*/ 830294 w 835437"/>
                <a:gd name="connsiteY675" fmla="*/ 449961 h 647509"/>
                <a:gd name="connsiteX676" fmla="*/ 822674 w 835437"/>
                <a:gd name="connsiteY676" fmla="*/ 452533 h 647509"/>
                <a:gd name="connsiteX677" fmla="*/ 819055 w 835437"/>
                <a:gd name="connsiteY677" fmla="*/ 449771 h 647509"/>
                <a:gd name="connsiteX678" fmla="*/ 827913 w 835437"/>
                <a:gd name="connsiteY678" fmla="*/ 431006 h 647509"/>
                <a:gd name="connsiteX679" fmla="*/ 825913 w 835437"/>
                <a:gd name="connsiteY679" fmla="*/ 428054 h 647509"/>
                <a:gd name="connsiteX680" fmla="*/ 822579 w 835437"/>
                <a:gd name="connsiteY680" fmla="*/ 426911 h 647509"/>
                <a:gd name="connsiteX681" fmla="*/ 822389 w 835437"/>
                <a:gd name="connsiteY681" fmla="*/ 425291 h 647509"/>
                <a:gd name="connsiteX682" fmla="*/ 827151 w 835437"/>
                <a:gd name="connsiteY682" fmla="*/ 424720 h 647509"/>
                <a:gd name="connsiteX683" fmla="*/ 829056 w 835437"/>
                <a:gd name="connsiteY683" fmla="*/ 427673 h 647509"/>
                <a:gd name="connsiteX684" fmla="*/ 832485 w 835437"/>
                <a:gd name="connsiteY684" fmla="*/ 428815 h 647509"/>
                <a:gd name="connsiteX685" fmla="*/ 835438 w 835437"/>
                <a:gd name="connsiteY685" fmla="*/ 426815 h 647509"/>
                <a:gd name="connsiteX686" fmla="*/ 835247 w 835437"/>
                <a:gd name="connsiteY686" fmla="*/ 425291 h 647509"/>
                <a:gd name="connsiteX687" fmla="*/ 831818 w 835437"/>
                <a:gd name="connsiteY687" fmla="*/ 424053 h 647509"/>
                <a:gd name="connsiteX688" fmla="*/ 833057 w 835437"/>
                <a:gd name="connsiteY688" fmla="*/ 420719 h 647509"/>
                <a:gd name="connsiteX689" fmla="*/ 833057 w 835437"/>
                <a:gd name="connsiteY689" fmla="*/ 420719 h 647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</a:cxnLst>
              <a:rect l="l" t="t" r="r" b="b"/>
              <a:pathLst>
                <a:path w="835437" h="647509">
                  <a:moveTo>
                    <a:pt x="833057" y="420719"/>
                  </a:moveTo>
                  <a:lnTo>
                    <a:pt x="831437" y="408146"/>
                  </a:lnTo>
                  <a:lnTo>
                    <a:pt x="829628" y="406717"/>
                  </a:lnTo>
                  <a:lnTo>
                    <a:pt x="821722" y="407765"/>
                  </a:lnTo>
                  <a:lnTo>
                    <a:pt x="823151" y="405956"/>
                  </a:lnTo>
                  <a:lnTo>
                    <a:pt x="827627" y="403765"/>
                  </a:lnTo>
                  <a:lnTo>
                    <a:pt x="820769" y="399859"/>
                  </a:lnTo>
                  <a:lnTo>
                    <a:pt x="820579" y="398240"/>
                  </a:lnTo>
                  <a:lnTo>
                    <a:pt x="818198" y="392144"/>
                  </a:lnTo>
                  <a:lnTo>
                    <a:pt x="813245" y="391192"/>
                  </a:lnTo>
                  <a:lnTo>
                    <a:pt x="805529" y="393763"/>
                  </a:lnTo>
                  <a:lnTo>
                    <a:pt x="800195" y="389668"/>
                  </a:lnTo>
                  <a:lnTo>
                    <a:pt x="797624" y="394716"/>
                  </a:lnTo>
                  <a:lnTo>
                    <a:pt x="791909" y="387477"/>
                  </a:lnTo>
                  <a:lnTo>
                    <a:pt x="788765" y="387858"/>
                  </a:lnTo>
                  <a:lnTo>
                    <a:pt x="785146" y="385096"/>
                  </a:lnTo>
                  <a:lnTo>
                    <a:pt x="793051" y="384143"/>
                  </a:lnTo>
                  <a:lnTo>
                    <a:pt x="794290" y="380714"/>
                  </a:lnTo>
                  <a:lnTo>
                    <a:pt x="790861" y="379571"/>
                  </a:lnTo>
                  <a:lnTo>
                    <a:pt x="792099" y="376238"/>
                  </a:lnTo>
                  <a:lnTo>
                    <a:pt x="799814" y="373666"/>
                  </a:lnTo>
                  <a:lnTo>
                    <a:pt x="800005" y="375190"/>
                  </a:lnTo>
                  <a:lnTo>
                    <a:pt x="801148" y="371856"/>
                  </a:lnTo>
                  <a:lnTo>
                    <a:pt x="809625" y="375571"/>
                  </a:lnTo>
                  <a:lnTo>
                    <a:pt x="809435" y="374047"/>
                  </a:lnTo>
                  <a:lnTo>
                    <a:pt x="811244" y="375380"/>
                  </a:lnTo>
                  <a:lnTo>
                    <a:pt x="812578" y="373571"/>
                  </a:lnTo>
                  <a:lnTo>
                    <a:pt x="815912" y="374809"/>
                  </a:lnTo>
                  <a:lnTo>
                    <a:pt x="812959" y="376809"/>
                  </a:lnTo>
                  <a:lnTo>
                    <a:pt x="821722" y="382048"/>
                  </a:lnTo>
                  <a:lnTo>
                    <a:pt x="824865" y="381667"/>
                  </a:lnTo>
                  <a:lnTo>
                    <a:pt x="822484" y="375571"/>
                  </a:lnTo>
                  <a:lnTo>
                    <a:pt x="825437" y="373571"/>
                  </a:lnTo>
                  <a:lnTo>
                    <a:pt x="820293" y="370999"/>
                  </a:lnTo>
                  <a:lnTo>
                    <a:pt x="821817" y="370808"/>
                  </a:lnTo>
                  <a:lnTo>
                    <a:pt x="821436" y="367665"/>
                  </a:lnTo>
                  <a:lnTo>
                    <a:pt x="812959" y="363950"/>
                  </a:lnTo>
                  <a:lnTo>
                    <a:pt x="813911" y="358997"/>
                  </a:lnTo>
                  <a:lnTo>
                    <a:pt x="812387" y="359188"/>
                  </a:lnTo>
                  <a:lnTo>
                    <a:pt x="815340" y="357188"/>
                  </a:lnTo>
                  <a:lnTo>
                    <a:pt x="825151" y="359188"/>
                  </a:lnTo>
                  <a:lnTo>
                    <a:pt x="828294" y="345948"/>
                  </a:lnTo>
                  <a:lnTo>
                    <a:pt x="818674" y="345567"/>
                  </a:lnTo>
                  <a:lnTo>
                    <a:pt x="821436" y="342043"/>
                  </a:lnTo>
                  <a:lnTo>
                    <a:pt x="822198" y="335471"/>
                  </a:lnTo>
                  <a:lnTo>
                    <a:pt x="820388" y="334137"/>
                  </a:lnTo>
                  <a:lnTo>
                    <a:pt x="819436" y="326231"/>
                  </a:lnTo>
                  <a:lnTo>
                    <a:pt x="813816" y="320516"/>
                  </a:lnTo>
                  <a:lnTo>
                    <a:pt x="813816" y="320516"/>
                  </a:lnTo>
                  <a:lnTo>
                    <a:pt x="816388" y="315373"/>
                  </a:lnTo>
                  <a:lnTo>
                    <a:pt x="809244" y="309848"/>
                  </a:lnTo>
                  <a:lnTo>
                    <a:pt x="807720" y="310134"/>
                  </a:lnTo>
                  <a:lnTo>
                    <a:pt x="804386" y="308896"/>
                  </a:lnTo>
                  <a:lnTo>
                    <a:pt x="808482" y="303562"/>
                  </a:lnTo>
                  <a:lnTo>
                    <a:pt x="808292" y="302038"/>
                  </a:lnTo>
                  <a:lnTo>
                    <a:pt x="805148" y="302419"/>
                  </a:lnTo>
                  <a:lnTo>
                    <a:pt x="796862" y="300228"/>
                  </a:lnTo>
                  <a:lnTo>
                    <a:pt x="796004" y="293942"/>
                  </a:lnTo>
                  <a:lnTo>
                    <a:pt x="802386" y="293180"/>
                  </a:lnTo>
                  <a:lnTo>
                    <a:pt x="801529" y="286798"/>
                  </a:lnTo>
                  <a:lnTo>
                    <a:pt x="802958" y="284988"/>
                  </a:lnTo>
                  <a:lnTo>
                    <a:pt x="804291" y="283273"/>
                  </a:lnTo>
                  <a:lnTo>
                    <a:pt x="802291" y="280321"/>
                  </a:lnTo>
                  <a:lnTo>
                    <a:pt x="805244" y="278321"/>
                  </a:lnTo>
                  <a:lnTo>
                    <a:pt x="806672" y="276511"/>
                  </a:lnTo>
                  <a:lnTo>
                    <a:pt x="799910" y="274225"/>
                  </a:lnTo>
                  <a:lnTo>
                    <a:pt x="799528" y="270986"/>
                  </a:lnTo>
                  <a:lnTo>
                    <a:pt x="797909" y="271272"/>
                  </a:lnTo>
                  <a:lnTo>
                    <a:pt x="791813" y="273653"/>
                  </a:lnTo>
                  <a:lnTo>
                    <a:pt x="788480" y="272415"/>
                  </a:lnTo>
                  <a:lnTo>
                    <a:pt x="784098" y="263366"/>
                  </a:lnTo>
                  <a:lnTo>
                    <a:pt x="785527" y="261556"/>
                  </a:lnTo>
                  <a:lnTo>
                    <a:pt x="783717" y="260223"/>
                  </a:lnTo>
                  <a:lnTo>
                    <a:pt x="786479" y="256699"/>
                  </a:lnTo>
                  <a:lnTo>
                    <a:pt x="791242" y="256032"/>
                  </a:lnTo>
                  <a:lnTo>
                    <a:pt x="794195" y="254032"/>
                  </a:lnTo>
                  <a:lnTo>
                    <a:pt x="793147" y="246221"/>
                  </a:lnTo>
                  <a:lnTo>
                    <a:pt x="791909" y="236696"/>
                  </a:lnTo>
                  <a:lnTo>
                    <a:pt x="788575" y="235553"/>
                  </a:lnTo>
                  <a:lnTo>
                    <a:pt x="789527" y="230600"/>
                  </a:lnTo>
                  <a:lnTo>
                    <a:pt x="792099" y="225457"/>
                  </a:lnTo>
                  <a:lnTo>
                    <a:pt x="782288" y="223552"/>
                  </a:lnTo>
                  <a:lnTo>
                    <a:pt x="779050" y="223933"/>
                  </a:lnTo>
                  <a:lnTo>
                    <a:pt x="778859" y="222313"/>
                  </a:lnTo>
                  <a:lnTo>
                    <a:pt x="782003" y="221932"/>
                  </a:lnTo>
                  <a:lnTo>
                    <a:pt x="784003" y="212027"/>
                  </a:lnTo>
                  <a:lnTo>
                    <a:pt x="782193" y="210693"/>
                  </a:lnTo>
                  <a:lnTo>
                    <a:pt x="785336" y="210312"/>
                  </a:lnTo>
                  <a:lnTo>
                    <a:pt x="787908" y="205169"/>
                  </a:lnTo>
                  <a:lnTo>
                    <a:pt x="786384" y="205359"/>
                  </a:lnTo>
                  <a:lnTo>
                    <a:pt x="785717" y="200596"/>
                  </a:lnTo>
                  <a:lnTo>
                    <a:pt x="790289" y="198406"/>
                  </a:lnTo>
                  <a:lnTo>
                    <a:pt x="791813" y="198215"/>
                  </a:lnTo>
                  <a:lnTo>
                    <a:pt x="792671" y="191738"/>
                  </a:lnTo>
                  <a:lnTo>
                    <a:pt x="787718" y="190786"/>
                  </a:lnTo>
                  <a:lnTo>
                    <a:pt x="788670" y="185833"/>
                  </a:lnTo>
                  <a:lnTo>
                    <a:pt x="785527" y="186214"/>
                  </a:lnTo>
                  <a:lnTo>
                    <a:pt x="786670" y="182880"/>
                  </a:lnTo>
                  <a:lnTo>
                    <a:pt x="784670" y="179927"/>
                  </a:lnTo>
                  <a:lnTo>
                    <a:pt x="784289" y="176784"/>
                  </a:lnTo>
                  <a:lnTo>
                    <a:pt x="787051" y="173165"/>
                  </a:lnTo>
                  <a:lnTo>
                    <a:pt x="787051" y="173165"/>
                  </a:lnTo>
                  <a:lnTo>
                    <a:pt x="790003" y="171164"/>
                  </a:lnTo>
                  <a:lnTo>
                    <a:pt x="794576" y="169069"/>
                  </a:lnTo>
                  <a:lnTo>
                    <a:pt x="794099" y="165830"/>
                  </a:lnTo>
                  <a:lnTo>
                    <a:pt x="795528" y="164116"/>
                  </a:lnTo>
                  <a:lnTo>
                    <a:pt x="792956" y="156400"/>
                  </a:lnTo>
                  <a:lnTo>
                    <a:pt x="795719" y="152876"/>
                  </a:lnTo>
                  <a:lnTo>
                    <a:pt x="788765" y="148876"/>
                  </a:lnTo>
                  <a:lnTo>
                    <a:pt x="785622" y="136493"/>
                  </a:lnTo>
                  <a:lnTo>
                    <a:pt x="775335" y="131350"/>
                  </a:lnTo>
                  <a:lnTo>
                    <a:pt x="777907" y="126302"/>
                  </a:lnTo>
                  <a:lnTo>
                    <a:pt x="777716" y="124682"/>
                  </a:lnTo>
                  <a:lnTo>
                    <a:pt x="771525" y="127063"/>
                  </a:lnTo>
                  <a:lnTo>
                    <a:pt x="767429" y="132398"/>
                  </a:lnTo>
                  <a:lnTo>
                    <a:pt x="762476" y="131445"/>
                  </a:lnTo>
                  <a:lnTo>
                    <a:pt x="759905" y="136588"/>
                  </a:lnTo>
                  <a:lnTo>
                    <a:pt x="759333" y="131826"/>
                  </a:lnTo>
                  <a:lnTo>
                    <a:pt x="749903" y="133064"/>
                  </a:lnTo>
                  <a:lnTo>
                    <a:pt x="746474" y="131826"/>
                  </a:lnTo>
                  <a:lnTo>
                    <a:pt x="741807" y="132493"/>
                  </a:lnTo>
                  <a:lnTo>
                    <a:pt x="739997" y="131064"/>
                  </a:lnTo>
                  <a:lnTo>
                    <a:pt x="738378" y="131254"/>
                  </a:lnTo>
                  <a:lnTo>
                    <a:pt x="736283" y="126778"/>
                  </a:lnTo>
                  <a:lnTo>
                    <a:pt x="728186" y="126206"/>
                  </a:lnTo>
                  <a:lnTo>
                    <a:pt x="723233" y="125158"/>
                  </a:lnTo>
                  <a:lnTo>
                    <a:pt x="717328" y="129159"/>
                  </a:lnTo>
                  <a:lnTo>
                    <a:pt x="715709" y="129350"/>
                  </a:lnTo>
                  <a:lnTo>
                    <a:pt x="717899" y="133921"/>
                  </a:lnTo>
                  <a:lnTo>
                    <a:pt x="714756" y="134302"/>
                  </a:lnTo>
                  <a:lnTo>
                    <a:pt x="713327" y="136112"/>
                  </a:lnTo>
                  <a:lnTo>
                    <a:pt x="708279" y="133540"/>
                  </a:lnTo>
                  <a:lnTo>
                    <a:pt x="709613" y="131731"/>
                  </a:lnTo>
                  <a:lnTo>
                    <a:pt x="707803" y="130397"/>
                  </a:lnTo>
                  <a:lnTo>
                    <a:pt x="703136" y="130969"/>
                  </a:lnTo>
                  <a:lnTo>
                    <a:pt x="699326" y="126587"/>
                  </a:lnTo>
                  <a:lnTo>
                    <a:pt x="696373" y="128588"/>
                  </a:lnTo>
                  <a:lnTo>
                    <a:pt x="696373" y="128588"/>
                  </a:lnTo>
                  <a:lnTo>
                    <a:pt x="695801" y="123920"/>
                  </a:lnTo>
                  <a:lnTo>
                    <a:pt x="700278" y="121729"/>
                  </a:lnTo>
                  <a:lnTo>
                    <a:pt x="702278" y="111823"/>
                  </a:lnTo>
                  <a:lnTo>
                    <a:pt x="708565" y="111061"/>
                  </a:lnTo>
                  <a:lnTo>
                    <a:pt x="708374" y="109442"/>
                  </a:lnTo>
                  <a:lnTo>
                    <a:pt x="700469" y="97631"/>
                  </a:lnTo>
                  <a:lnTo>
                    <a:pt x="698659" y="96298"/>
                  </a:lnTo>
                  <a:lnTo>
                    <a:pt x="695706" y="98203"/>
                  </a:lnTo>
                  <a:lnTo>
                    <a:pt x="689229" y="97441"/>
                  </a:lnTo>
                  <a:lnTo>
                    <a:pt x="679895" y="87440"/>
                  </a:lnTo>
                  <a:lnTo>
                    <a:pt x="680276" y="90583"/>
                  </a:lnTo>
                  <a:lnTo>
                    <a:pt x="665702" y="89249"/>
                  </a:lnTo>
                  <a:lnTo>
                    <a:pt x="664750" y="94202"/>
                  </a:lnTo>
                  <a:lnTo>
                    <a:pt x="650939" y="86296"/>
                  </a:lnTo>
                  <a:lnTo>
                    <a:pt x="648272" y="78581"/>
                  </a:lnTo>
                  <a:lnTo>
                    <a:pt x="640651" y="81153"/>
                  </a:lnTo>
                  <a:lnTo>
                    <a:pt x="631793" y="87154"/>
                  </a:lnTo>
                  <a:lnTo>
                    <a:pt x="629984" y="85725"/>
                  </a:lnTo>
                  <a:lnTo>
                    <a:pt x="631126" y="82391"/>
                  </a:lnTo>
                  <a:lnTo>
                    <a:pt x="628174" y="84392"/>
                  </a:lnTo>
                  <a:lnTo>
                    <a:pt x="626174" y="81439"/>
                  </a:lnTo>
                  <a:lnTo>
                    <a:pt x="615410" y="84392"/>
                  </a:lnTo>
                  <a:lnTo>
                    <a:pt x="613029" y="78296"/>
                  </a:lnTo>
                  <a:lnTo>
                    <a:pt x="609028" y="72390"/>
                  </a:lnTo>
                  <a:lnTo>
                    <a:pt x="597218" y="67437"/>
                  </a:lnTo>
                  <a:lnTo>
                    <a:pt x="590455" y="65151"/>
                  </a:lnTo>
                  <a:lnTo>
                    <a:pt x="589693" y="58865"/>
                  </a:lnTo>
                  <a:lnTo>
                    <a:pt x="575215" y="46196"/>
                  </a:lnTo>
                  <a:lnTo>
                    <a:pt x="571881" y="45053"/>
                  </a:lnTo>
                  <a:lnTo>
                    <a:pt x="568738" y="45434"/>
                  </a:lnTo>
                  <a:lnTo>
                    <a:pt x="561404" y="38386"/>
                  </a:lnTo>
                  <a:lnTo>
                    <a:pt x="531305" y="16573"/>
                  </a:lnTo>
                  <a:lnTo>
                    <a:pt x="524066" y="9430"/>
                  </a:lnTo>
                  <a:lnTo>
                    <a:pt x="509969" y="0"/>
                  </a:lnTo>
                  <a:lnTo>
                    <a:pt x="508254" y="11430"/>
                  </a:lnTo>
                  <a:lnTo>
                    <a:pt x="501206" y="18764"/>
                  </a:lnTo>
                  <a:lnTo>
                    <a:pt x="501777" y="23527"/>
                  </a:lnTo>
                  <a:lnTo>
                    <a:pt x="503968" y="28004"/>
                  </a:lnTo>
                  <a:lnTo>
                    <a:pt x="503015" y="32956"/>
                  </a:lnTo>
                  <a:lnTo>
                    <a:pt x="498634" y="23908"/>
                  </a:lnTo>
                  <a:lnTo>
                    <a:pt x="493871" y="11716"/>
                  </a:lnTo>
                  <a:lnTo>
                    <a:pt x="451295" y="29908"/>
                  </a:lnTo>
                  <a:lnTo>
                    <a:pt x="446342" y="41815"/>
                  </a:lnTo>
                  <a:lnTo>
                    <a:pt x="440436" y="45720"/>
                  </a:lnTo>
                  <a:lnTo>
                    <a:pt x="432149" y="56388"/>
                  </a:lnTo>
                  <a:lnTo>
                    <a:pt x="429673" y="61531"/>
                  </a:lnTo>
                  <a:lnTo>
                    <a:pt x="431578" y="64484"/>
                  </a:lnTo>
                  <a:lnTo>
                    <a:pt x="430625" y="69437"/>
                  </a:lnTo>
                  <a:lnTo>
                    <a:pt x="423482" y="63913"/>
                  </a:lnTo>
                  <a:lnTo>
                    <a:pt x="421577" y="60960"/>
                  </a:lnTo>
                  <a:lnTo>
                    <a:pt x="414242" y="53911"/>
                  </a:lnTo>
                  <a:lnTo>
                    <a:pt x="408337" y="45053"/>
                  </a:lnTo>
                  <a:lnTo>
                    <a:pt x="396240" y="51340"/>
                  </a:lnTo>
                  <a:lnTo>
                    <a:pt x="388334" y="52388"/>
                  </a:lnTo>
                  <a:lnTo>
                    <a:pt x="384810" y="49625"/>
                  </a:lnTo>
                  <a:lnTo>
                    <a:pt x="376142" y="44291"/>
                  </a:lnTo>
                  <a:lnTo>
                    <a:pt x="368237" y="45339"/>
                  </a:lnTo>
                  <a:lnTo>
                    <a:pt x="368427" y="46958"/>
                  </a:lnTo>
                  <a:lnTo>
                    <a:pt x="358426" y="56198"/>
                  </a:lnTo>
                  <a:lnTo>
                    <a:pt x="355283" y="56579"/>
                  </a:lnTo>
                  <a:lnTo>
                    <a:pt x="353282" y="53626"/>
                  </a:lnTo>
                  <a:lnTo>
                    <a:pt x="348520" y="54292"/>
                  </a:lnTo>
                  <a:lnTo>
                    <a:pt x="343567" y="53245"/>
                  </a:lnTo>
                  <a:lnTo>
                    <a:pt x="339471" y="58579"/>
                  </a:lnTo>
                  <a:lnTo>
                    <a:pt x="326993" y="61817"/>
                  </a:lnTo>
                  <a:lnTo>
                    <a:pt x="323850" y="62198"/>
                  </a:lnTo>
                  <a:lnTo>
                    <a:pt x="320516" y="61055"/>
                  </a:lnTo>
                  <a:lnTo>
                    <a:pt x="317563" y="63056"/>
                  </a:lnTo>
                  <a:lnTo>
                    <a:pt x="310896" y="60674"/>
                  </a:lnTo>
                  <a:lnTo>
                    <a:pt x="306514" y="64389"/>
                  </a:lnTo>
                  <a:lnTo>
                    <a:pt x="298418" y="63817"/>
                  </a:lnTo>
                  <a:lnTo>
                    <a:pt x="295085" y="62675"/>
                  </a:lnTo>
                  <a:lnTo>
                    <a:pt x="294513" y="70771"/>
                  </a:lnTo>
                  <a:lnTo>
                    <a:pt x="288608" y="74771"/>
                  </a:lnTo>
                  <a:lnTo>
                    <a:pt x="284893" y="83248"/>
                  </a:lnTo>
                  <a:lnTo>
                    <a:pt x="279178" y="88773"/>
                  </a:lnTo>
                  <a:lnTo>
                    <a:pt x="278130" y="93726"/>
                  </a:lnTo>
                  <a:lnTo>
                    <a:pt x="281750" y="109252"/>
                  </a:lnTo>
                  <a:lnTo>
                    <a:pt x="279368" y="116015"/>
                  </a:lnTo>
                  <a:lnTo>
                    <a:pt x="275082" y="119729"/>
                  </a:lnTo>
                  <a:lnTo>
                    <a:pt x="264224" y="109919"/>
                  </a:lnTo>
                  <a:lnTo>
                    <a:pt x="258318" y="113824"/>
                  </a:lnTo>
                  <a:lnTo>
                    <a:pt x="257080" y="117253"/>
                  </a:lnTo>
                  <a:lnTo>
                    <a:pt x="249650" y="121348"/>
                  </a:lnTo>
                  <a:lnTo>
                    <a:pt x="245269" y="125158"/>
                  </a:lnTo>
                  <a:lnTo>
                    <a:pt x="244316" y="130111"/>
                  </a:lnTo>
                  <a:lnTo>
                    <a:pt x="240030" y="133826"/>
                  </a:lnTo>
                  <a:lnTo>
                    <a:pt x="242126" y="138398"/>
                  </a:lnTo>
                  <a:lnTo>
                    <a:pt x="238220" y="145256"/>
                  </a:lnTo>
                  <a:lnTo>
                    <a:pt x="234887" y="144113"/>
                  </a:lnTo>
                  <a:lnTo>
                    <a:pt x="231934" y="146113"/>
                  </a:lnTo>
                  <a:lnTo>
                    <a:pt x="228410" y="143351"/>
                  </a:lnTo>
                  <a:lnTo>
                    <a:pt x="218885" y="144590"/>
                  </a:lnTo>
                  <a:lnTo>
                    <a:pt x="214408" y="146780"/>
                  </a:lnTo>
                  <a:lnTo>
                    <a:pt x="216503" y="151257"/>
                  </a:lnTo>
                  <a:lnTo>
                    <a:pt x="214598" y="161163"/>
                  </a:lnTo>
                  <a:lnTo>
                    <a:pt x="216980" y="167259"/>
                  </a:lnTo>
                  <a:lnTo>
                    <a:pt x="215075" y="177070"/>
                  </a:lnTo>
                  <a:lnTo>
                    <a:pt x="210884" y="182499"/>
                  </a:lnTo>
                  <a:lnTo>
                    <a:pt x="202978" y="183452"/>
                  </a:lnTo>
                  <a:lnTo>
                    <a:pt x="193739" y="186214"/>
                  </a:lnTo>
                  <a:lnTo>
                    <a:pt x="194119" y="189357"/>
                  </a:lnTo>
                  <a:lnTo>
                    <a:pt x="191357" y="192977"/>
                  </a:lnTo>
                  <a:lnTo>
                    <a:pt x="187071" y="196691"/>
                  </a:lnTo>
                  <a:lnTo>
                    <a:pt x="188024" y="204597"/>
                  </a:lnTo>
                  <a:lnTo>
                    <a:pt x="180975" y="211931"/>
                  </a:lnTo>
                  <a:lnTo>
                    <a:pt x="179261" y="223361"/>
                  </a:lnTo>
                  <a:lnTo>
                    <a:pt x="183356" y="230886"/>
                  </a:lnTo>
                  <a:lnTo>
                    <a:pt x="185547" y="235363"/>
                  </a:lnTo>
                  <a:lnTo>
                    <a:pt x="179451" y="237744"/>
                  </a:lnTo>
                  <a:lnTo>
                    <a:pt x="182975" y="240506"/>
                  </a:lnTo>
                  <a:lnTo>
                    <a:pt x="178308" y="241173"/>
                  </a:lnTo>
                  <a:lnTo>
                    <a:pt x="178499" y="242697"/>
                  </a:lnTo>
                  <a:lnTo>
                    <a:pt x="172784" y="235458"/>
                  </a:lnTo>
                  <a:lnTo>
                    <a:pt x="166021" y="233077"/>
                  </a:lnTo>
                  <a:lnTo>
                    <a:pt x="166592" y="237839"/>
                  </a:lnTo>
                  <a:lnTo>
                    <a:pt x="164116" y="242983"/>
                  </a:lnTo>
                  <a:lnTo>
                    <a:pt x="165830" y="244316"/>
                  </a:lnTo>
                  <a:lnTo>
                    <a:pt x="165449" y="254032"/>
                  </a:lnTo>
                  <a:lnTo>
                    <a:pt x="167640" y="258509"/>
                  </a:lnTo>
                  <a:lnTo>
                    <a:pt x="168307" y="263271"/>
                  </a:lnTo>
                  <a:lnTo>
                    <a:pt x="161544" y="260890"/>
                  </a:lnTo>
                  <a:lnTo>
                    <a:pt x="162782" y="270415"/>
                  </a:lnTo>
                  <a:lnTo>
                    <a:pt x="160211" y="275558"/>
                  </a:lnTo>
                  <a:lnTo>
                    <a:pt x="162592" y="281654"/>
                  </a:lnTo>
                  <a:lnTo>
                    <a:pt x="165926" y="282797"/>
                  </a:lnTo>
                  <a:lnTo>
                    <a:pt x="164973" y="287750"/>
                  </a:lnTo>
                  <a:lnTo>
                    <a:pt x="168497" y="290513"/>
                  </a:lnTo>
                  <a:lnTo>
                    <a:pt x="168688" y="292036"/>
                  </a:lnTo>
                  <a:lnTo>
                    <a:pt x="167545" y="295465"/>
                  </a:lnTo>
                  <a:lnTo>
                    <a:pt x="163068" y="297561"/>
                  </a:lnTo>
                  <a:lnTo>
                    <a:pt x="162020" y="302514"/>
                  </a:lnTo>
                  <a:lnTo>
                    <a:pt x="158877" y="302895"/>
                  </a:lnTo>
                  <a:lnTo>
                    <a:pt x="160877" y="305943"/>
                  </a:lnTo>
                  <a:lnTo>
                    <a:pt x="161449" y="310610"/>
                  </a:lnTo>
                  <a:lnTo>
                    <a:pt x="168212" y="312992"/>
                  </a:lnTo>
                  <a:lnTo>
                    <a:pt x="165259" y="314992"/>
                  </a:lnTo>
                  <a:lnTo>
                    <a:pt x="152210" y="313373"/>
                  </a:lnTo>
                  <a:lnTo>
                    <a:pt x="143732" y="309658"/>
                  </a:lnTo>
                  <a:lnTo>
                    <a:pt x="138970" y="310325"/>
                  </a:lnTo>
                  <a:lnTo>
                    <a:pt x="135446" y="307562"/>
                  </a:lnTo>
                  <a:lnTo>
                    <a:pt x="137732" y="300800"/>
                  </a:lnTo>
                  <a:lnTo>
                    <a:pt x="135636" y="296323"/>
                  </a:lnTo>
                  <a:lnTo>
                    <a:pt x="132683" y="298228"/>
                  </a:lnTo>
                  <a:lnTo>
                    <a:pt x="131826" y="291941"/>
                  </a:lnTo>
                  <a:lnTo>
                    <a:pt x="128873" y="293942"/>
                  </a:lnTo>
                  <a:lnTo>
                    <a:pt x="126683" y="289369"/>
                  </a:lnTo>
                  <a:lnTo>
                    <a:pt x="126111" y="284702"/>
                  </a:lnTo>
                  <a:lnTo>
                    <a:pt x="127254" y="281273"/>
                  </a:lnTo>
                  <a:lnTo>
                    <a:pt x="134969" y="278702"/>
                  </a:lnTo>
                  <a:lnTo>
                    <a:pt x="136112" y="275368"/>
                  </a:lnTo>
                  <a:lnTo>
                    <a:pt x="132779" y="274225"/>
                  </a:lnTo>
                  <a:lnTo>
                    <a:pt x="135541" y="270605"/>
                  </a:lnTo>
                  <a:lnTo>
                    <a:pt x="130969" y="272796"/>
                  </a:lnTo>
                  <a:lnTo>
                    <a:pt x="131731" y="266319"/>
                  </a:lnTo>
                  <a:lnTo>
                    <a:pt x="138875" y="258985"/>
                  </a:lnTo>
                  <a:lnTo>
                    <a:pt x="133541" y="254889"/>
                  </a:lnTo>
                  <a:lnTo>
                    <a:pt x="128778" y="255461"/>
                  </a:lnTo>
                  <a:lnTo>
                    <a:pt x="131731" y="253460"/>
                  </a:lnTo>
                  <a:lnTo>
                    <a:pt x="130207" y="253651"/>
                  </a:lnTo>
                  <a:lnTo>
                    <a:pt x="134874" y="253079"/>
                  </a:lnTo>
                  <a:lnTo>
                    <a:pt x="127159" y="242792"/>
                  </a:lnTo>
                  <a:lnTo>
                    <a:pt x="121063" y="245173"/>
                  </a:lnTo>
                  <a:lnTo>
                    <a:pt x="118872" y="240697"/>
                  </a:lnTo>
                  <a:lnTo>
                    <a:pt x="112014" y="236792"/>
                  </a:lnTo>
                  <a:lnTo>
                    <a:pt x="111347" y="232029"/>
                  </a:lnTo>
                  <a:lnTo>
                    <a:pt x="102680" y="226695"/>
                  </a:lnTo>
                  <a:lnTo>
                    <a:pt x="105442" y="223171"/>
                  </a:lnTo>
                  <a:lnTo>
                    <a:pt x="109538" y="217837"/>
                  </a:lnTo>
                  <a:lnTo>
                    <a:pt x="107347" y="213265"/>
                  </a:lnTo>
                  <a:lnTo>
                    <a:pt x="111157" y="217646"/>
                  </a:lnTo>
                  <a:lnTo>
                    <a:pt x="114872" y="221932"/>
                  </a:lnTo>
                  <a:lnTo>
                    <a:pt x="116491" y="221742"/>
                  </a:lnTo>
                  <a:lnTo>
                    <a:pt x="121634" y="224314"/>
                  </a:lnTo>
                  <a:lnTo>
                    <a:pt x="119444" y="219742"/>
                  </a:lnTo>
                  <a:lnTo>
                    <a:pt x="120206" y="213265"/>
                  </a:lnTo>
                  <a:lnTo>
                    <a:pt x="118205" y="210312"/>
                  </a:lnTo>
                  <a:lnTo>
                    <a:pt x="113633" y="199644"/>
                  </a:lnTo>
                  <a:lnTo>
                    <a:pt x="109157" y="201835"/>
                  </a:lnTo>
                  <a:lnTo>
                    <a:pt x="101060" y="201263"/>
                  </a:lnTo>
                  <a:lnTo>
                    <a:pt x="97441" y="198501"/>
                  </a:lnTo>
                  <a:lnTo>
                    <a:pt x="86392" y="199930"/>
                  </a:lnTo>
                  <a:lnTo>
                    <a:pt x="77724" y="194596"/>
                  </a:lnTo>
                  <a:lnTo>
                    <a:pt x="78867" y="191262"/>
                  </a:lnTo>
                  <a:lnTo>
                    <a:pt x="78677" y="176879"/>
                  </a:lnTo>
                  <a:lnTo>
                    <a:pt x="74962" y="172498"/>
                  </a:lnTo>
                  <a:lnTo>
                    <a:pt x="78867" y="152781"/>
                  </a:lnTo>
                  <a:lnTo>
                    <a:pt x="76105" y="156305"/>
                  </a:lnTo>
                  <a:lnTo>
                    <a:pt x="73914" y="151829"/>
                  </a:lnTo>
                  <a:lnTo>
                    <a:pt x="68771" y="149257"/>
                  </a:lnTo>
                  <a:lnTo>
                    <a:pt x="66580" y="144685"/>
                  </a:lnTo>
                  <a:lnTo>
                    <a:pt x="67342" y="138208"/>
                  </a:lnTo>
                  <a:lnTo>
                    <a:pt x="52959" y="138398"/>
                  </a:lnTo>
                  <a:lnTo>
                    <a:pt x="41529" y="136684"/>
                  </a:lnTo>
                  <a:lnTo>
                    <a:pt x="29051" y="139827"/>
                  </a:lnTo>
                  <a:lnTo>
                    <a:pt x="26289" y="143446"/>
                  </a:lnTo>
                  <a:lnTo>
                    <a:pt x="18193" y="142875"/>
                  </a:lnTo>
                  <a:lnTo>
                    <a:pt x="19240" y="137922"/>
                  </a:lnTo>
                  <a:lnTo>
                    <a:pt x="16002" y="138303"/>
                  </a:lnTo>
                  <a:lnTo>
                    <a:pt x="14097" y="135350"/>
                  </a:lnTo>
                  <a:lnTo>
                    <a:pt x="8382" y="140875"/>
                  </a:lnTo>
                  <a:lnTo>
                    <a:pt x="12097" y="145256"/>
                  </a:lnTo>
                  <a:lnTo>
                    <a:pt x="18669" y="146018"/>
                  </a:lnTo>
                  <a:lnTo>
                    <a:pt x="25908" y="153067"/>
                  </a:lnTo>
                  <a:lnTo>
                    <a:pt x="26384" y="156305"/>
                  </a:lnTo>
                  <a:lnTo>
                    <a:pt x="22193" y="161639"/>
                  </a:lnTo>
                  <a:lnTo>
                    <a:pt x="23432" y="171069"/>
                  </a:lnTo>
                  <a:lnTo>
                    <a:pt x="32671" y="181070"/>
                  </a:lnTo>
                  <a:lnTo>
                    <a:pt x="33147" y="184213"/>
                  </a:lnTo>
                  <a:lnTo>
                    <a:pt x="35052" y="187166"/>
                  </a:lnTo>
                  <a:lnTo>
                    <a:pt x="33909" y="190595"/>
                  </a:lnTo>
                  <a:lnTo>
                    <a:pt x="25051" y="196501"/>
                  </a:lnTo>
                  <a:lnTo>
                    <a:pt x="21908" y="196882"/>
                  </a:lnTo>
                  <a:lnTo>
                    <a:pt x="20479" y="198692"/>
                  </a:lnTo>
                  <a:lnTo>
                    <a:pt x="15621" y="197739"/>
                  </a:lnTo>
                  <a:lnTo>
                    <a:pt x="11240" y="201454"/>
                  </a:lnTo>
                  <a:lnTo>
                    <a:pt x="5144" y="203835"/>
                  </a:lnTo>
                  <a:lnTo>
                    <a:pt x="8858" y="208217"/>
                  </a:lnTo>
                  <a:lnTo>
                    <a:pt x="7715" y="211550"/>
                  </a:lnTo>
                  <a:lnTo>
                    <a:pt x="6382" y="213360"/>
                  </a:lnTo>
                  <a:lnTo>
                    <a:pt x="0" y="214122"/>
                  </a:lnTo>
                  <a:lnTo>
                    <a:pt x="476" y="217265"/>
                  </a:lnTo>
                  <a:lnTo>
                    <a:pt x="6001" y="222980"/>
                  </a:lnTo>
                  <a:lnTo>
                    <a:pt x="10668" y="222409"/>
                  </a:lnTo>
                  <a:lnTo>
                    <a:pt x="11906" y="231838"/>
                  </a:lnTo>
                  <a:lnTo>
                    <a:pt x="24003" y="238315"/>
                  </a:lnTo>
                  <a:lnTo>
                    <a:pt x="34004" y="241840"/>
                  </a:lnTo>
                  <a:lnTo>
                    <a:pt x="35243" y="238506"/>
                  </a:lnTo>
                  <a:lnTo>
                    <a:pt x="41339" y="236125"/>
                  </a:lnTo>
                  <a:lnTo>
                    <a:pt x="41529" y="237744"/>
                  </a:lnTo>
                  <a:lnTo>
                    <a:pt x="35624" y="241649"/>
                  </a:lnTo>
                  <a:lnTo>
                    <a:pt x="42291" y="244031"/>
                  </a:lnTo>
                  <a:lnTo>
                    <a:pt x="45911" y="246793"/>
                  </a:lnTo>
                  <a:lnTo>
                    <a:pt x="45911" y="246793"/>
                  </a:lnTo>
                  <a:lnTo>
                    <a:pt x="44672" y="250127"/>
                  </a:lnTo>
                  <a:lnTo>
                    <a:pt x="47911" y="249746"/>
                  </a:lnTo>
                  <a:lnTo>
                    <a:pt x="46863" y="254698"/>
                  </a:lnTo>
                  <a:lnTo>
                    <a:pt x="48673" y="256032"/>
                  </a:lnTo>
                  <a:lnTo>
                    <a:pt x="44577" y="261366"/>
                  </a:lnTo>
                  <a:lnTo>
                    <a:pt x="46482" y="264319"/>
                  </a:lnTo>
                  <a:lnTo>
                    <a:pt x="49435" y="262319"/>
                  </a:lnTo>
                  <a:lnTo>
                    <a:pt x="57531" y="262890"/>
                  </a:lnTo>
                  <a:lnTo>
                    <a:pt x="58769" y="272415"/>
                  </a:lnTo>
                  <a:lnTo>
                    <a:pt x="61913" y="272034"/>
                  </a:lnTo>
                  <a:lnTo>
                    <a:pt x="62103" y="273558"/>
                  </a:lnTo>
                  <a:lnTo>
                    <a:pt x="63913" y="274987"/>
                  </a:lnTo>
                  <a:lnTo>
                    <a:pt x="60960" y="276892"/>
                  </a:lnTo>
                  <a:lnTo>
                    <a:pt x="61151" y="278511"/>
                  </a:lnTo>
                  <a:lnTo>
                    <a:pt x="65913" y="277940"/>
                  </a:lnTo>
                  <a:lnTo>
                    <a:pt x="67913" y="280892"/>
                  </a:lnTo>
                  <a:lnTo>
                    <a:pt x="71057" y="280511"/>
                  </a:lnTo>
                  <a:lnTo>
                    <a:pt x="66294" y="281083"/>
                  </a:lnTo>
                  <a:lnTo>
                    <a:pt x="65151" y="284417"/>
                  </a:lnTo>
                  <a:lnTo>
                    <a:pt x="74200" y="292894"/>
                  </a:lnTo>
                  <a:lnTo>
                    <a:pt x="75438" y="302323"/>
                  </a:lnTo>
                  <a:lnTo>
                    <a:pt x="77819" y="308419"/>
                  </a:lnTo>
                  <a:lnTo>
                    <a:pt x="78200" y="311658"/>
                  </a:lnTo>
                  <a:lnTo>
                    <a:pt x="76867" y="313373"/>
                  </a:lnTo>
                  <a:lnTo>
                    <a:pt x="83534" y="315754"/>
                  </a:lnTo>
                  <a:lnTo>
                    <a:pt x="79820" y="324231"/>
                  </a:lnTo>
                  <a:lnTo>
                    <a:pt x="71342" y="333375"/>
                  </a:lnTo>
                  <a:lnTo>
                    <a:pt x="73152" y="334709"/>
                  </a:lnTo>
                  <a:lnTo>
                    <a:pt x="73724" y="339471"/>
                  </a:lnTo>
                  <a:lnTo>
                    <a:pt x="67628" y="341852"/>
                  </a:lnTo>
                  <a:lnTo>
                    <a:pt x="66675" y="346805"/>
                  </a:lnTo>
                  <a:lnTo>
                    <a:pt x="68866" y="351282"/>
                  </a:lnTo>
                  <a:lnTo>
                    <a:pt x="69247" y="367284"/>
                  </a:lnTo>
                  <a:lnTo>
                    <a:pt x="71819" y="374999"/>
                  </a:lnTo>
                  <a:lnTo>
                    <a:pt x="70866" y="379952"/>
                  </a:lnTo>
                  <a:lnTo>
                    <a:pt x="74866" y="385858"/>
                  </a:lnTo>
                  <a:lnTo>
                    <a:pt x="77248" y="391954"/>
                  </a:lnTo>
                  <a:lnTo>
                    <a:pt x="85154" y="390906"/>
                  </a:lnTo>
                  <a:lnTo>
                    <a:pt x="90011" y="391954"/>
                  </a:lnTo>
                  <a:lnTo>
                    <a:pt x="87535" y="397002"/>
                  </a:lnTo>
                  <a:lnTo>
                    <a:pt x="91250" y="401384"/>
                  </a:lnTo>
                  <a:lnTo>
                    <a:pt x="97346" y="399002"/>
                  </a:lnTo>
                  <a:lnTo>
                    <a:pt x="100489" y="398621"/>
                  </a:lnTo>
                  <a:lnTo>
                    <a:pt x="100965" y="401765"/>
                  </a:lnTo>
                  <a:lnTo>
                    <a:pt x="101346" y="404908"/>
                  </a:lnTo>
                  <a:lnTo>
                    <a:pt x="106299" y="405860"/>
                  </a:lnTo>
                  <a:lnTo>
                    <a:pt x="106871" y="410623"/>
                  </a:lnTo>
                  <a:lnTo>
                    <a:pt x="110395" y="413385"/>
                  </a:lnTo>
                  <a:lnTo>
                    <a:pt x="114395" y="419290"/>
                  </a:lnTo>
                  <a:lnTo>
                    <a:pt x="121253" y="423196"/>
                  </a:lnTo>
                  <a:lnTo>
                    <a:pt x="110300" y="437388"/>
                  </a:lnTo>
                  <a:lnTo>
                    <a:pt x="111062" y="443770"/>
                  </a:lnTo>
                  <a:lnTo>
                    <a:pt x="116967" y="439769"/>
                  </a:lnTo>
                  <a:lnTo>
                    <a:pt x="122777" y="447104"/>
                  </a:lnTo>
                  <a:lnTo>
                    <a:pt x="136779" y="443675"/>
                  </a:lnTo>
                  <a:lnTo>
                    <a:pt x="146780" y="447199"/>
                  </a:lnTo>
                  <a:lnTo>
                    <a:pt x="148971" y="451771"/>
                  </a:lnTo>
                  <a:lnTo>
                    <a:pt x="150590" y="451580"/>
                  </a:lnTo>
                  <a:lnTo>
                    <a:pt x="150971" y="454723"/>
                  </a:lnTo>
                  <a:lnTo>
                    <a:pt x="149828" y="458057"/>
                  </a:lnTo>
                  <a:lnTo>
                    <a:pt x="154115" y="467106"/>
                  </a:lnTo>
                  <a:lnTo>
                    <a:pt x="154972" y="473392"/>
                  </a:lnTo>
                  <a:lnTo>
                    <a:pt x="158306" y="474631"/>
                  </a:lnTo>
                  <a:lnTo>
                    <a:pt x="163830" y="467487"/>
                  </a:lnTo>
                  <a:lnTo>
                    <a:pt x="168783" y="468440"/>
                  </a:lnTo>
                  <a:lnTo>
                    <a:pt x="170783" y="471392"/>
                  </a:lnTo>
                  <a:lnTo>
                    <a:pt x="171355" y="476155"/>
                  </a:lnTo>
                  <a:lnTo>
                    <a:pt x="182404" y="487585"/>
                  </a:lnTo>
                  <a:lnTo>
                    <a:pt x="184785" y="493681"/>
                  </a:lnTo>
                  <a:lnTo>
                    <a:pt x="190881" y="491300"/>
                  </a:lnTo>
                  <a:lnTo>
                    <a:pt x="191548" y="496062"/>
                  </a:lnTo>
                  <a:lnTo>
                    <a:pt x="196691" y="498634"/>
                  </a:lnTo>
                  <a:lnTo>
                    <a:pt x="207740" y="497205"/>
                  </a:lnTo>
                  <a:lnTo>
                    <a:pt x="207931" y="498729"/>
                  </a:lnTo>
                  <a:lnTo>
                    <a:pt x="203740" y="504063"/>
                  </a:lnTo>
                  <a:lnTo>
                    <a:pt x="208693" y="505111"/>
                  </a:lnTo>
                  <a:lnTo>
                    <a:pt x="207550" y="508444"/>
                  </a:lnTo>
                  <a:lnTo>
                    <a:pt x="218789" y="508635"/>
                  </a:lnTo>
                  <a:lnTo>
                    <a:pt x="222504" y="512921"/>
                  </a:lnTo>
                  <a:lnTo>
                    <a:pt x="227267" y="512350"/>
                  </a:lnTo>
                  <a:lnTo>
                    <a:pt x="231077" y="516636"/>
                  </a:lnTo>
                  <a:lnTo>
                    <a:pt x="230029" y="521589"/>
                  </a:lnTo>
                  <a:lnTo>
                    <a:pt x="224123" y="525590"/>
                  </a:lnTo>
                  <a:lnTo>
                    <a:pt x="227743" y="528352"/>
                  </a:lnTo>
                  <a:lnTo>
                    <a:pt x="226695" y="533209"/>
                  </a:lnTo>
                  <a:lnTo>
                    <a:pt x="234410" y="530638"/>
                  </a:lnTo>
                  <a:lnTo>
                    <a:pt x="237173" y="527113"/>
                  </a:lnTo>
                  <a:lnTo>
                    <a:pt x="243269" y="524732"/>
                  </a:lnTo>
                  <a:lnTo>
                    <a:pt x="244697" y="522923"/>
                  </a:lnTo>
                  <a:lnTo>
                    <a:pt x="247841" y="522542"/>
                  </a:lnTo>
                  <a:lnTo>
                    <a:pt x="254699" y="526447"/>
                  </a:lnTo>
                  <a:lnTo>
                    <a:pt x="253556" y="529876"/>
                  </a:lnTo>
                  <a:lnTo>
                    <a:pt x="259271" y="537115"/>
                  </a:lnTo>
                  <a:lnTo>
                    <a:pt x="267557" y="539306"/>
                  </a:lnTo>
                  <a:lnTo>
                    <a:pt x="273558" y="548164"/>
                  </a:lnTo>
                  <a:lnTo>
                    <a:pt x="270796" y="551688"/>
                  </a:lnTo>
                  <a:lnTo>
                    <a:pt x="267462" y="563309"/>
                  </a:lnTo>
                  <a:lnTo>
                    <a:pt x="261176" y="564166"/>
                  </a:lnTo>
                  <a:lnTo>
                    <a:pt x="259747" y="565976"/>
                  </a:lnTo>
                  <a:lnTo>
                    <a:pt x="252889" y="574834"/>
                  </a:lnTo>
                  <a:lnTo>
                    <a:pt x="253460" y="579596"/>
                  </a:lnTo>
                  <a:lnTo>
                    <a:pt x="258032" y="590169"/>
                  </a:lnTo>
                  <a:lnTo>
                    <a:pt x="269272" y="590360"/>
                  </a:lnTo>
                  <a:lnTo>
                    <a:pt x="268129" y="593693"/>
                  </a:lnTo>
                  <a:lnTo>
                    <a:pt x="271272" y="593312"/>
                  </a:lnTo>
                  <a:lnTo>
                    <a:pt x="274987" y="597694"/>
                  </a:lnTo>
                  <a:lnTo>
                    <a:pt x="281940" y="601599"/>
                  </a:lnTo>
                  <a:lnTo>
                    <a:pt x="289846" y="600551"/>
                  </a:lnTo>
                  <a:lnTo>
                    <a:pt x="296704" y="604552"/>
                  </a:lnTo>
                  <a:lnTo>
                    <a:pt x="303467" y="606838"/>
                  </a:lnTo>
                  <a:lnTo>
                    <a:pt x="305467" y="609790"/>
                  </a:lnTo>
                  <a:lnTo>
                    <a:pt x="307658" y="627221"/>
                  </a:lnTo>
                  <a:lnTo>
                    <a:pt x="317754" y="630745"/>
                  </a:lnTo>
                  <a:lnTo>
                    <a:pt x="328803" y="629317"/>
                  </a:lnTo>
                  <a:lnTo>
                    <a:pt x="335852" y="634841"/>
                  </a:lnTo>
                  <a:lnTo>
                    <a:pt x="338519" y="642461"/>
                  </a:lnTo>
                  <a:lnTo>
                    <a:pt x="342424" y="635603"/>
                  </a:lnTo>
                  <a:lnTo>
                    <a:pt x="349091" y="637889"/>
                  </a:lnTo>
                  <a:lnTo>
                    <a:pt x="349282" y="626650"/>
                  </a:lnTo>
                  <a:lnTo>
                    <a:pt x="352235" y="624745"/>
                  </a:lnTo>
                  <a:lnTo>
                    <a:pt x="356997" y="624078"/>
                  </a:lnTo>
                  <a:lnTo>
                    <a:pt x="356616" y="620935"/>
                  </a:lnTo>
                  <a:lnTo>
                    <a:pt x="359950" y="622173"/>
                  </a:lnTo>
                  <a:lnTo>
                    <a:pt x="359569" y="618935"/>
                  </a:lnTo>
                  <a:lnTo>
                    <a:pt x="373761" y="617125"/>
                  </a:lnTo>
                  <a:lnTo>
                    <a:pt x="383762" y="620649"/>
                  </a:lnTo>
                  <a:lnTo>
                    <a:pt x="389382" y="626364"/>
                  </a:lnTo>
                  <a:lnTo>
                    <a:pt x="391192" y="640652"/>
                  </a:lnTo>
                  <a:lnTo>
                    <a:pt x="393097" y="643604"/>
                  </a:lnTo>
                  <a:lnTo>
                    <a:pt x="391763" y="645319"/>
                  </a:lnTo>
                  <a:lnTo>
                    <a:pt x="400050" y="647510"/>
                  </a:lnTo>
                  <a:lnTo>
                    <a:pt x="399479" y="642747"/>
                  </a:lnTo>
                  <a:lnTo>
                    <a:pt x="398050" y="631698"/>
                  </a:lnTo>
                  <a:lnTo>
                    <a:pt x="394526" y="628936"/>
                  </a:lnTo>
                  <a:lnTo>
                    <a:pt x="394240" y="627412"/>
                  </a:lnTo>
                  <a:lnTo>
                    <a:pt x="406718" y="624173"/>
                  </a:lnTo>
                  <a:lnTo>
                    <a:pt x="421100" y="623983"/>
                  </a:lnTo>
                  <a:lnTo>
                    <a:pt x="419862" y="614458"/>
                  </a:lnTo>
                  <a:lnTo>
                    <a:pt x="414338" y="608743"/>
                  </a:lnTo>
                  <a:lnTo>
                    <a:pt x="415766" y="607028"/>
                  </a:lnTo>
                  <a:lnTo>
                    <a:pt x="422434" y="609314"/>
                  </a:lnTo>
                  <a:lnTo>
                    <a:pt x="429387" y="613315"/>
                  </a:lnTo>
                  <a:lnTo>
                    <a:pt x="434150" y="612648"/>
                  </a:lnTo>
                  <a:lnTo>
                    <a:pt x="442532" y="603599"/>
                  </a:lnTo>
                  <a:lnTo>
                    <a:pt x="443770" y="600265"/>
                  </a:lnTo>
                  <a:lnTo>
                    <a:pt x="449104" y="604361"/>
                  </a:lnTo>
                  <a:lnTo>
                    <a:pt x="455200" y="601980"/>
                  </a:lnTo>
                  <a:lnTo>
                    <a:pt x="456533" y="600170"/>
                  </a:lnTo>
                  <a:lnTo>
                    <a:pt x="457962" y="598456"/>
                  </a:lnTo>
                  <a:lnTo>
                    <a:pt x="459962" y="601408"/>
                  </a:lnTo>
                  <a:lnTo>
                    <a:pt x="463677" y="605695"/>
                  </a:lnTo>
                  <a:lnTo>
                    <a:pt x="469392" y="600170"/>
                  </a:lnTo>
                  <a:lnTo>
                    <a:pt x="473964" y="597980"/>
                  </a:lnTo>
                  <a:lnTo>
                    <a:pt x="474917" y="593027"/>
                  </a:lnTo>
                  <a:lnTo>
                    <a:pt x="479870" y="593979"/>
                  </a:lnTo>
                  <a:lnTo>
                    <a:pt x="483394" y="596741"/>
                  </a:lnTo>
                  <a:lnTo>
                    <a:pt x="489680" y="595979"/>
                  </a:lnTo>
                  <a:lnTo>
                    <a:pt x="493109" y="597122"/>
                  </a:lnTo>
                  <a:lnTo>
                    <a:pt x="492062" y="602075"/>
                  </a:lnTo>
                  <a:lnTo>
                    <a:pt x="495014" y="600075"/>
                  </a:lnTo>
                  <a:lnTo>
                    <a:pt x="493871" y="603504"/>
                  </a:lnTo>
                  <a:lnTo>
                    <a:pt x="495872" y="606457"/>
                  </a:lnTo>
                  <a:lnTo>
                    <a:pt x="499015" y="605981"/>
                  </a:lnTo>
                  <a:lnTo>
                    <a:pt x="498634" y="602837"/>
                  </a:lnTo>
                  <a:lnTo>
                    <a:pt x="503777" y="605409"/>
                  </a:lnTo>
                  <a:lnTo>
                    <a:pt x="509683" y="601408"/>
                  </a:lnTo>
                  <a:lnTo>
                    <a:pt x="516731" y="606933"/>
                  </a:lnTo>
                  <a:lnTo>
                    <a:pt x="517779" y="614839"/>
                  </a:lnTo>
                  <a:lnTo>
                    <a:pt x="520732" y="612839"/>
                  </a:lnTo>
                  <a:lnTo>
                    <a:pt x="527018" y="612077"/>
                  </a:lnTo>
                  <a:lnTo>
                    <a:pt x="536924" y="613982"/>
                  </a:lnTo>
                  <a:lnTo>
                    <a:pt x="543592" y="603504"/>
                  </a:lnTo>
                  <a:lnTo>
                    <a:pt x="550069" y="604266"/>
                  </a:lnTo>
                  <a:lnTo>
                    <a:pt x="555212" y="606838"/>
                  </a:lnTo>
                  <a:lnTo>
                    <a:pt x="555689" y="609981"/>
                  </a:lnTo>
                  <a:lnTo>
                    <a:pt x="559403" y="614362"/>
                  </a:lnTo>
                  <a:lnTo>
                    <a:pt x="568071" y="619697"/>
                  </a:lnTo>
                  <a:lnTo>
                    <a:pt x="571500" y="620840"/>
                  </a:lnTo>
                  <a:lnTo>
                    <a:pt x="571310" y="619220"/>
                  </a:lnTo>
                  <a:lnTo>
                    <a:pt x="570452" y="612934"/>
                  </a:lnTo>
                  <a:lnTo>
                    <a:pt x="577215" y="615315"/>
                  </a:lnTo>
                  <a:lnTo>
                    <a:pt x="576929" y="613696"/>
                  </a:lnTo>
                  <a:lnTo>
                    <a:pt x="576739" y="612172"/>
                  </a:lnTo>
                  <a:lnTo>
                    <a:pt x="579882" y="611791"/>
                  </a:lnTo>
                  <a:lnTo>
                    <a:pt x="584073" y="606361"/>
                  </a:lnTo>
                  <a:lnTo>
                    <a:pt x="587026" y="604457"/>
                  </a:lnTo>
                  <a:lnTo>
                    <a:pt x="589788" y="600837"/>
                  </a:lnTo>
                  <a:lnTo>
                    <a:pt x="593122" y="602075"/>
                  </a:lnTo>
                  <a:lnTo>
                    <a:pt x="594455" y="600265"/>
                  </a:lnTo>
                  <a:lnTo>
                    <a:pt x="598646" y="594932"/>
                  </a:lnTo>
                  <a:lnTo>
                    <a:pt x="598075" y="590169"/>
                  </a:lnTo>
                  <a:lnTo>
                    <a:pt x="592931" y="587597"/>
                  </a:lnTo>
                  <a:lnTo>
                    <a:pt x="597408" y="585407"/>
                  </a:lnTo>
                  <a:lnTo>
                    <a:pt x="594074" y="584264"/>
                  </a:lnTo>
                  <a:lnTo>
                    <a:pt x="597027" y="582263"/>
                  </a:lnTo>
                  <a:lnTo>
                    <a:pt x="600361" y="583502"/>
                  </a:lnTo>
                  <a:lnTo>
                    <a:pt x="599980" y="580358"/>
                  </a:lnTo>
                  <a:lnTo>
                    <a:pt x="599980" y="580358"/>
                  </a:lnTo>
                  <a:lnTo>
                    <a:pt x="592074" y="568452"/>
                  </a:lnTo>
                  <a:lnTo>
                    <a:pt x="592646" y="560451"/>
                  </a:lnTo>
                  <a:lnTo>
                    <a:pt x="596932" y="556641"/>
                  </a:lnTo>
                  <a:lnTo>
                    <a:pt x="604838" y="555688"/>
                  </a:lnTo>
                  <a:lnTo>
                    <a:pt x="614934" y="559213"/>
                  </a:lnTo>
                  <a:lnTo>
                    <a:pt x="617315" y="552450"/>
                  </a:lnTo>
                  <a:lnTo>
                    <a:pt x="622459" y="555022"/>
                  </a:lnTo>
                  <a:lnTo>
                    <a:pt x="621030" y="556832"/>
                  </a:lnTo>
                  <a:lnTo>
                    <a:pt x="624173" y="556355"/>
                  </a:lnTo>
                  <a:lnTo>
                    <a:pt x="622554" y="543782"/>
                  </a:lnTo>
                  <a:lnTo>
                    <a:pt x="632079" y="542544"/>
                  </a:lnTo>
                  <a:lnTo>
                    <a:pt x="635794" y="546926"/>
                  </a:lnTo>
                  <a:lnTo>
                    <a:pt x="638556" y="543306"/>
                  </a:lnTo>
                  <a:lnTo>
                    <a:pt x="638175" y="540163"/>
                  </a:lnTo>
                  <a:lnTo>
                    <a:pt x="642652" y="537972"/>
                  </a:lnTo>
                  <a:lnTo>
                    <a:pt x="642461" y="536448"/>
                  </a:lnTo>
                  <a:lnTo>
                    <a:pt x="647414" y="537401"/>
                  </a:lnTo>
                  <a:lnTo>
                    <a:pt x="650176" y="533781"/>
                  </a:lnTo>
                  <a:lnTo>
                    <a:pt x="649605" y="529114"/>
                  </a:lnTo>
                  <a:lnTo>
                    <a:pt x="656082" y="529876"/>
                  </a:lnTo>
                  <a:lnTo>
                    <a:pt x="659035" y="527876"/>
                  </a:lnTo>
                  <a:lnTo>
                    <a:pt x="659987" y="522923"/>
                  </a:lnTo>
                  <a:lnTo>
                    <a:pt x="662940" y="521017"/>
                  </a:lnTo>
                  <a:lnTo>
                    <a:pt x="671227" y="523113"/>
                  </a:lnTo>
                  <a:lnTo>
                    <a:pt x="675418" y="517779"/>
                  </a:lnTo>
                  <a:lnTo>
                    <a:pt x="675227" y="516160"/>
                  </a:lnTo>
                  <a:lnTo>
                    <a:pt x="672084" y="516636"/>
                  </a:lnTo>
                  <a:lnTo>
                    <a:pt x="670274" y="515207"/>
                  </a:lnTo>
                  <a:lnTo>
                    <a:pt x="672846" y="510064"/>
                  </a:lnTo>
                  <a:lnTo>
                    <a:pt x="677990" y="512636"/>
                  </a:lnTo>
                  <a:lnTo>
                    <a:pt x="682657" y="512064"/>
                  </a:lnTo>
                  <a:lnTo>
                    <a:pt x="681514" y="502539"/>
                  </a:lnTo>
                  <a:lnTo>
                    <a:pt x="682847" y="500825"/>
                  </a:lnTo>
                  <a:lnTo>
                    <a:pt x="683038" y="502348"/>
                  </a:lnTo>
                  <a:lnTo>
                    <a:pt x="685991" y="500444"/>
                  </a:lnTo>
                  <a:lnTo>
                    <a:pt x="687419" y="498634"/>
                  </a:lnTo>
                  <a:lnTo>
                    <a:pt x="693134" y="493109"/>
                  </a:lnTo>
                  <a:lnTo>
                    <a:pt x="693896" y="499396"/>
                  </a:lnTo>
                  <a:lnTo>
                    <a:pt x="695325" y="497586"/>
                  </a:lnTo>
                  <a:lnTo>
                    <a:pt x="696087" y="503968"/>
                  </a:lnTo>
                  <a:lnTo>
                    <a:pt x="699611" y="506635"/>
                  </a:lnTo>
                  <a:lnTo>
                    <a:pt x="702374" y="503111"/>
                  </a:lnTo>
                  <a:lnTo>
                    <a:pt x="707898" y="508825"/>
                  </a:lnTo>
                  <a:lnTo>
                    <a:pt x="712089" y="503492"/>
                  </a:lnTo>
                  <a:lnTo>
                    <a:pt x="715804" y="507778"/>
                  </a:lnTo>
                  <a:lnTo>
                    <a:pt x="715613" y="506254"/>
                  </a:lnTo>
                  <a:lnTo>
                    <a:pt x="720566" y="507206"/>
                  </a:lnTo>
                  <a:lnTo>
                    <a:pt x="728091" y="503015"/>
                  </a:lnTo>
                  <a:lnTo>
                    <a:pt x="728472" y="506254"/>
                  </a:lnTo>
                  <a:lnTo>
                    <a:pt x="726853" y="506444"/>
                  </a:lnTo>
                  <a:lnTo>
                    <a:pt x="733616" y="508730"/>
                  </a:lnTo>
                  <a:lnTo>
                    <a:pt x="734949" y="507016"/>
                  </a:lnTo>
                  <a:lnTo>
                    <a:pt x="736568" y="506825"/>
                  </a:lnTo>
                  <a:lnTo>
                    <a:pt x="737330" y="513112"/>
                  </a:lnTo>
                  <a:lnTo>
                    <a:pt x="738950" y="512921"/>
                  </a:lnTo>
                  <a:lnTo>
                    <a:pt x="738759" y="511302"/>
                  </a:lnTo>
                  <a:lnTo>
                    <a:pt x="742283" y="514064"/>
                  </a:lnTo>
                  <a:lnTo>
                    <a:pt x="743903" y="513874"/>
                  </a:lnTo>
                  <a:lnTo>
                    <a:pt x="745808" y="516827"/>
                  </a:lnTo>
                  <a:lnTo>
                    <a:pt x="747427" y="516636"/>
                  </a:lnTo>
                  <a:lnTo>
                    <a:pt x="749237" y="517969"/>
                  </a:lnTo>
                  <a:lnTo>
                    <a:pt x="749999" y="524351"/>
                  </a:lnTo>
                  <a:lnTo>
                    <a:pt x="751808" y="525685"/>
                  </a:lnTo>
                  <a:lnTo>
                    <a:pt x="752189" y="516065"/>
                  </a:lnTo>
                  <a:lnTo>
                    <a:pt x="753713" y="515779"/>
                  </a:lnTo>
                  <a:lnTo>
                    <a:pt x="752761" y="520732"/>
                  </a:lnTo>
                  <a:lnTo>
                    <a:pt x="754761" y="523684"/>
                  </a:lnTo>
                  <a:lnTo>
                    <a:pt x="760095" y="527876"/>
                  </a:lnTo>
                  <a:lnTo>
                    <a:pt x="769334" y="537877"/>
                  </a:lnTo>
                  <a:lnTo>
                    <a:pt x="781241" y="542830"/>
                  </a:lnTo>
                  <a:lnTo>
                    <a:pt x="785717" y="540639"/>
                  </a:lnTo>
                  <a:lnTo>
                    <a:pt x="788765" y="538639"/>
                  </a:lnTo>
                  <a:lnTo>
                    <a:pt x="784574" y="531114"/>
                  </a:lnTo>
                  <a:lnTo>
                    <a:pt x="783336" y="521684"/>
                  </a:lnTo>
                  <a:lnTo>
                    <a:pt x="788480" y="511397"/>
                  </a:lnTo>
                  <a:lnTo>
                    <a:pt x="793147" y="510826"/>
                  </a:lnTo>
                  <a:lnTo>
                    <a:pt x="792766" y="507682"/>
                  </a:lnTo>
                  <a:lnTo>
                    <a:pt x="787813" y="493871"/>
                  </a:lnTo>
                  <a:lnTo>
                    <a:pt x="790956" y="493395"/>
                  </a:lnTo>
                  <a:lnTo>
                    <a:pt x="787432" y="490728"/>
                  </a:lnTo>
                  <a:lnTo>
                    <a:pt x="784098" y="489490"/>
                  </a:lnTo>
                  <a:lnTo>
                    <a:pt x="785241" y="486156"/>
                  </a:lnTo>
                  <a:lnTo>
                    <a:pt x="788194" y="484156"/>
                  </a:lnTo>
                  <a:lnTo>
                    <a:pt x="784670" y="481394"/>
                  </a:lnTo>
                  <a:lnTo>
                    <a:pt x="790956" y="480632"/>
                  </a:lnTo>
                  <a:lnTo>
                    <a:pt x="792956" y="483584"/>
                  </a:lnTo>
                  <a:lnTo>
                    <a:pt x="796290" y="484727"/>
                  </a:lnTo>
                  <a:lnTo>
                    <a:pt x="797243" y="479774"/>
                  </a:lnTo>
                  <a:lnTo>
                    <a:pt x="798100" y="486156"/>
                  </a:lnTo>
                  <a:lnTo>
                    <a:pt x="802767" y="485489"/>
                  </a:lnTo>
                  <a:lnTo>
                    <a:pt x="802005" y="479203"/>
                  </a:lnTo>
                  <a:lnTo>
                    <a:pt x="803529" y="479012"/>
                  </a:lnTo>
                  <a:lnTo>
                    <a:pt x="810101" y="479774"/>
                  </a:lnTo>
                  <a:lnTo>
                    <a:pt x="814578" y="477584"/>
                  </a:lnTo>
                  <a:lnTo>
                    <a:pt x="819531" y="478536"/>
                  </a:lnTo>
                  <a:lnTo>
                    <a:pt x="820960" y="476821"/>
                  </a:lnTo>
                  <a:lnTo>
                    <a:pt x="816578" y="467773"/>
                  </a:lnTo>
                  <a:lnTo>
                    <a:pt x="818388" y="469106"/>
                  </a:lnTo>
                  <a:lnTo>
                    <a:pt x="822103" y="473392"/>
                  </a:lnTo>
                  <a:lnTo>
                    <a:pt x="823436" y="471678"/>
                  </a:lnTo>
                  <a:lnTo>
                    <a:pt x="829628" y="469297"/>
                  </a:lnTo>
                  <a:lnTo>
                    <a:pt x="830390" y="462725"/>
                  </a:lnTo>
                  <a:lnTo>
                    <a:pt x="833152" y="459200"/>
                  </a:lnTo>
                  <a:lnTo>
                    <a:pt x="832485" y="454438"/>
                  </a:lnTo>
                  <a:lnTo>
                    <a:pt x="830771" y="453104"/>
                  </a:lnTo>
                  <a:lnTo>
                    <a:pt x="830294" y="449961"/>
                  </a:lnTo>
                  <a:lnTo>
                    <a:pt x="822674" y="452533"/>
                  </a:lnTo>
                  <a:lnTo>
                    <a:pt x="819055" y="449771"/>
                  </a:lnTo>
                  <a:lnTo>
                    <a:pt x="827913" y="431006"/>
                  </a:lnTo>
                  <a:lnTo>
                    <a:pt x="825913" y="428054"/>
                  </a:lnTo>
                  <a:lnTo>
                    <a:pt x="822579" y="426911"/>
                  </a:lnTo>
                  <a:lnTo>
                    <a:pt x="822389" y="425291"/>
                  </a:lnTo>
                  <a:lnTo>
                    <a:pt x="827151" y="424720"/>
                  </a:lnTo>
                  <a:lnTo>
                    <a:pt x="829056" y="427673"/>
                  </a:lnTo>
                  <a:lnTo>
                    <a:pt x="832485" y="428815"/>
                  </a:lnTo>
                  <a:lnTo>
                    <a:pt x="835438" y="426815"/>
                  </a:lnTo>
                  <a:lnTo>
                    <a:pt x="835247" y="425291"/>
                  </a:lnTo>
                  <a:lnTo>
                    <a:pt x="831818" y="424053"/>
                  </a:lnTo>
                  <a:lnTo>
                    <a:pt x="833057" y="420719"/>
                  </a:lnTo>
                  <a:lnTo>
                    <a:pt x="833057" y="42071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9" name="Volný tvar: obrazec 38">
              <a:extLst>
                <a:ext uri="{FF2B5EF4-FFF2-40B4-BE49-F238E27FC236}">
                  <a16:creationId xmlns:a16="http://schemas.microsoft.com/office/drawing/2014/main" id="{C794D5CC-4D6D-5A7F-1BE0-FF055D23544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05698" y="3006661"/>
              <a:ext cx="335184" cy="266604"/>
            </a:xfrm>
            <a:custGeom>
              <a:avLst/>
              <a:gdLst>
                <a:gd name="connsiteX0" fmla="*/ 306896 w 335184"/>
                <a:gd name="connsiteY0" fmla="*/ 184880 h 266604"/>
                <a:gd name="connsiteX1" fmla="*/ 307372 w 335184"/>
                <a:gd name="connsiteY1" fmla="*/ 188023 h 266604"/>
                <a:gd name="connsiteX2" fmla="*/ 302609 w 335184"/>
                <a:gd name="connsiteY2" fmla="*/ 188595 h 266604"/>
                <a:gd name="connsiteX3" fmla="*/ 303371 w 335184"/>
                <a:gd name="connsiteY3" fmla="*/ 194881 h 266604"/>
                <a:gd name="connsiteX4" fmla="*/ 300609 w 335184"/>
                <a:gd name="connsiteY4" fmla="*/ 198501 h 266604"/>
                <a:gd name="connsiteX5" fmla="*/ 295084 w 335184"/>
                <a:gd name="connsiteY5" fmla="*/ 192786 h 266604"/>
                <a:gd name="connsiteX6" fmla="*/ 293751 w 335184"/>
                <a:gd name="connsiteY6" fmla="*/ 194500 h 266604"/>
                <a:gd name="connsiteX7" fmla="*/ 292703 w 335184"/>
                <a:gd name="connsiteY7" fmla="*/ 199453 h 266604"/>
                <a:gd name="connsiteX8" fmla="*/ 290798 w 335184"/>
                <a:gd name="connsiteY8" fmla="*/ 196501 h 266604"/>
                <a:gd name="connsiteX9" fmla="*/ 289179 w 335184"/>
                <a:gd name="connsiteY9" fmla="*/ 196691 h 266604"/>
                <a:gd name="connsiteX10" fmla="*/ 293370 w 335184"/>
                <a:gd name="connsiteY10" fmla="*/ 204216 h 266604"/>
                <a:gd name="connsiteX11" fmla="*/ 289179 w 335184"/>
                <a:gd name="connsiteY11" fmla="*/ 209550 h 266604"/>
                <a:gd name="connsiteX12" fmla="*/ 284131 w 335184"/>
                <a:gd name="connsiteY12" fmla="*/ 206978 h 266604"/>
                <a:gd name="connsiteX13" fmla="*/ 279368 w 335184"/>
                <a:gd name="connsiteY13" fmla="*/ 207550 h 266604"/>
                <a:gd name="connsiteX14" fmla="*/ 274225 w 335184"/>
                <a:gd name="connsiteY14" fmla="*/ 205073 h 266604"/>
                <a:gd name="connsiteX15" fmla="*/ 274415 w 335184"/>
                <a:gd name="connsiteY15" fmla="*/ 206597 h 266604"/>
                <a:gd name="connsiteX16" fmla="*/ 272605 w 335184"/>
                <a:gd name="connsiteY16" fmla="*/ 205264 h 266604"/>
                <a:gd name="connsiteX17" fmla="*/ 271272 w 335184"/>
                <a:gd name="connsiteY17" fmla="*/ 206978 h 266604"/>
                <a:gd name="connsiteX18" fmla="*/ 269081 w 335184"/>
                <a:gd name="connsiteY18" fmla="*/ 202501 h 266604"/>
                <a:gd name="connsiteX19" fmla="*/ 269462 w 335184"/>
                <a:gd name="connsiteY19" fmla="*/ 205645 h 266604"/>
                <a:gd name="connsiteX20" fmla="*/ 265938 w 335184"/>
                <a:gd name="connsiteY20" fmla="*/ 202882 h 266604"/>
                <a:gd name="connsiteX21" fmla="*/ 265557 w 335184"/>
                <a:gd name="connsiteY21" fmla="*/ 199739 h 266604"/>
                <a:gd name="connsiteX22" fmla="*/ 264128 w 335184"/>
                <a:gd name="connsiteY22" fmla="*/ 201549 h 266604"/>
                <a:gd name="connsiteX23" fmla="*/ 261366 w 335184"/>
                <a:gd name="connsiteY23" fmla="*/ 192214 h 266604"/>
                <a:gd name="connsiteX24" fmla="*/ 256794 w 335184"/>
                <a:gd name="connsiteY24" fmla="*/ 194405 h 266604"/>
                <a:gd name="connsiteX25" fmla="*/ 256604 w 335184"/>
                <a:gd name="connsiteY25" fmla="*/ 192881 h 266604"/>
                <a:gd name="connsiteX26" fmla="*/ 254889 w 335184"/>
                <a:gd name="connsiteY26" fmla="*/ 191452 h 266604"/>
                <a:gd name="connsiteX27" fmla="*/ 251936 w 335184"/>
                <a:gd name="connsiteY27" fmla="*/ 193453 h 266604"/>
                <a:gd name="connsiteX28" fmla="*/ 251460 w 335184"/>
                <a:gd name="connsiteY28" fmla="*/ 190309 h 266604"/>
                <a:gd name="connsiteX29" fmla="*/ 251270 w 335184"/>
                <a:gd name="connsiteY29" fmla="*/ 188690 h 266604"/>
                <a:gd name="connsiteX30" fmla="*/ 248317 w 335184"/>
                <a:gd name="connsiteY30" fmla="*/ 190690 h 266604"/>
                <a:gd name="connsiteX31" fmla="*/ 249079 w 335184"/>
                <a:gd name="connsiteY31" fmla="*/ 184213 h 266604"/>
                <a:gd name="connsiteX32" fmla="*/ 244602 w 335184"/>
                <a:gd name="connsiteY32" fmla="*/ 186404 h 266604"/>
                <a:gd name="connsiteX33" fmla="*/ 243364 w 335184"/>
                <a:gd name="connsiteY33" fmla="*/ 189738 h 266604"/>
                <a:gd name="connsiteX34" fmla="*/ 243364 w 335184"/>
                <a:gd name="connsiteY34" fmla="*/ 189738 h 266604"/>
                <a:gd name="connsiteX35" fmla="*/ 240411 w 335184"/>
                <a:gd name="connsiteY35" fmla="*/ 191738 h 266604"/>
                <a:gd name="connsiteX36" fmla="*/ 237458 w 335184"/>
                <a:gd name="connsiteY36" fmla="*/ 193643 h 266604"/>
                <a:gd name="connsiteX37" fmla="*/ 238887 w 335184"/>
                <a:gd name="connsiteY37" fmla="*/ 191929 h 266604"/>
                <a:gd name="connsiteX38" fmla="*/ 235744 w 335184"/>
                <a:gd name="connsiteY38" fmla="*/ 192310 h 266604"/>
                <a:gd name="connsiteX39" fmla="*/ 235267 w 335184"/>
                <a:gd name="connsiteY39" fmla="*/ 189166 h 266604"/>
                <a:gd name="connsiteX40" fmla="*/ 233744 w 335184"/>
                <a:gd name="connsiteY40" fmla="*/ 189357 h 266604"/>
                <a:gd name="connsiteX41" fmla="*/ 228791 w 335184"/>
                <a:gd name="connsiteY41" fmla="*/ 188404 h 266604"/>
                <a:gd name="connsiteX42" fmla="*/ 228981 w 335184"/>
                <a:gd name="connsiteY42" fmla="*/ 189928 h 266604"/>
                <a:gd name="connsiteX43" fmla="*/ 226219 w 335184"/>
                <a:gd name="connsiteY43" fmla="*/ 193548 h 266604"/>
                <a:gd name="connsiteX44" fmla="*/ 221551 w 335184"/>
                <a:gd name="connsiteY44" fmla="*/ 194119 h 266604"/>
                <a:gd name="connsiteX45" fmla="*/ 214408 w 335184"/>
                <a:gd name="connsiteY45" fmla="*/ 188595 h 266604"/>
                <a:gd name="connsiteX46" fmla="*/ 211455 w 335184"/>
                <a:gd name="connsiteY46" fmla="*/ 190595 h 266604"/>
                <a:gd name="connsiteX47" fmla="*/ 205359 w 335184"/>
                <a:gd name="connsiteY47" fmla="*/ 192976 h 266604"/>
                <a:gd name="connsiteX48" fmla="*/ 211265 w 335184"/>
                <a:gd name="connsiteY48" fmla="*/ 201835 h 266604"/>
                <a:gd name="connsiteX49" fmla="*/ 203740 w 335184"/>
                <a:gd name="connsiteY49" fmla="*/ 206026 h 266604"/>
                <a:gd name="connsiteX50" fmla="*/ 204216 w 335184"/>
                <a:gd name="connsiteY50" fmla="*/ 209169 h 266604"/>
                <a:gd name="connsiteX51" fmla="*/ 202406 w 335184"/>
                <a:gd name="connsiteY51" fmla="*/ 207740 h 266604"/>
                <a:gd name="connsiteX52" fmla="*/ 200978 w 335184"/>
                <a:gd name="connsiteY52" fmla="*/ 209550 h 266604"/>
                <a:gd name="connsiteX53" fmla="*/ 199644 w 335184"/>
                <a:gd name="connsiteY53" fmla="*/ 211360 h 266604"/>
                <a:gd name="connsiteX54" fmla="*/ 196501 w 335184"/>
                <a:gd name="connsiteY54" fmla="*/ 211741 h 266604"/>
                <a:gd name="connsiteX55" fmla="*/ 195644 w 335184"/>
                <a:gd name="connsiteY55" fmla="*/ 205454 h 266604"/>
                <a:gd name="connsiteX56" fmla="*/ 180308 w 335184"/>
                <a:gd name="connsiteY56" fmla="*/ 210598 h 266604"/>
                <a:gd name="connsiteX57" fmla="*/ 181070 w 335184"/>
                <a:gd name="connsiteY57" fmla="*/ 216884 h 266604"/>
                <a:gd name="connsiteX58" fmla="*/ 182690 w 335184"/>
                <a:gd name="connsiteY58" fmla="*/ 216694 h 266604"/>
                <a:gd name="connsiteX59" fmla="*/ 182880 w 335184"/>
                <a:gd name="connsiteY59" fmla="*/ 218313 h 266604"/>
                <a:gd name="connsiteX60" fmla="*/ 171831 w 335184"/>
                <a:gd name="connsiteY60" fmla="*/ 219646 h 266604"/>
                <a:gd name="connsiteX61" fmla="*/ 172403 w 335184"/>
                <a:gd name="connsiteY61" fmla="*/ 224409 h 266604"/>
                <a:gd name="connsiteX62" fmla="*/ 167354 w 335184"/>
                <a:gd name="connsiteY62" fmla="*/ 221837 h 266604"/>
                <a:gd name="connsiteX63" fmla="*/ 166973 w 335184"/>
                <a:gd name="connsiteY63" fmla="*/ 231553 h 266604"/>
                <a:gd name="connsiteX64" fmla="*/ 164211 w 335184"/>
                <a:gd name="connsiteY64" fmla="*/ 235077 h 266604"/>
                <a:gd name="connsiteX65" fmla="*/ 159258 w 335184"/>
                <a:gd name="connsiteY65" fmla="*/ 234125 h 266604"/>
                <a:gd name="connsiteX66" fmla="*/ 155924 w 335184"/>
                <a:gd name="connsiteY66" fmla="*/ 232981 h 266604"/>
                <a:gd name="connsiteX67" fmla="*/ 152495 w 335184"/>
                <a:gd name="connsiteY67" fmla="*/ 231743 h 266604"/>
                <a:gd name="connsiteX68" fmla="*/ 148400 w 335184"/>
                <a:gd name="connsiteY68" fmla="*/ 237077 h 266604"/>
                <a:gd name="connsiteX69" fmla="*/ 137732 w 335184"/>
                <a:gd name="connsiteY69" fmla="*/ 241649 h 266604"/>
                <a:gd name="connsiteX70" fmla="*/ 133064 w 335184"/>
                <a:gd name="connsiteY70" fmla="*/ 242316 h 266604"/>
                <a:gd name="connsiteX71" fmla="*/ 122111 w 335184"/>
                <a:gd name="connsiteY71" fmla="*/ 232410 h 266604"/>
                <a:gd name="connsiteX72" fmla="*/ 120777 w 335184"/>
                <a:gd name="connsiteY72" fmla="*/ 234220 h 266604"/>
                <a:gd name="connsiteX73" fmla="*/ 116872 w 335184"/>
                <a:gd name="connsiteY73" fmla="*/ 253937 h 266604"/>
                <a:gd name="connsiteX74" fmla="*/ 117634 w 335184"/>
                <a:gd name="connsiteY74" fmla="*/ 260223 h 266604"/>
                <a:gd name="connsiteX75" fmla="*/ 118110 w 335184"/>
                <a:gd name="connsiteY75" fmla="*/ 263462 h 266604"/>
                <a:gd name="connsiteX76" fmla="*/ 118491 w 335184"/>
                <a:gd name="connsiteY76" fmla="*/ 266605 h 266604"/>
                <a:gd name="connsiteX77" fmla="*/ 115157 w 335184"/>
                <a:gd name="connsiteY77" fmla="*/ 265367 h 266604"/>
                <a:gd name="connsiteX78" fmla="*/ 112776 w 335184"/>
                <a:gd name="connsiteY78" fmla="*/ 259271 h 266604"/>
                <a:gd name="connsiteX79" fmla="*/ 107823 w 335184"/>
                <a:gd name="connsiteY79" fmla="*/ 258318 h 266604"/>
                <a:gd name="connsiteX80" fmla="*/ 101917 w 335184"/>
                <a:gd name="connsiteY80" fmla="*/ 262318 h 266604"/>
                <a:gd name="connsiteX81" fmla="*/ 101727 w 335184"/>
                <a:gd name="connsiteY81" fmla="*/ 260699 h 266604"/>
                <a:gd name="connsiteX82" fmla="*/ 101251 w 335184"/>
                <a:gd name="connsiteY82" fmla="*/ 257556 h 266604"/>
                <a:gd name="connsiteX83" fmla="*/ 97917 w 335184"/>
                <a:gd name="connsiteY83" fmla="*/ 256413 h 266604"/>
                <a:gd name="connsiteX84" fmla="*/ 92012 w 335184"/>
                <a:gd name="connsiteY84" fmla="*/ 260318 h 266604"/>
                <a:gd name="connsiteX85" fmla="*/ 91821 w 335184"/>
                <a:gd name="connsiteY85" fmla="*/ 258794 h 266604"/>
                <a:gd name="connsiteX86" fmla="*/ 77438 w 335184"/>
                <a:gd name="connsiteY86" fmla="*/ 258985 h 266604"/>
                <a:gd name="connsiteX87" fmla="*/ 75247 w 335184"/>
                <a:gd name="connsiteY87" fmla="*/ 254413 h 266604"/>
                <a:gd name="connsiteX88" fmla="*/ 69913 w 335184"/>
                <a:gd name="connsiteY88" fmla="*/ 250317 h 266604"/>
                <a:gd name="connsiteX89" fmla="*/ 67913 w 335184"/>
                <a:gd name="connsiteY89" fmla="*/ 247364 h 266604"/>
                <a:gd name="connsiteX90" fmla="*/ 71628 w 335184"/>
                <a:gd name="connsiteY90" fmla="*/ 238887 h 266604"/>
                <a:gd name="connsiteX91" fmla="*/ 74581 w 335184"/>
                <a:gd name="connsiteY91" fmla="*/ 236887 h 266604"/>
                <a:gd name="connsiteX92" fmla="*/ 79724 w 335184"/>
                <a:gd name="connsiteY92" fmla="*/ 239459 h 266604"/>
                <a:gd name="connsiteX93" fmla="*/ 83629 w 335184"/>
                <a:gd name="connsiteY93" fmla="*/ 232505 h 266604"/>
                <a:gd name="connsiteX94" fmla="*/ 83439 w 335184"/>
                <a:gd name="connsiteY94" fmla="*/ 230981 h 266604"/>
                <a:gd name="connsiteX95" fmla="*/ 81725 w 335184"/>
                <a:gd name="connsiteY95" fmla="*/ 229552 h 266604"/>
                <a:gd name="connsiteX96" fmla="*/ 72390 w 335184"/>
                <a:gd name="connsiteY96" fmla="*/ 232315 h 266604"/>
                <a:gd name="connsiteX97" fmla="*/ 70866 w 335184"/>
                <a:gd name="connsiteY97" fmla="*/ 232600 h 266604"/>
                <a:gd name="connsiteX98" fmla="*/ 70675 w 335184"/>
                <a:gd name="connsiteY98" fmla="*/ 230981 h 266604"/>
                <a:gd name="connsiteX99" fmla="*/ 79153 w 335184"/>
                <a:gd name="connsiteY99" fmla="*/ 221837 h 266604"/>
                <a:gd name="connsiteX100" fmla="*/ 78486 w 335184"/>
                <a:gd name="connsiteY100" fmla="*/ 217170 h 266604"/>
                <a:gd name="connsiteX101" fmla="*/ 74962 w 335184"/>
                <a:gd name="connsiteY101" fmla="*/ 214408 h 266604"/>
                <a:gd name="connsiteX102" fmla="*/ 81058 w 335184"/>
                <a:gd name="connsiteY102" fmla="*/ 212026 h 266604"/>
                <a:gd name="connsiteX103" fmla="*/ 75724 w 335184"/>
                <a:gd name="connsiteY103" fmla="*/ 207836 h 266604"/>
                <a:gd name="connsiteX104" fmla="*/ 74104 w 335184"/>
                <a:gd name="connsiteY104" fmla="*/ 208121 h 266604"/>
                <a:gd name="connsiteX105" fmla="*/ 63532 w 335184"/>
                <a:gd name="connsiteY105" fmla="*/ 212693 h 266604"/>
                <a:gd name="connsiteX106" fmla="*/ 61150 w 335184"/>
                <a:gd name="connsiteY106" fmla="*/ 206502 h 266604"/>
                <a:gd name="connsiteX107" fmla="*/ 57912 w 335184"/>
                <a:gd name="connsiteY107" fmla="*/ 206978 h 266604"/>
                <a:gd name="connsiteX108" fmla="*/ 56007 w 335184"/>
                <a:gd name="connsiteY108" fmla="*/ 204025 h 266604"/>
                <a:gd name="connsiteX109" fmla="*/ 52578 w 335184"/>
                <a:gd name="connsiteY109" fmla="*/ 202787 h 266604"/>
                <a:gd name="connsiteX110" fmla="*/ 52388 w 335184"/>
                <a:gd name="connsiteY110" fmla="*/ 201263 h 266604"/>
                <a:gd name="connsiteX111" fmla="*/ 48673 w 335184"/>
                <a:gd name="connsiteY111" fmla="*/ 196882 h 266604"/>
                <a:gd name="connsiteX112" fmla="*/ 51625 w 335184"/>
                <a:gd name="connsiteY112" fmla="*/ 194881 h 266604"/>
                <a:gd name="connsiteX113" fmla="*/ 52007 w 335184"/>
                <a:gd name="connsiteY113" fmla="*/ 185261 h 266604"/>
                <a:gd name="connsiteX114" fmla="*/ 59055 w 335184"/>
                <a:gd name="connsiteY114" fmla="*/ 190786 h 266604"/>
                <a:gd name="connsiteX115" fmla="*/ 63437 w 335184"/>
                <a:gd name="connsiteY115" fmla="*/ 174212 h 266604"/>
                <a:gd name="connsiteX116" fmla="*/ 63246 w 335184"/>
                <a:gd name="connsiteY116" fmla="*/ 172593 h 266604"/>
                <a:gd name="connsiteX117" fmla="*/ 50387 w 335184"/>
                <a:gd name="connsiteY117" fmla="*/ 172593 h 266604"/>
                <a:gd name="connsiteX118" fmla="*/ 43244 w 335184"/>
                <a:gd name="connsiteY118" fmla="*/ 167068 h 266604"/>
                <a:gd name="connsiteX119" fmla="*/ 39719 w 335184"/>
                <a:gd name="connsiteY119" fmla="*/ 164401 h 266604"/>
                <a:gd name="connsiteX120" fmla="*/ 30194 w 335184"/>
                <a:gd name="connsiteY120" fmla="*/ 152781 h 266604"/>
                <a:gd name="connsiteX121" fmla="*/ 30004 w 335184"/>
                <a:gd name="connsiteY121" fmla="*/ 151162 h 266604"/>
                <a:gd name="connsiteX122" fmla="*/ 30766 w 335184"/>
                <a:gd name="connsiteY122" fmla="*/ 144685 h 266604"/>
                <a:gd name="connsiteX123" fmla="*/ 29242 w 335184"/>
                <a:gd name="connsiteY123" fmla="*/ 144875 h 266604"/>
                <a:gd name="connsiteX124" fmla="*/ 31909 w 335184"/>
                <a:gd name="connsiteY124" fmla="*/ 141256 h 266604"/>
                <a:gd name="connsiteX125" fmla="*/ 31528 w 335184"/>
                <a:gd name="connsiteY125" fmla="*/ 138113 h 266604"/>
                <a:gd name="connsiteX126" fmla="*/ 26765 w 335184"/>
                <a:gd name="connsiteY126" fmla="*/ 138779 h 266604"/>
                <a:gd name="connsiteX127" fmla="*/ 26384 w 335184"/>
                <a:gd name="connsiteY127" fmla="*/ 135541 h 266604"/>
                <a:gd name="connsiteX128" fmla="*/ 23241 w 335184"/>
                <a:gd name="connsiteY128" fmla="*/ 136017 h 266604"/>
                <a:gd name="connsiteX129" fmla="*/ 21241 w 335184"/>
                <a:gd name="connsiteY129" fmla="*/ 133064 h 266604"/>
                <a:gd name="connsiteX130" fmla="*/ 16383 w 335184"/>
                <a:gd name="connsiteY130" fmla="*/ 132016 h 266604"/>
                <a:gd name="connsiteX131" fmla="*/ 15716 w 335184"/>
                <a:gd name="connsiteY131" fmla="*/ 127349 h 266604"/>
                <a:gd name="connsiteX132" fmla="*/ 18859 w 335184"/>
                <a:gd name="connsiteY132" fmla="*/ 126873 h 266604"/>
                <a:gd name="connsiteX133" fmla="*/ 23432 w 335184"/>
                <a:gd name="connsiteY133" fmla="*/ 124777 h 266604"/>
                <a:gd name="connsiteX134" fmla="*/ 22384 w 335184"/>
                <a:gd name="connsiteY134" fmla="*/ 116872 h 266604"/>
                <a:gd name="connsiteX135" fmla="*/ 33433 w 335184"/>
                <a:gd name="connsiteY135" fmla="*/ 115443 h 266604"/>
                <a:gd name="connsiteX136" fmla="*/ 37052 w 335184"/>
                <a:gd name="connsiteY136" fmla="*/ 118205 h 266604"/>
                <a:gd name="connsiteX137" fmla="*/ 38195 w 335184"/>
                <a:gd name="connsiteY137" fmla="*/ 114871 h 266604"/>
                <a:gd name="connsiteX138" fmla="*/ 44672 w 335184"/>
                <a:gd name="connsiteY138" fmla="*/ 115633 h 266604"/>
                <a:gd name="connsiteX139" fmla="*/ 44482 w 335184"/>
                <a:gd name="connsiteY139" fmla="*/ 114014 h 266604"/>
                <a:gd name="connsiteX140" fmla="*/ 44291 w 335184"/>
                <a:gd name="connsiteY140" fmla="*/ 112490 h 266604"/>
                <a:gd name="connsiteX141" fmla="*/ 44101 w 335184"/>
                <a:gd name="connsiteY141" fmla="*/ 110871 h 266604"/>
                <a:gd name="connsiteX142" fmla="*/ 40767 w 335184"/>
                <a:gd name="connsiteY142" fmla="*/ 109728 h 266604"/>
                <a:gd name="connsiteX143" fmla="*/ 41910 w 335184"/>
                <a:gd name="connsiteY143" fmla="*/ 106299 h 266604"/>
                <a:gd name="connsiteX144" fmla="*/ 34004 w 335184"/>
                <a:gd name="connsiteY144" fmla="*/ 107347 h 266604"/>
                <a:gd name="connsiteX145" fmla="*/ 33052 w 335184"/>
                <a:gd name="connsiteY145" fmla="*/ 99441 h 266604"/>
                <a:gd name="connsiteX146" fmla="*/ 30099 w 335184"/>
                <a:gd name="connsiteY146" fmla="*/ 101441 h 266604"/>
                <a:gd name="connsiteX147" fmla="*/ 24955 w 335184"/>
                <a:gd name="connsiteY147" fmla="*/ 98869 h 266604"/>
                <a:gd name="connsiteX148" fmla="*/ 23717 w 335184"/>
                <a:gd name="connsiteY148" fmla="*/ 89440 h 266604"/>
                <a:gd name="connsiteX149" fmla="*/ 20193 w 335184"/>
                <a:gd name="connsiteY149" fmla="*/ 86677 h 266604"/>
                <a:gd name="connsiteX150" fmla="*/ 23146 w 335184"/>
                <a:gd name="connsiteY150" fmla="*/ 84677 h 266604"/>
                <a:gd name="connsiteX151" fmla="*/ 19145 w 335184"/>
                <a:gd name="connsiteY151" fmla="*/ 78772 h 266604"/>
                <a:gd name="connsiteX152" fmla="*/ 13049 w 335184"/>
                <a:gd name="connsiteY152" fmla="*/ 81153 h 266604"/>
                <a:gd name="connsiteX153" fmla="*/ 8572 w 335184"/>
                <a:gd name="connsiteY153" fmla="*/ 83344 h 266604"/>
                <a:gd name="connsiteX154" fmla="*/ 4953 w 335184"/>
                <a:gd name="connsiteY154" fmla="*/ 80581 h 266604"/>
                <a:gd name="connsiteX155" fmla="*/ 667 w 335184"/>
                <a:gd name="connsiteY155" fmla="*/ 84296 h 266604"/>
                <a:gd name="connsiteX156" fmla="*/ 191 w 335184"/>
                <a:gd name="connsiteY156" fmla="*/ 81153 h 266604"/>
                <a:gd name="connsiteX157" fmla="*/ 0 w 335184"/>
                <a:gd name="connsiteY157" fmla="*/ 79629 h 266604"/>
                <a:gd name="connsiteX158" fmla="*/ 9334 w 335184"/>
                <a:gd name="connsiteY158" fmla="*/ 76771 h 266604"/>
                <a:gd name="connsiteX159" fmla="*/ 8668 w 335184"/>
                <a:gd name="connsiteY159" fmla="*/ 72104 h 266604"/>
                <a:gd name="connsiteX160" fmla="*/ 10096 w 335184"/>
                <a:gd name="connsiteY160" fmla="*/ 70294 h 266604"/>
                <a:gd name="connsiteX161" fmla="*/ 11811 w 335184"/>
                <a:gd name="connsiteY161" fmla="*/ 71723 h 266604"/>
                <a:gd name="connsiteX162" fmla="*/ 13621 w 335184"/>
                <a:gd name="connsiteY162" fmla="*/ 73057 h 266604"/>
                <a:gd name="connsiteX163" fmla="*/ 21336 w 335184"/>
                <a:gd name="connsiteY163" fmla="*/ 70485 h 266604"/>
                <a:gd name="connsiteX164" fmla="*/ 21146 w 335184"/>
                <a:gd name="connsiteY164" fmla="*/ 68866 h 266604"/>
                <a:gd name="connsiteX165" fmla="*/ 22479 w 335184"/>
                <a:gd name="connsiteY165" fmla="*/ 67151 h 266604"/>
                <a:gd name="connsiteX166" fmla="*/ 22670 w 335184"/>
                <a:gd name="connsiteY166" fmla="*/ 68675 h 266604"/>
                <a:gd name="connsiteX167" fmla="*/ 31813 w 335184"/>
                <a:gd name="connsiteY167" fmla="*/ 64294 h 266604"/>
                <a:gd name="connsiteX168" fmla="*/ 37909 w 335184"/>
                <a:gd name="connsiteY168" fmla="*/ 61913 h 266604"/>
                <a:gd name="connsiteX169" fmla="*/ 41815 w 335184"/>
                <a:gd name="connsiteY169" fmla="*/ 67818 h 266604"/>
                <a:gd name="connsiteX170" fmla="*/ 43244 w 335184"/>
                <a:gd name="connsiteY170" fmla="*/ 66103 h 266604"/>
                <a:gd name="connsiteX171" fmla="*/ 50483 w 335184"/>
                <a:gd name="connsiteY171" fmla="*/ 60388 h 266604"/>
                <a:gd name="connsiteX172" fmla="*/ 48292 w 335184"/>
                <a:gd name="connsiteY172" fmla="*/ 55816 h 266604"/>
                <a:gd name="connsiteX173" fmla="*/ 52864 w 335184"/>
                <a:gd name="connsiteY173" fmla="*/ 53626 h 266604"/>
                <a:gd name="connsiteX174" fmla="*/ 52483 w 335184"/>
                <a:gd name="connsiteY174" fmla="*/ 50482 h 266604"/>
                <a:gd name="connsiteX175" fmla="*/ 57436 w 335184"/>
                <a:gd name="connsiteY175" fmla="*/ 51435 h 266604"/>
                <a:gd name="connsiteX176" fmla="*/ 59150 w 335184"/>
                <a:gd name="connsiteY176" fmla="*/ 52864 h 266604"/>
                <a:gd name="connsiteX177" fmla="*/ 62294 w 335184"/>
                <a:gd name="connsiteY177" fmla="*/ 52388 h 266604"/>
                <a:gd name="connsiteX178" fmla="*/ 62960 w 335184"/>
                <a:gd name="connsiteY178" fmla="*/ 57150 h 266604"/>
                <a:gd name="connsiteX179" fmla="*/ 65342 w 335184"/>
                <a:gd name="connsiteY179" fmla="*/ 63246 h 266604"/>
                <a:gd name="connsiteX180" fmla="*/ 65913 w 335184"/>
                <a:gd name="connsiteY180" fmla="*/ 68008 h 266604"/>
                <a:gd name="connsiteX181" fmla="*/ 72009 w 335184"/>
                <a:gd name="connsiteY181" fmla="*/ 65627 h 266604"/>
                <a:gd name="connsiteX182" fmla="*/ 90011 w 335184"/>
                <a:gd name="connsiteY182" fmla="*/ 68104 h 266604"/>
                <a:gd name="connsiteX183" fmla="*/ 94679 w 335184"/>
                <a:gd name="connsiteY183" fmla="*/ 67532 h 266604"/>
                <a:gd name="connsiteX184" fmla="*/ 90392 w 335184"/>
                <a:gd name="connsiteY184" fmla="*/ 58483 h 266604"/>
                <a:gd name="connsiteX185" fmla="*/ 92678 w 335184"/>
                <a:gd name="connsiteY185" fmla="*/ 51721 h 266604"/>
                <a:gd name="connsiteX186" fmla="*/ 91154 w 335184"/>
                <a:gd name="connsiteY186" fmla="*/ 51911 h 266604"/>
                <a:gd name="connsiteX187" fmla="*/ 90964 w 335184"/>
                <a:gd name="connsiteY187" fmla="*/ 50387 h 266604"/>
                <a:gd name="connsiteX188" fmla="*/ 90107 w 335184"/>
                <a:gd name="connsiteY188" fmla="*/ 44101 h 266604"/>
                <a:gd name="connsiteX189" fmla="*/ 91535 w 335184"/>
                <a:gd name="connsiteY189" fmla="*/ 42291 h 266604"/>
                <a:gd name="connsiteX190" fmla="*/ 91059 w 335184"/>
                <a:gd name="connsiteY190" fmla="*/ 39148 h 266604"/>
                <a:gd name="connsiteX191" fmla="*/ 96393 w 335184"/>
                <a:gd name="connsiteY191" fmla="*/ 30480 h 266604"/>
                <a:gd name="connsiteX192" fmla="*/ 102965 w 335184"/>
                <a:gd name="connsiteY192" fmla="*/ 31242 h 266604"/>
                <a:gd name="connsiteX193" fmla="*/ 108013 w 335184"/>
                <a:gd name="connsiteY193" fmla="*/ 33814 h 266604"/>
                <a:gd name="connsiteX194" fmla="*/ 111252 w 335184"/>
                <a:gd name="connsiteY194" fmla="*/ 33338 h 266604"/>
                <a:gd name="connsiteX195" fmla="*/ 116776 w 335184"/>
                <a:gd name="connsiteY195" fmla="*/ 39052 h 266604"/>
                <a:gd name="connsiteX196" fmla="*/ 121253 w 335184"/>
                <a:gd name="connsiteY196" fmla="*/ 36862 h 266604"/>
                <a:gd name="connsiteX197" fmla="*/ 122301 w 335184"/>
                <a:gd name="connsiteY197" fmla="*/ 32004 h 266604"/>
                <a:gd name="connsiteX198" fmla="*/ 125635 w 335184"/>
                <a:gd name="connsiteY198" fmla="*/ 33147 h 266604"/>
                <a:gd name="connsiteX199" fmla="*/ 136493 w 335184"/>
                <a:gd name="connsiteY199" fmla="*/ 30194 h 266604"/>
                <a:gd name="connsiteX200" fmla="*/ 136493 w 335184"/>
                <a:gd name="connsiteY200" fmla="*/ 30194 h 266604"/>
                <a:gd name="connsiteX201" fmla="*/ 135826 w 335184"/>
                <a:gd name="connsiteY201" fmla="*/ 25432 h 266604"/>
                <a:gd name="connsiteX202" fmla="*/ 140779 w 335184"/>
                <a:gd name="connsiteY202" fmla="*/ 26384 h 266604"/>
                <a:gd name="connsiteX203" fmla="*/ 140017 w 335184"/>
                <a:gd name="connsiteY203" fmla="*/ 20098 h 266604"/>
                <a:gd name="connsiteX204" fmla="*/ 149828 w 335184"/>
                <a:gd name="connsiteY204" fmla="*/ 22003 h 266604"/>
                <a:gd name="connsiteX205" fmla="*/ 162496 w 335184"/>
                <a:gd name="connsiteY205" fmla="*/ 20383 h 266604"/>
                <a:gd name="connsiteX206" fmla="*/ 167259 w 335184"/>
                <a:gd name="connsiteY206" fmla="*/ 19812 h 266604"/>
                <a:gd name="connsiteX207" fmla="*/ 166402 w 335184"/>
                <a:gd name="connsiteY207" fmla="*/ 13525 h 266604"/>
                <a:gd name="connsiteX208" fmla="*/ 168021 w 335184"/>
                <a:gd name="connsiteY208" fmla="*/ 13335 h 266604"/>
                <a:gd name="connsiteX209" fmla="*/ 167354 w 335184"/>
                <a:gd name="connsiteY209" fmla="*/ 8572 h 266604"/>
                <a:gd name="connsiteX210" fmla="*/ 176879 w 335184"/>
                <a:gd name="connsiteY210" fmla="*/ 7334 h 266604"/>
                <a:gd name="connsiteX211" fmla="*/ 176498 w 335184"/>
                <a:gd name="connsiteY211" fmla="*/ 4191 h 266604"/>
                <a:gd name="connsiteX212" fmla="*/ 189452 w 335184"/>
                <a:gd name="connsiteY212" fmla="*/ 5715 h 266604"/>
                <a:gd name="connsiteX213" fmla="*/ 196025 w 335184"/>
                <a:gd name="connsiteY213" fmla="*/ 6572 h 266604"/>
                <a:gd name="connsiteX214" fmla="*/ 197167 w 335184"/>
                <a:gd name="connsiteY214" fmla="*/ 3143 h 266604"/>
                <a:gd name="connsiteX215" fmla="*/ 203645 w 335184"/>
                <a:gd name="connsiteY215" fmla="*/ 3905 h 266604"/>
                <a:gd name="connsiteX216" fmla="*/ 209645 w 335184"/>
                <a:gd name="connsiteY216" fmla="*/ 0 h 266604"/>
                <a:gd name="connsiteX217" fmla="*/ 214503 w 335184"/>
                <a:gd name="connsiteY217" fmla="*/ 952 h 266604"/>
                <a:gd name="connsiteX218" fmla="*/ 214408 w 335184"/>
                <a:gd name="connsiteY218" fmla="*/ 12192 h 266604"/>
                <a:gd name="connsiteX219" fmla="*/ 212788 w 335184"/>
                <a:gd name="connsiteY219" fmla="*/ 12382 h 266604"/>
                <a:gd name="connsiteX220" fmla="*/ 213550 w 335184"/>
                <a:gd name="connsiteY220" fmla="*/ 18764 h 266604"/>
                <a:gd name="connsiteX221" fmla="*/ 217932 w 335184"/>
                <a:gd name="connsiteY221" fmla="*/ 14954 h 266604"/>
                <a:gd name="connsiteX222" fmla="*/ 219932 w 335184"/>
                <a:gd name="connsiteY222" fmla="*/ 17907 h 266604"/>
                <a:gd name="connsiteX223" fmla="*/ 222885 w 335184"/>
                <a:gd name="connsiteY223" fmla="*/ 15907 h 266604"/>
                <a:gd name="connsiteX224" fmla="*/ 224028 w 335184"/>
                <a:gd name="connsiteY224" fmla="*/ 12573 h 266604"/>
                <a:gd name="connsiteX225" fmla="*/ 227838 w 335184"/>
                <a:gd name="connsiteY225" fmla="*/ 16954 h 266604"/>
                <a:gd name="connsiteX226" fmla="*/ 232696 w 335184"/>
                <a:gd name="connsiteY226" fmla="*/ 17907 h 266604"/>
                <a:gd name="connsiteX227" fmla="*/ 235077 w 335184"/>
                <a:gd name="connsiteY227" fmla="*/ 24003 h 266604"/>
                <a:gd name="connsiteX228" fmla="*/ 233744 w 335184"/>
                <a:gd name="connsiteY228" fmla="*/ 25813 h 266604"/>
                <a:gd name="connsiteX229" fmla="*/ 234505 w 335184"/>
                <a:gd name="connsiteY229" fmla="*/ 32099 h 266604"/>
                <a:gd name="connsiteX230" fmla="*/ 237458 w 335184"/>
                <a:gd name="connsiteY230" fmla="*/ 30099 h 266604"/>
                <a:gd name="connsiteX231" fmla="*/ 239268 w 335184"/>
                <a:gd name="connsiteY231" fmla="*/ 31432 h 266604"/>
                <a:gd name="connsiteX232" fmla="*/ 245745 w 335184"/>
                <a:gd name="connsiteY232" fmla="*/ 32290 h 266604"/>
                <a:gd name="connsiteX233" fmla="*/ 249936 w 335184"/>
                <a:gd name="connsiteY233" fmla="*/ 26956 h 266604"/>
                <a:gd name="connsiteX234" fmla="*/ 253079 w 335184"/>
                <a:gd name="connsiteY234" fmla="*/ 26479 h 266604"/>
                <a:gd name="connsiteX235" fmla="*/ 259556 w 335184"/>
                <a:gd name="connsiteY235" fmla="*/ 27241 h 266604"/>
                <a:gd name="connsiteX236" fmla="*/ 255651 w 335184"/>
                <a:gd name="connsiteY236" fmla="*/ 34195 h 266604"/>
                <a:gd name="connsiteX237" fmla="*/ 251079 w 335184"/>
                <a:gd name="connsiteY237" fmla="*/ 36385 h 266604"/>
                <a:gd name="connsiteX238" fmla="*/ 253270 w 335184"/>
                <a:gd name="connsiteY238" fmla="*/ 40957 h 266604"/>
                <a:gd name="connsiteX239" fmla="*/ 253460 w 335184"/>
                <a:gd name="connsiteY239" fmla="*/ 42481 h 266604"/>
                <a:gd name="connsiteX240" fmla="*/ 255937 w 335184"/>
                <a:gd name="connsiteY240" fmla="*/ 48577 h 266604"/>
                <a:gd name="connsiteX241" fmla="*/ 261461 w 335184"/>
                <a:gd name="connsiteY241" fmla="*/ 54292 h 266604"/>
                <a:gd name="connsiteX242" fmla="*/ 261461 w 335184"/>
                <a:gd name="connsiteY242" fmla="*/ 54292 h 266604"/>
                <a:gd name="connsiteX243" fmla="*/ 263366 w 335184"/>
                <a:gd name="connsiteY243" fmla="*/ 57245 h 266604"/>
                <a:gd name="connsiteX244" fmla="*/ 266795 w 335184"/>
                <a:gd name="connsiteY244" fmla="*/ 58483 h 266604"/>
                <a:gd name="connsiteX245" fmla="*/ 274415 w 335184"/>
                <a:gd name="connsiteY245" fmla="*/ 55912 h 266604"/>
                <a:gd name="connsiteX246" fmla="*/ 276225 w 335184"/>
                <a:gd name="connsiteY246" fmla="*/ 57245 h 266604"/>
                <a:gd name="connsiteX247" fmla="*/ 283940 w 335184"/>
                <a:gd name="connsiteY247" fmla="*/ 54673 h 266604"/>
                <a:gd name="connsiteX248" fmla="*/ 284702 w 335184"/>
                <a:gd name="connsiteY248" fmla="*/ 60960 h 266604"/>
                <a:gd name="connsiteX249" fmla="*/ 301085 w 335184"/>
                <a:gd name="connsiteY249" fmla="*/ 63722 h 266604"/>
                <a:gd name="connsiteX250" fmla="*/ 300133 w 335184"/>
                <a:gd name="connsiteY250" fmla="*/ 81439 h 266604"/>
                <a:gd name="connsiteX251" fmla="*/ 305467 w 335184"/>
                <a:gd name="connsiteY251" fmla="*/ 85630 h 266604"/>
                <a:gd name="connsiteX252" fmla="*/ 308420 w 335184"/>
                <a:gd name="connsiteY252" fmla="*/ 83629 h 266604"/>
                <a:gd name="connsiteX253" fmla="*/ 313563 w 335184"/>
                <a:gd name="connsiteY253" fmla="*/ 86201 h 266604"/>
                <a:gd name="connsiteX254" fmla="*/ 323659 w 335184"/>
                <a:gd name="connsiteY254" fmla="*/ 89725 h 266604"/>
                <a:gd name="connsiteX255" fmla="*/ 322326 w 335184"/>
                <a:gd name="connsiteY255" fmla="*/ 91440 h 266604"/>
                <a:gd name="connsiteX256" fmla="*/ 322707 w 335184"/>
                <a:gd name="connsiteY256" fmla="*/ 94583 h 266604"/>
                <a:gd name="connsiteX257" fmla="*/ 322707 w 335184"/>
                <a:gd name="connsiteY257" fmla="*/ 94583 h 266604"/>
                <a:gd name="connsiteX258" fmla="*/ 332804 w 335184"/>
                <a:gd name="connsiteY258" fmla="*/ 98203 h 266604"/>
                <a:gd name="connsiteX259" fmla="*/ 335185 w 335184"/>
                <a:gd name="connsiteY259" fmla="*/ 104299 h 266604"/>
                <a:gd name="connsiteX260" fmla="*/ 329279 w 335184"/>
                <a:gd name="connsiteY260" fmla="*/ 121063 h 266604"/>
                <a:gd name="connsiteX261" fmla="*/ 321374 w 335184"/>
                <a:gd name="connsiteY261" fmla="*/ 122015 h 266604"/>
                <a:gd name="connsiteX262" fmla="*/ 321564 w 335184"/>
                <a:gd name="connsiteY262" fmla="*/ 123634 h 266604"/>
                <a:gd name="connsiteX263" fmla="*/ 309563 w 335184"/>
                <a:gd name="connsiteY263" fmla="*/ 130016 h 266604"/>
                <a:gd name="connsiteX264" fmla="*/ 301657 w 335184"/>
                <a:gd name="connsiteY264" fmla="*/ 130969 h 266604"/>
                <a:gd name="connsiteX265" fmla="*/ 300323 w 335184"/>
                <a:gd name="connsiteY265" fmla="*/ 132778 h 266604"/>
                <a:gd name="connsiteX266" fmla="*/ 300323 w 335184"/>
                <a:gd name="connsiteY266" fmla="*/ 132778 h 266604"/>
                <a:gd name="connsiteX267" fmla="*/ 295561 w 335184"/>
                <a:gd name="connsiteY267" fmla="*/ 133350 h 266604"/>
                <a:gd name="connsiteX268" fmla="*/ 295751 w 335184"/>
                <a:gd name="connsiteY268" fmla="*/ 134969 h 266604"/>
                <a:gd name="connsiteX269" fmla="*/ 290798 w 335184"/>
                <a:gd name="connsiteY269" fmla="*/ 133921 h 266604"/>
                <a:gd name="connsiteX270" fmla="*/ 292799 w 335184"/>
                <a:gd name="connsiteY270" fmla="*/ 136874 h 266604"/>
                <a:gd name="connsiteX271" fmla="*/ 289846 w 335184"/>
                <a:gd name="connsiteY271" fmla="*/ 138874 h 266604"/>
                <a:gd name="connsiteX272" fmla="*/ 288226 w 335184"/>
                <a:gd name="connsiteY272" fmla="*/ 139065 h 266604"/>
                <a:gd name="connsiteX273" fmla="*/ 287655 w 335184"/>
                <a:gd name="connsiteY273" fmla="*/ 147161 h 266604"/>
                <a:gd name="connsiteX274" fmla="*/ 290513 w 335184"/>
                <a:gd name="connsiteY274" fmla="*/ 156496 h 266604"/>
                <a:gd name="connsiteX275" fmla="*/ 294989 w 335184"/>
                <a:gd name="connsiteY275" fmla="*/ 154305 h 266604"/>
                <a:gd name="connsiteX276" fmla="*/ 297371 w 335184"/>
                <a:gd name="connsiteY276" fmla="*/ 147542 h 266604"/>
                <a:gd name="connsiteX277" fmla="*/ 302705 w 335184"/>
                <a:gd name="connsiteY277" fmla="*/ 151733 h 266604"/>
                <a:gd name="connsiteX278" fmla="*/ 306896 w 335184"/>
                <a:gd name="connsiteY278" fmla="*/ 159163 h 266604"/>
                <a:gd name="connsiteX279" fmla="*/ 300514 w 335184"/>
                <a:gd name="connsiteY279" fmla="*/ 160020 h 266604"/>
                <a:gd name="connsiteX280" fmla="*/ 299752 w 335184"/>
                <a:gd name="connsiteY280" fmla="*/ 166497 h 266604"/>
                <a:gd name="connsiteX281" fmla="*/ 303943 w 335184"/>
                <a:gd name="connsiteY281" fmla="*/ 174022 h 266604"/>
                <a:gd name="connsiteX282" fmla="*/ 308134 w 335184"/>
                <a:gd name="connsiteY282" fmla="*/ 181451 h 266604"/>
                <a:gd name="connsiteX283" fmla="*/ 306896 w 335184"/>
                <a:gd name="connsiteY283" fmla="*/ 184880 h 266604"/>
                <a:gd name="connsiteX284" fmla="*/ 306896 w 335184"/>
                <a:gd name="connsiteY284" fmla="*/ 184880 h 266604"/>
                <a:gd name="connsiteX285" fmla="*/ 306896 w 335184"/>
                <a:gd name="connsiteY285" fmla="*/ 184880 h 26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</a:cxnLst>
              <a:rect l="l" t="t" r="r" b="b"/>
              <a:pathLst>
                <a:path w="335184" h="266604">
                  <a:moveTo>
                    <a:pt x="306896" y="184880"/>
                  </a:moveTo>
                  <a:lnTo>
                    <a:pt x="307372" y="188023"/>
                  </a:lnTo>
                  <a:lnTo>
                    <a:pt x="302609" y="188595"/>
                  </a:lnTo>
                  <a:lnTo>
                    <a:pt x="303371" y="194881"/>
                  </a:lnTo>
                  <a:lnTo>
                    <a:pt x="300609" y="198501"/>
                  </a:lnTo>
                  <a:lnTo>
                    <a:pt x="295084" y="192786"/>
                  </a:lnTo>
                  <a:lnTo>
                    <a:pt x="293751" y="194500"/>
                  </a:lnTo>
                  <a:lnTo>
                    <a:pt x="292703" y="199453"/>
                  </a:lnTo>
                  <a:lnTo>
                    <a:pt x="290798" y="196501"/>
                  </a:lnTo>
                  <a:lnTo>
                    <a:pt x="289179" y="196691"/>
                  </a:lnTo>
                  <a:lnTo>
                    <a:pt x="293370" y="204216"/>
                  </a:lnTo>
                  <a:lnTo>
                    <a:pt x="289179" y="209550"/>
                  </a:lnTo>
                  <a:lnTo>
                    <a:pt x="284131" y="206978"/>
                  </a:lnTo>
                  <a:lnTo>
                    <a:pt x="279368" y="207550"/>
                  </a:lnTo>
                  <a:lnTo>
                    <a:pt x="274225" y="205073"/>
                  </a:lnTo>
                  <a:lnTo>
                    <a:pt x="274415" y="206597"/>
                  </a:lnTo>
                  <a:lnTo>
                    <a:pt x="272605" y="205264"/>
                  </a:lnTo>
                  <a:lnTo>
                    <a:pt x="271272" y="206978"/>
                  </a:lnTo>
                  <a:lnTo>
                    <a:pt x="269081" y="202501"/>
                  </a:lnTo>
                  <a:lnTo>
                    <a:pt x="269462" y="205645"/>
                  </a:lnTo>
                  <a:lnTo>
                    <a:pt x="265938" y="202882"/>
                  </a:lnTo>
                  <a:lnTo>
                    <a:pt x="265557" y="199739"/>
                  </a:lnTo>
                  <a:lnTo>
                    <a:pt x="264128" y="201549"/>
                  </a:lnTo>
                  <a:lnTo>
                    <a:pt x="261366" y="192214"/>
                  </a:lnTo>
                  <a:lnTo>
                    <a:pt x="256794" y="194405"/>
                  </a:lnTo>
                  <a:lnTo>
                    <a:pt x="256604" y="192881"/>
                  </a:lnTo>
                  <a:lnTo>
                    <a:pt x="254889" y="191452"/>
                  </a:lnTo>
                  <a:lnTo>
                    <a:pt x="251936" y="193453"/>
                  </a:lnTo>
                  <a:lnTo>
                    <a:pt x="251460" y="190309"/>
                  </a:lnTo>
                  <a:lnTo>
                    <a:pt x="251270" y="188690"/>
                  </a:lnTo>
                  <a:lnTo>
                    <a:pt x="248317" y="190690"/>
                  </a:lnTo>
                  <a:lnTo>
                    <a:pt x="249079" y="184213"/>
                  </a:lnTo>
                  <a:lnTo>
                    <a:pt x="244602" y="186404"/>
                  </a:lnTo>
                  <a:lnTo>
                    <a:pt x="243364" y="189738"/>
                  </a:lnTo>
                  <a:lnTo>
                    <a:pt x="243364" y="189738"/>
                  </a:lnTo>
                  <a:lnTo>
                    <a:pt x="240411" y="191738"/>
                  </a:lnTo>
                  <a:lnTo>
                    <a:pt x="237458" y="193643"/>
                  </a:lnTo>
                  <a:lnTo>
                    <a:pt x="238887" y="191929"/>
                  </a:lnTo>
                  <a:lnTo>
                    <a:pt x="235744" y="192310"/>
                  </a:lnTo>
                  <a:lnTo>
                    <a:pt x="235267" y="189166"/>
                  </a:lnTo>
                  <a:lnTo>
                    <a:pt x="233744" y="189357"/>
                  </a:lnTo>
                  <a:lnTo>
                    <a:pt x="228791" y="188404"/>
                  </a:lnTo>
                  <a:lnTo>
                    <a:pt x="228981" y="189928"/>
                  </a:lnTo>
                  <a:lnTo>
                    <a:pt x="226219" y="193548"/>
                  </a:lnTo>
                  <a:lnTo>
                    <a:pt x="221551" y="194119"/>
                  </a:lnTo>
                  <a:lnTo>
                    <a:pt x="214408" y="188595"/>
                  </a:lnTo>
                  <a:lnTo>
                    <a:pt x="211455" y="190595"/>
                  </a:lnTo>
                  <a:lnTo>
                    <a:pt x="205359" y="192976"/>
                  </a:lnTo>
                  <a:lnTo>
                    <a:pt x="211265" y="201835"/>
                  </a:lnTo>
                  <a:lnTo>
                    <a:pt x="203740" y="206026"/>
                  </a:lnTo>
                  <a:lnTo>
                    <a:pt x="204216" y="209169"/>
                  </a:lnTo>
                  <a:lnTo>
                    <a:pt x="202406" y="207740"/>
                  </a:lnTo>
                  <a:lnTo>
                    <a:pt x="200978" y="209550"/>
                  </a:lnTo>
                  <a:lnTo>
                    <a:pt x="199644" y="211360"/>
                  </a:lnTo>
                  <a:lnTo>
                    <a:pt x="196501" y="211741"/>
                  </a:lnTo>
                  <a:lnTo>
                    <a:pt x="195644" y="205454"/>
                  </a:lnTo>
                  <a:lnTo>
                    <a:pt x="180308" y="210598"/>
                  </a:lnTo>
                  <a:lnTo>
                    <a:pt x="181070" y="216884"/>
                  </a:lnTo>
                  <a:lnTo>
                    <a:pt x="182690" y="216694"/>
                  </a:lnTo>
                  <a:lnTo>
                    <a:pt x="182880" y="218313"/>
                  </a:lnTo>
                  <a:lnTo>
                    <a:pt x="171831" y="219646"/>
                  </a:lnTo>
                  <a:lnTo>
                    <a:pt x="172403" y="224409"/>
                  </a:lnTo>
                  <a:lnTo>
                    <a:pt x="167354" y="221837"/>
                  </a:lnTo>
                  <a:lnTo>
                    <a:pt x="166973" y="231553"/>
                  </a:lnTo>
                  <a:lnTo>
                    <a:pt x="164211" y="235077"/>
                  </a:lnTo>
                  <a:lnTo>
                    <a:pt x="159258" y="234125"/>
                  </a:lnTo>
                  <a:lnTo>
                    <a:pt x="155924" y="232981"/>
                  </a:lnTo>
                  <a:lnTo>
                    <a:pt x="152495" y="231743"/>
                  </a:lnTo>
                  <a:lnTo>
                    <a:pt x="148400" y="237077"/>
                  </a:lnTo>
                  <a:lnTo>
                    <a:pt x="137732" y="241649"/>
                  </a:lnTo>
                  <a:lnTo>
                    <a:pt x="133064" y="242316"/>
                  </a:lnTo>
                  <a:lnTo>
                    <a:pt x="122111" y="232410"/>
                  </a:lnTo>
                  <a:lnTo>
                    <a:pt x="120777" y="234220"/>
                  </a:lnTo>
                  <a:lnTo>
                    <a:pt x="116872" y="253937"/>
                  </a:lnTo>
                  <a:lnTo>
                    <a:pt x="117634" y="260223"/>
                  </a:lnTo>
                  <a:lnTo>
                    <a:pt x="118110" y="263462"/>
                  </a:lnTo>
                  <a:lnTo>
                    <a:pt x="118491" y="266605"/>
                  </a:lnTo>
                  <a:lnTo>
                    <a:pt x="115157" y="265367"/>
                  </a:lnTo>
                  <a:lnTo>
                    <a:pt x="112776" y="259271"/>
                  </a:lnTo>
                  <a:lnTo>
                    <a:pt x="107823" y="258318"/>
                  </a:lnTo>
                  <a:lnTo>
                    <a:pt x="101917" y="262318"/>
                  </a:lnTo>
                  <a:lnTo>
                    <a:pt x="101727" y="260699"/>
                  </a:lnTo>
                  <a:lnTo>
                    <a:pt x="101251" y="257556"/>
                  </a:lnTo>
                  <a:lnTo>
                    <a:pt x="97917" y="256413"/>
                  </a:lnTo>
                  <a:lnTo>
                    <a:pt x="92012" y="260318"/>
                  </a:lnTo>
                  <a:lnTo>
                    <a:pt x="91821" y="258794"/>
                  </a:lnTo>
                  <a:lnTo>
                    <a:pt x="77438" y="258985"/>
                  </a:lnTo>
                  <a:lnTo>
                    <a:pt x="75247" y="254413"/>
                  </a:lnTo>
                  <a:lnTo>
                    <a:pt x="69913" y="250317"/>
                  </a:lnTo>
                  <a:lnTo>
                    <a:pt x="67913" y="247364"/>
                  </a:lnTo>
                  <a:lnTo>
                    <a:pt x="71628" y="238887"/>
                  </a:lnTo>
                  <a:lnTo>
                    <a:pt x="74581" y="236887"/>
                  </a:lnTo>
                  <a:lnTo>
                    <a:pt x="79724" y="239459"/>
                  </a:lnTo>
                  <a:lnTo>
                    <a:pt x="83629" y="232505"/>
                  </a:lnTo>
                  <a:lnTo>
                    <a:pt x="83439" y="230981"/>
                  </a:lnTo>
                  <a:lnTo>
                    <a:pt x="81725" y="229552"/>
                  </a:lnTo>
                  <a:lnTo>
                    <a:pt x="72390" y="232315"/>
                  </a:lnTo>
                  <a:lnTo>
                    <a:pt x="70866" y="232600"/>
                  </a:lnTo>
                  <a:lnTo>
                    <a:pt x="70675" y="230981"/>
                  </a:lnTo>
                  <a:lnTo>
                    <a:pt x="79153" y="221837"/>
                  </a:lnTo>
                  <a:lnTo>
                    <a:pt x="78486" y="217170"/>
                  </a:lnTo>
                  <a:lnTo>
                    <a:pt x="74962" y="214408"/>
                  </a:lnTo>
                  <a:lnTo>
                    <a:pt x="81058" y="212026"/>
                  </a:lnTo>
                  <a:lnTo>
                    <a:pt x="75724" y="207836"/>
                  </a:lnTo>
                  <a:lnTo>
                    <a:pt x="74104" y="208121"/>
                  </a:lnTo>
                  <a:lnTo>
                    <a:pt x="63532" y="212693"/>
                  </a:lnTo>
                  <a:lnTo>
                    <a:pt x="61150" y="206502"/>
                  </a:lnTo>
                  <a:lnTo>
                    <a:pt x="57912" y="206978"/>
                  </a:lnTo>
                  <a:lnTo>
                    <a:pt x="56007" y="204025"/>
                  </a:lnTo>
                  <a:lnTo>
                    <a:pt x="52578" y="202787"/>
                  </a:lnTo>
                  <a:lnTo>
                    <a:pt x="52388" y="201263"/>
                  </a:lnTo>
                  <a:lnTo>
                    <a:pt x="48673" y="196882"/>
                  </a:lnTo>
                  <a:lnTo>
                    <a:pt x="51625" y="194881"/>
                  </a:lnTo>
                  <a:lnTo>
                    <a:pt x="52007" y="185261"/>
                  </a:lnTo>
                  <a:lnTo>
                    <a:pt x="59055" y="190786"/>
                  </a:lnTo>
                  <a:lnTo>
                    <a:pt x="63437" y="174212"/>
                  </a:lnTo>
                  <a:lnTo>
                    <a:pt x="63246" y="172593"/>
                  </a:lnTo>
                  <a:lnTo>
                    <a:pt x="50387" y="172593"/>
                  </a:lnTo>
                  <a:lnTo>
                    <a:pt x="43244" y="167068"/>
                  </a:lnTo>
                  <a:lnTo>
                    <a:pt x="39719" y="164401"/>
                  </a:lnTo>
                  <a:lnTo>
                    <a:pt x="30194" y="152781"/>
                  </a:lnTo>
                  <a:lnTo>
                    <a:pt x="30004" y="151162"/>
                  </a:lnTo>
                  <a:lnTo>
                    <a:pt x="30766" y="144685"/>
                  </a:lnTo>
                  <a:lnTo>
                    <a:pt x="29242" y="144875"/>
                  </a:lnTo>
                  <a:lnTo>
                    <a:pt x="31909" y="141256"/>
                  </a:lnTo>
                  <a:lnTo>
                    <a:pt x="31528" y="138113"/>
                  </a:lnTo>
                  <a:lnTo>
                    <a:pt x="26765" y="138779"/>
                  </a:lnTo>
                  <a:lnTo>
                    <a:pt x="26384" y="135541"/>
                  </a:lnTo>
                  <a:lnTo>
                    <a:pt x="23241" y="136017"/>
                  </a:lnTo>
                  <a:lnTo>
                    <a:pt x="21241" y="133064"/>
                  </a:lnTo>
                  <a:lnTo>
                    <a:pt x="16383" y="132016"/>
                  </a:lnTo>
                  <a:lnTo>
                    <a:pt x="15716" y="127349"/>
                  </a:lnTo>
                  <a:lnTo>
                    <a:pt x="18859" y="126873"/>
                  </a:lnTo>
                  <a:lnTo>
                    <a:pt x="23432" y="124777"/>
                  </a:lnTo>
                  <a:lnTo>
                    <a:pt x="22384" y="116872"/>
                  </a:lnTo>
                  <a:lnTo>
                    <a:pt x="33433" y="115443"/>
                  </a:lnTo>
                  <a:lnTo>
                    <a:pt x="37052" y="118205"/>
                  </a:lnTo>
                  <a:lnTo>
                    <a:pt x="38195" y="114871"/>
                  </a:lnTo>
                  <a:lnTo>
                    <a:pt x="44672" y="115633"/>
                  </a:lnTo>
                  <a:lnTo>
                    <a:pt x="44482" y="114014"/>
                  </a:lnTo>
                  <a:lnTo>
                    <a:pt x="44291" y="112490"/>
                  </a:lnTo>
                  <a:lnTo>
                    <a:pt x="44101" y="110871"/>
                  </a:lnTo>
                  <a:lnTo>
                    <a:pt x="40767" y="109728"/>
                  </a:lnTo>
                  <a:lnTo>
                    <a:pt x="41910" y="106299"/>
                  </a:lnTo>
                  <a:lnTo>
                    <a:pt x="34004" y="107347"/>
                  </a:lnTo>
                  <a:lnTo>
                    <a:pt x="33052" y="99441"/>
                  </a:lnTo>
                  <a:lnTo>
                    <a:pt x="30099" y="101441"/>
                  </a:lnTo>
                  <a:lnTo>
                    <a:pt x="24955" y="98869"/>
                  </a:lnTo>
                  <a:lnTo>
                    <a:pt x="23717" y="89440"/>
                  </a:lnTo>
                  <a:lnTo>
                    <a:pt x="20193" y="86677"/>
                  </a:lnTo>
                  <a:lnTo>
                    <a:pt x="23146" y="84677"/>
                  </a:lnTo>
                  <a:lnTo>
                    <a:pt x="19145" y="78772"/>
                  </a:lnTo>
                  <a:lnTo>
                    <a:pt x="13049" y="81153"/>
                  </a:lnTo>
                  <a:lnTo>
                    <a:pt x="8572" y="83344"/>
                  </a:lnTo>
                  <a:lnTo>
                    <a:pt x="4953" y="80581"/>
                  </a:lnTo>
                  <a:lnTo>
                    <a:pt x="667" y="84296"/>
                  </a:lnTo>
                  <a:lnTo>
                    <a:pt x="191" y="81153"/>
                  </a:lnTo>
                  <a:lnTo>
                    <a:pt x="0" y="79629"/>
                  </a:lnTo>
                  <a:lnTo>
                    <a:pt x="9334" y="76771"/>
                  </a:lnTo>
                  <a:lnTo>
                    <a:pt x="8668" y="72104"/>
                  </a:lnTo>
                  <a:lnTo>
                    <a:pt x="10096" y="70294"/>
                  </a:lnTo>
                  <a:lnTo>
                    <a:pt x="11811" y="71723"/>
                  </a:lnTo>
                  <a:lnTo>
                    <a:pt x="13621" y="73057"/>
                  </a:lnTo>
                  <a:lnTo>
                    <a:pt x="21336" y="70485"/>
                  </a:lnTo>
                  <a:lnTo>
                    <a:pt x="21146" y="68866"/>
                  </a:lnTo>
                  <a:lnTo>
                    <a:pt x="22479" y="67151"/>
                  </a:lnTo>
                  <a:lnTo>
                    <a:pt x="22670" y="68675"/>
                  </a:lnTo>
                  <a:lnTo>
                    <a:pt x="31813" y="64294"/>
                  </a:lnTo>
                  <a:lnTo>
                    <a:pt x="37909" y="61913"/>
                  </a:lnTo>
                  <a:lnTo>
                    <a:pt x="41815" y="67818"/>
                  </a:lnTo>
                  <a:lnTo>
                    <a:pt x="43244" y="66103"/>
                  </a:lnTo>
                  <a:lnTo>
                    <a:pt x="50483" y="60388"/>
                  </a:lnTo>
                  <a:lnTo>
                    <a:pt x="48292" y="55816"/>
                  </a:lnTo>
                  <a:lnTo>
                    <a:pt x="52864" y="53626"/>
                  </a:lnTo>
                  <a:lnTo>
                    <a:pt x="52483" y="50482"/>
                  </a:lnTo>
                  <a:lnTo>
                    <a:pt x="57436" y="51435"/>
                  </a:lnTo>
                  <a:lnTo>
                    <a:pt x="59150" y="52864"/>
                  </a:lnTo>
                  <a:lnTo>
                    <a:pt x="62294" y="52388"/>
                  </a:lnTo>
                  <a:lnTo>
                    <a:pt x="62960" y="57150"/>
                  </a:lnTo>
                  <a:lnTo>
                    <a:pt x="65342" y="63246"/>
                  </a:lnTo>
                  <a:lnTo>
                    <a:pt x="65913" y="68008"/>
                  </a:lnTo>
                  <a:lnTo>
                    <a:pt x="72009" y="65627"/>
                  </a:lnTo>
                  <a:lnTo>
                    <a:pt x="90011" y="68104"/>
                  </a:lnTo>
                  <a:lnTo>
                    <a:pt x="94679" y="67532"/>
                  </a:lnTo>
                  <a:lnTo>
                    <a:pt x="90392" y="58483"/>
                  </a:lnTo>
                  <a:lnTo>
                    <a:pt x="92678" y="51721"/>
                  </a:lnTo>
                  <a:lnTo>
                    <a:pt x="91154" y="51911"/>
                  </a:lnTo>
                  <a:lnTo>
                    <a:pt x="90964" y="50387"/>
                  </a:lnTo>
                  <a:lnTo>
                    <a:pt x="90107" y="44101"/>
                  </a:lnTo>
                  <a:lnTo>
                    <a:pt x="91535" y="42291"/>
                  </a:lnTo>
                  <a:lnTo>
                    <a:pt x="91059" y="39148"/>
                  </a:lnTo>
                  <a:lnTo>
                    <a:pt x="96393" y="30480"/>
                  </a:lnTo>
                  <a:lnTo>
                    <a:pt x="102965" y="31242"/>
                  </a:lnTo>
                  <a:lnTo>
                    <a:pt x="108013" y="33814"/>
                  </a:lnTo>
                  <a:lnTo>
                    <a:pt x="111252" y="33338"/>
                  </a:lnTo>
                  <a:lnTo>
                    <a:pt x="116776" y="39052"/>
                  </a:lnTo>
                  <a:lnTo>
                    <a:pt x="121253" y="36862"/>
                  </a:lnTo>
                  <a:lnTo>
                    <a:pt x="122301" y="32004"/>
                  </a:lnTo>
                  <a:lnTo>
                    <a:pt x="125635" y="33147"/>
                  </a:lnTo>
                  <a:lnTo>
                    <a:pt x="136493" y="30194"/>
                  </a:lnTo>
                  <a:lnTo>
                    <a:pt x="136493" y="30194"/>
                  </a:lnTo>
                  <a:lnTo>
                    <a:pt x="135826" y="25432"/>
                  </a:lnTo>
                  <a:lnTo>
                    <a:pt x="140779" y="26384"/>
                  </a:lnTo>
                  <a:lnTo>
                    <a:pt x="140017" y="20098"/>
                  </a:lnTo>
                  <a:lnTo>
                    <a:pt x="149828" y="22003"/>
                  </a:lnTo>
                  <a:lnTo>
                    <a:pt x="162496" y="20383"/>
                  </a:lnTo>
                  <a:lnTo>
                    <a:pt x="167259" y="19812"/>
                  </a:lnTo>
                  <a:lnTo>
                    <a:pt x="166402" y="13525"/>
                  </a:lnTo>
                  <a:lnTo>
                    <a:pt x="168021" y="13335"/>
                  </a:lnTo>
                  <a:lnTo>
                    <a:pt x="167354" y="8572"/>
                  </a:lnTo>
                  <a:lnTo>
                    <a:pt x="176879" y="7334"/>
                  </a:lnTo>
                  <a:lnTo>
                    <a:pt x="176498" y="4191"/>
                  </a:lnTo>
                  <a:lnTo>
                    <a:pt x="189452" y="5715"/>
                  </a:lnTo>
                  <a:lnTo>
                    <a:pt x="196025" y="6572"/>
                  </a:lnTo>
                  <a:lnTo>
                    <a:pt x="197167" y="3143"/>
                  </a:lnTo>
                  <a:lnTo>
                    <a:pt x="203645" y="3905"/>
                  </a:lnTo>
                  <a:lnTo>
                    <a:pt x="209645" y="0"/>
                  </a:lnTo>
                  <a:lnTo>
                    <a:pt x="214503" y="952"/>
                  </a:lnTo>
                  <a:lnTo>
                    <a:pt x="214408" y="12192"/>
                  </a:lnTo>
                  <a:lnTo>
                    <a:pt x="212788" y="12382"/>
                  </a:lnTo>
                  <a:lnTo>
                    <a:pt x="213550" y="18764"/>
                  </a:lnTo>
                  <a:lnTo>
                    <a:pt x="217932" y="14954"/>
                  </a:lnTo>
                  <a:lnTo>
                    <a:pt x="219932" y="17907"/>
                  </a:lnTo>
                  <a:lnTo>
                    <a:pt x="222885" y="15907"/>
                  </a:lnTo>
                  <a:lnTo>
                    <a:pt x="224028" y="12573"/>
                  </a:lnTo>
                  <a:lnTo>
                    <a:pt x="227838" y="16954"/>
                  </a:lnTo>
                  <a:lnTo>
                    <a:pt x="232696" y="17907"/>
                  </a:lnTo>
                  <a:lnTo>
                    <a:pt x="235077" y="24003"/>
                  </a:lnTo>
                  <a:lnTo>
                    <a:pt x="233744" y="25813"/>
                  </a:lnTo>
                  <a:lnTo>
                    <a:pt x="234505" y="32099"/>
                  </a:lnTo>
                  <a:lnTo>
                    <a:pt x="237458" y="30099"/>
                  </a:lnTo>
                  <a:lnTo>
                    <a:pt x="239268" y="31432"/>
                  </a:lnTo>
                  <a:lnTo>
                    <a:pt x="245745" y="32290"/>
                  </a:lnTo>
                  <a:lnTo>
                    <a:pt x="249936" y="26956"/>
                  </a:lnTo>
                  <a:lnTo>
                    <a:pt x="253079" y="26479"/>
                  </a:lnTo>
                  <a:lnTo>
                    <a:pt x="259556" y="27241"/>
                  </a:lnTo>
                  <a:lnTo>
                    <a:pt x="255651" y="34195"/>
                  </a:lnTo>
                  <a:lnTo>
                    <a:pt x="251079" y="36385"/>
                  </a:lnTo>
                  <a:lnTo>
                    <a:pt x="253270" y="40957"/>
                  </a:lnTo>
                  <a:lnTo>
                    <a:pt x="253460" y="42481"/>
                  </a:lnTo>
                  <a:lnTo>
                    <a:pt x="255937" y="48577"/>
                  </a:lnTo>
                  <a:lnTo>
                    <a:pt x="261461" y="54292"/>
                  </a:lnTo>
                  <a:lnTo>
                    <a:pt x="261461" y="54292"/>
                  </a:lnTo>
                  <a:lnTo>
                    <a:pt x="263366" y="57245"/>
                  </a:lnTo>
                  <a:lnTo>
                    <a:pt x="266795" y="58483"/>
                  </a:lnTo>
                  <a:lnTo>
                    <a:pt x="274415" y="55912"/>
                  </a:lnTo>
                  <a:lnTo>
                    <a:pt x="276225" y="57245"/>
                  </a:lnTo>
                  <a:lnTo>
                    <a:pt x="283940" y="54673"/>
                  </a:lnTo>
                  <a:lnTo>
                    <a:pt x="284702" y="60960"/>
                  </a:lnTo>
                  <a:lnTo>
                    <a:pt x="301085" y="63722"/>
                  </a:lnTo>
                  <a:lnTo>
                    <a:pt x="300133" y="81439"/>
                  </a:lnTo>
                  <a:lnTo>
                    <a:pt x="305467" y="85630"/>
                  </a:lnTo>
                  <a:lnTo>
                    <a:pt x="308420" y="83629"/>
                  </a:lnTo>
                  <a:lnTo>
                    <a:pt x="313563" y="86201"/>
                  </a:lnTo>
                  <a:lnTo>
                    <a:pt x="323659" y="89725"/>
                  </a:lnTo>
                  <a:lnTo>
                    <a:pt x="322326" y="91440"/>
                  </a:lnTo>
                  <a:lnTo>
                    <a:pt x="322707" y="94583"/>
                  </a:lnTo>
                  <a:lnTo>
                    <a:pt x="322707" y="94583"/>
                  </a:lnTo>
                  <a:lnTo>
                    <a:pt x="332804" y="98203"/>
                  </a:lnTo>
                  <a:lnTo>
                    <a:pt x="335185" y="104299"/>
                  </a:lnTo>
                  <a:lnTo>
                    <a:pt x="329279" y="121063"/>
                  </a:lnTo>
                  <a:lnTo>
                    <a:pt x="321374" y="122015"/>
                  </a:lnTo>
                  <a:lnTo>
                    <a:pt x="321564" y="123634"/>
                  </a:lnTo>
                  <a:lnTo>
                    <a:pt x="309563" y="130016"/>
                  </a:lnTo>
                  <a:lnTo>
                    <a:pt x="301657" y="130969"/>
                  </a:lnTo>
                  <a:lnTo>
                    <a:pt x="300323" y="132778"/>
                  </a:lnTo>
                  <a:lnTo>
                    <a:pt x="300323" y="132778"/>
                  </a:lnTo>
                  <a:lnTo>
                    <a:pt x="295561" y="133350"/>
                  </a:lnTo>
                  <a:lnTo>
                    <a:pt x="295751" y="134969"/>
                  </a:lnTo>
                  <a:lnTo>
                    <a:pt x="290798" y="133921"/>
                  </a:lnTo>
                  <a:lnTo>
                    <a:pt x="292799" y="136874"/>
                  </a:lnTo>
                  <a:lnTo>
                    <a:pt x="289846" y="138874"/>
                  </a:lnTo>
                  <a:lnTo>
                    <a:pt x="288226" y="139065"/>
                  </a:lnTo>
                  <a:lnTo>
                    <a:pt x="287655" y="147161"/>
                  </a:lnTo>
                  <a:lnTo>
                    <a:pt x="290513" y="156496"/>
                  </a:lnTo>
                  <a:lnTo>
                    <a:pt x="294989" y="154305"/>
                  </a:lnTo>
                  <a:lnTo>
                    <a:pt x="297371" y="147542"/>
                  </a:lnTo>
                  <a:lnTo>
                    <a:pt x="302705" y="151733"/>
                  </a:lnTo>
                  <a:lnTo>
                    <a:pt x="306896" y="159163"/>
                  </a:lnTo>
                  <a:lnTo>
                    <a:pt x="300514" y="160020"/>
                  </a:lnTo>
                  <a:lnTo>
                    <a:pt x="299752" y="166497"/>
                  </a:lnTo>
                  <a:lnTo>
                    <a:pt x="303943" y="174022"/>
                  </a:lnTo>
                  <a:lnTo>
                    <a:pt x="308134" y="181451"/>
                  </a:lnTo>
                  <a:lnTo>
                    <a:pt x="306896" y="184880"/>
                  </a:lnTo>
                  <a:lnTo>
                    <a:pt x="306896" y="184880"/>
                  </a:lnTo>
                  <a:lnTo>
                    <a:pt x="306896" y="184880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4064977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FBAE40"/>
          </p15:clr>
        </p15:guide>
        <p15:guide id="2" pos="760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F6B18D0-DA41-4D0E-98BC-745BE988FE28}" type="datetimeFigureOut">
              <a:rPr lang="cs-CZ" smtClean="0"/>
              <a:t>13.05.2025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BBFB874-7FBE-4101-B1CB-526AFCBFC42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65323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Obrázek 64">
            <a:extLst>
              <a:ext uri="{FF2B5EF4-FFF2-40B4-BE49-F238E27FC236}">
                <a16:creationId xmlns:a16="http://schemas.microsoft.com/office/drawing/2014/main" id="{1903806D-B11F-4777-91AC-14AF29D6B2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3424240"/>
          </a:xfrm>
          <a:prstGeom prst="rect">
            <a:avLst/>
          </a:prstGeom>
        </p:spPr>
      </p:pic>
      <p:pic>
        <p:nvPicPr>
          <p:cNvPr id="27" name="Obrázek 75">
            <a:extLst>
              <a:ext uri="{FF2B5EF4-FFF2-40B4-BE49-F238E27FC236}">
                <a16:creationId xmlns:a16="http://schemas.microsoft.com/office/drawing/2014/main" id="{F014DE85-7BF6-41C3-95C4-EC65E5EAD6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5763" y="1354230"/>
            <a:ext cx="3136237" cy="3656116"/>
          </a:xfrm>
          <a:prstGeom prst="rect">
            <a:avLst/>
          </a:prstGeom>
        </p:spPr>
      </p:pic>
      <p:sp>
        <p:nvSpPr>
          <p:cNvPr id="28" name="Obdélník 50">
            <a:extLst>
              <a:ext uri="{FF2B5EF4-FFF2-40B4-BE49-F238E27FC236}">
                <a16:creationId xmlns:a16="http://schemas.microsoft.com/office/drawing/2014/main" id="{C6455D4C-929B-4BB2-BB4B-AA4BD3BB752C}"/>
              </a:ext>
            </a:extLst>
          </p:cNvPr>
          <p:cNvSpPr/>
          <p:nvPr userDrawn="1"/>
        </p:nvSpPr>
        <p:spPr>
          <a:xfrm>
            <a:off x="0" y="3760440"/>
            <a:ext cx="9379670" cy="276458"/>
          </a:xfrm>
          <a:custGeom>
            <a:avLst/>
            <a:gdLst>
              <a:gd name="connsiteX0" fmla="*/ 0 w 7559571"/>
              <a:gd name="connsiteY0" fmla="*/ 0 h 200385"/>
              <a:gd name="connsiteX1" fmla="*/ 7559571 w 7559571"/>
              <a:gd name="connsiteY1" fmla="*/ 0 h 200385"/>
              <a:gd name="connsiteX2" fmla="*/ 7559571 w 7559571"/>
              <a:gd name="connsiteY2" fmla="*/ 200385 h 200385"/>
              <a:gd name="connsiteX3" fmla="*/ 0 w 7559571"/>
              <a:gd name="connsiteY3" fmla="*/ 200385 h 200385"/>
              <a:gd name="connsiteX4" fmla="*/ 0 w 7559571"/>
              <a:gd name="connsiteY4" fmla="*/ 0 h 200385"/>
              <a:gd name="connsiteX0" fmla="*/ 0 w 7559571"/>
              <a:gd name="connsiteY0" fmla="*/ 9427 h 209812"/>
              <a:gd name="connsiteX1" fmla="*/ 7136091 w 7559571"/>
              <a:gd name="connsiteY1" fmla="*/ 0 h 209812"/>
              <a:gd name="connsiteX2" fmla="*/ 7559571 w 7559571"/>
              <a:gd name="connsiteY2" fmla="*/ 9427 h 209812"/>
              <a:gd name="connsiteX3" fmla="*/ 7559571 w 7559571"/>
              <a:gd name="connsiteY3" fmla="*/ 209812 h 209812"/>
              <a:gd name="connsiteX4" fmla="*/ 0 w 7559571"/>
              <a:gd name="connsiteY4" fmla="*/ 209812 h 209812"/>
              <a:gd name="connsiteX5" fmla="*/ 0 w 7559571"/>
              <a:gd name="connsiteY5" fmla="*/ 9427 h 209812"/>
              <a:gd name="connsiteX0" fmla="*/ 0 w 7673419"/>
              <a:gd name="connsiteY0" fmla="*/ 292231 h 492616"/>
              <a:gd name="connsiteX1" fmla="*/ 7673419 w 7673419"/>
              <a:gd name="connsiteY1" fmla="*/ 0 h 492616"/>
              <a:gd name="connsiteX2" fmla="*/ 7559571 w 7673419"/>
              <a:gd name="connsiteY2" fmla="*/ 292231 h 492616"/>
              <a:gd name="connsiteX3" fmla="*/ 7559571 w 7673419"/>
              <a:gd name="connsiteY3" fmla="*/ 492616 h 492616"/>
              <a:gd name="connsiteX4" fmla="*/ 0 w 7673419"/>
              <a:gd name="connsiteY4" fmla="*/ 492616 h 492616"/>
              <a:gd name="connsiteX5" fmla="*/ 0 w 7673419"/>
              <a:gd name="connsiteY5" fmla="*/ 292231 h 492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73419" h="492616">
                <a:moveTo>
                  <a:pt x="0" y="292231"/>
                </a:moveTo>
                <a:lnTo>
                  <a:pt x="7673419" y="0"/>
                </a:lnTo>
                <a:lnTo>
                  <a:pt x="7559571" y="292231"/>
                </a:lnTo>
                <a:lnTo>
                  <a:pt x="7559571" y="492616"/>
                </a:lnTo>
                <a:lnTo>
                  <a:pt x="0" y="492616"/>
                </a:lnTo>
                <a:lnTo>
                  <a:pt x="0" y="292231"/>
                </a:lnTo>
                <a:close/>
              </a:path>
            </a:pathLst>
          </a:custGeom>
          <a:solidFill>
            <a:srgbClr val="0842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9" name="Slza pozadi">
            <a:extLst>
              <a:ext uri="{FF2B5EF4-FFF2-40B4-BE49-F238E27FC236}">
                <a16:creationId xmlns:a16="http://schemas.microsoft.com/office/drawing/2014/main" id="{5B472087-BEB7-43F0-96A3-BDC392C6630F}"/>
              </a:ext>
            </a:extLst>
          </p:cNvPr>
          <p:cNvSpPr/>
          <p:nvPr userDrawn="1"/>
        </p:nvSpPr>
        <p:spPr>
          <a:xfrm rot="16200000">
            <a:off x="1560424" y="-947766"/>
            <a:ext cx="3157403" cy="6278252"/>
          </a:xfrm>
          <a:prstGeom prst="teardrop">
            <a:avLst/>
          </a:prstGeom>
          <a:solidFill>
            <a:srgbClr val="244865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n-lt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0" name="Logo UZIS - skupina">
            <a:extLst>
              <a:ext uri="{FF2B5EF4-FFF2-40B4-BE49-F238E27FC236}">
                <a16:creationId xmlns:a16="http://schemas.microsoft.com/office/drawing/2014/main" id="{E1E7BBD5-891B-4A2F-BD63-5F5DA00EFD2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573965" y="6090002"/>
            <a:ext cx="4524251" cy="612428"/>
            <a:chOff x="4084311" y="378348"/>
            <a:chExt cx="5627053" cy="709095"/>
          </a:xfrm>
        </p:grpSpPr>
        <p:sp>
          <p:nvSpPr>
            <p:cNvPr id="31" name="Nazev">
              <a:extLst>
                <a:ext uri="{FF2B5EF4-FFF2-40B4-BE49-F238E27FC236}">
                  <a16:creationId xmlns:a16="http://schemas.microsoft.com/office/drawing/2014/main" id="{4C1916FE-4B88-49CD-BA58-7B74C639AF98}"/>
                </a:ext>
              </a:extLst>
            </p:cNvPr>
            <p:cNvSpPr txBox="1"/>
            <p:nvPr userDrawn="1"/>
          </p:nvSpPr>
          <p:spPr>
            <a:xfrm>
              <a:off x="5237394" y="599696"/>
              <a:ext cx="4473970" cy="427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noProof="0" dirty="0">
                  <a:solidFill>
                    <a:srgbClr val="2B29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Ústav zdravotnických informací a statistiky České republiky</a:t>
              </a:r>
            </a:p>
            <a:p>
              <a:r>
                <a:rPr lang="en-US" sz="900" i="1" dirty="0">
                  <a:solidFill>
                    <a:srgbClr val="2B29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titute of Health Information and Statistics of the Czech Republic</a:t>
              </a:r>
            </a:p>
          </p:txBody>
        </p:sp>
        <p:pic>
          <p:nvPicPr>
            <p:cNvPr id="32" name="Logo">
              <a:extLst>
                <a:ext uri="{FF2B5EF4-FFF2-40B4-BE49-F238E27FC236}">
                  <a16:creationId xmlns:a16="http://schemas.microsoft.com/office/drawing/2014/main" id="{9F92AC57-7FC1-4571-BECE-7125420930C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84311" y="378348"/>
              <a:ext cx="1080000" cy="709095"/>
            </a:xfrm>
            <a:prstGeom prst="rect">
              <a:avLst/>
            </a:prstGeom>
          </p:spPr>
        </p:pic>
      </p:grpSp>
      <p:pic>
        <p:nvPicPr>
          <p:cNvPr id="33" name="Logo MZ CR">
            <a:extLst>
              <a:ext uri="{FF2B5EF4-FFF2-40B4-BE49-F238E27FC236}">
                <a16:creationId xmlns:a16="http://schemas.microsoft.com/office/drawing/2014/main" id="{5B7C4270-13A2-4527-A4C7-32FE9859D7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311" y="156482"/>
            <a:ext cx="3763463" cy="324000"/>
          </a:xfrm>
          <a:prstGeom prst="rect">
            <a:avLst/>
          </a:prstGeom>
        </p:spPr>
      </p:pic>
      <p:sp>
        <p:nvSpPr>
          <p:cNvPr id="34" name="Nadpis 1">
            <a:extLst>
              <a:ext uri="{FF2B5EF4-FFF2-40B4-BE49-F238E27FC236}">
                <a16:creationId xmlns:a16="http://schemas.microsoft.com/office/drawing/2014/main" id="{DBF05EC1-AC34-4998-A874-C476BF92C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490" y="1382511"/>
            <a:ext cx="5246408" cy="1404481"/>
          </a:xfrm>
        </p:spPr>
        <p:txBody>
          <a:bodyPr>
            <a:normAutofit/>
          </a:bodyPr>
          <a:lstStyle>
            <a:lvl1pPr algn="l">
              <a:defRPr sz="3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5" name="Zástupný text 3">
            <a:extLst>
              <a:ext uri="{FF2B5EF4-FFF2-40B4-BE49-F238E27FC236}">
                <a16:creationId xmlns:a16="http://schemas.microsoft.com/office/drawing/2014/main" id="{30F5E0A5-FA60-44D8-9106-C4F05A37F6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506" y="5213021"/>
            <a:ext cx="11116463" cy="468000"/>
          </a:xfrm>
        </p:spPr>
        <p:txBody>
          <a:bodyPr anchor="ctr">
            <a:noAutofit/>
          </a:bodyPr>
          <a:lstStyle>
            <a:lvl1pPr marL="0" indent="0" algn="l">
              <a:buNone/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cs-CZ" dirty="0"/>
              <a:t>Vložte podnadpis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5C16814E-93D7-8660-9E4B-EF5C17EF945B}"/>
              </a:ext>
            </a:extLst>
          </p:cNvPr>
          <p:cNvGrpSpPr/>
          <p:nvPr userDrawn="1"/>
        </p:nvGrpSpPr>
        <p:grpSpPr>
          <a:xfrm>
            <a:off x="9504000" y="3888000"/>
            <a:ext cx="1270751" cy="2016807"/>
            <a:chOff x="9573906" y="3839890"/>
            <a:chExt cx="1270751" cy="2016807"/>
          </a:xfrm>
        </p:grpSpPr>
        <p:sp>
          <p:nvSpPr>
            <p:cNvPr id="47" name="Rovnoramenný trojúhelník 4">
              <a:extLst>
                <a:ext uri="{FF2B5EF4-FFF2-40B4-BE49-F238E27FC236}">
                  <a16:creationId xmlns:a16="http://schemas.microsoft.com/office/drawing/2014/main" id="{C5474CA9-DC43-C5C2-60B4-16339D814A8C}"/>
                </a:ext>
              </a:extLst>
            </p:cNvPr>
            <p:cNvSpPr/>
            <p:nvPr userDrawn="1"/>
          </p:nvSpPr>
          <p:spPr>
            <a:xfrm rot="1106797">
              <a:off x="9882197" y="3839890"/>
              <a:ext cx="962460" cy="1369198"/>
            </a:xfrm>
            <a:prstGeom prst="triangle">
              <a:avLst>
                <a:gd name="adj" fmla="val 58782"/>
              </a:avLst>
            </a:prstGeom>
            <a:solidFill>
              <a:srgbClr val="FFC000">
                <a:alpha val="44000"/>
              </a:srgbClr>
            </a:solidFill>
            <a:ln w="15875">
              <a:solidFill>
                <a:srgbClr val="2E5980"/>
              </a:solidFill>
            </a:ln>
            <a:effectLst>
              <a:outerShdw blurRad="50800" dist="50800" dir="5400000" algn="ctr" rotWithShape="0">
                <a:srgbClr val="2E5980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grpSp>
          <p:nvGrpSpPr>
            <p:cNvPr id="48" name="Skupina 47">
              <a:extLst>
                <a:ext uri="{FF2B5EF4-FFF2-40B4-BE49-F238E27FC236}">
                  <a16:creationId xmlns:a16="http://schemas.microsoft.com/office/drawing/2014/main" id="{C8CEA53F-7430-B159-526A-7A9F3A1D7EDB}"/>
                </a:ext>
              </a:extLst>
            </p:cNvPr>
            <p:cNvGrpSpPr/>
            <p:nvPr userDrawn="1"/>
          </p:nvGrpSpPr>
          <p:grpSpPr>
            <a:xfrm>
              <a:off x="9573906" y="4827097"/>
              <a:ext cx="1029600" cy="1029600"/>
              <a:chOff x="9573906" y="4827097"/>
              <a:chExt cx="1029600" cy="1029600"/>
            </a:xfrm>
          </p:grpSpPr>
          <p:sp>
            <p:nvSpPr>
              <p:cNvPr id="49" name="Ovál 22">
                <a:extLst>
                  <a:ext uri="{FF2B5EF4-FFF2-40B4-BE49-F238E27FC236}">
                    <a16:creationId xmlns:a16="http://schemas.microsoft.com/office/drawing/2014/main" id="{4BA847E0-413E-514E-A6AF-56E616FAF048}"/>
                  </a:ext>
                </a:extLst>
              </p:cNvPr>
              <p:cNvSpPr/>
              <p:nvPr userDrawn="1"/>
            </p:nvSpPr>
            <p:spPr>
              <a:xfrm>
                <a:off x="9573906" y="4827097"/>
                <a:ext cx="1029600" cy="10296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D714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/>
              </a:p>
            </p:txBody>
          </p:sp>
          <p:sp>
            <p:nvSpPr>
              <p:cNvPr id="50" name="Ovál 23">
                <a:extLst>
                  <a:ext uri="{FF2B5EF4-FFF2-40B4-BE49-F238E27FC236}">
                    <a16:creationId xmlns:a16="http://schemas.microsoft.com/office/drawing/2014/main" id="{88A794EE-DDBB-9DBE-6259-495A40034396}"/>
                  </a:ext>
                </a:extLst>
              </p:cNvPr>
              <p:cNvSpPr/>
              <p:nvPr userDrawn="1"/>
            </p:nvSpPr>
            <p:spPr>
              <a:xfrm>
                <a:off x="9643042" y="4896233"/>
                <a:ext cx="891327" cy="891327"/>
              </a:xfrm>
              <a:prstGeom prst="ellipse">
                <a:avLst/>
              </a:prstGeom>
              <a:solidFill>
                <a:srgbClr val="D7144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/>
              </a:p>
            </p:txBody>
          </p:sp>
        </p:grpSp>
      </p:grpSp>
      <p:grpSp>
        <p:nvGrpSpPr>
          <p:cNvPr id="2" name="Skupina 1">
            <a:extLst>
              <a:ext uri="{FF2B5EF4-FFF2-40B4-BE49-F238E27FC236}">
                <a16:creationId xmlns:a16="http://schemas.microsoft.com/office/drawing/2014/main" id="{8CAFD279-737F-7CC8-355E-A876A8AACBA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608400" y="5069760"/>
            <a:ext cx="824351" cy="594000"/>
            <a:chOff x="6152149" y="3638168"/>
            <a:chExt cx="1913285" cy="1378648"/>
          </a:xfrm>
          <a:noFill/>
        </p:grpSpPr>
        <p:sp>
          <p:nvSpPr>
            <p:cNvPr id="52" name="Volný tvar: obrazec 51">
              <a:extLst>
                <a:ext uri="{FF2B5EF4-FFF2-40B4-BE49-F238E27FC236}">
                  <a16:creationId xmlns:a16="http://schemas.microsoft.com/office/drawing/2014/main" id="{C88A9181-2B03-9EEA-7996-CB9E236CE8D1}"/>
                </a:ext>
              </a:extLst>
            </p:cNvPr>
            <p:cNvSpPr/>
            <p:nvPr userDrawn="1"/>
          </p:nvSpPr>
          <p:spPr>
            <a:xfrm>
              <a:off x="6875573" y="3638168"/>
              <a:ext cx="458152" cy="493775"/>
            </a:xfrm>
            <a:custGeom>
              <a:avLst/>
              <a:gdLst>
                <a:gd name="connsiteX0" fmla="*/ 24670 w 458152"/>
                <a:gd name="connsiteY0" fmla="*/ 334137 h 493775"/>
                <a:gd name="connsiteX1" fmla="*/ 25337 w 458152"/>
                <a:gd name="connsiteY1" fmla="*/ 325088 h 493775"/>
                <a:gd name="connsiteX2" fmla="*/ 24384 w 458152"/>
                <a:gd name="connsiteY2" fmla="*/ 317945 h 493775"/>
                <a:gd name="connsiteX3" fmla="*/ 27241 w 458152"/>
                <a:gd name="connsiteY3" fmla="*/ 312039 h 493775"/>
                <a:gd name="connsiteX4" fmla="*/ 30671 w 458152"/>
                <a:gd name="connsiteY4" fmla="*/ 309848 h 493775"/>
                <a:gd name="connsiteX5" fmla="*/ 27908 w 458152"/>
                <a:gd name="connsiteY5" fmla="*/ 302990 h 493775"/>
                <a:gd name="connsiteX6" fmla="*/ 20955 w 458152"/>
                <a:gd name="connsiteY6" fmla="*/ 305657 h 493775"/>
                <a:gd name="connsiteX7" fmla="*/ 17145 w 458152"/>
                <a:gd name="connsiteY7" fmla="*/ 304324 h 493775"/>
                <a:gd name="connsiteX8" fmla="*/ 14668 w 458152"/>
                <a:gd name="connsiteY8" fmla="*/ 299275 h 493775"/>
                <a:gd name="connsiteX9" fmla="*/ 19526 w 458152"/>
                <a:gd name="connsiteY9" fmla="*/ 294989 h 493775"/>
                <a:gd name="connsiteX10" fmla="*/ 15430 w 458152"/>
                <a:gd name="connsiteY10" fmla="*/ 291941 h 493775"/>
                <a:gd name="connsiteX11" fmla="*/ 16573 w 458152"/>
                <a:gd name="connsiteY11" fmla="*/ 286321 h 493775"/>
                <a:gd name="connsiteX12" fmla="*/ 21717 w 458152"/>
                <a:gd name="connsiteY12" fmla="*/ 283845 h 493775"/>
                <a:gd name="connsiteX13" fmla="*/ 11049 w 458152"/>
                <a:gd name="connsiteY13" fmla="*/ 272510 h 493775"/>
                <a:gd name="connsiteX14" fmla="*/ 11716 w 458152"/>
                <a:gd name="connsiteY14" fmla="*/ 263366 h 493775"/>
                <a:gd name="connsiteX15" fmla="*/ 14573 w 458152"/>
                <a:gd name="connsiteY15" fmla="*/ 257556 h 493775"/>
                <a:gd name="connsiteX16" fmla="*/ 22860 w 458152"/>
                <a:gd name="connsiteY16" fmla="*/ 251079 h 493775"/>
                <a:gd name="connsiteX17" fmla="*/ 25717 w 458152"/>
                <a:gd name="connsiteY17" fmla="*/ 245173 h 493775"/>
                <a:gd name="connsiteX18" fmla="*/ 18955 w 458152"/>
                <a:gd name="connsiteY18" fmla="*/ 235267 h 493775"/>
                <a:gd name="connsiteX19" fmla="*/ 32575 w 458152"/>
                <a:gd name="connsiteY19" fmla="*/ 228029 h 493775"/>
                <a:gd name="connsiteX20" fmla="*/ 33242 w 458152"/>
                <a:gd name="connsiteY20" fmla="*/ 218884 h 493775"/>
                <a:gd name="connsiteX21" fmla="*/ 26003 w 458152"/>
                <a:gd name="connsiteY21" fmla="*/ 219742 h 493775"/>
                <a:gd name="connsiteX22" fmla="*/ 22003 w 458152"/>
                <a:gd name="connsiteY22" fmla="*/ 216694 h 493775"/>
                <a:gd name="connsiteX23" fmla="*/ 23336 w 458152"/>
                <a:gd name="connsiteY23" fmla="*/ 212884 h 493775"/>
                <a:gd name="connsiteX24" fmla="*/ 26194 w 458152"/>
                <a:gd name="connsiteY24" fmla="*/ 207073 h 493775"/>
                <a:gd name="connsiteX25" fmla="*/ 20764 w 458152"/>
                <a:gd name="connsiteY25" fmla="*/ 207835 h 493775"/>
                <a:gd name="connsiteX26" fmla="*/ 21241 w 458152"/>
                <a:gd name="connsiteY26" fmla="*/ 211360 h 493775"/>
                <a:gd name="connsiteX27" fmla="*/ 17431 w 458152"/>
                <a:gd name="connsiteY27" fmla="*/ 210026 h 493775"/>
                <a:gd name="connsiteX28" fmla="*/ 9239 w 458152"/>
                <a:gd name="connsiteY28" fmla="*/ 203835 h 493775"/>
                <a:gd name="connsiteX29" fmla="*/ 6763 w 458152"/>
                <a:gd name="connsiteY29" fmla="*/ 198787 h 493775"/>
                <a:gd name="connsiteX30" fmla="*/ 8382 w 458152"/>
                <a:gd name="connsiteY30" fmla="*/ 196787 h 493775"/>
                <a:gd name="connsiteX31" fmla="*/ 7906 w 458152"/>
                <a:gd name="connsiteY31" fmla="*/ 193167 h 493775"/>
                <a:gd name="connsiteX32" fmla="*/ 0 w 458152"/>
                <a:gd name="connsiteY32" fmla="*/ 188785 h 493775"/>
                <a:gd name="connsiteX33" fmla="*/ 1524 w 458152"/>
                <a:gd name="connsiteY33" fmla="*/ 186785 h 493775"/>
                <a:gd name="connsiteX34" fmla="*/ 8763 w 458152"/>
                <a:gd name="connsiteY34" fmla="*/ 185833 h 493775"/>
                <a:gd name="connsiteX35" fmla="*/ 12763 w 458152"/>
                <a:gd name="connsiteY35" fmla="*/ 188881 h 493775"/>
                <a:gd name="connsiteX36" fmla="*/ 17812 w 458152"/>
                <a:gd name="connsiteY36" fmla="*/ 199072 h 493775"/>
                <a:gd name="connsiteX37" fmla="*/ 28384 w 458152"/>
                <a:gd name="connsiteY37" fmla="*/ 195929 h 493775"/>
                <a:gd name="connsiteX38" fmla="*/ 31528 w 458152"/>
                <a:gd name="connsiteY38" fmla="*/ 191929 h 493775"/>
                <a:gd name="connsiteX39" fmla="*/ 31051 w 458152"/>
                <a:gd name="connsiteY39" fmla="*/ 188309 h 493775"/>
                <a:gd name="connsiteX40" fmla="*/ 35909 w 458152"/>
                <a:gd name="connsiteY40" fmla="*/ 184023 h 493775"/>
                <a:gd name="connsiteX41" fmla="*/ 43529 w 458152"/>
                <a:gd name="connsiteY41" fmla="*/ 172212 h 493775"/>
                <a:gd name="connsiteX42" fmla="*/ 48863 w 458152"/>
                <a:gd name="connsiteY42" fmla="*/ 171450 h 493775"/>
                <a:gd name="connsiteX43" fmla="*/ 57531 w 458152"/>
                <a:gd name="connsiteY43" fmla="*/ 154019 h 493775"/>
                <a:gd name="connsiteX44" fmla="*/ 54292 w 458152"/>
                <a:gd name="connsiteY44" fmla="*/ 143542 h 493775"/>
                <a:gd name="connsiteX45" fmla="*/ 49339 w 458152"/>
                <a:gd name="connsiteY45" fmla="*/ 133350 h 493775"/>
                <a:gd name="connsiteX46" fmla="*/ 36481 w 458152"/>
                <a:gd name="connsiteY46" fmla="*/ 133159 h 493775"/>
                <a:gd name="connsiteX47" fmla="*/ 34480 w 458152"/>
                <a:gd name="connsiteY47" fmla="*/ 131635 h 493775"/>
                <a:gd name="connsiteX48" fmla="*/ 29051 w 458152"/>
                <a:gd name="connsiteY48" fmla="*/ 132397 h 493775"/>
                <a:gd name="connsiteX49" fmla="*/ 28575 w 458152"/>
                <a:gd name="connsiteY49" fmla="*/ 128778 h 493775"/>
                <a:gd name="connsiteX50" fmla="*/ 22955 w 458152"/>
                <a:gd name="connsiteY50" fmla="*/ 127730 h 493775"/>
                <a:gd name="connsiteX51" fmla="*/ 22765 w 458152"/>
                <a:gd name="connsiteY51" fmla="*/ 126016 h 493775"/>
                <a:gd name="connsiteX52" fmla="*/ 18955 w 458152"/>
                <a:gd name="connsiteY52" fmla="*/ 124682 h 493775"/>
                <a:gd name="connsiteX53" fmla="*/ 18193 w 458152"/>
                <a:gd name="connsiteY53" fmla="*/ 119348 h 493775"/>
                <a:gd name="connsiteX54" fmla="*/ 16192 w 458152"/>
                <a:gd name="connsiteY54" fmla="*/ 117729 h 493775"/>
                <a:gd name="connsiteX55" fmla="*/ 15716 w 458152"/>
                <a:gd name="connsiteY55" fmla="*/ 114205 h 493775"/>
                <a:gd name="connsiteX56" fmla="*/ 24670 w 458152"/>
                <a:gd name="connsiteY56" fmla="*/ 112967 h 493775"/>
                <a:gd name="connsiteX57" fmla="*/ 26003 w 458152"/>
                <a:gd name="connsiteY57" fmla="*/ 109156 h 493775"/>
                <a:gd name="connsiteX58" fmla="*/ 30480 w 458152"/>
                <a:gd name="connsiteY58" fmla="*/ 101346 h 493775"/>
                <a:gd name="connsiteX59" fmla="*/ 29337 w 458152"/>
                <a:gd name="connsiteY59" fmla="*/ 92488 h 493775"/>
                <a:gd name="connsiteX60" fmla="*/ 31337 w 458152"/>
                <a:gd name="connsiteY60" fmla="*/ 94012 h 493775"/>
                <a:gd name="connsiteX61" fmla="*/ 32671 w 458152"/>
                <a:gd name="connsiteY61" fmla="*/ 90202 h 493775"/>
                <a:gd name="connsiteX62" fmla="*/ 33242 w 458152"/>
                <a:gd name="connsiteY62" fmla="*/ 81058 h 493775"/>
                <a:gd name="connsiteX63" fmla="*/ 30766 w 458152"/>
                <a:gd name="connsiteY63" fmla="*/ 75914 h 493775"/>
                <a:gd name="connsiteX64" fmla="*/ 34576 w 458152"/>
                <a:gd name="connsiteY64" fmla="*/ 77248 h 493775"/>
                <a:gd name="connsiteX65" fmla="*/ 39338 w 458152"/>
                <a:gd name="connsiteY65" fmla="*/ 85630 h 493775"/>
                <a:gd name="connsiteX66" fmla="*/ 46768 w 458152"/>
                <a:gd name="connsiteY66" fmla="*/ 86487 h 493775"/>
                <a:gd name="connsiteX67" fmla="*/ 45815 w 458152"/>
                <a:gd name="connsiteY67" fmla="*/ 79343 h 493775"/>
                <a:gd name="connsiteX68" fmla="*/ 55626 w 458152"/>
                <a:gd name="connsiteY68" fmla="*/ 70866 h 493775"/>
                <a:gd name="connsiteX69" fmla="*/ 52673 w 458152"/>
                <a:gd name="connsiteY69" fmla="*/ 62103 h 493775"/>
                <a:gd name="connsiteX70" fmla="*/ 55626 w 458152"/>
                <a:gd name="connsiteY70" fmla="*/ 56388 h 493775"/>
                <a:gd name="connsiteX71" fmla="*/ 61436 w 458152"/>
                <a:gd name="connsiteY71" fmla="*/ 59150 h 493775"/>
                <a:gd name="connsiteX72" fmla="*/ 68389 w 458152"/>
                <a:gd name="connsiteY72" fmla="*/ 56483 h 493775"/>
                <a:gd name="connsiteX73" fmla="*/ 71247 w 458152"/>
                <a:gd name="connsiteY73" fmla="*/ 50673 h 493775"/>
                <a:gd name="connsiteX74" fmla="*/ 75152 w 458152"/>
                <a:gd name="connsiteY74" fmla="*/ 51911 h 493775"/>
                <a:gd name="connsiteX75" fmla="*/ 74866 w 458152"/>
                <a:gd name="connsiteY75" fmla="*/ 50197 h 493775"/>
                <a:gd name="connsiteX76" fmla="*/ 82772 w 458152"/>
                <a:gd name="connsiteY76" fmla="*/ 54578 h 493775"/>
                <a:gd name="connsiteX77" fmla="*/ 80581 w 458152"/>
                <a:gd name="connsiteY77" fmla="*/ 65722 h 493775"/>
                <a:gd name="connsiteX78" fmla="*/ 82391 w 458152"/>
                <a:gd name="connsiteY78" fmla="*/ 65532 h 493775"/>
                <a:gd name="connsiteX79" fmla="*/ 87249 w 458152"/>
                <a:gd name="connsiteY79" fmla="*/ 61150 h 493775"/>
                <a:gd name="connsiteX80" fmla="*/ 91154 w 458152"/>
                <a:gd name="connsiteY80" fmla="*/ 62484 h 493775"/>
                <a:gd name="connsiteX81" fmla="*/ 94202 w 458152"/>
                <a:gd name="connsiteY81" fmla="*/ 58483 h 493775"/>
                <a:gd name="connsiteX82" fmla="*/ 103441 w 458152"/>
                <a:gd name="connsiteY82" fmla="*/ 59055 h 493775"/>
                <a:gd name="connsiteX83" fmla="*/ 116681 w 458152"/>
                <a:gd name="connsiteY83" fmla="*/ 48292 h 493775"/>
                <a:gd name="connsiteX84" fmla="*/ 120301 w 458152"/>
                <a:gd name="connsiteY84" fmla="*/ 47816 h 493775"/>
                <a:gd name="connsiteX85" fmla="*/ 129064 w 458152"/>
                <a:gd name="connsiteY85" fmla="*/ 59341 h 493775"/>
                <a:gd name="connsiteX86" fmla="*/ 132874 w 458152"/>
                <a:gd name="connsiteY86" fmla="*/ 60579 h 493775"/>
                <a:gd name="connsiteX87" fmla="*/ 136303 w 458152"/>
                <a:gd name="connsiteY87" fmla="*/ 58388 h 493775"/>
                <a:gd name="connsiteX88" fmla="*/ 138303 w 458152"/>
                <a:gd name="connsiteY88" fmla="*/ 59912 h 493775"/>
                <a:gd name="connsiteX89" fmla="*/ 143923 w 458152"/>
                <a:gd name="connsiteY89" fmla="*/ 60960 h 493775"/>
                <a:gd name="connsiteX90" fmla="*/ 143446 w 458152"/>
                <a:gd name="connsiteY90" fmla="*/ 57436 h 493775"/>
                <a:gd name="connsiteX91" fmla="*/ 158305 w 458152"/>
                <a:gd name="connsiteY91" fmla="*/ 59055 h 493775"/>
                <a:gd name="connsiteX92" fmla="*/ 161639 w 458152"/>
                <a:gd name="connsiteY92" fmla="*/ 56769 h 493775"/>
                <a:gd name="connsiteX93" fmla="*/ 163925 w 458152"/>
                <a:gd name="connsiteY93" fmla="*/ 60103 h 493775"/>
                <a:gd name="connsiteX94" fmla="*/ 167259 w 458152"/>
                <a:gd name="connsiteY94" fmla="*/ 57912 h 493775"/>
                <a:gd name="connsiteX95" fmla="*/ 164782 w 458152"/>
                <a:gd name="connsiteY95" fmla="*/ 52768 h 493775"/>
                <a:gd name="connsiteX96" fmla="*/ 164021 w 458152"/>
                <a:gd name="connsiteY96" fmla="*/ 47434 h 493775"/>
                <a:gd name="connsiteX97" fmla="*/ 168497 w 458152"/>
                <a:gd name="connsiteY97" fmla="*/ 39624 h 493775"/>
                <a:gd name="connsiteX98" fmla="*/ 168021 w 458152"/>
                <a:gd name="connsiteY98" fmla="*/ 36004 h 493775"/>
                <a:gd name="connsiteX99" fmla="*/ 169545 w 458152"/>
                <a:gd name="connsiteY99" fmla="*/ 34004 h 493775"/>
                <a:gd name="connsiteX100" fmla="*/ 168878 w 458152"/>
                <a:gd name="connsiteY100" fmla="*/ 28670 h 493775"/>
                <a:gd name="connsiteX101" fmla="*/ 167449 w 458152"/>
                <a:gd name="connsiteY101" fmla="*/ 17907 h 493775"/>
                <a:gd name="connsiteX102" fmla="*/ 174212 w 458152"/>
                <a:gd name="connsiteY102" fmla="*/ 13430 h 493775"/>
                <a:gd name="connsiteX103" fmla="*/ 171736 w 458152"/>
                <a:gd name="connsiteY103" fmla="*/ 8382 h 493775"/>
                <a:gd name="connsiteX104" fmla="*/ 176879 w 458152"/>
                <a:gd name="connsiteY104" fmla="*/ 5810 h 493775"/>
                <a:gd name="connsiteX105" fmla="*/ 182213 w 458152"/>
                <a:gd name="connsiteY105" fmla="*/ 5143 h 493775"/>
                <a:gd name="connsiteX106" fmla="*/ 184499 w 458152"/>
                <a:gd name="connsiteY106" fmla="*/ 8477 h 493775"/>
                <a:gd name="connsiteX107" fmla="*/ 188119 w 458152"/>
                <a:gd name="connsiteY107" fmla="*/ 8001 h 493775"/>
                <a:gd name="connsiteX108" fmla="*/ 192976 w 458152"/>
                <a:gd name="connsiteY108" fmla="*/ 3715 h 493775"/>
                <a:gd name="connsiteX109" fmla="*/ 195739 w 458152"/>
                <a:gd name="connsiteY109" fmla="*/ 10573 h 493775"/>
                <a:gd name="connsiteX110" fmla="*/ 205454 w 458152"/>
                <a:gd name="connsiteY110" fmla="*/ 14764 h 493775"/>
                <a:gd name="connsiteX111" fmla="*/ 210312 w 458152"/>
                <a:gd name="connsiteY111" fmla="*/ 10477 h 493775"/>
                <a:gd name="connsiteX112" fmla="*/ 214408 w 458152"/>
                <a:gd name="connsiteY112" fmla="*/ 13621 h 493775"/>
                <a:gd name="connsiteX113" fmla="*/ 219837 w 458152"/>
                <a:gd name="connsiteY113" fmla="*/ 12859 h 493775"/>
                <a:gd name="connsiteX114" fmla="*/ 220028 w 458152"/>
                <a:gd name="connsiteY114" fmla="*/ 14668 h 493775"/>
                <a:gd name="connsiteX115" fmla="*/ 221837 w 458152"/>
                <a:gd name="connsiteY115" fmla="*/ 14383 h 493775"/>
                <a:gd name="connsiteX116" fmla="*/ 230314 w 458152"/>
                <a:gd name="connsiteY116" fmla="*/ 9620 h 493775"/>
                <a:gd name="connsiteX117" fmla="*/ 233934 w 458152"/>
                <a:gd name="connsiteY117" fmla="*/ 9144 h 493775"/>
                <a:gd name="connsiteX118" fmla="*/ 231934 w 458152"/>
                <a:gd name="connsiteY118" fmla="*/ 7620 h 493775"/>
                <a:gd name="connsiteX119" fmla="*/ 232981 w 458152"/>
                <a:gd name="connsiteY119" fmla="*/ 2000 h 493775"/>
                <a:gd name="connsiteX120" fmla="*/ 234601 w 458152"/>
                <a:gd name="connsiteY120" fmla="*/ 0 h 493775"/>
                <a:gd name="connsiteX121" fmla="*/ 247840 w 458152"/>
                <a:gd name="connsiteY121" fmla="*/ 3715 h 493775"/>
                <a:gd name="connsiteX122" fmla="*/ 262509 w 458152"/>
                <a:gd name="connsiteY122" fmla="*/ 18097 h 493775"/>
                <a:gd name="connsiteX123" fmla="*/ 270605 w 458152"/>
                <a:gd name="connsiteY123" fmla="*/ 9811 h 493775"/>
                <a:gd name="connsiteX124" fmla="*/ 280035 w 458152"/>
                <a:gd name="connsiteY124" fmla="*/ 12192 h 493775"/>
                <a:gd name="connsiteX125" fmla="*/ 279559 w 458152"/>
                <a:gd name="connsiteY125" fmla="*/ 8572 h 493775"/>
                <a:gd name="connsiteX126" fmla="*/ 273939 w 458152"/>
                <a:gd name="connsiteY126" fmla="*/ 7525 h 493775"/>
                <a:gd name="connsiteX127" fmla="*/ 275463 w 458152"/>
                <a:gd name="connsiteY127" fmla="*/ 5429 h 493775"/>
                <a:gd name="connsiteX128" fmla="*/ 287179 w 458152"/>
                <a:gd name="connsiteY128" fmla="*/ 11239 h 493775"/>
                <a:gd name="connsiteX129" fmla="*/ 290989 w 458152"/>
                <a:gd name="connsiteY129" fmla="*/ 12478 h 493775"/>
                <a:gd name="connsiteX130" fmla="*/ 294418 w 458152"/>
                <a:gd name="connsiteY130" fmla="*/ 10192 h 493775"/>
                <a:gd name="connsiteX131" fmla="*/ 298228 w 458152"/>
                <a:gd name="connsiteY131" fmla="*/ 11525 h 493775"/>
                <a:gd name="connsiteX132" fmla="*/ 303086 w 458152"/>
                <a:gd name="connsiteY132" fmla="*/ 7239 h 493775"/>
                <a:gd name="connsiteX133" fmla="*/ 301562 w 458152"/>
                <a:gd name="connsiteY133" fmla="*/ 9334 h 493775"/>
                <a:gd name="connsiteX134" fmla="*/ 320421 w 458152"/>
                <a:gd name="connsiteY134" fmla="*/ 14002 h 493775"/>
                <a:gd name="connsiteX135" fmla="*/ 323469 w 458152"/>
                <a:gd name="connsiteY135" fmla="*/ 22670 h 493775"/>
                <a:gd name="connsiteX136" fmla="*/ 328803 w 458152"/>
                <a:gd name="connsiteY136" fmla="*/ 22003 h 493775"/>
                <a:gd name="connsiteX137" fmla="*/ 330613 w 458152"/>
                <a:gd name="connsiteY137" fmla="*/ 21717 h 493775"/>
                <a:gd name="connsiteX138" fmla="*/ 354044 w 458152"/>
                <a:gd name="connsiteY138" fmla="*/ 33147 h 493775"/>
                <a:gd name="connsiteX139" fmla="*/ 359664 w 458152"/>
                <a:gd name="connsiteY139" fmla="*/ 34195 h 493775"/>
                <a:gd name="connsiteX140" fmla="*/ 371856 w 458152"/>
                <a:gd name="connsiteY140" fmla="*/ 43529 h 493775"/>
                <a:gd name="connsiteX141" fmla="*/ 381381 w 458152"/>
                <a:gd name="connsiteY141" fmla="*/ 45910 h 493775"/>
                <a:gd name="connsiteX142" fmla="*/ 400812 w 458152"/>
                <a:gd name="connsiteY142" fmla="*/ 41434 h 493775"/>
                <a:gd name="connsiteX143" fmla="*/ 401098 w 458152"/>
                <a:gd name="connsiteY143" fmla="*/ 43243 h 493775"/>
                <a:gd name="connsiteX144" fmla="*/ 394145 w 458152"/>
                <a:gd name="connsiteY144" fmla="*/ 46006 h 493775"/>
                <a:gd name="connsiteX145" fmla="*/ 392811 w 458152"/>
                <a:gd name="connsiteY145" fmla="*/ 49816 h 493775"/>
                <a:gd name="connsiteX146" fmla="*/ 389477 w 458152"/>
                <a:gd name="connsiteY146" fmla="*/ 52006 h 493775"/>
                <a:gd name="connsiteX147" fmla="*/ 387667 w 458152"/>
                <a:gd name="connsiteY147" fmla="*/ 52292 h 493775"/>
                <a:gd name="connsiteX148" fmla="*/ 386620 w 458152"/>
                <a:gd name="connsiteY148" fmla="*/ 57817 h 493775"/>
                <a:gd name="connsiteX149" fmla="*/ 390430 w 458152"/>
                <a:gd name="connsiteY149" fmla="*/ 59150 h 493775"/>
                <a:gd name="connsiteX150" fmla="*/ 395192 w 458152"/>
                <a:gd name="connsiteY150" fmla="*/ 67627 h 493775"/>
                <a:gd name="connsiteX151" fmla="*/ 399002 w 458152"/>
                <a:gd name="connsiteY151" fmla="*/ 68961 h 493775"/>
                <a:gd name="connsiteX152" fmla="*/ 397955 w 458152"/>
                <a:gd name="connsiteY152" fmla="*/ 74485 h 493775"/>
                <a:gd name="connsiteX153" fmla="*/ 390715 w 458152"/>
                <a:gd name="connsiteY153" fmla="*/ 75438 h 493775"/>
                <a:gd name="connsiteX154" fmla="*/ 382048 w 458152"/>
                <a:gd name="connsiteY154" fmla="*/ 78391 h 493775"/>
                <a:gd name="connsiteX155" fmla="*/ 379952 w 458152"/>
                <a:gd name="connsiteY155" fmla="*/ 76867 h 493775"/>
                <a:gd name="connsiteX156" fmla="*/ 377476 w 458152"/>
                <a:gd name="connsiteY156" fmla="*/ 71723 h 493775"/>
                <a:gd name="connsiteX157" fmla="*/ 371570 w 458152"/>
                <a:gd name="connsiteY157" fmla="*/ 68866 h 493775"/>
                <a:gd name="connsiteX158" fmla="*/ 368237 w 458152"/>
                <a:gd name="connsiteY158" fmla="*/ 71152 h 493775"/>
                <a:gd name="connsiteX159" fmla="*/ 365760 w 458152"/>
                <a:gd name="connsiteY159" fmla="*/ 66104 h 493775"/>
                <a:gd name="connsiteX160" fmla="*/ 364617 w 458152"/>
                <a:gd name="connsiteY160" fmla="*/ 71628 h 493775"/>
                <a:gd name="connsiteX161" fmla="*/ 362426 w 458152"/>
                <a:gd name="connsiteY161" fmla="*/ 68294 h 493775"/>
                <a:gd name="connsiteX162" fmla="*/ 354711 w 458152"/>
                <a:gd name="connsiteY162" fmla="*/ 65722 h 493775"/>
                <a:gd name="connsiteX163" fmla="*/ 348424 w 458152"/>
                <a:gd name="connsiteY163" fmla="*/ 59246 h 493775"/>
                <a:gd name="connsiteX164" fmla="*/ 351187 w 458152"/>
                <a:gd name="connsiteY164" fmla="*/ 66199 h 493775"/>
                <a:gd name="connsiteX165" fmla="*/ 349377 w 458152"/>
                <a:gd name="connsiteY165" fmla="*/ 66389 h 493775"/>
                <a:gd name="connsiteX166" fmla="*/ 350044 w 458152"/>
                <a:gd name="connsiteY166" fmla="*/ 71723 h 493775"/>
                <a:gd name="connsiteX167" fmla="*/ 346615 w 458152"/>
                <a:gd name="connsiteY167" fmla="*/ 74009 h 493775"/>
                <a:gd name="connsiteX168" fmla="*/ 346900 w 458152"/>
                <a:gd name="connsiteY168" fmla="*/ 75819 h 493775"/>
                <a:gd name="connsiteX169" fmla="*/ 349853 w 458152"/>
                <a:gd name="connsiteY169" fmla="*/ 84487 h 493775"/>
                <a:gd name="connsiteX170" fmla="*/ 348805 w 458152"/>
                <a:gd name="connsiteY170" fmla="*/ 90011 h 493775"/>
                <a:gd name="connsiteX171" fmla="*/ 350806 w 458152"/>
                <a:gd name="connsiteY171" fmla="*/ 91630 h 493775"/>
                <a:gd name="connsiteX172" fmla="*/ 356235 w 458152"/>
                <a:gd name="connsiteY172" fmla="*/ 90868 h 493775"/>
                <a:gd name="connsiteX173" fmla="*/ 354711 w 458152"/>
                <a:gd name="connsiteY173" fmla="*/ 92869 h 493775"/>
                <a:gd name="connsiteX174" fmla="*/ 355187 w 458152"/>
                <a:gd name="connsiteY174" fmla="*/ 96488 h 493775"/>
                <a:gd name="connsiteX175" fmla="*/ 352044 w 458152"/>
                <a:gd name="connsiteY175" fmla="*/ 100489 h 493775"/>
                <a:gd name="connsiteX176" fmla="*/ 349377 w 458152"/>
                <a:gd name="connsiteY176" fmla="*/ 108109 h 493775"/>
                <a:gd name="connsiteX177" fmla="*/ 344424 w 458152"/>
                <a:gd name="connsiteY177" fmla="*/ 112395 h 493775"/>
                <a:gd name="connsiteX178" fmla="*/ 341852 w 458152"/>
                <a:gd name="connsiteY178" fmla="*/ 120015 h 493775"/>
                <a:gd name="connsiteX179" fmla="*/ 350996 w 458152"/>
                <a:gd name="connsiteY179" fmla="*/ 120587 h 493775"/>
                <a:gd name="connsiteX180" fmla="*/ 359759 w 458152"/>
                <a:gd name="connsiteY180" fmla="*/ 117634 h 493775"/>
                <a:gd name="connsiteX181" fmla="*/ 362045 w 458152"/>
                <a:gd name="connsiteY181" fmla="*/ 120967 h 493775"/>
                <a:gd name="connsiteX182" fmla="*/ 369189 w 458152"/>
                <a:gd name="connsiteY182" fmla="*/ 120015 h 493775"/>
                <a:gd name="connsiteX183" fmla="*/ 372808 w 458152"/>
                <a:gd name="connsiteY183" fmla="*/ 119539 h 493775"/>
                <a:gd name="connsiteX184" fmla="*/ 382048 w 458152"/>
                <a:gd name="connsiteY184" fmla="*/ 120110 h 493775"/>
                <a:gd name="connsiteX185" fmla="*/ 384524 w 458152"/>
                <a:gd name="connsiteY185" fmla="*/ 125254 h 493775"/>
                <a:gd name="connsiteX186" fmla="*/ 394430 w 458152"/>
                <a:gd name="connsiteY186" fmla="*/ 131159 h 493775"/>
                <a:gd name="connsiteX187" fmla="*/ 405479 w 458152"/>
                <a:gd name="connsiteY187" fmla="*/ 131540 h 493775"/>
                <a:gd name="connsiteX188" fmla="*/ 407003 w 458152"/>
                <a:gd name="connsiteY188" fmla="*/ 129540 h 493775"/>
                <a:gd name="connsiteX189" fmla="*/ 409289 w 458152"/>
                <a:gd name="connsiteY189" fmla="*/ 132779 h 493775"/>
                <a:gd name="connsiteX190" fmla="*/ 412432 w 458152"/>
                <a:gd name="connsiteY190" fmla="*/ 128778 h 493775"/>
                <a:gd name="connsiteX191" fmla="*/ 412623 w 458152"/>
                <a:gd name="connsiteY191" fmla="*/ 130588 h 493775"/>
                <a:gd name="connsiteX192" fmla="*/ 418052 w 458152"/>
                <a:gd name="connsiteY192" fmla="*/ 129826 h 493775"/>
                <a:gd name="connsiteX193" fmla="*/ 418529 w 458152"/>
                <a:gd name="connsiteY193" fmla="*/ 133445 h 493775"/>
                <a:gd name="connsiteX194" fmla="*/ 423481 w 458152"/>
                <a:gd name="connsiteY194" fmla="*/ 129159 h 493775"/>
                <a:gd name="connsiteX195" fmla="*/ 427291 w 458152"/>
                <a:gd name="connsiteY195" fmla="*/ 130397 h 493775"/>
                <a:gd name="connsiteX196" fmla="*/ 429292 w 458152"/>
                <a:gd name="connsiteY196" fmla="*/ 132017 h 493775"/>
                <a:gd name="connsiteX197" fmla="*/ 425958 w 458152"/>
                <a:gd name="connsiteY197" fmla="*/ 134207 h 493775"/>
                <a:gd name="connsiteX198" fmla="*/ 416909 w 458152"/>
                <a:gd name="connsiteY198" fmla="*/ 135446 h 493775"/>
                <a:gd name="connsiteX199" fmla="*/ 412909 w 458152"/>
                <a:gd name="connsiteY199" fmla="*/ 132302 h 493775"/>
                <a:gd name="connsiteX200" fmla="*/ 405955 w 458152"/>
                <a:gd name="connsiteY200" fmla="*/ 135064 h 493775"/>
                <a:gd name="connsiteX201" fmla="*/ 399955 w 458152"/>
                <a:gd name="connsiteY201" fmla="*/ 144971 h 493775"/>
                <a:gd name="connsiteX202" fmla="*/ 403765 w 458152"/>
                <a:gd name="connsiteY202" fmla="*/ 146209 h 493775"/>
                <a:gd name="connsiteX203" fmla="*/ 405193 w 458152"/>
                <a:gd name="connsiteY203" fmla="*/ 156972 h 493775"/>
                <a:gd name="connsiteX204" fmla="*/ 403670 w 458152"/>
                <a:gd name="connsiteY204" fmla="*/ 158972 h 493775"/>
                <a:gd name="connsiteX205" fmla="*/ 398431 w 458152"/>
                <a:gd name="connsiteY205" fmla="*/ 161449 h 493775"/>
                <a:gd name="connsiteX206" fmla="*/ 392811 w 458152"/>
                <a:gd name="connsiteY206" fmla="*/ 160401 h 493775"/>
                <a:gd name="connsiteX207" fmla="*/ 387953 w 458152"/>
                <a:gd name="connsiteY207" fmla="*/ 164687 h 493775"/>
                <a:gd name="connsiteX208" fmla="*/ 390430 w 458152"/>
                <a:gd name="connsiteY208" fmla="*/ 169735 h 493775"/>
                <a:gd name="connsiteX209" fmla="*/ 384905 w 458152"/>
                <a:gd name="connsiteY209" fmla="*/ 183166 h 493775"/>
                <a:gd name="connsiteX210" fmla="*/ 391192 w 458152"/>
                <a:gd name="connsiteY210" fmla="*/ 189643 h 493775"/>
                <a:gd name="connsiteX211" fmla="*/ 390144 w 458152"/>
                <a:gd name="connsiteY211" fmla="*/ 195167 h 493775"/>
                <a:gd name="connsiteX212" fmla="*/ 394430 w 458152"/>
                <a:gd name="connsiteY212" fmla="*/ 200025 h 493775"/>
                <a:gd name="connsiteX213" fmla="*/ 393382 w 458152"/>
                <a:gd name="connsiteY213" fmla="*/ 205645 h 493775"/>
                <a:gd name="connsiteX214" fmla="*/ 399669 w 458152"/>
                <a:gd name="connsiteY214" fmla="*/ 212026 h 493775"/>
                <a:gd name="connsiteX215" fmla="*/ 399955 w 458152"/>
                <a:gd name="connsiteY215" fmla="*/ 213836 h 493775"/>
                <a:gd name="connsiteX216" fmla="*/ 396335 w 458152"/>
                <a:gd name="connsiteY216" fmla="*/ 214313 h 493775"/>
                <a:gd name="connsiteX217" fmla="*/ 398336 w 458152"/>
                <a:gd name="connsiteY217" fmla="*/ 215837 h 493775"/>
                <a:gd name="connsiteX218" fmla="*/ 399383 w 458152"/>
                <a:gd name="connsiteY218" fmla="*/ 237458 h 493775"/>
                <a:gd name="connsiteX219" fmla="*/ 405003 w 458152"/>
                <a:gd name="connsiteY219" fmla="*/ 238506 h 493775"/>
                <a:gd name="connsiteX220" fmla="*/ 407289 w 458152"/>
                <a:gd name="connsiteY220" fmla="*/ 241840 h 493775"/>
                <a:gd name="connsiteX221" fmla="*/ 414433 w 458152"/>
                <a:gd name="connsiteY221" fmla="*/ 240887 h 493775"/>
                <a:gd name="connsiteX222" fmla="*/ 418529 w 458152"/>
                <a:gd name="connsiteY222" fmla="*/ 244030 h 493775"/>
                <a:gd name="connsiteX223" fmla="*/ 415862 w 458152"/>
                <a:gd name="connsiteY223" fmla="*/ 251650 h 493775"/>
                <a:gd name="connsiteX224" fmla="*/ 419671 w 458152"/>
                <a:gd name="connsiteY224" fmla="*/ 252889 h 493775"/>
                <a:gd name="connsiteX225" fmla="*/ 422148 w 458152"/>
                <a:gd name="connsiteY225" fmla="*/ 258032 h 493775"/>
                <a:gd name="connsiteX226" fmla="*/ 418814 w 458152"/>
                <a:gd name="connsiteY226" fmla="*/ 260318 h 493775"/>
                <a:gd name="connsiteX227" fmla="*/ 426053 w 458152"/>
                <a:gd name="connsiteY227" fmla="*/ 259366 h 493775"/>
                <a:gd name="connsiteX228" fmla="*/ 428530 w 458152"/>
                <a:gd name="connsiteY228" fmla="*/ 264414 h 493775"/>
                <a:gd name="connsiteX229" fmla="*/ 425672 w 458152"/>
                <a:gd name="connsiteY229" fmla="*/ 270320 h 493775"/>
                <a:gd name="connsiteX230" fmla="*/ 423577 w 458152"/>
                <a:gd name="connsiteY230" fmla="*/ 268700 h 493775"/>
                <a:gd name="connsiteX231" fmla="*/ 420243 w 458152"/>
                <a:gd name="connsiteY231" fmla="*/ 270986 h 493775"/>
                <a:gd name="connsiteX232" fmla="*/ 414909 w 458152"/>
                <a:gd name="connsiteY232" fmla="*/ 271748 h 493775"/>
                <a:gd name="connsiteX233" fmla="*/ 411575 w 458152"/>
                <a:gd name="connsiteY233" fmla="*/ 273939 h 493775"/>
                <a:gd name="connsiteX234" fmla="*/ 404146 w 458152"/>
                <a:gd name="connsiteY234" fmla="*/ 273082 h 493775"/>
                <a:gd name="connsiteX235" fmla="*/ 401193 w 458152"/>
                <a:gd name="connsiteY235" fmla="*/ 278892 h 493775"/>
                <a:gd name="connsiteX236" fmla="*/ 401955 w 458152"/>
                <a:gd name="connsiteY236" fmla="*/ 284321 h 493775"/>
                <a:gd name="connsiteX237" fmla="*/ 397478 w 458152"/>
                <a:gd name="connsiteY237" fmla="*/ 292132 h 493775"/>
                <a:gd name="connsiteX238" fmla="*/ 398431 w 458152"/>
                <a:gd name="connsiteY238" fmla="*/ 299275 h 493775"/>
                <a:gd name="connsiteX239" fmla="*/ 403765 w 458152"/>
                <a:gd name="connsiteY239" fmla="*/ 298513 h 493775"/>
                <a:gd name="connsiteX240" fmla="*/ 405384 w 458152"/>
                <a:gd name="connsiteY240" fmla="*/ 296513 h 493775"/>
                <a:gd name="connsiteX241" fmla="*/ 409004 w 458152"/>
                <a:gd name="connsiteY241" fmla="*/ 296037 h 493775"/>
                <a:gd name="connsiteX242" fmla="*/ 408337 w 458152"/>
                <a:gd name="connsiteY242" fmla="*/ 305181 h 493775"/>
                <a:gd name="connsiteX243" fmla="*/ 429768 w 458152"/>
                <a:gd name="connsiteY243" fmla="*/ 315087 h 493775"/>
                <a:gd name="connsiteX244" fmla="*/ 438340 w 458152"/>
                <a:gd name="connsiteY244" fmla="*/ 324802 h 493775"/>
                <a:gd name="connsiteX245" fmla="*/ 451866 w 458152"/>
                <a:gd name="connsiteY245" fmla="*/ 330232 h 493775"/>
                <a:gd name="connsiteX246" fmla="*/ 458153 w 458152"/>
                <a:gd name="connsiteY246" fmla="*/ 336613 h 493775"/>
                <a:gd name="connsiteX247" fmla="*/ 457390 w 458152"/>
                <a:gd name="connsiteY247" fmla="*/ 344043 h 493775"/>
                <a:gd name="connsiteX248" fmla="*/ 455771 w 458152"/>
                <a:gd name="connsiteY248" fmla="*/ 346043 h 493775"/>
                <a:gd name="connsiteX249" fmla="*/ 453962 w 458152"/>
                <a:gd name="connsiteY249" fmla="*/ 346329 h 493775"/>
                <a:gd name="connsiteX250" fmla="*/ 456438 w 458152"/>
                <a:gd name="connsiteY250" fmla="*/ 351377 h 493775"/>
                <a:gd name="connsiteX251" fmla="*/ 451771 w 458152"/>
                <a:gd name="connsiteY251" fmla="*/ 357473 h 493775"/>
                <a:gd name="connsiteX252" fmla="*/ 439674 w 458152"/>
                <a:gd name="connsiteY252" fmla="*/ 348139 h 493775"/>
                <a:gd name="connsiteX253" fmla="*/ 435292 w 458152"/>
                <a:gd name="connsiteY253" fmla="*/ 343281 h 493775"/>
                <a:gd name="connsiteX254" fmla="*/ 427672 w 458152"/>
                <a:gd name="connsiteY254" fmla="*/ 340709 h 493775"/>
                <a:gd name="connsiteX255" fmla="*/ 419386 w 458152"/>
                <a:gd name="connsiteY255" fmla="*/ 347281 h 493775"/>
                <a:gd name="connsiteX256" fmla="*/ 418338 w 458152"/>
                <a:gd name="connsiteY256" fmla="*/ 352806 h 493775"/>
                <a:gd name="connsiteX257" fmla="*/ 416719 w 458152"/>
                <a:gd name="connsiteY257" fmla="*/ 354806 h 493775"/>
                <a:gd name="connsiteX258" fmla="*/ 421481 w 458152"/>
                <a:gd name="connsiteY258" fmla="*/ 363284 h 493775"/>
                <a:gd name="connsiteX259" fmla="*/ 425577 w 458152"/>
                <a:gd name="connsiteY259" fmla="*/ 366331 h 493775"/>
                <a:gd name="connsiteX260" fmla="*/ 430339 w 458152"/>
                <a:gd name="connsiteY260" fmla="*/ 374809 h 493775"/>
                <a:gd name="connsiteX261" fmla="*/ 434245 w 458152"/>
                <a:gd name="connsiteY261" fmla="*/ 390620 h 493775"/>
                <a:gd name="connsiteX262" fmla="*/ 431101 w 458152"/>
                <a:gd name="connsiteY262" fmla="*/ 394621 h 493775"/>
                <a:gd name="connsiteX263" fmla="*/ 438626 w 458152"/>
                <a:gd name="connsiteY263" fmla="*/ 395478 h 493775"/>
                <a:gd name="connsiteX264" fmla="*/ 442627 w 458152"/>
                <a:gd name="connsiteY264" fmla="*/ 398526 h 493775"/>
                <a:gd name="connsiteX265" fmla="*/ 441103 w 458152"/>
                <a:gd name="connsiteY265" fmla="*/ 400621 h 493775"/>
                <a:gd name="connsiteX266" fmla="*/ 432054 w 458152"/>
                <a:gd name="connsiteY266" fmla="*/ 401764 h 493775"/>
                <a:gd name="connsiteX267" fmla="*/ 422243 w 458152"/>
                <a:gd name="connsiteY267" fmla="*/ 410337 h 493775"/>
                <a:gd name="connsiteX268" fmla="*/ 420338 w 458152"/>
                <a:gd name="connsiteY268" fmla="*/ 423291 h 493775"/>
                <a:gd name="connsiteX269" fmla="*/ 415195 w 458152"/>
                <a:gd name="connsiteY269" fmla="*/ 425767 h 493775"/>
                <a:gd name="connsiteX270" fmla="*/ 412528 w 458152"/>
                <a:gd name="connsiteY270" fmla="*/ 433388 h 493775"/>
                <a:gd name="connsiteX271" fmla="*/ 414528 w 458152"/>
                <a:gd name="connsiteY271" fmla="*/ 434912 h 493775"/>
                <a:gd name="connsiteX272" fmla="*/ 419957 w 458152"/>
                <a:gd name="connsiteY272" fmla="*/ 434150 h 493775"/>
                <a:gd name="connsiteX273" fmla="*/ 422434 w 458152"/>
                <a:gd name="connsiteY273" fmla="*/ 439293 h 493775"/>
                <a:gd name="connsiteX274" fmla="*/ 428815 w 458152"/>
                <a:gd name="connsiteY274" fmla="*/ 445675 h 493775"/>
                <a:gd name="connsiteX275" fmla="*/ 434149 w 458152"/>
                <a:gd name="connsiteY275" fmla="*/ 445008 h 493775"/>
                <a:gd name="connsiteX276" fmla="*/ 442055 w 458152"/>
                <a:gd name="connsiteY276" fmla="*/ 449389 h 493775"/>
                <a:gd name="connsiteX277" fmla="*/ 447865 w 458152"/>
                <a:gd name="connsiteY277" fmla="*/ 452247 h 493775"/>
                <a:gd name="connsiteX278" fmla="*/ 439864 w 458152"/>
                <a:gd name="connsiteY278" fmla="*/ 460534 h 493775"/>
                <a:gd name="connsiteX279" fmla="*/ 427101 w 458152"/>
                <a:gd name="connsiteY279" fmla="*/ 460438 h 493775"/>
                <a:gd name="connsiteX280" fmla="*/ 415195 w 458152"/>
                <a:gd name="connsiteY280" fmla="*/ 467487 h 493775"/>
                <a:gd name="connsiteX281" fmla="*/ 414147 w 458152"/>
                <a:gd name="connsiteY281" fmla="*/ 473012 h 493775"/>
                <a:gd name="connsiteX282" fmla="*/ 410528 w 458152"/>
                <a:gd name="connsiteY282" fmla="*/ 473488 h 493775"/>
                <a:gd name="connsiteX283" fmla="*/ 405765 w 458152"/>
                <a:gd name="connsiteY283" fmla="*/ 465106 h 493775"/>
                <a:gd name="connsiteX284" fmla="*/ 395002 w 458152"/>
                <a:gd name="connsiteY284" fmla="*/ 466534 h 493775"/>
                <a:gd name="connsiteX285" fmla="*/ 390906 w 458152"/>
                <a:gd name="connsiteY285" fmla="*/ 463391 h 493775"/>
                <a:gd name="connsiteX286" fmla="*/ 385286 w 458152"/>
                <a:gd name="connsiteY286" fmla="*/ 462343 h 493775"/>
                <a:gd name="connsiteX287" fmla="*/ 383953 w 458152"/>
                <a:gd name="connsiteY287" fmla="*/ 466154 h 493775"/>
                <a:gd name="connsiteX288" fmla="*/ 386429 w 458152"/>
                <a:gd name="connsiteY288" fmla="*/ 471297 h 493775"/>
                <a:gd name="connsiteX289" fmla="*/ 385096 w 458152"/>
                <a:gd name="connsiteY289" fmla="*/ 475107 h 493775"/>
                <a:gd name="connsiteX290" fmla="*/ 367474 w 458152"/>
                <a:gd name="connsiteY290" fmla="*/ 493776 h 493775"/>
                <a:gd name="connsiteX291" fmla="*/ 361855 w 458152"/>
                <a:gd name="connsiteY291" fmla="*/ 492633 h 493775"/>
                <a:gd name="connsiteX292" fmla="*/ 351187 w 458152"/>
                <a:gd name="connsiteY292" fmla="*/ 481298 h 493775"/>
                <a:gd name="connsiteX293" fmla="*/ 345186 w 458152"/>
                <a:gd name="connsiteY293" fmla="*/ 476726 h 493775"/>
                <a:gd name="connsiteX294" fmla="*/ 339757 w 458152"/>
                <a:gd name="connsiteY294" fmla="*/ 477393 h 493775"/>
                <a:gd name="connsiteX295" fmla="*/ 338804 w 458152"/>
                <a:gd name="connsiteY295" fmla="*/ 470345 h 493775"/>
                <a:gd name="connsiteX296" fmla="*/ 329851 w 458152"/>
                <a:gd name="connsiteY296" fmla="*/ 471488 h 493775"/>
                <a:gd name="connsiteX297" fmla="*/ 325088 w 458152"/>
                <a:gd name="connsiteY297" fmla="*/ 463105 h 493775"/>
                <a:gd name="connsiteX298" fmla="*/ 326422 w 458152"/>
                <a:gd name="connsiteY298" fmla="*/ 459296 h 493775"/>
                <a:gd name="connsiteX299" fmla="*/ 318230 w 458152"/>
                <a:gd name="connsiteY299" fmla="*/ 453104 h 493775"/>
                <a:gd name="connsiteX300" fmla="*/ 315754 w 458152"/>
                <a:gd name="connsiteY300" fmla="*/ 447961 h 493775"/>
                <a:gd name="connsiteX301" fmla="*/ 309943 w 458152"/>
                <a:gd name="connsiteY301" fmla="*/ 445103 h 493775"/>
                <a:gd name="connsiteX302" fmla="*/ 307372 w 458152"/>
                <a:gd name="connsiteY302" fmla="*/ 440055 h 493775"/>
                <a:gd name="connsiteX303" fmla="*/ 294989 w 458152"/>
                <a:gd name="connsiteY303" fmla="*/ 443484 h 493775"/>
                <a:gd name="connsiteX304" fmla="*/ 292608 w 458152"/>
                <a:gd name="connsiteY304" fmla="*/ 438341 h 493775"/>
                <a:gd name="connsiteX305" fmla="*/ 288703 w 458152"/>
                <a:gd name="connsiteY305" fmla="*/ 437102 h 493775"/>
                <a:gd name="connsiteX306" fmla="*/ 287655 w 458152"/>
                <a:gd name="connsiteY306" fmla="*/ 442627 h 493775"/>
                <a:gd name="connsiteX307" fmla="*/ 279368 w 458152"/>
                <a:gd name="connsiteY307" fmla="*/ 449199 h 493775"/>
                <a:gd name="connsiteX308" fmla="*/ 277368 w 458152"/>
                <a:gd name="connsiteY308" fmla="*/ 447580 h 493775"/>
                <a:gd name="connsiteX309" fmla="*/ 292513 w 458152"/>
                <a:gd name="connsiteY309" fmla="*/ 465582 h 493775"/>
                <a:gd name="connsiteX310" fmla="*/ 288036 w 458152"/>
                <a:gd name="connsiteY310" fmla="*/ 473392 h 493775"/>
                <a:gd name="connsiteX311" fmla="*/ 277273 w 458152"/>
                <a:gd name="connsiteY311" fmla="*/ 474821 h 493775"/>
                <a:gd name="connsiteX312" fmla="*/ 271367 w 458152"/>
                <a:gd name="connsiteY312" fmla="*/ 471964 h 493775"/>
                <a:gd name="connsiteX313" fmla="*/ 268700 w 458152"/>
                <a:gd name="connsiteY313" fmla="*/ 465106 h 493775"/>
                <a:gd name="connsiteX314" fmla="*/ 272605 w 458152"/>
                <a:gd name="connsiteY314" fmla="*/ 453676 h 493775"/>
                <a:gd name="connsiteX315" fmla="*/ 262509 w 458152"/>
                <a:gd name="connsiteY315" fmla="*/ 445960 h 493775"/>
                <a:gd name="connsiteX316" fmla="*/ 264700 w 458152"/>
                <a:gd name="connsiteY316" fmla="*/ 434816 h 493775"/>
                <a:gd name="connsiteX317" fmla="*/ 261461 w 458152"/>
                <a:gd name="connsiteY317" fmla="*/ 424339 h 493775"/>
                <a:gd name="connsiteX318" fmla="*/ 256032 w 458152"/>
                <a:gd name="connsiteY318" fmla="*/ 425101 h 493775"/>
                <a:gd name="connsiteX319" fmla="*/ 257365 w 458152"/>
                <a:gd name="connsiteY319" fmla="*/ 421291 h 493775"/>
                <a:gd name="connsiteX320" fmla="*/ 253365 w 458152"/>
                <a:gd name="connsiteY320" fmla="*/ 418147 h 493775"/>
                <a:gd name="connsiteX321" fmla="*/ 249936 w 458152"/>
                <a:gd name="connsiteY321" fmla="*/ 420434 h 493775"/>
                <a:gd name="connsiteX322" fmla="*/ 238125 w 458152"/>
                <a:gd name="connsiteY322" fmla="*/ 427387 h 493775"/>
                <a:gd name="connsiteX323" fmla="*/ 238601 w 458152"/>
                <a:gd name="connsiteY323" fmla="*/ 431006 h 493775"/>
                <a:gd name="connsiteX324" fmla="*/ 231172 w 458152"/>
                <a:gd name="connsiteY324" fmla="*/ 430149 h 493775"/>
                <a:gd name="connsiteX325" fmla="*/ 227743 w 458152"/>
                <a:gd name="connsiteY325" fmla="*/ 432435 h 493775"/>
                <a:gd name="connsiteX326" fmla="*/ 224409 w 458152"/>
                <a:gd name="connsiteY326" fmla="*/ 434626 h 493775"/>
                <a:gd name="connsiteX327" fmla="*/ 219075 w 458152"/>
                <a:gd name="connsiteY327" fmla="*/ 435388 h 493775"/>
                <a:gd name="connsiteX328" fmla="*/ 217456 w 458152"/>
                <a:gd name="connsiteY328" fmla="*/ 437388 h 493775"/>
                <a:gd name="connsiteX329" fmla="*/ 215932 w 458152"/>
                <a:gd name="connsiteY329" fmla="*/ 439388 h 493775"/>
                <a:gd name="connsiteX330" fmla="*/ 196215 w 458152"/>
                <a:gd name="connsiteY330" fmla="*/ 442055 h 493775"/>
                <a:gd name="connsiteX331" fmla="*/ 194120 w 458152"/>
                <a:gd name="connsiteY331" fmla="*/ 440531 h 493775"/>
                <a:gd name="connsiteX332" fmla="*/ 192596 w 458152"/>
                <a:gd name="connsiteY332" fmla="*/ 442531 h 493775"/>
                <a:gd name="connsiteX333" fmla="*/ 186690 w 458152"/>
                <a:gd name="connsiteY333" fmla="*/ 439674 h 493775"/>
                <a:gd name="connsiteX334" fmla="*/ 189643 w 458152"/>
                <a:gd name="connsiteY334" fmla="*/ 433864 h 493775"/>
                <a:gd name="connsiteX335" fmla="*/ 187833 w 458152"/>
                <a:gd name="connsiteY335" fmla="*/ 434054 h 493775"/>
                <a:gd name="connsiteX336" fmla="*/ 182404 w 458152"/>
                <a:gd name="connsiteY336" fmla="*/ 434816 h 493775"/>
                <a:gd name="connsiteX337" fmla="*/ 185928 w 458152"/>
                <a:gd name="connsiteY337" fmla="*/ 419862 h 493775"/>
                <a:gd name="connsiteX338" fmla="*/ 182308 w 458152"/>
                <a:gd name="connsiteY338" fmla="*/ 420338 h 493775"/>
                <a:gd name="connsiteX339" fmla="*/ 180022 w 458152"/>
                <a:gd name="connsiteY339" fmla="*/ 417005 h 493775"/>
                <a:gd name="connsiteX340" fmla="*/ 176498 w 458152"/>
                <a:gd name="connsiteY340" fmla="*/ 417481 h 493775"/>
                <a:gd name="connsiteX341" fmla="*/ 173926 w 458152"/>
                <a:gd name="connsiteY341" fmla="*/ 412337 h 493775"/>
                <a:gd name="connsiteX342" fmla="*/ 168307 w 458152"/>
                <a:gd name="connsiteY342" fmla="*/ 411289 h 493775"/>
                <a:gd name="connsiteX343" fmla="*/ 162211 w 458152"/>
                <a:gd name="connsiteY343" fmla="*/ 406622 h 493775"/>
                <a:gd name="connsiteX344" fmla="*/ 163544 w 458152"/>
                <a:gd name="connsiteY344" fmla="*/ 402812 h 493775"/>
                <a:gd name="connsiteX345" fmla="*/ 168688 w 458152"/>
                <a:gd name="connsiteY345" fmla="*/ 400336 h 493775"/>
                <a:gd name="connsiteX346" fmla="*/ 169069 w 458152"/>
                <a:gd name="connsiteY346" fmla="*/ 389382 h 493775"/>
                <a:gd name="connsiteX347" fmla="*/ 172498 w 458152"/>
                <a:gd name="connsiteY347" fmla="*/ 387191 h 493775"/>
                <a:gd name="connsiteX348" fmla="*/ 169736 w 458152"/>
                <a:gd name="connsiteY348" fmla="*/ 380238 h 493775"/>
                <a:gd name="connsiteX349" fmla="*/ 156400 w 458152"/>
                <a:gd name="connsiteY349" fmla="*/ 376618 h 493775"/>
                <a:gd name="connsiteX350" fmla="*/ 154400 w 458152"/>
                <a:gd name="connsiteY350" fmla="*/ 374999 h 493775"/>
                <a:gd name="connsiteX351" fmla="*/ 159067 w 458152"/>
                <a:gd name="connsiteY351" fmla="*/ 368998 h 493775"/>
                <a:gd name="connsiteX352" fmla="*/ 158591 w 458152"/>
                <a:gd name="connsiteY352" fmla="*/ 365474 h 493775"/>
                <a:gd name="connsiteX353" fmla="*/ 159734 w 458152"/>
                <a:gd name="connsiteY353" fmla="*/ 359855 h 493775"/>
                <a:gd name="connsiteX354" fmla="*/ 159448 w 458152"/>
                <a:gd name="connsiteY354" fmla="*/ 358045 h 493775"/>
                <a:gd name="connsiteX355" fmla="*/ 152019 w 458152"/>
                <a:gd name="connsiteY355" fmla="*/ 357188 h 493775"/>
                <a:gd name="connsiteX356" fmla="*/ 144494 w 458152"/>
                <a:gd name="connsiteY356" fmla="*/ 369094 h 493775"/>
                <a:gd name="connsiteX357" fmla="*/ 141732 w 458152"/>
                <a:gd name="connsiteY357" fmla="*/ 362236 h 493775"/>
                <a:gd name="connsiteX358" fmla="*/ 137731 w 458152"/>
                <a:gd name="connsiteY358" fmla="*/ 359092 h 493775"/>
                <a:gd name="connsiteX359" fmla="*/ 133159 w 458152"/>
                <a:gd name="connsiteY359" fmla="*/ 352520 h 493775"/>
                <a:gd name="connsiteX360" fmla="*/ 124396 w 458152"/>
                <a:gd name="connsiteY360" fmla="*/ 355473 h 493775"/>
                <a:gd name="connsiteX361" fmla="*/ 120587 w 458152"/>
                <a:gd name="connsiteY361" fmla="*/ 354139 h 493775"/>
                <a:gd name="connsiteX362" fmla="*/ 114490 w 458152"/>
                <a:gd name="connsiteY362" fmla="*/ 349472 h 493775"/>
                <a:gd name="connsiteX363" fmla="*/ 107728 w 458152"/>
                <a:gd name="connsiteY363" fmla="*/ 354044 h 493775"/>
                <a:gd name="connsiteX364" fmla="*/ 103251 w 458152"/>
                <a:gd name="connsiteY364" fmla="*/ 347377 h 493775"/>
                <a:gd name="connsiteX365" fmla="*/ 106108 w 458152"/>
                <a:gd name="connsiteY365" fmla="*/ 341567 h 493775"/>
                <a:gd name="connsiteX366" fmla="*/ 112586 w 458152"/>
                <a:gd name="connsiteY366" fmla="*/ 335280 h 493775"/>
                <a:gd name="connsiteX367" fmla="*/ 112109 w 458152"/>
                <a:gd name="connsiteY367" fmla="*/ 331660 h 493775"/>
                <a:gd name="connsiteX368" fmla="*/ 98870 w 458152"/>
                <a:gd name="connsiteY368" fmla="*/ 328041 h 493775"/>
                <a:gd name="connsiteX369" fmla="*/ 98774 w 458152"/>
                <a:gd name="connsiteY369" fmla="*/ 313563 h 493775"/>
                <a:gd name="connsiteX370" fmla="*/ 96488 w 458152"/>
                <a:gd name="connsiteY370" fmla="*/ 310229 h 493775"/>
                <a:gd name="connsiteX371" fmla="*/ 93154 w 458152"/>
                <a:gd name="connsiteY371" fmla="*/ 312420 h 493775"/>
                <a:gd name="connsiteX372" fmla="*/ 97250 w 458152"/>
                <a:gd name="connsiteY372" fmla="*/ 315563 h 493775"/>
                <a:gd name="connsiteX373" fmla="*/ 92297 w 458152"/>
                <a:gd name="connsiteY373" fmla="*/ 319850 h 493775"/>
                <a:gd name="connsiteX374" fmla="*/ 91154 w 458152"/>
                <a:gd name="connsiteY374" fmla="*/ 325374 h 493775"/>
                <a:gd name="connsiteX375" fmla="*/ 87630 w 458152"/>
                <a:gd name="connsiteY375" fmla="*/ 325850 h 493775"/>
                <a:gd name="connsiteX376" fmla="*/ 86868 w 458152"/>
                <a:gd name="connsiteY376" fmla="*/ 320516 h 493775"/>
                <a:gd name="connsiteX377" fmla="*/ 83534 w 458152"/>
                <a:gd name="connsiteY377" fmla="*/ 322802 h 493775"/>
                <a:gd name="connsiteX378" fmla="*/ 82677 w 458152"/>
                <a:gd name="connsiteY378" fmla="*/ 330137 h 493775"/>
                <a:gd name="connsiteX379" fmla="*/ 80867 w 458152"/>
                <a:gd name="connsiteY379" fmla="*/ 330422 h 493775"/>
                <a:gd name="connsiteX380" fmla="*/ 80391 w 458152"/>
                <a:gd name="connsiteY380" fmla="*/ 326803 h 493775"/>
                <a:gd name="connsiteX381" fmla="*/ 81534 w 458152"/>
                <a:gd name="connsiteY381" fmla="*/ 321278 h 493775"/>
                <a:gd name="connsiteX382" fmla="*/ 80772 w 458152"/>
                <a:gd name="connsiteY382" fmla="*/ 315944 h 493775"/>
                <a:gd name="connsiteX383" fmla="*/ 76962 w 458152"/>
                <a:gd name="connsiteY383" fmla="*/ 314611 h 493775"/>
                <a:gd name="connsiteX384" fmla="*/ 73342 w 458152"/>
                <a:gd name="connsiteY384" fmla="*/ 315087 h 493775"/>
                <a:gd name="connsiteX385" fmla="*/ 72962 w 458152"/>
                <a:gd name="connsiteY385" fmla="*/ 325946 h 493775"/>
                <a:gd name="connsiteX386" fmla="*/ 69151 w 458152"/>
                <a:gd name="connsiteY386" fmla="*/ 324707 h 493775"/>
                <a:gd name="connsiteX387" fmla="*/ 68675 w 458152"/>
                <a:gd name="connsiteY387" fmla="*/ 321088 h 493775"/>
                <a:gd name="connsiteX388" fmla="*/ 65341 w 458152"/>
                <a:gd name="connsiteY388" fmla="*/ 323374 h 493775"/>
                <a:gd name="connsiteX389" fmla="*/ 71628 w 458152"/>
                <a:gd name="connsiteY389" fmla="*/ 329755 h 493775"/>
                <a:gd name="connsiteX390" fmla="*/ 70580 w 458152"/>
                <a:gd name="connsiteY390" fmla="*/ 335375 h 493775"/>
                <a:gd name="connsiteX391" fmla="*/ 70771 w 458152"/>
                <a:gd name="connsiteY391" fmla="*/ 337185 h 493775"/>
                <a:gd name="connsiteX392" fmla="*/ 66484 w 458152"/>
                <a:gd name="connsiteY392" fmla="*/ 332327 h 493775"/>
                <a:gd name="connsiteX393" fmla="*/ 60007 w 458152"/>
                <a:gd name="connsiteY393" fmla="*/ 338614 h 493775"/>
                <a:gd name="connsiteX394" fmla="*/ 67723 w 458152"/>
                <a:gd name="connsiteY394" fmla="*/ 341185 h 493775"/>
                <a:gd name="connsiteX395" fmla="*/ 68104 w 458152"/>
                <a:gd name="connsiteY395" fmla="*/ 344805 h 493775"/>
                <a:gd name="connsiteX396" fmla="*/ 68389 w 458152"/>
                <a:gd name="connsiteY396" fmla="*/ 346520 h 493775"/>
                <a:gd name="connsiteX397" fmla="*/ 61246 w 458152"/>
                <a:gd name="connsiteY397" fmla="*/ 347472 h 493775"/>
                <a:gd name="connsiteX398" fmla="*/ 62389 w 458152"/>
                <a:gd name="connsiteY398" fmla="*/ 356425 h 493775"/>
                <a:gd name="connsiteX399" fmla="*/ 56959 w 458152"/>
                <a:gd name="connsiteY399" fmla="*/ 357092 h 493775"/>
                <a:gd name="connsiteX400" fmla="*/ 42577 w 458152"/>
                <a:gd name="connsiteY400" fmla="*/ 344519 h 493775"/>
                <a:gd name="connsiteX401" fmla="*/ 33052 w 458152"/>
                <a:gd name="connsiteY401" fmla="*/ 342138 h 493775"/>
                <a:gd name="connsiteX402" fmla="*/ 30385 w 458152"/>
                <a:gd name="connsiteY402" fmla="*/ 335280 h 493775"/>
                <a:gd name="connsiteX403" fmla="*/ 24670 w 458152"/>
                <a:gd name="connsiteY403" fmla="*/ 334137 h 493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</a:cxnLst>
              <a:rect l="l" t="t" r="r" b="b"/>
              <a:pathLst>
                <a:path w="458152" h="493775">
                  <a:moveTo>
                    <a:pt x="24670" y="334137"/>
                  </a:moveTo>
                  <a:lnTo>
                    <a:pt x="25337" y="325088"/>
                  </a:lnTo>
                  <a:lnTo>
                    <a:pt x="24384" y="317945"/>
                  </a:lnTo>
                  <a:lnTo>
                    <a:pt x="27241" y="312039"/>
                  </a:lnTo>
                  <a:lnTo>
                    <a:pt x="30671" y="309848"/>
                  </a:lnTo>
                  <a:lnTo>
                    <a:pt x="27908" y="302990"/>
                  </a:lnTo>
                  <a:lnTo>
                    <a:pt x="20955" y="305657"/>
                  </a:lnTo>
                  <a:lnTo>
                    <a:pt x="17145" y="304324"/>
                  </a:lnTo>
                  <a:lnTo>
                    <a:pt x="14668" y="299275"/>
                  </a:lnTo>
                  <a:lnTo>
                    <a:pt x="19526" y="294989"/>
                  </a:lnTo>
                  <a:lnTo>
                    <a:pt x="15430" y="291941"/>
                  </a:lnTo>
                  <a:lnTo>
                    <a:pt x="16573" y="286321"/>
                  </a:lnTo>
                  <a:lnTo>
                    <a:pt x="21717" y="283845"/>
                  </a:lnTo>
                  <a:lnTo>
                    <a:pt x="11049" y="272510"/>
                  </a:lnTo>
                  <a:lnTo>
                    <a:pt x="11716" y="263366"/>
                  </a:lnTo>
                  <a:lnTo>
                    <a:pt x="14573" y="257556"/>
                  </a:lnTo>
                  <a:lnTo>
                    <a:pt x="22860" y="251079"/>
                  </a:lnTo>
                  <a:lnTo>
                    <a:pt x="25717" y="245173"/>
                  </a:lnTo>
                  <a:lnTo>
                    <a:pt x="18955" y="235267"/>
                  </a:lnTo>
                  <a:lnTo>
                    <a:pt x="32575" y="228029"/>
                  </a:lnTo>
                  <a:lnTo>
                    <a:pt x="33242" y="218884"/>
                  </a:lnTo>
                  <a:lnTo>
                    <a:pt x="26003" y="219742"/>
                  </a:lnTo>
                  <a:lnTo>
                    <a:pt x="22003" y="216694"/>
                  </a:lnTo>
                  <a:lnTo>
                    <a:pt x="23336" y="212884"/>
                  </a:lnTo>
                  <a:lnTo>
                    <a:pt x="26194" y="207073"/>
                  </a:lnTo>
                  <a:lnTo>
                    <a:pt x="20764" y="207835"/>
                  </a:lnTo>
                  <a:lnTo>
                    <a:pt x="21241" y="211360"/>
                  </a:lnTo>
                  <a:lnTo>
                    <a:pt x="17431" y="210026"/>
                  </a:lnTo>
                  <a:lnTo>
                    <a:pt x="9239" y="203835"/>
                  </a:lnTo>
                  <a:lnTo>
                    <a:pt x="6763" y="198787"/>
                  </a:lnTo>
                  <a:lnTo>
                    <a:pt x="8382" y="196787"/>
                  </a:lnTo>
                  <a:lnTo>
                    <a:pt x="7906" y="193167"/>
                  </a:lnTo>
                  <a:lnTo>
                    <a:pt x="0" y="188785"/>
                  </a:lnTo>
                  <a:lnTo>
                    <a:pt x="1524" y="186785"/>
                  </a:lnTo>
                  <a:lnTo>
                    <a:pt x="8763" y="185833"/>
                  </a:lnTo>
                  <a:lnTo>
                    <a:pt x="12763" y="188881"/>
                  </a:lnTo>
                  <a:lnTo>
                    <a:pt x="17812" y="199072"/>
                  </a:lnTo>
                  <a:lnTo>
                    <a:pt x="28384" y="195929"/>
                  </a:lnTo>
                  <a:lnTo>
                    <a:pt x="31528" y="191929"/>
                  </a:lnTo>
                  <a:lnTo>
                    <a:pt x="31051" y="188309"/>
                  </a:lnTo>
                  <a:lnTo>
                    <a:pt x="35909" y="184023"/>
                  </a:lnTo>
                  <a:lnTo>
                    <a:pt x="43529" y="172212"/>
                  </a:lnTo>
                  <a:lnTo>
                    <a:pt x="48863" y="171450"/>
                  </a:lnTo>
                  <a:lnTo>
                    <a:pt x="57531" y="154019"/>
                  </a:lnTo>
                  <a:lnTo>
                    <a:pt x="54292" y="143542"/>
                  </a:lnTo>
                  <a:lnTo>
                    <a:pt x="49339" y="133350"/>
                  </a:lnTo>
                  <a:lnTo>
                    <a:pt x="36481" y="133159"/>
                  </a:lnTo>
                  <a:lnTo>
                    <a:pt x="34480" y="131635"/>
                  </a:lnTo>
                  <a:lnTo>
                    <a:pt x="29051" y="132397"/>
                  </a:lnTo>
                  <a:lnTo>
                    <a:pt x="28575" y="128778"/>
                  </a:lnTo>
                  <a:lnTo>
                    <a:pt x="22955" y="127730"/>
                  </a:lnTo>
                  <a:lnTo>
                    <a:pt x="22765" y="126016"/>
                  </a:lnTo>
                  <a:lnTo>
                    <a:pt x="18955" y="124682"/>
                  </a:lnTo>
                  <a:lnTo>
                    <a:pt x="18193" y="119348"/>
                  </a:lnTo>
                  <a:lnTo>
                    <a:pt x="16192" y="117729"/>
                  </a:lnTo>
                  <a:lnTo>
                    <a:pt x="15716" y="114205"/>
                  </a:lnTo>
                  <a:lnTo>
                    <a:pt x="24670" y="112967"/>
                  </a:lnTo>
                  <a:lnTo>
                    <a:pt x="26003" y="109156"/>
                  </a:lnTo>
                  <a:lnTo>
                    <a:pt x="30480" y="101346"/>
                  </a:lnTo>
                  <a:lnTo>
                    <a:pt x="29337" y="92488"/>
                  </a:lnTo>
                  <a:lnTo>
                    <a:pt x="31337" y="94012"/>
                  </a:lnTo>
                  <a:lnTo>
                    <a:pt x="32671" y="90202"/>
                  </a:lnTo>
                  <a:lnTo>
                    <a:pt x="33242" y="81058"/>
                  </a:lnTo>
                  <a:lnTo>
                    <a:pt x="30766" y="75914"/>
                  </a:lnTo>
                  <a:lnTo>
                    <a:pt x="34576" y="77248"/>
                  </a:lnTo>
                  <a:lnTo>
                    <a:pt x="39338" y="85630"/>
                  </a:lnTo>
                  <a:lnTo>
                    <a:pt x="46768" y="86487"/>
                  </a:lnTo>
                  <a:lnTo>
                    <a:pt x="45815" y="79343"/>
                  </a:lnTo>
                  <a:lnTo>
                    <a:pt x="55626" y="70866"/>
                  </a:lnTo>
                  <a:lnTo>
                    <a:pt x="52673" y="62103"/>
                  </a:lnTo>
                  <a:lnTo>
                    <a:pt x="55626" y="56388"/>
                  </a:lnTo>
                  <a:lnTo>
                    <a:pt x="61436" y="59150"/>
                  </a:lnTo>
                  <a:lnTo>
                    <a:pt x="68389" y="56483"/>
                  </a:lnTo>
                  <a:lnTo>
                    <a:pt x="71247" y="50673"/>
                  </a:lnTo>
                  <a:lnTo>
                    <a:pt x="75152" y="51911"/>
                  </a:lnTo>
                  <a:lnTo>
                    <a:pt x="74866" y="50197"/>
                  </a:lnTo>
                  <a:lnTo>
                    <a:pt x="82772" y="54578"/>
                  </a:lnTo>
                  <a:lnTo>
                    <a:pt x="80581" y="65722"/>
                  </a:lnTo>
                  <a:lnTo>
                    <a:pt x="82391" y="65532"/>
                  </a:lnTo>
                  <a:lnTo>
                    <a:pt x="87249" y="61150"/>
                  </a:lnTo>
                  <a:lnTo>
                    <a:pt x="91154" y="62484"/>
                  </a:lnTo>
                  <a:lnTo>
                    <a:pt x="94202" y="58483"/>
                  </a:lnTo>
                  <a:lnTo>
                    <a:pt x="103441" y="59055"/>
                  </a:lnTo>
                  <a:lnTo>
                    <a:pt x="116681" y="48292"/>
                  </a:lnTo>
                  <a:lnTo>
                    <a:pt x="120301" y="47816"/>
                  </a:lnTo>
                  <a:lnTo>
                    <a:pt x="129064" y="59341"/>
                  </a:lnTo>
                  <a:lnTo>
                    <a:pt x="132874" y="60579"/>
                  </a:lnTo>
                  <a:lnTo>
                    <a:pt x="136303" y="58388"/>
                  </a:lnTo>
                  <a:lnTo>
                    <a:pt x="138303" y="59912"/>
                  </a:lnTo>
                  <a:lnTo>
                    <a:pt x="143923" y="60960"/>
                  </a:lnTo>
                  <a:lnTo>
                    <a:pt x="143446" y="57436"/>
                  </a:lnTo>
                  <a:lnTo>
                    <a:pt x="158305" y="59055"/>
                  </a:lnTo>
                  <a:lnTo>
                    <a:pt x="161639" y="56769"/>
                  </a:lnTo>
                  <a:lnTo>
                    <a:pt x="163925" y="60103"/>
                  </a:lnTo>
                  <a:lnTo>
                    <a:pt x="167259" y="57912"/>
                  </a:lnTo>
                  <a:lnTo>
                    <a:pt x="164782" y="52768"/>
                  </a:lnTo>
                  <a:lnTo>
                    <a:pt x="164021" y="47434"/>
                  </a:lnTo>
                  <a:lnTo>
                    <a:pt x="168497" y="39624"/>
                  </a:lnTo>
                  <a:lnTo>
                    <a:pt x="168021" y="36004"/>
                  </a:lnTo>
                  <a:lnTo>
                    <a:pt x="169545" y="34004"/>
                  </a:lnTo>
                  <a:lnTo>
                    <a:pt x="168878" y="28670"/>
                  </a:lnTo>
                  <a:lnTo>
                    <a:pt x="167449" y="17907"/>
                  </a:lnTo>
                  <a:lnTo>
                    <a:pt x="174212" y="13430"/>
                  </a:lnTo>
                  <a:lnTo>
                    <a:pt x="171736" y="8382"/>
                  </a:lnTo>
                  <a:lnTo>
                    <a:pt x="176879" y="5810"/>
                  </a:lnTo>
                  <a:lnTo>
                    <a:pt x="182213" y="5143"/>
                  </a:lnTo>
                  <a:lnTo>
                    <a:pt x="184499" y="8477"/>
                  </a:lnTo>
                  <a:lnTo>
                    <a:pt x="188119" y="8001"/>
                  </a:lnTo>
                  <a:lnTo>
                    <a:pt x="192976" y="3715"/>
                  </a:lnTo>
                  <a:lnTo>
                    <a:pt x="195739" y="10573"/>
                  </a:lnTo>
                  <a:lnTo>
                    <a:pt x="205454" y="14764"/>
                  </a:lnTo>
                  <a:lnTo>
                    <a:pt x="210312" y="10477"/>
                  </a:lnTo>
                  <a:lnTo>
                    <a:pt x="214408" y="13621"/>
                  </a:lnTo>
                  <a:lnTo>
                    <a:pt x="219837" y="12859"/>
                  </a:lnTo>
                  <a:lnTo>
                    <a:pt x="220028" y="14668"/>
                  </a:lnTo>
                  <a:lnTo>
                    <a:pt x="221837" y="14383"/>
                  </a:lnTo>
                  <a:lnTo>
                    <a:pt x="230314" y="9620"/>
                  </a:lnTo>
                  <a:lnTo>
                    <a:pt x="233934" y="9144"/>
                  </a:lnTo>
                  <a:lnTo>
                    <a:pt x="231934" y="7620"/>
                  </a:lnTo>
                  <a:lnTo>
                    <a:pt x="232981" y="2000"/>
                  </a:lnTo>
                  <a:lnTo>
                    <a:pt x="234601" y="0"/>
                  </a:lnTo>
                  <a:lnTo>
                    <a:pt x="247840" y="3715"/>
                  </a:lnTo>
                  <a:lnTo>
                    <a:pt x="262509" y="18097"/>
                  </a:lnTo>
                  <a:lnTo>
                    <a:pt x="270605" y="9811"/>
                  </a:lnTo>
                  <a:lnTo>
                    <a:pt x="280035" y="12192"/>
                  </a:lnTo>
                  <a:lnTo>
                    <a:pt x="279559" y="8572"/>
                  </a:lnTo>
                  <a:lnTo>
                    <a:pt x="273939" y="7525"/>
                  </a:lnTo>
                  <a:lnTo>
                    <a:pt x="275463" y="5429"/>
                  </a:lnTo>
                  <a:lnTo>
                    <a:pt x="287179" y="11239"/>
                  </a:lnTo>
                  <a:lnTo>
                    <a:pt x="290989" y="12478"/>
                  </a:lnTo>
                  <a:lnTo>
                    <a:pt x="294418" y="10192"/>
                  </a:lnTo>
                  <a:lnTo>
                    <a:pt x="298228" y="11525"/>
                  </a:lnTo>
                  <a:lnTo>
                    <a:pt x="303086" y="7239"/>
                  </a:lnTo>
                  <a:lnTo>
                    <a:pt x="301562" y="9334"/>
                  </a:lnTo>
                  <a:lnTo>
                    <a:pt x="320421" y="14002"/>
                  </a:lnTo>
                  <a:lnTo>
                    <a:pt x="323469" y="22670"/>
                  </a:lnTo>
                  <a:lnTo>
                    <a:pt x="328803" y="22003"/>
                  </a:lnTo>
                  <a:lnTo>
                    <a:pt x="330613" y="21717"/>
                  </a:lnTo>
                  <a:lnTo>
                    <a:pt x="354044" y="33147"/>
                  </a:lnTo>
                  <a:lnTo>
                    <a:pt x="359664" y="34195"/>
                  </a:lnTo>
                  <a:lnTo>
                    <a:pt x="371856" y="43529"/>
                  </a:lnTo>
                  <a:lnTo>
                    <a:pt x="381381" y="45910"/>
                  </a:lnTo>
                  <a:lnTo>
                    <a:pt x="400812" y="41434"/>
                  </a:lnTo>
                  <a:lnTo>
                    <a:pt x="401098" y="43243"/>
                  </a:lnTo>
                  <a:lnTo>
                    <a:pt x="394145" y="46006"/>
                  </a:lnTo>
                  <a:lnTo>
                    <a:pt x="392811" y="49816"/>
                  </a:lnTo>
                  <a:lnTo>
                    <a:pt x="389477" y="52006"/>
                  </a:lnTo>
                  <a:lnTo>
                    <a:pt x="387667" y="52292"/>
                  </a:lnTo>
                  <a:lnTo>
                    <a:pt x="386620" y="57817"/>
                  </a:lnTo>
                  <a:lnTo>
                    <a:pt x="390430" y="59150"/>
                  </a:lnTo>
                  <a:lnTo>
                    <a:pt x="395192" y="67627"/>
                  </a:lnTo>
                  <a:lnTo>
                    <a:pt x="399002" y="68961"/>
                  </a:lnTo>
                  <a:lnTo>
                    <a:pt x="397955" y="74485"/>
                  </a:lnTo>
                  <a:lnTo>
                    <a:pt x="390715" y="75438"/>
                  </a:lnTo>
                  <a:lnTo>
                    <a:pt x="382048" y="78391"/>
                  </a:lnTo>
                  <a:lnTo>
                    <a:pt x="379952" y="76867"/>
                  </a:lnTo>
                  <a:lnTo>
                    <a:pt x="377476" y="71723"/>
                  </a:lnTo>
                  <a:lnTo>
                    <a:pt x="371570" y="68866"/>
                  </a:lnTo>
                  <a:lnTo>
                    <a:pt x="368237" y="71152"/>
                  </a:lnTo>
                  <a:lnTo>
                    <a:pt x="365760" y="66104"/>
                  </a:lnTo>
                  <a:lnTo>
                    <a:pt x="364617" y="71628"/>
                  </a:lnTo>
                  <a:lnTo>
                    <a:pt x="362426" y="68294"/>
                  </a:lnTo>
                  <a:lnTo>
                    <a:pt x="354711" y="65722"/>
                  </a:lnTo>
                  <a:lnTo>
                    <a:pt x="348424" y="59246"/>
                  </a:lnTo>
                  <a:lnTo>
                    <a:pt x="351187" y="66199"/>
                  </a:lnTo>
                  <a:lnTo>
                    <a:pt x="349377" y="66389"/>
                  </a:lnTo>
                  <a:lnTo>
                    <a:pt x="350044" y="71723"/>
                  </a:lnTo>
                  <a:lnTo>
                    <a:pt x="346615" y="74009"/>
                  </a:lnTo>
                  <a:lnTo>
                    <a:pt x="346900" y="75819"/>
                  </a:lnTo>
                  <a:lnTo>
                    <a:pt x="349853" y="84487"/>
                  </a:lnTo>
                  <a:lnTo>
                    <a:pt x="348805" y="90011"/>
                  </a:lnTo>
                  <a:lnTo>
                    <a:pt x="350806" y="91630"/>
                  </a:lnTo>
                  <a:lnTo>
                    <a:pt x="356235" y="90868"/>
                  </a:lnTo>
                  <a:lnTo>
                    <a:pt x="354711" y="92869"/>
                  </a:lnTo>
                  <a:lnTo>
                    <a:pt x="355187" y="96488"/>
                  </a:lnTo>
                  <a:lnTo>
                    <a:pt x="352044" y="100489"/>
                  </a:lnTo>
                  <a:lnTo>
                    <a:pt x="349377" y="108109"/>
                  </a:lnTo>
                  <a:lnTo>
                    <a:pt x="344424" y="112395"/>
                  </a:lnTo>
                  <a:lnTo>
                    <a:pt x="341852" y="120015"/>
                  </a:lnTo>
                  <a:lnTo>
                    <a:pt x="350996" y="120587"/>
                  </a:lnTo>
                  <a:lnTo>
                    <a:pt x="359759" y="117634"/>
                  </a:lnTo>
                  <a:lnTo>
                    <a:pt x="362045" y="120967"/>
                  </a:lnTo>
                  <a:lnTo>
                    <a:pt x="369189" y="120015"/>
                  </a:lnTo>
                  <a:lnTo>
                    <a:pt x="372808" y="119539"/>
                  </a:lnTo>
                  <a:lnTo>
                    <a:pt x="382048" y="120110"/>
                  </a:lnTo>
                  <a:lnTo>
                    <a:pt x="384524" y="125254"/>
                  </a:lnTo>
                  <a:lnTo>
                    <a:pt x="394430" y="131159"/>
                  </a:lnTo>
                  <a:lnTo>
                    <a:pt x="405479" y="131540"/>
                  </a:lnTo>
                  <a:lnTo>
                    <a:pt x="407003" y="129540"/>
                  </a:lnTo>
                  <a:lnTo>
                    <a:pt x="409289" y="132779"/>
                  </a:lnTo>
                  <a:lnTo>
                    <a:pt x="412432" y="128778"/>
                  </a:lnTo>
                  <a:lnTo>
                    <a:pt x="412623" y="130588"/>
                  </a:lnTo>
                  <a:lnTo>
                    <a:pt x="418052" y="129826"/>
                  </a:lnTo>
                  <a:lnTo>
                    <a:pt x="418529" y="133445"/>
                  </a:lnTo>
                  <a:lnTo>
                    <a:pt x="423481" y="129159"/>
                  </a:lnTo>
                  <a:lnTo>
                    <a:pt x="427291" y="130397"/>
                  </a:lnTo>
                  <a:lnTo>
                    <a:pt x="429292" y="132017"/>
                  </a:lnTo>
                  <a:lnTo>
                    <a:pt x="425958" y="134207"/>
                  </a:lnTo>
                  <a:lnTo>
                    <a:pt x="416909" y="135446"/>
                  </a:lnTo>
                  <a:lnTo>
                    <a:pt x="412909" y="132302"/>
                  </a:lnTo>
                  <a:lnTo>
                    <a:pt x="405955" y="135064"/>
                  </a:lnTo>
                  <a:lnTo>
                    <a:pt x="399955" y="144971"/>
                  </a:lnTo>
                  <a:lnTo>
                    <a:pt x="403765" y="146209"/>
                  </a:lnTo>
                  <a:lnTo>
                    <a:pt x="405193" y="156972"/>
                  </a:lnTo>
                  <a:lnTo>
                    <a:pt x="403670" y="158972"/>
                  </a:lnTo>
                  <a:lnTo>
                    <a:pt x="398431" y="161449"/>
                  </a:lnTo>
                  <a:lnTo>
                    <a:pt x="392811" y="160401"/>
                  </a:lnTo>
                  <a:lnTo>
                    <a:pt x="387953" y="164687"/>
                  </a:lnTo>
                  <a:lnTo>
                    <a:pt x="390430" y="169735"/>
                  </a:lnTo>
                  <a:lnTo>
                    <a:pt x="384905" y="183166"/>
                  </a:lnTo>
                  <a:lnTo>
                    <a:pt x="391192" y="189643"/>
                  </a:lnTo>
                  <a:lnTo>
                    <a:pt x="390144" y="195167"/>
                  </a:lnTo>
                  <a:lnTo>
                    <a:pt x="394430" y="200025"/>
                  </a:lnTo>
                  <a:lnTo>
                    <a:pt x="393382" y="205645"/>
                  </a:lnTo>
                  <a:lnTo>
                    <a:pt x="399669" y="212026"/>
                  </a:lnTo>
                  <a:lnTo>
                    <a:pt x="399955" y="213836"/>
                  </a:lnTo>
                  <a:lnTo>
                    <a:pt x="396335" y="214313"/>
                  </a:lnTo>
                  <a:lnTo>
                    <a:pt x="398336" y="215837"/>
                  </a:lnTo>
                  <a:lnTo>
                    <a:pt x="399383" y="237458"/>
                  </a:lnTo>
                  <a:lnTo>
                    <a:pt x="405003" y="238506"/>
                  </a:lnTo>
                  <a:lnTo>
                    <a:pt x="407289" y="241840"/>
                  </a:lnTo>
                  <a:lnTo>
                    <a:pt x="414433" y="240887"/>
                  </a:lnTo>
                  <a:lnTo>
                    <a:pt x="418529" y="244030"/>
                  </a:lnTo>
                  <a:lnTo>
                    <a:pt x="415862" y="251650"/>
                  </a:lnTo>
                  <a:lnTo>
                    <a:pt x="419671" y="252889"/>
                  </a:lnTo>
                  <a:lnTo>
                    <a:pt x="422148" y="258032"/>
                  </a:lnTo>
                  <a:lnTo>
                    <a:pt x="418814" y="260318"/>
                  </a:lnTo>
                  <a:lnTo>
                    <a:pt x="426053" y="259366"/>
                  </a:lnTo>
                  <a:lnTo>
                    <a:pt x="428530" y="264414"/>
                  </a:lnTo>
                  <a:lnTo>
                    <a:pt x="425672" y="270320"/>
                  </a:lnTo>
                  <a:lnTo>
                    <a:pt x="423577" y="268700"/>
                  </a:lnTo>
                  <a:lnTo>
                    <a:pt x="420243" y="270986"/>
                  </a:lnTo>
                  <a:lnTo>
                    <a:pt x="414909" y="271748"/>
                  </a:lnTo>
                  <a:lnTo>
                    <a:pt x="411575" y="273939"/>
                  </a:lnTo>
                  <a:lnTo>
                    <a:pt x="404146" y="273082"/>
                  </a:lnTo>
                  <a:lnTo>
                    <a:pt x="401193" y="278892"/>
                  </a:lnTo>
                  <a:lnTo>
                    <a:pt x="401955" y="284321"/>
                  </a:lnTo>
                  <a:lnTo>
                    <a:pt x="397478" y="292132"/>
                  </a:lnTo>
                  <a:lnTo>
                    <a:pt x="398431" y="299275"/>
                  </a:lnTo>
                  <a:lnTo>
                    <a:pt x="403765" y="298513"/>
                  </a:lnTo>
                  <a:lnTo>
                    <a:pt x="405384" y="296513"/>
                  </a:lnTo>
                  <a:lnTo>
                    <a:pt x="409004" y="296037"/>
                  </a:lnTo>
                  <a:lnTo>
                    <a:pt x="408337" y="305181"/>
                  </a:lnTo>
                  <a:lnTo>
                    <a:pt x="429768" y="315087"/>
                  </a:lnTo>
                  <a:lnTo>
                    <a:pt x="438340" y="324802"/>
                  </a:lnTo>
                  <a:lnTo>
                    <a:pt x="451866" y="330232"/>
                  </a:lnTo>
                  <a:lnTo>
                    <a:pt x="458153" y="336613"/>
                  </a:lnTo>
                  <a:lnTo>
                    <a:pt x="457390" y="344043"/>
                  </a:lnTo>
                  <a:lnTo>
                    <a:pt x="455771" y="346043"/>
                  </a:lnTo>
                  <a:lnTo>
                    <a:pt x="453962" y="346329"/>
                  </a:lnTo>
                  <a:lnTo>
                    <a:pt x="456438" y="351377"/>
                  </a:lnTo>
                  <a:lnTo>
                    <a:pt x="451771" y="357473"/>
                  </a:lnTo>
                  <a:lnTo>
                    <a:pt x="439674" y="348139"/>
                  </a:lnTo>
                  <a:lnTo>
                    <a:pt x="435292" y="343281"/>
                  </a:lnTo>
                  <a:lnTo>
                    <a:pt x="427672" y="340709"/>
                  </a:lnTo>
                  <a:lnTo>
                    <a:pt x="419386" y="347281"/>
                  </a:lnTo>
                  <a:lnTo>
                    <a:pt x="418338" y="352806"/>
                  </a:lnTo>
                  <a:lnTo>
                    <a:pt x="416719" y="354806"/>
                  </a:lnTo>
                  <a:lnTo>
                    <a:pt x="421481" y="363284"/>
                  </a:lnTo>
                  <a:lnTo>
                    <a:pt x="425577" y="366331"/>
                  </a:lnTo>
                  <a:lnTo>
                    <a:pt x="430339" y="374809"/>
                  </a:lnTo>
                  <a:lnTo>
                    <a:pt x="434245" y="390620"/>
                  </a:lnTo>
                  <a:lnTo>
                    <a:pt x="431101" y="394621"/>
                  </a:lnTo>
                  <a:lnTo>
                    <a:pt x="438626" y="395478"/>
                  </a:lnTo>
                  <a:lnTo>
                    <a:pt x="442627" y="398526"/>
                  </a:lnTo>
                  <a:lnTo>
                    <a:pt x="441103" y="400621"/>
                  </a:lnTo>
                  <a:lnTo>
                    <a:pt x="432054" y="401764"/>
                  </a:lnTo>
                  <a:lnTo>
                    <a:pt x="422243" y="410337"/>
                  </a:lnTo>
                  <a:lnTo>
                    <a:pt x="420338" y="423291"/>
                  </a:lnTo>
                  <a:lnTo>
                    <a:pt x="415195" y="425767"/>
                  </a:lnTo>
                  <a:lnTo>
                    <a:pt x="412528" y="433388"/>
                  </a:lnTo>
                  <a:lnTo>
                    <a:pt x="414528" y="434912"/>
                  </a:lnTo>
                  <a:lnTo>
                    <a:pt x="419957" y="434150"/>
                  </a:lnTo>
                  <a:lnTo>
                    <a:pt x="422434" y="439293"/>
                  </a:lnTo>
                  <a:lnTo>
                    <a:pt x="428815" y="445675"/>
                  </a:lnTo>
                  <a:lnTo>
                    <a:pt x="434149" y="445008"/>
                  </a:lnTo>
                  <a:lnTo>
                    <a:pt x="442055" y="449389"/>
                  </a:lnTo>
                  <a:lnTo>
                    <a:pt x="447865" y="452247"/>
                  </a:lnTo>
                  <a:lnTo>
                    <a:pt x="439864" y="460534"/>
                  </a:lnTo>
                  <a:lnTo>
                    <a:pt x="427101" y="460438"/>
                  </a:lnTo>
                  <a:lnTo>
                    <a:pt x="415195" y="467487"/>
                  </a:lnTo>
                  <a:lnTo>
                    <a:pt x="414147" y="473012"/>
                  </a:lnTo>
                  <a:lnTo>
                    <a:pt x="410528" y="473488"/>
                  </a:lnTo>
                  <a:lnTo>
                    <a:pt x="405765" y="465106"/>
                  </a:lnTo>
                  <a:lnTo>
                    <a:pt x="395002" y="466534"/>
                  </a:lnTo>
                  <a:lnTo>
                    <a:pt x="390906" y="463391"/>
                  </a:lnTo>
                  <a:lnTo>
                    <a:pt x="385286" y="462343"/>
                  </a:lnTo>
                  <a:lnTo>
                    <a:pt x="383953" y="466154"/>
                  </a:lnTo>
                  <a:lnTo>
                    <a:pt x="386429" y="471297"/>
                  </a:lnTo>
                  <a:lnTo>
                    <a:pt x="385096" y="475107"/>
                  </a:lnTo>
                  <a:lnTo>
                    <a:pt x="367474" y="493776"/>
                  </a:lnTo>
                  <a:lnTo>
                    <a:pt x="361855" y="492633"/>
                  </a:lnTo>
                  <a:lnTo>
                    <a:pt x="351187" y="481298"/>
                  </a:lnTo>
                  <a:lnTo>
                    <a:pt x="345186" y="476726"/>
                  </a:lnTo>
                  <a:lnTo>
                    <a:pt x="339757" y="477393"/>
                  </a:lnTo>
                  <a:lnTo>
                    <a:pt x="338804" y="470345"/>
                  </a:lnTo>
                  <a:lnTo>
                    <a:pt x="329851" y="471488"/>
                  </a:lnTo>
                  <a:lnTo>
                    <a:pt x="325088" y="463105"/>
                  </a:lnTo>
                  <a:lnTo>
                    <a:pt x="326422" y="459296"/>
                  </a:lnTo>
                  <a:lnTo>
                    <a:pt x="318230" y="453104"/>
                  </a:lnTo>
                  <a:lnTo>
                    <a:pt x="315754" y="447961"/>
                  </a:lnTo>
                  <a:lnTo>
                    <a:pt x="309943" y="445103"/>
                  </a:lnTo>
                  <a:lnTo>
                    <a:pt x="307372" y="440055"/>
                  </a:lnTo>
                  <a:lnTo>
                    <a:pt x="294989" y="443484"/>
                  </a:lnTo>
                  <a:lnTo>
                    <a:pt x="292608" y="438341"/>
                  </a:lnTo>
                  <a:lnTo>
                    <a:pt x="288703" y="437102"/>
                  </a:lnTo>
                  <a:lnTo>
                    <a:pt x="287655" y="442627"/>
                  </a:lnTo>
                  <a:lnTo>
                    <a:pt x="279368" y="449199"/>
                  </a:lnTo>
                  <a:lnTo>
                    <a:pt x="277368" y="447580"/>
                  </a:lnTo>
                  <a:lnTo>
                    <a:pt x="292513" y="465582"/>
                  </a:lnTo>
                  <a:lnTo>
                    <a:pt x="288036" y="473392"/>
                  </a:lnTo>
                  <a:lnTo>
                    <a:pt x="277273" y="474821"/>
                  </a:lnTo>
                  <a:lnTo>
                    <a:pt x="271367" y="471964"/>
                  </a:lnTo>
                  <a:lnTo>
                    <a:pt x="268700" y="465106"/>
                  </a:lnTo>
                  <a:lnTo>
                    <a:pt x="272605" y="453676"/>
                  </a:lnTo>
                  <a:lnTo>
                    <a:pt x="262509" y="445960"/>
                  </a:lnTo>
                  <a:lnTo>
                    <a:pt x="264700" y="434816"/>
                  </a:lnTo>
                  <a:lnTo>
                    <a:pt x="261461" y="424339"/>
                  </a:lnTo>
                  <a:lnTo>
                    <a:pt x="256032" y="425101"/>
                  </a:lnTo>
                  <a:lnTo>
                    <a:pt x="257365" y="421291"/>
                  </a:lnTo>
                  <a:lnTo>
                    <a:pt x="253365" y="418147"/>
                  </a:lnTo>
                  <a:lnTo>
                    <a:pt x="249936" y="420434"/>
                  </a:lnTo>
                  <a:lnTo>
                    <a:pt x="238125" y="427387"/>
                  </a:lnTo>
                  <a:lnTo>
                    <a:pt x="238601" y="431006"/>
                  </a:lnTo>
                  <a:lnTo>
                    <a:pt x="231172" y="430149"/>
                  </a:lnTo>
                  <a:lnTo>
                    <a:pt x="227743" y="432435"/>
                  </a:lnTo>
                  <a:lnTo>
                    <a:pt x="224409" y="434626"/>
                  </a:lnTo>
                  <a:lnTo>
                    <a:pt x="219075" y="435388"/>
                  </a:lnTo>
                  <a:lnTo>
                    <a:pt x="217456" y="437388"/>
                  </a:lnTo>
                  <a:lnTo>
                    <a:pt x="215932" y="439388"/>
                  </a:lnTo>
                  <a:lnTo>
                    <a:pt x="196215" y="442055"/>
                  </a:lnTo>
                  <a:lnTo>
                    <a:pt x="194120" y="440531"/>
                  </a:lnTo>
                  <a:lnTo>
                    <a:pt x="192596" y="442531"/>
                  </a:lnTo>
                  <a:lnTo>
                    <a:pt x="186690" y="439674"/>
                  </a:lnTo>
                  <a:lnTo>
                    <a:pt x="189643" y="433864"/>
                  </a:lnTo>
                  <a:lnTo>
                    <a:pt x="187833" y="434054"/>
                  </a:lnTo>
                  <a:lnTo>
                    <a:pt x="182404" y="434816"/>
                  </a:lnTo>
                  <a:lnTo>
                    <a:pt x="185928" y="419862"/>
                  </a:lnTo>
                  <a:lnTo>
                    <a:pt x="182308" y="420338"/>
                  </a:lnTo>
                  <a:lnTo>
                    <a:pt x="180022" y="417005"/>
                  </a:lnTo>
                  <a:lnTo>
                    <a:pt x="176498" y="417481"/>
                  </a:lnTo>
                  <a:lnTo>
                    <a:pt x="173926" y="412337"/>
                  </a:lnTo>
                  <a:lnTo>
                    <a:pt x="168307" y="411289"/>
                  </a:lnTo>
                  <a:lnTo>
                    <a:pt x="162211" y="406622"/>
                  </a:lnTo>
                  <a:lnTo>
                    <a:pt x="163544" y="402812"/>
                  </a:lnTo>
                  <a:lnTo>
                    <a:pt x="168688" y="400336"/>
                  </a:lnTo>
                  <a:lnTo>
                    <a:pt x="169069" y="389382"/>
                  </a:lnTo>
                  <a:lnTo>
                    <a:pt x="172498" y="387191"/>
                  </a:lnTo>
                  <a:lnTo>
                    <a:pt x="169736" y="380238"/>
                  </a:lnTo>
                  <a:lnTo>
                    <a:pt x="156400" y="376618"/>
                  </a:lnTo>
                  <a:lnTo>
                    <a:pt x="154400" y="374999"/>
                  </a:lnTo>
                  <a:lnTo>
                    <a:pt x="159067" y="368998"/>
                  </a:lnTo>
                  <a:lnTo>
                    <a:pt x="158591" y="365474"/>
                  </a:lnTo>
                  <a:lnTo>
                    <a:pt x="159734" y="359855"/>
                  </a:lnTo>
                  <a:lnTo>
                    <a:pt x="159448" y="358045"/>
                  </a:lnTo>
                  <a:lnTo>
                    <a:pt x="152019" y="357188"/>
                  </a:lnTo>
                  <a:lnTo>
                    <a:pt x="144494" y="369094"/>
                  </a:lnTo>
                  <a:lnTo>
                    <a:pt x="141732" y="362236"/>
                  </a:lnTo>
                  <a:lnTo>
                    <a:pt x="137731" y="359092"/>
                  </a:lnTo>
                  <a:lnTo>
                    <a:pt x="133159" y="352520"/>
                  </a:lnTo>
                  <a:lnTo>
                    <a:pt x="124396" y="355473"/>
                  </a:lnTo>
                  <a:lnTo>
                    <a:pt x="120587" y="354139"/>
                  </a:lnTo>
                  <a:lnTo>
                    <a:pt x="114490" y="349472"/>
                  </a:lnTo>
                  <a:lnTo>
                    <a:pt x="107728" y="354044"/>
                  </a:lnTo>
                  <a:lnTo>
                    <a:pt x="103251" y="347377"/>
                  </a:lnTo>
                  <a:lnTo>
                    <a:pt x="106108" y="341567"/>
                  </a:lnTo>
                  <a:lnTo>
                    <a:pt x="112586" y="335280"/>
                  </a:lnTo>
                  <a:lnTo>
                    <a:pt x="112109" y="331660"/>
                  </a:lnTo>
                  <a:lnTo>
                    <a:pt x="98870" y="328041"/>
                  </a:lnTo>
                  <a:lnTo>
                    <a:pt x="98774" y="313563"/>
                  </a:lnTo>
                  <a:lnTo>
                    <a:pt x="96488" y="310229"/>
                  </a:lnTo>
                  <a:lnTo>
                    <a:pt x="93154" y="312420"/>
                  </a:lnTo>
                  <a:lnTo>
                    <a:pt x="97250" y="315563"/>
                  </a:lnTo>
                  <a:lnTo>
                    <a:pt x="92297" y="319850"/>
                  </a:lnTo>
                  <a:lnTo>
                    <a:pt x="91154" y="325374"/>
                  </a:lnTo>
                  <a:lnTo>
                    <a:pt x="87630" y="325850"/>
                  </a:lnTo>
                  <a:lnTo>
                    <a:pt x="86868" y="320516"/>
                  </a:lnTo>
                  <a:lnTo>
                    <a:pt x="83534" y="322802"/>
                  </a:lnTo>
                  <a:lnTo>
                    <a:pt x="82677" y="330137"/>
                  </a:lnTo>
                  <a:lnTo>
                    <a:pt x="80867" y="330422"/>
                  </a:lnTo>
                  <a:lnTo>
                    <a:pt x="80391" y="326803"/>
                  </a:lnTo>
                  <a:lnTo>
                    <a:pt x="81534" y="321278"/>
                  </a:lnTo>
                  <a:lnTo>
                    <a:pt x="80772" y="315944"/>
                  </a:lnTo>
                  <a:lnTo>
                    <a:pt x="76962" y="314611"/>
                  </a:lnTo>
                  <a:lnTo>
                    <a:pt x="73342" y="315087"/>
                  </a:lnTo>
                  <a:lnTo>
                    <a:pt x="72962" y="325946"/>
                  </a:lnTo>
                  <a:lnTo>
                    <a:pt x="69151" y="324707"/>
                  </a:lnTo>
                  <a:lnTo>
                    <a:pt x="68675" y="321088"/>
                  </a:lnTo>
                  <a:lnTo>
                    <a:pt x="65341" y="323374"/>
                  </a:lnTo>
                  <a:lnTo>
                    <a:pt x="71628" y="329755"/>
                  </a:lnTo>
                  <a:lnTo>
                    <a:pt x="70580" y="335375"/>
                  </a:lnTo>
                  <a:lnTo>
                    <a:pt x="70771" y="337185"/>
                  </a:lnTo>
                  <a:lnTo>
                    <a:pt x="66484" y="332327"/>
                  </a:lnTo>
                  <a:lnTo>
                    <a:pt x="60007" y="338614"/>
                  </a:lnTo>
                  <a:lnTo>
                    <a:pt x="67723" y="341185"/>
                  </a:lnTo>
                  <a:lnTo>
                    <a:pt x="68104" y="344805"/>
                  </a:lnTo>
                  <a:lnTo>
                    <a:pt x="68389" y="346520"/>
                  </a:lnTo>
                  <a:lnTo>
                    <a:pt x="61246" y="347472"/>
                  </a:lnTo>
                  <a:lnTo>
                    <a:pt x="62389" y="356425"/>
                  </a:lnTo>
                  <a:lnTo>
                    <a:pt x="56959" y="357092"/>
                  </a:lnTo>
                  <a:lnTo>
                    <a:pt x="42577" y="344519"/>
                  </a:lnTo>
                  <a:lnTo>
                    <a:pt x="33052" y="342138"/>
                  </a:lnTo>
                  <a:lnTo>
                    <a:pt x="30385" y="335280"/>
                  </a:lnTo>
                  <a:lnTo>
                    <a:pt x="24670" y="334137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3" name="Volný tvar: obrazec 52">
              <a:extLst>
                <a:ext uri="{FF2B5EF4-FFF2-40B4-BE49-F238E27FC236}">
                  <a16:creationId xmlns:a16="http://schemas.microsoft.com/office/drawing/2014/main" id="{3CE92453-506E-3C90-DC94-A0E49720DB76}"/>
                </a:ext>
              </a:extLst>
            </p:cNvPr>
            <p:cNvSpPr/>
            <p:nvPr userDrawn="1"/>
          </p:nvSpPr>
          <p:spPr>
            <a:xfrm>
              <a:off x="7251715" y="3812571"/>
              <a:ext cx="397192" cy="628840"/>
            </a:xfrm>
            <a:custGeom>
              <a:avLst/>
              <a:gdLst>
                <a:gd name="connsiteX0" fmla="*/ 326327 w 397192"/>
                <a:gd name="connsiteY0" fmla="*/ 557784 h 628840"/>
                <a:gd name="connsiteX1" fmla="*/ 313563 w 397192"/>
                <a:gd name="connsiteY1" fmla="*/ 572167 h 628840"/>
                <a:gd name="connsiteX2" fmla="*/ 309944 w 397192"/>
                <a:gd name="connsiteY2" fmla="*/ 572738 h 628840"/>
                <a:gd name="connsiteX3" fmla="*/ 299561 w 397192"/>
                <a:gd name="connsiteY3" fmla="*/ 563213 h 628840"/>
                <a:gd name="connsiteX4" fmla="*/ 294227 w 397192"/>
                <a:gd name="connsiteY4" fmla="*/ 563880 h 628840"/>
                <a:gd name="connsiteX5" fmla="*/ 293751 w 397192"/>
                <a:gd name="connsiteY5" fmla="*/ 560261 h 628840"/>
                <a:gd name="connsiteX6" fmla="*/ 289655 w 397192"/>
                <a:gd name="connsiteY6" fmla="*/ 557213 h 628840"/>
                <a:gd name="connsiteX7" fmla="*/ 282797 w 397192"/>
                <a:gd name="connsiteY7" fmla="*/ 532733 h 628840"/>
                <a:gd name="connsiteX8" fmla="*/ 276511 w 397192"/>
                <a:gd name="connsiteY8" fmla="*/ 540830 h 628840"/>
                <a:gd name="connsiteX9" fmla="*/ 265557 w 397192"/>
                <a:gd name="connsiteY9" fmla="*/ 540448 h 628840"/>
                <a:gd name="connsiteX10" fmla="*/ 268129 w 397192"/>
                <a:gd name="connsiteY10" fmla="*/ 532829 h 628840"/>
                <a:gd name="connsiteX11" fmla="*/ 265652 w 397192"/>
                <a:gd name="connsiteY11" fmla="*/ 527780 h 628840"/>
                <a:gd name="connsiteX12" fmla="*/ 258889 w 397192"/>
                <a:gd name="connsiteY12" fmla="*/ 517779 h 628840"/>
                <a:gd name="connsiteX13" fmla="*/ 256604 w 397192"/>
                <a:gd name="connsiteY13" fmla="*/ 514445 h 628840"/>
                <a:gd name="connsiteX14" fmla="*/ 250698 w 397192"/>
                <a:gd name="connsiteY14" fmla="*/ 511588 h 628840"/>
                <a:gd name="connsiteX15" fmla="*/ 250031 w 397192"/>
                <a:gd name="connsiteY15" fmla="*/ 506254 h 628840"/>
                <a:gd name="connsiteX16" fmla="*/ 244412 w 397192"/>
                <a:gd name="connsiteY16" fmla="*/ 505206 h 628840"/>
                <a:gd name="connsiteX17" fmla="*/ 243078 w 397192"/>
                <a:gd name="connsiteY17" fmla="*/ 509016 h 628840"/>
                <a:gd name="connsiteX18" fmla="*/ 237935 w 397192"/>
                <a:gd name="connsiteY18" fmla="*/ 511493 h 628840"/>
                <a:gd name="connsiteX19" fmla="*/ 230600 w 397192"/>
                <a:gd name="connsiteY19" fmla="*/ 525113 h 628840"/>
                <a:gd name="connsiteX20" fmla="*/ 233553 w 397192"/>
                <a:gd name="connsiteY20" fmla="*/ 533781 h 628840"/>
                <a:gd name="connsiteX21" fmla="*/ 232696 w 397192"/>
                <a:gd name="connsiteY21" fmla="*/ 541211 h 628840"/>
                <a:gd name="connsiteX22" fmla="*/ 235458 w 397192"/>
                <a:gd name="connsiteY22" fmla="*/ 548069 h 628840"/>
                <a:gd name="connsiteX23" fmla="*/ 236029 w 397192"/>
                <a:gd name="connsiteY23" fmla="*/ 566166 h 628840"/>
                <a:gd name="connsiteX24" fmla="*/ 232220 w 397192"/>
                <a:gd name="connsiteY24" fmla="*/ 564832 h 628840"/>
                <a:gd name="connsiteX25" fmla="*/ 229076 w 397192"/>
                <a:gd name="connsiteY25" fmla="*/ 568833 h 628840"/>
                <a:gd name="connsiteX26" fmla="*/ 225266 w 397192"/>
                <a:gd name="connsiteY26" fmla="*/ 567595 h 628840"/>
                <a:gd name="connsiteX27" fmla="*/ 229457 w 397192"/>
                <a:gd name="connsiteY27" fmla="*/ 557974 h 628840"/>
                <a:gd name="connsiteX28" fmla="*/ 222980 w 397192"/>
                <a:gd name="connsiteY28" fmla="*/ 564261 h 628840"/>
                <a:gd name="connsiteX29" fmla="*/ 208121 w 397192"/>
                <a:gd name="connsiteY29" fmla="*/ 562547 h 628840"/>
                <a:gd name="connsiteX30" fmla="*/ 202025 w 397192"/>
                <a:gd name="connsiteY30" fmla="*/ 557974 h 628840"/>
                <a:gd name="connsiteX31" fmla="*/ 192214 w 397192"/>
                <a:gd name="connsiteY31" fmla="*/ 566452 h 628840"/>
                <a:gd name="connsiteX32" fmla="*/ 183166 w 397192"/>
                <a:gd name="connsiteY32" fmla="*/ 567690 h 628840"/>
                <a:gd name="connsiteX33" fmla="*/ 179832 w 397192"/>
                <a:gd name="connsiteY33" fmla="*/ 569976 h 628840"/>
                <a:gd name="connsiteX34" fmla="*/ 173736 w 397192"/>
                <a:gd name="connsiteY34" fmla="*/ 565309 h 628840"/>
                <a:gd name="connsiteX35" fmla="*/ 157829 w 397192"/>
                <a:gd name="connsiteY35" fmla="*/ 569214 h 628840"/>
                <a:gd name="connsiteX36" fmla="*/ 158115 w 397192"/>
                <a:gd name="connsiteY36" fmla="*/ 571024 h 628840"/>
                <a:gd name="connsiteX37" fmla="*/ 150495 w 397192"/>
                <a:gd name="connsiteY37" fmla="*/ 582930 h 628840"/>
                <a:gd name="connsiteX38" fmla="*/ 143351 w 397192"/>
                <a:gd name="connsiteY38" fmla="*/ 583882 h 628840"/>
                <a:gd name="connsiteX39" fmla="*/ 144018 w 397192"/>
                <a:gd name="connsiteY39" fmla="*/ 589216 h 628840"/>
                <a:gd name="connsiteX40" fmla="*/ 128778 w 397192"/>
                <a:gd name="connsiteY40" fmla="*/ 598456 h 628840"/>
                <a:gd name="connsiteX41" fmla="*/ 121348 w 397192"/>
                <a:gd name="connsiteY41" fmla="*/ 597598 h 628840"/>
                <a:gd name="connsiteX42" fmla="*/ 114681 w 397192"/>
                <a:gd name="connsiteY42" fmla="*/ 602171 h 628840"/>
                <a:gd name="connsiteX43" fmla="*/ 109728 w 397192"/>
                <a:gd name="connsiteY43" fmla="*/ 606362 h 628840"/>
                <a:gd name="connsiteX44" fmla="*/ 110490 w 397192"/>
                <a:gd name="connsiteY44" fmla="*/ 611791 h 628840"/>
                <a:gd name="connsiteX45" fmla="*/ 106871 w 397192"/>
                <a:gd name="connsiteY45" fmla="*/ 612267 h 628840"/>
                <a:gd name="connsiteX46" fmla="*/ 107061 w 397192"/>
                <a:gd name="connsiteY46" fmla="*/ 613981 h 628840"/>
                <a:gd name="connsiteX47" fmla="*/ 103251 w 397192"/>
                <a:gd name="connsiteY47" fmla="*/ 612743 h 628840"/>
                <a:gd name="connsiteX48" fmla="*/ 103537 w 397192"/>
                <a:gd name="connsiteY48" fmla="*/ 614458 h 628840"/>
                <a:gd name="connsiteX49" fmla="*/ 96107 w 397192"/>
                <a:gd name="connsiteY49" fmla="*/ 613696 h 628840"/>
                <a:gd name="connsiteX50" fmla="*/ 96584 w 397192"/>
                <a:gd name="connsiteY50" fmla="*/ 617220 h 628840"/>
                <a:gd name="connsiteX51" fmla="*/ 88963 w 397192"/>
                <a:gd name="connsiteY51" fmla="*/ 614648 h 628840"/>
                <a:gd name="connsiteX52" fmla="*/ 74200 w 397192"/>
                <a:gd name="connsiteY52" fmla="*/ 627412 h 628840"/>
                <a:gd name="connsiteX53" fmla="*/ 63341 w 397192"/>
                <a:gd name="connsiteY53" fmla="*/ 628840 h 628840"/>
                <a:gd name="connsiteX54" fmla="*/ 51435 w 397192"/>
                <a:gd name="connsiteY54" fmla="*/ 621411 h 628840"/>
                <a:gd name="connsiteX55" fmla="*/ 46863 w 397192"/>
                <a:gd name="connsiteY55" fmla="*/ 614744 h 628840"/>
                <a:gd name="connsiteX56" fmla="*/ 43625 w 397192"/>
                <a:gd name="connsiteY56" fmla="*/ 604266 h 628840"/>
                <a:gd name="connsiteX57" fmla="*/ 44101 w 397192"/>
                <a:gd name="connsiteY57" fmla="*/ 593312 h 628840"/>
                <a:gd name="connsiteX58" fmla="*/ 38576 w 397192"/>
                <a:gd name="connsiteY58" fmla="*/ 579596 h 628840"/>
                <a:gd name="connsiteX59" fmla="*/ 23241 w 397192"/>
                <a:gd name="connsiteY59" fmla="*/ 574357 h 628840"/>
                <a:gd name="connsiteX60" fmla="*/ 30099 w 397192"/>
                <a:gd name="connsiteY60" fmla="*/ 557117 h 628840"/>
                <a:gd name="connsiteX61" fmla="*/ 28099 w 397192"/>
                <a:gd name="connsiteY61" fmla="*/ 555593 h 628840"/>
                <a:gd name="connsiteX62" fmla="*/ 24479 w 397192"/>
                <a:gd name="connsiteY62" fmla="*/ 541591 h 628840"/>
                <a:gd name="connsiteX63" fmla="*/ 29337 w 397192"/>
                <a:gd name="connsiteY63" fmla="*/ 537305 h 628840"/>
                <a:gd name="connsiteX64" fmla="*/ 28861 w 397192"/>
                <a:gd name="connsiteY64" fmla="*/ 533686 h 628840"/>
                <a:gd name="connsiteX65" fmla="*/ 27051 w 397192"/>
                <a:gd name="connsiteY65" fmla="*/ 533972 h 628840"/>
                <a:gd name="connsiteX66" fmla="*/ 31718 w 397192"/>
                <a:gd name="connsiteY66" fmla="*/ 527876 h 628840"/>
                <a:gd name="connsiteX67" fmla="*/ 26384 w 397192"/>
                <a:gd name="connsiteY67" fmla="*/ 528638 h 628840"/>
                <a:gd name="connsiteX68" fmla="*/ 24289 w 397192"/>
                <a:gd name="connsiteY68" fmla="*/ 527113 h 628840"/>
                <a:gd name="connsiteX69" fmla="*/ 18288 w 397192"/>
                <a:gd name="connsiteY69" fmla="*/ 536924 h 628840"/>
                <a:gd name="connsiteX70" fmla="*/ 18764 w 397192"/>
                <a:gd name="connsiteY70" fmla="*/ 540448 h 628840"/>
                <a:gd name="connsiteX71" fmla="*/ 15240 w 397192"/>
                <a:gd name="connsiteY71" fmla="*/ 541020 h 628840"/>
                <a:gd name="connsiteX72" fmla="*/ 9525 w 397192"/>
                <a:gd name="connsiteY72" fmla="*/ 539877 h 628840"/>
                <a:gd name="connsiteX73" fmla="*/ 7048 w 397192"/>
                <a:gd name="connsiteY73" fmla="*/ 534734 h 628840"/>
                <a:gd name="connsiteX74" fmla="*/ 12192 w 397192"/>
                <a:gd name="connsiteY74" fmla="*/ 532257 h 628840"/>
                <a:gd name="connsiteX75" fmla="*/ 5905 w 397192"/>
                <a:gd name="connsiteY75" fmla="*/ 525875 h 628840"/>
                <a:gd name="connsiteX76" fmla="*/ 0 w 397192"/>
                <a:gd name="connsiteY76" fmla="*/ 523018 h 628840"/>
                <a:gd name="connsiteX77" fmla="*/ 1619 w 397192"/>
                <a:gd name="connsiteY77" fmla="*/ 521018 h 628840"/>
                <a:gd name="connsiteX78" fmla="*/ 17621 w 397192"/>
                <a:gd name="connsiteY78" fmla="*/ 504349 h 628840"/>
                <a:gd name="connsiteX79" fmla="*/ 25241 w 397192"/>
                <a:gd name="connsiteY79" fmla="*/ 492538 h 628840"/>
                <a:gd name="connsiteX80" fmla="*/ 28099 w 397192"/>
                <a:gd name="connsiteY80" fmla="*/ 486728 h 628840"/>
                <a:gd name="connsiteX81" fmla="*/ 29718 w 397192"/>
                <a:gd name="connsiteY81" fmla="*/ 484632 h 628840"/>
                <a:gd name="connsiteX82" fmla="*/ 43244 w 397192"/>
                <a:gd name="connsiteY82" fmla="*/ 462915 h 628840"/>
                <a:gd name="connsiteX83" fmla="*/ 42767 w 397192"/>
                <a:gd name="connsiteY83" fmla="*/ 459391 h 628840"/>
                <a:gd name="connsiteX84" fmla="*/ 34195 w 397192"/>
                <a:gd name="connsiteY84" fmla="*/ 449580 h 628840"/>
                <a:gd name="connsiteX85" fmla="*/ 33433 w 397192"/>
                <a:gd name="connsiteY85" fmla="*/ 444246 h 628840"/>
                <a:gd name="connsiteX86" fmla="*/ 30480 w 397192"/>
                <a:gd name="connsiteY86" fmla="*/ 435578 h 628840"/>
                <a:gd name="connsiteX87" fmla="*/ 34100 w 397192"/>
                <a:gd name="connsiteY87" fmla="*/ 435102 h 628840"/>
                <a:gd name="connsiteX88" fmla="*/ 33909 w 397192"/>
                <a:gd name="connsiteY88" fmla="*/ 433388 h 628840"/>
                <a:gd name="connsiteX89" fmla="*/ 35623 w 397192"/>
                <a:gd name="connsiteY89" fmla="*/ 433102 h 628840"/>
                <a:gd name="connsiteX90" fmla="*/ 34957 w 397192"/>
                <a:gd name="connsiteY90" fmla="*/ 427768 h 628840"/>
                <a:gd name="connsiteX91" fmla="*/ 43720 w 397192"/>
                <a:gd name="connsiteY91" fmla="*/ 424815 h 628840"/>
                <a:gd name="connsiteX92" fmla="*/ 46672 w 397192"/>
                <a:gd name="connsiteY92" fmla="*/ 433483 h 628840"/>
                <a:gd name="connsiteX93" fmla="*/ 55626 w 397192"/>
                <a:gd name="connsiteY93" fmla="*/ 432245 h 628840"/>
                <a:gd name="connsiteX94" fmla="*/ 59246 w 397192"/>
                <a:gd name="connsiteY94" fmla="*/ 431768 h 628840"/>
                <a:gd name="connsiteX95" fmla="*/ 69723 w 397192"/>
                <a:gd name="connsiteY95" fmla="*/ 428625 h 628840"/>
                <a:gd name="connsiteX96" fmla="*/ 69056 w 397192"/>
                <a:gd name="connsiteY96" fmla="*/ 423196 h 628840"/>
                <a:gd name="connsiteX97" fmla="*/ 70580 w 397192"/>
                <a:gd name="connsiteY97" fmla="*/ 421196 h 628840"/>
                <a:gd name="connsiteX98" fmla="*/ 74009 w 397192"/>
                <a:gd name="connsiteY98" fmla="*/ 419005 h 628840"/>
                <a:gd name="connsiteX99" fmla="*/ 75343 w 397192"/>
                <a:gd name="connsiteY99" fmla="*/ 415195 h 628840"/>
                <a:gd name="connsiteX100" fmla="*/ 82487 w 397192"/>
                <a:gd name="connsiteY100" fmla="*/ 414242 h 628840"/>
                <a:gd name="connsiteX101" fmla="*/ 81058 w 397192"/>
                <a:gd name="connsiteY101" fmla="*/ 403574 h 628840"/>
                <a:gd name="connsiteX102" fmla="*/ 73628 w 397192"/>
                <a:gd name="connsiteY102" fmla="*/ 388239 h 628840"/>
                <a:gd name="connsiteX103" fmla="*/ 67437 w 397192"/>
                <a:gd name="connsiteY103" fmla="*/ 383572 h 628840"/>
                <a:gd name="connsiteX104" fmla="*/ 73152 w 397192"/>
                <a:gd name="connsiteY104" fmla="*/ 384620 h 628840"/>
                <a:gd name="connsiteX105" fmla="*/ 70580 w 397192"/>
                <a:gd name="connsiteY105" fmla="*/ 379571 h 628840"/>
                <a:gd name="connsiteX106" fmla="*/ 80867 w 397192"/>
                <a:gd name="connsiteY106" fmla="*/ 374523 h 628840"/>
                <a:gd name="connsiteX107" fmla="*/ 74581 w 397192"/>
                <a:gd name="connsiteY107" fmla="*/ 368141 h 628840"/>
                <a:gd name="connsiteX108" fmla="*/ 73438 w 397192"/>
                <a:gd name="connsiteY108" fmla="*/ 359188 h 628840"/>
                <a:gd name="connsiteX109" fmla="*/ 72866 w 397192"/>
                <a:gd name="connsiteY109" fmla="*/ 355663 h 628840"/>
                <a:gd name="connsiteX110" fmla="*/ 69818 w 397192"/>
                <a:gd name="connsiteY110" fmla="*/ 359664 h 628840"/>
                <a:gd name="connsiteX111" fmla="*/ 59912 w 397192"/>
                <a:gd name="connsiteY111" fmla="*/ 353759 h 628840"/>
                <a:gd name="connsiteX112" fmla="*/ 53530 w 397192"/>
                <a:gd name="connsiteY112" fmla="*/ 347281 h 628840"/>
                <a:gd name="connsiteX113" fmla="*/ 52578 w 397192"/>
                <a:gd name="connsiteY113" fmla="*/ 340233 h 628840"/>
                <a:gd name="connsiteX114" fmla="*/ 51626 w 397192"/>
                <a:gd name="connsiteY114" fmla="*/ 333089 h 628840"/>
                <a:gd name="connsiteX115" fmla="*/ 46482 w 397192"/>
                <a:gd name="connsiteY115" fmla="*/ 335566 h 628840"/>
                <a:gd name="connsiteX116" fmla="*/ 44005 w 397192"/>
                <a:gd name="connsiteY116" fmla="*/ 330422 h 628840"/>
                <a:gd name="connsiteX117" fmla="*/ 41624 w 397192"/>
                <a:gd name="connsiteY117" fmla="*/ 312706 h 628840"/>
                <a:gd name="connsiteX118" fmla="*/ 55340 w 397192"/>
                <a:gd name="connsiteY118" fmla="*/ 305371 h 628840"/>
                <a:gd name="connsiteX119" fmla="*/ 62389 w 397192"/>
                <a:gd name="connsiteY119" fmla="*/ 289941 h 628840"/>
                <a:gd name="connsiteX120" fmla="*/ 50959 w 397192"/>
                <a:gd name="connsiteY120" fmla="*/ 286036 h 628840"/>
                <a:gd name="connsiteX121" fmla="*/ 63722 w 397192"/>
                <a:gd name="connsiteY121" fmla="*/ 286131 h 628840"/>
                <a:gd name="connsiteX122" fmla="*/ 71723 w 397192"/>
                <a:gd name="connsiteY122" fmla="*/ 277844 h 628840"/>
                <a:gd name="connsiteX123" fmla="*/ 65913 w 397192"/>
                <a:gd name="connsiteY123" fmla="*/ 274987 h 628840"/>
                <a:gd name="connsiteX124" fmla="*/ 58007 w 397192"/>
                <a:gd name="connsiteY124" fmla="*/ 270605 h 628840"/>
                <a:gd name="connsiteX125" fmla="*/ 52673 w 397192"/>
                <a:gd name="connsiteY125" fmla="*/ 271272 h 628840"/>
                <a:gd name="connsiteX126" fmla="*/ 46292 w 397192"/>
                <a:gd name="connsiteY126" fmla="*/ 264890 h 628840"/>
                <a:gd name="connsiteX127" fmla="*/ 43815 w 397192"/>
                <a:gd name="connsiteY127" fmla="*/ 259747 h 628840"/>
                <a:gd name="connsiteX128" fmla="*/ 38386 w 397192"/>
                <a:gd name="connsiteY128" fmla="*/ 260509 h 628840"/>
                <a:gd name="connsiteX129" fmla="*/ 36386 w 397192"/>
                <a:gd name="connsiteY129" fmla="*/ 258985 h 628840"/>
                <a:gd name="connsiteX130" fmla="*/ 39053 w 397192"/>
                <a:gd name="connsiteY130" fmla="*/ 251365 h 628840"/>
                <a:gd name="connsiteX131" fmla="*/ 44196 w 397192"/>
                <a:gd name="connsiteY131" fmla="*/ 248888 h 628840"/>
                <a:gd name="connsiteX132" fmla="*/ 46101 w 397192"/>
                <a:gd name="connsiteY132" fmla="*/ 235934 h 628840"/>
                <a:gd name="connsiteX133" fmla="*/ 55912 w 397192"/>
                <a:gd name="connsiteY133" fmla="*/ 227362 h 628840"/>
                <a:gd name="connsiteX134" fmla="*/ 64961 w 397192"/>
                <a:gd name="connsiteY134" fmla="*/ 226219 h 628840"/>
                <a:gd name="connsiteX135" fmla="*/ 66485 w 397192"/>
                <a:gd name="connsiteY135" fmla="*/ 224123 h 628840"/>
                <a:gd name="connsiteX136" fmla="*/ 62484 w 397192"/>
                <a:gd name="connsiteY136" fmla="*/ 221075 h 628840"/>
                <a:gd name="connsiteX137" fmla="*/ 54959 w 397192"/>
                <a:gd name="connsiteY137" fmla="*/ 220218 h 628840"/>
                <a:gd name="connsiteX138" fmla="*/ 58103 w 397192"/>
                <a:gd name="connsiteY138" fmla="*/ 216217 h 628840"/>
                <a:gd name="connsiteX139" fmla="*/ 54197 w 397192"/>
                <a:gd name="connsiteY139" fmla="*/ 200406 h 628840"/>
                <a:gd name="connsiteX140" fmla="*/ 49435 w 397192"/>
                <a:gd name="connsiteY140" fmla="*/ 191929 h 628840"/>
                <a:gd name="connsiteX141" fmla="*/ 45339 w 397192"/>
                <a:gd name="connsiteY141" fmla="*/ 188881 h 628840"/>
                <a:gd name="connsiteX142" fmla="*/ 40577 w 397192"/>
                <a:gd name="connsiteY142" fmla="*/ 180404 h 628840"/>
                <a:gd name="connsiteX143" fmla="*/ 42196 w 397192"/>
                <a:gd name="connsiteY143" fmla="*/ 178403 h 628840"/>
                <a:gd name="connsiteX144" fmla="*/ 43244 w 397192"/>
                <a:gd name="connsiteY144" fmla="*/ 172879 h 628840"/>
                <a:gd name="connsiteX145" fmla="*/ 51530 w 397192"/>
                <a:gd name="connsiteY145" fmla="*/ 166307 h 628840"/>
                <a:gd name="connsiteX146" fmla="*/ 59150 w 397192"/>
                <a:gd name="connsiteY146" fmla="*/ 168878 h 628840"/>
                <a:gd name="connsiteX147" fmla="*/ 63532 w 397192"/>
                <a:gd name="connsiteY147" fmla="*/ 173736 h 628840"/>
                <a:gd name="connsiteX148" fmla="*/ 75629 w 397192"/>
                <a:gd name="connsiteY148" fmla="*/ 183071 h 628840"/>
                <a:gd name="connsiteX149" fmla="*/ 80296 w 397192"/>
                <a:gd name="connsiteY149" fmla="*/ 176975 h 628840"/>
                <a:gd name="connsiteX150" fmla="*/ 77819 w 397192"/>
                <a:gd name="connsiteY150" fmla="*/ 171926 h 628840"/>
                <a:gd name="connsiteX151" fmla="*/ 79629 w 397192"/>
                <a:gd name="connsiteY151" fmla="*/ 171641 h 628840"/>
                <a:gd name="connsiteX152" fmla="*/ 81248 w 397192"/>
                <a:gd name="connsiteY152" fmla="*/ 169640 h 628840"/>
                <a:gd name="connsiteX153" fmla="*/ 82010 w 397192"/>
                <a:gd name="connsiteY153" fmla="*/ 162211 h 628840"/>
                <a:gd name="connsiteX154" fmla="*/ 83629 w 397192"/>
                <a:gd name="connsiteY154" fmla="*/ 160211 h 628840"/>
                <a:gd name="connsiteX155" fmla="*/ 84677 w 397192"/>
                <a:gd name="connsiteY155" fmla="*/ 154686 h 628840"/>
                <a:gd name="connsiteX156" fmla="*/ 92488 w 397192"/>
                <a:gd name="connsiteY156" fmla="*/ 144589 h 628840"/>
                <a:gd name="connsiteX157" fmla="*/ 98965 w 397192"/>
                <a:gd name="connsiteY157" fmla="*/ 138303 h 628840"/>
                <a:gd name="connsiteX158" fmla="*/ 104585 w 397192"/>
                <a:gd name="connsiteY158" fmla="*/ 139351 h 628840"/>
                <a:gd name="connsiteX159" fmla="*/ 109252 w 397192"/>
                <a:gd name="connsiteY159" fmla="*/ 133255 h 628840"/>
                <a:gd name="connsiteX160" fmla="*/ 113347 w 397192"/>
                <a:gd name="connsiteY160" fmla="*/ 136303 h 628840"/>
                <a:gd name="connsiteX161" fmla="*/ 108776 w 397192"/>
                <a:gd name="connsiteY161" fmla="*/ 129730 h 628840"/>
                <a:gd name="connsiteX162" fmla="*/ 111728 w 397192"/>
                <a:gd name="connsiteY162" fmla="*/ 123920 h 628840"/>
                <a:gd name="connsiteX163" fmla="*/ 109442 w 397192"/>
                <a:gd name="connsiteY163" fmla="*/ 120587 h 628840"/>
                <a:gd name="connsiteX164" fmla="*/ 110490 w 397192"/>
                <a:gd name="connsiteY164" fmla="*/ 114967 h 628840"/>
                <a:gd name="connsiteX165" fmla="*/ 110300 w 397192"/>
                <a:gd name="connsiteY165" fmla="*/ 113157 h 628840"/>
                <a:gd name="connsiteX166" fmla="*/ 115824 w 397192"/>
                <a:gd name="connsiteY166" fmla="*/ 99727 h 628840"/>
                <a:gd name="connsiteX167" fmla="*/ 120110 w 397192"/>
                <a:gd name="connsiteY167" fmla="*/ 104680 h 628840"/>
                <a:gd name="connsiteX168" fmla="*/ 125539 w 397192"/>
                <a:gd name="connsiteY168" fmla="*/ 103918 h 628840"/>
                <a:gd name="connsiteX169" fmla="*/ 129921 w 397192"/>
                <a:gd name="connsiteY169" fmla="*/ 96107 h 628840"/>
                <a:gd name="connsiteX170" fmla="*/ 121634 w 397192"/>
                <a:gd name="connsiteY170" fmla="*/ 88106 h 628840"/>
                <a:gd name="connsiteX171" fmla="*/ 122492 w 397192"/>
                <a:gd name="connsiteY171" fmla="*/ 80772 h 628840"/>
                <a:gd name="connsiteX172" fmla="*/ 122015 w 397192"/>
                <a:gd name="connsiteY172" fmla="*/ 77153 h 628840"/>
                <a:gd name="connsiteX173" fmla="*/ 110776 w 397192"/>
                <a:gd name="connsiteY173" fmla="*/ 75057 h 628840"/>
                <a:gd name="connsiteX174" fmla="*/ 108490 w 397192"/>
                <a:gd name="connsiteY174" fmla="*/ 71723 h 628840"/>
                <a:gd name="connsiteX175" fmla="*/ 109823 w 397192"/>
                <a:gd name="connsiteY175" fmla="*/ 67913 h 628840"/>
                <a:gd name="connsiteX176" fmla="*/ 114967 w 397192"/>
                <a:gd name="connsiteY176" fmla="*/ 65437 h 628840"/>
                <a:gd name="connsiteX177" fmla="*/ 112871 w 397192"/>
                <a:gd name="connsiteY177" fmla="*/ 63913 h 628840"/>
                <a:gd name="connsiteX178" fmla="*/ 116014 w 397192"/>
                <a:gd name="connsiteY178" fmla="*/ 59817 h 628840"/>
                <a:gd name="connsiteX179" fmla="*/ 112204 w 397192"/>
                <a:gd name="connsiteY179" fmla="*/ 58579 h 628840"/>
                <a:gd name="connsiteX180" fmla="*/ 111728 w 397192"/>
                <a:gd name="connsiteY180" fmla="*/ 54959 h 628840"/>
                <a:gd name="connsiteX181" fmla="*/ 106299 w 397192"/>
                <a:gd name="connsiteY181" fmla="*/ 55721 h 628840"/>
                <a:gd name="connsiteX182" fmla="*/ 104775 w 397192"/>
                <a:gd name="connsiteY182" fmla="*/ 57721 h 628840"/>
                <a:gd name="connsiteX183" fmla="*/ 104108 w 397192"/>
                <a:gd name="connsiteY183" fmla="*/ 52388 h 628840"/>
                <a:gd name="connsiteX184" fmla="*/ 100203 w 397192"/>
                <a:gd name="connsiteY184" fmla="*/ 51054 h 628840"/>
                <a:gd name="connsiteX185" fmla="*/ 97727 w 397192"/>
                <a:gd name="connsiteY185" fmla="*/ 46006 h 628840"/>
                <a:gd name="connsiteX186" fmla="*/ 93917 w 397192"/>
                <a:gd name="connsiteY186" fmla="*/ 44672 h 628840"/>
                <a:gd name="connsiteX187" fmla="*/ 95440 w 397192"/>
                <a:gd name="connsiteY187" fmla="*/ 42672 h 628840"/>
                <a:gd name="connsiteX188" fmla="*/ 91916 w 397192"/>
                <a:gd name="connsiteY188" fmla="*/ 43148 h 628840"/>
                <a:gd name="connsiteX189" fmla="*/ 86487 w 397192"/>
                <a:gd name="connsiteY189" fmla="*/ 43815 h 628840"/>
                <a:gd name="connsiteX190" fmla="*/ 86296 w 397192"/>
                <a:gd name="connsiteY190" fmla="*/ 42005 h 628840"/>
                <a:gd name="connsiteX191" fmla="*/ 88868 w 397192"/>
                <a:gd name="connsiteY191" fmla="*/ 34480 h 628840"/>
                <a:gd name="connsiteX192" fmla="*/ 82772 w 397192"/>
                <a:gd name="connsiteY192" fmla="*/ 29813 h 628840"/>
                <a:gd name="connsiteX193" fmla="*/ 77438 w 397192"/>
                <a:gd name="connsiteY193" fmla="*/ 30480 h 628840"/>
                <a:gd name="connsiteX194" fmla="*/ 80581 w 397192"/>
                <a:gd name="connsiteY194" fmla="*/ 26479 h 628840"/>
                <a:gd name="connsiteX195" fmla="*/ 86392 w 397192"/>
                <a:gd name="connsiteY195" fmla="*/ 29337 h 628840"/>
                <a:gd name="connsiteX196" fmla="*/ 91535 w 397192"/>
                <a:gd name="connsiteY196" fmla="*/ 26861 h 628840"/>
                <a:gd name="connsiteX197" fmla="*/ 92678 w 397192"/>
                <a:gd name="connsiteY197" fmla="*/ 21241 h 628840"/>
                <a:gd name="connsiteX198" fmla="*/ 96203 w 397192"/>
                <a:gd name="connsiteY198" fmla="*/ 20764 h 628840"/>
                <a:gd name="connsiteX199" fmla="*/ 96012 w 397192"/>
                <a:gd name="connsiteY199" fmla="*/ 18955 h 628840"/>
                <a:gd name="connsiteX200" fmla="*/ 90583 w 397192"/>
                <a:gd name="connsiteY200" fmla="*/ 19717 h 628840"/>
                <a:gd name="connsiteX201" fmla="*/ 90392 w 397192"/>
                <a:gd name="connsiteY201" fmla="*/ 17907 h 628840"/>
                <a:gd name="connsiteX202" fmla="*/ 93726 w 397192"/>
                <a:gd name="connsiteY202" fmla="*/ 15621 h 628840"/>
                <a:gd name="connsiteX203" fmla="*/ 100965 w 397192"/>
                <a:gd name="connsiteY203" fmla="*/ 14764 h 628840"/>
                <a:gd name="connsiteX204" fmla="*/ 119253 w 397192"/>
                <a:gd name="connsiteY204" fmla="*/ 1429 h 628840"/>
                <a:gd name="connsiteX205" fmla="*/ 123349 w 397192"/>
                <a:gd name="connsiteY205" fmla="*/ 4477 h 628840"/>
                <a:gd name="connsiteX206" fmla="*/ 128206 w 397192"/>
                <a:gd name="connsiteY206" fmla="*/ 191 h 628840"/>
                <a:gd name="connsiteX207" fmla="*/ 130016 w 397192"/>
                <a:gd name="connsiteY207" fmla="*/ 0 h 628840"/>
                <a:gd name="connsiteX208" fmla="*/ 142970 w 397192"/>
                <a:gd name="connsiteY208" fmla="*/ 14573 h 628840"/>
                <a:gd name="connsiteX209" fmla="*/ 149162 w 397192"/>
                <a:gd name="connsiteY209" fmla="*/ 6477 h 628840"/>
                <a:gd name="connsiteX210" fmla="*/ 151162 w 397192"/>
                <a:gd name="connsiteY210" fmla="*/ 8096 h 628840"/>
                <a:gd name="connsiteX211" fmla="*/ 153257 w 397192"/>
                <a:gd name="connsiteY211" fmla="*/ 9620 h 628840"/>
                <a:gd name="connsiteX212" fmla="*/ 156877 w 397192"/>
                <a:gd name="connsiteY212" fmla="*/ 9144 h 628840"/>
                <a:gd name="connsiteX213" fmla="*/ 155257 w 397192"/>
                <a:gd name="connsiteY213" fmla="*/ 11144 h 628840"/>
                <a:gd name="connsiteX214" fmla="*/ 156020 w 397192"/>
                <a:gd name="connsiteY214" fmla="*/ 16478 h 628840"/>
                <a:gd name="connsiteX215" fmla="*/ 165926 w 397192"/>
                <a:gd name="connsiteY215" fmla="*/ 22384 h 628840"/>
                <a:gd name="connsiteX216" fmla="*/ 166878 w 397192"/>
                <a:gd name="connsiteY216" fmla="*/ 29528 h 628840"/>
                <a:gd name="connsiteX217" fmla="*/ 167069 w 397192"/>
                <a:gd name="connsiteY217" fmla="*/ 31337 h 628840"/>
                <a:gd name="connsiteX218" fmla="*/ 160115 w 397192"/>
                <a:gd name="connsiteY218" fmla="*/ 34100 h 628840"/>
                <a:gd name="connsiteX219" fmla="*/ 162211 w 397192"/>
                <a:gd name="connsiteY219" fmla="*/ 35624 h 628840"/>
                <a:gd name="connsiteX220" fmla="*/ 167545 w 397192"/>
                <a:gd name="connsiteY220" fmla="*/ 34862 h 628840"/>
                <a:gd name="connsiteX221" fmla="*/ 166688 w 397192"/>
                <a:gd name="connsiteY221" fmla="*/ 42291 h 628840"/>
                <a:gd name="connsiteX222" fmla="*/ 181546 w 397192"/>
                <a:gd name="connsiteY222" fmla="*/ 43910 h 628840"/>
                <a:gd name="connsiteX223" fmla="*/ 183832 w 397192"/>
                <a:gd name="connsiteY223" fmla="*/ 47244 h 628840"/>
                <a:gd name="connsiteX224" fmla="*/ 182213 w 397192"/>
                <a:gd name="connsiteY224" fmla="*/ 49244 h 628840"/>
                <a:gd name="connsiteX225" fmla="*/ 176879 w 397192"/>
                <a:gd name="connsiteY225" fmla="*/ 50006 h 628840"/>
                <a:gd name="connsiteX226" fmla="*/ 177355 w 397192"/>
                <a:gd name="connsiteY226" fmla="*/ 53530 h 628840"/>
                <a:gd name="connsiteX227" fmla="*/ 178879 w 397192"/>
                <a:gd name="connsiteY227" fmla="*/ 51530 h 628840"/>
                <a:gd name="connsiteX228" fmla="*/ 183166 w 397192"/>
                <a:gd name="connsiteY228" fmla="*/ 56388 h 628840"/>
                <a:gd name="connsiteX229" fmla="*/ 186595 w 397192"/>
                <a:gd name="connsiteY229" fmla="*/ 54102 h 628840"/>
                <a:gd name="connsiteX230" fmla="*/ 189071 w 397192"/>
                <a:gd name="connsiteY230" fmla="*/ 59246 h 628840"/>
                <a:gd name="connsiteX231" fmla="*/ 192691 w 397192"/>
                <a:gd name="connsiteY231" fmla="*/ 58769 h 628840"/>
                <a:gd name="connsiteX232" fmla="*/ 193357 w 397192"/>
                <a:gd name="connsiteY232" fmla="*/ 64103 h 628840"/>
                <a:gd name="connsiteX233" fmla="*/ 193834 w 397192"/>
                <a:gd name="connsiteY233" fmla="*/ 67723 h 628840"/>
                <a:gd name="connsiteX234" fmla="*/ 190500 w 397192"/>
                <a:gd name="connsiteY234" fmla="*/ 69913 h 628840"/>
                <a:gd name="connsiteX235" fmla="*/ 190690 w 397192"/>
                <a:gd name="connsiteY235" fmla="*/ 71723 h 628840"/>
                <a:gd name="connsiteX236" fmla="*/ 197739 w 397192"/>
                <a:gd name="connsiteY236" fmla="*/ 83439 h 628840"/>
                <a:gd name="connsiteX237" fmla="*/ 198406 w 397192"/>
                <a:gd name="connsiteY237" fmla="*/ 88868 h 628840"/>
                <a:gd name="connsiteX238" fmla="*/ 197834 w 397192"/>
                <a:gd name="connsiteY238" fmla="*/ 98012 h 628840"/>
                <a:gd name="connsiteX239" fmla="*/ 195834 w 397192"/>
                <a:gd name="connsiteY239" fmla="*/ 96393 h 628840"/>
                <a:gd name="connsiteX240" fmla="*/ 192500 w 397192"/>
                <a:gd name="connsiteY240" fmla="*/ 98679 h 628840"/>
                <a:gd name="connsiteX241" fmla="*/ 202597 w 397192"/>
                <a:gd name="connsiteY241" fmla="*/ 106394 h 628840"/>
                <a:gd name="connsiteX242" fmla="*/ 208217 w 397192"/>
                <a:gd name="connsiteY242" fmla="*/ 107537 h 628840"/>
                <a:gd name="connsiteX243" fmla="*/ 213170 w 397192"/>
                <a:gd name="connsiteY243" fmla="*/ 103251 h 628840"/>
                <a:gd name="connsiteX244" fmla="*/ 215646 w 397192"/>
                <a:gd name="connsiteY244" fmla="*/ 108299 h 628840"/>
                <a:gd name="connsiteX245" fmla="*/ 219456 w 397192"/>
                <a:gd name="connsiteY245" fmla="*/ 109633 h 628840"/>
                <a:gd name="connsiteX246" fmla="*/ 219742 w 397192"/>
                <a:gd name="connsiteY246" fmla="*/ 111442 h 628840"/>
                <a:gd name="connsiteX247" fmla="*/ 218885 w 397192"/>
                <a:gd name="connsiteY247" fmla="*/ 118777 h 628840"/>
                <a:gd name="connsiteX248" fmla="*/ 220694 w 397192"/>
                <a:gd name="connsiteY248" fmla="*/ 118586 h 628840"/>
                <a:gd name="connsiteX249" fmla="*/ 219551 w 397192"/>
                <a:gd name="connsiteY249" fmla="*/ 124111 h 628840"/>
                <a:gd name="connsiteX250" fmla="*/ 217742 w 397192"/>
                <a:gd name="connsiteY250" fmla="*/ 124396 h 628840"/>
                <a:gd name="connsiteX251" fmla="*/ 218218 w 397192"/>
                <a:gd name="connsiteY251" fmla="*/ 127921 h 628840"/>
                <a:gd name="connsiteX252" fmla="*/ 229267 w 397192"/>
                <a:gd name="connsiteY252" fmla="*/ 128302 h 628840"/>
                <a:gd name="connsiteX253" fmla="*/ 226123 w 397192"/>
                <a:gd name="connsiteY253" fmla="*/ 132302 h 628840"/>
                <a:gd name="connsiteX254" fmla="*/ 228219 w 397192"/>
                <a:gd name="connsiteY254" fmla="*/ 133826 h 628840"/>
                <a:gd name="connsiteX255" fmla="*/ 232696 w 397192"/>
                <a:gd name="connsiteY255" fmla="*/ 140494 h 628840"/>
                <a:gd name="connsiteX256" fmla="*/ 236315 w 397192"/>
                <a:gd name="connsiteY256" fmla="*/ 140017 h 628840"/>
                <a:gd name="connsiteX257" fmla="*/ 234982 w 397192"/>
                <a:gd name="connsiteY257" fmla="*/ 143828 h 628840"/>
                <a:gd name="connsiteX258" fmla="*/ 235648 w 397192"/>
                <a:gd name="connsiteY258" fmla="*/ 149162 h 628840"/>
                <a:gd name="connsiteX259" fmla="*/ 237458 w 397192"/>
                <a:gd name="connsiteY259" fmla="*/ 148971 h 628840"/>
                <a:gd name="connsiteX260" fmla="*/ 237268 w 397192"/>
                <a:gd name="connsiteY260" fmla="*/ 147161 h 628840"/>
                <a:gd name="connsiteX261" fmla="*/ 240887 w 397192"/>
                <a:gd name="connsiteY261" fmla="*/ 146685 h 628840"/>
                <a:gd name="connsiteX262" fmla="*/ 246507 w 397192"/>
                <a:gd name="connsiteY262" fmla="*/ 147733 h 628840"/>
                <a:gd name="connsiteX263" fmla="*/ 246221 w 397192"/>
                <a:gd name="connsiteY263" fmla="*/ 146018 h 628840"/>
                <a:gd name="connsiteX264" fmla="*/ 248031 w 397192"/>
                <a:gd name="connsiteY264" fmla="*/ 145733 h 628840"/>
                <a:gd name="connsiteX265" fmla="*/ 249555 w 397192"/>
                <a:gd name="connsiteY265" fmla="*/ 143732 h 628840"/>
                <a:gd name="connsiteX266" fmla="*/ 247745 w 397192"/>
                <a:gd name="connsiteY266" fmla="*/ 143923 h 628840"/>
                <a:gd name="connsiteX267" fmla="*/ 249079 w 397192"/>
                <a:gd name="connsiteY267" fmla="*/ 140113 h 628840"/>
                <a:gd name="connsiteX268" fmla="*/ 247269 w 397192"/>
                <a:gd name="connsiteY268" fmla="*/ 140399 h 628840"/>
                <a:gd name="connsiteX269" fmla="*/ 246602 w 397192"/>
                <a:gd name="connsiteY269" fmla="*/ 135064 h 628840"/>
                <a:gd name="connsiteX270" fmla="*/ 242792 w 397192"/>
                <a:gd name="connsiteY270" fmla="*/ 133731 h 628840"/>
                <a:gd name="connsiteX271" fmla="*/ 248126 w 397192"/>
                <a:gd name="connsiteY271" fmla="*/ 133064 h 628840"/>
                <a:gd name="connsiteX272" fmla="*/ 247650 w 397192"/>
                <a:gd name="connsiteY272" fmla="*/ 129445 h 628840"/>
                <a:gd name="connsiteX273" fmla="*/ 250793 w 397192"/>
                <a:gd name="connsiteY273" fmla="*/ 125444 h 628840"/>
                <a:gd name="connsiteX274" fmla="*/ 248317 w 397192"/>
                <a:gd name="connsiteY274" fmla="*/ 120301 h 628840"/>
                <a:gd name="connsiteX275" fmla="*/ 250127 w 397192"/>
                <a:gd name="connsiteY275" fmla="*/ 120110 h 628840"/>
                <a:gd name="connsiteX276" fmla="*/ 254127 w 397192"/>
                <a:gd name="connsiteY276" fmla="*/ 123158 h 628840"/>
                <a:gd name="connsiteX277" fmla="*/ 255079 w 397192"/>
                <a:gd name="connsiteY277" fmla="*/ 130302 h 628840"/>
                <a:gd name="connsiteX278" fmla="*/ 261461 w 397192"/>
                <a:gd name="connsiteY278" fmla="*/ 136684 h 628840"/>
                <a:gd name="connsiteX279" fmla="*/ 262414 w 397192"/>
                <a:gd name="connsiteY279" fmla="*/ 143828 h 628840"/>
                <a:gd name="connsiteX280" fmla="*/ 257746 w 397192"/>
                <a:gd name="connsiteY280" fmla="*/ 149924 h 628840"/>
                <a:gd name="connsiteX281" fmla="*/ 256889 w 397192"/>
                <a:gd name="connsiteY281" fmla="*/ 157258 h 628840"/>
                <a:gd name="connsiteX282" fmla="*/ 259175 w 397192"/>
                <a:gd name="connsiteY282" fmla="*/ 160592 h 628840"/>
                <a:gd name="connsiteX283" fmla="*/ 253937 w 397192"/>
                <a:gd name="connsiteY283" fmla="*/ 163068 h 628840"/>
                <a:gd name="connsiteX284" fmla="*/ 248221 w 397192"/>
                <a:gd name="connsiteY284" fmla="*/ 174688 h 628840"/>
                <a:gd name="connsiteX285" fmla="*/ 250507 w 397192"/>
                <a:gd name="connsiteY285" fmla="*/ 178022 h 628840"/>
                <a:gd name="connsiteX286" fmla="*/ 250507 w 397192"/>
                <a:gd name="connsiteY286" fmla="*/ 178022 h 628840"/>
                <a:gd name="connsiteX287" fmla="*/ 254508 w 397192"/>
                <a:gd name="connsiteY287" fmla="*/ 181166 h 628840"/>
                <a:gd name="connsiteX288" fmla="*/ 251460 w 397192"/>
                <a:gd name="connsiteY288" fmla="*/ 185166 h 628840"/>
                <a:gd name="connsiteX289" fmla="*/ 244697 w 397192"/>
                <a:gd name="connsiteY289" fmla="*/ 189738 h 628840"/>
                <a:gd name="connsiteX290" fmla="*/ 250793 w 397192"/>
                <a:gd name="connsiteY290" fmla="*/ 194310 h 628840"/>
                <a:gd name="connsiteX291" fmla="*/ 254413 w 397192"/>
                <a:gd name="connsiteY291" fmla="*/ 193834 h 628840"/>
                <a:gd name="connsiteX292" fmla="*/ 263843 w 397192"/>
                <a:gd name="connsiteY292" fmla="*/ 196215 h 628840"/>
                <a:gd name="connsiteX293" fmla="*/ 264033 w 397192"/>
                <a:gd name="connsiteY293" fmla="*/ 198025 h 628840"/>
                <a:gd name="connsiteX294" fmla="*/ 264795 w 397192"/>
                <a:gd name="connsiteY294" fmla="*/ 203359 h 628840"/>
                <a:gd name="connsiteX295" fmla="*/ 274225 w 397192"/>
                <a:gd name="connsiteY295" fmla="*/ 205740 h 628840"/>
                <a:gd name="connsiteX296" fmla="*/ 274511 w 397192"/>
                <a:gd name="connsiteY296" fmla="*/ 207550 h 628840"/>
                <a:gd name="connsiteX297" fmla="*/ 276225 w 397192"/>
                <a:gd name="connsiteY297" fmla="*/ 207264 h 628840"/>
                <a:gd name="connsiteX298" fmla="*/ 279845 w 397192"/>
                <a:gd name="connsiteY298" fmla="*/ 206788 h 628840"/>
                <a:gd name="connsiteX299" fmla="*/ 291560 w 397192"/>
                <a:gd name="connsiteY299" fmla="*/ 212503 h 628840"/>
                <a:gd name="connsiteX300" fmla="*/ 294894 w 397192"/>
                <a:gd name="connsiteY300" fmla="*/ 210217 h 628840"/>
                <a:gd name="connsiteX301" fmla="*/ 296704 w 397192"/>
                <a:gd name="connsiteY301" fmla="*/ 210026 h 628840"/>
                <a:gd name="connsiteX302" fmla="*/ 308420 w 397192"/>
                <a:gd name="connsiteY302" fmla="*/ 215741 h 628840"/>
                <a:gd name="connsiteX303" fmla="*/ 313849 w 397192"/>
                <a:gd name="connsiteY303" fmla="*/ 214979 h 628840"/>
                <a:gd name="connsiteX304" fmla="*/ 314039 w 397192"/>
                <a:gd name="connsiteY304" fmla="*/ 216789 h 628840"/>
                <a:gd name="connsiteX305" fmla="*/ 318421 w 397192"/>
                <a:gd name="connsiteY305" fmla="*/ 221647 h 628840"/>
                <a:gd name="connsiteX306" fmla="*/ 325374 w 397192"/>
                <a:gd name="connsiteY306" fmla="*/ 233458 h 628840"/>
                <a:gd name="connsiteX307" fmla="*/ 334137 w 397192"/>
                <a:gd name="connsiteY307" fmla="*/ 230410 h 628840"/>
                <a:gd name="connsiteX308" fmla="*/ 336899 w 397192"/>
                <a:gd name="connsiteY308" fmla="*/ 237363 h 628840"/>
                <a:gd name="connsiteX309" fmla="*/ 335566 w 397192"/>
                <a:gd name="connsiteY309" fmla="*/ 241173 h 628840"/>
                <a:gd name="connsiteX310" fmla="*/ 335852 w 397192"/>
                <a:gd name="connsiteY310" fmla="*/ 242888 h 628840"/>
                <a:gd name="connsiteX311" fmla="*/ 332422 w 397192"/>
                <a:gd name="connsiteY311" fmla="*/ 245174 h 628840"/>
                <a:gd name="connsiteX312" fmla="*/ 337185 w 397192"/>
                <a:gd name="connsiteY312" fmla="*/ 253555 h 628840"/>
                <a:gd name="connsiteX313" fmla="*/ 340233 w 397192"/>
                <a:gd name="connsiteY313" fmla="*/ 262223 h 628840"/>
                <a:gd name="connsiteX314" fmla="*/ 339376 w 397192"/>
                <a:gd name="connsiteY314" fmla="*/ 269653 h 628840"/>
                <a:gd name="connsiteX315" fmla="*/ 341852 w 397192"/>
                <a:gd name="connsiteY315" fmla="*/ 274701 h 628840"/>
                <a:gd name="connsiteX316" fmla="*/ 343376 w 397192"/>
                <a:gd name="connsiteY316" fmla="*/ 272701 h 628840"/>
                <a:gd name="connsiteX317" fmla="*/ 345472 w 397192"/>
                <a:gd name="connsiteY317" fmla="*/ 274225 h 628840"/>
                <a:gd name="connsiteX318" fmla="*/ 347948 w 397192"/>
                <a:gd name="connsiteY318" fmla="*/ 279368 h 628840"/>
                <a:gd name="connsiteX319" fmla="*/ 351377 w 397192"/>
                <a:gd name="connsiteY319" fmla="*/ 291655 h 628840"/>
                <a:gd name="connsiteX320" fmla="*/ 355187 w 397192"/>
                <a:gd name="connsiteY320" fmla="*/ 292894 h 628840"/>
                <a:gd name="connsiteX321" fmla="*/ 352139 w 397192"/>
                <a:gd name="connsiteY321" fmla="*/ 296989 h 628840"/>
                <a:gd name="connsiteX322" fmla="*/ 356997 w 397192"/>
                <a:gd name="connsiteY322" fmla="*/ 292703 h 628840"/>
                <a:gd name="connsiteX323" fmla="*/ 357283 w 397192"/>
                <a:gd name="connsiteY323" fmla="*/ 294513 h 628840"/>
                <a:gd name="connsiteX324" fmla="*/ 357759 w 397192"/>
                <a:gd name="connsiteY324" fmla="*/ 298037 h 628840"/>
                <a:gd name="connsiteX325" fmla="*/ 356140 w 397192"/>
                <a:gd name="connsiteY325" fmla="*/ 300038 h 628840"/>
                <a:gd name="connsiteX326" fmla="*/ 349948 w 397192"/>
                <a:gd name="connsiteY326" fmla="*/ 308134 h 628840"/>
                <a:gd name="connsiteX327" fmla="*/ 350139 w 397192"/>
                <a:gd name="connsiteY327" fmla="*/ 309848 h 628840"/>
                <a:gd name="connsiteX328" fmla="*/ 348234 w 397192"/>
                <a:gd name="connsiteY328" fmla="*/ 322802 h 628840"/>
                <a:gd name="connsiteX329" fmla="*/ 341281 w 397192"/>
                <a:gd name="connsiteY329" fmla="*/ 325564 h 628840"/>
                <a:gd name="connsiteX330" fmla="*/ 338138 w 397192"/>
                <a:gd name="connsiteY330" fmla="*/ 329660 h 628840"/>
                <a:gd name="connsiteX331" fmla="*/ 331661 w 397192"/>
                <a:gd name="connsiteY331" fmla="*/ 335947 h 628840"/>
                <a:gd name="connsiteX332" fmla="*/ 330803 w 397192"/>
                <a:gd name="connsiteY332" fmla="*/ 343281 h 628840"/>
                <a:gd name="connsiteX333" fmla="*/ 336613 w 397192"/>
                <a:gd name="connsiteY333" fmla="*/ 346138 h 628840"/>
                <a:gd name="connsiteX334" fmla="*/ 337376 w 397192"/>
                <a:gd name="connsiteY334" fmla="*/ 351472 h 628840"/>
                <a:gd name="connsiteX335" fmla="*/ 345281 w 397192"/>
                <a:gd name="connsiteY335" fmla="*/ 355854 h 628840"/>
                <a:gd name="connsiteX336" fmla="*/ 346710 w 397192"/>
                <a:gd name="connsiteY336" fmla="*/ 366617 h 628840"/>
                <a:gd name="connsiteX337" fmla="*/ 338042 w 397192"/>
                <a:gd name="connsiteY337" fmla="*/ 384048 h 628840"/>
                <a:gd name="connsiteX338" fmla="*/ 343853 w 397192"/>
                <a:gd name="connsiteY338" fmla="*/ 386905 h 628840"/>
                <a:gd name="connsiteX339" fmla="*/ 350425 w 397192"/>
                <a:gd name="connsiteY339" fmla="*/ 395097 h 628840"/>
                <a:gd name="connsiteX340" fmla="*/ 352330 w 397192"/>
                <a:gd name="connsiteY340" fmla="*/ 409289 h 628840"/>
                <a:gd name="connsiteX341" fmla="*/ 356140 w 397192"/>
                <a:gd name="connsiteY341" fmla="*/ 410623 h 628840"/>
                <a:gd name="connsiteX342" fmla="*/ 360236 w 397192"/>
                <a:gd name="connsiteY342" fmla="*/ 413766 h 628840"/>
                <a:gd name="connsiteX343" fmla="*/ 362045 w 397192"/>
                <a:gd name="connsiteY343" fmla="*/ 413480 h 628840"/>
                <a:gd name="connsiteX344" fmla="*/ 362521 w 397192"/>
                <a:gd name="connsiteY344" fmla="*/ 417100 h 628840"/>
                <a:gd name="connsiteX345" fmla="*/ 356045 w 397192"/>
                <a:gd name="connsiteY345" fmla="*/ 423291 h 628840"/>
                <a:gd name="connsiteX346" fmla="*/ 354235 w 397192"/>
                <a:gd name="connsiteY346" fmla="*/ 423577 h 628840"/>
                <a:gd name="connsiteX347" fmla="*/ 355187 w 397192"/>
                <a:gd name="connsiteY347" fmla="*/ 430721 h 628840"/>
                <a:gd name="connsiteX348" fmla="*/ 348710 w 397192"/>
                <a:gd name="connsiteY348" fmla="*/ 437007 h 628840"/>
                <a:gd name="connsiteX349" fmla="*/ 354806 w 397192"/>
                <a:gd name="connsiteY349" fmla="*/ 441674 h 628840"/>
                <a:gd name="connsiteX350" fmla="*/ 354044 w 397192"/>
                <a:gd name="connsiteY350" fmla="*/ 436245 h 628840"/>
                <a:gd name="connsiteX351" fmla="*/ 368427 w 397192"/>
                <a:gd name="connsiteY351" fmla="*/ 434340 h 628840"/>
                <a:gd name="connsiteX352" fmla="*/ 372237 w 397192"/>
                <a:gd name="connsiteY352" fmla="*/ 435673 h 628840"/>
                <a:gd name="connsiteX353" fmla="*/ 375856 w 397192"/>
                <a:gd name="connsiteY353" fmla="*/ 435197 h 628840"/>
                <a:gd name="connsiteX354" fmla="*/ 378143 w 397192"/>
                <a:gd name="connsiteY354" fmla="*/ 438531 h 628840"/>
                <a:gd name="connsiteX355" fmla="*/ 384810 w 397192"/>
                <a:gd name="connsiteY355" fmla="*/ 434054 h 628840"/>
                <a:gd name="connsiteX356" fmla="*/ 390906 w 397192"/>
                <a:gd name="connsiteY356" fmla="*/ 424148 h 628840"/>
                <a:gd name="connsiteX357" fmla="*/ 394430 w 397192"/>
                <a:gd name="connsiteY357" fmla="*/ 423672 h 628840"/>
                <a:gd name="connsiteX358" fmla="*/ 397193 w 397192"/>
                <a:gd name="connsiteY358" fmla="*/ 430625 h 628840"/>
                <a:gd name="connsiteX359" fmla="*/ 395288 w 397192"/>
                <a:gd name="connsiteY359" fmla="*/ 443484 h 628840"/>
                <a:gd name="connsiteX360" fmla="*/ 392144 w 397192"/>
                <a:gd name="connsiteY360" fmla="*/ 447580 h 628840"/>
                <a:gd name="connsiteX361" fmla="*/ 394430 w 397192"/>
                <a:gd name="connsiteY361" fmla="*/ 450913 h 628840"/>
                <a:gd name="connsiteX362" fmla="*/ 392621 w 397192"/>
                <a:gd name="connsiteY362" fmla="*/ 451104 h 628840"/>
                <a:gd name="connsiteX363" fmla="*/ 394906 w 397192"/>
                <a:gd name="connsiteY363" fmla="*/ 454438 h 628840"/>
                <a:gd name="connsiteX364" fmla="*/ 391573 w 397192"/>
                <a:gd name="connsiteY364" fmla="*/ 456724 h 628840"/>
                <a:gd name="connsiteX365" fmla="*/ 384524 w 397192"/>
                <a:gd name="connsiteY365" fmla="*/ 486632 h 628840"/>
                <a:gd name="connsiteX366" fmla="*/ 378619 w 397192"/>
                <a:gd name="connsiteY366" fmla="*/ 483775 h 628840"/>
                <a:gd name="connsiteX367" fmla="*/ 377285 w 397192"/>
                <a:gd name="connsiteY367" fmla="*/ 487585 h 628840"/>
                <a:gd name="connsiteX368" fmla="*/ 373475 w 397192"/>
                <a:gd name="connsiteY368" fmla="*/ 486251 h 628840"/>
                <a:gd name="connsiteX369" fmla="*/ 370142 w 397192"/>
                <a:gd name="connsiteY369" fmla="*/ 488537 h 628840"/>
                <a:gd name="connsiteX370" fmla="*/ 370808 w 397192"/>
                <a:gd name="connsiteY370" fmla="*/ 493871 h 628840"/>
                <a:gd name="connsiteX371" fmla="*/ 365474 w 397192"/>
                <a:gd name="connsiteY371" fmla="*/ 494633 h 628840"/>
                <a:gd name="connsiteX372" fmla="*/ 363188 w 397192"/>
                <a:gd name="connsiteY372" fmla="*/ 491299 h 628840"/>
                <a:gd name="connsiteX373" fmla="*/ 355759 w 397192"/>
                <a:gd name="connsiteY373" fmla="*/ 490442 h 628840"/>
                <a:gd name="connsiteX374" fmla="*/ 350901 w 397192"/>
                <a:gd name="connsiteY374" fmla="*/ 494729 h 628840"/>
                <a:gd name="connsiteX375" fmla="*/ 350520 w 397192"/>
                <a:gd name="connsiteY375" fmla="*/ 505682 h 628840"/>
                <a:gd name="connsiteX376" fmla="*/ 345377 w 397192"/>
                <a:gd name="connsiteY376" fmla="*/ 522637 h 628840"/>
                <a:gd name="connsiteX377" fmla="*/ 343567 w 397192"/>
                <a:gd name="connsiteY377" fmla="*/ 522922 h 628840"/>
                <a:gd name="connsiteX378" fmla="*/ 344996 w 397192"/>
                <a:gd name="connsiteY378" fmla="*/ 533590 h 628840"/>
                <a:gd name="connsiteX379" fmla="*/ 340138 w 397192"/>
                <a:gd name="connsiteY379" fmla="*/ 537877 h 628840"/>
                <a:gd name="connsiteX380" fmla="*/ 334232 w 397192"/>
                <a:gd name="connsiteY380" fmla="*/ 535019 h 628840"/>
                <a:gd name="connsiteX381" fmla="*/ 321469 w 397192"/>
                <a:gd name="connsiteY381" fmla="*/ 534924 h 628840"/>
                <a:gd name="connsiteX382" fmla="*/ 322231 w 397192"/>
                <a:gd name="connsiteY382" fmla="*/ 554736 h 628840"/>
                <a:gd name="connsiteX383" fmla="*/ 323755 w 397192"/>
                <a:gd name="connsiteY383" fmla="*/ 552736 h 628840"/>
                <a:gd name="connsiteX384" fmla="*/ 326327 w 397192"/>
                <a:gd name="connsiteY384" fmla="*/ 557784 h 628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</a:cxnLst>
              <a:rect l="l" t="t" r="r" b="b"/>
              <a:pathLst>
                <a:path w="397192" h="628840">
                  <a:moveTo>
                    <a:pt x="326327" y="557784"/>
                  </a:moveTo>
                  <a:lnTo>
                    <a:pt x="313563" y="572167"/>
                  </a:lnTo>
                  <a:lnTo>
                    <a:pt x="309944" y="572738"/>
                  </a:lnTo>
                  <a:lnTo>
                    <a:pt x="299561" y="563213"/>
                  </a:lnTo>
                  <a:lnTo>
                    <a:pt x="294227" y="563880"/>
                  </a:lnTo>
                  <a:lnTo>
                    <a:pt x="293751" y="560261"/>
                  </a:lnTo>
                  <a:lnTo>
                    <a:pt x="289655" y="557213"/>
                  </a:lnTo>
                  <a:lnTo>
                    <a:pt x="282797" y="532733"/>
                  </a:lnTo>
                  <a:lnTo>
                    <a:pt x="276511" y="540830"/>
                  </a:lnTo>
                  <a:lnTo>
                    <a:pt x="265557" y="540448"/>
                  </a:lnTo>
                  <a:lnTo>
                    <a:pt x="268129" y="532829"/>
                  </a:lnTo>
                  <a:lnTo>
                    <a:pt x="265652" y="527780"/>
                  </a:lnTo>
                  <a:lnTo>
                    <a:pt x="258889" y="517779"/>
                  </a:lnTo>
                  <a:lnTo>
                    <a:pt x="256604" y="514445"/>
                  </a:lnTo>
                  <a:lnTo>
                    <a:pt x="250698" y="511588"/>
                  </a:lnTo>
                  <a:lnTo>
                    <a:pt x="250031" y="506254"/>
                  </a:lnTo>
                  <a:lnTo>
                    <a:pt x="244412" y="505206"/>
                  </a:lnTo>
                  <a:lnTo>
                    <a:pt x="243078" y="509016"/>
                  </a:lnTo>
                  <a:lnTo>
                    <a:pt x="237935" y="511493"/>
                  </a:lnTo>
                  <a:lnTo>
                    <a:pt x="230600" y="525113"/>
                  </a:lnTo>
                  <a:lnTo>
                    <a:pt x="233553" y="533781"/>
                  </a:lnTo>
                  <a:lnTo>
                    <a:pt x="232696" y="541211"/>
                  </a:lnTo>
                  <a:lnTo>
                    <a:pt x="235458" y="548069"/>
                  </a:lnTo>
                  <a:lnTo>
                    <a:pt x="236029" y="566166"/>
                  </a:lnTo>
                  <a:lnTo>
                    <a:pt x="232220" y="564832"/>
                  </a:lnTo>
                  <a:lnTo>
                    <a:pt x="229076" y="568833"/>
                  </a:lnTo>
                  <a:lnTo>
                    <a:pt x="225266" y="567595"/>
                  </a:lnTo>
                  <a:lnTo>
                    <a:pt x="229457" y="557974"/>
                  </a:lnTo>
                  <a:lnTo>
                    <a:pt x="222980" y="564261"/>
                  </a:lnTo>
                  <a:lnTo>
                    <a:pt x="208121" y="562547"/>
                  </a:lnTo>
                  <a:lnTo>
                    <a:pt x="202025" y="557974"/>
                  </a:lnTo>
                  <a:lnTo>
                    <a:pt x="192214" y="566452"/>
                  </a:lnTo>
                  <a:lnTo>
                    <a:pt x="183166" y="567690"/>
                  </a:lnTo>
                  <a:lnTo>
                    <a:pt x="179832" y="569976"/>
                  </a:lnTo>
                  <a:lnTo>
                    <a:pt x="173736" y="565309"/>
                  </a:lnTo>
                  <a:lnTo>
                    <a:pt x="157829" y="569214"/>
                  </a:lnTo>
                  <a:lnTo>
                    <a:pt x="158115" y="571024"/>
                  </a:lnTo>
                  <a:lnTo>
                    <a:pt x="150495" y="582930"/>
                  </a:lnTo>
                  <a:lnTo>
                    <a:pt x="143351" y="583882"/>
                  </a:lnTo>
                  <a:lnTo>
                    <a:pt x="144018" y="589216"/>
                  </a:lnTo>
                  <a:lnTo>
                    <a:pt x="128778" y="598456"/>
                  </a:lnTo>
                  <a:lnTo>
                    <a:pt x="121348" y="597598"/>
                  </a:lnTo>
                  <a:lnTo>
                    <a:pt x="114681" y="602171"/>
                  </a:lnTo>
                  <a:lnTo>
                    <a:pt x="109728" y="606362"/>
                  </a:lnTo>
                  <a:lnTo>
                    <a:pt x="110490" y="611791"/>
                  </a:lnTo>
                  <a:lnTo>
                    <a:pt x="106871" y="612267"/>
                  </a:lnTo>
                  <a:lnTo>
                    <a:pt x="107061" y="613981"/>
                  </a:lnTo>
                  <a:lnTo>
                    <a:pt x="103251" y="612743"/>
                  </a:lnTo>
                  <a:lnTo>
                    <a:pt x="103537" y="614458"/>
                  </a:lnTo>
                  <a:lnTo>
                    <a:pt x="96107" y="613696"/>
                  </a:lnTo>
                  <a:lnTo>
                    <a:pt x="96584" y="617220"/>
                  </a:lnTo>
                  <a:lnTo>
                    <a:pt x="88963" y="614648"/>
                  </a:lnTo>
                  <a:lnTo>
                    <a:pt x="74200" y="627412"/>
                  </a:lnTo>
                  <a:lnTo>
                    <a:pt x="63341" y="628840"/>
                  </a:lnTo>
                  <a:lnTo>
                    <a:pt x="51435" y="621411"/>
                  </a:lnTo>
                  <a:lnTo>
                    <a:pt x="46863" y="614744"/>
                  </a:lnTo>
                  <a:lnTo>
                    <a:pt x="43625" y="604266"/>
                  </a:lnTo>
                  <a:lnTo>
                    <a:pt x="44101" y="593312"/>
                  </a:lnTo>
                  <a:lnTo>
                    <a:pt x="38576" y="579596"/>
                  </a:lnTo>
                  <a:lnTo>
                    <a:pt x="23241" y="574357"/>
                  </a:lnTo>
                  <a:lnTo>
                    <a:pt x="30099" y="557117"/>
                  </a:lnTo>
                  <a:lnTo>
                    <a:pt x="28099" y="555593"/>
                  </a:lnTo>
                  <a:lnTo>
                    <a:pt x="24479" y="541591"/>
                  </a:lnTo>
                  <a:lnTo>
                    <a:pt x="29337" y="537305"/>
                  </a:lnTo>
                  <a:lnTo>
                    <a:pt x="28861" y="533686"/>
                  </a:lnTo>
                  <a:lnTo>
                    <a:pt x="27051" y="533972"/>
                  </a:lnTo>
                  <a:lnTo>
                    <a:pt x="31718" y="527876"/>
                  </a:lnTo>
                  <a:lnTo>
                    <a:pt x="26384" y="528638"/>
                  </a:lnTo>
                  <a:lnTo>
                    <a:pt x="24289" y="527113"/>
                  </a:lnTo>
                  <a:lnTo>
                    <a:pt x="18288" y="536924"/>
                  </a:lnTo>
                  <a:lnTo>
                    <a:pt x="18764" y="540448"/>
                  </a:lnTo>
                  <a:lnTo>
                    <a:pt x="15240" y="541020"/>
                  </a:lnTo>
                  <a:lnTo>
                    <a:pt x="9525" y="539877"/>
                  </a:lnTo>
                  <a:lnTo>
                    <a:pt x="7048" y="534734"/>
                  </a:lnTo>
                  <a:lnTo>
                    <a:pt x="12192" y="532257"/>
                  </a:lnTo>
                  <a:lnTo>
                    <a:pt x="5905" y="525875"/>
                  </a:lnTo>
                  <a:lnTo>
                    <a:pt x="0" y="523018"/>
                  </a:lnTo>
                  <a:lnTo>
                    <a:pt x="1619" y="521018"/>
                  </a:lnTo>
                  <a:lnTo>
                    <a:pt x="17621" y="504349"/>
                  </a:lnTo>
                  <a:lnTo>
                    <a:pt x="25241" y="492538"/>
                  </a:lnTo>
                  <a:lnTo>
                    <a:pt x="28099" y="486728"/>
                  </a:lnTo>
                  <a:lnTo>
                    <a:pt x="29718" y="484632"/>
                  </a:lnTo>
                  <a:lnTo>
                    <a:pt x="43244" y="462915"/>
                  </a:lnTo>
                  <a:lnTo>
                    <a:pt x="42767" y="459391"/>
                  </a:lnTo>
                  <a:lnTo>
                    <a:pt x="34195" y="449580"/>
                  </a:lnTo>
                  <a:lnTo>
                    <a:pt x="33433" y="444246"/>
                  </a:lnTo>
                  <a:lnTo>
                    <a:pt x="30480" y="435578"/>
                  </a:lnTo>
                  <a:lnTo>
                    <a:pt x="34100" y="435102"/>
                  </a:lnTo>
                  <a:lnTo>
                    <a:pt x="33909" y="433388"/>
                  </a:lnTo>
                  <a:lnTo>
                    <a:pt x="35623" y="433102"/>
                  </a:lnTo>
                  <a:lnTo>
                    <a:pt x="34957" y="427768"/>
                  </a:lnTo>
                  <a:lnTo>
                    <a:pt x="43720" y="424815"/>
                  </a:lnTo>
                  <a:lnTo>
                    <a:pt x="46672" y="433483"/>
                  </a:lnTo>
                  <a:lnTo>
                    <a:pt x="55626" y="432245"/>
                  </a:lnTo>
                  <a:lnTo>
                    <a:pt x="59246" y="431768"/>
                  </a:lnTo>
                  <a:lnTo>
                    <a:pt x="69723" y="428625"/>
                  </a:lnTo>
                  <a:lnTo>
                    <a:pt x="69056" y="423196"/>
                  </a:lnTo>
                  <a:lnTo>
                    <a:pt x="70580" y="421196"/>
                  </a:lnTo>
                  <a:lnTo>
                    <a:pt x="74009" y="419005"/>
                  </a:lnTo>
                  <a:lnTo>
                    <a:pt x="75343" y="415195"/>
                  </a:lnTo>
                  <a:lnTo>
                    <a:pt x="82487" y="414242"/>
                  </a:lnTo>
                  <a:lnTo>
                    <a:pt x="81058" y="403574"/>
                  </a:lnTo>
                  <a:lnTo>
                    <a:pt x="73628" y="388239"/>
                  </a:lnTo>
                  <a:lnTo>
                    <a:pt x="67437" y="383572"/>
                  </a:lnTo>
                  <a:lnTo>
                    <a:pt x="73152" y="384620"/>
                  </a:lnTo>
                  <a:lnTo>
                    <a:pt x="70580" y="379571"/>
                  </a:lnTo>
                  <a:lnTo>
                    <a:pt x="80867" y="374523"/>
                  </a:lnTo>
                  <a:lnTo>
                    <a:pt x="74581" y="368141"/>
                  </a:lnTo>
                  <a:lnTo>
                    <a:pt x="73438" y="359188"/>
                  </a:lnTo>
                  <a:lnTo>
                    <a:pt x="72866" y="355663"/>
                  </a:lnTo>
                  <a:lnTo>
                    <a:pt x="69818" y="359664"/>
                  </a:lnTo>
                  <a:lnTo>
                    <a:pt x="59912" y="353759"/>
                  </a:lnTo>
                  <a:lnTo>
                    <a:pt x="53530" y="347281"/>
                  </a:lnTo>
                  <a:lnTo>
                    <a:pt x="52578" y="340233"/>
                  </a:lnTo>
                  <a:lnTo>
                    <a:pt x="51626" y="333089"/>
                  </a:lnTo>
                  <a:lnTo>
                    <a:pt x="46482" y="335566"/>
                  </a:lnTo>
                  <a:lnTo>
                    <a:pt x="44005" y="330422"/>
                  </a:lnTo>
                  <a:lnTo>
                    <a:pt x="41624" y="312706"/>
                  </a:lnTo>
                  <a:lnTo>
                    <a:pt x="55340" y="305371"/>
                  </a:lnTo>
                  <a:lnTo>
                    <a:pt x="62389" y="289941"/>
                  </a:lnTo>
                  <a:lnTo>
                    <a:pt x="50959" y="286036"/>
                  </a:lnTo>
                  <a:lnTo>
                    <a:pt x="63722" y="286131"/>
                  </a:lnTo>
                  <a:lnTo>
                    <a:pt x="71723" y="277844"/>
                  </a:lnTo>
                  <a:lnTo>
                    <a:pt x="65913" y="274987"/>
                  </a:lnTo>
                  <a:lnTo>
                    <a:pt x="58007" y="270605"/>
                  </a:lnTo>
                  <a:lnTo>
                    <a:pt x="52673" y="271272"/>
                  </a:lnTo>
                  <a:lnTo>
                    <a:pt x="46292" y="264890"/>
                  </a:lnTo>
                  <a:lnTo>
                    <a:pt x="43815" y="259747"/>
                  </a:lnTo>
                  <a:lnTo>
                    <a:pt x="38386" y="260509"/>
                  </a:lnTo>
                  <a:lnTo>
                    <a:pt x="36386" y="258985"/>
                  </a:lnTo>
                  <a:lnTo>
                    <a:pt x="39053" y="251365"/>
                  </a:lnTo>
                  <a:lnTo>
                    <a:pt x="44196" y="248888"/>
                  </a:lnTo>
                  <a:lnTo>
                    <a:pt x="46101" y="235934"/>
                  </a:lnTo>
                  <a:lnTo>
                    <a:pt x="55912" y="227362"/>
                  </a:lnTo>
                  <a:lnTo>
                    <a:pt x="64961" y="226219"/>
                  </a:lnTo>
                  <a:lnTo>
                    <a:pt x="66485" y="224123"/>
                  </a:lnTo>
                  <a:lnTo>
                    <a:pt x="62484" y="221075"/>
                  </a:lnTo>
                  <a:lnTo>
                    <a:pt x="54959" y="220218"/>
                  </a:lnTo>
                  <a:lnTo>
                    <a:pt x="58103" y="216217"/>
                  </a:lnTo>
                  <a:lnTo>
                    <a:pt x="54197" y="200406"/>
                  </a:lnTo>
                  <a:lnTo>
                    <a:pt x="49435" y="191929"/>
                  </a:lnTo>
                  <a:lnTo>
                    <a:pt x="45339" y="188881"/>
                  </a:lnTo>
                  <a:lnTo>
                    <a:pt x="40577" y="180404"/>
                  </a:lnTo>
                  <a:lnTo>
                    <a:pt x="42196" y="178403"/>
                  </a:lnTo>
                  <a:lnTo>
                    <a:pt x="43244" y="172879"/>
                  </a:lnTo>
                  <a:lnTo>
                    <a:pt x="51530" y="166307"/>
                  </a:lnTo>
                  <a:lnTo>
                    <a:pt x="59150" y="168878"/>
                  </a:lnTo>
                  <a:lnTo>
                    <a:pt x="63532" y="173736"/>
                  </a:lnTo>
                  <a:lnTo>
                    <a:pt x="75629" y="183071"/>
                  </a:lnTo>
                  <a:lnTo>
                    <a:pt x="80296" y="176975"/>
                  </a:lnTo>
                  <a:lnTo>
                    <a:pt x="77819" y="171926"/>
                  </a:lnTo>
                  <a:lnTo>
                    <a:pt x="79629" y="171641"/>
                  </a:lnTo>
                  <a:lnTo>
                    <a:pt x="81248" y="169640"/>
                  </a:lnTo>
                  <a:lnTo>
                    <a:pt x="82010" y="162211"/>
                  </a:lnTo>
                  <a:lnTo>
                    <a:pt x="83629" y="160211"/>
                  </a:lnTo>
                  <a:lnTo>
                    <a:pt x="84677" y="154686"/>
                  </a:lnTo>
                  <a:lnTo>
                    <a:pt x="92488" y="144589"/>
                  </a:lnTo>
                  <a:lnTo>
                    <a:pt x="98965" y="138303"/>
                  </a:lnTo>
                  <a:lnTo>
                    <a:pt x="104585" y="139351"/>
                  </a:lnTo>
                  <a:lnTo>
                    <a:pt x="109252" y="133255"/>
                  </a:lnTo>
                  <a:lnTo>
                    <a:pt x="113347" y="136303"/>
                  </a:lnTo>
                  <a:lnTo>
                    <a:pt x="108776" y="129730"/>
                  </a:lnTo>
                  <a:lnTo>
                    <a:pt x="111728" y="123920"/>
                  </a:lnTo>
                  <a:lnTo>
                    <a:pt x="109442" y="120587"/>
                  </a:lnTo>
                  <a:lnTo>
                    <a:pt x="110490" y="114967"/>
                  </a:lnTo>
                  <a:lnTo>
                    <a:pt x="110300" y="113157"/>
                  </a:lnTo>
                  <a:lnTo>
                    <a:pt x="115824" y="99727"/>
                  </a:lnTo>
                  <a:lnTo>
                    <a:pt x="120110" y="104680"/>
                  </a:lnTo>
                  <a:lnTo>
                    <a:pt x="125539" y="103918"/>
                  </a:lnTo>
                  <a:lnTo>
                    <a:pt x="129921" y="96107"/>
                  </a:lnTo>
                  <a:lnTo>
                    <a:pt x="121634" y="88106"/>
                  </a:lnTo>
                  <a:lnTo>
                    <a:pt x="122492" y="80772"/>
                  </a:lnTo>
                  <a:lnTo>
                    <a:pt x="122015" y="77153"/>
                  </a:lnTo>
                  <a:lnTo>
                    <a:pt x="110776" y="75057"/>
                  </a:lnTo>
                  <a:lnTo>
                    <a:pt x="108490" y="71723"/>
                  </a:lnTo>
                  <a:lnTo>
                    <a:pt x="109823" y="67913"/>
                  </a:lnTo>
                  <a:lnTo>
                    <a:pt x="114967" y="65437"/>
                  </a:lnTo>
                  <a:lnTo>
                    <a:pt x="112871" y="63913"/>
                  </a:lnTo>
                  <a:lnTo>
                    <a:pt x="116014" y="59817"/>
                  </a:lnTo>
                  <a:lnTo>
                    <a:pt x="112204" y="58579"/>
                  </a:lnTo>
                  <a:lnTo>
                    <a:pt x="111728" y="54959"/>
                  </a:lnTo>
                  <a:lnTo>
                    <a:pt x="106299" y="55721"/>
                  </a:lnTo>
                  <a:lnTo>
                    <a:pt x="104775" y="57721"/>
                  </a:lnTo>
                  <a:lnTo>
                    <a:pt x="104108" y="52388"/>
                  </a:lnTo>
                  <a:lnTo>
                    <a:pt x="100203" y="51054"/>
                  </a:lnTo>
                  <a:lnTo>
                    <a:pt x="97727" y="46006"/>
                  </a:lnTo>
                  <a:lnTo>
                    <a:pt x="93917" y="44672"/>
                  </a:lnTo>
                  <a:lnTo>
                    <a:pt x="95440" y="42672"/>
                  </a:lnTo>
                  <a:lnTo>
                    <a:pt x="91916" y="43148"/>
                  </a:lnTo>
                  <a:lnTo>
                    <a:pt x="86487" y="43815"/>
                  </a:lnTo>
                  <a:lnTo>
                    <a:pt x="86296" y="42005"/>
                  </a:lnTo>
                  <a:lnTo>
                    <a:pt x="88868" y="34480"/>
                  </a:lnTo>
                  <a:lnTo>
                    <a:pt x="82772" y="29813"/>
                  </a:lnTo>
                  <a:lnTo>
                    <a:pt x="77438" y="30480"/>
                  </a:lnTo>
                  <a:lnTo>
                    <a:pt x="80581" y="26479"/>
                  </a:lnTo>
                  <a:lnTo>
                    <a:pt x="86392" y="29337"/>
                  </a:lnTo>
                  <a:lnTo>
                    <a:pt x="91535" y="26861"/>
                  </a:lnTo>
                  <a:lnTo>
                    <a:pt x="92678" y="21241"/>
                  </a:lnTo>
                  <a:lnTo>
                    <a:pt x="96203" y="20764"/>
                  </a:lnTo>
                  <a:lnTo>
                    <a:pt x="96012" y="18955"/>
                  </a:lnTo>
                  <a:lnTo>
                    <a:pt x="90583" y="19717"/>
                  </a:lnTo>
                  <a:lnTo>
                    <a:pt x="90392" y="17907"/>
                  </a:lnTo>
                  <a:lnTo>
                    <a:pt x="93726" y="15621"/>
                  </a:lnTo>
                  <a:lnTo>
                    <a:pt x="100965" y="14764"/>
                  </a:lnTo>
                  <a:lnTo>
                    <a:pt x="119253" y="1429"/>
                  </a:lnTo>
                  <a:lnTo>
                    <a:pt x="123349" y="4477"/>
                  </a:lnTo>
                  <a:lnTo>
                    <a:pt x="128206" y="191"/>
                  </a:lnTo>
                  <a:lnTo>
                    <a:pt x="130016" y="0"/>
                  </a:lnTo>
                  <a:lnTo>
                    <a:pt x="142970" y="14573"/>
                  </a:lnTo>
                  <a:lnTo>
                    <a:pt x="149162" y="6477"/>
                  </a:lnTo>
                  <a:lnTo>
                    <a:pt x="151162" y="8096"/>
                  </a:lnTo>
                  <a:lnTo>
                    <a:pt x="153257" y="9620"/>
                  </a:lnTo>
                  <a:lnTo>
                    <a:pt x="156877" y="9144"/>
                  </a:lnTo>
                  <a:lnTo>
                    <a:pt x="155257" y="11144"/>
                  </a:lnTo>
                  <a:lnTo>
                    <a:pt x="156020" y="16478"/>
                  </a:lnTo>
                  <a:lnTo>
                    <a:pt x="165926" y="22384"/>
                  </a:lnTo>
                  <a:lnTo>
                    <a:pt x="166878" y="29528"/>
                  </a:lnTo>
                  <a:lnTo>
                    <a:pt x="167069" y="31337"/>
                  </a:lnTo>
                  <a:lnTo>
                    <a:pt x="160115" y="34100"/>
                  </a:lnTo>
                  <a:lnTo>
                    <a:pt x="162211" y="35624"/>
                  </a:lnTo>
                  <a:lnTo>
                    <a:pt x="167545" y="34862"/>
                  </a:lnTo>
                  <a:lnTo>
                    <a:pt x="166688" y="42291"/>
                  </a:lnTo>
                  <a:lnTo>
                    <a:pt x="181546" y="43910"/>
                  </a:lnTo>
                  <a:lnTo>
                    <a:pt x="183832" y="47244"/>
                  </a:lnTo>
                  <a:lnTo>
                    <a:pt x="182213" y="49244"/>
                  </a:lnTo>
                  <a:lnTo>
                    <a:pt x="176879" y="50006"/>
                  </a:lnTo>
                  <a:lnTo>
                    <a:pt x="177355" y="53530"/>
                  </a:lnTo>
                  <a:lnTo>
                    <a:pt x="178879" y="51530"/>
                  </a:lnTo>
                  <a:lnTo>
                    <a:pt x="183166" y="56388"/>
                  </a:lnTo>
                  <a:lnTo>
                    <a:pt x="186595" y="54102"/>
                  </a:lnTo>
                  <a:lnTo>
                    <a:pt x="189071" y="59246"/>
                  </a:lnTo>
                  <a:lnTo>
                    <a:pt x="192691" y="58769"/>
                  </a:lnTo>
                  <a:lnTo>
                    <a:pt x="193357" y="64103"/>
                  </a:lnTo>
                  <a:lnTo>
                    <a:pt x="193834" y="67723"/>
                  </a:lnTo>
                  <a:lnTo>
                    <a:pt x="190500" y="69913"/>
                  </a:lnTo>
                  <a:lnTo>
                    <a:pt x="190690" y="71723"/>
                  </a:lnTo>
                  <a:lnTo>
                    <a:pt x="197739" y="83439"/>
                  </a:lnTo>
                  <a:lnTo>
                    <a:pt x="198406" y="88868"/>
                  </a:lnTo>
                  <a:lnTo>
                    <a:pt x="197834" y="98012"/>
                  </a:lnTo>
                  <a:lnTo>
                    <a:pt x="195834" y="96393"/>
                  </a:lnTo>
                  <a:lnTo>
                    <a:pt x="192500" y="98679"/>
                  </a:lnTo>
                  <a:lnTo>
                    <a:pt x="202597" y="106394"/>
                  </a:lnTo>
                  <a:lnTo>
                    <a:pt x="208217" y="107537"/>
                  </a:lnTo>
                  <a:lnTo>
                    <a:pt x="213170" y="103251"/>
                  </a:lnTo>
                  <a:lnTo>
                    <a:pt x="215646" y="108299"/>
                  </a:lnTo>
                  <a:lnTo>
                    <a:pt x="219456" y="109633"/>
                  </a:lnTo>
                  <a:lnTo>
                    <a:pt x="219742" y="111442"/>
                  </a:lnTo>
                  <a:lnTo>
                    <a:pt x="218885" y="118777"/>
                  </a:lnTo>
                  <a:lnTo>
                    <a:pt x="220694" y="118586"/>
                  </a:lnTo>
                  <a:lnTo>
                    <a:pt x="219551" y="124111"/>
                  </a:lnTo>
                  <a:lnTo>
                    <a:pt x="217742" y="124396"/>
                  </a:lnTo>
                  <a:lnTo>
                    <a:pt x="218218" y="127921"/>
                  </a:lnTo>
                  <a:lnTo>
                    <a:pt x="229267" y="128302"/>
                  </a:lnTo>
                  <a:lnTo>
                    <a:pt x="226123" y="132302"/>
                  </a:lnTo>
                  <a:lnTo>
                    <a:pt x="228219" y="133826"/>
                  </a:lnTo>
                  <a:lnTo>
                    <a:pt x="232696" y="140494"/>
                  </a:lnTo>
                  <a:lnTo>
                    <a:pt x="236315" y="140017"/>
                  </a:lnTo>
                  <a:lnTo>
                    <a:pt x="234982" y="143828"/>
                  </a:lnTo>
                  <a:lnTo>
                    <a:pt x="235648" y="149162"/>
                  </a:lnTo>
                  <a:lnTo>
                    <a:pt x="237458" y="148971"/>
                  </a:lnTo>
                  <a:lnTo>
                    <a:pt x="237268" y="147161"/>
                  </a:lnTo>
                  <a:lnTo>
                    <a:pt x="240887" y="146685"/>
                  </a:lnTo>
                  <a:lnTo>
                    <a:pt x="246507" y="147733"/>
                  </a:lnTo>
                  <a:lnTo>
                    <a:pt x="246221" y="146018"/>
                  </a:lnTo>
                  <a:lnTo>
                    <a:pt x="248031" y="145733"/>
                  </a:lnTo>
                  <a:lnTo>
                    <a:pt x="249555" y="143732"/>
                  </a:lnTo>
                  <a:lnTo>
                    <a:pt x="247745" y="143923"/>
                  </a:lnTo>
                  <a:lnTo>
                    <a:pt x="249079" y="140113"/>
                  </a:lnTo>
                  <a:lnTo>
                    <a:pt x="247269" y="140399"/>
                  </a:lnTo>
                  <a:lnTo>
                    <a:pt x="246602" y="135064"/>
                  </a:lnTo>
                  <a:lnTo>
                    <a:pt x="242792" y="133731"/>
                  </a:lnTo>
                  <a:lnTo>
                    <a:pt x="248126" y="133064"/>
                  </a:lnTo>
                  <a:lnTo>
                    <a:pt x="247650" y="129445"/>
                  </a:lnTo>
                  <a:lnTo>
                    <a:pt x="250793" y="125444"/>
                  </a:lnTo>
                  <a:lnTo>
                    <a:pt x="248317" y="120301"/>
                  </a:lnTo>
                  <a:lnTo>
                    <a:pt x="250127" y="120110"/>
                  </a:lnTo>
                  <a:lnTo>
                    <a:pt x="254127" y="123158"/>
                  </a:lnTo>
                  <a:lnTo>
                    <a:pt x="255079" y="130302"/>
                  </a:lnTo>
                  <a:lnTo>
                    <a:pt x="261461" y="136684"/>
                  </a:lnTo>
                  <a:lnTo>
                    <a:pt x="262414" y="143828"/>
                  </a:lnTo>
                  <a:lnTo>
                    <a:pt x="257746" y="149924"/>
                  </a:lnTo>
                  <a:lnTo>
                    <a:pt x="256889" y="157258"/>
                  </a:lnTo>
                  <a:lnTo>
                    <a:pt x="259175" y="160592"/>
                  </a:lnTo>
                  <a:lnTo>
                    <a:pt x="253937" y="163068"/>
                  </a:lnTo>
                  <a:lnTo>
                    <a:pt x="248221" y="174688"/>
                  </a:lnTo>
                  <a:lnTo>
                    <a:pt x="250507" y="178022"/>
                  </a:lnTo>
                  <a:lnTo>
                    <a:pt x="250507" y="178022"/>
                  </a:lnTo>
                  <a:lnTo>
                    <a:pt x="254508" y="181166"/>
                  </a:lnTo>
                  <a:lnTo>
                    <a:pt x="251460" y="185166"/>
                  </a:lnTo>
                  <a:lnTo>
                    <a:pt x="244697" y="189738"/>
                  </a:lnTo>
                  <a:lnTo>
                    <a:pt x="250793" y="194310"/>
                  </a:lnTo>
                  <a:lnTo>
                    <a:pt x="254413" y="193834"/>
                  </a:lnTo>
                  <a:lnTo>
                    <a:pt x="263843" y="196215"/>
                  </a:lnTo>
                  <a:lnTo>
                    <a:pt x="264033" y="198025"/>
                  </a:lnTo>
                  <a:lnTo>
                    <a:pt x="264795" y="203359"/>
                  </a:lnTo>
                  <a:lnTo>
                    <a:pt x="274225" y="205740"/>
                  </a:lnTo>
                  <a:lnTo>
                    <a:pt x="274511" y="207550"/>
                  </a:lnTo>
                  <a:lnTo>
                    <a:pt x="276225" y="207264"/>
                  </a:lnTo>
                  <a:lnTo>
                    <a:pt x="279845" y="206788"/>
                  </a:lnTo>
                  <a:lnTo>
                    <a:pt x="291560" y="212503"/>
                  </a:lnTo>
                  <a:lnTo>
                    <a:pt x="294894" y="210217"/>
                  </a:lnTo>
                  <a:lnTo>
                    <a:pt x="296704" y="210026"/>
                  </a:lnTo>
                  <a:lnTo>
                    <a:pt x="308420" y="215741"/>
                  </a:lnTo>
                  <a:lnTo>
                    <a:pt x="313849" y="214979"/>
                  </a:lnTo>
                  <a:lnTo>
                    <a:pt x="314039" y="216789"/>
                  </a:lnTo>
                  <a:lnTo>
                    <a:pt x="318421" y="221647"/>
                  </a:lnTo>
                  <a:lnTo>
                    <a:pt x="325374" y="233458"/>
                  </a:lnTo>
                  <a:lnTo>
                    <a:pt x="334137" y="230410"/>
                  </a:lnTo>
                  <a:lnTo>
                    <a:pt x="336899" y="237363"/>
                  </a:lnTo>
                  <a:lnTo>
                    <a:pt x="335566" y="241173"/>
                  </a:lnTo>
                  <a:lnTo>
                    <a:pt x="335852" y="242888"/>
                  </a:lnTo>
                  <a:lnTo>
                    <a:pt x="332422" y="245174"/>
                  </a:lnTo>
                  <a:lnTo>
                    <a:pt x="337185" y="253555"/>
                  </a:lnTo>
                  <a:lnTo>
                    <a:pt x="340233" y="262223"/>
                  </a:lnTo>
                  <a:lnTo>
                    <a:pt x="339376" y="269653"/>
                  </a:lnTo>
                  <a:lnTo>
                    <a:pt x="341852" y="274701"/>
                  </a:lnTo>
                  <a:lnTo>
                    <a:pt x="343376" y="272701"/>
                  </a:lnTo>
                  <a:lnTo>
                    <a:pt x="345472" y="274225"/>
                  </a:lnTo>
                  <a:lnTo>
                    <a:pt x="347948" y="279368"/>
                  </a:lnTo>
                  <a:lnTo>
                    <a:pt x="351377" y="291655"/>
                  </a:lnTo>
                  <a:lnTo>
                    <a:pt x="355187" y="292894"/>
                  </a:lnTo>
                  <a:lnTo>
                    <a:pt x="352139" y="296989"/>
                  </a:lnTo>
                  <a:lnTo>
                    <a:pt x="356997" y="292703"/>
                  </a:lnTo>
                  <a:lnTo>
                    <a:pt x="357283" y="294513"/>
                  </a:lnTo>
                  <a:lnTo>
                    <a:pt x="357759" y="298037"/>
                  </a:lnTo>
                  <a:lnTo>
                    <a:pt x="356140" y="300038"/>
                  </a:lnTo>
                  <a:lnTo>
                    <a:pt x="349948" y="308134"/>
                  </a:lnTo>
                  <a:lnTo>
                    <a:pt x="350139" y="309848"/>
                  </a:lnTo>
                  <a:lnTo>
                    <a:pt x="348234" y="322802"/>
                  </a:lnTo>
                  <a:lnTo>
                    <a:pt x="341281" y="325564"/>
                  </a:lnTo>
                  <a:lnTo>
                    <a:pt x="338138" y="329660"/>
                  </a:lnTo>
                  <a:lnTo>
                    <a:pt x="331661" y="335947"/>
                  </a:lnTo>
                  <a:lnTo>
                    <a:pt x="330803" y="343281"/>
                  </a:lnTo>
                  <a:lnTo>
                    <a:pt x="336613" y="346138"/>
                  </a:lnTo>
                  <a:lnTo>
                    <a:pt x="337376" y="351472"/>
                  </a:lnTo>
                  <a:lnTo>
                    <a:pt x="345281" y="355854"/>
                  </a:lnTo>
                  <a:lnTo>
                    <a:pt x="346710" y="366617"/>
                  </a:lnTo>
                  <a:lnTo>
                    <a:pt x="338042" y="384048"/>
                  </a:lnTo>
                  <a:lnTo>
                    <a:pt x="343853" y="386905"/>
                  </a:lnTo>
                  <a:lnTo>
                    <a:pt x="350425" y="395097"/>
                  </a:lnTo>
                  <a:lnTo>
                    <a:pt x="352330" y="409289"/>
                  </a:lnTo>
                  <a:lnTo>
                    <a:pt x="356140" y="410623"/>
                  </a:lnTo>
                  <a:lnTo>
                    <a:pt x="360236" y="413766"/>
                  </a:lnTo>
                  <a:lnTo>
                    <a:pt x="362045" y="413480"/>
                  </a:lnTo>
                  <a:lnTo>
                    <a:pt x="362521" y="417100"/>
                  </a:lnTo>
                  <a:lnTo>
                    <a:pt x="356045" y="423291"/>
                  </a:lnTo>
                  <a:lnTo>
                    <a:pt x="354235" y="423577"/>
                  </a:lnTo>
                  <a:lnTo>
                    <a:pt x="355187" y="430721"/>
                  </a:lnTo>
                  <a:lnTo>
                    <a:pt x="348710" y="437007"/>
                  </a:lnTo>
                  <a:lnTo>
                    <a:pt x="354806" y="441674"/>
                  </a:lnTo>
                  <a:lnTo>
                    <a:pt x="354044" y="436245"/>
                  </a:lnTo>
                  <a:lnTo>
                    <a:pt x="368427" y="434340"/>
                  </a:lnTo>
                  <a:lnTo>
                    <a:pt x="372237" y="435673"/>
                  </a:lnTo>
                  <a:lnTo>
                    <a:pt x="375856" y="435197"/>
                  </a:lnTo>
                  <a:lnTo>
                    <a:pt x="378143" y="438531"/>
                  </a:lnTo>
                  <a:lnTo>
                    <a:pt x="384810" y="434054"/>
                  </a:lnTo>
                  <a:lnTo>
                    <a:pt x="390906" y="424148"/>
                  </a:lnTo>
                  <a:lnTo>
                    <a:pt x="394430" y="423672"/>
                  </a:lnTo>
                  <a:lnTo>
                    <a:pt x="397193" y="430625"/>
                  </a:lnTo>
                  <a:lnTo>
                    <a:pt x="395288" y="443484"/>
                  </a:lnTo>
                  <a:lnTo>
                    <a:pt x="392144" y="447580"/>
                  </a:lnTo>
                  <a:lnTo>
                    <a:pt x="394430" y="450913"/>
                  </a:lnTo>
                  <a:lnTo>
                    <a:pt x="392621" y="451104"/>
                  </a:lnTo>
                  <a:lnTo>
                    <a:pt x="394906" y="454438"/>
                  </a:lnTo>
                  <a:lnTo>
                    <a:pt x="391573" y="456724"/>
                  </a:lnTo>
                  <a:lnTo>
                    <a:pt x="384524" y="486632"/>
                  </a:lnTo>
                  <a:lnTo>
                    <a:pt x="378619" y="483775"/>
                  </a:lnTo>
                  <a:lnTo>
                    <a:pt x="377285" y="487585"/>
                  </a:lnTo>
                  <a:lnTo>
                    <a:pt x="373475" y="486251"/>
                  </a:lnTo>
                  <a:lnTo>
                    <a:pt x="370142" y="488537"/>
                  </a:lnTo>
                  <a:lnTo>
                    <a:pt x="370808" y="493871"/>
                  </a:lnTo>
                  <a:lnTo>
                    <a:pt x="365474" y="494633"/>
                  </a:lnTo>
                  <a:lnTo>
                    <a:pt x="363188" y="491299"/>
                  </a:lnTo>
                  <a:lnTo>
                    <a:pt x="355759" y="490442"/>
                  </a:lnTo>
                  <a:lnTo>
                    <a:pt x="350901" y="494729"/>
                  </a:lnTo>
                  <a:lnTo>
                    <a:pt x="350520" y="505682"/>
                  </a:lnTo>
                  <a:lnTo>
                    <a:pt x="345377" y="522637"/>
                  </a:lnTo>
                  <a:lnTo>
                    <a:pt x="343567" y="522922"/>
                  </a:lnTo>
                  <a:lnTo>
                    <a:pt x="344996" y="533590"/>
                  </a:lnTo>
                  <a:lnTo>
                    <a:pt x="340138" y="537877"/>
                  </a:lnTo>
                  <a:lnTo>
                    <a:pt x="334232" y="535019"/>
                  </a:lnTo>
                  <a:lnTo>
                    <a:pt x="321469" y="534924"/>
                  </a:lnTo>
                  <a:lnTo>
                    <a:pt x="322231" y="554736"/>
                  </a:lnTo>
                  <a:lnTo>
                    <a:pt x="323755" y="552736"/>
                  </a:lnTo>
                  <a:lnTo>
                    <a:pt x="326327" y="557784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4" name="Volný tvar: obrazec 53">
              <a:extLst>
                <a:ext uri="{FF2B5EF4-FFF2-40B4-BE49-F238E27FC236}">
                  <a16:creationId xmlns:a16="http://schemas.microsoft.com/office/drawing/2014/main" id="{D7853E00-2F1F-D64F-6AB5-7821DD85105C}"/>
                </a:ext>
              </a:extLst>
            </p:cNvPr>
            <p:cNvSpPr/>
            <p:nvPr userDrawn="1"/>
          </p:nvSpPr>
          <p:spPr>
            <a:xfrm>
              <a:off x="6768131" y="3949255"/>
              <a:ext cx="566166" cy="585406"/>
            </a:xfrm>
            <a:custGeom>
              <a:avLst/>
              <a:gdLst>
                <a:gd name="connsiteX0" fmla="*/ 378809 w 566166"/>
                <a:gd name="connsiteY0" fmla="*/ 160877 h 585406"/>
                <a:gd name="connsiteX1" fmla="*/ 384715 w 566166"/>
                <a:gd name="connsiteY1" fmla="*/ 163735 h 585406"/>
                <a:gd name="connsiteX2" fmla="*/ 395478 w 566166"/>
                <a:gd name="connsiteY2" fmla="*/ 162306 h 585406"/>
                <a:gd name="connsiteX3" fmla="*/ 399955 w 566166"/>
                <a:gd name="connsiteY3" fmla="*/ 154496 h 585406"/>
                <a:gd name="connsiteX4" fmla="*/ 384810 w 566166"/>
                <a:gd name="connsiteY4" fmla="*/ 136493 h 585406"/>
                <a:gd name="connsiteX5" fmla="*/ 386810 w 566166"/>
                <a:gd name="connsiteY5" fmla="*/ 138017 h 585406"/>
                <a:gd name="connsiteX6" fmla="*/ 395097 w 566166"/>
                <a:gd name="connsiteY6" fmla="*/ 131445 h 585406"/>
                <a:gd name="connsiteX7" fmla="*/ 396240 w 566166"/>
                <a:gd name="connsiteY7" fmla="*/ 125921 h 585406"/>
                <a:gd name="connsiteX8" fmla="*/ 400050 w 566166"/>
                <a:gd name="connsiteY8" fmla="*/ 127254 h 585406"/>
                <a:gd name="connsiteX9" fmla="*/ 402526 w 566166"/>
                <a:gd name="connsiteY9" fmla="*/ 132397 h 585406"/>
                <a:gd name="connsiteX10" fmla="*/ 414909 w 566166"/>
                <a:gd name="connsiteY10" fmla="*/ 128968 h 585406"/>
                <a:gd name="connsiteX11" fmla="*/ 417385 w 566166"/>
                <a:gd name="connsiteY11" fmla="*/ 134112 h 585406"/>
                <a:gd name="connsiteX12" fmla="*/ 423196 w 566166"/>
                <a:gd name="connsiteY12" fmla="*/ 136969 h 585406"/>
                <a:gd name="connsiteX13" fmla="*/ 425672 w 566166"/>
                <a:gd name="connsiteY13" fmla="*/ 142113 h 585406"/>
                <a:gd name="connsiteX14" fmla="*/ 433768 w 566166"/>
                <a:gd name="connsiteY14" fmla="*/ 148304 h 585406"/>
                <a:gd name="connsiteX15" fmla="*/ 432435 w 566166"/>
                <a:gd name="connsiteY15" fmla="*/ 152114 h 585406"/>
                <a:gd name="connsiteX16" fmla="*/ 437197 w 566166"/>
                <a:gd name="connsiteY16" fmla="*/ 160496 h 585406"/>
                <a:gd name="connsiteX17" fmla="*/ 446246 w 566166"/>
                <a:gd name="connsiteY17" fmla="*/ 159353 h 585406"/>
                <a:gd name="connsiteX18" fmla="*/ 447199 w 566166"/>
                <a:gd name="connsiteY18" fmla="*/ 166497 h 585406"/>
                <a:gd name="connsiteX19" fmla="*/ 452628 w 566166"/>
                <a:gd name="connsiteY19" fmla="*/ 165830 h 585406"/>
                <a:gd name="connsiteX20" fmla="*/ 458724 w 566166"/>
                <a:gd name="connsiteY20" fmla="*/ 170402 h 585406"/>
                <a:gd name="connsiteX21" fmla="*/ 469392 w 566166"/>
                <a:gd name="connsiteY21" fmla="*/ 181737 h 585406"/>
                <a:gd name="connsiteX22" fmla="*/ 475012 w 566166"/>
                <a:gd name="connsiteY22" fmla="*/ 182785 h 585406"/>
                <a:gd name="connsiteX23" fmla="*/ 492633 w 566166"/>
                <a:gd name="connsiteY23" fmla="*/ 164116 h 585406"/>
                <a:gd name="connsiteX24" fmla="*/ 493966 w 566166"/>
                <a:gd name="connsiteY24" fmla="*/ 160306 h 585406"/>
                <a:gd name="connsiteX25" fmla="*/ 491490 w 566166"/>
                <a:gd name="connsiteY25" fmla="*/ 155162 h 585406"/>
                <a:gd name="connsiteX26" fmla="*/ 492823 w 566166"/>
                <a:gd name="connsiteY26" fmla="*/ 151352 h 585406"/>
                <a:gd name="connsiteX27" fmla="*/ 498443 w 566166"/>
                <a:gd name="connsiteY27" fmla="*/ 152400 h 585406"/>
                <a:gd name="connsiteX28" fmla="*/ 502539 w 566166"/>
                <a:gd name="connsiteY28" fmla="*/ 155543 h 585406"/>
                <a:gd name="connsiteX29" fmla="*/ 513302 w 566166"/>
                <a:gd name="connsiteY29" fmla="*/ 154114 h 585406"/>
                <a:gd name="connsiteX30" fmla="*/ 518065 w 566166"/>
                <a:gd name="connsiteY30" fmla="*/ 162592 h 585406"/>
                <a:gd name="connsiteX31" fmla="*/ 521684 w 566166"/>
                <a:gd name="connsiteY31" fmla="*/ 162115 h 585406"/>
                <a:gd name="connsiteX32" fmla="*/ 522732 w 566166"/>
                <a:gd name="connsiteY32" fmla="*/ 156496 h 585406"/>
                <a:gd name="connsiteX33" fmla="*/ 534638 w 566166"/>
                <a:gd name="connsiteY33" fmla="*/ 149447 h 585406"/>
                <a:gd name="connsiteX34" fmla="*/ 546068 w 566166"/>
                <a:gd name="connsiteY34" fmla="*/ 153352 h 585406"/>
                <a:gd name="connsiteX35" fmla="*/ 539020 w 566166"/>
                <a:gd name="connsiteY35" fmla="*/ 168783 h 585406"/>
                <a:gd name="connsiteX36" fmla="*/ 525304 w 566166"/>
                <a:gd name="connsiteY36" fmla="*/ 176022 h 585406"/>
                <a:gd name="connsiteX37" fmla="*/ 527685 w 566166"/>
                <a:gd name="connsiteY37" fmla="*/ 193834 h 585406"/>
                <a:gd name="connsiteX38" fmla="*/ 530162 w 566166"/>
                <a:gd name="connsiteY38" fmla="*/ 198977 h 585406"/>
                <a:gd name="connsiteX39" fmla="*/ 535305 w 566166"/>
                <a:gd name="connsiteY39" fmla="*/ 196501 h 585406"/>
                <a:gd name="connsiteX40" fmla="*/ 536257 w 566166"/>
                <a:gd name="connsiteY40" fmla="*/ 203645 h 585406"/>
                <a:gd name="connsiteX41" fmla="*/ 537210 w 566166"/>
                <a:gd name="connsiteY41" fmla="*/ 210788 h 585406"/>
                <a:gd name="connsiteX42" fmla="*/ 543497 w 566166"/>
                <a:gd name="connsiteY42" fmla="*/ 217265 h 585406"/>
                <a:gd name="connsiteX43" fmla="*/ 553403 w 566166"/>
                <a:gd name="connsiteY43" fmla="*/ 223171 h 585406"/>
                <a:gd name="connsiteX44" fmla="*/ 556546 w 566166"/>
                <a:gd name="connsiteY44" fmla="*/ 219170 h 585406"/>
                <a:gd name="connsiteX45" fmla="*/ 557022 w 566166"/>
                <a:gd name="connsiteY45" fmla="*/ 222695 h 585406"/>
                <a:gd name="connsiteX46" fmla="*/ 558165 w 566166"/>
                <a:gd name="connsiteY46" fmla="*/ 231648 h 585406"/>
                <a:gd name="connsiteX47" fmla="*/ 564547 w 566166"/>
                <a:gd name="connsiteY47" fmla="*/ 238030 h 585406"/>
                <a:gd name="connsiteX48" fmla="*/ 554260 w 566166"/>
                <a:gd name="connsiteY48" fmla="*/ 242983 h 585406"/>
                <a:gd name="connsiteX49" fmla="*/ 556736 w 566166"/>
                <a:gd name="connsiteY49" fmla="*/ 248126 h 585406"/>
                <a:gd name="connsiteX50" fmla="*/ 551116 w 566166"/>
                <a:gd name="connsiteY50" fmla="*/ 247079 h 585406"/>
                <a:gd name="connsiteX51" fmla="*/ 557213 w 566166"/>
                <a:gd name="connsiteY51" fmla="*/ 251746 h 585406"/>
                <a:gd name="connsiteX52" fmla="*/ 564737 w 566166"/>
                <a:gd name="connsiteY52" fmla="*/ 267081 h 585406"/>
                <a:gd name="connsiteX53" fmla="*/ 566166 w 566166"/>
                <a:gd name="connsiteY53" fmla="*/ 277749 h 585406"/>
                <a:gd name="connsiteX54" fmla="*/ 558927 w 566166"/>
                <a:gd name="connsiteY54" fmla="*/ 278701 h 585406"/>
                <a:gd name="connsiteX55" fmla="*/ 557593 w 566166"/>
                <a:gd name="connsiteY55" fmla="*/ 282512 h 585406"/>
                <a:gd name="connsiteX56" fmla="*/ 554260 w 566166"/>
                <a:gd name="connsiteY56" fmla="*/ 284797 h 585406"/>
                <a:gd name="connsiteX57" fmla="*/ 552736 w 566166"/>
                <a:gd name="connsiteY57" fmla="*/ 286798 h 585406"/>
                <a:gd name="connsiteX58" fmla="*/ 553403 w 566166"/>
                <a:gd name="connsiteY58" fmla="*/ 292132 h 585406"/>
                <a:gd name="connsiteX59" fmla="*/ 542830 w 566166"/>
                <a:gd name="connsiteY59" fmla="*/ 295370 h 585406"/>
                <a:gd name="connsiteX60" fmla="*/ 539210 w 566166"/>
                <a:gd name="connsiteY60" fmla="*/ 295846 h 585406"/>
                <a:gd name="connsiteX61" fmla="*/ 530257 w 566166"/>
                <a:gd name="connsiteY61" fmla="*/ 296989 h 585406"/>
                <a:gd name="connsiteX62" fmla="*/ 527304 w 566166"/>
                <a:gd name="connsiteY62" fmla="*/ 288322 h 585406"/>
                <a:gd name="connsiteX63" fmla="*/ 518541 w 566166"/>
                <a:gd name="connsiteY63" fmla="*/ 291274 h 585406"/>
                <a:gd name="connsiteX64" fmla="*/ 519208 w 566166"/>
                <a:gd name="connsiteY64" fmla="*/ 296608 h 585406"/>
                <a:gd name="connsiteX65" fmla="*/ 517398 w 566166"/>
                <a:gd name="connsiteY65" fmla="*/ 296894 h 585406"/>
                <a:gd name="connsiteX66" fmla="*/ 517684 w 566166"/>
                <a:gd name="connsiteY66" fmla="*/ 298704 h 585406"/>
                <a:gd name="connsiteX67" fmla="*/ 514064 w 566166"/>
                <a:gd name="connsiteY67" fmla="*/ 299180 h 585406"/>
                <a:gd name="connsiteX68" fmla="*/ 517017 w 566166"/>
                <a:gd name="connsiteY68" fmla="*/ 307848 h 585406"/>
                <a:gd name="connsiteX69" fmla="*/ 517684 w 566166"/>
                <a:gd name="connsiteY69" fmla="*/ 313182 h 585406"/>
                <a:gd name="connsiteX70" fmla="*/ 526256 w 566166"/>
                <a:gd name="connsiteY70" fmla="*/ 322897 h 585406"/>
                <a:gd name="connsiteX71" fmla="*/ 526732 w 566166"/>
                <a:gd name="connsiteY71" fmla="*/ 326422 h 585406"/>
                <a:gd name="connsiteX72" fmla="*/ 513112 w 566166"/>
                <a:gd name="connsiteY72" fmla="*/ 348139 h 585406"/>
                <a:gd name="connsiteX73" fmla="*/ 511588 w 566166"/>
                <a:gd name="connsiteY73" fmla="*/ 350139 h 585406"/>
                <a:gd name="connsiteX74" fmla="*/ 508730 w 566166"/>
                <a:gd name="connsiteY74" fmla="*/ 355949 h 585406"/>
                <a:gd name="connsiteX75" fmla="*/ 501205 w 566166"/>
                <a:gd name="connsiteY75" fmla="*/ 367855 h 585406"/>
                <a:gd name="connsiteX76" fmla="*/ 485108 w 566166"/>
                <a:gd name="connsiteY76" fmla="*/ 384429 h 585406"/>
                <a:gd name="connsiteX77" fmla="*/ 483489 w 566166"/>
                <a:gd name="connsiteY77" fmla="*/ 386429 h 585406"/>
                <a:gd name="connsiteX78" fmla="*/ 489395 w 566166"/>
                <a:gd name="connsiteY78" fmla="*/ 389287 h 585406"/>
                <a:gd name="connsiteX79" fmla="*/ 495776 w 566166"/>
                <a:gd name="connsiteY79" fmla="*/ 395669 h 585406"/>
                <a:gd name="connsiteX80" fmla="*/ 490633 w 566166"/>
                <a:gd name="connsiteY80" fmla="*/ 398145 h 585406"/>
                <a:gd name="connsiteX81" fmla="*/ 493205 w 566166"/>
                <a:gd name="connsiteY81" fmla="*/ 403288 h 585406"/>
                <a:gd name="connsiteX82" fmla="*/ 498824 w 566166"/>
                <a:gd name="connsiteY82" fmla="*/ 404336 h 585406"/>
                <a:gd name="connsiteX83" fmla="*/ 502444 w 566166"/>
                <a:gd name="connsiteY83" fmla="*/ 403860 h 585406"/>
                <a:gd name="connsiteX84" fmla="*/ 501967 w 566166"/>
                <a:gd name="connsiteY84" fmla="*/ 400336 h 585406"/>
                <a:gd name="connsiteX85" fmla="*/ 507968 w 566166"/>
                <a:gd name="connsiteY85" fmla="*/ 390430 h 585406"/>
                <a:gd name="connsiteX86" fmla="*/ 509968 w 566166"/>
                <a:gd name="connsiteY86" fmla="*/ 391954 h 585406"/>
                <a:gd name="connsiteX87" fmla="*/ 515398 w 566166"/>
                <a:gd name="connsiteY87" fmla="*/ 391192 h 585406"/>
                <a:gd name="connsiteX88" fmla="*/ 510730 w 566166"/>
                <a:gd name="connsiteY88" fmla="*/ 397288 h 585406"/>
                <a:gd name="connsiteX89" fmla="*/ 512540 w 566166"/>
                <a:gd name="connsiteY89" fmla="*/ 397097 h 585406"/>
                <a:gd name="connsiteX90" fmla="*/ 513016 w 566166"/>
                <a:gd name="connsiteY90" fmla="*/ 400621 h 585406"/>
                <a:gd name="connsiteX91" fmla="*/ 508063 w 566166"/>
                <a:gd name="connsiteY91" fmla="*/ 404908 h 585406"/>
                <a:gd name="connsiteX92" fmla="*/ 511683 w 566166"/>
                <a:gd name="connsiteY92" fmla="*/ 418909 h 585406"/>
                <a:gd name="connsiteX93" fmla="*/ 513683 w 566166"/>
                <a:gd name="connsiteY93" fmla="*/ 420433 h 585406"/>
                <a:gd name="connsiteX94" fmla="*/ 506825 w 566166"/>
                <a:gd name="connsiteY94" fmla="*/ 437674 h 585406"/>
                <a:gd name="connsiteX95" fmla="*/ 522160 w 566166"/>
                <a:gd name="connsiteY95" fmla="*/ 442913 h 585406"/>
                <a:gd name="connsiteX96" fmla="*/ 527590 w 566166"/>
                <a:gd name="connsiteY96" fmla="*/ 456724 h 585406"/>
                <a:gd name="connsiteX97" fmla="*/ 527209 w 566166"/>
                <a:gd name="connsiteY97" fmla="*/ 467678 h 585406"/>
                <a:gd name="connsiteX98" fmla="*/ 530447 w 566166"/>
                <a:gd name="connsiteY98" fmla="*/ 478155 h 585406"/>
                <a:gd name="connsiteX99" fmla="*/ 524828 w 566166"/>
                <a:gd name="connsiteY99" fmla="*/ 477107 h 585406"/>
                <a:gd name="connsiteX100" fmla="*/ 523113 w 566166"/>
                <a:gd name="connsiteY100" fmla="*/ 491871 h 585406"/>
                <a:gd name="connsiteX101" fmla="*/ 517970 w 566166"/>
                <a:gd name="connsiteY101" fmla="*/ 494347 h 585406"/>
                <a:gd name="connsiteX102" fmla="*/ 517112 w 566166"/>
                <a:gd name="connsiteY102" fmla="*/ 501682 h 585406"/>
                <a:gd name="connsiteX103" fmla="*/ 517398 w 566166"/>
                <a:gd name="connsiteY103" fmla="*/ 503491 h 585406"/>
                <a:gd name="connsiteX104" fmla="*/ 515588 w 566166"/>
                <a:gd name="connsiteY104" fmla="*/ 503777 h 585406"/>
                <a:gd name="connsiteX105" fmla="*/ 512445 w 566166"/>
                <a:gd name="connsiteY105" fmla="*/ 507778 h 585406"/>
                <a:gd name="connsiteX106" fmla="*/ 509111 w 566166"/>
                <a:gd name="connsiteY106" fmla="*/ 510064 h 585406"/>
                <a:gd name="connsiteX107" fmla="*/ 506825 w 566166"/>
                <a:gd name="connsiteY107" fmla="*/ 506730 h 585406"/>
                <a:gd name="connsiteX108" fmla="*/ 503206 w 566166"/>
                <a:gd name="connsiteY108" fmla="*/ 507206 h 585406"/>
                <a:gd name="connsiteX109" fmla="*/ 485965 w 566166"/>
                <a:gd name="connsiteY109" fmla="*/ 514921 h 585406"/>
                <a:gd name="connsiteX110" fmla="*/ 472154 w 566166"/>
                <a:gd name="connsiteY110" fmla="*/ 507682 h 585406"/>
                <a:gd name="connsiteX111" fmla="*/ 456152 w 566166"/>
                <a:gd name="connsiteY111" fmla="*/ 497110 h 585406"/>
                <a:gd name="connsiteX112" fmla="*/ 454628 w 566166"/>
                <a:gd name="connsiteY112" fmla="*/ 499110 h 585406"/>
                <a:gd name="connsiteX113" fmla="*/ 449866 w 566166"/>
                <a:gd name="connsiteY113" fmla="*/ 490728 h 585406"/>
                <a:gd name="connsiteX114" fmla="*/ 437102 w 566166"/>
                <a:gd name="connsiteY114" fmla="*/ 505111 h 585406"/>
                <a:gd name="connsiteX115" fmla="*/ 433006 w 566166"/>
                <a:gd name="connsiteY115" fmla="*/ 502063 h 585406"/>
                <a:gd name="connsiteX116" fmla="*/ 427863 w 566166"/>
                <a:gd name="connsiteY116" fmla="*/ 504539 h 585406"/>
                <a:gd name="connsiteX117" fmla="*/ 428054 w 566166"/>
                <a:gd name="connsiteY117" fmla="*/ 506349 h 585406"/>
                <a:gd name="connsiteX118" fmla="*/ 432340 w 566166"/>
                <a:gd name="connsiteY118" fmla="*/ 511207 h 585406"/>
                <a:gd name="connsiteX119" fmla="*/ 429482 w 566166"/>
                <a:gd name="connsiteY119" fmla="*/ 517017 h 585406"/>
                <a:gd name="connsiteX120" fmla="*/ 419195 w 566166"/>
                <a:gd name="connsiteY120" fmla="*/ 521970 h 585406"/>
                <a:gd name="connsiteX121" fmla="*/ 418338 w 566166"/>
                <a:gd name="connsiteY121" fmla="*/ 529399 h 585406"/>
                <a:gd name="connsiteX122" fmla="*/ 408527 w 566166"/>
                <a:gd name="connsiteY122" fmla="*/ 537972 h 585406"/>
                <a:gd name="connsiteX123" fmla="*/ 409194 w 566166"/>
                <a:gd name="connsiteY123" fmla="*/ 543306 h 585406"/>
                <a:gd name="connsiteX124" fmla="*/ 405860 w 566166"/>
                <a:gd name="connsiteY124" fmla="*/ 545592 h 585406"/>
                <a:gd name="connsiteX125" fmla="*/ 403574 w 566166"/>
                <a:gd name="connsiteY125" fmla="*/ 542258 h 585406"/>
                <a:gd name="connsiteX126" fmla="*/ 400145 w 566166"/>
                <a:gd name="connsiteY126" fmla="*/ 544544 h 585406"/>
                <a:gd name="connsiteX127" fmla="*/ 398335 w 566166"/>
                <a:gd name="connsiteY127" fmla="*/ 544830 h 585406"/>
                <a:gd name="connsiteX128" fmla="*/ 398812 w 566166"/>
                <a:gd name="connsiteY128" fmla="*/ 548354 h 585406"/>
                <a:gd name="connsiteX129" fmla="*/ 395478 w 566166"/>
                <a:gd name="connsiteY129" fmla="*/ 550640 h 585406"/>
                <a:gd name="connsiteX130" fmla="*/ 394621 w 566166"/>
                <a:gd name="connsiteY130" fmla="*/ 557974 h 585406"/>
                <a:gd name="connsiteX131" fmla="*/ 392621 w 566166"/>
                <a:gd name="connsiteY131" fmla="*/ 556450 h 585406"/>
                <a:gd name="connsiteX132" fmla="*/ 391287 w 566166"/>
                <a:gd name="connsiteY132" fmla="*/ 560261 h 585406"/>
                <a:gd name="connsiteX133" fmla="*/ 396526 w 566166"/>
                <a:gd name="connsiteY133" fmla="*/ 572262 h 585406"/>
                <a:gd name="connsiteX134" fmla="*/ 393192 w 566166"/>
                <a:gd name="connsiteY134" fmla="*/ 574548 h 585406"/>
                <a:gd name="connsiteX135" fmla="*/ 389858 w 566166"/>
                <a:gd name="connsiteY135" fmla="*/ 576834 h 585406"/>
                <a:gd name="connsiteX136" fmla="*/ 384238 w 566166"/>
                <a:gd name="connsiteY136" fmla="*/ 575786 h 585406"/>
                <a:gd name="connsiteX137" fmla="*/ 382905 w 566166"/>
                <a:gd name="connsiteY137" fmla="*/ 579596 h 585406"/>
                <a:gd name="connsiteX138" fmla="*/ 381381 w 566166"/>
                <a:gd name="connsiteY138" fmla="*/ 581597 h 585406"/>
                <a:gd name="connsiteX139" fmla="*/ 380047 w 566166"/>
                <a:gd name="connsiteY139" fmla="*/ 585406 h 585406"/>
                <a:gd name="connsiteX140" fmla="*/ 366236 w 566166"/>
                <a:gd name="connsiteY140" fmla="*/ 578167 h 585406"/>
                <a:gd name="connsiteX141" fmla="*/ 353187 w 566166"/>
                <a:gd name="connsiteY141" fmla="*/ 576263 h 585406"/>
                <a:gd name="connsiteX142" fmla="*/ 352520 w 566166"/>
                <a:gd name="connsiteY142" fmla="*/ 570929 h 585406"/>
                <a:gd name="connsiteX143" fmla="*/ 348901 w 566166"/>
                <a:gd name="connsiteY143" fmla="*/ 571405 h 585406"/>
                <a:gd name="connsiteX144" fmla="*/ 338518 w 566166"/>
                <a:gd name="connsiteY144" fmla="*/ 561880 h 585406"/>
                <a:gd name="connsiteX145" fmla="*/ 331375 w 566166"/>
                <a:gd name="connsiteY145" fmla="*/ 562832 h 585406"/>
                <a:gd name="connsiteX146" fmla="*/ 311848 w 566166"/>
                <a:gd name="connsiteY146" fmla="*/ 567214 h 585406"/>
                <a:gd name="connsiteX147" fmla="*/ 309086 w 566166"/>
                <a:gd name="connsiteY147" fmla="*/ 560356 h 585406"/>
                <a:gd name="connsiteX148" fmla="*/ 314230 w 566166"/>
                <a:gd name="connsiteY148" fmla="*/ 557879 h 585406"/>
                <a:gd name="connsiteX149" fmla="*/ 308991 w 566166"/>
                <a:gd name="connsiteY149" fmla="*/ 545878 h 585406"/>
                <a:gd name="connsiteX150" fmla="*/ 310039 w 566166"/>
                <a:gd name="connsiteY150" fmla="*/ 540258 h 585406"/>
                <a:gd name="connsiteX151" fmla="*/ 312896 w 566166"/>
                <a:gd name="connsiteY151" fmla="*/ 534448 h 585406"/>
                <a:gd name="connsiteX152" fmla="*/ 310896 w 566166"/>
                <a:gd name="connsiteY152" fmla="*/ 532924 h 585406"/>
                <a:gd name="connsiteX153" fmla="*/ 311944 w 566166"/>
                <a:gd name="connsiteY153" fmla="*/ 527304 h 585406"/>
                <a:gd name="connsiteX154" fmla="*/ 304324 w 566166"/>
                <a:gd name="connsiteY154" fmla="*/ 524637 h 585406"/>
                <a:gd name="connsiteX155" fmla="*/ 303276 w 566166"/>
                <a:gd name="connsiteY155" fmla="*/ 530257 h 585406"/>
                <a:gd name="connsiteX156" fmla="*/ 299180 w 566166"/>
                <a:gd name="connsiteY156" fmla="*/ 527209 h 585406"/>
                <a:gd name="connsiteX157" fmla="*/ 286036 w 566166"/>
                <a:gd name="connsiteY157" fmla="*/ 537972 h 585406"/>
                <a:gd name="connsiteX158" fmla="*/ 273748 w 566166"/>
                <a:gd name="connsiteY158" fmla="*/ 541401 h 585406"/>
                <a:gd name="connsiteX159" fmla="*/ 275749 w 566166"/>
                <a:gd name="connsiteY159" fmla="*/ 542925 h 585406"/>
                <a:gd name="connsiteX160" fmla="*/ 265938 w 566166"/>
                <a:gd name="connsiteY160" fmla="*/ 551497 h 585406"/>
                <a:gd name="connsiteX161" fmla="*/ 240982 w 566166"/>
                <a:gd name="connsiteY161" fmla="*/ 556641 h 585406"/>
                <a:gd name="connsiteX162" fmla="*/ 226409 w 566166"/>
                <a:gd name="connsiteY162" fmla="*/ 556641 h 585406"/>
                <a:gd name="connsiteX163" fmla="*/ 227743 w 566166"/>
                <a:gd name="connsiteY163" fmla="*/ 552926 h 585406"/>
                <a:gd name="connsiteX164" fmla="*/ 234220 w 566166"/>
                <a:gd name="connsiteY164" fmla="*/ 546640 h 585406"/>
                <a:gd name="connsiteX165" fmla="*/ 228124 w 566166"/>
                <a:gd name="connsiteY165" fmla="*/ 542068 h 585406"/>
                <a:gd name="connsiteX166" fmla="*/ 231267 w 566166"/>
                <a:gd name="connsiteY166" fmla="*/ 537972 h 585406"/>
                <a:gd name="connsiteX167" fmla="*/ 220218 w 566166"/>
                <a:gd name="connsiteY167" fmla="*/ 523113 h 585406"/>
                <a:gd name="connsiteX168" fmla="*/ 218694 w 566166"/>
                <a:gd name="connsiteY168" fmla="*/ 525113 h 585406"/>
                <a:gd name="connsiteX169" fmla="*/ 210312 w 566166"/>
                <a:gd name="connsiteY169" fmla="*/ 517112 h 585406"/>
                <a:gd name="connsiteX170" fmla="*/ 215265 w 566166"/>
                <a:gd name="connsiteY170" fmla="*/ 512826 h 585406"/>
                <a:gd name="connsiteX171" fmla="*/ 212979 w 566166"/>
                <a:gd name="connsiteY171" fmla="*/ 509492 h 585406"/>
                <a:gd name="connsiteX172" fmla="*/ 214313 w 566166"/>
                <a:gd name="connsiteY172" fmla="*/ 505682 h 585406"/>
                <a:gd name="connsiteX173" fmla="*/ 195739 w 566166"/>
                <a:gd name="connsiteY173" fmla="*/ 489966 h 585406"/>
                <a:gd name="connsiteX174" fmla="*/ 186023 w 566166"/>
                <a:gd name="connsiteY174" fmla="*/ 485775 h 585406"/>
                <a:gd name="connsiteX175" fmla="*/ 181928 w 566166"/>
                <a:gd name="connsiteY175" fmla="*/ 482727 h 585406"/>
                <a:gd name="connsiteX176" fmla="*/ 183451 w 566166"/>
                <a:gd name="connsiteY176" fmla="*/ 480727 h 585406"/>
                <a:gd name="connsiteX177" fmla="*/ 177832 w 566166"/>
                <a:gd name="connsiteY177" fmla="*/ 479679 h 585406"/>
                <a:gd name="connsiteX178" fmla="*/ 175831 w 566166"/>
                <a:gd name="connsiteY178" fmla="*/ 478155 h 585406"/>
                <a:gd name="connsiteX179" fmla="*/ 178975 w 566166"/>
                <a:gd name="connsiteY179" fmla="*/ 474155 h 585406"/>
                <a:gd name="connsiteX180" fmla="*/ 164116 w 566166"/>
                <a:gd name="connsiteY180" fmla="*/ 472440 h 585406"/>
                <a:gd name="connsiteX181" fmla="*/ 163925 w 566166"/>
                <a:gd name="connsiteY181" fmla="*/ 470630 h 585406"/>
                <a:gd name="connsiteX182" fmla="*/ 160115 w 566166"/>
                <a:gd name="connsiteY182" fmla="*/ 469297 h 585406"/>
                <a:gd name="connsiteX183" fmla="*/ 153162 w 566166"/>
                <a:gd name="connsiteY183" fmla="*/ 472059 h 585406"/>
                <a:gd name="connsiteX184" fmla="*/ 141256 w 566166"/>
                <a:gd name="connsiteY184" fmla="*/ 479107 h 585406"/>
                <a:gd name="connsiteX185" fmla="*/ 130588 w 566166"/>
                <a:gd name="connsiteY185" fmla="*/ 495014 h 585406"/>
                <a:gd name="connsiteX186" fmla="*/ 128111 w 566166"/>
                <a:gd name="connsiteY186" fmla="*/ 489966 h 585406"/>
                <a:gd name="connsiteX187" fmla="*/ 121825 w 566166"/>
                <a:gd name="connsiteY187" fmla="*/ 483584 h 585406"/>
                <a:gd name="connsiteX188" fmla="*/ 121158 w 566166"/>
                <a:gd name="connsiteY188" fmla="*/ 478250 h 585406"/>
                <a:gd name="connsiteX189" fmla="*/ 114395 w 566166"/>
                <a:gd name="connsiteY189" fmla="*/ 468249 h 585406"/>
                <a:gd name="connsiteX190" fmla="*/ 109442 w 566166"/>
                <a:gd name="connsiteY190" fmla="*/ 472535 h 585406"/>
                <a:gd name="connsiteX191" fmla="*/ 97726 w 566166"/>
                <a:gd name="connsiteY191" fmla="*/ 466820 h 585406"/>
                <a:gd name="connsiteX192" fmla="*/ 94488 w 566166"/>
                <a:gd name="connsiteY192" fmla="*/ 456343 h 585406"/>
                <a:gd name="connsiteX193" fmla="*/ 92964 w 566166"/>
                <a:gd name="connsiteY193" fmla="*/ 458343 h 585406"/>
                <a:gd name="connsiteX194" fmla="*/ 86392 w 566166"/>
                <a:gd name="connsiteY194" fmla="*/ 450151 h 585406"/>
                <a:gd name="connsiteX195" fmla="*/ 68580 w 566166"/>
                <a:gd name="connsiteY195" fmla="*/ 454342 h 585406"/>
                <a:gd name="connsiteX196" fmla="*/ 63437 w 566166"/>
                <a:gd name="connsiteY196" fmla="*/ 456819 h 585406"/>
                <a:gd name="connsiteX197" fmla="*/ 57817 w 566166"/>
                <a:gd name="connsiteY197" fmla="*/ 455771 h 585406"/>
                <a:gd name="connsiteX198" fmla="*/ 52864 w 566166"/>
                <a:gd name="connsiteY198" fmla="*/ 460057 h 585406"/>
                <a:gd name="connsiteX199" fmla="*/ 51054 w 566166"/>
                <a:gd name="connsiteY199" fmla="*/ 460343 h 585406"/>
                <a:gd name="connsiteX200" fmla="*/ 53721 w 566166"/>
                <a:gd name="connsiteY200" fmla="*/ 452723 h 585406"/>
                <a:gd name="connsiteX201" fmla="*/ 44291 w 566166"/>
                <a:gd name="connsiteY201" fmla="*/ 450342 h 585406"/>
                <a:gd name="connsiteX202" fmla="*/ 43339 w 566166"/>
                <a:gd name="connsiteY202" fmla="*/ 443198 h 585406"/>
                <a:gd name="connsiteX203" fmla="*/ 45339 w 566166"/>
                <a:gd name="connsiteY203" fmla="*/ 430244 h 585406"/>
                <a:gd name="connsiteX204" fmla="*/ 33814 w 566166"/>
                <a:gd name="connsiteY204" fmla="*/ 426339 h 585406"/>
                <a:gd name="connsiteX205" fmla="*/ 20383 w 566166"/>
                <a:gd name="connsiteY205" fmla="*/ 435388 h 585406"/>
                <a:gd name="connsiteX206" fmla="*/ 19907 w 566166"/>
                <a:gd name="connsiteY206" fmla="*/ 431863 h 585406"/>
                <a:gd name="connsiteX207" fmla="*/ 22574 w 566166"/>
                <a:gd name="connsiteY207" fmla="*/ 424244 h 585406"/>
                <a:gd name="connsiteX208" fmla="*/ 23717 w 566166"/>
                <a:gd name="connsiteY208" fmla="*/ 418624 h 585406"/>
                <a:gd name="connsiteX209" fmla="*/ 28861 w 566166"/>
                <a:gd name="connsiteY209" fmla="*/ 416147 h 585406"/>
                <a:gd name="connsiteX210" fmla="*/ 30194 w 566166"/>
                <a:gd name="connsiteY210" fmla="*/ 412337 h 585406"/>
                <a:gd name="connsiteX211" fmla="*/ 35147 w 566166"/>
                <a:gd name="connsiteY211" fmla="*/ 408051 h 585406"/>
                <a:gd name="connsiteX212" fmla="*/ 36290 w 566166"/>
                <a:gd name="connsiteY212" fmla="*/ 402431 h 585406"/>
                <a:gd name="connsiteX213" fmla="*/ 40100 w 566166"/>
                <a:gd name="connsiteY213" fmla="*/ 403765 h 585406"/>
                <a:gd name="connsiteX214" fmla="*/ 39814 w 566166"/>
                <a:gd name="connsiteY214" fmla="*/ 401955 h 585406"/>
                <a:gd name="connsiteX215" fmla="*/ 42577 w 566166"/>
                <a:gd name="connsiteY215" fmla="*/ 381667 h 585406"/>
                <a:gd name="connsiteX216" fmla="*/ 38957 w 566166"/>
                <a:gd name="connsiteY216" fmla="*/ 382143 h 585406"/>
                <a:gd name="connsiteX217" fmla="*/ 38290 w 566166"/>
                <a:gd name="connsiteY217" fmla="*/ 376809 h 585406"/>
                <a:gd name="connsiteX218" fmla="*/ 27241 w 566166"/>
                <a:gd name="connsiteY218" fmla="*/ 376428 h 585406"/>
                <a:gd name="connsiteX219" fmla="*/ 33052 w 566166"/>
                <a:gd name="connsiteY219" fmla="*/ 364807 h 585406"/>
                <a:gd name="connsiteX220" fmla="*/ 32575 w 566166"/>
                <a:gd name="connsiteY220" fmla="*/ 361188 h 585406"/>
                <a:gd name="connsiteX221" fmla="*/ 28765 w 566166"/>
                <a:gd name="connsiteY221" fmla="*/ 359950 h 585406"/>
                <a:gd name="connsiteX222" fmla="*/ 27622 w 566166"/>
                <a:gd name="connsiteY222" fmla="*/ 365570 h 585406"/>
                <a:gd name="connsiteX223" fmla="*/ 21146 w 566166"/>
                <a:gd name="connsiteY223" fmla="*/ 371856 h 585406"/>
                <a:gd name="connsiteX224" fmla="*/ 8572 w 566166"/>
                <a:gd name="connsiteY224" fmla="*/ 373475 h 585406"/>
                <a:gd name="connsiteX225" fmla="*/ 11716 w 566166"/>
                <a:gd name="connsiteY225" fmla="*/ 369475 h 585406"/>
                <a:gd name="connsiteX226" fmla="*/ 12763 w 566166"/>
                <a:gd name="connsiteY226" fmla="*/ 363855 h 585406"/>
                <a:gd name="connsiteX227" fmla="*/ 16573 w 566166"/>
                <a:gd name="connsiteY227" fmla="*/ 365188 h 585406"/>
                <a:gd name="connsiteX228" fmla="*/ 19717 w 566166"/>
                <a:gd name="connsiteY228" fmla="*/ 361093 h 585406"/>
                <a:gd name="connsiteX229" fmla="*/ 13145 w 566166"/>
                <a:gd name="connsiteY229" fmla="*/ 352901 h 585406"/>
                <a:gd name="connsiteX230" fmla="*/ 12478 w 566166"/>
                <a:gd name="connsiteY230" fmla="*/ 347567 h 585406"/>
                <a:gd name="connsiteX231" fmla="*/ 10001 w 566166"/>
                <a:gd name="connsiteY231" fmla="*/ 342424 h 585406"/>
                <a:gd name="connsiteX232" fmla="*/ 3048 w 566166"/>
                <a:gd name="connsiteY232" fmla="*/ 345186 h 585406"/>
                <a:gd name="connsiteX233" fmla="*/ 5905 w 566166"/>
                <a:gd name="connsiteY233" fmla="*/ 339376 h 585406"/>
                <a:gd name="connsiteX234" fmla="*/ 0 w 566166"/>
                <a:gd name="connsiteY234" fmla="*/ 336518 h 585406"/>
                <a:gd name="connsiteX235" fmla="*/ 3143 w 566166"/>
                <a:gd name="connsiteY235" fmla="*/ 332518 h 585406"/>
                <a:gd name="connsiteX236" fmla="*/ 7334 w 566166"/>
                <a:gd name="connsiteY236" fmla="*/ 322897 h 585406"/>
                <a:gd name="connsiteX237" fmla="*/ 16097 w 566166"/>
                <a:gd name="connsiteY237" fmla="*/ 319945 h 585406"/>
                <a:gd name="connsiteX238" fmla="*/ 29146 w 566166"/>
                <a:gd name="connsiteY238" fmla="*/ 321850 h 585406"/>
                <a:gd name="connsiteX239" fmla="*/ 32290 w 566166"/>
                <a:gd name="connsiteY239" fmla="*/ 317849 h 585406"/>
                <a:gd name="connsiteX240" fmla="*/ 33814 w 566166"/>
                <a:gd name="connsiteY240" fmla="*/ 315849 h 585406"/>
                <a:gd name="connsiteX241" fmla="*/ 41529 w 566166"/>
                <a:gd name="connsiteY241" fmla="*/ 318516 h 585406"/>
                <a:gd name="connsiteX242" fmla="*/ 45720 w 566166"/>
                <a:gd name="connsiteY242" fmla="*/ 308896 h 585406"/>
                <a:gd name="connsiteX243" fmla="*/ 40100 w 566166"/>
                <a:gd name="connsiteY243" fmla="*/ 307848 h 585406"/>
                <a:gd name="connsiteX244" fmla="*/ 38195 w 566166"/>
                <a:gd name="connsiteY244" fmla="*/ 293561 h 585406"/>
                <a:gd name="connsiteX245" fmla="*/ 38005 w 566166"/>
                <a:gd name="connsiteY245" fmla="*/ 291751 h 585406"/>
                <a:gd name="connsiteX246" fmla="*/ 41815 w 566166"/>
                <a:gd name="connsiteY246" fmla="*/ 293084 h 585406"/>
                <a:gd name="connsiteX247" fmla="*/ 42672 w 566166"/>
                <a:gd name="connsiteY247" fmla="*/ 285750 h 585406"/>
                <a:gd name="connsiteX248" fmla="*/ 36576 w 566166"/>
                <a:gd name="connsiteY248" fmla="*/ 281083 h 585406"/>
                <a:gd name="connsiteX249" fmla="*/ 30194 w 566166"/>
                <a:gd name="connsiteY249" fmla="*/ 274701 h 585406"/>
                <a:gd name="connsiteX250" fmla="*/ 23050 w 566166"/>
                <a:gd name="connsiteY250" fmla="*/ 275654 h 585406"/>
                <a:gd name="connsiteX251" fmla="*/ 15145 w 566166"/>
                <a:gd name="connsiteY251" fmla="*/ 271272 h 585406"/>
                <a:gd name="connsiteX252" fmla="*/ 8001 w 566166"/>
                <a:gd name="connsiteY252" fmla="*/ 272224 h 585406"/>
                <a:gd name="connsiteX253" fmla="*/ 7715 w 566166"/>
                <a:gd name="connsiteY253" fmla="*/ 270415 h 585406"/>
                <a:gd name="connsiteX254" fmla="*/ 9906 w 566166"/>
                <a:gd name="connsiteY254" fmla="*/ 259271 h 585406"/>
                <a:gd name="connsiteX255" fmla="*/ 7144 w 566166"/>
                <a:gd name="connsiteY255" fmla="*/ 252413 h 585406"/>
                <a:gd name="connsiteX256" fmla="*/ 10287 w 566166"/>
                <a:gd name="connsiteY256" fmla="*/ 248412 h 585406"/>
                <a:gd name="connsiteX257" fmla="*/ 17145 w 566166"/>
                <a:gd name="connsiteY257" fmla="*/ 231172 h 585406"/>
                <a:gd name="connsiteX258" fmla="*/ 21622 w 566166"/>
                <a:gd name="connsiteY258" fmla="*/ 223361 h 585406"/>
                <a:gd name="connsiteX259" fmla="*/ 22765 w 566166"/>
                <a:gd name="connsiteY259" fmla="*/ 217741 h 585406"/>
                <a:gd name="connsiteX260" fmla="*/ 25908 w 566166"/>
                <a:gd name="connsiteY260" fmla="*/ 213741 h 585406"/>
                <a:gd name="connsiteX261" fmla="*/ 27908 w 566166"/>
                <a:gd name="connsiteY261" fmla="*/ 215265 h 585406"/>
                <a:gd name="connsiteX262" fmla="*/ 34862 w 566166"/>
                <a:gd name="connsiteY262" fmla="*/ 212503 h 585406"/>
                <a:gd name="connsiteX263" fmla="*/ 38957 w 566166"/>
                <a:gd name="connsiteY263" fmla="*/ 215646 h 585406"/>
                <a:gd name="connsiteX264" fmla="*/ 40957 w 566166"/>
                <a:gd name="connsiteY264" fmla="*/ 217170 h 585406"/>
                <a:gd name="connsiteX265" fmla="*/ 42291 w 566166"/>
                <a:gd name="connsiteY265" fmla="*/ 213360 h 585406"/>
                <a:gd name="connsiteX266" fmla="*/ 49435 w 566166"/>
                <a:gd name="connsiteY266" fmla="*/ 212407 h 585406"/>
                <a:gd name="connsiteX267" fmla="*/ 50959 w 566166"/>
                <a:gd name="connsiteY267" fmla="*/ 210407 h 585406"/>
                <a:gd name="connsiteX268" fmla="*/ 56388 w 566166"/>
                <a:gd name="connsiteY268" fmla="*/ 209740 h 585406"/>
                <a:gd name="connsiteX269" fmla="*/ 54959 w 566166"/>
                <a:gd name="connsiteY269" fmla="*/ 199072 h 585406"/>
                <a:gd name="connsiteX270" fmla="*/ 45244 w 566166"/>
                <a:gd name="connsiteY270" fmla="*/ 194881 h 585406"/>
                <a:gd name="connsiteX271" fmla="*/ 44577 w 566166"/>
                <a:gd name="connsiteY271" fmla="*/ 189547 h 585406"/>
                <a:gd name="connsiteX272" fmla="*/ 40767 w 566166"/>
                <a:gd name="connsiteY272" fmla="*/ 188214 h 585406"/>
                <a:gd name="connsiteX273" fmla="*/ 40481 w 566166"/>
                <a:gd name="connsiteY273" fmla="*/ 186404 h 585406"/>
                <a:gd name="connsiteX274" fmla="*/ 29432 w 566166"/>
                <a:gd name="connsiteY274" fmla="*/ 186023 h 585406"/>
                <a:gd name="connsiteX275" fmla="*/ 25337 w 566166"/>
                <a:gd name="connsiteY275" fmla="*/ 182975 h 585406"/>
                <a:gd name="connsiteX276" fmla="*/ 25717 w 566166"/>
                <a:gd name="connsiteY276" fmla="*/ 172021 h 585406"/>
                <a:gd name="connsiteX277" fmla="*/ 28099 w 566166"/>
                <a:gd name="connsiteY277" fmla="*/ 162592 h 585406"/>
                <a:gd name="connsiteX278" fmla="*/ 31528 w 566166"/>
                <a:gd name="connsiteY278" fmla="*/ 160306 h 585406"/>
                <a:gd name="connsiteX279" fmla="*/ 33528 w 566166"/>
                <a:gd name="connsiteY279" fmla="*/ 161830 h 585406"/>
                <a:gd name="connsiteX280" fmla="*/ 42291 w 566166"/>
                <a:gd name="connsiteY280" fmla="*/ 158877 h 585406"/>
                <a:gd name="connsiteX281" fmla="*/ 41624 w 566166"/>
                <a:gd name="connsiteY281" fmla="*/ 153543 h 585406"/>
                <a:gd name="connsiteX282" fmla="*/ 47244 w 566166"/>
                <a:gd name="connsiteY282" fmla="*/ 154591 h 585406"/>
                <a:gd name="connsiteX283" fmla="*/ 46958 w 566166"/>
                <a:gd name="connsiteY283" fmla="*/ 152781 h 585406"/>
                <a:gd name="connsiteX284" fmla="*/ 43148 w 566166"/>
                <a:gd name="connsiteY284" fmla="*/ 151447 h 585406"/>
                <a:gd name="connsiteX285" fmla="*/ 48101 w 566166"/>
                <a:gd name="connsiteY285" fmla="*/ 147161 h 585406"/>
                <a:gd name="connsiteX286" fmla="*/ 51721 w 566166"/>
                <a:gd name="connsiteY286" fmla="*/ 146685 h 585406"/>
                <a:gd name="connsiteX287" fmla="*/ 54578 w 566166"/>
                <a:gd name="connsiteY287" fmla="*/ 140875 h 585406"/>
                <a:gd name="connsiteX288" fmla="*/ 55721 w 566166"/>
                <a:gd name="connsiteY288" fmla="*/ 135350 h 585406"/>
                <a:gd name="connsiteX289" fmla="*/ 59055 w 566166"/>
                <a:gd name="connsiteY289" fmla="*/ 133064 h 585406"/>
                <a:gd name="connsiteX290" fmla="*/ 54483 w 566166"/>
                <a:gd name="connsiteY290" fmla="*/ 126397 h 585406"/>
                <a:gd name="connsiteX291" fmla="*/ 57817 w 566166"/>
                <a:gd name="connsiteY291" fmla="*/ 124111 h 585406"/>
                <a:gd name="connsiteX292" fmla="*/ 55816 w 566166"/>
                <a:gd name="connsiteY292" fmla="*/ 122587 h 585406"/>
                <a:gd name="connsiteX293" fmla="*/ 55150 w 566166"/>
                <a:gd name="connsiteY293" fmla="*/ 117253 h 585406"/>
                <a:gd name="connsiteX294" fmla="*/ 56959 w 566166"/>
                <a:gd name="connsiteY294" fmla="*/ 117062 h 585406"/>
                <a:gd name="connsiteX295" fmla="*/ 67723 w 566166"/>
                <a:gd name="connsiteY295" fmla="*/ 115633 h 585406"/>
                <a:gd name="connsiteX296" fmla="*/ 72676 w 566166"/>
                <a:gd name="connsiteY296" fmla="*/ 111347 h 585406"/>
                <a:gd name="connsiteX297" fmla="*/ 76295 w 566166"/>
                <a:gd name="connsiteY297" fmla="*/ 110871 h 585406"/>
                <a:gd name="connsiteX298" fmla="*/ 91249 w 566166"/>
                <a:gd name="connsiteY298" fmla="*/ 99822 h 585406"/>
                <a:gd name="connsiteX299" fmla="*/ 94393 w 566166"/>
                <a:gd name="connsiteY299" fmla="*/ 95821 h 585406"/>
                <a:gd name="connsiteX300" fmla="*/ 95536 w 566166"/>
                <a:gd name="connsiteY300" fmla="*/ 90202 h 585406"/>
                <a:gd name="connsiteX301" fmla="*/ 97060 w 566166"/>
                <a:gd name="connsiteY301" fmla="*/ 88201 h 585406"/>
                <a:gd name="connsiteX302" fmla="*/ 106013 w 566166"/>
                <a:gd name="connsiteY302" fmla="*/ 87058 h 585406"/>
                <a:gd name="connsiteX303" fmla="*/ 106966 w 566166"/>
                <a:gd name="connsiteY303" fmla="*/ 94202 h 585406"/>
                <a:gd name="connsiteX304" fmla="*/ 109252 w 566166"/>
                <a:gd name="connsiteY304" fmla="*/ 97536 h 585406"/>
                <a:gd name="connsiteX305" fmla="*/ 108775 w 566166"/>
                <a:gd name="connsiteY305" fmla="*/ 93917 h 585406"/>
                <a:gd name="connsiteX306" fmla="*/ 113729 w 566166"/>
                <a:gd name="connsiteY306" fmla="*/ 89630 h 585406"/>
                <a:gd name="connsiteX307" fmla="*/ 113252 w 566166"/>
                <a:gd name="connsiteY307" fmla="*/ 86106 h 585406"/>
                <a:gd name="connsiteX308" fmla="*/ 120205 w 566166"/>
                <a:gd name="connsiteY308" fmla="*/ 83344 h 585406"/>
                <a:gd name="connsiteX309" fmla="*/ 128683 w 566166"/>
                <a:gd name="connsiteY309" fmla="*/ 78581 h 585406"/>
                <a:gd name="connsiteX310" fmla="*/ 131826 w 566166"/>
                <a:gd name="connsiteY310" fmla="*/ 74581 h 585406"/>
                <a:gd name="connsiteX311" fmla="*/ 140589 w 566166"/>
                <a:gd name="connsiteY311" fmla="*/ 71628 h 585406"/>
                <a:gd name="connsiteX312" fmla="*/ 140113 w 566166"/>
                <a:gd name="connsiteY312" fmla="*/ 68104 h 585406"/>
                <a:gd name="connsiteX313" fmla="*/ 138113 w 566166"/>
                <a:gd name="connsiteY313" fmla="*/ 66580 h 585406"/>
                <a:gd name="connsiteX314" fmla="*/ 141732 w 566166"/>
                <a:gd name="connsiteY314" fmla="*/ 66103 h 585406"/>
                <a:gd name="connsiteX315" fmla="*/ 135826 w 566166"/>
                <a:gd name="connsiteY315" fmla="*/ 63246 h 585406"/>
                <a:gd name="connsiteX316" fmla="*/ 137350 w 566166"/>
                <a:gd name="connsiteY316" fmla="*/ 61246 h 585406"/>
                <a:gd name="connsiteX317" fmla="*/ 128778 w 566166"/>
                <a:gd name="connsiteY317" fmla="*/ 51530 h 585406"/>
                <a:gd name="connsiteX318" fmla="*/ 136779 w 566166"/>
                <a:gd name="connsiteY318" fmla="*/ 43243 h 585406"/>
                <a:gd name="connsiteX319" fmla="*/ 131350 w 566166"/>
                <a:gd name="connsiteY319" fmla="*/ 43910 h 585406"/>
                <a:gd name="connsiteX320" fmla="*/ 127921 w 566166"/>
                <a:gd name="connsiteY320" fmla="*/ 31718 h 585406"/>
                <a:gd name="connsiteX321" fmla="*/ 127445 w 566166"/>
                <a:gd name="connsiteY321" fmla="*/ 28194 h 585406"/>
                <a:gd name="connsiteX322" fmla="*/ 131254 w 566166"/>
                <a:gd name="connsiteY322" fmla="*/ 29527 h 585406"/>
                <a:gd name="connsiteX323" fmla="*/ 132302 w 566166"/>
                <a:gd name="connsiteY323" fmla="*/ 23908 h 585406"/>
                <a:gd name="connsiteX324" fmla="*/ 137922 w 566166"/>
                <a:gd name="connsiteY324" fmla="*/ 24955 h 585406"/>
                <a:gd name="connsiteX325" fmla="*/ 140684 w 566166"/>
                <a:gd name="connsiteY325" fmla="*/ 31813 h 585406"/>
                <a:gd name="connsiteX326" fmla="*/ 150114 w 566166"/>
                <a:gd name="connsiteY326" fmla="*/ 34195 h 585406"/>
                <a:gd name="connsiteX327" fmla="*/ 164592 w 566166"/>
                <a:gd name="connsiteY327" fmla="*/ 46768 h 585406"/>
                <a:gd name="connsiteX328" fmla="*/ 170021 w 566166"/>
                <a:gd name="connsiteY328" fmla="*/ 46101 h 585406"/>
                <a:gd name="connsiteX329" fmla="*/ 168878 w 566166"/>
                <a:gd name="connsiteY329" fmla="*/ 37243 h 585406"/>
                <a:gd name="connsiteX330" fmla="*/ 176022 w 566166"/>
                <a:gd name="connsiteY330" fmla="*/ 36290 h 585406"/>
                <a:gd name="connsiteX331" fmla="*/ 175736 w 566166"/>
                <a:gd name="connsiteY331" fmla="*/ 34480 h 585406"/>
                <a:gd name="connsiteX332" fmla="*/ 175260 w 566166"/>
                <a:gd name="connsiteY332" fmla="*/ 30956 h 585406"/>
                <a:gd name="connsiteX333" fmla="*/ 167640 w 566166"/>
                <a:gd name="connsiteY333" fmla="*/ 28384 h 585406"/>
                <a:gd name="connsiteX334" fmla="*/ 174117 w 566166"/>
                <a:gd name="connsiteY334" fmla="*/ 22098 h 585406"/>
                <a:gd name="connsiteX335" fmla="*/ 178403 w 566166"/>
                <a:gd name="connsiteY335" fmla="*/ 26956 h 585406"/>
                <a:gd name="connsiteX336" fmla="*/ 178213 w 566166"/>
                <a:gd name="connsiteY336" fmla="*/ 25146 h 585406"/>
                <a:gd name="connsiteX337" fmla="*/ 179260 w 566166"/>
                <a:gd name="connsiteY337" fmla="*/ 19526 h 585406"/>
                <a:gd name="connsiteX338" fmla="*/ 172879 w 566166"/>
                <a:gd name="connsiteY338" fmla="*/ 13144 h 585406"/>
                <a:gd name="connsiteX339" fmla="*/ 176308 w 566166"/>
                <a:gd name="connsiteY339" fmla="*/ 10858 h 585406"/>
                <a:gd name="connsiteX340" fmla="*/ 176784 w 566166"/>
                <a:gd name="connsiteY340" fmla="*/ 14383 h 585406"/>
                <a:gd name="connsiteX341" fmla="*/ 180594 w 566166"/>
                <a:gd name="connsiteY341" fmla="*/ 15716 h 585406"/>
                <a:gd name="connsiteX342" fmla="*/ 180975 w 566166"/>
                <a:gd name="connsiteY342" fmla="*/ 4763 h 585406"/>
                <a:gd name="connsiteX343" fmla="*/ 184595 w 566166"/>
                <a:gd name="connsiteY343" fmla="*/ 4286 h 585406"/>
                <a:gd name="connsiteX344" fmla="*/ 188404 w 566166"/>
                <a:gd name="connsiteY344" fmla="*/ 5620 h 585406"/>
                <a:gd name="connsiteX345" fmla="*/ 189071 w 566166"/>
                <a:gd name="connsiteY345" fmla="*/ 10954 h 585406"/>
                <a:gd name="connsiteX346" fmla="*/ 187928 w 566166"/>
                <a:gd name="connsiteY346" fmla="*/ 16573 h 585406"/>
                <a:gd name="connsiteX347" fmla="*/ 188404 w 566166"/>
                <a:gd name="connsiteY347" fmla="*/ 20193 h 585406"/>
                <a:gd name="connsiteX348" fmla="*/ 190214 w 566166"/>
                <a:gd name="connsiteY348" fmla="*/ 19907 h 585406"/>
                <a:gd name="connsiteX349" fmla="*/ 191071 w 566166"/>
                <a:gd name="connsiteY349" fmla="*/ 12573 h 585406"/>
                <a:gd name="connsiteX350" fmla="*/ 194405 w 566166"/>
                <a:gd name="connsiteY350" fmla="*/ 10287 h 585406"/>
                <a:gd name="connsiteX351" fmla="*/ 195072 w 566166"/>
                <a:gd name="connsiteY351" fmla="*/ 15621 h 585406"/>
                <a:gd name="connsiteX352" fmla="*/ 198691 w 566166"/>
                <a:gd name="connsiteY352" fmla="*/ 15145 h 585406"/>
                <a:gd name="connsiteX353" fmla="*/ 199834 w 566166"/>
                <a:gd name="connsiteY353" fmla="*/ 9620 h 585406"/>
                <a:gd name="connsiteX354" fmla="*/ 204788 w 566166"/>
                <a:gd name="connsiteY354" fmla="*/ 5334 h 585406"/>
                <a:gd name="connsiteX355" fmla="*/ 200692 w 566166"/>
                <a:gd name="connsiteY355" fmla="*/ 2286 h 585406"/>
                <a:gd name="connsiteX356" fmla="*/ 204025 w 566166"/>
                <a:gd name="connsiteY356" fmla="*/ 0 h 585406"/>
                <a:gd name="connsiteX357" fmla="*/ 206312 w 566166"/>
                <a:gd name="connsiteY357" fmla="*/ 3334 h 585406"/>
                <a:gd name="connsiteX358" fmla="*/ 206312 w 566166"/>
                <a:gd name="connsiteY358" fmla="*/ 17812 h 585406"/>
                <a:gd name="connsiteX359" fmla="*/ 219646 w 566166"/>
                <a:gd name="connsiteY359" fmla="*/ 21431 h 585406"/>
                <a:gd name="connsiteX360" fmla="*/ 220123 w 566166"/>
                <a:gd name="connsiteY360" fmla="*/ 24955 h 585406"/>
                <a:gd name="connsiteX361" fmla="*/ 213646 w 566166"/>
                <a:gd name="connsiteY361" fmla="*/ 31242 h 585406"/>
                <a:gd name="connsiteX362" fmla="*/ 210788 w 566166"/>
                <a:gd name="connsiteY362" fmla="*/ 37052 h 585406"/>
                <a:gd name="connsiteX363" fmla="*/ 215360 w 566166"/>
                <a:gd name="connsiteY363" fmla="*/ 43720 h 585406"/>
                <a:gd name="connsiteX364" fmla="*/ 222028 w 566166"/>
                <a:gd name="connsiteY364" fmla="*/ 39148 h 585406"/>
                <a:gd name="connsiteX365" fmla="*/ 228124 w 566166"/>
                <a:gd name="connsiteY365" fmla="*/ 43815 h 585406"/>
                <a:gd name="connsiteX366" fmla="*/ 231934 w 566166"/>
                <a:gd name="connsiteY366" fmla="*/ 45148 h 585406"/>
                <a:gd name="connsiteX367" fmla="*/ 240697 w 566166"/>
                <a:gd name="connsiteY367" fmla="*/ 42196 h 585406"/>
                <a:gd name="connsiteX368" fmla="*/ 245269 w 566166"/>
                <a:gd name="connsiteY368" fmla="*/ 48863 h 585406"/>
                <a:gd name="connsiteX369" fmla="*/ 249364 w 566166"/>
                <a:gd name="connsiteY369" fmla="*/ 51911 h 585406"/>
                <a:gd name="connsiteX370" fmla="*/ 252127 w 566166"/>
                <a:gd name="connsiteY370" fmla="*/ 58769 h 585406"/>
                <a:gd name="connsiteX371" fmla="*/ 259651 w 566166"/>
                <a:gd name="connsiteY371" fmla="*/ 46863 h 585406"/>
                <a:gd name="connsiteX372" fmla="*/ 267081 w 566166"/>
                <a:gd name="connsiteY372" fmla="*/ 47625 h 585406"/>
                <a:gd name="connsiteX373" fmla="*/ 267271 w 566166"/>
                <a:gd name="connsiteY373" fmla="*/ 49435 h 585406"/>
                <a:gd name="connsiteX374" fmla="*/ 266224 w 566166"/>
                <a:gd name="connsiteY374" fmla="*/ 55054 h 585406"/>
                <a:gd name="connsiteX375" fmla="*/ 266700 w 566166"/>
                <a:gd name="connsiteY375" fmla="*/ 58579 h 585406"/>
                <a:gd name="connsiteX376" fmla="*/ 262033 w 566166"/>
                <a:gd name="connsiteY376" fmla="*/ 64579 h 585406"/>
                <a:gd name="connsiteX377" fmla="*/ 264033 w 566166"/>
                <a:gd name="connsiteY377" fmla="*/ 66103 h 585406"/>
                <a:gd name="connsiteX378" fmla="*/ 277273 w 566166"/>
                <a:gd name="connsiteY378" fmla="*/ 69818 h 585406"/>
                <a:gd name="connsiteX379" fmla="*/ 280035 w 566166"/>
                <a:gd name="connsiteY379" fmla="*/ 76676 h 585406"/>
                <a:gd name="connsiteX380" fmla="*/ 276701 w 566166"/>
                <a:gd name="connsiteY380" fmla="*/ 78867 h 585406"/>
                <a:gd name="connsiteX381" fmla="*/ 276320 w 566166"/>
                <a:gd name="connsiteY381" fmla="*/ 89821 h 585406"/>
                <a:gd name="connsiteX382" fmla="*/ 271177 w 566166"/>
                <a:gd name="connsiteY382" fmla="*/ 92297 h 585406"/>
                <a:gd name="connsiteX383" fmla="*/ 269843 w 566166"/>
                <a:gd name="connsiteY383" fmla="*/ 96107 h 585406"/>
                <a:gd name="connsiteX384" fmla="*/ 275939 w 566166"/>
                <a:gd name="connsiteY384" fmla="*/ 100679 h 585406"/>
                <a:gd name="connsiteX385" fmla="*/ 281559 w 566166"/>
                <a:gd name="connsiteY385" fmla="*/ 101727 h 585406"/>
                <a:gd name="connsiteX386" fmla="*/ 284035 w 566166"/>
                <a:gd name="connsiteY386" fmla="*/ 106871 h 585406"/>
                <a:gd name="connsiteX387" fmla="*/ 287655 w 566166"/>
                <a:gd name="connsiteY387" fmla="*/ 106394 h 585406"/>
                <a:gd name="connsiteX388" fmla="*/ 289941 w 566166"/>
                <a:gd name="connsiteY388" fmla="*/ 109728 h 585406"/>
                <a:gd name="connsiteX389" fmla="*/ 293560 w 566166"/>
                <a:gd name="connsiteY389" fmla="*/ 109252 h 585406"/>
                <a:gd name="connsiteX390" fmla="*/ 290036 w 566166"/>
                <a:gd name="connsiteY390" fmla="*/ 124206 h 585406"/>
                <a:gd name="connsiteX391" fmla="*/ 295370 w 566166"/>
                <a:gd name="connsiteY391" fmla="*/ 123444 h 585406"/>
                <a:gd name="connsiteX392" fmla="*/ 297180 w 566166"/>
                <a:gd name="connsiteY392" fmla="*/ 123253 h 585406"/>
                <a:gd name="connsiteX393" fmla="*/ 294322 w 566166"/>
                <a:gd name="connsiteY393" fmla="*/ 129064 h 585406"/>
                <a:gd name="connsiteX394" fmla="*/ 300133 w 566166"/>
                <a:gd name="connsiteY394" fmla="*/ 131921 h 585406"/>
                <a:gd name="connsiteX395" fmla="*/ 301657 w 566166"/>
                <a:gd name="connsiteY395" fmla="*/ 129921 h 585406"/>
                <a:gd name="connsiteX396" fmla="*/ 303657 w 566166"/>
                <a:gd name="connsiteY396" fmla="*/ 131445 h 585406"/>
                <a:gd name="connsiteX397" fmla="*/ 323374 w 566166"/>
                <a:gd name="connsiteY397" fmla="*/ 128778 h 585406"/>
                <a:gd name="connsiteX398" fmla="*/ 324898 w 566166"/>
                <a:gd name="connsiteY398" fmla="*/ 126778 h 585406"/>
                <a:gd name="connsiteX399" fmla="*/ 326422 w 566166"/>
                <a:gd name="connsiteY399" fmla="*/ 124777 h 585406"/>
                <a:gd name="connsiteX400" fmla="*/ 331851 w 566166"/>
                <a:gd name="connsiteY400" fmla="*/ 124015 h 585406"/>
                <a:gd name="connsiteX401" fmla="*/ 335185 w 566166"/>
                <a:gd name="connsiteY401" fmla="*/ 121729 h 585406"/>
                <a:gd name="connsiteX402" fmla="*/ 338614 w 566166"/>
                <a:gd name="connsiteY402" fmla="*/ 119443 h 585406"/>
                <a:gd name="connsiteX403" fmla="*/ 346043 w 566166"/>
                <a:gd name="connsiteY403" fmla="*/ 120301 h 585406"/>
                <a:gd name="connsiteX404" fmla="*/ 345567 w 566166"/>
                <a:gd name="connsiteY404" fmla="*/ 116776 h 585406"/>
                <a:gd name="connsiteX405" fmla="*/ 357473 w 566166"/>
                <a:gd name="connsiteY405" fmla="*/ 109728 h 585406"/>
                <a:gd name="connsiteX406" fmla="*/ 360807 w 566166"/>
                <a:gd name="connsiteY406" fmla="*/ 107442 h 585406"/>
                <a:gd name="connsiteX407" fmla="*/ 364903 w 566166"/>
                <a:gd name="connsiteY407" fmla="*/ 110490 h 585406"/>
                <a:gd name="connsiteX408" fmla="*/ 363569 w 566166"/>
                <a:gd name="connsiteY408" fmla="*/ 114300 h 585406"/>
                <a:gd name="connsiteX409" fmla="*/ 368998 w 566166"/>
                <a:gd name="connsiteY409" fmla="*/ 113538 h 585406"/>
                <a:gd name="connsiteX410" fmla="*/ 372237 w 566166"/>
                <a:gd name="connsiteY410" fmla="*/ 124015 h 585406"/>
                <a:gd name="connsiteX411" fmla="*/ 370046 w 566166"/>
                <a:gd name="connsiteY411" fmla="*/ 135160 h 585406"/>
                <a:gd name="connsiteX412" fmla="*/ 380143 w 566166"/>
                <a:gd name="connsiteY412" fmla="*/ 142875 h 585406"/>
                <a:gd name="connsiteX413" fmla="*/ 376142 w 566166"/>
                <a:gd name="connsiteY413" fmla="*/ 154305 h 585406"/>
                <a:gd name="connsiteX414" fmla="*/ 378905 w 566166"/>
                <a:gd name="connsiteY414" fmla="*/ 161163 h 585406"/>
                <a:gd name="connsiteX415" fmla="*/ 372999 w 566166"/>
                <a:gd name="connsiteY415" fmla="*/ 158305 h 585406"/>
                <a:gd name="connsiteX416" fmla="*/ 360997 w 566166"/>
                <a:gd name="connsiteY416" fmla="*/ 150781 h 585406"/>
                <a:gd name="connsiteX417" fmla="*/ 361474 w 566166"/>
                <a:gd name="connsiteY417" fmla="*/ 154305 h 585406"/>
                <a:gd name="connsiteX418" fmla="*/ 359664 w 566166"/>
                <a:gd name="connsiteY418" fmla="*/ 154496 h 585406"/>
                <a:gd name="connsiteX419" fmla="*/ 358330 w 566166"/>
                <a:gd name="connsiteY419" fmla="*/ 158305 h 585406"/>
                <a:gd name="connsiteX420" fmla="*/ 360616 w 566166"/>
                <a:gd name="connsiteY420" fmla="*/ 161639 h 585406"/>
                <a:gd name="connsiteX421" fmla="*/ 358807 w 566166"/>
                <a:gd name="connsiteY421" fmla="*/ 161830 h 585406"/>
                <a:gd name="connsiteX422" fmla="*/ 353378 w 566166"/>
                <a:gd name="connsiteY422" fmla="*/ 162496 h 585406"/>
                <a:gd name="connsiteX423" fmla="*/ 350615 w 566166"/>
                <a:gd name="connsiteY423" fmla="*/ 155638 h 585406"/>
                <a:gd name="connsiteX424" fmla="*/ 338042 w 566166"/>
                <a:gd name="connsiteY424" fmla="*/ 157258 h 585406"/>
                <a:gd name="connsiteX425" fmla="*/ 333756 w 566166"/>
                <a:gd name="connsiteY425" fmla="*/ 152400 h 585406"/>
                <a:gd name="connsiteX426" fmla="*/ 329755 w 566166"/>
                <a:gd name="connsiteY426" fmla="*/ 163830 h 585406"/>
                <a:gd name="connsiteX427" fmla="*/ 325946 w 566166"/>
                <a:gd name="connsiteY427" fmla="*/ 162496 h 585406"/>
                <a:gd name="connsiteX428" fmla="*/ 320992 w 566166"/>
                <a:gd name="connsiteY428" fmla="*/ 166783 h 585406"/>
                <a:gd name="connsiteX429" fmla="*/ 317373 w 566166"/>
                <a:gd name="connsiteY429" fmla="*/ 167259 h 585406"/>
                <a:gd name="connsiteX430" fmla="*/ 316325 w 566166"/>
                <a:gd name="connsiteY430" fmla="*/ 172784 h 585406"/>
                <a:gd name="connsiteX431" fmla="*/ 316516 w 566166"/>
                <a:gd name="connsiteY431" fmla="*/ 174593 h 585406"/>
                <a:gd name="connsiteX432" fmla="*/ 312896 w 566166"/>
                <a:gd name="connsiteY432" fmla="*/ 175069 h 585406"/>
                <a:gd name="connsiteX433" fmla="*/ 313372 w 566166"/>
                <a:gd name="connsiteY433" fmla="*/ 178689 h 585406"/>
                <a:gd name="connsiteX434" fmla="*/ 315373 w 566166"/>
                <a:gd name="connsiteY434" fmla="*/ 180213 h 585406"/>
                <a:gd name="connsiteX435" fmla="*/ 312230 w 566166"/>
                <a:gd name="connsiteY435" fmla="*/ 184213 h 585406"/>
                <a:gd name="connsiteX436" fmla="*/ 302800 w 566166"/>
                <a:gd name="connsiteY436" fmla="*/ 181832 h 585406"/>
                <a:gd name="connsiteX437" fmla="*/ 299942 w 566166"/>
                <a:gd name="connsiteY437" fmla="*/ 187642 h 585406"/>
                <a:gd name="connsiteX438" fmla="*/ 302228 w 566166"/>
                <a:gd name="connsiteY438" fmla="*/ 190976 h 585406"/>
                <a:gd name="connsiteX439" fmla="*/ 295084 w 566166"/>
                <a:gd name="connsiteY439" fmla="*/ 191929 h 585406"/>
                <a:gd name="connsiteX440" fmla="*/ 293275 w 566166"/>
                <a:gd name="connsiteY440" fmla="*/ 192214 h 585406"/>
                <a:gd name="connsiteX441" fmla="*/ 301180 w 566166"/>
                <a:gd name="connsiteY441" fmla="*/ 196596 h 585406"/>
                <a:gd name="connsiteX442" fmla="*/ 297847 w 566166"/>
                <a:gd name="connsiteY442" fmla="*/ 198882 h 585406"/>
                <a:gd name="connsiteX443" fmla="*/ 299847 w 566166"/>
                <a:gd name="connsiteY443" fmla="*/ 200406 h 585406"/>
                <a:gd name="connsiteX444" fmla="*/ 298323 w 566166"/>
                <a:gd name="connsiteY444" fmla="*/ 202406 h 585406"/>
                <a:gd name="connsiteX445" fmla="*/ 301085 w 566166"/>
                <a:gd name="connsiteY445" fmla="*/ 209264 h 585406"/>
                <a:gd name="connsiteX446" fmla="*/ 293846 w 566166"/>
                <a:gd name="connsiteY446" fmla="*/ 210217 h 585406"/>
                <a:gd name="connsiteX447" fmla="*/ 292703 w 566166"/>
                <a:gd name="connsiteY447" fmla="*/ 201359 h 585406"/>
                <a:gd name="connsiteX448" fmla="*/ 290703 w 566166"/>
                <a:gd name="connsiteY448" fmla="*/ 199834 h 585406"/>
                <a:gd name="connsiteX449" fmla="*/ 284226 w 566166"/>
                <a:gd name="connsiteY449" fmla="*/ 206121 h 585406"/>
                <a:gd name="connsiteX450" fmla="*/ 283083 w 566166"/>
                <a:gd name="connsiteY450" fmla="*/ 211741 h 585406"/>
                <a:gd name="connsiteX451" fmla="*/ 278511 w 566166"/>
                <a:gd name="connsiteY451" fmla="*/ 205073 h 585406"/>
                <a:gd name="connsiteX452" fmla="*/ 275177 w 566166"/>
                <a:gd name="connsiteY452" fmla="*/ 207359 h 585406"/>
                <a:gd name="connsiteX453" fmla="*/ 272034 w 566166"/>
                <a:gd name="connsiteY453" fmla="*/ 211360 h 585406"/>
                <a:gd name="connsiteX454" fmla="*/ 272224 w 566166"/>
                <a:gd name="connsiteY454" fmla="*/ 213170 h 585406"/>
                <a:gd name="connsiteX455" fmla="*/ 277273 w 566166"/>
                <a:gd name="connsiteY455" fmla="*/ 223361 h 585406"/>
                <a:gd name="connsiteX456" fmla="*/ 271939 w 566166"/>
                <a:gd name="connsiteY456" fmla="*/ 224123 h 585406"/>
                <a:gd name="connsiteX457" fmla="*/ 260699 w 566166"/>
                <a:gd name="connsiteY457" fmla="*/ 221932 h 585406"/>
                <a:gd name="connsiteX458" fmla="*/ 261938 w 566166"/>
                <a:gd name="connsiteY458" fmla="*/ 218122 h 585406"/>
                <a:gd name="connsiteX459" fmla="*/ 254032 w 566166"/>
                <a:gd name="connsiteY459" fmla="*/ 213741 h 585406"/>
                <a:gd name="connsiteX460" fmla="*/ 247269 w 566166"/>
                <a:gd name="connsiteY460" fmla="*/ 203740 h 585406"/>
                <a:gd name="connsiteX461" fmla="*/ 253460 w 566166"/>
                <a:gd name="connsiteY461" fmla="*/ 195643 h 585406"/>
                <a:gd name="connsiteX462" fmla="*/ 238792 w 566166"/>
                <a:gd name="connsiteY462" fmla="*/ 181261 h 585406"/>
                <a:gd name="connsiteX463" fmla="*/ 237458 w 566166"/>
                <a:gd name="connsiteY463" fmla="*/ 185071 h 585406"/>
                <a:gd name="connsiteX464" fmla="*/ 235458 w 566166"/>
                <a:gd name="connsiteY464" fmla="*/ 183547 h 585406"/>
                <a:gd name="connsiteX465" fmla="*/ 232696 w 566166"/>
                <a:gd name="connsiteY465" fmla="*/ 176689 h 585406"/>
                <a:gd name="connsiteX466" fmla="*/ 225266 w 566166"/>
                <a:gd name="connsiteY466" fmla="*/ 175831 h 585406"/>
                <a:gd name="connsiteX467" fmla="*/ 227266 w 566166"/>
                <a:gd name="connsiteY467" fmla="*/ 177355 h 585406"/>
                <a:gd name="connsiteX468" fmla="*/ 221837 w 566166"/>
                <a:gd name="connsiteY468" fmla="*/ 178022 h 585406"/>
                <a:gd name="connsiteX469" fmla="*/ 211646 w 566166"/>
                <a:gd name="connsiteY469" fmla="*/ 170307 h 585406"/>
                <a:gd name="connsiteX470" fmla="*/ 206978 w 566166"/>
                <a:gd name="connsiteY470" fmla="*/ 176403 h 585406"/>
                <a:gd name="connsiteX471" fmla="*/ 200978 w 566166"/>
                <a:gd name="connsiteY471" fmla="*/ 186309 h 585406"/>
                <a:gd name="connsiteX472" fmla="*/ 201644 w 566166"/>
                <a:gd name="connsiteY472" fmla="*/ 191643 h 585406"/>
                <a:gd name="connsiteX473" fmla="*/ 198310 w 566166"/>
                <a:gd name="connsiteY473" fmla="*/ 193929 h 585406"/>
                <a:gd name="connsiteX474" fmla="*/ 198787 w 566166"/>
                <a:gd name="connsiteY474" fmla="*/ 197453 h 585406"/>
                <a:gd name="connsiteX475" fmla="*/ 197263 w 566166"/>
                <a:gd name="connsiteY475" fmla="*/ 199453 h 585406"/>
                <a:gd name="connsiteX476" fmla="*/ 204025 w 566166"/>
                <a:gd name="connsiteY476" fmla="*/ 209455 h 585406"/>
                <a:gd name="connsiteX477" fmla="*/ 198882 w 566166"/>
                <a:gd name="connsiteY477" fmla="*/ 211931 h 585406"/>
                <a:gd name="connsiteX478" fmla="*/ 199168 w 566166"/>
                <a:gd name="connsiteY478" fmla="*/ 213741 h 585406"/>
                <a:gd name="connsiteX479" fmla="*/ 204597 w 566166"/>
                <a:gd name="connsiteY479" fmla="*/ 212979 h 585406"/>
                <a:gd name="connsiteX480" fmla="*/ 198596 w 566166"/>
                <a:gd name="connsiteY480" fmla="*/ 222885 h 585406"/>
                <a:gd name="connsiteX481" fmla="*/ 194596 w 566166"/>
                <a:gd name="connsiteY481" fmla="*/ 234315 h 585406"/>
                <a:gd name="connsiteX482" fmla="*/ 189166 w 566166"/>
                <a:gd name="connsiteY482" fmla="*/ 234982 h 585406"/>
                <a:gd name="connsiteX483" fmla="*/ 187357 w 566166"/>
                <a:gd name="connsiteY483" fmla="*/ 235267 h 585406"/>
                <a:gd name="connsiteX484" fmla="*/ 193262 w 566166"/>
                <a:gd name="connsiteY484" fmla="*/ 238125 h 585406"/>
                <a:gd name="connsiteX485" fmla="*/ 188119 w 566166"/>
                <a:gd name="connsiteY485" fmla="*/ 240601 h 585406"/>
                <a:gd name="connsiteX486" fmla="*/ 190595 w 566166"/>
                <a:gd name="connsiteY486" fmla="*/ 245650 h 585406"/>
                <a:gd name="connsiteX487" fmla="*/ 188976 w 566166"/>
                <a:gd name="connsiteY487" fmla="*/ 247650 h 585406"/>
                <a:gd name="connsiteX488" fmla="*/ 183261 w 566166"/>
                <a:gd name="connsiteY488" fmla="*/ 259271 h 585406"/>
                <a:gd name="connsiteX489" fmla="*/ 181737 w 566166"/>
                <a:gd name="connsiteY489" fmla="*/ 261271 h 585406"/>
                <a:gd name="connsiteX490" fmla="*/ 187357 w 566166"/>
                <a:gd name="connsiteY490" fmla="*/ 262319 h 585406"/>
                <a:gd name="connsiteX491" fmla="*/ 189833 w 566166"/>
                <a:gd name="connsiteY491" fmla="*/ 267462 h 585406"/>
                <a:gd name="connsiteX492" fmla="*/ 193357 w 566166"/>
                <a:gd name="connsiteY492" fmla="*/ 266986 h 585406"/>
                <a:gd name="connsiteX493" fmla="*/ 199263 w 566166"/>
                <a:gd name="connsiteY493" fmla="*/ 269843 h 585406"/>
                <a:gd name="connsiteX494" fmla="*/ 198406 w 566166"/>
                <a:gd name="connsiteY494" fmla="*/ 277178 h 585406"/>
                <a:gd name="connsiteX495" fmla="*/ 204502 w 566166"/>
                <a:gd name="connsiteY495" fmla="*/ 281845 h 585406"/>
                <a:gd name="connsiteX496" fmla="*/ 207740 w 566166"/>
                <a:gd name="connsiteY496" fmla="*/ 292322 h 585406"/>
                <a:gd name="connsiteX497" fmla="*/ 213360 w 566166"/>
                <a:gd name="connsiteY497" fmla="*/ 293370 h 585406"/>
                <a:gd name="connsiteX498" fmla="*/ 220504 w 566166"/>
                <a:gd name="connsiteY498" fmla="*/ 292417 h 585406"/>
                <a:gd name="connsiteX499" fmla="*/ 224314 w 566166"/>
                <a:gd name="connsiteY499" fmla="*/ 293751 h 585406"/>
                <a:gd name="connsiteX500" fmla="*/ 225171 w 566166"/>
                <a:gd name="connsiteY500" fmla="*/ 286417 h 585406"/>
                <a:gd name="connsiteX501" fmla="*/ 230314 w 566166"/>
                <a:gd name="connsiteY501" fmla="*/ 283940 h 585406"/>
                <a:gd name="connsiteX502" fmla="*/ 236410 w 566166"/>
                <a:gd name="connsiteY502" fmla="*/ 288607 h 585406"/>
                <a:gd name="connsiteX503" fmla="*/ 240030 w 566166"/>
                <a:gd name="connsiteY503" fmla="*/ 288131 h 585406"/>
                <a:gd name="connsiteX504" fmla="*/ 243649 w 566166"/>
                <a:gd name="connsiteY504" fmla="*/ 302133 h 585406"/>
                <a:gd name="connsiteX505" fmla="*/ 244126 w 566166"/>
                <a:gd name="connsiteY505" fmla="*/ 305657 h 585406"/>
                <a:gd name="connsiteX506" fmla="*/ 265271 w 566166"/>
                <a:gd name="connsiteY506" fmla="*/ 313658 h 585406"/>
                <a:gd name="connsiteX507" fmla="*/ 264414 w 566166"/>
                <a:gd name="connsiteY507" fmla="*/ 321088 h 585406"/>
                <a:gd name="connsiteX508" fmla="*/ 276130 w 566166"/>
                <a:gd name="connsiteY508" fmla="*/ 326803 h 585406"/>
                <a:gd name="connsiteX509" fmla="*/ 282892 w 566166"/>
                <a:gd name="connsiteY509" fmla="*/ 322326 h 585406"/>
                <a:gd name="connsiteX510" fmla="*/ 292322 w 566166"/>
                <a:gd name="connsiteY510" fmla="*/ 324707 h 585406"/>
                <a:gd name="connsiteX511" fmla="*/ 290703 w 566166"/>
                <a:gd name="connsiteY511" fmla="*/ 326707 h 585406"/>
                <a:gd name="connsiteX512" fmla="*/ 296608 w 566166"/>
                <a:gd name="connsiteY512" fmla="*/ 329565 h 585406"/>
                <a:gd name="connsiteX513" fmla="*/ 298513 w 566166"/>
                <a:gd name="connsiteY513" fmla="*/ 343853 h 585406"/>
                <a:gd name="connsiteX514" fmla="*/ 300514 w 566166"/>
                <a:gd name="connsiteY514" fmla="*/ 345376 h 585406"/>
                <a:gd name="connsiteX515" fmla="*/ 316421 w 566166"/>
                <a:gd name="connsiteY515" fmla="*/ 341471 h 585406"/>
                <a:gd name="connsiteX516" fmla="*/ 319088 w 566166"/>
                <a:gd name="connsiteY516" fmla="*/ 333851 h 585406"/>
                <a:gd name="connsiteX517" fmla="*/ 321088 w 566166"/>
                <a:gd name="connsiteY517" fmla="*/ 335375 h 585406"/>
                <a:gd name="connsiteX518" fmla="*/ 332137 w 566166"/>
                <a:gd name="connsiteY518" fmla="*/ 335756 h 585406"/>
                <a:gd name="connsiteX519" fmla="*/ 334137 w 566166"/>
                <a:gd name="connsiteY519" fmla="*/ 337280 h 585406"/>
                <a:gd name="connsiteX520" fmla="*/ 329184 w 566166"/>
                <a:gd name="connsiteY520" fmla="*/ 341566 h 585406"/>
                <a:gd name="connsiteX521" fmla="*/ 331184 w 566166"/>
                <a:gd name="connsiteY521" fmla="*/ 343090 h 585406"/>
                <a:gd name="connsiteX522" fmla="*/ 331470 w 566166"/>
                <a:gd name="connsiteY522" fmla="*/ 344900 h 585406"/>
                <a:gd name="connsiteX523" fmla="*/ 335280 w 566166"/>
                <a:gd name="connsiteY523" fmla="*/ 346234 h 585406"/>
                <a:gd name="connsiteX524" fmla="*/ 331946 w 566166"/>
                <a:gd name="connsiteY524" fmla="*/ 362998 h 585406"/>
                <a:gd name="connsiteX525" fmla="*/ 331089 w 566166"/>
                <a:gd name="connsiteY525" fmla="*/ 370332 h 585406"/>
                <a:gd name="connsiteX526" fmla="*/ 338328 w 566166"/>
                <a:gd name="connsiteY526" fmla="*/ 369380 h 585406"/>
                <a:gd name="connsiteX527" fmla="*/ 338042 w 566166"/>
                <a:gd name="connsiteY527" fmla="*/ 367570 h 585406"/>
                <a:gd name="connsiteX528" fmla="*/ 339566 w 566166"/>
                <a:gd name="connsiteY528" fmla="*/ 365570 h 585406"/>
                <a:gd name="connsiteX529" fmla="*/ 344710 w 566166"/>
                <a:gd name="connsiteY529" fmla="*/ 363093 h 585406"/>
                <a:gd name="connsiteX530" fmla="*/ 350615 w 566166"/>
                <a:gd name="connsiteY530" fmla="*/ 365855 h 585406"/>
                <a:gd name="connsiteX531" fmla="*/ 366998 w 566166"/>
                <a:gd name="connsiteY531" fmla="*/ 365474 h 585406"/>
                <a:gd name="connsiteX532" fmla="*/ 369189 w 566166"/>
                <a:gd name="connsiteY532" fmla="*/ 354330 h 585406"/>
                <a:gd name="connsiteX533" fmla="*/ 374523 w 566166"/>
                <a:gd name="connsiteY533" fmla="*/ 353568 h 585406"/>
                <a:gd name="connsiteX534" fmla="*/ 373951 w 566166"/>
                <a:gd name="connsiteY534" fmla="*/ 362712 h 585406"/>
                <a:gd name="connsiteX535" fmla="*/ 376904 w 566166"/>
                <a:gd name="connsiteY535" fmla="*/ 371380 h 585406"/>
                <a:gd name="connsiteX536" fmla="*/ 369760 w 566166"/>
                <a:gd name="connsiteY536" fmla="*/ 372332 h 585406"/>
                <a:gd name="connsiteX537" fmla="*/ 370713 w 566166"/>
                <a:gd name="connsiteY537" fmla="*/ 379476 h 585406"/>
                <a:gd name="connsiteX538" fmla="*/ 363474 w 566166"/>
                <a:gd name="connsiteY538" fmla="*/ 380429 h 585406"/>
                <a:gd name="connsiteX539" fmla="*/ 362045 w 566166"/>
                <a:gd name="connsiteY539" fmla="*/ 396907 h 585406"/>
                <a:gd name="connsiteX540" fmla="*/ 364522 w 566166"/>
                <a:gd name="connsiteY540" fmla="*/ 402050 h 585406"/>
                <a:gd name="connsiteX541" fmla="*/ 368332 w 566166"/>
                <a:gd name="connsiteY541" fmla="*/ 403384 h 585406"/>
                <a:gd name="connsiteX542" fmla="*/ 367379 w 566166"/>
                <a:gd name="connsiteY542" fmla="*/ 396240 h 585406"/>
                <a:gd name="connsiteX543" fmla="*/ 370522 w 566166"/>
                <a:gd name="connsiteY543" fmla="*/ 392239 h 585406"/>
                <a:gd name="connsiteX544" fmla="*/ 373856 w 566166"/>
                <a:gd name="connsiteY544" fmla="*/ 389954 h 585406"/>
                <a:gd name="connsiteX545" fmla="*/ 390525 w 566166"/>
                <a:gd name="connsiteY545" fmla="*/ 391382 h 585406"/>
                <a:gd name="connsiteX546" fmla="*/ 394621 w 566166"/>
                <a:gd name="connsiteY546" fmla="*/ 394430 h 585406"/>
                <a:gd name="connsiteX547" fmla="*/ 400050 w 566166"/>
                <a:gd name="connsiteY547" fmla="*/ 393668 h 585406"/>
                <a:gd name="connsiteX548" fmla="*/ 407480 w 566166"/>
                <a:gd name="connsiteY548" fmla="*/ 394525 h 585406"/>
                <a:gd name="connsiteX549" fmla="*/ 407194 w 566166"/>
                <a:gd name="connsiteY549" fmla="*/ 392716 h 585406"/>
                <a:gd name="connsiteX550" fmla="*/ 410718 w 566166"/>
                <a:gd name="connsiteY550" fmla="*/ 392239 h 585406"/>
                <a:gd name="connsiteX551" fmla="*/ 410242 w 566166"/>
                <a:gd name="connsiteY551" fmla="*/ 388715 h 585406"/>
                <a:gd name="connsiteX552" fmla="*/ 413861 w 566166"/>
                <a:gd name="connsiteY552" fmla="*/ 388239 h 585406"/>
                <a:gd name="connsiteX553" fmla="*/ 416338 w 566166"/>
                <a:gd name="connsiteY553" fmla="*/ 378809 h 585406"/>
                <a:gd name="connsiteX554" fmla="*/ 420148 w 566166"/>
                <a:gd name="connsiteY554" fmla="*/ 380143 h 585406"/>
                <a:gd name="connsiteX555" fmla="*/ 426910 w 566166"/>
                <a:gd name="connsiteY555" fmla="*/ 375666 h 585406"/>
                <a:gd name="connsiteX556" fmla="*/ 428911 w 566166"/>
                <a:gd name="connsiteY556" fmla="*/ 377190 h 585406"/>
                <a:gd name="connsiteX557" fmla="*/ 437674 w 566166"/>
                <a:gd name="connsiteY557" fmla="*/ 374237 h 585406"/>
                <a:gd name="connsiteX558" fmla="*/ 436531 w 566166"/>
                <a:gd name="connsiteY558" fmla="*/ 365284 h 585406"/>
                <a:gd name="connsiteX559" fmla="*/ 436912 w 566166"/>
                <a:gd name="connsiteY559" fmla="*/ 354330 h 585406"/>
                <a:gd name="connsiteX560" fmla="*/ 440531 w 566166"/>
                <a:gd name="connsiteY560" fmla="*/ 353854 h 585406"/>
                <a:gd name="connsiteX561" fmla="*/ 440246 w 566166"/>
                <a:gd name="connsiteY561" fmla="*/ 352044 h 585406"/>
                <a:gd name="connsiteX562" fmla="*/ 432816 w 566166"/>
                <a:gd name="connsiteY562" fmla="*/ 351187 h 585406"/>
                <a:gd name="connsiteX563" fmla="*/ 428244 w 566166"/>
                <a:gd name="connsiteY563" fmla="*/ 344519 h 585406"/>
                <a:gd name="connsiteX564" fmla="*/ 426339 w 566166"/>
                <a:gd name="connsiteY564" fmla="*/ 330232 h 585406"/>
                <a:gd name="connsiteX565" fmla="*/ 428149 w 566166"/>
                <a:gd name="connsiteY565" fmla="*/ 329946 h 585406"/>
                <a:gd name="connsiteX566" fmla="*/ 425672 w 566166"/>
                <a:gd name="connsiteY566" fmla="*/ 324803 h 585406"/>
                <a:gd name="connsiteX567" fmla="*/ 431863 w 566166"/>
                <a:gd name="connsiteY567" fmla="*/ 316706 h 585406"/>
                <a:gd name="connsiteX568" fmla="*/ 421957 w 566166"/>
                <a:gd name="connsiteY568" fmla="*/ 310801 h 585406"/>
                <a:gd name="connsiteX569" fmla="*/ 423100 w 566166"/>
                <a:gd name="connsiteY569" fmla="*/ 305181 h 585406"/>
                <a:gd name="connsiteX570" fmla="*/ 422148 w 566166"/>
                <a:gd name="connsiteY570" fmla="*/ 298037 h 585406"/>
                <a:gd name="connsiteX571" fmla="*/ 436245 w 566166"/>
                <a:gd name="connsiteY571" fmla="*/ 294322 h 585406"/>
                <a:gd name="connsiteX572" fmla="*/ 433959 w 566166"/>
                <a:gd name="connsiteY572" fmla="*/ 290989 h 585406"/>
                <a:gd name="connsiteX573" fmla="*/ 439103 w 566166"/>
                <a:gd name="connsiteY573" fmla="*/ 288512 h 585406"/>
                <a:gd name="connsiteX574" fmla="*/ 442722 w 566166"/>
                <a:gd name="connsiteY574" fmla="*/ 288036 h 585406"/>
                <a:gd name="connsiteX575" fmla="*/ 444246 w 566166"/>
                <a:gd name="connsiteY575" fmla="*/ 286036 h 585406"/>
                <a:gd name="connsiteX576" fmla="*/ 443770 w 566166"/>
                <a:gd name="connsiteY576" fmla="*/ 282512 h 585406"/>
                <a:gd name="connsiteX577" fmla="*/ 442341 w 566166"/>
                <a:gd name="connsiteY577" fmla="*/ 271844 h 585406"/>
                <a:gd name="connsiteX578" fmla="*/ 443389 w 566166"/>
                <a:gd name="connsiteY578" fmla="*/ 266224 h 585406"/>
                <a:gd name="connsiteX579" fmla="*/ 437483 w 566166"/>
                <a:gd name="connsiteY579" fmla="*/ 263366 h 585406"/>
                <a:gd name="connsiteX580" fmla="*/ 437197 w 566166"/>
                <a:gd name="connsiteY580" fmla="*/ 261556 h 585406"/>
                <a:gd name="connsiteX581" fmla="*/ 443960 w 566166"/>
                <a:gd name="connsiteY581" fmla="*/ 257080 h 585406"/>
                <a:gd name="connsiteX582" fmla="*/ 443484 w 566166"/>
                <a:gd name="connsiteY582" fmla="*/ 253555 h 585406"/>
                <a:gd name="connsiteX583" fmla="*/ 439388 w 566166"/>
                <a:gd name="connsiteY583" fmla="*/ 250507 h 585406"/>
                <a:gd name="connsiteX584" fmla="*/ 443008 w 566166"/>
                <a:gd name="connsiteY584" fmla="*/ 250031 h 585406"/>
                <a:gd name="connsiteX585" fmla="*/ 440055 w 566166"/>
                <a:gd name="connsiteY585" fmla="*/ 241363 h 585406"/>
                <a:gd name="connsiteX586" fmla="*/ 444532 w 566166"/>
                <a:gd name="connsiteY586" fmla="*/ 233553 h 585406"/>
                <a:gd name="connsiteX587" fmla="*/ 451009 w 566166"/>
                <a:gd name="connsiteY587" fmla="*/ 227266 h 585406"/>
                <a:gd name="connsiteX588" fmla="*/ 447770 w 566166"/>
                <a:gd name="connsiteY588" fmla="*/ 216789 h 585406"/>
                <a:gd name="connsiteX589" fmla="*/ 438817 w 566166"/>
                <a:gd name="connsiteY589" fmla="*/ 217932 h 585406"/>
                <a:gd name="connsiteX590" fmla="*/ 437483 w 566166"/>
                <a:gd name="connsiteY590" fmla="*/ 221742 h 585406"/>
                <a:gd name="connsiteX591" fmla="*/ 433864 w 566166"/>
                <a:gd name="connsiteY591" fmla="*/ 222218 h 585406"/>
                <a:gd name="connsiteX592" fmla="*/ 431482 w 566166"/>
                <a:gd name="connsiteY592" fmla="*/ 231648 h 585406"/>
                <a:gd name="connsiteX593" fmla="*/ 414909 w 566166"/>
                <a:gd name="connsiteY593" fmla="*/ 244697 h 585406"/>
                <a:gd name="connsiteX594" fmla="*/ 410718 w 566166"/>
                <a:gd name="connsiteY594" fmla="*/ 254317 h 585406"/>
                <a:gd name="connsiteX595" fmla="*/ 399002 w 566166"/>
                <a:gd name="connsiteY595" fmla="*/ 248603 h 585406"/>
                <a:gd name="connsiteX596" fmla="*/ 394716 w 566166"/>
                <a:gd name="connsiteY596" fmla="*/ 243745 h 585406"/>
                <a:gd name="connsiteX597" fmla="*/ 402241 w 566166"/>
                <a:gd name="connsiteY597" fmla="*/ 231838 h 585406"/>
                <a:gd name="connsiteX598" fmla="*/ 400240 w 566166"/>
                <a:gd name="connsiteY598" fmla="*/ 230314 h 585406"/>
                <a:gd name="connsiteX599" fmla="*/ 396621 w 566166"/>
                <a:gd name="connsiteY599" fmla="*/ 230791 h 585406"/>
                <a:gd name="connsiteX600" fmla="*/ 395954 w 566166"/>
                <a:gd name="connsiteY600" fmla="*/ 225457 h 585406"/>
                <a:gd name="connsiteX601" fmla="*/ 388239 w 566166"/>
                <a:gd name="connsiteY601" fmla="*/ 222885 h 585406"/>
                <a:gd name="connsiteX602" fmla="*/ 372428 w 566166"/>
                <a:gd name="connsiteY602" fmla="*/ 214122 h 585406"/>
                <a:gd name="connsiteX603" fmla="*/ 373761 w 566166"/>
                <a:gd name="connsiteY603" fmla="*/ 210312 h 585406"/>
                <a:gd name="connsiteX604" fmla="*/ 378905 w 566166"/>
                <a:gd name="connsiteY604" fmla="*/ 207836 h 585406"/>
                <a:gd name="connsiteX605" fmla="*/ 373380 w 566166"/>
                <a:gd name="connsiteY605" fmla="*/ 194024 h 585406"/>
                <a:gd name="connsiteX606" fmla="*/ 366808 w 566166"/>
                <a:gd name="connsiteY606" fmla="*/ 185833 h 585406"/>
                <a:gd name="connsiteX607" fmla="*/ 359664 w 566166"/>
                <a:gd name="connsiteY607" fmla="*/ 186785 h 585406"/>
                <a:gd name="connsiteX608" fmla="*/ 354901 w 566166"/>
                <a:gd name="connsiteY608" fmla="*/ 178403 h 585406"/>
                <a:gd name="connsiteX609" fmla="*/ 351282 w 566166"/>
                <a:gd name="connsiteY609" fmla="*/ 178879 h 585406"/>
                <a:gd name="connsiteX610" fmla="*/ 348996 w 566166"/>
                <a:gd name="connsiteY610" fmla="*/ 175546 h 585406"/>
                <a:gd name="connsiteX611" fmla="*/ 355759 w 566166"/>
                <a:gd name="connsiteY611" fmla="*/ 171069 h 585406"/>
                <a:gd name="connsiteX612" fmla="*/ 355282 w 566166"/>
                <a:gd name="connsiteY612" fmla="*/ 167449 h 585406"/>
                <a:gd name="connsiteX613" fmla="*/ 366522 w 566166"/>
                <a:gd name="connsiteY613" fmla="*/ 169640 h 585406"/>
                <a:gd name="connsiteX614" fmla="*/ 378142 w 566166"/>
                <a:gd name="connsiteY614" fmla="*/ 160877 h 585406"/>
                <a:gd name="connsiteX615" fmla="*/ 372237 w 566166"/>
                <a:gd name="connsiteY615" fmla="*/ 158020 h 585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</a:cxnLst>
              <a:rect l="l" t="t" r="r" b="b"/>
              <a:pathLst>
                <a:path w="566166" h="585406">
                  <a:moveTo>
                    <a:pt x="378809" y="160877"/>
                  </a:moveTo>
                  <a:lnTo>
                    <a:pt x="384715" y="163735"/>
                  </a:lnTo>
                  <a:lnTo>
                    <a:pt x="395478" y="162306"/>
                  </a:lnTo>
                  <a:lnTo>
                    <a:pt x="399955" y="154496"/>
                  </a:lnTo>
                  <a:lnTo>
                    <a:pt x="384810" y="136493"/>
                  </a:lnTo>
                  <a:lnTo>
                    <a:pt x="386810" y="138017"/>
                  </a:lnTo>
                  <a:lnTo>
                    <a:pt x="395097" y="131445"/>
                  </a:lnTo>
                  <a:lnTo>
                    <a:pt x="396240" y="125921"/>
                  </a:lnTo>
                  <a:lnTo>
                    <a:pt x="400050" y="127254"/>
                  </a:lnTo>
                  <a:lnTo>
                    <a:pt x="402526" y="132397"/>
                  </a:lnTo>
                  <a:lnTo>
                    <a:pt x="414909" y="128968"/>
                  </a:lnTo>
                  <a:lnTo>
                    <a:pt x="417385" y="134112"/>
                  </a:lnTo>
                  <a:lnTo>
                    <a:pt x="423196" y="136969"/>
                  </a:lnTo>
                  <a:lnTo>
                    <a:pt x="425672" y="142113"/>
                  </a:lnTo>
                  <a:lnTo>
                    <a:pt x="433768" y="148304"/>
                  </a:lnTo>
                  <a:lnTo>
                    <a:pt x="432435" y="152114"/>
                  </a:lnTo>
                  <a:lnTo>
                    <a:pt x="437197" y="160496"/>
                  </a:lnTo>
                  <a:lnTo>
                    <a:pt x="446246" y="159353"/>
                  </a:lnTo>
                  <a:lnTo>
                    <a:pt x="447199" y="166497"/>
                  </a:lnTo>
                  <a:lnTo>
                    <a:pt x="452628" y="165830"/>
                  </a:lnTo>
                  <a:lnTo>
                    <a:pt x="458724" y="170402"/>
                  </a:lnTo>
                  <a:lnTo>
                    <a:pt x="469392" y="181737"/>
                  </a:lnTo>
                  <a:lnTo>
                    <a:pt x="475012" y="182785"/>
                  </a:lnTo>
                  <a:lnTo>
                    <a:pt x="492633" y="164116"/>
                  </a:lnTo>
                  <a:lnTo>
                    <a:pt x="493966" y="160306"/>
                  </a:lnTo>
                  <a:lnTo>
                    <a:pt x="491490" y="155162"/>
                  </a:lnTo>
                  <a:lnTo>
                    <a:pt x="492823" y="151352"/>
                  </a:lnTo>
                  <a:lnTo>
                    <a:pt x="498443" y="152400"/>
                  </a:lnTo>
                  <a:lnTo>
                    <a:pt x="502539" y="155543"/>
                  </a:lnTo>
                  <a:lnTo>
                    <a:pt x="513302" y="154114"/>
                  </a:lnTo>
                  <a:lnTo>
                    <a:pt x="518065" y="162592"/>
                  </a:lnTo>
                  <a:lnTo>
                    <a:pt x="521684" y="162115"/>
                  </a:lnTo>
                  <a:lnTo>
                    <a:pt x="522732" y="156496"/>
                  </a:lnTo>
                  <a:lnTo>
                    <a:pt x="534638" y="149447"/>
                  </a:lnTo>
                  <a:lnTo>
                    <a:pt x="546068" y="153352"/>
                  </a:lnTo>
                  <a:lnTo>
                    <a:pt x="539020" y="168783"/>
                  </a:lnTo>
                  <a:lnTo>
                    <a:pt x="525304" y="176022"/>
                  </a:lnTo>
                  <a:lnTo>
                    <a:pt x="527685" y="193834"/>
                  </a:lnTo>
                  <a:lnTo>
                    <a:pt x="530162" y="198977"/>
                  </a:lnTo>
                  <a:lnTo>
                    <a:pt x="535305" y="196501"/>
                  </a:lnTo>
                  <a:lnTo>
                    <a:pt x="536257" y="203645"/>
                  </a:lnTo>
                  <a:lnTo>
                    <a:pt x="537210" y="210788"/>
                  </a:lnTo>
                  <a:lnTo>
                    <a:pt x="543497" y="217265"/>
                  </a:lnTo>
                  <a:lnTo>
                    <a:pt x="553403" y="223171"/>
                  </a:lnTo>
                  <a:lnTo>
                    <a:pt x="556546" y="219170"/>
                  </a:lnTo>
                  <a:lnTo>
                    <a:pt x="557022" y="222695"/>
                  </a:lnTo>
                  <a:lnTo>
                    <a:pt x="558165" y="231648"/>
                  </a:lnTo>
                  <a:lnTo>
                    <a:pt x="564547" y="238030"/>
                  </a:lnTo>
                  <a:lnTo>
                    <a:pt x="554260" y="242983"/>
                  </a:lnTo>
                  <a:lnTo>
                    <a:pt x="556736" y="248126"/>
                  </a:lnTo>
                  <a:lnTo>
                    <a:pt x="551116" y="247079"/>
                  </a:lnTo>
                  <a:lnTo>
                    <a:pt x="557213" y="251746"/>
                  </a:lnTo>
                  <a:lnTo>
                    <a:pt x="564737" y="267081"/>
                  </a:lnTo>
                  <a:lnTo>
                    <a:pt x="566166" y="277749"/>
                  </a:lnTo>
                  <a:lnTo>
                    <a:pt x="558927" y="278701"/>
                  </a:lnTo>
                  <a:lnTo>
                    <a:pt x="557593" y="282512"/>
                  </a:lnTo>
                  <a:lnTo>
                    <a:pt x="554260" y="284797"/>
                  </a:lnTo>
                  <a:lnTo>
                    <a:pt x="552736" y="286798"/>
                  </a:lnTo>
                  <a:lnTo>
                    <a:pt x="553403" y="292132"/>
                  </a:lnTo>
                  <a:lnTo>
                    <a:pt x="542830" y="295370"/>
                  </a:lnTo>
                  <a:lnTo>
                    <a:pt x="539210" y="295846"/>
                  </a:lnTo>
                  <a:lnTo>
                    <a:pt x="530257" y="296989"/>
                  </a:lnTo>
                  <a:lnTo>
                    <a:pt x="527304" y="288322"/>
                  </a:lnTo>
                  <a:lnTo>
                    <a:pt x="518541" y="291274"/>
                  </a:lnTo>
                  <a:lnTo>
                    <a:pt x="519208" y="296608"/>
                  </a:lnTo>
                  <a:lnTo>
                    <a:pt x="517398" y="296894"/>
                  </a:lnTo>
                  <a:lnTo>
                    <a:pt x="517684" y="298704"/>
                  </a:lnTo>
                  <a:lnTo>
                    <a:pt x="514064" y="299180"/>
                  </a:lnTo>
                  <a:lnTo>
                    <a:pt x="517017" y="307848"/>
                  </a:lnTo>
                  <a:lnTo>
                    <a:pt x="517684" y="313182"/>
                  </a:lnTo>
                  <a:lnTo>
                    <a:pt x="526256" y="322897"/>
                  </a:lnTo>
                  <a:lnTo>
                    <a:pt x="526732" y="326422"/>
                  </a:lnTo>
                  <a:lnTo>
                    <a:pt x="513112" y="348139"/>
                  </a:lnTo>
                  <a:lnTo>
                    <a:pt x="511588" y="350139"/>
                  </a:lnTo>
                  <a:lnTo>
                    <a:pt x="508730" y="355949"/>
                  </a:lnTo>
                  <a:lnTo>
                    <a:pt x="501205" y="367855"/>
                  </a:lnTo>
                  <a:lnTo>
                    <a:pt x="485108" y="384429"/>
                  </a:lnTo>
                  <a:lnTo>
                    <a:pt x="483489" y="386429"/>
                  </a:lnTo>
                  <a:lnTo>
                    <a:pt x="489395" y="389287"/>
                  </a:lnTo>
                  <a:lnTo>
                    <a:pt x="495776" y="395669"/>
                  </a:lnTo>
                  <a:lnTo>
                    <a:pt x="490633" y="398145"/>
                  </a:lnTo>
                  <a:lnTo>
                    <a:pt x="493205" y="403288"/>
                  </a:lnTo>
                  <a:lnTo>
                    <a:pt x="498824" y="404336"/>
                  </a:lnTo>
                  <a:lnTo>
                    <a:pt x="502444" y="403860"/>
                  </a:lnTo>
                  <a:lnTo>
                    <a:pt x="501967" y="400336"/>
                  </a:lnTo>
                  <a:lnTo>
                    <a:pt x="507968" y="390430"/>
                  </a:lnTo>
                  <a:lnTo>
                    <a:pt x="509968" y="391954"/>
                  </a:lnTo>
                  <a:lnTo>
                    <a:pt x="515398" y="391192"/>
                  </a:lnTo>
                  <a:lnTo>
                    <a:pt x="510730" y="397288"/>
                  </a:lnTo>
                  <a:lnTo>
                    <a:pt x="512540" y="397097"/>
                  </a:lnTo>
                  <a:lnTo>
                    <a:pt x="513016" y="400621"/>
                  </a:lnTo>
                  <a:lnTo>
                    <a:pt x="508063" y="404908"/>
                  </a:lnTo>
                  <a:lnTo>
                    <a:pt x="511683" y="418909"/>
                  </a:lnTo>
                  <a:lnTo>
                    <a:pt x="513683" y="420433"/>
                  </a:lnTo>
                  <a:lnTo>
                    <a:pt x="506825" y="437674"/>
                  </a:lnTo>
                  <a:lnTo>
                    <a:pt x="522160" y="442913"/>
                  </a:lnTo>
                  <a:lnTo>
                    <a:pt x="527590" y="456724"/>
                  </a:lnTo>
                  <a:lnTo>
                    <a:pt x="527209" y="467678"/>
                  </a:lnTo>
                  <a:lnTo>
                    <a:pt x="530447" y="478155"/>
                  </a:lnTo>
                  <a:lnTo>
                    <a:pt x="524828" y="477107"/>
                  </a:lnTo>
                  <a:lnTo>
                    <a:pt x="523113" y="491871"/>
                  </a:lnTo>
                  <a:lnTo>
                    <a:pt x="517970" y="494347"/>
                  </a:lnTo>
                  <a:lnTo>
                    <a:pt x="517112" y="501682"/>
                  </a:lnTo>
                  <a:lnTo>
                    <a:pt x="517398" y="503491"/>
                  </a:lnTo>
                  <a:lnTo>
                    <a:pt x="515588" y="503777"/>
                  </a:lnTo>
                  <a:lnTo>
                    <a:pt x="512445" y="507778"/>
                  </a:lnTo>
                  <a:lnTo>
                    <a:pt x="509111" y="510064"/>
                  </a:lnTo>
                  <a:lnTo>
                    <a:pt x="506825" y="506730"/>
                  </a:lnTo>
                  <a:lnTo>
                    <a:pt x="503206" y="507206"/>
                  </a:lnTo>
                  <a:lnTo>
                    <a:pt x="485965" y="514921"/>
                  </a:lnTo>
                  <a:lnTo>
                    <a:pt x="472154" y="507682"/>
                  </a:lnTo>
                  <a:lnTo>
                    <a:pt x="456152" y="497110"/>
                  </a:lnTo>
                  <a:lnTo>
                    <a:pt x="454628" y="499110"/>
                  </a:lnTo>
                  <a:lnTo>
                    <a:pt x="449866" y="490728"/>
                  </a:lnTo>
                  <a:lnTo>
                    <a:pt x="437102" y="505111"/>
                  </a:lnTo>
                  <a:lnTo>
                    <a:pt x="433006" y="502063"/>
                  </a:lnTo>
                  <a:lnTo>
                    <a:pt x="427863" y="504539"/>
                  </a:lnTo>
                  <a:lnTo>
                    <a:pt x="428054" y="506349"/>
                  </a:lnTo>
                  <a:lnTo>
                    <a:pt x="432340" y="511207"/>
                  </a:lnTo>
                  <a:lnTo>
                    <a:pt x="429482" y="517017"/>
                  </a:lnTo>
                  <a:lnTo>
                    <a:pt x="419195" y="521970"/>
                  </a:lnTo>
                  <a:lnTo>
                    <a:pt x="418338" y="529399"/>
                  </a:lnTo>
                  <a:lnTo>
                    <a:pt x="408527" y="537972"/>
                  </a:lnTo>
                  <a:lnTo>
                    <a:pt x="409194" y="543306"/>
                  </a:lnTo>
                  <a:lnTo>
                    <a:pt x="405860" y="545592"/>
                  </a:lnTo>
                  <a:lnTo>
                    <a:pt x="403574" y="542258"/>
                  </a:lnTo>
                  <a:lnTo>
                    <a:pt x="400145" y="544544"/>
                  </a:lnTo>
                  <a:lnTo>
                    <a:pt x="398335" y="544830"/>
                  </a:lnTo>
                  <a:lnTo>
                    <a:pt x="398812" y="548354"/>
                  </a:lnTo>
                  <a:lnTo>
                    <a:pt x="395478" y="550640"/>
                  </a:lnTo>
                  <a:lnTo>
                    <a:pt x="394621" y="557974"/>
                  </a:lnTo>
                  <a:lnTo>
                    <a:pt x="392621" y="556450"/>
                  </a:lnTo>
                  <a:lnTo>
                    <a:pt x="391287" y="560261"/>
                  </a:lnTo>
                  <a:lnTo>
                    <a:pt x="396526" y="572262"/>
                  </a:lnTo>
                  <a:lnTo>
                    <a:pt x="393192" y="574548"/>
                  </a:lnTo>
                  <a:lnTo>
                    <a:pt x="389858" y="576834"/>
                  </a:lnTo>
                  <a:lnTo>
                    <a:pt x="384238" y="575786"/>
                  </a:lnTo>
                  <a:lnTo>
                    <a:pt x="382905" y="579596"/>
                  </a:lnTo>
                  <a:lnTo>
                    <a:pt x="381381" y="581597"/>
                  </a:lnTo>
                  <a:lnTo>
                    <a:pt x="380047" y="585406"/>
                  </a:lnTo>
                  <a:lnTo>
                    <a:pt x="366236" y="578167"/>
                  </a:lnTo>
                  <a:lnTo>
                    <a:pt x="353187" y="576263"/>
                  </a:lnTo>
                  <a:lnTo>
                    <a:pt x="352520" y="570929"/>
                  </a:lnTo>
                  <a:lnTo>
                    <a:pt x="348901" y="571405"/>
                  </a:lnTo>
                  <a:lnTo>
                    <a:pt x="338518" y="561880"/>
                  </a:lnTo>
                  <a:lnTo>
                    <a:pt x="331375" y="562832"/>
                  </a:lnTo>
                  <a:lnTo>
                    <a:pt x="311848" y="567214"/>
                  </a:lnTo>
                  <a:lnTo>
                    <a:pt x="309086" y="560356"/>
                  </a:lnTo>
                  <a:lnTo>
                    <a:pt x="314230" y="557879"/>
                  </a:lnTo>
                  <a:lnTo>
                    <a:pt x="308991" y="545878"/>
                  </a:lnTo>
                  <a:lnTo>
                    <a:pt x="310039" y="540258"/>
                  </a:lnTo>
                  <a:lnTo>
                    <a:pt x="312896" y="534448"/>
                  </a:lnTo>
                  <a:lnTo>
                    <a:pt x="310896" y="532924"/>
                  </a:lnTo>
                  <a:lnTo>
                    <a:pt x="311944" y="527304"/>
                  </a:lnTo>
                  <a:lnTo>
                    <a:pt x="304324" y="524637"/>
                  </a:lnTo>
                  <a:lnTo>
                    <a:pt x="303276" y="530257"/>
                  </a:lnTo>
                  <a:lnTo>
                    <a:pt x="299180" y="527209"/>
                  </a:lnTo>
                  <a:lnTo>
                    <a:pt x="286036" y="537972"/>
                  </a:lnTo>
                  <a:lnTo>
                    <a:pt x="273748" y="541401"/>
                  </a:lnTo>
                  <a:lnTo>
                    <a:pt x="275749" y="542925"/>
                  </a:lnTo>
                  <a:lnTo>
                    <a:pt x="265938" y="551497"/>
                  </a:lnTo>
                  <a:lnTo>
                    <a:pt x="240982" y="556641"/>
                  </a:lnTo>
                  <a:lnTo>
                    <a:pt x="226409" y="556641"/>
                  </a:lnTo>
                  <a:cubicBezTo>
                    <a:pt x="226409" y="556641"/>
                    <a:pt x="227743" y="552926"/>
                    <a:pt x="227743" y="552926"/>
                  </a:cubicBezTo>
                  <a:lnTo>
                    <a:pt x="234220" y="546640"/>
                  </a:lnTo>
                  <a:lnTo>
                    <a:pt x="228124" y="542068"/>
                  </a:lnTo>
                  <a:lnTo>
                    <a:pt x="231267" y="537972"/>
                  </a:lnTo>
                  <a:lnTo>
                    <a:pt x="220218" y="523113"/>
                  </a:lnTo>
                  <a:lnTo>
                    <a:pt x="218694" y="525113"/>
                  </a:lnTo>
                  <a:lnTo>
                    <a:pt x="210312" y="517112"/>
                  </a:lnTo>
                  <a:lnTo>
                    <a:pt x="215265" y="512826"/>
                  </a:lnTo>
                  <a:lnTo>
                    <a:pt x="212979" y="509492"/>
                  </a:lnTo>
                  <a:lnTo>
                    <a:pt x="214313" y="505682"/>
                  </a:lnTo>
                  <a:lnTo>
                    <a:pt x="195739" y="489966"/>
                  </a:lnTo>
                  <a:lnTo>
                    <a:pt x="186023" y="485775"/>
                  </a:lnTo>
                  <a:lnTo>
                    <a:pt x="181928" y="482727"/>
                  </a:lnTo>
                  <a:lnTo>
                    <a:pt x="183451" y="480727"/>
                  </a:lnTo>
                  <a:lnTo>
                    <a:pt x="177832" y="479679"/>
                  </a:lnTo>
                  <a:lnTo>
                    <a:pt x="175831" y="478155"/>
                  </a:lnTo>
                  <a:lnTo>
                    <a:pt x="178975" y="474155"/>
                  </a:lnTo>
                  <a:lnTo>
                    <a:pt x="164116" y="472440"/>
                  </a:lnTo>
                  <a:lnTo>
                    <a:pt x="163925" y="470630"/>
                  </a:lnTo>
                  <a:lnTo>
                    <a:pt x="160115" y="469297"/>
                  </a:lnTo>
                  <a:lnTo>
                    <a:pt x="153162" y="472059"/>
                  </a:lnTo>
                  <a:lnTo>
                    <a:pt x="141256" y="479107"/>
                  </a:lnTo>
                  <a:lnTo>
                    <a:pt x="130588" y="495014"/>
                  </a:lnTo>
                  <a:lnTo>
                    <a:pt x="128111" y="489966"/>
                  </a:lnTo>
                  <a:lnTo>
                    <a:pt x="121825" y="483584"/>
                  </a:lnTo>
                  <a:lnTo>
                    <a:pt x="121158" y="478250"/>
                  </a:lnTo>
                  <a:lnTo>
                    <a:pt x="114395" y="468249"/>
                  </a:lnTo>
                  <a:lnTo>
                    <a:pt x="109442" y="472535"/>
                  </a:lnTo>
                  <a:lnTo>
                    <a:pt x="97726" y="466820"/>
                  </a:lnTo>
                  <a:lnTo>
                    <a:pt x="94488" y="456343"/>
                  </a:lnTo>
                  <a:lnTo>
                    <a:pt x="92964" y="458343"/>
                  </a:lnTo>
                  <a:lnTo>
                    <a:pt x="86392" y="450151"/>
                  </a:lnTo>
                  <a:lnTo>
                    <a:pt x="68580" y="454342"/>
                  </a:lnTo>
                  <a:lnTo>
                    <a:pt x="63437" y="456819"/>
                  </a:lnTo>
                  <a:lnTo>
                    <a:pt x="57817" y="455771"/>
                  </a:lnTo>
                  <a:lnTo>
                    <a:pt x="52864" y="460057"/>
                  </a:lnTo>
                  <a:lnTo>
                    <a:pt x="51054" y="460343"/>
                  </a:lnTo>
                  <a:lnTo>
                    <a:pt x="53721" y="452723"/>
                  </a:lnTo>
                  <a:lnTo>
                    <a:pt x="44291" y="450342"/>
                  </a:lnTo>
                  <a:lnTo>
                    <a:pt x="43339" y="443198"/>
                  </a:lnTo>
                  <a:lnTo>
                    <a:pt x="45339" y="430244"/>
                  </a:lnTo>
                  <a:lnTo>
                    <a:pt x="33814" y="426339"/>
                  </a:lnTo>
                  <a:lnTo>
                    <a:pt x="20383" y="435388"/>
                  </a:lnTo>
                  <a:lnTo>
                    <a:pt x="19907" y="431863"/>
                  </a:lnTo>
                  <a:lnTo>
                    <a:pt x="22574" y="424244"/>
                  </a:lnTo>
                  <a:lnTo>
                    <a:pt x="23717" y="418624"/>
                  </a:lnTo>
                  <a:lnTo>
                    <a:pt x="28861" y="416147"/>
                  </a:lnTo>
                  <a:lnTo>
                    <a:pt x="30194" y="412337"/>
                  </a:lnTo>
                  <a:lnTo>
                    <a:pt x="35147" y="408051"/>
                  </a:lnTo>
                  <a:lnTo>
                    <a:pt x="36290" y="402431"/>
                  </a:lnTo>
                  <a:lnTo>
                    <a:pt x="40100" y="403765"/>
                  </a:lnTo>
                  <a:lnTo>
                    <a:pt x="39814" y="401955"/>
                  </a:lnTo>
                  <a:lnTo>
                    <a:pt x="42577" y="381667"/>
                  </a:lnTo>
                  <a:lnTo>
                    <a:pt x="38957" y="382143"/>
                  </a:lnTo>
                  <a:lnTo>
                    <a:pt x="38290" y="376809"/>
                  </a:lnTo>
                  <a:lnTo>
                    <a:pt x="27241" y="376428"/>
                  </a:lnTo>
                  <a:lnTo>
                    <a:pt x="33052" y="364807"/>
                  </a:lnTo>
                  <a:lnTo>
                    <a:pt x="32575" y="361188"/>
                  </a:lnTo>
                  <a:lnTo>
                    <a:pt x="28765" y="359950"/>
                  </a:lnTo>
                  <a:lnTo>
                    <a:pt x="27622" y="365570"/>
                  </a:lnTo>
                  <a:lnTo>
                    <a:pt x="21146" y="371856"/>
                  </a:lnTo>
                  <a:lnTo>
                    <a:pt x="8572" y="373475"/>
                  </a:lnTo>
                  <a:lnTo>
                    <a:pt x="11716" y="369475"/>
                  </a:lnTo>
                  <a:lnTo>
                    <a:pt x="12763" y="363855"/>
                  </a:lnTo>
                  <a:lnTo>
                    <a:pt x="16573" y="365188"/>
                  </a:lnTo>
                  <a:lnTo>
                    <a:pt x="19717" y="361093"/>
                  </a:lnTo>
                  <a:lnTo>
                    <a:pt x="13145" y="352901"/>
                  </a:lnTo>
                  <a:lnTo>
                    <a:pt x="12478" y="347567"/>
                  </a:lnTo>
                  <a:lnTo>
                    <a:pt x="10001" y="342424"/>
                  </a:lnTo>
                  <a:lnTo>
                    <a:pt x="3048" y="345186"/>
                  </a:lnTo>
                  <a:lnTo>
                    <a:pt x="5905" y="339376"/>
                  </a:lnTo>
                  <a:lnTo>
                    <a:pt x="0" y="336518"/>
                  </a:lnTo>
                  <a:lnTo>
                    <a:pt x="3143" y="332518"/>
                  </a:lnTo>
                  <a:lnTo>
                    <a:pt x="7334" y="322897"/>
                  </a:lnTo>
                  <a:lnTo>
                    <a:pt x="16097" y="319945"/>
                  </a:lnTo>
                  <a:lnTo>
                    <a:pt x="29146" y="321850"/>
                  </a:lnTo>
                  <a:lnTo>
                    <a:pt x="32290" y="317849"/>
                  </a:lnTo>
                  <a:lnTo>
                    <a:pt x="33814" y="315849"/>
                  </a:lnTo>
                  <a:lnTo>
                    <a:pt x="41529" y="318516"/>
                  </a:lnTo>
                  <a:lnTo>
                    <a:pt x="45720" y="308896"/>
                  </a:lnTo>
                  <a:lnTo>
                    <a:pt x="40100" y="307848"/>
                  </a:lnTo>
                  <a:lnTo>
                    <a:pt x="38195" y="293561"/>
                  </a:lnTo>
                  <a:lnTo>
                    <a:pt x="38005" y="291751"/>
                  </a:lnTo>
                  <a:lnTo>
                    <a:pt x="41815" y="293084"/>
                  </a:lnTo>
                  <a:lnTo>
                    <a:pt x="42672" y="285750"/>
                  </a:lnTo>
                  <a:lnTo>
                    <a:pt x="36576" y="281083"/>
                  </a:lnTo>
                  <a:lnTo>
                    <a:pt x="30194" y="274701"/>
                  </a:lnTo>
                  <a:lnTo>
                    <a:pt x="23050" y="275654"/>
                  </a:lnTo>
                  <a:lnTo>
                    <a:pt x="15145" y="271272"/>
                  </a:lnTo>
                  <a:lnTo>
                    <a:pt x="8001" y="272224"/>
                  </a:lnTo>
                  <a:lnTo>
                    <a:pt x="7715" y="270415"/>
                  </a:lnTo>
                  <a:lnTo>
                    <a:pt x="9906" y="259271"/>
                  </a:lnTo>
                  <a:lnTo>
                    <a:pt x="7144" y="252413"/>
                  </a:lnTo>
                  <a:lnTo>
                    <a:pt x="10287" y="248412"/>
                  </a:lnTo>
                  <a:lnTo>
                    <a:pt x="17145" y="231172"/>
                  </a:lnTo>
                  <a:lnTo>
                    <a:pt x="21622" y="223361"/>
                  </a:lnTo>
                  <a:lnTo>
                    <a:pt x="22765" y="217741"/>
                  </a:lnTo>
                  <a:lnTo>
                    <a:pt x="25908" y="213741"/>
                  </a:lnTo>
                  <a:lnTo>
                    <a:pt x="27908" y="215265"/>
                  </a:lnTo>
                  <a:lnTo>
                    <a:pt x="34862" y="212503"/>
                  </a:lnTo>
                  <a:lnTo>
                    <a:pt x="38957" y="215646"/>
                  </a:lnTo>
                  <a:lnTo>
                    <a:pt x="40957" y="217170"/>
                  </a:lnTo>
                  <a:lnTo>
                    <a:pt x="42291" y="213360"/>
                  </a:lnTo>
                  <a:lnTo>
                    <a:pt x="49435" y="212407"/>
                  </a:lnTo>
                  <a:lnTo>
                    <a:pt x="50959" y="210407"/>
                  </a:lnTo>
                  <a:lnTo>
                    <a:pt x="56388" y="209740"/>
                  </a:lnTo>
                  <a:lnTo>
                    <a:pt x="54959" y="199072"/>
                  </a:lnTo>
                  <a:lnTo>
                    <a:pt x="45244" y="194881"/>
                  </a:lnTo>
                  <a:lnTo>
                    <a:pt x="44577" y="189547"/>
                  </a:lnTo>
                  <a:lnTo>
                    <a:pt x="40767" y="188214"/>
                  </a:lnTo>
                  <a:lnTo>
                    <a:pt x="40481" y="186404"/>
                  </a:lnTo>
                  <a:lnTo>
                    <a:pt x="29432" y="186023"/>
                  </a:lnTo>
                  <a:lnTo>
                    <a:pt x="25337" y="182975"/>
                  </a:lnTo>
                  <a:lnTo>
                    <a:pt x="25717" y="172021"/>
                  </a:lnTo>
                  <a:lnTo>
                    <a:pt x="28099" y="162592"/>
                  </a:lnTo>
                  <a:lnTo>
                    <a:pt x="31528" y="160306"/>
                  </a:lnTo>
                  <a:lnTo>
                    <a:pt x="33528" y="161830"/>
                  </a:lnTo>
                  <a:lnTo>
                    <a:pt x="42291" y="158877"/>
                  </a:lnTo>
                  <a:lnTo>
                    <a:pt x="41624" y="153543"/>
                  </a:lnTo>
                  <a:lnTo>
                    <a:pt x="47244" y="154591"/>
                  </a:lnTo>
                  <a:lnTo>
                    <a:pt x="46958" y="152781"/>
                  </a:lnTo>
                  <a:lnTo>
                    <a:pt x="43148" y="151447"/>
                  </a:lnTo>
                  <a:lnTo>
                    <a:pt x="48101" y="147161"/>
                  </a:lnTo>
                  <a:lnTo>
                    <a:pt x="51721" y="146685"/>
                  </a:lnTo>
                  <a:lnTo>
                    <a:pt x="54578" y="140875"/>
                  </a:lnTo>
                  <a:lnTo>
                    <a:pt x="55721" y="135350"/>
                  </a:lnTo>
                  <a:lnTo>
                    <a:pt x="59055" y="133064"/>
                  </a:lnTo>
                  <a:lnTo>
                    <a:pt x="54483" y="126397"/>
                  </a:lnTo>
                  <a:lnTo>
                    <a:pt x="57817" y="124111"/>
                  </a:lnTo>
                  <a:lnTo>
                    <a:pt x="55816" y="122587"/>
                  </a:lnTo>
                  <a:lnTo>
                    <a:pt x="55150" y="117253"/>
                  </a:lnTo>
                  <a:lnTo>
                    <a:pt x="56959" y="117062"/>
                  </a:lnTo>
                  <a:lnTo>
                    <a:pt x="67723" y="115633"/>
                  </a:lnTo>
                  <a:lnTo>
                    <a:pt x="72676" y="111347"/>
                  </a:lnTo>
                  <a:lnTo>
                    <a:pt x="76295" y="110871"/>
                  </a:lnTo>
                  <a:lnTo>
                    <a:pt x="91249" y="99822"/>
                  </a:lnTo>
                  <a:lnTo>
                    <a:pt x="94393" y="95821"/>
                  </a:lnTo>
                  <a:lnTo>
                    <a:pt x="95536" y="90202"/>
                  </a:lnTo>
                  <a:lnTo>
                    <a:pt x="97060" y="88201"/>
                  </a:lnTo>
                  <a:lnTo>
                    <a:pt x="106013" y="87058"/>
                  </a:lnTo>
                  <a:lnTo>
                    <a:pt x="106966" y="94202"/>
                  </a:lnTo>
                  <a:lnTo>
                    <a:pt x="109252" y="97536"/>
                  </a:lnTo>
                  <a:lnTo>
                    <a:pt x="108775" y="93917"/>
                  </a:lnTo>
                  <a:lnTo>
                    <a:pt x="113729" y="89630"/>
                  </a:lnTo>
                  <a:lnTo>
                    <a:pt x="113252" y="86106"/>
                  </a:lnTo>
                  <a:lnTo>
                    <a:pt x="120205" y="83344"/>
                  </a:lnTo>
                  <a:lnTo>
                    <a:pt x="128683" y="78581"/>
                  </a:lnTo>
                  <a:lnTo>
                    <a:pt x="131826" y="74581"/>
                  </a:lnTo>
                  <a:lnTo>
                    <a:pt x="140589" y="71628"/>
                  </a:lnTo>
                  <a:lnTo>
                    <a:pt x="140113" y="68104"/>
                  </a:lnTo>
                  <a:lnTo>
                    <a:pt x="138113" y="66580"/>
                  </a:lnTo>
                  <a:lnTo>
                    <a:pt x="141732" y="66103"/>
                  </a:lnTo>
                  <a:lnTo>
                    <a:pt x="135826" y="63246"/>
                  </a:lnTo>
                  <a:lnTo>
                    <a:pt x="137350" y="61246"/>
                  </a:lnTo>
                  <a:lnTo>
                    <a:pt x="128778" y="51530"/>
                  </a:lnTo>
                  <a:lnTo>
                    <a:pt x="136779" y="43243"/>
                  </a:lnTo>
                  <a:lnTo>
                    <a:pt x="131350" y="43910"/>
                  </a:lnTo>
                  <a:lnTo>
                    <a:pt x="127921" y="31718"/>
                  </a:lnTo>
                  <a:lnTo>
                    <a:pt x="127445" y="28194"/>
                  </a:lnTo>
                  <a:lnTo>
                    <a:pt x="131254" y="29527"/>
                  </a:lnTo>
                  <a:lnTo>
                    <a:pt x="132302" y="23908"/>
                  </a:lnTo>
                  <a:lnTo>
                    <a:pt x="137922" y="24955"/>
                  </a:lnTo>
                  <a:lnTo>
                    <a:pt x="140684" y="31813"/>
                  </a:lnTo>
                  <a:lnTo>
                    <a:pt x="150114" y="34195"/>
                  </a:lnTo>
                  <a:lnTo>
                    <a:pt x="164592" y="46768"/>
                  </a:lnTo>
                  <a:lnTo>
                    <a:pt x="170021" y="46101"/>
                  </a:lnTo>
                  <a:lnTo>
                    <a:pt x="168878" y="37243"/>
                  </a:lnTo>
                  <a:lnTo>
                    <a:pt x="176022" y="36290"/>
                  </a:lnTo>
                  <a:lnTo>
                    <a:pt x="175736" y="34480"/>
                  </a:lnTo>
                  <a:lnTo>
                    <a:pt x="175260" y="30956"/>
                  </a:lnTo>
                  <a:lnTo>
                    <a:pt x="167640" y="28384"/>
                  </a:lnTo>
                  <a:lnTo>
                    <a:pt x="174117" y="22098"/>
                  </a:lnTo>
                  <a:lnTo>
                    <a:pt x="178403" y="26956"/>
                  </a:lnTo>
                  <a:lnTo>
                    <a:pt x="178213" y="25146"/>
                  </a:lnTo>
                  <a:lnTo>
                    <a:pt x="179260" y="19526"/>
                  </a:lnTo>
                  <a:lnTo>
                    <a:pt x="172879" y="13144"/>
                  </a:lnTo>
                  <a:lnTo>
                    <a:pt x="176308" y="10858"/>
                  </a:lnTo>
                  <a:lnTo>
                    <a:pt x="176784" y="14383"/>
                  </a:lnTo>
                  <a:lnTo>
                    <a:pt x="180594" y="15716"/>
                  </a:lnTo>
                  <a:lnTo>
                    <a:pt x="180975" y="4763"/>
                  </a:lnTo>
                  <a:lnTo>
                    <a:pt x="184595" y="4286"/>
                  </a:lnTo>
                  <a:lnTo>
                    <a:pt x="188404" y="5620"/>
                  </a:lnTo>
                  <a:lnTo>
                    <a:pt x="189071" y="10954"/>
                  </a:lnTo>
                  <a:lnTo>
                    <a:pt x="187928" y="16573"/>
                  </a:lnTo>
                  <a:lnTo>
                    <a:pt x="188404" y="20193"/>
                  </a:lnTo>
                  <a:lnTo>
                    <a:pt x="190214" y="19907"/>
                  </a:lnTo>
                  <a:lnTo>
                    <a:pt x="191071" y="12573"/>
                  </a:lnTo>
                  <a:lnTo>
                    <a:pt x="194405" y="10287"/>
                  </a:lnTo>
                  <a:lnTo>
                    <a:pt x="195072" y="15621"/>
                  </a:lnTo>
                  <a:lnTo>
                    <a:pt x="198691" y="15145"/>
                  </a:lnTo>
                  <a:lnTo>
                    <a:pt x="199834" y="9620"/>
                  </a:lnTo>
                  <a:lnTo>
                    <a:pt x="204788" y="5334"/>
                  </a:lnTo>
                  <a:lnTo>
                    <a:pt x="200692" y="2286"/>
                  </a:lnTo>
                  <a:lnTo>
                    <a:pt x="204025" y="0"/>
                  </a:lnTo>
                  <a:lnTo>
                    <a:pt x="206312" y="3334"/>
                  </a:lnTo>
                  <a:lnTo>
                    <a:pt x="206312" y="17812"/>
                  </a:lnTo>
                  <a:cubicBezTo>
                    <a:pt x="206312" y="17812"/>
                    <a:pt x="219646" y="21431"/>
                    <a:pt x="219646" y="21431"/>
                  </a:cubicBezTo>
                  <a:lnTo>
                    <a:pt x="220123" y="24955"/>
                  </a:lnTo>
                  <a:lnTo>
                    <a:pt x="213646" y="31242"/>
                  </a:lnTo>
                  <a:lnTo>
                    <a:pt x="210788" y="37052"/>
                  </a:lnTo>
                  <a:lnTo>
                    <a:pt x="215360" y="43720"/>
                  </a:lnTo>
                  <a:lnTo>
                    <a:pt x="222028" y="39148"/>
                  </a:lnTo>
                  <a:lnTo>
                    <a:pt x="228124" y="43815"/>
                  </a:lnTo>
                  <a:lnTo>
                    <a:pt x="231934" y="45148"/>
                  </a:lnTo>
                  <a:lnTo>
                    <a:pt x="240697" y="42196"/>
                  </a:lnTo>
                  <a:lnTo>
                    <a:pt x="245269" y="48863"/>
                  </a:lnTo>
                  <a:lnTo>
                    <a:pt x="249364" y="51911"/>
                  </a:lnTo>
                  <a:lnTo>
                    <a:pt x="252127" y="58769"/>
                  </a:lnTo>
                  <a:lnTo>
                    <a:pt x="259651" y="46863"/>
                  </a:lnTo>
                  <a:lnTo>
                    <a:pt x="267081" y="47625"/>
                  </a:lnTo>
                  <a:lnTo>
                    <a:pt x="267271" y="49435"/>
                  </a:lnTo>
                  <a:lnTo>
                    <a:pt x="266224" y="55054"/>
                  </a:lnTo>
                  <a:lnTo>
                    <a:pt x="266700" y="58579"/>
                  </a:lnTo>
                  <a:lnTo>
                    <a:pt x="262033" y="64579"/>
                  </a:lnTo>
                  <a:lnTo>
                    <a:pt x="264033" y="66103"/>
                  </a:lnTo>
                  <a:lnTo>
                    <a:pt x="277273" y="69818"/>
                  </a:lnTo>
                  <a:lnTo>
                    <a:pt x="280035" y="76676"/>
                  </a:lnTo>
                  <a:lnTo>
                    <a:pt x="276701" y="78867"/>
                  </a:lnTo>
                  <a:lnTo>
                    <a:pt x="276320" y="89821"/>
                  </a:lnTo>
                  <a:lnTo>
                    <a:pt x="271177" y="92297"/>
                  </a:lnTo>
                  <a:lnTo>
                    <a:pt x="269843" y="96107"/>
                  </a:lnTo>
                  <a:lnTo>
                    <a:pt x="275939" y="100679"/>
                  </a:lnTo>
                  <a:lnTo>
                    <a:pt x="281559" y="101727"/>
                  </a:lnTo>
                  <a:lnTo>
                    <a:pt x="284035" y="106871"/>
                  </a:lnTo>
                  <a:lnTo>
                    <a:pt x="287655" y="106394"/>
                  </a:lnTo>
                  <a:lnTo>
                    <a:pt x="289941" y="109728"/>
                  </a:lnTo>
                  <a:lnTo>
                    <a:pt x="293560" y="109252"/>
                  </a:lnTo>
                  <a:lnTo>
                    <a:pt x="290036" y="124206"/>
                  </a:lnTo>
                  <a:lnTo>
                    <a:pt x="295370" y="123444"/>
                  </a:lnTo>
                  <a:lnTo>
                    <a:pt x="297180" y="123253"/>
                  </a:lnTo>
                  <a:lnTo>
                    <a:pt x="294322" y="129064"/>
                  </a:lnTo>
                  <a:lnTo>
                    <a:pt x="300133" y="131921"/>
                  </a:lnTo>
                  <a:lnTo>
                    <a:pt x="301657" y="129921"/>
                  </a:lnTo>
                  <a:lnTo>
                    <a:pt x="303657" y="131445"/>
                  </a:lnTo>
                  <a:lnTo>
                    <a:pt x="323374" y="128778"/>
                  </a:lnTo>
                  <a:lnTo>
                    <a:pt x="324898" y="126778"/>
                  </a:lnTo>
                  <a:lnTo>
                    <a:pt x="326422" y="124777"/>
                  </a:lnTo>
                  <a:lnTo>
                    <a:pt x="331851" y="124015"/>
                  </a:lnTo>
                  <a:lnTo>
                    <a:pt x="335185" y="121729"/>
                  </a:lnTo>
                  <a:lnTo>
                    <a:pt x="338614" y="119443"/>
                  </a:lnTo>
                  <a:lnTo>
                    <a:pt x="346043" y="120301"/>
                  </a:lnTo>
                  <a:lnTo>
                    <a:pt x="345567" y="116776"/>
                  </a:lnTo>
                  <a:lnTo>
                    <a:pt x="357473" y="109728"/>
                  </a:lnTo>
                  <a:lnTo>
                    <a:pt x="360807" y="107442"/>
                  </a:lnTo>
                  <a:lnTo>
                    <a:pt x="364903" y="110490"/>
                  </a:lnTo>
                  <a:lnTo>
                    <a:pt x="363569" y="114300"/>
                  </a:lnTo>
                  <a:lnTo>
                    <a:pt x="368998" y="113538"/>
                  </a:lnTo>
                  <a:lnTo>
                    <a:pt x="372237" y="124015"/>
                  </a:lnTo>
                  <a:lnTo>
                    <a:pt x="370046" y="135160"/>
                  </a:lnTo>
                  <a:lnTo>
                    <a:pt x="380143" y="142875"/>
                  </a:lnTo>
                  <a:lnTo>
                    <a:pt x="376142" y="154305"/>
                  </a:lnTo>
                  <a:lnTo>
                    <a:pt x="378905" y="161163"/>
                  </a:lnTo>
                  <a:moveTo>
                    <a:pt x="372999" y="158305"/>
                  </a:moveTo>
                  <a:lnTo>
                    <a:pt x="360997" y="150781"/>
                  </a:lnTo>
                  <a:lnTo>
                    <a:pt x="361474" y="154305"/>
                  </a:lnTo>
                  <a:lnTo>
                    <a:pt x="359664" y="154496"/>
                  </a:lnTo>
                  <a:lnTo>
                    <a:pt x="358330" y="158305"/>
                  </a:lnTo>
                  <a:lnTo>
                    <a:pt x="360616" y="161639"/>
                  </a:lnTo>
                  <a:lnTo>
                    <a:pt x="358807" y="161830"/>
                  </a:lnTo>
                  <a:lnTo>
                    <a:pt x="353378" y="162496"/>
                  </a:lnTo>
                  <a:lnTo>
                    <a:pt x="350615" y="155638"/>
                  </a:lnTo>
                  <a:lnTo>
                    <a:pt x="338042" y="157258"/>
                  </a:lnTo>
                  <a:lnTo>
                    <a:pt x="333756" y="152400"/>
                  </a:lnTo>
                  <a:lnTo>
                    <a:pt x="329755" y="163830"/>
                  </a:lnTo>
                  <a:lnTo>
                    <a:pt x="325946" y="162496"/>
                  </a:lnTo>
                  <a:lnTo>
                    <a:pt x="320992" y="166783"/>
                  </a:lnTo>
                  <a:lnTo>
                    <a:pt x="317373" y="167259"/>
                  </a:lnTo>
                  <a:lnTo>
                    <a:pt x="316325" y="172784"/>
                  </a:lnTo>
                  <a:lnTo>
                    <a:pt x="316516" y="174593"/>
                  </a:lnTo>
                  <a:lnTo>
                    <a:pt x="312896" y="175069"/>
                  </a:lnTo>
                  <a:lnTo>
                    <a:pt x="313372" y="178689"/>
                  </a:lnTo>
                  <a:lnTo>
                    <a:pt x="315373" y="180213"/>
                  </a:lnTo>
                  <a:lnTo>
                    <a:pt x="312230" y="184213"/>
                  </a:lnTo>
                  <a:lnTo>
                    <a:pt x="302800" y="181832"/>
                  </a:lnTo>
                  <a:lnTo>
                    <a:pt x="299942" y="187642"/>
                  </a:lnTo>
                  <a:lnTo>
                    <a:pt x="302228" y="190976"/>
                  </a:lnTo>
                  <a:lnTo>
                    <a:pt x="295084" y="191929"/>
                  </a:lnTo>
                  <a:lnTo>
                    <a:pt x="293275" y="192214"/>
                  </a:lnTo>
                  <a:lnTo>
                    <a:pt x="301180" y="196596"/>
                  </a:lnTo>
                  <a:lnTo>
                    <a:pt x="297847" y="198882"/>
                  </a:lnTo>
                  <a:lnTo>
                    <a:pt x="299847" y="200406"/>
                  </a:lnTo>
                  <a:lnTo>
                    <a:pt x="298323" y="202406"/>
                  </a:lnTo>
                  <a:lnTo>
                    <a:pt x="301085" y="209264"/>
                  </a:lnTo>
                  <a:lnTo>
                    <a:pt x="293846" y="210217"/>
                  </a:lnTo>
                  <a:lnTo>
                    <a:pt x="292703" y="201359"/>
                  </a:lnTo>
                  <a:lnTo>
                    <a:pt x="290703" y="199834"/>
                  </a:lnTo>
                  <a:lnTo>
                    <a:pt x="284226" y="206121"/>
                  </a:lnTo>
                  <a:lnTo>
                    <a:pt x="283083" y="211741"/>
                  </a:lnTo>
                  <a:lnTo>
                    <a:pt x="278511" y="205073"/>
                  </a:lnTo>
                  <a:lnTo>
                    <a:pt x="275177" y="207359"/>
                  </a:lnTo>
                  <a:lnTo>
                    <a:pt x="272034" y="211360"/>
                  </a:lnTo>
                  <a:lnTo>
                    <a:pt x="272224" y="213170"/>
                  </a:lnTo>
                  <a:lnTo>
                    <a:pt x="277273" y="223361"/>
                  </a:lnTo>
                  <a:lnTo>
                    <a:pt x="271939" y="224123"/>
                  </a:lnTo>
                  <a:lnTo>
                    <a:pt x="260699" y="221932"/>
                  </a:lnTo>
                  <a:lnTo>
                    <a:pt x="261938" y="218122"/>
                  </a:lnTo>
                  <a:lnTo>
                    <a:pt x="254032" y="213741"/>
                  </a:lnTo>
                  <a:lnTo>
                    <a:pt x="247269" y="203740"/>
                  </a:lnTo>
                  <a:lnTo>
                    <a:pt x="253460" y="195643"/>
                  </a:lnTo>
                  <a:lnTo>
                    <a:pt x="238792" y="181261"/>
                  </a:lnTo>
                  <a:lnTo>
                    <a:pt x="237458" y="185071"/>
                  </a:lnTo>
                  <a:lnTo>
                    <a:pt x="235458" y="183547"/>
                  </a:lnTo>
                  <a:lnTo>
                    <a:pt x="232696" y="176689"/>
                  </a:lnTo>
                  <a:lnTo>
                    <a:pt x="225266" y="175831"/>
                  </a:lnTo>
                  <a:lnTo>
                    <a:pt x="227266" y="177355"/>
                  </a:lnTo>
                  <a:lnTo>
                    <a:pt x="221837" y="178022"/>
                  </a:lnTo>
                  <a:lnTo>
                    <a:pt x="211646" y="170307"/>
                  </a:lnTo>
                  <a:lnTo>
                    <a:pt x="206978" y="176403"/>
                  </a:lnTo>
                  <a:lnTo>
                    <a:pt x="200978" y="186309"/>
                  </a:lnTo>
                  <a:lnTo>
                    <a:pt x="201644" y="191643"/>
                  </a:lnTo>
                  <a:lnTo>
                    <a:pt x="198310" y="193929"/>
                  </a:lnTo>
                  <a:lnTo>
                    <a:pt x="198787" y="197453"/>
                  </a:lnTo>
                  <a:lnTo>
                    <a:pt x="197263" y="199453"/>
                  </a:lnTo>
                  <a:lnTo>
                    <a:pt x="204025" y="209455"/>
                  </a:lnTo>
                  <a:lnTo>
                    <a:pt x="198882" y="211931"/>
                  </a:lnTo>
                  <a:lnTo>
                    <a:pt x="199168" y="213741"/>
                  </a:lnTo>
                  <a:lnTo>
                    <a:pt x="204597" y="212979"/>
                  </a:lnTo>
                  <a:lnTo>
                    <a:pt x="198596" y="222885"/>
                  </a:lnTo>
                  <a:lnTo>
                    <a:pt x="194596" y="234315"/>
                  </a:lnTo>
                  <a:lnTo>
                    <a:pt x="189166" y="234982"/>
                  </a:lnTo>
                  <a:lnTo>
                    <a:pt x="187357" y="235267"/>
                  </a:lnTo>
                  <a:lnTo>
                    <a:pt x="193262" y="238125"/>
                  </a:lnTo>
                  <a:lnTo>
                    <a:pt x="188119" y="240601"/>
                  </a:lnTo>
                  <a:lnTo>
                    <a:pt x="190595" y="245650"/>
                  </a:lnTo>
                  <a:lnTo>
                    <a:pt x="188976" y="247650"/>
                  </a:lnTo>
                  <a:lnTo>
                    <a:pt x="183261" y="259271"/>
                  </a:lnTo>
                  <a:lnTo>
                    <a:pt x="181737" y="261271"/>
                  </a:lnTo>
                  <a:lnTo>
                    <a:pt x="187357" y="262319"/>
                  </a:lnTo>
                  <a:lnTo>
                    <a:pt x="189833" y="267462"/>
                  </a:lnTo>
                  <a:lnTo>
                    <a:pt x="193357" y="266986"/>
                  </a:lnTo>
                  <a:lnTo>
                    <a:pt x="199263" y="269843"/>
                  </a:lnTo>
                  <a:lnTo>
                    <a:pt x="198406" y="277178"/>
                  </a:lnTo>
                  <a:lnTo>
                    <a:pt x="204502" y="281845"/>
                  </a:lnTo>
                  <a:lnTo>
                    <a:pt x="207740" y="292322"/>
                  </a:lnTo>
                  <a:lnTo>
                    <a:pt x="213360" y="293370"/>
                  </a:lnTo>
                  <a:lnTo>
                    <a:pt x="220504" y="292417"/>
                  </a:lnTo>
                  <a:lnTo>
                    <a:pt x="224314" y="293751"/>
                  </a:lnTo>
                  <a:lnTo>
                    <a:pt x="225171" y="286417"/>
                  </a:lnTo>
                  <a:lnTo>
                    <a:pt x="230314" y="283940"/>
                  </a:lnTo>
                  <a:lnTo>
                    <a:pt x="236410" y="288607"/>
                  </a:lnTo>
                  <a:lnTo>
                    <a:pt x="240030" y="288131"/>
                  </a:lnTo>
                  <a:lnTo>
                    <a:pt x="243649" y="302133"/>
                  </a:lnTo>
                  <a:lnTo>
                    <a:pt x="244126" y="305657"/>
                  </a:lnTo>
                  <a:lnTo>
                    <a:pt x="265271" y="313658"/>
                  </a:lnTo>
                  <a:lnTo>
                    <a:pt x="264414" y="321088"/>
                  </a:lnTo>
                  <a:lnTo>
                    <a:pt x="276130" y="326803"/>
                  </a:lnTo>
                  <a:lnTo>
                    <a:pt x="282892" y="322326"/>
                  </a:lnTo>
                  <a:lnTo>
                    <a:pt x="292322" y="324707"/>
                  </a:lnTo>
                  <a:lnTo>
                    <a:pt x="290703" y="326707"/>
                  </a:lnTo>
                  <a:lnTo>
                    <a:pt x="296608" y="329565"/>
                  </a:lnTo>
                  <a:lnTo>
                    <a:pt x="298513" y="343853"/>
                  </a:lnTo>
                  <a:lnTo>
                    <a:pt x="300514" y="345376"/>
                  </a:lnTo>
                  <a:lnTo>
                    <a:pt x="316421" y="341471"/>
                  </a:lnTo>
                  <a:lnTo>
                    <a:pt x="319088" y="333851"/>
                  </a:lnTo>
                  <a:lnTo>
                    <a:pt x="321088" y="335375"/>
                  </a:lnTo>
                  <a:lnTo>
                    <a:pt x="332137" y="335756"/>
                  </a:lnTo>
                  <a:lnTo>
                    <a:pt x="334137" y="337280"/>
                  </a:lnTo>
                  <a:lnTo>
                    <a:pt x="329184" y="341566"/>
                  </a:lnTo>
                  <a:lnTo>
                    <a:pt x="331184" y="343090"/>
                  </a:lnTo>
                  <a:lnTo>
                    <a:pt x="331470" y="344900"/>
                  </a:lnTo>
                  <a:lnTo>
                    <a:pt x="335280" y="346234"/>
                  </a:lnTo>
                  <a:lnTo>
                    <a:pt x="331946" y="362998"/>
                  </a:lnTo>
                  <a:lnTo>
                    <a:pt x="331089" y="370332"/>
                  </a:lnTo>
                  <a:lnTo>
                    <a:pt x="338328" y="369380"/>
                  </a:lnTo>
                  <a:lnTo>
                    <a:pt x="338042" y="367570"/>
                  </a:lnTo>
                  <a:lnTo>
                    <a:pt x="339566" y="365570"/>
                  </a:lnTo>
                  <a:lnTo>
                    <a:pt x="344710" y="363093"/>
                  </a:lnTo>
                  <a:lnTo>
                    <a:pt x="350615" y="365855"/>
                  </a:lnTo>
                  <a:lnTo>
                    <a:pt x="366998" y="365474"/>
                  </a:lnTo>
                  <a:lnTo>
                    <a:pt x="369189" y="354330"/>
                  </a:lnTo>
                  <a:lnTo>
                    <a:pt x="374523" y="353568"/>
                  </a:lnTo>
                  <a:lnTo>
                    <a:pt x="373951" y="362712"/>
                  </a:lnTo>
                  <a:lnTo>
                    <a:pt x="376904" y="371380"/>
                  </a:lnTo>
                  <a:lnTo>
                    <a:pt x="369760" y="372332"/>
                  </a:lnTo>
                  <a:lnTo>
                    <a:pt x="370713" y="379476"/>
                  </a:lnTo>
                  <a:lnTo>
                    <a:pt x="363474" y="380429"/>
                  </a:lnTo>
                  <a:lnTo>
                    <a:pt x="362045" y="396907"/>
                  </a:lnTo>
                  <a:lnTo>
                    <a:pt x="364522" y="402050"/>
                  </a:lnTo>
                  <a:lnTo>
                    <a:pt x="368332" y="403384"/>
                  </a:lnTo>
                  <a:lnTo>
                    <a:pt x="367379" y="396240"/>
                  </a:lnTo>
                  <a:lnTo>
                    <a:pt x="370522" y="392239"/>
                  </a:lnTo>
                  <a:lnTo>
                    <a:pt x="373856" y="389954"/>
                  </a:lnTo>
                  <a:lnTo>
                    <a:pt x="390525" y="391382"/>
                  </a:lnTo>
                  <a:lnTo>
                    <a:pt x="394621" y="394430"/>
                  </a:lnTo>
                  <a:lnTo>
                    <a:pt x="400050" y="393668"/>
                  </a:lnTo>
                  <a:lnTo>
                    <a:pt x="407480" y="394525"/>
                  </a:lnTo>
                  <a:lnTo>
                    <a:pt x="407194" y="392716"/>
                  </a:lnTo>
                  <a:lnTo>
                    <a:pt x="410718" y="392239"/>
                  </a:lnTo>
                  <a:lnTo>
                    <a:pt x="410242" y="388715"/>
                  </a:lnTo>
                  <a:lnTo>
                    <a:pt x="413861" y="388239"/>
                  </a:lnTo>
                  <a:lnTo>
                    <a:pt x="416338" y="378809"/>
                  </a:lnTo>
                  <a:lnTo>
                    <a:pt x="420148" y="380143"/>
                  </a:lnTo>
                  <a:lnTo>
                    <a:pt x="426910" y="375666"/>
                  </a:lnTo>
                  <a:lnTo>
                    <a:pt x="428911" y="377190"/>
                  </a:lnTo>
                  <a:lnTo>
                    <a:pt x="437674" y="374237"/>
                  </a:lnTo>
                  <a:lnTo>
                    <a:pt x="436531" y="365284"/>
                  </a:lnTo>
                  <a:lnTo>
                    <a:pt x="436912" y="354330"/>
                  </a:lnTo>
                  <a:lnTo>
                    <a:pt x="440531" y="353854"/>
                  </a:lnTo>
                  <a:lnTo>
                    <a:pt x="440246" y="352044"/>
                  </a:lnTo>
                  <a:lnTo>
                    <a:pt x="432816" y="351187"/>
                  </a:lnTo>
                  <a:lnTo>
                    <a:pt x="428244" y="344519"/>
                  </a:lnTo>
                  <a:lnTo>
                    <a:pt x="426339" y="330232"/>
                  </a:lnTo>
                  <a:lnTo>
                    <a:pt x="428149" y="329946"/>
                  </a:lnTo>
                  <a:lnTo>
                    <a:pt x="425672" y="324803"/>
                  </a:lnTo>
                  <a:lnTo>
                    <a:pt x="431863" y="316706"/>
                  </a:lnTo>
                  <a:lnTo>
                    <a:pt x="421957" y="310801"/>
                  </a:lnTo>
                  <a:lnTo>
                    <a:pt x="423100" y="305181"/>
                  </a:lnTo>
                  <a:lnTo>
                    <a:pt x="422148" y="298037"/>
                  </a:lnTo>
                  <a:lnTo>
                    <a:pt x="436245" y="294322"/>
                  </a:lnTo>
                  <a:lnTo>
                    <a:pt x="433959" y="290989"/>
                  </a:lnTo>
                  <a:lnTo>
                    <a:pt x="439103" y="288512"/>
                  </a:lnTo>
                  <a:lnTo>
                    <a:pt x="442722" y="288036"/>
                  </a:lnTo>
                  <a:lnTo>
                    <a:pt x="444246" y="286036"/>
                  </a:lnTo>
                  <a:lnTo>
                    <a:pt x="443770" y="282512"/>
                  </a:lnTo>
                  <a:lnTo>
                    <a:pt x="442341" y="271844"/>
                  </a:lnTo>
                  <a:lnTo>
                    <a:pt x="443389" y="266224"/>
                  </a:lnTo>
                  <a:lnTo>
                    <a:pt x="437483" y="263366"/>
                  </a:lnTo>
                  <a:lnTo>
                    <a:pt x="437197" y="261556"/>
                  </a:lnTo>
                  <a:lnTo>
                    <a:pt x="443960" y="257080"/>
                  </a:lnTo>
                  <a:lnTo>
                    <a:pt x="443484" y="253555"/>
                  </a:lnTo>
                  <a:lnTo>
                    <a:pt x="439388" y="250507"/>
                  </a:lnTo>
                  <a:lnTo>
                    <a:pt x="443008" y="250031"/>
                  </a:lnTo>
                  <a:lnTo>
                    <a:pt x="440055" y="241363"/>
                  </a:lnTo>
                  <a:lnTo>
                    <a:pt x="444532" y="233553"/>
                  </a:lnTo>
                  <a:lnTo>
                    <a:pt x="451009" y="227266"/>
                  </a:lnTo>
                  <a:lnTo>
                    <a:pt x="447770" y="216789"/>
                  </a:lnTo>
                  <a:lnTo>
                    <a:pt x="438817" y="217932"/>
                  </a:lnTo>
                  <a:lnTo>
                    <a:pt x="437483" y="221742"/>
                  </a:lnTo>
                  <a:lnTo>
                    <a:pt x="433864" y="222218"/>
                  </a:lnTo>
                  <a:lnTo>
                    <a:pt x="431482" y="231648"/>
                  </a:lnTo>
                  <a:lnTo>
                    <a:pt x="414909" y="244697"/>
                  </a:lnTo>
                  <a:lnTo>
                    <a:pt x="410718" y="254317"/>
                  </a:lnTo>
                  <a:lnTo>
                    <a:pt x="399002" y="248603"/>
                  </a:lnTo>
                  <a:lnTo>
                    <a:pt x="394716" y="243745"/>
                  </a:lnTo>
                  <a:lnTo>
                    <a:pt x="402241" y="231838"/>
                  </a:lnTo>
                  <a:lnTo>
                    <a:pt x="400240" y="230314"/>
                  </a:lnTo>
                  <a:lnTo>
                    <a:pt x="396621" y="230791"/>
                  </a:lnTo>
                  <a:lnTo>
                    <a:pt x="395954" y="225457"/>
                  </a:lnTo>
                  <a:lnTo>
                    <a:pt x="388239" y="222885"/>
                  </a:lnTo>
                  <a:lnTo>
                    <a:pt x="372428" y="214122"/>
                  </a:lnTo>
                  <a:lnTo>
                    <a:pt x="373761" y="210312"/>
                  </a:lnTo>
                  <a:lnTo>
                    <a:pt x="378905" y="207836"/>
                  </a:lnTo>
                  <a:lnTo>
                    <a:pt x="373380" y="194024"/>
                  </a:lnTo>
                  <a:lnTo>
                    <a:pt x="366808" y="185833"/>
                  </a:lnTo>
                  <a:lnTo>
                    <a:pt x="359664" y="186785"/>
                  </a:lnTo>
                  <a:lnTo>
                    <a:pt x="354901" y="178403"/>
                  </a:lnTo>
                  <a:lnTo>
                    <a:pt x="351282" y="178879"/>
                  </a:lnTo>
                  <a:lnTo>
                    <a:pt x="348996" y="175546"/>
                  </a:lnTo>
                  <a:lnTo>
                    <a:pt x="355759" y="171069"/>
                  </a:lnTo>
                  <a:lnTo>
                    <a:pt x="355282" y="167449"/>
                  </a:lnTo>
                  <a:lnTo>
                    <a:pt x="366522" y="169640"/>
                  </a:lnTo>
                  <a:lnTo>
                    <a:pt x="378142" y="160877"/>
                  </a:lnTo>
                  <a:lnTo>
                    <a:pt x="372237" y="158020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5" name="Volný tvar: obrazec 54">
              <a:extLst>
                <a:ext uri="{FF2B5EF4-FFF2-40B4-BE49-F238E27FC236}">
                  <a16:creationId xmlns:a16="http://schemas.microsoft.com/office/drawing/2014/main" id="{8468BDF3-E6A8-2525-2447-942AA67FE3FC}"/>
                </a:ext>
              </a:extLst>
            </p:cNvPr>
            <p:cNvSpPr/>
            <p:nvPr userDrawn="1"/>
          </p:nvSpPr>
          <p:spPr>
            <a:xfrm>
              <a:off x="6950058" y="4099845"/>
              <a:ext cx="269747" cy="252698"/>
            </a:xfrm>
            <a:custGeom>
              <a:avLst/>
              <a:gdLst>
                <a:gd name="connsiteX0" fmla="*/ 196882 w 269747"/>
                <a:gd name="connsiteY0" fmla="*/ 10287 h 252698"/>
                <a:gd name="connsiteX1" fmla="*/ 185261 w 269747"/>
                <a:gd name="connsiteY1" fmla="*/ 19050 h 252698"/>
                <a:gd name="connsiteX2" fmla="*/ 174022 w 269747"/>
                <a:gd name="connsiteY2" fmla="*/ 16954 h 252698"/>
                <a:gd name="connsiteX3" fmla="*/ 174498 w 269747"/>
                <a:gd name="connsiteY3" fmla="*/ 20479 h 252698"/>
                <a:gd name="connsiteX4" fmla="*/ 167830 w 269747"/>
                <a:gd name="connsiteY4" fmla="*/ 25051 h 252698"/>
                <a:gd name="connsiteX5" fmla="*/ 170116 w 269747"/>
                <a:gd name="connsiteY5" fmla="*/ 28384 h 252698"/>
                <a:gd name="connsiteX6" fmla="*/ 173641 w 269747"/>
                <a:gd name="connsiteY6" fmla="*/ 27908 h 252698"/>
                <a:gd name="connsiteX7" fmla="*/ 178498 w 269747"/>
                <a:gd name="connsiteY7" fmla="*/ 36290 h 252698"/>
                <a:gd name="connsiteX8" fmla="*/ 185642 w 269747"/>
                <a:gd name="connsiteY8" fmla="*/ 35338 h 252698"/>
                <a:gd name="connsiteX9" fmla="*/ 192214 w 269747"/>
                <a:gd name="connsiteY9" fmla="*/ 43529 h 252698"/>
                <a:gd name="connsiteX10" fmla="*/ 197644 w 269747"/>
                <a:gd name="connsiteY10" fmla="*/ 57340 h 252698"/>
                <a:gd name="connsiteX11" fmla="*/ 192500 w 269747"/>
                <a:gd name="connsiteY11" fmla="*/ 59817 h 252698"/>
                <a:gd name="connsiteX12" fmla="*/ 191167 w 269747"/>
                <a:gd name="connsiteY12" fmla="*/ 63627 h 252698"/>
                <a:gd name="connsiteX13" fmla="*/ 206978 w 269747"/>
                <a:gd name="connsiteY13" fmla="*/ 72390 h 252698"/>
                <a:gd name="connsiteX14" fmla="*/ 214598 w 269747"/>
                <a:gd name="connsiteY14" fmla="*/ 75057 h 252698"/>
                <a:gd name="connsiteX15" fmla="*/ 215360 w 269747"/>
                <a:gd name="connsiteY15" fmla="*/ 80391 h 252698"/>
                <a:gd name="connsiteX16" fmla="*/ 218980 w 269747"/>
                <a:gd name="connsiteY16" fmla="*/ 79915 h 252698"/>
                <a:gd name="connsiteX17" fmla="*/ 220980 w 269747"/>
                <a:gd name="connsiteY17" fmla="*/ 81439 h 252698"/>
                <a:gd name="connsiteX18" fmla="*/ 213360 w 269747"/>
                <a:gd name="connsiteY18" fmla="*/ 93345 h 252698"/>
                <a:gd name="connsiteX19" fmla="*/ 217646 w 269747"/>
                <a:gd name="connsiteY19" fmla="*/ 98203 h 252698"/>
                <a:gd name="connsiteX20" fmla="*/ 229457 w 269747"/>
                <a:gd name="connsiteY20" fmla="*/ 103918 h 252698"/>
                <a:gd name="connsiteX21" fmla="*/ 233648 w 269747"/>
                <a:gd name="connsiteY21" fmla="*/ 94297 h 252698"/>
                <a:gd name="connsiteX22" fmla="*/ 250222 w 269747"/>
                <a:gd name="connsiteY22" fmla="*/ 81248 h 252698"/>
                <a:gd name="connsiteX23" fmla="*/ 252603 w 269747"/>
                <a:gd name="connsiteY23" fmla="*/ 71819 h 252698"/>
                <a:gd name="connsiteX24" fmla="*/ 256222 w 269747"/>
                <a:gd name="connsiteY24" fmla="*/ 71342 h 252698"/>
                <a:gd name="connsiteX25" fmla="*/ 257461 w 269747"/>
                <a:gd name="connsiteY25" fmla="*/ 67532 h 252698"/>
                <a:gd name="connsiteX26" fmla="*/ 266509 w 269747"/>
                <a:gd name="connsiteY26" fmla="*/ 66389 h 252698"/>
                <a:gd name="connsiteX27" fmla="*/ 269748 w 269747"/>
                <a:gd name="connsiteY27" fmla="*/ 76771 h 252698"/>
                <a:gd name="connsiteX28" fmla="*/ 263176 w 269747"/>
                <a:gd name="connsiteY28" fmla="*/ 83058 h 252698"/>
                <a:gd name="connsiteX29" fmla="*/ 258794 w 269747"/>
                <a:gd name="connsiteY29" fmla="*/ 90964 h 252698"/>
                <a:gd name="connsiteX30" fmla="*/ 261747 w 269747"/>
                <a:gd name="connsiteY30" fmla="*/ 99631 h 252698"/>
                <a:gd name="connsiteX31" fmla="*/ 258127 w 269747"/>
                <a:gd name="connsiteY31" fmla="*/ 100108 h 252698"/>
                <a:gd name="connsiteX32" fmla="*/ 262223 w 269747"/>
                <a:gd name="connsiteY32" fmla="*/ 103156 h 252698"/>
                <a:gd name="connsiteX33" fmla="*/ 262699 w 269747"/>
                <a:gd name="connsiteY33" fmla="*/ 106775 h 252698"/>
                <a:gd name="connsiteX34" fmla="*/ 255937 w 269747"/>
                <a:gd name="connsiteY34" fmla="*/ 111252 h 252698"/>
                <a:gd name="connsiteX35" fmla="*/ 256222 w 269747"/>
                <a:gd name="connsiteY35" fmla="*/ 113062 h 252698"/>
                <a:gd name="connsiteX36" fmla="*/ 262033 w 269747"/>
                <a:gd name="connsiteY36" fmla="*/ 115919 h 252698"/>
                <a:gd name="connsiteX37" fmla="*/ 260985 w 269747"/>
                <a:gd name="connsiteY37" fmla="*/ 121444 h 252698"/>
                <a:gd name="connsiteX38" fmla="*/ 262414 w 269747"/>
                <a:gd name="connsiteY38" fmla="*/ 132207 h 252698"/>
                <a:gd name="connsiteX39" fmla="*/ 262890 w 269747"/>
                <a:gd name="connsiteY39" fmla="*/ 135731 h 252698"/>
                <a:gd name="connsiteX40" fmla="*/ 261271 w 269747"/>
                <a:gd name="connsiteY40" fmla="*/ 137731 h 252698"/>
                <a:gd name="connsiteX41" fmla="*/ 257746 w 269747"/>
                <a:gd name="connsiteY41" fmla="*/ 138208 h 252698"/>
                <a:gd name="connsiteX42" fmla="*/ 252508 w 269747"/>
                <a:gd name="connsiteY42" fmla="*/ 140684 h 252698"/>
                <a:gd name="connsiteX43" fmla="*/ 254794 w 269747"/>
                <a:gd name="connsiteY43" fmla="*/ 144018 h 252698"/>
                <a:gd name="connsiteX44" fmla="*/ 240697 w 269747"/>
                <a:gd name="connsiteY44" fmla="*/ 147733 h 252698"/>
                <a:gd name="connsiteX45" fmla="*/ 241649 w 269747"/>
                <a:gd name="connsiteY45" fmla="*/ 154877 h 252698"/>
                <a:gd name="connsiteX46" fmla="*/ 240506 w 269747"/>
                <a:gd name="connsiteY46" fmla="*/ 160496 h 252698"/>
                <a:gd name="connsiteX47" fmla="*/ 250507 w 269747"/>
                <a:gd name="connsiteY47" fmla="*/ 166402 h 252698"/>
                <a:gd name="connsiteX48" fmla="*/ 244221 w 269747"/>
                <a:gd name="connsiteY48" fmla="*/ 174498 h 252698"/>
                <a:gd name="connsiteX49" fmla="*/ 246697 w 269747"/>
                <a:gd name="connsiteY49" fmla="*/ 179546 h 252698"/>
                <a:gd name="connsiteX50" fmla="*/ 244983 w 269747"/>
                <a:gd name="connsiteY50" fmla="*/ 179832 h 252698"/>
                <a:gd name="connsiteX51" fmla="*/ 246793 w 269747"/>
                <a:gd name="connsiteY51" fmla="*/ 194024 h 252698"/>
                <a:gd name="connsiteX52" fmla="*/ 251365 w 269747"/>
                <a:gd name="connsiteY52" fmla="*/ 200692 h 252698"/>
                <a:gd name="connsiteX53" fmla="*/ 258794 w 269747"/>
                <a:gd name="connsiteY53" fmla="*/ 201549 h 252698"/>
                <a:gd name="connsiteX54" fmla="*/ 259080 w 269747"/>
                <a:gd name="connsiteY54" fmla="*/ 203359 h 252698"/>
                <a:gd name="connsiteX55" fmla="*/ 255460 w 269747"/>
                <a:gd name="connsiteY55" fmla="*/ 203835 h 252698"/>
                <a:gd name="connsiteX56" fmla="*/ 255079 w 269747"/>
                <a:gd name="connsiteY56" fmla="*/ 214789 h 252698"/>
                <a:gd name="connsiteX57" fmla="*/ 256222 w 269747"/>
                <a:gd name="connsiteY57" fmla="*/ 223647 h 252698"/>
                <a:gd name="connsiteX58" fmla="*/ 247459 w 269747"/>
                <a:gd name="connsiteY58" fmla="*/ 226600 h 252698"/>
                <a:gd name="connsiteX59" fmla="*/ 245459 w 269747"/>
                <a:gd name="connsiteY59" fmla="*/ 225076 h 252698"/>
                <a:gd name="connsiteX60" fmla="*/ 238696 w 269747"/>
                <a:gd name="connsiteY60" fmla="*/ 229553 h 252698"/>
                <a:gd name="connsiteX61" fmla="*/ 234886 w 269747"/>
                <a:gd name="connsiteY61" fmla="*/ 228314 h 252698"/>
                <a:gd name="connsiteX62" fmla="*/ 232505 w 269747"/>
                <a:gd name="connsiteY62" fmla="*/ 237649 h 252698"/>
                <a:gd name="connsiteX63" fmla="*/ 228886 w 269747"/>
                <a:gd name="connsiteY63" fmla="*/ 238125 h 252698"/>
                <a:gd name="connsiteX64" fmla="*/ 229362 w 269747"/>
                <a:gd name="connsiteY64" fmla="*/ 241745 h 252698"/>
                <a:gd name="connsiteX65" fmla="*/ 225742 w 269747"/>
                <a:gd name="connsiteY65" fmla="*/ 242125 h 252698"/>
                <a:gd name="connsiteX66" fmla="*/ 226028 w 269747"/>
                <a:gd name="connsiteY66" fmla="*/ 243935 h 252698"/>
                <a:gd name="connsiteX67" fmla="*/ 218599 w 269747"/>
                <a:gd name="connsiteY67" fmla="*/ 243078 h 252698"/>
                <a:gd name="connsiteX68" fmla="*/ 213169 w 269747"/>
                <a:gd name="connsiteY68" fmla="*/ 243840 h 252698"/>
                <a:gd name="connsiteX69" fmla="*/ 209169 w 269747"/>
                <a:gd name="connsiteY69" fmla="*/ 240792 h 252698"/>
                <a:gd name="connsiteX70" fmla="*/ 192500 w 269747"/>
                <a:gd name="connsiteY70" fmla="*/ 239363 h 252698"/>
                <a:gd name="connsiteX71" fmla="*/ 189166 w 269747"/>
                <a:gd name="connsiteY71" fmla="*/ 241554 h 252698"/>
                <a:gd name="connsiteX72" fmla="*/ 186023 w 269747"/>
                <a:gd name="connsiteY72" fmla="*/ 245650 h 252698"/>
                <a:gd name="connsiteX73" fmla="*/ 186976 w 269747"/>
                <a:gd name="connsiteY73" fmla="*/ 252698 h 252698"/>
                <a:gd name="connsiteX74" fmla="*/ 183166 w 269747"/>
                <a:gd name="connsiteY74" fmla="*/ 251460 h 252698"/>
                <a:gd name="connsiteX75" fmla="*/ 180689 w 269747"/>
                <a:gd name="connsiteY75" fmla="*/ 246316 h 252698"/>
                <a:gd name="connsiteX76" fmla="*/ 182118 w 269747"/>
                <a:gd name="connsiteY76" fmla="*/ 229838 h 252698"/>
                <a:gd name="connsiteX77" fmla="*/ 189262 w 269747"/>
                <a:gd name="connsiteY77" fmla="*/ 228886 h 252698"/>
                <a:gd name="connsiteX78" fmla="*/ 188309 w 269747"/>
                <a:gd name="connsiteY78" fmla="*/ 221742 h 252698"/>
                <a:gd name="connsiteX79" fmla="*/ 195548 w 269747"/>
                <a:gd name="connsiteY79" fmla="*/ 220789 h 252698"/>
                <a:gd name="connsiteX80" fmla="*/ 192595 w 269747"/>
                <a:gd name="connsiteY80" fmla="*/ 212122 h 252698"/>
                <a:gd name="connsiteX81" fmla="*/ 193167 w 269747"/>
                <a:gd name="connsiteY81" fmla="*/ 202978 h 252698"/>
                <a:gd name="connsiteX82" fmla="*/ 187833 w 269747"/>
                <a:gd name="connsiteY82" fmla="*/ 203740 h 252698"/>
                <a:gd name="connsiteX83" fmla="*/ 185642 w 269747"/>
                <a:gd name="connsiteY83" fmla="*/ 214884 h 252698"/>
                <a:gd name="connsiteX84" fmla="*/ 169164 w 269747"/>
                <a:gd name="connsiteY84" fmla="*/ 215170 h 252698"/>
                <a:gd name="connsiteX85" fmla="*/ 163354 w 269747"/>
                <a:gd name="connsiteY85" fmla="*/ 212407 h 252698"/>
                <a:gd name="connsiteX86" fmla="*/ 158210 w 269747"/>
                <a:gd name="connsiteY86" fmla="*/ 214884 h 252698"/>
                <a:gd name="connsiteX87" fmla="*/ 156686 w 269747"/>
                <a:gd name="connsiteY87" fmla="*/ 216884 h 252698"/>
                <a:gd name="connsiteX88" fmla="*/ 156876 w 269747"/>
                <a:gd name="connsiteY88" fmla="*/ 218694 h 252698"/>
                <a:gd name="connsiteX89" fmla="*/ 149638 w 269747"/>
                <a:gd name="connsiteY89" fmla="*/ 219646 h 252698"/>
                <a:gd name="connsiteX90" fmla="*/ 150495 w 269747"/>
                <a:gd name="connsiteY90" fmla="*/ 212217 h 252698"/>
                <a:gd name="connsiteX91" fmla="*/ 153829 w 269747"/>
                <a:gd name="connsiteY91" fmla="*/ 195453 h 252698"/>
                <a:gd name="connsiteX92" fmla="*/ 150019 w 269747"/>
                <a:gd name="connsiteY92" fmla="*/ 194215 h 252698"/>
                <a:gd name="connsiteX93" fmla="*/ 149733 w 269747"/>
                <a:gd name="connsiteY93" fmla="*/ 192405 h 252698"/>
                <a:gd name="connsiteX94" fmla="*/ 147733 w 269747"/>
                <a:gd name="connsiteY94" fmla="*/ 190881 h 252698"/>
                <a:gd name="connsiteX95" fmla="*/ 152590 w 269747"/>
                <a:gd name="connsiteY95" fmla="*/ 186595 h 252698"/>
                <a:gd name="connsiteX96" fmla="*/ 150590 w 269747"/>
                <a:gd name="connsiteY96" fmla="*/ 185071 h 252698"/>
                <a:gd name="connsiteX97" fmla="*/ 139541 w 269747"/>
                <a:gd name="connsiteY97" fmla="*/ 184690 h 252698"/>
                <a:gd name="connsiteX98" fmla="*/ 137541 w 269747"/>
                <a:gd name="connsiteY98" fmla="*/ 183166 h 252698"/>
                <a:gd name="connsiteX99" fmla="*/ 134874 w 269747"/>
                <a:gd name="connsiteY99" fmla="*/ 190786 h 252698"/>
                <a:gd name="connsiteX100" fmla="*/ 118967 w 269747"/>
                <a:gd name="connsiteY100" fmla="*/ 194691 h 252698"/>
                <a:gd name="connsiteX101" fmla="*/ 116967 w 269747"/>
                <a:gd name="connsiteY101" fmla="*/ 193167 h 252698"/>
                <a:gd name="connsiteX102" fmla="*/ 115062 w 269747"/>
                <a:gd name="connsiteY102" fmla="*/ 178879 h 252698"/>
                <a:gd name="connsiteX103" fmla="*/ 109156 w 269747"/>
                <a:gd name="connsiteY103" fmla="*/ 176022 h 252698"/>
                <a:gd name="connsiteX104" fmla="*/ 110776 w 269747"/>
                <a:gd name="connsiteY104" fmla="*/ 174022 h 252698"/>
                <a:gd name="connsiteX105" fmla="*/ 101346 w 269747"/>
                <a:gd name="connsiteY105" fmla="*/ 171640 h 252698"/>
                <a:gd name="connsiteX106" fmla="*/ 94583 w 269747"/>
                <a:gd name="connsiteY106" fmla="*/ 176117 h 252698"/>
                <a:gd name="connsiteX107" fmla="*/ 82867 w 269747"/>
                <a:gd name="connsiteY107" fmla="*/ 170402 h 252698"/>
                <a:gd name="connsiteX108" fmla="*/ 83725 w 269747"/>
                <a:gd name="connsiteY108" fmla="*/ 163068 h 252698"/>
                <a:gd name="connsiteX109" fmla="*/ 62579 w 269747"/>
                <a:gd name="connsiteY109" fmla="*/ 154972 h 252698"/>
                <a:gd name="connsiteX110" fmla="*/ 62103 w 269747"/>
                <a:gd name="connsiteY110" fmla="*/ 151447 h 252698"/>
                <a:gd name="connsiteX111" fmla="*/ 58388 w 269747"/>
                <a:gd name="connsiteY111" fmla="*/ 137446 h 252698"/>
                <a:gd name="connsiteX112" fmla="*/ 54769 w 269747"/>
                <a:gd name="connsiteY112" fmla="*/ 137922 h 252698"/>
                <a:gd name="connsiteX113" fmla="*/ 48673 w 269747"/>
                <a:gd name="connsiteY113" fmla="*/ 133255 h 252698"/>
                <a:gd name="connsiteX114" fmla="*/ 43529 w 269747"/>
                <a:gd name="connsiteY114" fmla="*/ 135731 h 252698"/>
                <a:gd name="connsiteX115" fmla="*/ 42672 w 269747"/>
                <a:gd name="connsiteY115" fmla="*/ 143161 h 252698"/>
                <a:gd name="connsiteX116" fmla="*/ 38862 w 269747"/>
                <a:gd name="connsiteY116" fmla="*/ 141827 h 252698"/>
                <a:gd name="connsiteX117" fmla="*/ 31718 w 269747"/>
                <a:gd name="connsiteY117" fmla="*/ 142780 h 252698"/>
                <a:gd name="connsiteX118" fmla="*/ 26098 w 269747"/>
                <a:gd name="connsiteY118" fmla="*/ 141732 h 252698"/>
                <a:gd name="connsiteX119" fmla="*/ 22860 w 269747"/>
                <a:gd name="connsiteY119" fmla="*/ 131254 h 252698"/>
                <a:gd name="connsiteX120" fmla="*/ 16764 w 269747"/>
                <a:gd name="connsiteY120" fmla="*/ 126587 h 252698"/>
                <a:gd name="connsiteX121" fmla="*/ 17621 w 269747"/>
                <a:gd name="connsiteY121" fmla="*/ 119253 h 252698"/>
                <a:gd name="connsiteX122" fmla="*/ 11716 w 269747"/>
                <a:gd name="connsiteY122" fmla="*/ 116396 h 252698"/>
                <a:gd name="connsiteX123" fmla="*/ 8191 w 269747"/>
                <a:gd name="connsiteY123" fmla="*/ 116872 h 252698"/>
                <a:gd name="connsiteX124" fmla="*/ 5620 w 269747"/>
                <a:gd name="connsiteY124" fmla="*/ 111728 h 252698"/>
                <a:gd name="connsiteX125" fmla="*/ 0 w 269747"/>
                <a:gd name="connsiteY125" fmla="*/ 110680 h 252698"/>
                <a:gd name="connsiteX126" fmla="*/ 1619 w 269747"/>
                <a:gd name="connsiteY126" fmla="*/ 108680 h 252698"/>
                <a:gd name="connsiteX127" fmla="*/ 7334 w 269747"/>
                <a:gd name="connsiteY127" fmla="*/ 97060 h 252698"/>
                <a:gd name="connsiteX128" fmla="*/ 8953 w 269747"/>
                <a:gd name="connsiteY128" fmla="*/ 94964 h 252698"/>
                <a:gd name="connsiteX129" fmla="*/ 6382 w 269747"/>
                <a:gd name="connsiteY129" fmla="*/ 89916 h 252698"/>
                <a:gd name="connsiteX130" fmla="*/ 11620 w 269747"/>
                <a:gd name="connsiteY130" fmla="*/ 87439 h 252698"/>
                <a:gd name="connsiteX131" fmla="*/ 5715 w 269747"/>
                <a:gd name="connsiteY131" fmla="*/ 84582 h 252698"/>
                <a:gd name="connsiteX132" fmla="*/ 7525 w 269747"/>
                <a:gd name="connsiteY132" fmla="*/ 84296 h 252698"/>
                <a:gd name="connsiteX133" fmla="*/ 12859 w 269747"/>
                <a:gd name="connsiteY133" fmla="*/ 83629 h 252698"/>
                <a:gd name="connsiteX134" fmla="*/ 16859 w 269747"/>
                <a:gd name="connsiteY134" fmla="*/ 72199 h 252698"/>
                <a:gd name="connsiteX135" fmla="*/ 22860 w 269747"/>
                <a:gd name="connsiteY135" fmla="*/ 62294 h 252698"/>
                <a:gd name="connsiteX136" fmla="*/ 17431 w 269747"/>
                <a:gd name="connsiteY136" fmla="*/ 63055 h 252698"/>
                <a:gd name="connsiteX137" fmla="*/ 17240 w 269747"/>
                <a:gd name="connsiteY137" fmla="*/ 61246 h 252698"/>
                <a:gd name="connsiteX138" fmla="*/ 22384 w 269747"/>
                <a:gd name="connsiteY138" fmla="*/ 58769 h 252698"/>
                <a:gd name="connsiteX139" fmla="*/ 15621 w 269747"/>
                <a:gd name="connsiteY139" fmla="*/ 48768 h 252698"/>
                <a:gd name="connsiteX140" fmla="*/ 17145 w 269747"/>
                <a:gd name="connsiteY140" fmla="*/ 46768 h 252698"/>
                <a:gd name="connsiteX141" fmla="*/ 16669 w 269747"/>
                <a:gd name="connsiteY141" fmla="*/ 43243 h 252698"/>
                <a:gd name="connsiteX142" fmla="*/ 20002 w 269747"/>
                <a:gd name="connsiteY142" fmla="*/ 40958 h 252698"/>
                <a:gd name="connsiteX143" fmla="*/ 19336 w 269747"/>
                <a:gd name="connsiteY143" fmla="*/ 35623 h 252698"/>
                <a:gd name="connsiteX144" fmla="*/ 25336 w 269747"/>
                <a:gd name="connsiteY144" fmla="*/ 25717 h 252698"/>
                <a:gd name="connsiteX145" fmla="*/ 30004 w 269747"/>
                <a:gd name="connsiteY145" fmla="*/ 19717 h 252698"/>
                <a:gd name="connsiteX146" fmla="*/ 40195 w 269747"/>
                <a:gd name="connsiteY146" fmla="*/ 27432 h 252698"/>
                <a:gd name="connsiteX147" fmla="*/ 45529 w 269747"/>
                <a:gd name="connsiteY147" fmla="*/ 26670 h 252698"/>
                <a:gd name="connsiteX148" fmla="*/ 43529 w 269747"/>
                <a:gd name="connsiteY148" fmla="*/ 25146 h 252698"/>
                <a:gd name="connsiteX149" fmla="*/ 50959 w 269747"/>
                <a:gd name="connsiteY149" fmla="*/ 26003 h 252698"/>
                <a:gd name="connsiteX150" fmla="*/ 53721 w 269747"/>
                <a:gd name="connsiteY150" fmla="*/ 32861 h 252698"/>
                <a:gd name="connsiteX151" fmla="*/ 55721 w 269747"/>
                <a:gd name="connsiteY151" fmla="*/ 34385 h 252698"/>
                <a:gd name="connsiteX152" fmla="*/ 57055 w 269747"/>
                <a:gd name="connsiteY152" fmla="*/ 30671 h 252698"/>
                <a:gd name="connsiteX153" fmla="*/ 71723 w 269747"/>
                <a:gd name="connsiteY153" fmla="*/ 44958 h 252698"/>
                <a:gd name="connsiteX154" fmla="*/ 65532 w 269747"/>
                <a:gd name="connsiteY154" fmla="*/ 53054 h 252698"/>
                <a:gd name="connsiteX155" fmla="*/ 72295 w 269747"/>
                <a:gd name="connsiteY155" fmla="*/ 63055 h 252698"/>
                <a:gd name="connsiteX156" fmla="*/ 80200 w 269747"/>
                <a:gd name="connsiteY156" fmla="*/ 67437 h 252698"/>
                <a:gd name="connsiteX157" fmla="*/ 78867 w 269747"/>
                <a:gd name="connsiteY157" fmla="*/ 71247 h 252698"/>
                <a:gd name="connsiteX158" fmla="*/ 90106 w 269747"/>
                <a:gd name="connsiteY158" fmla="*/ 73438 h 252698"/>
                <a:gd name="connsiteX159" fmla="*/ 95536 w 269747"/>
                <a:gd name="connsiteY159" fmla="*/ 72676 h 252698"/>
                <a:gd name="connsiteX160" fmla="*/ 90488 w 269747"/>
                <a:gd name="connsiteY160" fmla="*/ 62484 h 252698"/>
                <a:gd name="connsiteX161" fmla="*/ 90297 w 269747"/>
                <a:gd name="connsiteY161" fmla="*/ 60674 h 252698"/>
                <a:gd name="connsiteX162" fmla="*/ 93440 w 269747"/>
                <a:gd name="connsiteY162" fmla="*/ 56579 h 252698"/>
                <a:gd name="connsiteX163" fmla="*/ 96774 w 269747"/>
                <a:gd name="connsiteY163" fmla="*/ 54388 h 252698"/>
                <a:gd name="connsiteX164" fmla="*/ 101251 w 269747"/>
                <a:gd name="connsiteY164" fmla="*/ 61055 h 252698"/>
                <a:gd name="connsiteX165" fmla="*/ 102394 w 269747"/>
                <a:gd name="connsiteY165" fmla="*/ 55436 h 252698"/>
                <a:gd name="connsiteX166" fmla="*/ 108871 w 269747"/>
                <a:gd name="connsiteY166" fmla="*/ 49149 h 252698"/>
                <a:gd name="connsiteX167" fmla="*/ 110871 w 269747"/>
                <a:gd name="connsiteY167" fmla="*/ 50673 h 252698"/>
                <a:gd name="connsiteX168" fmla="*/ 112014 w 269747"/>
                <a:gd name="connsiteY168" fmla="*/ 59627 h 252698"/>
                <a:gd name="connsiteX169" fmla="*/ 119253 w 269747"/>
                <a:gd name="connsiteY169" fmla="*/ 58674 h 252698"/>
                <a:gd name="connsiteX170" fmla="*/ 116491 w 269747"/>
                <a:gd name="connsiteY170" fmla="*/ 51816 h 252698"/>
                <a:gd name="connsiteX171" fmla="*/ 118110 w 269747"/>
                <a:gd name="connsiteY171" fmla="*/ 49721 h 252698"/>
                <a:gd name="connsiteX172" fmla="*/ 116014 w 269747"/>
                <a:gd name="connsiteY172" fmla="*/ 48196 h 252698"/>
                <a:gd name="connsiteX173" fmla="*/ 119443 w 269747"/>
                <a:gd name="connsiteY173" fmla="*/ 45910 h 252698"/>
                <a:gd name="connsiteX174" fmla="*/ 111538 w 269747"/>
                <a:gd name="connsiteY174" fmla="*/ 41529 h 252698"/>
                <a:gd name="connsiteX175" fmla="*/ 113347 w 269747"/>
                <a:gd name="connsiteY175" fmla="*/ 41338 h 252698"/>
                <a:gd name="connsiteX176" fmla="*/ 120491 w 269747"/>
                <a:gd name="connsiteY176" fmla="*/ 40291 h 252698"/>
                <a:gd name="connsiteX177" fmla="*/ 118205 w 269747"/>
                <a:gd name="connsiteY177" fmla="*/ 37052 h 252698"/>
                <a:gd name="connsiteX178" fmla="*/ 121063 w 269747"/>
                <a:gd name="connsiteY178" fmla="*/ 31242 h 252698"/>
                <a:gd name="connsiteX179" fmla="*/ 130588 w 269747"/>
                <a:gd name="connsiteY179" fmla="*/ 33528 h 252698"/>
                <a:gd name="connsiteX180" fmla="*/ 133636 w 269747"/>
                <a:gd name="connsiteY180" fmla="*/ 29527 h 252698"/>
                <a:gd name="connsiteX181" fmla="*/ 131635 w 269747"/>
                <a:gd name="connsiteY181" fmla="*/ 28004 h 252698"/>
                <a:gd name="connsiteX182" fmla="*/ 131159 w 269747"/>
                <a:gd name="connsiteY182" fmla="*/ 24384 h 252698"/>
                <a:gd name="connsiteX183" fmla="*/ 134779 w 269747"/>
                <a:gd name="connsiteY183" fmla="*/ 24003 h 252698"/>
                <a:gd name="connsiteX184" fmla="*/ 134588 w 269747"/>
                <a:gd name="connsiteY184" fmla="*/ 22193 h 252698"/>
                <a:gd name="connsiteX185" fmla="*/ 135636 w 269747"/>
                <a:gd name="connsiteY185" fmla="*/ 16573 h 252698"/>
                <a:gd name="connsiteX186" fmla="*/ 139255 w 269747"/>
                <a:gd name="connsiteY186" fmla="*/ 16097 h 252698"/>
                <a:gd name="connsiteX187" fmla="*/ 144113 w 269747"/>
                <a:gd name="connsiteY187" fmla="*/ 11811 h 252698"/>
                <a:gd name="connsiteX188" fmla="*/ 147923 w 269747"/>
                <a:gd name="connsiteY188" fmla="*/ 13144 h 252698"/>
                <a:gd name="connsiteX189" fmla="*/ 151924 w 269747"/>
                <a:gd name="connsiteY189" fmla="*/ 1714 h 252698"/>
                <a:gd name="connsiteX190" fmla="*/ 156210 w 269747"/>
                <a:gd name="connsiteY190" fmla="*/ 6572 h 252698"/>
                <a:gd name="connsiteX191" fmla="*/ 168783 w 269747"/>
                <a:gd name="connsiteY191" fmla="*/ 4953 h 252698"/>
                <a:gd name="connsiteX192" fmla="*/ 171545 w 269747"/>
                <a:gd name="connsiteY192" fmla="*/ 11811 h 252698"/>
                <a:gd name="connsiteX193" fmla="*/ 176974 w 269747"/>
                <a:gd name="connsiteY193" fmla="*/ 11144 h 252698"/>
                <a:gd name="connsiteX194" fmla="*/ 178784 w 269747"/>
                <a:gd name="connsiteY194" fmla="*/ 10858 h 252698"/>
                <a:gd name="connsiteX195" fmla="*/ 176498 w 269747"/>
                <a:gd name="connsiteY195" fmla="*/ 7525 h 252698"/>
                <a:gd name="connsiteX196" fmla="*/ 177832 w 269747"/>
                <a:gd name="connsiteY196" fmla="*/ 3715 h 252698"/>
                <a:gd name="connsiteX197" fmla="*/ 179546 w 269747"/>
                <a:gd name="connsiteY197" fmla="*/ 3524 h 252698"/>
                <a:gd name="connsiteX198" fmla="*/ 179070 w 269747"/>
                <a:gd name="connsiteY198" fmla="*/ 0 h 252698"/>
                <a:gd name="connsiteX199" fmla="*/ 191071 w 269747"/>
                <a:gd name="connsiteY199" fmla="*/ 7429 h 252698"/>
                <a:gd name="connsiteX200" fmla="*/ 196882 w 269747"/>
                <a:gd name="connsiteY200" fmla="*/ 10287 h 252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</a:cxnLst>
              <a:rect l="l" t="t" r="r" b="b"/>
              <a:pathLst>
                <a:path w="269747" h="252698">
                  <a:moveTo>
                    <a:pt x="196882" y="10287"/>
                  </a:moveTo>
                  <a:lnTo>
                    <a:pt x="185261" y="19050"/>
                  </a:lnTo>
                  <a:lnTo>
                    <a:pt x="174022" y="16954"/>
                  </a:lnTo>
                  <a:lnTo>
                    <a:pt x="174498" y="20479"/>
                  </a:lnTo>
                  <a:lnTo>
                    <a:pt x="167830" y="25051"/>
                  </a:lnTo>
                  <a:lnTo>
                    <a:pt x="170116" y="28384"/>
                  </a:lnTo>
                  <a:lnTo>
                    <a:pt x="173641" y="27908"/>
                  </a:lnTo>
                  <a:lnTo>
                    <a:pt x="178498" y="36290"/>
                  </a:lnTo>
                  <a:lnTo>
                    <a:pt x="185642" y="35338"/>
                  </a:lnTo>
                  <a:lnTo>
                    <a:pt x="192214" y="43529"/>
                  </a:lnTo>
                  <a:lnTo>
                    <a:pt x="197644" y="57340"/>
                  </a:lnTo>
                  <a:lnTo>
                    <a:pt x="192500" y="59817"/>
                  </a:lnTo>
                  <a:lnTo>
                    <a:pt x="191167" y="63627"/>
                  </a:lnTo>
                  <a:lnTo>
                    <a:pt x="206978" y="72390"/>
                  </a:lnTo>
                  <a:lnTo>
                    <a:pt x="214598" y="75057"/>
                  </a:lnTo>
                  <a:lnTo>
                    <a:pt x="215360" y="80391"/>
                  </a:lnTo>
                  <a:lnTo>
                    <a:pt x="218980" y="79915"/>
                  </a:lnTo>
                  <a:lnTo>
                    <a:pt x="220980" y="81439"/>
                  </a:lnTo>
                  <a:lnTo>
                    <a:pt x="213360" y="93345"/>
                  </a:lnTo>
                  <a:lnTo>
                    <a:pt x="217646" y="98203"/>
                  </a:lnTo>
                  <a:lnTo>
                    <a:pt x="229457" y="103918"/>
                  </a:lnTo>
                  <a:lnTo>
                    <a:pt x="233648" y="94297"/>
                  </a:lnTo>
                  <a:lnTo>
                    <a:pt x="250222" y="81248"/>
                  </a:lnTo>
                  <a:lnTo>
                    <a:pt x="252603" y="71819"/>
                  </a:lnTo>
                  <a:lnTo>
                    <a:pt x="256222" y="71342"/>
                  </a:lnTo>
                  <a:lnTo>
                    <a:pt x="257461" y="67532"/>
                  </a:lnTo>
                  <a:lnTo>
                    <a:pt x="266509" y="66389"/>
                  </a:lnTo>
                  <a:lnTo>
                    <a:pt x="269748" y="76771"/>
                  </a:lnTo>
                  <a:lnTo>
                    <a:pt x="263176" y="83058"/>
                  </a:lnTo>
                  <a:lnTo>
                    <a:pt x="258794" y="90964"/>
                  </a:lnTo>
                  <a:lnTo>
                    <a:pt x="261747" y="99631"/>
                  </a:lnTo>
                  <a:lnTo>
                    <a:pt x="258127" y="100108"/>
                  </a:lnTo>
                  <a:lnTo>
                    <a:pt x="262223" y="103156"/>
                  </a:lnTo>
                  <a:lnTo>
                    <a:pt x="262699" y="106775"/>
                  </a:lnTo>
                  <a:lnTo>
                    <a:pt x="255937" y="111252"/>
                  </a:lnTo>
                  <a:lnTo>
                    <a:pt x="256222" y="113062"/>
                  </a:lnTo>
                  <a:lnTo>
                    <a:pt x="262033" y="115919"/>
                  </a:lnTo>
                  <a:lnTo>
                    <a:pt x="260985" y="121444"/>
                  </a:lnTo>
                  <a:lnTo>
                    <a:pt x="262414" y="132207"/>
                  </a:lnTo>
                  <a:lnTo>
                    <a:pt x="262890" y="135731"/>
                  </a:lnTo>
                  <a:lnTo>
                    <a:pt x="261271" y="137731"/>
                  </a:lnTo>
                  <a:lnTo>
                    <a:pt x="257746" y="138208"/>
                  </a:lnTo>
                  <a:lnTo>
                    <a:pt x="252508" y="140684"/>
                  </a:lnTo>
                  <a:lnTo>
                    <a:pt x="254794" y="144018"/>
                  </a:lnTo>
                  <a:lnTo>
                    <a:pt x="240697" y="147733"/>
                  </a:lnTo>
                  <a:lnTo>
                    <a:pt x="241649" y="154877"/>
                  </a:lnTo>
                  <a:lnTo>
                    <a:pt x="240506" y="160496"/>
                  </a:lnTo>
                  <a:lnTo>
                    <a:pt x="250507" y="166402"/>
                  </a:lnTo>
                  <a:lnTo>
                    <a:pt x="244221" y="174498"/>
                  </a:lnTo>
                  <a:lnTo>
                    <a:pt x="246697" y="179546"/>
                  </a:lnTo>
                  <a:lnTo>
                    <a:pt x="244983" y="179832"/>
                  </a:lnTo>
                  <a:lnTo>
                    <a:pt x="246793" y="194024"/>
                  </a:lnTo>
                  <a:lnTo>
                    <a:pt x="251365" y="200692"/>
                  </a:lnTo>
                  <a:lnTo>
                    <a:pt x="258794" y="201549"/>
                  </a:lnTo>
                  <a:lnTo>
                    <a:pt x="259080" y="203359"/>
                  </a:lnTo>
                  <a:lnTo>
                    <a:pt x="255460" y="203835"/>
                  </a:lnTo>
                  <a:lnTo>
                    <a:pt x="255079" y="214789"/>
                  </a:lnTo>
                  <a:lnTo>
                    <a:pt x="256222" y="223647"/>
                  </a:lnTo>
                  <a:lnTo>
                    <a:pt x="247459" y="226600"/>
                  </a:lnTo>
                  <a:lnTo>
                    <a:pt x="245459" y="225076"/>
                  </a:lnTo>
                  <a:lnTo>
                    <a:pt x="238696" y="229553"/>
                  </a:lnTo>
                  <a:lnTo>
                    <a:pt x="234886" y="228314"/>
                  </a:lnTo>
                  <a:lnTo>
                    <a:pt x="232505" y="237649"/>
                  </a:lnTo>
                  <a:lnTo>
                    <a:pt x="228886" y="238125"/>
                  </a:lnTo>
                  <a:lnTo>
                    <a:pt x="229362" y="241745"/>
                  </a:lnTo>
                  <a:lnTo>
                    <a:pt x="225742" y="242125"/>
                  </a:lnTo>
                  <a:lnTo>
                    <a:pt x="226028" y="243935"/>
                  </a:lnTo>
                  <a:lnTo>
                    <a:pt x="218599" y="243078"/>
                  </a:lnTo>
                  <a:lnTo>
                    <a:pt x="213169" y="243840"/>
                  </a:lnTo>
                  <a:lnTo>
                    <a:pt x="209169" y="240792"/>
                  </a:lnTo>
                  <a:lnTo>
                    <a:pt x="192500" y="239363"/>
                  </a:lnTo>
                  <a:lnTo>
                    <a:pt x="189166" y="241554"/>
                  </a:lnTo>
                  <a:lnTo>
                    <a:pt x="186023" y="245650"/>
                  </a:lnTo>
                  <a:lnTo>
                    <a:pt x="186976" y="252698"/>
                  </a:lnTo>
                  <a:lnTo>
                    <a:pt x="183166" y="251460"/>
                  </a:lnTo>
                  <a:lnTo>
                    <a:pt x="180689" y="246316"/>
                  </a:lnTo>
                  <a:lnTo>
                    <a:pt x="182118" y="229838"/>
                  </a:lnTo>
                  <a:lnTo>
                    <a:pt x="189262" y="228886"/>
                  </a:lnTo>
                  <a:lnTo>
                    <a:pt x="188309" y="221742"/>
                  </a:lnTo>
                  <a:lnTo>
                    <a:pt x="195548" y="220789"/>
                  </a:lnTo>
                  <a:lnTo>
                    <a:pt x="192595" y="212122"/>
                  </a:lnTo>
                  <a:lnTo>
                    <a:pt x="193167" y="202978"/>
                  </a:lnTo>
                  <a:lnTo>
                    <a:pt x="187833" y="203740"/>
                  </a:lnTo>
                  <a:lnTo>
                    <a:pt x="185642" y="214884"/>
                  </a:lnTo>
                  <a:lnTo>
                    <a:pt x="169164" y="215170"/>
                  </a:lnTo>
                  <a:lnTo>
                    <a:pt x="163354" y="212407"/>
                  </a:lnTo>
                  <a:lnTo>
                    <a:pt x="158210" y="214884"/>
                  </a:lnTo>
                  <a:lnTo>
                    <a:pt x="156686" y="216884"/>
                  </a:lnTo>
                  <a:lnTo>
                    <a:pt x="156876" y="218694"/>
                  </a:lnTo>
                  <a:lnTo>
                    <a:pt x="149638" y="219646"/>
                  </a:lnTo>
                  <a:lnTo>
                    <a:pt x="150495" y="212217"/>
                  </a:lnTo>
                  <a:lnTo>
                    <a:pt x="153829" y="195453"/>
                  </a:lnTo>
                  <a:lnTo>
                    <a:pt x="150019" y="194215"/>
                  </a:lnTo>
                  <a:lnTo>
                    <a:pt x="149733" y="192405"/>
                  </a:lnTo>
                  <a:lnTo>
                    <a:pt x="147733" y="190881"/>
                  </a:lnTo>
                  <a:lnTo>
                    <a:pt x="152590" y="186595"/>
                  </a:lnTo>
                  <a:lnTo>
                    <a:pt x="150590" y="185071"/>
                  </a:lnTo>
                  <a:lnTo>
                    <a:pt x="139541" y="184690"/>
                  </a:lnTo>
                  <a:lnTo>
                    <a:pt x="137541" y="183166"/>
                  </a:lnTo>
                  <a:lnTo>
                    <a:pt x="134874" y="190786"/>
                  </a:lnTo>
                  <a:lnTo>
                    <a:pt x="118967" y="194691"/>
                  </a:lnTo>
                  <a:lnTo>
                    <a:pt x="116967" y="193167"/>
                  </a:lnTo>
                  <a:lnTo>
                    <a:pt x="115062" y="178879"/>
                  </a:lnTo>
                  <a:lnTo>
                    <a:pt x="109156" y="176022"/>
                  </a:lnTo>
                  <a:lnTo>
                    <a:pt x="110776" y="174022"/>
                  </a:lnTo>
                  <a:lnTo>
                    <a:pt x="101346" y="171640"/>
                  </a:lnTo>
                  <a:lnTo>
                    <a:pt x="94583" y="176117"/>
                  </a:lnTo>
                  <a:lnTo>
                    <a:pt x="82867" y="170402"/>
                  </a:lnTo>
                  <a:lnTo>
                    <a:pt x="83725" y="163068"/>
                  </a:lnTo>
                  <a:lnTo>
                    <a:pt x="62579" y="154972"/>
                  </a:lnTo>
                  <a:lnTo>
                    <a:pt x="62103" y="151447"/>
                  </a:lnTo>
                  <a:lnTo>
                    <a:pt x="58388" y="137446"/>
                  </a:lnTo>
                  <a:lnTo>
                    <a:pt x="54769" y="137922"/>
                  </a:lnTo>
                  <a:lnTo>
                    <a:pt x="48673" y="133255"/>
                  </a:lnTo>
                  <a:lnTo>
                    <a:pt x="43529" y="135731"/>
                  </a:lnTo>
                  <a:lnTo>
                    <a:pt x="42672" y="143161"/>
                  </a:lnTo>
                  <a:lnTo>
                    <a:pt x="38862" y="141827"/>
                  </a:lnTo>
                  <a:lnTo>
                    <a:pt x="31718" y="142780"/>
                  </a:lnTo>
                  <a:lnTo>
                    <a:pt x="26098" y="141732"/>
                  </a:lnTo>
                  <a:lnTo>
                    <a:pt x="22860" y="131254"/>
                  </a:lnTo>
                  <a:lnTo>
                    <a:pt x="16764" y="126587"/>
                  </a:lnTo>
                  <a:lnTo>
                    <a:pt x="17621" y="119253"/>
                  </a:lnTo>
                  <a:lnTo>
                    <a:pt x="11716" y="116396"/>
                  </a:lnTo>
                  <a:lnTo>
                    <a:pt x="8191" y="116872"/>
                  </a:lnTo>
                  <a:lnTo>
                    <a:pt x="5620" y="111728"/>
                  </a:lnTo>
                  <a:lnTo>
                    <a:pt x="0" y="110680"/>
                  </a:lnTo>
                  <a:lnTo>
                    <a:pt x="1619" y="108680"/>
                  </a:lnTo>
                  <a:lnTo>
                    <a:pt x="7334" y="97060"/>
                  </a:lnTo>
                  <a:lnTo>
                    <a:pt x="8953" y="94964"/>
                  </a:lnTo>
                  <a:lnTo>
                    <a:pt x="6382" y="89916"/>
                  </a:lnTo>
                  <a:lnTo>
                    <a:pt x="11620" y="87439"/>
                  </a:lnTo>
                  <a:lnTo>
                    <a:pt x="5715" y="84582"/>
                  </a:lnTo>
                  <a:lnTo>
                    <a:pt x="7525" y="84296"/>
                  </a:lnTo>
                  <a:lnTo>
                    <a:pt x="12859" y="83629"/>
                  </a:lnTo>
                  <a:lnTo>
                    <a:pt x="16859" y="72199"/>
                  </a:lnTo>
                  <a:lnTo>
                    <a:pt x="22860" y="62294"/>
                  </a:lnTo>
                  <a:lnTo>
                    <a:pt x="17431" y="63055"/>
                  </a:lnTo>
                  <a:lnTo>
                    <a:pt x="17240" y="61246"/>
                  </a:lnTo>
                  <a:lnTo>
                    <a:pt x="22384" y="58769"/>
                  </a:lnTo>
                  <a:lnTo>
                    <a:pt x="15621" y="48768"/>
                  </a:lnTo>
                  <a:lnTo>
                    <a:pt x="17145" y="46768"/>
                  </a:lnTo>
                  <a:lnTo>
                    <a:pt x="16669" y="43243"/>
                  </a:lnTo>
                  <a:lnTo>
                    <a:pt x="20002" y="40958"/>
                  </a:lnTo>
                  <a:lnTo>
                    <a:pt x="19336" y="35623"/>
                  </a:lnTo>
                  <a:lnTo>
                    <a:pt x="25336" y="25717"/>
                  </a:lnTo>
                  <a:lnTo>
                    <a:pt x="30004" y="19717"/>
                  </a:lnTo>
                  <a:lnTo>
                    <a:pt x="40195" y="27432"/>
                  </a:lnTo>
                  <a:lnTo>
                    <a:pt x="45529" y="26670"/>
                  </a:lnTo>
                  <a:lnTo>
                    <a:pt x="43529" y="25146"/>
                  </a:lnTo>
                  <a:lnTo>
                    <a:pt x="50959" y="26003"/>
                  </a:lnTo>
                  <a:lnTo>
                    <a:pt x="53721" y="32861"/>
                  </a:lnTo>
                  <a:lnTo>
                    <a:pt x="55721" y="34385"/>
                  </a:lnTo>
                  <a:lnTo>
                    <a:pt x="57055" y="30671"/>
                  </a:lnTo>
                  <a:lnTo>
                    <a:pt x="71723" y="44958"/>
                  </a:lnTo>
                  <a:lnTo>
                    <a:pt x="65532" y="53054"/>
                  </a:lnTo>
                  <a:lnTo>
                    <a:pt x="72295" y="63055"/>
                  </a:lnTo>
                  <a:lnTo>
                    <a:pt x="80200" y="67437"/>
                  </a:lnTo>
                  <a:lnTo>
                    <a:pt x="78867" y="71247"/>
                  </a:lnTo>
                  <a:lnTo>
                    <a:pt x="90106" y="73438"/>
                  </a:lnTo>
                  <a:lnTo>
                    <a:pt x="95536" y="72676"/>
                  </a:lnTo>
                  <a:lnTo>
                    <a:pt x="90488" y="62484"/>
                  </a:lnTo>
                  <a:lnTo>
                    <a:pt x="90297" y="60674"/>
                  </a:lnTo>
                  <a:lnTo>
                    <a:pt x="93440" y="56579"/>
                  </a:lnTo>
                  <a:lnTo>
                    <a:pt x="96774" y="54388"/>
                  </a:lnTo>
                  <a:lnTo>
                    <a:pt x="101251" y="61055"/>
                  </a:lnTo>
                  <a:lnTo>
                    <a:pt x="102394" y="55436"/>
                  </a:lnTo>
                  <a:lnTo>
                    <a:pt x="108871" y="49149"/>
                  </a:lnTo>
                  <a:lnTo>
                    <a:pt x="110871" y="50673"/>
                  </a:lnTo>
                  <a:lnTo>
                    <a:pt x="112014" y="59627"/>
                  </a:lnTo>
                  <a:lnTo>
                    <a:pt x="119253" y="58674"/>
                  </a:lnTo>
                  <a:lnTo>
                    <a:pt x="116491" y="51816"/>
                  </a:lnTo>
                  <a:lnTo>
                    <a:pt x="118110" y="49721"/>
                  </a:lnTo>
                  <a:lnTo>
                    <a:pt x="116014" y="48196"/>
                  </a:lnTo>
                  <a:lnTo>
                    <a:pt x="119443" y="45910"/>
                  </a:lnTo>
                  <a:lnTo>
                    <a:pt x="111538" y="41529"/>
                  </a:lnTo>
                  <a:lnTo>
                    <a:pt x="113347" y="41338"/>
                  </a:lnTo>
                  <a:lnTo>
                    <a:pt x="120491" y="40291"/>
                  </a:lnTo>
                  <a:lnTo>
                    <a:pt x="118205" y="37052"/>
                  </a:lnTo>
                  <a:lnTo>
                    <a:pt x="121063" y="31242"/>
                  </a:lnTo>
                  <a:lnTo>
                    <a:pt x="130588" y="33528"/>
                  </a:lnTo>
                  <a:lnTo>
                    <a:pt x="133636" y="29527"/>
                  </a:lnTo>
                  <a:lnTo>
                    <a:pt x="131635" y="28004"/>
                  </a:lnTo>
                  <a:lnTo>
                    <a:pt x="131159" y="24384"/>
                  </a:lnTo>
                  <a:lnTo>
                    <a:pt x="134779" y="24003"/>
                  </a:lnTo>
                  <a:lnTo>
                    <a:pt x="134588" y="22193"/>
                  </a:lnTo>
                  <a:lnTo>
                    <a:pt x="135636" y="16573"/>
                  </a:lnTo>
                  <a:lnTo>
                    <a:pt x="139255" y="16097"/>
                  </a:lnTo>
                  <a:lnTo>
                    <a:pt x="144113" y="11811"/>
                  </a:lnTo>
                  <a:lnTo>
                    <a:pt x="147923" y="13144"/>
                  </a:lnTo>
                  <a:lnTo>
                    <a:pt x="151924" y="1714"/>
                  </a:lnTo>
                  <a:lnTo>
                    <a:pt x="156210" y="6572"/>
                  </a:lnTo>
                  <a:lnTo>
                    <a:pt x="168783" y="4953"/>
                  </a:lnTo>
                  <a:lnTo>
                    <a:pt x="171545" y="11811"/>
                  </a:lnTo>
                  <a:lnTo>
                    <a:pt x="176974" y="11144"/>
                  </a:lnTo>
                  <a:lnTo>
                    <a:pt x="178784" y="10858"/>
                  </a:lnTo>
                  <a:lnTo>
                    <a:pt x="176498" y="7525"/>
                  </a:lnTo>
                  <a:lnTo>
                    <a:pt x="177832" y="3715"/>
                  </a:lnTo>
                  <a:lnTo>
                    <a:pt x="179546" y="3524"/>
                  </a:lnTo>
                  <a:lnTo>
                    <a:pt x="179070" y="0"/>
                  </a:lnTo>
                  <a:lnTo>
                    <a:pt x="191071" y="7429"/>
                  </a:lnTo>
                  <a:lnTo>
                    <a:pt x="196882" y="10287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6" name="Volný tvar: obrazec 55">
              <a:extLst>
                <a:ext uri="{FF2B5EF4-FFF2-40B4-BE49-F238E27FC236}">
                  <a16:creationId xmlns:a16="http://schemas.microsoft.com/office/drawing/2014/main" id="{FC5A1216-FCFC-6373-045F-6EC1091F2D6A}"/>
                </a:ext>
              </a:extLst>
            </p:cNvPr>
            <p:cNvSpPr/>
            <p:nvPr userDrawn="1"/>
          </p:nvSpPr>
          <p:spPr>
            <a:xfrm>
              <a:off x="6152149" y="4371974"/>
              <a:ext cx="853154" cy="506729"/>
            </a:xfrm>
            <a:custGeom>
              <a:avLst/>
              <a:gdLst>
                <a:gd name="connsiteX0" fmla="*/ 842486 w 853154"/>
                <a:gd name="connsiteY0" fmla="*/ 133636 h 506729"/>
                <a:gd name="connsiteX1" fmla="*/ 834390 w 853154"/>
                <a:gd name="connsiteY1" fmla="*/ 141922 h 506729"/>
                <a:gd name="connsiteX2" fmla="*/ 848201 w 853154"/>
                <a:gd name="connsiteY2" fmla="*/ 149162 h 506729"/>
                <a:gd name="connsiteX3" fmla="*/ 845344 w 853154"/>
                <a:gd name="connsiteY3" fmla="*/ 154972 h 506729"/>
                <a:gd name="connsiteX4" fmla="*/ 853154 w 853154"/>
                <a:gd name="connsiteY4" fmla="*/ 159448 h 506729"/>
                <a:gd name="connsiteX5" fmla="*/ 847154 w 853154"/>
                <a:gd name="connsiteY5" fmla="*/ 169259 h 506729"/>
                <a:gd name="connsiteX6" fmla="*/ 842010 w 853154"/>
                <a:gd name="connsiteY6" fmla="*/ 171736 h 506729"/>
                <a:gd name="connsiteX7" fmla="*/ 842486 w 853154"/>
                <a:gd name="connsiteY7" fmla="*/ 175355 h 506729"/>
                <a:gd name="connsiteX8" fmla="*/ 829913 w 853154"/>
                <a:gd name="connsiteY8" fmla="*/ 176974 h 506729"/>
                <a:gd name="connsiteX9" fmla="*/ 832961 w 853154"/>
                <a:gd name="connsiteY9" fmla="*/ 185642 h 506729"/>
                <a:gd name="connsiteX10" fmla="*/ 842391 w 853154"/>
                <a:gd name="connsiteY10" fmla="*/ 188023 h 506729"/>
                <a:gd name="connsiteX11" fmla="*/ 833247 w 853154"/>
                <a:gd name="connsiteY11" fmla="*/ 201930 h 506729"/>
                <a:gd name="connsiteX12" fmla="*/ 827151 w 853154"/>
                <a:gd name="connsiteY12" fmla="*/ 197263 h 506729"/>
                <a:gd name="connsiteX13" fmla="*/ 819531 w 853154"/>
                <a:gd name="connsiteY13" fmla="*/ 209169 h 506729"/>
                <a:gd name="connsiteX14" fmla="*/ 815816 w 853154"/>
                <a:gd name="connsiteY14" fmla="*/ 222409 h 506729"/>
                <a:gd name="connsiteX15" fmla="*/ 838581 w 853154"/>
                <a:gd name="connsiteY15" fmla="*/ 228409 h 506729"/>
                <a:gd name="connsiteX16" fmla="*/ 842867 w 853154"/>
                <a:gd name="connsiteY16" fmla="*/ 233267 h 506729"/>
                <a:gd name="connsiteX17" fmla="*/ 848963 w 853154"/>
                <a:gd name="connsiteY17" fmla="*/ 237934 h 506729"/>
                <a:gd name="connsiteX18" fmla="*/ 850202 w 853154"/>
                <a:gd name="connsiteY18" fmla="*/ 261366 h 506729"/>
                <a:gd name="connsiteX19" fmla="*/ 828008 w 853154"/>
                <a:gd name="connsiteY19" fmla="*/ 273367 h 506729"/>
                <a:gd name="connsiteX20" fmla="*/ 822008 w 853154"/>
                <a:gd name="connsiteY20" fmla="*/ 283178 h 506729"/>
                <a:gd name="connsiteX21" fmla="*/ 813149 w 853154"/>
                <a:gd name="connsiteY21" fmla="*/ 298894 h 506729"/>
                <a:gd name="connsiteX22" fmla="*/ 819245 w 853154"/>
                <a:gd name="connsiteY22" fmla="*/ 303466 h 506729"/>
                <a:gd name="connsiteX23" fmla="*/ 813911 w 853154"/>
                <a:gd name="connsiteY23" fmla="*/ 318706 h 506729"/>
                <a:gd name="connsiteX24" fmla="*/ 810101 w 853154"/>
                <a:gd name="connsiteY24" fmla="*/ 317373 h 506729"/>
                <a:gd name="connsiteX25" fmla="*/ 812673 w 853154"/>
                <a:gd name="connsiteY25" fmla="*/ 322516 h 506729"/>
                <a:gd name="connsiteX26" fmla="*/ 805339 w 853154"/>
                <a:gd name="connsiteY26" fmla="*/ 336137 h 506729"/>
                <a:gd name="connsiteX27" fmla="*/ 802196 w 853154"/>
                <a:gd name="connsiteY27" fmla="*/ 340233 h 506729"/>
                <a:gd name="connsiteX28" fmla="*/ 806291 w 853154"/>
                <a:gd name="connsiteY28" fmla="*/ 343281 h 506729"/>
                <a:gd name="connsiteX29" fmla="*/ 812006 w 853154"/>
                <a:gd name="connsiteY29" fmla="*/ 358807 h 506729"/>
                <a:gd name="connsiteX30" fmla="*/ 811339 w 853154"/>
                <a:gd name="connsiteY30" fmla="*/ 367951 h 506729"/>
                <a:gd name="connsiteX31" fmla="*/ 808672 w 853154"/>
                <a:gd name="connsiteY31" fmla="*/ 375571 h 506729"/>
                <a:gd name="connsiteX32" fmla="*/ 809149 w 853154"/>
                <a:gd name="connsiteY32" fmla="*/ 379190 h 506729"/>
                <a:gd name="connsiteX33" fmla="*/ 826008 w 853154"/>
                <a:gd name="connsiteY33" fmla="*/ 382333 h 506729"/>
                <a:gd name="connsiteX34" fmla="*/ 837724 w 853154"/>
                <a:gd name="connsiteY34" fmla="*/ 388048 h 506729"/>
                <a:gd name="connsiteX35" fmla="*/ 842105 w 853154"/>
                <a:gd name="connsiteY35" fmla="*/ 392906 h 506729"/>
                <a:gd name="connsiteX36" fmla="*/ 838676 w 853154"/>
                <a:gd name="connsiteY36" fmla="*/ 395192 h 506729"/>
                <a:gd name="connsiteX37" fmla="*/ 840677 w 853154"/>
                <a:gd name="connsiteY37" fmla="*/ 396716 h 506729"/>
                <a:gd name="connsiteX38" fmla="*/ 840962 w 853154"/>
                <a:gd name="connsiteY38" fmla="*/ 398526 h 506729"/>
                <a:gd name="connsiteX39" fmla="*/ 830866 w 853154"/>
                <a:gd name="connsiteY39" fmla="*/ 405289 h 506729"/>
                <a:gd name="connsiteX40" fmla="*/ 828008 w 853154"/>
                <a:gd name="connsiteY40" fmla="*/ 411099 h 506729"/>
                <a:gd name="connsiteX41" fmla="*/ 829151 w 853154"/>
                <a:gd name="connsiteY41" fmla="*/ 420052 h 506729"/>
                <a:gd name="connsiteX42" fmla="*/ 821436 w 853154"/>
                <a:gd name="connsiteY42" fmla="*/ 430149 h 506729"/>
                <a:gd name="connsiteX43" fmla="*/ 817150 w 853154"/>
                <a:gd name="connsiteY43" fmla="*/ 439769 h 506729"/>
                <a:gd name="connsiteX44" fmla="*/ 817436 w 853154"/>
                <a:gd name="connsiteY44" fmla="*/ 441579 h 506729"/>
                <a:gd name="connsiteX45" fmla="*/ 821246 w 853154"/>
                <a:gd name="connsiteY45" fmla="*/ 442817 h 506729"/>
                <a:gd name="connsiteX46" fmla="*/ 818579 w 853154"/>
                <a:gd name="connsiteY46" fmla="*/ 450437 h 506729"/>
                <a:gd name="connsiteX47" fmla="*/ 813911 w 853154"/>
                <a:gd name="connsiteY47" fmla="*/ 456533 h 506729"/>
                <a:gd name="connsiteX48" fmla="*/ 805148 w 853154"/>
                <a:gd name="connsiteY48" fmla="*/ 459486 h 506729"/>
                <a:gd name="connsiteX49" fmla="*/ 799147 w 853154"/>
                <a:gd name="connsiteY49" fmla="*/ 469297 h 506729"/>
                <a:gd name="connsiteX50" fmla="*/ 798100 w 853154"/>
                <a:gd name="connsiteY50" fmla="*/ 474916 h 506729"/>
                <a:gd name="connsiteX51" fmla="*/ 796290 w 853154"/>
                <a:gd name="connsiteY51" fmla="*/ 475107 h 506729"/>
                <a:gd name="connsiteX52" fmla="*/ 794099 w 853154"/>
                <a:gd name="connsiteY52" fmla="*/ 486346 h 506729"/>
                <a:gd name="connsiteX53" fmla="*/ 790766 w 853154"/>
                <a:gd name="connsiteY53" fmla="*/ 488632 h 506729"/>
                <a:gd name="connsiteX54" fmla="*/ 788670 w 853154"/>
                <a:gd name="connsiteY54" fmla="*/ 487013 h 506729"/>
                <a:gd name="connsiteX55" fmla="*/ 780383 w 853154"/>
                <a:gd name="connsiteY55" fmla="*/ 493585 h 506729"/>
                <a:gd name="connsiteX56" fmla="*/ 778193 w 853154"/>
                <a:gd name="connsiteY56" fmla="*/ 490252 h 506729"/>
                <a:gd name="connsiteX57" fmla="*/ 776383 w 853154"/>
                <a:gd name="connsiteY57" fmla="*/ 490538 h 506729"/>
                <a:gd name="connsiteX58" fmla="*/ 775049 w 853154"/>
                <a:gd name="connsiteY58" fmla="*/ 494252 h 506729"/>
                <a:gd name="connsiteX59" fmla="*/ 773525 w 853154"/>
                <a:gd name="connsiteY59" fmla="*/ 496348 h 506729"/>
                <a:gd name="connsiteX60" fmla="*/ 770572 w 853154"/>
                <a:gd name="connsiteY60" fmla="*/ 502063 h 506729"/>
                <a:gd name="connsiteX61" fmla="*/ 769048 w 853154"/>
                <a:gd name="connsiteY61" fmla="*/ 504158 h 506729"/>
                <a:gd name="connsiteX62" fmla="*/ 765429 w 853154"/>
                <a:gd name="connsiteY62" fmla="*/ 504634 h 506729"/>
                <a:gd name="connsiteX63" fmla="*/ 765238 w 853154"/>
                <a:gd name="connsiteY63" fmla="*/ 502825 h 506729"/>
                <a:gd name="connsiteX64" fmla="*/ 749332 w 853154"/>
                <a:gd name="connsiteY64" fmla="*/ 506730 h 506729"/>
                <a:gd name="connsiteX65" fmla="*/ 748760 w 853154"/>
                <a:gd name="connsiteY65" fmla="*/ 503206 h 506729"/>
                <a:gd name="connsiteX66" fmla="*/ 747046 w 853154"/>
                <a:gd name="connsiteY66" fmla="*/ 503396 h 506729"/>
                <a:gd name="connsiteX67" fmla="*/ 742664 w 853154"/>
                <a:gd name="connsiteY67" fmla="*/ 498538 h 506729"/>
                <a:gd name="connsiteX68" fmla="*/ 747617 w 853154"/>
                <a:gd name="connsiteY68" fmla="*/ 494252 h 506729"/>
                <a:gd name="connsiteX69" fmla="*/ 745331 w 853154"/>
                <a:gd name="connsiteY69" fmla="*/ 490918 h 506729"/>
                <a:gd name="connsiteX70" fmla="*/ 741331 w 853154"/>
                <a:gd name="connsiteY70" fmla="*/ 487871 h 506729"/>
                <a:gd name="connsiteX71" fmla="*/ 736187 w 853154"/>
                <a:gd name="connsiteY71" fmla="*/ 490347 h 506729"/>
                <a:gd name="connsiteX72" fmla="*/ 733139 w 853154"/>
                <a:gd name="connsiteY72" fmla="*/ 481679 h 506729"/>
                <a:gd name="connsiteX73" fmla="*/ 733901 w 853154"/>
                <a:gd name="connsiteY73" fmla="*/ 487013 h 506729"/>
                <a:gd name="connsiteX74" fmla="*/ 730568 w 853154"/>
                <a:gd name="connsiteY74" fmla="*/ 489299 h 506729"/>
                <a:gd name="connsiteX75" fmla="*/ 729901 w 853154"/>
                <a:gd name="connsiteY75" fmla="*/ 498443 h 506729"/>
                <a:gd name="connsiteX76" fmla="*/ 723138 w 853154"/>
                <a:gd name="connsiteY76" fmla="*/ 502920 h 506729"/>
                <a:gd name="connsiteX77" fmla="*/ 706374 w 853154"/>
                <a:gd name="connsiteY77" fmla="*/ 499777 h 506729"/>
                <a:gd name="connsiteX78" fmla="*/ 696182 w 853154"/>
                <a:gd name="connsiteY78" fmla="*/ 492062 h 506729"/>
                <a:gd name="connsiteX79" fmla="*/ 690753 w 853154"/>
                <a:gd name="connsiteY79" fmla="*/ 492728 h 506729"/>
                <a:gd name="connsiteX80" fmla="*/ 673894 w 853154"/>
                <a:gd name="connsiteY80" fmla="*/ 489490 h 506729"/>
                <a:gd name="connsiteX81" fmla="*/ 663321 w 853154"/>
                <a:gd name="connsiteY81" fmla="*/ 492728 h 506729"/>
                <a:gd name="connsiteX82" fmla="*/ 659987 w 853154"/>
                <a:gd name="connsiteY82" fmla="*/ 495014 h 506729"/>
                <a:gd name="connsiteX83" fmla="*/ 658178 w 853154"/>
                <a:gd name="connsiteY83" fmla="*/ 495205 h 506729"/>
                <a:gd name="connsiteX84" fmla="*/ 646938 w 853154"/>
                <a:gd name="connsiteY84" fmla="*/ 493109 h 506729"/>
                <a:gd name="connsiteX85" fmla="*/ 598837 w 853154"/>
                <a:gd name="connsiteY85" fmla="*/ 488537 h 506729"/>
                <a:gd name="connsiteX86" fmla="*/ 561499 w 853154"/>
                <a:gd name="connsiteY86" fmla="*/ 482632 h 506729"/>
                <a:gd name="connsiteX87" fmla="*/ 560165 w 853154"/>
                <a:gd name="connsiteY87" fmla="*/ 486442 h 506729"/>
                <a:gd name="connsiteX88" fmla="*/ 556831 w 853154"/>
                <a:gd name="connsiteY88" fmla="*/ 488728 h 506729"/>
                <a:gd name="connsiteX89" fmla="*/ 554831 w 853154"/>
                <a:gd name="connsiteY89" fmla="*/ 487204 h 506729"/>
                <a:gd name="connsiteX90" fmla="*/ 549212 w 853154"/>
                <a:gd name="connsiteY90" fmla="*/ 486061 h 506729"/>
                <a:gd name="connsiteX91" fmla="*/ 547783 w 853154"/>
                <a:gd name="connsiteY91" fmla="*/ 489871 h 506729"/>
                <a:gd name="connsiteX92" fmla="*/ 530923 w 853154"/>
                <a:gd name="connsiteY92" fmla="*/ 486727 h 506729"/>
                <a:gd name="connsiteX93" fmla="*/ 528733 w 853154"/>
                <a:gd name="connsiteY93" fmla="*/ 483394 h 506729"/>
                <a:gd name="connsiteX94" fmla="*/ 525113 w 853154"/>
                <a:gd name="connsiteY94" fmla="*/ 483870 h 506729"/>
                <a:gd name="connsiteX95" fmla="*/ 523780 w 853154"/>
                <a:gd name="connsiteY95" fmla="*/ 487680 h 506729"/>
                <a:gd name="connsiteX96" fmla="*/ 520160 w 853154"/>
                <a:gd name="connsiteY96" fmla="*/ 488156 h 506729"/>
                <a:gd name="connsiteX97" fmla="*/ 511016 w 853154"/>
                <a:gd name="connsiteY97" fmla="*/ 487489 h 506729"/>
                <a:gd name="connsiteX98" fmla="*/ 495681 w 853154"/>
                <a:gd name="connsiteY98" fmla="*/ 482251 h 506729"/>
                <a:gd name="connsiteX99" fmla="*/ 481965 w 853154"/>
                <a:gd name="connsiteY99" fmla="*/ 475012 h 506729"/>
                <a:gd name="connsiteX100" fmla="*/ 466154 w 853154"/>
                <a:gd name="connsiteY100" fmla="*/ 466249 h 506729"/>
                <a:gd name="connsiteX101" fmla="*/ 415385 w 853154"/>
                <a:gd name="connsiteY101" fmla="*/ 442150 h 506729"/>
                <a:gd name="connsiteX102" fmla="*/ 410623 w 853154"/>
                <a:gd name="connsiteY102" fmla="*/ 433673 h 506729"/>
                <a:gd name="connsiteX103" fmla="*/ 390335 w 853154"/>
                <a:gd name="connsiteY103" fmla="*/ 418243 h 506729"/>
                <a:gd name="connsiteX104" fmla="*/ 384715 w 853154"/>
                <a:gd name="connsiteY104" fmla="*/ 417195 h 506729"/>
                <a:gd name="connsiteX105" fmla="*/ 376333 w 853154"/>
                <a:gd name="connsiteY105" fmla="*/ 409289 h 506729"/>
                <a:gd name="connsiteX106" fmla="*/ 376523 w 853154"/>
                <a:gd name="connsiteY106" fmla="*/ 396526 h 506729"/>
                <a:gd name="connsiteX107" fmla="*/ 382524 w 853154"/>
                <a:gd name="connsiteY107" fmla="*/ 386620 h 506729"/>
                <a:gd name="connsiteX108" fmla="*/ 382048 w 853154"/>
                <a:gd name="connsiteY108" fmla="*/ 383096 h 506729"/>
                <a:gd name="connsiteX109" fmla="*/ 371285 w 853154"/>
                <a:gd name="connsiteY109" fmla="*/ 384524 h 506729"/>
                <a:gd name="connsiteX110" fmla="*/ 372332 w 853154"/>
                <a:gd name="connsiteY110" fmla="*/ 379000 h 506729"/>
                <a:gd name="connsiteX111" fmla="*/ 370332 w 853154"/>
                <a:gd name="connsiteY111" fmla="*/ 377380 h 506729"/>
                <a:gd name="connsiteX112" fmla="*/ 366903 w 853154"/>
                <a:gd name="connsiteY112" fmla="*/ 379666 h 506729"/>
                <a:gd name="connsiteX113" fmla="*/ 367855 w 853154"/>
                <a:gd name="connsiteY113" fmla="*/ 386810 h 506729"/>
                <a:gd name="connsiteX114" fmla="*/ 366522 w 853154"/>
                <a:gd name="connsiteY114" fmla="*/ 390620 h 506729"/>
                <a:gd name="connsiteX115" fmla="*/ 360902 w 853154"/>
                <a:gd name="connsiteY115" fmla="*/ 389477 h 506729"/>
                <a:gd name="connsiteX116" fmla="*/ 354806 w 853154"/>
                <a:gd name="connsiteY116" fmla="*/ 384905 h 506729"/>
                <a:gd name="connsiteX117" fmla="*/ 350806 w 853154"/>
                <a:gd name="connsiteY117" fmla="*/ 381857 h 506729"/>
                <a:gd name="connsiteX118" fmla="*/ 356330 w 853154"/>
                <a:gd name="connsiteY118" fmla="*/ 368332 h 506729"/>
                <a:gd name="connsiteX119" fmla="*/ 348901 w 853154"/>
                <a:gd name="connsiteY119" fmla="*/ 367570 h 506729"/>
                <a:gd name="connsiteX120" fmla="*/ 344614 w 853154"/>
                <a:gd name="connsiteY120" fmla="*/ 362712 h 506729"/>
                <a:gd name="connsiteX121" fmla="*/ 336042 w 853154"/>
                <a:gd name="connsiteY121" fmla="*/ 367474 h 506729"/>
                <a:gd name="connsiteX122" fmla="*/ 323469 w 853154"/>
                <a:gd name="connsiteY122" fmla="*/ 369094 h 506729"/>
                <a:gd name="connsiteX123" fmla="*/ 320993 w 853154"/>
                <a:gd name="connsiteY123" fmla="*/ 364046 h 506729"/>
                <a:gd name="connsiteX124" fmla="*/ 321850 w 853154"/>
                <a:gd name="connsiteY124" fmla="*/ 356616 h 506729"/>
                <a:gd name="connsiteX125" fmla="*/ 323660 w 853154"/>
                <a:gd name="connsiteY125" fmla="*/ 356330 h 506729"/>
                <a:gd name="connsiteX126" fmla="*/ 326136 w 853154"/>
                <a:gd name="connsiteY126" fmla="*/ 361474 h 506729"/>
                <a:gd name="connsiteX127" fmla="*/ 329946 w 853154"/>
                <a:gd name="connsiteY127" fmla="*/ 362807 h 506729"/>
                <a:gd name="connsiteX128" fmla="*/ 333566 w 853154"/>
                <a:gd name="connsiteY128" fmla="*/ 362331 h 506729"/>
                <a:gd name="connsiteX129" fmla="*/ 333089 w 853154"/>
                <a:gd name="connsiteY129" fmla="*/ 358807 h 506729"/>
                <a:gd name="connsiteX130" fmla="*/ 324517 w 853154"/>
                <a:gd name="connsiteY130" fmla="*/ 348996 h 506729"/>
                <a:gd name="connsiteX131" fmla="*/ 318516 w 853154"/>
                <a:gd name="connsiteY131" fmla="*/ 358902 h 506729"/>
                <a:gd name="connsiteX132" fmla="*/ 314706 w 853154"/>
                <a:gd name="connsiteY132" fmla="*/ 357568 h 506729"/>
                <a:gd name="connsiteX133" fmla="*/ 310420 w 853154"/>
                <a:gd name="connsiteY133" fmla="*/ 352711 h 506729"/>
                <a:gd name="connsiteX134" fmla="*/ 312325 w 853154"/>
                <a:gd name="connsiteY134" fmla="*/ 339757 h 506729"/>
                <a:gd name="connsiteX135" fmla="*/ 310325 w 853154"/>
                <a:gd name="connsiteY135" fmla="*/ 338233 h 506729"/>
                <a:gd name="connsiteX136" fmla="*/ 308038 w 853154"/>
                <a:gd name="connsiteY136" fmla="*/ 334899 h 506729"/>
                <a:gd name="connsiteX137" fmla="*/ 304229 w 853154"/>
                <a:gd name="connsiteY137" fmla="*/ 333565 h 506729"/>
                <a:gd name="connsiteX138" fmla="*/ 306419 w 853154"/>
                <a:gd name="connsiteY138" fmla="*/ 336899 h 506729"/>
                <a:gd name="connsiteX139" fmla="*/ 307181 w 853154"/>
                <a:gd name="connsiteY139" fmla="*/ 342233 h 506729"/>
                <a:gd name="connsiteX140" fmla="*/ 296609 w 853154"/>
                <a:gd name="connsiteY140" fmla="*/ 345472 h 506729"/>
                <a:gd name="connsiteX141" fmla="*/ 290036 w 853154"/>
                <a:gd name="connsiteY141" fmla="*/ 337280 h 506729"/>
                <a:gd name="connsiteX142" fmla="*/ 276987 w 853154"/>
                <a:gd name="connsiteY142" fmla="*/ 335375 h 506729"/>
                <a:gd name="connsiteX143" fmla="*/ 276320 w 853154"/>
                <a:gd name="connsiteY143" fmla="*/ 330041 h 506729"/>
                <a:gd name="connsiteX144" fmla="*/ 283273 w 853154"/>
                <a:gd name="connsiteY144" fmla="*/ 327279 h 506729"/>
                <a:gd name="connsiteX145" fmla="*/ 284797 w 853154"/>
                <a:gd name="connsiteY145" fmla="*/ 325279 h 506729"/>
                <a:gd name="connsiteX146" fmla="*/ 276225 w 853154"/>
                <a:gd name="connsiteY146" fmla="*/ 315563 h 506729"/>
                <a:gd name="connsiteX147" fmla="*/ 275463 w 853154"/>
                <a:gd name="connsiteY147" fmla="*/ 310229 h 506729"/>
                <a:gd name="connsiteX148" fmla="*/ 267462 w 853154"/>
                <a:gd name="connsiteY148" fmla="*/ 318516 h 506729"/>
                <a:gd name="connsiteX149" fmla="*/ 263843 w 853154"/>
                <a:gd name="connsiteY149" fmla="*/ 318992 h 506729"/>
                <a:gd name="connsiteX150" fmla="*/ 258032 w 853154"/>
                <a:gd name="connsiteY150" fmla="*/ 316135 h 506729"/>
                <a:gd name="connsiteX151" fmla="*/ 243840 w 853154"/>
                <a:gd name="connsiteY151" fmla="*/ 319849 h 506729"/>
                <a:gd name="connsiteX152" fmla="*/ 232410 w 853154"/>
                <a:gd name="connsiteY152" fmla="*/ 315849 h 506729"/>
                <a:gd name="connsiteX153" fmla="*/ 221171 w 853154"/>
                <a:gd name="connsiteY153" fmla="*/ 313754 h 506729"/>
                <a:gd name="connsiteX154" fmla="*/ 216694 w 853154"/>
                <a:gd name="connsiteY154" fmla="*/ 321564 h 506729"/>
                <a:gd name="connsiteX155" fmla="*/ 212503 w 853154"/>
                <a:gd name="connsiteY155" fmla="*/ 331184 h 506729"/>
                <a:gd name="connsiteX156" fmla="*/ 196405 w 853154"/>
                <a:gd name="connsiteY156" fmla="*/ 347853 h 506729"/>
                <a:gd name="connsiteX157" fmla="*/ 184976 w 853154"/>
                <a:gd name="connsiteY157" fmla="*/ 343948 h 506729"/>
                <a:gd name="connsiteX158" fmla="*/ 160592 w 853154"/>
                <a:gd name="connsiteY158" fmla="*/ 339947 h 506729"/>
                <a:gd name="connsiteX159" fmla="*/ 160115 w 853154"/>
                <a:gd name="connsiteY159" fmla="*/ 336328 h 506729"/>
                <a:gd name="connsiteX160" fmla="*/ 156305 w 853154"/>
                <a:gd name="connsiteY160" fmla="*/ 334994 h 506729"/>
                <a:gd name="connsiteX161" fmla="*/ 145828 w 853154"/>
                <a:gd name="connsiteY161" fmla="*/ 338233 h 506729"/>
                <a:gd name="connsiteX162" fmla="*/ 142685 w 853154"/>
                <a:gd name="connsiteY162" fmla="*/ 342329 h 506729"/>
                <a:gd name="connsiteX163" fmla="*/ 137255 w 853154"/>
                <a:gd name="connsiteY163" fmla="*/ 342995 h 506729"/>
                <a:gd name="connsiteX164" fmla="*/ 130207 w 853154"/>
                <a:gd name="connsiteY164" fmla="*/ 331184 h 506729"/>
                <a:gd name="connsiteX165" fmla="*/ 122396 w 853154"/>
                <a:gd name="connsiteY165" fmla="*/ 326803 h 506729"/>
                <a:gd name="connsiteX166" fmla="*/ 117538 w 853154"/>
                <a:gd name="connsiteY166" fmla="*/ 318421 h 506729"/>
                <a:gd name="connsiteX167" fmla="*/ 106966 w 853154"/>
                <a:gd name="connsiteY167" fmla="*/ 307086 h 506729"/>
                <a:gd name="connsiteX168" fmla="*/ 89345 w 853154"/>
                <a:gd name="connsiteY168" fmla="*/ 298513 h 506729"/>
                <a:gd name="connsiteX169" fmla="*/ 89821 w 853154"/>
                <a:gd name="connsiteY169" fmla="*/ 302133 h 506729"/>
                <a:gd name="connsiteX170" fmla="*/ 84487 w 853154"/>
                <a:gd name="connsiteY170" fmla="*/ 302800 h 506729"/>
                <a:gd name="connsiteX171" fmla="*/ 75343 w 853154"/>
                <a:gd name="connsiteY171" fmla="*/ 289560 h 506729"/>
                <a:gd name="connsiteX172" fmla="*/ 67723 w 853154"/>
                <a:gd name="connsiteY172" fmla="*/ 286893 h 506729"/>
                <a:gd name="connsiteX173" fmla="*/ 64389 w 853154"/>
                <a:gd name="connsiteY173" fmla="*/ 289179 h 506729"/>
                <a:gd name="connsiteX174" fmla="*/ 54959 w 853154"/>
                <a:gd name="connsiteY174" fmla="*/ 286798 h 506729"/>
                <a:gd name="connsiteX175" fmla="*/ 36957 w 853154"/>
                <a:gd name="connsiteY175" fmla="*/ 289179 h 506729"/>
                <a:gd name="connsiteX176" fmla="*/ 17145 w 853154"/>
                <a:gd name="connsiteY176" fmla="*/ 277273 h 506729"/>
                <a:gd name="connsiteX177" fmla="*/ 0 w 853154"/>
                <a:gd name="connsiteY177" fmla="*/ 272320 h 506729"/>
                <a:gd name="connsiteX178" fmla="*/ 9335 w 853154"/>
                <a:gd name="connsiteY178" fmla="*/ 260223 h 506729"/>
                <a:gd name="connsiteX179" fmla="*/ 11811 w 853154"/>
                <a:gd name="connsiteY179" fmla="*/ 250793 h 506729"/>
                <a:gd name="connsiteX180" fmla="*/ 17431 w 853154"/>
                <a:gd name="connsiteY180" fmla="*/ 251841 h 506729"/>
                <a:gd name="connsiteX181" fmla="*/ 22098 w 853154"/>
                <a:gd name="connsiteY181" fmla="*/ 245840 h 506729"/>
                <a:gd name="connsiteX182" fmla="*/ 27432 w 853154"/>
                <a:gd name="connsiteY182" fmla="*/ 245078 h 506729"/>
                <a:gd name="connsiteX183" fmla="*/ 20003 w 853154"/>
                <a:gd name="connsiteY183" fmla="*/ 244316 h 506729"/>
                <a:gd name="connsiteX184" fmla="*/ 18002 w 853154"/>
                <a:gd name="connsiteY184" fmla="*/ 242697 h 506729"/>
                <a:gd name="connsiteX185" fmla="*/ 19812 w 853154"/>
                <a:gd name="connsiteY185" fmla="*/ 242506 h 506729"/>
                <a:gd name="connsiteX186" fmla="*/ 22955 w 853154"/>
                <a:gd name="connsiteY186" fmla="*/ 238411 h 506729"/>
                <a:gd name="connsiteX187" fmla="*/ 26765 w 853154"/>
                <a:gd name="connsiteY187" fmla="*/ 239744 h 506729"/>
                <a:gd name="connsiteX188" fmla="*/ 29432 w 853154"/>
                <a:gd name="connsiteY188" fmla="*/ 232124 h 506729"/>
                <a:gd name="connsiteX189" fmla="*/ 27146 w 853154"/>
                <a:gd name="connsiteY189" fmla="*/ 228790 h 506729"/>
                <a:gd name="connsiteX190" fmla="*/ 25051 w 853154"/>
                <a:gd name="connsiteY190" fmla="*/ 227266 h 506729"/>
                <a:gd name="connsiteX191" fmla="*/ 30289 w 853154"/>
                <a:gd name="connsiteY191" fmla="*/ 224790 h 506729"/>
                <a:gd name="connsiteX192" fmla="*/ 36386 w 853154"/>
                <a:gd name="connsiteY192" fmla="*/ 229362 h 506729"/>
                <a:gd name="connsiteX193" fmla="*/ 37433 w 853154"/>
                <a:gd name="connsiteY193" fmla="*/ 223838 h 506729"/>
                <a:gd name="connsiteX194" fmla="*/ 41053 w 853154"/>
                <a:gd name="connsiteY194" fmla="*/ 223361 h 506729"/>
                <a:gd name="connsiteX195" fmla="*/ 42101 w 853154"/>
                <a:gd name="connsiteY195" fmla="*/ 217741 h 506729"/>
                <a:gd name="connsiteX196" fmla="*/ 45529 w 853154"/>
                <a:gd name="connsiteY196" fmla="*/ 215551 h 506729"/>
                <a:gd name="connsiteX197" fmla="*/ 44577 w 853154"/>
                <a:gd name="connsiteY197" fmla="*/ 208407 h 506729"/>
                <a:gd name="connsiteX198" fmla="*/ 40958 w 853154"/>
                <a:gd name="connsiteY198" fmla="*/ 208883 h 506729"/>
                <a:gd name="connsiteX199" fmla="*/ 38862 w 853154"/>
                <a:gd name="connsiteY199" fmla="*/ 207359 h 506729"/>
                <a:gd name="connsiteX200" fmla="*/ 44291 w 853154"/>
                <a:gd name="connsiteY200" fmla="*/ 206597 h 506729"/>
                <a:gd name="connsiteX201" fmla="*/ 61627 w 853154"/>
                <a:gd name="connsiteY201" fmla="*/ 213360 h 506729"/>
                <a:gd name="connsiteX202" fmla="*/ 56864 w 853154"/>
                <a:gd name="connsiteY202" fmla="*/ 204978 h 506729"/>
                <a:gd name="connsiteX203" fmla="*/ 67437 w 853154"/>
                <a:gd name="connsiteY203" fmla="*/ 201739 h 506729"/>
                <a:gd name="connsiteX204" fmla="*/ 69723 w 853154"/>
                <a:gd name="connsiteY204" fmla="*/ 205073 h 506729"/>
                <a:gd name="connsiteX205" fmla="*/ 72200 w 853154"/>
                <a:gd name="connsiteY205" fmla="*/ 210217 h 506729"/>
                <a:gd name="connsiteX206" fmla="*/ 78010 w 853154"/>
                <a:gd name="connsiteY206" fmla="*/ 212979 h 506729"/>
                <a:gd name="connsiteX207" fmla="*/ 75152 w 853154"/>
                <a:gd name="connsiteY207" fmla="*/ 218884 h 506729"/>
                <a:gd name="connsiteX208" fmla="*/ 75629 w 853154"/>
                <a:gd name="connsiteY208" fmla="*/ 222409 h 506729"/>
                <a:gd name="connsiteX209" fmla="*/ 83534 w 853154"/>
                <a:gd name="connsiteY209" fmla="*/ 226790 h 506729"/>
                <a:gd name="connsiteX210" fmla="*/ 87154 w 853154"/>
                <a:gd name="connsiteY210" fmla="*/ 226314 h 506729"/>
                <a:gd name="connsiteX211" fmla="*/ 92297 w 853154"/>
                <a:gd name="connsiteY211" fmla="*/ 223838 h 506729"/>
                <a:gd name="connsiteX212" fmla="*/ 94774 w 853154"/>
                <a:gd name="connsiteY212" fmla="*/ 228886 h 506729"/>
                <a:gd name="connsiteX213" fmla="*/ 96774 w 853154"/>
                <a:gd name="connsiteY213" fmla="*/ 230505 h 506729"/>
                <a:gd name="connsiteX214" fmla="*/ 101727 w 853154"/>
                <a:gd name="connsiteY214" fmla="*/ 226219 h 506729"/>
                <a:gd name="connsiteX215" fmla="*/ 102870 w 853154"/>
                <a:gd name="connsiteY215" fmla="*/ 220599 h 506729"/>
                <a:gd name="connsiteX216" fmla="*/ 100775 w 853154"/>
                <a:gd name="connsiteY216" fmla="*/ 219075 h 506729"/>
                <a:gd name="connsiteX217" fmla="*/ 107728 w 853154"/>
                <a:gd name="connsiteY217" fmla="*/ 216313 h 506729"/>
                <a:gd name="connsiteX218" fmla="*/ 107061 w 853154"/>
                <a:gd name="connsiteY218" fmla="*/ 210979 h 506729"/>
                <a:gd name="connsiteX219" fmla="*/ 114205 w 853154"/>
                <a:gd name="connsiteY219" fmla="*/ 210026 h 506729"/>
                <a:gd name="connsiteX220" fmla="*/ 110490 w 853154"/>
                <a:gd name="connsiteY220" fmla="*/ 196024 h 506729"/>
                <a:gd name="connsiteX221" fmla="*/ 112109 w 853154"/>
                <a:gd name="connsiteY221" fmla="*/ 194024 h 506729"/>
                <a:gd name="connsiteX222" fmla="*/ 119253 w 853154"/>
                <a:gd name="connsiteY222" fmla="*/ 193072 h 506729"/>
                <a:gd name="connsiteX223" fmla="*/ 123349 w 853154"/>
                <a:gd name="connsiteY223" fmla="*/ 196120 h 506729"/>
                <a:gd name="connsiteX224" fmla="*/ 126968 w 853154"/>
                <a:gd name="connsiteY224" fmla="*/ 195643 h 506729"/>
                <a:gd name="connsiteX225" fmla="*/ 129159 w 853154"/>
                <a:gd name="connsiteY225" fmla="*/ 198977 h 506729"/>
                <a:gd name="connsiteX226" fmla="*/ 132588 w 853154"/>
                <a:gd name="connsiteY226" fmla="*/ 196787 h 506729"/>
                <a:gd name="connsiteX227" fmla="*/ 140779 w 853154"/>
                <a:gd name="connsiteY227" fmla="*/ 190214 h 506729"/>
                <a:gd name="connsiteX228" fmla="*/ 151638 w 853154"/>
                <a:gd name="connsiteY228" fmla="*/ 188785 h 506729"/>
                <a:gd name="connsiteX229" fmla="*/ 152114 w 853154"/>
                <a:gd name="connsiteY229" fmla="*/ 192405 h 506729"/>
                <a:gd name="connsiteX230" fmla="*/ 162020 w 853154"/>
                <a:gd name="connsiteY230" fmla="*/ 198310 h 506729"/>
                <a:gd name="connsiteX231" fmla="*/ 164783 w 853154"/>
                <a:gd name="connsiteY231" fmla="*/ 205168 h 506729"/>
                <a:gd name="connsiteX232" fmla="*/ 169259 w 853154"/>
                <a:gd name="connsiteY232" fmla="*/ 211836 h 506729"/>
                <a:gd name="connsiteX233" fmla="*/ 173546 w 853154"/>
                <a:gd name="connsiteY233" fmla="*/ 216694 h 506729"/>
                <a:gd name="connsiteX234" fmla="*/ 176689 w 853154"/>
                <a:gd name="connsiteY234" fmla="*/ 212693 h 506729"/>
                <a:gd name="connsiteX235" fmla="*/ 180118 w 853154"/>
                <a:gd name="connsiteY235" fmla="*/ 210407 h 506729"/>
                <a:gd name="connsiteX236" fmla="*/ 181356 w 853154"/>
                <a:gd name="connsiteY236" fmla="*/ 206597 h 506729"/>
                <a:gd name="connsiteX237" fmla="*/ 184213 w 853154"/>
                <a:gd name="connsiteY237" fmla="*/ 200787 h 506729"/>
                <a:gd name="connsiteX238" fmla="*/ 180404 w 853154"/>
                <a:gd name="connsiteY238" fmla="*/ 199454 h 506729"/>
                <a:gd name="connsiteX239" fmla="*/ 181737 w 853154"/>
                <a:gd name="connsiteY239" fmla="*/ 195643 h 506729"/>
                <a:gd name="connsiteX240" fmla="*/ 179737 w 853154"/>
                <a:gd name="connsiteY240" fmla="*/ 194119 h 506729"/>
                <a:gd name="connsiteX241" fmla="*/ 183547 w 853154"/>
                <a:gd name="connsiteY241" fmla="*/ 195453 h 506729"/>
                <a:gd name="connsiteX242" fmla="*/ 187738 w 853154"/>
                <a:gd name="connsiteY242" fmla="*/ 185833 h 506729"/>
                <a:gd name="connsiteX243" fmla="*/ 195644 w 853154"/>
                <a:gd name="connsiteY243" fmla="*/ 190214 h 506729"/>
                <a:gd name="connsiteX244" fmla="*/ 198501 w 853154"/>
                <a:gd name="connsiteY244" fmla="*/ 184404 h 506729"/>
                <a:gd name="connsiteX245" fmla="*/ 196787 w 853154"/>
                <a:gd name="connsiteY245" fmla="*/ 184594 h 506729"/>
                <a:gd name="connsiteX246" fmla="*/ 198882 w 853154"/>
                <a:gd name="connsiteY246" fmla="*/ 173450 h 506729"/>
                <a:gd name="connsiteX247" fmla="*/ 198692 w 853154"/>
                <a:gd name="connsiteY247" fmla="*/ 171736 h 506729"/>
                <a:gd name="connsiteX248" fmla="*/ 204311 w 853154"/>
                <a:gd name="connsiteY248" fmla="*/ 172783 h 506729"/>
                <a:gd name="connsiteX249" fmla="*/ 218885 w 853154"/>
                <a:gd name="connsiteY249" fmla="*/ 172593 h 506729"/>
                <a:gd name="connsiteX250" fmla="*/ 228981 w 853154"/>
                <a:gd name="connsiteY250" fmla="*/ 165830 h 506729"/>
                <a:gd name="connsiteX251" fmla="*/ 231458 w 853154"/>
                <a:gd name="connsiteY251" fmla="*/ 156496 h 506729"/>
                <a:gd name="connsiteX252" fmla="*/ 233172 w 853154"/>
                <a:gd name="connsiteY252" fmla="*/ 156210 h 506729"/>
                <a:gd name="connsiteX253" fmla="*/ 238601 w 853154"/>
                <a:gd name="connsiteY253" fmla="*/ 155543 h 506729"/>
                <a:gd name="connsiteX254" fmla="*/ 239935 w 853154"/>
                <a:gd name="connsiteY254" fmla="*/ 151733 h 506729"/>
                <a:gd name="connsiteX255" fmla="*/ 241745 w 853154"/>
                <a:gd name="connsiteY255" fmla="*/ 151447 h 506729"/>
                <a:gd name="connsiteX256" fmla="*/ 241459 w 853154"/>
                <a:gd name="connsiteY256" fmla="*/ 149733 h 506729"/>
                <a:gd name="connsiteX257" fmla="*/ 234029 w 853154"/>
                <a:gd name="connsiteY257" fmla="*/ 148876 h 506729"/>
                <a:gd name="connsiteX258" fmla="*/ 236982 w 853154"/>
                <a:gd name="connsiteY258" fmla="*/ 143065 h 506729"/>
                <a:gd name="connsiteX259" fmla="*/ 247269 w 853154"/>
                <a:gd name="connsiteY259" fmla="*/ 138017 h 506729"/>
                <a:gd name="connsiteX260" fmla="*/ 248793 w 853154"/>
                <a:gd name="connsiteY260" fmla="*/ 136017 h 506729"/>
                <a:gd name="connsiteX261" fmla="*/ 253460 w 853154"/>
                <a:gd name="connsiteY261" fmla="*/ 130016 h 506729"/>
                <a:gd name="connsiteX262" fmla="*/ 261366 w 853154"/>
                <a:gd name="connsiteY262" fmla="*/ 134398 h 506729"/>
                <a:gd name="connsiteX263" fmla="*/ 267653 w 853154"/>
                <a:gd name="connsiteY263" fmla="*/ 126301 h 506729"/>
                <a:gd name="connsiteX264" fmla="*/ 275272 w 853154"/>
                <a:gd name="connsiteY264" fmla="*/ 128873 h 506729"/>
                <a:gd name="connsiteX265" fmla="*/ 279940 w 853154"/>
                <a:gd name="connsiteY265" fmla="*/ 122872 h 506729"/>
                <a:gd name="connsiteX266" fmla="*/ 289846 w 853154"/>
                <a:gd name="connsiteY266" fmla="*/ 128778 h 506729"/>
                <a:gd name="connsiteX267" fmla="*/ 295275 w 853154"/>
                <a:gd name="connsiteY267" fmla="*/ 128111 h 506729"/>
                <a:gd name="connsiteX268" fmla="*/ 296037 w 853154"/>
                <a:gd name="connsiteY268" fmla="*/ 133445 h 506729"/>
                <a:gd name="connsiteX269" fmla="*/ 302895 w 853154"/>
                <a:gd name="connsiteY269" fmla="*/ 130683 h 506729"/>
                <a:gd name="connsiteX270" fmla="*/ 300704 w 853154"/>
                <a:gd name="connsiteY270" fmla="*/ 127349 h 506729"/>
                <a:gd name="connsiteX271" fmla="*/ 301943 w 853154"/>
                <a:gd name="connsiteY271" fmla="*/ 123539 h 506729"/>
                <a:gd name="connsiteX272" fmla="*/ 305848 w 853154"/>
                <a:gd name="connsiteY272" fmla="*/ 124873 h 506729"/>
                <a:gd name="connsiteX273" fmla="*/ 307658 w 853154"/>
                <a:gd name="connsiteY273" fmla="*/ 124587 h 506729"/>
                <a:gd name="connsiteX274" fmla="*/ 305086 w 853154"/>
                <a:gd name="connsiteY274" fmla="*/ 119539 h 506729"/>
                <a:gd name="connsiteX275" fmla="*/ 308705 w 853154"/>
                <a:gd name="connsiteY275" fmla="*/ 119063 h 506729"/>
                <a:gd name="connsiteX276" fmla="*/ 308229 w 853154"/>
                <a:gd name="connsiteY276" fmla="*/ 115443 h 506729"/>
                <a:gd name="connsiteX277" fmla="*/ 304419 w 853154"/>
                <a:gd name="connsiteY277" fmla="*/ 114205 h 506729"/>
                <a:gd name="connsiteX278" fmla="*/ 310610 w 853154"/>
                <a:gd name="connsiteY278" fmla="*/ 106108 h 506729"/>
                <a:gd name="connsiteX279" fmla="*/ 309944 w 853154"/>
                <a:gd name="connsiteY279" fmla="*/ 100774 h 506729"/>
                <a:gd name="connsiteX280" fmla="*/ 312992 w 853154"/>
                <a:gd name="connsiteY280" fmla="*/ 96679 h 506729"/>
                <a:gd name="connsiteX281" fmla="*/ 312134 w 853154"/>
                <a:gd name="connsiteY281" fmla="*/ 89630 h 506729"/>
                <a:gd name="connsiteX282" fmla="*/ 314135 w 853154"/>
                <a:gd name="connsiteY282" fmla="*/ 91154 h 506729"/>
                <a:gd name="connsiteX283" fmla="*/ 319564 w 853154"/>
                <a:gd name="connsiteY283" fmla="*/ 90392 h 506729"/>
                <a:gd name="connsiteX284" fmla="*/ 333089 w 853154"/>
                <a:gd name="connsiteY284" fmla="*/ 95917 h 506729"/>
                <a:gd name="connsiteX285" fmla="*/ 335280 w 853154"/>
                <a:gd name="connsiteY285" fmla="*/ 99250 h 506729"/>
                <a:gd name="connsiteX286" fmla="*/ 327851 w 853154"/>
                <a:gd name="connsiteY286" fmla="*/ 98393 h 506729"/>
                <a:gd name="connsiteX287" fmla="*/ 328327 w 853154"/>
                <a:gd name="connsiteY287" fmla="*/ 101917 h 506729"/>
                <a:gd name="connsiteX288" fmla="*/ 332232 w 853154"/>
                <a:gd name="connsiteY288" fmla="*/ 103251 h 506729"/>
                <a:gd name="connsiteX289" fmla="*/ 337376 w 853154"/>
                <a:gd name="connsiteY289" fmla="*/ 100774 h 506729"/>
                <a:gd name="connsiteX290" fmla="*/ 339662 w 853154"/>
                <a:gd name="connsiteY290" fmla="*/ 104108 h 506729"/>
                <a:gd name="connsiteX291" fmla="*/ 345853 w 853154"/>
                <a:gd name="connsiteY291" fmla="*/ 96012 h 506729"/>
                <a:gd name="connsiteX292" fmla="*/ 355949 w 853154"/>
                <a:gd name="connsiteY292" fmla="*/ 89249 h 506729"/>
                <a:gd name="connsiteX293" fmla="*/ 353663 w 853154"/>
                <a:gd name="connsiteY293" fmla="*/ 85915 h 506729"/>
                <a:gd name="connsiteX294" fmla="*/ 352044 w 853154"/>
                <a:gd name="connsiteY294" fmla="*/ 73438 h 506729"/>
                <a:gd name="connsiteX295" fmla="*/ 365760 w 853154"/>
                <a:gd name="connsiteY295" fmla="*/ 80677 h 506729"/>
                <a:gd name="connsiteX296" fmla="*/ 371761 w 853154"/>
                <a:gd name="connsiteY296" fmla="*/ 70866 h 506729"/>
                <a:gd name="connsiteX297" fmla="*/ 380047 w 853154"/>
                <a:gd name="connsiteY297" fmla="*/ 64294 h 506729"/>
                <a:gd name="connsiteX298" fmla="*/ 384143 w 853154"/>
                <a:gd name="connsiteY298" fmla="*/ 67342 h 506729"/>
                <a:gd name="connsiteX299" fmla="*/ 383000 w 853154"/>
                <a:gd name="connsiteY299" fmla="*/ 72962 h 506729"/>
                <a:gd name="connsiteX300" fmla="*/ 385477 w 853154"/>
                <a:gd name="connsiteY300" fmla="*/ 78105 h 506729"/>
                <a:gd name="connsiteX301" fmla="*/ 389382 w 853154"/>
                <a:gd name="connsiteY301" fmla="*/ 79343 h 506729"/>
                <a:gd name="connsiteX302" fmla="*/ 389572 w 853154"/>
                <a:gd name="connsiteY302" fmla="*/ 81153 h 506729"/>
                <a:gd name="connsiteX303" fmla="*/ 388048 w 853154"/>
                <a:gd name="connsiteY303" fmla="*/ 83153 h 506729"/>
                <a:gd name="connsiteX304" fmla="*/ 390525 w 853154"/>
                <a:gd name="connsiteY304" fmla="*/ 88297 h 506729"/>
                <a:gd name="connsiteX305" fmla="*/ 386715 w 853154"/>
                <a:gd name="connsiteY305" fmla="*/ 86963 h 506729"/>
                <a:gd name="connsiteX306" fmla="*/ 386905 w 853154"/>
                <a:gd name="connsiteY306" fmla="*/ 88773 h 506729"/>
                <a:gd name="connsiteX307" fmla="*/ 390716 w 853154"/>
                <a:gd name="connsiteY307" fmla="*/ 90106 h 506729"/>
                <a:gd name="connsiteX308" fmla="*/ 394811 w 853154"/>
                <a:gd name="connsiteY308" fmla="*/ 93154 h 506729"/>
                <a:gd name="connsiteX309" fmla="*/ 396621 w 853154"/>
                <a:gd name="connsiteY309" fmla="*/ 92869 h 506729"/>
                <a:gd name="connsiteX310" fmla="*/ 395954 w 853154"/>
                <a:gd name="connsiteY310" fmla="*/ 87535 h 506729"/>
                <a:gd name="connsiteX311" fmla="*/ 397669 w 853154"/>
                <a:gd name="connsiteY311" fmla="*/ 87344 h 506729"/>
                <a:gd name="connsiteX312" fmla="*/ 400241 w 853154"/>
                <a:gd name="connsiteY312" fmla="*/ 92392 h 506729"/>
                <a:gd name="connsiteX313" fmla="*/ 398431 w 853154"/>
                <a:gd name="connsiteY313" fmla="*/ 92678 h 506729"/>
                <a:gd name="connsiteX314" fmla="*/ 398907 w 853154"/>
                <a:gd name="connsiteY314" fmla="*/ 96298 h 506729"/>
                <a:gd name="connsiteX315" fmla="*/ 408813 w 853154"/>
                <a:gd name="connsiteY315" fmla="*/ 102203 h 506729"/>
                <a:gd name="connsiteX316" fmla="*/ 416433 w 853154"/>
                <a:gd name="connsiteY316" fmla="*/ 104775 h 506729"/>
                <a:gd name="connsiteX317" fmla="*/ 425482 w 853154"/>
                <a:gd name="connsiteY317" fmla="*/ 103632 h 506729"/>
                <a:gd name="connsiteX318" fmla="*/ 428816 w 853154"/>
                <a:gd name="connsiteY318" fmla="*/ 101346 h 506729"/>
                <a:gd name="connsiteX319" fmla="*/ 436245 w 853154"/>
                <a:gd name="connsiteY319" fmla="*/ 102203 h 506729"/>
                <a:gd name="connsiteX320" fmla="*/ 438626 w 853154"/>
                <a:gd name="connsiteY320" fmla="*/ 92773 h 506729"/>
                <a:gd name="connsiteX321" fmla="*/ 445865 w 853154"/>
                <a:gd name="connsiteY321" fmla="*/ 91821 h 506729"/>
                <a:gd name="connsiteX322" fmla="*/ 446627 w 853154"/>
                <a:gd name="connsiteY322" fmla="*/ 84487 h 506729"/>
                <a:gd name="connsiteX323" fmla="*/ 442627 w 853154"/>
                <a:gd name="connsiteY323" fmla="*/ 81343 h 506729"/>
                <a:gd name="connsiteX324" fmla="*/ 443960 w 853154"/>
                <a:gd name="connsiteY324" fmla="*/ 77533 h 506729"/>
                <a:gd name="connsiteX325" fmla="*/ 447580 w 853154"/>
                <a:gd name="connsiteY325" fmla="*/ 77057 h 506729"/>
                <a:gd name="connsiteX326" fmla="*/ 449580 w 853154"/>
                <a:gd name="connsiteY326" fmla="*/ 78676 h 506729"/>
                <a:gd name="connsiteX327" fmla="*/ 450247 w 853154"/>
                <a:gd name="connsiteY327" fmla="*/ 84010 h 506729"/>
                <a:gd name="connsiteX328" fmla="*/ 455676 w 853154"/>
                <a:gd name="connsiteY328" fmla="*/ 83248 h 506729"/>
                <a:gd name="connsiteX329" fmla="*/ 457962 w 853154"/>
                <a:gd name="connsiteY329" fmla="*/ 86582 h 506729"/>
                <a:gd name="connsiteX330" fmla="*/ 461296 w 853154"/>
                <a:gd name="connsiteY330" fmla="*/ 84391 h 506729"/>
                <a:gd name="connsiteX331" fmla="*/ 464915 w 853154"/>
                <a:gd name="connsiteY331" fmla="*/ 83915 h 506729"/>
                <a:gd name="connsiteX332" fmla="*/ 473012 w 853154"/>
                <a:gd name="connsiteY332" fmla="*/ 90011 h 506729"/>
                <a:gd name="connsiteX333" fmla="*/ 476821 w 853154"/>
                <a:gd name="connsiteY333" fmla="*/ 91345 h 506729"/>
                <a:gd name="connsiteX334" fmla="*/ 479965 w 853154"/>
                <a:gd name="connsiteY334" fmla="*/ 87344 h 506729"/>
                <a:gd name="connsiteX335" fmla="*/ 485585 w 853154"/>
                <a:gd name="connsiteY335" fmla="*/ 88392 h 506729"/>
                <a:gd name="connsiteX336" fmla="*/ 490347 w 853154"/>
                <a:gd name="connsiteY336" fmla="*/ 96869 h 506729"/>
                <a:gd name="connsiteX337" fmla="*/ 494157 w 853154"/>
                <a:gd name="connsiteY337" fmla="*/ 98107 h 506729"/>
                <a:gd name="connsiteX338" fmla="*/ 495776 w 853154"/>
                <a:gd name="connsiteY338" fmla="*/ 96107 h 506729"/>
                <a:gd name="connsiteX339" fmla="*/ 493014 w 853154"/>
                <a:gd name="connsiteY339" fmla="*/ 89249 h 506729"/>
                <a:gd name="connsiteX340" fmla="*/ 494538 w 853154"/>
                <a:gd name="connsiteY340" fmla="*/ 87154 h 506729"/>
                <a:gd name="connsiteX341" fmla="*/ 498158 w 853154"/>
                <a:gd name="connsiteY341" fmla="*/ 86677 h 506729"/>
                <a:gd name="connsiteX342" fmla="*/ 505778 w 853154"/>
                <a:gd name="connsiteY342" fmla="*/ 89344 h 506729"/>
                <a:gd name="connsiteX343" fmla="*/ 507111 w 853154"/>
                <a:gd name="connsiteY343" fmla="*/ 85534 h 506729"/>
                <a:gd name="connsiteX344" fmla="*/ 510730 w 853154"/>
                <a:gd name="connsiteY344" fmla="*/ 85058 h 506729"/>
                <a:gd name="connsiteX345" fmla="*/ 522446 w 853154"/>
                <a:gd name="connsiteY345" fmla="*/ 90773 h 506729"/>
                <a:gd name="connsiteX346" fmla="*/ 525589 w 853154"/>
                <a:gd name="connsiteY346" fmla="*/ 86677 h 506729"/>
                <a:gd name="connsiteX347" fmla="*/ 528923 w 853154"/>
                <a:gd name="connsiteY347" fmla="*/ 84487 h 506729"/>
                <a:gd name="connsiteX348" fmla="*/ 525113 w 853154"/>
                <a:gd name="connsiteY348" fmla="*/ 83153 h 506729"/>
                <a:gd name="connsiteX349" fmla="*/ 528447 w 853154"/>
                <a:gd name="connsiteY349" fmla="*/ 80867 h 506729"/>
                <a:gd name="connsiteX350" fmla="*/ 527971 w 853154"/>
                <a:gd name="connsiteY350" fmla="*/ 77343 h 506729"/>
                <a:gd name="connsiteX351" fmla="*/ 533400 w 853154"/>
                <a:gd name="connsiteY351" fmla="*/ 76676 h 506729"/>
                <a:gd name="connsiteX352" fmla="*/ 535591 w 853154"/>
                <a:gd name="connsiteY352" fmla="*/ 79915 h 506729"/>
                <a:gd name="connsiteX353" fmla="*/ 547783 w 853154"/>
                <a:gd name="connsiteY353" fmla="*/ 74771 h 506729"/>
                <a:gd name="connsiteX354" fmla="*/ 547306 w 853154"/>
                <a:gd name="connsiteY354" fmla="*/ 71152 h 506729"/>
                <a:gd name="connsiteX355" fmla="*/ 541401 w 853154"/>
                <a:gd name="connsiteY355" fmla="*/ 68294 h 506729"/>
                <a:gd name="connsiteX356" fmla="*/ 540925 w 853154"/>
                <a:gd name="connsiteY356" fmla="*/ 64770 h 506729"/>
                <a:gd name="connsiteX357" fmla="*/ 531209 w 853154"/>
                <a:gd name="connsiteY357" fmla="*/ 60579 h 506729"/>
                <a:gd name="connsiteX358" fmla="*/ 537496 w 853154"/>
                <a:gd name="connsiteY358" fmla="*/ 52483 h 506729"/>
                <a:gd name="connsiteX359" fmla="*/ 535496 w 853154"/>
                <a:gd name="connsiteY359" fmla="*/ 50959 h 506729"/>
                <a:gd name="connsiteX360" fmla="*/ 539020 w 853154"/>
                <a:gd name="connsiteY360" fmla="*/ 50482 h 506729"/>
                <a:gd name="connsiteX361" fmla="*/ 552736 w 853154"/>
                <a:gd name="connsiteY361" fmla="*/ 43243 h 506729"/>
                <a:gd name="connsiteX362" fmla="*/ 556260 w 853154"/>
                <a:gd name="connsiteY362" fmla="*/ 42767 h 506729"/>
                <a:gd name="connsiteX363" fmla="*/ 563023 w 853154"/>
                <a:gd name="connsiteY363" fmla="*/ 38290 h 506729"/>
                <a:gd name="connsiteX364" fmla="*/ 566642 w 853154"/>
                <a:gd name="connsiteY364" fmla="*/ 37814 h 506729"/>
                <a:gd name="connsiteX365" fmla="*/ 576263 w 853154"/>
                <a:gd name="connsiteY365" fmla="*/ 41910 h 506729"/>
                <a:gd name="connsiteX366" fmla="*/ 579406 w 853154"/>
                <a:gd name="connsiteY366" fmla="*/ 37909 h 506729"/>
                <a:gd name="connsiteX367" fmla="*/ 587026 w 853154"/>
                <a:gd name="connsiteY367" fmla="*/ 40576 h 506729"/>
                <a:gd name="connsiteX368" fmla="*/ 593979 w 853154"/>
                <a:gd name="connsiteY368" fmla="*/ 37814 h 506729"/>
                <a:gd name="connsiteX369" fmla="*/ 605219 w 853154"/>
                <a:gd name="connsiteY369" fmla="*/ 39910 h 506729"/>
                <a:gd name="connsiteX370" fmla="*/ 609981 w 853154"/>
                <a:gd name="connsiteY370" fmla="*/ 33909 h 506729"/>
                <a:gd name="connsiteX371" fmla="*/ 609505 w 853154"/>
                <a:gd name="connsiteY371" fmla="*/ 30289 h 506729"/>
                <a:gd name="connsiteX372" fmla="*/ 614172 w 853154"/>
                <a:gd name="connsiteY372" fmla="*/ 24193 h 506729"/>
                <a:gd name="connsiteX373" fmla="*/ 619506 w 853154"/>
                <a:gd name="connsiteY373" fmla="*/ 23527 h 506729"/>
                <a:gd name="connsiteX374" fmla="*/ 619030 w 853154"/>
                <a:gd name="connsiteY374" fmla="*/ 20002 h 506729"/>
                <a:gd name="connsiteX375" fmla="*/ 611981 w 853154"/>
                <a:gd name="connsiteY375" fmla="*/ 8191 h 506729"/>
                <a:gd name="connsiteX376" fmla="*/ 613315 w 853154"/>
                <a:gd name="connsiteY376" fmla="*/ 4381 h 506729"/>
                <a:gd name="connsiteX377" fmla="*/ 618554 w 853154"/>
                <a:gd name="connsiteY377" fmla="*/ 1905 h 506729"/>
                <a:gd name="connsiteX378" fmla="*/ 627697 w 853154"/>
                <a:gd name="connsiteY378" fmla="*/ 2476 h 506729"/>
                <a:gd name="connsiteX379" fmla="*/ 632841 w 853154"/>
                <a:gd name="connsiteY379" fmla="*/ 0 h 506729"/>
                <a:gd name="connsiteX380" fmla="*/ 638461 w 853154"/>
                <a:gd name="connsiteY380" fmla="*/ 1048 h 506729"/>
                <a:gd name="connsiteX381" fmla="*/ 635889 w 853154"/>
                <a:gd name="connsiteY381" fmla="*/ 8668 h 506729"/>
                <a:gd name="connsiteX382" fmla="*/ 636365 w 853154"/>
                <a:gd name="connsiteY382" fmla="*/ 12192 h 506729"/>
                <a:gd name="connsiteX383" fmla="*/ 649796 w 853154"/>
                <a:gd name="connsiteY383" fmla="*/ 3238 h 506729"/>
                <a:gd name="connsiteX384" fmla="*/ 661226 w 853154"/>
                <a:gd name="connsiteY384" fmla="*/ 7144 h 506729"/>
                <a:gd name="connsiteX385" fmla="*/ 659321 w 853154"/>
                <a:gd name="connsiteY385" fmla="*/ 20098 h 506729"/>
                <a:gd name="connsiteX386" fmla="*/ 660273 w 853154"/>
                <a:gd name="connsiteY386" fmla="*/ 27241 h 506729"/>
                <a:gd name="connsiteX387" fmla="*/ 669703 w 853154"/>
                <a:gd name="connsiteY387" fmla="*/ 29623 h 506729"/>
                <a:gd name="connsiteX388" fmla="*/ 667036 w 853154"/>
                <a:gd name="connsiteY388" fmla="*/ 37147 h 506729"/>
                <a:gd name="connsiteX389" fmla="*/ 668846 w 853154"/>
                <a:gd name="connsiteY389" fmla="*/ 36957 h 506729"/>
                <a:gd name="connsiteX390" fmla="*/ 673798 w 853154"/>
                <a:gd name="connsiteY390" fmla="*/ 32671 h 506729"/>
                <a:gd name="connsiteX391" fmla="*/ 679418 w 853154"/>
                <a:gd name="connsiteY391" fmla="*/ 33718 h 506729"/>
                <a:gd name="connsiteX392" fmla="*/ 684467 w 853154"/>
                <a:gd name="connsiteY392" fmla="*/ 31242 h 506729"/>
                <a:gd name="connsiteX393" fmla="*/ 702278 w 853154"/>
                <a:gd name="connsiteY393" fmla="*/ 27051 h 506729"/>
                <a:gd name="connsiteX394" fmla="*/ 708851 w 853154"/>
                <a:gd name="connsiteY394" fmla="*/ 35242 h 506729"/>
                <a:gd name="connsiteX395" fmla="*/ 710375 w 853154"/>
                <a:gd name="connsiteY395" fmla="*/ 33242 h 506729"/>
                <a:gd name="connsiteX396" fmla="*/ 713613 w 853154"/>
                <a:gd name="connsiteY396" fmla="*/ 43720 h 506729"/>
                <a:gd name="connsiteX397" fmla="*/ 725329 w 853154"/>
                <a:gd name="connsiteY397" fmla="*/ 49435 h 506729"/>
                <a:gd name="connsiteX398" fmla="*/ 730282 w 853154"/>
                <a:gd name="connsiteY398" fmla="*/ 45148 h 506729"/>
                <a:gd name="connsiteX399" fmla="*/ 737045 w 853154"/>
                <a:gd name="connsiteY399" fmla="*/ 55054 h 506729"/>
                <a:gd name="connsiteX400" fmla="*/ 737711 w 853154"/>
                <a:gd name="connsiteY400" fmla="*/ 60484 h 506729"/>
                <a:gd name="connsiteX401" fmla="*/ 744093 w 853154"/>
                <a:gd name="connsiteY401" fmla="*/ 66865 h 506729"/>
                <a:gd name="connsiteX402" fmla="*/ 746570 w 853154"/>
                <a:gd name="connsiteY402" fmla="*/ 72009 h 506729"/>
                <a:gd name="connsiteX403" fmla="*/ 757238 w 853154"/>
                <a:gd name="connsiteY403" fmla="*/ 56102 h 506729"/>
                <a:gd name="connsiteX404" fmla="*/ 769144 w 853154"/>
                <a:gd name="connsiteY404" fmla="*/ 49054 h 506729"/>
                <a:gd name="connsiteX405" fmla="*/ 776097 w 853154"/>
                <a:gd name="connsiteY405" fmla="*/ 46291 h 506729"/>
                <a:gd name="connsiteX406" fmla="*/ 779907 w 853154"/>
                <a:gd name="connsiteY406" fmla="*/ 47625 h 506729"/>
                <a:gd name="connsiteX407" fmla="*/ 780193 w 853154"/>
                <a:gd name="connsiteY407" fmla="*/ 49435 h 506729"/>
                <a:gd name="connsiteX408" fmla="*/ 794956 w 853154"/>
                <a:gd name="connsiteY408" fmla="*/ 51054 h 506729"/>
                <a:gd name="connsiteX409" fmla="*/ 794956 w 853154"/>
                <a:gd name="connsiteY409" fmla="*/ 51054 h 506729"/>
                <a:gd name="connsiteX410" fmla="*/ 791909 w 853154"/>
                <a:gd name="connsiteY410" fmla="*/ 55150 h 506729"/>
                <a:gd name="connsiteX411" fmla="*/ 793909 w 853154"/>
                <a:gd name="connsiteY411" fmla="*/ 56674 h 506729"/>
                <a:gd name="connsiteX412" fmla="*/ 799529 w 853154"/>
                <a:gd name="connsiteY412" fmla="*/ 57721 h 506729"/>
                <a:gd name="connsiteX413" fmla="*/ 798005 w 853154"/>
                <a:gd name="connsiteY413" fmla="*/ 59722 h 506729"/>
                <a:gd name="connsiteX414" fmla="*/ 802005 w 853154"/>
                <a:gd name="connsiteY414" fmla="*/ 62865 h 506729"/>
                <a:gd name="connsiteX415" fmla="*/ 811721 w 853154"/>
                <a:gd name="connsiteY415" fmla="*/ 66961 h 506729"/>
                <a:gd name="connsiteX416" fmla="*/ 830294 w 853154"/>
                <a:gd name="connsiteY416" fmla="*/ 82677 h 506729"/>
                <a:gd name="connsiteX417" fmla="*/ 828866 w 853154"/>
                <a:gd name="connsiteY417" fmla="*/ 86487 h 506729"/>
                <a:gd name="connsiteX418" fmla="*/ 831152 w 853154"/>
                <a:gd name="connsiteY418" fmla="*/ 89821 h 506729"/>
                <a:gd name="connsiteX419" fmla="*/ 826294 w 853154"/>
                <a:gd name="connsiteY419" fmla="*/ 94107 h 506729"/>
                <a:gd name="connsiteX420" fmla="*/ 834676 w 853154"/>
                <a:gd name="connsiteY420" fmla="*/ 102013 h 506729"/>
                <a:gd name="connsiteX421" fmla="*/ 836200 w 853154"/>
                <a:gd name="connsiteY421" fmla="*/ 100013 h 506729"/>
                <a:gd name="connsiteX422" fmla="*/ 847249 w 853154"/>
                <a:gd name="connsiteY422" fmla="*/ 114871 h 506729"/>
                <a:gd name="connsiteX423" fmla="*/ 844201 w 853154"/>
                <a:gd name="connsiteY423" fmla="*/ 118872 h 506729"/>
                <a:gd name="connsiteX424" fmla="*/ 850297 w 853154"/>
                <a:gd name="connsiteY424" fmla="*/ 123539 h 506729"/>
                <a:gd name="connsiteX425" fmla="*/ 843820 w 853154"/>
                <a:gd name="connsiteY425" fmla="*/ 129826 h 506729"/>
                <a:gd name="connsiteX426" fmla="*/ 842486 w 853154"/>
                <a:gd name="connsiteY426" fmla="*/ 133636 h 506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</a:cxnLst>
              <a:rect l="l" t="t" r="r" b="b"/>
              <a:pathLst>
                <a:path w="853154" h="506729">
                  <a:moveTo>
                    <a:pt x="842486" y="133636"/>
                  </a:moveTo>
                  <a:lnTo>
                    <a:pt x="834390" y="141922"/>
                  </a:lnTo>
                  <a:lnTo>
                    <a:pt x="848201" y="149162"/>
                  </a:lnTo>
                  <a:lnTo>
                    <a:pt x="845344" y="154972"/>
                  </a:lnTo>
                  <a:lnTo>
                    <a:pt x="853154" y="159448"/>
                  </a:lnTo>
                  <a:lnTo>
                    <a:pt x="847154" y="169259"/>
                  </a:lnTo>
                  <a:lnTo>
                    <a:pt x="842010" y="171736"/>
                  </a:lnTo>
                  <a:lnTo>
                    <a:pt x="842486" y="175355"/>
                  </a:lnTo>
                  <a:lnTo>
                    <a:pt x="829913" y="176974"/>
                  </a:lnTo>
                  <a:lnTo>
                    <a:pt x="832961" y="185642"/>
                  </a:lnTo>
                  <a:lnTo>
                    <a:pt x="842391" y="188023"/>
                  </a:lnTo>
                  <a:lnTo>
                    <a:pt x="833247" y="201930"/>
                  </a:lnTo>
                  <a:lnTo>
                    <a:pt x="827151" y="197263"/>
                  </a:lnTo>
                  <a:lnTo>
                    <a:pt x="819531" y="209169"/>
                  </a:lnTo>
                  <a:lnTo>
                    <a:pt x="815816" y="222409"/>
                  </a:lnTo>
                  <a:lnTo>
                    <a:pt x="838581" y="228409"/>
                  </a:lnTo>
                  <a:lnTo>
                    <a:pt x="842867" y="233267"/>
                  </a:lnTo>
                  <a:lnTo>
                    <a:pt x="848963" y="237934"/>
                  </a:lnTo>
                  <a:lnTo>
                    <a:pt x="850202" y="261366"/>
                  </a:lnTo>
                  <a:lnTo>
                    <a:pt x="828008" y="273367"/>
                  </a:lnTo>
                  <a:lnTo>
                    <a:pt x="822008" y="283178"/>
                  </a:lnTo>
                  <a:lnTo>
                    <a:pt x="813149" y="298894"/>
                  </a:lnTo>
                  <a:lnTo>
                    <a:pt x="819245" y="303466"/>
                  </a:lnTo>
                  <a:lnTo>
                    <a:pt x="813911" y="318706"/>
                  </a:lnTo>
                  <a:lnTo>
                    <a:pt x="810101" y="317373"/>
                  </a:lnTo>
                  <a:lnTo>
                    <a:pt x="812673" y="322516"/>
                  </a:lnTo>
                  <a:lnTo>
                    <a:pt x="805339" y="336137"/>
                  </a:lnTo>
                  <a:lnTo>
                    <a:pt x="802196" y="340233"/>
                  </a:lnTo>
                  <a:lnTo>
                    <a:pt x="806291" y="343281"/>
                  </a:lnTo>
                  <a:lnTo>
                    <a:pt x="812006" y="358807"/>
                  </a:lnTo>
                  <a:lnTo>
                    <a:pt x="811339" y="367951"/>
                  </a:lnTo>
                  <a:lnTo>
                    <a:pt x="808672" y="375571"/>
                  </a:lnTo>
                  <a:lnTo>
                    <a:pt x="809149" y="379190"/>
                  </a:lnTo>
                  <a:lnTo>
                    <a:pt x="826008" y="382333"/>
                  </a:lnTo>
                  <a:lnTo>
                    <a:pt x="837724" y="388048"/>
                  </a:lnTo>
                  <a:lnTo>
                    <a:pt x="842105" y="392906"/>
                  </a:lnTo>
                  <a:lnTo>
                    <a:pt x="838676" y="395192"/>
                  </a:lnTo>
                  <a:lnTo>
                    <a:pt x="840677" y="396716"/>
                  </a:lnTo>
                  <a:lnTo>
                    <a:pt x="840962" y="398526"/>
                  </a:lnTo>
                  <a:lnTo>
                    <a:pt x="830866" y="405289"/>
                  </a:lnTo>
                  <a:lnTo>
                    <a:pt x="828008" y="411099"/>
                  </a:lnTo>
                  <a:lnTo>
                    <a:pt x="829151" y="420052"/>
                  </a:lnTo>
                  <a:lnTo>
                    <a:pt x="821436" y="430149"/>
                  </a:lnTo>
                  <a:lnTo>
                    <a:pt x="817150" y="439769"/>
                  </a:lnTo>
                  <a:lnTo>
                    <a:pt x="817436" y="441579"/>
                  </a:lnTo>
                  <a:lnTo>
                    <a:pt x="821246" y="442817"/>
                  </a:lnTo>
                  <a:lnTo>
                    <a:pt x="818579" y="450437"/>
                  </a:lnTo>
                  <a:lnTo>
                    <a:pt x="813911" y="456533"/>
                  </a:lnTo>
                  <a:lnTo>
                    <a:pt x="805148" y="459486"/>
                  </a:lnTo>
                  <a:lnTo>
                    <a:pt x="799147" y="469297"/>
                  </a:lnTo>
                  <a:lnTo>
                    <a:pt x="798100" y="474916"/>
                  </a:lnTo>
                  <a:lnTo>
                    <a:pt x="796290" y="475107"/>
                  </a:lnTo>
                  <a:lnTo>
                    <a:pt x="794099" y="486346"/>
                  </a:lnTo>
                  <a:lnTo>
                    <a:pt x="790766" y="488632"/>
                  </a:lnTo>
                  <a:lnTo>
                    <a:pt x="788670" y="487013"/>
                  </a:lnTo>
                  <a:lnTo>
                    <a:pt x="780383" y="493585"/>
                  </a:lnTo>
                  <a:lnTo>
                    <a:pt x="778193" y="490252"/>
                  </a:lnTo>
                  <a:lnTo>
                    <a:pt x="776383" y="490538"/>
                  </a:lnTo>
                  <a:lnTo>
                    <a:pt x="775049" y="494252"/>
                  </a:lnTo>
                  <a:lnTo>
                    <a:pt x="773525" y="496348"/>
                  </a:lnTo>
                  <a:lnTo>
                    <a:pt x="770572" y="502063"/>
                  </a:lnTo>
                  <a:lnTo>
                    <a:pt x="769048" y="504158"/>
                  </a:lnTo>
                  <a:lnTo>
                    <a:pt x="765429" y="504634"/>
                  </a:lnTo>
                  <a:lnTo>
                    <a:pt x="765238" y="502825"/>
                  </a:lnTo>
                  <a:lnTo>
                    <a:pt x="749332" y="506730"/>
                  </a:lnTo>
                  <a:lnTo>
                    <a:pt x="748760" y="503206"/>
                  </a:lnTo>
                  <a:lnTo>
                    <a:pt x="747046" y="503396"/>
                  </a:lnTo>
                  <a:lnTo>
                    <a:pt x="742664" y="498538"/>
                  </a:lnTo>
                  <a:lnTo>
                    <a:pt x="747617" y="494252"/>
                  </a:lnTo>
                  <a:lnTo>
                    <a:pt x="745331" y="490918"/>
                  </a:lnTo>
                  <a:lnTo>
                    <a:pt x="741331" y="487871"/>
                  </a:lnTo>
                  <a:lnTo>
                    <a:pt x="736187" y="490347"/>
                  </a:lnTo>
                  <a:lnTo>
                    <a:pt x="733139" y="481679"/>
                  </a:lnTo>
                  <a:lnTo>
                    <a:pt x="733901" y="487013"/>
                  </a:lnTo>
                  <a:lnTo>
                    <a:pt x="730568" y="489299"/>
                  </a:lnTo>
                  <a:lnTo>
                    <a:pt x="729901" y="498443"/>
                  </a:lnTo>
                  <a:lnTo>
                    <a:pt x="723138" y="502920"/>
                  </a:lnTo>
                  <a:lnTo>
                    <a:pt x="706374" y="499777"/>
                  </a:lnTo>
                  <a:lnTo>
                    <a:pt x="696182" y="492062"/>
                  </a:lnTo>
                  <a:lnTo>
                    <a:pt x="690753" y="492728"/>
                  </a:lnTo>
                  <a:lnTo>
                    <a:pt x="673894" y="489490"/>
                  </a:lnTo>
                  <a:lnTo>
                    <a:pt x="663321" y="492728"/>
                  </a:lnTo>
                  <a:lnTo>
                    <a:pt x="659987" y="495014"/>
                  </a:lnTo>
                  <a:lnTo>
                    <a:pt x="658178" y="495205"/>
                  </a:lnTo>
                  <a:lnTo>
                    <a:pt x="646938" y="493109"/>
                  </a:lnTo>
                  <a:lnTo>
                    <a:pt x="598837" y="488537"/>
                  </a:lnTo>
                  <a:lnTo>
                    <a:pt x="561499" y="482632"/>
                  </a:lnTo>
                  <a:lnTo>
                    <a:pt x="560165" y="486442"/>
                  </a:lnTo>
                  <a:lnTo>
                    <a:pt x="556831" y="488728"/>
                  </a:lnTo>
                  <a:lnTo>
                    <a:pt x="554831" y="487204"/>
                  </a:lnTo>
                  <a:lnTo>
                    <a:pt x="549212" y="486061"/>
                  </a:lnTo>
                  <a:lnTo>
                    <a:pt x="547783" y="489871"/>
                  </a:lnTo>
                  <a:lnTo>
                    <a:pt x="530923" y="486727"/>
                  </a:lnTo>
                  <a:lnTo>
                    <a:pt x="528733" y="483394"/>
                  </a:lnTo>
                  <a:lnTo>
                    <a:pt x="525113" y="483870"/>
                  </a:lnTo>
                  <a:lnTo>
                    <a:pt x="523780" y="487680"/>
                  </a:lnTo>
                  <a:lnTo>
                    <a:pt x="520160" y="488156"/>
                  </a:lnTo>
                  <a:lnTo>
                    <a:pt x="511016" y="487489"/>
                  </a:lnTo>
                  <a:lnTo>
                    <a:pt x="495681" y="482251"/>
                  </a:lnTo>
                  <a:lnTo>
                    <a:pt x="481965" y="475012"/>
                  </a:lnTo>
                  <a:lnTo>
                    <a:pt x="466154" y="466249"/>
                  </a:lnTo>
                  <a:lnTo>
                    <a:pt x="415385" y="442150"/>
                  </a:lnTo>
                  <a:lnTo>
                    <a:pt x="410623" y="433673"/>
                  </a:lnTo>
                  <a:lnTo>
                    <a:pt x="390335" y="418243"/>
                  </a:lnTo>
                  <a:lnTo>
                    <a:pt x="384715" y="417195"/>
                  </a:lnTo>
                  <a:lnTo>
                    <a:pt x="376333" y="409289"/>
                  </a:lnTo>
                  <a:lnTo>
                    <a:pt x="376523" y="396526"/>
                  </a:lnTo>
                  <a:lnTo>
                    <a:pt x="382524" y="386620"/>
                  </a:lnTo>
                  <a:lnTo>
                    <a:pt x="382048" y="383096"/>
                  </a:lnTo>
                  <a:lnTo>
                    <a:pt x="371285" y="384524"/>
                  </a:lnTo>
                  <a:lnTo>
                    <a:pt x="372332" y="379000"/>
                  </a:lnTo>
                  <a:lnTo>
                    <a:pt x="370332" y="377380"/>
                  </a:lnTo>
                  <a:lnTo>
                    <a:pt x="366903" y="379666"/>
                  </a:lnTo>
                  <a:lnTo>
                    <a:pt x="367855" y="386810"/>
                  </a:lnTo>
                  <a:lnTo>
                    <a:pt x="366522" y="390620"/>
                  </a:lnTo>
                  <a:lnTo>
                    <a:pt x="360902" y="389477"/>
                  </a:lnTo>
                  <a:lnTo>
                    <a:pt x="354806" y="384905"/>
                  </a:lnTo>
                  <a:lnTo>
                    <a:pt x="350806" y="381857"/>
                  </a:lnTo>
                  <a:lnTo>
                    <a:pt x="356330" y="368332"/>
                  </a:lnTo>
                  <a:lnTo>
                    <a:pt x="348901" y="367570"/>
                  </a:lnTo>
                  <a:lnTo>
                    <a:pt x="344614" y="362712"/>
                  </a:lnTo>
                  <a:lnTo>
                    <a:pt x="336042" y="367474"/>
                  </a:lnTo>
                  <a:lnTo>
                    <a:pt x="323469" y="369094"/>
                  </a:lnTo>
                  <a:lnTo>
                    <a:pt x="320993" y="364046"/>
                  </a:lnTo>
                  <a:lnTo>
                    <a:pt x="321850" y="356616"/>
                  </a:lnTo>
                  <a:lnTo>
                    <a:pt x="323660" y="356330"/>
                  </a:lnTo>
                  <a:lnTo>
                    <a:pt x="326136" y="361474"/>
                  </a:lnTo>
                  <a:lnTo>
                    <a:pt x="329946" y="362807"/>
                  </a:lnTo>
                  <a:lnTo>
                    <a:pt x="333566" y="362331"/>
                  </a:lnTo>
                  <a:lnTo>
                    <a:pt x="333089" y="358807"/>
                  </a:lnTo>
                  <a:lnTo>
                    <a:pt x="324517" y="348996"/>
                  </a:lnTo>
                  <a:lnTo>
                    <a:pt x="318516" y="358902"/>
                  </a:lnTo>
                  <a:lnTo>
                    <a:pt x="314706" y="357568"/>
                  </a:lnTo>
                  <a:lnTo>
                    <a:pt x="310420" y="352711"/>
                  </a:lnTo>
                  <a:lnTo>
                    <a:pt x="312325" y="339757"/>
                  </a:lnTo>
                  <a:lnTo>
                    <a:pt x="310325" y="338233"/>
                  </a:lnTo>
                  <a:lnTo>
                    <a:pt x="308038" y="334899"/>
                  </a:lnTo>
                  <a:lnTo>
                    <a:pt x="304229" y="333565"/>
                  </a:lnTo>
                  <a:lnTo>
                    <a:pt x="306419" y="336899"/>
                  </a:lnTo>
                  <a:lnTo>
                    <a:pt x="307181" y="342233"/>
                  </a:lnTo>
                  <a:lnTo>
                    <a:pt x="296609" y="345472"/>
                  </a:lnTo>
                  <a:lnTo>
                    <a:pt x="290036" y="337280"/>
                  </a:lnTo>
                  <a:lnTo>
                    <a:pt x="276987" y="335375"/>
                  </a:lnTo>
                  <a:lnTo>
                    <a:pt x="276320" y="330041"/>
                  </a:lnTo>
                  <a:lnTo>
                    <a:pt x="283273" y="327279"/>
                  </a:lnTo>
                  <a:lnTo>
                    <a:pt x="284797" y="325279"/>
                  </a:lnTo>
                  <a:lnTo>
                    <a:pt x="276225" y="315563"/>
                  </a:lnTo>
                  <a:lnTo>
                    <a:pt x="275463" y="310229"/>
                  </a:lnTo>
                  <a:lnTo>
                    <a:pt x="267462" y="318516"/>
                  </a:lnTo>
                  <a:lnTo>
                    <a:pt x="263843" y="318992"/>
                  </a:lnTo>
                  <a:lnTo>
                    <a:pt x="258032" y="316135"/>
                  </a:lnTo>
                  <a:lnTo>
                    <a:pt x="243840" y="319849"/>
                  </a:lnTo>
                  <a:lnTo>
                    <a:pt x="232410" y="315849"/>
                  </a:lnTo>
                  <a:lnTo>
                    <a:pt x="221171" y="313754"/>
                  </a:lnTo>
                  <a:lnTo>
                    <a:pt x="216694" y="321564"/>
                  </a:lnTo>
                  <a:lnTo>
                    <a:pt x="212503" y="331184"/>
                  </a:lnTo>
                  <a:lnTo>
                    <a:pt x="196405" y="347853"/>
                  </a:lnTo>
                  <a:lnTo>
                    <a:pt x="184976" y="343948"/>
                  </a:lnTo>
                  <a:lnTo>
                    <a:pt x="160592" y="339947"/>
                  </a:lnTo>
                  <a:lnTo>
                    <a:pt x="160115" y="336328"/>
                  </a:lnTo>
                  <a:lnTo>
                    <a:pt x="156305" y="334994"/>
                  </a:lnTo>
                  <a:lnTo>
                    <a:pt x="145828" y="338233"/>
                  </a:lnTo>
                  <a:lnTo>
                    <a:pt x="142685" y="342329"/>
                  </a:lnTo>
                  <a:lnTo>
                    <a:pt x="137255" y="342995"/>
                  </a:lnTo>
                  <a:lnTo>
                    <a:pt x="130207" y="331184"/>
                  </a:lnTo>
                  <a:lnTo>
                    <a:pt x="122396" y="326803"/>
                  </a:lnTo>
                  <a:lnTo>
                    <a:pt x="117538" y="318421"/>
                  </a:lnTo>
                  <a:lnTo>
                    <a:pt x="106966" y="307086"/>
                  </a:lnTo>
                  <a:lnTo>
                    <a:pt x="89345" y="298513"/>
                  </a:lnTo>
                  <a:lnTo>
                    <a:pt x="89821" y="302133"/>
                  </a:lnTo>
                  <a:lnTo>
                    <a:pt x="84487" y="302800"/>
                  </a:lnTo>
                  <a:lnTo>
                    <a:pt x="75343" y="289560"/>
                  </a:lnTo>
                  <a:lnTo>
                    <a:pt x="67723" y="286893"/>
                  </a:lnTo>
                  <a:lnTo>
                    <a:pt x="64389" y="289179"/>
                  </a:lnTo>
                  <a:lnTo>
                    <a:pt x="54959" y="286798"/>
                  </a:lnTo>
                  <a:lnTo>
                    <a:pt x="36957" y="289179"/>
                  </a:lnTo>
                  <a:lnTo>
                    <a:pt x="17145" y="277273"/>
                  </a:lnTo>
                  <a:lnTo>
                    <a:pt x="0" y="272320"/>
                  </a:lnTo>
                  <a:lnTo>
                    <a:pt x="9335" y="260223"/>
                  </a:lnTo>
                  <a:lnTo>
                    <a:pt x="11811" y="250793"/>
                  </a:lnTo>
                  <a:lnTo>
                    <a:pt x="17431" y="251841"/>
                  </a:lnTo>
                  <a:lnTo>
                    <a:pt x="22098" y="245840"/>
                  </a:lnTo>
                  <a:lnTo>
                    <a:pt x="27432" y="245078"/>
                  </a:lnTo>
                  <a:lnTo>
                    <a:pt x="20003" y="244316"/>
                  </a:lnTo>
                  <a:lnTo>
                    <a:pt x="18002" y="242697"/>
                  </a:lnTo>
                  <a:lnTo>
                    <a:pt x="19812" y="242506"/>
                  </a:lnTo>
                  <a:lnTo>
                    <a:pt x="22955" y="238411"/>
                  </a:lnTo>
                  <a:lnTo>
                    <a:pt x="26765" y="239744"/>
                  </a:lnTo>
                  <a:lnTo>
                    <a:pt x="29432" y="232124"/>
                  </a:lnTo>
                  <a:lnTo>
                    <a:pt x="27146" y="228790"/>
                  </a:lnTo>
                  <a:lnTo>
                    <a:pt x="25051" y="227266"/>
                  </a:lnTo>
                  <a:lnTo>
                    <a:pt x="30289" y="224790"/>
                  </a:lnTo>
                  <a:lnTo>
                    <a:pt x="36386" y="229362"/>
                  </a:lnTo>
                  <a:lnTo>
                    <a:pt x="37433" y="223838"/>
                  </a:lnTo>
                  <a:lnTo>
                    <a:pt x="41053" y="223361"/>
                  </a:lnTo>
                  <a:lnTo>
                    <a:pt x="42101" y="217741"/>
                  </a:lnTo>
                  <a:lnTo>
                    <a:pt x="45529" y="215551"/>
                  </a:lnTo>
                  <a:lnTo>
                    <a:pt x="44577" y="208407"/>
                  </a:lnTo>
                  <a:lnTo>
                    <a:pt x="40958" y="208883"/>
                  </a:lnTo>
                  <a:lnTo>
                    <a:pt x="38862" y="207359"/>
                  </a:lnTo>
                  <a:lnTo>
                    <a:pt x="44291" y="206597"/>
                  </a:lnTo>
                  <a:lnTo>
                    <a:pt x="61627" y="213360"/>
                  </a:lnTo>
                  <a:lnTo>
                    <a:pt x="56864" y="204978"/>
                  </a:lnTo>
                  <a:lnTo>
                    <a:pt x="67437" y="201739"/>
                  </a:lnTo>
                  <a:lnTo>
                    <a:pt x="69723" y="205073"/>
                  </a:lnTo>
                  <a:lnTo>
                    <a:pt x="72200" y="210217"/>
                  </a:lnTo>
                  <a:lnTo>
                    <a:pt x="78010" y="212979"/>
                  </a:lnTo>
                  <a:lnTo>
                    <a:pt x="75152" y="218884"/>
                  </a:lnTo>
                  <a:lnTo>
                    <a:pt x="75629" y="222409"/>
                  </a:lnTo>
                  <a:lnTo>
                    <a:pt x="83534" y="226790"/>
                  </a:lnTo>
                  <a:lnTo>
                    <a:pt x="87154" y="226314"/>
                  </a:lnTo>
                  <a:lnTo>
                    <a:pt x="92297" y="223838"/>
                  </a:lnTo>
                  <a:lnTo>
                    <a:pt x="94774" y="228886"/>
                  </a:lnTo>
                  <a:lnTo>
                    <a:pt x="96774" y="230505"/>
                  </a:lnTo>
                  <a:lnTo>
                    <a:pt x="101727" y="226219"/>
                  </a:lnTo>
                  <a:lnTo>
                    <a:pt x="102870" y="220599"/>
                  </a:lnTo>
                  <a:lnTo>
                    <a:pt x="100775" y="219075"/>
                  </a:lnTo>
                  <a:lnTo>
                    <a:pt x="107728" y="216313"/>
                  </a:lnTo>
                  <a:lnTo>
                    <a:pt x="107061" y="210979"/>
                  </a:lnTo>
                  <a:lnTo>
                    <a:pt x="114205" y="210026"/>
                  </a:lnTo>
                  <a:lnTo>
                    <a:pt x="110490" y="196024"/>
                  </a:lnTo>
                  <a:lnTo>
                    <a:pt x="112109" y="194024"/>
                  </a:lnTo>
                  <a:lnTo>
                    <a:pt x="119253" y="193072"/>
                  </a:lnTo>
                  <a:lnTo>
                    <a:pt x="123349" y="196120"/>
                  </a:lnTo>
                  <a:lnTo>
                    <a:pt x="126968" y="195643"/>
                  </a:lnTo>
                  <a:lnTo>
                    <a:pt x="129159" y="198977"/>
                  </a:lnTo>
                  <a:lnTo>
                    <a:pt x="132588" y="196787"/>
                  </a:lnTo>
                  <a:lnTo>
                    <a:pt x="140779" y="190214"/>
                  </a:lnTo>
                  <a:lnTo>
                    <a:pt x="151638" y="188785"/>
                  </a:lnTo>
                  <a:lnTo>
                    <a:pt x="152114" y="192405"/>
                  </a:lnTo>
                  <a:lnTo>
                    <a:pt x="162020" y="198310"/>
                  </a:lnTo>
                  <a:lnTo>
                    <a:pt x="164783" y="205168"/>
                  </a:lnTo>
                  <a:lnTo>
                    <a:pt x="169259" y="211836"/>
                  </a:lnTo>
                  <a:lnTo>
                    <a:pt x="173546" y="216694"/>
                  </a:lnTo>
                  <a:lnTo>
                    <a:pt x="176689" y="212693"/>
                  </a:lnTo>
                  <a:lnTo>
                    <a:pt x="180118" y="210407"/>
                  </a:lnTo>
                  <a:lnTo>
                    <a:pt x="181356" y="206597"/>
                  </a:lnTo>
                  <a:lnTo>
                    <a:pt x="184213" y="200787"/>
                  </a:lnTo>
                  <a:lnTo>
                    <a:pt x="180404" y="199454"/>
                  </a:lnTo>
                  <a:lnTo>
                    <a:pt x="181737" y="195643"/>
                  </a:lnTo>
                  <a:lnTo>
                    <a:pt x="179737" y="194119"/>
                  </a:lnTo>
                  <a:lnTo>
                    <a:pt x="183547" y="195453"/>
                  </a:lnTo>
                  <a:lnTo>
                    <a:pt x="187738" y="185833"/>
                  </a:lnTo>
                  <a:lnTo>
                    <a:pt x="195644" y="190214"/>
                  </a:lnTo>
                  <a:lnTo>
                    <a:pt x="198501" y="184404"/>
                  </a:lnTo>
                  <a:lnTo>
                    <a:pt x="196787" y="184594"/>
                  </a:lnTo>
                  <a:lnTo>
                    <a:pt x="198882" y="173450"/>
                  </a:lnTo>
                  <a:lnTo>
                    <a:pt x="198692" y="171736"/>
                  </a:lnTo>
                  <a:lnTo>
                    <a:pt x="204311" y="172783"/>
                  </a:lnTo>
                  <a:lnTo>
                    <a:pt x="218885" y="172593"/>
                  </a:lnTo>
                  <a:lnTo>
                    <a:pt x="228981" y="165830"/>
                  </a:lnTo>
                  <a:lnTo>
                    <a:pt x="231458" y="156496"/>
                  </a:lnTo>
                  <a:lnTo>
                    <a:pt x="233172" y="156210"/>
                  </a:lnTo>
                  <a:lnTo>
                    <a:pt x="238601" y="155543"/>
                  </a:lnTo>
                  <a:lnTo>
                    <a:pt x="239935" y="151733"/>
                  </a:lnTo>
                  <a:lnTo>
                    <a:pt x="241745" y="151447"/>
                  </a:lnTo>
                  <a:lnTo>
                    <a:pt x="241459" y="149733"/>
                  </a:lnTo>
                  <a:lnTo>
                    <a:pt x="234029" y="148876"/>
                  </a:lnTo>
                  <a:lnTo>
                    <a:pt x="236982" y="143065"/>
                  </a:lnTo>
                  <a:lnTo>
                    <a:pt x="247269" y="138017"/>
                  </a:lnTo>
                  <a:lnTo>
                    <a:pt x="248793" y="136017"/>
                  </a:lnTo>
                  <a:lnTo>
                    <a:pt x="253460" y="130016"/>
                  </a:lnTo>
                  <a:lnTo>
                    <a:pt x="261366" y="134398"/>
                  </a:lnTo>
                  <a:lnTo>
                    <a:pt x="267653" y="126301"/>
                  </a:lnTo>
                  <a:lnTo>
                    <a:pt x="275272" y="128873"/>
                  </a:lnTo>
                  <a:lnTo>
                    <a:pt x="279940" y="122872"/>
                  </a:lnTo>
                  <a:lnTo>
                    <a:pt x="289846" y="128778"/>
                  </a:lnTo>
                  <a:lnTo>
                    <a:pt x="295275" y="128111"/>
                  </a:lnTo>
                  <a:lnTo>
                    <a:pt x="296037" y="133445"/>
                  </a:lnTo>
                  <a:lnTo>
                    <a:pt x="302895" y="130683"/>
                  </a:lnTo>
                  <a:lnTo>
                    <a:pt x="300704" y="127349"/>
                  </a:lnTo>
                  <a:lnTo>
                    <a:pt x="301943" y="123539"/>
                  </a:lnTo>
                  <a:lnTo>
                    <a:pt x="305848" y="124873"/>
                  </a:lnTo>
                  <a:lnTo>
                    <a:pt x="307658" y="124587"/>
                  </a:lnTo>
                  <a:lnTo>
                    <a:pt x="305086" y="119539"/>
                  </a:lnTo>
                  <a:lnTo>
                    <a:pt x="308705" y="119063"/>
                  </a:lnTo>
                  <a:lnTo>
                    <a:pt x="308229" y="115443"/>
                  </a:lnTo>
                  <a:lnTo>
                    <a:pt x="304419" y="114205"/>
                  </a:lnTo>
                  <a:lnTo>
                    <a:pt x="310610" y="106108"/>
                  </a:lnTo>
                  <a:lnTo>
                    <a:pt x="309944" y="100774"/>
                  </a:lnTo>
                  <a:lnTo>
                    <a:pt x="312992" y="96679"/>
                  </a:lnTo>
                  <a:lnTo>
                    <a:pt x="312134" y="89630"/>
                  </a:lnTo>
                  <a:lnTo>
                    <a:pt x="314135" y="91154"/>
                  </a:lnTo>
                  <a:lnTo>
                    <a:pt x="319564" y="90392"/>
                  </a:lnTo>
                  <a:lnTo>
                    <a:pt x="333089" y="95917"/>
                  </a:lnTo>
                  <a:lnTo>
                    <a:pt x="335280" y="99250"/>
                  </a:lnTo>
                  <a:lnTo>
                    <a:pt x="327851" y="98393"/>
                  </a:lnTo>
                  <a:lnTo>
                    <a:pt x="328327" y="101917"/>
                  </a:lnTo>
                  <a:lnTo>
                    <a:pt x="332232" y="103251"/>
                  </a:lnTo>
                  <a:lnTo>
                    <a:pt x="337376" y="100774"/>
                  </a:lnTo>
                  <a:lnTo>
                    <a:pt x="339662" y="104108"/>
                  </a:lnTo>
                  <a:lnTo>
                    <a:pt x="345853" y="96012"/>
                  </a:lnTo>
                  <a:lnTo>
                    <a:pt x="355949" y="89249"/>
                  </a:lnTo>
                  <a:lnTo>
                    <a:pt x="353663" y="85915"/>
                  </a:lnTo>
                  <a:lnTo>
                    <a:pt x="352044" y="73438"/>
                  </a:lnTo>
                  <a:lnTo>
                    <a:pt x="365760" y="80677"/>
                  </a:lnTo>
                  <a:lnTo>
                    <a:pt x="371761" y="70866"/>
                  </a:lnTo>
                  <a:lnTo>
                    <a:pt x="380047" y="64294"/>
                  </a:lnTo>
                  <a:lnTo>
                    <a:pt x="384143" y="67342"/>
                  </a:lnTo>
                  <a:lnTo>
                    <a:pt x="383000" y="72962"/>
                  </a:lnTo>
                  <a:lnTo>
                    <a:pt x="385477" y="78105"/>
                  </a:lnTo>
                  <a:lnTo>
                    <a:pt x="389382" y="79343"/>
                  </a:lnTo>
                  <a:lnTo>
                    <a:pt x="389572" y="81153"/>
                  </a:lnTo>
                  <a:lnTo>
                    <a:pt x="388048" y="83153"/>
                  </a:lnTo>
                  <a:lnTo>
                    <a:pt x="390525" y="88297"/>
                  </a:lnTo>
                  <a:lnTo>
                    <a:pt x="386715" y="86963"/>
                  </a:lnTo>
                  <a:lnTo>
                    <a:pt x="386905" y="88773"/>
                  </a:lnTo>
                  <a:lnTo>
                    <a:pt x="390716" y="90106"/>
                  </a:lnTo>
                  <a:lnTo>
                    <a:pt x="394811" y="93154"/>
                  </a:lnTo>
                  <a:lnTo>
                    <a:pt x="396621" y="92869"/>
                  </a:lnTo>
                  <a:lnTo>
                    <a:pt x="395954" y="87535"/>
                  </a:lnTo>
                  <a:lnTo>
                    <a:pt x="397669" y="87344"/>
                  </a:lnTo>
                  <a:lnTo>
                    <a:pt x="400241" y="92392"/>
                  </a:lnTo>
                  <a:lnTo>
                    <a:pt x="398431" y="92678"/>
                  </a:lnTo>
                  <a:lnTo>
                    <a:pt x="398907" y="96298"/>
                  </a:lnTo>
                  <a:lnTo>
                    <a:pt x="408813" y="102203"/>
                  </a:lnTo>
                  <a:lnTo>
                    <a:pt x="416433" y="104775"/>
                  </a:lnTo>
                  <a:lnTo>
                    <a:pt x="425482" y="103632"/>
                  </a:lnTo>
                  <a:lnTo>
                    <a:pt x="428816" y="101346"/>
                  </a:lnTo>
                  <a:lnTo>
                    <a:pt x="436245" y="102203"/>
                  </a:lnTo>
                  <a:lnTo>
                    <a:pt x="438626" y="92773"/>
                  </a:lnTo>
                  <a:lnTo>
                    <a:pt x="445865" y="91821"/>
                  </a:lnTo>
                  <a:lnTo>
                    <a:pt x="446627" y="84487"/>
                  </a:lnTo>
                  <a:lnTo>
                    <a:pt x="442627" y="81343"/>
                  </a:lnTo>
                  <a:lnTo>
                    <a:pt x="443960" y="77533"/>
                  </a:lnTo>
                  <a:lnTo>
                    <a:pt x="447580" y="77057"/>
                  </a:lnTo>
                  <a:lnTo>
                    <a:pt x="449580" y="78676"/>
                  </a:lnTo>
                  <a:lnTo>
                    <a:pt x="450247" y="84010"/>
                  </a:lnTo>
                  <a:lnTo>
                    <a:pt x="455676" y="83248"/>
                  </a:lnTo>
                  <a:lnTo>
                    <a:pt x="457962" y="86582"/>
                  </a:lnTo>
                  <a:lnTo>
                    <a:pt x="461296" y="84391"/>
                  </a:lnTo>
                  <a:lnTo>
                    <a:pt x="464915" y="83915"/>
                  </a:lnTo>
                  <a:lnTo>
                    <a:pt x="473012" y="90011"/>
                  </a:lnTo>
                  <a:lnTo>
                    <a:pt x="476821" y="91345"/>
                  </a:lnTo>
                  <a:lnTo>
                    <a:pt x="479965" y="87344"/>
                  </a:lnTo>
                  <a:lnTo>
                    <a:pt x="485585" y="88392"/>
                  </a:lnTo>
                  <a:lnTo>
                    <a:pt x="490347" y="96869"/>
                  </a:lnTo>
                  <a:lnTo>
                    <a:pt x="494157" y="98107"/>
                  </a:lnTo>
                  <a:lnTo>
                    <a:pt x="495776" y="96107"/>
                  </a:lnTo>
                  <a:lnTo>
                    <a:pt x="493014" y="89249"/>
                  </a:lnTo>
                  <a:lnTo>
                    <a:pt x="494538" y="87154"/>
                  </a:lnTo>
                  <a:lnTo>
                    <a:pt x="498158" y="86677"/>
                  </a:lnTo>
                  <a:lnTo>
                    <a:pt x="505778" y="89344"/>
                  </a:lnTo>
                  <a:lnTo>
                    <a:pt x="507111" y="85534"/>
                  </a:lnTo>
                  <a:lnTo>
                    <a:pt x="510730" y="85058"/>
                  </a:lnTo>
                  <a:lnTo>
                    <a:pt x="522446" y="90773"/>
                  </a:lnTo>
                  <a:lnTo>
                    <a:pt x="525589" y="86677"/>
                  </a:lnTo>
                  <a:lnTo>
                    <a:pt x="528923" y="84487"/>
                  </a:lnTo>
                  <a:lnTo>
                    <a:pt x="525113" y="83153"/>
                  </a:lnTo>
                  <a:lnTo>
                    <a:pt x="528447" y="80867"/>
                  </a:lnTo>
                  <a:lnTo>
                    <a:pt x="527971" y="77343"/>
                  </a:lnTo>
                  <a:lnTo>
                    <a:pt x="533400" y="76676"/>
                  </a:lnTo>
                  <a:lnTo>
                    <a:pt x="535591" y="79915"/>
                  </a:lnTo>
                  <a:lnTo>
                    <a:pt x="547783" y="74771"/>
                  </a:lnTo>
                  <a:lnTo>
                    <a:pt x="547306" y="71152"/>
                  </a:lnTo>
                  <a:lnTo>
                    <a:pt x="541401" y="68294"/>
                  </a:lnTo>
                  <a:lnTo>
                    <a:pt x="540925" y="64770"/>
                  </a:lnTo>
                  <a:lnTo>
                    <a:pt x="531209" y="60579"/>
                  </a:lnTo>
                  <a:lnTo>
                    <a:pt x="537496" y="52483"/>
                  </a:lnTo>
                  <a:lnTo>
                    <a:pt x="535496" y="50959"/>
                  </a:lnTo>
                  <a:lnTo>
                    <a:pt x="539020" y="50482"/>
                  </a:lnTo>
                  <a:lnTo>
                    <a:pt x="552736" y="43243"/>
                  </a:lnTo>
                  <a:lnTo>
                    <a:pt x="556260" y="42767"/>
                  </a:lnTo>
                  <a:lnTo>
                    <a:pt x="563023" y="38290"/>
                  </a:lnTo>
                  <a:lnTo>
                    <a:pt x="566642" y="37814"/>
                  </a:lnTo>
                  <a:lnTo>
                    <a:pt x="576263" y="41910"/>
                  </a:lnTo>
                  <a:lnTo>
                    <a:pt x="579406" y="37909"/>
                  </a:lnTo>
                  <a:lnTo>
                    <a:pt x="587026" y="40576"/>
                  </a:lnTo>
                  <a:lnTo>
                    <a:pt x="593979" y="37814"/>
                  </a:lnTo>
                  <a:lnTo>
                    <a:pt x="605219" y="39910"/>
                  </a:lnTo>
                  <a:lnTo>
                    <a:pt x="609981" y="33909"/>
                  </a:lnTo>
                  <a:lnTo>
                    <a:pt x="609505" y="30289"/>
                  </a:lnTo>
                  <a:lnTo>
                    <a:pt x="614172" y="24193"/>
                  </a:lnTo>
                  <a:lnTo>
                    <a:pt x="619506" y="23527"/>
                  </a:lnTo>
                  <a:lnTo>
                    <a:pt x="619030" y="20002"/>
                  </a:lnTo>
                  <a:lnTo>
                    <a:pt x="611981" y="8191"/>
                  </a:lnTo>
                  <a:lnTo>
                    <a:pt x="613315" y="4381"/>
                  </a:lnTo>
                  <a:lnTo>
                    <a:pt x="618554" y="1905"/>
                  </a:lnTo>
                  <a:lnTo>
                    <a:pt x="627697" y="2476"/>
                  </a:lnTo>
                  <a:lnTo>
                    <a:pt x="632841" y="0"/>
                  </a:lnTo>
                  <a:lnTo>
                    <a:pt x="638461" y="1048"/>
                  </a:lnTo>
                  <a:lnTo>
                    <a:pt x="635889" y="8668"/>
                  </a:lnTo>
                  <a:lnTo>
                    <a:pt x="636365" y="12192"/>
                  </a:lnTo>
                  <a:lnTo>
                    <a:pt x="649796" y="3238"/>
                  </a:lnTo>
                  <a:lnTo>
                    <a:pt x="661226" y="7144"/>
                  </a:lnTo>
                  <a:lnTo>
                    <a:pt x="659321" y="20098"/>
                  </a:lnTo>
                  <a:lnTo>
                    <a:pt x="660273" y="27241"/>
                  </a:lnTo>
                  <a:lnTo>
                    <a:pt x="669703" y="29623"/>
                  </a:lnTo>
                  <a:lnTo>
                    <a:pt x="667036" y="37147"/>
                  </a:lnTo>
                  <a:lnTo>
                    <a:pt x="668846" y="36957"/>
                  </a:lnTo>
                  <a:lnTo>
                    <a:pt x="673798" y="32671"/>
                  </a:lnTo>
                  <a:lnTo>
                    <a:pt x="679418" y="33718"/>
                  </a:lnTo>
                  <a:lnTo>
                    <a:pt x="684467" y="31242"/>
                  </a:lnTo>
                  <a:lnTo>
                    <a:pt x="702278" y="27051"/>
                  </a:lnTo>
                  <a:lnTo>
                    <a:pt x="708851" y="35242"/>
                  </a:lnTo>
                  <a:lnTo>
                    <a:pt x="710375" y="33242"/>
                  </a:lnTo>
                  <a:lnTo>
                    <a:pt x="713613" y="43720"/>
                  </a:lnTo>
                  <a:lnTo>
                    <a:pt x="725329" y="49435"/>
                  </a:lnTo>
                  <a:lnTo>
                    <a:pt x="730282" y="45148"/>
                  </a:lnTo>
                  <a:lnTo>
                    <a:pt x="737045" y="55054"/>
                  </a:lnTo>
                  <a:lnTo>
                    <a:pt x="737711" y="60484"/>
                  </a:lnTo>
                  <a:lnTo>
                    <a:pt x="744093" y="66865"/>
                  </a:lnTo>
                  <a:lnTo>
                    <a:pt x="746570" y="72009"/>
                  </a:lnTo>
                  <a:lnTo>
                    <a:pt x="757238" y="56102"/>
                  </a:lnTo>
                  <a:lnTo>
                    <a:pt x="769144" y="49054"/>
                  </a:lnTo>
                  <a:lnTo>
                    <a:pt x="776097" y="46291"/>
                  </a:lnTo>
                  <a:lnTo>
                    <a:pt x="779907" y="47625"/>
                  </a:lnTo>
                  <a:lnTo>
                    <a:pt x="780193" y="49435"/>
                  </a:lnTo>
                  <a:lnTo>
                    <a:pt x="794956" y="51054"/>
                  </a:lnTo>
                  <a:lnTo>
                    <a:pt x="794956" y="51054"/>
                  </a:lnTo>
                  <a:lnTo>
                    <a:pt x="791909" y="55150"/>
                  </a:lnTo>
                  <a:lnTo>
                    <a:pt x="793909" y="56674"/>
                  </a:lnTo>
                  <a:lnTo>
                    <a:pt x="799529" y="57721"/>
                  </a:lnTo>
                  <a:lnTo>
                    <a:pt x="798005" y="59722"/>
                  </a:lnTo>
                  <a:lnTo>
                    <a:pt x="802005" y="62865"/>
                  </a:lnTo>
                  <a:lnTo>
                    <a:pt x="811721" y="66961"/>
                  </a:lnTo>
                  <a:lnTo>
                    <a:pt x="830294" y="82677"/>
                  </a:lnTo>
                  <a:lnTo>
                    <a:pt x="828866" y="86487"/>
                  </a:lnTo>
                  <a:lnTo>
                    <a:pt x="831152" y="89821"/>
                  </a:lnTo>
                  <a:lnTo>
                    <a:pt x="826294" y="94107"/>
                  </a:lnTo>
                  <a:lnTo>
                    <a:pt x="834676" y="102013"/>
                  </a:lnTo>
                  <a:lnTo>
                    <a:pt x="836200" y="100013"/>
                  </a:lnTo>
                  <a:lnTo>
                    <a:pt x="847249" y="114871"/>
                  </a:lnTo>
                  <a:lnTo>
                    <a:pt x="844201" y="118872"/>
                  </a:lnTo>
                  <a:lnTo>
                    <a:pt x="850297" y="123539"/>
                  </a:lnTo>
                  <a:lnTo>
                    <a:pt x="843820" y="129826"/>
                  </a:lnTo>
                  <a:lnTo>
                    <a:pt x="842486" y="133636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7" name="Volný tvar: obrazec 56">
              <a:extLst>
                <a:ext uri="{FF2B5EF4-FFF2-40B4-BE49-F238E27FC236}">
                  <a16:creationId xmlns:a16="http://schemas.microsoft.com/office/drawing/2014/main" id="{9BE8FECD-B418-B1E1-8E9E-E0B8A600DE3A}"/>
                </a:ext>
              </a:extLst>
            </p:cNvPr>
            <p:cNvSpPr/>
            <p:nvPr userDrawn="1"/>
          </p:nvSpPr>
          <p:spPr>
            <a:xfrm>
              <a:off x="7375825" y="4317777"/>
              <a:ext cx="689609" cy="454818"/>
            </a:xfrm>
            <a:custGeom>
              <a:avLst/>
              <a:gdLst>
                <a:gd name="connsiteX0" fmla="*/ 4667 w 689609"/>
                <a:gd name="connsiteY0" fmla="*/ 93250 h 454818"/>
                <a:gd name="connsiteX1" fmla="*/ 19907 w 689609"/>
                <a:gd name="connsiteY1" fmla="*/ 84010 h 454818"/>
                <a:gd name="connsiteX2" fmla="*/ 19240 w 689609"/>
                <a:gd name="connsiteY2" fmla="*/ 78676 h 454818"/>
                <a:gd name="connsiteX3" fmla="*/ 26384 w 689609"/>
                <a:gd name="connsiteY3" fmla="*/ 77724 h 454818"/>
                <a:gd name="connsiteX4" fmla="*/ 34004 w 689609"/>
                <a:gd name="connsiteY4" fmla="*/ 65818 h 454818"/>
                <a:gd name="connsiteX5" fmla="*/ 33719 w 689609"/>
                <a:gd name="connsiteY5" fmla="*/ 64008 h 454818"/>
                <a:gd name="connsiteX6" fmla="*/ 49625 w 689609"/>
                <a:gd name="connsiteY6" fmla="*/ 60103 h 454818"/>
                <a:gd name="connsiteX7" fmla="*/ 55721 w 689609"/>
                <a:gd name="connsiteY7" fmla="*/ 64770 h 454818"/>
                <a:gd name="connsiteX8" fmla="*/ 59055 w 689609"/>
                <a:gd name="connsiteY8" fmla="*/ 62484 h 454818"/>
                <a:gd name="connsiteX9" fmla="*/ 68104 w 689609"/>
                <a:gd name="connsiteY9" fmla="*/ 61246 h 454818"/>
                <a:gd name="connsiteX10" fmla="*/ 77914 w 689609"/>
                <a:gd name="connsiteY10" fmla="*/ 52768 h 454818"/>
                <a:gd name="connsiteX11" fmla="*/ 84011 w 689609"/>
                <a:gd name="connsiteY11" fmla="*/ 57340 h 454818"/>
                <a:gd name="connsiteX12" fmla="*/ 98870 w 689609"/>
                <a:gd name="connsiteY12" fmla="*/ 59055 h 454818"/>
                <a:gd name="connsiteX13" fmla="*/ 105346 w 689609"/>
                <a:gd name="connsiteY13" fmla="*/ 52768 h 454818"/>
                <a:gd name="connsiteX14" fmla="*/ 101155 w 689609"/>
                <a:gd name="connsiteY14" fmla="*/ 62389 h 454818"/>
                <a:gd name="connsiteX15" fmla="*/ 104965 w 689609"/>
                <a:gd name="connsiteY15" fmla="*/ 63627 h 454818"/>
                <a:gd name="connsiteX16" fmla="*/ 108109 w 689609"/>
                <a:gd name="connsiteY16" fmla="*/ 59626 h 454818"/>
                <a:gd name="connsiteX17" fmla="*/ 111919 w 689609"/>
                <a:gd name="connsiteY17" fmla="*/ 60960 h 454818"/>
                <a:gd name="connsiteX18" fmla="*/ 111347 w 689609"/>
                <a:gd name="connsiteY18" fmla="*/ 42863 h 454818"/>
                <a:gd name="connsiteX19" fmla="*/ 108585 w 689609"/>
                <a:gd name="connsiteY19" fmla="*/ 36004 h 454818"/>
                <a:gd name="connsiteX20" fmla="*/ 109442 w 689609"/>
                <a:gd name="connsiteY20" fmla="*/ 28575 h 454818"/>
                <a:gd name="connsiteX21" fmla="*/ 106489 w 689609"/>
                <a:gd name="connsiteY21" fmla="*/ 19907 h 454818"/>
                <a:gd name="connsiteX22" fmla="*/ 113824 w 689609"/>
                <a:gd name="connsiteY22" fmla="*/ 6287 h 454818"/>
                <a:gd name="connsiteX23" fmla="*/ 118967 w 689609"/>
                <a:gd name="connsiteY23" fmla="*/ 3810 h 454818"/>
                <a:gd name="connsiteX24" fmla="*/ 120301 w 689609"/>
                <a:gd name="connsiteY24" fmla="*/ 0 h 454818"/>
                <a:gd name="connsiteX25" fmla="*/ 125921 w 689609"/>
                <a:gd name="connsiteY25" fmla="*/ 1048 h 454818"/>
                <a:gd name="connsiteX26" fmla="*/ 126587 w 689609"/>
                <a:gd name="connsiteY26" fmla="*/ 6382 h 454818"/>
                <a:gd name="connsiteX27" fmla="*/ 132493 w 689609"/>
                <a:gd name="connsiteY27" fmla="*/ 9239 h 454818"/>
                <a:gd name="connsiteX28" fmla="*/ 134779 w 689609"/>
                <a:gd name="connsiteY28" fmla="*/ 12573 h 454818"/>
                <a:gd name="connsiteX29" fmla="*/ 141542 w 689609"/>
                <a:gd name="connsiteY29" fmla="*/ 22574 h 454818"/>
                <a:gd name="connsiteX30" fmla="*/ 144018 w 689609"/>
                <a:gd name="connsiteY30" fmla="*/ 27622 h 454818"/>
                <a:gd name="connsiteX31" fmla="*/ 141446 w 689609"/>
                <a:gd name="connsiteY31" fmla="*/ 35242 h 454818"/>
                <a:gd name="connsiteX32" fmla="*/ 152400 w 689609"/>
                <a:gd name="connsiteY32" fmla="*/ 35623 h 454818"/>
                <a:gd name="connsiteX33" fmla="*/ 158687 w 689609"/>
                <a:gd name="connsiteY33" fmla="*/ 27527 h 454818"/>
                <a:gd name="connsiteX34" fmla="*/ 165545 w 689609"/>
                <a:gd name="connsiteY34" fmla="*/ 52006 h 454818"/>
                <a:gd name="connsiteX35" fmla="*/ 169640 w 689609"/>
                <a:gd name="connsiteY35" fmla="*/ 55054 h 454818"/>
                <a:gd name="connsiteX36" fmla="*/ 170117 w 689609"/>
                <a:gd name="connsiteY36" fmla="*/ 58674 h 454818"/>
                <a:gd name="connsiteX37" fmla="*/ 175451 w 689609"/>
                <a:gd name="connsiteY37" fmla="*/ 58007 h 454818"/>
                <a:gd name="connsiteX38" fmla="*/ 185833 w 689609"/>
                <a:gd name="connsiteY38" fmla="*/ 67532 h 454818"/>
                <a:gd name="connsiteX39" fmla="*/ 189452 w 689609"/>
                <a:gd name="connsiteY39" fmla="*/ 66961 h 454818"/>
                <a:gd name="connsiteX40" fmla="*/ 202216 w 689609"/>
                <a:gd name="connsiteY40" fmla="*/ 52578 h 454818"/>
                <a:gd name="connsiteX41" fmla="*/ 201359 w 689609"/>
                <a:gd name="connsiteY41" fmla="*/ 60007 h 454818"/>
                <a:gd name="connsiteX42" fmla="*/ 194881 w 689609"/>
                <a:gd name="connsiteY42" fmla="*/ 66294 h 454818"/>
                <a:gd name="connsiteX43" fmla="*/ 215360 w 689609"/>
                <a:gd name="connsiteY43" fmla="*/ 69056 h 454818"/>
                <a:gd name="connsiteX44" fmla="*/ 220504 w 689609"/>
                <a:gd name="connsiteY44" fmla="*/ 66484 h 454818"/>
                <a:gd name="connsiteX45" fmla="*/ 226314 w 689609"/>
                <a:gd name="connsiteY45" fmla="*/ 69342 h 454818"/>
                <a:gd name="connsiteX46" fmla="*/ 230791 w 689609"/>
                <a:gd name="connsiteY46" fmla="*/ 61531 h 454818"/>
                <a:gd name="connsiteX47" fmla="*/ 236125 w 689609"/>
                <a:gd name="connsiteY47" fmla="*/ 60865 h 454818"/>
                <a:gd name="connsiteX48" fmla="*/ 237744 w 689609"/>
                <a:gd name="connsiteY48" fmla="*/ 58769 h 454818"/>
                <a:gd name="connsiteX49" fmla="*/ 243364 w 689609"/>
                <a:gd name="connsiteY49" fmla="*/ 59817 h 454818"/>
                <a:gd name="connsiteX50" fmla="*/ 248507 w 689609"/>
                <a:gd name="connsiteY50" fmla="*/ 57340 h 454818"/>
                <a:gd name="connsiteX51" fmla="*/ 262414 w 689609"/>
                <a:gd name="connsiteY51" fmla="*/ 51911 h 454818"/>
                <a:gd name="connsiteX52" fmla="*/ 275844 w 689609"/>
                <a:gd name="connsiteY52" fmla="*/ 42863 h 454818"/>
                <a:gd name="connsiteX53" fmla="*/ 286893 w 689609"/>
                <a:gd name="connsiteY53" fmla="*/ 43243 h 454818"/>
                <a:gd name="connsiteX54" fmla="*/ 288893 w 689609"/>
                <a:gd name="connsiteY54" fmla="*/ 44767 h 454818"/>
                <a:gd name="connsiteX55" fmla="*/ 293275 w 689609"/>
                <a:gd name="connsiteY55" fmla="*/ 64103 h 454818"/>
                <a:gd name="connsiteX56" fmla="*/ 298895 w 689609"/>
                <a:gd name="connsiteY56" fmla="*/ 65246 h 454818"/>
                <a:gd name="connsiteX57" fmla="*/ 302990 w 689609"/>
                <a:gd name="connsiteY57" fmla="*/ 68294 h 454818"/>
                <a:gd name="connsiteX58" fmla="*/ 302133 w 689609"/>
                <a:gd name="connsiteY58" fmla="*/ 75629 h 454818"/>
                <a:gd name="connsiteX59" fmla="*/ 304324 w 689609"/>
                <a:gd name="connsiteY59" fmla="*/ 78962 h 454818"/>
                <a:gd name="connsiteX60" fmla="*/ 306038 w 689609"/>
                <a:gd name="connsiteY60" fmla="*/ 91440 h 454818"/>
                <a:gd name="connsiteX61" fmla="*/ 303181 w 689609"/>
                <a:gd name="connsiteY61" fmla="*/ 97250 h 454818"/>
                <a:gd name="connsiteX62" fmla="*/ 298418 w 689609"/>
                <a:gd name="connsiteY62" fmla="*/ 103346 h 454818"/>
                <a:gd name="connsiteX63" fmla="*/ 298895 w 689609"/>
                <a:gd name="connsiteY63" fmla="*/ 106871 h 454818"/>
                <a:gd name="connsiteX64" fmla="*/ 294513 w 689609"/>
                <a:gd name="connsiteY64" fmla="*/ 114776 h 454818"/>
                <a:gd name="connsiteX65" fmla="*/ 294989 w 689609"/>
                <a:gd name="connsiteY65" fmla="*/ 118300 h 454818"/>
                <a:gd name="connsiteX66" fmla="*/ 297466 w 689609"/>
                <a:gd name="connsiteY66" fmla="*/ 123444 h 454818"/>
                <a:gd name="connsiteX67" fmla="*/ 300800 w 689609"/>
                <a:gd name="connsiteY67" fmla="*/ 121158 h 454818"/>
                <a:gd name="connsiteX68" fmla="*/ 303467 w 689609"/>
                <a:gd name="connsiteY68" fmla="*/ 113538 h 454818"/>
                <a:gd name="connsiteX69" fmla="*/ 323660 w 689609"/>
                <a:gd name="connsiteY69" fmla="*/ 114490 h 454818"/>
                <a:gd name="connsiteX70" fmla="*/ 324898 w 689609"/>
                <a:gd name="connsiteY70" fmla="*/ 123444 h 454818"/>
                <a:gd name="connsiteX71" fmla="*/ 333661 w 689609"/>
                <a:gd name="connsiteY71" fmla="*/ 120396 h 454818"/>
                <a:gd name="connsiteX72" fmla="*/ 338995 w 689609"/>
                <a:gd name="connsiteY72" fmla="*/ 119729 h 454818"/>
                <a:gd name="connsiteX73" fmla="*/ 341947 w 689609"/>
                <a:gd name="connsiteY73" fmla="*/ 128397 h 454818"/>
                <a:gd name="connsiteX74" fmla="*/ 346043 w 689609"/>
                <a:gd name="connsiteY74" fmla="*/ 131445 h 454818"/>
                <a:gd name="connsiteX75" fmla="*/ 346329 w 689609"/>
                <a:gd name="connsiteY75" fmla="*/ 147733 h 454818"/>
                <a:gd name="connsiteX76" fmla="*/ 351472 w 689609"/>
                <a:gd name="connsiteY76" fmla="*/ 145256 h 454818"/>
                <a:gd name="connsiteX77" fmla="*/ 351758 w 689609"/>
                <a:gd name="connsiteY77" fmla="*/ 147066 h 454818"/>
                <a:gd name="connsiteX78" fmla="*/ 354616 w 689609"/>
                <a:gd name="connsiteY78" fmla="*/ 141256 h 454818"/>
                <a:gd name="connsiteX79" fmla="*/ 360521 w 689609"/>
                <a:gd name="connsiteY79" fmla="*/ 144018 h 454818"/>
                <a:gd name="connsiteX80" fmla="*/ 360236 w 689609"/>
                <a:gd name="connsiteY80" fmla="*/ 142304 h 454818"/>
                <a:gd name="connsiteX81" fmla="*/ 367665 w 689609"/>
                <a:gd name="connsiteY81" fmla="*/ 143065 h 454818"/>
                <a:gd name="connsiteX82" fmla="*/ 372618 w 689609"/>
                <a:gd name="connsiteY82" fmla="*/ 138874 h 454818"/>
                <a:gd name="connsiteX83" fmla="*/ 378428 w 689609"/>
                <a:gd name="connsiteY83" fmla="*/ 141732 h 454818"/>
                <a:gd name="connsiteX84" fmla="*/ 381190 w 689609"/>
                <a:gd name="connsiteY84" fmla="*/ 148590 h 454818"/>
                <a:gd name="connsiteX85" fmla="*/ 386334 w 689609"/>
                <a:gd name="connsiteY85" fmla="*/ 146113 h 454818"/>
                <a:gd name="connsiteX86" fmla="*/ 390430 w 689609"/>
                <a:gd name="connsiteY86" fmla="*/ 149162 h 454818"/>
                <a:gd name="connsiteX87" fmla="*/ 400526 w 689609"/>
                <a:gd name="connsiteY87" fmla="*/ 142399 h 454818"/>
                <a:gd name="connsiteX88" fmla="*/ 408622 w 689609"/>
                <a:gd name="connsiteY88" fmla="*/ 148590 h 454818"/>
                <a:gd name="connsiteX89" fmla="*/ 407289 w 689609"/>
                <a:gd name="connsiteY89" fmla="*/ 152400 h 454818"/>
                <a:gd name="connsiteX90" fmla="*/ 413385 w 689609"/>
                <a:gd name="connsiteY90" fmla="*/ 156972 h 454818"/>
                <a:gd name="connsiteX91" fmla="*/ 416528 w 689609"/>
                <a:gd name="connsiteY91" fmla="*/ 152971 h 454818"/>
                <a:gd name="connsiteX92" fmla="*/ 424339 w 689609"/>
                <a:gd name="connsiteY92" fmla="*/ 157353 h 454818"/>
                <a:gd name="connsiteX93" fmla="*/ 421958 w 689609"/>
                <a:gd name="connsiteY93" fmla="*/ 166783 h 454818"/>
                <a:gd name="connsiteX94" fmla="*/ 422434 w 689609"/>
                <a:gd name="connsiteY94" fmla="*/ 170307 h 454818"/>
                <a:gd name="connsiteX95" fmla="*/ 421386 w 689609"/>
                <a:gd name="connsiteY95" fmla="*/ 175927 h 454818"/>
                <a:gd name="connsiteX96" fmla="*/ 421862 w 689609"/>
                <a:gd name="connsiteY96" fmla="*/ 179451 h 454818"/>
                <a:gd name="connsiteX97" fmla="*/ 417195 w 689609"/>
                <a:gd name="connsiteY97" fmla="*/ 185547 h 454818"/>
                <a:gd name="connsiteX98" fmla="*/ 419195 w 689609"/>
                <a:gd name="connsiteY98" fmla="*/ 187071 h 454818"/>
                <a:gd name="connsiteX99" fmla="*/ 417862 w 689609"/>
                <a:gd name="connsiteY99" fmla="*/ 190881 h 454818"/>
                <a:gd name="connsiteX100" fmla="*/ 418147 w 689609"/>
                <a:gd name="connsiteY100" fmla="*/ 192691 h 454818"/>
                <a:gd name="connsiteX101" fmla="*/ 420148 w 689609"/>
                <a:gd name="connsiteY101" fmla="*/ 194215 h 454818"/>
                <a:gd name="connsiteX102" fmla="*/ 428054 w 689609"/>
                <a:gd name="connsiteY102" fmla="*/ 198596 h 454818"/>
                <a:gd name="connsiteX103" fmla="*/ 431197 w 689609"/>
                <a:gd name="connsiteY103" fmla="*/ 194596 h 454818"/>
                <a:gd name="connsiteX104" fmla="*/ 435007 w 689609"/>
                <a:gd name="connsiteY104" fmla="*/ 195834 h 454818"/>
                <a:gd name="connsiteX105" fmla="*/ 438340 w 689609"/>
                <a:gd name="connsiteY105" fmla="*/ 193643 h 454818"/>
                <a:gd name="connsiteX106" fmla="*/ 439293 w 689609"/>
                <a:gd name="connsiteY106" fmla="*/ 200692 h 454818"/>
                <a:gd name="connsiteX107" fmla="*/ 443484 w 689609"/>
                <a:gd name="connsiteY107" fmla="*/ 191071 h 454818"/>
                <a:gd name="connsiteX108" fmla="*/ 455867 w 689609"/>
                <a:gd name="connsiteY108" fmla="*/ 187642 h 454818"/>
                <a:gd name="connsiteX109" fmla="*/ 459296 w 689609"/>
                <a:gd name="connsiteY109" fmla="*/ 199930 h 454818"/>
                <a:gd name="connsiteX110" fmla="*/ 467392 w 689609"/>
                <a:gd name="connsiteY110" fmla="*/ 206121 h 454818"/>
                <a:gd name="connsiteX111" fmla="*/ 478060 w 689609"/>
                <a:gd name="connsiteY111" fmla="*/ 217360 h 454818"/>
                <a:gd name="connsiteX112" fmla="*/ 481584 w 689609"/>
                <a:gd name="connsiteY112" fmla="*/ 216884 h 454818"/>
                <a:gd name="connsiteX113" fmla="*/ 492252 w 689609"/>
                <a:gd name="connsiteY113" fmla="*/ 228219 h 454818"/>
                <a:gd name="connsiteX114" fmla="*/ 507302 w 689609"/>
                <a:gd name="connsiteY114" fmla="*/ 217170 h 454818"/>
                <a:gd name="connsiteX115" fmla="*/ 509302 w 689609"/>
                <a:gd name="connsiteY115" fmla="*/ 218694 h 454818"/>
                <a:gd name="connsiteX116" fmla="*/ 514445 w 689609"/>
                <a:gd name="connsiteY116" fmla="*/ 216217 h 454818"/>
                <a:gd name="connsiteX117" fmla="*/ 516255 w 689609"/>
                <a:gd name="connsiteY117" fmla="*/ 215932 h 454818"/>
                <a:gd name="connsiteX118" fmla="*/ 521113 w 689609"/>
                <a:gd name="connsiteY118" fmla="*/ 211646 h 454818"/>
                <a:gd name="connsiteX119" fmla="*/ 523399 w 689609"/>
                <a:gd name="connsiteY119" fmla="*/ 214979 h 454818"/>
                <a:gd name="connsiteX120" fmla="*/ 526542 w 689609"/>
                <a:gd name="connsiteY120" fmla="*/ 210979 h 454818"/>
                <a:gd name="connsiteX121" fmla="*/ 534924 w 689609"/>
                <a:gd name="connsiteY121" fmla="*/ 218884 h 454818"/>
                <a:gd name="connsiteX122" fmla="*/ 550640 w 689609"/>
                <a:gd name="connsiteY122" fmla="*/ 213170 h 454818"/>
                <a:gd name="connsiteX123" fmla="*/ 551212 w 689609"/>
                <a:gd name="connsiteY123" fmla="*/ 204025 h 454818"/>
                <a:gd name="connsiteX124" fmla="*/ 558927 w 689609"/>
                <a:gd name="connsiteY124" fmla="*/ 221171 h 454818"/>
                <a:gd name="connsiteX125" fmla="*/ 561213 w 689609"/>
                <a:gd name="connsiteY125" fmla="*/ 224504 h 454818"/>
                <a:gd name="connsiteX126" fmla="*/ 573119 w 689609"/>
                <a:gd name="connsiteY126" fmla="*/ 217456 h 454818"/>
                <a:gd name="connsiteX127" fmla="*/ 592455 w 689609"/>
                <a:gd name="connsiteY127" fmla="*/ 225742 h 454818"/>
                <a:gd name="connsiteX128" fmla="*/ 600837 w 689609"/>
                <a:gd name="connsiteY128" fmla="*/ 233743 h 454818"/>
                <a:gd name="connsiteX129" fmla="*/ 597694 w 689609"/>
                <a:gd name="connsiteY129" fmla="*/ 237839 h 454818"/>
                <a:gd name="connsiteX130" fmla="*/ 596837 w 689609"/>
                <a:gd name="connsiteY130" fmla="*/ 245173 h 454818"/>
                <a:gd name="connsiteX131" fmla="*/ 588455 w 689609"/>
                <a:gd name="connsiteY131" fmla="*/ 264414 h 454818"/>
                <a:gd name="connsiteX132" fmla="*/ 598360 w 689609"/>
                <a:gd name="connsiteY132" fmla="*/ 270320 h 454818"/>
                <a:gd name="connsiteX133" fmla="*/ 606648 w 689609"/>
                <a:gd name="connsiteY133" fmla="*/ 263842 h 454818"/>
                <a:gd name="connsiteX134" fmla="*/ 611982 w 689609"/>
                <a:gd name="connsiteY134" fmla="*/ 263080 h 454818"/>
                <a:gd name="connsiteX135" fmla="*/ 632555 w 689609"/>
                <a:gd name="connsiteY135" fmla="*/ 280321 h 454818"/>
                <a:gd name="connsiteX136" fmla="*/ 646938 w 689609"/>
                <a:gd name="connsiteY136" fmla="*/ 278416 h 454818"/>
                <a:gd name="connsiteX137" fmla="*/ 661035 w 689609"/>
                <a:gd name="connsiteY137" fmla="*/ 301942 h 454818"/>
                <a:gd name="connsiteX138" fmla="*/ 670084 w 689609"/>
                <a:gd name="connsiteY138" fmla="*/ 315182 h 454818"/>
                <a:gd name="connsiteX139" fmla="*/ 668750 w 689609"/>
                <a:gd name="connsiteY139" fmla="*/ 318992 h 454818"/>
                <a:gd name="connsiteX140" fmla="*/ 672846 w 689609"/>
                <a:gd name="connsiteY140" fmla="*/ 322135 h 454818"/>
                <a:gd name="connsiteX141" fmla="*/ 681799 w 689609"/>
                <a:gd name="connsiteY141" fmla="*/ 320992 h 454818"/>
                <a:gd name="connsiteX142" fmla="*/ 680466 w 689609"/>
                <a:gd name="connsiteY142" fmla="*/ 324707 h 454818"/>
                <a:gd name="connsiteX143" fmla="*/ 680752 w 689609"/>
                <a:gd name="connsiteY143" fmla="*/ 326517 h 454818"/>
                <a:gd name="connsiteX144" fmla="*/ 678942 w 689609"/>
                <a:gd name="connsiteY144" fmla="*/ 326707 h 454818"/>
                <a:gd name="connsiteX145" fmla="*/ 679894 w 689609"/>
                <a:gd name="connsiteY145" fmla="*/ 333851 h 454818"/>
                <a:gd name="connsiteX146" fmla="*/ 689610 w 689609"/>
                <a:gd name="connsiteY146" fmla="*/ 352520 h 454818"/>
                <a:gd name="connsiteX147" fmla="*/ 680466 w 689609"/>
                <a:gd name="connsiteY147" fmla="*/ 351949 h 454818"/>
                <a:gd name="connsiteX148" fmla="*/ 675322 w 689609"/>
                <a:gd name="connsiteY148" fmla="*/ 354425 h 454818"/>
                <a:gd name="connsiteX149" fmla="*/ 667226 w 689609"/>
                <a:gd name="connsiteY149" fmla="*/ 362712 h 454818"/>
                <a:gd name="connsiteX150" fmla="*/ 668465 w 689609"/>
                <a:gd name="connsiteY150" fmla="*/ 371665 h 454818"/>
                <a:gd name="connsiteX151" fmla="*/ 650272 w 689609"/>
                <a:gd name="connsiteY151" fmla="*/ 372237 h 454818"/>
                <a:gd name="connsiteX152" fmla="*/ 645509 w 689609"/>
                <a:gd name="connsiteY152" fmla="*/ 378333 h 454818"/>
                <a:gd name="connsiteX153" fmla="*/ 645128 w 689609"/>
                <a:gd name="connsiteY153" fmla="*/ 389191 h 454818"/>
                <a:gd name="connsiteX154" fmla="*/ 638651 w 689609"/>
                <a:gd name="connsiteY154" fmla="*/ 395573 h 454818"/>
                <a:gd name="connsiteX155" fmla="*/ 629507 w 689609"/>
                <a:gd name="connsiteY155" fmla="*/ 394906 h 454818"/>
                <a:gd name="connsiteX156" fmla="*/ 622554 w 689609"/>
                <a:gd name="connsiteY156" fmla="*/ 397669 h 454818"/>
                <a:gd name="connsiteX157" fmla="*/ 618649 w 689609"/>
                <a:gd name="connsiteY157" fmla="*/ 396335 h 454818"/>
                <a:gd name="connsiteX158" fmla="*/ 608552 w 689609"/>
                <a:gd name="connsiteY158" fmla="*/ 388620 h 454818"/>
                <a:gd name="connsiteX159" fmla="*/ 601790 w 689609"/>
                <a:gd name="connsiteY159" fmla="*/ 393192 h 454818"/>
                <a:gd name="connsiteX160" fmla="*/ 608171 w 689609"/>
                <a:gd name="connsiteY160" fmla="*/ 399574 h 454818"/>
                <a:gd name="connsiteX161" fmla="*/ 606838 w 689609"/>
                <a:gd name="connsiteY161" fmla="*/ 403384 h 454818"/>
                <a:gd name="connsiteX162" fmla="*/ 601885 w 689609"/>
                <a:gd name="connsiteY162" fmla="*/ 407670 h 454818"/>
                <a:gd name="connsiteX163" fmla="*/ 594265 w 689609"/>
                <a:gd name="connsiteY163" fmla="*/ 405003 h 454818"/>
                <a:gd name="connsiteX164" fmla="*/ 584645 w 689609"/>
                <a:gd name="connsiteY164" fmla="*/ 415385 h 454818"/>
                <a:gd name="connsiteX165" fmla="*/ 577215 w 689609"/>
                <a:gd name="connsiteY165" fmla="*/ 414528 h 454818"/>
                <a:gd name="connsiteX166" fmla="*/ 574453 w 689609"/>
                <a:gd name="connsiteY166" fmla="*/ 407670 h 454818"/>
                <a:gd name="connsiteX167" fmla="*/ 576167 w 689609"/>
                <a:gd name="connsiteY167" fmla="*/ 392906 h 454818"/>
                <a:gd name="connsiteX168" fmla="*/ 573310 w 689609"/>
                <a:gd name="connsiteY168" fmla="*/ 398716 h 454818"/>
                <a:gd name="connsiteX169" fmla="*/ 571310 w 689609"/>
                <a:gd name="connsiteY169" fmla="*/ 397192 h 454818"/>
                <a:gd name="connsiteX170" fmla="*/ 568833 w 689609"/>
                <a:gd name="connsiteY170" fmla="*/ 406622 h 454818"/>
                <a:gd name="connsiteX171" fmla="*/ 568357 w 689609"/>
                <a:gd name="connsiteY171" fmla="*/ 403003 h 454818"/>
                <a:gd name="connsiteX172" fmla="*/ 566833 w 689609"/>
                <a:gd name="connsiteY172" fmla="*/ 405003 h 454818"/>
                <a:gd name="connsiteX173" fmla="*/ 562832 w 689609"/>
                <a:gd name="connsiteY173" fmla="*/ 401955 h 454818"/>
                <a:gd name="connsiteX174" fmla="*/ 541306 w 689609"/>
                <a:gd name="connsiteY174" fmla="*/ 377571 h 454818"/>
                <a:gd name="connsiteX175" fmla="*/ 537496 w 689609"/>
                <a:gd name="connsiteY175" fmla="*/ 376333 h 454818"/>
                <a:gd name="connsiteX176" fmla="*/ 514731 w 689609"/>
                <a:gd name="connsiteY176" fmla="*/ 370237 h 454818"/>
                <a:gd name="connsiteX177" fmla="*/ 506635 w 689609"/>
                <a:gd name="connsiteY177" fmla="*/ 378523 h 454818"/>
                <a:gd name="connsiteX178" fmla="*/ 507111 w 689609"/>
                <a:gd name="connsiteY178" fmla="*/ 382143 h 454818"/>
                <a:gd name="connsiteX179" fmla="*/ 499491 w 689609"/>
                <a:gd name="connsiteY179" fmla="*/ 379476 h 454818"/>
                <a:gd name="connsiteX180" fmla="*/ 495490 w 689609"/>
                <a:gd name="connsiteY180" fmla="*/ 390906 h 454818"/>
                <a:gd name="connsiteX181" fmla="*/ 492919 w 689609"/>
                <a:gd name="connsiteY181" fmla="*/ 398526 h 454818"/>
                <a:gd name="connsiteX182" fmla="*/ 485204 w 689609"/>
                <a:gd name="connsiteY182" fmla="*/ 395859 h 454818"/>
                <a:gd name="connsiteX183" fmla="*/ 480346 w 689609"/>
                <a:gd name="connsiteY183" fmla="*/ 400145 h 454818"/>
                <a:gd name="connsiteX184" fmla="*/ 470249 w 689609"/>
                <a:gd name="connsiteY184" fmla="*/ 406908 h 454818"/>
                <a:gd name="connsiteX185" fmla="*/ 464248 w 689609"/>
                <a:gd name="connsiteY185" fmla="*/ 416814 h 454818"/>
                <a:gd name="connsiteX186" fmla="*/ 460153 w 689609"/>
                <a:gd name="connsiteY186" fmla="*/ 413671 h 454818"/>
                <a:gd name="connsiteX187" fmla="*/ 454723 w 689609"/>
                <a:gd name="connsiteY187" fmla="*/ 414433 h 454818"/>
                <a:gd name="connsiteX188" fmla="*/ 448723 w 689609"/>
                <a:gd name="connsiteY188" fmla="*/ 409765 h 454818"/>
                <a:gd name="connsiteX189" fmla="*/ 433197 w 689609"/>
                <a:gd name="connsiteY189" fmla="*/ 417290 h 454818"/>
                <a:gd name="connsiteX190" fmla="*/ 426434 w 689609"/>
                <a:gd name="connsiteY190" fmla="*/ 407289 h 454818"/>
                <a:gd name="connsiteX191" fmla="*/ 422624 w 689609"/>
                <a:gd name="connsiteY191" fmla="*/ 406051 h 454818"/>
                <a:gd name="connsiteX192" fmla="*/ 420053 w 689609"/>
                <a:gd name="connsiteY192" fmla="*/ 400907 h 454818"/>
                <a:gd name="connsiteX193" fmla="*/ 404527 w 689609"/>
                <a:gd name="connsiteY193" fmla="*/ 393859 h 454818"/>
                <a:gd name="connsiteX194" fmla="*/ 397955 w 689609"/>
                <a:gd name="connsiteY194" fmla="*/ 385667 h 454818"/>
                <a:gd name="connsiteX195" fmla="*/ 396812 w 689609"/>
                <a:gd name="connsiteY195" fmla="*/ 376809 h 454818"/>
                <a:gd name="connsiteX196" fmla="*/ 394716 w 689609"/>
                <a:gd name="connsiteY196" fmla="*/ 375285 h 454818"/>
                <a:gd name="connsiteX197" fmla="*/ 386048 w 689609"/>
                <a:gd name="connsiteY197" fmla="*/ 378238 h 454818"/>
                <a:gd name="connsiteX198" fmla="*/ 378619 w 689609"/>
                <a:gd name="connsiteY198" fmla="*/ 377380 h 454818"/>
                <a:gd name="connsiteX199" fmla="*/ 374047 w 689609"/>
                <a:gd name="connsiteY199" fmla="*/ 370713 h 454818"/>
                <a:gd name="connsiteX200" fmla="*/ 358521 w 689609"/>
                <a:gd name="connsiteY200" fmla="*/ 363760 h 454818"/>
                <a:gd name="connsiteX201" fmla="*/ 355759 w 689609"/>
                <a:gd name="connsiteY201" fmla="*/ 356806 h 454818"/>
                <a:gd name="connsiteX202" fmla="*/ 348139 w 689609"/>
                <a:gd name="connsiteY202" fmla="*/ 354235 h 454818"/>
                <a:gd name="connsiteX203" fmla="*/ 339376 w 689609"/>
                <a:gd name="connsiteY203" fmla="*/ 357188 h 454818"/>
                <a:gd name="connsiteX204" fmla="*/ 333470 w 689609"/>
                <a:gd name="connsiteY204" fmla="*/ 354330 h 454818"/>
                <a:gd name="connsiteX205" fmla="*/ 323374 w 689609"/>
                <a:gd name="connsiteY205" fmla="*/ 346615 h 454818"/>
                <a:gd name="connsiteX206" fmla="*/ 316135 w 689609"/>
                <a:gd name="connsiteY206" fmla="*/ 347567 h 454818"/>
                <a:gd name="connsiteX207" fmla="*/ 308324 w 689609"/>
                <a:gd name="connsiteY207" fmla="*/ 343186 h 454818"/>
                <a:gd name="connsiteX208" fmla="*/ 301276 w 689609"/>
                <a:gd name="connsiteY208" fmla="*/ 345853 h 454818"/>
                <a:gd name="connsiteX209" fmla="*/ 291179 w 689609"/>
                <a:gd name="connsiteY209" fmla="*/ 338138 h 454818"/>
                <a:gd name="connsiteX210" fmla="*/ 285274 w 689609"/>
                <a:gd name="connsiteY210" fmla="*/ 335375 h 454818"/>
                <a:gd name="connsiteX211" fmla="*/ 278606 w 689609"/>
                <a:gd name="connsiteY211" fmla="*/ 339852 h 454818"/>
                <a:gd name="connsiteX212" fmla="*/ 264509 w 689609"/>
                <a:gd name="connsiteY212" fmla="*/ 358045 h 454818"/>
                <a:gd name="connsiteX213" fmla="*/ 259842 w 689609"/>
                <a:gd name="connsiteY213" fmla="*/ 364046 h 454818"/>
                <a:gd name="connsiteX214" fmla="*/ 249746 w 689609"/>
                <a:gd name="connsiteY214" fmla="*/ 370808 h 454818"/>
                <a:gd name="connsiteX215" fmla="*/ 244030 w 689609"/>
                <a:gd name="connsiteY215" fmla="*/ 382524 h 454818"/>
                <a:gd name="connsiteX216" fmla="*/ 235077 w 689609"/>
                <a:gd name="connsiteY216" fmla="*/ 383667 h 454818"/>
                <a:gd name="connsiteX217" fmla="*/ 204597 w 689609"/>
                <a:gd name="connsiteY217" fmla="*/ 402241 h 454818"/>
                <a:gd name="connsiteX218" fmla="*/ 200406 w 689609"/>
                <a:gd name="connsiteY218" fmla="*/ 411766 h 454818"/>
                <a:gd name="connsiteX219" fmla="*/ 201835 w 689609"/>
                <a:gd name="connsiteY219" fmla="*/ 422529 h 454818"/>
                <a:gd name="connsiteX220" fmla="*/ 200978 w 689609"/>
                <a:gd name="connsiteY220" fmla="*/ 429863 h 454818"/>
                <a:gd name="connsiteX221" fmla="*/ 193643 w 689609"/>
                <a:gd name="connsiteY221" fmla="*/ 443579 h 454818"/>
                <a:gd name="connsiteX222" fmla="*/ 188881 w 689609"/>
                <a:gd name="connsiteY222" fmla="*/ 449580 h 454818"/>
                <a:gd name="connsiteX223" fmla="*/ 176784 w 689609"/>
                <a:gd name="connsiteY223" fmla="*/ 454819 h 454818"/>
                <a:gd name="connsiteX224" fmla="*/ 166878 w 689609"/>
                <a:gd name="connsiteY224" fmla="*/ 448913 h 454818"/>
                <a:gd name="connsiteX225" fmla="*/ 163544 w 689609"/>
                <a:gd name="connsiteY225" fmla="*/ 451104 h 454818"/>
                <a:gd name="connsiteX226" fmla="*/ 152876 w 689609"/>
                <a:gd name="connsiteY226" fmla="*/ 439864 h 454818"/>
                <a:gd name="connsiteX227" fmla="*/ 138970 w 689609"/>
                <a:gd name="connsiteY227" fmla="*/ 430816 h 454818"/>
                <a:gd name="connsiteX228" fmla="*/ 142018 w 689609"/>
                <a:gd name="connsiteY228" fmla="*/ 426815 h 454818"/>
                <a:gd name="connsiteX229" fmla="*/ 122777 w 689609"/>
                <a:gd name="connsiteY229" fmla="*/ 405765 h 454818"/>
                <a:gd name="connsiteX230" fmla="*/ 110680 w 689609"/>
                <a:gd name="connsiteY230" fmla="*/ 411004 h 454818"/>
                <a:gd name="connsiteX231" fmla="*/ 92869 w 689609"/>
                <a:gd name="connsiteY231" fmla="*/ 427863 h 454818"/>
                <a:gd name="connsiteX232" fmla="*/ 89440 w 689609"/>
                <a:gd name="connsiteY232" fmla="*/ 430149 h 454818"/>
                <a:gd name="connsiteX233" fmla="*/ 75724 w 689609"/>
                <a:gd name="connsiteY233" fmla="*/ 422910 h 454818"/>
                <a:gd name="connsiteX234" fmla="*/ 64675 w 689609"/>
                <a:gd name="connsiteY234" fmla="*/ 422529 h 454818"/>
                <a:gd name="connsiteX235" fmla="*/ 62960 w 689609"/>
                <a:gd name="connsiteY235" fmla="*/ 395573 h 454818"/>
                <a:gd name="connsiteX236" fmla="*/ 59817 w 689609"/>
                <a:gd name="connsiteY236" fmla="*/ 385096 h 454818"/>
                <a:gd name="connsiteX237" fmla="*/ 55245 w 689609"/>
                <a:gd name="connsiteY237" fmla="*/ 378428 h 454818"/>
                <a:gd name="connsiteX238" fmla="*/ 52769 w 689609"/>
                <a:gd name="connsiteY238" fmla="*/ 373380 h 454818"/>
                <a:gd name="connsiteX239" fmla="*/ 46387 w 689609"/>
                <a:gd name="connsiteY239" fmla="*/ 366903 h 454818"/>
                <a:gd name="connsiteX240" fmla="*/ 32861 w 689609"/>
                <a:gd name="connsiteY240" fmla="*/ 361474 h 454818"/>
                <a:gd name="connsiteX241" fmla="*/ 22288 w 689609"/>
                <a:gd name="connsiteY241" fmla="*/ 350234 h 454818"/>
                <a:gd name="connsiteX242" fmla="*/ 18383 w 689609"/>
                <a:gd name="connsiteY242" fmla="*/ 348901 h 454818"/>
                <a:gd name="connsiteX243" fmla="*/ 21336 w 689609"/>
                <a:gd name="connsiteY243" fmla="*/ 343090 h 454818"/>
                <a:gd name="connsiteX244" fmla="*/ 24670 w 689609"/>
                <a:gd name="connsiteY244" fmla="*/ 340805 h 454818"/>
                <a:gd name="connsiteX245" fmla="*/ 24575 w 689609"/>
                <a:gd name="connsiteY245" fmla="*/ 326326 h 454818"/>
                <a:gd name="connsiteX246" fmla="*/ 22098 w 689609"/>
                <a:gd name="connsiteY246" fmla="*/ 321183 h 454818"/>
                <a:gd name="connsiteX247" fmla="*/ 23622 w 689609"/>
                <a:gd name="connsiteY247" fmla="*/ 319183 h 454818"/>
                <a:gd name="connsiteX248" fmla="*/ 23146 w 689609"/>
                <a:gd name="connsiteY248" fmla="*/ 315658 h 454818"/>
                <a:gd name="connsiteX249" fmla="*/ 19526 w 689609"/>
                <a:gd name="connsiteY249" fmla="*/ 316135 h 454818"/>
                <a:gd name="connsiteX250" fmla="*/ 15050 w 689609"/>
                <a:gd name="connsiteY250" fmla="*/ 309467 h 454818"/>
                <a:gd name="connsiteX251" fmla="*/ 22003 w 689609"/>
                <a:gd name="connsiteY251" fmla="*/ 306705 h 454818"/>
                <a:gd name="connsiteX252" fmla="*/ 25051 w 689609"/>
                <a:gd name="connsiteY252" fmla="*/ 302705 h 454818"/>
                <a:gd name="connsiteX253" fmla="*/ 12002 w 689609"/>
                <a:gd name="connsiteY253" fmla="*/ 286321 h 454818"/>
                <a:gd name="connsiteX254" fmla="*/ 23336 w 689609"/>
                <a:gd name="connsiteY254" fmla="*/ 275749 h 454818"/>
                <a:gd name="connsiteX255" fmla="*/ 36386 w 689609"/>
                <a:gd name="connsiteY255" fmla="*/ 277654 h 454818"/>
                <a:gd name="connsiteX256" fmla="*/ 39529 w 689609"/>
                <a:gd name="connsiteY256" fmla="*/ 273558 h 454818"/>
                <a:gd name="connsiteX257" fmla="*/ 51721 w 689609"/>
                <a:gd name="connsiteY257" fmla="*/ 282797 h 454818"/>
                <a:gd name="connsiteX258" fmla="*/ 56864 w 689609"/>
                <a:gd name="connsiteY258" fmla="*/ 280321 h 454818"/>
                <a:gd name="connsiteX259" fmla="*/ 56388 w 689609"/>
                <a:gd name="connsiteY259" fmla="*/ 276796 h 454818"/>
                <a:gd name="connsiteX260" fmla="*/ 52578 w 689609"/>
                <a:gd name="connsiteY260" fmla="*/ 275463 h 454818"/>
                <a:gd name="connsiteX261" fmla="*/ 51054 w 689609"/>
                <a:gd name="connsiteY261" fmla="*/ 277463 h 454818"/>
                <a:gd name="connsiteX262" fmla="*/ 49244 w 689609"/>
                <a:gd name="connsiteY262" fmla="*/ 277749 h 454818"/>
                <a:gd name="connsiteX263" fmla="*/ 48959 w 689609"/>
                <a:gd name="connsiteY263" fmla="*/ 275939 h 454818"/>
                <a:gd name="connsiteX264" fmla="*/ 52292 w 689609"/>
                <a:gd name="connsiteY264" fmla="*/ 273653 h 454818"/>
                <a:gd name="connsiteX265" fmla="*/ 54102 w 689609"/>
                <a:gd name="connsiteY265" fmla="*/ 273463 h 454818"/>
                <a:gd name="connsiteX266" fmla="*/ 57721 w 689609"/>
                <a:gd name="connsiteY266" fmla="*/ 272987 h 454818"/>
                <a:gd name="connsiteX267" fmla="*/ 57721 w 689609"/>
                <a:gd name="connsiteY267" fmla="*/ 272987 h 454818"/>
                <a:gd name="connsiteX268" fmla="*/ 60865 w 689609"/>
                <a:gd name="connsiteY268" fmla="*/ 268891 h 454818"/>
                <a:gd name="connsiteX269" fmla="*/ 57055 w 689609"/>
                <a:gd name="connsiteY269" fmla="*/ 267653 h 454818"/>
                <a:gd name="connsiteX270" fmla="*/ 53626 w 689609"/>
                <a:gd name="connsiteY270" fmla="*/ 269843 h 454818"/>
                <a:gd name="connsiteX271" fmla="*/ 49625 w 689609"/>
                <a:gd name="connsiteY271" fmla="*/ 266795 h 454818"/>
                <a:gd name="connsiteX272" fmla="*/ 38767 w 689609"/>
                <a:gd name="connsiteY272" fmla="*/ 268224 h 454818"/>
                <a:gd name="connsiteX273" fmla="*/ 41720 w 689609"/>
                <a:gd name="connsiteY273" fmla="*/ 262414 h 454818"/>
                <a:gd name="connsiteX274" fmla="*/ 41243 w 689609"/>
                <a:gd name="connsiteY274" fmla="*/ 258889 h 454818"/>
                <a:gd name="connsiteX275" fmla="*/ 28194 w 689609"/>
                <a:gd name="connsiteY275" fmla="*/ 256889 h 454818"/>
                <a:gd name="connsiteX276" fmla="*/ 30861 w 689609"/>
                <a:gd name="connsiteY276" fmla="*/ 249364 h 454818"/>
                <a:gd name="connsiteX277" fmla="*/ 33052 w 689609"/>
                <a:gd name="connsiteY277" fmla="*/ 252698 h 454818"/>
                <a:gd name="connsiteX278" fmla="*/ 33909 w 689609"/>
                <a:gd name="connsiteY278" fmla="*/ 245269 h 454818"/>
                <a:gd name="connsiteX279" fmla="*/ 43815 w 689609"/>
                <a:gd name="connsiteY279" fmla="*/ 236696 h 454818"/>
                <a:gd name="connsiteX280" fmla="*/ 40862 w 689609"/>
                <a:gd name="connsiteY280" fmla="*/ 228029 h 454818"/>
                <a:gd name="connsiteX281" fmla="*/ 43910 w 689609"/>
                <a:gd name="connsiteY281" fmla="*/ 224028 h 454818"/>
                <a:gd name="connsiteX282" fmla="*/ 41434 w 689609"/>
                <a:gd name="connsiteY282" fmla="*/ 218884 h 454818"/>
                <a:gd name="connsiteX283" fmla="*/ 42958 w 689609"/>
                <a:gd name="connsiteY283" fmla="*/ 216884 h 454818"/>
                <a:gd name="connsiteX284" fmla="*/ 40291 w 689609"/>
                <a:gd name="connsiteY284" fmla="*/ 210026 h 454818"/>
                <a:gd name="connsiteX285" fmla="*/ 43815 w 689609"/>
                <a:gd name="connsiteY285" fmla="*/ 209550 h 454818"/>
                <a:gd name="connsiteX286" fmla="*/ 48578 w 689609"/>
                <a:gd name="connsiteY286" fmla="*/ 203454 h 454818"/>
                <a:gd name="connsiteX287" fmla="*/ 44196 w 689609"/>
                <a:gd name="connsiteY287" fmla="*/ 198596 h 454818"/>
                <a:gd name="connsiteX288" fmla="*/ 47339 w 689609"/>
                <a:gd name="connsiteY288" fmla="*/ 194596 h 454818"/>
                <a:gd name="connsiteX289" fmla="*/ 34957 w 689609"/>
                <a:gd name="connsiteY289" fmla="*/ 183547 h 454818"/>
                <a:gd name="connsiteX290" fmla="*/ 36290 w 689609"/>
                <a:gd name="connsiteY290" fmla="*/ 179737 h 454818"/>
                <a:gd name="connsiteX291" fmla="*/ 34004 w 689609"/>
                <a:gd name="connsiteY291" fmla="*/ 176403 h 454818"/>
                <a:gd name="connsiteX292" fmla="*/ 22479 w 689609"/>
                <a:gd name="connsiteY292" fmla="*/ 172498 h 454818"/>
                <a:gd name="connsiteX293" fmla="*/ 10668 w 689609"/>
                <a:gd name="connsiteY293" fmla="*/ 179451 h 454818"/>
                <a:gd name="connsiteX294" fmla="*/ 7620 w 689609"/>
                <a:gd name="connsiteY294" fmla="*/ 170783 h 454818"/>
                <a:gd name="connsiteX295" fmla="*/ 17526 w 689609"/>
                <a:gd name="connsiteY295" fmla="*/ 162211 h 454818"/>
                <a:gd name="connsiteX296" fmla="*/ 14764 w 689609"/>
                <a:gd name="connsiteY296" fmla="*/ 155353 h 454818"/>
                <a:gd name="connsiteX297" fmla="*/ 6668 w 689609"/>
                <a:gd name="connsiteY297" fmla="*/ 149162 h 454818"/>
                <a:gd name="connsiteX298" fmla="*/ 6953 w 689609"/>
                <a:gd name="connsiteY298" fmla="*/ 138303 h 454818"/>
                <a:gd name="connsiteX299" fmla="*/ 2191 w 689609"/>
                <a:gd name="connsiteY299" fmla="*/ 129826 h 454818"/>
                <a:gd name="connsiteX300" fmla="*/ 0 w 689609"/>
                <a:gd name="connsiteY300" fmla="*/ 126492 h 454818"/>
                <a:gd name="connsiteX301" fmla="*/ 2381 w 689609"/>
                <a:gd name="connsiteY301" fmla="*/ 117157 h 454818"/>
                <a:gd name="connsiteX302" fmla="*/ 8001 w 689609"/>
                <a:gd name="connsiteY302" fmla="*/ 118205 h 454818"/>
                <a:gd name="connsiteX303" fmla="*/ 9811 w 689609"/>
                <a:gd name="connsiteY303" fmla="*/ 118015 h 454818"/>
                <a:gd name="connsiteX304" fmla="*/ 9525 w 689609"/>
                <a:gd name="connsiteY304" fmla="*/ 116205 h 454818"/>
                <a:gd name="connsiteX305" fmla="*/ 9525 w 689609"/>
                <a:gd name="connsiteY305" fmla="*/ 116205 h 454818"/>
                <a:gd name="connsiteX306" fmla="*/ 5048 w 689609"/>
                <a:gd name="connsiteY306" fmla="*/ 109538 h 454818"/>
                <a:gd name="connsiteX307" fmla="*/ 3810 w 689609"/>
                <a:gd name="connsiteY307" fmla="*/ 100584 h 454818"/>
                <a:gd name="connsiteX308" fmla="*/ 4667 w 689609"/>
                <a:gd name="connsiteY308" fmla="*/ 93250 h 454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</a:cxnLst>
              <a:rect l="l" t="t" r="r" b="b"/>
              <a:pathLst>
                <a:path w="689609" h="454818">
                  <a:moveTo>
                    <a:pt x="4667" y="93250"/>
                  </a:moveTo>
                  <a:lnTo>
                    <a:pt x="19907" y="84010"/>
                  </a:lnTo>
                  <a:lnTo>
                    <a:pt x="19240" y="78676"/>
                  </a:lnTo>
                  <a:lnTo>
                    <a:pt x="26384" y="77724"/>
                  </a:lnTo>
                  <a:lnTo>
                    <a:pt x="34004" y="65818"/>
                  </a:lnTo>
                  <a:lnTo>
                    <a:pt x="33719" y="64008"/>
                  </a:lnTo>
                  <a:lnTo>
                    <a:pt x="49625" y="60103"/>
                  </a:lnTo>
                  <a:lnTo>
                    <a:pt x="55721" y="64770"/>
                  </a:lnTo>
                  <a:lnTo>
                    <a:pt x="59055" y="62484"/>
                  </a:lnTo>
                  <a:lnTo>
                    <a:pt x="68104" y="61246"/>
                  </a:lnTo>
                  <a:lnTo>
                    <a:pt x="77914" y="52768"/>
                  </a:lnTo>
                  <a:lnTo>
                    <a:pt x="84011" y="57340"/>
                  </a:lnTo>
                  <a:lnTo>
                    <a:pt x="98870" y="59055"/>
                  </a:lnTo>
                  <a:lnTo>
                    <a:pt x="105346" y="52768"/>
                  </a:lnTo>
                  <a:lnTo>
                    <a:pt x="101155" y="62389"/>
                  </a:lnTo>
                  <a:lnTo>
                    <a:pt x="104965" y="63627"/>
                  </a:lnTo>
                  <a:lnTo>
                    <a:pt x="108109" y="59626"/>
                  </a:lnTo>
                  <a:lnTo>
                    <a:pt x="111919" y="60960"/>
                  </a:lnTo>
                  <a:lnTo>
                    <a:pt x="111347" y="42863"/>
                  </a:lnTo>
                  <a:lnTo>
                    <a:pt x="108585" y="36004"/>
                  </a:lnTo>
                  <a:lnTo>
                    <a:pt x="109442" y="28575"/>
                  </a:lnTo>
                  <a:lnTo>
                    <a:pt x="106489" y="19907"/>
                  </a:lnTo>
                  <a:lnTo>
                    <a:pt x="113824" y="6287"/>
                  </a:lnTo>
                  <a:lnTo>
                    <a:pt x="118967" y="3810"/>
                  </a:lnTo>
                  <a:lnTo>
                    <a:pt x="120301" y="0"/>
                  </a:lnTo>
                  <a:lnTo>
                    <a:pt x="125921" y="1048"/>
                  </a:lnTo>
                  <a:lnTo>
                    <a:pt x="126587" y="6382"/>
                  </a:lnTo>
                  <a:lnTo>
                    <a:pt x="132493" y="9239"/>
                  </a:lnTo>
                  <a:lnTo>
                    <a:pt x="134779" y="12573"/>
                  </a:lnTo>
                  <a:lnTo>
                    <a:pt x="141542" y="22574"/>
                  </a:lnTo>
                  <a:lnTo>
                    <a:pt x="144018" y="27622"/>
                  </a:lnTo>
                  <a:lnTo>
                    <a:pt x="141446" y="35242"/>
                  </a:lnTo>
                  <a:lnTo>
                    <a:pt x="152400" y="35623"/>
                  </a:lnTo>
                  <a:lnTo>
                    <a:pt x="158687" y="27527"/>
                  </a:lnTo>
                  <a:lnTo>
                    <a:pt x="165545" y="52006"/>
                  </a:lnTo>
                  <a:lnTo>
                    <a:pt x="169640" y="55054"/>
                  </a:lnTo>
                  <a:lnTo>
                    <a:pt x="170117" y="58674"/>
                  </a:lnTo>
                  <a:lnTo>
                    <a:pt x="175451" y="58007"/>
                  </a:lnTo>
                  <a:lnTo>
                    <a:pt x="185833" y="67532"/>
                  </a:lnTo>
                  <a:lnTo>
                    <a:pt x="189452" y="66961"/>
                  </a:lnTo>
                  <a:lnTo>
                    <a:pt x="202216" y="52578"/>
                  </a:lnTo>
                  <a:lnTo>
                    <a:pt x="201359" y="60007"/>
                  </a:lnTo>
                  <a:lnTo>
                    <a:pt x="194881" y="66294"/>
                  </a:lnTo>
                  <a:lnTo>
                    <a:pt x="215360" y="69056"/>
                  </a:lnTo>
                  <a:lnTo>
                    <a:pt x="220504" y="66484"/>
                  </a:lnTo>
                  <a:lnTo>
                    <a:pt x="226314" y="69342"/>
                  </a:lnTo>
                  <a:lnTo>
                    <a:pt x="230791" y="61531"/>
                  </a:lnTo>
                  <a:lnTo>
                    <a:pt x="236125" y="60865"/>
                  </a:lnTo>
                  <a:lnTo>
                    <a:pt x="237744" y="58769"/>
                  </a:lnTo>
                  <a:lnTo>
                    <a:pt x="243364" y="59817"/>
                  </a:lnTo>
                  <a:lnTo>
                    <a:pt x="248507" y="57340"/>
                  </a:lnTo>
                  <a:lnTo>
                    <a:pt x="262414" y="51911"/>
                  </a:lnTo>
                  <a:lnTo>
                    <a:pt x="275844" y="42863"/>
                  </a:lnTo>
                  <a:lnTo>
                    <a:pt x="286893" y="43243"/>
                  </a:lnTo>
                  <a:lnTo>
                    <a:pt x="288893" y="44767"/>
                  </a:lnTo>
                  <a:lnTo>
                    <a:pt x="293275" y="64103"/>
                  </a:lnTo>
                  <a:lnTo>
                    <a:pt x="298895" y="65246"/>
                  </a:lnTo>
                  <a:lnTo>
                    <a:pt x="302990" y="68294"/>
                  </a:lnTo>
                  <a:lnTo>
                    <a:pt x="302133" y="75629"/>
                  </a:lnTo>
                  <a:lnTo>
                    <a:pt x="304324" y="78962"/>
                  </a:lnTo>
                  <a:lnTo>
                    <a:pt x="306038" y="91440"/>
                  </a:lnTo>
                  <a:lnTo>
                    <a:pt x="303181" y="97250"/>
                  </a:lnTo>
                  <a:lnTo>
                    <a:pt x="298418" y="103346"/>
                  </a:lnTo>
                  <a:lnTo>
                    <a:pt x="298895" y="106871"/>
                  </a:lnTo>
                  <a:lnTo>
                    <a:pt x="294513" y="114776"/>
                  </a:lnTo>
                  <a:lnTo>
                    <a:pt x="294989" y="118300"/>
                  </a:lnTo>
                  <a:lnTo>
                    <a:pt x="297466" y="123444"/>
                  </a:lnTo>
                  <a:lnTo>
                    <a:pt x="300800" y="121158"/>
                  </a:lnTo>
                  <a:lnTo>
                    <a:pt x="303467" y="113538"/>
                  </a:lnTo>
                  <a:lnTo>
                    <a:pt x="323660" y="114490"/>
                  </a:lnTo>
                  <a:lnTo>
                    <a:pt x="324898" y="123444"/>
                  </a:lnTo>
                  <a:lnTo>
                    <a:pt x="333661" y="120396"/>
                  </a:lnTo>
                  <a:lnTo>
                    <a:pt x="338995" y="119729"/>
                  </a:lnTo>
                  <a:lnTo>
                    <a:pt x="341947" y="128397"/>
                  </a:lnTo>
                  <a:lnTo>
                    <a:pt x="346043" y="131445"/>
                  </a:lnTo>
                  <a:lnTo>
                    <a:pt x="346329" y="147733"/>
                  </a:lnTo>
                  <a:lnTo>
                    <a:pt x="351472" y="145256"/>
                  </a:lnTo>
                  <a:lnTo>
                    <a:pt x="351758" y="147066"/>
                  </a:lnTo>
                  <a:lnTo>
                    <a:pt x="354616" y="141256"/>
                  </a:lnTo>
                  <a:lnTo>
                    <a:pt x="360521" y="144018"/>
                  </a:lnTo>
                  <a:lnTo>
                    <a:pt x="360236" y="142304"/>
                  </a:lnTo>
                  <a:lnTo>
                    <a:pt x="367665" y="143065"/>
                  </a:lnTo>
                  <a:lnTo>
                    <a:pt x="372618" y="138874"/>
                  </a:lnTo>
                  <a:lnTo>
                    <a:pt x="378428" y="141732"/>
                  </a:lnTo>
                  <a:lnTo>
                    <a:pt x="381190" y="148590"/>
                  </a:lnTo>
                  <a:lnTo>
                    <a:pt x="386334" y="146113"/>
                  </a:lnTo>
                  <a:lnTo>
                    <a:pt x="390430" y="149162"/>
                  </a:lnTo>
                  <a:lnTo>
                    <a:pt x="400526" y="142399"/>
                  </a:lnTo>
                  <a:lnTo>
                    <a:pt x="408622" y="148590"/>
                  </a:lnTo>
                  <a:lnTo>
                    <a:pt x="407289" y="152400"/>
                  </a:lnTo>
                  <a:lnTo>
                    <a:pt x="413385" y="156972"/>
                  </a:lnTo>
                  <a:lnTo>
                    <a:pt x="416528" y="152971"/>
                  </a:lnTo>
                  <a:lnTo>
                    <a:pt x="424339" y="157353"/>
                  </a:lnTo>
                  <a:lnTo>
                    <a:pt x="421958" y="166783"/>
                  </a:lnTo>
                  <a:lnTo>
                    <a:pt x="422434" y="170307"/>
                  </a:lnTo>
                  <a:lnTo>
                    <a:pt x="421386" y="175927"/>
                  </a:lnTo>
                  <a:lnTo>
                    <a:pt x="421862" y="179451"/>
                  </a:lnTo>
                  <a:lnTo>
                    <a:pt x="417195" y="185547"/>
                  </a:lnTo>
                  <a:lnTo>
                    <a:pt x="419195" y="187071"/>
                  </a:lnTo>
                  <a:lnTo>
                    <a:pt x="417862" y="190881"/>
                  </a:lnTo>
                  <a:lnTo>
                    <a:pt x="418147" y="192691"/>
                  </a:lnTo>
                  <a:lnTo>
                    <a:pt x="420148" y="194215"/>
                  </a:lnTo>
                  <a:lnTo>
                    <a:pt x="428054" y="198596"/>
                  </a:lnTo>
                  <a:lnTo>
                    <a:pt x="431197" y="194596"/>
                  </a:lnTo>
                  <a:lnTo>
                    <a:pt x="435007" y="195834"/>
                  </a:lnTo>
                  <a:lnTo>
                    <a:pt x="438340" y="193643"/>
                  </a:lnTo>
                  <a:lnTo>
                    <a:pt x="439293" y="200692"/>
                  </a:lnTo>
                  <a:lnTo>
                    <a:pt x="443484" y="191071"/>
                  </a:lnTo>
                  <a:lnTo>
                    <a:pt x="455867" y="187642"/>
                  </a:lnTo>
                  <a:lnTo>
                    <a:pt x="459296" y="199930"/>
                  </a:lnTo>
                  <a:lnTo>
                    <a:pt x="467392" y="206121"/>
                  </a:lnTo>
                  <a:lnTo>
                    <a:pt x="478060" y="217360"/>
                  </a:lnTo>
                  <a:lnTo>
                    <a:pt x="481584" y="216884"/>
                  </a:lnTo>
                  <a:lnTo>
                    <a:pt x="492252" y="228219"/>
                  </a:lnTo>
                  <a:lnTo>
                    <a:pt x="507302" y="217170"/>
                  </a:lnTo>
                  <a:lnTo>
                    <a:pt x="509302" y="218694"/>
                  </a:lnTo>
                  <a:lnTo>
                    <a:pt x="514445" y="216217"/>
                  </a:lnTo>
                  <a:lnTo>
                    <a:pt x="516255" y="215932"/>
                  </a:lnTo>
                  <a:lnTo>
                    <a:pt x="521113" y="211646"/>
                  </a:lnTo>
                  <a:lnTo>
                    <a:pt x="523399" y="214979"/>
                  </a:lnTo>
                  <a:lnTo>
                    <a:pt x="526542" y="210979"/>
                  </a:lnTo>
                  <a:lnTo>
                    <a:pt x="534924" y="218884"/>
                  </a:lnTo>
                  <a:lnTo>
                    <a:pt x="550640" y="213170"/>
                  </a:lnTo>
                  <a:lnTo>
                    <a:pt x="551212" y="204025"/>
                  </a:lnTo>
                  <a:lnTo>
                    <a:pt x="558927" y="221171"/>
                  </a:lnTo>
                  <a:lnTo>
                    <a:pt x="561213" y="224504"/>
                  </a:lnTo>
                  <a:lnTo>
                    <a:pt x="573119" y="217456"/>
                  </a:lnTo>
                  <a:lnTo>
                    <a:pt x="592455" y="225742"/>
                  </a:lnTo>
                  <a:lnTo>
                    <a:pt x="600837" y="233743"/>
                  </a:lnTo>
                  <a:lnTo>
                    <a:pt x="597694" y="237839"/>
                  </a:lnTo>
                  <a:lnTo>
                    <a:pt x="596837" y="245173"/>
                  </a:lnTo>
                  <a:lnTo>
                    <a:pt x="588455" y="264414"/>
                  </a:lnTo>
                  <a:lnTo>
                    <a:pt x="598360" y="270320"/>
                  </a:lnTo>
                  <a:lnTo>
                    <a:pt x="606648" y="263842"/>
                  </a:lnTo>
                  <a:lnTo>
                    <a:pt x="611982" y="263080"/>
                  </a:lnTo>
                  <a:lnTo>
                    <a:pt x="632555" y="280321"/>
                  </a:lnTo>
                  <a:lnTo>
                    <a:pt x="646938" y="278416"/>
                  </a:lnTo>
                  <a:lnTo>
                    <a:pt x="661035" y="301942"/>
                  </a:lnTo>
                  <a:lnTo>
                    <a:pt x="670084" y="315182"/>
                  </a:lnTo>
                  <a:lnTo>
                    <a:pt x="668750" y="318992"/>
                  </a:lnTo>
                  <a:lnTo>
                    <a:pt x="672846" y="322135"/>
                  </a:lnTo>
                  <a:lnTo>
                    <a:pt x="681799" y="320992"/>
                  </a:lnTo>
                  <a:lnTo>
                    <a:pt x="680466" y="324707"/>
                  </a:lnTo>
                  <a:lnTo>
                    <a:pt x="680752" y="326517"/>
                  </a:lnTo>
                  <a:lnTo>
                    <a:pt x="678942" y="326707"/>
                  </a:lnTo>
                  <a:lnTo>
                    <a:pt x="679894" y="333851"/>
                  </a:lnTo>
                  <a:lnTo>
                    <a:pt x="689610" y="352520"/>
                  </a:lnTo>
                  <a:lnTo>
                    <a:pt x="680466" y="351949"/>
                  </a:lnTo>
                  <a:lnTo>
                    <a:pt x="675322" y="354425"/>
                  </a:lnTo>
                  <a:lnTo>
                    <a:pt x="667226" y="362712"/>
                  </a:lnTo>
                  <a:lnTo>
                    <a:pt x="668465" y="371665"/>
                  </a:lnTo>
                  <a:lnTo>
                    <a:pt x="650272" y="372237"/>
                  </a:lnTo>
                  <a:lnTo>
                    <a:pt x="645509" y="378333"/>
                  </a:lnTo>
                  <a:lnTo>
                    <a:pt x="645128" y="389191"/>
                  </a:lnTo>
                  <a:lnTo>
                    <a:pt x="638651" y="395573"/>
                  </a:lnTo>
                  <a:lnTo>
                    <a:pt x="629507" y="394906"/>
                  </a:lnTo>
                  <a:lnTo>
                    <a:pt x="622554" y="397669"/>
                  </a:lnTo>
                  <a:lnTo>
                    <a:pt x="618649" y="396335"/>
                  </a:lnTo>
                  <a:lnTo>
                    <a:pt x="608552" y="388620"/>
                  </a:lnTo>
                  <a:lnTo>
                    <a:pt x="601790" y="393192"/>
                  </a:lnTo>
                  <a:lnTo>
                    <a:pt x="608171" y="399574"/>
                  </a:lnTo>
                  <a:lnTo>
                    <a:pt x="606838" y="403384"/>
                  </a:lnTo>
                  <a:lnTo>
                    <a:pt x="601885" y="407670"/>
                  </a:lnTo>
                  <a:lnTo>
                    <a:pt x="594265" y="405003"/>
                  </a:lnTo>
                  <a:lnTo>
                    <a:pt x="584645" y="415385"/>
                  </a:lnTo>
                  <a:lnTo>
                    <a:pt x="577215" y="414528"/>
                  </a:lnTo>
                  <a:lnTo>
                    <a:pt x="574453" y="407670"/>
                  </a:lnTo>
                  <a:lnTo>
                    <a:pt x="576167" y="392906"/>
                  </a:lnTo>
                  <a:lnTo>
                    <a:pt x="573310" y="398716"/>
                  </a:lnTo>
                  <a:lnTo>
                    <a:pt x="571310" y="397192"/>
                  </a:lnTo>
                  <a:lnTo>
                    <a:pt x="568833" y="406622"/>
                  </a:lnTo>
                  <a:lnTo>
                    <a:pt x="568357" y="403003"/>
                  </a:lnTo>
                  <a:lnTo>
                    <a:pt x="566833" y="405003"/>
                  </a:lnTo>
                  <a:lnTo>
                    <a:pt x="562832" y="401955"/>
                  </a:lnTo>
                  <a:lnTo>
                    <a:pt x="541306" y="377571"/>
                  </a:lnTo>
                  <a:lnTo>
                    <a:pt x="537496" y="376333"/>
                  </a:lnTo>
                  <a:lnTo>
                    <a:pt x="514731" y="370237"/>
                  </a:lnTo>
                  <a:lnTo>
                    <a:pt x="506635" y="378523"/>
                  </a:lnTo>
                  <a:lnTo>
                    <a:pt x="507111" y="382143"/>
                  </a:lnTo>
                  <a:lnTo>
                    <a:pt x="499491" y="379476"/>
                  </a:lnTo>
                  <a:lnTo>
                    <a:pt x="495490" y="390906"/>
                  </a:lnTo>
                  <a:lnTo>
                    <a:pt x="492919" y="398526"/>
                  </a:lnTo>
                  <a:lnTo>
                    <a:pt x="485204" y="395859"/>
                  </a:lnTo>
                  <a:lnTo>
                    <a:pt x="480346" y="400145"/>
                  </a:lnTo>
                  <a:lnTo>
                    <a:pt x="470249" y="406908"/>
                  </a:lnTo>
                  <a:lnTo>
                    <a:pt x="464248" y="416814"/>
                  </a:lnTo>
                  <a:lnTo>
                    <a:pt x="460153" y="413671"/>
                  </a:lnTo>
                  <a:lnTo>
                    <a:pt x="454723" y="414433"/>
                  </a:lnTo>
                  <a:lnTo>
                    <a:pt x="448723" y="409765"/>
                  </a:lnTo>
                  <a:lnTo>
                    <a:pt x="433197" y="417290"/>
                  </a:lnTo>
                  <a:lnTo>
                    <a:pt x="426434" y="407289"/>
                  </a:lnTo>
                  <a:lnTo>
                    <a:pt x="422624" y="406051"/>
                  </a:lnTo>
                  <a:lnTo>
                    <a:pt x="420053" y="400907"/>
                  </a:lnTo>
                  <a:lnTo>
                    <a:pt x="404527" y="393859"/>
                  </a:lnTo>
                  <a:lnTo>
                    <a:pt x="397955" y="385667"/>
                  </a:lnTo>
                  <a:lnTo>
                    <a:pt x="396812" y="376809"/>
                  </a:lnTo>
                  <a:lnTo>
                    <a:pt x="394716" y="375285"/>
                  </a:lnTo>
                  <a:lnTo>
                    <a:pt x="386048" y="378238"/>
                  </a:lnTo>
                  <a:lnTo>
                    <a:pt x="378619" y="377380"/>
                  </a:lnTo>
                  <a:lnTo>
                    <a:pt x="374047" y="370713"/>
                  </a:lnTo>
                  <a:lnTo>
                    <a:pt x="358521" y="363760"/>
                  </a:lnTo>
                  <a:lnTo>
                    <a:pt x="355759" y="356806"/>
                  </a:lnTo>
                  <a:lnTo>
                    <a:pt x="348139" y="354235"/>
                  </a:lnTo>
                  <a:lnTo>
                    <a:pt x="339376" y="357188"/>
                  </a:lnTo>
                  <a:lnTo>
                    <a:pt x="333470" y="354330"/>
                  </a:lnTo>
                  <a:lnTo>
                    <a:pt x="323374" y="346615"/>
                  </a:lnTo>
                  <a:lnTo>
                    <a:pt x="316135" y="347567"/>
                  </a:lnTo>
                  <a:lnTo>
                    <a:pt x="308324" y="343186"/>
                  </a:lnTo>
                  <a:lnTo>
                    <a:pt x="301276" y="345853"/>
                  </a:lnTo>
                  <a:lnTo>
                    <a:pt x="291179" y="338138"/>
                  </a:lnTo>
                  <a:lnTo>
                    <a:pt x="285274" y="335375"/>
                  </a:lnTo>
                  <a:lnTo>
                    <a:pt x="278606" y="339852"/>
                  </a:lnTo>
                  <a:lnTo>
                    <a:pt x="264509" y="358045"/>
                  </a:lnTo>
                  <a:lnTo>
                    <a:pt x="259842" y="364046"/>
                  </a:lnTo>
                  <a:lnTo>
                    <a:pt x="249746" y="370808"/>
                  </a:lnTo>
                  <a:lnTo>
                    <a:pt x="244030" y="382524"/>
                  </a:lnTo>
                  <a:lnTo>
                    <a:pt x="235077" y="383667"/>
                  </a:lnTo>
                  <a:lnTo>
                    <a:pt x="204597" y="402241"/>
                  </a:lnTo>
                  <a:lnTo>
                    <a:pt x="200406" y="411766"/>
                  </a:lnTo>
                  <a:lnTo>
                    <a:pt x="201835" y="422529"/>
                  </a:lnTo>
                  <a:lnTo>
                    <a:pt x="200978" y="429863"/>
                  </a:lnTo>
                  <a:lnTo>
                    <a:pt x="193643" y="443579"/>
                  </a:lnTo>
                  <a:lnTo>
                    <a:pt x="188881" y="449580"/>
                  </a:lnTo>
                  <a:lnTo>
                    <a:pt x="176784" y="454819"/>
                  </a:lnTo>
                  <a:lnTo>
                    <a:pt x="166878" y="448913"/>
                  </a:lnTo>
                  <a:lnTo>
                    <a:pt x="163544" y="451104"/>
                  </a:lnTo>
                  <a:lnTo>
                    <a:pt x="152876" y="439864"/>
                  </a:lnTo>
                  <a:lnTo>
                    <a:pt x="138970" y="430816"/>
                  </a:lnTo>
                  <a:lnTo>
                    <a:pt x="142018" y="426815"/>
                  </a:lnTo>
                  <a:lnTo>
                    <a:pt x="122777" y="405765"/>
                  </a:lnTo>
                  <a:lnTo>
                    <a:pt x="110680" y="411004"/>
                  </a:lnTo>
                  <a:lnTo>
                    <a:pt x="92869" y="427863"/>
                  </a:lnTo>
                  <a:lnTo>
                    <a:pt x="89440" y="430149"/>
                  </a:lnTo>
                  <a:lnTo>
                    <a:pt x="75724" y="422910"/>
                  </a:lnTo>
                  <a:lnTo>
                    <a:pt x="64675" y="422529"/>
                  </a:lnTo>
                  <a:lnTo>
                    <a:pt x="62960" y="395573"/>
                  </a:lnTo>
                  <a:lnTo>
                    <a:pt x="59817" y="385096"/>
                  </a:lnTo>
                  <a:lnTo>
                    <a:pt x="55245" y="378428"/>
                  </a:lnTo>
                  <a:lnTo>
                    <a:pt x="52769" y="373380"/>
                  </a:lnTo>
                  <a:lnTo>
                    <a:pt x="46387" y="366903"/>
                  </a:lnTo>
                  <a:lnTo>
                    <a:pt x="32861" y="361474"/>
                  </a:lnTo>
                  <a:lnTo>
                    <a:pt x="22288" y="350234"/>
                  </a:lnTo>
                  <a:lnTo>
                    <a:pt x="18383" y="348901"/>
                  </a:lnTo>
                  <a:lnTo>
                    <a:pt x="21336" y="343090"/>
                  </a:lnTo>
                  <a:lnTo>
                    <a:pt x="24670" y="340805"/>
                  </a:lnTo>
                  <a:lnTo>
                    <a:pt x="24575" y="326326"/>
                  </a:lnTo>
                  <a:lnTo>
                    <a:pt x="22098" y="321183"/>
                  </a:lnTo>
                  <a:lnTo>
                    <a:pt x="23622" y="319183"/>
                  </a:lnTo>
                  <a:lnTo>
                    <a:pt x="23146" y="315658"/>
                  </a:lnTo>
                  <a:lnTo>
                    <a:pt x="19526" y="316135"/>
                  </a:lnTo>
                  <a:lnTo>
                    <a:pt x="15050" y="309467"/>
                  </a:lnTo>
                  <a:lnTo>
                    <a:pt x="22003" y="306705"/>
                  </a:lnTo>
                  <a:lnTo>
                    <a:pt x="25051" y="302705"/>
                  </a:lnTo>
                  <a:lnTo>
                    <a:pt x="12002" y="286321"/>
                  </a:lnTo>
                  <a:lnTo>
                    <a:pt x="23336" y="275749"/>
                  </a:lnTo>
                  <a:lnTo>
                    <a:pt x="36386" y="277654"/>
                  </a:lnTo>
                  <a:lnTo>
                    <a:pt x="39529" y="273558"/>
                  </a:lnTo>
                  <a:lnTo>
                    <a:pt x="51721" y="282797"/>
                  </a:lnTo>
                  <a:lnTo>
                    <a:pt x="56864" y="280321"/>
                  </a:lnTo>
                  <a:lnTo>
                    <a:pt x="56388" y="276796"/>
                  </a:lnTo>
                  <a:lnTo>
                    <a:pt x="52578" y="275463"/>
                  </a:lnTo>
                  <a:lnTo>
                    <a:pt x="51054" y="277463"/>
                  </a:lnTo>
                  <a:lnTo>
                    <a:pt x="49244" y="277749"/>
                  </a:lnTo>
                  <a:lnTo>
                    <a:pt x="48959" y="275939"/>
                  </a:lnTo>
                  <a:lnTo>
                    <a:pt x="52292" y="273653"/>
                  </a:lnTo>
                  <a:lnTo>
                    <a:pt x="54102" y="273463"/>
                  </a:lnTo>
                  <a:lnTo>
                    <a:pt x="57721" y="272987"/>
                  </a:lnTo>
                  <a:lnTo>
                    <a:pt x="57721" y="272987"/>
                  </a:lnTo>
                  <a:lnTo>
                    <a:pt x="60865" y="268891"/>
                  </a:lnTo>
                  <a:lnTo>
                    <a:pt x="57055" y="267653"/>
                  </a:lnTo>
                  <a:lnTo>
                    <a:pt x="53626" y="269843"/>
                  </a:lnTo>
                  <a:lnTo>
                    <a:pt x="49625" y="266795"/>
                  </a:lnTo>
                  <a:lnTo>
                    <a:pt x="38767" y="268224"/>
                  </a:lnTo>
                  <a:lnTo>
                    <a:pt x="41720" y="262414"/>
                  </a:lnTo>
                  <a:lnTo>
                    <a:pt x="41243" y="258889"/>
                  </a:lnTo>
                  <a:lnTo>
                    <a:pt x="28194" y="256889"/>
                  </a:lnTo>
                  <a:lnTo>
                    <a:pt x="30861" y="249364"/>
                  </a:lnTo>
                  <a:lnTo>
                    <a:pt x="33052" y="252698"/>
                  </a:lnTo>
                  <a:lnTo>
                    <a:pt x="33909" y="245269"/>
                  </a:lnTo>
                  <a:lnTo>
                    <a:pt x="43815" y="236696"/>
                  </a:lnTo>
                  <a:lnTo>
                    <a:pt x="40862" y="228029"/>
                  </a:lnTo>
                  <a:lnTo>
                    <a:pt x="43910" y="224028"/>
                  </a:lnTo>
                  <a:lnTo>
                    <a:pt x="41434" y="218884"/>
                  </a:lnTo>
                  <a:lnTo>
                    <a:pt x="42958" y="216884"/>
                  </a:lnTo>
                  <a:lnTo>
                    <a:pt x="40291" y="210026"/>
                  </a:lnTo>
                  <a:lnTo>
                    <a:pt x="43815" y="209550"/>
                  </a:lnTo>
                  <a:lnTo>
                    <a:pt x="48578" y="203454"/>
                  </a:lnTo>
                  <a:lnTo>
                    <a:pt x="44196" y="198596"/>
                  </a:lnTo>
                  <a:lnTo>
                    <a:pt x="47339" y="194596"/>
                  </a:lnTo>
                  <a:lnTo>
                    <a:pt x="34957" y="183547"/>
                  </a:lnTo>
                  <a:lnTo>
                    <a:pt x="36290" y="179737"/>
                  </a:lnTo>
                  <a:lnTo>
                    <a:pt x="34004" y="176403"/>
                  </a:lnTo>
                  <a:lnTo>
                    <a:pt x="22479" y="172498"/>
                  </a:lnTo>
                  <a:lnTo>
                    <a:pt x="10668" y="179451"/>
                  </a:lnTo>
                  <a:lnTo>
                    <a:pt x="7620" y="170783"/>
                  </a:lnTo>
                  <a:lnTo>
                    <a:pt x="17526" y="162211"/>
                  </a:lnTo>
                  <a:lnTo>
                    <a:pt x="14764" y="155353"/>
                  </a:lnTo>
                  <a:lnTo>
                    <a:pt x="6668" y="149162"/>
                  </a:lnTo>
                  <a:lnTo>
                    <a:pt x="6953" y="138303"/>
                  </a:lnTo>
                  <a:lnTo>
                    <a:pt x="2191" y="129826"/>
                  </a:lnTo>
                  <a:lnTo>
                    <a:pt x="0" y="126492"/>
                  </a:lnTo>
                  <a:lnTo>
                    <a:pt x="2381" y="117157"/>
                  </a:lnTo>
                  <a:lnTo>
                    <a:pt x="8001" y="118205"/>
                  </a:lnTo>
                  <a:lnTo>
                    <a:pt x="9811" y="118015"/>
                  </a:lnTo>
                  <a:lnTo>
                    <a:pt x="9525" y="116205"/>
                  </a:lnTo>
                  <a:lnTo>
                    <a:pt x="9525" y="116205"/>
                  </a:lnTo>
                  <a:lnTo>
                    <a:pt x="5048" y="109538"/>
                  </a:lnTo>
                  <a:lnTo>
                    <a:pt x="3810" y="100584"/>
                  </a:lnTo>
                  <a:lnTo>
                    <a:pt x="4667" y="93250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8" name="Volný tvar: obrazec 57">
              <a:extLst>
                <a:ext uri="{FF2B5EF4-FFF2-40B4-BE49-F238E27FC236}">
                  <a16:creationId xmlns:a16="http://schemas.microsoft.com/office/drawing/2014/main" id="{D2A40F4E-E946-6049-A217-451E5B51D9E5}"/>
                </a:ext>
              </a:extLst>
            </p:cNvPr>
            <p:cNvSpPr/>
            <p:nvPr userDrawn="1"/>
          </p:nvSpPr>
          <p:spPr>
            <a:xfrm>
              <a:off x="6954344" y="4410169"/>
              <a:ext cx="610362" cy="606647"/>
            </a:xfrm>
            <a:custGeom>
              <a:avLst/>
              <a:gdLst>
                <a:gd name="connsiteX0" fmla="*/ 40291 w 610362"/>
                <a:gd name="connsiteY0" fmla="*/ 95441 h 606647"/>
                <a:gd name="connsiteX1" fmla="*/ 54864 w 610362"/>
                <a:gd name="connsiteY1" fmla="*/ 95345 h 606647"/>
                <a:gd name="connsiteX2" fmla="*/ 79820 w 610362"/>
                <a:gd name="connsiteY2" fmla="*/ 90202 h 606647"/>
                <a:gd name="connsiteX3" fmla="*/ 89630 w 610362"/>
                <a:gd name="connsiteY3" fmla="*/ 81629 h 606647"/>
                <a:gd name="connsiteX4" fmla="*/ 87630 w 610362"/>
                <a:gd name="connsiteY4" fmla="*/ 80105 h 606647"/>
                <a:gd name="connsiteX5" fmla="*/ 99917 w 610362"/>
                <a:gd name="connsiteY5" fmla="*/ 76676 h 606647"/>
                <a:gd name="connsiteX6" fmla="*/ 113062 w 610362"/>
                <a:gd name="connsiteY6" fmla="*/ 65818 h 606647"/>
                <a:gd name="connsiteX7" fmla="*/ 117158 w 610362"/>
                <a:gd name="connsiteY7" fmla="*/ 68961 h 606647"/>
                <a:gd name="connsiteX8" fmla="*/ 118301 w 610362"/>
                <a:gd name="connsiteY8" fmla="*/ 63341 h 606647"/>
                <a:gd name="connsiteX9" fmla="*/ 125921 w 610362"/>
                <a:gd name="connsiteY9" fmla="*/ 66008 h 606647"/>
                <a:gd name="connsiteX10" fmla="*/ 124873 w 610362"/>
                <a:gd name="connsiteY10" fmla="*/ 71533 h 606647"/>
                <a:gd name="connsiteX11" fmla="*/ 126873 w 610362"/>
                <a:gd name="connsiteY11" fmla="*/ 73057 h 606647"/>
                <a:gd name="connsiteX12" fmla="*/ 124015 w 610362"/>
                <a:gd name="connsiteY12" fmla="*/ 78867 h 606647"/>
                <a:gd name="connsiteX13" fmla="*/ 122872 w 610362"/>
                <a:gd name="connsiteY13" fmla="*/ 84487 h 606647"/>
                <a:gd name="connsiteX14" fmla="*/ 128111 w 610362"/>
                <a:gd name="connsiteY14" fmla="*/ 96488 h 606647"/>
                <a:gd name="connsiteX15" fmla="*/ 122968 w 610362"/>
                <a:gd name="connsiteY15" fmla="*/ 98965 h 606647"/>
                <a:gd name="connsiteX16" fmla="*/ 125730 w 610362"/>
                <a:gd name="connsiteY16" fmla="*/ 105918 h 606647"/>
                <a:gd name="connsiteX17" fmla="*/ 145256 w 610362"/>
                <a:gd name="connsiteY17" fmla="*/ 101537 h 606647"/>
                <a:gd name="connsiteX18" fmla="*/ 152400 w 610362"/>
                <a:gd name="connsiteY18" fmla="*/ 100489 h 606647"/>
                <a:gd name="connsiteX19" fmla="*/ 162878 w 610362"/>
                <a:gd name="connsiteY19" fmla="*/ 110014 h 606647"/>
                <a:gd name="connsiteX20" fmla="*/ 166402 w 610362"/>
                <a:gd name="connsiteY20" fmla="*/ 109538 h 606647"/>
                <a:gd name="connsiteX21" fmla="*/ 167164 w 610362"/>
                <a:gd name="connsiteY21" fmla="*/ 114871 h 606647"/>
                <a:gd name="connsiteX22" fmla="*/ 180213 w 610362"/>
                <a:gd name="connsiteY22" fmla="*/ 116777 h 606647"/>
                <a:gd name="connsiteX23" fmla="*/ 193929 w 610362"/>
                <a:gd name="connsiteY23" fmla="*/ 124016 h 606647"/>
                <a:gd name="connsiteX24" fmla="*/ 195263 w 610362"/>
                <a:gd name="connsiteY24" fmla="*/ 120205 h 606647"/>
                <a:gd name="connsiteX25" fmla="*/ 196787 w 610362"/>
                <a:gd name="connsiteY25" fmla="*/ 118205 h 606647"/>
                <a:gd name="connsiteX26" fmla="*/ 198120 w 610362"/>
                <a:gd name="connsiteY26" fmla="*/ 114395 h 606647"/>
                <a:gd name="connsiteX27" fmla="*/ 203740 w 610362"/>
                <a:gd name="connsiteY27" fmla="*/ 115538 h 606647"/>
                <a:gd name="connsiteX28" fmla="*/ 207073 w 610362"/>
                <a:gd name="connsiteY28" fmla="*/ 113252 h 606647"/>
                <a:gd name="connsiteX29" fmla="*/ 210503 w 610362"/>
                <a:gd name="connsiteY29" fmla="*/ 110966 h 606647"/>
                <a:gd name="connsiteX30" fmla="*/ 205169 w 610362"/>
                <a:gd name="connsiteY30" fmla="*/ 98965 h 606647"/>
                <a:gd name="connsiteX31" fmla="*/ 206597 w 610362"/>
                <a:gd name="connsiteY31" fmla="*/ 95155 h 606647"/>
                <a:gd name="connsiteX32" fmla="*/ 208597 w 610362"/>
                <a:gd name="connsiteY32" fmla="*/ 96679 h 606647"/>
                <a:gd name="connsiteX33" fmla="*/ 209455 w 610362"/>
                <a:gd name="connsiteY33" fmla="*/ 89345 h 606647"/>
                <a:gd name="connsiteX34" fmla="*/ 212788 w 610362"/>
                <a:gd name="connsiteY34" fmla="*/ 87154 h 606647"/>
                <a:gd name="connsiteX35" fmla="*/ 212312 w 610362"/>
                <a:gd name="connsiteY35" fmla="*/ 83534 h 606647"/>
                <a:gd name="connsiteX36" fmla="*/ 214122 w 610362"/>
                <a:gd name="connsiteY36" fmla="*/ 83344 h 606647"/>
                <a:gd name="connsiteX37" fmla="*/ 217456 w 610362"/>
                <a:gd name="connsiteY37" fmla="*/ 81058 h 606647"/>
                <a:gd name="connsiteX38" fmla="*/ 219742 w 610362"/>
                <a:gd name="connsiteY38" fmla="*/ 84392 h 606647"/>
                <a:gd name="connsiteX39" fmla="*/ 223076 w 610362"/>
                <a:gd name="connsiteY39" fmla="*/ 82105 h 606647"/>
                <a:gd name="connsiteX40" fmla="*/ 222409 w 610362"/>
                <a:gd name="connsiteY40" fmla="*/ 76771 h 606647"/>
                <a:gd name="connsiteX41" fmla="*/ 232220 w 610362"/>
                <a:gd name="connsiteY41" fmla="*/ 68199 h 606647"/>
                <a:gd name="connsiteX42" fmla="*/ 233077 w 610362"/>
                <a:gd name="connsiteY42" fmla="*/ 60865 h 606647"/>
                <a:gd name="connsiteX43" fmla="*/ 243364 w 610362"/>
                <a:gd name="connsiteY43" fmla="*/ 55912 h 606647"/>
                <a:gd name="connsiteX44" fmla="*/ 246317 w 610362"/>
                <a:gd name="connsiteY44" fmla="*/ 50102 h 606647"/>
                <a:gd name="connsiteX45" fmla="*/ 241935 w 610362"/>
                <a:gd name="connsiteY45" fmla="*/ 45149 h 606647"/>
                <a:gd name="connsiteX46" fmla="*/ 241745 w 610362"/>
                <a:gd name="connsiteY46" fmla="*/ 43434 h 606647"/>
                <a:gd name="connsiteX47" fmla="*/ 246888 w 610362"/>
                <a:gd name="connsiteY47" fmla="*/ 40862 h 606647"/>
                <a:gd name="connsiteX48" fmla="*/ 250984 w 610362"/>
                <a:gd name="connsiteY48" fmla="*/ 44005 h 606647"/>
                <a:gd name="connsiteX49" fmla="*/ 263652 w 610362"/>
                <a:gd name="connsiteY49" fmla="*/ 29623 h 606647"/>
                <a:gd name="connsiteX50" fmla="*/ 268414 w 610362"/>
                <a:gd name="connsiteY50" fmla="*/ 38005 h 606647"/>
                <a:gd name="connsiteX51" fmla="*/ 270034 w 610362"/>
                <a:gd name="connsiteY51" fmla="*/ 36004 h 606647"/>
                <a:gd name="connsiteX52" fmla="*/ 286036 w 610362"/>
                <a:gd name="connsiteY52" fmla="*/ 46577 h 606647"/>
                <a:gd name="connsiteX53" fmla="*/ 299752 w 610362"/>
                <a:gd name="connsiteY53" fmla="*/ 53816 h 606647"/>
                <a:gd name="connsiteX54" fmla="*/ 316992 w 610362"/>
                <a:gd name="connsiteY54" fmla="*/ 46101 h 606647"/>
                <a:gd name="connsiteX55" fmla="*/ 320612 w 610362"/>
                <a:gd name="connsiteY55" fmla="*/ 45625 h 606647"/>
                <a:gd name="connsiteX56" fmla="*/ 322897 w 610362"/>
                <a:gd name="connsiteY56" fmla="*/ 48959 h 606647"/>
                <a:gd name="connsiteX57" fmla="*/ 326231 w 610362"/>
                <a:gd name="connsiteY57" fmla="*/ 46673 h 606647"/>
                <a:gd name="connsiteX58" fmla="*/ 329375 w 610362"/>
                <a:gd name="connsiteY58" fmla="*/ 42672 h 606647"/>
                <a:gd name="connsiteX59" fmla="*/ 331184 w 610362"/>
                <a:gd name="connsiteY59" fmla="*/ 42482 h 606647"/>
                <a:gd name="connsiteX60" fmla="*/ 330898 w 610362"/>
                <a:gd name="connsiteY60" fmla="*/ 40672 h 606647"/>
                <a:gd name="connsiteX61" fmla="*/ 331756 w 610362"/>
                <a:gd name="connsiteY61" fmla="*/ 33338 h 606647"/>
                <a:gd name="connsiteX62" fmla="*/ 336899 w 610362"/>
                <a:gd name="connsiteY62" fmla="*/ 30766 h 606647"/>
                <a:gd name="connsiteX63" fmla="*/ 338614 w 610362"/>
                <a:gd name="connsiteY63" fmla="*/ 16097 h 606647"/>
                <a:gd name="connsiteX64" fmla="*/ 344234 w 610362"/>
                <a:gd name="connsiteY64" fmla="*/ 17145 h 606647"/>
                <a:gd name="connsiteX65" fmla="*/ 348805 w 610362"/>
                <a:gd name="connsiteY65" fmla="*/ 23813 h 606647"/>
                <a:gd name="connsiteX66" fmla="*/ 360712 w 610362"/>
                <a:gd name="connsiteY66" fmla="*/ 31242 h 606647"/>
                <a:gd name="connsiteX67" fmla="*/ 371570 w 610362"/>
                <a:gd name="connsiteY67" fmla="*/ 29813 h 606647"/>
                <a:gd name="connsiteX68" fmla="*/ 386334 w 610362"/>
                <a:gd name="connsiteY68" fmla="*/ 17050 h 606647"/>
                <a:gd name="connsiteX69" fmla="*/ 393954 w 610362"/>
                <a:gd name="connsiteY69" fmla="*/ 19621 h 606647"/>
                <a:gd name="connsiteX70" fmla="*/ 393478 w 610362"/>
                <a:gd name="connsiteY70" fmla="*/ 16097 h 606647"/>
                <a:gd name="connsiteX71" fmla="*/ 400907 w 610362"/>
                <a:gd name="connsiteY71" fmla="*/ 16859 h 606647"/>
                <a:gd name="connsiteX72" fmla="*/ 400621 w 610362"/>
                <a:gd name="connsiteY72" fmla="*/ 15145 h 606647"/>
                <a:gd name="connsiteX73" fmla="*/ 404431 w 610362"/>
                <a:gd name="connsiteY73" fmla="*/ 16383 h 606647"/>
                <a:gd name="connsiteX74" fmla="*/ 404241 w 610362"/>
                <a:gd name="connsiteY74" fmla="*/ 14669 h 606647"/>
                <a:gd name="connsiteX75" fmla="*/ 407861 w 610362"/>
                <a:gd name="connsiteY75" fmla="*/ 14192 h 606647"/>
                <a:gd name="connsiteX76" fmla="*/ 407098 w 610362"/>
                <a:gd name="connsiteY76" fmla="*/ 8763 h 606647"/>
                <a:gd name="connsiteX77" fmla="*/ 412052 w 610362"/>
                <a:gd name="connsiteY77" fmla="*/ 4572 h 606647"/>
                <a:gd name="connsiteX78" fmla="*/ 418719 w 610362"/>
                <a:gd name="connsiteY78" fmla="*/ 0 h 606647"/>
                <a:gd name="connsiteX79" fmla="*/ 426148 w 610362"/>
                <a:gd name="connsiteY79" fmla="*/ 857 h 606647"/>
                <a:gd name="connsiteX80" fmla="*/ 425291 w 610362"/>
                <a:gd name="connsiteY80" fmla="*/ 8192 h 606647"/>
                <a:gd name="connsiteX81" fmla="*/ 426530 w 610362"/>
                <a:gd name="connsiteY81" fmla="*/ 17145 h 606647"/>
                <a:gd name="connsiteX82" fmla="*/ 431006 w 610362"/>
                <a:gd name="connsiteY82" fmla="*/ 23813 h 606647"/>
                <a:gd name="connsiteX83" fmla="*/ 431006 w 610362"/>
                <a:gd name="connsiteY83" fmla="*/ 23813 h 606647"/>
                <a:gd name="connsiteX84" fmla="*/ 431292 w 610362"/>
                <a:gd name="connsiteY84" fmla="*/ 25622 h 606647"/>
                <a:gd name="connsiteX85" fmla="*/ 429482 w 610362"/>
                <a:gd name="connsiteY85" fmla="*/ 25813 h 606647"/>
                <a:gd name="connsiteX86" fmla="*/ 423863 w 610362"/>
                <a:gd name="connsiteY86" fmla="*/ 24765 h 606647"/>
                <a:gd name="connsiteX87" fmla="*/ 421481 w 610362"/>
                <a:gd name="connsiteY87" fmla="*/ 34100 h 606647"/>
                <a:gd name="connsiteX88" fmla="*/ 423672 w 610362"/>
                <a:gd name="connsiteY88" fmla="*/ 37433 h 606647"/>
                <a:gd name="connsiteX89" fmla="*/ 428435 w 610362"/>
                <a:gd name="connsiteY89" fmla="*/ 45911 h 606647"/>
                <a:gd name="connsiteX90" fmla="*/ 428149 w 610362"/>
                <a:gd name="connsiteY90" fmla="*/ 56769 h 606647"/>
                <a:gd name="connsiteX91" fmla="*/ 436245 w 610362"/>
                <a:gd name="connsiteY91" fmla="*/ 62960 h 606647"/>
                <a:gd name="connsiteX92" fmla="*/ 439007 w 610362"/>
                <a:gd name="connsiteY92" fmla="*/ 69818 h 606647"/>
                <a:gd name="connsiteX93" fmla="*/ 429101 w 610362"/>
                <a:gd name="connsiteY93" fmla="*/ 78391 h 606647"/>
                <a:gd name="connsiteX94" fmla="*/ 432149 w 610362"/>
                <a:gd name="connsiteY94" fmla="*/ 87059 h 606647"/>
                <a:gd name="connsiteX95" fmla="*/ 443960 w 610362"/>
                <a:gd name="connsiteY95" fmla="*/ 80105 h 606647"/>
                <a:gd name="connsiteX96" fmla="*/ 455486 w 610362"/>
                <a:gd name="connsiteY96" fmla="*/ 84011 h 606647"/>
                <a:gd name="connsiteX97" fmla="*/ 457771 w 610362"/>
                <a:gd name="connsiteY97" fmla="*/ 87344 h 606647"/>
                <a:gd name="connsiteX98" fmla="*/ 456438 w 610362"/>
                <a:gd name="connsiteY98" fmla="*/ 91154 h 606647"/>
                <a:gd name="connsiteX99" fmla="*/ 468821 w 610362"/>
                <a:gd name="connsiteY99" fmla="*/ 102203 h 606647"/>
                <a:gd name="connsiteX100" fmla="*/ 465677 w 610362"/>
                <a:gd name="connsiteY100" fmla="*/ 106204 h 606647"/>
                <a:gd name="connsiteX101" fmla="*/ 470059 w 610362"/>
                <a:gd name="connsiteY101" fmla="*/ 111062 h 606647"/>
                <a:gd name="connsiteX102" fmla="*/ 465296 w 610362"/>
                <a:gd name="connsiteY102" fmla="*/ 117158 h 606647"/>
                <a:gd name="connsiteX103" fmla="*/ 461772 w 610362"/>
                <a:gd name="connsiteY103" fmla="*/ 117634 h 606647"/>
                <a:gd name="connsiteX104" fmla="*/ 464439 w 610362"/>
                <a:gd name="connsiteY104" fmla="*/ 124492 h 606647"/>
                <a:gd name="connsiteX105" fmla="*/ 462915 w 610362"/>
                <a:gd name="connsiteY105" fmla="*/ 126492 h 606647"/>
                <a:gd name="connsiteX106" fmla="*/ 465392 w 610362"/>
                <a:gd name="connsiteY106" fmla="*/ 131636 h 606647"/>
                <a:gd name="connsiteX107" fmla="*/ 462344 w 610362"/>
                <a:gd name="connsiteY107" fmla="*/ 135636 h 606647"/>
                <a:gd name="connsiteX108" fmla="*/ 465296 w 610362"/>
                <a:gd name="connsiteY108" fmla="*/ 144304 h 606647"/>
                <a:gd name="connsiteX109" fmla="*/ 455390 w 610362"/>
                <a:gd name="connsiteY109" fmla="*/ 152876 h 606647"/>
                <a:gd name="connsiteX110" fmla="*/ 454533 w 610362"/>
                <a:gd name="connsiteY110" fmla="*/ 160306 h 606647"/>
                <a:gd name="connsiteX111" fmla="*/ 452342 w 610362"/>
                <a:gd name="connsiteY111" fmla="*/ 156972 h 606647"/>
                <a:gd name="connsiteX112" fmla="*/ 449675 w 610362"/>
                <a:gd name="connsiteY112" fmla="*/ 164497 h 606647"/>
                <a:gd name="connsiteX113" fmla="*/ 462725 w 610362"/>
                <a:gd name="connsiteY113" fmla="*/ 166497 h 606647"/>
                <a:gd name="connsiteX114" fmla="*/ 463201 w 610362"/>
                <a:gd name="connsiteY114" fmla="*/ 170021 h 606647"/>
                <a:gd name="connsiteX115" fmla="*/ 460248 w 610362"/>
                <a:gd name="connsiteY115" fmla="*/ 175832 h 606647"/>
                <a:gd name="connsiteX116" fmla="*/ 471106 w 610362"/>
                <a:gd name="connsiteY116" fmla="*/ 174403 h 606647"/>
                <a:gd name="connsiteX117" fmla="*/ 475107 w 610362"/>
                <a:gd name="connsiteY117" fmla="*/ 177451 h 606647"/>
                <a:gd name="connsiteX118" fmla="*/ 478536 w 610362"/>
                <a:gd name="connsiteY118" fmla="*/ 175260 h 606647"/>
                <a:gd name="connsiteX119" fmla="*/ 482346 w 610362"/>
                <a:gd name="connsiteY119" fmla="*/ 176498 h 606647"/>
                <a:gd name="connsiteX120" fmla="*/ 479203 w 610362"/>
                <a:gd name="connsiteY120" fmla="*/ 180594 h 606647"/>
                <a:gd name="connsiteX121" fmla="*/ 479203 w 610362"/>
                <a:gd name="connsiteY121" fmla="*/ 180594 h 606647"/>
                <a:gd name="connsiteX122" fmla="*/ 475583 w 610362"/>
                <a:gd name="connsiteY122" fmla="*/ 181070 h 606647"/>
                <a:gd name="connsiteX123" fmla="*/ 473773 w 610362"/>
                <a:gd name="connsiteY123" fmla="*/ 181261 h 606647"/>
                <a:gd name="connsiteX124" fmla="*/ 470440 w 610362"/>
                <a:gd name="connsiteY124" fmla="*/ 183547 h 606647"/>
                <a:gd name="connsiteX125" fmla="*/ 470726 w 610362"/>
                <a:gd name="connsiteY125" fmla="*/ 185357 h 606647"/>
                <a:gd name="connsiteX126" fmla="*/ 472535 w 610362"/>
                <a:gd name="connsiteY126" fmla="*/ 185071 h 606647"/>
                <a:gd name="connsiteX127" fmla="*/ 474059 w 610362"/>
                <a:gd name="connsiteY127" fmla="*/ 183071 h 606647"/>
                <a:gd name="connsiteX128" fmla="*/ 477869 w 610362"/>
                <a:gd name="connsiteY128" fmla="*/ 184404 h 606647"/>
                <a:gd name="connsiteX129" fmla="*/ 478346 w 610362"/>
                <a:gd name="connsiteY129" fmla="*/ 187928 h 606647"/>
                <a:gd name="connsiteX130" fmla="*/ 473202 w 610362"/>
                <a:gd name="connsiteY130" fmla="*/ 190405 h 606647"/>
                <a:gd name="connsiteX131" fmla="*/ 461010 w 610362"/>
                <a:gd name="connsiteY131" fmla="*/ 181166 h 606647"/>
                <a:gd name="connsiteX132" fmla="*/ 457867 w 610362"/>
                <a:gd name="connsiteY132" fmla="*/ 185261 h 606647"/>
                <a:gd name="connsiteX133" fmla="*/ 444818 w 610362"/>
                <a:gd name="connsiteY133" fmla="*/ 183356 h 606647"/>
                <a:gd name="connsiteX134" fmla="*/ 433483 w 610362"/>
                <a:gd name="connsiteY134" fmla="*/ 193929 h 606647"/>
                <a:gd name="connsiteX135" fmla="*/ 446532 w 610362"/>
                <a:gd name="connsiteY135" fmla="*/ 210312 h 606647"/>
                <a:gd name="connsiteX136" fmla="*/ 443484 w 610362"/>
                <a:gd name="connsiteY136" fmla="*/ 214313 h 606647"/>
                <a:gd name="connsiteX137" fmla="*/ 436531 w 610362"/>
                <a:gd name="connsiteY137" fmla="*/ 217075 h 606647"/>
                <a:gd name="connsiteX138" fmla="*/ 441008 w 610362"/>
                <a:gd name="connsiteY138" fmla="*/ 223742 h 606647"/>
                <a:gd name="connsiteX139" fmla="*/ 444627 w 610362"/>
                <a:gd name="connsiteY139" fmla="*/ 223266 h 606647"/>
                <a:gd name="connsiteX140" fmla="*/ 445103 w 610362"/>
                <a:gd name="connsiteY140" fmla="*/ 226790 h 606647"/>
                <a:gd name="connsiteX141" fmla="*/ 443579 w 610362"/>
                <a:gd name="connsiteY141" fmla="*/ 228791 h 606647"/>
                <a:gd name="connsiteX142" fmla="*/ 446056 w 610362"/>
                <a:gd name="connsiteY142" fmla="*/ 233934 h 606647"/>
                <a:gd name="connsiteX143" fmla="*/ 446151 w 610362"/>
                <a:gd name="connsiteY143" fmla="*/ 248412 h 606647"/>
                <a:gd name="connsiteX144" fmla="*/ 442817 w 610362"/>
                <a:gd name="connsiteY144" fmla="*/ 250698 h 606647"/>
                <a:gd name="connsiteX145" fmla="*/ 439864 w 610362"/>
                <a:gd name="connsiteY145" fmla="*/ 256508 h 606647"/>
                <a:gd name="connsiteX146" fmla="*/ 443770 w 610362"/>
                <a:gd name="connsiteY146" fmla="*/ 257842 h 606647"/>
                <a:gd name="connsiteX147" fmla="*/ 454343 w 610362"/>
                <a:gd name="connsiteY147" fmla="*/ 269081 h 606647"/>
                <a:gd name="connsiteX148" fmla="*/ 467868 w 610362"/>
                <a:gd name="connsiteY148" fmla="*/ 274511 h 606647"/>
                <a:gd name="connsiteX149" fmla="*/ 474250 w 610362"/>
                <a:gd name="connsiteY149" fmla="*/ 280988 h 606647"/>
                <a:gd name="connsiteX150" fmla="*/ 476726 w 610362"/>
                <a:gd name="connsiteY150" fmla="*/ 286036 h 606647"/>
                <a:gd name="connsiteX151" fmla="*/ 481298 w 610362"/>
                <a:gd name="connsiteY151" fmla="*/ 292703 h 606647"/>
                <a:gd name="connsiteX152" fmla="*/ 484442 w 610362"/>
                <a:gd name="connsiteY152" fmla="*/ 303181 h 606647"/>
                <a:gd name="connsiteX153" fmla="*/ 486156 w 610362"/>
                <a:gd name="connsiteY153" fmla="*/ 330137 h 606647"/>
                <a:gd name="connsiteX154" fmla="*/ 497205 w 610362"/>
                <a:gd name="connsiteY154" fmla="*/ 330518 h 606647"/>
                <a:gd name="connsiteX155" fmla="*/ 510921 w 610362"/>
                <a:gd name="connsiteY155" fmla="*/ 337757 h 606647"/>
                <a:gd name="connsiteX156" fmla="*/ 514350 w 610362"/>
                <a:gd name="connsiteY156" fmla="*/ 335471 h 606647"/>
                <a:gd name="connsiteX157" fmla="*/ 532162 w 610362"/>
                <a:gd name="connsiteY157" fmla="*/ 318611 h 606647"/>
                <a:gd name="connsiteX158" fmla="*/ 544259 w 610362"/>
                <a:gd name="connsiteY158" fmla="*/ 313373 h 606647"/>
                <a:gd name="connsiteX159" fmla="*/ 563499 w 610362"/>
                <a:gd name="connsiteY159" fmla="*/ 334423 h 606647"/>
                <a:gd name="connsiteX160" fmla="*/ 560451 w 610362"/>
                <a:gd name="connsiteY160" fmla="*/ 338423 h 606647"/>
                <a:gd name="connsiteX161" fmla="*/ 574358 w 610362"/>
                <a:gd name="connsiteY161" fmla="*/ 347472 h 606647"/>
                <a:gd name="connsiteX162" fmla="*/ 585026 w 610362"/>
                <a:gd name="connsiteY162" fmla="*/ 358712 h 606647"/>
                <a:gd name="connsiteX163" fmla="*/ 588359 w 610362"/>
                <a:gd name="connsiteY163" fmla="*/ 356521 h 606647"/>
                <a:gd name="connsiteX164" fmla="*/ 598265 w 610362"/>
                <a:gd name="connsiteY164" fmla="*/ 362426 h 606647"/>
                <a:gd name="connsiteX165" fmla="*/ 610362 w 610362"/>
                <a:gd name="connsiteY165" fmla="*/ 357188 h 606647"/>
                <a:gd name="connsiteX166" fmla="*/ 608743 w 610362"/>
                <a:gd name="connsiteY166" fmla="*/ 371951 h 606647"/>
                <a:gd name="connsiteX167" fmla="*/ 593217 w 610362"/>
                <a:gd name="connsiteY167" fmla="*/ 379476 h 606647"/>
                <a:gd name="connsiteX168" fmla="*/ 580263 w 610362"/>
                <a:gd name="connsiteY168" fmla="*/ 392049 h 606647"/>
                <a:gd name="connsiteX169" fmla="*/ 568643 w 610362"/>
                <a:gd name="connsiteY169" fmla="*/ 400812 h 606647"/>
                <a:gd name="connsiteX170" fmla="*/ 564928 w 610362"/>
                <a:gd name="connsiteY170" fmla="*/ 413957 h 606647"/>
                <a:gd name="connsiteX171" fmla="*/ 543973 w 610362"/>
                <a:gd name="connsiteY171" fmla="*/ 449390 h 606647"/>
                <a:gd name="connsiteX172" fmla="*/ 540544 w 610362"/>
                <a:gd name="connsiteY172" fmla="*/ 464344 h 606647"/>
                <a:gd name="connsiteX173" fmla="*/ 539210 w 610362"/>
                <a:gd name="connsiteY173" fmla="*/ 468154 h 606647"/>
                <a:gd name="connsiteX174" fmla="*/ 529590 w 610362"/>
                <a:gd name="connsiteY174" fmla="*/ 478536 h 606647"/>
                <a:gd name="connsiteX175" fmla="*/ 529114 w 610362"/>
                <a:gd name="connsiteY175" fmla="*/ 502158 h 606647"/>
                <a:gd name="connsiteX176" fmla="*/ 517684 w 610362"/>
                <a:gd name="connsiteY176" fmla="*/ 512731 h 606647"/>
                <a:gd name="connsiteX177" fmla="*/ 504539 w 610362"/>
                <a:gd name="connsiteY177" fmla="*/ 537972 h 606647"/>
                <a:gd name="connsiteX178" fmla="*/ 503396 w 610362"/>
                <a:gd name="connsiteY178" fmla="*/ 570834 h 606647"/>
                <a:gd name="connsiteX179" fmla="*/ 500539 w 610362"/>
                <a:gd name="connsiteY179" fmla="*/ 576644 h 606647"/>
                <a:gd name="connsiteX180" fmla="*/ 499681 w 610362"/>
                <a:gd name="connsiteY180" fmla="*/ 583978 h 606647"/>
                <a:gd name="connsiteX181" fmla="*/ 495014 w 610362"/>
                <a:gd name="connsiteY181" fmla="*/ 590074 h 606647"/>
                <a:gd name="connsiteX182" fmla="*/ 494157 w 610362"/>
                <a:gd name="connsiteY182" fmla="*/ 597408 h 606647"/>
                <a:gd name="connsiteX183" fmla="*/ 487204 w 610362"/>
                <a:gd name="connsiteY183" fmla="*/ 600170 h 606647"/>
                <a:gd name="connsiteX184" fmla="*/ 478917 w 610362"/>
                <a:gd name="connsiteY184" fmla="*/ 606647 h 606647"/>
                <a:gd name="connsiteX185" fmla="*/ 476631 w 610362"/>
                <a:gd name="connsiteY185" fmla="*/ 603313 h 606647"/>
                <a:gd name="connsiteX186" fmla="*/ 467392 w 610362"/>
                <a:gd name="connsiteY186" fmla="*/ 602742 h 606647"/>
                <a:gd name="connsiteX187" fmla="*/ 459581 w 610362"/>
                <a:gd name="connsiteY187" fmla="*/ 598361 h 606647"/>
                <a:gd name="connsiteX188" fmla="*/ 460915 w 610362"/>
                <a:gd name="connsiteY188" fmla="*/ 594551 h 606647"/>
                <a:gd name="connsiteX189" fmla="*/ 466915 w 610362"/>
                <a:gd name="connsiteY189" fmla="*/ 584740 h 606647"/>
                <a:gd name="connsiteX190" fmla="*/ 465963 w 610362"/>
                <a:gd name="connsiteY190" fmla="*/ 577596 h 606647"/>
                <a:gd name="connsiteX191" fmla="*/ 467487 w 610362"/>
                <a:gd name="connsiteY191" fmla="*/ 575596 h 606647"/>
                <a:gd name="connsiteX192" fmla="*/ 467011 w 610362"/>
                <a:gd name="connsiteY192" fmla="*/ 571976 h 606647"/>
                <a:gd name="connsiteX193" fmla="*/ 463201 w 610362"/>
                <a:gd name="connsiteY193" fmla="*/ 570643 h 606647"/>
                <a:gd name="connsiteX194" fmla="*/ 460915 w 610362"/>
                <a:gd name="connsiteY194" fmla="*/ 567404 h 606647"/>
                <a:gd name="connsiteX195" fmla="*/ 462248 w 610362"/>
                <a:gd name="connsiteY195" fmla="*/ 563594 h 606647"/>
                <a:gd name="connsiteX196" fmla="*/ 459296 w 610362"/>
                <a:gd name="connsiteY196" fmla="*/ 554927 h 606647"/>
                <a:gd name="connsiteX197" fmla="*/ 462915 w 610362"/>
                <a:gd name="connsiteY197" fmla="*/ 554355 h 606647"/>
                <a:gd name="connsiteX198" fmla="*/ 462153 w 610362"/>
                <a:gd name="connsiteY198" fmla="*/ 549117 h 606647"/>
                <a:gd name="connsiteX199" fmla="*/ 459391 w 610362"/>
                <a:gd name="connsiteY199" fmla="*/ 542163 h 606647"/>
                <a:gd name="connsiteX200" fmla="*/ 462820 w 610362"/>
                <a:gd name="connsiteY200" fmla="*/ 539877 h 606647"/>
                <a:gd name="connsiteX201" fmla="*/ 458914 w 610362"/>
                <a:gd name="connsiteY201" fmla="*/ 538639 h 606647"/>
                <a:gd name="connsiteX202" fmla="*/ 462344 w 610362"/>
                <a:gd name="connsiteY202" fmla="*/ 536353 h 606647"/>
                <a:gd name="connsiteX203" fmla="*/ 459867 w 610362"/>
                <a:gd name="connsiteY203" fmla="*/ 531209 h 606647"/>
                <a:gd name="connsiteX204" fmla="*/ 450342 w 610362"/>
                <a:gd name="connsiteY204" fmla="*/ 528923 h 606647"/>
                <a:gd name="connsiteX205" fmla="*/ 449675 w 610362"/>
                <a:gd name="connsiteY205" fmla="*/ 523589 h 606647"/>
                <a:gd name="connsiteX206" fmla="*/ 452533 w 610362"/>
                <a:gd name="connsiteY206" fmla="*/ 517684 h 606647"/>
                <a:gd name="connsiteX207" fmla="*/ 452056 w 610362"/>
                <a:gd name="connsiteY207" fmla="*/ 514160 h 606647"/>
                <a:gd name="connsiteX208" fmla="*/ 455676 w 610362"/>
                <a:gd name="connsiteY208" fmla="*/ 513683 h 606647"/>
                <a:gd name="connsiteX209" fmla="*/ 453580 w 610362"/>
                <a:gd name="connsiteY209" fmla="*/ 512159 h 606647"/>
                <a:gd name="connsiteX210" fmla="*/ 457010 w 610362"/>
                <a:gd name="connsiteY210" fmla="*/ 509873 h 606647"/>
                <a:gd name="connsiteX211" fmla="*/ 454914 w 610362"/>
                <a:gd name="connsiteY211" fmla="*/ 508349 h 606647"/>
                <a:gd name="connsiteX212" fmla="*/ 456057 w 610362"/>
                <a:gd name="connsiteY212" fmla="*/ 502730 h 606647"/>
                <a:gd name="connsiteX213" fmla="*/ 453580 w 610362"/>
                <a:gd name="connsiteY213" fmla="*/ 497681 h 606647"/>
                <a:gd name="connsiteX214" fmla="*/ 454628 w 610362"/>
                <a:gd name="connsiteY214" fmla="*/ 492062 h 606647"/>
                <a:gd name="connsiteX215" fmla="*/ 446532 w 610362"/>
                <a:gd name="connsiteY215" fmla="*/ 485870 h 606647"/>
                <a:gd name="connsiteX216" fmla="*/ 449866 w 610362"/>
                <a:gd name="connsiteY216" fmla="*/ 483584 h 606647"/>
                <a:gd name="connsiteX217" fmla="*/ 443770 w 610362"/>
                <a:gd name="connsiteY217" fmla="*/ 479012 h 606647"/>
                <a:gd name="connsiteX218" fmla="*/ 441484 w 610362"/>
                <a:gd name="connsiteY218" fmla="*/ 475679 h 606647"/>
                <a:gd name="connsiteX219" fmla="*/ 444818 w 610362"/>
                <a:gd name="connsiteY219" fmla="*/ 473393 h 606647"/>
                <a:gd name="connsiteX220" fmla="*/ 440817 w 610362"/>
                <a:gd name="connsiteY220" fmla="*/ 470345 h 606647"/>
                <a:gd name="connsiteX221" fmla="*/ 437388 w 610362"/>
                <a:gd name="connsiteY221" fmla="*/ 472630 h 606647"/>
                <a:gd name="connsiteX222" fmla="*/ 426434 w 610362"/>
                <a:gd name="connsiteY222" fmla="*/ 472250 h 606647"/>
                <a:gd name="connsiteX223" fmla="*/ 419862 w 610362"/>
                <a:gd name="connsiteY223" fmla="*/ 464058 h 606647"/>
                <a:gd name="connsiteX224" fmla="*/ 410718 w 610362"/>
                <a:gd name="connsiteY224" fmla="*/ 477965 h 606647"/>
                <a:gd name="connsiteX225" fmla="*/ 385381 w 610362"/>
                <a:gd name="connsiteY225" fmla="*/ 479488 h 606647"/>
                <a:gd name="connsiteX226" fmla="*/ 379000 w 610362"/>
                <a:gd name="connsiteY226" fmla="*/ 473012 h 606647"/>
                <a:gd name="connsiteX227" fmla="*/ 372713 w 610362"/>
                <a:gd name="connsiteY227" fmla="*/ 481108 h 606647"/>
                <a:gd name="connsiteX228" fmla="*/ 359950 w 610362"/>
                <a:gd name="connsiteY228" fmla="*/ 481013 h 606647"/>
                <a:gd name="connsiteX229" fmla="*/ 354330 w 610362"/>
                <a:gd name="connsiteY229" fmla="*/ 479965 h 606647"/>
                <a:gd name="connsiteX230" fmla="*/ 348044 w 610362"/>
                <a:gd name="connsiteY230" fmla="*/ 487966 h 606647"/>
                <a:gd name="connsiteX231" fmla="*/ 347377 w 610362"/>
                <a:gd name="connsiteY231" fmla="*/ 482632 h 606647"/>
                <a:gd name="connsiteX232" fmla="*/ 339471 w 610362"/>
                <a:gd name="connsiteY232" fmla="*/ 478250 h 606647"/>
                <a:gd name="connsiteX233" fmla="*/ 332327 w 610362"/>
                <a:gd name="connsiteY233" fmla="*/ 479203 h 606647"/>
                <a:gd name="connsiteX234" fmla="*/ 328422 w 610362"/>
                <a:gd name="connsiteY234" fmla="*/ 477965 h 606647"/>
                <a:gd name="connsiteX235" fmla="*/ 327184 w 610362"/>
                <a:gd name="connsiteY235" fmla="*/ 481679 h 606647"/>
                <a:gd name="connsiteX236" fmla="*/ 325088 w 610362"/>
                <a:gd name="connsiteY236" fmla="*/ 480155 h 606647"/>
                <a:gd name="connsiteX237" fmla="*/ 314992 w 610362"/>
                <a:gd name="connsiteY237" fmla="*/ 472440 h 606647"/>
                <a:gd name="connsiteX238" fmla="*/ 309848 w 610362"/>
                <a:gd name="connsiteY238" fmla="*/ 474917 h 606647"/>
                <a:gd name="connsiteX239" fmla="*/ 309277 w 610362"/>
                <a:gd name="connsiteY239" fmla="*/ 471392 h 606647"/>
                <a:gd name="connsiteX240" fmla="*/ 305562 w 610362"/>
                <a:gd name="connsiteY240" fmla="*/ 470059 h 606647"/>
                <a:gd name="connsiteX241" fmla="*/ 304610 w 610362"/>
                <a:gd name="connsiteY241" fmla="*/ 462915 h 606647"/>
                <a:gd name="connsiteX242" fmla="*/ 299752 w 610362"/>
                <a:gd name="connsiteY242" fmla="*/ 454533 h 606647"/>
                <a:gd name="connsiteX243" fmla="*/ 289274 w 610362"/>
                <a:gd name="connsiteY243" fmla="*/ 457771 h 606647"/>
                <a:gd name="connsiteX244" fmla="*/ 288798 w 610362"/>
                <a:gd name="connsiteY244" fmla="*/ 454152 h 606647"/>
                <a:gd name="connsiteX245" fmla="*/ 286798 w 610362"/>
                <a:gd name="connsiteY245" fmla="*/ 452628 h 606647"/>
                <a:gd name="connsiteX246" fmla="*/ 283178 w 610362"/>
                <a:gd name="connsiteY246" fmla="*/ 453104 h 606647"/>
                <a:gd name="connsiteX247" fmla="*/ 281083 w 610362"/>
                <a:gd name="connsiteY247" fmla="*/ 451580 h 606647"/>
                <a:gd name="connsiteX248" fmla="*/ 284512 w 610362"/>
                <a:gd name="connsiteY248" fmla="*/ 449294 h 606647"/>
                <a:gd name="connsiteX249" fmla="*/ 280892 w 610362"/>
                <a:gd name="connsiteY249" fmla="*/ 449771 h 606647"/>
                <a:gd name="connsiteX250" fmla="*/ 278606 w 610362"/>
                <a:gd name="connsiteY250" fmla="*/ 446437 h 606647"/>
                <a:gd name="connsiteX251" fmla="*/ 271463 w 610362"/>
                <a:gd name="connsiteY251" fmla="*/ 447389 h 606647"/>
                <a:gd name="connsiteX252" fmla="*/ 262414 w 610362"/>
                <a:gd name="connsiteY252" fmla="*/ 448628 h 606647"/>
                <a:gd name="connsiteX253" fmla="*/ 260890 w 610362"/>
                <a:gd name="connsiteY253" fmla="*/ 450628 h 606647"/>
                <a:gd name="connsiteX254" fmla="*/ 257080 w 610362"/>
                <a:gd name="connsiteY254" fmla="*/ 449294 h 606647"/>
                <a:gd name="connsiteX255" fmla="*/ 245650 w 610362"/>
                <a:gd name="connsiteY255" fmla="*/ 459867 h 606647"/>
                <a:gd name="connsiteX256" fmla="*/ 242316 w 610362"/>
                <a:gd name="connsiteY256" fmla="*/ 462153 h 606647"/>
                <a:gd name="connsiteX257" fmla="*/ 237554 w 610362"/>
                <a:gd name="connsiteY257" fmla="*/ 453676 h 606647"/>
                <a:gd name="connsiteX258" fmla="*/ 232791 w 610362"/>
                <a:gd name="connsiteY258" fmla="*/ 445294 h 606647"/>
                <a:gd name="connsiteX259" fmla="*/ 233839 w 610362"/>
                <a:gd name="connsiteY259" fmla="*/ 439674 h 606647"/>
                <a:gd name="connsiteX260" fmla="*/ 238315 w 610362"/>
                <a:gd name="connsiteY260" fmla="*/ 431863 h 606647"/>
                <a:gd name="connsiteX261" fmla="*/ 236887 w 610362"/>
                <a:gd name="connsiteY261" fmla="*/ 421100 h 606647"/>
                <a:gd name="connsiteX262" fmla="*/ 234505 w 610362"/>
                <a:gd name="connsiteY262" fmla="*/ 403384 h 606647"/>
                <a:gd name="connsiteX263" fmla="*/ 224600 w 610362"/>
                <a:gd name="connsiteY263" fmla="*/ 397383 h 606647"/>
                <a:gd name="connsiteX264" fmla="*/ 219837 w 610362"/>
                <a:gd name="connsiteY264" fmla="*/ 389001 h 606647"/>
                <a:gd name="connsiteX265" fmla="*/ 211931 w 610362"/>
                <a:gd name="connsiteY265" fmla="*/ 384524 h 606647"/>
                <a:gd name="connsiteX266" fmla="*/ 204502 w 610362"/>
                <a:gd name="connsiteY266" fmla="*/ 383762 h 606647"/>
                <a:gd name="connsiteX267" fmla="*/ 204311 w 610362"/>
                <a:gd name="connsiteY267" fmla="*/ 381953 h 606647"/>
                <a:gd name="connsiteX268" fmla="*/ 195548 w 610362"/>
                <a:gd name="connsiteY268" fmla="*/ 384905 h 606647"/>
                <a:gd name="connsiteX269" fmla="*/ 192691 w 610362"/>
                <a:gd name="connsiteY269" fmla="*/ 390716 h 606647"/>
                <a:gd name="connsiteX270" fmla="*/ 190881 w 610362"/>
                <a:gd name="connsiteY270" fmla="*/ 391001 h 606647"/>
                <a:gd name="connsiteX271" fmla="*/ 179642 w 610362"/>
                <a:gd name="connsiteY271" fmla="*/ 388811 h 606647"/>
                <a:gd name="connsiteX272" fmla="*/ 172688 w 610362"/>
                <a:gd name="connsiteY272" fmla="*/ 391573 h 606647"/>
                <a:gd name="connsiteX273" fmla="*/ 157829 w 610362"/>
                <a:gd name="connsiteY273" fmla="*/ 389954 h 606647"/>
                <a:gd name="connsiteX274" fmla="*/ 158687 w 610362"/>
                <a:gd name="connsiteY274" fmla="*/ 382524 h 606647"/>
                <a:gd name="connsiteX275" fmla="*/ 146971 w 610362"/>
                <a:gd name="connsiteY275" fmla="*/ 376809 h 606647"/>
                <a:gd name="connsiteX276" fmla="*/ 133731 w 610362"/>
                <a:gd name="connsiteY276" fmla="*/ 373190 h 606647"/>
                <a:gd name="connsiteX277" fmla="*/ 125349 w 610362"/>
                <a:gd name="connsiteY277" fmla="*/ 365188 h 606647"/>
                <a:gd name="connsiteX278" fmla="*/ 122777 w 610362"/>
                <a:gd name="connsiteY278" fmla="*/ 360140 h 606647"/>
                <a:gd name="connsiteX279" fmla="*/ 108299 w 610362"/>
                <a:gd name="connsiteY279" fmla="*/ 347472 h 606647"/>
                <a:gd name="connsiteX280" fmla="*/ 101918 w 610362"/>
                <a:gd name="connsiteY280" fmla="*/ 353759 h 606647"/>
                <a:gd name="connsiteX281" fmla="*/ 96107 w 610362"/>
                <a:gd name="connsiteY281" fmla="*/ 365474 h 606647"/>
                <a:gd name="connsiteX282" fmla="*/ 89345 w 610362"/>
                <a:gd name="connsiteY282" fmla="*/ 369951 h 606647"/>
                <a:gd name="connsiteX283" fmla="*/ 86678 w 610362"/>
                <a:gd name="connsiteY283" fmla="*/ 363093 h 606647"/>
                <a:gd name="connsiteX284" fmla="*/ 72295 w 610362"/>
                <a:gd name="connsiteY284" fmla="*/ 364998 h 606647"/>
                <a:gd name="connsiteX285" fmla="*/ 54102 w 610362"/>
                <a:gd name="connsiteY285" fmla="*/ 365570 h 606647"/>
                <a:gd name="connsiteX286" fmla="*/ 39910 w 610362"/>
                <a:gd name="connsiteY286" fmla="*/ 354711 h 606647"/>
                <a:gd name="connsiteX287" fmla="*/ 35528 w 610362"/>
                <a:gd name="connsiteY287" fmla="*/ 349853 h 606647"/>
                <a:gd name="connsiteX288" fmla="*/ 23813 w 610362"/>
                <a:gd name="connsiteY288" fmla="*/ 344138 h 606647"/>
                <a:gd name="connsiteX289" fmla="*/ 6953 w 610362"/>
                <a:gd name="connsiteY289" fmla="*/ 340995 h 606647"/>
                <a:gd name="connsiteX290" fmla="*/ 6477 w 610362"/>
                <a:gd name="connsiteY290" fmla="*/ 337376 h 606647"/>
                <a:gd name="connsiteX291" fmla="*/ 9144 w 610362"/>
                <a:gd name="connsiteY291" fmla="*/ 329755 h 606647"/>
                <a:gd name="connsiteX292" fmla="*/ 9811 w 610362"/>
                <a:gd name="connsiteY292" fmla="*/ 320612 h 606647"/>
                <a:gd name="connsiteX293" fmla="*/ 4096 w 610362"/>
                <a:gd name="connsiteY293" fmla="*/ 305086 h 606647"/>
                <a:gd name="connsiteX294" fmla="*/ 0 w 610362"/>
                <a:gd name="connsiteY294" fmla="*/ 302038 h 606647"/>
                <a:gd name="connsiteX295" fmla="*/ 3143 w 610362"/>
                <a:gd name="connsiteY295" fmla="*/ 297942 h 606647"/>
                <a:gd name="connsiteX296" fmla="*/ 10478 w 610362"/>
                <a:gd name="connsiteY296" fmla="*/ 284321 h 606647"/>
                <a:gd name="connsiteX297" fmla="*/ 7906 w 610362"/>
                <a:gd name="connsiteY297" fmla="*/ 279178 h 606647"/>
                <a:gd name="connsiteX298" fmla="*/ 11716 w 610362"/>
                <a:gd name="connsiteY298" fmla="*/ 280511 h 606647"/>
                <a:gd name="connsiteX299" fmla="*/ 17050 w 610362"/>
                <a:gd name="connsiteY299" fmla="*/ 265271 h 606647"/>
                <a:gd name="connsiteX300" fmla="*/ 10954 w 610362"/>
                <a:gd name="connsiteY300" fmla="*/ 260699 h 606647"/>
                <a:gd name="connsiteX301" fmla="*/ 19812 w 610362"/>
                <a:gd name="connsiteY301" fmla="*/ 244983 h 606647"/>
                <a:gd name="connsiteX302" fmla="*/ 25813 w 610362"/>
                <a:gd name="connsiteY302" fmla="*/ 235172 h 606647"/>
                <a:gd name="connsiteX303" fmla="*/ 48006 w 610362"/>
                <a:gd name="connsiteY303" fmla="*/ 223171 h 606647"/>
                <a:gd name="connsiteX304" fmla="*/ 46768 w 610362"/>
                <a:gd name="connsiteY304" fmla="*/ 199739 h 606647"/>
                <a:gd name="connsiteX305" fmla="*/ 40672 w 610362"/>
                <a:gd name="connsiteY305" fmla="*/ 195072 h 606647"/>
                <a:gd name="connsiteX306" fmla="*/ 36386 w 610362"/>
                <a:gd name="connsiteY306" fmla="*/ 190214 h 606647"/>
                <a:gd name="connsiteX307" fmla="*/ 13621 w 610362"/>
                <a:gd name="connsiteY307" fmla="*/ 184213 h 606647"/>
                <a:gd name="connsiteX308" fmla="*/ 17336 w 610362"/>
                <a:gd name="connsiteY308" fmla="*/ 170974 h 606647"/>
                <a:gd name="connsiteX309" fmla="*/ 24955 w 610362"/>
                <a:gd name="connsiteY309" fmla="*/ 159068 h 606647"/>
                <a:gd name="connsiteX310" fmla="*/ 31052 w 610362"/>
                <a:gd name="connsiteY310" fmla="*/ 163735 h 606647"/>
                <a:gd name="connsiteX311" fmla="*/ 40196 w 610362"/>
                <a:gd name="connsiteY311" fmla="*/ 149828 h 606647"/>
                <a:gd name="connsiteX312" fmla="*/ 30766 w 610362"/>
                <a:gd name="connsiteY312" fmla="*/ 147447 h 606647"/>
                <a:gd name="connsiteX313" fmla="*/ 27718 w 610362"/>
                <a:gd name="connsiteY313" fmla="*/ 138779 h 606647"/>
                <a:gd name="connsiteX314" fmla="*/ 40291 w 610362"/>
                <a:gd name="connsiteY314" fmla="*/ 137160 h 606647"/>
                <a:gd name="connsiteX315" fmla="*/ 39814 w 610362"/>
                <a:gd name="connsiteY315" fmla="*/ 133541 h 606647"/>
                <a:gd name="connsiteX316" fmla="*/ 44958 w 610362"/>
                <a:gd name="connsiteY316" fmla="*/ 131064 h 606647"/>
                <a:gd name="connsiteX317" fmla="*/ 50959 w 610362"/>
                <a:gd name="connsiteY317" fmla="*/ 121253 h 606647"/>
                <a:gd name="connsiteX318" fmla="*/ 43148 w 610362"/>
                <a:gd name="connsiteY318" fmla="*/ 116777 h 606647"/>
                <a:gd name="connsiteX319" fmla="*/ 46006 w 610362"/>
                <a:gd name="connsiteY319" fmla="*/ 110966 h 606647"/>
                <a:gd name="connsiteX320" fmla="*/ 32195 w 610362"/>
                <a:gd name="connsiteY320" fmla="*/ 103727 h 606647"/>
                <a:gd name="connsiteX321" fmla="*/ 40291 w 610362"/>
                <a:gd name="connsiteY321" fmla="*/ 95441 h 606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</a:cxnLst>
              <a:rect l="l" t="t" r="r" b="b"/>
              <a:pathLst>
                <a:path w="610362" h="606647">
                  <a:moveTo>
                    <a:pt x="40291" y="95441"/>
                  </a:moveTo>
                  <a:lnTo>
                    <a:pt x="54864" y="95345"/>
                  </a:lnTo>
                  <a:lnTo>
                    <a:pt x="79820" y="90202"/>
                  </a:lnTo>
                  <a:lnTo>
                    <a:pt x="89630" y="81629"/>
                  </a:lnTo>
                  <a:lnTo>
                    <a:pt x="87630" y="80105"/>
                  </a:lnTo>
                  <a:lnTo>
                    <a:pt x="99917" y="76676"/>
                  </a:lnTo>
                  <a:lnTo>
                    <a:pt x="113062" y="65818"/>
                  </a:lnTo>
                  <a:lnTo>
                    <a:pt x="117158" y="68961"/>
                  </a:lnTo>
                  <a:lnTo>
                    <a:pt x="118301" y="63341"/>
                  </a:lnTo>
                  <a:lnTo>
                    <a:pt x="125921" y="66008"/>
                  </a:lnTo>
                  <a:lnTo>
                    <a:pt x="124873" y="71533"/>
                  </a:lnTo>
                  <a:lnTo>
                    <a:pt x="126873" y="73057"/>
                  </a:lnTo>
                  <a:lnTo>
                    <a:pt x="124015" y="78867"/>
                  </a:lnTo>
                  <a:lnTo>
                    <a:pt x="122872" y="84487"/>
                  </a:lnTo>
                  <a:lnTo>
                    <a:pt x="128111" y="96488"/>
                  </a:lnTo>
                  <a:lnTo>
                    <a:pt x="122968" y="98965"/>
                  </a:lnTo>
                  <a:lnTo>
                    <a:pt x="125730" y="105918"/>
                  </a:lnTo>
                  <a:lnTo>
                    <a:pt x="145256" y="101537"/>
                  </a:lnTo>
                  <a:lnTo>
                    <a:pt x="152400" y="100489"/>
                  </a:lnTo>
                  <a:lnTo>
                    <a:pt x="162878" y="110014"/>
                  </a:lnTo>
                  <a:lnTo>
                    <a:pt x="166402" y="109538"/>
                  </a:lnTo>
                  <a:lnTo>
                    <a:pt x="167164" y="114871"/>
                  </a:lnTo>
                  <a:lnTo>
                    <a:pt x="180213" y="116777"/>
                  </a:lnTo>
                  <a:lnTo>
                    <a:pt x="193929" y="124016"/>
                  </a:lnTo>
                  <a:lnTo>
                    <a:pt x="195263" y="120205"/>
                  </a:lnTo>
                  <a:lnTo>
                    <a:pt x="196787" y="118205"/>
                  </a:lnTo>
                  <a:lnTo>
                    <a:pt x="198120" y="114395"/>
                  </a:lnTo>
                  <a:lnTo>
                    <a:pt x="203740" y="115538"/>
                  </a:lnTo>
                  <a:lnTo>
                    <a:pt x="207073" y="113252"/>
                  </a:lnTo>
                  <a:lnTo>
                    <a:pt x="210503" y="110966"/>
                  </a:lnTo>
                  <a:lnTo>
                    <a:pt x="205169" y="98965"/>
                  </a:lnTo>
                  <a:lnTo>
                    <a:pt x="206597" y="95155"/>
                  </a:lnTo>
                  <a:lnTo>
                    <a:pt x="208597" y="96679"/>
                  </a:lnTo>
                  <a:lnTo>
                    <a:pt x="209455" y="89345"/>
                  </a:lnTo>
                  <a:lnTo>
                    <a:pt x="212788" y="87154"/>
                  </a:lnTo>
                  <a:lnTo>
                    <a:pt x="212312" y="83534"/>
                  </a:lnTo>
                  <a:lnTo>
                    <a:pt x="214122" y="83344"/>
                  </a:lnTo>
                  <a:lnTo>
                    <a:pt x="217456" y="81058"/>
                  </a:lnTo>
                  <a:lnTo>
                    <a:pt x="219742" y="84392"/>
                  </a:lnTo>
                  <a:lnTo>
                    <a:pt x="223076" y="82105"/>
                  </a:lnTo>
                  <a:lnTo>
                    <a:pt x="222409" y="76771"/>
                  </a:lnTo>
                  <a:lnTo>
                    <a:pt x="232220" y="68199"/>
                  </a:lnTo>
                  <a:lnTo>
                    <a:pt x="233077" y="60865"/>
                  </a:lnTo>
                  <a:lnTo>
                    <a:pt x="243364" y="55912"/>
                  </a:lnTo>
                  <a:lnTo>
                    <a:pt x="246317" y="50102"/>
                  </a:lnTo>
                  <a:lnTo>
                    <a:pt x="241935" y="45149"/>
                  </a:lnTo>
                  <a:lnTo>
                    <a:pt x="241745" y="43434"/>
                  </a:lnTo>
                  <a:lnTo>
                    <a:pt x="246888" y="40862"/>
                  </a:lnTo>
                  <a:lnTo>
                    <a:pt x="250984" y="44005"/>
                  </a:lnTo>
                  <a:lnTo>
                    <a:pt x="263652" y="29623"/>
                  </a:lnTo>
                  <a:lnTo>
                    <a:pt x="268414" y="38005"/>
                  </a:lnTo>
                  <a:lnTo>
                    <a:pt x="270034" y="36004"/>
                  </a:lnTo>
                  <a:lnTo>
                    <a:pt x="286036" y="46577"/>
                  </a:lnTo>
                  <a:lnTo>
                    <a:pt x="299752" y="53816"/>
                  </a:lnTo>
                  <a:lnTo>
                    <a:pt x="316992" y="46101"/>
                  </a:lnTo>
                  <a:lnTo>
                    <a:pt x="320612" y="45625"/>
                  </a:lnTo>
                  <a:lnTo>
                    <a:pt x="322897" y="48959"/>
                  </a:lnTo>
                  <a:lnTo>
                    <a:pt x="326231" y="46673"/>
                  </a:lnTo>
                  <a:lnTo>
                    <a:pt x="329375" y="42672"/>
                  </a:lnTo>
                  <a:lnTo>
                    <a:pt x="331184" y="42482"/>
                  </a:lnTo>
                  <a:lnTo>
                    <a:pt x="330898" y="40672"/>
                  </a:lnTo>
                  <a:lnTo>
                    <a:pt x="331756" y="33338"/>
                  </a:lnTo>
                  <a:lnTo>
                    <a:pt x="336899" y="30766"/>
                  </a:lnTo>
                  <a:lnTo>
                    <a:pt x="338614" y="16097"/>
                  </a:lnTo>
                  <a:lnTo>
                    <a:pt x="344234" y="17145"/>
                  </a:lnTo>
                  <a:lnTo>
                    <a:pt x="348805" y="23813"/>
                  </a:lnTo>
                  <a:lnTo>
                    <a:pt x="360712" y="31242"/>
                  </a:lnTo>
                  <a:lnTo>
                    <a:pt x="371570" y="29813"/>
                  </a:lnTo>
                  <a:lnTo>
                    <a:pt x="386334" y="17050"/>
                  </a:lnTo>
                  <a:lnTo>
                    <a:pt x="393954" y="19621"/>
                  </a:lnTo>
                  <a:lnTo>
                    <a:pt x="393478" y="16097"/>
                  </a:lnTo>
                  <a:lnTo>
                    <a:pt x="400907" y="16859"/>
                  </a:lnTo>
                  <a:lnTo>
                    <a:pt x="400621" y="15145"/>
                  </a:lnTo>
                  <a:lnTo>
                    <a:pt x="404431" y="16383"/>
                  </a:lnTo>
                  <a:lnTo>
                    <a:pt x="404241" y="14669"/>
                  </a:lnTo>
                  <a:lnTo>
                    <a:pt x="407861" y="14192"/>
                  </a:lnTo>
                  <a:lnTo>
                    <a:pt x="407098" y="8763"/>
                  </a:lnTo>
                  <a:lnTo>
                    <a:pt x="412052" y="4572"/>
                  </a:lnTo>
                  <a:lnTo>
                    <a:pt x="418719" y="0"/>
                  </a:lnTo>
                  <a:lnTo>
                    <a:pt x="426148" y="857"/>
                  </a:lnTo>
                  <a:lnTo>
                    <a:pt x="425291" y="8192"/>
                  </a:lnTo>
                  <a:lnTo>
                    <a:pt x="426530" y="17145"/>
                  </a:lnTo>
                  <a:lnTo>
                    <a:pt x="431006" y="23813"/>
                  </a:lnTo>
                  <a:lnTo>
                    <a:pt x="431006" y="23813"/>
                  </a:lnTo>
                  <a:lnTo>
                    <a:pt x="431292" y="25622"/>
                  </a:lnTo>
                  <a:lnTo>
                    <a:pt x="429482" y="25813"/>
                  </a:lnTo>
                  <a:lnTo>
                    <a:pt x="423863" y="24765"/>
                  </a:lnTo>
                  <a:lnTo>
                    <a:pt x="421481" y="34100"/>
                  </a:lnTo>
                  <a:lnTo>
                    <a:pt x="423672" y="37433"/>
                  </a:lnTo>
                  <a:lnTo>
                    <a:pt x="428435" y="45911"/>
                  </a:lnTo>
                  <a:lnTo>
                    <a:pt x="428149" y="56769"/>
                  </a:lnTo>
                  <a:lnTo>
                    <a:pt x="436245" y="62960"/>
                  </a:lnTo>
                  <a:lnTo>
                    <a:pt x="439007" y="69818"/>
                  </a:lnTo>
                  <a:lnTo>
                    <a:pt x="429101" y="78391"/>
                  </a:lnTo>
                  <a:lnTo>
                    <a:pt x="432149" y="87059"/>
                  </a:lnTo>
                  <a:lnTo>
                    <a:pt x="443960" y="80105"/>
                  </a:lnTo>
                  <a:lnTo>
                    <a:pt x="455486" y="84011"/>
                  </a:lnTo>
                  <a:lnTo>
                    <a:pt x="457771" y="87344"/>
                  </a:lnTo>
                  <a:lnTo>
                    <a:pt x="456438" y="91154"/>
                  </a:lnTo>
                  <a:lnTo>
                    <a:pt x="468821" y="102203"/>
                  </a:lnTo>
                  <a:lnTo>
                    <a:pt x="465677" y="106204"/>
                  </a:lnTo>
                  <a:lnTo>
                    <a:pt x="470059" y="111062"/>
                  </a:lnTo>
                  <a:lnTo>
                    <a:pt x="465296" y="117158"/>
                  </a:lnTo>
                  <a:lnTo>
                    <a:pt x="461772" y="117634"/>
                  </a:lnTo>
                  <a:lnTo>
                    <a:pt x="464439" y="124492"/>
                  </a:lnTo>
                  <a:lnTo>
                    <a:pt x="462915" y="126492"/>
                  </a:lnTo>
                  <a:lnTo>
                    <a:pt x="465392" y="131636"/>
                  </a:lnTo>
                  <a:lnTo>
                    <a:pt x="462344" y="135636"/>
                  </a:lnTo>
                  <a:lnTo>
                    <a:pt x="465296" y="144304"/>
                  </a:lnTo>
                  <a:lnTo>
                    <a:pt x="455390" y="152876"/>
                  </a:lnTo>
                  <a:lnTo>
                    <a:pt x="454533" y="160306"/>
                  </a:lnTo>
                  <a:lnTo>
                    <a:pt x="452342" y="156972"/>
                  </a:lnTo>
                  <a:lnTo>
                    <a:pt x="449675" y="164497"/>
                  </a:lnTo>
                  <a:lnTo>
                    <a:pt x="462725" y="166497"/>
                  </a:lnTo>
                  <a:lnTo>
                    <a:pt x="463201" y="170021"/>
                  </a:lnTo>
                  <a:lnTo>
                    <a:pt x="460248" y="175832"/>
                  </a:lnTo>
                  <a:lnTo>
                    <a:pt x="471106" y="174403"/>
                  </a:lnTo>
                  <a:lnTo>
                    <a:pt x="475107" y="177451"/>
                  </a:lnTo>
                  <a:lnTo>
                    <a:pt x="478536" y="175260"/>
                  </a:lnTo>
                  <a:lnTo>
                    <a:pt x="482346" y="176498"/>
                  </a:lnTo>
                  <a:lnTo>
                    <a:pt x="479203" y="180594"/>
                  </a:lnTo>
                  <a:lnTo>
                    <a:pt x="479203" y="180594"/>
                  </a:lnTo>
                  <a:lnTo>
                    <a:pt x="475583" y="181070"/>
                  </a:lnTo>
                  <a:lnTo>
                    <a:pt x="473773" y="181261"/>
                  </a:lnTo>
                  <a:lnTo>
                    <a:pt x="470440" y="183547"/>
                  </a:lnTo>
                  <a:lnTo>
                    <a:pt x="470726" y="185357"/>
                  </a:lnTo>
                  <a:lnTo>
                    <a:pt x="472535" y="185071"/>
                  </a:lnTo>
                  <a:lnTo>
                    <a:pt x="474059" y="183071"/>
                  </a:lnTo>
                  <a:lnTo>
                    <a:pt x="477869" y="184404"/>
                  </a:lnTo>
                  <a:lnTo>
                    <a:pt x="478346" y="187928"/>
                  </a:lnTo>
                  <a:lnTo>
                    <a:pt x="473202" y="190405"/>
                  </a:lnTo>
                  <a:lnTo>
                    <a:pt x="461010" y="181166"/>
                  </a:lnTo>
                  <a:lnTo>
                    <a:pt x="457867" y="185261"/>
                  </a:lnTo>
                  <a:lnTo>
                    <a:pt x="444818" y="183356"/>
                  </a:lnTo>
                  <a:lnTo>
                    <a:pt x="433483" y="193929"/>
                  </a:lnTo>
                  <a:lnTo>
                    <a:pt x="446532" y="210312"/>
                  </a:lnTo>
                  <a:lnTo>
                    <a:pt x="443484" y="214313"/>
                  </a:lnTo>
                  <a:lnTo>
                    <a:pt x="436531" y="217075"/>
                  </a:lnTo>
                  <a:lnTo>
                    <a:pt x="441008" y="223742"/>
                  </a:lnTo>
                  <a:lnTo>
                    <a:pt x="444627" y="223266"/>
                  </a:lnTo>
                  <a:lnTo>
                    <a:pt x="445103" y="226790"/>
                  </a:lnTo>
                  <a:lnTo>
                    <a:pt x="443579" y="228791"/>
                  </a:lnTo>
                  <a:lnTo>
                    <a:pt x="446056" y="233934"/>
                  </a:lnTo>
                  <a:lnTo>
                    <a:pt x="446151" y="248412"/>
                  </a:lnTo>
                  <a:lnTo>
                    <a:pt x="442817" y="250698"/>
                  </a:lnTo>
                  <a:lnTo>
                    <a:pt x="439864" y="256508"/>
                  </a:lnTo>
                  <a:lnTo>
                    <a:pt x="443770" y="257842"/>
                  </a:lnTo>
                  <a:lnTo>
                    <a:pt x="454343" y="269081"/>
                  </a:lnTo>
                  <a:lnTo>
                    <a:pt x="467868" y="274511"/>
                  </a:lnTo>
                  <a:lnTo>
                    <a:pt x="474250" y="280988"/>
                  </a:lnTo>
                  <a:lnTo>
                    <a:pt x="476726" y="286036"/>
                  </a:lnTo>
                  <a:lnTo>
                    <a:pt x="481298" y="292703"/>
                  </a:lnTo>
                  <a:lnTo>
                    <a:pt x="484442" y="303181"/>
                  </a:lnTo>
                  <a:lnTo>
                    <a:pt x="486156" y="330137"/>
                  </a:lnTo>
                  <a:lnTo>
                    <a:pt x="497205" y="330518"/>
                  </a:lnTo>
                  <a:lnTo>
                    <a:pt x="510921" y="337757"/>
                  </a:lnTo>
                  <a:lnTo>
                    <a:pt x="514350" y="335471"/>
                  </a:lnTo>
                  <a:lnTo>
                    <a:pt x="532162" y="318611"/>
                  </a:lnTo>
                  <a:lnTo>
                    <a:pt x="544259" y="313373"/>
                  </a:lnTo>
                  <a:lnTo>
                    <a:pt x="563499" y="334423"/>
                  </a:lnTo>
                  <a:lnTo>
                    <a:pt x="560451" y="338423"/>
                  </a:lnTo>
                  <a:lnTo>
                    <a:pt x="574358" y="347472"/>
                  </a:lnTo>
                  <a:lnTo>
                    <a:pt x="585026" y="358712"/>
                  </a:lnTo>
                  <a:lnTo>
                    <a:pt x="588359" y="356521"/>
                  </a:lnTo>
                  <a:lnTo>
                    <a:pt x="598265" y="362426"/>
                  </a:lnTo>
                  <a:lnTo>
                    <a:pt x="610362" y="357188"/>
                  </a:lnTo>
                  <a:lnTo>
                    <a:pt x="608743" y="371951"/>
                  </a:lnTo>
                  <a:lnTo>
                    <a:pt x="593217" y="379476"/>
                  </a:lnTo>
                  <a:lnTo>
                    <a:pt x="580263" y="392049"/>
                  </a:lnTo>
                  <a:lnTo>
                    <a:pt x="568643" y="400812"/>
                  </a:lnTo>
                  <a:lnTo>
                    <a:pt x="564928" y="413957"/>
                  </a:lnTo>
                  <a:lnTo>
                    <a:pt x="543973" y="449390"/>
                  </a:lnTo>
                  <a:lnTo>
                    <a:pt x="540544" y="464344"/>
                  </a:lnTo>
                  <a:lnTo>
                    <a:pt x="539210" y="468154"/>
                  </a:lnTo>
                  <a:lnTo>
                    <a:pt x="529590" y="478536"/>
                  </a:lnTo>
                  <a:lnTo>
                    <a:pt x="529114" y="502158"/>
                  </a:lnTo>
                  <a:lnTo>
                    <a:pt x="517684" y="512731"/>
                  </a:lnTo>
                  <a:lnTo>
                    <a:pt x="504539" y="537972"/>
                  </a:lnTo>
                  <a:lnTo>
                    <a:pt x="503396" y="570834"/>
                  </a:lnTo>
                  <a:lnTo>
                    <a:pt x="500539" y="576644"/>
                  </a:lnTo>
                  <a:lnTo>
                    <a:pt x="499681" y="583978"/>
                  </a:lnTo>
                  <a:lnTo>
                    <a:pt x="495014" y="590074"/>
                  </a:lnTo>
                  <a:lnTo>
                    <a:pt x="494157" y="597408"/>
                  </a:lnTo>
                  <a:lnTo>
                    <a:pt x="487204" y="600170"/>
                  </a:lnTo>
                  <a:lnTo>
                    <a:pt x="478917" y="606647"/>
                  </a:lnTo>
                  <a:lnTo>
                    <a:pt x="476631" y="603313"/>
                  </a:lnTo>
                  <a:lnTo>
                    <a:pt x="467392" y="602742"/>
                  </a:lnTo>
                  <a:lnTo>
                    <a:pt x="459581" y="598361"/>
                  </a:lnTo>
                  <a:lnTo>
                    <a:pt x="460915" y="594551"/>
                  </a:lnTo>
                  <a:lnTo>
                    <a:pt x="466915" y="584740"/>
                  </a:lnTo>
                  <a:lnTo>
                    <a:pt x="465963" y="577596"/>
                  </a:lnTo>
                  <a:lnTo>
                    <a:pt x="467487" y="575596"/>
                  </a:lnTo>
                  <a:lnTo>
                    <a:pt x="467011" y="571976"/>
                  </a:lnTo>
                  <a:lnTo>
                    <a:pt x="463201" y="570643"/>
                  </a:lnTo>
                  <a:lnTo>
                    <a:pt x="460915" y="567404"/>
                  </a:lnTo>
                  <a:lnTo>
                    <a:pt x="462248" y="563594"/>
                  </a:lnTo>
                  <a:lnTo>
                    <a:pt x="459296" y="554927"/>
                  </a:lnTo>
                  <a:lnTo>
                    <a:pt x="462915" y="554355"/>
                  </a:lnTo>
                  <a:lnTo>
                    <a:pt x="462153" y="549117"/>
                  </a:lnTo>
                  <a:lnTo>
                    <a:pt x="459391" y="542163"/>
                  </a:lnTo>
                  <a:lnTo>
                    <a:pt x="462820" y="539877"/>
                  </a:lnTo>
                  <a:lnTo>
                    <a:pt x="458914" y="538639"/>
                  </a:lnTo>
                  <a:lnTo>
                    <a:pt x="462344" y="536353"/>
                  </a:lnTo>
                  <a:lnTo>
                    <a:pt x="459867" y="531209"/>
                  </a:lnTo>
                  <a:lnTo>
                    <a:pt x="450342" y="528923"/>
                  </a:lnTo>
                  <a:lnTo>
                    <a:pt x="449675" y="523589"/>
                  </a:lnTo>
                  <a:lnTo>
                    <a:pt x="452533" y="517684"/>
                  </a:lnTo>
                  <a:lnTo>
                    <a:pt x="452056" y="514160"/>
                  </a:lnTo>
                  <a:lnTo>
                    <a:pt x="455676" y="513683"/>
                  </a:lnTo>
                  <a:lnTo>
                    <a:pt x="453580" y="512159"/>
                  </a:lnTo>
                  <a:lnTo>
                    <a:pt x="457010" y="509873"/>
                  </a:lnTo>
                  <a:lnTo>
                    <a:pt x="454914" y="508349"/>
                  </a:lnTo>
                  <a:lnTo>
                    <a:pt x="456057" y="502730"/>
                  </a:lnTo>
                  <a:lnTo>
                    <a:pt x="453580" y="497681"/>
                  </a:lnTo>
                  <a:lnTo>
                    <a:pt x="454628" y="492062"/>
                  </a:lnTo>
                  <a:lnTo>
                    <a:pt x="446532" y="485870"/>
                  </a:lnTo>
                  <a:lnTo>
                    <a:pt x="449866" y="483584"/>
                  </a:lnTo>
                  <a:lnTo>
                    <a:pt x="443770" y="479012"/>
                  </a:lnTo>
                  <a:lnTo>
                    <a:pt x="441484" y="475679"/>
                  </a:lnTo>
                  <a:lnTo>
                    <a:pt x="444818" y="473393"/>
                  </a:lnTo>
                  <a:lnTo>
                    <a:pt x="440817" y="470345"/>
                  </a:lnTo>
                  <a:lnTo>
                    <a:pt x="437388" y="472630"/>
                  </a:lnTo>
                  <a:lnTo>
                    <a:pt x="426434" y="472250"/>
                  </a:lnTo>
                  <a:lnTo>
                    <a:pt x="419862" y="464058"/>
                  </a:lnTo>
                  <a:lnTo>
                    <a:pt x="410718" y="477965"/>
                  </a:lnTo>
                  <a:lnTo>
                    <a:pt x="385381" y="479488"/>
                  </a:lnTo>
                  <a:lnTo>
                    <a:pt x="379000" y="473012"/>
                  </a:lnTo>
                  <a:lnTo>
                    <a:pt x="372713" y="481108"/>
                  </a:lnTo>
                  <a:lnTo>
                    <a:pt x="359950" y="481013"/>
                  </a:lnTo>
                  <a:lnTo>
                    <a:pt x="354330" y="479965"/>
                  </a:lnTo>
                  <a:lnTo>
                    <a:pt x="348044" y="487966"/>
                  </a:lnTo>
                  <a:lnTo>
                    <a:pt x="347377" y="482632"/>
                  </a:lnTo>
                  <a:lnTo>
                    <a:pt x="339471" y="478250"/>
                  </a:lnTo>
                  <a:lnTo>
                    <a:pt x="332327" y="479203"/>
                  </a:lnTo>
                  <a:lnTo>
                    <a:pt x="328422" y="477965"/>
                  </a:lnTo>
                  <a:lnTo>
                    <a:pt x="327184" y="481679"/>
                  </a:lnTo>
                  <a:lnTo>
                    <a:pt x="325088" y="480155"/>
                  </a:lnTo>
                  <a:lnTo>
                    <a:pt x="314992" y="472440"/>
                  </a:lnTo>
                  <a:lnTo>
                    <a:pt x="309848" y="474917"/>
                  </a:lnTo>
                  <a:lnTo>
                    <a:pt x="309277" y="471392"/>
                  </a:lnTo>
                  <a:lnTo>
                    <a:pt x="305562" y="470059"/>
                  </a:lnTo>
                  <a:lnTo>
                    <a:pt x="304610" y="462915"/>
                  </a:lnTo>
                  <a:lnTo>
                    <a:pt x="299752" y="454533"/>
                  </a:lnTo>
                  <a:lnTo>
                    <a:pt x="289274" y="457771"/>
                  </a:lnTo>
                  <a:lnTo>
                    <a:pt x="288798" y="454152"/>
                  </a:lnTo>
                  <a:lnTo>
                    <a:pt x="286798" y="452628"/>
                  </a:lnTo>
                  <a:lnTo>
                    <a:pt x="283178" y="453104"/>
                  </a:lnTo>
                  <a:lnTo>
                    <a:pt x="281083" y="451580"/>
                  </a:lnTo>
                  <a:lnTo>
                    <a:pt x="284512" y="449294"/>
                  </a:lnTo>
                  <a:lnTo>
                    <a:pt x="280892" y="449771"/>
                  </a:lnTo>
                  <a:lnTo>
                    <a:pt x="278606" y="446437"/>
                  </a:lnTo>
                  <a:lnTo>
                    <a:pt x="271463" y="447389"/>
                  </a:lnTo>
                  <a:lnTo>
                    <a:pt x="262414" y="448628"/>
                  </a:lnTo>
                  <a:lnTo>
                    <a:pt x="260890" y="450628"/>
                  </a:lnTo>
                  <a:lnTo>
                    <a:pt x="257080" y="449294"/>
                  </a:lnTo>
                  <a:lnTo>
                    <a:pt x="245650" y="459867"/>
                  </a:lnTo>
                  <a:lnTo>
                    <a:pt x="242316" y="462153"/>
                  </a:lnTo>
                  <a:lnTo>
                    <a:pt x="237554" y="453676"/>
                  </a:lnTo>
                  <a:lnTo>
                    <a:pt x="232791" y="445294"/>
                  </a:lnTo>
                  <a:lnTo>
                    <a:pt x="233839" y="439674"/>
                  </a:lnTo>
                  <a:lnTo>
                    <a:pt x="238315" y="431863"/>
                  </a:lnTo>
                  <a:lnTo>
                    <a:pt x="236887" y="421100"/>
                  </a:lnTo>
                  <a:lnTo>
                    <a:pt x="234505" y="403384"/>
                  </a:lnTo>
                  <a:lnTo>
                    <a:pt x="224600" y="397383"/>
                  </a:lnTo>
                  <a:lnTo>
                    <a:pt x="219837" y="389001"/>
                  </a:lnTo>
                  <a:lnTo>
                    <a:pt x="211931" y="384524"/>
                  </a:lnTo>
                  <a:lnTo>
                    <a:pt x="204502" y="383762"/>
                  </a:lnTo>
                  <a:lnTo>
                    <a:pt x="204311" y="381953"/>
                  </a:lnTo>
                  <a:lnTo>
                    <a:pt x="195548" y="384905"/>
                  </a:lnTo>
                  <a:lnTo>
                    <a:pt x="192691" y="390716"/>
                  </a:lnTo>
                  <a:lnTo>
                    <a:pt x="190881" y="391001"/>
                  </a:lnTo>
                  <a:lnTo>
                    <a:pt x="179642" y="388811"/>
                  </a:lnTo>
                  <a:lnTo>
                    <a:pt x="172688" y="391573"/>
                  </a:lnTo>
                  <a:lnTo>
                    <a:pt x="157829" y="389954"/>
                  </a:lnTo>
                  <a:lnTo>
                    <a:pt x="158687" y="382524"/>
                  </a:lnTo>
                  <a:lnTo>
                    <a:pt x="146971" y="376809"/>
                  </a:lnTo>
                  <a:lnTo>
                    <a:pt x="133731" y="373190"/>
                  </a:lnTo>
                  <a:lnTo>
                    <a:pt x="125349" y="365188"/>
                  </a:lnTo>
                  <a:lnTo>
                    <a:pt x="122777" y="360140"/>
                  </a:lnTo>
                  <a:lnTo>
                    <a:pt x="108299" y="347472"/>
                  </a:lnTo>
                  <a:lnTo>
                    <a:pt x="101918" y="353759"/>
                  </a:lnTo>
                  <a:lnTo>
                    <a:pt x="96107" y="365474"/>
                  </a:lnTo>
                  <a:lnTo>
                    <a:pt x="89345" y="369951"/>
                  </a:lnTo>
                  <a:lnTo>
                    <a:pt x="86678" y="363093"/>
                  </a:lnTo>
                  <a:lnTo>
                    <a:pt x="72295" y="364998"/>
                  </a:lnTo>
                  <a:lnTo>
                    <a:pt x="54102" y="365570"/>
                  </a:lnTo>
                  <a:lnTo>
                    <a:pt x="39910" y="354711"/>
                  </a:lnTo>
                  <a:lnTo>
                    <a:pt x="35528" y="349853"/>
                  </a:lnTo>
                  <a:lnTo>
                    <a:pt x="23813" y="344138"/>
                  </a:lnTo>
                  <a:lnTo>
                    <a:pt x="6953" y="340995"/>
                  </a:lnTo>
                  <a:lnTo>
                    <a:pt x="6477" y="337376"/>
                  </a:lnTo>
                  <a:lnTo>
                    <a:pt x="9144" y="329755"/>
                  </a:lnTo>
                  <a:lnTo>
                    <a:pt x="9811" y="320612"/>
                  </a:lnTo>
                  <a:lnTo>
                    <a:pt x="4096" y="305086"/>
                  </a:lnTo>
                  <a:lnTo>
                    <a:pt x="0" y="302038"/>
                  </a:lnTo>
                  <a:lnTo>
                    <a:pt x="3143" y="297942"/>
                  </a:lnTo>
                  <a:lnTo>
                    <a:pt x="10478" y="284321"/>
                  </a:lnTo>
                  <a:lnTo>
                    <a:pt x="7906" y="279178"/>
                  </a:lnTo>
                  <a:lnTo>
                    <a:pt x="11716" y="280511"/>
                  </a:lnTo>
                  <a:lnTo>
                    <a:pt x="17050" y="265271"/>
                  </a:lnTo>
                  <a:lnTo>
                    <a:pt x="10954" y="260699"/>
                  </a:lnTo>
                  <a:lnTo>
                    <a:pt x="19812" y="244983"/>
                  </a:lnTo>
                  <a:lnTo>
                    <a:pt x="25813" y="235172"/>
                  </a:lnTo>
                  <a:lnTo>
                    <a:pt x="48006" y="223171"/>
                  </a:lnTo>
                  <a:lnTo>
                    <a:pt x="46768" y="199739"/>
                  </a:lnTo>
                  <a:lnTo>
                    <a:pt x="40672" y="195072"/>
                  </a:lnTo>
                  <a:lnTo>
                    <a:pt x="36386" y="190214"/>
                  </a:lnTo>
                  <a:lnTo>
                    <a:pt x="13621" y="184213"/>
                  </a:lnTo>
                  <a:lnTo>
                    <a:pt x="17336" y="170974"/>
                  </a:lnTo>
                  <a:lnTo>
                    <a:pt x="24955" y="159068"/>
                  </a:lnTo>
                  <a:lnTo>
                    <a:pt x="31052" y="163735"/>
                  </a:lnTo>
                  <a:lnTo>
                    <a:pt x="40196" y="149828"/>
                  </a:lnTo>
                  <a:lnTo>
                    <a:pt x="30766" y="147447"/>
                  </a:lnTo>
                  <a:lnTo>
                    <a:pt x="27718" y="138779"/>
                  </a:lnTo>
                  <a:lnTo>
                    <a:pt x="40291" y="137160"/>
                  </a:lnTo>
                  <a:lnTo>
                    <a:pt x="39814" y="133541"/>
                  </a:lnTo>
                  <a:lnTo>
                    <a:pt x="44958" y="131064"/>
                  </a:lnTo>
                  <a:lnTo>
                    <a:pt x="50959" y="121253"/>
                  </a:lnTo>
                  <a:lnTo>
                    <a:pt x="43148" y="116777"/>
                  </a:lnTo>
                  <a:lnTo>
                    <a:pt x="46006" y="110966"/>
                  </a:lnTo>
                  <a:lnTo>
                    <a:pt x="32195" y="103727"/>
                  </a:lnTo>
                  <a:lnTo>
                    <a:pt x="40291" y="95441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11583917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30">
          <p15:clr>
            <a:srgbClr val="FBAE40"/>
          </p15:clr>
        </p15:guide>
        <p15:guide id="2" pos="347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633954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58497073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s 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4">
            <a:extLst>
              <a:ext uri="{FF2B5EF4-FFF2-40B4-BE49-F238E27FC236}">
                <a16:creationId xmlns:a16="http://schemas.microsoft.com/office/drawing/2014/main" id="{A4B6F62C-6941-C1AA-2861-2912C0F7E8D1}"/>
              </a:ext>
            </a:extLst>
          </p:cNvPr>
          <p:cNvSpPr/>
          <p:nvPr userDrawn="1"/>
        </p:nvSpPr>
        <p:spPr>
          <a:xfrm>
            <a:off x="0" y="446423"/>
            <a:ext cx="4014000" cy="943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0F21DCDB-F1EB-1E1C-315D-D1C0C86AC8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08438" y="5526157"/>
            <a:ext cx="7451726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65C2995-4096-1BF2-0903-15EDC1EDC11A}"/>
              </a:ext>
            </a:extLst>
          </p:cNvPr>
          <p:cNvSpPr/>
          <p:nvPr userDrawn="1"/>
        </p:nvSpPr>
        <p:spPr>
          <a:xfrm>
            <a:off x="8177370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6A8EF0F6-43FB-AB07-A428-311BF2B830A0}"/>
              </a:ext>
            </a:extLst>
          </p:cNvPr>
          <p:cNvSpPr/>
          <p:nvPr userDrawn="1"/>
        </p:nvSpPr>
        <p:spPr>
          <a:xfrm>
            <a:off x="4008438" y="6139116"/>
            <a:ext cx="8183562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Zástupný symbol obrázku 18">
            <a:extLst>
              <a:ext uri="{FF2B5EF4-FFF2-40B4-BE49-F238E27FC236}">
                <a16:creationId xmlns:a16="http://schemas.microsoft.com/office/drawing/2014/main" id="{C4A030DE-C0D0-6499-028F-4647C435540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836751"/>
            <a:ext cx="7983110" cy="2263455"/>
          </a:xfrm>
        </p:spPr>
        <p:txBody>
          <a:bodyPr/>
          <a:lstStyle/>
          <a:p>
            <a:endParaRPr lang="cs-CZ" dirty="0"/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30899DF3-D5C2-842C-B4A1-DFEEDF206D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298" y="612023"/>
            <a:ext cx="2723404" cy="612000"/>
          </a:xfrm>
          <a:prstGeom prst="rect">
            <a:avLst/>
          </a:prstGeom>
        </p:spPr>
      </p:pic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3749D040-5D15-041A-FB68-6E29C34EF8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11" name="TextovéPole 10">
            <a:extLst>
              <a:ext uri="{FF2B5EF4-FFF2-40B4-BE49-F238E27FC236}">
                <a16:creationId xmlns:a16="http://schemas.microsoft.com/office/drawing/2014/main" id="{40E2EF12-A587-7B4E-A1D6-438C8ADCA438}"/>
              </a:ext>
            </a:extLst>
          </p:cNvPr>
          <p:cNvSpPr txBox="1"/>
          <p:nvPr userDrawn="1"/>
        </p:nvSpPr>
        <p:spPr>
          <a:xfrm>
            <a:off x="4010400" y="6313334"/>
            <a:ext cx="1664348" cy="369332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5FC09959-B600-6AF0-10A7-511F0A0CE6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5298" y="4102873"/>
            <a:ext cx="10814865" cy="1290010"/>
          </a:xfrm>
        </p:spPr>
        <p:txBody>
          <a:bodyPr lIns="0" anchor="b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5936000F-1CA5-4A28-D084-2EDC710BE59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77370" y="6141783"/>
            <a:ext cx="1664348" cy="720000"/>
          </a:xfrm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pic>
        <p:nvPicPr>
          <p:cNvPr id="13" name="Grafický objekt 12">
            <a:extLst>
              <a:ext uri="{FF2B5EF4-FFF2-40B4-BE49-F238E27FC236}">
                <a16:creationId xmlns:a16="http://schemas.microsoft.com/office/drawing/2014/main" id="{2A29C3ED-4266-C769-2ADF-B8282F4D3F8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59729" y="6258886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549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2525">
          <p15:clr>
            <a:srgbClr val="FBAE40"/>
          </p15:clr>
        </p15:guide>
        <p15:guide id="6" pos="393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bez 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B0EA1196-9961-0CE1-CDDC-BC0A0A831348}"/>
              </a:ext>
            </a:extLst>
          </p:cNvPr>
          <p:cNvSpPr/>
          <p:nvPr userDrawn="1"/>
        </p:nvSpPr>
        <p:spPr>
          <a:xfrm>
            <a:off x="8179177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E1C24FCE-B5F4-1607-CE4C-7BB985D4D69C}"/>
              </a:ext>
            </a:extLst>
          </p:cNvPr>
          <p:cNvSpPr/>
          <p:nvPr userDrawn="1"/>
        </p:nvSpPr>
        <p:spPr>
          <a:xfrm>
            <a:off x="4008438" y="6139116"/>
            <a:ext cx="818356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1" name="Zástupný symbol obrázku 18">
            <a:extLst>
              <a:ext uri="{FF2B5EF4-FFF2-40B4-BE49-F238E27FC236}">
                <a16:creationId xmlns:a16="http://schemas.microsoft.com/office/drawing/2014/main" id="{99B66AE2-A041-66B4-7E5D-3FA96F03637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836751"/>
            <a:ext cx="7983110" cy="2266122"/>
          </a:xfrm>
        </p:spPr>
        <p:txBody>
          <a:bodyPr/>
          <a:lstStyle/>
          <a:p>
            <a:endParaRPr lang="cs-CZ" dirty="0"/>
          </a:p>
        </p:txBody>
      </p:sp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399E5915-F9E2-ACE2-F920-86F9D94E3F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18" name="Obdélník 17">
            <a:extLst>
              <a:ext uri="{FF2B5EF4-FFF2-40B4-BE49-F238E27FC236}">
                <a16:creationId xmlns:a16="http://schemas.microsoft.com/office/drawing/2014/main" id="{464757BA-A864-68A5-98E0-EE29537C5C23}"/>
              </a:ext>
            </a:extLst>
          </p:cNvPr>
          <p:cNvSpPr/>
          <p:nvPr userDrawn="1"/>
        </p:nvSpPr>
        <p:spPr>
          <a:xfrm>
            <a:off x="0" y="898082"/>
            <a:ext cx="4012822" cy="47291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0" name="Zástupný text 8">
            <a:extLst>
              <a:ext uri="{FF2B5EF4-FFF2-40B4-BE49-F238E27FC236}">
                <a16:creationId xmlns:a16="http://schemas.microsoft.com/office/drawing/2014/main" id="{E376B32F-E5DE-DC67-38D4-9F6BC06AA3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52193" y="898082"/>
            <a:ext cx="1341659" cy="472912"/>
          </a:xfrm>
        </p:spPr>
        <p:txBody>
          <a:bodyPr lIns="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sp>
        <p:nvSpPr>
          <p:cNvPr id="21" name="Podnadpis 2">
            <a:extLst>
              <a:ext uri="{FF2B5EF4-FFF2-40B4-BE49-F238E27FC236}">
                <a16:creationId xmlns:a16="http://schemas.microsoft.com/office/drawing/2014/main" id="{F4C776B3-4CCE-A58A-F1D7-0A28E6CF08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08439" y="5526157"/>
            <a:ext cx="7476890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sp>
        <p:nvSpPr>
          <p:cNvPr id="22" name="Nadpis 1">
            <a:extLst>
              <a:ext uri="{FF2B5EF4-FFF2-40B4-BE49-F238E27FC236}">
                <a16:creationId xmlns:a16="http://schemas.microsoft.com/office/drawing/2014/main" id="{EB6D2B52-8FDF-959F-1993-F3A38DC7CD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5298" y="4102873"/>
            <a:ext cx="11140867" cy="1290010"/>
          </a:xfrm>
        </p:spPr>
        <p:txBody>
          <a:bodyPr lIns="0" anchor="b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A8206657-5283-91B4-9056-621C120F4230}"/>
              </a:ext>
            </a:extLst>
          </p:cNvPr>
          <p:cNvSpPr txBox="1"/>
          <p:nvPr userDrawn="1"/>
        </p:nvSpPr>
        <p:spPr>
          <a:xfrm>
            <a:off x="4008439" y="6314450"/>
            <a:ext cx="1696075" cy="369332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pPr algn="l"/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69BBAC43-9371-0D6C-6534-F261C966CC4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59729" y="6258886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397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2525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s EU bez UZ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>
            <a:extLst>
              <a:ext uri="{FF2B5EF4-FFF2-40B4-BE49-F238E27FC236}">
                <a16:creationId xmlns:a16="http://schemas.microsoft.com/office/drawing/2014/main" id="{6A8EF0F6-43FB-AB07-A428-311BF2B830A0}"/>
              </a:ext>
            </a:extLst>
          </p:cNvPr>
          <p:cNvSpPr/>
          <p:nvPr userDrawn="1"/>
        </p:nvSpPr>
        <p:spPr>
          <a:xfrm>
            <a:off x="8177370" y="6139116"/>
            <a:ext cx="4012822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40E2EF12-A587-7B4E-A1D6-438C8ADCA438}"/>
              </a:ext>
            </a:extLst>
          </p:cNvPr>
          <p:cNvSpPr txBox="1"/>
          <p:nvPr userDrawn="1"/>
        </p:nvSpPr>
        <p:spPr>
          <a:xfrm>
            <a:off x="8177370" y="6139116"/>
            <a:ext cx="1664348" cy="720000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pPr algn="l"/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A4B6F62C-6941-C1AA-2861-2912C0F7E8D1}"/>
              </a:ext>
            </a:extLst>
          </p:cNvPr>
          <p:cNvSpPr/>
          <p:nvPr userDrawn="1"/>
        </p:nvSpPr>
        <p:spPr>
          <a:xfrm>
            <a:off x="0" y="446423"/>
            <a:ext cx="4014000" cy="943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65C2995-4096-1BF2-0903-15EDC1EDC11A}"/>
              </a:ext>
            </a:extLst>
          </p:cNvPr>
          <p:cNvSpPr/>
          <p:nvPr userDrawn="1"/>
        </p:nvSpPr>
        <p:spPr>
          <a:xfrm>
            <a:off x="8177370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9" name="Zástupný symbol obrázku 18">
            <a:extLst>
              <a:ext uri="{FF2B5EF4-FFF2-40B4-BE49-F238E27FC236}">
                <a16:creationId xmlns:a16="http://schemas.microsoft.com/office/drawing/2014/main" id="{C4A030DE-C0D0-6499-028F-4647C435540B}"/>
              </a:ext>
            </a:extLst>
          </p:cNvPr>
          <p:cNvSpPr>
            <a:spLocks noGrp="1"/>
          </p:cNvSpPr>
          <p:nvPr userDrawn="1">
            <p:ph type="pic" sz="quarter" idx="11"/>
          </p:nvPr>
        </p:nvSpPr>
        <p:spPr>
          <a:xfrm>
            <a:off x="0" y="1836751"/>
            <a:ext cx="7983110" cy="2266122"/>
          </a:xfrm>
        </p:spPr>
        <p:txBody>
          <a:bodyPr/>
          <a:lstStyle/>
          <a:p>
            <a:endParaRPr lang="cs-CZ" dirty="0"/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30899DF3-D5C2-842C-B4A1-DFEEDF206D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298" y="612023"/>
            <a:ext cx="2723404" cy="612000"/>
          </a:xfrm>
          <a:prstGeom prst="rect">
            <a:avLst/>
          </a:prstGeom>
        </p:spPr>
      </p:pic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3749D040-5D15-041A-FB68-6E29C34EF8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2" name="Podnadpis 2">
            <a:extLst>
              <a:ext uri="{FF2B5EF4-FFF2-40B4-BE49-F238E27FC236}">
                <a16:creationId xmlns:a16="http://schemas.microsoft.com/office/drawing/2014/main" id="{2A49D47D-259A-61C8-4727-586212A2F4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14001" y="5526157"/>
            <a:ext cx="7440417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CF276C58-AD7A-1982-817B-ECF389FFC6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8813" y="4102873"/>
            <a:ext cx="10795606" cy="1290010"/>
          </a:xfrm>
        </p:spPr>
        <p:txBody>
          <a:bodyPr lIns="0" anchor="b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8">
            <a:extLst>
              <a:ext uri="{FF2B5EF4-FFF2-40B4-BE49-F238E27FC236}">
                <a16:creationId xmlns:a16="http://schemas.microsoft.com/office/drawing/2014/main" id="{F25E0E1C-33BF-45F7-7709-4BBC1F3FD28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850341" y="6138000"/>
            <a:ext cx="1341659" cy="719999"/>
          </a:xfrm>
        </p:spPr>
        <p:txBody>
          <a:bodyPr lIns="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279902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2525">
          <p15:clr>
            <a:srgbClr val="FBAE40"/>
          </p15:clr>
        </p15:guide>
        <p15:guide id="4" pos="415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pro dlouhé nadpis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>
            <a:extLst>
              <a:ext uri="{FF2B5EF4-FFF2-40B4-BE49-F238E27FC236}">
                <a16:creationId xmlns:a16="http://schemas.microsoft.com/office/drawing/2014/main" id="{6A8EF0F6-43FB-AB07-A428-311BF2B830A0}"/>
              </a:ext>
            </a:extLst>
          </p:cNvPr>
          <p:cNvSpPr/>
          <p:nvPr userDrawn="1"/>
        </p:nvSpPr>
        <p:spPr>
          <a:xfrm>
            <a:off x="8177370" y="6139116"/>
            <a:ext cx="4012822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A4B6F62C-6941-C1AA-2861-2912C0F7E8D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446423"/>
            <a:ext cx="4014000" cy="943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DF0DFC75-CB5E-1EEA-D9B4-7EC06251795B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5298" y="1836750"/>
            <a:ext cx="6796299" cy="2266122"/>
          </a:xfrm>
        </p:spPr>
        <p:txBody>
          <a:bodyPr lIns="0" tIns="0" rIns="0" anchor="t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0F21DCDB-F1EB-1E1C-315D-D1C0C86AC8D5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4013999" y="5526157"/>
            <a:ext cx="7440419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65C2995-4096-1BF2-0903-15EDC1EDC11A}"/>
              </a:ext>
            </a:extLst>
          </p:cNvPr>
          <p:cNvSpPr/>
          <p:nvPr userDrawn="1"/>
        </p:nvSpPr>
        <p:spPr>
          <a:xfrm>
            <a:off x="8177370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30899DF3-D5C2-842C-B4A1-DFEEDF206D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298" y="612023"/>
            <a:ext cx="2723404" cy="612000"/>
          </a:xfrm>
          <a:prstGeom prst="rect">
            <a:avLst/>
          </a:prstGeom>
        </p:spPr>
      </p:pic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3749D040-5D15-041A-FB68-6E29C34EF8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4" name="Zástupný text 8">
            <a:extLst>
              <a:ext uri="{FF2B5EF4-FFF2-40B4-BE49-F238E27FC236}">
                <a16:creationId xmlns:a16="http://schemas.microsoft.com/office/drawing/2014/main" id="{334C7CB7-DCE5-6074-63A1-2EE2E54004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850341" y="6138000"/>
            <a:ext cx="1341659" cy="719999"/>
          </a:xfrm>
        </p:spPr>
        <p:txBody>
          <a:bodyPr lIns="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470160F-6A45-07BE-0604-077F038631C9}"/>
              </a:ext>
            </a:extLst>
          </p:cNvPr>
          <p:cNvSpPr txBox="1"/>
          <p:nvPr userDrawn="1"/>
        </p:nvSpPr>
        <p:spPr>
          <a:xfrm>
            <a:off x="8177370" y="6139116"/>
            <a:ext cx="1664348" cy="720000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pPr algn="l"/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</p:spTree>
    <p:extLst>
      <p:ext uri="{BB962C8B-B14F-4D97-AF65-F5344CB8AC3E}">
        <p14:creationId xmlns:p14="http://schemas.microsoft.com/office/powerpoint/2010/main" val="15050024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40">
          <p15:clr>
            <a:srgbClr val="FBAE40"/>
          </p15:clr>
        </p15:guide>
        <p15:guide id="4" pos="393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 pro dlouhé nadpisy bez 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F0DFC75-CB5E-1EEA-D9B4-7EC06251795B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5298" y="1836750"/>
            <a:ext cx="6796299" cy="2266122"/>
          </a:xfrm>
        </p:spPr>
        <p:txBody>
          <a:bodyPr lIns="0" tIns="0" rIns="0" anchor="t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0F21DCDB-F1EB-1E1C-315D-D1C0C86AC8D5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4013999" y="5526157"/>
            <a:ext cx="7440419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65C2995-4096-1BF2-0903-15EDC1EDC11A}"/>
              </a:ext>
            </a:extLst>
          </p:cNvPr>
          <p:cNvSpPr/>
          <p:nvPr userDrawn="1"/>
        </p:nvSpPr>
        <p:spPr>
          <a:xfrm>
            <a:off x="8177370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3749D040-5D15-041A-FB68-6E29C34EF8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8" name="Obdélník 7">
            <a:extLst>
              <a:ext uri="{FF2B5EF4-FFF2-40B4-BE49-F238E27FC236}">
                <a16:creationId xmlns:a16="http://schemas.microsoft.com/office/drawing/2014/main" id="{1C1BBF3A-0FFA-4C73-702B-0F8640E40029}"/>
              </a:ext>
            </a:extLst>
          </p:cNvPr>
          <p:cNvSpPr/>
          <p:nvPr userDrawn="1"/>
        </p:nvSpPr>
        <p:spPr>
          <a:xfrm>
            <a:off x="0" y="898082"/>
            <a:ext cx="4012822" cy="47291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A4CF060D-402A-3C18-EAD2-E58A46DE1C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52193" y="898082"/>
            <a:ext cx="1341659" cy="472912"/>
          </a:xfrm>
        </p:spPr>
        <p:txBody>
          <a:bodyPr lIns="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BA1B02D6-A85A-D348-E417-8F557EAE71A4}"/>
              </a:ext>
            </a:extLst>
          </p:cNvPr>
          <p:cNvSpPr/>
          <p:nvPr userDrawn="1"/>
        </p:nvSpPr>
        <p:spPr>
          <a:xfrm>
            <a:off x="4008438" y="6139116"/>
            <a:ext cx="818356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96A6C86E-36F8-90F4-57DC-BF054B7F522D}"/>
              </a:ext>
            </a:extLst>
          </p:cNvPr>
          <p:cNvSpPr txBox="1"/>
          <p:nvPr userDrawn="1"/>
        </p:nvSpPr>
        <p:spPr>
          <a:xfrm>
            <a:off x="4008439" y="6314450"/>
            <a:ext cx="1696075" cy="369332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pPr algn="l"/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  <p:pic>
        <p:nvPicPr>
          <p:cNvPr id="18" name="Grafický objekt 17">
            <a:extLst>
              <a:ext uri="{FF2B5EF4-FFF2-40B4-BE49-F238E27FC236}">
                <a16:creationId xmlns:a16="http://schemas.microsoft.com/office/drawing/2014/main" id="{54524AF3-55E8-324D-42C1-640444AC720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59729" y="6258886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35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40">
          <p15:clr>
            <a:srgbClr val="FBAE40"/>
          </p15:clr>
        </p15:guide>
        <p15:guide id="4" pos="393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9" y="365126"/>
            <a:ext cx="10728323" cy="1260000"/>
          </a:xfrm>
        </p:spPr>
        <p:txBody>
          <a:bodyPr lIns="0">
            <a:normAutofit/>
          </a:bodyPr>
          <a:lstStyle>
            <a:lvl1pPr>
              <a:defRPr sz="2400">
                <a:latin typeface="+mj-lt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637" y="6294874"/>
            <a:ext cx="639692" cy="396000"/>
          </a:xfrm>
          <a:prstGeom prst="rect">
            <a:avLst/>
          </a:prstGeom>
        </p:spPr>
      </p:pic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0DDB638-C173-6D3F-FF1A-66447260C8A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60"/>
            <a:ext cx="5364160" cy="4428000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</p:txBody>
      </p:sp>
      <p:sp>
        <p:nvSpPr>
          <p:cNvPr id="6" name="Zástupný obsah 3">
            <a:extLst>
              <a:ext uri="{FF2B5EF4-FFF2-40B4-BE49-F238E27FC236}">
                <a16:creationId xmlns:a16="http://schemas.microsoft.com/office/drawing/2014/main" id="{8DC35049-3AA5-9643-A289-66951EBEC2D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3" y="1660885"/>
            <a:ext cx="5364160" cy="4428000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endParaRPr lang="cs-CZ" dirty="0"/>
          </a:p>
        </p:txBody>
      </p:sp>
      <p:grpSp>
        <p:nvGrpSpPr>
          <p:cNvPr id="10" name="Skupina 9">
            <a:extLst>
              <a:ext uri="{FF2B5EF4-FFF2-40B4-BE49-F238E27FC236}">
                <a16:creationId xmlns:a16="http://schemas.microsoft.com/office/drawing/2014/main" id="{4A268E11-BD2F-4B4F-8F6C-0F8E80159307}"/>
              </a:ext>
            </a:extLst>
          </p:cNvPr>
          <p:cNvGrpSpPr/>
          <p:nvPr userDrawn="1"/>
        </p:nvGrpSpPr>
        <p:grpSpPr>
          <a:xfrm>
            <a:off x="731838" y="6144231"/>
            <a:ext cx="1083291" cy="720000"/>
            <a:chOff x="731838" y="6129338"/>
            <a:chExt cx="1083291" cy="720000"/>
          </a:xfrm>
        </p:grpSpPr>
        <p:sp>
          <p:nvSpPr>
            <p:cNvPr id="11" name="Obdélník 10">
              <a:extLst>
                <a:ext uri="{FF2B5EF4-FFF2-40B4-BE49-F238E27FC236}">
                  <a16:creationId xmlns:a16="http://schemas.microsoft.com/office/drawing/2014/main" id="{17CF36DE-E5A0-4148-9D06-AE68A4EDD0A7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EDC2FDED-6562-4534-96C9-B2CF49EA82D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109741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, 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9" y="365126"/>
            <a:ext cx="10728323" cy="1260000"/>
          </a:xfrm>
        </p:spPr>
        <p:txBody>
          <a:bodyPr lIns="0">
            <a:normAutofit/>
          </a:bodyPr>
          <a:lstStyle>
            <a:lvl1pPr>
              <a:defRPr sz="2400">
                <a:latin typeface="+mj-lt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637" y="6294874"/>
            <a:ext cx="639692" cy="396000"/>
          </a:xfrm>
          <a:prstGeom prst="rect">
            <a:avLst/>
          </a:prstGeom>
        </p:spPr>
      </p:pic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0DDB638-C173-6D3F-FF1A-66447260C8A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60"/>
            <a:ext cx="5364160" cy="4428000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</p:txBody>
      </p:sp>
      <p:sp>
        <p:nvSpPr>
          <p:cNvPr id="6" name="Zástupný obsah 3">
            <a:extLst>
              <a:ext uri="{FF2B5EF4-FFF2-40B4-BE49-F238E27FC236}">
                <a16:creationId xmlns:a16="http://schemas.microsoft.com/office/drawing/2014/main" id="{8DC35049-3AA5-9643-A289-66951EBEC2D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3" y="1660885"/>
            <a:ext cx="5364160" cy="4428000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endParaRPr lang="cs-CZ" dirty="0"/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17CF36DE-E5A0-4148-9D06-AE68A4EDD0A7}"/>
              </a:ext>
            </a:extLst>
          </p:cNvPr>
          <p:cNvSpPr/>
          <p:nvPr userDrawn="1"/>
        </p:nvSpPr>
        <p:spPr>
          <a:xfrm>
            <a:off x="731838" y="6144231"/>
            <a:ext cx="108329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EDC2FDED-6562-4534-96C9-B2CF49EA82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637" y="6306231"/>
            <a:ext cx="639692" cy="396000"/>
          </a:xfrm>
          <a:prstGeom prst="rect">
            <a:avLst/>
          </a:prstGeom>
        </p:spPr>
      </p:pic>
      <p:sp>
        <p:nvSpPr>
          <p:cNvPr id="3" name="Obdélník 2">
            <a:extLst>
              <a:ext uri="{FF2B5EF4-FFF2-40B4-BE49-F238E27FC236}">
                <a16:creationId xmlns:a16="http://schemas.microsoft.com/office/drawing/2014/main" id="{F7C907C2-9865-F831-E11B-10851B62F54E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5" name="Zástupný text 8">
            <a:extLst>
              <a:ext uri="{FF2B5EF4-FFF2-40B4-BE49-F238E27FC236}">
                <a16:creationId xmlns:a16="http://schemas.microsoft.com/office/drawing/2014/main" id="{EFFFA6D3-91F9-3F5B-5F1D-EB6A778A44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</p:spTree>
    <p:extLst>
      <p:ext uri="{BB962C8B-B14F-4D97-AF65-F5344CB8AC3E}">
        <p14:creationId xmlns:p14="http://schemas.microsoft.com/office/powerpoint/2010/main" val="29305828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CA14C61-2793-4917-88DD-5CD5C82E53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419" y="136525"/>
            <a:ext cx="10515600" cy="1325563"/>
          </a:xfr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rmAutofit/>
          </a:bodyPr>
          <a:lstStyle>
            <a:lvl1pPr>
              <a:defRPr sz="3200" b="1">
                <a:solidFill>
                  <a:srgbClr val="308297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1977F3AE-8EFE-4486-A3CD-CCE34B32D9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F53B24-F7DF-4006-BC3B-7282789923AD}" type="datetimeFigureOut">
              <a:rPr lang="cs-CZ" smtClean="0"/>
              <a:t>13.05.2025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76347C51-18A4-4805-9CBF-C3B721C5AF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352435F-934C-4AD5-89DD-70A45E7E83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5C928-8E11-4BEA-8628-EA31CD02D37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6586981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porovnání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E8A2BDC4-6C43-7770-C039-87C8E274A15E}"/>
              </a:ext>
            </a:extLst>
          </p:cNvPr>
          <p:cNvSpPr/>
          <p:nvPr userDrawn="1"/>
        </p:nvSpPr>
        <p:spPr>
          <a:xfrm>
            <a:off x="0" y="475200"/>
            <a:ext cx="1080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0154" y="637200"/>
            <a:ext cx="639692" cy="396000"/>
          </a:xfrm>
          <a:prstGeom prst="rect">
            <a:avLst/>
          </a:prstGeom>
        </p:spPr>
      </p:pic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B568BAED-9959-EA2E-29EC-1A0B33CE9746}"/>
              </a:ext>
            </a:extLst>
          </p:cNvPr>
          <p:cNvSpPr>
            <a:spLocks noGrp="1"/>
          </p:cNvSpPr>
          <p:nvPr userDrawn="1">
            <p:ph sz="quarter" idx="12"/>
          </p:nvPr>
        </p:nvSpPr>
        <p:spPr>
          <a:xfrm>
            <a:off x="731838" y="1663700"/>
            <a:ext cx="5364162" cy="4428000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</p:txBody>
      </p:sp>
      <p:sp>
        <p:nvSpPr>
          <p:cNvPr id="11" name="Zástupný obsah 10">
            <a:extLst>
              <a:ext uri="{FF2B5EF4-FFF2-40B4-BE49-F238E27FC236}">
                <a16:creationId xmlns:a16="http://schemas.microsoft.com/office/drawing/2014/main" id="{163C6B4F-771B-F4FA-C177-55BA3C6FDAD6}"/>
              </a:ext>
            </a:extLst>
          </p:cNvPr>
          <p:cNvSpPr>
            <a:spLocks noGrp="1"/>
          </p:cNvSpPr>
          <p:nvPr userDrawn="1">
            <p:ph sz="quarter" idx="13"/>
          </p:nvPr>
        </p:nvSpPr>
        <p:spPr>
          <a:xfrm>
            <a:off x="6096000" y="1663700"/>
            <a:ext cx="5364163" cy="4428000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D437D701-B17C-4FB1-90EC-C1632B91EEEE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1620000" y="475199"/>
            <a:ext cx="9802034" cy="720000"/>
          </a:xfrm>
        </p:spPr>
        <p:txBody>
          <a:bodyPr lIns="0"/>
          <a:lstStyle>
            <a:lvl1pPr>
              <a:defRPr sz="2400"/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01533529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2F86E3AE-C4C5-CA9A-34B2-F60AC1774F1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58"/>
            <a:ext cx="10728325" cy="4428000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203DDD2B-94B5-4D6B-B92F-71E4B2701400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C994861F-0D9B-4331-871B-BB38C1D69A0E}"/>
              </a:ext>
            </a:extLst>
          </p:cNvPr>
          <p:cNvGrpSpPr/>
          <p:nvPr userDrawn="1"/>
        </p:nvGrpSpPr>
        <p:grpSpPr>
          <a:xfrm>
            <a:off x="0" y="475199"/>
            <a:ext cx="1080000" cy="720000"/>
            <a:chOff x="0" y="475199"/>
            <a:chExt cx="1080000" cy="720000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BA72D03A-0F35-4A68-824B-364CAA4CDC0F}"/>
                </a:ext>
              </a:extLst>
            </p:cNvPr>
            <p:cNvSpPr/>
            <p:nvPr userDrawn="1"/>
          </p:nvSpPr>
          <p:spPr>
            <a:xfrm>
              <a:off x="0" y="475199"/>
              <a:ext cx="1080000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9" name="Grafický objekt 18">
              <a:extLst>
                <a:ext uri="{FF2B5EF4-FFF2-40B4-BE49-F238E27FC236}">
                  <a16:creationId xmlns:a16="http://schemas.microsoft.com/office/drawing/2014/main" id="{1773DD8C-C1C7-4C8A-BF7A-4721B43A07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0154" y="637199"/>
              <a:ext cx="639692" cy="396000"/>
            </a:xfrm>
            <a:prstGeom prst="rect">
              <a:avLst/>
            </a:prstGeom>
          </p:spPr>
        </p:pic>
      </p:grpSp>
      <p:sp>
        <p:nvSpPr>
          <p:cNvPr id="2" name="Nadpis 1">
            <a:extLst>
              <a:ext uri="{FF2B5EF4-FFF2-40B4-BE49-F238E27FC236}">
                <a16:creationId xmlns:a16="http://schemas.microsoft.com/office/drawing/2014/main" id="{CE39D634-FBD8-0067-14B8-7CF2FC0D70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475199"/>
            <a:ext cx="9802034" cy="720000"/>
          </a:xfrm>
        </p:spPr>
        <p:txBody>
          <a:bodyPr lIns="0"/>
          <a:lstStyle>
            <a:lvl1pPr>
              <a:defRPr sz="2400"/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72396946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graf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4">
            <a:extLst>
              <a:ext uri="{FF2B5EF4-FFF2-40B4-BE49-F238E27FC236}">
                <a16:creationId xmlns:a16="http://schemas.microsoft.com/office/drawing/2014/main" id="{203DDD2B-94B5-4D6B-B92F-71E4B2701400}"/>
              </a:ext>
            </a:extLst>
          </p:cNvPr>
          <p:cNvSpPr/>
          <p:nvPr userDrawn="1"/>
        </p:nvSpPr>
        <p:spPr>
          <a:xfrm>
            <a:off x="0" y="-1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C994861F-0D9B-4331-871B-BB38C1D69A0E}"/>
              </a:ext>
            </a:extLst>
          </p:cNvPr>
          <p:cNvGrpSpPr/>
          <p:nvPr userDrawn="1"/>
        </p:nvGrpSpPr>
        <p:grpSpPr>
          <a:xfrm>
            <a:off x="0" y="475199"/>
            <a:ext cx="1080000" cy="720000"/>
            <a:chOff x="0" y="475199"/>
            <a:chExt cx="1080000" cy="720000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BA72D03A-0F35-4A68-824B-364CAA4CDC0F}"/>
                </a:ext>
              </a:extLst>
            </p:cNvPr>
            <p:cNvSpPr/>
            <p:nvPr userDrawn="1"/>
          </p:nvSpPr>
          <p:spPr>
            <a:xfrm>
              <a:off x="0" y="475199"/>
              <a:ext cx="1080000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9" name="Grafický objekt 18">
              <a:extLst>
                <a:ext uri="{FF2B5EF4-FFF2-40B4-BE49-F238E27FC236}">
                  <a16:creationId xmlns:a16="http://schemas.microsoft.com/office/drawing/2014/main" id="{1773DD8C-C1C7-4C8A-BF7A-4721B43A07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0154" y="637199"/>
              <a:ext cx="639692" cy="396000"/>
            </a:xfrm>
            <a:prstGeom prst="rect">
              <a:avLst/>
            </a:prstGeom>
          </p:spPr>
        </p:pic>
      </p:grpSp>
      <p:sp>
        <p:nvSpPr>
          <p:cNvPr id="2" name="Nadpis 1">
            <a:extLst>
              <a:ext uri="{FF2B5EF4-FFF2-40B4-BE49-F238E27FC236}">
                <a16:creationId xmlns:a16="http://schemas.microsoft.com/office/drawing/2014/main" id="{CE39D634-FBD8-0067-14B8-7CF2FC0D70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475199"/>
            <a:ext cx="9802034" cy="720000"/>
          </a:xfrm>
        </p:spPr>
        <p:txBody>
          <a:bodyPr lIns="0"/>
          <a:lstStyle>
            <a:lvl1pPr>
              <a:defRPr sz="2400"/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5" name="Zástupný objekt grafu 10">
            <a:extLst>
              <a:ext uri="{FF2B5EF4-FFF2-40B4-BE49-F238E27FC236}">
                <a16:creationId xmlns:a16="http://schemas.microsoft.com/office/drawing/2014/main" id="{7814EF98-A5EE-B564-2343-4835ACD0118A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30800" y="1663200"/>
            <a:ext cx="10728000" cy="3508730"/>
          </a:xfrm>
        </p:spPr>
        <p:txBody>
          <a:bodyPr/>
          <a:lstStyle/>
          <a:p>
            <a:endParaRPr lang="cs-CZ"/>
          </a:p>
        </p:txBody>
      </p:sp>
      <p:sp>
        <p:nvSpPr>
          <p:cNvPr id="6" name="Zástupný text 14">
            <a:extLst>
              <a:ext uri="{FF2B5EF4-FFF2-40B4-BE49-F238E27FC236}">
                <a16:creationId xmlns:a16="http://schemas.microsoft.com/office/drawing/2014/main" id="{693A1838-2329-7980-800F-63A757B70A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0800" y="5277180"/>
            <a:ext cx="10728000" cy="813600"/>
          </a:xfrm>
          <a:ln w="12700">
            <a:solidFill>
              <a:schemeClr val="accent1"/>
            </a:solidFill>
          </a:ln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/>
            </a:lvl2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  <p:sp>
        <p:nvSpPr>
          <p:cNvPr id="7" name="Zástupný text 16">
            <a:extLst>
              <a:ext uri="{FF2B5EF4-FFF2-40B4-BE49-F238E27FC236}">
                <a16:creationId xmlns:a16="http://schemas.microsoft.com/office/drawing/2014/main" id="{8434A227-584A-FA78-238E-9F196670378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97514" y="1223680"/>
            <a:ext cx="3261286" cy="720001"/>
          </a:xfrm>
        </p:spPr>
        <p:txBody>
          <a:bodyPr>
            <a:noAutofit/>
          </a:bodyPr>
          <a:lstStyle>
            <a:lvl1pPr marL="0" indent="0" algn="r">
              <a:buNone/>
              <a:defRPr sz="1200"/>
            </a:lvl1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165814650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lý nadpis,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Skupina 5">
            <a:extLst>
              <a:ext uri="{FF2B5EF4-FFF2-40B4-BE49-F238E27FC236}">
                <a16:creationId xmlns:a16="http://schemas.microsoft.com/office/drawing/2014/main" id="{9FA37B8F-E31B-4ED9-B938-2436AC45F8B0}"/>
              </a:ext>
            </a:extLst>
          </p:cNvPr>
          <p:cNvGrpSpPr/>
          <p:nvPr userDrawn="1"/>
        </p:nvGrpSpPr>
        <p:grpSpPr>
          <a:xfrm>
            <a:off x="731838" y="6144231"/>
            <a:ext cx="1083291" cy="720000"/>
            <a:chOff x="731838" y="6129338"/>
            <a:chExt cx="1083291" cy="720000"/>
          </a:xfrm>
        </p:grpSpPr>
        <p:sp>
          <p:nvSpPr>
            <p:cNvPr id="13" name="Obdélník 12">
              <a:extLst>
                <a:ext uri="{FF2B5EF4-FFF2-40B4-BE49-F238E27FC236}">
                  <a16:creationId xmlns:a16="http://schemas.microsoft.com/office/drawing/2014/main" id="{E8A2BDC4-6C43-7770-C039-87C8E274A15E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D42D85A1-CE0E-3796-3FB6-1A1B847697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2077AF6-1444-E249-F2EF-ECEF553B616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873024"/>
            <a:ext cx="10728325" cy="5122454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F46746F9-8916-4E3E-46F8-D3D688B1AC86}"/>
              </a:ext>
            </a:extLst>
          </p:cNvPr>
          <p:cNvSpPr/>
          <p:nvPr userDrawn="1"/>
        </p:nvSpPr>
        <p:spPr>
          <a:xfrm>
            <a:off x="0" y="0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B845A84C-9B03-E5F5-E96F-C8A731070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0"/>
            <a:ext cx="11460162" cy="720722"/>
          </a:xfrm>
        </p:spPr>
        <p:txBody>
          <a:bodyPr lIns="0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ECE479D9-A951-26E0-C2EF-C43D3FCAC88B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5" name="Zástupný text 8">
            <a:extLst>
              <a:ext uri="{FF2B5EF4-FFF2-40B4-BE49-F238E27FC236}">
                <a16:creationId xmlns:a16="http://schemas.microsoft.com/office/drawing/2014/main" id="{BF4CF16D-F608-F5E0-D06B-61FE4F1927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</p:spTree>
    <p:extLst>
      <p:ext uri="{BB962C8B-B14F-4D97-AF65-F5344CB8AC3E}">
        <p14:creationId xmlns:p14="http://schemas.microsoft.com/office/powerpoint/2010/main" val="317307094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lý nadpis, graf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Skupina 5">
            <a:extLst>
              <a:ext uri="{FF2B5EF4-FFF2-40B4-BE49-F238E27FC236}">
                <a16:creationId xmlns:a16="http://schemas.microsoft.com/office/drawing/2014/main" id="{9FA37B8F-E31B-4ED9-B938-2436AC45F8B0}"/>
              </a:ext>
            </a:extLst>
          </p:cNvPr>
          <p:cNvGrpSpPr/>
          <p:nvPr userDrawn="1"/>
        </p:nvGrpSpPr>
        <p:grpSpPr>
          <a:xfrm>
            <a:off x="731838" y="6144231"/>
            <a:ext cx="1083291" cy="720000"/>
            <a:chOff x="731838" y="6129338"/>
            <a:chExt cx="1083291" cy="720000"/>
          </a:xfrm>
        </p:grpSpPr>
        <p:sp>
          <p:nvSpPr>
            <p:cNvPr id="13" name="Obdélník 12">
              <a:extLst>
                <a:ext uri="{FF2B5EF4-FFF2-40B4-BE49-F238E27FC236}">
                  <a16:creationId xmlns:a16="http://schemas.microsoft.com/office/drawing/2014/main" id="{E8A2BDC4-6C43-7770-C039-87C8E274A15E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D42D85A1-CE0E-3796-3FB6-1A1B847697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  <p:sp>
        <p:nvSpPr>
          <p:cNvPr id="8" name="Obdélník 7">
            <a:extLst>
              <a:ext uri="{FF2B5EF4-FFF2-40B4-BE49-F238E27FC236}">
                <a16:creationId xmlns:a16="http://schemas.microsoft.com/office/drawing/2014/main" id="{F46746F9-8916-4E3E-46F8-D3D688B1AC86}"/>
              </a:ext>
            </a:extLst>
          </p:cNvPr>
          <p:cNvSpPr/>
          <p:nvPr userDrawn="1"/>
        </p:nvSpPr>
        <p:spPr>
          <a:xfrm>
            <a:off x="0" y="0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B845A84C-9B03-E5F5-E96F-C8A731070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0"/>
            <a:ext cx="11460162" cy="720722"/>
          </a:xfrm>
        </p:spPr>
        <p:txBody>
          <a:bodyPr lIns="0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ECE479D9-A951-26E0-C2EF-C43D3FCAC88B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5" name="Zástupný text 8">
            <a:extLst>
              <a:ext uri="{FF2B5EF4-FFF2-40B4-BE49-F238E27FC236}">
                <a16:creationId xmlns:a16="http://schemas.microsoft.com/office/drawing/2014/main" id="{BF4CF16D-F608-F5E0-D06B-61FE4F1927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  <p:sp>
        <p:nvSpPr>
          <p:cNvPr id="11" name="Zástupný objekt grafu 10">
            <a:extLst>
              <a:ext uri="{FF2B5EF4-FFF2-40B4-BE49-F238E27FC236}">
                <a16:creationId xmlns:a16="http://schemas.microsoft.com/office/drawing/2014/main" id="{2CCDD7A5-4E4F-7E32-7926-F5BD6DE62066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30800" y="1416423"/>
            <a:ext cx="10728000" cy="3626903"/>
          </a:xfrm>
        </p:spPr>
        <p:txBody>
          <a:bodyPr/>
          <a:lstStyle/>
          <a:p>
            <a:endParaRPr lang="cs-CZ"/>
          </a:p>
        </p:txBody>
      </p:sp>
      <p:sp>
        <p:nvSpPr>
          <p:cNvPr id="15" name="Zástupný text 14">
            <a:extLst>
              <a:ext uri="{FF2B5EF4-FFF2-40B4-BE49-F238E27FC236}">
                <a16:creationId xmlns:a16="http://schemas.microsoft.com/office/drawing/2014/main" id="{E54CAFFC-D28A-B9D7-EF18-CE0F2887901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0800" y="5186979"/>
            <a:ext cx="10728000" cy="813600"/>
          </a:xfrm>
          <a:ln w="12700">
            <a:solidFill>
              <a:schemeClr val="accent1"/>
            </a:solidFill>
          </a:ln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/>
            </a:lvl2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  <p:sp>
        <p:nvSpPr>
          <p:cNvPr id="17" name="Zástupný text 16">
            <a:extLst>
              <a:ext uri="{FF2B5EF4-FFF2-40B4-BE49-F238E27FC236}">
                <a16:creationId xmlns:a16="http://schemas.microsoft.com/office/drawing/2014/main" id="{F99509E6-390C-E171-B7E9-F370C7382F8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97516" y="955485"/>
            <a:ext cx="3261286" cy="720000"/>
          </a:xfrm>
        </p:spPr>
        <p:txBody>
          <a:bodyPr>
            <a:noAutofit/>
          </a:bodyPr>
          <a:lstStyle>
            <a:lvl1pPr marL="0" indent="0" algn="r">
              <a:buNone/>
              <a:defRPr sz="1200"/>
            </a:lvl1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64322067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malý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Skupina 5">
            <a:extLst>
              <a:ext uri="{FF2B5EF4-FFF2-40B4-BE49-F238E27FC236}">
                <a16:creationId xmlns:a16="http://schemas.microsoft.com/office/drawing/2014/main" id="{9FA37B8F-E31B-4ED9-B938-2436AC45F8B0}"/>
              </a:ext>
            </a:extLst>
          </p:cNvPr>
          <p:cNvGrpSpPr/>
          <p:nvPr userDrawn="1"/>
        </p:nvGrpSpPr>
        <p:grpSpPr>
          <a:xfrm>
            <a:off x="731838" y="6144231"/>
            <a:ext cx="1083291" cy="720000"/>
            <a:chOff x="731838" y="6129338"/>
            <a:chExt cx="1083291" cy="720000"/>
          </a:xfrm>
        </p:grpSpPr>
        <p:sp>
          <p:nvSpPr>
            <p:cNvPr id="13" name="Obdélník 12">
              <a:extLst>
                <a:ext uri="{FF2B5EF4-FFF2-40B4-BE49-F238E27FC236}">
                  <a16:creationId xmlns:a16="http://schemas.microsoft.com/office/drawing/2014/main" id="{E8A2BDC4-6C43-7770-C039-87C8E274A15E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D42D85A1-CE0E-3796-3FB6-1A1B847697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  <p:sp>
        <p:nvSpPr>
          <p:cNvPr id="8" name="Obdélník 7">
            <a:extLst>
              <a:ext uri="{FF2B5EF4-FFF2-40B4-BE49-F238E27FC236}">
                <a16:creationId xmlns:a16="http://schemas.microsoft.com/office/drawing/2014/main" id="{F46746F9-8916-4E3E-46F8-D3D688B1AC86}"/>
              </a:ext>
            </a:extLst>
          </p:cNvPr>
          <p:cNvSpPr/>
          <p:nvPr userDrawn="1"/>
        </p:nvSpPr>
        <p:spPr>
          <a:xfrm>
            <a:off x="0" y="-2"/>
            <a:ext cx="12192000" cy="72866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B845A84C-9B03-E5F5-E96F-C8A731070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7940"/>
            <a:ext cx="11460162" cy="720722"/>
          </a:xfrm>
        </p:spPr>
        <p:txBody>
          <a:bodyPr lIns="0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15B4E1AD-5241-BB23-6D38-68E746B8E97B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Zástupný text 8">
            <a:extLst>
              <a:ext uri="{FF2B5EF4-FFF2-40B4-BE49-F238E27FC236}">
                <a16:creationId xmlns:a16="http://schemas.microsoft.com/office/drawing/2014/main" id="{87B68CB9-55B6-6A8B-4827-E00145D2E5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</p:spTree>
    <p:extLst>
      <p:ext uri="{BB962C8B-B14F-4D97-AF65-F5344CB8AC3E}">
        <p14:creationId xmlns:p14="http://schemas.microsoft.com/office/powerpoint/2010/main" val="202409906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, nadpis,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8393" y="365125"/>
            <a:ext cx="6281770" cy="1591757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44F03E9-B7DD-0DB9-BE59-19B95CD652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8392" y="2127183"/>
            <a:ext cx="6281771" cy="3994216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-1"/>
            <a:ext cx="6096000" cy="3651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CBBC2331-8763-C5B2-68A1-85820DC30C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8" y="6273700"/>
            <a:ext cx="2196000" cy="432000"/>
          </a:xfrm>
          <a:prstGeom prst="rect">
            <a:avLst/>
          </a:prstGeom>
        </p:spPr>
      </p:pic>
      <p:sp>
        <p:nvSpPr>
          <p:cNvPr id="10" name="Zástupný symbol obrázku 18">
            <a:extLst>
              <a:ext uri="{FF2B5EF4-FFF2-40B4-BE49-F238E27FC236}">
                <a16:creationId xmlns:a16="http://schemas.microsoft.com/office/drawing/2014/main" id="{64BA727E-C5B8-3E3B-6578-64D5C90C690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75703" y="376239"/>
            <a:ext cx="4656087" cy="5753099"/>
          </a:xfrm>
        </p:spPr>
        <p:txBody>
          <a:bodyPr/>
          <a:lstStyle/>
          <a:p>
            <a:endParaRPr lang="cs-CZ"/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98669" y="6291700"/>
            <a:ext cx="639692" cy="396000"/>
          </a:xfrm>
          <a:prstGeom prst="rect">
            <a:avLst/>
          </a:prstGeom>
        </p:spPr>
      </p:pic>
      <p:grpSp>
        <p:nvGrpSpPr>
          <p:cNvPr id="11" name="Skupina 10">
            <a:extLst>
              <a:ext uri="{FF2B5EF4-FFF2-40B4-BE49-F238E27FC236}">
                <a16:creationId xmlns:a16="http://schemas.microsoft.com/office/drawing/2014/main" id="{A532D302-088E-4471-9A72-7AFB0B86F202}"/>
              </a:ext>
            </a:extLst>
          </p:cNvPr>
          <p:cNvGrpSpPr/>
          <p:nvPr userDrawn="1"/>
        </p:nvGrpSpPr>
        <p:grpSpPr>
          <a:xfrm>
            <a:off x="10376871" y="6144231"/>
            <a:ext cx="1083291" cy="720000"/>
            <a:chOff x="731838" y="6129338"/>
            <a:chExt cx="1083291" cy="720000"/>
          </a:xfrm>
        </p:grpSpPr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14B0CAD1-A4B6-4EA1-A166-AA5F970FC7FC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FFFB168F-53EC-4E7F-84B8-5230844CA98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2708114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dělovní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8A8D0CC2-172E-43C5-9C85-8F6AE990459A}"/>
              </a:ext>
            </a:extLst>
          </p:cNvPr>
          <p:cNvSpPr/>
          <p:nvPr userDrawn="1"/>
        </p:nvSpPr>
        <p:spPr>
          <a:xfrm>
            <a:off x="8177370" y="2295939"/>
            <a:ext cx="4012822" cy="22661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64551" y="2779533"/>
            <a:ext cx="3438462" cy="1298934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EDE00BE3-D7A4-222E-EB1C-02362F658C8C}"/>
              </a:ext>
            </a:extLst>
          </p:cNvPr>
          <p:cNvSpPr/>
          <p:nvPr userDrawn="1"/>
        </p:nvSpPr>
        <p:spPr>
          <a:xfrm>
            <a:off x="0" y="6139116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C76A4F77-4ECB-84D8-129C-2720D24CF3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1799" y="891024"/>
            <a:ext cx="639692" cy="396000"/>
          </a:xfrm>
          <a:prstGeom prst="rect">
            <a:avLst/>
          </a:prstGeom>
        </p:spPr>
      </p:pic>
      <p:sp>
        <p:nvSpPr>
          <p:cNvPr id="11" name="Zástupný symbol obrázku 18">
            <a:extLst>
              <a:ext uri="{FF2B5EF4-FFF2-40B4-BE49-F238E27FC236}">
                <a16:creationId xmlns:a16="http://schemas.microsoft.com/office/drawing/2014/main" id="{3E21766A-FBBC-4C6E-85A2-C511EFF7D5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2295939"/>
            <a:ext cx="7983110" cy="2266122"/>
          </a:xfrm>
        </p:spPr>
        <p:txBody>
          <a:bodyPr/>
          <a:lstStyle/>
          <a:p>
            <a:endParaRPr lang="cs-CZ" dirty="0"/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6E3075EE-18D4-417E-80DB-D5BF64468159}"/>
              </a:ext>
            </a:extLst>
          </p:cNvPr>
          <p:cNvSpPr/>
          <p:nvPr userDrawn="1"/>
        </p:nvSpPr>
        <p:spPr>
          <a:xfrm>
            <a:off x="0" y="-1"/>
            <a:ext cx="401463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0450FF12-E7BA-4DF6-902C-B4384B676060}"/>
              </a:ext>
            </a:extLst>
          </p:cNvPr>
          <p:cNvGrpSpPr/>
          <p:nvPr userDrawn="1"/>
        </p:nvGrpSpPr>
        <p:grpSpPr>
          <a:xfrm>
            <a:off x="1645" y="475199"/>
            <a:ext cx="1080000" cy="720000"/>
            <a:chOff x="0" y="475199"/>
            <a:chExt cx="1080000" cy="720000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460BFFC-102B-41D0-BE0E-05968B89F6B9}"/>
                </a:ext>
              </a:extLst>
            </p:cNvPr>
            <p:cNvSpPr/>
            <p:nvPr userDrawn="1"/>
          </p:nvSpPr>
          <p:spPr>
            <a:xfrm>
              <a:off x="0" y="475199"/>
              <a:ext cx="1080000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8" name="Grafický objekt 17">
              <a:extLst>
                <a:ext uri="{FF2B5EF4-FFF2-40B4-BE49-F238E27FC236}">
                  <a16:creationId xmlns:a16="http://schemas.microsoft.com/office/drawing/2014/main" id="{58231576-C339-4388-9256-52393BBA3A2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0154" y="637199"/>
              <a:ext cx="639692" cy="396000"/>
            </a:xfrm>
            <a:prstGeom prst="rect">
              <a:avLst/>
            </a:prstGeom>
          </p:spPr>
        </p:pic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00F74BD2-D76A-7DEB-05F3-9CF402FFD6A8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3012762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50920DF6-24B2-4278-BD94-C81EE0F4F2CF}"/>
              </a:ext>
            </a:extLst>
          </p:cNvPr>
          <p:cNvSpPr/>
          <p:nvPr userDrawn="1"/>
        </p:nvSpPr>
        <p:spPr>
          <a:xfrm>
            <a:off x="0" y="0"/>
            <a:ext cx="12192000" cy="237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84255106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NS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B629AE11-983F-A48B-EB31-EB0B34C744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4456" y="1967816"/>
            <a:ext cx="7176029" cy="2922364"/>
          </a:xfrm>
          <a:prstGeom prst="rect">
            <a:avLst/>
          </a:prstGeom>
        </p:spPr>
      </p:pic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6625C024-02BF-241F-EC69-FD9658C2B6D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55858" y="2755482"/>
            <a:ext cx="2049208" cy="1347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361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s 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4">
            <a:extLst>
              <a:ext uri="{FF2B5EF4-FFF2-40B4-BE49-F238E27FC236}">
                <a16:creationId xmlns:a16="http://schemas.microsoft.com/office/drawing/2014/main" id="{A4B6F62C-6941-C1AA-2861-2912C0F7E8D1}"/>
              </a:ext>
            </a:extLst>
          </p:cNvPr>
          <p:cNvSpPr/>
          <p:nvPr userDrawn="1"/>
        </p:nvSpPr>
        <p:spPr>
          <a:xfrm>
            <a:off x="0" y="446423"/>
            <a:ext cx="4014000" cy="943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0F21DCDB-F1EB-1E1C-315D-D1C0C86AC8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08438" y="5526157"/>
            <a:ext cx="7451726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65C2995-4096-1BF2-0903-15EDC1EDC11A}"/>
              </a:ext>
            </a:extLst>
          </p:cNvPr>
          <p:cNvSpPr/>
          <p:nvPr userDrawn="1"/>
        </p:nvSpPr>
        <p:spPr>
          <a:xfrm>
            <a:off x="8177370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6A8EF0F6-43FB-AB07-A428-311BF2B830A0}"/>
              </a:ext>
            </a:extLst>
          </p:cNvPr>
          <p:cNvSpPr/>
          <p:nvPr userDrawn="1"/>
        </p:nvSpPr>
        <p:spPr>
          <a:xfrm>
            <a:off x="4008438" y="6139116"/>
            <a:ext cx="8183562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Zástupný symbol obrázku 18">
            <a:extLst>
              <a:ext uri="{FF2B5EF4-FFF2-40B4-BE49-F238E27FC236}">
                <a16:creationId xmlns:a16="http://schemas.microsoft.com/office/drawing/2014/main" id="{C4A030DE-C0D0-6499-028F-4647C435540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836751"/>
            <a:ext cx="7983110" cy="2263455"/>
          </a:xfrm>
        </p:spPr>
        <p:txBody>
          <a:bodyPr/>
          <a:lstStyle/>
          <a:p>
            <a:endParaRPr lang="cs-CZ" dirty="0"/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30899DF3-D5C2-842C-B4A1-DFEEDF206D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298" y="612023"/>
            <a:ext cx="2723404" cy="612000"/>
          </a:xfrm>
          <a:prstGeom prst="rect">
            <a:avLst/>
          </a:prstGeom>
        </p:spPr>
      </p:pic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3749D040-5D15-041A-FB68-6E29C34EF8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11" name="TextovéPole 10">
            <a:extLst>
              <a:ext uri="{FF2B5EF4-FFF2-40B4-BE49-F238E27FC236}">
                <a16:creationId xmlns:a16="http://schemas.microsoft.com/office/drawing/2014/main" id="{40E2EF12-A587-7B4E-A1D6-438C8ADCA438}"/>
              </a:ext>
            </a:extLst>
          </p:cNvPr>
          <p:cNvSpPr txBox="1"/>
          <p:nvPr userDrawn="1"/>
        </p:nvSpPr>
        <p:spPr>
          <a:xfrm>
            <a:off x="4010400" y="6313334"/>
            <a:ext cx="1664348" cy="369332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5FC09959-B600-6AF0-10A7-511F0A0CE6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5298" y="4102873"/>
            <a:ext cx="10814865" cy="1290010"/>
          </a:xfrm>
        </p:spPr>
        <p:txBody>
          <a:bodyPr lIns="0" anchor="b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5936000F-1CA5-4A28-D084-2EDC710BE59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77370" y="6141783"/>
            <a:ext cx="1664348" cy="720000"/>
          </a:xfrm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pic>
        <p:nvPicPr>
          <p:cNvPr id="13" name="Grafický objekt 12">
            <a:extLst>
              <a:ext uri="{FF2B5EF4-FFF2-40B4-BE49-F238E27FC236}">
                <a16:creationId xmlns:a16="http://schemas.microsoft.com/office/drawing/2014/main" id="{2A29C3ED-4266-C769-2ADF-B8282F4D3F8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59729" y="6258886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760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2525">
          <p15:clr>
            <a:srgbClr val="FBAE40"/>
          </p15:clr>
        </p15:guide>
        <p15:guide id="6" pos="393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Obrázek 22">
            <a:extLst>
              <a:ext uri="{FF2B5EF4-FFF2-40B4-BE49-F238E27FC236}">
                <a16:creationId xmlns:a16="http://schemas.microsoft.com/office/drawing/2014/main" id="{BF98E95A-825F-49DE-B35C-874CA66CDE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99687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0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chemeClr val="accent2"/>
              </a:solidFill>
            </a:endParaRPr>
          </a:p>
        </p:txBody>
      </p:sp>
      <p:sp>
        <p:nvSpPr>
          <p:cNvPr id="34" name="TextovéPole 33"/>
          <p:cNvSpPr txBox="1"/>
          <p:nvPr userDrawn="1"/>
        </p:nvSpPr>
        <p:spPr>
          <a:xfrm>
            <a:off x="1658606" y="6269165"/>
            <a:ext cx="51845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sp>
        <p:nvSpPr>
          <p:cNvPr id="26" name="TextovéPole 25"/>
          <p:cNvSpPr txBox="1"/>
          <p:nvPr userDrawn="1"/>
        </p:nvSpPr>
        <p:spPr>
          <a:xfrm>
            <a:off x="5781501" y="151329"/>
            <a:ext cx="563170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Datová základna realizace screeningových programů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CZ.03.2.63/0.0/0.0/15_039/0007216</a:t>
            </a:r>
            <a:endParaRPr lang="cs-CZ" sz="1050" b="1" dirty="0">
              <a:solidFill>
                <a:srgbClr val="274073"/>
              </a:solidFill>
              <a:effectLst/>
            </a:endParaRPr>
          </a:p>
        </p:txBody>
      </p:sp>
      <p:sp>
        <p:nvSpPr>
          <p:cNvPr id="4" name="Obdélník 3"/>
          <p:cNvSpPr/>
          <p:nvPr userDrawn="1"/>
        </p:nvSpPr>
        <p:spPr>
          <a:xfrm>
            <a:off x="10127275" y="6229898"/>
            <a:ext cx="128592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2000" b="1" u="none" dirty="0">
                <a:solidFill>
                  <a:srgbClr val="DA2B46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sc.uzis.cz</a:t>
            </a:r>
            <a:endParaRPr lang="cs-CZ" sz="2000" b="1" u="none" dirty="0">
              <a:solidFill>
                <a:srgbClr val="DA2B46"/>
              </a:solidFill>
            </a:endParaRP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4A600299-36FF-4880-809A-3B53106E65E2}"/>
              </a:ext>
            </a:extLst>
          </p:cNvPr>
          <p:cNvGrpSpPr/>
          <p:nvPr userDrawn="1"/>
        </p:nvGrpSpPr>
        <p:grpSpPr>
          <a:xfrm>
            <a:off x="977527" y="99403"/>
            <a:ext cx="2394526" cy="521285"/>
            <a:chOff x="-3635511" y="3808741"/>
            <a:chExt cx="2394526" cy="521285"/>
          </a:xfrm>
        </p:grpSpPr>
        <p:pic>
          <p:nvPicPr>
            <p:cNvPr id="20" name="Obrázek 19">
              <a:extLst>
                <a:ext uri="{FF2B5EF4-FFF2-40B4-BE49-F238E27FC236}">
                  <a16:creationId xmlns:a16="http://schemas.microsoft.com/office/drawing/2014/main" id="{1EEB21A1-63BE-4C27-AC1C-7C0ED736FF0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1" name="TextovéPole 20">
              <a:extLst>
                <a:ext uri="{FF2B5EF4-FFF2-40B4-BE49-F238E27FC236}">
                  <a16:creationId xmlns:a16="http://schemas.microsoft.com/office/drawing/2014/main" id="{5F85FAA7-4B5E-4124-8503-9019B35E4E98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Obrázek 21">
            <a:extLst>
              <a:ext uri="{FF2B5EF4-FFF2-40B4-BE49-F238E27FC236}">
                <a16:creationId xmlns:a16="http://schemas.microsoft.com/office/drawing/2014/main" id="{3AADB460-D02C-4410-A107-36A71631A2A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53086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29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8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3.05.2025</a:t>
            </a:fld>
            <a:endParaRPr lang="cs-CZ" dirty="0"/>
          </a:p>
        </p:txBody>
      </p:sp>
      <p:sp>
        <p:nvSpPr>
          <p:cNvPr id="12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3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51990425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3.05.2025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426566803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2_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Volný tvar 17">
            <a:extLst>
              <a:ext uri="{FF2B5EF4-FFF2-40B4-BE49-F238E27FC236}">
                <a16:creationId xmlns:a16="http://schemas.microsoft.com/office/drawing/2014/main" id="{B42F8AF5-7075-4AC9-A51A-F53562380854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D6B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" name="Volný tvar 19">
            <a:extLst>
              <a:ext uri="{FF2B5EF4-FFF2-40B4-BE49-F238E27FC236}">
                <a16:creationId xmlns:a16="http://schemas.microsoft.com/office/drawing/2014/main" id="{88510B0B-2636-4608-8A60-A8C602334907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15A8C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E675D763-49E1-452B-AA85-9BB0D08B0E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272815"/>
            <a:ext cx="778907" cy="303178"/>
          </a:xfrm>
          <a:prstGeom prst="rect">
            <a:avLst/>
          </a:prstGeom>
        </p:spPr>
      </p:pic>
      <p:pic>
        <p:nvPicPr>
          <p:cNvPr id="7" name="Logo MZ CR">
            <a:extLst>
              <a:ext uri="{FF2B5EF4-FFF2-40B4-BE49-F238E27FC236}">
                <a16:creationId xmlns:a16="http://schemas.microsoft.com/office/drawing/2014/main" id="{BA20973E-26C0-431A-A232-9510D4B9BD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0776" y="6517857"/>
            <a:ext cx="2303581" cy="198318"/>
          </a:xfrm>
          <a:prstGeom prst="rect">
            <a:avLst/>
          </a:prstGeom>
        </p:spPr>
      </p:pic>
      <p:pic>
        <p:nvPicPr>
          <p:cNvPr id="8" name="Logo UZIS">
            <a:extLst>
              <a:ext uri="{FF2B5EF4-FFF2-40B4-BE49-F238E27FC236}">
                <a16:creationId xmlns:a16="http://schemas.microsoft.com/office/drawing/2014/main" id="{B6ACD16E-9E10-4D43-8654-3EA979D59C2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0511" y="6392175"/>
            <a:ext cx="493475" cy="324000"/>
          </a:xfrm>
          <a:prstGeom prst="rect">
            <a:avLst/>
          </a:prstGeom>
        </p:spPr>
      </p:pic>
      <p:cxnSp>
        <p:nvCxnSpPr>
          <p:cNvPr id="9" name="Přímá spojnice 3">
            <a:extLst>
              <a:ext uri="{FF2B5EF4-FFF2-40B4-BE49-F238E27FC236}">
                <a16:creationId xmlns:a16="http://schemas.microsoft.com/office/drawing/2014/main" id="{643EE121-5784-4BC8-B04C-32C2B7938BEB}"/>
              </a:ext>
            </a:extLst>
          </p:cNvPr>
          <p:cNvCxnSpPr>
            <a:cxnSpLocks/>
          </p:cNvCxnSpPr>
          <p:nvPr userDrawn="1"/>
        </p:nvCxnSpPr>
        <p:spPr>
          <a:xfrm>
            <a:off x="1112575" y="6523200"/>
            <a:ext cx="7560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14">
            <a:extLst>
              <a:ext uri="{FF2B5EF4-FFF2-40B4-BE49-F238E27FC236}">
                <a16:creationId xmlns:a16="http://schemas.microsoft.com/office/drawing/2014/main" id="{3DFEA239-789A-4960-B696-9734B44248E7}"/>
              </a:ext>
            </a:extLst>
          </p:cNvPr>
          <p:cNvSpPr/>
          <p:nvPr userDrawn="1"/>
        </p:nvSpPr>
        <p:spPr>
          <a:xfrm>
            <a:off x="1483625" y="6539370"/>
            <a:ext cx="68179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Národní onkologický plán České republiky: epidemiologie nádorů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71978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zadi seda">
            <a:extLst>
              <a:ext uri="{FF2B5EF4-FFF2-40B4-BE49-F238E27FC236}">
                <a16:creationId xmlns:a16="http://schemas.microsoft.com/office/drawing/2014/main" id="{C6DB6EA3-D18B-4247-B7E0-D3F0ED4ABC66}"/>
              </a:ext>
            </a:extLst>
          </p:cNvPr>
          <p:cNvSpPr/>
          <p:nvPr userDrawn="1"/>
        </p:nvSpPr>
        <p:spPr bwMode="gray">
          <a:xfrm>
            <a:off x="0" y="1899462"/>
            <a:ext cx="12192000" cy="4028858"/>
          </a:xfrm>
          <a:prstGeom prst="rect">
            <a:avLst/>
          </a:prstGeom>
          <a:solidFill>
            <a:schemeClr val="bg1">
              <a:lumMod val="95000"/>
              <a:alpha val="6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2" name="Linka cervena">
            <a:extLst>
              <a:ext uri="{FF2B5EF4-FFF2-40B4-BE49-F238E27FC236}">
                <a16:creationId xmlns:a16="http://schemas.microsoft.com/office/drawing/2014/main" id="{B9205121-7638-4ABD-95F5-177B33D17428}"/>
              </a:ext>
            </a:extLst>
          </p:cNvPr>
          <p:cNvSpPr/>
          <p:nvPr userDrawn="1"/>
        </p:nvSpPr>
        <p:spPr>
          <a:xfrm flipV="1">
            <a:off x="5552" y="5881971"/>
            <a:ext cx="12173011" cy="36000"/>
          </a:xfrm>
          <a:prstGeom prst="rect">
            <a:avLst/>
          </a:prstGeom>
          <a:solidFill>
            <a:srgbClr val="D71440"/>
          </a:solidFill>
          <a:ln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8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805" y="6275298"/>
            <a:ext cx="3763463" cy="324000"/>
          </a:xfrm>
          <a:prstGeom prst="rect">
            <a:avLst/>
          </a:prstGeom>
        </p:spPr>
      </p:pic>
      <p:pic>
        <p:nvPicPr>
          <p:cNvPr id="6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9537" y="6124324"/>
            <a:ext cx="822458" cy="540000"/>
          </a:xfrm>
          <a:prstGeom prst="rect">
            <a:avLst/>
          </a:prstGeom>
        </p:spPr>
      </p:pic>
      <p:pic>
        <p:nvPicPr>
          <p:cNvPr id="11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113" y="2607870"/>
            <a:ext cx="5715760" cy="2224771"/>
          </a:xfrm>
          <a:prstGeom prst="rect">
            <a:avLst/>
          </a:prstGeom>
        </p:spPr>
      </p:pic>
      <p:pic>
        <p:nvPicPr>
          <p:cNvPr id="61" name="Ikona 7">
            <a:extLst>
              <a:ext uri="{FF2B5EF4-FFF2-40B4-BE49-F238E27FC236}">
                <a16:creationId xmlns:a16="http://schemas.microsoft.com/office/drawing/2014/main" id="{1E522FD7-51BC-4B8E-A68D-8A0B5E4169E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5605" y="3727037"/>
            <a:ext cx="791389" cy="792000"/>
          </a:xfrm>
          <a:prstGeom prst="rect">
            <a:avLst/>
          </a:prstGeom>
        </p:spPr>
      </p:pic>
      <p:pic>
        <p:nvPicPr>
          <p:cNvPr id="62" name="Ikona 6">
            <a:extLst>
              <a:ext uri="{FF2B5EF4-FFF2-40B4-BE49-F238E27FC236}">
                <a16:creationId xmlns:a16="http://schemas.microsoft.com/office/drawing/2014/main" id="{E01AA11B-D042-44CE-8E91-BAD234FB490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5916" y="2819547"/>
            <a:ext cx="791389" cy="792000"/>
          </a:xfrm>
          <a:prstGeom prst="rect">
            <a:avLst/>
          </a:prstGeom>
        </p:spPr>
      </p:pic>
      <p:pic>
        <p:nvPicPr>
          <p:cNvPr id="63" name="Ikona 5">
            <a:extLst>
              <a:ext uri="{FF2B5EF4-FFF2-40B4-BE49-F238E27FC236}">
                <a16:creationId xmlns:a16="http://schemas.microsoft.com/office/drawing/2014/main" id="{6E1D9AE5-9B01-4D1E-A130-EA1856689D6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4327" y="2821182"/>
            <a:ext cx="791389" cy="792000"/>
          </a:xfrm>
          <a:prstGeom prst="rect">
            <a:avLst/>
          </a:prstGeom>
        </p:spPr>
      </p:pic>
      <p:pic>
        <p:nvPicPr>
          <p:cNvPr id="64" name="Ikona 4">
            <a:extLst>
              <a:ext uri="{FF2B5EF4-FFF2-40B4-BE49-F238E27FC236}">
                <a16:creationId xmlns:a16="http://schemas.microsoft.com/office/drawing/2014/main" id="{78221017-9FB8-4EF8-A88B-38444E30A279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4197" y="2826357"/>
            <a:ext cx="788298" cy="792000"/>
          </a:xfrm>
          <a:prstGeom prst="rect">
            <a:avLst/>
          </a:prstGeom>
        </p:spPr>
      </p:pic>
      <p:pic>
        <p:nvPicPr>
          <p:cNvPr id="65" name="Ikona 3">
            <a:extLst>
              <a:ext uri="{FF2B5EF4-FFF2-40B4-BE49-F238E27FC236}">
                <a16:creationId xmlns:a16="http://schemas.microsoft.com/office/drawing/2014/main" id="{D435ECA9-9699-4A70-9ABD-16C688E3468C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1468" y="2827327"/>
            <a:ext cx="788298" cy="792000"/>
          </a:xfrm>
          <a:prstGeom prst="rect">
            <a:avLst/>
          </a:prstGeom>
        </p:spPr>
      </p:pic>
      <p:pic>
        <p:nvPicPr>
          <p:cNvPr id="66" name="Ikona 2">
            <a:extLst>
              <a:ext uri="{FF2B5EF4-FFF2-40B4-BE49-F238E27FC236}">
                <a16:creationId xmlns:a16="http://schemas.microsoft.com/office/drawing/2014/main" id="{06B998D0-4DD3-4617-8B85-7A97769C7BF7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1592" y="3720280"/>
            <a:ext cx="791389" cy="792000"/>
          </a:xfrm>
          <a:prstGeom prst="rect">
            <a:avLst/>
          </a:prstGeom>
        </p:spPr>
      </p:pic>
      <p:pic>
        <p:nvPicPr>
          <p:cNvPr id="67" name="Ikona 1">
            <a:extLst>
              <a:ext uri="{FF2B5EF4-FFF2-40B4-BE49-F238E27FC236}">
                <a16:creationId xmlns:a16="http://schemas.microsoft.com/office/drawing/2014/main" id="{CDFE4053-986D-4CF5-BB65-55DDA986CB79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5004" y="3714480"/>
            <a:ext cx="794492" cy="792000"/>
          </a:xfrm>
          <a:prstGeom prst="rect">
            <a:avLst/>
          </a:prstGeom>
        </p:spPr>
      </p:pic>
      <p:pic>
        <p:nvPicPr>
          <p:cNvPr id="9" name="Vlajka CR">
            <a:extLst>
              <a:ext uri="{FF2B5EF4-FFF2-40B4-BE49-F238E27FC236}">
                <a16:creationId xmlns:a16="http://schemas.microsoft.com/office/drawing/2014/main" id="{471DD38C-87B2-4EF0-9C4F-92FAABA3B665}"/>
              </a:ext>
            </a:extLst>
          </p:cNvPr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525177" y="249066"/>
            <a:ext cx="540000" cy="36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" name="Vlajka EU">
            <a:extLst>
              <a:ext uri="{FF2B5EF4-FFF2-40B4-BE49-F238E27FC236}">
                <a16:creationId xmlns:a16="http://schemas.microsoft.com/office/drawing/2014/main" id="{F0605D3E-9EE4-4CE0-8944-A11CBF44BE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118"/>
          <a:stretch/>
        </p:blipFill>
        <p:spPr>
          <a:xfrm>
            <a:off x="10876478" y="245794"/>
            <a:ext cx="538775" cy="360000"/>
          </a:xfrm>
          <a:prstGeom prst="rect">
            <a:avLst/>
          </a:prstGeom>
        </p:spPr>
      </p:pic>
      <p:sp>
        <p:nvSpPr>
          <p:cNvPr id="41" name="Podnadpis">
            <a:extLst>
              <a:ext uri="{FF2B5EF4-FFF2-40B4-BE49-F238E27FC236}">
                <a16:creationId xmlns:a16="http://schemas.microsoft.com/office/drawing/2014/main" id="{A48B58A5-C806-4673-B1BA-E9829457EA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0806" y="5471177"/>
            <a:ext cx="8608732" cy="468000"/>
          </a:xfrm>
          <a:noFill/>
        </p:spPr>
        <p:txBody>
          <a:bodyPr anchor="ctr"/>
          <a:lstStyle>
            <a:lvl1pPr marL="0" indent="0">
              <a:buNone/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cs-CZ" dirty="0"/>
              <a:t>Vložte podnadpis</a:t>
            </a:r>
          </a:p>
        </p:txBody>
      </p:sp>
      <p:sp>
        <p:nvSpPr>
          <p:cNvPr id="13" name="Nadpis">
            <a:extLst>
              <a:ext uri="{FF2B5EF4-FFF2-40B4-BE49-F238E27FC236}">
                <a16:creationId xmlns:a16="http://schemas.microsoft.com/office/drawing/2014/main" id="{99BDED9C-93B2-4C0D-BE31-6A2F4570EB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391" y="240974"/>
            <a:ext cx="8648147" cy="1598025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defRPr lang="cs-CZ" sz="3600" b="1" kern="1200">
                <a:solidFill>
                  <a:srgbClr val="2E598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29" name="Ovál 29">
            <a:extLst>
              <a:ext uri="{FF2B5EF4-FFF2-40B4-BE49-F238E27FC236}">
                <a16:creationId xmlns:a16="http://schemas.microsoft.com/office/drawing/2014/main" id="{E411B488-D6A9-4125-9226-91E8FF7C26F2}"/>
              </a:ext>
            </a:extLst>
          </p:cNvPr>
          <p:cNvSpPr/>
          <p:nvPr userDrawn="1"/>
        </p:nvSpPr>
        <p:spPr>
          <a:xfrm>
            <a:off x="8139289" y="752121"/>
            <a:ext cx="1747911" cy="1747911"/>
          </a:xfrm>
          <a:prstGeom prst="ellipse">
            <a:avLst/>
          </a:prstGeom>
          <a:solidFill>
            <a:schemeClr val="bg1"/>
          </a:solidFill>
          <a:ln w="19050"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Ovál 30">
            <a:extLst>
              <a:ext uri="{FF2B5EF4-FFF2-40B4-BE49-F238E27FC236}">
                <a16:creationId xmlns:a16="http://schemas.microsoft.com/office/drawing/2014/main" id="{822DE0E7-21EC-4CAD-9CAC-791515B7EB64}"/>
              </a:ext>
            </a:extLst>
          </p:cNvPr>
          <p:cNvSpPr/>
          <p:nvPr userDrawn="1"/>
        </p:nvSpPr>
        <p:spPr>
          <a:xfrm>
            <a:off x="8256659" y="869491"/>
            <a:ext cx="1513171" cy="1513171"/>
          </a:xfrm>
          <a:prstGeom prst="ellipse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grpSp>
        <p:nvGrpSpPr>
          <p:cNvPr id="2" name="Skupina 1">
            <a:extLst>
              <a:ext uri="{FF2B5EF4-FFF2-40B4-BE49-F238E27FC236}">
                <a16:creationId xmlns:a16="http://schemas.microsoft.com/office/drawing/2014/main" id="{01769977-EAC1-0A1A-0320-5D231AEEDB3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294400" y="1162800"/>
            <a:ext cx="1457522" cy="882000"/>
            <a:chOff x="3727418" y="1998630"/>
            <a:chExt cx="4732781" cy="2863977"/>
          </a:xfrm>
        </p:grpSpPr>
        <p:sp>
          <p:nvSpPr>
            <p:cNvPr id="3" name="Volný tvar: obrazec 2">
              <a:extLst>
                <a:ext uri="{FF2B5EF4-FFF2-40B4-BE49-F238E27FC236}">
                  <a16:creationId xmlns:a16="http://schemas.microsoft.com/office/drawing/2014/main" id="{3F866420-7F59-37B1-7966-B66BFF64A8F8}"/>
                </a:ext>
              </a:extLst>
            </p:cNvPr>
            <p:cNvSpPr>
              <a:spLocks noChangeAspect="1"/>
            </p:cNvSpPr>
            <p:nvPr userDrawn="1">
              <p:custDataLst>
                <p:tags r:id="rId2"/>
              </p:custDataLst>
            </p:nvPr>
          </p:nvSpPr>
          <p:spPr>
            <a:xfrm>
              <a:off x="4319492" y="1998630"/>
              <a:ext cx="1182528" cy="1101852"/>
            </a:xfrm>
            <a:custGeom>
              <a:avLst/>
              <a:gdLst>
                <a:gd name="connsiteX0" fmla="*/ 1180148 w 1182528"/>
                <a:gd name="connsiteY0" fmla="*/ 147257 h 1101852"/>
                <a:gd name="connsiteX1" fmla="*/ 1175290 w 1182528"/>
                <a:gd name="connsiteY1" fmla="*/ 146304 h 1101852"/>
                <a:gd name="connsiteX2" fmla="*/ 1165003 w 1182528"/>
                <a:gd name="connsiteY2" fmla="*/ 154019 h 1101852"/>
                <a:gd name="connsiteX3" fmla="*/ 1158526 w 1182528"/>
                <a:gd name="connsiteY3" fmla="*/ 153257 h 1101852"/>
                <a:gd name="connsiteX4" fmla="*/ 1154144 w 1182528"/>
                <a:gd name="connsiteY4" fmla="*/ 156972 h 1101852"/>
                <a:gd name="connsiteX5" fmla="*/ 1146239 w 1182528"/>
                <a:gd name="connsiteY5" fmla="*/ 158020 h 1101852"/>
                <a:gd name="connsiteX6" fmla="*/ 1134428 w 1182528"/>
                <a:gd name="connsiteY6" fmla="*/ 165926 h 1101852"/>
                <a:gd name="connsiteX7" fmla="*/ 1130903 w 1182528"/>
                <a:gd name="connsiteY7" fmla="*/ 163163 h 1101852"/>
                <a:gd name="connsiteX8" fmla="*/ 1122617 w 1182528"/>
                <a:gd name="connsiteY8" fmla="*/ 161068 h 1101852"/>
                <a:gd name="connsiteX9" fmla="*/ 1120045 w 1182528"/>
                <a:gd name="connsiteY9" fmla="*/ 153353 h 1101852"/>
                <a:gd name="connsiteX10" fmla="*/ 1126331 w 1182528"/>
                <a:gd name="connsiteY10" fmla="*/ 139732 h 1101852"/>
                <a:gd name="connsiteX11" fmla="*/ 1134809 w 1182528"/>
                <a:gd name="connsiteY11" fmla="*/ 130588 h 1101852"/>
                <a:gd name="connsiteX12" fmla="*/ 1135571 w 1182528"/>
                <a:gd name="connsiteY12" fmla="*/ 124111 h 1101852"/>
                <a:gd name="connsiteX13" fmla="*/ 1143381 w 1182528"/>
                <a:gd name="connsiteY13" fmla="*/ 110300 h 1101852"/>
                <a:gd name="connsiteX14" fmla="*/ 1141190 w 1182528"/>
                <a:gd name="connsiteY14" fmla="*/ 105728 h 1101852"/>
                <a:gd name="connsiteX15" fmla="*/ 1143953 w 1182528"/>
                <a:gd name="connsiteY15" fmla="*/ 102203 h 1101852"/>
                <a:gd name="connsiteX16" fmla="*/ 1143381 w 1182528"/>
                <a:gd name="connsiteY16" fmla="*/ 97441 h 1101852"/>
                <a:gd name="connsiteX17" fmla="*/ 1145953 w 1182528"/>
                <a:gd name="connsiteY17" fmla="*/ 92297 h 1101852"/>
                <a:gd name="connsiteX18" fmla="*/ 1146048 w 1182528"/>
                <a:gd name="connsiteY18" fmla="*/ 81058 h 1101852"/>
                <a:gd name="connsiteX19" fmla="*/ 1142905 w 1182528"/>
                <a:gd name="connsiteY19" fmla="*/ 81439 h 1101852"/>
                <a:gd name="connsiteX20" fmla="*/ 1135571 w 1182528"/>
                <a:gd name="connsiteY20" fmla="*/ 74390 h 1101852"/>
                <a:gd name="connsiteX21" fmla="*/ 1133189 w 1182528"/>
                <a:gd name="connsiteY21" fmla="*/ 68294 h 1101852"/>
                <a:gd name="connsiteX22" fmla="*/ 1124140 w 1182528"/>
                <a:gd name="connsiteY22" fmla="*/ 59817 h 1101852"/>
                <a:gd name="connsiteX23" fmla="*/ 1122140 w 1182528"/>
                <a:gd name="connsiteY23" fmla="*/ 56864 h 1101852"/>
                <a:gd name="connsiteX24" fmla="*/ 1119188 w 1182528"/>
                <a:gd name="connsiteY24" fmla="*/ 58865 h 1101852"/>
                <a:gd name="connsiteX25" fmla="*/ 1103662 w 1182528"/>
                <a:gd name="connsiteY25" fmla="*/ 62389 h 1101852"/>
                <a:gd name="connsiteX26" fmla="*/ 1101852 w 1182528"/>
                <a:gd name="connsiteY26" fmla="*/ 61055 h 1101852"/>
                <a:gd name="connsiteX27" fmla="*/ 1101661 w 1182528"/>
                <a:gd name="connsiteY27" fmla="*/ 59436 h 1101852"/>
                <a:gd name="connsiteX28" fmla="*/ 1102805 w 1182528"/>
                <a:gd name="connsiteY28" fmla="*/ 56102 h 1101852"/>
                <a:gd name="connsiteX29" fmla="*/ 1105757 w 1182528"/>
                <a:gd name="connsiteY29" fmla="*/ 54102 h 1101852"/>
                <a:gd name="connsiteX30" fmla="*/ 1105567 w 1182528"/>
                <a:gd name="connsiteY30" fmla="*/ 52578 h 1101852"/>
                <a:gd name="connsiteX31" fmla="*/ 1100042 w 1182528"/>
                <a:gd name="connsiteY31" fmla="*/ 46863 h 1101852"/>
                <a:gd name="connsiteX32" fmla="*/ 1078516 w 1182528"/>
                <a:gd name="connsiteY32" fmla="*/ 41529 h 1101852"/>
                <a:gd name="connsiteX33" fmla="*/ 1078706 w 1182528"/>
                <a:gd name="connsiteY33" fmla="*/ 30290 h 1101852"/>
                <a:gd name="connsiteX34" fmla="*/ 1083564 w 1182528"/>
                <a:gd name="connsiteY34" fmla="*/ 18479 h 1101852"/>
                <a:gd name="connsiteX35" fmla="*/ 1079659 w 1182528"/>
                <a:gd name="connsiteY35" fmla="*/ 12573 h 1101852"/>
                <a:gd name="connsiteX36" fmla="*/ 1072134 w 1182528"/>
                <a:gd name="connsiteY36" fmla="*/ 16764 h 1101852"/>
                <a:gd name="connsiteX37" fmla="*/ 1074896 w 1182528"/>
                <a:gd name="connsiteY37" fmla="*/ 26003 h 1101852"/>
                <a:gd name="connsiteX38" fmla="*/ 1073372 w 1182528"/>
                <a:gd name="connsiteY38" fmla="*/ 39053 h 1101852"/>
                <a:gd name="connsiteX39" fmla="*/ 1061942 w 1182528"/>
                <a:gd name="connsiteY39" fmla="*/ 37243 h 1101852"/>
                <a:gd name="connsiteX40" fmla="*/ 1061276 w 1182528"/>
                <a:gd name="connsiteY40" fmla="*/ 32576 h 1101852"/>
                <a:gd name="connsiteX41" fmla="*/ 1059561 w 1182528"/>
                <a:gd name="connsiteY41" fmla="*/ 31147 h 1101852"/>
                <a:gd name="connsiteX42" fmla="*/ 1054036 w 1182528"/>
                <a:gd name="connsiteY42" fmla="*/ 25432 h 1101852"/>
                <a:gd name="connsiteX43" fmla="*/ 1047464 w 1182528"/>
                <a:gd name="connsiteY43" fmla="*/ 24670 h 1101852"/>
                <a:gd name="connsiteX44" fmla="*/ 1032891 w 1182528"/>
                <a:gd name="connsiteY44" fmla="*/ 36195 h 1101852"/>
                <a:gd name="connsiteX45" fmla="*/ 1031557 w 1182528"/>
                <a:gd name="connsiteY45" fmla="*/ 37910 h 1101852"/>
                <a:gd name="connsiteX46" fmla="*/ 1024223 w 1182528"/>
                <a:gd name="connsiteY46" fmla="*/ 43625 h 1101852"/>
                <a:gd name="connsiteX47" fmla="*/ 1017746 w 1182528"/>
                <a:gd name="connsiteY47" fmla="*/ 42863 h 1101852"/>
                <a:gd name="connsiteX48" fmla="*/ 1009269 w 1182528"/>
                <a:gd name="connsiteY48" fmla="*/ 39148 h 1101852"/>
                <a:gd name="connsiteX49" fmla="*/ 1004126 w 1182528"/>
                <a:gd name="connsiteY49" fmla="*/ 36576 h 1101852"/>
                <a:gd name="connsiteX50" fmla="*/ 998982 w 1182528"/>
                <a:gd name="connsiteY50" fmla="*/ 34100 h 1101852"/>
                <a:gd name="connsiteX51" fmla="*/ 997363 w 1182528"/>
                <a:gd name="connsiteY51" fmla="*/ 21431 h 1101852"/>
                <a:gd name="connsiteX52" fmla="*/ 992410 w 1182528"/>
                <a:gd name="connsiteY52" fmla="*/ 20479 h 1101852"/>
                <a:gd name="connsiteX53" fmla="*/ 985076 w 1182528"/>
                <a:gd name="connsiteY53" fmla="*/ 13335 h 1101852"/>
                <a:gd name="connsiteX54" fmla="*/ 974217 w 1182528"/>
                <a:gd name="connsiteY54" fmla="*/ 16383 h 1101852"/>
                <a:gd name="connsiteX55" fmla="*/ 972884 w 1182528"/>
                <a:gd name="connsiteY55" fmla="*/ 18098 h 1101852"/>
                <a:gd name="connsiteX56" fmla="*/ 966597 w 1182528"/>
                <a:gd name="connsiteY56" fmla="*/ 18955 h 1101852"/>
                <a:gd name="connsiteX57" fmla="*/ 960406 w 1182528"/>
                <a:gd name="connsiteY57" fmla="*/ 8477 h 1101852"/>
                <a:gd name="connsiteX58" fmla="*/ 951357 w 1182528"/>
                <a:gd name="connsiteY58" fmla="*/ 0 h 1101852"/>
                <a:gd name="connsiteX59" fmla="*/ 943451 w 1182528"/>
                <a:gd name="connsiteY59" fmla="*/ 1048 h 1101852"/>
                <a:gd name="connsiteX60" fmla="*/ 939356 w 1182528"/>
                <a:gd name="connsiteY60" fmla="*/ 6382 h 1101852"/>
                <a:gd name="connsiteX61" fmla="*/ 934402 w 1182528"/>
                <a:gd name="connsiteY61" fmla="*/ 18193 h 1101852"/>
                <a:gd name="connsiteX62" fmla="*/ 924497 w 1182528"/>
                <a:gd name="connsiteY62" fmla="*/ 16288 h 1101852"/>
                <a:gd name="connsiteX63" fmla="*/ 925163 w 1182528"/>
                <a:gd name="connsiteY63" fmla="*/ 21050 h 1101852"/>
                <a:gd name="connsiteX64" fmla="*/ 928497 w 1182528"/>
                <a:gd name="connsiteY64" fmla="*/ 22193 h 1101852"/>
                <a:gd name="connsiteX65" fmla="*/ 932498 w 1182528"/>
                <a:gd name="connsiteY65" fmla="*/ 28099 h 1101852"/>
                <a:gd name="connsiteX66" fmla="*/ 931735 w 1182528"/>
                <a:gd name="connsiteY66" fmla="*/ 34576 h 1101852"/>
                <a:gd name="connsiteX67" fmla="*/ 927735 w 1182528"/>
                <a:gd name="connsiteY67" fmla="*/ 41529 h 1101852"/>
                <a:gd name="connsiteX68" fmla="*/ 929735 w 1182528"/>
                <a:gd name="connsiteY68" fmla="*/ 44482 h 1101852"/>
                <a:gd name="connsiteX69" fmla="*/ 919448 w 1182528"/>
                <a:gd name="connsiteY69" fmla="*/ 52197 h 1101852"/>
                <a:gd name="connsiteX70" fmla="*/ 916114 w 1182528"/>
                <a:gd name="connsiteY70" fmla="*/ 51054 h 1101852"/>
                <a:gd name="connsiteX71" fmla="*/ 915352 w 1182528"/>
                <a:gd name="connsiteY71" fmla="*/ 57531 h 1101852"/>
                <a:gd name="connsiteX72" fmla="*/ 920877 w 1182528"/>
                <a:gd name="connsiteY72" fmla="*/ 63246 h 1101852"/>
                <a:gd name="connsiteX73" fmla="*/ 914019 w 1182528"/>
                <a:gd name="connsiteY73" fmla="*/ 72104 h 1101852"/>
                <a:gd name="connsiteX74" fmla="*/ 913067 w 1182528"/>
                <a:gd name="connsiteY74" fmla="*/ 77057 h 1101852"/>
                <a:gd name="connsiteX75" fmla="*/ 916781 w 1182528"/>
                <a:gd name="connsiteY75" fmla="*/ 81439 h 1101852"/>
                <a:gd name="connsiteX76" fmla="*/ 924877 w 1182528"/>
                <a:gd name="connsiteY76" fmla="*/ 82010 h 1101852"/>
                <a:gd name="connsiteX77" fmla="*/ 932212 w 1182528"/>
                <a:gd name="connsiteY77" fmla="*/ 89059 h 1101852"/>
                <a:gd name="connsiteX78" fmla="*/ 935355 w 1182528"/>
                <a:gd name="connsiteY78" fmla="*/ 88678 h 1101852"/>
                <a:gd name="connsiteX79" fmla="*/ 940118 w 1182528"/>
                <a:gd name="connsiteY79" fmla="*/ 88106 h 1101852"/>
                <a:gd name="connsiteX80" fmla="*/ 948976 w 1182528"/>
                <a:gd name="connsiteY80" fmla="*/ 82106 h 1101852"/>
                <a:gd name="connsiteX81" fmla="*/ 956881 w 1182528"/>
                <a:gd name="connsiteY81" fmla="*/ 81153 h 1101852"/>
                <a:gd name="connsiteX82" fmla="*/ 960596 w 1182528"/>
                <a:gd name="connsiteY82" fmla="*/ 85439 h 1101852"/>
                <a:gd name="connsiteX83" fmla="*/ 959453 w 1182528"/>
                <a:gd name="connsiteY83" fmla="*/ 88773 h 1101852"/>
                <a:gd name="connsiteX84" fmla="*/ 960215 w 1182528"/>
                <a:gd name="connsiteY84" fmla="*/ 95155 h 1101852"/>
                <a:gd name="connsiteX85" fmla="*/ 955548 w 1182528"/>
                <a:gd name="connsiteY85" fmla="*/ 95726 h 1101852"/>
                <a:gd name="connsiteX86" fmla="*/ 952119 w 1182528"/>
                <a:gd name="connsiteY86" fmla="*/ 94583 h 1101852"/>
                <a:gd name="connsiteX87" fmla="*/ 942118 w 1182528"/>
                <a:gd name="connsiteY87" fmla="*/ 103822 h 1101852"/>
                <a:gd name="connsiteX88" fmla="*/ 954119 w 1182528"/>
                <a:gd name="connsiteY88" fmla="*/ 110300 h 1101852"/>
                <a:gd name="connsiteX89" fmla="*/ 954405 w 1182528"/>
                <a:gd name="connsiteY89" fmla="*/ 111919 h 1101852"/>
                <a:gd name="connsiteX90" fmla="*/ 950023 w 1182528"/>
                <a:gd name="connsiteY90" fmla="*/ 115634 h 1101852"/>
                <a:gd name="connsiteX91" fmla="*/ 958882 w 1182528"/>
                <a:gd name="connsiteY91" fmla="*/ 122587 h 1101852"/>
                <a:gd name="connsiteX92" fmla="*/ 971740 w 1182528"/>
                <a:gd name="connsiteY92" fmla="*/ 122491 h 1101852"/>
                <a:gd name="connsiteX93" fmla="*/ 975551 w 1182528"/>
                <a:gd name="connsiteY93" fmla="*/ 126873 h 1101852"/>
                <a:gd name="connsiteX94" fmla="*/ 978884 w 1182528"/>
                <a:gd name="connsiteY94" fmla="*/ 128016 h 1101852"/>
                <a:gd name="connsiteX95" fmla="*/ 984218 w 1182528"/>
                <a:gd name="connsiteY95" fmla="*/ 132207 h 1101852"/>
                <a:gd name="connsiteX96" fmla="*/ 988695 w 1182528"/>
                <a:gd name="connsiteY96" fmla="*/ 130016 h 1101852"/>
                <a:gd name="connsiteX97" fmla="*/ 989362 w 1182528"/>
                <a:gd name="connsiteY97" fmla="*/ 134684 h 1101852"/>
                <a:gd name="connsiteX98" fmla="*/ 992696 w 1182528"/>
                <a:gd name="connsiteY98" fmla="*/ 135922 h 1101852"/>
                <a:gd name="connsiteX99" fmla="*/ 1001744 w 1182528"/>
                <a:gd name="connsiteY99" fmla="*/ 131540 h 1101852"/>
                <a:gd name="connsiteX100" fmla="*/ 1007269 w 1182528"/>
                <a:gd name="connsiteY100" fmla="*/ 137255 h 1101852"/>
                <a:gd name="connsiteX101" fmla="*/ 1011079 w 1182528"/>
                <a:gd name="connsiteY101" fmla="*/ 141542 h 1101852"/>
                <a:gd name="connsiteX102" fmla="*/ 1009936 w 1182528"/>
                <a:gd name="connsiteY102" fmla="*/ 144971 h 1101852"/>
                <a:gd name="connsiteX103" fmla="*/ 1010888 w 1182528"/>
                <a:gd name="connsiteY103" fmla="*/ 152781 h 1101852"/>
                <a:gd name="connsiteX104" fmla="*/ 1003173 w 1182528"/>
                <a:gd name="connsiteY104" fmla="*/ 155448 h 1101852"/>
                <a:gd name="connsiteX105" fmla="*/ 1006602 w 1182528"/>
                <a:gd name="connsiteY105" fmla="*/ 156591 h 1101852"/>
                <a:gd name="connsiteX106" fmla="*/ 1005364 w 1182528"/>
                <a:gd name="connsiteY106" fmla="*/ 159925 h 1101852"/>
                <a:gd name="connsiteX107" fmla="*/ 1002030 w 1182528"/>
                <a:gd name="connsiteY107" fmla="*/ 158782 h 1101852"/>
                <a:gd name="connsiteX108" fmla="*/ 1002221 w 1182528"/>
                <a:gd name="connsiteY108" fmla="*/ 160306 h 1101852"/>
                <a:gd name="connsiteX109" fmla="*/ 1000697 w 1182528"/>
                <a:gd name="connsiteY109" fmla="*/ 160496 h 1101852"/>
                <a:gd name="connsiteX110" fmla="*/ 1001839 w 1182528"/>
                <a:gd name="connsiteY110" fmla="*/ 170021 h 1101852"/>
                <a:gd name="connsiteX111" fmla="*/ 1001459 w 1182528"/>
                <a:gd name="connsiteY111" fmla="*/ 179642 h 1101852"/>
                <a:gd name="connsiteX112" fmla="*/ 1000125 w 1182528"/>
                <a:gd name="connsiteY112" fmla="*/ 181451 h 1101852"/>
                <a:gd name="connsiteX113" fmla="*/ 992219 w 1182528"/>
                <a:gd name="connsiteY113" fmla="*/ 182499 h 1101852"/>
                <a:gd name="connsiteX114" fmla="*/ 980599 w 1182528"/>
                <a:gd name="connsiteY114" fmla="*/ 179165 h 1101852"/>
                <a:gd name="connsiteX115" fmla="*/ 979170 w 1182528"/>
                <a:gd name="connsiteY115" fmla="*/ 180880 h 1101852"/>
                <a:gd name="connsiteX116" fmla="*/ 975646 w 1182528"/>
                <a:gd name="connsiteY116" fmla="*/ 178118 h 1101852"/>
                <a:gd name="connsiteX117" fmla="*/ 976408 w 1182528"/>
                <a:gd name="connsiteY117" fmla="*/ 184499 h 1101852"/>
                <a:gd name="connsiteX118" fmla="*/ 973646 w 1182528"/>
                <a:gd name="connsiteY118" fmla="*/ 188024 h 1101852"/>
                <a:gd name="connsiteX119" fmla="*/ 959644 w 1182528"/>
                <a:gd name="connsiteY119" fmla="*/ 191453 h 1101852"/>
                <a:gd name="connsiteX120" fmla="*/ 956310 w 1182528"/>
                <a:gd name="connsiteY120" fmla="*/ 190214 h 1101852"/>
                <a:gd name="connsiteX121" fmla="*/ 944309 w 1182528"/>
                <a:gd name="connsiteY121" fmla="*/ 196596 h 1101852"/>
                <a:gd name="connsiteX122" fmla="*/ 936022 w 1182528"/>
                <a:gd name="connsiteY122" fmla="*/ 194405 h 1101852"/>
                <a:gd name="connsiteX123" fmla="*/ 930307 w 1182528"/>
                <a:gd name="connsiteY123" fmla="*/ 187166 h 1101852"/>
                <a:gd name="connsiteX124" fmla="*/ 920210 w 1182528"/>
                <a:gd name="connsiteY124" fmla="*/ 183642 h 1101852"/>
                <a:gd name="connsiteX125" fmla="*/ 908399 w 1182528"/>
                <a:gd name="connsiteY125" fmla="*/ 191548 h 1101852"/>
                <a:gd name="connsiteX126" fmla="*/ 903827 w 1182528"/>
                <a:gd name="connsiteY126" fmla="*/ 193739 h 1101852"/>
                <a:gd name="connsiteX127" fmla="*/ 895540 w 1182528"/>
                <a:gd name="connsiteY127" fmla="*/ 191548 h 1101852"/>
                <a:gd name="connsiteX128" fmla="*/ 896969 w 1182528"/>
                <a:gd name="connsiteY128" fmla="*/ 202597 h 1101852"/>
                <a:gd name="connsiteX129" fmla="*/ 888302 w 1182528"/>
                <a:gd name="connsiteY129" fmla="*/ 222980 h 1101852"/>
                <a:gd name="connsiteX130" fmla="*/ 884968 w 1182528"/>
                <a:gd name="connsiteY130" fmla="*/ 221742 h 1101852"/>
                <a:gd name="connsiteX131" fmla="*/ 873347 w 1182528"/>
                <a:gd name="connsiteY131" fmla="*/ 231267 h 1101852"/>
                <a:gd name="connsiteX132" fmla="*/ 870204 w 1182528"/>
                <a:gd name="connsiteY132" fmla="*/ 231648 h 1101852"/>
                <a:gd name="connsiteX133" fmla="*/ 865823 w 1182528"/>
                <a:gd name="connsiteY133" fmla="*/ 235458 h 1101852"/>
                <a:gd name="connsiteX134" fmla="*/ 846773 w 1182528"/>
                <a:gd name="connsiteY134" fmla="*/ 236315 h 1101852"/>
                <a:gd name="connsiteX135" fmla="*/ 826198 w 1182528"/>
                <a:gd name="connsiteY135" fmla="*/ 251746 h 1101852"/>
                <a:gd name="connsiteX136" fmla="*/ 821341 w 1182528"/>
                <a:gd name="connsiteY136" fmla="*/ 250793 h 1101852"/>
                <a:gd name="connsiteX137" fmla="*/ 814006 w 1182528"/>
                <a:gd name="connsiteY137" fmla="*/ 256508 h 1101852"/>
                <a:gd name="connsiteX138" fmla="*/ 807720 w 1182528"/>
                <a:gd name="connsiteY138" fmla="*/ 257270 h 1101852"/>
                <a:gd name="connsiteX139" fmla="*/ 803148 w 1182528"/>
                <a:gd name="connsiteY139" fmla="*/ 259461 h 1101852"/>
                <a:gd name="connsiteX140" fmla="*/ 796861 w 1182528"/>
                <a:gd name="connsiteY140" fmla="*/ 260318 h 1101852"/>
                <a:gd name="connsiteX141" fmla="*/ 790003 w 1182528"/>
                <a:gd name="connsiteY141" fmla="*/ 269177 h 1101852"/>
                <a:gd name="connsiteX142" fmla="*/ 788956 w 1182528"/>
                <a:gd name="connsiteY142" fmla="*/ 274130 h 1101852"/>
                <a:gd name="connsiteX143" fmla="*/ 784669 w 1182528"/>
                <a:gd name="connsiteY143" fmla="*/ 277844 h 1101852"/>
                <a:gd name="connsiteX144" fmla="*/ 778383 w 1182528"/>
                <a:gd name="connsiteY144" fmla="*/ 278702 h 1101852"/>
                <a:gd name="connsiteX145" fmla="*/ 774764 w 1182528"/>
                <a:gd name="connsiteY145" fmla="*/ 275939 h 1101852"/>
                <a:gd name="connsiteX146" fmla="*/ 768477 w 1182528"/>
                <a:gd name="connsiteY146" fmla="*/ 276701 h 1101852"/>
                <a:gd name="connsiteX147" fmla="*/ 762190 w 1182528"/>
                <a:gd name="connsiteY147" fmla="*/ 277559 h 1101852"/>
                <a:gd name="connsiteX148" fmla="*/ 758285 w 1182528"/>
                <a:gd name="connsiteY148" fmla="*/ 284417 h 1101852"/>
                <a:gd name="connsiteX149" fmla="*/ 747522 w 1182528"/>
                <a:gd name="connsiteY149" fmla="*/ 276225 h 1101852"/>
                <a:gd name="connsiteX150" fmla="*/ 737902 w 1182528"/>
                <a:gd name="connsiteY150" fmla="*/ 275844 h 1101852"/>
                <a:gd name="connsiteX151" fmla="*/ 737330 w 1182528"/>
                <a:gd name="connsiteY151" fmla="*/ 271082 h 1101852"/>
                <a:gd name="connsiteX152" fmla="*/ 728567 w 1182528"/>
                <a:gd name="connsiteY152" fmla="*/ 265748 h 1101852"/>
                <a:gd name="connsiteX153" fmla="*/ 724281 w 1182528"/>
                <a:gd name="connsiteY153" fmla="*/ 269558 h 1101852"/>
                <a:gd name="connsiteX154" fmla="*/ 715423 w 1182528"/>
                <a:gd name="connsiteY154" fmla="*/ 275463 h 1101852"/>
                <a:gd name="connsiteX155" fmla="*/ 705898 w 1182528"/>
                <a:gd name="connsiteY155" fmla="*/ 276701 h 1101852"/>
                <a:gd name="connsiteX156" fmla="*/ 702945 w 1182528"/>
                <a:gd name="connsiteY156" fmla="*/ 278606 h 1101852"/>
                <a:gd name="connsiteX157" fmla="*/ 703993 w 1182528"/>
                <a:gd name="connsiteY157" fmla="*/ 286512 h 1101852"/>
                <a:gd name="connsiteX158" fmla="*/ 699611 w 1182528"/>
                <a:gd name="connsiteY158" fmla="*/ 290322 h 1101852"/>
                <a:gd name="connsiteX159" fmla="*/ 696944 w 1182528"/>
                <a:gd name="connsiteY159" fmla="*/ 293846 h 1101852"/>
                <a:gd name="connsiteX160" fmla="*/ 692753 w 1182528"/>
                <a:gd name="connsiteY160" fmla="*/ 299180 h 1101852"/>
                <a:gd name="connsiteX161" fmla="*/ 678180 w 1182528"/>
                <a:gd name="connsiteY161" fmla="*/ 297847 h 1101852"/>
                <a:gd name="connsiteX162" fmla="*/ 669512 w 1182528"/>
                <a:gd name="connsiteY162" fmla="*/ 292513 h 1101852"/>
                <a:gd name="connsiteX163" fmla="*/ 665131 w 1182528"/>
                <a:gd name="connsiteY163" fmla="*/ 296323 h 1101852"/>
                <a:gd name="connsiteX164" fmla="*/ 664178 w 1182528"/>
                <a:gd name="connsiteY164" fmla="*/ 301276 h 1101852"/>
                <a:gd name="connsiteX165" fmla="*/ 665988 w 1182528"/>
                <a:gd name="connsiteY165" fmla="*/ 302609 h 1101852"/>
                <a:gd name="connsiteX166" fmla="*/ 661988 w 1182528"/>
                <a:gd name="connsiteY166" fmla="*/ 309563 h 1101852"/>
                <a:gd name="connsiteX167" fmla="*/ 661226 w 1182528"/>
                <a:gd name="connsiteY167" fmla="*/ 316039 h 1101852"/>
                <a:gd name="connsiteX168" fmla="*/ 657130 w 1182528"/>
                <a:gd name="connsiteY168" fmla="*/ 321374 h 1101852"/>
                <a:gd name="connsiteX169" fmla="*/ 659702 w 1182528"/>
                <a:gd name="connsiteY169" fmla="*/ 329089 h 1101852"/>
                <a:gd name="connsiteX170" fmla="*/ 667417 w 1182528"/>
                <a:gd name="connsiteY170" fmla="*/ 339281 h 1101852"/>
                <a:gd name="connsiteX171" fmla="*/ 663893 w 1182528"/>
                <a:gd name="connsiteY171" fmla="*/ 349377 h 1101852"/>
                <a:gd name="connsiteX172" fmla="*/ 655034 w 1182528"/>
                <a:gd name="connsiteY172" fmla="*/ 355378 h 1101852"/>
                <a:gd name="connsiteX173" fmla="*/ 652081 w 1182528"/>
                <a:gd name="connsiteY173" fmla="*/ 357283 h 1101852"/>
                <a:gd name="connsiteX174" fmla="*/ 644747 w 1182528"/>
                <a:gd name="connsiteY174" fmla="*/ 350234 h 1101852"/>
                <a:gd name="connsiteX175" fmla="*/ 639985 w 1182528"/>
                <a:gd name="connsiteY175" fmla="*/ 350806 h 1101852"/>
                <a:gd name="connsiteX176" fmla="*/ 639413 w 1182528"/>
                <a:gd name="connsiteY176" fmla="*/ 358902 h 1101852"/>
                <a:gd name="connsiteX177" fmla="*/ 635889 w 1182528"/>
                <a:gd name="connsiteY177" fmla="*/ 368999 h 1101852"/>
                <a:gd name="connsiteX178" fmla="*/ 628174 w 1182528"/>
                <a:gd name="connsiteY178" fmla="*/ 371570 h 1101852"/>
                <a:gd name="connsiteX179" fmla="*/ 621316 w 1182528"/>
                <a:gd name="connsiteY179" fmla="*/ 367665 h 1101852"/>
                <a:gd name="connsiteX180" fmla="*/ 618554 w 1182528"/>
                <a:gd name="connsiteY180" fmla="*/ 371189 h 1101852"/>
                <a:gd name="connsiteX181" fmla="*/ 615410 w 1182528"/>
                <a:gd name="connsiteY181" fmla="*/ 371570 h 1101852"/>
                <a:gd name="connsiteX182" fmla="*/ 606266 w 1182528"/>
                <a:gd name="connsiteY182" fmla="*/ 363188 h 1101852"/>
                <a:gd name="connsiteX183" fmla="*/ 602742 w 1182528"/>
                <a:gd name="connsiteY183" fmla="*/ 360426 h 1101852"/>
                <a:gd name="connsiteX184" fmla="*/ 596265 w 1182528"/>
                <a:gd name="connsiteY184" fmla="*/ 359569 h 1101852"/>
                <a:gd name="connsiteX185" fmla="*/ 591693 w 1182528"/>
                <a:gd name="connsiteY185" fmla="*/ 361760 h 1101852"/>
                <a:gd name="connsiteX186" fmla="*/ 589502 w 1182528"/>
                <a:gd name="connsiteY186" fmla="*/ 357283 h 1101852"/>
                <a:gd name="connsiteX187" fmla="*/ 586740 w 1182528"/>
                <a:gd name="connsiteY187" fmla="*/ 360807 h 1101852"/>
                <a:gd name="connsiteX188" fmla="*/ 583025 w 1182528"/>
                <a:gd name="connsiteY188" fmla="*/ 356521 h 1101852"/>
                <a:gd name="connsiteX189" fmla="*/ 578644 w 1182528"/>
                <a:gd name="connsiteY189" fmla="*/ 360236 h 1101852"/>
                <a:gd name="connsiteX190" fmla="*/ 573500 w 1182528"/>
                <a:gd name="connsiteY190" fmla="*/ 357664 h 1101852"/>
                <a:gd name="connsiteX191" fmla="*/ 568833 w 1182528"/>
                <a:gd name="connsiteY191" fmla="*/ 358331 h 1101852"/>
                <a:gd name="connsiteX192" fmla="*/ 564642 w 1182528"/>
                <a:gd name="connsiteY192" fmla="*/ 363664 h 1101852"/>
                <a:gd name="connsiteX193" fmla="*/ 561689 w 1182528"/>
                <a:gd name="connsiteY193" fmla="*/ 365570 h 1101852"/>
                <a:gd name="connsiteX194" fmla="*/ 555403 w 1182528"/>
                <a:gd name="connsiteY194" fmla="*/ 366427 h 1101852"/>
                <a:gd name="connsiteX195" fmla="*/ 547878 w 1182528"/>
                <a:gd name="connsiteY195" fmla="*/ 357759 h 1101852"/>
                <a:gd name="connsiteX196" fmla="*/ 539591 w 1182528"/>
                <a:gd name="connsiteY196" fmla="*/ 368427 h 1101852"/>
                <a:gd name="connsiteX197" fmla="*/ 534924 w 1182528"/>
                <a:gd name="connsiteY197" fmla="*/ 368999 h 1101852"/>
                <a:gd name="connsiteX198" fmla="*/ 537305 w 1182528"/>
                <a:gd name="connsiteY198" fmla="*/ 375190 h 1101852"/>
                <a:gd name="connsiteX199" fmla="*/ 534543 w 1182528"/>
                <a:gd name="connsiteY199" fmla="*/ 378714 h 1101852"/>
                <a:gd name="connsiteX200" fmla="*/ 522827 w 1182528"/>
                <a:gd name="connsiteY200" fmla="*/ 375380 h 1101852"/>
                <a:gd name="connsiteX201" fmla="*/ 517112 w 1182528"/>
                <a:gd name="connsiteY201" fmla="*/ 368046 h 1101852"/>
                <a:gd name="connsiteX202" fmla="*/ 504825 w 1182528"/>
                <a:gd name="connsiteY202" fmla="*/ 360045 h 1101852"/>
                <a:gd name="connsiteX203" fmla="*/ 490633 w 1182528"/>
                <a:gd name="connsiteY203" fmla="*/ 361855 h 1101852"/>
                <a:gd name="connsiteX204" fmla="*/ 484727 w 1182528"/>
                <a:gd name="connsiteY204" fmla="*/ 365760 h 1101852"/>
                <a:gd name="connsiteX205" fmla="*/ 477298 w 1182528"/>
                <a:gd name="connsiteY205" fmla="*/ 369951 h 1101852"/>
                <a:gd name="connsiteX206" fmla="*/ 478250 w 1182528"/>
                <a:gd name="connsiteY206" fmla="*/ 377857 h 1101852"/>
                <a:gd name="connsiteX207" fmla="*/ 467201 w 1182528"/>
                <a:gd name="connsiteY207" fmla="*/ 379286 h 1101852"/>
                <a:gd name="connsiteX208" fmla="*/ 461296 w 1182528"/>
                <a:gd name="connsiteY208" fmla="*/ 383191 h 1101852"/>
                <a:gd name="connsiteX209" fmla="*/ 451199 w 1182528"/>
                <a:gd name="connsiteY209" fmla="*/ 379667 h 1101852"/>
                <a:gd name="connsiteX210" fmla="*/ 441389 w 1182528"/>
                <a:gd name="connsiteY210" fmla="*/ 377762 h 1101852"/>
                <a:gd name="connsiteX211" fmla="*/ 438436 w 1182528"/>
                <a:gd name="connsiteY211" fmla="*/ 379762 h 1101852"/>
                <a:gd name="connsiteX212" fmla="*/ 433292 w 1182528"/>
                <a:gd name="connsiteY212" fmla="*/ 377190 h 1101852"/>
                <a:gd name="connsiteX213" fmla="*/ 428530 w 1182528"/>
                <a:gd name="connsiteY213" fmla="*/ 377762 h 1101852"/>
                <a:gd name="connsiteX214" fmla="*/ 422434 w 1182528"/>
                <a:gd name="connsiteY214" fmla="*/ 380143 h 1101852"/>
                <a:gd name="connsiteX215" fmla="*/ 416909 w 1182528"/>
                <a:gd name="connsiteY215" fmla="*/ 387287 h 1101852"/>
                <a:gd name="connsiteX216" fmla="*/ 408813 w 1182528"/>
                <a:gd name="connsiteY216" fmla="*/ 386715 h 1101852"/>
                <a:gd name="connsiteX217" fmla="*/ 409861 w 1182528"/>
                <a:gd name="connsiteY217" fmla="*/ 394621 h 1101852"/>
                <a:gd name="connsiteX218" fmla="*/ 417576 w 1182528"/>
                <a:gd name="connsiteY218" fmla="*/ 404813 h 1101852"/>
                <a:gd name="connsiteX219" fmla="*/ 419767 w 1182528"/>
                <a:gd name="connsiteY219" fmla="*/ 409385 h 1101852"/>
                <a:gd name="connsiteX220" fmla="*/ 420910 w 1182528"/>
                <a:gd name="connsiteY220" fmla="*/ 418814 h 1101852"/>
                <a:gd name="connsiteX221" fmla="*/ 418147 w 1182528"/>
                <a:gd name="connsiteY221" fmla="*/ 422434 h 1101852"/>
                <a:gd name="connsiteX222" fmla="*/ 419005 w 1182528"/>
                <a:gd name="connsiteY222" fmla="*/ 428720 h 1101852"/>
                <a:gd name="connsiteX223" fmla="*/ 417576 w 1182528"/>
                <a:gd name="connsiteY223" fmla="*/ 430435 h 1101852"/>
                <a:gd name="connsiteX224" fmla="*/ 412718 w 1182528"/>
                <a:gd name="connsiteY224" fmla="*/ 429482 h 1101852"/>
                <a:gd name="connsiteX225" fmla="*/ 398716 w 1182528"/>
                <a:gd name="connsiteY225" fmla="*/ 445675 h 1101852"/>
                <a:gd name="connsiteX226" fmla="*/ 401288 w 1182528"/>
                <a:gd name="connsiteY226" fmla="*/ 453390 h 1101852"/>
                <a:gd name="connsiteX227" fmla="*/ 407575 w 1182528"/>
                <a:gd name="connsiteY227" fmla="*/ 452628 h 1101852"/>
                <a:gd name="connsiteX228" fmla="*/ 407194 w 1182528"/>
                <a:gd name="connsiteY228" fmla="*/ 462248 h 1101852"/>
                <a:gd name="connsiteX229" fmla="*/ 402908 w 1182528"/>
                <a:gd name="connsiteY229" fmla="*/ 466058 h 1101852"/>
                <a:gd name="connsiteX230" fmla="*/ 391858 w 1182528"/>
                <a:gd name="connsiteY230" fmla="*/ 467487 h 1101852"/>
                <a:gd name="connsiteX231" fmla="*/ 387477 w 1182528"/>
                <a:gd name="connsiteY231" fmla="*/ 471202 h 1101852"/>
                <a:gd name="connsiteX232" fmla="*/ 386906 w 1182528"/>
                <a:gd name="connsiteY232" fmla="*/ 479298 h 1101852"/>
                <a:gd name="connsiteX233" fmla="*/ 373761 w 1182528"/>
                <a:gd name="connsiteY233" fmla="*/ 489013 h 1101852"/>
                <a:gd name="connsiteX234" fmla="*/ 374142 w 1182528"/>
                <a:gd name="connsiteY234" fmla="*/ 492157 h 1101852"/>
                <a:gd name="connsiteX235" fmla="*/ 369856 w 1182528"/>
                <a:gd name="connsiteY235" fmla="*/ 495872 h 1101852"/>
                <a:gd name="connsiteX236" fmla="*/ 364331 w 1182528"/>
                <a:gd name="connsiteY236" fmla="*/ 503015 h 1101852"/>
                <a:gd name="connsiteX237" fmla="*/ 350329 w 1182528"/>
                <a:gd name="connsiteY237" fmla="*/ 493586 h 1101852"/>
                <a:gd name="connsiteX238" fmla="*/ 342233 w 1182528"/>
                <a:gd name="connsiteY238" fmla="*/ 493014 h 1101852"/>
                <a:gd name="connsiteX239" fmla="*/ 338614 w 1182528"/>
                <a:gd name="connsiteY239" fmla="*/ 490252 h 1101852"/>
                <a:gd name="connsiteX240" fmla="*/ 340233 w 1182528"/>
                <a:gd name="connsiteY240" fmla="*/ 490061 h 1101852"/>
                <a:gd name="connsiteX241" fmla="*/ 338233 w 1182528"/>
                <a:gd name="connsiteY241" fmla="*/ 487109 h 1101852"/>
                <a:gd name="connsiteX242" fmla="*/ 331756 w 1182528"/>
                <a:gd name="connsiteY242" fmla="*/ 486347 h 1101852"/>
                <a:gd name="connsiteX243" fmla="*/ 329946 w 1182528"/>
                <a:gd name="connsiteY243" fmla="*/ 484918 h 1101852"/>
                <a:gd name="connsiteX244" fmla="*/ 330899 w 1182528"/>
                <a:gd name="connsiteY244" fmla="*/ 480060 h 1101852"/>
                <a:gd name="connsiteX245" fmla="*/ 324326 w 1182528"/>
                <a:gd name="connsiteY245" fmla="*/ 466439 h 1101852"/>
                <a:gd name="connsiteX246" fmla="*/ 316611 w 1182528"/>
                <a:gd name="connsiteY246" fmla="*/ 456152 h 1101852"/>
                <a:gd name="connsiteX247" fmla="*/ 316039 w 1182528"/>
                <a:gd name="connsiteY247" fmla="*/ 451485 h 1101852"/>
                <a:gd name="connsiteX248" fmla="*/ 311087 w 1182528"/>
                <a:gd name="connsiteY248" fmla="*/ 450437 h 1101852"/>
                <a:gd name="connsiteX249" fmla="*/ 309753 w 1182528"/>
                <a:gd name="connsiteY249" fmla="*/ 452247 h 1101852"/>
                <a:gd name="connsiteX250" fmla="*/ 305943 w 1182528"/>
                <a:gd name="connsiteY250" fmla="*/ 447961 h 1101852"/>
                <a:gd name="connsiteX251" fmla="*/ 300799 w 1182528"/>
                <a:gd name="connsiteY251" fmla="*/ 445389 h 1101852"/>
                <a:gd name="connsiteX252" fmla="*/ 303657 w 1182528"/>
                <a:gd name="connsiteY252" fmla="*/ 467487 h 1101852"/>
                <a:gd name="connsiteX253" fmla="*/ 305848 w 1182528"/>
                <a:gd name="connsiteY253" fmla="*/ 471964 h 1101852"/>
                <a:gd name="connsiteX254" fmla="*/ 301466 w 1182528"/>
                <a:gd name="connsiteY254" fmla="*/ 475774 h 1101852"/>
                <a:gd name="connsiteX255" fmla="*/ 300514 w 1182528"/>
                <a:gd name="connsiteY255" fmla="*/ 480727 h 1101852"/>
                <a:gd name="connsiteX256" fmla="*/ 297561 w 1182528"/>
                <a:gd name="connsiteY256" fmla="*/ 482632 h 1101852"/>
                <a:gd name="connsiteX257" fmla="*/ 294418 w 1182528"/>
                <a:gd name="connsiteY257" fmla="*/ 483108 h 1101852"/>
                <a:gd name="connsiteX258" fmla="*/ 293084 w 1182528"/>
                <a:gd name="connsiteY258" fmla="*/ 484823 h 1101852"/>
                <a:gd name="connsiteX259" fmla="*/ 277463 w 1182528"/>
                <a:gd name="connsiteY259" fmla="*/ 488442 h 1101852"/>
                <a:gd name="connsiteX260" fmla="*/ 279464 w 1182528"/>
                <a:gd name="connsiteY260" fmla="*/ 491395 h 1101852"/>
                <a:gd name="connsiteX261" fmla="*/ 276701 w 1182528"/>
                <a:gd name="connsiteY261" fmla="*/ 494919 h 1101852"/>
                <a:gd name="connsiteX262" fmla="*/ 268605 w 1182528"/>
                <a:gd name="connsiteY262" fmla="*/ 494348 h 1101852"/>
                <a:gd name="connsiteX263" fmla="*/ 268986 w 1182528"/>
                <a:gd name="connsiteY263" fmla="*/ 497491 h 1101852"/>
                <a:gd name="connsiteX264" fmla="*/ 266224 w 1182528"/>
                <a:gd name="connsiteY264" fmla="*/ 501110 h 1101852"/>
                <a:gd name="connsiteX265" fmla="*/ 267081 w 1182528"/>
                <a:gd name="connsiteY265" fmla="*/ 507397 h 1101852"/>
                <a:gd name="connsiteX266" fmla="*/ 266510 w 1182528"/>
                <a:gd name="connsiteY266" fmla="*/ 515493 h 1101852"/>
                <a:gd name="connsiteX267" fmla="*/ 268224 w 1182528"/>
                <a:gd name="connsiteY267" fmla="*/ 516827 h 1101852"/>
                <a:gd name="connsiteX268" fmla="*/ 267652 w 1182528"/>
                <a:gd name="connsiteY268" fmla="*/ 524923 h 1101852"/>
                <a:gd name="connsiteX269" fmla="*/ 258413 w 1182528"/>
                <a:gd name="connsiteY269" fmla="*/ 527780 h 1101852"/>
                <a:gd name="connsiteX270" fmla="*/ 250317 w 1182528"/>
                <a:gd name="connsiteY270" fmla="*/ 527209 h 1101852"/>
                <a:gd name="connsiteX271" fmla="*/ 246031 w 1182528"/>
                <a:gd name="connsiteY271" fmla="*/ 530924 h 1101852"/>
                <a:gd name="connsiteX272" fmla="*/ 241268 w 1182528"/>
                <a:gd name="connsiteY272" fmla="*/ 518732 h 1101852"/>
                <a:gd name="connsiteX273" fmla="*/ 240792 w 1182528"/>
                <a:gd name="connsiteY273" fmla="*/ 515588 h 1101852"/>
                <a:gd name="connsiteX274" fmla="*/ 237077 w 1182528"/>
                <a:gd name="connsiteY274" fmla="*/ 511207 h 1101852"/>
                <a:gd name="connsiteX275" fmla="*/ 225838 w 1182528"/>
                <a:gd name="connsiteY275" fmla="*/ 511016 h 1101852"/>
                <a:gd name="connsiteX276" fmla="*/ 220504 w 1182528"/>
                <a:gd name="connsiteY276" fmla="*/ 506921 h 1101852"/>
                <a:gd name="connsiteX277" fmla="*/ 214789 w 1182528"/>
                <a:gd name="connsiteY277" fmla="*/ 512445 h 1101852"/>
                <a:gd name="connsiteX278" fmla="*/ 215360 w 1182528"/>
                <a:gd name="connsiteY278" fmla="*/ 517208 h 1101852"/>
                <a:gd name="connsiteX279" fmla="*/ 210883 w 1182528"/>
                <a:gd name="connsiteY279" fmla="*/ 519398 h 1101852"/>
                <a:gd name="connsiteX280" fmla="*/ 206693 w 1182528"/>
                <a:gd name="connsiteY280" fmla="*/ 524732 h 1101852"/>
                <a:gd name="connsiteX281" fmla="*/ 205359 w 1182528"/>
                <a:gd name="connsiteY281" fmla="*/ 526447 h 1101852"/>
                <a:gd name="connsiteX282" fmla="*/ 206312 w 1182528"/>
                <a:gd name="connsiteY282" fmla="*/ 534353 h 1101852"/>
                <a:gd name="connsiteX283" fmla="*/ 197834 w 1182528"/>
                <a:gd name="connsiteY283" fmla="*/ 543497 h 1101852"/>
                <a:gd name="connsiteX284" fmla="*/ 198501 w 1182528"/>
                <a:gd name="connsiteY284" fmla="*/ 548259 h 1101852"/>
                <a:gd name="connsiteX285" fmla="*/ 200692 w 1182528"/>
                <a:gd name="connsiteY285" fmla="*/ 552736 h 1101852"/>
                <a:gd name="connsiteX286" fmla="*/ 201454 w 1182528"/>
                <a:gd name="connsiteY286" fmla="*/ 559022 h 1101852"/>
                <a:gd name="connsiteX287" fmla="*/ 197168 w 1182528"/>
                <a:gd name="connsiteY287" fmla="*/ 562832 h 1101852"/>
                <a:gd name="connsiteX288" fmla="*/ 196120 w 1182528"/>
                <a:gd name="connsiteY288" fmla="*/ 567785 h 1101852"/>
                <a:gd name="connsiteX289" fmla="*/ 188309 w 1182528"/>
                <a:gd name="connsiteY289" fmla="*/ 581597 h 1101852"/>
                <a:gd name="connsiteX290" fmla="*/ 187738 w 1182528"/>
                <a:gd name="connsiteY290" fmla="*/ 589693 h 1101852"/>
                <a:gd name="connsiteX291" fmla="*/ 177260 w 1182528"/>
                <a:gd name="connsiteY291" fmla="*/ 595789 h 1101852"/>
                <a:gd name="connsiteX292" fmla="*/ 178879 w 1182528"/>
                <a:gd name="connsiteY292" fmla="*/ 608457 h 1101852"/>
                <a:gd name="connsiteX293" fmla="*/ 177546 w 1182528"/>
                <a:gd name="connsiteY293" fmla="*/ 610267 h 1101852"/>
                <a:gd name="connsiteX294" fmla="*/ 172593 w 1182528"/>
                <a:gd name="connsiteY294" fmla="*/ 609219 h 1101852"/>
                <a:gd name="connsiteX295" fmla="*/ 164497 w 1182528"/>
                <a:gd name="connsiteY295" fmla="*/ 608648 h 1101852"/>
                <a:gd name="connsiteX296" fmla="*/ 149257 w 1182528"/>
                <a:gd name="connsiteY296" fmla="*/ 602552 h 1101852"/>
                <a:gd name="connsiteX297" fmla="*/ 143351 w 1182528"/>
                <a:gd name="connsiteY297" fmla="*/ 606552 h 1101852"/>
                <a:gd name="connsiteX298" fmla="*/ 138398 w 1182528"/>
                <a:gd name="connsiteY298" fmla="*/ 605600 h 1101852"/>
                <a:gd name="connsiteX299" fmla="*/ 140779 w 1182528"/>
                <a:gd name="connsiteY299" fmla="*/ 598837 h 1101852"/>
                <a:gd name="connsiteX300" fmla="*/ 137255 w 1182528"/>
                <a:gd name="connsiteY300" fmla="*/ 596075 h 1101852"/>
                <a:gd name="connsiteX301" fmla="*/ 134874 w 1182528"/>
                <a:gd name="connsiteY301" fmla="*/ 589979 h 1101852"/>
                <a:gd name="connsiteX302" fmla="*/ 126016 w 1182528"/>
                <a:gd name="connsiteY302" fmla="*/ 595979 h 1101852"/>
                <a:gd name="connsiteX303" fmla="*/ 114586 w 1182528"/>
                <a:gd name="connsiteY303" fmla="*/ 607028 h 1101852"/>
                <a:gd name="connsiteX304" fmla="*/ 106680 w 1182528"/>
                <a:gd name="connsiteY304" fmla="*/ 607981 h 1101852"/>
                <a:gd name="connsiteX305" fmla="*/ 102299 w 1182528"/>
                <a:gd name="connsiteY305" fmla="*/ 611791 h 1101852"/>
                <a:gd name="connsiteX306" fmla="*/ 82772 w 1182528"/>
                <a:gd name="connsiteY306" fmla="*/ 609505 h 1101852"/>
                <a:gd name="connsiteX307" fmla="*/ 79057 w 1182528"/>
                <a:gd name="connsiteY307" fmla="*/ 605123 h 1101852"/>
                <a:gd name="connsiteX308" fmla="*/ 74866 w 1182528"/>
                <a:gd name="connsiteY308" fmla="*/ 597599 h 1101852"/>
                <a:gd name="connsiteX309" fmla="*/ 70295 w 1182528"/>
                <a:gd name="connsiteY309" fmla="*/ 599789 h 1101852"/>
                <a:gd name="connsiteX310" fmla="*/ 65437 w 1182528"/>
                <a:gd name="connsiteY310" fmla="*/ 598837 h 1101852"/>
                <a:gd name="connsiteX311" fmla="*/ 65246 w 1182528"/>
                <a:gd name="connsiteY311" fmla="*/ 610076 h 1101852"/>
                <a:gd name="connsiteX312" fmla="*/ 59150 w 1182528"/>
                <a:gd name="connsiteY312" fmla="*/ 625316 h 1101852"/>
                <a:gd name="connsiteX313" fmla="*/ 56864 w 1182528"/>
                <a:gd name="connsiteY313" fmla="*/ 644843 h 1101852"/>
                <a:gd name="connsiteX314" fmla="*/ 54864 w 1182528"/>
                <a:gd name="connsiteY314" fmla="*/ 654749 h 1101852"/>
                <a:gd name="connsiteX315" fmla="*/ 57626 w 1182528"/>
                <a:gd name="connsiteY315" fmla="*/ 663988 h 1101852"/>
                <a:gd name="connsiteX316" fmla="*/ 54102 w 1182528"/>
                <a:gd name="connsiteY316" fmla="*/ 674084 h 1101852"/>
                <a:gd name="connsiteX317" fmla="*/ 40957 w 1182528"/>
                <a:gd name="connsiteY317" fmla="*/ 683800 h 1101852"/>
                <a:gd name="connsiteX318" fmla="*/ 36766 w 1182528"/>
                <a:gd name="connsiteY318" fmla="*/ 689134 h 1101852"/>
                <a:gd name="connsiteX319" fmla="*/ 33242 w 1182528"/>
                <a:gd name="connsiteY319" fmla="*/ 699135 h 1101852"/>
                <a:gd name="connsiteX320" fmla="*/ 30289 w 1182528"/>
                <a:gd name="connsiteY320" fmla="*/ 701135 h 1101852"/>
                <a:gd name="connsiteX321" fmla="*/ 16574 w 1182528"/>
                <a:gd name="connsiteY321" fmla="*/ 706088 h 1101852"/>
                <a:gd name="connsiteX322" fmla="*/ 5524 w 1182528"/>
                <a:gd name="connsiteY322" fmla="*/ 707517 h 1101852"/>
                <a:gd name="connsiteX323" fmla="*/ 952 w 1182528"/>
                <a:gd name="connsiteY323" fmla="*/ 709708 h 1101852"/>
                <a:gd name="connsiteX324" fmla="*/ 0 w 1182528"/>
                <a:gd name="connsiteY324" fmla="*/ 714661 h 1101852"/>
                <a:gd name="connsiteX325" fmla="*/ 4858 w 1182528"/>
                <a:gd name="connsiteY325" fmla="*/ 715613 h 1101852"/>
                <a:gd name="connsiteX326" fmla="*/ 5143 w 1182528"/>
                <a:gd name="connsiteY326" fmla="*/ 717137 h 1101852"/>
                <a:gd name="connsiteX327" fmla="*/ 16954 w 1182528"/>
                <a:gd name="connsiteY327" fmla="*/ 722090 h 1101852"/>
                <a:gd name="connsiteX328" fmla="*/ 20955 w 1182528"/>
                <a:gd name="connsiteY328" fmla="*/ 727996 h 1101852"/>
                <a:gd name="connsiteX329" fmla="*/ 23336 w 1182528"/>
                <a:gd name="connsiteY329" fmla="*/ 734092 h 1101852"/>
                <a:gd name="connsiteX330" fmla="*/ 34099 w 1182528"/>
                <a:gd name="connsiteY330" fmla="*/ 731139 h 1101852"/>
                <a:gd name="connsiteX331" fmla="*/ 36100 w 1182528"/>
                <a:gd name="connsiteY331" fmla="*/ 734092 h 1101852"/>
                <a:gd name="connsiteX332" fmla="*/ 39052 w 1182528"/>
                <a:gd name="connsiteY332" fmla="*/ 732092 h 1101852"/>
                <a:gd name="connsiteX333" fmla="*/ 37909 w 1182528"/>
                <a:gd name="connsiteY333" fmla="*/ 735425 h 1101852"/>
                <a:gd name="connsiteX334" fmla="*/ 39719 w 1182528"/>
                <a:gd name="connsiteY334" fmla="*/ 736854 h 1101852"/>
                <a:gd name="connsiteX335" fmla="*/ 48577 w 1182528"/>
                <a:gd name="connsiteY335" fmla="*/ 730853 h 1101852"/>
                <a:gd name="connsiteX336" fmla="*/ 56197 w 1182528"/>
                <a:gd name="connsiteY336" fmla="*/ 728282 h 1101852"/>
                <a:gd name="connsiteX337" fmla="*/ 58864 w 1182528"/>
                <a:gd name="connsiteY337" fmla="*/ 735997 h 1101852"/>
                <a:gd name="connsiteX338" fmla="*/ 72676 w 1182528"/>
                <a:gd name="connsiteY338" fmla="*/ 743903 h 1101852"/>
                <a:gd name="connsiteX339" fmla="*/ 73628 w 1182528"/>
                <a:gd name="connsiteY339" fmla="*/ 738950 h 1101852"/>
                <a:gd name="connsiteX340" fmla="*/ 88201 w 1182528"/>
                <a:gd name="connsiteY340" fmla="*/ 740283 h 1101852"/>
                <a:gd name="connsiteX341" fmla="*/ 87820 w 1182528"/>
                <a:gd name="connsiteY341" fmla="*/ 737140 h 1101852"/>
                <a:gd name="connsiteX342" fmla="*/ 97155 w 1182528"/>
                <a:gd name="connsiteY342" fmla="*/ 747141 h 1101852"/>
                <a:gd name="connsiteX343" fmla="*/ 103632 w 1182528"/>
                <a:gd name="connsiteY343" fmla="*/ 747903 h 1101852"/>
                <a:gd name="connsiteX344" fmla="*/ 106585 w 1182528"/>
                <a:gd name="connsiteY344" fmla="*/ 745998 h 1101852"/>
                <a:gd name="connsiteX345" fmla="*/ 108395 w 1182528"/>
                <a:gd name="connsiteY345" fmla="*/ 747332 h 1101852"/>
                <a:gd name="connsiteX346" fmla="*/ 116300 w 1182528"/>
                <a:gd name="connsiteY346" fmla="*/ 759143 h 1101852"/>
                <a:gd name="connsiteX347" fmla="*/ 116491 w 1182528"/>
                <a:gd name="connsiteY347" fmla="*/ 760762 h 1101852"/>
                <a:gd name="connsiteX348" fmla="*/ 110204 w 1182528"/>
                <a:gd name="connsiteY348" fmla="*/ 761524 h 1101852"/>
                <a:gd name="connsiteX349" fmla="*/ 108204 w 1182528"/>
                <a:gd name="connsiteY349" fmla="*/ 771430 h 1101852"/>
                <a:gd name="connsiteX350" fmla="*/ 103727 w 1182528"/>
                <a:gd name="connsiteY350" fmla="*/ 773621 h 1101852"/>
                <a:gd name="connsiteX351" fmla="*/ 104299 w 1182528"/>
                <a:gd name="connsiteY351" fmla="*/ 778288 h 1101852"/>
                <a:gd name="connsiteX352" fmla="*/ 104299 w 1182528"/>
                <a:gd name="connsiteY352" fmla="*/ 778288 h 1101852"/>
                <a:gd name="connsiteX353" fmla="*/ 107251 w 1182528"/>
                <a:gd name="connsiteY353" fmla="*/ 776288 h 1101852"/>
                <a:gd name="connsiteX354" fmla="*/ 111062 w 1182528"/>
                <a:gd name="connsiteY354" fmla="*/ 780669 h 1101852"/>
                <a:gd name="connsiteX355" fmla="*/ 115729 w 1182528"/>
                <a:gd name="connsiteY355" fmla="*/ 780098 h 1101852"/>
                <a:gd name="connsiteX356" fmla="*/ 117539 w 1182528"/>
                <a:gd name="connsiteY356" fmla="*/ 781431 h 1101852"/>
                <a:gd name="connsiteX357" fmla="*/ 116205 w 1182528"/>
                <a:gd name="connsiteY357" fmla="*/ 783241 h 1101852"/>
                <a:gd name="connsiteX358" fmla="*/ 121253 w 1182528"/>
                <a:gd name="connsiteY358" fmla="*/ 785813 h 1101852"/>
                <a:gd name="connsiteX359" fmla="*/ 122682 w 1182528"/>
                <a:gd name="connsiteY359" fmla="*/ 784003 h 1101852"/>
                <a:gd name="connsiteX360" fmla="*/ 125825 w 1182528"/>
                <a:gd name="connsiteY360" fmla="*/ 783622 h 1101852"/>
                <a:gd name="connsiteX361" fmla="*/ 123634 w 1182528"/>
                <a:gd name="connsiteY361" fmla="*/ 779050 h 1101852"/>
                <a:gd name="connsiteX362" fmla="*/ 125254 w 1182528"/>
                <a:gd name="connsiteY362" fmla="*/ 778859 h 1101852"/>
                <a:gd name="connsiteX363" fmla="*/ 131159 w 1182528"/>
                <a:gd name="connsiteY363" fmla="*/ 774859 h 1101852"/>
                <a:gd name="connsiteX364" fmla="*/ 136112 w 1182528"/>
                <a:gd name="connsiteY364" fmla="*/ 775907 h 1101852"/>
                <a:gd name="connsiteX365" fmla="*/ 144208 w 1182528"/>
                <a:gd name="connsiteY365" fmla="*/ 776478 h 1101852"/>
                <a:gd name="connsiteX366" fmla="*/ 146304 w 1182528"/>
                <a:gd name="connsiteY366" fmla="*/ 780955 h 1101852"/>
                <a:gd name="connsiteX367" fmla="*/ 147923 w 1182528"/>
                <a:gd name="connsiteY367" fmla="*/ 780764 h 1101852"/>
                <a:gd name="connsiteX368" fmla="*/ 149733 w 1182528"/>
                <a:gd name="connsiteY368" fmla="*/ 782193 h 1101852"/>
                <a:gd name="connsiteX369" fmla="*/ 154400 w 1182528"/>
                <a:gd name="connsiteY369" fmla="*/ 781526 h 1101852"/>
                <a:gd name="connsiteX370" fmla="*/ 157829 w 1182528"/>
                <a:gd name="connsiteY370" fmla="*/ 782765 h 1101852"/>
                <a:gd name="connsiteX371" fmla="*/ 167259 w 1182528"/>
                <a:gd name="connsiteY371" fmla="*/ 781526 h 1101852"/>
                <a:gd name="connsiteX372" fmla="*/ 167830 w 1182528"/>
                <a:gd name="connsiteY372" fmla="*/ 786289 h 1101852"/>
                <a:gd name="connsiteX373" fmla="*/ 170402 w 1182528"/>
                <a:gd name="connsiteY373" fmla="*/ 781145 h 1101852"/>
                <a:gd name="connsiteX374" fmla="*/ 175355 w 1182528"/>
                <a:gd name="connsiteY374" fmla="*/ 782098 h 1101852"/>
                <a:gd name="connsiteX375" fmla="*/ 179451 w 1182528"/>
                <a:gd name="connsiteY375" fmla="*/ 776764 h 1101852"/>
                <a:gd name="connsiteX376" fmla="*/ 185642 w 1182528"/>
                <a:gd name="connsiteY376" fmla="*/ 774383 h 1101852"/>
                <a:gd name="connsiteX377" fmla="*/ 185833 w 1182528"/>
                <a:gd name="connsiteY377" fmla="*/ 776002 h 1101852"/>
                <a:gd name="connsiteX378" fmla="*/ 183261 w 1182528"/>
                <a:gd name="connsiteY378" fmla="*/ 781050 h 1101852"/>
                <a:gd name="connsiteX379" fmla="*/ 193548 w 1182528"/>
                <a:gd name="connsiteY379" fmla="*/ 786194 h 1101852"/>
                <a:gd name="connsiteX380" fmla="*/ 196691 w 1182528"/>
                <a:gd name="connsiteY380" fmla="*/ 798576 h 1101852"/>
                <a:gd name="connsiteX381" fmla="*/ 203645 w 1182528"/>
                <a:gd name="connsiteY381" fmla="*/ 802576 h 1101852"/>
                <a:gd name="connsiteX382" fmla="*/ 200882 w 1182528"/>
                <a:gd name="connsiteY382" fmla="*/ 806101 h 1101852"/>
                <a:gd name="connsiteX383" fmla="*/ 203454 w 1182528"/>
                <a:gd name="connsiteY383" fmla="*/ 813816 h 1101852"/>
                <a:gd name="connsiteX384" fmla="*/ 202025 w 1182528"/>
                <a:gd name="connsiteY384" fmla="*/ 815531 h 1101852"/>
                <a:gd name="connsiteX385" fmla="*/ 202501 w 1182528"/>
                <a:gd name="connsiteY385" fmla="*/ 818769 h 1101852"/>
                <a:gd name="connsiteX386" fmla="*/ 197929 w 1182528"/>
                <a:gd name="connsiteY386" fmla="*/ 820865 h 1101852"/>
                <a:gd name="connsiteX387" fmla="*/ 194977 w 1182528"/>
                <a:gd name="connsiteY387" fmla="*/ 822865 h 1101852"/>
                <a:gd name="connsiteX388" fmla="*/ 194977 w 1182528"/>
                <a:gd name="connsiteY388" fmla="*/ 822865 h 1101852"/>
                <a:gd name="connsiteX389" fmla="*/ 192214 w 1182528"/>
                <a:gd name="connsiteY389" fmla="*/ 826484 h 1101852"/>
                <a:gd name="connsiteX390" fmla="*/ 192595 w 1182528"/>
                <a:gd name="connsiteY390" fmla="*/ 829628 h 1101852"/>
                <a:gd name="connsiteX391" fmla="*/ 194596 w 1182528"/>
                <a:gd name="connsiteY391" fmla="*/ 832580 h 1101852"/>
                <a:gd name="connsiteX392" fmla="*/ 193453 w 1182528"/>
                <a:gd name="connsiteY392" fmla="*/ 835914 h 1101852"/>
                <a:gd name="connsiteX393" fmla="*/ 196596 w 1182528"/>
                <a:gd name="connsiteY393" fmla="*/ 835533 h 1101852"/>
                <a:gd name="connsiteX394" fmla="*/ 195643 w 1182528"/>
                <a:gd name="connsiteY394" fmla="*/ 840486 h 1101852"/>
                <a:gd name="connsiteX395" fmla="*/ 200597 w 1182528"/>
                <a:gd name="connsiteY395" fmla="*/ 841439 h 1101852"/>
                <a:gd name="connsiteX396" fmla="*/ 199739 w 1182528"/>
                <a:gd name="connsiteY396" fmla="*/ 847916 h 1101852"/>
                <a:gd name="connsiteX397" fmla="*/ 198215 w 1182528"/>
                <a:gd name="connsiteY397" fmla="*/ 848106 h 1101852"/>
                <a:gd name="connsiteX398" fmla="*/ 193643 w 1182528"/>
                <a:gd name="connsiteY398" fmla="*/ 850297 h 1101852"/>
                <a:gd name="connsiteX399" fmla="*/ 194310 w 1182528"/>
                <a:gd name="connsiteY399" fmla="*/ 855059 h 1101852"/>
                <a:gd name="connsiteX400" fmla="*/ 195834 w 1182528"/>
                <a:gd name="connsiteY400" fmla="*/ 854869 h 1101852"/>
                <a:gd name="connsiteX401" fmla="*/ 193262 w 1182528"/>
                <a:gd name="connsiteY401" fmla="*/ 860012 h 1101852"/>
                <a:gd name="connsiteX402" fmla="*/ 190119 w 1182528"/>
                <a:gd name="connsiteY402" fmla="*/ 860393 h 1101852"/>
                <a:gd name="connsiteX403" fmla="*/ 191929 w 1182528"/>
                <a:gd name="connsiteY403" fmla="*/ 861727 h 1101852"/>
                <a:gd name="connsiteX404" fmla="*/ 189928 w 1182528"/>
                <a:gd name="connsiteY404" fmla="*/ 871633 h 1101852"/>
                <a:gd name="connsiteX405" fmla="*/ 186785 w 1182528"/>
                <a:gd name="connsiteY405" fmla="*/ 872014 h 1101852"/>
                <a:gd name="connsiteX406" fmla="*/ 186976 w 1182528"/>
                <a:gd name="connsiteY406" fmla="*/ 873633 h 1101852"/>
                <a:gd name="connsiteX407" fmla="*/ 190214 w 1182528"/>
                <a:gd name="connsiteY407" fmla="*/ 873252 h 1101852"/>
                <a:gd name="connsiteX408" fmla="*/ 200025 w 1182528"/>
                <a:gd name="connsiteY408" fmla="*/ 875157 h 1101852"/>
                <a:gd name="connsiteX409" fmla="*/ 197453 w 1182528"/>
                <a:gd name="connsiteY409" fmla="*/ 880301 h 1101852"/>
                <a:gd name="connsiteX410" fmla="*/ 196501 w 1182528"/>
                <a:gd name="connsiteY410" fmla="*/ 885253 h 1101852"/>
                <a:gd name="connsiteX411" fmla="*/ 199835 w 1182528"/>
                <a:gd name="connsiteY411" fmla="*/ 886397 h 1101852"/>
                <a:gd name="connsiteX412" fmla="*/ 201073 w 1182528"/>
                <a:gd name="connsiteY412" fmla="*/ 895922 h 1101852"/>
                <a:gd name="connsiteX413" fmla="*/ 202120 w 1182528"/>
                <a:gd name="connsiteY413" fmla="*/ 903732 h 1101852"/>
                <a:gd name="connsiteX414" fmla="*/ 199168 w 1182528"/>
                <a:gd name="connsiteY414" fmla="*/ 905732 h 1101852"/>
                <a:gd name="connsiteX415" fmla="*/ 194405 w 1182528"/>
                <a:gd name="connsiteY415" fmla="*/ 906399 h 1101852"/>
                <a:gd name="connsiteX416" fmla="*/ 191643 w 1182528"/>
                <a:gd name="connsiteY416" fmla="*/ 909923 h 1101852"/>
                <a:gd name="connsiteX417" fmla="*/ 193453 w 1182528"/>
                <a:gd name="connsiteY417" fmla="*/ 911257 h 1101852"/>
                <a:gd name="connsiteX418" fmla="*/ 192024 w 1182528"/>
                <a:gd name="connsiteY418" fmla="*/ 913067 h 1101852"/>
                <a:gd name="connsiteX419" fmla="*/ 196405 w 1182528"/>
                <a:gd name="connsiteY419" fmla="*/ 922115 h 1101852"/>
                <a:gd name="connsiteX420" fmla="*/ 199739 w 1182528"/>
                <a:gd name="connsiteY420" fmla="*/ 923353 h 1101852"/>
                <a:gd name="connsiteX421" fmla="*/ 205835 w 1182528"/>
                <a:gd name="connsiteY421" fmla="*/ 920972 h 1101852"/>
                <a:gd name="connsiteX422" fmla="*/ 207454 w 1182528"/>
                <a:gd name="connsiteY422" fmla="*/ 920687 h 1101852"/>
                <a:gd name="connsiteX423" fmla="*/ 207835 w 1182528"/>
                <a:gd name="connsiteY423" fmla="*/ 923925 h 1101852"/>
                <a:gd name="connsiteX424" fmla="*/ 214598 w 1182528"/>
                <a:gd name="connsiteY424" fmla="*/ 926211 h 1101852"/>
                <a:gd name="connsiteX425" fmla="*/ 213170 w 1182528"/>
                <a:gd name="connsiteY425" fmla="*/ 928021 h 1101852"/>
                <a:gd name="connsiteX426" fmla="*/ 210217 w 1182528"/>
                <a:gd name="connsiteY426" fmla="*/ 930021 h 1101852"/>
                <a:gd name="connsiteX427" fmla="*/ 212217 w 1182528"/>
                <a:gd name="connsiteY427" fmla="*/ 932974 h 1101852"/>
                <a:gd name="connsiteX428" fmla="*/ 210883 w 1182528"/>
                <a:gd name="connsiteY428" fmla="*/ 934688 h 1101852"/>
                <a:gd name="connsiteX429" fmla="*/ 209455 w 1182528"/>
                <a:gd name="connsiteY429" fmla="*/ 936498 h 1101852"/>
                <a:gd name="connsiteX430" fmla="*/ 210312 w 1182528"/>
                <a:gd name="connsiteY430" fmla="*/ 942880 h 1101852"/>
                <a:gd name="connsiteX431" fmla="*/ 203930 w 1182528"/>
                <a:gd name="connsiteY431" fmla="*/ 943642 h 1101852"/>
                <a:gd name="connsiteX432" fmla="*/ 204787 w 1182528"/>
                <a:gd name="connsiteY432" fmla="*/ 949928 h 1101852"/>
                <a:gd name="connsiteX433" fmla="*/ 213074 w 1182528"/>
                <a:gd name="connsiteY433" fmla="*/ 952119 h 1101852"/>
                <a:gd name="connsiteX434" fmla="*/ 216218 w 1182528"/>
                <a:gd name="connsiteY434" fmla="*/ 951738 h 1101852"/>
                <a:gd name="connsiteX435" fmla="*/ 216408 w 1182528"/>
                <a:gd name="connsiteY435" fmla="*/ 953262 h 1101852"/>
                <a:gd name="connsiteX436" fmla="*/ 212312 w 1182528"/>
                <a:gd name="connsiteY436" fmla="*/ 958596 h 1101852"/>
                <a:gd name="connsiteX437" fmla="*/ 215646 w 1182528"/>
                <a:gd name="connsiteY437" fmla="*/ 959834 h 1101852"/>
                <a:gd name="connsiteX438" fmla="*/ 217170 w 1182528"/>
                <a:gd name="connsiteY438" fmla="*/ 959549 h 1101852"/>
                <a:gd name="connsiteX439" fmla="*/ 224314 w 1182528"/>
                <a:gd name="connsiteY439" fmla="*/ 965073 h 1101852"/>
                <a:gd name="connsiteX440" fmla="*/ 221742 w 1182528"/>
                <a:gd name="connsiteY440" fmla="*/ 970217 h 1101852"/>
                <a:gd name="connsiteX441" fmla="*/ 221742 w 1182528"/>
                <a:gd name="connsiteY441" fmla="*/ 970217 h 1101852"/>
                <a:gd name="connsiteX442" fmla="*/ 227362 w 1182528"/>
                <a:gd name="connsiteY442" fmla="*/ 975932 h 1101852"/>
                <a:gd name="connsiteX443" fmla="*/ 228314 w 1182528"/>
                <a:gd name="connsiteY443" fmla="*/ 983837 h 1101852"/>
                <a:gd name="connsiteX444" fmla="*/ 230124 w 1182528"/>
                <a:gd name="connsiteY444" fmla="*/ 985171 h 1101852"/>
                <a:gd name="connsiteX445" fmla="*/ 229362 w 1182528"/>
                <a:gd name="connsiteY445" fmla="*/ 991743 h 1101852"/>
                <a:gd name="connsiteX446" fmla="*/ 226600 w 1182528"/>
                <a:gd name="connsiteY446" fmla="*/ 995267 h 1101852"/>
                <a:gd name="connsiteX447" fmla="*/ 236220 w 1182528"/>
                <a:gd name="connsiteY447" fmla="*/ 995648 h 1101852"/>
                <a:gd name="connsiteX448" fmla="*/ 233077 w 1182528"/>
                <a:gd name="connsiteY448" fmla="*/ 1008888 h 1101852"/>
                <a:gd name="connsiteX449" fmla="*/ 224790 w 1182528"/>
                <a:gd name="connsiteY449" fmla="*/ 1006697 h 1101852"/>
                <a:gd name="connsiteX450" fmla="*/ 220313 w 1182528"/>
                <a:gd name="connsiteY450" fmla="*/ 1008888 h 1101852"/>
                <a:gd name="connsiteX451" fmla="*/ 221837 w 1182528"/>
                <a:gd name="connsiteY451" fmla="*/ 1008698 h 1101852"/>
                <a:gd name="connsiteX452" fmla="*/ 220885 w 1182528"/>
                <a:gd name="connsiteY452" fmla="*/ 1013651 h 1101852"/>
                <a:gd name="connsiteX453" fmla="*/ 229362 w 1182528"/>
                <a:gd name="connsiteY453" fmla="*/ 1017365 h 1101852"/>
                <a:gd name="connsiteX454" fmla="*/ 229743 w 1182528"/>
                <a:gd name="connsiteY454" fmla="*/ 1020509 h 1101852"/>
                <a:gd name="connsiteX455" fmla="*/ 228219 w 1182528"/>
                <a:gd name="connsiteY455" fmla="*/ 1020699 h 1101852"/>
                <a:gd name="connsiteX456" fmla="*/ 233362 w 1182528"/>
                <a:gd name="connsiteY456" fmla="*/ 1023271 h 1101852"/>
                <a:gd name="connsiteX457" fmla="*/ 230410 w 1182528"/>
                <a:gd name="connsiteY457" fmla="*/ 1025271 h 1101852"/>
                <a:gd name="connsiteX458" fmla="*/ 232791 w 1182528"/>
                <a:gd name="connsiteY458" fmla="*/ 1031367 h 1101852"/>
                <a:gd name="connsiteX459" fmla="*/ 229648 w 1182528"/>
                <a:gd name="connsiteY459" fmla="*/ 1031748 h 1101852"/>
                <a:gd name="connsiteX460" fmla="*/ 220885 w 1182528"/>
                <a:gd name="connsiteY460" fmla="*/ 1026509 h 1101852"/>
                <a:gd name="connsiteX461" fmla="*/ 223837 w 1182528"/>
                <a:gd name="connsiteY461" fmla="*/ 1024509 h 1101852"/>
                <a:gd name="connsiteX462" fmla="*/ 220504 w 1182528"/>
                <a:gd name="connsiteY462" fmla="*/ 1023271 h 1101852"/>
                <a:gd name="connsiteX463" fmla="*/ 219170 w 1182528"/>
                <a:gd name="connsiteY463" fmla="*/ 1025081 h 1101852"/>
                <a:gd name="connsiteX464" fmla="*/ 217360 w 1182528"/>
                <a:gd name="connsiteY464" fmla="*/ 1023747 h 1101852"/>
                <a:gd name="connsiteX465" fmla="*/ 217551 w 1182528"/>
                <a:gd name="connsiteY465" fmla="*/ 1025271 h 1101852"/>
                <a:gd name="connsiteX466" fmla="*/ 209074 w 1182528"/>
                <a:gd name="connsiteY466" fmla="*/ 1021556 h 1101852"/>
                <a:gd name="connsiteX467" fmla="*/ 207931 w 1182528"/>
                <a:gd name="connsiteY467" fmla="*/ 1024890 h 1101852"/>
                <a:gd name="connsiteX468" fmla="*/ 207740 w 1182528"/>
                <a:gd name="connsiteY468" fmla="*/ 1023366 h 1101852"/>
                <a:gd name="connsiteX469" fmla="*/ 200025 w 1182528"/>
                <a:gd name="connsiteY469" fmla="*/ 1025938 h 1101852"/>
                <a:gd name="connsiteX470" fmla="*/ 198787 w 1182528"/>
                <a:gd name="connsiteY470" fmla="*/ 1029272 h 1101852"/>
                <a:gd name="connsiteX471" fmla="*/ 202216 w 1182528"/>
                <a:gd name="connsiteY471" fmla="*/ 1030415 h 1101852"/>
                <a:gd name="connsiteX472" fmla="*/ 200977 w 1182528"/>
                <a:gd name="connsiteY472" fmla="*/ 1033844 h 1101852"/>
                <a:gd name="connsiteX473" fmla="*/ 193072 w 1182528"/>
                <a:gd name="connsiteY473" fmla="*/ 1034796 h 1101852"/>
                <a:gd name="connsiteX474" fmla="*/ 196691 w 1182528"/>
                <a:gd name="connsiteY474" fmla="*/ 1037558 h 1101852"/>
                <a:gd name="connsiteX475" fmla="*/ 199835 w 1182528"/>
                <a:gd name="connsiteY475" fmla="*/ 1037177 h 1101852"/>
                <a:gd name="connsiteX476" fmla="*/ 205549 w 1182528"/>
                <a:gd name="connsiteY476" fmla="*/ 1044416 h 1101852"/>
                <a:gd name="connsiteX477" fmla="*/ 208121 w 1182528"/>
                <a:gd name="connsiteY477" fmla="*/ 1039368 h 1101852"/>
                <a:gd name="connsiteX478" fmla="*/ 213455 w 1182528"/>
                <a:gd name="connsiteY478" fmla="*/ 1043464 h 1101852"/>
                <a:gd name="connsiteX479" fmla="*/ 221170 w 1182528"/>
                <a:gd name="connsiteY479" fmla="*/ 1040892 h 1101852"/>
                <a:gd name="connsiteX480" fmla="*/ 226124 w 1182528"/>
                <a:gd name="connsiteY480" fmla="*/ 1041845 h 1101852"/>
                <a:gd name="connsiteX481" fmla="*/ 228505 w 1182528"/>
                <a:gd name="connsiteY481" fmla="*/ 1047941 h 1101852"/>
                <a:gd name="connsiteX482" fmla="*/ 228695 w 1182528"/>
                <a:gd name="connsiteY482" fmla="*/ 1049560 h 1101852"/>
                <a:gd name="connsiteX483" fmla="*/ 235553 w 1182528"/>
                <a:gd name="connsiteY483" fmla="*/ 1053465 h 1101852"/>
                <a:gd name="connsiteX484" fmla="*/ 231076 w 1182528"/>
                <a:gd name="connsiteY484" fmla="*/ 1055656 h 1101852"/>
                <a:gd name="connsiteX485" fmla="*/ 229648 w 1182528"/>
                <a:gd name="connsiteY485" fmla="*/ 1057466 h 1101852"/>
                <a:gd name="connsiteX486" fmla="*/ 237553 w 1182528"/>
                <a:gd name="connsiteY486" fmla="*/ 1056418 h 1101852"/>
                <a:gd name="connsiteX487" fmla="*/ 239363 w 1182528"/>
                <a:gd name="connsiteY487" fmla="*/ 1057847 h 1101852"/>
                <a:gd name="connsiteX488" fmla="*/ 240983 w 1182528"/>
                <a:gd name="connsiteY488" fmla="*/ 1070420 h 1101852"/>
                <a:gd name="connsiteX489" fmla="*/ 239744 w 1182528"/>
                <a:gd name="connsiteY489" fmla="*/ 1073753 h 1101852"/>
                <a:gd name="connsiteX490" fmla="*/ 243173 w 1182528"/>
                <a:gd name="connsiteY490" fmla="*/ 1074992 h 1101852"/>
                <a:gd name="connsiteX491" fmla="*/ 246126 w 1182528"/>
                <a:gd name="connsiteY491" fmla="*/ 1072991 h 1101852"/>
                <a:gd name="connsiteX492" fmla="*/ 259080 w 1182528"/>
                <a:gd name="connsiteY492" fmla="*/ 1074515 h 1101852"/>
                <a:gd name="connsiteX493" fmla="*/ 258699 w 1182528"/>
                <a:gd name="connsiteY493" fmla="*/ 1071372 h 1101852"/>
                <a:gd name="connsiteX494" fmla="*/ 260318 w 1182528"/>
                <a:gd name="connsiteY494" fmla="*/ 1071182 h 1101852"/>
                <a:gd name="connsiteX495" fmla="*/ 261461 w 1182528"/>
                <a:gd name="connsiteY495" fmla="*/ 1080611 h 1101852"/>
                <a:gd name="connsiteX496" fmla="*/ 259366 w 1182528"/>
                <a:gd name="connsiteY496" fmla="*/ 1088898 h 1101852"/>
                <a:gd name="connsiteX497" fmla="*/ 265843 w 1182528"/>
                <a:gd name="connsiteY497" fmla="*/ 1089660 h 1101852"/>
                <a:gd name="connsiteX498" fmla="*/ 268414 w 1182528"/>
                <a:gd name="connsiteY498" fmla="*/ 1084517 h 1101852"/>
                <a:gd name="connsiteX499" fmla="*/ 271558 w 1182528"/>
                <a:gd name="connsiteY499" fmla="*/ 1084136 h 1101852"/>
                <a:gd name="connsiteX500" fmla="*/ 272510 w 1182528"/>
                <a:gd name="connsiteY500" fmla="*/ 1079183 h 1101852"/>
                <a:gd name="connsiteX501" fmla="*/ 273749 w 1182528"/>
                <a:gd name="connsiteY501" fmla="*/ 1075849 h 1101852"/>
                <a:gd name="connsiteX502" fmla="*/ 276892 w 1182528"/>
                <a:gd name="connsiteY502" fmla="*/ 1075468 h 1101852"/>
                <a:gd name="connsiteX503" fmla="*/ 281178 w 1182528"/>
                <a:gd name="connsiteY503" fmla="*/ 1071753 h 1101852"/>
                <a:gd name="connsiteX504" fmla="*/ 283178 w 1182528"/>
                <a:gd name="connsiteY504" fmla="*/ 1074706 h 1101852"/>
                <a:gd name="connsiteX505" fmla="*/ 280035 w 1182528"/>
                <a:gd name="connsiteY505" fmla="*/ 1075087 h 1101852"/>
                <a:gd name="connsiteX506" fmla="*/ 278701 w 1182528"/>
                <a:gd name="connsiteY506" fmla="*/ 1076801 h 1101852"/>
                <a:gd name="connsiteX507" fmla="*/ 283750 w 1182528"/>
                <a:gd name="connsiteY507" fmla="*/ 1079373 h 1101852"/>
                <a:gd name="connsiteX508" fmla="*/ 282988 w 1182528"/>
                <a:gd name="connsiteY508" fmla="*/ 1085945 h 1101852"/>
                <a:gd name="connsiteX509" fmla="*/ 286226 w 1182528"/>
                <a:gd name="connsiteY509" fmla="*/ 1085469 h 1101852"/>
                <a:gd name="connsiteX510" fmla="*/ 287941 w 1182528"/>
                <a:gd name="connsiteY510" fmla="*/ 1086898 h 1101852"/>
                <a:gd name="connsiteX511" fmla="*/ 291084 w 1182528"/>
                <a:gd name="connsiteY511" fmla="*/ 1086517 h 1101852"/>
                <a:gd name="connsiteX512" fmla="*/ 291179 w 1182528"/>
                <a:gd name="connsiteY512" fmla="*/ 1099280 h 1101852"/>
                <a:gd name="connsiteX513" fmla="*/ 296323 w 1182528"/>
                <a:gd name="connsiteY513" fmla="*/ 1101852 h 1101852"/>
                <a:gd name="connsiteX514" fmla="*/ 302228 w 1182528"/>
                <a:gd name="connsiteY514" fmla="*/ 1097852 h 1101852"/>
                <a:gd name="connsiteX515" fmla="*/ 305372 w 1182528"/>
                <a:gd name="connsiteY515" fmla="*/ 1097471 h 1101852"/>
                <a:gd name="connsiteX516" fmla="*/ 308705 w 1182528"/>
                <a:gd name="connsiteY516" fmla="*/ 1098709 h 1101852"/>
                <a:gd name="connsiteX517" fmla="*/ 308515 w 1182528"/>
                <a:gd name="connsiteY517" fmla="*/ 1097090 h 1101852"/>
                <a:gd name="connsiteX518" fmla="*/ 314611 w 1182528"/>
                <a:gd name="connsiteY518" fmla="*/ 1094708 h 1101852"/>
                <a:gd name="connsiteX519" fmla="*/ 315373 w 1182528"/>
                <a:gd name="connsiteY519" fmla="*/ 1088231 h 1101852"/>
                <a:gd name="connsiteX520" fmla="*/ 317183 w 1182528"/>
                <a:gd name="connsiteY520" fmla="*/ 1089565 h 1101852"/>
                <a:gd name="connsiteX521" fmla="*/ 317945 w 1182528"/>
                <a:gd name="connsiteY521" fmla="*/ 1083088 h 1101852"/>
                <a:gd name="connsiteX522" fmla="*/ 315944 w 1182528"/>
                <a:gd name="connsiteY522" fmla="*/ 1080135 h 1101852"/>
                <a:gd name="connsiteX523" fmla="*/ 320326 w 1182528"/>
                <a:gd name="connsiteY523" fmla="*/ 1076325 h 1101852"/>
                <a:gd name="connsiteX524" fmla="*/ 323660 w 1182528"/>
                <a:gd name="connsiteY524" fmla="*/ 1077563 h 1101852"/>
                <a:gd name="connsiteX525" fmla="*/ 326422 w 1182528"/>
                <a:gd name="connsiteY525" fmla="*/ 1073944 h 1101852"/>
                <a:gd name="connsiteX526" fmla="*/ 329565 w 1182528"/>
                <a:gd name="connsiteY526" fmla="*/ 1073563 h 1101852"/>
                <a:gd name="connsiteX527" fmla="*/ 330327 w 1182528"/>
                <a:gd name="connsiteY527" fmla="*/ 1067086 h 1101852"/>
                <a:gd name="connsiteX528" fmla="*/ 340043 w 1182528"/>
                <a:gd name="connsiteY528" fmla="*/ 1067467 h 1101852"/>
                <a:gd name="connsiteX529" fmla="*/ 340043 w 1182528"/>
                <a:gd name="connsiteY529" fmla="*/ 1067467 h 1101852"/>
                <a:gd name="connsiteX530" fmla="*/ 340233 w 1182528"/>
                <a:gd name="connsiteY530" fmla="*/ 1068991 h 1101852"/>
                <a:gd name="connsiteX531" fmla="*/ 350234 w 1182528"/>
                <a:gd name="connsiteY531" fmla="*/ 1072515 h 1101852"/>
                <a:gd name="connsiteX532" fmla="*/ 354997 w 1182528"/>
                <a:gd name="connsiteY532" fmla="*/ 1071944 h 1101852"/>
                <a:gd name="connsiteX533" fmla="*/ 355949 w 1182528"/>
                <a:gd name="connsiteY533" fmla="*/ 1066991 h 1101852"/>
                <a:gd name="connsiteX534" fmla="*/ 354235 w 1182528"/>
                <a:gd name="connsiteY534" fmla="*/ 1065657 h 1101852"/>
                <a:gd name="connsiteX535" fmla="*/ 355378 w 1182528"/>
                <a:gd name="connsiteY535" fmla="*/ 1062228 h 1101852"/>
                <a:gd name="connsiteX536" fmla="*/ 357187 w 1182528"/>
                <a:gd name="connsiteY536" fmla="*/ 1063657 h 1101852"/>
                <a:gd name="connsiteX537" fmla="*/ 361855 w 1182528"/>
                <a:gd name="connsiteY537" fmla="*/ 1062990 h 1101852"/>
                <a:gd name="connsiteX538" fmla="*/ 360712 w 1182528"/>
                <a:gd name="connsiteY538" fmla="*/ 1053560 h 1101852"/>
                <a:gd name="connsiteX539" fmla="*/ 360521 w 1182528"/>
                <a:gd name="connsiteY539" fmla="*/ 1051941 h 1101852"/>
                <a:gd name="connsiteX540" fmla="*/ 360902 w 1182528"/>
                <a:gd name="connsiteY540" fmla="*/ 1042321 h 1101852"/>
                <a:gd name="connsiteX541" fmla="*/ 361283 w 1182528"/>
                <a:gd name="connsiteY541" fmla="*/ 1045464 h 1101852"/>
                <a:gd name="connsiteX542" fmla="*/ 362617 w 1182528"/>
                <a:gd name="connsiteY542" fmla="*/ 1043654 h 1101852"/>
                <a:gd name="connsiteX543" fmla="*/ 364808 w 1182528"/>
                <a:gd name="connsiteY543" fmla="*/ 1048226 h 1101852"/>
                <a:gd name="connsiteX544" fmla="*/ 369760 w 1182528"/>
                <a:gd name="connsiteY544" fmla="*/ 1049179 h 1101852"/>
                <a:gd name="connsiteX545" fmla="*/ 374714 w 1182528"/>
                <a:gd name="connsiteY545" fmla="*/ 1050131 h 1101852"/>
                <a:gd name="connsiteX546" fmla="*/ 375666 w 1182528"/>
                <a:gd name="connsiteY546" fmla="*/ 1045274 h 1101852"/>
                <a:gd name="connsiteX547" fmla="*/ 374904 w 1182528"/>
                <a:gd name="connsiteY547" fmla="*/ 1038892 h 1101852"/>
                <a:gd name="connsiteX548" fmla="*/ 374047 w 1182528"/>
                <a:gd name="connsiteY548" fmla="*/ 1032605 h 1101852"/>
                <a:gd name="connsiteX549" fmla="*/ 368903 w 1182528"/>
                <a:gd name="connsiteY549" fmla="*/ 1030034 h 1101852"/>
                <a:gd name="connsiteX550" fmla="*/ 368903 w 1182528"/>
                <a:gd name="connsiteY550" fmla="*/ 1030034 h 1101852"/>
                <a:gd name="connsiteX551" fmla="*/ 378428 w 1182528"/>
                <a:gd name="connsiteY551" fmla="*/ 1028891 h 1101852"/>
                <a:gd name="connsiteX552" fmla="*/ 379381 w 1182528"/>
                <a:gd name="connsiteY552" fmla="*/ 1023938 h 1101852"/>
                <a:gd name="connsiteX553" fmla="*/ 374809 w 1182528"/>
                <a:gd name="connsiteY553" fmla="*/ 1013270 h 1101852"/>
                <a:gd name="connsiteX554" fmla="*/ 377571 w 1182528"/>
                <a:gd name="connsiteY554" fmla="*/ 1009745 h 1101852"/>
                <a:gd name="connsiteX555" fmla="*/ 374999 w 1182528"/>
                <a:gd name="connsiteY555" fmla="*/ 1002030 h 1101852"/>
                <a:gd name="connsiteX556" fmla="*/ 378714 w 1182528"/>
                <a:gd name="connsiteY556" fmla="*/ 1006316 h 1101852"/>
                <a:gd name="connsiteX557" fmla="*/ 378524 w 1182528"/>
                <a:gd name="connsiteY557" fmla="*/ 1004792 h 1101852"/>
                <a:gd name="connsiteX558" fmla="*/ 386429 w 1182528"/>
                <a:gd name="connsiteY558" fmla="*/ 1003745 h 1101852"/>
                <a:gd name="connsiteX559" fmla="*/ 389382 w 1182528"/>
                <a:gd name="connsiteY559" fmla="*/ 1001840 h 1101852"/>
                <a:gd name="connsiteX560" fmla="*/ 389191 w 1182528"/>
                <a:gd name="connsiteY560" fmla="*/ 1000220 h 1101852"/>
                <a:gd name="connsiteX561" fmla="*/ 392335 w 1182528"/>
                <a:gd name="connsiteY561" fmla="*/ 999839 h 1101852"/>
                <a:gd name="connsiteX562" fmla="*/ 392335 w 1182528"/>
                <a:gd name="connsiteY562" fmla="*/ 999839 h 1101852"/>
                <a:gd name="connsiteX563" fmla="*/ 391954 w 1182528"/>
                <a:gd name="connsiteY563" fmla="*/ 996696 h 1101852"/>
                <a:gd name="connsiteX564" fmla="*/ 396621 w 1182528"/>
                <a:gd name="connsiteY564" fmla="*/ 996029 h 1101852"/>
                <a:gd name="connsiteX565" fmla="*/ 394906 w 1182528"/>
                <a:gd name="connsiteY565" fmla="*/ 994696 h 1101852"/>
                <a:gd name="connsiteX566" fmla="*/ 394049 w 1182528"/>
                <a:gd name="connsiteY566" fmla="*/ 988409 h 1101852"/>
                <a:gd name="connsiteX567" fmla="*/ 395668 w 1182528"/>
                <a:gd name="connsiteY567" fmla="*/ 988124 h 1101852"/>
                <a:gd name="connsiteX568" fmla="*/ 399002 w 1182528"/>
                <a:gd name="connsiteY568" fmla="*/ 989362 h 1101852"/>
                <a:gd name="connsiteX569" fmla="*/ 400145 w 1182528"/>
                <a:gd name="connsiteY569" fmla="*/ 986028 h 1101852"/>
                <a:gd name="connsiteX570" fmla="*/ 406527 w 1182528"/>
                <a:gd name="connsiteY570" fmla="*/ 985171 h 1101852"/>
                <a:gd name="connsiteX571" fmla="*/ 408813 w 1182528"/>
                <a:gd name="connsiteY571" fmla="*/ 978503 h 1101852"/>
                <a:gd name="connsiteX572" fmla="*/ 416528 w 1182528"/>
                <a:gd name="connsiteY572" fmla="*/ 975932 h 1101852"/>
                <a:gd name="connsiteX573" fmla="*/ 419672 w 1182528"/>
                <a:gd name="connsiteY573" fmla="*/ 975455 h 1101852"/>
                <a:gd name="connsiteX574" fmla="*/ 419481 w 1182528"/>
                <a:gd name="connsiteY574" fmla="*/ 973931 h 1101852"/>
                <a:gd name="connsiteX575" fmla="*/ 422434 w 1182528"/>
                <a:gd name="connsiteY575" fmla="*/ 971931 h 1101852"/>
                <a:gd name="connsiteX576" fmla="*/ 422434 w 1182528"/>
                <a:gd name="connsiteY576" fmla="*/ 971931 h 1101852"/>
                <a:gd name="connsiteX577" fmla="*/ 430149 w 1182528"/>
                <a:gd name="connsiteY577" fmla="*/ 982123 h 1101852"/>
                <a:gd name="connsiteX578" fmla="*/ 433578 w 1182528"/>
                <a:gd name="connsiteY578" fmla="*/ 983361 h 1101852"/>
                <a:gd name="connsiteX579" fmla="*/ 436531 w 1182528"/>
                <a:gd name="connsiteY579" fmla="*/ 981361 h 1101852"/>
                <a:gd name="connsiteX580" fmla="*/ 444341 w 1182528"/>
                <a:gd name="connsiteY580" fmla="*/ 980313 h 1101852"/>
                <a:gd name="connsiteX581" fmla="*/ 451485 w 1182528"/>
                <a:gd name="connsiteY581" fmla="*/ 973074 h 1101852"/>
                <a:gd name="connsiteX582" fmla="*/ 456629 w 1182528"/>
                <a:gd name="connsiteY582" fmla="*/ 975551 h 1101852"/>
                <a:gd name="connsiteX583" fmla="*/ 456152 w 1182528"/>
                <a:gd name="connsiteY583" fmla="*/ 972407 h 1101852"/>
                <a:gd name="connsiteX584" fmla="*/ 469583 w 1182528"/>
                <a:gd name="connsiteY584" fmla="*/ 964311 h 1101852"/>
                <a:gd name="connsiteX585" fmla="*/ 465391 w 1182528"/>
                <a:gd name="connsiteY585" fmla="*/ 956786 h 1101852"/>
                <a:gd name="connsiteX586" fmla="*/ 473774 w 1182528"/>
                <a:gd name="connsiteY586" fmla="*/ 958977 h 1101852"/>
                <a:gd name="connsiteX587" fmla="*/ 476726 w 1182528"/>
                <a:gd name="connsiteY587" fmla="*/ 956977 h 1101852"/>
                <a:gd name="connsiteX588" fmla="*/ 480441 w 1182528"/>
                <a:gd name="connsiteY588" fmla="*/ 948500 h 1101852"/>
                <a:gd name="connsiteX589" fmla="*/ 478631 w 1182528"/>
                <a:gd name="connsiteY589" fmla="*/ 947166 h 1101852"/>
                <a:gd name="connsiteX590" fmla="*/ 479965 w 1182528"/>
                <a:gd name="connsiteY590" fmla="*/ 945356 h 1101852"/>
                <a:gd name="connsiteX591" fmla="*/ 480251 w 1182528"/>
                <a:gd name="connsiteY591" fmla="*/ 946880 h 1101852"/>
                <a:gd name="connsiteX592" fmla="*/ 484918 w 1182528"/>
                <a:gd name="connsiteY592" fmla="*/ 946309 h 1101852"/>
                <a:gd name="connsiteX593" fmla="*/ 489109 w 1182528"/>
                <a:gd name="connsiteY593" fmla="*/ 940975 h 1101852"/>
                <a:gd name="connsiteX594" fmla="*/ 501491 w 1182528"/>
                <a:gd name="connsiteY594" fmla="*/ 924973 h 1101852"/>
                <a:gd name="connsiteX595" fmla="*/ 503491 w 1182528"/>
                <a:gd name="connsiteY595" fmla="*/ 927926 h 1101852"/>
                <a:gd name="connsiteX596" fmla="*/ 502063 w 1182528"/>
                <a:gd name="connsiteY596" fmla="*/ 929735 h 1101852"/>
                <a:gd name="connsiteX597" fmla="*/ 502063 w 1182528"/>
                <a:gd name="connsiteY597" fmla="*/ 942499 h 1101852"/>
                <a:gd name="connsiteX598" fmla="*/ 511397 w 1182528"/>
                <a:gd name="connsiteY598" fmla="*/ 939737 h 1101852"/>
                <a:gd name="connsiteX599" fmla="*/ 514731 w 1182528"/>
                <a:gd name="connsiteY599" fmla="*/ 940880 h 1101852"/>
                <a:gd name="connsiteX600" fmla="*/ 520065 w 1182528"/>
                <a:gd name="connsiteY600" fmla="*/ 945071 h 1101852"/>
                <a:gd name="connsiteX601" fmla="*/ 523208 w 1182528"/>
                <a:gd name="connsiteY601" fmla="*/ 944690 h 1101852"/>
                <a:gd name="connsiteX602" fmla="*/ 533876 w 1182528"/>
                <a:gd name="connsiteY602" fmla="*/ 940118 h 1101852"/>
                <a:gd name="connsiteX603" fmla="*/ 551593 w 1182528"/>
                <a:gd name="connsiteY603" fmla="*/ 941070 h 1101852"/>
                <a:gd name="connsiteX604" fmla="*/ 556736 w 1182528"/>
                <a:gd name="connsiteY604" fmla="*/ 943547 h 1101852"/>
                <a:gd name="connsiteX605" fmla="*/ 559118 w 1182528"/>
                <a:gd name="connsiteY605" fmla="*/ 936879 h 1101852"/>
                <a:gd name="connsiteX606" fmla="*/ 559879 w 1182528"/>
                <a:gd name="connsiteY606" fmla="*/ 930307 h 1101852"/>
                <a:gd name="connsiteX607" fmla="*/ 561880 w 1182528"/>
                <a:gd name="connsiteY607" fmla="*/ 933355 h 1101852"/>
                <a:gd name="connsiteX608" fmla="*/ 565595 w 1182528"/>
                <a:gd name="connsiteY608" fmla="*/ 924782 h 1101852"/>
                <a:gd name="connsiteX609" fmla="*/ 567595 w 1182528"/>
                <a:gd name="connsiteY609" fmla="*/ 927735 h 1101852"/>
                <a:gd name="connsiteX610" fmla="*/ 566833 w 1182528"/>
                <a:gd name="connsiteY610" fmla="*/ 934307 h 1101852"/>
                <a:gd name="connsiteX611" fmla="*/ 569976 w 1182528"/>
                <a:gd name="connsiteY611" fmla="*/ 933926 h 1101852"/>
                <a:gd name="connsiteX612" fmla="*/ 572548 w 1182528"/>
                <a:gd name="connsiteY612" fmla="*/ 928783 h 1101852"/>
                <a:gd name="connsiteX613" fmla="*/ 575691 w 1182528"/>
                <a:gd name="connsiteY613" fmla="*/ 928307 h 1101852"/>
                <a:gd name="connsiteX614" fmla="*/ 583978 w 1182528"/>
                <a:gd name="connsiteY614" fmla="*/ 917639 h 1101852"/>
                <a:gd name="connsiteX615" fmla="*/ 589407 w 1182528"/>
                <a:gd name="connsiteY615" fmla="*/ 910590 h 1101852"/>
                <a:gd name="connsiteX616" fmla="*/ 591788 w 1182528"/>
                <a:gd name="connsiteY616" fmla="*/ 903827 h 1101852"/>
                <a:gd name="connsiteX617" fmla="*/ 594931 w 1182528"/>
                <a:gd name="connsiteY617" fmla="*/ 903446 h 1101852"/>
                <a:gd name="connsiteX618" fmla="*/ 600837 w 1182528"/>
                <a:gd name="connsiteY618" fmla="*/ 899446 h 1101852"/>
                <a:gd name="connsiteX619" fmla="*/ 603980 w 1182528"/>
                <a:gd name="connsiteY619" fmla="*/ 899065 h 1101852"/>
                <a:gd name="connsiteX620" fmla="*/ 607981 w 1182528"/>
                <a:gd name="connsiteY620" fmla="*/ 904970 h 1101852"/>
                <a:gd name="connsiteX621" fmla="*/ 609124 w 1182528"/>
                <a:gd name="connsiteY621" fmla="*/ 901637 h 1101852"/>
                <a:gd name="connsiteX622" fmla="*/ 610933 w 1182528"/>
                <a:gd name="connsiteY622" fmla="*/ 902970 h 1101852"/>
                <a:gd name="connsiteX623" fmla="*/ 617506 w 1182528"/>
                <a:gd name="connsiteY623" fmla="*/ 916591 h 1101852"/>
                <a:gd name="connsiteX624" fmla="*/ 616744 w 1182528"/>
                <a:gd name="connsiteY624" fmla="*/ 923163 h 1101852"/>
                <a:gd name="connsiteX625" fmla="*/ 618649 w 1182528"/>
                <a:gd name="connsiteY625" fmla="*/ 926116 h 1101852"/>
                <a:gd name="connsiteX626" fmla="*/ 618649 w 1182528"/>
                <a:gd name="connsiteY626" fmla="*/ 926116 h 1101852"/>
                <a:gd name="connsiteX627" fmla="*/ 635794 w 1182528"/>
                <a:gd name="connsiteY627" fmla="*/ 922306 h 1101852"/>
                <a:gd name="connsiteX628" fmla="*/ 636175 w 1182528"/>
                <a:gd name="connsiteY628" fmla="*/ 912590 h 1101852"/>
                <a:gd name="connsiteX629" fmla="*/ 639127 w 1182528"/>
                <a:gd name="connsiteY629" fmla="*/ 910590 h 1101852"/>
                <a:gd name="connsiteX630" fmla="*/ 636746 w 1182528"/>
                <a:gd name="connsiteY630" fmla="*/ 904494 h 1101852"/>
                <a:gd name="connsiteX631" fmla="*/ 642461 w 1182528"/>
                <a:gd name="connsiteY631" fmla="*/ 898970 h 1101852"/>
                <a:gd name="connsiteX632" fmla="*/ 646462 w 1182528"/>
                <a:gd name="connsiteY632" fmla="*/ 892112 h 1101852"/>
                <a:gd name="connsiteX633" fmla="*/ 652748 w 1182528"/>
                <a:gd name="connsiteY633" fmla="*/ 891254 h 1101852"/>
                <a:gd name="connsiteX634" fmla="*/ 668274 w 1182528"/>
                <a:gd name="connsiteY634" fmla="*/ 887635 h 1101852"/>
                <a:gd name="connsiteX635" fmla="*/ 671513 w 1182528"/>
                <a:gd name="connsiteY635" fmla="*/ 887254 h 1101852"/>
                <a:gd name="connsiteX636" fmla="*/ 670274 w 1182528"/>
                <a:gd name="connsiteY636" fmla="*/ 890588 h 1101852"/>
                <a:gd name="connsiteX637" fmla="*/ 679323 w 1182528"/>
                <a:gd name="connsiteY637" fmla="*/ 886301 h 1101852"/>
                <a:gd name="connsiteX638" fmla="*/ 680561 w 1182528"/>
                <a:gd name="connsiteY638" fmla="*/ 882872 h 1101852"/>
                <a:gd name="connsiteX639" fmla="*/ 685228 w 1182528"/>
                <a:gd name="connsiteY639" fmla="*/ 882301 h 1101852"/>
                <a:gd name="connsiteX640" fmla="*/ 689801 w 1182528"/>
                <a:gd name="connsiteY640" fmla="*/ 880110 h 1101852"/>
                <a:gd name="connsiteX641" fmla="*/ 690563 w 1182528"/>
                <a:gd name="connsiteY641" fmla="*/ 873633 h 1101852"/>
                <a:gd name="connsiteX642" fmla="*/ 693706 w 1182528"/>
                <a:gd name="connsiteY642" fmla="*/ 873252 h 1101852"/>
                <a:gd name="connsiteX643" fmla="*/ 693515 w 1182528"/>
                <a:gd name="connsiteY643" fmla="*/ 871633 h 1101852"/>
                <a:gd name="connsiteX644" fmla="*/ 696849 w 1182528"/>
                <a:gd name="connsiteY644" fmla="*/ 872776 h 1101852"/>
                <a:gd name="connsiteX645" fmla="*/ 699611 w 1182528"/>
                <a:gd name="connsiteY645" fmla="*/ 869251 h 1101852"/>
                <a:gd name="connsiteX646" fmla="*/ 700850 w 1182528"/>
                <a:gd name="connsiteY646" fmla="*/ 865918 h 1101852"/>
                <a:gd name="connsiteX647" fmla="*/ 699230 w 1182528"/>
                <a:gd name="connsiteY647" fmla="*/ 853250 h 1101852"/>
                <a:gd name="connsiteX648" fmla="*/ 696087 w 1182528"/>
                <a:gd name="connsiteY648" fmla="*/ 853631 h 1101852"/>
                <a:gd name="connsiteX649" fmla="*/ 697611 w 1182528"/>
                <a:gd name="connsiteY649" fmla="*/ 853440 h 1101852"/>
                <a:gd name="connsiteX650" fmla="*/ 697421 w 1182528"/>
                <a:gd name="connsiteY650" fmla="*/ 851916 h 1101852"/>
                <a:gd name="connsiteX651" fmla="*/ 703993 w 1182528"/>
                <a:gd name="connsiteY651" fmla="*/ 852678 h 1101852"/>
                <a:gd name="connsiteX652" fmla="*/ 704183 w 1182528"/>
                <a:gd name="connsiteY652" fmla="*/ 854202 h 1101852"/>
                <a:gd name="connsiteX653" fmla="*/ 710470 w 1182528"/>
                <a:gd name="connsiteY653" fmla="*/ 853440 h 1101852"/>
                <a:gd name="connsiteX654" fmla="*/ 710851 w 1182528"/>
                <a:gd name="connsiteY654" fmla="*/ 856583 h 1101852"/>
                <a:gd name="connsiteX655" fmla="*/ 723710 w 1182528"/>
                <a:gd name="connsiteY655" fmla="*/ 856583 h 1101852"/>
                <a:gd name="connsiteX656" fmla="*/ 726853 w 1182528"/>
                <a:gd name="connsiteY656" fmla="*/ 856202 h 1101852"/>
                <a:gd name="connsiteX657" fmla="*/ 726662 w 1182528"/>
                <a:gd name="connsiteY657" fmla="*/ 854583 h 1101852"/>
                <a:gd name="connsiteX658" fmla="*/ 724662 w 1182528"/>
                <a:gd name="connsiteY658" fmla="*/ 851630 h 1101852"/>
                <a:gd name="connsiteX659" fmla="*/ 726281 w 1182528"/>
                <a:gd name="connsiteY659" fmla="*/ 851440 h 1101852"/>
                <a:gd name="connsiteX660" fmla="*/ 725996 w 1182528"/>
                <a:gd name="connsiteY660" fmla="*/ 849821 h 1101852"/>
                <a:gd name="connsiteX661" fmla="*/ 724281 w 1182528"/>
                <a:gd name="connsiteY661" fmla="*/ 848487 h 1101852"/>
                <a:gd name="connsiteX662" fmla="*/ 726567 w 1182528"/>
                <a:gd name="connsiteY662" fmla="*/ 841724 h 1101852"/>
                <a:gd name="connsiteX663" fmla="*/ 722662 w 1182528"/>
                <a:gd name="connsiteY663" fmla="*/ 835819 h 1101852"/>
                <a:gd name="connsiteX664" fmla="*/ 719519 w 1182528"/>
                <a:gd name="connsiteY664" fmla="*/ 836295 h 1101852"/>
                <a:gd name="connsiteX665" fmla="*/ 717709 w 1182528"/>
                <a:gd name="connsiteY665" fmla="*/ 822008 h 1101852"/>
                <a:gd name="connsiteX666" fmla="*/ 725424 w 1182528"/>
                <a:gd name="connsiteY666" fmla="*/ 819436 h 1101852"/>
                <a:gd name="connsiteX667" fmla="*/ 723614 w 1182528"/>
                <a:gd name="connsiteY667" fmla="*/ 818102 h 1101852"/>
                <a:gd name="connsiteX668" fmla="*/ 728377 w 1182528"/>
                <a:gd name="connsiteY668" fmla="*/ 817531 h 1101852"/>
                <a:gd name="connsiteX669" fmla="*/ 730853 w 1182528"/>
                <a:gd name="connsiteY669" fmla="*/ 812387 h 1101852"/>
                <a:gd name="connsiteX670" fmla="*/ 733997 w 1182528"/>
                <a:gd name="connsiteY670" fmla="*/ 811911 h 1101852"/>
                <a:gd name="connsiteX671" fmla="*/ 736759 w 1182528"/>
                <a:gd name="connsiteY671" fmla="*/ 808387 h 1101852"/>
                <a:gd name="connsiteX672" fmla="*/ 744474 w 1182528"/>
                <a:gd name="connsiteY672" fmla="*/ 805815 h 1101852"/>
                <a:gd name="connsiteX673" fmla="*/ 750189 w 1182528"/>
                <a:gd name="connsiteY673" fmla="*/ 813054 h 1101852"/>
                <a:gd name="connsiteX674" fmla="*/ 753618 w 1182528"/>
                <a:gd name="connsiteY674" fmla="*/ 814292 h 1101852"/>
                <a:gd name="connsiteX675" fmla="*/ 752951 w 1182528"/>
                <a:gd name="connsiteY675" fmla="*/ 809530 h 1101852"/>
                <a:gd name="connsiteX676" fmla="*/ 756094 w 1182528"/>
                <a:gd name="connsiteY676" fmla="*/ 809149 h 1101852"/>
                <a:gd name="connsiteX677" fmla="*/ 755904 w 1182528"/>
                <a:gd name="connsiteY677" fmla="*/ 807530 h 1101852"/>
                <a:gd name="connsiteX678" fmla="*/ 768001 w 1182528"/>
                <a:gd name="connsiteY678" fmla="*/ 814007 h 1101852"/>
                <a:gd name="connsiteX679" fmla="*/ 777811 w 1182528"/>
                <a:gd name="connsiteY679" fmla="*/ 816007 h 1101852"/>
                <a:gd name="connsiteX680" fmla="*/ 779812 w 1182528"/>
                <a:gd name="connsiteY680" fmla="*/ 818960 h 1101852"/>
                <a:gd name="connsiteX681" fmla="*/ 782955 w 1182528"/>
                <a:gd name="connsiteY681" fmla="*/ 818578 h 1101852"/>
                <a:gd name="connsiteX682" fmla="*/ 783431 w 1182528"/>
                <a:gd name="connsiteY682" fmla="*/ 821722 h 1101852"/>
                <a:gd name="connsiteX683" fmla="*/ 784955 w 1182528"/>
                <a:gd name="connsiteY683" fmla="*/ 821531 h 1101852"/>
                <a:gd name="connsiteX684" fmla="*/ 797814 w 1182528"/>
                <a:gd name="connsiteY684" fmla="*/ 821436 h 1101852"/>
                <a:gd name="connsiteX685" fmla="*/ 812197 w 1182528"/>
                <a:gd name="connsiteY685" fmla="*/ 821246 h 1101852"/>
                <a:gd name="connsiteX686" fmla="*/ 812578 w 1182528"/>
                <a:gd name="connsiteY686" fmla="*/ 824389 h 1101852"/>
                <a:gd name="connsiteX687" fmla="*/ 819150 w 1182528"/>
                <a:gd name="connsiteY687" fmla="*/ 825151 h 1101852"/>
                <a:gd name="connsiteX688" fmla="*/ 828770 w 1182528"/>
                <a:gd name="connsiteY688" fmla="*/ 825532 h 1101852"/>
                <a:gd name="connsiteX689" fmla="*/ 830580 w 1182528"/>
                <a:gd name="connsiteY689" fmla="*/ 826865 h 1101852"/>
                <a:gd name="connsiteX690" fmla="*/ 831914 w 1182528"/>
                <a:gd name="connsiteY690" fmla="*/ 825151 h 1101852"/>
                <a:gd name="connsiteX691" fmla="*/ 847725 w 1182528"/>
                <a:gd name="connsiteY691" fmla="*/ 823151 h 1101852"/>
                <a:gd name="connsiteX692" fmla="*/ 849059 w 1182528"/>
                <a:gd name="connsiteY692" fmla="*/ 821341 h 1101852"/>
                <a:gd name="connsiteX693" fmla="*/ 857440 w 1182528"/>
                <a:gd name="connsiteY693" fmla="*/ 823532 h 1101852"/>
                <a:gd name="connsiteX694" fmla="*/ 859727 w 1182528"/>
                <a:gd name="connsiteY694" fmla="*/ 816769 h 1101852"/>
                <a:gd name="connsiteX695" fmla="*/ 857536 w 1182528"/>
                <a:gd name="connsiteY695" fmla="*/ 812197 h 1101852"/>
                <a:gd name="connsiteX696" fmla="*/ 867632 w 1182528"/>
                <a:gd name="connsiteY696" fmla="*/ 815816 h 1101852"/>
                <a:gd name="connsiteX697" fmla="*/ 866299 w 1182528"/>
                <a:gd name="connsiteY697" fmla="*/ 817531 h 1101852"/>
                <a:gd name="connsiteX698" fmla="*/ 870204 w 1182528"/>
                <a:gd name="connsiteY698" fmla="*/ 823436 h 1101852"/>
                <a:gd name="connsiteX699" fmla="*/ 871442 w 1182528"/>
                <a:gd name="connsiteY699" fmla="*/ 820103 h 1101852"/>
                <a:gd name="connsiteX700" fmla="*/ 878300 w 1182528"/>
                <a:gd name="connsiteY700" fmla="*/ 824008 h 1101852"/>
                <a:gd name="connsiteX701" fmla="*/ 877919 w 1182528"/>
                <a:gd name="connsiteY701" fmla="*/ 820865 h 1101852"/>
                <a:gd name="connsiteX702" fmla="*/ 881253 w 1182528"/>
                <a:gd name="connsiteY702" fmla="*/ 822008 h 1101852"/>
                <a:gd name="connsiteX703" fmla="*/ 882206 w 1182528"/>
                <a:gd name="connsiteY703" fmla="*/ 817150 h 1101852"/>
                <a:gd name="connsiteX704" fmla="*/ 897827 w 1182528"/>
                <a:gd name="connsiteY704" fmla="*/ 826389 h 1101852"/>
                <a:gd name="connsiteX705" fmla="*/ 902780 w 1182528"/>
                <a:gd name="connsiteY705" fmla="*/ 827342 h 1101852"/>
                <a:gd name="connsiteX706" fmla="*/ 903160 w 1182528"/>
                <a:gd name="connsiteY706" fmla="*/ 830485 h 1101852"/>
                <a:gd name="connsiteX707" fmla="*/ 904970 w 1182528"/>
                <a:gd name="connsiteY707" fmla="*/ 831818 h 1101852"/>
                <a:gd name="connsiteX708" fmla="*/ 908494 w 1182528"/>
                <a:gd name="connsiteY708" fmla="*/ 821817 h 1101852"/>
                <a:gd name="connsiteX709" fmla="*/ 910114 w 1182528"/>
                <a:gd name="connsiteY709" fmla="*/ 821626 h 1101852"/>
                <a:gd name="connsiteX710" fmla="*/ 914400 w 1182528"/>
                <a:gd name="connsiteY710" fmla="*/ 817817 h 1101852"/>
                <a:gd name="connsiteX711" fmla="*/ 914019 w 1182528"/>
                <a:gd name="connsiteY711" fmla="*/ 814673 h 1101852"/>
                <a:gd name="connsiteX712" fmla="*/ 917734 w 1182528"/>
                <a:gd name="connsiteY712" fmla="*/ 806196 h 1101852"/>
                <a:gd name="connsiteX713" fmla="*/ 919544 w 1182528"/>
                <a:gd name="connsiteY713" fmla="*/ 807530 h 1101852"/>
                <a:gd name="connsiteX714" fmla="*/ 923639 w 1182528"/>
                <a:gd name="connsiteY714" fmla="*/ 802196 h 1101852"/>
                <a:gd name="connsiteX715" fmla="*/ 930783 w 1182528"/>
                <a:gd name="connsiteY715" fmla="*/ 807720 h 1101852"/>
                <a:gd name="connsiteX716" fmla="*/ 935736 w 1182528"/>
                <a:gd name="connsiteY716" fmla="*/ 808673 h 1101852"/>
                <a:gd name="connsiteX717" fmla="*/ 937069 w 1182528"/>
                <a:gd name="connsiteY717" fmla="*/ 806958 h 1101852"/>
                <a:gd name="connsiteX718" fmla="*/ 936879 w 1182528"/>
                <a:gd name="connsiteY718" fmla="*/ 805339 h 1101852"/>
                <a:gd name="connsiteX719" fmla="*/ 942023 w 1182528"/>
                <a:gd name="connsiteY719" fmla="*/ 807911 h 1101852"/>
                <a:gd name="connsiteX720" fmla="*/ 946785 w 1182528"/>
                <a:gd name="connsiteY720" fmla="*/ 807339 h 1101852"/>
                <a:gd name="connsiteX721" fmla="*/ 944594 w 1182528"/>
                <a:gd name="connsiteY721" fmla="*/ 802767 h 1101852"/>
                <a:gd name="connsiteX722" fmla="*/ 956024 w 1182528"/>
                <a:gd name="connsiteY722" fmla="*/ 804482 h 1101852"/>
                <a:gd name="connsiteX723" fmla="*/ 955453 w 1182528"/>
                <a:gd name="connsiteY723" fmla="*/ 799814 h 1101852"/>
                <a:gd name="connsiteX724" fmla="*/ 958786 w 1182528"/>
                <a:gd name="connsiteY724" fmla="*/ 800957 h 1101852"/>
                <a:gd name="connsiteX725" fmla="*/ 960120 w 1182528"/>
                <a:gd name="connsiteY725" fmla="*/ 799148 h 1101852"/>
                <a:gd name="connsiteX726" fmla="*/ 966692 w 1182528"/>
                <a:gd name="connsiteY726" fmla="*/ 799910 h 1101852"/>
                <a:gd name="connsiteX727" fmla="*/ 966883 w 1182528"/>
                <a:gd name="connsiteY727" fmla="*/ 801529 h 1101852"/>
                <a:gd name="connsiteX728" fmla="*/ 970217 w 1182528"/>
                <a:gd name="connsiteY728" fmla="*/ 802672 h 1101852"/>
                <a:gd name="connsiteX729" fmla="*/ 970407 w 1182528"/>
                <a:gd name="connsiteY729" fmla="*/ 804291 h 1101852"/>
                <a:gd name="connsiteX730" fmla="*/ 973741 w 1182528"/>
                <a:gd name="connsiteY730" fmla="*/ 805434 h 1101852"/>
                <a:gd name="connsiteX731" fmla="*/ 974407 w 1182528"/>
                <a:gd name="connsiteY731" fmla="*/ 810197 h 1101852"/>
                <a:gd name="connsiteX732" fmla="*/ 975551 w 1182528"/>
                <a:gd name="connsiteY732" fmla="*/ 806863 h 1101852"/>
                <a:gd name="connsiteX733" fmla="*/ 978884 w 1182528"/>
                <a:gd name="connsiteY733" fmla="*/ 808006 h 1101852"/>
                <a:gd name="connsiteX734" fmla="*/ 975360 w 1182528"/>
                <a:gd name="connsiteY734" fmla="*/ 805244 h 1101852"/>
                <a:gd name="connsiteX735" fmla="*/ 978503 w 1182528"/>
                <a:gd name="connsiteY735" fmla="*/ 804863 h 1101852"/>
                <a:gd name="connsiteX736" fmla="*/ 980313 w 1182528"/>
                <a:gd name="connsiteY736" fmla="*/ 806196 h 1101852"/>
                <a:gd name="connsiteX737" fmla="*/ 978884 w 1182528"/>
                <a:gd name="connsiteY737" fmla="*/ 808006 h 1101852"/>
                <a:gd name="connsiteX738" fmla="*/ 979075 w 1182528"/>
                <a:gd name="connsiteY738" fmla="*/ 809625 h 1101852"/>
                <a:gd name="connsiteX739" fmla="*/ 983456 w 1182528"/>
                <a:gd name="connsiteY739" fmla="*/ 805815 h 1101852"/>
                <a:gd name="connsiteX740" fmla="*/ 984980 w 1182528"/>
                <a:gd name="connsiteY740" fmla="*/ 805625 h 1101852"/>
                <a:gd name="connsiteX741" fmla="*/ 990124 w 1182528"/>
                <a:gd name="connsiteY741" fmla="*/ 795338 h 1101852"/>
                <a:gd name="connsiteX742" fmla="*/ 988505 w 1182528"/>
                <a:gd name="connsiteY742" fmla="*/ 795528 h 1101852"/>
                <a:gd name="connsiteX743" fmla="*/ 989552 w 1182528"/>
                <a:gd name="connsiteY743" fmla="*/ 790575 h 1101852"/>
                <a:gd name="connsiteX744" fmla="*/ 987933 w 1182528"/>
                <a:gd name="connsiteY744" fmla="*/ 790861 h 1101852"/>
                <a:gd name="connsiteX745" fmla="*/ 989362 w 1182528"/>
                <a:gd name="connsiteY745" fmla="*/ 789051 h 1101852"/>
                <a:gd name="connsiteX746" fmla="*/ 985933 w 1182528"/>
                <a:gd name="connsiteY746" fmla="*/ 787908 h 1101852"/>
                <a:gd name="connsiteX747" fmla="*/ 987361 w 1182528"/>
                <a:gd name="connsiteY747" fmla="*/ 786098 h 1101852"/>
                <a:gd name="connsiteX748" fmla="*/ 986123 w 1182528"/>
                <a:gd name="connsiteY748" fmla="*/ 776573 h 1101852"/>
                <a:gd name="connsiteX749" fmla="*/ 992886 w 1182528"/>
                <a:gd name="connsiteY749" fmla="*/ 778955 h 1101852"/>
                <a:gd name="connsiteX750" fmla="*/ 992600 w 1182528"/>
                <a:gd name="connsiteY750" fmla="*/ 764572 h 1101852"/>
                <a:gd name="connsiteX751" fmla="*/ 992029 w 1182528"/>
                <a:gd name="connsiteY751" fmla="*/ 759809 h 1101852"/>
                <a:gd name="connsiteX752" fmla="*/ 993553 w 1182528"/>
                <a:gd name="connsiteY752" fmla="*/ 759619 h 1101852"/>
                <a:gd name="connsiteX753" fmla="*/ 994791 w 1182528"/>
                <a:gd name="connsiteY753" fmla="*/ 756285 h 1101852"/>
                <a:gd name="connsiteX754" fmla="*/ 991172 w 1182528"/>
                <a:gd name="connsiteY754" fmla="*/ 753523 h 1101852"/>
                <a:gd name="connsiteX755" fmla="*/ 987838 w 1182528"/>
                <a:gd name="connsiteY755" fmla="*/ 752380 h 1101852"/>
                <a:gd name="connsiteX756" fmla="*/ 987266 w 1182528"/>
                <a:gd name="connsiteY756" fmla="*/ 747617 h 1101852"/>
                <a:gd name="connsiteX757" fmla="*/ 983742 w 1182528"/>
                <a:gd name="connsiteY757" fmla="*/ 744855 h 1101852"/>
                <a:gd name="connsiteX758" fmla="*/ 983266 w 1182528"/>
                <a:gd name="connsiteY758" fmla="*/ 741712 h 1101852"/>
                <a:gd name="connsiteX759" fmla="*/ 987647 w 1182528"/>
                <a:gd name="connsiteY759" fmla="*/ 737902 h 1101852"/>
                <a:gd name="connsiteX760" fmla="*/ 989648 w 1182528"/>
                <a:gd name="connsiteY760" fmla="*/ 740855 h 1101852"/>
                <a:gd name="connsiteX761" fmla="*/ 992600 w 1182528"/>
                <a:gd name="connsiteY761" fmla="*/ 738950 h 1101852"/>
                <a:gd name="connsiteX762" fmla="*/ 988981 w 1182528"/>
                <a:gd name="connsiteY762" fmla="*/ 736187 h 1101852"/>
                <a:gd name="connsiteX763" fmla="*/ 988600 w 1182528"/>
                <a:gd name="connsiteY763" fmla="*/ 733044 h 1101852"/>
                <a:gd name="connsiteX764" fmla="*/ 985076 w 1182528"/>
                <a:gd name="connsiteY764" fmla="*/ 730282 h 1101852"/>
                <a:gd name="connsiteX765" fmla="*/ 986219 w 1182528"/>
                <a:gd name="connsiteY765" fmla="*/ 726853 h 1101852"/>
                <a:gd name="connsiteX766" fmla="*/ 988028 w 1182528"/>
                <a:gd name="connsiteY766" fmla="*/ 728282 h 1101852"/>
                <a:gd name="connsiteX767" fmla="*/ 987552 w 1182528"/>
                <a:gd name="connsiteY767" fmla="*/ 725138 h 1101852"/>
                <a:gd name="connsiteX768" fmla="*/ 985838 w 1182528"/>
                <a:gd name="connsiteY768" fmla="*/ 723710 h 1101852"/>
                <a:gd name="connsiteX769" fmla="*/ 985647 w 1182528"/>
                <a:gd name="connsiteY769" fmla="*/ 722186 h 1101852"/>
                <a:gd name="connsiteX770" fmla="*/ 982027 w 1182528"/>
                <a:gd name="connsiteY770" fmla="*/ 719423 h 1101852"/>
                <a:gd name="connsiteX771" fmla="*/ 981837 w 1182528"/>
                <a:gd name="connsiteY771" fmla="*/ 717804 h 1101852"/>
                <a:gd name="connsiteX772" fmla="*/ 984790 w 1182528"/>
                <a:gd name="connsiteY772" fmla="*/ 715804 h 1101852"/>
                <a:gd name="connsiteX773" fmla="*/ 987933 w 1182528"/>
                <a:gd name="connsiteY773" fmla="*/ 715423 h 1101852"/>
                <a:gd name="connsiteX774" fmla="*/ 989171 w 1182528"/>
                <a:gd name="connsiteY774" fmla="*/ 712089 h 1101852"/>
                <a:gd name="connsiteX775" fmla="*/ 992124 w 1182528"/>
                <a:gd name="connsiteY775" fmla="*/ 710089 h 1101852"/>
                <a:gd name="connsiteX776" fmla="*/ 1004792 w 1182528"/>
                <a:gd name="connsiteY776" fmla="*/ 721328 h 1101852"/>
                <a:gd name="connsiteX777" fmla="*/ 1019937 w 1182528"/>
                <a:gd name="connsiteY777" fmla="*/ 727424 h 1101852"/>
                <a:gd name="connsiteX778" fmla="*/ 1021175 w 1182528"/>
                <a:gd name="connsiteY778" fmla="*/ 724091 h 1101852"/>
                <a:gd name="connsiteX779" fmla="*/ 1024509 w 1182528"/>
                <a:gd name="connsiteY779" fmla="*/ 725234 h 1101852"/>
                <a:gd name="connsiteX780" fmla="*/ 1020889 w 1182528"/>
                <a:gd name="connsiteY780" fmla="*/ 722471 h 1101852"/>
                <a:gd name="connsiteX781" fmla="*/ 1023652 w 1182528"/>
                <a:gd name="connsiteY781" fmla="*/ 718947 h 1101852"/>
                <a:gd name="connsiteX782" fmla="*/ 1021937 w 1182528"/>
                <a:gd name="connsiteY782" fmla="*/ 717518 h 1101852"/>
                <a:gd name="connsiteX783" fmla="*/ 1017175 w 1182528"/>
                <a:gd name="connsiteY783" fmla="*/ 718090 h 1101852"/>
                <a:gd name="connsiteX784" fmla="*/ 1015365 w 1182528"/>
                <a:gd name="connsiteY784" fmla="*/ 716756 h 1101852"/>
                <a:gd name="connsiteX785" fmla="*/ 1019556 w 1182528"/>
                <a:gd name="connsiteY785" fmla="*/ 711422 h 1101852"/>
                <a:gd name="connsiteX786" fmla="*/ 1023080 w 1182528"/>
                <a:gd name="connsiteY786" fmla="*/ 714185 h 1101852"/>
                <a:gd name="connsiteX787" fmla="*/ 1024223 w 1182528"/>
                <a:gd name="connsiteY787" fmla="*/ 710851 h 1101852"/>
                <a:gd name="connsiteX788" fmla="*/ 1020889 w 1182528"/>
                <a:gd name="connsiteY788" fmla="*/ 709613 h 1101852"/>
                <a:gd name="connsiteX789" fmla="*/ 1022509 w 1182528"/>
                <a:gd name="connsiteY789" fmla="*/ 709422 h 1101852"/>
                <a:gd name="connsiteX790" fmla="*/ 1026985 w 1182528"/>
                <a:gd name="connsiteY790" fmla="*/ 707231 h 1101852"/>
                <a:gd name="connsiteX791" fmla="*/ 1024985 w 1182528"/>
                <a:gd name="connsiteY791" fmla="*/ 691515 h 1101852"/>
                <a:gd name="connsiteX792" fmla="*/ 1035653 w 1182528"/>
                <a:gd name="connsiteY792" fmla="*/ 699707 h 1101852"/>
                <a:gd name="connsiteX793" fmla="*/ 1043559 w 1182528"/>
                <a:gd name="connsiteY793" fmla="*/ 698754 h 1101852"/>
                <a:gd name="connsiteX794" fmla="*/ 1042606 w 1182528"/>
                <a:gd name="connsiteY794" fmla="*/ 690848 h 1101852"/>
                <a:gd name="connsiteX795" fmla="*/ 1051274 w 1182528"/>
                <a:gd name="connsiteY795" fmla="*/ 696182 h 1101852"/>
                <a:gd name="connsiteX796" fmla="*/ 1059371 w 1182528"/>
                <a:gd name="connsiteY796" fmla="*/ 696754 h 1101852"/>
                <a:gd name="connsiteX797" fmla="*/ 1057942 w 1182528"/>
                <a:gd name="connsiteY797" fmla="*/ 685705 h 1101852"/>
                <a:gd name="connsiteX798" fmla="*/ 1059085 w 1182528"/>
                <a:gd name="connsiteY798" fmla="*/ 682276 h 1101852"/>
                <a:gd name="connsiteX799" fmla="*/ 1058513 w 1182528"/>
                <a:gd name="connsiteY799" fmla="*/ 677609 h 1101852"/>
                <a:gd name="connsiteX800" fmla="*/ 1059656 w 1182528"/>
                <a:gd name="connsiteY800" fmla="*/ 674275 h 1101852"/>
                <a:gd name="connsiteX801" fmla="*/ 1054799 w 1182528"/>
                <a:gd name="connsiteY801" fmla="*/ 673227 h 1101852"/>
                <a:gd name="connsiteX802" fmla="*/ 1057942 w 1182528"/>
                <a:gd name="connsiteY802" fmla="*/ 672846 h 1101852"/>
                <a:gd name="connsiteX803" fmla="*/ 1058323 w 1182528"/>
                <a:gd name="connsiteY803" fmla="*/ 663226 h 1101852"/>
                <a:gd name="connsiteX804" fmla="*/ 1047560 w 1182528"/>
                <a:gd name="connsiteY804" fmla="*/ 642080 h 1101852"/>
                <a:gd name="connsiteX805" fmla="*/ 1060037 w 1182528"/>
                <a:gd name="connsiteY805" fmla="*/ 638937 h 1101852"/>
                <a:gd name="connsiteX806" fmla="*/ 1056989 w 1182528"/>
                <a:gd name="connsiteY806" fmla="*/ 628078 h 1101852"/>
                <a:gd name="connsiteX807" fmla="*/ 1068896 w 1182528"/>
                <a:gd name="connsiteY807" fmla="*/ 632936 h 1101852"/>
                <a:gd name="connsiteX808" fmla="*/ 1066324 w 1182528"/>
                <a:gd name="connsiteY808" fmla="*/ 625316 h 1101852"/>
                <a:gd name="connsiteX809" fmla="*/ 1064133 w 1182528"/>
                <a:gd name="connsiteY809" fmla="*/ 620744 h 1101852"/>
                <a:gd name="connsiteX810" fmla="*/ 1060704 w 1182528"/>
                <a:gd name="connsiteY810" fmla="*/ 619601 h 1101852"/>
                <a:gd name="connsiteX811" fmla="*/ 1061276 w 1182528"/>
                <a:gd name="connsiteY811" fmla="*/ 611505 h 1101852"/>
                <a:gd name="connsiteX812" fmla="*/ 1056418 w 1182528"/>
                <a:gd name="connsiteY812" fmla="*/ 610457 h 1101852"/>
                <a:gd name="connsiteX813" fmla="*/ 1057751 w 1182528"/>
                <a:gd name="connsiteY813" fmla="*/ 608743 h 1101852"/>
                <a:gd name="connsiteX814" fmla="*/ 1057561 w 1182528"/>
                <a:gd name="connsiteY814" fmla="*/ 607124 h 1101852"/>
                <a:gd name="connsiteX815" fmla="*/ 1054418 w 1182528"/>
                <a:gd name="connsiteY815" fmla="*/ 607505 h 1101852"/>
                <a:gd name="connsiteX816" fmla="*/ 1049465 w 1182528"/>
                <a:gd name="connsiteY816" fmla="*/ 606552 h 1101852"/>
                <a:gd name="connsiteX817" fmla="*/ 1049655 w 1182528"/>
                <a:gd name="connsiteY817" fmla="*/ 608171 h 1101852"/>
                <a:gd name="connsiteX818" fmla="*/ 1047845 w 1182528"/>
                <a:gd name="connsiteY818" fmla="*/ 606743 h 1101852"/>
                <a:gd name="connsiteX819" fmla="*/ 1047845 w 1182528"/>
                <a:gd name="connsiteY819" fmla="*/ 606743 h 1101852"/>
                <a:gd name="connsiteX820" fmla="*/ 1047655 w 1182528"/>
                <a:gd name="connsiteY820" fmla="*/ 605219 h 1101852"/>
                <a:gd name="connsiteX821" fmla="*/ 1046321 w 1182528"/>
                <a:gd name="connsiteY821" fmla="*/ 606933 h 1101852"/>
                <a:gd name="connsiteX822" fmla="*/ 1038035 w 1182528"/>
                <a:gd name="connsiteY822" fmla="*/ 604838 h 1101852"/>
                <a:gd name="connsiteX823" fmla="*/ 1038797 w 1182528"/>
                <a:gd name="connsiteY823" fmla="*/ 598265 h 1101852"/>
                <a:gd name="connsiteX824" fmla="*/ 1037368 w 1182528"/>
                <a:gd name="connsiteY824" fmla="*/ 600075 h 1101852"/>
                <a:gd name="connsiteX825" fmla="*/ 1035463 w 1182528"/>
                <a:gd name="connsiteY825" fmla="*/ 597122 h 1101852"/>
                <a:gd name="connsiteX826" fmla="*/ 1036415 w 1182528"/>
                <a:gd name="connsiteY826" fmla="*/ 592169 h 1101852"/>
                <a:gd name="connsiteX827" fmla="*/ 1036225 w 1182528"/>
                <a:gd name="connsiteY827" fmla="*/ 590645 h 1101852"/>
                <a:gd name="connsiteX828" fmla="*/ 1034606 w 1182528"/>
                <a:gd name="connsiteY828" fmla="*/ 590836 h 1101852"/>
                <a:gd name="connsiteX829" fmla="*/ 1033081 w 1182528"/>
                <a:gd name="connsiteY829" fmla="*/ 591026 h 1101852"/>
                <a:gd name="connsiteX830" fmla="*/ 1034415 w 1182528"/>
                <a:gd name="connsiteY830" fmla="*/ 589217 h 1101852"/>
                <a:gd name="connsiteX831" fmla="*/ 1032605 w 1182528"/>
                <a:gd name="connsiteY831" fmla="*/ 587883 h 1101852"/>
                <a:gd name="connsiteX832" fmla="*/ 1033844 w 1182528"/>
                <a:gd name="connsiteY832" fmla="*/ 584549 h 1101852"/>
                <a:gd name="connsiteX833" fmla="*/ 1030700 w 1182528"/>
                <a:gd name="connsiteY833" fmla="*/ 584930 h 1101852"/>
                <a:gd name="connsiteX834" fmla="*/ 1032034 w 1182528"/>
                <a:gd name="connsiteY834" fmla="*/ 583121 h 1101852"/>
                <a:gd name="connsiteX835" fmla="*/ 1030510 w 1182528"/>
                <a:gd name="connsiteY835" fmla="*/ 583311 h 1101852"/>
                <a:gd name="connsiteX836" fmla="*/ 1027843 w 1182528"/>
                <a:gd name="connsiteY836" fmla="*/ 575596 h 1101852"/>
                <a:gd name="connsiteX837" fmla="*/ 1020985 w 1182528"/>
                <a:gd name="connsiteY837" fmla="*/ 571691 h 1101852"/>
                <a:gd name="connsiteX838" fmla="*/ 1022128 w 1182528"/>
                <a:gd name="connsiteY838" fmla="*/ 568357 h 1101852"/>
                <a:gd name="connsiteX839" fmla="*/ 1020985 w 1182528"/>
                <a:gd name="connsiteY839" fmla="*/ 558927 h 1101852"/>
                <a:gd name="connsiteX840" fmla="*/ 1018985 w 1182528"/>
                <a:gd name="connsiteY840" fmla="*/ 555974 h 1101852"/>
                <a:gd name="connsiteX841" fmla="*/ 1018603 w 1182528"/>
                <a:gd name="connsiteY841" fmla="*/ 552736 h 1101852"/>
                <a:gd name="connsiteX842" fmla="*/ 1016984 w 1182528"/>
                <a:gd name="connsiteY842" fmla="*/ 553022 h 1101852"/>
                <a:gd name="connsiteX843" fmla="*/ 1015746 w 1182528"/>
                <a:gd name="connsiteY843" fmla="*/ 543497 h 1101852"/>
                <a:gd name="connsiteX844" fmla="*/ 1012603 w 1182528"/>
                <a:gd name="connsiteY844" fmla="*/ 543878 h 1101852"/>
                <a:gd name="connsiteX845" fmla="*/ 1014031 w 1182528"/>
                <a:gd name="connsiteY845" fmla="*/ 542163 h 1101852"/>
                <a:gd name="connsiteX846" fmla="*/ 1012412 w 1182528"/>
                <a:gd name="connsiteY846" fmla="*/ 542354 h 1101852"/>
                <a:gd name="connsiteX847" fmla="*/ 1013174 w 1182528"/>
                <a:gd name="connsiteY847" fmla="*/ 535781 h 1101852"/>
                <a:gd name="connsiteX848" fmla="*/ 1003078 w 1182528"/>
                <a:gd name="connsiteY848" fmla="*/ 532257 h 1101852"/>
                <a:gd name="connsiteX849" fmla="*/ 1004316 w 1182528"/>
                <a:gd name="connsiteY849" fmla="*/ 528923 h 1101852"/>
                <a:gd name="connsiteX850" fmla="*/ 1000315 w 1182528"/>
                <a:gd name="connsiteY850" fmla="*/ 523018 h 1101852"/>
                <a:gd name="connsiteX851" fmla="*/ 995363 w 1182528"/>
                <a:gd name="connsiteY851" fmla="*/ 522065 h 1101852"/>
                <a:gd name="connsiteX852" fmla="*/ 997934 w 1182528"/>
                <a:gd name="connsiteY852" fmla="*/ 516922 h 1101852"/>
                <a:gd name="connsiteX853" fmla="*/ 994981 w 1182528"/>
                <a:gd name="connsiteY853" fmla="*/ 506063 h 1101852"/>
                <a:gd name="connsiteX854" fmla="*/ 987838 w 1182528"/>
                <a:gd name="connsiteY854" fmla="*/ 500539 h 1101852"/>
                <a:gd name="connsiteX855" fmla="*/ 987457 w 1182528"/>
                <a:gd name="connsiteY855" fmla="*/ 497396 h 1101852"/>
                <a:gd name="connsiteX856" fmla="*/ 988790 w 1182528"/>
                <a:gd name="connsiteY856" fmla="*/ 495586 h 1101852"/>
                <a:gd name="connsiteX857" fmla="*/ 981742 w 1182528"/>
                <a:gd name="connsiteY857" fmla="*/ 490157 h 1101852"/>
                <a:gd name="connsiteX858" fmla="*/ 985266 w 1182528"/>
                <a:gd name="connsiteY858" fmla="*/ 480060 h 1101852"/>
                <a:gd name="connsiteX859" fmla="*/ 984790 w 1182528"/>
                <a:gd name="connsiteY859" fmla="*/ 476917 h 1101852"/>
                <a:gd name="connsiteX860" fmla="*/ 982027 w 1182528"/>
                <a:gd name="connsiteY860" fmla="*/ 467582 h 1101852"/>
                <a:gd name="connsiteX861" fmla="*/ 981837 w 1182528"/>
                <a:gd name="connsiteY861" fmla="*/ 466058 h 1101852"/>
                <a:gd name="connsiteX862" fmla="*/ 981456 w 1182528"/>
                <a:gd name="connsiteY862" fmla="*/ 462915 h 1101852"/>
                <a:gd name="connsiteX863" fmla="*/ 982218 w 1182528"/>
                <a:gd name="connsiteY863" fmla="*/ 456343 h 1101852"/>
                <a:gd name="connsiteX864" fmla="*/ 980599 w 1182528"/>
                <a:gd name="connsiteY864" fmla="*/ 456533 h 1101852"/>
                <a:gd name="connsiteX865" fmla="*/ 975931 w 1182528"/>
                <a:gd name="connsiteY865" fmla="*/ 457200 h 1101852"/>
                <a:gd name="connsiteX866" fmla="*/ 970978 w 1182528"/>
                <a:gd name="connsiteY866" fmla="*/ 456248 h 1101852"/>
                <a:gd name="connsiteX867" fmla="*/ 971169 w 1182528"/>
                <a:gd name="connsiteY867" fmla="*/ 444913 h 1101852"/>
                <a:gd name="connsiteX868" fmla="*/ 977456 w 1182528"/>
                <a:gd name="connsiteY868" fmla="*/ 431292 h 1101852"/>
                <a:gd name="connsiteX869" fmla="*/ 979170 w 1182528"/>
                <a:gd name="connsiteY869" fmla="*/ 432721 h 1101852"/>
                <a:gd name="connsiteX870" fmla="*/ 993553 w 1182528"/>
                <a:gd name="connsiteY870" fmla="*/ 419672 h 1101852"/>
                <a:gd name="connsiteX871" fmla="*/ 992981 w 1182528"/>
                <a:gd name="connsiteY871" fmla="*/ 414909 h 1101852"/>
                <a:gd name="connsiteX872" fmla="*/ 986028 w 1182528"/>
                <a:gd name="connsiteY872" fmla="*/ 411004 h 1101852"/>
                <a:gd name="connsiteX873" fmla="*/ 986600 w 1182528"/>
                <a:gd name="connsiteY873" fmla="*/ 402908 h 1101852"/>
                <a:gd name="connsiteX874" fmla="*/ 990790 w 1182528"/>
                <a:gd name="connsiteY874" fmla="*/ 397574 h 1101852"/>
                <a:gd name="connsiteX875" fmla="*/ 989933 w 1182528"/>
                <a:gd name="connsiteY875" fmla="*/ 391192 h 1101852"/>
                <a:gd name="connsiteX876" fmla="*/ 993839 w 1182528"/>
                <a:gd name="connsiteY876" fmla="*/ 384334 h 1101852"/>
                <a:gd name="connsiteX877" fmla="*/ 1003173 w 1182528"/>
                <a:gd name="connsiteY877" fmla="*/ 381572 h 1101852"/>
                <a:gd name="connsiteX878" fmla="*/ 1012222 w 1182528"/>
                <a:gd name="connsiteY878" fmla="*/ 377190 h 1101852"/>
                <a:gd name="connsiteX879" fmla="*/ 1015936 w 1182528"/>
                <a:gd name="connsiteY879" fmla="*/ 368713 h 1101852"/>
                <a:gd name="connsiteX880" fmla="*/ 1015746 w 1182528"/>
                <a:gd name="connsiteY880" fmla="*/ 367094 h 1101852"/>
                <a:gd name="connsiteX881" fmla="*/ 1018318 w 1182528"/>
                <a:gd name="connsiteY881" fmla="*/ 361950 h 1101852"/>
                <a:gd name="connsiteX882" fmla="*/ 1020699 w 1182528"/>
                <a:gd name="connsiteY882" fmla="*/ 368046 h 1101852"/>
                <a:gd name="connsiteX883" fmla="*/ 1019461 w 1182528"/>
                <a:gd name="connsiteY883" fmla="*/ 371475 h 1101852"/>
                <a:gd name="connsiteX884" fmla="*/ 1021080 w 1182528"/>
                <a:gd name="connsiteY884" fmla="*/ 371189 h 1101852"/>
                <a:gd name="connsiteX885" fmla="*/ 1027367 w 1182528"/>
                <a:gd name="connsiteY885" fmla="*/ 370427 h 1101852"/>
                <a:gd name="connsiteX886" fmla="*/ 1030129 w 1182528"/>
                <a:gd name="connsiteY886" fmla="*/ 366903 h 1101852"/>
                <a:gd name="connsiteX887" fmla="*/ 1021271 w 1182528"/>
                <a:gd name="connsiteY887" fmla="*/ 359950 h 1101852"/>
                <a:gd name="connsiteX888" fmla="*/ 1022032 w 1182528"/>
                <a:gd name="connsiteY888" fmla="*/ 353473 h 1101852"/>
                <a:gd name="connsiteX889" fmla="*/ 1024985 w 1182528"/>
                <a:gd name="connsiteY889" fmla="*/ 351473 h 1101852"/>
                <a:gd name="connsiteX890" fmla="*/ 1025938 w 1182528"/>
                <a:gd name="connsiteY890" fmla="*/ 346520 h 1101852"/>
                <a:gd name="connsiteX891" fmla="*/ 1027462 w 1182528"/>
                <a:gd name="connsiteY891" fmla="*/ 333566 h 1101852"/>
                <a:gd name="connsiteX892" fmla="*/ 1032986 w 1182528"/>
                <a:gd name="connsiteY892" fmla="*/ 326422 h 1101852"/>
                <a:gd name="connsiteX893" fmla="*/ 1032796 w 1182528"/>
                <a:gd name="connsiteY893" fmla="*/ 324803 h 1101852"/>
                <a:gd name="connsiteX894" fmla="*/ 1037558 w 1182528"/>
                <a:gd name="connsiteY894" fmla="*/ 324231 h 1101852"/>
                <a:gd name="connsiteX895" fmla="*/ 1042702 w 1182528"/>
                <a:gd name="connsiteY895" fmla="*/ 326803 h 1101852"/>
                <a:gd name="connsiteX896" fmla="*/ 1048036 w 1182528"/>
                <a:gd name="connsiteY896" fmla="*/ 318040 h 1101852"/>
                <a:gd name="connsiteX897" fmla="*/ 1042416 w 1182528"/>
                <a:gd name="connsiteY897" fmla="*/ 312420 h 1101852"/>
                <a:gd name="connsiteX898" fmla="*/ 1043654 w 1182528"/>
                <a:gd name="connsiteY898" fmla="*/ 308991 h 1101852"/>
                <a:gd name="connsiteX899" fmla="*/ 1049560 w 1182528"/>
                <a:gd name="connsiteY899" fmla="*/ 305086 h 1101852"/>
                <a:gd name="connsiteX900" fmla="*/ 1049369 w 1182528"/>
                <a:gd name="connsiteY900" fmla="*/ 303467 h 1101852"/>
                <a:gd name="connsiteX901" fmla="*/ 1049179 w 1182528"/>
                <a:gd name="connsiteY901" fmla="*/ 301943 h 1101852"/>
                <a:gd name="connsiteX902" fmla="*/ 1047369 w 1182528"/>
                <a:gd name="connsiteY902" fmla="*/ 300514 h 1101852"/>
                <a:gd name="connsiteX903" fmla="*/ 1045750 w 1182528"/>
                <a:gd name="connsiteY903" fmla="*/ 300704 h 1101852"/>
                <a:gd name="connsiteX904" fmla="*/ 1044035 w 1182528"/>
                <a:gd name="connsiteY904" fmla="*/ 299371 h 1101852"/>
                <a:gd name="connsiteX905" fmla="*/ 1044988 w 1182528"/>
                <a:gd name="connsiteY905" fmla="*/ 294418 h 1101852"/>
                <a:gd name="connsiteX906" fmla="*/ 1043178 w 1182528"/>
                <a:gd name="connsiteY906" fmla="*/ 293084 h 1101852"/>
                <a:gd name="connsiteX907" fmla="*/ 1045750 w 1182528"/>
                <a:gd name="connsiteY907" fmla="*/ 287941 h 1101852"/>
                <a:gd name="connsiteX908" fmla="*/ 1049274 w 1182528"/>
                <a:gd name="connsiteY908" fmla="*/ 290703 h 1101852"/>
                <a:gd name="connsiteX909" fmla="*/ 1048893 w 1182528"/>
                <a:gd name="connsiteY909" fmla="*/ 287465 h 1101852"/>
                <a:gd name="connsiteX910" fmla="*/ 1045559 w 1182528"/>
                <a:gd name="connsiteY910" fmla="*/ 286322 h 1101852"/>
                <a:gd name="connsiteX911" fmla="*/ 1044131 w 1182528"/>
                <a:gd name="connsiteY911" fmla="*/ 288131 h 1101852"/>
                <a:gd name="connsiteX912" fmla="*/ 1040797 w 1182528"/>
                <a:gd name="connsiteY912" fmla="*/ 286893 h 1101852"/>
                <a:gd name="connsiteX913" fmla="*/ 1042226 w 1182528"/>
                <a:gd name="connsiteY913" fmla="*/ 285179 h 1101852"/>
                <a:gd name="connsiteX914" fmla="*/ 1038415 w 1182528"/>
                <a:gd name="connsiteY914" fmla="*/ 280797 h 1101852"/>
                <a:gd name="connsiteX915" fmla="*/ 1044511 w 1182528"/>
                <a:gd name="connsiteY915" fmla="*/ 278416 h 1101852"/>
                <a:gd name="connsiteX916" fmla="*/ 1050036 w 1182528"/>
                <a:gd name="connsiteY916" fmla="*/ 284131 h 1101852"/>
                <a:gd name="connsiteX917" fmla="*/ 1054227 w 1182528"/>
                <a:gd name="connsiteY917" fmla="*/ 278797 h 1101852"/>
                <a:gd name="connsiteX918" fmla="*/ 1061942 w 1182528"/>
                <a:gd name="connsiteY918" fmla="*/ 276225 h 1101852"/>
                <a:gd name="connsiteX919" fmla="*/ 1063657 w 1182528"/>
                <a:gd name="connsiteY919" fmla="*/ 277559 h 1101852"/>
                <a:gd name="connsiteX920" fmla="*/ 1066800 w 1182528"/>
                <a:gd name="connsiteY920" fmla="*/ 277178 h 1101852"/>
                <a:gd name="connsiteX921" fmla="*/ 1065848 w 1182528"/>
                <a:gd name="connsiteY921" fmla="*/ 282131 h 1101852"/>
                <a:gd name="connsiteX922" fmla="*/ 1063085 w 1182528"/>
                <a:gd name="connsiteY922" fmla="*/ 285655 h 1101852"/>
                <a:gd name="connsiteX923" fmla="*/ 1067657 w 1182528"/>
                <a:gd name="connsiteY923" fmla="*/ 283464 h 1101852"/>
                <a:gd name="connsiteX924" fmla="*/ 1069372 w 1182528"/>
                <a:gd name="connsiteY924" fmla="*/ 284893 h 1101852"/>
                <a:gd name="connsiteX925" fmla="*/ 1070801 w 1182528"/>
                <a:gd name="connsiteY925" fmla="*/ 283083 h 1101852"/>
                <a:gd name="connsiteX926" fmla="*/ 1073944 w 1182528"/>
                <a:gd name="connsiteY926" fmla="*/ 282702 h 1101852"/>
                <a:gd name="connsiteX927" fmla="*/ 1082611 w 1182528"/>
                <a:gd name="connsiteY927" fmla="*/ 288036 h 1101852"/>
                <a:gd name="connsiteX928" fmla="*/ 1084993 w 1182528"/>
                <a:gd name="connsiteY928" fmla="*/ 294132 h 1101852"/>
                <a:gd name="connsiteX929" fmla="*/ 1093280 w 1182528"/>
                <a:gd name="connsiteY929" fmla="*/ 296323 h 1101852"/>
                <a:gd name="connsiteX930" fmla="*/ 1095280 w 1182528"/>
                <a:gd name="connsiteY930" fmla="*/ 299276 h 1101852"/>
                <a:gd name="connsiteX931" fmla="*/ 1101661 w 1182528"/>
                <a:gd name="connsiteY931" fmla="*/ 298418 h 1101852"/>
                <a:gd name="connsiteX932" fmla="*/ 1105376 w 1182528"/>
                <a:gd name="connsiteY932" fmla="*/ 302800 h 1101852"/>
                <a:gd name="connsiteX933" fmla="*/ 1106329 w 1182528"/>
                <a:gd name="connsiteY933" fmla="*/ 297847 h 1101852"/>
                <a:gd name="connsiteX934" fmla="*/ 1106519 w 1182528"/>
                <a:gd name="connsiteY934" fmla="*/ 299371 h 1101852"/>
                <a:gd name="connsiteX935" fmla="*/ 1111282 w 1182528"/>
                <a:gd name="connsiteY935" fmla="*/ 298799 h 1101852"/>
                <a:gd name="connsiteX936" fmla="*/ 1118997 w 1182528"/>
                <a:gd name="connsiteY936" fmla="*/ 296228 h 1101852"/>
                <a:gd name="connsiteX937" fmla="*/ 1121093 w 1182528"/>
                <a:gd name="connsiteY937" fmla="*/ 287941 h 1101852"/>
                <a:gd name="connsiteX938" fmla="*/ 1119950 w 1182528"/>
                <a:gd name="connsiteY938" fmla="*/ 278416 h 1101852"/>
                <a:gd name="connsiteX939" fmla="*/ 1122426 w 1182528"/>
                <a:gd name="connsiteY939" fmla="*/ 273272 h 1101852"/>
                <a:gd name="connsiteX940" fmla="*/ 1121474 w 1182528"/>
                <a:gd name="connsiteY940" fmla="*/ 265462 h 1101852"/>
                <a:gd name="connsiteX941" fmla="*/ 1125760 w 1182528"/>
                <a:gd name="connsiteY941" fmla="*/ 261652 h 1101852"/>
                <a:gd name="connsiteX942" fmla="*/ 1123188 w 1182528"/>
                <a:gd name="connsiteY942" fmla="*/ 253937 h 1101852"/>
                <a:gd name="connsiteX943" fmla="*/ 1124426 w 1182528"/>
                <a:gd name="connsiteY943" fmla="*/ 250603 h 1101852"/>
                <a:gd name="connsiteX944" fmla="*/ 1139190 w 1182528"/>
                <a:gd name="connsiteY944" fmla="*/ 253556 h 1101852"/>
                <a:gd name="connsiteX945" fmla="*/ 1143572 w 1182528"/>
                <a:gd name="connsiteY945" fmla="*/ 249746 h 1101852"/>
                <a:gd name="connsiteX946" fmla="*/ 1148239 w 1182528"/>
                <a:gd name="connsiteY946" fmla="*/ 249174 h 1101852"/>
                <a:gd name="connsiteX947" fmla="*/ 1151192 w 1182528"/>
                <a:gd name="connsiteY947" fmla="*/ 247174 h 1101852"/>
                <a:gd name="connsiteX948" fmla="*/ 1158716 w 1182528"/>
                <a:gd name="connsiteY948" fmla="*/ 230219 h 1101852"/>
                <a:gd name="connsiteX949" fmla="*/ 1159288 w 1182528"/>
                <a:gd name="connsiteY949" fmla="*/ 222123 h 1101852"/>
                <a:gd name="connsiteX950" fmla="*/ 1162050 w 1182528"/>
                <a:gd name="connsiteY950" fmla="*/ 218599 h 1101852"/>
                <a:gd name="connsiteX951" fmla="*/ 1168813 w 1182528"/>
                <a:gd name="connsiteY951" fmla="*/ 196882 h 1101852"/>
                <a:gd name="connsiteX952" fmla="*/ 1171956 w 1182528"/>
                <a:gd name="connsiteY952" fmla="*/ 183642 h 1101852"/>
                <a:gd name="connsiteX953" fmla="*/ 1182243 w 1182528"/>
                <a:gd name="connsiteY953" fmla="*/ 175927 h 1101852"/>
                <a:gd name="connsiteX954" fmla="*/ 1182529 w 1182528"/>
                <a:gd name="connsiteY954" fmla="*/ 153353 h 1101852"/>
                <a:gd name="connsiteX955" fmla="*/ 1180148 w 1182528"/>
                <a:gd name="connsiteY955" fmla="*/ 147257 h 1101852"/>
                <a:gd name="connsiteX956" fmla="*/ 1180148 w 1182528"/>
                <a:gd name="connsiteY956" fmla="*/ 147257 h 1101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</a:cxnLst>
              <a:rect l="l" t="t" r="r" b="b"/>
              <a:pathLst>
                <a:path w="1182528" h="1101852">
                  <a:moveTo>
                    <a:pt x="1180148" y="147257"/>
                  </a:moveTo>
                  <a:lnTo>
                    <a:pt x="1175290" y="146304"/>
                  </a:lnTo>
                  <a:lnTo>
                    <a:pt x="1165003" y="154019"/>
                  </a:lnTo>
                  <a:lnTo>
                    <a:pt x="1158526" y="153257"/>
                  </a:lnTo>
                  <a:lnTo>
                    <a:pt x="1154144" y="156972"/>
                  </a:lnTo>
                  <a:lnTo>
                    <a:pt x="1146239" y="158020"/>
                  </a:lnTo>
                  <a:lnTo>
                    <a:pt x="1134428" y="165926"/>
                  </a:lnTo>
                  <a:lnTo>
                    <a:pt x="1130903" y="163163"/>
                  </a:lnTo>
                  <a:lnTo>
                    <a:pt x="1122617" y="161068"/>
                  </a:lnTo>
                  <a:lnTo>
                    <a:pt x="1120045" y="153353"/>
                  </a:lnTo>
                  <a:lnTo>
                    <a:pt x="1126331" y="139732"/>
                  </a:lnTo>
                  <a:lnTo>
                    <a:pt x="1134809" y="130588"/>
                  </a:lnTo>
                  <a:lnTo>
                    <a:pt x="1135571" y="124111"/>
                  </a:lnTo>
                  <a:lnTo>
                    <a:pt x="1143381" y="110300"/>
                  </a:lnTo>
                  <a:lnTo>
                    <a:pt x="1141190" y="105728"/>
                  </a:lnTo>
                  <a:lnTo>
                    <a:pt x="1143953" y="102203"/>
                  </a:lnTo>
                  <a:lnTo>
                    <a:pt x="1143381" y="97441"/>
                  </a:lnTo>
                  <a:lnTo>
                    <a:pt x="1145953" y="92297"/>
                  </a:lnTo>
                  <a:lnTo>
                    <a:pt x="1146048" y="81058"/>
                  </a:lnTo>
                  <a:lnTo>
                    <a:pt x="1142905" y="81439"/>
                  </a:lnTo>
                  <a:lnTo>
                    <a:pt x="1135571" y="74390"/>
                  </a:lnTo>
                  <a:lnTo>
                    <a:pt x="1133189" y="68294"/>
                  </a:lnTo>
                  <a:lnTo>
                    <a:pt x="1124140" y="59817"/>
                  </a:lnTo>
                  <a:lnTo>
                    <a:pt x="1122140" y="56864"/>
                  </a:lnTo>
                  <a:lnTo>
                    <a:pt x="1119188" y="58865"/>
                  </a:lnTo>
                  <a:lnTo>
                    <a:pt x="1103662" y="62389"/>
                  </a:lnTo>
                  <a:lnTo>
                    <a:pt x="1101852" y="61055"/>
                  </a:lnTo>
                  <a:lnTo>
                    <a:pt x="1101661" y="59436"/>
                  </a:lnTo>
                  <a:lnTo>
                    <a:pt x="1102805" y="56102"/>
                  </a:lnTo>
                  <a:lnTo>
                    <a:pt x="1105757" y="54102"/>
                  </a:lnTo>
                  <a:lnTo>
                    <a:pt x="1105567" y="52578"/>
                  </a:lnTo>
                  <a:lnTo>
                    <a:pt x="1100042" y="46863"/>
                  </a:lnTo>
                  <a:lnTo>
                    <a:pt x="1078516" y="41529"/>
                  </a:lnTo>
                  <a:lnTo>
                    <a:pt x="1078706" y="30290"/>
                  </a:lnTo>
                  <a:lnTo>
                    <a:pt x="1083564" y="18479"/>
                  </a:lnTo>
                  <a:lnTo>
                    <a:pt x="1079659" y="12573"/>
                  </a:lnTo>
                  <a:lnTo>
                    <a:pt x="1072134" y="16764"/>
                  </a:lnTo>
                  <a:lnTo>
                    <a:pt x="1074896" y="26003"/>
                  </a:lnTo>
                  <a:lnTo>
                    <a:pt x="1073372" y="39053"/>
                  </a:lnTo>
                  <a:lnTo>
                    <a:pt x="1061942" y="37243"/>
                  </a:lnTo>
                  <a:lnTo>
                    <a:pt x="1061276" y="32576"/>
                  </a:lnTo>
                  <a:lnTo>
                    <a:pt x="1059561" y="31147"/>
                  </a:lnTo>
                  <a:lnTo>
                    <a:pt x="1054036" y="25432"/>
                  </a:lnTo>
                  <a:lnTo>
                    <a:pt x="1047464" y="24670"/>
                  </a:lnTo>
                  <a:lnTo>
                    <a:pt x="1032891" y="36195"/>
                  </a:lnTo>
                  <a:lnTo>
                    <a:pt x="1031557" y="37910"/>
                  </a:lnTo>
                  <a:lnTo>
                    <a:pt x="1024223" y="43625"/>
                  </a:lnTo>
                  <a:lnTo>
                    <a:pt x="1017746" y="42863"/>
                  </a:lnTo>
                  <a:lnTo>
                    <a:pt x="1009269" y="39148"/>
                  </a:lnTo>
                  <a:lnTo>
                    <a:pt x="1004126" y="36576"/>
                  </a:lnTo>
                  <a:lnTo>
                    <a:pt x="998982" y="34100"/>
                  </a:lnTo>
                  <a:lnTo>
                    <a:pt x="997363" y="21431"/>
                  </a:lnTo>
                  <a:lnTo>
                    <a:pt x="992410" y="20479"/>
                  </a:lnTo>
                  <a:lnTo>
                    <a:pt x="985076" y="13335"/>
                  </a:lnTo>
                  <a:lnTo>
                    <a:pt x="974217" y="16383"/>
                  </a:lnTo>
                  <a:lnTo>
                    <a:pt x="972884" y="18098"/>
                  </a:lnTo>
                  <a:lnTo>
                    <a:pt x="966597" y="18955"/>
                  </a:lnTo>
                  <a:lnTo>
                    <a:pt x="960406" y="8477"/>
                  </a:lnTo>
                  <a:lnTo>
                    <a:pt x="951357" y="0"/>
                  </a:lnTo>
                  <a:lnTo>
                    <a:pt x="943451" y="1048"/>
                  </a:lnTo>
                  <a:lnTo>
                    <a:pt x="939356" y="6382"/>
                  </a:lnTo>
                  <a:lnTo>
                    <a:pt x="934402" y="18193"/>
                  </a:lnTo>
                  <a:lnTo>
                    <a:pt x="924497" y="16288"/>
                  </a:lnTo>
                  <a:lnTo>
                    <a:pt x="925163" y="21050"/>
                  </a:lnTo>
                  <a:lnTo>
                    <a:pt x="928497" y="22193"/>
                  </a:lnTo>
                  <a:lnTo>
                    <a:pt x="932498" y="28099"/>
                  </a:lnTo>
                  <a:lnTo>
                    <a:pt x="931735" y="34576"/>
                  </a:lnTo>
                  <a:lnTo>
                    <a:pt x="927735" y="41529"/>
                  </a:lnTo>
                  <a:lnTo>
                    <a:pt x="929735" y="44482"/>
                  </a:lnTo>
                  <a:lnTo>
                    <a:pt x="919448" y="52197"/>
                  </a:lnTo>
                  <a:lnTo>
                    <a:pt x="916114" y="51054"/>
                  </a:lnTo>
                  <a:lnTo>
                    <a:pt x="915352" y="57531"/>
                  </a:lnTo>
                  <a:lnTo>
                    <a:pt x="920877" y="63246"/>
                  </a:lnTo>
                  <a:lnTo>
                    <a:pt x="914019" y="72104"/>
                  </a:lnTo>
                  <a:lnTo>
                    <a:pt x="913067" y="77057"/>
                  </a:lnTo>
                  <a:lnTo>
                    <a:pt x="916781" y="81439"/>
                  </a:lnTo>
                  <a:lnTo>
                    <a:pt x="924877" y="82010"/>
                  </a:lnTo>
                  <a:lnTo>
                    <a:pt x="932212" y="89059"/>
                  </a:lnTo>
                  <a:lnTo>
                    <a:pt x="935355" y="88678"/>
                  </a:lnTo>
                  <a:lnTo>
                    <a:pt x="940118" y="88106"/>
                  </a:lnTo>
                  <a:lnTo>
                    <a:pt x="948976" y="82106"/>
                  </a:lnTo>
                  <a:lnTo>
                    <a:pt x="956881" y="81153"/>
                  </a:lnTo>
                  <a:lnTo>
                    <a:pt x="960596" y="85439"/>
                  </a:lnTo>
                  <a:lnTo>
                    <a:pt x="959453" y="88773"/>
                  </a:lnTo>
                  <a:lnTo>
                    <a:pt x="960215" y="95155"/>
                  </a:lnTo>
                  <a:lnTo>
                    <a:pt x="955548" y="95726"/>
                  </a:lnTo>
                  <a:lnTo>
                    <a:pt x="952119" y="94583"/>
                  </a:lnTo>
                  <a:lnTo>
                    <a:pt x="942118" y="103822"/>
                  </a:lnTo>
                  <a:lnTo>
                    <a:pt x="954119" y="110300"/>
                  </a:lnTo>
                  <a:lnTo>
                    <a:pt x="954405" y="111919"/>
                  </a:lnTo>
                  <a:lnTo>
                    <a:pt x="950023" y="115634"/>
                  </a:lnTo>
                  <a:lnTo>
                    <a:pt x="958882" y="122587"/>
                  </a:lnTo>
                  <a:lnTo>
                    <a:pt x="971740" y="122491"/>
                  </a:lnTo>
                  <a:lnTo>
                    <a:pt x="975551" y="126873"/>
                  </a:lnTo>
                  <a:lnTo>
                    <a:pt x="978884" y="128016"/>
                  </a:lnTo>
                  <a:lnTo>
                    <a:pt x="984218" y="132207"/>
                  </a:lnTo>
                  <a:lnTo>
                    <a:pt x="988695" y="130016"/>
                  </a:lnTo>
                  <a:lnTo>
                    <a:pt x="989362" y="134684"/>
                  </a:lnTo>
                  <a:lnTo>
                    <a:pt x="992696" y="135922"/>
                  </a:lnTo>
                  <a:lnTo>
                    <a:pt x="1001744" y="131540"/>
                  </a:lnTo>
                  <a:lnTo>
                    <a:pt x="1007269" y="137255"/>
                  </a:lnTo>
                  <a:lnTo>
                    <a:pt x="1011079" y="141542"/>
                  </a:lnTo>
                  <a:lnTo>
                    <a:pt x="1009936" y="144971"/>
                  </a:lnTo>
                  <a:lnTo>
                    <a:pt x="1010888" y="152781"/>
                  </a:lnTo>
                  <a:lnTo>
                    <a:pt x="1003173" y="155448"/>
                  </a:lnTo>
                  <a:lnTo>
                    <a:pt x="1006602" y="156591"/>
                  </a:lnTo>
                  <a:lnTo>
                    <a:pt x="1005364" y="159925"/>
                  </a:lnTo>
                  <a:lnTo>
                    <a:pt x="1002030" y="158782"/>
                  </a:lnTo>
                  <a:lnTo>
                    <a:pt x="1002221" y="160306"/>
                  </a:lnTo>
                  <a:lnTo>
                    <a:pt x="1000697" y="160496"/>
                  </a:lnTo>
                  <a:lnTo>
                    <a:pt x="1001839" y="170021"/>
                  </a:lnTo>
                  <a:lnTo>
                    <a:pt x="1001459" y="179642"/>
                  </a:lnTo>
                  <a:lnTo>
                    <a:pt x="1000125" y="181451"/>
                  </a:lnTo>
                  <a:lnTo>
                    <a:pt x="992219" y="182499"/>
                  </a:lnTo>
                  <a:lnTo>
                    <a:pt x="980599" y="179165"/>
                  </a:lnTo>
                  <a:lnTo>
                    <a:pt x="979170" y="180880"/>
                  </a:lnTo>
                  <a:lnTo>
                    <a:pt x="975646" y="178118"/>
                  </a:lnTo>
                  <a:lnTo>
                    <a:pt x="976408" y="184499"/>
                  </a:lnTo>
                  <a:lnTo>
                    <a:pt x="973646" y="188024"/>
                  </a:lnTo>
                  <a:lnTo>
                    <a:pt x="959644" y="191453"/>
                  </a:lnTo>
                  <a:lnTo>
                    <a:pt x="956310" y="190214"/>
                  </a:lnTo>
                  <a:lnTo>
                    <a:pt x="944309" y="196596"/>
                  </a:lnTo>
                  <a:lnTo>
                    <a:pt x="936022" y="194405"/>
                  </a:lnTo>
                  <a:lnTo>
                    <a:pt x="930307" y="187166"/>
                  </a:lnTo>
                  <a:lnTo>
                    <a:pt x="920210" y="183642"/>
                  </a:lnTo>
                  <a:lnTo>
                    <a:pt x="908399" y="191548"/>
                  </a:lnTo>
                  <a:lnTo>
                    <a:pt x="903827" y="193739"/>
                  </a:lnTo>
                  <a:lnTo>
                    <a:pt x="895540" y="191548"/>
                  </a:lnTo>
                  <a:lnTo>
                    <a:pt x="896969" y="202597"/>
                  </a:lnTo>
                  <a:lnTo>
                    <a:pt x="888302" y="222980"/>
                  </a:lnTo>
                  <a:lnTo>
                    <a:pt x="884968" y="221742"/>
                  </a:lnTo>
                  <a:lnTo>
                    <a:pt x="873347" y="231267"/>
                  </a:lnTo>
                  <a:lnTo>
                    <a:pt x="870204" y="231648"/>
                  </a:lnTo>
                  <a:lnTo>
                    <a:pt x="865823" y="235458"/>
                  </a:lnTo>
                  <a:lnTo>
                    <a:pt x="846773" y="236315"/>
                  </a:lnTo>
                  <a:lnTo>
                    <a:pt x="826198" y="251746"/>
                  </a:lnTo>
                  <a:lnTo>
                    <a:pt x="821341" y="250793"/>
                  </a:lnTo>
                  <a:lnTo>
                    <a:pt x="814006" y="256508"/>
                  </a:lnTo>
                  <a:lnTo>
                    <a:pt x="807720" y="257270"/>
                  </a:lnTo>
                  <a:lnTo>
                    <a:pt x="803148" y="259461"/>
                  </a:lnTo>
                  <a:lnTo>
                    <a:pt x="796861" y="260318"/>
                  </a:lnTo>
                  <a:lnTo>
                    <a:pt x="790003" y="269177"/>
                  </a:lnTo>
                  <a:lnTo>
                    <a:pt x="788956" y="274130"/>
                  </a:lnTo>
                  <a:lnTo>
                    <a:pt x="784669" y="277844"/>
                  </a:lnTo>
                  <a:lnTo>
                    <a:pt x="778383" y="278702"/>
                  </a:lnTo>
                  <a:lnTo>
                    <a:pt x="774764" y="275939"/>
                  </a:lnTo>
                  <a:lnTo>
                    <a:pt x="768477" y="276701"/>
                  </a:lnTo>
                  <a:lnTo>
                    <a:pt x="762190" y="277559"/>
                  </a:lnTo>
                  <a:lnTo>
                    <a:pt x="758285" y="284417"/>
                  </a:lnTo>
                  <a:lnTo>
                    <a:pt x="747522" y="276225"/>
                  </a:lnTo>
                  <a:lnTo>
                    <a:pt x="737902" y="275844"/>
                  </a:lnTo>
                  <a:lnTo>
                    <a:pt x="737330" y="271082"/>
                  </a:lnTo>
                  <a:lnTo>
                    <a:pt x="728567" y="265748"/>
                  </a:lnTo>
                  <a:lnTo>
                    <a:pt x="724281" y="269558"/>
                  </a:lnTo>
                  <a:lnTo>
                    <a:pt x="715423" y="275463"/>
                  </a:lnTo>
                  <a:lnTo>
                    <a:pt x="705898" y="276701"/>
                  </a:lnTo>
                  <a:lnTo>
                    <a:pt x="702945" y="278606"/>
                  </a:lnTo>
                  <a:lnTo>
                    <a:pt x="703993" y="286512"/>
                  </a:lnTo>
                  <a:lnTo>
                    <a:pt x="699611" y="290322"/>
                  </a:lnTo>
                  <a:lnTo>
                    <a:pt x="696944" y="293846"/>
                  </a:lnTo>
                  <a:lnTo>
                    <a:pt x="692753" y="299180"/>
                  </a:lnTo>
                  <a:lnTo>
                    <a:pt x="678180" y="297847"/>
                  </a:lnTo>
                  <a:lnTo>
                    <a:pt x="669512" y="292513"/>
                  </a:lnTo>
                  <a:lnTo>
                    <a:pt x="665131" y="296323"/>
                  </a:lnTo>
                  <a:lnTo>
                    <a:pt x="664178" y="301276"/>
                  </a:lnTo>
                  <a:lnTo>
                    <a:pt x="665988" y="302609"/>
                  </a:lnTo>
                  <a:lnTo>
                    <a:pt x="661988" y="309563"/>
                  </a:lnTo>
                  <a:lnTo>
                    <a:pt x="661226" y="316039"/>
                  </a:lnTo>
                  <a:lnTo>
                    <a:pt x="657130" y="321374"/>
                  </a:lnTo>
                  <a:lnTo>
                    <a:pt x="659702" y="329089"/>
                  </a:lnTo>
                  <a:lnTo>
                    <a:pt x="667417" y="339281"/>
                  </a:lnTo>
                  <a:lnTo>
                    <a:pt x="663893" y="349377"/>
                  </a:lnTo>
                  <a:lnTo>
                    <a:pt x="655034" y="355378"/>
                  </a:lnTo>
                  <a:lnTo>
                    <a:pt x="652081" y="357283"/>
                  </a:lnTo>
                  <a:lnTo>
                    <a:pt x="644747" y="350234"/>
                  </a:lnTo>
                  <a:lnTo>
                    <a:pt x="639985" y="350806"/>
                  </a:lnTo>
                  <a:lnTo>
                    <a:pt x="639413" y="358902"/>
                  </a:lnTo>
                  <a:lnTo>
                    <a:pt x="635889" y="368999"/>
                  </a:lnTo>
                  <a:lnTo>
                    <a:pt x="628174" y="371570"/>
                  </a:lnTo>
                  <a:lnTo>
                    <a:pt x="621316" y="367665"/>
                  </a:lnTo>
                  <a:lnTo>
                    <a:pt x="618554" y="371189"/>
                  </a:lnTo>
                  <a:lnTo>
                    <a:pt x="615410" y="371570"/>
                  </a:lnTo>
                  <a:lnTo>
                    <a:pt x="606266" y="363188"/>
                  </a:lnTo>
                  <a:lnTo>
                    <a:pt x="602742" y="360426"/>
                  </a:lnTo>
                  <a:lnTo>
                    <a:pt x="596265" y="359569"/>
                  </a:lnTo>
                  <a:lnTo>
                    <a:pt x="591693" y="361760"/>
                  </a:lnTo>
                  <a:lnTo>
                    <a:pt x="589502" y="357283"/>
                  </a:lnTo>
                  <a:lnTo>
                    <a:pt x="586740" y="360807"/>
                  </a:lnTo>
                  <a:lnTo>
                    <a:pt x="583025" y="356521"/>
                  </a:lnTo>
                  <a:lnTo>
                    <a:pt x="578644" y="360236"/>
                  </a:lnTo>
                  <a:lnTo>
                    <a:pt x="573500" y="357664"/>
                  </a:lnTo>
                  <a:lnTo>
                    <a:pt x="568833" y="358331"/>
                  </a:lnTo>
                  <a:lnTo>
                    <a:pt x="564642" y="363664"/>
                  </a:lnTo>
                  <a:lnTo>
                    <a:pt x="561689" y="365570"/>
                  </a:lnTo>
                  <a:lnTo>
                    <a:pt x="555403" y="366427"/>
                  </a:lnTo>
                  <a:lnTo>
                    <a:pt x="547878" y="357759"/>
                  </a:lnTo>
                  <a:lnTo>
                    <a:pt x="539591" y="368427"/>
                  </a:lnTo>
                  <a:lnTo>
                    <a:pt x="534924" y="368999"/>
                  </a:lnTo>
                  <a:lnTo>
                    <a:pt x="537305" y="375190"/>
                  </a:lnTo>
                  <a:lnTo>
                    <a:pt x="534543" y="378714"/>
                  </a:lnTo>
                  <a:lnTo>
                    <a:pt x="522827" y="375380"/>
                  </a:lnTo>
                  <a:lnTo>
                    <a:pt x="517112" y="368046"/>
                  </a:lnTo>
                  <a:lnTo>
                    <a:pt x="504825" y="360045"/>
                  </a:lnTo>
                  <a:lnTo>
                    <a:pt x="490633" y="361855"/>
                  </a:lnTo>
                  <a:lnTo>
                    <a:pt x="484727" y="365760"/>
                  </a:lnTo>
                  <a:lnTo>
                    <a:pt x="477298" y="369951"/>
                  </a:lnTo>
                  <a:lnTo>
                    <a:pt x="478250" y="377857"/>
                  </a:lnTo>
                  <a:lnTo>
                    <a:pt x="467201" y="379286"/>
                  </a:lnTo>
                  <a:lnTo>
                    <a:pt x="461296" y="383191"/>
                  </a:lnTo>
                  <a:lnTo>
                    <a:pt x="451199" y="379667"/>
                  </a:lnTo>
                  <a:lnTo>
                    <a:pt x="441389" y="377762"/>
                  </a:lnTo>
                  <a:lnTo>
                    <a:pt x="438436" y="379762"/>
                  </a:lnTo>
                  <a:lnTo>
                    <a:pt x="433292" y="377190"/>
                  </a:lnTo>
                  <a:lnTo>
                    <a:pt x="428530" y="377762"/>
                  </a:lnTo>
                  <a:lnTo>
                    <a:pt x="422434" y="380143"/>
                  </a:lnTo>
                  <a:lnTo>
                    <a:pt x="416909" y="387287"/>
                  </a:lnTo>
                  <a:lnTo>
                    <a:pt x="408813" y="386715"/>
                  </a:lnTo>
                  <a:lnTo>
                    <a:pt x="409861" y="394621"/>
                  </a:lnTo>
                  <a:lnTo>
                    <a:pt x="417576" y="404813"/>
                  </a:lnTo>
                  <a:lnTo>
                    <a:pt x="419767" y="409385"/>
                  </a:lnTo>
                  <a:lnTo>
                    <a:pt x="420910" y="418814"/>
                  </a:lnTo>
                  <a:lnTo>
                    <a:pt x="418147" y="422434"/>
                  </a:lnTo>
                  <a:lnTo>
                    <a:pt x="419005" y="428720"/>
                  </a:lnTo>
                  <a:lnTo>
                    <a:pt x="417576" y="430435"/>
                  </a:lnTo>
                  <a:lnTo>
                    <a:pt x="412718" y="429482"/>
                  </a:lnTo>
                  <a:lnTo>
                    <a:pt x="398716" y="445675"/>
                  </a:lnTo>
                  <a:lnTo>
                    <a:pt x="401288" y="453390"/>
                  </a:lnTo>
                  <a:lnTo>
                    <a:pt x="407575" y="452628"/>
                  </a:lnTo>
                  <a:lnTo>
                    <a:pt x="407194" y="462248"/>
                  </a:lnTo>
                  <a:lnTo>
                    <a:pt x="402908" y="466058"/>
                  </a:lnTo>
                  <a:lnTo>
                    <a:pt x="391858" y="467487"/>
                  </a:lnTo>
                  <a:lnTo>
                    <a:pt x="387477" y="471202"/>
                  </a:lnTo>
                  <a:lnTo>
                    <a:pt x="386906" y="479298"/>
                  </a:lnTo>
                  <a:lnTo>
                    <a:pt x="373761" y="489013"/>
                  </a:lnTo>
                  <a:lnTo>
                    <a:pt x="374142" y="492157"/>
                  </a:lnTo>
                  <a:lnTo>
                    <a:pt x="369856" y="495872"/>
                  </a:lnTo>
                  <a:lnTo>
                    <a:pt x="364331" y="503015"/>
                  </a:lnTo>
                  <a:lnTo>
                    <a:pt x="350329" y="493586"/>
                  </a:lnTo>
                  <a:lnTo>
                    <a:pt x="342233" y="493014"/>
                  </a:lnTo>
                  <a:lnTo>
                    <a:pt x="338614" y="490252"/>
                  </a:lnTo>
                  <a:lnTo>
                    <a:pt x="340233" y="490061"/>
                  </a:lnTo>
                  <a:lnTo>
                    <a:pt x="338233" y="487109"/>
                  </a:lnTo>
                  <a:lnTo>
                    <a:pt x="331756" y="486347"/>
                  </a:lnTo>
                  <a:lnTo>
                    <a:pt x="329946" y="484918"/>
                  </a:lnTo>
                  <a:lnTo>
                    <a:pt x="330899" y="480060"/>
                  </a:lnTo>
                  <a:lnTo>
                    <a:pt x="324326" y="466439"/>
                  </a:lnTo>
                  <a:lnTo>
                    <a:pt x="316611" y="456152"/>
                  </a:lnTo>
                  <a:lnTo>
                    <a:pt x="316039" y="451485"/>
                  </a:lnTo>
                  <a:lnTo>
                    <a:pt x="311087" y="450437"/>
                  </a:lnTo>
                  <a:lnTo>
                    <a:pt x="309753" y="452247"/>
                  </a:lnTo>
                  <a:lnTo>
                    <a:pt x="305943" y="447961"/>
                  </a:lnTo>
                  <a:lnTo>
                    <a:pt x="300799" y="445389"/>
                  </a:lnTo>
                  <a:lnTo>
                    <a:pt x="303657" y="467487"/>
                  </a:lnTo>
                  <a:lnTo>
                    <a:pt x="305848" y="471964"/>
                  </a:lnTo>
                  <a:lnTo>
                    <a:pt x="301466" y="475774"/>
                  </a:lnTo>
                  <a:lnTo>
                    <a:pt x="300514" y="480727"/>
                  </a:lnTo>
                  <a:lnTo>
                    <a:pt x="297561" y="482632"/>
                  </a:lnTo>
                  <a:lnTo>
                    <a:pt x="294418" y="483108"/>
                  </a:lnTo>
                  <a:lnTo>
                    <a:pt x="293084" y="484823"/>
                  </a:lnTo>
                  <a:lnTo>
                    <a:pt x="277463" y="488442"/>
                  </a:lnTo>
                  <a:lnTo>
                    <a:pt x="279464" y="491395"/>
                  </a:lnTo>
                  <a:lnTo>
                    <a:pt x="276701" y="494919"/>
                  </a:lnTo>
                  <a:lnTo>
                    <a:pt x="268605" y="494348"/>
                  </a:lnTo>
                  <a:lnTo>
                    <a:pt x="268986" y="497491"/>
                  </a:lnTo>
                  <a:lnTo>
                    <a:pt x="266224" y="501110"/>
                  </a:lnTo>
                  <a:lnTo>
                    <a:pt x="267081" y="507397"/>
                  </a:lnTo>
                  <a:lnTo>
                    <a:pt x="266510" y="515493"/>
                  </a:lnTo>
                  <a:lnTo>
                    <a:pt x="268224" y="516827"/>
                  </a:lnTo>
                  <a:lnTo>
                    <a:pt x="267652" y="524923"/>
                  </a:lnTo>
                  <a:lnTo>
                    <a:pt x="258413" y="527780"/>
                  </a:lnTo>
                  <a:lnTo>
                    <a:pt x="250317" y="527209"/>
                  </a:lnTo>
                  <a:lnTo>
                    <a:pt x="246031" y="530924"/>
                  </a:lnTo>
                  <a:lnTo>
                    <a:pt x="241268" y="518732"/>
                  </a:lnTo>
                  <a:lnTo>
                    <a:pt x="240792" y="515588"/>
                  </a:lnTo>
                  <a:lnTo>
                    <a:pt x="237077" y="511207"/>
                  </a:lnTo>
                  <a:lnTo>
                    <a:pt x="225838" y="511016"/>
                  </a:lnTo>
                  <a:lnTo>
                    <a:pt x="220504" y="506921"/>
                  </a:lnTo>
                  <a:lnTo>
                    <a:pt x="214789" y="512445"/>
                  </a:lnTo>
                  <a:lnTo>
                    <a:pt x="215360" y="517208"/>
                  </a:lnTo>
                  <a:lnTo>
                    <a:pt x="210883" y="519398"/>
                  </a:lnTo>
                  <a:lnTo>
                    <a:pt x="206693" y="524732"/>
                  </a:lnTo>
                  <a:lnTo>
                    <a:pt x="205359" y="526447"/>
                  </a:lnTo>
                  <a:lnTo>
                    <a:pt x="206312" y="534353"/>
                  </a:lnTo>
                  <a:lnTo>
                    <a:pt x="197834" y="543497"/>
                  </a:lnTo>
                  <a:lnTo>
                    <a:pt x="198501" y="548259"/>
                  </a:lnTo>
                  <a:lnTo>
                    <a:pt x="200692" y="552736"/>
                  </a:lnTo>
                  <a:lnTo>
                    <a:pt x="201454" y="559022"/>
                  </a:lnTo>
                  <a:lnTo>
                    <a:pt x="197168" y="562832"/>
                  </a:lnTo>
                  <a:lnTo>
                    <a:pt x="196120" y="567785"/>
                  </a:lnTo>
                  <a:lnTo>
                    <a:pt x="188309" y="581597"/>
                  </a:lnTo>
                  <a:lnTo>
                    <a:pt x="187738" y="589693"/>
                  </a:lnTo>
                  <a:lnTo>
                    <a:pt x="177260" y="595789"/>
                  </a:lnTo>
                  <a:lnTo>
                    <a:pt x="178879" y="608457"/>
                  </a:lnTo>
                  <a:lnTo>
                    <a:pt x="177546" y="610267"/>
                  </a:lnTo>
                  <a:lnTo>
                    <a:pt x="172593" y="609219"/>
                  </a:lnTo>
                  <a:lnTo>
                    <a:pt x="164497" y="608648"/>
                  </a:lnTo>
                  <a:lnTo>
                    <a:pt x="149257" y="602552"/>
                  </a:lnTo>
                  <a:lnTo>
                    <a:pt x="143351" y="606552"/>
                  </a:lnTo>
                  <a:lnTo>
                    <a:pt x="138398" y="605600"/>
                  </a:lnTo>
                  <a:lnTo>
                    <a:pt x="140779" y="598837"/>
                  </a:lnTo>
                  <a:lnTo>
                    <a:pt x="137255" y="596075"/>
                  </a:lnTo>
                  <a:lnTo>
                    <a:pt x="134874" y="589979"/>
                  </a:lnTo>
                  <a:lnTo>
                    <a:pt x="126016" y="595979"/>
                  </a:lnTo>
                  <a:lnTo>
                    <a:pt x="114586" y="607028"/>
                  </a:lnTo>
                  <a:lnTo>
                    <a:pt x="106680" y="607981"/>
                  </a:lnTo>
                  <a:lnTo>
                    <a:pt x="102299" y="611791"/>
                  </a:lnTo>
                  <a:lnTo>
                    <a:pt x="82772" y="609505"/>
                  </a:lnTo>
                  <a:lnTo>
                    <a:pt x="79057" y="605123"/>
                  </a:lnTo>
                  <a:lnTo>
                    <a:pt x="74866" y="597599"/>
                  </a:lnTo>
                  <a:lnTo>
                    <a:pt x="70295" y="599789"/>
                  </a:lnTo>
                  <a:lnTo>
                    <a:pt x="65437" y="598837"/>
                  </a:lnTo>
                  <a:lnTo>
                    <a:pt x="65246" y="610076"/>
                  </a:lnTo>
                  <a:lnTo>
                    <a:pt x="59150" y="625316"/>
                  </a:lnTo>
                  <a:lnTo>
                    <a:pt x="56864" y="644843"/>
                  </a:lnTo>
                  <a:lnTo>
                    <a:pt x="54864" y="654749"/>
                  </a:lnTo>
                  <a:lnTo>
                    <a:pt x="57626" y="663988"/>
                  </a:lnTo>
                  <a:lnTo>
                    <a:pt x="54102" y="674084"/>
                  </a:lnTo>
                  <a:lnTo>
                    <a:pt x="40957" y="683800"/>
                  </a:lnTo>
                  <a:lnTo>
                    <a:pt x="36766" y="689134"/>
                  </a:lnTo>
                  <a:lnTo>
                    <a:pt x="33242" y="699135"/>
                  </a:lnTo>
                  <a:lnTo>
                    <a:pt x="30289" y="701135"/>
                  </a:lnTo>
                  <a:lnTo>
                    <a:pt x="16574" y="706088"/>
                  </a:lnTo>
                  <a:lnTo>
                    <a:pt x="5524" y="707517"/>
                  </a:lnTo>
                  <a:lnTo>
                    <a:pt x="952" y="709708"/>
                  </a:lnTo>
                  <a:lnTo>
                    <a:pt x="0" y="714661"/>
                  </a:lnTo>
                  <a:lnTo>
                    <a:pt x="4858" y="715613"/>
                  </a:lnTo>
                  <a:lnTo>
                    <a:pt x="5143" y="717137"/>
                  </a:lnTo>
                  <a:lnTo>
                    <a:pt x="16954" y="722090"/>
                  </a:lnTo>
                  <a:lnTo>
                    <a:pt x="20955" y="727996"/>
                  </a:lnTo>
                  <a:lnTo>
                    <a:pt x="23336" y="734092"/>
                  </a:lnTo>
                  <a:lnTo>
                    <a:pt x="34099" y="731139"/>
                  </a:lnTo>
                  <a:lnTo>
                    <a:pt x="36100" y="734092"/>
                  </a:lnTo>
                  <a:lnTo>
                    <a:pt x="39052" y="732092"/>
                  </a:lnTo>
                  <a:lnTo>
                    <a:pt x="37909" y="735425"/>
                  </a:lnTo>
                  <a:lnTo>
                    <a:pt x="39719" y="736854"/>
                  </a:lnTo>
                  <a:lnTo>
                    <a:pt x="48577" y="730853"/>
                  </a:lnTo>
                  <a:lnTo>
                    <a:pt x="56197" y="728282"/>
                  </a:lnTo>
                  <a:lnTo>
                    <a:pt x="58864" y="735997"/>
                  </a:lnTo>
                  <a:lnTo>
                    <a:pt x="72676" y="743903"/>
                  </a:lnTo>
                  <a:lnTo>
                    <a:pt x="73628" y="738950"/>
                  </a:lnTo>
                  <a:lnTo>
                    <a:pt x="88201" y="740283"/>
                  </a:lnTo>
                  <a:lnTo>
                    <a:pt x="87820" y="737140"/>
                  </a:lnTo>
                  <a:lnTo>
                    <a:pt x="97155" y="747141"/>
                  </a:lnTo>
                  <a:lnTo>
                    <a:pt x="103632" y="747903"/>
                  </a:lnTo>
                  <a:lnTo>
                    <a:pt x="106585" y="745998"/>
                  </a:lnTo>
                  <a:lnTo>
                    <a:pt x="108395" y="747332"/>
                  </a:lnTo>
                  <a:lnTo>
                    <a:pt x="116300" y="759143"/>
                  </a:lnTo>
                  <a:lnTo>
                    <a:pt x="116491" y="760762"/>
                  </a:lnTo>
                  <a:lnTo>
                    <a:pt x="110204" y="761524"/>
                  </a:lnTo>
                  <a:lnTo>
                    <a:pt x="108204" y="771430"/>
                  </a:lnTo>
                  <a:lnTo>
                    <a:pt x="103727" y="773621"/>
                  </a:lnTo>
                  <a:lnTo>
                    <a:pt x="104299" y="778288"/>
                  </a:lnTo>
                  <a:lnTo>
                    <a:pt x="104299" y="778288"/>
                  </a:lnTo>
                  <a:lnTo>
                    <a:pt x="107251" y="776288"/>
                  </a:lnTo>
                  <a:lnTo>
                    <a:pt x="111062" y="780669"/>
                  </a:lnTo>
                  <a:lnTo>
                    <a:pt x="115729" y="780098"/>
                  </a:lnTo>
                  <a:lnTo>
                    <a:pt x="117539" y="781431"/>
                  </a:lnTo>
                  <a:lnTo>
                    <a:pt x="116205" y="783241"/>
                  </a:lnTo>
                  <a:lnTo>
                    <a:pt x="121253" y="785813"/>
                  </a:lnTo>
                  <a:lnTo>
                    <a:pt x="122682" y="784003"/>
                  </a:lnTo>
                  <a:lnTo>
                    <a:pt x="125825" y="783622"/>
                  </a:lnTo>
                  <a:lnTo>
                    <a:pt x="123634" y="779050"/>
                  </a:lnTo>
                  <a:lnTo>
                    <a:pt x="125254" y="778859"/>
                  </a:lnTo>
                  <a:lnTo>
                    <a:pt x="131159" y="774859"/>
                  </a:lnTo>
                  <a:lnTo>
                    <a:pt x="136112" y="775907"/>
                  </a:lnTo>
                  <a:lnTo>
                    <a:pt x="144208" y="776478"/>
                  </a:lnTo>
                  <a:lnTo>
                    <a:pt x="146304" y="780955"/>
                  </a:lnTo>
                  <a:lnTo>
                    <a:pt x="147923" y="780764"/>
                  </a:lnTo>
                  <a:lnTo>
                    <a:pt x="149733" y="782193"/>
                  </a:lnTo>
                  <a:lnTo>
                    <a:pt x="154400" y="781526"/>
                  </a:lnTo>
                  <a:lnTo>
                    <a:pt x="157829" y="782765"/>
                  </a:lnTo>
                  <a:lnTo>
                    <a:pt x="167259" y="781526"/>
                  </a:lnTo>
                  <a:lnTo>
                    <a:pt x="167830" y="786289"/>
                  </a:lnTo>
                  <a:lnTo>
                    <a:pt x="170402" y="781145"/>
                  </a:lnTo>
                  <a:lnTo>
                    <a:pt x="175355" y="782098"/>
                  </a:lnTo>
                  <a:lnTo>
                    <a:pt x="179451" y="776764"/>
                  </a:lnTo>
                  <a:lnTo>
                    <a:pt x="185642" y="774383"/>
                  </a:lnTo>
                  <a:lnTo>
                    <a:pt x="185833" y="776002"/>
                  </a:lnTo>
                  <a:lnTo>
                    <a:pt x="183261" y="781050"/>
                  </a:lnTo>
                  <a:lnTo>
                    <a:pt x="193548" y="786194"/>
                  </a:lnTo>
                  <a:lnTo>
                    <a:pt x="196691" y="798576"/>
                  </a:lnTo>
                  <a:lnTo>
                    <a:pt x="203645" y="802576"/>
                  </a:lnTo>
                  <a:lnTo>
                    <a:pt x="200882" y="806101"/>
                  </a:lnTo>
                  <a:lnTo>
                    <a:pt x="203454" y="813816"/>
                  </a:lnTo>
                  <a:lnTo>
                    <a:pt x="202025" y="815531"/>
                  </a:lnTo>
                  <a:lnTo>
                    <a:pt x="202501" y="818769"/>
                  </a:lnTo>
                  <a:lnTo>
                    <a:pt x="197929" y="820865"/>
                  </a:lnTo>
                  <a:lnTo>
                    <a:pt x="194977" y="822865"/>
                  </a:lnTo>
                  <a:lnTo>
                    <a:pt x="194977" y="822865"/>
                  </a:lnTo>
                  <a:lnTo>
                    <a:pt x="192214" y="826484"/>
                  </a:lnTo>
                  <a:lnTo>
                    <a:pt x="192595" y="829628"/>
                  </a:lnTo>
                  <a:lnTo>
                    <a:pt x="194596" y="832580"/>
                  </a:lnTo>
                  <a:lnTo>
                    <a:pt x="193453" y="835914"/>
                  </a:lnTo>
                  <a:lnTo>
                    <a:pt x="196596" y="835533"/>
                  </a:lnTo>
                  <a:lnTo>
                    <a:pt x="195643" y="840486"/>
                  </a:lnTo>
                  <a:lnTo>
                    <a:pt x="200597" y="841439"/>
                  </a:lnTo>
                  <a:lnTo>
                    <a:pt x="199739" y="847916"/>
                  </a:lnTo>
                  <a:lnTo>
                    <a:pt x="198215" y="848106"/>
                  </a:lnTo>
                  <a:lnTo>
                    <a:pt x="193643" y="850297"/>
                  </a:lnTo>
                  <a:lnTo>
                    <a:pt x="194310" y="855059"/>
                  </a:lnTo>
                  <a:lnTo>
                    <a:pt x="195834" y="854869"/>
                  </a:lnTo>
                  <a:lnTo>
                    <a:pt x="193262" y="860012"/>
                  </a:lnTo>
                  <a:lnTo>
                    <a:pt x="190119" y="860393"/>
                  </a:lnTo>
                  <a:lnTo>
                    <a:pt x="191929" y="861727"/>
                  </a:lnTo>
                  <a:lnTo>
                    <a:pt x="189928" y="871633"/>
                  </a:lnTo>
                  <a:lnTo>
                    <a:pt x="186785" y="872014"/>
                  </a:lnTo>
                  <a:lnTo>
                    <a:pt x="186976" y="873633"/>
                  </a:lnTo>
                  <a:lnTo>
                    <a:pt x="190214" y="873252"/>
                  </a:lnTo>
                  <a:lnTo>
                    <a:pt x="200025" y="875157"/>
                  </a:lnTo>
                  <a:lnTo>
                    <a:pt x="197453" y="880301"/>
                  </a:lnTo>
                  <a:lnTo>
                    <a:pt x="196501" y="885253"/>
                  </a:lnTo>
                  <a:lnTo>
                    <a:pt x="199835" y="886397"/>
                  </a:lnTo>
                  <a:lnTo>
                    <a:pt x="201073" y="895922"/>
                  </a:lnTo>
                  <a:lnTo>
                    <a:pt x="202120" y="903732"/>
                  </a:lnTo>
                  <a:lnTo>
                    <a:pt x="199168" y="905732"/>
                  </a:lnTo>
                  <a:lnTo>
                    <a:pt x="194405" y="906399"/>
                  </a:lnTo>
                  <a:lnTo>
                    <a:pt x="191643" y="909923"/>
                  </a:lnTo>
                  <a:lnTo>
                    <a:pt x="193453" y="911257"/>
                  </a:lnTo>
                  <a:lnTo>
                    <a:pt x="192024" y="913067"/>
                  </a:lnTo>
                  <a:lnTo>
                    <a:pt x="196405" y="922115"/>
                  </a:lnTo>
                  <a:lnTo>
                    <a:pt x="199739" y="923353"/>
                  </a:lnTo>
                  <a:lnTo>
                    <a:pt x="205835" y="920972"/>
                  </a:lnTo>
                  <a:lnTo>
                    <a:pt x="207454" y="920687"/>
                  </a:lnTo>
                  <a:lnTo>
                    <a:pt x="207835" y="923925"/>
                  </a:lnTo>
                  <a:lnTo>
                    <a:pt x="214598" y="926211"/>
                  </a:lnTo>
                  <a:lnTo>
                    <a:pt x="213170" y="928021"/>
                  </a:lnTo>
                  <a:lnTo>
                    <a:pt x="210217" y="930021"/>
                  </a:lnTo>
                  <a:lnTo>
                    <a:pt x="212217" y="932974"/>
                  </a:lnTo>
                  <a:lnTo>
                    <a:pt x="210883" y="934688"/>
                  </a:lnTo>
                  <a:lnTo>
                    <a:pt x="209455" y="936498"/>
                  </a:lnTo>
                  <a:lnTo>
                    <a:pt x="210312" y="942880"/>
                  </a:lnTo>
                  <a:lnTo>
                    <a:pt x="203930" y="943642"/>
                  </a:lnTo>
                  <a:lnTo>
                    <a:pt x="204787" y="949928"/>
                  </a:lnTo>
                  <a:lnTo>
                    <a:pt x="213074" y="952119"/>
                  </a:lnTo>
                  <a:lnTo>
                    <a:pt x="216218" y="951738"/>
                  </a:lnTo>
                  <a:lnTo>
                    <a:pt x="216408" y="953262"/>
                  </a:lnTo>
                  <a:lnTo>
                    <a:pt x="212312" y="958596"/>
                  </a:lnTo>
                  <a:lnTo>
                    <a:pt x="215646" y="959834"/>
                  </a:lnTo>
                  <a:lnTo>
                    <a:pt x="217170" y="959549"/>
                  </a:lnTo>
                  <a:lnTo>
                    <a:pt x="224314" y="965073"/>
                  </a:lnTo>
                  <a:lnTo>
                    <a:pt x="221742" y="970217"/>
                  </a:lnTo>
                  <a:lnTo>
                    <a:pt x="221742" y="970217"/>
                  </a:lnTo>
                  <a:lnTo>
                    <a:pt x="227362" y="975932"/>
                  </a:lnTo>
                  <a:lnTo>
                    <a:pt x="228314" y="983837"/>
                  </a:lnTo>
                  <a:lnTo>
                    <a:pt x="230124" y="985171"/>
                  </a:lnTo>
                  <a:lnTo>
                    <a:pt x="229362" y="991743"/>
                  </a:lnTo>
                  <a:lnTo>
                    <a:pt x="226600" y="995267"/>
                  </a:lnTo>
                  <a:lnTo>
                    <a:pt x="236220" y="995648"/>
                  </a:lnTo>
                  <a:lnTo>
                    <a:pt x="233077" y="1008888"/>
                  </a:lnTo>
                  <a:lnTo>
                    <a:pt x="224790" y="1006697"/>
                  </a:lnTo>
                  <a:lnTo>
                    <a:pt x="220313" y="1008888"/>
                  </a:lnTo>
                  <a:lnTo>
                    <a:pt x="221837" y="1008698"/>
                  </a:lnTo>
                  <a:lnTo>
                    <a:pt x="220885" y="1013651"/>
                  </a:lnTo>
                  <a:lnTo>
                    <a:pt x="229362" y="1017365"/>
                  </a:lnTo>
                  <a:lnTo>
                    <a:pt x="229743" y="1020509"/>
                  </a:lnTo>
                  <a:lnTo>
                    <a:pt x="228219" y="1020699"/>
                  </a:lnTo>
                  <a:lnTo>
                    <a:pt x="233362" y="1023271"/>
                  </a:lnTo>
                  <a:lnTo>
                    <a:pt x="230410" y="1025271"/>
                  </a:lnTo>
                  <a:lnTo>
                    <a:pt x="232791" y="1031367"/>
                  </a:lnTo>
                  <a:lnTo>
                    <a:pt x="229648" y="1031748"/>
                  </a:lnTo>
                  <a:lnTo>
                    <a:pt x="220885" y="1026509"/>
                  </a:lnTo>
                  <a:lnTo>
                    <a:pt x="223837" y="1024509"/>
                  </a:lnTo>
                  <a:lnTo>
                    <a:pt x="220504" y="1023271"/>
                  </a:lnTo>
                  <a:lnTo>
                    <a:pt x="219170" y="1025081"/>
                  </a:lnTo>
                  <a:lnTo>
                    <a:pt x="217360" y="1023747"/>
                  </a:lnTo>
                  <a:lnTo>
                    <a:pt x="217551" y="1025271"/>
                  </a:lnTo>
                  <a:lnTo>
                    <a:pt x="209074" y="1021556"/>
                  </a:lnTo>
                  <a:lnTo>
                    <a:pt x="207931" y="1024890"/>
                  </a:lnTo>
                  <a:lnTo>
                    <a:pt x="207740" y="1023366"/>
                  </a:lnTo>
                  <a:lnTo>
                    <a:pt x="200025" y="1025938"/>
                  </a:lnTo>
                  <a:lnTo>
                    <a:pt x="198787" y="1029272"/>
                  </a:lnTo>
                  <a:lnTo>
                    <a:pt x="202216" y="1030415"/>
                  </a:lnTo>
                  <a:lnTo>
                    <a:pt x="200977" y="1033844"/>
                  </a:lnTo>
                  <a:lnTo>
                    <a:pt x="193072" y="1034796"/>
                  </a:lnTo>
                  <a:lnTo>
                    <a:pt x="196691" y="1037558"/>
                  </a:lnTo>
                  <a:lnTo>
                    <a:pt x="199835" y="1037177"/>
                  </a:lnTo>
                  <a:lnTo>
                    <a:pt x="205549" y="1044416"/>
                  </a:lnTo>
                  <a:lnTo>
                    <a:pt x="208121" y="1039368"/>
                  </a:lnTo>
                  <a:lnTo>
                    <a:pt x="213455" y="1043464"/>
                  </a:lnTo>
                  <a:lnTo>
                    <a:pt x="221170" y="1040892"/>
                  </a:lnTo>
                  <a:lnTo>
                    <a:pt x="226124" y="1041845"/>
                  </a:lnTo>
                  <a:lnTo>
                    <a:pt x="228505" y="1047941"/>
                  </a:lnTo>
                  <a:lnTo>
                    <a:pt x="228695" y="1049560"/>
                  </a:lnTo>
                  <a:lnTo>
                    <a:pt x="235553" y="1053465"/>
                  </a:lnTo>
                  <a:lnTo>
                    <a:pt x="231076" y="1055656"/>
                  </a:lnTo>
                  <a:lnTo>
                    <a:pt x="229648" y="1057466"/>
                  </a:lnTo>
                  <a:lnTo>
                    <a:pt x="237553" y="1056418"/>
                  </a:lnTo>
                  <a:lnTo>
                    <a:pt x="239363" y="1057847"/>
                  </a:lnTo>
                  <a:lnTo>
                    <a:pt x="240983" y="1070420"/>
                  </a:lnTo>
                  <a:lnTo>
                    <a:pt x="239744" y="1073753"/>
                  </a:lnTo>
                  <a:lnTo>
                    <a:pt x="243173" y="1074992"/>
                  </a:lnTo>
                  <a:lnTo>
                    <a:pt x="246126" y="1072991"/>
                  </a:lnTo>
                  <a:lnTo>
                    <a:pt x="259080" y="1074515"/>
                  </a:lnTo>
                  <a:lnTo>
                    <a:pt x="258699" y="1071372"/>
                  </a:lnTo>
                  <a:lnTo>
                    <a:pt x="260318" y="1071182"/>
                  </a:lnTo>
                  <a:lnTo>
                    <a:pt x="261461" y="1080611"/>
                  </a:lnTo>
                  <a:lnTo>
                    <a:pt x="259366" y="1088898"/>
                  </a:lnTo>
                  <a:lnTo>
                    <a:pt x="265843" y="1089660"/>
                  </a:lnTo>
                  <a:lnTo>
                    <a:pt x="268414" y="1084517"/>
                  </a:lnTo>
                  <a:lnTo>
                    <a:pt x="271558" y="1084136"/>
                  </a:lnTo>
                  <a:lnTo>
                    <a:pt x="272510" y="1079183"/>
                  </a:lnTo>
                  <a:lnTo>
                    <a:pt x="273749" y="1075849"/>
                  </a:lnTo>
                  <a:lnTo>
                    <a:pt x="276892" y="1075468"/>
                  </a:lnTo>
                  <a:lnTo>
                    <a:pt x="281178" y="1071753"/>
                  </a:lnTo>
                  <a:lnTo>
                    <a:pt x="283178" y="1074706"/>
                  </a:lnTo>
                  <a:lnTo>
                    <a:pt x="280035" y="1075087"/>
                  </a:lnTo>
                  <a:lnTo>
                    <a:pt x="278701" y="1076801"/>
                  </a:lnTo>
                  <a:lnTo>
                    <a:pt x="283750" y="1079373"/>
                  </a:lnTo>
                  <a:lnTo>
                    <a:pt x="282988" y="1085945"/>
                  </a:lnTo>
                  <a:lnTo>
                    <a:pt x="286226" y="1085469"/>
                  </a:lnTo>
                  <a:lnTo>
                    <a:pt x="287941" y="1086898"/>
                  </a:lnTo>
                  <a:lnTo>
                    <a:pt x="291084" y="1086517"/>
                  </a:lnTo>
                  <a:lnTo>
                    <a:pt x="291179" y="1099280"/>
                  </a:lnTo>
                  <a:lnTo>
                    <a:pt x="296323" y="1101852"/>
                  </a:lnTo>
                  <a:lnTo>
                    <a:pt x="302228" y="1097852"/>
                  </a:lnTo>
                  <a:lnTo>
                    <a:pt x="305372" y="1097471"/>
                  </a:lnTo>
                  <a:lnTo>
                    <a:pt x="308705" y="1098709"/>
                  </a:lnTo>
                  <a:lnTo>
                    <a:pt x="308515" y="1097090"/>
                  </a:lnTo>
                  <a:lnTo>
                    <a:pt x="314611" y="1094708"/>
                  </a:lnTo>
                  <a:lnTo>
                    <a:pt x="315373" y="1088231"/>
                  </a:lnTo>
                  <a:lnTo>
                    <a:pt x="317183" y="1089565"/>
                  </a:lnTo>
                  <a:lnTo>
                    <a:pt x="317945" y="1083088"/>
                  </a:lnTo>
                  <a:lnTo>
                    <a:pt x="315944" y="1080135"/>
                  </a:lnTo>
                  <a:lnTo>
                    <a:pt x="320326" y="1076325"/>
                  </a:lnTo>
                  <a:lnTo>
                    <a:pt x="323660" y="1077563"/>
                  </a:lnTo>
                  <a:lnTo>
                    <a:pt x="326422" y="1073944"/>
                  </a:lnTo>
                  <a:lnTo>
                    <a:pt x="329565" y="1073563"/>
                  </a:lnTo>
                  <a:lnTo>
                    <a:pt x="330327" y="1067086"/>
                  </a:lnTo>
                  <a:lnTo>
                    <a:pt x="340043" y="1067467"/>
                  </a:lnTo>
                  <a:lnTo>
                    <a:pt x="340043" y="1067467"/>
                  </a:lnTo>
                  <a:lnTo>
                    <a:pt x="340233" y="1068991"/>
                  </a:lnTo>
                  <a:lnTo>
                    <a:pt x="350234" y="1072515"/>
                  </a:lnTo>
                  <a:lnTo>
                    <a:pt x="354997" y="1071944"/>
                  </a:lnTo>
                  <a:lnTo>
                    <a:pt x="355949" y="1066991"/>
                  </a:lnTo>
                  <a:lnTo>
                    <a:pt x="354235" y="1065657"/>
                  </a:lnTo>
                  <a:lnTo>
                    <a:pt x="355378" y="1062228"/>
                  </a:lnTo>
                  <a:lnTo>
                    <a:pt x="357187" y="1063657"/>
                  </a:lnTo>
                  <a:lnTo>
                    <a:pt x="361855" y="1062990"/>
                  </a:lnTo>
                  <a:lnTo>
                    <a:pt x="360712" y="1053560"/>
                  </a:lnTo>
                  <a:lnTo>
                    <a:pt x="360521" y="1051941"/>
                  </a:lnTo>
                  <a:lnTo>
                    <a:pt x="360902" y="1042321"/>
                  </a:lnTo>
                  <a:lnTo>
                    <a:pt x="361283" y="1045464"/>
                  </a:lnTo>
                  <a:lnTo>
                    <a:pt x="362617" y="1043654"/>
                  </a:lnTo>
                  <a:lnTo>
                    <a:pt x="364808" y="1048226"/>
                  </a:lnTo>
                  <a:lnTo>
                    <a:pt x="369760" y="1049179"/>
                  </a:lnTo>
                  <a:lnTo>
                    <a:pt x="374714" y="1050131"/>
                  </a:lnTo>
                  <a:lnTo>
                    <a:pt x="375666" y="1045274"/>
                  </a:lnTo>
                  <a:lnTo>
                    <a:pt x="374904" y="1038892"/>
                  </a:lnTo>
                  <a:lnTo>
                    <a:pt x="374047" y="1032605"/>
                  </a:lnTo>
                  <a:lnTo>
                    <a:pt x="368903" y="1030034"/>
                  </a:lnTo>
                  <a:lnTo>
                    <a:pt x="368903" y="1030034"/>
                  </a:lnTo>
                  <a:lnTo>
                    <a:pt x="378428" y="1028891"/>
                  </a:lnTo>
                  <a:lnTo>
                    <a:pt x="379381" y="1023938"/>
                  </a:lnTo>
                  <a:lnTo>
                    <a:pt x="374809" y="1013270"/>
                  </a:lnTo>
                  <a:lnTo>
                    <a:pt x="377571" y="1009745"/>
                  </a:lnTo>
                  <a:lnTo>
                    <a:pt x="374999" y="1002030"/>
                  </a:lnTo>
                  <a:lnTo>
                    <a:pt x="378714" y="1006316"/>
                  </a:lnTo>
                  <a:lnTo>
                    <a:pt x="378524" y="1004792"/>
                  </a:lnTo>
                  <a:lnTo>
                    <a:pt x="386429" y="1003745"/>
                  </a:lnTo>
                  <a:lnTo>
                    <a:pt x="389382" y="1001840"/>
                  </a:lnTo>
                  <a:lnTo>
                    <a:pt x="389191" y="1000220"/>
                  </a:lnTo>
                  <a:lnTo>
                    <a:pt x="392335" y="999839"/>
                  </a:lnTo>
                  <a:lnTo>
                    <a:pt x="392335" y="999839"/>
                  </a:lnTo>
                  <a:lnTo>
                    <a:pt x="391954" y="996696"/>
                  </a:lnTo>
                  <a:lnTo>
                    <a:pt x="396621" y="996029"/>
                  </a:lnTo>
                  <a:lnTo>
                    <a:pt x="394906" y="994696"/>
                  </a:lnTo>
                  <a:lnTo>
                    <a:pt x="394049" y="988409"/>
                  </a:lnTo>
                  <a:lnTo>
                    <a:pt x="395668" y="988124"/>
                  </a:lnTo>
                  <a:lnTo>
                    <a:pt x="399002" y="989362"/>
                  </a:lnTo>
                  <a:lnTo>
                    <a:pt x="400145" y="986028"/>
                  </a:lnTo>
                  <a:lnTo>
                    <a:pt x="406527" y="985171"/>
                  </a:lnTo>
                  <a:lnTo>
                    <a:pt x="408813" y="978503"/>
                  </a:lnTo>
                  <a:lnTo>
                    <a:pt x="416528" y="975932"/>
                  </a:lnTo>
                  <a:lnTo>
                    <a:pt x="419672" y="975455"/>
                  </a:lnTo>
                  <a:lnTo>
                    <a:pt x="419481" y="973931"/>
                  </a:lnTo>
                  <a:lnTo>
                    <a:pt x="422434" y="971931"/>
                  </a:lnTo>
                  <a:lnTo>
                    <a:pt x="422434" y="971931"/>
                  </a:lnTo>
                  <a:lnTo>
                    <a:pt x="430149" y="982123"/>
                  </a:lnTo>
                  <a:lnTo>
                    <a:pt x="433578" y="983361"/>
                  </a:lnTo>
                  <a:lnTo>
                    <a:pt x="436531" y="981361"/>
                  </a:lnTo>
                  <a:lnTo>
                    <a:pt x="444341" y="980313"/>
                  </a:lnTo>
                  <a:lnTo>
                    <a:pt x="451485" y="973074"/>
                  </a:lnTo>
                  <a:lnTo>
                    <a:pt x="456629" y="975551"/>
                  </a:lnTo>
                  <a:lnTo>
                    <a:pt x="456152" y="972407"/>
                  </a:lnTo>
                  <a:lnTo>
                    <a:pt x="469583" y="964311"/>
                  </a:lnTo>
                  <a:lnTo>
                    <a:pt x="465391" y="956786"/>
                  </a:lnTo>
                  <a:lnTo>
                    <a:pt x="473774" y="958977"/>
                  </a:lnTo>
                  <a:lnTo>
                    <a:pt x="476726" y="956977"/>
                  </a:lnTo>
                  <a:lnTo>
                    <a:pt x="480441" y="948500"/>
                  </a:lnTo>
                  <a:lnTo>
                    <a:pt x="478631" y="947166"/>
                  </a:lnTo>
                  <a:lnTo>
                    <a:pt x="479965" y="945356"/>
                  </a:lnTo>
                  <a:lnTo>
                    <a:pt x="480251" y="946880"/>
                  </a:lnTo>
                  <a:lnTo>
                    <a:pt x="484918" y="946309"/>
                  </a:lnTo>
                  <a:lnTo>
                    <a:pt x="489109" y="940975"/>
                  </a:lnTo>
                  <a:lnTo>
                    <a:pt x="501491" y="924973"/>
                  </a:lnTo>
                  <a:lnTo>
                    <a:pt x="503491" y="927926"/>
                  </a:lnTo>
                  <a:lnTo>
                    <a:pt x="502063" y="929735"/>
                  </a:lnTo>
                  <a:lnTo>
                    <a:pt x="502063" y="942499"/>
                  </a:lnTo>
                  <a:lnTo>
                    <a:pt x="511397" y="939737"/>
                  </a:lnTo>
                  <a:lnTo>
                    <a:pt x="514731" y="940880"/>
                  </a:lnTo>
                  <a:lnTo>
                    <a:pt x="520065" y="945071"/>
                  </a:lnTo>
                  <a:lnTo>
                    <a:pt x="523208" y="944690"/>
                  </a:lnTo>
                  <a:lnTo>
                    <a:pt x="533876" y="940118"/>
                  </a:lnTo>
                  <a:lnTo>
                    <a:pt x="551593" y="941070"/>
                  </a:lnTo>
                  <a:lnTo>
                    <a:pt x="556736" y="943547"/>
                  </a:lnTo>
                  <a:lnTo>
                    <a:pt x="559118" y="936879"/>
                  </a:lnTo>
                  <a:lnTo>
                    <a:pt x="559879" y="930307"/>
                  </a:lnTo>
                  <a:lnTo>
                    <a:pt x="561880" y="933355"/>
                  </a:lnTo>
                  <a:lnTo>
                    <a:pt x="565595" y="924782"/>
                  </a:lnTo>
                  <a:lnTo>
                    <a:pt x="567595" y="927735"/>
                  </a:lnTo>
                  <a:lnTo>
                    <a:pt x="566833" y="934307"/>
                  </a:lnTo>
                  <a:lnTo>
                    <a:pt x="569976" y="933926"/>
                  </a:lnTo>
                  <a:lnTo>
                    <a:pt x="572548" y="928783"/>
                  </a:lnTo>
                  <a:lnTo>
                    <a:pt x="575691" y="928307"/>
                  </a:lnTo>
                  <a:lnTo>
                    <a:pt x="583978" y="917639"/>
                  </a:lnTo>
                  <a:lnTo>
                    <a:pt x="589407" y="910590"/>
                  </a:lnTo>
                  <a:lnTo>
                    <a:pt x="591788" y="903827"/>
                  </a:lnTo>
                  <a:lnTo>
                    <a:pt x="594931" y="903446"/>
                  </a:lnTo>
                  <a:lnTo>
                    <a:pt x="600837" y="899446"/>
                  </a:lnTo>
                  <a:lnTo>
                    <a:pt x="603980" y="899065"/>
                  </a:lnTo>
                  <a:lnTo>
                    <a:pt x="607981" y="904970"/>
                  </a:lnTo>
                  <a:lnTo>
                    <a:pt x="609124" y="901637"/>
                  </a:lnTo>
                  <a:lnTo>
                    <a:pt x="610933" y="902970"/>
                  </a:lnTo>
                  <a:lnTo>
                    <a:pt x="617506" y="916591"/>
                  </a:lnTo>
                  <a:lnTo>
                    <a:pt x="616744" y="923163"/>
                  </a:lnTo>
                  <a:lnTo>
                    <a:pt x="618649" y="926116"/>
                  </a:lnTo>
                  <a:lnTo>
                    <a:pt x="618649" y="926116"/>
                  </a:lnTo>
                  <a:lnTo>
                    <a:pt x="635794" y="922306"/>
                  </a:lnTo>
                  <a:lnTo>
                    <a:pt x="636175" y="912590"/>
                  </a:lnTo>
                  <a:lnTo>
                    <a:pt x="639127" y="910590"/>
                  </a:lnTo>
                  <a:lnTo>
                    <a:pt x="636746" y="904494"/>
                  </a:lnTo>
                  <a:lnTo>
                    <a:pt x="642461" y="898970"/>
                  </a:lnTo>
                  <a:lnTo>
                    <a:pt x="646462" y="892112"/>
                  </a:lnTo>
                  <a:lnTo>
                    <a:pt x="652748" y="891254"/>
                  </a:lnTo>
                  <a:lnTo>
                    <a:pt x="668274" y="887635"/>
                  </a:lnTo>
                  <a:lnTo>
                    <a:pt x="671513" y="887254"/>
                  </a:lnTo>
                  <a:lnTo>
                    <a:pt x="670274" y="890588"/>
                  </a:lnTo>
                  <a:lnTo>
                    <a:pt x="679323" y="886301"/>
                  </a:lnTo>
                  <a:lnTo>
                    <a:pt x="680561" y="882872"/>
                  </a:lnTo>
                  <a:lnTo>
                    <a:pt x="685228" y="882301"/>
                  </a:lnTo>
                  <a:lnTo>
                    <a:pt x="689801" y="880110"/>
                  </a:lnTo>
                  <a:lnTo>
                    <a:pt x="690563" y="873633"/>
                  </a:lnTo>
                  <a:lnTo>
                    <a:pt x="693706" y="873252"/>
                  </a:lnTo>
                  <a:lnTo>
                    <a:pt x="693515" y="871633"/>
                  </a:lnTo>
                  <a:lnTo>
                    <a:pt x="696849" y="872776"/>
                  </a:lnTo>
                  <a:lnTo>
                    <a:pt x="699611" y="869251"/>
                  </a:lnTo>
                  <a:lnTo>
                    <a:pt x="700850" y="865918"/>
                  </a:lnTo>
                  <a:lnTo>
                    <a:pt x="699230" y="853250"/>
                  </a:lnTo>
                  <a:lnTo>
                    <a:pt x="696087" y="853631"/>
                  </a:lnTo>
                  <a:lnTo>
                    <a:pt x="697611" y="853440"/>
                  </a:lnTo>
                  <a:lnTo>
                    <a:pt x="697421" y="851916"/>
                  </a:lnTo>
                  <a:lnTo>
                    <a:pt x="703993" y="852678"/>
                  </a:lnTo>
                  <a:lnTo>
                    <a:pt x="704183" y="854202"/>
                  </a:lnTo>
                  <a:lnTo>
                    <a:pt x="710470" y="853440"/>
                  </a:lnTo>
                  <a:lnTo>
                    <a:pt x="710851" y="856583"/>
                  </a:lnTo>
                  <a:lnTo>
                    <a:pt x="723710" y="856583"/>
                  </a:lnTo>
                  <a:lnTo>
                    <a:pt x="726853" y="856202"/>
                  </a:lnTo>
                  <a:lnTo>
                    <a:pt x="726662" y="854583"/>
                  </a:lnTo>
                  <a:lnTo>
                    <a:pt x="724662" y="851630"/>
                  </a:lnTo>
                  <a:lnTo>
                    <a:pt x="726281" y="851440"/>
                  </a:lnTo>
                  <a:lnTo>
                    <a:pt x="725996" y="849821"/>
                  </a:lnTo>
                  <a:lnTo>
                    <a:pt x="724281" y="848487"/>
                  </a:lnTo>
                  <a:lnTo>
                    <a:pt x="726567" y="841724"/>
                  </a:lnTo>
                  <a:lnTo>
                    <a:pt x="722662" y="835819"/>
                  </a:lnTo>
                  <a:lnTo>
                    <a:pt x="719519" y="836295"/>
                  </a:lnTo>
                  <a:lnTo>
                    <a:pt x="717709" y="822008"/>
                  </a:lnTo>
                  <a:lnTo>
                    <a:pt x="725424" y="819436"/>
                  </a:lnTo>
                  <a:lnTo>
                    <a:pt x="723614" y="818102"/>
                  </a:lnTo>
                  <a:lnTo>
                    <a:pt x="728377" y="817531"/>
                  </a:lnTo>
                  <a:lnTo>
                    <a:pt x="730853" y="812387"/>
                  </a:lnTo>
                  <a:lnTo>
                    <a:pt x="733997" y="811911"/>
                  </a:lnTo>
                  <a:lnTo>
                    <a:pt x="736759" y="808387"/>
                  </a:lnTo>
                  <a:lnTo>
                    <a:pt x="744474" y="805815"/>
                  </a:lnTo>
                  <a:lnTo>
                    <a:pt x="750189" y="813054"/>
                  </a:lnTo>
                  <a:lnTo>
                    <a:pt x="753618" y="814292"/>
                  </a:lnTo>
                  <a:lnTo>
                    <a:pt x="752951" y="809530"/>
                  </a:lnTo>
                  <a:lnTo>
                    <a:pt x="756094" y="809149"/>
                  </a:lnTo>
                  <a:lnTo>
                    <a:pt x="755904" y="807530"/>
                  </a:lnTo>
                  <a:lnTo>
                    <a:pt x="768001" y="814007"/>
                  </a:lnTo>
                  <a:lnTo>
                    <a:pt x="777811" y="816007"/>
                  </a:lnTo>
                  <a:lnTo>
                    <a:pt x="779812" y="818960"/>
                  </a:lnTo>
                  <a:lnTo>
                    <a:pt x="782955" y="818578"/>
                  </a:lnTo>
                  <a:lnTo>
                    <a:pt x="783431" y="821722"/>
                  </a:lnTo>
                  <a:lnTo>
                    <a:pt x="784955" y="821531"/>
                  </a:lnTo>
                  <a:lnTo>
                    <a:pt x="797814" y="821436"/>
                  </a:lnTo>
                  <a:lnTo>
                    <a:pt x="812197" y="821246"/>
                  </a:lnTo>
                  <a:lnTo>
                    <a:pt x="812578" y="824389"/>
                  </a:lnTo>
                  <a:lnTo>
                    <a:pt x="819150" y="825151"/>
                  </a:lnTo>
                  <a:lnTo>
                    <a:pt x="828770" y="825532"/>
                  </a:lnTo>
                  <a:lnTo>
                    <a:pt x="830580" y="826865"/>
                  </a:lnTo>
                  <a:lnTo>
                    <a:pt x="831914" y="825151"/>
                  </a:lnTo>
                  <a:lnTo>
                    <a:pt x="847725" y="823151"/>
                  </a:lnTo>
                  <a:lnTo>
                    <a:pt x="849059" y="821341"/>
                  </a:lnTo>
                  <a:lnTo>
                    <a:pt x="857440" y="823532"/>
                  </a:lnTo>
                  <a:lnTo>
                    <a:pt x="859727" y="816769"/>
                  </a:lnTo>
                  <a:lnTo>
                    <a:pt x="857536" y="812197"/>
                  </a:lnTo>
                  <a:lnTo>
                    <a:pt x="867632" y="815816"/>
                  </a:lnTo>
                  <a:lnTo>
                    <a:pt x="866299" y="817531"/>
                  </a:lnTo>
                  <a:lnTo>
                    <a:pt x="870204" y="823436"/>
                  </a:lnTo>
                  <a:lnTo>
                    <a:pt x="871442" y="820103"/>
                  </a:lnTo>
                  <a:lnTo>
                    <a:pt x="878300" y="824008"/>
                  </a:lnTo>
                  <a:lnTo>
                    <a:pt x="877919" y="820865"/>
                  </a:lnTo>
                  <a:lnTo>
                    <a:pt x="881253" y="822008"/>
                  </a:lnTo>
                  <a:lnTo>
                    <a:pt x="882206" y="817150"/>
                  </a:lnTo>
                  <a:lnTo>
                    <a:pt x="897827" y="826389"/>
                  </a:lnTo>
                  <a:lnTo>
                    <a:pt x="902780" y="827342"/>
                  </a:lnTo>
                  <a:lnTo>
                    <a:pt x="903160" y="830485"/>
                  </a:lnTo>
                  <a:lnTo>
                    <a:pt x="904970" y="831818"/>
                  </a:lnTo>
                  <a:lnTo>
                    <a:pt x="908494" y="821817"/>
                  </a:lnTo>
                  <a:lnTo>
                    <a:pt x="910114" y="821626"/>
                  </a:lnTo>
                  <a:lnTo>
                    <a:pt x="914400" y="817817"/>
                  </a:lnTo>
                  <a:lnTo>
                    <a:pt x="914019" y="814673"/>
                  </a:lnTo>
                  <a:lnTo>
                    <a:pt x="917734" y="806196"/>
                  </a:lnTo>
                  <a:lnTo>
                    <a:pt x="919544" y="807530"/>
                  </a:lnTo>
                  <a:lnTo>
                    <a:pt x="923639" y="802196"/>
                  </a:lnTo>
                  <a:lnTo>
                    <a:pt x="930783" y="807720"/>
                  </a:lnTo>
                  <a:lnTo>
                    <a:pt x="935736" y="808673"/>
                  </a:lnTo>
                  <a:lnTo>
                    <a:pt x="937069" y="806958"/>
                  </a:lnTo>
                  <a:lnTo>
                    <a:pt x="936879" y="805339"/>
                  </a:lnTo>
                  <a:lnTo>
                    <a:pt x="942023" y="807911"/>
                  </a:lnTo>
                  <a:lnTo>
                    <a:pt x="946785" y="807339"/>
                  </a:lnTo>
                  <a:lnTo>
                    <a:pt x="944594" y="802767"/>
                  </a:lnTo>
                  <a:lnTo>
                    <a:pt x="956024" y="804482"/>
                  </a:lnTo>
                  <a:lnTo>
                    <a:pt x="955453" y="799814"/>
                  </a:lnTo>
                  <a:lnTo>
                    <a:pt x="958786" y="800957"/>
                  </a:lnTo>
                  <a:lnTo>
                    <a:pt x="960120" y="799148"/>
                  </a:lnTo>
                  <a:lnTo>
                    <a:pt x="966692" y="799910"/>
                  </a:lnTo>
                  <a:lnTo>
                    <a:pt x="966883" y="801529"/>
                  </a:lnTo>
                  <a:lnTo>
                    <a:pt x="970217" y="802672"/>
                  </a:lnTo>
                  <a:lnTo>
                    <a:pt x="970407" y="804291"/>
                  </a:lnTo>
                  <a:lnTo>
                    <a:pt x="973741" y="805434"/>
                  </a:lnTo>
                  <a:lnTo>
                    <a:pt x="974407" y="810197"/>
                  </a:lnTo>
                  <a:lnTo>
                    <a:pt x="975551" y="806863"/>
                  </a:lnTo>
                  <a:lnTo>
                    <a:pt x="978884" y="808006"/>
                  </a:lnTo>
                  <a:lnTo>
                    <a:pt x="975360" y="805244"/>
                  </a:lnTo>
                  <a:lnTo>
                    <a:pt x="978503" y="804863"/>
                  </a:lnTo>
                  <a:lnTo>
                    <a:pt x="980313" y="806196"/>
                  </a:lnTo>
                  <a:lnTo>
                    <a:pt x="978884" y="808006"/>
                  </a:lnTo>
                  <a:lnTo>
                    <a:pt x="979075" y="809625"/>
                  </a:lnTo>
                  <a:lnTo>
                    <a:pt x="983456" y="805815"/>
                  </a:lnTo>
                  <a:lnTo>
                    <a:pt x="984980" y="805625"/>
                  </a:lnTo>
                  <a:lnTo>
                    <a:pt x="990124" y="795338"/>
                  </a:lnTo>
                  <a:lnTo>
                    <a:pt x="988505" y="795528"/>
                  </a:lnTo>
                  <a:lnTo>
                    <a:pt x="989552" y="790575"/>
                  </a:lnTo>
                  <a:lnTo>
                    <a:pt x="987933" y="790861"/>
                  </a:lnTo>
                  <a:lnTo>
                    <a:pt x="989362" y="789051"/>
                  </a:lnTo>
                  <a:lnTo>
                    <a:pt x="985933" y="787908"/>
                  </a:lnTo>
                  <a:lnTo>
                    <a:pt x="987361" y="786098"/>
                  </a:lnTo>
                  <a:lnTo>
                    <a:pt x="986123" y="776573"/>
                  </a:lnTo>
                  <a:lnTo>
                    <a:pt x="992886" y="778955"/>
                  </a:lnTo>
                  <a:lnTo>
                    <a:pt x="992600" y="764572"/>
                  </a:lnTo>
                  <a:lnTo>
                    <a:pt x="992029" y="759809"/>
                  </a:lnTo>
                  <a:lnTo>
                    <a:pt x="993553" y="759619"/>
                  </a:lnTo>
                  <a:lnTo>
                    <a:pt x="994791" y="756285"/>
                  </a:lnTo>
                  <a:lnTo>
                    <a:pt x="991172" y="753523"/>
                  </a:lnTo>
                  <a:lnTo>
                    <a:pt x="987838" y="752380"/>
                  </a:lnTo>
                  <a:lnTo>
                    <a:pt x="987266" y="747617"/>
                  </a:lnTo>
                  <a:lnTo>
                    <a:pt x="983742" y="744855"/>
                  </a:lnTo>
                  <a:lnTo>
                    <a:pt x="983266" y="741712"/>
                  </a:lnTo>
                  <a:lnTo>
                    <a:pt x="987647" y="737902"/>
                  </a:lnTo>
                  <a:lnTo>
                    <a:pt x="989648" y="740855"/>
                  </a:lnTo>
                  <a:lnTo>
                    <a:pt x="992600" y="738950"/>
                  </a:lnTo>
                  <a:lnTo>
                    <a:pt x="988981" y="736187"/>
                  </a:lnTo>
                  <a:lnTo>
                    <a:pt x="988600" y="733044"/>
                  </a:lnTo>
                  <a:lnTo>
                    <a:pt x="985076" y="730282"/>
                  </a:lnTo>
                  <a:lnTo>
                    <a:pt x="986219" y="726853"/>
                  </a:lnTo>
                  <a:lnTo>
                    <a:pt x="988028" y="728282"/>
                  </a:lnTo>
                  <a:lnTo>
                    <a:pt x="987552" y="725138"/>
                  </a:lnTo>
                  <a:lnTo>
                    <a:pt x="985838" y="723710"/>
                  </a:lnTo>
                  <a:lnTo>
                    <a:pt x="985647" y="722186"/>
                  </a:lnTo>
                  <a:lnTo>
                    <a:pt x="982027" y="719423"/>
                  </a:lnTo>
                  <a:lnTo>
                    <a:pt x="981837" y="717804"/>
                  </a:lnTo>
                  <a:lnTo>
                    <a:pt x="984790" y="715804"/>
                  </a:lnTo>
                  <a:lnTo>
                    <a:pt x="987933" y="715423"/>
                  </a:lnTo>
                  <a:lnTo>
                    <a:pt x="989171" y="712089"/>
                  </a:lnTo>
                  <a:lnTo>
                    <a:pt x="992124" y="710089"/>
                  </a:lnTo>
                  <a:lnTo>
                    <a:pt x="1004792" y="721328"/>
                  </a:lnTo>
                  <a:lnTo>
                    <a:pt x="1019937" y="727424"/>
                  </a:lnTo>
                  <a:lnTo>
                    <a:pt x="1021175" y="724091"/>
                  </a:lnTo>
                  <a:lnTo>
                    <a:pt x="1024509" y="725234"/>
                  </a:lnTo>
                  <a:lnTo>
                    <a:pt x="1020889" y="722471"/>
                  </a:lnTo>
                  <a:lnTo>
                    <a:pt x="1023652" y="718947"/>
                  </a:lnTo>
                  <a:lnTo>
                    <a:pt x="1021937" y="717518"/>
                  </a:lnTo>
                  <a:lnTo>
                    <a:pt x="1017175" y="718090"/>
                  </a:lnTo>
                  <a:lnTo>
                    <a:pt x="1015365" y="716756"/>
                  </a:lnTo>
                  <a:lnTo>
                    <a:pt x="1019556" y="711422"/>
                  </a:lnTo>
                  <a:lnTo>
                    <a:pt x="1023080" y="714185"/>
                  </a:lnTo>
                  <a:lnTo>
                    <a:pt x="1024223" y="710851"/>
                  </a:lnTo>
                  <a:lnTo>
                    <a:pt x="1020889" y="709613"/>
                  </a:lnTo>
                  <a:lnTo>
                    <a:pt x="1022509" y="709422"/>
                  </a:lnTo>
                  <a:lnTo>
                    <a:pt x="1026985" y="707231"/>
                  </a:lnTo>
                  <a:lnTo>
                    <a:pt x="1024985" y="691515"/>
                  </a:lnTo>
                  <a:lnTo>
                    <a:pt x="1035653" y="699707"/>
                  </a:lnTo>
                  <a:lnTo>
                    <a:pt x="1043559" y="698754"/>
                  </a:lnTo>
                  <a:lnTo>
                    <a:pt x="1042606" y="690848"/>
                  </a:lnTo>
                  <a:lnTo>
                    <a:pt x="1051274" y="696182"/>
                  </a:lnTo>
                  <a:lnTo>
                    <a:pt x="1059371" y="696754"/>
                  </a:lnTo>
                  <a:lnTo>
                    <a:pt x="1057942" y="685705"/>
                  </a:lnTo>
                  <a:lnTo>
                    <a:pt x="1059085" y="682276"/>
                  </a:lnTo>
                  <a:lnTo>
                    <a:pt x="1058513" y="677609"/>
                  </a:lnTo>
                  <a:lnTo>
                    <a:pt x="1059656" y="674275"/>
                  </a:lnTo>
                  <a:lnTo>
                    <a:pt x="1054799" y="673227"/>
                  </a:lnTo>
                  <a:lnTo>
                    <a:pt x="1057942" y="672846"/>
                  </a:lnTo>
                  <a:lnTo>
                    <a:pt x="1058323" y="663226"/>
                  </a:lnTo>
                  <a:lnTo>
                    <a:pt x="1047560" y="642080"/>
                  </a:lnTo>
                  <a:lnTo>
                    <a:pt x="1060037" y="638937"/>
                  </a:lnTo>
                  <a:lnTo>
                    <a:pt x="1056989" y="628078"/>
                  </a:lnTo>
                  <a:lnTo>
                    <a:pt x="1068896" y="632936"/>
                  </a:lnTo>
                  <a:lnTo>
                    <a:pt x="1066324" y="625316"/>
                  </a:lnTo>
                  <a:lnTo>
                    <a:pt x="1064133" y="620744"/>
                  </a:lnTo>
                  <a:lnTo>
                    <a:pt x="1060704" y="619601"/>
                  </a:lnTo>
                  <a:lnTo>
                    <a:pt x="1061276" y="611505"/>
                  </a:lnTo>
                  <a:lnTo>
                    <a:pt x="1056418" y="610457"/>
                  </a:lnTo>
                  <a:lnTo>
                    <a:pt x="1057751" y="608743"/>
                  </a:lnTo>
                  <a:lnTo>
                    <a:pt x="1057561" y="607124"/>
                  </a:lnTo>
                  <a:lnTo>
                    <a:pt x="1054418" y="607505"/>
                  </a:lnTo>
                  <a:lnTo>
                    <a:pt x="1049465" y="606552"/>
                  </a:lnTo>
                  <a:lnTo>
                    <a:pt x="1049655" y="608171"/>
                  </a:lnTo>
                  <a:lnTo>
                    <a:pt x="1047845" y="606743"/>
                  </a:lnTo>
                  <a:lnTo>
                    <a:pt x="1047845" y="606743"/>
                  </a:lnTo>
                  <a:lnTo>
                    <a:pt x="1047655" y="605219"/>
                  </a:lnTo>
                  <a:lnTo>
                    <a:pt x="1046321" y="606933"/>
                  </a:lnTo>
                  <a:lnTo>
                    <a:pt x="1038035" y="604838"/>
                  </a:lnTo>
                  <a:lnTo>
                    <a:pt x="1038797" y="598265"/>
                  </a:lnTo>
                  <a:lnTo>
                    <a:pt x="1037368" y="600075"/>
                  </a:lnTo>
                  <a:lnTo>
                    <a:pt x="1035463" y="597122"/>
                  </a:lnTo>
                  <a:lnTo>
                    <a:pt x="1036415" y="592169"/>
                  </a:lnTo>
                  <a:lnTo>
                    <a:pt x="1036225" y="590645"/>
                  </a:lnTo>
                  <a:lnTo>
                    <a:pt x="1034606" y="590836"/>
                  </a:lnTo>
                  <a:lnTo>
                    <a:pt x="1033081" y="591026"/>
                  </a:lnTo>
                  <a:lnTo>
                    <a:pt x="1034415" y="589217"/>
                  </a:lnTo>
                  <a:lnTo>
                    <a:pt x="1032605" y="587883"/>
                  </a:lnTo>
                  <a:lnTo>
                    <a:pt x="1033844" y="584549"/>
                  </a:lnTo>
                  <a:lnTo>
                    <a:pt x="1030700" y="584930"/>
                  </a:lnTo>
                  <a:lnTo>
                    <a:pt x="1032034" y="583121"/>
                  </a:lnTo>
                  <a:lnTo>
                    <a:pt x="1030510" y="583311"/>
                  </a:lnTo>
                  <a:lnTo>
                    <a:pt x="1027843" y="575596"/>
                  </a:lnTo>
                  <a:lnTo>
                    <a:pt x="1020985" y="571691"/>
                  </a:lnTo>
                  <a:lnTo>
                    <a:pt x="1022128" y="568357"/>
                  </a:lnTo>
                  <a:lnTo>
                    <a:pt x="1020985" y="558927"/>
                  </a:lnTo>
                  <a:lnTo>
                    <a:pt x="1018985" y="555974"/>
                  </a:lnTo>
                  <a:lnTo>
                    <a:pt x="1018603" y="552736"/>
                  </a:lnTo>
                  <a:lnTo>
                    <a:pt x="1016984" y="553022"/>
                  </a:lnTo>
                  <a:lnTo>
                    <a:pt x="1015746" y="543497"/>
                  </a:lnTo>
                  <a:lnTo>
                    <a:pt x="1012603" y="543878"/>
                  </a:lnTo>
                  <a:lnTo>
                    <a:pt x="1014031" y="542163"/>
                  </a:lnTo>
                  <a:lnTo>
                    <a:pt x="1012412" y="542354"/>
                  </a:lnTo>
                  <a:lnTo>
                    <a:pt x="1013174" y="535781"/>
                  </a:lnTo>
                  <a:lnTo>
                    <a:pt x="1003078" y="532257"/>
                  </a:lnTo>
                  <a:lnTo>
                    <a:pt x="1004316" y="528923"/>
                  </a:lnTo>
                  <a:lnTo>
                    <a:pt x="1000315" y="523018"/>
                  </a:lnTo>
                  <a:lnTo>
                    <a:pt x="995363" y="522065"/>
                  </a:lnTo>
                  <a:lnTo>
                    <a:pt x="997934" y="516922"/>
                  </a:lnTo>
                  <a:lnTo>
                    <a:pt x="994981" y="506063"/>
                  </a:lnTo>
                  <a:lnTo>
                    <a:pt x="987838" y="500539"/>
                  </a:lnTo>
                  <a:lnTo>
                    <a:pt x="987457" y="497396"/>
                  </a:lnTo>
                  <a:lnTo>
                    <a:pt x="988790" y="495586"/>
                  </a:lnTo>
                  <a:lnTo>
                    <a:pt x="981742" y="490157"/>
                  </a:lnTo>
                  <a:lnTo>
                    <a:pt x="985266" y="480060"/>
                  </a:lnTo>
                  <a:lnTo>
                    <a:pt x="984790" y="476917"/>
                  </a:lnTo>
                  <a:lnTo>
                    <a:pt x="982027" y="467582"/>
                  </a:lnTo>
                  <a:lnTo>
                    <a:pt x="981837" y="466058"/>
                  </a:lnTo>
                  <a:lnTo>
                    <a:pt x="981456" y="462915"/>
                  </a:lnTo>
                  <a:lnTo>
                    <a:pt x="982218" y="456343"/>
                  </a:lnTo>
                  <a:lnTo>
                    <a:pt x="980599" y="456533"/>
                  </a:lnTo>
                  <a:lnTo>
                    <a:pt x="975931" y="457200"/>
                  </a:lnTo>
                  <a:lnTo>
                    <a:pt x="970978" y="456248"/>
                  </a:lnTo>
                  <a:lnTo>
                    <a:pt x="971169" y="444913"/>
                  </a:lnTo>
                  <a:lnTo>
                    <a:pt x="977456" y="431292"/>
                  </a:lnTo>
                  <a:lnTo>
                    <a:pt x="979170" y="432721"/>
                  </a:lnTo>
                  <a:lnTo>
                    <a:pt x="993553" y="419672"/>
                  </a:lnTo>
                  <a:lnTo>
                    <a:pt x="992981" y="414909"/>
                  </a:lnTo>
                  <a:lnTo>
                    <a:pt x="986028" y="411004"/>
                  </a:lnTo>
                  <a:lnTo>
                    <a:pt x="986600" y="402908"/>
                  </a:lnTo>
                  <a:lnTo>
                    <a:pt x="990790" y="397574"/>
                  </a:lnTo>
                  <a:lnTo>
                    <a:pt x="989933" y="391192"/>
                  </a:lnTo>
                  <a:lnTo>
                    <a:pt x="993839" y="384334"/>
                  </a:lnTo>
                  <a:lnTo>
                    <a:pt x="1003173" y="381572"/>
                  </a:lnTo>
                  <a:lnTo>
                    <a:pt x="1012222" y="377190"/>
                  </a:lnTo>
                  <a:lnTo>
                    <a:pt x="1015936" y="368713"/>
                  </a:lnTo>
                  <a:lnTo>
                    <a:pt x="1015746" y="367094"/>
                  </a:lnTo>
                  <a:lnTo>
                    <a:pt x="1018318" y="361950"/>
                  </a:lnTo>
                  <a:lnTo>
                    <a:pt x="1020699" y="368046"/>
                  </a:lnTo>
                  <a:lnTo>
                    <a:pt x="1019461" y="371475"/>
                  </a:lnTo>
                  <a:lnTo>
                    <a:pt x="1021080" y="371189"/>
                  </a:lnTo>
                  <a:lnTo>
                    <a:pt x="1027367" y="370427"/>
                  </a:lnTo>
                  <a:lnTo>
                    <a:pt x="1030129" y="366903"/>
                  </a:lnTo>
                  <a:lnTo>
                    <a:pt x="1021271" y="359950"/>
                  </a:lnTo>
                  <a:lnTo>
                    <a:pt x="1022032" y="353473"/>
                  </a:lnTo>
                  <a:lnTo>
                    <a:pt x="1024985" y="351473"/>
                  </a:lnTo>
                  <a:lnTo>
                    <a:pt x="1025938" y="346520"/>
                  </a:lnTo>
                  <a:lnTo>
                    <a:pt x="1027462" y="333566"/>
                  </a:lnTo>
                  <a:lnTo>
                    <a:pt x="1032986" y="326422"/>
                  </a:lnTo>
                  <a:lnTo>
                    <a:pt x="1032796" y="324803"/>
                  </a:lnTo>
                  <a:lnTo>
                    <a:pt x="1037558" y="324231"/>
                  </a:lnTo>
                  <a:lnTo>
                    <a:pt x="1042702" y="326803"/>
                  </a:lnTo>
                  <a:lnTo>
                    <a:pt x="1048036" y="318040"/>
                  </a:lnTo>
                  <a:lnTo>
                    <a:pt x="1042416" y="312420"/>
                  </a:lnTo>
                  <a:lnTo>
                    <a:pt x="1043654" y="308991"/>
                  </a:lnTo>
                  <a:lnTo>
                    <a:pt x="1049560" y="305086"/>
                  </a:lnTo>
                  <a:lnTo>
                    <a:pt x="1049369" y="303467"/>
                  </a:lnTo>
                  <a:lnTo>
                    <a:pt x="1049179" y="301943"/>
                  </a:lnTo>
                  <a:lnTo>
                    <a:pt x="1047369" y="300514"/>
                  </a:lnTo>
                  <a:lnTo>
                    <a:pt x="1045750" y="300704"/>
                  </a:lnTo>
                  <a:lnTo>
                    <a:pt x="1044035" y="299371"/>
                  </a:lnTo>
                  <a:lnTo>
                    <a:pt x="1044988" y="294418"/>
                  </a:lnTo>
                  <a:lnTo>
                    <a:pt x="1043178" y="293084"/>
                  </a:lnTo>
                  <a:lnTo>
                    <a:pt x="1045750" y="287941"/>
                  </a:lnTo>
                  <a:lnTo>
                    <a:pt x="1049274" y="290703"/>
                  </a:lnTo>
                  <a:lnTo>
                    <a:pt x="1048893" y="287465"/>
                  </a:lnTo>
                  <a:lnTo>
                    <a:pt x="1045559" y="286322"/>
                  </a:lnTo>
                  <a:lnTo>
                    <a:pt x="1044131" y="288131"/>
                  </a:lnTo>
                  <a:lnTo>
                    <a:pt x="1040797" y="286893"/>
                  </a:lnTo>
                  <a:lnTo>
                    <a:pt x="1042226" y="285179"/>
                  </a:lnTo>
                  <a:lnTo>
                    <a:pt x="1038415" y="280797"/>
                  </a:lnTo>
                  <a:lnTo>
                    <a:pt x="1044511" y="278416"/>
                  </a:lnTo>
                  <a:lnTo>
                    <a:pt x="1050036" y="284131"/>
                  </a:lnTo>
                  <a:lnTo>
                    <a:pt x="1054227" y="278797"/>
                  </a:lnTo>
                  <a:lnTo>
                    <a:pt x="1061942" y="276225"/>
                  </a:lnTo>
                  <a:lnTo>
                    <a:pt x="1063657" y="277559"/>
                  </a:lnTo>
                  <a:lnTo>
                    <a:pt x="1066800" y="277178"/>
                  </a:lnTo>
                  <a:lnTo>
                    <a:pt x="1065848" y="282131"/>
                  </a:lnTo>
                  <a:lnTo>
                    <a:pt x="1063085" y="285655"/>
                  </a:lnTo>
                  <a:lnTo>
                    <a:pt x="1067657" y="283464"/>
                  </a:lnTo>
                  <a:lnTo>
                    <a:pt x="1069372" y="284893"/>
                  </a:lnTo>
                  <a:lnTo>
                    <a:pt x="1070801" y="283083"/>
                  </a:lnTo>
                  <a:lnTo>
                    <a:pt x="1073944" y="282702"/>
                  </a:lnTo>
                  <a:lnTo>
                    <a:pt x="1082611" y="288036"/>
                  </a:lnTo>
                  <a:lnTo>
                    <a:pt x="1084993" y="294132"/>
                  </a:lnTo>
                  <a:lnTo>
                    <a:pt x="1093280" y="296323"/>
                  </a:lnTo>
                  <a:lnTo>
                    <a:pt x="1095280" y="299276"/>
                  </a:lnTo>
                  <a:lnTo>
                    <a:pt x="1101661" y="298418"/>
                  </a:lnTo>
                  <a:lnTo>
                    <a:pt x="1105376" y="302800"/>
                  </a:lnTo>
                  <a:lnTo>
                    <a:pt x="1106329" y="297847"/>
                  </a:lnTo>
                  <a:lnTo>
                    <a:pt x="1106519" y="299371"/>
                  </a:lnTo>
                  <a:lnTo>
                    <a:pt x="1111282" y="298799"/>
                  </a:lnTo>
                  <a:lnTo>
                    <a:pt x="1118997" y="296228"/>
                  </a:lnTo>
                  <a:lnTo>
                    <a:pt x="1121093" y="287941"/>
                  </a:lnTo>
                  <a:lnTo>
                    <a:pt x="1119950" y="278416"/>
                  </a:lnTo>
                  <a:lnTo>
                    <a:pt x="1122426" y="273272"/>
                  </a:lnTo>
                  <a:lnTo>
                    <a:pt x="1121474" y="265462"/>
                  </a:lnTo>
                  <a:lnTo>
                    <a:pt x="1125760" y="261652"/>
                  </a:lnTo>
                  <a:lnTo>
                    <a:pt x="1123188" y="253937"/>
                  </a:lnTo>
                  <a:lnTo>
                    <a:pt x="1124426" y="250603"/>
                  </a:lnTo>
                  <a:lnTo>
                    <a:pt x="1139190" y="253556"/>
                  </a:lnTo>
                  <a:lnTo>
                    <a:pt x="1143572" y="249746"/>
                  </a:lnTo>
                  <a:lnTo>
                    <a:pt x="1148239" y="249174"/>
                  </a:lnTo>
                  <a:lnTo>
                    <a:pt x="1151192" y="247174"/>
                  </a:lnTo>
                  <a:lnTo>
                    <a:pt x="1158716" y="230219"/>
                  </a:lnTo>
                  <a:lnTo>
                    <a:pt x="1159288" y="222123"/>
                  </a:lnTo>
                  <a:lnTo>
                    <a:pt x="1162050" y="218599"/>
                  </a:lnTo>
                  <a:lnTo>
                    <a:pt x="1168813" y="196882"/>
                  </a:lnTo>
                  <a:lnTo>
                    <a:pt x="1171956" y="183642"/>
                  </a:lnTo>
                  <a:lnTo>
                    <a:pt x="1182243" y="175927"/>
                  </a:lnTo>
                  <a:lnTo>
                    <a:pt x="1182529" y="153353"/>
                  </a:lnTo>
                  <a:lnTo>
                    <a:pt x="1180148" y="147257"/>
                  </a:lnTo>
                  <a:lnTo>
                    <a:pt x="1180148" y="147257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" name="Volný tvar: obrazec 4">
              <a:extLst>
                <a:ext uri="{FF2B5EF4-FFF2-40B4-BE49-F238E27FC236}">
                  <a16:creationId xmlns:a16="http://schemas.microsoft.com/office/drawing/2014/main" id="{CEB3EDC2-8C07-521C-4474-9E72939B20B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15107" y="2323813"/>
              <a:ext cx="1029843" cy="845819"/>
            </a:xfrm>
            <a:custGeom>
              <a:avLst/>
              <a:gdLst>
                <a:gd name="connsiteX0" fmla="*/ 1029843 w 1029843"/>
                <a:gd name="connsiteY0" fmla="*/ 713994 h 845819"/>
                <a:gd name="connsiteX1" fmla="*/ 1026319 w 1029843"/>
                <a:gd name="connsiteY1" fmla="*/ 711232 h 845819"/>
                <a:gd name="connsiteX2" fmla="*/ 1024128 w 1029843"/>
                <a:gd name="connsiteY2" fmla="*/ 706660 h 845819"/>
                <a:gd name="connsiteX3" fmla="*/ 1013651 w 1029843"/>
                <a:gd name="connsiteY3" fmla="*/ 699992 h 845819"/>
                <a:gd name="connsiteX4" fmla="*/ 1011079 w 1029843"/>
                <a:gd name="connsiteY4" fmla="*/ 692277 h 845819"/>
                <a:gd name="connsiteX5" fmla="*/ 1010888 w 1029843"/>
                <a:gd name="connsiteY5" fmla="*/ 690753 h 845819"/>
                <a:gd name="connsiteX6" fmla="*/ 1014603 w 1029843"/>
                <a:gd name="connsiteY6" fmla="*/ 682276 h 845819"/>
                <a:gd name="connsiteX7" fmla="*/ 1012412 w 1029843"/>
                <a:gd name="connsiteY7" fmla="*/ 677704 h 845819"/>
                <a:gd name="connsiteX8" fmla="*/ 1009079 w 1029843"/>
                <a:gd name="connsiteY8" fmla="*/ 676561 h 845819"/>
                <a:gd name="connsiteX9" fmla="*/ 1010222 w 1029843"/>
                <a:gd name="connsiteY9" fmla="*/ 673132 h 845819"/>
                <a:gd name="connsiteX10" fmla="*/ 1007650 w 1029843"/>
                <a:gd name="connsiteY10" fmla="*/ 665512 h 845819"/>
                <a:gd name="connsiteX11" fmla="*/ 1008602 w 1029843"/>
                <a:gd name="connsiteY11" fmla="*/ 660559 h 845819"/>
                <a:gd name="connsiteX12" fmla="*/ 1008031 w 1029843"/>
                <a:gd name="connsiteY12" fmla="*/ 655796 h 845819"/>
                <a:gd name="connsiteX13" fmla="*/ 1010984 w 1029843"/>
                <a:gd name="connsiteY13" fmla="*/ 653796 h 845819"/>
                <a:gd name="connsiteX14" fmla="*/ 1012126 w 1029843"/>
                <a:gd name="connsiteY14" fmla="*/ 650462 h 845819"/>
                <a:gd name="connsiteX15" fmla="*/ 1009555 w 1029843"/>
                <a:gd name="connsiteY15" fmla="*/ 642747 h 845819"/>
                <a:gd name="connsiteX16" fmla="*/ 1006412 w 1029843"/>
                <a:gd name="connsiteY16" fmla="*/ 643223 h 845819"/>
                <a:gd name="connsiteX17" fmla="*/ 1008793 w 1029843"/>
                <a:gd name="connsiteY17" fmla="*/ 636461 h 845819"/>
                <a:gd name="connsiteX18" fmla="*/ 1003649 w 1029843"/>
                <a:gd name="connsiteY18" fmla="*/ 633889 h 845819"/>
                <a:gd name="connsiteX19" fmla="*/ 1002601 w 1029843"/>
                <a:gd name="connsiteY19" fmla="*/ 625983 h 845819"/>
                <a:gd name="connsiteX20" fmla="*/ 995458 w 1029843"/>
                <a:gd name="connsiteY20" fmla="*/ 620554 h 845819"/>
                <a:gd name="connsiteX21" fmla="*/ 994886 w 1029843"/>
                <a:gd name="connsiteY21" fmla="*/ 615791 h 845819"/>
                <a:gd name="connsiteX22" fmla="*/ 988600 w 1029843"/>
                <a:gd name="connsiteY22" fmla="*/ 616553 h 845819"/>
                <a:gd name="connsiteX23" fmla="*/ 983647 w 1029843"/>
                <a:gd name="connsiteY23" fmla="*/ 615601 h 845819"/>
                <a:gd name="connsiteX24" fmla="*/ 977551 w 1029843"/>
                <a:gd name="connsiteY24" fmla="*/ 605123 h 845819"/>
                <a:gd name="connsiteX25" fmla="*/ 978503 w 1029843"/>
                <a:gd name="connsiteY25" fmla="*/ 600265 h 845819"/>
                <a:gd name="connsiteX26" fmla="*/ 973550 w 1029843"/>
                <a:gd name="connsiteY26" fmla="*/ 599218 h 845819"/>
                <a:gd name="connsiteX27" fmla="*/ 972502 w 1029843"/>
                <a:gd name="connsiteY27" fmla="*/ 591407 h 845819"/>
                <a:gd name="connsiteX28" fmla="*/ 969169 w 1029843"/>
                <a:gd name="connsiteY28" fmla="*/ 590169 h 845819"/>
                <a:gd name="connsiteX29" fmla="*/ 964406 w 1029843"/>
                <a:gd name="connsiteY29" fmla="*/ 590836 h 845819"/>
                <a:gd name="connsiteX30" fmla="*/ 962501 w 1029843"/>
                <a:gd name="connsiteY30" fmla="*/ 587788 h 845819"/>
                <a:gd name="connsiteX31" fmla="*/ 960692 w 1029843"/>
                <a:gd name="connsiteY31" fmla="*/ 586454 h 845819"/>
                <a:gd name="connsiteX32" fmla="*/ 960120 w 1029843"/>
                <a:gd name="connsiteY32" fmla="*/ 581692 h 845819"/>
                <a:gd name="connsiteX33" fmla="*/ 953167 w 1029843"/>
                <a:gd name="connsiteY33" fmla="*/ 577786 h 845819"/>
                <a:gd name="connsiteX34" fmla="*/ 952595 w 1029843"/>
                <a:gd name="connsiteY34" fmla="*/ 573024 h 845819"/>
                <a:gd name="connsiteX35" fmla="*/ 943070 w 1029843"/>
                <a:gd name="connsiteY35" fmla="*/ 561404 h 845819"/>
                <a:gd name="connsiteX36" fmla="*/ 944213 w 1029843"/>
                <a:gd name="connsiteY36" fmla="*/ 558070 h 845819"/>
                <a:gd name="connsiteX37" fmla="*/ 942023 w 1029843"/>
                <a:gd name="connsiteY37" fmla="*/ 553593 h 845819"/>
                <a:gd name="connsiteX38" fmla="*/ 941642 w 1029843"/>
                <a:gd name="connsiteY38" fmla="*/ 550355 h 845819"/>
                <a:gd name="connsiteX39" fmla="*/ 930783 w 1029843"/>
                <a:gd name="connsiteY39" fmla="*/ 540544 h 845819"/>
                <a:gd name="connsiteX40" fmla="*/ 926401 w 1029843"/>
                <a:gd name="connsiteY40" fmla="*/ 531495 h 845819"/>
                <a:gd name="connsiteX41" fmla="*/ 922687 w 1029843"/>
                <a:gd name="connsiteY41" fmla="*/ 527113 h 845819"/>
                <a:gd name="connsiteX42" fmla="*/ 922020 w 1029843"/>
                <a:gd name="connsiteY42" fmla="*/ 522446 h 845819"/>
                <a:gd name="connsiteX43" fmla="*/ 918305 w 1029843"/>
                <a:gd name="connsiteY43" fmla="*/ 518065 h 845819"/>
                <a:gd name="connsiteX44" fmla="*/ 907256 w 1029843"/>
                <a:gd name="connsiteY44" fmla="*/ 519494 h 845819"/>
                <a:gd name="connsiteX45" fmla="*/ 903923 w 1029843"/>
                <a:gd name="connsiteY45" fmla="*/ 518350 h 845819"/>
                <a:gd name="connsiteX46" fmla="*/ 900970 w 1029843"/>
                <a:gd name="connsiteY46" fmla="*/ 520255 h 845819"/>
                <a:gd name="connsiteX47" fmla="*/ 899732 w 1029843"/>
                <a:gd name="connsiteY47" fmla="*/ 523684 h 845819"/>
                <a:gd name="connsiteX48" fmla="*/ 896588 w 1029843"/>
                <a:gd name="connsiteY48" fmla="*/ 524065 h 845819"/>
                <a:gd name="connsiteX49" fmla="*/ 885730 w 1029843"/>
                <a:gd name="connsiteY49" fmla="*/ 514255 h 845819"/>
                <a:gd name="connsiteX50" fmla="*/ 878776 w 1029843"/>
                <a:gd name="connsiteY50" fmla="*/ 497491 h 845819"/>
                <a:gd name="connsiteX51" fmla="*/ 869728 w 1029843"/>
                <a:gd name="connsiteY51" fmla="*/ 489013 h 845819"/>
                <a:gd name="connsiteX52" fmla="*/ 869251 w 1029843"/>
                <a:gd name="connsiteY52" fmla="*/ 485870 h 845819"/>
                <a:gd name="connsiteX53" fmla="*/ 873443 w 1029843"/>
                <a:gd name="connsiteY53" fmla="*/ 480536 h 845819"/>
                <a:gd name="connsiteX54" fmla="*/ 871061 w 1029843"/>
                <a:gd name="connsiteY54" fmla="*/ 474440 h 845819"/>
                <a:gd name="connsiteX55" fmla="*/ 873824 w 1029843"/>
                <a:gd name="connsiteY55" fmla="*/ 470821 h 845819"/>
                <a:gd name="connsiteX56" fmla="*/ 869823 w 1029843"/>
                <a:gd name="connsiteY56" fmla="*/ 464915 h 845819"/>
                <a:gd name="connsiteX57" fmla="*/ 869061 w 1029843"/>
                <a:gd name="connsiteY57" fmla="*/ 458629 h 845819"/>
                <a:gd name="connsiteX58" fmla="*/ 867061 w 1029843"/>
                <a:gd name="connsiteY58" fmla="*/ 455676 h 845819"/>
                <a:gd name="connsiteX59" fmla="*/ 862489 w 1029843"/>
                <a:gd name="connsiteY59" fmla="*/ 457867 h 845819"/>
                <a:gd name="connsiteX60" fmla="*/ 858965 w 1029843"/>
                <a:gd name="connsiteY60" fmla="*/ 455105 h 845819"/>
                <a:gd name="connsiteX61" fmla="*/ 852868 w 1029843"/>
                <a:gd name="connsiteY61" fmla="*/ 457486 h 845819"/>
                <a:gd name="connsiteX62" fmla="*/ 844391 w 1029843"/>
                <a:gd name="connsiteY62" fmla="*/ 453771 h 845819"/>
                <a:gd name="connsiteX63" fmla="*/ 838200 w 1029843"/>
                <a:gd name="connsiteY63" fmla="*/ 456152 h 845819"/>
                <a:gd name="connsiteX64" fmla="*/ 831342 w 1029843"/>
                <a:gd name="connsiteY64" fmla="*/ 452152 h 845819"/>
                <a:gd name="connsiteX65" fmla="*/ 829723 w 1029843"/>
                <a:gd name="connsiteY65" fmla="*/ 452438 h 845819"/>
                <a:gd name="connsiteX66" fmla="*/ 825246 w 1029843"/>
                <a:gd name="connsiteY66" fmla="*/ 454533 h 845819"/>
                <a:gd name="connsiteX67" fmla="*/ 821531 w 1029843"/>
                <a:gd name="connsiteY67" fmla="*/ 463105 h 845819"/>
                <a:gd name="connsiteX68" fmla="*/ 821912 w 1029843"/>
                <a:gd name="connsiteY68" fmla="*/ 466249 h 845819"/>
                <a:gd name="connsiteX69" fmla="*/ 816007 w 1029843"/>
                <a:gd name="connsiteY69" fmla="*/ 470154 h 845819"/>
                <a:gd name="connsiteX70" fmla="*/ 811244 w 1029843"/>
                <a:gd name="connsiteY70" fmla="*/ 470821 h 845819"/>
                <a:gd name="connsiteX71" fmla="*/ 809816 w 1029843"/>
                <a:gd name="connsiteY71" fmla="*/ 459772 h 845819"/>
                <a:gd name="connsiteX72" fmla="*/ 802672 w 1029843"/>
                <a:gd name="connsiteY72" fmla="*/ 454247 h 845819"/>
                <a:gd name="connsiteX73" fmla="*/ 803720 w 1029843"/>
                <a:gd name="connsiteY73" fmla="*/ 449294 h 845819"/>
                <a:gd name="connsiteX74" fmla="*/ 801148 w 1029843"/>
                <a:gd name="connsiteY74" fmla="*/ 441579 h 845819"/>
                <a:gd name="connsiteX75" fmla="*/ 799148 w 1029843"/>
                <a:gd name="connsiteY75" fmla="*/ 438626 h 845819"/>
                <a:gd name="connsiteX76" fmla="*/ 789623 w 1029843"/>
                <a:gd name="connsiteY76" fmla="*/ 439865 h 845819"/>
                <a:gd name="connsiteX77" fmla="*/ 789242 w 1029843"/>
                <a:gd name="connsiteY77" fmla="*/ 436721 h 845819"/>
                <a:gd name="connsiteX78" fmla="*/ 792956 w 1029843"/>
                <a:gd name="connsiteY78" fmla="*/ 428244 h 845819"/>
                <a:gd name="connsiteX79" fmla="*/ 791242 w 1029843"/>
                <a:gd name="connsiteY79" fmla="*/ 426815 h 845819"/>
                <a:gd name="connsiteX80" fmla="*/ 784289 w 1029843"/>
                <a:gd name="connsiteY80" fmla="*/ 422910 h 845819"/>
                <a:gd name="connsiteX81" fmla="*/ 783717 w 1029843"/>
                <a:gd name="connsiteY81" fmla="*/ 418148 h 845819"/>
                <a:gd name="connsiteX82" fmla="*/ 778764 w 1029843"/>
                <a:gd name="connsiteY82" fmla="*/ 417195 h 845819"/>
                <a:gd name="connsiteX83" fmla="*/ 771620 w 1029843"/>
                <a:gd name="connsiteY83" fmla="*/ 424529 h 845819"/>
                <a:gd name="connsiteX84" fmla="*/ 763143 w 1029843"/>
                <a:gd name="connsiteY84" fmla="*/ 420815 h 845819"/>
                <a:gd name="connsiteX85" fmla="*/ 765715 w 1029843"/>
                <a:gd name="connsiteY85" fmla="*/ 415671 h 845819"/>
                <a:gd name="connsiteX86" fmla="*/ 760762 w 1029843"/>
                <a:gd name="connsiteY86" fmla="*/ 401860 h 845819"/>
                <a:gd name="connsiteX87" fmla="*/ 757238 w 1029843"/>
                <a:gd name="connsiteY87" fmla="*/ 399098 h 845819"/>
                <a:gd name="connsiteX88" fmla="*/ 752475 w 1029843"/>
                <a:gd name="connsiteY88" fmla="*/ 399669 h 845819"/>
                <a:gd name="connsiteX89" fmla="*/ 751904 w 1029843"/>
                <a:gd name="connsiteY89" fmla="*/ 395002 h 845819"/>
                <a:gd name="connsiteX90" fmla="*/ 753237 w 1029843"/>
                <a:gd name="connsiteY90" fmla="*/ 393192 h 845819"/>
                <a:gd name="connsiteX91" fmla="*/ 755618 w 1029843"/>
                <a:gd name="connsiteY91" fmla="*/ 386429 h 845819"/>
                <a:gd name="connsiteX92" fmla="*/ 759524 w 1029843"/>
                <a:gd name="connsiteY92" fmla="*/ 379571 h 845819"/>
                <a:gd name="connsiteX93" fmla="*/ 762286 w 1029843"/>
                <a:gd name="connsiteY93" fmla="*/ 375952 h 845819"/>
                <a:gd name="connsiteX94" fmla="*/ 763619 w 1029843"/>
                <a:gd name="connsiteY94" fmla="*/ 374237 h 845819"/>
                <a:gd name="connsiteX95" fmla="*/ 768382 w 1029843"/>
                <a:gd name="connsiteY95" fmla="*/ 373571 h 845819"/>
                <a:gd name="connsiteX96" fmla="*/ 768953 w 1029843"/>
                <a:gd name="connsiteY96" fmla="*/ 378333 h 845819"/>
                <a:gd name="connsiteX97" fmla="*/ 771334 w 1029843"/>
                <a:gd name="connsiteY97" fmla="*/ 384429 h 845819"/>
                <a:gd name="connsiteX98" fmla="*/ 777716 w 1029843"/>
                <a:gd name="connsiteY98" fmla="*/ 383667 h 845819"/>
                <a:gd name="connsiteX99" fmla="*/ 778478 w 1029843"/>
                <a:gd name="connsiteY99" fmla="*/ 377095 h 845819"/>
                <a:gd name="connsiteX100" fmla="*/ 776097 w 1029843"/>
                <a:gd name="connsiteY100" fmla="*/ 370999 h 845819"/>
                <a:gd name="connsiteX101" fmla="*/ 772477 w 1029843"/>
                <a:gd name="connsiteY101" fmla="*/ 368236 h 845819"/>
                <a:gd name="connsiteX102" fmla="*/ 769144 w 1029843"/>
                <a:gd name="connsiteY102" fmla="*/ 367094 h 845819"/>
                <a:gd name="connsiteX103" fmla="*/ 772097 w 1029843"/>
                <a:gd name="connsiteY103" fmla="*/ 365093 h 845819"/>
                <a:gd name="connsiteX104" fmla="*/ 780002 w 1029843"/>
                <a:gd name="connsiteY104" fmla="*/ 364141 h 845819"/>
                <a:gd name="connsiteX105" fmla="*/ 777621 w 1029843"/>
                <a:gd name="connsiteY105" fmla="*/ 358045 h 845819"/>
                <a:gd name="connsiteX106" fmla="*/ 785908 w 1029843"/>
                <a:gd name="connsiteY106" fmla="*/ 360140 h 845819"/>
                <a:gd name="connsiteX107" fmla="*/ 793433 w 1029843"/>
                <a:gd name="connsiteY107" fmla="*/ 355949 h 845819"/>
                <a:gd name="connsiteX108" fmla="*/ 789242 w 1029843"/>
                <a:gd name="connsiteY108" fmla="*/ 348520 h 845819"/>
                <a:gd name="connsiteX109" fmla="*/ 796576 w 1029843"/>
                <a:gd name="connsiteY109" fmla="*/ 342805 h 845819"/>
                <a:gd name="connsiteX110" fmla="*/ 799719 w 1029843"/>
                <a:gd name="connsiteY110" fmla="*/ 342329 h 845819"/>
                <a:gd name="connsiteX111" fmla="*/ 803243 w 1029843"/>
                <a:gd name="connsiteY111" fmla="*/ 345091 h 845819"/>
                <a:gd name="connsiteX112" fmla="*/ 806387 w 1029843"/>
                <a:gd name="connsiteY112" fmla="*/ 344710 h 845819"/>
                <a:gd name="connsiteX113" fmla="*/ 802481 w 1029843"/>
                <a:gd name="connsiteY113" fmla="*/ 338804 h 845819"/>
                <a:gd name="connsiteX114" fmla="*/ 803815 w 1029843"/>
                <a:gd name="connsiteY114" fmla="*/ 336994 h 845819"/>
                <a:gd name="connsiteX115" fmla="*/ 805815 w 1029843"/>
                <a:gd name="connsiteY115" fmla="*/ 339947 h 845819"/>
                <a:gd name="connsiteX116" fmla="*/ 812483 w 1029843"/>
                <a:gd name="connsiteY116" fmla="*/ 342329 h 845819"/>
                <a:gd name="connsiteX117" fmla="*/ 815435 w 1029843"/>
                <a:gd name="connsiteY117" fmla="*/ 340328 h 845819"/>
                <a:gd name="connsiteX118" fmla="*/ 819055 w 1029843"/>
                <a:gd name="connsiteY118" fmla="*/ 343090 h 845819"/>
                <a:gd name="connsiteX119" fmla="*/ 824293 w 1029843"/>
                <a:gd name="connsiteY119" fmla="*/ 334423 h 845819"/>
                <a:gd name="connsiteX120" fmla="*/ 823722 w 1029843"/>
                <a:gd name="connsiteY120" fmla="*/ 329660 h 845819"/>
                <a:gd name="connsiteX121" fmla="*/ 829818 w 1029843"/>
                <a:gd name="connsiteY121" fmla="*/ 327279 h 845819"/>
                <a:gd name="connsiteX122" fmla="*/ 831247 w 1029843"/>
                <a:gd name="connsiteY122" fmla="*/ 325469 h 845819"/>
                <a:gd name="connsiteX123" fmla="*/ 828389 w 1029843"/>
                <a:gd name="connsiteY123" fmla="*/ 316230 h 845819"/>
                <a:gd name="connsiteX124" fmla="*/ 829627 w 1029843"/>
                <a:gd name="connsiteY124" fmla="*/ 312896 h 845819"/>
                <a:gd name="connsiteX125" fmla="*/ 835724 w 1029843"/>
                <a:gd name="connsiteY125" fmla="*/ 310515 h 845819"/>
                <a:gd name="connsiteX126" fmla="*/ 837343 w 1029843"/>
                <a:gd name="connsiteY126" fmla="*/ 310325 h 845819"/>
                <a:gd name="connsiteX127" fmla="*/ 844201 w 1029843"/>
                <a:gd name="connsiteY127" fmla="*/ 314230 h 845819"/>
                <a:gd name="connsiteX128" fmla="*/ 846201 w 1029843"/>
                <a:gd name="connsiteY128" fmla="*/ 317182 h 845819"/>
                <a:gd name="connsiteX129" fmla="*/ 853345 w 1029843"/>
                <a:gd name="connsiteY129" fmla="*/ 322707 h 845819"/>
                <a:gd name="connsiteX130" fmla="*/ 863727 w 1029843"/>
                <a:gd name="connsiteY130" fmla="*/ 316516 h 845819"/>
                <a:gd name="connsiteX131" fmla="*/ 872776 w 1029843"/>
                <a:gd name="connsiteY131" fmla="*/ 299371 h 845819"/>
                <a:gd name="connsiteX132" fmla="*/ 881825 w 1029843"/>
                <a:gd name="connsiteY132" fmla="*/ 294989 h 845819"/>
                <a:gd name="connsiteX133" fmla="*/ 891921 w 1029843"/>
                <a:gd name="connsiteY133" fmla="*/ 285750 h 845819"/>
                <a:gd name="connsiteX134" fmla="*/ 891540 w 1029843"/>
                <a:gd name="connsiteY134" fmla="*/ 282511 h 845819"/>
                <a:gd name="connsiteX135" fmla="*/ 889540 w 1029843"/>
                <a:gd name="connsiteY135" fmla="*/ 279559 h 845819"/>
                <a:gd name="connsiteX136" fmla="*/ 891064 w 1029843"/>
                <a:gd name="connsiteY136" fmla="*/ 279368 h 845819"/>
                <a:gd name="connsiteX137" fmla="*/ 881825 w 1029843"/>
                <a:gd name="connsiteY137" fmla="*/ 269367 h 845819"/>
                <a:gd name="connsiteX138" fmla="*/ 888111 w 1029843"/>
                <a:gd name="connsiteY138" fmla="*/ 268510 h 845819"/>
                <a:gd name="connsiteX139" fmla="*/ 898589 w 1029843"/>
                <a:gd name="connsiteY139" fmla="*/ 262414 h 845819"/>
                <a:gd name="connsiteX140" fmla="*/ 898970 w 1029843"/>
                <a:gd name="connsiteY140" fmla="*/ 252698 h 845819"/>
                <a:gd name="connsiteX141" fmla="*/ 892778 w 1029843"/>
                <a:gd name="connsiteY141" fmla="*/ 242316 h 845819"/>
                <a:gd name="connsiteX142" fmla="*/ 893921 w 1029843"/>
                <a:gd name="connsiteY142" fmla="*/ 238982 h 845819"/>
                <a:gd name="connsiteX143" fmla="*/ 903637 w 1029843"/>
                <a:gd name="connsiteY143" fmla="*/ 239268 h 845819"/>
                <a:gd name="connsiteX144" fmla="*/ 908209 w 1029843"/>
                <a:gd name="connsiteY144" fmla="*/ 237172 h 845819"/>
                <a:gd name="connsiteX145" fmla="*/ 921163 w 1029843"/>
                <a:gd name="connsiteY145" fmla="*/ 225838 h 845819"/>
                <a:gd name="connsiteX146" fmla="*/ 920401 w 1029843"/>
                <a:gd name="connsiteY146" fmla="*/ 219551 h 845819"/>
                <a:gd name="connsiteX147" fmla="*/ 917734 w 1029843"/>
                <a:gd name="connsiteY147" fmla="*/ 211836 h 845819"/>
                <a:gd name="connsiteX148" fmla="*/ 908685 w 1029843"/>
                <a:gd name="connsiteY148" fmla="*/ 203359 h 845819"/>
                <a:gd name="connsiteX149" fmla="*/ 906113 w 1029843"/>
                <a:gd name="connsiteY149" fmla="*/ 195739 h 845819"/>
                <a:gd name="connsiteX150" fmla="*/ 897446 w 1029843"/>
                <a:gd name="connsiteY150" fmla="*/ 190405 h 845819"/>
                <a:gd name="connsiteX151" fmla="*/ 893445 w 1029843"/>
                <a:gd name="connsiteY151" fmla="*/ 184499 h 845819"/>
                <a:gd name="connsiteX152" fmla="*/ 885158 w 1029843"/>
                <a:gd name="connsiteY152" fmla="*/ 182309 h 845819"/>
                <a:gd name="connsiteX153" fmla="*/ 875252 w 1029843"/>
                <a:gd name="connsiteY153" fmla="*/ 167545 h 845819"/>
                <a:gd name="connsiteX154" fmla="*/ 874395 w 1029843"/>
                <a:gd name="connsiteY154" fmla="*/ 161258 h 845819"/>
                <a:gd name="connsiteX155" fmla="*/ 872871 w 1029843"/>
                <a:gd name="connsiteY155" fmla="*/ 161449 h 845819"/>
                <a:gd name="connsiteX156" fmla="*/ 869728 w 1029843"/>
                <a:gd name="connsiteY156" fmla="*/ 161830 h 845819"/>
                <a:gd name="connsiteX157" fmla="*/ 867727 w 1029843"/>
                <a:gd name="connsiteY157" fmla="*/ 158877 h 845819"/>
                <a:gd name="connsiteX158" fmla="*/ 863156 w 1029843"/>
                <a:gd name="connsiteY158" fmla="*/ 148209 h 845819"/>
                <a:gd name="connsiteX159" fmla="*/ 855250 w 1029843"/>
                <a:gd name="connsiteY159" fmla="*/ 149257 h 845819"/>
                <a:gd name="connsiteX160" fmla="*/ 854678 w 1029843"/>
                <a:gd name="connsiteY160" fmla="*/ 144494 h 845819"/>
                <a:gd name="connsiteX161" fmla="*/ 848297 w 1029843"/>
                <a:gd name="connsiteY161" fmla="*/ 132493 h 845819"/>
                <a:gd name="connsiteX162" fmla="*/ 834866 w 1029843"/>
                <a:gd name="connsiteY162" fmla="*/ 127825 h 845819"/>
                <a:gd name="connsiteX163" fmla="*/ 828580 w 1029843"/>
                <a:gd name="connsiteY163" fmla="*/ 128588 h 845819"/>
                <a:gd name="connsiteX164" fmla="*/ 824675 w 1029843"/>
                <a:gd name="connsiteY164" fmla="*/ 135541 h 845819"/>
                <a:gd name="connsiteX165" fmla="*/ 818102 w 1029843"/>
                <a:gd name="connsiteY165" fmla="*/ 134779 h 845819"/>
                <a:gd name="connsiteX166" fmla="*/ 806863 w 1029843"/>
                <a:gd name="connsiteY166" fmla="*/ 134588 h 845819"/>
                <a:gd name="connsiteX167" fmla="*/ 805720 w 1029843"/>
                <a:gd name="connsiteY167" fmla="*/ 125063 h 845819"/>
                <a:gd name="connsiteX168" fmla="*/ 804101 w 1029843"/>
                <a:gd name="connsiteY168" fmla="*/ 125254 h 845819"/>
                <a:gd name="connsiteX169" fmla="*/ 800957 w 1029843"/>
                <a:gd name="connsiteY169" fmla="*/ 125730 h 845819"/>
                <a:gd name="connsiteX170" fmla="*/ 792861 w 1029843"/>
                <a:gd name="connsiteY170" fmla="*/ 125158 h 845819"/>
                <a:gd name="connsiteX171" fmla="*/ 789908 w 1029843"/>
                <a:gd name="connsiteY171" fmla="*/ 127064 h 845819"/>
                <a:gd name="connsiteX172" fmla="*/ 774859 w 1029843"/>
                <a:gd name="connsiteY172" fmla="*/ 122587 h 845819"/>
                <a:gd name="connsiteX173" fmla="*/ 771716 w 1029843"/>
                <a:gd name="connsiteY173" fmla="*/ 122968 h 845819"/>
                <a:gd name="connsiteX174" fmla="*/ 763524 w 1029843"/>
                <a:gd name="connsiteY174" fmla="*/ 146494 h 845819"/>
                <a:gd name="connsiteX175" fmla="*/ 765143 w 1029843"/>
                <a:gd name="connsiteY175" fmla="*/ 159163 h 845819"/>
                <a:gd name="connsiteX176" fmla="*/ 763524 w 1029843"/>
                <a:gd name="connsiteY176" fmla="*/ 159353 h 845819"/>
                <a:gd name="connsiteX177" fmla="*/ 765524 w 1029843"/>
                <a:gd name="connsiteY177" fmla="*/ 162306 h 845819"/>
                <a:gd name="connsiteX178" fmla="*/ 762952 w 1029843"/>
                <a:gd name="connsiteY178" fmla="*/ 167449 h 845819"/>
                <a:gd name="connsiteX179" fmla="*/ 747141 w 1029843"/>
                <a:gd name="connsiteY179" fmla="*/ 169450 h 845819"/>
                <a:gd name="connsiteX180" fmla="*/ 741235 w 1029843"/>
                <a:gd name="connsiteY180" fmla="*/ 173355 h 845819"/>
                <a:gd name="connsiteX181" fmla="*/ 736092 w 1029843"/>
                <a:gd name="connsiteY181" fmla="*/ 170878 h 845819"/>
                <a:gd name="connsiteX182" fmla="*/ 737711 w 1029843"/>
                <a:gd name="connsiteY182" fmla="*/ 170593 h 845819"/>
                <a:gd name="connsiteX183" fmla="*/ 734759 w 1029843"/>
                <a:gd name="connsiteY183" fmla="*/ 159829 h 845819"/>
                <a:gd name="connsiteX184" fmla="*/ 730568 w 1029843"/>
                <a:gd name="connsiteY184" fmla="*/ 152305 h 845819"/>
                <a:gd name="connsiteX185" fmla="*/ 714947 w 1029843"/>
                <a:gd name="connsiteY185" fmla="*/ 143066 h 845819"/>
                <a:gd name="connsiteX186" fmla="*/ 707231 w 1029843"/>
                <a:gd name="connsiteY186" fmla="*/ 145637 h 845819"/>
                <a:gd name="connsiteX187" fmla="*/ 704850 w 1029843"/>
                <a:gd name="connsiteY187" fmla="*/ 139541 h 845819"/>
                <a:gd name="connsiteX188" fmla="*/ 701516 w 1029843"/>
                <a:gd name="connsiteY188" fmla="*/ 138398 h 845819"/>
                <a:gd name="connsiteX189" fmla="*/ 699516 w 1029843"/>
                <a:gd name="connsiteY189" fmla="*/ 135445 h 845819"/>
                <a:gd name="connsiteX190" fmla="*/ 691706 w 1029843"/>
                <a:gd name="connsiteY190" fmla="*/ 136398 h 845819"/>
                <a:gd name="connsiteX191" fmla="*/ 688086 w 1029843"/>
                <a:gd name="connsiteY191" fmla="*/ 133636 h 845819"/>
                <a:gd name="connsiteX192" fmla="*/ 681800 w 1029843"/>
                <a:gd name="connsiteY192" fmla="*/ 134493 h 845819"/>
                <a:gd name="connsiteX193" fmla="*/ 679609 w 1029843"/>
                <a:gd name="connsiteY193" fmla="*/ 142780 h 845819"/>
                <a:gd name="connsiteX194" fmla="*/ 676656 w 1029843"/>
                <a:gd name="connsiteY194" fmla="*/ 144780 h 845819"/>
                <a:gd name="connsiteX195" fmla="*/ 673513 w 1029843"/>
                <a:gd name="connsiteY195" fmla="*/ 145161 h 845819"/>
                <a:gd name="connsiteX196" fmla="*/ 672560 w 1029843"/>
                <a:gd name="connsiteY196" fmla="*/ 150114 h 845819"/>
                <a:gd name="connsiteX197" fmla="*/ 664083 w 1029843"/>
                <a:gd name="connsiteY197" fmla="*/ 159163 h 845819"/>
                <a:gd name="connsiteX198" fmla="*/ 659321 w 1029843"/>
                <a:gd name="connsiteY198" fmla="*/ 159734 h 845819"/>
                <a:gd name="connsiteX199" fmla="*/ 659797 w 1029843"/>
                <a:gd name="connsiteY199" fmla="*/ 162973 h 845819"/>
                <a:gd name="connsiteX200" fmla="*/ 655606 w 1029843"/>
                <a:gd name="connsiteY200" fmla="*/ 168307 h 845819"/>
                <a:gd name="connsiteX201" fmla="*/ 653129 w 1029843"/>
                <a:gd name="connsiteY201" fmla="*/ 186214 h 845819"/>
                <a:gd name="connsiteX202" fmla="*/ 653510 w 1029843"/>
                <a:gd name="connsiteY202" fmla="*/ 189357 h 845819"/>
                <a:gd name="connsiteX203" fmla="*/ 652367 w 1029843"/>
                <a:gd name="connsiteY203" fmla="*/ 192786 h 845819"/>
                <a:gd name="connsiteX204" fmla="*/ 642271 w 1029843"/>
                <a:gd name="connsiteY204" fmla="*/ 189167 h 845819"/>
                <a:gd name="connsiteX205" fmla="*/ 631603 w 1029843"/>
                <a:gd name="connsiteY205" fmla="*/ 206597 h 845819"/>
                <a:gd name="connsiteX206" fmla="*/ 626269 w 1029843"/>
                <a:gd name="connsiteY206" fmla="*/ 202501 h 845819"/>
                <a:gd name="connsiteX207" fmla="*/ 624364 w 1029843"/>
                <a:gd name="connsiteY207" fmla="*/ 199549 h 845819"/>
                <a:gd name="connsiteX208" fmla="*/ 619411 w 1029843"/>
                <a:gd name="connsiteY208" fmla="*/ 198596 h 845819"/>
                <a:gd name="connsiteX209" fmla="*/ 609124 w 1029843"/>
                <a:gd name="connsiteY209" fmla="*/ 193453 h 845819"/>
                <a:gd name="connsiteX210" fmla="*/ 605600 w 1029843"/>
                <a:gd name="connsiteY210" fmla="*/ 190691 h 845819"/>
                <a:gd name="connsiteX211" fmla="*/ 605123 w 1029843"/>
                <a:gd name="connsiteY211" fmla="*/ 187547 h 845819"/>
                <a:gd name="connsiteX212" fmla="*/ 610648 w 1029843"/>
                <a:gd name="connsiteY212" fmla="*/ 180403 h 845819"/>
                <a:gd name="connsiteX213" fmla="*/ 618363 w 1029843"/>
                <a:gd name="connsiteY213" fmla="*/ 177832 h 845819"/>
                <a:gd name="connsiteX214" fmla="*/ 628555 w 1029843"/>
                <a:gd name="connsiteY214" fmla="*/ 170117 h 845819"/>
                <a:gd name="connsiteX215" fmla="*/ 626650 w 1029843"/>
                <a:gd name="connsiteY215" fmla="*/ 167164 h 845819"/>
                <a:gd name="connsiteX216" fmla="*/ 618363 w 1029843"/>
                <a:gd name="connsiteY216" fmla="*/ 164973 h 845819"/>
                <a:gd name="connsiteX217" fmla="*/ 617125 w 1029843"/>
                <a:gd name="connsiteY217" fmla="*/ 155543 h 845819"/>
                <a:gd name="connsiteX218" fmla="*/ 613791 w 1029843"/>
                <a:gd name="connsiteY218" fmla="*/ 154400 h 845819"/>
                <a:gd name="connsiteX219" fmla="*/ 616268 w 1029843"/>
                <a:gd name="connsiteY219" fmla="*/ 149257 h 845819"/>
                <a:gd name="connsiteX220" fmla="*/ 614743 w 1029843"/>
                <a:gd name="connsiteY220" fmla="*/ 136589 h 845819"/>
                <a:gd name="connsiteX221" fmla="*/ 612076 w 1029843"/>
                <a:gd name="connsiteY221" fmla="*/ 128873 h 845819"/>
                <a:gd name="connsiteX222" fmla="*/ 612934 w 1029843"/>
                <a:gd name="connsiteY222" fmla="*/ 122396 h 845819"/>
                <a:gd name="connsiteX223" fmla="*/ 609505 w 1029843"/>
                <a:gd name="connsiteY223" fmla="*/ 121253 h 845819"/>
                <a:gd name="connsiteX224" fmla="*/ 605600 w 1029843"/>
                <a:gd name="connsiteY224" fmla="*/ 115348 h 845819"/>
                <a:gd name="connsiteX225" fmla="*/ 606552 w 1029843"/>
                <a:gd name="connsiteY225" fmla="*/ 110395 h 845819"/>
                <a:gd name="connsiteX226" fmla="*/ 606171 w 1029843"/>
                <a:gd name="connsiteY226" fmla="*/ 107251 h 845819"/>
                <a:gd name="connsiteX227" fmla="*/ 587597 w 1029843"/>
                <a:gd name="connsiteY227" fmla="*/ 99917 h 845819"/>
                <a:gd name="connsiteX228" fmla="*/ 578072 w 1029843"/>
                <a:gd name="connsiteY228" fmla="*/ 101155 h 845819"/>
                <a:gd name="connsiteX229" fmla="*/ 576739 w 1029843"/>
                <a:gd name="connsiteY229" fmla="*/ 102965 h 845819"/>
                <a:gd name="connsiteX230" fmla="*/ 572452 w 1029843"/>
                <a:gd name="connsiteY230" fmla="*/ 106680 h 845819"/>
                <a:gd name="connsiteX231" fmla="*/ 565880 w 1029843"/>
                <a:gd name="connsiteY231" fmla="*/ 105918 h 845819"/>
                <a:gd name="connsiteX232" fmla="*/ 563309 w 1029843"/>
                <a:gd name="connsiteY232" fmla="*/ 111062 h 845819"/>
                <a:gd name="connsiteX233" fmla="*/ 556641 w 1029843"/>
                <a:gd name="connsiteY233" fmla="*/ 108680 h 845819"/>
                <a:gd name="connsiteX234" fmla="*/ 549116 w 1029843"/>
                <a:gd name="connsiteY234" fmla="*/ 112871 h 845819"/>
                <a:gd name="connsiteX235" fmla="*/ 533972 w 1029843"/>
                <a:gd name="connsiteY235" fmla="*/ 119634 h 845819"/>
                <a:gd name="connsiteX236" fmla="*/ 533019 w 1029843"/>
                <a:gd name="connsiteY236" fmla="*/ 124587 h 845819"/>
                <a:gd name="connsiteX237" fmla="*/ 517970 w 1029843"/>
                <a:gd name="connsiteY237" fmla="*/ 120015 h 845819"/>
                <a:gd name="connsiteX238" fmla="*/ 518732 w 1029843"/>
                <a:gd name="connsiteY238" fmla="*/ 113538 h 845819"/>
                <a:gd name="connsiteX239" fmla="*/ 518160 w 1029843"/>
                <a:gd name="connsiteY239" fmla="*/ 108775 h 845819"/>
                <a:gd name="connsiteX240" fmla="*/ 514731 w 1029843"/>
                <a:gd name="connsiteY240" fmla="*/ 94774 h 845819"/>
                <a:gd name="connsiteX241" fmla="*/ 511016 w 1029843"/>
                <a:gd name="connsiteY241" fmla="*/ 90488 h 845819"/>
                <a:gd name="connsiteX242" fmla="*/ 509778 w 1029843"/>
                <a:gd name="connsiteY242" fmla="*/ 80963 h 845819"/>
                <a:gd name="connsiteX243" fmla="*/ 506444 w 1029843"/>
                <a:gd name="connsiteY243" fmla="*/ 79819 h 845819"/>
                <a:gd name="connsiteX244" fmla="*/ 498539 w 1029843"/>
                <a:gd name="connsiteY244" fmla="*/ 68008 h 845819"/>
                <a:gd name="connsiteX245" fmla="*/ 494538 w 1029843"/>
                <a:gd name="connsiteY245" fmla="*/ 62103 h 845819"/>
                <a:gd name="connsiteX246" fmla="*/ 496634 w 1029843"/>
                <a:gd name="connsiteY246" fmla="*/ 40957 h 845819"/>
                <a:gd name="connsiteX247" fmla="*/ 487966 w 1029843"/>
                <a:gd name="connsiteY247" fmla="*/ 35623 h 845819"/>
                <a:gd name="connsiteX248" fmla="*/ 485394 w 1029843"/>
                <a:gd name="connsiteY248" fmla="*/ 28003 h 845819"/>
                <a:gd name="connsiteX249" fmla="*/ 466630 w 1029843"/>
                <a:gd name="connsiteY249" fmla="*/ 32004 h 845819"/>
                <a:gd name="connsiteX250" fmla="*/ 465677 w 1029843"/>
                <a:gd name="connsiteY250" fmla="*/ 36862 h 845819"/>
                <a:gd name="connsiteX251" fmla="*/ 459962 w 1029843"/>
                <a:gd name="connsiteY251" fmla="*/ 42481 h 845819"/>
                <a:gd name="connsiteX252" fmla="*/ 446913 w 1029843"/>
                <a:gd name="connsiteY252" fmla="*/ 40862 h 845819"/>
                <a:gd name="connsiteX253" fmla="*/ 436340 w 1029843"/>
                <a:gd name="connsiteY253" fmla="*/ 45434 h 845819"/>
                <a:gd name="connsiteX254" fmla="*/ 431959 w 1029843"/>
                <a:gd name="connsiteY254" fmla="*/ 49244 h 845819"/>
                <a:gd name="connsiteX255" fmla="*/ 430435 w 1029843"/>
                <a:gd name="connsiteY255" fmla="*/ 49435 h 845819"/>
                <a:gd name="connsiteX256" fmla="*/ 420148 w 1029843"/>
                <a:gd name="connsiteY256" fmla="*/ 44291 h 845819"/>
                <a:gd name="connsiteX257" fmla="*/ 409289 w 1029843"/>
                <a:gd name="connsiteY257" fmla="*/ 47339 h 845819"/>
                <a:gd name="connsiteX258" fmla="*/ 404336 w 1029843"/>
                <a:gd name="connsiteY258" fmla="*/ 46292 h 845819"/>
                <a:gd name="connsiteX259" fmla="*/ 397383 w 1029843"/>
                <a:gd name="connsiteY259" fmla="*/ 42386 h 845819"/>
                <a:gd name="connsiteX260" fmla="*/ 394621 w 1029843"/>
                <a:gd name="connsiteY260" fmla="*/ 33147 h 845819"/>
                <a:gd name="connsiteX261" fmla="*/ 390906 w 1029843"/>
                <a:gd name="connsiteY261" fmla="*/ 28766 h 845819"/>
                <a:gd name="connsiteX262" fmla="*/ 382619 w 1029843"/>
                <a:gd name="connsiteY262" fmla="*/ 26670 h 845819"/>
                <a:gd name="connsiteX263" fmla="*/ 377285 w 1029843"/>
                <a:gd name="connsiteY263" fmla="*/ 22479 h 845819"/>
                <a:gd name="connsiteX264" fmla="*/ 369189 w 1029843"/>
                <a:gd name="connsiteY264" fmla="*/ 21907 h 845819"/>
                <a:gd name="connsiteX265" fmla="*/ 350996 w 1029843"/>
                <a:gd name="connsiteY265" fmla="*/ 17812 h 845819"/>
                <a:gd name="connsiteX266" fmla="*/ 348043 w 1029843"/>
                <a:gd name="connsiteY266" fmla="*/ 6953 h 845819"/>
                <a:gd name="connsiteX267" fmla="*/ 337947 w 1029843"/>
                <a:gd name="connsiteY267" fmla="*/ 3429 h 845819"/>
                <a:gd name="connsiteX268" fmla="*/ 321564 w 1029843"/>
                <a:gd name="connsiteY268" fmla="*/ 762 h 845819"/>
                <a:gd name="connsiteX269" fmla="*/ 309372 w 1029843"/>
                <a:gd name="connsiteY269" fmla="*/ 5524 h 845819"/>
                <a:gd name="connsiteX270" fmla="*/ 302228 w 1029843"/>
                <a:gd name="connsiteY270" fmla="*/ 0 h 845819"/>
                <a:gd name="connsiteX271" fmla="*/ 292703 w 1029843"/>
                <a:gd name="connsiteY271" fmla="*/ 1238 h 845819"/>
                <a:gd name="connsiteX272" fmla="*/ 292989 w 1029843"/>
                <a:gd name="connsiteY272" fmla="*/ 15621 h 845819"/>
                <a:gd name="connsiteX273" fmla="*/ 293942 w 1029843"/>
                <a:gd name="connsiteY273" fmla="*/ 23527 h 845819"/>
                <a:gd name="connsiteX274" fmla="*/ 297942 w 1029843"/>
                <a:gd name="connsiteY274" fmla="*/ 29432 h 845819"/>
                <a:gd name="connsiteX275" fmla="*/ 313754 w 1029843"/>
                <a:gd name="connsiteY275" fmla="*/ 40195 h 845819"/>
                <a:gd name="connsiteX276" fmla="*/ 318325 w 1029843"/>
                <a:gd name="connsiteY276" fmla="*/ 50864 h 845819"/>
                <a:gd name="connsiteX277" fmla="*/ 316135 w 1029843"/>
                <a:gd name="connsiteY277" fmla="*/ 59150 h 845819"/>
                <a:gd name="connsiteX278" fmla="*/ 308324 w 1029843"/>
                <a:gd name="connsiteY278" fmla="*/ 72962 h 845819"/>
                <a:gd name="connsiteX279" fmla="*/ 307086 w 1029843"/>
                <a:gd name="connsiteY279" fmla="*/ 76391 h 845819"/>
                <a:gd name="connsiteX280" fmla="*/ 314230 w 1029843"/>
                <a:gd name="connsiteY280" fmla="*/ 81820 h 845819"/>
                <a:gd name="connsiteX281" fmla="*/ 312706 w 1029843"/>
                <a:gd name="connsiteY281" fmla="*/ 94869 h 845819"/>
                <a:gd name="connsiteX282" fmla="*/ 314706 w 1029843"/>
                <a:gd name="connsiteY282" fmla="*/ 97822 h 845819"/>
                <a:gd name="connsiteX283" fmla="*/ 311182 w 1029843"/>
                <a:gd name="connsiteY283" fmla="*/ 107918 h 845819"/>
                <a:gd name="connsiteX284" fmla="*/ 311753 w 1029843"/>
                <a:gd name="connsiteY284" fmla="*/ 112681 h 845819"/>
                <a:gd name="connsiteX285" fmla="*/ 313563 w 1029843"/>
                <a:gd name="connsiteY285" fmla="*/ 114014 h 845819"/>
                <a:gd name="connsiteX286" fmla="*/ 319945 w 1029843"/>
                <a:gd name="connsiteY286" fmla="*/ 138874 h 845819"/>
                <a:gd name="connsiteX287" fmla="*/ 326993 w 1029843"/>
                <a:gd name="connsiteY287" fmla="*/ 144399 h 845819"/>
                <a:gd name="connsiteX288" fmla="*/ 319945 w 1029843"/>
                <a:gd name="connsiteY288" fmla="*/ 151733 h 845819"/>
                <a:gd name="connsiteX289" fmla="*/ 314801 w 1029843"/>
                <a:gd name="connsiteY289" fmla="*/ 161925 h 845819"/>
                <a:gd name="connsiteX290" fmla="*/ 314992 w 1029843"/>
                <a:gd name="connsiteY290" fmla="*/ 163544 h 845819"/>
                <a:gd name="connsiteX291" fmla="*/ 325469 w 1029843"/>
                <a:gd name="connsiteY291" fmla="*/ 170212 h 845819"/>
                <a:gd name="connsiteX292" fmla="*/ 329660 w 1029843"/>
                <a:gd name="connsiteY292" fmla="*/ 177737 h 845819"/>
                <a:gd name="connsiteX293" fmla="*/ 330518 w 1029843"/>
                <a:gd name="connsiteY293" fmla="*/ 184023 h 845819"/>
                <a:gd name="connsiteX294" fmla="*/ 339185 w 1029843"/>
                <a:gd name="connsiteY294" fmla="*/ 189357 h 845819"/>
                <a:gd name="connsiteX295" fmla="*/ 333470 w 1029843"/>
                <a:gd name="connsiteY295" fmla="*/ 194881 h 845819"/>
                <a:gd name="connsiteX296" fmla="*/ 326803 w 1029843"/>
                <a:gd name="connsiteY296" fmla="*/ 205359 h 845819"/>
                <a:gd name="connsiteX297" fmla="*/ 328994 w 1029843"/>
                <a:gd name="connsiteY297" fmla="*/ 209931 h 845819"/>
                <a:gd name="connsiteX298" fmla="*/ 318516 w 1029843"/>
                <a:gd name="connsiteY298" fmla="*/ 228886 h 845819"/>
                <a:gd name="connsiteX299" fmla="*/ 325660 w 1029843"/>
                <a:gd name="connsiteY299" fmla="*/ 234315 h 845819"/>
                <a:gd name="connsiteX300" fmla="*/ 335375 w 1029843"/>
                <a:gd name="connsiteY300" fmla="*/ 234696 h 845819"/>
                <a:gd name="connsiteX301" fmla="*/ 332804 w 1029843"/>
                <a:gd name="connsiteY301" fmla="*/ 239840 h 845819"/>
                <a:gd name="connsiteX302" fmla="*/ 328232 w 1029843"/>
                <a:gd name="connsiteY302" fmla="*/ 242030 h 845819"/>
                <a:gd name="connsiteX303" fmla="*/ 339281 w 1029843"/>
                <a:gd name="connsiteY303" fmla="*/ 253460 h 845819"/>
                <a:gd name="connsiteX304" fmla="*/ 334423 w 1029843"/>
                <a:gd name="connsiteY304" fmla="*/ 252508 h 845819"/>
                <a:gd name="connsiteX305" fmla="*/ 334613 w 1029843"/>
                <a:gd name="connsiteY305" fmla="*/ 254032 h 845819"/>
                <a:gd name="connsiteX306" fmla="*/ 341090 w 1029843"/>
                <a:gd name="connsiteY306" fmla="*/ 254889 h 845819"/>
                <a:gd name="connsiteX307" fmla="*/ 343472 w 1029843"/>
                <a:gd name="connsiteY307" fmla="*/ 260985 h 845819"/>
                <a:gd name="connsiteX308" fmla="*/ 348806 w 1029843"/>
                <a:gd name="connsiteY308" fmla="*/ 265081 h 845819"/>
                <a:gd name="connsiteX309" fmla="*/ 349187 w 1029843"/>
                <a:gd name="connsiteY309" fmla="*/ 268224 h 845819"/>
                <a:gd name="connsiteX310" fmla="*/ 352806 w 1029843"/>
                <a:gd name="connsiteY310" fmla="*/ 270986 h 845819"/>
                <a:gd name="connsiteX311" fmla="*/ 356997 w 1029843"/>
                <a:gd name="connsiteY311" fmla="*/ 278511 h 845819"/>
                <a:gd name="connsiteX312" fmla="*/ 358521 w 1029843"/>
                <a:gd name="connsiteY312" fmla="*/ 278320 h 845819"/>
                <a:gd name="connsiteX313" fmla="*/ 359283 w 1029843"/>
                <a:gd name="connsiteY313" fmla="*/ 284607 h 845819"/>
                <a:gd name="connsiteX314" fmla="*/ 363284 w 1029843"/>
                <a:gd name="connsiteY314" fmla="*/ 290513 h 845819"/>
                <a:gd name="connsiteX315" fmla="*/ 362141 w 1029843"/>
                <a:gd name="connsiteY315" fmla="*/ 293846 h 845819"/>
                <a:gd name="connsiteX316" fmla="*/ 340043 w 1029843"/>
                <a:gd name="connsiteY316" fmla="*/ 296704 h 845819"/>
                <a:gd name="connsiteX317" fmla="*/ 335471 w 1029843"/>
                <a:gd name="connsiteY317" fmla="*/ 298894 h 845819"/>
                <a:gd name="connsiteX318" fmla="*/ 334137 w 1029843"/>
                <a:gd name="connsiteY318" fmla="*/ 300609 h 845819"/>
                <a:gd name="connsiteX319" fmla="*/ 331946 w 1029843"/>
                <a:gd name="connsiteY319" fmla="*/ 296132 h 845819"/>
                <a:gd name="connsiteX320" fmla="*/ 329184 w 1029843"/>
                <a:gd name="connsiteY320" fmla="*/ 299657 h 845819"/>
                <a:gd name="connsiteX321" fmla="*/ 331184 w 1029843"/>
                <a:gd name="connsiteY321" fmla="*/ 302609 h 845819"/>
                <a:gd name="connsiteX322" fmla="*/ 328041 w 1029843"/>
                <a:gd name="connsiteY322" fmla="*/ 302990 h 845819"/>
                <a:gd name="connsiteX323" fmla="*/ 326803 w 1029843"/>
                <a:gd name="connsiteY323" fmla="*/ 293561 h 845819"/>
                <a:gd name="connsiteX324" fmla="*/ 323660 w 1029843"/>
                <a:gd name="connsiteY324" fmla="*/ 293942 h 845819"/>
                <a:gd name="connsiteX325" fmla="*/ 323850 w 1029843"/>
                <a:gd name="connsiteY325" fmla="*/ 295561 h 845819"/>
                <a:gd name="connsiteX326" fmla="*/ 320516 w 1029843"/>
                <a:gd name="connsiteY326" fmla="*/ 294323 h 845819"/>
                <a:gd name="connsiteX327" fmla="*/ 320040 w 1029843"/>
                <a:gd name="connsiteY327" fmla="*/ 291179 h 845819"/>
                <a:gd name="connsiteX328" fmla="*/ 318707 w 1029843"/>
                <a:gd name="connsiteY328" fmla="*/ 292989 h 845819"/>
                <a:gd name="connsiteX329" fmla="*/ 318325 w 1029843"/>
                <a:gd name="connsiteY329" fmla="*/ 289846 h 845819"/>
                <a:gd name="connsiteX330" fmla="*/ 316706 w 1029843"/>
                <a:gd name="connsiteY330" fmla="*/ 290036 h 845819"/>
                <a:gd name="connsiteX331" fmla="*/ 310801 w 1029843"/>
                <a:gd name="connsiteY331" fmla="*/ 293942 h 845819"/>
                <a:gd name="connsiteX332" fmla="*/ 309277 w 1029843"/>
                <a:gd name="connsiteY332" fmla="*/ 294227 h 845819"/>
                <a:gd name="connsiteX333" fmla="*/ 304705 w 1029843"/>
                <a:gd name="connsiteY333" fmla="*/ 296323 h 845819"/>
                <a:gd name="connsiteX334" fmla="*/ 301371 w 1029843"/>
                <a:gd name="connsiteY334" fmla="*/ 295180 h 845819"/>
                <a:gd name="connsiteX335" fmla="*/ 302324 w 1029843"/>
                <a:gd name="connsiteY335" fmla="*/ 303086 h 845819"/>
                <a:gd name="connsiteX336" fmla="*/ 294418 w 1029843"/>
                <a:gd name="connsiteY336" fmla="*/ 304133 h 845819"/>
                <a:gd name="connsiteX337" fmla="*/ 292227 w 1029843"/>
                <a:gd name="connsiteY337" fmla="*/ 299561 h 845819"/>
                <a:gd name="connsiteX338" fmla="*/ 287750 w 1029843"/>
                <a:gd name="connsiteY338" fmla="*/ 301752 h 845819"/>
                <a:gd name="connsiteX339" fmla="*/ 285750 w 1029843"/>
                <a:gd name="connsiteY339" fmla="*/ 298799 h 845819"/>
                <a:gd name="connsiteX340" fmla="*/ 279464 w 1029843"/>
                <a:gd name="connsiteY340" fmla="*/ 299561 h 845819"/>
                <a:gd name="connsiteX341" fmla="*/ 278606 w 1029843"/>
                <a:gd name="connsiteY341" fmla="*/ 293275 h 845819"/>
                <a:gd name="connsiteX342" fmla="*/ 267557 w 1029843"/>
                <a:gd name="connsiteY342" fmla="*/ 281845 h 845819"/>
                <a:gd name="connsiteX343" fmla="*/ 268319 w 1029843"/>
                <a:gd name="connsiteY343" fmla="*/ 275368 h 845819"/>
                <a:gd name="connsiteX344" fmla="*/ 270129 w 1029843"/>
                <a:gd name="connsiteY344" fmla="*/ 276701 h 845819"/>
                <a:gd name="connsiteX345" fmla="*/ 269748 w 1029843"/>
                <a:gd name="connsiteY345" fmla="*/ 273558 h 845819"/>
                <a:gd name="connsiteX346" fmla="*/ 267748 w 1029843"/>
                <a:gd name="connsiteY346" fmla="*/ 270605 h 845819"/>
                <a:gd name="connsiteX347" fmla="*/ 254318 w 1029843"/>
                <a:gd name="connsiteY347" fmla="*/ 265938 h 845819"/>
                <a:gd name="connsiteX348" fmla="*/ 254889 w 1029843"/>
                <a:gd name="connsiteY348" fmla="*/ 270605 h 845819"/>
                <a:gd name="connsiteX349" fmla="*/ 256508 w 1029843"/>
                <a:gd name="connsiteY349" fmla="*/ 270415 h 845819"/>
                <a:gd name="connsiteX350" fmla="*/ 253746 w 1029843"/>
                <a:gd name="connsiteY350" fmla="*/ 274034 h 845819"/>
                <a:gd name="connsiteX351" fmla="*/ 257461 w 1029843"/>
                <a:gd name="connsiteY351" fmla="*/ 278320 h 845819"/>
                <a:gd name="connsiteX352" fmla="*/ 256508 w 1029843"/>
                <a:gd name="connsiteY352" fmla="*/ 283273 h 845819"/>
                <a:gd name="connsiteX353" fmla="*/ 254699 w 1029843"/>
                <a:gd name="connsiteY353" fmla="*/ 281845 h 845819"/>
                <a:gd name="connsiteX354" fmla="*/ 253365 w 1029843"/>
                <a:gd name="connsiteY354" fmla="*/ 283655 h 845819"/>
                <a:gd name="connsiteX355" fmla="*/ 248031 w 1029843"/>
                <a:gd name="connsiteY355" fmla="*/ 279559 h 845819"/>
                <a:gd name="connsiteX356" fmla="*/ 247841 w 1029843"/>
                <a:gd name="connsiteY356" fmla="*/ 290798 h 845819"/>
                <a:gd name="connsiteX357" fmla="*/ 240125 w 1029843"/>
                <a:gd name="connsiteY357" fmla="*/ 293370 h 845819"/>
                <a:gd name="connsiteX358" fmla="*/ 238411 w 1029843"/>
                <a:gd name="connsiteY358" fmla="*/ 292036 h 845819"/>
                <a:gd name="connsiteX359" fmla="*/ 229076 w 1029843"/>
                <a:gd name="connsiteY359" fmla="*/ 294799 h 845819"/>
                <a:gd name="connsiteX360" fmla="*/ 228124 w 1029843"/>
                <a:gd name="connsiteY360" fmla="*/ 299752 h 845819"/>
                <a:gd name="connsiteX361" fmla="*/ 226790 w 1029843"/>
                <a:gd name="connsiteY361" fmla="*/ 301466 h 845819"/>
                <a:gd name="connsiteX362" fmla="*/ 230505 w 1029843"/>
                <a:gd name="connsiteY362" fmla="*/ 305848 h 845819"/>
                <a:gd name="connsiteX363" fmla="*/ 231743 w 1029843"/>
                <a:gd name="connsiteY363" fmla="*/ 315278 h 845819"/>
                <a:gd name="connsiteX364" fmla="*/ 238697 w 1029843"/>
                <a:gd name="connsiteY364" fmla="*/ 319183 h 845819"/>
                <a:gd name="connsiteX365" fmla="*/ 237649 w 1029843"/>
                <a:gd name="connsiteY365" fmla="*/ 324136 h 845819"/>
                <a:gd name="connsiteX366" fmla="*/ 232982 w 1029843"/>
                <a:gd name="connsiteY366" fmla="*/ 324803 h 845819"/>
                <a:gd name="connsiteX367" fmla="*/ 234887 w 1029843"/>
                <a:gd name="connsiteY367" fmla="*/ 327755 h 845819"/>
                <a:gd name="connsiteX368" fmla="*/ 232124 w 1029843"/>
                <a:gd name="connsiteY368" fmla="*/ 331280 h 845819"/>
                <a:gd name="connsiteX369" fmla="*/ 231172 w 1029843"/>
                <a:gd name="connsiteY369" fmla="*/ 336232 h 845819"/>
                <a:gd name="connsiteX370" fmla="*/ 226219 w 1029843"/>
                <a:gd name="connsiteY370" fmla="*/ 335280 h 845819"/>
                <a:gd name="connsiteX371" fmla="*/ 223838 w 1029843"/>
                <a:gd name="connsiteY371" fmla="*/ 329089 h 845819"/>
                <a:gd name="connsiteX372" fmla="*/ 220885 w 1029843"/>
                <a:gd name="connsiteY372" fmla="*/ 331089 h 845819"/>
                <a:gd name="connsiteX373" fmla="*/ 218123 w 1029843"/>
                <a:gd name="connsiteY373" fmla="*/ 334709 h 845819"/>
                <a:gd name="connsiteX374" fmla="*/ 221933 w 1029843"/>
                <a:gd name="connsiteY374" fmla="*/ 338995 h 845819"/>
                <a:gd name="connsiteX375" fmla="*/ 222123 w 1029843"/>
                <a:gd name="connsiteY375" fmla="*/ 340614 h 845819"/>
                <a:gd name="connsiteX376" fmla="*/ 218789 w 1029843"/>
                <a:gd name="connsiteY376" fmla="*/ 339376 h 845819"/>
                <a:gd name="connsiteX377" fmla="*/ 218980 w 1029843"/>
                <a:gd name="connsiteY377" fmla="*/ 340995 h 845819"/>
                <a:gd name="connsiteX378" fmla="*/ 213836 w 1029843"/>
                <a:gd name="connsiteY378" fmla="*/ 338423 h 845819"/>
                <a:gd name="connsiteX379" fmla="*/ 212693 w 1029843"/>
                <a:gd name="connsiteY379" fmla="*/ 341757 h 845819"/>
                <a:gd name="connsiteX380" fmla="*/ 207740 w 1029843"/>
                <a:gd name="connsiteY380" fmla="*/ 340805 h 845819"/>
                <a:gd name="connsiteX381" fmla="*/ 203168 w 1029843"/>
                <a:gd name="connsiteY381" fmla="*/ 342995 h 845819"/>
                <a:gd name="connsiteX382" fmla="*/ 196691 w 1029843"/>
                <a:gd name="connsiteY382" fmla="*/ 342233 h 845819"/>
                <a:gd name="connsiteX383" fmla="*/ 196025 w 1029843"/>
                <a:gd name="connsiteY383" fmla="*/ 337471 h 845819"/>
                <a:gd name="connsiteX384" fmla="*/ 192691 w 1029843"/>
                <a:gd name="connsiteY384" fmla="*/ 336328 h 845819"/>
                <a:gd name="connsiteX385" fmla="*/ 195834 w 1029843"/>
                <a:gd name="connsiteY385" fmla="*/ 335947 h 845819"/>
                <a:gd name="connsiteX386" fmla="*/ 195453 w 1029843"/>
                <a:gd name="connsiteY386" fmla="*/ 332708 h 845819"/>
                <a:gd name="connsiteX387" fmla="*/ 190691 w 1029843"/>
                <a:gd name="connsiteY387" fmla="*/ 333375 h 845819"/>
                <a:gd name="connsiteX388" fmla="*/ 188786 w 1029843"/>
                <a:gd name="connsiteY388" fmla="*/ 330422 h 845819"/>
                <a:gd name="connsiteX389" fmla="*/ 196882 w 1029843"/>
                <a:gd name="connsiteY389" fmla="*/ 330994 h 845819"/>
                <a:gd name="connsiteX390" fmla="*/ 196596 w 1029843"/>
                <a:gd name="connsiteY390" fmla="*/ 329375 h 845819"/>
                <a:gd name="connsiteX391" fmla="*/ 193262 w 1029843"/>
                <a:gd name="connsiteY391" fmla="*/ 328232 h 845819"/>
                <a:gd name="connsiteX392" fmla="*/ 191072 w 1029843"/>
                <a:gd name="connsiteY392" fmla="*/ 323659 h 845819"/>
                <a:gd name="connsiteX393" fmla="*/ 194215 w 1029843"/>
                <a:gd name="connsiteY393" fmla="*/ 323279 h 845819"/>
                <a:gd name="connsiteX394" fmla="*/ 190119 w 1029843"/>
                <a:gd name="connsiteY394" fmla="*/ 315754 h 845819"/>
                <a:gd name="connsiteX395" fmla="*/ 191262 w 1029843"/>
                <a:gd name="connsiteY395" fmla="*/ 312420 h 845819"/>
                <a:gd name="connsiteX396" fmla="*/ 187928 w 1029843"/>
                <a:gd name="connsiteY396" fmla="*/ 311277 h 845819"/>
                <a:gd name="connsiteX397" fmla="*/ 182023 w 1029843"/>
                <a:gd name="connsiteY397" fmla="*/ 315182 h 845819"/>
                <a:gd name="connsiteX398" fmla="*/ 181832 w 1029843"/>
                <a:gd name="connsiteY398" fmla="*/ 326422 h 845819"/>
                <a:gd name="connsiteX399" fmla="*/ 174879 w 1029843"/>
                <a:gd name="connsiteY399" fmla="*/ 322517 h 845819"/>
                <a:gd name="connsiteX400" fmla="*/ 172784 w 1029843"/>
                <a:gd name="connsiteY400" fmla="*/ 318040 h 845819"/>
                <a:gd name="connsiteX401" fmla="*/ 166021 w 1029843"/>
                <a:gd name="connsiteY401" fmla="*/ 315659 h 845819"/>
                <a:gd name="connsiteX402" fmla="*/ 164402 w 1029843"/>
                <a:gd name="connsiteY402" fmla="*/ 315849 h 845819"/>
                <a:gd name="connsiteX403" fmla="*/ 160306 w 1029843"/>
                <a:gd name="connsiteY403" fmla="*/ 308324 h 845819"/>
                <a:gd name="connsiteX404" fmla="*/ 161449 w 1029843"/>
                <a:gd name="connsiteY404" fmla="*/ 304990 h 845819"/>
                <a:gd name="connsiteX405" fmla="*/ 153162 w 1029843"/>
                <a:gd name="connsiteY405" fmla="*/ 302895 h 845819"/>
                <a:gd name="connsiteX406" fmla="*/ 152019 w 1029843"/>
                <a:gd name="connsiteY406" fmla="*/ 306229 h 845819"/>
                <a:gd name="connsiteX407" fmla="*/ 150400 w 1029843"/>
                <a:gd name="connsiteY407" fmla="*/ 306419 h 845819"/>
                <a:gd name="connsiteX408" fmla="*/ 148209 w 1029843"/>
                <a:gd name="connsiteY408" fmla="*/ 301847 h 845819"/>
                <a:gd name="connsiteX409" fmla="*/ 144113 w 1029843"/>
                <a:gd name="connsiteY409" fmla="*/ 307181 h 845819"/>
                <a:gd name="connsiteX410" fmla="*/ 142113 w 1029843"/>
                <a:gd name="connsiteY410" fmla="*/ 304229 h 845819"/>
                <a:gd name="connsiteX411" fmla="*/ 133826 w 1029843"/>
                <a:gd name="connsiteY411" fmla="*/ 302133 h 845819"/>
                <a:gd name="connsiteX412" fmla="*/ 134969 w 1029843"/>
                <a:gd name="connsiteY412" fmla="*/ 298704 h 845819"/>
                <a:gd name="connsiteX413" fmla="*/ 126302 w 1029843"/>
                <a:gd name="connsiteY413" fmla="*/ 293465 h 845819"/>
                <a:gd name="connsiteX414" fmla="*/ 124968 w 1029843"/>
                <a:gd name="connsiteY414" fmla="*/ 295180 h 845819"/>
                <a:gd name="connsiteX415" fmla="*/ 121349 w 1029843"/>
                <a:gd name="connsiteY415" fmla="*/ 292513 h 845819"/>
                <a:gd name="connsiteX416" fmla="*/ 116681 w 1029843"/>
                <a:gd name="connsiteY416" fmla="*/ 293084 h 845819"/>
                <a:gd name="connsiteX417" fmla="*/ 115253 w 1029843"/>
                <a:gd name="connsiteY417" fmla="*/ 294894 h 845819"/>
                <a:gd name="connsiteX418" fmla="*/ 111538 w 1029843"/>
                <a:gd name="connsiteY418" fmla="*/ 290513 h 845819"/>
                <a:gd name="connsiteX419" fmla="*/ 110300 w 1029843"/>
                <a:gd name="connsiteY419" fmla="*/ 293846 h 845819"/>
                <a:gd name="connsiteX420" fmla="*/ 107156 w 1029843"/>
                <a:gd name="connsiteY420" fmla="*/ 294323 h 845819"/>
                <a:gd name="connsiteX421" fmla="*/ 106013 w 1029843"/>
                <a:gd name="connsiteY421" fmla="*/ 297656 h 845819"/>
                <a:gd name="connsiteX422" fmla="*/ 104394 w 1029843"/>
                <a:gd name="connsiteY422" fmla="*/ 297847 h 845819"/>
                <a:gd name="connsiteX423" fmla="*/ 101632 w 1029843"/>
                <a:gd name="connsiteY423" fmla="*/ 301371 h 845819"/>
                <a:gd name="connsiteX424" fmla="*/ 103442 w 1029843"/>
                <a:gd name="connsiteY424" fmla="*/ 302800 h 845819"/>
                <a:gd name="connsiteX425" fmla="*/ 95726 w 1029843"/>
                <a:gd name="connsiteY425" fmla="*/ 305371 h 845819"/>
                <a:gd name="connsiteX426" fmla="*/ 96583 w 1029843"/>
                <a:gd name="connsiteY426" fmla="*/ 311658 h 845819"/>
                <a:gd name="connsiteX427" fmla="*/ 91631 w 1029843"/>
                <a:gd name="connsiteY427" fmla="*/ 310705 h 845819"/>
                <a:gd name="connsiteX428" fmla="*/ 93631 w 1029843"/>
                <a:gd name="connsiteY428" fmla="*/ 313658 h 845819"/>
                <a:gd name="connsiteX429" fmla="*/ 92869 w 1029843"/>
                <a:gd name="connsiteY429" fmla="*/ 320135 h 845819"/>
                <a:gd name="connsiteX430" fmla="*/ 93250 w 1029843"/>
                <a:gd name="connsiteY430" fmla="*/ 323279 h 845819"/>
                <a:gd name="connsiteX431" fmla="*/ 88487 w 1029843"/>
                <a:gd name="connsiteY431" fmla="*/ 323945 h 845819"/>
                <a:gd name="connsiteX432" fmla="*/ 85344 w 1029843"/>
                <a:gd name="connsiteY432" fmla="*/ 324326 h 845819"/>
                <a:gd name="connsiteX433" fmla="*/ 80772 w 1029843"/>
                <a:gd name="connsiteY433" fmla="*/ 326517 h 845819"/>
                <a:gd name="connsiteX434" fmla="*/ 71723 w 1029843"/>
                <a:gd name="connsiteY434" fmla="*/ 318040 h 845819"/>
                <a:gd name="connsiteX435" fmla="*/ 63246 w 1029843"/>
                <a:gd name="connsiteY435" fmla="*/ 314325 h 845819"/>
                <a:gd name="connsiteX436" fmla="*/ 54959 w 1029843"/>
                <a:gd name="connsiteY436" fmla="*/ 312134 h 845819"/>
                <a:gd name="connsiteX437" fmla="*/ 51149 w 1029843"/>
                <a:gd name="connsiteY437" fmla="*/ 307848 h 845819"/>
                <a:gd name="connsiteX438" fmla="*/ 47625 w 1029843"/>
                <a:gd name="connsiteY438" fmla="*/ 305086 h 845819"/>
                <a:gd name="connsiteX439" fmla="*/ 35528 w 1029843"/>
                <a:gd name="connsiteY439" fmla="*/ 298609 h 845819"/>
                <a:gd name="connsiteX440" fmla="*/ 34195 w 1029843"/>
                <a:gd name="connsiteY440" fmla="*/ 300419 h 845819"/>
                <a:gd name="connsiteX441" fmla="*/ 29242 w 1029843"/>
                <a:gd name="connsiteY441" fmla="*/ 299371 h 845819"/>
                <a:gd name="connsiteX442" fmla="*/ 28670 w 1029843"/>
                <a:gd name="connsiteY442" fmla="*/ 294704 h 845819"/>
                <a:gd name="connsiteX443" fmla="*/ 26670 w 1029843"/>
                <a:gd name="connsiteY443" fmla="*/ 291751 h 845819"/>
                <a:gd name="connsiteX444" fmla="*/ 25527 w 1029843"/>
                <a:gd name="connsiteY444" fmla="*/ 295084 h 845819"/>
                <a:gd name="connsiteX445" fmla="*/ 23908 w 1029843"/>
                <a:gd name="connsiteY445" fmla="*/ 295275 h 845819"/>
                <a:gd name="connsiteX446" fmla="*/ 24289 w 1029843"/>
                <a:gd name="connsiteY446" fmla="*/ 298418 h 845819"/>
                <a:gd name="connsiteX447" fmla="*/ 22765 w 1029843"/>
                <a:gd name="connsiteY447" fmla="*/ 298609 h 845819"/>
                <a:gd name="connsiteX448" fmla="*/ 23336 w 1029843"/>
                <a:gd name="connsiteY448" fmla="*/ 303371 h 845819"/>
                <a:gd name="connsiteX449" fmla="*/ 16859 w 1029843"/>
                <a:gd name="connsiteY449" fmla="*/ 302609 h 845819"/>
                <a:gd name="connsiteX450" fmla="*/ 17240 w 1029843"/>
                <a:gd name="connsiteY450" fmla="*/ 305753 h 845819"/>
                <a:gd name="connsiteX451" fmla="*/ 9335 w 1029843"/>
                <a:gd name="connsiteY451" fmla="*/ 306705 h 845819"/>
                <a:gd name="connsiteX452" fmla="*/ 4953 w 1029843"/>
                <a:gd name="connsiteY452" fmla="*/ 310515 h 845819"/>
                <a:gd name="connsiteX453" fmla="*/ 6001 w 1029843"/>
                <a:gd name="connsiteY453" fmla="*/ 318421 h 845819"/>
                <a:gd name="connsiteX454" fmla="*/ 8001 w 1029843"/>
                <a:gd name="connsiteY454" fmla="*/ 321373 h 845819"/>
                <a:gd name="connsiteX455" fmla="*/ 11335 w 1029843"/>
                <a:gd name="connsiteY455" fmla="*/ 322517 h 845819"/>
                <a:gd name="connsiteX456" fmla="*/ 18860 w 1029843"/>
                <a:gd name="connsiteY456" fmla="*/ 331184 h 845819"/>
                <a:gd name="connsiteX457" fmla="*/ 19431 w 1029843"/>
                <a:gd name="connsiteY457" fmla="*/ 335947 h 845819"/>
                <a:gd name="connsiteX458" fmla="*/ 18288 w 1029843"/>
                <a:gd name="connsiteY458" fmla="*/ 339280 h 845819"/>
                <a:gd name="connsiteX459" fmla="*/ 16954 w 1029843"/>
                <a:gd name="connsiteY459" fmla="*/ 341090 h 845819"/>
                <a:gd name="connsiteX460" fmla="*/ 20288 w 1029843"/>
                <a:gd name="connsiteY460" fmla="*/ 342233 h 845819"/>
                <a:gd name="connsiteX461" fmla="*/ 25622 w 1029843"/>
                <a:gd name="connsiteY461" fmla="*/ 346329 h 845819"/>
                <a:gd name="connsiteX462" fmla="*/ 24194 w 1029843"/>
                <a:gd name="connsiteY462" fmla="*/ 348139 h 845819"/>
                <a:gd name="connsiteX463" fmla="*/ 24670 w 1029843"/>
                <a:gd name="connsiteY463" fmla="*/ 351282 h 845819"/>
                <a:gd name="connsiteX464" fmla="*/ 21241 w 1029843"/>
                <a:gd name="connsiteY464" fmla="*/ 350139 h 845819"/>
                <a:gd name="connsiteX465" fmla="*/ 19907 w 1029843"/>
                <a:gd name="connsiteY465" fmla="*/ 351949 h 845819"/>
                <a:gd name="connsiteX466" fmla="*/ 21431 w 1029843"/>
                <a:gd name="connsiteY466" fmla="*/ 351663 h 845819"/>
                <a:gd name="connsiteX467" fmla="*/ 21908 w 1029843"/>
                <a:gd name="connsiteY467" fmla="*/ 354902 h 845819"/>
                <a:gd name="connsiteX468" fmla="*/ 20669 w 1029843"/>
                <a:gd name="connsiteY468" fmla="*/ 358235 h 845819"/>
                <a:gd name="connsiteX469" fmla="*/ 22289 w 1029843"/>
                <a:gd name="connsiteY469" fmla="*/ 358045 h 845819"/>
                <a:gd name="connsiteX470" fmla="*/ 21527 w 1029843"/>
                <a:gd name="connsiteY470" fmla="*/ 364522 h 845819"/>
                <a:gd name="connsiteX471" fmla="*/ 19907 w 1029843"/>
                <a:gd name="connsiteY471" fmla="*/ 364712 h 845819"/>
                <a:gd name="connsiteX472" fmla="*/ 20574 w 1029843"/>
                <a:gd name="connsiteY472" fmla="*/ 369475 h 845819"/>
                <a:gd name="connsiteX473" fmla="*/ 16193 w 1029843"/>
                <a:gd name="connsiteY473" fmla="*/ 373190 h 845819"/>
                <a:gd name="connsiteX474" fmla="*/ 18574 w 1029843"/>
                <a:gd name="connsiteY474" fmla="*/ 379381 h 845819"/>
                <a:gd name="connsiteX475" fmla="*/ 23146 w 1029843"/>
                <a:gd name="connsiteY475" fmla="*/ 377190 h 845819"/>
                <a:gd name="connsiteX476" fmla="*/ 23527 w 1029843"/>
                <a:gd name="connsiteY476" fmla="*/ 380333 h 845819"/>
                <a:gd name="connsiteX477" fmla="*/ 26479 w 1029843"/>
                <a:gd name="connsiteY477" fmla="*/ 378333 h 845819"/>
                <a:gd name="connsiteX478" fmla="*/ 28289 w 1029843"/>
                <a:gd name="connsiteY478" fmla="*/ 379667 h 845819"/>
                <a:gd name="connsiteX479" fmla="*/ 34195 w 1029843"/>
                <a:gd name="connsiteY479" fmla="*/ 388620 h 845819"/>
                <a:gd name="connsiteX480" fmla="*/ 34576 w 1029843"/>
                <a:gd name="connsiteY480" fmla="*/ 391763 h 845819"/>
                <a:gd name="connsiteX481" fmla="*/ 29813 w 1029843"/>
                <a:gd name="connsiteY481" fmla="*/ 392335 h 845819"/>
                <a:gd name="connsiteX482" fmla="*/ 30480 w 1029843"/>
                <a:gd name="connsiteY482" fmla="*/ 397097 h 845819"/>
                <a:gd name="connsiteX483" fmla="*/ 33814 w 1029843"/>
                <a:gd name="connsiteY483" fmla="*/ 398240 h 845819"/>
                <a:gd name="connsiteX484" fmla="*/ 32671 w 1029843"/>
                <a:gd name="connsiteY484" fmla="*/ 401574 h 845819"/>
                <a:gd name="connsiteX485" fmla="*/ 39338 w 1029843"/>
                <a:gd name="connsiteY485" fmla="*/ 403955 h 845819"/>
                <a:gd name="connsiteX486" fmla="*/ 34100 w 1029843"/>
                <a:gd name="connsiteY486" fmla="*/ 425482 h 845819"/>
                <a:gd name="connsiteX487" fmla="*/ 32290 w 1029843"/>
                <a:gd name="connsiteY487" fmla="*/ 424053 h 845819"/>
                <a:gd name="connsiteX488" fmla="*/ 31147 w 1029843"/>
                <a:gd name="connsiteY488" fmla="*/ 427482 h 845819"/>
                <a:gd name="connsiteX489" fmla="*/ 29147 w 1029843"/>
                <a:gd name="connsiteY489" fmla="*/ 424529 h 845819"/>
                <a:gd name="connsiteX490" fmla="*/ 28004 w 1029843"/>
                <a:gd name="connsiteY490" fmla="*/ 427863 h 845819"/>
                <a:gd name="connsiteX491" fmla="*/ 21622 w 1029843"/>
                <a:gd name="connsiteY491" fmla="*/ 428625 h 845819"/>
                <a:gd name="connsiteX492" fmla="*/ 22479 w 1029843"/>
                <a:gd name="connsiteY492" fmla="*/ 435007 h 845819"/>
                <a:gd name="connsiteX493" fmla="*/ 24003 w 1029843"/>
                <a:gd name="connsiteY493" fmla="*/ 434816 h 845819"/>
                <a:gd name="connsiteX494" fmla="*/ 24479 w 1029843"/>
                <a:gd name="connsiteY494" fmla="*/ 437959 h 845819"/>
                <a:gd name="connsiteX495" fmla="*/ 21527 w 1029843"/>
                <a:gd name="connsiteY495" fmla="*/ 439865 h 845819"/>
                <a:gd name="connsiteX496" fmla="*/ 26861 w 1029843"/>
                <a:gd name="connsiteY496" fmla="*/ 444055 h 845819"/>
                <a:gd name="connsiteX497" fmla="*/ 25622 w 1029843"/>
                <a:gd name="connsiteY497" fmla="*/ 447389 h 845819"/>
                <a:gd name="connsiteX498" fmla="*/ 22479 w 1029843"/>
                <a:gd name="connsiteY498" fmla="*/ 447770 h 845819"/>
                <a:gd name="connsiteX499" fmla="*/ 21146 w 1029843"/>
                <a:gd name="connsiteY499" fmla="*/ 449580 h 845819"/>
                <a:gd name="connsiteX500" fmla="*/ 19526 w 1029843"/>
                <a:gd name="connsiteY500" fmla="*/ 449771 h 845819"/>
                <a:gd name="connsiteX501" fmla="*/ 20955 w 1029843"/>
                <a:gd name="connsiteY501" fmla="*/ 447961 h 845819"/>
                <a:gd name="connsiteX502" fmla="*/ 19145 w 1029843"/>
                <a:gd name="connsiteY502" fmla="*/ 446627 h 845819"/>
                <a:gd name="connsiteX503" fmla="*/ 17717 w 1029843"/>
                <a:gd name="connsiteY503" fmla="*/ 448437 h 845819"/>
                <a:gd name="connsiteX504" fmla="*/ 14383 w 1029843"/>
                <a:gd name="connsiteY504" fmla="*/ 447199 h 845819"/>
                <a:gd name="connsiteX505" fmla="*/ 13049 w 1029843"/>
                <a:gd name="connsiteY505" fmla="*/ 449009 h 845819"/>
                <a:gd name="connsiteX506" fmla="*/ 9430 w 1029843"/>
                <a:gd name="connsiteY506" fmla="*/ 446246 h 845819"/>
                <a:gd name="connsiteX507" fmla="*/ 6953 w 1029843"/>
                <a:gd name="connsiteY507" fmla="*/ 451390 h 845819"/>
                <a:gd name="connsiteX508" fmla="*/ 0 w 1029843"/>
                <a:gd name="connsiteY508" fmla="*/ 460248 h 845819"/>
                <a:gd name="connsiteX509" fmla="*/ 5525 w 1029843"/>
                <a:gd name="connsiteY509" fmla="*/ 465963 h 845819"/>
                <a:gd name="connsiteX510" fmla="*/ 9525 w 1029843"/>
                <a:gd name="connsiteY510" fmla="*/ 471869 h 845819"/>
                <a:gd name="connsiteX511" fmla="*/ 12668 w 1029843"/>
                <a:gd name="connsiteY511" fmla="*/ 471488 h 845819"/>
                <a:gd name="connsiteX512" fmla="*/ 18002 w 1029843"/>
                <a:gd name="connsiteY512" fmla="*/ 475679 h 845819"/>
                <a:gd name="connsiteX513" fmla="*/ 16478 w 1029843"/>
                <a:gd name="connsiteY513" fmla="*/ 475869 h 845819"/>
                <a:gd name="connsiteX514" fmla="*/ 12287 w 1029843"/>
                <a:gd name="connsiteY514" fmla="*/ 481203 h 845819"/>
                <a:gd name="connsiteX515" fmla="*/ 15050 w 1029843"/>
                <a:gd name="connsiteY515" fmla="*/ 490442 h 845819"/>
                <a:gd name="connsiteX516" fmla="*/ 17240 w 1029843"/>
                <a:gd name="connsiteY516" fmla="*/ 495014 h 845819"/>
                <a:gd name="connsiteX517" fmla="*/ 20860 w 1029843"/>
                <a:gd name="connsiteY517" fmla="*/ 497681 h 845819"/>
                <a:gd name="connsiteX518" fmla="*/ 27718 w 1029843"/>
                <a:gd name="connsiteY518" fmla="*/ 501682 h 845819"/>
                <a:gd name="connsiteX519" fmla="*/ 34481 w 1029843"/>
                <a:gd name="connsiteY519" fmla="*/ 503968 h 845819"/>
                <a:gd name="connsiteX520" fmla="*/ 37433 w 1029843"/>
                <a:gd name="connsiteY520" fmla="*/ 502063 h 845819"/>
                <a:gd name="connsiteX521" fmla="*/ 42767 w 1029843"/>
                <a:gd name="connsiteY521" fmla="*/ 493300 h 845819"/>
                <a:gd name="connsiteX522" fmla="*/ 46673 w 1029843"/>
                <a:gd name="connsiteY522" fmla="*/ 499205 h 845819"/>
                <a:gd name="connsiteX523" fmla="*/ 55150 w 1029843"/>
                <a:gd name="connsiteY523" fmla="*/ 502920 h 845819"/>
                <a:gd name="connsiteX524" fmla="*/ 58579 w 1029843"/>
                <a:gd name="connsiteY524" fmla="*/ 504158 h 845819"/>
                <a:gd name="connsiteX525" fmla="*/ 57150 w 1029843"/>
                <a:gd name="connsiteY525" fmla="*/ 505968 h 845819"/>
                <a:gd name="connsiteX526" fmla="*/ 55817 w 1029843"/>
                <a:gd name="connsiteY526" fmla="*/ 507682 h 845819"/>
                <a:gd name="connsiteX527" fmla="*/ 54197 w 1029843"/>
                <a:gd name="connsiteY527" fmla="*/ 507873 h 845819"/>
                <a:gd name="connsiteX528" fmla="*/ 53626 w 1029843"/>
                <a:gd name="connsiteY528" fmla="*/ 515969 h 845819"/>
                <a:gd name="connsiteX529" fmla="*/ 56960 w 1029843"/>
                <a:gd name="connsiteY529" fmla="*/ 517207 h 845819"/>
                <a:gd name="connsiteX530" fmla="*/ 61150 w 1029843"/>
                <a:gd name="connsiteY530" fmla="*/ 511873 h 845819"/>
                <a:gd name="connsiteX531" fmla="*/ 62865 w 1029843"/>
                <a:gd name="connsiteY531" fmla="*/ 513207 h 845819"/>
                <a:gd name="connsiteX532" fmla="*/ 63056 w 1029843"/>
                <a:gd name="connsiteY532" fmla="*/ 514826 h 845819"/>
                <a:gd name="connsiteX533" fmla="*/ 67056 w 1029843"/>
                <a:gd name="connsiteY533" fmla="*/ 520732 h 845819"/>
                <a:gd name="connsiteX534" fmla="*/ 68675 w 1029843"/>
                <a:gd name="connsiteY534" fmla="*/ 520541 h 845819"/>
                <a:gd name="connsiteX535" fmla="*/ 70580 w 1029843"/>
                <a:gd name="connsiteY535" fmla="*/ 523494 h 845819"/>
                <a:gd name="connsiteX536" fmla="*/ 73819 w 1029843"/>
                <a:gd name="connsiteY536" fmla="*/ 523018 h 845819"/>
                <a:gd name="connsiteX537" fmla="*/ 77533 w 1029843"/>
                <a:gd name="connsiteY537" fmla="*/ 527399 h 845819"/>
                <a:gd name="connsiteX538" fmla="*/ 78105 w 1029843"/>
                <a:gd name="connsiteY538" fmla="*/ 532162 h 845819"/>
                <a:gd name="connsiteX539" fmla="*/ 74771 w 1029843"/>
                <a:gd name="connsiteY539" fmla="*/ 530924 h 845819"/>
                <a:gd name="connsiteX540" fmla="*/ 68866 w 1029843"/>
                <a:gd name="connsiteY540" fmla="*/ 534924 h 845819"/>
                <a:gd name="connsiteX541" fmla="*/ 69247 w 1029843"/>
                <a:gd name="connsiteY541" fmla="*/ 538067 h 845819"/>
                <a:gd name="connsiteX542" fmla="*/ 72866 w 1029843"/>
                <a:gd name="connsiteY542" fmla="*/ 540830 h 845819"/>
                <a:gd name="connsiteX543" fmla="*/ 73438 w 1029843"/>
                <a:gd name="connsiteY543" fmla="*/ 545592 h 845819"/>
                <a:gd name="connsiteX544" fmla="*/ 70866 w 1029843"/>
                <a:gd name="connsiteY544" fmla="*/ 550640 h 845819"/>
                <a:gd name="connsiteX545" fmla="*/ 74486 w 1029843"/>
                <a:gd name="connsiteY545" fmla="*/ 553403 h 845819"/>
                <a:gd name="connsiteX546" fmla="*/ 84677 w 1029843"/>
                <a:gd name="connsiteY546" fmla="*/ 558546 h 845819"/>
                <a:gd name="connsiteX547" fmla="*/ 85154 w 1029843"/>
                <a:gd name="connsiteY547" fmla="*/ 561689 h 845819"/>
                <a:gd name="connsiteX548" fmla="*/ 86868 w 1029843"/>
                <a:gd name="connsiteY548" fmla="*/ 563118 h 845819"/>
                <a:gd name="connsiteX549" fmla="*/ 88106 w 1029843"/>
                <a:gd name="connsiteY549" fmla="*/ 559689 h 845819"/>
                <a:gd name="connsiteX550" fmla="*/ 89630 w 1029843"/>
                <a:gd name="connsiteY550" fmla="*/ 559499 h 845819"/>
                <a:gd name="connsiteX551" fmla="*/ 90011 w 1029843"/>
                <a:gd name="connsiteY551" fmla="*/ 562642 h 845819"/>
                <a:gd name="connsiteX552" fmla="*/ 91821 w 1029843"/>
                <a:gd name="connsiteY552" fmla="*/ 564071 h 845819"/>
                <a:gd name="connsiteX553" fmla="*/ 93250 w 1029843"/>
                <a:gd name="connsiteY553" fmla="*/ 562261 h 845819"/>
                <a:gd name="connsiteX554" fmla="*/ 94774 w 1029843"/>
                <a:gd name="connsiteY554" fmla="*/ 562070 h 845819"/>
                <a:gd name="connsiteX555" fmla="*/ 94393 w 1029843"/>
                <a:gd name="connsiteY555" fmla="*/ 558927 h 845819"/>
                <a:gd name="connsiteX556" fmla="*/ 104013 w 1029843"/>
                <a:gd name="connsiteY556" fmla="*/ 559308 h 845819"/>
                <a:gd name="connsiteX557" fmla="*/ 108204 w 1029843"/>
                <a:gd name="connsiteY557" fmla="*/ 553974 h 845819"/>
                <a:gd name="connsiteX558" fmla="*/ 111347 w 1029843"/>
                <a:gd name="connsiteY558" fmla="*/ 553593 h 845819"/>
                <a:gd name="connsiteX559" fmla="*/ 113157 w 1029843"/>
                <a:gd name="connsiteY559" fmla="*/ 554927 h 845819"/>
                <a:gd name="connsiteX560" fmla="*/ 113348 w 1029843"/>
                <a:gd name="connsiteY560" fmla="*/ 556546 h 845819"/>
                <a:gd name="connsiteX561" fmla="*/ 116872 w 1029843"/>
                <a:gd name="connsiteY561" fmla="*/ 559308 h 845819"/>
                <a:gd name="connsiteX562" fmla="*/ 117062 w 1029843"/>
                <a:gd name="connsiteY562" fmla="*/ 560832 h 845819"/>
                <a:gd name="connsiteX563" fmla="*/ 120015 w 1029843"/>
                <a:gd name="connsiteY563" fmla="*/ 558832 h 845819"/>
                <a:gd name="connsiteX564" fmla="*/ 123635 w 1029843"/>
                <a:gd name="connsiteY564" fmla="*/ 561594 h 845819"/>
                <a:gd name="connsiteX565" fmla="*/ 124968 w 1029843"/>
                <a:gd name="connsiteY565" fmla="*/ 559880 h 845819"/>
                <a:gd name="connsiteX566" fmla="*/ 131731 w 1029843"/>
                <a:gd name="connsiteY566" fmla="*/ 562165 h 845819"/>
                <a:gd name="connsiteX567" fmla="*/ 138589 w 1029843"/>
                <a:gd name="connsiteY567" fmla="*/ 566071 h 845819"/>
                <a:gd name="connsiteX568" fmla="*/ 137255 w 1029843"/>
                <a:gd name="connsiteY568" fmla="*/ 567880 h 845819"/>
                <a:gd name="connsiteX569" fmla="*/ 140779 w 1029843"/>
                <a:gd name="connsiteY569" fmla="*/ 570643 h 845819"/>
                <a:gd name="connsiteX570" fmla="*/ 142113 w 1029843"/>
                <a:gd name="connsiteY570" fmla="*/ 568833 h 845819"/>
                <a:gd name="connsiteX571" fmla="*/ 146495 w 1029843"/>
                <a:gd name="connsiteY571" fmla="*/ 565118 h 845819"/>
                <a:gd name="connsiteX572" fmla="*/ 148876 w 1029843"/>
                <a:gd name="connsiteY572" fmla="*/ 558355 h 845819"/>
                <a:gd name="connsiteX573" fmla="*/ 155353 w 1029843"/>
                <a:gd name="connsiteY573" fmla="*/ 559213 h 845819"/>
                <a:gd name="connsiteX574" fmla="*/ 159734 w 1029843"/>
                <a:gd name="connsiteY574" fmla="*/ 555403 h 845819"/>
                <a:gd name="connsiteX575" fmla="*/ 164402 w 1029843"/>
                <a:gd name="connsiteY575" fmla="*/ 554831 h 845819"/>
                <a:gd name="connsiteX576" fmla="*/ 165830 w 1029843"/>
                <a:gd name="connsiteY576" fmla="*/ 553022 h 845819"/>
                <a:gd name="connsiteX577" fmla="*/ 170498 w 1029843"/>
                <a:gd name="connsiteY577" fmla="*/ 552450 h 845819"/>
                <a:gd name="connsiteX578" fmla="*/ 171736 w 1029843"/>
                <a:gd name="connsiteY578" fmla="*/ 549116 h 845819"/>
                <a:gd name="connsiteX579" fmla="*/ 172117 w 1029843"/>
                <a:gd name="connsiteY579" fmla="*/ 552259 h 845819"/>
                <a:gd name="connsiteX580" fmla="*/ 173736 w 1029843"/>
                <a:gd name="connsiteY580" fmla="*/ 552069 h 845819"/>
                <a:gd name="connsiteX581" fmla="*/ 174689 w 1029843"/>
                <a:gd name="connsiteY581" fmla="*/ 559880 h 845819"/>
                <a:gd name="connsiteX582" fmla="*/ 176308 w 1029843"/>
                <a:gd name="connsiteY582" fmla="*/ 559689 h 845819"/>
                <a:gd name="connsiteX583" fmla="*/ 176498 w 1029843"/>
                <a:gd name="connsiteY583" fmla="*/ 561308 h 845819"/>
                <a:gd name="connsiteX584" fmla="*/ 181166 w 1029843"/>
                <a:gd name="connsiteY584" fmla="*/ 560642 h 845819"/>
                <a:gd name="connsiteX585" fmla="*/ 184785 w 1029843"/>
                <a:gd name="connsiteY585" fmla="*/ 563404 h 845819"/>
                <a:gd name="connsiteX586" fmla="*/ 184975 w 1029843"/>
                <a:gd name="connsiteY586" fmla="*/ 565023 h 845819"/>
                <a:gd name="connsiteX587" fmla="*/ 189738 w 1029843"/>
                <a:gd name="connsiteY587" fmla="*/ 564452 h 845819"/>
                <a:gd name="connsiteX588" fmla="*/ 191929 w 1029843"/>
                <a:gd name="connsiteY588" fmla="*/ 568928 h 845819"/>
                <a:gd name="connsiteX589" fmla="*/ 187547 w 1029843"/>
                <a:gd name="connsiteY589" fmla="*/ 572738 h 845819"/>
                <a:gd name="connsiteX590" fmla="*/ 189738 w 1029843"/>
                <a:gd name="connsiteY590" fmla="*/ 577215 h 845819"/>
                <a:gd name="connsiteX591" fmla="*/ 189929 w 1029843"/>
                <a:gd name="connsiteY591" fmla="*/ 578834 h 845819"/>
                <a:gd name="connsiteX592" fmla="*/ 188404 w 1029843"/>
                <a:gd name="connsiteY592" fmla="*/ 579025 h 845819"/>
                <a:gd name="connsiteX593" fmla="*/ 191167 w 1029843"/>
                <a:gd name="connsiteY593" fmla="*/ 588264 h 845819"/>
                <a:gd name="connsiteX594" fmla="*/ 190214 w 1029843"/>
                <a:gd name="connsiteY594" fmla="*/ 593217 h 845819"/>
                <a:gd name="connsiteX595" fmla="*/ 191929 w 1029843"/>
                <a:gd name="connsiteY595" fmla="*/ 594551 h 845819"/>
                <a:gd name="connsiteX596" fmla="*/ 195929 w 1029843"/>
                <a:gd name="connsiteY596" fmla="*/ 600551 h 845819"/>
                <a:gd name="connsiteX597" fmla="*/ 191548 w 1029843"/>
                <a:gd name="connsiteY597" fmla="*/ 604266 h 845819"/>
                <a:gd name="connsiteX598" fmla="*/ 186881 w 1029843"/>
                <a:gd name="connsiteY598" fmla="*/ 604838 h 845819"/>
                <a:gd name="connsiteX599" fmla="*/ 184118 w 1029843"/>
                <a:gd name="connsiteY599" fmla="*/ 608457 h 845819"/>
                <a:gd name="connsiteX600" fmla="*/ 187452 w 1029843"/>
                <a:gd name="connsiteY600" fmla="*/ 609600 h 845819"/>
                <a:gd name="connsiteX601" fmla="*/ 189262 w 1029843"/>
                <a:gd name="connsiteY601" fmla="*/ 623792 h 845819"/>
                <a:gd name="connsiteX602" fmla="*/ 185547 w 1029843"/>
                <a:gd name="connsiteY602" fmla="*/ 632270 h 845819"/>
                <a:gd name="connsiteX603" fmla="*/ 192024 w 1029843"/>
                <a:gd name="connsiteY603" fmla="*/ 633032 h 845819"/>
                <a:gd name="connsiteX604" fmla="*/ 192881 w 1029843"/>
                <a:gd name="connsiteY604" fmla="*/ 639413 h 845819"/>
                <a:gd name="connsiteX605" fmla="*/ 194405 w 1029843"/>
                <a:gd name="connsiteY605" fmla="*/ 639223 h 845819"/>
                <a:gd name="connsiteX606" fmla="*/ 201168 w 1029843"/>
                <a:gd name="connsiteY606" fmla="*/ 641509 h 845819"/>
                <a:gd name="connsiteX607" fmla="*/ 199168 w 1029843"/>
                <a:gd name="connsiteY607" fmla="*/ 651415 h 845819"/>
                <a:gd name="connsiteX608" fmla="*/ 201930 w 1029843"/>
                <a:gd name="connsiteY608" fmla="*/ 647890 h 845819"/>
                <a:gd name="connsiteX609" fmla="*/ 202311 w 1029843"/>
                <a:gd name="connsiteY609" fmla="*/ 651034 h 845819"/>
                <a:gd name="connsiteX610" fmla="*/ 204121 w 1029843"/>
                <a:gd name="connsiteY610" fmla="*/ 652367 h 845819"/>
                <a:gd name="connsiteX611" fmla="*/ 201549 w 1029843"/>
                <a:gd name="connsiteY611" fmla="*/ 657511 h 845819"/>
                <a:gd name="connsiteX612" fmla="*/ 207454 w 1029843"/>
                <a:gd name="connsiteY612" fmla="*/ 653510 h 845819"/>
                <a:gd name="connsiteX613" fmla="*/ 203549 w 1029843"/>
                <a:gd name="connsiteY613" fmla="*/ 660463 h 845819"/>
                <a:gd name="connsiteX614" fmla="*/ 204311 w 1029843"/>
                <a:gd name="connsiteY614" fmla="*/ 666750 h 845819"/>
                <a:gd name="connsiteX615" fmla="*/ 201835 w 1029843"/>
                <a:gd name="connsiteY615" fmla="*/ 671894 h 845819"/>
                <a:gd name="connsiteX616" fmla="*/ 200025 w 1029843"/>
                <a:gd name="connsiteY616" fmla="*/ 670560 h 845819"/>
                <a:gd name="connsiteX617" fmla="*/ 197263 w 1029843"/>
                <a:gd name="connsiteY617" fmla="*/ 674084 h 845819"/>
                <a:gd name="connsiteX618" fmla="*/ 199073 w 1029843"/>
                <a:gd name="connsiteY618" fmla="*/ 675513 h 845819"/>
                <a:gd name="connsiteX619" fmla="*/ 201073 w 1029843"/>
                <a:gd name="connsiteY619" fmla="*/ 678466 h 845819"/>
                <a:gd name="connsiteX620" fmla="*/ 199454 w 1029843"/>
                <a:gd name="connsiteY620" fmla="*/ 678656 h 845819"/>
                <a:gd name="connsiteX621" fmla="*/ 198501 w 1029843"/>
                <a:gd name="connsiteY621" fmla="*/ 683609 h 845819"/>
                <a:gd name="connsiteX622" fmla="*/ 196691 w 1029843"/>
                <a:gd name="connsiteY622" fmla="*/ 682180 h 845819"/>
                <a:gd name="connsiteX623" fmla="*/ 197072 w 1029843"/>
                <a:gd name="connsiteY623" fmla="*/ 685324 h 845819"/>
                <a:gd name="connsiteX624" fmla="*/ 192596 w 1029843"/>
                <a:gd name="connsiteY624" fmla="*/ 687515 h 845819"/>
                <a:gd name="connsiteX625" fmla="*/ 191548 w 1029843"/>
                <a:gd name="connsiteY625" fmla="*/ 692468 h 845819"/>
                <a:gd name="connsiteX626" fmla="*/ 186690 w 1029843"/>
                <a:gd name="connsiteY626" fmla="*/ 691515 h 845819"/>
                <a:gd name="connsiteX627" fmla="*/ 185833 w 1029843"/>
                <a:gd name="connsiteY627" fmla="*/ 697992 h 845819"/>
                <a:gd name="connsiteX628" fmla="*/ 183928 w 1029843"/>
                <a:gd name="connsiteY628" fmla="*/ 695039 h 845819"/>
                <a:gd name="connsiteX629" fmla="*/ 182499 w 1029843"/>
                <a:gd name="connsiteY629" fmla="*/ 696849 h 845819"/>
                <a:gd name="connsiteX630" fmla="*/ 183166 w 1029843"/>
                <a:gd name="connsiteY630" fmla="*/ 701611 h 845819"/>
                <a:gd name="connsiteX631" fmla="*/ 179927 w 1029843"/>
                <a:gd name="connsiteY631" fmla="*/ 701993 h 845819"/>
                <a:gd name="connsiteX632" fmla="*/ 178213 w 1029843"/>
                <a:gd name="connsiteY632" fmla="*/ 700564 h 845819"/>
                <a:gd name="connsiteX633" fmla="*/ 176594 w 1029843"/>
                <a:gd name="connsiteY633" fmla="*/ 700754 h 845819"/>
                <a:gd name="connsiteX634" fmla="*/ 175641 w 1029843"/>
                <a:gd name="connsiteY634" fmla="*/ 705707 h 845819"/>
                <a:gd name="connsiteX635" fmla="*/ 180404 w 1029843"/>
                <a:gd name="connsiteY635" fmla="*/ 705136 h 845819"/>
                <a:gd name="connsiteX636" fmla="*/ 189071 w 1029843"/>
                <a:gd name="connsiteY636" fmla="*/ 710470 h 845819"/>
                <a:gd name="connsiteX637" fmla="*/ 189262 w 1029843"/>
                <a:gd name="connsiteY637" fmla="*/ 711994 h 845819"/>
                <a:gd name="connsiteX638" fmla="*/ 179261 w 1029843"/>
                <a:gd name="connsiteY638" fmla="*/ 721328 h 845819"/>
                <a:gd name="connsiteX639" fmla="*/ 171545 w 1029843"/>
                <a:gd name="connsiteY639" fmla="*/ 723900 h 845819"/>
                <a:gd name="connsiteX640" fmla="*/ 171736 w 1029843"/>
                <a:gd name="connsiteY640" fmla="*/ 725519 h 845819"/>
                <a:gd name="connsiteX641" fmla="*/ 183166 w 1029843"/>
                <a:gd name="connsiteY641" fmla="*/ 727234 h 845819"/>
                <a:gd name="connsiteX642" fmla="*/ 192405 w 1029843"/>
                <a:gd name="connsiteY642" fmla="*/ 724472 h 845819"/>
                <a:gd name="connsiteX643" fmla="*/ 199739 w 1029843"/>
                <a:gd name="connsiteY643" fmla="*/ 731520 h 845819"/>
                <a:gd name="connsiteX644" fmla="*/ 201740 w 1029843"/>
                <a:gd name="connsiteY644" fmla="*/ 734473 h 845819"/>
                <a:gd name="connsiteX645" fmla="*/ 208502 w 1029843"/>
                <a:gd name="connsiteY645" fmla="*/ 736854 h 845819"/>
                <a:gd name="connsiteX646" fmla="*/ 209645 w 1029843"/>
                <a:gd name="connsiteY646" fmla="*/ 733520 h 845819"/>
                <a:gd name="connsiteX647" fmla="*/ 209264 w 1029843"/>
                <a:gd name="connsiteY647" fmla="*/ 730282 h 845819"/>
                <a:gd name="connsiteX648" fmla="*/ 212789 w 1029843"/>
                <a:gd name="connsiteY648" fmla="*/ 733044 h 845819"/>
                <a:gd name="connsiteX649" fmla="*/ 215932 w 1029843"/>
                <a:gd name="connsiteY649" fmla="*/ 732663 h 845819"/>
                <a:gd name="connsiteX650" fmla="*/ 214789 w 1029843"/>
                <a:gd name="connsiteY650" fmla="*/ 735997 h 845819"/>
                <a:gd name="connsiteX651" fmla="*/ 225457 w 1029843"/>
                <a:gd name="connsiteY651" fmla="*/ 744284 h 845819"/>
                <a:gd name="connsiteX652" fmla="*/ 232124 w 1029843"/>
                <a:gd name="connsiteY652" fmla="*/ 746665 h 845819"/>
                <a:gd name="connsiteX653" fmla="*/ 233553 w 1029843"/>
                <a:gd name="connsiteY653" fmla="*/ 744855 h 845819"/>
                <a:gd name="connsiteX654" fmla="*/ 235363 w 1029843"/>
                <a:gd name="connsiteY654" fmla="*/ 746188 h 845819"/>
                <a:gd name="connsiteX655" fmla="*/ 233744 w 1029843"/>
                <a:gd name="connsiteY655" fmla="*/ 746474 h 845819"/>
                <a:gd name="connsiteX656" fmla="*/ 240506 w 1029843"/>
                <a:gd name="connsiteY656" fmla="*/ 748760 h 845819"/>
                <a:gd name="connsiteX657" fmla="*/ 232220 w 1029843"/>
                <a:gd name="connsiteY657" fmla="*/ 759428 h 845819"/>
                <a:gd name="connsiteX658" fmla="*/ 232982 w 1029843"/>
                <a:gd name="connsiteY658" fmla="*/ 765810 h 845819"/>
                <a:gd name="connsiteX659" fmla="*/ 243078 w 1029843"/>
                <a:gd name="connsiteY659" fmla="*/ 782098 h 845819"/>
                <a:gd name="connsiteX660" fmla="*/ 255365 w 1029843"/>
                <a:gd name="connsiteY660" fmla="*/ 777335 h 845819"/>
                <a:gd name="connsiteX661" fmla="*/ 259461 w 1029843"/>
                <a:gd name="connsiteY661" fmla="*/ 772001 h 845819"/>
                <a:gd name="connsiteX662" fmla="*/ 261080 w 1029843"/>
                <a:gd name="connsiteY662" fmla="*/ 771811 h 845819"/>
                <a:gd name="connsiteX663" fmla="*/ 265367 w 1029843"/>
                <a:gd name="connsiteY663" fmla="*/ 768096 h 845819"/>
                <a:gd name="connsiteX664" fmla="*/ 265176 w 1029843"/>
                <a:gd name="connsiteY664" fmla="*/ 766477 h 845819"/>
                <a:gd name="connsiteX665" fmla="*/ 270129 w 1029843"/>
                <a:gd name="connsiteY665" fmla="*/ 767429 h 845819"/>
                <a:gd name="connsiteX666" fmla="*/ 273082 w 1029843"/>
                <a:gd name="connsiteY666" fmla="*/ 765524 h 845819"/>
                <a:gd name="connsiteX667" fmla="*/ 268319 w 1029843"/>
                <a:gd name="connsiteY667" fmla="*/ 766096 h 845819"/>
                <a:gd name="connsiteX668" fmla="*/ 267748 w 1029843"/>
                <a:gd name="connsiteY668" fmla="*/ 761333 h 845819"/>
                <a:gd name="connsiteX669" fmla="*/ 278987 w 1029843"/>
                <a:gd name="connsiteY669" fmla="*/ 761524 h 845819"/>
                <a:gd name="connsiteX670" fmla="*/ 280702 w 1029843"/>
                <a:gd name="connsiteY670" fmla="*/ 762857 h 845819"/>
                <a:gd name="connsiteX671" fmla="*/ 280511 w 1029843"/>
                <a:gd name="connsiteY671" fmla="*/ 761333 h 845819"/>
                <a:gd name="connsiteX672" fmla="*/ 285083 w 1029843"/>
                <a:gd name="connsiteY672" fmla="*/ 759143 h 845819"/>
                <a:gd name="connsiteX673" fmla="*/ 287846 w 1029843"/>
                <a:gd name="connsiteY673" fmla="*/ 755618 h 845819"/>
                <a:gd name="connsiteX674" fmla="*/ 291370 w 1029843"/>
                <a:gd name="connsiteY674" fmla="*/ 758380 h 845819"/>
                <a:gd name="connsiteX675" fmla="*/ 292799 w 1029843"/>
                <a:gd name="connsiteY675" fmla="*/ 756571 h 845819"/>
                <a:gd name="connsiteX676" fmla="*/ 290608 w 1029843"/>
                <a:gd name="connsiteY676" fmla="*/ 751999 h 845819"/>
                <a:gd name="connsiteX677" fmla="*/ 288798 w 1029843"/>
                <a:gd name="connsiteY677" fmla="*/ 750665 h 845819"/>
                <a:gd name="connsiteX678" fmla="*/ 289941 w 1029843"/>
                <a:gd name="connsiteY678" fmla="*/ 747332 h 845819"/>
                <a:gd name="connsiteX679" fmla="*/ 290513 w 1029843"/>
                <a:gd name="connsiteY679" fmla="*/ 739235 h 845819"/>
                <a:gd name="connsiteX680" fmla="*/ 291941 w 1029843"/>
                <a:gd name="connsiteY680" fmla="*/ 737426 h 845819"/>
                <a:gd name="connsiteX681" fmla="*/ 302419 w 1029843"/>
                <a:gd name="connsiteY681" fmla="*/ 731234 h 845819"/>
                <a:gd name="connsiteX682" fmla="*/ 305562 w 1029843"/>
                <a:gd name="connsiteY682" fmla="*/ 730853 h 845819"/>
                <a:gd name="connsiteX683" fmla="*/ 307467 w 1029843"/>
                <a:gd name="connsiteY683" fmla="*/ 733806 h 845819"/>
                <a:gd name="connsiteX684" fmla="*/ 308896 w 1029843"/>
                <a:gd name="connsiteY684" fmla="*/ 732092 h 845819"/>
                <a:gd name="connsiteX685" fmla="*/ 309467 w 1029843"/>
                <a:gd name="connsiteY685" fmla="*/ 736759 h 845819"/>
                <a:gd name="connsiteX686" fmla="*/ 312801 w 1029843"/>
                <a:gd name="connsiteY686" fmla="*/ 737997 h 845819"/>
                <a:gd name="connsiteX687" fmla="*/ 317373 w 1029843"/>
                <a:gd name="connsiteY687" fmla="*/ 735806 h 845819"/>
                <a:gd name="connsiteX688" fmla="*/ 316802 w 1029843"/>
                <a:gd name="connsiteY688" fmla="*/ 731044 h 845819"/>
                <a:gd name="connsiteX689" fmla="*/ 318135 w 1029843"/>
                <a:gd name="connsiteY689" fmla="*/ 729234 h 845819"/>
                <a:gd name="connsiteX690" fmla="*/ 319945 w 1029843"/>
                <a:gd name="connsiteY690" fmla="*/ 730663 h 845819"/>
                <a:gd name="connsiteX691" fmla="*/ 326041 w 1029843"/>
                <a:gd name="connsiteY691" fmla="*/ 728282 h 845819"/>
                <a:gd name="connsiteX692" fmla="*/ 320897 w 1029843"/>
                <a:gd name="connsiteY692" fmla="*/ 725710 h 845819"/>
                <a:gd name="connsiteX693" fmla="*/ 321850 w 1029843"/>
                <a:gd name="connsiteY693" fmla="*/ 720757 h 845819"/>
                <a:gd name="connsiteX694" fmla="*/ 325088 w 1029843"/>
                <a:gd name="connsiteY694" fmla="*/ 720376 h 845819"/>
                <a:gd name="connsiteX695" fmla="*/ 331946 w 1029843"/>
                <a:gd name="connsiteY695" fmla="*/ 724281 h 845819"/>
                <a:gd name="connsiteX696" fmla="*/ 331756 w 1029843"/>
                <a:gd name="connsiteY696" fmla="*/ 735521 h 845819"/>
                <a:gd name="connsiteX697" fmla="*/ 334899 w 1029843"/>
                <a:gd name="connsiteY697" fmla="*/ 735140 h 845819"/>
                <a:gd name="connsiteX698" fmla="*/ 335566 w 1029843"/>
                <a:gd name="connsiteY698" fmla="*/ 739902 h 845819"/>
                <a:gd name="connsiteX699" fmla="*/ 337090 w 1029843"/>
                <a:gd name="connsiteY699" fmla="*/ 739711 h 845819"/>
                <a:gd name="connsiteX700" fmla="*/ 338709 w 1029843"/>
                <a:gd name="connsiteY700" fmla="*/ 739521 h 845819"/>
                <a:gd name="connsiteX701" fmla="*/ 338519 w 1029843"/>
                <a:gd name="connsiteY701" fmla="*/ 737902 h 845819"/>
                <a:gd name="connsiteX702" fmla="*/ 339852 w 1029843"/>
                <a:gd name="connsiteY702" fmla="*/ 736092 h 845819"/>
                <a:gd name="connsiteX703" fmla="*/ 343472 w 1029843"/>
                <a:gd name="connsiteY703" fmla="*/ 738854 h 845819"/>
                <a:gd name="connsiteX704" fmla="*/ 345186 w 1029843"/>
                <a:gd name="connsiteY704" fmla="*/ 740283 h 845819"/>
                <a:gd name="connsiteX705" fmla="*/ 346615 w 1029843"/>
                <a:gd name="connsiteY705" fmla="*/ 738473 h 845819"/>
                <a:gd name="connsiteX706" fmla="*/ 343472 w 1029843"/>
                <a:gd name="connsiteY706" fmla="*/ 738854 h 845819"/>
                <a:gd name="connsiteX707" fmla="*/ 342614 w 1029843"/>
                <a:gd name="connsiteY707" fmla="*/ 732568 h 845819"/>
                <a:gd name="connsiteX708" fmla="*/ 344234 w 1029843"/>
                <a:gd name="connsiteY708" fmla="*/ 732377 h 845819"/>
                <a:gd name="connsiteX709" fmla="*/ 344615 w 1029843"/>
                <a:gd name="connsiteY709" fmla="*/ 735521 h 845819"/>
                <a:gd name="connsiteX710" fmla="*/ 346043 w 1029843"/>
                <a:gd name="connsiteY710" fmla="*/ 733711 h 845819"/>
                <a:gd name="connsiteX711" fmla="*/ 347758 w 1029843"/>
                <a:gd name="connsiteY711" fmla="*/ 735140 h 845819"/>
                <a:gd name="connsiteX712" fmla="*/ 350901 w 1029843"/>
                <a:gd name="connsiteY712" fmla="*/ 734759 h 845819"/>
                <a:gd name="connsiteX713" fmla="*/ 352901 w 1029843"/>
                <a:gd name="connsiteY713" fmla="*/ 737711 h 845819"/>
                <a:gd name="connsiteX714" fmla="*/ 357473 w 1029843"/>
                <a:gd name="connsiteY714" fmla="*/ 735521 h 845819"/>
                <a:gd name="connsiteX715" fmla="*/ 355854 w 1029843"/>
                <a:gd name="connsiteY715" fmla="*/ 735711 h 845819"/>
                <a:gd name="connsiteX716" fmla="*/ 357188 w 1029843"/>
                <a:gd name="connsiteY716" fmla="*/ 733901 h 845819"/>
                <a:gd name="connsiteX717" fmla="*/ 362331 w 1029843"/>
                <a:gd name="connsiteY717" fmla="*/ 736473 h 845819"/>
                <a:gd name="connsiteX718" fmla="*/ 363760 w 1029843"/>
                <a:gd name="connsiteY718" fmla="*/ 734663 h 845819"/>
                <a:gd name="connsiteX719" fmla="*/ 365379 w 1029843"/>
                <a:gd name="connsiteY719" fmla="*/ 734473 h 845819"/>
                <a:gd name="connsiteX720" fmla="*/ 365570 w 1029843"/>
                <a:gd name="connsiteY720" fmla="*/ 736092 h 845819"/>
                <a:gd name="connsiteX721" fmla="*/ 363950 w 1029843"/>
                <a:gd name="connsiteY721" fmla="*/ 736282 h 845819"/>
                <a:gd name="connsiteX722" fmla="*/ 364141 w 1029843"/>
                <a:gd name="connsiteY722" fmla="*/ 737807 h 845819"/>
                <a:gd name="connsiteX723" fmla="*/ 368903 w 1029843"/>
                <a:gd name="connsiteY723" fmla="*/ 737235 h 845819"/>
                <a:gd name="connsiteX724" fmla="*/ 374047 w 1029843"/>
                <a:gd name="connsiteY724" fmla="*/ 739807 h 845819"/>
                <a:gd name="connsiteX725" fmla="*/ 373856 w 1029843"/>
                <a:gd name="connsiteY725" fmla="*/ 738188 h 845819"/>
                <a:gd name="connsiteX726" fmla="*/ 377381 w 1029843"/>
                <a:gd name="connsiteY726" fmla="*/ 740950 h 845819"/>
                <a:gd name="connsiteX727" fmla="*/ 377952 w 1029843"/>
                <a:gd name="connsiteY727" fmla="*/ 732854 h 845819"/>
                <a:gd name="connsiteX728" fmla="*/ 379762 w 1029843"/>
                <a:gd name="connsiteY728" fmla="*/ 734282 h 845819"/>
                <a:gd name="connsiteX729" fmla="*/ 381476 w 1029843"/>
                <a:gd name="connsiteY729" fmla="*/ 735616 h 845819"/>
                <a:gd name="connsiteX730" fmla="*/ 391763 w 1029843"/>
                <a:gd name="connsiteY730" fmla="*/ 740759 h 845819"/>
                <a:gd name="connsiteX731" fmla="*/ 391954 w 1029843"/>
                <a:gd name="connsiteY731" fmla="*/ 742283 h 845819"/>
                <a:gd name="connsiteX732" fmla="*/ 397097 w 1029843"/>
                <a:gd name="connsiteY732" fmla="*/ 744855 h 845819"/>
                <a:gd name="connsiteX733" fmla="*/ 397288 w 1029843"/>
                <a:gd name="connsiteY733" fmla="*/ 746474 h 845819"/>
                <a:gd name="connsiteX734" fmla="*/ 400907 w 1029843"/>
                <a:gd name="connsiteY734" fmla="*/ 749236 h 845819"/>
                <a:gd name="connsiteX735" fmla="*/ 402050 w 1029843"/>
                <a:gd name="connsiteY735" fmla="*/ 745807 h 845819"/>
                <a:gd name="connsiteX736" fmla="*/ 403670 w 1029843"/>
                <a:gd name="connsiteY736" fmla="*/ 745617 h 845819"/>
                <a:gd name="connsiteX737" fmla="*/ 407194 w 1029843"/>
                <a:gd name="connsiteY737" fmla="*/ 748379 h 845819"/>
                <a:gd name="connsiteX738" fmla="*/ 409956 w 1029843"/>
                <a:gd name="connsiteY738" fmla="*/ 744855 h 845819"/>
                <a:gd name="connsiteX739" fmla="*/ 409575 w 1029843"/>
                <a:gd name="connsiteY739" fmla="*/ 741712 h 845819"/>
                <a:gd name="connsiteX740" fmla="*/ 411099 w 1029843"/>
                <a:gd name="connsiteY740" fmla="*/ 741521 h 845819"/>
                <a:gd name="connsiteX741" fmla="*/ 413671 w 1029843"/>
                <a:gd name="connsiteY741" fmla="*/ 736378 h 845819"/>
                <a:gd name="connsiteX742" fmla="*/ 416814 w 1029843"/>
                <a:gd name="connsiteY742" fmla="*/ 735902 h 845819"/>
                <a:gd name="connsiteX743" fmla="*/ 418052 w 1029843"/>
                <a:gd name="connsiteY743" fmla="*/ 732568 h 845819"/>
                <a:gd name="connsiteX744" fmla="*/ 421386 w 1029843"/>
                <a:gd name="connsiteY744" fmla="*/ 733711 h 845819"/>
                <a:gd name="connsiteX745" fmla="*/ 421576 w 1029843"/>
                <a:gd name="connsiteY745" fmla="*/ 735330 h 845819"/>
                <a:gd name="connsiteX746" fmla="*/ 424529 w 1029843"/>
                <a:gd name="connsiteY746" fmla="*/ 733330 h 845819"/>
                <a:gd name="connsiteX747" fmla="*/ 429482 w 1029843"/>
                <a:gd name="connsiteY747" fmla="*/ 734282 h 845819"/>
                <a:gd name="connsiteX748" fmla="*/ 433197 w 1029843"/>
                <a:gd name="connsiteY748" fmla="*/ 738664 h 845819"/>
                <a:gd name="connsiteX749" fmla="*/ 436912 w 1029843"/>
                <a:gd name="connsiteY749" fmla="*/ 730186 h 845819"/>
                <a:gd name="connsiteX750" fmla="*/ 438912 w 1029843"/>
                <a:gd name="connsiteY750" fmla="*/ 733139 h 845819"/>
                <a:gd name="connsiteX751" fmla="*/ 438722 w 1029843"/>
                <a:gd name="connsiteY751" fmla="*/ 731520 h 845819"/>
                <a:gd name="connsiteX752" fmla="*/ 441865 w 1029843"/>
                <a:gd name="connsiteY752" fmla="*/ 731139 h 845819"/>
                <a:gd name="connsiteX753" fmla="*/ 443103 w 1029843"/>
                <a:gd name="connsiteY753" fmla="*/ 727805 h 845819"/>
                <a:gd name="connsiteX754" fmla="*/ 444817 w 1029843"/>
                <a:gd name="connsiteY754" fmla="*/ 716375 h 845819"/>
                <a:gd name="connsiteX755" fmla="*/ 443008 w 1029843"/>
                <a:gd name="connsiteY755" fmla="*/ 714947 h 845819"/>
                <a:gd name="connsiteX756" fmla="*/ 442246 w 1029843"/>
                <a:gd name="connsiteY756" fmla="*/ 708660 h 845819"/>
                <a:gd name="connsiteX757" fmla="*/ 446723 w 1029843"/>
                <a:gd name="connsiteY757" fmla="*/ 706469 h 845819"/>
                <a:gd name="connsiteX758" fmla="*/ 446532 w 1029843"/>
                <a:gd name="connsiteY758" fmla="*/ 704850 h 845819"/>
                <a:gd name="connsiteX759" fmla="*/ 451295 w 1029843"/>
                <a:gd name="connsiteY759" fmla="*/ 704279 h 845819"/>
                <a:gd name="connsiteX760" fmla="*/ 452247 w 1029843"/>
                <a:gd name="connsiteY760" fmla="*/ 699326 h 845819"/>
                <a:gd name="connsiteX761" fmla="*/ 460534 w 1029843"/>
                <a:gd name="connsiteY761" fmla="*/ 701516 h 845819"/>
                <a:gd name="connsiteX762" fmla="*/ 462915 w 1029843"/>
                <a:gd name="connsiteY762" fmla="*/ 694754 h 845819"/>
                <a:gd name="connsiteX763" fmla="*/ 467201 w 1029843"/>
                <a:gd name="connsiteY763" fmla="*/ 691039 h 845819"/>
                <a:gd name="connsiteX764" fmla="*/ 472631 w 1029843"/>
                <a:gd name="connsiteY764" fmla="*/ 695134 h 845819"/>
                <a:gd name="connsiteX765" fmla="*/ 476345 w 1029843"/>
                <a:gd name="connsiteY765" fmla="*/ 699516 h 845819"/>
                <a:gd name="connsiteX766" fmla="*/ 485966 w 1029843"/>
                <a:gd name="connsiteY766" fmla="*/ 699897 h 845819"/>
                <a:gd name="connsiteX767" fmla="*/ 486442 w 1029843"/>
                <a:gd name="connsiteY767" fmla="*/ 703040 h 845819"/>
                <a:gd name="connsiteX768" fmla="*/ 485204 w 1029843"/>
                <a:gd name="connsiteY768" fmla="*/ 706374 h 845819"/>
                <a:gd name="connsiteX769" fmla="*/ 490347 w 1029843"/>
                <a:gd name="connsiteY769" fmla="*/ 708946 h 845819"/>
                <a:gd name="connsiteX770" fmla="*/ 486632 w 1029843"/>
                <a:gd name="connsiteY770" fmla="*/ 717423 h 845819"/>
                <a:gd name="connsiteX771" fmla="*/ 486251 w 1029843"/>
                <a:gd name="connsiteY771" fmla="*/ 727043 h 845819"/>
                <a:gd name="connsiteX772" fmla="*/ 488442 w 1029843"/>
                <a:gd name="connsiteY772" fmla="*/ 731615 h 845819"/>
                <a:gd name="connsiteX773" fmla="*/ 495205 w 1029843"/>
                <a:gd name="connsiteY773" fmla="*/ 733997 h 845819"/>
                <a:gd name="connsiteX774" fmla="*/ 495586 w 1029843"/>
                <a:gd name="connsiteY774" fmla="*/ 737140 h 845819"/>
                <a:gd name="connsiteX775" fmla="*/ 497110 w 1029843"/>
                <a:gd name="connsiteY775" fmla="*/ 736949 h 845819"/>
                <a:gd name="connsiteX776" fmla="*/ 508349 w 1029843"/>
                <a:gd name="connsiteY776" fmla="*/ 737140 h 845819"/>
                <a:gd name="connsiteX777" fmla="*/ 509016 w 1029843"/>
                <a:gd name="connsiteY777" fmla="*/ 741807 h 845819"/>
                <a:gd name="connsiteX778" fmla="*/ 511969 w 1029843"/>
                <a:gd name="connsiteY778" fmla="*/ 739902 h 845819"/>
                <a:gd name="connsiteX779" fmla="*/ 511588 w 1029843"/>
                <a:gd name="connsiteY779" fmla="*/ 736663 h 845819"/>
                <a:gd name="connsiteX780" fmla="*/ 520446 w 1029843"/>
                <a:gd name="connsiteY780" fmla="*/ 730758 h 845819"/>
                <a:gd name="connsiteX781" fmla="*/ 521017 w 1029843"/>
                <a:gd name="connsiteY781" fmla="*/ 722662 h 845819"/>
                <a:gd name="connsiteX782" fmla="*/ 533781 w 1029843"/>
                <a:gd name="connsiteY782" fmla="*/ 722662 h 845819"/>
                <a:gd name="connsiteX783" fmla="*/ 545021 w 1029843"/>
                <a:gd name="connsiteY783" fmla="*/ 722852 h 845819"/>
                <a:gd name="connsiteX784" fmla="*/ 544449 w 1029843"/>
                <a:gd name="connsiteY784" fmla="*/ 705231 h 845819"/>
                <a:gd name="connsiteX785" fmla="*/ 565118 w 1029843"/>
                <a:gd name="connsiteY785" fmla="*/ 704183 h 845819"/>
                <a:gd name="connsiteX786" fmla="*/ 566547 w 1029843"/>
                <a:gd name="connsiteY786" fmla="*/ 702469 h 845819"/>
                <a:gd name="connsiteX787" fmla="*/ 565690 w 1029843"/>
                <a:gd name="connsiteY787" fmla="*/ 696087 h 845819"/>
                <a:gd name="connsiteX788" fmla="*/ 570643 w 1029843"/>
                <a:gd name="connsiteY788" fmla="*/ 697135 h 845819"/>
                <a:gd name="connsiteX789" fmla="*/ 583311 w 1029843"/>
                <a:gd name="connsiteY789" fmla="*/ 708279 h 845819"/>
                <a:gd name="connsiteX790" fmla="*/ 587407 w 1029843"/>
                <a:gd name="connsiteY790" fmla="*/ 702945 h 845819"/>
                <a:gd name="connsiteX791" fmla="*/ 588074 w 1029843"/>
                <a:gd name="connsiteY791" fmla="*/ 707707 h 845819"/>
                <a:gd name="connsiteX792" fmla="*/ 592741 w 1029843"/>
                <a:gd name="connsiteY792" fmla="*/ 707136 h 845819"/>
                <a:gd name="connsiteX793" fmla="*/ 598075 w 1029843"/>
                <a:gd name="connsiteY793" fmla="*/ 711232 h 845819"/>
                <a:gd name="connsiteX794" fmla="*/ 617220 w 1029843"/>
                <a:gd name="connsiteY794" fmla="*/ 710375 h 845819"/>
                <a:gd name="connsiteX795" fmla="*/ 617315 w 1029843"/>
                <a:gd name="connsiteY795" fmla="*/ 723233 h 845819"/>
                <a:gd name="connsiteX796" fmla="*/ 630555 w 1029843"/>
                <a:gd name="connsiteY796" fmla="*/ 726377 h 845819"/>
                <a:gd name="connsiteX797" fmla="*/ 631698 w 1029843"/>
                <a:gd name="connsiteY797" fmla="*/ 735806 h 845819"/>
                <a:gd name="connsiteX798" fmla="*/ 631793 w 1029843"/>
                <a:gd name="connsiteY798" fmla="*/ 761429 h 845819"/>
                <a:gd name="connsiteX799" fmla="*/ 662368 w 1029843"/>
                <a:gd name="connsiteY799" fmla="*/ 762381 h 845819"/>
                <a:gd name="connsiteX800" fmla="*/ 668846 w 1029843"/>
                <a:gd name="connsiteY800" fmla="*/ 763143 h 845819"/>
                <a:gd name="connsiteX801" fmla="*/ 674465 w 1029843"/>
                <a:gd name="connsiteY801" fmla="*/ 781717 h 845819"/>
                <a:gd name="connsiteX802" fmla="*/ 675418 w 1029843"/>
                <a:gd name="connsiteY802" fmla="*/ 789623 h 845819"/>
                <a:gd name="connsiteX803" fmla="*/ 677418 w 1029843"/>
                <a:gd name="connsiteY803" fmla="*/ 792575 h 845819"/>
                <a:gd name="connsiteX804" fmla="*/ 680561 w 1029843"/>
                <a:gd name="connsiteY804" fmla="*/ 792099 h 845819"/>
                <a:gd name="connsiteX805" fmla="*/ 687134 w 1029843"/>
                <a:gd name="connsiteY805" fmla="*/ 792956 h 845819"/>
                <a:gd name="connsiteX806" fmla="*/ 689039 w 1029843"/>
                <a:gd name="connsiteY806" fmla="*/ 795909 h 845819"/>
                <a:gd name="connsiteX807" fmla="*/ 693801 w 1029843"/>
                <a:gd name="connsiteY807" fmla="*/ 795242 h 845819"/>
                <a:gd name="connsiteX808" fmla="*/ 695611 w 1029843"/>
                <a:gd name="connsiteY808" fmla="*/ 796671 h 845819"/>
                <a:gd name="connsiteX809" fmla="*/ 701707 w 1029843"/>
                <a:gd name="connsiteY809" fmla="*/ 794290 h 845819"/>
                <a:gd name="connsiteX810" fmla="*/ 710565 w 1029843"/>
                <a:gd name="connsiteY810" fmla="*/ 801148 h 845819"/>
                <a:gd name="connsiteX811" fmla="*/ 713613 w 1029843"/>
                <a:gd name="connsiteY811" fmla="*/ 812006 h 845819"/>
                <a:gd name="connsiteX812" fmla="*/ 722471 w 1029843"/>
                <a:gd name="connsiteY812" fmla="*/ 818864 h 845819"/>
                <a:gd name="connsiteX813" fmla="*/ 724091 w 1029843"/>
                <a:gd name="connsiteY813" fmla="*/ 818674 h 845819"/>
                <a:gd name="connsiteX814" fmla="*/ 725234 w 1029843"/>
                <a:gd name="connsiteY814" fmla="*/ 815340 h 845819"/>
                <a:gd name="connsiteX815" fmla="*/ 728186 w 1029843"/>
                <a:gd name="connsiteY815" fmla="*/ 813340 h 845819"/>
                <a:gd name="connsiteX816" fmla="*/ 734092 w 1029843"/>
                <a:gd name="connsiteY816" fmla="*/ 822198 h 845819"/>
                <a:gd name="connsiteX817" fmla="*/ 735711 w 1029843"/>
                <a:gd name="connsiteY817" fmla="*/ 822007 h 845819"/>
                <a:gd name="connsiteX818" fmla="*/ 738854 w 1029843"/>
                <a:gd name="connsiteY818" fmla="*/ 821627 h 845819"/>
                <a:gd name="connsiteX819" fmla="*/ 740664 w 1029843"/>
                <a:gd name="connsiteY819" fmla="*/ 822960 h 845819"/>
                <a:gd name="connsiteX820" fmla="*/ 741998 w 1029843"/>
                <a:gd name="connsiteY820" fmla="*/ 821150 h 845819"/>
                <a:gd name="connsiteX821" fmla="*/ 743807 w 1029843"/>
                <a:gd name="connsiteY821" fmla="*/ 822579 h 845819"/>
                <a:gd name="connsiteX822" fmla="*/ 746951 w 1029843"/>
                <a:gd name="connsiteY822" fmla="*/ 822198 h 845819"/>
                <a:gd name="connsiteX823" fmla="*/ 751523 w 1029843"/>
                <a:gd name="connsiteY823" fmla="*/ 832866 h 845819"/>
                <a:gd name="connsiteX824" fmla="*/ 756666 w 1029843"/>
                <a:gd name="connsiteY824" fmla="*/ 835343 h 845819"/>
                <a:gd name="connsiteX825" fmla="*/ 758285 w 1029843"/>
                <a:gd name="connsiteY825" fmla="*/ 835152 h 845819"/>
                <a:gd name="connsiteX826" fmla="*/ 757047 w 1029843"/>
                <a:gd name="connsiteY826" fmla="*/ 838486 h 845819"/>
                <a:gd name="connsiteX827" fmla="*/ 759047 w 1029843"/>
                <a:gd name="connsiteY827" fmla="*/ 841438 h 845819"/>
                <a:gd name="connsiteX828" fmla="*/ 762762 w 1029843"/>
                <a:gd name="connsiteY828" fmla="*/ 845820 h 845819"/>
                <a:gd name="connsiteX829" fmla="*/ 764191 w 1029843"/>
                <a:gd name="connsiteY829" fmla="*/ 844010 h 845819"/>
                <a:gd name="connsiteX830" fmla="*/ 769144 w 1029843"/>
                <a:gd name="connsiteY830" fmla="*/ 844963 h 845819"/>
                <a:gd name="connsiteX831" fmla="*/ 771716 w 1029843"/>
                <a:gd name="connsiteY831" fmla="*/ 839915 h 845819"/>
                <a:gd name="connsiteX832" fmla="*/ 778193 w 1029843"/>
                <a:gd name="connsiteY832" fmla="*/ 840677 h 845819"/>
                <a:gd name="connsiteX833" fmla="*/ 780955 w 1029843"/>
                <a:gd name="connsiteY833" fmla="*/ 837057 h 845819"/>
                <a:gd name="connsiteX834" fmla="*/ 784670 w 1029843"/>
                <a:gd name="connsiteY834" fmla="*/ 841438 h 845819"/>
                <a:gd name="connsiteX835" fmla="*/ 793528 w 1029843"/>
                <a:gd name="connsiteY835" fmla="*/ 835438 h 845819"/>
                <a:gd name="connsiteX836" fmla="*/ 793337 w 1029843"/>
                <a:gd name="connsiteY836" fmla="*/ 833914 h 845819"/>
                <a:gd name="connsiteX837" fmla="*/ 794576 w 1029843"/>
                <a:gd name="connsiteY837" fmla="*/ 830580 h 845819"/>
                <a:gd name="connsiteX838" fmla="*/ 792575 w 1029843"/>
                <a:gd name="connsiteY838" fmla="*/ 827627 h 845819"/>
                <a:gd name="connsiteX839" fmla="*/ 794099 w 1029843"/>
                <a:gd name="connsiteY839" fmla="*/ 827437 h 845819"/>
                <a:gd name="connsiteX840" fmla="*/ 794385 w 1029843"/>
                <a:gd name="connsiteY840" fmla="*/ 828961 h 845819"/>
                <a:gd name="connsiteX841" fmla="*/ 799052 w 1029843"/>
                <a:gd name="connsiteY841" fmla="*/ 828389 h 845819"/>
                <a:gd name="connsiteX842" fmla="*/ 800862 w 1029843"/>
                <a:gd name="connsiteY842" fmla="*/ 829723 h 845819"/>
                <a:gd name="connsiteX843" fmla="*/ 796766 w 1029843"/>
                <a:gd name="connsiteY843" fmla="*/ 835057 h 845819"/>
                <a:gd name="connsiteX844" fmla="*/ 796957 w 1029843"/>
                <a:gd name="connsiteY844" fmla="*/ 836676 h 845819"/>
                <a:gd name="connsiteX845" fmla="*/ 797528 w 1029843"/>
                <a:gd name="connsiteY845" fmla="*/ 841438 h 845819"/>
                <a:gd name="connsiteX846" fmla="*/ 809911 w 1029843"/>
                <a:gd name="connsiteY846" fmla="*/ 838200 h 845819"/>
                <a:gd name="connsiteX847" fmla="*/ 813054 w 1029843"/>
                <a:gd name="connsiteY847" fmla="*/ 837819 h 845819"/>
                <a:gd name="connsiteX848" fmla="*/ 814673 w 1029843"/>
                <a:gd name="connsiteY848" fmla="*/ 837629 h 845819"/>
                <a:gd name="connsiteX849" fmla="*/ 816102 w 1029843"/>
                <a:gd name="connsiteY849" fmla="*/ 835819 h 845819"/>
                <a:gd name="connsiteX850" fmla="*/ 822770 w 1029843"/>
                <a:gd name="connsiteY850" fmla="*/ 838200 h 845819"/>
                <a:gd name="connsiteX851" fmla="*/ 820960 w 1029843"/>
                <a:gd name="connsiteY851" fmla="*/ 836771 h 845819"/>
                <a:gd name="connsiteX852" fmla="*/ 822198 w 1029843"/>
                <a:gd name="connsiteY852" fmla="*/ 833438 h 845819"/>
                <a:gd name="connsiteX853" fmla="*/ 820388 w 1029843"/>
                <a:gd name="connsiteY853" fmla="*/ 832104 h 845819"/>
                <a:gd name="connsiteX854" fmla="*/ 827151 w 1029843"/>
                <a:gd name="connsiteY854" fmla="*/ 834390 h 845819"/>
                <a:gd name="connsiteX855" fmla="*/ 828484 w 1029843"/>
                <a:gd name="connsiteY855" fmla="*/ 832676 h 845819"/>
                <a:gd name="connsiteX856" fmla="*/ 833818 w 1029843"/>
                <a:gd name="connsiteY856" fmla="*/ 836771 h 845819"/>
                <a:gd name="connsiteX857" fmla="*/ 837152 w 1029843"/>
                <a:gd name="connsiteY857" fmla="*/ 837914 h 845819"/>
                <a:gd name="connsiteX858" fmla="*/ 857345 w 1029843"/>
                <a:gd name="connsiteY858" fmla="*/ 844963 h 845819"/>
                <a:gd name="connsiteX859" fmla="*/ 855917 w 1029843"/>
                <a:gd name="connsiteY859" fmla="*/ 833914 h 845819"/>
                <a:gd name="connsiteX860" fmla="*/ 852583 w 1029843"/>
                <a:gd name="connsiteY860" fmla="*/ 832771 h 845819"/>
                <a:gd name="connsiteX861" fmla="*/ 850201 w 1029843"/>
                <a:gd name="connsiteY861" fmla="*/ 826675 h 845819"/>
                <a:gd name="connsiteX862" fmla="*/ 845058 w 1029843"/>
                <a:gd name="connsiteY862" fmla="*/ 824103 h 845819"/>
                <a:gd name="connsiteX863" fmla="*/ 844391 w 1029843"/>
                <a:gd name="connsiteY863" fmla="*/ 819340 h 845819"/>
                <a:gd name="connsiteX864" fmla="*/ 846201 w 1029843"/>
                <a:gd name="connsiteY864" fmla="*/ 820769 h 845819"/>
                <a:gd name="connsiteX865" fmla="*/ 847344 w 1029843"/>
                <a:gd name="connsiteY865" fmla="*/ 817436 h 845819"/>
                <a:gd name="connsiteX866" fmla="*/ 845153 w 1029843"/>
                <a:gd name="connsiteY866" fmla="*/ 812863 h 845819"/>
                <a:gd name="connsiteX867" fmla="*/ 849916 w 1029843"/>
                <a:gd name="connsiteY867" fmla="*/ 812292 h 845819"/>
                <a:gd name="connsiteX868" fmla="*/ 851345 w 1029843"/>
                <a:gd name="connsiteY868" fmla="*/ 810482 h 845819"/>
                <a:gd name="connsiteX869" fmla="*/ 856679 w 1029843"/>
                <a:gd name="connsiteY869" fmla="*/ 814578 h 845819"/>
                <a:gd name="connsiteX870" fmla="*/ 859250 w 1029843"/>
                <a:gd name="connsiteY870" fmla="*/ 809434 h 845819"/>
                <a:gd name="connsiteX871" fmla="*/ 865537 w 1029843"/>
                <a:gd name="connsiteY871" fmla="*/ 808673 h 845819"/>
                <a:gd name="connsiteX872" fmla="*/ 866680 w 1029843"/>
                <a:gd name="connsiteY872" fmla="*/ 805339 h 845819"/>
                <a:gd name="connsiteX873" fmla="*/ 872585 w 1029843"/>
                <a:gd name="connsiteY873" fmla="*/ 801338 h 845819"/>
                <a:gd name="connsiteX874" fmla="*/ 867251 w 1029843"/>
                <a:gd name="connsiteY874" fmla="*/ 797243 h 845819"/>
                <a:gd name="connsiteX875" fmla="*/ 863537 w 1029843"/>
                <a:gd name="connsiteY875" fmla="*/ 792861 h 845819"/>
                <a:gd name="connsiteX876" fmla="*/ 862108 w 1029843"/>
                <a:gd name="connsiteY876" fmla="*/ 794671 h 845819"/>
                <a:gd name="connsiteX877" fmla="*/ 859726 w 1029843"/>
                <a:gd name="connsiteY877" fmla="*/ 788575 h 845819"/>
                <a:gd name="connsiteX878" fmla="*/ 863632 w 1029843"/>
                <a:gd name="connsiteY878" fmla="*/ 781622 h 845819"/>
                <a:gd name="connsiteX879" fmla="*/ 869823 w 1029843"/>
                <a:gd name="connsiteY879" fmla="*/ 779240 h 845819"/>
                <a:gd name="connsiteX880" fmla="*/ 869156 w 1029843"/>
                <a:gd name="connsiteY880" fmla="*/ 774573 h 845819"/>
                <a:gd name="connsiteX881" fmla="*/ 873919 w 1029843"/>
                <a:gd name="connsiteY881" fmla="*/ 773906 h 845819"/>
                <a:gd name="connsiteX882" fmla="*/ 885158 w 1029843"/>
                <a:gd name="connsiteY882" fmla="*/ 774097 h 845819"/>
                <a:gd name="connsiteX883" fmla="*/ 897541 w 1029843"/>
                <a:gd name="connsiteY883" fmla="*/ 758095 h 845819"/>
                <a:gd name="connsiteX884" fmla="*/ 897350 w 1029843"/>
                <a:gd name="connsiteY884" fmla="*/ 756476 h 845819"/>
                <a:gd name="connsiteX885" fmla="*/ 902113 w 1029843"/>
                <a:gd name="connsiteY885" fmla="*/ 755904 h 845819"/>
                <a:gd name="connsiteX886" fmla="*/ 903923 w 1029843"/>
                <a:gd name="connsiteY886" fmla="*/ 757238 h 845819"/>
                <a:gd name="connsiteX887" fmla="*/ 907256 w 1029843"/>
                <a:gd name="connsiteY887" fmla="*/ 758476 h 845819"/>
                <a:gd name="connsiteX888" fmla="*/ 906875 w 1029843"/>
                <a:gd name="connsiteY888" fmla="*/ 755332 h 845819"/>
                <a:gd name="connsiteX889" fmla="*/ 910018 w 1029843"/>
                <a:gd name="connsiteY889" fmla="*/ 754856 h 845819"/>
                <a:gd name="connsiteX890" fmla="*/ 909542 w 1029843"/>
                <a:gd name="connsiteY890" fmla="*/ 751713 h 845819"/>
                <a:gd name="connsiteX891" fmla="*/ 912781 w 1029843"/>
                <a:gd name="connsiteY891" fmla="*/ 751332 h 845819"/>
                <a:gd name="connsiteX892" fmla="*/ 915734 w 1029843"/>
                <a:gd name="connsiteY892" fmla="*/ 749332 h 845819"/>
                <a:gd name="connsiteX893" fmla="*/ 919448 w 1029843"/>
                <a:gd name="connsiteY893" fmla="*/ 753713 h 845819"/>
                <a:gd name="connsiteX894" fmla="*/ 922210 w 1029843"/>
                <a:gd name="connsiteY894" fmla="*/ 750094 h 845819"/>
                <a:gd name="connsiteX895" fmla="*/ 921830 w 1029843"/>
                <a:gd name="connsiteY895" fmla="*/ 746951 h 845819"/>
                <a:gd name="connsiteX896" fmla="*/ 918496 w 1029843"/>
                <a:gd name="connsiteY896" fmla="*/ 745807 h 845819"/>
                <a:gd name="connsiteX897" fmla="*/ 926116 w 1029843"/>
                <a:gd name="connsiteY897" fmla="*/ 743236 h 845819"/>
                <a:gd name="connsiteX898" fmla="*/ 925735 w 1029843"/>
                <a:gd name="connsiteY898" fmla="*/ 740093 h 845819"/>
                <a:gd name="connsiteX899" fmla="*/ 927354 w 1029843"/>
                <a:gd name="connsiteY899" fmla="*/ 739807 h 845819"/>
                <a:gd name="connsiteX900" fmla="*/ 927735 w 1029843"/>
                <a:gd name="connsiteY900" fmla="*/ 743045 h 845819"/>
                <a:gd name="connsiteX901" fmla="*/ 937165 w 1029843"/>
                <a:gd name="connsiteY901" fmla="*/ 741807 h 845819"/>
                <a:gd name="connsiteX902" fmla="*/ 937355 w 1029843"/>
                <a:gd name="connsiteY902" fmla="*/ 743426 h 845819"/>
                <a:gd name="connsiteX903" fmla="*/ 939927 w 1029843"/>
                <a:gd name="connsiteY903" fmla="*/ 738283 h 845819"/>
                <a:gd name="connsiteX904" fmla="*/ 941546 w 1029843"/>
                <a:gd name="connsiteY904" fmla="*/ 737997 h 845819"/>
                <a:gd name="connsiteX905" fmla="*/ 944309 w 1029843"/>
                <a:gd name="connsiteY905" fmla="*/ 734473 h 845819"/>
                <a:gd name="connsiteX906" fmla="*/ 951929 w 1029843"/>
                <a:gd name="connsiteY906" fmla="*/ 731901 h 845819"/>
                <a:gd name="connsiteX907" fmla="*/ 954500 w 1029843"/>
                <a:gd name="connsiteY907" fmla="*/ 726757 h 845819"/>
                <a:gd name="connsiteX908" fmla="*/ 954881 w 1029843"/>
                <a:gd name="connsiteY908" fmla="*/ 704279 h 845819"/>
                <a:gd name="connsiteX909" fmla="*/ 960596 w 1029843"/>
                <a:gd name="connsiteY909" fmla="*/ 698754 h 845819"/>
                <a:gd name="connsiteX910" fmla="*/ 967073 w 1029843"/>
                <a:gd name="connsiteY910" fmla="*/ 699516 h 845819"/>
                <a:gd name="connsiteX911" fmla="*/ 968502 w 1029843"/>
                <a:gd name="connsiteY911" fmla="*/ 697706 h 845819"/>
                <a:gd name="connsiteX912" fmla="*/ 972217 w 1029843"/>
                <a:gd name="connsiteY912" fmla="*/ 702088 h 845819"/>
                <a:gd name="connsiteX913" fmla="*/ 975360 w 1029843"/>
                <a:gd name="connsiteY913" fmla="*/ 701707 h 845819"/>
                <a:gd name="connsiteX914" fmla="*/ 983837 w 1029843"/>
                <a:gd name="connsiteY914" fmla="*/ 705422 h 845819"/>
                <a:gd name="connsiteX915" fmla="*/ 986885 w 1029843"/>
                <a:gd name="connsiteY915" fmla="*/ 716185 h 845819"/>
                <a:gd name="connsiteX916" fmla="*/ 989838 w 1029843"/>
                <a:gd name="connsiteY916" fmla="*/ 714280 h 845819"/>
                <a:gd name="connsiteX917" fmla="*/ 993553 w 1029843"/>
                <a:gd name="connsiteY917" fmla="*/ 718566 h 845819"/>
                <a:gd name="connsiteX918" fmla="*/ 995363 w 1029843"/>
                <a:gd name="connsiteY918" fmla="*/ 719995 h 845819"/>
                <a:gd name="connsiteX919" fmla="*/ 998315 w 1029843"/>
                <a:gd name="connsiteY919" fmla="*/ 717995 h 845819"/>
                <a:gd name="connsiteX920" fmla="*/ 1019080 w 1029843"/>
                <a:gd name="connsiteY920" fmla="*/ 729805 h 845819"/>
                <a:gd name="connsiteX921" fmla="*/ 1020413 w 1029843"/>
                <a:gd name="connsiteY921" fmla="*/ 727996 h 845819"/>
                <a:gd name="connsiteX922" fmla="*/ 1022223 w 1029843"/>
                <a:gd name="connsiteY922" fmla="*/ 729329 h 845819"/>
                <a:gd name="connsiteX923" fmla="*/ 1026509 w 1029843"/>
                <a:gd name="connsiteY923" fmla="*/ 725615 h 845819"/>
                <a:gd name="connsiteX924" fmla="*/ 1029272 w 1029843"/>
                <a:gd name="connsiteY924" fmla="*/ 722090 h 845819"/>
                <a:gd name="connsiteX925" fmla="*/ 1027081 w 1029843"/>
                <a:gd name="connsiteY925" fmla="*/ 717518 h 845819"/>
                <a:gd name="connsiteX926" fmla="*/ 1029843 w 1029843"/>
                <a:gd name="connsiteY926" fmla="*/ 713994 h 845819"/>
                <a:gd name="connsiteX927" fmla="*/ 1029843 w 1029843"/>
                <a:gd name="connsiteY927" fmla="*/ 713994 h 845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</a:cxnLst>
              <a:rect l="l" t="t" r="r" b="b"/>
              <a:pathLst>
                <a:path w="1029843" h="845819">
                  <a:moveTo>
                    <a:pt x="1029843" y="713994"/>
                  </a:moveTo>
                  <a:lnTo>
                    <a:pt x="1026319" y="711232"/>
                  </a:lnTo>
                  <a:lnTo>
                    <a:pt x="1024128" y="706660"/>
                  </a:lnTo>
                  <a:lnTo>
                    <a:pt x="1013651" y="699992"/>
                  </a:lnTo>
                  <a:lnTo>
                    <a:pt x="1011079" y="692277"/>
                  </a:lnTo>
                  <a:lnTo>
                    <a:pt x="1010888" y="690753"/>
                  </a:lnTo>
                  <a:lnTo>
                    <a:pt x="1014603" y="682276"/>
                  </a:lnTo>
                  <a:lnTo>
                    <a:pt x="1012412" y="677704"/>
                  </a:lnTo>
                  <a:lnTo>
                    <a:pt x="1009079" y="676561"/>
                  </a:lnTo>
                  <a:lnTo>
                    <a:pt x="1010222" y="673132"/>
                  </a:lnTo>
                  <a:lnTo>
                    <a:pt x="1007650" y="665512"/>
                  </a:lnTo>
                  <a:lnTo>
                    <a:pt x="1008602" y="660559"/>
                  </a:lnTo>
                  <a:lnTo>
                    <a:pt x="1008031" y="655796"/>
                  </a:lnTo>
                  <a:lnTo>
                    <a:pt x="1010984" y="653796"/>
                  </a:lnTo>
                  <a:lnTo>
                    <a:pt x="1012126" y="650462"/>
                  </a:lnTo>
                  <a:lnTo>
                    <a:pt x="1009555" y="642747"/>
                  </a:lnTo>
                  <a:lnTo>
                    <a:pt x="1006412" y="643223"/>
                  </a:lnTo>
                  <a:lnTo>
                    <a:pt x="1008793" y="636461"/>
                  </a:lnTo>
                  <a:lnTo>
                    <a:pt x="1003649" y="633889"/>
                  </a:lnTo>
                  <a:lnTo>
                    <a:pt x="1002601" y="625983"/>
                  </a:lnTo>
                  <a:lnTo>
                    <a:pt x="995458" y="620554"/>
                  </a:lnTo>
                  <a:lnTo>
                    <a:pt x="994886" y="615791"/>
                  </a:lnTo>
                  <a:lnTo>
                    <a:pt x="988600" y="616553"/>
                  </a:lnTo>
                  <a:lnTo>
                    <a:pt x="983647" y="615601"/>
                  </a:lnTo>
                  <a:lnTo>
                    <a:pt x="977551" y="605123"/>
                  </a:lnTo>
                  <a:lnTo>
                    <a:pt x="978503" y="600265"/>
                  </a:lnTo>
                  <a:lnTo>
                    <a:pt x="973550" y="599218"/>
                  </a:lnTo>
                  <a:lnTo>
                    <a:pt x="972502" y="591407"/>
                  </a:lnTo>
                  <a:lnTo>
                    <a:pt x="969169" y="590169"/>
                  </a:lnTo>
                  <a:lnTo>
                    <a:pt x="964406" y="590836"/>
                  </a:lnTo>
                  <a:lnTo>
                    <a:pt x="962501" y="587788"/>
                  </a:lnTo>
                  <a:lnTo>
                    <a:pt x="960692" y="586454"/>
                  </a:lnTo>
                  <a:lnTo>
                    <a:pt x="960120" y="581692"/>
                  </a:lnTo>
                  <a:lnTo>
                    <a:pt x="953167" y="577786"/>
                  </a:lnTo>
                  <a:lnTo>
                    <a:pt x="952595" y="573024"/>
                  </a:lnTo>
                  <a:lnTo>
                    <a:pt x="943070" y="561404"/>
                  </a:lnTo>
                  <a:lnTo>
                    <a:pt x="944213" y="558070"/>
                  </a:lnTo>
                  <a:lnTo>
                    <a:pt x="942023" y="553593"/>
                  </a:lnTo>
                  <a:lnTo>
                    <a:pt x="941642" y="550355"/>
                  </a:lnTo>
                  <a:lnTo>
                    <a:pt x="930783" y="540544"/>
                  </a:lnTo>
                  <a:lnTo>
                    <a:pt x="926401" y="531495"/>
                  </a:lnTo>
                  <a:lnTo>
                    <a:pt x="922687" y="527113"/>
                  </a:lnTo>
                  <a:lnTo>
                    <a:pt x="922020" y="522446"/>
                  </a:lnTo>
                  <a:lnTo>
                    <a:pt x="918305" y="518065"/>
                  </a:lnTo>
                  <a:lnTo>
                    <a:pt x="907256" y="519494"/>
                  </a:lnTo>
                  <a:lnTo>
                    <a:pt x="903923" y="518350"/>
                  </a:lnTo>
                  <a:lnTo>
                    <a:pt x="900970" y="520255"/>
                  </a:lnTo>
                  <a:lnTo>
                    <a:pt x="899732" y="523684"/>
                  </a:lnTo>
                  <a:lnTo>
                    <a:pt x="896588" y="524065"/>
                  </a:lnTo>
                  <a:lnTo>
                    <a:pt x="885730" y="514255"/>
                  </a:lnTo>
                  <a:lnTo>
                    <a:pt x="878776" y="497491"/>
                  </a:lnTo>
                  <a:lnTo>
                    <a:pt x="869728" y="489013"/>
                  </a:lnTo>
                  <a:lnTo>
                    <a:pt x="869251" y="485870"/>
                  </a:lnTo>
                  <a:lnTo>
                    <a:pt x="873443" y="480536"/>
                  </a:lnTo>
                  <a:lnTo>
                    <a:pt x="871061" y="474440"/>
                  </a:lnTo>
                  <a:lnTo>
                    <a:pt x="873824" y="470821"/>
                  </a:lnTo>
                  <a:lnTo>
                    <a:pt x="869823" y="464915"/>
                  </a:lnTo>
                  <a:lnTo>
                    <a:pt x="869061" y="458629"/>
                  </a:lnTo>
                  <a:lnTo>
                    <a:pt x="867061" y="455676"/>
                  </a:lnTo>
                  <a:lnTo>
                    <a:pt x="862489" y="457867"/>
                  </a:lnTo>
                  <a:lnTo>
                    <a:pt x="858965" y="455105"/>
                  </a:lnTo>
                  <a:lnTo>
                    <a:pt x="852868" y="457486"/>
                  </a:lnTo>
                  <a:lnTo>
                    <a:pt x="844391" y="453771"/>
                  </a:lnTo>
                  <a:lnTo>
                    <a:pt x="838200" y="456152"/>
                  </a:lnTo>
                  <a:lnTo>
                    <a:pt x="831342" y="452152"/>
                  </a:lnTo>
                  <a:lnTo>
                    <a:pt x="829723" y="452438"/>
                  </a:lnTo>
                  <a:lnTo>
                    <a:pt x="825246" y="454533"/>
                  </a:lnTo>
                  <a:lnTo>
                    <a:pt x="821531" y="463105"/>
                  </a:lnTo>
                  <a:lnTo>
                    <a:pt x="821912" y="466249"/>
                  </a:lnTo>
                  <a:lnTo>
                    <a:pt x="816007" y="470154"/>
                  </a:lnTo>
                  <a:lnTo>
                    <a:pt x="811244" y="470821"/>
                  </a:lnTo>
                  <a:lnTo>
                    <a:pt x="809816" y="459772"/>
                  </a:lnTo>
                  <a:lnTo>
                    <a:pt x="802672" y="454247"/>
                  </a:lnTo>
                  <a:lnTo>
                    <a:pt x="803720" y="449294"/>
                  </a:lnTo>
                  <a:lnTo>
                    <a:pt x="801148" y="441579"/>
                  </a:lnTo>
                  <a:lnTo>
                    <a:pt x="799148" y="438626"/>
                  </a:lnTo>
                  <a:lnTo>
                    <a:pt x="789623" y="439865"/>
                  </a:lnTo>
                  <a:lnTo>
                    <a:pt x="789242" y="436721"/>
                  </a:lnTo>
                  <a:lnTo>
                    <a:pt x="792956" y="428244"/>
                  </a:lnTo>
                  <a:lnTo>
                    <a:pt x="791242" y="426815"/>
                  </a:lnTo>
                  <a:lnTo>
                    <a:pt x="784289" y="422910"/>
                  </a:lnTo>
                  <a:lnTo>
                    <a:pt x="783717" y="418148"/>
                  </a:lnTo>
                  <a:lnTo>
                    <a:pt x="778764" y="417195"/>
                  </a:lnTo>
                  <a:lnTo>
                    <a:pt x="771620" y="424529"/>
                  </a:lnTo>
                  <a:lnTo>
                    <a:pt x="763143" y="420815"/>
                  </a:lnTo>
                  <a:lnTo>
                    <a:pt x="765715" y="415671"/>
                  </a:lnTo>
                  <a:lnTo>
                    <a:pt x="760762" y="401860"/>
                  </a:lnTo>
                  <a:lnTo>
                    <a:pt x="757238" y="399098"/>
                  </a:lnTo>
                  <a:lnTo>
                    <a:pt x="752475" y="399669"/>
                  </a:lnTo>
                  <a:lnTo>
                    <a:pt x="751904" y="395002"/>
                  </a:lnTo>
                  <a:lnTo>
                    <a:pt x="753237" y="393192"/>
                  </a:lnTo>
                  <a:lnTo>
                    <a:pt x="755618" y="386429"/>
                  </a:lnTo>
                  <a:lnTo>
                    <a:pt x="759524" y="379571"/>
                  </a:lnTo>
                  <a:lnTo>
                    <a:pt x="762286" y="375952"/>
                  </a:lnTo>
                  <a:lnTo>
                    <a:pt x="763619" y="374237"/>
                  </a:lnTo>
                  <a:lnTo>
                    <a:pt x="768382" y="373571"/>
                  </a:lnTo>
                  <a:lnTo>
                    <a:pt x="768953" y="378333"/>
                  </a:lnTo>
                  <a:lnTo>
                    <a:pt x="771334" y="384429"/>
                  </a:lnTo>
                  <a:lnTo>
                    <a:pt x="777716" y="383667"/>
                  </a:lnTo>
                  <a:lnTo>
                    <a:pt x="778478" y="377095"/>
                  </a:lnTo>
                  <a:lnTo>
                    <a:pt x="776097" y="370999"/>
                  </a:lnTo>
                  <a:lnTo>
                    <a:pt x="772477" y="368236"/>
                  </a:lnTo>
                  <a:lnTo>
                    <a:pt x="769144" y="367094"/>
                  </a:lnTo>
                  <a:lnTo>
                    <a:pt x="772097" y="365093"/>
                  </a:lnTo>
                  <a:lnTo>
                    <a:pt x="780002" y="364141"/>
                  </a:lnTo>
                  <a:lnTo>
                    <a:pt x="777621" y="358045"/>
                  </a:lnTo>
                  <a:lnTo>
                    <a:pt x="785908" y="360140"/>
                  </a:lnTo>
                  <a:lnTo>
                    <a:pt x="793433" y="355949"/>
                  </a:lnTo>
                  <a:lnTo>
                    <a:pt x="789242" y="348520"/>
                  </a:lnTo>
                  <a:lnTo>
                    <a:pt x="796576" y="342805"/>
                  </a:lnTo>
                  <a:lnTo>
                    <a:pt x="799719" y="342329"/>
                  </a:lnTo>
                  <a:lnTo>
                    <a:pt x="803243" y="345091"/>
                  </a:lnTo>
                  <a:lnTo>
                    <a:pt x="806387" y="344710"/>
                  </a:lnTo>
                  <a:lnTo>
                    <a:pt x="802481" y="338804"/>
                  </a:lnTo>
                  <a:lnTo>
                    <a:pt x="803815" y="336994"/>
                  </a:lnTo>
                  <a:lnTo>
                    <a:pt x="805815" y="339947"/>
                  </a:lnTo>
                  <a:lnTo>
                    <a:pt x="812483" y="342329"/>
                  </a:lnTo>
                  <a:lnTo>
                    <a:pt x="815435" y="340328"/>
                  </a:lnTo>
                  <a:lnTo>
                    <a:pt x="819055" y="343090"/>
                  </a:lnTo>
                  <a:lnTo>
                    <a:pt x="824293" y="334423"/>
                  </a:lnTo>
                  <a:lnTo>
                    <a:pt x="823722" y="329660"/>
                  </a:lnTo>
                  <a:lnTo>
                    <a:pt x="829818" y="327279"/>
                  </a:lnTo>
                  <a:lnTo>
                    <a:pt x="831247" y="325469"/>
                  </a:lnTo>
                  <a:lnTo>
                    <a:pt x="828389" y="316230"/>
                  </a:lnTo>
                  <a:lnTo>
                    <a:pt x="829627" y="312896"/>
                  </a:lnTo>
                  <a:lnTo>
                    <a:pt x="835724" y="310515"/>
                  </a:lnTo>
                  <a:lnTo>
                    <a:pt x="837343" y="310325"/>
                  </a:lnTo>
                  <a:lnTo>
                    <a:pt x="844201" y="314230"/>
                  </a:lnTo>
                  <a:lnTo>
                    <a:pt x="846201" y="317182"/>
                  </a:lnTo>
                  <a:lnTo>
                    <a:pt x="853345" y="322707"/>
                  </a:lnTo>
                  <a:lnTo>
                    <a:pt x="863727" y="316516"/>
                  </a:lnTo>
                  <a:lnTo>
                    <a:pt x="872776" y="299371"/>
                  </a:lnTo>
                  <a:lnTo>
                    <a:pt x="881825" y="294989"/>
                  </a:lnTo>
                  <a:lnTo>
                    <a:pt x="891921" y="285750"/>
                  </a:lnTo>
                  <a:lnTo>
                    <a:pt x="891540" y="282511"/>
                  </a:lnTo>
                  <a:lnTo>
                    <a:pt x="889540" y="279559"/>
                  </a:lnTo>
                  <a:lnTo>
                    <a:pt x="891064" y="279368"/>
                  </a:lnTo>
                  <a:lnTo>
                    <a:pt x="881825" y="269367"/>
                  </a:lnTo>
                  <a:lnTo>
                    <a:pt x="888111" y="268510"/>
                  </a:lnTo>
                  <a:lnTo>
                    <a:pt x="898589" y="262414"/>
                  </a:lnTo>
                  <a:lnTo>
                    <a:pt x="898970" y="252698"/>
                  </a:lnTo>
                  <a:lnTo>
                    <a:pt x="892778" y="242316"/>
                  </a:lnTo>
                  <a:lnTo>
                    <a:pt x="893921" y="238982"/>
                  </a:lnTo>
                  <a:lnTo>
                    <a:pt x="903637" y="239268"/>
                  </a:lnTo>
                  <a:lnTo>
                    <a:pt x="908209" y="237172"/>
                  </a:lnTo>
                  <a:lnTo>
                    <a:pt x="921163" y="225838"/>
                  </a:lnTo>
                  <a:lnTo>
                    <a:pt x="920401" y="219551"/>
                  </a:lnTo>
                  <a:lnTo>
                    <a:pt x="917734" y="211836"/>
                  </a:lnTo>
                  <a:lnTo>
                    <a:pt x="908685" y="203359"/>
                  </a:lnTo>
                  <a:lnTo>
                    <a:pt x="906113" y="195739"/>
                  </a:lnTo>
                  <a:lnTo>
                    <a:pt x="897446" y="190405"/>
                  </a:lnTo>
                  <a:lnTo>
                    <a:pt x="893445" y="184499"/>
                  </a:lnTo>
                  <a:lnTo>
                    <a:pt x="885158" y="182309"/>
                  </a:lnTo>
                  <a:lnTo>
                    <a:pt x="875252" y="167545"/>
                  </a:lnTo>
                  <a:lnTo>
                    <a:pt x="874395" y="161258"/>
                  </a:lnTo>
                  <a:lnTo>
                    <a:pt x="872871" y="161449"/>
                  </a:lnTo>
                  <a:lnTo>
                    <a:pt x="869728" y="161830"/>
                  </a:lnTo>
                  <a:lnTo>
                    <a:pt x="867727" y="158877"/>
                  </a:lnTo>
                  <a:lnTo>
                    <a:pt x="863156" y="148209"/>
                  </a:lnTo>
                  <a:lnTo>
                    <a:pt x="855250" y="149257"/>
                  </a:lnTo>
                  <a:lnTo>
                    <a:pt x="854678" y="144494"/>
                  </a:lnTo>
                  <a:lnTo>
                    <a:pt x="848297" y="132493"/>
                  </a:lnTo>
                  <a:lnTo>
                    <a:pt x="834866" y="127825"/>
                  </a:lnTo>
                  <a:lnTo>
                    <a:pt x="828580" y="128588"/>
                  </a:lnTo>
                  <a:lnTo>
                    <a:pt x="824675" y="135541"/>
                  </a:lnTo>
                  <a:lnTo>
                    <a:pt x="818102" y="134779"/>
                  </a:lnTo>
                  <a:lnTo>
                    <a:pt x="806863" y="134588"/>
                  </a:lnTo>
                  <a:lnTo>
                    <a:pt x="805720" y="125063"/>
                  </a:lnTo>
                  <a:lnTo>
                    <a:pt x="804101" y="125254"/>
                  </a:lnTo>
                  <a:lnTo>
                    <a:pt x="800957" y="125730"/>
                  </a:lnTo>
                  <a:lnTo>
                    <a:pt x="792861" y="125158"/>
                  </a:lnTo>
                  <a:lnTo>
                    <a:pt x="789908" y="127064"/>
                  </a:lnTo>
                  <a:lnTo>
                    <a:pt x="774859" y="122587"/>
                  </a:lnTo>
                  <a:lnTo>
                    <a:pt x="771716" y="122968"/>
                  </a:lnTo>
                  <a:lnTo>
                    <a:pt x="763524" y="146494"/>
                  </a:lnTo>
                  <a:lnTo>
                    <a:pt x="765143" y="159163"/>
                  </a:lnTo>
                  <a:lnTo>
                    <a:pt x="763524" y="159353"/>
                  </a:lnTo>
                  <a:lnTo>
                    <a:pt x="765524" y="162306"/>
                  </a:lnTo>
                  <a:lnTo>
                    <a:pt x="762952" y="167449"/>
                  </a:lnTo>
                  <a:lnTo>
                    <a:pt x="747141" y="169450"/>
                  </a:lnTo>
                  <a:lnTo>
                    <a:pt x="741235" y="173355"/>
                  </a:lnTo>
                  <a:lnTo>
                    <a:pt x="736092" y="170878"/>
                  </a:lnTo>
                  <a:lnTo>
                    <a:pt x="737711" y="170593"/>
                  </a:lnTo>
                  <a:lnTo>
                    <a:pt x="734759" y="159829"/>
                  </a:lnTo>
                  <a:lnTo>
                    <a:pt x="730568" y="152305"/>
                  </a:lnTo>
                  <a:lnTo>
                    <a:pt x="714947" y="143066"/>
                  </a:lnTo>
                  <a:lnTo>
                    <a:pt x="707231" y="145637"/>
                  </a:lnTo>
                  <a:lnTo>
                    <a:pt x="704850" y="139541"/>
                  </a:lnTo>
                  <a:lnTo>
                    <a:pt x="701516" y="138398"/>
                  </a:lnTo>
                  <a:lnTo>
                    <a:pt x="699516" y="135445"/>
                  </a:lnTo>
                  <a:lnTo>
                    <a:pt x="691706" y="136398"/>
                  </a:lnTo>
                  <a:lnTo>
                    <a:pt x="688086" y="133636"/>
                  </a:lnTo>
                  <a:lnTo>
                    <a:pt x="681800" y="134493"/>
                  </a:lnTo>
                  <a:lnTo>
                    <a:pt x="679609" y="142780"/>
                  </a:lnTo>
                  <a:lnTo>
                    <a:pt x="676656" y="144780"/>
                  </a:lnTo>
                  <a:lnTo>
                    <a:pt x="673513" y="145161"/>
                  </a:lnTo>
                  <a:lnTo>
                    <a:pt x="672560" y="150114"/>
                  </a:lnTo>
                  <a:lnTo>
                    <a:pt x="664083" y="159163"/>
                  </a:lnTo>
                  <a:lnTo>
                    <a:pt x="659321" y="159734"/>
                  </a:lnTo>
                  <a:lnTo>
                    <a:pt x="659797" y="162973"/>
                  </a:lnTo>
                  <a:lnTo>
                    <a:pt x="655606" y="168307"/>
                  </a:lnTo>
                  <a:lnTo>
                    <a:pt x="653129" y="186214"/>
                  </a:lnTo>
                  <a:lnTo>
                    <a:pt x="653510" y="189357"/>
                  </a:lnTo>
                  <a:lnTo>
                    <a:pt x="652367" y="192786"/>
                  </a:lnTo>
                  <a:lnTo>
                    <a:pt x="642271" y="189167"/>
                  </a:lnTo>
                  <a:lnTo>
                    <a:pt x="631603" y="206597"/>
                  </a:lnTo>
                  <a:lnTo>
                    <a:pt x="626269" y="202501"/>
                  </a:lnTo>
                  <a:lnTo>
                    <a:pt x="624364" y="199549"/>
                  </a:lnTo>
                  <a:lnTo>
                    <a:pt x="619411" y="198596"/>
                  </a:lnTo>
                  <a:lnTo>
                    <a:pt x="609124" y="193453"/>
                  </a:lnTo>
                  <a:lnTo>
                    <a:pt x="605600" y="190691"/>
                  </a:lnTo>
                  <a:lnTo>
                    <a:pt x="605123" y="187547"/>
                  </a:lnTo>
                  <a:lnTo>
                    <a:pt x="610648" y="180403"/>
                  </a:lnTo>
                  <a:lnTo>
                    <a:pt x="618363" y="177832"/>
                  </a:lnTo>
                  <a:lnTo>
                    <a:pt x="628555" y="170117"/>
                  </a:lnTo>
                  <a:lnTo>
                    <a:pt x="626650" y="167164"/>
                  </a:lnTo>
                  <a:lnTo>
                    <a:pt x="618363" y="164973"/>
                  </a:lnTo>
                  <a:lnTo>
                    <a:pt x="617125" y="155543"/>
                  </a:lnTo>
                  <a:lnTo>
                    <a:pt x="613791" y="154400"/>
                  </a:lnTo>
                  <a:lnTo>
                    <a:pt x="616268" y="149257"/>
                  </a:lnTo>
                  <a:lnTo>
                    <a:pt x="614743" y="136589"/>
                  </a:lnTo>
                  <a:lnTo>
                    <a:pt x="612076" y="128873"/>
                  </a:lnTo>
                  <a:lnTo>
                    <a:pt x="612934" y="122396"/>
                  </a:lnTo>
                  <a:lnTo>
                    <a:pt x="609505" y="121253"/>
                  </a:lnTo>
                  <a:lnTo>
                    <a:pt x="605600" y="115348"/>
                  </a:lnTo>
                  <a:lnTo>
                    <a:pt x="606552" y="110395"/>
                  </a:lnTo>
                  <a:lnTo>
                    <a:pt x="606171" y="107251"/>
                  </a:lnTo>
                  <a:lnTo>
                    <a:pt x="587597" y="99917"/>
                  </a:lnTo>
                  <a:lnTo>
                    <a:pt x="578072" y="101155"/>
                  </a:lnTo>
                  <a:lnTo>
                    <a:pt x="576739" y="102965"/>
                  </a:lnTo>
                  <a:lnTo>
                    <a:pt x="572452" y="106680"/>
                  </a:lnTo>
                  <a:lnTo>
                    <a:pt x="565880" y="105918"/>
                  </a:lnTo>
                  <a:lnTo>
                    <a:pt x="563309" y="111062"/>
                  </a:lnTo>
                  <a:lnTo>
                    <a:pt x="556641" y="108680"/>
                  </a:lnTo>
                  <a:lnTo>
                    <a:pt x="549116" y="112871"/>
                  </a:lnTo>
                  <a:lnTo>
                    <a:pt x="533972" y="119634"/>
                  </a:lnTo>
                  <a:lnTo>
                    <a:pt x="533019" y="124587"/>
                  </a:lnTo>
                  <a:lnTo>
                    <a:pt x="517970" y="120015"/>
                  </a:lnTo>
                  <a:lnTo>
                    <a:pt x="518732" y="113538"/>
                  </a:lnTo>
                  <a:lnTo>
                    <a:pt x="518160" y="108775"/>
                  </a:lnTo>
                  <a:lnTo>
                    <a:pt x="514731" y="94774"/>
                  </a:lnTo>
                  <a:lnTo>
                    <a:pt x="511016" y="90488"/>
                  </a:lnTo>
                  <a:lnTo>
                    <a:pt x="509778" y="80963"/>
                  </a:lnTo>
                  <a:lnTo>
                    <a:pt x="506444" y="79819"/>
                  </a:lnTo>
                  <a:lnTo>
                    <a:pt x="498539" y="68008"/>
                  </a:lnTo>
                  <a:lnTo>
                    <a:pt x="494538" y="62103"/>
                  </a:lnTo>
                  <a:lnTo>
                    <a:pt x="496634" y="40957"/>
                  </a:lnTo>
                  <a:lnTo>
                    <a:pt x="487966" y="35623"/>
                  </a:lnTo>
                  <a:lnTo>
                    <a:pt x="485394" y="28003"/>
                  </a:lnTo>
                  <a:lnTo>
                    <a:pt x="466630" y="32004"/>
                  </a:lnTo>
                  <a:lnTo>
                    <a:pt x="465677" y="36862"/>
                  </a:lnTo>
                  <a:lnTo>
                    <a:pt x="459962" y="42481"/>
                  </a:lnTo>
                  <a:lnTo>
                    <a:pt x="446913" y="40862"/>
                  </a:lnTo>
                  <a:lnTo>
                    <a:pt x="436340" y="45434"/>
                  </a:lnTo>
                  <a:lnTo>
                    <a:pt x="431959" y="49244"/>
                  </a:lnTo>
                  <a:lnTo>
                    <a:pt x="430435" y="49435"/>
                  </a:lnTo>
                  <a:lnTo>
                    <a:pt x="420148" y="44291"/>
                  </a:lnTo>
                  <a:lnTo>
                    <a:pt x="409289" y="47339"/>
                  </a:lnTo>
                  <a:lnTo>
                    <a:pt x="404336" y="46292"/>
                  </a:lnTo>
                  <a:lnTo>
                    <a:pt x="397383" y="42386"/>
                  </a:lnTo>
                  <a:lnTo>
                    <a:pt x="394621" y="33147"/>
                  </a:lnTo>
                  <a:lnTo>
                    <a:pt x="390906" y="28766"/>
                  </a:lnTo>
                  <a:lnTo>
                    <a:pt x="382619" y="26670"/>
                  </a:lnTo>
                  <a:lnTo>
                    <a:pt x="377285" y="22479"/>
                  </a:lnTo>
                  <a:lnTo>
                    <a:pt x="369189" y="21907"/>
                  </a:lnTo>
                  <a:lnTo>
                    <a:pt x="350996" y="17812"/>
                  </a:lnTo>
                  <a:lnTo>
                    <a:pt x="348043" y="6953"/>
                  </a:lnTo>
                  <a:lnTo>
                    <a:pt x="337947" y="3429"/>
                  </a:lnTo>
                  <a:lnTo>
                    <a:pt x="321564" y="762"/>
                  </a:lnTo>
                  <a:lnTo>
                    <a:pt x="309372" y="5524"/>
                  </a:lnTo>
                  <a:lnTo>
                    <a:pt x="302228" y="0"/>
                  </a:lnTo>
                  <a:lnTo>
                    <a:pt x="292703" y="1238"/>
                  </a:lnTo>
                  <a:lnTo>
                    <a:pt x="292989" y="15621"/>
                  </a:lnTo>
                  <a:lnTo>
                    <a:pt x="293942" y="23527"/>
                  </a:lnTo>
                  <a:lnTo>
                    <a:pt x="297942" y="29432"/>
                  </a:lnTo>
                  <a:lnTo>
                    <a:pt x="313754" y="40195"/>
                  </a:lnTo>
                  <a:lnTo>
                    <a:pt x="318325" y="50864"/>
                  </a:lnTo>
                  <a:lnTo>
                    <a:pt x="316135" y="59150"/>
                  </a:lnTo>
                  <a:lnTo>
                    <a:pt x="308324" y="72962"/>
                  </a:lnTo>
                  <a:lnTo>
                    <a:pt x="307086" y="76391"/>
                  </a:lnTo>
                  <a:lnTo>
                    <a:pt x="314230" y="81820"/>
                  </a:lnTo>
                  <a:lnTo>
                    <a:pt x="312706" y="94869"/>
                  </a:lnTo>
                  <a:lnTo>
                    <a:pt x="314706" y="97822"/>
                  </a:lnTo>
                  <a:lnTo>
                    <a:pt x="311182" y="107918"/>
                  </a:lnTo>
                  <a:lnTo>
                    <a:pt x="311753" y="112681"/>
                  </a:lnTo>
                  <a:lnTo>
                    <a:pt x="313563" y="114014"/>
                  </a:lnTo>
                  <a:lnTo>
                    <a:pt x="319945" y="138874"/>
                  </a:lnTo>
                  <a:lnTo>
                    <a:pt x="326993" y="144399"/>
                  </a:lnTo>
                  <a:lnTo>
                    <a:pt x="319945" y="151733"/>
                  </a:lnTo>
                  <a:lnTo>
                    <a:pt x="314801" y="161925"/>
                  </a:lnTo>
                  <a:lnTo>
                    <a:pt x="314992" y="163544"/>
                  </a:lnTo>
                  <a:lnTo>
                    <a:pt x="325469" y="170212"/>
                  </a:lnTo>
                  <a:lnTo>
                    <a:pt x="329660" y="177737"/>
                  </a:lnTo>
                  <a:lnTo>
                    <a:pt x="330518" y="184023"/>
                  </a:lnTo>
                  <a:lnTo>
                    <a:pt x="339185" y="189357"/>
                  </a:lnTo>
                  <a:lnTo>
                    <a:pt x="333470" y="194881"/>
                  </a:lnTo>
                  <a:lnTo>
                    <a:pt x="326803" y="205359"/>
                  </a:lnTo>
                  <a:lnTo>
                    <a:pt x="328994" y="209931"/>
                  </a:lnTo>
                  <a:lnTo>
                    <a:pt x="318516" y="228886"/>
                  </a:lnTo>
                  <a:lnTo>
                    <a:pt x="325660" y="234315"/>
                  </a:lnTo>
                  <a:lnTo>
                    <a:pt x="335375" y="234696"/>
                  </a:lnTo>
                  <a:lnTo>
                    <a:pt x="332804" y="239840"/>
                  </a:lnTo>
                  <a:lnTo>
                    <a:pt x="328232" y="242030"/>
                  </a:lnTo>
                  <a:lnTo>
                    <a:pt x="339281" y="253460"/>
                  </a:lnTo>
                  <a:lnTo>
                    <a:pt x="334423" y="252508"/>
                  </a:lnTo>
                  <a:lnTo>
                    <a:pt x="334613" y="254032"/>
                  </a:lnTo>
                  <a:lnTo>
                    <a:pt x="341090" y="254889"/>
                  </a:lnTo>
                  <a:lnTo>
                    <a:pt x="343472" y="260985"/>
                  </a:lnTo>
                  <a:lnTo>
                    <a:pt x="348806" y="265081"/>
                  </a:lnTo>
                  <a:lnTo>
                    <a:pt x="349187" y="268224"/>
                  </a:lnTo>
                  <a:lnTo>
                    <a:pt x="352806" y="270986"/>
                  </a:lnTo>
                  <a:lnTo>
                    <a:pt x="356997" y="278511"/>
                  </a:lnTo>
                  <a:lnTo>
                    <a:pt x="358521" y="278320"/>
                  </a:lnTo>
                  <a:lnTo>
                    <a:pt x="359283" y="284607"/>
                  </a:lnTo>
                  <a:lnTo>
                    <a:pt x="363284" y="290513"/>
                  </a:lnTo>
                  <a:lnTo>
                    <a:pt x="362141" y="293846"/>
                  </a:lnTo>
                  <a:lnTo>
                    <a:pt x="340043" y="296704"/>
                  </a:lnTo>
                  <a:lnTo>
                    <a:pt x="335471" y="298894"/>
                  </a:lnTo>
                  <a:lnTo>
                    <a:pt x="334137" y="300609"/>
                  </a:lnTo>
                  <a:lnTo>
                    <a:pt x="331946" y="296132"/>
                  </a:lnTo>
                  <a:lnTo>
                    <a:pt x="329184" y="299657"/>
                  </a:lnTo>
                  <a:lnTo>
                    <a:pt x="331184" y="302609"/>
                  </a:lnTo>
                  <a:lnTo>
                    <a:pt x="328041" y="302990"/>
                  </a:lnTo>
                  <a:lnTo>
                    <a:pt x="326803" y="293561"/>
                  </a:lnTo>
                  <a:lnTo>
                    <a:pt x="323660" y="293942"/>
                  </a:lnTo>
                  <a:lnTo>
                    <a:pt x="323850" y="295561"/>
                  </a:lnTo>
                  <a:lnTo>
                    <a:pt x="320516" y="294323"/>
                  </a:lnTo>
                  <a:lnTo>
                    <a:pt x="320040" y="291179"/>
                  </a:lnTo>
                  <a:lnTo>
                    <a:pt x="318707" y="292989"/>
                  </a:lnTo>
                  <a:lnTo>
                    <a:pt x="318325" y="289846"/>
                  </a:lnTo>
                  <a:lnTo>
                    <a:pt x="316706" y="290036"/>
                  </a:lnTo>
                  <a:lnTo>
                    <a:pt x="310801" y="293942"/>
                  </a:lnTo>
                  <a:lnTo>
                    <a:pt x="309277" y="294227"/>
                  </a:lnTo>
                  <a:lnTo>
                    <a:pt x="304705" y="296323"/>
                  </a:lnTo>
                  <a:lnTo>
                    <a:pt x="301371" y="295180"/>
                  </a:lnTo>
                  <a:lnTo>
                    <a:pt x="302324" y="303086"/>
                  </a:lnTo>
                  <a:lnTo>
                    <a:pt x="294418" y="304133"/>
                  </a:lnTo>
                  <a:lnTo>
                    <a:pt x="292227" y="299561"/>
                  </a:lnTo>
                  <a:lnTo>
                    <a:pt x="287750" y="301752"/>
                  </a:lnTo>
                  <a:lnTo>
                    <a:pt x="285750" y="298799"/>
                  </a:lnTo>
                  <a:lnTo>
                    <a:pt x="279464" y="299561"/>
                  </a:lnTo>
                  <a:lnTo>
                    <a:pt x="278606" y="293275"/>
                  </a:lnTo>
                  <a:lnTo>
                    <a:pt x="267557" y="281845"/>
                  </a:lnTo>
                  <a:lnTo>
                    <a:pt x="268319" y="275368"/>
                  </a:lnTo>
                  <a:lnTo>
                    <a:pt x="270129" y="276701"/>
                  </a:lnTo>
                  <a:lnTo>
                    <a:pt x="269748" y="273558"/>
                  </a:lnTo>
                  <a:lnTo>
                    <a:pt x="267748" y="270605"/>
                  </a:lnTo>
                  <a:lnTo>
                    <a:pt x="254318" y="265938"/>
                  </a:lnTo>
                  <a:lnTo>
                    <a:pt x="254889" y="270605"/>
                  </a:lnTo>
                  <a:lnTo>
                    <a:pt x="256508" y="270415"/>
                  </a:lnTo>
                  <a:lnTo>
                    <a:pt x="253746" y="274034"/>
                  </a:lnTo>
                  <a:lnTo>
                    <a:pt x="257461" y="278320"/>
                  </a:lnTo>
                  <a:lnTo>
                    <a:pt x="256508" y="283273"/>
                  </a:lnTo>
                  <a:lnTo>
                    <a:pt x="254699" y="281845"/>
                  </a:lnTo>
                  <a:lnTo>
                    <a:pt x="253365" y="283655"/>
                  </a:lnTo>
                  <a:lnTo>
                    <a:pt x="248031" y="279559"/>
                  </a:lnTo>
                  <a:lnTo>
                    <a:pt x="247841" y="290798"/>
                  </a:lnTo>
                  <a:lnTo>
                    <a:pt x="240125" y="293370"/>
                  </a:lnTo>
                  <a:lnTo>
                    <a:pt x="238411" y="292036"/>
                  </a:lnTo>
                  <a:lnTo>
                    <a:pt x="229076" y="294799"/>
                  </a:lnTo>
                  <a:lnTo>
                    <a:pt x="228124" y="299752"/>
                  </a:lnTo>
                  <a:lnTo>
                    <a:pt x="226790" y="301466"/>
                  </a:lnTo>
                  <a:lnTo>
                    <a:pt x="230505" y="305848"/>
                  </a:lnTo>
                  <a:lnTo>
                    <a:pt x="231743" y="315278"/>
                  </a:lnTo>
                  <a:lnTo>
                    <a:pt x="238697" y="319183"/>
                  </a:lnTo>
                  <a:lnTo>
                    <a:pt x="237649" y="324136"/>
                  </a:lnTo>
                  <a:lnTo>
                    <a:pt x="232982" y="324803"/>
                  </a:lnTo>
                  <a:lnTo>
                    <a:pt x="234887" y="327755"/>
                  </a:lnTo>
                  <a:lnTo>
                    <a:pt x="232124" y="331280"/>
                  </a:lnTo>
                  <a:lnTo>
                    <a:pt x="231172" y="336232"/>
                  </a:lnTo>
                  <a:lnTo>
                    <a:pt x="226219" y="335280"/>
                  </a:lnTo>
                  <a:lnTo>
                    <a:pt x="223838" y="329089"/>
                  </a:lnTo>
                  <a:lnTo>
                    <a:pt x="220885" y="331089"/>
                  </a:lnTo>
                  <a:lnTo>
                    <a:pt x="218123" y="334709"/>
                  </a:lnTo>
                  <a:lnTo>
                    <a:pt x="221933" y="338995"/>
                  </a:lnTo>
                  <a:lnTo>
                    <a:pt x="222123" y="340614"/>
                  </a:lnTo>
                  <a:lnTo>
                    <a:pt x="218789" y="339376"/>
                  </a:lnTo>
                  <a:lnTo>
                    <a:pt x="218980" y="340995"/>
                  </a:lnTo>
                  <a:lnTo>
                    <a:pt x="213836" y="338423"/>
                  </a:lnTo>
                  <a:lnTo>
                    <a:pt x="212693" y="341757"/>
                  </a:lnTo>
                  <a:lnTo>
                    <a:pt x="207740" y="340805"/>
                  </a:lnTo>
                  <a:lnTo>
                    <a:pt x="203168" y="342995"/>
                  </a:lnTo>
                  <a:lnTo>
                    <a:pt x="196691" y="342233"/>
                  </a:lnTo>
                  <a:lnTo>
                    <a:pt x="196025" y="337471"/>
                  </a:lnTo>
                  <a:lnTo>
                    <a:pt x="192691" y="336328"/>
                  </a:lnTo>
                  <a:lnTo>
                    <a:pt x="195834" y="335947"/>
                  </a:lnTo>
                  <a:lnTo>
                    <a:pt x="195453" y="332708"/>
                  </a:lnTo>
                  <a:lnTo>
                    <a:pt x="190691" y="333375"/>
                  </a:lnTo>
                  <a:lnTo>
                    <a:pt x="188786" y="330422"/>
                  </a:lnTo>
                  <a:lnTo>
                    <a:pt x="196882" y="330994"/>
                  </a:lnTo>
                  <a:lnTo>
                    <a:pt x="196596" y="329375"/>
                  </a:lnTo>
                  <a:lnTo>
                    <a:pt x="193262" y="328232"/>
                  </a:lnTo>
                  <a:lnTo>
                    <a:pt x="191072" y="323659"/>
                  </a:lnTo>
                  <a:lnTo>
                    <a:pt x="194215" y="323279"/>
                  </a:lnTo>
                  <a:lnTo>
                    <a:pt x="190119" y="315754"/>
                  </a:lnTo>
                  <a:lnTo>
                    <a:pt x="191262" y="312420"/>
                  </a:lnTo>
                  <a:lnTo>
                    <a:pt x="187928" y="311277"/>
                  </a:lnTo>
                  <a:lnTo>
                    <a:pt x="182023" y="315182"/>
                  </a:lnTo>
                  <a:lnTo>
                    <a:pt x="181832" y="326422"/>
                  </a:lnTo>
                  <a:lnTo>
                    <a:pt x="174879" y="322517"/>
                  </a:lnTo>
                  <a:lnTo>
                    <a:pt x="172784" y="318040"/>
                  </a:lnTo>
                  <a:lnTo>
                    <a:pt x="166021" y="315659"/>
                  </a:lnTo>
                  <a:lnTo>
                    <a:pt x="164402" y="315849"/>
                  </a:lnTo>
                  <a:lnTo>
                    <a:pt x="160306" y="308324"/>
                  </a:lnTo>
                  <a:lnTo>
                    <a:pt x="161449" y="304990"/>
                  </a:lnTo>
                  <a:lnTo>
                    <a:pt x="153162" y="302895"/>
                  </a:lnTo>
                  <a:lnTo>
                    <a:pt x="152019" y="306229"/>
                  </a:lnTo>
                  <a:lnTo>
                    <a:pt x="150400" y="306419"/>
                  </a:lnTo>
                  <a:lnTo>
                    <a:pt x="148209" y="301847"/>
                  </a:lnTo>
                  <a:lnTo>
                    <a:pt x="144113" y="307181"/>
                  </a:lnTo>
                  <a:lnTo>
                    <a:pt x="142113" y="304229"/>
                  </a:lnTo>
                  <a:lnTo>
                    <a:pt x="133826" y="302133"/>
                  </a:lnTo>
                  <a:lnTo>
                    <a:pt x="134969" y="298704"/>
                  </a:lnTo>
                  <a:lnTo>
                    <a:pt x="126302" y="293465"/>
                  </a:lnTo>
                  <a:lnTo>
                    <a:pt x="124968" y="295180"/>
                  </a:lnTo>
                  <a:lnTo>
                    <a:pt x="121349" y="292513"/>
                  </a:lnTo>
                  <a:lnTo>
                    <a:pt x="116681" y="293084"/>
                  </a:lnTo>
                  <a:lnTo>
                    <a:pt x="115253" y="294894"/>
                  </a:lnTo>
                  <a:lnTo>
                    <a:pt x="111538" y="290513"/>
                  </a:lnTo>
                  <a:lnTo>
                    <a:pt x="110300" y="293846"/>
                  </a:lnTo>
                  <a:lnTo>
                    <a:pt x="107156" y="294323"/>
                  </a:lnTo>
                  <a:lnTo>
                    <a:pt x="106013" y="297656"/>
                  </a:lnTo>
                  <a:lnTo>
                    <a:pt x="104394" y="297847"/>
                  </a:lnTo>
                  <a:lnTo>
                    <a:pt x="101632" y="301371"/>
                  </a:lnTo>
                  <a:lnTo>
                    <a:pt x="103442" y="302800"/>
                  </a:lnTo>
                  <a:lnTo>
                    <a:pt x="95726" y="305371"/>
                  </a:lnTo>
                  <a:lnTo>
                    <a:pt x="96583" y="311658"/>
                  </a:lnTo>
                  <a:lnTo>
                    <a:pt x="91631" y="310705"/>
                  </a:lnTo>
                  <a:lnTo>
                    <a:pt x="93631" y="313658"/>
                  </a:lnTo>
                  <a:lnTo>
                    <a:pt x="92869" y="320135"/>
                  </a:lnTo>
                  <a:lnTo>
                    <a:pt x="93250" y="323279"/>
                  </a:lnTo>
                  <a:lnTo>
                    <a:pt x="88487" y="323945"/>
                  </a:lnTo>
                  <a:lnTo>
                    <a:pt x="85344" y="324326"/>
                  </a:lnTo>
                  <a:lnTo>
                    <a:pt x="80772" y="326517"/>
                  </a:lnTo>
                  <a:lnTo>
                    <a:pt x="71723" y="318040"/>
                  </a:lnTo>
                  <a:lnTo>
                    <a:pt x="63246" y="314325"/>
                  </a:lnTo>
                  <a:lnTo>
                    <a:pt x="54959" y="312134"/>
                  </a:lnTo>
                  <a:lnTo>
                    <a:pt x="51149" y="307848"/>
                  </a:lnTo>
                  <a:lnTo>
                    <a:pt x="47625" y="305086"/>
                  </a:lnTo>
                  <a:lnTo>
                    <a:pt x="35528" y="298609"/>
                  </a:lnTo>
                  <a:lnTo>
                    <a:pt x="34195" y="300419"/>
                  </a:lnTo>
                  <a:lnTo>
                    <a:pt x="29242" y="299371"/>
                  </a:lnTo>
                  <a:lnTo>
                    <a:pt x="28670" y="294704"/>
                  </a:lnTo>
                  <a:lnTo>
                    <a:pt x="26670" y="291751"/>
                  </a:lnTo>
                  <a:lnTo>
                    <a:pt x="25527" y="295084"/>
                  </a:lnTo>
                  <a:lnTo>
                    <a:pt x="23908" y="295275"/>
                  </a:lnTo>
                  <a:lnTo>
                    <a:pt x="24289" y="298418"/>
                  </a:lnTo>
                  <a:lnTo>
                    <a:pt x="22765" y="298609"/>
                  </a:lnTo>
                  <a:lnTo>
                    <a:pt x="23336" y="303371"/>
                  </a:lnTo>
                  <a:lnTo>
                    <a:pt x="16859" y="302609"/>
                  </a:lnTo>
                  <a:lnTo>
                    <a:pt x="17240" y="305753"/>
                  </a:lnTo>
                  <a:lnTo>
                    <a:pt x="9335" y="306705"/>
                  </a:lnTo>
                  <a:lnTo>
                    <a:pt x="4953" y="310515"/>
                  </a:lnTo>
                  <a:lnTo>
                    <a:pt x="6001" y="318421"/>
                  </a:lnTo>
                  <a:lnTo>
                    <a:pt x="8001" y="321373"/>
                  </a:lnTo>
                  <a:lnTo>
                    <a:pt x="11335" y="322517"/>
                  </a:lnTo>
                  <a:lnTo>
                    <a:pt x="18860" y="331184"/>
                  </a:lnTo>
                  <a:lnTo>
                    <a:pt x="19431" y="335947"/>
                  </a:lnTo>
                  <a:lnTo>
                    <a:pt x="18288" y="339280"/>
                  </a:lnTo>
                  <a:lnTo>
                    <a:pt x="16954" y="341090"/>
                  </a:lnTo>
                  <a:lnTo>
                    <a:pt x="20288" y="342233"/>
                  </a:lnTo>
                  <a:lnTo>
                    <a:pt x="25622" y="346329"/>
                  </a:lnTo>
                  <a:lnTo>
                    <a:pt x="24194" y="348139"/>
                  </a:lnTo>
                  <a:lnTo>
                    <a:pt x="24670" y="351282"/>
                  </a:lnTo>
                  <a:lnTo>
                    <a:pt x="21241" y="350139"/>
                  </a:lnTo>
                  <a:lnTo>
                    <a:pt x="19907" y="351949"/>
                  </a:lnTo>
                  <a:lnTo>
                    <a:pt x="21431" y="351663"/>
                  </a:lnTo>
                  <a:lnTo>
                    <a:pt x="21908" y="354902"/>
                  </a:lnTo>
                  <a:lnTo>
                    <a:pt x="20669" y="358235"/>
                  </a:lnTo>
                  <a:lnTo>
                    <a:pt x="22289" y="358045"/>
                  </a:lnTo>
                  <a:lnTo>
                    <a:pt x="21527" y="364522"/>
                  </a:lnTo>
                  <a:lnTo>
                    <a:pt x="19907" y="364712"/>
                  </a:lnTo>
                  <a:lnTo>
                    <a:pt x="20574" y="369475"/>
                  </a:lnTo>
                  <a:lnTo>
                    <a:pt x="16193" y="373190"/>
                  </a:lnTo>
                  <a:lnTo>
                    <a:pt x="18574" y="379381"/>
                  </a:lnTo>
                  <a:lnTo>
                    <a:pt x="23146" y="377190"/>
                  </a:lnTo>
                  <a:lnTo>
                    <a:pt x="23527" y="380333"/>
                  </a:lnTo>
                  <a:lnTo>
                    <a:pt x="26479" y="378333"/>
                  </a:lnTo>
                  <a:lnTo>
                    <a:pt x="28289" y="379667"/>
                  </a:lnTo>
                  <a:lnTo>
                    <a:pt x="34195" y="388620"/>
                  </a:lnTo>
                  <a:lnTo>
                    <a:pt x="34576" y="391763"/>
                  </a:lnTo>
                  <a:lnTo>
                    <a:pt x="29813" y="392335"/>
                  </a:lnTo>
                  <a:lnTo>
                    <a:pt x="30480" y="397097"/>
                  </a:lnTo>
                  <a:lnTo>
                    <a:pt x="33814" y="398240"/>
                  </a:lnTo>
                  <a:lnTo>
                    <a:pt x="32671" y="401574"/>
                  </a:lnTo>
                  <a:lnTo>
                    <a:pt x="39338" y="403955"/>
                  </a:lnTo>
                  <a:lnTo>
                    <a:pt x="34100" y="425482"/>
                  </a:lnTo>
                  <a:lnTo>
                    <a:pt x="32290" y="424053"/>
                  </a:lnTo>
                  <a:lnTo>
                    <a:pt x="31147" y="427482"/>
                  </a:lnTo>
                  <a:lnTo>
                    <a:pt x="29147" y="424529"/>
                  </a:lnTo>
                  <a:lnTo>
                    <a:pt x="28004" y="427863"/>
                  </a:lnTo>
                  <a:lnTo>
                    <a:pt x="21622" y="428625"/>
                  </a:lnTo>
                  <a:lnTo>
                    <a:pt x="22479" y="435007"/>
                  </a:lnTo>
                  <a:lnTo>
                    <a:pt x="24003" y="434816"/>
                  </a:lnTo>
                  <a:lnTo>
                    <a:pt x="24479" y="437959"/>
                  </a:lnTo>
                  <a:lnTo>
                    <a:pt x="21527" y="439865"/>
                  </a:lnTo>
                  <a:lnTo>
                    <a:pt x="26861" y="444055"/>
                  </a:lnTo>
                  <a:lnTo>
                    <a:pt x="25622" y="447389"/>
                  </a:lnTo>
                  <a:lnTo>
                    <a:pt x="22479" y="447770"/>
                  </a:lnTo>
                  <a:lnTo>
                    <a:pt x="21146" y="449580"/>
                  </a:lnTo>
                  <a:lnTo>
                    <a:pt x="19526" y="449771"/>
                  </a:lnTo>
                  <a:lnTo>
                    <a:pt x="20955" y="447961"/>
                  </a:lnTo>
                  <a:lnTo>
                    <a:pt x="19145" y="446627"/>
                  </a:lnTo>
                  <a:lnTo>
                    <a:pt x="17717" y="448437"/>
                  </a:lnTo>
                  <a:lnTo>
                    <a:pt x="14383" y="447199"/>
                  </a:lnTo>
                  <a:lnTo>
                    <a:pt x="13049" y="449009"/>
                  </a:lnTo>
                  <a:lnTo>
                    <a:pt x="9430" y="446246"/>
                  </a:lnTo>
                  <a:lnTo>
                    <a:pt x="6953" y="451390"/>
                  </a:lnTo>
                  <a:lnTo>
                    <a:pt x="0" y="460248"/>
                  </a:lnTo>
                  <a:lnTo>
                    <a:pt x="5525" y="465963"/>
                  </a:lnTo>
                  <a:lnTo>
                    <a:pt x="9525" y="471869"/>
                  </a:lnTo>
                  <a:lnTo>
                    <a:pt x="12668" y="471488"/>
                  </a:lnTo>
                  <a:lnTo>
                    <a:pt x="18002" y="475679"/>
                  </a:lnTo>
                  <a:lnTo>
                    <a:pt x="16478" y="475869"/>
                  </a:lnTo>
                  <a:lnTo>
                    <a:pt x="12287" y="481203"/>
                  </a:lnTo>
                  <a:lnTo>
                    <a:pt x="15050" y="490442"/>
                  </a:lnTo>
                  <a:lnTo>
                    <a:pt x="17240" y="495014"/>
                  </a:lnTo>
                  <a:lnTo>
                    <a:pt x="20860" y="497681"/>
                  </a:lnTo>
                  <a:lnTo>
                    <a:pt x="27718" y="501682"/>
                  </a:lnTo>
                  <a:lnTo>
                    <a:pt x="34481" y="503968"/>
                  </a:lnTo>
                  <a:lnTo>
                    <a:pt x="37433" y="502063"/>
                  </a:lnTo>
                  <a:lnTo>
                    <a:pt x="42767" y="493300"/>
                  </a:lnTo>
                  <a:lnTo>
                    <a:pt x="46673" y="499205"/>
                  </a:lnTo>
                  <a:lnTo>
                    <a:pt x="55150" y="502920"/>
                  </a:lnTo>
                  <a:lnTo>
                    <a:pt x="58579" y="504158"/>
                  </a:lnTo>
                  <a:lnTo>
                    <a:pt x="57150" y="505968"/>
                  </a:lnTo>
                  <a:lnTo>
                    <a:pt x="55817" y="507682"/>
                  </a:lnTo>
                  <a:lnTo>
                    <a:pt x="54197" y="507873"/>
                  </a:lnTo>
                  <a:lnTo>
                    <a:pt x="53626" y="515969"/>
                  </a:lnTo>
                  <a:lnTo>
                    <a:pt x="56960" y="517207"/>
                  </a:lnTo>
                  <a:lnTo>
                    <a:pt x="61150" y="511873"/>
                  </a:lnTo>
                  <a:lnTo>
                    <a:pt x="62865" y="513207"/>
                  </a:lnTo>
                  <a:lnTo>
                    <a:pt x="63056" y="514826"/>
                  </a:lnTo>
                  <a:lnTo>
                    <a:pt x="67056" y="520732"/>
                  </a:lnTo>
                  <a:lnTo>
                    <a:pt x="68675" y="520541"/>
                  </a:lnTo>
                  <a:lnTo>
                    <a:pt x="70580" y="523494"/>
                  </a:lnTo>
                  <a:lnTo>
                    <a:pt x="73819" y="523018"/>
                  </a:lnTo>
                  <a:lnTo>
                    <a:pt x="77533" y="527399"/>
                  </a:lnTo>
                  <a:lnTo>
                    <a:pt x="78105" y="532162"/>
                  </a:lnTo>
                  <a:lnTo>
                    <a:pt x="74771" y="530924"/>
                  </a:lnTo>
                  <a:lnTo>
                    <a:pt x="68866" y="534924"/>
                  </a:lnTo>
                  <a:lnTo>
                    <a:pt x="69247" y="538067"/>
                  </a:lnTo>
                  <a:lnTo>
                    <a:pt x="72866" y="540830"/>
                  </a:lnTo>
                  <a:lnTo>
                    <a:pt x="73438" y="545592"/>
                  </a:lnTo>
                  <a:lnTo>
                    <a:pt x="70866" y="550640"/>
                  </a:lnTo>
                  <a:lnTo>
                    <a:pt x="74486" y="553403"/>
                  </a:lnTo>
                  <a:lnTo>
                    <a:pt x="84677" y="558546"/>
                  </a:lnTo>
                  <a:lnTo>
                    <a:pt x="85154" y="561689"/>
                  </a:lnTo>
                  <a:lnTo>
                    <a:pt x="86868" y="563118"/>
                  </a:lnTo>
                  <a:lnTo>
                    <a:pt x="88106" y="559689"/>
                  </a:lnTo>
                  <a:lnTo>
                    <a:pt x="89630" y="559499"/>
                  </a:lnTo>
                  <a:lnTo>
                    <a:pt x="90011" y="562642"/>
                  </a:lnTo>
                  <a:lnTo>
                    <a:pt x="91821" y="564071"/>
                  </a:lnTo>
                  <a:lnTo>
                    <a:pt x="93250" y="562261"/>
                  </a:lnTo>
                  <a:lnTo>
                    <a:pt x="94774" y="562070"/>
                  </a:lnTo>
                  <a:lnTo>
                    <a:pt x="94393" y="558927"/>
                  </a:lnTo>
                  <a:lnTo>
                    <a:pt x="104013" y="559308"/>
                  </a:lnTo>
                  <a:lnTo>
                    <a:pt x="108204" y="553974"/>
                  </a:lnTo>
                  <a:lnTo>
                    <a:pt x="111347" y="553593"/>
                  </a:lnTo>
                  <a:lnTo>
                    <a:pt x="113157" y="554927"/>
                  </a:lnTo>
                  <a:lnTo>
                    <a:pt x="113348" y="556546"/>
                  </a:lnTo>
                  <a:lnTo>
                    <a:pt x="116872" y="559308"/>
                  </a:lnTo>
                  <a:lnTo>
                    <a:pt x="117062" y="560832"/>
                  </a:lnTo>
                  <a:lnTo>
                    <a:pt x="120015" y="558832"/>
                  </a:lnTo>
                  <a:lnTo>
                    <a:pt x="123635" y="561594"/>
                  </a:lnTo>
                  <a:lnTo>
                    <a:pt x="124968" y="559880"/>
                  </a:lnTo>
                  <a:lnTo>
                    <a:pt x="131731" y="562165"/>
                  </a:lnTo>
                  <a:lnTo>
                    <a:pt x="138589" y="566071"/>
                  </a:lnTo>
                  <a:lnTo>
                    <a:pt x="137255" y="567880"/>
                  </a:lnTo>
                  <a:lnTo>
                    <a:pt x="140779" y="570643"/>
                  </a:lnTo>
                  <a:lnTo>
                    <a:pt x="142113" y="568833"/>
                  </a:lnTo>
                  <a:lnTo>
                    <a:pt x="146495" y="565118"/>
                  </a:lnTo>
                  <a:lnTo>
                    <a:pt x="148876" y="558355"/>
                  </a:lnTo>
                  <a:lnTo>
                    <a:pt x="155353" y="559213"/>
                  </a:lnTo>
                  <a:lnTo>
                    <a:pt x="159734" y="555403"/>
                  </a:lnTo>
                  <a:lnTo>
                    <a:pt x="164402" y="554831"/>
                  </a:lnTo>
                  <a:lnTo>
                    <a:pt x="165830" y="553022"/>
                  </a:lnTo>
                  <a:lnTo>
                    <a:pt x="170498" y="552450"/>
                  </a:lnTo>
                  <a:lnTo>
                    <a:pt x="171736" y="549116"/>
                  </a:lnTo>
                  <a:lnTo>
                    <a:pt x="172117" y="552259"/>
                  </a:lnTo>
                  <a:lnTo>
                    <a:pt x="173736" y="552069"/>
                  </a:lnTo>
                  <a:lnTo>
                    <a:pt x="174689" y="559880"/>
                  </a:lnTo>
                  <a:lnTo>
                    <a:pt x="176308" y="559689"/>
                  </a:lnTo>
                  <a:lnTo>
                    <a:pt x="176498" y="561308"/>
                  </a:lnTo>
                  <a:lnTo>
                    <a:pt x="181166" y="560642"/>
                  </a:lnTo>
                  <a:lnTo>
                    <a:pt x="184785" y="563404"/>
                  </a:lnTo>
                  <a:lnTo>
                    <a:pt x="184975" y="565023"/>
                  </a:lnTo>
                  <a:lnTo>
                    <a:pt x="189738" y="564452"/>
                  </a:lnTo>
                  <a:lnTo>
                    <a:pt x="191929" y="568928"/>
                  </a:lnTo>
                  <a:lnTo>
                    <a:pt x="187547" y="572738"/>
                  </a:lnTo>
                  <a:lnTo>
                    <a:pt x="189738" y="577215"/>
                  </a:lnTo>
                  <a:lnTo>
                    <a:pt x="189929" y="578834"/>
                  </a:lnTo>
                  <a:lnTo>
                    <a:pt x="188404" y="579025"/>
                  </a:lnTo>
                  <a:lnTo>
                    <a:pt x="191167" y="588264"/>
                  </a:lnTo>
                  <a:lnTo>
                    <a:pt x="190214" y="593217"/>
                  </a:lnTo>
                  <a:lnTo>
                    <a:pt x="191929" y="594551"/>
                  </a:lnTo>
                  <a:lnTo>
                    <a:pt x="195929" y="600551"/>
                  </a:lnTo>
                  <a:lnTo>
                    <a:pt x="191548" y="604266"/>
                  </a:lnTo>
                  <a:lnTo>
                    <a:pt x="186881" y="604838"/>
                  </a:lnTo>
                  <a:lnTo>
                    <a:pt x="184118" y="608457"/>
                  </a:lnTo>
                  <a:lnTo>
                    <a:pt x="187452" y="609600"/>
                  </a:lnTo>
                  <a:lnTo>
                    <a:pt x="189262" y="623792"/>
                  </a:lnTo>
                  <a:lnTo>
                    <a:pt x="185547" y="632270"/>
                  </a:lnTo>
                  <a:lnTo>
                    <a:pt x="192024" y="633032"/>
                  </a:lnTo>
                  <a:lnTo>
                    <a:pt x="192881" y="639413"/>
                  </a:lnTo>
                  <a:lnTo>
                    <a:pt x="194405" y="639223"/>
                  </a:lnTo>
                  <a:lnTo>
                    <a:pt x="201168" y="641509"/>
                  </a:lnTo>
                  <a:lnTo>
                    <a:pt x="199168" y="651415"/>
                  </a:lnTo>
                  <a:lnTo>
                    <a:pt x="201930" y="647890"/>
                  </a:lnTo>
                  <a:lnTo>
                    <a:pt x="202311" y="651034"/>
                  </a:lnTo>
                  <a:lnTo>
                    <a:pt x="204121" y="652367"/>
                  </a:lnTo>
                  <a:lnTo>
                    <a:pt x="201549" y="657511"/>
                  </a:lnTo>
                  <a:lnTo>
                    <a:pt x="207454" y="653510"/>
                  </a:lnTo>
                  <a:lnTo>
                    <a:pt x="203549" y="660463"/>
                  </a:lnTo>
                  <a:lnTo>
                    <a:pt x="204311" y="666750"/>
                  </a:lnTo>
                  <a:lnTo>
                    <a:pt x="201835" y="671894"/>
                  </a:lnTo>
                  <a:lnTo>
                    <a:pt x="200025" y="670560"/>
                  </a:lnTo>
                  <a:lnTo>
                    <a:pt x="197263" y="674084"/>
                  </a:lnTo>
                  <a:lnTo>
                    <a:pt x="199073" y="675513"/>
                  </a:lnTo>
                  <a:lnTo>
                    <a:pt x="201073" y="678466"/>
                  </a:lnTo>
                  <a:lnTo>
                    <a:pt x="199454" y="678656"/>
                  </a:lnTo>
                  <a:lnTo>
                    <a:pt x="198501" y="683609"/>
                  </a:lnTo>
                  <a:lnTo>
                    <a:pt x="196691" y="682180"/>
                  </a:lnTo>
                  <a:lnTo>
                    <a:pt x="197072" y="685324"/>
                  </a:lnTo>
                  <a:lnTo>
                    <a:pt x="192596" y="687515"/>
                  </a:lnTo>
                  <a:lnTo>
                    <a:pt x="191548" y="692468"/>
                  </a:lnTo>
                  <a:lnTo>
                    <a:pt x="186690" y="691515"/>
                  </a:lnTo>
                  <a:lnTo>
                    <a:pt x="185833" y="697992"/>
                  </a:lnTo>
                  <a:lnTo>
                    <a:pt x="183928" y="695039"/>
                  </a:lnTo>
                  <a:lnTo>
                    <a:pt x="182499" y="696849"/>
                  </a:lnTo>
                  <a:lnTo>
                    <a:pt x="183166" y="701611"/>
                  </a:lnTo>
                  <a:lnTo>
                    <a:pt x="179927" y="701993"/>
                  </a:lnTo>
                  <a:lnTo>
                    <a:pt x="178213" y="700564"/>
                  </a:lnTo>
                  <a:lnTo>
                    <a:pt x="176594" y="700754"/>
                  </a:lnTo>
                  <a:lnTo>
                    <a:pt x="175641" y="705707"/>
                  </a:lnTo>
                  <a:lnTo>
                    <a:pt x="180404" y="705136"/>
                  </a:lnTo>
                  <a:lnTo>
                    <a:pt x="189071" y="710470"/>
                  </a:lnTo>
                  <a:lnTo>
                    <a:pt x="189262" y="711994"/>
                  </a:lnTo>
                  <a:lnTo>
                    <a:pt x="179261" y="721328"/>
                  </a:lnTo>
                  <a:lnTo>
                    <a:pt x="171545" y="723900"/>
                  </a:lnTo>
                  <a:lnTo>
                    <a:pt x="171736" y="725519"/>
                  </a:lnTo>
                  <a:lnTo>
                    <a:pt x="183166" y="727234"/>
                  </a:lnTo>
                  <a:lnTo>
                    <a:pt x="192405" y="724472"/>
                  </a:lnTo>
                  <a:lnTo>
                    <a:pt x="199739" y="731520"/>
                  </a:lnTo>
                  <a:lnTo>
                    <a:pt x="201740" y="734473"/>
                  </a:lnTo>
                  <a:lnTo>
                    <a:pt x="208502" y="736854"/>
                  </a:lnTo>
                  <a:lnTo>
                    <a:pt x="209645" y="733520"/>
                  </a:lnTo>
                  <a:lnTo>
                    <a:pt x="209264" y="730282"/>
                  </a:lnTo>
                  <a:lnTo>
                    <a:pt x="212789" y="733044"/>
                  </a:lnTo>
                  <a:lnTo>
                    <a:pt x="215932" y="732663"/>
                  </a:lnTo>
                  <a:lnTo>
                    <a:pt x="214789" y="735997"/>
                  </a:lnTo>
                  <a:lnTo>
                    <a:pt x="225457" y="744284"/>
                  </a:lnTo>
                  <a:lnTo>
                    <a:pt x="232124" y="746665"/>
                  </a:lnTo>
                  <a:lnTo>
                    <a:pt x="233553" y="744855"/>
                  </a:lnTo>
                  <a:lnTo>
                    <a:pt x="235363" y="746188"/>
                  </a:lnTo>
                  <a:lnTo>
                    <a:pt x="233744" y="746474"/>
                  </a:lnTo>
                  <a:lnTo>
                    <a:pt x="240506" y="748760"/>
                  </a:lnTo>
                  <a:lnTo>
                    <a:pt x="232220" y="759428"/>
                  </a:lnTo>
                  <a:lnTo>
                    <a:pt x="232982" y="765810"/>
                  </a:lnTo>
                  <a:lnTo>
                    <a:pt x="243078" y="782098"/>
                  </a:lnTo>
                  <a:lnTo>
                    <a:pt x="255365" y="777335"/>
                  </a:lnTo>
                  <a:lnTo>
                    <a:pt x="259461" y="772001"/>
                  </a:lnTo>
                  <a:lnTo>
                    <a:pt x="261080" y="771811"/>
                  </a:lnTo>
                  <a:lnTo>
                    <a:pt x="265367" y="768096"/>
                  </a:lnTo>
                  <a:lnTo>
                    <a:pt x="265176" y="766477"/>
                  </a:lnTo>
                  <a:lnTo>
                    <a:pt x="270129" y="767429"/>
                  </a:lnTo>
                  <a:lnTo>
                    <a:pt x="273082" y="765524"/>
                  </a:lnTo>
                  <a:lnTo>
                    <a:pt x="268319" y="766096"/>
                  </a:lnTo>
                  <a:lnTo>
                    <a:pt x="267748" y="761333"/>
                  </a:lnTo>
                  <a:lnTo>
                    <a:pt x="278987" y="761524"/>
                  </a:lnTo>
                  <a:lnTo>
                    <a:pt x="280702" y="762857"/>
                  </a:lnTo>
                  <a:lnTo>
                    <a:pt x="280511" y="761333"/>
                  </a:lnTo>
                  <a:lnTo>
                    <a:pt x="285083" y="759143"/>
                  </a:lnTo>
                  <a:lnTo>
                    <a:pt x="287846" y="755618"/>
                  </a:lnTo>
                  <a:lnTo>
                    <a:pt x="291370" y="758380"/>
                  </a:lnTo>
                  <a:lnTo>
                    <a:pt x="292799" y="756571"/>
                  </a:lnTo>
                  <a:lnTo>
                    <a:pt x="290608" y="751999"/>
                  </a:lnTo>
                  <a:lnTo>
                    <a:pt x="288798" y="750665"/>
                  </a:lnTo>
                  <a:lnTo>
                    <a:pt x="289941" y="747332"/>
                  </a:lnTo>
                  <a:lnTo>
                    <a:pt x="290513" y="739235"/>
                  </a:lnTo>
                  <a:lnTo>
                    <a:pt x="291941" y="737426"/>
                  </a:lnTo>
                  <a:lnTo>
                    <a:pt x="302419" y="731234"/>
                  </a:lnTo>
                  <a:lnTo>
                    <a:pt x="305562" y="730853"/>
                  </a:lnTo>
                  <a:lnTo>
                    <a:pt x="307467" y="733806"/>
                  </a:lnTo>
                  <a:lnTo>
                    <a:pt x="308896" y="732092"/>
                  </a:lnTo>
                  <a:lnTo>
                    <a:pt x="309467" y="736759"/>
                  </a:lnTo>
                  <a:lnTo>
                    <a:pt x="312801" y="737997"/>
                  </a:lnTo>
                  <a:lnTo>
                    <a:pt x="317373" y="735806"/>
                  </a:lnTo>
                  <a:lnTo>
                    <a:pt x="316802" y="731044"/>
                  </a:lnTo>
                  <a:lnTo>
                    <a:pt x="318135" y="729234"/>
                  </a:lnTo>
                  <a:lnTo>
                    <a:pt x="319945" y="730663"/>
                  </a:lnTo>
                  <a:lnTo>
                    <a:pt x="326041" y="728282"/>
                  </a:lnTo>
                  <a:lnTo>
                    <a:pt x="320897" y="725710"/>
                  </a:lnTo>
                  <a:lnTo>
                    <a:pt x="321850" y="720757"/>
                  </a:lnTo>
                  <a:lnTo>
                    <a:pt x="325088" y="720376"/>
                  </a:lnTo>
                  <a:lnTo>
                    <a:pt x="331946" y="724281"/>
                  </a:lnTo>
                  <a:lnTo>
                    <a:pt x="331756" y="735521"/>
                  </a:lnTo>
                  <a:lnTo>
                    <a:pt x="334899" y="735140"/>
                  </a:lnTo>
                  <a:lnTo>
                    <a:pt x="335566" y="739902"/>
                  </a:lnTo>
                  <a:lnTo>
                    <a:pt x="337090" y="739711"/>
                  </a:lnTo>
                  <a:lnTo>
                    <a:pt x="338709" y="739521"/>
                  </a:lnTo>
                  <a:lnTo>
                    <a:pt x="338519" y="737902"/>
                  </a:lnTo>
                  <a:lnTo>
                    <a:pt x="339852" y="736092"/>
                  </a:lnTo>
                  <a:lnTo>
                    <a:pt x="343472" y="738854"/>
                  </a:lnTo>
                  <a:lnTo>
                    <a:pt x="345186" y="740283"/>
                  </a:lnTo>
                  <a:lnTo>
                    <a:pt x="346615" y="738473"/>
                  </a:lnTo>
                  <a:lnTo>
                    <a:pt x="343472" y="738854"/>
                  </a:lnTo>
                  <a:lnTo>
                    <a:pt x="342614" y="732568"/>
                  </a:lnTo>
                  <a:lnTo>
                    <a:pt x="344234" y="732377"/>
                  </a:lnTo>
                  <a:lnTo>
                    <a:pt x="344615" y="735521"/>
                  </a:lnTo>
                  <a:lnTo>
                    <a:pt x="346043" y="733711"/>
                  </a:lnTo>
                  <a:lnTo>
                    <a:pt x="347758" y="735140"/>
                  </a:lnTo>
                  <a:lnTo>
                    <a:pt x="350901" y="734759"/>
                  </a:lnTo>
                  <a:lnTo>
                    <a:pt x="352901" y="737711"/>
                  </a:lnTo>
                  <a:lnTo>
                    <a:pt x="357473" y="735521"/>
                  </a:lnTo>
                  <a:lnTo>
                    <a:pt x="355854" y="735711"/>
                  </a:lnTo>
                  <a:lnTo>
                    <a:pt x="357188" y="733901"/>
                  </a:lnTo>
                  <a:lnTo>
                    <a:pt x="362331" y="736473"/>
                  </a:lnTo>
                  <a:lnTo>
                    <a:pt x="363760" y="734663"/>
                  </a:lnTo>
                  <a:lnTo>
                    <a:pt x="365379" y="734473"/>
                  </a:lnTo>
                  <a:lnTo>
                    <a:pt x="365570" y="736092"/>
                  </a:lnTo>
                  <a:lnTo>
                    <a:pt x="363950" y="736282"/>
                  </a:lnTo>
                  <a:lnTo>
                    <a:pt x="364141" y="737807"/>
                  </a:lnTo>
                  <a:lnTo>
                    <a:pt x="368903" y="737235"/>
                  </a:lnTo>
                  <a:lnTo>
                    <a:pt x="374047" y="739807"/>
                  </a:lnTo>
                  <a:lnTo>
                    <a:pt x="373856" y="738188"/>
                  </a:lnTo>
                  <a:lnTo>
                    <a:pt x="377381" y="740950"/>
                  </a:lnTo>
                  <a:lnTo>
                    <a:pt x="377952" y="732854"/>
                  </a:lnTo>
                  <a:lnTo>
                    <a:pt x="379762" y="734282"/>
                  </a:lnTo>
                  <a:lnTo>
                    <a:pt x="381476" y="735616"/>
                  </a:lnTo>
                  <a:lnTo>
                    <a:pt x="391763" y="740759"/>
                  </a:lnTo>
                  <a:lnTo>
                    <a:pt x="391954" y="742283"/>
                  </a:lnTo>
                  <a:lnTo>
                    <a:pt x="397097" y="744855"/>
                  </a:lnTo>
                  <a:lnTo>
                    <a:pt x="397288" y="746474"/>
                  </a:lnTo>
                  <a:lnTo>
                    <a:pt x="400907" y="749236"/>
                  </a:lnTo>
                  <a:lnTo>
                    <a:pt x="402050" y="745807"/>
                  </a:lnTo>
                  <a:lnTo>
                    <a:pt x="403670" y="745617"/>
                  </a:lnTo>
                  <a:lnTo>
                    <a:pt x="407194" y="748379"/>
                  </a:lnTo>
                  <a:lnTo>
                    <a:pt x="409956" y="744855"/>
                  </a:lnTo>
                  <a:lnTo>
                    <a:pt x="409575" y="741712"/>
                  </a:lnTo>
                  <a:lnTo>
                    <a:pt x="411099" y="741521"/>
                  </a:lnTo>
                  <a:lnTo>
                    <a:pt x="413671" y="736378"/>
                  </a:lnTo>
                  <a:lnTo>
                    <a:pt x="416814" y="735902"/>
                  </a:lnTo>
                  <a:lnTo>
                    <a:pt x="418052" y="732568"/>
                  </a:lnTo>
                  <a:lnTo>
                    <a:pt x="421386" y="733711"/>
                  </a:lnTo>
                  <a:lnTo>
                    <a:pt x="421576" y="735330"/>
                  </a:lnTo>
                  <a:lnTo>
                    <a:pt x="424529" y="733330"/>
                  </a:lnTo>
                  <a:lnTo>
                    <a:pt x="429482" y="734282"/>
                  </a:lnTo>
                  <a:lnTo>
                    <a:pt x="433197" y="738664"/>
                  </a:lnTo>
                  <a:lnTo>
                    <a:pt x="436912" y="730186"/>
                  </a:lnTo>
                  <a:lnTo>
                    <a:pt x="438912" y="733139"/>
                  </a:lnTo>
                  <a:lnTo>
                    <a:pt x="438722" y="731520"/>
                  </a:lnTo>
                  <a:lnTo>
                    <a:pt x="441865" y="731139"/>
                  </a:lnTo>
                  <a:lnTo>
                    <a:pt x="443103" y="727805"/>
                  </a:lnTo>
                  <a:lnTo>
                    <a:pt x="444817" y="716375"/>
                  </a:lnTo>
                  <a:lnTo>
                    <a:pt x="443008" y="714947"/>
                  </a:lnTo>
                  <a:lnTo>
                    <a:pt x="442246" y="708660"/>
                  </a:lnTo>
                  <a:lnTo>
                    <a:pt x="446723" y="706469"/>
                  </a:lnTo>
                  <a:lnTo>
                    <a:pt x="446532" y="704850"/>
                  </a:lnTo>
                  <a:lnTo>
                    <a:pt x="451295" y="704279"/>
                  </a:lnTo>
                  <a:lnTo>
                    <a:pt x="452247" y="699326"/>
                  </a:lnTo>
                  <a:lnTo>
                    <a:pt x="460534" y="701516"/>
                  </a:lnTo>
                  <a:lnTo>
                    <a:pt x="462915" y="694754"/>
                  </a:lnTo>
                  <a:lnTo>
                    <a:pt x="467201" y="691039"/>
                  </a:lnTo>
                  <a:lnTo>
                    <a:pt x="472631" y="695134"/>
                  </a:lnTo>
                  <a:lnTo>
                    <a:pt x="476345" y="699516"/>
                  </a:lnTo>
                  <a:lnTo>
                    <a:pt x="485966" y="699897"/>
                  </a:lnTo>
                  <a:lnTo>
                    <a:pt x="486442" y="703040"/>
                  </a:lnTo>
                  <a:lnTo>
                    <a:pt x="485204" y="706374"/>
                  </a:lnTo>
                  <a:lnTo>
                    <a:pt x="490347" y="708946"/>
                  </a:lnTo>
                  <a:lnTo>
                    <a:pt x="486632" y="717423"/>
                  </a:lnTo>
                  <a:lnTo>
                    <a:pt x="486251" y="727043"/>
                  </a:lnTo>
                  <a:lnTo>
                    <a:pt x="488442" y="731615"/>
                  </a:lnTo>
                  <a:lnTo>
                    <a:pt x="495205" y="733997"/>
                  </a:lnTo>
                  <a:lnTo>
                    <a:pt x="495586" y="737140"/>
                  </a:lnTo>
                  <a:lnTo>
                    <a:pt x="497110" y="736949"/>
                  </a:lnTo>
                  <a:lnTo>
                    <a:pt x="508349" y="737140"/>
                  </a:lnTo>
                  <a:lnTo>
                    <a:pt x="509016" y="741807"/>
                  </a:lnTo>
                  <a:lnTo>
                    <a:pt x="511969" y="739902"/>
                  </a:lnTo>
                  <a:lnTo>
                    <a:pt x="511588" y="736663"/>
                  </a:lnTo>
                  <a:lnTo>
                    <a:pt x="520446" y="730758"/>
                  </a:lnTo>
                  <a:lnTo>
                    <a:pt x="521017" y="722662"/>
                  </a:lnTo>
                  <a:lnTo>
                    <a:pt x="533781" y="722662"/>
                  </a:lnTo>
                  <a:lnTo>
                    <a:pt x="545021" y="722852"/>
                  </a:lnTo>
                  <a:lnTo>
                    <a:pt x="544449" y="705231"/>
                  </a:lnTo>
                  <a:lnTo>
                    <a:pt x="565118" y="704183"/>
                  </a:lnTo>
                  <a:lnTo>
                    <a:pt x="566547" y="702469"/>
                  </a:lnTo>
                  <a:lnTo>
                    <a:pt x="565690" y="696087"/>
                  </a:lnTo>
                  <a:lnTo>
                    <a:pt x="570643" y="697135"/>
                  </a:lnTo>
                  <a:lnTo>
                    <a:pt x="583311" y="708279"/>
                  </a:lnTo>
                  <a:lnTo>
                    <a:pt x="587407" y="702945"/>
                  </a:lnTo>
                  <a:lnTo>
                    <a:pt x="588074" y="707707"/>
                  </a:lnTo>
                  <a:lnTo>
                    <a:pt x="592741" y="707136"/>
                  </a:lnTo>
                  <a:lnTo>
                    <a:pt x="598075" y="711232"/>
                  </a:lnTo>
                  <a:lnTo>
                    <a:pt x="617220" y="710375"/>
                  </a:lnTo>
                  <a:lnTo>
                    <a:pt x="617315" y="723233"/>
                  </a:lnTo>
                  <a:lnTo>
                    <a:pt x="630555" y="726377"/>
                  </a:lnTo>
                  <a:lnTo>
                    <a:pt x="631698" y="735806"/>
                  </a:lnTo>
                  <a:lnTo>
                    <a:pt x="631793" y="761429"/>
                  </a:lnTo>
                  <a:lnTo>
                    <a:pt x="662368" y="762381"/>
                  </a:lnTo>
                  <a:lnTo>
                    <a:pt x="668846" y="763143"/>
                  </a:lnTo>
                  <a:lnTo>
                    <a:pt x="674465" y="781717"/>
                  </a:lnTo>
                  <a:lnTo>
                    <a:pt x="675418" y="789623"/>
                  </a:lnTo>
                  <a:lnTo>
                    <a:pt x="677418" y="792575"/>
                  </a:lnTo>
                  <a:lnTo>
                    <a:pt x="680561" y="792099"/>
                  </a:lnTo>
                  <a:lnTo>
                    <a:pt x="687134" y="792956"/>
                  </a:lnTo>
                  <a:lnTo>
                    <a:pt x="689039" y="795909"/>
                  </a:lnTo>
                  <a:lnTo>
                    <a:pt x="693801" y="795242"/>
                  </a:lnTo>
                  <a:lnTo>
                    <a:pt x="695611" y="796671"/>
                  </a:lnTo>
                  <a:lnTo>
                    <a:pt x="701707" y="794290"/>
                  </a:lnTo>
                  <a:lnTo>
                    <a:pt x="710565" y="801148"/>
                  </a:lnTo>
                  <a:lnTo>
                    <a:pt x="713613" y="812006"/>
                  </a:lnTo>
                  <a:lnTo>
                    <a:pt x="722471" y="818864"/>
                  </a:lnTo>
                  <a:lnTo>
                    <a:pt x="724091" y="818674"/>
                  </a:lnTo>
                  <a:lnTo>
                    <a:pt x="725234" y="815340"/>
                  </a:lnTo>
                  <a:lnTo>
                    <a:pt x="728186" y="813340"/>
                  </a:lnTo>
                  <a:lnTo>
                    <a:pt x="734092" y="822198"/>
                  </a:lnTo>
                  <a:lnTo>
                    <a:pt x="735711" y="822007"/>
                  </a:lnTo>
                  <a:lnTo>
                    <a:pt x="738854" y="821627"/>
                  </a:lnTo>
                  <a:lnTo>
                    <a:pt x="740664" y="822960"/>
                  </a:lnTo>
                  <a:lnTo>
                    <a:pt x="741998" y="821150"/>
                  </a:lnTo>
                  <a:lnTo>
                    <a:pt x="743807" y="822579"/>
                  </a:lnTo>
                  <a:lnTo>
                    <a:pt x="746951" y="822198"/>
                  </a:lnTo>
                  <a:lnTo>
                    <a:pt x="751523" y="832866"/>
                  </a:lnTo>
                  <a:lnTo>
                    <a:pt x="756666" y="835343"/>
                  </a:lnTo>
                  <a:lnTo>
                    <a:pt x="758285" y="835152"/>
                  </a:lnTo>
                  <a:lnTo>
                    <a:pt x="757047" y="838486"/>
                  </a:lnTo>
                  <a:lnTo>
                    <a:pt x="759047" y="841438"/>
                  </a:lnTo>
                  <a:lnTo>
                    <a:pt x="762762" y="845820"/>
                  </a:lnTo>
                  <a:lnTo>
                    <a:pt x="764191" y="844010"/>
                  </a:lnTo>
                  <a:lnTo>
                    <a:pt x="769144" y="844963"/>
                  </a:lnTo>
                  <a:lnTo>
                    <a:pt x="771716" y="839915"/>
                  </a:lnTo>
                  <a:lnTo>
                    <a:pt x="778193" y="840677"/>
                  </a:lnTo>
                  <a:lnTo>
                    <a:pt x="780955" y="837057"/>
                  </a:lnTo>
                  <a:lnTo>
                    <a:pt x="784670" y="841438"/>
                  </a:lnTo>
                  <a:lnTo>
                    <a:pt x="793528" y="835438"/>
                  </a:lnTo>
                  <a:lnTo>
                    <a:pt x="793337" y="833914"/>
                  </a:lnTo>
                  <a:lnTo>
                    <a:pt x="794576" y="830580"/>
                  </a:lnTo>
                  <a:lnTo>
                    <a:pt x="792575" y="827627"/>
                  </a:lnTo>
                  <a:lnTo>
                    <a:pt x="794099" y="827437"/>
                  </a:lnTo>
                  <a:lnTo>
                    <a:pt x="794385" y="828961"/>
                  </a:lnTo>
                  <a:lnTo>
                    <a:pt x="799052" y="828389"/>
                  </a:lnTo>
                  <a:lnTo>
                    <a:pt x="800862" y="829723"/>
                  </a:lnTo>
                  <a:lnTo>
                    <a:pt x="796766" y="835057"/>
                  </a:lnTo>
                  <a:lnTo>
                    <a:pt x="796957" y="836676"/>
                  </a:lnTo>
                  <a:lnTo>
                    <a:pt x="797528" y="841438"/>
                  </a:lnTo>
                  <a:lnTo>
                    <a:pt x="809911" y="838200"/>
                  </a:lnTo>
                  <a:lnTo>
                    <a:pt x="813054" y="837819"/>
                  </a:lnTo>
                  <a:lnTo>
                    <a:pt x="814673" y="837629"/>
                  </a:lnTo>
                  <a:lnTo>
                    <a:pt x="816102" y="835819"/>
                  </a:lnTo>
                  <a:lnTo>
                    <a:pt x="822770" y="838200"/>
                  </a:lnTo>
                  <a:lnTo>
                    <a:pt x="820960" y="836771"/>
                  </a:lnTo>
                  <a:lnTo>
                    <a:pt x="822198" y="833438"/>
                  </a:lnTo>
                  <a:lnTo>
                    <a:pt x="820388" y="832104"/>
                  </a:lnTo>
                  <a:lnTo>
                    <a:pt x="827151" y="834390"/>
                  </a:lnTo>
                  <a:lnTo>
                    <a:pt x="828484" y="832676"/>
                  </a:lnTo>
                  <a:lnTo>
                    <a:pt x="833818" y="836771"/>
                  </a:lnTo>
                  <a:lnTo>
                    <a:pt x="837152" y="837914"/>
                  </a:lnTo>
                  <a:lnTo>
                    <a:pt x="857345" y="844963"/>
                  </a:lnTo>
                  <a:lnTo>
                    <a:pt x="855917" y="833914"/>
                  </a:lnTo>
                  <a:lnTo>
                    <a:pt x="852583" y="832771"/>
                  </a:lnTo>
                  <a:lnTo>
                    <a:pt x="850201" y="826675"/>
                  </a:lnTo>
                  <a:lnTo>
                    <a:pt x="845058" y="824103"/>
                  </a:lnTo>
                  <a:lnTo>
                    <a:pt x="844391" y="819340"/>
                  </a:lnTo>
                  <a:lnTo>
                    <a:pt x="846201" y="820769"/>
                  </a:lnTo>
                  <a:lnTo>
                    <a:pt x="847344" y="817436"/>
                  </a:lnTo>
                  <a:lnTo>
                    <a:pt x="845153" y="812863"/>
                  </a:lnTo>
                  <a:lnTo>
                    <a:pt x="849916" y="812292"/>
                  </a:lnTo>
                  <a:lnTo>
                    <a:pt x="851345" y="810482"/>
                  </a:lnTo>
                  <a:lnTo>
                    <a:pt x="856679" y="814578"/>
                  </a:lnTo>
                  <a:lnTo>
                    <a:pt x="859250" y="809434"/>
                  </a:lnTo>
                  <a:lnTo>
                    <a:pt x="865537" y="808673"/>
                  </a:lnTo>
                  <a:lnTo>
                    <a:pt x="866680" y="805339"/>
                  </a:lnTo>
                  <a:lnTo>
                    <a:pt x="872585" y="801338"/>
                  </a:lnTo>
                  <a:lnTo>
                    <a:pt x="867251" y="797243"/>
                  </a:lnTo>
                  <a:lnTo>
                    <a:pt x="863537" y="792861"/>
                  </a:lnTo>
                  <a:lnTo>
                    <a:pt x="862108" y="794671"/>
                  </a:lnTo>
                  <a:lnTo>
                    <a:pt x="859726" y="788575"/>
                  </a:lnTo>
                  <a:lnTo>
                    <a:pt x="863632" y="781622"/>
                  </a:lnTo>
                  <a:lnTo>
                    <a:pt x="869823" y="779240"/>
                  </a:lnTo>
                  <a:lnTo>
                    <a:pt x="869156" y="774573"/>
                  </a:lnTo>
                  <a:lnTo>
                    <a:pt x="873919" y="773906"/>
                  </a:lnTo>
                  <a:lnTo>
                    <a:pt x="885158" y="774097"/>
                  </a:lnTo>
                  <a:lnTo>
                    <a:pt x="897541" y="758095"/>
                  </a:lnTo>
                  <a:lnTo>
                    <a:pt x="897350" y="756476"/>
                  </a:lnTo>
                  <a:lnTo>
                    <a:pt x="902113" y="755904"/>
                  </a:lnTo>
                  <a:lnTo>
                    <a:pt x="903923" y="757238"/>
                  </a:lnTo>
                  <a:lnTo>
                    <a:pt x="907256" y="758476"/>
                  </a:lnTo>
                  <a:lnTo>
                    <a:pt x="906875" y="755332"/>
                  </a:lnTo>
                  <a:lnTo>
                    <a:pt x="910018" y="754856"/>
                  </a:lnTo>
                  <a:lnTo>
                    <a:pt x="909542" y="751713"/>
                  </a:lnTo>
                  <a:lnTo>
                    <a:pt x="912781" y="751332"/>
                  </a:lnTo>
                  <a:lnTo>
                    <a:pt x="915734" y="749332"/>
                  </a:lnTo>
                  <a:lnTo>
                    <a:pt x="919448" y="753713"/>
                  </a:lnTo>
                  <a:lnTo>
                    <a:pt x="922210" y="750094"/>
                  </a:lnTo>
                  <a:lnTo>
                    <a:pt x="921830" y="746951"/>
                  </a:lnTo>
                  <a:lnTo>
                    <a:pt x="918496" y="745807"/>
                  </a:lnTo>
                  <a:lnTo>
                    <a:pt x="926116" y="743236"/>
                  </a:lnTo>
                  <a:lnTo>
                    <a:pt x="925735" y="740093"/>
                  </a:lnTo>
                  <a:lnTo>
                    <a:pt x="927354" y="739807"/>
                  </a:lnTo>
                  <a:lnTo>
                    <a:pt x="927735" y="743045"/>
                  </a:lnTo>
                  <a:lnTo>
                    <a:pt x="937165" y="741807"/>
                  </a:lnTo>
                  <a:lnTo>
                    <a:pt x="937355" y="743426"/>
                  </a:lnTo>
                  <a:lnTo>
                    <a:pt x="939927" y="738283"/>
                  </a:lnTo>
                  <a:lnTo>
                    <a:pt x="941546" y="737997"/>
                  </a:lnTo>
                  <a:lnTo>
                    <a:pt x="944309" y="734473"/>
                  </a:lnTo>
                  <a:lnTo>
                    <a:pt x="951929" y="731901"/>
                  </a:lnTo>
                  <a:lnTo>
                    <a:pt x="954500" y="726757"/>
                  </a:lnTo>
                  <a:lnTo>
                    <a:pt x="954881" y="704279"/>
                  </a:lnTo>
                  <a:lnTo>
                    <a:pt x="960596" y="698754"/>
                  </a:lnTo>
                  <a:lnTo>
                    <a:pt x="967073" y="699516"/>
                  </a:lnTo>
                  <a:lnTo>
                    <a:pt x="968502" y="697706"/>
                  </a:lnTo>
                  <a:lnTo>
                    <a:pt x="972217" y="702088"/>
                  </a:lnTo>
                  <a:lnTo>
                    <a:pt x="975360" y="701707"/>
                  </a:lnTo>
                  <a:lnTo>
                    <a:pt x="983837" y="705422"/>
                  </a:lnTo>
                  <a:lnTo>
                    <a:pt x="986885" y="716185"/>
                  </a:lnTo>
                  <a:lnTo>
                    <a:pt x="989838" y="714280"/>
                  </a:lnTo>
                  <a:lnTo>
                    <a:pt x="993553" y="718566"/>
                  </a:lnTo>
                  <a:lnTo>
                    <a:pt x="995363" y="719995"/>
                  </a:lnTo>
                  <a:lnTo>
                    <a:pt x="998315" y="717995"/>
                  </a:lnTo>
                  <a:lnTo>
                    <a:pt x="1019080" y="729805"/>
                  </a:lnTo>
                  <a:lnTo>
                    <a:pt x="1020413" y="727996"/>
                  </a:lnTo>
                  <a:lnTo>
                    <a:pt x="1022223" y="729329"/>
                  </a:lnTo>
                  <a:lnTo>
                    <a:pt x="1026509" y="725615"/>
                  </a:lnTo>
                  <a:lnTo>
                    <a:pt x="1029272" y="722090"/>
                  </a:lnTo>
                  <a:lnTo>
                    <a:pt x="1027081" y="717518"/>
                  </a:lnTo>
                  <a:lnTo>
                    <a:pt x="1029843" y="713994"/>
                  </a:lnTo>
                  <a:lnTo>
                    <a:pt x="1029843" y="713994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6" name="Volný tvar: obrazec 5">
              <a:extLst>
                <a:ext uri="{FF2B5EF4-FFF2-40B4-BE49-F238E27FC236}">
                  <a16:creationId xmlns:a16="http://schemas.microsoft.com/office/drawing/2014/main" id="{0A07D671-1D20-9995-C5EF-15DFFDBC6E5D}"/>
                </a:ext>
              </a:extLst>
            </p:cNvPr>
            <p:cNvSpPr>
              <a:spLocks noChangeAspect="1"/>
            </p:cNvSpPr>
            <p:nvPr userDrawn="1">
              <p:custDataLst>
                <p:tags r:id="rId3"/>
              </p:custDataLst>
            </p:nvPr>
          </p:nvSpPr>
          <p:spPr>
            <a:xfrm>
              <a:off x="3926585" y="3069811"/>
              <a:ext cx="1004887" cy="1332642"/>
            </a:xfrm>
            <a:custGeom>
              <a:avLst/>
              <a:gdLst>
                <a:gd name="connsiteX0" fmla="*/ 999744 w 1004887"/>
                <a:gd name="connsiteY0" fmla="*/ 252508 h 1332642"/>
                <a:gd name="connsiteX1" fmla="*/ 997363 w 1004887"/>
                <a:gd name="connsiteY1" fmla="*/ 246412 h 1332642"/>
                <a:gd name="connsiteX2" fmla="*/ 998315 w 1004887"/>
                <a:gd name="connsiteY2" fmla="*/ 241459 h 1332642"/>
                <a:gd name="connsiteX3" fmla="*/ 997934 w 1004887"/>
                <a:gd name="connsiteY3" fmla="*/ 238315 h 1332642"/>
                <a:gd name="connsiteX4" fmla="*/ 996125 w 1004887"/>
                <a:gd name="connsiteY4" fmla="*/ 236982 h 1332642"/>
                <a:gd name="connsiteX5" fmla="*/ 994124 w 1004887"/>
                <a:gd name="connsiteY5" fmla="*/ 234029 h 1332642"/>
                <a:gd name="connsiteX6" fmla="*/ 995363 w 1004887"/>
                <a:gd name="connsiteY6" fmla="*/ 230600 h 1332642"/>
                <a:gd name="connsiteX7" fmla="*/ 996506 w 1004887"/>
                <a:gd name="connsiteY7" fmla="*/ 227266 h 1332642"/>
                <a:gd name="connsiteX8" fmla="*/ 995648 w 1004887"/>
                <a:gd name="connsiteY8" fmla="*/ 220980 h 1332642"/>
                <a:gd name="connsiteX9" fmla="*/ 993934 w 1004887"/>
                <a:gd name="connsiteY9" fmla="*/ 219551 h 1332642"/>
                <a:gd name="connsiteX10" fmla="*/ 996506 w 1004887"/>
                <a:gd name="connsiteY10" fmla="*/ 214408 h 1332642"/>
                <a:gd name="connsiteX11" fmla="*/ 1004126 w 1004887"/>
                <a:gd name="connsiteY11" fmla="*/ 211836 h 1332642"/>
                <a:gd name="connsiteX12" fmla="*/ 993077 w 1004887"/>
                <a:gd name="connsiteY12" fmla="*/ 213265 h 1332642"/>
                <a:gd name="connsiteX13" fmla="*/ 987933 w 1004887"/>
                <a:gd name="connsiteY13" fmla="*/ 210693 h 1332642"/>
                <a:gd name="connsiteX14" fmla="*/ 975741 w 1004887"/>
                <a:gd name="connsiteY14" fmla="*/ 202692 h 1332642"/>
                <a:gd name="connsiteX15" fmla="*/ 971741 w 1004887"/>
                <a:gd name="connsiteY15" fmla="*/ 196786 h 1332642"/>
                <a:gd name="connsiteX16" fmla="*/ 958691 w 1004887"/>
                <a:gd name="connsiteY16" fmla="*/ 195167 h 1332642"/>
                <a:gd name="connsiteX17" fmla="*/ 953548 w 1004887"/>
                <a:gd name="connsiteY17" fmla="*/ 192691 h 1332642"/>
                <a:gd name="connsiteX18" fmla="*/ 947642 w 1004887"/>
                <a:gd name="connsiteY18" fmla="*/ 196596 h 1332642"/>
                <a:gd name="connsiteX19" fmla="*/ 941165 w 1004887"/>
                <a:gd name="connsiteY19" fmla="*/ 195834 h 1332642"/>
                <a:gd name="connsiteX20" fmla="*/ 942499 w 1004887"/>
                <a:gd name="connsiteY20" fmla="*/ 194024 h 1332642"/>
                <a:gd name="connsiteX21" fmla="*/ 940784 w 1004887"/>
                <a:gd name="connsiteY21" fmla="*/ 192691 h 1332642"/>
                <a:gd name="connsiteX22" fmla="*/ 942118 w 1004887"/>
                <a:gd name="connsiteY22" fmla="*/ 190881 h 1332642"/>
                <a:gd name="connsiteX23" fmla="*/ 945737 w 1004887"/>
                <a:gd name="connsiteY23" fmla="*/ 193643 h 1332642"/>
                <a:gd name="connsiteX24" fmla="*/ 947261 w 1004887"/>
                <a:gd name="connsiteY24" fmla="*/ 193453 h 1332642"/>
                <a:gd name="connsiteX25" fmla="*/ 947452 w 1004887"/>
                <a:gd name="connsiteY25" fmla="*/ 182213 h 1332642"/>
                <a:gd name="connsiteX26" fmla="*/ 948214 w 1004887"/>
                <a:gd name="connsiteY26" fmla="*/ 175736 h 1332642"/>
                <a:gd name="connsiteX27" fmla="*/ 946404 w 1004887"/>
                <a:gd name="connsiteY27" fmla="*/ 174307 h 1332642"/>
                <a:gd name="connsiteX28" fmla="*/ 945452 w 1004887"/>
                <a:gd name="connsiteY28" fmla="*/ 166402 h 1332642"/>
                <a:gd name="connsiteX29" fmla="*/ 939356 w 1004887"/>
                <a:gd name="connsiteY29" fmla="*/ 168783 h 1332642"/>
                <a:gd name="connsiteX30" fmla="*/ 934212 w 1004887"/>
                <a:gd name="connsiteY30" fmla="*/ 166211 h 1332642"/>
                <a:gd name="connsiteX31" fmla="*/ 927449 w 1004887"/>
                <a:gd name="connsiteY31" fmla="*/ 163925 h 1332642"/>
                <a:gd name="connsiteX32" fmla="*/ 918210 w 1004887"/>
                <a:gd name="connsiteY32" fmla="*/ 166687 h 1332642"/>
                <a:gd name="connsiteX33" fmla="*/ 913638 w 1004887"/>
                <a:gd name="connsiteY33" fmla="*/ 168878 h 1332642"/>
                <a:gd name="connsiteX34" fmla="*/ 913638 w 1004887"/>
                <a:gd name="connsiteY34" fmla="*/ 168878 h 1332642"/>
                <a:gd name="connsiteX35" fmla="*/ 912114 w 1004887"/>
                <a:gd name="connsiteY35" fmla="*/ 169069 h 1332642"/>
                <a:gd name="connsiteX36" fmla="*/ 911066 w 1004887"/>
                <a:gd name="connsiteY36" fmla="*/ 161163 h 1332642"/>
                <a:gd name="connsiteX37" fmla="*/ 906685 w 1004887"/>
                <a:gd name="connsiteY37" fmla="*/ 152114 h 1332642"/>
                <a:gd name="connsiteX38" fmla="*/ 903351 w 1004887"/>
                <a:gd name="connsiteY38" fmla="*/ 150971 h 1332642"/>
                <a:gd name="connsiteX39" fmla="*/ 900398 w 1004887"/>
                <a:gd name="connsiteY39" fmla="*/ 152876 h 1332642"/>
                <a:gd name="connsiteX40" fmla="*/ 898684 w 1004887"/>
                <a:gd name="connsiteY40" fmla="*/ 151543 h 1332642"/>
                <a:gd name="connsiteX41" fmla="*/ 894683 w 1004887"/>
                <a:gd name="connsiteY41" fmla="*/ 145637 h 1332642"/>
                <a:gd name="connsiteX42" fmla="*/ 891540 w 1004887"/>
                <a:gd name="connsiteY42" fmla="*/ 146018 h 1332642"/>
                <a:gd name="connsiteX43" fmla="*/ 889540 w 1004887"/>
                <a:gd name="connsiteY43" fmla="*/ 130207 h 1332642"/>
                <a:gd name="connsiteX44" fmla="*/ 884587 w 1004887"/>
                <a:gd name="connsiteY44" fmla="*/ 129254 h 1332642"/>
                <a:gd name="connsiteX45" fmla="*/ 880586 w 1004887"/>
                <a:gd name="connsiteY45" fmla="*/ 123349 h 1332642"/>
                <a:gd name="connsiteX46" fmla="*/ 877443 w 1004887"/>
                <a:gd name="connsiteY46" fmla="*/ 123730 h 1332642"/>
                <a:gd name="connsiteX47" fmla="*/ 874109 w 1004887"/>
                <a:gd name="connsiteY47" fmla="*/ 122587 h 1332642"/>
                <a:gd name="connsiteX48" fmla="*/ 871347 w 1004887"/>
                <a:gd name="connsiteY48" fmla="*/ 126111 h 1332642"/>
                <a:gd name="connsiteX49" fmla="*/ 868204 w 1004887"/>
                <a:gd name="connsiteY49" fmla="*/ 126587 h 1332642"/>
                <a:gd name="connsiteX50" fmla="*/ 864870 w 1004887"/>
                <a:gd name="connsiteY50" fmla="*/ 125349 h 1332642"/>
                <a:gd name="connsiteX51" fmla="*/ 863441 w 1004887"/>
                <a:gd name="connsiteY51" fmla="*/ 127159 h 1332642"/>
                <a:gd name="connsiteX52" fmla="*/ 865632 w 1004887"/>
                <a:gd name="connsiteY52" fmla="*/ 131731 h 1332642"/>
                <a:gd name="connsiteX53" fmla="*/ 846677 w 1004887"/>
                <a:gd name="connsiteY53" fmla="*/ 134112 h 1332642"/>
                <a:gd name="connsiteX54" fmla="*/ 841534 w 1004887"/>
                <a:gd name="connsiteY54" fmla="*/ 131540 h 1332642"/>
                <a:gd name="connsiteX55" fmla="*/ 820484 w 1004887"/>
                <a:gd name="connsiteY55" fmla="*/ 129445 h 1332642"/>
                <a:gd name="connsiteX56" fmla="*/ 820007 w 1004887"/>
                <a:gd name="connsiteY56" fmla="*/ 126302 h 1332642"/>
                <a:gd name="connsiteX57" fmla="*/ 816674 w 1004887"/>
                <a:gd name="connsiteY57" fmla="*/ 125063 h 1332642"/>
                <a:gd name="connsiteX58" fmla="*/ 816293 w 1004887"/>
                <a:gd name="connsiteY58" fmla="*/ 121920 h 1332642"/>
                <a:gd name="connsiteX59" fmla="*/ 810959 w 1004887"/>
                <a:gd name="connsiteY59" fmla="*/ 117824 h 1332642"/>
                <a:gd name="connsiteX60" fmla="*/ 812292 w 1004887"/>
                <a:gd name="connsiteY60" fmla="*/ 116015 h 1332642"/>
                <a:gd name="connsiteX61" fmla="*/ 810387 w 1004887"/>
                <a:gd name="connsiteY61" fmla="*/ 113062 h 1332642"/>
                <a:gd name="connsiteX62" fmla="*/ 805244 w 1004887"/>
                <a:gd name="connsiteY62" fmla="*/ 110490 h 1332642"/>
                <a:gd name="connsiteX63" fmla="*/ 801624 w 1004887"/>
                <a:gd name="connsiteY63" fmla="*/ 107728 h 1332642"/>
                <a:gd name="connsiteX64" fmla="*/ 800100 w 1004887"/>
                <a:gd name="connsiteY64" fmla="*/ 107918 h 1332642"/>
                <a:gd name="connsiteX65" fmla="*/ 796481 w 1004887"/>
                <a:gd name="connsiteY65" fmla="*/ 105251 h 1332642"/>
                <a:gd name="connsiteX66" fmla="*/ 787241 w 1004887"/>
                <a:gd name="connsiteY66" fmla="*/ 108013 h 1332642"/>
                <a:gd name="connsiteX67" fmla="*/ 784479 w 1004887"/>
                <a:gd name="connsiteY67" fmla="*/ 98774 h 1332642"/>
                <a:gd name="connsiteX68" fmla="*/ 779717 w 1004887"/>
                <a:gd name="connsiteY68" fmla="*/ 99346 h 1332642"/>
                <a:gd name="connsiteX69" fmla="*/ 774573 w 1004887"/>
                <a:gd name="connsiteY69" fmla="*/ 96774 h 1332642"/>
                <a:gd name="connsiteX70" fmla="*/ 775145 w 1004887"/>
                <a:gd name="connsiteY70" fmla="*/ 88678 h 1332642"/>
                <a:gd name="connsiteX71" fmla="*/ 778478 w 1004887"/>
                <a:gd name="connsiteY71" fmla="*/ 89821 h 1332642"/>
                <a:gd name="connsiteX72" fmla="*/ 779717 w 1004887"/>
                <a:gd name="connsiteY72" fmla="*/ 86487 h 1332642"/>
                <a:gd name="connsiteX73" fmla="*/ 790956 w 1004887"/>
                <a:gd name="connsiteY73" fmla="*/ 86677 h 1332642"/>
                <a:gd name="connsiteX74" fmla="*/ 799433 w 1004887"/>
                <a:gd name="connsiteY74" fmla="*/ 90392 h 1332642"/>
                <a:gd name="connsiteX75" fmla="*/ 799052 w 1004887"/>
                <a:gd name="connsiteY75" fmla="*/ 87249 h 1332642"/>
                <a:gd name="connsiteX76" fmla="*/ 792290 w 1004887"/>
                <a:gd name="connsiteY76" fmla="*/ 84868 h 1332642"/>
                <a:gd name="connsiteX77" fmla="*/ 790766 w 1004887"/>
                <a:gd name="connsiteY77" fmla="*/ 85058 h 1332642"/>
                <a:gd name="connsiteX78" fmla="*/ 788003 w 1004887"/>
                <a:gd name="connsiteY78" fmla="*/ 75819 h 1332642"/>
                <a:gd name="connsiteX79" fmla="*/ 784574 w 1004887"/>
                <a:gd name="connsiteY79" fmla="*/ 74676 h 1332642"/>
                <a:gd name="connsiteX80" fmla="*/ 772001 w 1004887"/>
                <a:gd name="connsiteY80" fmla="*/ 76295 h 1332642"/>
                <a:gd name="connsiteX81" fmla="*/ 768001 w 1004887"/>
                <a:gd name="connsiteY81" fmla="*/ 83153 h 1332642"/>
                <a:gd name="connsiteX82" fmla="*/ 761714 w 1004887"/>
                <a:gd name="connsiteY82" fmla="*/ 84011 h 1332642"/>
                <a:gd name="connsiteX83" fmla="*/ 758190 w 1004887"/>
                <a:gd name="connsiteY83" fmla="*/ 81248 h 1332642"/>
                <a:gd name="connsiteX84" fmla="*/ 759333 w 1004887"/>
                <a:gd name="connsiteY84" fmla="*/ 77915 h 1332642"/>
                <a:gd name="connsiteX85" fmla="*/ 758952 w 1004887"/>
                <a:gd name="connsiteY85" fmla="*/ 74676 h 1332642"/>
                <a:gd name="connsiteX86" fmla="*/ 755999 w 1004887"/>
                <a:gd name="connsiteY86" fmla="*/ 76676 h 1332642"/>
                <a:gd name="connsiteX87" fmla="*/ 753809 w 1004887"/>
                <a:gd name="connsiteY87" fmla="*/ 72200 h 1332642"/>
                <a:gd name="connsiteX88" fmla="*/ 749522 w 1004887"/>
                <a:gd name="connsiteY88" fmla="*/ 75914 h 1332642"/>
                <a:gd name="connsiteX89" fmla="*/ 734663 w 1004887"/>
                <a:gd name="connsiteY89" fmla="*/ 72961 h 1332642"/>
                <a:gd name="connsiteX90" fmla="*/ 732568 w 1004887"/>
                <a:gd name="connsiteY90" fmla="*/ 81248 h 1332642"/>
                <a:gd name="connsiteX91" fmla="*/ 729329 w 1004887"/>
                <a:gd name="connsiteY91" fmla="*/ 81725 h 1332642"/>
                <a:gd name="connsiteX92" fmla="*/ 727043 w 1004887"/>
                <a:gd name="connsiteY92" fmla="*/ 88392 h 1332642"/>
                <a:gd name="connsiteX93" fmla="*/ 725424 w 1004887"/>
                <a:gd name="connsiteY93" fmla="*/ 88582 h 1332642"/>
                <a:gd name="connsiteX94" fmla="*/ 720471 w 1004887"/>
                <a:gd name="connsiteY94" fmla="*/ 87630 h 1332642"/>
                <a:gd name="connsiteX95" fmla="*/ 719519 w 1004887"/>
                <a:gd name="connsiteY95" fmla="*/ 79724 h 1332642"/>
                <a:gd name="connsiteX96" fmla="*/ 708470 w 1004887"/>
                <a:gd name="connsiteY96" fmla="*/ 81153 h 1332642"/>
                <a:gd name="connsiteX97" fmla="*/ 703898 w 1004887"/>
                <a:gd name="connsiteY97" fmla="*/ 83344 h 1332642"/>
                <a:gd name="connsiteX98" fmla="*/ 702374 w 1004887"/>
                <a:gd name="connsiteY98" fmla="*/ 83534 h 1332642"/>
                <a:gd name="connsiteX99" fmla="*/ 701707 w 1004887"/>
                <a:gd name="connsiteY99" fmla="*/ 78772 h 1332642"/>
                <a:gd name="connsiteX100" fmla="*/ 705898 w 1004887"/>
                <a:gd name="connsiteY100" fmla="*/ 73438 h 1332642"/>
                <a:gd name="connsiteX101" fmla="*/ 705231 w 1004887"/>
                <a:gd name="connsiteY101" fmla="*/ 68771 h 1332642"/>
                <a:gd name="connsiteX102" fmla="*/ 711137 w 1004887"/>
                <a:gd name="connsiteY102" fmla="*/ 64770 h 1332642"/>
                <a:gd name="connsiteX103" fmla="*/ 712565 w 1004887"/>
                <a:gd name="connsiteY103" fmla="*/ 62960 h 1332642"/>
                <a:gd name="connsiteX104" fmla="*/ 710565 w 1004887"/>
                <a:gd name="connsiteY104" fmla="*/ 60007 h 1332642"/>
                <a:gd name="connsiteX105" fmla="*/ 714661 w 1004887"/>
                <a:gd name="connsiteY105" fmla="*/ 54673 h 1332642"/>
                <a:gd name="connsiteX106" fmla="*/ 714089 w 1004887"/>
                <a:gd name="connsiteY106" fmla="*/ 50006 h 1332642"/>
                <a:gd name="connsiteX107" fmla="*/ 719042 w 1004887"/>
                <a:gd name="connsiteY107" fmla="*/ 50959 h 1332642"/>
                <a:gd name="connsiteX108" fmla="*/ 725329 w 1004887"/>
                <a:gd name="connsiteY108" fmla="*/ 50102 h 1332642"/>
                <a:gd name="connsiteX109" fmla="*/ 725710 w 1004887"/>
                <a:gd name="connsiteY109" fmla="*/ 40481 h 1332642"/>
                <a:gd name="connsiteX110" fmla="*/ 723329 w 1004887"/>
                <a:gd name="connsiteY110" fmla="*/ 34385 h 1332642"/>
                <a:gd name="connsiteX111" fmla="*/ 723138 w 1004887"/>
                <a:gd name="connsiteY111" fmla="*/ 32766 h 1332642"/>
                <a:gd name="connsiteX112" fmla="*/ 718185 w 1004887"/>
                <a:gd name="connsiteY112" fmla="*/ 31813 h 1332642"/>
                <a:gd name="connsiteX113" fmla="*/ 715613 w 1004887"/>
                <a:gd name="connsiteY113" fmla="*/ 24098 h 1332642"/>
                <a:gd name="connsiteX114" fmla="*/ 711518 w 1004887"/>
                <a:gd name="connsiteY114" fmla="*/ 29432 h 1332642"/>
                <a:gd name="connsiteX115" fmla="*/ 709517 w 1004887"/>
                <a:gd name="connsiteY115" fmla="*/ 26479 h 1332642"/>
                <a:gd name="connsiteX116" fmla="*/ 710089 w 1004887"/>
                <a:gd name="connsiteY116" fmla="*/ 18383 h 1332642"/>
                <a:gd name="connsiteX117" fmla="*/ 708279 w 1004887"/>
                <a:gd name="connsiteY117" fmla="*/ 17050 h 1332642"/>
                <a:gd name="connsiteX118" fmla="*/ 707517 w 1004887"/>
                <a:gd name="connsiteY118" fmla="*/ 23527 h 1332642"/>
                <a:gd name="connsiteX119" fmla="*/ 701421 w 1004887"/>
                <a:gd name="connsiteY119" fmla="*/ 25908 h 1332642"/>
                <a:gd name="connsiteX120" fmla="*/ 701612 w 1004887"/>
                <a:gd name="connsiteY120" fmla="*/ 27527 h 1332642"/>
                <a:gd name="connsiteX121" fmla="*/ 698278 w 1004887"/>
                <a:gd name="connsiteY121" fmla="*/ 26289 h 1332642"/>
                <a:gd name="connsiteX122" fmla="*/ 695135 w 1004887"/>
                <a:gd name="connsiteY122" fmla="*/ 26670 h 1332642"/>
                <a:gd name="connsiteX123" fmla="*/ 689229 w 1004887"/>
                <a:gd name="connsiteY123" fmla="*/ 30671 h 1332642"/>
                <a:gd name="connsiteX124" fmla="*/ 684086 w 1004887"/>
                <a:gd name="connsiteY124" fmla="*/ 28099 h 1332642"/>
                <a:gd name="connsiteX125" fmla="*/ 683990 w 1004887"/>
                <a:gd name="connsiteY125" fmla="*/ 15335 h 1332642"/>
                <a:gd name="connsiteX126" fmla="*/ 680847 w 1004887"/>
                <a:gd name="connsiteY126" fmla="*/ 15716 h 1332642"/>
                <a:gd name="connsiteX127" fmla="*/ 679133 w 1004887"/>
                <a:gd name="connsiteY127" fmla="*/ 14288 h 1332642"/>
                <a:gd name="connsiteX128" fmla="*/ 675894 w 1004887"/>
                <a:gd name="connsiteY128" fmla="*/ 14764 h 1332642"/>
                <a:gd name="connsiteX129" fmla="*/ 676656 w 1004887"/>
                <a:gd name="connsiteY129" fmla="*/ 8192 h 1332642"/>
                <a:gd name="connsiteX130" fmla="*/ 671608 w 1004887"/>
                <a:gd name="connsiteY130" fmla="*/ 5620 h 1332642"/>
                <a:gd name="connsiteX131" fmla="*/ 672941 w 1004887"/>
                <a:gd name="connsiteY131" fmla="*/ 3905 h 1332642"/>
                <a:gd name="connsiteX132" fmla="*/ 676085 w 1004887"/>
                <a:gd name="connsiteY132" fmla="*/ 3524 h 1332642"/>
                <a:gd name="connsiteX133" fmla="*/ 674084 w 1004887"/>
                <a:gd name="connsiteY133" fmla="*/ 571 h 1332642"/>
                <a:gd name="connsiteX134" fmla="*/ 669798 w 1004887"/>
                <a:gd name="connsiteY134" fmla="*/ 4286 h 1332642"/>
                <a:gd name="connsiteX135" fmla="*/ 666655 w 1004887"/>
                <a:gd name="connsiteY135" fmla="*/ 4667 h 1332642"/>
                <a:gd name="connsiteX136" fmla="*/ 665417 w 1004887"/>
                <a:gd name="connsiteY136" fmla="*/ 8001 h 1332642"/>
                <a:gd name="connsiteX137" fmla="*/ 664464 w 1004887"/>
                <a:gd name="connsiteY137" fmla="*/ 12954 h 1332642"/>
                <a:gd name="connsiteX138" fmla="*/ 661321 w 1004887"/>
                <a:gd name="connsiteY138" fmla="*/ 13335 h 1332642"/>
                <a:gd name="connsiteX139" fmla="*/ 658749 w 1004887"/>
                <a:gd name="connsiteY139" fmla="*/ 18479 h 1332642"/>
                <a:gd name="connsiteX140" fmla="*/ 652272 w 1004887"/>
                <a:gd name="connsiteY140" fmla="*/ 17717 h 1332642"/>
                <a:gd name="connsiteX141" fmla="*/ 654368 w 1004887"/>
                <a:gd name="connsiteY141" fmla="*/ 9430 h 1332642"/>
                <a:gd name="connsiteX142" fmla="*/ 653225 w 1004887"/>
                <a:gd name="connsiteY142" fmla="*/ 0 h 1332642"/>
                <a:gd name="connsiteX143" fmla="*/ 651605 w 1004887"/>
                <a:gd name="connsiteY143" fmla="*/ 190 h 1332642"/>
                <a:gd name="connsiteX144" fmla="*/ 651986 w 1004887"/>
                <a:gd name="connsiteY144" fmla="*/ 3334 h 1332642"/>
                <a:gd name="connsiteX145" fmla="*/ 639032 w 1004887"/>
                <a:gd name="connsiteY145" fmla="*/ 1810 h 1332642"/>
                <a:gd name="connsiteX146" fmla="*/ 636080 w 1004887"/>
                <a:gd name="connsiteY146" fmla="*/ 3810 h 1332642"/>
                <a:gd name="connsiteX147" fmla="*/ 636270 w 1004887"/>
                <a:gd name="connsiteY147" fmla="*/ 5334 h 1332642"/>
                <a:gd name="connsiteX148" fmla="*/ 633317 w 1004887"/>
                <a:gd name="connsiteY148" fmla="*/ 7334 h 1332642"/>
                <a:gd name="connsiteX149" fmla="*/ 629888 w 1004887"/>
                <a:gd name="connsiteY149" fmla="*/ 6191 h 1332642"/>
                <a:gd name="connsiteX150" fmla="*/ 627983 w 1004887"/>
                <a:gd name="connsiteY150" fmla="*/ 3238 h 1332642"/>
                <a:gd name="connsiteX151" fmla="*/ 623221 w 1004887"/>
                <a:gd name="connsiteY151" fmla="*/ 3810 h 1332642"/>
                <a:gd name="connsiteX152" fmla="*/ 623411 w 1004887"/>
                <a:gd name="connsiteY152" fmla="*/ 5429 h 1332642"/>
                <a:gd name="connsiteX153" fmla="*/ 626745 w 1004887"/>
                <a:gd name="connsiteY153" fmla="*/ 6572 h 1332642"/>
                <a:gd name="connsiteX154" fmla="*/ 628745 w 1004887"/>
                <a:gd name="connsiteY154" fmla="*/ 9525 h 1332642"/>
                <a:gd name="connsiteX155" fmla="*/ 619887 w 1004887"/>
                <a:gd name="connsiteY155" fmla="*/ 28289 h 1332642"/>
                <a:gd name="connsiteX156" fmla="*/ 623507 w 1004887"/>
                <a:gd name="connsiteY156" fmla="*/ 31052 h 1332642"/>
                <a:gd name="connsiteX157" fmla="*/ 631127 w 1004887"/>
                <a:gd name="connsiteY157" fmla="*/ 28480 h 1332642"/>
                <a:gd name="connsiteX158" fmla="*/ 631603 w 1004887"/>
                <a:gd name="connsiteY158" fmla="*/ 31623 h 1332642"/>
                <a:gd name="connsiteX159" fmla="*/ 633317 w 1004887"/>
                <a:gd name="connsiteY159" fmla="*/ 32956 h 1332642"/>
                <a:gd name="connsiteX160" fmla="*/ 633984 w 1004887"/>
                <a:gd name="connsiteY160" fmla="*/ 37719 h 1332642"/>
                <a:gd name="connsiteX161" fmla="*/ 631222 w 1004887"/>
                <a:gd name="connsiteY161" fmla="*/ 41243 h 1332642"/>
                <a:gd name="connsiteX162" fmla="*/ 630460 w 1004887"/>
                <a:gd name="connsiteY162" fmla="*/ 47815 h 1332642"/>
                <a:gd name="connsiteX163" fmla="*/ 624269 w 1004887"/>
                <a:gd name="connsiteY163" fmla="*/ 50197 h 1332642"/>
                <a:gd name="connsiteX164" fmla="*/ 622935 w 1004887"/>
                <a:gd name="connsiteY164" fmla="*/ 51911 h 1332642"/>
                <a:gd name="connsiteX165" fmla="*/ 619220 w 1004887"/>
                <a:gd name="connsiteY165" fmla="*/ 47625 h 1332642"/>
                <a:gd name="connsiteX166" fmla="*/ 617411 w 1004887"/>
                <a:gd name="connsiteY166" fmla="*/ 46292 h 1332642"/>
                <a:gd name="connsiteX167" fmla="*/ 621792 w 1004887"/>
                <a:gd name="connsiteY167" fmla="*/ 55340 h 1332642"/>
                <a:gd name="connsiteX168" fmla="*/ 620363 w 1004887"/>
                <a:gd name="connsiteY168" fmla="*/ 57055 h 1332642"/>
                <a:gd name="connsiteX169" fmla="*/ 615410 w 1004887"/>
                <a:gd name="connsiteY169" fmla="*/ 56102 h 1332642"/>
                <a:gd name="connsiteX170" fmla="*/ 610934 w 1004887"/>
                <a:gd name="connsiteY170" fmla="*/ 58293 h 1332642"/>
                <a:gd name="connsiteX171" fmla="*/ 604361 w 1004887"/>
                <a:gd name="connsiteY171" fmla="*/ 57531 h 1332642"/>
                <a:gd name="connsiteX172" fmla="*/ 602837 w 1004887"/>
                <a:gd name="connsiteY172" fmla="*/ 57721 h 1332642"/>
                <a:gd name="connsiteX173" fmla="*/ 603599 w 1004887"/>
                <a:gd name="connsiteY173" fmla="*/ 64008 h 1332642"/>
                <a:gd name="connsiteX174" fmla="*/ 598932 w 1004887"/>
                <a:gd name="connsiteY174" fmla="*/ 64675 h 1332642"/>
                <a:gd name="connsiteX175" fmla="*/ 598075 w 1004887"/>
                <a:gd name="connsiteY175" fmla="*/ 58293 h 1332642"/>
                <a:gd name="connsiteX176" fmla="*/ 597122 w 1004887"/>
                <a:gd name="connsiteY176" fmla="*/ 63246 h 1332642"/>
                <a:gd name="connsiteX177" fmla="*/ 593789 w 1004887"/>
                <a:gd name="connsiteY177" fmla="*/ 62103 h 1332642"/>
                <a:gd name="connsiteX178" fmla="*/ 591788 w 1004887"/>
                <a:gd name="connsiteY178" fmla="*/ 59150 h 1332642"/>
                <a:gd name="connsiteX179" fmla="*/ 585502 w 1004887"/>
                <a:gd name="connsiteY179" fmla="*/ 59912 h 1332642"/>
                <a:gd name="connsiteX180" fmla="*/ 589026 w 1004887"/>
                <a:gd name="connsiteY180" fmla="*/ 62675 h 1332642"/>
                <a:gd name="connsiteX181" fmla="*/ 586073 w 1004887"/>
                <a:gd name="connsiteY181" fmla="*/ 64675 h 1332642"/>
                <a:gd name="connsiteX182" fmla="*/ 584930 w 1004887"/>
                <a:gd name="connsiteY182" fmla="*/ 68008 h 1332642"/>
                <a:gd name="connsiteX183" fmla="*/ 588264 w 1004887"/>
                <a:gd name="connsiteY183" fmla="*/ 69247 h 1332642"/>
                <a:gd name="connsiteX184" fmla="*/ 591788 w 1004887"/>
                <a:gd name="connsiteY184" fmla="*/ 71914 h 1332642"/>
                <a:gd name="connsiteX185" fmla="*/ 588645 w 1004887"/>
                <a:gd name="connsiteY185" fmla="*/ 72390 h 1332642"/>
                <a:gd name="connsiteX186" fmla="*/ 593598 w 1004887"/>
                <a:gd name="connsiteY186" fmla="*/ 86201 h 1332642"/>
                <a:gd name="connsiteX187" fmla="*/ 593979 w 1004887"/>
                <a:gd name="connsiteY187" fmla="*/ 89344 h 1332642"/>
                <a:gd name="connsiteX188" fmla="*/ 589312 w 1004887"/>
                <a:gd name="connsiteY188" fmla="*/ 89916 h 1332642"/>
                <a:gd name="connsiteX189" fmla="*/ 584168 w 1004887"/>
                <a:gd name="connsiteY189" fmla="*/ 100203 h 1332642"/>
                <a:gd name="connsiteX190" fmla="*/ 585407 w 1004887"/>
                <a:gd name="connsiteY190" fmla="*/ 109633 h 1332642"/>
                <a:gd name="connsiteX191" fmla="*/ 589598 w 1004887"/>
                <a:gd name="connsiteY191" fmla="*/ 117157 h 1332642"/>
                <a:gd name="connsiteX192" fmla="*/ 586550 w 1004887"/>
                <a:gd name="connsiteY192" fmla="*/ 119158 h 1332642"/>
                <a:gd name="connsiteX193" fmla="*/ 582073 w 1004887"/>
                <a:gd name="connsiteY193" fmla="*/ 121348 h 1332642"/>
                <a:gd name="connsiteX194" fmla="*/ 570167 w 1004887"/>
                <a:gd name="connsiteY194" fmla="*/ 116396 h 1332642"/>
                <a:gd name="connsiteX195" fmla="*/ 560927 w 1004887"/>
                <a:gd name="connsiteY195" fmla="*/ 106394 h 1332642"/>
                <a:gd name="connsiteX196" fmla="*/ 555593 w 1004887"/>
                <a:gd name="connsiteY196" fmla="*/ 102203 h 1332642"/>
                <a:gd name="connsiteX197" fmla="*/ 553593 w 1004887"/>
                <a:gd name="connsiteY197" fmla="*/ 99250 h 1332642"/>
                <a:gd name="connsiteX198" fmla="*/ 554546 w 1004887"/>
                <a:gd name="connsiteY198" fmla="*/ 94298 h 1332642"/>
                <a:gd name="connsiteX199" fmla="*/ 553022 w 1004887"/>
                <a:gd name="connsiteY199" fmla="*/ 94583 h 1332642"/>
                <a:gd name="connsiteX200" fmla="*/ 552641 w 1004887"/>
                <a:gd name="connsiteY200" fmla="*/ 104204 h 1332642"/>
                <a:gd name="connsiteX201" fmla="*/ 550831 w 1004887"/>
                <a:gd name="connsiteY201" fmla="*/ 102870 h 1332642"/>
                <a:gd name="connsiteX202" fmla="*/ 550069 w 1004887"/>
                <a:gd name="connsiteY202" fmla="*/ 96488 h 1332642"/>
                <a:gd name="connsiteX203" fmla="*/ 548259 w 1004887"/>
                <a:gd name="connsiteY203" fmla="*/ 95155 h 1332642"/>
                <a:gd name="connsiteX204" fmla="*/ 546640 w 1004887"/>
                <a:gd name="connsiteY204" fmla="*/ 95345 h 1332642"/>
                <a:gd name="connsiteX205" fmla="*/ 544735 w 1004887"/>
                <a:gd name="connsiteY205" fmla="*/ 92392 h 1332642"/>
                <a:gd name="connsiteX206" fmla="*/ 543116 w 1004887"/>
                <a:gd name="connsiteY206" fmla="*/ 92583 h 1332642"/>
                <a:gd name="connsiteX207" fmla="*/ 539591 w 1004887"/>
                <a:gd name="connsiteY207" fmla="*/ 89821 h 1332642"/>
                <a:gd name="connsiteX208" fmla="*/ 539782 w 1004887"/>
                <a:gd name="connsiteY208" fmla="*/ 91440 h 1332642"/>
                <a:gd name="connsiteX209" fmla="*/ 538163 w 1004887"/>
                <a:gd name="connsiteY209" fmla="*/ 91631 h 1332642"/>
                <a:gd name="connsiteX210" fmla="*/ 537401 w 1004887"/>
                <a:gd name="connsiteY210" fmla="*/ 85344 h 1332642"/>
                <a:gd name="connsiteX211" fmla="*/ 535781 w 1004887"/>
                <a:gd name="connsiteY211" fmla="*/ 85534 h 1332642"/>
                <a:gd name="connsiteX212" fmla="*/ 534448 w 1004887"/>
                <a:gd name="connsiteY212" fmla="*/ 87249 h 1332642"/>
                <a:gd name="connsiteX213" fmla="*/ 527685 w 1004887"/>
                <a:gd name="connsiteY213" fmla="*/ 84963 h 1332642"/>
                <a:gd name="connsiteX214" fmla="*/ 529304 w 1004887"/>
                <a:gd name="connsiteY214" fmla="*/ 84773 h 1332642"/>
                <a:gd name="connsiteX215" fmla="*/ 528923 w 1004887"/>
                <a:gd name="connsiteY215" fmla="*/ 81534 h 1332642"/>
                <a:gd name="connsiteX216" fmla="*/ 521399 w 1004887"/>
                <a:gd name="connsiteY216" fmla="*/ 85725 h 1332642"/>
                <a:gd name="connsiteX217" fmla="*/ 516446 w 1004887"/>
                <a:gd name="connsiteY217" fmla="*/ 84773 h 1332642"/>
                <a:gd name="connsiteX218" fmla="*/ 516636 w 1004887"/>
                <a:gd name="connsiteY218" fmla="*/ 86296 h 1332642"/>
                <a:gd name="connsiteX219" fmla="*/ 512921 w 1004887"/>
                <a:gd name="connsiteY219" fmla="*/ 82010 h 1332642"/>
                <a:gd name="connsiteX220" fmla="*/ 508730 w 1004887"/>
                <a:gd name="connsiteY220" fmla="*/ 87344 h 1332642"/>
                <a:gd name="connsiteX221" fmla="*/ 503206 w 1004887"/>
                <a:gd name="connsiteY221" fmla="*/ 81629 h 1332642"/>
                <a:gd name="connsiteX222" fmla="*/ 500444 w 1004887"/>
                <a:gd name="connsiteY222" fmla="*/ 85154 h 1332642"/>
                <a:gd name="connsiteX223" fmla="*/ 496919 w 1004887"/>
                <a:gd name="connsiteY223" fmla="*/ 82486 h 1332642"/>
                <a:gd name="connsiteX224" fmla="*/ 496157 w 1004887"/>
                <a:gd name="connsiteY224" fmla="*/ 76105 h 1332642"/>
                <a:gd name="connsiteX225" fmla="*/ 494729 w 1004887"/>
                <a:gd name="connsiteY225" fmla="*/ 77915 h 1332642"/>
                <a:gd name="connsiteX226" fmla="*/ 493967 w 1004887"/>
                <a:gd name="connsiteY226" fmla="*/ 71628 h 1332642"/>
                <a:gd name="connsiteX227" fmla="*/ 488252 w 1004887"/>
                <a:gd name="connsiteY227" fmla="*/ 77152 h 1332642"/>
                <a:gd name="connsiteX228" fmla="*/ 486823 w 1004887"/>
                <a:gd name="connsiteY228" fmla="*/ 78962 h 1332642"/>
                <a:gd name="connsiteX229" fmla="*/ 483870 w 1004887"/>
                <a:gd name="connsiteY229" fmla="*/ 80867 h 1332642"/>
                <a:gd name="connsiteX230" fmla="*/ 483679 w 1004887"/>
                <a:gd name="connsiteY230" fmla="*/ 79343 h 1332642"/>
                <a:gd name="connsiteX231" fmla="*/ 482346 w 1004887"/>
                <a:gd name="connsiteY231" fmla="*/ 81058 h 1332642"/>
                <a:gd name="connsiteX232" fmla="*/ 483489 w 1004887"/>
                <a:gd name="connsiteY232" fmla="*/ 90583 h 1332642"/>
                <a:gd name="connsiteX233" fmla="*/ 478822 w 1004887"/>
                <a:gd name="connsiteY233" fmla="*/ 91154 h 1332642"/>
                <a:gd name="connsiteX234" fmla="*/ 473678 w 1004887"/>
                <a:gd name="connsiteY234" fmla="*/ 88582 h 1332642"/>
                <a:gd name="connsiteX235" fmla="*/ 471106 w 1004887"/>
                <a:gd name="connsiteY235" fmla="*/ 93726 h 1332642"/>
                <a:gd name="connsiteX236" fmla="*/ 472916 w 1004887"/>
                <a:gd name="connsiteY236" fmla="*/ 95155 h 1332642"/>
                <a:gd name="connsiteX237" fmla="*/ 476060 w 1004887"/>
                <a:gd name="connsiteY237" fmla="*/ 94679 h 1332642"/>
                <a:gd name="connsiteX238" fmla="*/ 476250 w 1004887"/>
                <a:gd name="connsiteY238" fmla="*/ 96298 h 1332642"/>
                <a:gd name="connsiteX239" fmla="*/ 472059 w 1004887"/>
                <a:gd name="connsiteY239" fmla="*/ 101632 h 1332642"/>
                <a:gd name="connsiteX240" fmla="*/ 463772 w 1004887"/>
                <a:gd name="connsiteY240" fmla="*/ 99536 h 1332642"/>
                <a:gd name="connsiteX241" fmla="*/ 460820 w 1004887"/>
                <a:gd name="connsiteY241" fmla="*/ 101441 h 1332642"/>
                <a:gd name="connsiteX242" fmla="*/ 459867 w 1004887"/>
                <a:gd name="connsiteY242" fmla="*/ 106394 h 1332642"/>
                <a:gd name="connsiteX243" fmla="*/ 456914 w 1004887"/>
                <a:gd name="connsiteY243" fmla="*/ 108394 h 1332642"/>
                <a:gd name="connsiteX244" fmla="*/ 450437 w 1004887"/>
                <a:gd name="connsiteY244" fmla="*/ 107632 h 1332642"/>
                <a:gd name="connsiteX245" fmla="*/ 451009 w 1004887"/>
                <a:gd name="connsiteY245" fmla="*/ 112300 h 1332642"/>
                <a:gd name="connsiteX246" fmla="*/ 448247 w 1004887"/>
                <a:gd name="connsiteY246" fmla="*/ 115919 h 1332642"/>
                <a:gd name="connsiteX247" fmla="*/ 443294 w 1004887"/>
                <a:gd name="connsiteY247" fmla="*/ 114967 h 1332642"/>
                <a:gd name="connsiteX248" fmla="*/ 443484 w 1004887"/>
                <a:gd name="connsiteY248" fmla="*/ 116491 h 1332642"/>
                <a:gd name="connsiteX249" fmla="*/ 439007 w 1004887"/>
                <a:gd name="connsiteY249" fmla="*/ 118681 h 1332642"/>
                <a:gd name="connsiteX250" fmla="*/ 439388 w 1004887"/>
                <a:gd name="connsiteY250" fmla="*/ 121825 h 1332642"/>
                <a:gd name="connsiteX251" fmla="*/ 436626 w 1004887"/>
                <a:gd name="connsiteY251" fmla="*/ 125444 h 1332642"/>
                <a:gd name="connsiteX252" fmla="*/ 432911 w 1004887"/>
                <a:gd name="connsiteY252" fmla="*/ 121063 h 1332642"/>
                <a:gd name="connsiteX253" fmla="*/ 423386 w 1004887"/>
                <a:gd name="connsiteY253" fmla="*/ 122301 h 1332642"/>
                <a:gd name="connsiteX254" fmla="*/ 425006 w 1004887"/>
                <a:gd name="connsiteY254" fmla="*/ 134874 h 1332642"/>
                <a:gd name="connsiteX255" fmla="*/ 421862 w 1004887"/>
                <a:gd name="connsiteY255" fmla="*/ 135350 h 1332642"/>
                <a:gd name="connsiteX256" fmla="*/ 423291 w 1004887"/>
                <a:gd name="connsiteY256" fmla="*/ 133540 h 1332642"/>
                <a:gd name="connsiteX257" fmla="*/ 418148 w 1004887"/>
                <a:gd name="connsiteY257" fmla="*/ 130969 h 1332642"/>
                <a:gd name="connsiteX258" fmla="*/ 415766 w 1004887"/>
                <a:gd name="connsiteY258" fmla="*/ 137731 h 1332642"/>
                <a:gd name="connsiteX259" fmla="*/ 405670 w 1004887"/>
                <a:gd name="connsiteY259" fmla="*/ 134207 h 1332642"/>
                <a:gd name="connsiteX260" fmla="*/ 397764 w 1004887"/>
                <a:gd name="connsiteY260" fmla="*/ 135160 h 1332642"/>
                <a:gd name="connsiteX261" fmla="*/ 393478 w 1004887"/>
                <a:gd name="connsiteY261" fmla="*/ 138970 h 1332642"/>
                <a:gd name="connsiteX262" fmla="*/ 392906 w 1004887"/>
                <a:gd name="connsiteY262" fmla="*/ 146971 h 1332642"/>
                <a:gd name="connsiteX263" fmla="*/ 400812 w 1004887"/>
                <a:gd name="connsiteY263" fmla="*/ 158877 h 1332642"/>
                <a:gd name="connsiteX264" fmla="*/ 400812 w 1004887"/>
                <a:gd name="connsiteY264" fmla="*/ 158877 h 1332642"/>
                <a:gd name="connsiteX265" fmla="*/ 401193 w 1004887"/>
                <a:gd name="connsiteY265" fmla="*/ 162020 h 1332642"/>
                <a:gd name="connsiteX266" fmla="*/ 397859 w 1004887"/>
                <a:gd name="connsiteY266" fmla="*/ 160782 h 1332642"/>
                <a:gd name="connsiteX267" fmla="*/ 394907 w 1004887"/>
                <a:gd name="connsiteY267" fmla="*/ 162782 h 1332642"/>
                <a:gd name="connsiteX268" fmla="*/ 398240 w 1004887"/>
                <a:gd name="connsiteY268" fmla="*/ 163925 h 1332642"/>
                <a:gd name="connsiteX269" fmla="*/ 393764 w 1004887"/>
                <a:gd name="connsiteY269" fmla="*/ 166116 h 1332642"/>
                <a:gd name="connsiteX270" fmla="*/ 398907 w 1004887"/>
                <a:gd name="connsiteY270" fmla="*/ 168688 h 1332642"/>
                <a:gd name="connsiteX271" fmla="*/ 399479 w 1004887"/>
                <a:gd name="connsiteY271" fmla="*/ 173450 h 1332642"/>
                <a:gd name="connsiteX272" fmla="*/ 395288 w 1004887"/>
                <a:gd name="connsiteY272" fmla="*/ 178784 h 1332642"/>
                <a:gd name="connsiteX273" fmla="*/ 393954 w 1004887"/>
                <a:gd name="connsiteY273" fmla="*/ 180594 h 1332642"/>
                <a:gd name="connsiteX274" fmla="*/ 390620 w 1004887"/>
                <a:gd name="connsiteY274" fmla="*/ 179356 h 1332642"/>
                <a:gd name="connsiteX275" fmla="*/ 387858 w 1004887"/>
                <a:gd name="connsiteY275" fmla="*/ 182975 h 1332642"/>
                <a:gd name="connsiteX276" fmla="*/ 384905 w 1004887"/>
                <a:gd name="connsiteY276" fmla="*/ 184880 h 1332642"/>
                <a:gd name="connsiteX277" fmla="*/ 380714 w 1004887"/>
                <a:gd name="connsiteY277" fmla="*/ 190310 h 1332642"/>
                <a:gd name="connsiteX278" fmla="*/ 377571 w 1004887"/>
                <a:gd name="connsiteY278" fmla="*/ 190690 h 1332642"/>
                <a:gd name="connsiteX279" fmla="*/ 377762 w 1004887"/>
                <a:gd name="connsiteY279" fmla="*/ 192215 h 1332642"/>
                <a:gd name="connsiteX280" fmla="*/ 378047 w 1004887"/>
                <a:gd name="connsiteY280" fmla="*/ 193834 h 1332642"/>
                <a:gd name="connsiteX281" fmla="*/ 371285 w 1004887"/>
                <a:gd name="connsiteY281" fmla="*/ 191452 h 1332642"/>
                <a:gd name="connsiteX282" fmla="*/ 372142 w 1004887"/>
                <a:gd name="connsiteY282" fmla="*/ 197739 h 1332642"/>
                <a:gd name="connsiteX283" fmla="*/ 372332 w 1004887"/>
                <a:gd name="connsiteY283" fmla="*/ 199358 h 1332642"/>
                <a:gd name="connsiteX284" fmla="*/ 368903 w 1004887"/>
                <a:gd name="connsiteY284" fmla="*/ 198215 h 1332642"/>
                <a:gd name="connsiteX285" fmla="*/ 360236 w 1004887"/>
                <a:gd name="connsiteY285" fmla="*/ 192881 h 1332642"/>
                <a:gd name="connsiteX286" fmla="*/ 356521 w 1004887"/>
                <a:gd name="connsiteY286" fmla="*/ 188500 h 1332642"/>
                <a:gd name="connsiteX287" fmla="*/ 356045 w 1004887"/>
                <a:gd name="connsiteY287" fmla="*/ 185356 h 1332642"/>
                <a:gd name="connsiteX288" fmla="*/ 350901 w 1004887"/>
                <a:gd name="connsiteY288" fmla="*/ 182785 h 1332642"/>
                <a:gd name="connsiteX289" fmla="*/ 344424 w 1004887"/>
                <a:gd name="connsiteY289" fmla="*/ 182023 h 1332642"/>
                <a:gd name="connsiteX290" fmla="*/ 337757 w 1004887"/>
                <a:gd name="connsiteY290" fmla="*/ 192500 h 1332642"/>
                <a:gd name="connsiteX291" fmla="*/ 327851 w 1004887"/>
                <a:gd name="connsiteY291" fmla="*/ 190595 h 1332642"/>
                <a:gd name="connsiteX292" fmla="*/ 321564 w 1004887"/>
                <a:gd name="connsiteY292" fmla="*/ 191357 h 1332642"/>
                <a:gd name="connsiteX293" fmla="*/ 318611 w 1004887"/>
                <a:gd name="connsiteY293" fmla="*/ 193357 h 1332642"/>
                <a:gd name="connsiteX294" fmla="*/ 317564 w 1004887"/>
                <a:gd name="connsiteY294" fmla="*/ 185452 h 1332642"/>
                <a:gd name="connsiteX295" fmla="*/ 310515 w 1004887"/>
                <a:gd name="connsiteY295" fmla="*/ 179927 h 1332642"/>
                <a:gd name="connsiteX296" fmla="*/ 304610 w 1004887"/>
                <a:gd name="connsiteY296" fmla="*/ 183928 h 1332642"/>
                <a:gd name="connsiteX297" fmla="*/ 299466 w 1004887"/>
                <a:gd name="connsiteY297" fmla="*/ 181356 h 1332642"/>
                <a:gd name="connsiteX298" fmla="*/ 299847 w 1004887"/>
                <a:gd name="connsiteY298" fmla="*/ 184499 h 1332642"/>
                <a:gd name="connsiteX299" fmla="*/ 296704 w 1004887"/>
                <a:gd name="connsiteY299" fmla="*/ 184976 h 1332642"/>
                <a:gd name="connsiteX300" fmla="*/ 294704 w 1004887"/>
                <a:gd name="connsiteY300" fmla="*/ 182023 h 1332642"/>
                <a:gd name="connsiteX301" fmla="*/ 295847 w 1004887"/>
                <a:gd name="connsiteY301" fmla="*/ 178594 h 1332642"/>
                <a:gd name="connsiteX302" fmla="*/ 292894 w 1004887"/>
                <a:gd name="connsiteY302" fmla="*/ 180594 h 1332642"/>
                <a:gd name="connsiteX303" fmla="*/ 293942 w 1004887"/>
                <a:gd name="connsiteY303" fmla="*/ 175641 h 1332642"/>
                <a:gd name="connsiteX304" fmla="*/ 290513 w 1004887"/>
                <a:gd name="connsiteY304" fmla="*/ 174498 h 1332642"/>
                <a:gd name="connsiteX305" fmla="*/ 284226 w 1004887"/>
                <a:gd name="connsiteY305" fmla="*/ 175260 h 1332642"/>
                <a:gd name="connsiteX306" fmla="*/ 280702 w 1004887"/>
                <a:gd name="connsiteY306" fmla="*/ 172498 h 1332642"/>
                <a:gd name="connsiteX307" fmla="*/ 275749 w 1004887"/>
                <a:gd name="connsiteY307" fmla="*/ 171545 h 1332642"/>
                <a:gd name="connsiteX308" fmla="*/ 274796 w 1004887"/>
                <a:gd name="connsiteY308" fmla="*/ 176498 h 1332642"/>
                <a:gd name="connsiteX309" fmla="*/ 270224 w 1004887"/>
                <a:gd name="connsiteY309" fmla="*/ 178689 h 1332642"/>
                <a:gd name="connsiteX310" fmla="*/ 264509 w 1004887"/>
                <a:gd name="connsiteY310" fmla="*/ 184214 h 1332642"/>
                <a:gd name="connsiteX311" fmla="*/ 260794 w 1004887"/>
                <a:gd name="connsiteY311" fmla="*/ 179927 h 1332642"/>
                <a:gd name="connsiteX312" fmla="*/ 258794 w 1004887"/>
                <a:gd name="connsiteY312" fmla="*/ 176974 h 1332642"/>
                <a:gd name="connsiteX313" fmla="*/ 257365 w 1004887"/>
                <a:gd name="connsiteY313" fmla="*/ 178689 h 1332642"/>
                <a:gd name="connsiteX314" fmla="*/ 256032 w 1004887"/>
                <a:gd name="connsiteY314" fmla="*/ 180499 h 1332642"/>
                <a:gd name="connsiteX315" fmla="*/ 249936 w 1004887"/>
                <a:gd name="connsiteY315" fmla="*/ 182880 h 1332642"/>
                <a:gd name="connsiteX316" fmla="*/ 244602 w 1004887"/>
                <a:gd name="connsiteY316" fmla="*/ 178784 h 1332642"/>
                <a:gd name="connsiteX317" fmla="*/ 243364 w 1004887"/>
                <a:gd name="connsiteY317" fmla="*/ 182118 h 1332642"/>
                <a:gd name="connsiteX318" fmla="*/ 234982 w 1004887"/>
                <a:gd name="connsiteY318" fmla="*/ 191167 h 1332642"/>
                <a:gd name="connsiteX319" fmla="*/ 230219 w 1004887"/>
                <a:gd name="connsiteY319" fmla="*/ 191833 h 1332642"/>
                <a:gd name="connsiteX320" fmla="*/ 223266 w 1004887"/>
                <a:gd name="connsiteY320" fmla="*/ 187833 h 1332642"/>
                <a:gd name="connsiteX321" fmla="*/ 216599 w 1004887"/>
                <a:gd name="connsiteY321" fmla="*/ 185547 h 1332642"/>
                <a:gd name="connsiteX322" fmla="*/ 215170 w 1004887"/>
                <a:gd name="connsiteY322" fmla="*/ 187261 h 1332642"/>
                <a:gd name="connsiteX323" fmla="*/ 220694 w 1004887"/>
                <a:gd name="connsiteY323" fmla="*/ 192977 h 1332642"/>
                <a:gd name="connsiteX324" fmla="*/ 221933 w 1004887"/>
                <a:gd name="connsiteY324" fmla="*/ 202502 h 1332642"/>
                <a:gd name="connsiteX325" fmla="*/ 207550 w 1004887"/>
                <a:gd name="connsiteY325" fmla="*/ 202692 h 1332642"/>
                <a:gd name="connsiteX326" fmla="*/ 195072 w 1004887"/>
                <a:gd name="connsiteY326" fmla="*/ 205931 h 1332642"/>
                <a:gd name="connsiteX327" fmla="*/ 195358 w 1004887"/>
                <a:gd name="connsiteY327" fmla="*/ 207455 h 1332642"/>
                <a:gd name="connsiteX328" fmla="*/ 198882 w 1004887"/>
                <a:gd name="connsiteY328" fmla="*/ 210217 h 1332642"/>
                <a:gd name="connsiteX329" fmla="*/ 200311 w 1004887"/>
                <a:gd name="connsiteY329" fmla="*/ 221266 h 1332642"/>
                <a:gd name="connsiteX330" fmla="*/ 200882 w 1004887"/>
                <a:gd name="connsiteY330" fmla="*/ 226028 h 1332642"/>
                <a:gd name="connsiteX331" fmla="*/ 192596 w 1004887"/>
                <a:gd name="connsiteY331" fmla="*/ 223837 h 1332642"/>
                <a:gd name="connsiteX332" fmla="*/ 193929 w 1004887"/>
                <a:gd name="connsiteY332" fmla="*/ 222123 h 1332642"/>
                <a:gd name="connsiteX333" fmla="*/ 192024 w 1004887"/>
                <a:gd name="connsiteY333" fmla="*/ 219170 h 1332642"/>
                <a:gd name="connsiteX334" fmla="*/ 190214 w 1004887"/>
                <a:gd name="connsiteY334" fmla="*/ 204883 h 1332642"/>
                <a:gd name="connsiteX335" fmla="*/ 184594 w 1004887"/>
                <a:gd name="connsiteY335" fmla="*/ 199168 h 1332642"/>
                <a:gd name="connsiteX336" fmla="*/ 174593 w 1004887"/>
                <a:gd name="connsiteY336" fmla="*/ 195644 h 1332642"/>
                <a:gd name="connsiteX337" fmla="*/ 160401 w 1004887"/>
                <a:gd name="connsiteY337" fmla="*/ 197453 h 1332642"/>
                <a:gd name="connsiteX338" fmla="*/ 160782 w 1004887"/>
                <a:gd name="connsiteY338" fmla="*/ 200692 h 1332642"/>
                <a:gd name="connsiteX339" fmla="*/ 157448 w 1004887"/>
                <a:gd name="connsiteY339" fmla="*/ 199453 h 1332642"/>
                <a:gd name="connsiteX340" fmla="*/ 157829 w 1004887"/>
                <a:gd name="connsiteY340" fmla="*/ 202597 h 1332642"/>
                <a:gd name="connsiteX341" fmla="*/ 153067 w 1004887"/>
                <a:gd name="connsiteY341" fmla="*/ 203264 h 1332642"/>
                <a:gd name="connsiteX342" fmla="*/ 150114 w 1004887"/>
                <a:gd name="connsiteY342" fmla="*/ 205169 h 1332642"/>
                <a:gd name="connsiteX343" fmla="*/ 149924 w 1004887"/>
                <a:gd name="connsiteY343" fmla="*/ 216408 h 1332642"/>
                <a:gd name="connsiteX344" fmla="*/ 143256 w 1004887"/>
                <a:gd name="connsiteY344" fmla="*/ 214122 h 1332642"/>
                <a:gd name="connsiteX345" fmla="*/ 139351 w 1004887"/>
                <a:gd name="connsiteY345" fmla="*/ 220980 h 1332642"/>
                <a:gd name="connsiteX346" fmla="*/ 136684 w 1004887"/>
                <a:gd name="connsiteY346" fmla="*/ 213360 h 1332642"/>
                <a:gd name="connsiteX347" fmla="*/ 129635 w 1004887"/>
                <a:gd name="connsiteY347" fmla="*/ 207836 h 1332642"/>
                <a:gd name="connsiteX348" fmla="*/ 118586 w 1004887"/>
                <a:gd name="connsiteY348" fmla="*/ 209264 h 1332642"/>
                <a:gd name="connsiteX349" fmla="*/ 108490 w 1004887"/>
                <a:gd name="connsiteY349" fmla="*/ 205740 h 1332642"/>
                <a:gd name="connsiteX350" fmla="*/ 106299 w 1004887"/>
                <a:gd name="connsiteY350" fmla="*/ 214027 h 1332642"/>
                <a:gd name="connsiteX351" fmla="*/ 100870 w 1004887"/>
                <a:gd name="connsiteY351" fmla="*/ 221075 h 1332642"/>
                <a:gd name="connsiteX352" fmla="*/ 97631 w 1004887"/>
                <a:gd name="connsiteY352" fmla="*/ 221552 h 1332642"/>
                <a:gd name="connsiteX353" fmla="*/ 87630 w 1004887"/>
                <a:gd name="connsiteY353" fmla="*/ 230791 h 1332642"/>
                <a:gd name="connsiteX354" fmla="*/ 85058 w 1004887"/>
                <a:gd name="connsiteY354" fmla="*/ 235934 h 1332642"/>
                <a:gd name="connsiteX355" fmla="*/ 86106 w 1004887"/>
                <a:gd name="connsiteY355" fmla="*/ 243840 h 1332642"/>
                <a:gd name="connsiteX356" fmla="*/ 82201 w 1004887"/>
                <a:gd name="connsiteY356" fmla="*/ 250793 h 1332642"/>
                <a:gd name="connsiteX357" fmla="*/ 79820 w 1004887"/>
                <a:gd name="connsiteY357" fmla="*/ 257461 h 1332642"/>
                <a:gd name="connsiteX358" fmla="*/ 70295 w 1004887"/>
                <a:gd name="connsiteY358" fmla="*/ 258699 h 1332642"/>
                <a:gd name="connsiteX359" fmla="*/ 70009 w 1004887"/>
                <a:gd name="connsiteY359" fmla="*/ 281178 h 1332642"/>
                <a:gd name="connsiteX360" fmla="*/ 68199 w 1004887"/>
                <a:gd name="connsiteY360" fmla="*/ 279749 h 1332642"/>
                <a:gd name="connsiteX361" fmla="*/ 64865 w 1004887"/>
                <a:gd name="connsiteY361" fmla="*/ 278606 h 1332642"/>
                <a:gd name="connsiteX362" fmla="*/ 62865 w 1004887"/>
                <a:gd name="connsiteY362" fmla="*/ 275653 h 1332642"/>
                <a:gd name="connsiteX363" fmla="*/ 59722 w 1004887"/>
                <a:gd name="connsiteY363" fmla="*/ 276035 h 1332642"/>
                <a:gd name="connsiteX364" fmla="*/ 55626 w 1004887"/>
                <a:gd name="connsiteY364" fmla="*/ 281369 h 1332642"/>
                <a:gd name="connsiteX365" fmla="*/ 51435 w 1004887"/>
                <a:gd name="connsiteY365" fmla="*/ 286703 h 1332642"/>
                <a:gd name="connsiteX366" fmla="*/ 54007 w 1004887"/>
                <a:gd name="connsiteY366" fmla="*/ 294418 h 1332642"/>
                <a:gd name="connsiteX367" fmla="*/ 53245 w 1004887"/>
                <a:gd name="connsiteY367" fmla="*/ 300990 h 1332642"/>
                <a:gd name="connsiteX368" fmla="*/ 50959 w 1004887"/>
                <a:gd name="connsiteY368" fmla="*/ 307657 h 1332642"/>
                <a:gd name="connsiteX369" fmla="*/ 46387 w 1004887"/>
                <a:gd name="connsiteY369" fmla="*/ 309848 h 1332642"/>
                <a:gd name="connsiteX370" fmla="*/ 45053 w 1004887"/>
                <a:gd name="connsiteY370" fmla="*/ 311658 h 1332642"/>
                <a:gd name="connsiteX371" fmla="*/ 49816 w 1004887"/>
                <a:gd name="connsiteY371" fmla="*/ 323850 h 1332642"/>
                <a:gd name="connsiteX372" fmla="*/ 45625 w 1004887"/>
                <a:gd name="connsiteY372" fmla="*/ 329184 h 1332642"/>
                <a:gd name="connsiteX373" fmla="*/ 52578 w 1004887"/>
                <a:gd name="connsiteY373" fmla="*/ 333089 h 1332642"/>
                <a:gd name="connsiteX374" fmla="*/ 51340 w 1004887"/>
                <a:gd name="connsiteY374" fmla="*/ 336423 h 1332642"/>
                <a:gd name="connsiteX375" fmla="*/ 50197 w 1004887"/>
                <a:gd name="connsiteY375" fmla="*/ 339852 h 1332642"/>
                <a:gd name="connsiteX376" fmla="*/ 48196 w 1004887"/>
                <a:gd name="connsiteY376" fmla="*/ 336899 h 1332642"/>
                <a:gd name="connsiteX377" fmla="*/ 3524 w 1004887"/>
                <a:gd name="connsiteY377" fmla="*/ 363379 h 1332642"/>
                <a:gd name="connsiteX378" fmla="*/ 0 w 1004887"/>
                <a:gd name="connsiteY378" fmla="*/ 373475 h 1332642"/>
                <a:gd name="connsiteX379" fmla="*/ 2381 w 1004887"/>
                <a:gd name="connsiteY379" fmla="*/ 379571 h 1332642"/>
                <a:gd name="connsiteX380" fmla="*/ 1333 w 1004887"/>
                <a:gd name="connsiteY380" fmla="*/ 384524 h 1332642"/>
                <a:gd name="connsiteX381" fmla="*/ 3715 w 1004887"/>
                <a:gd name="connsiteY381" fmla="*/ 390620 h 1332642"/>
                <a:gd name="connsiteX382" fmla="*/ 7525 w 1004887"/>
                <a:gd name="connsiteY382" fmla="*/ 395002 h 1332642"/>
                <a:gd name="connsiteX383" fmla="*/ 6382 w 1004887"/>
                <a:gd name="connsiteY383" fmla="*/ 398336 h 1332642"/>
                <a:gd name="connsiteX384" fmla="*/ 14669 w 1004887"/>
                <a:gd name="connsiteY384" fmla="*/ 400526 h 1332642"/>
                <a:gd name="connsiteX385" fmla="*/ 16573 w 1004887"/>
                <a:gd name="connsiteY385" fmla="*/ 403479 h 1332642"/>
                <a:gd name="connsiteX386" fmla="*/ 17621 w 1004887"/>
                <a:gd name="connsiteY386" fmla="*/ 411290 h 1332642"/>
                <a:gd name="connsiteX387" fmla="*/ 24765 w 1004887"/>
                <a:gd name="connsiteY387" fmla="*/ 429673 h 1332642"/>
                <a:gd name="connsiteX388" fmla="*/ 30099 w 1004887"/>
                <a:gd name="connsiteY388" fmla="*/ 433769 h 1332642"/>
                <a:gd name="connsiteX389" fmla="*/ 38195 w 1004887"/>
                <a:gd name="connsiteY389" fmla="*/ 434340 h 1332642"/>
                <a:gd name="connsiteX390" fmla="*/ 55626 w 1004887"/>
                <a:gd name="connsiteY390" fmla="*/ 445008 h 1332642"/>
                <a:gd name="connsiteX391" fmla="*/ 56388 w 1004887"/>
                <a:gd name="connsiteY391" fmla="*/ 451294 h 1332642"/>
                <a:gd name="connsiteX392" fmla="*/ 63341 w 1004887"/>
                <a:gd name="connsiteY392" fmla="*/ 455200 h 1332642"/>
                <a:gd name="connsiteX393" fmla="*/ 68008 w 1004887"/>
                <a:gd name="connsiteY393" fmla="*/ 454628 h 1332642"/>
                <a:gd name="connsiteX394" fmla="*/ 69818 w 1004887"/>
                <a:gd name="connsiteY394" fmla="*/ 455962 h 1332642"/>
                <a:gd name="connsiteX395" fmla="*/ 77533 w 1004887"/>
                <a:gd name="connsiteY395" fmla="*/ 453390 h 1332642"/>
                <a:gd name="connsiteX396" fmla="*/ 82487 w 1004887"/>
                <a:gd name="connsiteY396" fmla="*/ 454343 h 1332642"/>
                <a:gd name="connsiteX397" fmla="*/ 82106 w 1004887"/>
                <a:gd name="connsiteY397" fmla="*/ 464058 h 1332642"/>
                <a:gd name="connsiteX398" fmla="*/ 87058 w 1004887"/>
                <a:gd name="connsiteY398" fmla="*/ 477869 h 1332642"/>
                <a:gd name="connsiteX399" fmla="*/ 81534 w 1004887"/>
                <a:gd name="connsiteY399" fmla="*/ 485013 h 1332642"/>
                <a:gd name="connsiteX400" fmla="*/ 84106 w 1004887"/>
                <a:gd name="connsiteY400" fmla="*/ 492633 h 1332642"/>
                <a:gd name="connsiteX401" fmla="*/ 78391 w 1004887"/>
                <a:gd name="connsiteY401" fmla="*/ 498253 h 1332642"/>
                <a:gd name="connsiteX402" fmla="*/ 77248 w 1004887"/>
                <a:gd name="connsiteY402" fmla="*/ 501586 h 1332642"/>
                <a:gd name="connsiteX403" fmla="*/ 79248 w 1004887"/>
                <a:gd name="connsiteY403" fmla="*/ 504539 h 1332642"/>
                <a:gd name="connsiteX404" fmla="*/ 84106 w 1004887"/>
                <a:gd name="connsiteY404" fmla="*/ 505492 h 1332642"/>
                <a:gd name="connsiteX405" fmla="*/ 85916 w 1004887"/>
                <a:gd name="connsiteY405" fmla="*/ 506825 h 1332642"/>
                <a:gd name="connsiteX406" fmla="*/ 84773 w 1004887"/>
                <a:gd name="connsiteY406" fmla="*/ 510254 h 1332642"/>
                <a:gd name="connsiteX407" fmla="*/ 80582 w 1004887"/>
                <a:gd name="connsiteY407" fmla="*/ 515588 h 1332642"/>
                <a:gd name="connsiteX408" fmla="*/ 81439 w 1004887"/>
                <a:gd name="connsiteY408" fmla="*/ 521875 h 1332642"/>
                <a:gd name="connsiteX409" fmla="*/ 89726 w 1004887"/>
                <a:gd name="connsiteY409" fmla="*/ 524065 h 1332642"/>
                <a:gd name="connsiteX410" fmla="*/ 88297 w 1004887"/>
                <a:gd name="connsiteY410" fmla="*/ 525780 h 1332642"/>
                <a:gd name="connsiteX411" fmla="*/ 83820 w 1004887"/>
                <a:gd name="connsiteY411" fmla="*/ 527971 h 1332642"/>
                <a:gd name="connsiteX412" fmla="*/ 84392 w 1004887"/>
                <a:gd name="connsiteY412" fmla="*/ 532733 h 1332642"/>
                <a:gd name="connsiteX413" fmla="*/ 90964 w 1004887"/>
                <a:gd name="connsiteY413" fmla="*/ 533495 h 1332642"/>
                <a:gd name="connsiteX414" fmla="*/ 96869 w 1004887"/>
                <a:gd name="connsiteY414" fmla="*/ 529495 h 1332642"/>
                <a:gd name="connsiteX415" fmla="*/ 104965 w 1004887"/>
                <a:gd name="connsiteY415" fmla="*/ 530066 h 1332642"/>
                <a:gd name="connsiteX416" fmla="*/ 106870 w 1004887"/>
                <a:gd name="connsiteY416" fmla="*/ 533114 h 1332642"/>
                <a:gd name="connsiteX417" fmla="*/ 105537 w 1004887"/>
                <a:gd name="connsiteY417" fmla="*/ 534829 h 1332642"/>
                <a:gd name="connsiteX418" fmla="*/ 104108 w 1004887"/>
                <a:gd name="connsiteY418" fmla="*/ 536639 h 1332642"/>
                <a:gd name="connsiteX419" fmla="*/ 108299 w 1004887"/>
                <a:gd name="connsiteY419" fmla="*/ 544068 h 1332642"/>
                <a:gd name="connsiteX420" fmla="*/ 108585 w 1004887"/>
                <a:gd name="connsiteY420" fmla="*/ 558546 h 1332642"/>
                <a:gd name="connsiteX421" fmla="*/ 118205 w 1004887"/>
                <a:gd name="connsiteY421" fmla="*/ 571690 h 1332642"/>
                <a:gd name="connsiteX422" fmla="*/ 114110 w 1004887"/>
                <a:gd name="connsiteY422" fmla="*/ 589883 h 1332642"/>
                <a:gd name="connsiteX423" fmla="*/ 115729 w 1004887"/>
                <a:gd name="connsiteY423" fmla="*/ 602456 h 1332642"/>
                <a:gd name="connsiteX424" fmla="*/ 119348 w 1004887"/>
                <a:gd name="connsiteY424" fmla="*/ 605219 h 1332642"/>
                <a:gd name="connsiteX425" fmla="*/ 121920 w 1004887"/>
                <a:gd name="connsiteY425" fmla="*/ 612934 h 1332642"/>
                <a:gd name="connsiteX426" fmla="*/ 126016 w 1004887"/>
                <a:gd name="connsiteY426" fmla="*/ 620458 h 1332642"/>
                <a:gd name="connsiteX427" fmla="*/ 129445 w 1004887"/>
                <a:gd name="connsiteY427" fmla="*/ 621602 h 1332642"/>
                <a:gd name="connsiteX428" fmla="*/ 125254 w 1004887"/>
                <a:gd name="connsiteY428" fmla="*/ 626936 h 1332642"/>
                <a:gd name="connsiteX429" fmla="*/ 135922 w 1004887"/>
                <a:gd name="connsiteY429" fmla="*/ 635222 h 1332642"/>
                <a:gd name="connsiteX430" fmla="*/ 140875 w 1004887"/>
                <a:gd name="connsiteY430" fmla="*/ 636175 h 1332642"/>
                <a:gd name="connsiteX431" fmla="*/ 142875 w 1004887"/>
                <a:gd name="connsiteY431" fmla="*/ 639128 h 1332642"/>
                <a:gd name="connsiteX432" fmla="*/ 145828 w 1004887"/>
                <a:gd name="connsiteY432" fmla="*/ 637127 h 1332642"/>
                <a:gd name="connsiteX433" fmla="*/ 147828 w 1004887"/>
                <a:gd name="connsiteY433" fmla="*/ 640080 h 1332642"/>
                <a:gd name="connsiteX434" fmla="*/ 152495 w 1004887"/>
                <a:gd name="connsiteY434" fmla="*/ 639508 h 1332642"/>
                <a:gd name="connsiteX435" fmla="*/ 153734 w 1004887"/>
                <a:gd name="connsiteY435" fmla="*/ 636175 h 1332642"/>
                <a:gd name="connsiteX436" fmla="*/ 158210 w 1004887"/>
                <a:gd name="connsiteY436" fmla="*/ 633984 h 1332642"/>
                <a:gd name="connsiteX437" fmla="*/ 162973 w 1004887"/>
                <a:gd name="connsiteY437" fmla="*/ 646176 h 1332642"/>
                <a:gd name="connsiteX438" fmla="*/ 162020 w 1004887"/>
                <a:gd name="connsiteY438" fmla="*/ 651129 h 1332642"/>
                <a:gd name="connsiteX439" fmla="*/ 161639 w 1004887"/>
                <a:gd name="connsiteY439" fmla="*/ 660845 h 1332642"/>
                <a:gd name="connsiteX440" fmla="*/ 159544 w 1004887"/>
                <a:gd name="connsiteY440" fmla="*/ 669131 h 1332642"/>
                <a:gd name="connsiteX441" fmla="*/ 162306 w 1004887"/>
                <a:gd name="connsiteY441" fmla="*/ 678370 h 1332642"/>
                <a:gd name="connsiteX442" fmla="*/ 161735 w 1004887"/>
                <a:gd name="connsiteY442" fmla="*/ 686467 h 1332642"/>
                <a:gd name="connsiteX443" fmla="*/ 153638 w 1004887"/>
                <a:gd name="connsiteY443" fmla="*/ 698754 h 1332642"/>
                <a:gd name="connsiteX444" fmla="*/ 156782 w 1004887"/>
                <a:gd name="connsiteY444" fmla="*/ 698278 h 1332642"/>
                <a:gd name="connsiteX445" fmla="*/ 161163 w 1004887"/>
                <a:gd name="connsiteY445" fmla="*/ 707327 h 1332642"/>
                <a:gd name="connsiteX446" fmla="*/ 164497 w 1004887"/>
                <a:gd name="connsiteY446" fmla="*/ 708565 h 1332642"/>
                <a:gd name="connsiteX447" fmla="*/ 170116 w 1004887"/>
                <a:gd name="connsiteY447" fmla="*/ 727043 h 1332642"/>
                <a:gd name="connsiteX448" fmla="*/ 168974 w 1004887"/>
                <a:gd name="connsiteY448" fmla="*/ 730472 h 1332642"/>
                <a:gd name="connsiteX449" fmla="*/ 170307 w 1004887"/>
                <a:gd name="connsiteY449" fmla="*/ 741521 h 1332642"/>
                <a:gd name="connsiteX450" fmla="*/ 167831 w 1004887"/>
                <a:gd name="connsiteY450" fmla="*/ 746665 h 1332642"/>
                <a:gd name="connsiteX451" fmla="*/ 185166 w 1004887"/>
                <a:gd name="connsiteY451" fmla="*/ 757237 h 1332642"/>
                <a:gd name="connsiteX452" fmla="*/ 206312 w 1004887"/>
                <a:gd name="connsiteY452" fmla="*/ 759333 h 1332642"/>
                <a:gd name="connsiteX453" fmla="*/ 209455 w 1004887"/>
                <a:gd name="connsiteY453" fmla="*/ 771811 h 1332642"/>
                <a:gd name="connsiteX454" fmla="*/ 222885 w 1004887"/>
                <a:gd name="connsiteY454" fmla="*/ 776478 h 1332642"/>
                <a:gd name="connsiteX455" fmla="*/ 239744 w 1004887"/>
                <a:gd name="connsiteY455" fmla="*/ 795147 h 1332642"/>
                <a:gd name="connsiteX456" fmla="*/ 241554 w 1004887"/>
                <a:gd name="connsiteY456" fmla="*/ 809435 h 1332642"/>
                <a:gd name="connsiteX457" fmla="*/ 239363 w 1004887"/>
                <a:gd name="connsiteY457" fmla="*/ 817721 h 1332642"/>
                <a:gd name="connsiteX458" fmla="*/ 245745 w 1004887"/>
                <a:gd name="connsiteY458" fmla="*/ 829723 h 1332642"/>
                <a:gd name="connsiteX459" fmla="*/ 252413 w 1004887"/>
                <a:gd name="connsiteY459" fmla="*/ 832009 h 1332642"/>
                <a:gd name="connsiteX460" fmla="*/ 254603 w 1004887"/>
                <a:gd name="connsiteY460" fmla="*/ 836581 h 1332642"/>
                <a:gd name="connsiteX461" fmla="*/ 252698 w 1004887"/>
                <a:gd name="connsiteY461" fmla="*/ 846487 h 1332642"/>
                <a:gd name="connsiteX462" fmla="*/ 253079 w 1004887"/>
                <a:gd name="connsiteY462" fmla="*/ 849630 h 1332642"/>
                <a:gd name="connsiteX463" fmla="*/ 256413 w 1004887"/>
                <a:gd name="connsiteY463" fmla="*/ 850773 h 1332642"/>
                <a:gd name="connsiteX464" fmla="*/ 266700 w 1004887"/>
                <a:gd name="connsiteY464" fmla="*/ 855916 h 1332642"/>
                <a:gd name="connsiteX465" fmla="*/ 276797 w 1004887"/>
                <a:gd name="connsiteY465" fmla="*/ 859441 h 1332642"/>
                <a:gd name="connsiteX466" fmla="*/ 294323 w 1004887"/>
                <a:gd name="connsiteY466" fmla="*/ 858774 h 1332642"/>
                <a:gd name="connsiteX467" fmla="*/ 299085 w 1004887"/>
                <a:gd name="connsiteY467" fmla="*/ 858203 h 1332642"/>
                <a:gd name="connsiteX468" fmla="*/ 300419 w 1004887"/>
                <a:gd name="connsiteY468" fmla="*/ 856393 h 1332642"/>
                <a:gd name="connsiteX469" fmla="*/ 302038 w 1004887"/>
                <a:gd name="connsiteY469" fmla="*/ 856202 h 1332642"/>
                <a:gd name="connsiteX470" fmla="*/ 306229 w 1004887"/>
                <a:gd name="connsiteY470" fmla="*/ 863727 h 1332642"/>
                <a:gd name="connsiteX471" fmla="*/ 310706 w 1004887"/>
                <a:gd name="connsiteY471" fmla="*/ 861536 h 1332642"/>
                <a:gd name="connsiteX472" fmla="*/ 321374 w 1004887"/>
                <a:gd name="connsiteY472" fmla="*/ 869823 h 1332642"/>
                <a:gd name="connsiteX473" fmla="*/ 329660 w 1004887"/>
                <a:gd name="connsiteY473" fmla="*/ 871919 h 1332642"/>
                <a:gd name="connsiteX474" fmla="*/ 328517 w 1004887"/>
                <a:gd name="connsiteY474" fmla="*/ 862489 h 1332642"/>
                <a:gd name="connsiteX475" fmla="*/ 326136 w 1004887"/>
                <a:gd name="connsiteY475" fmla="*/ 856393 h 1332642"/>
                <a:gd name="connsiteX476" fmla="*/ 325279 w 1004887"/>
                <a:gd name="connsiteY476" fmla="*/ 850011 h 1332642"/>
                <a:gd name="connsiteX477" fmla="*/ 341662 w 1004887"/>
                <a:gd name="connsiteY477" fmla="*/ 852773 h 1332642"/>
                <a:gd name="connsiteX478" fmla="*/ 348615 w 1004887"/>
                <a:gd name="connsiteY478" fmla="*/ 856678 h 1332642"/>
                <a:gd name="connsiteX479" fmla="*/ 352139 w 1004887"/>
                <a:gd name="connsiteY479" fmla="*/ 859441 h 1332642"/>
                <a:gd name="connsiteX480" fmla="*/ 359855 w 1004887"/>
                <a:gd name="connsiteY480" fmla="*/ 856869 h 1332642"/>
                <a:gd name="connsiteX481" fmla="*/ 366808 w 1004887"/>
                <a:gd name="connsiteY481" fmla="*/ 860774 h 1332642"/>
                <a:gd name="connsiteX482" fmla="*/ 371475 w 1004887"/>
                <a:gd name="connsiteY482" fmla="*/ 860203 h 1332642"/>
                <a:gd name="connsiteX483" fmla="*/ 374809 w 1004887"/>
                <a:gd name="connsiteY483" fmla="*/ 861346 h 1332642"/>
                <a:gd name="connsiteX484" fmla="*/ 380429 w 1004887"/>
                <a:gd name="connsiteY484" fmla="*/ 867061 h 1332642"/>
                <a:gd name="connsiteX485" fmla="*/ 383572 w 1004887"/>
                <a:gd name="connsiteY485" fmla="*/ 866680 h 1332642"/>
                <a:gd name="connsiteX486" fmla="*/ 390430 w 1004887"/>
                <a:gd name="connsiteY486" fmla="*/ 870585 h 1332642"/>
                <a:gd name="connsiteX487" fmla="*/ 400145 w 1004887"/>
                <a:gd name="connsiteY487" fmla="*/ 883825 h 1332642"/>
                <a:gd name="connsiteX488" fmla="*/ 404336 w 1004887"/>
                <a:gd name="connsiteY488" fmla="*/ 891254 h 1332642"/>
                <a:gd name="connsiteX489" fmla="*/ 411671 w 1004887"/>
                <a:gd name="connsiteY489" fmla="*/ 898398 h 1332642"/>
                <a:gd name="connsiteX490" fmla="*/ 414052 w 1004887"/>
                <a:gd name="connsiteY490" fmla="*/ 904494 h 1332642"/>
                <a:gd name="connsiteX491" fmla="*/ 428816 w 1004887"/>
                <a:gd name="connsiteY491" fmla="*/ 907447 h 1332642"/>
                <a:gd name="connsiteX492" fmla="*/ 429673 w 1004887"/>
                <a:gd name="connsiteY492" fmla="*/ 926592 h 1332642"/>
                <a:gd name="connsiteX493" fmla="*/ 428339 w 1004887"/>
                <a:gd name="connsiteY493" fmla="*/ 928307 h 1332642"/>
                <a:gd name="connsiteX494" fmla="*/ 425958 w 1004887"/>
                <a:gd name="connsiteY494" fmla="*/ 935069 h 1332642"/>
                <a:gd name="connsiteX495" fmla="*/ 431292 w 1004887"/>
                <a:gd name="connsiteY495" fmla="*/ 952024 h 1332642"/>
                <a:gd name="connsiteX496" fmla="*/ 445960 w 1004887"/>
                <a:gd name="connsiteY496" fmla="*/ 953357 h 1332642"/>
                <a:gd name="connsiteX497" fmla="*/ 447866 w 1004887"/>
                <a:gd name="connsiteY497" fmla="*/ 956310 h 1332642"/>
                <a:gd name="connsiteX498" fmla="*/ 446913 w 1004887"/>
                <a:gd name="connsiteY498" fmla="*/ 961263 h 1332642"/>
                <a:gd name="connsiteX499" fmla="*/ 449294 w 1004887"/>
                <a:gd name="connsiteY499" fmla="*/ 967359 h 1332642"/>
                <a:gd name="connsiteX500" fmla="*/ 454438 w 1004887"/>
                <a:gd name="connsiteY500" fmla="*/ 969931 h 1332642"/>
                <a:gd name="connsiteX501" fmla="*/ 458152 w 1004887"/>
                <a:gd name="connsiteY501" fmla="*/ 974217 h 1332642"/>
                <a:gd name="connsiteX502" fmla="*/ 464534 w 1004887"/>
                <a:gd name="connsiteY502" fmla="*/ 973455 h 1332642"/>
                <a:gd name="connsiteX503" fmla="*/ 466725 w 1004887"/>
                <a:gd name="connsiteY503" fmla="*/ 977932 h 1332642"/>
                <a:gd name="connsiteX504" fmla="*/ 469106 w 1004887"/>
                <a:gd name="connsiteY504" fmla="*/ 984028 h 1332642"/>
                <a:gd name="connsiteX505" fmla="*/ 467106 w 1004887"/>
                <a:gd name="connsiteY505" fmla="*/ 993934 h 1332642"/>
                <a:gd name="connsiteX506" fmla="*/ 486537 w 1004887"/>
                <a:gd name="connsiteY506" fmla="*/ 1007555 h 1332642"/>
                <a:gd name="connsiteX507" fmla="*/ 485966 w 1004887"/>
                <a:gd name="connsiteY507" fmla="*/ 1015651 h 1332642"/>
                <a:gd name="connsiteX508" fmla="*/ 483394 w 1004887"/>
                <a:gd name="connsiteY508" fmla="*/ 1020699 h 1332642"/>
                <a:gd name="connsiteX509" fmla="*/ 483775 w 1004887"/>
                <a:gd name="connsiteY509" fmla="*/ 1023937 h 1332642"/>
                <a:gd name="connsiteX510" fmla="*/ 492824 w 1004887"/>
                <a:gd name="connsiteY510" fmla="*/ 1032320 h 1332642"/>
                <a:gd name="connsiteX511" fmla="*/ 497586 w 1004887"/>
                <a:gd name="connsiteY511" fmla="*/ 1031748 h 1332642"/>
                <a:gd name="connsiteX512" fmla="*/ 503301 w 1004887"/>
                <a:gd name="connsiteY512" fmla="*/ 1039082 h 1332642"/>
                <a:gd name="connsiteX513" fmla="*/ 505111 w 1004887"/>
                <a:gd name="connsiteY513" fmla="*/ 1040416 h 1332642"/>
                <a:gd name="connsiteX514" fmla="*/ 509302 w 1004887"/>
                <a:gd name="connsiteY514" fmla="*/ 1047940 h 1332642"/>
                <a:gd name="connsiteX515" fmla="*/ 520351 w 1004887"/>
                <a:gd name="connsiteY515" fmla="*/ 1059371 h 1332642"/>
                <a:gd name="connsiteX516" fmla="*/ 526828 w 1004887"/>
                <a:gd name="connsiteY516" fmla="*/ 1060133 h 1332642"/>
                <a:gd name="connsiteX517" fmla="*/ 528828 w 1004887"/>
                <a:gd name="connsiteY517" fmla="*/ 1063085 h 1332642"/>
                <a:gd name="connsiteX518" fmla="*/ 530066 w 1004887"/>
                <a:gd name="connsiteY518" fmla="*/ 1072515 h 1332642"/>
                <a:gd name="connsiteX519" fmla="*/ 524732 w 1004887"/>
                <a:gd name="connsiteY519" fmla="*/ 1094041 h 1332642"/>
                <a:gd name="connsiteX520" fmla="*/ 534257 w 1004887"/>
                <a:gd name="connsiteY520" fmla="*/ 1105662 h 1332642"/>
                <a:gd name="connsiteX521" fmla="*/ 550450 w 1004887"/>
                <a:gd name="connsiteY521" fmla="*/ 1119664 h 1332642"/>
                <a:gd name="connsiteX522" fmla="*/ 571024 w 1004887"/>
                <a:gd name="connsiteY522" fmla="*/ 1129856 h 1332642"/>
                <a:gd name="connsiteX523" fmla="*/ 587978 w 1004887"/>
                <a:gd name="connsiteY523" fmla="*/ 1124522 h 1332642"/>
                <a:gd name="connsiteX524" fmla="*/ 603790 w 1004887"/>
                <a:gd name="connsiteY524" fmla="*/ 1122426 h 1332642"/>
                <a:gd name="connsiteX525" fmla="*/ 608933 w 1004887"/>
                <a:gd name="connsiteY525" fmla="*/ 1124998 h 1332642"/>
                <a:gd name="connsiteX526" fmla="*/ 623792 w 1004887"/>
                <a:gd name="connsiteY526" fmla="*/ 1140809 h 1332642"/>
                <a:gd name="connsiteX527" fmla="*/ 628841 w 1004887"/>
                <a:gd name="connsiteY527" fmla="*/ 1143286 h 1332642"/>
                <a:gd name="connsiteX528" fmla="*/ 634270 w 1004887"/>
                <a:gd name="connsiteY528" fmla="*/ 1147477 h 1332642"/>
                <a:gd name="connsiteX529" fmla="*/ 634841 w 1004887"/>
                <a:gd name="connsiteY529" fmla="*/ 1152239 h 1332642"/>
                <a:gd name="connsiteX530" fmla="*/ 641509 w 1004887"/>
                <a:gd name="connsiteY530" fmla="*/ 1154525 h 1332642"/>
                <a:gd name="connsiteX531" fmla="*/ 647319 w 1004887"/>
                <a:gd name="connsiteY531" fmla="*/ 1161860 h 1332642"/>
                <a:gd name="connsiteX532" fmla="*/ 649891 w 1004887"/>
                <a:gd name="connsiteY532" fmla="*/ 1169480 h 1332642"/>
                <a:gd name="connsiteX533" fmla="*/ 655225 w 1004887"/>
                <a:gd name="connsiteY533" fmla="*/ 1173671 h 1332642"/>
                <a:gd name="connsiteX534" fmla="*/ 661130 w 1004887"/>
                <a:gd name="connsiteY534" fmla="*/ 1182529 h 1332642"/>
                <a:gd name="connsiteX535" fmla="*/ 662940 w 1004887"/>
                <a:gd name="connsiteY535" fmla="*/ 1183862 h 1332642"/>
                <a:gd name="connsiteX536" fmla="*/ 666464 w 1004887"/>
                <a:gd name="connsiteY536" fmla="*/ 1186625 h 1332642"/>
                <a:gd name="connsiteX537" fmla="*/ 671227 w 1004887"/>
                <a:gd name="connsiteY537" fmla="*/ 1198912 h 1332642"/>
                <a:gd name="connsiteX538" fmla="*/ 675989 w 1004887"/>
                <a:gd name="connsiteY538" fmla="*/ 1198245 h 1332642"/>
                <a:gd name="connsiteX539" fmla="*/ 676561 w 1004887"/>
                <a:gd name="connsiteY539" fmla="*/ 1203008 h 1332642"/>
                <a:gd name="connsiteX540" fmla="*/ 681323 w 1004887"/>
                <a:gd name="connsiteY540" fmla="*/ 1202436 h 1332642"/>
                <a:gd name="connsiteX541" fmla="*/ 684848 w 1004887"/>
                <a:gd name="connsiteY541" fmla="*/ 1205198 h 1332642"/>
                <a:gd name="connsiteX542" fmla="*/ 684086 w 1004887"/>
                <a:gd name="connsiteY542" fmla="*/ 1211675 h 1332642"/>
                <a:gd name="connsiteX543" fmla="*/ 681323 w 1004887"/>
                <a:gd name="connsiteY543" fmla="*/ 1215200 h 1332642"/>
                <a:gd name="connsiteX544" fmla="*/ 681323 w 1004887"/>
                <a:gd name="connsiteY544" fmla="*/ 1215200 h 1332642"/>
                <a:gd name="connsiteX545" fmla="*/ 685324 w 1004887"/>
                <a:gd name="connsiteY545" fmla="*/ 1221105 h 1332642"/>
                <a:gd name="connsiteX546" fmla="*/ 690467 w 1004887"/>
                <a:gd name="connsiteY546" fmla="*/ 1236536 h 1332642"/>
                <a:gd name="connsiteX547" fmla="*/ 687705 w 1004887"/>
                <a:gd name="connsiteY547" fmla="*/ 1240060 h 1332642"/>
                <a:gd name="connsiteX548" fmla="*/ 685610 w 1004887"/>
                <a:gd name="connsiteY548" fmla="*/ 1248347 h 1332642"/>
                <a:gd name="connsiteX549" fmla="*/ 691706 w 1004887"/>
                <a:gd name="connsiteY549" fmla="*/ 1258824 h 1332642"/>
                <a:gd name="connsiteX550" fmla="*/ 691896 w 1004887"/>
                <a:gd name="connsiteY550" fmla="*/ 1260348 h 1332642"/>
                <a:gd name="connsiteX551" fmla="*/ 688181 w 1004887"/>
                <a:gd name="connsiteY551" fmla="*/ 1268921 h 1332642"/>
                <a:gd name="connsiteX552" fmla="*/ 686276 w 1004887"/>
                <a:gd name="connsiteY552" fmla="*/ 1278731 h 1332642"/>
                <a:gd name="connsiteX553" fmla="*/ 703802 w 1004887"/>
                <a:gd name="connsiteY553" fmla="*/ 1290923 h 1332642"/>
                <a:gd name="connsiteX554" fmla="*/ 704469 w 1004887"/>
                <a:gd name="connsiteY554" fmla="*/ 1295686 h 1332642"/>
                <a:gd name="connsiteX555" fmla="*/ 709327 w 1004887"/>
                <a:gd name="connsiteY555" fmla="*/ 1296638 h 1332642"/>
                <a:gd name="connsiteX556" fmla="*/ 716661 w 1004887"/>
                <a:gd name="connsiteY556" fmla="*/ 1303687 h 1332642"/>
                <a:gd name="connsiteX557" fmla="*/ 728567 w 1004887"/>
                <a:gd name="connsiteY557" fmla="*/ 1308640 h 1332642"/>
                <a:gd name="connsiteX558" fmla="*/ 734282 w 1004887"/>
                <a:gd name="connsiteY558" fmla="*/ 1315974 h 1332642"/>
                <a:gd name="connsiteX559" fmla="*/ 744569 w 1004887"/>
                <a:gd name="connsiteY559" fmla="*/ 1321022 h 1332642"/>
                <a:gd name="connsiteX560" fmla="*/ 745141 w 1004887"/>
                <a:gd name="connsiteY560" fmla="*/ 1325785 h 1332642"/>
                <a:gd name="connsiteX561" fmla="*/ 753999 w 1004887"/>
                <a:gd name="connsiteY561" fmla="*/ 1332643 h 1332642"/>
                <a:gd name="connsiteX562" fmla="*/ 761905 w 1004887"/>
                <a:gd name="connsiteY562" fmla="*/ 1331690 h 1332642"/>
                <a:gd name="connsiteX563" fmla="*/ 760857 w 1004887"/>
                <a:gd name="connsiteY563" fmla="*/ 1310926 h 1332642"/>
                <a:gd name="connsiteX564" fmla="*/ 762857 w 1004887"/>
                <a:gd name="connsiteY564" fmla="*/ 1301020 h 1332642"/>
                <a:gd name="connsiteX565" fmla="*/ 767810 w 1004887"/>
                <a:gd name="connsiteY565" fmla="*/ 1302068 h 1332642"/>
                <a:gd name="connsiteX566" fmla="*/ 775049 w 1004887"/>
                <a:gd name="connsiteY566" fmla="*/ 1296257 h 1332642"/>
                <a:gd name="connsiteX567" fmla="*/ 779812 w 1004887"/>
                <a:gd name="connsiteY567" fmla="*/ 1295686 h 1332642"/>
                <a:gd name="connsiteX568" fmla="*/ 788861 w 1004887"/>
                <a:gd name="connsiteY568" fmla="*/ 1304163 h 1332642"/>
                <a:gd name="connsiteX569" fmla="*/ 793623 w 1004887"/>
                <a:gd name="connsiteY569" fmla="*/ 1303591 h 1332642"/>
                <a:gd name="connsiteX570" fmla="*/ 792671 w 1004887"/>
                <a:gd name="connsiteY570" fmla="*/ 1295686 h 1332642"/>
                <a:gd name="connsiteX571" fmla="*/ 793623 w 1004887"/>
                <a:gd name="connsiteY571" fmla="*/ 1290733 h 1332642"/>
                <a:gd name="connsiteX572" fmla="*/ 786860 w 1004887"/>
                <a:gd name="connsiteY572" fmla="*/ 1288352 h 1332642"/>
                <a:gd name="connsiteX573" fmla="*/ 782955 w 1004887"/>
                <a:gd name="connsiteY573" fmla="*/ 1282446 h 1332642"/>
                <a:gd name="connsiteX574" fmla="*/ 785051 w 1004887"/>
                <a:gd name="connsiteY574" fmla="*/ 1274159 h 1332642"/>
                <a:gd name="connsiteX575" fmla="*/ 784479 w 1004887"/>
                <a:gd name="connsiteY575" fmla="*/ 1269397 h 1332642"/>
                <a:gd name="connsiteX576" fmla="*/ 789813 w 1004887"/>
                <a:gd name="connsiteY576" fmla="*/ 1260729 h 1332642"/>
                <a:gd name="connsiteX577" fmla="*/ 789146 w 1004887"/>
                <a:gd name="connsiteY577" fmla="*/ 1255966 h 1332642"/>
                <a:gd name="connsiteX578" fmla="*/ 790004 w 1004887"/>
                <a:gd name="connsiteY578" fmla="*/ 1249490 h 1332642"/>
                <a:gd name="connsiteX579" fmla="*/ 788003 w 1004887"/>
                <a:gd name="connsiteY579" fmla="*/ 1246537 h 1332642"/>
                <a:gd name="connsiteX580" fmla="*/ 796195 w 1004887"/>
                <a:gd name="connsiteY580" fmla="*/ 1235869 h 1332642"/>
                <a:gd name="connsiteX581" fmla="*/ 798005 w 1004887"/>
                <a:gd name="connsiteY581" fmla="*/ 1224439 h 1332642"/>
                <a:gd name="connsiteX582" fmla="*/ 807625 w 1004887"/>
                <a:gd name="connsiteY582" fmla="*/ 1211961 h 1332642"/>
                <a:gd name="connsiteX583" fmla="*/ 807244 w 1004887"/>
                <a:gd name="connsiteY583" fmla="*/ 1208818 h 1332642"/>
                <a:gd name="connsiteX584" fmla="*/ 808768 w 1004887"/>
                <a:gd name="connsiteY584" fmla="*/ 1208627 h 1332642"/>
                <a:gd name="connsiteX585" fmla="*/ 810768 w 1004887"/>
                <a:gd name="connsiteY585" fmla="*/ 1211580 h 1332642"/>
                <a:gd name="connsiteX586" fmla="*/ 814102 w 1004887"/>
                <a:gd name="connsiteY586" fmla="*/ 1212723 h 1332642"/>
                <a:gd name="connsiteX587" fmla="*/ 817912 w 1004887"/>
                <a:gd name="connsiteY587" fmla="*/ 1217105 h 1332642"/>
                <a:gd name="connsiteX588" fmla="*/ 830675 w 1004887"/>
                <a:gd name="connsiteY588" fmla="*/ 1204246 h 1332642"/>
                <a:gd name="connsiteX589" fmla="*/ 832866 w 1004887"/>
                <a:gd name="connsiteY589" fmla="*/ 1195959 h 1332642"/>
                <a:gd name="connsiteX590" fmla="*/ 834009 w 1004887"/>
                <a:gd name="connsiteY590" fmla="*/ 1192530 h 1332642"/>
                <a:gd name="connsiteX591" fmla="*/ 833247 w 1004887"/>
                <a:gd name="connsiteY591" fmla="*/ 1186244 h 1332642"/>
                <a:gd name="connsiteX592" fmla="*/ 825341 w 1004887"/>
                <a:gd name="connsiteY592" fmla="*/ 1174433 h 1332642"/>
                <a:gd name="connsiteX593" fmla="*/ 827437 w 1004887"/>
                <a:gd name="connsiteY593" fmla="*/ 1166146 h 1332642"/>
                <a:gd name="connsiteX594" fmla="*/ 825437 w 1004887"/>
                <a:gd name="connsiteY594" fmla="*/ 1163193 h 1332642"/>
                <a:gd name="connsiteX595" fmla="*/ 818388 w 1004887"/>
                <a:gd name="connsiteY595" fmla="*/ 1157669 h 1332642"/>
                <a:gd name="connsiteX596" fmla="*/ 815531 w 1004887"/>
                <a:gd name="connsiteY596" fmla="*/ 1148429 h 1332642"/>
                <a:gd name="connsiteX597" fmla="*/ 815340 w 1004887"/>
                <a:gd name="connsiteY597" fmla="*/ 1146810 h 1332642"/>
                <a:gd name="connsiteX598" fmla="*/ 826199 w 1004887"/>
                <a:gd name="connsiteY598" fmla="*/ 1143857 h 1332642"/>
                <a:gd name="connsiteX599" fmla="*/ 827342 w 1004887"/>
                <a:gd name="connsiteY599" fmla="*/ 1140524 h 1332642"/>
                <a:gd name="connsiteX600" fmla="*/ 825818 w 1004887"/>
                <a:gd name="connsiteY600" fmla="*/ 1127855 h 1332642"/>
                <a:gd name="connsiteX601" fmla="*/ 822389 w 1004887"/>
                <a:gd name="connsiteY601" fmla="*/ 1126712 h 1332642"/>
                <a:gd name="connsiteX602" fmla="*/ 823436 w 1004887"/>
                <a:gd name="connsiteY602" fmla="*/ 1121759 h 1332642"/>
                <a:gd name="connsiteX603" fmla="*/ 824579 w 1004887"/>
                <a:gd name="connsiteY603" fmla="*/ 1118426 h 1332642"/>
                <a:gd name="connsiteX604" fmla="*/ 824389 w 1004887"/>
                <a:gd name="connsiteY604" fmla="*/ 1116806 h 1332642"/>
                <a:gd name="connsiteX605" fmla="*/ 826675 w 1004887"/>
                <a:gd name="connsiteY605" fmla="*/ 1110139 h 1332642"/>
                <a:gd name="connsiteX606" fmla="*/ 829723 w 1004887"/>
                <a:gd name="connsiteY606" fmla="*/ 1108139 h 1332642"/>
                <a:gd name="connsiteX607" fmla="*/ 831056 w 1004887"/>
                <a:gd name="connsiteY607" fmla="*/ 1106329 h 1332642"/>
                <a:gd name="connsiteX608" fmla="*/ 829056 w 1004887"/>
                <a:gd name="connsiteY608" fmla="*/ 1103376 h 1332642"/>
                <a:gd name="connsiteX609" fmla="*/ 822389 w 1004887"/>
                <a:gd name="connsiteY609" fmla="*/ 1100995 h 1332642"/>
                <a:gd name="connsiteX610" fmla="*/ 822198 w 1004887"/>
                <a:gd name="connsiteY610" fmla="*/ 1099471 h 1332642"/>
                <a:gd name="connsiteX611" fmla="*/ 823532 w 1004887"/>
                <a:gd name="connsiteY611" fmla="*/ 1097661 h 1332642"/>
                <a:gd name="connsiteX612" fmla="*/ 836581 w 1004887"/>
                <a:gd name="connsiteY612" fmla="*/ 1099185 h 1332642"/>
                <a:gd name="connsiteX613" fmla="*/ 836771 w 1004887"/>
                <a:gd name="connsiteY613" fmla="*/ 1100804 h 1332642"/>
                <a:gd name="connsiteX614" fmla="*/ 833819 w 1004887"/>
                <a:gd name="connsiteY614" fmla="*/ 1102805 h 1332642"/>
                <a:gd name="connsiteX615" fmla="*/ 842296 w 1004887"/>
                <a:gd name="connsiteY615" fmla="*/ 1106519 h 1332642"/>
                <a:gd name="connsiteX616" fmla="*/ 847058 w 1004887"/>
                <a:gd name="connsiteY616" fmla="*/ 1105948 h 1332642"/>
                <a:gd name="connsiteX617" fmla="*/ 849059 w 1004887"/>
                <a:gd name="connsiteY617" fmla="*/ 1108901 h 1332642"/>
                <a:gd name="connsiteX618" fmla="*/ 850964 w 1004887"/>
                <a:gd name="connsiteY618" fmla="*/ 1111853 h 1332642"/>
                <a:gd name="connsiteX619" fmla="*/ 861060 w 1004887"/>
                <a:gd name="connsiteY619" fmla="*/ 1102519 h 1332642"/>
                <a:gd name="connsiteX620" fmla="*/ 862013 w 1004887"/>
                <a:gd name="connsiteY620" fmla="*/ 1097566 h 1332642"/>
                <a:gd name="connsiteX621" fmla="*/ 866966 w 1004887"/>
                <a:gd name="connsiteY621" fmla="*/ 1098518 h 1332642"/>
                <a:gd name="connsiteX622" fmla="*/ 869918 w 1004887"/>
                <a:gd name="connsiteY622" fmla="*/ 1096613 h 1332642"/>
                <a:gd name="connsiteX623" fmla="*/ 869537 w 1004887"/>
                <a:gd name="connsiteY623" fmla="*/ 1093470 h 1332642"/>
                <a:gd name="connsiteX624" fmla="*/ 872490 w 1004887"/>
                <a:gd name="connsiteY624" fmla="*/ 1091470 h 1332642"/>
                <a:gd name="connsiteX625" fmla="*/ 871823 w 1004887"/>
                <a:gd name="connsiteY625" fmla="*/ 1086707 h 1332642"/>
                <a:gd name="connsiteX626" fmla="*/ 879920 w 1004887"/>
                <a:gd name="connsiteY626" fmla="*/ 1087279 h 1332642"/>
                <a:gd name="connsiteX627" fmla="*/ 884301 w 1004887"/>
                <a:gd name="connsiteY627" fmla="*/ 1083564 h 1332642"/>
                <a:gd name="connsiteX628" fmla="*/ 886016 w 1004887"/>
                <a:gd name="connsiteY628" fmla="*/ 1084898 h 1332642"/>
                <a:gd name="connsiteX629" fmla="*/ 888778 w 1004887"/>
                <a:gd name="connsiteY629" fmla="*/ 1081373 h 1332642"/>
                <a:gd name="connsiteX630" fmla="*/ 892397 w 1004887"/>
                <a:gd name="connsiteY630" fmla="*/ 1084136 h 1332642"/>
                <a:gd name="connsiteX631" fmla="*/ 893921 w 1004887"/>
                <a:gd name="connsiteY631" fmla="*/ 1083850 h 1332642"/>
                <a:gd name="connsiteX632" fmla="*/ 894588 w 1004887"/>
                <a:gd name="connsiteY632" fmla="*/ 1088612 h 1332642"/>
                <a:gd name="connsiteX633" fmla="*/ 895731 w 1004887"/>
                <a:gd name="connsiteY633" fmla="*/ 1085279 h 1332642"/>
                <a:gd name="connsiteX634" fmla="*/ 898493 w 1004887"/>
                <a:gd name="connsiteY634" fmla="*/ 1081754 h 1332642"/>
                <a:gd name="connsiteX635" fmla="*/ 898303 w 1004887"/>
                <a:gd name="connsiteY635" fmla="*/ 1080135 h 1332642"/>
                <a:gd name="connsiteX636" fmla="*/ 895350 w 1004887"/>
                <a:gd name="connsiteY636" fmla="*/ 1082135 h 1332642"/>
                <a:gd name="connsiteX637" fmla="*/ 895160 w 1004887"/>
                <a:gd name="connsiteY637" fmla="*/ 1080516 h 1332642"/>
                <a:gd name="connsiteX638" fmla="*/ 893731 w 1004887"/>
                <a:gd name="connsiteY638" fmla="*/ 1082326 h 1332642"/>
                <a:gd name="connsiteX639" fmla="*/ 891731 w 1004887"/>
                <a:gd name="connsiteY639" fmla="*/ 1079373 h 1332642"/>
                <a:gd name="connsiteX640" fmla="*/ 896302 w 1004887"/>
                <a:gd name="connsiteY640" fmla="*/ 1077182 h 1332642"/>
                <a:gd name="connsiteX641" fmla="*/ 896112 w 1004887"/>
                <a:gd name="connsiteY641" fmla="*/ 1075563 h 1332642"/>
                <a:gd name="connsiteX642" fmla="*/ 895445 w 1004887"/>
                <a:gd name="connsiteY642" fmla="*/ 1058037 h 1332642"/>
                <a:gd name="connsiteX643" fmla="*/ 902303 w 1004887"/>
                <a:gd name="connsiteY643" fmla="*/ 1049179 h 1332642"/>
                <a:gd name="connsiteX644" fmla="*/ 905542 w 1004887"/>
                <a:gd name="connsiteY644" fmla="*/ 1048703 h 1332642"/>
                <a:gd name="connsiteX645" fmla="*/ 910685 w 1004887"/>
                <a:gd name="connsiteY645" fmla="*/ 1051274 h 1332642"/>
                <a:gd name="connsiteX646" fmla="*/ 914972 w 1004887"/>
                <a:gd name="connsiteY646" fmla="*/ 1047560 h 1332642"/>
                <a:gd name="connsiteX647" fmla="*/ 912400 w 1004887"/>
                <a:gd name="connsiteY647" fmla="*/ 1039844 h 1332642"/>
                <a:gd name="connsiteX648" fmla="*/ 911352 w 1004887"/>
                <a:gd name="connsiteY648" fmla="*/ 1031939 h 1332642"/>
                <a:gd name="connsiteX649" fmla="*/ 908018 w 1004887"/>
                <a:gd name="connsiteY649" fmla="*/ 1030795 h 1332642"/>
                <a:gd name="connsiteX650" fmla="*/ 909161 w 1004887"/>
                <a:gd name="connsiteY650" fmla="*/ 1027462 h 1332642"/>
                <a:gd name="connsiteX651" fmla="*/ 907637 w 1004887"/>
                <a:gd name="connsiteY651" fmla="*/ 1027652 h 1332642"/>
                <a:gd name="connsiteX652" fmla="*/ 899351 w 1004887"/>
                <a:gd name="connsiteY652" fmla="*/ 1025461 h 1332642"/>
                <a:gd name="connsiteX653" fmla="*/ 899732 w 1004887"/>
                <a:gd name="connsiteY653" fmla="*/ 1015841 h 1332642"/>
                <a:gd name="connsiteX654" fmla="*/ 896969 w 1004887"/>
                <a:gd name="connsiteY654" fmla="*/ 1019365 h 1332642"/>
                <a:gd name="connsiteX655" fmla="*/ 896112 w 1004887"/>
                <a:gd name="connsiteY655" fmla="*/ 1013079 h 1332642"/>
                <a:gd name="connsiteX656" fmla="*/ 897731 w 1004887"/>
                <a:gd name="connsiteY656" fmla="*/ 1012889 h 1332642"/>
                <a:gd name="connsiteX657" fmla="*/ 894588 w 1004887"/>
                <a:gd name="connsiteY657" fmla="*/ 1013270 h 1332642"/>
                <a:gd name="connsiteX658" fmla="*/ 893921 w 1004887"/>
                <a:gd name="connsiteY658" fmla="*/ 1008507 h 1332642"/>
                <a:gd name="connsiteX659" fmla="*/ 895350 w 1004887"/>
                <a:gd name="connsiteY659" fmla="*/ 1006697 h 1332642"/>
                <a:gd name="connsiteX660" fmla="*/ 898684 w 1004887"/>
                <a:gd name="connsiteY660" fmla="*/ 1007936 h 1332642"/>
                <a:gd name="connsiteX661" fmla="*/ 898303 w 1004887"/>
                <a:gd name="connsiteY661" fmla="*/ 1004792 h 1332642"/>
                <a:gd name="connsiteX662" fmla="*/ 896493 w 1004887"/>
                <a:gd name="connsiteY662" fmla="*/ 1003364 h 1332642"/>
                <a:gd name="connsiteX663" fmla="*/ 902208 w 1004887"/>
                <a:gd name="connsiteY663" fmla="*/ 997839 h 1332642"/>
                <a:gd name="connsiteX664" fmla="*/ 908971 w 1004887"/>
                <a:gd name="connsiteY664" fmla="*/ 1000220 h 1332642"/>
                <a:gd name="connsiteX665" fmla="*/ 908114 w 1004887"/>
                <a:gd name="connsiteY665" fmla="*/ 993839 h 1332642"/>
                <a:gd name="connsiteX666" fmla="*/ 906399 w 1004887"/>
                <a:gd name="connsiteY666" fmla="*/ 992505 h 1332642"/>
                <a:gd name="connsiteX667" fmla="*/ 907352 w 1004887"/>
                <a:gd name="connsiteY667" fmla="*/ 987552 h 1332642"/>
                <a:gd name="connsiteX668" fmla="*/ 912495 w 1004887"/>
                <a:gd name="connsiteY668" fmla="*/ 990124 h 1332642"/>
                <a:gd name="connsiteX669" fmla="*/ 912686 w 1004887"/>
                <a:gd name="connsiteY669" fmla="*/ 991743 h 1332642"/>
                <a:gd name="connsiteX670" fmla="*/ 919163 w 1004887"/>
                <a:gd name="connsiteY670" fmla="*/ 992505 h 1332642"/>
                <a:gd name="connsiteX671" fmla="*/ 920782 w 1004887"/>
                <a:gd name="connsiteY671" fmla="*/ 992315 h 1332642"/>
                <a:gd name="connsiteX672" fmla="*/ 916781 w 1004887"/>
                <a:gd name="connsiteY672" fmla="*/ 986314 h 1332642"/>
                <a:gd name="connsiteX673" fmla="*/ 916591 w 1004887"/>
                <a:gd name="connsiteY673" fmla="*/ 984790 h 1332642"/>
                <a:gd name="connsiteX674" fmla="*/ 923639 w 1004887"/>
                <a:gd name="connsiteY674" fmla="*/ 977456 h 1332642"/>
                <a:gd name="connsiteX675" fmla="*/ 926878 w 1004887"/>
                <a:gd name="connsiteY675" fmla="*/ 977074 h 1332642"/>
                <a:gd name="connsiteX676" fmla="*/ 924877 w 1004887"/>
                <a:gd name="connsiteY676" fmla="*/ 974122 h 1332642"/>
                <a:gd name="connsiteX677" fmla="*/ 921925 w 1004887"/>
                <a:gd name="connsiteY677" fmla="*/ 976122 h 1332642"/>
                <a:gd name="connsiteX678" fmla="*/ 912209 w 1004887"/>
                <a:gd name="connsiteY678" fmla="*/ 975741 h 1332642"/>
                <a:gd name="connsiteX679" fmla="*/ 910495 w 1004887"/>
                <a:gd name="connsiteY679" fmla="*/ 974312 h 1332642"/>
                <a:gd name="connsiteX680" fmla="*/ 907256 w 1004887"/>
                <a:gd name="connsiteY680" fmla="*/ 974789 h 1332642"/>
                <a:gd name="connsiteX681" fmla="*/ 904304 w 1004887"/>
                <a:gd name="connsiteY681" fmla="*/ 963930 h 1332642"/>
                <a:gd name="connsiteX682" fmla="*/ 904685 w 1004887"/>
                <a:gd name="connsiteY682" fmla="*/ 954215 h 1332642"/>
                <a:gd name="connsiteX683" fmla="*/ 901160 w 1004887"/>
                <a:gd name="connsiteY683" fmla="*/ 951452 h 1332642"/>
                <a:gd name="connsiteX684" fmla="*/ 902494 w 1004887"/>
                <a:gd name="connsiteY684" fmla="*/ 949738 h 1332642"/>
                <a:gd name="connsiteX685" fmla="*/ 909066 w 1004887"/>
                <a:gd name="connsiteY685" fmla="*/ 950500 h 1332642"/>
                <a:gd name="connsiteX686" fmla="*/ 913543 w 1004887"/>
                <a:gd name="connsiteY686" fmla="*/ 948309 h 1332642"/>
                <a:gd name="connsiteX687" fmla="*/ 917353 w 1004887"/>
                <a:gd name="connsiteY687" fmla="*/ 952595 h 1332642"/>
                <a:gd name="connsiteX688" fmla="*/ 920496 w 1004887"/>
                <a:gd name="connsiteY688" fmla="*/ 952214 h 1332642"/>
                <a:gd name="connsiteX689" fmla="*/ 923639 w 1004887"/>
                <a:gd name="connsiteY689" fmla="*/ 951833 h 1332642"/>
                <a:gd name="connsiteX690" fmla="*/ 924401 w 1004887"/>
                <a:gd name="connsiteY690" fmla="*/ 945261 h 1332642"/>
                <a:gd name="connsiteX691" fmla="*/ 927354 w 1004887"/>
                <a:gd name="connsiteY691" fmla="*/ 943356 h 1332642"/>
                <a:gd name="connsiteX692" fmla="*/ 928116 w 1004887"/>
                <a:gd name="connsiteY692" fmla="*/ 936784 h 1332642"/>
                <a:gd name="connsiteX693" fmla="*/ 924782 w 1004887"/>
                <a:gd name="connsiteY693" fmla="*/ 935641 h 1332642"/>
                <a:gd name="connsiteX694" fmla="*/ 921639 w 1004887"/>
                <a:gd name="connsiteY694" fmla="*/ 936022 h 1332642"/>
                <a:gd name="connsiteX695" fmla="*/ 917448 w 1004887"/>
                <a:gd name="connsiteY695" fmla="*/ 928497 h 1332642"/>
                <a:gd name="connsiteX696" fmla="*/ 919067 w 1004887"/>
                <a:gd name="connsiteY696" fmla="*/ 928307 h 1332642"/>
                <a:gd name="connsiteX697" fmla="*/ 922020 w 1004887"/>
                <a:gd name="connsiteY697" fmla="*/ 926402 h 1332642"/>
                <a:gd name="connsiteX698" fmla="*/ 918972 w 1004887"/>
                <a:gd name="connsiteY698" fmla="*/ 915543 h 1332642"/>
                <a:gd name="connsiteX699" fmla="*/ 927449 w 1004887"/>
                <a:gd name="connsiteY699" fmla="*/ 919258 h 1332642"/>
                <a:gd name="connsiteX700" fmla="*/ 929450 w 1004887"/>
                <a:gd name="connsiteY700" fmla="*/ 909352 h 1332642"/>
                <a:gd name="connsiteX701" fmla="*/ 934022 w 1004887"/>
                <a:gd name="connsiteY701" fmla="*/ 907161 h 1332642"/>
                <a:gd name="connsiteX702" fmla="*/ 937165 w 1004887"/>
                <a:gd name="connsiteY702" fmla="*/ 906780 h 1332642"/>
                <a:gd name="connsiteX703" fmla="*/ 938117 w 1004887"/>
                <a:gd name="connsiteY703" fmla="*/ 901827 h 1332642"/>
                <a:gd name="connsiteX704" fmla="*/ 942594 w 1004887"/>
                <a:gd name="connsiteY704" fmla="*/ 899636 h 1332642"/>
                <a:gd name="connsiteX705" fmla="*/ 950976 w 1004887"/>
                <a:gd name="connsiteY705" fmla="*/ 901827 h 1332642"/>
                <a:gd name="connsiteX706" fmla="*/ 952310 w 1004887"/>
                <a:gd name="connsiteY706" fmla="*/ 900017 h 1332642"/>
                <a:gd name="connsiteX707" fmla="*/ 953452 w 1004887"/>
                <a:gd name="connsiteY707" fmla="*/ 896683 h 1332642"/>
                <a:gd name="connsiteX708" fmla="*/ 950881 w 1004887"/>
                <a:gd name="connsiteY708" fmla="*/ 888968 h 1332642"/>
                <a:gd name="connsiteX709" fmla="*/ 954024 w 1004887"/>
                <a:gd name="connsiteY709" fmla="*/ 888587 h 1332642"/>
                <a:gd name="connsiteX710" fmla="*/ 952119 w 1004887"/>
                <a:gd name="connsiteY710" fmla="*/ 885635 h 1332642"/>
                <a:gd name="connsiteX711" fmla="*/ 954405 w 1004887"/>
                <a:gd name="connsiteY711" fmla="*/ 878967 h 1332642"/>
                <a:gd name="connsiteX712" fmla="*/ 958120 w 1004887"/>
                <a:gd name="connsiteY712" fmla="*/ 870395 h 1332642"/>
                <a:gd name="connsiteX713" fmla="*/ 966026 w 1004887"/>
                <a:gd name="connsiteY713" fmla="*/ 869442 h 1332642"/>
                <a:gd name="connsiteX714" fmla="*/ 964311 w 1004887"/>
                <a:gd name="connsiteY714" fmla="*/ 868013 h 1332642"/>
                <a:gd name="connsiteX715" fmla="*/ 963263 w 1004887"/>
                <a:gd name="connsiteY715" fmla="*/ 860203 h 1332642"/>
                <a:gd name="connsiteX716" fmla="*/ 960692 w 1004887"/>
                <a:gd name="connsiteY716" fmla="*/ 865251 h 1332642"/>
                <a:gd name="connsiteX717" fmla="*/ 958977 w 1004887"/>
                <a:gd name="connsiteY717" fmla="*/ 863918 h 1332642"/>
                <a:gd name="connsiteX718" fmla="*/ 963073 w 1004887"/>
                <a:gd name="connsiteY718" fmla="*/ 858583 h 1332642"/>
                <a:gd name="connsiteX719" fmla="*/ 964597 w 1004887"/>
                <a:gd name="connsiteY719" fmla="*/ 858393 h 1332642"/>
                <a:gd name="connsiteX720" fmla="*/ 964216 w 1004887"/>
                <a:gd name="connsiteY720" fmla="*/ 855250 h 1332642"/>
                <a:gd name="connsiteX721" fmla="*/ 967550 w 1004887"/>
                <a:gd name="connsiteY721" fmla="*/ 856393 h 1332642"/>
                <a:gd name="connsiteX722" fmla="*/ 965645 w 1004887"/>
                <a:gd name="connsiteY722" fmla="*/ 853440 h 1332642"/>
                <a:gd name="connsiteX723" fmla="*/ 966407 w 1004887"/>
                <a:gd name="connsiteY723" fmla="*/ 846963 h 1332642"/>
                <a:gd name="connsiteX724" fmla="*/ 963073 w 1004887"/>
                <a:gd name="connsiteY724" fmla="*/ 845725 h 1332642"/>
                <a:gd name="connsiteX725" fmla="*/ 964216 w 1004887"/>
                <a:gd name="connsiteY725" fmla="*/ 842391 h 1332642"/>
                <a:gd name="connsiteX726" fmla="*/ 961263 w 1004887"/>
                <a:gd name="connsiteY726" fmla="*/ 844391 h 1332642"/>
                <a:gd name="connsiteX727" fmla="*/ 957453 w 1004887"/>
                <a:gd name="connsiteY727" fmla="*/ 840010 h 1332642"/>
                <a:gd name="connsiteX728" fmla="*/ 954310 w 1004887"/>
                <a:gd name="connsiteY728" fmla="*/ 840486 h 1332642"/>
                <a:gd name="connsiteX729" fmla="*/ 954119 w 1004887"/>
                <a:gd name="connsiteY729" fmla="*/ 838867 h 1332642"/>
                <a:gd name="connsiteX730" fmla="*/ 957263 w 1004887"/>
                <a:gd name="connsiteY730" fmla="*/ 838486 h 1332642"/>
                <a:gd name="connsiteX731" fmla="*/ 953929 w 1004887"/>
                <a:gd name="connsiteY731" fmla="*/ 837343 h 1332642"/>
                <a:gd name="connsiteX732" fmla="*/ 956882 w 1004887"/>
                <a:gd name="connsiteY732" fmla="*/ 835343 h 1332642"/>
                <a:gd name="connsiteX733" fmla="*/ 954881 w 1004887"/>
                <a:gd name="connsiteY733" fmla="*/ 832390 h 1332642"/>
                <a:gd name="connsiteX734" fmla="*/ 949357 w 1004887"/>
                <a:gd name="connsiteY734" fmla="*/ 826675 h 1332642"/>
                <a:gd name="connsiteX735" fmla="*/ 950309 w 1004887"/>
                <a:gd name="connsiteY735" fmla="*/ 821722 h 1332642"/>
                <a:gd name="connsiteX736" fmla="*/ 946404 w 1004887"/>
                <a:gd name="connsiteY736" fmla="*/ 815816 h 1332642"/>
                <a:gd name="connsiteX737" fmla="*/ 947738 w 1004887"/>
                <a:gd name="connsiteY737" fmla="*/ 814007 h 1332642"/>
                <a:gd name="connsiteX738" fmla="*/ 946214 w 1004887"/>
                <a:gd name="connsiteY738" fmla="*/ 814197 h 1332642"/>
                <a:gd name="connsiteX739" fmla="*/ 947547 w 1004887"/>
                <a:gd name="connsiteY739" fmla="*/ 812482 h 1332642"/>
                <a:gd name="connsiteX740" fmla="*/ 946023 w 1004887"/>
                <a:gd name="connsiteY740" fmla="*/ 812673 h 1332642"/>
                <a:gd name="connsiteX741" fmla="*/ 945547 w 1004887"/>
                <a:gd name="connsiteY741" fmla="*/ 809530 h 1332642"/>
                <a:gd name="connsiteX742" fmla="*/ 947166 w 1004887"/>
                <a:gd name="connsiteY742" fmla="*/ 809244 h 1332642"/>
                <a:gd name="connsiteX743" fmla="*/ 951071 w 1004887"/>
                <a:gd name="connsiteY743" fmla="*/ 802386 h 1332642"/>
                <a:gd name="connsiteX744" fmla="*/ 949357 w 1004887"/>
                <a:gd name="connsiteY744" fmla="*/ 800957 h 1332642"/>
                <a:gd name="connsiteX745" fmla="*/ 948500 w 1004887"/>
                <a:gd name="connsiteY745" fmla="*/ 794671 h 1332642"/>
                <a:gd name="connsiteX746" fmla="*/ 951071 w 1004887"/>
                <a:gd name="connsiteY746" fmla="*/ 789527 h 1332642"/>
                <a:gd name="connsiteX747" fmla="*/ 949262 w 1004887"/>
                <a:gd name="connsiteY747" fmla="*/ 788194 h 1332642"/>
                <a:gd name="connsiteX748" fmla="*/ 952405 w 1004887"/>
                <a:gd name="connsiteY748" fmla="*/ 787813 h 1332642"/>
                <a:gd name="connsiteX749" fmla="*/ 956405 w 1004887"/>
                <a:gd name="connsiteY749" fmla="*/ 780860 h 1332642"/>
                <a:gd name="connsiteX750" fmla="*/ 957929 w 1004887"/>
                <a:gd name="connsiteY750" fmla="*/ 780669 h 1332642"/>
                <a:gd name="connsiteX751" fmla="*/ 956120 w 1004887"/>
                <a:gd name="connsiteY751" fmla="*/ 779240 h 1332642"/>
                <a:gd name="connsiteX752" fmla="*/ 958691 w 1004887"/>
                <a:gd name="connsiteY752" fmla="*/ 774097 h 1332642"/>
                <a:gd name="connsiteX753" fmla="*/ 965264 w 1004887"/>
                <a:gd name="connsiteY753" fmla="*/ 774954 h 1332642"/>
                <a:gd name="connsiteX754" fmla="*/ 968407 w 1004887"/>
                <a:gd name="connsiteY754" fmla="*/ 774478 h 1332642"/>
                <a:gd name="connsiteX755" fmla="*/ 968216 w 1004887"/>
                <a:gd name="connsiteY755" fmla="*/ 772954 h 1332642"/>
                <a:gd name="connsiteX756" fmla="*/ 960120 w 1004887"/>
                <a:gd name="connsiteY756" fmla="*/ 772382 h 1332642"/>
                <a:gd name="connsiteX757" fmla="*/ 958120 w 1004887"/>
                <a:gd name="connsiteY757" fmla="*/ 769430 h 1332642"/>
                <a:gd name="connsiteX758" fmla="*/ 961263 w 1004887"/>
                <a:gd name="connsiteY758" fmla="*/ 769049 h 1332642"/>
                <a:gd name="connsiteX759" fmla="*/ 961073 w 1004887"/>
                <a:gd name="connsiteY759" fmla="*/ 767429 h 1332642"/>
                <a:gd name="connsiteX760" fmla="*/ 957929 w 1004887"/>
                <a:gd name="connsiteY760" fmla="*/ 767810 h 1332642"/>
                <a:gd name="connsiteX761" fmla="*/ 957548 w 1004887"/>
                <a:gd name="connsiteY761" fmla="*/ 764667 h 1332642"/>
                <a:gd name="connsiteX762" fmla="*/ 955739 w 1004887"/>
                <a:gd name="connsiteY762" fmla="*/ 763333 h 1332642"/>
                <a:gd name="connsiteX763" fmla="*/ 955358 w 1004887"/>
                <a:gd name="connsiteY763" fmla="*/ 760190 h 1332642"/>
                <a:gd name="connsiteX764" fmla="*/ 953738 w 1004887"/>
                <a:gd name="connsiteY764" fmla="*/ 760381 h 1332642"/>
                <a:gd name="connsiteX765" fmla="*/ 951548 w 1004887"/>
                <a:gd name="connsiteY765" fmla="*/ 755809 h 1332642"/>
                <a:gd name="connsiteX766" fmla="*/ 949833 w 1004887"/>
                <a:gd name="connsiteY766" fmla="*/ 754380 h 1332642"/>
                <a:gd name="connsiteX767" fmla="*/ 950976 w 1004887"/>
                <a:gd name="connsiteY767" fmla="*/ 751046 h 1332642"/>
                <a:gd name="connsiteX768" fmla="*/ 950595 w 1004887"/>
                <a:gd name="connsiteY768" fmla="*/ 747903 h 1332642"/>
                <a:gd name="connsiteX769" fmla="*/ 951929 w 1004887"/>
                <a:gd name="connsiteY769" fmla="*/ 746093 h 1332642"/>
                <a:gd name="connsiteX770" fmla="*/ 948595 w 1004887"/>
                <a:gd name="connsiteY770" fmla="*/ 744950 h 1332642"/>
                <a:gd name="connsiteX771" fmla="*/ 949547 w 1004887"/>
                <a:gd name="connsiteY771" fmla="*/ 739997 h 1332642"/>
                <a:gd name="connsiteX772" fmla="*/ 952500 w 1004887"/>
                <a:gd name="connsiteY772" fmla="*/ 738092 h 1332642"/>
                <a:gd name="connsiteX773" fmla="*/ 950119 w 1004887"/>
                <a:gd name="connsiteY773" fmla="*/ 731901 h 1332642"/>
                <a:gd name="connsiteX774" fmla="*/ 951357 w 1004887"/>
                <a:gd name="connsiteY774" fmla="*/ 728567 h 1332642"/>
                <a:gd name="connsiteX775" fmla="*/ 948119 w 1004887"/>
                <a:gd name="connsiteY775" fmla="*/ 728948 h 1332642"/>
                <a:gd name="connsiteX776" fmla="*/ 950881 w 1004887"/>
                <a:gd name="connsiteY776" fmla="*/ 725424 h 1332642"/>
                <a:gd name="connsiteX777" fmla="*/ 950500 w 1004887"/>
                <a:gd name="connsiteY777" fmla="*/ 722281 h 1332642"/>
                <a:gd name="connsiteX778" fmla="*/ 948881 w 1004887"/>
                <a:gd name="connsiteY778" fmla="*/ 722471 h 1332642"/>
                <a:gd name="connsiteX779" fmla="*/ 947738 w 1004887"/>
                <a:gd name="connsiteY779" fmla="*/ 725805 h 1332642"/>
                <a:gd name="connsiteX780" fmla="*/ 948881 w 1004887"/>
                <a:gd name="connsiteY780" fmla="*/ 722471 h 1332642"/>
                <a:gd name="connsiteX781" fmla="*/ 946976 w 1004887"/>
                <a:gd name="connsiteY781" fmla="*/ 719519 h 1332642"/>
                <a:gd name="connsiteX782" fmla="*/ 953452 w 1004887"/>
                <a:gd name="connsiteY782" fmla="*/ 720281 h 1332642"/>
                <a:gd name="connsiteX783" fmla="*/ 953262 w 1004887"/>
                <a:gd name="connsiteY783" fmla="*/ 718757 h 1332642"/>
                <a:gd name="connsiteX784" fmla="*/ 946785 w 1004887"/>
                <a:gd name="connsiteY784" fmla="*/ 717899 h 1332642"/>
                <a:gd name="connsiteX785" fmla="*/ 946976 w 1004887"/>
                <a:gd name="connsiteY785" fmla="*/ 719519 h 1332642"/>
                <a:gd name="connsiteX786" fmla="*/ 946785 w 1004887"/>
                <a:gd name="connsiteY786" fmla="*/ 717899 h 1332642"/>
                <a:gd name="connsiteX787" fmla="*/ 943547 w 1004887"/>
                <a:gd name="connsiteY787" fmla="*/ 718376 h 1332642"/>
                <a:gd name="connsiteX788" fmla="*/ 940213 w 1004887"/>
                <a:gd name="connsiteY788" fmla="*/ 717137 h 1332642"/>
                <a:gd name="connsiteX789" fmla="*/ 939451 w 1004887"/>
                <a:gd name="connsiteY789" fmla="*/ 710851 h 1332642"/>
                <a:gd name="connsiteX790" fmla="*/ 940784 w 1004887"/>
                <a:gd name="connsiteY790" fmla="*/ 709041 h 1332642"/>
                <a:gd name="connsiteX791" fmla="*/ 938784 w 1004887"/>
                <a:gd name="connsiteY791" fmla="*/ 706088 h 1332642"/>
                <a:gd name="connsiteX792" fmla="*/ 942023 w 1004887"/>
                <a:gd name="connsiteY792" fmla="*/ 705707 h 1332642"/>
                <a:gd name="connsiteX793" fmla="*/ 943166 w 1004887"/>
                <a:gd name="connsiteY793" fmla="*/ 702374 h 1332642"/>
                <a:gd name="connsiteX794" fmla="*/ 946499 w 1004887"/>
                <a:gd name="connsiteY794" fmla="*/ 703516 h 1332642"/>
                <a:gd name="connsiteX795" fmla="*/ 947738 w 1004887"/>
                <a:gd name="connsiteY795" fmla="*/ 700183 h 1332642"/>
                <a:gd name="connsiteX796" fmla="*/ 947261 w 1004887"/>
                <a:gd name="connsiteY796" fmla="*/ 697040 h 1332642"/>
                <a:gd name="connsiteX797" fmla="*/ 942118 w 1004887"/>
                <a:gd name="connsiteY797" fmla="*/ 694468 h 1332642"/>
                <a:gd name="connsiteX798" fmla="*/ 943356 w 1004887"/>
                <a:gd name="connsiteY798" fmla="*/ 691134 h 1332642"/>
                <a:gd name="connsiteX799" fmla="*/ 947642 w 1004887"/>
                <a:gd name="connsiteY799" fmla="*/ 687324 h 1332642"/>
                <a:gd name="connsiteX800" fmla="*/ 948881 w 1004887"/>
                <a:gd name="connsiteY800" fmla="*/ 683990 h 1332642"/>
                <a:gd name="connsiteX801" fmla="*/ 952214 w 1004887"/>
                <a:gd name="connsiteY801" fmla="*/ 685133 h 1332642"/>
                <a:gd name="connsiteX802" fmla="*/ 952976 w 1004887"/>
                <a:gd name="connsiteY802" fmla="*/ 678656 h 1332642"/>
                <a:gd name="connsiteX803" fmla="*/ 954310 w 1004887"/>
                <a:gd name="connsiteY803" fmla="*/ 676847 h 1332642"/>
                <a:gd name="connsiteX804" fmla="*/ 956120 w 1004887"/>
                <a:gd name="connsiteY804" fmla="*/ 665416 h 1332642"/>
                <a:gd name="connsiteX805" fmla="*/ 956691 w 1004887"/>
                <a:gd name="connsiteY805" fmla="*/ 657320 h 1332642"/>
                <a:gd name="connsiteX806" fmla="*/ 951548 w 1004887"/>
                <a:gd name="connsiteY806" fmla="*/ 654749 h 1332642"/>
                <a:gd name="connsiteX807" fmla="*/ 952119 w 1004887"/>
                <a:gd name="connsiteY807" fmla="*/ 646652 h 1332642"/>
                <a:gd name="connsiteX808" fmla="*/ 941642 w 1004887"/>
                <a:gd name="connsiteY808" fmla="*/ 639985 h 1332642"/>
                <a:gd name="connsiteX809" fmla="*/ 938498 w 1004887"/>
                <a:gd name="connsiteY809" fmla="*/ 640366 h 1332642"/>
                <a:gd name="connsiteX810" fmla="*/ 933164 w 1004887"/>
                <a:gd name="connsiteY810" fmla="*/ 649129 h 1332642"/>
                <a:gd name="connsiteX811" fmla="*/ 931355 w 1004887"/>
                <a:gd name="connsiteY811" fmla="*/ 647700 h 1332642"/>
                <a:gd name="connsiteX812" fmla="*/ 935736 w 1004887"/>
                <a:gd name="connsiteY812" fmla="*/ 643985 h 1332642"/>
                <a:gd name="connsiteX813" fmla="*/ 937451 w 1004887"/>
                <a:gd name="connsiteY813" fmla="*/ 632555 h 1332642"/>
                <a:gd name="connsiteX814" fmla="*/ 935450 w 1004887"/>
                <a:gd name="connsiteY814" fmla="*/ 629603 h 1332642"/>
                <a:gd name="connsiteX815" fmla="*/ 933736 w 1004887"/>
                <a:gd name="connsiteY815" fmla="*/ 628174 h 1332642"/>
                <a:gd name="connsiteX816" fmla="*/ 936403 w 1004887"/>
                <a:gd name="connsiteY816" fmla="*/ 611791 h 1332642"/>
                <a:gd name="connsiteX817" fmla="*/ 933641 w 1004887"/>
                <a:gd name="connsiteY817" fmla="*/ 602552 h 1332642"/>
                <a:gd name="connsiteX818" fmla="*/ 937736 w 1004887"/>
                <a:gd name="connsiteY818" fmla="*/ 597218 h 1332642"/>
                <a:gd name="connsiteX819" fmla="*/ 941737 w 1004887"/>
                <a:gd name="connsiteY819" fmla="*/ 590264 h 1332642"/>
                <a:gd name="connsiteX820" fmla="*/ 941261 w 1004887"/>
                <a:gd name="connsiteY820" fmla="*/ 574262 h 1332642"/>
                <a:gd name="connsiteX821" fmla="*/ 943832 w 1004887"/>
                <a:gd name="connsiteY821" fmla="*/ 569119 h 1332642"/>
                <a:gd name="connsiteX822" fmla="*/ 944594 w 1004887"/>
                <a:gd name="connsiteY822" fmla="*/ 562642 h 1332642"/>
                <a:gd name="connsiteX823" fmla="*/ 940880 w 1004887"/>
                <a:gd name="connsiteY823" fmla="*/ 558356 h 1332642"/>
                <a:gd name="connsiteX824" fmla="*/ 936308 w 1004887"/>
                <a:gd name="connsiteY824" fmla="*/ 560451 h 1332642"/>
                <a:gd name="connsiteX825" fmla="*/ 929640 w 1004887"/>
                <a:gd name="connsiteY825" fmla="*/ 558165 h 1332642"/>
                <a:gd name="connsiteX826" fmla="*/ 928973 w 1004887"/>
                <a:gd name="connsiteY826" fmla="*/ 553403 h 1332642"/>
                <a:gd name="connsiteX827" fmla="*/ 925449 w 1004887"/>
                <a:gd name="connsiteY827" fmla="*/ 550640 h 1332642"/>
                <a:gd name="connsiteX828" fmla="*/ 921068 w 1004887"/>
                <a:gd name="connsiteY828" fmla="*/ 554450 h 1332642"/>
                <a:gd name="connsiteX829" fmla="*/ 919544 w 1004887"/>
                <a:gd name="connsiteY829" fmla="*/ 554641 h 1332642"/>
                <a:gd name="connsiteX830" fmla="*/ 912590 w 1004887"/>
                <a:gd name="connsiteY830" fmla="*/ 550640 h 1332642"/>
                <a:gd name="connsiteX831" fmla="*/ 912209 w 1004887"/>
                <a:gd name="connsiteY831" fmla="*/ 547497 h 1332642"/>
                <a:gd name="connsiteX832" fmla="*/ 915352 w 1004887"/>
                <a:gd name="connsiteY832" fmla="*/ 547116 h 1332642"/>
                <a:gd name="connsiteX833" fmla="*/ 916496 w 1004887"/>
                <a:gd name="connsiteY833" fmla="*/ 543782 h 1332642"/>
                <a:gd name="connsiteX834" fmla="*/ 906875 w 1004887"/>
                <a:gd name="connsiteY834" fmla="*/ 543401 h 1332642"/>
                <a:gd name="connsiteX835" fmla="*/ 906494 w 1004887"/>
                <a:gd name="connsiteY835" fmla="*/ 540258 h 1332642"/>
                <a:gd name="connsiteX836" fmla="*/ 901732 w 1004887"/>
                <a:gd name="connsiteY836" fmla="*/ 540830 h 1332642"/>
                <a:gd name="connsiteX837" fmla="*/ 898208 w 1004887"/>
                <a:gd name="connsiteY837" fmla="*/ 538067 h 1332642"/>
                <a:gd name="connsiteX838" fmla="*/ 895064 w 1004887"/>
                <a:gd name="connsiteY838" fmla="*/ 538544 h 1332642"/>
                <a:gd name="connsiteX839" fmla="*/ 892588 w 1004887"/>
                <a:gd name="connsiteY839" fmla="*/ 532352 h 1332642"/>
                <a:gd name="connsiteX840" fmla="*/ 889254 w 1004887"/>
                <a:gd name="connsiteY840" fmla="*/ 531209 h 1332642"/>
                <a:gd name="connsiteX841" fmla="*/ 897350 w 1004887"/>
                <a:gd name="connsiteY841" fmla="*/ 531781 h 1332642"/>
                <a:gd name="connsiteX842" fmla="*/ 904494 w 1004887"/>
                <a:gd name="connsiteY842" fmla="*/ 537305 h 1332642"/>
                <a:gd name="connsiteX843" fmla="*/ 912400 w 1004887"/>
                <a:gd name="connsiteY843" fmla="*/ 536257 h 1332642"/>
                <a:gd name="connsiteX844" fmla="*/ 913733 w 1004887"/>
                <a:gd name="connsiteY844" fmla="*/ 534543 h 1332642"/>
                <a:gd name="connsiteX845" fmla="*/ 918496 w 1004887"/>
                <a:gd name="connsiteY845" fmla="*/ 533876 h 1332642"/>
                <a:gd name="connsiteX846" fmla="*/ 921449 w 1004887"/>
                <a:gd name="connsiteY846" fmla="*/ 531876 h 1332642"/>
                <a:gd name="connsiteX847" fmla="*/ 918115 w 1004887"/>
                <a:gd name="connsiteY847" fmla="*/ 530733 h 1332642"/>
                <a:gd name="connsiteX848" fmla="*/ 911543 w 1004887"/>
                <a:gd name="connsiteY848" fmla="*/ 517112 h 1332642"/>
                <a:gd name="connsiteX849" fmla="*/ 901827 w 1004887"/>
                <a:gd name="connsiteY849" fmla="*/ 516731 h 1332642"/>
                <a:gd name="connsiteX850" fmla="*/ 898112 w 1004887"/>
                <a:gd name="connsiteY850" fmla="*/ 512445 h 1332642"/>
                <a:gd name="connsiteX851" fmla="*/ 900684 w 1004887"/>
                <a:gd name="connsiteY851" fmla="*/ 507302 h 1332642"/>
                <a:gd name="connsiteX852" fmla="*/ 898684 w 1004887"/>
                <a:gd name="connsiteY852" fmla="*/ 504349 h 1332642"/>
                <a:gd name="connsiteX853" fmla="*/ 899827 w 1004887"/>
                <a:gd name="connsiteY853" fmla="*/ 501015 h 1332642"/>
                <a:gd name="connsiteX854" fmla="*/ 901827 w 1004887"/>
                <a:gd name="connsiteY854" fmla="*/ 503968 h 1332642"/>
                <a:gd name="connsiteX855" fmla="*/ 902018 w 1004887"/>
                <a:gd name="connsiteY855" fmla="*/ 505492 h 1332642"/>
                <a:gd name="connsiteX856" fmla="*/ 903827 w 1004887"/>
                <a:gd name="connsiteY856" fmla="*/ 506920 h 1332642"/>
                <a:gd name="connsiteX857" fmla="*/ 906590 w 1004887"/>
                <a:gd name="connsiteY857" fmla="*/ 503301 h 1332642"/>
                <a:gd name="connsiteX858" fmla="*/ 906780 w 1004887"/>
                <a:gd name="connsiteY858" fmla="*/ 504920 h 1332642"/>
                <a:gd name="connsiteX859" fmla="*/ 908399 w 1004887"/>
                <a:gd name="connsiteY859" fmla="*/ 504730 h 1332642"/>
                <a:gd name="connsiteX860" fmla="*/ 908399 w 1004887"/>
                <a:gd name="connsiteY860" fmla="*/ 504730 h 1332642"/>
                <a:gd name="connsiteX861" fmla="*/ 909733 w 1004887"/>
                <a:gd name="connsiteY861" fmla="*/ 502920 h 1332642"/>
                <a:gd name="connsiteX862" fmla="*/ 917448 w 1004887"/>
                <a:gd name="connsiteY862" fmla="*/ 500348 h 1332642"/>
                <a:gd name="connsiteX863" fmla="*/ 920782 w 1004887"/>
                <a:gd name="connsiteY863" fmla="*/ 501491 h 1332642"/>
                <a:gd name="connsiteX864" fmla="*/ 927830 w 1004887"/>
                <a:gd name="connsiteY864" fmla="*/ 494252 h 1332642"/>
                <a:gd name="connsiteX865" fmla="*/ 923163 w 1004887"/>
                <a:gd name="connsiteY865" fmla="*/ 494824 h 1332642"/>
                <a:gd name="connsiteX866" fmla="*/ 922496 w 1004887"/>
                <a:gd name="connsiteY866" fmla="*/ 490061 h 1332642"/>
                <a:gd name="connsiteX867" fmla="*/ 917829 w 1004887"/>
                <a:gd name="connsiteY867" fmla="*/ 490728 h 1332642"/>
                <a:gd name="connsiteX868" fmla="*/ 917639 w 1004887"/>
                <a:gd name="connsiteY868" fmla="*/ 489109 h 1332642"/>
                <a:gd name="connsiteX869" fmla="*/ 914210 w 1004887"/>
                <a:gd name="connsiteY869" fmla="*/ 487966 h 1332642"/>
                <a:gd name="connsiteX870" fmla="*/ 909733 w 1004887"/>
                <a:gd name="connsiteY870" fmla="*/ 490157 h 1332642"/>
                <a:gd name="connsiteX871" fmla="*/ 912495 w 1004887"/>
                <a:gd name="connsiteY871" fmla="*/ 486537 h 1332642"/>
                <a:gd name="connsiteX872" fmla="*/ 909066 w 1004887"/>
                <a:gd name="connsiteY872" fmla="*/ 485394 h 1332642"/>
                <a:gd name="connsiteX873" fmla="*/ 904780 w 1004887"/>
                <a:gd name="connsiteY873" fmla="*/ 489109 h 1332642"/>
                <a:gd name="connsiteX874" fmla="*/ 902780 w 1004887"/>
                <a:gd name="connsiteY874" fmla="*/ 486156 h 1332642"/>
                <a:gd name="connsiteX875" fmla="*/ 899827 w 1004887"/>
                <a:gd name="connsiteY875" fmla="*/ 488156 h 1332642"/>
                <a:gd name="connsiteX876" fmla="*/ 898684 w 1004887"/>
                <a:gd name="connsiteY876" fmla="*/ 491490 h 1332642"/>
                <a:gd name="connsiteX877" fmla="*/ 895731 w 1004887"/>
                <a:gd name="connsiteY877" fmla="*/ 493490 h 1332642"/>
                <a:gd name="connsiteX878" fmla="*/ 896112 w 1004887"/>
                <a:gd name="connsiteY878" fmla="*/ 496633 h 1332642"/>
                <a:gd name="connsiteX879" fmla="*/ 891159 w 1004887"/>
                <a:gd name="connsiteY879" fmla="*/ 495681 h 1332642"/>
                <a:gd name="connsiteX880" fmla="*/ 888397 w 1004887"/>
                <a:gd name="connsiteY880" fmla="*/ 486442 h 1332642"/>
                <a:gd name="connsiteX881" fmla="*/ 891731 w 1004887"/>
                <a:gd name="connsiteY881" fmla="*/ 487585 h 1332642"/>
                <a:gd name="connsiteX882" fmla="*/ 891540 w 1004887"/>
                <a:gd name="connsiteY882" fmla="*/ 486061 h 1332642"/>
                <a:gd name="connsiteX883" fmla="*/ 888206 w 1004887"/>
                <a:gd name="connsiteY883" fmla="*/ 484823 h 1332642"/>
                <a:gd name="connsiteX884" fmla="*/ 892302 w 1004887"/>
                <a:gd name="connsiteY884" fmla="*/ 479489 h 1332642"/>
                <a:gd name="connsiteX885" fmla="*/ 888397 w 1004887"/>
                <a:gd name="connsiteY885" fmla="*/ 473583 h 1332642"/>
                <a:gd name="connsiteX886" fmla="*/ 890873 w 1004887"/>
                <a:gd name="connsiteY886" fmla="*/ 468440 h 1332642"/>
                <a:gd name="connsiteX887" fmla="*/ 900017 w 1004887"/>
                <a:gd name="connsiteY887" fmla="*/ 464058 h 1332642"/>
                <a:gd name="connsiteX888" fmla="*/ 907447 w 1004887"/>
                <a:gd name="connsiteY888" fmla="*/ 447103 h 1332642"/>
                <a:gd name="connsiteX889" fmla="*/ 930116 w 1004887"/>
                <a:gd name="connsiteY889" fmla="*/ 436245 h 1332642"/>
                <a:gd name="connsiteX890" fmla="*/ 934593 w 1004887"/>
                <a:gd name="connsiteY890" fmla="*/ 434054 h 1332642"/>
                <a:gd name="connsiteX891" fmla="*/ 940975 w 1004887"/>
                <a:gd name="connsiteY891" fmla="*/ 433197 h 1332642"/>
                <a:gd name="connsiteX892" fmla="*/ 937832 w 1004887"/>
                <a:gd name="connsiteY892" fmla="*/ 433578 h 1332642"/>
                <a:gd name="connsiteX893" fmla="*/ 938594 w 1004887"/>
                <a:gd name="connsiteY893" fmla="*/ 439960 h 1332642"/>
                <a:gd name="connsiteX894" fmla="*/ 940403 w 1004887"/>
                <a:gd name="connsiteY894" fmla="*/ 441293 h 1332642"/>
                <a:gd name="connsiteX895" fmla="*/ 945261 w 1004887"/>
                <a:gd name="connsiteY895" fmla="*/ 442246 h 1332642"/>
                <a:gd name="connsiteX896" fmla="*/ 947452 w 1004887"/>
                <a:gd name="connsiteY896" fmla="*/ 446818 h 1332642"/>
                <a:gd name="connsiteX897" fmla="*/ 949071 w 1004887"/>
                <a:gd name="connsiteY897" fmla="*/ 446627 h 1332642"/>
                <a:gd name="connsiteX898" fmla="*/ 949262 w 1004887"/>
                <a:gd name="connsiteY898" fmla="*/ 448151 h 1332642"/>
                <a:gd name="connsiteX899" fmla="*/ 954024 w 1004887"/>
                <a:gd name="connsiteY899" fmla="*/ 447580 h 1332642"/>
                <a:gd name="connsiteX900" fmla="*/ 955739 w 1004887"/>
                <a:gd name="connsiteY900" fmla="*/ 448913 h 1332642"/>
                <a:gd name="connsiteX901" fmla="*/ 956786 w 1004887"/>
                <a:gd name="connsiteY901" fmla="*/ 444056 h 1332642"/>
                <a:gd name="connsiteX902" fmla="*/ 958310 w 1004887"/>
                <a:gd name="connsiteY902" fmla="*/ 443865 h 1332642"/>
                <a:gd name="connsiteX903" fmla="*/ 957929 w 1004887"/>
                <a:gd name="connsiteY903" fmla="*/ 440627 h 1332642"/>
                <a:gd name="connsiteX904" fmla="*/ 959263 w 1004887"/>
                <a:gd name="connsiteY904" fmla="*/ 438912 h 1332642"/>
                <a:gd name="connsiteX905" fmla="*/ 960120 w 1004887"/>
                <a:gd name="connsiteY905" fmla="*/ 432340 h 1332642"/>
                <a:gd name="connsiteX906" fmla="*/ 963073 w 1004887"/>
                <a:gd name="connsiteY906" fmla="*/ 430435 h 1332642"/>
                <a:gd name="connsiteX907" fmla="*/ 965359 w 1004887"/>
                <a:gd name="connsiteY907" fmla="*/ 423672 h 1332642"/>
                <a:gd name="connsiteX908" fmla="*/ 968502 w 1004887"/>
                <a:gd name="connsiteY908" fmla="*/ 423291 h 1332642"/>
                <a:gd name="connsiteX909" fmla="*/ 974693 w 1004887"/>
                <a:gd name="connsiteY909" fmla="*/ 420910 h 1332642"/>
                <a:gd name="connsiteX910" fmla="*/ 974217 w 1004887"/>
                <a:gd name="connsiteY910" fmla="*/ 417766 h 1332642"/>
                <a:gd name="connsiteX911" fmla="*/ 976027 w 1004887"/>
                <a:gd name="connsiteY911" fmla="*/ 419100 h 1332642"/>
                <a:gd name="connsiteX912" fmla="*/ 977456 w 1004887"/>
                <a:gd name="connsiteY912" fmla="*/ 417386 h 1332642"/>
                <a:gd name="connsiteX913" fmla="*/ 980599 w 1004887"/>
                <a:gd name="connsiteY913" fmla="*/ 416909 h 1332642"/>
                <a:gd name="connsiteX914" fmla="*/ 984885 w 1004887"/>
                <a:gd name="connsiteY914" fmla="*/ 413194 h 1332642"/>
                <a:gd name="connsiteX915" fmla="*/ 986695 w 1004887"/>
                <a:gd name="connsiteY915" fmla="*/ 414528 h 1332642"/>
                <a:gd name="connsiteX916" fmla="*/ 990600 w 1004887"/>
                <a:gd name="connsiteY916" fmla="*/ 407670 h 1332642"/>
                <a:gd name="connsiteX917" fmla="*/ 988409 w 1004887"/>
                <a:gd name="connsiteY917" fmla="*/ 403098 h 1332642"/>
                <a:gd name="connsiteX918" fmla="*/ 983266 w 1004887"/>
                <a:gd name="connsiteY918" fmla="*/ 400526 h 1332642"/>
                <a:gd name="connsiteX919" fmla="*/ 981266 w 1004887"/>
                <a:gd name="connsiteY919" fmla="*/ 397573 h 1332642"/>
                <a:gd name="connsiteX920" fmla="*/ 977932 w 1004887"/>
                <a:gd name="connsiteY920" fmla="*/ 396431 h 1332642"/>
                <a:gd name="connsiteX921" fmla="*/ 974979 w 1004887"/>
                <a:gd name="connsiteY921" fmla="*/ 398431 h 1332642"/>
                <a:gd name="connsiteX922" fmla="*/ 973646 w 1004887"/>
                <a:gd name="connsiteY922" fmla="*/ 400145 h 1332642"/>
                <a:gd name="connsiteX923" fmla="*/ 967740 w 1004887"/>
                <a:gd name="connsiteY923" fmla="*/ 404146 h 1332642"/>
                <a:gd name="connsiteX924" fmla="*/ 965930 w 1004887"/>
                <a:gd name="connsiteY924" fmla="*/ 402717 h 1332642"/>
                <a:gd name="connsiteX925" fmla="*/ 966502 w 1004887"/>
                <a:gd name="connsiteY925" fmla="*/ 394716 h 1332642"/>
                <a:gd name="connsiteX926" fmla="*/ 975741 w 1004887"/>
                <a:gd name="connsiteY926" fmla="*/ 391858 h 1332642"/>
                <a:gd name="connsiteX927" fmla="*/ 978884 w 1004887"/>
                <a:gd name="connsiteY927" fmla="*/ 378619 h 1332642"/>
                <a:gd name="connsiteX928" fmla="*/ 978122 w 1004887"/>
                <a:gd name="connsiteY928" fmla="*/ 372332 h 1332642"/>
                <a:gd name="connsiteX929" fmla="*/ 974312 w 1004887"/>
                <a:gd name="connsiteY929" fmla="*/ 368046 h 1332642"/>
                <a:gd name="connsiteX930" fmla="*/ 973931 w 1004887"/>
                <a:gd name="connsiteY930" fmla="*/ 364903 h 1332642"/>
                <a:gd name="connsiteX931" fmla="*/ 971550 w 1004887"/>
                <a:gd name="connsiteY931" fmla="*/ 358711 h 1332642"/>
                <a:gd name="connsiteX932" fmla="*/ 972502 w 1004887"/>
                <a:gd name="connsiteY932" fmla="*/ 353854 h 1332642"/>
                <a:gd name="connsiteX933" fmla="*/ 982027 w 1004887"/>
                <a:gd name="connsiteY933" fmla="*/ 352615 h 1332642"/>
                <a:gd name="connsiteX934" fmla="*/ 981170 w 1004887"/>
                <a:gd name="connsiteY934" fmla="*/ 346329 h 1332642"/>
                <a:gd name="connsiteX935" fmla="*/ 987076 w 1004887"/>
                <a:gd name="connsiteY935" fmla="*/ 342328 h 1332642"/>
                <a:gd name="connsiteX936" fmla="*/ 983933 w 1004887"/>
                <a:gd name="connsiteY936" fmla="*/ 342710 h 1332642"/>
                <a:gd name="connsiteX937" fmla="*/ 986123 w 1004887"/>
                <a:gd name="connsiteY937" fmla="*/ 334423 h 1332642"/>
                <a:gd name="connsiteX938" fmla="*/ 979170 w 1004887"/>
                <a:gd name="connsiteY938" fmla="*/ 330518 h 1332642"/>
                <a:gd name="connsiteX939" fmla="*/ 978122 w 1004887"/>
                <a:gd name="connsiteY939" fmla="*/ 322612 h 1332642"/>
                <a:gd name="connsiteX940" fmla="*/ 985076 w 1004887"/>
                <a:gd name="connsiteY940" fmla="*/ 313753 h 1332642"/>
                <a:gd name="connsiteX941" fmla="*/ 983075 w 1004887"/>
                <a:gd name="connsiteY941" fmla="*/ 310801 h 1332642"/>
                <a:gd name="connsiteX942" fmla="*/ 979361 w 1004887"/>
                <a:gd name="connsiteY942" fmla="*/ 306419 h 1332642"/>
                <a:gd name="connsiteX943" fmla="*/ 982027 w 1004887"/>
                <a:gd name="connsiteY943" fmla="*/ 302895 h 1332642"/>
                <a:gd name="connsiteX944" fmla="*/ 985457 w 1004887"/>
                <a:gd name="connsiteY944" fmla="*/ 304038 h 1332642"/>
                <a:gd name="connsiteX945" fmla="*/ 989171 w 1004887"/>
                <a:gd name="connsiteY945" fmla="*/ 295561 h 1332642"/>
                <a:gd name="connsiteX946" fmla="*/ 985171 w 1004887"/>
                <a:gd name="connsiteY946" fmla="*/ 289655 h 1332642"/>
                <a:gd name="connsiteX947" fmla="*/ 988314 w 1004887"/>
                <a:gd name="connsiteY947" fmla="*/ 289274 h 1332642"/>
                <a:gd name="connsiteX948" fmla="*/ 987171 w 1004887"/>
                <a:gd name="connsiteY948" fmla="*/ 279749 h 1332642"/>
                <a:gd name="connsiteX949" fmla="*/ 988886 w 1004887"/>
                <a:gd name="connsiteY949" fmla="*/ 281178 h 1332642"/>
                <a:gd name="connsiteX950" fmla="*/ 992124 w 1004887"/>
                <a:gd name="connsiteY950" fmla="*/ 280797 h 1332642"/>
                <a:gd name="connsiteX951" fmla="*/ 991838 w 1004887"/>
                <a:gd name="connsiteY951" fmla="*/ 279178 h 1332642"/>
                <a:gd name="connsiteX952" fmla="*/ 992124 w 1004887"/>
                <a:gd name="connsiteY952" fmla="*/ 280797 h 1332642"/>
                <a:gd name="connsiteX953" fmla="*/ 993648 w 1004887"/>
                <a:gd name="connsiteY953" fmla="*/ 280511 h 1332642"/>
                <a:gd name="connsiteX954" fmla="*/ 995077 w 1004887"/>
                <a:gd name="connsiteY954" fmla="*/ 278797 h 1332642"/>
                <a:gd name="connsiteX955" fmla="*/ 998411 w 1004887"/>
                <a:gd name="connsiteY955" fmla="*/ 279940 h 1332642"/>
                <a:gd name="connsiteX956" fmla="*/ 1001363 w 1004887"/>
                <a:gd name="connsiteY956" fmla="*/ 277940 h 1332642"/>
                <a:gd name="connsiteX957" fmla="*/ 1001935 w 1004887"/>
                <a:gd name="connsiteY957" fmla="*/ 282702 h 1332642"/>
                <a:gd name="connsiteX958" fmla="*/ 1004888 w 1004887"/>
                <a:gd name="connsiteY958" fmla="*/ 280702 h 1332642"/>
                <a:gd name="connsiteX959" fmla="*/ 1001363 w 1004887"/>
                <a:gd name="connsiteY959" fmla="*/ 265176 h 1332642"/>
                <a:gd name="connsiteX960" fmla="*/ 999744 w 1004887"/>
                <a:gd name="connsiteY960" fmla="*/ 252508 h 1332642"/>
                <a:gd name="connsiteX961" fmla="*/ 999744 w 1004887"/>
                <a:gd name="connsiteY961" fmla="*/ 252508 h 133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</a:cxnLst>
              <a:rect l="l" t="t" r="r" b="b"/>
              <a:pathLst>
                <a:path w="1004887" h="1332642">
                  <a:moveTo>
                    <a:pt x="999744" y="252508"/>
                  </a:moveTo>
                  <a:lnTo>
                    <a:pt x="997363" y="246412"/>
                  </a:lnTo>
                  <a:lnTo>
                    <a:pt x="998315" y="241459"/>
                  </a:lnTo>
                  <a:lnTo>
                    <a:pt x="997934" y="238315"/>
                  </a:lnTo>
                  <a:lnTo>
                    <a:pt x="996125" y="236982"/>
                  </a:lnTo>
                  <a:lnTo>
                    <a:pt x="994124" y="234029"/>
                  </a:lnTo>
                  <a:lnTo>
                    <a:pt x="995363" y="230600"/>
                  </a:lnTo>
                  <a:lnTo>
                    <a:pt x="996506" y="227266"/>
                  </a:lnTo>
                  <a:lnTo>
                    <a:pt x="995648" y="220980"/>
                  </a:lnTo>
                  <a:lnTo>
                    <a:pt x="993934" y="219551"/>
                  </a:lnTo>
                  <a:lnTo>
                    <a:pt x="996506" y="214408"/>
                  </a:lnTo>
                  <a:lnTo>
                    <a:pt x="1004126" y="211836"/>
                  </a:lnTo>
                  <a:lnTo>
                    <a:pt x="993077" y="213265"/>
                  </a:lnTo>
                  <a:lnTo>
                    <a:pt x="987933" y="210693"/>
                  </a:lnTo>
                  <a:lnTo>
                    <a:pt x="975741" y="202692"/>
                  </a:lnTo>
                  <a:lnTo>
                    <a:pt x="971741" y="196786"/>
                  </a:lnTo>
                  <a:lnTo>
                    <a:pt x="958691" y="195167"/>
                  </a:lnTo>
                  <a:lnTo>
                    <a:pt x="953548" y="192691"/>
                  </a:lnTo>
                  <a:lnTo>
                    <a:pt x="947642" y="196596"/>
                  </a:lnTo>
                  <a:lnTo>
                    <a:pt x="941165" y="195834"/>
                  </a:lnTo>
                  <a:lnTo>
                    <a:pt x="942499" y="194024"/>
                  </a:lnTo>
                  <a:lnTo>
                    <a:pt x="940784" y="192691"/>
                  </a:lnTo>
                  <a:lnTo>
                    <a:pt x="942118" y="190881"/>
                  </a:lnTo>
                  <a:lnTo>
                    <a:pt x="945737" y="193643"/>
                  </a:lnTo>
                  <a:lnTo>
                    <a:pt x="947261" y="193453"/>
                  </a:lnTo>
                  <a:lnTo>
                    <a:pt x="947452" y="182213"/>
                  </a:lnTo>
                  <a:lnTo>
                    <a:pt x="948214" y="175736"/>
                  </a:lnTo>
                  <a:lnTo>
                    <a:pt x="946404" y="174307"/>
                  </a:lnTo>
                  <a:lnTo>
                    <a:pt x="945452" y="166402"/>
                  </a:lnTo>
                  <a:lnTo>
                    <a:pt x="939356" y="168783"/>
                  </a:lnTo>
                  <a:lnTo>
                    <a:pt x="934212" y="166211"/>
                  </a:lnTo>
                  <a:lnTo>
                    <a:pt x="927449" y="163925"/>
                  </a:lnTo>
                  <a:lnTo>
                    <a:pt x="918210" y="166687"/>
                  </a:lnTo>
                  <a:lnTo>
                    <a:pt x="913638" y="168878"/>
                  </a:lnTo>
                  <a:lnTo>
                    <a:pt x="913638" y="168878"/>
                  </a:lnTo>
                  <a:lnTo>
                    <a:pt x="912114" y="169069"/>
                  </a:lnTo>
                  <a:lnTo>
                    <a:pt x="911066" y="161163"/>
                  </a:lnTo>
                  <a:lnTo>
                    <a:pt x="906685" y="152114"/>
                  </a:lnTo>
                  <a:lnTo>
                    <a:pt x="903351" y="150971"/>
                  </a:lnTo>
                  <a:lnTo>
                    <a:pt x="900398" y="152876"/>
                  </a:lnTo>
                  <a:lnTo>
                    <a:pt x="898684" y="151543"/>
                  </a:lnTo>
                  <a:lnTo>
                    <a:pt x="894683" y="145637"/>
                  </a:lnTo>
                  <a:lnTo>
                    <a:pt x="891540" y="146018"/>
                  </a:lnTo>
                  <a:lnTo>
                    <a:pt x="889540" y="130207"/>
                  </a:lnTo>
                  <a:lnTo>
                    <a:pt x="884587" y="129254"/>
                  </a:lnTo>
                  <a:lnTo>
                    <a:pt x="880586" y="123349"/>
                  </a:lnTo>
                  <a:lnTo>
                    <a:pt x="877443" y="123730"/>
                  </a:lnTo>
                  <a:lnTo>
                    <a:pt x="874109" y="122587"/>
                  </a:lnTo>
                  <a:lnTo>
                    <a:pt x="871347" y="126111"/>
                  </a:lnTo>
                  <a:lnTo>
                    <a:pt x="868204" y="126587"/>
                  </a:lnTo>
                  <a:lnTo>
                    <a:pt x="864870" y="125349"/>
                  </a:lnTo>
                  <a:lnTo>
                    <a:pt x="863441" y="127159"/>
                  </a:lnTo>
                  <a:lnTo>
                    <a:pt x="865632" y="131731"/>
                  </a:lnTo>
                  <a:lnTo>
                    <a:pt x="846677" y="134112"/>
                  </a:lnTo>
                  <a:lnTo>
                    <a:pt x="841534" y="131540"/>
                  </a:lnTo>
                  <a:lnTo>
                    <a:pt x="820484" y="129445"/>
                  </a:lnTo>
                  <a:lnTo>
                    <a:pt x="820007" y="126302"/>
                  </a:lnTo>
                  <a:lnTo>
                    <a:pt x="816674" y="125063"/>
                  </a:lnTo>
                  <a:lnTo>
                    <a:pt x="816293" y="121920"/>
                  </a:lnTo>
                  <a:lnTo>
                    <a:pt x="810959" y="117824"/>
                  </a:lnTo>
                  <a:lnTo>
                    <a:pt x="812292" y="116015"/>
                  </a:lnTo>
                  <a:lnTo>
                    <a:pt x="810387" y="113062"/>
                  </a:lnTo>
                  <a:lnTo>
                    <a:pt x="805244" y="110490"/>
                  </a:lnTo>
                  <a:lnTo>
                    <a:pt x="801624" y="107728"/>
                  </a:lnTo>
                  <a:lnTo>
                    <a:pt x="800100" y="107918"/>
                  </a:lnTo>
                  <a:lnTo>
                    <a:pt x="796481" y="105251"/>
                  </a:lnTo>
                  <a:lnTo>
                    <a:pt x="787241" y="108013"/>
                  </a:lnTo>
                  <a:lnTo>
                    <a:pt x="784479" y="98774"/>
                  </a:lnTo>
                  <a:lnTo>
                    <a:pt x="779717" y="99346"/>
                  </a:lnTo>
                  <a:lnTo>
                    <a:pt x="774573" y="96774"/>
                  </a:lnTo>
                  <a:lnTo>
                    <a:pt x="775145" y="88678"/>
                  </a:lnTo>
                  <a:lnTo>
                    <a:pt x="778478" y="89821"/>
                  </a:lnTo>
                  <a:lnTo>
                    <a:pt x="779717" y="86487"/>
                  </a:lnTo>
                  <a:lnTo>
                    <a:pt x="790956" y="86677"/>
                  </a:lnTo>
                  <a:lnTo>
                    <a:pt x="799433" y="90392"/>
                  </a:lnTo>
                  <a:lnTo>
                    <a:pt x="799052" y="87249"/>
                  </a:lnTo>
                  <a:lnTo>
                    <a:pt x="792290" y="84868"/>
                  </a:lnTo>
                  <a:lnTo>
                    <a:pt x="790766" y="85058"/>
                  </a:lnTo>
                  <a:lnTo>
                    <a:pt x="788003" y="75819"/>
                  </a:lnTo>
                  <a:lnTo>
                    <a:pt x="784574" y="74676"/>
                  </a:lnTo>
                  <a:lnTo>
                    <a:pt x="772001" y="76295"/>
                  </a:lnTo>
                  <a:lnTo>
                    <a:pt x="768001" y="83153"/>
                  </a:lnTo>
                  <a:lnTo>
                    <a:pt x="761714" y="84011"/>
                  </a:lnTo>
                  <a:lnTo>
                    <a:pt x="758190" y="81248"/>
                  </a:lnTo>
                  <a:lnTo>
                    <a:pt x="759333" y="77915"/>
                  </a:lnTo>
                  <a:lnTo>
                    <a:pt x="758952" y="74676"/>
                  </a:lnTo>
                  <a:lnTo>
                    <a:pt x="755999" y="76676"/>
                  </a:lnTo>
                  <a:lnTo>
                    <a:pt x="753809" y="72200"/>
                  </a:lnTo>
                  <a:lnTo>
                    <a:pt x="749522" y="75914"/>
                  </a:lnTo>
                  <a:lnTo>
                    <a:pt x="734663" y="72961"/>
                  </a:lnTo>
                  <a:lnTo>
                    <a:pt x="732568" y="81248"/>
                  </a:lnTo>
                  <a:lnTo>
                    <a:pt x="729329" y="81725"/>
                  </a:lnTo>
                  <a:lnTo>
                    <a:pt x="727043" y="88392"/>
                  </a:lnTo>
                  <a:lnTo>
                    <a:pt x="725424" y="88582"/>
                  </a:lnTo>
                  <a:lnTo>
                    <a:pt x="720471" y="87630"/>
                  </a:lnTo>
                  <a:lnTo>
                    <a:pt x="719519" y="79724"/>
                  </a:lnTo>
                  <a:lnTo>
                    <a:pt x="708470" y="81153"/>
                  </a:lnTo>
                  <a:lnTo>
                    <a:pt x="703898" y="83344"/>
                  </a:lnTo>
                  <a:lnTo>
                    <a:pt x="702374" y="83534"/>
                  </a:lnTo>
                  <a:lnTo>
                    <a:pt x="701707" y="78772"/>
                  </a:lnTo>
                  <a:lnTo>
                    <a:pt x="705898" y="73438"/>
                  </a:lnTo>
                  <a:lnTo>
                    <a:pt x="705231" y="68771"/>
                  </a:lnTo>
                  <a:lnTo>
                    <a:pt x="711137" y="64770"/>
                  </a:lnTo>
                  <a:lnTo>
                    <a:pt x="712565" y="62960"/>
                  </a:lnTo>
                  <a:lnTo>
                    <a:pt x="710565" y="60007"/>
                  </a:lnTo>
                  <a:lnTo>
                    <a:pt x="714661" y="54673"/>
                  </a:lnTo>
                  <a:lnTo>
                    <a:pt x="714089" y="50006"/>
                  </a:lnTo>
                  <a:lnTo>
                    <a:pt x="719042" y="50959"/>
                  </a:lnTo>
                  <a:lnTo>
                    <a:pt x="725329" y="50102"/>
                  </a:lnTo>
                  <a:lnTo>
                    <a:pt x="725710" y="40481"/>
                  </a:lnTo>
                  <a:lnTo>
                    <a:pt x="723329" y="34385"/>
                  </a:lnTo>
                  <a:lnTo>
                    <a:pt x="723138" y="32766"/>
                  </a:lnTo>
                  <a:lnTo>
                    <a:pt x="718185" y="31813"/>
                  </a:lnTo>
                  <a:lnTo>
                    <a:pt x="715613" y="24098"/>
                  </a:lnTo>
                  <a:lnTo>
                    <a:pt x="711518" y="29432"/>
                  </a:lnTo>
                  <a:lnTo>
                    <a:pt x="709517" y="26479"/>
                  </a:lnTo>
                  <a:lnTo>
                    <a:pt x="710089" y="18383"/>
                  </a:lnTo>
                  <a:lnTo>
                    <a:pt x="708279" y="17050"/>
                  </a:lnTo>
                  <a:lnTo>
                    <a:pt x="707517" y="23527"/>
                  </a:lnTo>
                  <a:lnTo>
                    <a:pt x="701421" y="25908"/>
                  </a:lnTo>
                  <a:lnTo>
                    <a:pt x="701612" y="27527"/>
                  </a:lnTo>
                  <a:lnTo>
                    <a:pt x="698278" y="26289"/>
                  </a:lnTo>
                  <a:lnTo>
                    <a:pt x="695135" y="26670"/>
                  </a:lnTo>
                  <a:lnTo>
                    <a:pt x="689229" y="30671"/>
                  </a:lnTo>
                  <a:lnTo>
                    <a:pt x="684086" y="28099"/>
                  </a:lnTo>
                  <a:lnTo>
                    <a:pt x="683990" y="15335"/>
                  </a:lnTo>
                  <a:lnTo>
                    <a:pt x="680847" y="15716"/>
                  </a:lnTo>
                  <a:lnTo>
                    <a:pt x="679133" y="14288"/>
                  </a:lnTo>
                  <a:lnTo>
                    <a:pt x="675894" y="14764"/>
                  </a:lnTo>
                  <a:lnTo>
                    <a:pt x="676656" y="8192"/>
                  </a:lnTo>
                  <a:lnTo>
                    <a:pt x="671608" y="5620"/>
                  </a:lnTo>
                  <a:lnTo>
                    <a:pt x="672941" y="3905"/>
                  </a:lnTo>
                  <a:lnTo>
                    <a:pt x="676085" y="3524"/>
                  </a:lnTo>
                  <a:lnTo>
                    <a:pt x="674084" y="571"/>
                  </a:lnTo>
                  <a:lnTo>
                    <a:pt x="669798" y="4286"/>
                  </a:lnTo>
                  <a:lnTo>
                    <a:pt x="666655" y="4667"/>
                  </a:lnTo>
                  <a:lnTo>
                    <a:pt x="665417" y="8001"/>
                  </a:lnTo>
                  <a:lnTo>
                    <a:pt x="664464" y="12954"/>
                  </a:lnTo>
                  <a:lnTo>
                    <a:pt x="661321" y="13335"/>
                  </a:lnTo>
                  <a:lnTo>
                    <a:pt x="658749" y="18479"/>
                  </a:lnTo>
                  <a:lnTo>
                    <a:pt x="652272" y="17717"/>
                  </a:lnTo>
                  <a:lnTo>
                    <a:pt x="654368" y="9430"/>
                  </a:lnTo>
                  <a:lnTo>
                    <a:pt x="653225" y="0"/>
                  </a:lnTo>
                  <a:lnTo>
                    <a:pt x="651605" y="190"/>
                  </a:lnTo>
                  <a:lnTo>
                    <a:pt x="651986" y="3334"/>
                  </a:lnTo>
                  <a:lnTo>
                    <a:pt x="639032" y="1810"/>
                  </a:lnTo>
                  <a:lnTo>
                    <a:pt x="636080" y="3810"/>
                  </a:lnTo>
                  <a:lnTo>
                    <a:pt x="636270" y="5334"/>
                  </a:lnTo>
                  <a:lnTo>
                    <a:pt x="633317" y="7334"/>
                  </a:lnTo>
                  <a:lnTo>
                    <a:pt x="629888" y="6191"/>
                  </a:lnTo>
                  <a:lnTo>
                    <a:pt x="627983" y="3238"/>
                  </a:lnTo>
                  <a:lnTo>
                    <a:pt x="623221" y="3810"/>
                  </a:lnTo>
                  <a:lnTo>
                    <a:pt x="623411" y="5429"/>
                  </a:lnTo>
                  <a:lnTo>
                    <a:pt x="626745" y="6572"/>
                  </a:lnTo>
                  <a:lnTo>
                    <a:pt x="628745" y="9525"/>
                  </a:lnTo>
                  <a:lnTo>
                    <a:pt x="619887" y="28289"/>
                  </a:lnTo>
                  <a:lnTo>
                    <a:pt x="623507" y="31052"/>
                  </a:lnTo>
                  <a:lnTo>
                    <a:pt x="631127" y="28480"/>
                  </a:lnTo>
                  <a:lnTo>
                    <a:pt x="631603" y="31623"/>
                  </a:lnTo>
                  <a:lnTo>
                    <a:pt x="633317" y="32956"/>
                  </a:lnTo>
                  <a:lnTo>
                    <a:pt x="633984" y="37719"/>
                  </a:lnTo>
                  <a:lnTo>
                    <a:pt x="631222" y="41243"/>
                  </a:lnTo>
                  <a:lnTo>
                    <a:pt x="630460" y="47815"/>
                  </a:lnTo>
                  <a:lnTo>
                    <a:pt x="624269" y="50197"/>
                  </a:lnTo>
                  <a:lnTo>
                    <a:pt x="622935" y="51911"/>
                  </a:lnTo>
                  <a:lnTo>
                    <a:pt x="619220" y="47625"/>
                  </a:lnTo>
                  <a:lnTo>
                    <a:pt x="617411" y="46292"/>
                  </a:lnTo>
                  <a:lnTo>
                    <a:pt x="621792" y="55340"/>
                  </a:lnTo>
                  <a:lnTo>
                    <a:pt x="620363" y="57055"/>
                  </a:lnTo>
                  <a:lnTo>
                    <a:pt x="615410" y="56102"/>
                  </a:lnTo>
                  <a:lnTo>
                    <a:pt x="610934" y="58293"/>
                  </a:lnTo>
                  <a:lnTo>
                    <a:pt x="604361" y="57531"/>
                  </a:lnTo>
                  <a:lnTo>
                    <a:pt x="602837" y="57721"/>
                  </a:lnTo>
                  <a:lnTo>
                    <a:pt x="603599" y="64008"/>
                  </a:lnTo>
                  <a:lnTo>
                    <a:pt x="598932" y="64675"/>
                  </a:lnTo>
                  <a:lnTo>
                    <a:pt x="598075" y="58293"/>
                  </a:lnTo>
                  <a:lnTo>
                    <a:pt x="597122" y="63246"/>
                  </a:lnTo>
                  <a:lnTo>
                    <a:pt x="593789" y="62103"/>
                  </a:lnTo>
                  <a:lnTo>
                    <a:pt x="591788" y="59150"/>
                  </a:lnTo>
                  <a:lnTo>
                    <a:pt x="585502" y="59912"/>
                  </a:lnTo>
                  <a:lnTo>
                    <a:pt x="589026" y="62675"/>
                  </a:lnTo>
                  <a:lnTo>
                    <a:pt x="586073" y="64675"/>
                  </a:lnTo>
                  <a:lnTo>
                    <a:pt x="584930" y="68008"/>
                  </a:lnTo>
                  <a:lnTo>
                    <a:pt x="588264" y="69247"/>
                  </a:lnTo>
                  <a:lnTo>
                    <a:pt x="591788" y="71914"/>
                  </a:lnTo>
                  <a:lnTo>
                    <a:pt x="588645" y="72390"/>
                  </a:lnTo>
                  <a:lnTo>
                    <a:pt x="593598" y="86201"/>
                  </a:lnTo>
                  <a:lnTo>
                    <a:pt x="593979" y="89344"/>
                  </a:lnTo>
                  <a:lnTo>
                    <a:pt x="589312" y="89916"/>
                  </a:lnTo>
                  <a:lnTo>
                    <a:pt x="584168" y="100203"/>
                  </a:lnTo>
                  <a:lnTo>
                    <a:pt x="585407" y="109633"/>
                  </a:lnTo>
                  <a:lnTo>
                    <a:pt x="589598" y="117157"/>
                  </a:lnTo>
                  <a:lnTo>
                    <a:pt x="586550" y="119158"/>
                  </a:lnTo>
                  <a:lnTo>
                    <a:pt x="582073" y="121348"/>
                  </a:lnTo>
                  <a:lnTo>
                    <a:pt x="570167" y="116396"/>
                  </a:lnTo>
                  <a:lnTo>
                    <a:pt x="560927" y="106394"/>
                  </a:lnTo>
                  <a:lnTo>
                    <a:pt x="555593" y="102203"/>
                  </a:lnTo>
                  <a:lnTo>
                    <a:pt x="553593" y="99250"/>
                  </a:lnTo>
                  <a:lnTo>
                    <a:pt x="554546" y="94298"/>
                  </a:lnTo>
                  <a:lnTo>
                    <a:pt x="553022" y="94583"/>
                  </a:lnTo>
                  <a:lnTo>
                    <a:pt x="552641" y="104204"/>
                  </a:lnTo>
                  <a:lnTo>
                    <a:pt x="550831" y="102870"/>
                  </a:lnTo>
                  <a:lnTo>
                    <a:pt x="550069" y="96488"/>
                  </a:lnTo>
                  <a:lnTo>
                    <a:pt x="548259" y="95155"/>
                  </a:lnTo>
                  <a:lnTo>
                    <a:pt x="546640" y="95345"/>
                  </a:lnTo>
                  <a:lnTo>
                    <a:pt x="544735" y="92392"/>
                  </a:lnTo>
                  <a:lnTo>
                    <a:pt x="543116" y="92583"/>
                  </a:lnTo>
                  <a:lnTo>
                    <a:pt x="539591" y="89821"/>
                  </a:lnTo>
                  <a:lnTo>
                    <a:pt x="539782" y="91440"/>
                  </a:lnTo>
                  <a:lnTo>
                    <a:pt x="538163" y="91631"/>
                  </a:lnTo>
                  <a:lnTo>
                    <a:pt x="537401" y="85344"/>
                  </a:lnTo>
                  <a:lnTo>
                    <a:pt x="535781" y="85534"/>
                  </a:lnTo>
                  <a:lnTo>
                    <a:pt x="534448" y="87249"/>
                  </a:lnTo>
                  <a:lnTo>
                    <a:pt x="527685" y="84963"/>
                  </a:lnTo>
                  <a:lnTo>
                    <a:pt x="529304" y="84773"/>
                  </a:lnTo>
                  <a:lnTo>
                    <a:pt x="528923" y="81534"/>
                  </a:lnTo>
                  <a:lnTo>
                    <a:pt x="521399" y="85725"/>
                  </a:lnTo>
                  <a:lnTo>
                    <a:pt x="516446" y="84773"/>
                  </a:lnTo>
                  <a:lnTo>
                    <a:pt x="516636" y="86296"/>
                  </a:lnTo>
                  <a:lnTo>
                    <a:pt x="512921" y="82010"/>
                  </a:lnTo>
                  <a:lnTo>
                    <a:pt x="508730" y="87344"/>
                  </a:lnTo>
                  <a:lnTo>
                    <a:pt x="503206" y="81629"/>
                  </a:lnTo>
                  <a:lnTo>
                    <a:pt x="500444" y="85154"/>
                  </a:lnTo>
                  <a:lnTo>
                    <a:pt x="496919" y="82486"/>
                  </a:lnTo>
                  <a:lnTo>
                    <a:pt x="496157" y="76105"/>
                  </a:lnTo>
                  <a:lnTo>
                    <a:pt x="494729" y="77915"/>
                  </a:lnTo>
                  <a:lnTo>
                    <a:pt x="493967" y="71628"/>
                  </a:lnTo>
                  <a:lnTo>
                    <a:pt x="488252" y="77152"/>
                  </a:lnTo>
                  <a:lnTo>
                    <a:pt x="486823" y="78962"/>
                  </a:lnTo>
                  <a:lnTo>
                    <a:pt x="483870" y="80867"/>
                  </a:lnTo>
                  <a:lnTo>
                    <a:pt x="483679" y="79343"/>
                  </a:lnTo>
                  <a:lnTo>
                    <a:pt x="482346" y="81058"/>
                  </a:lnTo>
                  <a:lnTo>
                    <a:pt x="483489" y="90583"/>
                  </a:lnTo>
                  <a:lnTo>
                    <a:pt x="478822" y="91154"/>
                  </a:lnTo>
                  <a:lnTo>
                    <a:pt x="473678" y="88582"/>
                  </a:lnTo>
                  <a:lnTo>
                    <a:pt x="471106" y="93726"/>
                  </a:lnTo>
                  <a:lnTo>
                    <a:pt x="472916" y="95155"/>
                  </a:lnTo>
                  <a:lnTo>
                    <a:pt x="476060" y="94679"/>
                  </a:lnTo>
                  <a:lnTo>
                    <a:pt x="476250" y="96298"/>
                  </a:lnTo>
                  <a:lnTo>
                    <a:pt x="472059" y="101632"/>
                  </a:lnTo>
                  <a:lnTo>
                    <a:pt x="463772" y="99536"/>
                  </a:lnTo>
                  <a:lnTo>
                    <a:pt x="460820" y="101441"/>
                  </a:lnTo>
                  <a:lnTo>
                    <a:pt x="459867" y="106394"/>
                  </a:lnTo>
                  <a:lnTo>
                    <a:pt x="456914" y="108394"/>
                  </a:lnTo>
                  <a:lnTo>
                    <a:pt x="450437" y="107632"/>
                  </a:lnTo>
                  <a:lnTo>
                    <a:pt x="451009" y="112300"/>
                  </a:lnTo>
                  <a:lnTo>
                    <a:pt x="448247" y="115919"/>
                  </a:lnTo>
                  <a:lnTo>
                    <a:pt x="443294" y="114967"/>
                  </a:lnTo>
                  <a:lnTo>
                    <a:pt x="443484" y="116491"/>
                  </a:lnTo>
                  <a:lnTo>
                    <a:pt x="439007" y="118681"/>
                  </a:lnTo>
                  <a:lnTo>
                    <a:pt x="439388" y="121825"/>
                  </a:lnTo>
                  <a:lnTo>
                    <a:pt x="436626" y="125444"/>
                  </a:lnTo>
                  <a:lnTo>
                    <a:pt x="432911" y="121063"/>
                  </a:lnTo>
                  <a:lnTo>
                    <a:pt x="423386" y="122301"/>
                  </a:lnTo>
                  <a:lnTo>
                    <a:pt x="425006" y="134874"/>
                  </a:lnTo>
                  <a:lnTo>
                    <a:pt x="421862" y="135350"/>
                  </a:lnTo>
                  <a:lnTo>
                    <a:pt x="423291" y="133540"/>
                  </a:lnTo>
                  <a:lnTo>
                    <a:pt x="418148" y="130969"/>
                  </a:lnTo>
                  <a:lnTo>
                    <a:pt x="415766" y="137731"/>
                  </a:lnTo>
                  <a:lnTo>
                    <a:pt x="405670" y="134207"/>
                  </a:lnTo>
                  <a:lnTo>
                    <a:pt x="397764" y="135160"/>
                  </a:lnTo>
                  <a:lnTo>
                    <a:pt x="393478" y="138970"/>
                  </a:lnTo>
                  <a:lnTo>
                    <a:pt x="392906" y="146971"/>
                  </a:lnTo>
                  <a:lnTo>
                    <a:pt x="400812" y="158877"/>
                  </a:lnTo>
                  <a:lnTo>
                    <a:pt x="400812" y="158877"/>
                  </a:lnTo>
                  <a:lnTo>
                    <a:pt x="401193" y="162020"/>
                  </a:lnTo>
                  <a:lnTo>
                    <a:pt x="397859" y="160782"/>
                  </a:lnTo>
                  <a:lnTo>
                    <a:pt x="394907" y="162782"/>
                  </a:lnTo>
                  <a:lnTo>
                    <a:pt x="398240" y="163925"/>
                  </a:lnTo>
                  <a:lnTo>
                    <a:pt x="393764" y="166116"/>
                  </a:lnTo>
                  <a:lnTo>
                    <a:pt x="398907" y="168688"/>
                  </a:lnTo>
                  <a:lnTo>
                    <a:pt x="399479" y="173450"/>
                  </a:lnTo>
                  <a:lnTo>
                    <a:pt x="395288" y="178784"/>
                  </a:lnTo>
                  <a:lnTo>
                    <a:pt x="393954" y="180594"/>
                  </a:lnTo>
                  <a:lnTo>
                    <a:pt x="390620" y="179356"/>
                  </a:lnTo>
                  <a:lnTo>
                    <a:pt x="387858" y="182975"/>
                  </a:lnTo>
                  <a:lnTo>
                    <a:pt x="384905" y="184880"/>
                  </a:lnTo>
                  <a:lnTo>
                    <a:pt x="380714" y="190310"/>
                  </a:lnTo>
                  <a:lnTo>
                    <a:pt x="377571" y="190690"/>
                  </a:lnTo>
                  <a:lnTo>
                    <a:pt x="377762" y="192215"/>
                  </a:lnTo>
                  <a:lnTo>
                    <a:pt x="378047" y="193834"/>
                  </a:lnTo>
                  <a:lnTo>
                    <a:pt x="371285" y="191452"/>
                  </a:lnTo>
                  <a:lnTo>
                    <a:pt x="372142" y="197739"/>
                  </a:lnTo>
                  <a:lnTo>
                    <a:pt x="372332" y="199358"/>
                  </a:lnTo>
                  <a:lnTo>
                    <a:pt x="368903" y="198215"/>
                  </a:lnTo>
                  <a:lnTo>
                    <a:pt x="360236" y="192881"/>
                  </a:lnTo>
                  <a:lnTo>
                    <a:pt x="356521" y="188500"/>
                  </a:lnTo>
                  <a:lnTo>
                    <a:pt x="356045" y="185356"/>
                  </a:lnTo>
                  <a:lnTo>
                    <a:pt x="350901" y="182785"/>
                  </a:lnTo>
                  <a:lnTo>
                    <a:pt x="344424" y="182023"/>
                  </a:lnTo>
                  <a:lnTo>
                    <a:pt x="337757" y="192500"/>
                  </a:lnTo>
                  <a:lnTo>
                    <a:pt x="327851" y="190595"/>
                  </a:lnTo>
                  <a:lnTo>
                    <a:pt x="321564" y="191357"/>
                  </a:lnTo>
                  <a:lnTo>
                    <a:pt x="318611" y="193357"/>
                  </a:lnTo>
                  <a:lnTo>
                    <a:pt x="317564" y="185452"/>
                  </a:lnTo>
                  <a:lnTo>
                    <a:pt x="310515" y="179927"/>
                  </a:lnTo>
                  <a:lnTo>
                    <a:pt x="304610" y="183928"/>
                  </a:lnTo>
                  <a:lnTo>
                    <a:pt x="299466" y="181356"/>
                  </a:lnTo>
                  <a:lnTo>
                    <a:pt x="299847" y="184499"/>
                  </a:lnTo>
                  <a:lnTo>
                    <a:pt x="296704" y="184976"/>
                  </a:lnTo>
                  <a:lnTo>
                    <a:pt x="294704" y="182023"/>
                  </a:lnTo>
                  <a:lnTo>
                    <a:pt x="295847" y="178594"/>
                  </a:lnTo>
                  <a:lnTo>
                    <a:pt x="292894" y="180594"/>
                  </a:lnTo>
                  <a:lnTo>
                    <a:pt x="293942" y="175641"/>
                  </a:lnTo>
                  <a:lnTo>
                    <a:pt x="290513" y="174498"/>
                  </a:lnTo>
                  <a:lnTo>
                    <a:pt x="284226" y="175260"/>
                  </a:lnTo>
                  <a:lnTo>
                    <a:pt x="280702" y="172498"/>
                  </a:lnTo>
                  <a:lnTo>
                    <a:pt x="275749" y="171545"/>
                  </a:lnTo>
                  <a:lnTo>
                    <a:pt x="274796" y="176498"/>
                  </a:lnTo>
                  <a:lnTo>
                    <a:pt x="270224" y="178689"/>
                  </a:lnTo>
                  <a:lnTo>
                    <a:pt x="264509" y="184214"/>
                  </a:lnTo>
                  <a:lnTo>
                    <a:pt x="260794" y="179927"/>
                  </a:lnTo>
                  <a:lnTo>
                    <a:pt x="258794" y="176974"/>
                  </a:lnTo>
                  <a:lnTo>
                    <a:pt x="257365" y="178689"/>
                  </a:lnTo>
                  <a:lnTo>
                    <a:pt x="256032" y="180499"/>
                  </a:lnTo>
                  <a:lnTo>
                    <a:pt x="249936" y="182880"/>
                  </a:lnTo>
                  <a:lnTo>
                    <a:pt x="244602" y="178784"/>
                  </a:lnTo>
                  <a:lnTo>
                    <a:pt x="243364" y="182118"/>
                  </a:lnTo>
                  <a:lnTo>
                    <a:pt x="234982" y="191167"/>
                  </a:lnTo>
                  <a:lnTo>
                    <a:pt x="230219" y="191833"/>
                  </a:lnTo>
                  <a:lnTo>
                    <a:pt x="223266" y="187833"/>
                  </a:lnTo>
                  <a:lnTo>
                    <a:pt x="216599" y="185547"/>
                  </a:lnTo>
                  <a:lnTo>
                    <a:pt x="215170" y="187261"/>
                  </a:lnTo>
                  <a:lnTo>
                    <a:pt x="220694" y="192977"/>
                  </a:lnTo>
                  <a:lnTo>
                    <a:pt x="221933" y="202502"/>
                  </a:lnTo>
                  <a:lnTo>
                    <a:pt x="207550" y="202692"/>
                  </a:lnTo>
                  <a:lnTo>
                    <a:pt x="195072" y="205931"/>
                  </a:lnTo>
                  <a:lnTo>
                    <a:pt x="195358" y="207455"/>
                  </a:lnTo>
                  <a:lnTo>
                    <a:pt x="198882" y="210217"/>
                  </a:lnTo>
                  <a:lnTo>
                    <a:pt x="200311" y="221266"/>
                  </a:lnTo>
                  <a:lnTo>
                    <a:pt x="200882" y="226028"/>
                  </a:lnTo>
                  <a:lnTo>
                    <a:pt x="192596" y="223837"/>
                  </a:lnTo>
                  <a:lnTo>
                    <a:pt x="193929" y="222123"/>
                  </a:lnTo>
                  <a:lnTo>
                    <a:pt x="192024" y="219170"/>
                  </a:lnTo>
                  <a:lnTo>
                    <a:pt x="190214" y="204883"/>
                  </a:lnTo>
                  <a:lnTo>
                    <a:pt x="184594" y="199168"/>
                  </a:lnTo>
                  <a:lnTo>
                    <a:pt x="174593" y="195644"/>
                  </a:lnTo>
                  <a:lnTo>
                    <a:pt x="160401" y="197453"/>
                  </a:lnTo>
                  <a:lnTo>
                    <a:pt x="160782" y="200692"/>
                  </a:lnTo>
                  <a:lnTo>
                    <a:pt x="157448" y="199453"/>
                  </a:lnTo>
                  <a:lnTo>
                    <a:pt x="157829" y="202597"/>
                  </a:lnTo>
                  <a:lnTo>
                    <a:pt x="153067" y="203264"/>
                  </a:lnTo>
                  <a:lnTo>
                    <a:pt x="150114" y="205169"/>
                  </a:lnTo>
                  <a:lnTo>
                    <a:pt x="149924" y="216408"/>
                  </a:lnTo>
                  <a:lnTo>
                    <a:pt x="143256" y="214122"/>
                  </a:lnTo>
                  <a:lnTo>
                    <a:pt x="139351" y="220980"/>
                  </a:lnTo>
                  <a:lnTo>
                    <a:pt x="136684" y="213360"/>
                  </a:lnTo>
                  <a:lnTo>
                    <a:pt x="129635" y="207836"/>
                  </a:lnTo>
                  <a:lnTo>
                    <a:pt x="118586" y="209264"/>
                  </a:lnTo>
                  <a:lnTo>
                    <a:pt x="108490" y="205740"/>
                  </a:lnTo>
                  <a:lnTo>
                    <a:pt x="106299" y="214027"/>
                  </a:lnTo>
                  <a:lnTo>
                    <a:pt x="100870" y="221075"/>
                  </a:lnTo>
                  <a:lnTo>
                    <a:pt x="97631" y="221552"/>
                  </a:lnTo>
                  <a:lnTo>
                    <a:pt x="87630" y="230791"/>
                  </a:lnTo>
                  <a:lnTo>
                    <a:pt x="85058" y="235934"/>
                  </a:lnTo>
                  <a:lnTo>
                    <a:pt x="86106" y="243840"/>
                  </a:lnTo>
                  <a:lnTo>
                    <a:pt x="82201" y="250793"/>
                  </a:lnTo>
                  <a:lnTo>
                    <a:pt x="79820" y="257461"/>
                  </a:lnTo>
                  <a:lnTo>
                    <a:pt x="70295" y="258699"/>
                  </a:lnTo>
                  <a:lnTo>
                    <a:pt x="70009" y="281178"/>
                  </a:lnTo>
                  <a:lnTo>
                    <a:pt x="68199" y="279749"/>
                  </a:lnTo>
                  <a:lnTo>
                    <a:pt x="64865" y="278606"/>
                  </a:lnTo>
                  <a:lnTo>
                    <a:pt x="62865" y="275653"/>
                  </a:lnTo>
                  <a:lnTo>
                    <a:pt x="59722" y="276035"/>
                  </a:lnTo>
                  <a:lnTo>
                    <a:pt x="55626" y="281369"/>
                  </a:lnTo>
                  <a:lnTo>
                    <a:pt x="51435" y="286703"/>
                  </a:lnTo>
                  <a:lnTo>
                    <a:pt x="54007" y="294418"/>
                  </a:lnTo>
                  <a:lnTo>
                    <a:pt x="53245" y="300990"/>
                  </a:lnTo>
                  <a:lnTo>
                    <a:pt x="50959" y="307657"/>
                  </a:lnTo>
                  <a:lnTo>
                    <a:pt x="46387" y="309848"/>
                  </a:lnTo>
                  <a:lnTo>
                    <a:pt x="45053" y="311658"/>
                  </a:lnTo>
                  <a:lnTo>
                    <a:pt x="49816" y="323850"/>
                  </a:lnTo>
                  <a:lnTo>
                    <a:pt x="45625" y="329184"/>
                  </a:lnTo>
                  <a:lnTo>
                    <a:pt x="52578" y="333089"/>
                  </a:lnTo>
                  <a:lnTo>
                    <a:pt x="51340" y="336423"/>
                  </a:lnTo>
                  <a:lnTo>
                    <a:pt x="50197" y="339852"/>
                  </a:lnTo>
                  <a:lnTo>
                    <a:pt x="48196" y="336899"/>
                  </a:lnTo>
                  <a:lnTo>
                    <a:pt x="3524" y="363379"/>
                  </a:lnTo>
                  <a:lnTo>
                    <a:pt x="0" y="373475"/>
                  </a:lnTo>
                  <a:lnTo>
                    <a:pt x="2381" y="379571"/>
                  </a:lnTo>
                  <a:lnTo>
                    <a:pt x="1333" y="384524"/>
                  </a:lnTo>
                  <a:lnTo>
                    <a:pt x="3715" y="390620"/>
                  </a:lnTo>
                  <a:lnTo>
                    <a:pt x="7525" y="395002"/>
                  </a:lnTo>
                  <a:lnTo>
                    <a:pt x="6382" y="398336"/>
                  </a:lnTo>
                  <a:lnTo>
                    <a:pt x="14669" y="400526"/>
                  </a:lnTo>
                  <a:lnTo>
                    <a:pt x="16573" y="403479"/>
                  </a:lnTo>
                  <a:lnTo>
                    <a:pt x="17621" y="411290"/>
                  </a:lnTo>
                  <a:lnTo>
                    <a:pt x="24765" y="429673"/>
                  </a:lnTo>
                  <a:lnTo>
                    <a:pt x="30099" y="433769"/>
                  </a:lnTo>
                  <a:lnTo>
                    <a:pt x="38195" y="434340"/>
                  </a:lnTo>
                  <a:lnTo>
                    <a:pt x="55626" y="445008"/>
                  </a:lnTo>
                  <a:lnTo>
                    <a:pt x="56388" y="451294"/>
                  </a:lnTo>
                  <a:lnTo>
                    <a:pt x="63341" y="455200"/>
                  </a:lnTo>
                  <a:lnTo>
                    <a:pt x="68008" y="454628"/>
                  </a:lnTo>
                  <a:lnTo>
                    <a:pt x="69818" y="455962"/>
                  </a:lnTo>
                  <a:lnTo>
                    <a:pt x="77533" y="453390"/>
                  </a:lnTo>
                  <a:lnTo>
                    <a:pt x="82487" y="454343"/>
                  </a:lnTo>
                  <a:lnTo>
                    <a:pt x="82106" y="464058"/>
                  </a:lnTo>
                  <a:lnTo>
                    <a:pt x="87058" y="477869"/>
                  </a:lnTo>
                  <a:lnTo>
                    <a:pt x="81534" y="485013"/>
                  </a:lnTo>
                  <a:lnTo>
                    <a:pt x="84106" y="492633"/>
                  </a:lnTo>
                  <a:lnTo>
                    <a:pt x="78391" y="498253"/>
                  </a:lnTo>
                  <a:lnTo>
                    <a:pt x="77248" y="501586"/>
                  </a:lnTo>
                  <a:lnTo>
                    <a:pt x="79248" y="504539"/>
                  </a:lnTo>
                  <a:lnTo>
                    <a:pt x="84106" y="505492"/>
                  </a:lnTo>
                  <a:lnTo>
                    <a:pt x="85916" y="506825"/>
                  </a:lnTo>
                  <a:lnTo>
                    <a:pt x="84773" y="510254"/>
                  </a:lnTo>
                  <a:lnTo>
                    <a:pt x="80582" y="515588"/>
                  </a:lnTo>
                  <a:lnTo>
                    <a:pt x="81439" y="521875"/>
                  </a:lnTo>
                  <a:lnTo>
                    <a:pt x="89726" y="524065"/>
                  </a:lnTo>
                  <a:lnTo>
                    <a:pt x="88297" y="525780"/>
                  </a:lnTo>
                  <a:lnTo>
                    <a:pt x="83820" y="527971"/>
                  </a:lnTo>
                  <a:lnTo>
                    <a:pt x="84392" y="532733"/>
                  </a:lnTo>
                  <a:lnTo>
                    <a:pt x="90964" y="533495"/>
                  </a:lnTo>
                  <a:lnTo>
                    <a:pt x="96869" y="529495"/>
                  </a:lnTo>
                  <a:lnTo>
                    <a:pt x="104965" y="530066"/>
                  </a:lnTo>
                  <a:lnTo>
                    <a:pt x="106870" y="533114"/>
                  </a:lnTo>
                  <a:lnTo>
                    <a:pt x="105537" y="534829"/>
                  </a:lnTo>
                  <a:lnTo>
                    <a:pt x="104108" y="536639"/>
                  </a:lnTo>
                  <a:lnTo>
                    <a:pt x="108299" y="544068"/>
                  </a:lnTo>
                  <a:lnTo>
                    <a:pt x="108585" y="558546"/>
                  </a:lnTo>
                  <a:lnTo>
                    <a:pt x="118205" y="571690"/>
                  </a:lnTo>
                  <a:lnTo>
                    <a:pt x="114110" y="589883"/>
                  </a:lnTo>
                  <a:lnTo>
                    <a:pt x="115729" y="602456"/>
                  </a:lnTo>
                  <a:lnTo>
                    <a:pt x="119348" y="605219"/>
                  </a:lnTo>
                  <a:lnTo>
                    <a:pt x="121920" y="612934"/>
                  </a:lnTo>
                  <a:lnTo>
                    <a:pt x="126016" y="620458"/>
                  </a:lnTo>
                  <a:lnTo>
                    <a:pt x="129445" y="621602"/>
                  </a:lnTo>
                  <a:lnTo>
                    <a:pt x="125254" y="626936"/>
                  </a:lnTo>
                  <a:lnTo>
                    <a:pt x="135922" y="635222"/>
                  </a:lnTo>
                  <a:lnTo>
                    <a:pt x="140875" y="636175"/>
                  </a:lnTo>
                  <a:lnTo>
                    <a:pt x="142875" y="639128"/>
                  </a:lnTo>
                  <a:lnTo>
                    <a:pt x="145828" y="637127"/>
                  </a:lnTo>
                  <a:lnTo>
                    <a:pt x="147828" y="640080"/>
                  </a:lnTo>
                  <a:lnTo>
                    <a:pt x="152495" y="639508"/>
                  </a:lnTo>
                  <a:lnTo>
                    <a:pt x="153734" y="636175"/>
                  </a:lnTo>
                  <a:lnTo>
                    <a:pt x="158210" y="633984"/>
                  </a:lnTo>
                  <a:lnTo>
                    <a:pt x="162973" y="646176"/>
                  </a:lnTo>
                  <a:lnTo>
                    <a:pt x="162020" y="651129"/>
                  </a:lnTo>
                  <a:lnTo>
                    <a:pt x="161639" y="660845"/>
                  </a:lnTo>
                  <a:lnTo>
                    <a:pt x="159544" y="669131"/>
                  </a:lnTo>
                  <a:lnTo>
                    <a:pt x="162306" y="678370"/>
                  </a:lnTo>
                  <a:lnTo>
                    <a:pt x="161735" y="686467"/>
                  </a:lnTo>
                  <a:lnTo>
                    <a:pt x="153638" y="698754"/>
                  </a:lnTo>
                  <a:lnTo>
                    <a:pt x="156782" y="698278"/>
                  </a:lnTo>
                  <a:lnTo>
                    <a:pt x="161163" y="707327"/>
                  </a:lnTo>
                  <a:lnTo>
                    <a:pt x="164497" y="708565"/>
                  </a:lnTo>
                  <a:lnTo>
                    <a:pt x="170116" y="727043"/>
                  </a:lnTo>
                  <a:lnTo>
                    <a:pt x="168974" y="730472"/>
                  </a:lnTo>
                  <a:lnTo>
                    <a:pt x="170307" y="741521"/>
                  </a:lnTo>
                  <a:lnTo>
                    <a:pt x="167831" y="746665"/>
                  </a:lnTo>
                  <a:lnTo>
                    <a:pt x="185166" y="757237"/>
                  </a:lnTo>
                  <a:lnTo>
                    <a:pt x="206312" y="759333"/>
                  </a:lnTo>
                  <a:lnTo>
                    <a:pt x="209455" y="771811"/>
                  </a:lnTo>
                  <a:lnTo>
                    <a:pt x="222885" y="776478"/>
                  </a:lnTo>
                  <a:lnTo>
                    <a:pt x="239744" y="795147"/>
                  </a:lnTo>
                  <a:lnTo>
                    <a:pt x="241554" y="809435"/>
                  </a:lnTo>
                  <a:lnTo>
                    <a:pt x="239363" y="817721"/>
                  </a:lnTo>
                  <a:lnTo>
                    <a:pt x="245745" y="829723"/>
                  </a:lnTo>
                  <a:lnTo>
                    <a:pt x="252413" y="832009"/>
                  </a:lnTo>
                  <a:lnTo>
                    <a:pt x="254603" y="836581"/>
                  </a:lnTo>
                  <a:lnTo>
                    <a:pt x="252698" y="846487"/>
                  </a:lnTo>
                  <a:lnTo>
                    <a:pt x="253079" y="849630"/>
                  </a:lnTo>
                  <a:lnTo>
                    <a:pt x="256413" y="850773"/>
                  </a:lnTo>
                  <a:lnTo>
                    <a:pt x="266700" y="855916"/>
                  </a:lnTo>
                  <a:lnTo>
                    <a:pt x="276797" y="859441"/>
                  </a:lnTo>
                  <a:lnTo>
                    <a:pt x="294323" y="858774"/>
                  </a:lnTo>
                  <a:lnTo>
                    <a:pt x="299085" y="858203"/>
                  </a:lnTo>
                  <a:lnTo>
                    <a:pt x="300419" y="856393"/>
                  </a:lnTo>
                  <a:lnTo>
                    <a:pt x="302038" y="856202"/>
                  </a:lnTo>
                  <a:lnTo>
                    <a:pt x="306229" y="863727"/>
                  </a:lnTo>
                  <a:lnTo>
                    <a:pt x="310706" y="861536"/>
                  </a:lnTo>
                  <a:lnTo>
                    <a:pt x="321374" y="869823"/>
                  </a:lnTo>
                  <a:lnTo>
                    <a:pt x="329660" y="871919"/>
                  </a:lnTo>
                  <a:lnTo>
                    <a:pt x="328517" y="862489"/>
                  </a:lnTo>
                  <a:lnTo>
                    <a:pt x="326136" y="856393"/>
                  </a:lnTo>
                  <a:lnTo>
                    <a:pt x="325279" y="850011"/>
                  </a:lnTo>
                  <a:lnTo>
                    <a:pt x="341662" y="852773"/>
                  </a:lnTo>
                  <a:lnTo>
                    <a:pt x="348615" y="856678"/>
                  </a:lnTo>
                  <a:lnTo>
                    <a:pt x="352139" y="859441"/>
                  </a:lnTo>
                  <a:lnTo>
                    <a:pt x="359855" y="856869"/>
                  </a:lnTo>
                  <a:lnTo>
                    <a:pt x="366808" y="860774"/>
                  </a:lnTo>
                  <a:lnTo>
                    <a:pt x="371475" y="860203"/>
                  </a:lnTo>
                  <a:lnTo>
                    <a:pt x="374809" y="861346"/>
                  </a:lnTo>
                  <a:lnTo>
                    <a:pt x="380429" y="867061"/>
                  </a:lnTo>
                  <a:lnTo>
                    <a:pt x="383572" y="866680"/>
                  </a:lnTo>
                  <a:lnTo>
                    <a:pt x="390430" y="870585"/>
                  </a:lnTo>
                  <a:lnTo>
                    <a:pt x="400145" y="883825"/>
                  </a:lnTo>
                  <a:lnTo>
                    <a:pt x="404336" y="891254"/>
                  </a:lnTo>
                  <a:lnTo>
                    <a:pt x="411671" y="898398"/>
                  </a:lnTo>
                  <a:lnTo>
                    <a:pt x="414052" y="904494"/>
                  </a:lnTo>
                  <a:lnTo>
                    <a:pt x="428816" y="907447"/>
                  </a:lnTo>
                  <a:lnTo>
                    <a:pt x="429673" y="926592"/>
                  </a:lnTo>
                  <a:lnTo>
                    <a:pt x="428339" y="928307"/>
                  </a:lnTo>
                  <a:lnTo>
                    <a:pt x="425958" y="935069"/>
                  </a:lnTo>
                  <a:lnTo>
                    <a:pt x="431292" y="952024"/>
                  </a:lnTo>
                  <a:lnTo>
                    <a:pt x="445960" y="953357"/>
                  </a:lnTo>
                  <a:lnTo>
                    <a:pt x="447866" y="956310"/>
                  </a:lnTo>
                  <a:lnTo>
                    <a:pt x="446913" y="961263"/>
                  </a:lnTo>
                  <a:lnTo>
                    <a:pt x="449294" y="967359"/>
                  </a:lnTo>
                  <a:lnTo>
                    <a:pt x="454438" y="969931"/>
                  </a:lnTo>
                  <a:lnTo>
                    <a:pt x="458152" y="974217"/>
                  </a:lnTo>
                  <a:lnTo>
                    <a:pt x="464534" y="973455"/>
                  </a:lnTo>
                  <a:lnTo>
                    <a:pt x="466725" y="977932"/>
                  </a:lnTo>
                  <a:lnTo>
                    <a:pt x="469106" y="984028"/>
                  </a:lnTo>
                  <a:lnTo>
                    <a:pt x="467106" y="993934"/>
                  </a:lnTo>
                  <a:lnTo>
                    <a:pt x="486537" y="1007555"/>
                  </a:lnTo>
                  <a:lnTo>
                    <a:pt x="485966" y="1015651"/>
                  </a:lnTo>
                  <a:lnTo>
                    <a:pt x="483394" y="1020699"/>
                  </a:lnTo>
                  <a:lnTo>
                    <a:pt x="483775" y="1023937"/>
                  </a:lnTo>
                  <a:lnTo>
                    <a:pt x="492824" y="1032320"/>
                  </a:lnTo>
                  <a:lnTo>
                    <a:pt x="497586" y="1031748"/>
                  </a:lnTo>
                  <a:lnTo>
                    <a:pt x="503301" y="1039082"/>
                  </a:lnTo>
                  <a:lnTo>
                    <a:pt x="505111" y="1040416"/>
                  </a:lnTo>
                  <a:lnTo>
                    <a:pt x="509302" y="1047940"/>
                  </a:lnTo>
                  <a:lnTo>
                    <a:pt x="520351" y="1059371"/>
                  </a:lnTo>
                  <a:lnTo>
                    <a:pt x="526828" y="1060133"/>
                  </a:lnTo>
                  <a:lnTo>
                    <a:pt x="528828" y="1063085"/>
                  </a:lnTo>
                  <a:lnTo>
                    <a:pt x="530066" y="1072515"/>
                  </a:lnTo>
                  <a:lnTo>
                    <a:pt x="524732" y="1094041"/>
                  </a:lnTo>
                  <a:lnTo>
                    <a:pt x="534257" y="1105662"/>
                  </a:lnTo>
                  <a:lnTo>
                    <a:pt x="550450" y="1119664"/>
                  </a:lnTo>
                  <a:lnTo>
                    <a:pt x="571024" y="1129856"/>
                  </a:lnTo>
                  <a:lnTo>
                    <a:pt x="587978" y="1124522"/>
                  </a:lnTo>
                  <a:lnTo>
                    <a:pt x="603790" y="1122426"/>
                  </a:lnTo>
                  <a:lnTo>
                    <a:pt x="608933" y="1124998"/>
                  </a:lnTo>
                  <a:lnTo>
                    <a:pt x="623792" y="1140809"/>
                  </a:lnTo>
                  <a:lnTo>
                    <a:pt x="628841" y="1143286"/>
                  </a:lnTo>
                  <a:lnTo>
                    <a:pt x="634270" y="1147477"/>
                  </a:lnTo>
                  <a:lnTo>
                    <a:pt x="634841" y="1152239"/>
                  </a:lnTo>
                  <a:lnTo>
                    <a:pt x="641509" y="1154525"/>
                  </a:lnTo>
                  <a:lnTo>
                    <a:pt x="647319" y="1161860"/>
                  </a:lnTo>
                  <a:lnTo>
                    <a:pt x="649891" y="1169480"/>
                  </a:lnTo>
                  <a:lnTo>
                    <a:pt x="655225" y="1173671"/>
                  </a:lnTo>
                  <a:lnTo>
                    <a:pt x="661130" y="1182529"/>
                  </a:lnTo>
                  <a:lnTo>
                    <a:pt x="662940" y="1183862"/>
                  </a:lnTo>
                  <a:lnTo>
                    <a:pt x="666464" y="1186625"/>
                  </a:lnTo>
                  <a:lnTo>
                    <a:pt x="671227" y="1198912"/>
                  </a:lnTo>
                  <a:lnTo>
                    <a:pt x="675989" y="1198245"/>
                  </a:lnTo>
                  <a:lnTo>
                    <a:pt x="676561" y="1203008"/>
                  </a:lnTo>
                  <a:lnTo>
                    <a:pt x="681323" y="1202436"/>
                  </a:lnTo>
                  <a:lnTo>
                    <a:pt x="684848" y="1205198"/>
                  </a:lnTo>
                  <a:lnTo>
                    <a:pt x="684086" y="1211675"/>
                  </a:lnTo>
                  <a:lnTo>
                    <a:pt x="681323" y="1215200"/>
                  </a:lnTo>
                  <a:lnTo>
                    <a:pt x="681323" y="1215200"/>
                  </a:lnTo>
                  <a:lnTo>
                    <a:pt x="685324" y="1221105"/>
                  </a:lnTo>
                  <a:lnTo>
                    <a:pt x="690467" y="1236536"/>
                  </a:lnTo>
                  <a:lnTo>
                    <a:pt x="687705" y="1240060"/>
                  </a:lnTo>
                  <a:lnTo>
                    <a:pt x="685610" y="1248347"/>
                  </a:lnTo>
                  <a:lnTo>
                    <a:pt x="691706" y="1258824"/>
                  </a:lnTo>
                  <a:lnTo>
                    <a:pt x="691896" y="1260348"/>
                  </a:lnTo>
                  <a:lnTo>
                    <a:pt x="688181" y="1268921"/>
                  </a:lnTo>
                  <a:lnTo>
                    <a:pt x="686276" y="1278731"/>
                  </a:lnTo>
                  <a:lnTo>
                    <a:pt x="703802" y="1290923"/>
                  </a:lnTo>
                  <a:lnTo>
                    <a:pt x="704469" y="1295686"/>
                  </a:lnTo>
                  <a:lnTo>
                    <a:pt x="709327" y="1296638"/>
                  </a:lnTo>
                  <a:lnTo>
                    <a:pt x="716661" y="1303687"/>
                  </a:lnTo>
                  <a:lnTo>
                    <a:pt x="728567" y="1308640"/>
                  </a:lnTo>
                  <a:lnTo>
                    <a:pt x="734282" y="1315974"/>
                  </a:lnTo>
                  <a:lnTo>
                    <a:pt x="744569" y="1321022"/>
                  </a:lnTo>
                  <a:lnTo>
                    <a:pt x="745141" y="1325785"/>
                  </a:lnTo>
                  <a:lnTo>
                    <a:pt x="753999" y="1332643"/>
                  </a:lnTo>
                  <a:lnTo>
                    <a:pt x="761905" y="1331690"/>
                  </a:lnTo>
                  <a:lnTo>
                    <a:pt x="760857" y="1310926"/>
                  </a:lnTo>
                  <a:lnTo>
                    <a:pt x="762857" y="1301020"/>
                  </a:lnTo>
                  <a:lnTo>
                    <a:pt x="767810" y="1302068"/>
                  </a:lnTo>
                  <a:lnTo>
                    <a:pt x="775049" y="1296257"/>
                  </a:lnTo>
                  <a:lnTo>
                    <a:pt x="779812" y="1295686"/>
                  </a:lnTo>
                  <a:lnTo>
                    <a:pt x="788861" y="1304163"/>
                  </a:lnTo>
                  <a:lnTo>
                    <a:pt x="793623" y="1303591"/>
                  </a:lnTo>
                  <a:lnTo>
                    <a:pt x="792671" y="1295686"/>
                  </a:lnTo>
                  <a:lnTo>
                    <a:pt x="793623" y="1290733"/>
                  </a:lnTo>
                  <a:lnTo>
                    <a:pt x="786860" y="1288352"/>
                  </a:lnTo>
                  <a:lnTo>
                    <a:pt x="782955" y="1282446"/>
                  </a:lnTo>
                  <a:lnTo>
                    <a:pt x="785051" y="1274159"/>
                  </a:lnTo>
                  <a:lnTo>
                    <a:pt x="784479" y="1269397"/>
                  </a:lnTo>
                  <a:lnTo>
                    <a:pt x="789813" y="1260729"/>
                  </a:lnTo>
                  <a:lnTo>
                    <a:pt x="789146" y="1255966"/>
                  </a:lnTo>
                  <a:lnTo>
                    <a:pt x="790004" y="1249490"/>
                  </a:lnTo>
                  <a:lnTo>
                    <a:pt x="788003" y="1246537"/>
                  </a:lnTo>
                  <a:lnTo>
                    <a:pt x="796195" y="1235869"/>
                  </a:lnTo>
                  <a:lnTo>
                    <a:pt x="798005" y="1224439"/>
                  </a:lnTo>
                  <a:lnTo>
                    <a:pt x="807625" y="1211961"/>
                  </a:lnTo>
                  <a:lnTo>
                    <a:pt x="807244" y="1208818"/>
                  </a:lnTo>
                  <a:lnTo>
                    <a:pt x="808768" y="1208627"/>
                  </a:lnTo>
                  <a:lnTo>
                    <a:pt x="810768" y="1211580"/>
                  </a:lnTo>
                  <a:lnTo>
                    <a:pt x="814102" y="1212723"/>
                  </a:lnTo>
                  <a:lnTo>
                    <a:pt x="817912" y="1217105"/>
                  </a:lnTo>
                  <a:lnTo>
                    <a:pt x="830675" y="1204246"/>
                  </a:lnTo>
                  <a:lnTo>
                    <a:pt x="832866" y="1195959"/>
                  </a:lnTo>
                  <a:lnTo>
                    <a:pt x="834009" y="1192530"/>
                  </a:lnTo>
                  <a:lnTo>
                    <a:pt x="833247" y="1186244"/>
                  </a:lnTo>
                  <a:lnTo>
                    <a:pt x="825341" y="1174433"/>
                  </a:lnTo>
                  <a:lnTo>
                    <a:pt x="827437" y="1166146"/>
                  </a:lnTo>
                  <a:lnTo>
                    <a:pt x="825437" y="1163193"/>
                  </a:lnTo>
                  <a:lnTo>
                    <a:pt x="818388" y="1157669"/>
                  </a:lnTo>
                  <a:lnTo>
                    <a:pt x="815531" y="1148429"/>
                  </a:lnTo>
                  <a:lnTo>
                    <a:pt x="815340" y="1146810"/>
                  </a:lnTo>
                  <a:lnTo>
                    <a:pt x="826199" y="1143857"/>
                  </a:lnTo>
                  <a:lnTo>
                    <a:pt x="827342" y="1140524"/>
                  </a:lnTo>
                  <a:lnTo>
                    <a:pt x="825818" y="1127855"/>
                  </a:lnTo>
                  <a:lnTo>
                    <a:pt x="822389" y="1126712"/>
                  </a:lnTo>
                  <a:lnTo>
                    <a:pt x="823436" y="1121759"/>
                  </a:lnTo>
                  <a:lnTo>
                    <a:pt x="824579" y="1118426"/>
                  </a:lnTo>
                  <a:lnTo>
                    <a:pt x="824389" y="1116806"/>
                  </a:lnTo>
                  <a:lnTo>
                    <a:pt x="826675" y="1110139"/>
                  </a:lnTo>
                  <a:lnTo>
                    <a:pt x="829723" y="1108139"/>
                  </a:lnTo>
                  <a:lnTo>
                    <a:pt x="831056" y="1106329"/>
                  </a:lnTo>
                  <a:lnTo>
                    <a:pt x="829056" y="1103376"/>
                  </a:lnTo>
                  <a:lnTo>
                    <a:pt x="822389" y="1100995"/>
                  </a:lnTo>
                  <a:lnTo>
                    <a:pt x="822198" y="1099471"/>
                  </a:lnTo>
                  <a:lnTo>
                    <a:pt x="823532" y="1097661"/>
                  </a:lnTo>
                  <a:lnTo>
                    <a:pt x="836581" y="1099185"/>
                  </a:lnTo>
                  <a:lnTo>
                    <a:pt x="836771" y="1100804"/>
                  </a:lnTo>
                  <a:lnTo>
                    <a:pt x="833819" y="1102805"/>
                  </a:lnTo>
                  <a:lnTo>
                    <a:pt x="842296" y="1106519"/>
                  </a:lnTo>
                  <a:lnTo>
                    <a:pt x="847058" y="1105948"/>
                  </a:lnTo>
                  <a:lnTo>
                    <a:pt x="849059" y="1108901"/>
                  </a:lnTo>
                  <a:lnTo>
                    <a:pt x="850964" y="1111853"/>
                  </a:lnTo>
                  <a:lnTo>
                    <a:pt x="861060" y="1102519"/>
                  </a:lnTo>
                  <a:lnTo>
                    <a:pt x="862013" y="1097566"/>
                  </a:lnTo>
                  <a:lnTo>
                    <a:pt x="866966" y="1098518"/>
                  </a:lnTo>
                  <a:lnTo>
                    <a:pt x="869918" y="1096613"/>
                  </a:lnTo>
                  <a:lnTo>
                    <a:pt x="869537" y="1093470"/>
                  </a:lnTo>
                  <a:lnTo>
                    <a:pt x="872490" y="1091470"/>
                  </a:lnTo>
                  <a:lnTo>
                    <a:pt x="871823" y="1086707"/>
                  </a:lnTo>
                  <a:lnTo>
                    <a:pt x="879920" y="1087279"/>
                  </a:lnTo>
                  <a:lnTo>
                    <a:pt x="884301" y="1083564"/>
                  </a:lnTo>
                  <a:lnTo>
                    <a:pt x="886016" y="1084898"/>
                  </a:lnTo>
                  <a:lnTo>
                    <a:pt x="888778" y="1081373"/>
                  </a:lnTo>
                  <a:lnTo>
                    <a:pt x="892397" y="1084136"/>
                  </a:lnTo>
                  <a:lnTo>
                    <a:pt x="893921" y="1083850"/>
                  </a:lnTo>
                  <a:lnTo>
                    <a:pt x="894588" y="1088612"/>
                  </a:lnTo>
                  <a:lnTo>
                    <a:pt x="895731" y="1085279"/>
                  </a:lnTo>
                  <a:lnTo>
                    <a:pt x="898493" y="1081754"/>
                  </a:lnTo>
                  <a:lnTo>
                    <a:pt x="898303" y="1080135"/>
                  </a:lnTo>
                  <a:lnTo>
                    <a:pt x="895350" y="1082135"/>
                  </a:lnTo>
                  <a:lnTo>
                    <a:pt x="895160" y="1080516"/>
                  </a:lnTo>
                  <a:lnTo>
                    <a:pt x="893731" y="1082326"/>
                  </a:lnTo>
                  <a:lnTo>
                    <a:pt x="891731" y="1079373"/>
                  </a:lnTo>
                  <a:lnTo>
                    <a:pt x="896302" y="1077182"/>
                  </a:lnTo>
                  <a:lnTo>
                    <a:pt x="896112" y="1075563"/>
                  </a:lnTo>
                  <a:lnTo>
                    <a:pt x="895445" y="1058037"/>
                  </a:lnTo>
                  <a:lnTo>
                    <a:pt x="902303" y="1049179"/>
                  </a:lnTo>
                  <a:lnTo>
                    <a:pt x="905542" y="1048703"/>
                  </a:lnTo>
                  <a:lnTo>
                    <a:pt x="910685" y="1051274"/>
                  </a:lnTo>
                  <a:lnTo>
                    <a:pt x="914972" y="1047560"/>
                  </a:lnTo>
                  <a:lnTo>
                    <a:pt x="912400" y="1039844"/>
                  </a:lnTo>
                  <a:lnTo>
                    <a:pt x="911352" y="1031939"/>
                  </a:lnTo>
                  <a:lnTo>
                    <a:pt x="908018" y="1030795"/>
                  </a:lnTo>
                  <a:lnTo>
                    <a:pt x="909161" y="1027462"/>
                  </a:lnTo>
                  <a:lnTo>
                    <a:pt x="907637" y="1027652"/>
                  </a:lnTo>
                  <a:lnTo>
                    <a:pt x="899351" y="1025461"/>
                  </a:lnTo>
                  <a:lnTo>
                    <a:pt x="899732" y="1015841"/>
                  </a:lnTo>
                  <a:lnTo>
                    <a:pt x="896969" y="1019365"/>
                  </a:lnTo>
                  <a:lnTo>
                    <a:pt x="896112" y="1013079"/>
                  </a:lnTo>
                  <a:lnTo>
                    <a:pt x="897731" y="1012889"/>
                  </a:lnTo>
                  <a:lnTo>
                    <a:pt x="894588" y="1013270"/>
                  </a:lnTo>
                  <a:lnTo>
                    <a:pt x="893921" y="1008507"/>
                  </a:lnTo>
                  <a:lnTo>
                    <a:pt x="895350" y="1006697"/>
                  </a:lnTo>
                  <a:lnTo>
                    <a:pt x="898684" y="1007936"/>
                  </a:lnTo>
                  <a:lnTo>
                    <a:pt x="898303" y="1004792"/>
                  </a:lnTo>
                  <a:lnTo>
                    <a:pt x="896493" y="1003364"/>
                  </a:lnTo>
                  <a:lnTo>
                    <a:pt x="902208" y="997839"/>
                  </a:lnTo>
                  <a:lnTo>
                    <a:pt x="908971" y="1000220"/>
                  </a:lnTo>
                  <a:lnTo>
                    <a:pt x="908114" y="993839"/>
                  </a:lnTo>
                  <a:lnTo>
                    <a:pt x="906399" y="992505"/>
                  </a:lnTo>
                  <a:lnTo>
                    <a:pt x="907352" y="987552"/>
                  </a:lnTo>
                  <a:lnTo>
                    <a:pt x="912495" y="990124"/>
                  </a:lnTo>
                  <a:lnTo>
                    <a:pt x="912686" y="991743"/>
                  </a:lnTo>
                  <a:lnTo>
                    <a:pt x="919163" y="992505"/>
                  </a:lnTo>
                  <a:lnTo>
                    <a:pt x="920782" y="992315"/>
                  </a:lnTo>
                  <a:lnTo>
                    <a:pt x="916781" y="986314"/>
                  </a:lnTo>
                  <a:lnTo>
                    <a:pt x="916591" y="984790"/>
                  </a:lnTo>
                  <a:lnTo>
                    <a:pt x="923639" y="977456"/>
                  </a:lnTo>
                  <a:lnTo>
                    <a:pt x="926878" y="977074"/>
                  </a:lnTo>
                  <a:lnTo>
                    <a:pt x="924877" y="974122"/>
                  </a:lnTo>
                  <a:lnTo>
                    <a:pt x="921925" y="976122"/>
                  </a:lnTo>
                  <a:lnTo>
                    <a:pt x="912209" y="975741"/>
                  </a:lnTo>
                  <a:lnTo>
                    <a:pt x="910495" y="974312"/>
                  </a:lnTo>
                  <a:lnTo>
                    <a:pt x="907256" y="974789"/>
                  </a:lnTo>
                  <a:lnTo>
                    <a:pt x="904304" y="963930"/>
                  </a:lnTo>
                  <a:lnTo>
                    <a:pt x="904685" y="954215"/>
                  </a:lnTo>
                  <a:lnTo>
                    <a:pt x="901160" y="951452"/>
                  </a:lnTo>
                  <a:lnTo>
                    <a:pt x="902494" y="949738"/>
                  </a:lnTo>
                  <a:lnTo>
                    <a:pt x="909066" y="950500"/>
                  </a:lnTo>
                  <a:lnTo>
                    <a:pt x="913543" y="948309"/>
                  </a:lnTo>
                  <a:lnTo>
                    <a:pt x="917353" y="952595"/>
                  </a:lnTo>
                  <a:lnTo>
                    <a:pt x="920496" y="952214"/>
                  </a:lnTo>
                  <a:lnTo>
                    <a:pt x="923639" y="951833"/>
                  </a:lnTo>
                  <a:lnTo>
                    <a:pt x="924401" y="945261"/>
                  </a:lnTo>
                  <a:lnTo>
                    <a:pt x="927354" y="943356"/>
                  </a:lnTo>
                  <a:lnTo>
                    <a:pt x="928116" y="936784"/>
                  </a:lnTo>
                  <a:lnTo>
                    <a:pt x="924782" y="935641"/>
                  </a:lnTo>
                  <a:lnTo>
                    <a:pt x="921639" y="936022"/>
                  </a:lnTo>
                  <a:lnTo>
                    <a:pt x="917448" y="928497"/>
                  </a:lnTo>
                  <a:lnTo>
                    <a:pt x="919067" y="928307"/>
                  </a:lnTo>
                  <a:lnTo>
                    <a:pt x="922020" y="926402"/>
                  </a:lnTo>
                  <a:lnTo>
                    <a:pt x="918972" y="915543"/>
                  </a:lnTo>
                  <a:lnTo>
                    <a:pt x="927449" y="919258"/>
                  </a:lnTo>
                  <a:lnTo>
                    <a:pt x="929450" y="909352"/>
                  </a:lnTo>
                  <a:lnTo>
                    <a:pt x="934022" y="907161"/>
                  </a:lnTo>
                  <a:lnTo>
                    <a:pt x="937165" y="906780"/>
                  </a:lnTo>
                  <a:lnTo>
                    <a:pt x="938117" y="901827"/>
                  </a:lnTo>
                  <a:lnTo>
                    <a:pt x="942594" y="899636"/>
                  </a:lnTo>
                  <a:lnTo>
                    <a:pt x="950976" y="901827"/>
                  </a:lnTo>
                  <a:lnTo>
                    <a:pt x="952310" y="900017"/>
                  </a:lnTo>
                  <a:lnTo>
                    <a:pt x="953452" y="896683"/>
                  </a:lnTo>
                  <a:lnTo>
                    <a:pt x="950881" y="888968"/>
                  </a:lnTo>
                  <a:lnTo>
                    <a:pt x="954024" y="888587"/>
                  </a:lnTo>
                  <a:lnTo>
                    <a:pt x="952119" y="885635"/>
                  </a:lnTo>
                  <a:lnTo>
                    <a:pt x="954405" y="878967"/>
                  </a:lnTo>
                  <a:lnTo>
                    <a:pt x="958120" y="870395"/>
                  </a:lnTo>
                  <a:lnTo>
                    <a:pt x="966026" y="869442"/>
                  </a:lnTo>
                  <a:lnTo>
                    <a:pt x="964311" y="868013"/>
                  </a:lnTo>
                  <a:lnTo>
                    <a:pt x="963263" y="860203"/>
                  </a:lnTo>
                  <a:lnTo>
                    <a:pt x="960692" y="865251"/>
                  </a:lnTo>
                  <a:lnTo>
                    <a:pt x="958977" y="863918"/>
                  </a:lnTo>
                  <a:lnTo>
                    <a:pt x="963073" y="858583"/>
                  </a:lnTo>
                  <a:lnTo>
                    <a:pt x="964597" y="858393"/>
                  </a:lnTo>
                  <a:lnTo>
                    <a:pt x="964216" y="855250"/>
                  </a:lnTo>
                  <a:lnTo>
                    <a:pt x="967550" y="856393"/>
                  </a:lnTo>
                  <a:lnTo>
                    <a:pt x="965645" y="853440"/>
                  </a:lnTo>
                  <a:lnTo>
                    <a:pt x="966407" y="846963"/>
                  </a:lnTo>
                  <a:lnTo>
                    <a:pt x="963073" y="845725"/>
                  </a:lnTo>
                  <a:lnTo>
                    <a:pt x="964216" y="842391"/>
                  </a:lnTo>
                  <a:lnTo>
                    <a:pt x="961263" y="844391"/>
                  </a:lnTo>
                  <a:lnTo>
                    <a:pt x="957453" y="840010"/>
                  </a:lnTo>
                  <a:lnTo>
                    <a:pt x="954310" y="840486"/>
                  </a:lnTo>
                  <a:lnTo>
                    <a:pt x="954119" y="838867"/>
                  </a:lnTo>
                  <a:lnTo>
                    <a:pt x="957263" y="838486"/>
                  </a:lnTo>
                  <a:lnTo>
                    <a:pt x="953929" y="837343"/>
                  </a:lnTo>
                  <a:lnTo>
                    <a:pt x="956882" y="835343"/>
                  </a:lnTo>
                  <a:lnTo>
                    <a:pt x="954881" y="832390"/>
                  </a:lnTo>
                  <a:lnTo>
                    <a:pt x="949357" y="826675"/>
                  </a:lnTo>
                  <a:lnTo>
                    <a:pt x="950309" y="821722"/>
                  </a:lnTo>
                  <a:lnTo>
                    <a:pt x="946404" y="815816"/>
                  </a:lnTo>
                  <a:lnTo>
                    <a:pt x="947738" y="814007"/>
                  </a:lnTo>
                  <a:lnTo>
                    <a:pt x="946214" y="814197"/>
                  </a:lnTo>
                  <a:lnTo>
                    <a:pt x="947547" y="812482"/>
                  </a:lnTo>
                  <a:lnTo>
                    <a:pt x="946023" y="812673"/>
                  </a:lnTo>
                  <a:lnTo>
                    <a:pt x="945547" y="809530"/>
                  </a:lnTo>
                  <a:lnTo>
                    <a:pt x="947166" y="809244"/>
                  </a:lnTo>
                  <a:lnTo>
                    <a:pt x="951071" y="802386"/>
                  </a:lnTo>
                  <a:lnTo>
                    <a:pt x="949357" y="800957"/>
                  </a:lnTo>
                  <a:lnTo>
                    <a:pt x="948500" y="794671"/>
                  </a:lnTo>
                  <a:lnTo>
                    <a:pt x="951071" y="789527"/>
                  </a:lnTo>
                  <a:lnTo>
                    <a:pt x="949262" y="788194"/>
                  </a:lnTo>
                  <a:lnTo>
                    <a:pt x="952405" y="787813"/>
                  </a:lnTo>
                  <a:lnTo>
                    <a:pt x="956405" y="780860"/>
                  </a:lnTo>
                  <a:lnTo>
                    <a:pt x="957929" y="780669"/>
                  </a:lnTo>
                  <a:lnTo>
                    <a:pt x="956120" y="779240"/>
                  </a:lnTo>
                  <a:lnTo>
                    <a:pt x="958691" y="774097"/>
                  </a:lnTo>
                  <a:lnTo>
                    <a:pt x="965264" y="774954"/>
                  </a:lnTo>
                  <a:lnTo>
                    <a:pt x="968407" y="774478"/>
                  </a:lnTo>
                  <a:lnTo>
                    <a:pt x="968216" y="772954"/>
                  </a:lnTo>
                  <a:lnTo>
                    <a:pt x="960120" y="772382"/>
                  </a:lnTo>
                  <a:lnTo>
                    <a:pt x="958120" y="769430"/>
                  </a:lnTo>
                  <a:lnTo>
                    <a:pt x="961263" y="769049"/>
                  </a:lnTo>
                  <a:lnTo>
                    <a:pt x="961073" y="767429"/>
                  </a:lnTo>
                  <a:lnTo>
                    <a:pt x="957929" y="767810"/>
                  </a:lnTo>
                  <a:lnTo>
                    <a:pt x="957548" y="764667"/>
                  </a:lnTo>
                  <a:lnTo>
                    <a:pt x="955739" y="763333"/>
                  </a:lnTo>
                  <a:lnTo>
                    <a:pt x="955358" y="760190"/>
                  </a:lnTo>
                  <a:lnTo>
                    <a:pt x="953738" y="760381"/>
                  </a:lnTo>
                  <a:lnTo>
                    <a:pt x="951548" y="755809"/>
                  </a:lnTo>
                  <a:lnTo>
                    <a:pt x="949833" y="754380"/>
                  </a:lnTo>
                  <a:lnTo>
                    <a:pt x="950976" y="751046"/>
                  </a:lnTo>
                  <a:lnTo>
                    <a:pt x="950595" y="747903"/>
                  </a:lnTo>
                  <a:lnTo>
                    <a:pt x="951929" y="746093"/>
                  </a:lnTo>
                  <a:lnTo>
                    <a:pt x="948595" y="744950"/>
                  </a:lnTo>
                  <a:lnTo>
                    <a:pt x="949547" y="739997"/>
                  </a:lnTo>
                  <a:lnTo>
                    <a:pt x="952500" y="738092"/>
                  </a:lnTo>
                  <a:lnTo>
                    <a:pt x="950119" y="731901"/>
                  </a:lnTo>
                  <a:lnTo>
                    <a:pt x="951357" y="728567"/>
                  </a:lnTo>
                  <a:lnTo>
                    <a:pt x="948119" y="728948"/>
                  </a:lnTo>
                  <a:lnTo>
                    <a:pt x="950881" y="725424"/>
                  </a:lnTo>
                  <a:lnTo>
                    <a:pt x="950500" y="722281"/>
                  </a:lnTo>
                  <a:lnTo>
                    <a:pt x="948881" y="722471"/>
                  </a:lnTo>
                  <a:lnTo>
                    <a:pt x="947738" y="725805"/>
                  </a:lnTo>
                  <a:lnTo>
                    <a:pt x="948881" y="722471"/>
                  </a:lnTo>
                  <a:lnTo>
                    <a:pt x="946976" y="719519"/>
                  </a:lnTo>
                  <a:lnTo>
                    <a:pt x="953452" y="720281"/>
                  </a:lnTo>
                  <a:lnTo>
                    <a:pt x="953262" y="718757"/>
                  </a:lnTo>
                  <a:lnTo>
                    <a:pt x="946785" y="717899"/>
                  </a:lnTo>
                  <a:lnTo>
                    <a:pt x="946976" y="719519"/>
                  </a:lnTo>
                  <a:lnTo>
                    <a:pt x="946785" y="717899"/>
                  </a:lnTo>
                  <a:lnTo>
                    <a:pt x="943547" y="718376"/>
                  </a:lnTo>
                  <a:lnTo>
                    <a:pt x="940213" y="717137"/>
                  </a:lnTo>
                  <a:lnTo>
                    <a:pt x="939451" y="710851"/>
                  </a:lnTo>
                  <a:lnTo>
                    <a:pt x="940784" y="709041"/>
                  </a:lnTo>
                  <a:lnTo>
                    <a:pt x="938784" y="706088"/>
                  </a:lnTo>
                  <a:lnTo>
                    <a:pt x="942023" y="705707"/>
                  </a:lnTo>
                  <a:lnTo>
                    <a:pt x="943166" y="702374"/>
                  </a:lnTo>
                  <a:lnTo>
                    <a:pt x="946499" y="703516"/>
                  </a:lnTo>
                  <a:lnTo>
                    <a:pt x="947738" y="700183"/>
                  </a:lnTo>
                  <a:lnTo>
                    <a:pt x="947261" y="697040"/>
                  </a:lnTo>
                  <a:lnTo>
                    <a:pt x="942118" y="694468"/>
                  </a:lnTo>
                  <a:lnTo>
                    <a:pt x="943356" y="691134"/>
                  </a:lnTo>
                  <a:lnTo>
                    <a:pt x="947642" y="687324"/>
                  </a:lnTo>
                  <a:lnTo>
                    <a:pt x="948881" y="683990"/>
                  </a:lnTo>
                  <a:lnTo>
                    <a:pt x="952214" y="685133"/>
                  </a:lnTo>
                  <a:lnTo>
                    <a:pt x="952976" y="678656"/>
                  </a:lnTo>
                  <a:lnTo>
                    <a:pt x="954310" y="676847"/>
                  </a:lnTo>
                  <a:lnTo>
                    <a:pt x="956120" y="665416"/>
                  </a:lnTo>
                  <a:lnTo>
                    <a:pt x="956691" y="657320"/>
                  </a:lnTo>
                  <a:lnTo>
                    <a:pt x="951548" y="654749"/>
                  </a:lnTo>
                  <a:lnTo>
                    <a:pt x="952119" y="646652"/>
                  </a:lnTo>
                  <a:lnTo>
                    <a:pt x="941642" y="639985"/>
                  </a:lnTo>
                  <a:lnTo>
                    <a:pt x="938498" y="640366"/>
                  </a:lnTo>
                  <a:lnTo>
                    <a:pt x="933164" y="649129"/>
                  </a:lnTo>
                  <a:lnTo>
                    <a:pt x="931355" y="647700"/>
                  </a:lnTo>
                  <a:lnTo>
                    <a:pt x="935736" y="643985"/>
                  </a:lnTo>
                  <a:lnTo>
                    <a:pt x="937451" y="632555"/>
                  </a:lnTo>
                  <a:lnTo>
                    <a:pt x="935450" y="629603"/>
                  </a:lnTo>
                  <a:lnTo>
                    <a:pt x="933736" y="628174"/>
                  </a:lnTo>
                  <a:lnTo>
                    <a:pt x="936403" y="611791"/>
                  </a:lnTo>
                  <a:lnTo>
                    <a:pt x="933641" y="602552"/>
                  </a:lnTo>
                  <a:lnTo>
                    <a:pt x="937736" y="597218"/>
                  </a:lnTo>
                  <a:lnTo>
                    <a:pt x="941737" y="590264"/>
                  </a:lnTo>
                  <a:lnTo>
                    <a:pt x="941261" y="574262"/>
                  </a:lnTo>
                  <a:lnTo>
                    <a:pt x="943832" y="569119"/>
                  </a:lnTo>
                  <a:lnTo>
                    <a:pt x="944594" y="562642"/>
                  </a:lnTo>
                  <a:lnTo>
                    <a:pt x="940880" y="558356"/>
                  </a:lnTo>
                  <a:lnTo>
                    <a:pt x="936308" y="560451"/>
                  </a:lnTo>
                  <a:lnTo>
                    <a:pt x="929640" y="558165"/>
                  </a:lnTo>
                  <a:lnTo>
                    <a:pt x="928973" y="553403"/>
                  </a:lnTo>
                  <a:lnTo>
                    <a:pt x="925449" y="550640"/>
                  </a:lnTo>
                  <a:lnTo>
                    <a:pt x="921068" y="554450"/>
                  </a:lnTo>
                  <a:lnTo>
                    <a:pt x="919544" y="554641"/>
                  </a:lnTo>
                  <a:lnTo>
                    <a:pt x="912590" y="550640"/>
                  </a:lnTo>
                  <a:lnTo>
                    <a:pt x="912209" y="547497"/>
                  </a:lnTo>
                  <a:lnTo>
                    <a:pt x="915352" y="547116"/>
                  </a:lnTo>
                  <a:lnTo>
                    <a:pt x="916496" y="543782"/>
                  </a:lnTo>
                  <a:lnTo>
                    <a:pt x="906875" y="543401"/>
                  </a:lnTo>
                  <a:lnTo>
                    <a:pt x="906494" y="540258"/>
                  </a:lnTo>
                  <a:lnTo>
                    <a:pt x="901732" y="540830"/>
                  </a:lnTo>
                  <a:lnTo>
                    <a:pt x="898208" y="538067"/>
                  </a:lnTo>
                  <a:lnTo>
                    <a:pt x="895064" y="538544"/>
                  </a:lnTo>
                  <a:lnTo>
                    <a:pt x="892588" y="532352"/>
                  </a:lnTo>
                  <a:lnTo>
                    <a:pt x="889254" y="531209"/>
                  </a:lnTo>
                  <a:lnTo>
                    <a:pt x="897350" y="531781"/>
                  </a:lnTo>
                  <a:lnTo>
                    <a:pt x="904494" y="537305"/>
                  </a:lnTo>
                  <a:lnTo>
                    <a:pt x="912400" y="536257"/>
                  </a:lnTo>
                  <a:lnTo>
                    <a:pt x="913733" y="534543"/>
                  </a:lnTo>
                  <a:lnTo>
                    <a:pt x="918496" y="533876"/>
                  </a:lnTo>
                  <a:lnTo>
                    <a:pt x="921449" y="531876"/>
                  </a:lnTo>
                  <a:lnTo>
                    <a:pt x="918115" y="530733"/>
                  </a:lnTo>
                  <a:lnTo>
                    <a:pt x="911543" y="517112"/>
                  </a:lnTo>
                  <a:lnTo>
                    <a:pt x="901827" y="516731"/>
                  </a:lnTo>
                  <a:lnTo>
                    <a:pt x="898112" y="512445"/>
                  </a:lnTo>
                  <a:lnTo>
                    <a:pt x="900684" y="507302"/>
                  </a:lnTo>
                  <a:lnTo>
                    <a:pt x="898684" y="504349"/>
                  </a:lnTo>
                  <a:lnTo>
                    <a:pt x="899827" y="501015"/>
                  </a:lnTo>
                  <a:lnTo>
                    <a:pt x="901827" y="503968"/>
                  </a:lnTo>
                  <a:lnTo>
                    <a:pt x="902018" y="505492"/>
                  </a:lnTo>
                  <a:lnTo>
                    <a:pt x="903827" y="506920"/>
                  </a:lnTo>
                  <a:lnTo>
                    <a:pt x="906590" y="503301"/>
                  </a:lnTo>
                  <a:lnTo>
                    <a:pt x="906780" y="504920"/>
                  </a:lnTo>
                  <a:lnTo>
                    <a:pt x="908399" y="504730"/>
                  </a:lnTo>
                  <a:lnTo>
                    <a:pt x="908399" y="504730"/>
                  </a:lnTo>
                  <a:lnTo>
                    <a:pt x="909733" y="502920"/>
                  </a:lnTo>
                  <a:lnTo>
                    <a:pt x="917448" y="500348"/>
                  </a:lnTo>
                  <a:lnTo>
                    <a:pt x="920782" y="501491"/>
                  </a:lnTo>
                  <a:lnTo>
                    <a:pt x="927830" y="494252"/>
                  </a:lnTo>
                  <a:lnTo>
                    <a:pt x="923163" y="494824"/>
                  </a:lnTo>
                  <a:lnTo>
                    <a:pt x="922496" y="490061"/>
                  </a:lnTo>
                  <a:lnTo>
                    <a:pt x="917829" y="490728"/>
                  </a:lnTo>
                  <a:lnTo>
                    <a:pt x="917639" y="489109"/>
                  </a:lnTo>
                  <a:lnTo>
                    <a:pt x="914210" y="487966"/>
                  </a:lnTo>
                  <a:lnTo>
                    <a:pt x="909733" y="490157"/>
                  </a:lnTo>
                  <a:lnTo>
                    <a:pt x="912495" y="486537"/>
                  </a:lnTo>
                  <a:lnTo>
                    <a:pt x="909066" y="485394"/>
                  </a:lnTo>
                  <a:lnTo>
                    <a:pt x="904780" y="489109"/>
                  </a:lnTo>
                  <a:lnTo>
                    <a:pt x="902780" y="486156"/>
                  </a:lnTo>
                  <a:lnTo>
                    <a:pt x="899827" y="488156"/>
                  </a:lnTo>
                  <a:lnTo>
                    <a:pt x="898684" y="491490"/>
                  </a:lnTo>
                  <a:lnTo>
                    <a:pt x="895731" y="493490"/>
                  </a:lnTo>
                  <a:lnTo>
                    <a:pt x="896112" y="496633"/>
                  </a:lnTo>
                  <a:lnTo>
                    <a:pt x="891159" y="495681"/>
                  </a:lnTo>
                  <a:lnTo>
                    <a:pt x="888397" y="486442"/>
                  </a:lnTo>
                  <a:lnTo>
                    <a:pt x="891731" y="487585"/>
                  </a:lnTo>
                  <a:lnTo>
                    <a:pt x="891540" y="486061"/>
                  </a:lnTo>
                  <a:lnTo>
                    <a:pt x="888206" y="484823"/>
                  </a:lnTo>
                  <a:lnTo>
                    <a:pt x="892302" y="479489"/>
                  </a:lnTo>
                  <a:lnTo>
                    <a:pt x="888397" y="473583"/>
                  </a:lnTo>
                  <a:lnTo>
                    <a:pt x="890873" y="468440"/>
                  </a:lnTo>
                  <a:lnTo>
                    <a:pt x="900017" y="464058"/>
                  </a:lnTo>
                  <a:lnTo>
                    <a:pt x="907447" y="447103"/>
                  </a:lnTo>
                  <a:lnTo>
                    <a:pt x="930116" y="436245"/>
                  </a:lnTo>
                  <a:lnTo>
                    <a:pt x="934593" y="434054"/>
                  </a:lnTo>
                  <a:lnTo>
                    <a:pt x="940975" y="433197"/>
                  </a:lnTo>
                  <a:lnTo>
                    <a:pt x="937832" y="433578"/>
                  </a:lnTo>
                  <a:lnTo>
                    <a:pt x="938594" y="439960"/>
                  </a:lnTo>
                  <a:lnTo>
                    <a:pt x="940403" y="441293"/>
                  </a:lnTo>
                  <a:lnTo>
                    <a:pt x="945261" y="442246"/>
                  </a:lnTo>
                  <a:lnTo>
                    <a:pt x="947452" y="446818"/>
                  </a:lnTo>
                  <a:lnTo>
                    <a:pt x="949071" y="446627"/>
                  </a:lnTo>
                  <a:lnTo>
                    <a:pt x="949262" y="448151"/>
                  </a:lnTo>
                  <a:lnTo>
                    <a:pt x="954024" y="447580"/>
                  </a:lnTo>
                  <a:lnTo>
                    <a:pt x="955739" y="448913"/>
                  </a:lnTo>
                  <a:lnTo>
                    <a:pt x="956786" y="444056"/>
                  </a:lnTo>
                  <a:lnTo>
                    <a:pt x="958310" y="443865"/>
                  </a:lnTo>
                  <a:lnTo>
                    <a:pt x="957929" y="440627"/>
                  </a:lnTo>
                  <a:lnTo>
                    <a:pt x="959263" y="438912"/>
                  </a:lnTo>
                  <a:lnTo>
                    <a:pt x="960120" y="432340"/>
                  </a:lnTo>
                  <a:lnTo>
                    <a:pt x="963073" y="430435"/>
                  </a:lnTo>
                  <a:lnTo>
                    <a:pt x="965359" y="423672"/>
                  </a:lnTo>
                  <a:lnTo>
                    <a:pt x="968502" y="423291"/>
                  </a:lnTo>
                  <a:lnTo>
                    <a:pt x="974693" y="420910"/>
                  </a:lnTo>
                  <a:lnTo>
                    <a:pt x="974217" y="417766"/>
                  </a:lnTo>
                  <a:lnTo>
                    <a:pt x="976027" y="419100"/>
                  </a:lnTo>
                  <a:lnTo>
                    <a:pt x="977456" y="417386"/>
                  </a:lnTo>
                  <a:lnTo>
                    <a:pt x="980599" y="416909"/>
                  </a:lnTo>
                  <a:lnTo>
                    <a:pt x="984885" y="413194"/>
                  </a:lnTo>
                  <a:lnTo>
                    <a:pt x="986695" y="414528"/>
                  </a:lnTo>
                  <a:lnTo>
                    <a:pt x="990600" y="407670"/>
                  </a:lnTo>
                  <a:lnTo>
                    <a:pt x="988409" y="403098"/>
                  </a:lnTo>
                  <a:lnTo>
                    <a:pt x="983266" y="400526"/>
                  </a:lnTo>
                  <a:lnTo>
                    <a:pt x="981266" y="397573"/>
                  </a:lnTo>
                  <a:lnTo>
                    <a:pt x="977932" y="396431"/>
                  </a:lnTo>
                  <a:lnTo>
                    <a:pt x="974979" y="398431"/>
                  </a:lnTo>
                  <a:lnTo>
                    <a:pt x="973646" y="400145"/>
                  </a:lnTo>
                  <a:lnTo>
                    <a:pt x="967740" y="404146"/>
                  </a:lnTo>
                  <a:lnTo>
                    <a:pt x="965930" y="402717"/>
                  </a:lnTo>
                  <a:lnTo>
                    <a:pt x="966502" y="394716"/>
                  </a:lnTo>
                  <a:lnTo>
                    <a:pt x="975741" y="391858"/>
                  </a:lnTo>
                  <a:lnTo>
                    <a:pt x="978884" y="378619"/>
                  </a:lnTo>
                  <a:lnTo>
                    <a:pt x="978122" y="372332"/>
                  </a:lnTo>
                  <a:lnTo>
                    <a:pt x="974312" y="368046"/>
                  </a:lnTo>
                  <a:lnTo>
                    <a:pt x="973931" y="364903"/>
                  </a:lnTo>
                  <a:lnTo>
                    <a:pt x="971550" y="358711"/>
                  </a:lnTo>
                  <a:lnTo>
                    <a:pt x="972502" y="353854"/>
                  </a:lnTo>
                  <a:lnTo>
                    <a:pt x="982027" y="352615"/>
                  </a:lnTo>
                  <a:lnTo>
                    <a:pt x="981170" y="346329"/>
                  </a:lnTo>
                  <a:lnTo>
                    <a:pt x="987076" y="342328"/>
                  </a:lnTo>
                  <a:lnTo>
                    <a:pt x="983933" y="342710"/>
                  </a:lnTo>
                  <a:lnTo>
                    <a:pt x="986123" y="334423"/>
                  </a:lnTo>
                  <a:lnTo>
                    <a:pt x="979170" y="330518"/>
                  </a:lnTo>
                  <a:lnTo>
                    <a:pt x="978122" y="322612"/>
                  </a:lnTo>
                  <a:lnTo>
                    <a:pt x="985076" y="313753"/>
                  </a:lnTo>
                  <a:lnTo>
                    <a:pt x="983075" y="310801"/>
                  </a:lnTo>
                  <a:lnTo>
                    <a:pt x="979361" y="306419"/>
                  </a:lnTo>
                  <a:lnTo>
                    <a:pt x="982027" y="302895"/>
                  </a:lnTo>
                  <a:lnTo>
                    <a:pt x="985457" y="304038"/>
                  </a:lnTo>
                  <a:lnTo>
                    <a:pt x="989171" y="295561"/>
                  </a:lnTo>
                  <a:lnTo>
                    <a:pt x="985171" y="289655"/>
                  </a:lnTo>
                  <a:lnTo>
                    <a:pt x="988314" y="289274"/>
                  </a:lnTo>
                  <a:lnTo>
                    <a:pt x="987171" y="279749"/>
                  </a:lnTo>
                  <a:lnTo>
                    <a:pt x="988886" y="281178"/>
                  </a:lnTo>
                  <a:lnTo>
                    <a:pt x="992124" y="280797"/>
                  </a:lnTo>
                  <a:lnTo>
                    <a:pt x="991838" y="279178"/>
                  </a:lnTo>
                  <a:lnTo>
                    <a:pt x="992124" y="280797"/>
                  </a:lnTo>
                  <a:lnTo>
                    <a:pt x="993648" y="280511"/>
                  </a:lnTo>
                  <a:lnTo>
                    <a:pt x="995077" y="278797"/>
                  </a:lnTo>
                  <a:lnTo>
                    <a:pt x="998411" y="279940"/>
                  </a:lnTo>
                  <a:lnTo>
                    <a:pt x="1001363" y="277940"/>
                  </a:lnTo>
                  <a:lnTo>
                    <a:pt x="1001935" y="282702"/>
                  </a:lnTo>
                  <a:lnTo>
                    <a:pt x="1004888" y="280702"/>
                  </a:lnTo>
                  <a:lnTo>
                    <a:pt x="1001363" y="265176"/>
                  </a:lnTo>
                  <a:lnTo>
                    <a:pt x="999744" y="252508"/>
                  </a:lnTo>
                  <a:lnTo>
                    <a:pt x="999744" y="252508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10" name="Volný tvar: obrazec 9">
              <a:extLst>
                <a:ext uri="{FF2B5EF4-FFF2-40B4-BE49-F238E27FC236}">
                  <a16:creationId xmlns:a16="http://schemas.microsoft.com/office/drawing/2014/main" id="{AFECD3F8-1415-3955-B8A2-655BB42AF3D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25" y="2971418"/>
              <a:ext cx="1044701" cy="731424"/>
            </a:xfrm>
            <a:custGeom>
              <a:avLst/>
              <a:gdLst>
                <a:gd name="connsiteX0" fmla="*/ 1038797 w 1044701"/>
                <a:gd name="connsiteY0" fmla="*/ 17907 h 731424"/>
                <a:gd name="connsiteX1" fmla="*/ 1039558 w 1044701"/>
                <a:gd name="connsiteY1" fmla="*/ 11430 h 731424"/>
                <a:gd name="connsiteX2" fmla="*/ 1037463 w 1044701"/>
                <a:gd name="connsiteY2" fmla="*/ 6953 h 731424"/>
                <a:gd name="connsiteX3" fmla="*/ 1028509 w 1044701"/>
                <a:gd name="connsiteY3" fmla="*/ 0 h 731424"/>
                <a:gd name="connsiteX4" fmla="*/ 1019651 w 1044701"/>
                <a:gd name="connsiteY4" fmla="*/ 6001 h 731424"/>
                <a:gd name="connsiteX5" fmla="*/ 1018889 w 1044701"/>
                <a:gd name="connsiteY5" fmla="*/ 12478 h 731424"/>
                <a:gd name="connsiteX6" fmla="*/ 1017270 w 1044701"/>
                <a:gd name="connsiteY6" fmla="*/ 12668 h 731424"/>
                <a:gd name="connsiteX7" fmla="*/ 1012984 w 1044701"/>
                <a:gd name="connsiteY7" fmla="*/ 16478 h 731424"/>
                <a:gd name="connsiteX8" fmla="*/ 1010412 w 1044701"/>
                <a:gd name="connsiteY8" fmla="*/ 21527 h 731424"/>
                <a:gd name="connsiteX9" fmla="*/ 1006888 w 1044701"/>
                <a:gd name="connsiteY9" fmla="*/ 18860 h 731424"/>
                <a:gd name="connsiteX10" fmla="*/ 1002316 w 1044701"/>
                <a:gd name="connsiteY10" fmla="*/ 20955 h 731424"/>
                <a:gd name="connsiteX11" fmla="*/ 995839 w 1044701"/>
                <a:gd name="connsiteY11" fmla="*/ 33052 h 731424"/>
                <a:gd name="connsiteX12" fmla="*/ 994696 w 1044701"/>
                <a:gd name="connsiteY12" fmla="*/ 49244 h 731424"/>
                <a:gd name="connsiteX13" fmla="*/ 989362 w 1044701"/>
                <a:gd name="connsiteY13" fmla="*/ 57912 h 731424"/>
                <a:gd name="connsiteX14" fmla="*/ 982313 w 1044701"/>
                <a:gd name="connsiteY14" fmla="*/ 65246 h 731424"/>
                <a:gd name="connsiteX15" fmla="*/ 984504 w 1044701"/>
                <a:gd name="connsiteY15" fmla="*/ 69818 h 731424"/>
                <a:gd name="connsiteX16" fmla="*/ 983361 w 1044701"/>
                <a:gd name="connsiteY16" fmla="*/ 73152 h 731424"/>
                <a:gd name="connsiteX17" fmla="*/ 972883 w 1044701"/>
                <a:gd name="connsiteY17" fmla="*/ 79248 h 731424"/>
                <a:gd name="connsiteX18" fmla="*/ 965549 w 1044701"/>
                <a:gd name="connsiteY18" fmla="*/ 85058 h 731424"/>
                <a:gd name="connsiteX19" fmla="*/ 962215 w 1044701"/>
                <a:gd name="connsiteY19" fmla="*/ 83820 h 731424"/>
                <a:gd name="connsiteX20" fmla="*/ 959263 w 1044701"/>
                <a:gd name="connsiteY20" fmla="*/ 85820 h 731424"/>
                <a:gd name="connsiteX21" fmla="*/ 947452 w 1044701"/>
                <a:gd name="connsiteY21" fmla="*/ 106585 h 731424"/>
                <a:gd name="connsiteX22" fmla="*/ 944308 w 1044701"/>
                <a:gd name="connsiteY22" fmla="*/ 119825 h 731424"/>
                <a:gd name="connsiteX23" fmla="*/ 941641 w 1044701"/>
                <a:gd name="connsiteY23" fmla="*/ 123349 h 731424"/>
                <a:gd name="connsiteX24" fmla="*/ 932783 w 1044701"/>
                <a:gd name="connsiteY24" fmla="*/ 129254 h 731424"/>
                <a:gd name="connsiteX25" fmla="*/ 924401 w 1044701"/>
                <a:gd name="connsiteY25" fmla="*/ 127159 h 731424"/>
                <a:gd name="connsiteX26" fmla="*/ 917734 w 1044701"/>
                <a:gd name="connsiteY26" fmla="*/ 124777 h 731424"/>
                <a:gd name="connsiteX27" fmla="*/ 914209 w 1044701"/>
                <a:gd name="connsiteY27" fmla="*/ 122015 h 731424"/>
                <a:gd name="connsiteX28" fmla="*/ 893826 w 1044701"/>
                <a:gd name="connsiteY28" fmla="*/ 113443 h 731424"/>
                <a:gd name="connsiteX29" fmla="*/ 887349 w 1044701"/>
                <a:gd name="connsiteY29" fmla="*/ 112586 h 731424"/>
                <a:gd name="connsiteX30" fmla="*/ 882396 w 1044701"/>
                <a:gd name="connsiteY30" fmla="*/ 111633 h 731424"/>
                <a:gd name="connsiteX31" fmla="*/ 878205 w 1044701"/>
                <a:gd name="connsiteY31" fmla="*/ 104204 h 731424"/>
                <a:gd name="connsiteX32" fmla="*/ 867537 w 1044701"/>
                <a:gd name="connsiteY32" fmla="*/ 95917 h 731424"/>
                <a:gd name="connsiteX33" fmla="*/ 866775 w 1044701"/>
                <a:gd name="connsiteY33" fmla="*/ 89630 h 731424"/>
                <a:gd name="connsiteX34" fmla="*/ 859822 w 1044701"/>
                <a:gd name="connsiteY34" fmla="*/ 85630 h 731424"/>
                <a:gd name="connsiteX35" fmla="*/ 855821 w 1044701"/>
                <a:gd name="connsiteY35" fmla="*/ 79724 h 731424"/>
                <a:gd name="connsiteX36" fmla="*/ 844391 w 1044701"/>
                <a:gd name="connsiteY36" fmla="*/ 78010 h 731424"/>
                <a:gd name="connsiteX37" fmla="*/ 840105 w 1044701"/>
                <a:gd name="connsiteY37" fmla="*/ 81725 h 731424"/>
                <a:gd name="connsiteX38" fmla="*/ 838295 w 1044701"/>
                <a:gd name="connsiteY38" fmla="*/ 80391 h 731424"/>
                <a:gd name="connsiteX39" fmla="*/ 836962 w 1044701"/>
                <a:gd name="connsiteY39" fmla="*/ 82201 h 731424"/>
                <a:gd name="connsiteX40" fmla="*/ 816197 w 1044701"/>
                <a:gd name="connsiteY40" fmla="*/ 70390 h 731424"/>
                <a:gd name="connsiteX41" fmla="*/ 813245 w 1044701"/>
                <a:gd name="connsiteY41" fmla="*/ 72390 h 731424"/>
                <a:gd name="connsiteX42" fmla="*/ 811435 w 1044701"/>
                <a:gd name="connsiteY42" fmla="*/ 70961 h 731424"/>
                <a:gd name="connsiteX43" fmla="*/ 807720 w 1044701"/>
                <a:gd name="connsiteY43" fmla="*/ 66675 h 731424"/>
                <a:gd name="connsiteX44" fmla="*/ 804767 w 1044701"/>
                <a:gd name="connsiteY44" fmla="*/ 68580 h 731424"/>
                <a:gd name="connsiteX45" fmla="*/ 801719 w 1044701"/>
                <a:gd name="connsiteY45" fmla="*/ 57817 h 731424"/>
                <a:gd name="connsiteX46" fmla="*/ 793242 w 1044701"/>
                <a:gd name="connsiteY46" fmla="*/ 54102 h 731424"/>
                <a:gd name="connsiteX47" fmla="*/ 790099 w 1044701"/>
                <a:gd name="connsiteY47" fmla="*/ 54483 h 731424"/>
                <a:gd name="connsiteX48" fmla="*/ 786384 w 1044701"/>
                <a:gd name="connsiteY48" fmla="*/ 50102 h 731424"/>
                <a:gd name="connsiteX49" fmla="*/ 784955 w 1044701"/>
                <a:gd name="connsiteY49" fmla="*/ 51911 h 731424"/>
                <a:gd name="connsiteX50" fmla="*/ 778478 w 1044701"/>
                <a:gd name="connsiteY50" fmla="*/ 51149 h 731424"/>
                <a:gd name="connsiteX51" fmla="*/ 772763 w 1044701"/>
                <a:gd name="connsiteY51" fmla="*/ 56674 h 731424"/>
                <a:gd name="connsiteX52" fmla="*/ 772382 w 1044701"/>
                <a:gd name="connsiteY52" fmla="*/ 79153 h 731424"/>
                <a:gd name="connsiteX53" fmla="*/ 769811 w 1044701"/>
                <a:gd name="connsiteY53" fmla="*/ 84296 h 731424"/>
                <a:gd name="connsiteX54" fmla="*/ 762190 w 1044701"/>
                <a:gd name="connsiteY54" fmla="*/ 86868 h 731424"/>
                <a:gd name="connsiteX55" fmla="*/ 759428 w 1044701"/>
                <a:gd name="connsiteY55" fmla="*/ 90392 h 731424"/>
                <a:gd name="connsiteX56" fmla="*/ 757809 w 1044701"/>
                <a:gd name="connsiteY56" fmla="*/ 90678 h 731424"/>
                <a:gd name="connsiteX57" fmla="*/ 755237 w 1044701"/>
                <a:gd name="connsiteY57" fmla="*/ 95821 h 731424"/>
                <a:gd name="connsiteX58" fmla="*/ 755047 w 1044701"/>
                <a:gd name="connsiteY58" fmla="*/ 94202 h 731424"/>
                <a:gd name="connsiteX59" fmla="*/ 745617 w 1044701"/>
                <a:gd name="connsiteY59" fmla="*/ 95441 h 731424"/>
                <a:gd name="connsiteX60" fmla="*/ 745236 w 1044701"/>
                <a:gd name="connsiteY60" fmla="*/ 92202 h 731424"/>
                <a:gd name="connsiteX61" fmla="*/ 743617 w 1044701"/>
                <a:gd name="connsiteY61" fmla="*/ 92488 h 731424"/>
                <a:gd name="connsiteX62" fmla="*/ 743998 w 1044701"/>
                <a:gd name="connsiteY62" fmla="*/ 95631 h 731424"/>
                <a:gd name="connsiteX63" fmla="*/ 736378 w 1044701"/>
                <a:gd name="connsiteY63" fmla="*/ 98203 h 731424"/>
                <a:gd name="connsiteX64" fmla="*/ 739712 w 1044701"/>
                <a:gd name="connsiteY64" fmla="*/ 99346 h 731424"/>
                <a:gd name="connsiteX65" fmla="*/ 740092 w 1044701"/>
                <a:gd name="connsiteY65" fmla="*/ 102489 h 731424"/>
                <a:gd name="connsiteX66" fmla="*/ 737330 w 1044701"/>
                <a:gd name="connsiteY66" fmla="*/ 106108 h 731424"/>
                <a:gd name="connsiteX67" fmla="*/ 733615 w 1044701"/>
                <a:gd name="connsiteY67" fmla="*/ 101727 h 731424"/>
                <a:gd name="connsiteX68" fmla="*/ 730663 w 1044701"/>
                <a:gd name="connsiteY68" fmla="*/ 103727 h 731424"/>
                <a:gd name="connsiteX69" fmla="*/ 727424 w 1044701"/>
                <a:gd name="connsiteY69" fmla="*/ 104108 h 731424"/>
                <a:gd name="connsiteX70" fmla="*/ 727900 w 1044701"/>
                <a:gd name="connsiteY70" fmla="*/ 107252 h 731424"/>
                <a:gd name="connsiteX71" fmla="*/ 724757 w 1044701"/>
                <a:gd name="connsiteY71" fmla="*/ 107728 h 731424"/>
                <a:gd name="connsiteX72" fmla="*/ 725138 w 1044701"/>
                <a:gd name="connsiteY72" fmla="*/ 110871 h 731424"/>
                <a:gd name="connsiteX73" fmla="*/ 721805 w 1044701"/>
                <a:gd name="connsiteY73" fmla="*/ 109633 h 731424"/>
                <a:gd name="connsiteX74" fmla="*/ 719995 w 1044701"/>
                <a:gd name="connsiteY74" fmla="*/ 108299 h 731424"/>
                <a:gd name="connsiteX75" fmla="*/ 715232 w 1044701"/>
                <a:gd name="connsiteY75" fmla="*/ 108871 h 731424"/>
                <a:gd name="connsiteX76" fmla="*/ 715423 w 1044701"/>
                <a:gd name="connsiteY76" fmla="*/ 110490 h 731424"/>
                <a:gd name="connsiteX77" fmla="*/ 703040 w 1044701"/>
                <a:gd name="connsiteY77" fmla="*/ 126492 h 731424"/>
                <a:gd name="connsiteX78" fmla="*/ 691801 w 1044701"/>
                <a:gd name="connsiteY78" fmla="*/ 126302 h 731424"/>
                <a:gd name="connsiteX79" fmla="*/ 687038 w 1044701"/>
                <a:gd name="connsiteY79" fmla="*/ 126968 h 731424"/>
                <a:gd name="connsiteX80" fmla="*/ 687705 w 1044701"/>
                <a:gd name="connsiteY80" fmla="*/ 131636 h 731424"/>
                <a:gd name="connsiteX81" fmla="*/ 681514 w 1044701"/>
                <a:gd name="connsiteY81" fmla="*/ 134017 h 731424"/>
                <a:gd name="connsiteX82" fmla="*/ 677608 w 1044701"/>
                <a:gd name="connsiteY82" fmla="*/ 140970 h 731424"/>
                <a:gd name="connsiteX83" fmla="*/ 679990 w 1044701"/>
                <a:gd name="connsiteY83" fmla="*/ 147066 h 731424"/>
                <a:gd name="connsiteX84" fmla="*/ 681419 w 1044701"/>
                <a:gd name="connsiteY84" fmla="*/ 145256 h 731424"/>
                <a:gd name="connsiteX85" fmla="*/ 685133 w 1044701"/>
                <a:gd name="connsiteY85" fmla="*/ 149638 h 731424"/>
                <a:gd name="connsiteX86" fmla="*/ 690467 w 1044701"/>
                <a:gd name="connsiteY86" fmla="*/ 153734 h 731424"/>
                <a:gd name="connsiteX87" fmla="*/ 684562 w 1044701"/>
                <a:gd name="connsiteY87" fmla="*/ 157734 h 731424"/>
                <a:gd name="connsiteX88" fmla="*/ 683419 w 1044701"/>
                <a:gd name="connsiteY88" fmla="*/ 161068 h 731424"/>
                <a:gd name="connsiteX89" fmla="*/ 677132 w 1044701"/>
                <a:gd name="connsiteY89" fmla="*/ 161830 h 731424"/>
                <a:gd name="connsiteX90" fmla="*/ 674561 w 1044701"/>
                <a:gd name="connsiteY90" fmla="*/ 166973 h 731424"/>
                <a:gd name="connsiteX91" fmla="*/ 669227 w 1044701"/>
                <a:gd name="connsiteY91" fmla="*/ 162877 h 731424"/>
                <a:gd name="connsiteX92" fmla="*/ 667798 w 1044701"/>
                <a:gd name="connsiteY92" fmla="*/ 164687 h 731424"/>
                <a:gd name="connsiteX93" fmla="*/ 663035 w 1044701"/>
                <a:gd name="connsiteY93" fmla="*/ 165259 h 731424"/>
                <a:gd name="connsiteX94" fmla="*/ 665226 w 1044701"/>
                <a:gd name="connsiteY94" fmla="*/ 169831 h 731424"/>
                <a:gd name="connsiteX95" fmla="*/ 664083 w 1044701"/>
                <a:gd name="connsiteY95" fmla="*/ 173165 h 731424"/>
                <a:gd name="connsiteX96" fmla="*/ 662273 w 1044701"/>
                <a:gd name="connsiteY96" fmla="*/ 171736 h 731424"/>
                <a:gd name="connsiteX97" fmla="*/ 662940 w 1044701"/>
                <a:gd name="connsiteY97" fmla="*/ 176498 h 731424"/>
                <a:gd name="connsiteX98" fmla="*/ 668083 w 1044701"/>
                <a:gd name="connsiteY98" fmla="*/ 179070 h 731424"/>
                <a:gd name="connsiteX99" fmla="*/ 670465 w 1044701"/>
                <a:gd name="connsiteY99" fmla="*/ 185166 h 731424"/>
                <a:gd name="connsiteX100" fmla="*/ 673798 w 1044701"/>
                <a:gd name="connsiteY100" fmla="*/ 186309 h 731424"/>
                <a:gd name="connsiteX101" fmla="*/ 675227 w 1044701"/>
                <a:gd name="connsiteY101" fmla="*/ 197358 h 731424"/>
                <a:gd name="connsiteX102" fmla="*/ 655034 w 1044701"/>
                <a:gd name="connsiteY102" fmla="*/ 190310 h 731424"/>
                <a:gd name="connsiteX103" fmla="*/ 651700 w 1044701"/>
                <a:gd name="connsiteY103" fmla="*/ 189167 h 731424"/>
                <a:gd name="connsiteX104" fmla="*/ 646366 w 1044701"/>
                <a:gd name="connsiteY104" fmla="*/ 185071 h 731424"/>
                <a:gd name="connsiteX105" fmla="*/ 645033 w 1044701"/>
                <a:gd name="connsiteY105" fmla="*/ 186785 h 731424"/>
                <a:gd name="connsiteX106" fmla="*/ 638270 w 1044701"/>
                <a:gd name="connsiteY106" fmla="*/ 184499 h 731424"/>
                <a:gd name="connsiteX107" fmla="*/ 640080 w 1044701"/>
                <a:gd name="connsiteY107" fmla="*/ 185833 h 731424"/>
                <a:gd name="connsiteX108" fmla="*/ 638842 w 1044701"/>
                <a:gd name="connsiteY108" fmla="*/ 189167 h 731424"/>
                <a:gd name="connsiteX109" fmla="*/ 640652 w 1044701"/>
                <a:gd name="connsiteY109" fmla="*/ 190595 h 731424"/>
                <a:gd name="connsiteX110" fmla="*/ 633984 w 1044701"/>
                <a:gd name="connsiteY110" fmla="*/ 188214 h 731424"/>
                <a:gd name="connsiteX111" fmla="*/ 632555 w 1044701"/>
                <a:gd name="connsiteY111" fmla="*/ 190024 h 731424"/>
                <a:gd name="connsiteX112" fmla="*/ 630936 w 1044701"/>
                <a:gd name="connsiteY112" fmla="*/ 190214 h 731424"/>
                <a:gd name="connsiteX113" fmla="*/ 627793 w 1044701"/>
                <a:gd name="connsiteY113" fmla="*/ 190595 h 731424"/>
                <a:gd name="connsiteX114" fmla="*/ 615410 w 1044701"/>
                <a:gd name="connsiteY114" fmla="*/ 193834 h 731424"/>
                <a:gd name="connsiteX115" fmla="*/ 614839 w 1044701"/>
                <a:gd name="connsiteY115" fmla="*/ 189071 h 731424"/>
                <a:gd name="connsiteX116" fmla="*/ 614648 w 1044701"/>
                <a:gd name="connsiteY116" fmla="*/ 187452 h 731424"/>
                <a:gd name="connsiteX117" fmla="*/ 618744 w 1044701"/>
                <a:gd name="connsiteY117" fmla="*/ 182118 h 731424"/>
                <a:gd name="connsiteX118" fmla="*/ 616934 w 1044701"/>
                <a:gd name="connsiteY118" fmla="*/ 180785 h 731424"/>
                <a:gd name="connsiteX119" fmla="*/ 612267 w 1044701"/>
                <a:gd name="connsiteY119" fmla="*/ 181356 h 731424"/>
                <a:gd name="connsiteX120" fmla="*/ 611981 w 1044701"/>
                <a:gd name="connsiteY120" fmla="*/ 179832 h 731424"/>
                <a:gd name="connsiteX121" fmla="*/ 610457 w 1044701"/>
                <a:gd name="connsiteY121" fmla="*/ 180023 h 731424"/>
                <a:gd name="connsiteX122" fmla="*/ 612457 w 1044701"/>
                <a:gd name="connsiteY122" fmla="*/ 182975 h 731424"/>
                <a:gd name="connsiteX123" fmla="*/ 611219 w 1044701"/>
                <a:gd name="connsiteY123" fmla="*/ 186309 h 731424"/>
                <a:gd name="connsiteX124" fmla="*/ 611410 w 1044701"/>
                <a:gd name="connsiteY124" fmla="*/ 187833 h 731424"/>
                <a:gd name="connsiteX125" fmla="*/ 602552 w 1044701"/>
                <a:gd name="connsiteY125" fmla="*/ 193834 h 731424"/>
                <a:gd name="connsiteX126" fmla="*/ 598837 w 1044701"/>
                <a:gd name="connsiteY126" fmla="*/ 189452 h 731424"/>
                <a:gd name="connsiteX127" fmla="*/ 596074 w 1044701"/>
                <a:gd name="connsiteY127" fmla="*/ 193072 h 731424"/>
                <a:gd name="connsiteX128" fmla="*/ 589597 w 1044701"/>
                <a:gd name="connsiteY128" fmla="*/ 192310 h 731424"/>
                <a:gd name="connsiteX129" fmla="*/ 587026 w 1044701"/>
                <a:gd name="connsiteY129" fmla="*/ 197358 h 731424"/>
                <a:gd name="connsiteX130" fmla="*/ 582073 w 1044701"/>
                <a:gd name="connsiteY130" fmla="*/ 196406 h 731424"/>
                <a:gd name="connsiteX131" fmla="*/ 580644 w 1044701"/>
                <a:gd name="connsiteY131" fmla="*/ 198215 h 731424"/>
                <a:gd name="connsiteX132" fmla="*/ 576929 w 1044701"/>
                <a:gd name="connsiteY132" fmla="*/ 193834 h 731424"/>
                <a:gd name="connsiteX133" fmla="*/ 574929 w 1044701"/>
                <a:gd name="connsiteY133" fmla="*/ 190881 h 731424"/>
                <a:gd name="connsiteX134" fmla="*/ 576167 w 1044701"/>
                <a:gd name="connsiteY134" fmla="*/ 187547 h 731424"/>
                <a:gd name="connsiteX135" fmla="*/ 574548 w 1044701"/>
                <a:gd name="connsiteY135" fmla="*/ 187738 h 731424"/>
                <a:gd name="connsiteX136" fmla="*/ 569405 w 1044701"/>
                <a:gd name="connsiteY136" fmla="*/ 185261 h 731424"/>
                <a:gd name="connsiteX137" fmla="*/ 564832 w 1044701"/>
                <a:gd name="connsiteY137" fmla="*/ 174593 h 731424"/>
                <a:gd name="connsiteX138" fmla="*/ 561689 w 1044701"/>
                <a:gd name="connsiteY138" fmla="*/ 174974 h 731424"/>
                <a:gd name="connsiteX139" fmla="*/ 559880 w 1044701"/>
                <a:gd name="connsiteY139" fmla="*/ 173546 h 731424"/>
                <a:gd name="connsiteX140" fmla="*/ 558546 w 1044701"/>
                <a:gd name="connsiteY140" fmla="*/ 175355 h 731424"/>
                <a:gd name="connsiteX141" fmla="*/ 556736 w 1044701"/>
                <a:gd name="connsiteY141" fmla="*/ 174022 h 731424"/>
                <a:gd name="connsiteX142" fmla="*/ 553593 w 1044701"/>
                <a:gd name="connsiteY142" fmla="*/ 174403 h 731424"/>
                <a:gd name="connsiteX143" fmla="*/ 551974 w 1044701"/>
                <a:gd name="connsiteY143" fmla="*/ 174593 h 731424"/>
                <a:gd name="connsiteX144" fmla="*/ 546068 w 1044701"/>
                <a:gd name="connsiteY144" fmla="*/ 165735 h 731424"/>
                <a:gd name="connsiteX145" fmla="*/ 543115 w 1044701"/>
                <a:gd name="connsiteY145" fmla="*/ 167735 h 731424"/>
                <a:gd name="connsiteX146" fmla="*/ 541972 w 1044701"/>
                <a:gd name="connsiteY146" fmla="*/ 171069 h 731424"/>
                <a:gd name="connsiteX147" fmla="*/ 540353 w 1044701"/>
                <a:gd name="connsiteY147" fmla="*/ 171260 h 731424"/>
                <a:gd name="connsiteX148" fmla="*/ 531495 w 1044701"/>
                <a:gd name="connsiteY148" fmla="*/ 164402 h 731424"/>
                <a:gd name="connsiteX149" fmla="*/ 528447 w 1044701"/>
                <a:gd name="connsiteY149" fmla="*/ 153543 h 731424"/>
                <a:gd name="connsiteX150" fmla="*/ 519589 w 1044701"/>
                <a:gd name="connsiteY150" fmla="*/ 146685 h 731424"/>
                <a:gd name="connsiteX151" fmla="*/ 513493 w 1044701"/>
                <a:gd name="connsiteY151" fmla="*/ 149066 h 731424"/>
                <a:gd name="connsiteX152" fmla="*/ 511683 w 1044701"/>
                <a:gd name="connsiteY152" fmla="*/ 147638 h 731424"/>
                <a:gd name="connsiteX153" fmla="*/ 506921 w 1044701"/>
                <a:gd name="connsiteY153" fmla="*/ 148304 h 731424"/>
                <a:gd name="connsiteX154" fmla="*/ 505015 w 1044701"/>
                <a:gd name="connsiteY154" fmla="*/ 145352 h 731424"/>
                <a:gd name="connsiteX155" fmla="*/ 498443 w 1044701"/>
                <a:gd name="connsiteY155" fmla="*/ 144494 h 731424"/>
                <a:gd name="connsiteX156" fmla="*/ 495300 w 1044701"/>
                <a:gd name="connsiteY156" fmla="*/ 144971 h 731424"/>
                <a:gd name="connsiteX157" fmla="*/ 493300 w 1044701"/>
                <a:gd name="connsiteY157" fmla="*/ 142018 h 731424"/>
                <a:gd name="connsiteX158" fmla="*/ 492347 w 1044701"/>
                <a:gd name="connsiteY158" fmla="*/ 134112 h 731424"/>
                <a:gd name="connsiteX159" fmla="*/ 486728 w 1044701"/>
                <a:gd name="connsiteY159" fmla="*/ 115538 h 731424"/>
                <a:gd name="connsiteX160" fmla="*/ 480250 w 1044701"/>
                <a:gd name="connsiteY160" fmla="*/ 114776 h 731424"/>
                <a:gd name="connsiteX161" fmla="*/ 449675 w 1044701"/>
                <a:gd name="connsiteY161" fmla="*/ 113824 h 731424"/>
                <a:gd name="connsiteX162" fmla="*/ 449580 w 1044701"/>
                <a:gd name="connsiteY162" fmla="*/ 88202 h 731424"/>
                <a:gd name="connsiteX163" fmla="*/ 448437 w 1044701"/>
                <a:gd name="connsiteY163" fmla="*/ 78772 h 731424"/>
                <a:gd name="connsiteX164" fmla="*/ 435197 w 1044701"/>
                <a:gd name="connsiteY164" fmla="*/ 75629 h 731424"/>
                <a:gd name="connsiteX165" fmla="*/ 435102 w 1044701"/>
                <a:gd name="connsiteY165" fmla="*/ 62770 h 731424"/>
                <a:gd name="connsiteX166" fmla="*/ 415957 w 1044701"/>
                <a:gd name="connsiteY166" fmla="*/ 63627 h 731424"/>
                <a:gd name="connsiteX167" fmla="*/ 410623 w 1044701"/>
                <a:gd name="connsiteY167" fmla="*/ 59531 h 731424"/>
                <a:gd name="connsiteX168" fmla="*/ 405955 w 1044701"/>
                <a:gd name="connsiteY168" fmla="*/ 60103 h 731424"/>
                <a:gd name="connsiteX169" fmla="*/ 405289 w 1044701"/>
                <a:gd name="connsiteY169" fmla="*/ 55340 h 731424"/>
                <a:gd name="connsiteX170" fmla="*/ 401193 w 1044701"/>
                <a:gd name="connsiteY170" fmla="*/ 60674 h 731424"/>
                <a:gd name="connsiteX171" fmla="*/ 388525 w 1044701"/>
                <a:gd name="connsiteY171" fmla="*/ 49530 h 731424"/>
                <a:gd name="connsiteX172" fmla="*/ 383572 w 1044701"/>
                <a:gd name="connsiteY172" fmla="*/ 48482 h 731424"/>
                <a:gd name="connsiteX173" fmla="*/ 384429 w 1044701"/>
                <a:gd name="connsiteY173" fmla="*/ 54864 h 731424"/>
                <a:gd name="connsiteX174" fmla="*/ 383000 w 1044701"/>
                <a:gd name="connsiteY174" fmla="*/ 56579 h 731424"/>
                <a:gd name="connsiteX175" fmla="*/ 362331 w 1044701"/>
                <a:gd name="connsiteY175" fmla="*/ 57626 h 731424"/>
                <a:gd name="connsiteX176" fmla="*/ 362903 w 1044701"/>
                <a:gd name="connsiteY176" fmla="*/ 75248 h 731424"/>
                <a:gd name="connsiteX177" fmla="*/ 351663 w 1044701"/>
                <a:gd name="connsiteY177" fmla="*/ 75057 h 731424"/>
                <a:gd name="connsiteX178" fmla="*/ 338899 w 1044701"/>
                <a:gd name="connsiteY178" fmla="*/ 75057 h 731424"/>
                <a:gd name="connsiteX179" fmla="*/ 338328 w 1044701"/>
                <a:gd name="connsiteY179" fmla="*/ 83153 h 731424"/>
                <a:gd name="connsiteX180" fmla="*/ 329470 w 1044701"/>
                <a:gd name="connsiteY180" fmla="*/ 89059 h 731424"/>
                <a:gd name="connsiteX181" fmla="*/ 329851 w 1044701"/>
                <a:gd name="connsiteY181" fmla="*/ 92297 h 731424"/>
                <a:gd name="connsiteX182" fmla="*/ 326898 w 1044701"/>
                <a:gd name="connsiteY182" fmla="*/ 94202 h 731424"/>
                <a:gd name="connsiteX183" fmla="*/ 326231 w 1044701"/>
                <a:gd name="connsiteY183" fmla="*/ 89535 h 731424"/>
                <a:gd name="connsiteX184" fmla="*/ 314992 w 1044701"/>
                <a:gd name="connsiteY184" fmla="*/ 89344 h 731424"/>
                <a:gd name="connsiteX185" fmla="*/ 313468 w 1044701"/>
                <a:gd name="connsiteY185" fmla="*/ 89535 h 731424"/>
                <a:gd name="connsiteX186" fmla="*/ 313087 w 1044701"/>
                <a:gd name="connsiteY186" fmla="*/ 86392 h 731424"/>
                <a:gd name="connsiteX187" fmla="*/ 306324 w 1044701"/>
                <a:gd name="connsiteY187" fmla="*/ 84011 h 731424"/>
                <a:gd name="connsiteX188" fmla="*/ 304133 w 1044701"/>
                <a:gd name="connsiteY188" fmla="*/ 79439 h 731424"/>
                <a:gd name="connsiteX189" fmla="*/ 304514 w 1044701"/>
                <a:gd name="connsiteY189" fmla="*/ 69818 h 731424"/>
                <a:gd name="connsiteX190" fmla="*/ 308229 w 1044701"/>
                <a:gd name="connsiteY190" fmla="*/ 61341 h 731424"/>
                <a:gd name="connsiteX191" fmla="*/ 303086 w 1044701"/>
                <a:gd name="connsiteY191" fmla="*/ 58769 h 731424"/>
                <a:gd name="connsiteX192" fmla="*/ 304324 w 1044701"/>
                <a:gd name="connsiteY192" fmla="*/ 55435 h 731424"/>
                <a:gd name="connsiteX193" fmla="*/ 303847 w 1044701"/>
                <a:gd name="connsiteY193" fmla="*/ 52292 h 731424"/>
                <a:gd name="connsiteX194" fmla="*/ 294227 w 1044701"/>
                <a:gd name="connsiteY194" fmla="*/ 51911 h 731424"/>
                <a:gd name="connsiteX195" fmla="*/ 290513 w 1044701"/>
                <a:gd name="connsiteY195" fmla="*/ 47530 h 731424"/>
                <a:gd name="connsiteX196" fmla="*/ 285083 w 1044701"/>
                <a:gd name="connsiteY196" fmla="*/ 43434 h 731424"/>
                <a:gd name="connsiteX197" fmla="*/ 280797 w 1044701"/>
                <a:gd name="connsiteY197" fmla="*/ 47149 h 731424"/>
                <a:gd name="connsiteX198" fmla="*/ 278416 w 1044701"/>
                <a:gd name="connsiteY198" fmla="*/ 53912 h 731424"/>
                <a:gd name="connsiteX199" fmla="*/ 270129 w 1044701"/>
                <a:gd name="connsiteY199" fmla="*/ 51721 h 731424"/>
                <a:gd name="connsiteX200" fmla="*/ 269177 w 1044701"/>
                <a:gd name="connsiteY200" fmla="*/ 56674 h 731424"/>
                <a:gd name="connsiteX201" fmla="*/ 264414 w 1044701"/>
                <a:gd name="connsiteY201" fmla="*/ 57245 h 731424"/>
                <a:gd name="connsiteX202" fmla="*/ 264605 w 1044701"/>
                <a:gd name="connsiteY202" fmla="*/ 58865 h 731424"/>
                <a:gd name="connsiteX203" fmla="*/ 260128 w 1044701"/>
                <a:gd name="connsiteY203" fmla="*/ 61055 h 731424"/>
                <a:gd name="connsiteX204" fmla="*/ 260890 w 1044701"/>
                <a:gd name="connsiteY204" fmla="*/ 67342 h 731424"/>
                <a:gd name="connsiteX205" fmla="*/ 262699 w 1044701"/>
                <a:gd name="connsiteY205" fmla="*/ 68771 h 731424"/>
                <a:gd name="connsiteX206" fmla="*/ 260985 w 1044701"/>
                <a:gd name="connsiteY206" fmla="*/ 80200 h 731424"/>
                <a:gd name="connsiteX207" fmla="*/ 259747 w 1044701"/>
                <a:gd name="connsiteY207" fmla="*/ 83534 h 731424"/>
                <a:gd name="connsiteX208" fmla="*/ 256604 w 1044701"/>
                <a:gd name="connsiteY208" fmla="*/ 83915 h 731424"/>
                <a:gd name="connsiteX209" fmla="*/ 256794 w 1044701"/>
                <a:gd name="connsiteY209" fmla="*/ 85535 h 731424"/>
                <a:gd name="connsiteX210" fmla="*/ 254794 w 1044701"/>
                <a:gd name="connsiteY210" fmla="*/ 82582 h 731424"/>
                <a:gd name="connsiteX211" fmla="*/ 251079 w 1044701"/>
                <a:gd name="connsiteY211" fmla="*/ 91059 h 731424"/>
                <a:gd name="connsiteX212" fmla="*/ 247364 w 1044701"/>
                <a:gd name="connsiteY212" fmla="*/ 86677 h 731424"/>
                <a:gd name="connsiteX213" fmla="*/ 242411 w 1044701"/>
                <a:gd name="connsiteY213" fmla="*/ 85725 h 731424"/>
                <a:gd name="connsiteX214" fmla="*/ 239458 w 1044701"/>
                <a:gd name="connsiteY214" fmla="*/ 87725 h 731424"/>
                <a:gd name="connsiteX215" fmla="*/ 239268 w 1044701"/>
                <a:gd name="connsiteY215" fmla="*/ 86106 h 731424"/>
                <a:gd name="connsiteX216" fmla="*/ 235934 w 1044701"/>
                <a:gd name="connsiteY216" fmla="*/ 84963 h 731424"/>
                <a:gd name="connsiteX217" fmla="*/ 234696 w 1044701"/>
                <a:gd name="connsiteY217" fmla="*/ 88297 h 731424"/>
                <a:gd name="connsiteX218" fmla="*/ 231553 w 1044701"/>
                <a:gd name="connsiteY218" fmla="*/ 88773 h 731424"/>
                <a:gd name="connsiteX219" fmla="*/ 228981 w 1044701"/>
                <a:gd name="connsiteY219" fmla="*/ 93917 h 731424"/>
                <a:gd name="connsiteX220" fmla="*/ 227457 w 1044701"/>
                <a:gd name="connsiteY220" fmla="*/ 94107 h 731424"/>
                <a:gd name="connsiteX221" fmla="*/ 227838 w 1044701"/>
                <a:gd name="connsiteY221" fmla="*/ 97250 h 731424"/>
                <a:gd name="connsiteX222" fmla="*/ 225076 w 1044701"/>
                <a:gd name="connsiteY222" fmla="*/ 100775 h 731424"/>
                <a:gd name="connsiteX223" fmla="*/ 221552 w 1044701"/>
                <a:gd name="connsiteY223" fmla="*/ 98012 h 731424"/>
                <a:gd name="connsiteX224" fmla="*/ 219932 w 1044701"/>
                <a:gd name="connsiteY224" fmla="*/ 98203 h 731424"/>
                <a:gd name="connsiteX225" fmla="*/ 218789 w 1044701"/>
                <a:gd name="connsiteY225" fmla="*/ 101632 h 731424"/>
                <a:gd name="connsiteX226" fmla="*/ 215170 w 1044701"/>
                <a:gd name="connsiteY226" fmla="*/ 98869 h 731424"/>
                <a:gd name="connsiteX227" fmla="*/ 214979 w 1044701"/>
                <a:gd name="connsiteY227" fmla="*/ 97250 h 731424"/>
                <a:gd name="connsiteX228" fmla="*/ 209836 w 1044701"/>
                <a:gd name="connsiteY228" fmla="*/ 94679 h 731424"/>
                <a:gd name="connsiteX229" fmla="*/ 209645 w 1044701"/>
                <a:gd name="connsiteY229" fmla="*/ 93154 h 731424"/>
                <a:gd name="connsiteX230" fmla="*/ 199358 w 1044701"/>
                <a:gd name="connsiteY230" fmla="*/ 88011 h 731424"/>
                <a:gd name="connsiteX231" fmla="*/ 197644 w 1044701"/>
                <a:gd name="connsiteY231" fmla="*/ 86677 h 731424"/>
                <a:gd name="connsiteX232" fmla="*/ 195834 w 1044701"/>
                <a:gd name="connsiteY232" fmla="*/ 85249 h 731424"/>
                <a:gd name="connsiteX233" fmla="*/ 195263 w 1044701"/>
                <a:gd name="connsiteY233" fmla="*/ 93345 h 731424"/>
                <a:gd name="connsiteX234" fmla="*/ 191738 w 1044701"/>
                <a:gd name="connsiteY234" fmla="*/ 90583 h 731424"/>
                <a:gd name="connsiteX235" fmla="*/ 191929 w 1044701"/>
                <a:gd name="connsiteY235" fmla="*/ 92202 h 731424"/>
                <a:gd name="connsiteX236" fmla="*/ 186785 w 1044701"/>
                <a:gd name="connsiteY236" fmla="*/ 89630 h 731424"/>
                <a:gd name="connsiteX237" fmla="*/ 182023 w 1044701"/>
                <a:gd name="connsiteY237" fmla="*/ 90202 h 731424"/>
                <a:gd name="connsiteX238" fmla="*/ 181832 w 1044701"/>
                <a:gd name="connsiteY238" fmla="*/ 88678 h 731424"/>
                <a:gd name="connsiteX239" fmla="*/ 183452 w 1044701"/>
                <a:gd name="connsiteY239" fmla="*/ 88487 h 731424"/>
                <a:gd name="connsiteX240" fmla="*/ 183261 w 1044701"/>
                <a:gd name="connsiteY240" fmla="*/ 86868 h 731424"/>
                <a:gd name="connsiteX241" fmla="*/ 181642 w 1044701"/>
                <a:gd name="connsiteY241" fmla="*/ 87058 h 731424"/>
                <a:gd name="connsiteX242" fmla="*/ 180213 w 1044701"/>
                <a:gd name="connsiteY242" fmla="*/ 88868 h 731424"/>
                <a:gd name="connsiteX243" fmla="*/ 175070 w 1044701"/>
                <a:gd name="connsiteY243" fmla="*/ 86296 h 731424"/>
                <a:gd name="connsiteX244" fmla="*/ 173736 w 1044701"/>
                <a:gd name="connsiteY244" fmla="*/ 88106 h 731424"/>
                <a:gd name="connsiteX245" fmla="*/ 175355 w 1044701"/>
                <a:gd name="connsiteY245" fmla="*/ 87916 h 731424"/>
                <a:gd name="connsiteX246" fmla="*/ 170783 w 1044701"/>
                <a:gd name="connsiteY246" fmla="*/ 90106 h 731424"/>
                <a:gd name="connsiteX247" fmla="*/ 168783 w 1044701"/>
                <a:gd name="connsiteY247" fmla="*/ 87154 h 731424"/>
                <a:gd name="connsiteX248" fmla="*/ 165640 w 1044701"/>
                <a:gd name="connsiteY248" fmla="*/ 87535 h 731424"/>
                <a:gd name="connsiteX249" fmla="*/ 163925 w 1044701"/>
                <a:gd name="connsiteY249" fmla="*/ 86106 h 731424"/>
                <a:gd name="connsiteX250" fmla="*/ 162496 w 1044701"/>
                <a:gd name="connsiteY250" fmla="*/ 87916 h 731424"/>
                <a:gd name="connsiteX251" fmla="*/ 162115 w 1044701"/>
                <a:gd name="connsiteY251" fmla="*/ 84773 h 731424"/>
                <a:gd name="connsiteX252" fmla="*/ 160496 w 1044701"/>
                <a:gd name="connsiteY252" fmla="*/ 84963 h 731424"/>
                <a:gd name="connsiteX253" fmla="*/ 161354 w 1044701"/>
                <a:gd name="connsiteY253" fmla="*/ 91250 h 731424"/>
                <a:gd name="connsiteX254" fmla="*/ 164497 w 1044701"/>
                <a:gd name="connsiteY254" fmla="*/ 90869 h 731424"/>
                <a:gd name="connsiteX255" fmla="*/ 163068 w 1044701"/>
                <a:gd name="connsiteY255" fmla="*/ 92678 h 731424"/>
                <a:gd name="connsiteX256" fmla="*/ 161354 w 1044701"/>
                <a:gd name="connsiteY256" fmla="*/ 91250 h 731424"/>
                <a:gd name="connsiteX257" fmla="*/ 157734 w 1044701"/>
                <a:gd name="connsiteY257" fmla="*/ 88487 h 731424"/>
                <a:gd name="connsiteX258" fmla="*/ 156400 w 1044701"/>
                <a:gd name="connsiteY258" fmla="*/ 90297 h 731424"/>
                <a:gd name="connsiteX259" fmla="*/ 156591 w 1044701"/>
                <a:gd name="connsiteY259" fmla="*/ 91916 h 731424"/>
                <a:gd name="connsiteX260" fmla="*/ 154972 w 1044701"/>
                <a:gd name="connsiteY260" fmla="*/ 92107 h 731424"/>
                <a:gd name="connsiteX261" fmla="*/ 153448 w 1044701"/>
                <a:gd name="connsiteY261" fmla="*/ 92297 h 731424"/>
                <a:gd name="connsiteX262" fmla="*/ 152781 w 1044701"/>
                <a:gd name="connsiteY262" fmla="*/ 87535 h 731424"/>
                <a:gd name="connsiteX263" fmla="*/ 149638 w 1044701"/>
                <a:gd name="connsiteY263" fmla="*/ 87916 h 731424"/>
                <a:gd name="connsiteX264" fmla="*/ 149828 w 1044701"/>
                <a:gd name="connsiteY264" fmla="*/ 76676 h 731424"/>
                <a:gd name="connsiteX265" fmla="*/ 142970 w 1044701"/>
                <a:gd name="connsiteY265" fmla="*/ 72771 h 731424"/>
                <a:gd name="connsiteX266" fmla="*/ 139732 w 1044701"/>
                <a:gd name="connsiteY266" fmla="*/ 73152 h 731424"/>
                <a:gd name="connsiteX267" fmla="*/ 138779 w 1044701"/>
                <a:gd name="connsiteY267" fmla="*/ 78105 h 731424"/>
                <a:gd name="connsiteX268" fmla="*/ 143923 w 1044701"/>
                <a:gd name="connsiteY268" fmla="*/ 80677 h 731424"/>
                <a:gd name="connsiteX269" fmla="*/ 137827 w 1044701"/>
                <a:gd name="connsiteY269" fmla="*/ 83058 h 731424"/>
                <a:gd name="connsiteX270" fmla="*/ 136017 w 1044701"/>
                <a:gd name="connsiteY270" fmla="*/ 81629 h 731424"/>
                <a:gd name="connsiteX271" fmla="*/ 134684 w 1044701"/>
                <a:gd name="connsiteY271" fmla="*/ 83439 h 731424"/>
                <a:gd name="connsiteX272" fmla="*/ 135255 w 1044701"/>
                <a:gd name="connsiteY272" fmla="*/ 88202 h 731424"/>
                <a:gd name="connsiteX273" fmla="*/ 130683 w 1044701"/>
                <a:gd name="connsiteY273" fmla="*/ 90392 h 731424"/>
                <a:gd name="connsiteX274" fmla="*/ 127349 w 1044701"/>
                <a:gd name="connsiteY274" fmla="*/ 89154 h 731424"/>
                <a:gd name="connsiteX275" fmla="*/ 126778 w 1044701"/>
                <a:gd name="connsiteY275" fmla="*/ 84487 h 731424"/>
                <a:gd name="connsiteX276" fmla="*/ 125349 w 1044701"/>
                <a:gd name="connsiteY276" fmla="*/ 86201 h 731424"/>
                <a:gd name="connsiteX277" fmla="*/ 123444 w 1044701"/>
                <a:gd name="connsiteY277" fmla="*/ 83248 h 731424"/>
                <a:gd name="connsiteX278" fmla="*/ 120301 w 1044701"/>
                <a:gd name="connsiteY278" fmla="*/ 83629 h 731424"/>
                <a:gd name="connsiteX279" fmla="*/ 109823 w 1044701"/>
                <a:gd name="connsiteY279" fmla="*/ 89821 h 731424"/>
                <a:gd name="connsiteX280" fmla="*/ 108394 w 1044701"/>
                <a:gd name="connsiteY280" fmla="*/ 91631 h 731424"/>
                <a:gd name="connsiteX281" fmla="*/ 107823 w 1044701"/>
                <a:gd name="connsiteY281" fmla="*/ 99727 h 731424"/>
                <a:gd name="connsiteX282" fmla="*/ 106680 w 1044701"/>
                <a:gd name="connsiteY282" fmla="*/ 103061 h 731424"/>
                <a:gd name="connsiteX283" fmla="*/ 108490 w 1044701"/>
                <a:gd name="connsiteY283" fmla="*/ 104394 h 731424"/>
                <a:gd name="connsiteX284" fmla="*/ 110680 w 1044701"/>
                <a:gd name="connsiteY284" fmla="*/ 108966 h 731424"/>
                <a:gd name="connsiteX285" fmla="*/ 109252 w 1044701"/>
                <a:gd name="connsiteY285" fmla="*/ 110776 h 731424"/>
                <a:gd name="connsiteX286" fmla="*/ 105727 w 1044701"/>
                <a:gd name="connsiteY286" fmla="*/ 108014 h 731424"/>
                <a:gd name="connsiteX287" fmla="*/ 102965 w 1044701"/>
                <a:gd name="connsiteY287" fmla="*/ 111538 h 731424"/>
                <a:gd name="connsiteX288" fmla="*/ 98393 w 1044701"/>
                <a:gd name="connsiteY288" fmla="*/ 113729 h 731424"/>
                <a:gd name="connsiteX289" fmla="*/ 98584 w 1044701"/>
                <a:gd name="connsiteY289" fmla="*/ 115252 h 731424"/>
                <a:gd name="connsiteX290" fmla="*/ 96869 w 1044701"/>
                <a:gd name="connsiteY290" fmla="*/ 113919 h 731424"/>
                <a:gd name="connsiteX291" fmla="*/ 85630 w 1044701"/>
                <a:gd name="connsiteY291" fmla="*/ 113729 h 731424"/>
                <a:gd name="connsiteX292" fmla="*/ 86201 w 1044701"/>
                <a:gd name="connsiteY292" fmla="*/ 118491 h 731424"/>
                <a:gd name="connsiteX293" fmla="*/ 90964 w 1044701"/>
                <a:gd name="connsiteY293" fmla="*/ 117919 h 731424"/>
                <a:gd name="connsiteX294" fmla="*/ 88011 w 1044701"/>
                <a:gd name="connsiteY294" fmla="*/ 119825 h 731424"/>
                <a:gd name="connsiteX295" fmla="*/ 83058 w 1044701"/>
                <a:gd name="connsiteY295" fmla="*/ 118872 h 731424"/>
                <a:gd name="connsiteX296" fmla="*/ 83248 w 1044701"/>
                <a:gd name="connsiteY296" fmla="*/ 120491 h 731424"/>
                <a:gd name="connsiteX297" fmla="*/ 78962 w 1044701"/>
                <a:gd name="connsiteY297" fmla="*/ 124206 h 731424"/>
                <a:gd name="connsiteX298" fmla="*/ 77343 w 1044701"/>
                <a:gd name="connsiteY298" fmla="*/ 124396 h 731424"/>
                <a:gd name="connsiteX299" fmla="*/ 73247 w 1044701"/>
                <a:gd name="connsiteY299" fmla="*/ 129731 h 731424"/>
                <a:gd name="connsiteX300" fmla="*/ 60960 w 1044701"/>
                <a:gd name="connsiteY300" fmla="*/ 134493 h 731424"/>
                <a:gd name="connsiteX301" fmla="*/ 50863 w 1044701"/>
                <a:gd name="connsiteY301" fmla="*/ 118205 h 731424"/>
                <a:gd name="connsiteX302" fmla="*/ 49054 w 1044701"/>
                <a:gd name="connsiteY302" fmla="*/ 116777 h 731424"/>
                <a:gd name="connsiteX303" fmla="*/ 47530 w 1044701"/>
                <a:gd name="connsiteY303" fmla="*/ 116967 h 731424"/>
                <a:gd name="connsiteX304" fmla="*/ 50292 w 1044701"/>
                <a:gd name="connsiteY304" fmla="*/ 126302 h 731424"/>
                <a:gd name="connsiteX305" fmla="*/ 44386 w 1044701"/>
                <a:gd name="connsiteY305" fmla="*/ 130207 h 731424"/>
                <a:gd name="connsiteX306" fmla="*/ 39243 w 1044701"/>
                <a:gd name="connsiteY306" fmla="*/ 127635 h 731424"/>
                <a:gd name="connsiteX307" fmla="*/ 38671 w 1044701"/>
                <a:gd name="connsiteY307" fmla="*/ 122968 h 731424"/>
                <a:gd name="connsiteX308" fmla="*/ 35147 w 1044701"/>
                <a:gd name="connsiteY308" fmla="*/ 120206 h 731424"/>
                <a:gd name="connsiteX309" fmla="*/ 29146 w 1044701"/>
                <a:gd name="connsiteY309" fmla="*/ 124111 h 731424"/>
                <a:gd name="connsiteX310" fmla="*/ 25622 w 1044701"/>
                <a:gd name="connsiteY310" fmla="*/ 134207 h 731424"/>
                <a:gd name="connsiteX311" fmla="*/ 32766 w 1044701"/>
                <a:gd name="connsiteY311" fmla="*/ 139732 h 731424"/>
                <a:gd name="connsiteX312" fmla="*/ 37147 w 1044701"/>
                <a:gd name="connsiteY312" fmla="*/ 135922 h 731424"/>
                <a:gd name="connsiteX313" fmla="*/ 41243 w 1044701"/>
                <a:gd name="connsiteY313" fmla="*/ 143446 h 731424"/>
                <a:gd name="connsiteX314" fmla="*/ 44386 w 1044701"/>
                <a:gd name="connsiteY314" fmla="*/ 143066 h 731424"/>
                <a:gd name="connsiteX315" fmla="*/ 39910 w 1044701"/>
                <a:gd name="connsiteY315" fmla="*/ 145256 h 731424"/>
                <a:gd name="connsiteX316" fmla="*/ 36100 w 1044701"/>
                <a:gd name="connsiteY316" fmla="*/ 140875 h 731424"/>
                <a:gd name="connsiteX317" fmla="*/ 33338 w 1044701"/>
                <a:gd name="connsiteY317" fmla="*/ 144494 h 731424"/>
                <a:gd name="connsiteX318" fmla="*/ 30194 w 1044701"/>
                <a:gd name="connsiteY318" fmla="*/ 144875 h 731424"/>
                <a:gd name="connsiteX319" fmla="*/ 28861 w 1044701"/>
                <a:gd name="connsiteY319" fmla="*/ 146685 h 731424"/>
                <a:gd name="connsiteX320" fmla="*/ 31432 w 1044701"/>
                <a:gd name="connsiteY320" fmla="*/ 154305 h 731424"/>
                <a:gd name="connsiteX321" fmla="*/ 33623 w 1044701"/>
                <a:gd name="connsiteY321" fmla="*/ 158877 h 731424"/>
                <a:gd name="connsiteX322" fmla="*/ 33814 w 1044701"/>
                <a:gd name="connsiteY322" fmla="*/ 173260 h 731424"/>
                <a:gd name="connsiteX323" fmla="*/ 27337 w 1044701"/>
                <a:gd name="connsiteY323" fmla="*/ 172498 h 731424"/>
                <a:gd name="connsiteX324" fmla="*/ 22765 w 1044701"/>
                <a:gd name="connsiteY324" fmla="*/ 174689 h 731424"/>
                <a:gd name="connsiteX325" fmla="*/ 21050 w 1044701"/>
                <a:gd name="connsiteY325" fmla="*/ 173260 h 731424"/>
                <a:gd name="connsiteX326" fmla="*/ 21431 w 1044701"/>
                <a:gd name="connsiteY326" fmla="*/ 176403 h 731424"/>
                <a:gd name="connsiteX327" fmla="*/ 18288 w 1044701"/>
                <a:gd name="connsiteY327" fmla="*/ 176879 h 731424"/>
                <a:gd name="connsiteX328" fmla="*/ 16478 w 1044701"/>
                <a:gd name="connsiteY328" fmla="*/ 175450 h 731424"/>
                <a:gd name="connsiteX329" fmla="*/ 13144 w 1044701"/>
                <a:gd name="connsiteY329" fmla="*/ 174308 h 731424"/>
                <a:gd name="connsiteX330" fmla="*/ 11906 w 1044701"/>
                <a:gd name="connsiteY330" fmla="*/ 177641 h 731424"/>
                <a:gd name="connsiteX331" fmla="*/ 8954 w 1044701"/>
                <a:gd name="connsiteY331" fmla="*/ 179642 h 731424"/>
                <a:gd name="connsiteX332" fmla="*/ 9239 w 1044701"/>
                <a:gd name="connsiteY332" fmla="*/ 181261 h 731424"/>
                <a:gd name="connsiteX333" fmla="*/ 12763 w 1044701"/>
                <a:gd name="connsiteY333" fmla="*/ 183928 h 731424"/>
                <a:gd name="connsiteX334" fmla="*/ 24003 w 1044701"/>
                <a:gd name="connsiteY334" fmla="*/ 184118 h 731424"/>
                <a:gd name="connsiteX335" fmla="*/ 22860 w 1044701"/>
                <a:gd name="connsiteY335" fmla="*/ 187547 h 731424"/>
                <a:gd name="connsiteX336" fmla="*/ 27337 w 1044701"/>
                <a:gd name="connsiteY336" fmla="*/ 185356 h 731424"/>
                <a:gd name="connsiteX337" fmla="*/ 28004 w 1044701"/>
                <a:gd name="connsiteY337" fmla="*/ 190024 h 731424"/>
                <a:gd name="connsiteX338" fmla="*/ 26575 w 1044701"/>
                <a:gd name="connsiteY338" fmla="*/ 191834 h 731424"/>
                <a:gd name="connsiteX339" fmla="*/ 24765 w 1044701"/>
                <a:gd name="connsiteY339" fmla="*/ 190500 h 731424"/>
                <a:gd name="connsiteX340" fmla="*/ 23431 w 1044701"/>
                <a:gd name="connsiteY340" fmla="*/ 192215 h 731424"/>
                <a:gd name="connsiteX341" fmla="*/ 18288 w 1044701"/>
                <a:gd name="connsiteY341" fmla="*/ 189643 h 731424"/>
                <a:gd name="connsiteX342" fmla="*/ 18479 w 1044701"/>
                <a:gd name="connsiteY342" fmla="*/ 191262 h 731424"/>
                <a:gd name="connsiteX343" fmla="*/ 21812 w 1044701"/>
                <a:gd name="connsiteY343" fmla="*/ 192405 h 731424"/>
                <a:gd name="connsiteX344" fmla="*/ 20288 w 1044701"/>
                <a:gd name="connsiteY344" fmla="*/ 192596 h 731424"/>
                <a:gd name="connsiteX345" fmla="*/ 15145 w 1044701"/>
                <a:gd name="connsiteY345" fmla="*/ 190119 h 731424"/>
                <a:gd name="connsiteX346" fmla="*/ 11811 w 1044701"/>
                <a:gd name="connsiteY346" fmla="*/ 188881 h 731424"/>
                <a:gd name="connsiteX347" fmla="*/ 6096 w 1044701"/>
                <a:gd name="connsiteY347" fmla="*/ 194405 h 731424"/>
                <a:gd name="connsiteX348" fmla="*/ 0 w 1044701"/>
                <a:gd name="connsiteY348" fmla="*/ 196787 h 731424"/>
                <a:gd name="connsiteX349" fmla="*/ 5334 w 1044701"/>
                <a:gd name="connsiteY349" fmla="*/ 200977 h 731424"/>
                <a:gd name="connsiteX350" fmla="*/ 5715 w 1044701"/>
                <a:gd name="connsiteY350" fmla="*/ 204121 h 731424"/>
                <a:gd name="connsiteX351" fmla="*/ 7239 w 1044701"/>
                <a:gd name="connsiteY351" fmla="*/ 203930 h 731424"/>
                <a:gd name="connsiteX352" fmla="*/ 8096 w 1044701"/>
                <a:gd name="connsiteY352" fmla="*/ 210217 h 731424"/>
                <a:gd name="connsiteX353" fmla="*/ 11621 w 1044701"/>
                <a:gd name="connsiteY353" fmla="*/ 212979 h 731424"/>
                <a:gd name="connsiteX354" fmla="*/ 13240 w 1044701"/>
                <a:gd name="connsiteY354" fmla="*/ 212789 h 731424"/>
                <a:gd name="connsiteX355" fmla="*/ 11811 w 1044701"/>
                <a:gd name="connsiteY355" fmla="*/ 214598 h 731424"/>
                <a:gd name="connsiteX356" fmla="*/ 14954 w 1044701"/>
                <a:gd name="connsiteY356" fmla="*/ 214122 h 731424"/>
                <a:gd name="connsiteX357" fmla="*/ 15430 w 1044701"/>
                <a:gd name="connsiteY357" fmla="*/ 217265 h 731424"/>
                <a:gd name="connsiteX358" fmla="*/ 20574 w 1044701"/>
                <a:gd name="connsiteY358" fmla="*/ 219837 h 731424"/>
                <a:gd name="connsiteX359" fmla="*/ 25717 w 1044701"/>
                <a:gd name="connsiteY359" fmla="*/ 222409 h 731424"/>
                <a:gd name="connsiteX360" fmla="*/ 27432 w 1044701"/>
                <a:gd name="connsiteY360" fmla="*/ 223838 h 731424"/>
                <a:gd name="connsiteX361" fmla="*/ 31623 w 1044701"/>
                <a:gd name="connsiteY361" fmla="*/ 218504 h 731424"/>
                <a:gd name="connsiteX362" fmla="*/ 39910 w 1044701"/>
                <a:gd name="connsiteY362" fmla="*/ 220599 h 731424"/>
                <a:gd name="connsiteX363" fmla="*/ 38481 w 1044701"/>
                <a:gd name="connsiteY363" fmla="*/ 222409 h 731424"/>
                <a:gd name="connsiteX364" fmla="*/ 36767 w 1044701"/>
                <a:gd name="connsiteY364" fmla="*/ 220980 h 731424"/>
                <a:gd name="connsiteX365" fmla="*/ 40481 w 1044701"/>
                <a:gd name="connsiteY365" fmla="*/ 225362 h 731424"/>
                <a:gd name="connsiteX366" fmla="*/ 43434 w 1044701"/>
                <a:gd name="connsiteY366" fmla="*/ 223361 h 731424"/>
                <a:gd name="connsiteX367" fmla="*/ 48577 w 1044701"/>
                <a:gd name="connsiteY367" fmla="*/ 225933 h 731424"/>
                <a:gd name="connsiteX368" fmla="*/ 44196 w 1044701"/>
                <a:gd name="connsiteY368" fmla="*/ 229648 h 731424"/>
                <a:gd name="connsiteX369" fmla="*/ 41053 w 1044701"/>
                <a:gd name="connsiteY369" fmla="*/ 230029 h 731424"/>
                <a:gd name="connsiteX370" fmla="*/ 43053 w 1044701"/>
                <a:gd name="connsiteY370" fmla="*/ 232981 h 731424"/>
                <a:gd name="connsiteX371" fmla="*/ 46387 w 1044701"/>
                <a:gd name="connsiteY371" fmla="*/ 234220 h 731424"/>
                <a:gd name="connsiteX372" fmla="*/ 49625 w 1044701"/>
                <a:gd name="connsiteY372" fmla="*/ 233839 h 731424"/>
                <a:gd name="connsiteX373" fmla="*/ 49816 w 1044701"/>
                <a:gd name="connsiteY373" fmla="*/ 235363 h 731424"/>
                <a:gd name="connsiteX374" fmla="*/ 51149 w 1044701"/>
                <a:gd name="connsiteY374" fmla="*/ 233648 h 731424"/>
                <a:gd name="connsiteX375" fmla="*/ 52959 w 1044701"/>
                <a:gd name="connsiteY375" fmla="*/ 234982 h 731424"/>
                <a:gd name="connsiteX376" fmla="*/ 58102 w 1044701"/>
                <a:gd name="connsiteY376" fmla="*/ 237554 h 731424"/>
                <a:gd name="connsiteX377" fmla="*/ 65342 w 1044701"/>
                <a:gd name="connsiteY377" fmla="*/ 231839 h 731424"/>
                <a:gd name="connsiteX378" fmla="*/ 67151 w 1044701"/>
                <a:gd name="connsiteY378" fmla="*/ 233172 h 731424"/>
                <a:gd name="connsiteX379" fmla="*/ 67532 w 1044701"/>
                <a:gd name="connsiteY379" fmla="*/ 236315 h 731424"/>
                <a:gd name="connsiteX380" fmla="*/ 69342 w 1044701"/>
                <a:gd name="connsiteY380" fmla="*/ 237744 h 731424"/>
                <a:gd name="connsiteX381" fmla="*/ 66389 w 1044701"/>
                <a:gd name="connsiteY381" fmla="*/ 239649 h 731424"/>
                <a:gd name="connsiteX382" fmla="*/ 67151 w 1044701"/>
                <a:gd name="connsiteY382" fmla="*/ 246031 h 731424"/>
                <a:gd name="connsiteX383" fmla="*/ 70294 w 1044701"/>
                <a:gd name="connsiteY383" fmla="*/ 245555 h 731424"/>
                <a:gd name="connsiteX384" fmla="*/ 73819 w 1044701"/>
                <a:gd name="connsiteY384" fmla="*/ 235553 h 731424"/>
                <a:gd name="connsiteX385" fmla="*/ 75819 w 1044701"/>
                <a:gd name="connsiteY385" fmla="*/ 238506 h 731424"/>
                <a:gd name="connsiteX386" fmla="*/ 74676 w 1044701"/>
                <a:gd name="connsiteY386" fmla="*/ 241840 h 731424"/>
                <a:gd name="connsiteX387" fmla="*/ 77819 w 1044701"/>
                <a:gd name="connsiteY387" fmla="*/ 241459 h 731424"/>
                <a:gd name="connsiteX388" fmla="*/ 76867 w 1044701"/>
                <a:gd name="connsiteY388" fmla="*/ 246412 h 731424"/>
                <a:gd name="connsiteX389" fmla="*/ 77438 w 1044701"/>
                <a:gd name="connsiteY389" fmla="*/ 251079 h 731424"/>
                <a:gd name="connsiteX390" fmla="*/ 76105 w 1044701"/>
                <a:gd name="connsiteY390" fmla="*/ 252889 h 731424"/>
                <a:gd name="connsiteX391" fmla="*/ 68580 w 1044701"/>
                <a:gd name="connsiteY391" fmla="*/ 257080 h 731424"/>
                <a:gd name="connsiteX392" fmla="*/ 68771 w 1044701"/>
                <a:gd name="connsiteY392" fmla="*/ 258604 h 731424"/>
                <a:gd name="connsiteX393" fmla="*/ 70771 w 1044701"/>
                <a:gd name="connsiteY393" fmla="*/ 261556 h 731424"/>
                <a:gd name="connsiteX394" fmla="*/ 79438 w 1044701"/>
                <a:gd name="connsiteY394" fmla="*/ 266890 h 731424"/>
                <a:gd name="connsiteX395" fmla="*/ 98774 w 1044701"/>
                <a:gd name="connsiteY395" fmla="*/ 280416 h 731424"/>
                <a:gd name="connsiteX396" fmla="*/ 100203 w 1044701"/>
                <a:gd name="connsiteY396" fmla="*/ 278702 h 731424"/>
                <a:gd name="connsiteX397" fmla="*/ 103346 w 1044701"/>
                <a:gd name="connsiteY397" fmla="*/ 278225 h 731424"/>
                <a:gd name="connsiteX398" fmla="*/ 105537 w 1044701"/>
                <a:gd name="connsiteY398" fmla="*/ 282797 h 731424"/>
                <a:gd name="connsiteX399" fmla="*/ 106871 w 1044701"/>
                <a:gd name="connsiteY399" fmla="*/ 280988 h 731424"/>
                <a:gd name="connsiteX400" fmla="*/ 108680 w 1044701"/>
                <a:gd name="connsiteY400" fmla="*/ 282416 h 731424"/>
                <a:gd name="connsiteX401" fmla="*/ 110490 w 1044701"/>
                <a:gd name="connsiteY401" fmla="*/ 283750 h 731424"/>
                <a:gd name="connsiteX402" fmla="*/ 109252 w 1044701"/>
                <a:gd name="connsiteY402" fmla="*/ 287179 h 731424"/>
                <a:gd name="connsiteX403" fmla="*/ 112681 w 1044701"/>
                <a:gd name="connsiteY403" fmla="*/ 288322 h 731424"/>
                <a:gd name="connsiteX404" fmla="*/ 115443 w 1044701"/>
                <a:gd name="connsiteY404" fmla="*/ 284798 h 731424"/>
                <a:gd name="connsiteX405" fmla="*/ 119348 w 1044701"/>
                <a:gd name="connsiteY405" fmla="*/ 290703 h 731424"/>
                <a:gd name="connsiteX406" fmla="*/ 116776 w 1044701"/>
                <a:gd name="connsiteY406" fmla="*/ 295847 h 731424"/>
                <a:gd name="connsiteX407" fmla="*/ 118586 w 1044701"/>
                <a:gd name="connsiteY407" fmla="*/ 297180 h 731424"/>
                <a:gd name="connsiteX408" fmla="*/ 117634 w 1044701"/>
                <a:gd name="connsiteY408" fmla="*/ 302133 h 731424"/>
                <a:gd name="connsiteX409" fmla="*/ 119634 w 1044701"/>
                <a:gd name="connsiteY409" fmla="*/ 305086 h 731424"/>
                <a:gd name="connsiteX410" fmla="*/ 116205 w 1044701"/>
                <a:gd name="connsiteY410" fmla="*/ 303943 h 731424"/>
                <a:gd name="connsiteX411" fmla="*/ 111728 w 1044701"/>
                <a:gd name="connsiteY411" fmla="*/ 306038 h 731424"/>
                <a:gd name="connsiteX412" fmla="*/ 107537 w 1044701"/>
                <a:gd name="connsiteY412" fmla="*/ 311372 h 731424"/>
                <a:gd name="connsiteX413" fmla="*/ 117062 w 1044701"/>
                <a:gd name="connsiteY413" fmla="*/ 322993 h 731424"/>
                <a:gd name="connsiteX414" fmla="*/ 118872 w 1044701"/>
                <a:gd name="connsiteY414" fmla="*/ 324422 h 731424"/>
                <a:gd name="connsiteX415" fmla="*/ 120682 w 1044701"/>
                <a:gd name="connsiteY415" fmla="*/ 325755 h 731424"/>
                <a:gd name="connsiteX416" fmla="*/ 121063 w 1044701"/>
                <a:gd name="connsiteY416" fmla="*/ 328898 h 731424"/>
                <a:gd name="connsiteX417" fmla="*/ 119825 w 1044701"/>
                <a:gd name="connsiteY417" fmla="*/ 332327 h 731424"/>
                <a:gd name="connsiteX418" fmla="*/ 118491 w 1044701"/>
                <a:gd name="connsiteY418" fmla="*/ 334042 h 731424"/>
                <a:gd name="connsiteX419" fmla="*/ 114967 w 1044701"/>
                <a:gd name="connsiteY419" fmla="*/ 331280 h 731424"/>
                <a:gd name="connsiteX420" fmla="*/ 115919 w 1044701"/>
                <a:gd name="connsiteY420" fmla="*/ 339185 h 731424"/>
                <a:gd name="connsiteX421" fmla="*/ 114395 w 1044701"/>
                <a:gd name="connsiteY421" fmla="*/ 339376 h 731424"/>
                <a:gd name="connsiteX422" fmla="*/ 113347 w 1044701"/>
                <a:gd name="connsiteY422" fmla="*/ 344329 h 731424"/>
                <a:gd name="connsiteX423" fmla="*/ 111823 w 1044701"/>
                <a:gd name="connsiteY423" fmla="*/ 344519 h 731424"/>
                <a:gd name="connsiteX424" fmla="*/ 112014 w 1044701"/>
                <a:gd name="connsiteY424" fmla="*/ 346139 h 731424"/>
                <a:gd name="connsiteX425" fmla="*/ 106680 w 1044701"/>
                <a:gd name="connsiteY425" fmla="*/ 354806 h 731424"/>
                <a:gd name="connsiteX426" fmla="*/ 110300 w 1044701"/>
                <a:gd name="connsiteY426" fmla="*/ 357569 h 731424"/>
                <a:gd name="connsiteX427" fmla="*/ 107251 w 1044701"/>
                <a:gd name="connsiteY427" fmla="*/ 359569 h 731424"/>
                <a:gd name="connsiteX428" fmla="*/ 98012 w 1044701"/>
                <a:gd name="connsiteY428" fmla="*/ 362331 h 731424"/>
                <a:gd name="connsiteX429" fmla="*/ 96488 w 1044701"/>
                <a:gd name="connsiteY429" fmla="*/ 362522 h 731424"/>
                <a:gd name="connsiteX430" fmla="*/ 96869 w 1044701"/>
                <a:gd name="connsiteY430" fmla="*/ 365665 h 731424"/>
                <a:gd name="connsiteX431" fmla="*/ 96869 w 1044701"/>
                <a:gd name="connsiteY431" fmla="*/ 365665 h 731424"/>
                <a:gd name="connsiteX432" fmla="*/ 95726 w 1044701"/>
                <a:gd name="connsiteY432" fmla="*/ 369094 h 731424"/>
                <a:gd name="connsiteX433" fmla="*/ 100775 w 1044701"/>
                <a:gd name="connsiteY433" fmla="*/ 371570 h 731424"/>
                <a:gd name="connsiteX434" fmla="*/ 100013 w 1044701"/>
                <a:gd name="connsiteY434" fmla="*/ 378143 h 731424"/>
                <a:gd name="connsiteX435" fmla="*/ 99060 w 1044701"/>
                <a:gd name="connsiteY435" fmla="*/ 383095 h 731424"/>
                <a:gd name="connsiteX436" fmla="*/ 100870 w 1044701"/>
                <a:gd name="connsiteY436" fmla="*/ 384429 h 731424"/>
                <a:gd name="connsiteX437" fmla="*/ 100108 w 1044701"/>
                <a:gd name="connsiteY437" fmla="*/ 390906 h 731424"/>
                <a:gd name="connsiteX438" fmla="*/ 98488 w 1044701"/>
                <a:gd name="connsiteY438" fmla="*/ 391192 h 731424"/>
                <a:gd name="connsiteX439" fmla="*/ 96488 w 1044701"/>
                <a:gd name="connsiteY439" fmla="*/ 388239 h 731424"/>
                <a:gd name="connsiteX440" fmla="*/ 93917 w 1044701"/>
                <a:gd name="connsiteY440" fmla="*/ 393287 h 731424"/>
                <a:gd name="connsiteX441" fmla="*/ 97536 w 1044701"/>
                <a:gd name="connsiteY441" fmla="*/ 396049 h 731424"/>
                <a:gd name="connsiteX442" fmla="*/ 98298 w 1044701"/>
                <a:gd name="connsiteY442" fmla="*/ 402431 h 731424"/>
                <a:gd name="connsiteX443" fmla="*/ 95155 w 1044701"/>
                <a:gd name="connsiteY443" fmla="*/ 402812 h 731424"/>
                <a:gd name="connsiteX444" fmla="*/ 105823 w 1044701"/>
                <a:gd name="connsiteY444" fmla="*/ 411099 h 731424"/>
                <a:gd name="connsiteX445" fmla="*/ 110966 w 1044701"/>
                <a:gd name="connsiteY445" fmla="*/ 413576 h 731424"/>
                <a:gd name="connsiteX446" fmla="*/ 114776 w 1044701"/>
                <a:gd name="connsiteY446" fmla="*/ 417957 h 731424"/>
                <a:gd name="connsiteX447" fmla="*/ 118491 w 1044701"/>
                <a:gd name="connsiteY447" fmla="*/ 422243 h 731424"/>
                <a:gd name="connsiteX448" fmla="*/ 122015 w 1044701"/>
                <a:gd name="connsiteY448" fmla="*/ 425006 h 731424"/>
                <a:gd name="connsiteX449" fmla="*/ 128588 w 1044701"/>
                <a:gd name="connsiteY449" fmla="*/ 425768 h 731424"/>
                <a:gd name="connsiteX450" fmla="*/ 137827 w 1044701"/>
                <a:gd name="connsiteY450" fmla="*/ 435864 h 731424"/>
                <a:gd name="connsiteX451" fmla="*/ 142589 w 1044701"/>
                <a:gd name="connsiteY451" fmla="*/ 435293 h 731424"/>
                <a:gd name="connsiteX452" fmla="*/ 142970 w 1044701"/>
                <a:gd name="connsiteY452" fmla="*/ 438436 h 731424"/>
                <a:gd name="connsiteX453" fmla="*/ 144971 w 1044701"/>
                <a:gd name="connsiteY453" fmla="*/ 441389 h 731424"/>
                <a:gd name="connsiteX454" fmla="*/ 151257 w 1044701"/>
                <a:gd name="connsiteY454" fmla="*/ 440531 h 731424"/>
                <a:gd name="connsiteX455" fmla="*/ 150304 w 1044701"/>
                <a:gd name="connsiteY455" fmla="*/ 445484 h 731424"/>
                <a:gd name="connsiteX456" fmla="*/ 150495 w 1044701"/>
                <a:gd name="connsiteY456" fmla="*/ 447103 h 731424"/>
                <a:gd name="connsiteX457" fmla="*/ 154305 w 1044701"/>
                <a:gd name="connsiteY457" fmla="*/ 451390 h 731424"/>
                <a:gd name="connsiteX458" fmla="*/ 157448 w 1044701"/>
                <a:gd name="connsiteY458" fmla="*/ 451009 h 731424"/>
                <a:gd name="connsiteX459" fmla="*/ 159258 w 1044701"/>
                <a:gd name="connsiteY459" fmla="*/ 452342 h 731424"/>
                <a:gd name="connsiteX460" fmla="*/ 162401 w 1044701"/>
                <a:gd name="connsiteY460" fmla="*/ 451961 h 731424"/>
                <a:gd name="connsiteX461" fmla="*/ 160972 w 1044701"/>
                <a:gd name="connsiteY461" fmla="*/ 453771 h 731424"/>
                <a:gd name="connsiteX462" fmla="*/ 163163 w 1044701"/>
                <a:gd name="connsiteY462" fmla="*/ 458248 h 731424"/>
                <a:gd name="connsiteX463" fmla="*/ 160401 w 1044701"/>
                <a:gd name="connsiteY463" fmla="*/ 461867 h 731424"/>
                <a:gd name="connsiteX464" fmla="*/ 162401 w 1044701"/>
                <a:gd name="connsiteY464" fmla="*/ 464820 h 731424"/>
                <a:gd name="connsiteX465" fmla="*/ 163354 w 1044701"/>
                <a:gd name="connsiteY465" fmla="*/ 459867 h 731424"/>
                <a:gd name="connsiteX466" fmla="*/ 163735 w 1044701"/>
                <a:gd name="connsiteY466" fmla="*/ 463010 h 731424"/>
                <a:gd name="connsiteX467" fmla="*/ 166497 w 1044701"/>
                <a:gd name="connsiteY467" fmla="*/ 459486 h 731424"/>
                <a:gd name="connsiteX468" fmla="*/ 168497 w 1044701"/>
                <a:gd name="connsiteY468" fmla="*/ 462439 h 731424"/>
                <a:gd name="connsiteX469" fmla="*/ 171450 w 1044701"/>
                <a:gd name="connsiteY469" fmla="*/ 460439 h 731424"/>
                <a:gd name="connsiteX470" fmla="*/ 174784 w 1044701"/>
                <a:gd name="connsiteY470" fmla="*/ 461582 h 731424"/>
                <a:gd name="connsiteX471" fmla="*/ 181165 w 1044701"/>
                <a:gd name="connsiteY471" fmla="*/ 460819 h 731424"/>
                <a:gd name="connsiteX472" fmla="*/ 181356 w 1044701"/>
                <a:gd name="connsiteY472" fmla="*/ 462344 h 731424"/>
                <a:gd name="connsiteX473" fmla="*/ 184499 w 1044701"/>
                <a:gd name="connsiteY473" fmla="*/ 461963 h 731424"/>
                <a:gd name="connsiteX474" fmla="*/ 184309 w 1044701"/>
                <a:gd name="connsiteY474" fmla="*/ 460439 h 731424"/>
                <a:gd name="connsiteX475" fmla="*/ 189071 w 1044701"/>
                <a:gd name="connsiteY475" fmla="*/ 459772 h 731424"/>
                <a:gd name="connsiteX476" fmla="*/ 188595 w 1044701"/>
                <a:gd name="connsiteY476" fmla="*/ 456628 h 731424"/>
                <a:gd name="connsiteX477" fmla="*/ 194977 w 1044701"/>
                <a:gd name="connsiteY477" fmla="*/ 455867 h 731424"/>
                <a:gd name="connsiteX478" fmla="*/ 193738 w 1044701"/>
                <a:gd name="connsiteY478" fmla="*/ 459200 h 731424"/>
                <a:gd name="connsiteX479" fmla="*/ 197929 w 1044701"/>
                <a:gd name="connsiteY479" fmla="*/ 466725 h 731424"/>
                <a:gd name="connsiteX480" fmla="*/ 199263 w 1044701"/>
                <a:gd name="connsiteY480" fmla="*/ 464915 h 731424"/>
                <a:gd name="connsiteX481" fmla="*/ 201073 w 1044701"/>
                <a:gd name="connsiteY481" fmla="*/ 466249 h 731424"/>
                <a:gd name="connsiteX482" fmla="*/ 207359 w 1044701"/>
                <a:gd name="connsiteY482" fmla="*/ 465487 h 731424"/>
                <a:gd name="connsiteX483" fmla="*/ 207931 w 1044701"/>
                <a:gd name="connsiteY483" fmla="*/ 457390 h 731424"/>
                <a:gd name="connsiteX484" fmla="*/ 210693 w 1044701"/>
                <a:gd name="connsiteY484" fmla="*/ 453866 h 731424"/>
                <a:gd name="connsiteX485" fmla="*/ 214694 w 1044701"/>
                <a:gd name="connsiteY485" fmla="*/ 459772 h 731424"/>
                <a:gd name="connsiteX486" fmla="*/ 216503 w 1044701"/>
                <a:gd name="connsiteY486" fmla="*/ 461105 h 731424"/>
                <a:gd name="connsiteX487" fmla="*/ 219646 w 1044701"/>
                <a:gd name="connsiteY487" fmla="*/ 460724 h 731424"/>
                <a:gd name="connsiteX488" fmla="*/ 219837 w 1044701"/>
                <a:gd name="connsiteY488" fmla="*/ 462344 h 731424"/>
                <a:gd name="connsiteX489" fmla="*/ 227743 w 1044701"/>
                <a:gd name="connsiteY489" fmla="*/ 461296 h 731424"/>
                <a:gd name="connsiteX490" fmla="*/ 229648 w 1044701"/>
                <a:gd name="connsiteY490" fmla="*/ 464248 h 731424"/>
                <a:gd name="connsiteX491" fmla="*/ 226504 w 1044701"/>
                <a:gd name="connsiteY491" fmla="*/ 464630 h 731424"/>
                <a:gd name="connsiteX492" fmla="*/ 226886 w 1044701"/>
                <a:gd name="connsiteY492" fmla="*/ 467773 h 731424"/>
                <a:gd name="connsiteX493" fmla="*/ 230696 w 1044701"/>
                <a:gd name="connsiteY493" fmla="*/ 472154 h 731424"/>
                <a:gd name="connsiteX494" fmla="*/ 235077 w 1044701"/>
                <a:gd name="connsiteY494" fmla="*/ 468344 h 731424"/>
                <a:gd name="connsiteX495" fmla="*/ 235648 w 1044701"/>
                <a:gd name="connsiteY495" fmla="*/ 473107 h 731424"/>
                <a:gd name="connsiteX496" fmla="*/ 240602 w 1044701"/>
                <a:gd name="connsiteY496" fmla="*/ 474059 h 731424"/>
                <a:gd name="connsiteX497" fmla="*/ 244697 w 1044701"/>
                <a:gd name="connsiteY497" fmla="*/ 468725 h 731424"/>
                <a:gd name="connsiteX498" fmla="*/ 243554 w 1044701"/>
                <a:gd name="connsiteY498" fmla="*/ 472059 h 731424"/>
                <a:gd name="connsiteX499" fmla="*/ 246888 w 1044701"/>
                <a:gd name="connsiteY499" fmla="*/ 473297 h 731424"/>
                <a:gd name="connsiteX500" fmla="*/ 247650 w 1044701"/>
                <a:gd name="connsiteY500" fmla="*/ 479584 h 731424"/>
                <a:gd name="connsiteX501" fmla="*/ 249269 w 1044701"/>
                <a:gd name="connsiteY501" fmla="*/ 479393 h 731424"/>
                <a:gd name="connsiteX502" fmla="*/ 251079 w 1044701"/>
                <a:gd name="connsiteY502" fmla="*/ 480727 h 731424"/>
                <a:gd name="connsiteX503" fmla="*/ 252603 w 1044701"/>
                <a:gd name="connsiteY503" fmla="*/ 480536 h 731424"/>
                <a:gd name="connsiteX504" fmla="*/ 251460 w 1044701"/>
                <a:gd name="connsiteY504" fmla="*/ 483965 h 731424"/>
                <a:gd name="connsiteX505" fmla="*/ 249841 w 1044701"/>
                <a:gd name="connsiteY505" fmla="*/ 484156 h 731424"/>
                <a:gd name="connsiteX506" fmla="*/ 251650 w 1044701"/>
                <a:gd name="connsiteY506" fmla="*/ 485489 h 731424"/>
                <a:gd name="connsiteX507" fmla="*/ 253174 w 1044701"/>
                <a:gd name="connsiteY507" fmla="*/ 485299 h 731424"/>
                <a:gd name="connsiteX508" fmla="*/ 253460 w 1044701"/>
                <a:gd name="connsiteY508" fmla="*/ 486918 h 731424"/>
                <a:gd name="connsiteX509" fmla="*/ 256413 w 1044701"/>
                <a:gd name="connsiteY509" fmla="*/ 484918 h 731424"/>
                <a:gd name="connsiteX510" fmla="*/ 258128 w 1044701"/>
                <a:gd name="connsiteY510" fmla="*/ 486251 h 731424"/>
                <a:gd name="connsiteX511" fmla="*/ 260318 w 1044701"/>
                <a:gd name="connsiteY511" fmla="*/ 490823 h 731424"/>
                <a:gd name="connsiteX512" fmla="*/ 258985 w 1044701"/>
                <a:gd name="connsiteY512" fmla="*/ 492633 h 731424"/>
                <a:gd name="connsiteX513" fmla="*/ 267462 w 1044701"/>
                <a:gd name="connsiteY513" fmla="*/ 496348 h 731424"/>
                <a:gd name="connsiteX514" fmla="*/ 267271 w 1044701"/>
                <a:gd name="connsiteY514" fmla="*/ 494728 h 731424"/>
                <a:gd name="connsiteX515" fmla="*/ 276701 w 1044701"/>
                <a:gd name="connsiteY515" fmla="*/ 493490 h 731424"/>
                <a:gd name="connsiteX516" fmla="*/ 282035 w 1044701"/>
                <a:gd name="connsiteY516" fmla="*/ 497681 h 731424"/>
                <a:gd name="connsiteX517" fmla="*/ 286798 w 1044701"/>
                <a:gd name="connsiteY517" fmla="*/ 497015 h 731424"/>
                <a:gd name="connsiteX518" fmla="*/ 291941 w 1044701"/>
                <a:gd name="connsiteY518" fmla="*/ 499586 h 731424"/>
                <a:gd name="connsiteX519" fmla="*/ 291560 w 1044701"/>
                <a:gd name="connsiteY519" fmla="*/ 496443 h 731424"/>
                <a:gd name="connsiteX520" fmla="*/ 296228 w 1044701"/>
                <a:gd name="connsiteY520" fmla="*/ 495872 h 731424"/>
                <a:gd name="connsiteX521" fmla="*/ 293941 w 1044701"/>
                <a:gd name="connsiteY521" fmla="*/ 502539 h 731424"/>
                <a:gd name="connsiteX522" fmla="*/ 290608 w 1044701"/>
                <a:gd name="connsiteY522" fmla="*/ 514255 h 731424"/>
                <a:gd name="connsiteX523" fmla="*/ 292132 w 1044701"/>
                <a:gd name="connsiteY523" fmla="*/ 514064 h 731424"/>
                <a:gd name="connsiteX524" fmla="*/ 291560 w 1044701"/>
                <a:gd name="connsiteY524" fmla="*/ 522065 h 731424"/>
                <a:gd name="connsiteX525" fmla="*/ 293561 w 1044701"/>
                <a:gd name="connsiteY525" fmla="*/ 525113 h 731424"/>
                <a:gd name="connsiteX526" fmla="*/ 296704 w 1044701"/>
                <a:gd name="connsiteY526" fmla="*/ 524637 h 731424"/>
                <a:gd name="connsiteX527" fmla="*/ 301085 w 1044701"/>
                <a:gd name="connsiteY527" fmla="*/ 520922 h 731424"/>
                <a:gd name="connsiteX528" fmla="*/ 302800 w 1044701"/>
                <a:gd name="connsiteY528" fmla="*/ 522256 h 731424"/>
                <a:gd name="connsiteX529" fmla="*/ 302609 w 1044701"/>
                <a:gd name="connsiteY529" fmla="*/ 520732 h 731424"/>
                <a:gd name="connsiteX530" fmla="*/ 305562 w 1044701"/>
                <a:gd name="connsiteY530" fmla="*/ 518732 h 731424"/>
                <a:gd name="connsiteX531" fmla="*/ 309372 w 1044701"/>
                <a:gd name="connsiteY531" fmla="*/ 523018 h 731424"/>
                <a:gd name="connsiteX532" fmla="*/ 313849 w 1044701"/>
                <a:gd name="connsiteY532" fmla="*/ 520827 h 731424"/>
                <a:gd name="connsiteX533" fmla="*/ 315849 w 1044701"/>
                <a:gd name="connsiteY533" fmla="*/ 523875 h 731424"/>
                <a:gd name="connsiteX534" fmla="*/ 320992 w 1044701"/>
                <a:gd name="connsiteY534" fmla="*/ 526352 h 731424"/>
                <a:gd name="connsiteX535" fmla="*/ 321183 w 1044701"/>
                <a:gd name="connsiteY535" fmla="*/ 527971 h 731424"/>
                <a:gd name="connsiteX536" fmla="*/ 324326 w 1044701"/>
                <a:gd name="connsiteY536" fmla="*/ 527590 h 731424"/>
                <a:gd name="connsiteX537" fmla="*/ 330708 w 1044701"/>
                <a:gd name="connsiteY537" fmla="*/ 539591 h 731424"/>
                <a:gd name="connsiteX538" fmla="*/ 342138 w 1044701"/>
                <a:gd name="connsiteY538" fmla="*/ 541306 h 731424"/>
                <a:gd name="connsiteX539" fmla="*/ 344329 w 1044701"/>
                <a:gd name="connsiteY539" fmla="*/ 545878 h 731424"/>
                <a:gd name="connsiteX540" fmla="*/ 350234 w 1044701"/>
                <a:gd name="connsiteY540" fmla="*/ 541877 h 731424"/>
                <a:gd name="connsiteX541" fmla="*/ 354521 w 1044701"/>
                <a:gd name="connsiteY541" fmla="*/ 538163 h 731424"/>
                <a:gd name="connsiteX542" fmla="*/ 354616 w 1044701"/>
                <a:gd name="connsiteY542" fmla="*/ 550926 h 731424"/>
                <a:gd name="connsiteX543" fmla="*/ 350044 w 1044701"/>
                <a:gd name="connsiteY543" fmla="*/ 553117 h 731424"/>
                <a:gd name="connsiteX544" fmla="*/ 343567 w 1044701"/>
                <a:gd name="connsiteY544" fmla="*/ 565214 h 731424"/>
                <a:gd name="connsiteX545" fmla="*/ 349282 w 1044701"/>
                <a:gd name="connsiteY545" fmla="*/ 572453 h 731424"/>
                <a:gd name="connsiteX546" fmla="*/ 348139 w 1044701"/>
                <a:gd name="connsiteY546" fmla="*/ 575882 h 731424"/>
                <a:gd name="connsiteX547" fmla="*/ 358807 w 1044701"/>
                <a:gd name="connsiteY547" fmla="*/ 584073 h 731424"/>
                <a:gd name="connsiteX548" fmla="*/ 366713 w 1044701"/>
                <a:gd name="connsiteY548" fmla="*/ 583120 h 731424"/>
                <a:gd name="connsiteX549" fmla="*/ 377190 w 1044701"/>
                <a:gd name="connsiteY549" fmla="*/ 589788 h 731424"/>
                <a:gd name="connsiteX550" fmla="*/ 382143 w 1044701"/>
                <a:gd name="connsiteY550" fmla="*/ 590740 h 731424"/>
                <a:gd name="connsiteX551" fmla="*/ 382333 w 1044701"/>
                <a:gd name="connsiteY551" fmla="*/ 592360 h 731424"/>
                <a:gd name="connsiteX552" fmla="*/ 384143 w 1044701"/>
                <a:gd name="connsiteY552" fmla="*/ 593693 h 731424"/>
                <a:gd name="connsiteX553" fmla="*/ 393382 w 1044701"/>
                <a:gd name="connsiteY553" fmla="*/ 603790 h 731424"/>
                <a:gd name="connsiteX554" fmla="*/ 396526 w 1044701"/>
                <a:gd name="connsiteY554" fmla="*/ 603314 h 731424"/>
                <a:gd name="connsiteX555" fmla="*/ 399479 w 1044701"/>
                <a:gd name="connsiteY555" fmla="*/ 601409 h 731424"/>
                <a:gd name="connsiteX556" fmla="*/ 404241 w 1044701"/>
                <a:gd name="connsiteY556" fmla="*/ 600742 h 731424"/>
                <a:gd name="connsiteX557" fmla="*/ 409384 w 1044701"/>
                <a:gd name="connsiteY557" fmla="*/ 603314 h 731424"/>
                <a:gd name="connsiteX558" fmla="*/ 414147 w 1044701"/>
                <a:gd name="connsiteY558" fmla="*/ 602742 h 731424"/>
                <a:gd name="connsiteX559" fmla="*/ 413956 w 1044701"/>
                <a:gd name="connsiteY559" fmla="*/ 601123 h 731424"/>
                <a:gd name="connsiteX560" fmla="*/ 421577 w 1044701"/>
                <a:gd name="connsiteY560" fmla="*/ 598551 h 731424"/>
                <a:gd name="connsiteX561" fmla="*/ 416623 w 1044701"/>
                <a:gd name="connsiteY561" fmla="*/ 584740 h 731424"/>
                <a:gd name="connsiteX562" fmla="*/ 428054 w 1044701"/>
                <a:gd name="connsiteY562" fmla="*/ 586549 h 731424"/>
                <a:gd name="connsiteX563" fmla="*/ 429482 w 1044701"/>
                <a:gd name="connsiteY563" fmla="*/ 584740 h 731424"/>
                <a:gd name="connsiteX564" fmla="*/ 431006 w 1044701"/>
                <a:gd name="connsiteY564" fmla="*/ 584549 h 731424"/>
                <a:gd name="connsiteX565" fmla="*/ 428244 w 1044701"/>
                <a:gd name="connsiteY565" fmla="*/ 575215 h 731424"/>
                <a:gd name="connsiteX566" fmla="*/ 430244 w 1044701"/>
                <a:gd name="connsiteY566" fmla="*/ 565404 h 731424"/>
                <a:gd name="connsiteX567" fmla="*/ 445961 w 1044701"/>
                <a:gd name="connsiteY567" fmla="*/ 550545 h 731424"/>
                <a:gd name="connsiteX568" fmla="*/ 446722 w 1044701"/>
                <a:gd name="connsiteY568" fmla="*/ 544068 h 731424"/>
                <a:gd name="connsiteX569" fmla="*/ 451485 w 1044701"/>
                <a:gd name="connsiteY569" fmla="*/ 543401 h 731424"/>
                <a:gd name="connsiteX570" fmla="*/ 453485 w 1044701"/>
                <a:gd name="connsiteY570" fmla="*/ 546354 h 731424"/>
                <a:gd name="connsiteX571" fmla="*/ 456438 w 1044701"/>
                <a:gd name="connsiteY571" fmla="*/ 544449 h 731424"/>
                <a:gd name="connsiteX572" fmla="*/ 455200 w 1044701"/>
                <a:gd name="connsiteY572" fmla="*/ 547783 h 731424"/>
                <a:gd name="connsiteX573" fmla="*/ 453866 w 1044701"/>
                <a:gd name="connsiteY573" fmla="*/ 549593 h 731424"/>
                <a:gd name="connsiteX574" fmla="*/ 456057 w 1044701"/>
                <a:gd name="connsiteY574" fmla="*/ 554069 h 731424"/>
                <a:gd name="connsiteX575" fmla="*/ 454438 w 1044701"/>
                <a:gd name="connsiteY575" fmla="*/ 554260 h 731424"/>
                <a:gd name="connsiteX576" fmla="*/ 455105 w 1044701"/>
                <a:gd name="connsiteY576" fmla="*/ 559022 h 731424"/>
                <a:gd name="connsiteX577" fmla="*/ 464153 w 1044701"/>
                <a:gd name="connsiteY577" fmla="*/ 567499 h 731424"/>
                <a:gd name="connsiteX578" fmla="*/ 469106 w 1044701"/>
                <a:gd name="connsiteY578" fmla="*/ 568452 h 731424"/>
                <a:gd name="connsiteX579" fmla="*/ 473773 w 1044701"/>
                <a:gd name="connsiteY579" fmla="*/ 567881 h 731424"/>
                <a:gd name="connsiteX580" fmla="*/ 475774 w 1044701"/>
                <a:gd name="connsiteY580" fmla="*/ 570833 h 731424"/>
                <a:gd name="connsiteX581" fmla="*/ 482537 w 1044701"/>
                <a:gd name="connsiteY581" fmla="*/ 573119 h 731424"/>
                <a:gd name="connsiteX582" fmla="*/ 484251 w 1044701"/>
                <a:gd name="connsiteY582" fmla="*/ 574548 h 731424"/>
                <a:gd name="connsiteX583" fmla="*/ 486823 w 1044701"/>
                <a:gd name="connsiteY583" fmla="*/ 569405 h 731424"/>
                <a:gd name="connsiteX584" fmla="*/ 490252 w 1044701"/>
                <a:gd name="connsiteY584" fmla="*/ 570548 h 731424"/>
                <a:gd name="connsiteX585" fmla="*/ 493395 w 1044701"/>
                <a:gd name="connsiteY585" fmla="*/ 570167 h 731424"/>
                <a:gd name="connsiteX586" fmla="*/ 498538 w 1044701"/>
                <a:gd name="connsiteY586" fmla="*/ 572738 h 731424"/>
                <a:gd name="connsiteX587" fmla="*/ 500063 w 1044701"/>
                <a:gd name="connsiteY587" fmla="*/ 572548 h 731424"/>
                <a:gd name="connsiteX588" fmla="*/ 503872 w 1044701"/>
                <a:gd name="connsiteY588" fmla="*/ 576834 h 731424"/>
                <a:gd name="connsiteX589" fmla="*/ 507397 w 1044701"/>
                <a:gd name="connsiteY589" fmla="*/ 579596 h 731424"/>
                <a:gd name="connsiteX590" fmla="*/ 507587 w 1044701"/>
                <a:gd name="connsiteY590" fmla="*/ 581215 h 731424"/>
                <a:gd name="connsiteX591" fmla="*/ 513112 w 1044701"/>
                <a:gd name="connsiteY591" fmla="*/ 586931 h 731424"/>
                <a:gd name="connsiteX592" fmla="*/ 516541 w 1044701"/>
                <a:gd name="connsiteY592" fmla="*/ 600932 h 731424"/>
                <a:gd name="connsiteX593" fmla="*/ 522065 w 1044701"/>
                <a:gd name="connsiteY593" fmla="*/ 606647 h 731424"/>
                <a:gd name="connsiteX594" fmla="*/ 526161 w 1044701"/>
                <a:gd name="connsiteY594" fmla="*/ 601313 h 731424"/>
                <a:gd name="connsiteX595" fmla="*/ 529590 w 1044701"/>
                <a:gd name="connsiteY595" fmla="*/ 602456 h 731424"/>
                <a:gd name="connsiteX596" fmla="*/ 529399 w 1044701"/>
                <a:gd name="connsiteY596" fmla="*/ 600837 h 731424"/>
                <a:gd name="connsiteX597" fmla="*/ 539210 w 1044701"/>
                <a:gd name="connsiteY597" fmla="*/ 602837 h 731424"/>
                <a:gd name="connsiteX598" fmla="*/ 548069 w 1044701"/>
                <a:gd name="connsiteY598" fmla="*/ 596836 h 731424"/>
                <a:gd name="connsiteX599" fmla="*/ 551879 w 1044701"/>
                <a:gd name="connsiteY599" fmla="*/ 601218 h 731424"/>
                <a:gd name="connsiteX600" fmla="*/ 555784 w 1044701"/>
                <a:gd name="connsiteY600" fmla="*/ 607124 h 731424"/>
                <a:gd name="connsiteX601" fmla="*/ 554641 w 1044701"/>
                <a:gd name="connsiteY601" fmla="*/ 610457 h 731424"/>
                <a:gd name="connsiteX602" fmla="*/ 557974 w 1044701"/>
                <a:gd name="connsiteY602" fmla="*/ 611695 h 731424"/>
                <a:gd name="connsiteX603" fmla="*/ 562356 w 1044701"/>
                <a:gd name="connsiteY603" fmla="*/ 607886 h 731424"/>
                <a:gd name="connsiteX604" fmla="*/ 568642 w 1044701"/>
                <a:gd name="connsiteY604" fmla="*/ 607124 h 731424"/>
                <a:gd name="connsiteX605" fmla="*/ 572357 w 1044701"/>
                <a:gd name="connsiteY605" fmla="*/ 611410 h 731424"/>
                <a:gd name="connsiteX606" fmla="*/ 579501 w 1044701"/>
                <a:gd name="connsiteY606" fmla="*/ 616934 h 731424"/>
                <a:gd name="connsiteX607" fmla="*/ 582644 w 1044701"/>
                <a:gd name="connsiteY607" fmla="*/ 616553 h 731424"/>
                <a:gd name="connsiteX608" fmla="*/ 583692 w 1044701"/>
                <a:gd name="connsiteY608" fmla="*/ 611600 h 731424"/>
                <a:gd name="connsiteX609" fmla="*/ 586835 w 1044701"/>
                <a:gd name="connsiteY609" fmla="*/ 611219 h 731424"/>
                <a:gd name="connsiteX610" fmla="*/ 589216 w 1044701"/>
                <a:gd name="connsiteY610" fmla="*/ 617315 h 731424"/>
                <a:gd name="connsiteX611" fmla="*/ 594550 w 1044701"/>
                <a:gd name="connsiteY611" fmla="*/ 621411 h 731424"/>
                <a:gd name="connsiteX612" fmla="*/ 594931 w 1044701"/>
                <a:gd name="connsiteY612" fmla="*/ 624554 h 731424"/>
                <a:gd name="connsiteX613" fmla="*/ 599694 w 1044701"/>
                <a:gd name="connsiteY613" fmla="*/ 623983 h 731424"/>
                <a:gd name="connsiteX614" fmla="*/ 601408 w 1044701"/>
                <a:gd name="connsiteY614" fmla="*/ 625316 h 731424"/>
                <a:gd name="connsiteX615" fmla="*/ 602837 w 1044701"/>
                <a:gd name="connsiteY615" fmla="*/ 623602 h 731424"/>
                <a:gd name="connsiteX616" fmla="*/ 609695 w 1044701"/>
                <a:gd name="connsiteY616" fmla="*/ 627507 h 731424"/>
                <a:gd name="connsiteX617" fmla="*/ 617982 w 1044701"/>
                <a:gd name="connsiteY617" fmla="*/ 629698 h 731424"/>
                <a:gd name="connsiteX618" fmla="*/ 621792 w 1044701"/>
                <a:gd name="connsiteY618" fmla="*/ 633984 h 731424"/>
                <a:gd name="connsiteX619" fmla="*/ 631507 w 1044701"/>
                <a:gd name="connsiteY619" fmla="*/ 647224 h 731424"/>
                <a:gd name="connsiteX620" fmla="*/ 637222 w 1044701"/>
                <a:gd name="connsiteY620" fmla="*/ 654463 h 731424"/>
                <a:gd name="connsiteX621" fmla="*/ 642366 w 1044701"/>
                <a:gd name="connsiteY621" fmla="*/ 657035 h 731424"/>
                <a:gd name="connsiteX622" fmla="*/ 640366 w 1044701"/>
                <a:gd name="connsiteY622" fmla="*/ 666940 h 731424"/>
                <a:gd name="connsiteX623" fmla="*/ 647129 w 1044701"/>
                <a:gd name="connsiteY623" fmla="*/ 669227 h 731424"/>
                <a:gd name="connsiteX624" fmla="*/ 650653 w 1044701"/>
                <a:gd name="connsiteY624" fmla="*/ 671989 h 731424"/>
                <a:gd name="connsiteX625" fmla="*/ 653034 w 1044701"/>
                <a:gd name="connsiteY625" fmla="*/ 678085 h 731424"/>
                <a:gd name="connsiteX626" fmla="*/ 657987 w 1044701"/>
                <a:gd name="connsiteY626" fmla="*/ 679132 h 731424"/>
                <a:gd name="connsiteX627" fmla="*/ 661130 w 1044701"/>
                <a:gd name="connsiteY627" fmla="*/ 678656 h 731424"/>
                <a:gd name="connsiteX628" fmla="*/ 663702 w 1044701"/>
                <a:gd name="connsiteY628" fmla="*/ 673513 h 731424"/>
                <a:gd name="connsiteX629" fmla="*/ 670846 w 1044701"/>
                <a:gd name="connsiteY629" fmla="*/ 679037 h 731424"/>
                <a:gd name="connsiteX630" fmla="*/ 673798 w 1044701"/>
                <a:gd name="connsiteY630" fmla="*/ 677037 h 731424"/>
                <a:gd name="connsiteX631" fmla="*/ 682657 w 1044701"/>
                <a:gd name="connsiteY631" fmla="*/ 683990 h 731424"/>
                <a:gd name="connsiteX632" fmla="*/ 688943 w 1044701"/>
                <a:gd name="connsiteY632" fmla="*/ 683133 h 731424"/>
                <a:gd name="connsiteX633" fmla="*/ 695706 w 1044701"/>
                <a:gd name="connsiteY633" fmla="*/ 685514 h 731424"/>
                <a:gd name="connsiteX634" fmla="*/ 698087 w 1044701"/>
                <a:gd name="connsiteY634" fmla="*/ 691610 h 731424"/>
                <a:gd name="connsiteX635" fmla="*/ 703802 w 1044701"/>
                <a:gd name="connsiteY635" fmla="*/ 698945 h 731424"/>
                <a:gd name="connsiteX636" fmla="*/ 710184 w 1044701"/>
                <a:gd name="connsiteY636" fmla="*/ 698087 h 731424"/>
                <a:gd name="connsiteX637" fmla="*/ 715708 w 1044701"/>
                <a:gd name="connsiteY637" fmla="*/ 703802 h 731424"/>
                <a:gd name="connsiteX638" fmla="*/ 716280 w 1044701"/>
                <a:gd name="connsiteY638" fmla="*/ 708565 h 731424"/>
                <a:gd name="connsiteX639" fmla="*/ 725996 w 1044701"/>
                <a:gd name="connsiteY639" fmla="*/ 721709 h 731424"/>
                <a:gd name="connsiteX640" fmla="*/ 729329 w 1044701"/>
                <a:gd name="connsiteY640" fmla="*/ 722948 h 731424"/>
                <a:gd name="connsiteX641" fmla="*/ 733330 w 1044701"/>
                <a:gd name="connsiteY641" fmla="*/ 728853 h 731424"/>
                <a:gd name="connsiteX642" fmla="*/ 738378 w 1044701"/>
                <a:gd name="connsiteY642" fmla="*/ 731425 h 731424"/>
                <a:gd name="connsiteX643" fmla="*/ 737616 w 1044701"/>
                <a:gd name="connsiteY643" fmla="*/ 725043 h 731424"/>
                <a:gd name="connsiteX644" fmla="*/ 746284 w 1044701"/>
                <a:gd name="connsiteY644" fmla="*/ 717518 h 731424"/>
                <a:gd name="connsiteX645" fmla="*/ 743712 w 1044701"/>
                <a:gd name="connsiteY645" fmla="*/ 709898 h 731424"/>
                <a:gd name="connsiteX646" fmla="*/ 744664 w 1044701"/>
                <a:gd name="connsiteY646" fmla="*/ 704945 h 731424"/>
                <a:gd name="connsiteX647" fmla="*/ 751427 w 1044701"/>
                <a:gd name="connsiteY647" fmla="*/ 707327 h 731424"/>
                <a:gd name="connsiteX648" fmla="*/ 755904 w 1044701"/>
                <a:gd name="connsiteY648" fmla="*/ 705136 h 731424"/>
                <a:gd name="connsiteX649" fmla="*/ 758476 w 1044701"/>
                <a:gd name="connsiteY649" fmla="*/ 699992 h 731424"/>
                <a:gd name="connsiteX650" fmla="*/ 760286 w 1044701"/>
                <a:gd name="connsiteY650" fmla="*/ 701326 h 731424"/>
                <a:gd name="connsiteX651" fmla="*/ 761809 w 1044701"/>
                <a:gd name="connsiteY651" fmla="*/ 701135 h 731424"/>
                <a:gd name="connsiteX652" fmla="*/ 766953 w 1044701"/>
                <a:gd name="connsiteY652" fmla="*/ 703707 h 731424"/>
                <a:gd name="connsiteX653" fmla="*/ 765048 w 1044701"/>
                <a:gd name="connsiteY653" fmla="*/ 713613 h 731424"/>
                <a:gd name="connsiteX654" fmla="*/ 768191 w 1044701"/>
                <a:gd name="connsiteY654" fmla="*/ 713137 h 731424"/>
                <a:gd name="connsiteX655" fmla="*/ 771144 w 1044701"/>
                <a:gd name="connsiteY655" fmla="*/ 711232 h 731424"/>
                <a:gd name="connsiteX656" fmla="*/ 774287 w 1044701"/>
                <a:gd name="connsiteY656" fmla="*/ 710756 h 731424"/>
                <a:gd name="connsiteX657" fmla="*/ 777240 w 1044701"/>
                <a:gd name="connsiteY657" fmla="*/ 708851 h 731424"/>
                <a:gd name="connsiteX658" fmla="*/ 783812 w 1044701"/>
                <a:gd name="connsiteY658" fmla="*/ 709613 h 731424"/>
                <a:gd name="connsiteX659" fmla="*/ 793813 w 1044701"/>
                <a:gd name="connsiteY659" fmla="*/ 700278 h 731424"/>
                <a:gd name="connsiteX660" fmla="*/ 796957 w 1044701"/>
                <a:gd name="connsiteY660" fmla="*/ 699897 h 731424"/>
                <a:gd name="connsiteX661" fmla="*/ 804481 w 1044701"/>
                <a:gd name="connsiteY661" fmla="*/ 708565 h 731424"/>
                <a:gd name="connsiteX662" fmla="*/ 806291 w 1044701"/>
                <a:gd name="connsiteY662" fmla="*/ 709898 h 731424"/>
                <a:gd name="connsiteX663" fmla="*/ 809244 w 1044701"/>
                <a:gd name="connsiteY663" fmla="*/ 707898 h 731424"/>
                <a:gd name="connsiteX664" fmla="*/ 810958 w 1044701"/>
                <a:gd name="connsiteY664" fmla="*/ 709327 h 731424"/>
                <a:gd name="connsiteX665" fmla="*/ 814388 w 1044701"/>
                <a:gd name="connsiteY665" fmla="*/ 710470 h 731424"/>
                <a:gd name="connsiteX666" fmla="*/ 813911 w 1044701"/>
                <a:gd name="connsiteY666" fmla="*/ 707327 h 731424"/>
                <a:gd name="connsiteX667" fmla="*/ 826961 w 1044701"/>
                <a:gd name="connsiteY667" fmla="*/ 708851 h 731424"/>
                <a:gd name="connsiteX668" fmla="*/ 829913 w 1044701"/>
                <a:gd name="connsiteY668" fmla="*/ 706945 h 731424"/>
                <a:gd name="connsiteX669" fmla="*/ 830294 w 1044701"/>
                <a:gd name="connsiteY669" fmla="*/ 710089 h 731424"/>
                <a:gd name="connsiteX670" fmla="*/ 833247 w 1044701"/>
                <a:gd name="connsiteY670" fmla="*/ 708089 h 731424"/>
                <a:gd name="connsiteX671" fmla="*/ 832866 w 1044701"/>
                <a:gd name="connsiteY671" fmla="*/ 704945 h 731424"/>
                <a:gd name="connsiteX672" fmla="*/ 830485 w 1044701"/>
                <a:gd name="connsiteY672" fmla="*/ 698849 h 731424"/>
                <a:gd name="connsiteX673" fmla="*/ 834390 w 1044701"/>
                <a:gd name="connsiteY673" fmla="*/ 691896 h 731424"/>
                <a:gd name="connsiteX674" fmla="*/ 834199 w 1044701"/>
                <a:gd name="connsiteY674" fmla="*/ 690277 h 731424"/>
                <a:gd name="connsiteX675" fmla="*/ 835628 w 1044701"/>
                <a:gd name="connsiteY675" fmla="*/ 688562 h 731424"/>
                <a:gd name="connsiteX676" fmla="*/ 834962 w 1044701"/>
                <a:gd name="connsiteY676" fmla="*/ 683800 h 731424"/>
                <a:gd name="connsiteX677" fmla="*/ 834009 w 1044701"/>
                <a:gd name="connsiteY677" fmla="*/ 675894 h 731424"/>
                <a:gd name="connsiteX678" fmla="*/ 838105 w 1044701"/>
                <a:gd name="connsiteY678" fmla="*/ 670560 h 731424"/>
                <a:gd name="connsiteX679" fmla="*/ 837724 w 1044701"/>
                <a:gd name="connsiteY679" fmla="*/ 667417 h 731424"/>
                <a:gd name="connsiteX680" fmla="*/ 840677 w 1044701"/>
                <a:gd name="connsiteY680" fmla="*/ 665417 h 731424"/>
                <a:gd name="connsiteX681" fmla="*/ 845439 w 1044701"/>
                <a:gd name="connsiteY681" fmla="*/ 664845 h 731424"/>
                <a:gd name="connsiteX682" fmla="*/ 848963 w 1044701"/>
                <a:gd name="connsiteY682" fmla="*/ 667607 h 731424"/>
                <a:gd name="connsiteX683" fmla="*/ 850582 w 1044701"/>
                <a:gd name="connsiteY683" fmla="*/ 667417 h 731424"/>
                <a:gd name="connsiteX684" fmla="*/ 854869 w 1044701"/>
                <a:gd name="connsiteY684" fmla="*/ 663607 h 731424"/>
                <a:gd name="connsiteX685" fmla="*/ 855536 w 1044701"/>
                <a:gd name="connsiteY685" fmla="*/ 668369 h 731424"/>
                <a:gd name="connsiteX686" fmla="*/ 862394 w 1044701"/>
                <a:gd name="connsiteY686" fmla="*/ 672274 h 731424"/>
                <a:gd name="connsiteX687" fmla="*/ 866775 w 1044701"/>
                <a:gd name="connsiteY687" fmla="*/ 668560 h 731424"/>
                <a:gd name="connsiteX688" fmla="*/ 871919 w 1044701"/>
                <a:gd name="connsiteY688" fmla="*/ 671132 h 731424"/>
                <a:gd name="connsiteX689" fmla="*/ 875252 w 1044701"/>
                <a:gd name="connsiteY689" fmla="*/ 672274 h 731424"/>
                <a:gd name="connsiteX690" fmla="*/ 875252 w 1044701"/>
                <a:gd name="connsiteY690" fmla="*/ 672274 h 731424"/>
                <a:gd name="connsiteX691" fmla="*/ 883158 w 1044701"/>
                <a:gd name="connsiteY691" fmla="*/ 671227 h 731424"/>
                <a:gd name="connsiteX692" fmla="*/ 882872 w 1044701"/>
                <a:gd name="connsiteY692" fmla="*/ 669703 h 731424"/>
                <a:gd name="connsiteX693" fmla="*/ 886111 w 1044701"/>
                <a:gd name="connsiteY693" fmla="*/ 669322 h 731424"/>
                <a:gd name="connsiteX694" fmla="*/ 884111 w 1044701"/>
                <a:gd name="connsiteY694" fmla="*/ 666369 h 731424"/>
                <a:gd name="connsiteX695" fmla="*/ 885063 w 1044701"/>
                <a:gd name="connsiteY695" fmla="*/ 661416 h 731424"/>
                <a:gd name="connsiteX696" fmla="*/ 886682 w 1044701"/>
                <a:gd name="connsiteY696" fmla="*/ 661226 h 731424"/>
                <a:gd name="connsiteX697" fmla="*/ 896683 w 1044701"/>
                <a:gd name="connsiteY697" fmla="*/ 664750 h 731424"/>
                <a:gd name="connsiteX698" fmla="*/ 909352 w 1044701"/>
                <a:gd name="connsiteY698" fmla="*/ 675894 h 731424"/>
                <a:gd name="connsiteX699" fmla="*/ 914876 w 1044701"/>
                <a:gd name="connsiteY699" fmla="*/ 668845 h 731424"/>
                <a:gd name="connsiteX700" fmla="*/ 921639 w 1044701"/>
                <a:gd name="connsiteY700" fmla="*/ 671132 h 731424"/>
                <a:gd name="connsiteX701" fmla="*/ 921163 w 1044701"/>
                <a:gd name="connsiteY701" fmla="*/ 667988 h 731424"/>
                <a:gd name="connsiteX702" fmla="*/ 917829 w 1044701"/>
                <a:gd name="connsiteY702" fmla="*/ 666845 h 731424"/>
                <a:gd name="connsiteX703" fmla="*/ 919258 w 1044701"/>
                <a:gd name="connsiteY703" fmla="*/ 665036 h 731424"/>
                <a:gd name="connsiteX704" fmla="*/ 927925 w 1044701"/>
                <a:gd name="connsiteY704" fmla="*/ 670370 h 731424"/>
                <a:gd name="connsiteX705" fmla="*/ 931259 w 1044701"/>
                <a:gd name="connsiteY705" fmla="*/ 671513 h 731424"/>
                <a:gd name="connsiteX706" fmla="*/ 932688 w 1044701"/>
                <a:gd name="connsiteY706" fmla="*/ 669798 h 731424"/>
                <a:gd name="connsiteX707" fmla="*/ 936022 w 1044701"/>
                <a:gd name="connsiteY707" fmla="*/ 670941 h 731424"/>
                <a:gd name="connsiteX708" fmla="*/ 941927 w 1044701"/>
                <a:gd name="connsiteY708" fmla="*/ 666940 h 731424"/>
                <a:gd name="connsiteX709" fmla="*/ 939165 w 1044701"/>
                <a:gd name="connsiteY709" fmla="*/ 670560 h 731424"/>
                <a:gd name="connsiteX710" fmla="*/ 953929 w 1044701"/>
                <a:gd name="connsiteY710" fmla="*/ 673418 h 731424"/>
                <a:gd name="connsiteX711" fmla="*/ 956310 w 1044701"/>
                <a:gd name="connsiteY711" fmla="*/ 679609 h 731424"/>
                <a:gd name="connsiteX712" fmla="*/ 959739 w 1044701"/>
                <a:gd name="connsiteY712" fmla="*/ 680752 h 731424"/>
                <a:gd name="connsiteX713" fmla="*/ 961263 w 1044701"/>
                <a:gd name="connsiteY713" fmla="*/ 680561 h 731424"/>
                <a:gd name="connsiteX714" fmla="*/ 980027 w 1044701"/>
                <a:gd name="connsiteY714" fmla="*/ 689420 h 731424"/>
                <a:gd name="connsiteX715" fmla="*/ 983361 w 1044701"/>
                <a:gd name="connsiteY715" fmla="*/ 690563 h 731424"/>
                <a:gd name="connsiteX716" fmla="*/ 995458 w 1044701"/>
                <a:gd name="connsiteY716" fmla="*/ 697040 h 731424"/>
                <a:gd name="connsiteX717" fmla="*/ 1002411 w 1044701"/>
                <a:gd name="connsiteY717" fmla="*/ 700945 h 731424"/>
                <a:gd name="connsiteX718" fmla="*/ 1016413 w 1044701"/>
                <a:gd name="connsiteY718" fmla="*/ 697611 h 731424"/>
                <a:gd name="connsiteX719" fmla="*/ 1014031 w 1044701"/>
                <a:gd name="connsiteY719" fmla="*/ 691515 h 731424"/>
                <a:gd name="connsiteX720" fmla="*/ 1016984 w 1044701"/>
                <a:gd name="connsiteY720" fmla="*/ 689515 h 731424"/>
                <a:gd name="connsiteX721" fmla="*/ 1018127 w 1044701"/>
                <a:gd name="connsiteY721" fmla="*/ 686086 h 731424"/>
                <a:gd name="connsiteX722" fmla="*/ 1014413 w 1044701"/>
                <a:gd name="connsiteY722" fmla="*/ 681799 h 731424"/>
                <a:gd name="connsiteX723" fmla="*/ 1018699 w 1044701"/>
                <a:gd name="connsiteY723" fmla="*/ 678085 h 731424"/>
                <a:gd name="connsiteX724" fmla="*/ 1019270 w 1044701"/>
                <a:gd name="connsiteY724" fmla="*/ 669989 h 731424"/>
                <a:gd name="connsiteX725" fmla="*/ 1020794 w 1044701"/>
                <a:gd name="connsiteY725" fmla="*/ 669798 h 731424"/>
                <a:gd name="connsiteX726" fmla="*/ 1022032 w 1044701"/>
                <a:gd name="connsiteY726" fmla="*/ 666369 h 731424"/>
                <a:gd name="connsiteX727" fmla="*/ 1021652 w 1044701"/>
                <a:gd name="connsiteY727" fmla="*/ 663226 h 731424"/>
                <a:gd name="connsiteX728" fmla="*/ 1023366 w 1044701"/>
                <a:gd name="connsiteY728" fmla="*/ 664655 h 731424"/>
                <a:gd name="connsiteX729" fmla="*/ 1023842 w 1044701"/>
                <a:gd name="connsiteY729" fmla="*/ 667798 h 731424"/>
                <a:gd name="connsiteX730" fmla="*/ 1027366 w 1044701"/>
                <a:gd name="connsiteY730" fmla="*/ 670560 h 731424"/>
                <a:gd name="connsiteX731" fmla="*/ 1028700 w 1044701"/>
                <a:gd name="connsiteY731" fmla="*/ 668750 h 731424"/>
                <a:gd name="connsiteX732" fmla="*/ 1021461 w 1044701"/>
                <a:gd name="connsiteY732" fmla="*/ 661702 h 731424"/>
                <a:gd name="connsiteX733" fmla="*/ 1015460 w 1044701"/>
                <a:gd name="connsiteY733" fmla="*/ 652844 h 731424"/>
                <a:gd name="connsiteX734" fmla="*/ 1014698 w 1044701"/>
                <a:gd name="connsiteY734" fmla="*/ 646462 h 731424"/>
                <a:gd name="connsiteX735" fmla="*/ 1016032 w 1044701"/>
                <a:gd name="connsiteY735" fmla="*/ 644747 h 731424"/>
                <a:gd name="connsiteX736" fmla="*/ 1014413 w 1044701"/>
                <a:gd name="connsiteY736" fmla="*/ 632079 h 731424"/>
                <a:gd name="connsiteX737" fmla="*/ 1019175 w 1044701"/>
                <a:gd name="connsiteY737" fmla="*/ 631507 h 731424"/>
                <a:gd name="connsiteX738" fmla="*/ 1018604 w 1044701"/>
                <a:gd name="connsiteY738" fmla="*/ 626745 h 731424"/>
                <a:gd name="connsiteX739" fmla="*/ 1022699 w 1044701"/>
                <a:gd name="connsiteY739" fmla="*/ 621411 h 731424"/>
                <a:gd name="connsiteX740" fmla="*/ 1029176 w 1044701"/>
                <a:gd name="connsiteY740" fmla="*/ 622173 h 731424"/>
                <a:gd name="connsiteX741" fmla="*/ 1030605 w 1044701"/>
                <a:gd name="connsiteY741" fmla="*/ 620363 h 731424"/>
                <a:gd name="connsiteX742" fmla="*/ 1031938 w 1044701"/>
                <a:gd name="connsiteY742" fmla="*/ 618649 h 731424"/>
                <a:gd name="connsiteX743" fmla="*/ 1029748 w 1044701"/>
                <a:gd name="connsiteY743" fmla="*/ 614077 h 731424"/>
                <a:gd name="connsiteX744" fmla="*/ 1035939 w 1044701"/>
                <a:gd name="connsiteY744" fmla="*/ 611695 h 731424"/>
                <a:gd name="connsiteX745" fmla="*/ 1039082 w 1044701"/>
                <a:gd name="connsiteY745" fmla="*/ 611315 h 731424"/>
                <a:gd name="connsiteX746" fmla="*/ 1044607 w 1044701"/>
                <a:gd name="connsiteY746" fmla="*/ 604171 h 731424"/>
                <a:gd name="connsiteX747" fmla="*/ 1042225 w 1044701"/>
                <a:gd name="connsiteY747" fmla="*/ 598075 h 731424"/>
                <a:gd name="connsiteX748" fmla="*/ 1044702 w 1044701"/>
                <a:gd name="connsiteY748" fmla="*/ 580073 h 731424"/>
                <a:gd name="connsiteX749" fmla="*/ 1044130 w 1044701"/>
                <a:gd name="connsiteY749" fmla="*/ 575405 h 731424"/>
                <a:gd name="connsiteX750" fmla="*/ 1041178 w 1044701"/>
                <a:gd name="connsiteY750" fmla="*/ 577310 h 731424"/>
                <a:gd name="connsiteX751" fmla="*/ 1040702 w 1044701"/>
                <a:gd name="connsiteY751" fmla="*/ 574167 h 731424"/>
                <a:gd name="connsiteX752" fmla="*/ 1038987 w 1044701"/>
                <a:gd name="connsiteY752" fmla="*/ 572834 h 731424"/>
                <a:gd name="connsiteX753" fmla="*/ 1042702 w 1044701"/>
                <a:gd name="connsiteY753" fmla="*/ 564356 h 731424"/>
                <a:gd name="connsiteX754" fmla="*/ 1043464 w 1044701"/>
                <a:gd name="connsiteY754" fmla="*/ 557784 h 731424"/>
                <a:gd name="connsiteX755" fmla="*/ 1036511 w 1044701"/>
                <a:gd name="connsiteY755" fmla="*/ 553879 h 731424"/>
                <a:gd name="connsiteX756" fmla="*/ 1032605 w 1044701"/>
                <a:gd name="connsiteY756" fmla="*/ 547973 h 731424"/>
                <a:gd name="connsiteX757" fmla="*/ 1026319 w 1044701"/>
                <a:gd name="connsiteY757" fmla="*/ 548735 h 731424"/>
                <a:gd name="connsiteX758" fmla="*/ 1021747 w 1044701"/>
                <a:gd name="connsiteY758" fmla="*/ 550926 h 731424"/>
                <a:gd name="connsiteX759" fmla="*/ 1019937 w 1044701"/>
                <a:gd name="connsiteY759" fmla="*/ 549593 h 731424"/>
                <a:gd name="connsiteX760" fmla="*/ 1019365 w 1044701"/>
                <a:gd name="connsiteY760" fmla="*/ 544830 h 731424"/>
                <a:gd name="connsiteX761" fmla="*/ 1014603 w 1044701"/>
                <a:gd name="connsiteY761" fmla="*/ 545497 h 731424"/>
                <a:gd name="connsiteX762" fmla="*/ 1013650 w 1044701"/>
                <a:gd name="connsiteY762" fmla="*/ 550355 h 731424"/>
                <a:gd name="connsiteX763" fmla="*/ 1008888 w 1044701"/>
                <a:gd name="connsiteY763" fmla="*/ 551021 h 731424"/>
                <a:gd name="connsiteX764" fmla="*/ 1005745 w 1044701"/>
                <a:gd name="connsiteY764" fmla="*/ 551402 h 731424"/>
                <a:gd name="connsiteX765" fmla="*/ 1003554 w 1044701"/>
                <a:gd name="connsiteY765" fmla="*/ 546830 h 731424"/>
                <a:gd name="connsiteX766" fmla="*/ 1007936 w 1044701"/>
                <a:gd name="connsiteY766" fmla="*/ 543115 h 731424"/>
                <a:gd name="connsiteX767" fmla="*/ 1011841 w 1044701"/>
                <a:gd name="connsiteY767" fmla="*/ 536162 h 731424"/>
                <a:gd name="connsiteX768" fmla="*/ 1014984 w 1044701"/>
                <a:gd name="connsiteY768" fmla="*/ 535781 h 731424"/>
                <a:gd name="connsiteX769" fmla="*/ 1018699 w 1044701"/>
                <a:gd name="connsiteY769" fmla="*/ 527304 h 731424"/>
                <a:gd name="connsiteX770" fmla="*/ 1013555 w 1044701"/>
                <a:gd name="connsiteY770" fmla="*/ 524732 h 731424"/>
                <a:gd name="connsiteX771" fmla="*/ 1004316 w 1044701"/>
                <a:gd name="connsiteY771" fmla="*/ 514731 h 731424"/>
                <a:gd name="connsiteX772" fmla="*/ 1004125 w 1044701"/>
                <a:gd name="connsiteY772" fmla="*/ 513112 h 731424"/>
                <a:gd name="connsiteX773" fmla="*/ 1008602 w 1044701"/>
                <a:gd name="connsiteY773" fmla="*/ 510921 h 731424"/>
                <a:gd name="connsiteX774" fmla="*/ 1008412 w 1044701"/>
                <a:gd name="connsiteY774" fmla="*/ 509397 h 731424"/>
                <a:gd name="connsiteX775" fmla="*/ 1008031 w 1044701"/>
                <a:gd name="connsiteY775" fmla="*/ 506159 h 731424"/>
                <a:gd name="connsiteX776" fmla="*/ 1010983 w 1044701"/>
                <a:gd name="connsiteY776" fmla="*/ 504253 h 731424"/>
                <a:gd name="connsiteX777" fmla="*/ 1006983 w 1044701"/>
                <a:gd name="connsiteY777" fmla="*/ 498348 h 731424"/>
                <a:gd name="connsiteX778" fmla="*/ 1002125 w 1044701"/>
                <a:gd name="connsiteY778" fmla="*/ 497300 h 731424"/>
                <a:gd name="connsiteX779" fmla="*/ 996791 w 1044701"/>
                <a:gd name="connsiteY779" fmla="*/ 493205 h 731424"/>
                <a:gd name="connsiteX780" fmla="*/ 985075 w 1044701"/>
                <a:gd name="connsiteY780" fmla="*/ 477012 h 731424"/>
                <a:gd name="connsiteX781" fmla="*/ 976979 w 1044701"/>
                <a:gd name="connsiteY781" fmla="*/ 463677 h 731424"/>
                <a:gd name="connsiteX782" fmla="*/ 979265 w 1044701"/>
                <a:gd name="connsiteY782" fmla="*/ 456914 h 731424"/>
                <a:gd name="connsiteX783" fmla="*/ 976884 w 1044701"/>
                <a:gd name="connsiteY783" fmla="*/ 450818 h 731424"/>
                <a:gd name="connsiteX784" fmla="*/ 979646 w 1044701"/>
                <a:gd name="connsiteY784" fmla="*/ 447294 h 731424"/>
                <a:gd name="connsiteX785" fmla="*/ 974503 w 1044701"/>
                <a:gd name="connsiteY785" fmla="*/ 444722 h 731424"/>
                <a:gd name="connsiteX786" fmla="*/ 972598 w 1044701"/>
                <a:gd name="connsiteY786" fmla="*/ 441769 h 731424"/>
                <a:gd name="connsiteX787" fmla="*/ 968978 w 1044701"/>
                <a:gd name="connsiteY787" fmla="*/ 439007 h 731424"/>
                <a:gd name="connsiteX788" fmla="*/ 968788 w 1044701"/>
                <a:gd name="connsiteY788" fmla="*/ 437388 h 731424"/>
                <a:gd name="connsiteX789" fmla="*/ 963835 w 1044701"/>
                <a:gd name="connsiteY789" fmla="*/ 436436 h 731424"/>
                <a:gd name="connsiteX790" fmla="*/ 961263 w 1044701"/>
                <a:gd name="connsiteY790" fmla="*/ 428720 h 731424"/>
                <a:gd name="connsiteX791" fmla="*/ 965168 w 1044701"/>
                <a:gd name="connsiteY791" fmla="*/ 421862 h 731424"/>
                <a:gd name="connsiteX792" fmla="*/ 961644 w 1044701"/>
                <a:gd name="connsiteY792" fmla="*/ 419100 h 731424"/>
                <a:gd name="connsiteX793" fmla="*/ 962406 w 1044701"/>
                <a:gd name="connsiteY793" fmla="*/ 412623 h 731424"/>
                <a:gd name="connsiteX794" fmla="*/ 962406 w 1044701"/>
                <a:gd name="connsiteY794" fmla="*/ 399764 h 731424"/>
                <a:gd name="connsiteX795" fmla="*/ 965168 w 1044701"/>
                <a:gd name="connsiteY795" fmla="*/ 396240 h 731424"/>
                <a:gd name="connsiteX796" fmla="*/ 971074 w 1044701"/>
                <a:gd name="connsiteY796" fmla="*/ 392240 h 731424"/>
                <a:gd name="connsiteX797" fmla="*/ 974217 w 1044701"/>
                <a:gd name="connsiteY797" fmla="*/ 391859 h 731424"/>
                <a:gd name="connsiteX798" fmla="*/ 983075 w 1044701"/>
                <a:gd name="connsiteY798" fmla="*/ 385858 h 731424"/>
                <a:gd name="connsiteX799" fmla="*/ 981265 w 1044701"/>
                <a:gd name="connsiteY799" fmla="*/ 384524 h 731424"/>
                <a:gd name="connsiteX800" fmla="*/ 984218 w 1044701"/>
                <a:gd name="connsiteY800" fmla="*/ 382524 h 731424"/>
                <a:gd name="connsiteX801" fmla="*/ 977551 w 1044701"/>
                <a:gd name="connsiteY801" fmla="*/ 380143 h 731424"/>
                <a:gd name="connsiteX802" fmla="*/ 976503 w 1044701"/>
                <a:gd name="connsiteY802" fmla="*/ 372332 h 731424"/>
                <a:gd name="connsiteX803" fmla="*/ 970216 w 1044701"/>
                <a:gd name="connsiteY803" fmla="*/ 360236 h 731424"/>
                <a:gd name="connsiteX804" fmla="*/ 974122 w 1044701"/>
                <a:gd name="connsiteY804" fmla="*/ 353378 h 731424"/>
                <a:gd name="connsiteX805" fmla="*/ 972122 w 1044701"/>
                <a:gd name="connsiteY805" fmla="*/ 350425 h 731424"/>
                <a:gd name="connsiteX806" fmla="*/ 971359 w 1044701"/>
                <a:gd name="connsiteY806" fmla="*/ 344043 h 731424"/>
                <a:gd name="connsiteX807" fmla="*/ 973931 w 1044701"/>
                <a:gd name="connsiteY807" fmla="*/ 338995 h 731424"/>
                <a:gd name="connsiteX808" fmla="*/ 971740 w 1044701"/>
                <a:gd name="connsiteY808" fmla="*/ 334423 h 731424"/>
                <a:gd name="connsiteX809" fmla="*/ 974217 w 1044701"/>
                <a:gd name="connsiteY809" fmla="*/ 329279 h 731424"/>
                <a:gd name="connsiteX810" fmla="*/ 965740 w 1044701"/>
                <a:gd name="connsiteY810" fmla="*/ 325565 h 731424"/>
                <a:gd name="connsiteX811" fmla="*/ 969455 w 1044701"/>
                <a:gd name="connsiteY811" fmla="*/ 317087 h 731424"/>
                <a:gd name="connsiteX812" fmla="*/ 962597 w 1044701"/>
                <a:gd name="connsiteY812" fmla="*/ 313087 h 731424"/>
                <a:gd name="connsiteX813" fmla="*/ 961168 w 1044701"/>
                <a:gd name="connsiteY813" fmla="*/ 302133 h 731424"/>
                <a:gd name="connsiteX814" fmla="*/ 956024 w 1044701"/>
                <a:gd name="connsiteY814" fmla="*/ 299561 h 731424"/>
                <a:gd name="connsiteX815" fmla="*/ 955453 w 1044701"/>
                <a:gd name="connsiteY815" fmla="*/ 294799 h 731424"/>
                <a:gd name="connsiteX816" fmla="*/ 955834 w 1044701"/>
                <a:gd name="connsiteY816" fmla="*/ 285083 h 731424"/>
                <a:gd name="connsiteX817" fmla="*/ 957929 w 1044701"/>
                <a:gd name="connsiteY817" fmla="*/ 276797 h 731424"/>
                <a:gd name="connsiteX818" fmla="*/ 952405 w 1044701"/>
                <a:gd name="connsiteY818" fmla="*/ 271082 h 731424"/>
                <a:gd name="connsiteX819" fmla="*/ 953357 w 1044701"/>
                <a:gd name="connsiteY819" fmla="*/ 266224 h 731424"/>
                <a:gd name="connsiteX820" fmla="*/ 949452 w 1044701"/>
                <a:gd name="connsiteY820" fmla="*/ 260318 h 731424"/>
                <a:gd name="connsiteX821" fmla="*/ 944118 w 1044701"/>
                <a:gd name="connsiteY821" fmla="*/ 256127 h 731424"/>
                <a:gd name="connsiteX822" fmla="*/ 940308 w 1044701"/>
                <a:gd name="connsiteY822" fmla="*/ 238982 h 731424"/>
                <a:gd name="connsiteX823" fmla="*/ 946404 w 1044701"/>
                <a:gd name="connsiteY823" fmla="*/ 236601 h 731424"/>
                <a:gd name="connsiteX824" fmla="*/ 959453 w 1044701"/>
                <a:gd name="connsiteY824" fmla="*/ 238125 h 731424"/>
                <a:gd name="connsiteX825" fmla="*/ 965168 w 1044701"/>
                <a:gd name="connsiteY825" fmla="*/ 245459 h 731424"/>
                <a:gd name="connsiteX826" fmla="*/ 969740 w 1044701"/>
                <a:gd name="connsiteY826" fmla="*/ 243269 h 731424"/>
                <a:gd name="connsiteX827" fmla="*/ 969550 w 1044701"/>
                <a:gd name="connsiteY827" fmla="*/ 241649 h 731424"/>
                <a:gd name="connsiteX828" fmla="*/ 973455 w 1044701"/>
                <a:gd name="connsiteY828" fmla="*/ 234791 h 731424"/>
                <a:gd name="connsiteX829" fmla="*/ 977741 w 1044701"/>
                <a:gd name="connsiteY829" fmla="*/ 230981 h 731424"/>
                <a:gd name="connsiteX830" fmla="*/ 978980 w 1044701"/>
                <a:gd name="connsiteY830" fmla="*/ 227648 h 731424"/>
                <a:gd name="connsiteX831" fmla="*/ 978122 w 1044701"/>
                <a:gd name="connsiteY831" fmla="*/ 221361 h 731424"/>
                <a:gd name="connsiteX832" fmla="*/ 979361 w 1044701"/>
                <a:gd name="connsiteY832" fmla="*/ 218027 h 731424"/>
                <a:gd name="connsiteX833" fmla="*/ 984218 w 1044701"/>
                <a:gd name="connsiteY833" fmla="*/ 218980 h 731424"/>
                <a:gd name="connsiteX834" fmla="*/ 986599 w 1044701"/>
                <a:gd name="connsiteY834" fmla="*/ 212217 h 731424"/>
                <a:gd name="connsiteX835" fmla="*/ 995648 w 1044701"/>
                <a:gd name="connsiteY835" fmla="*/ 207836 h 731424"/>
                <a:gd name="connsiteX836" fmla="*/ 996887 w 1044701"/>
                <a:gd name="connsiteY836" fmla="*/ 204502 h 731424"/>
                <a:gd name="connsiteX837" fmla="*/ 1004697 w 1044701"/>
                <a:gd name="connsiteY837" fmla="*/ 203549 h 731424"/>
                <a:gd name="connsiteX838" fmla="*/ 1005935 w 1044701"/>
                <a:gd name="connsiteY838" fmla="*/ 200120 h 731424"/>
                <a:gd name="connsiteX839" fmla="*/ 1005554 w 1044701"/>
                <a:gd name="connsiteY839" fmla="*/ 196977 h 731424"/>
                <a:gd name="connsiteX840" fmla="*/ 1006507 w 1044701"/>
                <a:gd name="connsiteY840" fmla="*/ 192024 h 731424"/>
                <a:gd name="connsiteX841" fmla="*/ 1012412 w 1044701"/>
                <a:gd name="connsiteY841" fmla="*/ 188119 h 731424"/>
                <a:gd name="connsiteX842" fmla="*/ 1004697 w 1044701"/>
                <a:gd name="connsiteY842" fmla="*/ 177832 h 731424"/>
                <a:gd name="connsiteX843" fmla="*/ 1008602 w 1044701"/>
                <a:gd name="connsiteY843" fmla="*/ 170974 h 731424"/>
                <a:gd name="connsiteX844" fmla="*/ 997744 w 1044701"/>
                <a:gd name="connsiteY844" fmla="*/ 161068 h 731424"/>
                <a:gd name="connsiteX845" fmla="*/ 1000315 w 1044701"/>
                <a:gd name="connsiteY845" fmla="*/ 155924 h 731424"/>
                <a:gd name="connsiteX846" fmla="*/ 1007173 w 1044701"/>
                <a:gd name="connsiteY846" fmla="*/ 147066 h 731424"/>
                <a:gd name="connsiteX847" fmla="*/ 1014508 w 1044701"/>
                <a:gd name="connsiteY847" fmla="*/ 141351 h 731424"/>
                <a:gd name="connsiteX848" fmla="*/ 1010698 w 1044701"/>
                <a:gd name="connsiteY848" fmla="*/ 136969 h 731424"/>
                <a:gd name="connsiteX849" fmla="*/ 1009936 w 1044701"/>
                <a:gd name="connsiteY849" fmla="*/ 130683 h 731424"/>
                <a:gd name="connsiteX850" fmla="*/ 1003363 w 1044701"/>
                <a:gd name="connsiteY850" fmla="*/ 117062 h 731424"/>
                <a:gd name="connsiteX851" fmla="*/ 1001363 w 1044701"/>
                <a:gd name="connsiteY851" fmla="*/ 114110 h 731424"/>
                <a:gd name="connsiteX852" fmla="*/ 1002792 w 1044701"/>
                <a:gd name="connsiteY852" fmla="*/ 112395 h 731424"/>
                <a:gd name="connsiteX853" fmla="*/ 1010603 w 1044701"/>
                <a:gd name="connsiteY853" fmla="*/ 111347 h 731424"/>
                <a:gd name="connsiteX854" fmla="*/ 1016317 w 1044701"/>
                <a:gd name="connsiteY854" fmla="*/ 105823 h 731424"/>
                <a:gd name="connsiteX855" fmla="*/ 1014508 w 1044701"/>
                <a:gd name="connsiteY855" fmla="*/ 91631 h 731424"/>
                <a:gd name="connsiteX856" fmla="*/ 1017651 w 1044701"/>
                <a:gd name="connsiteY856" fmla="*/ 91250 h 731424"/>
                <a:gd name="connsiteX857" fmla="*/ 1018318 w 1044701"/>
                <a:gd name="connsiteY857" fmla="*/ 95917 h 731424"/>
                <a:gd name="connsiteX858" fmla="*/ 1019842 w 1044701"/>
                <a:gd name="connsiteY858" fmla="*/ 95726 h 731424"/>
                <a:gd name="connsiteX859" fmla="*/ 1022223 w 1044701"/>
                <a:gd name="connsiteY859" fmla="*/ 89059 h 731424"/>
                <a:gd name="connsiteX860" fmla="*/ 1021461 w 1044701"/>
                <a:gd name="connsiteY860" fmla="*/ 82677 h 731424"/>
                <a:gd name="connsiteX861" fmla="*/ 1023366 w 1044701"/>
                <a:gd name="connsiteY861" fmla="*/ 72866 h 731424"/>
                <a:gd name="connsiteX862" fmla="*/ 1026128 w 1044701"/>
                <a:gd name="connsiteY862" fmla="*/ 69247 h 731424"/>
                <a:gd name="connsiteX863" fmla="*/ 1026700 w 1044701"/>
                <a:gd name="connsiteY863" fmla="*/ 61246 h 731424"/>
                <a:gd name="connsiteX864" fmla="*/ 1030414 w 1044701"/>
                <a:gd name="connsiteY864" fmla="*/ 52673 h 731424"/>
                <a:gd name="connsiteX865" fmla="*/ 1031177 w 1044701"/>
                <a:gd name="connsiteY865" fmla="*/ 46196 h 731424"/>
                <a:gd name="connsiteX866" fmla="*/ 1038511 w 1044701"/>
                <a:gd name="connsiteY866" fmla="*/ 40481 h 731424"/>
                <a:gd name="connsiteX867" fmla="*/ 1041082 w 1044701"/>
                <a:gd name="connsiteY867" fmla="*/ 35338 h 731424"/>
                <a:gd name="connsiteX868" fmla="*/ 1040035 w 1044701"/>
                <a:gd name="connsiteY868" fmla="*/ 27432 h 731424"/>
                <a:gd name="connsiteX869" fmla="*/ 1040987 w 1044701"/>
                <a:gd name="connsiteY869" fmla="*/ 22479 h 731424"/>
                <a:gd name="connsiteX870" fmla="*/ 1038797 w 1044701"/>
                <a:gd name="connsiteY870" fmla="*/ 17907 h 731424"/>
                <a:gd name="connsiteX871" fmla="*/ 1038797 w 1044701"/>
                <a:gd name="connsiteY871" fmla="*/ 17907 h 731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</a:cxnLst>
              <a:rect l="l" t="t" r="r" b="b"/>
              <a:pathLst>
                <a:path w="1044701" h="731424">
                  <a:moveTo>
                    <a:pt x="1038797" y="17907"/>
                  </a:moveTo>
                  <a:lnTo>
                    <a:pt x="1039558" y="11430"/>
                  </a:lnTo>
                  <a:lnTo>
                    <a:pt x="1037463" y="6953"/>
                  </a:lnTo>
                  <a:lnTo>
                    <a:pt x="1028509" y="0"/>
                  </a:lnTo>
                  <a:lnTo>
                    <a:pt x="1019651" y="6001"/>
                  </a:lnTo>
                  <a:lnTo>
                    <a:pt x="1018889" y="12478"/>
                  </a:lnTo>
                  <a:lnTo>
                    <a:pt x="1017270" y="12668"/>
                  </a:lnTo>
                  <a:lnTo>
                    <a:pt x="1012984" y="16478"/>
                  </a:lnTo>
                  <a:lnTo>
                    <a:pt x="1010412" y="21527"/>
                  </a:lnTo>
                  <a:lnTo>
                    <a:pt x="1006888" y="18860"/>
                  </a:lnTo>
                  <a:lnTo>
                    <a:pt x="1002316" y="20955"/>
                  </a:lnTo>
                  <a:lnTo>
                    <a:pt x="995839" y="33052"/>
                  </a:lnTo>
                  <a:lnTo>
                    <a:pt x="994696" y="49244"/>
                  </a:lnTo>
                  <a:lnTo>
                    <a:pt x="989362" y="57912"/>
                  </a:lnTo>
                  <a:lnTo>
                    <a:pt x="982313" y="65246"/>
                  </a:lnTo>
                  <a:lnTo>
                    <a:pt x="984504" y="69818"/>
                  </a:lnTo>
                  <a:lnTo>
                    <a:pt x="983361" y="73152"/>
                  </a:lnTo>
                  <a:lnTo>
                    <a:pt x="972883" y="79248"/>
                  </a:lnTo>
                  <a:lnTo>
                    <a:pt x="965549" y="85058"/>
                  </a:lnTo>
                  <a:lnTo>
                    <a:pt x="962215" y="83820"/>
                  </a:lnTo>
                  <a:lnTo>
                    <a:pt x="959263" y="85820"/>
                  </a:lnTo>
                  <a:lnTo>
                    <a:pt x="947452" y="106585"/>
                  </a:lnTo>
                  <a:lnTo>
                    <a:pt x="944308" y="119825"/>
                  </a:lnTo>
                  <a:lnTo>
                    <a:pt x="941641" y="123349"/>
                  </a:lnTo>
                  <a:lnTo>
                    <a:pt x="932783" y="129254"/>
                  </a:lnTo>
                  <a:lnTo>
                    <a:pt x="924401" y="127159"/>
                  </a:lnTo>
                  <a:lnTo>
                    <a:pt x="917734" y="124777"/>
                  </a:lnTo>
                  <a:lnTo>
                    <a:pt x="914209" y="122015"/>
                  </a:lnTo>
                  <a:lnTo>
                    <a:pt x="893826" y="113443"/>
                  </a:lnTo>
                  <a:lnTo>
                    <a:pt x="887349" y="112586"/>
                  </a:lnTo>
                  <a:lnTo>
                    <a:pt x="882396" y="111633"/>
                  </a:lnTo>
                  <a:lnTo>
                    <a:pt x="878205" y="104204"/>
                  </a:lnTo>
                  <a:lnTo>
                    <a:pt x="867537" y="95917"/>
                  </a:lnTo>
                  <a:lnTo>
                    <a:pt x="866775" y="89630"/>
                  </a:lnTo>
                  <a:lnTo>
                    <a:pt x="859822" y="85630"/>
                  </a:lnTo>
                  <a:lnTo>
                    <a:pt x="855821" y="79724"/>
                  </a:lnTo>
                  <a:lnTo>
                    <a:pt x="844391" y="78010"/>
                  </a:lnTo>
                  <a:lnTo>
                    <a:pt x="840105" y="81725"/>
                  </a:lnTo>
                  <a:lnTo>
                    <a:pt x="838295" y="80391"/>
                  </a:lnTo>
                  <a:lnTo>
                    <a:pt x="836962" y="82201"/>
                  </a:lnTo>
                  <a:lnTo>
                    <a:pt x="816197" y="70390"/>
                  </a:lnTo>
                  <a:lnTo>
                    <a:pt x="813245" y="72390"/>
                  </a:lnTo>
                  <a:lnTo>
                    <a:pt x="811435" y="70961"/>
                  </a:lnTo>
                  <a:lnTo>
                    <a:pt x="807720" y="66675"/>
                  </a:lnTo>
                  <a:lnTo>
                    <a:pt x="804767" y="68580"/>
                  </a:lnTo>
                  <a:lnTo>
                    <a:pt x="801719" y="57817"/>
                  </a:lnTo>
                  <a:lnTo>
                    <a:pt x="793242" y="54102"/>
                  </a:lnTo>
                  <a:lnTo>
                    <a:pt x="790099" y="54483"/>
                  </a:lnTo>
                  <a:lnTo>
                    <a:pt x="786384" y="50102"/>
                  </a:lnTo>
                  <a:lnTo>
                    <a:pt x="784955" y="51911"/>
                  </a:lnTo>
                  <a:lnTo>
                    <a:pt x="778478" y="51149"/>
                  </a:lnTo>
                  <a:lnTo>
                    <a:pt x="772763" y="56674"/>
                  </a:lnTo>
                  <a:lnTo>
                    <a:pt x="772382" y="79153"/>
                  </a:lnTo>
                  <a:lnTo>
                    <a:pt x="769811" y="84296"/>
                  </a:lnTo>
                  <a:lnTo>
                    <a:pt x="762190" y="86868"/>
                  </a:lnTo>
                  <a:lnTo>
                    <a:pt x="759428" y="90392"/>
                  </a:lnTo>
                  <a:lnTo>
                    <a:pt x="757809" y="90678"/>
                  </a:lnTo>
                  <a:lnTo>
                    <a:pt x="755237" y="95821"/>
                  </a:lnTo>
                  <a:lnTo>
                    <a:pt x="755047" y="94202"/>
                  </a:lnTo>
                  <a:lnTo>
                    <a:pt x="745617" y="95441"/>
                  </a:lnTo>
                  <a:lnTo>
                    <a:pt x="745236" y="92202"/>
                  </a:lnTo>
                  <a:lnTo>
                    <a:pt x="743617" y="92488"/>
                  </a:lnTo>
                  <a:lnTo>
                    <a:pt x="743998" y="95631"/>
                  </a:lnTo>
                  <a:lnTo>
                    <a:pt x="736378" y="98203"/>
                  </a:lnTo>
                  <a:lnTo>
                    <a:pt x="739712" y="99346"/>
                  </a:lnTo>
                  <a:lnTo>
                    <a:pt x="740092" y="102489"/>
                  </a:lnTo>
                  <a:lnTo>
                    <a:pt x="737330" y="106108"/>
                  </a:lnTo>
                  <a:lnTo>
                    <a:pt x="733615" y="101727"/>
                  </a:lnTo>
                  <a:lnTo>
                    <a:pt x="730663" y="103727"/>
                  </a:lnTo>
                  <a:lnTo>
                    <a:pt x="727424" y="104108"/>
                  </a:lnTo>
                  <a:lnTo>
                    <a:pt x="727900" y="107252"/>
                  </a:lnTo>
                  <a:lnTo>
                    <a:pt x="724757" y="107728"/>
                  </a:lnTo>
                  <a:lnTo>
                    <a:pt x="725138" y="110871"/>
                  </a:lnTo>
                  <a:lnTo>
                    <a:pt x="721805" y="109633"/>
                  </a:lnTo>
                  <a:lnTo>
                    <a:pt x="719995" y="108299"/>
                  </a:lnTo>
                  <a:lnTo>
                    <a:pt x="715232" y="108871"/>
                  </a:lnTo>
                  <a:lnTo>
                    <a:pt x="715423" y="110490"/>
                  </a:lnTo>
                  <a:lnTo>
                    <a:pt x="703040" y="126492"/>
                  </a:lnTo>
                  <a:lnTo>
                    <a:pt x="691801" y="126302"/>
                  </a:lnTo>
                  <a:lnTo>
                    <a:pt x="687038" y="126968"/>
                  </a:lnTo>
                  <a:lnTo>
                    <a:pt x="687705" y="131636"/>
                  </a:lnTo>
                  <a:lnTo>
                    <a:pt x="681514" y="134017"/>
                  </a:lnTo>
                  <a:lnTo>
                    <a:pt x="677608" y="140970"/>
                  </a:lnTo>
                  <a:lnTo>
                    <a:pt x="679990" y="147066"/>
                  </a:lnTo>
                  <a:lnTo>
                    <a:pt x="681419" y="145256"/>
                  </a:lnTo>
                  <a:lnTo>
                    <a:pt x="685133" y="149638"/>
                  </a:lnTo>
                  <a:lnTo>
                    <a:pt x="690467" y="153734"/>
                  </a:lnTo>
                  <a:lnTo>
                    <a:pt x="684562" y="157734"/>
                  </a:lnTo>
                  <a:lnTo>
                    <a:pt x="683419" y="161068"/>
                  </a:lnTo>
                  <a:lnTo>
                    <a:pt x="677132" y="161830"/>
                  </a:lnTo>
                  <a:lnTo>
                    <a:pt x="674561" y="166973"/>
                  </a:lnTo>
                  <a:lnTo>
                    <a:pt x="669227" y="162877"/>
                  </a:lnTo>
                  <a:lnTo>
                    <a:pt x="667798" y="164687"/>
                  </a:lnTo>
                  <a:lnTo>
                    <a:pt x="663035" y="165259"/>
                  </a:lnTo>
                  <a:lnTo>
                    <a:pt x="665226" y="169831"/>
                  </a:lnTo>
                  <a:lnTo>
                    <a:pt x="664083" y="173165"/>
                  </a:lnTo>
                  <a:lnTo>
                    <a:pt x="662273" y="171736"/>
                  </a:lnTo>
                  <a:lnTo>
                    <a:pt x="662940" y="176498"/>
                  </a:lnTo>
                  <a:lnTo>
                    <a:pt x="668083" y="179070"/>
                  </a:lnTo>
                  <a:lnTo>
                    <a:pt x="670465" y="185166"/>
                  </a:lnTo>
                  <a:lnTo>
                    <a:pt x="673798" y="186309"/>
                  </a:lnTo>
                  <a:lnTo>
                    <a:pt x="675227" y="197358"/>
                  </a:lnTo>
                  <a:lnTo>
                    <a:pt x="655034" y="190310"/>
                  </a:lnTo>
                  <a:lnTo>
                    <a:pt x="651700" y="189167"/>
                  </a:lnTo>
                  <a:lnTo>
                    <a:pt x="646366" y="185071"/>
                  </a:lnTo>
                  <a:lnTo>
                    <a:pt x="645033" y="186785"/>
                  </a:lnTo>
                  <a:lnTo>
                    <a:pt x="638270" y="184499"/>
                  </a:lnTo>
                  <a:lnTo>
                    <a:pt x="640080" y="185833"/>
                  </a:lnTo>
                  <a:lnTo>
                    <a:pt x="638842" y="189167"/>
                  </a:lnTo>
                  <a:lnTo>
                    <a:pt x="640652" y="190595"/>
                  </a:lnTo>
                  <a:lnTo>
                    <a:pt x="633984" y="188214"/>
                  </a:lnTo>
                  <a:lnTo>
                    <a:pt x="632555" y="190024"/>
                  </a:lnTo>
                  <a:lnTo>
                    <a:pt x="630936" y="190214"/>
                  </a:lnTo>
                  <a:lnTo>
                    <a:pt x="627793" y="190595"/>
                  </a:lnTo>
                  <a:lnTo>
                    <a:pt x="615410" y="193834"/>
                  </a:lnTo>
                  <a:lnTo>
                    <a:pt x="614839" y="189071"/>
                  </a:lnTo>
                  <a:lnTo>
                    <a:pt x="614648" y="187452"/>
                  </a:lnTo>
                  <a:lnTo>
                    <a:pt x="618744" y="182118"/>
                  </a:lnTo>
                  <a:lnTo>
                    <a:pt x="616934" y="180785"/>
                  </a:lnTo>
                  <a:lnTo>
                    <a:pt x="612267" y="181356"/>
                  </a:lnTo>
                  <a:lnTo>
                    <a:pt x="611981" y="179832"/>
                  </a:lnTo>
                  <a:lnTo>
                    <a:pt x="610457" y="180023"/>
                  </a:lnTo>
                  <a:lnTo>
                    <a:pt x="612457" y="182975"/>
                  </a:lnTo>
                  <a:lnTo>
                    <a:pt x="611219" y="186309"/>
                  </a:lnTo>
                  <a:lnTo>
                    <a:pt x="611410" y="187833"/>
                  </a:lnTo>
                  <a:lnTo>
                    <a:pt x="602552" y="193834"/>
                  </a:lnTo>
                  <a:lnTo>
                    <a:pt x="598837" y="189452"/>
                  </a:lnTo>
                  <a:lnTo>
                    <a:pt x="596074" y="193072"/>
                  </a:lnTo>
                  <a:lnTo>
                    <a:pt x="589597" y="192310"/>
                  </a:lnTo>
                  <a:lnTo>
                    <a:pt x="587026" y="197358"/>
                  </a:lnTo>
                  <a:lnTo>
                    <a:pt x="582073" y="196406"/>
                  </a:lnTo>
                  <a:lnTo>
                    <a:pt x="580644" y="198215"/>
                  </a:lnTo>
                  <a:lnTo>
                    <a:pt x="576929" y="193834"/>
                  </a:lnTo>
                  <a:lnTo>
                    <a:pt x="574929" y="190881"/>
                  </a:lnTo>
                  <a:lnTo>
                    <a:pt x="576167" y="187547"/>
                  </a:lnTo>
                  <a:lnTo>
                    <a:pt x="574548" y="187738"/>
                  </a:lnTo>
                  <a:lnTo>
                    <a:pt x="569405" y="185261"/>
                  </a:lnTo>
                  <a:lnTo>
                    <a:pt x="564832" y="174593"/>
                  </a:lnTo>
                  <a:lnTo>
                    <a:pt x="561689" y="174974"/>
                  </a:lnTo>
                  <a:lnTo>
                    <a:pt x="559880" y="173546"/>
                  </a:lnTo>
                  <a:lnTo>
                    <a:pt x="558546" y="175355"/>
                  </a:lnTo>
                  <a:lnTo>
                    <a:pt x="556736" y="174022"/>
                  </a:lnTo>
                  <a:lnTo>
                    <a:pt x="553593" y="174403"/>
                  </a:lnTo>
                  <a:lnTo>
                    <a:pt x="551974" y="174593"/>
                  </a:lnTo>
                  <a:lnTo>
                    <a:pt x="546068" y="165735"/>
                  </a:lnTo>
                  <a:lnTo>
                    <a:pt x="543115" y="167735"/>
                  </a:lnTo>
                  <a:lnTo>
                    <a:pt x="541972" y="171069"/>
                  </a:lnTo>
                  <a:lnTo>
                    <a:pt x="540353" y="171260"/>
                  </a:lnTo>
                  <a:lnTo>
                    <a:pt x="531495" y="164402"/>
                  </a:lnTo>
                  <a:lnTo>
                    <a:pt x="528447" y="153543"/>
                  </a:lnTo>
                  <a:lnTo>
                    <a:pt x="519589" y="146685"/>
                  </a:lnTo>
                  <a:lnTo>
                    <a:pt x="513493" y="149066"/>
                  </a:lnTo>
                  <a:lnTo>
                    <a:pt x="511683" y="147638"/>
                  </a:lnTo>
                  <a:lnTo>
                    <a:pt x="506921" y="148304"/>
                  </a:lnTo>
                  <a:lnTo>
                    <a:pt x="505015" y="145352"/>
                  </a:lnTo>
                  <a:lnTo>
                    <a:pt x="498443" y="144494"/>
                  </a:lnTo>
                  <a:lnTo>
                    <a:pt x="495300" y="144971"/>
                  </a:lnTo>
                  <a:lnTo>
                    <a:pt x="493300" y="142018"/>
                  </a:lnTo>
                  <a:lnTo>
                    <a:pt x="492347" y="134112"/>
                  </a:lnTo>
                  <a:lnTo>
                    <a:pt x="486728" y="115538"/>
                  </a:lnTo>
                  <a:lnTo>
                    <a:pt x="480250" y="114776"/>
                  </a:lnTo>
                  <a:lnTo>
                    <a:pt x="449675" y="113824"/>
                  </a:lnTo>
                  <a:lnTo>
                    <a:pt x="449580" y="88202"/>
                  </a:lnTo>
                  <a:lnTo>
                    <a:pt x="448437" y="78772"/>
                  </a:lnTo>
                  <a:lnTo>
                    <a:pt x="435197" y="75629"/>
                  </a:lnTo>
                  <a:lnTo>
                    <a:pt x="435102" y="62770"/>
                  </a:lnTo>
                  <a:lnTo>
                    <a:pt x="415957" y="63627"/>
                  </a:lnTo>
                  <a:lnTo>
                    <a:pt x="410623" y="59531"/>
                  </a:lnTo>
                  <a:lnTo>
                    <a:pt x="405955" y="60103"/>
                  </a:lnTo>
                  <a:lnTo>
                    <a:pt x="405289" y="55340"/>
                  </a:lnTo>
                  <a:lnTo>
                    <a:pt x="401193" y="60674"/>
                  </a:lnTo>
                  <a:lnTo>
                    <a:pt x="388525" y="49530"/>
                  </a:lnTo>
                  <a:lnTo>
                    <a:pt x="383572" y="48482"/>
                  </a:lnTo>
                  <a:lnTo>
                    <a:pt x="384429" y="54864"/>
                  </a:lnTo>
                  <a:lnTo>
                    <a:pt x="383000" y="56579"/>
                  </a:lnTo>
                  <a:lnTo>
                    <a:pt x="362331" y="57626"/>
                  </a:lnTo>
                  <a:lnTo>
                    <a:pt x="362903" y="75248"/>
                  </a:lnTo>
                  <a:lnTo>
                    <a:pt x="351663" y="75057"/>
                  </a:lnTo>
                  <a:lnTo>
                    <a:pt x="338899" y="75057"/>
                  </a:lnTo>
                  <a:lnTo>
                    <a:pt x="338328" y="83153"/>
                  </a:lnTo>
                  <a:lnTo>
                    <a:pt x="329470" y="89059"/>
                  </a:lnTo>
                  <a:lnTo>
                    <a:pt x="329851" y="92297"/>
                  </a:lnTo>
                  <a:lnTo>
                    <a:pt x="326898" y="94202"/>
                  </a:lnTo>
                  <a:lnTo>
                    <a:pt x="326231" y="89535"/>
                  </a:lnTo>
                  <a:lnTo>
                    <a:pt x="314992" y="89344"/>
                  </a:lnTo>
                  <a:lnTo>
                    <a:pt x="313468" y="89535"/>
                  </a:lnTo>
                  <a:lnTo>
                    <a:pt x="313087" y="86392"/>
                  </a:lnTo>
                  <a:lnTo>
                    <a:pt x="306324" y="84011"/>
                  </a:lnTo>
                  <a:lnTo>
                    <a:pt x="304133" y="79439"/>
                  </a:lnTo>
                  <a:lnTo>
                    <a:pt x="304514" y="69818"/>
                  </a:lnTo>
                  <a:lnTo>
                    <a:pt x="308229" y="61341"/>
                  </a:lnTo>
                  <a:lnTo>
                    <a:pt x="303086" y="58769"/>
                  </a:lnTo>
                  <a:lnTo>
                    <a:pt x="304324" y="55435"/>
                  </a:lnTo>
                  <a:lnTo>
                    <a:pt x="303847" y="52292"/>
                  </a:lnTo>
                  <a:lnTo>
                    <a:pt x="294227" y="51911"/>
                  </a:lnTo>
                  <a:lnTo>
                    <a:pt x="290513" y="47530"/>
                  </a:lnTo>
                  <a:lnTo>
                    <a:pt x="285083" y="43434"/>
                  </a:lnTo>
                  <a:lnTo>
                    <a:pt x="280797" y="47149"/>
                  </a:lnTo>
                  <a:lnTo>
                    <a:pt x="278416" y="53912"/>
                  </a:lnTo>
                  <a:lnTo>
                    <a:pt x="270129" y="51721"/>
                  </a:lnTo>
                  <a:lnTo>
                    <a:pt x="269177" y="56674"/>
                  </a:lnTo>
                  <a:lnTo>
                    <a:pt x="264414" y="57245"/>
                  </a:lnTo>
                  <a:lnTo>
                    <a:pt x="264605" y="58865"/>
                  </a:lnTo>
                  <a:lnTo>
                    <a:pt x="260128" y="61055"/>
                  </a:lnTo>
                  <a:lnTo>
                    <a:pt x="260890" y="67342"/>
                  </a:lnTo>
                  <a:lnTo>
                    <a:pt x="262699" y="68771"/>
                  </a:lnTo>
                  <a:lnTo>
                    <a:pt x="260985" y="80200"/>
                  </a:lnTo>
                  <a:lnTo>
                    <a:pt x="259747" y="83534"/>
                  </a:lnTo>
                  <a:lnTo>
                    <a:pt x="256604" y="83915"/>
                  </a:lnTo>
                  <a:lnTo>
                    <a:pt x="256794" y="85535"/>
                  </a:lnTo>
                  <a:lnTo>
                    <a:pt x="254794" y="82582"/>
                  </a:lnTo>
                  <a:lnTo>
                    <a:pt x="251079" y="91059"/>
                  </a:lnTo>
                  <a:lnTo>
                    <a:pt x="247364" y="86677"/>
                  </a:lnTo>
                  <a:lnTo>
                    <a:pt x="242411" y="85725"/>
                  </a:lnTo>
                  <a:lnTo>
                    <a:pt x="239458" y="87725"/>
                  </a:lnTo>
                  <a:lnTo>
                    <a:pt x="239268" y="86106"/>
                  </a:lnTo>
                  <a:lnTo>
                    <a:pt x="235934" y="84963"/>
                  </a:lnTo>
                  <a:lnTo>
                    <a:pt x="234696" y="88297"/>
                  </a:lnTo>
                  <a:lnTo>
                    <a:pt x="231553" y="88773"/>
                  </a:lnTo>
                  <a:lnTo>
                    <a:pt x="228981" y="93917"/>
                  </a:lnTo>
                  <a:lnTo>
                    <a:pt x="227457" y="94107"/>
                  </a:lnTo>
                  <a:lnTo>
                    <a:pt x="227838" y="97250"/>
                  </a:lnTo>
                  <a:lnTo>
                    <a:pt x="225076" y="100775"/>
                  </a:lnTo>
                  <a:lnTo>
                    <a:pt x="221552" y="98012"/>
                  </a:lnTo>
                  <a:lnTo>
                    <a:pt x="219932" y="98203"/>
                  </a:lnTo>
                  <a:lnTo>
                    <a:pt x="218789" y="101632"/>
                  </a:lnTo>
                  <a:lnTo>
                    <a:pt x="215170" y="98869"/>
                  </a:lnTo>
                  <a:lnTo>
                    <a:pt x="214979" y="97250"/>
                  </a:lnTo>
                  <a:lnTo>
                    <a:pt x="209836" y="94679"/>
                  </a:lnTo>
                  <a:lnTo>
                    <a:pt x="209645" y="93154"/>
                  </a:lnTo>
                  <a:lnTo>
                    <a:pt x="199358" y="88011"/>
                  </a:lnTo>
                  <a:lnTo>
                    <a:pt x="197644" y="86677"/>
                  </a:lnTo>
                  <a:lnTo>
                    <a:pt x="195834" y="85249"/>
                  </a:lnTo>
                  <a:lnTo>
                    <a:pt x="195263" y="93345"/>
                  </a:lnTo>
                  <a:lnTo>
                    <a:pt x="191738" y="90583"/>
                  </a:lnTo>
                  <a:lnTo>
                    <a:pt x="191929" y="92202"/>
                  </a:lnTo>
                  <a:lnTo>
                    <a:pt x="186785" y="89630"/>
                  </a:lnTo>
                  <a:lnTo>
                    <a:pt x="182023" y="90202"/>
                  </a:lnTo>
                  <a:lnTo>
                    <a:pt x="181832" y="88678"/>
                  </a:lnTo>
                  <a:lnTo>
                    <a:pt x="183452" y="88487"/>
                  </a:lnTo>
                  <a:lnTo>
                    <a:pt x="183261" y="86868"/>
                  </a:lnTo>
                  <a:lnTo>
                    <a:pt x="181642" y="87058"/>
                  </a:lnTo>
                  <a:lnTo>
                    <a:pt x="180213" y="88868"/>
                  </a:lnTo>
                  <a:lnTo>
                    <a:pt x="175070" y="86296"/>
                  </a:lnTo>
                  <a:lnTo>
                    <a:pt x="173736" y="88106"/>
                  </a:lnTo>
                  <a:lnTo>
                    <a:pt x="175355" y="87916"/>
                  </a:lnTo>
                  <a:lnTo>
                    <a:pt x="170783" y="90106"/>
                  </a:lnTo>
                  <a:lnTo>
                    <a:pt x="168783" y="87154"/>
                  </a:lnTo>
                  <a:lnTo>
                    <a:pt x="165640" y="87535"/>
                  </a:lnTo>
                  <a:lnTo>
                    <a:pt x="163925" y="86106"/>
                  </a:lnTo>
                  <a:lnTo>
                    <a:pt x="162496" y="87916"/>
                  </a:lnTo>
                  <a:lnTo>
                    <a:pt x="162115" y="84773"/>
                  </a:lnTo>
                  <a:lnTo>
                    <a:pt x="160496" y="84963"/>
                  </a:lnTo>
                  <a:lnTo>
                    <a:pt x="161354" y="91250"/>
                  </a:lnTo>
                  <a:lnTo>
                    <a:pt x="164497" y="90869"/>
                  </a:lnTo>
                  <a:lnTo>
                    <a:pt x="163068" y="92678"/>
                  </a:lnTo>
                  <a:lnTo>
                    <a:pt x="161354" y="91250"/>
                  </a:lnTo>
                  <a:lnTo>
                    <a:pt x="157734" y="88487"/>
                  </a:lnTo>
                  <a:lnTo>
                    <a:pt x="156400" y="90297"/>
                  </a:lnTo>
                  <a:lnTo>
                    <a:pt x="156591" y="91916"/>
                  </a:lnTo>
                  <a:lnTo>
                    <a:pt x="154972" y="92107"/>
                  </a:lnTo>
                  <a:lnTo>
                    <a:pt x="153448" y="92297"/>
                  </a:lnTo>
                  <a:lnTo>
                    <a:pt x="152781" y="87535"/>
                  </a:lnTo>
                  <a:lnTo>
                    <a:pt x="149638" y="87916"/>
                  </a:lnTo>
                  <a:lnTo>
                    <a:pt x="149828" y="76676"/>
                  </a:lnTo>
                  <a:lnTo>
                    <a:pt x="142970" y="72771"/>
                  </a:lnTo>
                  <a:lnTo>
                    <a:pt x="139732" y="73152"/>
                  </a:lnTo>
                  <a:lnTo>
                    <a:pt x="138779" y="78105"/>
                  </a:lnTo>
                  <a:lnTo>
                    <a:pt x="143923" y="80677"/>
                  </a:lnTo>
                  <a:lnTo>
                    <a:pt x="137827" y="83058"/>
                  </a:lnTo>
                  <a:lnTo>
                    <a:pt x="136017" y="81629"/>
                  </a:lnTo>
                  <a:lnTo>
                    <a:pt x="134684" y="83439"/>
                  </a:lnTo>
                  <a:lnTo>
                    <a:pt x="135255" y="88202"/>
                  </a:lnTo>
                  <a:lnTo>
                    <a:pt x="130683" y="90392"/>
                  </a:lnTo>
                  <a:lnTo>
                    <a:pt x="127349" y="89154"/>
                  </a:lnTo>
                  <a:lnTo>
                    <a:pt x="126778" y="84487"/>
                  </a:lnTo>
                  <a:lnTo>
                    <a:pt x="125349" y="86201"/>
                  </a:lnTo>
                  <a:lnTo>
                    <a:pt x="123444" y="83248"/>
                  </a:lnTo>
                  <a:lnTo>
                    <a:pt x="120301" y="83629"/>
                  </a:lnTo>
                  <a:lnTo>
                    <a:pt x="109823" y="89821"/>
                  </a:lnTo>
                  <a:lnTo>
                    <a:pt x="108394" y="91631"/>
                  </a:lnTo>
                  <a:lnTo>
                    <a:pt x="107823" y="99727"/>
                  </a:lnTo>
                  <a:lnTo>
                    <a:pt x="106680" y="103061"/>
                  </a:lnTo>
                  <a:lnTo>
                    <a:pt x="108490" y="104394"/>
                  </a:lnTo>
                  <a:lnTo>
                    <a:pt x="110680" y="108966"/>
                  </a:lnTo>
                  <a:lnTo>
                    <a:pt x="109252" y="110776"/>
                  </a:lnTo>
                  <a:lnTo>
                    <a:pt x="105727" y="108014"/>
                  </a:lnTo>
                  <a:lnTo>
                    <a:pt x="102965" y="111538"/>
                  </a:lnTo>
                  <a:lnTo>
                    <a:pt x="98393" y="113729"/>
                  </a:lnTo>
                  <a:lnTo>
                    <a:pt x="98584" y="115252"/>
                  </a:lnTo>
                  <a:lnTo>
                    <a:pt x="96869" y="113919"/>
                  </a:lnTo>
                  <a:lnTo>
                    <a:pt x="85630" y="113729"/>
                  </a:lnTo>
                  <a:lnTo>
                    <a:pt x="86201" y="118491"/>
                  </a:lnTo>
                  <a:lnTo>
                    <a:pt x="90964" y="117919"/>
                  </a:lnTo>
                  <a:lnTo>
                    <a:pt x="88011" y="119825"/>
                  </a:lnTo>
                  <a:lnTo>
                    <a:pt x="83058" y="118872"/>
                  </a:lnTo>
                  <a:lnTo>
                    <a:pt x="83248" y="120491"/>
                  </a:lnTo>
                  <a:lnTo>
                    <a:pt x="78962" y="124206"/>
                  </a:lnTo>
                  <a:lnTo>
                    <a:pt x="77343" y="124396"/>
                  </a:lnTo>
                  <a:lnTo>
                    <a:pt x="73247" y="129731"/>
                  </a:lnTo>
                  <a:lnTo>
                    <a:pt x="60960" y="134493"/>
                  </a:lnTo>
                  <a:lnTo>
                    <a:pt x="50863" y="118205"/>
                  </a:lnTo>
                  <a:lnTo>
                    <a:pt x="49054" y="116777"/>
                  </a:lnTo>
                  <a:lnTo>
                    <a:pt x="47530" y="116967"/>
                  </a:lnTo>
                  <a:lnTo>
                    <a:pt x="50292" y="126302"/>
                  </a:lnTo>
                  <a:lnTo>
                    <a:pt x="44386" y="130207"/>
                  </a:lnTo>
                  <a:lnTo>
                    <a:pt x="39243" y="127635"/>
                  </a:lnTo>
                  <a:lnTo>
                    <a:pt x="38671" y="122968"/>
                  </a:lnTo>
                  <a:lnTo>
                    <a:pt x="35147" y="120206"/>
                  </a:lnTo>
                  <a:lnTo>
                    <a:pt x="29146" y="124111"/>
                  </a:lnTo>
                  <a:lnTo>
                    <a:pt x="25622" y="134207"/>
                  </a:lnTo>
                  <a:lnTo>
                    <a:pt x="32766" y="139732"/>
                  </a:lnTo>
                  <a:lnTo>
                    <a:pt x="37147" y="135922"/>
                  </a:lnTo>
                  <a:lnTo>
                    <a:pt x="41243" y="143446"/>
                  </a:lnTo>
                  <a:lnTo>
                    <a:pt x="44386" y="143066"/>
                  </a:lnTo>
                  <a:lnTo>
                    <a:pt x="39910" y="145256"/>
                  </a:lnTo>
                  <a:lnTo>
                    <a:pt x="36100" y="140875"/>
                  </a:lnTo>
                  <a:lnTo>
                    <a:pt x="33338" y="144494"/>
                  </a:lnTo>
                  <a:lnTo>
                    <a:pt x="30194" y="144875"/>
                  </a:lnTo>
                  <a:lnTo>
                    <a:pt x="28861" y="146685"/>
                  </a:lnTo>
                  <a:lnTo>
                    <a:pt x="31432" y="154305"/>
                  </a:lnTo>
                  <a:lnTo>
                    <a:pt x="33623" y="158877"/>
                  </a:lnTo>
                  <a:lnTo>
                    <a:pt x="33814" y="173260"/>
                  </a:lnTo>
                  <a:lnTo>
                    <a:pt x="27337" y="172498"/>
                  </a:lnTo>
                  <a:lnTo>
                    <a:pt x="22765" y="174689"/>
                  </a:lnTo>
                  <a:lnTo>
                    <a:pt x="21050" y="173260"/>
                  </a:lnTo>
                  <a:lnTo>
                    <a:pt x="21431" y="176403"/>
                  </a:lnTo>
                  <a:lnTo>
                    <a:pt x="18288" y="176879"/>
                  </a:lnTo>
                  <a:lnTo>
                    <a:pt x="16478" y="175450"/>
                  </a:lnTo>
                  <a:lnTo>
                    <a:pt x="13144" y="174308"/>
                  </a:lnTo>
                  <a:lnTo>
                    <a:pt x="11906" y="177641"/>
                  </a:lnTo>
                  <a:lnTo>
                    <a:pt x="8954" y="179642"/>
                  </a:lnTo>
                  <a:lnTo>
                    <a:pt x="9239" y="181261"/>
                  </a:lnTo>
                  <a:lnTo>
                    <a:pt x="12763" y="183928"/>
                  </a:lnTo>
                  <a:lnTo>
                    <a:pt x="24003" y="184118"/>
                  </a:lnTo>
                  <a:lnTo>
                    <a:pt x="22860" y="187547"/>
                  </a:lnTo>
                  <a:lnTo>
                    <a:pt x="27337" y="185356"/>
                  </a:lnTo>
                  <a:lnTo>
                    <a:pt x="28004" y="190024"/>
                  </a:lnTo>
                  <a:lnTo>
                    <a:pt x="26575" y="191834"/>
                  </a:lnTo>
                  <a:lnTo>
                    <a:pt x="24765" y="190500"/>
                  </a:lnTo>
                  <a:lnTo>
                    <a:pt x="23431" y="192215"/>
                  </a:lnTo>
                  <a:lnTo>
                    <a:pt x="18288" y="189643"/>
                  </a:lnTo>
                  <a:lnTo>
                    <a:pt x="18479" y="191262"/>
                  </a:lnTo>
                  <a:lnTo>
                    <a:pt x="21812" y="192405"/>
                  </a:lnTo>
                  <a:lnTo>
                    <a:pt x="20288" y="192596"/>
                  </a:lnTo>
                  <a:lnTo>
                    <a:pt x="15145" y="190119"/>
                  </a:lnTo>
                  <a:lnTo>
                    <a:pt x="11811" y="188881"/>
                  </a:lnTo>
                  <a:lnTo>
                    <a:pt x="6096" y="194405"/>
                  </a:lnTo>
                  <a:lnTo>
                    <a:pt x="0" y="196787"/>
                  </a:lnTo>
                  <a:lnTo>
                    <a:pt x="5334" y="200977"/>
                  </a:lnTo>
                  <a:lnTo>
                    <a:pt x="5715" y="204121"/>
                  </a:lnTo>
                  <a:lnTo>
                    <a:pt x="7239" y="203930"/>
                  </a:lnTo>
                  <a:lnTo>
                    <a:pt x="8096" y="210217"/>
                  </a:lnTo>
                  <a:lnTo>
                    <a:pt x="11621" y="212979"/>
                  </a:lnTo>
                  <a:lnTo>
                    <a:pt x="13240" y="212789"/>
                  </a:lnTo>
                  <a:lnTo>
                    <a:pt x="11811" y="214598"/>
                  </a:lnTo>
                  <a:lnTo>
                    <a:pt x="14954" y="214122"/>
                  </a:lnTo>
                  <a:lnTo>
                    <a:pt x="15430" y="217265"/>
                  </a:lnTo>
                  <a:lnTo>
                    <a:pt x="20574" y="219837"/>
                  </a:lnTo>
                  <a:lnTo>
                    <a:pt x="25717" y="222409"/>
                  </a:lnTo>
                  <a:lnTo>
                    <a:pt x="27432" y="223838"/>
                  </a:lnTo>
                  <a:lnTo>
                    <a:pt x="31623" y="218504"/>
                  </a:lnTo>
                  <a:lnTo>
                    <a:pt x="39910" y="220599"/>
                  </a:lnTo>
                  <a:lnTo>
                    <a:pt x="38481" y="222409"/>
                  </a:lnTo>
                  <a:lnTo>
                    <a:pt x="36767" y="220980"/>
                  </a:lnTo>
                  <a:lnTo>
                    <a:pt x="40481" y="225362"/>
                  </a:lnTo>
                  <a:lnTo>
                    <a:pt x="43434" y="223361"/>
                  </a:lnTo>
                  <a:lnTo>
                    <a:pt x="48577" y="225933"/>
                  </a:lnTo>
                  <a:lnTo>
                    <a:pt x="44196" y="229648"/>
                  </a:lnTo>
                  <a:lnTo>
                    <a:pt x="41053" y="230029"/>
                  </a:lnTo>
                  <a:lnTo>
                    <a:pt x="43053" y="232981"/>
                  </a:lnTo>
                  <a:lnTo>
                    <a:pt x="46387" y="234220"/>
                  </a:lnTo>
                  <a:lnTo>
                    <a:pt x="49625" y="233839"/>
                  </a:lnTo>
                  <a:lnTo>
                    <a:pt x="49816" y="235363"/>
                  </a:lnTo>
                  <a:lnTo>
                    <a:pt x="51149" y="233648"/>
                  </a:lnTo>
                  <a:lnTo>
                    <a:pt x="52959" y="234982"/>
                  </a:lnTo>
                  <a:lnTo>
                    <a:pt x="58102" y="237554"/>
                  </a:lnTo>
                  <a:lnTo>
                    <a:pt x="65342" y="231839"/>
                  </a:lnTo>
                  <a:lnTo>
                    <a:pt x="67151" y="233172"/>
                  </a:lnTo>
                  <a:lnTo>
                    <a:pt x="67532" y="236315"/>
                  </a:lnTo>
                  <a:lnTo>
                    <a:pt x="69342" y="237744"/>
                  </a:lnTo>
                  <a:lnTo>
                    <a:pt x="66389" y="239649"/>
                  </a:lnTo>
                  <a:lnTo>
                    <a:pt x="67151" y="246031"/>
                  </a:lnTo>
                  <a:lnTo>
                    <a:pt x="70294" y="245555"/>
                  </a:lnTo>
                  <a:lnTo>
                    <a:pt x="73819" y="235553"/>
                  </a:lnTo>
                  <a:lnTo>
                    <a:pt x="75819" y="238506"/>
                  </a:lnTo>
                  <a:lnTo>
                    <a:pt x="74676" y="241840"/>
                  </a:lnTo>
                  <a:lnTo>
                    <a:pt x="77819" y="241459"/>
                  </a:lnTo>
                  <a:lnTo>
                    <a:pt x="76867" y="246412"/>
                  </a:lnTo>
                  <a:lnTo>
                    <a:pt x="77438" y="251079"/>
                  </a:lnTo>
                  <a:lnTo>
                    <a:pt x="76105" y="252889"/>
                  </a:lnTo>
                  <a:lnTo>
                    <a:pt x="68580" y="257080"/>
                  </a:lnTo>
                  <a:lnTo>
                    <a:pt x="68771" y="258604"/>
                  </a:lnTo>
                  <a:lnTo>
                    <a:pt x="70771" y="261556"/>
                  </a:lnTo>
                  <a:lnTo>
                    <a:pt x="79438" y="266890"/>
                  </a:lnTo>
                  <a:lnTo>
                    <a:pt x="98774" y="280416"/>
                  </a:lnTo>
                  <a:lnTo>
                    <a:pt x="100203" y="278702"/>
                  </a:lnTo>
                  <a:lnTo>
                    <a:pt x="103346" y="278225"/>
                  </a:lnTo>
                  <a:lnTo>
                    <a:pt x="105537" y="282797"/>
                  </a:lnTo>
                  <a:lnTo>
                    <a:pt x="106871" y="280988"/>
                  </a:lnTo>
                  <a:lnTo>
                    <a:pt x="108680" y="282416"/>
                  </a:lnTo>
                  <a:lnTo>
                    <a:pt x="110490" y="283750"/>
                  </a:lnTo>
                  <a:lnTo>
                    <a:pt x="109252" y="287179"/>
                  </a:lnTo>
                  <a:lnTo>
                    <a:pt x="112681" y="288322"/>
                  </a:lnTo>
                  <a:lnTo>
                    <a:pt x="115443" y="284798"/>
                  </a:lnTo>
                  <a:lnTo>
                    <a:pt x="119348" y="290703"/>
                  </a:lnTo>
                  <a:lnTo>
                    <a:pt x="116776" y="295847"/>
                  </a:lnTo>
                  <a:lnTo>
                    <a:pt x="118586" y="297180"/>
                  </a:lnTo>
                  <a:lnTo>
                    <a:pt x="117634" y="302133"/>
                  </a:lnTo>
                  <a:lnTo>
                    <a:pt x="119634" y="305086"/>
                  </a:lnTo>
                  <a:lnTo>
                    <a:pt x="116205" y="303943"/>
                  </a:lnTo>
                  <a:lnTo>
                    <a:pt x="111728" y="306038"/>
                  </a:lnTo>
                  <a:lnTo>
                    <a:pt x="107537" y="311372"/>
                  </a:lnTo>
                  <a:lnTo>
                    <a:pt x="117062" y="322993"/>
                  </a:lnTo>
                  <a:lnTo>
                    <a:pt x="118872" y="324422"/>
                  </a:lnTo>
                  <a:lnTo>
                    <a:pt x="120682" y="325755"/>
                  </a:lnTo>
                  <a:lnTo>
                    <a:pt x="121063" y="328898"/>
                  </a:lnTo>
                  <a:lnTo>
                    <a:pt x="119825" y="332327"/>
                  </a:lnTo>
                  <a:lnTo>
                    <a:pt x="118491" y="334042"/>
                  </a:lnTo>
                  <a:lnTo>
                    <a:pt x="114967" y="331280"/>
                  </a:lnTo>
                  <a:lnTo>
                    <a:pt x="115919" y="339185"/>
                  </a:lnTo>
                  <a:lnTo>
                    <a:pt x="114395" y="339376"/>
                  </a:lnTo>
                  <a:lnTo>
                    <a:pt x="113347" y="344329"/>
                  </a:lnTo>
                  <a:lnTo>
                    <a:pt x="111823" y="344519"/>
                  </a:lnTo>
                  <a:lnTo>
                    <a:pt x="112014" y="346139"/>
                  </a:lnTo>
                  <a:lnTo>
                    <a:pt x="106680" y="354806"/>
                  </a:lnTo>
                  <a:lnTo>
                    <a:pt x="110300" y="357569"/>
                  </a:lnTo>
                  <a:lnTo>
                    <a:pt x="107251" y="359569"/>
                  </a:lnTo>
                  <a:lnTo>
                    <a:pt x="98012" y="362331"/>
                  </a:lnTo>
                  <a:lnTo>
                    <a:pt x="96488" y="362522"/>
                  </a:lnTo>
                  <a:lnTo>
                    <a:pt x="96869" y="365665"/>
                  </a:lnTo>
                  <a:lnTo>
                    <a:pt x="96869" y="365665"/>
                  </a:lnTo>
                  <a:lnTo>
                    <a:pt x="95726" y="369094"/>
                  </a:lnTo>
                  <a:lnTo>
                    <a:pt x="100775" y="371570"/>
                  </a:lnTo>
                  <a:lnTo>
                    <a:pt x="100013" y="378143"/>
                  </a:lnTo>
                  <a:lnTo>
                    <a:pt x="99060" y="383095"/>
                  </a:lnTo>
                  <a:lnTo>
                    <a:pt x="100870" y="384429"/>
                  </a:lnTo>
                  <a:lnTo>
                    <a:pt x="100108" y="390906"/>
                  </a:lnTo>
                  <a:lnTo>
                    <a:pt x="98488" y="391192"/>
                  </a:lnTo>
                  <a:lnTo>
                    <a:pt x="96488" y="388239"/>
                  </a:lnTo>
                  <a:lnTo>
                    <a:pt x="93917" y="393287"/>
                  </a:lnTo>
                  <a:lnTo>
                    <a:pt x="97536" y="396049"/>
                  </a:lnTo>
                  <a:lnTo>
                    <a:pt x="98298" y="402431"/>
                  </a:lnTo>
                  <a:lnTo>
                    <a:pt x="95155" y="402812"/>
                  </a:lnTo>
                  <a:lnTo>
                    <a:pt x="105823" y="411099"/>
                  </a:lnTo>
                  <a:lnTo>
                    <a:pt x="110966" y="413576"/>
                  </a:lnTo>
                  <a:lnTo>
                    <a:pt x="114776" y="417957"/>
                  </a:lnTo>
                  <a:lnTo>
                    <a:pt x="118491" y="422243"/>
                  </a:lnTo>
                  <a:lnTo>
                    <a:pt x="122015" y="425006"/>
                  </a:lnTo>
                  <a:lnTo>
                    <a:pt x="128588" y="425768"/>
                  </a:lnTo>
                  <a:lnTo>
                    <a:pt x="137827" y="435864"/>
                  </a:lnTo>
                  <a:lnTo>
                    <a:pt x="142589" y="435293"/>
                  </a:lnTo>
                  <a:lnTo>
                    <a:pt x="142970" y="438436"/>
                  </a:lnTo>
                  <a:lnTo>
                    <a:pt x="144971" y="441389"/>
                  </a:lnTo>
                  <a:lnTo>
                    <a:pt x="151257" y="440531"/>
                  </a:lnTo>
                  <a:lnTo>
                    <a:pt x="150304" y="445484"/>
                  </a:lnTo>
                  <a:lnTo>
                    <a:pt x="150495" y="447103"/>
                  </a:lnTo>
                  <a:lnTo>
                    <a:pt x="154305" y="451390"/>
                  </a:lnTo>
                  <a:lnTo>
                    <a:pt x="157448" y="451009"/>
                  </a:lnTo>
                  <a:lnTo>
                    <a:pt x="159258" y="452342"/>
                  </a:lnTo>
                  <a:lnTo>
                    <a:pt x="162401" y="451961"/>
                  </a:lnTo>
                  <a:lnTo>
                    <a:pt x="160972" y="453771"/>
                  </a:lnTo>
                  <a:lnTo>
                    <a:pt x="163163" y="458248"/>
                  </a:lnTo>
                  <a:lnTo>
                    <a:pt x="160401" y="461867"/>
                  </a:lnTo>
                  <a:lnTo>
                    <a:pt x="162401" y="464820"/>
                  </a:lnTo>
                  <a:lnTo>
                    <a:pt x="163354" y="459867"/>
                  </a:lnTo>
                  <a:lnTo>
                    <a:pt x="163735" y="463010"/>
                  </a:lnTo>
                  <a:lnTo>
                    <a:pt x="166497" y="459486"/>
                  </a:lnTo>
                  <a:lnTo>
                    <a:pt x="168497" y="462439"/>
                  </a:lnTo>
                  <a:lnTo>
                    <a:pt x="171450" y="460439"/>
                  </a:lnTo>
                  <a:lnTo>
                    <a:pt x="174784" y="461582"/>
                  </a:lnTo>
                  <a:lnTo>
                    <a:pt x="181165" y="460819"/>
                  </a:lnTo>
                  <a:lnTo>
                    <a:pt x="181356" y="462344"/>
                  </a:lnTo>
                  <a:lnTo>
                    <a:pt x="184499" y="461963"/>
                  </a:lnTo>
                  <a:lnTo>
                    <a:pt x="184309" y="460439"/>
                  </a:lnTo>
                  <a:lnTo>
                    <a:pt x="189071" y="459772"/>
                  </a:lnTo>
                  <a:lnTo>
                    <a:pt x="188595" y="456628"/>
                  </a:lnTo>
                  <a:lnTo>
                    <a:pt x="194977" y="455867"/>
                  </a:lnTo>
                  <a:lnTo>
                    <a:pt x="193738" y="459200"/>
                  </a:lnTo>
                  <a:lnTo>
                    <a:pt x="197929" y="466725"/>
                  </a:lnTo>
                  <a:lnTo>
                    <a:pt x="199263" y="464915"/>
                  </a:lnTo>
                  <a:lnTo>
                    <a:pt x="201073" y="466249"/>
                  </a:lnTo>
                  <a:lnTo>
                    <a:pt x="207359" y="465487"/>
                  </a:lnTo>
                  <a:lnTo>
                    <a:pt x="207931" y="457390"/>
                  </a:lnTo>
                  <a:lnTo>
                    <a:pt x="210693" y="453866"/>
                  </a:lnTo>
                  <a:lnTo>
                    <a:pt x="214694" y="459772"/>
                  </a:lnTo>
                  <a:lnTo>
                    <a:pt x="216503" y="461105"/>
                  </a:lnTo>
                  <a:lnTo>
                    <a:pt x="219646" y="460724"/>
                  </a:lnTo>
                  <a:lnTo>
                    <a:pt x="219837" y="462344"/>
                  </a:lnTo>
                  <a:lnTo>
                    <a:pt x="227743" y="461296"/>
                  </a:lnTo>
                  <a:lnTo>
                    <a:pt x="229648" y="464248"/>
                  </a:lnTo>
                  <a:lnTo>
                    <a:pt x="226504" y="464630"/>
                  </a:lnTo>
                  <a:lnTo>
                    <a:pt x="226886" y="467773"/>
                  </a:lnTo>
                  <a:lnTo>
                    <a:pt x="230696" y="472154"/>
                  </a:lnTo>
                  <a:lnTo>
                    <a:pt x="235077" y="468344"/>
                  </a:lnTo>
                  <a:lnTo>
                    <a:pt x="235648" y="473107"/>
                  </a:lnTo>
                  <a:lnTo>
                    <a:pt x="240602" y="474059"/>
                  </a:lnTo>
                  <a:lnTo>
                    <a:pt x="244697" y="468725"/>
                  </a:lnTo>
                  <a:lnTo>
                    <a:pt x="243554" y="472059"/>
                  </a:lnTo>
                  <a:lnTo>
                    <a:pt x="246888" y="473297"/>
                  </a:lnTo>
                  <a:lnTo>
                    <a:pt x="247650" y="479584"/>
                  </a:lnTo>
                  <a:lnTo>
                    <a:pt x="249269" y="479393"/>
                  </a:lnTo>
                  <a:lnTo>
                    <a:pt x="251079" y="480727"/>
                  </a:lnTo>
                  <a:lnTo>
                    <a:pt x="252603" y="480536"/>
                  </a:lnTo>
                  <a:lnTo>
                    <a:pt x="251460" y="483965"/>
                  </a:lnTo>
                  <a:lnTo>
                    <a:pt x="249841" y="484156"/>
                  </a:lnTo>
                  <a:lnTo>
                    <a:pt x="251650" y="485489"/>
                  </a:lnTo>
                  <a:lnTo>
                    <a:pt x="253174" y="485299"/>
                  </a:lnTo>
                  <a:lnTo>
                    <a:pt x="253460" y="486918"/>
                  </a:lnTo>
                  <a:lnTo>
                    <a:pt x="256413" y="484918"/>
                  </a:lnTo>
                  <a:lnTo>
                    <a:pt x="258128" y="486251"/>
                  </a:lnTo>
                  <a:lnTo>
                    <a:pt x="260318" y="490823"/>
                  </a:lnTo>
                  <a:lnTo>
                    <a:pt x="258985" y="492633"/>
                  </a:lnTo>
                  <a:lnTo>
                    <a:pt x="267462" y="496348"/>
                  </a:lnTo>
                  <a:lnTo>
                    <a:pt x="267271" y="494728"/>
                  </a:lnTo>
                  <a:lnTo>
                    <a:pt x="276701" y="493490"/>
                  </a:lnTo>
                  <a:lnTo>
                    <a:pt x="282035" y="497681"/>
                  </a:lnTo>
                  <a:lnTo>
                    <a:pt x="286798" y="497015"/>
                  </a:lnTo>
                  <a:lnTo>
                    <a:pt x="291941" y="499586"/>
                  </a:lnTo>
                  <a:lnTo>
                    <a:pt x="291560" y="496443"/>
                  </a:lnTo>
                  <a:lnTo>
                    <a:pt x="296228" y="495872"/>
                  </a:lnTo>
                  <a:lnTo>
                    <a:pt x="293941" y="502539"/>
                  </a:lnTo>
                  <a:lnTo>
                    <a:pt x="290608" y="514255"/>
                  </a:lnTo>
                  <a:lnTo>
                    <a:pt x="292132" y="514064"/>
                  </a:lnTo>
                  <a:lnTo>
                    <a:pt x="291560" y="522065"/>
                  </a:lnTo>
                  <a:lnTo>
                    <a:pt x="293561" y="525113"/>
                  </a:lnTo>
                  <a:lnTo>
                    <a:pt x="296704" y="524637"/>
                  </a:lnTo>
                  <a:lnTo>
                    <a:pt x="301085" y="520922"/>
                  </a:lnTo>
                  <a:lnTo>
                    <a:pt x="302800" y="522256"/>
                  </a:lnTo>
                  <a:lnTo>
                    <a:pt x="302609" y="520732"/>
                  </a:lnTo>
                  <a:lnTo>
                    <a:pt x="305562" y="518732"/>
                  </a:lnTo>
                  <a:lnTo>
                    <a:pt x="309372" y="523018"/>
                  </a:lnTo>
                  <a:lnTo>
                    <a:pt x="313849" y="520827"/>
                  </a:lnTo>
                  <a:lnTo>
                    <a:pt x="315849" y="523875"/>
                  </a:lnTo>
                  <a:lnTo>
                    <a:pt x="320992" y="526352"/>
                  </a:lnTo>
                  <a:lnTo>
                    <a:pt x="321183" y="527971"/>
                  </a:lnTo>
                  <a:lnTo>
                    <a:pt x="324326" y="527590"/>
                  </a:lnTo>
                  <a:lnTo>
                    <a:pt x="330708" y="539591"/>
                  </a:lnTo>
                  <a:lnTo>
                    <a:pt x="342138" y="541306"/>
                  </a:lnTo>
                  <a:lnTo>
                    <a:pt x="344329" y="545878"/>
                  </a:lnTo>
                  <a:lnTo>
                    <a:pt x="350234" y="541877"/>
                  </a:lnTo>
                  <a:lnTo>
                    <a:pt x="354521" y="538163"/>
                  </a:lnTo>
                  <a:lnTo>
                    <a:pt x="354616" y="550926"/>
                  </a:lnTo>
                  <a:lnTo>
                    <a:pt x="350044" y="553117"/>
                  </a:lnTo>
                  <a:lnTo>
                    <a:pt x="343567" y="565214"/>
                  </a:lnTo>
                  <a:lnTo>
                    <a:pt x="349282" y="572453"/>
                  </a:lnTo>
                  <a:lnTo>
                    <a:pt x="348139" y="575882"/>
                  </a:lnTo>
                  <a:lnTo>
                    <a:pt x="358807" y="584073"/>
                  </a:lnTo>
                  <a:lnTo>
                    <a:pt x="366713" y="583120"/>
                  </a:lnTo>
                  <a:lnTo>
                    <a:pt x="377190" y="589788"/>
                  </a:lnTo>
                  <a:lnTo>
                    <a:pt x="382143" y="590740"/>
                  </a:lnTo>
                  <a:lnTo>
                    <a:pt x="382333" y="592360"/>
                  </a:lnTo>
                  <a:lnTo>
                    <a:pt x="384143" y="593693"/>
                  </a:lnTo>
                  <a:lnTo>
                    <a:pt x="393382" y="603790"/>
                  </a:lnTo>
                  <a:lnTo>
                    <a:pt x="396526" y="603314"/>
                  </a:lnTo>
                  <a:lnTo>
                    <a:pt x="399479" y="601409"/>
                  </a:lnTo>
                  <a:lnTo>
                    <a:pt x="404241" y="600742"/>
                  </a:lnTo>
                  <a:lnTo>
                    <a:pt x="409384" y="603314"/>
                  </a:lnTo>
                  <a:lnTo>
                    <a:pt x="414147" y="602742"/>
                  </a:lnTo>
                  <a:lnTo>
                    <a:pt x="413956" y="601123"/>
                  </a:lnTo>
                  <a:lnTo>
                    <a:pt x="421577" y="598551"/>
                  </a:lnTo>
                  <a:lnTo>
                    <a:pt x="416623" y="584740"/>
                  </a:lnTo>
                  <a:lnTo>
                    <a:pt x="428054" y="586549"/>
                  </a:lnTo>
                  <a:lnTo>
                    <a:pt x="429482" y="584740"/>
                  </a:lnTo>
                  <a:lnTo>
                    <a:pt x="431006" y="584549"/>
                  </a:lnTo>
                  <a:lnTo>
                    <a:pt x="428244" y="575215"/>
                  </a:lnTo>
                  <a:lnTo>
                    <a:pt x="430244" y="565404"/>
                  </a:lnTo>
                  <a:lnTo>
                    <a:pt x="445961" y="550545"/>
                  </a:lnTo>
                  <a:lnTo>
                    <a:pt x="446722" y="544068"/>
                  </a:lnTo>
                  <a:lnTo>
                    <a:pt x="451485" y="543401"/>
                  </a:lnTo>
                  <a:lnTo>
                    <a:pt x="453485" y="546354"/>
                  </a:lnTo>
                  <a:lnTo>
                    <a:pt x="456438" y="544449"/>
                  </a:lnTo>
                  <a:lnTo>
                    <a:pt x="455200" y="547783"/>
                  </a:lnTo>
                  <a:lnTo>
                    <a:pt x="453866" y="549593"/>
                  </a:lnTo>
                  <a:lnTo>
                    <a:pt x="456057" y="554069"/>
                  </a:lnTo>
                  <a:lnTo>
                    <a:pt x="454438" y="554260"/>
                  </a:lnTo>
                  <a:lnTo>
                    <a:pt x="455105" y="559022"/>
                  </a:lnTo>
                  <a:lnTo>
                    <a:pt x="464153" y="567499"/>
                  </a:lnTo>
                  <a:lnTo>
                    <a:pt x="469106" y="568452"/>
                  </a:lnTo>
                  <a:lnTo>
                    <a:pt x="473773" y="567881"/>
                  </a:lnTo>
                  <a:lnTo>
                    <a:pt x="475774" y="570833"/>
                  </a:lnTo>
                  <a:lnTo>
                    <a:pt x="482537" y="573119"/>
                  </a:lnTo>
                  <a:lnTo>
                    <a:pt x="484251" y="574548"/>
                  </a:lnTo>
                  <a:lnTo>
                    <a:pt x="486823" y="569405"/>
                  </a:lnTo>
                  <a:lnTo>
                    <a:pt x="490252" y="570548"/>
                  </a:lnTo>
                  <a:lnTo>
                    <a:pt x="493395" y="570167"/>
                  </a:lnTo>
                  <a:lnTo>
                    <a:pt x="498538" y="572738"/>
                  </a:lnTo>
                  <a:lnTo>
                    <a:pt x="500063" y="572548"/>
                  </a:lnTo>
                  <a:lnTo>
                    <a:pt x="503872" y="576834"/>
                  </a:lnTo>
                  <a:lnTo>
                    <a:pt x="507397" y="579596"/>
                  </a:lnTo>
                  <a:lnTo>
                    <a:pt x="507587" y="581215"/>
                  </a:lnTo>
                  <a:lnTo>
                    <a:pt x="513112" y="586931"/>
                  </a:lnTo>
                  <a:lnTo>
                    <a:pt x="516541" y="600932"/>
                  </a:lnTo>
                  <a:lnTo>
                    <a:pt x="522065" y="606647"/>
                  </a:lnTo>
                  <a:lnTo>
                    <a:pt x="526161" y="601313"/>
                  </a:lnTo>
                  <a:lnTo>
                    <a:pt x="529590" y="602456"/>
                  </a:lnTo>
                  <a:lnTo>
                    <a:pt x="529399" y="600837"/>
                  </a:lnTo>
                  <a:lnTo>
                    <a:pt x="539210" y="602837"/>
                  </a:lnTo>
                  <a:lnTo>
                    <a:pt x="548069" y="596836"/>
                  </a:lnTo>
                  <a:lnTo>
                    <a:pt x="551879" y="601218"/>
                  </a:lnTo>
                  <a:lnTo>
                    <a:pt x="555784" y="607124"/>
                  </a:lnTo>
                  <a:lnTo>
                    <a:pt x="554641" y="610457"/>
                  </a:lnTo>
                  <a:lnTo>
                    <a:pt x="557974" y="611695"/>
                  </a:lnTo>
                  <a:lnTo>
                    <a:pt x="562356" y="607886"/>
                  </a:lnTo>
                  <a:lnTo>
                    <a:pt x="568642" y="607124"/>
                  </a:lnTo>
                  <a:lnTo>
                    <a:pt x="572357" y="611410"/>
                  </a:lnTo>
                  <a:lnTo>
                    <a:pt x="579501" y="616934"/>
                  </a:lnTo>
                  <a:lnTo>
                    <a:pt x="582644" y="616553"/>
                  </a:lnTo>
                  <a:lnTo>
                    <a:pt x="583692" y="611600"/>
                  </a:lnTo>
                  <a:lnTo>
                    <a:pt x="586835" y="611219"/>
                  </a:lnTo>
                  <a:lnTo>
                    <a:pt x="589216" y="617315"/>
                  </a:lnTo>
                  <a:lnTo>
                    <a:pt x="594550" y="621411"/>
                  </a:lnTo>
                  <a:lnTo>
                    <a:pt x="594931" y="624554"/>
                  </a:lnTo>
                  <a:lnTo>
                    <a:pt x="599694" y="623983"/>
                  </a:lnTo>
                  <a:lnTo>
                    <a:pt x="601408" y="625316"/>
                  </a:lnTo>
                  <a:lnTo>
                    <a:pt x="602837" y="623602"/>
                  </a:lnTo>
                  <a:lnTo>
                    <a:pt x="609695" y="627507"/>
                  </a:lnTo>
                  <a:lnTo>
                    <a:pt x="617982" y="629698"/>
                  </a:lnTo>
                  <a:lnTo>
                    <a:pt x="621792" y="633984"/>
                  </a:lnTo>
                  <a:lnTo>
                    <a:pt x="631507" y="647224"/>
                  </a:lnTo>
                  <a:lnTo>
                    <a:pt x="637222" y="654463"/>
                  </a:lnTo>
                  <a:lnTo>
                    <a:pt x="642366" y="657035"/>
                  </a:lnTo>
                  <a:lnTo>
                    <a:pt x="640366" y="666940"/>
                  </a:lnTo>
                  <a:lnTo>
                    <a:pt x="647129" y="669227"/>
                  </a:lnTo>
                  <a:lnTo>
                    <a:pt x="650653" y="671989"/>
                  </a:lnTo>
                  <a:lnTo>
                    <a:pt x="653034" y="678085"/>
                  </a:lnTo>
                  <a:lnTo>
                    <a:pt x="657987" y="679132"/>
                  </a:lnTo>
                  <a:lnTo>
                    <a:pt x="661130" y="678656"/>
                  </a:lnTo>
                  <a:lnTo>
                    <a:pt x="663702" y="673513"/>
                  </a:lnTo>
                  <a:lnTo>
                    <a:pt x="670846" y="679037"/>
                  </a:lnTo>
                  <a:lnTo>
                    <a:pt x="673798" y="677037"/>
                  </a:lnTo>
                  <a:lnTo>
                    <a:pt x="682657" y="683990"/>
                  </a:lnTo>
                  <a:lnTo>
                    <a:pt x="688943" y="683133"/>
                  </a:lnTo>
                  <a:lnTo>
                    <a:pt x="695706" y="685514"/>
                  </a:lnTo>
                  <a:lnTo>
                    <a:pt x="698087" y="691610"/>
                  </a:lnTo>
                  <a:lnTo>
                    <a:pt x="703802" y="698945"/>
                  </a:lnTo>
                  <a:lnTo>
                    <a:pt x="710184" y="698087"/>
                  </a:lnTo>
                  <a:lnTo>
                    <a:pt x="715708" y="703802"/>
                  </a:lnTo>
                  <a:lnTo>
                    <a:pt x="716280" y="708565"/>
                  </a:lnTo>
                  <a:lnTo>
                    <a:pt x="725996" y="721709"/>
                  </a:lnTo>
                  <a:lnTo>
                    <a:pt x="729329" y="722948"/>
                  </a:lnTo>
                  <a:lnTo>
                    <a:pt x="733330" y="728853"/>
                  </a:lnTo>
                  <a:lnTo>
                    <a:pt x="738378" y="731425"/>
                  </a:lnTo>
                  <a:lnTo>
                    <a:pt x="737616" y="725043"/>
                  </a:lnTo>
                  <a:lnTo>
                    <a:pt x="746284" y="717518"/>
                  </a:lnTo>
                  <a:lnTo>
                    <a:pt x="743712" y="709898"/>
                  </a:lnTo>
                  <a:lnTo>
                    <a:pt x="744664" y="704945"/>
                  </a:lnTo>
                  <a:lnTo>
                    <a:pt x="751427" y="707327"/>
                  </a:lnTo>
                  <a:lnTo>
                    <a:pt x="755904" y="705136"/>
                  </a:lnTo>
                  <a:lnTo>
                    <a:pt x="758476" y="699992"/>
                  </a:lnTo>
                  <a:lnTo>
                    <a:pt x="760286" y="701326"/>
                  </a:lnTo>
                  <a:lnTo>
                    <a:pt x="761809" y="701135"/>
                  </a:lnTo>
                  <a:lnTo>
                    <a:pt x="766953" y="703707"/>
                  </a:lnTo>
                  <a:lnTo>
                    <a:pt x="765048" y="713613"/>
                  </a:lnTo>
                  <a:lnTo>
                    <a:pt x="768191" y="713137"/>
                  </a:lnTo>
                  <a:lnTo>
                    <a:pt x="771144" y="711232"/>
                  </a:lnTo>
                  <a:lnTo>
                    <a:pt x="774287" y="710756"/>
                  </a:lnTo>
                  <a:lnTo>
                    <a:pt x="777240" y="708851"/>
                  </a:lnTo>
                  <a:lnTo>
                    <a:pt x="783812" y="709613"/>
                  </a:lnTo>
                  <a:lnTo>
                    <a:pt x="793813" y="700278"/>
                  </a:lnTo>
                  <a:lnTo>
                    <a:pt x="796957" y="699897"/>
                  </a:lnTo>
                  <a:lnTo>
                    <a:pt x="804481" y="708565"/>
                  </a:lnTo>
                  <a:lnTo>
                    <a:pt x="806291" y="709898"/>
                  </a:lnTo>
                  <a:lnTo>
                    <a:pt x="809244" y="707898"/>
                  </a:lnTo>
                  <a:lnTo>
                    <a:pt x="810958" y="709327"/>
                  </a:lnTo>
                  <a:lnTo>
                    <a:pt x="814388" y="710470"/>
                  </a:lnTo>
                  <a:lnTo>
                    <a:pt x="813911" y="707327"/>
                  </a:lnTo>
                  <a:lnTo>
                    <a:pt x="826961" y="708851"/>
                  </a:lnTo>
                  <a:lnTo>
                    <a:pt x="829913" y="706945"/>
                  </a:lnTo>
                  <a:lnTo>
                    <a:pt x="830294" y="710089"/>
                  </a:lnTo>
                  <a:lnTo>
                    <a:pt x="833247" y="708089"/>
                  </a:lnTo>
                  <a:lnTo>
                    <a:pt x="832866" y="704945"/>
                  </a:lnTo>
                  <a:lnTo>
                    <a:pt x="830485" y="698849"/>
                  </a:lnTo>
                  <a:lnTo>
                    <a:pt x="834390" y="691896"/>
                  </a:lnTo>
                  <a:lnTo>
                    <a:pt x="834199" y="690277"/>
                  </a:lnTo>
                  <a:lnTo>
                    <a:pt x="835628" y="688562"/>
                  </a:lnTo>
                  <a:lnTo>
                    <a:pt x="834962" y="683800"/>
                  </a:lnTo>
                  <a:lnTo>
                    <a:pt x="834009" y="675894"/>
                  </a:lnTo>
                  <a:lnTo>
                    <a:pt x="838105" y="670560"/>
                  </a:lnTo>
                  <a:lnTo>
                    <a:pt x="837724" y="667417"/>
                  </a:lnTo>
                  <a:lnTo>
                    <a:pt x="840677" y="665417"/>
                  </a:lnTo>
                  <a:lnTo>
                    <a:pt x="845439" y="664845"/>
                  </a:lnTo>
                  <a:lnTo>
                    <a:pt x="848963" y="667607"/>
                  </a:lnTo>
                  <a:lnTo>
                    <a:pt x="850582" y="667417"/>
                  </a:lnTo>
                  <a:lnTo>
                    <a:pt x="854869" y="663607"/>
                  </a:lnTo>
                  <a:lnTo>
                    <a:pt x="855536" y="668369"/>
                  </a:lnTo>
                  <a:lnTo>
                    <a:pt x="862394" y="672274"/>
                  </a:lnTo>
                  <a:lnTo>
                    <a:pt x="866775" y="668560"/>
                  </a:lnTo>
                  <a:lnTo>
                    <a:pt x="871919" y="671132"/>
                  </a:lnTo>
                  <a:lnTo>
                    <a:pt x="875252" y="672274"/>
                  </a:lnTo>
                  <a:lnTo>
                    <a:pt x="875252" y="672274"/>
                  </a:lnTo>
                  <a:lnTo>
                    <a:pt x="883158" y="671227"/>
                  </a:lnTo>
                  <a:lnTo>
                    <a:pt x="882872" y="669703"/>
                  </a:lnTo>
                  <a:lnTo>
                    <a:pt x="886111" y="669322"/>
                  </a:lnTo>
                  <a:lnTo>
                    <a:pt x="884111" y="666369"/>
                  </a:lnTo>
                  <a:lnTo>
                    <a:pt x="885063" y="661416"/>
                  </a:lnTo>
                  <a:lnTo>
                    <a:pt x="886682" y="661226"/>
                  </a:lnTo>
                  <a:lnTo>
                    <a:pt x="896683" y="664750"/>
                  </a:lnTo>
                  <a:lnTo>
                    <a:pt x="909352" y="675894"/>
                  </a:lnTo>
                  <a:lnTo>
                    <a:pt x="914876" y="668845"/>
                  </a:lnTo>
                  <a:lnTo>
                    <a:pt x="921639" y="671132"/>
                  </a:lnTo>
                  <a:lnTo>
                    <a:pt x="921163" y="667988"/>
                  </a:lnTo>
                  <a:lnTo>
                    <a:pt x="917829" y="666845"/>
                  </a:lnTo>
                  <a:lnTo>
                    <a:pt x="919258" y="665036"/>
                  </a:lnTo>
                  <a:lnTo>
                    <a:pt x="927925" y="670370"/>
                  </a:lnTo>
                  <a:lnTo>
                    <a:pt x="931259" y="671513"/>
                  </a:lnTo>
                  <a:lnTo>
                    <a:pt x="932688" y="669798"/>
                  </a:lnTo>
                  <a:lnTo>
                    <a:pt x="936022" y="670941"/>
                  </a:lnTo>
                  <a:lnTo>
                    <a:pt x="941927" y="666940"/>
                  </a:lnTo>
                  <a:lnTo>
                    <a:pt x="939165" y="670560"/>
                  </a:lnTo>
                  <a:lnTo>
                    <a:pt x="953929" y="673418"/>
                  </a:lnTo>
                  <a:lnTo>
                    <a:pt x="956310" y="679609"/>
                  </a:lnTo>
                  <a:lnTo>
                    <a:pt x="959739" y="680752"/>
                  </a:lnTo>
                  <a:lnTo>
                    <a:pt x="961263" y="680561"/>
                  </a:lnTo>
                  <a:lnTo>
                    <a:pt x="980027" y="689420"/>
                  </a:lnTo>
                  <a:lnTo>
                    <a:pt x="983361" y="690563"/>
                  </a:lnTo>
                  <a:lnTo>
                    <a:pt x="995458" y="697040"/>
                  </a:lnTo>
                  <a:lnTo>
                    <a:pt x="1002411" y="700945"/>
                  </a:lnTo>
                  <a:lnTo>
                    <a:pt x="1016413" y="697611"/>
                  </a:lnTo>
                  <a:lnTo>
                    <a:pt x="1014031" y="691515"/>
                  </a:lnTo>
                  <a:lnTo>
                    <a:pt x="1016984" y="689515"/>
                  </a:lnTo>
                  <a:lnTo>
                    <a:pt x="1018127" y="686086"/>
                  </a:lnTo>
                  <a:lnTo>
                    <a:pt x="1014413" y="681799"/>
                  </a:lnTo>
                  <a:lnTo>
                    <a:pt x="1018699" y="678085"/>
                  </a:lnTo>
                  <a:lnTo>
                    <a:pt x="1019270" y="669989"/>
                  </a:lnTo>
                  <a:lnTo>
                    <a:pt x="1020794" y="669798"/>
                  </a:lnTo>
                  <a:lnTo>
                    <a:pt x="1022032" y="666369"/>
                  </a:lnTo>
                  <a:lnTo>
                    <a:pt x="1021652" y="663226"/>
                  </a:lnTo>
                  <a:lnTo>
                    <a:pt x="1023366" y="664655"/>
                  </a:lnTo>
                  <a:lnTo>
                    <a:pt x="1023842" y="667798"/>
                  </a:lnTo>
                  <a:lnTo>
                    <a:pt x="1027366" y="670560"/>
                  </a:lnTo>
                  <a:lnTo>
                    <a:pt x="1028700" y="668750"/>
                  </a:lnTo>
                  <a:lnTo>
                    <a:pt x="1021461" y="661702"/>
                  </a:lnTo>
                  <a:lnTo>
                    <a:pt x="1015460" y="652844"/>
                  </a:lnTo>
                  <a:lnTo>
                    <a:pt x="1014698" y="646462"/>
                  </a:lnTo>
                  <a:lnTo>
                    <a:pt x="1016032" y="644747"/>
                  </a:lnTo>
                  <a:lnTo>
                    <a:pt x="1014413" y="632079"/>
                  </a:lnTo>
                  <a:lnTo>
                    <a:pt x="1019175" y="631507"/>
                  </a:lnTo>
                  <a:lnTo>
                    <a:pt x="1018604" y="626745"/>
                  </a:lnTo>
                  <a:lnTo>
                    <a:pt x="1022699" y="621411"/>
                  </a:lnTo>
                  <a:lnTo>
                    <a:pt x="1029176" y="622173"/>
                  </a:lnTo>
                  <a:lnTo>
                    <a:pt x="1030605" y="620363"/>
                  </a:lnTo>
                  <a:lnTo>
                    <a:pt x="1031938" y="618649"/>
                  </a:lnTo>
                  <a:lnTo>
                    <a:pt x="1029748" y="614077"/>
                  </a:lnTo>
                  <a:lnTo>
                    <a:pt x="1035939" y="611695"/>
                  </a:lnTo>
                  <a:lnTo>
                    <a:pt x="1039082" y="611315"/>
                  </a:lnTo>
                  <a:lnTo>
                    <a:pt x="1044607" y="604171"/>
                  </a:lnTo>
                  <a:lnTo>
                    <a:pt x="1042225" y="598075"/>
                  </a:lnTo>
                  <a:lnTo>
                    <a:pt x="1044702" y="580073"/>
                  </a:lnTo>
                  <a:lnTo>
                    <a:pt x="1044130" y="575405"/>
                  </a:lnTo>
                  <a:lnTo>
                    <a:pt x="1041178" y="577310"/>
                  </a:lnTo>
                  <a:lnTo>
                    <a:pt x="1040702" y="574167"/>
                  </a:lnTo>
                  <a:lnTo>
                    <a:pt x="1038987" y="572834"/>
                  </a:lnTo>
                  <a:lnTo>
                    <a:pt x="1042702" y="564356"/>
                  </a:lnTo>
                  <a:lnTo>
                    <a:pt x="1043464" y="557784"/>
                  </a:lnTo>
                  <a:lnTo>
                    <a:pt x="1036511" y="553879"/>
                  </a:lnTo>
                  <a:lnTo>
                    <a:pt x="1032605" y="547973"/>
                  </a:lnTo>
                  <a:lnTo>
                    <a:pt x="1026319" y="548735"/>
                  </a:lnTo>
                  <a:lnTo>
                    <a:pt x="1021747" y="550926"/>
                  </a:lnTo>
                  <a:lnTo>
                    <a:pt x="1019937" y="549593"/>
                  </a:lnTo>
                  <a:lnTo>
                    <a:pt x="1019365" y="544830"/>
                  </a:lnTo>
                  <a:lnTo>
                    <a:pt x="1014603" y="545497"/>
                  </a:lnTo>
                  <a:lnTo>
                    <a:pt x="1013650" y="550355"/>
                  </a:lnTo>
                  <a:lnTo>
                    <a:pt x="1008888" y="551021"/>
                  </a:lnTo>
                  <a:lnTo>
                    <a:pt x="1005745" y="551402"/>
                  </a:lnTo>
                  <a:lnTo>
                    <a:pt x="1003554" y="546830"/>
                  </a:lnTo>
                  <a:lnTo>
                    <a:pt x="1007936" y="543115"/>
                  </a:lnTo>
                  <a:lnTo>
                    <a:pt x="1011841" y="536162"/>
                  </a:lnTo>
                  <a:lnTo>
                    <a:pt x="1014984" y="535781"/>
                  </a:lnTo>
                  <a:lnTo>
                    <a:pt x="1018699" y="527304"/>
                  </a:lnTo>
                  <a:lnTo>
                    <a:pt x="1013555" y="524732"/>
                  </a:lnTo>
                  <a:lnTo>
                    <a:pt x="1004316" y="514731"/>
                  </a:lnTo>
                  <a:lnTo>
                    <a:pt x="1004125" y="513112"/>
                  </a:lnTo>
                  <a:lnTo>
                    <a:pt x="1008602" y="510921"/>
                  </a:lnTo>
                  <a:lnTo>
                    <a:pt x="1008412" y="509397"/>
                  </a:lnTo>
                  <a:lnTo>
                    <a:pt x="1008031" y="506159"/>
                  </a:lnTo>
                  <a:lnTo>
                    <a:pt x="1010983" y="504253"/>
                  </a:lnTo>
                  <a:lnTo>
                    <a:pt x="1006983" y="498348"/>
                  </a:lnTo>
                  <a:lnTo>
                    <a:pt x="1002125" y="497300"/>
                  </a:lnTo>
                  <a:lnTo>
                    <a:pt x="996791" y="493205"/>
                  </a:lnTo>
                  <a:lnTo>
                    <a:pt x="985075" y="477012"/>
                  </a:lnTo>
                  <a:lnTo>
                    <a:pt x="976979" y="463677"/>
                  </a:lnTo>
                  <a:lnTo>
                    <a:pt x="979265" y="456914"/>
                  </a:lnTo>
                  <a:lnTo>
                    <a:pt x="976884" y="450818"/>
                  </a:lnTo>
                  <a:lnTo>
                    <a:pt x="979646" y="447294"/>
                  </a:lnTo>
                  <a:lnTo>
                    <a:pt x="974503" y="444722"/>
                  </a:lnTo>
                  <a:lnTo>
                    <a:pt x="972598" y="441769"/>
                  </a:lnTo>
                  <a:lnTo>
                    <a:pt x="968978" y="439007"/>
                  </a:lnTo>
                  <a:lnTo>
                    <a:pt x="968788" y="437388"/>
                  </a:lnTo>
                  <a:lnTo>
                    <a:pt x="963835" y="436436"/>
                  </a:lnTo>
                  <a:lnTo>
                    <a:pt x="961263" y="428720"/>
                  </a:lnTo>
                  <a:lnTo>
                    <a:pt x="965168" y="421862"/>
                  </a:lnTo>
                  <a:lnTo>
                    <a:pt x="961644" y="419100"/>
                  </a:lnTo>
                  <a:lnTo>
                    <a:pt x="962406" y="412623"/>
                  </a:lnTo>
                  <a:lnTo>
                    <a:pt x="962406" y="399764"/>
                  </a:lnTo>
                  <a:lnTo>
                    <a:pt x="965168" y="396240"/>
                  </a:lnTo>
                  <a:lnTo>
                    <a:pt x="971074" y="392240"/>
                  </a:lnTo>
                  <a:lnTo>
                    <a:pt x="974217" y="391859"/>
                  </a:lnTo>
                  <a:lnTo>
                    <a:pt x="983075" y="385858"/>
                  </a:lnTo>
                  <a:lnTo>
                    <a:pt x="981265" y="384524"/>
                  </a:lnTo>
                  <a:lnTo>
                    <a:pt x="984218" y="382524"/>
                  </a:lnTo>
                  <a:lnTo>
                    <a:pt x="977551" y="380143"/>
                  </a:lnTo>
                  <a:lnTo>
                    <a:pt x="976503" y="372332"/>
                  </a:lnTo>
                  <a:lnTo>
                    <a:pt x="970216" y="360236"/>
                  </a:lnTo>
                  <a:lnTo>
                    <a:pt x="974122" y="353378"/>
                  </a:lnTo>
                  <a:lnTo>
                    <a:pt x="972122" y="350425"/>
                  </a:lnTo>
                  <a:lnTo>
                    <a:pt x="971359" y="344043"/>
                  </a:lnTo>
                  <a:lnTo>
                    <a:pt x="973931" y="338995"/>
                  </a:lnTo>
                  <a:lnTo>
                    <a:pt x="971740" y="334423"/>
                  </a:lnTo>
                  <a:lnTo>
                    <a:pt x="974217" y="329279"/>
                  </a:lnTo>
                  <a:lnTo>
                    <a:pt x="965740" y="325565"/>
                  </a:lnTo>
                  <a:lnTo>
                    <a:pt x="969455" y="317087"/>
                  </a:lnTo>
                  <a:lnTo>
                    <a:pt x="962597" y="313087"/>
                  </a:lnTo>
                  <a:lnTo>
                    <a:pt x="961168" y="302133"/>
                  </a:lnTo>
                  <a:lnTo>
                    <a:pt x="956024" y="299561"/>
                  </a:lnTo>
                  <a:lnTo>
                    <a:pt x="955453" y="294799"/>
                  </a:lnTo>
                  <a:lnTo>
                    <a:pt x="955834" y="285083"/>
                  </a:lnTo>
                  <a:lnTo>
                    <a:pt x="957929" y="276797"/>
                  </a:lnTo>
                  <a:lnTo>
                    <a:pt x="952405" y="271082"/>
                  </a:lnTo>
                  <a:lnTo>
                    <a:pt x="953357" y="266224"/>
                  </a:lnTo>
                  <a:lnTo>
                    <a:pt x="949452" y="260318"/>
                  </a:lnTo>
                  <a:lnTo>
                    <a:pt x="944118" y="256127"/>
                  </a:lnTo>
                  <a:lnTo>
                    <a:pt x="940308" y="238982"/>
                  </a:lnTo>
                  <a:lnTo>
                    <a:pt x="946404" y="236601"/>
                  </a:lnTo>
                  <a:lnTo>
                    <a:pt x="959453" y="238125"/>
                  </a:lnTo>
                  <a:lnTo>
                    <a:pt x="965168" y="245459"/>
                  </a:lnTo>
                  <a:lnTo>
                    <a:pt x="969740" y="243269"/>
                  </a:lnTo>
                  <a:lnTo>
                    <a:pt x="969550" y="241649"/>
                  </a:lnTo>
                  <a:lnTo>
                    <a:pt x="973455" y="234791"/>
                  </a:lnTo>
                  <a:lnTo>
                    <a:pt x="977741" y="230981"/>
                  </a:lnTo>
                  <a:lnTo>
                    <a:pt x="978980" y="227648"/>
                  </a:lnTo>
                  <a:lnTo>
                    <a:pt x="978122" y="221361"/>
                  </a:lnTo>
                  <a:lnTo>
                    <a:pt x="979361" y="218027"/>
                  </a:lnTo>
                  <a:lnTo>
                    <a:pt x="984218" y="218980"/>
                  </a:lnTo>
                  <a:lnTo>
                    <a:pt x="986599" y="212217"/>
                  </a:lnTo>
                  <a:lnTo>
                    <a:pt x="995648" y="207836"/>
                  </a:lnTo>
                  <a:lnTo>
                    <a:pt x="996887" y="204502"/>
                  </a:lnTo>
                  <a:lnTo>
                    <a:pt x="1004697" y="203549"/>
                  </a:lnTo>
                  <a:lnTo>
                    <a:pt x="1005935" y="200120"/>
                  </a:lnTo>
                  <a:lnTo>
                    <a:pt x="1005554" y="196977"/>
                  </a:lnTo>
                  <a:lnTo>
                    <a:pt x="1006507" y="192024"/>
                  </a:lnTo>
                  <a:lnTo>
                    <a:pt x="1012412" y="188119"/>
                  </a:lnTo>
                  <a:lnTo>
                    <a:pt x="1004697" y="177832"/>
                  </a:lnTo>
                  <a:lnTo>
                    <a:pt x="1008602" y="170974"/>
                  </a:lnTo>
                  <a:lnTo>
                    <a:pt x="997744" y="161068"/>
                  </a:lnTo>
                  <a:lnTo>
                    <a:pt x="1000315" y="155924"/>
                  </a:lnTo>
                  <a:lnTo>
                    <a:pt x="1007173" y="147066"/>
                  </a:lnTo>
                  <a:lnTo>
                    <a:pt x="1014508" y="141351"/>
                  </a:lnTo>
                  <a:lnTo>
                    <a:pt x="1010698" y="136969"/>
                  </a:lnTo>
                  <a:lnTo>
                    <a:pt x="1009936" y="130683"/>
                  </a:lnTo>
                  <a:lnTo>
                    <a:pt x="1003363" y="117062"/>
                  </a:lnTo>
                  <a:lnTo>
                    <a:pt x="1001363" y="114110"/>
                  </a:lnTo>
                  <a:lnTo>
                    <a:pt x="1002792" y="112395"/>
                  </a:lnTo>
                  <a:lnTo>
                    <a:pt x="1010603" y="111347"/>
                  </a:lnTo>
                  <a:lnTo>
                    <a:pt x="1016317" y="105823"/>
                  </a:lnTo>
                  <a:lnTo>
                    <a:pt x="1014508" y="91631"/>
                  </a:lnTo>
                  <a:lnTo>
                    <a:pt x="1017651" y="91250"/>
                  </a:lnTo>
                  <a:lnTo>
                    <a:pt x="1018318" y="95917"/>
                  </a:lnTo>
                  <a:lnTo>
                    <a:pt x="1019842" y="95726"/>
                  </a:lnTo>
                  <a:lnTo>
                    <a:pt x="1022223" y="89059"/>
                  </a:lnTo>
                  <a:lnTo>
                    <a:pt x="1021461" y="82677"/>
                  </a:lnTo>
                  <a:lnTo>
                    <a:pt x="1023366" y="72866"/>
                  </a:lnTo>
                  <a:lnTo>
                    <a:pt x="1026128" y="69247"/>
                  </a:lnTo>
                  <a:lnTo>
                    <a:pt x="1026700" y="61246"/>
                  </a:lnTo>
                  <a:lnTo>
                    <a:pt x="1030414" y="52673"/>
                  </a:lnTo>
                  <a:lnTo>
                    <a:pt x="1031177" y="46196"/>
                  </a:lnTo>
                  <a:lnTo>
                    <a:pt x="1038511" y="40481"/>
                  </a:lnTo>
                  <a:lnTo>
                    <a:pt x="1041082" y="35338"/>
                  </a:lnTo>
                  <a:lnTo>
                    <a:pt x="1040035" y="27432"/>
                  </a:lnTo>
                  <a:lnTo>
                    <a:pt x="1040987" y="22479"/>
                  </a:lnTo>
                  <a:lnTo>
                    <a:pt x="1038797" y="17907"/>
                  </a:lnTo>
                  <a:lnTo>
                    <a:pt x="1038797" y="17907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14" name="Volný tvar: obrazec 13">
              <a:extLst>
                <a:ext uri="{FF2B5EF4-FFF2-40B4-BE49-F238E27FC236}">
                  <a16:creationId xmlns:a16="http://schemas.microsoft.com/office/drawing/2014/main" id="{599E658A-DFCA-93E1-E387-4863816139E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243286" y="2823209"/>
              <a:ext cx="1216913" cy="1049655"/>
            </a:xfrm>
            <a:custGeom>
              <a:avLst/>
              <a:gdLst>
                <a:gd name="connsiteX0" fmla="*/ 1209770 w 1216913"/>
                <a:gd name="connsiteY0" fmla="*/ 853249 h 1049655"/>
                <a:gd name="connsiteX1" fmla="*/ 1205674 w 1216913"/>
                <a:gd name="connsiteY1" fmla="*/ 845725 h 1049655"/>
                <a:gd name="connsiteX2" fmla="*/ 1200912 w 1216913"/>
                <a:gd name="connsiteY2" fmla="*/ 846296 h 1049655"/>
                <a:gd name="connsiteX3" fmla="*/ 1200722 w 1216913"/>
                <a:gd name="connsiteY3" fmla="*/ 844772 h 1049655"/>
                <a:gd name="connsiteX4" fmla="*/ 1199674 w 1216913"/>
                <a:gd name="connsiteY4" fmla="*/ 836866 h 1049655"/>
                <a:gd name="connsiteX5" fmla="*/ 1195959 w 1216913"/>
                <a:gd name="connsiteY5" fmla="*/ 832580 h 1049655"/>
                <a:gd name="connsiteX6" fmla="*/ 1196911 w 1216913"/>
                <a:gd name="connsiteY6" fmla="*/ 827627 h 1049655"/>
                <a:gd name="connsiteX7" fmla="*/ 1194340 w 1216913"/>
                <a:gd name="connsiteY7" fmla="*/ 819912 h 1049655"/>
                <a:gd name="connsiteX8" fmla="*/ 1197292 w 1216913"/>
                <a:gd name="connsiteY8" fmla="*/ 817912 h 1049655"/>
                <a:gd name="connsiteX9" fmla="*/ 1199007 w 1216913"/>
                <a:gd name="connsiteY9" fmla="*/ 806482 h 1049655"/>
                <a:gd name="connsiteX10" fmla="*/ 1192721 w 1216913"/>
                <a:gd name="connsiteY10" fmla="*/ 807244 h 1049655"/>
                <a:gd name="connsiteX11" fmla="*/ 1190911 w 1216913"/>
                <a:gd name="connsiteY11" fmla="*/ 805910 h 1049655"/>
                <a:gd name="connsiteX12" fmla="*/ 1187958 w 1216913"/>
                <a:gd name="connsiteY12" fmla="*/ 795052 h 1049655"/>
                <a:gd name="connsiteX13" fmla="*/ 1188530 w 1216913"/>
                <a:gd name="connsiteY13" fmla="*/ 786956 h 1049655"/>
                <a:gd name="connsiteX14" fmla="*/ 1183005 w 1216913"/>
                <a:gd name="connsiteY14" fmla="*/ 781240 h 1049655"/>
                <a:gd name="connsiteX15" fmla="*/ 1185577 w 1216913"/>
                <a:gd name="connsiteY15" fmla="*/ 776097 h 1049655"/>
                <a:gd name="connsiteX16" fmla="*/ 1181005 w 1216913"/>
                <a:gd name="connsiteY16" fmla="*/ 765524 h 1049655"/>
                <a:gd name="connsiteX17" fmla="*/ 1179195 w 1216913"/>
                <a:gd name="connsiteY17" fmla="*/ 764095 h 1049655"/>
                <a:gd name="connsiteX18" fmla="*/ 1178433 w 1216913"/>
                <a:gd name="connsiteY18" fmla="*/ 757809 h 1049655"/>
                <a:gd name="connsiteX19" fmla="*/ 1173671 w 1216913"/>
                <a:gd name="connsiteY19" fmla="*/ 745617 h 1049655"/>
                <a:gd name="connsiteX20" fmla="*/ 1174432 w 1216913"/>
                <a:gd name="connsiteY20" fmla="*/ 739045 h 1049655"/>
                <a:gd name="connsiteX21" fmla="*/ 1173004 w 1216913"/>
                <a:gd name="connsiteY21" fmla="*/ 727996 h 1049655"/>
                <a:gd name="connsiteX22" fmla="*/ 1173766 w 1216913"/>
                <a:gd name="connsiteY22" fmla="*/ 721519 h 1049655"/>
                <a:gd name="connsiteX23" fmla="*/ 1171194 w 1216913"/>
                <a:gd name="connsiteY23" fmla="*/ 713803 h 1049655"/>
                <a:gd name="connsiteX24" fmla="*/ 1169384 w 1216913"/>
                <a:gd name="connsiteY24" fmla="*/ 712470 h 1049655"/>
                <a:gd name="connsiteX25" fmla="*/ 1163098 w 1216913"/>
                <a:gd name="connsiteY25" fmla="*/ 713232 h 1049655"/>
                <a:gd name="connsiteX26" fmla="*/ 1152620 w 1216913"/>
                <a:gd name="connsiteY26" fmla="*/ 706565 h 1049655"/>
                <a:gd name="connsiteX27" fmla="*/ 1143381 w 1216913"/>
                <a:gd name="connsiteY27" fmla="*/ 709327 h 1049655"/>
                <a:gd name="connsiteX28" fmla="*/ 1141571 w 1216913"/>
                <a:gd name="connsiteY28" fmla="*/ 707993 h 1049655"/>
                <a:gd name="connsiteX29" fmla="*/ 1131570 w 1216913"/>
                <a:gd name="connsiteY29" fmla="*/ 717232 h 1049655"/>
                <a:gd name="connsiteX30" fmla="*/ 1124998 w 1216913"/>
                <a:gd name="connsiteY30" fmla="*/ 716470 h 1049655"/>
                <a:gd name="connsiteX31" fmla="*/ 1122616 w 1216913"/>
                <a:gd name="connsiteY31" fmla="*/ 710374 h 1049655"/>
                <a:gd name="connsiteX32" fmla="*/ 1117473 w 1216913"/>
                <a:gd name="connsiteY32" fmla="*/ 707803 h 1049655"/>
                <a:gd name="connsiteX33" fmla="*/ 1112996 w 1216913"/>
                <a:gd name="connsiteY33" fmla="*/ 709994 h 1049655"/>
                <a:gd name="connsiteX34" fmla="*/ 1108043 w 1216913"/>
                <a:gd name="connsiteY34" fmla="*/ 709041 h 1049655"/>
                <a:gd name="connsiteX35" fmla="*/ 1108996 w 1216913"/>
                <a:gd name="connsiteY35" fmla="*/ 704088 h 1049655"/>
                <a:gd name="connsiteX36" fmla="*/ 1105472 w 1216913"/>
                <a:gd name="connsiteY36" fmla="*/ 701326 h 1049655"/>
                <a:gd name="connsiteX37" fmla="*/ 1106424 w 1216913"/>
                <a:gd name="connsiteY37" fmla="*/ 696373 h 1049655"/>
                <a:gd name="connsiteX38" fmla="*/ 1101661 w 1216913"/>
                <a:gd name="connsiteY38" fmla="*/ 697040 h 1049655"/>
                <a:gd name="connsiteX39" fmla="*/ 1102709 w 1216913"/>
                <a:gd name="connsiteY39" fmla="*/ 692086 h 1049655"/>
                <a:gd name="connsiteX40" fmla="*/ 1101852 w 1216913"/>
                <a:gd name="connsiteY40" fmla="*/ 685800 h 1049655"/>
                <a:gd name="connsiteX41" fmla="*/ 1090422 w 1216913"/>
                <a:gd name="connsiteY41" fmla="*/ 683990 h 1049655"/>
                <a:gd name="connsiteX42" fmla="*/ 1081183 w 1216913"/>
                <a:gd name="connsiteY42" fmla="*/ 686753 h 1049655"/>
                <a:gd name="connsiteX43" fmla="*/ 1077754 w 1216913"/>
                <a:gd name="connsiteY43" fmla="*/ 685610 h 1049655"/>
                <a:gd name="connsiteX44" fmla="*/ 1073467 w 1216913"/>
                <a:gd name="connsiteY44" fmla="*/ 689420 h 1049655"/>
                <a:gd name="connsiteX45" fmla="*/ 1072420 w 1216913"/>
                <a:gd name="connsiteY45" fmla="*/ 681514 h 1049655"/>
                <a:gd name="connsiteX46" fmla="*/ 1069086 w 1216913"/>
                <a:gd name="connsiteY46" fmla="*/ 680276 h 1049655"/>
                <a:gd name="connsiteX47" fmla="*/ 1065943 w 1216913"/>
                <a:gd name="connsiteY47" fmla="*/ 680752 h 1049655"/>
                <a:gd name="connsiteX48" fmla="*/ 1062990 w 1216913"/>
                <a:gd name="connsiteY48" fmla="*/ 682657 h 1049655"/>
                <a:gd name="connsiteX49" fmla="*/ 1062609 w 1216913"/>
                <a:gd name="connsiteY49" fmla="*/ 679514 h 1049655"/>
                <a:gd name="connsiteX50" fmla="*/ 1054513 w 1216913"/>
                <a:gd name="connsiteY50" fmla="*/ 678942 h 1049655"/>
                <a:gd name="connsiteX51" fmla="*/ 1050893 w 1216913"/>
                <a:gd name="connsiteY51" fmla="*/ 676180 h 1049655"/>
                <a:gd name="connsiteX52" fmla="*/ 1050512 w 1216913"/>
                <a:gd name="connsiteY52" fmla="*/ 673036 h 1049655"/>
                <a:gd name="connsiteX53" fmla="*/ 1048702 w 1216913"/>
                <a:gd name="connsiteY53" fmla="*/ 671703 h 1049655"/>
                <a:gd name="connsiteX54" fmla="*/ 1044988 w 1216913"/>
                <a:gd name="connsiteY54" fmla="*/ 667322 h 1049655"/>
                <a:gd name="connsiteX55" fmla="*/ 1041844 w 1216913"/>
                <a:gd name="connsiteY55" fmla="*/ 667703 h 1049655"/>
                <a:gd name="connsiteX56" fmla="*/ 1044607 w 1216913"/>
                <a:gd name="connsiteY56" fmla="*/ 664178 h 1049655"/>
                <a:gd name="connsiteX57" fmla="*/ 1042416 w 1216913"/>
                <a:gd name="connsiteY57" fmla="*/ 659606 h 1049655"/>
                <a:gd name="connsiteX58" fmla="*/ 1044702 w 1216913"/>
                <a:gd name="connsiteY58" fmla="*/ 640080 h 1049655"/>
                <a:gd name="connsiteX59" fmla="*/ 1040987 w 1216913"/>
                <a:gd name="connsiteY59" fmla="*/ 635794 h 1049655"/>
                <a:gd name="connsiteX60" fmla="*/ 1036034 w 1216913"/>
                <a:gd name="connsiteY60" fmla="*/ 634841 h 1049655"/>
                <a:gd name="connsiteX61" fmla="*/ 1032510 w 1216913"/>
                <a:gd name="connsiteY61" fmla="*/ 632079 h 1049655"/>
                <a:gd name="connsiteX62" fmla="*/ 1033272 w 1216913"/>
                <a:gd name="connsiteY62" fmla="*/ 625507 h 1049655"/>
                <a:gd name="connsiteX63" fmla="*/ 1030033 w 1216913"/>
                <a:gd name="connsiteY63" fmla="*/ 613124 h 1049655"/>
                <a:gd name="connsiteX64" fmla="*/ 1024890 w 1216913"/>
                <a:gd name="connsiteY64" fmla="*/ 610553 h 1049655"/>
                <a:gd name="connsiteX65" fmla="*/ 1023938 w 1216913"/>
                <a:gd name="connsiteY65" fmla="*/ 602647 h 1049655"/>
                <a:gd name="connsiteX66" fmla="*/ 1020127 w 1216913"/>
                <a:gd name="connsiteY66" fmla="*/ 598361 h 1049655"/>
                <a:gd name="connsiteX67" fmla="*/ 1020889 w 1216913"/>
                <a:gd name="connsiteY67" fmla="*/ 591788 h 1049655"/>
                <a:gd name="connsiteX68" fmla="*/ 1018699 w 1216913"/>
                <a:gd name="connsiteY68" fmla="*/ 587311 h 1049655"/>
                <a:gd name="connsiteX69" fmla="*/ 1016794 w 1216913"/>
                <a:gd name="connsiteY69" fmla="*/ 584359 h 1049655"/>
                <a:gd name="connsiteX70" fmla="*/ 1016127 w 1216913"/>
                <a:gd name="connsiteY70" fmla="*/ 579596 h 1049655"/>
                <a:gd name="connsiteX71" fmla="*/ 1009079 w 1216913"/>
                <a:gd name="connsiteY71" fmla="*/ 574072 h 1049655"/>
                <a:gd name="connsiteX72" fmla="*/ 1006221 w 1216913"/>
                <a:gd name="connsiteY72" fmla="*/ 564832 h 1049655"/>
                <a:gd name="connsiteX73" fmla="*/ 1007459 w 1216913"/>
                <a:gd name="connsiteY73" fmla="*/ 561499 h 1049655"/>
                <a:gd name="connsiteX74" fmla="*/ 1003840 w 1216913"/>
                <a:gd name="connsiteY74" fmla="*/ 558736 h 1049655"/>
                <a:gd name="connsiteX75" fmla="*/ 1003268 w 1216913"/>
                <a:gd name="connsiteY75" fmla="*/ 553974 h 1049655"/>
                <a:gd name="connsiteX76" fmla="*/ 999744 w 1216913"/>
                <a:gd name="connsiteY76" fmla="*/ 551212 h 1049655"/>
                <a:gd name="connsiteX77" fmla="*/ 996124 w 1216913"/>
                <a:gd name="connsiteY77" fmla="*/ 548449 h 1049655"/>
                <a:gd name="connsiteX78" fmla="*/ 996886 w 1216913"/>
                <a:gd name="connsiteY78" fmla="*/ 541973 h 1049655"/>
                <a:gd name="connsiteX79" fmla="*/ 1007173 w 1216913"/>
                <a:gd name="connsiteY79" fmla="*/ 534257 h 1049655"/>
                <a:gd name="connsiteX80" fmla="*/ 1011079 w 1216913"/>
                <a:gd name="connsiteY80" fmla="*/ 527304 h 1049655"/>
                <a:gd name="connsiteX81" fmla="*/ 1009364 w 1216913"/>
                <a:gd name="connsiteY81" fmla="*/ 525970 h 1049655"/>
                <a:gd name="connsiteX82" fmla="*/ 1007173 w 1216913"/>
                <a:gd name="connsiteY82" fmla="*/ 521398 h 1049655"/>
                <a:gd name="connsiteX83" fmla="*/ 1010317 w 1216913"/>
                <a:gd name="connsiteY83" fmla="*/ 521018 h 1049655"/>
                <a:gd name="connsiteX84" fmla="*/ 1011269 w 1216913"/>
                <a:gd name="connsiteY84" fmla="*/ 516065 h 1049655"/>
                <a:gd name="connsiteX85" fmla="*/ 1020794 w 1216913"/>
                <a:gd name="connsiteY85" fmla="*/ 514922 h 1049655"/>
                <a:gd name="connsiteX86" fmla="*/ 1021747 w 1216913"/>
                <a:gd name="connsiteY86" fmla="*/ 509969 h 1049655"/>
                <a:gd name="connsiteX87" fmla="*/ 1017937 w 1216913"/>
                <a:gd name="connsiteY87" fmla="*/ 505587 h 1049655"/>
                <a:gd name="connsiteX88" fmla="*/ 1009650 w 1216913"/>
                <a:gd name="connsiteY88" fmla="*/ 503491 h 1049655"/>
                <a:gd name="connsiteX89" fmla="*/ 1001744 w 1216913"/>
                <a:gd name="connsiteY89" fmla="*/ 504444 h 1049655"/>
                <a:gd name="connsiteX90" fmla="*/ 1001363 w 1216913"/>
                <a:gd name="connsiteY90" fmla="*/ 501301 h 1049655"/>
                <a:gd name="connsiteX91" fmla="*/ 996029 w 1216913"/>
                <a:gd name="connsiteY91" fmla="*/ 497205 h 1049655"/>
                <a:gd name="connsiteX92" fmla="*/ 995648 w 1216913"/>
                <a:gd name="connsiteY92" fmla="*/ 493966 h 1049655"/>
                <a:gd name="connsiteX93" fmla="*/ 991838 w 1216913"/>
                <a:gd name="connsiteY93" fmla="*/ 489680 h 1049655"/>
                <a:gd name="connsiteX94" fmla="*/ 991457 w 1216913"/>
                <a:gd name="connsiteY94" fmla="*/ 486537 h 1049655"/>
                <a:gd name="connsiteX95" fmla="*/ 995839 w 1216913"/>
                <a:gd name="connsiteY95" fmla="*/ 482727 h 1049655"/>
                <a:gd name="connsiteX96" fmla="*/ 996982 w 1216913"/>
                <a:gd name="connsiteY96" fmla="*/ 479393 h 1049655"/>
                <a:gd name="connsiteX97" fmla="*/ 994791 w 1216913"/>
                <a:gd name="connsiteY97" fmla="*/ 474916 h 1049655"/>
                <a:gd name="connsiteX98" fmla="*/ 997363 w 1216913"/>
                <a:gd name="connsiteY98" fmla="*/ 469773 h 1049655"/>
                <a:gd name="connsiteX99" fmla="*/ 1000887 w 1216913"/>
                <a:gd name="connsiteY99" fmla="*/ 459677 h 1049655"/>
                <a:gd name="connsiteX100" fmla="*/ 995743 w 1216913"/>
                <a:gd name="connsiteY100" fmla="*/ 457105 h 1049655"/>
                <a:gd name="connsiteX101" fmla="*/ 996886 w 1216913"/>
                <a:gd name="connsiteY101" fmla="*/ 453771 h 1049655"/>
                <a:gd name="connsiteX102" fmla="*/ 995172 w 1216913"/>
                <a:gd name="connsiteY102" fmla="*/ 452342 h 1049655"/>
                <a:gd name="connsiteX103" fmla="*/ 998315 w 1216913"/>
                <a:gd name="connsiteY103" fmla="*/ 451961 h 1049655"/>
                <a:gd name="connsiteX104" fmla="*/ 993743 w 1216913"/>
                <a:gd name="connsiteY104" fmla="*/ 441293 h 1049655"/>
                <a:gd name="connsiteX105" fmla="*/ 992124 w 1216913"/>
                <a:gd name="connsiteY105" fmla="*/ 441579 h 1049655"/>
                <a:gd name="connsiteX106" fmla="*/ 984694 w 1216913"/>
                <a:gd name="connsiteY106" fmla="*/ 445675 h 1049655"/>
                <a:gd name="connsiteX107" fmla="*/ 974026 w 1216913"/>
                <a:gd name="connsiteY107" fmla="*/ 437388 h 1049655"/>
                <a:gd name="connsiteX108" fmla="*/ 969264 w 1216913"/>
                <a:gd name="connsiteY108" fmla="*/ 438055 h 1049655"/>
                <a:gd name="connsiteX109" fmla="*/ 972979 w 1216913"/>
                <a:gd name="connsiteY109" fmla="*/ 442341 h 1049655"/>
                <a:gd name="connsiteX110" fmla="*/ 971264 w 1216913"/>
                <a:gd name="connsiteY110" fmla="*/ 453771 h 1049655"/>
                <a:gd name="connsiteX111" fmla="*/ 976408 w 1216913"/>
                <a:gd name="connsiteY111" fmla="*/ 456343 h 1049655"/>
                <a:gd name="connsiteX112" fmla="*/ 970883 w 1216913"/>
                <a:gd name="connsiteY112" fmla="*/ 463486 h 1049655"/>
                <a:gd name="connsiteX113" fmla="*/ 966597 w 1216913"/>
                <a:gd name="connsiteY113" fmla="*/ 467297 h 1049655"/>
                <a:gd name="connsiteX114" fmla="*/ 963454 w 1216913"/>
                <a:gd name="connsiteY114" fmla="*/ 467678 h 1049655"/>
                <a:gd name="connsiteX115" fmla="*/ 960215 w 1216913"/>
                <a:gd name="connsiteY115" fmla="*/ 468058 h 1049655"/>
                <a:gd name="connsiteX116" fmla="*/ 958310 w 1216913"/>
                <a:gd name="connsiteY116" fmla="*/ 465106 h 1049655"/>
                <a:gd name="connsiteX117" fmla="*/ 953929 w 1216913"/>
                <a:gd name="connsiteY117" fmla="*/ 468820 h 1049655"/>
                <a:gd name="connsiteX118" fmla="*/ 955357 w 1216913"/>
                <a:gd name="connsiteY118" fmla="*/ 467106 h 1049655"/>
                <a:gd name="connsiteX119" fmla="*/ 951738 w 1216913"/>
                <a:gd name="connsiteY119" fmla="*/ 464344 h 1049655"/>
                <a:gd name="connsiteX120" fmla="*/ 947261 w 1216913"/>
                <a:gd name="connsiteY120" fmla="*/ 466535 h 1049655"/>
                <a:gd name="connsiteX121" fmla="*/ 940117 w 1216913"/>
                <a:gd name="connsiteY121" fmla="*/ 461010 h 1049655"/>
                <a:gd name="connsiteX122" fmla="*/ 937546 w 1216913"/>
                <a:gd name="connsiteY122" fmla="*/ 466153 h 1049655"/>
                <a:gd name="connsiteX123" fmla="*/ 933831 w 1216913"/>
                <a:gd name="connsiteY123" fmla="*/ 461772 h 1049655"/>
                <a:gd name="connsiteX124" fmla="*/ 931640 w 1216913"/>
                <a:gd name="connsiteY124" fmla="*/ 457295 h 1049655"/>
                <a:gd name="connsiteX125" fmla="*/ 928021 w 1216913"/>
                <a:gd name="connsiteY125" fmla="*/ 454533 h 1049655"/>
                <a:gd name="connsiteX126" fmla="*/ 921163 w 1216913"/>
                <a:gd name="connsiteY126" fmla="*/ 450628 h 1049655"/>
                <a:gd name="connsiteX127" fmla="*/ 918591 w 1216913"/>
                <a:gd name="connsiteY127" fmla="*/ 442912 h 1049655"/>
                <a:gd name="connsiteX128" fmla="*/ 905732 w 1216913"/>
                <a:gd name="connsiteY128" fmla="*/ 442912 h 1049655"/>
                <a:gd name="connsiteX129" fmla="*/ 900398 w 1216913"/>
                <a:gd name="connsiteY129" fmla="*/ 438817 h 1049655"/>
                <a:gd name="connsiteX130" fmla="*/ 897064 w 1216913"/>
                <a:gd name="connsiteY130" fmla="*/ 437578 h 1049655"/>
                <a:gd name="connsiteX131" fmla="*/ 895636 w 1216913"/>
                <a:gd name="connsiteY131" fmla="*/ 426529 h 1049655"/>
                <a:gd name="connsiteX132" fmla="*/ 875157 w 1216913"/>
                <a:gd name="connsiteY132" fmla="*/ 429197 h 1049655"/>
                <a:gd name="connsiteX133" fmla="*/ 872204 w 1216913"/>
                <a:gd name="connsiteY133" fmla="*/ 431197 h 1049655"/>
                <a:gd name="connsiteX134" fmla="*/ 862489 w 1216913"/>
                <a:gd name="connsiteY134" fmla="*/ 430816 h 1049655"/>
                <a:gd name="connsiteX135" fmla="*/ 851249 w 1216913"/>
                <a:gd name="connsiteY135" fmla="*/ 430625 h 1049655"/>
                <a:gd name="connsiteX136" fmla="*/ 847439 w 1216913"/>
                <a:gd name="connsiteY136" fmla="*/ 426339 h 1049655"/>
                <a:gd name="connsiteX137" fmla="*/ 827151 w 1216913"/>
                <a:gd name="connsiteY137" fmla="*/ 417671 h 1049655"/>
                <a:gd name="connsiteX138" fmla="*/ 826770 w 1216913"/>
                <a:gd name="connsiteY138" fmla="*/ 427291 h 1049655"/>
                <a:gd name="connsiteX139" fmla="*/ 830104 w 1216913"/>
                <a:gd name="connsiteY139" fmla="*/ 428530 h 1049655"/>
                <a:gd name="connsiteX140" fmla="*/ 836676 w 1216913"/>
                <a:gd name="connsiteY140" fmla="*/ 429292 h 1049655"/>
                <a:gd name="connsiteX141" fmla="*/ 838581 w 1216913"/>
                <a:gd name="connsiteY141" fmla="*/ 432244 h 1049655"/>
                <a:gd name="connsiteX142" fmla="*/ 830961 w 1216913"/>
                <a:gd name="connsiteY142" fmla="*/ 434816 h 1049655"/>
                <a:gd name="connsiteX143" fmla="*/ 832961 w 1216913"/>
                <a:gd name="connsiteY143" fmla="*/ 437769 h 1049655"/>
                <a:gd name="connsiteX144" fmla="*/ 834676 w 1216913"/>
                <a:gd name="connsiteY144" fmla="*/ 439103 h 1049655"/>
                <a:gd name="connsiteX145" fmla="*/ 830389 w 1216913"/>
                <a:gd name="connsiteY145" fmla="*/ 442912 h 1049655"/>
                <a:gd name="connsiteX146" fmla="*/ 826770 w 1216913"/>
                <a:gd name="connsiteY146" fmla="*/ 440150 h 1049655"/>
                <a:gd name="connsiteX147" fmla="*/ 826389 w 1216913"/>
                <a:gd name="connsiteY147" fmla="*/ 437007 h 1049655"/>
                <a:gd name="connsiteX148" fmla="*/ 823246 w 1216913"/>
                <a:gd name="connsiteY148" fmla="*/ 437388 h 1049655"/>
                <a:gd name="connsiteX149" fmla="*/ 824198 w 1216913"/>
                <a:gd name="connsiteY149" fmla="*/ 445294 h 1049655"/>
                <a:gd name="connsiteX150" fmla="*/ 819150 w 1216913"/>
                <a:gd name="connsiteY150" fmla="*/ 455581 h 1049655"/>
                <a:gd name="connsiteX151" fmla="*/ 814197 w 1216913"/>
                <a:gd name="connsiteY151" fmla="*/ 454628 h 1049655"/>
                <a:gd name="connsiteX152" fmla="*/ 813816 w 1216913"/>
                <a:gd name="connsiteY152" fmla="*/ 451390 h 1049655"/>
                <a:gd name="connsiteX153" fmla="*/ 805148 w 1216913"/>
                <a:gd name="connsiteY153" fmla="*/ 446151 h 1049655"/>
                <a:gd name="connsiteX154" fmla="*/ 802767 w 1216913"/>
                <a:gd name="connsiteY154" fmla="*/ 440055 h 1049655"/>
                <a:gd name="connsiteX155" fmla="*/ 796385 w 1216913"/>
                <a:gd name="connsiteY155" fmla="*/ 440817 h 1049655"/>
                <a:gd name="connsiteX156" fmla="*/ 788289 w 1216913"/>
                <a:gd name="connsiteY156" fmla="*/ 427387 h 1049655"/>
                <a:gd name="connsiteX157" fmla="*/ 789813 w 1216913"/>
                <a:gd name="connsiteY157" fmla="*/ 414433 h 1049655"/>
                <a:gd name="connsiteX158" fmla="*/ 786860 w 1216913"/>
                <a:gd name="connsiteY158" fmla="*/ 403574 h 1049655"/>
                <a:gd name="connsiteX159" fmla="*/ 784860 w 1216913"/>
                <a:gd name="connsiteY159" fmla="*/ 400622 h 1049655"/>
                <a:gd name="connsiteX160" fmla="*/ 758380 w 1216913"/>
                <a:gd name="connsiteY160" fmla="*/ 394335 h 1049655"/>
                <a:gd name="connsiteX161" fmla="*/ 749141 w 1216913"/>
                <a:gd name="connsiteY161" fmla="*/ 397097 h 1049655"/>
                <a:gd name="connsiteX162" fmla="*/ 746188 w 1216913"/>
                <a:gd name="connsiteY162" fmla="*/ 399098 h 1049655"/>
                <a:gd name="connsiteX163" fmla="*/ 742188 w 1216913"/>
                <a:gd name="connsiteY163" fmla="*/ 393192 h 1049655"/>
                <a:gd name="connsiteX164" fmla="*/ 743236 w 1216913"/>
                <a:gd name="connsiteY164" fmla="*/ 388239 h 1049655"/>
                <a:gd name="connsiteX165" fmla="*/ 740378 w 1216913"/>
                <a:gd name="connsiteY165" fmla="*/ 379000 h 1049655"/>
                <a:gd name="connsiteX166" fmla="*/ 735235 w 1216913"/>
                <a:gd name="connsiteY166" fmla="*/ 363569 h 1049655"/>
                <a:gd name="connsiteX167" fmla="*/ 724567 w 1216913"/>
                <a:gd name="connsiteY167" fmla="*/ 368141 h 1049655"/>
                <a:gd name="connsiteX168" fmla="*/ 722471 w 1216913"/>
                <a:gd name="connsiteY168" fmla="*/ 363665 h 1049655"/>
                <a:gd name="connsiteX169" fmla="*/ 719233 w 1216913"/>
                <a:gd name="connsiteY169" fmla="*/ 364046 h 1049655"/>
                <a:gd name="connsiteX170" fmla="*/ 717518 w 1216913"/>
                <a:gd name="connsiteY170" fmla="*/ 362712 h 1049655"/>
                <a:gd name="connsiteX171" fmla="*/ 711232 w 1216913"/>
                <a:gd name="connsiteY171" fmla="*/ 363474 h 1049655"/>
                <a:gd name="connsiteX172" fmla="*/ 711422 w 1216913"/>
                <a:gd name="connsiteY172" fmla="*/ 365093 h 1049655"/>
                <a:gd name="connsiteX173" fmla="*/ 708184 w 1216913"/>
                <a:gd name="connsiteY173" fmla="*/ 365474 h 1049655"/>
                <a:gd name="connsiteX174" fmla="*/ 708469 w 1216913"/>
                <a:gd name="connsiteY174" fmla="*/ 366998 h 1049655"/>
                <a:gd name="connsiteX175" fmla="*/ 709231 w 1216913"/>
                <a:gd name="connsiteY175" fmla="*/ 373380 h 1049655"/>
                <a:gd name="connsiteX176" fmla="*/ 708279 w 1216913"/>
                <a:gd name="connsiteY176" fmla="*/ 378238 h 1049655"/>
                <a:gd name="connsiteX177" fmla="*/ 699421 w 1216913"/>
                <a:gd name="connsiteY177" fmla="*/ 384238 h 1049655"/>
                <a:gd name="connsiteX178" fmla="*/ 693230 w 1216913"/>
                <a:gd name="connsiteY178" fmla="*/ 373761 h 1049655"/>
                <a:gd name="connsiteX179" fmla="*/ 686372 w 1216913"/>
                <a:gd name="connsiteY179" fmla="*/ 369856 h 1049655"/>
                <a:gd name="connsiteX180" fmla="*/ 684371 w 1216913"/>
                <a:gd name="connsiteY180" fmla="*/ 366903 h 1049655"/>
                <a:gd name="connsiteX181" fmla="*/ 671893 w 1216913"/>
                <a:gd name="connsiteY181" fmla="*/ 370046 h 1049655"/>
                <a:gd name="connsiteX182" fmla="*/ 664845 w 1216913"/>
                <a:gd name="connsiteY182" fmla="*/ 364522 h 1049655"/>
                <a:gd name="connsiteX183" fmla="*/ 659035 w 1216913"/>
                <a:gd name="connsiteY183" fmla="*/ 357283 h 1049655"/>
                <a:gd name="connsiteX184" fmla="*/ 654748 w 1216913"/>
                <a:gd name="connsiteY184" fmla="*/ 348234 h 1049655"/>
                <a:gd name="connsiteX185" fmla="*/ 657701 w 1216913"/>
                <a:gd name="connsiteY185" fmla="*/ 346234 h 1049655"/>
                <a:gd name="connsiteX186" fmla="*/ 661606 w 1216913"/>
                <a:gd name="connsiteY186" fmla="*/ 339280 h 1049655"/>
                <a:gd name="connsiteX187" fmla="*/ 654463 w 1216913"/>
                <a:gd name="connsiteY187" fmla="*/ 333851 h 1049655"/>
                <a:gd name="connsiteX188" fmla="*/ 652272 w 1216913"/>
                <a:gd name="connsiteY188" fmla="*/ 329279 h 1049655"/>
                <a:gd name="connsiteX189" fmla="*/ 649129 w 1216913"/>
                <a:gd name="connsiteY189" fmla="*/ 329660 h 1049655"/>
                <a:gd name="connsiteX190" fmla="*/ 650462 w 1216913"/>
                <a:gd name="connsiteY190" fmla="*/ 315087 h 1049655"/>
                <a:gd name="connsiteX191" fmla="*/ 648748 w 1216913"/>
                <a:gd name="connsiteY191" fmla="*/ 313658 h 1049655"/>
                <a:gd name="connsiteX192" fmla="*/ 643985 w 1216913"/>
                <a:gd name="connsiteY192" fmla="*/ 314325 h 1049655"/>
                <a:gd name="connsiteX193" fmla="*/ 635508 w 1216913"/>
                <a:gd name="connsiteY193" fmla="*/ 310610 h 1049655"/>
                <a:gd name="connsiteX194" fmla="*/ 634841 w 1216913"/>
                <a:gd name="connsiteY194" fmla="*/ 305848 h 1049655"/>
                <a:gd name="connsiteX195" fmla="*/ 633127 w 1216913"/>
                <a:gd name="connsiteY195" fmla="*/ 304419 h 1049655"/>
                <a:gd name="connsiteX196" fmla="*/ 630746 w 1216913"/>
                <a:gd name="connsiteY196" fmla="*/ 298323 h 1049655"/>
                <a:gd name="connsiteX197" fmla="*/ 622840 w 1216913"/>
                <a:gd name="connsiteY197" fmla="*/ 299371 h 1049655"/>
                <a:gd name="connsiteX198" fmla="*/ 620649 w 1216913"/>
                <a:gd name="connsiteY198" fmla="*/ 294799 h 1049655"/>
                <a:gd name="connsiteX199" fmla="*/ 615696 w 1216913"/>
                <a:gd name="connsiteY199" fmla="*/ 293846 h 1049655"/>
                <a:gd name="connsiteX200" fmla="*/ 613886 w 1216913"/>
                <a:gd name="connsiteY200" fmla="*/ 292513 h 1049655"/>
                <a:gd name="connsiteX201" fmla="*/ 610552 w 1216913"/>
                <a:gd name="connsiteY201" fmla="*/ 291275 h 1049655"/>
                <a:gd name="connsiteX202" fmla="*/ 596170 w 1216913"/>
                <a:gd name="connsiteY202" fmla="*/ 304324 h 1049655"/>
                <a:gd name="connsiteX203" fmla="*/ 591693 w 1216913"/>
                <a:gd name="connsiteY203" fmla="*/ 306515 h 1049655"/>
                <a:gd name="connsiteX204" fmla="*/ 592646 w 1216913"/>
                <a:gd name="connsiteY204" fmla="*/ 314420 h 1049655"/>
                <a:gd name="connsiteX205" fmla="*/ 592264 w 1216913"/>
                <a:gd name="connsiteY205" fmla="*/ 324136 h 1049655"/>
                <a:gd name="connsiteX206" fmla="*/ 596646 w 1216913"/>
                <a:gd name="connsiteY206" fmla="*/ 333184 h 1049655"/>
                <a:gd name="connsiteX207" fmla="*/ 602932 w 1216913"/>
                <a:gd name="connsiteY207" fmla="*/ 332327 h 1049655"/>
                <a:gd name="connsiteX208" fmla="*/ 604933 w 1216913"/>
                <a:gd name="connsiteY208" fmla="*/ 322517 h 1049655"/>
                <a:gd name="connsiteX209" fmla="*/ 611410 w 1216913"/>
                <a:gd name="connsiteY209" fmla="*/ 323278 h 1049655"/>
                <a:gd name="connsiteX210" fmla="*/ 615029 w 1216913"/>
                <a:gd name="connsiteY210" fmla="*/ 326041 h 1049655"/>
                <a:gd name="connsiteX211" fmla="*/ 619697 w 1216913"/>
                <a:gd name="connsiteY211" fmla="*/ 325374 h 1049655"/>
                <a:gd name="connsiteX212" fmla="*/ 624078 w 1216913"/>
                <a:gd name="connsiteY212" fmla="*/ 334518 h 1049655"/>
                <a:gd name="connsiteX213" fmla="*/ 622744 w 1216913"/>
                <a:gd name="connsiteY213" fmla="*/ 336232 h 1049655"/>
                <a:gd name="connsiteX214" fmla="*/ 622935 w 1216913"/>
                <a:gd name="connsiteY214" fmla="*/ 337852 h 1049655"/>
                <a:gd name="connsiteX215" fmla="*/ 618554 w 1216913"/>
                <a:gd name="connsiteY215" fmla="*/ 341567 h 1049655"/>
                <a:gd name="connsiteX216" fmla="*/ 622173 w 1216913"/>
                <a:gd name="connsiteY216" fmla="*/ 344329 h 1049655"/>
                <a:gd name="connsiteX217" fmla="*/ 622744 w 1216913"/>
                <a:gd name="connsiteY217" fmla="*/ 349091 h 1049655"/>
                <a:gd name="connsiteX218" fmla="*/ 619601 w 1216913"/>
                <a:gd name="connsiteY218" fmla="*/ 349472 h 1049655"/>
                <a:gd name="connsiteX219" fmla="*/ 618172 w 1216913"/>
                <a:gd name="connsiteY219" fmla="*/ 351282 h 1049655"/>
                <a:gd name="connsiteX220" fmla="*/ 621982 w 1216913"/>
                <a:gd name="connsiteY220" fmla="*/ 355568 h 1049655"/>
                <a:gd name="connsiteX221" fmla="*/ 621030 w 1216913"/>
                <a:gd name="connsiteY221" fmla="*/ 360521 h 1049655"/>
                <a:gd name="connsiteX222" fmla="*/ 617410 w 1216913"/>
                <a:gd name="connsiteY222" fmla="*/ 357759 h 1049655"/>
                <a:gd name="connsiteX223" fmla="*/ 617220 w 1216913"/>
                <a:gd name="connsiteY223" fmla="*/ 356235 h 1049655"/>
                <a:gd name="connsiteX224" fmla="*/ 613696 w 1216913"/>
                <a:gd name="connsiteY224" fmla="*/ 353473 h 1049655"/>
                <a:gd name="connsiteX225" fmla="*/ 594741 w 1216913"/>
                <a:gd name="connsiteY225" fmla="*/ 355854 h 1049655"/>
                <a:gd name="connsiteX226" fmla="*/ 593503 w 1216913"/>
                <a:gd name="connsiteY226" fmla="*/ 346424 h 1049655"/>
                <a:gd name="connsiteX227" fmla="*/ 582930 w 1216913"/>
                <a:gd name="connsiteY227" fmla="*/ 350996 h 1049655"/>
                <a:gd name="connsiteX228" fmla="*/ 577786 w 1216913"/>
                <a:gd name="connsiteY228" fmla="*/ 361188 h 1049655"/>
                <a:gd name="connsiteX229" fmla="*/ 569309 w 1216913"/>
                <a:gd name="connsiteY229" fmla="*/ 357473 h 1049655"/>
                <a:gd name="connsiteX230" fmla="*/ 563404 w 1216913"/>
                <a:gd name="connsiteY230" fmla="*/ 361474 h 1049655"/>
                <a:gd name="connsiteX231" fmla="*/ 558641 w 1216913"/>
                <a:gd name="connsiteY231" fmla="*/ 362045 h 1049655"/>
                <a:gd name="connsiteX232" fmla="*/ 539591 w 1216913"/>
                <a:gd name="connsiteY232" fmla="*/ 388525 h 1049655"/>
                <a:gd name="connsiteX233" fmla="*/ 537019 w 1216913"/>
                <a:gd name="connsiteY233" fmla="*/ 393668 h 1049655"/>
                <a:gd name="connsiteX234" fmla="*/ 529304 w 1216913"/>
                <a:gd name="connsiteY234" fmla="*/ 396240 h 1049655"/>
                <a:gd name="connsiteX235" fmla="*/ 515874 w 1216913"/>
                <a:gd name="connsiteY235" fmla="*/ 391573 h 1049655"/>
                <a:gd name="connsiteX236" fmla="*/ 509778 w 1216913"/>
                <a:gd name="connsiteY236" fmla="*/ 393954 h 1049655"/>
                <a:gd name="connsiteX237" fmla="*/ 500920 w 1216913"/>
                <a:gd name="connsiteY237" fmla="*/ 399860 h 1049655"/>
                <a:gd name="connsiteX238" fmla="*/ 495205 w 1216913"/>
                <a:gd name="connsiteY238" fmla="*/ 392620 h 1049655"/>
                <a:gd name="connsiteX239" fmla="*/ 492061 w 1216913"/>
                <a:gd name="connsiteY239" fmla="*/ 393002 h 1049655"/>
                <a:gd name="connsiteX240" fmla="*/ 491395 w 1216913"/>
                <a:gd name="connsiteY240" fmla="*/ 388239 h 1049655"/>
                <a:gd name="connsiteX241" fmla="*/ 488251 w 1216913"/>
                <a:gd name="connsiteY241" fmla="*/ 388620 h 1049655"/>
                <a:gd name="connsiteX242" fmla="*/ 487871 w 1216913"/>
                <a:gd name="connsiteY242" fmla="*/ 385477 h 1049655"/>
                <a:gd name="connsiteX243" fmla="*/ 482917 w 1216913"/>
                <a:gd name="connsiteY243" fmla="*/ 384524 h 1049655"/>
                <a:gd name="connsiteX244" fmla="*/ 479012 w 1216913"/>
                <a:gd name="connsiteY244" fmla="*/ 378619 h 1049655"/>
                <a:gd name="connsiteX245" fmla="*/ 477393 w 1216913"/>
                <a:gd name="connsiteY245" fmla="*/ 378809 h 1049655"/>
                <a:gd name="connsiteX246" fmla="*/ 476059 w 1216913"/>
                <a:gd name="connsiteY246" fmla="*/ 380619 h 1049655"/>
                <a:gd name="connsiteX247" fmla="*/ 472249 w 1216913"/>
                <a:gd name="connsiteY247" fmla="*/ 376238 h 1049655"/>
                <a:gd name="connsiteX248" fmla="*/ 475964 w 1216913"/>
                <a:gd name="connsiteY248" fmla="*/ 367760 h 1049655"/>
                <a:gd name="connsiteX249" fmla="*/ 470059 w 1216913"/>
                <a:gd name="connsiteY249" fmla="*/ 358902 h 1049655"/>
                <a:gd name="connsiteX250" fmla="*/ 468249 w 1216913"/>
                <a:gd name="connsiteY250" fmla="*/ 357569 h 1049655"/>
                <a:gd name="connsiteX251" fmla="*/ 453866 w 1216913"/>
                <a:gd name="connsiteY251" fmla="*/ 357759 h 1049655"/>
                <a:gd name="connsiteX252" fmla="*/ 451866 w 1216913"/>
                <a:gd name="connsiteY252" fmla="*/ 354806 h 1049655"/>
                <a:gd name="connsiteX253" fmla="*/ 448723 w 1216913"/>
                <a:gd name="connsiteY253" fmla="*/ 355187 h 1049655"/>
                <a:gd name="connsiteX254" fmla="*/ 448342 w 1216913"/>
                <a:gd name="connsiteY254" fmla="*/ 352044 h 1049655"/>
                <a:gd name="connsiteX255" fmla="*/ 444532 w 1216913"/>
                <a:gd name="connsiteY255" fmla="*/ 347758 h 1049655"/>
                <a:gd name="connsiteX256" fmla="*/ 441579 w 1216913"/>
                <a:gd name="connsiteY256" fmla="*/ 349663 h 1049655"/>
                <a:gd name="connsiteX257" fmla="*/ 439864 w 1216913"/>
                <a:gd name="connsiteY257" fmla="*/ 348329 h 1049655"/>
                <a:gd name="connsiteX258" fmla="*/ 434911 w 1216913"/>
                <a:gd name="connsiteY258" fmla="*/ 347377 h 1049655"/>
                <a:gd name="connsiteX259" fmla="*/ 430911 w 1216913"/>
                <a:gd name="connsiteY259" fmla="*/ 341471 h 1049655"/>
                <a:gd name="connsiteX260" fmla="*/ 433673 w 1216913"/>
                <a:gd name="connsiteY260" fmla="*/ 337852 h 1049655"/>
                <a:gd name="connsiteX261" fmla="*/ 434816 w 1216913"/>
                <a:gd name="connsiteY261" fmla="*/ 334518 h 1049655"/>
                <a:gd name="connsiteX262" fmla="*/ 432721 w 1216913"/>
                <a:gd name="connsiteY262" fmla="*/ 330041 h 1049655"/>
                <a:gd name="connsiteX263" fmla="*/ 427958 w 1216913"/>
                <a:gd name="connsiteY263" fmla="*/ 330613 h 1049655"/>
                <a:gd name="connsiteX264" fmla="*/ 431863 w 1216913"/>
                <a:gd name="connsiteY264" fmla="*/ 323659 h 1049655"/>
                <a:gd name="connsiteX265" fmla="*/ 428339 w 1216913"/>
                <a:gd name="connsiteY265" fmla="*/ 320897 h 1049655"/>
                <a:gd name="connsiteX266" fmla="*/ 429673 w 1216913"/>
                <a:gd name="connsiteY266" fmla="*/ 319183 h 1049655"/>
                <a:gd name="connsiteX267" fmla="*/ 428911 w 1216913"/>
                <a:gd name="connsiteY267" fmla="*/ 312801 h 1049655"/>
                <a:gd name="connsiteX268" fmla="*/ 422148 w 1216913"/>
                <a:gd name="connsiteY268" fmla="*/ 310515 h 1049655"/>
                <a:gd name="connsiteX269" fmla="*/ 423386 w 1216913"/>
                <a:gd name="connsiteY269" fmla="*/ 307086 h 1049655"/>
                <a:gd name="connsiteX270" fmla="*/ 419386 w 1216913"/>
                <a:gd name="connsiteY270" fmla="*/ 301180 h 1049655"/>
                <a:gd name="connsiteX271" fmla="*/ 417862 w 1216913"/>
                <a:gd name="connsiteY271" fmla="*/ 301466 h 1049655"/>
                <a:gd name="connsiteX272" fmla="*/ 420814 w 1216913"/>
                <a:gd name="connsiteY272" fmla="*/ 299466 h 1049655"/>
                <a:gd name="connsiteX273" fmla="*/ 420529 w 1216913"/>
                <a:gd name="connsiteY273" fmla="*/ 297847 h 1049655"/>
                <a:gd name="connsiteX274" fmla="*/ 419005 w 1216913"/>
                <a:gd name="connsiteY274" fmla="*/ 298037 h 1049655"/>
                <a:gd name="connsiteX275" fmla="*/ 420148 w 1216913"/>
                <a:gd name="connsiteY275" fmla="*/ 294703 h 1049655"/>
                <a:gd name="connsiteX276" fmla="*/ 416623 w 1216913"/>
                <a:gd name="connsiteY276" fmla="*/ 291941 h 1049655"/>
                <a:gd name="connsiteX277" fmla="*/ 416052 w 1216913"/>
                <a:gd name="connsiteY277" fmla="*/ 287179 h 1049655"/>
                <a:gd name="connsiteX278" fmla="*/ 413861 w 1216913"/>
                <a:gd name="connsiteY278" fmla="*/ 282702 h 1049655"/>
                <a:gd name="connsiteX279" fmla="*/ 408527 w 1216913"/>
                <a:gd name="connsiteY279" fmla="*/ 278511 h 1049655"/>
                <a:gd name="connsiteX280" fmla="*/ 405289 w 1216913"/>
                <a:gd name="connsiteY280" fmla="*/ 278987 h 1049655"/>
                <a:gd name="connsiteX281" fmla="*/ 405098 w 1216913"/>
                <a:gd name="connsiteY281" fmla="*/ 277368 h 1049655"/>
                <a:gd name="connsiteX282" fmla="*/ 398050 w 1216913"/>
                <a:gd name="connsiteY282" fmla="*/ 271844 h 1049655"/>
                <a:gd name="connsiteX283" fmla="*/ 399955 w 1216913"/>
                <a:gd name="connsiteY283" fmla="*/ 262033 h 1049655"/>
                <a:gd name="connsiteX284" fmla="*/ 379952 w 1216913"/>
                <a:gd name="connsiteY284" fmla="*/ 243650 h 1049655"/>
                <a:gd name="connsiteX285" fmla="*/ 374618 w 1216913"/>
                <a:gd name="connsiteY285" fmla="*/ 239554 h 1049655"/>
                <a:gd name="connsiteX286" fmla="*/ 364998 w 1216913"/>
                <a:gd name="connsiteY286" fmla="*/ 239173 h 1049655"/>
                <a:gd name="connsiteX287" fmla="*/ 360712 w 1216913"/>
                <a:gd name="connsiteY287" fmla="*/ 255746 h 1049655"/>
                <a:gd name="connsiteX288" fmla="*/ 350234 w 1216913"/>
                <a:gd name="connsiteY288" fmla="*/ 249079 h 1049655"/>
                <a:gd name="connsiteX289" fmla="*/ 343471 w 1216913"/>
                <a:gd name="connsiteY289" fmla="*/ 246698 h 1049655"/>
                <a:gd name="connsiteX290" fmla="*/ 334327 w 1216913"/>
                <a:gd name="connsiteY290" fmla="*/ 225457 h 1049655"/>
                <a:gd name="connsiteX291" fmla="*/ 325660 w 1216913"/>
                <a:gd name="connsiteY291" fmla="*/ 220123 h 1049655"/>
                <a:gd name="connsiteX292" fmla="*/ 318706 w 1216913"/>
                <a:gd name="connsiteY292" fmla="*/ 216217 h 1049655"/>
                <a:gd name="connsiteX293" fmla="*/ 318516 w 1216913"/>
                <a:gd name="connsiteY293" fmla="*/ 214598 h 1049655"/>
                <a:gd name="connsiteX294" fmla="*/ 313658 w 1216913"/>
                <a:gd name="connsiteY294" fmla="*/ 213646 h 1049655"/>
                <a:gd name="connsiteX295" fmla="*/ 309086 w 1216913"/>
                <a:gd name="connsiteY295" fmla="*/ 202978 h 1049655"/>
                <a:gd name="connsiteX296" fmla="*/ 301085 w 1216913"/>
                <a:gd name="connsiteY296" fmla="*/ 191167 h 1049655"/>
                <a:gd name="connsiteX297" fmla="*/ 306229 w 1216913"/>
                <a:gd name="connsiteY297" fmla="*/ 180880 h 1049655"/>
                <a:gd name="connsiteX298" fmla="*/ 309181 w 1216913"/>
                <a:gd name="connsiteY298" fmla="*/ 178975 h 1049655"/>
                <a:gd name="connsiteX299" fmla="*/ 317278 w 1216913"/>
                <a:gd name="connsiteY299" fmla="*/ 179546 h 1049655"/>
                <a:gd name="connsiteX300" fmla="*/ 322421 w 1216913"/>
                <a:gd name="connsiteY300" fmla="*/ 182023 h 1049655"/>
                <a:gd name="connsiteX301" fmla="*/ 326517 w 1216913"/>
                <a:gd name="connsiteY301" fmla="*/ 176689 h 1049655"/>
                <a:gd name="connsiteX302" fmla="*/ 331089 w 1216913"/>
                <a:gd name="connsiteY302" fmla="*/ 174593 h 1049655"/>
                <a:gd name="connsiteX303" fmla="*/ 337185 w 1216913"/>
                <a:gd name="connsiteY303" fmla="*/ 172212 h 1049655"/>
                <a:gd name="connsiteX304" fmla="*/ 349853 w 1216913"/>
                <a:gd name="connsiteY304" fmla="*/ 170593 h 1049655"/>
                <a:gd name="connsiteX305" fmla="*/ 358711 w 1216913"/>
                <a:gd name="connsiteY305" fmla="*/ 164592 h 1049655"/>
                <a:gd name="connsiteX306" fmla="*/ 362045 w 1216913"/>
                <a:gd name="connsiteY306" fmla="*/ 165830 h 1049655"/>
                <a:gd name="connsiteX307" fmla="*/ 366617 w 1216913"/>
                <a:gd name="connsiteY307" fmla="*/ 163640 h 1049655"/>
                <a:gd name="connsiteX308" fmla="*/ 369951 w 1216913"/>
                <a:gd name="connsiteY308" fmla="*/ 164782 h 1049655"/>
                <a:gd name="connsiteX309" fmla="*/ 377380 w 1216913"/>
                <a:gd name="connsiteY309" fmla="*/ 160592 h 1049655"/>
                <a:gd name="connsiteX310" fmla="*/ 376809 w 1216913"/>
                <a:gd name="connsiteY310" fmla="*/ 155924 h 1049655"/>
                <a:gd name="connsiteX311" fmla="*/ 381381 w 1216913"/>
                <a:gd name="connsiteY311" fmla="*/ 153734 h 1049655"/>
                <a:gd name="connsiteX312" fmla="*/ 380333 w 1216913"/>
                <a:gd name="connsiteY312" fmla="*/ 145828 h 1049655"/>
                <a:gd name="connsiteX313" fmla="*/ 384715 w 1216913"/>
                <a:gd name="connsiteY313" fmla="*/ 142018 h 1049655"/>
                <a:gd name="connsiteX314" fmla="*/ 385858 w 1216913"/>
                <a:gd name="connsiteY314" fmla="*/ 138684 h 1049655"/>
                <a:gd name="connsiteX315" fmla="*/ 388810 w 1216913"/>
                <a:gd name="connsiteY315" fmla="*/ 136684 h 1049655"/>
                <a:gd name="connsiteX316" fmla="*/ 392335 w 1216913"/>
                <a:gd name="connsiteY316" fmla="*/ 139446 h 1049655"/>
                <a:gd name="connsiteX317" fmla="*/ 400621 w 1216913"/>
                <a:gd name="connsiteY317" fmla="*/ 141637 h 1049655"/>
                <a:gd name="connsiteX318" fmla="*/ 406527 w 1216913"/>
                <a:gd name="connsiteY318" fmla="*/ 137636 h 1049655"/>
                <a:gd name="connsiteX319" fmla="*/ 412909 w 1216913"/>
                <a:gd name="connsiteY319" fmla="*/ 136874 h 1049655"/>
                <a:gd name="connsiteX320" fmla="*/ 412051 w 1216913"/>
                <a:gd name="connsiteY320" fmla="*/ 130588 h 1049655"/>
                <a:gd name="connsiteX321" fmla="*/ 412813 w 1216913"/>
                <a:gd name="connsiteY321" fmla="*/ 124015 h 1049655"/>
                <a:gd name="connsiteX322" fmla="*/ 412051 w 1216913"/>
                <a:gd name="connsiteY322" fmla="*/ 117729 h 1049655"/>
                <a:gd name="connsiteX323" fmla="*/ 416528 w 1216913"/>
                <a:gd name="connsiteY323" fmla="*/ 102679 h 1049655"/>
                <a:gd name="connsiteX324" fmla="*/ 400336 w 1216913"/>
                <a:gd name="connsiteY324" fmla="*/ 88773 h 1049655"/>
                <a:gd name="connsiteX325" fmla="*/ 387858 w 1216913"/>
                <a:gd name="connsiteY325" fmla="*/ 79153 h 1049655"/>
                <a:gd name="connsiteX326" fmla="*/ 388620 w 1216913"/>
                <a:gd name="connsiteY326" fmla="*/ 72580 h 1049655"/>
                <a:gd name="connsiteX327" fmla="*/ 388620 w 1216913"/>
                <a:gd name="connsiteY327" fmla="*/ 59722 h 1049655"/>
                <a:gd name="connsiteX328" fmla="*/ 394335 w 1216913"/>
                <a:gd name="connsiteY328" fmla="*/ 54197 h 1049655"/>
                <a:gd name="connsiteX329" fmla="*/ 398812 w 1216913"/>
                <a:gd name="connsiteY329" fmla="*/ 39243 h 1049655"/>
                <a:gd name="connsiteX330" fmla="*/ 403193 w 1216913"/>
                <a:gd name="connsiteY330" fmla="*/ 35433 h 1049655"/>
                <a:gd name="connsiteX331" fmla="*/ 402812 w 1216913"/>
                <a:gd name="connsiteY331" fmla="*/ 32290 h 1049655"/>
                <a:gd name="connsiteX332" fmla="*/ 405765 w 1216913"/>
                <a:gd name="connsiteY332" fmla="*/ 30290 h 1049655"/>
                <a:gd name="connsiteX333" fmla="*/ 403765 w 1216913"/>
                <a:gd name="connsiteY333" fmla="*/ 27337 h 1049655"/>
                <a:gd name="connsiteX334" fmla="*/ 394240 w 1216913"/>
                <a:gd name="connsiteY334" fmla="*/ 28575 h 1049655"/>
                <a:gd name="connsiteX335" fmla="*/ 392335 w 1216913"/>
                <a:gd name="connsiteY335" fmla="*/ 25622 h 1049655"/>
                <a:gd name="connsiteX336" fmla="*/ 387382 w 1216913"/>
                <a:gd name="connsiteY336" fmla="*/ 24670 h 1049655"/>
                <a:gd name="connsiteX337" fmla="*/ 381952 w 1216913"/>
                <a:gd name="connsiteY337" fmla="*/ 7715 h 1049655"/>
                <a:gd name="connsiteX338" fmla="*/ 366617 w 1216913"/>
                <a:gd name="connsiteY338" fmla="*/ 0 h 1049655"/>
                <a:gd name="connsiteX339" fmla="*/ 358711 w 1216913"/>
                <a:gd name="connsiteY339" fmla="*/ 1048 h 1049655"/>
                <a:gd name="connsiteX340" fmla="*/ 360331 w 1216913"/>
                <a:gd name="connsiteY340" fmla="*/ 13621 h 1049655"/>
                <a:gd name="connsiteX341" fmla="*/ 358330 w 1216913"/>
                <a:gd name="connsiteY341" fmla="*/ 23527 h 1049655"/>
                <a:gd name="connsiteX342" fmla="*/ 360521 w 1216913"/>
                <a:gd name="connsiteY342" fmla="*/ 28099 h 1049655"/>
                <a:gd name="connsiteX343" fmla="*/ 360712 w 1216913"/>
                <a:gd name="connsiteY343" fmla="*/ 29623 h 1049655"/>
                <a:gd name="connsiteX344" fmla="*/ 359378 w 1216913"/>
                <a:gd name="connsiteY344" fmla="*/ 31432 h 1049655"/>
                <a:gd name="connsiteX345" fmla="*/ 340614 w 1216913"/>
                <a:gd name="connsiteY345" fmla="*/ 48196 h 1049655"/>
                <a:gd name="connsiteX346" fmla="*/ 335375 w 1216913"/>
                <a:gd name="connsiteY346" fmla="*/ 56959 h 1049655"/>
                <a:gd name="connsiteX347" fmla="*/ 323279 w 1216913"/>
                <a:gd name="connsiteY347" fmla="*/ 63246 h 1049655"/>
                <a:gd name="connsiteX348" fmla="*/ 312706 w 1216913"/>
                <a:gd name="connsiteY348" fmla="*/ 67818 h 1049655"/>
                <a:gd name="connsiteX349" fmla="*/ 309753 w 1216913"/>
                <a:gd name="connsiteY349" fmla="*/ 69818 h 1049655"/>
                <a:gd name="connsiteX350" fmla="*/ 303181 w 1216913"/>
                <a:gd name="connsiteY350" fmla="*/ 69056 h 1049655"/>
                <a:gd name="connsiteX351" fmla="*/ 302800 w 1216913"/>
                <a:gd name="connsiteY351" fmla="*/ 65913 h 1049655"/>
                <a:gd name="connsiteX352" fmla="*/ 299466 w 1216913"/>
                <a:gd name="connsiteY352" fmla="*/ 64675 h 1049655"/>
                <a:gd name="connsiteX353" fmla="*/ 298609 w 1216913"/>
                <a:gd name="connsiteY353" fmla="*/ 58388 h 1049655"/>
                <a:gd name="connsiteX354" fmla="*/ 295084 w 1216913"/>
                <a:gd name="connsiteY354" fmla="*/ 55626 h 1049655"/>
                <a:gd name="connsiteX355" fmla="*/ 287179 w 1216913"/>
                <a:gd name="connsiteY355" fmla="*/ 56674 h 1049655"/>
                <a:gd name="connsiteX356" fmla="*/ 285845 w 1216913"/>
                <a:gd name="connsiteY356" fmla="*/ 58388 h 1049655"/>
                <a:gd name="connsiteX357" fmla="*/ 279749 w 1216913"/>
                <a:gd name="connsiteY357" fmla="*/ 60865 h 1049655"/>
                <a:gd name="connsiteX358" fmla="*/ 275558 w 1216913"/>
                <a:gd name="connsiteY358" fmla="*/ 66199 h 1049655"/>
                <a:gd name="connsiteX359" fmla="*/ 272224 w 1216913"/>
                <a:gd name="connsiteY359" fmla="*/ 64960 h 1049655"/>
                <a:gd name="connsiteX360" fmla="*/ 266129 w 1216913"/>
                <a:gd name="connsiteY360" fmla="*/ 67342 h 1049655"/>
                <a:gd name="connsiteX361" fmla="*/ 261175 w 1216913"/>
                <a:gd name="connsiteY361" fmla="*/ 66389 h 1049655"/>
                <a:gd name="connsiteX362" fmla="*/ 256032 w 1216913"/>
                <a:gd name="connsiteY362" fmla="*/ 63817 h 1049655"/>
                <a:gd name="connsiteX363" fmla="*/ 251079 w 1216913"/>
                <a:gd name="connsiteY363" fmla="*/ 62865 h 1049655"/>
                <a:gd name="connsiteX364" fmla="*/ 249364 w 1216913"/>
                <a:gd name="connsiteY364" fmla="*/ 61436 h 1049655"/>
                <a:gd name="connsiteX365" fmla="*/ 244602 w 1216913"/>
                <a:gd name="connsiteY365" fmla="*/ 62103 h 1049655"/>
                <a:gd name="connsiteX366" fmla="*/ 228409 w 1216913"/>
                <a:gd name="connsiteY366" fmla="*/ 60960 h 1049655"/>
                <a:gd name="connsiteX367" fmla="*/ 214789 w 1216913"/>
                <a:gd name="connsiteY367" fmla="*/ 67437 h 1049655"/>
                <a:gd name="connsiteX368" fmla="*/ 211836 w 1216913"/>
                <a:gd name="connsiteY368" fmla="*/ 69437 h 1049655"/>
                <a:gd name="connsiteX369" fmla="*/ 210121 w 1216913"/>
                <a:gd name="connsiteY369" fmla="*/ 68104 h 1049655"/>
                <a:gd name="connsiteX370" fmla="*/ 205740 w 1216913"/>
                <a:gd name="connsiteY370" fmla="*/ 71819 h 1049655"/>
                <a:gd name="connsiteX371" fmla="*/ 202216 w 1216913"/>
                <a:gd name="connsiteY371" fmla="*/ 69056 h 1049655"/>
                <a:gd name="connsiteX372" fmla="*/ 200596 w 1216913"/>
                <a:gd name="connsiteY372" fmla="*/ 69247 h 1049655"/>
                <a:gd name="connsiteX373" fmla="*/ 202025 w 1216913"/>
                <a:gd name="connsiteY373" fmla="*/ 80296 h 1049655"/>
                <a:gd name="connsiteX374" fmla="*/ 200882 w 1216913"/>
                <a:gd name="connsiteY374" fmla="*/ 83725 h 1049655"/>
                <a:gd name="connsiteX375" fmla="*/ 196310 w 1216913"/>
                <a:gd name="connsiteY375" fmla="*/ 85915 h 1049655"/>
                <a:gd name="connsiteX376" fmla="*/ 190405 w 1216913"/>
                <a:gd name="connsiteY376" fmla="*/ 89821 h 1049655"/>
                <a:gd name="connsiteX377" fmla="*/ 183451 w 1216913"/>
                <a:gd name="connsiteY377" fmla="*/ 85915 h 1049655"/>
                <a:gd name="connsiteX378" fmla="*/ 181927 w 1216913"/>
                <a:gd name="connsiteY378" fmla="*/ 98965 h 1049655"/>
                <a:gd name="connsiteX379" fmla="*/ 179546 w 1216913"/>
                <a:gd name="connsiteY379" fmla="*/ 105632 h 1049655"/>
                <a:gd name="connsiteX380" fmla="*/ 182404 w 1216913"/>
                <a:gd name="connsiteY380" fmla="*/ 114967 h 1049655"/>
                <a:gd name="connsiteX381" fmla="*/ 181546 w 1216913"/>
                <a:gd name="connsiteY381" fmla="*/ 121444 h 1049655"/>
                <a:gd name="connsiteX382" fmla="*/ 182404 w 1216913"/>
                <a:gd name="connsiteY382" fmla="*/ 127730 h 1049655"/>
                <a:gd name="connsiteX383" fmla="*/ 179641 w 1216913"/>
                <a:gd name="connsiteY383" fmla="*/ 131350 h 1049655"/>
                <a:gd name="connsiteX384" fmla="*/ 180213 w 1216913"/>
                <a:gd name="connsiteY384" fmla="*/ 136017 h 1049655"/>
                <a:gd name="connsiteX385" fmla="*/ 174307 w 1216913"/>
                <a:gd name="connsiteY385" fmla="*/ 140017 h 1049655"/>
                <a:gd name="connsiteX386" fmla="*/ 166021 w 1216913"/>
                <a:gd name="connsiteY386" fmla="*/ 137827 h 1049655"/>
                <a:gd name="connsiteX387" fmla="*/ 163068 w 1216913"/>
                <a:gd name="connsiteY387" fmla="*/ 139827 h 1049655"/>
                <a:gd name="connsiteX388" fmla="*/ 157734 w 1216913"/>
                <a:gd name="connsiteY388" fmla="*/ 135731 h 1049655"/>
                <a:gd name="connsiteX389" fmla="*/ 150019 w 1216913"/>
                <a:gd name="connsiteY389" fmla="*/ 125444 h 1049655"/>
                <a:gd name="connsiteX390" fmla="*/ 148209 w 1216913"/>
                <a:gd name="connsiteY390" fmla="*/ 124111 h 1049655"/>
                <a:gd name="connsiteX391" fmla="*/ 144971 w 1216913"/>
                <a:gd name="connsiteY391" fmla="*/ 135731 h 1049655"/>
                <a:gd name="connsiteX392" fmla="*/ 136493 w 1216913"/>
                <a:gd name="connsiteY392" fmla="*/ 144780 h 1049655"/>
                <a:gd name="connsiteX393" fmla="*/ 129159 w 1216913"/>
                <a:gd name="connsiteY393" fmla="*/ 163354 h 1049655"/>
                <a:gd name="connsiteX394" fmla="*/ 121920 w 1216913"/>
                <a:gd name="connsiteY394" fmla="*/ 169164 h 1049655"/>
                <a:gd name="connsiteX395" fmla="*/ 108299 w 1216913"/>
                <a:gd name="connsiteY395" fmla="*/ 162877 h 1049655"/>
                <a:gd name="connsiteX396" fmla="*/ 102394 w 1216913"/>
                <a:gd name="connsiteY396" fmla="*/ 166783 h 1049655"/>
                <a:gd name="connsiteX397" fmla="*/ 98488 w 1216913"/>
                <a:gd name="connsiteY397" fmla="*/ 173736 h 1049655"/>
                <a:gd name="connsiteX398" fmla="*/ 99250 w 1216913"/>
                <a:gd name="connsiteY398" fmla="*/ 180023 h 1049655"/>
                <a:gd name="connsiteX399" fmla="*/ 94964 w 1216913"/>
                <a:gd name="connsiteY399" fmla="*/ 183832 h 1049655"/>
                <a:gd name="connsiteX400" fmla="*/ 91916 w 1216913"/>
                <a:gd name="connsiteY400" fmla="*/ 185738 h 1049655"/>
                <a:gd name="connsiteX401" fmla="*/ 86582 w 1216913"/>
                <a:gd name="connsiteY401" fmla="*/ 181642 h 1049655"/>
                <a:gd name="connsiteX402" fmla="*/ 81534 w 1216913"/>
                <a:gd name="connsiteY402" fmla="*/ 191929 h 1049655"/>
                <a:gd name="connsiteX403" fmla="*/ 77343 w 1216913"/>
                <a:gd name="connsiteY403" fmla="*/ 197263 h 1049655"/>
                <a:gd name="connsiteX404" fmla="*/ 69342 w 1216913"/>
                <a:gd name="connsiteY404" fmla="*/ 209550 h 1049655"/>
                <a:gd name="connsiteX405" fmla="*/ 66199 w 1216913"/>
                <a:gd name="connsiteY405" fmla="*/ 209931 h 1049655"/>
                <a:gd name="connsiteX406" fmla="*/ 55912 w 1216913"/>
                <a:gd name="connsiteY406" fmla="*/ 217646 h 1049655"/>
                <a:gd name="connsiteX407" fmla="*/ 58483 w 1216913"/>
                <a:gd name="connsiteY407" fmla="*/ 225361 h 1049655"/>
                <a:gd name="connsiteX408" fmla="*/ 59912 w 1216913"/>
                <a:gd name="connsiteY408" fmla="*/ 236411 h 1049655"/>
                <a:gd name="connsiteX409" fmla="*/ 63913 w 1216913"/>
                <a:gd name="connsiteY409" fmla="*/ 242316 h 1049655"/>
                <a:gd name="connsiteX410" fmla="*/ 59912 w 1216913"/>
                <a:gd name="connsiteY410" fmla="*/ 249174 h 1049655"/>
                <a:gd name="connsiteX411" fmla="*/ 44196 w 1216913"/>
                <a:gd name="connsiteY411" fmla="*/ 264033 h 1049655"/>
                <a:gd name="connsiteX412" fmla="*/ 51721 w 1216913"/>
                <a:gd name="connsiteY412" fmla="*/ 285559 h 1049655"/>
                <a:gd name="connsiteX413" fmla="*/ 51340 w 1216913"/>
                <a:gd name="connsiteY413" fmla="*/ 295180 h 1049655"/>
                <a:gd name="connsiteX414" fmla="*/ 53721 w 1216913"/>
                <a:gd name="connsiteY414" fmla="*/ 301276 h 1049655"/>
                <a:gd name="connsiteX415" fmla="*/ 54769 w 1216913"/>
                <a:gd name="connsiteY415" fmla="*/ 309182 h 1049655"/>
                <a:gd name="connsiteX416" fmla="*/ 47530 w 1216913"/>
                <a:gd name="connsiteY416" fmla="*/ 327755 h 1049655"/>
                <a:gd name="connsiteX417" fmla="*/ 39814 w 1216913"/>
                <a:gd name="connsiteY417" fmla="*/ 330327 h 1049655"/>
                <a:gd name="connsiteX418" fmla="*/ 37242 w 1216913"/>
                <a:gd name="connsiteY418" fmla="*/ 335471 h 1049655"/>
                <a:gd name="connsiteX419" fmla="*/ 31718 w 1216913"/>
                <a:gd name="connsiteY419" fmla="*/ 342614 h 1049655"/>
                <a:gd name="connsiteX420" fmla="*/ 24098 w 1216913"/>
                <a:gd name="connsiteY420" fmla="*/ 345186 h 1049655"/>
                <a:gd name="connsiteX421" fmla="*/ 19526 w 1216913"/>
                <a:gd name="connsiteY421" fmla="*/ 360140 h 1049655"/>
                <a:gd name="connsiteX422" fmla="*/ 11049 w 1216913"/>
                <a:gd name="connsiteY422" fmla="*/ 369284 h 1049655"/>
                <a:gd name="connsiteX423" fmla="*/ 12668 w 1216913"/>
                <a:gd name="connsiteY423" fmla="*/ 381857 h 1049655"/>
                <a:gd name="connsiteX424" fmla="*/ 15049 w 1216913"/>
                <a:gd name="connsiteY424" fmla="*/ 388048 h 1049655"/>
                <a:gd name="connsiteX425" fmla="*/ 14288 w 1216913"/>
                <a:gd name="connsiteY425" fmla="*/ 394526 h 1049655"/>
                <a:gd name="connsiteX426" fmla="*/ 5429 w 1216913"/>
                <a:gd name="connsiteY426" fmla="*/ 400431 h 1049655"/>
                <a:gd name="connsiteX427" fmla="*/ 3905 w 1216913"/>
                <a:gd name="connsiteY427" fmla="*/ 400622 h 1049655"/>
                <a:gd name="connsiteX428" fmla="*/ 6286 w 1216913"/>
                <a:gd name="connsiteY428" fmla="*/ 406813 h 1049655"/>
                <a:gd name="connsiteX429" fmla="*/ 14764 w 1216913"/>
                <a:gd name="connsiteY429" fmla="*/ 410528 h 1049655"/>
                <a:gd name="connsiteX430" fmla="*/ 29432 w 1216913"/>
                <a:gd name="connsiteY430" fmla="*/ 424720 h 1049655"/>
                <a:gd name="connsiteX431" fmla="*/ 33528 w 1216913"/>
                <a:gd name="connsiteY431" fmla="*/ 432149 h 1049655"/>
                <a:gd name="connsiteX432" fmla="*/ 33718 w 1216913"/>
                <a:gd name="connsiteY432" fmla="*/ 433769 h 1049655"/>
                <a:gd name="connsiteX433" fmla="*/ 36100 w 1216913"/>
                <a:gd name="connsiteY433" fmla="*/ 439865 h 1049655"/>
                <a:gd name="connsiteX434" fmla="*/ 33338 w 1216913"/>
                <a:gd name="connsiteY434" fmla="*/ 443389 h 1049655"/>
                <a:gd name="connsiteX435" fmla="*/ 35338 w 1216913"/>
                <a:gd name="connsiteY435" fmla="*/ 446341 h 1049655"/>
                <a:gd name="connsiteX436" fmla="*/ 32766 w 1216913"/>
                <a:gd name="connsiteY436" fmla="*/ 451485 h 1049655"/>
                <a:gd name="connsiteX437" fmla="*/ 31051 w 1216913"/>
                <a:gd name="connsiteY437" fmla="*/ 450152 h 1049655"/>
                <a:gd name="connsiteX438" fmla="*/ 28861 w 1216913"/>
                <a:gd name="connsiteY438" fmla="*/ 458438 h 1049655"/>
                <a:gd name="connsiteX439" fmla="*/ 22574 w 1216913"/>
                <a:gd name="connsiteY439" fmla="*/ 459200 h 1049655"/>
                <a:gd name="connsiteX440" fmla="*/ 21622 w 1216913"/>
                <a:gd name="connsiteY440" fmla="*/ 464153 h 1049655"/>
                <a:gd name="connsiteX441" fmla="*/ 17050 w 1216913"/>
                <a:gd name="connsiteY441" fmla="*/ 466344 h 1049655"/>
                <a:gd name="connsiteX442" fmla="*/ 17431 w 1216913"/>
                <a:gd name="connsiteY442" fmla="*/ 469487 h 1049655"/>
                <a:gd name="connsiteX443" fmla="*/ 9811 w 1216913"/>
                <a:gd name="connsiteY443" fmla="*/ 472059 h 1049655"/>
                <a:gd name="connsiteX444" fmla="*/ 12097 w 1216913"/>
                <a:gd name="connsiteY444" fmla="*/ 478155 h 1049655"/>
                <a:gd name="connsiteX445" fmla="*/ 10954 w 1216913"/>
                <a:gd name="connsiteY445" fmla="*/ 481584 h 1049655"/>
                <a:gd name="connsiteX446" fmla="*/ 19240 w 1216913"/>
                <a:gd name="connsiteY446" fmla="*/ 483679 h 1049655"/>
                <a:gd name="connsiteX447" fmla="*/ 16954 w 1216913"/>
                <a:gd name="connsiteY447" fmla="*/ 490442 h 1049655"/>
                <a:gd name="connsiteX448" fmla="*/ 17335 w 1216913"/>
                <a:gd name="connsiteY448" fmla="*/ 493586 h 1049655"/>
                <a:gd name="connsiteX449" fmla="*/ 15907 w 1216913"/>
                <a:gd name="connsiteY449" fmla="*/ 495395 h 1049655"/>
                <a:gd name="connsiteX450" fmla="*/ 14192 w 1216913"/>
                <a:gd name="connsiteY450" fmla="*/ 493966 h 1049655"/>
                <a:gd name="connsiteX451" fmla="*/ 13144 w 1216913"/>
                <a:gd name="connsiteY451" fmla="*/ 498919 h 1049655"/>
                <a:gd name="connsiteX452" fmla="*/ 13430 w 1216913"/>
                <a:gd name="connsiteY452" fmla="*/ 500539 h 1049655"/>
                <a:gd name="connsiteX453" fmla="*/ 7715 w 1216913"/>
                <a:gd name="connsiteY453" fmla="*/ 506063 h 1049655"/>
                <a:gd name="connsiteX454" fmla="*/ 6477 w 1216913"/>
                <a:gd name="connsiteY454" fmla="*/ 509397 h 1049655"/>
                <a:gd name="connsiteX455" fmla="*/ 1714 w 1216913"/>
                <a:gd name="connsiteY455" fmla="*/ 509969 h 1049655"/>
                <a:gd name="connsiteX456" fmla="*/ 4191 w 1216913"/>
                <a:gd name="connsiteY456" fmla="*/ 516065 h 1049655"/>
                <a:gd name="connsiteX457" fmla="*/ 952 w 1216913"/>
                <a:gd name="connsiteY457" fmla="*/ 516541 h 1049655"/>
                <a:gd name="connsiteX458" fmla="*/ 0 w 1216913"/>
                <a:gd name="connsiteY458" fmla="*/ 521398 h 1049655"/>
                <a:gd name="connsiteX459" fmla="*/ 8477 w 1216913"/>
                <a:gd name="connsiteY459" fmla="*/ 525208 h 1049655"/>
                <a:gd name="connsiteX460" fmla="*/ 10858 w 1216913"/>
                <a:gd name="connsiteY460" fmla="*/ 531304 h 1049655"/>
                <a:gd name="connsiteX461" fmla="*/ 10287 w 1216913"/>
                <a:gd name="connsiteY461" fmla="*/ 539401 h 1049655"/>
                <a:gd name="connsiteX462" fmla="*/ 12859 w 1216913"/>
                <a:gd name="connsiteY462" fmla="*/ 534257 h 1049655"/>
                <a:gd name="connsiteX463" fmla="*/ 16192 w 1216913"/>
                <a:gd name="connsiteY463" fmla="*/ 535400 h 1049655"/>
                <a:gd name="connsiteX464" fmla="*/ 18192 w 1216913"/>
                <a:gd name="connsiteY464" fmla="*/ 538353 h 1049655"/>
                <a:gd name="connsiteX465" fmla="*/ 19050 w 1216913"/>
                <a:gd name="connsiteY465" fmla="*/ 544640 h 1049655"/>
                <a:gd name="connsiteX466" fmla="*/ 23622 w 1216913"/>
                <a:gd name="connsiteY466" fmla="*/ 555307 h 1049655"/>
                <a:gd name="connsiteX467" fmla="*/ 26956 w 1216913"/>
                <a:gd name="connsiteY467" fmla="*/ 556546 h 1049655"/>
                <a:gd name="connsiteX468" fmla="*/ 29146 w 1216913"/>
                <a:gd name="connsiteY468" fmla="*/ 561023 h 1049655"/>
                <a:gd name="connsiteX469" fmla="*/ 36195 w 1216913"/>
                <a:gd name="connsiteY469" fmla="*/ 553688 h 1049655"/>
                <a:gd name="connsiteX470" fmla="*/ 39338 w 1216913"/>
                <a:gd name="connsiteY470" fmla="*/ 553307 h 1049655"/>
                <a:gd name="connsiteX471" fmla="*/ 44291 w 1216913"/>
                <a:gd name="connsiteY471" fmla="*/ 554260 h 1049655"/>
                <a:gd name="connsiteX472" fmla="*/ 43720 w 1216913"/>
                <a:gd name="connsiteY472" fmla="*/ 549593 h 1049655"/>
                <a:gd name="connsiteX473" fmla="*/ 45053 w 1216913"/>
                <a:gd name="connsiteY473" fmla="*/ 547783 h 1049655"/>
                <a:gd name="connsiteX474" fmla="*/ 50197 w 1216913"/>
                <a:gd name="connsiteY474" fmla="*/ 550354 h 1049655"/>
                <a:gd name="connsiteX475" fmla="*/ 53911 w 1216913"/>
                <a:gd name="connsiteY475" fmla="*/ 541877 h 1049655"/>
                <a:gd name="connsiteX476" fmla="*/ 57055 w 1216913"/>
                <a:gd name="connsiteY476" fmla="*/ 541401 h 1049655"/>
                <a:gd name="connsiteX477" fmla="*/ 54578 w 1216913"/>
                <a:gd name="connsiteY477" fmla="*/ 559403 h 1049655"/>
                <a:gd name="connsiteX478" fmla="*/ 48482 w 1216913"/>
                <a:gd name="connsiteY478" fmla="*/ 574643 h 1049655"/>
                <a:gd name="connsiteX479" fmla="*/ 46101 w 1216913"/>
                <a:gd name="connsiteY479" fmla="*/ 581311 h 1049655"/>
                <a:gd name="connsiteX480" fmla="*/ 49244 w 1216913"/>
                <a:gd name="connsiteY480" fmla="*/ 580930 h 1049655"/>
                <a:gd name="connsiteX481" fmla="*/ 49721 w 1216913"/>
                <a:gd name="connsiteY481" fmla="*/ 584073 h 1049655"/>
                <a:gd name="connsiteX482" fmla="*/ 51435 w 1216913"/>
                <a:gd name="connsiteY482" fmla="*/ 585407 h 1049655"/>
                <a:gd name="connsiteX483" fmla="*/ 51911 w 1216913"/>
                <a:gd name="connsiteY483" fmla="*/ 588645 h 1049655"/>
                <a:gd name="connsiteX484" fmla="*/ 53245 w 1216913"/>
                <a:gd name="connsiteY484" fmla="*/ 586835 h 1049655"/>
                <a:gd name="connsiteX485" fmla="*/ 56197 w 1216913"/>
                <a:gd name="connsiteY485" fmla="*/ 584835 h 1049655"/>
                <a:gd name="connsiteX486" fmla="*/ 58007 w 1216913"/>
                <a:gd name="connsiteY486" fmla="*/ 586264 h 1049655"/>
                <a:gd name="connsiteX487" fmla="*/ 59531 w 1216913"/>
                <a:gd name="connsiteY487" fmla="*/ 585978 h 1049655"/>
                <a:gd name="connsiteX488" fmla="*/ 59150 w 1216913"/>
                <a:gd name="connsiteY488" fmla="*/ 582835 h 1049655"/>
                <a:gd name="connsiteX489" fmla="*/ 62293 w 1216913"/>
                <a:gd name="connsiteY489" fmla="*/ 582454 h 1049655"/>
                <a:gd name="connsiteX490" fmla="*/ 63532 w 1216913"/>
                <a:gd name="connsiteY490" fmla="*/ 579120 h 1049655"/>
                <a:gd name="connsiteX491" fmla="*/ 65437 w 1216913"/>
                <a:gd name="connsiteY491" fmla="*/ 582073 h 1049655"/>
                <a:gd name="connsiteX492" fmla="*/ 70009 w 1216913"/>
                <a:gd name="connsiteY492" fmla="*/ 579882 h 1049655"/>
                <a:gd name="connsiteX493" fmla="*/ 73533 w 1216913"/>
                <a:gd name="connsiteY493" fmla="*/ 582644 h 1049655"/>
                <a:gd name="connsiteX494" fmla="*/ 76486 w 1216913"/>
                <a:gd name="connsiteY494" fmla="*/ 580644 h 1049655"/>
                <a:gd name="connsiteX495" fmla="*/ 78867 w 1216913"/>
                <a:gd name="connsiteY495" fmla="*/ 586740 h 1049655"/>
                <a:gd name="connsiteX496" fmla="*/ 85439 w 1216913"/>
                <a:gd name="connsiteY496" fmla="*/ 587502 h 1049655"/>
                <a:gd name="connsiteX497" fmla="*/ 88963 w 1216913"/>
                <a:gd name="connsiteY497" fmla="*/ 590264 h 1049655"/>
                <a:gd name="connsiteX498" fmla="*/ 93535 w 1216913"/>
                <a:gd name="connsiteY498" fmla="*/ 588074 h 1049655"/>
                <a:gd name="connsiteX499" fmla="*/ 95536 w 1216913"/>
                <a:gd name="connsiteY499" fmla="*/ 591026 h 1049655"/>
                <a:gd name="connsiteX500" fmla="*/ 96107 w 1216913"/>
                <a:gd name="connsiteY500" fmla="*/ 595789 h 1049655"/>
                <a:gd name="connsiteX501" fmla="*/ 97250 w 1216913"/>
                <a:gd name="connsiteY501" fmla="*/ 592455 h 1049655"/>
                <a:gd name="connsiteX502" fmla="*/ 98869 w 1216913"/>
                <a:gd name="connsiteY502" fmla="*/ 592265 h 1049655"/>
                <a:gd name="connsiteX503" fmla="*/ 104204 w 1216913"/>
                <a:gd name="connsiteY503" fmla="*/ 596360 h 1049655"/>
                <a:gd name="connsiteX504" fmla="*/ 104394 w 1216913"/>
                <a:gd name="connsiteY504" fmla="*/ 597979 h 1049655"/>
                <a:gd name="connsiteX505" fmla="*/ 104584 w 1216913"/>
                <a:gd name="connsiteY505" fmla="*/ 599503 h 1049655"/>
                <a:gd name="connsiteX506" fmla="*/ 109538 w 1216913"/>
                <a:gd name="connsiteY506" fmla="*/ 600551 h 1049655"/>
                <a:gd name="connsiteX507" fmla="*/ 115633 w 1216913"/>
                <a:gd name="connsiteY507" fmla="*/ 598075 h 1049655"/>
                <a:gd name="connsiteX508" fmla="*/ 127254 w 1216913"/>
                <a:gd name="connsiteY508" fmla="*/ 601408 h 1049655"/>
                <a:gd name="connsiteX509" fmla="*/ 126301 w 1216913"/>
                <a:gd name="connsiteY509" fmla="*/ 606361 h 1049655"/>
                <a:gd name="connsiteX510" fmla="*/ 128302 w 1216913"/>
                <a:gd name="connsiteY510" fmla="*/ 609314 h 1049655"/>
                <a:gd name="connsiteX511" fmla="*/ 130873 w 1216913"/>
                <a:gd name="connsiteY511" fmla="*/ 604171 h 1049655"/>
                <a:gd name="connsiteX512" fmla="*/ 133636 w 1216913"/>
                <a:gd name="connsiteY512" fmla="*/ 600647 h 1049655"/>
                <a:gd name="connsiteX513" fmla="*/ 143065 w 1216913"/>
                <a:gd name="connsiteY513" fmla="*/ 599408 h 1049655"/>
                <a:gd name="connsiteX514" fmla="*/ 150400 w 1216913"/>
                <a:gd name="connsiteY514" fmla="*/ 593693 h 1049655"/>
                <a:gd name="connsiteX515" fmla="*/ 157829 w 1216913"/>
                <a:gd name="connsiteY515" fmla="*/ 602361 h 1049655"/>
                <a:gd name="connsiteX516" fmla="*/ 159258 w 1216913"/>
                <a:gd name="connsiteY516" fmla="*/ 600551 h 1049655"/>
                <a:gd name="connsiteX517" fmla="*/ 161258 w 1216913"/>
                <a:gd name="connsiteY517" fmla="*/ 603504 h 1049655"/>
                <a:gd name="connsiteX518" fmla="*/ 172688 w 1216913"/>
                <a:gd name="connsiteY518" fmla="*/ 618077 h 1049655"/>
                <a:gd name="connsiteX519" fmla="*/ 174688 w 1216913"/>
                <a:gd name="connsiteY519" fmla="*/ 621030 h 1049655"/>
                <a:gd name="connsiteX520" fmla="*/ 177832 w 1216913"/>
                <a:gd name="connsiteY520" fmla="*/ 620649 h 1049655"/>
                <a:gd name="connsiteX521" fmla="*/ 180022 w 1216913"/>
                <a:gd name="connsiteY521" fmla="*/ 625221 h 1049655"/>
                <a:gd name="connsiteX522" fmla="*/ 186976 w 1216913"/>
                <a:gd name="connsiteY522" fmla="*/ 629126 h 1049655"/>
                <a:gd name="connsiteX523" fmla="*/ 189357 w 1216913"/>
                <a:gd name="connsiteY523" fmla="*/ 635222 h 1049655"/>
                <a:gd name="connsiteX524" fmla="*/ 186404 w 1216913"/>
                <a:gd name="connsiteY524" fmla="*/ 637223 h 1049655"/>
                <a:gd name="connsiteX525" fmla="*/ 186785 w 1216913"/>
                <a:gd name="connsiteY525" fmla="*/ 640366 h 1049655"/>
                <a:gd name="connsiteX526" fmla="*/ 193929 w 1216913"/>
                <a:gd name="connsiteY526" fmla="*/ 645890 h 1049655"/>
                <a:gd name="connsiteX527" fmla="*/ 195834 w 1216913"/>
                <a:gd name="connsiteY527" fmla="*/ 648843 h 1049655"/>
                <a:gd name="connsiteX528" fmla="*/ 189738 w 1216913"/>
                <a:gd name="connsiteY528" fmla="*/ 651224 h 1049655"/>
                <a:gd name="connsiteX529" fmla="*/ 196882 w 1216913"/>
                <a:gd name="connsiteY529" fmla="*/ 656749 h 1049655"/>
                <a:gd name="connsiteX530" fmla="*/ 199072 w 1216913"/>
                <a:gd name="connsiteY530" fmla="*/ 661226 h 1049655"/>
                <a:gd name="connsiteX531" fmla="*/ 198691 w 1216913"/>
                <a:gd name="connsiteY531" fmla="*/ 658082 h 1049655"/>
                <a:gd name="connsiteX532" fmla="*/ 203359 w 1216913"/>
                <a:gd name="connsiteY532" fmla="*/ 657511 h 1049655"/>
                <a:gd name="connsiteX533" fmla="*/ 207740 w 1216913"/>
                <a:gd name="connsiteY533" fmla="*/ 653701 h 1049655"/>
                <a:gd name="connsiteX534" fmla="*/ 215170 w 1216913"/>
                <a:gd name="connsiteY534" fmla="*/ 649605 h 1049655"/>
                <a:gd name="connsiteX535" fmla="*/ 230219 w 1216913"/>
                <a:gd name="connsiteY535" fmla="*/ 654082 h 1049655"/>
                <a:gd name="connsiteX536" fmla="*/ 235363 w 1216913"/>
                <a:gd name="connsiteY536" fmla="*/ 656653 h 1049655"/>
                <a:gd name="connsiteX537" fmla="*/ 238125 w 1216913"/>
                <a:gd name="connsiteY537" fmla="*/ 653034 h 1049655"/>
                <a:gd name="connsiteX538" fmla="*/ 241459 w 1216913"/>
                <a:gd name="connsiteY538" fmla="*/ 654272 h 1049655"/>
                <a:gd name="connsiteX539" fmla="*/ 249746 w 1216913"/>
                <a:gd name="connsiteY539" fmla="*/ 669227 h 1049655"/>
                <a:gd name="connsiteX540" fmla="*/ 253174 w 1216913"/>
                <a:gd name="connsiteY540" fmla="*/ 670370 h 1049655"/>
                <a:gd name="connsiteX541" fmla="*/ 266319 w 1216913"/>
                <a:gd name="connsiteY541" fmla="*/ 673513 h 1049655"/>
                <a:gd name="connsiteX542" fmla="*/ 274225 w 1216913"/>
                <a:gd name="connsiteY542" fmla="*/ 659702 h 1049655"/>
                <a:gd name="connsiteX543" fmla="*/ 272415 w 1216913"/>
                <a:gd name="connsiteY543" fmla="*/ 658368 h 1049655"/>
                <a:gd name="connsiteX544" fmla="*/ 273653 w 1216913"/>
                <a:gd name="connsiteY544" fmla="*/ 654939 h 1049655"/>
                <a:gd name="connsiteX545" fmla="*/ 276225 w 1216913"/>
                <a:gd name="connsiteY545" fmla="*/ 649795 h 1049655"/>
                <a:gd name="connsiteX546" fmla="*/ 279559 w 1216913"/>
                <a:gd name="connsiteY546" fmla="*/ 651034 h 1049655"/>
                <a:gd name="connsiteX547" fmla="*/ 281559 w 1216913"/>
                <a:gd name="connsiteY547" fmla="*/ 653986 h 1049655"/>
                <a:gd name="connsiteX548" fmla="*/ 289846 w 1216913"/>
                <a:gd name="connsiteY548" fmla="*/ 656082 h 1049655"/>
                <a:gd name="connsiteX549" fmla="*/ 298323 w 1216913"/>
                <a:gd name="connsiteY549" fmla="*/ 659797 h 1049655"/>
                <a:gd name="connsiteX550" fmla="*/ 310134 w 1216913"/>
                <a:gd name="connsiteY550" fmla="*/ 677608 h 1049655"/>
                <a:gd name="connsiteX551" fmla="*/ 316897 w 1216913"/>
                <a:gd name="connsiteY551" fmla="*/ 679895 h 1049655"/>
                <a:gd name="connsiteX552" fmla="*/ 329565 w 1216913"/>
                <a:gd name="connsiteY552" fmla="*/ 678275 h 1049655"/>
                <a:gd name="connsiteX553" fmla="*/ 330327 w 1216913"/>
                <a:gd name="connsiteY553" fmla="*/ 671798 h 1049655"/>
                <a:gd name="connsiteX554" fmla="*/ 336423 w 1216913"/>
                <a:gd name="connsiteY554" fmla="*/ 669417 h 1049655"/>
                <a:gd name="connsiteX555" fmla="*/ 340519 w 1216913"/>
                <a:gd name="connsiteY555" fmla="*/ 664083 h 1049655"/>
                <a:gd name="connsiteX556" fmla="*/ 343852 w 1216913"/>
                <a:gd name="connsiteY556" fmla="*/ 665226 h 1049655"/>
                <a:gd name="connsiteX557" fmla="*/ 346234 w 1216913"/>
                <a:gd name="connsiteY557" fmla="*/ 658558 h 1049655"/>
                <a:gd name="connsiteX558" fmla="*/ 354901 w 1216913"/>
                <a:gd name="connsiteY558" fmla="*/ 663893 h 1049655"/>
                <a:gd name="connsiteX559" fmla="*/ 359664 w 1216913"/>
                <a:gd name="connsiteY559" fmla="*/ 663226 h 1049655"/>
                <a:gd name="connsiteX560" fmla="*/ 365569 w 1216913"/>
                <a:gd name="connsiteY560" fmla="*/ 672084 h 1049655"/>
                <a:gd name="connsiteX561" fmla="*/ 371761 w 1216913"/>
                <a:gd name="connsiteY561" fmla="*/ 669703 h 1049655"/>
                <a:gd name="connsiteX562" fmla="*/ 375094 w 1216913"/>
                <a:gd name="connsiteY562" fmla="*/ 670941 h 1049655"/>
                <a:gd name="connsiteX563" fmla="*/ 378619 w 1216913"/>
                <a:gd name="connsiteY563" fmla="*/ 673703 h 1049655"/>
                <a:gd name="connsiteX564" fmla="*/ 376047 w 1216913"/>
                <a:gd name="connsiteY564" fmla="*/ 678847 h 1049655"/>
                <a:gd name="connsiteX565" fmla="*/ 379476 w 1216913"/>
                <a:gd name="connsiteY565" fmla="*/ 679990 h 1049655"/>
                <a:gd name="connsiteX566" fmla="*/ 381190 w 1216913"/>
                <a:gd name="connsiteY566" fmla="*/ 681323 h 1049655"/>
                <a:gd name="connsiteX567" fmla="*/ 384810 w 1216913"/>
                <a:gd name="connsiteY567" fmla="*/ 684086 h 1049655"/>
                <a:gd name="connsiteX568" fmla="*/ 387953 w 1216913"/>
                <a:gd name="connsiteY568" fmla="*/ 683704 h 1049655"/>
                <a:gd name="connsiteX569" fmla="*/ 390334 w 1216913"/>
                <a:gd name="connsiteY569" fmla="*/ 677037 h 1049655"/>
                <a:gd name="connsiteX570" fmla="*/ 391858 w 1216913"/>
                <a:gd name="connsiteY570" fmla="*/ 676751 h 1049655"/>
                <a:gd name="connsiteX571" fmla="*/ 391287 w 1216913"/>
                <a:gd name="connsiteY571" fmla="*/ 684848 h 1049655"/>
                <a:gd name="connsiteX572" fmla="*/ 393287 w 1216913"/>
                <a:gd name="connsiteY572" fmla="*/ 687800 h 1049655"/>
                <a:gd name="connsiteX573" fmla="*/ 391668 w 1216913"/>
                <a:gd name="connsiteY573" fmla="*/ 687991 h 1049655"/>
                <a:gd name="connsiteX574" fmla="*/ 390715 w 1216913"/>
                <a:gd name="connsiteY574" fmla="*/ 692944 h 1049655"/>
                <a:gd name="connsiteX575" fmla="*/ 389096 w 1216913"/>
                <a:gd name="connsiteY575" fmla="*/ 693134 h 1049655"/>
                <a:gd name="connsiteX576" fmla="*/ 382905 w 1216913"/>
                <a:gd name="connsiteY576" fmla="*/ 706755 h 1049655"/>
                <a:gd name="connsiteX577" fmla="*/ 381857 w 1216913"/>
                <a:gd name="connsiteY577" fmla="*/ 711708 h 1049655"/>
                <a:gd name="connsiteX578" fmla="*/ 385096 w 1216913"/>
                <a:gd name="connsiteY578" fmla="*/ 724186 h 1049655"/>
                <a:gd name="connsiteX579" fmla="*/ 386715 w 1216913"/>
                <a:gd name="connsiteY579" fmla="*/ 736759 h 1049655"/>
                <a:gd name="connsiteX580" fmla="*/ 389096 w 1216913"/>
                <a:gd name="connsiteY580" fmla="*/ 742855 h 1049655"/>
                <a:gd name="connsiteX581" fmla="*/ 409861 w 1216913"/>
                <a:gd name="connsiteY581" fmla="*/ 754666 h 1049655"/>
                <a:gd name="connsiteX582" fmla="*/ 410242 w 1216913"/>
                <a:gd name="connsiteY582" fmla="*/ 757809 h 1049655"/>
                <a:gd name="connsiteX583" fmla="*/ 411956 w 1216913"/>
                <a:gd name="connsiteY583" fmla="*/ 759238 h 1049655"/>
                <a:gd name="connsiteX584" fmla="*/ 414528 w 1216913"/>
                <a:gd name="connsiteY584" fmla="*/ 754094 h 1049655"/>
                <a:gd name="connsiteX585" fmla="*/ 416338 w 1216913"/>
                <a:gd name="connsiteY585" fmla="*/ 755428 h 1049655"/>
                <a:gd name="connsiteX586" fmla="*/ 417671 w 1216913"/>
                <a:gd name="connsiteY586" fmla="*/ 753713 h 1049655"/>
                <a:gd name="connsiteX587" fmla="*/ 419290 w 1216913"/>
                <a:gd name="connsiteY587" fmla="*/ 753523 h 1049655"/>
                <a:gd name="connsiteX588" fmla="*/ 419671 w 1216913"/>
                <a:gd name="connsiteY588" fmla="*/ 743807 h 1049655"/>
                <a:gd name="connsiteX589" fmla="*/ 422243 w 1216913"/>
                <a:gd name="connsiteY589" fmla="*/ 738664 h 1049655"/>
                <a:gd name="connsiteX590" fmla="*/ 422243 w 1216913"/>
                <a:gd name="connsiteY590" fmla="*/ 738664 h 1049655"/>
                <a:gd name="connsiteX591" fmla="*/ 429292 w 1216913"/>
                <a:gd name="connsiteY591" fmla="*/ 744188 h 1049655"/>
                <a:gd name="connsiteX592" fmla="*/ 437864 w 1216913"/>
                <a:gd name="connsiteY592" fmla="*/ 760762 h 1049655"/>
                <a:gd name="connsiteX593" fmla="*/ 448532 w 1216913"/>
                <a:gd name="connsiteY593" fmla="*/ 769049 h 1049655"/>
                <a:gd name="connsiteX594" fmla="*/ 444817 w 1216913"/>
                <a:gd name="connsiteY594" fmla="*/ 777526 h 1049655"/>
                <a:gd name="connsiteX595" fmla="*/ 450151 w 1216913"/>
                <a:gd name="connsiteY595" fmla="*/ 781622 h 1049655"/>
                <a:gd name="connsiteX596" fmla="*/ 451294 w 1216913"/>
                <a:gd name="connsiteY596" fmla="*/ 791051 h 1049655"/>
                <a:gd name="connsiteX597" fmla="*/ 453104 w 1216913"/>
                <a:gd name="connsiteY597" fmla="*/ 792480 h 1049655"/>
                <a:gd name="connsiteX598" fmla="*/ 455866 w 1216913"/>
                <a:gd name="connsiteY598" fmla="*/ 788956 h 1049655"/>
                <a:gd name="connsiteX599" fmla="*/ 459010 w 1216913"/>
                <a:gd name="connsiteY599" fmla="*/ 788479 h 1049655"/>
                <a:gd name="connsiteX600" fmla="*/ 464820 w 1216913"/>
                <a:gd name="connsiteY600" fmla="*/ 795814 h 1049655"/>
                <a:gd name="connsiteX601" fmla="*/ 473488 w 1216913"/>
                <a:gd name="connsiteY601" fmla="*/ 801148 h 1049655"/>
                <a:gd name="connsiteX602" fmla="*/ 479965 w 1216913"/>
                <a:gd name="connsiteY602" fmla="*/ 801910 h 1049655"/>
                <a:gd name="connsiteX603" fmla="*/ 484537 w 1216913"/>
                <a:gd name="connsiteY603" fmla="*/ 812482 h 1049655"/>
                <a:gd name="connsiteX604" fmla="*/ 490061 w 1216913"/>
                <a:gd name="connsiteY604" fmla="*/ 818198 h 1049655"/>
                <a:gd name="connsiteX605" fmla="*/ 493681 w 1216913"/>
                <a:gd name="connsiteY605" fmla="*/ 820960 h 1049655"/>
                <a:gd name="connsiteX606" fmla="*/ 495586 w 1216913"/>
                <a:gd name="connsiteY606" fmla="*/ 823912 h 1049655"/>
                <a:gd name="connsiteX607" fmla="*/ 497967 w 1216913"/>
                <a:gd name="connsiteY607" fmla="*/ 830008 h 1049655"/>
                <a:gd name="connsiteX608" fmla="*/ 501110 w 1216913"/>
                <a:gd name="connsiteY608" fmla="*/ 829628 h 1049655"/>
                <a:gd name="connsiteX609" fmla="*/ 501777 w 1216913"/>
                <a:gd name="connsiteY609" fmla="*/ 834390 h 1049655"/>
                <a:gd name="connsiteX610" fmla="*/ 503301 w 1216913"/>
                <a:gd name="connsiteY610" fmla="*/ 834199 h 1049655"/>
                <a:gd name="connsiteX611" fmla="*/ 501967 w 1216913"/>
                <a:gd name="connsiteY611" fmla="*/ 836009 h 1049655"/>
                <a:gd name="connsiteX612" fmla="*/ 504158 w 1216913"/>
                <a:gd name="connsiteY612" fmla="*/ 840486 h 1049655"/>
                <a:gd name="connsiteX613" fmla="*/ 507111 w 1216913"/>
                <a:gd name="connsiteY613" fmla="*/ 838486 h 1049655"/>
                <a:gd name="connsiteX614" fmla="*/ 508921 w 1216913"/>
                <a:gd name="connsiteY614" fmla="*/ 839915 h 1049655"/>
                <a:gd name="connsiteX615" fmla="*/ 508063 w 1216913"/>
                <a:gd name="connsiteY615" fmla="*/ 846391 h 1049655"/>
                <a:gd name="connsiteX616" fmla="*/ 513207 w 1216913"/>
                <a:gd name="connsiteY616" fmla="*/ 848963 h 1049655"/>
                <a:gd name="connsiteX617" fmla="*/ 516350 w 1216913"/>
                <a:gd name="connsiteY617" fmla="*/ 848582 h 1049655"/>
                <a:gd name="connsiteX618" fmla="*/ 513397 w 1216913"/>
                <a:gd name="connsiteY618" fmla="*/ 850582 h 1049655"/>
                <a:gd name="connsiteX619" fmla="*/ 515017 w 1216913"/>
                <a:gd name="connsiteY619" fmla="*/ 850297 h 1049655"/>
                <a:gd name="connsiteX620" fmla="*/ 513874 w 1216913"/>
                <a:gd name="connsiteY620" fmla="*/ 853726 h 1049655"/>
                <a:gd name="connsiteX621" fmla="*/ 517207 w 1216913"/>
                <a:gd name="connsiteY621" fmla="*/ 854869 h 1049655"/>
                <a:gd name="connsiteX622" fmla="*/ 513302 w 1216913"/>
                <a:gd name="connsiteY622" fmla="*/ 861822 h 1049655"/>
                <a:gd name="connsiteX623" fmla="*/ 508349 w 1216913"/>
                <a:gd name="connsiteY623" fmla="*/ 860774 h 1049655"/>
                <a:gd name="connsiteX624" fmla="*/ 501205 w 1216913"/>
                <a:gd name="connsiteY624" fmla="*/ 868108 h 1049655"/>
                <a:gd name="connsiteX625" fmla="*/ 501682 w 1216913"/>
                <a:gd name="connsiteY625" fmla="*/ 871252 h 1049655"/>
                <a:gd name="connsiteX626" fmla="*/ 504825 w 1216913"/>
                <a:gd name="connsiteY626" fmla="*/ 870871 h 1049655"/>
                <a:gd name="connsiteX627" fmla="*/ 508730 w 1216913"/>
                <a:gd name="connsiteY627" fmla="*/ 876776 h 1049655"/>
                <a:gd name="connsiteX628" fmla="*/ 509588 w 1216913"/>
                <a:gd name="connsiteY628" fmla="*/ 883063 h 1049655"/>
                <a:gd name="connsiteX629" fmla="*/ 516731 w 1216913"/>
                <a:gd name="connsiteY629" fmla="*/ 888587 h 1049655"/>
                <a:gd name="connsiteX630" fmla="*/ 521398 w 1216913"/>
                <a:gd name="connsiteY630" fmla="*/ 875157 h 1049655"/>
                <a:gd name="connsiteX631" fmla="*/ 522732 w 1216913"/>
                <a:gd name="connsiteY631" fmla="*/ 873443 h 1049655"/>
                <a:gd name="connsiteX632" fmla="*/ 527494 w 1216913"/>
                <a:gd name="connsiteY632" fmla="*/ 872776 h 1049655"/>
                <a:gd name="connsiteX633" fmla="*/ 526923 w 1216913"/>
                <a:gd name="connsiteY633" fmla="*/ 868108 h 1049655"/>
                <a:gd name="connsiteX634" fmla="*/ 529685 w 1216913"/>
                <a:gd name="connsiteY634" fmla="*/ 864489 h 1049655"/>
                <a:gd name="connsiteX635" fmla="*/ 539972 w 1216913"/>
                <a:gd name="connsiteY635" fmla="*/ 869632 h 1049655"/>
                <a:gd name="connsiteX636" fmla="*/ 540925 w 1216913"/>
                <a:gd name="connsiteY636" fmla="*/ 864679 h 1049655"/>
                <a:gd name="connsiteX637" fmla="*/ 544068 w 1216913"/>
                <a:gd name="connsiteY637" fmla="*/ 864299 h 1049655"/>
                <a:gd name="connsiteX638" fmla="*/ 544258 w 1216913"/>
                <a:gd name="connsiteY638" fmla="*/ 865823 h 1049655"/>
                <a:gd name="connsiteX639" fmla="*/ 541687 w 1216913"/>
                <a:gd name="connsiteY639" fmla="*/ 870966 h 1049655"/>
                <a:gd name="connsiteX640" fmla="*/ 548830 w 1216913"/>
                <a:gd name="connsiteY640" fmla="*/ 876490 h 1049655"/>
                <a:gd name="connsiteX641" fmla="*/ 546449 w 1216913"/>
                <a:gd name="connsiteY641" fmla="*/ 883253 h 1049655"/>
                <a:gd name="connsiteX642" fmla="*/ 548068 w 1216913"/>
                <a:gd name="connsiteY642" fmla="*/ 883063 h 1049655"/>
                <a:gd name="connsiteX643" fmla="*/ 548449 w 1216913"/>
                <a:gd name="connsiteY643" fmla="*/ 886206 h 1049655"/>
                <a:gd name="connsiteX644" fmla="*/ 550259 w 1216913"/>
                <a:gd name="connsiteY644" fmla="*/ 887540 h 1049655"/>
                <a:gd name="connsiteX645" fmla="*/ 549497 w 1216913"/>
                <a:gd name="connsiteY645" fmla="*/ 894016 h 1049655"/>
                <a:gd name="connsiteX646" fmla="*/ 554164 w 1216913"/>
                <a:gd name="connsiteY646" fmla="*/ 893445 h 1049655"/>
                <a:gd name="connsiteX647" fmla="*/ 554641 w 1216913"/>
                <a:gd name="connsiteY647" fmla="*/ 896588 h 1049655"/>
                <a:gd name="connsiteX648" fmla="*/ 576643 w 1216913"/>
                <a:gd name="connsiteY648" fmla="*/ 893826 h 1049655"/>
                <a:gd name="connsiteX649" fmla="*/ 583216 w 1216913"/>
                <a:gd name="connsiteY649" fmla="*/ 894588 h 1049655"/>
                <a:gd name="connsiteX650" fmla="*/ 590264 w 1216913"/>
                <a:gd name="connsiteY650" fmla="*/ 900112 h 1049655"/>
                <a:gd name="connsiteX651" fmla="*/ 591502 w 1216913"/>
                <a:gd name="connsiteY651" fmla="*/ 896683 h 1049655"/>
                <a:gd name="connsiteX652" fmla="*/ 594646 w 1216913"/>
                <a:gd name="connsiteY652" fmla="*/ 896303 h 1049655"/>
                <a:gd name="connsiteX653" fmla="*/ 600551 w 1216913"/>
                <a:gd name="connsiteY653" fmla="*/ 905161 h 1049655"/>
                <a:gd name="connsiteX654" fmla="*/ 607885 w 1216913"/>
                <a:gd name="connsiteY654" fmla="*/ 912304 h 1049655"/>
                <a:gd name="connsiteX655" fmla="*/ 609314 w 1216913"/>
                <a:gd name="connsiteY655" fmla="*/ 923353 h 1049655"/>
                <a:gd name="connsiteX656" fmla="*/ 608933 w 1216913"/>
                <a:gd name="connsiteY656" fmla="*/ 932974 h 1049655"/>
                <a:gd name="connsiteX657" fmla="*/ 615696 w 1216913"/>
                <a:gd name="connsiteY657" fmla="*/ 935355 h 1049655"/>
                <a:gd name="connsiteX658" fmla="*/ 617030 w 1216913"/>
                <a:gd name="connsiteY658" fmla="*/ 933545 h 1049655"/>
                <a:gd name="connsiteX659" fmla="*/ 623316 w 1216913"/>
                <a:gd name="connsiteY659" fmla="*/ 932783 h 1049655"/>
                <a:gd name="connsiteX660" fmla="*/ 638365 w 1216913"/>
                <a:gd name="connsiteY660" fmla="*/ 924401 h 1049655"/>
                <a:gd name="connsiteX661" fmla="*/ 652367 w 1216913"/>
                <a:gd name="connsiteY661" fmla="*/ 921068 h 1049655"/>
                <a:gd name="connsiteX662" fmla="*/ 659987 w 1216913"/>
                <a:gd name="connsiteY662" fmla="*/ 918496 h 1049655"/>
                <a:gd name="connsiteX663" fmla="*/ 668083 w 1216913"/>
                <a:gd name="connsiteY663" fmla="*/ 919067 h 1049655"/>
                <a:gd name="connsiteX664" fmla="*/ 669703 w 1216913"/>
                <a:gd name="connsiteY664" fmla="*/ 918877 h 1049655"/>
                <a:gd name="connsiteX665" fmla="*/ 673989 w 1216913"/>
                <a:gd name="connsiteY665" fmla="*/ 915067 h 1049655"/>
                <a:gd name="connsiteX666" fmla="*/ 682276 w 1216913"/>
                <a:gd name="connsiteY666" fmla="*/ 917257 h 1049655"/>
                <a:gd name="connsiteX667" fmla="*/ 685229 w 1216913"/>
                <a:gd name="connsiteY667" fmla="*/ 915257 h 1049655"/>
                <a:gd name="connsiteX668" fmla="*/ 691801 w 1216913"/>
                <a:gd name="connsiteY668" fmla="*/ 916019 h 1049655"/>
                <a:gd name="connsiteX669" fmla="*/ 702373 w 1216913"/>
                <a:gd name="connsiteY669" fmla="*/ 911447 h 1049655"/>
                <a:gd name="connsiteX670" fmla="*/ 710374 w 1216913"/>
                <a:gd name="connsiteY670" fmla="*/ 923258 h 1049655"/>
                <a:gd name="connsiteX671" fmla="*/ 725900 w 1216913"/>
                <a:gd name="connsiteY671" fmla="*/ 919734 h 1049655"/>
                <a:gd name="connsiteX672" fmla="*/ 730282 w 1216913"/>
                <a:gd name="connsiteY672" fmla="*/ 915924 h 1049655"/>
                <a:gd name="connsiteX673" fmla="*/ 733806 w 1216913"/>
                <a:gd name="connsiteY673" fmla="*/ 918686 h 1049655"/>
                <a:gd name="connsiteX674" fmla="*/ 738378 w 1216913"/>
                <a:gd name="connsiteY674" fmla="*/ 929354 h 1049655"/>
                <a:gd name="connsiteX675" fmla="*/ 749617 w 1216913"/>
                <a:gd name="connsiteY675" fmla="*/ 942308 h 1049655"/>
                <a:gd name="connsiteX676" fmla="*/ 758190 w 1216913"/>
                <a:gd name="connsiteY676" fmla="*/ 946023 h 1049655"/>
                <a:gd name="connsiteX677" fmla="*/ 767239 w 1216913"/>
                <a:gd name="connsiteY677" fmla="*/ 941641 h 1049655"/>
                <a:gd name="connsiteX678" fmla="*/ 770382 w 1216913"/>
                <a:gd name="connsiteY678" fmla="*/ 941261 h 1049655"/>
                <a:gd name="connsiteX679" fmla="*/ 774382 w 1216913"/>
                <a:gd name="connsiteY679" fmla="*/ 947166 h 1049655"/>
                <a:gd name="connsiteX680" fmla="*/ 794290 w 1216913"/>
                <a:gd name="connsiteY680" fmla="*/ 952690 h 1049655"/>
                <a:gd name="connsiteX681" fmla="*/ 798766 w 1216913"/>
                <a:gd name="connsiteY681" fmla="*/ 950500 h 1049655"/>
                <a:gd name="connsiteX682" fmla="*/ 803910 w 1216913"/>
                <a:gd name="connsiteY682" fmla="*/ 940213 h 1049655"/>
                <a:gd name="connsiteX683" fmla="*/ 808672 w 1216913"/>
                <a:gd name="connsiteY683" fmla="*/ 939641 h 1049655"/>
                <a:gd name="connsiteX684" fmla="*/ 820102 w 1216913"/>
                <a:gd name="connsiteY684" fmla="*/ 941356 h 1049655"/>
                <a:gd name="connsiteX685" fmla="*/ 826770 w 1216913"/>
                <a:gd name="connsiteY685" fmla="*/ 943737 h 1049655"/>
                <a:gd name="connsiteX686" fmla="*/ 830580 w 1216913"/>
                <a:gd name="connsiteY686" fmla="*/ 948023 h 1049655"/>
                <a:gd name="connsiteX687" fmla="*/ 833342 w 1216913"/>
                <a:gd name="connsiteY687" fmla="*/ 970121 h 1049655"/>
                <a:gd name="connsiteX688" fmla="*/ 838962 w 1216913"/>
                <a:gd name="connsiteY688" fmla="*/ 975836 h 1049655"/>
                <a:gd name="connsiteX689" fmla="*/ 845058 w 1216913"/>
                <a:gd name="connsiteY689" fmla="*/ 986314 h 1049655"/>
                <a:gd name="connsiteX690" fmla="*/ 850011 w 1216913"/>
                <a:gd name="connsiteY690" fmla="*/ 987266 h 1049655"/>
                <a:gd name="connsiteX691" fmla="*/ 858679 w 1216913"/>
                <a:gd name="connsiteY691" fmla="*/ 992600 h 1049655"/>
                <a:gd name="connsiteX692" fmla="*/ 864965 w 1216913"/>
                <a:gd name="connsiteY692" fmla="*/ 991743 h 1049655"/>
                <a:gd name="connsiteX693" fmla="*/ 869347 w 1216913"/>
                <a:gd name="connsiteY693" fmla="*/ 1000792 h 1049655"/>
                <a:gd name="connsiteX694" fmla="*/ 871347 w 1216913"/>
                <a:gd name="connsiteY694" fmla="*/ 1003840 h 1049655"/>
                <a:gd name="connsiteX695" fmla="*/ 869728 w 1216913"/>
                <a:gd name="connsiteY695" fmla="*/ 1004030 h 1049655"/>
                <a:gd name="connsiteX696" fmla="*/ 871728 w 1216913"/>
                <a:gd name="connsiteY696" fmla="*/ 1006983 h 1049655"/>
                <a:gd name="connsiteX697" fmla="*/ 876490 w 1216913"/>
                <a:gd name="connsiteY697" fmla="*/ 1006316 h 1049655"/>
                <a:gd name="connsiteX698" fmla="*/ 881253 w 1216913"/>
                <a:gd name="connsiteY698" fmla="*/ 1018603 h 1049655"/>
                <a:gd name="connsiteX699" fmla="*/ 876014 w 1216913"/>
                <a:gd name="connsiteY699" fmla="*/ 1040130 h 1049655"/>
                <a:gd name="connsiteX700" fmla="*/ 883825 w 1216913"/>
                <a:gd name="connsiteY700" fmla="*/ 1039082 h 1049655"/>
                <a:gd name="connsiteX701" fmla="*/ 888778 w 1216913"/>
                <a:gd name="connsiteY701" fmla="*/ 1040035 h 1049655"/>
                <a:gd name="connsiteX702" fmla="*/ 895922 w 1216913"/>
                <a:gd name="connsiteY702" fmla="*/ 1045559 h 1049655"/>
                <a:gd name="connsiteX703" fmla="*/ 900684 w 1216913"/>
                <a:gd name="connsiteY703" fmla="*/ 1044988 h 1049655"/>
                <a:gd name="connsiteX704" fmla="*/ 905827 w 1216913"/>
                <a:gd name="connsiteY704" fmla="*/ 1047560 h 1049655"/>
                <a:gd name="connsiteX705" fmla="*/ 910114 w 1216913"/>
                <a:gd name="connsiteY705" fmla="*/ 1043749 h 1049655"/>
                <a:gd name="connsiteX706" fmla="*/ 926878 w 1216913"/>
                <a:gd name="connsiteY706" fmla="*/ 1049655 h 1049655"/>
                <a:gd name="connsiteX707" fmla="*/ 936403 w 1216913"/>
                <a:gd name="connsiteY707" fmla="*/ 1048417 h 1049655"/>
                <a:gd name="connsiteX708" fmla="*/ 937355 w 1216913"/>
                <a:gd name="connsiteY708" fmla="*/ 1043464 h 1049655"/>
                <a:gd name="connsiteX709" fmla="*/ 940117 w 1216913"/>
                <a:gd name="connsiteY709" fmla="*/ 1039940 h 1049655"/>
                <a:gd name="connsiteX710" fmla="*/ 955072 w 1216913"/>
                <a:gd name="connsiteY710" fmla="*/ 1031653 h 1049655"/>
                <a:gd name="connsiteX711" fmla="*/ 956024 w 1216913"/>
                <a:gd name="connsiteY711" fmla="*/ 1026700 h 1049655"/>
                <a:gd name="connsiteX712" fmla="*/ 955262 w 1216913"/>
                <a:gd name="connsiteY712" fmla="*/ 1020413 h 1049655"/>
                <a:gd name="connsiteX713" fmla="*/ 958024 w 1216913"/>
                <a:gd name="connsiteY713" fmla="*/ 1016794 h 1049655"/>
                <a:gd name="connsiteX714" fmla="*/ 959167 w 1216913"/>
                <a:gd name="connsiteY714" fmla="*/ 1013460 h 1049655"/>
                <a:gd name="connsiteX715" fmla="*/ 968026 w 1216913"/>
                <a:gd name="connsiteY715" fmla="*/ 1007554 h 1049655"/>
                <a:gd name="connsiteX716" fmla="*/ 962692 w 1216913"/>
                <a:gd name="connsiteY716" fmla="*/ 1003364 h 1049655"/>
                <a:gd name="connsiteX717" fmla="*/ 967073 w 1216913"/>
                <a:gd name="connsiteY717" fmla="*/ 999649 h 1049655"/>
                <a:gd name="connsiteX718" fmla="*/ 971740 w 1216913"/>
                <a:gd name="connsiteY718" fmla="*/ 998982 h 1049655"/>
                <a:gd name="connsiteX719" fmla="*/ 972598 w 1216913"/>
                <a:gd name="connsiteY719" fmla="*/ 992505 h 1049655"/>
                <a:gd name="connsiteX720" fmla="*/ 984409 w 1216913"/>
                <a:gd name="connsiteY720" fmla="*/ 984599 h 1049655"/>
                <a:gd name="connsiteX721" fmla="*/ 987933 w 1216913"/>
                <a:gd name="connsiteY721" fmla="*/ 974503 h 1049655"/>
                <a:gd name="connsiteX722" fmla="*/ 990886 w 1216913"/>
                <a:gd name="connsiteY722" fmla="*/ 972503 h 1049655"/>
                <a:gd name="connsiteX723" fmla="*/ 993172 w 1216913"/>
                <a:gd name="connsiteY723" fmla="*/ 965835 h 1049655"/>
                <a:gd name="connsiteX724" fmla="*/ 999554 w 1216913"/>
                <a:gd name="connsiteY724" fmla="*/ 964978 h 1049655"/>
                <a:gd name="connsiteX725" fmla="*/ 1000887 w 1216913"/>
                <a:gd name="connsiteY725" fmla="*/ 963263 h 1049655"/>
                <a:gd name="connsiteX726" fmla="*/ 1002030 w 1216913"/>
                <a:gd name="connsiteY726" fmla="*/ 959834 h 1049655"/>
                <a:gd name="connsiteX727" fmla="*/ 998315 w 1216913"/>
                <a:gd name="connsiteY727" fmla="*/ 955548 h 1049655"/>
                <a:gd name="connsiteX728" fmla="*/ 997458 w 1216913"/>
                <a:gd name="connsiteY728" fmla="*/ 949261 h 1049655"/>
                <a:gd name="connsiteX729" fmla="*/ 993743 w 1216913"/>
                <a:gd name="connsiteY729" fmla="*/ 944880 h 1049655"/>
                <a:gd name="connsiteX730" fmla="*/ 991552 w 1216913"/>
                <a:gd name="connsiteY730" fmla="*/ 940403 h 1049655"/>
                <a:gd name="connsiteX731" fmla="*/ 992505 w 1216913"/>
                <a:gd name="connsiteY731" fmla="*/ 935450 h 1049655"/>
                <a:gd name="connsiteX732" fmla="*/ 997077 w 1216913"/>
                <a:gd name="connsiteY732" fmla="*/ 933260 h 1049655"/>
                <a:gd name="connsiteX733" fmla="*/ 996886 w 1216913"/>
                <a:gd name="connsiteY733" fmla="*/ 931640 h 1049655"/>
                <a:gd name="connsiteX734" fmla="*/ 997648 w 1216913"/>
                <a:gd name="connsiteY734" fmla="*/ 925163 h 1049655"/>
                <a:gd name="connsiteX735" fmla="*/ 1002221 w 1216913"/>
                <a:gd name="connsiteY735" fmla="*/ 922973 h 1049655"/>
                <a:gd name="connsiteX736" fmla="*/ 1003554 w 1216913"/>
                <a:gd name="connsiteY736" fmla="*/ 921163 h 1049655"/>
                <a:gd name="connsiteX737" fmla="*/ 1015555 w 1216913"/>
                <a:gd name="connsiteY737" fmla="*/ 914876 h 1049655"/>
                <a:gd name="connsiteX738" fmla="*/ 1023842 w 1216913"/>
                <a:gd name="connsiteY738" fmla="*/ 916972 h 1049655"/>
                <a:gd name="connsiteX739" fmla="*/ 1031367 w 1216913"/>
                <a:gd name="connsiteY739" fmla="*/ 912876 h 1049655"/>
                <a:gd name="connsiteX740" fmla="*/ 1034320 w 1216913"/>
                <a:gd name="connsiteY740" fmla="*/ 910876 h 1049655"/>
                <a:gd name="connsiteX741" fmla="*/ 1036130 w 1216913"/>
                <a:gd name="connsiteY741" fmla="*/ 912209 h 1049655"/>
                <a:gd name="connsiteX742" fmla="*/ 1038320 w 1216913"/>
                <a:gd name="connsiteY742" fmla="*/ 916781 h 1049655"/>
                <a:gd name="connsiteX743" fmla="*/ 1039463 w 1216913"/>
                <a:gd name="connsiteY743" fmla="*/ 926211 h 1049655"/>
                <a:gd name="connsiteX744" fmla="*/ 1049369 w 1216913"/>
                <a:gd name="connsiteY744" fmla="*/ 928211 h 1049655"/>
                <a:gd name="connsiteX745" fmla="*/ 1058418 w 1216913"/>
                <a:gd name="connsiteY745" fmla="*/ 923830 h 1049655"/>
                <a:gd name="connsiteX746" fmla="*/ 1065181 w 1216913"/>
                <a:gd name="connsiteY746" fmla="*/ 926211 h 1049655"/>
                <a:gd name="connsiteX747" fmla="*/ 1066133 w 1216913"/>
                <a:gd name="connsiteY747" fmla="*/ 921258 h 1049655"/>
                <a:gd name="connsiteX748" fmla="*/ 1074039 w 1216913"/>
                <a:gd name="connsiteY748" fmla="*/ 920210 h 1049655"/>
                <a:gd name="connsiteX749" fmla="*/ 1076992 w 1216913"/>
                <a:gd name="connsiteY749" fmla="*/ 918305 h 1049655"/>
                <a:gd name="connsiteX750" fmla="*/ 1081659 w 1216913"/>
                <a:gd name="connsiteY750" fmla="*/ 917639 h 1049655"/>
                <a:gd name="connsiteX751" fmla="*/ 1085850 w 1216913"/>
                <a:gd name="connsiteY751" fmla="*/ 912304 h 1049655"/>
                <a:gd name="connsiteX752" fmla="*/ 1087374 w 1216913"/>
                <a:gd name="connsiteY752" fmla="*/ 912114 h 1049655"/>
                <a:gd name="connsiteX753" fmla="*/ 1094137 w 1216913"/>
                <a:gd name="connsiteY753" fmla="*/ 914495 h 1049655"/>
                <a:gd name="connsiteX754" fmla="*/ 1094708 w 1216913"/>
                <a:gd name="connsiteY754" fmla="*/ 919162 h 1049655"/>
                <a:gd name="connsiteX755" fmla="*/ 1098042 w 1216913"/>
                <a:gd name="connsiteY755" fmla="*/ 920401 h 1049655"/>
                <a:gd name="connsiteX756" fmla="*/ 1102995 w 1216913"/>
                <a:gd name="connsiteY756" fmla="*/ 921353 h 1049655"/>
                <a:gd name="connsiteX757" fmla="*/ 1113663 w 1216913"/>
                <a:gd name="connsiteY757" fmla="*/ 916781 h 1049655"/>
                <a:gd name="connsiteX758" fmla="*/ 1120616 w 1216913"/>
                <a:gd name="connsiteY758" fmla="*/ 920686 h 1049655"/>
                <a:gd name="connsiteX759" fmla="*/ 1131475 w 1216913"/>
                <a:gd name="connsiteY759" fmla="*/ 930593 h 1049655"/>
                <a:gd name="connsiteX760" fmla="*/ 1139761 w 1216913"/>
                <a:gd name="connsiteY760" fmla="*/ 932688 h 1049655"/>
                <a:gd name="connsiteX761" fmla="*/ 1142524 w 1216913"/>
                <a:gd name="connsiteY761" fmla="*/ 929164 h 1049655"/>
                <a:gd name="connsiteX762" fmla="*/ 1145857 w 1216913"/>
                <a:gd name="connsiteY762" fmla="*/ 930307 h 1049655"/>
                <a:gd name="connsiteX763" fmla="*/ 1161383 w 1216913"/>
                <a:gd name="connsiteY763" fmla="*/ 913924 h 1049655"/>
                <a:gd name="connsiteX764" fmla="*/ 1168717 w 1216913"/>
                <a:gd name="connsiteY764" fmla="*/ 908209 h 1049655"/>
                <a:gd name="connsiteX765" fmla="*/ 1168908 w 1216913"/>
                <a:gd name="connsiteY765" fmla="*/ 909733 h 1049655"/>
                <a:gd name="connsiteX766" fmla="*/ 1176623 w 1216913"/>
                <a:gd name="connsiteY766" fmla="*/ 907161 h 1049655"/>
                <a:gd name="connsiteX767" fmla="*/ 1181862 w 1216913"/>
                <a:gd name="connsiteY767" fmla="*/ 898493 h 1049655"/>
                <a:gd name="connsiteX768" fmla="*/ 1189958 w 1216913"/>
                <a:gd name="connsiteY768" fmla="*/ 899065 h 1049655"/>
                <a:gd name="connsiteX769" fmla="*/ 1202817 w 1216913"/>
                <a:gd name="connsiteY769" fmla="*/ 898970 h 1049655"/>
                <a:gd name="connsiteX770" fmla="*/ 1212056 w 1216913"/>
                <a:gd name="connsiteY770" fmla="*/ 896207 h 1049655"/>
                <a:gd name="connsiteX771" fmla="*/ 1211866 w 1216913"/>
                <a:gd name="connsiteY771" fmla="*/ 894683 h 1049655"/>
                <a:gd name="connsiteX772" fmla="*/ 1205579 w 1216913"/>
                <a:gd name="connsiteY772" fmla="*/ 895445 h 1049655"/>
                <a:gd name="connsiteX773" fmla="*/ 1201579 w 1216913"/>
                <a:gd name="connsiteY773" fmla="*/ 889540 h 1049655"/>
                <a:gd name="connsiteX774" fmla="*/ 1205770 w 1216913"/>
                <a:gd name="connsiteY774" fmla="*/ 884206 h 1049655"/>
                <a:gd name="connsiteX775" fmla="*/ 1205103 w 1216913"/>
                <a:gd name="connsiteY775" fmla="*/ 879443 h 1049655"/>
                <a:gd name="connsiteX776" fmla="*/ 1204913 w 1216913"/>
                <a:gd name="connsiteY776" fmla="*/ 877919 h 1049655"/>
                <a:gd name="connsiteX777" fmla="*/ 1207865 w 1216913"/>
                <a:gd name="connsiteY777" fmla="*/ 875919 h 1049655"/>
                <a:gd name="connsiteX778" fmla="*/ 1209675 w 1216913"/>
                <a:gd name="connsiteY778" fmla="*/ 877253 h 1049655"/>
                <a:gd name="connsiteX779" fmla="*/ 1215390 w 1216913"/>
                <a:gd name="connsiteY779" fmla="*/ 871728 h 1049655"/>
                <a:gd name="connsiteX780" fmla="*/ 1216914 w 1216913"/>
                <a:gd name="connsiteY780" fmla="*/ 858774 h 1049655"/>
                <a:gd name="connsiteX781" fmla="*/ 1209770 w 1216913"/>
                <a:gd name="connsiteY781" fmla="*/ 853249 h 1049655"/>
                <a:gd name="connsiteX782" fmla="*/ 1209770 w 1216913"/>
                <a:gd name="connsiteY782" fmla="*/ 853249 h 1049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</a:cxnLst>
              <a:rect l="l" t="t" r="r" b="b"/>
              <a:pathLst>
                <a:path w="1216913" h="1049655">
                  <a:moveTo>
                    <a:pt x="1209770" y="853249"/>
                  </a:moveTo>
                  <a:lnTo>
                    <a:pt x="1205674" y="845725"/>
                  </a:lnTo>
                  <a:lnTo>
                    <a:pt x="1200912" y="846296"/>
                  </a:lnTo>
                  <a:lnTo>
                    <a:pt x="1200722" y="844772"/>
                  </a:lnTo>
                  <a:lnTo>
                    <a:pt x="1199674" y="836866"/>
                  </a:lnTo>
                  <a:lnTo>
                    <a:pt x="1195959" y="832580"/>
                  </a:lnTo>
                  <a:lnTo>
                    <a:pt x="1196911" y="827627"/>
                  </a:lnTo>
                  <a:lnTo>
                    <a:pt x="1194340" y="819912"/>
                  </a:lnTo>
                  <a:lnTo>
                    <a:pt x="1197292" y="817912"/>
                  </a:lnTo>
                  <a:lnTo>
                    <a:pt x="1199007" y="806482"/>
                  </a:lnTo>
                  <a:lnTo>
                    <a:pt x="1192721" y="807244"/>
                  </a:lnTo>
                  <a:lnTo>
                    <a:pt x="1190911" y="805910"/>
                  </a:lnTo>
                  <a:lnTo>
                    <a:pt x="1187958" y="795052"/>
                  </a:lnTo>
                  <a:lnTo>
                    <a:pt x="1188530" y="786956"/>
                  </a:lnTo>
                  <a:lnTo>
                    <a:pt x="1183005" y="781240"/>
                  </a:lnTo>
                  <a:lnTo>
                    <a:pt x="1185577" y="776097"/>
                  </a:lnTo>
                  <a:lnTo>
                    <a:pt x="1181005" y="765524"/>
                  </a:lnTo>
                  <a:lnTo>
                    <a:pt x="1179195" y="764095"/>
                  </a:lnTo>
                  <a:lnTo>
                    <a:pt x="1178433" y="757809"/>
                  </a:lnTo>
                  <a:lnTo>
                    <a:pt x="1173671" y="745617"/>
                  </a:lnTo>
                  <a:lnTo>
                    <a:pt x="1174432" y="739045"/>
                  </a:lnTo>
                  <a:lnTo>
                    <a:pt x="1173004" y="727996"/>
                  </a:lnTo>
                  <a:lnTo>
                    <a:pt x="1173766" y="721519"/>
                  </a:lnTo>
                  <a:lnTo>
                    <a:pt x="1171194" y="713803"/>
                  </a:lnTo>
                  <a:lnTo>
                    <a:pt x="1169384" y="712470"/>
                  </a:lnTo>
                  <a:lnTo>
                    <a:pt x="1163098" y="713232"/>
                  </a:lnTo>
                  <a:lnTo>
                    <a:pt x="1152620" y="706565"/>
                  </a:lnTo>
                  <a:lnTo>
                    <a:pt x="1143381" y="709327"/>
                  </a:lnTo>
                  <a:lnTo>
                    <a:pt x="1141571" y="707993"/>
                  </a:lnTo>
                  <a:lnTo>
                    <a:pt x="1131570" y="717232"/>
                  </a:lnTo>
                  <a:lnTo>
                    <a:pt x="1124998" y="716470"/>
                  </a:lnTo>
                  <a:lnTo>
                    <a:pt x="1122616" y="710374"/>
                  </a:lnTo>
                  <a:lnTo>
                    <a:pt x="1117473" y="707803"/>
                  </a:lnTo>
                  <a:lnTo>
                    <a:pt x="1112996" y="709994"/>
                  </a:lnTo>
                  <a:lnTo>
                    <a:pt x="1108043" y="709041"/>
                  </a:lnTo>
                  <a:lnTo>
                    <a:pt x="1108996" y="704088"/>
                  </a:lnTo>
                  <a:lnTo>
                    <a:pt x="1105472" y="701326"/>
                  </a:lnTo>
                  <a:lnTo>
                    <a:pt x="1106424" y="696373"/>
                  </a:lnTo>
                  <a:lnTo>
                    <a:pt x="1101661" y="697040"/>
                  </a:lnTo>
                  <a:lnTo>
                    <a:pt x="1102709" y="692086"/>
                  </a:lnTo>
                  <a:lnTo>
                    <a:pt x="1101852" y="685800"/>
                  </a:lnTo>
                  <a:lnTo>
                    <a:pt x="1090422" y="683990"/>
                  </a:lnTo>
                  <a:lnTo>
                    <a:pt x="1081183" y="686753"/>
                  </a:lnTo>
                  <a:lnTo>
                    <a:pt x="1077754" y="685610"/>
                  </a:lnTo>
                  <a:lnTo>
                    <a:pt x="1073467" y="689420"/>
                  </a:lnTo>
                  <a:lnTo>
                    <a:pt x="1072420" y="681514"/>
                  </a:lnTo>
                  <a:lnTo>
                    <a:pt x="1069086" y="680276"/>
                  </a:lnTo>
                  <a:lnTo>
                    <a:pt x="1065943" y="680752"/>
                  </a:lnTo>
                  <a:lnTo>
                    <a:pt x="1062990" y="682657"/>
                  </a:lnTo>
                  <a:lnTo>
                    <a:pt x="1062609" y="679514"/>
                  </a:lnTo>
                  <a:lnTo>
                    <a:pt x="1054513" y="678942"/>
                  </a:lnTo>
                  <a:lnTo>
                    <a:pt x="1050893" y="676180"/>
                  </a:lnTo>
                  <a:lnTo>
                    <a:pt x="1050512" y="673036"/>
                  </a:lnTo>
                  <a:lnTo>
                    <a:pt x="1048702" y="671703"/>
                  </a:lnTo>
                  <a:lnTo>
                    <a:pt x="1044988" y="667322"/>
                  </a:lnTo>
                  <a:lnTo>
                    <a:pt x="1041844" y="667703"/>
                  </a:lnTo>
                  <a:lnTo>
                    <a:pt x="1044607" y="664178"/>
                  </a:lnTo>
                  <a:lnTo>
                    <a:pt x="1042416" y="659606"/>
                  </a:lnTo>
                  <a:lnTo>
                    <a:pt x="1044702" y="640080"/>
                  </a:lnTo>
                  <a:lnTo>
                    <a:pt x="1040987" y="635794"/>
                  </a:lnTo>
                  <a:lnTo>
                    <a:pt x="1036034" y="634841"/>
                  </a:lnTo>
                  <a:lnTo>
                    <a:pt x="1032510" y="632079"/>
                  </a:lnTo>
                  <a:lnTo>
                    <a:pt x="1033272" y="625507"/>
                  </a:lnTo>
                  <a:lnTo>
                    <a:pt x="1030033" y="613124"/>
                  </a:lnTo>
                  <a:lnTo>
                    <a:pt x="1024890" y="610553"/>
                  </a:lnTo>
                  <a:lnTo>
                    <a:pt x="1023938" y="602647"/>
                  </a:lnTo>
                  <a:lnTo>
                    <a:pt x="1020127" y="598361"/>
                  </a:lnTo>
                  <a:lnTo>
                    <a:pt x="1020889" y="591788"/>
                  </a:lnTo>
                  <a:lnTo>
                    <a:pt x="1018699" y="587311"/>
                  </a:lnTo>
                  <a:lnTo>
                    <a:pt x="1016794" y="584359"/>
                  </a:lnTo>
                  <a:lnTo>
                    <a:pt x="1016127" y="579596"/>
                  </a:lnTo>
                  <a:lnTo>
                    <a:pt x="1009079" y="574072"/>
                  </a:lnTo>
                  <a:lnTo>
                    <a:pt x="1006221" y="564832"/>
                  </a:lnTo>
                  <a:lnTo>
                    <a:pt x="1007459" y="561499"/>
                  </a:lnTo>
                  <a:lnTo>
                    <a:pt x="1003840" y="558736"/>
                  </a:lnTo>
                  <a:lnTo>
                    <a:pt x="1003268" y="553974"/>
                  </a:lnTo>
                  <a:lnTo>
                    <a:pt x="999744" y="551212"/>
                  </a:lnTo>
                  <a:lnTo>
                    <a:pt x="996124" y="548449"/>
                  </a:lnTo>
                  <a:lnTo>
                    <a:pt x="996886" y="541973"/>
                  </a:lnTo>
                  <a:lnTo>
                    <a:pt x="1007173" y="534257"/>
                  </a:lnTo>
                  <a:lnTo>
                    <a:pt x="1011079" y="527304"/>
                  </a:lnTo>
                  <a:lnTo>
                    <a:pt x="1009364" y="525970"/>
                  </a:lnTo>
                  <a:lnTo>
                    <a:pt x="1007173" y="521398"/>
                  </a:lnTo>
                  <a:lnTo>
                    <a:pt x="1010317" y="521018"/>
                  </a:lnTo>
                  <a:lnTo>
                    <a:pt x="1011269" y="516065"/>
                  </a:lnTo>
                  <a:lnTo>
                    <a:pt x="1020794" y="514922"/>
                  </a:lnTo>
                  <a:lnTo>
                    <a:pt x="1021747" y="509969"/>
                  </a:lnTo>
                  <a:lnTo>
                    <a:pt x="1017937" y="505587"/>
                  </a:lnTo>
                  <a:lnTo>
                    <a:pt x="1009650" y="503491"/>
                  </a:lnTo>
                  <a:lnTo>
                    <a:pt x="1001744" y="504444"/>
                  </a:lnTo>
                  <a:lnTo>
                    <a:pt x="1001363" y="501301"/>
                  </a:lnTo>
                  <a:lnTo>
                    <a:pt x="996029" y="497205"/>
                  </a:lnTo>
                  <a:lnTo>
                    <a:pt x="995648" y="493966"/>
                  </a:lnTo>
                  <a:lnTo>
                    <a:pt x="991838" y="489680"/>
                  </a:lnTo>
                  <a:lnTo>
                    <a:pt x="991457" y="486537"/>
                  </a:lnTo>
                  <a:lnTo>
                    <a:pt x="995839" y="482727"/>
                  </a:lnTo>
                  <a:lnTo>
                    <a:pt x="996982" y="479393"/>
                  </a:lnTo>
                  <a:lnTo>
                    <a:pt x="994791" y="474916"/>
                  </a:lnTo>
                  <a:lnTo>
                    <a:pt x="997363" y="469773"/>
                  </a:lnTo>
                  <a:lnTo>
                    <a:pt x="1000887" y="459677"/>
                  </a:lnTo>
                  <a:lnTo>
                    <a:pt x="995743" y="457105"/>
                  </a:lnTo>
                  <a:lnTo>
                    <a:pt x="996886" y="453771"/>
                  </a:lnTo>
                  <a:lnTo>
                    <a:pt x="995172" y="452342"/>
                  </a:lnTo>
                  <a:lnTo>
                    <a:pt x="998315" y="451961"/>
                  </a:lnTo>
                  <a:lnTo>
                    <a:pt x="993743" y="441293"/>
                  </a:lnTo>
                  <a:lnTo>
                    <a:pt x="992124" y="441579"/>
                  </a:lnTo>
                  <a:lnTo>
                    <a:pt x="984694" y="445675"/>
                  </a:lnTo>
                  <a:lnTo>
                    <a:pt x="974026" y="437388"/>
                  </a:lnTo>
                  <a:lnTo>
                    <a:pt x="969264" y="438055"/>
                  </a:lnTo>
                  <a:lnTo>
                    <a:pt x="972979" y="442341"/>
                  </a:lnTo>
                  <a:lnTo>
                    <a:pt x="971264" y="453771"/>
                  </a:lnTo>
                  <a:lnTo>
                    <a:pt x="976408" y="456343"/>
                  </a:lnTo>
                  <a:lnTo>
                    <a:pt x="970883" y="463486"/>
                  </a:lnTo>
                  <a:lnTo>
                    <a:pt x="966597" y="467297"/>
                  </a:lnTo>
                  <a:lnTo>
                    <a:pt x="963454" y="467678"/>
                  </a:lnTo>
                  <a:lnTo>
                    <a:pt x="960215" y="468058"/>
                  </a:lnTo>
                  <a:lnTo>
                    <a:pt x="958310" y="465106"/>
                  </a:lnTo>
                  <a:lnTo>
                    <a:pt x="953929" y="468820"/>
                  </a:lnTo>
                  <a:lnTo>
                    <a:pt x="955357" y="467106"/>
                  </a:lnTo>
                  <a:lnTo>
                    <a:pt x="951738" y="464344"/>
                  </a:lnTo>
                  <a:lnTo>
                    <a:pt x="947261" y="466535"/>
                  </a:lnTo>
                  <a:lnTo>
                    <a:pt x="940117" y="461010"/>
                  </a:lnTo>
                  <a:lnTo>
                    <a:pt x="937546" y="466153"/>
                  </a:lnTo>
                  <a:lnTo>
                    <a:pt x="933831" y="461772"/>
                  </a:lnTo>
                  <a:lnTo>
                    <a:pt x="931640" y="457295"/>
                  </a:lnTo>
                  <a:lnTo>
                    <a:pt x="928021" y="454533"/>
                  </a:lnTo>
                  <a:lnTo>
                    <a:pt x="921163" y="450628"/>
                  </a:lnTo>
                  <a:lnTo>
                    <a:pt x="918591" y="442912"/>
                  </a:lnTo>
                  <a:lnTo>
                    <a:pt x="905732" y="442912"/>
                  </a:lnTo>
                  <a:lnTo>
                    <a:pt x="900398" y="438817"/>
                  </a:lnTo>
                  <a:lnTo>
                    <a:pt x="897064" y="437578"/>
                  </a:lnTo>
                  <a:lnTo>
                    <a:pt x="895636" y="426529"/>
                  </a:lnTo>
                  <a:lnTo>
                    <a:pt x="875157" y="429197"/>
                  </a:lnTo>
                  <a:lnTo>
                    <a:pt x="872204" y="431197"/>
                  </a:lnTo>
                  <a:lnTo>
                    <a:pt x="862489" y="430816"/>
                  </a:lnTo>
                  <a:lnTo>
                    <a:pt x="851249" y="430625"/>
                  </a:lnTo>
                  <a:lnTo>
                    <a:pt x="847439" y="426339"/>
                  </a:lnTo>
                  <a:lnTo>
                    <a:pt x="827151" y="417671"/>
                  </a:lnTo>
                  <a:lnTo>
                    <a:pt x="826770" y="427291"/>
                  </a:lnTo>
                  <a:lnTo>
                    <a:pt x="830104" y="428530"/>
                  </a:lnTo>
                  <a:lnTo>
                    <a:pt x="836676" y="429292"/>
                  </a:lnTo>
                  <a:lnTo>
                    <a:pt x="838581" y="432244"/>
                  </a:lnTo>
                  <a:lnTo>
                    <a:pt x="830961" y="434816"/>
                  </a:lnTo>
                  <a:lnTo>
                    <a:pt x="832961" y="437769"/>
                  </a:lnTo>
                  <a:lnTo>
                    <a:pt x="834676" y="439103"/>
                  </a:lnTo>
                  <a:lnTo>
                    <a:pt x="830389" y="442912"/>
                  </a:lnTo>
                  <a:lnTo>
                    <a:pt x="826770" y="440150"/>
                  </a:lnTo>
                  <a:lnTo>
                    <a:pt x="826389" y="437007"/>
                  </a:lnTo>
                  <a:lnTo>
                    <a:pt x="823246" y="437388"/>
                  </a:lnTo>
                  <a:lnTo>
                    <a:pt x="824198" y="445294"/>
                  </a:lnTo>
                  <a:lnTo>
                    <a:pt x="819150" y="455581"/>
                  </a:lnTo>
                  <a:lnTo>
                    <a:pt x="814197" y="454628"/>
                  </a:lnTo>
                  <a:lnTo>
                    <a:pt x="813816" y="451390"/>
                  </a:lnTo>
                  <a:lnTo>
                    <a:pt x="805148" y="446151"/>
                  </a:lnTo>
                  <a:lnTo>
                    <a:pt x="802767" y="440055"/>
                  </a:lnTo>
                  <a:lnTo>
                    <a:pt x="796385" y="440817"/>
                  </a:lnTo>
                  <a:lnTo>
                    <a:pt x="788289" y="427387"/>
                  </a:lnTo>
                  <a:lnTo>
                    <a:pt x="789813" y="414433"/>
                  </a:lnTo>
                  <a:lnTo>
                    <a:pt x="786860" y="403574"/>
                  </a:lnTo>
                  <a:lnTo>
                    <a:pt x="784860" y="400622"/>
                  </a:lnTo>
                  <a:lnTo>
                    <a:pt x="758380" y="394335"/>
                  </a:lnTo>
                  <a:lnTo>
                    <a:pt x="749141" y="397097"/>
                  </a:lnTo>
                  <a:lnTo>
                    <a:pt x="746188" y="399098"/>
                  </a:lnTo>
                  <a:lnTo>
                    <a:pt x="742188" y="393192"/>
                  </a:lnTo>
                  <a:lnTo>
                    <a:pt x="743236" y="388239"/>
                  </a:lnTo>
                  <a:lnTo>
                    <a:pt x="740378" y="379000"/>
                  </a:lnTo>
                  <a:lnTo>
                    <a:pt x="735235" y="363569"/>
                  </a:lnTo>
                  <a:lnTo>
                    <a:pt x="724567" y="368141"/>
                  </a:lnTo>
                  <a:lnTo>
                    <a:pt x="722471" y="363665"/>
                  </a:lnTo>
                  <a:lnTo>
                    <a:pt x="719233" y="364046"/>
                  </a:lnTo>
                  <a:lnTo>
                    <a:pt x="717518" y="362712"/>
                  </a:lnTo>
                  <a:lnTo>
                    <a:pt x="711232" y="363474"/>
                  </a:lnTo>
                  <a:lnTo>
                    <a:pt x="711422" y="365093"/>
                  </a:lnTo>
                  <a:lnTo>
                    <a:pt x="708184" y="365474"/>
                  </a:lnTo>
                  <a:lnTo>
                    <a:pt x="708469" y="366998"/>
                  </a:lnTo>
                  <a:lnTo>
                    <a:pt x="709231" y="373380"/>
                  </a:lnTo>
                  <a:lnTo>
                    <a:pt x="708279" y="378238"/>
                  </a:lnTo>
                  <a:lnTo>
                    <a:pt x="699421" y="384238"/>
                  </a:lnTo>
                  <a:lnTo>
                    <a:pt x="693230" y="373761"/>
                  </a:lnTo>
                  <a:lnTo>
                    <a:pt x="686372" y="369856"/>
                  </a:lnTo>
                  <a:lnTo>
                    <a:pt x="684371" y="366903"/>
                  </a:lnTo>
                  <a:lnTo>
                    <a:pt x="671893" y="370046"/>
                  </a:lnTo>
                  <a:lnTo>
                    <a:pt x="664845" y="364522"/>
                  </a:lnTo>
                  <a:lnTo>
                    <a:pt x="659035" y="357283"/>
                  </a:lnTo>
                  <a:lnTo>
                    <a:pt x="654748" y="348234"/>
                  </a:lnTo>
                  <a:lnTo>
                    <a:pt x="657701" y="346234"/>
                  </a:lnTo>
                  <a:lnTo>
                    <a:pt x="661606" y="339280"/>
                  </a:lnTo>
                  <a:lnTo>
                    <a:pt x="654463" y="333851"/>
                  </a:lnTo>
                  <a:lnTo>
                    <a:pt x="652272" y="329279"/>
                  </a:lnTo>
                  <a:lnTo>
                    <a:pt x="649129" y="329660"/>
                  </a:lnTo>
                  <a:lnTo>
                    <a:pt x="650462" y="315087"/>
                  </a:lnTo>
                  <a:lnTo>
                    <a:pt x="648748" y="313658"/>
                  </a:lnTo>
                  <a:lnTo>
                    <a:pt x="643985" y="314325"/>
                  </a:lnTo>
                  <a:lnTo>
                    <a:pt x="635508" y="310610"/>
                  </a:lnTo>
                  <a:lnTo>
                    <a:pt x="634841" y="305848"/>
                  </a:lnTo>
                  <a:lnTo>
                    <a:pt x="633127" y="304419"/>
                  </a:lnTo>
                  <a:lnTo>
                    <a:pt x="630746" y="298323"/>
                  </a:lnTo>
                  <a:lnTo>
                    <a:pt x="622840" y="299371"/>
                  </a:lnTo>
                  <a:lnTo>
                    <a:pt x="620649" y="294799"/>
                  </a:lnTo>
                  <a:lnTo>
                    <a:pt x="615696" y="293846"/>
                  </a:lnTo>
                  <a:lnTo>
                    <a:pt x="613886" y="292513"/>
                  </a:lnTo>
                  <a:lnTo>
                    <a:pt x="610552" y="291275"/>
                  </a:lnTo>
                  <a:lnTo>
                    <a:pt x="596170" y="304324"/>
                  </a:lnTo>
                  <a:lnTo>
                    <a:pt x="591693" y="306515"/>
                  </a:lnTo>
                  <a:lnTo>
                    <a:pt x="592646" y="314420"/>
                  </a:lnTo>
                  <a:lnTo>
                    <a:pt x="592264" y="324136"/>
                  </a:lnTo>
                  <a:lnTo>
                    <a:pt x="596646" y="333184"/>
                  </a:lnTo>
                  <a:lnTo>
                    <a:pt x="602932" y="332327"/>
                  </a:lnTo>
                  <a:lnTo>
                    <a:pt x="604933" y="322517"/>
                  </a:lnTo>
                  <a:lnTo>
                    <a:pt x="611410" y="323278"/>
                  </a:lnTo>
                  <a:lnTo>
                    <a:pt x="615029" y="326041"/>
                  </a:lnTo>
                  <a:lnTo>
                    <a:pt x="619697" y="325374"/>
                  </a:lnTo>
                  <a:lnTo>
                    <a:pt x="624078" y="334518"/>
                  </a:lnTo>
                  <a:lnTo>
                    <a:pt x="622744" y="336232"/>
                  </a:lnTo>
                  <a:lnTo>
                    <a:pt x="622935" y="337852"/>
                  </a:lnTo>
                  <a:lnTo>
                    <a:pt x="618554" y="341567"/>
                  </a:lnTo>
                  <a:lnTo>
                    <a:pt x="622173" y="344329"/>
                  </a:lnTo>
                  <a:lnTo>
                    <a:pt x="622744" y="349091"/>
                  </a:lnTo>
                  <a:lnTo>
                    <a:pt x="619601" y="349472"/>
                  </a:lnTo>
                  <a:lnTo>
                    <a:pt x="618172" y="351282"/>
                  </a:lnTo>
                  <a:lnTo>
                    <a:pt x="621982" y="355568"/>
                  </a:lnTo>
                  <a:lnTo>
                    <a:pt x="621030" y="360521"/>
                  </a:lnTo>
                  <a:lnTo>
                    <a:pt x="617410" y="357759"/>
                  </a:lnTo>
                  <a:lnTo>
                    <a:pt x="617220" y="356235"/>
                  </a:lnTo>
                  <a:lnTo>
                    <a:pt x="613696" y="353473"/>
                  </a:lnTo>
                  <a:lnTo>
                    <a:pt x="594741" y="355854"/>
                  </a:lnTo>
                  <a:lnTo>
                    <a:pt x="593503" y="346424"/>
                  </a:lnTo>
                  <a:lnTo>
                    <a:pt x="582930" y="350996"/>
                  </a:lnTo>
                  <a:lnTo>
                    <a:pt x="577786" y="361188"/>
                  </a:lnTo>
                  <a:lnTo>
                    <a:pt x="569309" y="357473"/>
                  </a:lnTo>
                  <a:lnTo>
                    <a:pt x="563404" y="361474"/>
                  </a:lnTo>
                  <a:lnTo>
                    <a:pt x="558641" y="362045"/>
                  </a:lnTo>
                  <a:lnTo>
                    <a:pt x="539591" y="388525"/>
                  </a:lnTo>
                  <a:lnTo>
                    <a:pt x="537019" y="393668"/>
                  </a:lnTo>
                  <a:lnTo>
                    <a:pt x="529304" y="396240"/>
                  </a:lnTo>
                  <a:lnTo>
                    <a:pt x="515874" y="391573"/>
                  </a:lnTo>
                  <a:lnTo>
                    <a:pt x="509778" y="393954"/>
                  </a:lnTo>
                  <a:lnTo>
                    <a:pt x="500920" y="399860"/>
                  </a:lnTo>
                  <a:lnTo>
                    <a:pt x="495205" y="392620"/>
                  </a:lnTo>
                  <a:lnTo>
                    <a:pt x="492061" y="393002"/>
                  </a:lnTo>
                  <a:lnTo>
                    <a:pt x="491395" y="388239"/>
                  </a:lnTo>
                  <a:lnTo>
                    <a:pt x="488251" y="388620"/>
                  </a:lnTo>
                  <a:lnTo>
                    <a:pt x="487871" y="385477"/>
                  </a:lnTo>
                  <a:lnTo>
                    <a:pt x="482917" y="384524"/>
                  </a:lnTo>
                  <a:lnTo>
                    <a:pt x="479012" y="378619"/>
                  </a:lnTo>
                  <a:lnTo>
                    <a:pt x="477393" y="378809"/>
                  </a:lnTo>
                  <a:lnTo>
                    <a:pt x="476059" y="380619"/>
                  </a:lnTo>
                  <a:lnTo>
                    <a:pt x="472249" y="376238"/>
                  </a:lnTo>
                  <a:lnTo>
                    <a:pt x="475964" y="367760"/>
                  </a:lnTo>
                  <a:lnTo>
                    <a:pt x="470059" y="358902"/>
                  </a:lnTo>
                  <a:lnTo>
                    <a:pt x="468249" y="357569"/>
                  </a:lnTo>
                  <a:lnTo>
                    <a:pt x="453866" y="357759"/>
                  </a:lnTo>
                  <a:lnTo>
                    <a:pt x="451866" y="354806"/>
                  </a:lnTo>
                  <a:lnTo>
                    <a:pt x="448723" y="355187"/>
                  </a:lnTo>
                  <a:lnTo>
                    <a:pt x="448342" y="352044"/>
                  </a:lnTo>
                  <a:lnTo>
                    <a:pt x="444532" y="347758"/>
                  </a:lnTo>
                  <a:lnTo>
                    <a:pt x="441579" y="349663"/>
                  </a:lnTo>
                  <a:lnTo>
                    <a:pt x="439864" y="348329"/>
                  </a:lnTo>
                  <a:lnTo>
                    <a:pt x="434911" y="347377"/>
                  </a:lnTo>
                  <a:lnTo>
                    <a:pt x="430911" y="341471"/>
                  </a:lnTo>
                  <a:lnTo>
                    <a:pt x="433673" y="337852"/>
                  </a:lnTo>
                  <a:lnTo>
                    <a:pt x="434816" y="334518"/>
                  </a:lnTo>
                  <a:lnTo>
                    <a:pt x="432721" y="330041"/>
                  </a:lnTo>
                  <a:lnTo>
                    <a:pt x="427958" y="330613"/>
                  </a:lnTo>
                  <a:lnTo>
                    <a:pt x="431863" y="323659"/>
                  </a:lnTo>
                  <a:lnTo>
                    <a:pt x="428339" y="320897"/>
                  </a:lnTo>
                  <a:lnTo>
                    <a:pt x="429673" y="319183"/>
                  </a:lnTo>
                  <a:lnTo>
                    <a:pt x="428911" y="312801"/>
                  </a:lnTo>
                  <a:lnTo>
                    <a:pt x="422148" y="310515"/>
                  </a:lnTo>
                  <a:lnTo>
                    <a:pt x="423386" y="307086"/>
                  </a:lnTo>
                  <a:lnTo>
                    <a:pt x="419386" y="301180"/>
                  </a:lnTo>
                  <a:lnTo>
                    <a:pt x="417862" y="301466"/>
                  </a:lnTo>
                  <a:lnTo>
                    <a:pt x="420814" y="299466"/>
                  </a:lnTo>
                  <a:lnTo>
                    <a:pt x="420529" y="297847"/>
                  </a:lnTo>
                  <a:lnTo>
                    <a:pt x="419005" y="298037"/>
                  </a:lnTo>
                  <a:lnTo>
                    <a:pt x="420148" y="294703"/>
                  </a:lnTo>
                  <a:lnTo>
                    <a:pt x="416623" y="291941"/>
                  </a:lnTo>
                  <a:lnTo>
                    <a:pt x="416052" y="287179"/>
                  </a:lnTo>
                  <a:lnTo>
                    <a:pt x="413861" y="282702"/>
                  </a:lnTo>
                  <a:lnTo>
                    <a:pt x="408527" y="278511"/>
                  </a:lnTo>
                  <a:lnTo>
                    <a:pt x="405289" y="278987"/>
                  </a:lnTo>
                  <a:lnTo>
                    <a:pt x="405098" y="277368"/>
                  </a:lnTo>
                  <a:lnTo>
                    <a:pt x="398050" y="271844"/>
                  </a:lnTo>
                  <a:lnTo>
                    <a:pt x="399955" y="262033"/>
                  </a:lnTo>
                  <a:lnTo>
                    <a:pt x="379952" y="243650"/>
                  </a:lnTo>
                  <a:lnTo>
                    <a:pt x="374618" y="239554"/>
                  </a:lnTo>
                  <a:lnTo>
                    <a:pt x="364998" y="239173"/>
                  </a:lnTo>
                  <a:lnTo>
                    <a:pt x="360712" y="255746"/>
                  </a:lnTo>
                  <a:lnTo>
                    <a:pt x="350234" y="249079"/>
                  </a:lnTo>
                  <a:lnTo>
                    <a:pt x="343471" y="246698"/>
                  </a:lnTo>
                  <a:lnTo>
                    <a:pt x="334327" y="225457"/>
                  </a:lnTo>
                  <a:lnTo>
                    <a:pt x="325660" y="220123"/>
                  </a:lnTo>
                  <a:lnTo>
                    <a:pt x="318706" y="216217"/>
                  </a:lnTo>
                  <a:lnTo>
                    <a:pt x="318516" y="214598"/>
                  </a:lnTo>
                  <a:lnTo>
                    <a:pt x="313658" y="213646"/>
                  </a:lnTo>
                  <a:lnTo>
                    <a:pt x="309086" y="202978"/>
                  </a:lnTo>
                  <a:lnTo>
                    <a:pt x="301085" y="191167"/>
                  </a:lnTo>
                  <a:lnTo>
                    <a:pt x="306229" y="180880"/>
                  </a:lnTo>
                  <a:lnTo>
                    <a:pt x="309181" y="178975"/>
                  </a:lnTo>
                  <a:lnTo>
                    <a:pt x="317278" y="179546"/>
                  </a:lnTo>
                  <a:lnTo>
                    <a:pt x="322421" y="182023"/>
                  </a:lnTo>
                  <a:lnTo>
                    <a:pt x="326517" y="176689"/>
                  </a:lnTo>
                  <a:lnTo>
                    <a:pt x="331089" y="174593"/>
                  </a:lnTo>
                  <a:lnTo>
                    <a:pt x="337185" y="172212"/>
                  </a:lnTo>
                  <a:lnTo>
                    <a:pt x="349853" y="170593"/>
                  </a:lnTo>
                  <a:lnTo>
                    <a:pt x="358711" y="164592"/>
                  </a:lnTo>
                  <a:lnTo>
                    <a:pt x="362045" y="165830"/>
                  </a:lnTo>
                  <a:lnTo>
                    <a:pt x="366617" y="163640"/>
                  </a:lnTo>
                  <a:lnTo>
                    <a:pt x="369951" y="164782"/>
                  </a:lnTo>
                  <a:lnTo>
                    <a:pt x="377380" y="160592"/>
                  </a:lnTo>
                  <a:lnTo>
                    <a:pt x="376809" y="155924"/>
                  </a:lnTo>
                  <a:lnTo>
                    <a:pt x="381381" y="153734"/>
                  </a:lnTo>
                  <a:lnTo>
                    <a:pt x="380333" y="145828"/>
                  </a:lnTo>
                  <a:lnTo>
                    <a:pt x="384715" y="142018"/>
                  </a:lnTo>
                  <a:lnTo>
                    <a:pt x="385858" y="138684"/>
                  </a:lnTo>
                  <a:lnTo>
                    <a:pt x="388810" y="136684"/>
                  </a:lnTo>
                  <a:lnTo>
                    <a:pt x="392335" y="139446"/>
                  </a:lnTo>
                  <a:lnTo>
                    <a:pt x="400621" y="141637"/>
                  </a:lnTo>
                  <a:lnTo>
                    <a:pt x="406527" y="137636"/>
                  </a:lnTo>
                  <a:lnTo>
                    <a:pt x="412909" y="136874"/>
                  </a:lnTo>
                  <a:lnTo>
                    <a:pt x="412051" y="130588"/>
                  </a:lnTo>
                  <a:lnTo>
                    <a:pt x="412813" y="124015"/>
                  </a:lnTo>
                  <a:lnTo>
                    <a:pt x="412051" y="117729"/>
                  </a:lnTo>
                  <a:lnTo>
                    <a:pt x="416528" y="102679"/>
                  </a:lnTo>
                  <a:lnTo>
                    <a:pt x="400336" y="88773"/>
                  </a:lnTo>
                  <a:lnTo>
                    <a:pt x="387858" y="79153"/>
                  </a:lnTo>
                  <a:lnTo>
                    <a:pt x="388620" y="72580"/>
                  </a:lnTo>
                  <a:lnTo>
                    <a:pt x="388620" y="59722"/>
                  </a:lnTo>
                  <a:lnTo>
                    <a:pt x="394335" y="54197"/>
                  </a:lnTo>
                  <a:lnTo>
                    <a:pt x="398812" y="39243"/>
                  </a:lnTo>
                  <a:lnTo>
                    <a:pt x="403193" y="35433"/>
                  </a:lnTo>
                  <a:lnTo>
                    <a:pt x="402812" y="32290"/>
                  </a:lnTo>
                  <a:lnTo>
                    <a:pt x="405765" y="30290"/>
                  </a:lnTo>
                  <a:lnTo>
                    <a:pt x="403765" y="27337"/>
                  </a:lnTo>
                  <a:lnTo>
                    <a:pt x="394240" y="28575"/>
                  </a:lnTo>
                  <a:lnTo>
                    <a:pt x="392335" y="25622"/>
                  </a:lnTo>
                  <a:lnTo>
                    <a:pt x="387382" y="24670"/>
                  </a:lnTo>
                  <a:lnTo>
                    <a:pt x="381952" y="7715"/>
                  </a:lnTo>
                  <a:lnTo>
                    <a:pt x="366617" y="0"/>
                  </a:lnTo>
                  <a:lnTo>
                    <a:pt x="358711" y="1048"/>
                  </a:lnTo>
                  <a:lnTo>
                    <a:pt x="360331" y="13621"/>
                  </a:lnTo>
                  <a:lnTo>
                    <a:pt x="358330" y="23527"/>
                  </a:lnTo>
                  <a:lnTo>
                    <a:pt x="360521" y="28099"/>
                  </a:lnTo>
                  <a:lnTo>
                    <a:pt x="360712" y="29623"/>
                  </a:lnTo>
                  <a:lnTo>
                    <a:pt x="359378" y="31432"/>
                  </a:lnTo>
                  <a:lnTo>
                    <a:pt x="340614" y="48196"/>
                  </a:lnTo>
                  <a:lnTo>
                    <a:pt x="335375" y="56959"/>
                  </a:lnTo>
                  <a:lnTo>
                    <a:pt x="323279" y="63246"/>
                  </a:lnTo>
                  <a:lnTo>
                    <a:pt x="312706" y="67818"/>
                  </a:lnTo>
                  <a:lnTo>
                    <a:pt x="309753" y="69818"/>
                  </a:lnTo>
                  <a:lnTo>
                    <a:pt x="303181" y="69056"/>
                  </a:lnTo>
                  <a:lnTo>
                    <a:pt x="302800" y="65913"/>
                  </a:lnTo>
                  <a:lnTo>
                    <a:pt x="299466" y="64675"/>
                  </a:lnTo>
                  <a:lnTo>
                    <a:pt x="298609" y="58388"/>
                  </a:lnTo>
                  <a:lnTo>
                    <a:pt x="295084" y="55626"/>
                  </a:lnTo>
                  <a:lnTo>
                    <a:pt x="287179" y="56674"/>
                  </a:lnTo>
                  <a:lnTo>
                    <a:pt x="285845" y="58388"/>
                  </a:lnTo>
                  <a:lnTo>
                    <a:pt x="279749" y="60865"/>
                  </a:lnTo>
                  <a:lnTo>
                    <a:pt x="275558" y="66199"/>
                  </a:lnTo>
                  <a:lnTo>
                    <a:pt x="272224" y="64960"/>
                  </a:lnTo>
                  <a:lnTo>
                    <a:pt x="266129" y="67342"/>
                  </a:lnTo>
                  <a:lnTo>
                    <a:pt x="261175" y="66389"/>
                  </a:lnTo>
                  <a:lnTo>
                    <a:pt x="256032" y="63817"/>
                  </a:lnTo>
                  <a:lnTo>
                    <a:pt x="251079" y="62865"/>
                  </a:lnTo>
                  <a:lnTo>
                    <a:pt x="249364" y="61436"/>
                  </a:lnTo>
                  <a:lnTo>
                    <a:pt x="244602" y="62103"/>
                  </a:lnTo>
                  <a:lnTo>
                    <a:pt x="228409" y="60960"/>
                  </a:lnTo>
                  <a:lnTo>
                    <a:pt x="214789" y="67437"/>
                  </a:lnTo>
                  <a:lnTo>
                    <a:pt x="211836" y="69437"/>
                  </a:lnTo>
                  <a:lnTo>
                    <a:pt x="210121" y="68104"/>
                  </a:lnTo>
                  <a:lnTo>
                    <a:pt x="205740" y="71819"/>
                  </a:lnTo>
                  <a:lnTo>
                    <a:pt x="202216" y="69056"/>
                  </a:lnTo>
                  <a:lnTo>
                    <a:pt x="200596" y="69247"/>
                  </a:lnTo>
                  <a:lnTo>
                    <a:pt x="202025" y="80296"/>
                  </a:lnTo>
                  <a:lnTo>
                    <a:pt x="200882" y="83725"/>
                  </a:lnTo>
                  <a:lnTo>
                    <a:pt x="196310" y="85915"/>
                  </a:lnTo>
                  <a:lnTo>
                    <a:pt x="190405" y="89821"/>
                  </a:lnTo>
                  <a:lnTo>
                    <a:pt x="183451" y="85915"/>
                  </a:lnTo>
                  <a:lnTo>
                    <a:pt x="181927" y="98965"/>
                  </a:lnTo>
                  <a:lnTo>
                    <a:pt x="179546" y="105632"/>
                  </a:lnTo>
                  <a:lnTo>
                    <a:pt x="182404" y="114967"/>
                  </a:lnTo>
                  <a:lnTo>
                    <a:pt x="181546" y="121444"/>
                  </a:lnTo>
                  <a:lnTo>
                    <a:pt x="182404" y="127730"/>
                  </a:lnTo>
                  <a:lnTo>
                    <a:pt x="179641" y="131350"/>
                  </a:lnTo>
                  <a:lnTo>
                    <a:pt x="180213" y="136017"/>
                  </a:lnTo>
                  <a:lnTo>
                    <a:pt x="174307" y="140017"/>
                  </a:lnTo>
                  <a:lnTo>
                    <a:pt x="166021" y="137827"/>
                  </a:lnTo>
                  <a:lnTo>
                    <a:pt x="163068" y="139827"/>
                  </a:lnTo>
                  <a:lnTo>
                    <a:pt x="157734" y="135731"/>
                  </a:lnTo>
                  <a:lnTo>
                    <a:pt x="150019" y="125444"/>
                  </a:lnTo>
                  <a:lnTo>
                    <a:pt x="148209" y="124111"/>
                  </a:lnTo>
                  <a:lnTo>
                    <a:pt x="144971" y="135731"/>
                  </a:lnTo>
                  <a:lnTo>
                    <a:pt x="136493" y="144780"/>
                  </a:lnTo>
                  <a:lnTo>
                    <a:pt x="129159" y="163354"/>
                  </a:lnTo>
                  <a:lnTo>
                    <a:pt x="121920" y="169164"/>
                  </a:lnTo>
                  <a:lnTo>
                    <a:pt x="108299" y="162877"/>
                  </a:lnTo>
                  <a:lnTo>
                    <a:pt x="102394" y="166783"/>
                  </a:lnTo>
                  <a:lnTo>
                    <a:pt x="98488" y="173736"/>
                  </a:lnTo>
                  <a:lnTo>
                    <a:pt x="99250" y="180023"/>
                  </a:lnTo>
                  <a:lnTo>
                    <a:pt x="94964" y="183832"/>
                  </a:lnTo>
                  <a:lnTo>
                    <a:pt x="91916" y="185738"/>
                  </a:lnTo>
                  <a:lnTo>
                    <a:pt x="86582" y="181642"/>
                  </a:lnTo>
                  <a:lnTo>
                    <a:pt x="81534" y="191929"/>
                  </a:lnTo>
                  <a:lnTo>
                    <a:pt x="77343" y="197263"/>
                  </a:lnTo>
                  <a:lnTo>
                    <a:pt x="69342" y="209550"/>
                  </a:lnTo>
                  <a:lnTo>
                    <a:pt x="66199" y="209931"/>
                  </a:lnTo>
                  <a:lnTo>
                    <a:pt x="55912" y="217646"/>
                  </a:lnTo>
                  <a:lnTo>
                    <a:pt x="58483" y="225361"/>
                  </a:lnTo>
                  <a:lnTo>
                    <a:pt x="59912" y="236411"/>
                  </a:lnTo>
                  <a:lnTo>
                    <a:pt x="63913" y="242316"/>
                  </a:lnTo>
                  <a:lnTo>
                    <a:pt x="59912" y="249174"/>
                  </a:lnTo>
                  <a:lnTo>
                    <a:pt x="44196" y="264033"/>
                  </a:lnTo>
                  <a:lnTo>
                    <a:pt x="51721" y="285559"/>
                  </a:lnTo>
                  <a:lnTo>
                    <a:pt x="51340" y="295180"/>
                  </a:lnTo>
                  <a:lnTo>
                    <a:pt x="53721" y="301276"/>
                  </a:lnTo>
                  <a:lnTo>
                    <a:pt x="54769" y="309182"/>
                  </a:lnTo>
                  <a:lnTo>
                    <a:pt x="47530" y="327755"/>
                  </a:lnTo>
                  <a:lnTo>
                    <a:pt x="39814" y="330327"/>
                  </a:lnTo>
                  <a:lnTo>
                    <a:pt x="37242" y="335471"/>
                  </a:lnTo>
                  <a:lnTo>
                    <a:pt x="31718" y="342614"/>
                  </a:lnTo>
                  <a:lnTo>
                    <a:pt x="24098" y="345186"/>
                  </a:lnTo>
                  <a:lnTo>
                    <a:pt x="19526" y="360140"/>
                  </a:lnTo>
                  <a:lnTo>
                    <a:pt x="11049" y="369284"/>
                  </a:lnTo>
                  <a:lnTo>
                    <a:pt x="12668" y="381857"/>
                  </a:lnTo>
                  <a:lnTo>
                    <a:pt x="15049" y="388048"/>
                  </a:lnTo>
                  <a:lnTo>
                    <a:pt x="14288" y="394526"/>
                  </a:lnTo>
                  <a:lnTo>
                    <a:pt x="5429" y="400431"/>
                  </a:lnTo>
                  <a:lnTo>
                    <a:pt x="3905" y="400622"/>
                  </a:lnTo>
                  <a:lnTo>
                    <a:pt x="6286" y="406813"/>
                  </a:lnTo>
                  <a:lnTo>
                    <a:pt x="14764" y="410528"/>
                  </a:lnTo>
                  <a:lnTo>
                    <a:pt x="29432" y="424720"/>
                  </a:lnTo>
                  <a:lnTo>
                    <a:pt x="33528" y="432149"/>
                  </a:lnTo>
                  <a:lnTo>
                    <a:pt x="33718" y="433769"/>
                  </a:lnTo>
                  <a:lnTo>
                    <a:pt x="36100" y="439865"/>
                  </a:lnTo>
                  <a:lnTo>
                    <a:pt x="33338" y="443389"/>
                  </a:lnTo>
                  <a:lnTo>
                    <a:pt x="35338" y="446341"/>
                  </a:lnTo>
                  <a:lnTo>
                    <a:pt x="32766" y="451485"/>
                  </a:lnTo>
                  <a:lnTo>
                    <a:pt x="31051" y="450152"/>
                  </a:lnTo>
                  <a:lnTo>
                    <a:pt x="28861" y="458438"/>
                  </a:lnTo>
                  <a:lnTo>
                    <a:pt x="22574" y="459200"/>
                  </a:lnTo>
                  <a:lnTo>
                    <a:pt x="21622" y="464153"/>
                  </a:lnTo>
                  <a:lnTo>
                    <a:pt x="17050" y="466344"/>
                  </a:lnTo>
                  <a:lnTo>
                    <a:pt x="17431" y="469487"/>
                  </a:lnTo>
                  <a:lnTo>
                    <a:pt x="9811" y="472059"/>
                  </a:lnTo>
                  <a:lnTo>
                    <a:pt x="12097" y="478155"/>
                  </a:lnTo>
                  <a:lnTo>
                    <a:pt x="10954" y="481584"/>
                  </a:lnTo>
                  <a:lnTo>
                    <a:pt x="19240" y="483679"/>
                  </a:lnTo>
                  <a:lnTo>
                    <a:pt x="16954" y="490442"/>
                  </a:lnTo>
                  <a:lnTo>
                    <a:pt x="17335" y="493586"/>
                  </a:lnTo>
                  <a:lnTo>
                    <a:pt x="15907" y="495395"/>
                  </a:lnTo>
                  <a:lnTo>
                    <a:pt x="14192" y="493966"/>
                  </a:lnTo>
                  <a:lnTo>
                    <a:pt x="13144" y="498919"/>
                  </a:lnTo>
                  <a:lnTo>
                    <a:pt x="13430" y="500539"/>
                  </a:lnTo>
                  <a:lnTo>
                    <a:pt x="7715" y="506063"/>
                  </a:lnTo>
                  <a:lnTo>
                    <a:pt x="6477" y="509397"/>
                  </a:lnTo>
                  <a:lnTo>
                    <a:pt x="1714" y="509969"/>
                  </a:lnTo>
                  <a:lnTo>
                    <a:pt x="4191" y="516065"/>
                  </a:lnTo>
                  <a:lnTo>
                    <a:pt x="952" y="516541"/>
                  </a:lnTo>
                  <a:lnTo>
                    <a:pt x="0" y="521398"/>
                  </a:lnTo>
                  <a:lnTo>
                    <a:pt x="8477" y="525208"/>
                  </a:lnTo>
                  <a:lnTo>
                    <a:pt x="10858" y="531304"/>
                  </a:lnTo>
                  <a:lnTo>
                    <a:pt x="10287" y="539401"/>
                  </a:lnTo>
                  <a:lnTo>
                    <a:pt x="12859" y="534257"/>
                  </a:lnTo>
                  <a:lnTo>
                    <a:pt x="16192" y="535400"/>
                  </a:lnTo>
                  <a:lnTo>
                    <a:pt x="18192" y="538353"/>
                  </a:lnTo>
                  <a:lnTo>
                    <a:pt x="19050" y="544640"/>
                  </a:lnTo>
                  <a:lnTo>
                    <a:pt x="23622" y="555307"/>
                  </a:lnTo>
                  <a:lnTo>
                    <a:pt x="26956" y="556546"/>
                  </a:lnTo>
                  <a:lnTo>
                    <a:pt x="29146" y="561023"/>
                  </a:lnTo>
                  <a:lnTo>
                    <a:pt x="36195" y="553688"/>
                  </a:lnTo>
                  <a:lnTo>
                    <a:pt x="39338" y="553307"/>
                  </a:lnTo>
                  <a:lnTo>
                    <a:pt x="44291" y="554260"/>
                  </a:lnTo>
                  <a:lnTo>
                    <a:pt x="43720" y="549593"/>
                  </a:lnTo>
                  <a:lnTo>
                    <a:pt x="45053" y="547783"/>
                  </a:lnTo>
                  <a:lnTo>
                    <a:pt x="50197" y="550354"/>
                  </a:lnTo>
                  <a:lnTo>
                    <a:pt x="53911" y="541877"/>
                  </a:lnTo>
                  <a:lnTo>
                    <a:pt x="57055" y="541401"/>
                  </a:lnTo>
                  <a:lnTo>
                    <a:pt x="54578" y="559403"/>
                  </a:lnTo>
                  <a:lnTo>
                    <a:pt x="48482" y="574643"/>
                  </a:lnTo>
                  <a:lnTo>
                    <a:pt x="46101" y="581311"/>
                  </a:lnTo>
                  <a:lnTo>
                    <a:pt x="49244" y="580930"/>
                  </a:lnTo>
                  <a:lnTo>
                    <a:pt x="49721" y="584073"/>
                  </a:lnTo>
                  <a:lnTo>
                    <a:pt x="51435" y="585407"/>
                  </a:lnTo>
                  <a:lnTo>
                    <a:pt x="51911" y="588645"/>
                  </a:lnTo>
                  <a:lnTo>
                    <a:pt x="53245" y="586835"/>
                  </a:lnTo>
                  <a:lnTo>
                    <a:pt x="56197" y="584835"/>
                  </a:lnTo>
                  <a:lnTo>
                    <a:pt x="58007" y="586264"/>
                  </a:lnTo>
                  <a:lnTo>
                    <a:pt x="59531" y="585978"/>
                  </a:lnTo>
                  <a:lnTo>
                    <a:pt x="59150" y="582835"/>
                  </a:lnTo>
                  <a:lnTo>
                    <a:pt x="62293" y="582454"/>
                  </a:lnTo>
                  <a:lnTo>
                    <a:pt x="63532" y="579120"/>
                  </a:lnTo>
                  <a:lnTo>
                    <a:pt x="65437" y="582073"/>
                  </a:lnTo>
                  <a:lnTo>
                    <a:pt x="70009" y="579882"/>
                  </a:lnTo>
                  <a:lnTo>
                    <a:pt x="73533" y="582644"/>
                  </a:lnTo>
                  <a:lnTo>
                    <a:pt x="76486" y="580644"/>
                  </a:lnTo>
                  <a:lnTo>
                    <a:pt x="78867" y="586740"/>
                  </a:lnTo>
                  <a:lnTo>
                    <a:pt x="85439" y="587502"/>
                  </a:lnTo>
                  <a:lnTo>
                    <a:pt x="88963" y="590264"/>
                  </a:lnTo>
                  <a:lnTo>
                    <a:pt x="93535" y="588074"/>
                  </a:lnTo>
                  <a:lnTo>
                    <a:pt x="95536" y="591026"/>
                  </a:lnTo>
                  <a:lnTo>
                    <a:pt x="96107" y="595789"/>
                  </a:lnTo>
                  <a:lnTo>
                    <a:pt x="97250" y="592455"/>
                  </a:lnTo>
                  <a:lnTo>
                    <a:pt x="98869" y="592265"/>
                  </a:lnTo>
                  <a:lnTo>
                    <a:pt x="104204" y="596360"/>
                  </a:lnTo>
                  <a:lnTo>
                    <a:pt x="104394" y="597979"/>
                  </a:lnTo>
                  <a:lnTo>
                    <a:pt x="104584" y="599503"/>
                  </a:lnTo>
                  <a:lnTo>
                    <a:pt x="109538" y="600551"/>
                  </a:lnTo>
                  <a:lnTo>
                    <a:pt x="115633" y="598075"/>
                  </a:lnTo>
                  <a:lnTo>
                    <a:pt x="127254" y="601408"/>
                  </a:lnTo>
                  <a:lnTo>
                    <a:pt x="126301" y="606361"/>
                  </a:lnTo>
                  <a:lnTo>
                    <a:pt x="128302" y="609314"/>
                  </a:lnTo>
                  <a:lnTo>
                    <a:pt x="130873" y="604171"/>
                  </a:lnTo>
                  <a:lnTo>
                    <a:pt x="133636" y="600647"/>
                  </a:lnTo>
                  <a:lnTo>
                    <a:pt x="143065" y="599408"/>
                  </a:lnTo>
                  <a:lnTo>
                    <a:pt x="150400" y="593693"/>
                  </a:lnTo>
                  <a:lnTo>
                    <a:pt x="157829" y="602361"/>
                  </a:lnTo>
                  <a:lnTo>
                    <a:pt x="159258" y="600551"/>
                  </a:lnTo>
                  <a:lnTo>
                    <a:pt x="161258" y="603504"/>
                  </a:lnTo>
                  <a:lnTo>
                    <a:pt x="172688" y="618077"/>
                  </a:lnTo>
                  <a:lnTo>
                    <a:pt x="174688" y="621030"/>
                  </a:lnTo>
                  <a:lnTo>
                    <a:pt x="177832" y="620649"/>
                  </a:lnTo>
                  <a:lnTo>
                    <a:pt x="180022" y="625221"/>
                  </a:lnTo>
                  <a:lnTo>
                    <a:pt x="186976" y="629126"/>
                  </a:lnTo>
                  <a:lnTo>
                    <a:pt x="189357" y="635222"/>
                  </a:lnTo>
                  <a:lnTo>
                    <a:pt x="186404" y="637223"/>
                  </a:lnTo>
                  <a:lnTo>
                    <a:pt x="186785" y="640366"/>
                  </a:lnTo>
                  <a:lnTo>
                    <a:pt x="193929" y="645890"/>
                  </a:lnTo>
                  <a:lnTo>
                    <a:pt x="195834" y="648843"/>
                  </a:lnTo>
                  <a:lnTo>
                    <a:pt x="189738" y="651224"/>
                  </a:lnTo>
                  <a:lnTo>
                    <a:pt x="196882" y="656749"/>
                  </a:lnTo>
                  <a:lnTo>
                    <a:pt x="199072" y="661226"/>
                  </a:lnTo>
                  <a:lnTo>
                    <a:pt x="198691" y="658082"/>
                  </a:lnTo>
                  <a:lnTo>
                    <a:pt x="203359" y="657511"/>
                  </a:lnTo>
                  <a:lnTo>
                    <a:pt x="207740" y="653701"/>
                  </a:lnTo>
                  <a:lnTo>
                    <a:pt x="215170" y="649605"/>
                  </a:lnTo>
                  <a:lnTo>
                    <a:pt x="230219" y="654082"/>
                  </a:lnTo>
                  <a:lnTo>
                    <a:pt x="235363" y="656653"/>
                  </a:lnTo>
                  <a:lnTo>
                    <a:pt x="238125" y="653034"/>
                  </a:lnTo>
                  <a:lnTo>
                    <a:pt x="241459" y="654272"/>
                  </a:lnTo>
                  <a:lnTo>
                    <a:pt x="249746" y="669227"/>
                  </a:lnTo>
                  <a:lnTo>
                    <a:pt x="253174" y="670370"/>
                  </a:lnTo>
                  <a:lnTo>
                    <a:pt x="266319" y="673513"/>
                  </a:lnTo>
                  <a:lnTo>
                    <a:pt x="274225" y="659702"/>
                  </a:lnTo>
                  <a:lnTo>
                    <a:pt x="272415" y="658368"/>
                  </a:lnTo>
                  <a:lnTo>
                    <a:pt x="273653" y="654939"/>
                  </a:lnTo>
                  <a:lnTo>
                    <a:pt x="276225" y="649795"/>
                  </a:lnTo>
                  <a:lnTo>
                    <a:pt x="279559" y="651034"/>
                  </a:lnTo>
                  <a:lnTo>
                    <a:pt x="281559" y="653986"/>
                  </a:lnTo>
                  <a:lnTo>
                    <a:pt x="289846" y="656082"/>
                  </a:lnTo>
                  <a:lnTo>
                    <a:pt x="298323" y="659797"/>
                  </a:lnTo>
                  <a:lnTo>
                    <a:pt x="310134" y="677608"/>
                  </a:lnTo>
                  <a:lnTo>
                    <a:pt x="316897" y="679895"/>
                  </a:lnTo>
                  <a:lnTo>
                    <a:pt x="329565" y="678275"/>
                  </a:lnTo>
                  <a:lnTo>
                    <a:pt x="330327" y="671798"/>
                  </a:lnTo>
                  <a:lnTo>
                    <a:pt x="336423" y="669417"/>
                  </a:lnTo>
                  <a:lnTo>
                    <a:pt x="340519" y="664083"/>
                  </a:lnTo>
                  <a:lnTo>
                    <a:pt x="343852" y="665226"/>
                  </a:lnTo>
                  <a:lnTo>
                    <a:pt x="346234" y="658558"/>
                  </a:lnTo>
                  <a:lnTo>
                    <a:pt x="354901" y="663893"/>
                  </a:lnTo>
                  <a:lnTo>
                    <a:pt x="359664" y="663226"/>
                  </a:lnTo>
                  <a:lnTo>
                    <a:pt x="365569" y="672084"/>
                  </a:lnTo>
                  <a:lnTo>
                    <a:pt x="371761" y="669703"/>
                  </a:lnTo>
                  <a:lnTo>
                    <a:pt x="375094" y="670941"/>
                  </a:lnTo>
                  <a:lnTo>
                    <a:pt x="378619" y="673703"/>
                  </a:lnTo>
                  <a:lnTo>
                    <a:pt x="376047" y="678847"/>
                  </a:lnTo>
                  <a:lnTo>
                    <a:pt x="379476" y="679990"/>
                  </a:lnTo>
                  <a:lnTo>
                    <a:pt x="381190" y="681323"/>
                  </a:lnTo>
                  <a:lnTo>
                    <a:pt x="384810" y="684086"/>
                  </a:lnTo>
                  <a:lnTo>
                    <a:pt x="387953" y="683704"/>
                  </a:lnTo>
                  <a:lnTo>
                    <a:pt x="390334" y="677037"/>
                  </a:lnTo>
                  <a:lnTo>
                    <a:pt x="391858" y="676751"/>
                  </a:lnTo>
                  <a:lnTo>
                    <a:pt x="391287" y="684848"/>
                  </a:lnTo>
                  <a:lnTo>
                    <a:pt x="393287" y="687800"/>
                  </a:lnTo>
                  <a:lnTo>
                    <a:pt x="391668" y="687991"/>
                  </a:lnTo>
                  <a:lnTo>
                    <a:pt x="390715" y="692944"/>
                  </a:lnTo>
                  <a:lnTo>
                    <a:pt x="389096" y="693134"/>
                  </a:lnTo>
                  <a:lnTo>
                    <a:pt x="382905" y="706755"/>
                  </a:lnTo>
                  <a:lnTo>
                    <a:pt x="381857" y="711708"/>
                  </a:lnTo>
                  <a:lnTo>
                    <a:pt x="385096" y="724186"/>
                  </a:lnTo>
                  <a:lnTo>
                    <a:pt x="386715" y="736759"/>
                  </a:lnTo>
                  <a:lnTo>
                    <a:pt x="389096" y="742855"/>
                  </a:lnTo>
                  <a:lnTo>
                    <a:pt x="409861" y="754666"/>
                  </a:lnTo>
                  <a:lnTo>
                    <a:pt x="410242" y="757809"/>
                  </a:lnTo>
                  <a:lnTo>
                    <a:pt x="411956" y="759238"/>
                  </a:lnTo>
                  <a:lnTo>
                    <a:pt x="414528" y="754094"/>
                  </a:lnTo>
                  <a:lnTo>
                    <a:pt x="416338" y="755428"/>
                  </a:lnTo>
                  <a:lnTo>
                    <a:pt x="417671" y="753713"/>
                  </a:lnTo>
                  <a:lnTo>
                    <a:pt x="419290" y="753523"/>
                  </a:lnTo>
                  <a:lnTo>
                    <a:pt x="419671" y="743807"/>
                  </a:lnTo>
                  <a:lnTo>
                    <a:pt x="422243" y="738664"/>
                  </a:lnTo>
                  <a:lnTo>
                    <a:pt x="422243" y="738664"/>
                  </a:lnTo>
                  <a:lnTo>
                    <a:pt x="429292" y="744188"/>
                  </a:lnTo>
                  <a:lnTo>
                    <a:pt x="437864" y="760762"/>
                  </a:lnTo>
                  <a:lnTo>
                    <a:pt x="448532" y="769049"/>
                  </a:lnTo>
                  <a:lnTo>
                    <a:pt x="444817" y="777526"/>
                  </a:lnTo>
                  <a:lnTo>
                    <a:pt x="450151" y="781622"/>
                  </a:lnTo>
                  <a:lnTo>
                    <a:pt x="451294" y="791051"/>
                  </a:lnTo>
                  <a:lnTo>
                    <a:pt x="453104" y="792480"/>
                  </a:lnTo>
                  <a:lnTo>
                    <a:pt x="455866" y="788956"/>
                  </a:lnTo>
                  <a:lnTo>
                    <a:pt x="459010" y="788479"/>
                  </a:lnTo>
                  <a:lnTo>
                    <a:pt x="464820" y="795814"/>
                  </a:lnTo>
                  <a:lnTo>
                    <a:pt x="473488" y="801148"/>
                  </a:lnTo>
                  <a:lnTo>
                    <a:pt x="479965" y="801910"/>
                  </a:lnTo>
                  <a:lnTo>
                    <a:pt x="484537" y="812482"/>
                  </a:lnTo>
                  <a:lnTo>
                    <a:pt x="490061" y="818198"/>
                  </a:lnTo>
                  <a:lnTo>
                    <a:pt x="493681" y="820960"/>
                  </a:lnTo>
                  <a:lnTo>
                    <a:pt x="495586" y="823912"/>
                  </a:lnTo>
                  <a:lnTo>
                    <a:pt x="497967" y="830008"/>
                  </a:lnTo>
                  <a:lnTo>
                    <a:pt x="501110" y="829628"/>
                  </a:lnTo>
                  <a:lnTo>
                    <a:pt x="501777" y="834390"/>
                  </a:lnTo>
                  <a:lnTo>
                    <a:pt x="503301" y="834199"/>
                  </a:lnTo>
                  <a:lnTo>
                    <a:pt x="501967" y="836009"/>
                  </a:lnTo>
                  <a:lnTo>
                    <a:pt x="504158" y="840486"/>
                  </a:lnTo>
                  <a:lnTo>
                    <a:pt x="507111" y="838486"/>
                  </a:lnTo>
                  <a:lnTo>
                    <a:pt x="508921" y="839915"/>
                  </a:lnTo>
                  <a:lnTo>
                    <a:pt x="508063" y="846391"/>
                  </a:lnTo>
                  <a:lnTo>
                    <a:pt x="513207" y="848963"/>
                  </a:lnTo>
                  <a:lnTo>
                    <a:pt x="516350" y="848582"/>
                  </a:lnTo>
                  <a:lnTo>
                    <a:pt x="513397" y="850582"/>
                  </a:lnTo>
                  <a:lnTo>
                    <a:pt x="515017" y="850297"/>
                  </a:lnTo>
                  <a:lnTo>
                    <a:pt x="513874" y="853726"/>
                  </a:lnTo>
                  <a:lnTo>
                    <a:pt x="517207" y="854869"/>
                  </a:lnTo>
                  <a:lnTo>
                    <a:pt x="513302" y="861822"/>
                  </a:lnTo>
                  <a:lnTo>
                    <a:pt x="508349" y="860774"/>
                  </a:lnTo>
                  <a:lnTo>
                    <a:pt x="501205" y="868108"/>
                  </a:lnTo>
                  <a:lnTo>
                    <a:pt x="501682" y="871252"/>
                  </a:lnTo>
                  <a:lnTo>
                    <a:pt x="504825" y="870871"/>
                  </a:lnTo>
                  <a:lnTo>
                    <a:pt x="508730" y="876776"/>
                  </a:lnTo>
                  <a:lnTo>
                    <a:pt x="509588" y="883063"/>
                  </a:lnTo>
                  <a:lnTo>
                    <a:pt x="516731" y="888587"/>
                  </a:lnTo>
                  <a:lnTo>
                    <a:pt x="521398" y="875157"/>
                  </a:lnTo>
                  <a:lnTo>
                    <a:pt x="522732" y="873443"/>
                  </a:lnTo>
                  <a:lnTo>
                    <a:pt x="527494" y="872776"/>
                  </a:lnTo>
                  <a:lnTo>
                    <a:pt x="526923" y="868108"/>
                  </a:lnTo>
                  <a:lnTo>
                    <a:pt x="529685" y="864489"/>
                  </a:lnTo>
                  <a:lnTo>
                    <a:pt x="539972" y="869632"/>
                  </a:lnTo>
                  <a:lnTo>
                    <a:pt x="540925" y="864679"/>
                  </a:lnTo>
                  <a:lnTo>
                    <a:pt x="544068" y="864299"/>
                  </a:lnTo>
                  <a:lnTo>
                    <a:pt x="544258" y="865823"/>
                  </a:lnTo>
                  <a:lnTo>
                    <a:pt x="541687" y="870966"/>
                  </a:lnTo>
                  <a:lnTo>
                    <a:pt x="548830" y="876490"/>
                  </a:lnTo>
                  <a:lnTo>
                    <a:pt x="546449" y="883253"/>
                  </a:lnTo>
                  <a:lnTo>
                    <a:pt x="548068" y="883063"/>
                  </a:lnTo>
                  <a:lnTo>
                    <a:pt x="548449" y="886206"/>
                  </a:lnTo>
                  <a:lnTo>
                    <a:pt x="550259" y="887540"/>
                  </a:lnTo>
                  <a:lnTo>
                    <a:pt x="549497" y="894016"/>
                  </a:lnTo>
                  <a:lnTo>
                    <a:pt x="554164" y="893445"/>
                  </a:lnTo>
                  <a:lnTo>
                    <a:pt x="554641" y="896588"/>
                  </a:lnTo>
                  <a:lnTo>
                    <a:pt x="576643" y="893826"/>
                  </a:lnTo>
                  <a:lnTo>
                    <a:pt x="583216" y="894588"/>
                  </a:lnTo>
                  <a:lnTo>
                    <a:pt x="590264" y="900112"/>
                  </a:lnTo>
                  <a:lnTo>
                    <a:pt x="591502" y="896683"/>
                  </a:lnTo>
                  <a:lnTo>
                    <a:pt x="594646" y="896303"/>
                  </a:lnTo>
                  <a:lnTo>
                    <a:pt x="600551" y="905161"/>
                  </a:lnTo>
                  <a:lnTo>
                    <a:pt x="607885" y="912304"/>
                  </a:lnTo>
                  <a:lnTo>
                    <a:pt x="609314" y="923353"/>
                  </a:lnTo>
                  <a:lnTo>
                    <a:pt x="608933" y="932974"/>
                  </a:lnTo>
                  <a:lnTo>
                    <a:pt x="615696" y="935355"/>
                  </a:lnTo>
                  <a:lnTo>
                    <a:pt x="617030" y="933545"/>
                  </a:lnTo>
                  <a:lnTo>
                    <a:pt x="623316" y="932783"/>
                  </a:lnTo>
                  <a:lnTo>
                    <a:pt x="638365" y="924401"/>
                  </a:lnTo>
                  <a:lnTo>
                    <a:pt x="652367" y="921068"/>
                  </a:lnTo>
                  <a:lnTo>
                    <a:pt x="659987" y="918496"/>
                  </a:lnTo>
                  <a:lnTo>
                    <a:pt x="668083" y="919067"/>
                  </a:lnTo>
                  <a:lnTo>
                    <a:pt x="669703" y="918877"/>
                  </a:lnTo>
                  <a:lnTo>
                    <a:pt x="673989" y="915067"/>
                  </a:lnTo>
                  <a:lnTo>
                    <a:pt x="682276" y="917257"/>
                  </a:lnTo>
                  <a:lnTo>
                    <a:pt x="685229" y="915257"/>
                  </a:lnTo>
                  <a:lnTo>
                    <a:pt x="691801" y="916019"/>
                  </a:lnTo>
                  <a:lnTo>
                    <a:pt x="702373" y="911447"/>
                  </a:lnTo>
                  <a:lnTo>
                    <a:pt x="710374" y="923258"/>
                  </a:lnTo>
                  <a:lnTo>
                    <a:pt x="725900" y="919734"/>
                  </a:lnTo>
                  <a:lnTo>
                    <a:pt x="730282" y="915924"/>
                  </a:lnTo>
                  <a:lnTo>
                    <a:pt x="733806" y="918686"/>
                  </a:lnTo>
                  <a:lnTo>
                    <a:pt x="738378" y="929354"/>
                  </a:lnTo>
                  <a:lnTo>
                    <a:pt x="749617" y="942308"/>
                  </a:lnTo>
                  <a:lnTo>
                    <a:pt x="758190" y="946023"/>
                  </a:lnTo>
                  <a:lnTo>
                    <a:pt x="767239" y="941641"/>
                  </a:lnTo>
                  <a:lnTo>
                    <a:pt x="770382" y="941261"/>
                  </a:lnTo>
                  <a:lnTo>
                    <a:pt x="774382" y="947166"/>
                  </a:lnTo>
                  <a:lnTo>
                    <a:pt x="794290" y="952690"/>
                  </a:lnTo>
                  <a:lnTo>
                    <a:pt x="798766" y="950500"/>
                  </a:lnTo>
                  <a:lnTo>
                    <a:pt x="803910" y="940213"/>
                  </a:lnTo>
                  <a:lnTo>
                    <a:pt x="808672" y="939641"/>
                  </a:lnTo>
                  <a:lnTo>
                    <a:pt x="820102" y="941356"/>
                  </a:lnTo>
                  <a:lnTo>
                    <a:pt x="826770" y="943737"/>
                  </a:lnTo>
                  <a:lnTo>
                    <a:pt x="830580" y="948023"/>
                  </a:lnTo>
                  <a:lnTo>
                    <a:pt x="833342" y="970121"/>
                  </a:lnTo>
                  <a:lnTo>
                    <a:pt x="838962" y="975836"/>
                  </a:lnTo>
                  <a:lnTo>
                    <a:pt x="845058" y="986314"/>
                  </a:lnTo>
                  <a:lnTo>
                    <a:pt x="850011" y="987266"/>
                  </a:lnTo>
                  <a:lnTo>
                    <a:pt x="858679" y="992600"/>
                  </a:lnTo>
                  <a:lnTo>
                    <a:pt x="864965" y="991743"/>
                  </a:lnTo>
                  <a:lnTo>
                    <a:pt x="869347" y="1000792"/>
                  </a:lnTo>
                  <a:lnTo>
                    <a:pt x="871347" y="1003840"/>
                  </a:lnTo>
                  <a:lnTo>
                    <a:pt x="869728" y="1004030"/>
                  </a:lnTo>
                  <a:lnTo>
                    <a:pt x="871728" y="1006983"/>
                  </a:lnTo>
                  <a:lnTo>
                    <a:pt x="876490" y="1006316"/>
                  </a:lnTo>
                  <a:lnTo>
                    <a:pt x="881253" y="1018603"/>
                  </a:lnTo>
                  <a:lnTo>
                    <a:pt x="876014" y="1040130"/>
                  </a:lnTo>
                  <a:lnTo>
                    <a:pt x="883825" y="1039082"/>
                  </a:lnTo>
                  <a:lnTo>
                    <a:pt x="888778" y="1040035"/>
                  </a:lnTo>
                  <a:lnTo>
                    <a:pt x="895922" y="1045559"/>
                  </a:lnTo>
                  <a:lnTo>
                    <a:pt x="900684" y="1044988"/>
                  </a:lnTo>
                  <a:lnTo>
                    <a:pt x="905827" y="1047560"/>
                  </a:lnTo>
                  <a:lnTo>
                    <a:pt x="910114" y="1043749"/>
                  </a:lnTo>
                  <a:lnTo>
                    <a:pt x="926878" y="1049655"/>
                  </a:lnTo>
                  <a:lnTo>
                    <a:pt x="936403" y="1048417"/>
                  </a:lnTo>
                  <a:lnTo>
                    <a:pt x="937355" y="1043464"/>
                  </a:lnTo>
                  <a:lnTo>
                    <a:pt x="940117" y="1039940"/>
                  </a:lnTo>
                  <a:lnTo>
                    <a:pt x="955072" y="1031653"/>
                  </a:lnTo>
                  <a:lnTo>
                    <a:pt x="956024" y="1026700"/>
                  </a:lnTo>
                  <a:lnTo>
                    <a:pt x="955262" y="1020413"/>
                  </a:lnTo>
                  <a:lnTo>
                    <a:pt x="958024" y="1016794"/>
                  </a:lnTo>
                  <a:lnTo>
                    <a:pt x="959167" y="1013460"/>
                  </a:lnTo>
                  <a:lnTo>
                    <a:pt x="968026" y="1007554"/>
                  </a:lnTo>
                  <a:lnTo>
                    <a:pt x="962692" y="1003364"/>
                  </a:lnTo>
                  <a:lnTo>
                    <a:pt x="967073" y="999649"/>
                  </a:lnTo>
                  <a:lnTo>
                    <a:pt x="971740" y="998982"/>
                  </a:lnTo>
                  <a:lnTo>
                    <a:pt x="972598" y="992505"/>
                  </a:lnTo>
                  <a:lnTo>
                    <a:pt x="984409" y="984599"/>
                  </a:lnTo>
                  <a:lnTo>
                    <a:pt x="987933" y="974503"/>
                  </a:lnTo>
                  <a:lnTo>
                    <a:pt x="990886" y="972503"/>
                  </a:lnTo>
                  <a:lnTo>
                    <a:pt x="993172" y="965835"/>
                  </a:lnTo>
                  <a:lnTo>
                    <a:pt x="999554" y="964978"/>
                  </a:lnTo>
                  <a:lnTo>
                    <a:pt x="1000887" y="963263"/>
                  </a:lnTo>
                  <a:lnTo>
                    <a:pt x="1002030" y="959834"/>
                  </a:lnTo>
                  <a:lnTo>
                    <a:pt x="998315" y="955548"/>
                  </a:lnTo>
                  <a:lnTo>
                    <a:pt x="997458" y="949261"/>
                  </a:lnTo>
                  <a:lnTo>
                    <a:pt x="993743" y="944880"/>
                  </a:lnTo>
                  <a:lnTo>
                    <a:pt x="991552" y="940403"/>
                  </a:lnTo>
                  <a:lnTo>
                    <a:pt x="992505" y="935450"/>
                  </a:lnTo>
                  <a:lnTo>
                    <a:pt x="997077" y="933260"/>
                  </a:lnTo>
                  <a:lnTo>
                    <a:pt x="996886" y="931640"/>
                  </a:lnTo>
                  <a:lnTo>
                    <a:pt x="997648" y="925163"/>
                  </a:lnTo>
                  <a:lnTo>
                    <a:pt x="1002221" y="922973"/>
                  </a:lnTo>
                  <a:lnTo>
                    <a:pt x="1003554" y="921163"/>
                  </a:lnTo>
                  <a:lnTo>
                    <a:pt x="1015555" y="914876"/>
                  </a:lnTo>
                  <a:lnTo>
                    <a:pt x="1023842" y="916972"/>
                  </a:lnTo>
                  <a:lnTo>
                    <a:pt x="1031367" y="912876"/>
                  </a:lnTo>
                  <a:lnTo>
                    <a:pt x="1034320" y="910876"/>
                  </a:lnTo>
                  <a:lnTo>
                    <a:pt x="1036130" y="912209"/>
                  </a:lnTo>
                  <a:lnTo>
                    <a:pt x="1038320" y="916781"/>
                  </a:lnTo>
                  <a:lnTo>
                    <a:pt x="1039463" y="926211"/>
                  </a:lnTo>
                  <a:lnTo>
                    <a:pt x="1049369" y="928211"/>
                  </a:lnTo>
                  <a:lnTo>
                    <a:pt x="1058418" y="923830"/>
                  </a:lnTo>
                  <a:lnTo>
                    <a:pt x="1065181" y="926211"/>
                  </a:lnTo>
                  <a:lnTo>
                    <a:pt x="1066133" y="921258"/>
                  </a:lnTo>
                  <a:lnTo>
                    <a:pt x="1074039" y="920210"/>
                  </a:lnTo>
                  <a:lnTo>
                    <a:pt x="1076992" y="918305"/>
                  </a:lnTo>
                  <a:lnTo>
                    <a:pt x="1081659" y="917639"/>
                  </a:lnTo>
                  <a:lnTo>
                    <a:pt x="1085850" y="912304"/>
                  </a:lnTo>
                  <a:lnTo>
                    <a:pt x="1087374" y="912114"/>
                  </a:lnTo>
                  <a:lnTo>
                    <a:pt x="1094137" y="914495"/>
                  </a:lnTo>
                  <a:lnTo>
                    <a:pt x="1094708" y="919162"/>
                  </a:lnTo>
                  <a:lnTo>
                    <a:pt x="1098042" y="920401"/>
                  </a:lnTo>
                  <a:lnTo>
                    <a:pt x="1102995" y="921353"/>
                  </a:lnTo>
                  <a:lnTo>
                    <a:pt x="1113663" y="916781"/>
                  </a:lnTo>
                  <a:lnTo>
                    <a:pt x="1120616" y="920686"/>
                  </a:lnTo>
                  <a:lnTo>
                    <a:pt x="1131475" y="930593"/>
                  </a:lnTo>
                  <a:lnTo>
                    <a:pt x="1139761" y="932688"/>
                  </a:lnTo>
                  <a:lnTo>
                    <a:pt x="1142524" y="929164"/>
                  </a:lnTo>
                  <a:lnTo>
                    <a:pt x="1145857" y="930307"/>
                  </a:lnTo>
                  <a:lnTo>
                    <a:pt x="1161383" y="913924"/>
                  </a:lnTo>
                  <a:lnTo>
                    <a:pt x="1168717" y="908209"/>
                  </a:lnTo>
                  <a:lnTo>
                    <a:pt x="1168908" y="909733"/>
                  </a:lnTo>
                  <a:lnTo>
                    <a:pt x="1176623" y="907161"/>
                  </a:lnTo>
                  <a:lnTo>
                    <a:pt x="1181862" y="898493"/>
                  </a:lnTo>
                  <a:lnTo>
                    <a:pt x="1189958" y="899065"/>
                  </a:lnTo>
                  <a:lnTo>
                    <a:pt x="1202817" y="898970"/>
                  </a:lnTo>
                  <a:lnTo>
                    <a:pt x="1212056" y="896207"/>
                  </a:lnTo>
                  <a:lnTo>
                    <a:pt x="1211866" y="894683"/>
                  </a:lnTo>
                  <a:lnTo>
                    <a:pt x="1205579" y="895445"/>
                  </a:lnTo>
                  <a:lnTo>
                    <a:pt x="1201579" y="889540"/>
                  </a:lnTo>
                  <a:lnTo>
                    <a:pt x="1205770" y="884206"/>
                  </a:lnTo>
                  <a:lnTo>
                    <a:pt x="1205103" y="879443"/>
                  </a:lnTo>
                  <a:lnTo>
                    <a:pt x="1204913" y="877919"/>
                  </a:lnTo>
                  <a:lnTo>
                    <a:pt x="1207865" y="875919"/>
                  </a:lnTo>
                  <a:lnTo>
                    <a:pt x="1209675" y="877253"/>
                  </a:lnTo>
                  <a:lnTo>
                    <a:pt x="1215390" y="871728"/>
                  </a:lnTo>
                  <a:lnTo>
                    <a:pt x="1216914" y="858774"/>
                  </a:lnTo>
                  <a:lnTo>
                    <a:pt x="1209770" y="853249"/>
                  </a:lnTo>
                  <a:lnTo>
                    <a:pt x="1209770" y="85324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15" name="Volný tvar: obrazec 14">
              <a:extLst>
                <a:ext uri="{FF2B5EF4-FFF2-40B4-BE49-F238E27FC236}">
                  <a16:creationId xmlns:a16="http://schemas.microsoft.com/office/drawing/2014/main" id="{D9DC0987-6537-AB5E-31EB-CBB0B79643D0}"/>
                </a:ext>
              </a:extLst>
            </p:cNvPr>
            <p:cNvSpPr>
              <a:spLocks noChangeAspect="1"/>
            </p:cNvSpPr>
            <p:nvPr userDrawn="1">
              <p:custDataLst>
                <p:tags r:id="rId4"/>
              </p:custDataLst>
            </p:nvPr>
          </p:nvSpPr>
          <p:spPr>
            <a:xfrm>
              <a:off x="5670423" y="3374230"/>
              <a:ext cx="1073848" cy="1057751"/>
            </a:xfrm>
            <a:custGeom>
              <a:avLst/>
              <a:gdLst>
                <a:gd name="connsiteX0" fmla="*/ 1072801 w 1073848"/>
                <a:gd name="connsiteY0" fmla="*/ 375761 h 1057751"/>
                <a:gd name="connsiteX1" fmla="*/ 1068705 w 1073848"/>
                <a:gd name="connsiteY1" fmla="*/ 368237 h 1057751"/>
                <a:gd name="connsiteX2" fmla="*/ 1057180 w 1073848"/>
                <a:gd name="connsiteY2" fmla="*/ 366522 h 1057751"/>
                <a:gd name="connsiteX3" fmla="*/ 1056989 w 1073848"/>
                <a:gd name="connsiteY3" fmla="*/ 364903 h 1057751"/>
                <a:gd name="connsiteX4" fmla="*/ 1052322 w 1073848"/>
                <a:gd name="connsiteY4" fmla="*/ 365474 h 1057751"/>
                <a:gd name="connsiteX5" fmla="*/ 1050322 w 1073848"/>
                <a:gd name="connsiteY5" fmla="*/ 362521 h 1057751"/>
                <a:gd name="connsiteX6" fmla="*/ 1048512 w 1073848"/>
                <a:gd name="connsiteY6" fmla="*/ 361188 h 1057751"/>
                <a:gd name="connsiteX7" fmla="*/ 1046797 w 1073848"/>
                <a:gd name="connsiteY7" fmla="*/ 359759 h 1057751"/>
                <a:gd name="connsiteX8" fmla="*/ 1045178 w 1073848"/>
                <a:gd name="connsiteY8" fmla="*/ 360045 h 1057751"/>
                <a:gd name="connsiteX9" fmla="*/ 1044607 w 1073848"/>
                <a:gd name="connsiteY9" fmla="*/ 355283 h 1057751"/>
                <a:gd name="connsiteX10" fmla="*/ 1041178 w 1073848"/>
                <a:gd name="connsiteY10" fmla="*/ 354139 h 1057751"/>
                <a:gd name="connsiteX11" fmla="*/ 1042416 w 1073848"/>
                <a:gd name="connsiteY11" fmla="*/ 350711 h 1057751"/>
                <a:gd name="connsiteX12" fmla="*/ 1048703 w 1073848"/>
                <a:gd name="connsiteY12" fmla="*/ 349949 h 1057751"/>
                <a:gd name="connsiteX13" fmla="*/ 1049846 w 1073848"/>
                <a:gd name="connsiteY13" fmla="*/ 346615 h 1057751"/>
                <a:gd name="connsiteX14" fmla="*/ 1053846 w 1073848"/>
                <a:gd name="connsiteY14" fmla="*/ 339662 h 1057751"/>
                <a:gd name="connsiteX15" fmla="*/ 1052989 w 1073848"/>
                <a:gd name="connsiteY15" fmla="*/ 333375 h 1057751"/>
                <a:gd name="connsiteX16" fmla="*/ 1054608 w 1073848"/>
                <a:gd name="connsiteY16" fmla="*/ 333184 h 1057751"/>
                <a:gd name="connsiteX17" fmla="*/ 1055941 w 1073848"/>
                <a:gd name="connsiteY17" fmla="*/ 331375 h 1057751"/>
                <a:gd name="connsiteX18" fmla="*/ 1054798 w 1073848"/>
                <a:gd name="connsiteY18" fmla="*/ 321850 h 1057751"/>
                <a:gd name="connsiteX19" fmla="*/ 1052798 w 1073848"/>
                <a:gd name="connsiteY19" fmla="*/ 318897 h 1057751"/>
                <a:gd name="connsiteX20" fmla="*/ 1043083 w 1073848"/>
                <a:gd name="connsiteY20" fmla="*/ 305753 h 1057751"/>
                <a:gd name="connsiteX21" fmla="*/ 1042511 w 1073848"/>
                <a:gd name="connsiteY21" fmla="*/ 300990 h 1057751"/>
                <a:gd name="connsiteX22" fmla="*/ 1036987 w 1073848"/>
                <a:gd name="connsiteY22" fmla="*/ 295275 h 1057751"/>
                <a:gd name="connsiteX23" fmla="*/ 1030605 w 1073848"/>
                <a:gd name="connsiteY23" fmla="*/ 296132 h 1057751"/>
                <a:gd name="connsiteX24" fmla="*/ 1024890 w 1073848"/>
                <a:gd name="connsiteY24" fmla="*/ 288798 h 1057751"/>
                <a:gd name="connsiteX25" fmla="*/ 1022509 w 1073848"/>
                <a:gd name="connsiteY25" fmla="*/ 282702 h 1057751"/>
                <a:gd name="connsiteX26" fmla="*/ 1015746 w 1073848"/>
                <a:gd name="connsiteY26" fmla="*/ 280321 h 1057751"/>
                <a:gd name="connsiteX27" fmla="*/ 1009459 w 1073848"/>
                <a:gd name="connsiteY27" fmla="*/ 281178 h 1057751"/>
                <a:gd name="connsiteX28" fmla="*/ 1000601 w 1073848"/>
                <a:gd name="connsiteY28" fmla="*/ 274225 h 1057751"/>
                <a:gd name="connsiteX29" fmla="*/ 997648 w 1073848"/>
                <a:gd name="connsiteY29" fmla="*/ 276225 h 1057751"/>
                <a:gd name="connsiteX30" fmla="*/ 990505 w 1073848"/>
                <a:gd name="connsiteY30" fmla="*/ 270700 h 1057751"/>
                <a:gd name="connsiteX31" fmla="*/ 987933 w 1073848"/>
                <a:gd name="connsiteY31" fmla="*/ 275844 h 1057751"/>
                <a:gd name="connsiteX32" fmla="*/ 984790 w 1073848"/>
                <a:gd name="connsiteY32" fmla="*/ 276320 h 1057751"/>
                <a:gd name="connsiteX33" fmla="*/ 979837 w 1073848"/>
                <a:gd name="connsiteY33" fmla="*/ 275272 h 1057751"/>
                <a:gd name="connsiteX34" fmla="*/ 977455 w 1073848"/>
                <a:gd name="connsiteY34" fmla="*/ 269176 h 1057751"/>
                <a:gd name="connsiteX35" fmla="*/ 973931 w 1073848"/>
                <a:gd name="connsiteY35" fmla="*/ 266414 h 1057751"/>
                <a:gd name="connsiteX36" fmla="*/ 967168 w 1073848"/>
                <a:gd name="connsiteY36" fmla="*/ 264128 h 1057751"/>
                <a:gd name="connsiteX37" fmla="*/ 969169 w 1073848"/>
                <a:gd name="connsiteY37" fmla="*/ 254222 h 1057751"/>
                <a:gd name="connsiteX38" fmla="*/ 964025 w 1073848"/>
                <a:gd name="connsiteY38" fmla="*/ 251650 h 1057751"/>
                <a:gd name="connsiteX39" fmla="*/ 958310 w 1073848"/>
                <a:gd name="connsiteY39" fmla="*/ 244412 h 1057751"/>
                <a:gd name="connsiteX40" fmla="*/ 948595 w 1073848"/>
                <a:gd name="connsiteY40" fmla="*/ 231172 h 1057751"/>
                <a:gd name="connsiteX41" fmla="*/ 944785 w 1073848"/>
                <a:gd name="connsiteY41" fmla="*/ 226886 h 1057751"/>
                <a:gd name="connsiteX42" fmla="*/ 936498 w 1073848"/>
                <a:gd name="connsiteY42" fmla="*/ 224695 h 1057751"/>
                <a:gd name="connsiteX43" fmla="*/ 929640 w 1073848"/>
                <a:gd name="connsiteY43" fmla="*/ 220789 h 1057751"/>
                <a:gd name="connsiteX44" fmla="*/ 928211 w 1073848"/>
                <a:gd name="connsiteY44" fmla="*/ 222504 h 1057751"/>
                <a:gd name="connsiteX45" fmla="*/ 926497 w 1073848"/>
                <a:gd name="connsiteY45" fmla="*/ 221171 h 1057751"/>
                <a:gd name="connsiteX46" fmla="*/ 921734 w 1073848"/>
                <a:gd name="connsiteY46" fmla="*/ 221742 h 1057751"/>
                <a:gd name="connsiteX47" fmla="*/ 921353 w 1073848"/>
                <a:gd name="connsiteY47" fmla="*/ 218599 h 1057751"/>
                <a:gd name="connsiteX48" fmla="*/ 916019 w 1073848"/>
                <a:gd name="connsiteY48" fmla="*/ 214503 h 1057751"/>
                <a:gd name="connsiteX49" fmla="*/ 913638 w 1073848"/>
                <a:gd name="connsiteY49" fmla="*/ 208407 h 1057751"/>
                <a:gd name="connsiteX50" fmla="*/ 910495 w 1073848"/>
                <a:gd name="connsiteY50" fmla="*/ 208788 h 1057751"/>
                <a:gd name="connsiteX51" fmla="*/ 909447 w 1073848"/>
                <a:gd name="connsiteY51" fmla="*/ 213741 h 1057751"/>
                <a:gd name="connsiteX52" fmla="*/ 906304 w 1073848"/>
                <a:gd name="connsiteY52" fmla="*/ 214122 h 1057751"/>
                <a:gd name="connsiteX53" fmla="*/ 899160 w 1073848"/>
                <a:gd name="connsiteY53" fmla="*/ 208597 h 1057751"/>
                <a:gd name="connsiteX54" fmla="*/ 895445 w 1073848"/>
                <a:gd name="connsiteY54" fmla="*/ 204311 h 1057751"/>
                <a:gd name="connsiteX55" fmla="*/ 889159 w 1073848"/>
                <a:gd name="connsiteY55" fmla="*/ 205073 h 1057751"/>
                <a:gd name="connsiteX56" fmla="*/ 884777 w 1073848"/>
                <a:gd name="connsiteY56" fmla="*/ 208883 h 1057751"/>
                <a:gd name="connsiteX57" fmla="*/ 881443 w 1073848"/>
                <a:gd name="connsiteY57" fmla="*/ 207645 h 1057751"/>
                <a:gd name="connsiteX58" fmla="*/ 882587 w 1073848"/>
                <a:gd name="connsiteY58" fmla="*/ 204311 h 1057751"/>
                <a:gd name="connsiteX59" fmla="*/ 878681 w 1073848"/>
                <a:gd name="connsiteY59" fmla="*/ 198406 h 1057751"/>
                <a:gd name="connsiteX60" fmla="*/ 874871 w 1073848"/>
                <a:gd name="connsiteY60" fmla="*/ 194024 h 1057751"/>
                <a:gd name="connsiteX61" fmla="*/ 866013 w 1073848"/>
                <a:gd name="connsiteY61" fmla="*/ 200025 h 1057751"/>
                <a:gd name="connsiteX62" fmla="*/ 856202 w 1073848"/>
                <a:gd name="connsiteY62" fmla="*/ 198025 h 1057751"/>
                <a:gd name="connsiteX63" fmla="*/ 856393 w 1073848"/>
                <a:gd name="connsiteY63" fmla="*/ 199644 h 1057751"/>
                <a:gd name="connsiteX64" fmla="*/ 852964 w 1073848"/>
                <a:gd name="connsiteY64" fmla="*/ 198501 h 1057751"/>
                <a:gd name="connsiteX65" fmla="*/ 848868 w 1073848"/>
                <a:gd name="connsiteY65" fmla="*/ 203835 h 1057751"/>
                <a:gd name="connsiteX66" fmla="*/ 843343 w 1073848"/>
                <a:gd name="connsiteY66" fmla="*/ 198120 h 1057751"/>
                <a:gd name="connsiteX67" fmla="*/ 839914 w 1073848"/>
                <a:gd name="connsiteY67" fmla="*/ 184118 h 1057751"/>
                <a:gd name="connsiteX68" fmla="*/ 834390 w 1073848"/>
                <a:gd name="connsiteY68" fmla="*/ 178403 h 1057751"/>
                <a:gd name="connsiteX69" fmla="*/ 834199 w 1073848"/>
                <a:gd name="connsiteY69" fmla="*/ 176784 h 1057751"/>
                <a:gd name="connsiteX70" fmla="*/ 830675 w 1073848"/>
                <a:gd name="connsiteY70" fmla="*/ 174022 h 1057751"/>
                <a:gd name="connsiteX71" fmla="*/ 826865 w 1073848"/>
                <a:gd name="connsiteY71" fmla="*/ 169736 h 1057751"/>
                <a:gd name="connsiteX72" fmla="*/ 825341 w 1073848"/>
                <a:gd name="connsiteY72" fmla="*/ 169926 h 1057751"/>
                <a:gd name="connsiteX73" fmla="*/ 820198 w 1073848"/>
                <a:gd name="connsiteY73" fmla="*/ 167354 h 1057751"/>
                <a:gd name="connsiteX74" fmla="*/ 817055 w 1073848"/>
                <a:gd name="connsiteY74" fmla="*/ 167735 h 1057751"/>
                <a:gd name="connsiteX75" fmla="*/ 813625 w 1073848"/>
                <a:gd name="connsiteY75" fmla="*/ 166592 h 1057751"/>
                <a:gd name="connsiteX76" fmla="*/ 811054 w 1073848"/>
                <a:gd name="connsiteY76" fmla="*/ 171736 h 1057751"/>
                <a:gd name="connsiteX77" fmla="*/ 809339 w 1073848"/>
                <a:gd name="connsiteY77" fmla="*/ 170307 h 1057751"/>
                <a:gd name="connsiteX78" fmla="*/ 802576 w 1073848"/>
                <a:gd name="connsiteY78" fmla="*/ 168021 h 1057751"/>
                <a:gd name="connsiteX79" fmla="*/ 800576 w 1073848"/>
                <a:gd name="connsiteY79" fmla="*/ 165068 h 1057751"/>
                <a:gd name="connsiteX80" fmla="*/ 795909 w 1073848"/>
                <a:gd name="connsiteY80" fmla="*/ 165640 h 1057751"/>
                <a:gd name="connsiteX81" fmla="*/ 790956 w 1073848"/>
                <a:gd name="connsiteY81" fmla="*/ 164687 h 1057751"/>
                <a:gd name="connsiteX82" fmla="*/ 781907 w 1073848"/>
                <a:gd name="connsiteY82" fmla="*/ 156210 h 1057751"/>
                <a:gd name="connsiteX83" fmla="*/ 781240 w 1073848"/>
                <a:gd name="connsiteY83" fmla="*/ 151447 h 1057751"/>
                <a:gd name="connsiteX84" fmla="*/ 782860 w 1073848"/>
                <a:gd name="connsiteY84" fmla="*/ 151257 h 1057751"/>
                <a:gd name="connsiteX85" fmla="*/ 780669 w 1073848"/>
                <a:gd name="connsiteY85" fmla="*/ 146780 h 1057751"/>
                <a:gd name="connsiteX86" fmla="*/ 782003 w 1073848"/>
                <a:gd name="connsiteY86" fmla="*/ 144971 h 1057751"/>
                <a:gd name="connsiteX87" fmla="*/ 783241 w 1073848"/>
                <a:gd name="connsiteY87" fmla="*/ 141637 h 1057751"/>
                <a:gd name="connsiteX88" fmla="*/ 780288 w 1073848"/>
                <a:gd name="connsiteY88" fmla="*/ 143542 h 1057751"/>
                <a:gd name="connsiteX89" fmla="*/ 778288 w 1073848"/>
                <a:gd name="connsiteY89" fmla="*/ 140589 h 1057751"/>
                <a:gd name="connsiteX90" fmla="*/ 773525 w 1073848"/>
                <a:gd name="connsiteY90" fmla="*/ 141256 h 1057751"/>
                <a:gd name="connsiteX91" fmla="*/ 772763 w 1073848"/>
                <a:gd name="connsiteY91" fmla="*/ 147733 h 1057751"/>
                <a:gd name="connsiteX92" fmla="*/ 757047 w 1073848"/>
                <a:gd name="connsiteY92" fmla="*/ 162592 h 1057751"/>
                <a:gd name="connsiteX93" fmla="*/ 755047 w 1073848"/>
                <a:gd name="connsiteY93" fmla="*/ 172403 h 1057751"/>
                <a:gd name="connsiteX94" fmla="*/ 757809 w 1073848"/>
                <a:gd name="connsiteY94" fmla="*/ 181737 h 1057751"/>
                <a:gd name="connsiteX95" fmla="*/ 756285 w 1073848"/>
                <a:gd name="connsiteY95" fmla="*/ 181928 h 1057751"/>
                <a:gd name="connsiteX96" fmla="*/ 754856 w 1073848"/>
                <a:gd name="connsiteY96" fmla="*/ 183737 h 1057751"/>
                <a:gd name="connsiteX97" fmla="*/ 743426 w 1073848"/>
                <a:gd name="connsiteY97" fmla="*/ 181928 h 1057751"/>
                <a:gd name="connsiteX98" fmla="*/ 748379 w 1073848"/>
                <a:gd name="connsiteY98" fmla="*/ 195739 h 1057751"/>
                <a:gd name="connsiteX99" fmla="*/ 740759 w 1073848"/>
                <a:gd name="connsiteY99" fmla="*/ 198311 h 1057751"/>
                <a:gd name="connsiteX100" fmla="*/ 740950 w 1073848"/>
                <a:gd name="connsiteY100" fmla="*/ 199930 h 1057751"/>
                <a:gd name="connsiteX101" fmla="*/ 736187 w 1073848"/>
                <a:gd name="connsiteY101" fmla="*/ 200501 h 1057751"/>
                <a:gd name="connsiteX102" fmla="*/ 731044 w 1073848"/>
                <a:gd name="connsiteY102" fmla="*/ 197929 h 1057751"/>
                <a:gd name="connsiteX103" fmla="*/ 726281 w 1073848"/>
                <a:gd name="connsiteY103" fmla="*/ 198596 h 1057751"/>
                <a:gd name="connsiteX104" fmla="*/ 723329 w 1073848"/>
                <a:gd name="connsiteY104" fmla="*/ 200501 h 1057751"/>
                <a:gd name="connsiteX105" fmla="*/ 720185 w 1073848"/>
                <a:gd name="connsiteY105" fmla="*/ 200978 h 1057751"/>
                <a:gd name="connsiteX106" fmla="*/ 710946 w 1073848"/>
                <a:gd name="connsiteY106" fmla="*/ 190881 h 1057751"/>
                <a:gd name="connsiteX107" fmla="*/ 709136 w 1073848"/>
                <a:gd name="connsiteY107" fmla="*/ 189547 h 1057751"/>
                <a:gd name="connsiteX108" fmla="*/ 708946 w 1073848"/>
                <a:gd name="connsiteY108" fmla="*/ 187928 h 1057751"/>
                <a:gd name="connsiteX109" fmla="*/ 703993 w 1073848"/>
                <a:gd name="connsiteY109" fmla="*/ 186976 h 1057751"/>
                <a:gd name="connsiteX110" fmla="*/ 693515 w 1073848"/>
                <a:gd name="connsiteY110" fmla="*/ 180308 h 1057751"/>
                <a:gd name="connsiteX111" fmla="*/ 685609 w 1073848"/>
                <a:gd name="connsiteY111" fmla="*/ 181261 h 1057751"/>
                <a:gd name="connsiteX112" fmla="*/ 674941 w 1073848"/>
                <a:gd name="connsiteY112" fmla="*/ 173069 h 1057751"/>
                <a:gd name="connsiteX113" fmla="*/ 676084 w 1073848"/>
                <a:gd name="connsiteY113" fmla="*/ 169640 h 1057751"/>
                <a:gd name="connsiteX114" fmla="*/ 670370 w 1073848"/>
                <a:gd name="connsiteY114" fmla="*/ 162401 h 1057751"/>
                <a:gd name="connsiteX115" fmla="*/ 676847 w 1073848"/>
                <a:gd name="connsiteY115" fmla="*/ 150304 h 1057751"/>
                <a:gd name="connsiteX116" fmla="*/ 681418 w 1073848"/>
                <a:gd name="connsiteY116" fmla="*/ 148114 h 1057751"/>
                <a:gd name="connsiteX117" fmla="*/ 681323 w 1073848"/>
                <a:gd name="connsiteY117" fmla="*/ 135350 h 1057751"/>
                <a:gd name="connsiteX118" fmla="*/ 677037 w 1073848"/>
                <a:gd name="connsiteY118" fmla="*/ 139065 h 1057751"/>
                <a:gd name="connsiteX119" fmla="*/ 671131 w 1073848"/>
                <a:gd name="connsiteY119" fmla="*/ 143066 h 1057751"/>
                <a:gd name="connsiteX120" fmla="*/ 668941 w 1073848"/>
                <a:gd name="connsiteY120" fmla="*/ 138493 h 1057751"/>
                <a:gd name="connsiteX121" fmla="*/ 657511 w 1073848"/>
                <a:gd name="connsiteY121" fmla="*/ 136779 h 1057751"/>
                <a:gd name="connsiteX122" fmla="*/ 651129 w 1073848"/>
                <a:gd name="connsiteY122" fmla="*/ 124778 h 1057751"/>
                <a:gd name="connsiteX123" fmla="*/ 647986 w 1073848"/>
                <a:gd name="connsiteY123" fmla="*/ 125158 h 1057751"/>
                <a:gd name="connsiteX124" fmla="*/ 647795 w 1073848"/>
                <a:gd name="connsiteY124" fmla="*/ 123539 h 1057751"/>
                <a:gd name="connsiteX125" fmla="*/ 642652 w 1073848"/>
                <a:gd name="connsiteY125" fmla="*/ 121063 h 1057751"/>
                <a:gd name="connsiteX126" fmla="*/ 640651 w 1073848"/>
                <a:gd name="connsiteY126" fmla="*/ 118015 h 1057751"/>
                <a:gd name="connsiteX127" fmla="*/ 636175 w 1073848"/>
                <a:gd name="connsiteY127" fmla="*/ 120205 h 1057751"/>
                <a:gd name="connsiteX128" fmla="*/ 632365 w 1073848"/>
                <a:gd name="connsiteY128" fmla="*/ 115919 h 1057751"/>
                <a:gd name="connsiteX129" fmla="*/ 629412 w 1073848"/>
                <a:gd name="connsiteY129" fmla="*/ 117920 h 1057751"/>
                <a:gd name="connsiteX130" fmla="*/ 629603 w 1073848"/>
                <a:gd name="connsiteY130" fmla="*/ 119443 h 1057751"/>
                <a:gd name="connsiteX131" fmla="*/ 627888 w 1073848"/>
                <a:gd name="connsiteY131" fmla="*/ 118110 h 1057751"/>
                <a:gd name="connsiteX132" fmla="*/ 623506 w 1073848"/>
                <a:gd name="connsiteY132" fmla="*/ 121825 h 1057751"/>
                <a:gd name="connsiteX133" fmla="*/ 620363 w 1073848"/>
                <a:gd name="connsiteY133" fmla="*/ 122301 h 1057751"/>
                <a:gd name="connsiteX134" fmla="*/ 618363 w 1073848"/>
                <a:gd name="connsiteY134" fmla="*/ 119253 h 1057751"/>
                <a:gd name="connsiteX135" fmla="*/ 618934 w 1073848"/>
                <a:gd name="connsiteY135" fmla="*/ 111252 h 1057751"/>
                <a:gd name="connsiteX136" fmla="*/ 617411 w 1073848"/>
                <a:gd name="connsiteY136" fmla="*/ 111442 h 1057751"/>
                <a:gd name="connsiteX137" fmla="*/ 620744 w 1073848"/>
                <a:gd name="connsiteY137" fmla="*/ 99727 h 1057751"/>
                <a:gd name="connsiteX138" fmla="*/ 623030 w 1073848"/>
                <a:gd name="connsiteY138" fmla="*/ 93059 h 1057751"/>
                <a:gd name="connsiteX139" fmla="*/ 618363 w 1073848"/>
                <a:gd name="connsiteY139" fmla="*/ 93631 h 1057751"/>
                <a:gd name="connsiteX140" fmla="*/ 618744 w 1073848"/>
                <a:gd name="connsiteY140" fmla="*/ 96774 h 1057751"/>
                <a:gd name="connsiteX141" fmla="*/ 613600 w 1073848"/>
                <a:gd name="connsiteY141" fmla="*/ 94202 h 1057751"/>
                <a:gd name="connsiteX142" fmla="*/ 608838 w 1073848"/>
                <a:gd name="connsiteY142" fmla="*/ 94869 h 1057751"/>
                <a:gd name="connsiteX143" fmla="*/ 603504 w 1073848"/>
                <a:gd name="connsiteY143" fmla="*/ 90678 h 1057751"/>
                <a:gd name="connsiteX144" fmla="*/ 594074 w 1073848"/>
                <a:gd name="connsiteY144" fmla="*/ 91916 h 1057751"/>
                <a:gd name="connsiteX145" fmla="*/ 594265 w 1073848"/>
                <a:gd name="connsiteY145" fmla="*/ 93536 h 1057751"/>
                <a:gd name="connsiteX146" fmla="*/ 585788 w 1073848"/>
                <a:gd name="connsiteY146" fmla="*/ 89821 h 1057751"/>
                <a:gd name="connsiteX147" fmla="*/ 587121 w 1073848"/>
                <a:gd name="connsiteY147" fmla="*/ 88011 h 1057751"/>
                <a:gd name="connsiteX148" fmla="*/ 584930 w 1073848"/>
                <a:gd name="connsiteY148" fmla="*/ 83439 h 1057751"/>
                <a:gd name="connsiteX149" fmla="*/ 583216 w 1073848"/>
                <a:gd name="connsiteY149" fmla="*/ 82105 h 1057751"/>
                <a:gd name="connsiteX150" fmla="*/ 580263 w 1073848"/>
                <a:gd name="connsiteY150" fmla="*/ 84106 h 1057751"/>
                <a:gd name="connsiteX151" fmla="*/ 579977 w 1073848"/>
                <a:gd name="connsiteY151" fmla="*/ 82487 h 1057751"/>
                <a:gd name="connsiteX152" fmla="*/ 578453 w 1073848"/>
                <a:gd name="connsiteY152" fmla="*/ 82677 h 1057751"/>
                <a:gd name="connsiteX153" fmla="*/ 576643 w 1073848"/>
                <a:gd name="connsiteY153" fmla="*/ 81343 h 1057751"/>
                <a:gd name="connsiteX154" fmla="*/ 578263 w 1073848"/>
                <a:gd name="connsiteY154" fmla="*/ 81153 h 1057751"/>
                <a:gd name="connsiteX155" fmla="*/ 579406 w 1073848"/>
                <a:gd name="connsiteY155" fmla="*/ 77724 h 1057751"/>
                <a:gd name="connsiteX156" fmla="*/ 577882 w 1073848"/>
                <a:gd name="connsiteY156" fmla="*/ 77914 h 1057751"/>
                <a:gd name="connsiteX157" fmla="*/ 576072 w 1073848"/>
                <a:gd name="connsiteY157" fmla="*/ 76581 h 1057751"/>
                <a:gd name="connsiteX158" fmla="*/ 574453 w 1073848"/>
                <a:gd name="connsiteY158" fmla="*/ 76771 h 1057751"/>
                <a:gd name="connsiteX159" fmla="*/ 573691 w 1073848"/>
                <a:gd name="connsiteY159" fmla="*/ 70485 h 1057751"/>
                <a:gd name="connsiteX160" fmla="*/ 570357 w 1073848"/>
                <a:gd name="connsiteY160" fmla="*/ 69247 h 1057751"/>
                <a:gd name="connsiteX161" fmla="*/ 571500 w 1073848"/>
                <a:gd name="connsiteY161" fmla="*/ 65913 h 1057751"/>
                <a:gd name="connsiteX162" fmla="*/ 567404 w 1073848"/>
                <a:gd name="connsiteY162" fmla="*/ 71247 h 1057751"/>
                <a:gd name="connsiteX163" fmla="*/ 562451 w 1073848"/>
                <a:gd name="connsiteY163" fmla="*/ 70295 h 1057751"/>
                <a:gd name="connsiteX164" fmla="*/ 561880 w 1073848"/>
                <a:gd name="connsiteY164" fmla="*/ 65532 h 1057751"/>
                <a:gd name="connsiteX165" fmla="*/ 557498 w 1073848"/>
                <a:gd name="connsiteY165" fmla="*/ 69342 h 1057751"/>
                <a:gd name="connsiteX166" fmla="*/ 553688 w 1073848"/>
                <a:gd name="connsiteY166" fmla="*/ 64961 h 1057751"/>
                <a:gd name="connsiteX167" fmla="*/ 553307 w 1073848"/>
                <a:gd name="connsiteY167" fmla="*/ 61817 h 1057751"/>
                <a:gd name="connsiteX168" fmla="*/ 556450 w 1073848"/>
                <a:gd name="connsiteY168" fmla="*/ 61436 h 1057751"/>
                <a:gd name="connsiteX169" fmla="*/ 554546 w 1073848"/>
                <a:gd name="connsiteY169" fmla="*/ 58483 h 1057751"/>
                <a:gd name="connsiteX170" fmla="*/ 546640 w 1073848"/>
                <a:gd name="connsiteY170" fmla="*/ 59531 h 1057751"/>
                <a:gd name="connsiteX171" fmla="*/ 546449 w 1073848"/>
                <a:gd name="connsiteY171" fmla="*/ 57912 h 1057751"/>
                <a:gd name="connsiteX172" fmla="*/ 543306 w 1073848"/>
                <a:gd name="connsiteY172" fmla="*/ 58293 h 1057751"/>
                <a:gd name="connsiteX173" fmla="*/ 541496 w 1073848"/>
                <a:gd name="connsiteY173" fmla="*/ 56959 h 1057751"/>
                <a:gd name="connsiteX174" fmla="*/ 537496 w 1073848"/>
                <a:gd name="connsiteY174" fmla="*/ 51054 h 1057751"/>
                <a:gd name="connsiteX175" fmla="*/ 534733 w 1073848"/>
                <a:gd name="connsiteY175" fmla="*/ 54578 h 1057751"/>
                <a:gd name="connsiteX176" fmla="*/ 534162 w 1073848"/>
                <a:gd name="connsiteY176" fmla="*/ 62675 h 1057751"/>
                <a:gd name="connsiteX177" fmla="*/ 527875 w 1073848"/>
                <a:gd name="connsiteY177" fmla="*/ 63437 h 1057751"/>
                <a:gd name="connsiteX178" fmla="*/ 526066 w 1073848"/>
                <a:gd name="connsiteY178" fmla="*/ 62103 h 1057751"/>
                <a:gd name="connsiteX179" fmla="*/ 524732 w 1073848"/>
                <a:gd name="connsiteY179" fmla="*/ 63913 h 1057751"/>
                <a:gd name="connsiteX180" fmla="*/ 520541 w 1073848"/>
                <a:gd name="connsiteY180" fmla="*/ 56388 h 1057751"/>
                <a:gd name="connsiteX181" fmla="*/ 521780 w 1073848"/>
                <a:gd name="connsiteY181" fmla="*/ 53054 h 1057751"/>
                <a:gd name="connsiteX182" fmla="*/ 515398 w 1073848"/>
                <a:gd name="connsiteY182" fmla="*/ 53816 h 1057751"/>
                <a:gd name="connsiteX183" fmla="*/ 515874 w 1073848"/>
                <a:gd name="connsiteY183" fmla="*/ 56959 h 1057751"/>
                <a:gd name="connsiteX184" fmla="*/ 511112 w 1073848"/>
                <a:gd name="connsiteY184" fmla="*/ 57626 h 1057751"/>
                <a:gd name="connsiteX185" fmla="*/ 511302 w 1073848"/>
                <a:gd name="connsiteY185" fmla="*/ 59150 h 1057751"/>
                <a:gd name="connsiteX186" fmla="*/ 508159 w 1073848"/>
                <a:gd name="connsiteY186" fmla="*/ 59531 h 1057751"/>
                <a:gd name="connsiteX187" fmla="*/ 507968 w 1073848"/>
                <a:gd name="connsiteY187" fmla="*/ 58007 h 1057751"/>
                <a:gd name="connsiteX188" fmla="*/ 501587 w 1073848"/>
                <a:gd name="connsiteY188" fmla="*/ 58769 h 1057751"/>
                <a:gd name="connsiteX189" fmla="*/ 498253 w 1073848"/>
                <a:gd name="connsiteY189" fmla="*/ 57626 h 1057751"/>
                <a:gd name="connsiteX190" fmla="*/ 495300 w 1073848"/>
                <a:gd name="connsiteY190" fmla="*/ 59626 h 1057751"/>
                <a:gd name="connsiteX191" fmla="*/ 493300 w 1073848"/>
                <a:gd name="connsiteY191" fmla="*/ 56674 h 1057751"/>
                <a:gd name="connsiteX192" fmla="*/ 490538 w 1073848"/>
                <a:gd name="connsiteY192" fmla="*/ 60198 h 1057751"/>
                <a:gd name="connsiteX193" fmla="*/ 490156 w 1073848"/>
                <a:gd name="connsiteY193" fmla="*/ 57055 h 1057751"/>
                <a:gd name="connsiteX194" fmla="*/ 489204 w 1073848"/>
                <a:gd name="connsiteY194" fmla="*/ 62008 h 1057751"/>
                <a:gd name="connsiteX195" fmla="*/ 487204 w 1073848"/>
                <a:gd name="connsiteY195" fmla="*/ 59055 h 1057751"/>
                <a:gd name="connsiteX196" fmla="*/ 489966 w 1073848"/>
                <a:gd name="connsiteY196" fmla="*/ 55436 h 1057751"/>
                <a:gd name="connsiteX197" fmla="*/ 487775 w 1073848"/>
                <a:gd name="connsiteY197" fmla="*/ 50959 h 1057751"/>
                <a:gd name="connsiteX198" fmla="*/ 489204 w 1073848"/>
                <a:gd name="connsiteY198" fmla="*/ 49149 h 1057751"/>
                <a:gd name="connsiteX199" fmla="*/ 486061 w 1073848"/>
                <a:gd name="connsiteY199" fmla="*/ 49530 h 1057751"/>
                <a:gd name="connsiteX200" fmla="*/ 484251 w 1073848"/>
                <a:gd name="connsiteY200" fmla="*/ 48196 h 1057751"/>
                <a:gd name="connsiteX201" fmla="*/ 481108 w 1073848"/>
                <a:gd name="connsiteY201" fmla="*/ 48578 h 1057751"/>
                <a:gd name="connsiteX202" fmla="*/ 477298 w 1073848"/>
                <a:gd name="connsiteY202" fmla="*/ 44291 h 1057751"/>
                <a:gd name="connsiteX203" fmla="*/ 477107 w 1073848"/>
                <a:gd name="connsiteY203" fmla="*/ 42672 h 1057751"/>
                <a:gd name="connsiteX204" fmla="*/ 478060 w 1073848"/>
                <a:gd name="connsiteY204" fmla="*/ 37719 h 1057751"/>
                <a:gd name="connsiteX205" fmla="*/ 471773 w 1073848"/>
                <a:gd name="connsiteY205" fmla="*/ 38576 h 1057751"/>
                <a:gd name="connsiteX206" fmla="*/ 469773 w 1073848"/>
                <a:gd name="connsiteY206" fmla="*/ 35624 h 1057751"/>
                <a:gd name="connsiteX207" fmla="*/ 469392 w 1073848"/>
                <a:gd name="connsiteY207" fmla="*/ 32480 h 1057751"/>
                <a:gd name="connsiteX208" fmla="*/ 464630 w 1073848"/>
                <a:gd name="connsiteY208" fmla="*/ 33052 h 1057751"/>
                <a:gd name="connsiteX209" fmla="*/ 455390 w 1073848"/>
                <a:gd name="connsiteY209" fmla="*/ 22955 h 1057751"/>
                <a:gd name="connsiteX210" fmla="*/ 448818 w 1073848"/>
                <a:gd name="connsiteY210" fmla="*/ 22193 h 1057751"/>
                <a:gd name="connsiteX211" fmla="*/ 445294 w 1073848"/>
                <a:gd name="connsiteY211" fmla="*/ 19431 h 1057751"/>
                <a:gd name="connsiteX212" fmla="*/ 441579 w 1073848"/>
                <a:gd name="connsiteY212" fmla="*/ 15145 h 1057751"/>
                <a:gd name="connsiteX213" fmla="*/ 437769 w 1073848"/>
                <a:gd name="connsiteY213" fmla="*/ 10763 h 1057751"/>
                <a:gd name="connsiteX214" fmla="*/ 432625 w 1073848"/>
                <a:gd name="connsiteY214" fmla="*/ 8287 h 1057751"/>
                <a:gd name="connsiteX215" fmla="*/ 421957 w 1073848"/>
                <a:gd name="connsiteY215" fmla="*/ 0 h 1057751"/>
                <a:gd name="connsiteX216" fmla="*/ 420624 w 1073848"/>
                <a:gd name="connsiteY216" fmla="*/ 1810 h 1057751"/>
                <a:gd name="connsiteX217" fmla="*/ 421386 w 1073848"/>
                <a:gd name="connsiteY217" fmla="*/ 8096 h 1057751"/>
                <a:gd name="connsiteX218" fmla="*/ 417290 w 1073848"/>
                <a:gd name="connsiteY218" fmla="*/ 13430 h 1057751"/>
                <a:gd name="connsiteX219" fmla="*/ 413480 w 1073848"/>
                <a:gd name="connsiteY219" fmla="*/ 9049 h 1057751"/>
                <a:gd name="connsiteX220" fmla="*/ 405860 w 1073848"/>
                <a:gd name="connsiteY220" fmla="*/ 11716 h 1057751"/>
                <a:gd name="connsiteX221" fmla="*/ 406051 w 1073848"/>
                <a:gd name="connsiteY221" fmla="*/ 13240 h 1057751"/>
                <a:gd name="connsiteX222" fmla="*/ 407765 w 1073848"/>
                <a:gd name="connsiteY222" fmla="*/ 14668 h 1057751"/>
                <a:gd name="connsiteX223" fmla="*/ 406241 w 1073848"/>
                <a:gd name="connsiteY223" fmla="*/ 14859 h 1057751"/>
                <a:gd name="connsiteX224" fmla="*/ 406813 w 1073848"/>
                <a:gd name="connsiteY224" fmla="*/ 19526 h 1057751"/>
                <a:gd name="connsiteX225" fmla="*/ 402336 w 1073848"/>
                <a:gd name="connsiteY225" fmla="*/ 21717 h 1057751"/>
                <a:gd name="connsiteX226" fmla="*/ 399097 w 1073848"/>
                <a:gd name="connsiteY226" fmla="*/ 22193 h 1057751"/>
                <a:gd name="connsiteX227" fmla="*/ 399574 w 1073848"/>
                <a:gd name="connsiteY227" fmla="*/ 25337 h 1057751"/>
                <a:gd name="connsiteX228" fmla="*/ 397955 w 1073848"/>
                <a:gd name="connsiteY228" fmla="*/ 25527 h 1057751"/>
                <a:gd name="connsiteX229" fmla="*/ 393954 w 1073848"/>
                <a:gd name="connsiteY229" fmla="*/ 19621 h 1057751"/>
                <a:gd name="connsiteX230" fmla="*/ 388906 w 1073848"/>
                <a:gd name="connsiteY230" fmla="*/ 17050 h 1057751"/>
                <a:gd name="connsiteX231" fmla="*/ 385953 w 1073848"/>
                <a:gd name="connsiteY231" fmla="*/ 19050 h 1057751"/>
                <a:gd name="connsiteX232" fmla="*/ 376047 w 1073848"/>
                <a:gd name="connsiteY232" fmla="*/ 29908 h 1057751"/>
                <a:gd name="connsiteX233" fmla="*/ 376428 w 1073848"/>
                <a:gd name="connsiteY233" fmla="*/ 33052 h 1057751"/>
                <a:gd name="connsiteX234" fmla="*/ 371570 w 1073848"/>
                <a:gd name="connsiteY234" fmla="*/ 32099 h 1057751"/>
                <a:gd name="connsiteX235" fmla="*/ 368998 w 1073848"/>
                <a:gd name="connsiteY235" fmla="*/ 37243 h 1057751"/>
                <a:gd name="connsiteX236" fmla="*/ 365093 w 1073848"/>
                <a:gd name="connsiteY236" fmla="*/ 44101 h 1057751"/>
                <a:gd name="connsiteX237" fmla="*/ 365665 w 1073848"/>
                <a:gd name="connsiteY237" fmla="*/ 48863 h 1057751"/>
                <a:gd name="connsiteX238" fmla="*/ 367665 w 1073848"/>
                <a:gd name="connsiteY238" fmla="*/ 51816 h 1057751"/>
                <a:gd name="connsiteX239" fmla="*/ 372332 w 1073848"/>
                <a:gd name="connsiteY239" fmla="*/ 51245 h 1057751"/>
                <a:gd name="connsiteX240" fmla="*/ 375475 w 1073848"/>
                <a:gd name="connsiteY240" fmla="*/ 50768 h 1057751"/>
                <a:gd name="connsiteX241" fmla="*/ 374523 w 1073848"/>
                <a:gd name="connsiteY241" fmla="*/ 55721 h 1057751"/>
                <a:gd name="connsiteX242" fmla="*/ 378142 w 1073848"/>
                <a:gd name="connsiteY242" fmla="*/ 58483 h 1057751"/>
                <a:gd name="connsiteX243" fmla="*/ 377095 w 1073848"/>
                <a:gd name="connsiteY243" fmla="*/ 63437 h 1057751"/>
                <a:gd name="connsiteX244" fmla="*/ 382238 w 1073848"/>
                <a:gd name="connsiteY244" fmla="*/ 66008 h 1057751"/>
                <a:gd name="connsiteX245" fmla="*/ 379285 w 1073848"/>
                <a:gd name="connsiteY245" fmla="*/ 68008 h 1057751"/>
                <a:gd name="connsiteX246" fmla="*/ 379762 w 1073848"/>
                <a:gd name="connsiteY246" fmla="*/ 71152 h 1057751"/>
                <a:gd name="connsiteX247" fmla="*/ 376999 w 1073848"/>
                <a:gd name="connsiteY247" fmla="*/ 74676 h 1057751"/>
                <a:gd name="connsiteX248" fmla="*/ 373761 w 1073848"/>
                <a:gd name="connsiteY248" fmla="*/ 75057 h 1057751"/>
                <a:gd name="connsiteX249" fmla="*/ 371094 w 1073848"/>
                <a:gd name="connsiteY249" fmla="*/ 78676 h 1057751"/>
                <a:gd name="connsiteX250" fmla="*/ 371284 w 1073848"/>
                <a:gd name="connsiteY250" fmla="*/ 80200 h 1057751"/>
                <a:gd name="connsiteX251" fmla="*/ 367665 w 1073848"/>
                <a:gd name="connsiteY251" fmla="*/ 77438 h 1057751"/>
                <a:gd name="connsiteX252" fmla="*/ 366141 w 1073848"/>
                <a:gd name="connsiteY252" fmla="*/ 77629 h 1057751"/>
                <a:gd name="connsiteX253" fmla="*/ 364331 w 1073848"/>
                <a:gd name="connsiteY253" fmla="*/ 76295 h 1057751"/>
                <a:gd name="connsiteX254" fmla="*/ 359759 w 1073848"/>
                <a:gd name="connsiteY254" fmla="*/ 78486 h 1057751"/>
                <a:gd name="connsiteX255" fmla="*/ 352711 w 1073848"/>
                <a:gd name="connsiteY255" fmla="*/ 72962 h 1057751"/>
                <a:gd name="connsiteX256" fmla="*/ 353282 w 1073848"/>
                <a:gd name="connsiteY256" fmla="*/ 77724 h 1057751"/>
                <a:gd name="connsiteX257" fmla="*/ 350139 w 1073848"/>
                <a:gd name="connsiteY257" fmla="*/ 78105 h 1057751"/>
                <a:gd name="connsiteX258" fmla="*/ 346615 w 1073848"/>
                <a:gd name="connsiteY258" fmla="*/ 75343 h 1057751"/>
                <a:gd name="connsiteX259" fmla="*/ 345757 w 1073848"/>
                <a:gd name="connsiteY259" fmla="*/ 69056 h 1057751"/>
                <a:gd name="connsiteX260" fmla="*/ 344424 w 1073848"/>
                <a:gd name="connsiteY260" fmla="*/ 70771 h 1057751"/>
                <a:gd name="connsiteX261" fmla="*/ 342614 w 1073848"/>
                <a:gd name="connsiteY261" fmla="*/ 69437 h 1057751"/>
                <a:gd name="connsiteX262" fmla="*/ 340233 w 1073848"/>
                <a:gd name="connsiteY262" fmla="*/ 76200 h 1057751"/>
                <a:gd name="connsiteX263" fmla="*/ 336137 w 1073848"/>
                <a:gd name="connsiteY263" fmla="*/ 81534 h 1057751"/>
                <a:gd name="connsiteX264" fmla="*/ 333756 w 1073848"/>
                <a:gd name="connsiteY264" fmla="*/ 88201 h 1057751"/>
                <a:gd name="connsiteX265" fmla="*/ 335566 w 1073848"/>
                <a:gd name="connsiteY265" fmla="*/ 89630 h 1057751"/>
                <a:gd name="connsiteX266" fmla="*/ 332803 w 1073848"/>
                <a:gd name="connsiteY266" fmla="*/ 93154 h 1057751"/>
                <a:gd name="connsiteX267" fmla="*/ 333565 w 1073848"/>
                <a:gd name="connsiteY267" fmla="*/ 99441 h 1057751"/>
                <a:gd name="connsiteX268" fmla="*/ 332041 w 1073848"/>
                <a:gd name="connsiteY268" fmla="*/ 99632 h 1057751"/>
                <a:gd name="connsiteX269" fmla="*/ 331470 w 1073848"/>
                <a:gd name="connsiteY269" fmla="*/ 94964 h 1057751"/>
                <a:gd name="connsiteX270" fmla="*/ 326517 w 1073848"/>
                <a:gd name="connsiteY270" fmla="*/ 93917 h 1057751"/>
                <a:gd name="connsiteX271" fmla="*/ 319564 w 1073848"/>
                <a:gd name="connsiteY271" fmla="*/ 102870 h 1057751"/>
                <a:gd name="connsiteX272" fmla="*/ 310896 w 1073848"/>
                <a:gd name="connsiteY272" fmla="*/ 97536 h 1057751"/>
                <a:gd name="connsiteX273" fmla="*/ 303466 w 1073848"/>
                <a:gd name="connsiteY273" fmla="*/ 101727 h 1057751"/>
                <a:gd name="connsiteX274" fmla="*/ 296323 w 1073848"/>
                <a:gd name="connsiteY274" fmla="*/ 109061 h 1057751"/>
                <a:gd name="connsiteX275" fmla="*/ 294513 w 1073848"/>
                <a:gd name="connsiteY275" fmla="*/ 107633 h 1057751"/>
                <a:gd name="connsiteX276" fmla="*/ 293180 w 1073848"/>
                <a:gd name="connsiteY276" fmla="*/ 109442 h 1057751"/>
                <a:gd name="connsiteX277" fmla="*/ 288226 w 1073848"/>
                <a:gd name="connsiteY277" fmla="*/ 108395 h 1057751"/>
                <a:gd name="connsiteX278" fmla="*/ 285083 w 1073848"/>
                <a:gd name="connsiteY278" fmla="*/ 108871 h 1057751"/>
                <a:gd name="connsiteX279" fmla="*/ 284702 w 1073848"/>
                <a:gd name="connsiteY279" fmla="*/ 105728 h 1057751"/>
                <a:gd name="connsiteX280" fmla="*/ 283750 w 1073848"/>
                <a:gd name="connsiteY280" fmla="*/ 110585 h 1057751"/>
                <a:gd name="connsiteX281" fmla="*/ 283559 w 1073848"/>
                <a:gd name="connsiteY281" fmla="*/ 109061 h 1057751"/>
                <a:gd name="connsiteX282" fmla="*/ 280321 w 1073848"/>
                <a:gd name="connsiteY282" fmla="*/ 109442 h 1057751"/>
                <a:gd name="connsiteX283" fmla="*/ 275653 w 1073848"/>
                <a:gd name="connsiteY283" fmla="*/ 110014 h 1057751"/>
                <a:gd name="connsiteX284" fmla="*/ 274891 w 1073848"/>
                <a:gd name="connsiteY284" fmla="*/ 116586 h 1057751"/>
                <a:gd name="connsiteX285" fmla="*/ 271272 w 1073848"/>
                <a:gd name="connsiteY285" fmla="*/ 113824 h 1057751"/>
                <a:gd name="connsiteX286" fmla="*/ 269938 w 1073848"/>
                <a:gd name="connsiteY286" fmla="*/ 115633 h 1057751"/>
                <a:gd name="connsiteX287" fmla="*/ 272129 w 1073848"/>
                <a:gd name="connsiteY287" fmla="*/ 120110 h 1057751"/>
                <a:gd name="connsiteX288" fmla="*/ 264414 w 1073848"/>
                <a:gd name="connsiteY288" fmla="*/ 122682 h 1057751"/>
                <a:gd name="connsiteX289" fmla="*/ 264223 w 1073848"/>
                <a:gd name="connsiteY289" fmla="*/ 121158 h 1057751"/>
                <a:gd name="connsiteX290" fmla="*/ 261461 w 1073848"/>
                <a:gd name="connsiteY290" fmla="*/ 124682 h 1057751"/>
                <a:gd name="connsiteX291" fmla="*/ 259461 w 1073848"/>
                <a:gd name="connsiteY291" fmla="*/ 121729 h 1057751"/>
                <a:gd name="connsiteX292" fmla="*/ 256508 w 1073848"/>
                <a:gd name="connsiteY292" fmla="*/ 123730 h 1057751"/>
                <a:gd name="connsiteX293" fmla="*/ 256318 w 1073848"/>
                <a:gd name="connsiteY293" fmla="*/ 122111 h 1057751"/>
                <a:gd name="connsiteX294" fmla="*/ 250031 w 1073848"/>
                <a:gd name="connsiteY294" fmla="*/ 122968 h 1057751"/>
                <a:gd name="connsiteX295" fmla="*/ 249841 w 1073848"/>
                <a:gd name="connsiteY295" fmla="*/ 121349 h 1057751"/>
                <a:gd name="connsiteX296" fmla="*/ 255270 w 1073848"/>
                <a:gd name="connsiteY296" fmla="*/ 114205 h 1057751"/>
                <a:gd name="connsiteX297" fmla="*/ 253365 w 1073848"/>
                <a:gd name="connsiteY297" fmla="*/ 111252 h 1057751"/>
                <a:gd name="connsiteX298" fmla="*/ 250126 w 1073848"/>
                <a:gd name="connsiteY298" fmla="*/ 111728 h 1057751"/>
                <a:gd name="connsiteX299" fmla="*/ 247459 w 1073848"/>
                <a:gd name="connsiteY299" fmla="*/ 115253 h 1057751"/>
                <a:gd name="connsiteX300" fmla="*/ 244030 w 1073848"/>
                <a:gd name="connsiteY300" fmla="*/ 114109 h 1057751"/>
                <a:gd name="connsiteX301" fmla="*/ 241459 w 1073848"/>
                <a:gd name="connsiteY301" fmla="*/ 119253 h 1057751"/>
                <a:gd name="connsiteX302" fmla="*/ 236791 w 1073848"/>
                <a:gd name="connsiteY302" fmla="*/ 119825 h 1057751"/>
                <a:gd name="connsiteX303" fmla="*/ 234982 w 1073848"/>
                <a:gd name="connsiteY303" fmla="*/ 118396 h 1057751"/>
                <a:gd name="connsiteX304" fmla="*/ 231076 w 1073848"/>
                <a:gd name="connsiteY304" fmla="*/ 125349 h 1057751"/>
                <a:gd name="connsiteX305" fmla="*/ 229457 w 1073848"/>
                <a:gd name="connsiteY305" fmla="*/ 125539 h 1057751"/>
                <a:gd name="connsiteX306" fmla="*/ 229934 w 1073848"/>
                <a:gd name="connsiteY306" fmla="*/ 128683 h 1057751"/>
                <a:gd name="connsiteX307" fmla="*/ 233267 w 1073848"/>
                <a:gd name="connsiteY307" fmla="*/ 129921 h 1057751"/>
                <a:gd name="connsiteX308" fmla="*/ 231838 w 1073848"/>
                <a:gd name="connsiteY308" fmla="*/ 131636 h 1057751"/>
                <a:gd name="connsiteX309" fmla="*/ 233839 w 1073848"/>
                <a:gd name="connsiteY309" fmla="*/ 134588 h 1057751"/>
                <a:gd name="connsiteX310" fmla="*/ 226314 w 1073848"/>
                <a:gd name="connsiteY310" fmla="*/ 138779 h 1057751"/>
                <a:gd name="connsiteX311" fmla="*/ 227552 w 1073848"/>
                <a:gd name="connsiteY311" fmla="*/ 148209 h 1057751"/>
                <a:gd name="connsiteX312" fmla="*/ 228409 w 1073848"/>
                <a:gd name="connsiteY312" fmla="*/ 154591 h 1057751"/>
                <a:gd name="connsiteX313" fmla="*/ 214598 w 1073848"/>
                <a:gd name="connsiteY313" fmla="*/ 159544 h 1057751"/>
                <a:gd name="connsiteX314" fmla="*/ 216503 w 1073848"/>
                <a:gd name="connsiteY314" fmla="*/ 162496 h 1057751"/>
                <a:gd name="connsiteX315" fmla="*/ 211264 w 1073848"/>
                <a:gd name="connsiteY315" fmla="*/ 171164 h 1057751"/>
                <a:gd name="connsiteX316" fmla="*/ 209645 w 1073848"/>
                <a:gd name="connsiteY316" fmla="*/ 171355 h 1057751"/>
                <a:gd name="connsiteX317" fmla="*/ 209264 w 1073848"/>
                <a:gd name="connsiteY317" fmla="*/ 168212 h 1057751"/>
                <a:gd name="connsiteX318" fmla="*/ 207931 w 1073848"/>
                <a:gd name="connsiteY318" fmla="*/ 170021 h 1057751"/>
                <a:gd name="connsiteX319" fmla="*/ 207931 w 1073848"/>
                <a:gd name="connsiteY319" fmla="*/ 170021 h 1057751"/>
                <a:gd name="connsiteX320" fmla="*/ 204692 w 1073848"/>
                <a:gd name="connsiteY320" fmla="*/ 170402 h 1057751"/>
                <a:gd name="connsiteX321" fmla="*/ 206502 w 1073848"/>
                <a:gd name="connsiteY321" fmla="*/ 171736 h 1057751"/>
                <a:gd name="connsiteX322" fmla="*/ 203359 w 1073848"/>
                <a:gd name="connsiteY322" fmla="*/ 172212 h 1057751"/>
                <a:gd name="connsiteX323" fmla="*/ 205359 w 1073848"/>
                <a:gd name="connsiteY323" fmla="*/ 175165 h 1057751"/>
                <a:gd name="connsiteX324" fmla="*/ 202597 w 1073848"/>
                <a:gd name="connsiteY324" fmla="*/ 178689 h 1057751"/>
                <a:gd name="connsiteX325" fmla="*/ 201644 w 1073848"/>
                <a:gd name="connsiteY325" fmla="*/ 183642 h 1057751"/>
                <a:gd name="connsiteX326" fmla="*/ 200406 w 1073848"/>
                <a:gd name="connsiteY326" fmla="*/ 186976 h 1057751"/>
                <a:gd name="connsiteX327" fmla="*/ 202597 w 1073848"/>
                <a:gd name="connsiteY327" fmla="*/ 191548 h 1057751"/>
                <a:gd name="connsiteX328" fmla="*/ 200692 w 1073848"/>
                <a:gd name="connsiteY328" fmla="*/ 201359 h 1057751"/>
                <a:gd name="connsiteX329" fmla="*/ 202882 w 1073848"/>
                <a:gd name="connsiteY329" fmla="*/ 205930 h 1057751"/>
                <a:gd name="connsiteX330" fmla="*/ 201835 w 1073848"/>
                <a:gd name="connsiteY330" fmla="*/ 210884 h 1057751"/>
                <a:gd name="connsiteX331" fmla="*/ 205454 w 1073848"/>
                <a:gd name="connsiteY331" fmla="*/ 213646 h 1057751"/>
                <a:gd name="connsiteX332" fmla="*/ 203835 w 1073848"/>
                <a:gd name="connsiteY332" fmla="*/ 213836 h 1057751"/>
                <a:gd name="connsiteX333" fmla="*/ 206407 w 1073848"/>
                <a:gd name="connsiteY333" fmla="*/ 221551 h 1057751"/>
                <a:gd name="connsiteX334" fmla="*/ 209550 w 1073848"/>
                <a:gd name="connsiteY334" fmla="*/ 221075 h 1057751"/>
                <a:gd name="connsiteX335" fmla="*/ 213550 w 1073848"/>
                <a:gd name="connsiteY335" fmla="*/ 214217 h 1057751"/>
                <a:gd name="connsiteX336" fmla="*/ 221456 w 1073848"/>
                <a:gd name="connsiteY336" fmla="*/ 226028 h 1057751"/>
                <a:gd name="connsiteX337" fmla="*/ 229171 w 1073848"/>
                <a:gd name="connsiteY337" fmla="*/ 223457 h 1057751"/>
                <a:gd name="connsiteX338" fmla="*/ 240411 w 1073848"/>
                <a:gd name="connsiteY338" fmla="*/ 223552 h 1057751"/>
                <a:gd name="connsiteX339" fmla="*/ 239363 w 1073848"/>
                <a:gd name="connsiteY339" fmla="*/ 228505 h 1057751"/>
                <a:gd name="connsiteX340" fmla="*/ 243745 w 1073848"/>
                <a:gd name="connsiteY340" fmla="*/ 237554 h 1057751"/>
                <a:gd name="connsiteX341" fmla="*/ 251460 w 1073848"/>
                <a:gd name="connsiteY341" fmla="*/ 247841 h 1057751"/>
                <a:gd name="connsiteX342" fmla="*/ 252127 w 1073848"/>
                <a:gd name="connsiteY342" fmla="*/ 252603 h 1057751"/>
                <a:gd name="connsiteX343" fmla="*/ 249174 w 1073848"/>
                <a:gd name="connsiteY343" fmla="*/ 254508 h 1057751"/>
                <a:gd name="connsiteX344" fmla="*/ 247936 w 1073848"/>
                <a:gd name="connsiteY344" fmla="*/ 257937 h 1057751"/>
                <a:gd name="connsiteX345" fmla="*/ 251746 w 1073848"/>
                <a:gd name="connsiteY345" fmla="*/ 262223 h 1057751"/>
                <a:gd name="connsiteX346" fmla="*/ 248031 w 1073848"/>
                <a:gd name="connsiteY346" fmla="*/ 270700 h 1057751"/>
                <a:gd name="connsiteX347" fmla="*/ 244411 w 1073848"/>
                <a:gd name="connsiteY347" fmla="*/ 267938 h 1057751"/>
                <a:gd name="connsiteX348" fmla="*/ 245078 w 1073848"/>
                <a:gd name="connsiteY348" fmla="*/ 272701 h 1057751"/>
                <a:gd name="connsiteX349" fmla="*/ 243268 w 1073848"/>
                <a:gd name="connsiteY349" fmla="*/ 271367 h 1057751"/>
                <a:gd name="connsiteX350" fmla="*/ 243459 w 1073848"/>
                <a:gd name="connsiteY350" fmla="*/ 272891 h 1057751"/>
                <a:gd name="connsiteX351" fmla="*/ 241840 w 1073848"/>
                <a:gd name="connsiteY351" fmla="*/ 273082 h 1057751"/>
                <a:gd name="connsiteX352" fmla="*/ 237553 w 1073848"/>
                <a:gd name="connsiteY352" fmla="*/ 276892 h 1057751"/>
                <a:gd name="connsiteX353" fmla="*/ 238125 w 1073848"/>
                <a:gd name="connsiteY353" fmla="*/ 281654 h 1057751"/>
                <a:gd name="connsiteX354" fmla="*/ 232029 w 1073848"/>
                <a:gd name="connsiteY354" fmla="*/ 284036 h 1057751"/>
                <a:gd name="connsiteX355" fmla="*/ 231838 w 1073848"/>
                <a:gd name="connsiteY355" fmla="*/ 282416 h 1057751"/>
                <a:gd name="connsiteX356" fmla="*/ 228695 w 1073848"/>
                <a:gd name="connsiteY356" fmla="*/ 282797 h 1057751"/>
                <a:gd name="connsiteX357" fmla="*/ 224123 w 1073848"/>
                <a:gd name="connsiteY357" fmla="*/ 284988 h 1057751"/>
                <a:gd name="connsiteX358" fmla="*/ 222123 w 1073848"/>
                <a:gd name="connsiteY358" fmla="*/ 282035 h 1057751"/>
                <a:gd name="connsiteX359" fmla="*/ 219456 w 1073848"/>
                <a:gd name="connsiteY359" fmla="*/ 285559 h 1057751"/>
                <a:gd name="connsiteX360" fmla="*/ 216979 w 1073848"/>
                <a:gd name="connsiteY360" fmla="*/ 279463 h 1057751"/>
                <a:gd name="connsiteX361" fmla="*/ 210121 w 1073848"/>
                <a:gd name="connsiteY361" fmla="*/ 275558 h 1057751"/>
                <a:gd name="connsiteX362" fmla="*/ 208978 w 1073848"/>
                <a:gd name="connsiteY362" fmla="*/ 278892 h 1057751"/>
                <a:gd name="connsiteX363" fmla="*/ 204025 w 1073848"/>
                <a:gd name="connsiteY363" fmla="*/ 277939 h 1057751"/>
                <a:gd name="connsiteX364" fmla="*/ 204978 w 1073848"/>
                <a:gd name="connsiteY364" fmla="*/ 285845 h 1057751"/>
                <a:gd name="connsiteX365" fmla="*/ 204978 w 1073848"/>
                <a:gd name="connsiteY365" fmla="*/ 285845 h 1057751"/>
                <a:gd name="connsiteX366" fmla="*/ 202025 w 1073848"/>
                <a:gd name="connsiteY366" fmla="*/ 287846 h 1057751"/>
                <a:gd name="connsiteX367" fmla="*/ 198501 w 1073848"/>
                <a:gd name="connsiteY367" fmla="*/ 285083 h 1057751"/>
                <a:gd name="connsiteX368" fmla="*/ 199644 w 1073848"/>
                <a:gd name="connsiteY368" fmla="*/ 281750 h 1057751"/>
                <a:gd name="connsiteX369" fmla="*/ 194977 w 1073848"/>
                <a:gd name="connsiteY369" fmla="*/ 282321 h 1057751"/>
                <a:gd name="connsiteX370" fmla="*/ 195358 w 1073848"/>
                <a:gd name="connsiteY370" fmla="*/ 285464 h 1057751"/>
                <a:gd name="connsiteX371" fmla="*/ 198882 w 1073848"/>
                <a:gd name="connsiteY371" fmla="*/ 288226 h 1057751"/>
                <a:gd name="connsiteX372" fmla="*/ 197929 w 1073848"/>
                <a:gd name="connsiteY372" fmla="*/ 293180 h 1057751"/>
                <a:gd name="connsiteX373" fmla="*/ 193167 w 1073848"/>
                <a:gd name="connsiteY373" fmla="*/ 293751 h 1057751"/>
                <a:gd name="connsiteX374" fmla="*/ 193548 w 1073848"/>
                <a:gd name="connsiteY374" fmla="*/ 296894 h 1057751"/>
                <a:gd name="connsiteX375" fmla="*/ 192214 w 1073848"/>
                <a:gd name="connsiteY375" fmla="*/ 298704 h 1057751"/>
                <a:gd name="connsiteX376" fmla="*/ 191071 w 1073848"/>
                <a:gd name="connsiteY376" fmla="*/ 302038 h 1057751"/>
                <a:gd name="connsiteX377" fmla="*/ 192976 w 1073848"/>
                <a:gd name="connsiteY377" fmla="*/ 304991 h 1057751"/>
                <a:gd name="connsiteX378" fmla="*/ 191643 w 1073848"/>
                <a:gd name="connsiteY378" fmla="*/ 306800 h 1057751"/>
                <a:gd name="connsiteX379" fmla="*/ 191834 w 1073848"/>
                <a:gd name="connsiteY379" fmla="*/ 308324 h 1057751"/>
                <a:gd name="connsiteX380" fmla="*/ 183737 w 1073848"/>
                <a:gd name="connsiteY380" fmla="*/ 307753 h 1057751"/>
                <a:gd name="connsiteX381" fmla="*/ 183166 w 1073848"/>
                <a:gd name="connsiteY381" fmla="*/ 303086 h 1057751"/>
                <a:gd name="connsiteX382" fmla="*/ 180784 w 1073848"/>
                <a:gd name="connsiteY382" fmla="*/ 296989 h 1057751"/>
                <a:gd name="connsiteX383" fmla="*/ 173831 w 1073848"/>
                <a:gd name="connsiteY383" fmla="*/ 292989 h 1057751"/>
                <a:gd name="connsiteX384" fmla="*/ 174212 w 1073848"/>
                <a:gd name="connsiteY384" fmla="*/ 296132 h 1057751"/>
                <a:gd name="connsiteX385" fmla="*/ 172498 w 1073848"/>
                <a:gd name="connsiteY385" fmla="*/ 294799 h 1057751"/>
                <a:gd name="connsiteX386" fmla="*/ 172688 w 1073848"/>
                <a:gd name="connsiteY386" fmla="*/ 296323 h 1057751"/>
                <a:gd name="connsiteX387" fmla="*/ 169545 w 1073848"/>
                <a:gd name="connsiteY387" fmla="*/ 296799 h 1057751"/>
                <a:gd name="connsiteX388" fmla="*/ 164782 w 1073848"/>
                <a:gd name="connsiteY388" fmla="*/ 297371 h 1057751"/>
                <a:gd name="connsiteX389" fmla="*/ 162973 w 1073848"/>
                <a:gd name="connsiteY389" fmla="*/ 296037 h 1057751"/>
                <a:gd name="connsiteX390" fmla="*/ 160972 w 1073848"/>
                <a:gd name="connsiteY390" fmla="*/ 293084 h 1057751"/>
                <a:gd name="connsiteX391" fmla="*/ 160782 w 1073848"/>
                <a:gd name="connsiteY391" fmla="*/ 291465 h 1057751"/>
                <a:gd name="connsiteX392" fmla="*/ 156115 w 1073848"/>
                <a:gd name="connsiteY392" fmla="*/ 292037 h 1057751"/>
                <a:gd name="connsiteX393" fmla="*/ 157067 w 1073848"/>
                <a:gd name="connsiteY393" fmla="*/ 287179 h 1057751"/>
                <a:gd name="connsiteX394" fmla="*/ 158591 w 1073848"/>
                <a:gd name="connsiteY394" fmla="*/ 286893 h 1057751"/>
                <a:gd name="connsiteX395" fmla="*/ 160020 w 1073848"/>
                <a:gd name="connsiteY395" fmla="*/ 285179 h 1057751"/>
                <a:gd name="connsiteX396" fmla="*/ 155257 w 1073848"/>
                <a:gd name="connsiteY396" fmla="*/ 285750 h 1057751"/>
                <a:gd name="connsiteX397" fmla="*/ 154114 w 1073848"/>
                <a:gd name="connsiteY397" fmla="*/ 289084 h 1057751"/>
                <a:gd name="connsiteX398" fmla="*/ 152305 w 1073848"/>
                <a:gd name="connsiteY398" fmla="*/ 287750 h 1057751"/>
                <a:gd name="connsiteX399" fmla="*/ 149161 w 1073848"/>
                <a:gd name="connsiteY399" fmla="*/ 288131 h 1057751"/>
                <a:gd name="connsiteX400" fmla="*/ 150209 w 1073848"/>
                <a:gd name="connsiteY400" fmla="*/ 296037 h 1057751"/>
                <a:gd name="connsiteX401" fmla="*/ 145066 w 1073848"/>
                <a:gd name="connsiteY401" fmla="*/ 293465 h 1057751"/>
                <a:gd name="connsiteX402" fmla="*/ 137350 w 1073848"/>
                <a:gd name="connsiteY402" fmla="*/ 296037 h 1057751"/>
                <a:gd name="connsiteX403" fmla="*/ 135731 w 1073848"/>
                <a:gd name="connsiteY403" fmla="*/ 296228 h 1057751"/>
                <a:gd name="connsiteX404" fmla="*/ 136207 w 1073848"/>
                <a:gd name="connsiteY404" fmla="*/ 299371 h 1057751"/>
                <a:gd name="connsiteX405" fmla="*/ 132969 w 1073848"/>
                <a:gd name="connsiteY405" fmla="*/ 299847 h 1057751"/>
                <a:gd name="connsiteX406" fmla="*/ 129445 w 1073848"/>
                <a:gd name="connsiteY406" fmla="*/ 297085 h 1057751"/>
                <a:gd name="connsiteX407" fmla="*/ 128302 w 1073848"/>
                <a:gd name="connsiteY407" fmla="*/ 300418 h 1057751"/>
                <a:gd name="connsiteX408" fmla="*/ 125158 w 1073848"/>
                <a:gd name="connsiteY408" fmla="*/ 300800 h 1057751"/>
                <a:gd name="connsiteX409" fmla="*/ 121729 w 1073848"/>
                <a:gd name="connsiteY409" fmla="*/ 299657 h 1057751"/>
                <a:gd name="connsiteX410" fmla="*/ 115824 w 1073848"/>
                <a:gd name="connsiteY410" fmla="*/ 303562 h 1057751"/>
                <a:gd name="connsiteX411" fmla="*/ 108585 w 1073848"/>
                <a:gd name="connsiteY411" fmla="*/ 296513 h 1057751"/>
                <a:gd name="connsiteX412" fmla="*/ 104013 w 1073848"/>
                <a:gd name="connsiteY412" fmla="*/ 298704 h 1057751"/>
                <a:gd name="connsiteX413" fmla="*/ 101822 w 1073848"/>
                <a:gd name="connsiteY413" fmla="*/ 294132 h 1057751"/>
                <a:gd name="connsiteX414" fmla="*/ 95726 w 1073848"/>
                <a:gd name="connsiteY414" fmla="*/ 296513 h 1057751"/>
                <a:gd name="connsiteX415" fmla="*/ 94488 w 1073848"/>
                <a:gd name="connsiteY415" fmla="*/ 299942 h 1057751"/>
                <a:gd name="connsiteX416" fmla="*/ 92773 w 1073848"/>
                <a:gd name="connsiteY416" fmla="*/ 298513 h 1057751"/>
                <a:gd name="connsiteX417" fmla="*/ 91345 w 1073848"/>
                <a:gd name="connsiteY417" fmla="*/ 300323 h 1057751"/>
                <a:gd name="connsiteX418" fmla="*/ 89154 w 1073848"/>
                <a:gd name="connsiteY418" fmla="*/ 295751 h 1057751"/>
                <a:gd name="connsiteX419" fmla="*/ 87630 w 1073848"/>
                <a:gd name="connsiteY419" fmla="*/ 295942 h 1057751"/>
                <a:gd name="connsiteX420" fmla="*/ 87820 w 1073848"/>
                <a:gd name="connsiteY420" fmla="*/ 297561 h 1057751"/>
                <a:gd name="connsiteX421" fmla="*/ 82677 w 1073848"/>
                <a:gd name="connsiteY421" fmla="*/ 294989 h 1057751"/>
                <a:gd name="connsiteX422" fmla="*/ 84106 w 1073848"/>
                <a:gd name="connsiteY422" fmla="*/ 293275 h 1057751"/>
                <a:gd name="connsiteX423" fmla="*/ 78772 w 1073848"/>
                <a:gd name="connsiteY423" fmla="*/ 289084 h 1057751"/>
                <a:gd name="connsiteX424" fmla="*/ 78486 w 1073848"/>
                <a:gd name="connsiteY424" fmla="*/ 287560 h 1057751"/>
                <a:gd name="connsiteX425" fmla="*/ 66103 w 1073848"/>
                <a:gd name="connsiteY425" fmla="*/ 290703 h 1057751"/>
                <a:gd name="connsiteX426" fmla="*/ 59817 w 1073848"/>
                <a:gd name="connsiteY426" fmla="*/ 291465 h 1057751"/>
                <a:gd name="connsiteX427" fmla="*/ 54673 w 1073848"/>
                <a:gd name="connsiteY427" fmla="*/ 301752 h 1057751"/>
                <a:gd name="connsiteX428" fmla="*/ 58198 w 1073848"/>
                <a:gd name="connsiteY428" fmla="*/ 304514 h 1057751"/>
                <a:gd name="connsiteX429" fmla="*/ 63151 w 1073848"/>
                <a:gd name="connsiteY429" fmla="*/ 305467 h 1057751"/>
                <a:gd name="connsiteX430" fmla="*/ 67151 w 1073848"/>
                <a:gd name="connsiteY430" fmla="*/ 311372 h 1057751"/>
                <a:gd name="connsiteX431" fmla="*/ 65722 w 1073848"/>
                <a:gd name="connsiteY431" fmla="*/ 313182 h 1057751"/>
                <a:gd name="connsiteX432" fmla="*/ 67913 w 1073848"/>
                <a:gd name="connsiteY432" fmla="*/ 317754 h 1057751"/>
                <a:gd name="connsiteX433" fmla="*/ 66580 w 1073848"/>
                <a:gd name="connsiteY433" fmla="*/ 319468 h 1057751"/>
                <a:gd name="connsiteX434" fmla="*/ 60484 w 1073848"/>
                <a:gd name="connsiteY434" fmla="*/ 321850 h 1057751"/>
                <a:gd name="connsiteX435" fmla="*/ 48958 w 1073848"/>
                <a:gd name="connsiteY435" fmla="*/ 320135 h 1057751"/>
                <a:gd name="connsiteX436" fmla="*/ 46482 w 1073848"/>
                <a:gd name="connsiteY436" fmla="*/ 325279 h 1057751"/>
                <a:gd name="connsiteX437" fmla="*/ 39338 w 1073848"/>
                <a:gd name="connsiteY437" fmla="*/ 319754 h 1057751"/>
                <a:gd name="connsiteX438" fmla="*/ 34576 w 1073848"/>
                <a:gd name="connsiteY438" fmla="*/ 320421 h 1057751"/>
                <a:gd name="connsiteX439" fmla="*/ 31813 w 1073848"/>
                <a:gd name="connsiteY439" fmla="*/ 323945 h 1057751"/>
                <a:gd name="connsiteX440" fmla="*/ 32671 w 1073848"/>
                <a:gd name="connsiteY440" fmla="*/ 330232 h 1057751"/>
                <a:gd name="connsiteX441" fmla="*/ 31242 w 1073848"/>
                <a:gd name="connsiteY441" fmla="*/ 332042 h 1057751"/>
                <a:gd name="connsiteX442" fmla="*/ 29908 w 1073848"/>
                <a:gd name="connsiteY442" fmla="*/ 333756 h 1057751"/>
                <a:gd name="connsiteX443" fmla="*/ 33433 w 1073848"/>
                <a:gd name="connsiteY443" fmla="*/ 336518 h 1057751"/>
                <a:gd name="connsiteX444" fmla="*/ 37624 w 1073848"/>
                <a:gd name="connsiteY444" fmla="*/ 344043 h 1057751"/>
                <a:gd name="connsiteX445" fmla="*/ 34480 w 1073848"/>
                <a:gd name="connsiteY445" fmla="*/ 344424 h 1057751"/>
                <a:gd name="connsiteX446" fmla="*/ 29718 w 1073848"/>
                <a:gd name="connsiteY446" fmla="*/ 345091 h 1057751"/>
                <a:gd name="connsiteX447" fmla="*/ 28384 w 1073848"/>
                <a:gd name="connsiteY447" fmla="*/ 346805 h 1057751"/>
                <a:gd name="connsiteX448" fmla="*/ 29146 w 1073848"/>
                <a:gd name="connsiteY448" fmla="*/ 353187 h 1057751"/>
                <a:gd name="connsiteX449" fmla="*/ 25241 w 1073848"/>
                <a:gd name="connsiteY449" fmla="*/ 360045 h 1057751"/>
                <a:gd name="connsiteX450" fmla="*/ 26956 w 1073848"/>
                <a:gd name="connsiteY450" fmla="*/ 361474 h 1057751"/>
                <a:gd name="connsiteX451" fmla="*/ 30956 w 1073848"/>
                <a:gd name="connsiteY451" fmla="*/ 367379 h 1057751"/>
                <a:gd name="connsiteX452" fmla="*/ 33718 w 1073848"/>
                <a:gd name="connsiteY452" fmla="*/ 376618 h 1057751"/>
                <a:gd name="connsiteX453" fmla="*/ 37338 w 1073848"/>
                <a:gd name="connsiteY453" fmla="*/ 379381 h 1057751"/>
                <a:gd name="connsiteX454" fmla="*/ 36100 w 1073848"/>
                <a:gd name="connsiteY454" fmla="*/ 382714 h 1057751"/>
                <a:gd name="connsiteX455" fmla="*/ 31813 w 1073848"/>
                <a:gd name="connsiteY455" fmla="*/ 386525 h 1057751"/>
                <a:gd name="connsiteX456" fmla="*/ 23527 w 1073848"/>
                <a:gd name="connsiteY456" fmla="*/ 384334 h 1057751"/>
                <a:gd name="connsiteX457" fmla="*/ 20383 w 1073848"/>
                <a:gd name="connsiteY457" fmla="*/ 384715 h 1057751"/>
                <a:gd name="connsiteX458" fmla="*/ 16764 w 1073848"/>
                <a:gd name="connsiteY458" fmla="*/ 381953 h 1057751"/>
                <a:gd name="connsiteX459" fmla="*/ 17145 w 1073848"/>
                <a:gd name="connsiteY459" fmla="*/ 385096 h 1057751"/>
                <a:gd name="connsiteX460" fmla="*/ 12097 w 1073848"/>
                <a:gd name="connsiteY460" fmla="*/ 382619 h 1057751"/>
                <a:gd name="connsiteX461" fmla="*/ 9715 w 1073848"/>
                <a:gd name="connsiteY461" fmla="*/ 389287 h 1057751"/>
                <a:gd name="connsiteX462" fmla="*/ 8763 w 1073848"/>
                <a:gd name="connsiteY462" fmla="*/ 394240 h 1057751"/>
                <a:gd name="connsiteX463" fmla="*/ 15430 w 1073848"/>
                <a:gd name="connsiteY463" fmla="*/ 396621 h 1057751"/>
                <a:gd name="connsiteX464" fmla="*/ 17240 w 1073848"/>
                <a:gd name="connsiteY464" fmla="*/ 397955 h 1057751"/>
                <a:gd name="connsiteX465" fmla="*/ 19240 w 1073848"/>
                <a:gd name="connsiteY465" fmla="*/ 400907 h 1057751"/>
                <a:gd name="connsiteX466" fmla="*/ 19621 w 1073848"/>
                <a:gd name="connsiteY466" fmla="*/ 404050 h 1057751"/>
                <a:gd name="connsiteX467" fmla="*/ 26956 w 1073848"/>
                <a:gd name="connsiteY467" fmla="*/ 411194 h 1057751"/>
                <a:gd name="connsiteX468" fmla="*/ 25336 w 1073848"/>
                <a:gd name="connsiteY468" fmla="*/ 411385 h 1057751"/>
                <a:gd name="connsiteX469" fmla="*/ 25717 w 1073848"/>
                <a:gd name="connsiteY469" fmla="*/ 414528 h 1057751"/>
                <a:gd name="connsiteX470" fmla="*/ 27527 w 1073848"/>
                <a:gd name="connsiteY470" fmla="*/ 415862 h 1057751"/>
                <a:gd name="connsiteX471" fmla="*/ 26956 w 1073848"/>
                <a:gd name="connsiteY471" fmla="*/ 423958 h 1057751"/>
                <a:gd name="connsiteX472" fmla="*/ 29146 w 1073848"/>
                <a:gd name="connsiteY472" fmla="*/ 428530 h 1057751"/>
                <a:gd name="connsiteX473" fmla="*/ 26194 w 1073848"/>
                <a:gd name="connsiteY473" fmla="*/ 430530 h 1057751"/>
                <a:gd name="connsiteX474" fmla="*/ 23813 w 1073848"/>
                <a:gd name="connsiteY474" fmla="*/ 437197 h 1057751"/>
                <a:gd name="connsiteX475" fmla="*/ 20860 w 1073848"/>
                <a:gd name="connsiteY475" fmla="*/ 439198 h 1057751"/>
                <a:gd name="connsiteX476" fmla="*/ 19336 w 1073848"/>
                <a:gd name="connsiteY476" fmla="*/ 439388 h 1057751"/>
                <a:gd name="connsiteX477" fmla="*/ 21431 w 1073848"/>
                <a:gd name="connsiteY477" fmla="*/ 443960 h 1057751"/>
                <a:gd name="connsiteX478" fmla="*/ 24860 w 1073848"/>
                <a:gd name="connsiteY478" fmla="*/ 445103 h 1057751"/>
                <a:gd name="connsiteX479" fmla="*/ 25241 w 1073848"/>
                <a:gd name="connsiteY479" fmla="*/ 448246 h 1057751"/>
                <a:gd name="connsiteX480" fmla="*/ 23146 w 1073848"/>
                <a:gd name="connsiteY480" fmla="*/ 469392 h 1057751"/>
                <a:gd name="connsiteX481" fmla="*/ 18383 w 1073848"/>
                <a:gd name="connsiteY481" fmla="*/ 469963 h 1057751"/>
                <a:gd name="connsiteX482" fmla="*/ 15811 w 1073848"/>
                <a:gd name="connsiteY482" fmla="*/ 475107 h 1057751"/>
                <a:gd name="connsiteX483" fmla="*/ 15621 w 1073848"/>
                <a:gd name="connsiteY483" fmla="*/ 486346 h 1057751"/>
                <a:gd name="connsiteX484" fmla="*/ 11716 w 1073848"/>
                <a:gd name="connsiteY484" fmla="*/ 493300 h 1057751"/>
                <a:gd name="connsiteX485" fmla="*/ 8572 w 1073848"/>
                <a:gd name="connsiteY485" fmla="*/ 493681 h 1057751"/>
                <a:gd name="connsiteX486" fmla="*/ 7429 w 1073848"/>
                <a:gd name="connsiteY486" fmla="*/ 497014 h 1057751"/>
                <a:gd name="connsiteX487" fmla="*/ 7810 w 1073848"/>
                <a:gd name="connsiteY487" fmla="*/ 500158 h 1057751"/>
                <a:gd name="connsiteX488" fmla="*/ 12287 w 1073848"/>
                <a:gd name="connsiteY488" fmla="*/ 498062 h 1057751"/>
                <a:gd name="connsiteX489" fmla="*/ 13716 w 1073848"/>
                <a:gd name="connsiteY489" fmla="*/ 496253 h 1057751"/>
                <a:gd name="connsiteX490" fmla="*/ 16859 w 1073848"/>
                <a:gd name="connsiteY490" fmla="*/ 495871 h 1057751"/>
                <a:gd name="connsiteX491" fmla="*/ 14478 w 1073848"/>
                <a:gd name="connsiteY491" fmla="*/ 502539 h 1057751"/>
                <a:gd name="connsiteX492" fmla="*/ 11525 w 1073848"/>
                <a:gd name="connsiteY492" fmla="*/ 504539 h 1057751"/>
                <a:gd name="connsiteX493" fmla="*/ 12192 w 1073848"/>
                <a:gd name="connsiteY493" fmla="*/ 509302 h 1057751"/>
                <a:gd name="connsiteX494" fmla="*/ 9239 w 1073848"/>
                <a:gd name="connsiteY494" fmla="*/ 511207 h 1057751"/>
                <a:gd name="connsiteX495" fmla="*/ 10192 w 1073848"/>
                <a:gd name="connsiteY495" fmla="*/ 519113 h 1057751"/>
                <a:gd name="connsiteX496" fmla="*/ 9049 w 1073848"/>
                <a:gd name="connsiteY496" fmla="*/ 522446 h 1057751"/>
                <a:gd name="connsiteX497" fmla="*/ 9430 w 1073848"/>
                <a:gd name="connsiteY497" fmla="*/ 525685 h 1057751"/>
                <a:gd name="connsiteX498" fmla="*/ 8477 w 1073848"/>
                <a:gd name="connsiteY498" fmla="*/ 530543 h 1057751"/>
                <a:gd name="connsiteX499" fmla="*/ 5524 w 1073848"/>
                <a:gd name="connsiteY499" fmla="*/ 532543 h 1057751"/>
                <a:gd name="connsiteX500" fmla="*/ 2191 w 1073848"/>
                <a:gd name="connsiteY500" fmla="*/ 531400 h 1057751"/>
                <a:gd name="connsiteX501" fmla="*/ 1143 w 1073848"/>
                <a:gd name="connsiteY501" fmla="*/ 536353 h 1057751"/>
                <a:gd name="connsiteX502" fmla="*/ 4572 w 1073848"/>
                <a:gd name="connsiteY502" fmla="*/ 537496 h 1057751"/>
                <a:gd name="connsiteX503" fmla="*/ 1619 w 1073848"/>
                <a:gd name="connsiteY503" fmla="*/ 539496 h 1057751"/>
                <a:gd name="connsiteX504" fmla="*/ 381 w 1073848"/>
                <a:gd name="connsiteY504" fmla="*/ 542830 h 1057751"/>
                <a:gd name="connsiteX505" fmla="*/ 2381 w 1073848"/>
                <a:gd name="connsiteY505" fmla="*/ 545783 h 1057751"/>
                <a:gd name="connsiteX506" fmla="*/ 2762 w 1073848"/>
                <a:gd name="connsiteY506" fmla="*/ 548926 h 1057751"/>
                <a:gd name="connsiteX507" fmla="*/ 0 w 1073848"/>
                <a:gd name="connsiteY507" fmla="*/ 552545 h 1057751"/>
                <a:gd name="connsiteX508" fmla="*/ 2000 w 1073848"/>
                <a:gd name="connsiteY508" fmla="*/ 555498 h 1057751"/>
                <a:gd name="connsiteX509" fmla="*/ 3619 w 1073848"/>
                <a:gd name="connsiteY509" fmla="*/ 555308 h 1057751"/>
                <a:gd name="connsiteX510" fmla="*/ 12287 w 1073848"/>
                <a:gd name="connsiteY510" fmla="*/ 560546 h 1057751"/>
                <a:gd name="connsiteX511" fmla="*/ 20383 w 1073848"/>
                <a:gd name="connsiteY511" fmla="*/ 561118 h 1057751"/>
                <a:gd name="connsiteX512" fmla="*/ 24289 w 1073848"/>
                <a:gd name="connsiteY512" fmla="*/ 567023 h 1057751"/>
                <a:gd name="connsiteX513" fmla="*/ 25717 w 1073848"/>
                <a:gd name="connsiteY513" fmla="*/ 578072 h 1057751"/>
                <a:gd name="connsiteX514" fmla="*/ 30289 w 1073848"/>
                <a:gd name="connsiteY514" fmla="*/ 575882 h 1057751"/>
                <a:gd name="connsiteX515" fmla="*/ 29337 w 1073848"/>
                <a:gd name="connsiteY515" fmla="*/ 580834 h 1057751"/>
                <a:gd name="connsiteX516" fmla="*/ 25908 w 1073848"/>
                <a:gd name="connsiteY516" fmla="*/ 579692 h 1057751"/>
                <a:gd name="connsiteX517" fmla="*/ 22955 w 1073848"/>
                <a:gd name="connsiteY517" fmla="*/ 581692 h 1057751"/>
                <a:gd name="connsiteX518" fmla="*/ 19050 w 1073848"/>
                <a:gd name="connsiteY518" fmla="*/ 588550 h 1057751"/>
                <a:gd name="connsiteX519" fmla="*/ 17240 w 1073848"/>
                <a:gd name="connsiteY519" fmla="*/ 587216 h 1057751"/>
                <a:gd name="connsiteX520" fmla="*/ 17907 w 1073848"/>
                <a:gd name="connsiteY520" fmla="*/ 591979 h 1057751"/>
                <a:gd name="connsiteX521" fmla="*/ 13144 w 1073848"/>
                <a:gd name="connsiteY521" fmla="*/ 592550 h 1057751"/>
                <a:gd name="connsiteX522" fmla="*/ 13716 w 1073848"/>
                <a:gd name="connsiteY522" fmla="*/ 597313 h 1057751"/>
                <a:gd name="connsiteX523" fmla="*/ 10763 w 1073848"/>
                <a:gd name="connsiteY523" fmla="*/ 599218 h 1057751"/>
                <a:gd name="connsiteX524" fmla="*/ 11239 w 1073848"/>
                <a:gd name="connsiteY524" fmla="*/ 602361 h 1057751"/>
                <a:gd name="connsiteX525" fmla="*/ 13335 w 1073848"/>
                <a:gd name="connsiteY525" fmla="*/ 606933 h 1057751"/>
                <a:gd name="connsiteX526" fmla="*/ 20669 w 1073848"/>
                <a:gd name="connsiteY526" fmla="*/ 613982 h 1057751"/>
                <a:gd name="connsiteX527" fmla="*/ 27432 w 1073848"/>
                <a:gd name="connsiteY527" fmla="*/ 616363 h 1057751"/>
                <a:gd name="connsiteX528" fmla="*/ 27813 w 1073848"/>
                <a:gd name="connsiteY528" fmla="*/ 619506 h 1057751"/>
                <a:gd name="connsiteX529" fmla="*/ 24098 w 1073848"/>
                <a:gd name="connsiteY529" fmla="*/ 627983 h 1057751"/>
                <a:gd name="connsiteX530" fmla="*/ 30766 w 1073848"/>
                <a:gd name="connsiteY530" fmla="*/ 630364 h 1057751"/>
                <a:gd name="connsiteX531" fmla="*/ 39052 w 1073848"/>
                <a:gd name="connsiteY531" fmla="*/ 632555 h 1057751"/>
                <a:gd name="connsiteX532" fmla="*/ 39529 w 1073848"/>
                <a:gd name="connsiteY532" fmla="*/ 635699 h 1057751"/>
                <a:gd name="connsiteX533" fmla="*/ 42863 w 1073848"/>
                <a:gd name="connsiteY533" fmla="*/ 636842 h 1057751"/>
                <a:gd name="connsiteX534" fmla="*/ 41910 w 1073848"/>
                <a:gd name="connsiteY534" fmla="*/ 641795 h 1057751"/>
                <a:gd name="connsiteX535" fmla="*/ 45815 w 1073848"/>
                <a:gd name="connsiteY535" fmla="*/ 647700 h 1057751"/>
                <a:gd name="connsiteX536" fmla="*/ 47625 w 1073848"/>
                <a:gd name="connsiteY536" fmla="*/ 649129 h 1057751"/>
                <a:gd name="connsiteX537" fmla="*/ 50578 w 1073848"/>
                <a:gd name="connsiteY537" fmla="*/ 647129 h 1057751"/>
                <a:gd name="connsiteX538" fmla="*/ 57912 w 1073848"/>
                <a:gd name="connsiteY538" fmla="*/ 654177 h 1057751"/>
                <a:gd name="connsiteX539" fmla="*/ 61817 w 1073848"/>
                <a:gd name="connsiteY539" fmla="*/ 660083 h 1057751"/>
                <a:gd name="connsiteX540" fmla="*/ 62484 w 1073848"/>
                <a:gd name="connsiteY540" fmla="*/ 664845 h 1057751"/>
                <a:gd name="connsiteX541" fmla="*/ 64008 w 1073848"/>
                <a:gd name="connsiteY541" fmla="*/ 664655 h 1057751"/>
                <a:gd name="connsiteX542" fmla="*/ 64198 w 1073848"/>
                <a:gd name="connsiteY542" fmla="*/ 666179 h 1057751"/>
                <a:gd name="connsiteX543" fmla="*/ 72485 w 1073848"/>
                <a:gd name="connsiteY543" fmla="*/ 668369 h 1057751"/>
                <a:gd name="connsiteX544" fmla="*/ 80581 w 1073848"/>
                <a:gd name="connsiteY544" fmla="*/ 656082 h 1057751"/>
                <a:gd name="connsiteX545" fmla="*/ 85153 w 1073848"/>
                <a:gd name="connsiteY545" fmla="*/ 653891 h 1057751"/>
                <a:gd name="connsiteX546" fmla="*/ 89440 w 1073848"/>
                <a:gd name="connsiteY546" fmla="*/ 650176 h 1057751"/>
                <a:gd name="connsiteX547" fmla="*/ 92583 w 1073848"/>
                <a:gd name="connsiteY547" fmla="*/ 649796 h 1057751"/>
                <a:gd name="connsiteX548" fmla="*/ 94012 w 1073848"/>
                <a:gd name="connsiteY548" fmla="*/ 647986 h 1057751"/>
                <a:gd name="connsiteX549" fmla="*/ 99917 w 1073848"/>
                <a:gd name="connsiteY549" fmla="*/ 643985 h 1057751"/>
                <a:gd name="connsiteX550" fmla="*/ 101917 w 1073848"/>
                <a:gd name="connsiteY550" fmla="*/ 646938 h 1057751"/>
                <a:gd name="connsiteX551" fmla="*/ 103251 w 1073848"/>
                <a:gd name="connsiteY551" fmla="*/ 645224 h 1057751"/>
                <a:gd name="connsiteX552" fmla="*/ 102298 w 1073848"/>
                <a:gd name="connsiteY552" fmla="*/ 650176 h 1057751"/>
                <a:gd name="connsiteX553" fmla="*/ 107251 w 1073848"/>
                <a:gd name="connsiteY553" fmla="*/ 651129 h 1057751"/>
                <a:gd name="connsiteX554" fmla="*/ 111538 w 1073848"/>
                <a:gd name="connsiteY554" fmla="*/ 660178 h 1057751"/>
                <a:gd name="connsiteX555" fmla="*/ 113728 w 1073848"/>
                <a:gd name="connsiteY555" fmla="*/ 664750 h 1057751"/>
                <a:gd name="connsiteX556" fmla="*/ 122491 w 1073848"/>
                <a:gd name="connsiteY556" fmla="*/ 669988 h 1057751"/>
                <a:gd name="connsiteX557" fmla="*/ 121063 w 1073848"/>
                <a:gd name="connsiteY557" fmla="*/ 671798 h 1057751"/>
                <a:gd name="connsiteX558" fmla="*/ 126016 w 1073848"/>
                <a:gd name="connsiteY558" fmla="*/ 672751 h 1057751"/>
                <a:gd name="connsiteX559" fmla="*/ 127159 w 1073848"/>
                <a:gd name="connsiteY559" fmla="*/ 669417 h 1057751"/>
                <a:gd name="connsiteX560" fmla="*/ 128968 w 1073848"/>
                <a:gd name="connsiteY560" fmla="*/ 670751 h 1057751"/>
                <a:gd name="connsiteX561" fmla="*/ 137255 w 1073848"/>
                <a:gd name="connsiteY561" fmla="*/ 672941 h 1057751"/>
                <a:gd name="connsiteX562" fmla="*/ 152019 w 1073848"/>
                <a:gd name="connsiteY562" fmla="*/ 675894 h 1057751"/>
                <a:gd name="connsiteX563" fmla="*/ 151447 w 1073848"/>
                <a:gd name="connsiteY563" fmla="*/ 683990 h 1057751"/>
                <a:gd name="connsiteX564" fmla="*/ 147161 w 1073848"/>
                <a:gd name="connsiteY564" fmla="*/ 687705 h 1057751"/>
                <a:gd name="connsiteX565" fmla="*/ 151162 w 1073848"/>
                <a:gd name="connsiteY565" fmla="*/ 693611 h 1057751"/>
                <a:gd name="connsiteX566" fmla="*/ 150114 w 1073848"/>
                <a:gd name="connsiteY566" fmla="*/ 698563 h 1057751"/>
                <a:gd name="connsiteX567" fmla="*/ 137160 w 1073848"/>
                <a:gd name="connsiteY567" fmla="*/ 697039 h 1057751"/>
                <a:gd name="connsiteX568" fmla="*/ 133731 w 1073848"/>
                <a:gd name="connsiteY568" fmla="*/ 695801 h 1057751"/>
                <a:gd name="connsiteX569" fmla="*/ 132207 w 1073848"/>
                <a:gd name="connsiteY569" fmla="*/ 696087 h 1057751"/>
                <a:gd name="connsiteX570" fmla="*/ 136112 w 1073848"/>
                <a:gd name="connsiteY570" fmla="*/ 701993 h 1057751"/>
                <a:gd name="connsiteX571" fmla="*/ 142684 w 1073848"/>
                <a:gd name="connsiteY571" fmla="*/ 702755 h 1057751"/>
                <a:gd name="connsiteX572" fmla="*/ 148209 w 1073848"/>
                <a:gd name="connsiteY572" fmla="*/ 708470 h 1057751"/>
                <a:gd name="connsiteX573" fmla="*/ 153734 w 1073848"/>
                <a:gd name="connsiteY573" fmla="*/ 701326 h 1057751"/>
                <a:gd name="connsiteX574" fmla="*/ 163163 w 1073848"/>
                <a:gd name="connsiteY574" fmla="*/ 700088 h 1057751"/>
                <a:gd name="connsiteX575" fmla="*/ 166497 w 1073848"/>
                <a:gd name="connsiteY575" fmla="*/ 701326 h 1057751"/>
                <a:gd name="connsiteX576" fmla="*/ 168688 w 1073848"/>
                <a:gd name="connsiteY576" fmla="*/ 705803 h 1057751"/>
                <a:gd name="connsiteX577" fmla="*/ 171831 w 1073848"/>
                <a:gd name="connsiteY577" fmla="*/ 705422 h 1057751"/>
                <a:gd name="connsiteX578" fmla="*/ 174403 w 1073848"/>
                <a:gd name="connsiteY578" fmla="*/ 713137 h 1057751"/>
                <a:gd name="connsiteX579" fmla="*/ 176213 w 1073848"/>
                <a:gd name="connsiteY579" fmla="*/ 714470 h 1057751"/>
                <a:gd name="connsiteX580" fmla="*/ 176403 w 1073848"/>
                <a:gd name="connsiteY580" fmla="*/ 716089 h 1057751"/>
                <a:gd name="connsiteX581" fmla="*/ 175069 w 1073848"/>
                <a:gd name="connsiteY581" fmla="*/ 717804 h 1057751"/>
                <a:gd name="connsiteX582" fmla="*/ 177832 w 1073848"/>
                <a:gd name="connsiteY582" fmla="*/ 727138 h 1057751"/>
                <a:gd name="connsiteX583" fmla="*/ 176689 w 1073848"/>
                <a:gd name="connsiteY583" fmla="*/ 730472 h 1057751"/>
                <a:gd name="connsiteX584" fmla="*/ 184975 w 1073848"/>
                <a:gd name="connsiteY584" fmla="*/ 732568 h 1057751"/>
                <a:gd name="connsiteX585" fmla="*/ 191643 w 1073848"/>
                <a:gd name="connsiteY585" fmla="*/ 734949 h 1057751"/>
                <a:gd name="connsiteX586" fmla="*/ 194977 w 1073848"/>
                <a:gd name="connsiteY586" fmla="*/ 736187 h 1057751"/>
                <a:gd name="connsiteX587" fmla="*/ 204121 w 1073848"/>
                <a:gd name="connsiteY587" fmla="*/ 731806 h 1057751"/>
                <a:gd name="connsiteX588" fmla="*/ 213741 w 1073848"/>
                <a:gd name="connsiteY588" fmla="*/ 719328 h 1057751"/>
                <a:gd name="connsiteX589" fmla="*/ 213169 w 1073848"/>
                <a:gd name="connsiteY589" fmla="*/ 714566 h 1057751"/>
                <a:gd name="connsiteX590" fmla="*/ 218027 w 1073848"/>
                <a:gd name="connsiteY590" fmla="*/ 715613 h 1057751"/>
                <a:gd name="connsiteX591" fmla="*/ 224409 w 1073848"/>
                <a:gd name="connsiteY591" fmla="*/ 727615 h 1057751"/>
                <a:gd name="connsiteX592" fmla="*/ 225552 w 1073848"/>
                <a:gd name="connsiteY592" fmla="*/ 724186 h 1057751"/>
                <a:gd name="connsiteX593" fmla="*/ 231934 w 1073848"/>
                <a:gd name="connsiteY593" fmla="*/ 723424 h 1057751"/>
                <a:gd name="connsiteX594" fmla="*/ 240601 w 1073848"/>
                <a:gd name="connsiteY594" fmla="*/ 728758 h 1057751"/>
                <a:gd name="connsiteX595" fmla="*/ 243745 w 1073848"/>
                <a:gd name="connsiteY595" fmla="*/ 728377 h 1057751"/>
                <a:gd name="connsiteX596" fmla="*/ 248888 w 1073848"/>
                <a:gd name="connsiteY596" fmla="*/ 730853 h 1057751"/>
                <a:gd name="connsiteX597" fmla="*/ 250222 w 1073848"/>
                <a:gd name="connsiteY597" fmla="*/ 729139 h 1057751"/>
                <a:gd name="connsiteX598" fmla="*/ 260890 w 1073848"/>
                <a:gd name="connsiteY598" fmla="*/ 737330 h 1057751"/>
                <a:gd name="connsiteX599" fmla="*/ 258223 w 1073848"/>
                <a:gd name="connsiteY599" fmla="*/ 740950 h 1057751"/>
                <a:gd name="connsiteX600" fmla="*/ 259937 w 1073848"/>
                <a:gd name="connsiteY600" fmla="*/ 742283 h 1057751"/>
                <a:gd name="connsiteX601" fmla="*/ 257651 w 1073848"/>
                <a:gd name="connsiteY601" fmla="*/ 749046 h 1057751"/>
                <a:gd name="connsiteX602" fmla="*/ 262128 w 1073848"/>
                <a:gd name="connsiteY602" fmla="*/ 746855 h 1057751"/>
                <a:gd name="connsiteX603" fmla="*/ 261747 w 1073848"/>
                <a:gd name="connsiteY603" fmla="*/ 743712 h 1057751"/>
                <a:gd name="connsiteX604" fmla="*/ 266033 w 1073848"/>
                <a:gd name="connsiteY604" fmla="*/ 739902 h 1057751"/>
                <a:gd name="connsiteX605" fmla="*/ 269462 w 1073848"/>
                <a:gd name="connsiteY605" fmla="*/ 741140 h 1057751"/>
                <a:gd name="connsiteX606" fmla="*/ 271367 w 1073848"/>
                <a:gd name="connsiteY606" fmla="*/ 744093 h 1057751"/>
                <a:gd name="connsiteX607" fmla="*/ 275939 w 1073848"/>
                <a:gd name="connsiteY607" fmla="*/ 741902 h 1057751"/>
                <a:gd name="connsiteX608" fmla="*/ 280035 w 1073848"/>
                <a:gd name="connsiteY608" fmla="*/ 736568 h 1057751"/>
                <a:gd name="connsiteX609" fmla="*/ 286417 w 1073848"/>
                <a:gd name="connsiteY609" fmla="*/ 735711 h 1057751"/>
                <a:gd name="connsiteX610" fmla="*/ 295084 w 1073848"/>
                <a:gd name="connsiteY610" fmla="*/ 741045 h 1057751"/>
                <a:gd name="connsiteX611" fmla="*/ 301180 w 1073848"/>
                <a:gd name="connsiteY611" fmla="*/ 738664 h 1057751"/>
                <a:gd name="connsiteX612" fmla="*/ 300609 w 1073848"/>
                <a:gd name="connsiteY612" fmla="*/ 733901 h 1057751"/>
                <a:gd name="connsiteX613" fmla="*/ 305276 w 1073848"/>
                <a:gd name="connsiteY613" fmla="*/ 733330 h 1057751"/>
                <a:gd name="connsiteX614" fmla="*/ 307276 w 1073848"/>
                <a:gd name="connsiteY614" fmla="*/ 736283 h 1057751"/>
                <a:gd name="connsiteX615" fmla="*/ 310420 w 1073848"/>
                <a:gd name="connsiteY615" fmla="*/ 735901 h 1057751"/>
                <a:gd name="connsiteX616" fmla="*/ 313372 w 1073848"/>
                <a:gd name="connsiteY616" fmla="*/ 733901 h 1057751"/>
                <a:gd name="connsiteX617" fmla="*/ 320135 w 1073848"/>
                <a:gd name="connsiteY617" fmla="*/ 736283 h 1057751"/>
                <a:gd name="connsiteX618" fmla="*/ 323659 w 1073848"/>
                <a:gd name="connsiteY618" fmla="*/ 739045 h 1057751"/>
                <a:gd name="connsiteX619" fmla="*/ 323088 w 1073848"/>
                <a:gd name="connsiteY619" fmla="*/ 747046 h 1057751"/>
                <a:gd name="connsiteX620" fmla="*/ 324326 w 1073848"/>
                <a:gd name="connsiteY620" fmla="*/ 756571 h 1057751"/>
                <a:gd name="connsiteX621" fmla="*/ 326517 w 1073848"/>
                <a:gd name="connsiteY621" fmla="*/ 761047 h 1057751"/>
                <a:gd name="connsiteX622" fmla="*/ 325088 w 1073848"/>
                <a:gd name="connsiteY622" fmla="*/ 762857 h 1057751"/>
                <a:gd name="connsiteX623" fmla="*/ 328517 w 1073848"/>
                <a:gd name="connsiteY623" fmla="*/ 764000 h 1057751"/>
                <a:gd name="connsiteX624" fmla="*/ 324517 w 1073848"/>
                <a:gd name="connsiteY624" fmla="*/ 770954 h 1057751"/>
                <a:gd name="connsiteX625" fmla="*/ 324993 w 1073848"/>
                <a:gd name="connsiteY625" fmla="*/ 774097 h 1057751"/>
                <a:gd name="connsiteX626" fmla="*/ 320992 w 1073848"/>
                <a:gd name="connsiteY626" fmla="*/ 781050 h 1057751"/>
                <a:gd name="connsiteX627" fmla="*/ 321850 w 1073848"/>
                <a:gd name="connsiteY627" fmla="*/ 787337 h 1057751"/>
                <a:gd name="connsiteX628" fmla="*/ 321850 w 1073848"/>
                <a:gd name="connsiteY628" fmla="*/ 787337 h 1057751"/>
                <a:gd name="connsiteX629" fmla="*/ 317849 w 1073848"/>
                <a:gd name="connsiteY629" fmla="*/ 794290 h 1057751"/>
                <a:gd name="connsiteX630" fmla="*/ 321088 w 1073848"/>
                <a:gd name="connsiteY630" fmla="*/ 793813 h 1057751"/>
                <a:gd name="connsiteX631" fmla="*/ 324421 w 1073848"/>
                <a:gd name="connsiteY631" fmla="*/ 795052 h 1057751"/>
                <a:gd name="connsiteX632" fmla="*/ 324993 w 1073848"/>
                <a:gd name="connsiteY632" fmla="*/ 799814 h 1057751"/>
                <a:gd name="connsiteX633" fmla="*/ 327565 w 1073848"/>
                <a:gd name="connsiteY633" fmla="*/ 807434 h 1057751"/>
                <a:gd name="connsiteX634" fmla="*/ 329565 w 1073848"/>
                <a:gd name="connsiteY634" fmla="*/ 810387 h 1057751"/>
                <a:gd name="connsiteX635" fmla="*/ 332708 w 1073848"/>
                <a:gd name="connsiteY635" fmla="*/ 810006 h 1057751"/>
                <a:gd name="connsiteX636" fmla="*/ 330517 w 1073848"/>
                <a:gd name="connsiteY636" fmla="*/ 805434 h 1057751"/>
                <a:gd name="connsiteX637" fmla="*/ 333946 w 1073848"/>
                <a:gd name="connsiteY637" fmla="*/ 806672 h 1057751"/>
                <a:gd name="connsiteX638" fmla="*/ 335470 w 1073848"/>
                <a:gd name="connsiteY638" fmla="*/ 806482 h 1057751"/>
                <a:gd name="connsiteX639" fmla="*/ 334518 w 1073848"/>
                <a:gd name="connsiteY639" fmla="*/ 811435 h 1057751"/>
                <a:gd name="connsiteX640" fmla="*/ 341471 w 1073848"/>
                <a:gd name="connsiteY640" fmla="*/ 815340 h 1057751"/>
                <a:gd name="connsiteX641" fmla="*/ 342614 w 1073848"/>
                <a:gd name="connsiteY641" fmla="*/ 812006 h 1057751"/>
                <a:gd name="connsiteX642" fmla="*/ 346329 w 1073848"/>
                <a:gd name="connsiteY642" fmla="*/ 816293 h 1057751"/>
                <a:gd name="connsiteX643" fmla="*/ 348710 w 1073848"/>
                <a:gd name="connsiteY643" fmla="*/ 822388 h 1057751"/>
                <a:gd name="connsiteX644" fmla="*/ 347758 w 1073848"/>
                <a:gd name="connsiteY644" fmla="*/ 827342 h 1057751"/>
                <a:gd name="connsiteX645" fmla="*/ 354711 w 1073848"/>
                <a:gd name="connsiteY645" fmla="*/ 831247 h 1057751"/>
                <a:gd name="connsiteX646" fmla="*/ 357854 w 1073848"/>
                <a:gd name="connsiteY646" fmla="*/ 830866 h 1057751"/>
                <a:gd name="connsiteX647" fmla="*/ 359378 w 1073848"/>
                <a:gd name="connsiteY647" fmla="*/ 830675 h 1057751"/>
                <a:gd name="connsiteX648" fmla="*/ 366331 w 1073848"/>
                <a:gd name="connsiteY648" fmla="*/ 834580 h 1057751"/>
                <a:gd name="connsiteX649" fmla="*/ 370046 w 1073848"/>
                <a:gd name="connsiteY649" fmla="*/ 838962 h 1057751"/>
                <a:gd name="connsiteX650" fmla="*/ 378619 w 1073848"/>
                <a:gd name="connsiteY650" fmla="*/ 842677 h 1057751"/>
                <a:gd name="connsiteX651" fmla="*/ 377857 w 1073848"/>
                <a:gd name="connsiteY651" fmla="*/ 849154 h 1057751"/>
                <a:gd name="connsiteX652" fmla="*/ 379571 w 1073848"/>
                <a:gd name="connsiteY652" fmla="*/ 850583 h 1057751"/>
                <a:gd name="connsiteX653" fmla="*/ 382143 w 1073848"/>
                <a:gd name="connsiteY653" fmla="*/ 845439 h 1057751"/>
                <a:gd name="connsiteX654" fmla="*/ 384334 w 1073848"/>
                <a:gd name="connsiteY654" fmla="*/ 837152 h 1057751"/>
                <a:gd name="connsiteX655" fmla="*/ 385858 w 1073848"/>
                <a:gd name="connsiteY655" fmla="*/ 836962 h 1057751"/>
                <a:gd name="connsiteX656" fmla="*/ 387286 w 1073848"/>
                <a:gd name="connsiteY656" fmla="*/ 835152 h 1057751"/>
                <a:gd name="connsiteX657" fmla="*/ 390239 w 1073848"/>
                <a:gd name="connsiteY657" fmla="*/ 833152 h 1057751"/>
                <a:gd name="connsiteX658" fmla="*/ 393382 w 1073848"/>
                <a:gd name="connsiteY658" fmla="*/ 832771 h 1057751"/>
                <a:gd name="connsiteX659" fmla="*/ 396907 w 1073848"/>
                <a:gd name="connsiteY659" fmla="*/ 835533 h 1057751"/>
                <a:gd name="connsiteX660" fmla="*/ 404622 w 1073848"/>
                <a:gd name="connsiteY660" fmla="*/ 845725 h 1057751"/>
                <a:gd name="connsiteX661" fmla="*/ 406241 w 1073848"/>
                <a:gd name="connsiteY661" fmla="*/ 845534 h 1057751"/>
                <a:gd name="connsiteX662" fmla="*/ 408241 w 1073848"/>
                <a:gd name="connsiteY662" fmla="*/ 848487 h 1057751"/>
                <a:gd name="connsiteX663" fmla="*/ 409575 w 1073848"/>
                <a:gd name="connsiteY663" fmla="*/ 846772 h 1057751"/>
                <a:gd name="connsiteX664" fmla="*/ 412909 w 1073848"/>
                <a:gd name="connsiteY664" fmla="*/ 847916 h 1057751"/>
                <a:gd name="connsiteX665" fmla="*/ 412528 w 1073848"/>
                <a:gd name="connsiteY665" fmla="*/ 844772 h 1057751"/>
                <a:gd name="connsiteX666" fmla="*/ 423958 w 1073848"/>
                <a:gd name="connsiteY666" fmla="*/ 846487 h 1057751"/>
                <a:gd name="connsiteX667" fmla="*/ 430530 w 1073848"/>
                <a:gd name="connsiteY667" fmla="*/ 847249 h 1057751"/>
                <a:gd name="connsiteX668" fmla="*/ 435388 w 1073848"/>
                <a:gd name="connsiteY668" fmla="*/ 848201 h 1057751"/>
                <a:gd name="connsiteX669" fmla="*/ 442150 w 1073848"/>
                <a:gd name="connsiteY669" fmla="*/ 837819 h 1057751"/>
                <a:gd name="connsiteX670" fmla="*/ 443484 w 1073848"/>
                <a:gd name="connsiteY670" fmla="*/ 836009 h 1057751"/>
                <a:gd name="connsiteX671" fmla="*/ 451580 w 1073848"/>
                <a:gd name="connsiteY671" fmla="*/ 836581 h 1057751"/>
                <a:gd name="connsiteX672" fmla="*/ 455295 w 1073848"/>
                <a:gd name="connsiteY672" fmla="*/ 840867 h 1057751"/>
                <a:gd name="connsiteX673" fmla="*/ 455581 w 1073848"/>
                <a:gd name="connsiteY673" fmla="*/ 842486 h 1057751"/>
                <a:gd name="connsiteX674" fmla="*/ 460438 w 1073848"/>
                <a:gd name="connsiteY674" fmla="*/ 843439 h 1057751"/>
                <a:gd name="connsiteX675" fmla="*/ 463201 w 1073848"/>
                <a:gd name="connsiteY675" fmla="*/ 839914 h 1057751"/>
                <a:gd name="connsiteX676" fmla="*/ 459486 w 1073848"/>
                <a:gd name="connsiteY676" fmla="*/ 835533 h 1057751"/>
                <a:gd name="connsiteX677" fmla="*/ 460438 w 1073848"/>
                <a:gd name="connsiteY677" fmla="*/ 830675 h 1057751"/>
                <a:gd name="connsiteX678" fmla="*/ 463772 w 1073848"/>
                <a:gd name="connsiteY678" fmla="*/ 831818 h 1057751"/>
                <a:gd name="connsiteX679" fmla="*/ 466725 w 1073848"/>
                <a:gd name="connsiteY679" fmla="*/ 829818 h 1057751"/>
                <a:gd name="connsiteX680" fmla="*/ 473869 w 1073848"/>
                <a:gd name="connsiteY680" fmla="*/ 835343 h 1057751"/>
                <a:gd name="connsiteX681" fmla="*/ 473107 w 1073848"/>
                <a:gd name="connsiteY681" fmla="*/ 841820 h 1057751"/>
                <a:gd name="connsiteX682" fmla="*/ 475488 w 1073848"/>
                <a:gd name="connsiteY682" fmla="*/ 835152 h 1057751"/>
                <a:gd name="connsiteX683" fmla="*/ 482155 w 1073848"/>
                <a:gd name="connsiteY683" fmla="*/ 837438 h 1057751"/>
                <a:gd name="connsiteX684" fmla="*/ 483394 w 1073848"/>
                <a:gd name="connsiteY684" fmla="*/ 846963 h 1057751"/>
                <a:gd name="connsiteX685" fmla="*/ 485775 w 1073848"/>
                <a:gd name="connsiteY685" fmla="*/ 853059 h 1057751"/>
                <a:gd name="connsiteX686" fmla="*/ 483965 w 1073848"/>
                <a:gd name="connsiteY686" fmla="*/ 851726 h 1057751"/>
                <a:gd name="connsiteX687" fmla="*/ 476059 w 1073848"/>
                <a:gd name="connsiteY687" fmla="*/ 852678 h 1057751"/>
                <a:gd name="connsiteX688" fmla="*/ 474726 w 1073848"/>
                <a:gd name="connsiteY688" fmla="*/ 854488 h 1057751"/>
                <a:gd name="connsiteX689" fmla="*/ 478250 w 1073848"/>
                <a:gd name="connsiteY689" fmla="*/ 857250 h 1057751"/>
                <a:gd name="connsiteX690" fmla="*/ 487585 w 1073848"/>
                <a:gd name="connsiteY690" fmla="*/ 867251 h 1057751"/>
                <a:gd name="connsiteX691" fmla="*/ 488918 w 1073848"/>
                <a:gd name="connsiteY691" fmla="*/ 865442 h 1057751"/>
                <a:gd name="connsiteX692" fmla="*/ 487204 w 1073848"/>
                <a:gd name="connsiteY692" fmla="*/ 864108 h 1057751"/>
                <a:gd name="connsiteX693" fmla="*/ 490156 w 1073848"/>
                <a:gd name="connsiteY693" fmla="*/ 862108 h 1057751"/>
                <a:gd name="connsiteX694" fmla="*/ 498443 w 1073848"/>
                <a:gd name="connsiteY694" fmla="*/ 864299 h 1057751"/>
                <a:gd name="connsiteX695" fmla="*/ 500348 w 1073848"/>
                <a:gd name="connsiteY695" fmla="*/ 867251 h 1057751"/>
                <a:gd name="connsiteX696" fmla="*/ 495681 w 1073848"/>
                <a:gd name="connsiteY696" fmla="*/ 867823 h 1057751"/>
                <a:gd name="connsiteX697" fmla="*/ 492919 w 1073848"/>
                <a:gd name="connsiteY697" fmla="*/ 871347 h 1057751"/>
                <a:gd name="connsiteX698" fmla="*/ 507778 w 1073848"/>
                <a:gd name="connsiteY698" fmla="*/ 887159 h 1057751"/>
                <a:gd name="connsiteX699" fmla="*/ 499872 w 1073848"/>
                <a:gd name="connsiteY699" fmla="*/ 888111 h 1057751"/>
                <a:gd name="connsiteX700" fmla="*/ 503777 w 1073848"/>
                <a:gd name="connsiteY700" fmla="*/ 894017 h 1057751"/>
                <a:gd name="connsiteX701" fmla="*/ 504444 w 1073848"/>
                <a:gd name="connsiteY701" fmla="*/ 898779 h 1057751"/>
                <a:gd name="connsiteX702" fmla="*/ 501682 w 1073848"/>
                <a:gd name="connsiteY702" fmla="*/ 902399 h 1057751"/>
                <a:gd name="connsiteX703" fmla="*/ 495395 w 1073848"/>
                <a:gd name="connsiteY703" fmla="*/ 903161 h 1057751"/>
                <a:gd name="connsiteX704" fmla="*/ 493586 w 1073848"/>
                <a:gd name="connsiteY704" fmla="*/ 901827 h 1057751"/>
                <a:gd name="connsiteX705" fmla="*/ 492157 w 1073848"/>
                <a:gd name="connsiteY705" fmla="*/ 903542 h 1057751"/>
                <a:gd name="connsiteX706" fmla="*/ 490442 w 1073848"/>
                <a:gd name="connsiteY706" fmla="*/ 902208 h 1057751"/>
                <a:gd name="connsiteX707" fmla="*/ 482536 w 1073848"/>
                <a:gd name="connsiteY707" fmla="*/ 903161 h 1057751"/>
                <a:gd name="connsiteX708" fmla="*/ 472249 w 1073848"/>
                <a:gd name="connsiteY708" fmla="*/ 898112 h 1057751"/>
                <a:gd name="connsiteX709" fmla="*/ 471297 w 1073848"/>
                <a:gd name="connsiteY709" fmla="*/ 902970 h 1057751"/>
                <a:gd name="connsiteX710" fmla="*/ 475202 w 1073848"/>
                <a:gd name="connsiteY710" fmla="*/ 908971 h 1057751"/>
                <a:gd name="connsiteX711" fmla="*/ 474631 w 1073848"/>
                <a:gd name="connsiteY711" fmla="*/ 916972 h 1057751"/>
                <a:gd name="connsiteX712" fmla="*/ 471106 w 1073848"/>
                <a:gd name="connsiteY712" fmla="*/ 914305 h 1057751"/>
                <a:gd name="connsiteX713" fmla="*/ 463391 w 1073848"/>
                <a:gd name="connsiteY713" fmla="*/ 916876 h 1057751"/>
                <a:gd name="connsiteX714" fmla="*/ 465201 w 1073848"/>
                <a:gd name="connsiteY714" fmla="*/ 918210 h 1057751"/>
                <a:gd name="connsiteX715" fmla="*/ 467011 w 1073848"/>
                <a:gd name="connsiteY715" fmla="*/ 919639 h 1057751"/>
                <a:gd name="connsiteX716" fmla="*/ 466153 w 1073848"/>
                <a:gd name="connsiteY716" fmla="*/ 926116 h 1057751"/>
                <a:gd name="connsiteX717" fmla="*/ 471297 w 1073848"/>
                <a:gd name="connsiteY717" fmla="*/ 928688 h 1057751"/>
                <a:gd name="connsiteX718" fmla="*/ 469201 w 1073848"/>
                <a:gd name="connsiteY718" fmla="*/ 936974 h 1057751"/>
                <a:gd name="connsiteX719" fmla="*/ 463105 w 1073848"/>
                <a:gd name="connsiteY719" fmla="*/ 939355 h 1057751"/>
                <a:gd name="connsiteX720" fmla="*/ 455200 w 1073848"/>
                <a:gd name="connsiteY720" fmla="*/ 940308 h 1057751"/>
                <a:gd name="connsiteX721" fmla="*/ 454057 w 1073848"/>
                <a:gd name="connsiteY721" fmla="*/ 943737 h 1057751"/>
                <a:gd name="connsiteX722" fmla="*/ 455962 w 1073848"/>
                <a:gd name="connsiteY722" fmla="*/ 946690 h 1057751"/>
                <a:gd name="connsiteX723" fmla="*/ 454628 w 1073848"/>
                <a:gd name="connsiteY723" fmla="*/ 948404 h 1057751"/>
                <a:gd name="connsiteX724" fmla="*/ 457962 w 1073848"/>
                <a:gd name="connsiteY724" fmla="*/ 949643 h 1057751"/>
                <a:gd name="connsiteX725" fmla="*/ 455390 w 1073848"/>
                <a:gd name="connsiteY725" fmla="*/ 954786 h 1057751"/>
                <a:gd name="connsiteX726" fmla="*/ 457200 w 1073848"/>
                <a:gd name="connsiteY726" fmla="*/ 956120 h 1057751"/>
                <a:gd name="connsiteX727" fmla="*/ 454247 w 1073848"/>
                <a:gd name="connsiteY727" fmla="*/ 958120 h 1057751"/>
                <a:gd name="connsiteX728" fmla="*/ 453104 w 1073848"/>
                <a:gd name="connsiteY728" fmla="*/ 961454 h 1057751"/>
                <a:gd name="connsiteX729" fmla="*/ 448151 w 1073848"/>
                <a:gd name="connsiteY729" fmla="*/ 960501 h 1057751"/>
                <a:gd name="connsiteX730" fmla="*/ 449104 w 1073848"/>
                <a:gd name="connsiteY730" fmla="*/ 968407 h 1057751"/>
                <a:gd name="connsiteX731" fmla="*/ 447389 w 1073848"/>
                <a:gd name="connsiteY731" fmla="*/ 966978 h 1057751"/>
                <a:gd name="connsiteX732" fmla="*/ 443960 w 1073848"/>
                <a:gd name="connsiteY732" fmla="*/ 965835 h 1057751"/>
                <a:gd name="connsiteX733" fmla="*/ 442436 w 1073848"/>
                <a:gd name="connsiteY733" fmla="*/ 966026 h 1057751"/>
                <a:gd name="connsiteX734" fmla="*/ 441484 w 1073848"/>
                <a:gd name="connsiteY734" fmla="*/ 970979 h 1057751"/>
                <a:gd name="connsiteX735" fmla="*/ 438912 w 1073848"/>
                <a:gd name="connsiteY735" fmla="*/ 976122 h 1057751"/>
                <a:gd name="connsiteX736" fmla="*/ 434149 w 1073848"/>
                <a:gd name="connsiteY736" fmla="*/ 976693 h 1057751"/>
                <a:gd name="connsiteX737" fmla="*/ 428053 w 1073848"/>
                <a:gd name="connsiteY737" fmla="*/ 979075 h 1057751"/>
                <a:gd name="connsiteX738" fmla="*/ 430435 w 1073848"/>
                <a:gd name="connsiteY738" fmla="*/ 985171 h 1057751"/>
                <a:gd name="connsiteX739" fmla="*/ 426053 w 1073848"/>
                <a:gd name="connsiteY739" fmla="*/ 988981 h 1057751"/>
                <a:gd name="connsiteX740" fmla="*/ 430435 w 1073848"/>
                <a:gd name="connsiteY740" fmla="*/ 998030 h 1057751"/>
                <a:gd name="connsiteX741" fmla="*/ 432054 w 1073848"/>
                <a:gd name="connsiteY741" fmla="*/ 997839 h 1057751"/>
                <a:gd name="connsiteX742" fmla="*/ 433197 w 1073848"/>
                <a:gd name="connsiteY742" fmla="*/ 994505 h 1057751"/>
                <a:gd name="connsiteX743" fmla="*/ 437959 w 1073848"/>
                <a:gd name="connsiteY743" fmla="*/ 993838 h 1057751"/>
                <a:gd name="connsiteX744" fmla="*/ 441865 w 1073848"/>
                <a:gd name="connsiteY744" fmla="*/ 986980 h 1057751"/>
                <a:gd name="connsiteX745" fmla="*/ 448627 w 1073848"/>
                <a:gd name="connsiteY745" fmla="*/ 989267 h 1057751"/>
                <a:gd name="connsiteX746" fmla="*/ 451961 w 1073848"/>
                <a:gd name="connsiteY746" fmla="*/ 990505 h 1057751"/>
                <a:gd name="connsiteX747" fmla="*/ 454342 w 1073848"/>
                <a:gd name="connsiteY747" fmla="*/ 996601 h 1057751"/>
                <a:gd name="connsiteX748" fmla="*/ 452914 w 1073848"/>
                <a:gd name="connsiteY748" fmla="*/ 998411 h 1057751"/>
                <a:gd name="connsiteX749" fmla="*/ 452152 w 1073848"/>
                <a:gd name="connsiteY749" fmla="*/ 1004888 h 1057751"/>
                <a:gd name="connsiteX750" fmla="*/ 451199 w 1073848"/>
                <a:gd name="connsiteY750" fmla="*/ 1009841 h 1057751"/>
                <a:gd name="connsiteX751" fmla="*/ 453199 w 1073848"/>
                <a:gd name="connsiteY751" fmla="*/ 1012793 h 1057751"/>
                <a:gd name="connsiteX752" fmla="*/ 456724 w 1073848"/>
                <a:gd name="connsiteY752" fmla="*/ 1015555 h 1057751"/>
                <a:gd name="connsiteX753" fmla="*/ 467963 w 1073848"/>
                <a:gd name="connsiteY753" fmla="*/ 1015651 h 1057751"/>
                <a:gd name="connsiteX754" fmla="*/ 471106 w 1073848"/>
                <a:gd name="connsiteY754" fmla="*/ 1015270 h 1057751"/>
                <a:gd name="connsiteX755" fmla="*/ 483013 w 1073848"/>
                <a:gd name="connsiteY755" fmla="*/ 1020223 h 1057751"/>
                <a:gd name="connsiteX756" fmla="*/ 493300 w 1073848"/>
                <a:gd name="connsiteY756" fmla="*/ 1025271 h 1057751"/>
                <a:gd name="connsiteX757" fmla="*/ 492061 w 1073848"/>
                <a:gd name="connsiteY757" fmla="*/ 1028700 h 1057751"/>
                <a:gd name="connsiteX758" fmla="*/ 492538 w 1073848"/>
                <a:gd name="connsiteY758" fmla="*/ 1031843 h 1057751"/>
                <a:gd name="connsiteX759" fmla="*/ 489585 w 1073848"/>
                <a:gd name="connsiteY759" fmla="*/ 1033748 h 1057751"/>
                <a:gd name="connsiteX760" fmla="*/ 488347 w 1073848"/>
                <a:gd name="connsiteY760" fmla="*/ 1037177 h 1057751"/>
                <a:gd name="connsiteX761" fmla="*/ 497300 w 1073848"/>
                <a:gd name="connsiteY761" fmla="*/ 1044035 h 1057751"/>
                <a:gd name="connsiteX762" fmla="*/ 503206 w 1073848"/>
                <a:gd name="connsiteY762" fmla="*/ 1040035 h 1057751"/>
                <a:gd name="connsiteX763" fmla="*/ 500063 w 1073848"/>
                <a:gd name="connsiteY763" fmla="*/ 1040511 h 1057751"/>
                <a:gd name="connsiteX764" fmla="*/ 499586 w 1073848"/>
                <a:gd name="connsiteY764" fmla="*/ 1037368 h 1057751"/>
                <a:gd name="connsiteX765" fmla="*/ 496443 w 1073848"/>
                <a:gd name="connsiteY765" fmla="*/ 1037749 h 1057751"/>
                <a:gd name="connsiteX766" fmla="*/ 493109 w 1073848"/>
                <a:gd name="connsiteY766" fmla="*/ 1036511 h 1057751"/>
                <a:gd name="connsiteX767" fmla="*/ 499396 w 1073848"/>
                <a:gd name="connsiteY767" fmla="*/ 1035749 h 1057751"/>
                <a:gd name="connsiteX768" fmla="*/ 511492 w 1073848"/>
                <a:gd name="connsiteY768" fmla="*/ 1042226 h 1057751"/>
                <a:gd name="connsiteX769" fmla="*/ 508921 w 1073848"/>
                <a:gd name="connsiteY769" fmla="*/ 1034510 h 1057751"/>
                <a:gd name="connsiteX770" fmla="*/ 515017 w 1073848"/>
                <a:gd name="connsiteY770" fmla="*/ 1032129 h 1057751"/>
                <a:gd name="connsiteX771" fmla="*/ 518541 w 1073848"/>
                <a:gd name="connsiteY771" fmla="*/ 1034891 h 1057751"/>
                <a:gd name="connsiteX772" fmla="*/ 520732 w 1073848"/>
                <a:gd name="connsiteY772" fmla="*/ 1039463 h 1057751"/>
                <a:gd name="connsiteX773" fmla="*/ 524065 w 1073848"/>
                <a:gd name="connsiteY773" fmla="*/ 1040606 h 1057751"/>
                <a:gd name="connsiteX774" fmla="*/ 521780 w 1073848"/>
                <a:gd name="connsiteY774" fmla="*/ 1047369 h 1057751"/>
                <a:gd name="connsiteX775" fmla="*/ 523684 w 1073848"/>
                <a:gd name="connsiteY775" fmla="*/ 1050322 h 1057751"/>
                <a:gd name="connsiteX776" fmla="*/ 528828 w 1073848"/>
                <a:gd name="connsiteY776" fmla="*/ 1052893 h 1057751"/>
                <a:gd name="connsiteX777" fmla="*/ 531971 w 1073848"/>
                <a:gd name="connsiteY777" fmla="*/ 1052417 h 1057751"/>
                <a:gd name="connsiteX778" fmla="*/ 534924 w 1073848"/>
                <a:gd name="connsiteY778" fmla="*/ 1050417 h 1057751"/>
                <a:gd name="connsiteX779" fmla="*/ 537305 w 1073848"/>
                <a:gd name="connsiteY779" fmla="*/ 1056608 h 1057751"/>
                <a:gd name="connsiteX780" fmla="*/ 540734 w 1073848"/>
                <a:gd name="connsiteY780" fmla="*/ 1057751 h 1057751"/>
                <a:gd name="connsiteX781" fmla="*/ 543211 w 1073848"/>
                <a:gd name="connsiteY781" fmla="*/ 1052608 h 1057751"/>
                <a:gd name="connsiteX782" fmla="*/ 544449 w 1073848"/>
                <a:gd name="connsiteY782" fmla="*/ 1049274 h 1057751"/>
                <a:gd name="connsiteX783" fmla="*/ 542449 w 1073848"/>
                <a:gd name="connsiteY783" fmla="*/ 1046321 h 1057751"/>
                <a:gd name="connsiteX784" fmla="*/ 548735 w 1073848"/>
                <a:gd name="connsiteY784" fmla="*/ 1045464 h 1057751"/>
                <a:gd name="connsiteX785" fmla="*/ 548164 w 1073848"/>
                <a:gd name="connsiteY785" fmla="*/ 1040797 h 1057751"/>
                <a:gd name="connsiteX786" fmla="*/ 552736 w 1073848"/>
                <a:gd name="connsiteY786" fmla="*/ 1038606 h 1057751"/>
                <a:gd name="connsiteX787" fmla="*/ 554069 w 1073848"/>
                <a:gd name="connsiteY787" fmla="*/ 1036796 h 1057751"/>
                <a:gd name="connsiteX788" fmla="*/ 549688 w 1073848"/>
                <a:gd name="connsiteY788" fmla="*/ 1027747 h 1057751"/>
                <a:gd name="connsiteX789" fmla="*/ 554260 w 1073848"/>
                <a:gd name="connsiteY789" fmla="*/ 1025557 h 1057751"/>
                <a:gd name="connsiteX790" fmla="*/ 557403 w 1073848"/>
                <a:gd name="connsiteY790" fmla="*/ 1025176 h 1057751"/>
                <a:gd name="connsiteX791" fmla="*/ 559403 w 1073848"/>
                <a:gd name="connsiteY791" fmla="*/ 1028129 h 1057751"/>
                <a:gd name="connsiteX792" fmla="*/ 564071 w 1073848"/>
                <a:gd name="connsiteY792" fmla="*/ 1027462 h 1057751"/>
                <a:gd name="connsiteX793" fmla="*/ 564547 w 1073848"/>
                <a:gd name="connsiteY793" fmla="*/ 1030700 h 1057751"/>
                <a:gd name="connsiteX794" fmla="*/ 567499 w 1073848"/>
                <a:gd name="connsiteY794" fmla="*/ 1028700 h 1057751"/>
                <a:gd name="connsiteX795" fmla="*/ 573214 w 1073848"/>
                <a:gd name="connsiteY795" fmla="*/ 1023176 h 1057751"/>
                <a:gd name="connsiteX796" fmla="*/ 582644 w 1073848"/>
                <a:gd name="connsiteY796" fmla="*/ 1021937 h 1057751"/>
                <a:gd name="connsiteX797" fmla="*/ 583025 w 1073848"/>
                <a:gd name="connsiteY797" fmla="*/ 1025080 h 1057751"/>
                <a:gd name="connsiteX798" fmla="*/ 590169 w 1073848"/>
                <a:gd name="connsiteY798" fmla="*/ 1030605 h 1057751"/>
                <a:gd name="connsiteX799" fmla="*/ 592550 w 1073848"/>
                <a:gd name="connsiteY799" fmla="*/ 1036701 h 1057751"/>
                <a:gd name="connsiteX800" fmla="*/ 597884 w 1073848"/>
                <a:gd name="connsiteY800" fmla="*/ 1040892 h 1057751"/>
                <a:gd name="connsiteX801" fmla="*/ 600075 w 1073848"/>
                <a:gd name="connsiteY801" fmla="*/ 1045369 h 1057751"/>
                <a:gd name="connsiteX802" fmla="*/ 602837 w 1073848"/>
                <a:gd name="connsiteY802" fmla="*/ 1041845 h 1057751"/>
                <a:gd name="connsiteX803" fmla="*/ 605980 w 1073848"/>
                <a:gd name="connsiteY803" fmla="*/ 1041463 h 1057751"/>
                <a:gd name="connsiteX804" fmla="*/ 605409 w 1073848"/>
                <a:gd name="connsiteY804" fmla="*/ 1036701 h 1057751"/>
                <a:gd name="connsiteX805" fmla="*/ 607886 w 1073848"/>
                <a:gd name="connsiteY805" fmla="*/ 1031558 h 1057751"/>
                <a:gd name="connsiteX806" fmla="*/ 606171 w 1073848"/>
                <a:gd name="connsiteY806" fmla="*/ 1030129 h 1057751"/>
                <a:gd name="connsiteX807" fmla="*/ 605980 w 1073848"/>
                <a:gd name="connsiteY807" fmla="*/ 1028605 h 1057751"/>
                <a:gd name="connsiteX808" fmla="*/ 604171 w 1073848"/>
                <a:gd name="connsiteY808" fmla="*/ 1027176 h 1057751"/>
                <a:gd name="connsiteX809" fmla="*/ 607505 w 1073848"/>
                <a:gd name="connsiteY809" fmla="*/ 1028414 h 1057751"/>
                <a:gd name="connsiteX810" fmla="*/ 611219 w 1073848"/>
                <a:gd name="connsiteY810" fmla="*/ 1019937 h 1057751"/>
                <a:gd name="connsiteX811" fmla="*/ 616553 w 1073848"/>
                <a:gd name="connsiteY811" fmla="*/ 1024033 h 1057751"/>
                <a:gd name="connsiteX812" fmla="*/ 619315 w 1073848"/>
                <a:gd name="connsiteY812" fmla="*/ 1020509 h 1057751"/>
                <a:gd name="connsiteX813" fmla="*/ 619125 w 1073848"/>
                <a:gd name="connsiteY813" fmla="*/ 1018889 h 1057751"/>
                <a:gd name="connsiteX814" fmla="*/ 619506 w 1073848"/>
                <a:gd name="connsiteY814" fmla="*/ 1009174 h 1057751"/>
                <a:gd name="connsiteX815" fmla="*/ 619315 w 1073848"/>
                <a:gd name="connsiteY815" fmla="*/ 1007650 h 1057751"/>
                <a:gd name="connsiteX816" fmla="*/ 622649 w 1073848"/>
                <a:gd name="connsiteY816" fmla="*/ 1008793 h 1057751"/>
                <a:gd name="connsiteX817" fmla="*/ 635508 w 1073848"/>
                <a:gd name="connsiteY817" fmla="*/ 1008793 h 1057751"/>
                <a:gd name="connsiteX818" fmla="*/ 643033 w 1073848"/>
                <a:gd name="connsiteY818" fmla="*/ 1004602 h 1057751"/>
                <a:gd name="connsiteX819" fmla="*/ 645128 w 1073848"/>
                <a:gd name="connsiteY819" fmla="*/ 996315 h 1057751"/>
                <a:gd name="connsiteX820" fmla="*/ 645128 w 1073848"/>
                <a:gd name="connsiteY820" fmla="*/ 996315 h 1057751"/>
                <a:gd name="connsiteX821" fmla="*/ 649891 w 1073848"/>
                <a:gd name="connsiteY821" fmla="*/ 995743 h 1057751"/>
                <a:gd name="connsiteX822" fmla="*/ 651034 w 1073848"/>
                <a:gd name="connsiteY822" fmla="*/ 992410 h 1057751"/>
                <a:gd name="connsiteX823" fmla="*/ 652653 w 1073848"/>
                <a:gd name="connsiteY823" fmla="*/ 992124 h 1057751"/>
                <a:gd name="connsiteX824" fmla="*/ 652463 w 1073848"/>
                <a:gd name="connsiteY824" fmla="*/ 990600 h 1057751"/>
                <a:gd name="connsiteX825" fmla="*/ 645890 w 1073848"/>
                <a:gd name="connsiteY825" fmla="*/ 989838 h 1057751"/>
                <a:gd name="connsiteX826" fmla="*/ 650081 w 1073848"/>
                <a:gd name="connsiteY826" fmla="*/ 984504 h 1057751"/>
                <a:gd name="connsiteX827" fmla="*/ 651605 w 1073848"/>
                <a:gd name="connsiteY827" fmla="*/ 984313 h 1057751"/>
                <a:gd name="connsiteX828" fmla="*/ 658939 w 1073848"/>
                <a:gd name="connsiteY828" fmla="*/ 978503 h 1057751"/>
                <a:gd name="connsiteX829" fmla="*/ 661511 w 1073848"/>
                <a:gd name="connsiteY829" fmla="*/ 973360 h 1057751"/>
                <a:gd name="connsiteX830" fmla="*/ 668369 w 1073848"/>
                <a:gd name="connsiteY830" fmla="*/ 977360 h 1057751"/>
                <a:gd name="connsiteX831" fmla="*/ 673894 w 1073848"/>
                <a:gd name="connsiteY831" fmla="*/ 970217 h 1057751"/>
                <a:gd name="connsiteX832" fmla="*/ 680847 w 1073848"/>
                <a:gd name="connsiteY832" fmla="*/ 974122 h 1057751"/>
                <a:gd name="connsiteX833" fmla="*/ 683323 w 1073848"/>
                <a:gd name="connsiteY833" fmla="*/ 968978 h 1057751"/>
                <a:gd name="connsiteX834" fmla="*/ 691896 w 1073848"/>
                <a:gd name="connsiteY834" fmla="*/ 972788 h 1057751"/>
                <a:gd name="connsiteX835" fmla="*/ 695039 w 1073848"/>
                <a:gd name="connsiteY835" fmla="*/ 972312 h 1057751"/>
                <a:gd name="connsiteX836" fmla="*/ 695801 w 1073848"/>
                <a:gd name="connsiteY836" fmla="*/ 978694 h 1057751"/>
                <a:gd name="connsiteX837" fmla="*/ 701897 w 1073848"/>
                <a:gd name="connsiteY837" fmla="*/ 976313 h 1057751"/>
                <a:gd name="connsiteX838" fmla="*/ 698373 w 1073848"/>
                <a:gd name="connsiteY838" fmla="*/ 973550 h 1057751"/>
                <a:gd name="connsiteX839" fmla="*/ 701135 w 1073848"/>
                <a:gd name="connsiteY839" fmla="*/ 969931 h 1057751"/>
                <a:gd name="connsiteX840" fmla="*/ 704279 w 1073848"/>
                <a:gd name="connsiteY840" fmla="*/ 969550 h 1057751"/>
                <a:gd name="connsiteX841" fmla="*/ 705898 w 1073848"/>
                <a:gd name="connsiteY841" fmla="*/ 969359 h 1057751"/>
                <a:gd name="connsiteX842" fmla="*/ 703707 w 1073848"/>
                <a:gd name="connsiteY842" fmla="*/ 964787 h 1057751"/>
                <a:gd name="connsiteX843" fmla="*/ 705231 w 1073848"/>
                <a:gd name="connsiteY843" fmla="*/ 964597 h 1057751"/>
                <a:gd name="connsiteX844" fmla="*/ 706660 w 1073848"/>
                <a:gd name="connsiteY844" fmla="*/ 962787 h 1057751"/>
                <a:gd name="connsiteX845" fmla="*/ 703231 w 1073848"/>
                <a:gd name="connsiteY845" fmla="*/ 961644 h 1057751"/>
                <a:gd name="connsiteX846" fmla="*/ 707231 w 1073848"/>
                <a:gd name="connsiteY846" fmla="*/ 954786 h 1057751"/>
                <a:gd name="connsiteX847" fmla="*/ 706564 w 1073848"/>
                <a:gd name="connsiteY847" fmla="*/ 950024 h 1057751"/>
                <a:gd name="connsiteX848" fmla="*/ 709327 w 1073848"/>
                <a:gd name="connsiteY848" fmla="*/ 946404 h 1057751"/>
                <a:gd name="connsiteX849" fmla="*/ 706946 w 1073848"/>
                <a:gd name="connsiteY849" fmla="*/ 940308 h 1057751"/>
                <a:gd name="connsiteX850" fmla="*/ 710374 w 1073848"/>
                <a:gd name="connsiteY850" fmla="*/ 941546 h 1057751"/>
                <a:gd name="connsiteX851" fmla="*/ 715042 w 1073848"/>
                <a:gd name="connsiteY851" fmla="*/ 940880 h 1057751"/>
                <a:gd name="connsiteX852" fmla="*/ 725519 w 1073848"/>
                <a:gd name="connsiteY852" fmla="*/ 947642 h 1057751"/>
                <a:gd name="connsiteX853" fmla="*/ 725710 w 1073848"/>
                <a:gd name="connsiteY853" fmla="*/ 949166 h 1057751"/>
                <a:gd name="connsiteX854" fmla="*/ 721042 w 1073848"/>
                <a:gd name="connsiteY854" fmla="*/ 949738 h 1057751"/>
                <a:gd name="connsiteX855" fmla="*/ 719614 w 1073848"/>
                <a:gd name="connsiteY855" fmla="*/ 951547 h 1057751"/>
                <a:gd name="connsiteX856" fmla="*/ 724567 w 1073848"/>
                <a:gd name="connsiteY856" fmla="*/ 952500 h 1057751"/>
                <a:gd name="connsiteX857" fmla="*/ 727520 w 1073848"/>
                <a:gd name="connsiteY857" fmla="*/ 950595 h 1057751"/>
                <a:gd name="connsiteX858" fmla="*/ 729520 w 1073848"/>
                <a:gd name="connsiteY858" fmla="*/ 953548 h 1057751"/>
                <a:gd name="connsiteX859" fmla="*/ 734949 w 1073848"/>
                <a:gd name="connsiteY859" fmla="*/ 946404 h 1057751"/>
                <a:gd name="connsiteX860" fmla="*/ 743903 w 1073848"/>
                <a:gd name="connsiteY860" fmla="*/ 940403 h 1057751"/>
                <a:gd name="connsiteX861" fmla="*/ 740473 w 1073848"/>
                <a:gd name="connsiteY861" fmla="*/ 939260 h 1057751"/>
                <a:gd name="connsiteX862" fmla="*/ 740473 w 1073848"/>
                <a:gd name="connsiteY862" fmla="*/ 926497 h 1057751"/>
                <a:gd name="connsiteX863" fmla="*/ 750951 w 1073848"/>
                <a:gd name="connsiteY863" fmla="*/ 933164 h 1057751"/>
                <a:gd name="connsiteX864" fmla="*/ 754856 w 1073848"/>
                <a:gd name="connsiteY864" fmla="*/ 926211 h 1057751"/>
                <a:gd name="connsiteX865" fmla="*/ 762190 w 1073848"/>
                <a:gd name="connsiteY865" fmla="*/ 920496 h 1057751"/>
                <a:gd name="connsiteX866" fmla="*/ 764191 w 1073848"/>
                <a:gd name="connsiteY866" fmla="*/ 923449 h 1057751"/>
                <a:gd name="connsiteX867" fmla="*/ 764572 w 1073848"/>
                <a:gd name="connsiteY867" fmla="*/ 926592 h 1057751"/>
                <a:gd name="connsiteX868" fmla="*/ 766763 w 1073848"/>
                <a:gd name="connsiteY868" fmla="*/ 931164 h 1057751"/>
                <a:gd name="connsiteX869" fmla="*/ 770096 w 1073848"/>
                <a:gd name="connsiteY869" fmla="*/ 932307 h 1057751"/>
                <a:gd name="connsiteX870" fmla="*/ 768953 w 1073848"/>
                <a:gd name="connsiteY870" fmla="*/ 935641 h 1057751"/>
                <a:gd name="connsiteX871" fmla="*/ 767524 w 1073848"/>
                <a:gd name="connsiteY871" fmla="*/ 937451 h 1057751"/>
                <a:gd name="connsiteX872" fmla="*/ 769525 w 1073848"/>
                <a:gd name="connsiteY872" fmla="*/ 940403 h 1057751"/>
                <a:gd name="connsiteX873" fmla="*/ 767715 w 1073848"/>
                <a:gd name="connsiteY873" fmla="*/ 938975 h 1057751"/>
                <a:gd name="connsiteX874" fmla="*/ 768096 w 1073848"/>
                <a:gd name="connsiteY874" fmla="*/ 942213 h 1057751"/>
                <a:gd name="connsiteX875" fmla="*/ 771334 w 1073848"/>
                <a:gd name="connsiteY875" fmla="*/ 941737 h 1057751"/>
                <a:gd name="connsiteX876" fmla="*/ 773239 w 1073848"/>
                <a:gd name="connsiteY876" fmla="*/ 944689 h 1057751"/>
                <a:gd name="connsiteX877" fmla="*/ 774668 w 1073848"/>
                <a:gd name="connsiteY877" fmla="*/ 942975 h 1057751"/>
                <a:gd name="connsiteX878" fmla="*/ 774287 w 1073848"/>
                <a:gd name="connsiteY878" fmla="*/ 939832 h 1057751"/>
                <a:gd name="connsiteX879" fmla="*/ 774478 w 1073848"/>
                <a:gd name="connsiteY879" fmla="*/ 941356 h 1057751"/>
                <a:gd name="connsiteX880" fmla="*/ 778002 w 1073848"/>
                <a:gd name="connsiteY880" fmla="*/ 944118 h 1057751"/>
                <a:gd name="connsiteX881" fmla="*/ 774859 w 1073848"/>
                <a:gd name="connsiteY881" fmla="*/ 944499 h 1057751"/>
                <a:gd name="connsiteX882" fmla="*/ 776859 w 1073848"/>
                <a:gd name="connsiteY882" fmla="*/ 947452 h 1057751"/>
                <a:gd name="connsiteX883" fmla="*/ 784003 w 1073848"/>
                <a:gd name="connsiteY883" fmla="*/ 952976 h 1057751"/>
                <a:gd name="connsiteX884" fmla="*/ 790480 w 1073848"/>
                <a:gd name="connsiteY884" fmla="*/ 953738 h 1057751"/>
                <a:gd name="connsiteX885" fmla="*/ 798576 w 1073848"/>
                <a:gd name="connsiteY885" fmla="*/ 954310 h 1057751"/>
                <a:gd name="connsiteX886" fmla="*/ 801529 w 1073848"/>
                <a:gd name="connsiteY886" fmla="*/ 952309 h 1057751"/>
                <a:gd name="connsiteX887" fmla="*/ 804672 w 1073848"/>
                <a:gd name="connsiteY887" fmla="*/ 951929 h 1057751"/>
                <a:gd name="connsiteX888" fmla="*/ 808577 w 1073848"/>
                <a:gd name="connsiteY888" fmla="*/ 945071 h 1057751"/>
                <a:gd name="connsiteX889" fmla="*/ 813340 w 1073848"/>
                <a:gd name="connsiteY889" fmla="*/ 944404 h 1057751"/>
                <a:gd name="connsiteX890" fmla="*/ 814102 w 1073848"/>
                <a:gd name="connsiteY890" fmla="*/ 937927 h 1057751"/>
                <a:gd name="connsiteX891" fmla="*/ 812101 w 1073848"/>
                <a:gd name="connsiteY891" fmla="*/ 934974 h 1057751"/>
                <a:gd name="connsiteX892" fmla="*/ 811721 w 1073848"/>
                <a:gd name="connsiteY892" fmla="*/ 931831 h 1057751"/>
                <a:gd name="connsiteX893" fmla="*/ 814864 w 1073848"/>
                <a:gd name="connsiteY893" fmla="*/ 931355 h 1057751"/>
                <a:gd name="connsiteX894" fmla="*/ 816673 w 1073848"/>
                <a:gd name="connsiteY894" fmla="*/ 932783 h 1057751"/>
                <a:gd name="connsiteX895" fmla="*/ 817245 w 1073848"/>
                <a:gd name="connsiteY895" fmla="*/ 937546 h 1057751"/>
                <a:gd name="connsiteX896" fmla="*/ 822007 w 1073848"/>
                <a:gd name="connsiteY896" fmla="*/ 936879 h 1057751"/>
                <a:gd name="connsiteX897" fmla="*/ 822198 w 1073848"/>
                <a:gd name="connsiteY897" fmla="*/ 938498 h 1057751"/>
                <a:gd name="connsiteX898" fmla="*/ 826961 w 1073848"/>
                <a:gd name="connsiteY898" fmla="*/ 937927 h 1057751"/>
                <a:gd name="connsiteX899" fmla="*/ 828484 w 1073848"/>
                <a:gd name="connsiteY899" fmla="*/ 937641 h 1057751"/>
                <a:gd name="connsiteX900" fmla="*/ 835628 w 1073848"/>
                <a:gd name="connsiteY900" fmla="*/ 943166 h 1057751"/>
                <a:gd name="connsiteX901" fmla="*/ 838962 w 1073848"/>
                <a:gd name="connsiteY901" fmla="*/ 944404 h 1057751"/>
                <a:gd name="connsiteX902" fmla="*/ 840200 w 1073848"/>
                <a:gd name="connsiteY902" fmla="*/ 940975 h 1057751"/>
                <a:gd name="connsiteX903" fmla="*/ 845058 w 1073848"/>
                <a:gd name="connsiteY903" fmla="*/ 942022 h 1057751"/>
                <a:gd name="connsiteX904" fmla="*/ 849058 w 1073848"/>
                <a:gd name="connsiteY904" fmla="*/ 947928 h 1057751"/>
                <a:gd name="connsiteX905" fmla="*/ 852583 w 1073848"/>
                <a:gd name="connsiteY905" fmla="*/ 950690 h 1057751"/>
                <a:gd name="connsiteX906" fmla="*/ 852392 w 1073848"/>
                <a:gd name="connsiteY906" fmla="*/ 949071 h 1057751"/>
                <a:gd name="connsiteX907" fmla="*/ 850011 w 1073848"/>
                <a:gd name="connsiteY907" fmla="*/ 942975 h 1057751"/>
                <a:gd name="connsiteX908" fmla="*/ 851440 w 1073848"/>
                <a:gd name="connsiteY908" fmla="*/ 941165 h 1057751"/>
                <a:gd name="connsiteX909" fmla="*/ 856107 w 1073848"/>
                <a:gd name="connsiteY909" fmla="*/ 940594 h 1057751"/>
                <a:gd name="connsiteX910" fmla="*/ 861250 w 1073848"/>
                <a:gd name="connsiteY910" fmla="*/ 943166 h 1057751"/>
                <a:gd name="connsiteX911" fmla="*/ 862489 w 1073848"/>
                <a:gd name="connsiteY911" fmla="*/ 939737 h 1057751"/>
                <a:gd name="connsiteX912" fmla="*/ 863822 w 1073848"/>
                <a:gd name="connsiteY912" fmla="*/ 938022 h 1057751"/>
                <a:gd name="connsiteX913" fmla="*/ 874109 w 1073848"/>
                <a:gd name="connsiteY913" fmla="*/ 943070 h 1057751"/>
                <a:gd name="connsiteX914" fmla="*/ 875443 w 1073848"/>
                <a:gd name="connsiteY914" fmla="*/ 941356 h 1057751"/>
                <a:gd name="connsiteX915" fmla="*/ 878396 w 1073848"/>
                <a:gd name="connsiteY915" fmla="*/ 939355 h 1057751"/>
                <a:gd name="connsiteX916" fmla="*/ 875062 w 1073848"/>
                <a:gd name="connsiteY916" fmla="*/ 938117 h 1057751"/>
                <a:gd name="connsiteX917" fmla="*/ 878014 w 1073848"/>
                <a:gd name="connsiteY917" fmla="*/ 936212 h 1057751"/>
                <a:gd name="connsiteX918" fmla="*/ 878967 w 1073848"/>
                <a:gd name="connsiteY918" fmla="*/ 931259 h 1057751"/>
                <a:gd name="connsiteX919" fmla="*/ 882205 w 1073848"/>
                <a:gd name="connsiteY919" fmla="*/ 930878 h 1057751"/>
                <a:gd name="connsiteX920" fmla="*/ 884396 w 1073848"/>
                <a:gd name="connsiteY920" fmla="*/ 935355 h 1057751"/>
                <a:gd name="connsiteX921" fmla="*/ 893445 w 1073848"/>
                <a:gd name="connsiteY921" fmla="*/ 930974 h 1057751"/>
                <a:gd name="connsiteX922" fmla="*/ 893064 w 1073848"/>
                <a:gd name="connsiteY922" fmla="*/ 927830 h 1057751"/>
                <a:gd name="connsiteX923" fmla="*/ 889635 w 1073848"/>
                <a:gd name="connsiteY923" fmla="*/ 926687 h 1057751"/>
                <a:gd name="connsiteX924" fmla="*/ 889063 w 1073848"/>
                <a:gd name="connsiteY924" fmla="*/ 921925 h 1057751"/>
                <a:gd name="connsiteX925" fmla="*/ 880586 w 1073848"/>
                <a:gd name="connsiteY925" fmla="*/ 918210 h 1057751"/>
                <a:gd name="connsiteX926" fmla="*/ 886015 w 1073848"/>
                <a:gd name="connsiteY926" fmla="*/ 911066 h 1057751"/>
                <a:gd name="connsiteX927" fmla="*/ 884301 w 1073848"/>
                <a:gd name="connsiteY927" fmla="*/ 909733 h 1057751"/>
                <a:gd name="connsiteX928" fmla="*/ 886015 w 1073848"/>
                <a:gd name="connsiteY928" fmla="*/ 911066 h 1057751"/>
                <a:gd name="connsiteX929" fmla="*/ 896493 w 1073848"/>
                <a:gd name="connsiteY929" fmla="*/ 904970 h 1057751"/>
                <a:gd name="connsiteX930" fmla="*/ 901255 w 1073848"/>
                <a:gd name="connsiteY930" fmla="*/ 904399 h 1057751"/>
                <a:gd name="connsiteX931" fmla="*/ 904018 w 1073848"/>
                <a:gd name="connsiteY931" fmla="*/ 900779 h 1057751"/>
                <a:gd name="connsiteX932" fmla="*/ 908780 w 1073848"/>
                <a:gd name="connsiteY932" fmla="*/ 900208 h 1057751"/>
                <a:gd name="connsiteX933" fmla="*/ 915638 w 1073848"/>
                <a:gd name="connsiteY933" fmla="*/ 904113 h 1057751"/>
                <a:gd name="connsiteX934" fmla="*/ 918400 w 1073848"/>
                <a:gd name="connsiteY934" fmla="*/ 900589 h 1057751"/>
                <a:gd name="connsiteX935" fmla="*/ 923544 w 1073848"/>
                <a:gd name="connsiteY935" fmla="*/ 903161 h 1057751"/>
                <a:gd name="connsiteX936" fmla="*/ 931069 w 1073848"/>
                <a:gd name="connsiteY936" fmla="*/ 898970 h 1057751"/>
                <a:gd name="connsiteX937" fmla="*/ 937927 w 1073848"/>
                <a:gd name="connsiteY937" fmla="*/ 902875 h 1057751"/>
                <a:gd name="connsiteX938" fmla="*/ 942118 w 1073848"/>
                <a:gd name="connsiteY938" fmla="*/ 897541 h 1057751"/>
                <a:gd name="connsiteX939" fmla="*/ 941641 w 1073848"/>
                <a:gd name="connsiteY939" fmla="*/ 894397 h 1057751"/>
                <a:gd name="connsiteX940" fmla="*/ 945832 w 1073848"/>
                <a:gd name="connsiteY940" fmla="*/ 889063 h 1057751"/>
                <a:gd name="connsiteX941" fmla="*/ 950500 w 1073848"/>
                <a:gd name="connsiteY941" fmla="*/ 888492 h 1057751"/>
                <a:gd name="connsiteX942" fmla="*/ 950119 w 1073848"/>
                <a:gd name="connsiteY942" fmla="*/ 885349 h 1057751"/>
                <a:gd name="connsiteX943" fmla="*/ 944213 w 1073848"/>
                <a:gd name="connsiteY943" fmla="*/ 876395 h 1057751"/>
                <a:gd name="connsiteX944" fmla="*/ 945166 w 1073848"/>
                <a:gd name="connsiteY944" fmla="*/ 871538 h 1057751"/>
                <a:gd name="connsiteX945" fmla="*/ 949928 w 1073848"/>
                <a:gd name="connsiteY945" fmla="*/ 870871 h 1057751"/>
                <a:gd name="connsiteX946" fmla="*/ 956405 w 1073848"/>
                <a:gd name="connsiteY946" fmla="*/ 871633 h 1057751"/>
                <a:gd name="connsiteX947" fmla="*/ 960977 w 1073848"/>
                <a:gd name="connsiteY947" fmla="*/ 869442 h 1057751"/>
                <a:gd name="connsiteX948" fmla="*/ 964121 w 1073848"/>
                <a:gd name="connsiteY948" fmla="*/ 869061 h 1057751"/>
                <a:gd name="connsiteX949" fmla="*/ 965263 w 1073848"/>
                <a:gd name="connsiteY949" fmla="*/ 865727 h 1057751"/>
                <a:gd name="connsiteX950" fmla="*/ 969836 w 1073848"/>
                <a:gd name="connsiteY950" fmla="*/ 863537 h 1057751"/>
                <a:gd name="connsiteX951" fmla="*/ 970979 w 1073848"/>
                <a:gd name="connsiteY951" fmla="*/ 860203 h 1057751"/>
                <a:gd name="connsiteX952" fmla="*/ 973741 w 1073848"/>
                <a:gd name="connsiteY952" fmla="*/ 856679 h 1057751"/>
                <a:gd name="connsiteX953" fmla="*/ 976313 w 1073848"/>
                <a:gd name="connsiteY953" fmla="*/ 851535 h 1057751"/>
                <a:gd name="connsiteX954" fmla="*/ 978122 w 1073848"/>
                <a:gd name="connsiteY954" fmla="*/ 852868 h 1057751"/>
                <a:gd name="connsiteX955" fmla="*/ 977837 w 1073848"/>
                <a:gd name="connsiteY955" fmla="*/ 851249 h 1057751"/>
                <a:gd name="connsiteX956" fmla="*/ 980599 w 1073848"/>
                <a:gd name="connsiteY956" fmla="*/ 834962 h 1057751"/>
                <a:gd name="connsiteX957" fmla="*/ 977455 w 1073848"/>
                <a:gd name="connsiteY957" fmla="*/ 835343 h 1057751"/>
                <a:gd name="connsiteX958" fmla="*/ 976884 w 1073848"/>
                <a:gd name="connsiteY958" fmla="*/ 830580 h 1057751"/>
                <a:gd name="connsiteX959" fmla="*/ 968788 w 1073848"/>
                <a:gd name="connsiteY959" fmla="*/ 830009 h 1057751"/>
                <a:gd name="connsiteX960" fmla="*/ 972503 w 1073848"/>
                <a:gd name="connsiteY960" fmla="*/ 821531 h 1057751"/>
                <a:gd name="connsiteX961" fmla="*/ 971836 w 1073848"/>
                <a:gd name="connsiteY961" fmla="*/ 816769 h 1057751"/>
                <a:gd name="connsiteX962" fmla="*/ 968502 w 1073848"/>
                <a:gd name="connsiteY962" fmla="*/ 815626 h 1057751"/>
                <a:gd name="connsiteX963" fmla="*/ 969073 w 1073848"/>
                <a:gd name="connsiteY963" fmla="*/ 820388 h 1057751"/>
                <a:gd name="connsiteX964" fmla="*/ 961834 w 1073848"/>
                <a:gd name="connsiteY964" fmla="*/ 826103 h 1057751"/>
                <a:gd name="connsiteX965" fmla="*/ 956881 w 1073848"/>
                <a:gd name="connsiteY965" fmla="*/ 825151 h 1057751"/>
                <a:gd name="connsiteX966" fmla="*/ 955738 w 1073848"/>
                <a:gd name="connsiteY966" fmla="*/ 828484 h 1057751"/>
                <a:gd name="connsiteX967" fmla="*/ 954119 w 1073848"/>
                <a:gd name="connsiteY967" fmla="*/ 828675 h 1057751"/>
                <a:gd name="connsiteX968" fmla="*/ 956691 w 1073848"/>
                <a:gd name="connsiteY968" fmla="*/ 823532 h 1057751"/>
                <a:gd name="connsiteX969" fmla="*/ 957643 w 1073848"/>
                <a:gd name="connsiteY969" fmla="*/ 818579 h 1057751"/>
                <a:gd name="connsiteX970" fmla="*/ 959453 w 1073848"/>
                <a:gd name="connsiteY970" fmla="*/ 820007 h 1057751"/>
                <a:gd name="connsiteX971" fmla="*/ 962215 w 1073848"/>
                <a:gd name="connsiteY971" fmla="*/ 816388 h 1057751"/>
                <a:gd name="connsiteX972" fmla="*/ 956691 w 1073848"/>
                <a:gd name="connsiteY972" fmla="*/ 810673 h 1057751"/>
                <a:gd name="connsiteX973" fmla="*/ 956024 w 1073848"/>
                <a:gd name="connsiteY973" fmla="*/ 806005 h 1057751"/>
                <a:gd name="connsiteX974" fmla="*/ 953929 w 1073848"/>
                <a:gd name="connsiteY974" fmla="*/ 801434 h 1057751"/>
                <a:gd name="connsiteX975" fmla="*/ 949357 w 1073848"/>
                <a:gd name="connsiteY975" fmla="*/ 803624 h 1057751"/>
                <a:gd name="connsiteX976" fmla="*/ 951929 w 1073848"/>
                <a:gd name="connsiteY976" fmla="*/ 798481 h 1057751"/>
                <a:gd name="connsiteX977" fmla="*/ 946975 w 1073848"/>
                <a:gd name="connsiteY977" fmla="*/ 797528 h 1057751"/>
                <a:gd name="connsiteX978" fmla="*/ 949738 w 1073848"/>
                <a:gd name="connsiteY978" fmla="*/ 793909 h 1057751"/>
                <a:gd name="connsiteX979" fmla="*/ 951643 w 1073848"/>
                <a:gd name="connsiteY979" fmla="*/ 784098 h 1057751"/>
                <a:gd name="connsiteX980" fmla="*/ 959548 w 1073848"/>
                <a:gd name="connsiteY980" fmla="*/ 783050 h 1057751"/>
                <a:gd name="connsiteX981" fmla="*/ 969455 w 1073848"/>
                <a:gd name="connsiteY981" fmla="*/ 785051 h 1057751"/>
                <a:gd name="connsiteX982" fmla="*/ 972217 w 1073848"/>
                <a:gd name="connsiteY982" fmla="*/ 781431 h 1057751"/>
                <a:gd name="connsiteX983" fmla="*/ 971740 w 1073848"/>
                <a:gd name="connsiteY983" fmla="*/ 778288 h 1057751"/>
                <a:gd name="connsiteX984" fmla="*/ 978694 w 1073848"/>
                <a:gd name="connsiteY984" fmla="*/ 782193 h 1057751"/>
                <a:gd name="connsiteX985" fmla="*/ 982408 w 1073848"/>
                <a:gd name="connsiteY985" fmla="*/ 773716 h 1057751"/>
                <a:gd name="connsiteX986" fmla="*/ 977455 w 1073848"/>
                <a:gd name="connsiteY986" fmla="*/ 772763 h 1057751"/>
                <a:gd name="connsiteX987" fmla="*/ 976122 w 1073848"/>
                <a:gd name="connsiteY987" fmla="*/ 761714 h 1057751"/>
                <a:gd name="connsiteX988" fmla="*/ 977265 w 1073848"/>
                <a:gd name="connsiteY988" fmla="*/ 758380 h 1057751"/>
                <a:gd name="connsiteX989" fmla="*/ 979075 w 1073848"/>
                <a:gd name="connsiteY989" fmla="*/ 759714 h 1057751"/>
                <a:gd name="connsiteX990" fmla="*/ 980027 w 1073848"/>
                <a:gd name="connsiteY990" fmla="*/ 754761 h 1057751"/>
                <a:gd name="connsiteX991" fmla="*/ 974503 w 1073848"/>
                <a:gd name="connsiteY991" fmla="*/ 749046 h 1057751"/>
                <a:gd name="connsiteX992" fmla="*/ 970693 w 1073848"/>
                <a:gd name="connsiteY992" fmla="*/ 744760 h 1057751"/>
                <a:gd name="connsiteX993" fmla="*/ 966025 w 1073848"/>
                <a:gd name="connsiteY993" fmla="*/ 745331 h 1057751"/>
                <a:gd name="connsiteX994" fmla="*/ 959263 w 1073848"/>
                <a:gd name="connsiteY994" fmla="*/ 743045 h 1057751"/>
                <a:gd name="connsiteX995" fmla="*/ 954500 w 1073848"/>
                <a:gd name="connsiteY995" fmla="*/ 743617 h 1057751"/>
                <a:gd name="connsiteX996" fmla="*/ 950976 w 1073848"/>
                <a:gd name="connsiteY996" fmla="*/ 740855 h 1057751"/>
                <a:gd name="connsiteX997" fmla="*/ 954691 w 1073848"/>
                <a:gd name="connsiteY997" fmla="*/ 732377 h 1057751"/>
                <a:gd name="connsiteX998" fmla="*/ 952309 w 1073848"/>
                <a:gd name="connsiteY998" fmla="*/ 726281 h 1057751"/>
                <a:gd name="connsiteX999" fmla="*/ 954881 w 1073848"/>
                <a:gd name="connsiteY999" fmla="*/ 721138 h 1057751"/>
                <a:gd name="connsiteX1000" fmla="*/ 959548 w 1073848"/>
                <a:gd name="connsiteY1000" fmla="*/ 707708 h 1057751"/>
                <a:gd name="connsiteX1001" fmla="*/ 963739 w 1073848"/>
                <a:gd name="connsiteY1001" fmla="*/ 702374 h 1057751"/>
                <a:gd name="connsiteX1002" fmla="*/ 963073 w 1073848"/>
                <a:gd name="connsiteY1002" fmla="*/ 697611 h 1057751"/>
                <a:gd name="connsiteX1003" fmla="*/ 965835 w 1073848"/>
                <a:gd name="connsiteY1003" fmla="*/ 694087 h 1057751"/>
                <a:gd name="connsiteX1004" fmla="*/ 967454 w 1073848"/>
                <a:gd name="connsiteY1004" fmla="*/ 693896 h 1057751"/>
                <a:gd name="connsiteX1005" fmla="*/ 973741 w 1073848"/>
                <a:gd name="connsiteY1005" fmla="*/ 693039 h 1057751"/>
                <a:gd name="connsiteX1006" fmla="*/ 975741 w 1073848"/>
                <a:gd name="connsiteY1006" fmla="*/ 695992 h 1057751"/>
                <a:gd name="connsiteX1007" fmla="*/ 978884 w 1073848"/>
                <a:gd name="connsiteY1007" fmla="*/ 695611 h 1057751"/>
                <a:gd name="connsiteX1008" fmla="*/ 980218 w 1073848"/>
                <a:gd name="connsiteY1008" fmla="*/ 693801 h 1057751"/>
                <a:gd name="connsiteX1009" fmla="*/ 984790 w 1073848"/>
                <a:gd name="connsiteY1009" fmla="*/ 691610 h 1057751"/>
                <a:gd name="connsiteX1010" fmla="*/ 986123 w 1073848"/>
                <a:gd name="connsiteY1010" fmla="*/ 689896 h 1057751"/>
                <a:gd name="connsiteX1011" fmla="*/ 989362 w 1073848"/>
                <a:gd name="connsiteY1011" fmla="*/ 689420 h 1057751"/>
                <a:gd name="connsiteX1012" fmla="*/ 988314 w 1073848"/>
                <a:gd name="connsiteY1012" fmla="*/ 681609 h 1057751"/>
                <a:gd name="connsiteX1013" fmla="*/ 981361 w 1073848"/>
                <a:gd name="connsiteY1013" fmla="*/ 677609 h 1057751"/>
                <a:gd name="connsiteX1014" fmla="*/ 982408 w 1073848"/>
                <a:gd name="connsiteY1014" fmla="*/ 672751 h 1057751"/>
                <a:gd name="connsiteX1015" fmla="*/ 979075 w 1073848"/>
                <a:gd name="connsiteY1015" fmla="*/ 671513 h 1057751"/>
                <a:gd name="connsiteX1016" fmla="*/ 978789 w 1073848"/>
                <a:gd name="connsiteY1016" fmla="*/ 669988 h 1057751"/>
                <a:gd name="connsiteX1017" fmla="*/ 969359 w 1073848"/>
                <a:gd name="connsiteY1017" fmla="*/ 671132 h 1057751"/>
                <a:gd name="connsiteX1018" fmla="*/ 967168 w 1073848"/>
                <a:gd name="connsiteY1018" fmla="*/ 666655 h 1057751"/>
                <a:gd name="connsiteX1019" fmla="*/ 966121 w 1073848"/>
                <a:gd name="connsiteY1019" fmla="*/ 658749 h 1057751"/>
                <a:gd name="connsiteX1020" fmla="*/ 968312 w 1073848"/>
                <a:gd name="connsiteY1020" fmla="*/ 650462 h 1057751"/>
                <a:gd name="connsiteX1021" fmla="*/ 969740 w 1073848"/>
                <a:gd name="connsiteY1021" fmla="*/ 648653 h 1057751"/>
                <a:gd name="connsiteX1022" fmla="*/ 971455 w 1073848"/>
                <a:gd name="connsiteY1022" fmla="*/ 650081 h 1057751"/>
                <a:gd name="connsiteX1023" fmla="*/ 979170 w 1073848"/>
                <a:gd name="connsiteY1023" fmla="*/ 647509 h 1057751"/>
                <a:gd name="connsiteX1024" fmla="*/ 978789 w 1073848"/>
                <a:gd name="connsiteY1024" fmla="*/ 644271 h 1057751"/>
                <a:gd name="connsiteX1025" fmla="*/ 983742 w 1073848"/>
                <a:gd name="connsiteY1025" fmla="*/ 645319 h 1057751"/>
                <a:gd name="connsiteX1026" fmla="*/ 983456 w 1073848"/>
                <a:gd name="connsiteY1026" fmla="*/ 643700 h 1057751"/>
                <a:gd name="connsiteX1027" fmla="*/ 979932 w 1073848"/>
                <a:gd name="connsiteY1027" fmla="*/ 640937 h 1057751"/>
                <a:gd name="connsiteX1028" fmla="*/ 982694 w 1073848"/>
                <a:gd name="connsiteY1028" fmla="*/ 637413 h 1057751"/>
                <a:gd name="connsiteX1029" fmla="*/ 987457 w 1073848"/>
                <a:gd name="connsiteY1029" fmla="*/ 636746 h 1057751"/>
                <a:gd name="connsiteX1030" fmla="*/ 990219 w 1073848"/>
                <a:gd name="connsiteY1030" fmla="*/ 633222 h 1057751"/>
                <a:gd name="connsiteX1031" fmla="*/ 989552 w 1073848"/>
                <a:gd name="connsiteY1031" fmla="*/ 628459 h 1057751"/>
                <a:gd name="connsiteX1032" fmla="*/ 992505 w 1073848"/>
                <a:gd name="connsiteY1032" fmla="*/ 626555 h 1057751"/>
                <a:gd name="connsiteX1033" fmla="*/ 988600 w 1073848"/>
                <a:gd name="connsiteY1033" fmla="*/ 620554 h 1057751"/>
                <a:gd name="connsiteX1034" fmla="*/ 989933 w 1073848"/>
                <a:gd name="connsiteY1034" fmla="*/ 618839 h 1057751"/>
                <a:gd name="connsiteX1035" fmla="*/ 989743 w 1073848"/>
                <a:gd name="connsiteY1035" fmla="*/ 617220 h 1057751"/>
                <a:gd name="connsiteX1036" fmla="*/ 989171 w 1073848"/>
                <a:gd name="connsiteY1036" fmla="*/ 612553 h 1057751"/>
                <a:gd name="connsiteX1037" fmla="*/ 990695 w 1073848"/>
                <a:gd name="connsiteY1037" fmla="*/ 612267 h 1057751"/>
                <a:gd name="connsiteX1038" fmla="*/ 998601 w 1073848"/>
                <a:gd name="connsiteY1038" fmla="*/ 611314 h 1057751"/>
                <a:gd name="connsiteX1039" fmla="*/ 1002982 w 1073848"/>
                <a:gd name="connsiteY1039" fmla="*/ 607505 h 1057751"/>
                <a:gd name="connsiteX1040" fmla="*/ 1006316 w 1073848"/>
                <a:gd name="connsiteY1040" fmla="*/ 608743 h 1057751"/>
                <a:gd name="connsiteX1041" fmla="*/ 1017937 w 1073848"/>
                <a:gd name="connsiteY1041" fmla="*/ 599218 h 1057751"/>
                <a:gd name="connsiteX1042" fmla="*/ 1020699 w 1073848"/>
                <a:gd name="connsiteY1042" fmla="*/ 595693 h 1057751"/>
                <a:gd name="connsiteX1043" fmla="*/ 1020032 w 1073848"/>
                <a:gd name="connsiteY1043" fmla="*/ 590931 h 1057751"/>
                <a:gd name="connsiteX1044" fmla="*/ 1021461 w 1073848"/>
                <a:gd name="connsiteY1044" fmla="*/ 589121 h 1057751"/>
                <a:gd name="connsiteX1045" fmla="*/ 1027747 w 1073848"/>
                <a:gd name="connsiteY1045" fmla="*/ 588359 h 1057751"/>
                <a:gd name="connsiteX1046" fmla="*/ 1028605 w 1073848"/>
                <a:gd name="connsiteY1046" fmla="*/ 594646 h 1057751"/>
                <a:gd name="connsiteX1047" fmla="*/ 1031938 w 1073848"/>
                <a:gd name="connsiteY1047" fmla="*/ 595789 h 1057751"/>
                <a:gd name="connsiteX1048" fmla="*/ 1031748 w 1073848"/>
                <a:gd name="connsiteY1048" fmla="*/ 594265 h 1057751"/>
                <a:gd name="connsiteX1049" fmla="*/ 1035844 w 1073848"/>
                <a:gd name="connsiteY1049" fmla="*/ 588931 h 1057751"/>
                <a:gd name="connsiteX1050" fmla="*/ 1035653 w 1073848"/>
                <a:gd name="connsiteY1050" fmla="*/ 587312 h 1057751"/>
                <a:gd name="connsiteX1051" fmla="*/ 1040416 w 1073848"/>
                <a:gd name="connsiteY1051" fmla="*/ 586740 h 1057751"/>
                <a:gd name="connsiteX1052" fmla="*/ 1047655 w 1073848"/>
                <a:gd name="connsiteY1052" fmla="*/ 581025 h 1057751"/>
                <a:gd name="connsiteX1053" fmla="*/ 1048893 w 1073848"/>
                <a:gd name="connsiteY1053" fmla="*/ 577691 h 1057751"/>
                <a:gd name="connsiteX1054" fmla="*/ 1055180 w 1073848"/>
                <a:gd name="connsiteY1054" fmla="*/ 576834 h 1057751"/>
                <a:gd name="connsiteX1055" fmla="*/ 1056132 w 1073848"/>
                <a:gd name="connsiteY1055" fmla="*/ 571881 h 1057751"/>
                <a:gd name="connsiteX1056" fmla="*/ 1052798 w 1073848"/>
                <a:gd name="connsiteY1056" fmla="*/ 570738 h 1057751"/>
                <a:gd name="connsiteX1057" fmla="*/ 1056132 w 1073848"/>
                <a:gd name="connsiteY1057" fmla="*/ 571881 h 1057751"/>
                <a:gd name="connsiteX1058" fmla="*/ 1052417 w 1073848"/>
                <a:gd name="connsiteY1058" fmla="*/ 567595 h 1057751"/>
                <a:gd name="connsiteX1059" fmla="*/ 1052227 w 1073848"/>
                <a:gd name="connsiteY1059" fmla="*/ 565976 h 1057751"/>
                <a:gd name="connsiteX1060" fmla="*/ 1046416 w 1073848"/>
                <a:gd name="connsiteY1060" fmla="*/ 558737 h 1057751"/>
                <a:gd name="connsiteX1061" fmla="*/ 1051941 w 1073848"/>
                <a:gd name="connsiteY1061" fmla="*/ 551593 h 1057751"/>
                <a:gd name="connsiteX1062" fmla="*/ 1048798 w 1073848"/>
                <a:gd name="connsiteY1062" fmla="*/ 551974 h 1057751"/>
                <a:gd name="connsiteX1063" fmla="*/ 1045845 w 1073848"/>
                <a:gd name="connsiteY1063" fmla="*/ 541115 h 1057751"/>
                <a:gd name="connsiteX1064" fmla="*/ 1045559 w 1073848"/>
                <a:gd name="connsiteY1064" fmla="*/ 539591 h 1057751"/>
                <a:gd name="connsiteX1065" fmla="*/ 1048988 w 1073848"/>
                <a:gd name="connsiteY1065" fmla="*/ 540734 h 1057751"/>
                <a:gd name="connsiteX1066" fmla="*/ 1048322 w 1073848"/>
                <a:gd name="connsiteY1066" fmla="*/ 535972 h 1057751"/>
                <a:gd name="connsiteX1067" fmla="*/ 1050512 w 1073848"/>
                <a:gd name="connsiteY1067" fmla="*/ 527685 h 1057751"/>
                <a:gd name="connsiteX1068" fmla="*/ 1049750 w 1073848"/>
                <a:gd name="connsiteY1068" fmla="*/ 521399 h 1057751"/>
                <a:gd name="connsiteX1069" fmla="*/ 1050893 w 1073848"/>
                <a:gd name="connsiteY1069" fmla="*/ 518065 h 1057751"/>
                <a:gd name="connsiteX1070" fmla="*/ 1053656 w 1073848"/>
                <a:gd name="connsiteY1070" fmla="*/ 514445 h 1057751"/>
                <a:gd name="connsiteX1071" fmla="*/ 1052798 w 1073848"/>
                <a:gd name="connsiteY1071" fmla="*/ 508159 h 1057751"/>
                <a:gd name="connsiteX1072" fmla="*/ 1046893 w 1073848"/>
                <a:gd name="connsiteY1072" fmla="*/ 512159 h 1057751"/>
                <a:gd name="connsiteX1073" fmla="*/ 1043559 w 1073848"/>
                <a:gd name="connsiteY1073" fmla="*/ 510921 h 1057751"/>
                <a:gd name="connsiteX1074" fmla="*/ 1041368 w 1073848"/>
                <a:gd name="connsiteY1074" fmla="*/ 506444 h 1057751"/>
                <a:gd name="connsiteX1075" fmla="*/ 1045750 w 1073848"/>
                <a:gd name="connsiteY1075" fmla="*/ 502634 h 1057751"/>
                <a:gd name="connsiteX1076" fmla="*/ 1042130 w 1073848"/>
                <a:gd name="connsiteY1076" fmla="*/ 499872 h 1057751"/>
                <a:gd name="connsiteX1077" fmla="*/ 1043368 w 1073848"/>
                <a:gd name="connsiteY1077" fmla="*/ 496538 h 1057751"/>
                <a:gd name="connsiteX1078" fmla="*/ 1046131 w 1073848"/>
                <a:gd name="connsiteY1078" fmla="*/ 493014 h 1057751"/>
                <a:gd name="connsiteX1079" fmla="*/ 1038415 w 1073848"/>
                <a:gd name="connsiteY1079" fmla="*/ 482727 h 1057751"/>
                <a:gd name="connsiteX1080" fmla="*/ 1039178 w 1073848"/>
                <a:gd name="connsiteY1080" fmla="*/ 476250 h 1057751"/>
                <a:gd name="connsiteX1081" fmla="*/ 1041654 w 1073848"/>
                <a:gd name="connsiteY1081" fmla="*/ 471107 h 1057751"/>
                <a:gd name="connsiteX1082" fmla="*/ 1047559 w 1073848"/>
                <a:gd name="connsiteY1082" fmla="*/ 467106 h 1057751"/>
                <a:gd name="connsiteX1083" fmla="*/ 1049941 w 1073848"/>
                <a:gd name="connsiteY1083" fmla="*/ 460438 h 1057751"/>
                <a:gd name="connsiteX1084" fmla="*/ 1044226 w 1073848"/>
                <a:gd name="connsiteY1084" fmla="*/ 453104 h 1057751"/>
                <a:gd name="connsiteX1085" fmla="*/ 1054703 w 1073848"/>
                <a:gd name="connsiteY1085" fmla="*/ 447008 h 1057751"/>
                <a:gd name="connsiteX1086" fmla="*/ 1055465 w 1073848"/>
                <a:gd name="connsiteY1086" fmla="*/ 440436 h 1057751"/>
                <a:gd name="connsiteX1087" fmla="*/ 1048893 w 1073848"/>
                <a:gd name="connsiteY1087" fmla="*/ 439674 h 1057751"/>
                <a:gd name="connsiteX1088" fmla="*/ 1046893 w 1073848"/>
                <a:gd name="connsiteY1088" fmla="*/ 436721 h 1057751"/>
                <a:gd name="connsiteX1089" fmla="*/ 1046512 w 1073848"/>
                <a:gd name="connsiteY1089" fmla="*/ 433578 h 1057751"/>
                <a:gd name="connsiteX1090" fmla="*/ 1050893 w 1073848"/>
                <a:gd name="connsiteY1090" fmla="*/ 429863 h 1057751"/>
                <a:gd name="connsiteX1091" fmla="*/ 1045940 w 1073848"/>
                <a:gd name="connsiteY1091" fmla="*/ 428911 h 1057751"/>
                <a:gd name="connsiteX1092" fmla="*/ 1044797 w 1073848"/>
                <a:gd name="connsiteY1092" fmla="*/ 432245 h 1057751"/>
                <a:gd name="connsiteX1093" fmla="*/ 1042988 w 1073848"/>
                <a:gd name="connsiteY1093" fmla="*/ 430816 h 1057751"/>
                <a:gd name="connsiteX1094" fmla="*/ 1036034 w 1073848"/>
                <a:gd name="connsiteY1094" fmla="*/ 426911 h 1057751"/>
                <a:gd name="connsiteX1095" fmla="*/ 1033843 w 1073848"/>
                <a:gd name="connsiteY1095" fmla="*/ 422338 h 1057751"/>
                <a:gd name="connsiteX1096" fmla="*/ 1035082 w 1073848"/>
                <a:gd name="connsiteY1096" fmla="*/ 419005 h 1057751"/>
                <a:gd name="connsiteX1097" fmla="*/ 1034891 w 1073848"/>
                <a:gd name="connsiteY1097" fmla="*/ 417481 h 1057751"/>
                <a:gd name="connsiteX1098" fmla="*/ 1029557 w 1073848"/>
                <a:gd name="connsiteY1098" fmla="*/ 413290 h 1057751"/>
                <a:gd name="connsiteX1099" fmla="*/ 1030891 w 1073848"/>
                <a:gd name="connsiteY1099" fmla="*/ 411575 h 1057751"/>
                <a:gd name="connsiteX1100" fmla="*/ 1037177 w 1073848"/>
                <a:gd name="connsiteY1100" fmla="*/ 410718 h 1057751"/>
                <a:gd name="connsiteX1101" fmla="*/ 1039178 w 1073848"/>
                <a:gd name="connsiteY1101" fmla="*/ 413671 h 1057751"/>
                <a:gd name="connsiteX1102" fmla="*/ 1043559 w 1073848"/>
                <a:gd name="connsiteY1102" fmla="*/ 422720 h 1057751"/>
                <a:gd name="connsiteX1103" fmla="*/ 1051274 w 1073848"/>
                <a:gd name="connsiteY1103" fmla="*/ 420148 h 1057751"/>
                <a:gd name="connsiteX1104" fmla="*/ 1054037 w 1073848"/>
                <a:gd name="connsiteY1104" fmla="*/ 416624 h 1057751"/>
                <a:gd name="connsiteX1105" fmla="*/ 1053560 w 1073848"/>
                <a:gd name="connsiteY1105" fmla="*/ 413480 h 1057751"/>
                <a:gd name="connsiteX1106" fmla="*/ 1059466 w 1073848"/>
                <a:gd name="connsiteY1106" fmla="*/ 409480 h 1057751"/>
                <a:gd name="connsiteX1107" fmla="*/ 1063276 w 1073848"/>
                <a:gd name="connsiteY1107" fmla="*/ 401003 h 1057751"/>
                <a:gd name="connsiteX1108" fmla="*/ 1067943 w 1073848"/>
                <a:gd name="connsiteY1108" fmla="*/ 400431 h 1057751"/>
                <a:gd name="connsiteX1109" fmla="*/ 1073848 w 1073848"/>
                <a:gd name="connsiteY1109" fmla="*/ 383572 h 1057751"/>
                <a:gd name="connsiteX1110" fmla="*/ 1072801 w 1073848"/>
                <a:gd name="connsiteY1110" fmla="*/ 375761 h 1057751"/>
                <a:gd name="connsiteX1111" fmla="*/ 1072801 w 1073848"/>
                <a:gd name="connsiteY1111" fmla="*/ 375761 h 1057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</a:cxnLst>
              <a:rect l="l" t="t" r="r" b="b"/>
              <a:pathLst>
                <a:path w="1073848" h="1057751">
                  <a:moveTo>
                    <a:pt x="1072801" y="375761"/>
                  </a:moveTo>
                  <a:lnTo>
                    <a:pt x="1068705" y="368237"/>
                  </a:lnTo>
                  <a:lnTo>
                    <a:pt x="1057180" y="366522"/>
                  </a:lnTo>
                  <a:lnTo>
                    <a:pt x="1056989" y="364903"/>
                  </a:lnTo>
                  <a:lnTo>
                    <a:pt x="1052322" y="365474"/>
                  </a:lnTo>
                  <a:lnTo>
                    <a:pt x="1050322" y="362521"/>
                  </a:lnTo>
                  <a:lnTo>
                    <a:pt x="1048512" y="361188"/>
                  </a:lnTo>
                  <a:lnTo>
                    <a:pt x="1046797" y="359759"/>
                  </a:lnTo>
                  <a:lnTo>
                    <a:pt x="1045178" y="360045"/>
                  </a:lnTo>
                  <a:lnTo>
                    <a:pt x="1044607" y="355283"/>
                  </a:lnTo>
                  <a:lnTo>
                    <a:pt x="1041178" y="354139"/>
                  </a:lnTo>
                  <a:lnTo>
                    <a:pt x="1042416" y="350711"/>
                  </a:lnTo>
                  <a:lnTo>
                    <a:pt x="1048703" y="349949"/>
                  </a:lnTo>
                  <a:lnTo>
                    <a:pt x="1049846" y="346615"/>
                  </a:lnTo>
                  <a:lnTo>
                    <a:pt x="1053846" y="339662"/>
                  </a:lnTo>
                  <a:lnTo>
                    <a:pt x="1052989" y="333375"/>
                  </a:lnTo>
                  <a:lnTo>
                    <a:pt x="1054608" y="333184"/>
                  </a:lnTo>
                  <a:lnTo>
                    <a:pt x="1055941" y="331375"/>
                  </a:lnTo>
                  <a:lnTo>
                    <a:pt x="1054798" y="321850"/>
                  </a:lnTo>
                  <a:lnTo>
                    <a:pt x="1052798" y="318897"/>
                  </a:lnTo>
                  <a:lnTo>
                    <a:pt x="1043083" y="305753"/>
                  </a:lnTo>
                  <a:lnTo>
                    <a:pt x="1042511" y="300990"/>
                  </a:lnTo>
                  <a:lnTo>
                    <a:pt x="1036987" y="295275"/>
                  </a:lnTo>
                  <a:lnTo>
                    <a:pt x="1030605" y="296132"/>
                  </a:lnTo>
                  <a:lnTo>
                    <a:pt x="1024890" y="288798"/>
                  </a:lnTo>
                  <a:lnTo>
                    <a:pt x="1022509" y="282702"/>
                  </a:lnTo>
                  <a:lnTo>
                    <a:pt x="1015746" y="280321"/>
                  </a:lnTo>
                  <a:lnTo>
                    <a:pt x="1009459" y="281178"/>
                  </a:lnTo>
                  <a:lnTo>
                    <a:pt x="1000601" y="274225"/>
                  </a:lnTo>
                  <a:lnTo>
                    <a:pt x="997648" y="276225"/>
                  </a:lnTo>
                  <a:lnTo>
                    <a:pt x="990505" y="270700"/>
                  </a:lnTo>
                  <a:lnTo>
                    <a:pt x="987933" y="275844"/>
                  </a:lnTo>
                  <a:lnTo>
                    <a:pt x="984790" y="276320"/>
                  </a:lnTo>
                  <a:lnTo>
                    <a:pt x="979837" y="275272"/>
                  </a:lnTo>
                  <a:lnTo>
                    <a:pt x="977455" y="269176"/>
                  </a:lnTo>
                  <a:lnTo>
                    <a:pt x="973931" y="266414"/>
                  </a:lnTo>
                  <a:lnTo>
                    <a:pt x="967168" y="264128"/>
                  </a:lnTo>
                  <a:lnTo>
                    <a:pt x="969169" y="254222"/>
                  </a:lnTo>
                  <a:lnTo>
                    <a:pt x="964025" y="251650"/>
                  </a:lnTo>
                  <a:lnTo>
                    <a:pt x="958310" y="244412"/>
                  </a:lnTo>
                  <a:lnTo>
                    <a:pt x="948595" y="231172"/>
                  </a:lnTo>
                  <a:lnTo>
                    <a:pt x="944785" y="226886"/>
                  </a:lnTo>
                  <a:lnTo>
                    <a:pt x="936498" y="224695"/>
                  </a:lnTo>
                  <a:lnTo>
                    <a:pt x="929640" y="220789"/>
                  </a:lnTo>
                  <a:lnTo>
                    <a:pt x="928211" y="222504"/>
                  </a:lnTo>
                  <a:lnTo>
                    <a:pt x="926497" y="221171"/>
                  </a:lnTo>
                  <a:lnTo>
                    <a:pt x="921734" y="221742"/>
                  </a:lnTo>
                  <a:lnTo>
                    <a:pt x="921353" y="218599"/>
                  </a:lnTo>
                  <a:lnTo>
                    <a:pt x="916019" y="214503"/>
                  </a:lnTo>
                  <a:lnTo>
                    <a:pt x="913638" y="208407"/>
                  </a:lnTo>
                  <a:lnTo>
                    <a:pt x="910495" y="208788"/>
                  </a:lnTo>
                  <a:lnTo>
                    <a:pt x="909447" y="213741"/>
                  </a:lnTo>
                  <a:lnTo>
                    <a:pt x="906304" y="214122"/>
                  </a:lnTo>
                  <a:lnTo>
                    <a:pt x="899160" y="208597"/>
                  </a:lnTo>
                  <a:lnTo>
                    <a:pt x="895445" y="204311"/>
                  </a:lnTo>
                  <a:lnTo>
                    <a:pt x="889159" y="205073"/>
                  </a:lnTo>
                  <a:lnTo>
                    <a:pt x="884777" y="208883"/>
                  </a:lnTo>
                  <a:lnTo>
                    <a:pt x="881443" y="207645"/>
                  </a:lnTo>
                  <a:lnTo>
                    <a:pt x="882587" y="204311"/>
                  </a:lnTo>
                  <a:lnTo>
                    <a:pt x="878681" y="198406"/>
                  </a:lnTo>
                  <a:lnTo>
                    <a:pt x="874871" y="194024"/>
                  </a:lnTo>
                  <a:lnTo>
                    <a:pt x="866013" y="200025"/>
                  </a:lnTo>
                  <a:lnTo>
                    <a:pt x="856202" y="198025"/>
                  </a:lnTo>
                  <a:lnTo>
                    <a:pt x="856393" y="199644"/>
                  </a:lnTo>
                  <a:lnTo>
                    <a:pt x="852964" y="198501"/>
                  </a:lnTo>
                  <a:lnTo>
                    <a:pt x="848868" y="203835"/>
                  </a:lnTo>
                  <a:lnTo>
                    <a:pt x="843343" y="198120"/>
                  </a:lnTo>
                  <a:lnTo>
                    <a:pt x="839914" y="184118"/>
                  </a:lnTo>
                  <a:lnTo>
                    <a:pt x="834390" y="178403"/>
                  </a:lnTo>
                  <a:lnTo>
                    <a:pt x="834199" y="176784"/>
                  </a:lnTo>
                  <a:lnTo>
                    <a:pt x="830675" y="174022"/>
                  </a:lnTo>
                  <a:lnTo>
                    <a:pt x="826865" y="169736"/>
                  </a:lnTo>
                  <a:lnTo>
                    <a:pt x="825341" y="169926"/>
                  </a:lnTo>
                  <a:lnTo>
                    <a:pt x="820198" y="167354"/>
                  </a:lnTo>
                  <a:lnTo>
                    <a:pt x="817055" y="167735"/>
                  </a:lnTo>
                  <a:lnTo>
                    <a:pt x="813625" y="166592"/>
                  </a:lnTo>
                  <a:lnTo>
                    <a:pt x="811054" y="171736"/>
                  </a:lnTo>
                  <a:lnTo>
                    <a:pt x="809339" y="170307"/>
                  </a:lnTo>
                  <a:lnTo>
                    <a:pt x="802576" y="168021"/>
                  </a:lnTo>
                  <a:lnTo>
                    <a:pt x="800576" y="165068"/>
                  </a:lnTo>
                  <a:lnTo>
                    <a:pt x="795909" y="165640"/>
                  </a:lnTo>
                  <a:lnTo>
                    <a:pt x="790956" y="164687"/>
                  </a:lnTo>
                  <a:lnTo>
                    <a:pt x="781907" y="156210"/>
                  </a:lnTo>
                  <a:lnTo>
                    <a:pt x="781240" y="151447"/>
                  </a:lnTo>
                  <a:lnTo>
                    <a:pt x="782860" y="151257"/>
                  </a:lnTo>
                  <a:lnTo>
                    <a:pt x="780669" y="146780"/>
                  </a:lnTo>
                  <a:lnTo>
                    <a:pt x="782003" y="144971"/>
                  </a:lnTo>
                  <a:lnTo>
                    <a:pt x="783241" y="141637"/>
                  </a:lnTo>
                  <a:lnTo>
                    <a:pt x="780288" y="143542"/>
                  </a:lnTo>
                  <a:lnTo>
                    <a:pt x="778288" y="140589"/>
                  </a:lnTo>
                  <a:lnTo>
                    <a:pt x="773525" y="141256"/>
                  </a:lnTo>
                  <a:lnTo>
                    <a:pt x="772763" y="147733"/>
                  </a:lnTo>
                  <a:lnTo>
                    <a:pt x="757047" y="162592"/>
                  </a:lnTo>
                  <a:lnTo>
                    <a:pt x="755047" y="172403"/>
                  </a:lnTo>
                  <a:lnTo>
                    <a:pt x="757809" y="181737"/>
                  </a:lnTo>
                  <a:lnTo>
                    <a:pt x="756285" y="181928"/>
                  </a:lnTo>
                  <a:lnTo>
                    <a:pt x="754856" y="183737"/>
                  </a:lnTo>
                  <a:lnTo>
                    <a:pt x="743426" y="181928"/>
                  </a:lnTo>
                  <a:lnTo>
                    <a:pt x="748379" y="195739"/>
                  </a:lnTo>
                  <a:lnTo>
                    <a:pt x="740759" y="198311"/>
                  </a:lnTo>
                  <a:lnTo>
                    <a:pt x="740950" y="199930"/>
                  </a:lnTo>
                  <a:lnTo>
                    <a:pt x="736187" y="200501"/>
                  </a:lnTo>
                  <a:lnTo>
                    <a:pt x="731044" y="197929"/>
                  </a:lnTo>
                  <a:lnTo>
                    <a:pt x="726281" y="198596"/>
                  </a:lnTo>
                  <a:lnTo>
                    <a:pt x="723329" y="200501"/>
                  </a:lnTo>
                  <a:lnTo>
                    <a:pt x="720185" y="200978"/>
                  </a:lnTo>
                  <a:lnTo>
                    <a:pt x="710946" y="190881"/>
                  </a:lnTo>
                  <a:lnTo>
                    <a:pt x="709136" y="189547"/>
                  </a:lnTo>
                  <a:lnTo>
                    <a:pt x="708946" y="187928"/>
                  </a:lnTo>
                  <a:lnTo>
                    <a:pt x="703993" y="186976"/>
                  </a:lnTo>
                  <a:lnTo>
                    <a:pt x="693515" y="180308"/>
                  </a:lnTo>
                  <a:lnTo>
                    <a:pt x="685609" y="181261"/>
                  </a:lnTo>
                  <a:lnTo>
                    <a:pt x="674941" y="173069"/>
                  </a:lnTo>
                  <a:lnTo>
                    <a:pt x="676084" y="169640"/>
                  </a:lnTo>
                  <a:lnTo>
                    <a:pt x="670370" y="162401"/>
                  </a:lnTo>
                  <a:lnTo>
                    <a:pt x="676847" y="150304"/>
                  </a:lnTo>
                  <a:lnTo>
                    <a:pt x="681418" y="148114"/>
                  </a:lnTo>
                  <a:lnTo>
                    <a:pt x="681323" y="135350"/>
                  </a:lnTo>
                  <a:lnTo>
                    <a:pt x="677037" y="139065"/>
                  </a:lnTo>
                  <a:lnTo>
                    <a:pt x="671131" y="143066"/>
                  </a:lnTo>
                  <a:lnTo>
                    <a:pt x="668941" y="138493"/>
                  </a:lnTo>
                  <a:lnTo>
                    <a:pt x="657511" y="136779"/>
                  </a:lnTo>
                  <a:lnTo>
                    <a:pt x="651129" y="124778"/>
                  </a:lnTo>
                  <a:lnTo>
                    <a:pt x="647986" y="125158"/>
                  </a:lnTo>
                  <a:lnTo>
                    <a:pt x="647795" y="123539"/>
                  </a:lnTo>
                  <a:lnTo>
                    <a:pt x="642652" y="121063"/>
                  </a:lnTo>
                  <a:lnTo>
                    <a:pt x="640651" y="118015"/>
                  </a:lnTo>
                  <a:lnTo>
                    <a:pt x="636175" y="120205"/>
                  </a:lnTo>
                  <a:lnTo>
                    <a:pt x="632365" y="115919"/>
                  </a:lnTo>
                  <a:lnTo>
                    <a:pt x="629412" y="117920"/>
                  </a:lnTo>
                  <a:lnTo>
                    <a:pt x="629603" y="119443"/>
                  </a:lnTo>
                  <a:lnTo>
                    <a:pt x="627888" y="118110"/>
                  </a:lnTo>
                  <a:lnTo>
                    <a:pt x="623506" y="121825"/>
                  </a:lnTo>
                  <a:lnTo>
                    <a:pt x="620363" y="122301"/>
                  </a:lnTo>
                  <a:lnTo>
                    <a:pt x="618363" y="119253"/>
                  </a:lnTo>
                  <a:lnTo>
                    <a:pt x="618934" y="111252"/>
                  </a:lnTo>
                  <a:lnTo>
                    <a:pt x="617411" y="111442"/>
                  </a:lnTo>
                  <a:lnTo>
                    <a:pt x="620744" y="99727"/>
                  </a:lnTo>
                  <a:lnTo>
                    <a:pt x="623030" y="93059"/>
                  </a:lnTo>
                  <a:lnTo>
                    <a:pt x="618363" y="93631"/>
                  </a:lnTo>
                  <a:lnTo>
                    <a:pt x="618744" y="96774"/>
                  </a:lnTo>
                  <a:lnTo>
                    <a:pt x="613600" y="94202"/>
                  </a:lnTo>
                  <a:lnTo>
                    <a:pt x="608838" y="94869"/>
                  </a:lnTo>
                  <a:lnTo>
                    <a:pt x="603504" y="90678"/>
                  </a:lnTo>
                  <a:lnTo>
                    <a:pt x="594074" y="91916"/>
                  </a:lnTo>
                  <a:lnTo>
                    <a:pt x="594265" y="93536"/>
                  </a:lnTo>
                  <a:lnTo>
                    <a:pt x="585788" y="89821"/>
                  </a:lnTo>
                  <a:lnTo>
                    <a:pt x="587121" y="88011"/>
                  </a:lnTo>
                  <a:lnTo>
                    <a:pt x="584930" y="83439"/>
                  </a:lnTo>
                  <a:lnTo>
                    <a:pt x="583216" y="82105"/>
                  </a:lnTo>
                  <a:lnTo>
                    <a:pt x="580263" y="84106"/>
                  </a:lnTo>
                  <a:lnTo>
                    <a:pt x="579977" y="82487"/>
                  </a:lnTo>
                  <a:lnTo>
                    <a:pt x="578453" y="82677"/>
                  </a:lnTo>
                  <a:lnTo>
                    <a:pt x="576643" y="81343"/>
                  </a:lnTo>
                  <a:lnTo>
                    <a:pt x="578263" y="81153"/>
                  </a:lnTo>
                  <a:lnTo>
                    <a:pt x="579406" y="77724"/>
                  </a:lnTo>
                  <a:lnTo>
                    <a:pt x="577882" y="77914"/>
                  </a:lnTo>
                  <a:lnTo>
                    <a:pt x="576072" y="76581"/>
                  </a:lnTo>
                  <a:lnTo>
                    <a:pt x="574453" y="76771"/>
                  </a:lnTo>
                  <a:lnTo>
                    <a:pt x="573691" y="70485"/>
                  </a:lnTo>
                  <a:lnTo>
                    <a:pt x="570357" y="69247"/>
                  </a:lnTo>
                  <a:lnTo>
                    <a:pt x="571500" y="65913"/>
                  </a:lnTo>
                  <a:lnTo>
                    <a:pt x="567404" y="71247"/>
                  </a:lnTo>
                  <a:lnTo>
                    <a:pt x="562451" y="70295"/>
                  </a:lnTo>
                  <a:lnTo>
                    <a:pt x="561880" y="65532"/>
                  </a:lnTo>
                  <a:lnTo>
                    <a:pt x="557498" y="69342"/>
                  </a:lnTo>
                  <a:lnTo>
                    <a:pt x="553688" y="64961"/>
                  </a:lnTo>
                  <a:lnTo>
                    <a:pt x="553307" y="61817"/>
                  </a:lnTo>
                  <a:lnTo>
                    <a:pt x="556450" y="61436"/>
                  </a:lnTo>
                  <a:lnTo>
                    <a:pt x="554546" y="58483"/>
                  </a:lnTo>
                  <a:lnTo>
                    <a:pt x="546640" y="59531"/>
                  </a:lnTo>
                  <a:lnTo>
                    <a:pt x="546449" y="57912"/>
                  </a:lnTo>
                  <a:lnTo>
                    <a:pt x="543306" y="58293"/>
                  </a:lnTo>
                  <a:lnTo>
                    <a:pt x="541496" y="56959"/>
                  </a:lnTo>
                  <a:lnTo>
                    <a:pt x="537496" y="51054"/>
                  </a:lnTo>
                  <a:lnTo>
                    <a:pt x="534733" y="54578"/>
                  </a:lnTo>
                  <a:lnTo>
                    <a:pt x="534162" y="62675"/>
                  </a:lnTo>
                  <a:lnTo>
                    <a:pt x="527875" y="63437"/>
                  </a:lnTo>
                  <a:lnTo>
                    <a:pt x="526066" y="62103"/>
                  </a:lnTo>
                  <a:lnTo>
                    <a:pt x="524732" y="63913"/>
                  </a:lnTo>
                  <a:lnTo>
                    <a:pt x="520541" y="56388"/>
                  </a:lnTo>
                  <a:lnTo>
                    <a:pt x="521780" y="53054"/>
                  </a:lnTo>
                  <a:lnTo>
                    <a:pt x="515398" y="53816"/>
                  </a:lnTo>
                  <a:lnTo>
                    <a:pt x="515874" y="56959"/>
                  </a:lnTo>
                  <a:lnTo>
                    <a:pt x="511112" y="57626"/>
                  </a:lnTo>
                  <a:lnTo>
                    <a:pt x="511302" y="59150"/>
                  </a:lnTo>
                  <a:lnTo>
                    <a:pt x="508159" y="59531"/>
                  </a:lnTo>
                  <a:lnTo>
                    <a:pt x="507968" y="58007"/>
                  </a:lnTo>
                  <a:lnTo>
                    <a:pt x="501587" y="58769"/>
                  </a:lnTo>
                  <a:lnTo>
                    <a:pt x="498253" y="57626"/>
                  </a:lnTo>
                  <a:lnTo>
                    <a:pt x="495300" y="59626"/>
                  </a:lnTo>
                  <a:lnTo>
                    <a:pt x="493300" y="56674"/>
                  </a:lnTo>
                  <a:lnTo>
                    <a:pt x="490538" y="60198"/>
                  </a:lnTo>
                  <a:lnTo>
                    <a:pt x="490156" y="57055"/>
                  </a:lnTo>
                  <a:lnTo>
                    <a:pt x="489204" y="62008"/>
                  </a:lnTo>
                  <a:lnTo>
                    <a:pt x="487204" y="59055"/>
                  </a:lnTo>
                  <a:lnTo>
                    <a:pt x="489966" y="55436"/>
                  </a:lnTo>
                  <a:lnTo>
                    <a:pt x="487775" y="50959"/>
                  </a:lnTo>
                  <a:lnTo>
                    <a:pt x="489204" y="49149"/>
                  </a:lnTo>
                  <a:lnTo>
                    <a:pt x="486061" y="49530"/>
                  </a:lnTo>
                  <a:lnTo>
                    <a:pt x="484251" y="48196"/>
                  </a:lnTo>
                  <a:lnTo>
                    <a:pt x="481108" y="48578"/>
                  </a:lnTo>
                  <a:lnTo>
                    <a:pt x="477298" y="44291"/>
                  </a:lnTo>
                  <a:lnTo>
                    <a:pt x="477107" y="42672"/>
                  </a:lnTo>
                  <a:lnTo>
                    <a:pt x="478060" y="37719"/>
                  </a:lnTo>
                  <a:lnTo>
                    <a:pt x="471773" y="38576"/>
                  </a:lnTo>
                  <a:lnTo>
                    <a:pt x="469773" y="35624"/>
                  </a:lnTo>
                  <a:lnTo>
                    <a:pt x="469392" y="32480"/>
                  </a:lnTo>
                  <a:lnTo>
                    <a:pt x="464630" y="33052"/>
                  </a:lnTo>
                  <a:lnTo>
                    <a:pt x="455390" y="22955"/>
                  </a:lnTo>
                  <a:lnTo>
                    <a:pt x="448818" y="22193"/>
                  </a:lnTo>
                  <a:lnTo>
                    <a:pt x="445294" y="19431"/>
                  </a:lnTo>
                  <a:lnTo>
                    <a:pt x="441579" y="15145"/>
                  </a:lnTo>
                  <a:lnTo>
                    <a:pt x="437769" y="10763"/>
                  </a:lnTo>
                  <a:lnTo>
                    <a:pt x="432625" y="8287"/>
                  </a:lnTo>
                  <a:lnTo>
                    <a:pt x="421957" y="0"/>
                  </a:lnTo>
                  <a:lnTo>
                    <a:pt x="420624" y="1810"/>
                  </a:lnTo>
                  <a:lnTo>
                    <a:pt x="421386" y="8096"/>
                  </a:lnTo>
                  <a:lnTo>
                    <a:pt x="417290" y="13430"/>
                  </a:lnTo>
                  <a:lnTo>
                    <a:pt x="413480" y="9049"/>
                  </a:lnTo>
                  <a:lnTo>
                    <a:pt x="405860" y="11716"/>
                  </a:lnTo>
                  <a:lnTo>
                    <a:pt x="406051" y="13240"/>
                  </a:lnTo>
                  <a:lnTo>
                    <a:pt x="407765" y="14668"/>
                  </a:lnTo>
                  <a:lnTo>
                    <a:pt x="406241" y="14859"/>
                  </a:lnTo>
                  <a:lnTo>
                    <a:pt x="406813" y="19526"/>
                  </a:lnTo>
                  <a:lnTo>
                    <a:pt x="402336" y="21717"/>
                  </a:lnTo>
                  <a:lnTo>
                    <a:pt x="399097" y="22193"/>
                  </a:lnTo>
                  <a:lnTo>
                    <a:pt x="399574" y="25337"/>
                  </a:lnTo>
                  <a:lnTo>
                    <a:pt x="397955" y="25527"/>
                  </a:lnTo>
                  <a:lnTo>
                    <a:pt x="393954" y="19621"/>
                  </a:lnTo>
                  <a:lnTo>
                    <a:pt x="388906" y="17050"/>
                  </a:lnTo>
                  <a:lnTo>
                    <a:pt x="385953" y="19050"/>
                  </a:lnTo>
                  <a:lnTo>
                    <a:pt x="376047" y="29908"/>
                  </a:lnTo>
                  <a:lnTo>
                    <a:pt x="376428" y="33052"/>
                  </a:lnTo>
                  <a:lnTo>
                    <a:pt x="371570" y="32099"/>
                  </a:lnTo>
                  <a:lnTo>
                    <a:pt x="368998" y="37243"/>
                  </a:lnTo>
                  <a:lnTo>
                    <a:pt x="365093" y="44101"/>
                  </a:lnTo>
                  <a:lnTo>
                    <a:pt x="365665" y="48863"/>
                  </a:lnTo>
                  <a:lnTo>
                    <a:pt x="367665" y="51816"/>
                  </a:lnTo>
                  <a:lnTo>
                    <a:pt x="372332" y="51245"/>
                  </a:lnTo>
                  <a:lnTo>
                    <a:pt x="375475" y="50768"/>
                  </a:lnTo>
                  <a:lnTo>
                    <a:pt x="374523" y="55721"/>
                  </a:lnTo>
                  <a:lnTo>
                    <a:pt x="378142" y="58483"/>
                  </a:lnTo>
                  <a:lnTo>
                    <a:pt x="377095" y="63437"/>
                  </a:lnTo>
                  <a:lnTo>
                    <a:pt x="382238" y="66008"/>
                  </a:lnTo>
                  <a:lnTo>
                    <a:pt x="379285" y="68008"/>
                  </a:lnTo>
                  <a:lnTo>
                    <a:pt x="379762" y="71152"/>
                  </a:lnTo>
                  <a:lnTo>
                    <a:pt x="376999" y="74676"/>
                  </a:lnTo>
                  <a:lnTo>
                    <a:pt x="373761" y="75057"/>
                  </a:lnTo>
                  <a:lnTo>
                    <a:pt x="371094" y="78676"/>
                  </a:lnTo>
                  <a:lnTo>
                    <a:pt x="371284" y="80200"/>
                  </a:lnTo>
                  <a:lnTo>
                    <a:pt x="367665" y="77438"/>
                  </a:lnTo>
                  <a:lnTo>
                    <a:pt x="366141" y="77629"/>
                  </a:lnTo>
                  <a:lnTo>
                    <a:pt x="364331" y="76295"/>
                  </a:lnTo>
                  <a:lnTo>
                    <a:pt x="359759" y="78486"/>
                  </a:lnTo>
                  <a:lnTo>
                    <a:pt x="352711" y="72962"/>
                  </a:lnTo>
                  <a:lnTo>
                    <a:pt x="353282" y="77724"/>
                  </a:lnTo>
                  <a:lnTo>
                    <a:pt x="350139" y="78105"/>
                  </a:lnTo>
                  <a:lnTo>
                    <a:pt x="346615" y="75343"/>
                  </a:lnTo>
                  <a:lnTo>
                    <a:pt x="345757" y="69056"/>
                  </a:lnTo>
                  <a:lnTo>
                    <a:pt x="344424" y="70771"/>
                  </a:lnTo>
                  <a:lnTo>
                    <a:pt x="342614" y="69437"/>
                  </a:lnTo>
                  <a:lnTo>
                    <a:pt x="340233" y="76200"/>
                  </a:lnTo>
                  <a:lnTo>
                    <a:pt x="336137" y="81534"/>
                  </a:lnTo>
                  <a:lnTo>
                    <a:pt x="333756" y="88201"/>
                  </a:lnTo>
                  <a:lnTo>
                    <a:pt x="335566" y="89630"/>
                  </a:lnTo>
                  <a:lnTo>
                    <a:pt x="332803" y="93154"/>
                  </a:lnTo>
                  <a:lnTo>
                    <a:pt x="333565" y="99441"/>
                  </a:lnTo>
                  <a:lnTo>
                    <a:pt x="332041" y="99632"/>
                  </a:lnTo>
                  <a:lnTo>
                    <a:pt x="331470" y="94964"/>
                  </a:lnTo>
                  <a:lnTo>
                    <a:pt x="326517" y="93917"/>
                  </a:lnTo>
                  <a:lnTo>
                    <a:pt x="319564" y="102870"/>
                  </a:lnTo>
                  <a:lnTo>
                    <a:pt x="310896" y="97536"/>
                  </a:lnTo>
                  <a:lnTo>
                    <a:pt x="303466" y="101727"/>
                  </a:lnTo>
                  <a:lnTo>
                    <a:pt x="296323" y="109061"/>
                  </a:lnTo>
                  <a:lnTo>
                    <a:pt x="294513" y="107633"/>
                  </a:lnTo>
                  <a:lnTo>
                    <a:pt x="293180" y="109442"/>
                  </a:lnTo>
                  <a:lnTo>
                    <a:pt x="288226" y="108395"/>
                  </a:lnTo>
                  <a:lnTo>
                    <a:pt x="285083" y="108871"/>
                  </a:lnTo>
                  <a:lnTo>
                    <a:pt x="284702" y="105728"/>
                  </a:lnTo>
                  <a:lnTo>
                    <a:pt x="283750" y="110585"/>
                  </a:lnTo>
                  <a:lnTo>
                    <a:pt x="283559" y="109061"/>
                  </a:lnTo>
                  <a:lnTo>
                    <a:pt x="280321" y="109442"/>
                  </a:lnTo>
                  <a:lnTo>
                    <a:pt x="275653" y="110014"/>
                  </a:lnTo>
                  <a:lnTo>
                    <a:pt x="274891" y="116586"/>
                  </a:lnTo>
                  <a:lnTo>
                    <a:pt x="271272" y="113824"/>
                  </a:lnTo>
                  <a:lnTo>
                    <a:pt x="269938" y="115633"/>
                  </a:lnTo>
                  <a:lnTo>
                    <a:pt x="272129" y="120110"/>
                  </a:lnTo>
                  <a:lnTo>
                    <a:pt x="264414" y="122682"/>
                  </a:lnTo>
                  <a:lnTo>
                    <a:pt x="264223" y="121158"/>
                  </a:lnTo>
                  <a:lnTo>
                    <a:pt x="261461" y="124682"/>
                  </a:lnTo>
                  <a:lnTo>
                    <a:pt x="259461" y="121729"/>
                  </a:lnTo>
                  <a:lnTo>
                    <a:pt x="256508" y="123730"/>
                  </a:lnTo>
                  <a:lnTo>
                    <a:pt x="256318" y="122111"/>
                  </a:lnTo>
                  <a:lnTo>
                    <a:pt x="250031" y="122968"/>
                  </a:lnTo>
                  <a:lnTo>
                    <a:pt x="249841" y="121349"/>
                  </a:lnTo>
                  <a:lnTo>
                    <a:pt x="255270" y="114205"/>
                  </a:lnTo>
                  <a:lnTo>
                    <a:pt x="253365" y="111252"/>
                  </a:lnTo>
                  <a:lnTo>
                    <a:pt x="250126" y="111728"/>
                  </a:lnTo>
                  <a:lnTo>
                    <a:pt x="247459" y="115253"/>
                  </a:lnTo>
                  <a:lnTo>
                    <a:pt x="244030" y="114109"/>
                  </a:lnTo>
                  <a:lnTo>
                    <a:pt x="241459" y="119253"/>
                  </a:lnTo>
                  <a:lnTo>
                    <a:pt x="236791" y="119825"/>
                  </a:lnTo>
                  <a:lnTo>
                    <a:pt x="234982" y="118396"/>
                  </a:lnTo>
                  <a:lnTo>
                    <a:pt x="231076" y="125349"/>
                  </a:lnTo>
                  <a:lnTo>
                    <a:pt x="229457" y="125539"/>
                  </a:lnTo>
                  <a:lnTo>
                    <a:pt x="229934" y="128683"/>
                  </a:lnTo>
                  <a:lnTo>
                    <a:pt x="233267" y="129921"/>
                  </a:lnTo>
                  <a:lnTo>
                    <a:pt x="231838" y="131636"/>
                  </a:lnTo>
                  <a:lnTo>
                    <a:pt x="233839" y="134588"/>
                  </a:lnTo>
                  <a:lnTo>
                    <a:pt x="226314" y="138779"/>
                  </a:lnTo>
                  <a:lnTo>
                    <a:pt x="227552" y="148209"/>
                  </a:lnTo>
                  <a:lnTo>
                    <a:pt x="228409" y="154591"/>
                  </a:lnTo>
                  <a:lnTo>
                    <a:pt x="214598" y="159544"/>
                  </a:lnTo>
                  <a:lnTo>
                    <a:pt x="216503" y="162496"/>
                  </a:lnTo>
                  <a:lnTo>
                    <a:pt x="211264" y="171164"/>
                  </a:lnTo>
                  <a:lnTo>
                    <a:pt x="209645" y="171355"/>
                  </a:lnTo>
                  <a:lnTo>
                    <a:pt x="209264" y="168212"/>
                  </a:lnTo>
                  <a:lnTo>
                    <a:pt x="207931" y="170021"/>
                  </a:lnTo>
                  <a:lnTo>
                    <a:pt x="207931" y="170021"/>
                  </a:lnTo>
                  <a:lnTo>
                    <a:pt x="204692" y="170402"/>
                  </a:lnTo>
                  <a:lnTo>
                    <a:pt x="206502" y="171736"/>
                  </a:lnTo>
                  <a:lnTo>
                    <a:pt x="203359" y="172212"/>
                  </a:lnTo>
                  <a:lnTo>
                    <a:pt x="205359" y="175165"/>
                  </a:lnTo>
                  <a:lnTo>
                    <a:pt x="202597" y="178689"/>
                  </a:lnTo>
                  <a:lnTo>
                    <a:pt x="201644" y="183642"/>
                  </a:lnTo>
                  <a:lnTo>
                    <a:pt x="200406" y="186976"/>
                  </a:lnTo>
                  <a:lnTo>
                    <a:pt x="202597" y="191548"/>
                  </a:lnTo>
                  <a:lnTo>
                    <a:pt x="200692" y="201359"/>
                  </a:lnTo>
                  <a:lnTo>
                    <a:pt x="202882" y="205930"/>
                  </a:lnTo>
                  <a:lnTo>
                    <a:pt x="201835" y="210884"/>
                  </a:lnTo>
                  <a:lnTo>
                    <a:pt x="205454" y="213646"/>
                  </a:lnTo>
                  <a:lnTo>
                    <a:pt x="203835" y="213836"/>
                  </a:lnTo>
                  <a:lnTo>
                    <a:pt x="206407" y="221551"/>
                  </a:lnTo>
                  <a:lnTo>
                    <a:pt x="209550" y="221075"/>
                  </a:lnTo>
                  <a:lnTo>
                    <a:pt x="213550" y="214217"/>
                  </a:lnTo>
                  <a:lnTo>
                    <a:pt x="221456" y="226028"/>
                  </a:lnTo>
                  <a:lnTo>
                    <a:pt x="229171" y="223457"/>
                  </a:lnTo>
                  <a:lnTo>
                    <a:pt x="240411" y="223552"/>
                  </a:lnTo>
                  <a:lnTo>
                    <a:pt x="239363" y="228505"/>
                  </a:lnTo>
                  <a:lnTo>
                    <a:pt x="243745" y="237554"/>
                  </a:lnTo>
                  <a:lnTo>
                    <a:pt x="251460" y="247841"/>
                  </a:lnTo>
                  <a:lnTo>
                    <a:pt x="252127" y="252603"/>
                  </a:lnTo>
                  <a:lnTo>
                    <a:pt x="249174" y="254508"/>
                  </a:lnTo>
                  <a:lnTo>
                    <a:pt x="247936" y="257937"/>
                  </a:lnTo>
                  <a:lnTo>
                    <a:pt x="251746" y="262223"/>
                  </a:lnTo>
                  <a:lnTo>
                    <a:pt x="248031" y="270700"/>
                  </a:lnTo>
                  <a:lnTo>
                    <a:pt x="244411" y="267938"/>
                  </a:lnTo>
                  <a:lnTo>
                    <a:pt x="245078" y="272701"/>
                  </a:lnTo>
                  <a:lnTo>
                    <a:pt x="243268" y="271367"/>
                  </a:lnTo>
                  <a:lnTo>
                    <a:pt x="243459" y="272891"/>
                  </a:lnTo>
                  <a:lnTo>
                    <a:pt x="241840" y="273082"/>
                  </a:lnTo>
                  <a:lnTo>
                    <a:pt x="237553" y="276892"/>
                  </a:lnTo>
                  <a:lnTo>
                    <a:pt x="238125" y="281654"/>
                  </a:lnTo>
                  <a:lnTo>
                    <a:pt x="232029" y="284036"/>
                  </a:lnTo>
                  <a:lnTo>
                    <a:pt x="231838" y="282416"/>
                  </a:lnTo>
                  <a:lnTo>
                    <a:pt x="228695" y="282797"/>
                  </a:lnTo>
                  <a:lnTo>
                    <a:pt x="224123" y="284988"/>
                  </a:lnTo>
                  <a:lnTo>
                    <a:pt x="222123" y="282035"/>
                  </a:lnTo>
                  <a:lnTo>
                    <a:pt x="219456" y="285559"/>
                  </a:lnTo>
                  <a:lnTo>
                    <a:pt x="216979" y="279463"/>
                  </a:lnTo>
                  <a:lnTo>
                    <a:pt x="210121" y="275558"/>
                  </a:lnTo>
                  <a:lnTo>
                    <a:pt x="208978" y="278892"/>
                  </a:lnTo>
                  <a:lnTo>
                    <a:pt x="204025" y="277939"/>
                  </a:lnTo>
                  <a:lnTo>
                    <a:pt x="204978" y="285845"/>
                  </a:lnTo>
                  <a:lnTo>
                    <a:pt x="204978" y="285845"/>
                  </a:lnTo>
                  <a:lnTo>
                    <a:pt x="202025" y="287846"/>
                  </a:lnTo>
                  <a:lnTo>
                    <a:pt x="198501" y="285083"/>
                  </a:lnTo>
                  <a:lnTo>
                    <a:pt x="199644" y="281750"/>
                  </a:lnTo>
                  <a:lnTo>
                    <a:pt x="194977" y="282321"/>
                  </a:lnTo>
                  <a:lnTo>
                    <a:pt x="195358" y="285464"/>
                  </a:lnTo>
                  <a:lnTo>
                    <a:pt x="198882" y="288226"/>
                  </a:lnTo>
                  <a:lnTo>
                    <a:pt x="197929" y="293180"/>
                  </a:lnTo>
                  <a:lnTo>
                    <a:pt x="193167" y="293751"/>
                  </a:lnTo>
                  <a:lnTo>
                    <a:pt x="193548" y="296894"/>
                  </a:lnTo>
                  <a:lnTo>
                    <a:pt x="192214" y="298704"/>
                  </a:lnTo>
                  <a:lnTo>
                    <a:pt x="191071" y="302038"/>
                  </a:lnTo>
                  <a:lnTo>
                    <a:pt x="192976" y="304991"/>
                  </a:lnTo>
                  <a:lnTo>
                    <a:pt x="191643" y="306800"/>
                  </a:lnTo>
                  <a:lnTo>
                    <a:pt x="191834" y="308324"/>
                  </a:lnTo>
                  <a:lnTo>
                    <a:pt x="183737" y="307753"/>
                  </a:lnTo>
                  <a:lnTo>
                    <a:pt x="183166" y="303086"/>
                  </a:lnTo>
                  <a:lnTo>
                    <a:pt x="180784" y="296989"/>
                  </a:lnTo>
                  <a:lnTo>
                    <a:pt x="173831" y="292989"/>
                  </a:lnTo>
                  <a:lnTo>
                    <a:pt x="174212" y="296132"/>
                  </a:lnTo>
                  <a:lnTo>
                    <a:pt x="172498" y="294799"/>
                  </a:lnTo>
                  <a:lnTo>
                    <a:pt x="172688" y="296323"/>
                  </a:lnTo>
                  <a:lnTo>
                    <a:pt x="169545" y="296799"/>
                  </a:lnTo>
                  <a:lnTo>
                    <a:pt x="164782" y="297371"/>
                  </a:lnTo>
                  <a:lnTo>
                    <a:pt x="162973" y="296037"/>
                  </a:lnTo>
                  <a:lnTo>
                    <a:pt x="160972" y="293084"/>
                  </a:lnTo>
                  <a:lnTo>
                    <a:pt x="160782" y="291465"/>
                  </a:lnTo>
                  <a:lnTo>
                    <a:pt x="156115" y="292037"/>
                  </a:lnTo>
                  <a:lnTo>
                    <a:pt x="157067" y="287179"/>
                  </a:lnTo>
                  <a:lnTo>
                    <a:pt x="158591" y="286893"/>
                  </a:lnTo>
                  <a:lnTo>
                    <a:pt x="160020" y="285179"/>
                  </a:lnTo>
                  <a:lnTo>
                    <a:pt x="155257" y="285750"/>
                  </a:lnTo>
                  <a:lnTo>
                    <a:pt x="154114" y="289084"/>
                  </a:lnTo>
                  <a:lnTo>
                    <a:pt x="152305" y="287750"/>
                  </a:lnTo>
                  <a:lnTo>
                    <a:pt x="149161" y="288131"/>
                  </a:lnTo>
                  <a:lnTo>
                    <a:pt x="150209" y="296037"/>
                  </a:lnTo>
                  <a:lnTo>
                    <a:pt x="145066" y="293465"/>
                  </a:lnTo>
                  <a:lnTo>
                    <a:pt x="137350" y="296037"/>
                  </a:lnTo>
                  <a:lnTo>
                    <a:pt x="135731" y="296228"/>
                  </a:lnTo>
                  <a:lnTo>
                    <a:pt x="136207" y="299371"/>
                  </a:lnTo>
                  <a:lnTo>
                    <a:pt x="132969" y="299847"/>
                  </a:lnTo>
                  <a:lnTo>
                    <a:pt x="129445" y="297085"/>
                  </a:lnTo>
                  <a:lnTo>
                    <a:pt x="128302" y="300418"/>
                  </a:lnTo>
                  <a:lnTo>
                    <a:pt x="125158" y="300800"/>
                  </a:lnTo>
                  <a:lnTo>
                    <a:pt x="121729" y="299657"/>
                  </a:lnTo>
                  <a:lnTo>
                    <a:pt x="115824" y="303562"/>
                  </a:lnTo>
                  <a:lnTo>
                    <a:pt x="108585" y="296513"/>
                  </a:lnTo>
                  <a:lnTo>
                    <a:pt x="104013" y="298704"/>
                  </a:lnTo>
                  <a:lnTo>
                    <a:pt x="101822" y="294132"/>
                  </a:lnTo>
                  <a:lnTo>
                    <a:pt x="95726" y="296513"/>
                  </a:lnTo>
                  <a:lnTo>
                    <a:pt x="94488" y="299942"/>
                  </a:lnTo>
                  <a:lnTo>
                    <a:pt x="92773" y="298513"/>
                  </a:lnTo>
                  <a:lnTo>
                    <a:pt x="91345" y="300323"/>
                  </a:lnTo>
                  <a:lnTo>
                    <a:pt x="89154" y="295751"/>
                  </a:lnTo>
                  <a:lnTo>
                    <a:pt x="87630" y="295942"/>
                  </a:lnTo>
                  <a:lnTo>
                    <a:pt x="87820" y="297561"/>
                  </a:lnTo>
                  <a:lnTo>
                    <a:pt x="82677" y="294989"/>
                  </a:lnTo>
                  <a:lnTo>
                    <a:pt x="84106" y="293275"/>
                  </a:lnTo>
                  <a:lnTo>
                    <a:pt x="78772" y="289084"/>
                  </a:lnTo>
                  <a:lnTo>
                    <a:pt x="78486" y="287560"/>
                  </a:lnTo>
                  <a:lnTo>
                    <a:pt x="66103" y="290703"/>
                  </a:lnTo>
                  <a:lnTo>
                    <a:pt x="59817" y="291465"/>
                  </a:lnTo>
                  <a:lnTo>
                    <a:pt x="54673" y="301752"/>
                  </a:lnTo>
                  <a:lnTo>
                    <a:pt x="58198" y="304514"/>
                  </a:lnTo>
                  <a:lnTo>
                    <a:pt x="63151" y="305467"/>
                  </a:lnTo>
                  <a:lnTo>
                    <a:pt x="67151" y="311372"/>
                  </a:lnTo>
                  <a:lnTo>
                    <a:pt x="65722" y="313182"/>
                  </a:lnTo>
                  <a:lnTo>
                    <a:pt x="67913" y="317754"/>
                  </a:lnTo>
                  <a:lnTo>
                    <a:pt x="66580" y="319468"/>
                  </a:lnTo>
                  <a:lnTo>
                    <a:pt x="60484" y="321850"/>
                  </a:lnTo>
                  <a:lnTo>
                    <a:pt x="48958" y="320135"/>
                  </a:lnTo>
                  <a:lnTo>
                    <a:pt x="46482" y="325279"/>
                  </a:lnTo>
                  <a:lnTo>
                    <a:pt x="39338" y="319754"/>
                  </a:lnTo>
                  <a:lnTo>
                    <a:pt x="34576" y="320421"/>
                  </a:lnTo>
                  <a:lnTo>
                    <a:pt x="31813" y="323945"/>
                  </a:lnTo>
                  <a:lnTo>
                    <a:pt x="32671" y="330232"/>
                  </a:lnTo>
                  <a:lnTo>
                    <a:pt x="31242" y="332042"/>
                  </a:lnTo>
                  <a:lnTo>
                    <a:pt x="29908" y="333756"/>
                  </a:lnTo>
                  <a:lnTo>
                    <a:pt x="33433" y="336518"/>
                  </a:lnTo>
                  <a:lnTo>
                    <a:pt x="37624" y="344043"/>
                  </a:lnTo>
                  <a:lnTo>
                    <a:pt x="34480" y="344424"/>
                  </a:lnTo>
                  <a:lnTo>
                    <a:pt x="29718" y="345091"/>
                  </a:lnTo>
                  <a:lnTo>
                    <a:pt x="28384" y="346805"/>
                  </a:lnTo>
                  <a:lnTo>
                    <a:pt x="29146" y="353187"/>
                  </a:lnTo>
                  <a:lnTo>
                    <a:pt x="25241" y="360045"/>
                  </a:lnTo>
                  <a:lnTo>
                    <a:pt x="26956" y="361474"/>
                  </a:lnTo>
                  <a:lnTo>
                    <a:pt x="30956" y="367379"/>
                  </a:lnTo>
                  <a:lnTo>
                    <a:pt x="33718" y="376618"/>
                  </a:lnTo>
                  <a:lnTo>
                    <a:pt x="37338" y="379381"/>
                  </a:lnTo>
                  <a:lnTo>
                    <a:pt x="36100" y="382714"/>
                  </a:lnTo>
                  <a:lnTo>
                    <a:pt x="31813" y="386525"/>
                  </a:lnTo>
                  <a:lnTo>
                    <a:pt x="23527" y="384334"/>
                  </a:lnTo>
                  <a:lnTo>
                    <a:pt x="20383" y="384715"/>
                  </a:lnTo>
                  <a:lnTo>
                    <a:pt x="16764" y="381953"/>
                  </a:lnTo>
                  <a:lnTo>
                    <a:pt x="17145" y="385096"/>
                  </a:lnTo>
                  <a:lnTo>
                    <a:pt x="12097" y="382619"/>
                  </a:lnTo>
                  <a:lnTo>
                    <a:pt x="9715" y="389287"/>
                  </a:lnTo>
                  <a:lnTo>
                    <a:pt x="8763" y="394240"/>
                  </a:lnTo>
                  <a:lnTo>
                    <a:pt x="15430" y="396621"/>
                  </a:lnTo>
                  <a:lnTo>
                    <a:pt x="17240" y="397955"/>
                  </a:lnTo>
                  <a:lnTo>
                    <a:pt x="19240" y="400907"/>
                  </a:lnTo>
                  <a:lnTo>
                    <a:pt x="19621" y="404050"/>
                  </a:lnTo>
                  <a:lnTo>
                    <a:pt x="26956" y="411194"/>
                  </a:lnTo>
                  <a:lnTo>
                    <a:pt x="25336" y="411385"/>
                  </a:lnTo>
                  <a:lnTo>
                    <a:pt x="25717" y="414528"/>
                  </a:lnTo>
                  <a:lnTo>
                    <a:pt x="27527" y="415862"/>
                  </a:lnTo>
                  <a:lnTo>
                    <a:pt x="26956" y="423958"/>
                  </a:lnTo>
                  <a:lnTo>
                    <a:pt x="29146" y="428530"/>
                  </a:lnTo>
                  <a:lnTo>
                    <a:pt x="26194" y="430530"/>
                  </a:lnTo>
                  <a:lnTo>
                    <a:pt x="23813" y="437197"/>
                  </a:lnTo>
                  <a:lnTo>
                    <a:pt x="20860" y="439198"/>
                  </a:lnTo>
                  <a:lnTo>
                    <a:pt x="19336" y="439388"/>
                  </a:lnTo>
                  <a:lnTo>
                    <a:pt x="21431" y="443960"/>
                  </a:lnTo>
                  <a:lnTo>
                    <a:pt x="24860" y="445103"/>
                  </a:lnTo>
                  <a:lnTo>
                    <a:pt x="25241" y="448246"/>
                  </a:lnTo>
                  <a:lnTo>
                    <a:pt x="23146" y="469392"/>
                  </a:lnTo>
                  <a:lnTo>
                    <a:pt x="18383" y="469963"/>
                  </a:lnTo>
                  <a:lnTo>
                    <a:pt x="15811" y="475107"/>
                  </a:lnTo>
                  <a:lnTo>
                    <a:pt x="15621" y="486346"/>
                  </a:lnTo>
                  <a:lnTo>
                    <a:pt x="11716" y="493300"/>
                  </a:lnTo>
                  <a:lnTo>
                    <a:pt x="8572" y="493681"/>
                  </a:lnTo>
                  <a:lnTo>
                    <a:pt x="7429" y="497014"/>
                  </a:lnTo>
                  <a:lnTo>
                    <a:pt x="7810" y="500158"/>
                  </a:lnTo>
                  <a:lnTo>
                    <a:pt x="12287" y="498062"/>
                  </a:lnTo>
                  <a:lnTo>
                    <a:pt x="13716" y="496253"/>
                  </a:lnTo>
                  <a:lnTo>
                    <a:pt x="16859" y="495871"/>
                  </a:lnTo>
                  <a:lnTo>
                    <a:pt x="14478" y="502539"/>
                  </a:lnTo>
                  <a:lnTo>
                    <a:pt x="11525" y="504539"/>
                  </a:lnTo>
                  <a:lnTo>
                    <a:pt x="12192" y="509302"/>
                  </a:lnTo>
                  <a:lnTo>
                    <a:pt x="9239" y="511207"/>
                  </a:lnTo>
                  <a:lnTo>
                    <a:pt x="10192" y="519113"/>
                  </a:lnTo>
                  <a:lnTo>
                    <a:pt x="9049" y="522446"/>
                  </a:lnTo>
                  <a:lnTo>
                    <a:pt x="9430" y="525685"/>
                  </a:lnTo>
                  <a:lnTo>
                    <a:pt x="8477" y="530543"/>
                  </a:lnTo>
                  <a:lnTo>
                    <a:pt x="5524" y="532543"/>
                  </a:lnTo>
                  <a:lnTo>
                    <a:pt x="2191" y="531400"/>
                  </a:lnTo>
                  <a:lnTo>
                    <a:pt x="1143" y="536353"/>
                  </a:lnTo>
                  <a:lnTo>
                    <a:pt x="4572" y="537496"/>
                  </a:lnTo>
                  <a:lnTo>
                    <a:pt x="1619" y="539496"/>
                  </a:lnTo>
                  <a:lnTo>
                    <a:pt x="381" y="542830"/>
                  </a:lnTo>
                  <a:lnTo>
                    <a:pt x="2381" y="545783"/>
                  </a:lnTo>
                  <a:lnTo>
                    <a:pt x="2762" y="548926"/>
                  </a:lnTo>
                  <a:lnTo>
                    <a:pt x="0" y="552545"/>
                  </a:lnTo>
                  <a:lnTo>
                    <a:pt x="2000" y="555498"/>
                  </a:lnTo>
                  <a:lnTo>
                    <a:pt x="3619" y="555308"/>
                  </a:lnTo>
                  <a:lnTo>
                    <a:pt x="12287" y="560546"/>
                  </a:lnTo>
                  <a:lnTo>
                    <a:pt x="20383" y="561118"/>
                  </a:lnTo>
                  <a:lnTo>
                    <a:pt x="24289" y="567023"/>
                  </a:lnTo>
                  <a:lnTo>
                    <a:pt x="25717" y="578072"/>
                  </a:lnTo>
                  <a:lnTo>
                    <a:pt x="30289" y="575882"/>
                  </a:lnTo>
                  <a:lnTo>
                    <a:pt x="29337" y="580834"/>
                  </a:lnTo>
                  <a:lnTo>
                    <a:pt x="25908" y="579692"/>
                  </a:lnTo>
                  <a:lnTo>
                    <a:pt x="22955" y="581692"/>
                  </a:lnTo>
                  <a:lnTo>
                    <a:pt x="19050" y="588550"/>
                  </a:lnTo>
                  <a:lnTo>
                    <a:pt x="17240" y="587216"/>
                  </a:lnTo>
                  <a:lnTo>
                    <a:pt x="17907" y="591979"/>
                  </a:lnTo>
                  <a:lnTo>
                    <a:pt x="13144" y="592550"/>
                  </a:lnTo>
                  <a:lnTo>
                    <a:pt x="13716" y="597313"/>
                  </a:lnTo>
                  <a:lnTo>
                    <a:pt x="10763" y="599218"/>
                  </a:lnTo>
                  <a:lnTo>
                    <a:pt x="11239" y="602361"/>
                  </a:lnTo>
                  <a:lnTo>
                    <a:pt x="13335" y="606933"/>
                  </a:lnTo>
                  <a:lnTo>
                    <a:pt x="20669" y="613982"/>
                  </a:lnTo>
                  <a:lnTo>
                    <a:pt x="27432" y="616363"/>
                  </a:lnTo>
                  <a:lnTo>
                    <a:pt x="27813" y="619506"/>
                  </a:lnTo>
                  <a:lnTo>
                    <a:pt x="24098" y="627983"/>
                  </a:lnTo>
                  <a:lnTo>
                    <a:pt x="30766" y="630364"/>
                  </a:lnTo>
                  <a:lnTo>
                    <a:pt x="39052" y="632555"/>
                  </a:lnTo>
                  <a:lnTo>
                    <a:pt x="39529" y="635699"/>
                  </a:lnTo>
                  <a:lnTo>
                    <a:pt x="42863" y="636842"/>
                  </a:lnTo>
                  <a:lnTo>
                    <a:pt x="41910" y="641795"/>
                  </a:lnTo>
                  <a:lnTo>
                    <a:pt x="45815" y="647700"/>
                  </a:lnTo>
                  <a:lnTo>
                    <a:pt x="47625" y="649129"/>
                  </a:lnTo>
                  <a:lnTo>
                    <a:pt x="50578" y="647129"/>
                  </a:lnTo>
                  <a:lnTo>
                    <a:pt x="57912" y="654177"/>
                  </a:lnTo>
                  <a:lnTo>
                    <a:pt x="61817" y="660083"/>
                  </a:lnTo>
                  <a:lnTo>
                    <a:pt x="62484" y="664845"/>
                  </a:lnTo>
                  <a:lnTo>
                    <a:pt x="64008" y="664655"/>
                  </a:lnTo>
                  <a:lnTo>
                    <a:pt x="64198" y="666179"/>
                  </a:lnTo>
                  <a:lnTo>
                    <a:pt x="72485" y="668369"/>
                  </a:lnTo>
                  <a:lnTo>
                    <a:pt x="80581" y="656082"/>
                  </a:lnTo>
                  <a:lnTo>
                    <a:pt x="85153" y="653891"/>
                  </a:lnTo>
                  <a:lnTo>
                    <a:pt x="89440" y="650176"/>
                  </a:lnTo>
                  <a:lnTo>
                    <a:pt x="92583" y="649796"/>
                  </a:lnTo>
                  <a:lnTo>
                    <a:pt x="94012" y="647986"/>
                  </a:lnTo>
                  <a:lnTo>
                    <a:pt x="99917" y="643985"/>
                  </a:lnTo>
                  <a:lnTo>
                    <a:pt x="101917" y="646938"/>
                  </a:lnTo>
                  <a:lnTo>
                    <a:pt x="103251" y="645224"/>
                  </a:lnTo>
                  <a:lnTo>
                    <a:pt x="102298" y="650176"/>
                  </a:lnTo>
                  <a:lnTo>
                    <a:pt x="107251" y="651129"/>
                  </a:lnTo>
                  <a:lnTo>
                    <a:pt x="111538" y="660178"/>
                  </a:lnTo>
                  <a:lnTo>
                    <a:pt x="113728" y="664750"/>
                  </a:lnTo>
                  <a:lnTo>
                    <a:pt x="122491" y="669988"/>
                  </a:lnTo>
                  <a:lnTo>
                    <a:pt x="121063" y="671798"/>
                  </a:lnTo>
                  <a:lnTo>
                    <a:pt x="126016" y="672751"/>
                  </a:lnTo>
                  <a:lnTo>
                    <a:pt x="127159" y="669417"/>
                  </a:lnTo>
                  <a:lnTo>
                    <a:pt x="128968" y="670751"/>
                  </a:lnTo>
                  <a:lnTo>
                    <a:pt x="137255" y="672941"/>
                  </a:lnTo>
                  <a:lnTo>
                    <a:pt x="152019" y="675894"/>
                  </a:lnTo>
                  <a:lnTo>
                    <a:pt x="151447" y="683990"/>
                  </a:lnTo>
                  <a:lnTo>
                    <a:pt x="147161" y="687705"/>
                  </a:lnTo>
                  <a:lnTo>
                    <a:pt x="151162" y="693611"/>
                  </a:lnTo>
                  <a:lnTo>
                    <a:pt x="150114" y="698563"/>
                  </a:lnTo>
                  <a:lnTo>
                    <a:pt x="137160" y="697039"/>
                  </a:lnTo>
                  <a:lnTo>
                    <a:pt x="133731" y="695801"/>
                  </a:lnTo>
                  <a:lnTo>
                    <a:pt x="132207" y="696087"/>
                  </a:lnTo>
                  <a:lnTo>
                    <a:pt x="136112" y="701993"/>
                  </a:lnTo>
                  <a:lnTo>
                    <a:pt x="142684" y="702755"/>
                  </a:lnTo>
                  <a:lnTo>
                    <a:pt x="148209" y="708470"/>
                  </a:lnTo>
                  <a:lnTo>
                    <a:pt x="153734" y="701326"/>
                  </a:lnTo>
                  <a:lnTo>
                    <a:pt x="163163" y="700088"/>
                  </a:lnTo>
                  <a:lnTo>
                    <a:pt x="166497" y="701326"/>
                  </a:lnTo>
                  <a:lnTo>
                    <a:pt x="168688" y="705803"/>
                  </a:lnTo>
                  <a:lnTo>
                    <a:pt x="171831" y="705422"/>
                  </a:lnTo>
                  <a:lnTo>
                    <a:pt x="174403" y="713137"/>
                  </a:lnTo>
                  <a:lnTo>
                    <a:pt x="176213" y="714470"/>
                  </a:lnTo>
                  <a:lnTo>
                    <a:pt x="176403" y="716089"/>
                  </a:lnTo>
                  <a:lnTo>
                    <a:pt x="175069" y="717804"/>
                  </a:lnTo>
                  <a:lnTo>
                    <a:pt x="177832" y="727138"/>
                  </a:lnTo>
                  <a:lnTo>
                    <a:pt x="176689" y="730472"/>
                  </a:lnTo>
                  <a:lnTo>
                    <a:pt x="184975" y="732568"/>
                  </a:lnTo>
                  <a:lnTo>
                    <a:pt x="191643" y="734949"/>
                  </a:lnTo>
                  <a:lnTo>
                    <a:pt x="194977" y="736187"/>
                  </a:lnTo>
                  <a:lnTo>
                    <a:pt x="204121" y="731806"/>
                  </a:lnTo>
                  <a:lnTo>
                    <a:pt x="213741" y="719328"/>
                  </a:lnTo>
                  <a:lnTo>
                    <a:pt x="213169" y="714566"/>
                  </a:lnTo>
                  <a:lnTo>
                    <a:pt x="218027" y="715613"/>
                  </a:lnTo>
                  <a:lnTo>
                    <a:pt x="224409" y="727615"/>
                  </a:lnTo>
                  <a:lnTo>
                    <a:pt x="225552" y="724186"/>
                  </a:lnTo>
                  <a:lnTo>
                    <a:pt x="231934" y="723424"/>
                  </a:lnTo>
                  <a:lnTo>
                    <a:pt x="240601" y="728758"/>
                  </a:lnTo>
                  <a:lnTo>
                    <a:pt x="243745" y="728377"/>
                  </a:lnTo>
                  <a:lnTo>
                    <a:pt x="248888" y="730853"/>
                  </a:lnTo>
                  <a:lnTo>
                    <a:pt x="250222" y="729139"/>
                  </a:lnTo>
                  <a:lnTo>
                    <a:pt x="260890" y="737330"/>
                  </a:lnTo>
                  <a:lnTo>
                    <a:pt x="258223" y="740950"/>
                  </a:lnTo>
                  <a:lnTo>
                    <a:pt x="259937" y="742283"/>
                  </a:lnTo>
                  <a:lnTo>
                    <a:pt x="257651" y="749046"/>
                  </a:lnTo>
                  <a:lnTo>
                    <a:pt x="262128" y="746855"/>
                  </a:lnTo>
                  <a:lnTo>
                    <a:pt x="261747" y="743712"/>
                  </a:lnTo>
                  <a:lnTo>
                    <a:pt x="266033" y="739902"/>
                  </a:lnTo>
                  <a:lnTo>
                    <a:pt x="269462" y="741140"/>
                  </a:lnTo>
                  <a:lnTo>
                    <a:pt x="271367" y="744093"/>
                  </a:lnTo>
                  <a:lnTo>
                    <a:pt x="275939" y="741902"/>
                  </a:lnTo>
                  <a:lnTo>
                    <a:pt x="280035" y="736568"/>
                  </a:lnTo>
                  <a:lnTo>
                    <a:pt x="286417" y="735711"/>
                  </a:lnTo>
                  <a:lnTo>
                    <a:pt x="295084" y="741045"/>
                  </a:lnTo>
                  <a:lnTo>
                    <a:pt x="301180" y="738664"/>
                  </a:lnTo>
                  <a:lnTo>
                    <a:pt x="300609" y="733901"/>
                  </a:lnTo>
                  <a:lnTo>
                    <a:pt x="305276" y="733330"/>
                  </a:lnTo>
                  <a:lnTo>
                    <a:pt x="307276" y="736283"/>
                  </a:lnTo>
                  <a:lnTo>
                    <a:pt x="310420" y="735901"/>
                  </a:lnTo>
                  <a:lnTo>
                    <a:pt x="313372" y="733901"/>
                  </a:lnTo>
                  <a:lnTo>
                    <a:pt x="320135" y="736283"/>
                  </a:lnTo>
                  <a:lnTo>
                    <a:pt x="323659" y="739045"/>
                  </a:lnTo>
                  <a:lnTo>
                    <a:pt x="323088" y="747046"/>
                  </a:lnTo>
                  <a:lnTo>
                    <a:pt x="324326" y="756571"/>
                  </a:lnTo>
                  <a:lnTo>
                    <a:pt x="326517" y="761047"/>
                  </a:lnTo>
                  <a:lnTo>
                    <a:pt x="325088" y="762857"/>
                  </a:lnTo>
                  <a:lnTo>
                    <a:pt x="328517" y="764000"/>
                  </a:lnTo>
                  <a:lnTo>
                    <a:pt x="324517" y="770954"/>
                  </a:lnTo>
                  <a:lnTo>
                    <a:pt x="324993" y="774097"/>
                  </a:lnTo>
                  <a:lnTo>
                    <a:pt x="320992" y="781050"/>
                  </a:lnTo>
                  <a:lnTo>
                    <a:pt x="321850" y="787337"/>
                  </a:lnTo>
                  <a:lnTo>
                    <a:pt x="321850" y="787337"/>
                  </a:lnTo>
                  <a:lnTo>
                    <a:pt x="317849" y="794290"/>
                  </a:lnTo>
                  <a:lnTo>
                    <a:pt x="321088" y="793813"/>
                  </a:lnTo>
                  <a:lnTo>
                    <a:pt x="324421" y="795052"/>
                  </a:lnTo>
                  <a:lnTo>
                    <a:pt x="324993" y="799814"/>
                  </a:lnTo>
                  <a:lnTo>
                    <a:pt x="327565" y="807434"/>
                  </a:lnTo>
                  <a:lnTo>
                    <a:pt x="329565" y="810387"/>
                  </a:lnTo>
                  <a:lnTo>
                    <a:pt x="332708" y="810006"/>
                  </a:lnTo>
                  <a:lnTo>
                    <a:pt x="330517" y="805434"/>
                  </a:lnTo>
                  <a:lnTo>
                    <a:pt x="333946" y="806672"/>
                  </a:lnTo>
                  <a:lnTo>
                    <a:pt x="335470" y="806482"/>
                  </a:lnTo>
                  <a:lnTo>
                    <a:pt x="334518" y="811435"/>
                  </a:lnTo>
                  <a:lnTo>
                    <a:pt x="341471" y="815340"/>
                  </a:lnTo>
                  <a:lnTo>
                    <a:pt x="342614" y="812006"/>
                  </a:lnTo>
                  <a:lnTo>
                    <a:pt x="346329" y="816293"/>
                  </a:lnTo>
                  <a:lnTo>
                    <a:pt x="348710" y="822388"/>
                  </a:lnTo>
                  <a:lnTo>
                    <a:pt x="347758" y="827342"/>
                  </a:lnTo>
                  <a:lnTo>
                    <a:pt x="354711" y="831247"/>
                  </a:lnTo>
                  <a:lnTo>
                    <a:pt x="357854" y="830866"/>
                  </a:lnTo>
                  <a:lnTo>
                    <a:pt x="359378" y="830675"/>
                  </a:lnTo>
                  <a:lnTo>
                    <a:pt x="366331" y="834580"/>
                  </a:lnTo>
                  <a:lnTo>
                    <a:pt x="370046" y="838962"/>
                  </a:lnTo>
                  <a:lnTo>
                    <a:pt x="378619" y="842677"/>
                  </a:lnTo>
                  <a:lnTo>
                    <a:pt x="377857" y="849154"/>
                  </a:lnTo>
                  <a:lnTo>
                    <a:pt x="379571" y="850583"/>
                  </a:lnTo>
                  <a:lnTo>
                    <a:pt x="382143" y="845439"/>
                  </a:lnTo>
                  <a:lnTo>
                    <a:pt x="384334" y="837152"/>
                  </a:lnTo>
                  <a:lnTo>
                    <a:pt x="385858" y="836962"/>
                  </a:lnTo>
                  <a:lnTo>
                    <a:pt x="387286" y="835152"/>
                  </a:lnTo>
                  <a:lnTo>
                    <a:pt x="390239" y="833152"/>
                  </a:lnTo>
                  <a:lnTo>
                    <a:pt x="393382" y="832771"/>
                  </a:lnTo>
                  <a:lnTo>
                    <a:pt x="396907" y="835533"/>
                  </a:lnTo>
                  <a:lnTo>
                    <a:pt x="404622" y="845725"/>
                  </a:lnTo>
                  <a:lnTo>
                    <a:pt x="406241" y="845534"/>
                  </a:lnTo>
                  <a:lnTo>
                    <a:pt x="408241" y="848487"/>
                  </a:lnTo>
                  <a:lnTo>
                    <a:pt x="409575" y="846772"/>
                  </a:lnTo>
                  <a:lnTo>
                    <a:pt x="412909" y="847916"/>
                  </a:lnTo>
                  <a:lnTo>
                    <a:pt x="412528" y="844772"/>
                  </a:lnTo>
                  <a:lnTo>
                    <a:pt x="423958" y="846487"/>
                  </a:lnTo>
                  <a:lnTo>
                    <a:pt x="430530" y="847249"/>
                  </a:lnTo>
                  <a:lnTo>
                    <a:pt x="435388" y="848201"/>
                  </a:lnTo>
                  <a:lnTo>
                    <a:pt x="442150" y="837819"/>
                  </a:lnTo>
                  <a:lnTo>
                    <a:pt x="443484" y="836009"/>
                  </a:lnTo>
                  <a:lnTo>
                    <a:pt x="451580" y="836581"/>
                  </a:lnTo>
                  <a:lnTo>
                    <a:pt x="455295" y="840867"/>
                  </a:lnTo>
                  <a:lnTo>
                    <a:pt x="455581" y="842486"/>
                  </a:lnTo>
                  <a:lnTo>
                    <a:pt x="460438" y="843439"/>
                  </a:lnTo>
                  <a:lnTo>
                    <a:pt x="463201" y="839914"/>
                  </a:lnTo>
                  <a:lnTo>
                    <a:pt x="459486" y="835533"/>
                  </a:lnTo>
                  <a:lnTo>
                    <a:pt x="460438" y="830675"/>
                  </a:lnTo>
                  <a:lnTo>
                    <a:pt x="463772" y="831818"/>
                  </a:lnTo>
                  <a:lnTo>
                    <a:pt x="466725" y="829818"/>
                  </a:lnTo>
                  <a:lnTo>
                    <a:pt x="473869" y="835343"/>
                  </a:lnTo>
                  <a:lnTo>
                    <a:pt x="473107" y="841820"/>
                  </a:lnTo>
                  <a:lnTo>
                    <a:pt x="475488" y="835152"/>
                  </a:lnTo>
                  <a:lnTo>
                    <a:pt x="482155" y="837438"/>
                  </a:lnTo>
                  <a:lnTo>
                    <a:pt x="483394" y="846963"/>
                  </a:lnTo>
                  <a:lnTo>
                    <a:pt x="485775" y="853059"/>
                  </a:lnTo>
                  <a:lnTo>
                    <a:pt x="483965" y="851726"/>
                  </a:lnTo>
                  <a:lnTo>
                    <a:pt x="476059" y="852678"/>
                  </a:lnTo>
                  <a:lnTo>
                    <a:pt x="474726" y="854488"/>
                  </a:lnTo>
                  <a:lnTo>
                    <a:pt x="478250" y="857250"/>
                  </a:lnTo>
                  <a:lnTo>
                    <a:pt x="487585" y="867251"/>
                  </a:lnTo>
                  <a:lnTo>
                    <a:pt x="488918" y="865442"/>
                  </a:lnTo>
                  <a:lnTo>
                    <a:pt x="487204" y="864108"/>
                  </a:lnTo>
                  <a:lnTo>
                    <a:pt x="490156" y="862108"/>
                  </a:lnTo>
                  <a:lnTo>
                    <a:pt x="498443" y="864299"/>
                  </a:lnTo>
                  <a:lnTo>
                    <a:pt x="500348" y="867251"/>
                  </a:lnTo>
                  <a:lnTo>
                    <a:pt x="495681" y="867823"/>
                  </a:lnTo>
                  <a:lnTo>
                    <a:pt x="492919" y="871347"/>
                  </a:lnTo>
                  <a:lnTo>
                    <a:pt x="507778" y="887159"/>
                  </a:lnTo>
                  <a:lnTo>
                    <a:pt x="499872" y="888111"/>
                  </a:lnTo>
                  <a:lnTo>
                    <a:pt x="503777" y="894017"/>
                  </a:lnTo>
                  <a:lnTo>
                    <a:pt x="504444" y="898779"/>
                  </a:lnTo>
                  <a:lnTo>
                    <a:pt x="501682" y="902399"/>
                  </a:lnTo>
                  <a:lnTo>
                    <a:pt x="495395" y="903161"/>
                  </a:lnTo>
                  <a:lnTo>
                    <a:pt x="493586" y="901827"/>
                  </a:lnTo>
                  <a:lnTo>
                    <a:pt x="492157" y="903542"/>
                  </a:lnTo>
                  <a:lnTo>
                    <a:pt x="490442" y="902208"/>
                  </a:lnTo>
                  <a:lnTo>
                    <a:pt x="482536" y="903161"/>
                  </a:lnTo>
                  <a:lnTo>
                    <a:pt x="472249" y="898112"/>
                  </a:lnTo>
                  <a:lnTo>
                    <a:pt x="471297" y="902970"/>
                  </a:lnTo>
                  <a:lnTo>
                    <a:pt x="475202" y="908971"/>
                  </a:lnTo>
                  <a:lnTo>
                    <a:pt x="474631" y="916972"/>
                  </a:lnTo>
                  <a:lnTo>
                    <a:pt x="471106" y="914305"/>
                  </a:lnTo>
                  <a:lnTo>
                    <a:pt x="463391" y="916876"/>
                  </a:lnTo>
                  <a:lnTo>
                    <a:pt x="465201" y="918210"/>
                  </a:lnTo>
                  <a:lnTo>
                    <a:pt x="467011" y="919639"/>
                  </a:lnTo>
                  <a:lnTo>
                    <a:pt x="466153" y="926116"/>
                  </a:lnTo>
                  <a:lnTo>
                    <a:pt x="471297" y="928688"/>
                  </a:lnTo>
                  <a:lnTo>
                    <a:pt x="469201" y="936974"/>
                  </a:lnTo>
                  <a:lnTo>
                    <a:pt x="463105" y="939355"/>
                  </a:lnTo>
                  <a:lnTo>
                    <a:pt x="455200" y="940308"/>
                  </a:lnTo>
                  <a:lnTo>
                    <a:pt x="454057" y="943737"/>
                  </a:lnTo>
                  <a:lnTo>
                    <a:pt x="455962" y="946690"/>
                  </a:lnTo>
                  <a:lnTo>
                    <a:pt x="454628" y="948404"/>
                  </a:lnTo>
                  <a:lnTo>
                    <a:pt x="457962" y="949643"/>
                  </a:lnTo>
                  <a:lnTo>
                    <a:pt x="455390" y="954786"/>
                  </a:lnTo>
                  <a:lnTo>
                    <a:pt x="457200" y="956120"/>
                  </a:lnTo>
                  <a:lnTo>
                    <a:pt x="454247" y="958120"/>
                  </a:lnTo>
                  <a:lnTo>
                    <a:pt x="453104" y="961454"/>
                  </a:lnTo>
                  <a:lnTo>
                    <a:pt x="448151" y="960501"/>
                  </a:lnTo>
                  <a:lnTo>
                    <a:pt x="449104" y="968407"/>
                  </a:lnTo>
                  <a:lnTo>
                    <a:pt x="447389" y="966978"/>
                  </a:lnTo>
                  <a:lnTo>
                    <a:pt x="443960" y="965835"/>
                  </a:lnTo>
                  <a:lnTo>
                    <a:pt x="442436" y="966026"/>
                  </a:lnTo>
                  <a:lnTo>
                    <a:pt x="441484" y="970979"/>
                  </a:lnTo>
                  <a:lnTo>
                    <a:pt x="438912" y="976122"/>
                  </a:lnTo>
                  <a:lnTo>
                    <a:pt x="434149" y="976693"/>
                  </a:lnTo>
                  <a:lnTo>
                    <a:pt x="428053" y="979075"/>
                  </a:lnTo>
                  <a:lnTo>
                    <a:pt x="430435" y="985171"/>
                  </a:lnTo>
                  <a:lnTo>
                    <a:pt x="426053" y="988981"/>
                  </a:lnTo>
                  <a:lnTo>
                    <a:pt x="430435" y="998030"/>
                  </a:lnTo>
                  <a:lnTo>
                    <a:pt x="432054" y="997839"/>
                  </a:lnTo>
                  <a:lnTo>
                    <a:pt x="433197" y="994505"/>
                  </a:lnTo>
                  <a:lnTo>
                    <a:pt x="437959" y="993838"/>
                  </a:lnTo>
                  <a:lnTo>
                    <a:pt x="441865" y="986980"/>
                  </a:lnTo>
                  <a:lnTo>
                    <a:pt x="448627" y="989267"/>
                  </a:lnTo>
                  <a:lnTo>
                    <a:pt x="451961" y="990505"/>
                  </a:lnTo>
                  <a:lnTo>
                    <a:pt x="454342" y="996601"/>
                  </a:lnTo>
                  <a:lnTo>
                    <a:pt x="452914" y="998411"/>
                  </a:lnTo>
                  <a:lnTo>
                    <a:pt x="452152" y="1004888"/>
                  </a:lnTo>
                  <a:lnTo>
                    <a:pt x="451199" y="1009841"/>
                  </a:lnTo>
                  <a:lnTo>
                    <a:pt x="453199" y="1012793"/>
                  </a:lnTo>
                  <a:lnTo>
                    <a:pt x="456724" y="1015555"/>
                  </a:lnTo>
                  <a:lnTo>
                    <a:pt x="467963" y="1015651"/>
                  </a:lnTo>
                  <a:lnTo>
                    <a:pt x="471106" y="1015270"/>
                  </a:lnTo>
                  <a:lnTo>
                    <a:pt x="483013" y="1020223"/>
                  </a:lnTo>
                  <a:lnTo>
                    <a:pt x="493300" y="1025271"/>
                  </a:lnTo>
                  <a:lnTo>
                    <a:pt x="492061" y="1028700"/>
                  </a:lnTo>
                  <a:lnTo>
                    <a:pt x="492538" y="1031843"/>
                  </a:lnTo>
                  <a:lnTo>
                    <a:pt x="489585" y="1033748"/>
                  </a:lnTo>
                  <a:lnTo>
                    <a:pt x="488347" y="1037177"/>
                  </a:lnTo>
                  <a:lnTo>
                    <a:pt x="497300" y="1044035"/>
                  </a:lnTo>
                  <a:lnTo>
                    <a:pt x="503206" y="1040035"/>
                  </a:lnTo>
                  <a:lnTo>
                    <a:pt x="500063" y="1040511"/>
                  </a:lnTo>
                  <a:lnTo>
                    <a:pt x="499586" y="1037368"/>
                  </a:lnTo>
                  <a:lnTo>
                    <a:pt x="496443" y="1037749"/>
                  </a:lnTo>
                  <a:lnTo>
                    <a:pt x="493109" y="1036511"/>
                  </a:lnTo>
                  <a:lnTo>
                    <a:pt x="499396" y="1035749"/>
                  </a:lnTo>
                  <a:lnTo>
                    <a:pt x="511492" y="1042226"/>
                  </a:lnTo>
                  <a:lnTo>
                    <a:pt x="508921" y="1034510"/>
                  </a:lnTo>
                  <a:lnTo>
                    <a:pt x="515017" y="1032129"/>
                  </a:lnTo>
                  <a:lnTo>
                    <a:pt x="518541" y="1034891"/>
                  </a:lnTo>
                  <a:lnTo>
                    <a:pt x="520732" y="1039463"/>
                  </a:lnTo>
                  <a:lnTo>
                    <a:pt x="524065" y="1040606"/>
                  </a:lnTo>
                  <a:lnTo>
                    <a:pt x="521780" y="1047369"/>
                  </a:lnTo>
                  <a:lnTo>
                    <a:pt x="523684" y="1050322"/>
                  </a:lnTo>
                  <a:lnTo>
                    <a:pt x="528828" y="1052893"/>
                  </a:lnTo>
                  <a:lnTo>
                    <a:pt x="531971" y="1052417"/>
                  </a:lnTo>
                  <a:lnTo>
                    <a:pt x="534924" y="1050417"/>
                  </a:lnTo>
                  <a:lnTo>
                    <a:pt x="537305" y="1056608"/>
                  </a:lnTo>
                  <a:lnTo>
                    <a:pt x="540734" y="1057751"/>
                  </a:lnTo>
                  <a:lnTo>
                    <a:pt x="543211" y="1052608"/>
                  </a:lnTo>
                  <a:lnTo>
                    <a:pt x="544449" y="1049274"/>
                  </a:lnTo>
                  <a:lnTo>
                    <a:pt x="542449" y="1046321"/>
                  </a:lnTo>
                  <a:lnTo>
                    <a:pt x="548735" y="1045464"/>
                  </a:lnTo>
                  <a:lnTo>
                    <a:pt x="548164" y="1040797"/>
                  </a:lnTo>
                  <a:lnTo>
                    <a:pt x="552736" y="1038606"/>
                  </a:lnTo>
                  <a:lnTo>
                    <a:pt x="554069" y="1036796"/>
                  </a:lnTo>
                  <a:lnTo>
                    <a:pt x="549688" y="1027747"/>
                  </a:lnTo>
                  <a:lnTo>
                    <a:pt x="554260" y="1025557"/>
                  </a:lnTo>
                  <a:lnTo>
                    <a:pt x="557403" y="1025176"/>
                  </a:lnTo>
                  <a:lnTo>
                    <a:pt x="559403" y="1028129"/>
                  </a:lnTo>
                  <a:lnTo>
                    <a:pt x="564071" y="1027462"/>
                  </a:lnTo>
                  <a:lnTo>
                    <a:pt x="564547" y="1030700"/>
                  </a:lnTo>
                  <a:lnTo>
                    <a:pt x="567499" y="1028700"/>
                  </a:lnTo>
                  <a:lnTo>
                    <a:pt x="573214" y="1023176"/>
                  </a:lnTo>
                  <a:lnTo>
                    <a:pt x="582644" y="1021937"/>
                  </a:lnTo>
                  <a:lnTo>
                    <a:pt x="583025" y="1025080"/>
                  </a:lnTo>
                  <a:lnTo>
                    <a:pt x="590169" y="1030605"/>
                  </a:lnTo>
                  <a:lnTo>
                    <a:pt x="592550" y="1036701"/>
                  </a:lnTo>
                  <a:lnTo>
                    <a:pt x="597884" y="1040892"/>
                  </a:lnTo>
                  <a:lnTo>
                    <a:pt x="600075" y="1045369"/>
                  </a:lnTo>
                  <a:lnTo>
                    <a:pt x="602837" y="1041845"/>
                  </a:lnTo>
                  <a:lnTo>
                    <a:pt x="605980" y="1041463"/>
                  </a:lnTo>
                  <a:lnTo>
                    <a:pt x="605409" y="1036701"/>
                  </a:lnTo>
                  <a:lnTo>
                    <a:pt x="607886" y="1031558"/>
                  </a:lnTo>
                  <a:lnTo>
                    <a:pt x="606171" y="1030129"/>
                  </a:lnTo>
                  <a:lnTo>
                    <a:pt x="605980" y="1028605"/>
                  </a:lnTo>
                  <a:lnTo>
                    <a:pt x="604171" y="1027176"/>
                  </a:lnTo>
                  <a:lnTo>
                    <a:pt x="607505" y="1028414"/>
                  </a:lnTo>
                  <a:lnTo>
                    <a:pt x="611219" y="1019937"/>
                  </a:lnTo>
                  <a:lnTo>
                    <a:pt x="616553" y="1024033"/>
                  </a:lnTo>
                  <a:lnTo>
                    <a:pt x="619315" y="1020509"/>
                  </a:lnTo>
                  <a:lnTo>
                    <a:pt x="619125" y="1018889"/>
                  </a:lnTo>
                  <a:lnTo>
                    <a:pt x="619506" y="1009174"/>
                  </a:lnTo>
                  <a:lnTo>
                    <a:pt x="619315" y="1007650"/>
                  </a:lnTo>
                  <a:lnTo>
                    <a:pt x="622649" y="1008793"/>
                  </a:lnTo>
                  <a:lnTo>
                    <a:pt x="635508" y="1008793"/>
                  </a:lnTo>
                  <a:lnTo>
                    <a:pt x="643033" y="1004602"/>
                  </a:lnTo>
                  <a:lnTo>
                    <a:pt x="645128" y="996315"/>
                  </a:lnTo>
                  <a:lnTo>
                    <a:pt x="645128" y="996315"/>
                  </a:lnTo>
                  <a:lnTo>
                    <a:pt x="649891" y="995743"/>
                  </a:lnTo>
                  <a:lnTo>
                    <a:pt x="651034" y="992410"/>
                  </a:lnTo>
                  <a:lnTo>
                    <a:pt x="652653" y="992124"/>
                  </a:lnTo>
                  <a:lnTo>
                    <a:pt x="652463" y="990600"/>
                  </a:lnTo>
                  <a:lnTo>
                    <a:pt x="645890" y="989838"/>
                  </a:lnTo>
                  <a:lnTo>
                    <a:pt x="650081" y="984504"/>
                  </a:lnTo>
                  <a:lnTo>
                    <a:pt x="651605" y="984313"/>
                  </a:lnTo>
                  <a:lnTo>
                    <a:pt x="658939" y="978503"/>
                  </a:lnTo>
                  <a:lnTo>
                    <a:pt x="661511" y="973360"/>
                  </a:lnTo>
                  <a:lnTo>
                    <a:pt x="668369" y="977360"/>
                  </a:lnTo>
                  <a:lnTo>
                    <a:pt x="673894" y="970217"/>
                  </a:lnTo>
                  <a:lnTo>
                    <a:pt x="680847" y="974122"/>
                  </a:lnTo>
                  <a:lnTo>
                    <a:pt x="683323" y="968978"/>
                  </a:lnTo>
                  <a:lnTo>
                    <a:pt x="691896" y="972788"/>
                  </a:lnTo>
                  <a:lnTo>
                    <a:pt x="695039" y="972312"/>
                  </a:lnTo>
                  <a:lnTo>
                    <a:pt x="695801" y="978694"/>
                  </a:lnTo>
                  <a:lnTo>
                    <a:pt x="701897" y="976313"/>
                  </a:lnTo>
                  <a:lnTo>
                    <a:pt x="698373" y="973550"/>
                  </a:lnTo>
                  <a:lnTo>
                    <a:pt x="701135" y="969931"/>
                  </a:lnTo>
                  <a:lnTo>
                    <a:pt x="704279" y="969550"/>
                  </a:lnTo>
                  <a:lnTo>
                    <a:pt x="705898" y="969359"/>
                  </a:lnTo>
                  <a:lnTo>
                    <a:pt x="703707" y="964787"/>
                  </a:lnTo>
                  <a:lnTo>
                    <a:pt x="705231" y="964597"/>
                  </a:lnTo>
                  <a:lnTo>
                    <a:pt x="706660" y="962787"/>
                  </a:lnTo>
                  <a:lnTo>
                    <a:pt x="703231" y="961644"/>
                  </a:lnTo>
                  <a:lnTo>
                    <a:pt x="707231" y="954786"/>
                  </a:lnTo>
                  <a:lnTo>
                    <a:pt x="706564" y="950024"/>
                  </a:lnTo>
                  <a:lnTo>
                    <a:pt x="709327" y="946404"/>
                  </a:lnTo>
                  <a:lnTo>
                    <a:pt x="706946" y="940308"/>
                  </a:lnTo>
                  <a:lnTo>
                    <a:pt x="710374" y="941546"/>
                  </a:lnTo>
                  <a:lnTo>
                    <a:pt x="715042" y="940880"/>
                  </a:lnTo>
                  <a:lnTo>
                    <a:pt x="725519" y="947642"/>
                  </a:lnTo>
                  <a:lnTo>
                    <a:pt x="725710" y="949166"/>
                  </a:lnTo>
                  <a:lnTo>
                    <a:pt x="721042" y="949738"/>
                  </a:lnTo>
                  <a:lnTo>
                    <a:pt x="719614" y="951547"/>
                  </a:lnTo>
                  <a:lnTo>
                    <a:pt x="724567" y="952500"/>
                  </a:lnTo>
                  <a:lnTo>
                    <a:pt x="727520" y="950595"/>
                  </a:lnTo>
                  <a:lnTo>
                    <a:pt x="729520" y="953548"/>
                  </a:lnTo>
                  <a:lnTo>
                    <a:pt x="734949" y="946404"/>
                  </a:lnTo>
                  <a:lnTo>
                    <a:pt x="743903" y="940403"/>
                  </a:lnTo>
                  <a:lnTo>
                    <a:pt x="740473" y="939260"/>
                  </a:lnTo>
                  <a:lnTo>
                    <a:pt x="740473" y="926497"/>
                  </a:lnTo>
                  <a:lnTo>
                    <a:pt x="750951" y="933164"/>
                  </a:lnTo>
                  <a:lnTo>
                    <a:pt x="754856" y="926211"/>
                  </a:lnTo>
                  <a:lnTo>
                    <a:pt x="762190" y="920496"/>
                  </a:lnTo>
                  <a:lnTo>
                    <a:pt x="764191" y="923449"/>
                  </a:lnTo>
                  <a:lnTo>
                    <a:pt x="764572" y="926592"/>
                  </a:lnTo>
                  <a:lnTo>
                    <a:pt x="766763" y="931164"/>
                  </a:lnTo>
                  <a:lnTo>
                    <a:pt x="770096" y="932307"/>
                  </a:lnTo>
                  <a:lnTo>
                    <a:pt x="768953" y="935641"/>
                  </a:lnTo>
                  <a:lnTo>
                    <a:pt x="767524" y="937451"/>
                  </a:lnTo>
                  <a:lnTo>
                    <a:pt x="769525" y="940403"/>
                  </a:lnTo>
                  <a:lnTo>
                    <a:pt x="767715" y="938975"/>
                  </a:lnTo>
                  <a:lnTo>
                    <a:pt x="768096" y="942213"/>
                  </a:lnTo>
                  <a:lnTo>
                    <a:pt x="771334" y="941737"/>
                  </a:lnTo>
                  <a:lnTo>
                    <a:pt x="773239" y="944689"/>
                  </a:lnTo>
                  <a:lnTo>
                    <a:pt x="774668" y="942975"/>
                  </a:lnTo>
                  <a:lnTo>
                    <a:pt x="774287" y="939832"/>
                  </a:lnTo>
                  <a:lnTo>
                    <a:pt x="774478" y="941356"/>
                  </a:lnTo>
                  <a:lnTo>
                    <a:pt x="778002" y="944118"/>
                  </a:lnTo>
                  <a:lnTo>
                    <a:pt x="774859" y="944499"/>
                  </a:lnTo>
                  <a:lnTo>
                    <a:pt x="776859" y="947452"/>
                  </a:lnTo>
                  <a:lnTo>
                    <a:pt x="784003" y="952976"/>
                  </a:lnTo>
                  <a:lnTo>
                    <a:pt x="790480" y="953738"/>
                  </a:lnTo>
                  <a:lnTo>
                    <a:pt x="798576" y="954310"/>
                  </a:lnTo>
                  <a:lnTo>
                    <a:pt x="801529" y="952309"/>
                  </a:lnTo>
                  <a:lnTo>
                    <a:pt x="804672" y="951929"/>
                  </a:lnTo>
                  <a:lnTo>
                    <a:pt x="808577" y="945071"/>
                  </a:lnTo>
                  <a:lnTo>
                    <a:pt x="813340" y="944404"/>
                  </a:lnTo>
                  <a:lnTo>
                    <a:pt x="814102" y="937927"/>
                  </a:lnTo>
                  <a:lnTo>
                    <a:pt x="812101" y="934974"/>
                  </a:lnTo>
                  <a:lnTo>
                    <a:pt x="811721" y="931831"/>
                  </a:lnTo>
                  <a:lnTo>
                    <a:pt x="814864" y="931355"/>
                  </a:lnTo>
                  <a:lnTo>
                    <a:pt x="816673" y="932783"/>
                  </a:lnTo>
                  <a:lnTo>
                    <a:pt x="817245" y="937546"/>
                  </a:lnTo>
                  <a:lnTo>
                    <a:pt x="822007" y="936879"/>
                  </a:lnTo>
                  <a:lnTo>
                    <a:pt x="822198" y="938498"/>
                  </a:lnTo>
                  <a:lnTo>
                    <a:pt x="826961" y="937927"/>
                  </a:lnTo>
                  <a:lnTo>
                    <a:pt x="828484" y="937641"/>
                  </a:lnTo>
                  <a:lnTo>
                    <a:pt x="835628" y="943166"/>
                  </a:lnTo>
                  <a:lnTo>
                    <a:pt x="838962" y="944404"/>
                  </a:lnTo>
                  <a:lnTo>
                    <a:pt x="840200" y="940975"/>
                  </a:lnTo>
                  <a:lnTo>
                    <a:pt x="845058" y="942022"/>
                  </a:lnTo>
                  <a:lnTo>
                    <a:pt x="849058" y="947928"/>
                  </a:lnTo>
                  <a:lnTo>
                    <a:pt x="852583" y="950690"/>
                  </a:lnTo>
                  <a:lnTo>
                    <a:pt x="852392" y="949071"/>
                  </a:lnTo>
                  <a:lnTo>
                    <a:pt x="850011" y="942975"/>
                  </a:lnTo>
                  <a:lnTo>
                    <a:pt x="851440" y="941165"/>
                  </a:lnTo>
                  <a:lnTo>
                    <a:pt x="856107" y="940594"/>
                  </a:lnTo>
                  <a:lnTo>
                    <a:pt x="861250" y="943166"/>
                  </a:lnTo>
                  <a:lnTo>
                    <a:pt x="862489" y="939737"/>
                  </a:lnTo>
                  <a:lnTo>
                    <a:pt x="863822" y="938022"/>
                  </a:lnTo>
                  <a:lnTo>
                    <a:pt x="874109" y="943070"/>
                  </a:lnTo>
                  <a:lnTo>
                    <a:pt x="875443" y="941356"/>
                  </a:lnTo>
                  <a:lnTo>
                    <a:pt x="878396" y="939355"/>
                  </a:lnTo>
                  <a:lnTo>
                    <a:pt x="875062" y="938117"/>
                  </a:lnTo>
                  <a:lnTo>
                    <a:pt x="878014" y="936212"/>
                  </a:lnTo>
                  <a:lnTo>
                    <a:pt x="878967" y="931259"/>
                  </a:lnTo>
                  <a:lnTo>
                    <a:pt x="882205" y="930878"/>
                  </a:lnTo>
                  <a:lnTo>
                    <a:pt x="884396" y="935355"/>
                  </a:lnTo>
                  <a:lnTo>
                    <a:pt x="893445" y="930974"/>
                  </a:lnTo>
                  <a:lnTo>
                    <a:pt x="893064" y="927830"/>
                  </a:lnTo>
                  <a:lnTo>
                    <a:pt x="889635" y="926687"/>
                  </a:lnTo>
                  <a:lnTo>
                    <a:pt x="889063" y="921925"/>
                  </a:lnTo>
                  <a:lnTo>
                    <a:pt x="880586" y="918210"/>
                  </a:lnTo>
                  <a:lnTo>
                    <a:pt x="886015" y="911066"/>
                  </a:lnTo>
                  <a:lnTo>
                    <a:pt x="884301" y="909733"/>
                  </a:lnTo>
                  <a:lnTo>
                    <a:pt x="886015" y="911066"/>
                  </a:lnTo>
                  <a:lnTo>
                    <a:pt x="896493" y="904970"/>
                  </a:lnTo>
                  <a:lnTo>
                    <a:pt x="901255" y="904399"/>
                  </a:lnTo>
                  <a:lnTo>
                    <a:pt x="904018" y="900779"/>
                  </a:lnTo>
                  <a:lnTo>
                    <a:pt x="908780" y="900208"/>
                  </a:lnTo>
                  <a:lnTo>
                    <a:pt x="915638" y="904113"/>
                  </a:lnTo>
                  <a:lnTo>
                    <a:pt x="918400" y="900589"/>
                  </a:lnTo>
                  <a:lnTo>
                    <a:pt x="923544" y="903161"/>
                  </a:lnTo>
                  <a:lnTo>
                    <a:pt x="931069" y="898970"/>
                  </a:lnTo>
                  <a:lnTo>
                    <a:pt x="937927" y="902875"/>
                  </a:lnTo>
                  <a:lnTo>
                    <a:pt x="942118" y="897541"/>
                  </a:lnTo>
                  <a:lnTo>
                    <a:pt x="941641" y="894397"/>
                  </a:lnTo>
                  <a:lnTo>
                    <a:pt x="945832" y="889063"/>
                  </a:lnTo>
                  <a:lnTo>
                    <a:pt x="950500" y="888492"/>
                  </a:lnTo>
                  <a:lnTo>
                    <a:pt x="950119" y="885349"/>
                  </a:lnTo>
                  <a:lnTo>
                    <a:pt x="944213" y="876395"/>
                  </a:lnTo>
                  <a:lnTo>
                    <a:pt x="945166" y="871538"/>
                  </a:lnTo>
                  <a:lnTo>
                    <a:pt x="949928" y="870871"/>
                  </a:lnTo>
                  <a:lnTo>
                    <a:pt x="956405" y="871633"/>
                  </a:lnTo>
                  <a:lnTo>
                    <a:pt x="960977" y="869442"/>
                  </a:lnTo>
                  <a:lnTo>
                    <a:pt x="964121" y="869061"/>
                  </a:lnTo>
                  <a:lnTo>
                    <a:pt x="965263" y="865727"/>
                  </a:lnTo>
                  <a:lnTo>
                    <a:pt x="969836" y="863537"/>
                  </a:lnTo>
                  <a:lnTo>
                    <a:pt x="970979" y="860203"/>
                  </a:lnTo>
                  <a:lnTo>
                    <a:pt x="973741" y="856679"/>
                  </a:lnTo>
                  <a:lnTo>
                    <a:pt x="976313" y="851535"/>
                  </a:lnTo>
                  <a:lnTo>
                    <a:pt x="978122" y="852868"/>
                  </a:lnTo>
                  <a:lnTo>
                    <a:pt x="977837" y="851249"/>
                  </a:lnTo>
                  <a:lnTo>
                    <a:pt x="980599" y="834962"/>
                  </a:lnTo>
                  <a:lnTo>
                    <a:pt x="977455" y="835343"/>
                  </a:lnTo>
                  <a:lnTo>
                    <a:pt x="976884" y="830580"/>
                  </a:lnTo>
                  <a:lnTo>
                    <a:pt x="968788" y="830009"/>
                  </a:lnTo>
                  <a:lnTo>
                    <a:pt x="972503" y="821531"/>
                  </a:lnTo>
                  <a:lnTo>
                    <a:pt x="971836" y="816769"/>
                  </a:lnTo>
                  <a:lnTo>
                    <a:pt x="968502" y="815626"/>
                  </a:lnTo>
                  <a:lnTo>
                    <a:pt x="969073" y="820388"/>
                  </a:lnTo>
                  <a:lnTo>
                    <a:pt x="961834" y="826103"/>
                  </a:lnTo>
                  <a:lnTo>
                    <a:pt x="956881" y="825151"/>
                  </a:lnTo>
                  <a:lnTo>
                    <a:pt x="955738" y="828484"/>
                  </a:lnTo>
                  <a:lnTo>
                    <a:pt x="954119" y="828675"/>
                  </a:lnTo>
                  <a:lnTo>
                    <a:pt x="956691" y="823532"/>
                  </a:lnTo>
                  <a:lnTo>
                    <a:pt x="957643" y="818579"/>
                  </a:lnTo>
                  <a:lnTo>
                    <a:pt x="959453" y="820007"/>
                  </a:lnTo>
                  <a:lnTo>
                    <a:pt x="962215" y="816388"/>
                  </a:lnTo>
                  <a:lnTo>
                    <a:pt x="956691" y="810673"/>
                  </a:lnTo>
                  <a:lnTo>
                    <a:pt x="956024" y="806005"/>
                  </a:lnTo>
                  <a:lnTo>
                    <a:pt x="953929" y="801434"/>
                  </a:lnTo>
                  <a:lnTo>
                    <a:pt x="949357" y="803624"/>
                  </a:lnTo>
                  <a:lnTo>
                    <a:pt x="951929" y="798481"/>
                  </a:lnTo>
                  <a:lnTo>
                    <a:pt x="946975" y="797528"/>
                  </a:lnTo>
                  <a:lnTo>
                    <a:pt x="949738" y="793909"/>
                  </a:lnTo>
                  <a:lnTo>
                    <a:pt x="951643" y="784098"/>
                  </a:lnTo>
                  <a:lnTo>
                    <a:pt x="959548" y="783050"/>
                  </a:lnTo>
                  <a:lnTo>
                    <a:pt x="969455" y="785051"/>
                  </a:lnTo>
                  <a:lnTo>
                    <a:pt x="972217" y="781431"/>
                  </a:lnTo>
                  <a:lnTo>
                    <a:pt x="971740" y="778288"/>
                  </a:lnTo>
                  <a:lnTo>
                    <a:pt x="978694" y="782193"/>
                  </a:lnTo>
                  <a:lnTo>
                    <a:pt x="982408" y="773716"/>
                  </a:lnTo>
                  <a:lnTo>
                    <a:pt x="977455" y="772763"/>
                  </a:lnTo>
                  <a:lnTo>
                    <a:pt x="976122" y="761714"/>
                  </a:lnTo>
                  <a:lnTo>
                    <a:pt x="977265" y="758380"/>
                  </a:lnTo>
                  <a:lnTo>
                    <a:pt x="979075" y="759714"/>
                  </a:lnTo>
                  <a:lnTo>
                    <a:pt x="980027" y="754761"/>
                  </a:lnTo>
                  <a:lnTo>
                    <a:pt x="974503" y="749046"/>
                  </a:lnTo>
                  <a:lnTo>
                    <a:pt x="970693" y="744760"/>
                  </a:lnTo>
                  <a:lnTo>
                    <a:pt x="966025" y="745331"/>
                  </a:lnTo>
                  <a:lnTo>
                    <a:pt x="959263" y="743045"/>
                  </a:lnTo>
                  <a:lnTo>
                    <a:pt x="954500" y="743617"/>
                  </a:lnTo>
                  <a:lnTo>
                    <a:pt x="950976" y="740855"/>
                  </a:lnTo>
                  <a:lnTo>
                    <a:pt x="954691" y="732377"/>
                  </a:lnTo>
                  <a:lnTo>
                    <a:pt x="952309" y="726281"/>
                  </a:lnTo>
                  <a:lnTo>
                    <a:pt x="954881" y="721138"/>
                  </a:lnTo>
                  <a:lnTo>
                    <a:pt x="959548" y="707708"/>
                  </a:lnTo>
                  <a:lnTo>
                    <a:pt x="963739" y="702374"/>
                  </a:lnTo>
                  <a:lnTo>
                    <a:pt x="963073" y="697611"/>
                  </a:lnTo>
                  <a:lnTo>
                    <a:pt x="965835" y="694087"/>
                  </a:lnTo>
                  <a:lnTo>
                    <a:pt x="967454" y="693896"/>
                  </a:lnTo>
                  <a:lnTo>
                    <a:pt x="973741" y="693039"/>
                  </a:lnTo>
                  <a:lnTo>
                    <a:pt x="975741" y="695992"/>
                  </a:lnTo>
                  <a:lnTo>
                    <a:pt x="978884" y="695611"/>
                  </a:lnTo>
                  <a:lnTo>
                    <a:pt x="980218" y="693801"/>
                  </a:lnTo>
                  <a:lnTo>
                    <a:pt x="984790" y="691610"/>
                  </a:lnTo>
                  <a:lnTo>
                    <a:pt x="986123" y="689896"/>
                  </a:lnTo>
                  <a:lnTo>
                    <a:pt x="989362" y="689420"/>
                  </a:lnTo>
                  <a:lnTo>
                    <a:pt x="988314" y="681609"/>
                  </a:lnTo>
                  <a:lnTo>
                    <a:pt x="981361" y="677609"/>
                  </a:lnTo>
                  <a:lnTo>
                    <a:pt x="982408" y="672751"/>
                  </a:lnTo>
                  <a:lnTo>
                    <a:pt x="979075" y="671513"/>
                  </a:lnTo>
                  <a:lnTo>
                    <a:pt x="978789" y="669988"/>
                  </a:lnTo>
                  <a:lnTo>
                    <a:pt x="969359" y="671132"/>
                  </a:lnTo>
                  <a:lnTo>
                    <a:pt x="967168" y="666655"/>
                  </a:lnTo>
                  <a:lnTo>
                    <a:pt x="966121" y="658749"/>
                  </a:lnTo>
                  <a:lnTo>
                    <a:pt x="968312" y="650462"/>
                  </a:lnTo>
                  <a:lnTo>
                    <a:pt x="969740" y="648653"/>
                  </a:lnTo>
                  <a:lnTo>
                    <a:pt x="971455" y="650081"/>
                  </a:lnTo>
                  <a:lnTo>
                    <a:pt x="979170" y="647509"/>
                  </a:lnTo>
                  <a:lnTo>
                    <a:pt x="978789" y="644271"/>
                  </a:lnTo>
                  <a:lnTo>
                    <a:pt x="983742" y="645319"/>
                  </a:lnTo>
                  <a:lnTo>
                    <a:pt x="983456" y="643700"/>
                  </a:lnTo>
                  <a:lnTo>
                    <a:pt x="979932" y="640937"/>
                  </a:lnTo>
                  <a:lnTo>
                    <a:pt x="982694" y="637413"/>
                  </a:lnTo>
                  <a:lnTo>
                    <a:pt x="987457" y="636746"/>
                  </a:lnTo>
                  <a:lnTo>
                    <a:pt x="990219" y="633222"/>
                  </a:lnTo>
                  <a:lnTo>
                    <a:pt x="989552" y="628459"/>
                  </a:lnTo>
                  <a:lnTo>
                    <a:pt x="992505" y="626555"/>
                  </a:lnTo>
                  <a:lnTo>
                    <a:pt x="988600" y="620554"/>
                  </a:lnTo>
                  <a:lnTo>
                    <a:pt x="989933" y="618839"/>
                  </a:lnTo>
                  <a:lnTo>
                    <a:pt x="989743" y="617220"/>
                  </a:lnTo>
                  <a:lnTo>
                    <a:pt x="989171" y="612553"/>
                  </a:lnTo>
                  <a:lnTo>
                    <a:pt x="990695" y="612267"/>
                  </a:lnTo>
                  <a:lnTo>
                    <a:pt x="998601" y="611314"/>
                  </a:lnTo>
                  <a:lnTo>
                    <a:pt x="1002982" y="607505"/>
                  </a:lnTo>
                  <a:lnTo>
                    <a:pt x="1006316" y="608743"/>
                  </a:lnTo>
                  <a:lnTo>
                    <a:pt x="1017937" y="599218"/>
                  </a:lnTo>
                  <a:lnTo>
                    <a:pt x="1020699" y="595693"/>
                  </a:lnTo>
                  <a:lnTo>
                    <a:pt x="1020032" y="590931"/>
                  </a:lnTo>
                  <a:lnTo>
                    <a:pt x="1021461" y="589121"/>
                  </a:lnTo>
                  <a:lnTo>
                    <a:pt x="1027747" y="588359"/>
                  </a:lnTo>
                  <a:lnTo>
                    <a:pt x="1028605" y="594646"/>
                  </a:lnTo>
                  <a:lnTo>
                    <a:pt x="1031938" y="595789"/>
                  </a:lnTo>
                  <a:lnTo>
                    <a:pt x="1031748" y="594265"/>
                  </a:lnTo>
                  <a:lnTo>
                    <a:pt x="1035844" y="588931"/>
                  </a:lnTo>
                  <a:lnTo>
                    <a:pt x="1035653" y="587312"/>
                  </a:lnTo>
                  <a:lnTo>
                    <a:pt x="1040416" y="586740"/>
                  </a:lnTo>
                  <a:lnTo>
                    <a:pt x="1047655" y="581025"/>
                  </a:lnTo>
                  <a:lnTo>
                    <a:pt x="1048893" y="577691"/>
                  </a:lnTo>
                  <a:lnTo>
                    <a:pt x="1055180" y="576834"/>
                  </a:lnTo>
                  <a:lnTo>
                    <a:pt x="1056132" y="571881"/>
                  </a:lnTo>
                  <a:lnTo>
                    <a:pt x="1052798" y="570738"/>
                  </a:lnTo>
                  <a:lnTo>
                    <a:pt x="1056132" y="571881"/>
                  </a:lnTo>
                  <a:lnTo>
                    <a:pt x="1052417" y="567595"/>
                  </a:lnTo>
                  <a:lnTo>
                    <a:pt x="1052227" y="565976"/>
                  </a:lnTo>
                  <a:lnTo>
                    <a:pt x="1046416" y="558737"/>
                  </a:lnTo>
                  <a:lnTo>
                    <a:pt x="1051941" y="551593"/>
                  </a:lnTo>
                  <a:lnTo>
                    <a:pt x="1048798" y="551974"/>
                  </a:lnTo>
                  <a:lnTo>
                    <a:pt x="1045845" y="541115"/>
                  </a:lnTo>
                  <a:lnTo>
                    <a:pt x="1045559" y="539591"/>
                  </a:lnTo>
                  <a:lnTo>
                    <a:pt x="1048988" y="540734"/>
                  </a:lnTo>
                  <a:lnTo>
                    <a:pt x="1048322" y="535972"/>
                  </a:lnTo>
                  <a:lnTo>
                    <a:pt x="1050512" y="527685"/>
                  </a:lnTo>
                  <a:lnTo>
                    <a:pt x="1049750" y="521399"/>
                  </a:lnTo>
                  <a:lnTo>
                    <a:pt x="1050893" y="518065"/>
                  </a:lnTo>
                  <a:lnTo>
                    <a:pt x="1053656" y="514445"/>
                  </a:lnTo>
                  <a:lnTo>
                    <a:pt x="1052798" y="508159"/>
                  </a:lnTo>
                  <a:lnTo>
                    <a:pt x="1046893" y="512159"/>
                  </a:lnTo>
                  <a:lnTo>
                    <a:pt x="1043559" y="510921"/>
                  </a:lnTo>
                  <a:lnTo>
                    <a:pt x="1041368" y="506444"/>
                  </a:lnTo>
                  <a:lnTo>
                    <a:pt x="1045750" y="502634"/>
                  </a:lnTo>
                  <a:lnTo>
                    <a:pt x="1042130" y="499872"/>
                  </a:lnTo>
                  <a:lnTo>
                    <a:pt x="1043368" y="496538"/>
                  </a:lnTo>
                  <a:lnTo>
                    <a:pt x="1046131" y="493014"/>
                  </a:lnTo>
                  <a:lnTo>
                    <a:pt x="1038415" y="482727"/>
                  </a:lnTo>
                  <a:lnTo>
                    <a:pt x="1039178" y="476250"/>
                  </a:lnTo>
                  <a:lnTo>
                    <a:pt x="1041654" y="471107"/>
                  </a:lnTo>
                  <a:lnTo>
                    <a:pt x="1047559" y="467106"/>
                  </a:lnTo>
                  <a:lnTo>
                    <a:pt x="1049941" y="460438"/>
                  </a:lnTo>
                  <a:lnTo>
                    <a:pt x="1044226" y="453104"/>
                  </a:lnTo>
                  <a:lnTo>
                    <a:pt x="1054703" y="447008"/>
                  </a:lnTo>
                  <a:lnTo>
                    <a:pt x="1055465" y="440436"/>
                  </a:lnTo>
                  <a:lnTo>
                    <a:pt x="1048893" y="439674"/>
                  </a:lnTo>
                  <a:lnTo>
                    <a:pt x="1046893" y="436721"/>
                  </a:lnTo>
                  <a:lnTo>
                    <a:pt x="1046512" y="433578"/>
                  </a:lnTo>
                  <a:lnTo>
                    <a:pt x="1050893" y="429863"/>
                  </a:lnTo>
                  <a:lnTo>
                    <a:pt x="1045940" y="428911"/>
                  </a:lnTo>
                  <a:lnTo>
                    <a:pt x="1044797" y="432245"/>
                  </a:lnTo>
                  <a:lnTo>
                    <a:pt x="1042988" y="430816"/>
                  </a:lnTo>
                  <a:lnTo>
                    <a:pt x="1036034" y="426911"/>
                  </a:lnTo>
                  <a:lnTo>
                    <a:pt x="1033843" y="422338"/>
                  </a:lnTo>
                  <a:lnTo>
                    <a:pt x="1035082" y="419005"/>
                  </a:lnTo>
                  <a:lnTo>
                    <a:pt x="1034891" y="417481"/>
                  </a:lnTo>
                  <a:lnTo>
                    <a:pt x="1029557" y="413290"/>
                  </a:lnTo>
                  <a:lnTo>
                    <a:pt x="1030891" y="411575"/>
                  </a:lnTo>
                  <a:lnTo>
                    <a:pt x="1037177" y="410718"/>
                  </a:lnTo>
                  <a:lnTo>
                    <a:pt x="1039178" y="413671"/>
                  </a:lnTo>
                  <a:lnTo>
                    <a:pt x="1043559" y="422720"/>
                  </a:lnTo>
                  <a:lnTo>
                    <a:pt x="1051274" y="420148"/>
                  </a:lnTo>
                  <a:lnTo>
                    <a:pt x="1054037" y="416624"/>
                  </a:lnTo>
                  <a:lnTo>
                    <a:pt x="1053560" y="413480"/>
                  </a:lnTo>
                  <a:lnTo>
                    <a:pt x="1059466" y="409480"/>
                  </a:lnTo>
                  <a:lnTo>
                    <a:pt x="1063276" y="401003"/>
                  </a:lnTo>
                  <a:lnTo>
                    <a:pt x="1067943" y="400431"/>
                  </a:lnTo>
                  <a:lnTo>
                    <a:pt x="1073848" y="383572"/>
                  </a:lnTo>
                  <a:lnTo>
                    <a:pt x="1072801" y="375761"/>
                  </a:lnTo>
                  <a:lnTo>
                    <a:pt x="1072801" y="375761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16" name="Volný tvar: obrazec 15">
              <a:extLst>
                <a:ext uri="{FF2B5EF4-FFF2-40B4-BE49-F238E27FC236}">
                  <a16:creationId xmlns:a16="http://schemas.microsoft.com/office/drawing/2014/main" id="{8BB1C7CB-F5AB-301C-4B3F-F6DE77CAFFB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247858" y="3717035"/>
              <a:ext cx="910018" cy="791432"/>
            </a:xfrm>
            <a:custGeom>
              <a:avLst/>
              <a:gdLst>
                <a:gd name="connsiteX0" fmla="*/ 910019 w 910018"/>
                <a:gd name="connsiteY0" fmla="*/ 184690 h 791432"/>
                <a:gd name="connsiteX1" fmla="*/ 904208 w 910018"/>
                <a:gd name="connsiteY1" fmla="*/ 164497 h 791432"/>
                <a:gd name="connsiteX2" fmla="*/ 903637 w 910018"/>
                <a:gd name="connsiteY2" fmla="*/ 159829 h 791432"/>
                <a:gd name="connsiteX3" fmla="*/ 901255 w 910018"/>
                <a:gd name="connsiteY3" fmla="*/ 153734 h 791432"/>
                <a:gd name="connsiteX4" fmla="*/ 896112 w 910018"/>
                <a:gd name="connsiteY4" fmla="*/ 151162 h 791432"/>
                <a:gd name="connsiteX5" fmla="*/ 891350 w 910018"/>
                <a:gd name="connsiteY5" fmla="*/ 151733 h 791432"/>
                <a:gd name="connsiteX6" fmla="*/ 884206 w 910018"/>
                <a:gd name="connsiteY6" fmla="*/ 146209 h 791432"/>
                <a:gd name="connsiteX7" fmla="*/ 879253 w 910018"/>
                <a:gd name="connsiteY7" fmla="*/ 145256 h 791432"/>
                <a:gd name="connsiteX8" fmla="*/ 871442 w 910018"/>
                <a:gd name="connsiteY8" fmla="*/ 146304 h 791432"/>
                <a:gd name="connsiteX9" fmla="*/ 876681 w 910018"/>
                <a:gd name="connsiteY9" fmla="*/ 124777 h 791432"/>
                <a:gd name="connsiteX10" fmla="*/ 871919 w 910018"/>
                <a:gd name="connsiteY10" fmla="*/ 112490 h 791432"/>
                <a:gd name="connsiteX11" fmla="*/ 867156 w 910018"/>
                <a:gd name="connsiteY11" fmla="*/ 113157 h 791432"/>
                <a:gd name="connsiteX12" fmla="*/ 865156 w 910018"/>
                <a:gd name="connsiteY12" fmla="*/ 110204 h 791432"/>
                <a:gd name="connsiteX13" fmla="*/ 866775 w 910018"/>
                <a:gd name="connsiteY13" fmla="*/ 110014 h 791432"/>
                <a:gd name="connsiteX14" fmla="*/ 864775 w 910018"/>
                <a:gd name="connsiteY14" fmla="*/ 106966 h 791432"/>
                <a:gd name="connsiteX15" fmla="*/ 860393 w 910018"/>
                <a:gd name="connsiteY15" fmla="*/ 97917 h 791432"/>
                <a:gd name="connsiteX16" fmla="*/ 854107 w 910018"/>
                <a:gd name="connsiteY16" fmla="*/ 98774 h 791432"/>
                <a:gd name="connsiteX17" fmla="*/ 845439 w 910018"/>
                <a:gd name="connsiteY17" fmla="*/ 93440 h 791432"/>
                <a:gd name="connsiteX18" fmla="*/ 840486 w 910018"/>
                <a:gd name="connsiteY18" fmla="*/ 92488 h 791432"/>
                <a:gd name="connsiteX19" fmla="*/ 834390 w 910018"/>
                <a:gd name="connsiteY19" fmla="*/ 82010 h 791432"/>
                <a:gd name="connsiteX20" fmla="*/ 828770 w 910018"/>
                <a:gd name="connsiteY20" fmla="*/ 76295 h 791432"/>
                <a:gd name="connsiteX21" fmla="*/ 826008 w 910018"/>
                <a:gd name="connsiteY21" fmla="*/ 54197 h 791432"/>
                <a:gd name="connsiteX22" fmla="*/ 822198 w 910018"/>
                <a:gd name="connsiteY22" fmla="*/ 49911 h 791432"/>
                <a:gd name="connsiteX23" fmla="*/ 815530 w 910018"/>
                <a:gd name="connsiteY23" fmla="*/ 47530 h 791432"/>
                <a:gd name="connsiteX24" fmla="*/ 804101 w 910018"/>
                <a:gd name="connsiteY24" fmla="*/ 45815 h 791432"/>
                <a:gd name="connsiteX25" fmla="*/ 799338 w 910018"/>
                <a:gd name="connsiteY25" fmla="*/ 46387 h 791432"/>
                <a:gd name="connsiteX26" fmla="*/ 794195 w 910018"/>
                <a:gd name="connsiteY26" fmla="*/ 56674 h 791432"/>
                <a:gd name="connsiteX27" fmla="*/ 789718 w 910018"/>
                <a:gd name="connsiteY27" fmla="*/ 58864 h 791432"/>
                <a:gd name="connsiteX28" fmla="*/ 769811 w 910018"/>
                <a:gd name="connsiteY28" fmla="*/ 53340 h 791432"/>
                <a:gd name="connsiteX29" fmla="*/ 765810 w 910018"/>
                <a:gd name="connsiteY29" fmla="*/ 47434 h 791432"/>
                <a:gd name="connsiteX30" fmla="*/ 762667 w 910018"/>
                <a:gd name="connsiteY30" fmla="*/ 47815 h 791432"/>
                <a:gd name="connsiteX31" fmla="*/ 753618 w 910018"/>
                <a:gd name="connsiteY31" fmla="*/ 52197 h 791432"/>
                <a:gd name="connsiteX32" fmla="*/ 745046 w 910018"/>
                <a:gd name="connsiteY32" fmla="*/ 48482 h 791432"/>
                <a:gd name="connsiteX33" fmla="*/ 733806 w 910018"/>
                <a:gd name="connsiteY33" fmla="*/ 35528 h 791432"/>
                <a:gd name="connsiteX34" fmla="*/ 729234 w 910018"/>
                <a:gd name="connsiteY34" fmla="*/ 24860 h 791432"/>
                <a:gd name="connsiteX35" fmla="*/ 725710 w 910018"/>
                <a:gd name="connsiteY35" fmla="*/ 22098 h 791432"/>
                <a:gd name="connsiteX36" fmla="*/ 721328 w 910018"/>
                <a:gd name="connsiteY36" fmla="*/ 25908 h 791432"/>
                <a:gd name="connsiteX37" fmla="*/ 705803 w 910018"/>
                <a:gd name="connsiteY37" fmla="*/ 29432 h 791432"/>
                <a:gd name="connsiteX38" fmla="*/ 697802 w 910018"/>
                <a:gd name="connsiteY38" fmla="*/ 17621 h 791432"/>
                <a:gd name="connsiteX39" fmla="*/ 687229 w 910018"/>
                <a:gd name="connsiteY39" fmla="*/ 22193 h 791432"/>
                <a:gd name="connsiteX40" fmla="*/ 680657 w 910018"/>
                <a:gd name="connsiteY40" fmla="*/ 21431 h 791432"/>
                <a:gd name="connsiteX41" fmla="*/ 677704 w 910018"/>
                <a:gd name="connsiteY41" fmla="*/ 23431 h 791432"/>
                <a:gd name="connsiteX42" fmla="*/ 669417 w 910018"/>
                <a:gd name="connsiteY42" fmla="*/ 21241 h 791432"/>
                <a:gd name="connsiteX43" fmla="*/ 665131 w 910018"/>
                <a:gd name="connsiteY43" fmla="*/ 25051 h 791432"/>
                <a:gd name="connsiteX44" fmla="*/ 663512 w 910018"/>
                <a:gd name="connsiteY44" fmla="*/ 25241 h 791432"/>
                <a:gd name="connsiteX45" fmla="*/ 655415 w 910018"/>
                <a:gd name="connsiteY45" fmla="*/ 24670 h 791432"/>
                <a:gd name="connsiteX46" fmla="*/ 647795 w 910018"/>
                <a:gd name="connsiteY46" fmla="*/ 27242 h 791432"/>
                <a:gd name="connsiteX47" fmla="*/ 633794 w 910018"/>
                <a:gd name="connsiteY47" fmla="*/ 30575 h 791432"/>
                <a:gd name="connsiteX48" fmla="*/ 618744 w 910018"/>
                <a:gd name="connsiteY48" fmla="*/ 38957 h 791432"/>
                <a:gd name="connsiteX49" fmla="*/ 612458 w 910018"/>
                <a:gd name="connsiteY49" fmla="*/ 39719 h 791432"/>
                <a:gd name="connsiteX50" fmla="*/ 611124 w 910018"/>
                <a:gd name="connsiteY50" fmla="*/ 41529 h 791432"/>
                <a:gd name="connsiteX51" fmla="*/ 604361 w 910018"/>
                <a:gd name="connsiteY51" fmla="*/ 39148 h 791432"/>
                <a:gd name="connsiteX52" fmla="*/ 604742 w 910018"/>
                <a:gd name="connsiteY52" fmla="*/ 29527 h 791432"/>
                <a:gd name="connsiteX53" fmla="*/ 603313 w 910018"/>
                <a:gd name="connsiteY53" fmla="*/ 18478 h 791432"/>
                <a:gd name="connsiteX54" fmla="*/ 595979 w 910018"/>
                <a:gd name="connsiteY54" fmla="*/ 11335 h 791432"/>
                <a:gd name="connsiteX55" fmla="*/ 590074 w 910018"/>
                <a:gd name="connsiteY55" fmla="*/ 2476 h 791432"/>
                <a:gd name="connsiteX56" fmla="*/ 586930 w 910018"/>
                <a:gd name="connsiteY56" fmla="*/ 2857 h 791432"/>
                <a:gd name="connsiteX57" fmla="*/ 585692 w 910018"/>
                <a:gd name="connsiteY57" fmla="*/ 6286 h 791432"/>
                <a:gd name="connsiteX58" fmla="*/ 578644 w 910018"/>
                <a:gd name="connsiteY58" fmla="*/ 762 h 791432"/>
                <a:gd name="connsiteX59" fmla="*/ 572072 w 910018"/>
                <a:gd name="connsiteY59" fmla="*/ 0 h 791432"/>
                <a:gd name="connsiteX60" fmla="*/ 550069 w 910018"/>
                <a:gd name="connsiteY60" fmla="*/ 2762 h 791432"/>
                <a:gd name="connsiteX61" fmla="*/ 547116 w 910018"/>
                <a:gd name="connsiteY61" fmla="*/ 17621 h 791432"/>
                <a:gd name="connsiteX62" fmla="*/ 538829 w 910018"/>
                <a:gd name="connsiteY62" fmla="*/ 28289 h 791432"/>
                <a:gd name="connsiteX63" fmla="*/ 539210 w 910018"/>
                <a:gd name="connsiteY63" fmla="*/ 31432 h 791432"/>
                <a:gd name="connsiteX64" fmla="*/ 539687 w 910018"/>
                <a:gd name="connsiteY64" fmla="*/ 34576 h 791432"/>
                <a:gd name="connsiteX65" fmla="*/ 530352 w 910018"/>
                <a:gd name="connsiteY65" fmla="*/ 37338 h 791432"/>
                <a:gd name="connsiteX66" fmla="*/ 524828 w 910018"/>
                <a:gd name="connsiteY66" fmla="*/ 31623 h 791432"/>
                <a:gd name="connsiteX67" fmla="*/ 520255 w 910018"/>
                <a:gd name="connsiteY67" fmla="*/ 33814 h 791432"/>
                <a:gd name="connsiteX68" fmla="*/ 518351 w 910018"/>
                <a:gd name="connsiteY68" fmla="*/ 30861 h 791432"/>
                <a:gd name="connsiteX69" fmla="*/ 515207 w 910018"/>
                <a:gd name="connsiteY69" fmla="*/ 31242 h 791432"/>
                <a:gd name="connsiteX70" fmla="*/ 513017 w 910018"/>
                <a:gd name="connsiteY70" fmla="*/ 26765 h 791432"/>
                <a:gd name="connsiteX71" fmla="*/ 505111 w 910018"/>
                <a:gd name="connsiteY71" fmla="*/ 27718 h 791432"/>
                <a:gd name="connsiteX72" fmla="*/ 503111 w 910018"/>
                <a:gd name="connsiteY72" fmla="*/ 24765 h 791432"/>
                <a:gd name="connsiteX73" fmla="*/ 499586 w 910018"/>
                <a:gd name="connsiteY73" fmla="*/ 22003 h 791432"/>
                <a:gd name="connsiteX74" fmla="*/ 496443 w 910018"/>
                <a:gd name="connsiteY74" fmla="*/ 22479 h 791432"/>
                <a:gd name="connsiteX75" fmla="*/ 498348 w 910018"/>
                <a:gd name="connsiteY75" fmla="*/ 25432 h 791432"/>
                <a:gd name="connsiteX76" fmla="*/ 498824 w 910018"/>
                <a:gd name="connsiteY76" fmla="*/ 28575 h 791432"/>
                <a:gd name="connsiteX77" fmla="*/ 497777 w 910018"/>
                <a:gd name="connsiteY77" fmla="*/ 33528 h 791432"/>
                <a:gd name="connsiteX78" fmla="*/ 498253 w 910018"/>
                <a:gd name="connsiteY78" fmla="*/ 36671 h 791432"/>
                <a:gd name="connsiteX79" fmla="*/ 496634 w 910018"/>
                <a:gd name="connsiteY79" fmla="*/ 36862 h 791432"/>
                <a:gd name="connsiteX80" fmla="*/ 497396 w 910018"/>
                <a:gd name="connsiteY80" fmla="*/ 43148 h 791432"/>
                <a:gd name="connsiteX81" fmla="*/ 483680 w 910018"/>
                <a:gd name="connsiteY81" fmla="*/ 48101 h 791432"/>
                <a:gd name="connsiteX82" fmla="*/ 480060 w 910018"/>
                <a:gd name="connsiteY82" fmla="*/ 45339 h 791432"/>
                <a:gd name="connsiteX83" fmla="*/ 477488 w 910018"/>
                <a:gd name="connsiteY83" fmla="*/ 50482 h 791432"/>
                <a:gd name="connsiteX84" fmla="*/ 478155 w 910018"/>
                <a:gd name="connsiteY84" fmla="*/ 55245 h 791432"/>
                <a:gd name="connsiteX85" fmla="*/ 476917 w 910018"/>
                <a:gd name="connsiteY85" fmla="*/ 58579 h 791432"/>
                <a:gd name="connsiteX86" fmla="*/ 467868 w 910018"/>
                <a:gd name="connsiteY86" fmla="*/ 62960 h 791432"/>
                <a:gd name="connsiteX87" fmla="*/ 464915 w 910018"/>
                <a:gd name="connsiteY87" fmla="*/ 64960 h 791432"/>
                <a:gd name="connsiteX88" fmla="*/ 461391 w 910018"/>
                <a:gd name="connsiteY88" fmla="*/ 62198 h 791432"/>
                <a:gd name="connsiteX89" fmla="*/ 461772 w 910018"/>
                <a:gd name="connsiteY89" fmla="*/ 65342 h 791432"/>
                <a:gd name="connsiteX90" fmla="*/ 467678 w 910018"/>
                <a:gd name="connsiteY90" fmla="*/ 74200 h 791432"/>
                <a:gd name="connsiteX91" fmla="*/ 470249 w 910018"/>
                <a:gd name="connsiteY91" fmla="*/ 81915 h 791432"/>
                <a:gd name="connsiteX92" fmla="*/ 465963 w 910018"/>
                <a:gd name="connsiteY92" fmla="*/ 85630 h 791432"/>
                <a:gd name="connsiteX93" fmla="*/ 467773 w 910018"/>
                <a:gd name="connsiteY93" fmla="*/ 87058 h 791432"/>
                <a:gd name="connsiteX94" fmla="*/ 464820 w 910018"/>
                <a:gd name="connsiteY94" fmla="*/ 89059 h 791432"/>
                <a:gd name="connsiteX95" fmla="*/ 463582 w 910018"/>
                <a:gd name="connsiteY95" fmla="*/ 92392 h 791432"/>
                <a:gd name="connsiteX96" fmla="*/ 456152 w 910018"/>
                <a:gd name="connsiteY96" fmla="*/ 96583 h 791432"/>
                <a:gd name="connsiteX97" fmla="*/ 456343 w 910018"/>
                <a:gd name="connsiteY97" fmla="*/ 98107 h 791432"/>
                <a:gd name="connsiteX98" fmla="*/ 460058 w 910018"/>
                <a:gd name="connsiteY98" fmla="*/ 102489 h 791432"/>
                <a:gd name="connsiteX99" fmla="*/ 456152 w 910018"/>
                <a:gd name="connsiteY99" fmla="*/ 109347 h 791432"/>
                <a:gd name="connsiteX100" fmla="*/ 456724 w 910018"/>
                <a:gd name="connsiteY100" fmla="*/ 114109 h 791432"/>
                <a:gd name="connsiteX101" fmla="*/ 457200 w 910018"/>
                <a:gd name="connsiteY101" fmla="*/ 117253 h 791432"/>
                <a:gd name="connsiteX102" fmla="*/ 455581 w 910018"/>
                <a:gd name="connsiteY102" fmla="*/ 117443 h 791432"/>
                <a:gd name="connsiteX103" fmla="*/ 455962 w 910018"/>
                <a:gd name="connsiteY103" fmla="*/ 120586 h 791432"/>
                <a:gd name="connsiteX104" fmla="*/ 452819 w 910018"/>
                <a:gd name="connsiteY104" fmla="*/ 121063 h 791432"/>
                <a:gd name="connsiteX105" fmla="*/ 451009 w 910018"/>
                <a:gd name="connsiteY105" fmla="*/ 119634 h 791432"/>
                <a:gd name="connsiteX106" fmla="*/ 447866 w 910018"/>
                <a:gd name="connsiteY106" fmla="*/ 120015 h 791432"/>
                <a:gd name="connsiteX107" fmla="*/ 447675 w 910018"/>
                <a:gd name="connsiteY107" fmla="*/ 118491 h 791432"/>
                <a:gd name="connsiteX108" fmla="*/ 444532 w 910018"/>
                <a:gd name="connsiteY108" fmla="*/ 118872 h 791432"/>
                <a:gd name="connsiteX109" fmla="*/ 430721 w 910018"/>
                <a:gd name="connsiteY109" fmla="*/ 123825 h 791432"/>
                <a:gd name="connsiteX110" fmla="*/ 429387 w 910018"/>
                <a:gd name="connsiteY110" fmla="*/ 125635 h 791432"/>
                <a:gd name="connsiteX111" fmla="*/ 426149 w 910018"/>
                <a:gd name="connsiteY111" fmla="*/ 126016 h 791432"/>
                <a:gd name="connsiteX112" fmla="*/ 419100 w 910018"/>
                <a:gd name="connsiteY112" fmla="*/ 120491 h 791432"/>
                <a:gd name="connsiteX113" fmla="*/ 414338 w 910018"/>
                <a:gd name="connsiteY113" fmla="*/ 121158 h 791432"/>
                <a:gd name="connsiteX114" fmla="*/ 415766 w 910018"/>
                <a:gd name="connsiteY114" fmla="*/ 119348 h 791432"/>
                <a:gd name="connsiteX115" fmla="*/ 408813 w 910018"/>
                <a:gd name="connsiteY115" fmla="*/ 115443 h 791432"/>
                <a:gd name="connsiteX116" fmla="*/ 408622 w 910018"/>
                <a:gd name="connsiteY116" fmla="*/ 113824 h 791432"/>
                <a:gd name="connsiteX117" fmla="*/ 411194 w 910018"/>
                <a:gd name="connsiteY117" fmla="*/ 108680 h 791432"/>
                <a:gd name="connsiteX118" fmla="*/ 407956 w 910018"/>
                <a:gd name="connsiteY118" fmla="*/ 109061 h 791432"/>
                <a:gd name="connsiteX119" fmla="*/ 405860 w 910018"/>
                <a:gd name="connsiteY119" fmla="*/ 104584 h 791432"/>
                <a:gd name="connsiteX120" fmla="*/ 398907 w 910018"/>
                <a:gd name="connsiteY120" fmla="*/ 100584 h 791432"/>
                <a:gd name="connsiteX121" fmla="*/ 396335 w 910018"/>
                <a:gd name="connsiteY121" fmla="*/ 92964 h 791432"/>
                <a:gd name="connsiteX122" fmla="*/ 392239 w 910018"/>
                <a:gd name="connsiteY122" fmla="*/ 98298 h 791432"/>
                <a:gd name="connsiteX123" fmla="*/ 386810 w 910018"/>
                <a:gd name="connsiteY123" fmla="*/ 94107 h 791432"/>
                <a:gd name="connsiteX124" fmla="*/ 382334 w 910018"/>
                <a:gd name="connsiteY124" fmla="*/ 96298 h 791432"/>
                <a:gd name="connsiteX125" fmla="*/ 382905 w 910018"/>
                <a:gd name="connsiteY125" fmla="*/ 101060 h 791432"/>
                <a:gd name="connsiteX126" fmla="*/ 379952 w 910018"/>
                <a:gd name="connsiteY126" fmla="*/ 103060 h 791432"/>
                <a:gd name="connsiteX127" fmla="*/ 380619 w 910018"/>
                <a:gd name="connsiteY127" fmla="*/ 107728 h 791432"/>
                <a:gd name="connsiteX128" fmla="*/ 379190 w 910018"/>
                <a:gd name="connsiteY128" fmla="*/ 109538 h 791432"/>
                <a:gd name="connsiteX129" fmla="*/ 381762 w 910018"/>
                <a:gd name="connsiteY129" fmla="*/ 117253 h 791432"/>
                <a:gd name="connsiteX130" fmla="*/ 377476 w 910018"/>
                <a:gd name="connsiteY130" fmla="*/ 120967 h 791432"/>
                <a:gd name="connsiteX131" fmla="*/ 372523 w 910018"/>
                <a:gd name="connsiteY131" fmla="*/ 120015 h 791432"/>
                <a:gd name="connsiteX132" fmla="*/ 366141 w 910018"/>
                <a:gd name="connsiteY132" fmla="*/ 108013 h 791432"/>
                <a:gd name="connsiteX133" fmla="*/ 358712 w 910018"/>
                <a:gd name="connsiteY133" fmla="*/ 112204 h 791432"/>
                <a:gd name="connsiteX134" fmla="*/ 358521 w 910018"/>
                <a:gd name="connsiteY134" fmla="*/ 110585 h 791432"/>
                <a:gd name="connsiteX135" fmla="*/ 353759 w 910018"/>
                <a:gd name="connsiteY135" fmla="*/ 111157 h 791432"/>
                <a:gd name="connsiteX136" fmla="*/ 352520 w 910018"/>
                <a:gd name="connsiteY136" fmla="*/ 114586 h 791432"/>
                <a:gd name="connsiteX137" fmla="*/ 348805 w 910018"/>
                <a:gd name="connsiteY137" fmla="*/ 110204 h 791432"/>
                <a:gd name="connsiteX138" fmla="*/ 346043 w 910018"/>
                <a:gd name="connsiteY138" fmla="*/ 113728 h 791432"/>
                <a:gd name="connsiteX139" fmla="*/ 349568 w 910018"/>
                <a:gd name="connsiteY139" fmla="*/ 116491 h 791432"/>
                <a:gd name="connsiteX140" fmla="*/ 348425 w 910018"/>
                <a:gd name="connsiteY140" fmla="*/ 119920 h 791432"/>
                <a:gd name="connsiteX141" fmla="*/ 357378 w 910018"/>
                <a:gd name="connsiteY141" fmla="*/ 126778 h 791432"/>
                <a:gd name="connsiteX142" fmla="*/ 357950 w 910018"/>
                <a:gd name="connsiteY142" fmla="*/ 131540 h 791432"/>
                <a:gd name="connsiteX143" fmla="*/ 358140 w 910018"/>
                <a:gd name="connsiteY143" fmla="*/ 133064 h 791432"/>
                <a:gd name="connsiteX144" fmla="*/ 361855 w 910018"/>
                <a:gd name="connsiteY144" fmla="*/ 137446 h 791432"/>
                <a:gd name="connsiteX145" fmla="*/ 367189 w 910018"/>
                <a:gd name="connsiteY145" fmla="*/ 141542 h 791432"/>
                <a:gd name="connsiteX146" fmla="*/ 364236 w 910018"/>
                <a:gd name="connsiteY146" fmla="*/ 143542 h 791432"/>
                <a:gd name="connsiteX147" fmla="*/ 368237 w 910018"/>
                <a:gd name="connsiteY147" fmla="*/ 149447 h 791432"/>
                <a:gd name="connsiteX148" fmla="*/ 361379 w 910018"/>
                <a:gd name="connsiteY148" fmla="*/ 158305 h 791432"/>
                <a:gd name="connsiteX149" fmla="*/ 356616 w 910018"/>
                <a:gd name="connsiteY149" fmla="*/ 158972 h 791432"/>
                <a:gd name="connsiteX150" fmla="*/ 355854 w 910018"/>
                <a:gd name="connsiteY150" fmla="*/ 165449 h 791432"/>
                <a:gd name="connsiteX151" fmla="*/ 348329 w 910018"/>
                <a:gd name="connsiteY151" fmla="*/ 169640 h 791432"/>
                <a:gd name="connsiteX152" fmla="*/ 343471 w 910018"/>
                <a:gd name="connsiteY152" fmla="*/ 168592 h 791432"/>
                <a:gd name="connsiteX153" fmla="*/ 342043 w 910018"/>
                <a:gd name="connsiteY153" fmla="*/ 170402 h 791432"/>
                <a:gd name="connsiteX154" fmla="*/ 341662 w 910018"/>
                <a:gd name="connsiteY154" fmla="*/ 167259 h 791432"/>
                <a:gd name="connsiteX155" fmla="*/ 340424 w 910018"/>
                <a:gd name="connsiteY155" fmla="*/ 170593 h 791432"/>
                <a:gd name="connsiteX156" fmla="*/ 335566 w 910018"/>
                <a:gd name="connsiteY156" fmla="*/ 169640 h 791432"/>
                <a:gd name="connsiteX157" fmla="*/ 333946 w 910018"/>
                <a:gd name="connsiteY157" fmla="*/ 169831 h 791432"/>
                <a:gd name="connsiteX158" fmla="*/ 333756 w 910018"/>
                <a:gd name="connsiteY158" fmla="*/ 168211 h 791432"/>
                <a:gd name="connsiteX159" fmla="*/ 331946 w 910018"/>
                <a:gd name="connsiteY159" fmla="*/ 166878 h 791432"/>
                <a:gd name="connsiteX160" fmla="*/ 327660 w 910018"/>
                <a:gd name="connsiteY160" fmla="*/ 170688 h 791432"/>
                <a:gd name="connsiteX161" fmla="*/ 328803 w 910018"/>
                <a:gd name="connsiteY161" fmla="*/ 167259 h 791432"/>
                <a:gd name="connsiteX162" fmla="*/ 328422 w 910018"/>
                <a:gd name="connsiteY162" fmla="*/ 164116 h 791432"/>
                <a:gd name="connsiteX163" fmla="*/ 323088 w 910018"/>
                <a:gd name="connsiteY163" fmla="*/ 160020 h 791432"/>
                <a:gd name="connsiteX164" fmla="*/ 319754 w 910018"/>
                <a:gd name="connsiteY164" fmla="*/ 158782 h 791432"/>
                <a:gd name="connsiteX165" fmla="*/ 316802 w 910018"/>
                <a:gd name="connsiteY165" fmla="*/ 160782 h 791432"/>
                <a:gd name="connsiteX166" fmla="*/ 312039 w 910018"/>
                <a:gd name="connsiteY166" fmla="*/ 161449 h 791432"/>
                <a:gd name="connsiteX167" fmla="*/ 310229 w 910018"/>
                <a:gd name="connsiteY167" fmla="*/ 160020 h 791432"/>
                <a:gd name="connsiteX168" fmla="*/ 296418 w 910018"/>
                <a:gd name="connsiteY168" fmla="*/ 164973 h 791432"/>
                <a:gd name="connsiteX169" fmla="*/ 294513 w 910018"/>
                <a:gd name="connsiteY169" fmla="*/ 162020 h 791432"/>
                <a:gd name="connsiteX170" fmla="*/ 290132 w 910018"/>
                <a:gd name="connsiteY170" fmla="*/ 165830 h 791432"/>
                <a:gd name="connsiteX171" fmla="*/ 286988 w 910018"/>
                <a:gd name="connsiteY171" fmla="*/ 166211 h 791432"/>
                <a:gd name="connsiteX172" fmla="*/ 283083 w 910018"/>
                <a:gd name="connsiteY172" fmla="*/ 173069 h 791432"/>
                <a:gd name="connsiteX173" fmla="*/ 279654 w 910018"/>
                <a:gd name="connsiteY173" fmla="*/ 171926 h 791432"/>
                <a:gd name="connsiteX174" fmla="*/ 279463 w 910018"/>
                <a:gd name="connsiteY174" fmla="*/ 170402 h 791432"/>
                <a:gd name="connsiteX175" fmla="*/ 277273 w 910018"/>
                <a:gd name="connsiteY175" fmla="*/ 165830 h 791432"/>
                <a:gd name="connsiteX176" fmla="*/ 274320 w 910018"/>
                <a:gd name="connsiteY176" fmla="*/ 167830 h 791432"/>
                <a:gd name="connsiteX177" fmla="*/ 274606 w 910018"/>
                <a:gd name="connsiteY177" fmla="*/ 169354 h 791432"/>
                <a:gd name="connsiteX178" fmla="*/ 266224 w 910018"/>
                <a:gd name="connsiteY178" fmla="*/ 167259 h 791432"/>
                <a:gd name="connsiteX179" fmla="*/ 273177 w 910018"/>
                <a:gd name="connsiteY179" fmla="*/ 171164 h 791432"/>
                <a:gd name="connsiteX180" fmla="*/ 269081 w 910018"/>
                <a:gd name="connsiteY180" fmla="*/ 176498 h 791432"/>
                <a:gd name="connsiteX181" fmla="*/ 272225 w 910018"/>
                <a:gd name="connsiteY181" fmla="*/ 176117 h 791432"/>
                <a:gd name="connsiteX182" fmla="*/ 274225 w 910018"/>
                <a:gd name="connsiteY182" fmla="*/ 179070 h 791432"/>
                <a:gd name="connsiteX183" fmla="*/ 274034 w 910018"/>
                <a:gd name="connsiteY183" fmla="*/ 190309 h 791432"/>
                <a:gd name="connsiteX184" fmla="*/ 271272 w 910018"/>
                <a:gd name="connsiteY184" fmla="*/ 193834 h 791432"/>
                <a:gd name="connsiteX185" fmla="*/ 269462 w 910018"/>
                <a:gd name="connsiteY185" fmla="*/ 192500 h 791432"/>
                <a:gd name="connsiteX186" fmla="*/ 266510 w 910018"/>
                <a:gd name="connsiteY186" fmla="*/ 194500 h 791432"/>
                <a:gd name="connsiteX187" fmla="*/ 261176 w 910018"/>
                <a:gd name="connsiteY187" fmla="*/ 203168 h 791432"/>
                <a:gd name="connsiteX188" fmla="*/ 245840 w 910018"/>
                <a:gd name="connsiteY188" fmla="*/ 221171 h 791432"/>
                <a:gd name="connsiteX189" fmla="*/ 245650 w 910018"/>
                <a:gd name="connsiteY189" fmla="*/ 219551 h 791432"/>
                <a:gd name="connsiteX190" fmla="*/ 244507 w 910018"/>
                <a:gd name="connsiteY190" fmla="*/ 210121 h 791432"/>
                <a:gd name="connsiteX191" fmla="*/ 238887 w 910018"/>
                <a:gd name="connsiteY191" fmla="*/ 204406 h 791432"/>
                <a:gd name="connsiteX192" fmla="*/ 238887 w 910018"/>
                <a:gd name="connsiteY192" fmla="*/ 204406 h 791432"/>
                <a:gd name="connsiteX193" fmla="*/ 233172 w 910018"/>
                <a:gd name="connsiteY193" fmla="*/ 197072 h 791432"/>
                <a:gd name="connsiteX194" fmla="*/ 226695 w 910018"/>
                <a:gd name="connsiteY194" fmla="*/ 196310 h 791432"/>
                <a:gd name="connsiteX195" fmla="*/ 227838 w 910018"/>
                <a:gd name="connsiteY195" fmla="*/ 192976 h 791432"/>
                <a:gd name="connsiteX196" fmla="*/ 221552 w 910018"/>
                <a:gd name="connsiteY196" fmla="*/ 193834 h 791432"/>
                <a:gd name="connsiteX197" fmla="*/ 218218 w 910018"/>
                <a:gd name="connsiteY197" fmla="*/ 192596 h 791432"/>
                <a:gd name="connsiteX198" fmla="*/ 218408 w 910018"/>
                <a:gd name="connsiteY198" fmla="*/ 194215 h 791432"/>
                <a:gd name="connsiteX199" fmla="*/ 213455 w 910018"/>
                <a:gd name="connsiteY199" fmla="*/ 193262 h 791432"/>
                <a:gd name="connsiteX200" fmla="*/ 215646 w 910018"/>
                <a:gd name="connsiteY200" fmla="*/ 197739 h 791432"/>
                <a:gd name="connsiteX201" fmla="*/ 214217 w 910018"/>
                <a:gd name="connsiteY201" fmla="*/ 199549 h 791432"/>
                <a:gd name="connsiteX202" fmla="*/ 212027 w 910018"/>
                <a:gd name="connsiteY202" fmla="*/ 194977 h 791432"/>
                <a:gd name="connsiteX203" fmla="*/ 202597 w 910018"/>
                <a:gd name="connsiteY203" fmla="*/ 196215 h 791432"/>
                <a:gd name="connsiteX204" fmla="*/ 203549 w 910018"/>
                <a:gd name="connsiteY204" fmla="*/ 191262 h 791432"/>
                <a:gd name="connsiteX205" fmla="*/ 199835 w 910018"/>
                <a:gd name="connsiteY205" fmla="*/ 186976 h 791432"/>
                <a:gd name="connsiteX206" fmla="*/ 196882 w 910018"/>
                <a:gd name="connsiteY206" fmla="*/ 188881 h 791432"/>
                <a:gd name="connsiteX207" fmla="*/ 184976 w 910018"/>
                <a:gd name="connsiteY207" fmla="*/ 184023 h 791432"/>
                <a:gd name="connsiteX208" fmla="*/ 186214 w 910018"/>
                <a:gd name="connsiteY208" fmla="*/ 193453 h 791432"/>
                <a:gd name="connsiteX209" fmla="*/ 182880 w 910018"/>
                <a:gd name="connsiteY209" fmla="*/ 192310 h 791432"/>
                <a:gd name="connsiteX210" fmla="*/ 174974 w 910018"/>
                <a:gd name="connsiteY210" fmla="*/ 193262 h 791432"/>
                <a:gd name="connsiteX211" fmla="*/ 174593 w 910018"/>
                <a:gd name="connsiteY211" fmla="*/ 190119 h 791432"/>
                <a:gd name="connsiteX212" fmla="*/ 175355 w 910018"/>
                <a:gd name="connsiteY212" fmla="*/ 183642 h 791432"/>
                <a:gd name="connsiteX213" fmla="*/ 175546 w 910018"/>
                <a:gd name="connsiteY213" fmla="*/ 172402 h 791432"/>
                <a:gd name="connsiteX214" fmla="*/ 181261 w 910018"/>
                <a:gd name="connsiteY214" fmla="*/ 166878 h 791432"/>
                <a:gd name="connsiteX215" fmla="*/ 180975 w 910018"/>
                <a:gd name="connsiteY215" fmla="*/ 165259 h 791432"/>
                <a:gd name="connsiteX216" fmla="*/ 177832 w 910018"/>
                <a:gd name="connsiteY216" fmla="*/ 165640 h 791432"/>
                <a:gd name="connsiteX217" fmla="*/ 170307 w 910018"/>
                <a:gd name="connsiteY217" fmla="*/ 156972 h 791432"/>
                <a:gd name="connsiteX218" fmla="*/ 170307 w 910018"/>
                <a:gd name="connsiteY218" fmla="*/ 156972 h 791432"/>
                <a:gd name="connsiteX219" fmla="*/ 170783 w 910018"/>
                <a:gd name="connsiteY219" fmla="*/ 160210 h 791432"/>
                <a:gd name="connsiteX220" fmla="*/ 166021 w 910018"/>
                <a:gd name="connsiteY220" fmla="*/ 160782 h 791432"/>
                <a:gd name="connsiteX221" fmla="*/ 166211 w 910018"/>
                <a:gd name="connsiteY221" fmla="*/ 162306 h 791432"/>
                <a:gd name="connsiteX222" fmla="*/ 159925 w 910018"/>
                <a:gd name="connsiteY222" fmla="*/ 163163 h 791432"/>
                <a:gd name="connsiteX223" fmla="*/ 159353 w 910018"/>
                <a:gd name="connsiteY223" fmla="*/ 171259 h 791432"/>
                <a:gd name="connsiteX224" fmla="*/ 156401 w 910018"/>
                <a:gd name="connsiteY224" fmla="*/ 173260 h 791432"/>
                <a:gd name="connsiteX225" fmla="*/ 157925 w 910018"/>
                <a:gd name="connsiteY225" fmla="*/ 172974 h 791432"/>
                <a:gd name="connsiteX226" fmla="*/ 156782 w 910018"/>
                <a:gd name="connsiteY226" fmla="*/ 176403 h 791432"/>
                <a:gd name="connsiteX227" fmla="*/ 154972 w 910018"/>
                <a:gd name="connsiteY227" fmla="*/ 174974 h 791432"/>
                <a:gd name="connsiteX228" fmla="*/ 152210 w 910018"/>
                <a:gd name="connsiteY228" fmla="*/ 178594 h 791432"/>
                <a:gd name="connsiteX229" fmla="*/ 152400 w 910018"/>
                <a:gd name="connsiteY229" fmla="*/ 180118 h 791432"/>
                <a:gd name="connsiteX230" fmla="*/ 151257 w 910018"/>
                <a:gd name="connsiteY230" fmla="*/ 183451 h 791432"/>
                <a:gd name="connsiteX231" fmla="*/ 146495 w 910018"/>
                <a:gd name="connsiteY231" fmla="*/ 184118 h 791432"/>
                <a:gd name="connsiteX232" fmla="*/ 147542 w 910018"/>
                <a:gd name="connsiteY232" fmla="*/ 192024 h 791432"/>
                <a:gd name="connsiteX233" fmla="*/ 145733 w 910018"/>
                <a:gd name="connsiteY233" fmla="*/ 190595 h 791432"/>
                <a:gd name="connsiteX234" fmla="*/ 146399 w 910018"/>
                <a:gd name="connsiteY234" fmla="*/ 195358 h 791432"/>
                <a:gd name="connsiteX235" fmla="*/ 146971 w 910018"/>
                <a:gd name="connsiteY235" fmla="*/ 200120 h 791432"/>
                <a:gd name="connsiteX236" fmla="*/ 149543 w 910018"/>
                <a:gd name="connsiteY236" fmla="*/ 207740 h 791432"/>
                <a:gd name="connsiteX237" fmla="*/ 153543 w 910018"/>
                <a:gd name="connsiteY237" fmla="*/ 213646 h 791432"/>
                <a:gd name="connsiteX238" fmla="*/ 152495 w 910018"/>
                <a:gd name="connsiteY238" fmla="*/ 218599 h 791432"/>
                <a:gd name="connsiteX239" fmla="*/ 159258 w 910018"/>
                <a:gd name="connsiteY239" fmla="*/ 220980 h 791432"/>
                <a:gd name="connsiteX240" fmla="*/ 159449 w 910018"/>
                <a:gd name="connsiteY240" fmla="*/ 222504 h 791432"/>
                <a:gd name="connsiteX241" fmla="*/ 162020 w 910018"/>
                <a:gd name="connsiteY241" fmla="*/ 230219 h 791432"/>
                <a:gd name="connsiteX242" fmla="*/ 160496 w 910018"/>
                <a:gd name="connsiteY242" fmla="*/ 230410 h 791432"/>
                <a:gd name="connsiteX243" fmla="*/ 163068 w 910018"/>
                <a:gd name="connsiteY243" fmla="*/ 238125 h 791432"/>
                <a:gd name="connsiteX244" fmla="*/ 156686 w 910018"/>
                <a:gd name="connsiteY244" fmla="*/ 238887 h 791432"/>
                <a:gd name="connsiteX245" fmla="*/ 155162 w 910018"/>
                <a:gd name="connsiteY245" fmla="*/ 239173 h 791432"/>
                <a:gd name="connsiteX246" fmla="*/ 152019 w 910018"/>
                <a:gd name="connsiteY246" fmla="*/ 239554 h 791432"/>
                <a:gd name="connsiteX247" fmla="*/ 148304 w 910018"/>
                <a:gd name="connsiteY247" fmla="*/ 248031 h 791432"/>
                <a:gd name="connsiteX248" fmla="*/ 143351 w 910018"/>
                <a:gd name="connsiteY248" fmla="*/ 247078 h 791432"/>
                <a:gd name="connsiteX249" fmla="*/ 143732 w 910018"/>
                <a:gd name="connsiteY249" fmla="*/ 250222 h 791432"/>
                <a:gd name="connsiteX250" fmla="*/ 137636 w 910018"/>
                <a:gd name="connsiteY250" fmla="*/ 252603 h 791432"/>
                <a:gd name="connsiteX251" fmla="*/ 135636 w 910018"/>
                <a:gd name="connsiteY251" fmla="*/ 249650 h 791432"/>
                <a:gd name="connsiteX252" fmla="*/ 132874 w 910018"/>
                <a:gd name="connsiteY252" fmla="*/ 266033 h 791432"/>
                <a:gd name="connsiteX253" fmla="*/ 131350 w 910018"/>
                <a:gd name="connsiteY253" fmla="*/ 266224 h 791432"/>
                <a:gd name="connsiteX254" fmla="*/ 130207 w 910018"/>
                <a:gd name="connsiteY254" fmla="*/ 269557 h 791432"/>
                <a:gd name="connsiteX255" fmla="*/ 126968 w 910018"/>
                <a:gd name="connsiteY255" fmla="*/ 269938 h 791432"/>
                <a:gd name="connsiteX256" fmla="*/ 128969 w 910018"/>
                <a:gd name="connsiteY256" fmla="*/ 272891 h 791432"/>
                <a:gd name="connsiteX257" fmla="*/ 125825 w 910018"/>
                <a:gd name="connsiteY257" fmla="*/ 273367 h 791432"/>
                <a:gd name="connsiteX258" fmla="*/ 124682 w 910018"/>
                <a:gd name="connsiteY258" fmla="*/ 276701 h 791432"/>
                <a:gd name="connsiteX259" fmla="*/ 120301 w 910018"/>
                <a:gd name="connsiteY259" fmla="*/ 280416 h 791432"/>
                <a:gd name="connsiteX260" fmla="*/ 119158 w 910018"/>
                <a:gd name="connsiteY260" fmla="*/ 283845 h 791432"/>
                <a:gd name="connsiteX261" fmla="*/ 120968 w 910018"/>
                <a:gd name="connsiteY261" fmla="*/ 285178 h 791432"/>
                <a:gd name="connsiteX262" fmla="*/ 119539 w 910018"/>
                <a:gd name="connsiteY262" fmla="*/ 286988 h 791432"/>
                <a:gd name="connsiteX263" fmla="*/ 110680 w 910018"/>
                <a:gd name="connsiteY263" fmla="*/ 292894 h 791432"/>
                <a:gd name="connsiteX264" fmla="*/ 107347 w 910018"/>
                <a:gd name="connsiteY264" fmla="*/ 291751 h 791432"/>
                <a:gd name="connsiteX265" fmla="*/ 106109 w 910018"/>
                <a:gd name="connsiteY265" fmla="*/ 295084 h 791432"/>
                <a:gd name="connsiteX266" fmla="*/ 97250 w 910018"/>
                <a:gd name="connsiteY266" fmla="*/ 288226 h 791432"/>
                <a:gd name="connsiteX267" fmla="*/ 95917 w 910018"/>
                <a:gd name="connsiteY267" fmla="*/ 289941 h 791432"/>
                <a:gd name="connsiteX268" fmla="*/ 93726 w 910018"/>
                <a:gd name="connsiteY268" fmla="*/ 285464 h 791432"/>
                <a:gd name="connsiteX269" fmla="*/ 92678 w 910018"/>
                <a:gd name="connsiteY269" fmla="*/ 290417 h 791432"/>
                <a:gd name="connsiteX270" fmla="*/ 88202 w 910018"/>
                <a:gd name="connsiteY270" fmla="*/ 292608 h 791432"/>
                <a:gd name="connsiteX271" fmla="*/ 85249 w 910018"/>
                <a:gd name="connsiteY271" fmla="*/ 294513 h 791432"/>
                <a:gd name="connsiteX272" fmla="*/ 76771 w 910018"/>
                <a:gd name="connsiteY272" fmla="*/ 290798 h 791432"/>
                <a:gd name="connsiteX273" fmla="*/ 75343 w 910018"/>
                <a:gd name="connsiteY273" fmla="*/ 292608 h 791432"/>
                <a:gd name="connsiteX274" fmla="*/ 70866 w 910018"/>
                <a:gd name="connsiteY274" fmla="*/ 294799 h 791432"/>
                <a:gd name="connsiteX275" fmla="*/ 66104 w 910018"/>
                <a:gd name="connsiteY275" fmla="*/ 295370 h 791432"/>
                <a:gd name="connsiteX276" fmla="*/ 65151 w 910018"/>
                <a:gd name="connsiteY276" fmla="*/ 300323 h 791432"/>
                <a:gd name="connsiteX277" fmla="*/ 63722 w 910018"/>
                <a:gd name="connsiteY277" fmla="*/ 302133 h 791432"/>
                <a:gd name="connsiteX278" fmla="*/ 56864 w 910018"/>
                <a:gd name="connsiteY278" fmla="*/ 298132 h 791432"/>
                <a:gd name="connsiteX279" fmla="*/ 54483 w 910018"/>
                <a:gd name="connsiteY279" fmla="*/ 292036 h 791432"/>
                <a:gd name="connsiteX280" fmla="*/ 51245 w 910018"/>
                <a:gd name="connsiteY280" fmla="*/ 292417 h 791432"/>
                <a:gd name="connsiteX281" fmla="*/ 48292 w 910018"/>
                <a:gd name="connsiteY281" fmla="*/ 294418 h 791432"/>
                <a:gd name="connsiteX282" fmla="*/ 53912 w 910018"/>
                <a:gd name="connsiteY282" fmla="*/ 300133 h 791432"/>
                <a:gd name="connsiteX283" fmla="*/ 49339 w 910018"/>
                <a:gd name="connsiteY283" fmla="*/ 302323 h 791432"/>
                <a:gd name="connsiteX284" fmla="*/ 44577 w 910018"/>
                <a:gd name="connsiteY284" fmla="*/ 302895 h 791432"/>
                <a:gd name="connsiteX285" fmla="*/ 40291 w 910018"/>
                <a:gd name="connsiteY285" fmla="*/ 306705 h 791432"/>
                <a:gd name="connsiteX286" fmla="*/ 41053 w 910018"/>
                <a:gd name="connsiteY286" fmla="*/ 312992 h 791432"/>
                <a:gd name="connsiteX287" fmla="*/ 42672 w 910018"/>
                <a:gd name="connsiteY287" fmla="*/ 312801 h 791432"/>
                <a:gd name="connsiteX288" fmla="*/ 42101 w 910018"/>
                <a:gd name="connsiteY288" fmla="*/ 320897 h 791432"/>
                <a:gd name="connsiteX289" fmla="*/ 39529 w 910018"/>
                <a:gd name="connsiteY289" fmla="*/ 326041 h 791432"/>
                <a:gd name="connsiteX290" fmla="*/ 39338 w 910018"/>
                <a:gd name="connsiteY290" fmla="*/ 324421 h 791432"/>
                <a:gd name="connsiteX291" fmla="*/ 37719 w 910018"/>
                <a:gd name="connsiteY291" fmla="*/ 324612 h 791432"/>
                <a:gd name="connsiteX292" fmla="*/ 37910 w 910018"/>
                <a:gd name="connsiteY292" fmla="*/ 326231 h 791432"/>
                <a:gd name="connsiteX293" fmla="*/ 36004 w 910018"/>
                <a:gd name="connsiteY293" fmla="*/ 323278 h 791432"/>
                <a:gd name="connsiteX294" fmla="*/ 32576 w 910018"/>
                <a:gd name="connsiteY294" fmla="*/ 322135 h 791432"/>
                <a:gd name="connsiteX295" fmla="*/ 30671 w 910018"/>
                <a:gd name="connsiteY295" fmla="*/ 319183 h 791432"/>
                <a:gd name="connsiteX296" fmla="*/ 27242 w 910018"/>
                <a:gd name="connsiteY296" fmla="*/ 317944 h 791432"/>
                <a:gd name="connsiteX297" fmla="*/ 23336 w 910018"/>
                <a:gd name="connsiteY297" fmla="*/ 324898 h 791432"/>
                <a:gd name="connsiteX298" fmla="*/ 23527 w 910018"/>
                <a:gd name="connsiteY298" fmla="*/ 326422 h 791432"/>
                <a:gd name="connsiteX299" fmla="*/ 21622 w 910018"/>
                <a:gd name="connsiteY299" fmla="*/ 336328 h 791432"/>
                <a:gd name="connsiteX300" fmla="*/ 17050 w 910018"/>
                <a:gd name="connsiteY300" fmla="*/ 338518 h 791432"/>
                <a:gd name="connsiteX301" fmla="*/ 14478 w 910018"/>
                <a:gd name="connsiteY301" fmla="*/ 343662 h 791432"/>
                <a:gd name="connsiteX302" fmla="*/ 8572 w 910018"/>
                <a:gd name="connsiteY302" fmla="*/ 347567 h 791432"/>
                <a:gd name="connsiteX303" fmla="*/ 7811 w 910018"/>
                <a:gd name="connsiteY303" fmla="*/ 354139 h 791432"/>
                <a:gd name="connsiteX304" fmla="*/ 12954 w 910018"/>
                <a:gd name="connsiteY304" fmla="*/ 356711 h 791432"/>
                <a:gd name="connsiteX305" fmla="*/ 15145 w 910018"/>
                <a:gd name="connsiteY305" fmla="*/ 361188 h 791432"/>
                <a:gd name="connsiteX306" fmla="*/ 18860 w 910018"/>
                <a:gd name="connsiteY306" fmla="*/ 365569 h 791432"/>
                <a:gd name="connsiteX307" fmla="*/ 19907 w 910018"/>
                <a:gd name="connsiteY307" fmla="*/ 373475 h 791432"/>
                <a:gd name="connsiteX308" fmla="*/ 13621 w 910018"/>
                <a:gd name="connsiteY308" fmla="*/ 387096 h 791432"/>
                <a:gd name="connsiteX309" fmla="*/ 18955 w 910018"/>
                <a:gd name="connsiteY309" fmla="*/ 391192 h 791432"/>
                <a:gd name="connsiteX310" fmla="*/ 23146 w 910018"/>
                <a:gd name="connsiteY310" fmla="*/ 398717 h 791432"/>
                <a:gd name="connsiteX311" fmla="*/ 26099 w 910018"/>
                <a:gd name="connsiteY311" fmla="*/ 409575 h 791432"/>
                <a:gd name="connsiteX312" fmla="*/ 29432 w 910018"/>
                <a:gd name="connsiteY312" fmla="*/ 410718 h 791432"/>
                <a:gd name="connsiteX313" fmla="*/ 31242 w 910018"/>
                <a:gd name="connsiteY313" fmla="*/ 412051 h 791432"/>
                <a:gd name="connsiteX314" fmla="*/ 32861 w 910018"/>
                <a:gd name="connsiteY314" fmla="*/ 411861 h 791432"/>
                <a:gd name="connsiteX315" fmla="*/ 35052 w 910018"/>
                <a:gd name="connsiteY315" fmla="*/ 416433 h 791432"/>
                <a:gd name="connsiteX316" fmla="*/ 29337 w 910018"/>
                <a:gd name="connsiteY316" fmla="*/ 421957 h 791432"/>
                <a:gd name="connsiteX317" fmla="*/ 27527 w 910018"/>
                <a:gd name="connsiteY317" fmla="*/ 420529 h 791432"/>
                <a:gd name="connsiteX318" fmla="*/ 26765 w 910018"/>
                <a:gd name="connsiteY318" fmla="*/ 427101 h 791432"/>
                <a:gd name="connsiteX319" fmla="*/ 22574 w 910018"/>
                <a:gd name="connsiteY319" fmla="*/ 432435 h 791432"/>
                <a:gd name="connsiteX320" fmla="*/ 27908 w 910018"/>
                <a:gd name="connsiteY320" fmla="*/ 436531 h 791432"/>
                <a:gd name="connsiteX321" fmla="*/ 27337 w 910018"/>
                <a:gd name="connsiteY321" fmla="*/ 431863 h 791432"/>
                <a:gd name="connsiteX322" fmla="*/ 38386 w 910018"/>
                <a:gd name="connsiteY322" fmla="*/ 430435 h 791432"/>
                <a:gd name="connsiteX323" fmla="*/ 40196 w 910018"/>
                <a:gd name="connsiteY323" fmla="*/ 431768 h 791432"/>
                <a:gd name="connsiteX324" fmla="*/ 43339 w 910018"/>
                <a:gd name="connsiteY324" fmla="*/ 431387 h 791432"/>
                <a:gd name="connsiteX325" fmla="*/ 46863 w 910018"/>
                <a:gd name="connsiteY325" fmla="*/ 434150 h 791432"/>
                <a:gd name="connsiteX326" fmla="*/ 51435 w 910018"/>
                <a:gd name="connsiteY326" fmla="*/ 431959 h 791432"/>
                <a:gd name="connsiteX327" fmla="*/ 56579 w 910018"/>
                <a:gd name="connsiteY327" fmla="*/ 421672 h 791432"/>
                <a:gd name="connsiteX328" fmla="*/ 58103 w 910018"/>
                <a:gd name="connsiteY328" fmla="*/ 421481 h 791432"/>
                <a:gd name="connsiteX329" fmla="*/ 62103 w 910018"/>
                <a:gd name="connsiteY329" fmla="*/ 427387 h 791432"/>
                <a:gd name="connsiteX330" fmla="*/ 58769 w 910018"/>
                <a:gd name="connsiteY330" fmla="*/ 439007 h 791432"/>
                <a:gd name="connsiteX331" fmla="*/ 57531 w 910018"/>
                <a:gd name="connsiteY331" fmla="*/ 442436 h 791432"/>
                <a:gd name="connsiteX332" fmla="*/ 59531 w 910018"/>
                <a:gd name="connsiteY332" fmla="*/ 445389 h 791432"/>
                <a:gd name="connsiteX333" fmla="*/ 58007 w 910018"/>
                <a:gd name="connsiteY333" fmla="*/ 445580 h 791432"/>
                <a:gd name="connsiteX334" fmla="*/ 59912 w 910018"/>
                <a:gd name="connsiteY334" fmla="*/ 448532 h 791432"/>
                <a:gd name="connsiteX335" fmla="*/ 55436 w 910018"/>
                <a:gd name="connsiteY335" fmla="*/ 450723 h 791432"/>
                <a:gd name="connsiteX336" fmla="*/ 51911 w 910018"/>
                <a:gd name="connsiteY336" fmla="*/ 473583 h 791432"/>
                <a:gd name="connsiteX337" fmla="*/ 46958 w 910018"/>
                <a:gd name="connsiteY337" fmla="*/ 472630 h 791432"/>
                <a:gd name="connsiteX338" fmla="*/ 45625 w 910018"/>
                <a:gd name="connsiteY338" fmla="*/ 474440 h 791432"/>
                <a:gd name="connsiteX339" fmla="*/ 42291 w 910018"/>
                <a:gd name="connsiteY339" fmla="*/ 473202 h 791432"/>
                <a:gd name="connsiteX340" fmla="*/ 41053 w 910018"/>
                <a:gd name="connsiteY340" fmla="*/ 476536 h 791432"/>
                <a:gd name="connsiteX341" fmla="*/ 39910 w 910018"/>
                <a:gd name="connsiteY341" fmla="*/ 479965 h 791432"/>
                <a:gd name="connsiteX342" fmla="*/ 36767 w 910018"/>
                <a:gd name="connsiteY342" fmla="*/ 480346 h 791432"/>
                <a:gd name="connsiteX343" fmla="*/ 34957 w 910018"/>
                <a:gd name="connsiteY343" fmla="*/ 478917 h 791432"/>
                <a:gd name="connsiteX344" fmla="*/ 28480 w 910018"/>
                <a:gd name="connsiteY344" fmla="*/ 478155 h 791432"/>
                <a:gd name="connsiteX345" fmla="*/ 23908 w 910018"/>
                <a:gd name="connsiteY345" fmla="*/ 480346 h 791432"/>
                <a:gd name="connsiteX346" fmla="*/ 23527 w 910018"/>
                <a:gd name="connsiteY346" fmla="*/ 490061 h 791432"/>
                <a:gd name="connsiteX347" fmla="*/ 20574 w 910018"/>
                <a:gd name="connsiteY347" fmla="*/ 504825 h 791432"/>
                <a:gd name="connsiteX348" fmla="*/ 19050 w 910018"/>
                <a:gd name="connsiteY348" fmla="*/ 505015 h 791432"/>
                <a:gd name="connsiteX349" fmla="*/ 20003 w 910018"/>
                <a:gd name="connsiteY349" fmla="*/ 512921 h 791432"/>
                <a:gd name="connsiteX350" fmla="*/ 15716 w 910018"/>
                <a:gd name="connsiteY350" fmla="*/ 516731 h 791432"/>
                <a:gd name="connsiteX351" fmla="*/ 12383 w 910018"/>
                <a:gd name="connsiteY351" fmla="*/ 515493 h 791432"/>
                <a:gd name="connsiteX352" fmla="*/ 857 w 910018"/>
                <a:gd name="connsiteY352" fmla="*/ 513778 h 791432"/>
                <a:gd name="connsiteX353" fmla="*/ 3143 w 910018"/>
                <a:gd name="connsiteY353" fmla="*/ 531114 h 791432"/>
                <a:gd name="connsiteX354" fmla="*/ 4477 w 910018"/>
                <a:gd name="connsiteY354" fmla="*/ 529400 h 791432"/>
                <a:gd name="connsiteX355" fmla="*/ 6668 w 910018"/>
                <a:gd name="connsiteY355" fmla="*/ 533876 h 791432"/>
                <a:gd name="connsiteX356" fmla="*/ 5905 w 910018"/>
                <a:gd name="connsiteY356" fmla="*/ 540353 h 791432"/>
                <a:gd name="connsiteX357" fmla="*/ 0 w 910018"/>
                <a:gd name="connsiteY357" fmla="*/ 544354 h 791432"/>
                <a:gd name="connsiteX358" fmla="*/ 16383 w 910018"/>
                <a:gd name="connsiteY358" fmla="*/ 547116 h 791432"/>
                <a:gd name="connsiteX359" fmla="*/ 20860 w 910018"/>
                <a:gd name="connsiteY359" fmla="*/ 544925 h 791432"/>
                <a:gd name="connsiteX360" fmla="*/ 24479 w 910018"/>
                <a:gd name="connsiteY360" fmla="*/ 547688 h 791432"/>
                <a:gd name="connsiteX361" fmla="*/ 28385 w 910018"/>
                <a:gd name="connsiteY361" fmla="*/ 540734 h 791432"/>
                <a:gd name="connsiteX362" fmla="*/ 31528 w 910018"/>
                <a:gd name="connsiteY362" fmla="*/ 540353 h 791432"/>
                <a:gd name="connsiteX363" fmla="*/ 34480 w 910018"/>
                <a:gd name="connsiteY363" fmla="*/ 538353 h 791432"/>
                <a:gd name="connsiteX364" fmla="*/ 37910 w 910018"/>
                <a:gd name="connsiteY364" fmla="*/ 539496 h 791432"/>
                <a:gd name="connsiteX365" fmla="*/ 42386 w 910018"/>
                <a:gd name="connsiteY365" fmla="*/ 537401 h 791432"/>
                <a:gd name="connsiteX366" fmla="*/ 53245 w 910018"/>
                <a:gd name="connsiteY366" fmla="*/ 534352 h 791432"/>
                <a:gd name="connsiteX367" fmla="*/ 63532 w 910018"/>
                <a:gd name="connsiteY367" fmla="*/ 526637 h 791432"/>
                <a:gd name="connsiteX368" fmla="*/ 71533 w 910018"/>
                <a:gd name="connsiteY368" fmla="*/ 527209 h 791432"/>
                <a:gd name="connsiteX369" fmla="*/ 73343 w 910018"/>
                <a:gd name="connsiteY369" fmla="*/ 528638 h 791432"/>
                <a:gd name="connsiteX370" fmla="*/ 76962 w 910018"/>
                <a:gd name="connsiteY370" fmla="*/ 544163 h 791432"/>
                <a:gd name="connsiteX371" fmla="*/ 81915 w 910018"/>
                <a:gd name="connsiteY371" fmla="*/ 545116 h 791432"/>
                <a:gd name="connsiteX372" fmla="*/ 83820 w 910018"/>
                <a:gd name="connsiteY372" fmla="*/ 548068 h 791432"/>
                <a:gd name="connsiteX373" fmla="*/ 84487 w 910018"/>
                <a:gd name="connsiteY373" fmla="*/ 552831 h 791432"/>
                <a:gd name="connsiteX374" fmla="*/ 86678 w 910018"/>
                <a:gd name="connsiteY374" fmla="*/ 557403 h 791432"/>
                <a:gd name="connsiteX375" fmla="*/ 86296 w 910018"/>
                <a:gd name="connsiteY375" fmla="*/ 567023 h 791432"/>
                <a:gd name="connsiteX376" fmla="*/ 85344 w 910018"/>
                <a:gd name="connsiteY376" fmla="*/ 571976 h 791432"/>
                <a:gd name="connsiteX377" fmla="*/ 81153 w 910018"/>
                <a:gd name="connsiteY377" fmla="*/ 577310 h 791432"/>
                <a:gd name="connsiteX378" fmla="*/ 81534 w 910018"/>
                <a:gd name="connsiteY378" fmla="*/ 580453 h 791432"/>
                <a:gd name="connsiteX379" fmla="*/ 79248 w 910018"/>
                <a:gd name="connsiteY379" fmla="*/ 587216 h 791432"/>
                <a:gd name="connsiteX380" fmla="*/ 78010 w 910018"/>
                <a:gd name="connsiteY380" fmla="*/ 590550 h 791432"/>
                <a:gd name="connsiteX381" fmla="*/ 80010 w 910018"/>
                <a:gd name="connsiteY381" fmla="*/ 593503 h 791432"/>
                <a:gd name="connsiteX382" fmla="*/ 82963 w 910018"/>
                <a:gd name="connsiteY382" fmla="*/ 591502 h 791432"/>
                <a:gd name="connsiteX383" fmla="*/ 85344 w 910018"/>
                <a:gd name="connsiteY383" fmla="*/ 584835 h 791432"/>
                <a:gd name="connsiteX384" fmla="*/ 101537 w 910018"/>
                <a:gd name="connsiteY384" fmla="*/ 585978 h 791432"/>
                <a:gd name="connsiteX385" fmla="*/ 102679 w 910018"/>
                <a:gd name="connsiteY385" fmla="*/ 595408 h 791432"/>
                <a:gd name="connsiteX386" fmla="*/ 104299 w 910018"/>
                <a:gd name="connsiteY386" fmla="*/ 595217 h 791432"/>
                <a:gd name="connsiteX387" fmla="*/ 108585 w 910018"/>
                <a:gd name="connsiteY387" fmla="*/ 591502 h 791432"/>
                <a:gd name="connsiteX388" fmla="*/ 113538 w 910018"/>
                <a:gd name="connsiteY388" fmla="*/ 592455 h 791432"/>
                <a:gd name="connsiteX389" fmla="*/ 115919 w 910018"/>
                <a:gd name="connsiteY389" fmla="*/ 598551 h 791432"/>
                <a:gd name="connsiteX390" fmla="*/ 119539 w 910018"/>
                <a:gd name="connsiteY390" fmla="*/ 601313 h 791432"/>
                <a:gd name="connsiteX391" fmla="*/ 119539 w 910018"/>
                <a:gd name="connsiteY391" fmla="*/ 614172 h 791432"/>
                <a:gd name="connsiteX392" fmla="*/ 124301 w 910018"/>
                <a:gd name="connsiteY392" fmla="*/ 613505 h 791432"/>
                <a:gd name="connsiteX393" fmla="*/ 127063 w 910018"/>
                <a:gd name="connsiteY393" fmla="*/ 609981 h 791432"/>
                <a:gd name="connsiteX394" fmla="*/ 130588 w 910018"/>
                <a:gd name="connsiteY394" fmla="*/ 612743 h 791432"/>
                <a:gd name="connsiteX395" fmla="*/ 130397 w 910018"/>
                <a:gd name="connsiteY395" fmla="*/ 611124 h 791432"/>
                <a:gd name="connsiteX396" fmla="*/ 136874 w 910018"/>
                <a:gd name="connsiteY396" fmla="*/ 611886 h 791432"/>
                <a:gd name="connsiteX397" fmla="*/ 138303 w 910018"/>
                <a:gd name="connsiteY397" fmla="*/ 610172 h 791432"/>
                <a:gd name="connsiteX398" fmla="*/ 139827 w 910018"/>
                <a:gd name="connsiteY398" fmla="*/ 609981 h 791432"/>
                <a:gd name="connsiteX399" fmla="*/ 143256 w 910018"/>
                <a:gd name="connsiteY399" fmla="*/ 611124 h 791432"/>
                <a:gd name="connsiteX400" fmla="*/ 145352 w 910018"/>
                <a:gd name="connsiteY400" fmla="*/ 615601 h 791432"/>
                <a:gd name="connsiteX401" fmla="*/ 151733 w 910018"/>
                <a:gd name="connsiteY401" fmla="*/ 614839 h 791432"/>
                <a:gd name="connsiteX402" fmla="*/ 155067 w 910018"/>
                <a:gd name="connsiteY402" fmla="*/ 615982 h 791432"/>
                <a:gd name="connsiteX403" fmla="*/ 162592 w 910018"/>
                <a:gd name="connsiteY403" fmla="*/ 611886 h 791432"/>
                <a:gd name="connsiteX404" fmla="*/ 167926 w 910018"/>
                <a:gd name="connsiteY404" fmla="*/ 615982 h 791432"/>
                <a:gd name="connsiteX405" fmla="*/ 166688 w 910018"/>
                <a:gd name="connsiteY405" fmla="*/ 619315 h 791432"/>
                <a:gd name="connsiteX406" fmla="*/ 173641 w 910018"/>
                <a:gd name="connsiteY406" fmla="*/ 623316 h 791432"/>
                <a:gd name="connsiteX407" fmla="*/ 174784 w 910018"/>
                <a:gd name="connsiteY407" fmla="*/ 619887 h 791432"/>
                <a:gd name="connsiteX408" fmla="*/ 180118 w 910018"/>
                <a:gd name="connsiteY408" fmla="*/ 624078 h 791432"/>
                <a:gd name="connsiteX409" fmla="*/ 178022 w 910018"/>
                <a:gd name="connsiteY409" fmla="*/ 632365 h 791432"/>
                <a:gd name="connsiteX410" fmla="*/ 179927 w 910018"/>
                <a:gd name="connsiteY410" fmla="*/ 635318 h 791432"/>
                <a:gd name="connsiteX411" fmla="*/ 178784 w 910018"/>
                <a:gd name="connsiteY411" fmla="*/ 638651 h 791432"/>
                <a:gd name="connsiteX412" fmla="*/ 179165 w 910018"/>
                <a:gd name="connsiteY412" fmla="*/ 641794 h 791432"/>
                <a:gd name="connsiteX413" fmla="*/ 175070 w 910018"/>
                <a:gd name="connsiteY413" fmla="*/ 647128 h 791432"/>
                <a:gd name="connsiteX414" fmla="*/ 176879 w 910018"/>
                <a:gd name="connsiteY414" fmla="*/ 648557 h 791432"/>
                <a:gd name="connsiteX415" fmla="*/ 175641 w 910018"/>
                <a:gd name="connsiteY415" fmla="*/ 651891 h 791432"/>
                <a:gd name="connsiteX416" fmla="*/ 175832 w 910018"/>
                <a:gd name="connsiteY416" fmla="*/ 653415 h 791432"/>
                <a:gd name="connsiteX417" fmla="*/ 177641 w 910018"/>
                <a:gd name="connsiteY417" fmla="*/ 654844 h 791432"/>
                <a:gd name="connsiteX418" fmla="*/ 184404 w 910018"/>
                <a:gd name="connsiteY418" fmla="*/ 657225 h 791432"/>
                <a:gd name="connsiteX419" fmla="*/ 185738 w 910018"/>
                <a:gd name="connsiteY419" fmla="*/ 655415 h 791432"/>
                <a:gd name="connsiteX420" fmla="*/ 189071 w 910018"/>
                <a:gd name="connsiteY420" fmla="*/ 656558 h 791432"/>
                <a:gd name="connsiteX421" fmla="*/ 190500 w 910018"/>
                <a:gd name="connsiteY421" fmla="*/ 654844 h 791432"/>
                <a:gd name="connsiteX422" fmla="*/ 192691 w 910018"/>
                <a:gd name="connsiteY422" fmla="*/ 659321 h 791432"/>
                <a:gd name="connsiteX423" fmla="*/ 194977 w 910018"/>
                <a:gd name="connsiteY423" fmla="*/ 652653 h 791432"/>
                <a:gd name="connsiteX424" fmla="*/ 205835 w 910018"/>
                <a:gd name="connsiteY424" fmla="*/ 649605 h 791432"/>
                <a:gd name="connsiteX425" fmla="*/ 207264 w 910018"/>
                <a:gd name="connsiteY425" fmla="*/ 660654 h 791432"/>
                <a:gd name="connsiteX426" fmla="*/ 214217 w 910018"/>
                <a:gd name="connsiteY426" fmla="*/ 664655 h 791432"/>
                <a:gd name="connsiteX427" fmla="*/ 223457 w 910018"/>
                <a:gd name="connsiteY427" fmla="*/ 674656 h 791432"/>
                <a:gd name="connsiteX428" fmla="*/ 225076 w 910018"/>
                <a:gd name="connsiteY428" fmla="*/ 674465 h 791432"/>
                <a:gd name="connsiteX429" fmla="*/ 234125 w 910018"/>
                <a:gd name="connsiteY429" fmla="*/ 682943 h 791432"/>
                <a:gd name="connsiteX430" fmla="*/ 245936 w 910018"/>
                <a:gd name="connsiteY430" fmla="*/ 675037 h 791432"/>
                <a:gd name="connsiteX431" fmla="*/ 247745 w 910018"/>
                <a:gd name="connsiteY431" fmla="*/ 676370 h 791432"/>
                <a:gd name="connsiteX432" fmla="*/ 250508 w 910018"/>
                <a:gd name="connsiteY432" fmla="*/ 672846 h 791432"/>
                <a:gd name="connsiteX433" fmla="*/ 252317 w 910018"/>
                <a:gd name="connsiteY433" fmla="*/ 674180 h 791432"/>
                <a:gd name="connsiteX434" fmla="*/ 258223 w 910018"/>
                <a:gd name="connsiteY434" fmla="*/ 670274 h 791432"/>
                <a:gd name="connsiteX435" fmla="*/ 258413 w 910018"/>
                <a:gd name="connsiteY435" fmla="*/ 671798 h 791432"/>
                <a:gd name="connsiteX436" fmla="*/ 261366 w 910018"/>
                <a:gd name="connsiteY436" fmla="*/ 669798 h 791432"/>
                <a:gd name="connsiteX437" fmla="*/ 267081 w 910018"/>
                <a:gd name="connsiteY437" fmla="*/ 677132 h 791432"/>
                <a:gd name="connsiteX438" fmla="*/ 280892 w 910018"/>
                <a:gd name="connsiteY438" fmla="*/ 672179 h 791432"/>
                <a:gd name="connsiteX439" fmla="*/ 279845 w 910018"/>
                <a:gd name="connsiteY439" fmla="*/ 664273 h 791432"/>
                <a:gd name="connsiteX440" fmla="*/ 286417 w 910018"/>
                <a:gd name="connsiteY440" fmla="*/ 677894 h 791432"/>
                <a:gd name="connsiteX441" fmla="*/ 288417 w 910018"/>
                <a:gd name="connsiteY441" fmla="*/ 680847 h 791432"/>
                <a:gd name="connsiteX442" fmla="*/ 297275 w 910018"/>
                <a:gd name="connsiteY442" fmla="*/ 674846 h 791432"/>
                <a:gd name="connsiteX443" fmla="*/ 311277 w 910018"/>
                <a:gd name="connsiteY443" fmla="*/ 684276 h 791432"/>
                <a:gd name="connsiteX444" fmla="*/ 320040 w 910018"/>
                <a:gd name="connsiteY444" fmla="*/ 689610 h 791432"/>
                <a:gd name="connsiteX445" fmla="*/ 317278 w 910018"/>
                <a:gd name="connsiteY445" fmla="*/ 693134 h 791432"/>
                <a:gd name="connsiteX446" fmla="*/ 317849 w 910018"/>
                <a:gd name="connsiteY446" fmla="*/ 697897 h 791432"/>
                <a:gd name="connsiteX447" fmla="*/ 310420 w 910018"/>
                <a:gd name="connsiteY447" fmla="*/ 714947 h 791432"/>
                <a:gd name="connsiteX448" fmla="*/ 319088 w 910018"/>
                <a:gd name="connsiteY448" fmla="*/ 720185 h 791432"/>
                <a:gd name="connsiteX449" fmla="*/ 323183 w 910018"/>
                <a:gd name="connsiteY449" fmla="*/ 714851 h 791432"/>
                <a:gd name="connsiteX450" fmla="*/ 327946 w 910018"/>
                <a:gd name="connsiteY450" fmla="*/ 714280 h 791432"/>
                <a:gd name="connsiteX451" fmla="*/ 344138 w 910018"/>
                <a:gd name="connsiteY451" fmla="*/ 728282 h 791432"/>
                <a:gd name="connsiteX452" fmla="*/ 355378 w 910018"/>
                <a:gd name="connsiteY452" fmla="*/ 728377 h 791432"/>
                <a:gd name="connsiteX453" fmla="*/ 367475 w 910018"/>
                <a:gd name="connsiteY453" fmla="*/ 747712 h 791432"/>
                <a:gd name="connsiteX454" fmla="*/ 373666 w 910018"/>
                <a:gd name="connsiteY454" fmla="*/ 758190 h 791432"/>
                <a:gd name="connsiteX455" fmla="*/ 372428 w 910018"/>
                <a:gd name="connsiteY455" fmla="*/ 761524 h 791432"/>
                <a:gd name="connsiteX456" fmla="*/ 376238 w 910018"/>
                <a:gd name="connsiteY456" fmla="*/ 765810 h 791432"/>
                <a:gd name="connsiteX457" fmla="*/ 383858 w 910018"/>
                <a:gd name="connsiteY457" fmla="*/ 763238 h 791432"/>
                <a:gd name="connsiteX458" fmla="*/ 381191 w 910018"/>
                <a:gd name="connsiteY458" fmla="*/ 766858 h 791432"/>
                <a:gd name="connsiteX459" fmla="*/ 382905 w 910018"/>
                <a:gd name="connsiteY459" fmla="*/ 768191 h 791432"/>
                <a:gd name="connsiteX460" fmla="*/ 381381 w 910018"/>
                <a:gd name="connsiteY460" fmla="*/ 768382 h 791432"/>
                <a:gd name="connsiteX461" fmla="*/ 381953 w 910018"/>
                <a:gd name="connsiteY461" fmla="*/ 773144 h 791432"/>
                <a:gd name="connsiteX462" fmla="*/ 389096 w 910018"/>
                <a:gd name="connsiteY462" fmla="*/ 791432 h 791432"/>
                <a:gd name="connsiteX463" fmla="*/ 396812 w 910018"/>
                <a:gd name="connsiteY463" fmla="*/ 788860 h 791432"/>
                <a:gd name="connsiteX464" fmla="*/ 403479 w 910018"/>
                <a:gd name="connsiteY464" fmla="*/ 791242 h 791432"/>
                <a:gd name="connsiteX465" fmla="*/ 409385 w 910018"/>
                <a:gd name="connsiteY465" fmla="*/ 787241 h 791432"/>
                <a:gd name="connsiteX466" fmla="*/ 412623 w 910018"/>
                <a:gd name="connsiteY466" fmla="*/ 786860 h 791432"/>
                <a:gd name="connsiteX467" fmla="*/ 416719 w 910018"/>
                <a:gd name="connsiteY467" fmla="*/ 781526 h 791432"/>
                <a:gd name="connsiteX468" fmla="*/ 419862 w 910018"/>
                <a:gd name="connsiteY468" fmla="*/ 781145 h 791432"/>
                <a:gd name="connsiteX469" fmla="*/ 431292 w 910018"/>
                <a:gd name="connsiteY469" fmla="*/ 782860 h 791432"/>
                <a:gd name="connsiteX470" fmla="*/ 438436 w 910018"/>
                <a:gd name="connsiteY470" fmla="*/ 775526 h 791432"/>
                <a:gd name="connsiteX471" fmla="*/ 440531 w 910018"/>
                <a:gd name="connsiteY471" fmla="*/ 767239 h 791432"/>
                <a:gd name="connsiteX472" fmla="*/ 450818 w 910018"/>
                <a:gd name="connsiteY472" fmla="*/ 759524 h 791432"/>
                <a:gd name="connsiteX473" fmla="*/ 454914 w 910018"/>
                <a:gd name="connsiteY473" fmla="*/ 754190 h 791432"/>
                <a:gd name="connsiteX474" fmla="*/ 456057 w 910018"/>
                <a:gd name="connsiteY474" fmla="*/ 750856 h 791432"/>
                <a:gd name="connsiteX475" fmla="*/ 460438 w 910018"/>
                <a:gd name="connsiteY475" fmla="*/ 747141 h 791432"/>
                <a:gd name="connsiteX476" fmla="*/ 460058 w 910018"/>
                <a:gd name="connsiteY476" fmla="*/ 743902 h 791432"/>
                <a:gd name="connsiteX477" fmla="*/ 465106 w 910018"/>
                <a:gd name="connsiteY477" fmla="*/ 733711 h 791432"/>
                <a:gd name="connsiteX478" fmla="*/ 476345 w 910018"/>
                <a:gd name="connsiteY478" fmla="*/ 721043 h 791432"/>
                <a:gd name="connsiteX479" fmla="*/ 479488 w 910018"/>
                <a:gd name="connsiteY479" fmla="*/ 720566 h 791432"/>
                <a:gd name="connsiteX480" fmla="*/ 484061 w 910018"/>
                <a:gd name="connsiteY480" fmla="*/ 718471 h 791432"/>
                <a:gd name="connsiteX481" fmla="*/ 482632 w 910018"/>
                <a:gd name="connsiteY481" fmla="*/ 707422 h 791432"/>
                <a:gd name="connsiteX482" fmla="*/ 504920 w 910018"/>
                <a:gd name="connsiteY482" fmla="*/ 706184 h 791432"/>
                <a:gd name="connsiteX483" fmla="*/ 508063 w 910018"/>
                <a:gd name="connsiteY483" fmla="*/ 705707 h 791432"/>
                <a:gd name="connsiteX484" fmla="*/ 509492 w 910018"/>
                <a:gd name="connsiteY484" fmla="*/ 703993 h 791432"/>
                <a:gd name="connsiteX485" fmla="*/ 523875 w 910018"/>
                <a:gd name="connsiteY485" fmla="*/ 703707 h 791432"/>
                <a:gd name="connsiteX486" fmla="*/ 533305 w 910018"/>
                <a:gd name="connsiteY486" fmla="*/ 702564 h 791432"/>
                <a:gd name="connsiteX487" fmla="*/ 545211 w 910018"/>
                <a:gd name="connsiteY487" fmla="*/ 707422 h 791432"/>
                <a:gd name="connsiteX488" fmla="*/ 557403 w 910018"/>
                <a:gd name="connsiteY488" fmla="*/ 702659 h 791432"/>
                <a:gd name="connsiteX489" fmla="*/ 557594 w 910018"/>
                <a:gd name="connsiteY489" fmla="*/ 691420 h 791432"/>
                <a:gd name="connsiteX490" fmla="*/ 563499 w 910018"/>
                <a:gd name="connsiteY490" fmla="*/ 674656 h 791432"/>
                <a:gd name="connsiteX491" fmla="*/ 565595 w 910018"/>
                <a:gd name="connsiteY491" fmla="*/ 666369 h 791432"/>
                <a:gd name="connsiteX492" fmla="*/ 566833 w 910018"/>
                <a:gd name="connsiteY492" fmla="*/ 662940 h 791432"/>
                <a:gd name="connsiteX493" fmla="*/ 563975 w 910018"/>
                <a:gd name="connsiteY493" fmla="*/ 653701 h 791432"/>
                <a:gd name="connsiteX494" fmla="*/ 564737 w 910018"/>
                <a:gd name="connsiteY494" fmla="*/ 647224 h 791432"/>
                <a:gd name="connsiteX495" fmla="*/ 568262 w 910018"/>
                <a:gd name="connsiteY495" fmla="*/ 637127 h 791432"/>
                <a:gd name="connsiteX496" fmla="*/ 572262 w 910018"/>
                <a:gd name="connsiteY496" fmla="*/ 630174 h 791432"/>
                <a:gd name="connsiteX497" fmla="*/ 574167 w 910018"/>
                <a:gd name="connsiteY497" fmla="*/ 620363 h 791432"/>
                <a:gd name="connsiteX498" fmla="*/ 571405 w 910018"/>
                <a:gd name="connsiteY498" fmla="*/ 611029 h 791432"/>
                <a:gd name="connsiteX499" fmla="*/ 572357 w 910018"/>
                <a:gd name="connsiteY499" fmla="*/ 606171 h 791432"/>
                <a:gd name="connsiteX500" fmla="*/ 576739 w 910018"/>
                <a:gd name="connsiteY500" fmla="*/ 602361 h 791432"/>
                <a:gd name="connsiteX501" fmla="*/ 579215 w 910018"/>
                <a:gd name="connsiteY501" fmla="*/ 597218 h 791432"/>
                <a:gd name="connsiteX502" fmla="*/ 585121 w 910018"/>
                <a:gd name="connsiteY502" fmla="*/ 593312 h 791432"/>
                <a:gd name="connsiteX503" fmla="*/ 596170 w 910018"/>
                <a:gd name="connsiteY503" fmla="*/ 591884 h 791432"/>
                <a:gd name="connsiteX504" fmla="*/ 599122 w 910018"/>
                <a:gd name="connsiteY504" fmla="*/ 589883 h 791432"/>
                <a:gd name="connsiteX505" fmla="*/ 615601 w 910018"/>
                <a:gd name="connsiteY505" fmla="*/ 592646 h 791432"/>
                <a:gd name="connsiteX506" fmla="*/ 619887 w 910018"/>
                <a:gd name="connsiteY506" fmla="*/ 588835 h 791432"/>
                <a:gd name="connsiteX507" fmla="*/ 622649 w 910018"/>
                <a:gd name="connsiteY507" fmla="*/ 585311 h 791432"/>
                <a:gd name="connsiteX508" fmla="*/ 628936 w 910018"/>
                <a:gd name="connsiteY508" fmla="*/ 584454 h 791432"/>
                <a:gd name="connsiteX509" fmla="*/ 637889 w 910018"/>
                <a:gd name="connsiteY509" fmla="*/ 591407 h 791432"/>
                <a:gd name="connsiteX510" fmla="*/ 649129 w 910018"/>
                <a:gd name="connsiteY510" fmla="*/ 591598 h 791432"/>
                <a:gd name="connsiteX511" fmla="*/ 652272 w 910018"/>
                <a:gd name="connsiteY511" fmla="*/ 591122 h 791432"/>
                <a:gd name="connsiteX512" fmla="*/ 654558 w 910018"/>
                <a:gd name="connsiteY512" fmla="*/ 584454 h 791432"/>
                <a:gd name="connsiteX513" fmla="*/ 662464 w 910018"/>
                <a:gd name="connsiteY513" fmla="*/ 583406 h 791432"/>
                <a:gd name="connsiteX514" fmla="*/ 680466 w 910018"/>
                <a:gd name="connsiteY514" fmla="*/ 573119 h 791432"/>
                <a:gd name="connsiteX515" fmla="*/ 684562 w 910018"/>
                <a:gd name="connsiteY515" fmla="*/ 567785 h 791432"/>
                <a:gd name="connsiteX516" fmla="*/ 690086 w 910018"/>
                <a:gd name="connsiteY516" fmla="*/ 560642 h 791432"/>
                <a:gd name="connsiteX517" fmla="*/ 690848 w 910018"/>
                <a:gd name="connsiteY517" fmla="*/ 554164 h 791432"/>
                <a:gd name="connsiteX518" fmla="*/ 699516 w 910018"/>
                <a:gd name="connsiteY518" fmla="*/ 546640 h 791432"/>
                <a:gd name="connsiteX519" fmla="*/ 697516 w 910018"/>
                <a:gd name="connsiteY519" fmla="*/ 543687 h 791432"/>
                <a:gd name="connsiteX520" fmla="*/ 698468 w 910018"/>
                <a:gd name="connsiteY520" fmla="*/ 538734 h 791432"/>
                <a:gd name="connsiteX521" fmla="*/ 705707 w 910018"/>
                <a:gd name="connsiteY521" fmla="*/ 520160 h 791432"/>
                <a:gd name="connsiteX522" fmla="*/ 712470 w 910018"/>
                <a:gd name="connsiteY522" fmla="*/ 509683 h 791432"/>
                <a:gd name="connsiteX523" fmla="*/ 707612 w 910018"/>
                <a:gd name="connsiteY523" fmla="*/ 484632 h 791432"/>
                <a:gd name="connsiteX524" fmla="*/ 709994 w 910018"/>
                <a:gd name="connsiteY524" fmla="*/ 477964 h 791432"/>
                <a:gd name="connsiteX525" fmla="*/ 711613 w 910018"/>
                <a:gd name="connsiteY525" fmla="*/ 477774 h 791432"/>
                <a:gd name="connsiteX526" fmla="*/ 713327 w 910018"/>
                <a:gd name="connsiteY526" fmla="*/ 479107 h 791432"/>
                <a:gd name="connsiteX527" fmla="*/ 714947 w 910018"/>
                <a:gd name="connsiteY527" fmla="*/ 478917 h 791432"/>
                <a:gd name="connsiteX528" fmla="*/ 712375 w 910018"/>
                <a:gd name="connsiteY528" fmla="*/ 471202 h 791432"/>
                <a:gd name="connsiteX529" fmla="*/ 705231 w 910018"/>
                <a:gd name="connsiteY529" fmla="*/ 465772 h 791432"/>
                <a:gd name="connsiteX530" fmla="*/ 704469 w 910018"/>
                <a:gd name="connsiteY530" fmla="*/ 459391 h 791432"/>
                <a:gd name="connsiteX531" fmla="*/ 706755 w 910018"/>
                <a:gd name="connsiteY531" fmla="*/ 452723 h 791432"/>
                <a:gd name="connsiteX532" fmla="*/ 711137 w 910018"/>
                <a:gd name="connsiteY532" fmla="*/ 448913 h 791432"/>
                <a:gd name="connsiteX533" fmla="*/ 710089 w 910018"/>
                <a:gd name="connsiteY533" fmla="*/ 441007 h 791432"/>
                <a:gd name="connsiteX534" fmla="*/ 711518 w 910018"/>
                <a:gd name="connsiteY534" fmla="*/ 439293 h 791432"/>
                <a:gd name="connsiteX535" fmla="*/ 724662 w 910018"/>
                <a:gd name="connsiteY535" fmla="*/ 429577 h 791432"/>
                <a:gd name="connsiteX536" fmla="*/ 718757 w 910018"/>
                <a:gd name="connsiteY536" fmla="*/ 420719 h 791432"/>
                <a:gd name="connsiteX537" fmla="*/ 718852 w 910018"/>
                <a:gd name="connsiteY537" fmla="*/ 396621 h 791432"/>
                <a:gd name="connsiteX538" fmla="*/ 724567 w 910018"/>
                <a:gd name="connsiteY538" fmla="*/ 391096 h 791432"/>
                <a:gd name="connsiteX539" fmla="*/ 727901 w 910018"/>
                <a:gd name="connsiteY539" fmla="*/ 379476 h 791432"/>
                <a:gd name="connsiteX540" fmla="*/ 729520 w 910018"/>
                <a:gd name="connsiteY540" fmla="*/ 379285 h 791432"/>
                <a:gd name="connsiteX541" fmla="*/ 727901 w 910018"/>
                <a:gd name="connsiteY541" fmla="*/ 366617 h 791432"/>
                <a:gd name="connsiteX542" fmla="*/ 732663 w 910018"/>
                <a:gd name="connsiteY542" fmla="*/ 366046 h 791432"/>
                <a:gd name="connsiteX543" fmla="*/ 731996 w 910018"/>
                <a:gd name="connsiteY543" fmla="*/ 361283 h 791432"/>
                <a:gd name="connsiteX544" fmla="*/ 733997 w 910018"/>
                <a:gd name="connsiteY544" fmla="*/ 351377 h 791432"/>
                <a:gd name="connsiteX545" fmla="*/ 726091 w 910018"/>
                <a:gd name="connsiteY545" fmla="*/ 352425 h 791432"/>
                <a:gd name="connsiteX546" fmla="*/ 727805 w 910018"/>
                <a:gd name="connsiteY546" fmla="*/ 340995 h 791432"/>
                <a:gd name="connsiteX547" fmla="*/ 726186 w 910018"/>
                <a:gd name="connsiteY547" fmla="*/ 328327 h 791432"/>
                <a:gd name="connsiteX548" fmla="*/ 736663 w 910018"/>
                <a:gd name="connsiteY548" fmla="*/ 322231 h 791432"/>
                <a:gd name="connsiteX549" fmla="*/ 737235 w 910018"/>
                <a:gd name="connsiteY549" fmla="*/ 314134 h 791432"/>
                <a:gd name="connsiteX550" fmla="*/ 751808 w 910018"/>
                <a:gd name="connsiteY550" fmla="*/ 302609 h 791432"/>
                <a:gd name="connsiteX551" fmla="*/ 751999 w 910018"/>
                <a:gd name="connsiteY551" fmla="*/ 291370 h 791432"/>
                <a:gd name="connsiteX552" fmla="*/ 751142 w 910018"/>
                <a:gd name="connsiteY552" fmla="*/ 285083 h 791432"/>
                <a:gd name="connsiteX553" fmla="*/ 750951 w 910018"/>
                <a:gd name="connsiteY553" fmla="*/ 283464 h 791432"/>
                <a:gd name="connsiteX554" fmla="*/ 755333 w 910018"/>
                <a:gd name="connsiteY554" fmla="*/ 279749 h 791432"/>
                <a:gd name="connsiteX555" fmla="*/ 758666 w 910018"/>
                <a:gd name="connsiteY555" fmla="*/ 280892 h 791432"/>
                <a:gd name="connsiteX556" fmla="*/ 762953 w 910018"/>
                <a:gd name="connsiteY556" fmla="*/ 277177 h 791432"/>
                <a:gd name="connsiteX557" fmla="*/ 767905 w 910018"/>
                <a:gd name="connsiteY557" fmla="*/ 278130 h 791432"/>
                <a:gd name="connsiteX558" fmla="*/ 770668 w 910018"/>
                <a:gd name="connsiteY558" fmla="*/ 274606 h 791432"/>
                <a:gd name="connsiteX559" fmla="*/ 774002 w 910018"/>
                <a:gd name="connsiteY559" fmla="*/ 275749 h 791432"/>
                <a:gd name="connsiteX560" fmla="*/ 776764 w 910018"/>
                <a:gd name="connsiteY560" fmla="*/ 272225 h 791432"/>
                <a:gd name="connsiteX561" fmla="*/ 792956 w 910018"/>
                <a:gd name="connsiteY561" fmla="*/ 273367 h 791432"/>
                <a:gd name="connsiteX562" fmla="*/ 797528 w 910018"/>
                <a:gd name="connsiteY562" fmla="*/ 271177 h 791432"/>
                <a:gd name="connsiteX563" fmla="*/ 806768 w 910018"/>
                <a:gd name="connsiteY563" fmla="*/ 268319 h 791432"/>
                <a:gd name="connsiteX564" fmla="*/ 811149 w 910018"/>
                <a:gd name="connsiteY564" fmla="*/ 264605 h 791432"/>
                <a:gd name="connsiteX565" fmla="*/ 817245 w 910018"/>
                <a:gd name="connsiteY565" fmla="*/ 262223 h 791432"/>
                <a:gd name="connsiteX566" fmla="*/ 831437 w 910018"/>
                <a:gd name="connsiteY566" fmla="*/ 260413 h 791432"/>
                <a:gd name="connsiteX567" fmla="*/ 832771 w 910018"/>
                <a:gd name="connsiteY567" fmla="*/ 258604 h 791432"/>
                <a:gd name="connsiteX568" fmla="*/ 832390 w 910018"/>
                <a:gd name="connsiteY568" fmla="*/ 255460 h 791432"/>
                <a:gd name="connsiteX569" fmla="*/ 844582 w 910018"/>
                <a:gd name="connsiteY569" fmla="*/ 250698 h 791432"/>
                <a:gd name="connsiteX570" fmla="*/ 851726 w 910018"/>
                <a:gd name="connsiteY570" fmla="*/ 243364 h 791432"/>
                <a:gd name="connsiteX571" fmla="*/ 855059 w 910018"/>
                <a:gd name="connsiteY571" fmla="*/ 244602 h 791432"/>
                <a:gd name="connsiteX572" fmla="*/ 875157 w 910018"/>
                <a:gd name="connsiteY572" fmla="*/ 238792 h 791432"/>
                <a:gd name="connsiteX573" fmla="*/ 885444 w 910018"/>
                <a:gd name="connsiteY573" fmla="*/ 231076 h 791432"/>
                <a:gd name="connsiteX574" fmla="*/ 892683 w 910018"/>
                <a:gd name="connsiteY574" fmla="*/ 212503 h 791432"/>
                <a:gd name="connsiteX575" fmla="*/ 896969 w 910018"/>
                <a:gd name="connsiteY575" fmla="*/ 208788 h 791432"/>
                <a:gd name="connsiteX576" fmla="*/ 903351 w 910018"/>
                <a:gd name="connsiteY576" fmla="*/ 207931 h 791432"/>
                <a:gd name="connsiteX577" fmla="*/ 899160 w 910018"/>
                <a:gd name="connsiteY577" fmla="*/ 200501 h 791432"/>
                <a:gd name="connsiteX578" fmla="*/ 906494 w 910018"/>
                <a:gd name="connsiteY578" fmla="*/ 194691 h 791432"/>
                <a:gd name="connsiteX579" fmla="*/ 910019 w 910018"/>
                <a:gd name="connsiteY579" fmla="*/ 184690 h 791432"/>
                <a:gd name="connsiteX580" fmla="*/ 910019 w 910018"/>
                <a:gd name="connsiteY580" fmla="*/ 184690 h 791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</a:cxnLst>
              <a:rect l="l" t="t" r="r" b="b"/>
              <a:pathLst>
                <a:path w="910018" h="791432">
                  <a:moveTo>
                    <a:pt x="910019" y="184690"/>
                  </a:moveTo>
                  <a:lnTo>
                    <a:pt x="904208" y="164497"/>
                  </a:lnTo>
                  <a:lnTo>
                    <a:pt x="903637" y="159829"/>
                  </a:lnTo>
                  <a:lnTo>
                    <a:pt x="901255" y="153734"/>
                  </a:lnTo>
                  <a:lnTo>
                    <a:pt x="896112" y="151162"/>
                  </a:lnTo>
                  <a:lnTo>
                    <a:pt x="891350" y="151733"/>
                  </a:lnTo>
                  <a:lnTo>
                    <a:pt x="884206" y="146209"/>
                  </a:lnTo>
                  <a:lnTo>
                    <a:pt x="879253" y="145256"/>
                  </a:lnTo>
                  <a:lnTo>
                    <a:pt x="871442" y="146304"/>
                  </a:lnTo>
                  <a:lnTo>
                    <a:pt x="876681" y="124777"/>
                  </a:lnTo>
                  <a:lnTo>
                    <a:pt x="871919" y="112490"/>
                  </a:lnTo>
                  <a:lnTo>
                    <a:pt x="867156" y="113157"/>
                  </a:lnTo>
                  <a:lnTo>
                    <a:pt x="865156" y="110204"/>
                  </a:lnTo>
                  <a:lnTo>
                    <a:pt x="866775" y="110014"/>
                  </a:lnTo>
                  <a:lnTo>
                    <a:pt x="864775" y="106966"/>
                  </a:lnTo>
                  <a:lnTo>
                    <a:pt x="860393" y="97917"/>
                  </a:lnTo>
                  <a:lnTo>
                    <a:pt x="854107" y="98774"/>
                  </a:lnTo>
                  <a:lnTo>
                    <a:pt x="845439" y="93440"/>
                  </a:lnTo>
                  <a:lnTo>
                    <a:pt x="840486" y="92488"/>
                  </a:lnTo>
                  <a:lnTo>
                    <a:pt x="834390" y="82010"/>
                  </a:lnTo>
                  <a:lnTo>
                    <a:pt x="828770" y="76295"/>
                  </a:lnTo>
                  <a:lnTo>
                    <a:pt x="826008" y="54197"/>
                  </a:lnTo>
                  <a:lnTo>
                    <a:pt x="822198" y="49911"/>
                  </a:lnTo>
                  <a:lnTo>
                    <a:pt x="815530" y="47530"/>
                  </a:lnTo>
                  <a:lnTo>
                    <a:pt x="804101" y="45815"/>
                  </a:lnTo>
                  <a:lnTo>
                    <a:pt x="799338" y="46387"/>
                  </a:lnTo>
                  <a:lnTo>
                    <a:pt x="794195" y="56674"/>
                  </a:lnTo>
                  <a:lnTo>
                    <a:pt x="789718" y="58864"/>
                  </a:lnTo>
                  <a:lnTo>
                    <a:pt x="769811" y="53340"/>
                  </a:lnTo>
                  <a:lnTo>
                    <a:pt x="765810" y="47434"/>
                  </a:lnTo>
                  <a:lnTo>
                    <a:pt x="762667" y="47815"/>
                  </a:lnTo>
                  <a:lnTo>
                    <a:pt x="753618" y="52197"/>
                  </a:lnTo>
                  <a:lnTo>
                    <a:pt x="745046" y="48482"/>
                  </a:lnTo>
                  <a:lnTo>
                    <a:pt x="733806" y="35528"/>
                  </a:lnTo>
                  <a:lnTo>
                    <a:pt x="729234" y="24860"/>
                  </a:lnTo>
                  <a:lnTo>
                    <a:pt x="725710" y="22098"/>
                  </a:lnTo>
                  <a:lnTo>
                    <a:pt x="721328" y="25908"/>
                  </a:lnTo>
                  <a:lnTo>
                    <a:pt x="705803" y="29432"/>
                  </a:lnTo>
                  <a:lnTo>
                    <a:pt x="697802" y="17621"/>
                  </a:lnTo>
                  <a:lnTo>
                    <a:pt x="687229" y="22193"/>
                  </a:lnTo>
                  <a:lnTo>
                    <a:pt x="680657" y="21431"/>
                  </a:lnTo>
                  <a:lnTo>
                    <a:pt x="677704" y="23431"/>
                  </a:lnTo>
                  <a:lnTo>
                    <a:pt x="669417" y="21241"/>
                  </a:lnTo>
                  <a:lnTo>
                    <a:pt x="665131" y="25051"/>
                  </a:lnTo>
                  <a:lnTo>
                    <a:pt x="663512" y="25241"/>
                  </a:lnTo>
                  <a:lnTo>
                    <a:pt x="655415" y="24670"/>
                  </a:lnTo>
                  <a:lnTo>
                    <a:pt x="647795" y="27242"/>
                  </a:lnTo>
                  <a:lnTo>
                    <a:pt x="633794" y="30575"/>
                  </a:lnTo>
                  <a:lnTo>
                    <a:pt x="618744" y="38957"/>
                  </a:lnTo>
                  <a:lnTo>
                    <a:pt x="612458" y="39719"/>
                  </a:lnTo>
                  <a:lnTo>
                    <a:pt x="611124" y="41529"/>
                  </a:lnTo>
                  <a:lnTo>
                    <a:pt x="604361" y="39148"/>
                  </a:lnTo>
                  <a:lnTo>
                    <a:pt x="604742" y="29527"/>
                  </a:lnTo>
                  <a:lnTo>
                    <a:pt x="603313" y="18478"/>
                  </a:lnTo>
                  <a:lnTo>
                    <a:pt x="595979" y="11335"/>
                  </a:lnTo>
                  <a:lnTo>
                    <a:pt x="590074" y="2476"/>
                  </a:lnTo>
                  <a:lnTo>
                    <a:pt x="586930" y="2857"/>
                  </a:lnTo>
                  <a:lnTo>
                    <a:pt x="585692" y="6286"/>
                  </a:lnTo>
                  <a:lnTo>
                    <a:pt x="578644" y="762"/>
                  </a:lnTo>
                  <a:lnTo>
                    <a:pt x="572072" y="0"/>
                  </a:lnTo>
                  <a:lnTo>
                    <a:pt x="550069" y="2762"/>
                  </a:lnTo>
                  <a:lnTo>
                    <a:pt x="547116" y="17621"/>
                  </a:lnTo>
                  <a:lnTo>
                    <a:pt x="538829" y="28289"/>
                  </a:lnTo>
                  <a:lnTo>
                    <a:pt x="539210" y="31432"/>
                  </a:lnTo>
                  <a:lnTo>
                    <a:pt x="539687" y="34576"/>
                  </a:lnTo>
                  <a:lnTo>
                    <a:pt x="530352" y="37338"/>
                  </a:lnTo>
                  <a:lnTo>
                    <a:pt x="524828" y="31623"/>
                  </a:lnTo>
                  <a:lnTo>
                    <a:pt x="520255" y="33814"/>
                  </a:lnTo>
                  <a:lnTo>
                    <a:pt x="518351" y="30861"/>
                  </a:lnTo>
                  <a:lnTo>
                    <a:pt x="515207" y="31242"/>
                  </a:lnTo>
                  <a:lnTo>
                    <a:pt x="513017" y="26765"/>
                  </a:lnTo>
                  <a:lnTo>
                    <a:pt x="505111" y="27718"/>
                  </a:lnTo>
                  <a:lnTo>
                    <a:pt x="503111" y="24765"/>
                  </a:lnTo>
                  <a:lnTo>
                    <a:pt x="499586" y="22003"/>
                  </a:lnTo>
                  <a:lnTo>
                    <a:pt x="496443" y="22479"/>
                  </a:lnTo>
                  <a:lnTo>
                    <a:pt x="498348" y="25432"/>
                  </a:lnTo>
                  <a:lnTo>
                    <a:pt x="498824" y="28575"/>
                  </a:lnTo>
                  <a:lnTo>
                    <a:pt x="497777" y="33528"/>
                  </a:lnTo>
                  <a:lnTo>
                    <a:pt x="498253" y="36671"/>
                  </a:lnTo>
                  <a:lnTo>
                    <a:pt x="496634" y="36862"/>
                  </a:lnTo>
                  <a:lnTo>
                    <a:pt x="497396" y="43148"/>
                  </a:lnTo>
                  <a:lnTo>
                    <a:pt x="483680" y="48101"/>
                  </a:lnTo>
                  <a:lnTo>
                    <a:pt x="480060" y="45339"/>
                  </a:lnTo>
                  <a:lnTo>
                    <a:pt x="477488" y="50482"/>
                  </a:lnTo>
                  <a:lnTo>
                    <a:pt x="478155" y="55245"/>
                  </a:lnTo>
                  <a:lnTo>
                    <a:pt x="476917" y="58579"/>
                  </a:lnTo>
                  <a:lnTo>
                    <a:pt x="467868" y="62960"/>
                  </a:lnTo>
                  <a:lnTo>
                    <a:pt x="464915" y="64960"/>
                  </a:lnTo>
                  <a:lnTo>
                    <a:pt x="461391" y="62198"/>
                  </a:lnTo>
                  <a:lnTo>
                    <a:pt x="461772" y="65342"/>
                  </a:lnTo>
                  <a:lnTo>
                    <a:pt x="467678" y="74200"/>
                  </a:lnTo>
                  <a:lnTo>
                    <a:pt x="470249" y="81915"/>
                  </a:lnTo>
                  <a:lnTo>
                    <a:pt x="465963" y="85630"/>
                  </a:lnTo>
                  <a:lnTo>
                    <a:pt x="467773" y="87058"/>
                  </a:lnTo>
                  <a:lnTo>
                    <a:pt x="464820" y="89059"/>
                  </a:lnTo>
                  <a:lnTo>
                    <a:pt x="463582" y="92392"/>
                  </a:lnTo>
                  <a:lnTo>
                    <a:pt x="456152" y="96583"/>
                  </a:lnTo>
                  <a:lnTo>
                    <a:pt x="456343" y="98107"/>
                  </a:lnTo>
                  <a:lnTo>
                    <a:pt x="460058" y="102489"/>
                  </a:lnTo>
                  <a:lnTo>
                    <a:pt x="456152" y="109347"/>
                  </a:lnTo>
                  <a:lnTo>
                    <a:pt x="456724" y="114109"/>
                  </a:lnTo>
                  <a:lnTo>
                    <a:pt x="457200" y="117253"/>
                  </a:lnTo>
                  <a:lnTo>
                    <a:pt x="455581" y="117443"/>
                  </a:lnTo>
                  <a:lnTo>
                    <a:pt x="455962" y="120586"/>
                  </a:lnTo>
                  <a:lnTo>
                    <a:pt x="452819" y="121063"/>
                  </a:lnTo>
                  <a:lnTo>
                    <a:pt x="451009" y="119634"/>
                  </a:lnTo>
                  <a:lnTo>
                    <a:pt x="447866" y="120015"/>
                  </a:lnTo>
                  <a:lnTo>
                    <a:pt x="447675" y="118491"/>
                  </a:lnTo>
                  <a:lnTo>
                    <a:pt x="444532" y="118872"/>
                  </a:lnTo>
                  <a:lnTo>
                    <a:pt x="430721" y="123825"/>
                  </a:lnTo>
                  <a:lnTo>
                    <a:pt x="429387" y="125635"/>
                  </a:lnTo>
                  <a:lnTo>
                    <a:pt x="426149" y="126016"/>
                  </a:lnTo>
                  <a:lnTo>
                    <a:pt x="419100" y="120491"/>
                  </a:lnTo>
                  <a:lnTo>
                    <a:pt x="414338" y="121158"/>
                  </a:lnTo>
                  <a:lnTo>
                    <a:pt x="415766" y="119348"/>
                  </a:lnTo>
                  <a:lnTo>
                    <a:pt x="408813" y="115443"/>
                  </a:lnTo>
                  <a:lnTo>
                    <a:pt x="408622" y="113824"/>
                  </a:lnTo>
                  <a:lnTo>
                    <a:pt x="411194" y="108680"/>
                  </a:lnTo>
                  <a:lnTo>
                    <a:pt x="407956" y="109061"/>
                  </a:lnTo>
                  <a:lnTo>
                    <a:pt x="405860" y="104584"/>
                  </a:lnTo>
                  <a:lnTo>
                    <a:pt x="398907" y="100584"/>
                  </a:lnTo>
                  <a:lnTo>
                    <a:pt x="396335" y="92964"/>
                  </a:lnTo>
                  <a:lnTo>
                    <a:pt x="392239" y="98298"/>
                  </a:lnTo>
                  <a:lnTo>
                    <a:pt x="386810" y="94107"/>
                  </a:lnTo>
                  <a:lnTo>
                    <a:pt x="382334" y="96298"/>
                  </a:lnTo>
                  <a:lnTo>
                    <a:pt x="382905" y="101060"/>
                  </a:lnTo>
                  <a:lnTo>
                    <a:pt x="379952" y="103060"/>
                  </a:lnTo>
                  <a:lnTo>
                    <a:pt x="380619" y="107728"/>
                  </a:lnTo>
                  <a:lnTo>
                    <a:pt x="379190" y="109538"/>
                  </a:lnTo>
                  <a:lnTo>
                    <a:pt x="381762" y="117253"/>
                  </a:lnTo>
                  <a:lnTo>
                    <a:pt x="377476" y="120967"/>
                  </a:lnTo>
                  <a:lnTo>
                    <a:pt x="372523" y="120015"/>
                  </a:lnTo>
                  <a:lnTo>
                    <a:pt x="366141" y="108013"/>
                  </a:lnTo>
                  <a:lnTo>
                    <a:pt x="358712" y="112204"/>
                  </a:lnTo>
                  <a:lnTo>
                    <a:pt x="358521" y="110585"/>
                  </a:lnTo>
                  <a:lnTo>
                    <a:pt x="353759" y="111157"/>
                  </a:lnTo>
                  <a:lnTo>
                    <a:pt x="352520" y="114586"/>
                  </a:lnTo>
                  <a:lnTo>
                    <a:pt x="348805" y="110204"/>
                  </a:lnTo>
                  <a:lnTo>
                    <a:pt x="346043" y="113728"/>
                  </a:lnTo>
                  <a:lnTo>
                    <a:pt x="349568" y="116491"/>
                  </a:lnTo>
                  <a:lnTo>
                    <a:pt x="348425" y="119920"/>
                  </a:lnTo>
                  <a:lnTo>
                    <a:pt x="357378" y="126778"/>
                  </a:lnTo>
                  <a:lnTo>
                    <a:pt x="357950" y="131540"/>
                  </a:lnTo>
                  <a:lnTo>
                    <a:pt x="358140" y="133064"/>
                  </a:lnTo>
                  <a:lnTo>
                    <a:pt x="361855" y="137446"/>
                  </a:lnTo>
                  <a:lnTo>
                    <a:pt x="367189" y="141542"/>
                  </a:lnTo>
                  <a:lnTo>
                    <a:pt x="364236" y="143542"/>
                  </a:lnTo>
                  <a:lnTo>
                    <a:pt x="368237" y="149447"/>
                  </a:lnTo>
                  <a:lnTo>
                    <a:pt x="361379" y="158305"/>
                  </a:lnTo>
                  <a:lnTo>
                    <a:pt x="356616" y="158972"/>
                  </a:lnTo>
                  <a:lnTo>
                    <a:pt x="355854" y="165449"/>
                  </a:lnTo>
                  <a:lnTo>
                    <a:pt x="348329" y="169640"/>
                  </a:lnTo>
                  <a:lnTo>
                    <a:pt x="343471" y="168592"/>
                  </a:lnTo>
                  <a:lnTo>
                    <a:pt x="342043" y="170402"/>
                  </a:lnTo>
                  <a:lnTo>
                    <a:pt x="341662" y="167259"/>
                  </a:lnTo>
                  <a:lnTo>
                    <a:pt x="340424" y="170593"/>
                  </a:lnTo>
                  <a:lnTo>
                    <a:pt x="335566" y="169640"/>
                  </a:lnTo>
                  <a:lnTo>
                    <a:pt x="333946" y="169831"/>
                  </a:lnTo>
                  <a:lnTo>
                    <a:pt x="333756" y="168211"/>
                  </a:lnTo>
                  <a:lnTo>
                    <a:pt x="331946" y="166878"/>
                  </a:lnTo>
                  <a:lnTo>
                    <a:pt x="327660" y="170688"/>
                  </a:lnTo>
                  <a:lnTo>
                    <a:pt x="328803" y="167259"/>
                  </a:lnTo>
                  <a:lnTo>
                    <a:pt x="328422" y="164116"/>
                  </a:lnTo>
                  <a:lnTo>
                    <a:pt x="323088" y="160020"/>
                  </a:lnTo>
                  <a:lnTo>
                    <a:pt x="319754" y="158782"/>
                  </a:lnTo>
                  <a:lnTo>
                    <a:pt x="316802" y="160782"/>
                  </a:lnTo>
                  <a:lnTo>
                    <a:pt x="312039" y="161449"/>
                  </a:lnTo>
                  <a:lnTo>
                    <a:pt x="310229" y="160020"/>
                  </a:lnTo>
                  <a:lnTo>
                    <a:pt x="296418" y="164973"/>
                  </a:lnTo>
                  <a:lnTo>
                    <a:pt x="294513" y="162020"/>
                  </a:lnTo>
                  <a:lnTo>
                    <a:pt x="290132" y="165830"/>
                  </a:lnTo>
                  <a:lnTo>
                    <a:pt x="286988" y="166211"/>
                  </a:lnTo>
                  <a:lnTo>
                    <a:pt x="283083" y="173069"/>
                  </a:lnTo>
                  <a:lnTo>
                    <a:pt x="279654" y="171926"/>
                  </a:lnTo>
                  <a:lnTo>
                    <a:pt x="279463" y="170402"/>
                  </a:lnTo>
                  <a:lnTo>
                    <a:pt x="277273" y="165830"/>
                  </a:lnTo>
                  <a:lnTo>
                    <a:pt x="274320" y="167830"/>
                  </a:lnTo>
                  <a:lnTo>
                    <a:pt x="274606" y="169354"/>
                  </a:lnTo>
                  <a:lnTo>
                    <a:pt x="266224" y="167259"/>
                  </a:lnTo>
                  <a:lnTo>
                    <a:pt x="273177" y="171164"/>
                  </a:lnTo>
                  <a:lnTo>
                    <a:pt x="269081" y="176498"/>
                  </a:lnTo>
                  <a:lnTo>
                    <a:pt x="272225" y="176117"/>
                  </a:lnTo>
                  <a:lnTo>
                    <a:pt x="274225" y="179070"/>
                  </a:lnTo>
                  <a:lnTo>
                    <a:pt x="274034" y="190309"/>
                  </a:lnTo>
                  <a:lnTo>
                    <a:pt x="271272" y="193834"/>
                  </a:lnTo>
                  <a:lnTo>
                    <a:pt x="269462" y="192500"/>
                  </a:lnTo>
                  <a:lnTo>
                    <a:pt x="266510" y="194500"/>
                  </a:lnTo>
                  <a:lnTo>
                    <a:pt x="261176" y="203168"/>
                  </a:lnTo>
                  <a:lnTo>
                    <a:pt x="245840" y="221171"/>
                  </a:lnTo>
                  <a:lnTo>
                    <a:pt x="245650" y="219551"/>
                  </a:lnTo>
                  <a:lnTo>
                    <a:pt x="244507" y="210121"/>
                  </a:lnTo>
                  <a:lnTo>
                    <a:pt x="238887" y="204406"/>
                  </a:lnTo>
                  <a:lnTo>
                    <a:pt x="238887" y="204406"/>
                  </a:lnTo>
                  <a:lnTo>
                    <a:pt x="233172" y="197072"/>
                  </a:lnTo>
                  <a:lnTo>
                    <a:pt x="226695" y="196310"/>
                  </a:lnTo>
                  <a:lnTo>
                    <a:pt x="227838" y="192976"/>
                  </a:lnTo>
                  <a:lnTo>
                    <a:pt x="221552" y="193834"/>
                  </a:lnTo>
                  <a:lnTo>
                    <a:pt x="218218" y="192596"/>
                  </a:lnTo>
                  <a:lnTo>
                    <a:pt x="218408" y="194215"/>
                  </a:lnTo>
                  <a:lnTo>
                    <a:pt x="213455" y="193262"/>
                  </a:lnTo>
                  <a:lnTo>
                    <a:pt x="215646" y="197739"/>
                  </a:lnTo>
                  <a:lnTo>
                    <a:pt x="214217" y="199549"/>
                  </a:lnTo>
                  <a:lnTo>
                    <a:pt x="212027" y="194977"/>
                  </a:lnTo>
                  <a:lnTo>
                    <a:pt x="202597" y="196215"/>
                  </a:lnTo>
                  <a:lnTo>
                    <a:pt x="203549" y="191262"/>
                  </a:lnTo>
                  <a:lnTo>
                    <a:pt x="199835" y="186976"/>
                  </a:lnTo>
                  <a:lnTo>
                    <a:pt x="196882" y="188881"/>
                  </a:lnTo>
                  <a:lnTo>
                    <a:pt x="184976" y="184023"/>
                  </a:lnTo>
                  <a:lnTo>
                    <a:pt x="186214" y="193453"/>
                  </a:lnTo>
                  <a:lnTo>
                    <a:pt x="182880" y="192310"/>
                  </a:lnTo>
                  <a:lnTo>
                    <a:pt x="174974" y="193262"/>
                  </a:lnTo>
                  <a:lnTo>
                    <a:pt x="174593" y="190119"/>
                  </a:lnTo>
                  <a:lnTo>
                    <a:pt x="175355" y="183642"/>
                  </a:lnTo>
                  <a:lnTo>
                    <a:pt x="175546" y="172402"/>
                  </a:lnTo>
                  <a:lnTo>
                    <a:pt x="181261" y="166878"/>
                  </a:lnTo>
                  <a:lnTo>
                    <a:pt x="180975" y="165259"/>
                  </a:lnTo>
                  <a:lnTo>
                    <a:pt x="177832" y="165640"/>
                  </a:lnTo>
                  <a:lnTo>
                    <a:pt x="170307" y="156972"/>
                  </a:lnTo>
                  <a:lnTo>
                    <a:pt x="170307" y="156972"/>
                  </a:lnTo>
                  <a:lnTo>
                    <a:pt x="170783" y="160210"/>
                  </a:lnTo>
                  <a:lnTo>
                    <a:pt x="166021" y="160782"/>
                  </a:lnTo>
                  <a:lnTo>
                    <a:pt x="166211" y="162306"/>
                  </a:lnTo>
                  <a:lnTo>
                    <a:pt x="159925" y="163163"/>
                  </a:lnTo>
                  <a:lnTo>
                    <a:pt x="159353" y="171259"/>
                  </a:lnTo>
                  <a:lnTo>
                    <a:pt x="156401" y="173260"/>
                  </a:lnTo>
                  <a:lnTo>
                    <a:pt x="157925" y="172974"/>
                  </a:lnTo>
                  <a:lnTo>
                    <a:pt x="156782" y="176403"/>
                  </a:lnTo>
                  <a:lnTo>
                    <a:pt x="154972" y="174974"/>
                  </a:lnTo>
                  <a:lnTo>
                    <a:pt x="152210" y="178594"/>
                  </a:lnTo>
                  <a:lnTo>
                    <a:pt x="152400" y="180118"/>
                  </a:lnTo>
                  <a:lnTo>
                    <a:pt x="151257" y="183451"/>
                  </a:lnTo>
                  <a:lnTo>
                    <a:pt x="146495" y="184118"/>
                  </a:lnTo>
                  <a:lnTo>
                    <a:pt x="147542" y="192024"/>
                  </a:lnTo>
                  <a:lnTo>
                    <a:pt x="145733" y="190595"/>
                  </a:lnTo>
                  <a:lnTo>
                    <a:pt x="146399" y="195358"/>
                  </a:lnTo>
                  <a:lnTo>
                    <a:pt x="146971" y="200120"/>
                  </a:lnTo>
                  <a:lnTo>
                    <a:pt x="149543" y="207740"/>
                  </a:lnTo>
                  <a:lnTo>
                    <a:pt x="153543" y="213646"/>
                  </a:lnTo>
                  <a:lnTo>
                    <a:pt x="152495" y="218599"/>
                  </a:lnTo>
                  <a:lnTo>
                    <a:pt x="159258" y="220980"/>
                  </a:lnTo>
                  <a:lnTo>
                    <a:pt x="159449" y="222504"/>
                  </a:lnTo>
                  <a:lnTo>
                    <a:pt x="162020" y="230219"/>
                  </a:lnTo>
                  <a:lnTo>
                    <a:pt x="160496" y="230410"/>
                  </a:lnTo>
                  <a:lnTo>
                    <a:pt x="163068" y="238125"/>
                  </a:lnTo>
                  <a:lnTo>
                    <a:pt x="156686" y="238887"/>
                  </a:lnTo>
                  <a:lnTo>
                    <a:pt x="155162" y="239173"/>
                  </a:lnTo>
                  <a:lnTo>
                    <a:pt x="152019" y="239554"/>
                  </a:lnTo>
                  <a:lnTo>
                    <a:pt x="148304" y="248031"/>
                  </a:lnTo>
                  <a:lnTo>
                    <a:pt x="143351" y="247078"/>
                  </a:lnTo>
                  <a:lnTo>
                    <a:pt x="143732" y="250222"/>
                  </a:lnTo>
                  <a:lnTo>
                    <a:pt x="137636" y="252603"/>
                  </a:lnTo>
                  <a:lnTo>
                    <a:pt x="135636" y="249650"/>
                  </a:lnTo>
                  <a:lnTo>
                    <a:pt x="132874" y="266033"/>
                  </a:lnTo>
                  <a:lnTo>
                    <a:pt x="131350" y="266224"/>
                  </a:lnTo>
                  <a:lnTo>
                    <a:pt x="130207" y="269557"/>
                  </a:lnTo>
                  <a:lnTo>
                    <a:pt x="126968" y="269938"/>
                  </a:lnTo>
                  <a:lnTo>
                    <a:pt x="128969" y="272891"/>
                  </a:lnTo>
                  <a:lnTo>
                    <a:pt x="125825" y="273367"/>
                  </a:lnTo>
                  <a:lnTo>
                    <a:pt x="124682" y="276701"/>
                  </a:lnTo>
                  <a:lnTo>
                    <a:pt x="120301" y="280416"/>
                  </a:lnTo>
                  <a:lnTo>
                    <a:pt x="119158" y="283845"/>
                  </a:lnTo>
                  <a:lnTo>
                    <a:pt x="120968" y="285178"/>
                  </a:lnTo>
                  <a:lnTo>
                    <a:pt x="119539" y="286988"/>
                  </a:lnTo>
                  <a:lnTo>
                    <a:pt x="110680" y="292894"/>
                  </a:lnTo>
                  <a:lnTo>
                    <a:pt x="107347" y="291751"/>
                  </a:lnTo>
                  <a:lnTo>
                    <a:pt x="106109" y="295084"/>
                  </a:lnTo>
                  <a:lnTo>
                    <a:pt x="97250" y="288226"/>
                  </a:lnTo>
                  <a:lnTo>
                    <a:pt x="95917" y="289941"/>
                  </a:lnTo>
                  <a:lnTo>
                    <a:pt x="93726" y="285464"/>
                  </a:lnTo>
                  <a:lnTo>
                    <a:pt x="92678" y="290417"/>
                  </a:lnTo>
                  <a:lnTo>
                    <a:pt x="88202" y="292608"/>
                  </a:lnTo>
                  <a:lnTo>
                    <a:pt x="85249" y="294513"/>
                  </a:lnTo>
                  <a:lnTo>
                    <a:pt x="76771" y="290798"/>
                  </a:lnTo>
                  <a:lnTo>
                    <a:pt x="75343" y="292608"/>
                  </a:lnTo>
                  <a:lnTo>
                    <a:pt x="70866" y="294799"/>
                  </a:lnTo>
                  <a:lnTo>
                    <a:pt x="66104" y="295370"/>
                  </a:lnTo>
                  <a:lnTo>
                    <a:pt x="65151" y="300323"/>
                  </a:lnTo>
                  <a:lnTo>
                    <a:pt x="63722" y="302133"/>
                  </a:lnTo>
                  <a:lnTo>
                    <a:pt x="56864" y="298132"/>
                  </a:lnTo>
                  <a:lnTo>
                    <a:pt x="54483" y="292036"/>
                  </a:lnTo>
                  <a:lnTo>
                    <a:pt x="51245" y="292417"/>
                  </a:lnTo>
                  <a:lnTo>
                    <a:pt x="48292" y="294418"/>
                  </a:lnTo>
                  <a:lnTo>
                    <a:pt x="53912" y="300133"/>
                  </a:lnTo>
                  <a:lnTo>
                    <a:pt x="49339" y="302323"/>
                  </a:lnTo>
                  <a:lnTo>
                    <a:pt x="44577" y="302895"/>
                  </a:lnTo>
                  <a:lnTo>
                    <a:pt x="40291" y="306705"/>
                  </a:lnTo>
                  <a:lnTo>
                    <a:pt x="41053" y="312992"/>
                  </a:lnTo>
                  <a:lnTo>
                    <a:pt x="42672" y="312801"/>
                  </a:lnTo>
                  <a:lnTo>
                    <a:pt x="42101" y="320897"/>
                  </a:lnTo>
                  <a:lnTo>
                    <a:pt x="39529" y="326041"/>
                  </a:lnTo>
                  <a:lnTo>
                    <a:pt x="39338" y="324421"/>
                  </a:lnTo>
                  <a:lnTo>
                    <a:pt x="37719" y="324612"/>
                  </a:lnTo>
                  <a:lnTo>
                    <a:pt x="37910" y="326231"/>
                  </a:lnTo>
                  <a:lnTo>
                    <a:pt x="36004" y="323278"/>
                  </a:lnTo>
                  <a:lnTo>
                    <a:pt x="32576" y="322135"/>
                  </a:lnTo>
                  <a:lnTo>
                    <a:pt x="30671" y="319183"/>
                  </a:lnTo>
                  <a:lnTo>
                    <a:pt x="27242" y="317944"/>
                  </a:lnTo>
                  <a:lnTo>
                    <a:pt x="23336" y="324898"/>
                  </a:lnTo>
                  <a:lnTo>
                    <a:pt x="23527" y="326422"/>
                  </a:lnTo>
                  <a:lnTo>
                    <a:pt x="21622" y="336328"/>
                  </a:lnTo>
                  <a:lnTo>
                    <a:pt x="17050" y="338518"/>
                  </a:lnTo>
                  <a:lnTo>
                    <a:pt x="14478" y="343662"/>
                  </a:lnTo>
                  <a:lnTo>
                    <a:pt x="8572" y="347567"/>
                  </a:lnTo>
                  <a:lnTo>
                    <a:pt x="7811" y="354139"/>
                  </a:lnTo>
                  <a:lnTo>
                    <a:pt x="12954" y="356711"/>
                  </a:lnTo>
                  <a:lnTo>
                    <a:pt x="15145" y="361188"/>
                  </a:lnTo>
                  <a:lnTo>
                    <a:pt x="18860" y="365569"/>
                  </a:lnTo>
                  <a:lnTo>
                    <a:pt x="19907" y="373475"/>
                  </a:lnTo>
                  <a:lnTo>
                    <a:pt x="13621" y="387096"/>
                  </a:lnTo>
                  <a:lnTo>
                    <a:pt x="18955" y="391192"/>
                  </a:lnTo>
                  <a:lnTo>
                    <a:pt x="23146" y="398717"/>
                  </a:lnTo>
                  <a:lnTo>
                    <a:pt x="26099" y="409575"/>
                  </a:lnTo>
                  <a:lnTo>
                    <a:pt x="29432" y="410718"/>
                  </a:lnTo>
                  <a:lnTo>
                    <a:pt x="31242" y="412051"/>
                  </a:lnTo>
                  <a:lnTo>
                    <a:pt x="32861" y="411861"/>
                  </a:lnTo>
                  <a:lnTo>
                    <a:pt x="35052" y="416433"/>
                  </a:lnTo>
                  <a:lnTo>
                    <a:pt x="29337" y="421957"/>
                  </a:lnTo>
                  <a:lnTo>
                    <a:pt x="27527" y="420529"/>
                  </a:lnTo>
                  <a:lnTo>
                    <a:pt x="26765" y="427101"/>
                  </a:lnTo>
                  <a:lnTo>
                    <a:pt x="22574" y="432435"/>
                  </a:lnTo>
                  <a:lnTo>
                    <a:pt x="27908" y="436531"/>
                  </a:lnTo>
                  <a:lnTo>
                    <a:pt x="27337" y="431863"/>
                  </a:lnTo>
                  <a:lnTo>
                    <a:pt x="38386" y="430435"/>
                  </a:lnTo>
                  <a:lnTo>
                    <a:pt x="40196" y="431768"/>
                  </a:lnTo>
                  <a:lnTo>
                    <a:pt x="43339" y="431387"/>
                  </a:lnTo>
                  <a:lnTo>
                    <a:pt x="46863" y="434150"/>
                  </a:lnTo>
                  <a:lnTo>
                    <a:pt x="51435" y="431959"/>
                  </a:lnTo>
                  <a:lnTo>
                    <a:pt x="56579" y="421672"/>
                  </a:lnTo>
                  <a:lnTo>
                    <a:pt x="58103" y="421481"/>
                  </a:lnTo>
                  <a:lnTo>
                    <a:pt x="62103" y="427387"/>
                  </a:lnTo>
                  <a:lnTo>
                    <a:pt x="58769" y="439007"/>
                  </a:lnTo>
                  <a:lnTo>
                    <a:pt x="57531" y="442436"/>
                  </a:lnTo>
                  <a:lnTo>
                    <a:pt x="59531" y="445389"/>
                  </a:lnTo>
                  <a:lnTo>
                    <a:pt x="58007" y="445580"/>
                  </a:lnTo>
                  <a:lnTo>
                    <a:pt x="59912" y="448532"/>
                  </a:lnTo>
                  <a:lnTo>
                    <a:pt x="55436" y="450723"/>
                  </a:lnTo>
                  <a:lnTo>
                    <a:pt x="51911" y="473583"/>
                  </a:lnTo>
                  <a:lnTo>
                    <a:pt x="46958" y="472630"/>
                  </a:lnTo>
                  <a:lnTo>
                    <a:pt x="45625" y="474440"/>
                  </a:lnTo>
                  <a:lnTo>
                    <a:pt x="42291" y="473202"/>
                  </a:lnTo>
                  <a:lnTo>
                    <a:pt x="41053" y="476536"/>
                  </a:lnTo>
                  <a:lnTo>
                    <a:pt x="39910" y="479965"/>
                  </a:lnTo>
                  <a:lnTo>
                    <a:pt x="36767" y="480346"/>
                  </a:lnTo>
                  <a:lnTo>
                    <a:pt x="34957" y="478917"/>
                  </a:lnTo>
                  <a:lnTo>
                    <a:pt x="28480" y="478155"/>
                  </a:lnTo>
                  <a:lnTo>
                    <a:pt x="23908" y="480346"/>
                  </a:lnTo>
                  <a:lnTo>
                    <a:pt x="23527" y="490061"/>
                  </a:lnTo>
                  <a:lnTo>
                    <a:pt x="20574" y="504825"/>
                  </a:lnTo>
                  <a:lnTo>
                    <a:pt x="19050" y="505015"/>
                  </a:lnTo>
                  <a:lnTo>
                    <a:pt x="20003" y="512921"/>
                  </a:lnTo>
                  <a:lnTo>
                    <a:pt x="15716" y="516731"/>
                  </a:lnTo>
                  <a:lnTo>
                    <a:pt x="12383" y="515493"/>
                  </a:lnTo>
                  <a:lnTo>
                    <a:pt x="857" y="513778"/>
                  </a:lnTo>
                  <a:lnTo>
                    <a:pt x="3143" y="531114"/>
                  </a:lnTo>
                  <a:lnTo>
                    <a:pt x="4477" y="529400"/>
                  </a:lnTo>
                  <a:lnTo>
                    <a:pt x="6668" y="533876"/>
                  </a:lnTo>
                  <a:lnTo>
                    <a:pt x="5905" y="540353"/>
                  </a:lnTo>
                  <a:lnTo>
                    <a:pt x="0" y="544354"/>
                  </a:lnTo>
                  <a:lnTo>
                    <a:pt x="16383" y="547116"/>
                  </a:lnTo>
                  <a:lnTo>
                    <a:pt x="20860" y="544925"/>
                  </a:lnTo>
                  <a:lnTo>
                    <a:pt x="24479" y="547688"/>
                  </a:lnTo>
                  <a:lnTo>
                    <a:pt x="28385" y="540734"/>
                  </a:lnTo>
                  <a:lnTo>
                    <a:pt x="31528" y="540353"/>
                  </a:lnTo>
                  <a:lnTo>
                    <a:pt x="34480" y="538353"/>
                  </a:lnTo>
                  <a:lnTo>
                    <a:pt x="37910" y="539496"/>
                  </a:lnTo>
                  <a:lnTo>
                    <a:pt x="42386" y="537401"/>
                  </a:lnTo>
                  <a:lnTo>
                    <a:pt x="53245" y="534352"/>
                  </a:lnTo>
                  <a:lnTo>
                    <a:pt x="63532" y="526637"/>
                  </a:lnTo>
                  <a:lnTo>
                    <a:pt x="71533" y="527209"/>
                  </a:lnTo>
                  <a:lnTo>
                    <a:pt x="73343" y="528638"/>
                  </a:lnTo>
                  <a:lnTo>
                    <a:pt x="76962" y="544163"/>
                  </a:lnTo>
                  <a:lnTo>
                    <a:pt x="81915" y="545116"/>
                  </a:lnTo>
                  <a:lnTo>
                    <a:pt x="83820" y="548068"/>
                  </a:lnTo>
                  <a:lnTo>
                    <a:pt x="84487" y="552831"/>
                  </a:lnTo>
                  <a:lnTo>
                    <a:pt x="86678" y="557403"/>
                  </a:lnTo>
                  <a:lnTo>
                    <a:pt x="86296" y="567023"/>
                  </a:lnTo>
                  <a:lnTo>
                    <a:pt x="85344" y="571976"/>
                  </a:lnTo>
                  <a:lnTo>
                    <a:pt x="81153" y="577310"/>
                  </a:lnTo>
                  <a:lnTo>
                    <a:pt x="81534" y="580453"/>
                  </a:lnTo>
                  <a:lnTo>
                    <a:pt x="79248" y="587216"/>
                  </a:lnTo>
                  <a:lnTo>
                    <a:pt x="78010" y="590550"/>
                  </a:lnTo>
                  <a:lnTo>
                    <a:pt x="80010" y="593503"/>
                  </a:lnTo>
                  <a:lnTo>
                    <a:pt x="82963" y="591502"/>
                  </a:lnTo>
                  <a:lnTo>
                    <a:pt x="85344" y="584835"/>
                  </a:lnTo>
                  <a:lnTo>
                    <a:pt x="101537" y="585978"/>
                  </a:lnTo>
                  <a:lnTo>
                    <a:pt x="102679" y="595408"/>
                  </a:lnTo>
                  <a:lnTo>
                    <a:pt x="104299" y="595217"/>
                  </a:lnTo>
                  <a:lnTo>
                    <a:pt x="108585" y="591502"/>
                  </a:lnTo>
                  <a:lnTo>
                    <a:pt x="113538" y="592455"/>
                  </a:lnTo>
                  <a:lnTo>
                    <a:pt x="115919" y="598551"/>
                  </a:lnTo>
                  <a:lnTo>
                    <a:pt x="119539" y="601313"/>
                  </a:lnTo>
                  <a:lnTo>
                    <a:pt x="119539" y="614172"/>
                  </a:lnTo>
                  <a:lnTo>
                    <a:pt x="124301" y="613505"/>
                  </a:lnTo>
                  <a:lnTo>
                    <a:pt x="127063" y="609981"/>
                  </a:lnTo>
                  <a:lnTo>
                    <a:pt x="130588" y="612743"/>
                  </a:lnTo>
                  <a:lnTo>
                    <a:pt x="130397" y="611124"/>
                  </a:lnTo>
                  <a:lnTo>
                    <a:pt x="136874" y="611886"/>
                  </a:lnTo>
                  <a:lnTo>
                    <a:pt x="138303" y="610172"/>
                  </a:lnTo>
                  <a:lnTo>
                    <a:pt x="139827" y="609981"/>
                  </a:lnTo>
                  <a:lnTo>
                    <a:pt x="143256" y="611124"/>
                  </a:lnTo>
                  <a:lnTo>
                    <a:pt x="145352" y="615601"/>
                  </a:lnTo>
                  <a:lnTo>
                    <a:pt x="151733" y="614839"/>
                  </a:lnTo>
                  <a:lnTo>
                    <a:pt x="155067" y="615982"/>
                  </a:lnTo>
                  <a:lnTo>
                    <a:pt x="162592" y="611886"/>
                  </a:lnTo>
                  <a:lnTo>
                    <a:pt x="167926" y="615982"/>
                  </a:lnTo>
                  <a:lnTo>
                    <a:pt x="166688" y="619315"/>
                  </a:lnTo>
                  <a:lnTo>
                    <a:pt x="173641" y="623316"/>
                  </a:lnTo>
                  <a:lnTo>
                    <a:pt x="174784" y="619887"/>
                  </a:lnTo>
                  <a:lnTo>
                    <a:pt x="180118" y="624078"/>
                  </a:lnTo>
                  <a:lnTo>
                    <a:pt x="178022" y="632365"/>
                  </a:lnTo>
                  <a:lnTo>
                    <a:pt x="179927" y="635318"/>
                  </a:lnTo>
                  <a:lnTo>
                    <a:pt x="178784" y="638651"/>
                  </a:lnTo>
                  <a:lnTo>
                    <a:pt x="179165" y="641794"/>
                  </a:lnTo>
                  <a:lnTo>
                    <a:pt x="175070" y="647128"/>
                  </a:lnTo>
                  <a:lnTo>
                    <a:pt x="176879" y="648557"/>
                  </a:lnTo>
                  <a:lnTo>
                    <a:pt x="175641" y="651891"/>
                  </a:lnTo>
                  <a:lnTo>
                    <a:pt x="175832" y="653415"/>
                  </a:lnTo>
                  <a:lnTo>
                    <a:pt x="177641" y="654844"/>
                  </a:lnTo>
                  <a:lnTo>
                    <a:pt x="184404" y="657225"/>
                  </a:lnTo>
                  <a:lnTo>
                    <a:pt x="185738" y="655415"/>
                  </a:lnTo>
                  <a:lnTo>
                    <a:pt x="189071" y="656558"/>
                  </a:lnTo>
                  <a:lnTo>
                    <a:pt x="190500" y="654844"/>
                  </a:lnTo>
                  <a:lnTo>
                    <a:pt x="192691" y="659321"/>
                  </a:lnTo>
                  <a:lnTo>
                    <a:pt x="194977" y="652653"/>
                  </a:lnTo>
                  <a:lnTo>
                    <a:pt x="205835" y="649605"/>
                  </a:lnTo>
                  <a:lnTo>
                    <a:pt x="207264" y="660654"/>
                  </a:lnTo>
                  <a:lnTo>
                    <a:pt x="214217" y="664655"/>
                  </a:lnTo>
                  <a:lnTo>
                    <a:pt x="223457" y="674656"/>
                  </a:lnTo>
                  <a:lnTo>
                    <a:pt x="225076" y="674465"/>
                  </a:lnTo>
                  <a:lnTo>
                    <a:pt x="234125" y="682943"/>
                  </a:lnTo>
                  <a:lnTo>
                    <a:pt x="245936" y="675037"/>
                  </a:lnTo>
                  <a:lnTo>
                    <a:pt x="247745" y="676370"/>
                  </a:lnTo>
                  <a:lnTo>
                    <a:pt x="250508" y="672846"/>
                  </a:lnTo>
                  <a:lnTo>
                    <a:pt x="252317" y="674180"/>
                  </a:lnTo>
                  <a:lnTo>
                    <a:pt x="258223" y="670274"/>
                  </a:lnTo>
                  <a:lnTo>
                    <a:pt x="258413" y="671798"/>
                  </a:lnTo>
                  <a:lnTo>
                    <a:pt x="261366" y="669798"/>
                  </a:lnTo>
                  <a:lnTo>
                    <a:pt x="267081" y="677132"/>
                  </a:lnTo>
                  <a:lnTo>
                    <a:pt x="280892" y="672179"/>
                  </a:lnTo>
                  <a:lnTo>
                    <a:pt x="279845" y="664273"/>
                  </a:lnTo>
                  <a:lnTo>
                    <a:pt x="286417" y="677894"/>
                  </a:lnTo>
                  <a:lnTo>
                    <a:pt x="288417" y="680847"/>
                  </a:lnTo>
                  <a:lnTo>
                    <a:pt x="297275" y="674846"/>
                  </a:lnTo>
                  <a:lnTo>
                    <a:pt x="311277" y="684276"/>
                  </a:lnTo>
                  <a:lnTo>
                    <a:pt x="320040" y="689610"/>
                  </a:lnTo>
                  <a:lnTo>
                    <a:pt x="317278" y="693134"/>
                  </a:lnTo>
                  <a:lnTo>
                    <a:pt x="317849" y="697897"/>
                  </a:lnTo>
                  <a:lnTo>
                    <a:pt x="310420" y="714947"/>
                  </a:lnTo>
                  <a:lnTo>
                    <a:pt x="319088" y="720185"/>
                  </a:lnTo>
                  <a:lnTo>
                    <a:pt x="323183" y="714851"/>
                  </a:lnTo>
                  <a:lnTo>
                    <a:pt x="327946" y="714280"/>
                  </a:lnTo>
                  <a:lnTo>
                    <a:pt x="344138" y="728282"/>
                  </a:lnTo>
                  <a:lnTo>
                    <a:pt x="355378" y="728377"/>
                  </a:lnTo>
                  <a:lnTo>
                    <a:pt x="367475" y="747712"/>
                  </a:lnTo>
                  <a:lnTo>
                    <a:pt x="373666" y="758190"/>
                  </a:lnTo>
                  <a:lnTo>
                    <a:pt x="372428" y="761524"/>
                  </a:lnTo>
                  <a:lnTo>
                    <a:pt x="376238" y="765810"/>
                  </a:lnTo>
                  <a:lnTo>
                    <a:pt x="383858" y="763238"/>
                  </a:lnTo>
                  <a:lnTo>
                    <a:pt x="381191" y="766858"/>
                  </a:lnTo>
                  <a:lnTo>
                    <a:pt x="382905" y="768191"/>
                  </a:lnTo>
                  <a:lnTo>
                    <a:pt x="381381" y="768382"/>
                  </a:lnTo>
                  <a:lnTo>
                    <a:pt x="381953" y="773144"/>
                  </a:lnTo>
                  <a:lnTo>
                    <a:pt x="389096" y="791432"/>
                  </a:lnTo>
                  <a:lnTo>
                    <a:pt x="396812" y="788860"/>
                  </a:lnTo>
                  <a:lnTo>
                    <a:pt x="403479" y="791242"/>
                  </a:lnTo>
                  <a:lnTo>
                    <a:pt x="409385" y="787241"/>
                  </a:lnTo>
                  <a:lnTo>
                    <a:pt x="412623" y="786860"/>
                  </a:lnTo>
                  <a:lnTo>
                    <a:pt x="416719" y="781526"/>
                  </a:lnTo>
                  <a:lnTo>
                    <a:pt x="419862" y="781145"/>
                  </a:lnTo>
                  <a:lnTo>
                    <a:pt x="431292" y="782860"/>
                  </a:lnTo>
                  <a:lnTo>
                    <a:pt x="438436" y="775526"/>
                  </a:lnTo>
                  <a:lnTo>
                    <a:pt x="440531" y="767239"/>
                  </a:lnTo>
                  <a:lnTo>
                    <a:pt x="450818" y="759524"/>
                  </a:lnTo>
                  <a:lnTo>
                    <a:pt x="454914" y="754190"/>
                  </a:lnTo>
                  <a:lnTo>
                    <a:pt x="456057" y="750856"/>
                  </a:lnTo>
                  <a:lnTo>
                    <a:pt x="460438" y="747141"/>
                  </a:lnTo>
                  <a:lnTo>
                    <a:pt x="460058" y="743902"/>
                  </a:lnTo>
                  <a:lnTo>
                    <a:pt x="465106" y="733711"/>
                  </a:lnTo>
                  <a:lnTo>
                    <a:pt x="476345" y="721043"/>
                  </a:lnTo>
                  <a:lnTo>
                    <a:pt x="479488" y="720566"/>
                  </a:lnTo>
                  <a:lnTo>
                    <a:pt x="484061" y="718471"/>
                  </a:lnTo>
                  <a:lnTo>
                    <a:pt x="482632" y="707422"/>
                  </a:lnTo>
                  <a:lnTo>
                    <a:pt x="504920" y="706184"/>
                  </a:lnTo>
                  <a:lnTo>
                    <a:pt x="508063" y="705707"/>
                  </a:lnTo>
                  <a:lnTo>
                    <a:pt x="509492" y="703993"/>
                  </a:lnTo>
                  <a:lnTo>
                    <a:pt x="523875" y="703707"/>
                  </a:lnTo>
                  <a:lnTo>
                    <a:pt x="533305" y="702564"/>
                  </a:lnTo>
                  <a:lnTo>
                    <a:pt x="545211" y="707422"/>
                  </a:lnTo>
                  <a:lnTo>
                    <a:pt x="557403" y="702659"/>
                  </a:lnTo>
                  <a:lnTo>
                    <a:pt x="557594" y="691420"/>
                  </a:lnTo>
                  <a:lnTo>
                    <a:pt x="563499" y="674656"/>
                  </a:lnTo>
                  <a:lnTo>
                    <a:pt x="565595" y="666369"/>
                  </a:lnTo>
                  <a:lnTo>
                    <a:pt x="566833" y="662940"/>
                  </a:lnTo>
                  <a:lnTo>
                    <a:pt x="563975" y="653701"/>
                  </a:lnTo>
                  <a:lnTo>
                    <a:pt x="564737" y="647224"/>
                  </a:lnTo>
                  <a:lnTo>
                    <a:pt x="568262" y="637127"/>
                  </a:lnTo>
                  <a:lnTo>
                    <a:pt x="572262" y="630174"/>
                  </a:lnTo>
                  <a:lnTo>
                    <a:pt x="574167" y="620363"/>
                  </a:lnTo>
                  <a:lnTo>
                    <a:pt x="571405" y="611029"/>
                  </a:lnTo>
                  <a:lnTo>
                    <a:pt x="572357" y="606171"/>
                  </a:lnTo>
                  <a:lnTo>
                    <a:pt x="576739" y="602361"/>
                  </a:lnTo>
                  <a:lnTo>
                    <a:pt x="579215" y="597218"/>
                  </a:lnTo>
                  <a:lnTo>
                    <a:pt x="585121" y="593312"/>
                  </a:lnTo>
                  <a:lnTo>
                    <a:pt x="596170" y="591884"/>
                  </a:lnTo>
                  <a:lnTo>
                    <a:pt x="599122" y="589883"/>
                  </a:lnTo>
                  <a:lnTo>
                    <a:pt x="615601" y="592646"/>
                  </a:lnTo>
                  <a:lnTo>
                    <a:pt x="619887" y="588835"/>
                  </a:lnTo>
                  <a:lnTo>
                    <a:pt x="622649" y="585311"/>
                  </a:lnTo>
                  <a:lnTo>
                    <a:pt x="628936" y="584454"/>
                  </a:lnTo>
                  <a:lnTo>
                    <a:pt x="637889" y="591407"/>
                  </a:lnTo>
                  <a:lnTo>
                    <a:pt x="649129" y="591598"/>
                  </a:lnTo>
                  <a:lnTo>
                    <a:pt x="652272" y="591122"/>
                  </a:lnTo>
                  <a:lnTo>
                    <a:pt x="654558" y="584454"/>
                  </a:lnTo>
                  <a:lnTo>
                    <a:pt x="662464" y="583406"/>
                  </a:lnTo>
                  <a:lnTo>
                    <a:pt x="680466" y="573119"/>
                  </a:lnTo>
                  <a:lnTo>
                    <a:pt x="684562" y="567785"/>
                  </a:lnTo>
                  <a:lnTo>
                    <a:pt x="690086" y="560642"/>
                  </a:lnTo>
                  <a:lnTo>
                    <a:pt x="690848" y="554164"/>
                  </a:lnTo>
                  <a:lnTo>
                    <a:pt x="699516" y="546640"/>
                  </a:lnTo>
                  <a:lnTo>
                    <a:pt x="697516" y="543687"/>
                  </a:lnTo>
                  <a:lnTo>
                    <a:pt x="698468" y="538734"/>
                  </a:lnTo>
                  <a:lnTo>
                    <a:pt x="705707" y="520160"/>
                  </a:lnTo>
                  <a:lnTo>
                    <a:pt x="712470" y="509683"/>
                  </a:lnTo>
                  <a:lnTo>
                    <a:pt x="707612" y="484632"/>
                  </a:lnTo>
                  <a:lnTo>
                    <a:pt x="709994" y="477964"/>
                  </a:lnTo>
                  <a:lnTo>
                    <a:pt x="711613" y="477774"/>
                  </a:lnTo>
                  <a:lnTo>
                    <a:pt x="713327" y="479107"/>
                  </a:lnTo>
                  <a:lnTo>
                    <a:pt x="714947" y="478917"/>
                  </a:lnTo>
                  <a:lnTo>
                    <a:pt x="712375" y="471202"/>
                  </a:lnTo>
                  <a:lnTo>
                    <a:pt x="705231" y="465772"/>
                  </a:lnTo>
                  <a:lnTo>
                    <a:pt x="704469" y="459391"/>
                  </a:lnTo>
                  <a:lnTo>
                    <a:pt x="706755" y="452723"/>
                  </a:lnTo>
                  <a:lnTo>
                    <a:pt x="711137" y="448913"/>
                  </a:lnTo>
                  <a:lnTo>
                    <a:pt x="710089" y="441007"/>
                  </a:lnTo>
                  <a:lnTo>
                    <a:pt x="711518" y="439293"/>
                  </a:lnTo>
                  <a:lnTo>
                    <a:pt x="724662" y="429577"/>
                  </a:lnTo>
                  <a:lnTo>
                    <a:pt x="718757" y="420719"/>
                  </a:lnTo>
                  <a:lnTo>
                    <a:pt x="718852" y="396621"/>
                  </a:lnTo>
                  <a:lnTo>
                    <a:pt x="724567" y="391096"/>
                  </a:lnTo>
                  <a:lnTo>
                    <a:pt x="727901" y="379476"/>
                  </a:lnTo>
                  <a:lnTo>
                    <a:pt x="729520" y="379285"/>
                  </a:lnTo>
                  <a:lnTo>
                    <a:pt x="727901" y="366617"/>
                  </a:lnTo>
                  <a:lnTo>
                    <a:pt x="732663" y="366046"/>
                  </a:lnTo>
                  <a:lnTo>
                    <a:pt x="731996" y="361283"/>
                  </a:lnTo>
                  <a:lnTo>
                    <a:pt x="733997" y="351377"/>
                  </a:lnTo>
                  <a:lnTo>
                    <a:pt x="726091" y="352425"/>
                  </a:lnTo>
                  <a:lnTo>
                    <a:pt x="727805" y="340995"/>
                  </a:lnTo>
                  <a:lnTo>
                    <a:pt x="726186" y="328327"/>
                  </a:lnTo>
                  <a:lnTo>
                    <a:pt x="736663" y="322231"/>
                  </a:lnTo>
                  <a:lnTo>
                    <a:pt x="737235" y="314134"/>
                  </a:lnTo>
                  <a:lnTo>
                    <a:pt x="751808" y="302609"/>
                  </a:lnTo>
                  <a:lnTo>
                    <a:pt x="751999" y="291370"/>
                  </a:lnTo>
                  <a:lnTo>
                    <a:pt x="751142" y="285083"/>
                  </a:lnTo>
                  <a:lnTo>
                    <a:pt x="750951" y="283464"/>
                  </a:lnTo>
                  <a:lnTo>
                    <a:pt x="755333" y="279749"/>
                  </a:lnTo>
                  <a:lnTo>
                    <a:pt x="758666" y="280892"/>
                  </a:lnTo>
                  <a:lnTo>
                    <a:pt x="762953" y="277177"/>
                  </a:lnTo>
                  <a:lnTo>
                    <a:pt x="767905" y="278130"/>
                  </a:lnTo>
                  <a:lnTo>
                    <a:pt x="770668" y="274606"/>
                  </a:lnTo>
                  <a:lnTo>
                    <a:pt x="774002" y="275749"/>
                  </a:lnTo>
                  <a:lnTo>
                    <a:pt x="776764" y="272225"/>
                  </a:lnTo>
                  <a:lnTo>
                    <a:pt x="792956" y="273367"/>
                  </a:lnTo>
                  <a:lnTo>
                    <a:pt x="797528" y="271177"/>
                  </a:lnTo>
                  <a:lnTo>
                    <a:pt x="806768" y="268319"/>
                  </a:lnTo>
                  <a:lnTo>
                    <a:pt x="811149" y="264605"/>
                  </a:lnTo>
                  <a:lnTo>
                    <a:pt x="817245" y="262223"/>
                  </a:lnTo>
                  <a:lnTo>
                    <a:pt x="831437" y="260413"/>
                  </a:lnTo>
                  <a:lnTo>
                    <a:pt x="832771" y="258604"/>
                  </a:lnTo>
                  <a:lnTo>
                    <a:pt x="832390" y="255460"/>
                  </a:lnTo>
                  <a:lnTo>
                    <a:pt x="844582" y="250698"/>
                  </a:lnTo>
                  <a:lnTo>
                    <a:pt x="851726" y="243364"/>
                  </a:lnTo>
                  <a:lnTo>
                    <a:pt x="855059" y="244602"/>
                  </a:lnTo>
                  <a:lnTo>
                    <a:pt x="875157" y="238792"/>
                  </a:lnTo>
                  <a:lnTo>
                    <a:pt x="885444" y="231076"/>
                  </a:lnTo>
                  <a:lnTo>
                    <a:pt x="892683" y="212503"/>
                  </a:lnTo>
                  <a:lnTo>
                    <a:pt x="896969" y="208788"/>
                  </a:lnTo>
                  <a:lnTo>
                    <a:pt x="903351" y="207931"/>
                  </a:lnTo>
                  <a:lnTo>
                    <a:pt x="899160" y="200501"/>
                  </a:lnTo>
                  <a:lnTo>
                    <a:pt x="906494" y="194691"/>
                  </a:lnTo>
                  <a:lnTo>
                    <a:pt x="910019" y="184690"/>
                  </a:lnTo>
                  <a:lnTo>
                    <a:pt x="910019" y="184690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17" name="Volný tvar: obrazec 16">
              <a:extLst>
                <a:ext uri="{FF2B5EF4-FFF2-40B4-BE49-F238E27FC236}">
                  <a16:creationId xmlns:a16="http://schemas.microsoft.com/office/drawing/2014/main" id="{D8154373-51A0-97BC-3493-B9DDE463CA3D}"/>
                </a:ext>
              </a:extLst>
            </p:cNvPr>
            <p:cNvSpPr>
              <a:spLocks noChangeAspect="1"/>
            </p:cNvSpPr>
            <p:nvPr userDrawn="1">
              <p:custDataLst>
                <p:tags r:id="rId5"/>
              </p:custDataLst>
            </p:nvPr>
          </p:nvSpPr>
          <p:spPr>
            <a:xfrm>
              <a:off x="4709541" y="3644550"/>
              <a:ext cx="1468659" cy="1218057"/>
            </a:xfrm>
            <a:custGeom>
              <a:avLst/>
              <a:gdLst>
                <a:gd name="connsiteX0" fmla="*/ 1468660 w 1468659"/>
                <a:gd name="connsiteY0" fmla="*/ 616839 h 1218057"/>
                <a:gd name="connsiteX1" fmla="*/ 1453801 w 1468659"/>
                <a:gd name="connsiteY1" fmla="*/ 601027 h 1218057"/>
                <a:gd name="connsiteX2" fmla="*/ 1456563 w 1468659"/>
                <a:gd name="connsiteY2" fmla="*/ 597503 h 1218057"/>
                <a:gd name="connsiteX3" fmla="*/ 1461230 w 1468659"/>
                <a:gd name="connsiteY3" fmla="*/ 596932 h 1218057"/>
                <a:gd name="connsiteX4" fmla="*/ 1459325 w 1468659"/>
                <a:gd name="connsiteY4" fmla="*/ 593979 h 1218057"/>
                <a:gd name="connsiteX5" fmla="*/ 1451039 w 1468659"/>
                <a:gd name="connsiteY5" fmla="*/ 591788 h 1218057"/>
                <a:gd name="connsiteX6" fmla="*/ 1448086 w 1468659"/>
                <a:gd name="connsiteY6" fmla="*/ 593788 h 1218057"/>
                <a:gd name="connsiteX7" fmla="*/ 1449800 w 1468659"/>
                <a:gd name="connsiteY7" fmla="*/ 595122 h 1218057"/>
                <a:gd name="connsiteX8" fmla="*/ 1448467 w 1468659"/>
                <a:gd name="connsiteY8" fmla="*/ 596932 h 1218057"/>
                <a:gd name="connsiteX9" fmla="*/ 1439132 w 1468659"/>
                <a:gd name="connsiteY9" fmla="*/ 586930 h 1218057"/>
                <a:gd name="connsiteX10" fmla="*/ 1435608 w 1468659"/>
                <a:gd name="connsiteY10" fmla="*/ 584168 h 1218057"/>
                <a:gd name="connsiteX11" fmla="*/ 1436942 w 1468659"/>
                <a:gd name="connsiteY11" fmla="*/ 582359 h 1218057"/>
                <a:gd name="connsiteX12" fmla="*/ 1444847 w 1468659"/>
                <a:gd name="connsiteY12" fmla="*/ 581406 h 1218057"/>
                <a:gd name="connsiteX13" fmla="*/ 1446657 w 1468659"/>
                <a:gd name="connsiteY13" fmla="*/ 582739 h 1218057"/>
                <a:gd name="connsiteX14" fmla="*/ 1444276 w 1468659"/>
                <a:gd name="connsiteY14" fmla="*/ 576643 h 1218057"/>
                <a:gd name="connsiteX15" fmla="*/ 1443038 w 1468659"/>
                <a:gd name="connsiteY15" fmla="*/ 567118 h 1218057"/>
                <a:gd name="connsiteX16" fmla="*/ 1436370 w 1468659"/>
                <a:gd name="connsiteY16" fmla="*/ 564832 h 1218057"/>
                <a:gd name="connsiteX17" fmla="*/ 1433989 w 1468659"/>
                <a:gd name="connsiteY17" fmla="*/ 571500 h 1218057"/>
                <a:gd name="connsiteX18" fmla="*/ 1434751 w 1468659"/>
                <a:gd name="connsiteY18" fmla="*/ 565023 h 1218057"/>
                <a:gd name="connsiteX19" fmla="*/ 1427607 w 1468659"/>
                <a:gd name="connsiteY19" fmla="*/ 559498 h 1218057"/>
                <a:gd name="connsiteX20" fmla="*/ 1424654 w 1468659"/>
                <a:gd name="connsiteY20" fmla="*/ 561499 h 1218057"/>
                <a:gd name="connsiteX21" fmla="*/ 1421321 w 1468659"/>
                <a:gd name="connsiteY21" fmla="*/ 560356 h 1218057"/>
                <a:gd name="connsiteX22" fmla="*/ 1420368 w 1468659"/>
                <a:gd name="connsiteY22" fmla="*/ 565213 h 1218057"/>
                <a:gd name="connsiteX23" fmla="*/ 1424083 w 1468659"/>
                <a:gd name="connsiteY23" fmla="*/ 569595 h 1218057"/>
                <a:gd name="connsiteX24" fmla="*/ 1421321 w 1468659"/>
                <a:gd name="connsiteY24" fmla="*/ 573119 h 1218057"/>
                <a:gd name="connsiteX25" fmla="*/ 1416463 w 1468659"/>
                <a:gd name="connsiteY25" fmla="*/ 572167 h 1218057"/>
                <a:gd name="connsiteX26" fmla="*/ 1416177 w 1468659"/>
                <a:gd name="connsiteY26" fmla="*/ 570547 h 1218057"/>
                <a:gd name="connsiteX27" fmla="*/ 1412462 w 1468659"/>
                <a:gd name="connsiteY27" fmla="*/ 566261 h 1218057"/>
                <a:gd name="connsiteX28" fmla="*/ 1404366 w 1468659"/>
                <a:gd name="connsiteY28" fmla="*/ 565690 h 1218057"/>
                <a:gd name="connsiteX29" fmla="*/ 1403033 w 1468659"/>
                <a:gd name="connsiteY29" fmla="*/ 567500 h 1218057"/>
                <a:gd name="connsiteX30" fmla="*/ 1396270 w 1468659"/>
                <a:gd name="connsiteY30" fmla="*/ 577882 h 1218057"/>
                <a:gd name="connsiteX31" fmla="*/ 1391412 w 1468659"/>
                <a:gd name="connsiteY31" fmla="*/ 576929 h 1218057"/>
                <a:gd name="connsiteX32" fmla="*/ 1384840 w 1468659"/>
                <a:gd name="connsiteY32" fmla="*/ 576167 h 1218057"/>
                <a:gd name="connsiteX33" fmla="*/ 1373410 w 1468659"/>
                <a:gd name="connsiteY33" fmla="*/ 574453 h 1218057"/>
                <a:gd name="connsiteX34" fmla="*/ 1373791 w 1468659"/>
                <a:gd name="connsiteY34" fmla="*/ 577596 h 1218057"/>
                <a:gd name="connsiteX35" fmla="*/ 1370457 w 1468659"/>
                <a:gd name="connsiteY35" fmla="*/ 576453 h 1218057"/>
                <a:gd name="connsiteX36" fmla="*/ 1369123 w 1468659"/>
                <a:gd name="connsiteY36" fmla="*/ 578168 h 1218057"/>
                <a:gd name="connsiteX37" fmla="*/ 1367123 w 1468659"/>
                <a:gd name="connsiteY37" fmla="*/ 575215 h 1218057"/>
                <a:gd name="connsiteX38" fmla="*/ 1365504 w 1468659"/>
                <a:gd name="connsiteY38" fmla="*/ 575405 h 1218057"/>
                <a:gd name="connsiteX39" fmla="*/ 1357789 w 1468659"/>
                <a:gd name="connsiteY39" fmla="*/ 565213 h 1218057"/>
                <a:gd name="connsiteX40" fmla="*/ 1354264 w 1468659"/>
                <a:gd name="connsiteY40" fmla="*/ 562451 h 1218057"/>
                <a:gd name="connsiteX41" fmla="*/ 1351121 w 1468659"/>
                <a:gd name="connsiteY41" fmla="*/ 562832 h 1218057"/>
                <a:gd name="connsiteX42" fmla="*/ 1348168 w 1468659"/>
                <a:gd name="connsiteY42" fmla="*/ 564832 h 1218057"/>
                <a:gd name="connsiteX43" fmla="*/ 1346740 w 1468659"/>
                <a:gd name="connsiteY43" fmla="*/ 566642 h 1218057"/>
                <a:gd name="connsiteX44" fmla="*/ 1345216 w 1468659"/>
                <a:gd name="connsiteY44" fmla="*/ 566833 h 1218057"/>
                <a:gd name="connsiteX45" fmla="*/ 1343025 w 1468659"/>
                <a:gd name="connsiteY45" fmla="*/ 575119 h 1218057"/>
                <a:gd name="connsiteX46" fmla="*/ 1340453 w 1468659"/>
                <a:gd name="connsiteY46" fmla="*/ 580263 h 1218057"/>
                <a:gd name="connsiteX47" fmla="*/ 1338739 w 1468659"/>
                <a:gd name="connsiteY47" fmla="*/ 578834 h 1218057"/>
                <a:gd name="connsiteX48" fmla="*/ 1339501 w 1468659"/>
                <a:gd name="connsiteY48" fmla="*/ 572357 h 1218057"/>
                <a:gd name="connsiteX49" fmla="*/ 1330928 w 1468659"/>
                <a:gd name="connsiteY49" fmla="*/ 568643 h 1218057"/>
                <a:gd name="connsiteX50" fmla="*/ 1327214 w 1468659"/>
                <a:gd name="connsiteY50" fmla="*/ 564261 h 1218057"/>
                <a:gd name="connsiteX51" fmla="*/ 1320260 w 1468659"/>
                <a:gd name="connsiteY51" fmla="*/ 560356 h 1218057"/>
                <a:gd name="connsiteX52" fmla="*/ 1318736 w 1468659"/>
                <a:gd name="connsiteY52" fmla="*/ 560546 h 1218057"/>
                <a:gd name="connsiteX53" fmla="*/ 1315593 w 1468659"/>
                <a:gd name="connsiteY53" fmla="*/ 560927 h 1218057"/>
                <a:gd name="connsiteX54" fmla="*/ 1308640 w 1468659"/>
                <a:gd name="connsiteY54" fmla="*/ 557022 h 1218057"/>
                <a:gd name="connsiteX55" fmla="*/ 1309592 w 1468659"/>
                <a:gd name="connsiteY55" fmla="*/ 552069 h 1218057"/>
                <a:gd name="connsiteX56" fmla="*/ 1307211 w 1468659"/>
                <a:gd name="connsiteY56" fmla="*/ 545973 h 1218057"/>
                <a:gd name="connsiteX57" fmla="*/ 1303496 w 1468659"/>
                <a:gd name="connsiteY57" fmla="*/ 541687 h 1218057"/>
                <a:gd name="connsiteX58" fmla="*/ 1302353 w 1468659"/>
                <a:gd name="connsiteY58" fmla="*/ 545021 h 1218057"/>
                <a:gd name="connsiteX59" fmla="*/ 1295400 w 1468659"/>
                <a:gd name="connsiteY59" fmla="*/ 541115 h 1218057"/>
                <a:gd name="connsiteX60" fmla="*/ 1296352 w 1468659"/>
                <a:gd name="connsiteY60" fmla="*/ 536162 h 1218057"/>
                <a:gd name="connsiteX61" fmla="*/ 1294829 w 1468659"/>
                <a:gd name="connsiteY61" fmla="*/ 536353 h 1218057"/>
                <a:gd name="connsiteX62" fmla="*/ 1291400 w 1468659"/>
                <a:gd name="connsiteY62" fmla="*/ 535114 h 1218057"/>
                <a:gd name="connsiteX63" fmla="*/ 1293590 w 1468659"/>
                <a:gd name="connsiteY63" fmla="*/ 539686 h 1218057"/>
                <a:gd name="connsiteX64" fmla="*/ 1290447 w 1468659"/>
                <a:gd name="connsiteY64" fmla="*/ 540068 h 1218057"/>
                <a:gd name="connsiteX65" fmla="*/ 1288447 w 1468659"/>
                <a:gd name="connsiteY65" fmla="*/ 537115 h 1218057"/>
                <a:gd name="connsiteX66" fmla="*/ 1285875 w 1468659"/>
                <a:gd name="connsiteY66" fmla="*/ 529495 h 1218057"/>
                <a:gd name="connsiteX67" fmla="*/ 1285304 w 1468659"/>
                <a:gd name="connsiteY67" fmla="*/ 524732 h 1218057"/>
                <a:gd name="connsiteX68" fmla="*/ 1281970 w 1468659"/>
                <a:gd name="connsiteY68" fmla="*/ 523494 h 1218057"/>
                <a:gd name="connsiteX69" fmla="*/ 1278731 w 1468659"/>
                <a:gd name="connsiteY69" fmla="*/ 523970 h 1218057"/>
                <a:gd name="connsiteX70" fmla="*/ 1282732 w 1468659"/>
                <a:gd name="connsiteY70" fmla="*/ 517017 h 1218057"/>
                <a:gd name="connsiteX71" fmla="*/ 1282732 w 1468659"/>
                <a:gd name="connsiteY71" fmla="*/ 517017 h 1218057"/>
                <a:gd name="connsiteX72" fmla="*/ 1281875 w 1468659"/>
                <a:gd name="connsiteY72" fmla="*/ 510730 h 1218057"/>
                <a:gd name="connsiteX73" fmla="*/ 1285875 w 1468659"/>
                <a:gd name="connsiteY73" fmla="*/ 503777 h 1218057"/>
                <a:gd name="connsiteX74" fmla="*/ 1285399 w 1468659"/>
                <a:gd name="connsiteY74" fmla="*/ 500634 h 1218057"/>
                <a:gd name="connsiteX75" fmla="*/ 1289399 w 1468659"/>
                <a:gd name="connsiteY75" fmla="*/ 493681 h 1218057"/>
                <a:gd name="connsiteX76" fmla="*/ 1285970 w 1468659"/>
                <a:gd name="connsiteY76" fmla="*/ 492538 h 1218057"/>
                <a:gd name="connsiteX77" fmla="*/ 1287399 w 1468659"/>
                <a:gd name="connsiteY77" fmla="*/ 490728 h 1218057"/>
                <a:gd name="connsiteX78" fmla="*/ 1285208 w 1468659"/>
                <a:gd name="connsiteY78" fmla="*/ 486251 h 1218057"/>
                <a:gd name="connsiteX79" fmla="*/ 1283970 w 1468659"/>
                <a:gd name="connsiteY79" fmla="*/ 476726 h 1218057"/>
                <a:gd name="connsiteX80" fmla="*/ 1284542 w 1468659"/>
                <a:gd name="connsiteY80" fmla="*/ 468725 h 1218057"/>
                <a:gd name="connsiteX81" fmla="*/ 1281017 w 1468659"/>
                <a:gd name="connsiteY81" fmla="*/ 465963 h 1218057"/>
                <a:gd name="connsiteX82" fmla="*/ 1274255 w 1468659"/>
                <a:gd name="connsiteY82" fmla="*/ 463582 h 1218057"/>
                <a:gd name="connsiteX83" fmla="*/ 1271302 w 1468659"/>
                <a:gd name="connsiteY83" fmla="*/ 465582 h 1218057"/>
                <a:gd name="connsiteX84" fmla="*/ 1268159 w 1468659"/>
                <a:gd name="connsiteY84" fmla="*/ 465963 h 1218057"/>
                <a:gd name="connsiteX85" fmla="*/ 1266158 w 1468659"/>
                <a:gd name="connsiteY85" fmla="*/ 463010 h 1218057"/>
                <a:gd name="connsiteX86" fmla="*/ 1261491 w 1468659"/>
                <a:gd name="connsiteY86" fmla="*/ 463582 h 1218057"/>
                <a:gd name="connsiteX87" fmla="*/ 1262063 w 1468659"/>
                <a:gd name="connsiteY87" fmla="*/ 468344 h 1218057"/>
                <a:gd name="connsiteX88" fmla="*/ 1255967 w 1468659"/>
                <a:gd name="connsiteY88" fmla="*/ 470725 h 1218057"/>
                <a:gd name="connsiteX89" fmla="*/ 1247299 w 1468659"/>
                <a:gd name="connsiteY89" fmla="*/ 465392 h 1218057"/>
                <a:gd name="connsiteX90" fmla="*/ 1240917 w 1468659"/>
                <a:gd name="connsiteY90" fmla="*/ 466249 h 1218057"/>
                <a:gd name="connsiteX91" fmla="*/ 1236821 w 1468659"/>
                <a:gd name="connsiteY91" fmla="*/ 471583 h 1218057"/>
                <a:gd name="connsiteX92" fmla="*/ 1232249 w 1468659"/>
                <a:gd name="connsiteY92" fmla="*/ 473773 h 1218057"/>
                <a:gd name="connsiteX93" fmla="*/ 1230344 w 1468659"/>
                <a:gd name="connsiteY93" fmla="*/ 470821 h 1218057"/>
                <a:gd name="connsiteX94" fmla="*/ 1226915 w 1468659"/>
                <a:gd name="connsiteY94" fmla="*/ 469582 h 1218057"/>
                <a:gd name="connsiteX95" fmla="*/ 1222629 w 1468659"/>
                <a:gd name="connsiteY95" fmla="*/ 473392 h 1218057"/>
                <a:gd name="connsiteX96" fmla="*/ 1223010 w 1468659"/>
                <a:gd name="connsiteY96" fmla="*/ 476536 h 1218057"/>
                <a:gd name="connsiteX97" fmla="*/ 1218533 w 1468659"/>
                <a:gd name="connsiteY97" fmla="*/ 478726 h 1218057"/>
                <a:gd name="connsiteX98" fmla="*/ 1220819 w 1468659"/>
                <a:gd name="connsiteY98" fmla="*/ 471964 h 1218057"/>
                <a:gd name="connsiteX99" fmla="*/ 1219105 w 1468659"/>
                <a:gd name="connsiteY99" fmla="*/ 470630 h 1218057"/>
                <a:gd name="connsiteX100" fmla="*/ 1221772 w 1468659"/>
                <a:gd name="connsiteY100" fmla="*/ 467011 h 1218057"/>
                <a:gd name="connsiteX101" fmla="*/ 1211104 w 1468659"/>
                <a:gd name="connsiteY101" fmla="*/ 458819 h 1218057"/>
                <a:gd name="connsiteX102" fmla="*/ 1209770 w 1468659"/>
                <a:gd name="connsiteY102" fmla="*/ 460534 h 1218057"/>
                <a:gd name="connsiteX103" fmla="*/ 1204627 w 1468659"/>
                <a:gd name="connsiteY103" fmla="*/ 458057 h 1218057"/>
                <a:gd name="connsiteX104" fmla="*/ 1201484 w 1468659"/>
                <a:gd name="connsiteY104" fmla="*/ 458438 h 1218057"/>
                <a:gd name="connsiteX105" fmla="*/ 1192816 w 1468659"/>
                <a:gd name="connsiteY105" fmla="*/ 453104 h 1218057"/>
                <a:gd name="connsiteX106" fmla="*/ 1186434 w 1468659"/>
                <a:gd name="connsiteY106" fmla="*/ 453866 h 1218057"/>
                <a:gd name="connsiteX107" fmla="*/ 1185291 w 1468659"/>
                <a:gd name="connsiteY107" fmla="*/ 457295 h 1218057"/>
                <a:gd name="connsiteX108" fmla="*/ 1178909 w 1468659"/>
                <a:gd name="connsiteY108" fmla="*/ 445294 h 1218057"/>
                <a:gd name="connsiteX109" fmla="*/ 1174052 w 1468659"/>
                <a:gd name="connsiteY109" fmla="*/ 444246 h 1218057"/>
                <a:gd name="connsiteX110" fmla="*/ 1174623 w 1468659"/>
                <a:gd name="connsiteY110" fmla="*/ 449009 h 1218057"/>
                <a:gd name="connsiteX111" fmla="*/ 1165003 w 1468659"/>
                <a:gd name="connsiteY111" fmla="*/ 461486 h 1218057"/>
                <a:gd name="connsiteX112" fmla="*/ 1155859 w 1468659"/>
                <a:gd name="connsiteY112" fmla="*/ 465868 h 1218057"/>
                <a:gd name="connsiteX113" fmla="*/ 1152525 w 1468659"/>
                <a:gd name="connsiteY113" fmla="*/ 464630 h 1218057"/>
                <a:gd name="connsiteX114" fmla="*/ 1145858 w 1468659"/>
                <a:gd name="connsiteY114" fmla="*/ 462248 h 1218057"/>
                <a:gd name="connsiteX115" fmla="*/ 1137571 w 1468659"/>
                <a:gd name="connsiteY115" fmla="*/ 460153 h 1218057"/>
                <a:gd name="connsiteX116" fmla="*/ 1138714 w 1468659"/>
                <a:gd name="connsiteY116" fmla="*/ 456819 h 1218057"/>
                <a:gd name="connsiteX117" fmla="*/ 1135952 w 1468659"/>
                <a:gd name="connsiteY117" fmla="*/ 447484 h 1218057"/>
                <a:gd name="connsiteX118" fmla="*/ 1137285 w 1468659"/>
                <a:gd name="connsiteY118" fmla="*/ 445770 h 1218057"/>
                <a:gd name="connsiteX119" fmla="*/ 1137095 w 1468659"/>
                <a:gd name="connsiteY119" fmla="*/ 444151 h 1218057"/>
                <a:gd name="connsiteX120" fmla="*/ 1135285 w 1468659"/>
                <a:gd name="connsiteY120" fmla="*/ 442817 h 1218057"/>
                <a:gd name="connsiteX121" fmla="*/ 1132713 w 1468659"/>
                <a:gd name="connsiteY121" fmla="*/ 435102 h 1218057"/>
                <a:gd name="connsiteX122" fmla="*/ 1129570 w 1468659"/>
                <a:gd name="connsiteY122" fmla="*/ 435483 h 1218057"/>
                <a:gd name="connsiteX123" fmla="*/ 1127379 w 1468659"/>
                <a:gd name="connsiteY123" fmla="*/ 431006 h 1218057"/>
                <a:gd name="connsiteX124" fmla="*/ 1124045 w 1468659"/>
                <a:gd name="connsiteY124" fmla="*/ 429768 h 1218057"/>
                <a:gd name="connsiteX125" fmla="*/ 1114616 w 1468659"/>
                <a:gd name="connsiteY125" fmla="*/ 431006 h 1218057"/>
                <a:gd name="connsiteX126" fmla="*/ 1109091 w 1468659"/>
                <a:gd name="connsiteY126" fmla="*/ 438150 h 1218057"/>
                <a:gd name="connsiteX127" fmla="*/ 1103567 w 1468659"/>
                <a:gd name="connsiteY127" fmla="*/ 432435 h 1218057"/>
                <a:gd name="connsiteX128" fmla="*/ 1096994 w 1468659"/>
                <a:gd name="connsiteY128" fmla="*/ 431673 h 1218057"/>
                <a:gd name="connsiteX129" fmla="*/ 1093089 w 1468659"/>
                <a:gd name="connsiteY129" fmla="*/ 425767 h 1218057"/>
                <a:gd name="connsiteX130" fmla="*/ 1094613 w 1468659"/>
                <a:gd name="connsiteY130" fmla="*/ 425482 h 1218057"/>
                <a:gd name="connsiteX131" fmla="*/ 1098042 w 1468659"/>
                <a:gd name="connsiteY131" fmla="*/ 426720 h 1218057"/>
                <a:gd name="connsiteX132" fmla="*/ 1110996 w 1468659"/>
                <a:gd name="connsiteY132" fmla="*/ 428244 h 1218057"/>
                <a:gd name="connsiteX133" fmla="*/ 1112044 w 1468659"/>
                <a:gd name="connsiteY133" fmla="*/ 423291 h 1218057"/>
                <a:gd name="connsiteX134" fmla="*/ 1108043 w 1468659"/>
                <a:gd name="connsiteY134" fmla="*/ 417385 h 1218057"/>
                <a:gd name="connsiteX135" fmla="*/ 1112330 w 1468659"/>
                <a:gd name="connsiteY135" fmla="*/ 413671 h 1218057"/>
                <a:gd name="connsiteX136" fmla="*/ 1112901 w 1468659"/>
                <a:gd name="connsiteY136" fmla="*/ 405575 h 1218057"/>
                <a:gd name="connsiteX137" fmla="*/ 1098137 w 1468659"/>
                <a:gd name="connsiteY137" fmla="*/ 402622 h 1218057"/>
                <a:gd name="connsiteX138" fmla="*/ 1089851 w 1468659"/>
                <a:gd name="connsiteY138" fmla="*/ 400431 h 1218057"/>
                <a:gd name="connsiteX139" fmla="*/ 1088041 w 1468659"/>
                <a:gd name="connsiteY139" fmla="*/ 399097 h 1218057"/>
                <a:gd name="connsiteX140" fmla="*/ 1086898 w 1468659"/>
                <a:gd name="connsiteY140" fmla="*/ 402431 h 1218057"/>
                <a:gd name="connsiteX141" fmla="*/ 1081945 w 1468659"/>
                <a:gd name="connsiteY141" fmla="*/ 401479 h 1218057"/>
                <a:gd name="connsiteX142" fmla="*/ 1083373 w 1468659"/>
                <a:gd name="connsiteY142" fmla="*/ 399669 h 1218057"/>
                <a:gd name="connsiteX143" fmla="*/ 1074610 w 1468659"/>
                <a:gd name="connsiteY143" fmla="*/ 394430 h 1218057"/>
                <a:gd name="connsiteX144" fmla="*/ 1072420 w 1468659"/>
                <a:gd name="connsiteY144" fmla="*/ 389858 h 1218057"/>
                <a:gd name="connsiteX145" fmla="*/ 1068134 w 1468659"/>
                <a:gd name="connsiteY145" fmla="*/ 380809 h 1218057"/>
                <a:gd name="connsiteX146" fmla="*/ 1063181 w 1468659"/>
                <a:gd name="connsiteY146" fmla="*/ 379857 h 1218057"/>
                <a:gd name="connsiteX147" fmla="*/ 1064133 w 1468659"/>
                <a:gd name="connsiteY147" fmla="*/ 374904 h 1218057"/>
                <a:gd name="connsiteX148" fmla="*/ 1062800 w 1468659"/>
                <a:gd name="connsiteY148" fmla="*/ 376618 h 1218057"/>
                <a:gd name="connsiteX149" fmla="*/ 1060799 w 1468659"/>
                <a:gd name="connsiteY149" fmla="*/ 373666 h 1218057"/>
                <a:gd name="connsiteX150" fmla="*/ 1054894 w 1468659"/>
                <a:gd name="connsiteY150" fmla="*/ 377666 h 1218057"/>
                <a:gd name="connsiteX151" fmla="*/ 1053465 w 1468659"/>
                <a:gd name="connsiteY151" fmla="*/ 379476 h 1218057"/>
                <a:gd name="connsiteX152" fmla="*/ 1050322 w 1468659"/>
                <a:gd name="connsiteY152" fmla="*/ 379857 h 1218057"/>
                <a:gd name="connsiteX153" fmla="*/ 1046035 w 1468659"/>
                <a:gd name="connsiteY153" fmla="*/ 383572 h 1218057"/>
                <a:gd name="connsiteX154" fmla="*/ 1041463 w 1468659"/>
                <a:gd name="connsiteY154" fmla="*/ 385763 h 1218057"/>
                <a:gd name="connsiteX155" fmla="*/ 1033367 w 1468659"/>
                <a:gd name="connsiteY155" fmla="*/ 398050 h 1218057"/>
                <a:gd name="connsiteX156" fmla="*/ 1025080 w 1468659"/>
                <a:gd name="connsiteY156" fmla="*/ 395859 h 1218057"/>
                <a:gd name="connsiteX157" fmla="*/ 1024890 w 1468659"/>
                <a:gd name="connsiteY157" fmla="*/ 394335 h 1218057"/>
                <a:gd name="connsiteX158" fmla="*/ 1023366 w 1468659"/>
                <a:gd name="connsiteY158" fmla="*/ 394525 h 1218057"/>
                <a:gd name="connsiteX159" fmla="*/ 1022699 w 1468659"/>
                <a:gd name="connsiteY159" fmla="*/ 389763 h 1218057"/>
                <a:gd name="connsiteX160" fmla="*/ 1018794 w 1468659"/>
                <a:gd name="connsiteY160" fmla="*/ 383857 h 1218057"/>
                <a:gd name="connsiteX161" fmla="*/ 1011460 w 1468659"/>
                <a:gd name="connsiteY161" fmla="*/ 376809 h 1218057"/>
                <a:gd name="connsiteX162" fmla="*/ 1008507 w 1468659"/>
                <a:gd name="connsiteY162" fmla="*/ 378809 h 1218057"/>
                <a:gd name="connsiteX163" fmla="*/ 1006697 w 1468659"/>
                <a:gd name="connsiteY163" fmla="*/ 377380 h 1218057"/>
                <a:gd name="connsiteX164" fmla="*/ 1002792 w 1468659"/>
                <a:gd name="connsiteY164" fmla="*/ 371475 h 1218057"/>
                <a:gd name="connsiteX165" fmla="*/ 1003745 w 1468659"/>
                <a:gd name="connsiteY165" fmla="*/ 366522 h 1218057"/>
                <a:gd name="connsiteX166" fmla="*/ 1000411 w 1468659"/>
                <a:gd name="connsiteY166" fmla="*/ 365379 h 1218057"/>
                <a:gd name="connsiteX167" fmla="*/ 999934 w 1468659"/>
                <a:gd name="connsiteY167" fmla="*/ 362236 h 1218057"/>
                <a:gd name="connsiteX168" fmla="*/ 991648 w 1468659"/>
                <a:gd name="connsiteY168" fmla="*/ 360045 h 1218057"/>
                <a:gd name="connsiteX169" fmla="*/ 984980 w 1468659"/>
                <a:gd name="connsiteY169" fmla="*/ 357664 h 1218057"/>
                <a:gd name="connsiteX170" fmla="*/ 988695 w 1468659"/>
                <a:gd name="connsiteY170" fmla="*/ 349186 h 1218057"/>
                <a:gd name="connsiteX171" fmla="*/ 988314 w 1468659"/>
                <a:gd name="connsiteY171" fmla="*/ 346043 h 1218057"/>
                <a:gd name="connsiteX172" fmla="*/ 981551 w 1468659"/>
                <a:gd name="connsiteY172" fmla="*/ 343662 h 1218057"/>
                <a:gd name="connsiteX173" fmla="*/ 974217 w 1468659"/>
                <a:gd name="connsiteY173" fmla="*/ 336613 h 1218057"/>
                <a:gd name="connsiteX174" fmla="*/ 972122 w 1468659"/>
                <a:gd name="connsiteY174" fmla="*/ 332042 h 1218057"/>
                <a:gd name="connsiteX175" fmla="*/ 971645 w 1468659"/>
                <a:gd name="connsiteY175" fmla="*/ 328898 h 1218057"/>
                <a:gd name="connsiteX176" fmla="*/ 974598 w 1468659"/>
                <a:gd name="connsiteY176" fmla="*/ 326993 h 1218057"/>
                <a:gd name="connsiteX177" fmla="*/ 974026 w 1468659"/>
                <a:gd name="connsiteY177" fmla="*/ 322231 h 1218057"/>
                <a:gd name="connsiteX178" fmla="*/ 978789 w 1468659"/>
                <a:gd name="connsiteY178" fmla="*/ 321659 h 1218057"/>
                <a:gd name="connsiteX179" fmla="*/ 978122 w 1468659"/>
                <a:gd name="connsiteY179" fmla="*/ 316897 h 1218057"/>
                <a:gd name="connsiteX180" fmla="*/ 979932 w 1468659"/>
                <a:gd name="connsiteY180" fmla="*/ 318230 h 1218057"/>
                <a:gd name="connsiteX181" fmla="*/ 983837 w 1468659"/>
                <a:gd name="connsiteY181" fmla="*/ 311372 h 1218057"/>
                <a:gd name="connsiteX182" fmla="*/ 986790 w 1468659"/>
                <a:gd name="connsiteY182" fmla="*/ 309372 h 1218057"/>
                <a:gd name="connsiteX183" fmla="*/ 990219 w 1468659"/>
                <a:gd name="connsiteY183" fmla="*/ 310515 h 1218057"/>
                <a:gd name="connsiteX184" fmla="*/ 991172 w 1468659"/>
                <a:gd name="connsiteY184" fmla="*/ 305562 h 1218057"/>
                <a:gd name="connsiteX185" fmla="*/ 986600 w 1468659"/>
                <a:gd name="connsiteY185" fmla="*/ 307753 h 1218057"/>
                <a:gd name="connsiteX186" fmla="*/ 985171 w 1468659"/>
                <a:gd name="connsiteY186" fmla="*/ 296704 h 1218057"/>
                <a:gd name="connsiteX187" fmla="*/ 981266 w 1468659"/>
                <a:gd name="connsiteY187" fmla="*/ 290798 h 1218057"/>
                <a:gd name="connsiteX188" fmla="*/ 973169 w 1468659"/>
                <a:gd name="connsiteY188" fmla="*/ 290227 h 1218057"/>
                <a:gd name="connsiteX189" fmla="*/ 964501 w 1468659"/>
                <a:gd name="connsiteY189" fmla="*/ 284988 h 1218057"/>
                <a:gd name="connsiteX190" fmla="*/ 962882 w 1468659"/>
                <a:gd name="connsiteY190" fmla="*/ 285179 h 1218057"/>
                <a:gd name="connsiteX191" fmla="*/ 960882 w 1468659"/>
                <a:gd name="connsiteY191" fmla="*/ 282226 h 1218057"/>
                <a:gd name="connsiteX192" fmla="*/ 963644 w 1468659"/>
                <a:gd name="connsiteY192" fmla="*/ 278606 h 1218057"/>
                <a:gd name="connsiteX193" fmla="*/ 963263 w 1468659"/>
                <a:gd name="connsiteY193" fmla="*/ 275463 h 1218057"/>
                <a:gd name="connsiteX194" fmla="*/ 961263 w 1468659"/>
                <a:gd name="connsiteY194" fmla="*/ 272510 h 1218057"/>
                <a:gd name="connsiteX195" fmla="*/ 962501 w 1468659"/>
                <a:gd name="connsiteY195" fmla="*/ 269176 h 1218057"/>
                <a:gd name="connsiteX196" fmla="*/ 965454 w 1468659"/>
                <a:gd name="connsiteY196" fmla="*/ 267176 h 1218057"/>
                <a:gd name="connsiteX197" fmla="*/ 962025 w 1468659"/>
                <a:gd name="connsiteY197" fmla="*/ 266033 h 1218057"/>
                <a:gd name="connsiteX198" fmla="*/ 963073 w 1468659"/>
                <a:gd name="connsiteY198" fmla="*/ 261080 h 1218057"/>
                <a:gd name="connsiteX199" fmla="*/ 966406 w 1468659"/>
                <a:gd name="connsiteY199" fmla="*/ 262223 h 1218057"/>
                <a:gd name="connsiteX200" fmla="*/ 969359 w 1468659"/>
                <a:gd name="connsiteY200" fmla="*/ 260223 h 1218057"/>
                <a:gd name="connsiteX201" fmla="*/ 970312 w 1468659"/>
                <a:gd name="connsiteY201" fmla="*/ 255365 h 1218057"/>
                <a:gd name="connsiteX202" fmla="*/ 969931 w 1468659"/>
                <a:gd name="connsiteY202" fmla="*/ 252127 h 1218057"/>
                <a:gd name="connsiteX203" fmla="*/ 971074 w 1468659"/>
                <a:gd name="connsiteY203" fmla="*/ 248793 h 1218057"/>
                <a:gd name="connsiteX204" fmla="*/ 970121 w 1468659"/>
                <a:gd name="connsiteY204" fmla="*/ 240887 h 1218057"/>
                <a:gd name="connsiteX205" fmla="*/ 973074 w 1468659"/>
                <a:gd name="connsiteY205" fmla="*/ 238982 h 1218057"/>
                <a:gd name="connsiteX206" fmla="*/ 972407 w 1468659"/>
                <a:gd name="connsiteY206" fmla="*/ 234220 h 1218057"/>
                <a:gd name="connsiteX207" fmla="*/ 975360 w 1468659"/>
                <a:gd name="connsiteY207" fmla="*/ 232219 h 1218057"/>
                <a:gd name="connsiteX208" fmla="*/ 977741 w 1468659"/>
                <a:gd name="connsiteY208" fmla="*/ 225552 h 1218057"/>
                <a:gd name="connsiteX209" fmla="*/ 974598 w 1468659"/>
                <a:gd name="connsiteY209" fmla="*/ 225933 h 1218057"/>
                <a:gd name="connsiteX210" fmla="*/ 973169 w 1468659"/>
                <a:gd name="connsiteY210" fmla="*/ 227743 h 1218057"/>
                <a:gd name="connsiteX211" fmla="*/ 968693 w 1468659"/>
                <a:gd name="connsiteY211" fmla="*/ 229838 h 1218057"/>
                <a:gd name="connsiteX212" fmla="*/ 968312 w 1468659"/>
                <a:gd name="connsiteY212" fmla="*/ 226695 h 1218057"/>
                <a:gd name="connsiteX213" fmla="*/ 969455 w 1468659"/>
                <a:gd name="connsiteY213" fmla="*/ 223361 h 1218057"/>
                <a:gd name="connsiteX214" fmla="*/ 972598 w 1468659"/>
                <a:gd name="connsiteY214" fmla="*/ 222980 h 1218057"/>
                <a:gd name="connsiteX215" fmla="*/ 976503 w 1468659"/>
                <a:gd name="connsiteY215" fmla="*/ 216027 h 1218057"/>
                <a:gd name="connsiteX216" fmla="*/ 976693 w 1468659"/>
                <a:gd name="connsiteY216" fmla="*/ 204788 h 1218057"/>
                <a:gd name="connsiteX217" fmla="*/ 979265 w 1468659"/>
                <a:gd name="connsiteY217" fmla="*/ 199644 h 1218057"/>
                <a:gd name="connsiteX218" fmla="*/ 984028 w 1468659"/>
                <a:gd name="connsiteY218" fmla="*/ 199072 h 1218057"/>
                <a:gd name="connsiteX219" fmla="*/ 986123 w 1468659"/>
                <a:gd name="connsiteY219" fmla="*/ 177927 h 1218057"/>
                <a:gd name="connsiteX220" fmla="*/ 985742 w 1468659"/>
                <a:gd name="connsiteY220" fmla="*/ 174784 h 1218057"/>
                <a:gd name="connsiteX221" fmla="*/ 982313 w 1468659"/>
                <a:gd name="connsiteY221" fmla="*/ 173641 h 1218057"/>
                <a:gd name="connsiteX222" fmla="*/ 980218 w 1468659"/>
                <a:gd name="connsiteY222" fmla="*/ 169069 h 1218057"/>
                <a:gd name="connsiteX223" fmla="*/ 981742 w 1468659"/>
                <a:gd name="connsiteY223" fmla="*/ 168878 h 1218057"/>
                <a:gd name="connsiteX224" fmla="*/ 984695 w 1468659"/>
                <a:gd name="connsiteY224" fmla="*/ 166878 h 1218057"/>
                <a:gd name="connsiteX225" fmla="*/ 987076 w 1468659"/>
                <a:gd name="connsiteY225" fmla="*/ 160210 h 1218057"/>
                <a:gd name="connsiteX226" fmla="*/ 990029 w 1468659"/>
                <a:gd name="connsiteY226" fmla="*/ 158210 h 1218057"/>
                <a:gd name="connsiteX227" fmla="*/ 987838 w 1468659"/>
                <a:gd name="connsiteY227" fmla="*/ 153638 h 1218057"/>
                <a:gd name="connsiteX228" fmla="*/ 988409 w 1468659"/>
                <a:gd name="connsiteY228" fmla="*/ 145542 h 1218057"/>
                <a:gd name="connsiteX229" fmla="*/ 986600 w 1468659"/>
                <a:gd name="connsiteY229" fmla="*/ 144209 h 1218057"/>
                <a:gd name="connsiteX230" fmla="*/ 986218 w 1468659"/>
                <a:gd name="connsiteY230" fmla="*/ 141065 h 1218057"/>
                <a:gd name="connsiteX231" fmla="*/ 987838 w 1468659"/>
                <a:gd name="connsiteY231" fmla="*/ 140875 h 1218057"/>
                <a:gd name="connsiteX232" fmla="*/ 980504 w 1468659"/>
                <a:gd name="connsiteY232" fmla="*/ 133731 h 1218057"/>
                <a:gd name="connsiteX233" fmla="*/ 980122 w 1468659"/>
                <a:gd name="connsiteY233" fmla="*/ 130588 h 1218057"/>
                <a:gd name="connsiteX234" fmla="*/ 978122 w 1468659"/>
                <a:gd name="connsiteY234" fmla="*/ 127635 h 1218057"/>
                <a:gd name="connsiteX235" fmla="*/ 976313 w 1468659"/>
                <a:gd name="connsiteY235" fmla="*/ 126301 h 1218057"/>
                <a:gd name="connsiteX236" fmla="*/ 969645 w 1468659"/>
                <a:gd name="connsiteY236" fmla="*/ 123920 h 1218057"/>
                <a:gd name="connsiteX237" fmla="*/ 970597 w 1468659"/>
                <a:gd name="connsiteY237" fmla="*/ 118967 h 1218057"/>
                <a:gd name="connsiteX238" fmla="*/ 972979 w 1468659"/>
                <a:gd name="connsiteY238" fmla="*/ 112300 h 1218057"/>
                <a:gd name="connsiteX239" fmla="*/ 978027 w 1468659"/>
                <a:gd name="connsiteY239" fmla="*/ 114776 h 1218057"/>
                <a:gd name="connsiteX240" fmla="*/ 977646 w 1468659"/>
                <a:gd name="connsiteY240" fmla="*/ 111633 h 1218057"/>
                <a:gd name="connsiteX241" fmla="*/ 981266 w 1468659"/>
                <a:gd name="connsiteY241" fmla="*/ 114395 h 1218057"/>
                <a:gd name="connsiteX242" fmla="*/ 984409 w 1468659"/>
                <a:gd name="connsiteY242" fmla="*/ 114014 h 1218057"/>
                <a:gd name="connsiteX243" fmla="*/ 992696 w 1468659"/>
                <a:gd name="connsiteY243" fmla="*/ 116205 h 1218057"/>
                <a:gd name="connsiteX244" fmla="*/ 996982 w 1468659"/>
                <a:gd name="connsiteY244" fmla="*/ 112395 h 1218057"/>
                <a:gd name="connsiteX245" fmla="*/ 998220 w 1468659"/>
                <a:gd name="connsiteY245" fmla="*/ 109061 h 1218057"/>
                <a:gd name="connsiteX246" fmla="*/ 994601 w 1468659"/>
                <a:gd name="connsiteY246" fmla="*/ 106299 h 1218057"/>
                <a:gd name="connsiteX247" fmla="*/ 991838 w 1468659"/>
                <a:gd name="connsiteY247" fmla="*/ 97060 h 1218057"/>
                <a:gd name="connsiteX248" fmla="*/ 987838 w 1468659"/>
                <a:gd name="connsiteY248" fmla="*/ 91154 h 1218057"/>
                <a:gd name="connsiteX249" fmla="*/ 986123 w 1468659"/>
                <a:gd name="connsiteY249" fmla="*/ 89725 h 1218057"/>
                <a:gd name="connsiteX250" fmla="*/ 990029 w 1468659"/>
                <a:gd name="connsiteY250" fmla="*/ 82867 h 1218057"/>
                <a:gd name="connsiteX251" fmla="*/ 985266 w 1468659"/>
                <a:gd name="connsiteY251" fmla="*/ 83439 h 1218057"/>
                <a:gd name="connsiteX252" fmla="*/ 984313 w 1468659"/>
                <a:gd name="connsiteY252" fmla="*/ 88392 h 1218057"/>
                <a:gd name="connsiteX253" fmla="*/ 982789 w 1468659"/>
                <a:gd name="connsiteY253" fmla="*/ 88582 h 1218057"/>
                <a:gd name="connsiteX254" fmla="*/ 977646 w 1468659"/>
                <a:gd name="connsiteY254" fmla="*/ 86011 h 1218057"/>
                <a:gd name="connsiteX255" fmla="*/ 975074 w 1468659"/>
                <a:gd name="connsiteY255" fmla="*/ 91154 h 1218057"/>
                <a:gd name="connsiteX256" fmla="*/ 970121 w 1468659"/>
                <a:gd name="connsiteY256" fmla="*/ 90202 h 1218057"/>
                <a:gd name="connsiteX257" fmla="*/ 967740 w 1468659"/>
                <a:gd name="connsiteY257" fmla="*/ 84106 h 1218057"/>
                <a:gd name="connsiteX258" fmla="*/ 960596 w 1468659"/>
                <a:gd name="connsiteY258" fmla="*/ 78581 h 1218057"/>
                <a:gd name="connsiteX259" fmla="*/ 964978 w 1468659"/>
                <a:gd name="connsiteY259" fmla="*/ 74771 h 1218057"/>
                <a:gd name="connsiteX260" fmla="*/ 959834 w 1468659"/>
                <a:gd name="connsiteY260" fmla="*/ 72200 h 1218057"/>
                <a:gd name="connsiteX261" fmla="*/ 957834 w 1468659"/>
                <a:gd name="connsiteY261" fmla="*/ 69247 h 1218057"/>
                <a:gd name="connsiteX262" fmla="*/ 959263 w 1468659"/>
                <a:gd name="connsiteY262" fmla="*/ 67532 h 1218057"/>
                <a:gd name="connsiteX263" fmla="*/ 957453 w 1468659"/>
                <a:gd name="connsiteY263" fmla="*/ 66104 h 1218057"/>
                <a:gd name="connsiteX264" fmla="*/ 955643 w 1468659"/>
                <a:gd name="connsiteY264" fmla="*/ 64770 h 1218057"/>
                <a:gd name="connsiteX265" fmla="*/ 954214 w 1468659"/>
                <a:gd name="connsiteY265" fmla="*/ 53721 h 1218057"/>
                <a:gd name="connsiteX266" fmla="*/ 949928 w 1468659"/>
                <a:gd name="connsiteY266" fmla="*/ 57436 h 1218057"/>
                <a:gd name="connsiteX267" fmla="*/ 951071 w 1468659"/>
                <a:gd name="connsiteY267" fmla="*/ 54102 h 1218057"/>
                <a:gd name="connsiteX268" fmla="*/ 950690 w 1468659"/>
                <a:gd name="connsiteY268" fmla="*/ 50959 h 1218057"/>
                <a:gd name="connsiteX269" fmla="*/ 949071 w 1468659"/>
                <a:gd name="connsiteY269" fmla="*/ 51149 h 1218057"/>
                <a:gd name="connsiteX270" fmla="*/ 950500 w 1468659"/>
                <a:gd name="connsiteY270" fmla="*/ 49339 h 1218057"/>
                <a:gd name="connsiteX271" fmla="*/ 949928 w 1468659"/>
                <a:gd name="connsiteY271" fmla="*/ 44672 h 1218057"/>
                <a:gd name="connsiteX272" fmla="*/ 944975 w 1468659"/>
                <a:gd name="connsiteY272" fmla="*/ 43625 h 1218057"/>
                <a:gd name="connsiteX273" fmla="*/ 948118 w 1468659"/>
                <a:gd name="connsiteY273" fmla="*/ 43243 h 1218057"/>
                <a:gd name="connsiteX274" fmla="*/ 951262 w 1468659"/>
                <a:gd name="connsiteY274" fmla="*/ 42863 h 1218057"/>
                <a:gd name="connsiteX275" fmla="*/ 951071 w 1468659"/>
                <a:gd name="connsiteY275" fmla="*/ 41243 h 1218057"/>
                <a:gd name="connsiteX276" fmla="*/ 944309 w 1468659"/>
                <a:gd name="connsiteY276" fmla="*/ 38957 h 1218057"/>
                <a:gd name="connsiteX277" fmla="*/ 943927 w 1468659"/>
                <a:gd name="connsiteY277" fmla="*/ 35814 h 1218057"/>
                <a:gd name="connsiteX278" fmla="*/ 942975 w 1468659"/>
                <a:gd name="connsiteY278" fmla="*/ 40672 h 1218057"/>
                <a:gd name="connsiteX279" fmla="*/ 939832 w 1468659"/>
                <a:gd name="connsiteY279" fmla="*/ 41148 h 1218057"/>
                <a:gd name="connsiteX280" fmla="*/ 937831 w 1468659"/>
                <a:gd name="connsiteY280" fmla="*/ 38195 h 1218057"/>
                <a:gd name="connsiteX281" fmla="*/ 934879 w 1468659"/>
                <a:gd name="connsiteY281" fmla="*/ 40100 h 1218057"/>
                <a:gd name="connsiteX282" fmla="*/ 931355 w 1468659"/>
                <a:gd name="connsiteY282" fmla="*/ 50197 h 1218057"/>
                <a:gd name="connsiteX283" fmla="*/ 933164 w 1468659"/>
                <a:gd name="connsiteY283" fmla="*/ 51625 h 1218057"/>
                <a:gd name="connsiteX284" fmla="*/ 931735 w 1468659"/>
                <a:gd name="connsiteY284" fmla="*/ 53340 h 1218057"/>
                <a:gd name="connsiteX285" fmla="*/ 928402 w 1468659"/>
                <a:gd name="connsiteY285" fmla="*/ 52197 h 1218057"/>
                <a:gd name="connsiteX286" fmla="*/ 927830 w 1468659"/>
                <a:gd name="connsiteY286" fmla="*/ 47434 h 1218057"/>
                <a:gd name="connsiteX287" fmla="*/ 924020 w 1468659"/>
                <a:gd name="connsiteY287" fmla="*/ 43148 h 1218057"/>
                <a:gd name="connsiteX288" fmla="*/ 922496 w 1468659"/>
                <a:gd name="connsiteY288" fmla="*/ 43339 h 1218057"/>
                <a:gd name="connsiteX289" fmla="*/ 917353 w 1468659"/>
                <a:gd name="connsiteY289" fmla="*/ 40767 h 1218057"/>
                <a:gd name="connsiteX290" fmla="*/ 911543 w 1468659"/>
                <a:gd name="connsiteY290" fmla="*/ 33528 h 1218057"/>
                <a:gd name="connsiteX291" fmla="*/ 906971 w 1468659"/>
                <a:gd name="connsiteY291" fmla="*/ 22860 h 1218057"/>
                <a:gd name="connsiteX292" fmla="*/ 900684 w 1468659"/>
                <a:gd name="connsiteY292" fmla="*/ 23622 h 1218057"/>
                <a:gd name="connsiteX293" fmla="*/ 884110 w 1468659"/>
                <a:gd name="connsiteY293" fmla="*/ 19336 h 1218057"/>
                <a:gd name="connsiteX294" fmla="*/ 881729 w 1468659"/>
                <a:gd name="connsiteY294" fmla="*/ 13240 h 1218057"/>
                <a:gd name="connsiteX295" fmla="*/ 872395 w 1468659"/>
                <a:gd name="connsiteY295" fmla="*/ 3143 h 1218057"/>
                <a:gd name="connsiteX296" fmla="*/ 873823 w 1468659"/>
                <a:gd name="connsiteY296" fmla="*/ 1429 h 1218057"/>
                <a:gd name="connsiteX297" fmla="*/ 872014 w 1468659"/>
                <a:gd name="connsiteY297" fmla="*/ 0 h 1218057"/>
                <a:gd name="connsiteX298" fmla="*/ 871252 w 1468659"/>
                <a:gd name="connsiteY298" fmla="*/ 6572 h 1218057"/>
                <a:gd name="connsiteX299" fmla="*/ 870490 w 1468659"/>
                <a:gd name="connsiteY299" fmla="*/ 13049 h 1218057"/>
                <a:gd name="connsiteX300" fmla="*/ 862584 w 1468659"/>
                <a:gd name="connsiteY300" fmla="*/ 14097 h 1218057"/>
                <a:gd name="connsiteX301" fmla="*/ 862775 w 1468659"/>
                <a:gd name="connsiteY301" fmla="*/ 15621 h 1218057"/>
                <a:gd name="connsiteX302" fmla="*/ 859822 w 1468659"/>
                <a:gd name="connsiteY302" fmla="*/ 17621 h 1218057"/>
                <a:gd name="connsiteX303" fmla="*/ 860012 w 1468659"/>
                <a:gd name="connsiteY303" fmla="*/ 19240 h 1218057"/>
                <a:gd name="connsiteX304" fmla="*/ 858298 w 1468659"/>
                <a:gd name="connsiteY304" fmla="*/ 17812 h 1218057"/>
                <a:gd name="connsiteX305" fmla="*/ 855535 w 1468659"/>
                <a:gd name="connsiteY305" fmla="*/ 21336 h 1218057"/>
                <a:gd name="connsiteX306" fmla="*/ 855726 w 1468659"/>
                <a:gd name="connsiteY306" fmla="*/ 22955 h 1218057"/>
                <a:gd name="connsiteX307" fmla="*/ 858869 w 1468659"/>
                <a:gd name="connsiteY307" fmla="*/ 22574 h 1218057"/>
                <a:gd name="connsiteX308" fmla="*/ 858298 w 1468659"/>
                <a:gd name="connsiteY308" fmla="*/ 30671 h 1218057"/>
                <a:gd name="connsiteX309" fmla="*/ 846677 w 1468659"/>
                <a:gd name="connsiteY309" fmla="*/ 27337 h 1218057"/>
                <a:gd name="connsiteX310" fmla="*/ 847058 w 1468659"/>
                <a:gd name="connsiteY310" fmla="*/ 30480 h 1218057"/>
                <a:gd name="connsiteX311" fmla="*/ 848868 w 1468659"/>
                <a:gd name="connsiteY311" fmla="*/ 31813 h 1218057"/>
                <a:gd name="connsiteX312" fmla="*/ 844105 w 1468659"/>
                <a:gd name="connsiteY312" fmla="*/ 32480 h 1218057"/>
                <a:gd name="connsiteX313" fmla="*/ 845630 w 1468659"/>
                <a:gd name="connsiteY313" fmla="*/ 32290 h 1218057"/>
                <a:gd name="connsiteX314" fmla="*/ 847630 w 1468659"/>
                <a:gd name="connsiteY314" fmla="*/ 35242 h 1218057"/>
                <a:gd name="connsiteX315" fmla="*/ 846296 w 1468659"/>
                <a:gd name="connsiteY315" fmla="*/ 36957 h 1218057"/>
                <a:gd name="connsiteX316" fmla="*/ 849630 w 1468659"/>
                <a:gd name="connsiteY316" fmla="*/ 38195 h 1218057"/>
                <a:gd name="connsiteX317" fmla="*/ 847058 w 1468659"/>
                <a:gd name="connsiteY317" fmla="*/ 43339 h 1218057"/>
                <a:gd name="connsiteX318" fmla="*/ 848868 w 1468659"/>
                <a:gd name="connsiteY318" fmla="*/ 44672 h 1218057"/>
                <a:gd name="connsiteX319" fmla="*/ 845725 w 1468659"/>
                <a:gd name="connsiteY319" fmla="*/ 45053 h 1218057"/>
                <a:gd name="connsiteX320" fmla="*/ 844487 w 1468659"/>
                <a:gd name="connsiteY320" fmla="*/ 48482 h 1218057"/>
                <a:gd name="connsiteX321" fmla="*/ 842963 w 1468659"/>
                <a:gd name="connsiteY321" fmla="*/ 48673 h 1218057"/>
                <a:gd name="connsiteX322" fmla="*/ 842201 w 1468659"/>
                <a:gd name="connsiteY322" fmla="*/ 55150 h 1218057"/>
                <a:gd name="connsiteX323" fmla="*/ 840581 w 1468659"/>
                <a:gd name="connsiteY323" fmla="*/ 55340 h 1218057"/>
                <a:gd name="connsiteX324" fmla="*/ 839438 w 1468659"/>
                <a:gd name="connsiteY324" fmla="*/ 58674 h 1218057"/>
                <a:gd name="connsiteX325" fmla="*/ 840962 w 1468659"/>
                <a:gd name="connsiteY325" fmla="*/ 58483 h 1218057"/>
                <a:gd name="connsiteX326" fmla="*/ 841438 w 1468659"/>
                <a:gd name="connsiteY326" fmla="*/ 61627 h 1218057"/>
                <a:gd name="connsiteX327" fmla="*/ 846296 w 1468659"/>
                <a:gd name="connsiteY327" fmla="*/ 62675 h 1218057"/>
                <a:gd name="connsiteX328" fmla="*/ 844010 w 1468659"/>
                <a:gd name="connsiteY328" fmla="*/ 69342 h 1218057"/>
                <a:gd name="connsiteX329" fmla="*/ 846010 w 1468659"/>
                <a:gd name="connsiteY329" fmla="*/ 72295 h 1218057"/>
                <a:gd name="connsiteX330" fmla="*/ 848963 w 1468659"/>
                <a:gd name="connsiteY330" fmla="*/ 70294 h 1218057"/>
                <a:gd name="connsiteX331" fmla="*/ 849344 w 1468659"/>
                <a:gd name="connsiteY331" fmla="*/ 73533 h 1218057"/>
                <a:gd name="connsiteX332" fmla="*/ 847725 w 1468659"/>
                <a:gd name="connsiteY332" fmla="*/ 73723 h 1218057"/>
                <a:gd name="connsiteX333" fmla="*/ 852868 w 1468659"/>
                <a:gd name="connsiteY333" fmla="*/ 76200 h 1218057"/>
                <a:gd name="connsiteX334" fmla="*/ 853250 w 1468659"/>
                <a:gd name="connsiteY334" fmla="*/ 79438 h 1218057"/>
                <a:gd name="connsiteX335" fmla="*/ 848773 w 1468659"/>
                <a:gd name="connsiteY335" fmla="*/ 81534 h 1218057"/>
                <a:gd name="connsiteX336" fmla="*/ 853440 w 1468659"/>
                <a:gd name="connsiteY336" fmla="*/ 80963 h 1218057"/>
                <a:gd name="connsiteX337" fmla="*/ 852106 w 1468659"/>
                <a:gd name="connsiteY337" fmla="*/ 82772 h 1218057"/>
                <a:gd name="connsiteX338" fmla="*/ 847534 w 1468659"/>
                <a:gd name="connsiteY338" fmla="*/ 84963 h 1218057"/>
                <a:gd name="connsiteX339" fmla="*/ 844201 w 1468659"/>
                <a:gd name="connsiteY339" fmla="*/ 83725 h 1218057"/>
                <a:gd name="connsiteX340" fmla="*/ 842867 w 1468659"/>
                <a:gd name="connsiteY340" fmla="*/ 85534 h 1218057"/>
                <a:gd name="connsiteX341" fmla="*/ 843058 w 1468659"/>
                <a:gd name="connsiteY341" fmla="*/ 87154 h 1218057"/>
                <a:gd name="connsiteX342" fmla="*/ 835343 w 1468659"/>
                <a:gd name="connsiteY342" fmla="*/ 89725 h 1218057"/>
                <a:gd name="connsiteX343" fmla="*/ 835533 w 1468659"/>
                <a:gd name="connsiteY343" fmla="*/ 91250 h 1218057"/>
                <a:gd name="connsiteX344" fmla="*/ 832390 w 1468659"/>
                <a:gd name="connsiteY344" fmla="*/ 91726 h 1218057"/>
                <a:gd name="connsiteX345" fmla="*/ 832009 w 1468659"/>
                <a:gd name="connsiteY345" fmla="*/ 88487 h 1218057"/>
                <a:gd name="connsiteX346" fmla="*/ 825722 w 1468659"/>
                <a:gd name="connsiteY346" fmla="*/ 89344 h 1218057"/>
                <a:gd name="connsiteX347" fmla="*/ 822293 w 1468659"/>
                <a:gd name="connsiteY347" fmla="*/ 88106 h 1218057"/>
                <a:gd name="connsiteX348" fmla="*/ 820960 w 1468659"/>
                <a:gd name="connsiteY348" fmla="*/ 89916 h 1218057"/>
                <a:gd name="connsiteX349" fmla="*/ 821341 w 1468659"/>
                <a:gd name="connsiteY349" fmla="*/ 93059 h 1218057"/>
                <a:gd name="connsiteX350" fmla="*/ 816578 w 1468659"/>
                <a:gd name="connsiteY350" fmla="*/ 93726 h 1218057"/>
                <a:gd name="connsiteX351" fmla="*/ 815054 w 1468659"/>
                <a:gd name="connsiteY351" fmla="*/ 93917 h 1218057"/>
                <a:gd name="connsiteX352" fmla="*/ 814102 w 1468659"/>
                <a:gd name="connsiteY352" fmla="*/ 98869 h 1218057"/>
                <a:gd name="connsiteX353" fmla="*/ 806958 w 1468659"/>
                <a:gd name="connsiteY353" fmla="*/ 106108 h 1218057"/>
                <a:gd name="connsiteX354" fmla="*/ 803624 w 1468659"/>
                <a:gd name="connsiteY354" fmla="*/ 104965 h 1218057"/>
                <a:gd name="connsiteX355" fmla="*/ 802481 w 1468659"/>
                <a:gd name="connsiteY355" fmla="*/ 108299 h 1218057"/>
                <a:gd name="connsiteX356" fmla="*/ 797528 w 1468659"/>
                <a:gd name="connsiteY356" fmla="*/ 107347 h 1218057"/>
                <a:gd name="connsiteX357" fmla="*/ 794766 w 1468659"/>
                <a:gd name="connsiteY357" fmla="*/ 110871 h 1218057"/>
                <a:gd name="connsiteX358" fmla="*/ 795147 w 1468659"/>
                <a:gd name="connsiteY358" fmla="*/ 114109 h 1218057"/>
                <a:gd name="connsiteX359" fmla="*/ 790384 w 1468659"/>
                <a:gd name="connsiteY359" fmla="*/ 114681 h 1218057"/>
                <a:gd name="connsiteX360" fmla="*/ 796195 w 1468659"/>
                <a:gd name="connsiteY360" fmla="*/ 121920 h 1218057"/>
                <a:gd name="connsiteX361" fmla="*/ 793433 w 1468659"/>
                <a:gd name="connsiteY361" fmla="*/ 125539 h 1218057"/>
                <a:gd name="connsiteX362" fmla="*/ 792671 w 1468659"/>
                <a:gd name="connsiteY362" fmla="*/ 132017 h 1218057"/>
                <a:gd name="connsiteX363" fmla="*/ 791242 w 1468659"/>
                <a:gd name="connsiteY363" fmla="*/ 133826 h 1218057"/>
                <a:gd name="connsiteX364" fmla="*/ 784765 w 1468659"/>
                <a:gd name="connsiteY364" fmla="*/ 133064 h 1218057"/>
                <a:gd name="connsiteX365" fmla="*/ 782764 w 1468659"/>
                <a:gd name="connsiteY365" fmla="*/ 130111 h 1218057"/>
                <a:gd name="connsiteX366" fmla="*/ 783908 w 1468659"/>
                <a:gd name="connsiteY366" fmla="*/ 126682 h 1218057"/>
                <a:gd name="connsiteX367" fmla="*/ 781145 w 1468659"/>
                <a:gd name="connsiteY367" fmla="*/ 117443 h 1218057"/>
                <a:gd name="connsiteX368" fmla="*/ 776192 w 1468659"/>
                <a:gd name="connsiteY368" fmla="*/ 116491 h 1218057"/>
                <a:gd name="connsiteX369" fmla="*/ 762572 w 1468659"/>
                <a:gd name="connsiteY369" fmla="*/ 110204 h 1218057"/>
                <a:gd name="connsiteX370" fmla="*/ 748760 w 1468659"/>
                <a:gd name="connsiteY370" fmla="*/ 115157 h 1218057"/>
                <a:gd name="connsiteX371" fmla="*/ 745617 w 1468659"/>
                <a:gd name="connsiteY371" fmla="*/ 115538 h 1218057"/>
                <a:gd name="connsiteX372" fmla="*/ 743426 w 1468659"/>
                <a:gd name="connsiteY372" fmla="*/ 111061 h 1218057"/>
                <a:gd name="connsiteX373" fmla="*/ 738759 w 1468659"/>
                <a:gd name="connsiteY373" fmla="*/ 111633 h 1218057"/>
                <a:gd name="connsiteX374" fmla="*/ 738283 w 1468659"/>
                <a:gd name="connsiteY374" fmla="*/ 108490 h 1218057"/>
                <a:gd name="connsiteX375" fmla="*/ 741235 w 1468659"/>
                <a:gd name="connsiteY375" fmla="*/ 106489 h 1218057"/>
                <a:gd name="connsiteX376" fmla="*/ 744379 w 1468659"/>
                <a:gd name="connsiteY376" fmla="*/ 106108 h 1218057"/>
                <a:gd name="connsiteX377" fmla="*/ 745426 w 1468659"/>
                <a:gd name="connsiteY377" fmla="*/ 101155 h 1218057"/>
                <a:gd name="connsiteX378" fmla="*/ 748189 w 1468659"/>
                <a:gd name="connsiteY378" fmla="*/ 97631 h 1218057"/>
                <a:gd name="connsiteX379" fmla="*/ 748760 w 1468659"/>
                <a:gd name="connsiteY379" fmla="*/ 89535 h 1218057"/>
                <a:gd name="connsiteX380" fmla="*/ 748284 w 1468659"/>
                <a:gd name="connsiteY380" fmla="*/ 86392 h 1218057"/>
                <a:gd name="connsiteX381" fmla="*/ 746760 w 1468659"/>
                <a:gd name="connsiteY381" fmla="*/ 86582 h 1218057"/>
                <a:gd name="connsiteX382" fmla="*/ 745331 w 1468659"/>
                <a:gd name="connsiteY382" fmla="*/ 88297 h 1218057"/>
                <a:gd name="connsiteX383" fmla="*/ 744379 w 1468659"/>
                <a:gd name="connsiteY383" fmla="*/ 93250 h 1218057"/>
                <a:gd name="connsiteX384" fmla="*/ 741426 w 1468659"/>
                <a:gd name="connsiteY384" fmla="*/ 95250 h 1218057"/>
                <a:gd name="connsiteX385" fmla="*/ 736473 w 1468659"/>
                <a:gd name="connsiteY385" fmla="*/ 94297 h 1218057"/>
                <a:gd name="connsiteX386" fmla="*/ 736949 w 1468659"/>
                <a:gd name="connsiteY386" fmla="*/ 97441 h 1218057"/>
                <a:gd name="connsiteX387" fmla="*/ 733711 w 1468659"/>
                <a:gd name="connsiteY387" fmla="*/ 97822 h 1218057"/>
                <a:gd name="connsiteX388" fmla="*/ 734568 w 1468659"/>
                <a:gd name="connsiteY388" fmla="*/ 91345 h 1218057"/>
                <a:gd name="connsiteX389" fmla="*/ 729425 w 1468659"/>
                <a:gd name="connsiteY389" fmla="*/ 101632 h 1218057"/>
                <a:gd name="connsiteX390" fmla="*/ 724472 w 1468659"/>
                <a:gd name="connsiteY390" fmla="*/ 100584 h 1218057"/>
                <a:gd name="connsiteX391" fmla="*/ 725900 w 1468659"/>
                <a:gd name="connsiteY391" fmla="*/ 98869 h 1218057"/>
                <a:gd name="connsiteX392" fmla="*/ 724281 w 1468659"/>
                <a:gd name="connsiteY392" fmla="*/ 99060 h 1218057"/>
                <a:gd name="connsiteX393" fmla="*/ 722947 w 1468659"/>
                <a:gd name="connsiteY393" fmla="*/ 100775 h 1218057"/>
                <a:gd name="connsiteX394" fmla="*/ 720947 w 1468659"/>
                <a:gd name="connsiteY394" fmla="*/ 97822 h 1218057"/>
                <a:gd name="connsiteX395" fmla="*/ 719518 w 1468659"/>
                <a:gd name="connsiteY395" fmla="*/ 99631 h 1218057"/>
                <a:gd name="connsiteX396" fmla="*/ 717804 w 1468659"/>
                <a:gd name="connsiteY396" fmla="*/ 98298 h 1218057"/>
                <a:gd name="connsiteX397" fmla="*/ 712851 w 1468659"/>
                <a:gd name="connsiteY397" fmla="*/ 97250 h 1218057"/>
                <a:gd name="connsiteX398" fmla="*/ 710851 w 1468659"/>
                <a:gd name="connsiteY398" fmla="*/ 94297 h 1218057"/>
                <a:gd name="connsiteX399" fmla="*/ 707898 w 1468659"/>
                <a:gd name="connsiteY399" fmla="*/ 96298 h 1218057"/>
                <a:gd name="connsiteX400" fmla="*/ 705136 w 1468659"/>
                <a:gd name="connsiteY400" fmla="*/ 99917 h 1218057"/>
                <a:gd name="connsiteX401" fmla="*/ 702945 w 1468659"/>
                <a:gd name="connsiteY401" fmla="*/ 95345 h 1218057"/>
                <a:gd name="connsiteX402" fmla="*/ 701612 w 1468659"/>
                <a:gd name="connsiteY402" fmla="*/ 97155 h 1218057"/>
                <a:gd name="connsiteX403" fmla="*/ 701135 w 1468659"/>
                <a:gd name="connsiteY403" fmla="*/ 94012 h 1218057"/>
                <a:gd name="connsiteX404" fmla="*/ 696659 w 1468659"/>
                <a:gd name="connsiteY404" fmla="*/ 96107 h 1218057"/>
                <a:gd name="connsiteX405" fmla="*/ 696468 w 1468659"/>
                <a:gd name="connsiteY405" fmla="*/ 94583 h 1218057"/>
                <a:gd name="connsiteX406" fmla="*/ 693134 w 1468659"/>
                <a:gd name="connsiteY406" fmla="*/ 93440 h 1218057"/>
                <a:gd name="connsiteX407" fmla="*/ 695420 w 1468659"/>
                <a:gd name="connsiteY407" fmla="*/ 86677 h 1218057"/>
                <a:gd name="connsiteX408" fmla="*/ 693706 w 1468659"/>
                <a:gd name="connsiteY408" fmla="*/ 85344 h 1218057"/>
                <a:gd name="connsiteX409" fmla="*/ 688943 w 1468659"/>
                <a:gd name="connsiteY409" fmla="*/ 85915 h 1218057"/>
                <a:gd name="connsiteX410" fmla="*/ 686181 w 1468659"/>
                <a:gd name="connsiteY410" fmla="*/ 89440 h 1218057"/>
                <a:gd name="connsiteX411" fmla="*/ 681228 w 1468659"/>
                <a:gd name="connsiteY411" fmla="*/ 88487 h 1218057"/>
                <a:gd name="connsiteX412" fmla="*/ 672560 w 1468659"/>
                <a:gd name="connsiteY412" fmla="*/ 83153 h 1218057"/>
                <a:gd name="connsiteX413" fmla="*/ 667798 w 1468659"/>
                <a:gd name="connsiteY413" fmla="*/ 83820 h 1218057"/>
                <a:gd name="connsiteX414" fmla="*/ 669608 w 1468659"/>
                <a:gd name="connsiteY414" fmla="*/ 85154 h 1218057"/>
                <a:gd name="connsiteX415" fmla="*/ 667226 w 1468659"/>
                <a:gd name="connsiteY415" fmla="*/ 91916 h 1218057"/>
                <a:gd name="connsiteX416" fmla="*/ 661130 w 1468659"/>
                <a:gd name="connsiteY416" fmla="*/ 94297 h 1218057"/>
                <a:gd name="connsiteX417" fmla="*/ 663130 w 1468659"/>
                <a:gd name="connsiteY417" fmla="*/ 97250 h 1218057"/>
                <a:gd name="connsiteX418" fmla="*/ 666274 w 1468659"/>
                <a:gd name="connsiteY418" fmla="*/ 96774 h 1218057"/>
                <a:gd name="connsiteX419" fmla="*/ 664845 w 1468659"/>
                <a:gd name="connsiteY419" fmla="*/ 98584 h 1218057"/>
                <a:gd name="connsiteX420" fmla="*/ 663321 w 1468659"/>
                <a:gd name="connsiteY420" fmla="*/ 98774 h 1218057"/>
                <a:gd name="connsiteX421" fmla="*/ 659511 w 1468659"/>
                <a:gd name="connsiteY421" fmla="*/ 94488 h 1218057"/>
                <a:gd name="connsiteX422" fmla="*/ 658368 w 1468659"/>
                <a:gd name="connsiteY422" fmla="*/ 97822 h 1218057"/>
                <a:gd name="connsiteX423" fmla="*/ 654844 w 1468659"/>
                <a:gd name="connsiteY423" fmla="*/ 95059 h 1218057"/>
                <a:gd name="connsiteX424" fmla="*/ 654368 w 1468659"/>
                <a:gd name="connsiteY424" fmla="*/ 91916 h 1218057"/>
                <a:gd name="connsiteX425" fmla="*/ 652843 w 1468659"/>
                <a:gd name="connsiteY425" fmla="*/ 92107 h 1218057"/>
                <a:gd name="connsiteX426" fmla="*/ 650653 w 1468659"/>
                <a:gd name="connsiteY426" fmla="*/ 87535 h 1218057"/>
                <a:gd name="connsiteX427" fmla="*/ 645890 w 1468659"/>
                <a:gd name="connsiteY427" fmla="*/ 88201 h 1218057"/>
                <a:gd name="connsiteX428" fmla="*/ 644938 w 1468659"/>
                <a:gd name="connsiteY428" fmla="*/ 80296 h 1218057"/>
                <a:gd name="connsiteX429" fmla="*/ 638556 w 1468659"/>
                <a:gd name="connsiteY429" fmla="*/ 81058 h 1218057"/>
                <a:gd name="connsiteX430" fmla="*/ 637413 w 1468659"/>
                <a:gd name="connsiteY430" fmla="*/ 84487 h 1218057"/>
                <a:gd name="connsiteX431" fmla="*/ 634270 w 1468659"/>
                <a:gd name="connsiteY431" fmla="*/ 84868 h 1218057"/>
                <a:gd name="connsiteX432" fmla="*/ 626173 w 1468659"/>
                <a:gd name="connsiteY432" fmla="*/ 71438 h 1218057"/>
                <a:gd name="connsiteX433" fmla="*/ 623030 w 1468659"/>
                <a:gd name="connsiteY433" fmla="*/ 71818 h 1218057"/>
                <a:gd name="connsiteX434" fmla="*/ 619220 w 1468659"/>
                <a:gd name="connsiteY434" fmla="*/ 67532 h 1218057"/>
                <a:gd name="connsiteX435" fmla="*/ 621601 w 1468659"/>
                <a:gd name="connsiteY435" fmla="*/ 73628 h 1218057"/>
                <a:gd name="connsiteX436" fmla="*/ 620077 w 1468659"/>
                <a:gd name="connsiteY436" fmla="*/ 73819 h 1218057"/>
                <a:gd name="connsiteX437" fmla="*/ 616458 w 1468659"/>
                <a:gd name="connsiteY437" fmla="*/ 71056 h 1218057"/>
                <a:gd name="connsiteX438" fmla="*/ 615125 w 1468659"/>
                <a:gd name="connsiteY438" fmla="*/ 72866 h 1218057"/>
                <a:gd name="connsiteX439" fmla="*/ 616648 w 1468659"/>
                <a:gd name="connsiteY439" fmla="*/ 72676 h 1218057"/>
                <a:gd name="connsiteX440" fmla="*/ 621030 w 1468659"/>
                <a:gd name="connsiteY440" fmla="*/ 81725 h 1218057"/>
                <a:gd name="connsiteX441" fmla="*/ 619697 w 1468659"/>
                <a:gd name="connsiteY441" fmla="*/ 83534 h 1218057"/>
                <a:gd name="connsiteX442" fmla="*/ 621411 w 1468659"/>
                <a:gd name="connsiteY442" fmla="*/ 84868 h 1218057"/>
                <a:gd name="connsiteX443" fmla="*/ 618649 w 1468659"/>
                <a:gd name="connsiteY443" fmla="*/ 88487 h 1218057"/>
                <a:gd name="connsiteX444" fmla="*/ 620649 w 1468659"/>
                <a:gd name="connsiteY444" fmla="*/ 91440 h 1218057"/>
                <a:gd name="connsiteX445" fmla="*/ 625412 w 1468659"/>
                <a:gd name="connsiteY445" fmla="*/ 90773 h 1218057"/>
                <a:gd name="connsiteX446" fmla="*/ 623983 w 1468659"/>
                <a:gd name="connsiteY446" fmla="*/ 92583 h 1218057"/>
                <a:gd name="connsiteX447" fmla="*/ 620649 w 1468659"/>
                <a:gd name="connsiteY447" fmla="*/ 91440 h 1218057"/>
                <a:gd name="connsiteX448" fmla="*/ 621030 w 1468659"/>
                <a:gd name="connsiteY448" fmla="*/ 94583 h 1218057"/>
                <a:gd name="connsiteX449" fmla="*/ 619506 w 1468659"/>
                <a:gd name="connsiteY449" fmla="*/ 94774 h 1218057"/>
                <a:gd name="connsiteX450" fmla="*/ 616934 w 1468659"/>
                <a:gd name="connsiteY450" fmla="*/ 87058 h 1218057"/>
                <a:gd name="connsiteX451" fmla="*/ 613791 w 1468659"/>
                <a:gd name="connsiteY451" fmla="*/ 87439 h 1218057"/>
                <a:gd name="connsiteX452" fmla="*/ 610172 w 1468659"/>
                <a:gd name="connsiteY452" fmla="*/ 84677 h 1218057"/>
                <a:gd name="connsiteX453" fmla="*/ 605504 w 1468659"/>
                <a:gd name="connsiteY453" fmla="*/ 85344 h 1218057"/>
                <a:gd name="connsiteX454" fmla="*/ 604266 w 1468659"/>
                <a:gd name="connsiteY454" fmla="*/ 88678 h 1218057"/>
                <a:gd name="connsiteX455" fmla="*/ 600932 w 1468659"/>
                <a:gd name="connsiteY455" fmla="*/ 87535 h 1218057"/>
                <a:gd name="connsiteX456" fmla="*/ 601123 w 1468659"/>
                <a:gd name="connsiteY456" fmla="*/ 89059 h 1218057"/>
                <a:gd name="connsiteX457" fmla="*/ 599504 w 1468659"/>
                <a:gd name="connsiteY457" fmla="*/ 89249 h 1218057"/>
                <a:gd name="connsiteX458" fmla="*/ 601504 w 1468659"/>
                <a:gd name="connsiteY458" fmla="*/ 92202 h 1218057"/>
                <a:gd name="connsiteX459" fmla="*/ 599980 w 1468659"/>
                <a:gd name="connsiteY459" fmla="*/ 92392 h 1218057"/>
                <a:gd name="connsiteX460" fmla="*/ 600170 w 1468659"/>
                <a:gd name="connsiteY460" fmla="*/ 94012 h 1218057"/>
                <a:gd name="connsiteX461" fmla="*/ 598360 w 1468659"/>
                <a:gd name="connsiteY461" fmla="*/ 92678 h 1218057"/>
                <a:gd name="connsiteX462" fmla="*/ 598551 w 1468659"/>
                <a:gd name="connsiteY462" fmla="*/ 94202 h 1218057"/>
                <a:gd name="connsiteX463" fmla="*/ 597218 w 1468659"/>
                <a:gd name="connsiteY463" fmla="*/ 96012 h 1218057"/>
                <a:gd name="connsiteX464" fmla="*/ 595217 w 1468659"/>
                <a:gd name="connsiteY464" fmla="*/ 93059 h 1218057"/>
                <a:gd name="connsiteX465" fmla="*/ 593884 w 1468659"/>
                <a:gd name="connsiteY465" fmla="*/ 94774 h 1218057"/>
                <a:gd name="connsiteX466" fmla="*/ 591502 w 1468659"/>
                <a:gd name="connsiteY466" fmla="*/ 101536 h 1218057"/>
                <a:gd name="connsiteX467" fmla="*/ 589883 w 1468659"/>
                <a:gd name="connsiteY467" fmla="*/ 101727 h 1218057"/>
                <a:gd name="connsiteX468" fmla="*/ 591122 w 1468659"/>
                <a:gd name="connsiteY468" fmla="*/ 98393 h 1218057"/>
                <a:gd name="connsiteX469" fmla="*/ 587693 w 1468659"/>
                <a:gd name="connsiteY469" fmla="*/ 97155 h 1218057"/>
                <a:gd name="connsiteX470" fmla="*/ 584930 w 1468659"/>
                <a:gd name="connsiteY470" fmla="*/ 100775 h 1218057"/>
                <a:gd name="connsiteX471" fmla="*/ 583978 w 1468659"/>
                <a:gd name="connsiteY471" fmla="*/ 105727 h 1218057"/>
                <a:gd name="connsiteX472" fmla="*/ 582454 w 1468659"/>
                <a:gd name="connsiteY472" fmla="*/ 105918 h 1218057"/>
                <a:gd name="connsiteX473" fmla="*/ 581787 w 1468659"/>
                <a:gd name="connsiteY473" fmla="*/ 101155 h 1218057"/>
                <a:gd name="connsiteX474" fmla="*/ 578644 w 1468659"/>
                <a:gd name="connsiteY474" fmla="*/ 101536 h 1218057"/>
                <a:gd name="connsiteX475" fmla="*/ 578263 w 1468659"/>
                <a:gd name="connsiteY475" fmla="*/ 98393 h 1218057"/>
                <a:gd name="connsiteX476" fmla="*/ 574929 w 1468659"/>
                <a:gd name="connsiteY476" fmla="*/ 97250 h 1218057"/>
                <a:gd name="connsiteX477" fmla="*/ 567595 w 1468659"/>
                <a:gd name="connsiteY477" fmla="*/ 102965 h 1218057"/>
                <a:gd name="connsiteX478" fmla="*/ 564261 w 1468659"/>
                <a:gd name="connsiteY478" fmla="*/ 101822 h 1218057"/>
                <a:gd name="connsiteX479" fmla="*/ 562451 w 1468659"/>
                <a:gd name="connsiteY479" fmla="*/ 100393 h 1218057"/>
                <a:gd name="connsiteX480" fmla="*/ 565595 w 1468659"/>
                <a:gd name="connsiteY480" fmla="*/ 100013 h 1218057"/>
                <a:gd name="connsiteX481" fmla="*/ 567023 w 1468659"/>
                <a:gd name="connsiteY481" fmla="*/ 98203 h 1218057"/>
                <a:gd name="connsiteX482" fmla="*/ 564833 w 1468659"/>
                <a:gd name="connsiteY482" fmla="*/ 93726 h 1218057"/>
                <a:gd name="connsiteX483" fmla="*/ 567595 w 1468659"/>
                <a:gd name="connsiteY483" fmla="*/ 90106 h 1218057"/>
                <a:gd name="connsiteX484" fmla="*/ 567214 w 1468659"/>
                <a:gd name="connsiteY484" fmla="*/ 86963 h 1218057"/>
                <a:gd name="connsiteX485" fmla="*/ 564071 w 1468659"/>
                <a:gd name="connsiteY485" fmla="*/ 87344 h 1218057"/>
                <a:gd name="connsiteX486" fmla="*/ 562261 w 1468659"/>
                <a:gd name="connsiteY486" fmla="*/ 86011 h 1218057"/>
                <a:gd name="connsiteX487" fmla="*/ 560451 w 1468659"/>
                <a:gd name="connsiteY487" fmla="*/ 84677 h 1218057"/>
                <a:gd name="connsiteX488" fmla="*/ 560451 w 1468659"/>
                <a:gd name="connsiteY488" fmla="*/ 84677 h 1218057"/>
                <a:gd name="connsiteX489" fmla="*/ 558260 w 1468659"/>
                <a:gd name="connsiteY489" fmla="*/ 80105 h 1218057"/>
                <a:gd name="connsiteX490" fmla="*/ 556927 w 1468659"/>
                <a:gd name="connsiteY490" fmla="*/ 81915 h 1218057"/>
                <a:gd name="connsiteX491" fmla="*/ 549783 w 1468659"/>
                <a:gd name="connsiteY491" fmla="*/ 76390 h 1218057"/>
                <a:gd name="connsiteX492" fmla="*/ 544068 w 1468659"/>
                <a:gd name="connsiteY492" fmla="*/ 81915 h 1218057"/>
                <a:gd name="connsiteX493" fmla="*/ 541877 w 1468659"/>
                <a:gd name="connsiteY493" fmla="*/ 77343 h 1218057"/>
                <a:gd name="connsiteX494" fmla="*/ 540544 w 1468659"/>
                <a:gd name="connsiteY494" fmla="*/ 79153 h 1218057"/>
                <a:gd name="connsiteX495" fmla="*/ 540353 w 1468659"/>
                <a:gd name="connsiteY495" fmla="*/ 77629 h 1218057"/>
                <a:gd name="connsiteX496" fmla="*/ 538543 w 1468659"/>
                <a:gd name="connsiteY496" fmla="*/ 76200 h 1218057"/>
                <a:gd name="connsiteX497" fmla="*/ 539115 w 1468659"/>
                <a:gd name="connsiteY497" fmla="*/ 68104 h 1218057"/>
                <a:gd name="connsiteX498" fmla="*/ 540448 w 1468659"/>
                <a:gd name="connsiteY498" fmla="*/ 66294 h 1218057"/>
                <a:gd name="connsiteX499" fmla="*/ 535114 w 1468659"/>
                <a:gd name="connsiteY499" fmla="*/ 62198 h 1218057"/>
                <a:gd name="connsiteX500" fmla="*/ 528638 w 1468659"/>
                <a:gd name="connsiteY500" fmla="*/ 61436 h 1218057"/>
                <a:gd name="connsiteX501" fmla="*/ 528256 w 1468659"/>
                <a:gd name="connsiteY501" fmla="*/ 58293 h 1218057"/>
                <a:gd name="connsiteX502" fmla="*/ 523684 w 1468659"/>
                <a:gd name="connsiteY502" fmla="*/ 60484 h 1218057"/>
                <a:gd name="connsiteX503" fmla="*/ 521303 w 1468659"/>
                <a:gd name="connsiteY503" fmla="*/ 54292 h 1218057"/>
                <a:gd name="connsiteX504" fmla="*/ 515588 w 1468659"/>
                <a:gd name="connsiteY504" fmla="*/ 59912 h 1218057"/>
                <a:gd name="connsiteX505" fmla="*/ 512445 w 1468659"/>
                <a:gd name="connsiteY505" fmla="*/ 60293 h 1218057"/>
                <a:gd name="connsiteX506" fmla="*/ 501587 w 1468659"/>
                <a:gd name="connsiteY506" fmla="*/ 63246 h 1218057"/>
                <a:gd name="connsiteX507" fmla="*/ 499396 w 1468659"/>
                <a:gd name="connsiteY507" fmla="*/ 58769 h 1218057"/>
                <a:gd name="connsiteX508" fmla="*/ 496634 w 1468659"/>
                <a:gd name="connsiteY508" fmla="*/ 62293 h 1218057"/>
                <a:gd name="connsiteX509" fmla="*/ 493490 w 1468659"/>
                <a:gd name="connsiteY509" fmla="*/ 62675 h 1218057"/>
                <a:gd name="connsiteX510" fmla="*/ 492157 w 1468659"/>
                <a:gd name="connsiteY510" fmla="*/ 64484 h 1218057"/>
                <a:gd name="connsiteX511" fmla="*/ 492538 w 1468659"/>
                <a:gd name="connsiteY511" fmla="*/ 67627 h 1218057"/>
                <a:gd name="connsiteX512" fmla="*/ 493585 w 1468659"/>
                <a:gd name="connsiteY512" fmla="*/ 75533 h 1218057"/>
                <a:gd name="connsiteX513" fmla="*/ 489013 w 1468659"/>
                <a:gd name="connsiteY513" fmla="*/ 77724 h 1218057"/>
                <a:gd name="connsiteX514" fmla="*/ 489395 w 1468659"/>
                <a:gd name="connsiteY514" fmla="*/ 80867 h 1218057"/>
                <a:gd name="connsiteX515" fmla="*/ 485108 w 1468659"/>
                <a:gd name="connsiteY515" fmla="*/ 84582 h 1218057"/>
                <a:gd name="connsiteX516" fmla="*/ 481965 w 1468659"/>
                <a:gd name="connsiteY516" fmla="*/ 85058 h 1218057"/>
                <a:gd name="connsiteX517" fmla="*/ 482346 w 1468659"/>
                <a:gd name="connsiteY517" fmla="*/ 88201 h 1218057"/>
                <a:gd name="connsiteX518" fmla="*/ 485299 w 1468659"/>
                <a:gd name="connsiteY518" fmla="*/ 86201 h 1218057"/>
                <a:gd name="connsiteX519" fmla="*/ 479584 w 1468659"/>
                <a:gd name="connsiteY519" fmla="*/ 91726 h 1218057"/>
                <a:gd name="connsiteX520" fmla="*/ 480155 w 1468659"/>
                <a:gd name="connsiteY520" fmla="*/ 96488 h 1218057"/>
                <a:gd name="connsiteX521" fmla="*/ 475297 w 1468659"/>
                <a:gd name="connsiteY521" fmla="*/ 95536 h 1218057"/>
                <a:gd name="connsiteX522" fmla="*/ 474821 w 1468659"/>
                <a:gd name="connsiteY522" fmla="*/ 92297 h 1218057"/>
                <a:gd name="connsiteX523" fmla="*/ 477774 w 1468659"/>
                <a:gd name="connsiteY523" fmla="*/ 90392 h 1218057"/>
                <a:gd name="connsiteX524" fmla="*/ 476059 w 1468659"/>
                <a:gd name="connsiteY524" fmla="*/ 88963 h 1218057"/>
                <a:gd name="connsiteX525" fmla="*/ 469868 w 1468659"/>
                <a:gd name="connsiteY525" fmla="*/ 91345 h 1218057"/>
                <a:gd name="connsiteX526" fmla="*/ 462058 w 1468659"/>
                <a:gd name="connsiteY526" fmla="*/ 92392 h 1218057"/>
                <a:gd name="connsiteX527" fmla="*/ 459105 w 1468659"/>
                <a:gd name="connsiteY527" fmla="*/ 94393 h 1218057"/>
                <a:gd name="connsiteX528" fmla="*/ 455676 w 1468659"/>
                <a:gd name="connsiteY528" fmla="*/ 93154 h 1218057"/>
                <a:gd name="connsiteX529" fmla="*/ 450818 w 1468659"/>
                <a:gd name="connsiteY529" fmla="*/ 92202 h 1218057"/>
                <a:gd name="connsiteX530" fmla="*/ 444437 w 1468659"/>
                <a:gd name="connsiteY530" fmla="*/ 92964 h 1218057"/>
                <a:gd name="connsiteX531" fmla="*/ 441293 w 1468659"/>
                <a:gd name="connsiteY531" fmla="*/ 93440 h 1218057"/>
                <a:gd name="connsiteX532" fmla="*/ 440150 w 1468659"/>
                <a:gd name="connsiteY532" fmla="*/ 96774 h 1218057"/>
                <a:gd name="connsiteX533" fmla="*/ 433006 w 1468659"/>
                <a:gd name="connsiteY533" fmla="*/ 91250 h 1218057"/>
                <a:gd name="connsiteX534" fmla="*/ 428244 w 1468659"/>
                <a:gd name="connsiteY534" fmla="*/ 91821 h 1218057"/>
                <a:gd name="connsiteX535" fmla="*/ 419957 w 1468659"/>
                <a:gd name="connsiteY535" fmla="*/ 89725 h 1218057"/>
                <a:gd name="connsiteX536" fmla="*/ 421196 w 1468659"/>
                <a:gd name="connsiteY536" fmla="*/ 99155 h 1218057"/>
                <a:gd name="connsiteX537" fmla="*/ 416052 w 1468659"/>
                <a:gd name="connsiteY537" fmla="*/ 96583 h 1218057"/>
                <a:gd name="connsiteX538" fmla="*/ 411480 w 1468659"/>
                <a:gd name="connsiteY538" fmla="*/ 98774 h 1218057"/>
                <a:gd name="connsiteX539" fmla="*/ 409766 w 1468659"/>
                <a:gd name="connsiteY539" fmla="*/ 97441 h 1218057"/>
                <a:gd name="connsiteX540" fmla="*/ 409384 w 1468659"/>
                <a:gd name="connsiteY540" fmla="*/ 94297 h 1218057"/>
                <a:gd name="connsiteX541" fmla="*/ 410527 w 1468659"/>
                <a:gd name="connsiteY541" fmla="*/ 90868 h 1218057"/>
                <a:gd name="connsiteX542" fmla="*/ 408527 w 1468659"/>
                <a:gd name="connsiteY542" fmla="*/ 87916 h 1218057"/>
                <a:gd name="connsiteX543" fmla="*/ 405384 w 1468659"/>
                <a:gd name="connsiteY543" fmla="*/ 88392 h 1218057"/>
                <a:gd name="connsiteX544" fmla="*/ 406146 w 1468659"/>
                <a:gd name="connsiteY544" fmla="*/ 94679 h 1218057"/>
                <a:gd name="connsiteX545" fmla="*/ 405003 w 1468659"/>
                <a:gd name="connsiteY545" fmla="*/ 98012 h 1218057"/>
                <a:gd name="connsiteX546" fmla="*/ 398526 w 1468659"/>
                <a:gd name="connsiteY546" fmla="*/ 97250 h 1218057"/>
                <a:gd name="connsiteX547" fmla="*/ 397097 w 1468659"/>
                <a:gd name="connsiteY547" fmla="*/ 99060 h 1218057"/>
                <a:gd name="connsiteX548" fmla="*/ 395097 w 1468659"/>
                <a:gd name="connsiteY548" fmla="*/ 96107 h 1218057"/>
                <a:gd name="connsiteX549" fmla="*/ 388810 w 1468659"/>
                <a:gd name="connsiteY549" fmla="*/ 96869 h 1218057"/>
                <a:gd name="connsiteX550" fmla="*/ 388620 w 1468659"/>
                <a:gd name="connsiteY550" fmla="*/ 95345 h 1218057"/>
                <a:gd name="connsiteX551" fmla="*/ 385667 w 1468659"/>
                <a:gd name="connsiteY551" fmla="*/ 97250 h 1218057"/>
                <a:gd name="connsiteX552" fmla="*/ 383667 w 1468659"/>
                <a:gd name="connsiteY552" fmla="*/ 94297 h 1218057"/>
                <a:gd name="connsiteX553" fmla="*/ 382143 w 1468659"/>
                <a:gd name="connsiteY553" fmla="*/ 94488 h 1218057"/>
                <a:gd name="connsiteX554" fmla="*/ 379762 w 1468659"/>
                <a:gd name="connsiteY554" fmla="*/ 88392 h 1218057"/>
                <a:gd name="connsiteX555" fmla="*/ 380714 w 1468659"/>
                <a:gd name="connsiteY555" fmla="*/ 83439 h 1218057"/>
                <a:gd name="connsiteX556" fmla="*/ 382048 w 1468659"/>
                <a:gd name="connsiteY556" fmla="*/ 81725 h 1218057"/>
                <a:gd name="connsiteX557" fmla="*/ 381286 w 1468659"/>
                <a:gd name="connsiteY557" fmla="*/ 75343 h 1218057"/>
                <a:gd name="connsiteX558" fmla="*/ 380905 w 1468659"/>
                <a:gd name="connsiteY558" fmla="*/ 72200 h 1218057"/>
                <a:gd name="connsiteX559" fmla="*/ 382238 w 1468659"/>
                <a:gd name="connsiteY559" fmla="*/ 70485 h 1218057"/>
                <a:gd name="connsiteX560" fmla="*/ 381857 w 1468659"/>
                <a:gd name="connsiteY560" fmla="*/ 67342 h 1218057"/>
                <a:gd name="connsiteX561" fmla="*/ 386620 w 1468659"/>
                <a:gd name="connsiteY561" fmla="*/ 66675 h 1218057"/>
                <a:gd name="connsiteX562" fmla="*/ 381667 w 1468659"/>
                <a:gd name="connsiteY562" fmla="*/ 65722 h 1218057"/>
                <a:gd name="connsiteX563" fmla="*/ 376142 w 1468659"/>
                <a:gd name="connsiteY563" fmla="*/ 60007 h 1218057"/>
                <a:gd name="connsiteX564" fmla="*/ 374713 w 1468659"/>
                <a:gd name="connsiteY564" fmla="*/ 61817 h 1218057"/>
                <a:gd name="connsiteX565" fmla="*/ 365284 w 1468659"/>
                <a:gd name="connsiteY565" fmla="*/ 62960 h 1218057"/>
                <a:gd name="connsiteX566" fmla="*/ 361950 w 1468659"/>
                <a:gd name="connsiteY566" fmla="*/ 61817 h 1218057"/>
                <a:gd name="connsiteX567" fmla="*/ 357950 w 1468659"/>
                <a:gd name="connsiteY567" fmla="*/ 68771 h 1218057"/>
                <a:gd name="connsiteX568" fmla="*/ 357759 w 1468659"/>
                <a:gd name="connsiteY568" fmla="*/ 67151 h 1218057"/>
                <a:gd name="connsiteX569" fmla="*/ 352044 w 1468659"/>
                <a:gd name="connsiteY569" fmla="*/ 72676 h 1218057"/>
                <a:gd name="connsiteX570" fmla="*/ 350330 w 1468659"/>
                <a:gd name="connsiteY570" fmla="*/ 71342 h 1218057"/>
                <a:gd name="connsiteX571" fmla="*/ 348901 w 1468659"/>
                <a:gd name="connsiteY571" fmla="*/ 73057 h 1218057"/>
                <a:gd name="connsiteX572" fmla="*/ 342233 w 1468659"/>
                <a:gd name="connsiteY572" fmla="*/ 70771 h 1218057"/>
                <a:gd name="connsiteX573" fmla="*/ 341471 w 1468659"/>
                <a:gd name="connsiteY573" fmla="*/ 77248 h 1218057"/>
                <a:gd name="connsiteX574" fmla="*/ 345376 w 1468659"/>
                <a:gd name="connsiteY574" fmla="*/ 83153 h 1218057"/>
                <a:gd name="connsiteX575" fmla="*/ 342614 w 1468659"/>
                <a:gd name="connsiteY575" fmla="*/ 86773 h 1218057"/>
                <a:gd name="connsiteX576" fmla="*/ 342233 w 1468659"/>
                <a:gd name="connsiteY576" fmla="*/ 83534 h 1218057"/>
                <a:gd name="connsiteX577" fmla="*/ 341471 w 1468659"/>
                <a:gd name="connsiteY577" fmla="*/ 90106 h 1218057"/>
                <a:gd name="connsiteX578" fmla="*/ 340042 w 1468659"/>
                <a:gd name="connsiteY578" fmla="*/ 91821 h 1218057"/>
                <a:gd name="connsiteX579" fmla="*/ 340519 w 1468659"/>
                <a:gd name="connsiteY579" fmla="*/ 95059 h 1218057"/>
                <a:gd name="connsiteX580" fmla="*/ 338900 w 1468659"/>
                <a:gd name="connsiteY580" fmla="*/ 95250 h 1218057"/>
                <a:gd name="connsiteX581" fmla="*/ 337566 w 1468659"/>
                <a:gd name="connsiteY581" fmla="*/ 96964 h 1218057"/>
                <a:gd name="connsiteX582" fmla="*/ 335566 w 1468659"/>
                <a:gd name="connsiteY582" fmla="*/ 94012 h 1218057"/>
                <a:gd name="connsiteX583" fmla="*/ 333946 w 1468659"/>
                <a:gd name="connsiteY583" fmla="*/ 94202 h 1218057"/>
                <a:gd name="connsiteX584" fmla="*/ 334327 w 1468659"/>
                <a:gd name="connsiteY584" fmla="*/ 97441 h 1218057"/>
                <a:gd name="connsiteX585" fmla="*/ 332804 w 1468659"/>
                <a:gd name="connsiteY585" fmla="*/ 97631 h 1218057"/>
                <a:gd name="connsiteX586" fmla="*/ 336709 w 1468659"/>
                <a:gd name="connsiteY586" fmla="*/ 103537 h 1218057"/>
                <a:gd name="connsiteX587" fmla="*/ 333566 w 1468659"/>
                <a:gd name="connsiteY587" fmla="*/ 103918 h 1218057"/>
                <a:gd name="connsiteX588" fmla="*/ 334042 w 1468659"/>
                <a:gd name="connsiteY588" fmla="*/ 107061 h 1218057"/>
                <a:gd name="connsiteX589" fmla="*/ 330803 w 1468659"/>
                <a:gd name="connsiteY589" fmla="*/ 107442 h 1218057"/>
                <a:gd name="connsiteX590" fmla="*/ 330041 w 1468659"/>
                <a:gd name="connsiteY590" fmla="*/ 101155 h 1218057"/>
                <a:gd name="connsiteX591" fmla="*/ 326898 w 1468659"/>
                <a:gd name="connsiteY591" fmla="*/ 101536 h 1218057"/>
                <a:gd name="connsiteX592" fmla="*/ 324707 w 1468659"/>
                <a:gd name="connsiteY592" fmla="*/ 97060 h 1218057"/>
                <a:gd name="connsiteX593" fmla="*/ 322135 w 1468659"/>
                <a:gd name="connsiteY593" fmla="*/ 102203 h 1218057"/>
                <a:gd name="connsiteX594" fmla="*/ 320612 w 1468659"/>
                <a:gd name="connsiteY594" fmla="*/ 102394 h 1218057"/>
                <a:gd name="connsiteX595" fmla="*/ 320992 w 1468659"/>
                <a:gd name="connsiteY595" fmla="*/ 105537 h 1218057"/>
                <a:gd name="connsiteX596" fmla="*/ 318230 w 1468659"/>
                <a:gd name="connsiteY596" fmla="*/ 109061 h 1218057"/>
                <a:gd name="connsiteX597" fmla="*/ 318611 w 1468659"/>
                <a:gd name="connsiteY597" fmla="*/ 112204 h 1218057"/>
                <a:gd name="connsiteX598" fmla="*/ 318992 w 1468659"/>
                <a:gd name="connsiteY598" fmla="*/ 115443 h 1218057"/>
                <a:gd name="connsiteX599" fmla="*/ 309372 w 1468659"/>
                <a:gd name="connsiteY599" fmla="*/ 115062 h 1218057"/>
                <a:gd name="connsiteX600" fmla="*/ 302609 w 1468659"/>
                <a:gd name="connsiteY600" fmla="*/ 112681 h 1218057"/>
                <a:gd name="connsiteX601" fmla="*/ 302038 w 1468659"/>
                <a:gd name="connsiteY601" fmla="*/ 107918 h 1218057"/>
                <a:gd name="connsiteX602" fmla="*/ 298704 w 1468659"/>
                <a:gd name="connsiteY602" fmla="*/ 106775 h 1218057"/>
                <a:gd name="connsiteX603" fmla="*/ 290036 w 1468659"/>
                <a:gd name="connsiteY603" fmla="*/ 114300 h 1218057"/>
                <a:gd name="connsiteX604" fmla="*/ 290989 w 1468659"/>
                <a:gd name="connsiteY604" fmla="*/ 122206 h 1218057"/>
                <a:gd name="connsiteX605" fmla="*/ 290989 w 1468659"/>
                <a:gd name="connsiteY605" fmla="*/ 122206 h 1218057"/>
                <a:gd name="connsiteX606" fmla="*/ 289465 w 1468659"/>
                <a:gd name="connsiteY606" fmla="*/ 122396 h 1218057"/>
                <a:gd name="connsiteX607" fmla="*/ 285083 w 1468659"/>
                <a:gd name="connsiteY607" fmla="*/ 126111 h 1218057"/>
                <a:gd name="connsiteX608" fmla="*/ 284702 w 1468659"/>
                <a:gd name="connsiteY608" fmla="*/ 122968 h 1218057"/>
                <a:gd name="connsiteX609" fmla="*/ 275463 w 1468659"/>
                <a:gd name="connsiteY609" fmla="*/ 125730 h 1218057"/>
                <a:gd name="connsiteX610" fmla="*/ 273463 w 1468659"/>
                <a:gd name="connsiteY610" fmla="*/ 122777 h 1218057"/>
                <a:gd name="connsiteX611" fmla="*/ 268700 w 1468659"/>
                <a:gd name="connsiteY611" fmla="*/ 123444 h 1218057"/>
                <a:gd name="connsiteX612" fmla="*/ 268129 w 1468659"/>
                <a:gd name="connsiteY612" fmla="*/ 118681 h 1218057"/>
                <a:gd name="connsiteX613" fmla="*/ 264605 w 1468659"/>
                <a:gd name="connsiteY613" fmla="*/ 115919 h 1218057"/>
                <a:gd name="connsiteX614" fmla="*/ 263366 w 1468659"/>
                <a:gd name="connsiteY614" fmla="*/ 119253 h 1218057"/>
                <a:gd name="connsiteX615" fmla="*/ 257080 w 1468659"/>
                <a:gd name="connsiteY615" fmla="*/ 120110 h 1218057"/>
                <a:gd name="connsiteX616" fmla="*/ 261366 w 1468659"/>
                <a:gd name="connsiteY616" fmla="*/ 116300 h 1218057"/>
                <a:gd name="connsiteX617" fmla="*/ 260985 w 1468659"/>
                <a:gd name="connsiteY617" fmla="*/ 113157 h 1218057"/>
                <a:gd name="connsiteX618" fmla="*/ 263938 w 1468659"/>
                <a:gd name="connsiteY618" fmla="*/ 111157 h 1218057"/>
                <a:gd name="connsiteX619" fmla="*/ 256032 w 1468659"/>
                <a:gd name="connsiteY619" fmla="*/ 112204 h 1218057"/>
                <a:gd name="connsiteX620" fmla="*/ 254698 w 1468659"/>
                <a:gd name="connsiteY620" fmla="*/ 114014 h 1218057"/>
                <a:gd name="connsiteX621" fmla="*/ 251174 w 1468659"/>
                <a:gd name="connsiteY621" fmla="*/ 111252 h 1218057"/>
                <a:gd name="connsiteX622" fmla="*/ 248984 w 1468659"/>
                <a:gd name="connsiteY622" fmla="*/ 106680 h 1218057"/>
                <a:gd name="connsiteX623" fmla="*/ 249746 w 1468659"/>
                <a:gd name="connsiteY623" fmla="*/ 100203 h 1218057"/>
                <a:gd name="connsiteX624" fmla="*/ 239649 w 1468659"/>
                <a:gd name="connsiteY624" fmla="*/ 96679 h 1218057"/>
                <a:gd name="connsiteX625" fmla="*/ 235077 w 1468659"/>
                <a:gd name="connsiteY625" fmla="*/ 98869 h 1218057"/>
                <a:gd name="connsiteX626" fmla="*/ 235363 w 1468659"/>
                <a:gd name="connsiteY626" fmla="*/ 100393 h 1218057"/>
                <a:gd name="connsiteX627" fmla="*/ 238696 w 1468659"/>
                <a:gd name="connsiteY627" fmla="*/ 101536 h 1218057"/>
                <a:gd name="connsiteX628" fmla="*/ 234125 w 1468659"/>
                <a:gd name="connsiteY628" fmla="*/ 103727 h 1218057"/>
                <a:gd name="connsiteX629" fmla="*/ 230410 w 1468659"/>
                <a:gd name="connsiteY629" fmla="*/ 112204 h 1218057"/>
                <a:gd name="connsiteX630" fmla="*/ 227076 w 1468659"/>
                <a:gd name="connsiteY630" fmla="*/ 111061 h 1218057"/>
                <a:gd name="connsiteX631" fmla="*/ 227267 w 1468659"/>
                <a:gd name="connsiteY631" fmla="*/ 112681 h 1218057"/>
                <a:gd name="connsiteX632" fmla="*/ 225457 w 1468659"/>
                <a:gd name="connsiteY632" fmla="*/ 111252 h 1218057"/>
                <a:gd name="connsiteX633" fmla="*/ 222694 w 1468659"/>
                <a:gd name="connsiteY633" fmla="*/ 114871 h 1218057"/>
                <a:gd name="connsiteX634" fmla="*/ 220790 w 1468659"/>
                <a:gd name="connsiteY634" fmla="*/ 111919 h 1218057"/>
                <a:gd name="connsiteX635" fmla="*/ 222123 w 1468659"/>
                <a:gd name="connsiteY635" fmla="*/ 110109 h 1218057"/>
                <a:gd name="connsiteX636" fmla="*/ 220504 w 1468659"/>
                <a:gd name="connsiteY636" fmla="*/ 110300 h 1218057"/>
                <a:gd name="connsiteX637" fmla="*/ 219170 w 1468659"/>
                <a:gd name="connsiteY637" fmla="*/ 112109 h 1218057"/>
                <a:gd name="connsiteX638" fmla="*/ 217742 w 1468659"/>
                <a:gd name="connsiteY638" fmla="*/ 113824 h 1218057"/>
                <a:gd name="connsiteX639" fmla="*/ 216408 w 1468659"/>
                <a:gd name="connsiteY639" fmla="*/ 102775 h 1218057"/>
                <a:gd name="connsiteX640" fmla="*/ 214979 w 1468659"/>
                <a:gd name="connsiteY640" fmla="*/ 104584 h 1218057"/>
                <a:gd name="connsiteX641" fmla="*/ 213265 w 1468659"/>
                <a:gd name="connsiteY641" fmla="*/ 103251 h 1218057"/>
                <a:gd name="connsiteX642" fmla="*/ 210407 w 1468659"/>
                <a:gd name="connsiteY642" fmla="*/ 93917 h 1218057"/>
                <a:gd name="connsiteX643" fmla="*/ 207264 w 1468659"/>
                <a:gd name="connsiteY643" fmla="*/ 94393 h 1218057"/>
                <a:gd name="connsiteX644" fmla="*/ 209264 w 1468659"/>
                <a:gd name="connsiteY644" fmla="*/ 97346 h 1218057"/>
                <a:gd name="connsiteX645" fmla="*/ 202978 w 1468659"/>
                <a:gd name="connsiteY645" fmla="*/ 98107 h 1218057"/>
                <a:gd name="connsiteX646" fmla="*/ 203740 w 1468659"/>
                <a:gd name="connsiteY646" fmla="*/ 104394 h 1218057"/>
                <a:gd name="connsiteX647" fmla="*/ 198977 w 1468659"/>
                <a:gd name="connsiteY647" fmla="*/ 105061 h 1218057"/>
                <a:gd name="connsiteX648" fmla="*/ 199453 w 1468659"/>
                <a:gd name="connsiteY648" fmla="*/ 108204 h 1218057"/>
                <a:gd name="connsiteX649" fmla="*/ 192500 w 1468659"/>
                <a:gd name="connsiteY649" fmla="*/ 104299 h 1218057"/>
                <a:gd name="connsiteX650" fmla="*/ 186023 w 1468659"/>
                <a:gd name="connsiteY650" fmla="*/ 103442 h 1218057"/>
                <a:gd name="connsiteX651" fmla="*/ 182499 w 1468659"/>
                <a:gd name="connsiteY651" fmla="*/ 113538 h 1218057"/>
                <a:gd name="connsiteX652" fmla="*/ 180880 w 1468659"/>
                <a:gd name="connsiteY652" fmla="*/ 113729 h 1218057"/>
                <a:gd name="connsiteX653" fmla="*/ 180880 w 1468659"/>
                <a:gd name="connsiteY653" fmla="*/ 113729 h 1218057"/>
                <a:gd name="connsiteX654" fmla="*/ 170974 w 1468659"/>
                <a:gd name="connsiteY654" fmla="*/ 111823 h 1218057"/>
                <a:gd name="connsiteX655" fmla="*/ 169259 w 1468659"/>
                <a:gd name="connsiteY655" fmla="*/ 110395 h 1218057"/>
                <a:gd name="connsiteX656" fmla="*/ 165925 w 1468659"/>
                <a:gd name="connsiteY656" fmla="*/ 109252 h 1218057"/>
                <a:gd name="connsiteX657" fmla="*/ 164687 w 1468659"/>
                <a:gd name="connsiteY657" fmla="*/ 112585 h 1218057"/>
                <a:gd name="connsiteX658" fmla="*/ 160401 w 1468659"/>
                <a:gd name="connsiteY658" fmla="*/ 116396 h 1218057"/>
                <a:gd name="connsiteX659" fmla="*/ 159163 w 1468659"/>
                <a:gd name="connsiteY659" fmla="*/ 119729 h 1218057"/>
                <a:gd name="connsiteX660" fmla="*/ 164306 w 1468659"/>
                <a:gd name="connsiteY660" fmla="*/ 122301 h 1218057"/>
                <a:gd name="connsiteX661" fmla="*/ 164782 w 1468659"/>
                <a:gd name="connsiteY661" fmla="*/ 125444 h 1218057"/>
                <a:gd name="connsiteX662" fmla="*/ 163544 w 1468659"/>
                <a:gd name="connsiteY662" fmla="*/ 128778 h 1218057"/>
                <a:gd name="connsiteX663" fmla="*/ 160211 w 1468659"/>
                <a:gd name="connsiteY663" fmla="*/ 127635 h 1218057"/>
                <a:gd name="connsiteX664" fmla="*/ 159067 w 1468659"/>
                <a:gd name="connsiteY664" fmla="*/ 130969 h 1218057"/>
                <a:gd name="connsiteX665" fmla="*/ 155829 w 1468659"/>
                <a:gd name="connsiteY665" fmla="*/ 131350 h 1218057"/>
                <a:gd name="connsiteX666" fmla="*/ 157829 w 1468659"/>
                <a:gd name="connsiteY666" fmla="*/ 134302 h 1218057"/>
                <a:gd name="connsiteX667" fmla="*/ 156496 w 1468659"/>
                <a:gd name="connsiteY667" fmla="*/ 136112 h 1218057"/>
                <a:gd name="connsiteX668" fmla="*/ 157258 w 1468659"/>
                <a:gd name="connsiteY668" fmla="*/ 142399 h 1218057"/>
                <a:gd name="connsiteX669" fmla="*/ 160592 w 1468659"/>
                <a:gd name="connsiteY669" fmla="*/ 143637 h 1218057"/>
                <a:gd name="connsiteX670" fmla="*/ 163830 w 1468659"/>
                <a:gd name="connsiteY670" fmla="*/ 143161 h 1218057"/>
                <a:gd name="connsiteX671" fmla="*/ 164021 w 1468659"/>
                <a:gd name="connsiteY671" fmla="*/ 144780 h 1218057"/>
                <a:gd name="connsiteX672" fmla="*/ 163830 w 1468659"/>
                <a:gd name="connsiteY672" fmla="*/ 143161 h 1218057"/>
                <a:gd name="connsiteX673" fmla="*/ 170307 w 1468659"/>
                <a:gd name="connsiteY673" fmla="*/ 144018 h 1218057"/>
                <a:gd name="connsiteX674" fmla="*/ 170497 w 1468659"/>
                <a:gd name="connsiteY674" fmla="*/ 145542 h 1218057"/>
                <a:gd name="connsiteX675" fmla="*/ 164021 w 1468659"/>
                <a:gd name="connsiteY675" fmla="*/ 144780 h 1218057"/>
                <a:gd name="connsiteX676" fmla="*/ 165925 w 1468659"/>
                <a:gd name="connsiteY676" fmla="*/ 147733 h 1218057"/>
                <a:gd name="connsiteX677" fmla="*/ 164782 w 1468659"/>
                <a:gd name="connsiteY677" fmla="*/ 151067 h 1218057"/>
                <a:gd name="connsiteX678" fmla="*/ 165925 w 1468659"/>
                <a:gd name="connsiteY678" fmla="*/ 147733 h 1218057"/>
                <a:gd name="connsiteX679" fmla="*/ 167545 w 1468659"/>
                <a:gd name="connsiteY679" fmla="*/ 147542 h 1218057"/>
                <a:gd name="connsiteX680" fmla="*/ 167926 w 1468659"/>
                <a:gd name="connsiteY680" fmla="*/ 150685 h 1218057"/>
                <a:gd name="connsiteX681" fmla="*/ 165163 w 1468659"/>
                <a:gd name="connsiteY681" fmla="*/ 154210 h 1218057"/>
                <a:gd name="connsiteX682" fmla="*/ 168402 w 1468659"/>
                <a:gd name="connsiteY682" fmla="*/ 153829 h 1218057"/>
                <a:gd name="connsiteX683" fmla="*/ 167164 w 1468659"/>
                <a:gd name="connsiteY683" fmla="*/ 157163 h 1218057"/>
                <a:gd name="connsiteX684" fmla="*/ 169545 w 1468659"/>
                <a:gd name="connsiteY684" fmla="*/ 163354 h 1218057"/>
                <a:gd name="connsiteX685" fmla="*/ 166592 w 1468659"/>
                <a:gd name="connsiteY685" fmla="*/ 165259 h 1218057"/>
                <a:gd name="connsiteX686" fmla="*/ 165640 w 1468659"/>
                <a:gd name="connsiteY686" fmla="*/ 170212 h 1218057"/>
                <a:gd name="connsiteX687" fmla="*/ 168973 w 1468659"/>
                <a:gd name="connsiteY687" fmla="*/ 171355 h 1218057"/>
                <a:gd name="connsiteX688" fmla="*/ 167640 w 1468659"/>
                <a:gd name="connsiteY688" fmla="*/ 173164 h 1218057"/>
                <a:gd name="connsiteX689" fmla="*/ 168021 w 1468659"/>
                <a:gd name="connsiteY689" fmla="*/ 176308 h 1218057"/>
                <a:gd name="connsiteX690" fmla="*/ 166878 w 1468659"/>
                <a:gd name="connsiteY690" fmla="*/ 179642 h 1218057"/>
                <a:gd name="connsiteX691" fmla="*/ 168592 w 1468659"/>
                <a:gd name="connsiteY691" fmla="*/ 181070 h 1218057"/>
                <a:gd name="connsiteX692" fmla="*/ 170783 w 1468659"/>
                <a:gd name="connsiteY692" fmla="*/ 185642 h 1218057"/>
                <a:gd name="connsiteX693" fmla="*/ 172402 w 1468659"/>
                <a:gd name="connsiteY693" fmla="*/ 185452 h 1218057"/>
                <a:gd name="connsiteX694" fmla="*/ 172784 w 1468659"/>
                <a:gd name="connsiteY694" fmla="*/ 188595 h 1218057"/>
                <a:gd name="connsiteX695" fmla="*/ 174593 w 1468659"/>
                <a:gd name="connsiteY695" fmla="*/ 189929 h 1218057"/>
                <a:gd name="connsiteX696" fmla="*/ 174974 w 1468659"/>
                <a:gd name="connsiteY696" fmla="*/ 193072 h 1218057"/>
                <a:gd name="connsiteX697" fmla="*/ 178117 w 1468659"/>
                <a:gd name="connsiteY697" fmla="*/ 192691 h 1218057"/>
                <a:gd name="connsiteX698" fmla="*/ 178308 w 1468659"/>
                <a:gd name="connsiteY698" fmla="*/ 194310 h 1218057"/>
                <a:gd name="connsiteX699" fmla="*/ 175165 w 1468659"/>
                <a:gd name="connsiteY699" fmla="*/ 194691 h 1218057"/>
                <a:gd name="connsiteX700" fmla="*/ 177165 w 1468659"/>
                <a:gd name="connsiteY700" fmla="*/ 197644 h 1218057"/>
                <a:gd name="connsiteX701" fmla="*/ 185261 w 1468659"/>
                <a:gd name="connsiteY701" fmla="*/ 198215 h 1218057"/>
                <a:gd name="connsiteX702" fmla="*/ 185452 w 1468659"/>
                <a:gd name="connsiteY702" fmla="*/ 199739 h 1218057"/>
                <a:gd name="connsiteX703" fmla="*/ 182309 w 1468659"/>
                <a:gd name="connsiteY703" fmla="*/ 200215 h 1218057"/>
                <a:gd name="connsiteX704" fmla="*/ 175736 w 1468659"/>
                <a:gd name="connsiteY704" fmla="*/ 199358 h 1218057"/>
                <a:gd name="connsiteX705" fmla="*/ 173165 w 1468659"/>
                <a:gd name="connsiteY705" fmla="*/ 204502 h 1218057"/>
                <a:gd name="connsiteX706" fmla="*/ 174974 w 1468659"/>
                <a:gd name="connsiteY706" fmla="*/ 205930 h 1218057"/>
                <a:gd name="connsiteX707" fmla="*/ 173450 w 1468659"/>
                <a:gd name="connsiteY707" fmla="*/ 206121 h 1218057"/>
                <a:gd name="connsiteX708" fmla="*/ 169450 w 1468659"/>
                <a:gd name="connsiteY708" fmla="*/ 213074 h 1218057"/>
                <a:gd name="connsiteX709" fmla="*/ 166306 w 1468659"/>
                <a:gd name="connsiteY709" fmla="*/ 213455 h 1218057"/>
                <a:gd name="connsiteX710" fmla="*/ 168116 w 1468659"/>
                <a:gd name="connsiteY710" fmla="*/ 214789 h 1218057"/>
                <a:gd name="connsiteX711" fmla="*/ 165544 w 1468659"/>
                <a:gd name="connsiteY711" fmla="*/ 219932 h 1218057"/>
                <a:gd name="connsiteX712" fmla="*/ 166402 w 1468659"/>
                <a:gd name="connsiteY712" fmla="*/ 226219 h 1218057"/>
                <a:gd name="connsiteX713" fmla="*/ 168116 w 1468659"/>
                <a:gd name="connsiteY713" fmla="*/ 227647 h 1218057"/>
                <a:gd name="connsiteX714" fmla="*/ 164211 w 1468659"/>
                <a:gd name="connsiteY714" fmla="*/ 234505 h 1218057"/>
                <a:gd name="connsiteX715" fmla="*/ 162592 w 1468659"/>
                <a:gd name="connsiteY715" fmla="*/ 234791 h 1218057"/>
                <a:gd name="connsiteX716" fmla="*/ 163068 w 1468659"/>
                <a:gd name="connsiteY716" fmla="*/ 237934 h 1218057"/>
                <a:gd name="connsiteX717" fmla="*/ 164592 w 1468659"/>
                <a:gd name="connsiteY717" fmla="*/ 237744 h 1218057"/>
                <a:gd name="connsiteX718" fmla="*/ 163259 w 1468659"/>
                <a:gd name="connsiteY718" fmla="*/ 239459 h 1218057"/>
                <a:gd name="connsiteX719" fmla="*/ 164782 w 1468659"/>
                <a:gd name="connsiteY719" fmla="*/ 239268 h 1218057"/>
                <a:gd name="connsiteX720" fmla="*/ 163449 w 1468659"/>
                <a:gd name="connsiteY720" fmla="*/ 241078 h 1218057"/>
                <a:gd name="connsiteX721" fmla="*/ 167354 w 1468659"/>
                <a:gd name="connsiteY721" fmla="*/ 246983 h 1218057"/>
                <a:gd name="connsiteX722" fmla="*/ 166402 w 1468659"/>
                <a:gd name="connsiteY722" fmla="*/ 251936 h 1218057"/>
                <a:gd name="connsiteX723" fmla="*/ 171926 w 1468659"/>
                <a:gd name="connsiteY723" fmla="*/ 257651 h 1218057"/>
                <a:gd name="connsiteX724" fmla="*/ 173926 w 1468659"/>
                <a:gd name="connsiteY724" fmla="*/ 260604 h 1218057"/>
                <a:gd name="connsiteX725" fmla="*/ 170974 w 1468659"/>
                <a:gd name="connsiteY725" fmla="*/ 262604 h 1218057"/>
                <a:gd name="connsiteX726" fmla="*/ 174307 w 1468659"/>
                <a:gd name="connsiteY726" fmla="*/ 263747 h 1218057"/>
                <a:gd name="connsiteX727" fmla="*/ 171164 w 1468659"/>
                <a:gd name="connsiteY727" fmla="*/ 264128 h 1218057"/>
                <a:gd name="connsiteX728" fmla="*/ 171355 w 1468659"/>
                <a:gd name="connsiteY728" fmla="*/ 265747 h 1218057"/>
                <a:gd name="connsiteX729" fmla="*/ 174498 w 1468659"/>
                <a:gd name="connsiteY729" fmla="*/ 265271 h 1218057"/>
                <a:gd name="connsiteX730" fmla="*/ 178308 w 1468659"/>
                <a:gd name="connsiteY730" fmla="*/ 269653 h 1218057"/>
                <a:gd name="connsiteX731" fmla="*/ 181261 w 1468659"/>
                <a:gd name="connsiteY731" fmla="*/ 267652 h 1218057"/>
                <a:gd name="connsiteX732" fmla="*/ 180118 w 1468659"/>
                <a:gd name="connsiteY732" fmla="*/ 270986 h 1218057"/>
                <a:gd name="connsiteX733" fmla="*/ 183451 w 1468659"/>
                <a:gd name="connsiteY733" fmla="*/ 272225 h 1218057"/>
                <a:gd name="connsiteX734" fmla="*/ 182690 w 1468659"/>
                <a:gd name="connsiteY734" fmla="*/ 278701 h 1218057"/>
                <a:gd name="connsiteX735" fmla="*/ 184594 w 1468659"/>
                <a:gd name="connsiteY735" fmla="*/ 281654 h 1218057"/>
                <a:gd name="connsiteX736" fmla="*/ 181261 w 1468659"/>
                <a:gd name="connsiteY736" fmla="*/ 280511 h 1218057"/>
                <a:gd name="connsiteX737" fmla="*/ 181642 w 1468659"/>
                <a:gd name="connsiteY737" fmla="*/ 283655 h 1218057"/>
                <a:gd name="connsiteX738" fmla="*/ 180118 w 1468659"/>
                <a:gd name="connsiteY738" fmla="*/ 283845 h 1218057"/>
                <a:gd name="connsiteX739" fmla="*/ 176022 w 1468659"/>
                <a:gd name="connsiteY739" fmla="*/ 289179 h 1218057"/>
                <a:gd name="connsiteX740" fmla="*/ 177736 w 1468659"/>
                <a:gd name="connsiteY740" fmla="*/ 290513 h 1218057"/>
                <a:gd name="connsiteX741" fmla="*/ 180308 w 1468659"/>
                <a:gd name="connsiteY741" fmla="*/ 285464 h 1218057"/>
                <a:gd name="connsiteX742" fmla="*/ 181356 w 1468659"/>
                <a:gd name="connsiteY742" fmla="*/ 293275 h 1218057"/>
                <a:gd name="connsiteX743" fmla="*/ 183071 w 1468659"/>
                <a:gd name="connsiteY743" fmla="*/ 294704 h 1218057"/>
                <a:gd name="connsiteX744" fmla="*/ 175165 w 1468659"/>
                <a:gd name="connsiteY744" fmla="*/ 295656 h 1218057"/>
                <a:gd name="connsiteX745" fmla="*/ 171450 w 1468659"/>
                <a:gd name="connsiteY745" fmla="*/ 304229 h 1218057"/>
                <a:gd name="connsiteX746" fmla="*/ 169164 w 1468659"/>
                <a:gd name="connsiteY746" fmla="*/ 310896 h 1218057"/>
                <a:gd name="connsiteX747" fmla="*/ 171069 w 1468659"/>
                <a:gd name="connsiteY747" fmla="*/ 313849 h 1218057"/>
                <a:gd name="connsiteX748" fmla="*/ 167926 w 1468659"/>
                <a:gd name="connsiteY748" fmla="*/ 314230 h 1218057"/>
                <a:gd name="connsiteX749" fmla="*/ 170497 w 1468659"/>
                <a:gd name="connsiteY749" fmla="*/ 321945 h 1218057"/>
                <a:gd name="connsiteX750" fmla="*/ 169354 w 1468659"/>
                <a:gd name="connsiteY750" fmla="*/ 325279 h 1218057"/>
                <a:gd name="connsiteX751" fmla="*/ 168021 w 1468659"/>
                <a:gd name="connsiteY751" fmla="*/ 327088 h 1218057"/>
                <a:gd name="connsiteX752" fmla="*/ 159639 w 1468659"/>
                <a:gd name="connsiteY752" fmla="*/ 324898 h 1218057"/>
                <a:gd name="connsiteX753" fmla="*/ 155162 w 1468659"/>
                <a:gd name="connsiteY753" fmla="*/ 327088 h 1218057"/>
                <a:gd name="connsiteX754" fmla="*/ 154210 w 1468659"/>
                <a:gd name="connsiteY754" fmla="*/ 332042 h 1218057"/>
                <a:gd name="connsiteX755" fmla="*/ 151067 w 1468659"/>
                <a:gd name="connsiteY755" fmla="*/ 332422 h 1218057"/>
                <a:gd name="connsiteX756" fmla="*/ 146494 w 1468659"/>
                <a:gd name="connsiteY756" fmla="*/ 334613 h 1218057"/>
                <a:gd name="connsiteX757" fmla="*/ 144494 w 1468659"/>
                <a:gd name="connsiteY757" fmla="*/ 344519 h 1218057"/>
                <a:gd name="connsiteX758" fmla="*/ 136017 w 1468659"/>
                <a:gd name="connsiteY758" fmla="*/ 340805 h 1218057"/>
                <a:gd name="connsiteX759" fmla="*/ 139065 w 1468659"/>
                <a:gd name="connsiteY759" fmla="*/ 351663 h 1218057"/>
                <a:gd name="connsiteX760" fmla="*/ 136112 w 1468659"/>
                <a:gd name="connsiteY760" fmla="*/ 353568 h 1218057"/>
                <a:gd name="connsiteX761" fmla="*/ 134493 w 1468659"/>
                <a:gd name="connsiteY761" fmla="*/ 353759 h 1218057"/>
                <a:gd name="connsiteX762" fmla="*/ 138684 w 1468659"/>
                <a:gd name="connsiteY762" fmla="*/ 361283 h 1218057"/>
                <a:gd name="connsiteX763" fmla="*/ 141827 w 1468659"/>
                <a:gd name="connsiteY763" fmla="*/ 360902 h 1218057"/>
                <a:gd name="connsiteX764" fmla="*/ 145161 w 1468659"/>
                <a:gd name="connsiteY764" fmla="*/ 362045 h 1218057"/>
                <a:gd name="connsiteX765" fmla="*/ 144399 w 1468659"/>
                <a:gd name="connsiteY765" fmla="*/ 368617 h 1218057"/>
                <a:gd name="connsiteX766" fmla="*/ 141446 w 1468659"/>
                <a:gd name="connsiteY766" fmla="*/ 370522 h 1218057"/>
                <a:gd name="connsiteX767" fmla="*/ 140684 w 1468659"/>
                <a:gd name="connsiteY767" fmla="*/ 377095 h 1218057"/>
                <a:gd name="connsiteX768" fmla="*/ 137541 w 1468659"/>
                <a:gd name="connsiteY768" fmla="*/ 377476 h 1218057"/>
                <a:gd name="connsiteX769" fmla="*/ 134398 w 1468659"/>
                <a:gd name="connsiteY769" fmla="*/ 377857 h 1218057"/>
                <a:gd name="connsiteX770" fmla="*/ 130588 w 1468659"/>
                <a:gd name="connsiteY770" fmla="*/ 373571 h 1218057"/>
                <a:gd name="connsiteX771" fmla="*/ 126111 w 1468659"/>
                <a:gd name="connsiteY771" fmla="*/ 375761 h 1218057"/>
                <a:gd name="connsiteX772" fmla="*/ 119539 w 1468659"/>
                <a:gd name="connsiteY772" fmla="*/ 374999 h 1218057"/>
                <a:gd name="connsiteX773" fmla="*/ 118205 w 1468659"/>
                <a:gd name="connsiteY773" fmla="*/ 376714 h 1218057"/>
                <a:gd name="connsiteX774" fmla="*/ 121729 w 1468659"/>
                <a:gd name="connsiteY774" fmla="*/ 379476 h 1218057"/>
                <a:gd name="connsiteX775" fmla="*/ 121348 w 1468659"/>
                <a:gd name="connsiteY775" fmla="*/ 389192 h 1218057"/>
                <a:gd name="connsiteX776" fmla="*/ 124301 w 1468659"/>
                <a:gd name="connsiteY776" fmla="*/ 400050 h 1218057"/>
                <a:gd name="connsiteX777" fmla="*/ 127540 w 1468659"/>
                <a:gd name="connsiteY777" fmla="*/ 399574 h 1218057"/>
                <a:gd name="connsiteX778" fmla="*/ 129254 w 1468659"/>
                <a:gd name="connsiteY778" fmla="*/ 401002 h 1218057"/>
                <a:gd name="connsiteX779" fmla="*/ 138970 w 1468659"/>
                <a:gd name="connsiteY779" fmla="*/ 401384 h 1218057"/>
                <a:gd name="connsiteX780" fmla="*/ 141922 w 1468659"/>
                <a:gd name="connsiteY780" fmla="*/ 399383 h 1218057"/>
                <a:gd name="connsiteX781" fmla="*/ 143923 w 1468659"/>
                <a:gd name="connsiteY781" fmla="*/ 402336 h 1218057"/>
                <a:gd name="connsiteX782" fmla="*/ 140684 w 1468659"/>
                <a:gd name="connsiteY782" fmla="*/ 402717 h 1218057"/>
                <a:gd name="connsiteX783" fmla="*/ 133636 w 1468659"/>
                <a:gd name="connsiteY783" fmla="*/ 410051 h 1218057"/>
                <a:gd name="connsiteX784" fmla="*/ 133826 w 1468659"/>
                <a:gd name="connsiteY784" fmla="*/ 411575 h 1218057"/>
                <a:gd name="connsiteX785" fmla="*/ 137827 w 1468659"/>
                <a:gd name="connsiteY785" fmla="*/ 417576 h 1218057"/>
                <a:gd name="connsiteX786" fmla="*/ 136207 w 1468659"/>
                <a:gd name="connsiteY786" fmla="*/ 417767 h 1218057"/>
                <a:gd name="connsiteX787" fmla="*/ 129730 w 1468659"/>
                <a:gd name="connsiteY787" fmla="*/ 417005 h 1218057"/>
                <a:gd name="connsiteX788" fmla="*/ 129540 w 1468659"/>
                <a:gd name="connsiteY788" fmla="*/ 415385 h 1218057"/>
                <a:gd name="connsiteX789" fmla="*/ 124396 w 1468659"/>
                <a:gd name="connsiteY789" fmla="*/ 412813 h 1218057"/>
                <a:gd name="connsiteX790" fmla="*/ 123444 w 1468659"/>
                <a:gd name="connsiteY790" fmla="*/ 417767 h 1218057"/>
                <a:gd name="connsiteX791" fmla="*/ 125158 w 1468659"/>
                <a:gd name="connsiteY791" fmla="*/ 419100 h 1218057"/>
                <a:gd name="connsiteX792" fmla="*/ 126016 w 1468659"/>
                <a:gd name="connsiteY792" fmla="*/ 425482 h 1218057"/>
                <a:gd name="connsiteX793" fmla="*/ 119253 w 1468659"/>
                <a:gd name="connsiteY793" fmla="*/ 423100 h 1218057"/>
                <a:gd name="connsiteX794" fmla="*/ 113538 w 1468659"/>
                <a:gd name="connsiteY794" fmla="*/ 428625 h 1218057"/>
                <a:gd name="connsiteX795" fmla="*/ 115348 w 1468659"/>
                <a:gd name="connsiteY795" fmla="*/ 430054 h 1218057"/>
                <a:gd name="connsiteX796" fmla="*/ 115729 w 1468659"/>
                <a:gd name="connsiteY796" fmla="*/ 433197 h 1218057"/>
                <a:gd name="connsiteX797" fmla="*/ 112395 w 1468659"/>
                <a:gd name="connsiteY797" fmla="*/ 431959 h 1218057"/>
                <a:gd name="connsiteX798" fmla="*/ 110966 w 1468659"/>
                <a:gd name="connsiteY798" fmla="*/ 433768 h 1218057"/>
                <a:gd name="connsiteX799" fmla="*/ 111633 w 1468659"/>
                <a:gd name="connsiteY799" fmla="*/ 438531 h 1218057"/>
                <a:gd name="connsiteX800" fmla="*/ 114776 w 1468659"/>
                <a:gd name="connsiteY800" fmla="*/ 438150 h 1218057"/>
                <a:gd name="connsiteX801" fmla="*/ 113157 w 1468659"/>
                <a:gd name="connsiteY801" fmla="*/ 438340 h 1218057"/>
                <a:gd name="connsiteX802" fmla="*/ 114014 w 1468659"/>
                <a:gd name="connsiteY802" fmla="*/ 444627 h 1218057"/>
                <a:gd name="connsiteX803" fmla="*/ 116776 w 1468659"/>
                <a:gd name="connsiteY803" fmla="*/ 441103 h 1218057"/>
                <a:gd name="connsiteX804" fmla="*/ 116396 w 1468659"/>
                <a:gd name="connsiteY804" fmla="*/ 450723 h 1218057"/>
                <a:gd name="connsiteX805" fmla="*/ 124682 w 1468659"/>
                <a:gd name="connsiteY805" fmla="*/ 452914 h 1218057"/>
                <a:gd name="connsiteX806" fmla="*/ 126206 w 1468659"/>
                <a:gd name="connsiteY806" fmla="*/ 452723 h 1218057"/>
                <a:gd name="connsiteX807" fmla="*/ 125063 w 1468659"/>
                <a:gd name="connsiteY807" fmla="*/ 456057 h 1218057"/>
                <a:gd name="connsiteX808" fmla="*/ 128397 w 1468659"/>
                <a:gd name="connsiteY808" fmla="*/ 457200 h 1218057"/>
                <a:gd name="connsiteX809" fmla="*/ 129445 w 1468659"/>
                <a:gd name="connsiteY809" fmla="*/ 465106 h 1218057"/>
                <a:gd name="connsiteX810" fmla="*/ 132017 w 1468659"/>
                <a:gd name="connsiteY810" fmla="*/ 472821 h 1218057"/>
                <a:gd name="connsiteX811" fmla="*/ 127730 w 1468659"/>
                <a:gd name="connsiteY811" fmla="*/ 476536 h 1218057"/>
                <a:gd name="connsiteX812" fmla="*/ 122587 w 1468659"/>
                <a:gd name="connsiteY812" fmla="*/ 473964 h 1218057"/>
                <a:gd name="connsiteX813" fmla="*/ 119348 w 1468659"/>
                <a:gd name="connsiteY813" fmla="*/ 474440 h 1218057"/>
                <a:gd name="connsiteX814" fmla="*/ 112490 w 1468659"/>
                <a:gd name="connsiteY814" fmla="*/ 483298 h 1218057"/>
                <a:gd name="connsiteX815" fmla="*/ 113157 w 1468659"/>
                <a:gd name="connsiteY815" fmla="*/ 500825 h 1218057"/>
                <a:gd name="connsiteX816" fmla="*/ 113347 w 1468659"/>
                <a:gd name="connsiteY816" fmla="*/ 502444 h 1218057"/>
                <a:gd name="connsiteX817" fmla="*/ 108775 w 1468659"/>
                <a:gd name="connsiteY817" fmla="*/ 504634 h 1218057"/>
                <a:gd name="connsiteX818" fmla="*/ 110776 w 1468659"/>
                <a:gd name="connsiteY818" fmla="*/ 507587 h 1218057"/>
                <a:gd name="connsiteX819" fmla="*/ 112204 w 1468659"/>
                <a:gd name="connsiteY819" fmla="*/ 505777 h 1218057"/>
                <a:gd name="connsiteX820" fmla="*/ 112395 w 1468659"/>
                <a:gd name="connsiteY820" fmla="*/ 507397 h 1218057"/>
                <a:gd name="connsiteX821" fmla="*/ 115348 w 1468659"/>
                <a:gd name="connsiteY821" fmla="*/ 505396 h 1218057"/>
                <a:gd name="connsiteX822" fmla="*/ 115538 w 1468659"/>
                <a:gd name="connsiteY822" fmla="*/ 507016 h 1218057"/>
                <a:gd name="connsiteX823" fmla="*/ 112776 w 1468659"/>
                <a:gd name="connsiteY823" fmla="*/ 510540 h 1218057"/>
                <a:gd name="connsiteX824" fmla="*/ 111633 w 1468659"/>
                <a:gd name="connsiteY824" fmla="*/ 513874 h 1218057"/>
                <a:gd name="connsiteX825" fmla="*/ 110966 w 1468659"/>
                <a:gd name="connsiteY825" fmla="*/ 509111 h 1218057"/>
                <a:gd name="connsiteX826" fmla="*/ 109442 w 1468659"/>
                <a:gd name="connsiteY826" fmla="*/ 509397 h 1218057"/>
                <a:gd name="connsiteX827" fmla="*/ 105823 w 1468659"/>
                <a:gd name="connsiteY827" fmla="*/ 506635 h 1218057"/>
                <a:gd name="connsiteX828" fmla="*/ 103061 w 1468659"/>
                <a:gd name="connsiteY828" fmla="*/ 510159 h 1218057"/>
                <a:gd name="connsiteX829" fmla="*/ 101346 w 1468659"/>
                <a:gd name="connsiteY829" fmla="*/ 508825 h 1218057"/>
                <a:gd name="connsiteX830" fmla="*/ 96965 w 1468659"/>
                <a:gd name="connsiteY830" fmla="*/ 512540 h 1218057"/>
                <a:gd name="connsiteX831" fmla="*/ 88868 w 1468659"/>
                <a:gd name="connsiteY831" fmla="*/ 511969 h 1218057"/>
                <a:gd name="connsiteX832" fmla="*/ 89535 w 1468659"/>
                <a:gd name="connsiteY832" fmla="*/ 516731 h 1218057"/>
                <a:gd name="connsiteX833" fmla="*/ 86582 w 1468659"/>
                <a:gd name="connsiteY833" fmla="*/ 518731 h 1218057"/>
                <a:gd name="connsiteX834" fmla="*/ 86963 w 1468659"/>
                <a:gd name="connsiteY834" fmla="*/ 521875 h 1218057"/>
                <a:gd name="connsiteX835" fmla="*/ 84011 w 1468659"/>
                <a:gd name="connsiteY835" fmla="*/ 523780 h 1218057"/>
                <a:gd name="connsiteX836" fmla="*/ 79057 w 1468659"/>
                <a:gd name="connsiteY836" fmla="*/ 522827 h 1218057"/>
                <a:gd name="connsiteX837" fmla="*/ 78105 w 1468659"/>
                <a:gd name="connsiteY837" fmla="*/ 527780 h 1218057"/>
                <a:gd name="connsiteX838" fmla="*/ 68008 w 1468659"/>
                <a:gd name="connsiteY838" fmla="*/ 537115 h 1218057"/>
                <a:gd name="connsiteX839" fmla="*/ 66103 w 1468659"/>
                <a:gd name="connsiteY839" fmla="*/ 534162 h 1218057"/>
                <a:gd name="connsiteX840" fmla="*/ 64103 w 1468659"/>
                <a:gd name="connsiteY840" fmla="*/ 531209 h 1218057"/>
                <a:gd name="connsiteX841" fmla="*/ 59341 w 1468659"/>
                <a:gd name="connsiteY841" fmla="*/ 531781 h 1218057"/>
                <a:gd name="connsiteX842" fmla="*/ 50863 w 1468659"/>
                <a:gd name="connsiteY842" fmla="*/ 528066 h 1218057"/>
                <a:gd name="connsiteX843" fmla="*/ 53816 w 1468659"/>
                <a:gd name="connsiteY843" fmla="*/ 526066 h 1218057"/>
                <a:gd name="connsiteX844" fmla="*/ 53626 w 1468659"/>
                <a:gd name="connsiteY844" fmla="*/ 524447 h 1218057"/>
                <a:gd name="connsiteX845" fmla="*/ 40576 w 1468659"/>
                <a:gd name="connsiteY845" fmla="*/ 522922 h 1218057"/>
                <a:gd name="connsiteX846" fmla="*/ 39243 w 1468659"/>
                <a:gd name="connsiteY846" fmla="*/ 524732 h 1218057"/>
                <a:gd name="connsiteX847" fmla="*/ 39433 w 1468659"/>
                <a:gd name="connsiteY847" fmla="*/ 526256 h 1218057"/>
                <a:gd name="connsiteX848" fmla="*/ 46101 w 1468659"/>
                <a:gd name="connsiteY848" fmla="*/ 528638 h 1218057"/>
                <a:gd name="connsiteX849" fmla="*/ 48101 w 1468659"/>
                <a:gd name="connsiteY849" fmla="*/ 531590 h 1218057"/>
                <a:gd name="connsiteX850" fmla="*/ 46768 w 1468659"/>
                <a:gd name="connsiteY850" fmla="*/ 533400 h 1218057"/>
                <a:gd name="connsiteX851" fmla="*/ 43720 w 1468659"/>
                <a:gd name="connsiteY851" fmla="*/ 535400 h 1218057"/>
                <a:gd name="connsiteX852" fmla="*/ 41434 w 1468659"/>
                <a:gd name="connsiteY852" fmla="*/ 542068 h 1218057"/>
                <a:gd name="connsiteX853" fmla="*/ 41624 w 1468659"/>
                <a:gd name="connsiteY853" fmla="*/ 543687 h 1218057"/>
                <a:gd name="connsiteX854" fmla="*/ 40481 w 1468659"/>
                <a:gd name="connsiteY854" fmla="*/ 547021 h 1218057"/>
                <a:gd name="connsiteX855" fmla="*/ 39433 w 1468659"/>
                <a:gd name="connsiteY855" fmla="*/ 551974 h 1218057"/>
                <a:gd name="connsiteX856" fmla="*/ 42863 w 1468659"/>
                <a:gd name="connsiteY856" fmla="*/ 553117 h 1218057"/>
                <a:gd name="connsiteX857" fmla="*/ 44386 w 1468659"/>
                <a:gd name="connsiteY857" fmla="*/ 565785 h 1218057"/>
                <a:gd name="connsiteX858" fmla="*/ 43244 w 1468659"/>
                <a:gd name="connsiteY858" fmla="*/ 569119 h 1218057"/>
                <a:gd name="connsiteX859" fmla="*/ 32385 w 1468659"/>
                <a:gd name="connsiteY859" fmla="*/ 572072 h 1218057"/>
                <a:gd name="connsiteX860" fmla="*/ 32575 w 1468659"/>
                <a:gd name="connsiteY860" fmla="*/ 573691 h 1218057"/>
                <a:gd name="connsiteX861" fmla="*/ 35433 w 1468659"/>
                <a:gd name="connsiteY861" fmla="*/ 582930 h 1218057"/>
                <a:gd name="connsiteX862" fmla="*/ 42481 w 1468659"/>
                <a:gd name="connsiteY862" fmla="*/ 588455 h 1218057"/>
                <a:gd name="connsiteX863" fmla="*/ 44482 w 1468659"/>
                <a:gd name="connsiteY863" fmla="*/ 591407 h 1218057"/>
                <a:gd name="connsiteX864" fmla="*/ 42386 w 1468659"/>
                <a:gd name="connsiteY864" fmla="*/ 599694 h 1218057"/>
                <a:gd name="connsiteX865" fmla="*/ 50292 w 1468659"/>
                <a:gd name="connsiteY865" fmla="*/ 611505 h 1218057"/>
                <a:gd name="connsiteX866" fmla="*/ 51054 w 1468659"/>
                <a:gd name="connsiteY866" fmla="*/ 617792 h 1218057"/>
                <a:gd name="connsiteX867" fmla="*/ 49911 w 1468659"/>
                <a:gd name="connsiteY867" fmla="*/ 621221 h 1218057"/>
                <a:gd name="connsiteX868" fmla="*/ 47720 w 1468659"/>
                <a:gd name="connsiteY868" fmla="*/ 629507 h 1218057"/>
                <a:gd name="connsiteX869" fmla="*/ 34957 w 1468659"/>
                <a:gd name="connsiteY869" fmla="*/ 642366 h 1218057"/>
                <a:gd name="connsiteX870" fmla="*/ 31147 w 1468659"/>
                <a:gd name="connsiteY870" fmla="*/ 637984 h 1218057"/>
                <a:gd name="connsiteX871" fmla="*/ 27813 w 1468659"/>
                <a:gd name="connsiteY871" fmla="*/ 636842 h 1218057"/>
                <a:gd name="connsiteX872" fmla="*/ 25813 w 1468659"/>
                <a:gd name="connsiteY872" fmla="*/ 633889 h 1218057"/>
                <a:gd name="connsiteX873" fmla="*/ 24289 w 1468659"/>
                <a:gd name="connsiteY873" fmla="*/ 634079 h 1218057"/>
                <a:gd name="connsiteX874" fmla="*/ 24670 w 1468659"/>
                <a:gd name="connsiteY874" fmla="*/ 637222 h 1218057"/>
                <a:gd name="connsiteX875" fmla="*/ 15049 w 1468659"/>
                <a:gd name="connsiteY875" fmla="*/ 649700 h 1218057"/>
                <a:gd name="connsiteX876" fmla="*/ 13240 w 1468659"/>
                <a:gd name="connsiteY876" fmla="*/ 661130 h 1218057"/>
                <a:gd name="connsiteX877" fmla="*/ 5048 w 1468659"/>
                <a:gd name="connsiteY877" fmla="*/ 671798 h 1218057"/>
                <a:gd name="connsiteX878" fmla="*/ 7048 w 1468659"/>
                <a:gd name="connsiteY878" fmla="*/ 674751 h 1218057"/>
                <a:gd name="connsiteX879" fmla="*/ 6191 w 1468659"/>
                <a:gd name="connsiteY879" fmla="*/ 681228 h 1218057"/>
                <a:gd name="connsiteX880" fmla="*/ 6858 w 1468659"/>
                <a:gd name="connsiteY880" fmla="*/ 685990 h 1218057"/>
                <a:gd name="connsiteX881" fmla="*/ 1524 w 1468659"/>
                <a:gd name="connsiteY881" fmla="*/ 694658 h 1218057"/>
                <a:gd name="connsiteX882" fmla="*/ 2096 w 1468659"/>
                <a:gd name="connsiteY882" fmla="*/ 699421 h 1218057"/>
                <a:gd name="connsiteX883" fmla="*/ 0 w 1468659"/>
                <a:gd name="connsiteY883" fmla="*/ 707707 h 1218057"/>
                <a:gd name="connsiteX884" fmla="*/ 3905 w 1468659"/>
                <a:gd name="connsiteY884" fmla="*/ 713613 h 1218057"/>
                <a:gd name="connsiteX885" fmla="*/ 10668 w 1468659"/>
                <a:gd name="connsiteY885" fmla="*/ 715994 h 1218057"/>
                <a:gd name="connsiteX886" fmla="*/ 9715 w 1468659"/>
                <a:gd name="connsiteY886" fmla="*/ 720947 h 1218057"/>
                <a:gd name="connsiteX887" fmla="*/ 10668 w 1468659"/>
                <a:gd name="connsiteY887" fmla="*/ 728853 h 1218057"/>
                <a:gd name="connsiteX888" fmla="*/ 15621 w 1468659"/>
                <a:gd name="connsiteY888" fmla="*/ 729805 h 1218057"/>
                <a:gd name="connsiteX889" fmla="*/ 18383 w 1468659"/>
                <a:gd name="connsiteY889" fmla="*/ 726186 h 1218057"/>
                <a:gd name="connsiteX890" fmla="*/ 25527 w 1468659"/>
                <a:gd name="connsiteY890" fmla="*/ 731710 h 1218057"/>
                <a:gd name="connsiteX891" fmla="*/ 28289 w 1468659"/>
                <a:gd name="connsiteY891" fmla="*/ 728186 h 1218057"/>
                <a:gd name="connsiteX892" fmla="*/ 31242 w 1468659"/>
                <a:gd name="connsiteY892" fmla="*/ 726186 h 1218057"/>
                <a:gd name="connsiteX893" fmla="*/ 38957 w 1468659"/>
                <a:gd name="connsiteY893" fmla="*/ 736473 h 1218057"/>
                <a:gd name="connsiteX894" fmla="*/ 36767 w 1468659"/>
                <a:gd name="connsiteY894" fmla="*/ 744760 h 1218057"/>
                <a:gd name="connsiteX895" fmla="*/ 40957 w 1468659"/>
                <a:gd name="connsiteY895" fmla="*/ 752189 h 1218057"/>
                <a:gd name="connsiteX896" fmla="*/ 52006 w 1468659"/>
                <a:gd name="connsiteY896" fmla="*/ 763619 h 1218057"/>
                <a:gd name="connsiteX897" fmla="*/ 51435 w 1468659"/>
                <a:gd name="connsiteY897" fmla="*/ 758952 h 1218057"/>
                <a:gd name="connsiteX898" fmla="*/ 54388 w 1468659"/>
                <a:gd name="connsiteY898" fmla="*/ 756952 h 1218057"/>
                <a:gd name="connsiteX899" fmla="*/ 58483 w 1468659"/>
                <a:gd name="connsiteY899" fmla="*/ 751618 h 1218057"/>
                <a:gd name="connsiteX900" fmla="*/ 64960 w 1468659"/>
                <a:gd name="connsiteY900" fmla="*/ 752380 h 1218057"/>
                <a:gd name="connsiteX901" fmla="*/ 66770 w 1468659"/>
                <a:gd name="connsiteY901" fmla="*/ 753713 h 1218057"/>
                <a:gd name="connsiteX902" fmla="*/ 61055 w 1468659"/>
                <a:gd name="connsiteY902" fmla="*/ 759238 h 1218057"/>
                <a:gd name="connsiteX903" fmla="*/ 59912 w 1468659"/>
                <a:gd name="connsiteY903" fmla="*/ 762667 h 1218057"/>
                <a:gd name="connsiteX904" fmla="*/ 69818 w 1468659"/>
                <a:gd name="connsiteY904" fmla="*/ 777430 h 1218057"/>
                <a:gd name="connsiteX905" fmla="*/ 71247 w 1468659"/>
                <a:gd name="connsiteY905" fmla="*/ 788480 h 1218057"/>
                <a:gd name="connsiteX906" fmla="*/ 72771 w 1468659"/>
                <a:gd name="connsiteY906" fmla="*/ 788289 h 1218057"/>
                <a:gd name="connsiteX907" fmla="*/ 74771 w 1468659"/>
                <a:gd name="connsiteY907" fmla="*/ 791242 h 1218057"/>
                <a:gd name="connsiteX908" fmla="*/ 82486 w 1468659"/>
                <a:gd name="connsiteY908" fmla="*/ 814292 h 1218057"/>
                <a:gd name="connsiteX909" fmla="*/ 87630 w 1468659"/>
                <a:gd name="connsiteY909" fmla="*/ 816864 h 1218057"/>
                <a:gd name="connsiteX910" fmla="*/ 92773 w 1468659"/>
                <a:gd name="connsiteY910" fmla="*/ 819340 h 1218057"/>
                <a:gd name="connsiteX911" fmla="*/ 91630 w 1468659"/>
                <a:gd name="connsiteY911" fmla="*/ 822770 h 1218057"/>
                <a:gd name="connsiteX912" fmla="*/ 94202 w 1468659"/>
                <a:gd name="connsiteY912" fmla="*/ 830389 h 1218057"/>
                <a:gd name="connsiteX913" fmla="*/ 97726 w 1468659"/>
                <a:gd name="connsiteY913" fmla="*/ 833152 h 1218057"/>
                <a:gd name="connsiteX914" fmla="*/ 104108 w 1468659"/>
                <a:gd name="connsiteY914" fmla="*/ 832390 h 1218057"/>
                <a:gd name="connsiteX915" fmla="*/ 105823 w 1468659"/>
                <a:gd name="connsiteY915" fmla="*/ 833723 h 1218057"/>
                <a:gd name="connsiteX916" fmla="*/ 114871 w 1468659"/>
                <a:gd name="connsiteY916" fmla="*/ 829437 h 1218057"/>
                <a:gd name="connsiteX917" fmla="*/ 126778 w 1468659"/>
                <a:gd name="connsiteY917" fmla="*/ 834295 h 1218057"/>
                <a:gd name="connsiteX918" fmla="*/ 132683 w 1468659"/>
                <a:gd name="connsiteY918" fmla="*/ 830294 h 1218057"/>
                <a:gd name="connsiteX919" fmla="*/ 136779 w 1468659"/>
                <a:gd name="connsiteY919" fmla="*/ 824960 h 1218057"/>
                <a:gd name="connsiteX920" fmla="*/ 141922 w 1468659"/>
                <a:gd name="connsiteY920" fmla="*/ 827532 h 1218057"/>
                <a:gd name="connsiteX921" fmla="*/ 142970 w 1468659"/>
                <a:gd name="connsiteY921" fmla="*/ 835438 h 1218057"/>
                <a:gd name="connsiteX922" fmla="*/ 151067 w 1468659"/>
                <a:gd name="connsiteY922" fmla="*/ 848868 h 1218057"/>
                <a:gd name="connsiteX923" fmla="*/ 148685 w 1468659"/>
                <a:gd name="connsiteY923" fmla="*/ 855536 h 1218057"/>
                <a:gd name="connsiteX924" fmla="*/ 160020 w 1468659"/>
                <a:gd name="connsiteY924" fmla="*/ 881348 h 1218057"/>
                <a:gd name="connsiteX925" fmla="*/ 160401 w 1468659"/>
                <a:gd name="connsiteY925" fmla="*/ 884491 h 1218057"/>
                <a:gd name="connsiteX926" fmla="*/ 164401 w 1468659"/>
                <a:gd name="connsiteY926" fmla="*/ 890492 h 1218057"/>
                <a:gd name="connsiteX927" fmla="*/ 170688 w 1468659"/>
                <a:gd name="connsiteY927" fmla="*/ 889635 h 1218057"/>
                <a:gd name="connsiteX928" fmla="*/ 180594 w 1468659"/>
                <a:gd name="connsiteY928" fmla="*/ 891635 h 1218057"/>
                <a:gd name="connsiteX929" fmla="*/ 176594 w 1468659"/>
                <a:gd name="connsiteY929" fmla="*/ 898493 h 1218057"/>
                <a:gd name="connsiteX930" fmla="*/ 183737 w 1468659"/>
                <a:gd name="connsiteY930" fmla="*/ 904018 h 1218057"/>
                <a:gd name="connsiteX931" fmla="*/ 182975 w 1468659"/>
                <a:gd name="connsiteY931" fmla="*/ 910495 h 1218057"/>
                <a:gd name="connsiteX932" fmla="*/ 194881 w 1468659"/>
                <a:gd name="connsiteY932" fmla="*/ 928306 h 1218057"/>
                <a:gd name="connsiteX933" fmla="*/ 190405 w 1468659"/>
                <a:gd name="connsiteY933" fmla="*/ 943261 h 1218057"/>
                <a:gd name="connsiteX934" fmla="*/ 187833 w 1468659"/>
                <a:gd name="connsiteY934" fmla="*/ 948404 h 1218057"/>
                <a:gd name="connsiteX935" fmla="*/ 193357 w 1468659"/>
                <a:gd name="connsiteY935" fmla="*/ 954119 h 1218057"/>
                <a:gd name="connsiteX936" fmla="*/ 208597 w 1468659"/>
                <a:gd name="connsiteY936" fmla="*/ 960215 h 1218057"/>
                <a:gd name="connsiteX937" fmla="*/ 216217 w 1468659"/>
                <a:gd name="connsiteY937" fmla="*/ 957644 h 1218057"/>
                <a:gd name="connsiteX938" fmla="*/ 218408 w 1468659"/>
                <a:gd name="connsiteY938" fmla="*/ 962120 h 1218057"/>
                <a:gd name="connsiteX939" fmla="*/ 224504 w 1468659"/>
                <a:gd name="connsiteY939" fmla="*/ 959739 h 1218057"/>
                <a:gd name="connsiteX940" fmla="*/ 236220 w 1468659"/>
                <a:gd name="connsiteY940" fmla="*/ 963073 h 1218057"/>
                <a:gd name="connsiteX941" fmla="*/ 247079 w 1468659"/>
                <a:gd name="connsiteY941" fmla="*/ 972979 h 1218057"/>
                <a:gd name="connsiteX942" fmla="*/ 253937 w 1468659"/>
                <a:gd name="connsiteY942" fmla="*/ 976884 h 1218057"/>
                <a:gd name="connsiteX943" fmla="*/ 265462 w 1468659"/>
                <a:gd name="connsiteY943" fmla="*/ 991457 h 1218057"/>
                <a:gd name="connsiteX944" fmla="*/ 270986 w 1468659"/>
                <a:gd name="connsiteY944" fmla="*/ 997172 h 1218057"/>
                <a:gd name="connsiteX945" fmla="*/ 271367 w 1468659"/>
                <a:gd name="connsiteY945" fmla="*/ 1000315 h 1218057"/>
                <a:gd name="connsiteX946" fmla="*/ 274796 w 1468659"/>
                <a:gd name="connsiteY946" fmla="*/ 1001458 h 1218057"/>
                <a:gd name="connsiteX947" fmla="*/ 275368 w 1468659"/>
                <a:gd name="connsiteY947" fmla="*/ 1006221 h 1218057"/>
                <a:gd name="connsiteX948" fmla="*/ 286417 w 1468659"/>
                <a:gd name="connsiteY948" fmla="*/ 1017651 h 1218057"/>
                <a:gd name="connsiteX949" fmla="*/ 289560 w 1468659"/>
                <a:gd name="connsiteY949" fmla="*/ 1017270 h 1218057"/>
                <a:gd name="connsiteX950" fmla="*/ 293180 w 1468659"/>
                <a:gd name="connsiteY950" fmla="*/ 1019937 h 1218057"/>
                <a:gd name="connsiteX951" fmla="*/ 297275 w 1468659"/>
                <a:gd name="connsiteY951" fmla="*/ 1027462 h 1218057"/>
                <a:gd name="connsiteX952" fmla="*/ 306991 w 1468659"/>
                <a:gd name="connsiteY952" fmla="*/ 1027843 h 1218057"/>
                <a:gd name="connsiteX953" fmla="*/ 312515 w 1468659"/>
                <a:gd name="connsiteY953" fmla="*/ 1033558 h 1218057"/>
                <a:gd name="connsiteX954" fmla="*/ 317278 w 1468659"/>
                <a:gd name="connsiteY954" fmla="*/ 1032986 h 1218057"/>
                <a:gd name="connsiteX955" fmla="*/ 330327 w 1468659"/>
                <a:gd name="connsiteY955" fmla="*/ 1034510 h 1218057"/>
                <a:gd name="connsiteX956" fmla="*/ 333851 w 1468659"/>
                <a:gd name="connsiteY956" fmla="*/ 1037272 h 1218057"/>
                <a:gd name="connsiteX957" fmla="*/ 334804 w 1468659"/>
                <a:gd name="connsiteY957" fmla="*/ 1045178 h 1218057"/>
                <a:gd name="connsiteX958" fmla="*/ 336423 w 1468659"/>
                <a:gd name="connsiteY958" fmla="*/ 1044988 h 1218057"/>
                <a:gd name="connsiteX959" fmla="*/ 333851 w 1468659"/>
                <a:gd name="connsiteY959" fmla="*/ 1050036 h 1218057"/>
                <a:gd name="connsiteX960" fmla="*/ 340138 w 1468659"/>
                <a:gd name="connsiteY960" fmla="*/ 1049274 h 1218057"/>
                <a:gd name="connsiteX961" fmla="*/ 338995 w 1468659"/>
                <a:gd name="connsiteY961" fmla="*/ 1052608 h 1218057"/>
                <a:gd name="connsiteX962" fmla="*/ 344329 w 1468659"/>
                <a:gd name="connsiteY962" fmla="*/ 1056799 h 1218057"/>
                <a:gd name="connsiteX963" fmla="*/ 346520 w 1468659"/>
                <a:gd name="connsiteY963" fmla="*/ 1061275 h 1218057"/>
                <a:gd name="connsiteX964" fmla="*/ 344900 w 1468659"/>
                <a:gd name="connsiteY964" fmla="*/ 1061466 h 1218057"/>
                <a:gd name="connsiteX965" fmla="*/ 343567 w 1468659"/>
                <a:gd name="connsiteY965" fmla="*/ 1063276 h 1218057"/>
                <a:gd name="connsiteX966" fmla="*/ 350710 w 1468659"/>
                <a:gd name="connsiteY966" fmla="*/ 1068800 h 1218057"/>
                <a:gd name="connsiteX967" fmla="*/ 351092 w 1468659"/>
                <a:gd name="connsiteY967" fmla="*/ 1071944 h 1218057"/>
                <a:gd name="connsiteX968" fmla="*/ 354425 w 1468659"/>
                <a:gd name="connsiteY968" fmla="*/ 1073087 h 1218057"/>
                <a:gd name="connsiteX969" fmla="*/ 358997 w 1468659"/>
                <a:gd name="connsiteY969" fmla="*/ 1070896 h 1218057"/>
                <a:gd name="connsiteX970" fmla="*/ 365855 w 1468659"/>
                <a:gd name="connsiteY970" fmla="*/ 1074896 h 1218057"/>
                <a:gd name="connsiteX971" fmla="*/ 369284 w 1468659"/>
                <a:gd name="connsiteY971" fmla="*/ 1076039 h 1218057"/>
                <a:gd name="connsiteX972" fmla="*/ 368903 w 1468659"/>
                <a:gd name="connsiteY972" fmla="*/ 1085659 h 1218057"/>
                <a:gd name="connsiteX973" fmla="*/ 368141 w 1468659"/>
                <a:gd name="connsiteY973" fmla="*/ 1092232 h 1218057"/>
                <a:gd name="connsiteX974" fmla="*/ 364141 w 1468659"/>
                <a:gd name="connsiteY974" fmla="*/ 1099185 h 1218057"/>
                <a:gd name="connsiteX975" fmla="*/ 355663 w 1468659"/>
                <a:gd name="connsiteY975" fmla="*/ 1095375 h 1218057"/>
                <a:gd name="connsiteX976" fmla="*/ 343281 w 1468659"/>
                <a:gd name="connsiteY976" fmla="*/ 1098614 h 1218057"/>
                <a:gd name="connsiteX977" fmla="*/ 342709 w 1468659"/>
                <a:gd name="connsiteY977" fmla="*/ 1106710 h 1218057"/>
                <a:gd name="connsiteX978" fmla="*/ 338138 w 1468659"/>
                <a:gd name="connsiteY978" fmla="*/ 1108900 h 1218057"/>
                <a:gd name="connsiteX979" fmla="*/ 335375 w 1468659"/>
                <a:gd name="connsiteY979" fmla="*/ 1112425 h 1218057"/>
                <a:gd name="connsiteX980" fmla="*/ 333851 w 1468659"/>
                <a:gd name="connsiteY980" fmla="*/ 1112615 h 1218057"/>
                <a:gd name="connsiteX981" fmla="*/ 342900 w 1468659"/>
                <a:gd name="connsiteY981" fmla="*/ 1121092 h 1218057"/>
                <a:gd name="connsiteX982" fmla="*/ 343091 w 1468659"/>
                <a:gd name="connsiteY982" fmla="*/ 1122712 h 1218057"/>
                <a:gd name="connsiteX983" fmla="*/ 348425 w 1468659"/>
                <a:gd name="connsiteY983" fmla="*/ 1126807 h 1218057"/>
                <a:gd name="connsiteX984" fmla="*/ 347091 w 1468659"/>
                <a:gd name="connsiteY984" fmla="*/ 1128617 h 1218057"/>
                <a:gd name="connsiteX985" fmla="*/ 356521 w 1468659"/>
                <a:gd name="connsiteY985" fmla="*/ 1127379 h 1218057"/>
                <a:gd name="connsiteX986" fmla="*/ 359950 w 1468659"/>
                <a:gd name="connsiteY986" fmla="*/ 1128522 h 1218057"/>
                <a:gd name="connsiteX987" fmla="*/ 359569 w 1468659"/>
                <a:gd name="connsiteY987" fmla="*/ 1138238 h 1218057"/>
                <a:gd name="connsiteX988" fmla="*/ 354806 w 1468659"/>
                <a:gd name="connsiteY988" fmla="*/ 1138809 h 1218057"/>
                <a:gd name="connsiteX989" fmla="*/ 356806 w 1468659"/>
                <a:gd name="connsiteY989" fmla="*/ 1141762 h 1218057"/>
                <a:gd name="connsiteX990" fmla="*/ 355568 w 1468659"/>
                <a:gd name="connsiteY990" fmla="*/ 1145096 h 1218057"/>
                <a:gd name="connsiteX991" fmla="*/ 362331 w 1468659"/>
                <a:gd name="connsiteY991" fmla="*/ 1147477 h 1218057"/>
                <a:gd name="connsiteX992" fmla="*/ 362712 w 1468659"/>
                <a:gd name="connsiteY992" fmla="*/ 1150620 h 1218057"/>
                <a:gd name="connsiteX993" fmla="*/ 364903 w 1468659"/>
                <a:gd name="connsiteY993" fmla="*/ 1155192 h 1218057"/>
                <a:gd name="connsiteX994" fmla="*/ 370808 w 1468659"/>
                <a:gd name="connsiteY994" fmla="*/ 1151191 h 1218057"/>
                <a:gd name="connsiteX995" fmla="*/ 375761 w 1468659"/>
                <a:gd name="connsiteY995" fmla="*/ 1152239 h 1218057"/>
                <a:gd name="connsiteX996" fmla="*/ 373189 w 1468659"/>
                <a:gd name="connsiteY996" fmla="*/ 1157288 h 1218057"/>
                <a:gd name="connsiteX997" fmla="*/ 374237 w 1468659"/>
                <a:gd name="connsiteY997" fmla="*/ 1165193 h 1218057"/>
                <a:gd name="connsiteX998" fmla="*/ 375761 w 1468659"/>
                <a:gd name="connsiteY998" fmla="*/ 1165003 h 1218057"/>
                <a:gd name="connsiteX999" fmla="*/ 378333 w 1468659"/>
                <a:gd name="connsiteY999" fmla="*/ 1159859 h 1218057"/>
                <a:gd name="connsiteX1000" fmla="*/ 394525 w 1468659"/>
                <a:gd name="connsiteY1000" fmla="*/ 1161002 h 1218057"/>
                <a:gd name="connsiteX1001" fmla="*/ 394525 w 1468659"/>
                <a:gd name="connsiteY1001" fmla="*/ 1161002 h 1218057"/>
                <a:gd name="connsiteX1002" fmla="*/ 396335 w 1468659"/>
                <a:gd name="connsiteY1002" fmla="*/ 1162431 h 1218057"/>
                <a:gd name="connsiteX1003" fmla="*/ 393954 w 1468659"/>
                <a:gd name="connsiteY1003" fmla="*/ 1169098 h 1218057"/>
                <a:gd name="connsiteX1004" fmla="*/ 400812 w 1468659"/>
                <a:gd name="connsiteY1004" fmla="*/ 1173004 h 1218057"/>
                <a:gd name="connsiteX1005" fmla="*/ 410337 w 1468659"/>
                <a:gd name="connsiteY1005" fmla="*/ 1171861 h 1218057"/>
                <a:gd name="connsiteX1006" fmla="*/ 420529 w 1468659"/>
                <a:gd name="connsiteY1006" fmla="*/ 1164146 h 1218057"/>
                <a:gd name="connsiteX1007" fmla="*/ 429101 w 1468659"/>
                <a:gd name="connsiteY1007" fmla="*/ 1167860 h 1218057"/>
                <a:gd name="connsiteX1008" fmla="*/ 435197 w 1468659"/>
                <a:gd name="connsiteY1008" fmla="*/ 1165479 h 1218057"/>
                <a:gd name="connsiteX1009" fmla="*/ 440531 w 1468659"/>
                <a:gd name="connsiteY1009" fmla="*/ 1169575 h 1218057"/>
                <a:gd name="connsiteX1010" fmla="*/ 442055 w 1468659"/>
                <a:gd name="connsiteY1010" fmla="*/ 1169384 h 1218057"/>
                <a:gd name="connsiteX1011" fmla="*/ 442722 w 1468659"/>
                <a:gd name="connsiteY1011" fmla="*/ 1174147 h 1218057"/>
                <a:gd name="connsiteX1012" fmla="*/ 451961 w 1468659"/>
                <a:gd name="connsiteY1012" fmla="*/ 1171384 h 1218057"/>
                <a:gd name="connsiteX1013" fmla="*/ 453580 w 1468659"/>
                <a:gd name="connsiteY1013" fmla="*/ 1171099 h 1218057"/>
                <a:gd name="connsiteX1014" fmla="*/ 453295 w 1468659"/>
                <a:gd name="connsiteY1014" fmla="*/ 1169575 h 1218057"/>
                <a:gd name="connsiteX1015" fmla="*/ 456533 w 1468659"/>
                <a:gd name="connsiteY1015" fmla="*/ 1169194 h 1218057"/>
                <a:gd name="connsiteX1016" fmla="*/ 459867 w 1468659"/>
                <a:gd name="connsiteY1016" fmla="*/ 1170337 h 1218057"/>
                <a:gd name="connsiteX1017" fmla="*/ 466344 w 1468659"/>
                <a:gd name="connsiteY1017" fmla="*/ 1171099 h 1218057"/>
                <a:gd name="connsiteX1018" fmla="*/ 479965 w 1468659"/>
                <a:gd name="connsiteY1018" fmla="*/ 1177385 h 1218057"/>
                <a:gd name="connsiteX1019" fmla="*/ 488251 w 1468659"/>
                <a:gd name="connsiteY1019" fmla="*/ 1179576 h 1218057"/>
                <a:gd name="connsiteX1020" fmla="*/ 496824 w 1468659"/>
                <a:gd name="connsiteY1020" fmla="*/ 1183291 h 1218057"/>
                <a:gd name="connsiteX1021" fmla="*/ 497396 w 1468659"/>
                <a:gd name="connsiteY1021" fmla="*/ 1188053 h 1218057"/>
                <a:gd name="connsiteX1022" fmla="*/ 511207 w 1468659"/>
                <a:gd name="connsiteY1022" fmla="*/ 1183005 h 1218057"/>
                <a:gd name="connsiteX1023" fmla="*/ 521017 w 1468659"/>
                <a:gd name="connsiteY1023" fmla="*/ 1185005 h 1218057"/>
                <a:gd name="connsiteX1024" fmla="*/ 527018 w 1468659"/>
                <a:gd name="connsiteY1024" fmla="*/ 1193864 h 1218057"/>
                <a:gd name="connsiteX1025" fmla="*/ 549307 w 1468659"/>
                <a:gd name="connsiteY1025" fmla="*/ 1205484 h 1218057"/>
                <a:gd name="connsiteX1026" fmla="*/ 555879 w 1468659"/>
                <a:gd name="connsiteY1026" fmla="*/ 1206246 h 1218057"/>
                <a:gd name="connsiteX1027" fmla="*/ 558832 w 1468659"/>
                <a:gd name="connsiteY1027" fmla="*/ 1204246 h 1218057"/>
                <a:gd name="connsiteX1028" fmla="*/ 560165 w 1468659"/>
                <a:gd name="connsiteY1028" fmla="*/ 1215295 h 1218057"/>
                <a:gd name="connsiteX1029" fmla="*/ 563785 w 1468659"/>
                <a:gd name="connsiteY1029" fmla="*/ 1218057 h 1218057"/>
                <a:gd name="connsiteX1030" fmla="*/ 571405 w 1468659"/>
                <a:gd name="connsiteY1030" fmla="*/ 1215485 h 1218057"/>
                <a:gd name="connsiteX1031" fmla="*/ 573786 w 1468659"/>
                <a:gd name="connsiteY1031" fmla="*/ 1208723 h 1218057"/>
                <a:gd name="connsiteX1032" fmla="*/ 579882 w 1468659"/>
                <a:gd name="connsiteY1032" fmla="*/ 1206341 h 1218057"/>
                <a:gd name="connsiteX1033" fmla="*/ 579120 w 1468659"/>
                <a:gd name="connsiteY1033" fmla="*/ 1200055 h 1218057"/>
                <a:gd name="connsiteX1034" fmla="*/ 583025 w 1468659"/>
                <a:gd name="connsiteY1034" fmla="*/ 1193102 h 1218057"/>
                <a:gd name="connsiteX1035" fmla="*/ 589312 w 1468659"/>
                <a:gd name="connsiteY1035" fmla="*/ 1192339 h 1218057"/>
                <a:gd name="connsiteX1036" fmla="*/ 591693 w 1468659"/>
                <a:gd name="connsiteY1036" fmla="*/ 1198436 h 1218057"/>
                <a:gd name="connsiteX1037" fmla="*/ 595122 w 1468659"/>
                <a:gd name="connsiteY1037" fmla="*/ 1199579 h 1218057"/>
                <a:gd name="connsiteX1038" fmla="*/ 599789 w 1468659"/>
                <a:gd name="connsiteY1038" fmla="*/ 1199007 h 1218057"/>
                <a:gd name="connsiteX1039" fmla="*/ 604361 w 1468659"/>
                <a:gd name="connsiteY1039" fmla="*/ 1196816 h 1218057"/>
                <a:gd name="connsiteX1040" fmla="*/ 608267 w 1468659"/>
                <a:gd name="connsiteY1040" fmla="*/ 1189958 h 1218057"/>
                <a:gd name="connsiteX1041" fmla="*/ 606076 w 1468659"/>
                <a:gd name="connsiteY1041" fmla="*/ 1185386 h 1218057"/>
                <a:gd name="connsiteX1042" fmla="*/ 604076 w 1468659"/>
                <a:gd name="connsiteY1042" fmla="*/ 1182433 h 1218057"/>
                <a:gd name="connsiteX1043" fmla="*/ 602933 w 1468659"/>
                <a:gd name="connsiteY1043" fmla="*/ 1173004 h 1218057"/>
                <a:gd name="connsiteX1044" fmla="*/ 605885 w 1468659"/>
                <a:gd name="connsiteY1044" fmla="*/ 1171004 h 1218057"/>
                <a:gd name="connsiteX1045" fmla="*/ 609409 w 1468659"/>
                <a:gd name="connsiteY1045" fmla="*/ 1173766 h 1218057"/>
                <a:gd name="connsiteX1046" fmla="*/ 615696 w 1468659"/>
                <a:gd name="connsiteY1046" fmla="*/ 1172908 h 1218057"/>
                <a:gd name="connsiteX1047" fmla="*/ 617315 w 1468659"/>
                <a:gd name="connsiteY1047" fmla="*/ 1172718 h 1218057"/>
                <a:gd name="connsiteX1048" fmla="*/ 623792 w 1468659"/>
                <a:gd name="connsiteY1048" fmla="*/ 1173480 h 1218057"/>
                <a:gd name="connsiteX1049" fmla="*/ 630746 w 1468659"/>
                <a:gd name="connsiteY1049" fmla="*/ 1177481 h 1218057"/>
                <a:gd name="connsiteX1050" fmla="*/ 635698 w 1468659"/>
                <a:gd name="connsiteY1050" fmla="*/ 1178433 h 1218057"/>
                <a:gd name="connsiteX1051" fmla="*/ 637604 w 1468659"/>
                <a:gd name="connsiteY1051" fmla="*/ 1168527 h 1218057"/>
                <a:gd name="connsiteX1052" fmla="*/ 643509 w 1468659"/>
                <a:gd name="connsiteY1052" fmla="*/ 1164527 h 1218057"/>
                <a:gd name="connsiteX1053" fmla="*/ 644271 w 1468659"/>
                <a:gd name="connsiteY1053" fmla="*/ 1158049 h 1218057"/>
                <a:gd name="connsiteX1054" fmla="*/ 648081 w 1468659"/>
                <a:gd name="connsiteY1054" fmla="*/ 1149572 h 1218057"/>
                <a:gd name="connsiteX1055" fmla="*/ 647033 w 1468659"/>
                <a:gd name="connsiteY1055" fmla="*/ 1141666 h 1218057"/>
                <a:gd name="connsiteX1056" fmla="*/ 651129 w 1468659"/>
                <a:gd name="connsiteY1056" fmla="*/ 1136332 h 1218057"/>
                <a:gd name="connsiteX1057" fmla="*/ 654558 w 1468659"/>
                <a:gd name="connsiteY1057" fmla="*/ 1137475 h 1218057"/>
                <a:gd name="connsiteX1058" fmla="*/ 651701 w 1468659"/>
                <a:gd name="connsiteY1058" fmla="*/ 1128236 h 1218057"/>
                <a:gd name="connsiteX1059" fmla="*/ 644462 w 1468659"/>
                <a:gd name="connsiteY1059" fmla="*/ 1121188 h 1218057"/>
                <a:gd name="connsiteX1060" fmla="*/ 643604 w 1468659"/>
                <a:gd name="connsiteY1060" fmla="*/ 1114806 h 1218057"/>
                <a:gd name="connsiteX1061" fmla="*/ 651510 w 1468659"/>
                <a:gd name="connsiteY1061" fmla="*/ 1113854 h 1218057"/>
                <a:gd name="connsiteX1062" fmla="*/ 654844 w 1468659"/>
                <a:gd name="connsiteY1062" fmla="*/ 1114997 h 1218057"/>
                <a:gd name="connsiteX1063" fmla="*/ 662559 w 1468659"/>
                <a:gd name="connsiteY1063" fmla="*/ 1112425 h 1218057"/>
                <a:gd name="connsiteX1064" fmla="*/ 662368 w 1468659"/>
                <a:gd name="connsiteY1064" fmla="*/ 1110901 h 1218057"/>
                <a:gd name="connsiteX1065" fmla="*/ 664559 w 1468659"/>
                <a:gd name="connsiteY1065" fmla="*/ 1115378 h 1218057"/>
                <a:gd name="connsiteX1066" fmla="*/ 668084 w 1468659"/>
                <a:gd name="connsiteY1066" fmla="*/ 1118140 h 1218057"/>
                <a:gd name="connsiteX1067" fmla="*/ 666559 w 1468659"/>
                <a:gd name="connsiteY1067" fmla="*/ 1118330 h 1218057"/>
                <a:gd name="connsiteX1068" fmla="*/ 666750 w 1468659"/>
                <a:gd name="connsiteY1068" fmla="*/ 1119949 h 1218057"/>
                <a:gd name="connsiteX1069" fmla="*/ 672275 w 1468659"/>
                <a:gd name="connsiteY1069" fmla="*/ 1125664 h 1218057"/>
                <a:gd name="connsiteX1070" fmla="*/ 679133 w 1468659"/>
                <a:gd name="connsiteY1070" fmla="*/ 1129570 h 1218057"/>
                <a:gd name="connsiteX1071" fmla="*/ 681514 w 1468659"/>
                <a:gd name="connsiteY1071" fmla="*/ 1135666 h 1218057"/>
                <a:gd name="connsiteX1072" fmla="*/ 680371 w 1468659"/>
                <a:gd name="connsiteY1072" fmla="*/ 1138999 h 1218057"/>
                <a:gd name="connsiteX1073" fmla="*/ 683895 w 1468659"/>
                <a:gd name="connsiteY1073" fmla="*/ 1141762 h 1218057"/>
                <a:gd name="connsiteX1074" fmla="*/ 687896 w 1468659"/>
                <a:gd name="connsiteY1074" fmla="*/ 1147667 h 1218057"/>
                <a:gd name="connsiteX1075" fmla="*/ 692277 w 1468659"/>
                <a:gd name="connsiteY1075" fmla="*/ 1143953 h 1218057"/>
                <a:gd name="connsiteX1076" fmla="*/ 698563 w 1468659"/>
                <a:gd name="connsiteY1076" fmla="*/ 1143095 h 1218057"/>
                <a:gd name="connsiteX1077" fmla="*/ 704088 w 1468659"/>
                <a:gd name="connsiteY1077" fmla="*/ 1148810 h 1218057"/>
                <a:gd name="connsiteX1078" fmla="*/ 718661 w 1468659"/>
                <a:gd name="connsiteY1078" fmla="*/ 1150144 h 1218057"/>
                <a:gd name="connsiteX1079" fmla="*/ 720662 w 1468659"/>
                <a:gd name="connsiteY1079" fmla="*/ 1153097 h 1218057"/>
                <a:gd name="connsiteX1080" fmla="*/ 723043 w 1468659"/>
                <a:gd name="connsiteY1080" fmla="*/ 1159288 h 1218057"/>
                <a:gd name="connsiteX1081" fmla="*/ 728377 w 1468659"/>
                <a:gd name="connsiteY1081" fmla="*/ 1163383 h 1218057"/>
                <a:gd name="connsiteX1082" fmla="*/ 731330 w 1468659"/>
                <a:gd name="connsiteY1082" fmla="*/ 1161383 h 1218057"/>
                <a:gd name="connsiteX1083" fmla="*/ 730758 w 1468659"/>
                <a:gd name="connsiteY1083" fmla="*/ 1156716 h 1218057"/>
                <a:gd name="connsiteX1084" fmla="*/ 733901 w 1468659"/>
                <a:gd name="connsiteY1084" fmla="*/ 1156240 h 1218057"/>
                <a:gd name="connsiteX1085" fmla="*/ 736854 w 1468659"/>
                <a:gd name="connsiteY1085" fmla="*/ 1154335 h 1218057"/>
                <a:gd name="connsiteX1086" fmla="*/ 739997 w 1468659"/>
                <a:gd name="connsiteY1086" fmla="*/ 1153858 h 1218057"/>
                <a:gd name="connsiteX1087" fmla="*/ 744093 w 1468659"/>
                <a:gd name="connsiteY1087" fmla="*/ 1148524 h 1218057"/>
                <a:gd name="connsiteX1088" fmla="*/ 750475 w 1468659"/>
                <a:gd name="connsiteY1088" fmla="*/ 1147763 h 1218057"/>
                <a:gd name="connsiteX1089" fmla="*/ 755713 w 1468659"/>
                <a:gd name="connsiteY1089" fmla="*/ 1139095 h 1218057"/>
                <a:gd name="connsiteX1090" fmla="*/ 758476 w 1468659"/>
                <a:gd name="connsiteY1090" fmla="*/ 1135475 h 1218057"/>
                <a:gd name="connsiteX1091" fmla="*/ 764858 w 1468659"/>
                <a:gd name="connsiteY1091" fmla="*/ 1134713 h 1218057"/>
                <a:gd name="connsiteX1092" fmla="*/ 769144 w 1468659"/>
                <a:gd name="connsiteY1092" fmla="*/ 1143762 h 1218057"/>
                <a:gd name="connsiteX1093" fmla="*/ 772954 w 1468659"/>
                <a:gd name="connsiteY1093" fmla="*/ 1160907 h 1218057"/>
                <a:gd name="connsiteX1094" fmla="*/ 776383 w 1468659"/>
                <a:gd name="connsiteY1094" fmla="*/ 1162050 h 1218057"/>
                <a:gd name="connsiteX1095" fmla="*/ 779717 w 1468659"/>
                <a:gd name="connsiteY1095" fmla="*/ 1163288 h 1218057"/>
                <a:gd name="connsiteX1096" fmla="*/ 790099 w 1468659"/>
                <a:gd name="connsiteY1096" fmla="*/ 1157097 h 1218057"/>
                <a:gd name="connsiteX1097" fmla="*/ 796671 w 1468659"/>
                <a:gd name="connsiteY1097" fmla="*/ 1170718 h 1218057"/>
                <a:gd name="connsiteX1098" fmla="*/ 802291 w 1468659"/>
                <a:gd name="connsiteY1098" fmla="*/ 1189291 h 1218057"/>
                <a:gd name="connsiteX1099" fmla="*/ 816483 w 1468659"/>
                <a:gd name="connsiteY1099" fmla="*/ 1187482 h 1218057"/>
                <a:gd name="connsiteX1100" fmla="*/ 820769 w 1468659"/>
                <a:gd name="connsiteY1100" fmla="*/ 1183672 h 1218057"/>
                <a:gd name="connsiteX1101" fmla="*/ 821150 w 1468659"/>
                <a:gd name="connsiteY1101" fmla="*/ 1186815 h 1218057"/>
                <a:gd name="connsiteX1102" fmla="*/ 824103 w 1468659"/>
                <a:gd name="connsiteY1102" fmla="*/ 1184910 h 1218057"/>
                <a:gd name="connsiteX1103" fmla="*/ 829437 w 1468659"/>
                <a:gd name="connsiteY1103" fmla="*/ 1189006 h 1218057"/>
                <a:gd name="connsiteX1104" fmla="*/ 833628 w 1468659"/>
                <a:gd name="connsiteY1104" fmla="*/ 1183672 h 1218057"/>
                <a:gd name="connsiteX1105" fmla="*/ 832771 w 1468659"/>
                <a:gd name="connsiteY1105" fmla="*/ 1177385 h 1218057"/>
                <a:gd name="connsiteX1106" fmla="*/ 837343 w 1468659"/>
                <a:gd name="connsiteY1106" fmla="*/ 1175195 h 1218057"/>
                <a:gd name="connsiteX1107" fmla="*/ 836962 w 1468659"/>
                <a:gd name="connsiteY1107" fmla="*/ 1172051 h 1218057"/>
                <a:gd name="connsiteX1108" fmla="*/ 844201 w 1468659"/>
                <a:gd name="connsiteY1108" fmla="*/ 1166241 h 1218057"/>
                <a:gd name="connsiteX1109" fmla="*/ 838676 w 1468659"/>
                <a:gd name="connsiteY1109" fmla="*/ 1147763 h 1218057"/>
                <a:gd name="connsiteX1110" fmla="*/ 845058 w 1468659"/>
                <a:gd name="connsiteY1110" fmla="*/ 1122902 h 1218057"/>
                <a:gd name="connsiteX1111" fmla="*/ 843534 w 1468659"/>
                <a:gd name="connsiteY1111" fmla="*/ 1123093 h 1218057"/>
                <a:gd name="connsiteX1112" fmla="*/ 841915 w 1468659"/>
                <a:gd name="connsiteY1112" fmla="*/ 1110424 h 1218057"/>
                <a:gd name="connsiteX1113" fmla="*/ 837152 w 1468659"/>
                <a:gd name="connsiteY1113" fmla="*/ 1110996 h 1218057"/>
                <a:gd name="connsiteX1114" fmla="*/ 844582 w 1468659"/>
                <a:gd name="connsiteY1114" fmla="*/ 1081183 h 1218057"/>
                <a:gd name="connsiteX1115" fmla="*/ 847344 w 1468659"/>
                <a:gd name="connsiteY1115" fmla="*/ 1077658 h 1218057"/>
                <a:gd name="connsiteX1116" fmla="*/ 847725 w 1468659"/>
                <a:gd name="connsiteY1116" fmla="*/ 1068038 h 1218057"/>
                <a:gd name="connsiteX1117" fmla="*/ 854202 w 1468659"/>
                <a:gd name="connsiteY1117" fmla="*/ 1055941 h 1218057"/>
                <a:gd name="connsiteX1118" fmla="*/ 856964 w 1468659"/>
                <a:gd name="connsiteY1118" fmla="*/ 1052417 h 1218057"/>
                <a:gd name="connsiteX1119" fmla="*/ 867823 w 1468659"/>
                <a:gd name="connsiteY1119" fmla="*/ 1049369 h 1218057"/>
                <a:gd name="connsiteX1120" fmla="*/ 870204 w 1468659"/>
                <a:gd name="connsiteY1120" fmla="*/ 1042702 h 1218057"/>
                <a:gd name="connsiteX1121" fmla="*/ 881253 w 1468659"/>
                <a:gd name="connsiteY1121" fmla="*/ 1041273 h 1218057"/>
                <a:gd name="connsiteX1122" fmla="*/ 889921 w 1468659"/>
                <a:gd name="connsiteY1122" fmla="*/ 1033748 h 1218057"/>
                <a:gd name="connsiteX1123" fmla="*/ 890873 w 1468659"/>
                <a:gd name="connsiteY1123" fmla="*/ 1028795 h 1218057"/>
                <a:gd name="connsiteX1124" fmla="*/ 893635 w 1468659"/>
                <a:gd name="connsiteY1124" fmla="*/ 1025271 h 1218057"/>
                <a:gd name="connsiteX1125" fmla="*/ 894588 w 1468659"/>
                <a:gd name="connsiteY1125" fmla="*/ 1020318 h 1218057"/>
                <a:gd name="connsiteX1126" fmla="*/ 899160 w 1468659"/>
                <a:gd name="connsiteY1126" fmla="*/ 1018127 h 1218057"/>
                <a:gd name="connsiteX1127" fmla="*/ 898874 w 1468659"/>
                <a:gd name="connsiteY1127" fmla="*/ 1016603 h 1218057"/>
                <a:gd name="connsiteX1128" fmla="*/ 900684 w 1468659"/>
                <a:gd name="connsiteY1128" fmla="*/ 1017937 h 1218057"/>
                <a:gd name="connsiteX1129" fmla="*/ 905256 w 1468659"/>
                <a:gd name="connsiteY1129" fmla="*/ 1015746 h 1218057"/>
                <a:gd name="connsiteX1130" fmla="*/ 900113 w 1468659"/>
                <a:gd name="connsiteY1130" fmla="*/ 1000411 h 1218057"/>
                <a:gd name="connsiteX1131" fmla="*/ 907733 w 1468659"/>
                <a:gd name="connsiteY1131" fmla="*/ 984980 h 1218057"/>
                <a:gd name="connsiteX1132" fmla="*/ 906875 w 1468659"/>
                <a:gd name="connsiteY1132" fmla="*/ 978694 h 1218057"/>
                <a:gd name="connsiteX1133" fmla="*/ 904494 w 1468659"/>
                <a:gd name="connsiteY1133" fmla="*/ 972598 h 1218057"/>
                <a:gd name="connsiteX1134" fmla="*/ 905923 w 1468659"/>
                <a:gd name="connsiteY1134" fmla="*/ 970788 h 1218057"/>
                <a:gd name="connsiteX1135" fmla="*/ 905066 w 1468659"/>
                <a:gd name="connsiteY1135" fmla="*/ 964502 h 1218057"/>
                <a:gd name="connsiteX1136" fmla="*/ 912781 w 1468659"/>
                <a:gd name="connsiteY1136" fmla="*/ 961834 h 1218057"/>
                <a:gd name="connsiteX1137" fmla="*/ 915734 w 1468659"/>
                <a:gd name="connsiteY1137" fmla="*/ 959930 h 1218057"/>
                <a:gd name="connsiteX1138" fmla="*/ 920877 w 1468659"/>
                <a:gd name="connsiteY1138" fmla="*/ 962406 h 1218057"/>
                <a:gd name="connsiteX1139" fmla="*/ 927163 w 1468659"/>
                <a:gd name="connsiteY1139" fmla="*/ 961644 h 1218057"/>
                <a:gd name="connsiteX1140" fmla="*/ 929926 w 1468659"/>
                <a:gd name="connsiteY1140" fmla="*/ 958120 h 1218057"/>
                <a:gd name="connsiteX1141" fmla="*/ 932307 w 1468659"/>
                <a:gd name="connsiteY1141" fmla="*/ 964216 h 1218057"/>
                <a:gd name="connsiteX1142" fmla="*/ 932307 w 1468659"/>
                <a:gd name="connsiteY1142" fmla="*/ 964216 h 1218057"/>
                <a:gd name="connsiteX1143" fmla="*/ 933736 w 1468659"/>
                <a:gd name="connsiteY1143" fmla="*/ 962406 h 1218057"/>
                <a:gd name="connsiteX1144" fmla="*/ 935736 w 1468659"/>
                <a:gd name="connsiteY1144" fmla="*/ 965359 h 1218057"/>
                <a:gd name="connsiteX1145" fmla="*/ 939260 w 1468659"/>
                <a:gd name="connsiteY1145" fmla="*/ 968121 h 1218057"/>
                <a:gd name="connsiteX1146" fmla="*/ 940594 w 1468659"/>
                <a:gd name="connsiteY1146" fmla="*/ 966311 h 1218057"/>
                <a:gd name="connsiteX1147" fmla="*/ 944023 w 1468659"/>
                <a:gd name="connsiteY1147" fmla="*/ 967549 h 1218057"/>
                <a:gd name="connsiteX1148" fmla="*/ 948118 w 1468659"/>
                <a:gd name="connsiteY1148" fmla="*/ 962215 h 1218057"/>
                <a:gd name="connsiteX1149" fmla="*/ 953072 w 1468659"/>
                <a:gd name="connsiteY1149" fmla="*/ 963168 h 1218057"/>
                <a:gd name="connsiteX1150" fmla="*/ 959930 w 1468659"/>
                <a:gd name="connsiteY1150" fmla="*/ 967073 h 1218057"/>
                <a:gd name="connsiteX1151" fmla="*/ 958977 w 1468659"/>
                <a:gd name="connsiteY1151" fmla="*/ 972026 h 1218057"/>
                <a:gd name="connsiteX1152" fmla="*/ 960787 w 1468659"/>
                <a:gd name="connsiteY1152" fmla="*/ 973455 h 1218057"/>
                <a:gd name="connsiteX1153" fmla="*/ 968693 w 1468659"/>
                <a:gd name="connsiteY1153" fmla="*/ 972407 h 1218057"/>
                <a:gd name="connsiteX1154" fmla="*/ 972217 w 1468659"/>
                <a:gd name="connsiteY1154" fmla="*/ 975170 h 1218057"/>
                <a:gd name="connsiteX1155" fmla="*/ 977360 w 1468659"/>
                <a:gd name="connsiteY1155" fmla="*/ 977741 h 1218057"/>
                <a:gd name="connsiteX1156" fmla="*/ 981932 w 1468659"/>
                <a:gd name="connsiteY1156" fmla="*/ 975550 h 1218057"/>
                <a:gd name="connsiteX1157" fmla="*/ 988790 w 1468659"/>
                <a:gd name="connsiteY1157" fmla="*/ 979456 h 1218057"/>
                <a:gd name="connsiteX1158" fmla="*/ 993743 w 1468659"/>
                <a:gd name="connsiteY1158" fmla="*/ 980408 h 1218057"/>
                <a:gd name="connsiteX1159" fmla="*/ 997458 w 1468659"/>
                <a:gd name="connsiteY1159" fmla="*/ 984790 h 1218057"/>
                <a:gd name="connsiteX1160" fmla="*/ 1002411 w 1468659"/>
                <a:gd name="connsiteY1160" fmla="*/ 985742 h 1218057"/>
                <a:gd name="connsiteX1161" fmla="*/ 1005364 w 1468659"/>
                <a:gd name="connsiteY1161" fmla="*/ 983742 h 1218057"/>
                <a:gd name="connsiteX1162" fmla="*/ 1012508 w 1468659"/>
                <a:gd name="connsiteY1162" fmla="*/ 989266 h 1218057"/>
                <a:gd name="connsiteX1163" fmla="*/ 1015079 w 1468659"/>
                <a:gd name="connsiteY1163" fmla="*/ 984123 h 1218057"/>
                <a:gd name="connsiteX1164" fmla="*/ 1018222 w 1468659"/>
                <a:gd name="connsiteY1164" fmla="*/ 983742 h 1218057"/>
                <a:gd name="connsiteX1165" fmla="*/ 1023938 w 1468659"/>
                <a:gd name="connsiteY1165" fmla="*/ 978217 h 1218057"/>
                <a:gd name="connsiteX1166" fmla="*/ 1027652 w 1468659"/>
                <a:gd name="connsiteY1166" fmla="*/ 969740 h 1218057"/>
                <a:gd name="connsiteX1167" fmla="*/ 1025843 w 1468659"/>
                <a:gd name="connsiteY1167" fmla="*/ 968312 h 1218057"/>
                <a:gd name="connsiteX1168" fmla="*/ 1027081 w 1468659"/>
                <a:gd name="connsiteY1168" fmla="*/ 964978 h 1218057"/>
                <a:gd name="connsiteX1169" fmla="*/ 1026890 w 1468659"/>
                <a:gd name="connsiteY1169" fmla="*/ 963358 h 1218057"/>
                <a:gd name="connsiteX1170" fmla="*/ 1011269 w 1468659"/>
                <a:gd name="connsiteY1170" fmla="*/ 954119 h 1218057"/>
                <a:gd name="connsiteX1171" fmla="*/ 1011079 w 1468659"/>
                <a:gd name="connsiteY1171" fmla="*/ 952595 h 1218057"/>
                <a:gd name="connsiteX1172" fmla="*/ 1010602 w 1468659"/>
                <a:gd name="connsiteY1172" fmla="*/ 949452 h 1218057"/>
                <a:gd name="connsiteX1173" fmla="*/ 1008697 w 1468659"/>
                <a:gd name="connsiteY1173" fmla="*/ 946499 h 1218057"/>
                <a:gd name="connsiteX1174" fmla="*/ 1013936 w 1468659"/>
                <a:gd name="connsiteY1174" fmla="*/ 937736 h 1218057"/>
                <a:gd name="connsiteX1175" fmla="*/ 1012603 w 1468659"/>
                <a:gd name="connsiteY1175" fmla="*/ 926687 h 1218057"/>
                <a:gd name="connsiteX1176" fmla="*/ 1020604 w 1468659"/>
                <a:gd name="connsiteY1176" fmla="*/ 914495 h 1218057"/>
                <a:gd name="connsiteX1177" fmla="*/ 1018604 w 1468659"/>
                <a:gd name="connsiteY1177" fmla="*/ 898684 h 1218057"/>
                <a:gd name="connsiteX1178" fmla="*/ 1022985 w 1468659"/>
                <a:gd name="connsiteY1178" fmla="*/ 894969 h 1218057"/>
                <a:gd name="connsiteX1179" fmla="*/ 1022699 w 1468659"/>
                <a:gd name="connsiteY1179" fmla="*/ 893350 h 1218057"/>
                <a:gd name="connsiteX1180" fmla="*/ 1030605 w 1468659"/>
                <a:gd name="connsiteY1180" fmla="*/ 892302 h 1218057"/>
                <a:gd name="connsiteX1181" fmla="*/ 1030034 w 1468659"/>
                <a:gd name="connsiteY1181" fmla="*/ 887635 h 1218057"/>
                <a:gd name="connsiteX1182" fmla="*/ 1026033 w 1468659"/>
                <a:gd name="connsiteY1182" fmla="*/ 881729 h 1218057"/>
                <a:gd name="connsiteX1183" fmla="*/ 1025843 w 1468659"/>
                <a:gd name="connsiteY1183" fmla="*/ 880110 h 1218057"/>
                <a:gd name="connsiteX1184" fmla="*/ 1022699 w 1468659"/>
                <a:gd name="connsiteY1184" fmla="*/ 880491 h 1218057"/>
                <a:gd name="connsiteX1185" fmla="*/ 1021747 w 1468659"/>
                <a:gd name="connsiteY1185" fmla="*/ 872585 h 1218057"/>
                <a:gd name="connsiteX1186" fmla="*/ 1022890 w 1468659"/>
                <a:gd name="connsiteY1186" fmla="*/ 856488 h 1218057"/>
                <a:gd name="connsiteX1187" fmla="*/ 1030700 w 1468659"/>
                <a:gd name="connsiteY1187" fmla="*/ 855440 h 1218057"/>
                <a:gd name="connsiteX1188" fmla="*/ 1029938 w 1468659"/>
                <a:gd name="connsiteY1188" fmla="*/ 836295 h 1218057"/>
                <a:gd name="connsiteX1189" fmla="*/ 1033272 w 1468659"/>
                <a:gd name="connsiteY1189" fmla="*/ 837438 h 1218057"/>
                <a:gd name="connsiteX1190" fmla="*/ 1034225 w 1468659"/>
                <a:gd name="connsiteY1190" fmla="*/ 832580 h 1218057"/>
                <a:gd name="connsiteX1191" fmla="*/ 1035368 w 1468659"/>
                <a:gd name="connsiteY1191" fmla="*/ 829151 h 1218057"/>
                <a:gd name="connsiteX1192" fmla="*/ 1036415 w 1468659"/>
                <a:gd name="connsiteY1192" fmla="*/ 824294 h 1218057"/>
                <a:gd name="connsiteX1193" fmla="*/ 1034415 w 1468659"/>
                <a:gd name="connsiteY1193" fmla="*/ 808482 h 1218057"/>
                <a:gd name="connsiteX1194" fmla="*/ 1030796 w 1468659"/>
                <a:gd name="connsiteY1194" fmla="*/ 805720 h 1218057"/>
                <a:gd name="connsiteX1195" fmla="*/ 1030034 w 1468659"/>
                <a:gd name="connsiteY1195" fmla="*/ 799433 h 1218057"/>
                <a:gd name="connsiteX1196" fmla="*/ 1026414 w 1468659"/>
                <a:gd name="connsiteY1196" fmla="*/ 796671 h 1218057"/>
                <a:gd name="connsiteX1197" fmla="*/ 1026033 w 1468659"/>
                <a:gd name="connsiteY1197" fmla="*/ 793528 h 1218057"/>
                <a:gd name="connsiteX1198" fmla="*/ 1030414 w 1468659"/>
                <a:gd name="connsiteY1198" fmla="*/ 789718 h 1218057"/>
                <a:gd name="connsiteX1199" fmla="*/ 1031558 w 1468659"/>
                <a:gd name="connsiteY1199" fmla="*/ 786384 h 1218057"/>
                <a:gd name="connsiteX1200" fmla="*/ 1030796 w 1468659"/>
                <a:gd name="connsiteY1200" fmla="*/ 780097 h 1218057"/>
                <a:gd name="connsiteX1201" fmla="*/ 1027176 w 1468659"/>
                <a:gd name="connsiteY1201" fmla="*/ 777335 h 1218057"/>
                <a:gd name="connsiteX1202" fmla="*/ 1023842 w 1468659"/>
                <a:gd name="connsiteY1202" fmla="*/ 763334 h 1218057"/>
                <a:gd name="connsiteX1203" fmla="*/ 1024604 w 1468659"/>
                <a:gd name="connsiteY1203" fmla="*/ 756761 h 1218057"/>
                <a:gd name="connsiteX1204" fmla="*/ 1024795 w 1468659"/>
                <a:gd name="connsiteY1204" fmla="*/ 745522 h 1218057"/>
                <a:gd name="connsiteX1205" fmla="*/ 1026700 w 1468659"/>
                <a:gd name="connsiteY1205" fmla="*/ 735711 h 1218057"/>
                <a:gd name="connsiteX1206" fmla="*/ 1026890 w 1468659"/>
                <a:gd name="connsiteY1206" fmla="*/ 737235 h 1218057"/>
                <a:gd name="connsiteX1207" fmla="*/ 1029081 w 1468659"/>
                <a:gd name="connsiteY1207" fmla="*/ 728948 h 1218057"/>
                <a:gd name="connsiteX1208" fmla="*/ 1036510 w 1468659"/>
                <a:gd name="connsiteY1208" fmla="*/ 724757 h 1218057"/>
                <a:gd name="connsiteX1209" fmla="*/ 1039273 w 1468659"/>
                <a:gd name="connsiteY1209" fmla="*/ 721233 h 1218057"/>
                <a:gd name="connsiteX1210" fmla="*/ 1037558 w 1468659"/>
                <a:gd name="connsiteY1210" fmla="*/ 719900 h 1218057"/>
                <a:gd name="connsiteX1211" fmla="*/ 1040892 w 1468659"/>
                <a:gd name="connsiteY1211" fmla="*/ 708184 h 1218057"/>
                <a:gd name="connsiteX1212" fmla="*/ 1035939 w 1468659"/>
                <a:gd name="connsiteY1212" fmla="*/ 707231 h 1218057"/>
                <a:gd name="connsiteX1213" fmla="*/ 1033748 w 1468659"/>
                <a:gd name="connsiteY1213" fmla="*/ 702659 h 1218057"/>
                <a:gd name="connsiteX1214" fmla="*/ 1037654 w 1468659"/>
                <a:gd name="connsiteY1214" fmla="*/ 695801 h 1218057"/>
                <a:gd name="connsiteX1215" fmla="*/ 1042797 w 1468659"/>
                <a:gd name="connsiteY1215" fmla="*/ 698373 h 1218057"/>
                <a:gd name="connsiteX1216" fmla="*/ 1048893 w 1468659"/>
                <a:gd name="connsiteY1216" fmla="*/ 695992 h 1218057"/>
                <a:gd name="connsiteX1217" fmla="*/ 1051465 w 1468659"/>
                <a:gd name="connsiteY1217" fmla="*/ 690848 h 1218057"/>
                <a:gd name="connsiteX1218" fmla="*/ 1056037 w 1468659"/>
                <a:gd name="connsiteY1218" fmla="*/ 688657 h 1218057"/>
                <a:gd name="connsiteX1219" fmla="*/ 1060133 w 1468659"/>
                <a:gd name="connsiteY1219" fmla="*/ 696087 h 1218057"/>
                <a:gd name="connsiteX1220" fmla="*/ 1068610 w 1468659"/>
                <a:gd name="connsiteY1220" fmla="*/ 699897 h 1218057"/>
                <a:gd name="connsiteX1221" fmla="*/ 1079278 w 1468659"/>
                <a:gd name="connsiteY1221" fmla="*/ 695325 h 1218057"/>
                <a:gd name="connsiteX1222" fmla="*/ 1086041 w 1468659"/>
                <a:gd name="connsiteY1222" fmla="*/ 697611 h 1218057"/>
                <a:gd name="connsiteX1223" fmla="*/ 1088612 w 1468659"/>
                <a:gd name="connsiteY1223" fmla="*/ 705326 h 1218057"/>
                <a:gd name="connsiteX1224" fmla="*/ 1085850 w 1468659"/>
                <a:gd name="connsiteY1224" fmla="*/ 708851 h 1218057"/>
                <a:gd name="connsiteX1225" fmla="*/ 1086231 w 1468659"/>
                <a:gd name="connsiteY1225" fmla="*/ 712089 h 1218057"/>
                <a:gd name="connsiteX1226" fmla="*/ 1088231 w 1468659"/>
                <a:gd name="connsiteY1226" fmla="*/ 715042 h 1218057"/>
                <a:gd name="connsiteX1227" fmla="*/ 1102805 w 1468659"/>
                <a:gd name="connsiteY1227" fmla="*/ 716375 h 1218057"/>
                <a:gd name="connsiteX1228" fmla="*/ 1112901 w 1468659"/>
                <a:gd name="connsiteY1228" fmla="*/ 719900 h 1218057"/>
                <a:gd name="connsiteX1229" fmla="*/ 1116997 w 1468659"/>
                <a:gd name="connsiteY1229" fmla="*/ 714565 h 1218057"/>
                <a:gd name="connsiteX1230" fmla="*/ 1121759 w 1468659"/>
                <a:gd name="connsiteY1230" fmla="*/ 713899 h 1218057"/>
                <a:gd name="connsiteX1231" fmla="*/ 1126903 w 1468659"/>
                <a:gd name="connsiteY1231" fmla="*/ 716471 h 1218057"/>
                <a:gd name="connsiteX1232" fmla="*/ 1128236 w 1468659"/>
                <a:gd name="connsiteY1232" fmla="*/ 714756 h 1218057"/>
                <a:gd name="connsiteX1233" fmla="*/ 1131665 w 1468659"/>
                <a:gd name="connsiteY1233" fmla="*/ 715899 h 1218057"/>
                <a:gd name="connsiteX1234" fmla="*/ 1136142 w 1468659"/>
                <a:gd name="connsiteY1234" fmla="*/ 713708 h 1218057"/>
                <a:gd name="connsiteX1235" fmla="*/ 1136618 w 1468659"/>
                <a:gd name="connsiteY1235" fmla="*/ 716851 h 1218057"/>
                <a:gd name="connsiteX1236" fmla="*/ 1149953 w 1468659"/>
                <a:gd name="connsiteY1236" fmla="*/ 721614 h 1218057"/>
                <a:gd name="connsiteX1237" fmla="*/ 1151763 w 1468659"/>
                <a:gd name="connsiteY1237" fmla="*/ 722947 h 1218057"/>
                <a:gd name="connsiteX1238" fmla="*/ 1152811 w 1468659"/>
                <a:gd name="connsiteY1238" fmla="*/ 730853 h 1218057"/>
                <a:gd name="connsiteX1239" fmla="*/ 1149382 w 1468659"/>
                <a:gd name="connsiteY1239" fmla="*/ 729615 h 1218057"/>
                <a:gd name="connsiteX1240" fmla="*/ 1146715 w 1468659"/>
                <a:gd name="connsiteY1240" fmla="*/ 733234 h 1218057"/>
                <a:gd name="connsiteX1241" fmla="*/ 1147096 w 1468659"/>
                <a:gd name="connsiteY1241" fmla="*/ 736378 h 1218057"/>
                <a:gd name="connsiteX1242" fmla="*/ 1155573 w 1468659"/>
                <a:gd name="connsiteY1242" fmla="*/ 740093 h 1218057"/>
                <a:gd name="connsiteX1243" fmla="*/ 1155764 w 1468659"/>
                <a:gd name="connsiteY1243" fmla="*/ 741712 h 1218057"/>
                <a:gd name="connsiteX1244" fmla="*/ 1153001 w 1468659"/>
                <a:gd name="connsiteY1244" fmla="*/ 745236 h 1218057"/>
                <a:gd name="connsiteX1245" fmla="*/ 1158335 w 1468659"/>
                <a:gd name="connsiteY1245" fmla="*/ 749332 h 1218057"/>
                <a:gd name="connsiteX1246" fmla="*/ 1160907 w 1468659"/>
                <a:gd name="connsiteY1246" fmla="*/ 757047 h 1218057"/>
                <a:gd name="connsiteX1247" fmla="*/ 1159573 w 1468659"/>
                <a:gd name="connsiteY1247" fmla="*/ 758857 h 1218057"/>
                <a:gd name="connsiteX1248" fmla="*/ 1156621 w 1468659"/>
                <a:gd name="connsiteY1248" fmla="*/ 760857 h 1218057"/>
                <a:gd name="connsiteX1249" fmla="*/ 1150334 w 1468659"/>
                <a:gd name="connsiteY1249" fmla="*/ 774478 h 1218057"/>
                <a:gd name="connsiteX1250" fmla="*/ 1155859 w 1468659"/>
                <a:gd name="connsiteY1250" fmla="*/ 780193 h 1218057"/>
                <a:gd name="connsiteX1251" fmla="*/ 1158812 w 1468659"/>
                <a:gd name="connsiteY1251" fmla="*/ 778193 h 1218057"/>
                <a:gd name="connsiteX1252" fmla="*/ 1160621 w 1468659"/>
                <a:gd name="connsiteY1252" fmla="*/ 779526 h 1218057"/>
                <a:gd name="connsiteX1253" fmla="*/ 1167860 w 1468659"/>
                <a:gd name="connsiteY1253" fmla="*/ 773811 h 1218057"/>
                <a:gd name="connsiteX1254" fmla="*/ 1175004 w 1468659"/>
                <a:gd name="connsiteY1254" fmla="*/ 779335 h 1218057"/>
                <a:gd name="connsiteX1255" fmla="*/ 1183291 w 1468659"/>
                <a:gd name="connsiteY1255" fmla="*/ 768668 h 1218057"/>
                <a:gd name="connsiteX1256" fmla="*/ 1187768 w 1468659"/>
                <a:gd name="connsiteY1256" fmla="*/ 766477 h 1218057"/>
                <a:gd name="connsiteX1257" fmla="*/ 1190530 w 1468659"/>
                <a:gd name="connsiteY1257" fmla="*/ 762952 h 1218057"/>
                <a:gd name="connsiteX1258" fmla="*/ 1195102 w 1468659"/>
                <a:gd name="connsiteY1258" fmla="*/ 760762 h 1218057"/>
                <a:gd name="connsiteX1259" fmla="*/ 1201388 w 1468659"/>
                <a:gd name="connsiteY1259" fmla="*/ 759905 h 1218057"/>
                <a:gd name="connsiteX1260" fmla="*/ 1211294 w 1468659"/>
                <a:gd name="connsiteY1260" fmla="*/ 761905 h 1218057"/>
                <a:gd name="connsiteX1261" fmla="*/ 1215962 w 1468659"/>
                <a:gd name="connsiteY1261" fmla="*/ 761238 h 1218057"/>
                <a:gd name="connsiteX1262" fmla="*/ 1226439 w 1468659"/>
                <a:gd name="connsiteY1262" fmla="*/ 768001 h 1218057"/>
                <a:gd name="connsiteX1263" fmla="*/ 1227487 w 1468659"/>
                <a:gd name="connsiteY1263" fmla="*/ 763048 h 1218057"/>
                <a:gd name="connsiteX1264" fmla="*/ 1232154 w 1468659"/>
                <a:gd name="connsiteY1264" fmla="*/ 762381 h 1218057"/>
                <a:gd name="connsiteX1265" fmla="*/ 1229582 w 1468659"/>
                <a:gd name="connsiteY1265" fmla="*/ 754761 h 1218057"/>
                <a:gd name="connsiteX1266" fmla="*/ 1231011 w 1468659"/>
                <a:gd name="connsiteY1266" fmla="*/ 752951 h 1218057"/>
                <a:gd name="connsiteX1267" fmla="*/ 1234345 w 1468659"/>
                <a:gd name="connsiteY1267" fmla="*/ 754094 h 1218057"/>
                <a:gd name="connsiteX1268" fmla="*/ 1240441 w 1468659"/>
                <a:gd name="connsiteY1268" fmla="*/ 738950 h 1218057"/>
                <a:gd name="connsiteX1269" fmla="*/ 1241774 w 1468659"/>
                <a:gd name="connsiteY1269" fmla="*/ 737140 h 1218057"/>
                <a:gd name="connsiteX1270" fmla="*/ 1236059 w 1468659"/>
                <a:gd name="connsiteY1270" fmla="*/ 729805 h 1218057"/>
                <a:gd name="connsiteX1271" fmla="*/ 1238250 w 1468659"/>
                <a:gd name="connsiteY1271" fmla="*/ 721519 h 1218057"/>
                <a:gd name="connsiteX1272" fmla="*/ 1246537 w 1468659"/>
                <a:gd name="connsiteY1272" fmla="*/ 723709 h 1218057"/>
                <a:gd name="connsiteX1273" fmla="*/ 1250061 w 1468659"/>
                <a:gd name="connsiteY1273" fmla="*/ 726472 h 1218057"/>
                <a:gd name="connsiteX1274" fmla="*/ 1247680 w 1468659"/>
                <a:gd name="connsiteY1274" fmla="*/ 733139 h 1218057"/>
                <a:gd name="connsiteX1275" fmla="*/ 1258157 w 1468659"/>
                <a:gd name="connsiteY1275" fmla="*/ 739902 h 1218057"/>
                <a:gd name="connsiteX1276" fmla="*/ 1262729 w 1468659"/>
                <a:gd name="connsiteY1276" fmla="*/ 737711 h 1218057"/>
                <a:gd name="connsiteX1277" fmla="*/ 1269587 w 1468659"/>
                <a:gd name="connsiteY1277" fmla="*/ 741617 h 1218057"/>
                <a:gd name="connsiteX1278" fmla="*/ 1273969 w 1468659"/>
                <a:gd name="connsiteY1278" fmla="*/ 737806 h 1218057"/>
                <a:gd name="connsiteX1279" fmla="*/ 1276541 w 1468659"/>
                <a:gd name="connsiteY1279" fmla="*/ 732758 h 1218057"/>
                <a:gd name="connsiteX1280" fmla="*/ 1281684 w 1468659"/>
                <a:gd name="connsiteY1280" fmla="*/ 735235 h 1218057"/>
                <a:gd name="connsiteX1281" fmla="*/ 1289304 w 1468659"/>
                <a:gd name="connsiteY1281" fmla="*/ 732663 h 1218057"/>
                <a:gd name="connsiteX1282" fmla="*/ 1301020 w 1468659"/>
                <a:gd name="connsiteY1282" fmla="*/ 735997 h 1218057"/>
                <a:gd name="connsiteX1283" fmla="*/ 1316831 w 1468659"/>
                <a:gd name="connsiteY1283" fmla="*/ 746855 h 1218057"/>
                <a:gd name="connsiteX1284" fmla="*/ 1321118 w 1468659"/>
                <a:gd name="connsiteY1284" fmla="*/ 755904 h 1218057"/>
                <a:gd name="connsiteX1285" fmla="*/ 1327690 w 1468659"/>
                <a:gd name="connsiteY1285" fmla="*/ 756666 h 1218057"/>
                <a:gd name="connsiteX1286" fmla="*/ 1335214 w 1468659"/>
                <a:gd name="connsiteY1286" fmla="*/ 765334 h 1218057"/>
                <a:gd name="connsiteX1287" fmla="*/ 1343882 w 1468659"/>
                <a:gd name="connsiteY1287" fmla="*/ 770668 h 1218057"/>
                <a:gd name="connsiteX1288" fmla="*/ 1350645 w 1468659"/>
                <a:gd name="connsiteY1288" fmla="*/ 772954 h 1218057"/>
                <a:gd name="connsiteX1289" fmla="*/ 1356931 w 1468659"/>
                <a:gd name="connsiteY1289" fmla="*/ 772192 h 1218057"/>
                <a:gd name="connsiteX1290" fmla="*/ 1361885 w 1468659"/>
                <a:gd name="connsiteY1290" fmla="*/ 773144 h 1218057"/>
                <a:gd name="connsiteX1291" fmla="*/ 1365599 w 1468659"/>
                <a:gd name="connsiteY1291" fmla="*/ 777526 h 1218057"/>
                <a:gd name="connsiteX1292" fmla="*/ 1374267 w 1468659"/>
                <a:gd name="connsiteY1292" fmla="*/ 770001 h 1218057"/>
                <a:gd name="connsiteX1293" fmla="*/ 1378268 w 1468659"/>
                <a:gd name="connsiteY1293" fmla="*/ 775906 h 1218057"/>
                <a:gd name="connsiteX1294" fmla="*/ 1381792 w 1468659"/>
                <a:gd name="connsiteY1294" fmla="*/ 778669 h 1218057"/>
                <a:gd name="connsiteX1295" fmla="*/ 1385126 w 1468659"/>
                <a:gd name="connsiteY1295" fmla="*/ 779812 h 1218057"/>
                <a:gd name="connsiteX1296" fmla="*/ 1398937 w 1468659"/>
                <a:gd name="connsiteY1296" fmla="*/ 787718 h 1218057"/>
                <a:gd name="connsiteX1297" fmla="*/ 1401032 w 1468659"/>
                <a:gd name="connsiteY1297" fmla="*/ 803434 h 1218057"/>
                <a:gd name="connsiteX1298" fmla="*/ 1406938 w 1468659"/>
                <a:gd name="connsiteY1298" fmla="*/ 812292 h 1218057"/>
                <a:gd name="connsiteX1299" fmla="*/ 1425512 w 1468659"/>
                <a:gd name="connsiteY1299" fmla="*/ 819531 h 1218057"/>
                <a:gd name="connsiteX1300" fmla="*/ 1432179 w 1468659"/>
                <a:gd name="connsiteY1300" fmla="*/ 809149 h 1218057"/>
                <a:gd name="connsiteX1301" fmla="*/ 1433798 w 1468659"/>
                <a:gd name="connsiteY1301" fmla="*/ 808863 h 1218057"/>
                <a:gd name="connsiteX1302" fmla="*/ 1432941 w 1468659"/>
                <a:gd name="connsiteY1302" fmla="*/ 802577 h 1218057"/>
                <a:gd name="connsiteX1303" fmla="*/ 1434370 w 1468659"/>
                <a:gd name="connsiteY1303" fmla="*/ 800767 h 1218057"/>
                <a:gd name="connsiteX1304" fmla="*/ 1439513 w 1468659"/>
                <a:gd name="connsiteY1304" fmla="*/ 803338 h 1218057"/>
                <a:gd name="connsiteX1305" fmla="*/ 1442180 w 1468659"/>
                <a:gd name="connsiteY1305" fmla="*/ 799814 h 1218057"/>
                <a:gd name="connsiteX1306" fmla="*/ 1446752 w 1468659"/>
                <a:gd name="connsiteY1306" fmla="*/ 797623 h 1218057"/>
                <a:gd name="connsiteX1307" fmla="*/ 1440275 w 1468659"/>
                <a:gd name="connsiteY1307" fmla="*/ 796862 h 1218057"/>
                <a:gd name="connsiteX1308" fmla="*/ 1438466 w 1468659"/>
                <a:gd name="connsiteY1308" fmla="*/ 795433 h 1218057"/>
                <a:gd name="connsiteX1309" fmla="*/ 1440085 w 1468659"/>
                <a:gd name="connsiteY1309" fmla="*/ 795242 h 1218057"/>
                <a:gd name="connsiteX1310" fmla="*/ 1442752 w 1468659"/>
                <a:gd name="connsiteY1310" fmla="*/ 791718 h 1218057"/>
                <a:gd name="connsiteX1311" fmla="*/ 1446181 w 1468659"/>
                <a:gd name="connsiteY1311" fmla="*/ 792861 h 1218057"/>
                <a:gd name="connsiteX1312" fmla="*/ 1447133 w 1468659"/>
                <a:gd name="connsiteY1312" fmla="*/ 788003 h 1218057"/>
                <a:gd name="connsiteX1313" fmla="*/ 1445323 w 1468659"/>
                <a:gd name="connsiteY1313" fmla="*/ 786575 h 1218057"/>
                <a:gd name="connsiteX1314" fmla="*/ 1441990 w 1468659"/>
                <a:gd name="connsiteY1314" fmla="*/ 785431 h 1218057"/>
                <a:gd name="connsiteX1315" fmla="*/ 1441799 w 1468659"/>
                <a:gd name="connsiteY1315" fmla="*/ 783812 h 1218057"/>
                <a:gd name="connsiteX1316" fmla="*/ 1440371 w 1468659"/>
                <a:gd name="connsiteY1316" fmla="*/ 785622 h 1218057"/>
                <a:gd name="connsiteX1317" fmla="*/ 1438466 w 1468659"/>
                <a:gd name="connsiteY1317" fmla="*/ 782669 h 1218057"/>
                <a:gd name="connsiteX1318" fmla="*/ 1439227 w 1468659"/>
                <a:gd name="connsiteY1318" fmla="*/ 776097 h 1218057"/>
                <a:gd name="connsiteX1319" fmla="*/ 1444181 w 1468659"/>
                <a:gd name="connsiteY1319" fmla="*/ 777145 h 1218057"/>
                <a:gd name="connsiteX1320" fmla="*/ 1444752 w 1468659"/>
                <a:gd name="connsiteY1320" fmla="*/ 781812 h 1218057"/>
                <a:gd name="connsiteX1321" fmla="*/ 1449705 w 1468659"/>
                <a:gd name="connsiteY1321" fmla="*/ 782860 h 1218057"/>
                <a:gd name="connsiteX1322" fmla="*/ 1452848 w 1468659"/>
                <a:gd name="connsiteY1322" fmla="*/ 782384 h 1218057"/>
                <a:gd name="connsiteX1323" fmla="*/ 1454182 w 1468659"/>
                <a:gd name="connsiteY1323" fmla="*/ 780669 h 1218057"/>
                <a:gd name="connsiteX1324" fmla="*/ 1455611 w 1468659"/>
                <a:gd name="connsiteY1324" fmla="*/ 778859 h 1218057"/>
                <a:gd name="connsiteX1325" fmla="*/ 1458182 w 1468659"/>
                <a:gd name="connsiteY1325" fmla="*/ 773716 h 1218057"/>
                <a:gd name="connsiteX1326" fmla="*/ 1449229 w 1468659"/>
                <a:gd name="connsiteY1326" fmla="*/ 766858 h 1218057"/>
                <a:gd name="connsiteX1327" fmla="*/ 1450467 w 1468659"/>
                <a:gd name="connsiteY1327" fmla="*/ 763429 h 1218057"/>
                <a:gd name="connsiteX1328" fmla="*/ 1453420 w 1468659"/>
                <a:gd name="connsiteY1328" fmla="*/ 761524 h 1218057"/>
                <a:gd name="connsiteX1329" fmla="*/ 1452943 w 1468659"/>
                <a:gd name="connsiteY1329" fmla="*/ 758380 h 1218057"/>
                <a:gd name="connsiteX1330" fmla="*/ 1454182 w 1468659"/>
                <a:gd name="connsiteY1330" fmla="*/ 754951 h 1218057"/>
                <a:gd name="connsiteX1331" fmla="*/ 1443895 w 1468659"/>
                <a:gd name="connsiteY1331" fmla="*/ 749903 h 1218057"/>
                <a:gd name="connsiteX1332" fmla="*/ 1431989 w 1468659"/>
                <a:gd name="connsiteY1332" fmla="*/ 744950 h 1218057"/>
                <a:gd name="connsiteX1333" fmla="*/ 1428845 w 1468659"/>
                <a:gd name="connsiteY1333" fmla="*/ 745331 h 1218057"/>
                <a:gd name="connsiteX1334" fmla="*/ 1417606 w 1468659"/>
                <a:gd name="connsiteY1334" fmla="*/ 745236 h 1218057"/>
                <a:gd name="connsiteX1335" fmla="*/ 1414081 w 1468659"/>
                <a:gd name="connsiteY1335" fmla="*/ 742474 h 1218057"/>
                <a:gd name="connsiteX1336" fmla="*/ 1412081 w 1468659"/>
                <a:gd name="connsiteY1336" fmla="*/ 739521 h 1218057"/>
                <a:gd name="connsiteX1337" fmla="*/ 1413034 w 1468659"/>
                <a:gd name="connsiteY1337" fmla="*/ 734568 h 1218057"/>
                <a:gd name="connsiteX1338" fmla="*/ 1413796 w 1468659"/>
                <a:gd name="connsiteY1338" fmla="*/ 728091 h 1218057"/>
                <a:gd name="connsiteX1339" fmla="*/ 1415225 w 1468659"/>
                <a:gd name="connsiteY1339" fmla="*/ 726281 h 1218057"/>
                <a:gd name="connsiteX1340" fmla="*/ 1412843 w 1468659"/>
                <a:gd name="connsiteY1340" fmla="*/ 720185 h 1218057"/>
                <a:gd name="connsiteX1341" fmla="*/ 1409510 w 1468659"/>
                <a:gd name="connsiteY1341" fmla="*/ 718947 h 1218057"/>
                <a:gd name="connsiteX1342" fmla="*/ 1402747 w 1468659"/>
                <a:gd name="connsiteY1342" fmla="*/ 716661 h 1218057"/>
                <a:gd name="connsiteX1343" fmla="*/ 1398842 w 1468659"/>
                <a:gd name="connsiteY1343" fmla="*/ 723519 h 1218057"/>
                <a:gd name="connsiteX1344" fmla="*/ 1394079 w 1468659"/>
                <a:gd name="connsiteY1344" fmla="*/ 724186 h 1218057"/>
                <a:gd name="connsiteX1345" fmla="*/ 1392936 w 1468659"/>
                <a:gd name="connsiteY1345" fmla="*/ 727519 h 1218057"/>
                <a:gd name="connsiteX1346" fmla="*/ 1391317 w 1468659"/>
                <a:gd name="connsiteY1346" fmla="*/ 727710 h 1218057"/>
                <a:gd name="connsiteX1347" fmla="*/ 1386935 w 1468659"/>
                <a:gd name="connsiteY1347" fmla="*/ 718661 h 1218057"/>
                <a:gd name="connsiteX1348" fmla="*/ 1391317 w 1468659"/>
                <a:gd name="connsiteY1348" fmla="*/ 714851 h 1218057"/>
                <a:gd name="connsiteX1349" fmla="*/ 1388935 w 1468659"/>
                <a:gd name="connsiteY1349" fmla="*/ 708755 h 1218057"/>
                <a:gd name="connsiteX1350" fmla="*/ 1395031 w 1468659"/>
                <a:gd name="connsiteY1350" fmla="*/ 706374 h 1218057"/>
                <a:gd name="connsiteX1351" fmla="*/ 1399794 w 1468659"/>
                <a:gd name="connsiteY1351" fmla="*/ 705802 h 1218057"/>
                <a:gd name="connsiteX1352" fmla="*/ 1402366 w 1468659"/>
                <a:gd name="connsiteY1352" fmla="*/ 700659 h 1218057"/>
                <a:gd name="connsiteX1353" fmla="*/ 1403318 w 1468659"/>
                <a:gd name="connsiteY1353" fmla="*/ 695706 h 1218057"/>
                <a:gd name="connsiteX1354" fmla="*/ 1404842 w 1468659"/>
                <a:gd name="connsiteY1354" fmla="*/ 695515 h 1218057"/>
                <a:gd name="connsiteX1355" fmla="*/ 1408271 w 1468659"/>
                <a:gd name="connsiteY1355" fmla="*/ 696659 h 1218057"/>
                <a:gd name="connsiteX1356" fmla="*/ 1409986 w 1468659"/>
                <a:gd name="connsiteY1356" fmla="*/ 698087 h 1218057"/>
                <a:gd name="connsiteX1357" fmla="*/ 1409033 w 1468659"/>
                <a:gd name="connsiteY1357" fmla="*/ 690181 h 1218057"/>
                <a:gd name="connsiteX1358" fmla="*/ 1413986 w 1468659"/>
                <a:gd name="connsiteY1358" fmla="*/ 691134 h 1218057"/>
                <a:gd name="connsiteX1359" fmla="*/ 1415129 w 1468659"/>
                <a:gd name="connsiteY1359" fmla="*/ 687800 h 1218057"/>
                <a:gd name="connsiteX1360" fmla="*/ 1418082 w 1468659"/>
                <a:gd name="connsiteY1360" fmla="*/ 685800 h 1218057"/>
                <a:gd name="connsiteX1361" fmla="*/ 1416272 w 1468659"/>
                <a:gd name="connsiteY1361" fmla="*/ 684467 h 1218057"/>
                <a:gd name="connsiteX1362" fmla="*/ 1418844 w 1468659"/>
                <a:gd name="connsiteY1362" fmla="*/ 679323 h 1218057"/>
                <a:gd name="connsiteX1363" fmla="*/ 1415510 w 1468659"/>
                <a:gd name="connsiteY1363" fmla="*/ 678085 h 1218057"/>
                <a:gd name="connsiteX1364" fmla="*/ 1416844 w 1468659"/>
                <a:gd name="connsiteY1364" fmla="*/ 676370 h 1218057"/>
                <a:gd name="connsiteX1365" fmla="*/ 1414939 w 1468659"/>
                <a:gd name="connsiteY1365" fmla="*/ 673418 h 1218057"/>
                <a:gd name="connsiteX1366" fmla="*/ 1416082 w 1468659"/>
                <a:gd name="connsiteY1366" fmla="*/ 669988 h 1218057"/>
                <a:gd name="connsiteX1367" fmla="*/ 1423988 w 1468659"/>
                <a:gd name="connsiteY1367" fmla="*/ 669036 h 1218057"/>
                <a:gd name="connsiteX1368" fmla="*/ 1430084 w 1468659"/>
                <a:gd name="connsiteY1368" fmla="*/ 666655 h 1218057"/>
                <a:gd name="connsiteX1369" fmla="*/ 1432179 w 1468659"/>
                <a:gd name="connsiteY1369" fmla="*/ 658368 h 1218057"/>
                <a:gd name="connsiteX1370" fmla="*/ 1427035 w 1468659"/>
                <a:gd name="connsiteY1370" fmla="*/ 655796 h 1218057"/>
                <a:gd name="connsiteX1371" fmla="*/ 1427893 w 1468659"/>
                <a:gd name="connsiteY1371" fmla="*/ 649319 h 1218057"/>
                <a:gd name="connsiteX1372" fmla="*/ 1426083 w 1468659"/>
                <a:gd name="connsiteY1372" fmla="*/ 647890 h 1218057"/>
                <a:gd name="connsiteX1373" fmla="*/ 1424273 w 1468659"/>
                <a:gd name="connsiteY1373" fmla="*/ 646557 h 1218057"/>
                <a:gd name="connsiteX1374" fmla="*/ 1431989 w 1468659"/>
                <a:gd name="connsiteY1374" fmla="*/ 643985 h 1218057"/>
                <a:gd name="connsiteX1375" fmla="*/ 1435513 w 1468659"/>
                <a:gd name="connsiteY1375" fmla="*/ 646652 h 1218057"/>
                <a:gd name="connsiteX1376" fmla="*/ 1436084 w 1468659"/>
                <a:gd name="connsiteY1376" fmla="*/ 638651 h 1218057"/>
                <a:gd name="connsiteX1377" fmla="*/ 1432179 w 1468659"/>
                <a:gd name="connsiteY1377" fmla="*/ 632651 h 1218057"/>
                <a:gd name="connsiteX1378" fmla="*/ 1433131 w 1468659"/>
                <a:gd name="connsiteY1378" fmla="*/ 627793 h 1218057"/>
                <a:gd name="connsiteX1379" fmla="*/ 1443418 w 1468659"/>
                <a:gd name="connsiteY1379" fmla="*/ 632841 h 1218057"/>
                <a:gd name="connsiteX1380" fmla="*/ 1451324 w 1468659"/>
                <a:gd name="connsiteY1380" fmla="*/ 631888 h 1218057"/>
                <a:gd name="connsiteX1381" fmla="*/ 1453039 w 1468659"/>
                <a:gd name="connsiteY1381" fmla="*/ 633222 h 1218057"/>
                <a:gd name="connsiteX1382" fmla="*/ 1454468 w 1468659"/>
                <a:gd name="connsiteY1382" fmla="*/ 631507 h 1218057"/>
                <a:gd name="connsiteX1383" fmla="*/ 1456277 w 1468659"/>
                <a:gd name="connsiteY1383" fmla="*/ 632841 h 1218057"/>
                <a:gd name="connsiteX1384" fmla="*/ 1462564 w 1468659"/>
                <a:gd name="connsiteY1384" fmla="*/ 632079 h 1218057"/>
                <a:gd name="connsiteX1385" fmla="*/ 1465326 w 1468659"/>
                <a:gd name="connsiteY1385" fmla="*/ 628459 h 1218057"/>
                <a:gd name="connsiteX1386" fmla="*/ 1464659 w 1468659"/>
                <a:gd name="connsiteY1386" fmla="*/ 623697 h 1218057"/>
                <a:gd name="connsiteX1387" fmla="*/ 1460754 w 1468659"/>
                <a:gd name="connsiteY1387" fmla="*/ 617792 h 1218057"/>
                <a:gd name="connsiteX1388" fmla="*/ 1468660 w 1468659"/>
                <a:gd name="connsiteY1388" fmla="*/ 616839 h 1218057"/>
                <a:gd name="connsiteX1389" fmla="*/ 1468660 w 1468659"/>
                <a:gd name="connsiteY1389" fmla="*/ 616839 h 1218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</a:cxnLst>
              <a:rect l="l" t="t" r="r" b="b"/>
              <a:pathLst>
                <a:path w="1468659" h="1218057">
                  <a:moveTo>
                    <a:pt x="1468660" y="616839"/>
                  </a:moveTo>
                  <a:lnTo>
                    <a:pt x="1453801" y="601027"/>
                  </a:lnTo>
                  <a:lnTo>
                    <a:pt x="1456563" y="597503"/>
                  </a:lnTo>
                  <a:lnTo>
                    <a:pt x="1461230" y="596932"/>
                  </a:lnTo>
                  <a:lnTo>
                    <a:pt x="1459325" y="593979"/>
                  </a:lnTo>
                  <a:lnTo>
                    <a:pt x="1451039" y="591788"/>
                  </a:lnTo>
                  <a:lnTo>
                    <a:pt x="1448086" y="593788"/>
                  </a:lnTo>
                  <a:lnTo>
                    <a:pt x="1449800" y="595122"/>
                  </a:lnTo>
                  <a:lnTo>
                    <a:pt x="1448467" y="596932"/>
                  </a:lnTo>
                  <a:lnTo>
                    <a:pt x="1439132" y="586930"/>
                  </a:lnTo>
                  <a:lnTo>
                    <a:pt x="1435608" y="584168"/>
                  </a:lnTo>
                  <a:lnTo>
                    <a:pt x="1436942" y="582359"/>
                  </a:lnTo>
                  <a:lnTo>
                    <a:pt x="1444847" y="581406"/>
                  </a:lnTo>
                  <a:lnTo>
                    <a:pt x="1446657" y="582739"/>
                  </a:lnTo>
                  <a:lnTo>
                    <a:pt x="1444276" y="576643"/>
                  </a:lnTo>
                  <a:lnTo>
                    <a:pt x="1443038" y="567118"/>
                  </a:lnTo>
                  <a:lnTo>
                    <a:pt x="1436370" y="564832"/>
                  </a:lnTo>
                  <a:lnTo>
                    <a:pt x="1433989" y="571500"/>
                  </a:lnTo>
                  <a:lnTo>
                    <a:pt x="1434751" y="565023"/>
                  </a:lnTo>
                  <a:lnTo>
                    <a:pt x="1427607" y="559498"/>
                  </a:lnTo>
                  <a:lnTo>
                    <a:pt x="1424654" y="561499"/>
                  </a:lnTo>
                  <a:lnTo>
                    <a:pt x="1421321" y="560356"/>
                  </a:lnTo>
                  <a:lnTo>
                    <a:pt x="1420368" y="565213"/>
                  </a:lnTo>
                  <a:lnTo>
                    <a:pt x="1424083" y="569595"/>
                  </a:lnTo>
                  <a:lnTo>
                    <a:pt x="1421321" y="573119"/>
                  </a:lnTo>
                  <a:lnTo>
                    <a:pt x="1416463" y="572167"/>
                  </a:lnTo>
                  <a:lnTo>
                    <a:pt x="1416177" y="570547"/>
                  </a:lnTo>
                  <a:lnTo>
                    <a:pt x="1412462" y="566261"/>
                  </a:lnTo>
                  <a:lnTo>
                    <a:pt x="1404366" y="565690"/>
                  </a:lnTo>
                  <a:lnTo>
                    <a:pt x="1403033" y="567500"/>
                  </a:lnTo>
                  <a:lnTo>
                    <a:pt x="1396270" y="577882"/>
                  </a:lnTo>
                  <a:lnTo>
                    <a:pt x="1391412" y="576929"/>
                  </a:lnTo>
                  <a:lnTo>
                    <a:pt x="1384840" y="576167"/>
                  </a:lnTo>
                  <a:lnTo>
                    <a:pt x="1373410" y="574453"/>
                  </a:lnTo>
                  <a:lnTo>
                    <a:pt x="1373791" y="577596"/>
                  </a:lnTo>
                  <a:lnTo>
                    <a:pt x="1370457" y="576453"/>
                  </a:lnTo>
                  <a:lnTo>
                    <a:pt x="1369123" y="578168"/>
                  </a:lnTo>
                  <a:lnTo>
                    <a:pt x="1367123" y="575215"/>
                  </a:lnTo>
                  <a:lnTo>
                    <a:pt x="1365504" y="575405"/>
                  </a:lnTo>
                  <a:lnTo>
                    <a:pt x="1357789" y="565213"/>
                  </a:lnTo>
                  <a:lnTo>
                    <a:pt x="1354264" y="562451"/>
                  </a:lnTo>
                  <a:lnTo>
                    <a:pt x="1351121" y="562832"/>
                  </a:lnTo>
                  <a:lnTo>
                    <a:pt x="1348168" y="564832"/>
                  </a:lnTo>
                  <a:lnTo>
                    <a:pt x="1346740" y="566642"/>
                  </a:lnTo>
                  <a:lnTo>
                    <a:pt x="1345216" y="566833"/>
                  </a:lnTo>
                  <a:lnTo>
                    <a:pt x="1343025" y="575119"/>
                  </a:lnTo>
                  <a:lnTo>
                    <a:pt x="1340453" y="580263"/>
                  </a:lnTo>
                  <a:lnTo>
                    <a:pt x="1338739" y="578834"/>
                  </a:lnTo>
                  <a:lnTo>
                    <a:pt x="1339501" y="572357"/>
                  </a:lnTo>
                  <a:lnTo>
                    <a:pt x="1330928" y="568643"/>
                  </a:lnTo>
                  <a:lnTo>
                    <a:pt x="1327214" y="564261"/>
                  </a:lnTo>
                  <a:lnTo>
                    <a:pt x="1320260" y="560356"/>
                  </a:lnTo>
                  <a:lnTo>
                    <a:pt x="1318736" y="560546"/>
                  </a:lnTo>
                  <a:lnTo>
                    <a:pt x="1315593" y="560927"/>
                  </a:lnTo>
                  <a:lnTo>
                    <a:pt x="1308640" y="557022"/>
                  </a:lnTo>
                  <a:lnTo>
                    <a:pt x="1309592" y="552069"/>
                  </a:lnTo>
                  <a:lnTo>
                    <a:pt x="1307211" y="545973"/>
                  </a:lnTo>
                  <a:lnTo>
                    <a:pt x="1303496" y="541687"/>
                  </a:lnTo>
                  <a:lnTo>
                    <a:pt x="1302353" y="545021"/>
                  </a:lnTo>
                  <a:lnTo>
                    <a:pt x="1295400" y="541115"/>
                  </a:lnTo>
                  <a:lnTo>
                    <a:pt x="1296352" y="536162"/>
                  </a:lnTo>
                  <a:lnTo>
                    <a:pt x="1294829" y="536353"/>
                  </a:lnTo>
                  <a:lnTo>
                    <a:pt x="1291400" y="535114"/>
                  </a:lnTo>
                  <a:lnTo>
                    <a:pt x="1293590" y="539686"/>
                  </a:lnTo>
                  <a:lnTo>
                    <a:pt x="1290447" y="540068"/>
                  </a:lnTo>
                  <a:lnTo>
                    <a:pt x="1288447" y="537115"/>
                  </a:lnTo>
                  <a:lnTo>
                    <a:pt x="1285875" y="529495"/>
                  </a:lnTo>
                  <a:lnTo>
                    <a:pt x="1285304" y="524732"/>
                  </a:lnTo>
                  <a:lnTo>
                    <a:pt x="1281970" y="523494"/>
                  </a:lnTo>
                  <a:lnTo>
                    <a:pt x="1278731" y="523970"/>
                  </a:lnTo>
                  <a:lnTo>
                    <a:pt x="1282732" y="517017"/>
                  </a:lnTo>
                  <a:lnTo>
                    <a:pt x="1282732" y="517017"/>
                  </a:lnTo>
                  <a:lnTo>
                    <a:pt x="1281875" y="510730"/>
                  </a:lnTo>
                  <a:lnTo>
                    <a:pt x="1285875" y="503777"/>
                  </a:lnTo>
                  <a:lnTo>
                    <a:pt x="1285399" y="500634"/>
                  </a:lnTo>
                  <a:lnTo>
                    <a:pt x="1289399" y="493681"/>
                  </a:lnTo>
                  <a:lnTo>
                    <a:pt x="1285970" y="492538"/>
                  </a:lnTo>
                  <a:lnTo>
                    <a:pt x="1287399" y="490728"/>
                  </a:lnTo>
                  <a:lnTo>
                    <a:pt x="1285208" y="486251"/>
                  </a:lnTo>
                  <a:lnTo>
                    <a:pt x="1283970" y="476726"/>
                  </a:lnTo>
                  <a:lnTo>
                    <a:pt x="1284542" y="468725"/>
                  </a:lnTo>
                  <a:lnTo>
                    <a:pt x="1281017" y="465963"/>
                  </a:lnTo>
                  <a:lnTo>
                    <a:pt x="1274255" y="463582"/>
                  </a:lnTo>
                  <a:lnTo>
                    <a:pt x="1271302" y="465582"/>
                  </a:lnTo>
                  <a:lnTo>
                    <a:pt x="1268159" y="465963"/>
                  </a:lnTo>
                  <a:lnTo>
                    <a:pt x="1266158" y="463010"/>
                  </a:lnTo>
                  <a:lnTo>
                    <a:pt x="1261491" y="463582"/>
                  </a:lnTo>
                  <a:lnTo>
                    <a:pt x="1262063" y="468344"/>
                  </a:lnTo>
                  <a:lnTo>
                    <a:pt x="1255967" y="470725"/>
                  </a:lnTo>
                  <a:lnTo>
                    <a:pt x="1247299" y="465392"/>
                  </a:lnTo>
                  <a:lnTo>
                    <a:pt x="1240917" y="466249"/>
                  </a:lnTo>
                  <a:lnTo>
                    <a:pt x="1236821" y="471583"/>
                  </a:lnTo>
                  <a:lnTo>
                    <a:pt x="1232249" y="473773"/>
                  </a:lnTo>
                  <a:lnTo>
                    <a:pt x="1230344" y="470821"/>
                  </a:lnTo>
                  <a:lnTo>
                    <a:pt x="1226915" y="469582"/>
                  </a:lnTo>
                  <a:lnTo>
                    <a:pt x="1222629" y="473392"/>
                  </a:lnTo>
                  <a:lnTo>
                    <a:pt x="1223010" y="476536"/>
                  </a:lnTo>
                  <a:lnTo>
                    <a:pt x="1218533" y="478726"/>
                  </a:lnTo>
                  <a:lnTo>
                    <a:pt x="1220819" y="471964"/>
                  </a:lnTo>
                  <a:lnTo>
                    <a:pt x="1219105" y="470630"/>
                  </a:lnTo>
                  <a:lnTo>
                    <a:pt x="1221772" y="467011"/>
                  </a:lnTo>
                  <a:lnTo>
                    <a:pt x="1211104" y="458819"/>
                  </a:lnTo>
                  <a:lnTo>
                    <a:pt x="1209770" y="460534"/>
                  </a:lnTo>
                  <a:lnTo>
                    <a:pt x="1204627" y="458057"/>
                  </a:lnTo>
                  <a:lnTo>
                    <a:pt x="1201484" y="458438"/>
                  </a:lnTo>
                  <a:lnTo>
                    <a:pt x="1192816" y="453104"/>
                  </a:lnTo>
                  <a:lnTo>
                    <a:pt x="1186434" y="453866"/>
                  </a:lnTo>
                  <a:lnTo>
                    <a:pt x="1185291" y="457295"/>
                  </a:lnTo>
                  <a:lnTo>
                    <a:pt x="1178909" y="445294"/>
                  </a:lnTo>
                  <a:lnTo>
                    <a:pt x="1174052" y="444246"/>
                  </a:lnTo>
                  <a:lnTo>
                    <a:pt x="1174623" y="449009"/>
                  </a:lnTo>
                  <a:lnTo>
                    <a:pt x="1165003" y="461486"/>
                  </a:lnTo>
                  <a:lnTo>
                    <a:pt x="1155859" y="465868"/>
                  </a:lnTo>
                  <a:lnTo>
                    <a:pt x="1152525" y="464630"/>
                  </a:lnTo>
                  <a:lnTo>
                    <a:pt x="1145858" y="462248"/>
                  </a:lnTo>
                  <a:lnTo>
                    <a:pt x="1137571" y="460153"/>
                  </a:lnTo>
                  <a:lnTo>
                    <a:pt x="1138714" y="456819"/>
                  </a:lnTo>
                  <a:lnTo>
                    <a:pt x="1135952" y="447484"/>
                  </a:lnTo>
                  <a:lnTo>
                    <a:pt x="1137285" y="445770"/>
                  </a:lnTo>
                  <a:lnTo>
                    <a:pt x="1137095" y="444151"/>
                  </a:lnTo>
                  <a:lnTo>
                    <a:pt x="1135285" y="442817"/>
                  </a:lnTo>
                  <a:lnTo>
                    <a:pt x="1132713" y="435102"/>
                  </a:lnTo>
                  <a:lnTo>
                    <a:pt x="1129570" y="435483"/>
                  </a:lnTo>
                  <a:lnTo>
                    <a:pt x="1127379" y="431006"/>
                  </a:lnTo>
                  <a:lnTo>
                    <a:pt x="1124045" y="429768"/>
                  </a:lnTo>
                  <a:lnTo>
                    <a:pt x="1114616" y="431006"/>
                  </a:lnTo>
                  <a:lnTo>
                    <a:pt x="1109091" y="438150"/>
                  </a:lnTo>
                  <a:lnTo>
                    <a:pt x="1103567" y="432435"/>
                  </a:lnTo>
                  <a:lnTo>
                    <a:pt x="1096994" y="431673"/>
                  </a:lnTo>
                  <a:lnTo>
                    <a:pt x="1093089" y="425767"/>
                  </a:lnTo>
                  <a:lnTo>
                    <a:pt x="1094613" y="425482"/>
                  </a:lnTo>
                  <a:lnTo>
                    <a:pt x="1098042" y="426720"/>
                  </a:lnTo>
                  <a:lnTo>
                    <a:pt x="1110996" y="428244"/>
                  </a:lnTo>
                  <a:lnTo>
                    <a:pt x="1112044" y="423291"/>
                  </a:lnTo>
                  <a:lnTo>
                    <a:pt x="1108043" y="417385"/>
                  </a:lnTo>
                  <a:lnTo>
                    <a:pt x="1112330" y="413671"/>
                  </a:lnTo>
                  <a:lnTo>
                    <a:pt x="1112901" y="405575"/>
                  </a:lnTo>
                  <a:lnTo>
                    <a:pt x="1098137" y="402622"/>
                  </a:lnTo>
                  <a:lnTo>
                    <a:pt x="1089851" y="400431"/>
                  </a:lnTo>
                  <a:lnTo>
                    <a:pt x="1088041" y="399097"/>
                  </a:lnTo>
                  <a:lnTo>
                    <a:pt x="1086898" y="402431"/>
                  </a:lnTo>
                  <a:lnTo>
                    <a:pt x="1081945" y="401479"/>
                  </a:lnTo>
                  <a:lnTo>
                    <a:pt x="1083373" y="399669"/>
                  </a:lnTo>
                  <a:lnTo>
                    <a:pt x="1074610" y="394430"/>
                  </a:lnTo>
                  <a:lnTo>
                    <a:pt x="1072420" y="389858"/>
                  </a:lnTo>
                  <a:lnTo>
                    <a:pt x="1068134" y="380809"/>
                  </a:lnTo>
                  <a:lnTo>
                    <a:pt x="1063181" y="379857"/>
                  </a:lnTo>
                  <a:lnTo>
                    <a:pt x="1064133" y="374904"/>
                  </a:lnTo>
                  <a:lnTo>
                    <a:pt x="1062800" y="376618"/>
                  </a:lnTo>
                  <a:lnTo>
                    <a:pt x="1060799" y="373666"/>
                  </a:lnTo>
                  <a:lnTo>
                    <a:pt x="1054894" y="377666"/>
                  </a:lnTo>
                  <a:lnTo>
                    <a:pt x="1053465" y="379476"/>
                  </a:lnTo>
                  <a:lnTo>
                    <a:pt x="1050322" y="379857"/>
                  </a:lnTo>
                  <a:lnTo>
                    <a:pt x="1046035" y="383572"/>
                  </a:lnTo>
                  <a:lnTo>
                    <a:pt x="1041463" y="385763"/>
                  </a:lnTo>
                  <a:lnTo>
                    <a:pt x="1033367" y="398050"/>
                  </a:lnTo>
                  <a:lnTo>
                    <a:pt x="1025080" y="395859"/>
                  </a:lnTo>
                  <a:lnTo>
                    <a:pt x="1024890" y="394335"/>
                  </a:lnTo>
                  <a:lnTo>
                    <a:pt x="1023366" y="394525"/>
                  </a:lnTo>
                  <a:lnTo>
                    <a:pt x="1022699" y="389763"/>
                  </a:lnTo>
                  <a:lnTo>
                    <a:pt x="1018794" y="383857"/>
                  </a:lnTo>
                  <a:lnTo>
                    <a:pt x="1011460" y="376809"/>
                  </a:lnTo>
                  <a:lnTo>
                    <a:pt x="1008507" y="378809"/>
                  </a:lnTo>
                  <a:lnTo>
                    <a:pt x="1006697" y="377380"/>
                  </a:lnTo>
                  <a:lnTo>
                    <a:pt x="1002792" y="371475"/>
                  </a:lnTo>
                  <a:lnTo>
                    <a:pt x="1003745" y="366522"/>
                  </a:lnTo>
                  <a:lnTo>
                    <a:pt x="1000411" y="365379"/>
                  </a:lnTo>
                  <a:lnTo>
                    <a:pt x="999934" y="362236"/>
                  </a:lnTo>
                  <a:lnTo>
                    <a:pt x="991648" y="360045"/>
                  </a:lnTo>
                  <a:lnTo>
                    <a:pt x="984980" y="357664"/>
                  </a:lnTo>
                  <a:lnTo>
                    <a:pt x="988695" y="349186"/>
                  </a:lnTo>
                  <a:lnTo>
                    <a:pt x="988314" y="346043"/>
                  </a:lnTo>
                  <a:lnTo>
                    <a:pt x="981551" y="343662"/>
                  </a:lnTo>
                  <a:lnTo>
                    <a:pt x="974217" y="336613"/>
                  </a:lnTo>
                  <a:lnTo>
                    <a:pt x="972122" y="332042"/>
                  </a:lnTo>
                  <a:lnTo>
                    <a:pt x="971645" y="328898"/>
                  </a:lnTo>
                  <a:lnTo>
                    <a:pt x="974598" y="326993"/>
                  </a:lnTo>
                  <a:lnTo>
                    <a:pt x="974026" y="322231"/>
                  </a:lnTo>
                  <a:lnTo>
                    <a:pt x="978789" y="321659"/>
                  </a:lnTo>
                  <a:lnTo>
                    <a:pt x="978122" y="316897"/>
                  </a:lnTo>
                  <a:lnTo>
                    <a:pt x="979932" y="318230"/>
                  </a:lnTo>
                  <a:lnTo>
                    <a:pt x="983837" y="311372"/>
                  </a:lnTo>
                  <a:lnTo>
                    <a:pt x="986790" y="309372"/>
                  </a:lnTo>
                  <a:lnTo>
                    <a:pt x="990219" y="310515"/>
                  </a:lnTo>
                  <a:lnTo>
                    <a:pt x="991172" y="305562"/>
                  </a:lnTo>
                  <a:lnTo>
                    <a:pt x="986600" y="307753"/>
                  </a:lnTo>
                  <a:lnTo>
                    <a:pt x="985171" y="296704"/>
                  </a:lnTo>
                  <a:lnTo>
                    <a:pt x="981266" y="290798"/>
                  </a:lnTo>
                  <a:lnTo>
                    <a:pt x="973169" y="290227"/>
                  </a:lnTo>
                  <a:lnTo>
                    <a:pt x="964501" y="284988"/>
                  </a:lnTo>
                  <a:lnTo>
                    <a:pt x="962882" y="285179"/>
                  </a:lnTo>
                  <a:lnTo>
                    <a:pt x="960882" y="282226"/>
                  </a:lnTo>
                  <a:lnTo>
                    <a:pt x="963644" y="278606"/>
                  </a:lnTo>
                  <a:lnTo>
                    <a:pt x="963263" y="275463"/>
                  </a:lnTo>
                  <a:lnTo>
                    <a:pt x="961263" y="272510"/>
                  </a:lnTo>
                  <a:lnTo>
                    <a:pt x="962501" y="269176"/>
                  </a:lnTo>
                  <a:lnTo>
                    <a:pt x="965454" y="267176"/>
                  </a:lnTo>
                  <a:lnTo>
                    <a:pt x="962025" y="266033"/>
                  </a:lnTo>
                  <a:lnTo>
                    <a:pt x="963073" y="261080"/>
                  </a:lnTo>
                  <a:lnTo>
                    <a:pt x="966406" y="262223"/>
                  </a:lnTo>
                  <a:lnTo>
                    <a:pt x="969359" y="260223"/>
                  </a:lnTo>
                  <a:lnTo>
                    <a:pt x="970312" y="255365"/>
                  </a:lnTo>
                  <a:lnTo>
                    <a:pt x="969931" y="252127"/>
                  </a:lnTo>
                  <a:lnTo>
                    <a:pt x="971074" y="248793"/>
                  </a:lnTo>
                  <a:lnTo>
                    <a:pt x="970121" y="240887"/>
                  </a:lnTo>
                  <a:lnTo>
                    <a:pt x="973074" y="238982"/>
                  </a:lnTo>
                  <a:lnTo>
                    <a:pt x="972407" y="234220"/>
                  </a:lnTo>
                  <a:lnTo>
                    <a:pt x="975360" y="232219"/>
                  </a:lnTo>
                  <a:lnTo>
                    <a:pt x="977741" y="225552"/>
                  </a:lnTo>
                  <a:lnTo>
                    <a:pt x="974598" y="225933"/>
                  </a:lnTo>
                  <a:lnTo>
                    <a:pt x="973169" y="227743"/>
                  </a:lnTo>
                  <a:lnTo>
                    <a:pt x="968693" y="229838"/>
                  </a:lnTo>
                  <a:lnTo>
                    <a:pt x="968312" y="226695"/>
                  </a:lnTo>
                  <a:lnTo>
                    <a:pt x="969455" y="223361"/>
                  </a:lnTo>
                  <a:lnTo>
                    <a:pt x="972598" y="222980"/>
                  </a:lnTo>
                  <a:lnTo>
                    <a:pt x="976503" y="216027"/>
                  </a:lnTo>
                  <a:lnTo>
                    <a:pt x="976693" y="204788"/>
                  </a:lnTo>
                  <a:lnTo>
                    <a:pt x="979265" y="199644"/>
                  </a:lnTo>
                  <a:lnTo>
                    <a:pt x="984028" y="199072"/>
                  </a:lnTo>
                  <a:lnTo>
                    <a:pt x="986123" y="177927"/>
                  </a:lnTo>
                  <a:lnTo>
                    <a:pt x="985742" y="174784"/>
                  </a:lnTo>
                  <a:lnTo>
                    <a:pt x="982313" y="173641"/>
                  </a:lnTo>
                  <a:lnTo>
                    <a:pt x="980218" y="169069"/>
                  </a:lnTo>
                  <a:lnTo>
                    <a:pt x="981742" y="168878"/>
                  </a:lnTo>
                  <a:lnTo>
                    <a:pt x="984695" y="166878"/>
                  </a:lnTo>
                  <a:lnTo>
                    <a:pt x="987076" y="160210"/>
                  </a:lnTo>
                  <a:lnTo>
                    <a:pt x="990029" y="158210"/>
                  </a:lnTo>
                  <a:lnTo>
                    <a:pt x="987838" y="153638"/>
                  </a:lnTo>
                  <a:lnTo>
                    <a:pt x="988409" y="145542"/>
                  </a:lnTo>
                  <a:lnTo>
                    <a:pt x="986600" y="144209"/>
                  </a:lnTo>
                  <a:lnTo>
                    <a:pt x="986218" y="141065"/>
                  </a:lnTo>
                  <a:lnTo>
                    <a:pt x="987838" y="140875"/>
                  </a:lnTo>
                  <a:lnTo>
                    <a:pt x="980504" y="133731"/>
                  </a:lnTo>
                  <a:lnTo>
                    <a:pt x="980122" y="130588"/>
                  </a:lnTo>
                  <a:lnTo>
                    <a:pt x="978122" y="127635"/>
                  </a:lnTo>
                  <a:lnTo>
                    <a:pt x="976313" y="126301"/>
                  </a:lnTo>
                  <a:lnTo>
                    <a:pt x="969645" y="123920"/>
                  </a:lnTo>
                  <a:lnTo>
                    <a:pt x="970597" y="118967"/>
                  </a:lnTo>
                  <a:lnTo>
                    <a:pt x="972979" y="112300"/>
                  </a:lnTo>
                  <a:lnTo>
                    <a:pt x="978027" y="114776"/>
                  </a:lnTo>
                  <a:lnTo>
                    <a:pt x="977646" y="111633"/>
                  </a:lnTo>
                  <a:lnTo>
                    <a:pt x="981266" y="114395"/>
                  </a:lnTo>
                  <a:lnTo>
                    <a:pt x="984409" y="114014"/>
                  </a:lnTo>
                  <a:lnTo>
                    <a:pt x="992696" y="116205"/>
                  </a:lnTo>
                  <a:lnTo>
                    <a:pt x="996982" y="112395"/>
                  </a:lnTo>
                  <a:lnTo>
                    <a:pt x="998220" y="109061"/>
                  </a:lnTo>
                  <a:lnTo>
                    <a:pt x="994601" y="106299"/>
                  </a:lnTo>
                  <a:lnTo>
                    <a:pt x="991838" y="97060"/>
                  </a:lnTo>
                  <a:lnTo>
                    <a:pt x="987838" y="91154"/>
                  </a:lnTo>
                  <a:lnTo>
                    <a:pt x="986123" y="89725"/>
                  </a:lnTo>
                  <a:lnTo>
                    <a:pt x="990029" y="82867"/>
                  </a:lnTo>
                  <a:lnTo>
                    <a:pt x="985266" y="83439"/>
                  </a:lnTo>
                  <a:lnTo>
                    <a:pt x="984313" y="88392"/>
                  </a:lnTo>
                  <a:lnTo>
                    <a:pt x="982789" y="88582"/>
                  </a:lnTo>
                  <a:lnTo>
                    <a:pt x="977646" y="86011"/>
                  </a:lnTo>
                  <a:lnTo>
                    <a:pt x="975074" y="91154"/>
                  </a:lnTo>
                  <a:lnTo>
                    <a:pt x="970121" y="90202"/>
                  </a:lnTo>
                  <a:lnTo>
                    <a:pt x="967740" y="84106"/>
                  </a:lnTo>
                  <a:lnTo>
                    <a:pt x="960596" y="78581"/>
                  </a:lnTo>
                  <a:lnTo>
                    <a:pt x="964978" y="74771"/>
                  </a:lnTo>
                  <a:lnTo>
                    <a:pt x="959834" y="72200"/>
                  </a:lnTo>
                  <a:lnTo>
                    <a:pt x="957834" y="69247"/>
                  </a:lnTo>
                  <a:lnTo>
                    <a:pt x="959263" y="67532"/>
                  </a:lnTo>
                  <a:lnTo>
                    <a:pt x="957453" y="66104"/>
                  </a:lnTo>
                  <a:lnTo>
                    <a:pt x="955643" y="64770"/>
                  </a:lnTo>
                  <a:lnTo>
                    <a:pt x="954214" y="53721"/>
                  </a:lnTo>
                  <a:lnTo>
                    <a:pt x="949928" y="57436"/>
                  </a:lnTo>
                  <a:lnTo>
                    <a:pt x="951071" y="54102"/>
                  </a:lnTo>
                  <a:lnTo>
                    <a:pt x="950690" y="50959"/>
                  </a:lnTo>
                  <a:lnTo>
                    <a:pt x="949071" y="51149"/>
                  </a:lnTo>
                  <a:lnTo>
                    <a:pt x="950500" y="49339"/>
                  </a:lnTo>
                  <a:lnTo>
                    <a:pt x="949928" y="44672"/>
                  </a:lnTo>
                  <a:lnTo>
                    <a:pt x="944975" y="43625"/>
                  </a:lnTo>
                  <a:lnTo>
                    <a:pt x="948118" y="43243"/>
                  </a:lnTo>
                  <a:lnTo>
                    <a:pt x="951262" y="42863"/>
                  </a:lnTo>
                  <a:lnTo>
                    <a:pt x="951071" y="41243"/>
                  </a:lnTo>
                  <a:lnTo>
                    <a:pt x="944309" y="38957"/>
                  </a:lnTo>
                  <a:lnTo>
                    <a:pt x="943927" y="35814"/>
                  </a:lnTo>
                  <a:lnTo>
                    <a:pt x="942975" y="40672"/>
                  </a:lnTo>
                  <a:lnTo>
                    <a:pt x="939832" y="41148"/>
                  </a:lnTo>
                  <a:lnTo>
                    <a:pt x="937831" y="38195"/>
                  </a:lnTo>
                  <a:lnTo>
                    <a:pt x="934879" y="40100"/>
                  </a:lnTo>
                  <a:lnTo>
                    <a:pt x="931355" y="50197"/>
                  </a:lnTo>
                  <a:lnTo>
                    <a:pt x="933164" y="51625"/>
                  </a:lnTo>
                  <a:lnTo>
                    <a:pt x="931735" y="53340"/>
                  </a:lnTo>
                  <a:lnTo>
                    <a:pt x="928402" y="52197"/>
                  </a:lnTo>
                  <a:lnTo>
                    <a:pt x="927830" y="47434"/>
                  </a:lnTo>
                  <a:lnTo>
                    <a:pt x="924020" y="43148"/>
                  </a:lnTo>
                  <a:lnTo>
                    <a:pt x="922496" y="43339"/>
                  </a:lnTo>
                  <a:lnTo>
                    <a:pt x="917353" y="40767"/>
                  </a:lnTo>
                  <a:lnTo>
                    <a:pt x="911543" y="33528"/>
                  </a:lnTo>
                  <a:lnTo>
                    <a:pt x="906971" y="22860"/>
                  </a:lnTo>
                  <a:lnTo>
                    <a:pt x="900684" y="23622"/>
                  </a:lnTo>
                  <a:lnTo>
                    <a:pt x="884110" y="19336"/>
                  </a:lnTo>
                  <a:lnTo>
                    <a:pt x="881729" y="13240"/>
                  </a:lnTo>
                  <a:lnTo>
                    <a:pt x="872395" y="3143"/>
                  </a:lnTo>
                  <a:lnTo>
                    <a:pt x="873823" y="1429"/>
                  </a:lnTo>
                  <a:lnTo>
                    <a:pt x="872014" y="0"/>
                  </a:lnTo>
                  <a:lnTo>
                    <a:pt x="871252" y="6572"/>
                  </a:lnTo>
                  <a:lnTo>
                    <a:pt x="870490" y="13049"/>
                  </a:lnTo>
                  <a:lnTo>
                    <a:pt x="862584" y="14097"/>
                  </a:lnTo>
                  <a:lnTo>
                    <a:pt x="862775" y="15621"/>
                  </a:lnTo>
                  <a:lnTo>
                    <a:pt x="859822" y="17621"/>
                  </a:lnTo>
                  <a:lnTo>
                    <a:pt x="860012" y="19240"/>
                  </a:lnTo>
                  <a:lnTo>
                    <a:pt x="858298" y="17812"/>
                  </a:lnTo>
                  <a:lnTo>
                    <a:pt x="855535" y="21336"/>
                  </a:lnTo>
                  <a:lnTo>
                    <a:pt x="855726" y="22955"/>
                  </a:lnTo>
                  <a:lnTo>
                    <a:pt x="858869" y="22574"/>
                  </a:lnTo>
                  <a:lnTo>
                    <a:pt x="858298" y="30671"/>
                  </a:lnTo>
                  <a:lnTo>
                    <a:pt x="846677" y="27337"/>
                  </a:lnTo>
                  <a:lnTo>
                    <a:pt x="847058" y="30480"/>
                  </a:lnTo>
                  <a:lnTo>
                    <a:pt x="848868" y="31813"/>
                  </a:lnTo>
                  <a:lnTo>
                    <a:pt x="844105" y="32480"/>
                  </a:lnTo>
                  <a:lnTo>
                    <a:pt x="845630" y="32290"/>
                  </a:lnTo>
                  <a:lnTo>
                    <a:pt x="847630" y="35242"/>
                  </a:lnTo>
                  <a:lnTo>
                    <a:pt x="846296" y="36957"/>
                  </a:lnTo>
                  <a:lnTo>
                    <a:pt x="849630" y="38195"/>
                  </a:lnTo>
                  <a:lnTo>
                    <a:pt x="847058" y="43339"/>
                  </a:lnTo>
                  <a:lnTo>
                    <a:pt x="848868" y="44672"/>
                  </a:lnTo>
                  <a:lnTo>
                    <a:pt x="845725" y="45053"/>
                  </a:lnTo>
                  <a:lnTo>
                    <a:pt x="844487" y="48482"/>
                  </a:lnTo>
                  <a:lnTo>
                    <a:pt x="842963" y="48673"/>
                  </a:lnTo>
                  <a:lnTo>
                    <a:pt x="842201" y="55150"/>
                  </a:lnTo>
                  <a:lnTo>
                    <a:pt x="840581" y="55340"/>
                  </a:lnTo>
                  <a:lnTo>
                    <a:pt x="839438" y="58674"/>
                  </a:lnTo>
                  <a:lnTo>
                    <a:pt x="840962" y="58483"/>
                  </a:lnTo>
                  <a:lnTo>
                    <a:pt x="841438" y="61627"/>
                  </a:lnTo>
                  <a:lnTo>
                    <a:pt x="846296" y="62675"/>
                  </a:lnTo>
                  <a:lnTo>
                    <a:pt x="844010" y="69342"/>
                  </a:lnTo>
                  <a:lnTo>
                    <a:pt x="846010" y="72295"/>
                  </a:lnTo>
                  <a:lnTo>
                    <a:pt x="848963" y="70294"/>
                  </a:lnTo>
                  <a:lnTo>
                    <a:pt x="849344" y="73533"/>
                  </a:lnTo>
                  <a:lnTo>
                    <a:pt x="847725" y="73723"/>
                  </a:lnTo>
                  <a:lnTo>
                    <a:pt x="852868" y="76200"/>
                  </a:lnTo>
                  <a:lnTo>
                    <a:pt x="853250" y="79438"/>
                  </a:lnTo>
                  <a:lnTo>
                    <a:pt x="848773" y="81534"/>
                  </a:lnTo>
                  <a:lnTo>
                    <a:pt x="853440" y="80963"/>
                  </a:lnTo>
                  <a:lnTo>
                    <a:pt x="852106" y="82772"/>
                  </a:lnTo>
                  <a:lnTo>
                    <a:pt x="847534" y="84963"/>
                  </a:lnTo>
                  <a:lnTo>
                    <a:pt x="844201" y="83725"/>
                  </a:lnTo>
                  <a:lnTo>
                    <a:pt x="842867" y="85534"/>
                  </a:lnTo>
                  <a:lnTo>
                    <a:pt x="843058" y="87154"/>
                  </a:lnTo>
                  <a:lnTo>
                    <a:pt x="835343" y="89725"/>
                  </a:lnTo>
                  <a:lnTo>
                    <a:pt x="835533" y="91250"/>
                  </a:lnTo>
                  <a:lnTo>
                    <a:pt x="832390" y="91726"/>
                  </a:lnTo>
                  <a:lnTo>
                    <a:pt x="832009" y="88487"/>
                  </a:lnTo>
                  <a:lnTo>
                    <a:pt x="825722" y="89344"/>
                  </a:lnTo>
                  <a:lnTo>
                    <a:pt x="822293" y="88106"/>
                  </a:lnTo>
                  <a:lnTo>
                    <a:pt x="820960" y="89916"/>
                  </a:lnTo>
                  <a:lnTo>
                    <a:pt x="821341" y="93059"/>
                  </a:lnTo>
                  <a:lnTo>
                    <a:pt x="816578" y="93726"/>
                  </a:lnTo>
                  <a:lnTo>
                    <a:pt x="815054" y="93917"/>
                  </a:lnTo>
                  <a:lnTo>
                    <a:pt x="814102" y="98869"/>
                  </a:lnTo>
                  <a:lnTo>
                    <a:pt x="806958" y="106108"/>
                  </a:lnTo>
                  <a:lnTo>
                    <a:pt x="803624" y="104965"/>
                  </a:lnTo>
                  <a:lnTo>
                    <a:pt x="802481" y="108299"/>
                  </a:lnTo>
                  <a:lnTo>
                    <a:pt x="797528" y="107347"/>
                  </a:lnTo>
                  <a:lnTo>
                    <a:pt x="794766" y="110871"/>
                  </a:lnTo>
                  <a:lnTo>
                    <a:pt x="795147" y="114109"/>
                  </a:lnTo>
                  <a:lnTo>
                    <a:pt x="790384" y="114681"/>
                  </a:lnTo>
                  <a:lnTo>
                    <a:pt x="796195" y="121920"/>
                  </a:lnTo>
                  <a:lnTo>
                    <a:pt x="793433" y="125539"/>
                  </a:lnTo>
                  <a:lnTo>
                    <a:pt x="792671" y="132017"/>
                  </a:lnTo>
                  <a:lnTo>
                    <a:pt x="791242" y="133826"/>
                  </a:lnTo>
                  <a:lnTo>
                    <a:pt x="784765" y="133064"/>
                  </a:lnTo>
                  <a:lnTo>
                    <a:pt x="782764" y="130111"/>
                  </a:lnTo>
                  <a:lnTo>
                    <a:pt x="783908" y="126682"/>
                  </a:lnTo>
                  <a:lnTo>
                    <a:pt x="781145" y="117443"/>
                  </a:lnTo>
                  <a:lnTo>
                    <a:pt x="776192" y="116491"/>
                  </a:lnTo>
                  <a:lnTo>
                    <a:pt x="762572" y="110204"/>
                  </a:lnTo>
                  <a:lnTo>
                    <a:pt x="748760" y="115157"/>
                  </a:lnTo>
                  <a:lnTo>
                    <a:pt x="745617" y="115538"/>
                  </a:lnTo>
                  <a:lnTo>
                    <a:pt x="743426" y="111061"/>
                  </a:lnTo>
                  <a:lnTo>
                    <a:pt x="738759" y="111633"/>
                  </a:lnTo>
                  <a:lnTo>
                    <a:pt x="738283" y="108490"/>
                  </a:lnTo>
                  <a:lnTo>
                    <a:pt x="741235" y="106489"/>
                  </a:lnTo>
                  <a:lnTo>
                    <a:pt x="744379" y="106108"/>
                  </a:lnTo>
                  <a:lnTo>
                    <a:pt x="745426" y="101155"/>
                  </a:lnTo>
                  <a:lnTo>
                    <a:pt x="748189" y="97631"/>
                  </a:lnTo>
                  <a:lnTo>
                    <a:pt x="748760" y="89535"/>
                  </a:lnTo>
                  <a:lnTo>
                    <a:pt x="748284" y="86392"/>
                  </a:lnTo>
                  <a:lnTo>
                    <a:pt x="746760" y="86582"/>
                  </a:lnTo>
                  <a:lnTo>
                    <a:pt x="745331" y="88297"/>
                  </a:lnTo>
                  <a:lnTo>
                    <a:pt x="744379" y="93250"/>
                  </a:lnTo>
                  <a:lnTo>
                    <a:pt x="741426" y="95250"/>
                  </a:lnTo>
                  <a:lnTo>
                    <a:pt x="736473" y="94297"/>
                  </a:lnTo>
                  <a:lnTo>
                    <a:pt x="736949" y="97441"/>
                  </a:lnTo>
                  <a:lnTo>
                    <a:pt x="733711" y="97822"/>
                  </a:lnTo>
                  <a:lnTo>
                    <a:pt x="734568" y="91345"/>
                  </a:lnTo>
                  <a:lnTo>
                    <a:pt x="729425" y="101632"/>
                  </a:lnTo>
                  <a:lnTo>
                    <a:pt x="724472" y="100584"/>
                  </a:lnTo>
                  <a:lnTo>
                    <a:pt x="725900" y="98869"/>
                  </a:lnTo>
                  <a:lnTo>
                    <a:pt x="724281" y="99060"/>
                  </a:lnTo>
                  <a:lnTo>
                    <a:pt x="722947" y="100775"/>
                  </a:lnTo>
                  <a:lnTo>
                    <a:pt x="720947" y="97822"/>
                  </a:lnTo>
                  <a:lnTo>
                    <a:pt x="719518" y="99631"/>
                  </a:lnTo>
                  <a:lnTo>
                    <a:pt x="717804" y="98298"/>
                  </a:lnTo>
                  <a:lnTo>
                    <a:pt x="712851" y="97250"/>
                  </a:lnTo>
                  <a:lnTo>
                    <a:pt x="710851" y="94297"/>
                  </a:lnTo>
                  <a:lnTo>
                    <a:pt x="707898" y="96298"/>
                  </a:lnTo>
                  <a:lnTo>
                    <a:pt x="705136" y="99917"/>
                  </a:lnTo>
                  <a:lnTo>
                    <a:pt x="702945" y="95345"/>
                  </a:lnTo>
                  <a:lnTo>
                    <a:pt x="701612" y="97155"/>
                  </a:lnTo>
                  <a:lnTo>
                    <a:pt x="701135" y="94012"/>
                  </a:lnTo>
                  <a:lnTo>
                    <a:pt x="696659" y="96107"/>
                  </a:lnTo>
                  <a:lnTo>
                    <a:pt x="696468" y="94583"/>
                  </a:lnTo>
                  <a:lnTo>
                    <a:pt x="693134" y="93440"/>
                  </a:lnTo>
                  <a:lnTo>
                    <a:pt x="695420" y="86677"/>
                  </a:lnTo>
                  <a:lnTo>
                    <a:pt x="693706" y="85344"/>
                  </a:lnTo>
                  <a:lnTo>
                    <a:pt x="688943" y="85915"/>
                  </a:lnTo>
                  <a:lnTo>
                    <a:pt x="686181" y="89440"/>
                  </a:lnTo>
                  <a:lnTo>
                    <a:pt x="681228" y="88487"/>
                  </a:lnTo>
                  <a:lnTo>
                    <a:pt x="672560" y="83153"/>
                  </a:lnTo>
                  <a:lnTo>
                    <a:pt x="667798" y="83820"/>
                  </a:lnTo>
                  <a:lnTo>
                    <a:pt x="669608" y="85154"/>
                  </a:lnTo>
                  <a:lnTo>
                    <a:pt x="667226" y="91916"/>
                  </a:lnTo>
                  <a:lnTo>
                    <a:pt x="661130" y="94297"/>
                  </a:lnTo>
                  <a:lnTo>
                    <a:pt x="663130" y="97250"/>
                  </a:lnTo>
                  <a:lnTo>
                    <a:pt x="666274" y="96774"/>
                  </a:lnTo>
                  <a:lnTo>
                    <a:pt x="664845" y="98584"/>
                  </a:lnTo>
                  <a:lnTo>
                    <a:pt x="663321" y="98774"/>
                  </a:lnTo>
                  <a:lnTo>
                    <a:pt x="659511" y="94488"/>
                  </a:lnTo>
                  <a:lnTo>
                    <a:pt x="658368" y="97822"/>
                  </a:lnTo>
                  <a:lnTo>
                    <a:pt x="654844" y="95059"/>
                  </a:lnTo>
                  <a:lnTo>
                    <a:pt x="654368" y="91916"/>
                  </a:lnTo>
                  <a:lnTo>
                    <a:pt x="652843" y="92107"/>
                  </a:lnTo>
                  <a:lnTo>
                    <a:pt x="650653" y="87535"/>
                  </a:lnTo>
                  <a:lnTo>
                    <a:pt x="645890" y="88201"/>
                  </a:lnTo>
                  <a:lnTo>
                    <a:pt x="644938" y="80296"/>
                  </a:lnTo>
                  <a:lnTo>
                    <a:pt x="638556" y="81058"/>
                  </a:lnTo>
                  <a:lnTo>
                    <a:pt x="637413" y="84487"/>
                  </a:lnTo>
                  <a:lnTo>
                    <a:pt x="634270" y="84868"/>
                  </a:lnTo>
                  <a:lnTo>
                    <a:pt x="626173" y="71438"/>
                  </a:lnTo>
                  <a:lnTo>
                    <a:pt x="623030" y="71818"/>
                  </a:lnTo>
                  <a:lnTo>
                    <a:pt x="619220" y="67532"/>
                  </a:lnTo>
                  <a:lnTo>
                    <a:pt x="621601" y="73628"/>
                  </a:lnTo>
                  <a:lnTo>
                    <a:pt x="620077" y="73819"/>
                  </a:lnTo>
                  <a:lnTo>
                    <a:pt x="616458" y="71056"/>
                  </a:lnTo>
                  <a:lnTo>
                    <a:pt x="615125" y="72866"/>
                  </a:lnTo>
                  <a:lnTo>
                    <a:pt x="616648" y="72676"/>
                  </a:lnTo>
                  <a:lnTo>
                    <a:pt x="621030" y="81725"/>
                  </a:lnTo>
                  <a:lnTo>
                    <a:pt x="619697" y="83534"/>
                  </a:lnTo>
                  <a:lnTo>
                    <a:pt x="621411" y="84868"/>
                  </a:lnTo>
                  <a:lnTo>
                    <a:pt x="618649" y="88487"/>
                  </a:lnTo>
                  <a:lnTo>
                    <a:pt x="620649" y="91440"/>
                  </a:lnTo>
                  <a:lnTo>
                    <a:pt x="625412" y="90773"/>
                  </a:lnTo>
                  <a:lnTo>
                    <a:pt x="623983" y="92583"/>
                  </a:lnTo>
                  <a:lnTo>
                    <a:pt x="620649" y="91440"/>
                  </a:lnTo>
                  <a:lnTo>
                    <a:pt x="621030" y="94583"/>
                  </a:lnTo>
                  <a:lnTo>
                    <a:pt x="619506" y="94774"/>
                  </a:lnTo>
                  <a:lnTo>
                    <a:pt x="616934" y="87058"/>
                  </a:lnTo>
                  <a:lnTo>
                    <a:pt x="613791" y="87439"/>
                  </a:lnTo>
                  <a:lnTo>
                    <a:pt x="610172" y="84677"/>
                  </a:lnTo>
                  <a:lnTo>
                    <a:pt x="605504" y="85344"/>
                  </a:lnTo>
                  <a:lnTo>
                    <a:pt x="604266" y="88678"/>
                  </a:lnTo>
                  <a:lnTo>
                    <a:pt x="600932" y="87535"/>
                  </a:lnTo>
                  <a:lnTo>
                    <a:pt x="601123" y="89059"/>
                  </a:lnTo>
                  <a:lnTo>
                    <a:pt x="599504" y="89249"/>
                  </a:lnTo>
                  <a:lnTo>
                    <a:pt x="601504" y="92202"/>
                  </a:lnTo>
                  <a:lnTo>
                    <a:pt x="599980" y="92392"/>
                  </a:lnTo>
                  <a:lnTo>
                    <a:pt x="600170" y="94012"/>
                  </a:lnTo>
                  <a:lnTo>
                    <a:pt x="598360" y="92678"/>
                  </a:lnTo>
                  <a:lnTo>
                    <a:pt x="598551" y="94202"/>
                  </a:lnTo>
                  <a:lnTo>
                    <a:pt x="597218" y="96012"/>
                  </a:lnTo>
                  <a:lnTo>
                    <a:pt x="595217" y="93059"/>
                  </a:lnTo>
                  <a:lnTo>
                    <a:pt x="593884" y="94774"/>
                  </a:lnTo>
                  <a:lnTo>
                    <a:pt x="591502" y="101536"/>
                  </a:lnTo>
                  <a:lnTo>
                    <a:pt x="589883" y="101727"/>
                  </a:lnTo>
                  <a:lnTo>
                    <a:pt x="591122" y="98393"/>
                  </a:lnTo>
                  <a:lnTo>
                    <a:pt x="587693" y="97155"/>
                  </a:lnTo>
                  <a:lnTo>
                    <a:pt x="584930" y="100775"/>
                  </a:lnTo>
                  <a:lnTo>
                    <a:pt x="583978" y="105727"/>
                  </a:lnTo>
                  <a:lnTo>
                    <a:pt x="582454" y="105918"/>
                  </a:lnTo>
                  <a:lnTo>
                    <a:pt x="581787" y="101155"/>
                  </a:lnTo>
                  <a:lnTo>
                    <a:pt x="578644" y="101536"/>
                  </a:lnTo>
                  <a:lnTo>
                    <a:pt x="578263" y="98393"/>
                  </a:lnTo>
                  <a:lnTo>
                    <a:pt x="574929" y="97250"/>
                  </a:lnTo>
                  <a:lnTo>
                    <a:pt x="567595" y="102965"/>
                  </a:lnTo>
                  <a:lnTo>
                    <a:pt x="564261" y="101822"/>
                  </a:lnTo>
                  <a:lnTo>
                    <a:pt x="562451" y="100393"/>
                  </a:lnTo>
                  <a:lnTo>
                    <a:pt x="565595" y="100013"/>
                  </a:lnTo>
                  <a:lnTo>
                    <a:pt x="567023" y="98203"/>
                  </a:lnTo>
                  <a:lnTo>
                    <a:pt x="564833" y="93726"/>
                  </a:lnTo>
                  <a:lnTo>
                    <a:pt x="567595" y="90106"/>
                  </a:lnTo>
                  <a:lnTo>
                    <a:pt x="567214" y="86963"/>
                  </a:lnTo>
                  <a:lnTo>
                    <a:pt x="564071" y="87344"/>
                  </a:lnTo>
                  <a:lnTo>
                    <a:pt x="562261" y="86011"/>
                  </a:lnTo>
                  <a:lnTo>
                    <a:pt x="560451" y="84677"/>
                  </a:lnTo>
                  <a:lnTo>
                    <a:pt x="560451" y="84677"/>
                  </a:lnTo>
                  <a:lnTo>
                    <a:pt x="558260" y="80105"/>
                  </a:lnTo>
                  <a:lnTo>
                    <a:pt x="556927" y="81915"/>
                  </a:lnTo>
                  <a:lnTo>
                    <a:pt x="549783" y="76390"/>
                  </a:lnTo>
                  <a:lnTo>
                    <a:pt x="544068" y="81915"/>
                  </a:lnTo>
                  <a:lnTo>
                    <a:pt x="541877" y="77343"/>
                  </a:lnTo>
                  <a:lnTo>
                    <a:pt x="540544" y="79153"/>
                  </a:lnTo>
                  <a:lnTo>
                    <a:pt x="540353" y="77629"/>
                  </a:lnTo>
                  <a:lnTo>
                    <a:pt x="538543" y="76200"/>
                  </a:lnTo>
                  <a:lnTo>
                    <a:pt x="539115" y="68104"/>
                  </a:lnTo>
                  <a:lnTo>
                    <a:pt x="540448" y="66294"/>
                  </a:lnTo>
                  <a:lnTo>
                    <a:pt x="535114" y="62198"/>
                  </a:lnTo>
                  <a:lnTo>
                    <a:pt x="528638" y="61436"/>
                  </a:lnTo>
                  <a:lnTo>
                    <a:pt x="528256" y="58293"/>
                  </a:lnTo>
                  <a:lnTo>
                    <a:pt x="523684" y="60484"/>
                  </a:lnTo>
                  <a:lnTo>
                    <a:pt x="521303" y="54292"/>
                  </a:lnTo>
                  <a:lnTo>
                    <a:pt x="515588" y="59912"/>
                  </a:lnTo>
                  <a:lnTo>
                    <a:pt x="512445" y="60293"/>
                  </a:lnTo>
                  <a:lnTo>
                    <a:pt x="501587" y="63246"/>
                  </a:lnTo>
                  <a:lnTo>
                    <a:pt x="499396" y="58769"/>
                  </a:lnTo>
                  <a:lnTo>
                    <a:pt x="496634" y="62293"/>
                  </a:lnTo>
                  <a:lnTo>
                    <a:pt x="493490" y="62675"/>
                  </a:lnTo>
                  <a:lnTo>
                    <a:pt x="492157" y="64484"/>
                  </a:lnTo>
                  <a:lnTo>
                    <a:pt x="492538" y="67627"/>
                  </a:lnTo>
                  <a:lnTo>
                    <a:pt x="493585" y="75533"/>
                  </a:lnTo>
                  <a:lnTo>
                    <a:pt x="489013" y="77724"/>
                  </a:lnTo>
                  <a:lnTo>
                    <a:pt x="489395" y="80867"/>
                  </a:lnTo>
                  <a:lnTo>
                    <a:pt x="485108" y="84582"/>
                  </a:lnTo>
                  <a:lnTo>
                    <a:pt x="481965" y="85058"/>
                  </a:lnTo>
                  <a:lnTo>
                    <a:pt x="482346" y="88201"/>
                  </a:lnTo>
                  <a:lnTo>
                    <a:pt x="485299" y="86201"/>
                  </a:lnTo>
                  <a:lnTo>
                    <a:pt x="479584" y="91726"/>
                  </a:lnTo>
                  <a:lnTo>
                    <a:pt x="480155" y="96488"/>
                  </a:lnTo>
                  <a:lnTo>
                    <a:pt x="475297" y="95536"/>
                  </a:lnTo>
                  <a:lnTo>
                    <a:pt x="474821" y="92297"/>
                  </a:lnTo>
                  <a:lnTo>
                    <a:pt x="477774" y="90392"/>
                  </a:lnTo>
                  <a:lnTo>
                    <a:pt x="476059" y="88963"/>
                  </a:lnTo>
                  <a:lnTo>
                    <a:pt x="469868" y="91345"/>
                  </a:lnTo>
                  <a:lnTo>
                    <a:pt x="462058" y="92392"/>
                  </a:lnTo>
                  <a:lnTo>
                    <a:pt x="459105" y="94393"/>
                  </a:lnTo>
                  <a:lnTo>
                    <a:pt x="455676" y="93154"/>
                  </a:lnTo>
                  <a:lnTo>
                    <a:pt x="450818" y="92202"/>
                  </a:lnTo>
                  <a:lnTo>
                    <a:pt x="444437" y="92964"/>
                  </a:lnTo>
                  <a:lnTo>
                    <a:pt x="441293" y="93440"/>
                  </a:lnTo>
                  <a:lnTo>
                    <a:pt x="440150" y="96774"/>
                  </a:lnTo>
                  <a:lnTo>
                    <a:pt x="433006" y="91250"/>
                  </a:lnTo>
                  <a:lnTo>
                    <a:pt x="428244" y="91821"/>
                  </a:lnTo>
                  <a:lnTo>
                    <a:pt x="419957" y="89725"/>
                  </a:lnTo>
                  <a:lnTo>
                    <a:pt x="421196" y="99155"/>
                  </a:lnTo>
                  <a:lnTo>
                    <a:pt x="416052" y="96583"/>
                  </a:lnTo>
                  <a:lnTo>
                    <a:pt x="411480" y="98774"/>
                  </a:lnTo>
                  <a:lnTo>
                    <a:pt x="409766" y="97441"/>
                  </a:lnTo>
                  <a:lnTo>
                    <a:pt x="409384" y="94297"/>
                  </a:lnTo>
                  <a:lnTo>
                    <a:pt x="410527" y="90868"/>
                  </a:lnTo>
                  <a:lnTo>
                    <a:pt x="408527" y="87916"/>
                  </a:lnTo>
                  <a:lnTo>
                    <a:pt x="405384" y="88392"/>
                  </a:lnTo>
                  <a:lnTo>
                    <a:pt x="406146" y="94679"/>
                  </a:lnTo>
                  <a:lnTo>
                    <a:pt x="405003" y="98012"/>
                  </a:lnTo>
                  <a:lnTo>
                    <a:pt x="398526" y="97250"/>
                  </a:lnTo>
                  <a:lnTo>
                    <a:pt x="397097" y="99060"/>
                  </a:lnTo>
                  <a:lnTo>
                    <a:pt x="395097" y="96107"/>
                  </a:lnTo>
                  <a:lnTo>
                    <a:pt x="388810" y="96869"/>
                  </a:lnTo>
                  <a:lnTo>
                    <a:pt x="388620" y="95345"/>
                  </a:lnTo>
                  <a:lnTo>
                    <a:pt x="385667" y="97250"/>
                  </a:lnTo>
                  <a:lnTo>
                    <a:pt x="383667" y="94297"/>
                  </a:lnTo>
                  <a:lnTo>
                    <a:pt x="382143" y="94488"/>
                  </a:lnTo>
                  <a:lnTo>
                    <a:pt x="379762" y="88392"/>
                  </a:lnTo>
                  <a:lnTo>
                    <a:pt x="380714" y="83439"/>
                  </a:lnTo>
                  <a:lnTo>
                    <a:pt x="382048" y="81725"/>
                  </a:lnTo>
                  <a:lnTo>
                    <a:pt x="381286" y="75343"/>
                  </a:lnTo>
                  <a:lnTo>
                    <a:pt x="380905" y="72200"/>
                  </a:lnTo>
                  <a:lnTo>
                    <a:pt x="382238" y="70485"/>
                  </a:lnTo>
                  <a:lnTo>
                    <a:pt x="381857" y="67342"/>
                  </a:lnTo>
                  <a:lnTo>
                    <a:pt x="386620" y="66675"/>
                  </a:lnTo>
                  <a:lnTo>
                    <a:pt x="381667" y="65722"/>
                  </a:lnTo>
                  <a:lnTo>
                    <a:pt x="376142" y="60007"/>
                  </a:lnTo>
                  <a:lnTo>
                    <a:pt x="374713" y="61817"/>
                  </a:lnTo>
                  <a:lnTo>
                    <a:pt x="365284" y="62960"/>
                  </a:lnTo>
                  <a:lnTo>
                    <a:pt x="361950" y="61817"/>
                  </a:lnTo>
                  <a:lnTo>
                    <a:pt x="357950" y="68771"/>
                  </a:lnTo>
                  <a:lnTo>
                    <a:pt x="357759" y="67151"/>
                  </a:lnTo>
                  <a:lnTo>
                    <a:pt x="352044" y="72676"/>
                  </a:lnTo>
                  <a:lnTo>
                    <a:pt x="350330" y="71342"/>
                  </a:lnTo>
                  <a:lnTo>
                    <a:pt x="348901" y="73057"/>
                  </a:lnTo>
                  <a:lnTo>
                    <a:pt x="342233" y="70771"/>
                  </a:lnTo>
                  <a:lnTo>
                    <a:pt x="341471" y="77248"/>
                  </a:lnTo>
                  <a:lnTo>
                    <a:pt x="345376" y="83153"/>
                  </a:lnTo>
                  <a:lnTo>
                    <a:pt x="342614" y="86773"/>
                  </a:lnTo>
                  <a:lnTo>
                    <a:pt x="342233" y="83534"/>
                  </a:lnTo>
                  <a:lnTo>
                    <a:pt x="341471" y="90106"/>
                  </a:lnTo>
                  <a:lnTo>
                    <a:pt x="340042" y="91821"/>
                  </a:lnTo>
                  <a:lnTo>
                    <a:pt x="340519" y="95059"/>
                  </a:lnTo>
                  <a:lnTo>
                    <a:pt x="338900" y="95250"/>
                  </a:lnTo>
                  <a:lnTo>
                    <a:pt x="337566" y="96964"/>
                  </a:lnTo>
                  <a:lnTo>
                    <a:pt x="335566" y="94012"/>
                  </a:lnTo>
                  <a:lnTo>
                    <a:pt x="333946" y="94202"/>
                  </a:lnTo>
                  <a:lnTo>
                    <a:pt x="334327" y="97441"/>
                  </a:lnTo>
                  <a:lnTo>
                    <a:pt x="332804" y="97631"/>
                  </a:lnTo>
                  <a:lnTo>
                    <a:pt x="336709" y="103537"/>
                  </a:lnTo>
                  <a:lnTo>
                    <a:pt x="333566" y="103918"/>
                  </a:lnTo>
                  <a:lnTo>
                    <a:pt x="334042" y="107061"/>
                  </a:lnTo>
                  <a:lnTo>
                    <a:pt x="330803" y="107442"/>
                  </a:lnTo>
                  <a:lnTo>
                    <a:pt x="330041" y="101155"/>
                  </a:lnTo>
                  <a:lnTo>
                    <a:pt x="326898" y="101536"/>
                  </a:lnTo>
                  <a:lnTo>
                    <a:pt x="324707" y="97060"/>
                  </a:lnTo>
                  <a:lnTo>
                    <a:pt x="322135" y="102203"/>
                  </a:lnTo>
                  <a:lnTo>
                    <a:pt x="320612" y="102394"/>
                  </a:lnTo>
                  <a:lnTo>
                    <a:pt x="320992" y="105537"/>
                  </a:lnTo>
                  <a:lnTo>
                    <a:pt x="318230" y="109061"/>
                  </a:lnTo>
                  <a:lnTo>
                    <a:pt x="318611" y="112204"/>
                  </a:lnTo>
                  <a:lnTo>
                    <a:pt x="318992" y="115443"/>
                  </a:lnTo>
                  <a:lnTo>
                    <a:pt x="309372" y="115062"/>
                  </a:lnTo>
                  <a:lnTo>
                    <a:pt x="302609" y="112681"/>
                  </a:lnTo>
                  <a:lnTo>
                    <a:pt x="302038" y="107918"/>
                  </a:lnTo>
                  <a:lnTo>
                    <a:pt x="298704" y="106775"/>
                  </a:lnTo>
                  <a:lnTo>
                    <a:pt x="290036" y="114300"/>
                  </a:lnTo>
                  <a:lnTo>
                    <a:pt x="290989" y="122206"/>
                  </a:lnTo>
                  <a:lnTo>
                    <a:pt x="290989" y="122206"/>
                  </a:lnTo>
                  <a:lnTo>
                    <a:pt x="289465" y="122396"/>
                  </a:lnTo>
                  <a:lnTo>
                    <a:pt x="285083" y="126111"/>
                  </a:lnTo>
                  <a:lnTo>
                    <a:pt x="284702" y="122968"/>
                  </a:lnTo>
                  <a:lnTo>
                    <a:pt x="275463" y="125730"/>
                  </a:lnTo>
                  <a:lnTo>
                    <a:pt x="273463" y="122777"/>
                  </a:lnTo>
                  <a:lnTo>
                    <a:pt x="268700" y="123444"/>
                  </a:lnTo>
                  <a:lnTo>
                    <a:pt x="268129" y="118681"/>
                  </a:lnTo>
                  <a:lnTo>
                    <a:pt x="264605" y="115919"/>
                  </a:lnTo>
                  <a:lnTo>
                    <a:pt x="263366" y="119253"/>
                  </a:lnTo>
                  <a:lnTo>
                    <a:pt x="257080" y="120110"/>
                  </a:lnTo>
                  <a:lnTo>
                    <a:pt x="261366" y="116300"/>
                  </a:lnTo>
                  <a:lnTo>
                    <a:pt x="260985" y="113157"/>
                  </a:lnTo>
                  <a:lnTo>
                    <a:pt x="263938" y="111157"/>
                  </a:lnTo>
                  <a:lnTo>
                    <a:pt x="256032" y="112204"/>
                  </a:lnTo>
                  <a:lnTo>
                    <a:pt x="254698" y="114014"/>
                  </a:lnTo>
                  <a:lnTo>
                    <a:pt x="251174" y="111252"/>
                  </a:lnTo>
                  <a:lnTo>
                    <a:pt x="248984" y="106680"/>
                  </a:lnTo>
                  <a:lnTo>
                    <a:pt x="249746" y="100203"/>
                  </a:lnTo>
                  <a:lnTo>
                    <a:pt x="239649" y="96679"/>
                  </a:lnTo>
                  <a:lnTo>
                    <a:pt x="235077" y="98869"/>
                  </a:lnTo>
                  <a:lnTo>
                    <a:pt x="235363" y="100393"/>
                  </a:lnTo>
                  <a:lnTo>
                    <a:pt x="238696" y="101536"/>
                  </a:lnTo>
                  <a:lnTo>
                    <a:pt x="234125" y="103727"/>
                  </a:lnTo>
                  <a:lnTo>
                    <a:pt x="230410" y="112204"/>
                  </a:lnTo>
                  <a:lnTo>
                    <a:pt x="227076" y="111061"/>
                  </a:lnTo>
                  <a:lnTo>
                    <a:pt x="227267" y="112681"/>
                  </a:lnTo>
                  <a:lnTo>
                    <a:pt x="225457" y="111252"/>
                  </a:lnTo>
                  <a:lnTo>
                    <a:pt x="222694" y="114871"/>
                  </a:lnTo>
                  <a:lnTo>
                    <a:pt x="220790" y="111919"/>
                  </a:lnTo>
                  <a:lnTo>
                    <a:pt x="222123" y="110109"/>
                  </a:lnTo>
                  <a:lnTo>
                    <a:pt x="220504" y="110300"/>
                  </a:lnTo>
                  <a:lnTo>
                    <a:pt x="219170" y="112109"/>
                  </a:lnTo>
                  <a:lnTo>
                    <a:pt x="217742" y="113824"/>
                  </a:lnTo>
                  <a:lnTo>
                    <a:pt x="216408" y="102775"/>
                  </a:lnTo>
                  <a:lnTo>
                    <a:pt x="214979" y="104584"/>
                  </a:lnTo>
                  <a:lnTo>
                    <a:pt x="213265" y="103251"/>
                  </a:lnTo>
                  <a:lnTo>
                    <a:pt x="210407" y="93917"/>
                  </a:lnTo>
                  <a:lnTo>
                    <a:pt x="207264" y="94393"/>
                  </a:lnTo>
                  <a:lnTo>
                    <a:pt x="209264" y="97346"/>
                  </a:lnTo>
                  <a:lnTo>
                    <a:pt x="202978" y="98107"/>
                  </a:lnTo>
                  <a:lnTo>
                    <a:pt x="203740" y="104394"/>
                  </a:lnTo>
                  <a:lnTo>
                    <a:pt x="198977" y="105061"/>
                  </a:lnTo>
                  <a:lnTo>
                    <a:pt x="199453" y="108204"/>
                  </a:lnTo>
                  <a:lnTo>
                    <a:pt x="192500" y="104299"/>
                  </a:lnTo>
                  <a:lnTo>
                    <a:pt x="186023" y="103442"/>
                  </a:lnTo>
                  <a:lnTo>
                    <a:pt x="182499" y="113538"/>
                  </a:lnTo>
                  <a:lnTo>
                    <a:pt x="180880" y="113729"/>
                  </a:lnTo>
                  <a:lnTo>
                    <a:pt x="180880" y="113729"/>
                  </a:lnTo>
                  <a:lnTo>
                    <a:pt x="170974" y="111823"/>
                  </a:lnTo>
                  <a:lnTo>
                    <a:pt x="169259" y="110395"/>
                  </a:lnTo>
                  <a:lnTo>
                    <a:pt x="165925" y="109252"/>
                  </a:lnTo>
                  <a:lnTo>
                    <a:pt x="164687" y="112585"/>
                  </a:lnTo>
                  <a:lnTo>
                    <a:pt x="160401" y="116396"/>
                  </a:lnTo>
                  <a:lnTo>
                    <a:pt x="159163" y="119729"/>
                  </a:lnTo>
                  <a:lnTo>
                    <a:pt x="164306" y="122301"/>
                  </a:lnTo>
                  <a:lnTo>
                    <a:pt x="164782" y="125444"/>
                  </a:lnTo>
                  <a:lnTo>
                    <a:pt x="163544" y="128778"/>
                  </a:lnTo>
                  <a:lnTo>
                    <a:pt x="160211" y="127635"/>
                  </a:lnTo>
                  <a:lnTo>
                    <a:pt x="159067" y="130969"/>
                  </a:lnTo>
                  <a:lnTo>
                    <a:pt x="155829" y="131350"/>
                  </a:lnTo>
                  <a:lnTo>
                    <a:pt x="157829" y="134302"/>
                  </a:lnTo>
                  <a:lnTo>
                    <a:pt x="156496" y="136112"/>
                  </a:lnTo>
                  <a:lnTo>
                    <a:pt x="157258" y="142399"/>
                  </a:lnTo>
                  <a:lnTo>
                    <a:pt x="160592" y="143637"/>
                  </a:lnTo>
                  <a:lnTo>
                    <a:pt x="163830" y="143161"/>
                  </a:lnTo>
                  <a:lnTo>
                    <a:pt x="164021" y="144780"/>
                  </a:lnTo>
                  <a:lnTo>
                    <a:pt x="163830" y="143161"/>
                  </a:lnTo>
                  <a:lnTo>
                    <a:pt x="170307" y="144018"/>
                  </a:lnTo>
                  <a:lnTo>
                    <a:pt x="170497" y="145542"/>
                  </a:lnTo>
                  <a:lnTo>
                    <a:pt x="164021" y="144780"/>
                  </a:lnTo>
                  <a:lnTo>
                    <a:pt x="165925" y="147733"/>
                  </a:lnTo>
                  <a:lnTo>
                    <a:pt x="164782" y="151067"/>
                  </a:lnTo>
                  <a:lnTo>
                    <a:pt x="165925" y="147733"/>
                  </a:lnTo>
                  <a:lnTo>
                    <a:pt x="167545" y="147542"/>
                  </a:lnTo>
                  <a:lnTo>
                    <a:pt x="167926" y="150685"/>
                  </a:lnTo>
                  <a:lnTo>
                    <a:pt x="165163" y="154210"/>
                  </a:lnTo>
                  <a:lnTo>
                    <a:pt x="168402" y="153829"/>
                  </a:lnTo>
                  <a:lnTo>
                    <a:pt x="167164" y="157163"/>
                  </a:lnTo>
                  <a:lnTo>
                    <a:pt x="169545" y="163354"/>
                  </a:lnTo>
                  <a:lnTo>
                    <a:pt x="166592" y="165259"/>
                  </a:lnTo>
                  <a:lnTo>
                    <a:pt x="165640" y="170212"/>
                  </a:lnTo>
                  <a:lnTo>
                    <a:pt x="168973" y="171355"/>
                  </a:lnTo>
                  <a:lnTo>
                    <a:pt x="167640" y="173164"/>
                  </a:lnTo>
                  <a:lnTo>
                    <a:pt x="168021" y="176308"/>
                  </a:lnTo>
                  <a:lnTo>
                    <a:pt x="166878" y="179642"/>
                  </a:lnTo>
                  <a:lnTo>
                    <a:pt x="168592" y="181070"/>
                  </a:lnTo>
                  <a:lnTo>
                    <a:pt x="170783" y="185642"/>
                  </a:lnTo>
                  <a:lnTo>
                    <a:pt x="172402" y="185452"/>
                  </a:lnTo>
                  <a:lnTo>
                    <a:pt x="172784" y="188595"/>
                  </a:lnTo>
                  <a:lnTo>
                    <a:pt x="174593" y="189929"/>
                  </a:lnTo>
                  <a:lnTo>
                    <a:pt x="174974" y="193072"/>
                  </a:lnTo>
                  <a:lnTo>
                    <a:pt x="178117" y="192691"/>
                  </a:lnTo>
                  <a:lnTo>
                    <a:pt x="178308" y="194310"/>
                  </a:lnTo>
                  <a:lnTo>
                    <a:pt x="175165" y="194691"/>
                  </a:lnTo>
                  <a:lnTo>
                    <a:pt x="177165" y="197644"/>
                  </a:lnTo>
                  <a:lnTo>
                    <a:pt x="185261" y="198215"/>
                  </a:lnTo>
                  <a:lnTo>
                    <a:pt x="185452" y="199739"/>
                  </a:lnTo>
                  <a:lnTo>
                    <a:pt x="182309" y="200215"/>
                  </a:lnTo>
                  <a:lnTo>
                    <a:pt x="175736" y="199358"/>
                  </a:lnTo>
                  <a:lnTo>
                    <a:pt x="173165" y="204502"/>
                  </a:lnTo>
                  <a:lnTo>
                    <a:pt x="174974" y="205930"/>
                  </a:lnTo>
                  <a:lnTo>
                    <a:pt x="173450" y="206121"/>
                  </a:lnTo>
                  <a:lnTo>
                    <a:pt x="169450" y="213074"/>
                  </a:lnTo>
                  <a:lnTo>
                    <a:pt x="166306" y="213455"/>
                  </a:lnTo>
                  <a:lnTo>
                    <a:pt x="168116" y="214789"/>
                  </a:lnTo>
                  <a:lnTo>
                    <a:pt x="165544" y="219932"/>
                  </a:lnTo>
                  <a:lnTo>
                    <a:pt x="166402" y="226219"/>
                  </a:lnTo>
                  <a:lnTo>
                    <a:pt x="168116" y="227647"/>
                  </a:lnTo>
                  <a:lnTo>
                    <a:pt x="164211" y="234505"/>
                  </a:lnTo>
                  <a:lnTo>
                    <a:pt x="162592" y="234791"/>
                  </a:lnTo>
                  <a:lnTo>
                    <a:pt x="163068" y="237934"/>
                  </a:lnTo>
                  <a:lnTo>
                    <a:pt x="164592" y="237744"/>
                  </a:lnTo>
                  <a:lnTo>
                    <a:pt x="163259" y="239459"/>
                  </a:lnTo>
                  <a:lnTo>
                    <a:pt x="164782" y="239268"/>
                  </a:lnTo>
                  <a:lnTo>
                    <a:pt x="163449" y="241078"/>
                  </a:lnTo>
                  <a:lnTo>
                    <a:pt x="167354" y="246983"/>
                  </a:lnTo>
                  <a:lnTo>
                    <a:pt x="166402" y="251936"/>
                  </a:lnTo>
                  <a:lnTo>
                    <a:pt x="171926" y="257651"/>
                  </a:lnTo>
                  <a:lnTo>
                    <a:pt x="173926" y="260604"/>
                  </a:lnTo>
                  <a:lnTo>
                    <a:pt x="170974" y="262604"/>
                  </a:lnTo>
                  <a:lnTo>
                    <a:pt x="174307" y="263747"/>
                  </a:lnTo>
                  <a:lnTo>
                    <a:pt x="171164" y="264128"/>
                  </a:lnTo>
                  <a:lnTo>
                    <a:pt x="171355" y="265747"/>
                  </a:lnTo>
                  <a:lnTo>
                    <a:pt x="174498" y="265271"/>
                  </a:lnTo>
                  <a:lnTo>
                    <a:pt x="178308" y="269653"/>
                  </a:lnTo>
                  <a:lnTo>
                    <a:pt x="181261" y="267652"/>
                  </a:lnTo>
                  <a:lnTo>
                    <a:pt x="180118" y="270986"/>
                  </a:lnTo>
                  <a:lnTo>
                    <a:pt x="183451" y="272225"/>
                  </a:lnTo>
                  <a:lnTo>
                    <a:pt x="182690" y="278701"/>
                  </a:lnTo>
                  <a:lnTo>
                    <a:pt x="184594" y="281654"/>
                  </a:lnTo>
                  <a:lnTo>
                    <a:pt x="181261" y="280511"/>
                  </a:lnTo>
                  <a:lnTo>
                    <a:pt x="181642" y="283655"/>
                  </a:lnTo>
                  <a:lnTo>
                    <a:pt x="180118" y="283845"/>
                  </a:lnTo>
                  <a:lnTo>
                    <a:pt x="176022" y="289179"/>
                  </a:lnTo>
                  <a:lnTo>
                    <a:pt x="177736" y="290513"/>
                  </a:lnTo>
                  <a:lnTo>
                    <a:pt x="180308" y="285464"/>
                  </a:lnTo>
                  <a:lnTo>
                    <a:pt x="181356" y="293275"/>
                  </a:lnTo>
                  <a:lnTo>
                    <a:pt x="183071" y="294704"/>
                  </a:lnTo>
                  <a:lnTo>
                    <a:pt x="175165" y="295656"/>
                  </a:lnTo>
                  <a:lnTo>
                    <a:pt x="171450" y="304229"/>
                  </a:lnTo>
                  <a:lnTo>
                    <a:pt x="169164" y="310896"/>
                  </a:lnTo>
                  <a:lnTo>
                    <a:pt x="171069" y="313849"/>
                  </a:lnTo>
                  <a:lnTo>
                    <a:pt x="167926" y="314230"/>
                  </a:lnTo>
                  <a:lnTo>
                    <a:pt x="170497" y="321945"/>
                  </a:lnTo>
                  <a:lnTo>
                    <a:pt x="169354" y="325279"/>
                  </a:lnTo>
                  <a:lnTo>
                    <a:pt x="168021" y="327088"/>
                  </a:lnTo>
                  <a:lnTo>
                    <a:pt x="159639" y="324898"/>
                  </a:lnTo>
                  <a:lnTo>
                    <a:pt x="155162" y="327088"/>
                  </a:lnTo>
                  <a:lnTo>
                    <a:pt x="154210" y="332042"/>
                  </a:lnTo>
                  <a:lnTo>
                    <a:pt x="151067" y="332422"/>
                  </a:lnTo>
                  <a:lnTo>
                    <a:pt x="146494" y="334613"/>
                  </a:lnTo>
                  <a:lnTo>
                    <a:pt x="144494" y="344519"/>
                  </a:lnTo>
                  <a:lnTo>
                    <a:pt x="136017" y="340805"/>
                  </a:lnTo>
                  <a:lnTo>
                    <a:pt x="139065" y="351663"/>
                  </a:lnTo>
                  <a:lnTo>
                    <a:pt x="136112" y="353568"/>
                  </a:lnTo>
                  <a:lnTo>
                    <a:pt x="134493" y="353759"/>
                  </a:lnTo>
                  <a:lnTo>
                    <a:pt x="138684" y="361283"/>
                  </a:lnTo>
                  <a:lnTo>
                    <a:pt x="141827" y="360902"/>
                  </a:lnTo>
                  <a:lnTo>
                    <a:pt x="145161" y="362045"/>
                  </a:lnTo>
                  <a:lnTo>
                    <a:pt x="144399" y="368617"/>
                  </a:lnTo>
                  <a:lnTo>
                    <a:pt x="141446" y="370522"/>
                  </a:lnTo>
                  <a:lnTo>
                    <a:pt x="140684" y="377095"/>
                  </a:lnTo>
                  <a:lnTo>
                    <a:pt x="137541" y="377476"/>
                  </a:lnTo>
                  <a:lnTo>
                    <a:pt x="134398" y="377857"/>
                  </a:lnTo>
                  <a:lnTo>
                    <a:pt x="130588" y="373571"/>
                  </a:lnTo>
                  <a:lnTo>
                    <a:pt x="126111" y="375761"/>
                  </a:lnTo>
                  <a:lnTo>
                    <a:pt x="119539" y="374999"/>
                  </a:lnTo>
                  <a:lnTo>
                    <a:pt x="118205" y="376714"/>
                  </a:lnTo>
                  <a:lnTo>
                    <a:pt x="121729" y="379476"/>
                  </a:lnTo>
                  <a:lnTo>
                    <a:pt x="121348" y="389192"/>
                  </a:lnTo>
                  <a:lnTo>
                    <a:pt x="124301" y="400050"/>
                  </a:lnTo>
                  <a:lnTo>
                    <a:pt x="127540" y="399574"/>
                  </a:lnTo>
                  <a:lnTo>
                    <a:pt x="129254" y="401002"/>
                  </a:lnTo>
                  <a:lnTo>
                    <a:pt x="138970" y="401384"/>
                  </a:lnTo>
                  <a:lnTo>
                    <a:pt x="141922" y="399383"/>
                  </a:lnTo>
                  <a:lnTo>
                    <a:pt x="143923" y="402336"/>
                  </a:lnTo>
                  <a:lnTo>
                    <a:pt x="140684" y="402717"/>
                  </a:lnTo>
                  <a:lnTo>
                    <a:pt x="133636" y="410051"/>
                  </a:lnTo>
                  <a:lnTo>
                    <a:pt x="133826" y="411575"/>
                  </a:lnTo>
                  <a:lnTo>
                    <a:pt x="137827" y="417576"/>
                  </a:lnTo>
                  <a:lnTo>
                    <a:pt x="136207" y="417767"/>
                  </a:lnTo>
                  <a:lnTo>
                    <a:pt x="129730" y="417005"/>
                  </a:lnTo>
                  <a:lnTo>
                    <a:pt x="129540" y="415385"/>
                  </a:lnTo>
                  <a:lnTo>
                    <a:pt x="124396" y="412813"/>
                  </a:lnTo>
                  <a:lnTo>
                    <a:pt x="123444" y="417767"/>
                  </a:lnTo>
                  <a:lnTo>
                    <a:pt x="125158" y="419100"/>
                  </a:lnTo>
                  <a:lnTo>
                    <a:pt x="126016" y="425482"/>
                  </a:lnTo>
                  <a:lnTo>
                    <a:pt x="119253" y="423100"/>
                  </a:lnTo>
                  <a:lnTo>
                    <a:pt x="113538" y="428625"/>
                  </a:lnTo>
                  <a:lnTo>
                    <a:pt x="115348" y="430054"/>
                  </a:lnTo>
                  <a:lnTo>
                    <a:pt x="115729" y="433197"/>
                  </a:lnTo>
                  <a:lnTo>
                    <a:pt x="112395" y="431959"/>
                  </a:lnTo>
                  <a:lnTo>
                    <a:pt x="110966" y="433768"/>
                  </a:lnTo>
                  <a:lnTo>
                    <a:pt x="111633" y="438531"/>
                  </a:lnTo>
                  <a:lnTo>
                    <a:pt x="114776" y="438150"/>
                  </a:lnTo>
                  <a:lnTo>
                    <a:pt x="113157" y="438340"/>
                  </a:lnTo>
                  <a:lnTo>
                    <a:pt x="114014" y="444627"/>
                  </a:lnTo>
                  <a:lnTo>
                    <a:pt x="116776" y="441103"/>
                  </a:lnTo>
                  <a:lnTo>
                    <a:pt x="116396" y="450723"/>
                  </a:lnTo>
                  <a:lnTo>
                    <a:pt x="124682" y="452914"/>
                  </a:lnTo>
                  <a:lnTo>
                    <a:pt x="126206" y="452723"/>
                  </a:lnTo>
                  <a:lnTo>
                    <a:pt x="125063" y="456057"/>
                  </a:lnTo>
                  <a:lnTo>
                    <a:pt x="128397" y="457200"/>
                  </a:lnTo>
                  <a:lnTo>
                    <a:pt x="129445" y="465106"/>
                  </a:lnTo>
                  <a:lnTo>
                    <a:pt x="132017" y="472821"/>
                  </a:lnTo>
                  <a:lnTo>
                    <a:pt x="127730" y="476536"/>
                  </a:lnTo>
                  <a:lnTo>
                    <a:pt x="122587" y="473964"/>
                  </a:lnTo>
                  <a:lnTo>
                    <a:pt x="119348" y="474440"/>
                  </a:lnTo>
                  <a:lnTo>
                    <a:pt x="112490" y="483298"/>
                  </a:lnTo>
                  <a:lnTo>
                    <a:pt x="113157" y="500825"/>
                  </a:lnTo>
                  <a:lnTo>
                    <a:pt x="113347" y="502444"/>
                  </a:lnTo>
                  <a:lnTo>
                    <a:pt x="108775" y="504634"/>
                  </a:lnTo>
                  <a:lnTo>
                    <a:pt x="110776" y="507587"/>
                  </a:lnTo>
                  <a:lnTo>
                    <a:pt x="112204" y="505777"/>
                  </a:lnTo>
                  <a:lnTo>
                    <a:pt x="112395" y="507397"/>
                  </a:lnTo>
                  <a:lnTo>
                    <a:pt x="115348" y="505396"/>
                  </a:lnTo>
                  <a:lnTo>
                    <a:pt x="115538" y="507016"/>
                  </a:lnTo>
                  <a:lnTo>
                    <a:pt x="112776" y="510540"/>
                  </a:lnTo>
                  <a:lnTo>
                    <a:pt x="111633" y="513874"/>
                  </a:lnTo>
                  <a:lnTo>
                    <a:pt x="110966" y="509111"/>
                  </a:lnTo>
                  <a:lnTo>
                    <a:pt x="109442" y="509397"/>
                  </a:lnTo>
                  <a:lnTo>
                    <a:pt x="105823" y="506635"/>
                  </a:lnTo>
                  <a:lnTo>
                    <a:pt x="103061" y="510159"/>
                  </a:lnTo>
                  <a:lnTo>
                    <a:pt x="101346" y="508825"/>
                  </a:lnTo>
                  <a:lnTo>
                    <a:pt x="96965" y="512540"/>
                  </a:lnTo>
                  <a:lnTo>
                    <a:pt x="88868" y="511969"/>
                  </a:lnTo>
                  <a:lnTo>
                    <a:pt x="89535" y="516731"/>
                  </a:lnTo>
                  <a:lnTo>
                    <a:pt x="86582" y="518731"/>
                  </a:lnTo>
                  <a:lnTo>
                    <a:pt x="86963" y="521875"/>
                  </a:lnTo>
                  <a:lnTo>
                    <a:pt x="84011" y="523780"/>
                  </a:lnTo>
                  <a:lnTo>
                    <a:pt x="79057" y="522827"/>
                  </a:lnTo>
                  <a:lnTo>
                    <a:pt x="78105" y="527780"/>
                  </a:lnTo>
                  <a:lnTo>
                    <a:pt x="68008" y="537115"/>
                  </a:lnTo>
                  <a:lnTo>
                    <a:pt x="66103" y="534162"/>
                  </a:lnTo>
                  <a:lnTo>
                    <a:pt x="64103" y="531209"/>
                  </a:lnTo>
                  <a:lnTo>
                    <a:pt x="59341" y="531781"/>
                  </a:lnTo>
                  <a:lnTo>
                    <a:pt x="50863" y="528066"/>
                  </a:lnTo>
                  <a:lnTo>
                    <a:pt x="53816" y="526066"/>
                  </a:lnTo>
                  <a:lnTo>
                    <a:pt x="53626" y="524447"/>
                  </a:lnTo>
                  <a:lnTo>
                    <a:pt x="40576" y="522922"/>
                  </a:lnTo>
                  <a:lnTo>
                    <a:pt x="39243" y="524732"/>
                  </a:lnTo>
                  <a:lnTo>
                    <a:pt x="39433" y="526256"/>
                  </a:lnTo>
                  <a:lnTo>
                    <a:pt x="46101" y="528638"/>
                  </a:lnTo>
                  <a:lnTo>
                    <a:pt x="48101" y="531590"/>
                  </a:lnTo>
                  <a:lnTo>
                    <a:pt x="46768" y="533400"/>
                  </a:lnTo>
                  <a:lnTo>
                    <a:pt x="43720" y="535400"/>
                  </a:lnTo>
                  <a:lnTo>
                    <a:pt x="41434" y="542068"/>
                  </a:lnTo>
                  <a:lnTo>
                    <a:pt x="41624" y="543687"/>
                  </a:lnTo>
                  <a:lnTo>
                    <a:pt x="40481" y="547021"/>
                  </a:lnTo>
                  <a:lnTo>
                    <a:pt x="39433" y="551974"/>
                  </a:lnTo>
                  <a:lnTo>
                    <a:pt x="42863" y="553117"/>
                  </a:lnTo>
                  <a:lnTo>
                    <a:pt x="44386" y="565785"/>
                  </a:lnTo>
                  <a:lnTo>
                    <a:pt x="43244" y="569119"/>
                  </a:lnTo>
                  <a:lnTo>
                    <a:pt x="32385" y="572072"/>
                  </a:lnTo>
                  <a:lnTo>
                    <a:pt x="32575" y="573691"/>
                  </a:lnTo>
                  <a:lnTo>
                    <a:pt x="35433" y="582930"/>
                  </a:lnTo>
                  <a:lnTo>
                    <a:pt x="42481" y="588455"/>
                  </a:lnTo>
                  <a:lnTo>
                    <a:pt x="44482" y="591407"/>
                  </a:lnTo>
                  <a:lnTo>
                    <a:pt x="42386" y="599694"/>
                  </a:lnTo>
                  <a:lnTo>
                    <a:pt x="50292" y="611505"/>
                  </a:lnTo>
                  <a:lnTo>
                    <a:pt x="51054" y="617792"/>
                  </a:lnTo>
                  <a:lnTo>
                    <a:pt x="49911" y="621221"/>
                  </a:lnTo>
                  <a:lnTo>
                    <a:pt x="47720" y="629507"/>
                  </a:lnTo>
                  <a:lnTo>
                    <a:pt x="34957" y="642366"/>
                  </a:lnTo>
                  <a:lnTo>
                    <a:pt x="31147" y="637984"/>
                  </a:lnTo>
                  <a:lnTo>
                    <a:pt x="27813" y="636842"/>
                  </a:lnTo>
                  <a:lnTo>
                    <a:pt x="25813" y="633889"/>
                  </a:lnTo>
                  <a:lnTo>
                    <a:pt x="24289" y="634079"/>
                  </a:lnTo>
                  <a:lnTo>
                    <a:pt x="24670" y="637222"/>
                  </a:lnTo>
                  <a:lnTo>
                    <a:pt x="15049" y="649700"/>
                  </a:lnTo>
                  <a:lnTo>
                    <a:pt x="13240" y="661130"/>
                  </a:lnTo>
                  <a:lnTo>
                    <a:pt x="5048" y="671798"/>
                  </a:lnTo>
                  <a:lnTo>
                    <a:pt x="7048" y="674751"/>
                  </a:lnTo>
                  <a:lnTo>
                    <a:pt x="6191" y="681228"/>
                  </a:lnTo>
                  <a:lnTo>
                    <a:pt x="6858" y="685990"/>
                  </a:lnTo>
                  <a:lnTo>
                    <a:pt x="1524" y="694658"/>
                  </a:lnTo>
                  <a:lnTo>
                    <a:pt x="2096" y="699421"/>
                  </a:lnTo>
                  <a:lnTo>
                    <a:pt x="0" y="707707"/>
                  </a:lnTo>
                  <a:lnTo>
                    <a:pt x="3905" y="713613"/>
                  </a:lnTo>
                  <a:lnTo>
                    <a:pt x="10668" y="715994"/>
                  </a:lnTo>
                  <a:lnTo>
                    <a:pt x="9715" y="720947"/>
                  </a:lnTo>
                  <a:lnTo>
                    <a:pt x="10668" y="728853"/>
                  </a:lnTo>
                  <a:lnTo>
                    <a:pt x="15621" y="729805"/>
                  </a:lnTo>
                  <a:lnTo>
                    <a:pt x="18383" y="726186"/>
                  </a:lnTo>
                  <a:lnTo>
                    <a:pt x="25527" y="731710"/>
                  </a:lnTo>
                  <a:lnTo>
                    <a:pt x="28289" y="728186"/>
                  </a:lnTo>
                  <a:lnTo>
                    <a:pt x="31242" y="726186"/>
                  </a:lnTo>
                  <a:lnTo>
                    <a:pt x="38957" y="736473"/>
                  </a:lnTo>
                  <a:lnTo>
                    <a:pt x="36767" y="744760"/>
                  </a:lnTo>
                  <a:lnTo>
                    <a:pt x="40957" y="752189"/>
                  </a:lnTo>
                  <a:lnTo>
                    <a:pt x="52006" y="763619"/>
                  </a:lnTo>
                  <a:lnTo>
                    <a:pt x="51435" y="758952"/>
                  </a:lnTo>
                  <a:lnTo>
                    <a:pt x="54388" y="756952"/>
                  </a:lnTo>
                  <a:lnTo>
                    <a:pt x="58483" y="751618"/>
                  </a:lnTo>
                  <a:lnTo>
                    <a:pt x="64960" y="752380"/>
                  </a:lnTo>
                  <a:lnTo>
                    <a:pt x="66770" y="753713"/>
                  </a:lnTo>
                  <a:lnTo>
                    <a:pt x="61055" y="759238"/>
                  </a:lnTo>
                  <a:lnTo>
                    <a:pt x="59912" y="762667"/>
                  </a:lnTo>
                  <a:lnTo>
                    <a:pt x="69818" y="777430"/>
                  </a:lnTo>
                  <a:lnTo>
                    <a:pt x="71247" y="788480"/>
                  </a:lnTo>
                  <a:lnTo>
                    <a:pt x="72771" y="788289"/>
                  </a:lnTo>
                  <a:lnTo>
                    <a:pt x="74771" y="791242"/>
                  </a:lnTo>
                  <a:lnTo>
                    <a:pt x="82486" y="814292"/>
                  </a:lnTo>
                  <a:lnTo>
                    <a:pt x="87630" y="816864"/>
                  </a:lnTo>
                  <a:lnTo>
                    <a:pt x="92773" y="819340"/>
                  </a:lnTo>
                  <a:lnTo>
                    <a:pt x="91630" y="822770"/>
                  </a:lnTo>
                  <a:lnTo>
                    <a:pt x="94202" y="830389"/>
                  </a:lnTo>
                  <a:lnTo>
                    <a:pt x="97726" y="833152"/>
                  </a:lnTo>
                  <a:lnTo>
                    <a:pt x="104108" y="832390"/>
                  </a:lnTo>
                  <a:lnTo>
                    <a:pt x="105823" y="833723"/>
                  </a:lnTo>
                  <a:lnTo>
                    <a:pt x="114871" y="829437"/>
                  </a:lnTo>
                  <a:lnTo>
                    <a:pt x="126778" y="834295"/>
                  </a:lnTo>
                  <a:lnTo>
                    <a:pt x="132683" y="830294"/>
                  </a:lnTo>
                  <a:lnTo>
                    <a:pt x="136779" y="824960"/>
                  </a:lnTo>
                  <a:lnTo>
                    <a:pt x="141922" y="827532"/>
                  </a:lnTo>
                  <a:lnTo>
                    <a:pt x="142970" y="835438"/>
                  </a:lnTo>
                  <a:lnTo>
                    <a:pt x="151067" y="848868"/>
                  </a:lnTo>
                  <a:lnTo>
                    <a:pt x="148685" y="855536"/>
                  </a:lnTo>
                  <a:lnTo>
                    <a:pt x="160020" y="881348"/>
                  </a:lnTo>
                  <a:lnTo>
                    <a:pt x="160401" y="884491"/>
                  </a:lnTo>
                  <a:lnTo>
                    <a:pt x="164401" y="890492"/>
                  </a:lnTo>
                  <a:lnTo>
                    <a:pt x="170688" y="889635"/>
                  </a:lnTo>
                  <a:lnTo>
                    <a:pt x="180594" y="891635"/>
                  </a:lnTo>
                  <a:lnTo>
                    <a:pt x="176594" y="898493"/>
                  </a:lnTo>
                  <a:lnTo>
                    <a:pt x="183737" y="904018"/>
                  </a:lnTo>
                  <a:lnTo>
                    <a:pt x="182975" y="910495"/>
                  </a:lnTo>
                  <a:lnTo>
                    <a:pt x="194881" y="928306"/>
                  </a:lnTo>
                  <a:lnTo>
                    <a:pt x="190405" y="943261"/>
                  </a:lnTo>
                  <a:lnTo>
                    <a:pt x="187833" y="948404"/>
                  </a:lnTo>
                  <a:lnTo>
                    <a:pt x="193357" y="954119"/>
                  </a:lnTo>
                  <a:lnTo>
                    <a:pt x="208597" y="960215"/>
                  </a:lnTo>
                  <a:lnTo>
                    <a:pt x="216217" y="957644"/>
                  </a:lnTo>
                  <a:lnTo>
                    <a:pt x="218408" y="962120"/>
                  </a:lnTo>
                  <a:lnTo>
                    <a:pt x="224504" y="959739"/>
                  </a:lnTo>
                  <a:lnTo>
                    <a:pt x="236220" y="963073"/>
                  </a:lnTo>
                  <a:lnTo>
                    <a:pt x="247079" y="972979"/>
                  </a:lnTo>
                  <a:lnTo>
                    <a:pt x="253937" y="976884"/>
                  </a:lnTo>
                  <a:lnTo>
                    <a:pt x="265462" y="991457"/>
                  </a:lnTo>
                  <a:lnTo>
                    <a:pt x="270986" y="997172"/>
                  </a:lnTo>
                  <a:lnTo>
                    <a:pt x="271367" y="1000315"/>
                  </a:lnTo>
                  <a:lnTo>
                    <a:pt x="274796" y="1001458"/>
                  </a:lnTo>
                  <a:lnTo>
                    <a:pt x="275368" y="1006221"/>
                  </a:lnTo>
                  <a:lnTo>
                    <a:pt x="286417" y="1017651"/>
                  </a:lnTo>
                  <a:lnTo>
                    <a:pt x="289560" y="1017270"/>
                  </a:lnTo>
                  <a:lnTo>
                    <a:pt x="293180" y="1019937"/>
                  </a:lnTo>
                  <a:lnTo>
                    <a:pt x="297275" y="1027462"/>
                  </a:lnTo>
                  <a:lnTo>
                    <a:pt x="306991" y="1027843"/>
                  </a:lnTo>
                  <a:lnTo>
                    <a:pt x="312515" y="1033558"/>
                  </a:lnTo>
                  <a:lnTo>
                    <a:pt x="317278" y="1032986"/>
                  </a:lnTo>
                  <a:lnTo>
                    <a:pt x="330327" y="1034510"/>
                  </a:lnTo>
                  <a:lnTo>
                    <a:pt x="333851" y="1037272"/>
                  </a:lnTo>
                  <a:lnTo>
                    <a:pt x="334804" y="1045178"/>
                  </a:lnTo>
                  <a:lnTo>
                    <a:pt x="336423" y="1044988"/>
                  </a:lnTo>
                  <a:lnTo>
                    <a:pt x="333851" y="1050036"/>
                  </a:lnTo>
                  <a:lnTo>
                    <a:pt x="340138" y="1049274"/>
                  </a:lnTo>
                  <a:lnTo>
                    <a:pt x="338995" y="1052608"/>
                  </a:lnTo>
                  <a:lnTo>
                    <a:pt x="344329" y="1056799"/>
                  </a:lnTo>
                  <a:lnTo>
                    <a:pt x="346520" y="1061275"/>
                  </a:lnTo>
                  <a:lnTo>
                    <a:pt x="344900" y="1061466"/>
                  </a:lnTo>
                  <a:lnTo>
                    <a:pt x="343567" y="1063276"/>
                  </a:lnTo>
                  <a:lnTo>
                    <a:pt x="350710" y="1068800"/>
                  </a:lnTo>
                  <a:lnTo>
                    <a:pt x="351092" y="1071944"/>
                  </a:lnTo>
                  <a:lnTo>
                    <a:pt x="354425" y="1073087"/>
                  </a:lnTo>
                  <a:lnTo>
                    <a:pt x="358997" y="1070896"/>
                  </a:lnTo>
                  <a:lnTo>
                    <a:pt x="365855" y="1074896"/>
                  </a:lnTo>
                  <a:lnTo>
                    <a:pt x="369284" y="1076039"/>
                  </a:lnTo>
                  <a:lnTo>
                    <a:pt x="368903" y="1085659"/>
                  </a:lnTo>
                  <a:lnTo>
                    <a:pt x="368141" y="1092232"/>
                  </a:lnTo>
                  <a:lnTo>
                    <a:pt x="364141" y="1099185"/>
                  </a:lnTo>
                  <a:lnTo>
                    <a:pt x="355663" y="1095375"/>
                  </a:lnTo>
                  <a:lnTo>
                    <a:pt x="343281" y="1098614"/>
                  </a:lnTo>
                  <a:lnTo>
                    <a:pt x="342709" y="1106710"/>
                  </a:lnTo>
                  <a:lnTo>
                    <a:pt x="338138" y="1108900"/>
                  </a:lnTo>
                  <a:lnTo>
                    <a:pt x="335375" y="1112425"/>
                  </a:lnTo>
                  <a:lnTo>
                    <a:pt x="333851" y="1112615"/>
                  </a:lnTo>
                  <a:lnTo>
                    <a:pt x="342900" y="1121092"/>
                  </a:lnTo>
                  <a:lnTo>
                    <a:pt x="343091" y="1122712"/>
                  </a:lnTo>
                  <a:lnTo>
                    <a:pt x="348425" y="1126807"/>
                  </a:lnTo>
                  <a:lnTo>
                    <a:pt x="347091" y="1128617"/>
                  </a:lnTo>
                  <a:lnTo>
                    <a:pt x="356521" y="1127379"/>
                  </a:lnTo>
                  <a:lnTo>
                    <a:pt x="359950" y="1128522"/>
                  </a:lnTo>
                  <a:lnTo>
                    <a:pt x="359569" y="1138238"/>
                  </a:lnTo>
                  <a:lnTo>
                    <a:pt x="354806" y="1138809"/>
                  </a:lnTo>
                  <a:lnTo>
                    <a:pt x="356806" y="1141762"/>
                  </a:lnTo>
                  <a:lnTo>
                    <a:pt x="355568" y="1145096"/>
                  </a:lnTo>
                  <a:lnTo>
                    <a:pt x="362331" y="1147477"/>
                  </a:lnTo>
                  <a:lnTo>
                    <a:pt x="362712" y="1150620"/>
                  </a:lnTo>
                  <a:lnTo>
                    <a:pt x="364903" y="1155192"/>
                  </a:lnTo>
                  <a:lnTo>
                    <a:pt x="370808" y="1151191"/>
                  </a:lnTo>
                  <a:lnTo>
                    <a:pt x="375761" y="1152239"/>
                  </a:lnTo>
                  <a:lnTo>
                    <a:pt x="373189" y="1157288"/>
                  </a:lnTo>
                  <a:lnTo>
                    <a:pt x="374237" y="1165193"/>
                  </a:lnTo>
                  <a:lnTo>
                    <a:pt x="375761" y="1165003"/>
                  </a:lnTo>
                  <a:lnTo>
                    <a:pt x="378333" y="1159859"/>
                  </a:lnTo>
                  <a:lnTo>
                    <a:pt x="394525" y="1161002"/>
                  </a:lnTo>
                  <a:lnTo>
                    <a:pt x="394525" y="1161002"/>
                  </a:lnTo>
                  <a:lnTo>
                    <a:pt x="396335" y="1162431"/>
                  </a:lnTo>
                  <a:lnTo>
                    <a:pt x="393954" y="1169098"/>
                  </a:lnTo>
                  <a:lnTo>
                    <a:pt x="400812" y="1173004"/>
                  </a:lnTo>
                  <a:lnTo>
                    <a:pt x="410337" y="1171861"/>
                  </a:lnTo>
                  <a:lnTo>
                    <a:pt x="420529" y="1164146"/>
                  </a:lnTo>
                  <a:lnTo>
                    <a:pt x="429101" y="1167860"/>
                  </a:lnTo>
                  <a:lnTo>
                    <a:pt x="435197" y="1165479"/>
                  </a:lnTo>
                  <a:lnTo>
                    <a:pt x="440531" y="1169575"/>
                  </a:lnTo>
                  <a:lnTo>
                    <a:pt x="442055" y="1169384"/>
                  </a:lnTo>
                  <a:lnTo>
                    <a:pt x="442722" y="1174147"/>
                  </a:lnTo>
                  <a:lnTo>
                    <a:pt x="451961" y="1171384"/>
                  </a:lnTo>
                  <a:lnTo>
                    <a:pt x="453580" y="1171099"/>
                  </a:lnTo>
                  <a:lnTo>
                    <a:pt x="453295" y="1169575"/>
                  </a:lnTo>
                  <a:lnTo>
                    <a:pt x="456533" y="1169194"/>
                  </a:lnTo>
                  <a:lnTo>
                    <a:pt x="459867" y="1170337"/>
                  </a:lnTo>
                  <a:lnTo>
                    <a:pt x="466344" y="1171099"/>
                  </a:lnTo>
                  <a:lnTo>
                    <a:pt x="479965" y="1177385"/>
                  </a:lnTo>
                  <a:lnTo>
                    <a:pt x="488251" y="1179576"/>
                  </a:lnTo>
                  <a:lnTo>
                    <a:pt x="496824" y="1183291"/>
                  </a:lnTo>
                  <a:lnTo>
                    <a:pt x="497396" y="1188053"/>
                  </a:lnTo>
                  <a:lnTo>
                    <a:pt x="511207" y="1183005"/>
                  </a:lnTo>
                  <a:lnTo>
                    <a:pt x="521017" y="1185005"/>
                  </a:lnTo>
                  <a:lnTo>
                    <a:pt x="527018" y="1193864"/>
                  </a:lnTo>
                  <a:lnTo>
                    <a:pt x="549307" y="1205484"/>
                  </a:lnTo>
                  <a:lnTo>
                    <a:pt x="555879" y="1206246"/>
                  </a:lnTo>
                  <a:lnTo>
                    <a:pt x="558832" y="1204246"/>
                  </a:lnTo>
                  <a:lnTo>
                    <a:pt x="560165" y="1215295"/>
                  </a:lnTo>
                  <a:lnTo>
                    <a:pt x="563785" y="1218057"/>
                  </a:lnTo>
                  <a:lnTo>
                    <a:pt x="571405" y="1215485"/>
                  </a:lnTo>
                  <a:lnTo>
                    <a:pt x="573786" y="1208723"/>
                  </a:lnTo>
                  <a:lnTo>
                    <a:pt x="579882" y="1206341"/>
                  </a:lnTo>
                  <a:lnTo>
                    <a:pt x="579120" y="1200055"/>
                  </a:lnTo>
                  <a:lnTo>
                    <a:pt x="583025" y="1193102"/>
                  </a:lnTo>
                  <a:lnTo>
                    <a:pt x="589312" y="1192339"/>
                  </a:lnTo>
                  <a:lnTo>
                    <a:pt x="591693" y="1198436"/>
                  </a:lnTo>
                  <a:lnTo>
                    <a:pt x="595122" y="1199579"/>
                  </a:lnTo>
                  <a:lnTo>
                    <a:pt x="599789" y="1199007"/>
                  </a:lnTo>
                  <a:lnTo>
                    <a:pt x="604361" y="1196816"/>
                  </a:lnTo>
                  <a:lnTo>
                    <a:pt x="608267" y="1189958"/>
                  </a:lnTo>
                  <a:lnTo>
                    <a:pt x="606076" y="1185386"/>
                  </a:lnTo>
                  <a:lnTo>
                    <a:pt x="604076" y="1182433"/>
                  </a:lnTo>
                  <a:lnTo>
                    <a:pt x="602933" y="1173004"/>
                  </a:lnTo>
                  <a:lnTo>
                    <a:pt x="605885" y="1171004"/>
                  </a:lnTo>
                  <a:lnTo>
                    <a:pt x="609409" y="1173766"/>
                  </a:lnTo>
                  <a:lnTo>
                    <a:pt x="615696" y="1172908"/>
                  </a:lnTo>
                  <a:lnTo>
                    <a:pt x="617315" y="1172718"/>
                  </a:lnTo>
                  <a:lnTo>
                    <a:pt x="623792" y="1173480"/>
                  </a:lnTo>
                  <a:lnTo>
                    <a:pt x="630746" y="1177481"/>
                  </a:lnTo>
                  <a:lnTo>
                    <a:pt x="635698" y="1178433"/>
                  </a:lnTo>
                  <a:lnTo>
                    <a:pt x="637604" y="1168527"/>
                  </a:lnTo>
                  <a:lnTo>
                    <a:pt x="643509" y="1164527"/>
                  </a:lnTo>
                  <a:lnTo>
                    <a:pt x="644271" y="1158049"/>
                  </a:lnTo>
                  <a:lnTo>
                    <a:pt x="648081" y="1149572"/>
                  </a:lnTo>
                  <a:lnTo>
                    <a:pt x="647033" y="1141666"/>
                  </a:lnTo>
                  <a:lnTo>
                    <a:pt x="651129" y="1136332"/>
                  </a:lnTo>
                  <a:lnTo>
                    <a:pt x="654558" y="1137475"/>
                  </a:lnTo>
                  <a:lnTo>
                    <a:pt x="651701" y="1128236"/>
                  </a:lnTo>
                  <a:lnTo>
                    <a:pt x="644462" y="1121188"/>
                  </a:lnTo>
                  <a:lnTo>
                    <a:pt x="643604" y="1114806"/>
                  </a:lnTo>
                  <a:lnTo>
                    <a:pt x="651510" y="1113854"/>
                  </a:lnTo>
                  <a:lnTo>
                    <a:pt x="654844" y="1114997"/>
                  </a:lnTo>
                  <a:lnTo>
                    <a:pt x="662559" y="1112425"/>
                  </a:lnTo>
                  <a:lnTo>
                    <a:pt x="662368" y="1110901"/>
                  </a:lnTo>
                  <a:lnTo>
                    <a:pt x="664559" y="1115378"/>
                  </a:lnTo>
                  <a:lnTo>
                    <a:pt x="668084" y="1118140"/>
                  </a:lnTo>
                  <a:lnTo>
                    <a:pt x="666559" y="1118330"/>
                  </a:lnTo>
                  <a:lnTo>
                    <a:pt x="666750" y="1119949"/>
                  </a:lnTo>
                  <a:lnTo>
                    <a:pt x="672275" y="1125664"/>
                  </a:lnTo>
                  <a:lnTo>
                    <a:pt x="679133" y="1129570"/>
                  </a:lnTo>
                  <a:lnTo>
                    <a:pt x="681514" y="1135666"/>
                  </a:lnTo>
                  <a:lnTo>
                    <a:pt x="680371" y="1138999"/>
                  </a:lnTo>
                  <a:lnTo>
                    <a:pt x="683895" y="1141762"/>
                  </a:lnTo>
                  <a:lnTo>
                    <a:pt x="687896" y="1147667"/>
                  </a:lnTo>
                  <a:lnTo>
                    <a:pt x="692277" y="1143953"/>
                  </a:lnTo>
                  <a:lnTo>
                    <a:pt x="698563" y="1143095"/>
                  </a:lnTo>
                  <a:lnTo>
                    <a:pt x="704088" y="1148810"/>
                  </a:lnTo>
                  <a:lnTo>
                    <a:pt x="718661" y="1150144"/>
                  </a:lnTo>
                  <a:lnTo>
                    <a:pt x="720662" y="1153097"/>
                  </a:lnTo>
                  <a:lnTo>
                    <a:pt x="723043" y="1159288"/>
                  </a:lnTo>
                  <a:lnTo>
                    <a:pt x="728377" y="1163383"/>
                  </a:lnTo>
                  <a:lnTo>
                    <a:pt x="731330" y="1161383"/>
                  </a:lnTo>
                  <a:lnTo>
                    <a:pt x="730758" y="1156716"/>
                  </a:lnTo>
                  <a:lnTo>
                    <a:pt x="733901" y="1156240"/>
                  </a:lnTo>
                  <a:lnTo>
                    <a:pt x="736854" y="1154335"/>
                  </a:lnTo>
                  <a:lnTo>
                    <a:pt x="739997" y="1153858"/>
                  </a:lnTo>
                  <a:lnTo>
                    <a:pt x="744093" y="1148524"/>
                  </a:lnTo>
                  <a:lnTo>
                    <a:pt x="750475" y="1147763"/>
                  </a:lnTo>
                  <a:lnTo>
                    <a:pt x="755713" y="1139095"/>
                  </a:lnTo>
                  <a:lnTo>
                    <a:pt x="758476" y="1135475"/>
                  </a:lnTo>
                  <a:lnTo>
                    <a:pt x="764858" y="1134713"/>
                  </a:lnTo>
                  <a:lnTo>
                    <a:pt x="769144" y="1143762"/>
                  </a:lnTo>
                  <a:lnTo>
                    <a:pt x="772954" y="1160907"/>
                  </a:lnTo>
                  <a:lnTo>
                    <a:pt x="776383" y="1162050"/>
                  </a:lnTo>
                  <a:lnTo>
                    <a:pt x="779717" y="1163288"/>
                  </a:lnTo>
                  <a:lnTo>
                    <a:pt x="790099" y="1157097"/>
                  </a:lnTo>
                  <a:lnTo>
                    <a:pt x="796671" y="1170718"/>
                  </a:lnTo>
                  <a:lnTo>
                    <a:pt x="802291" y="1189291"/>
                  </a:lnTo>
                  <a:lnTo>
                    <a:pt x="816483" y="1187482"/>
                  </a:lnTo>
                  <a:lnTo>
                    <a:pt x="820769" y="1183672"/>
                  </a:lnTo>
                  <a:lnTo>
                    <a:pt x="821150" y="1186815"/>
                  </a:lnTo>
                  <a:lnTo>
                    <a:pt x="824103" y="1184910"/>
                  </a:lnTo>
                  <a:lnTo>
                    <a:pt x="829437" y="1189006"/>
                  </a:lnTo>
                  <a:lnTo>
                    <a:pt x="833628" y="1183672"/>
                  </a:lnTo>
                  <a:lnTo>
                    <a:pt x="832771" y="1177385"/>
                  </a:lnTo>
                  <a:lnTo>
                    <a:pt x="837343" y="1175195"/>
                  </a:lnTo>
                  <a:lnTo>
                    <a:pt x="836962" y="1172051"/>
                  </a:lnTo>
                  <a:lnTo>
                    <a:pt x="844201" y="1166241"/>
                  </a:lnTo>
                  <a:lnTo>
                    <a:pt x="838676" y="1147763"/>
                  </a:lnTo>
                  <a:lnTo>
                    <a:pt x="845058" y="1122902"/>
                  </a:lnTo>
                  <a:lnTo>
                    <a:pt x="843534" y="1123093"/>
                  </a:lnTo>
                  <a:lnTo>
                    <a:pt x="841915" y="1110424"/>
                  </a:lnTo>
                  <a:lnTo>
                    <a:pt x="837152" y="1110996"/>
                  </a:lnTo>
                  <a:lnTo>
                    <a:pt x="844582" y="1081183"/>
                  </a:lnTo>
                  <a:lnTo>
                    <a:pt x="847344" y="1077658"/>
                  </a:lnTo>
                  <a:lnTo>
                    <a:pt x="847725" y="1068038"/>
                  </a:lnTo>
                  <a:lnTo>
                    <a:pt x="854202" y="1055941"/>
                  </a:lnTo>
                  <a:lnTo>
                    <a:pt x="856964" y="1052417"/>
                  </a:lnTo>
                  <a:lnTo>
                    <a:pt x="867823" y="1049369"/>
                  </a:lnTo>
                  <a:lnTo>
                    <a:pt x="870204" y="1042702"/>
                  </a:lnTo>
                  <a:lnTo>
                    <a:pt x="881253" y="1041273"/>
                  </a:lnTo>
                  <a:lnTo>
                    <a:pt x="889921" y="1033748"/>
                  </a:lnTo>
                  <a:lnTo>
                    <a:pt x="890873" y="1028795"/>
                  </a:lnTo>
                  <a:lnTo>
                    <a:pt x="893635" y="1025271"/>
                  </a:lnTo>
                  <a:lnTo>
                    <a:pt x="894588" y="1020318"/>
                  </a:lnTo>
                  <a:lnTo>
                    <a:pt x="899160" y="1018127"/>
                  </a:lnTo>
                  <a:lnTo>
                    <a:pt x="898874" y="1016603"/>
                  </a:lnTo>
                  <a:lnTo>
                    <a:pt x="900684" y="1017937"/>
                  </a:lnTo>
                  <a:lnTo>
                    <a:pt x="905256" y="1015746"/>
                  </a:lnTo>
                  <a:lnTo>
                    <a:pt x="900113" y="1000411"/>
                  </a:lnTo>
                  <a:lnTo>
                    <a:pt x="907733" y="984980"/>
                  </a:lnTo>
                  <a:lnTo>
                    <a:pt x="906875" y="978694"/>
                  </a:lnTo>
                  <a:lnTo>
                    <a:pt x="904494" y="972598"/>
                  </a:lnTo>
                  <a:lnTo>
                    <a:pt x="905923" y="970788"/>
                  </a:lnTo>
                  <a:lnTo>
                    <a:pt x="905066" y="964502"/>
                  </a:lnTo>
                  <a:lnTo>
                    <a:pt x="912781" y="961834"/>
                  </a:lnTo>
                  <a:lnTo>
                    <a:pt x="915734" y="959930"/>
                  </a:lnTo>
                  <a:lnTo>
                    <a:pt x="920877" y="962406"/>
                  </a:lnTo>
                  <a:lnTo>
                    <a:pt x="927163" y="961644"/>
                  </a:lnTo>
                  <a:lnTo>
                    <a:pt x="929926" y="958120"/>
                  </a:lnTo>
                  <a:lnTo>
                    <a:pt x="932307" y="964216"/>
                  </a:lnTo>
                  <a:lnTo>
                    <a:pt x="932307" y="964216"/>
                  </a:lnTo>
                  <a:lnTo>
                    <a:pt x="933736" y="962406"/>
                  </a:lnTo>
                  <a:lnTo>
                    <a:pt x="935736" y="965359"/>
                  </a:lnTo>
                  <a:lnTo>
                    <a:pt x="939260" y="968121"/>
                  </a:lnTo>
                  <a:lnTo>
                    <a:pt x="940594" y="966311"/>
                  </a:lnTo>
                  <a:lnTo>
                    <a:pt x="944023" y="967549"/>
                  </a:lnTo>
                  <a:lnTo>
                    <a:pt x="948118" y="962215"/>
                  </a:lnTo>
                  <a:lnTo>
                    <a:pt x="953072" y="963168"/>
                  </a:lnTo>
                  <a:lnTo>
                    <a:pt x="959930" y="967073"/>
                  </a:lnTo>
                  <a:lnTo>
                    <a:pt x="958977" y="972026"/>
                  </a:lnTo>
                  <a:lnTo>
                    <a:pt x="960787" y="973455"/>
                  </a:lnTo>
                  <a:lnTo>
                    <a:pt x="968693" y="972407"/>
                  </a:lnTo>
                  <a:lnTo>
                    <a:pt x="972217" y="975170"/>
                  </a:lnTo>
                  <a:lnTo>
                    <a:pt x="977360" y="977741"/>
                  </a:lnTo>
                  <a:lnTo>
                    <a:pt x="981932" y="975550"/>
                  </a:lnTo>
                  <a:lnTo>
                    <a:pt x="988790" y="979456"/>
                  </a:lnTo>
                  <a:lnTo>
                    <a:pt x="993743" y="980408"/>
                  </a:lnTo>
                  <a:lnTo>
                    <a:pt x="997458" y="984790"/>
                  </a:lnTo>
                  <a:lnTo>
                    <a:pt x="1002411" y="985742"/>
                  </a:lnTo>
                  <a:lnTo>
                    <a:pt x="1005364" y="983742"/>
                  </a:lnTo>
                  <a:lnTo>
                    <a:pt x="1012508" y="989266"/>
                  </a:lnTo>
                  <a:lnTo>
                    <a:pt x="1015079" y="984123"/>
                  </a:lnTo>
                  <a:lnTo>
                    <a:pt x="1018222" y="983742"/>
                  </a:lnTo>
                  <a:lnTo>
                    <a:pt x="1023938" y="978217"/>
                  </a:lnTo>
                  <a:lnTo>
                    <a:pt x="1027652" y="969740"/>
                  </a:lnTo>
                  <a:lnTo>
                    <a:pt x="1025843" y="968312"/>
                  </a:lnTo>
                  <a:lnTo>
                    <a:pt x="1027081" y="964978"/>
                  </a:lnTo>
                  <a:lnTo>
                    <a:pt x="1026890" y="963358"/>
                  </a:lnTo>
                  <a:lnTo>
                    <a:pt x="1011269" y="954119"/>
                  </a:lnTo>
                  <a:lnTo>
                    <a:pt x="1011079" y="952595"/>
                  </a:lnTo>
                  <a:lnTo>
                    <a:pt x="1010602" y="949452"/>
                  </a:lnTo>
                  <a:lnTo>
                    <a:pt x="1008697" y="946499"/>
                  </a:lnTo>
                  <a:lnTo>
                    <a:pt x="1013936" y="937736"/>
                  </a:lnTo>
                  <a:lnTo>
                    <a:pt x="1012603" y="926687"/>
                  </a:lnTo>
                  <a:lnTo>
                    <a:pt x="1020604" y="914495"/>
                  </a:lnTo>
                  <a:lnTo>
                    <a:pt x="1018604" y="898684"/>
                  </a:lnTo>
                  <a:lnTo>
                    <a:pt x="1022985" y="894969"/>
                  </a:lnTo>
                  <a:lnTo>
                    <a:pt x="1022699" y="893350"/>
                  </a:lnTo>
                  <a:lnTo>
                    <a:pt x="1030605" y="892302"/>
                  </a:lnTo>
                  <a:lnTo>
                    <a:pt x="1030034" y="887635"/>
                  </a:lnTo>
                  <a:lnTo>
                    <a:pt x="1026033" y="881729"/>
                  </a:lnTo>
                  <a:lnTo>
                    <a:pt x="1025843" y="880110"/>
                  </a:lnTo>
                  <a:lnTo>
                    <a:pt x="1022699" y="880491"/>
                  </a:lnTo>
                  <a:lnTo>
                    <a:pt x="1021747" y="872585"/>
                  </a:lnTo>
                  <a:lnTo>
                    <a:pt x="1022890" y="856488"/>
                  </a:lnTo>
                  <a:lnTo>
                    <a:pt x="1030700" y="855440"/>
                  </a:lnTo>
                  <a:lnTo>
                    <a:pt x="1029938" y="836295"/>
                  </a:lnTo>
                  <a:lnTo>
                    <a:pt x="1033272" y="837438"/>
                  </a:lnTo>
                  <a:lnTo>
                    <a:pt x="1034225" y="832580"/>
                  </a:lnTo>
                  <a:lnTo>
                    <a:pt x="1035368" y="829151"/>
                  </a:lnTo>
                  <a:lnTo>
                    <a:pt x="1036415" y="824294"/>
                  </a:lnTo>
                  <a:lnTo>
                    <a:pt x="1034415" y="808482"/>
                  </a:lnTo>
                  <a:lnTo>
                    <a:pt x="1030796" y="805720"/>
                  </a:lnTo>
                  <a:lnTo>
                    <a:pt x="1030034" y="799433"/>
                  </a:lnTo>
                  <a:lnTo>
                    <a:pt x="1026414" y="796671"/>
                  </a:lnTo>
                  <a:lnTo>
                    <a:pt x="1026033" y="793528"/>
                  </a:lnTo>
                  <a:lnTo>
                    <a:pt x="1030414" y="789718"/>
                  </a:lnTo>
                  <a:lnTo>
                    <a:pt x="1031558" y="786384"/>
                  </a:lnTo>
                  <a:lnTo>
                    <a:pt x="1030796" y="780097"/>
                  </a:lnTo>
                  <a:lnTo>
                    <a:pt x="1027176" y="777335"/>
                  </a:lnTo>
                  <a:lnTo>
                    <a:pt x="1023842" y="763334"/>
                  </a:lnTo>
                  <a:lnTo>
                    <a:pt x="1024604" y="756761"/>
                  </a:lnTo>
                  <a:lnTo>
                    <a:pt x="1024795" y="745522"/>
                  </a:lnTo>
                  <a:lnTo>
                    <a:pt x="1026700" y="735711"/>
                  </a:lnTo>
                  <a:lnTo>
                    <a:pt x="1026890" y="737235"/>
                  </a:lnTo>
                  <a:lnTo>
                    <a:pt x="1029081" y="728948"/>
                  </a:lnTo>
                  <a:lnTo>
                    <a:pt x="1036510" y="724757"/>
                  </a:lnTo>
                  <a:lnTo>
                    <a:pt x="1039273" y="721233"/>
                  </a:lnTo>
                  <a:lnTo>
                    <a:pt x="1037558" y="719900"/>
                  </a:lnTo>
                  <a:lnTo>
                    <a:pt x="1040892" y="708184"/>
                  </a:lnTo>
                  <a:lnTo>
                    <a:pt x="1035939" y="707231"/>
                  </a:lnTo>
                  <a:lnTo>
                    <a:pt x="1033748" y="702659"/>
                  </a:lnTo>
                  <a:lnTo>
                    <a:pt x="1037654" y="695801"/>
                  </a:lnTo>
                  <a:lnTo>
                    <a:pt x="1042797" y="698373"/>
                  </a:lnTo>
                  <a:lnTo>
                    <a:pt x="1048893" y="695992"/>
                  </a:lnTo>
                  <a:lnTo>
                    <a:pt x="1051465" y="690848"/>
                  </a:lnTo>
                  <a:lnTo>
                    <a:pt x="1056037" y="688657"/>
                  </a:lnTo>
                  <a:lnTo>
                    <a:pt x="1060133" y="696087"/>
                  </a:lnTo>
                  <a:lnTo>
                    <a:pt x="1068610" y="699897"/>
                  </a:lnTo>
                  <a:lnTo>
                    <a:pt x="1079278" y="695325"/>
                  </a:lnTo>
                  <a:lnTo>
                    <a:pt x="1086041" y="697611"/>
                  </a:lnTo>
                  <a:lnTo>
                    <a:pt x="1088612" y="705326"/>
                  </a:lnTo>
                  <a:lnTo>
                    <a:pt x="1085850" y="708851"/>
                  </a:lnTo>
                  <a:lnTo>
                    <a:pt x="1086231" y="712089"/>
                  </a:lnTo>
                  <a:lnTo>
                    <a:pt x="1088231" y="715042"/>
                  </a:lnTo>
                  <a:lnTo>
                    <a:pt x="1102805" y="716375"/>
                  </a:lnTo>
                  <a:lnTo>
                    <a:pt x="1112901" y="719900"/>
                  </a:lnTo>
                  <a:lnTo>
                    <a:pt x="1116997" y="714565"/>
                  </a:lnTo>
                  <a:lnTo>
                    <a:pt x="1121759" y="713899"/>
                  </a:lnTo>
                  <a:lnTo>
                    <a:pt x="1126903" y="716471"/>
                  </a:lnTo>
                  <a:lnTo>
                    <a:pt x="1128236" y="714756"/>
                  </a:lnTo>
                  <a:lnTo>
                    <a:pt x="1131665" y="715899"/>
                  </a:lnTo>
                  <a:lnTo>
                    <a:pt x="1136142" y="713708"/>
                  </a:lnTo>
                  <a:lnTo>
                    <a:pt x="1136618" y="716851"/>
                  </a:lnTo>
                  <a:lnTo>
                    <a:pt x="1149953" y="721614"/>
                  </a:lnTo>
                  <a:lnTo>
                    <a:pt x="1151763" y="722947"/>
                  </a:lnTo>
                  <a:lnTo>
                    <a:pt x="1152811" y="730853"/>
                  </a:lnTo>
                  <a:lnTo>
                    <a:pt x="1149382" y="729615"/>
                  </a:lnTo>
                  <a:lnTo>
                    <a:pt x="1146715" y="733234"/>
                  </a:lnTo>
                  <a:lnTo>
                    <a:pt x="1147096" y="736378"/>
                  </a:lnTo>
                  <a:lnTo>
                    <a:pt x="1155573" y="740093"/>
                  </a:lnTo>
                  <a:lnTo>
                    <a:pt x="1155764" y="741712"/>
                  </a:lnTo>
                  <a:lnTo>
                    <a:pt x="1153001" y="745236"/>
                  </a:lnTo>
                  <a:lnTo>
                    <a:pt x="1158335" y="749332"/>
                  </a:lnTo>
                  <a:lnTo>
                    <a:pt x="1160907" y="757047"/>
                  </a:lnTo>
                  <a:lnTo>
                    <a:pt x="1159573" y="758857"/>
                  </a:lnTo>
                  <a:lnTo>
                    <a:pt x="1156621" y="760857"/>
                  </a:lnTo>
                  <a:lnTo>
                    <a:pt x="1150334" y="774478"/>
                  </a:lnTo>
                  <a:lnTo>
                    <a:pt x="1155859" y="780193"/>
                  </a:lnTo>
                  <a:lnTo>
                    <a:pt x="1158812" y="778193"/>
                  </a:lnTo>
                  <a:lnTo>
                    <a:pt x="1160621" y="779526"/>
                  </a:lnTo>
                  <a:lnTo>
                    <a:pt x="1167860" y="773811"/>
                  </a:lnTo>
                  <a:lnTo>
                    <a:pt x="1175004" y="779335"/>
                  </a:lnTo>
                  <a:lnTo>
                    <a:pt x="1183291" y="768668"/>
                  </a:lnTo>
                  <a:lnTo>
                    <a:pt x="1187768" y="766477"/>
                  </a:lnTo>
                  <a:lnTo>
                    <a:pt x="1190530" y="762952"/>
                  </a:lnTo>
                  <a:lnTo>
                    <a:pt x="1195102" y="760762"/>
                  </a:lnTo>
                  <a:lnTo>
                    <a:pt x="1201388" y="759905"/>
                  </a:lnTo>
                  <a:lnTo>
                    <a:pt x="1211294" y="761905"/>
                  </a:lnTo>
                  <a:lnTo>
                    <a:pt x="1215962" y="761238"/>
                  </a:lnTo>
                  <a:lnTo>
                    <a:pt x="1226439" y="768001"/>
                  </a:lnTo>
                  <a:lnTo>
                    <a:pt x="1227487" y="763048"/>
                  </a:lnTo>
                  <a:lnTo>
                    <a:pt x="1232154" y="762381"/>
                  </a:lnTo>
                  <a:lnTo>
                    <a:pt x="1229582" y="754761"/>
                  </a:lnTo>
                  <a:lnTo>
                    <a:pt x="1231011" y="752951"/>
                  </a:lnTo>
                  <a:lnTo>
                    <a:pt x="1234345" y="754094"/>
                  </a:lnTo>
                  <a:lnTo>
                    <a:pt x="1240441" y="738950"/>
                  </a:lnTo>
                  <a:lnTo>
                    <a:pt x="1241774" y="737140"/>
                  </a:lnTo>
                  <a:lnTo>
                    <a:pt x="1236059" y="729805"/>
                  </a:lnTo>
                  <a:lnTo>
                    <a:pt x="1238250" y="721519"/>
                  </a:lnTo>
                  <a:lnTo>
                    <a:pt x="1246537" y="723709"/>
                  </a:lnTo>
                  <a:lnTo>
                    <a:pt x="1250061" y="726472"/>
                  </a:lnTo>
                  <a:lnTo>
                    <a:pt x="1247680" y="733139"/>
                  </a:lnTo>
                  <a:lnTo>
                    <a:pt x="1258157" y="739902"/>
                  </a:lnTo>
                  <a:lnTo>
                    <a:pt x="1262729" y="737711"/>
                  </a:lnTo>
                  <a:lnTo>
                    <a:pt x="1269587" y="741617"/>
                  </a:lnTo>
                  <a:lnTo>
                    <a:pt x="1273969" y="737806"/>
                  </a:lnTo>
                  <a:lnTo>
                    <a:pt x="1276541" y="732758"/>
                  </a:lnTo>
                  <a:lnTo>
                    <a:pt x="1281684" y="735235"/>
                  </a:lnTo>
                  <a:lnTo>
                    <a:pt x="1289304" y="732663"/>
                  </a:lnTo>
                  <a:lnTo>
                    <a:pt x="1301020" y="735997"/>
                  </a:lnTo>
                  <a:lnTo>
                    <a:pt x="1316831" y="746855"/>
                  </a:lnTo>
                  <a:lnTo>
                    <a:pt x="1321118" y="755904"/>
                  </a:lnTo>
                  <a:lnTo>
                    <a:pt x="1327690" y="756666"/>
                  </a:lnTo>
                  <a:lnTo>
                    <a:pt x="1335214" y="765334"/>
                  </a:lnTo>
                  <a:lnTo>
                    <a:pt x="1343882" y="770668"/>
                  </a:lnTo>
                  <a:lnTo>
                    <a:pt x="1350645" y="772954"/>
                  </a:lnTo>
                  <a:lnTo>
                    <a:pt x="1356931" y="772192"/>
                  </a:lnTo>
                  <a:lnTo>
                    <a:pt x="1361885" y="773144"/>
                  </a:lnTo>
                  <a:lnTo>
                    <a:pt x="1365599" y="777526"/>
                  </a:lnTo>
                  <a:lnTo>
                    <a:pt x="1374267" y="770001"/>
                  </a:lnTo>
                  <a:lnTo>
                    <a:pt x="1378268" y="775906"/>
                  </a:lnTo>
                  <a:lnTo>
                    <a:pt x="1381792" y="778669"/>
                  </a:lnTo>
                  <a:lnTo>
                    <a:pt x="1385126" y="779812"/>
                  </a:lnTo>
                  <a:lnTo>
                    <a:pt x="1398937" y="787718"/>
                  </a:lnTo>
                  <a:lnTo>
                    <a:pt x="1401032" y="803434"/>
                  </a:lnTo>
                  <a:lnTo>
                    <a:pt x="1406938" y="812292"/>
                  </a:lnTo>
                  <a:lnTo>
                    <a:pt x="1425512" y="819531"/>
                  </a:lnTo>
                  <a:lnTo>
                    <a:pt x="1432179" y="809149"/>
                  </a:lnTo>
                  <a:lnTo>
                    <a:pt x="1433798" y="808863"/>
                  </a:lnTo>
                  <a:lnTo>
                    <a:pt x="1432941" y="802577"/>
                  </a:lnTo>
                  <a:lnTo>
                    <a:pt x="1434370" y="800767"/>
                  </a:lnTo>
                  <a:lnTo>
                    <a:pt x="1439513" y="803338"/>
                  </a:lnTo>
                  <a:lnTo>
                    <a:pt x="1442180" y="799814"/>
                  </a:lnTo>
                  <a:lnTo>
                    <a:pt x="1446752" y="797623"/>
                  </a:lnTo>
                  <a:lnTo>
                    <a:pt x="1440275" y="796862"/>
                  </a:lnTo>
                  <a:lnTo>
                    <a:pt x="1438466" y="795433"/>
                  </a:lnTo>
                  <a:lnTo>
                    <a:pt x="1440085" y="795242"/>
                  </a:lnTo>
                  <a:lnTo>
                    <a:pt x="1442752" y="791718"/>
                  </a:lnTo>
                  <a:lnTo>
                    <a:pt x="1446181" y="792861"/>
                  </a:lnTo>
                  <a:lnTo>
                    <a:pt x="1447133" y="788003"/>
                  </a:lnTo>
                  <a:lnTo>
                    <a:pt x="1445323" y="786575"/>
                  </a:lnTo>
                  <a:lnTo>
                    <a:pt x="1441990" y="785431"/>
                  </a:lnTo>
                  <a:lnTo>
                    <a:pt x="1441799" y="783812"/>
                  </a:lnTo>
                  <a:lnTo>
                    <a:pt x="1440371" y="785622"/>
                  </a:lnTo>
                  <a:lnTo>
                    <a:pt x="1438466" y="782669"/>
                  </a:lnTo>
                  <a:lnTo>
                    <a:pt x="1439227" y="776097"/>
                  </a:lnTo>
                  <a:lnTo>
                    <a:pt x="1444181" y="777145"/>
                  </a:lnTo>
                  <a:lnTo>
                    <a:pt x="1444752" y="781812"/>
                  </a:lnTo>
                  <a:lnTo>
                    <a:pt x="1449705" y="782860"/>
                  </a:lnTo>
                  <a:lnTo>
                    <a:pt x="1452848" y="782384"/>
                  </a:lnTo>
                  <a:lnTo>
                    <a:pt x="1454182" y="780669"/>
                  </a:lnTo>
                  <a:lnTo>
                    <a:pt x="1455611" y="778859"/>
                  </a:lnTo>
                  <a:lnTo>
                    <a:pt x="1458182" y="773716"/>
                  </a:lnTo>
                  <a:lnTo>
                    <a:pt x="1449229" y="766858"/>
                  </a:lnTo>
                  <a:lnTo>
                    <a:pt x="1450467" y="763429"/>
                  </a:lnTo>
                  <a:lnTo>
                    <a:pt x="1453420" y="761524"/>
                  </a:lnTo>
                  <a:lnTo>
                    <a:pt x="1452943" y="758380"/>
                  </a:lnTo>
                  <a:lnTo>
                    <a:pt x="1454182" y="754951"/>
                  </a:lnTo>
                  <a:lnTo>
                    <a:pt x="1443895" y="749903"/>
                  </a:lnTo>
                  <a:lnTo>
                    <a:pt x="1431989" y="744950"/>
                  </a:lnTo>
                  <a:lnTo>
                    <a:pt x="1428845" y="745331"/>
                  </a:lnTo>
                  <a:lnTo>
                    <a:pt x="1417606" y="745236"/>
                  </a:lnTo>
                  <a:lnTo>
                    <a:pt x="1414081" y="742474"/>
                  </a:lnTo>
                  <a:lnTo>
                    <a:pt x="1412081" y="739521"/>
                  </a:lnTo>
                  <a:lnTo>
                    <a:pt x="1413034" y="734568"/>
                  </a:lnTo>
                  <a:lnTo>
                    <a:pt x="1413796" y="728091"/>
                  </a:lnTo>
                  <a:lnTo>
                    <a:pt x="1415225" y="726281"/>
                  </a:lnTo>
                  <a:lnTo>
                    <a:pt x="1412843" y="720185"/>
                  </a:lnTo>
                  <a:lnTo>
                    <a:pt x="1409510" y="718947"/>
                  </a:lnTo>
                  <a:lnTo>
                    <a:pt x="1402747" y="716661"/>
                  </a:lnTo>
                  <a:lnTo>
                    <a:pt x="1398842" y="723519"/>
                  </a:lnTo>
                  <a:lnTo>
                    <a:pt x="1394079" y="724186"/>
                  </a:lnTo>
                  <a:lnTo>
                    <a:pt x="1392936" y="727519"/>
                  </a:lnTo>
                  <a:lnTo>
                    <a:pt x="1391317" y="727710"/>
                  </a:lnTo>
                  <a:lnTo>
                    <a:pt x="1386935" y="718661"/>
                  </a:lnTo>
                  <a:lnTo>
                    <a:pt x="1391317" y="714851"/>
                  </a:lnTo>
                  <a:lnTo>
                    <a:pt x="1388935" y="708755"/>
                  </a:lnTo>
                  <a:lnTo>
                    <a:pt x="1395031" y="706374"/>
                  </a:lnTo>
                  <a:lnTo>
                    <a:pt x="1399794" y="705802"/>
                  </a:lnTo>
                  <a:lnTo>
                    <a:pt x="1402366" y="700659"/>
                  </a:lnTo>
                  <a:lnTo>
                    <a:pt x="1403318" y="695706"/>
                  </a:lnTo>
                  <a:lnTo>
                    <a:pt x="1404842" y="695515"/>
                  </a:lnTo>
                  <a:lnTo>
                    <a:pt x="1408271" y="696659"/>
                  </a:lnTo>
                  <a:lnTo>
                    <a:pt x="1409986" y="698087"/>
                  </a:lnTo>
                  <a:lnTo>
                    <a:pt x="1409033" y="690181"/>
                  </a:lnTo>
                  <a:lnTo>
                    <a:pt x="1413986" y="691134"/>
                  </a:lnTo>
                  <a:lnTo>
                    <a:pt x="1415129" y="687800"/>
                  </a:lnTo>
                  <a:lnTo>
                    <a:pt x="1418082" y="685800"/>
                  </a:lnTo>
                  <a:lnTo>
                    <a:pt x="1416272" y="684467"/>
                  </a:lnTo>
                  <a:lnTo>
                    <a:pt x="1418844" y="679323"/>
                  </a:lnTo>
                  <a:lnTo>
                    <a:pt x="1415510" y="678085"/>
                  </a:lnTo>
                  <a:lnTo>
                    <a:pt x="1416844" y="676370"/>
                  </a:lnTo>
                  <a:lnTo>
                    <a:pt x="1414939" y="673418"/>
                  </a:lnTo>
                  <a:lnTo>
                    <a:pt x="1416082" y="669988"/>
                  </a:lnTo>
                  <a:lnTo>
                    <a:pt x="1423988" y="669036"/>
                  </a:lnTo>
                  <a:lnTo>
                    <a:pt x="1430084" y="666655"/>
                  </a:lnTo>
                  <a:lnTo>
                    <a:pt x="1432179" y="658368"/>
                  </a:lnTo>
                  <a:lnTo>
                    <a:pt x="1427035" y="655796"/>
                  </a:lnTo>
                  <a:lnTo>
                    <a:pt x="1427893" y="649319"/>
                  </a:lnTo>
                  <a:lnTo>
                    <a:pt x="1426083" y="647890"/>
                  </a:lnTo>
                  <a:lnTo>
                    <a:pt x="1424273" y="646557"/>
                  </a:lnTo>
                  <a:lnTo>
                    <a:pt x="1431989" y="643985"/>
                  </a:lnTo>
                  <a:lnTo>
                    <a:pt x="1435513" y="646652"/>
                  </a:lnTo>
                  <a:lnTo>
                    <a:pt x="1436084" y="638651"/>
                  </a:lnTo>
                  <a:lnTo>
                    <a:pt x="1432179" y="632651"/>
                  </a:lnTo>
                  <a:lnTo>
                    <a:pt x="1433131" y="627793"/>
                  </a:lnTo>
                  <a:lnTo>
                    <a:pt x="1443418" y="632841"/>
                  </a:lnTo>
                  <a:lnTo>
                    <a:pt x="1451324" y="631888"/>
                  </a:lnTo>
                  <a:lnTo>
                    <a:pt x="1453039" y="633222"/>
                  </a:lnTo>
                  <a:lnTo>
                    <a:pt x="1454468" y="631507"/>
                  </a:lnTo>
                  <a:lnTo>
                    <a:pt x="1456277" y="632841"/>
                  </a:lnTo>
                  <a:lnTo>
                    <a:pt x="1462564" y="632079"/>
                  </a:lnTo>
                  <a:lnTo>
                    <a:pt x="1465326" y="628459"/>
                  </a:lnTo>
                  <a:lnTo>
                    <a:pt x="1464659" y="623697"/>
                  </a:lnTo>
                  <a:lnTo>
                    <a:pt x="1460754" y="617792"/>
                  </a:lnTo>
                  <a:lnTo>
                    <a:pt x="1468660" y="616839"/>
                  </a:lnTo>
                  <a:lnTo>
                    <a:pt x="1468660" y="616839"/>
                  </a:lnTo>
                  <a:close/>
                </a:path>
              </a:pathLst>
            </a:custGeom>
            <a:solidFill>
              <a:schemeClr val="bg1"/>
            </a:solidFill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 dirty="0"/>
            </a:p>
          </p:txBody>
        </p:sp>
        <p:sp>
          <p:nvSpPr>
            <p:cNvPr id="18" name="Volný tvar: obrazec 17">
              <a:extLst>
                <a:ext uri="{FF2B5EF4-FFF2-40B4-BE49-F238E27FC236}">
                  <a16:creationId xmlns:a16="http://schemas.microsoft.com/office/drawing/2014/main" id="{A7626A28-5919-4E32-FC55-D13155C6BCE1}"/>
                </a:ext>
              </a:extLst>
            </p:cNvPr>
            <p:cNvSpPr>
              <a:spLocks noChangeAspect="1"/>
            </p:cNvSpPr>
            <p:nvPr userDrawn="1">
              <p:custDataLst>
                <p:tags r:id="rId6"/>
              </p:custDataLst>
            </p:nvPr>
          </p:nvSpPr>
          <p:spPr>
            <a:xfrm>
              <a:off x="6140100" y="3632692"/>
              <a:ext cx="1502283" cy="1161573"/>
            </a:xfrm>
            <a:custGeom>
              <a:avLst/>
              <a:gdLst>
                <a:gd name="connsiteX0" fmla="*/ 1496282 w 1502283"/>
                <a:gd name="connsiteY0" fmla="*/ 857155 h 1161573"/>
                <a:gd name="connsiteX1" fmla="*/ 1495711 w 1502283"/>
                <a:gd name="connsiteY1" fmla="*/ 852392 h 1161573"/>
                <a:gd name="connsiteX2" fmla="*/ 1497330 w 1502283"/>
                <a:gd name="connsiteY2" fmla="*/ 852202 h 1161573"/>
                <a:gd name="connsiteX3" fmla="*/ 1495520 w 1502283"/>
                <a:gd name="connsiteY3" fmla="*/ 850868 h 1161573"/>
                <a:gd name="connsiteX4" fmla="*/ 1498282 w 1502283"/>
                <a:gd name="connsiteY4" fmla="*/ 847344 h 1161573"/>
                <a:gd name="connsiteX5" fmla="*/ 1490567 w 1502283"/>
                <a:gd name="connsiteY5" fmla="*/ 849916 h 1161573"/>
                <a:gd name="connsiteX6" fmla="*/ 1486853 w 1502283"/>
                <a:gd name="connsiteY6" fmla="*/ 845630 h 1161573"/>
                <a:gd name="connsiteX7" fmla="*/ 1487996 w 1502283"/>
                <a:gd name="connsiteY7" fmla="*/ 842296 h 1161573"/>
                <a:gd name="connsiteX8" fmla="*/ 1481899 w 1502283"/>
                <a:gd name="connsiteY8" fmla="*/ 831818 h 1161573"/>
                <a:gd name="connsiteX9" fmla="*/ 1469803 w 1502283"/>
                <a:gd name="connsiteY9" fmla="*/ 812483 h 1161573"/>
                <a:gd name="connsiteX10" fmla="*/ 1458563 w 1502283"/>
                <a:gd name="connsiteY10" fmla="*/ 812292 h 1161573"/>
                <a:gd name="connsiteX11" fmla="*/ 1442371 w 1502283"/>
                <a:gd name="connsiteY11" fmla="*/ 798290 h 1161573"/>
                <a:gd name="connsiteX12" fmla="*/ 1437608 w 1502283"/>
                <a:gd name="connsiteY12" fmla="*/ 798862 h 1161573"/>
                <a:gd name="connsiteX13" fmla="*/ 1433513 w 1502283"/>
                <a:gd name="connsiteY13" fmla="*/ 804196 h 1161573"/>
                <a:gd name="connsiteX14" fmla="*/ 1424845 w 1502283"/>
                <a:gd name="connsiteY14" fmla="*/ 798862 h 1161573"/>
                <a:gd name="connsiteX15" fmla="*/ 1432274 w 1502283"/>
                <a:gd name="connsiteY15" fmla="*/ 781907 h 1161573"/>
                <a:gd name="connsiteX16" fmla="*/ 1431703 w 1502283"/>
                <a:gd name="connsiteY16" fmla="*/ 777145 h 1161573"/>
                <a:gd name="connsiteX17" fmla="*/ 1434465 w 1502283"/>
                <a:gd name="connsiteY17" fmla="*/ 773621 h 1161573"/>
                <a:gd name="connsiteX18" fmla="*/ 1425797 w 1502283"/>
                <a:gd name="connsiteY18" fmla="*/ 768287 h 1161573"/>
                <a:gd name="connsiteX19" fmla="*/ 1411796 w 1502283"/>
                <a:gd name="connsiteY19" fmla="*/ 758857 h 1161573"/>
                <a:gd name="connsiteX20" fmla="*/ 1402937 w 1502283"/>
                <a:gd name="connsiteY20" fmla="*/ 764762 h 1161573"/>
                <a:gd name="connsiteX21" fmla="*/ 1400937 w 1502283"/>
                <a:gd name="connsiteY21" fmla="*/ 761809 h 1161573"/>
                <a:gd name="connsiteX22" fmla="*/ 1394365 w 1502283"/>
                <a:gd name="connsiteY22" fmla="*/ 748189 h 1161573"/>
                <a:gd name="connsiteX23" fmla="*/ 1395413 w 1502283"/>
                <a:gd name="connsiteY23" fmla="*/ 756095 h 1161573"/>
                <a:gd name="connsiteX24" fmla="*/ 1381601 w 1502283"/>
                <a:gd name="connsiteY24" fmla="*/ 761048 h 1161573"/>
                <a:gd name="connsiteX25" fmla="*/ 1375886 w 1502283"/>
                <a:gd name="connsiteY25" fmla="*/ 753809 h 1161573"/>
                <a:gd name="connsiteX26" fmla="*/ 1372933 w 1502283"/>
                <a:gd name="connsiteY26" fmla="*/ 755809 h 1161573"/>
                <a:gd name="connsiteX27" fmla="*/ 1372743 w 1502283"/>
                <a:gd name="connsiteY27" fmla="*/ 754190 h 1161573"/>
                <a:gd name="connsiteX28" fmla="*/ 1366838 w 1502283"/>
                <a:gd name="connsiteY28" fmla="*/ 758190 h 1161573"/>
                <a:gd name="connsiteX29" fmla="*/ 1365028 w 1502283"/>
                <a:gd name="connsiteY29" fmla="*/ 756857 h 1161573"/>
                <a:gd name="connsiteX30" fmla="*/ 1362265 w 1502283"/>
                <a:gd name="connsiteY30" fmla="*/ 760381 h 1161573"/>
                <a:gd name="connsiteX31" fmla="*/ 1360456 w 1502283"/>
                <a:gd name="connsiteY31" fmla="*/ 759047 h 1161573"/>
                <a:gd name="connsiteX32" fmla="*/ 1348645 w 1502283"/>
                <a:gd name="connsiteY32" fmla="*/ 766953 h 1161573"/>
                <a:gd name="connsiteX33" fmla="*/ 1339596 w 1502283"/>
                <a:gd name="connsiteY33" fmla="*/ 758476 h 1161573"/>
                <a:gd name="connsiteX34" fmla="*/ 1337977 w 1502283"/>
                <a:gd name="connsiteY34" fmla="*/ 758666 h 1161573"/>
                <a:gd name="connsiteX35" fmla="*/ 1328642 w 1502283"/>
                <a:gd name="connsiteY35" fmla="*/ 748665 h 1161573"/>
                <a:gd name="connsiteX36" fmla="*/ 1321689 w 1502283"/>
                <a:gd name="connsiteY36" fmla="*/ 744760 h 1161573"/>
                <a:gd name="connsiteX37" fmla="*/ 1320260 w 1502283"/>
                <a:gd name="connsiteY37" fmla="*/ 733711 h 1161573"/>
                <a:gd name="connsiteX38" fmla="*/ 1309402 w 1502283"/>
                <a:gd name="connsiteY38" fmla="*/ 736663 h 1161573"/>
                <a:gd name="connsiteX39" fmla="*/ 1307021 w 1502283"/>
                <a:gd name="connsiteY39" fmla="*/ 743331 h 1161573"/>
                <a:gd name="connsiteX40" fmla="*/ 1304830 w 1502283"/>
                <a:gd name="connsiteY40" fmla="*/ 738759 h 1161573"/>
                <a:gd name="connsiteX41" fmla="*/ 1303496 w 1502283"/>
                <a:gd name="connsiteY41" fmla="*/ 740569 h 1161573"/>
                <a:gd name="connsiteX42" fmla="*/ 1300163 w 1502283"/>
                <a:gd name="connsiteY42" fmla="*/ 739426 h 1161573"/>
                <a:gd name="connsiteX43" fmla="*/ 1298829 w 1502283"/>
                <a:gd name="connsiteY43" fmla="*/ 741236 h 1161573"/>
                <a:gd name="connsiteX44" fmla="*/ 1292162 w 1502283"/>
                <a:gd name="connsiteY44" fmla="*/ 738854 h 1161573"/>
                <a:gd name="connsiteX45" fmla="*/ 1290352 w 1502283"/>
                <a:gd name="connsiteY45" fmla="*/ 737521 h 1161573"/>
                <a:gd name="connsiteX46" fmla="*/ 1290161 w 1502283"/>
                <a:gd name="connsiteY46" fmla="*/ 735901 h 1161573"/>
                <a:gd name="connsiteX47" fmla="*/ 1291304 w 1502283"/>
                <a:gd name="connsiteY47" fmla="*/ 732568 h 1161573"/>
                <a:gd name="connsiteX48" fmla="*/ 1289495 w 1502283"/>
                <a:gd name="connsiteY48" fmla="*/ 731234 h 1161573"/>
                <a:gd name="connsiteX49" fmla="*/ 1293590 w 1502283"/>
                <a:gd name="connsiteY49" fmla="*/ 725900 h 1161573"/>
                <a:gd name="connsiteX50" fmla="*/ 1293209 w 1502283"/>
                <a:gd name="connsiteY50" fmla="*/ 722757 h 1161573"/>
                <a:gd name="connsiteX51" fmla="*/ 1294352 w 1502283"/>
                <a:gd name="connsiteY51" fmla="*/ 719423 h 1161573"/>
                <a:gd name="connsiteX52" fmla="*/ 1292352 w 1502283"/>
                <a:gd name="connsiteY52" fmla="*/ 716471 h 1161573"/>
                <a:gd name="connsiteX53" fmla="*/ 1294543 w 1502283"/>
                <a:gd name="connsiteY53" fmla="*/ 708184 h 1161573"/>
                <a:gd name="connsiteX54" fmla="*/ 1289209 w 1502283"/>
                <a:gd name="connsiteY54" fmla="*/ 704088 h 1161573"/>
                <a:gd name="connsiteX55" fmla="*/ 1288066 w 1502283"/>
                <a:gd name="connsiteY55" fmla="*/ 707422 h 1161573"/>
                <a:gd name="connsiteX56" fmla="*/ 1281113 w 1502283"/>
                <a:gd name="connsiteY56" fmla="*/ 703517 h 1161573"/>
                <a:gd name="connsiteX57" fmla="*/ 1282256 w 1502283"/>
                <a:gd name="connsiteY57" fmla="*/ 700183 h 1161573"/>
                <a:gd name="connsiteX58" fmla="*/ 1276922 w 1502283"/>
                <a:gd name="connsiteY58" fmla="*/ 696087 h 1161573"/>
                <a:gd name="connsiteX59" fmla="*/ 1269397 w 1502283"/>
                <a:gd name="connsiteY59" fmla="*/ 700278 h 1161573"/>
                <a:gd name="connsiteX60" fmla="*/ 1266063 w 1502283"/>
                <a:gd name="connsiteY60" fmla="*/ 699135 h 1161573"/>
                <a:gd name="connsiteX61" fmla="*/ 1259777 w 1502283"/>
                <a:gd name="connsiteY61" fmla="*/ 699897 h 1161573"/>
                <a:gd name="connsiteX62" fmla="*/ 1257586 w 1502283"/>
                <a:gd name="connsiteY62" fmla="*/ 695325 h 1161573"/>
                <a:gd name="connsiteX63" fmla="*/ 1254252 w 1502283"/>
                <a:gd name="connsiteY63" fmla="*/ 694182 h 1161573"/>
                <a:gd name="connsiteX64" fmla="*/ 1252633 w 1502283"/>
                <a:gd name="connsiteY64" fmla="*/ 694373 h 1161573"/>
                <a:gd name="connsiteX65" fmla="*/ 1251299 w 1502283"/>
                <a:gd name="connsiteY65" fmla="*/ 696182 h 1161573"/>
                <a:gd name="connsiteX66" fmla="*/ 1244822 w 1502283"/>
                <a:gd name="connsiteY66" fmla="*/ 695420 h 1161573"/>
                <a:gd name="connsiteX67" fmla="*/ 1245013 w 1502283"/>
                <a:gd name="connsiteY67" fmla="*/ 697040 h 1161573"/>
                <a:gd name="connsiteX68" fmla="*/ 1241489 w 1502283"/>
                <a:gd name="connsiteY68" fmla="*/ 694277 h 1161573"/>
                <a:gd name="connsiteX69" fmla="*/ 1238726 w 1502283"/>
                <a:gd name="connsiteY69" fmla="*/ 697801 h 1161573"/>
                <a:gd name="connsiteX70" fmla="*/ 1233964 w 1502283"/>
                <a:gd name="connsiteY70" fmla="*/ 698373 h 1161573"/>
                <a:gd name="connsiteX71" fmla="*/ 1233964 w 1502283"/>
                <a:gd name="connsiteY71" fmla="*/ 685514 h 1161573"/>
                <a:gd name="connsiteX72" fmla="*/ 1230344 w 1502283"/>
                <a:gd name="connsiteY72" fmla="*/ 682752 h 1161573"/>
                <a:gd name="connsiteX73" fmla="*/ 1227963 w 1502283"/>
                <a:gd name="connsiteY73" fmla="*/ 676656 h 1161573"/>
                <a:gd name="connsiteX74" fmla="*/ 1223010 w 1502283"/>
                <a:gd name="connsiteY74" fmla="*/ 675704 h 1161573"/>
                <a:gd name="connsiteX75" fmla="*/ 1218724 w 1502283"/>
                <a:gd name="connsiteY75" fmla="*/ 679418 h 1161573"/>
                <a:gd name="connsiteX76" fmla="*/ 1217105 w 1502283"/>
                <a:gd name="connsiteY76" fmla="*/ 679609 h 1161573"/>
                <a:gd name="connsiteX77" fmla="*/ 1215866 w 1502283"/>
                <a:gd name="connsiteY77" fmla="*/ 670179 h 1161573"/>
                <a:gd name="connsiteX78" fmla="*/ 1199674 w 1502283"/>
                <a:gd name="connsiteY78" fmla="*/ 669036 h 1161573"/>
                <a:gd name="connsiteX79" fmla="*/ 1197293 w 1502283"/>
                <a:gd name="connsiteY79" fmla="*/ 675704 h 1161573"/>
                <a:gd name="connsiteX80" fmla="*/ 1194340 w 1502283"/>
                <a:gd name="connsiteY80" fmla="*/ 677704 h 1161573"/>
                <a:gd name="connsiteX81" fmla="*/ 1192339 w 1502283"/>
                <a:gd name="connsiteY81" fmla="*/ 674751 h 1161573"/>
                <a:gd name="connsiteX82" fmla="*/ 1193482 w 1502283"/>
                <a:gd name="connsiteY82" fmla="*/ 671417 h 1161573"/>
                <a:gd name="connsiteX83" fmla="*/ 1195864 w 1502283"/>
                <a:gd name="connsiteY83" fmla="*/ 664750 h 1161573"/>
                <a:gd name="connsiteX84" fmla="*/ 1195483 w 1502283"/>
                <a:gd name="connsiteY84" fmla="*/ 661607 h 1161573"/>
                <a:gd name="connsiteX85" fmla="*/ 1199579 w 1502283"/>
                <a:gd name="connsiteY85" fmla="*/ 656273 h 1161573"/>
                <a:gd name="connsiteX86" fmla="*/ 1200531 w 1502283"/>
                <a:gd name="connsiteY86" fmla="*/ 651320 h 1161573"/>
                <a:gd name="connsiteX87" fmla="*/ 1200912 w 1502283"/>
                <a:gd name="connsiteY87" fmla="*/ 641604 h 1161573"/>
                <a:gd name="connsiteX88" fmla="*/ 1198721 w 1502283"/>
                <a:gd name="connsiteY88" fmla="*/ 637032 h 1161573"/>
                <a:gd name="connsiteX89" fmla="*/ 1198150 w 1502283"/>
                <a:gd name="connsiteY89" fmla="*/ 632270 h 1161573"/>
                <a:gd name="connsiteX90" fmla="*/ 1196149 w 1502283"/>
                <a:gd name="connsiteY90" fmla="*/ 629317 h 1161573"/>
                <a:gd name="connsiteX91" fmla="*/ 1191197 w 1502283"/>
                <a:gd name="connsiteY91" fmla="*/ 628364 h 1161573"/>
                <a:gd name="connsiteX92" fmla="*/ 1187577 w 1502283"/>
                <a:gd name="connsiteY92" fmla="*/ 612743 h 1161573"/>
                <a:gd name="connsiteX93" fmla="*/ 1185767 w 1502283"/>
                <a:gd name="connsiteY93" fmla="*/ 611410 h 1161573"/>
                <a:gd name="connsiteX94" fmla="*/ 1177671 w 1502283"/>
                <a:gd name="connsiteY94" fmla="*/ 610838 h 1161573"/>
                <a:gd name="connsiteX95" fmla="*/ 1167384 w 1502283"/>
                <a:gd name="connsiteY95" fmla="*/ 618554 h 1161573"/>
                <a:gd name="connsiteX96" fmla="*/ 1156525 w 1502283"/>
                <a:gd name="connsiteY96" fmla="*/ 621506 h 1161573"/>
                <a:gd name="connsiteX97" fmla="*/ 1151954 w 1502283"/>
                <a:gd name="connsiteY97" fmla="*/ 623697 h 1161573"/>
                <a:gd name="connsiteX98" fmla="*/ 1148620 w 1502283"/>
                <a:gd name="connsiteY98" fmla="*/ 622554 h 1161573"/>
                <a:gd name="connsiteX99" fmla="*/ 1145667 w 1502283"/>
                <a:gd name="connsiteY99" fmla="*/ 624554 h 1161573"/>
                <a:gd name="connsiteX100" fmla="*/ 1142524 w 1502283"/>
                <a:gd name="connsiteY100" fmla="*/ 624935 h 1161573"/>
                <a:gd name="connsiteX101" fmla="*/ 1138619 w 1502283"/>
                <a:gd name="connsiteY101" fmla="*/ 631888 h 1161573"/>
                <a:gd name="connsiteX102" fmla="*/ 1135094 w 1502283"/>
                <a:gd name="connsiteY102" fmla="*/ 629126 h 1161573"/>
                <a:gd name="connsiteX103" fmla="*/ 1130618 w 1502283"/>
                <a:gd name="connsiteY103" fmla="*/ 631317 h 1161573"/>
                <a:gd name="connsiteX104" fmla="*/ 1114235 w 1502283"/>
                <a:gd name="connsiteY104" fmla="*/ 628555 h 1161573"/>
                <a:gd name="connsiteX105" fmla="*/ 1120140 w 1502283"/>
                <a:gd name="connsiteY105" fmla="*/ 624554 h 1161573"/>
                <a:gd name="connsiteX106" fmla="*/ 1120902 w 1502283"/>
                <a:gd name="connsiteY106" fmla="*/ 618077 h 1161573"/>
                <a:gd name="connsiteX107" fmla="*/ 1118711 w 1502283"/>
                <a:gd name="connsiteY107" fmla="*/ 613505 h 1161573"/>
                <a:gd name="connsiteX108" fmla="*/ 1117282 w 1502283"/>
                <a:gd name="connsiteY108" fmla="*/ 615315 h 1161573"/>
                <a:gd name="connsiteX109" fmla="*/ 1115092 w 1502283"/>
                <a:gd name="connsiteY109" fmla="*/ 597980 h 1161573"/>
                <a:gd name="connsiteX110" fmla="*/ 1126522 w 1502283"/>
                <a:gd name="connsiteY110" fmla="*/ 599694 h 1161573"/>
                <a:gd name="connsiteX111" fmla="*/ 1129856 w 1502283"/>
                <a:gd name="connsiteY111" fmla="*/ 600837 h 1161573"/>
                <a:gd name="connsiteX112" fmla="*/ 1134142 w 1502283"/>
                <a:gd name="connsiteY112" fmla="*/ 597122 h 1161573"/>
                <a:gd name="connsiteX113" fmla="*/ 1133094 w 1502283"/>
                <a:gd name="connsiteY113" fmla="*/ 589217 h 1161573"/>
                <a:gd name="connsiteX114" fmla="*/ 1134713 w 1502283"/>
                <a:gd name="connsiteY114" fmla="*/ 589026 h 1161573"/>
                <a:gd name="connsiteX115" fmla="*/ 1137666 w 1502283"/>
                <a:gd name="connsiteY115" fmla="*/ 574262 h 1161573"/>
                <a:gd name="connsiteX116" fmla="*/ 1138047 w 1502283"/>
                <a:gd name="connsiteY116" fmla="*/ 564642 h 1161573"/>
                <a:gd name="connsiteX117" fmla="*/ 1142619 w 1502283"/>
                <a:gd name="connsiteY117" fmla="*/ 562451 h 1161573"/>
                <a:gd name="connsiteX118" fmla="*/ 1149096 w 1502283"/>
                <a:gd name="connsiteY118" fmla="*/ 563213 h 1161573"/>
                <a:gd name="connsiteX119" fmla="*/ 1150906 w 1502283"/>
                <a:gd name="connsiteY119" fmla="*/ 564547 h 1161573"/>
                <a:gd name="connsiteX120" fmla="*/ 1154049 w 1502283"/>
                <a:gd name="connsiteY120" fmla="*/ 564166 h 1161573"/>
                <a:gd name="connsiteX121" fmla="*/ 1155192 w 1502283"/>
                <a:gd name="connsiteY121" fmla="*/ 560832 h 1161573"/>
                <a:gd name="connsiteX122" fmla="*/ 1156335 w 1502283"/>
                <a:gd name="connsiteY122" fmla="*/ 557498 h 1161573"/>
                <a:gd name="connsiteX123" fmla="*/ 1159669 w 1502283"/>
                <a:gd name="connsiteY123" fmla="*/ 558641 h 1161573"/>
                <a:gd name="connsiteX124" fmla="*/ 1161002 w 1502283"/>
                <a:gd name="connsiteY124" fmla="*/ 556832 h 1161573"/>
                <a:gd name="connsiteX125" fmla="*/ 1165955 w 1502283"/>
                <a:gd name="connsiteY125" fmla="*/ 557784 h 1161573"/>
                <a:gd name="connsiteX126" fmla="*/ 1169480 w 1502283"/>
                <a:gd name="connsiteY126" fmla="*/ 534924 h 1161573"/>
                <a:gd name="connsiteX127" fmla="*/ 1174052 w 1502283"/>
                <a:gd name="connsiteY127" fmla="*/ 532733 h 1161573"/>
                <a:gd name="connsiteX128" fmla="*/ 1172051 w 1502283"/>
                <a:gd name="connsiteY128" fmla="*/ 529780 h 1161573"/>
                <a:gd name="connsiteX129" fmla="*/ 1173671 w 1502283"/>
                <a:gd name="connsiteY129" fmla="*/ 529590 h 1161573"/>
                <a:gd name="connsiteX130" fmla="*/ 1171670 w 1502283"/>
                <a:gd name="connsiteY130" fmla="*/ 526637 h 1161573"/>
                <a:gd name="connsiteX131" fmla="*/ 1172813 w 1502283"/>
                <a:gd name="connsiteY131" fmla="*/ 523304 h 1161573"/>
                <a:gd name="connsiteX132" fmla="*/ 1176147 w 1502283"/>
                <a:gd name="connsiteY132" fmla="*/ 511683 h 1161573"/>
                <a:gd name="connsiteX133" fmla="*/ 1172147 w 1502283"/>
                <a:gd name="connsiteY133" fmla="*/ 505778 h 1161573"/>
                <a:gd name="connsiteX134" fmla="*/ 1170623 w 1502283"/>
                <a:gd name="connsiteY134" fmla="*/ 505968 h 1161573"/>
                <a:gd name="connsiteX135" fmla="*/ 1165479 w 1502283"/>
                <a:gd name="connsiteY135" fmla="*/ 516255 h 1161573"/>
                <a:gd name="connsiteX136" fmla="*/ 1160907 w 1502283"/>
                <a:gd name="connsiteY136" fmla="*/ 518446 h 1161573"/>
                <a:gd name="connsiteX137" fmla="*/ 1157383 w 1502283"/>
                <a:gd name="connsiteY137" fmla="*/ 515684 h 1161573"/>
                <a:gd name="connsiteX138" fmla="*/ 1154239 w 1502283"/>
                <a:gd name="connsiteY138" fmla="*/ 516065 h 1161573"/>
                <a:gd name="connsiteX139" fmla="*/ 1152430 w 1502283"/>
                <a:gd name="connsiteY139" fmla="*/ 514731 h 1161573"/>
                <a:gd name="connsiteX140" fmla="*/ 1141381 w 1502283"/>
                <a:gd name="connsiteY140" fmla="*/ 516160 h 1161573"/>
                <a:gd name="connsiteX141" fmla="*/ 1141952 w 1502283"/>
                <a:gd name="connsiteY141" fmla="*/ 520922 h 1161573"/>
                <a:gd name="connsiteX142" fmla="*/ 1136618 w 1502283"/>
                <a:gd name="connsiteY142" fmla="*/ 516826 h 1161573"/>
                <a:gd name="connsiteX143" fmla="*/ 1140714 w 1502283"/>
                <a:gd name="connsiteY143" fmla="*/ 511492 h 1161573"/>
                <a:gd name="connsiteX144" fmla="*/ 1141476 w 1502283"/>
                <a:gd name="connsiteY144" fmla="*/ 505016 h 1161573"/>
                <a:gd name="connsiteX145" fmla="*/ 1143286 w 1502283"/>
                <a:gd name="connsiteY145" fmla="*/ 506349 h 1161573"/>
                <a:gd name="connsiteX146" fmla="*/ 1149001 w 1502283"/>
                <a:gd name="connsiteY146" fmla="*/ 500825 h 1161573"/>
                <a:gd name="connsiteX147" fmla="*/ 1146810 w 1502283"/>
                <a:gd name="connsiteY147" fmla="*/ 496253 h 1161573"/>
                <a:gd name="connsiteX148" fmla="*/ 1145191 w 1502283"/>
                <a:gd name="connsiteY148" fmla="*/ 496443 h 1161573"/>
                <a:gd name="connsiteX149" fmla="*/ 1143381 w 1502283"/>
                <a:gd name="connsiteY149" fmla="*/ 495109 h 1161573"/>
                <a:gd name="connsiteX150" fmla="*/ 1140047 w 1502283"/>
                <a:gd name="connsiteY150" fmla="*/ 493967 h 1161573"/>
                <a:gd name="connsiteX151" fmla="*/ 1137095 w 1502283"/>
                <a:gd name="connsiteY151" fmla="*/ 483108 h 1161573"/>
                <a:gd name="connsiteX152" fmla="*/ 1132904 w 1502283"/>
                <a:gd name="connsiteY152" fmla="*/ 475583 h 1161573"/>
                <a:gd name="connsiteX153" fmla="*/ 1127570 w 1502283"/>
                <a:gd name="connsiteY153" fmla="*/ 471488 h 1161573"/>
                <a:gd name="connsiteX154" fmla="*/ 1133856 w 1502283"/>
                <a:gd name="connsiteY154" fmla="*/ 457867 h 1161573"/>
                <a:gd name="connsiteX155" fmla="*/ 1132808 w 1502283"/>
                <a:gd name="connsiteY155" fmla="*/ 449961 h 1161573"/>
                <a:gd name="connsiteX156" fmla="*/ 1129094 w 1502283"/>
                <a:gd name="connsiteY156" fmla="*/ 445675 h 1161573"/>
                <a:gd name="connsiteX157" fmla="*/ 1126903 w 1502283"/>
                <a:gd name="connsiteY157" fmla="*/ 441103 h 1161573"/>
                <a:gd name="connsiteX158" fmla="*/ 1121759 w 1502283"/>
                <a:gd name="connsiteY158" fmla="*/ 438531 h 1161573"/>
                <a:gd name="connsiteX159" fmla="*/ 1122521 w 1502283"/>
                <a:gd name="connsiteY159" fmla="*/ 432054 h 1161573"/>
                <a:gd name="connsiteX160" fmla="*/ 1128427 w 1502283"/>
                <a:gd name="connsiteY160" fmla="*/ 428054 h 1161573"/>
                <a:gd name="connsiteX161" fmla="*/ 1130998 w 1502283"/>
                <a:gd name="connsiteY161" fmla="*/ 422910 h 1161573"/>
                <a:gd name="connsiteX162" fmla="*/ 1135571 w 1502283"/>
                <a:gd name="connsiteY162" fmla="*/ 420719 h 1161573"/>
                <a:gd name="connsiteX163" fmla="*/ 1137475 w 1502283"/>
                <a:gd name="connsiteY163" fmla="*/ 410813 h 1161573"/>
                <a:gd name="connsiteX164" fmla="*/ 1137285 w 1502283"/>
                <a:gd name="connsiteY164" fmla="*/ 409194 h 1161573"/>
                <a:gd name="connsiteX165" fmla="*/ 1141190 w 1502283"/>
                <a:gd name="connsiteY165" fmla="*/ 402241 h 1161573"/>
                <a:gd name="connsiteX166" fmla="*/ 1142810 w 1502283"/>
                <a:gd name="connsiteY166" fmla="*/ 402050 h 1161573"/>
                <a:gd name="connsiteX167" fmla="*/ 1142429 w 1502283"/>
                <a:gd name="connsiteY167" fmla="*/ 398907 h 1161573"/>
                <a:gd name="connsiteX168" fmla="*/ 1142238 w 1502283"/>
                <a:gd name="connsiteY168" fmla="*/ 397288 h 1161573"/>
                <a:gd name="connsiteX169" fmla="*/ 1139285 w 1502283"/>
                <a:gd name="connsiteY169" fmla="*/ 399288 h 1161573"/>
                <a:gd name="connsiteX170" fmla="*/ 1140428 w 1502283"/>
                <a:gd name="connsiteY170" fmla="*/ 395954 h 1161573"/>
                <a:gd name="connsiteX171" fmla="*/ 1138619 w 1502283"/>
                <a:gd name="connsiteY171" fmla="*/ 394621 h 1161573"/>
                <a:gd name="connsiteX172" fmla="*/ 1135856 w 1502283"/>
                <a:gd name="connsiteY172" fmla="*/ 385382 h 1161573"/>
                <a:gd name="connsiteX173" fmla="*/ 1135285 w 1502283"/>
                <a:gd name="connsiteY173" fmla="*/ 380619 h 1161573"/>
                <a:gd name="connsiteX174" fmla="*/ 1133475 w 1502283"/>
                <a:gd name="connsiteY174" fmla="*/ 379286 h 1161573"/>
                <a:gd name="connsiteX175" fmla="*/ 1132141 w 1502283"/>
                <a:gd name="connsiteY175" fmla="*/ 381095 h 1161573"/>
                <a:gd name="connsiteX176" fmla="*/ 1129951 w 1502283"/>
                <a:gd name="connsiteY176" fmla="*/ 376523 h 1161573"/>
                <a:gd name="connsiteX177" fmla="*/ 1129189 w 1502283"/>
                <a:gd name="connsiteY177" fmla="*/ 370237 h 1161573"/>
                <a:gd name="connsiteX178" fmla="*/ 1126617 w 1502283"/>
                <a:gd name="connsiteY178" fmla="*/ 362521 h 1161573"/>
                <a:gd name="connsiteX179" fmla="*/ 1122616 w 1502283"/>
                <a:gd name="connsiteY179" fmla="*/ 356616 h 1161573"/>
                <a:gd name="connsiteX180" fmla="*/ 1125569 w 1502283"/>
                <a:gd name="connsiteY180" fmla="*/ 354616 h 1161573"/>
                <a:gd name="connsiteX181" fmla="*/ 1125379 w 1502283"/>
                <a:gd name="connsiteY181" fmla="*/ 352996 h 1161573"/>
                <a:gd name="connsiteX182" fmla="*/ 1126522 w 1502283"/>
                <a:gd name="connsiteY182" fmla="*/ 349663 h 1161573"/>
                <a:gd name="connsiteX183" fmla="*/ 1125760 w 1502283"/>
                <a:gd name="connsiteY183" fmla="*/ 343376 h 1161573"/>
                <a:gd name="connsiteX184" fmla="*/ 1118045 w 1502283"/>
                <a:gd name="connsiteY184" fmla="*/ 345948 h 1161573"/>
                <a:gd name="connsiteX185" fmla="*/ 1112139 w 1502283"/>
                <a:gd name="connsiteY185" fmla="*/ 337090 h 1161573"/>
                <a:gd name="connsiteX186" fmla="*/ 1108424 w 1502283"/>
                <a:gd name="connsiteY186" fmla="*/ 332804 h 1161573"/>
                <a:gd name="connsiteX187" fmla="*/ 1109758 w 1502283"/>
                <a:gd name="connsiteY187" fmla="*/ 330994 h 1161573"/>
                <a:gd name="connsiteX188" fmla="*/ 1104805 w 1502283"/>
                <a:gd name="connsiteY188" fmla="*/ 330041 h 1161573"/>
                <a:gd name="connsiteX189" fmla="*/ 1096328 w 1502283"/>
                <a:gd name="connsiteY189" fmla="*/ 326326 h 1161573"/>
                <a:gd name="connsiteX190" fmla="*/ 1093184 w 1502283"/>
                <a:gd name="connsiteY190" fmla="*/ 326708 h 1161573"/>
                <a:gd name="connsiteX191" fmla="*/ 1091851 w 1502283"/>
                <a:gd name="connsiteY191" fmla="*/ 328517 h 1161573"/>
                <a:gd name="connsiteX192" fmla="*/ 1083183 w 1502283"/>
                <a:gd name="connsiteY192" fmla="*/ 323183 h 1161573"/>
                <a:gd name="connsiteX193" fmla="*/ 1080040 w 1502283"/>
                <a:gd name="connsiteY193" fmla="*/ 323564 h 1161573"/>
                <a:gd name="connsiteX194" fmla="*/ 1078516 w 1502283"/>
                <a:gd name="connsiteY194" fmla="*/ 323755 h 1161573"/>
                <a:gd name="connsiteX195" fmla="*/ 1078325 w 1502283"/>
                <a:gd name="connsiteY195" fmla="*/ 322136 h 1161573"/>
                <a:gd name="connsiteX196" fmla="*/ 1071563 w 1502283"/>
                <a:gd name="connsiteY196" fmla="*/ 319754 h 1161573"/>
                <a:gd name="connsiteX197" fmla="*/ 1069562 w 1502283"/>
                <a:gd name="connsiteY197" fmla="*/ 316801 h 1161573"/>
                <a:gd name="connsiteX198" fmla="*/ 1070896 w 1502283"/>
                <a:gd name="connsiteY198" fmla="*/ 314992 h 1161573"/>
                <a:gd name="connsiteX199" fmla="*/ 1060799 w 1502283"/>
                <a:gd name="connsiteY199" fmla="*/ 311467 h 1161573"/>
                <a:gd name="connsiteX200" fmla="*/ 1059466 w 1502283"/>
                <a:gd name="connsiteY200" fmla="*/ 313277 h 1161573"/>
                <a:gd name="connsiteX201" fmla="*/ 1055465 w 1502283"/>
                <a:gd name="connsiteY201" fmla="*/ 307372 h 1161573"/>
                <a:gd name="connsiteX202" fmla="*/ 1060037 w 1502283"/>
                <a:gd name="connsiteY202" fmla="*/ 305181 h 1161573"/>
                <a:gd name="connsiteX203" fmla="*/ 1060990 w 1502283"/>
                <a:gd name="connsiteY203" fmla="*/ 300228 h 1161573"/>
                <a:gd name="connsiteX204" fmla="*/ 1059180 w 1502283"/>
                <a:gd name="connsiteY204" fmla="*/ 298895 h 1161573"/>
                <a:gd name="connsiteX205" fmla="*/ 1059180 w 1502283"/>
                <a:gd name="connsiteY205" fmla="*/ 298895 h 1161573"/>
                <a:gd name="connsiteX206" fmla="*/ 1057180 w 1502283"/>
                <a:gd name="connsiteY206" fmla="*/ 295942 h 1161573"/>
                <a:gd name="connsiteX207" fmla="*/ 1062514 w 1502283"/>
                <a:gd name="connsiteY207" fmla="*/ 287274 h 1161573"/>
                <a:gd name="connsiteX208" fmla="*/ 1065276 w 1502283"/>
                <a:gd name="connsiteY208" fmla="*/ 283750 h 1161573"/>
                <a:gd name="connsiteX209" fmla="*/ 1063276 w 1502283"/>
                <a:gd name="connsiteY209" fmla="*/ 280797 h 1161573"/>
                <a:gd name="connsiteX210" fmla="*/ 1064228 w 1502283"/>
                <a:gd name="connsiteY210" fmla="*/ 275844 h 1161573"/>
                <a:gd name="connsiteX211" fmla="*/ 1068324 w 1502283"/>
                <a:gd name="connsiteY211" fmla="*/ 270510 h 1161573"/>
                <a:gd name="connsiteX212" fmla="*/ 1067562 w 1502283"/>
                <a:gd name="connsiteY212" fmla="*/ 264224 h 1161573"/>
                <a:gd name="connsiteX213" fmla="*/ 1063752 w 1502283"/>
                <a:gd name="connsiteY213" fmla="*/ 259937 h 1161573"/>
                <a:gd name="connsiteX214" fmla="*/ 1061371 w 1502283"/>
                <a:gd name="connsiteY214" fmla="*/ 253841 h 1161573"/>
                <a:gd name="connsiteX215" fmla="*/ 1059180 w 1502283"/>
                <a:gd name="connsiteY215" fmla="*/ 249269 h 1161573"/>
                <a:gd name="connsiteX216" fmla="*/ 1057561 w 1502283"/>
                <a:gd name="connsiteY216" fmla="*/ 249460 h 1161573"/>
                <a:gd name="connsiteX217" fmla="*/ 1059752 w 1502283"/>
                <a:gd name="connsiteY217" fmla="*/ 254032 h 1161573"/>
                <a:gd name="connsiteX218" fmla="*/ 1056989 w 1502283"/>
                <a:gd name="connsiteY218" fmla="*/ 257556 h 1161573"/>
                <a:gd name="connsiteX219" fmla="*/ 1057370 w 1502283"/>
                <a:gd name="connsiteY219" fmla="*/ 260699 h 1161573"/>
                <a:gd name="connsiteX220" fmla="*/ 1052608 w 1502283"/>
                <a:gd name="connsiteY220" fmla="*/ 261271 h 1161573"/>
                <a:gd name="connsiteX221" fmla="*/ 1055941 w 1502283"/>
                <a:gd name="connsiteY221" fmla="*/ 262414 h 1161573"/>
                <a:gd name="connsiteX222" fmla="*/ 1054989 w 1502283"/>
                <a:gd name="connsiteY222" fmla="*/ 267367 h 1161573"/>
                <a:gd name="connsiteX223" fmla="*/ 1056608 w 1502283"/>
                <a:gd name="connsiteY223" fmla="*/ 267176 h 1161573"/>
                <a:gd name="connsiteX224" fmla="*/ 1056989 w 1502283"/>
                <a:gd name="connsiteY224" fmla="*/ 270320 h 1161573"/>
                <a:gd name="connsiteX225" fmla="*/ 1058323 w 1502283"/>
                <a:gd name="connsiteY225" fmla="*/ 268510 h 1161573"/>
                <a:gd name="connsiteX226" fmla="*/ 1055561 w 1502283"/>
                <a:gd name="connsiteY226" fmla="*/ 272034 h 1161573"/>
                <a:gd name="connsiteX227" fmla="*/ 1055561 w 1502283"/>
                <a:gd name="connsiteY227" fmla="*/ 272034 h 1161573"/>
                <a:gd name="connsiteX228" fmla="*/ 1055751 w 1502283"/>
                <a:gd name="connsiteY228" fmla="*/ 273653 h 1161573"/>
                <a:gd name="connsiteX229" fmla="*/ 1050798 w 1502283"/>
                <a:gd name="connsiteY229" fmla="*/ 272701 h 1161573"/>
                <a:gd name="connsiteX230" fmla="*/ 1049179 w 1502283"/>
                <a:gd name="connsiteY230" fmla="*/ 272891 h 1161573"/>
                <a:gd name="connsiteX231" fmla="*/ 1049369 w 1502283"/>
                <a:gd name="connsiteY231" fmla="*/ 274511 h 1161573"/>
                <a:gd name="connsiteX232" fmla="*/ 1046226 w 1502283"/>
                <a:gd name="connsiteY232" fmla="*/ 274892 h 1161573"/>
                <a:gd name="connsiteX233" fmla="*/ 1045655 w 1502283"/>
                <a:gd name="connsiteY233" fmla="*/ 270129 h 1161573"/>
                <a:gd name="connsiteX234" fmla="*/ 1046797 w 1502283"/>
                <a:gd name="connsiteY234" fmla="*/ 266795 h 1161573"/>
                <a:gd name="connsiteX235" fmla="*/ 1043654 w 1502283"/>
                <a:gd name="connsiteY235" fmla="*/ 267176 h 1161573"/>
                <a:gd name="connsiteX236" fmla="*/ 1041273 w 1502283"/>
                <a:gd name="connsiteY236" fmla="*/ 261080 h 1161573"/>
                <a:gd name="connsiteX237" fmla="*/ 1039654 w 1502283"/>
                <a:gd name="connsiteY237" fmla="*/ 261271 h 1161573"/>
                <a:gd name="connsiteX238" fmla="*/ 1042225 w 1502283"/>
                <a:gd name="connsiteY238" fmla="*/ 256127 h 1161573"/>
                <a:gd name="connsiteX239" fmla="*/ 1032796 w 1502283"/>
                <a:gd name="connsiteY239" fmla="*/ 257366 h 1161573"/>
                <a:gd name="connsiteX240" fmla="*/ 1032224 w 1502283"/>
                <a:gd name="connsiteY240" fmla="*/ 252603 h 1161573"/>
                <a:gd name="connsiteX241" fmla="*/ 1035558 w 1502283"/>
                <a:gd name="connsiteY241" fmla="*/ 253746 h 1161573"/>
                <a:gd name="connsiteX242" fmla="*/ 1034987 w 1502283"/>
                <a:gd name="connsiteY242" fmla="*/ 248984 h 1161573"/>
                <a:gd name="connsiteX243" fmla="*/ 1033367 w 1502283"/>
                <a:gd name="connsiteY243" fmla="*/ 249174 h 1161573"/>
                <a:gd name="connsiteX244" fmla="*/ 1035748 w 1502283"/>
                <a:gd name="connsiteY244" fmla="*/ 242507 h 1161573"/>
                <a:gd name="connsiteX245" fmla="*/ 1035368 w 1502283"/>
                <a:gd name="connsiteY245" fmla="*/ 239363 h 1161573"/>
                <a:gd name="connsiteX246" fmla="*/ 1030605 w 1502283"/>
                <a:gd name="connsiteY246" fmla="*/ 239935 h 1161573"/>
                <a:gd name="connsiteX247" fmla="*/ 1030224 w 1502283"/>
                <a:gd name="connsiteY247" fmla="*/ 236792 h 1161573"/>
                <a:gd name="connsiteX248" fmla="*/ 1025652 w 1502283"/>
                <a:gd name="connsiteY248" fmla="*/ 238982 h 1161573"/>
                <a:gd name="connsiteX249" fmla="*/ 1020699 w 1502283"/>
                <a:gd name="connsiteY249" fmla="*/ 238030 h 1161573"/>
                <a:gd name="connsiteX250" fmla="*/ 1013555 w 1502283"/>
                <a:gd name="connsiteY250" fmla="*/ 232505 h 1161573"/>
                <a:gd name="connsiteX251" fmla="*/ 1014698 w 1502283"/>
                <a:gd name="connsiteY251" fmla="*/ 229171 h 1161573"/>
                <a:gd name="connsiteX252" fmla="*/ 1016508 w 1502283"/>
                <a:gd name="connsiteY252" fmla="*/ 230505 h 1161573"/>
                <a:gd name="connsiteX253" fmla="*/ 1017270 w 1502283"/>
                <a:gd name="connsiteY253" fmla="*/ 224028 h 1161573"/>
                <a:gd name="connsiteX254" fmla="*/ 1016698 w 1502283"/>
                <a:gd name="connsiteY254" fmla="*/ 219266 h 1161573"/>
                <a:gd name="connsiteX255" fmla="*/ 1012127 w 1502283"/>
                <a:gd name="connsiteY255" fmla="*/ 208598 h 1161573"/>
                <a:gd name="connsiteX256" fmla="*/ 1011936 w 1502283"/>
                <a:gd name="connsiteY256" fmla="*/ 206978 h 1161573"/>
                <a:gd name="connsiteX257" fmla="*/ 1013555 w 1502283"/>
                <a:gd name="connsiteY257" fmla="*/ 206788 h 1161573"/>
                <a:gd name="connsiteX258" fmla="*/ 1012507 w 1502283"/>
                <a:gd name="connsiteY258" fmla="*/ 198882 h 1161573"/>
                <a:gd name="connsiteX259" fmla="*/ 1010698 w 1502283"/>
                <a:gd name="connsiteY259" fmla="*/ 197453 h 1161573"/>
                <a:gd name="connsiteX260" fmla="*/ 1008697 w 1502283"/>
                <a:gd name="connsiteY260" fmla="*/ 194500 h 1161573"/>
                <a:gd name="connsiteX261" fmla="*/ 1005745 w 1502283"/>
                <a:gd name="connsiteY261" fmla="*/ 196501 h 1161573"/>
                <a:gd name="connsiteX262" fmla="*/ 1002221 w 1502283"/>
                <a:gd name="connsiteY262" fmla="*/ 193738 h 1161573"/>
                <a:gd name="connsiteX263" fmla="*/ 1000601 w 1502283"/>
                <a:gd name="connsiteY263" fmla="*/ 193929 h 1161573"/>
                <a:gd name="connsiteX264" fmla="*/ 1000220 w 1502283"/>
                <a:gd name="connsiteY264" fmla="*/ 190786 h 1161573"/>
                <a:gd name="connsiteX265" fmla="*/ 1004983 w 1502283"/>
                <a:gd name="connsiteY265" fmla="*/ 190214 h 1161573"/>
                <a:gd name="connsiteX266" fmla="*/ 1006316 w 1502283"/>
                <a:gd name="connsiteY266" fmla="*/ 188404 h 1161573"/>
                <a:gd name="connsiteX267" fmla="*/ 1004316 w 1502283"/>
                <a:gd name="connsiteY267" fmla="*/ 185452 h 1161573"/>
                <a:gd name="connsiteX268" fmla="*/ 992886 w 1502283"/>
                <a:gd name="connsiteY268" fmla="*/ 183737 h 1161573"/>
                <a:gd name="connsiteX269" fmla="*/ 992314 w 1502283"/>
                <a:gd name="connsiteY269" fmla="*/ 178975 h 1161573"/>
                <a:gd name="connsiteX270" fmla="*/ 989171 w 1502283"/>
                <a:gd name="connsiteY270" fmla="*/ 179356 h 1161573"/>
                <a:gd name="connsiteX271" fmla="*/ 987171 w 1502283"/>
                <a:gd name="connsiteY271" fmla="*/ 176403 h 1161573"/>
                <a:gd name="connsiteX272" fmla="*/ 993457 w 1502283"/>
                <a:gd name="connsiteY272" fmla="*/ 175641 h 1161573"/>
                <a:gd name="connsiteX273" fmla="*/ 992219 w 1502283"/>
                <a:gd name="connsiteY273" fmla="*/ 166211 h 1161573"/>
                <a:gd name="connsiteX274" fmla="*/ 985266 w 1502283"/>
                <a:gd name="connsiteY274" fmla="*/ 162306 h 1161573"/>
                <a:gd name="connsiteX275" fmla="*/ 983266 w 1502283"/>
                <a:gd name="connsiteY275" fmla="*/ 159353 h 1161573"/>
                <a:gd name="connsiteX276" fmla="*/ 984599 w 1502283"/>
                <a:gd name="connsiteY276" fmla="*/ 157544 h 1161573"/>
                <a:gd name="connsiteX277" fmla="*/ 981265 w 1502283"/>
                <a:gd name="connsiteY277" fmla="*/ 156400 h 1161573"/>
                <a:gd name="connsiteX278" fmla="*/ 981075 w 1502283"/>
                <a:gd name="connsiteY278" fmla="*/ 154781 h 1161573"/>
                <a:gd name="connsiteX279" fmla="*/ 977741 w 1502283"/>
                <a:gd name="connsiteY279" fmla="*/ 153638 h 1161573"/>
                <a:gd name="connsiteX280" fmla="*/ 973836 w 1502283"/>
                <a:gd name="connsiteY280" fmla="*/ 160592 h 1161573"/>
                <a:gd name="connsiteX281" fmla="*/ 962787 w 1502283"/>
                <a:gd name="connsiteY281" fmla="*/ 149162 h 1161573"/>
                <a:gd name="connsiteX282" fmla="*/ 960977 w 1502283"/>
                <a:gd name="connsiteY282" fmla="*/ 147828 h 1161573"/>
                <a:gd name="connsiteX283" fmla="*/ 958215 w 1502283"/>
                <a:gd name="connsiteY283" fmla="*/ 151352 h 1161573"/>
                <a:gd name="connsiteX284" fmla="*/ 954881 w 1502283"/>
                <a:gd name="connsiteY284" fmla="*/ 150209 h 1161573"/>
                <a:gd name="connsiteX285" fmla="*/ 940118 w 1502283"/>
                <a:gd name="connsiteY285" fmla="*/ 160115 h 1161573"/>
                <a:gd name="connsiteX286" fmla="*/ 935355 w 1502283"/>
                <a:gd name="connsiteY286" fmla="*/ 160687 h 1161573"/>
                <a:gd name="connsiteX287" fmla="*/ 932402 w 1502283"/>
                <a:gd name="connsiteY287" fmla="*/ 162687 h 1161573"/>
                <a:gd name="connsiteX288" fmla="*/ 934212 w 1502283"/>
                <a:gd name="connsiteY288" fmla="*/ 164021 h 1161573"/>
                <a:gd name="connsiteX289" fmla="*/ 935831 w 1502283"/>
                <a:gd name="connsiteY289" fmla="*/ 163830 h 1161573"/>
                <a:gd name="connsiteX290" fmla="*/ 937641 w 1502283"/>
                <a:gd name="connsiteY290" fmla="*/ 165163 h 1161573"/>
                <a:gd name="connsiteX291" fmla="*/ 934498 w 1502283"/>
                <a:gd name="connsiteY291" fmla="*/ 165545 h 1161573"/>
                <a:gd name="connsiteX292" fmla="*/ 933545 w 1502283"/>
                <a:gd name="connsiteY292" fmla="*/ 170498 h 1161573"/>
                <a:gd name="connsiteX293" fmla="*/ 930593 w 1502283"/>
                <a:gd name="connsiteY293" fmla="*/ 172498 h 1161573"/>
                <a:gd name="connsiteX294" fmla="*/ 925449 w 1502283"/>
                <a:gd name="connsiteY294" fmla="*/ 169926 h 1161573"/>
                <a:gd name="connsiteX295" fmla="*/ 921163 w 1502283"/>
                <a:gd name="connsiteY295" fmla="*/ 173641 h 1161573"/>
                <a:gd name="connsiteX296" fmla="*/ 927449 w 1502283"/>
                <a:gd name="connsiteY296" fmla="*/ 172879 h 1161573"/>
                <a:gd name="connsiteX297" fmla="*/ 931164 w 1502283"/>
                <a:gd name="connsiteY297" fmla="*/ 177165 h 1161573"/>
                <a:gd name="connsiteX298" fmla="*/ 928783 w 1502283"/>
                <a:gd name="connsiteY298" fmla="*/ 183833 h 1161573"/>
                <a:gd name="connsiteX299" fmla="*/ 930402 w 1502283"/>
                <a:gd name="connsiteY299" fmla="*/ 183642 h 1161573"/>
                <a:gd name="connsiteX300" fmla="*/ 933736 w 1502283"/>
                <a:gd name="connsiteY300" fmla="*/ 184785 h 1161573"/>
                <a:gd name="connsiteX301" fmla="*/ 936688 w 1502283"/>
                <a:gd name="connsiteY301" fmla="*/ 182785 h 1161573"/>
                <a:gd name="connsiteX302" fmla="*/ 936879 w 1502283"/>
                <a:gd name="connsiteY302" fmla="*/ 184404 h 1161573"/>
                <a:gd name="connsiteX303" fmla="*/ 938689 w 1502283"/>
                <a:gd name="connsiteY303" fmla="*/ 185738 h 1161573"/>
                <a:gd name="connsiteX304" fmla="*/ 941070 w 1502283"/>
                <a:gd name="connsiteY304" fmla="*/ 191834 h 1161573"/>
                <a:gd name="connsiteX305" fmla="*/ 942689 w 1502283"/>
                <a:gd name="connsiteY305" fmla="*/ 191643 h 1161573"/>
                <a:gd name="connsiteX306" fmla="*/ 943261 w 1502283"/>
                <a:gd name="connsiteY306" fmla="*/ 196405 h 1161573"/>
                <a:gd name="connsiteX307" fmla="*/ 944594 w 1502283"/>
                <a:gd name="connsiteY307" fmla="*/ 194596 h 1161573"/>
                <a:gd name="connsiteX308" fmla="*/ 949357 w 1502283"/>
                <a:gd name="connsiteY308" fmla="*/ 194024 h 1161573"/>
                <a:gd name="connsiteX309" fmla="*/ 949738 w 1502283"/>
                <a:gd name="connsiteY309" fmla="*/ 197167 h 1161573"/>
                <a:gd name="connsiteX310" fmla="*/ 953072 w 1502283"/>
                <a:gd name="connsiteY310" fmla="*/ 198311 h 1161573"/>
                <a:gd name="connsiteX311" fmla="*/ 951929 w 1502283"/>
                <a:gd name="connsiteY311" fmla="*/ 201644 h 1161573"/>
                <a:gd name="connsiteX312" fmla="*/ 952119 w 1502283"/>
                <a:gd name="connsiteY312" fmla="*/ 203263 h 1161573"/>
                <a:gd name="connsiteX313" fmla="*/ 947642 w 1502283"/>
                <a:gd name="connsiteY313" fmla="*/ 205454 h 1161573"/>
                <a:gd name="connsiteX314" fmla="*/ 946499 w 1502283"/>
                <a:gd name="connsiteY314" fmla="*/ 208788 h 1161573"/>
                <a:gd name="connsiteX315" fmla="*/ 948499 w 1502283"/>
                <a:gd name="connsiteY315" fmla="*/ 211741 h 1161573"/>
                <a:gd name="connsiteX316" fmla="*/ 956786 w 1502283"/>
                <a:gd name="connsiteY316" fmla="*/ 213932 h 1161573"/>
                <a:gd name="connsiteX317" fmla="*/ 958596 w 1502283"/>
                <a:gd name="connsiteY317" fmla="*/ 215265 h 1161573"/>
                <a:gd name="connsiteX318" fmla="*/ 957834 w 1502283"/>
                <a:gd name="connsiteY318" fmla="*/ 221742 h 1161573"/>
                <a:gd name="connsiteX319" fmla="*/ 965168 w 1502283"/>
                <a:gd name="connsiteY319" fmla="*/ 228791 h 1161573"/>
                <a:gd name="connsiteX320" fmla="*/ 959453 w 1502283"/>
                <a:gd name="connsiteY320" fmla="*/ 234315 h 1161573"/>
                <a:gd name="connsiteX321" fmla="*/ 956500 w 1502283"/>
                <a:gd name="connsiteY321" fmla="*/ 236315 h 1161573"/>
                <a:gd name="connsiteX322" fmla="*/ 952500 w 1502283"/>
                <a:gd name="connsiteY322" fmla="*/ 230410 h 1161573"/>
                <a:gd name="connsiteX323" fmla="*/ 949357 w 1502283"/>
                <a:gd name="connsiteY323" fmla="*/ 243650 h 1161573"/>
                <a:gd name="connsiteX324" fmla="*/ 947738 w 1502283"/>
                <a:gd name="connsiteY324" fmla="*/ 243840 h 1161573"/>
                <a:gd name="connsiteX325" fmla="*/ 948309 w 1502283"/>
                <a:gd name="connsiteY325" fmla="*/ 248603 h 1161573"/>
                <a:gd name="connsiteX326" fmla="*/ 948499 w 1502283"/>
                <a:gd name="connsiteY326" fmla="*/ 250222 h 1161573"/>
                <a:gd name="connsiteX327" fmla="*/ 947738 w 1502283"/>
                <a:gd name="connsiteY327" fmla="*/ 256699 h 1161573"/>
                <a:gd name="connsiteX328" fmla="*/ 951547 w 1502283"/>
                <a:gd name="connsiteY328" fmla="*/ 260985 h 1161573"/>
                <a:gd name="connsiteX329" fmla="*/ 948214 w 1502283"/>
                <a:gd name="connsiteY329" fmla="*/ 259842 h 1161573"/>
                <a:gd name="connsiteX330" fmla="*/ 943928 w 1502283"/>
                <a:gd name="connsiteY330" fmla="*/ 263557 h 1161573"/>
                <a:gd name="connsiteX331" fmla="*/ 939165 w 1502283"/>
                <a:gd name="connsiteY331" fmla="*/ 264128 h 1161573"/>
                <a:gd name="connsiteX332" fmla="*/ 933260 w 1502283"/>
                <a:gd name="connsiteY332" fmla="*/ 268129 h 1161573"/>
                <a:gd name="connsiteX333" fmla="*/ 928116 w 1502283"/>
                <a:gd name="connsiteY333" fmla="*/ 278416 h 1161573"/>
                <a:gd name="connsiteX334" fmla="*/ 928497 w 1502283"/>
                <a:gd name="connsiteY334" fmla="*/ 281559 h 1161573"/>
                <a:gd name="connsiteX335" fmla="*/ 925544 w 1502283"/>
                <a:gd name="connsiteY335" fmla="*/ 283559 h 1161573"/>
                <a:gd name="connsiteX336" fmla="*/ 921544 w 1502283"/>
                <a:gd name="connsiteY336" fmla="*/ 277654 h 1161573"/>
                <a:gd name="connsiteX337" fmla="*/ 911447 w 1502283"/>
                <a:gd name="connsiteY337" fmla="*/ 274130 h 1161573"/>
                <a:gd name="connsiteX338" fmla="*/ 903922 w 1502283"/>
                <a:gd name="connsiteY338" fmla="*/ 265462 h 1161573"/>
                <a:gd name="connsiteX339" fmla="*/ 886778 w 1502283"/>
                <a:gd name="connsiteY339" fmla="*/ 256413 h 1161573"/>
                <a:gd name="connsiteX340" fmla="*/ 889159 w 1502283"/>
                <a:gd name="connsiteY340" fmla="*/ 249746 h 1161573"/>
                <a:gd name="connsiteX341" fmla="*/ 884206 w 1502283"/>
                <a:gd name="connsiteY341" fmla="*/ 248793 h 1161573"/>
                <a:gd name="connsiteX342" fmla="*/ 883063 w 1502283"/>
                <a:gd name="connsiteY342" fmla="*/ 252127 h 1161573"/>
                <a:gd name="connsiteX343" fmla="*/ 879729 w 1502283"/>
                <a:gd name="connsiteY343" fmla="*/ 250984 h 1161573"/>
                <a:gd name="connsiteX344" fmla="*/ 878967 w 1502283"/>
                <a:gd name="connsiteY344" fmla="*/ 244697 h 1161573"/>
                <a:gd name="connsiteX345" fmla="*/ 881348 w 1502283"/>
                <a:gd name="connsiteY345" fmla="*/ 238030 h 1161573"/>
                <a:gd name="connsiteX346" fmla="*/ 880967 w 1502283"/>
                <a:gd name="connsiteY346" fmla="*/ 234887 h 1161573"/>
                <a:gd name="connsiteX347" fmla="*/ 883539 w 1502283"/>
                <a:gd name="connsiteY347" fmla="*/ 229743 h 1161573"/>
                <a:gd name="connsiteX348" fmla="*/ 890016 w 1502283"/>
                <a:gd name="connsiteY348" fmla="*/ 230505 h 1161573"/>
                <a:gd name="connsiteX349" fmla="*/ 891445 w 1502283"/>
                <a:gd name="connsiteY349" fmla="*/ 228695 h 1161573"/>
                <a:gd name="connsiteX350" fmla="*/ 897731 w 1502283"/>
                <a:gd name="connsiteY350" fmla="*/ 227933 h 1161573"/>
                <a:gd name="connsiteX351" fmla="*/ 899065 w 1502283"/>
                <a:gd name="connsiteY351" fmla="*/ 226124 h 1161573"/>
                <a:gd name="connsiteX352" fmla="*/ 900874 w 1502283"/>
                <a:gd name="connsiteY352" fmla="*/ 227457 h 1161573"/>
                <a:gd name="connsiteX353" fmla="*/ 901827 w 1502283"/>
                <a:gd name="connsiteY353" fmla="*/ 222504 h 1161573"/>
                <a:gd name="connsiteX354" fmla="*/ 901446 w 1502283"/>
                <a:gd name="connsiteY354" fmla="*/ 219361 h 1161573"/>
                <a:gd name="connsiteX355" fmla="*/ 896493 w 1502283"/>
                <a:gd name="connsiteY355" fmla="*/ 218408 h 1161573"/>
                <a:gd name="connsiteX356" fmla="*/ 897827 w 1502283"/>
                <a:gd name="connsiteY356" fmla="*/ 216599 h 1161573"/>
                <a:gd name="connsiteX357" fmla="*/ 895636 w 1502283"/>
                <a:gd name="connsiteY357" fmla="*/ 212026 h 1161573"/>
                <a:gd name="connsiteX358" fmla="*/ 892493 w 1502283"/>
                <a:gd name="connsiteY358" fmla="*/ 212408 h 1161573"/>
                <a:gd name="connsiteX359" fmla="*/ 894683 w 1502283"/>
                <a:gd name="connsiteY359" fmla="*/ 204121 h 1161573"/>
                <a:gd name="connsiteX360" fmla="*/ 892873 w 1502283"/>
                <a:gd name="connsiteY360" fmla="*/ 202787 h 1161573"/>
                <a:gd name="connsiteX361" fmla="*/ 886587 w 1502283"/>
                <a:gd name="connsiteY361" fmla="*/ 203549 h 1161573"/>
                <a:gd name="connsiteX362" fmla="*/ 884587 w 1502283"/>
                <a:gd name="connsiteY362" fmla="*/ 200596 h 1161573"/>
                <a:gd name="connsiteX363" fmla="*/ 879634 w 1502283"/>
                <a:gd name="connsiteY363" fmla="*/ 199644 h 1161573"/>
                <a:gd name="connsiteX364" fmla="*/ 880586 w 1502283"/>
                <a:gd name="connsiteY364" fmla="*/ 181928 h 1161573"/>
                <a:gd name="connsiteX365" fmla="*/ 877253 w 1502283"/>
                <a:gd name="connsiteY365" fmla="*/ 180784 h 1161573"/>
                <a:gd name="connsiteX366" fmla="*/ 880396 w 1502283"/>
                <a:gd name="connsiteY366" fmla="*/ 180404 h 1161573"/>
                <a:gd name="connsiteX367" fmla="*/ 880205 w 1502283"/>
                <a:gd name="connsiteY367" fmla="*/ 178784 h 1161573"/>
                <a:gd name="connsiteX368" fmla="*/ 876205 w 1502283"/>
                <a:gd name="connsiteY368" fmla="*/ 172879 h 1161573"/>
                <a:gd name="connsiteX369" fmla="*/ 875633 w 1502283"/>
                <a:gd name="connsiteY369" fmla="*/ 168116 h 1161573"/>
                <a:gd name="connsiteX370" fmla="*/ 873633 w 1502283"/>
                <a:gd name="connsiteY370" fmla="*/ 165163 h 1161573"/>
                <a:gd name="connsiteX371" fmla="*/ 872871 w 1502283"/>
                <a:gd name="connsiteY371" fmla="*/ 158877 h 1161573"/>
                <a:gd name="connsiteX372" fmla="*/ 869156 w 1502283"/>
                <a:gd name="connsiteY372" fmla="*/ 154496 h 1161573"/>
                <a:gd name="connsiteX373" fmla="*/ 872490 w 1502283"/>
                <a:gd name="connsiteY373" fmla="*/ 142875 h 1161573"/>
                <a:gd name="connsiteX374" fmla="*/ 870490 w 1502283"/>
                <a:gd name="connsiteY374" fmla="*/ 139922 h 1161573"/>
                <a:gd name="connsiteX375" fmla="*/ 876205 w 1502283"/>
                <a:gd name="connsiteY375" fmla="*/ 134398 h 1161573"/>
                <a:gd name="connsiteX376" fmla="*/ 879538 w 1502283"/>
                <a:gd name="connsiteY376" fmla="*/ 135541 h 1161573"/>
                <a:gd name="connsiteX377" fmla="*/ 882491 w 1502283"/>
                <a:gd name="connsiteY377" fmla="*/ 133541 h 1161573"/>
                <a:gd name="connsiteX378" fmla="*/ 883825 w 1502283"/>
                <a:gd name="connsiteY378" fmla="*/ 131731 h 1161573"/>
                <a:gd name="connsiteX379" fmla="*/ 882777 w 1502283"/>
                <a:gd name="connsiteY379" fmla="*/ 123825 h 1161573"/>
                <a:gd name="connsiteX380" fmla="*/ 880777 w 1502283"/>
                <a:gd name="connsiteY380" fmla="*/ 120872 h 1161573"/>
                <a:gd name="connsiteX381" fmla="*/ 884682 w 1502283"/>
                <a:gd name="connsiteY381" fmla="*/ 113919 h 1161573"/>
                <a:gd name="connsiteX382" fmla="*/ 889254 w 1502283"/>
                <a:gd name="connsiteY382" fmla="*/ 111728 h 1161573"/>
                <a:gd name="connsiteX383" fmla="*/ 894397 w 1502283"/>
                <a:gd name="connsiteY383" fmla="*/ 114300 h 1161573"/>
                <a:gd name="connsiteX384" fmla="*/ 900684 w 1502283"/>
                <a:gd name="connsiteY384" fmla="*/ 113538 h 1161573"/>
                <a:gd name="connsiteX385" fmla="*/ 902018 w 1502283"/>
                <a:gd name="connsiteY385" fmla="*/ 111728 h 1161573"/>
                <a:gd name="connsiteX386" fmla="*/ 900398 w 1502283"/>
                <a:gd name="connsiteY386" fmla="*/ 111919 h 1161573"/>
                <a:gd name="connsiteX387" fmla="*/ 898588 w 1502283"/>
                <a:gd name="connsiteY387" fmla="*/ 110585 h 1161573"/>
                <a:gd name="connsiteX388" fmla="*/ 895636 w 1502283"/>
                <a:gd name="connsiteY388" fmla="*/ 112586 h 1161573"/>
                <a:gd name="connsiteX389" fmla="*/ 895445 w 1502283"/>
                <a:gd name="connsiteY389" fmla="*/ 110966 h 1161573"/>
                <a:gd name="connsiteX390" fmla="*/ 890492 w 1502283"/>
                <a:gd name="connsiteY390" fmla="*/ 110014 h 1161573"/>
                <a:gd name="connsiteX391" fmla="*/ 888682 w 1502283"/>
                <a:gd name="connsiteY391" fmla="*/ 108680 h 1161573"/>
                <a:gd name="connsiteX392" fmla="*/ 887539 w 1502283"/>
                <a:gd name="connsiteY392" fmla="*/ 112014 h 1161573"/>
                <a:gd name="connsiteX393" fmla="*/ 887158 w 1502283"/>
                <a:gd name="connsiteY393" fmla="*/ 108871 h 1161573"/>
                <a:gd name="connsiteX394" fmla="*/ 888587 w 1502283"/>
                <a:gd name="connsiteY394" fmla="*/ 107061 h 1161573"/>
                <a:gd name="connsiteX395" fmla="*/ 884206 w 1502283"/>
                <a:gd name="connsiteY395" fmla="*/ 110776 h 1161573"/>
                <a:gd name="connsiteX396" fmla="*/ 876110 w 1502283"/>
                <a:gd name="connsiteY396" fmla="*/ 110204 h 1161573"/>
                <a:gd name="connsiteX397" fmla="*/ 867442 w 1502283"/>
                <a:gd name="connsiteY397" fmla="*/ 104870 h 1161573"/>
                <a:gd name="connsiteX398" fmla="*/ 865441 w 1502283"/>
                <a:gd name="connsiteY398" fmla="*/ 101917 h 1161573"/>
                <a:gd name="connsiteX399" fmla="*/ 858774 w 1502283"/>
                <a:gd name="connsiteY399" fmla="*/ 99536 h 1161573"/>
                <a:gd name="connsiteX400" fmla="*/ 855821 w 1502283"/>
                <a:gd name="connsiteY400" fmla="*/ 101537 h 1161573"/>
                <a:gd name="connsiteX401" fmla="*/ 850868 w 1502283"/>
                <a:gd name="connsiteY401" fmla="*/ 100584 h 1161573"/>
                <a:gd name="connsiteX402" fmla="*/ 847535 w 1502283"/>
                <a:gd name="connsiteY402" fmla="*/ 99441 h 1161573"/>
                <a:gd name="connsiteX403" fmla="*/ 841438 w 1502283"/>
                <a:gd name="connsiteY403" fmla="*/ 101822 h 1161573"/>
                <a:gd name="connsiteX404" fmla="*/ 834962 w 1502283"/>
                <a:gd name="connsiteY404" fmla="*/ 101060 h 1161573"/>
                <a:gd name="connsiteX405" fmla="*/ 837343 w 1502283"/>
                <a:gd name="connsiteY405" fmla="*/ 94393 h 1161573"/>
                <a:gd name="connsiteX406" fmla="*/ 840296 w 1502283"/>
                <a:gd name="connsiteY406" fmla="*/ 92392 h 1161573"/>
                <a:gd name="connsiteX407" fmla="*/ 842486 w 1502283"/>
                <a:gd name="connsiteY407" fmla="*/ 84106 h 1161573"/>
                <a:gd name="connsiteX408" fmla="*/ 845248 w 1502283"/>
                <a:gd name="connsiteY408" fmla="*/ 80582 h 1161573"/>
                <a:gd name="connsiteX409" fmla="*/ 845058 w 1502283"/>
                <a:gd name="connsiteY409" fmla="*/ 78962 h 1161573"/>
                <a:gd name="connsiteX410" fmla="*/ 844868 w 1502283"/>
                <a:gd name="connsiteY410" fmla="*/ 77343 h 1161573"/>
                <a:gd name="connsiteX411" fmla="*/ 841724 w 1502283"/>
                <a:gd name="connsiteY411" fmla="*/ 77724 h 1161573"/>
                <a:gd name="connsiteX412" fmla="*/ 839914 w 1502283"/>
                <a:gd name="connsiteY412" fmla="*/ 76391 h 1161573"/>
                <a:gd name="connsiteX413" fmla="*/ 840677 w 1502283"/>
                <a:gd name="connsiteY413" fmla="*/ 69913 h 1161573"/>
                <a:gd name="connsiteX414" fmla="*/ 838295 w 1502283"/>
                <a:gd name="connsiteY414" fmla="*/ 63817 h 1161573"/>
                <a:gd name="connsiteX415" fmla="*/ 838105 w 1502283"/>
                <a:gd name="connsiteY415" fmla="*/ 62198 h 1161573"/>
                <a:gd name="connsiteX416" fmla="*/ 841057 w 1502283"/>
                <a:gd name="connsiteY416" fmla="*/ 60198 h 1161573"/>
                <a:gd name="connsiteX417" fmla="*/ 838867 w 1502283"/>
                <a:gd name="connsiteY417" fmla="*/ 55626 h 1161573"/>
                <a:gd name="connsiteX418" fmla="*/ 842010 w 1502283"/>
                <a:gd name="connsiteY418" fmla="*/ 55245 h 1161573"/>
                <a:gd name="connsiteX419" fmla="*/ 838010 w 1502283"/>
                <a:gd name="connsiteY419" fmla="*/ 49340 h 1161573"/>
                <a:gd name="connsiteX420" fmla="*/ 843534 w 1502283"/>
                <a:gd name="connsiteY420" fmla="*/ 55054 h 1161573"/>
                <a:gd name="connsiteX421" fmla="*/ 850202 w 1502283"/>
                <a:gd name="connsiteY421" fmla="*/ 57436 h 1161573"/>
                <a:gd name="connsiteX422" fmla="*/ 852202 w 1502283"/>
                <a:gd name="connsiteY422" fmla="*/ 60388 h 1161573"/>
                <a:gd name="connsiteX423" fmla="*/ 853154 w 1502283"/>
                <a:gd name="connsiteY423" fmla="*/ 55436 h 1161573"/>
                <a:gd name="connsiteX424" fmla="*/ 855345 w 1502283"/>
                <a:gd name="connsiteY424" fmla="*/ 60008 h 1161573"/>
                <a:gd name="connsiteX425" fmla="*/ 858298 w 1502283"/>
                <a:gd name="connsiteY425" fmla="*/ 58007 h 1161573"/>
                <a:gd name="connsiteX426" fmla="*/ 861822 w 1502283"/>
                <a:gd name="connsiteY426" fmla="*/ 60770 h 1161573"/>
                <a:gd name="connsiteX427" fmla="*/ 864013 w 1502283"/>
                <a:gd name="connsiteY427" fmla="*/ 65342 h 1161573"/>
                <a:gd name="connsiteX428" fmla="*/ 865822 w 1502283"/>
                <a:gd name="connsiteY428" fmla="*/ 66675 h 1161573"/>
                <a:gd name="connsiteX429" fmla="*/ 873538 w 1502283"/>
                <a:gd name="connsiteY429" fmla="*/ 64103 h 1161573"/>
                <a:gd name="connsiteX430" fmla="*/ 878014 w 1502283"/>
                <a:gd name="connsiteY430" fmla="*/ 61913 h 1161573"/>
                <a:gd name="connsiteX431" fmla="*/ 879157 w 1502283"/>
                <a:gd name="connsiteY431" fmla="*/ 58579 h 1161573"/>
                <a:gd name="connsiteX432" fmla="*/ 875824 w 1502283"/>
                <a:gd name="connsiteY432" fmla="*/ 57436 h 1161573"/>
                <a:gd name="connsiteX433" fmla="*/ 873443 w 1502283"/>
                <a:gd name="connsiteY433" fmla="*/ 51340 h 1161573"/>
                <a:gd name="connsiteX434" fmla="*/ 868489 w 1502283"/>
                <a:gd name="connsiteY434" fmla="*/ 50387 h 1161573"/>
                <a:gd name="connsiteX435" fmla="*/ 869252 w 1502283"/>
                <a:gd name="connsiteY435" fmla="*/ 43910 h 1161573"/>
                <a:gd name="connsiteX436" fmla="*/ 871061 w 1502283"/>
                <a:gd name="connsiteY436" fmla="*/ 45244 h 1161573"/>
                <a:gd name="connsiteX437" fmla="*/ 875538 w 1502283"/>
                <a:gd name="connsiteY437" fmla="*/ 43053 h 1161573"/>
                <a:gd name="connsiteX438" fmla="*/ 875157 w 1502283"/>
                <a:gd name="connsiteY438" fmla="*/ 39910 h 1161573"/>
                <a:gd name="connsiteX439" fmla="*/ 881253 w 1502283"/>
                <a:gd name="connsiteY439" fmla="*/ 37529 h 1161573"/>
                <a:gd name="connsiteX440" fmla="*/ 879443 w 1502283"/>
                <a:gd name="connsiteY440" fmla="*/ 36195 h 1161573"/>
                <a:gd name="connsiteX441" fmla="*/ 865441 w 1502283"/>
                <a:gd name="connsiteY441" fmla="*/ 39624 h 1161573"/>
                <a:gd name="connsiteX442" fmla="*/ 858488 w 1502283"/>
                <a:gd name="connsiteY442" fmla="*/ 35719 h 1161573"/>
                <a:gd name="connsiteX443" fmla="*/ 846391 w 1502283"/>
                <a:gd name="connsiteY443" fmla="*/ 29242 h 1161573"/>
                <a:gd name="connsiteX444" fmla="*/ 843058 w 1502283"/>
                <a:gd name="connsiteY444" fmla="*/ 28099 h 1161573"/>
                <a:gd name="connsiteX445" fmla="*/ 824294 w 1502283"/>
                <a:gd name="connsiteY445" fmla="*/ 19241 h 1161573"/>
                <a:gd name="connsiteX446" fmla="*/ 822674 w 1502283"/>
                <a:gd name="connsiteY446" fmla="*/ 19431 h 1161573"/>
                <a:gd name="connsiteX447" fmla="*/ 819340 w 1502283"/>
                <a:gd name="connsiteY447" fmla="*/ 18288 h 1161573"/>
                <a:gd name="connsiteX448" fmla="*/ 816959 w 1502283"/>
                <a:gd name="connsiteY448" fmla="*/ 12192 h 1161573"/>
                <a:gd name="connsiteX449" fmla="*/ 802100 w 1502283"/>
                <a:gd name="connsiteY449" fmla="*/ 9239 h 1161573"/>
                <a:gd name="connsiteX450" fmla="*/ 804863 w 1502283"/>
                <a:gd name="connsiteY450" fmla="*/ 5715 h 1161573"/>
                <a:gd name="connsiteX451" fmla="*/ 798957 w 1502283"/>
                <a:gd name="connsiteY451" fmla="*/ 9716 h 1161573"/>
                <a:gd name="connsiteX452" fmla="*/ 795623 w 1502283"/>
                <a:gd name="connsiteY452" fmla="*/ 8573 h 1161573"/>
                <a:gd name="connsiteX453" fmla="*/ 794290 w 1502283"/>
                <a:gd name="connsiteY453" fmla="*/ 10382 h 1161573"/>
                <a:gd name="connsiteX454" fmla="*/ 790956 w 1502283"/>
                <a:gd name="connsiteY454" fmla="*/ 9239 h 1161573"/>
                <a:gd name="connsiteX455" fmla="*/ 782288 w 1502283"/>
                <a:gd name="connsiteY455" fmla="*/ 3905 h 1161573"/>
                <a:gd name="connsiteX456" fmla="*/ 780955 w 1502283"/>
                <a:gd name="connsiteY456" fmla="*/ 5715 h 1161573"/>
                <a:gd name="connsiteX457" fmla="*/ 784288 w 1502283"/>
                <a:gd name="connsiteY457" fmla="*/ 6858 h 1161573"/>
                <a:gd name="connsiteX458" fmla="*/ 784670 w 1502283"/>
                <a:gd name="connsiteY458" fmla="*/ 10001 h 1161573"/>
                <a:gd name="connsiteX459" fmla="*/ 778002 w 1502283"/>
                <a:gd name="connsiteY459" fmla="*/ 7620 h 1161573"/>
                <a:gd name="connsiteX460" fmla="*/ 772478 w 1502283"/>
                <a:gd name="connsiteY460" fmla="*/ 14764 h 1161573"/>
                <a:gd name="connsiteX461" fmla="*/ 759809 w 1502283"/>
                <a:gd name="connsiteY461" fmla="*/ 3524 h 1161573"/>
                <a:gd name="connsiteX462" fmla="*/ 749713 w 1502283"/>
                <a:gd name="connsiteY462" fmla="*/ 0 h 1161573"/>
                <a:gd name="connsiteX463" fmla="*/ 748094 w 1502283"/>
                <a:gd name="connsiteY463" fmla="*/ 191 h 1161573"/>
                <a:gd name="connsiteX464" fmla="*/ 747141 w 1502283"/>
                <a:gd name="connsiteY464" fmla="*/ 5144 h 1161573"/>
                <a:gd name="connsiteX465" fmla="*/ 749141 w 1502283"/>
                <a:gd name="connsiteY465" fmla="*/ 8096 h 1161573"/>
                <a:gd name="connsiteX466" fmla="*/ 745998 w 1502283"/>
                <a:gd name="connsiteY466" fmla="*/ 8477 h 1161573"/>
                <a:gd name="connsiteX467" fmla="*/ 746188 w 1502283"/>
                <a:gd name="connsiteY467" fmla="*/ 10096 h 1161573"/>
                <a:gd name="connsiteX468" fmla="*/ 738283 w 1502283"/>
                <a:gd name="connsiteY468" fmla="*/ 11144 h 1161573"/>
                <a:gd name="connsiteX469" fmla="*/ 738283 w 1502283"/>
                <a:gd name="connsiteY469" fmla="*/ 11144 h 1161573"/>
                <a:gd name="connsiteX470" fmla="*/ 734949 w 1502283"/>
                <a:gd name="connsiteY470" fmla="*/ 10001 h 1161573"/>
                <a:gd name="connsiteX471" fmla="*/ 729805 w 1502283"/>
                <a:gd name="connsiteY471" fmla="*/ 7429 h 1161573"/>
                <a:gd name="connsiteX472" fmla="*/ 725519 w 1502283"/>
                <a:gd name="connsiteY472" fmla="*/ 11144 h 1161573"/>
                <a:gd name="connsiteX473" fmla="*/ 718566 w 1502283"/>
                <a:gd name="connsiteY473" fmla="*/ 7239 h 1161573"/>
                <a:gd name="connsiteX474" fmla="*/ 717995 w 1502283"/>
                <a:gd name="connsiteY474" fmla="*/ 2476 h 1161573"/>
                <a:gd name="connsiteX475" fmla="*/ 713708 w 1502283"/>
                <a:gd name="connsiteY475" fmla="*/ 6287 h 1161573"/>
                <a:gd name="connsiteX476" fmla="*/ 712089 w 1502283"/>
                <a:gd name="connsiteY476" fmla="*/ 6477 h 1161573"/>
                <a:gd name="connsiteX477" fmla="*/ 708565 w 1502283"/>
                <a:gd name="connsiteY477" fmla="*/ 3715 h 1161573"/>
                <a:gd name="connsiteX478" fmla="*/ 703802 w 1502283"/>
                <a:gd name="connsiteY478" fmla="*/ 4286 h 1161573"/>
                <a:gd name="connsiteX479" fmla="*/ 700849 w 1502283"/>
                <a:gd name="connsiteY479" fmla="*/ 6287 h 1161573"/>
                <a:gd name="connsiteX480" fmla="*/ 701230 w 1502283"/>
                <a:gd name="connsiteY480" fmla="*/ 9430 h 1161573"/>
                <a:gd name="connsiteX481" fmla="*/ 697135 w 1502283"/>
                <a:gd name="connsiteY481" fmla="*/ 14764 h 1161573"/>
                <a:gd name="connsiteX482" fmla="*/ 698182 w 1502283"/>
                <a:gd name="connsiteY482" fmla="*/ 22670 h 1161573"/>
                <a:gd name="connsiteX483" fmla="*/ 698754 w 1502283"/>
                <a:gd name="connsiteY483" fmla="*/ 27432 h 1161573"/>
                <a:gd name="connsiteX484" fmla="*/ 697421 w 1502283"/>
                <a:gd name="connsiteY484" fmla="*/ 29242 h 1161573"/>
                <a:gd name="connsiteX485" fmla="*/ 697611 w 1502283"/>
                <a:gd name="connsiteY485" fmla="*/ 30861 h 1161573"/>
                <a:gd name="connsiteX486" fmla="*/ 693706 w 1502283"/>
                <a:gd name="connsiteY486" fmla="*/ 37814 h 1161573"/>
                <a:gd name="connsiteX487" fmla="*/ 696087 w 1502283"/>
                <a:gd name="connsiteY487" fmla="*/ 43910 h 1161573"/>
                <a:gd name="connsiteX488" fmla="*/ 696468 w 1502283"/>
                <a:gd name="connsiteY488" fmla="*/ 47054 h 1161573"/>
                <a:gd name="connsiteX489" fmla="*/ 693515 w 1502283"/>
                <a:gd name="connsiteY489" fmla="*/ 49054 h 1161573"/>
                <a:gd name="connsiteX490" fmla="*/ 693134 w 1502283"/>
                <a:gd name="connsiteY490" fmla="*/ 45911 h 1161573"/>
                <a:gd name="connsiteX491" fmla="*/ 690181 w 1502283"/>
                <a:gd name="connsiteY491" fmla="*/ 47911 h 1161573"/>
                <a:gd name="connsiteX492" fmla="*/ 677132 w 1502283"/>
                <a:gd name="connsiteY492" fmla="*/ 46387 h 1161573"/>
                <a:gd name="connsiteX493" fmla="*/ 677513 w 1502283"/>
                <a:gd name="connsiteY493" fmla="*/ 49530 h 1161573"/>
                <a:gd name="connsiteX494" fmla="*/ 674180 w 1502283"/>
                <a:gd name="connsiteY494" fmla="*/ 48387 h 1161573"/>
                <a:gd name="connsiteX495" fmla="*/ 672370 w 1502283"/>
                <a:gd name="connsiteY495" fmla="*/ 47054 h 1161573"/>
                <a:gd name="connsiteX496" fmla="*/ 669417 w 1502283"/>
                <a:gd name="connsiteY496" fmla="*/ 49054 h 1161573"/>
                <a:gd name="connsiteX497" fmla="*/ 667607 w 1502283"/>
                <a:gd name="connsiteY497" fmla="*/ 47720 h 1161573"/>
                <a:gd name="connsiteX498" fmla="*/ 660082 w 1502283"/>
                <a:gd name="connsiteY498" fmla="*/ 39053 h 1161573"/>
                <a:gd name="connsiteX499" fmla="*/ 656939 w 1502283"/>
                <a:gd name="connsiteY499" fmla="*/ 39433 h 1161573"/>
                <a:gd name="connsiteX500" fmla="*/ 646938 w 1502283"/>
                <a:gd name="connsiteY500" fmla="*/ 48768 h 1161573"/>
                <a:gd name="connsiteX501" fmla="*/ 640461 w 1502283"/>
                <a:gd name="connsiteY501" fmla="*/ 48006 h 1161573"/>
                <a:gd name="connsiteX502" fmla="*/ 637508 w 1502283"/>
                <a:gd name="connsiteY502" fmla="*/ 50006 h 1161573"/>
                <a:gd name="connsiteX503" fmla="*/ 634365 w 1502283"/>
                <a:gd name="connsiteY503" fmla="*/ 50387 h 1161573"/>
                <a:gd name="connsiteX504" fmla="*/ 631412 w 1502283"/>
                <a:gd name="connsiteY504" fmla="*/ 52388 h 1161573"/>
                <a:gd name="connsiteX505" fmla="*/ 628269 w 1502283"/>
                <a:gd name="connsiteY505" fmla="*/ 52769 h 1161573"/>
                <a:gd name="connsiteX506" fmla="*/ 630269 w 1502283"/>
                <a:gd name="connsiteY506" fmla="*/ 42863 h 1161573"/>
                <a:gd name="connsiteX507" fmla="*/ 625126 w 1502283"/>
                <a:gd name="connsiteY507" fmla="*/ 40291 h 1161573"/>
                <a:gd name="connsiteX508" fmla="*/ 623506 w 1502283"/>
                <a:gd name="connsiteY508" fmla="*/ 40481 h 1161573"/>
                <a:gd name="connsiteX509" fmla="*/ 621697 w 1502283"/>
                <a:gd name="connsiteY509" fmla="*/ 39148 h 1161573"/>
                <a:gd name="connsiteX510" fmla="*/ 619125 w 1502283"/>
                <a:gd name="connsiteY510" fmla="*/ 44291 h 1161573"/>
                <a:gd name="connsiteX511" fmla="*/ 614553 w 1502283"/>
                <a:gd name="connsiteY511" fmla="*/ 46482 h 1161573"/>
                <a:gd name="connsiteX512" fmla="*/ 607886 w 1502283"/>
                <a:gd name="connsiteY512" fmla="*/ 44101 h 1161573"/>
                <a:gd name="connsiteX513" fmla="*/ 606933 w 1502283"/>
                <a:gd name="connsiteY513" fmla="*/ 49054 h 1161573"/>
                <a:gd name="connsiteX514" fmla="*/ 609505 w 1502283"/>
                <a:gd name="connsiteY514" fmla="*/ 56769 h 1161573"/>
                <a:gd name="connsiteX515" fmla="*/ 600837 w 1502283"/>
                <a:gd name="connsiteY515" fmla="*/ 64294 h 1161573"/>
                <a:gd name="connsiteX516" fmla="*/ 601599 w 1502283"/>
                <a:gd name="connsiteY516" fmla="*/ 70580 h 1161573"/>
                <a:gd name="connsiteX517" fmla="*/ 596455 w 1502283"/>
                <a:gd name="connsiteY517" fmla="*/ 68008 h 1161573"/>
                <a:gd name="connsiteX518" fmla="*/ 592455 w 1502283"/>
                <a:gd name="connsiteY518" fmla="*/ 62103 h 1161573"/>
                <a:gd name="connsiteX519" fmla="*/ 589121 w 1502283"/>
                <a:gd name="connsiteY519" fmla="*/ 60960 h 1161573"/>
                <a:gd name="connsiteX520" fmla="*/ 591122 w 1502283"/>
                <a:gd name="connsiteY520" fmla="*/ 63913 h 1161573"/>
                <a:gd name="connsiteX521" fmla="*/ 592360 w 1502283"/>
                <a:gd name="connsiteY521" fmla="*/ 73342 h 1161573"/>
                <a:gd name="connsiteX522" fmla="*/ 591026 w 1502283"/>
                <a:gd name="connsiteY522" fmla="*/ 75152 h 1161573"/>
                <a:gd name="connsiteX523" fmla="*/ 589407 w 1502283"/>
                <a:gd name="connsiteY523" fmla="*/ 75343 h 1161573"/>
                <a:gd name="connsiteX524" fmla="*/ 590169 w 1502283"/>
                <a:gd name="connsiteY524" fmla="*/ 81629 h 1161573"/>
                <a:gd name="connsiteX525" fmla="*/ 586264 w 1502283"/>
                <a:gd name="connsiteY525" fmla="*/ 88583 h 1161573"/>
                <a:gd name="connsiteX526" fmla="*/ 585121 w 1502283"/>
                <a:gd name="connsiteY526" fmla="*/ 91916 h 1161573"/>
                <a:gd name="connsiteX527" fmla="*/ 578834 w 1502283"/>
                <a:gd name="connsiteY527" fmla="*/ 92678 h 1161573"/>
                <a:gd name="connsiteX528" fmla="*/ 577691 w 1502283"/>
                <a:gd name="connsiteY528" fmla="*/ 96012 h 1161573"/>
                <a:gd name="connsiteX529" fmla="*/ 581025 w 1502283"/>
                <a:gd name="connsiteY529" fmla="*/ 97155 h 1161573"/>
                <a:gd name="connsiteX530" fmla="*/ 581597 w 1502283"/>
                <a:gd name="connsiteY530" fmla="*/ 101917 h 1161573"/>
                <a:gd name="connsiteX531" fmla="*/ 583121 w 1502283"/>
                <a:gd name="connsiteY531" fmla="*/ 101727 h 1161573"/>
                <a:gd name="connsiteX532" fmla="*/ 584930 w 1502283"/>
                <a:gd name="connsiteY532" fmla="*/ 103061 h 1161573"/>
                <a:gd name="connsiteX533" fmla="*/ 586740 w 1502283"/>
                <a:gd name="connsiteY533" fmla="*/ 104394 h 1161573"/>
                <a:gd name="connsiteX534" fmla="*/ 588740 w 1502283"/>
                <a:gd name="connsiteY534" fmla="*/ 107347 h 1161573"/>
                <a:gd name="connsiteX535" fmla="*/ 593503 w 1502283"/>
                <a:gd name="connsiteY535" fmla="*/ 106775 h 1161573"/>
                <a:gd name="connsiteX536" fmla="*/ 593693 w 1502283"/>
                <a:gd name="connsiteY536" fmla="*/ 108395 h 1161573"/>
                <a:gd name="connsiteX537" fmla="*/ 605123 w 1502283"/>
                <a:gd name="connsiteY537" fmla="*/ 110109 h 1161573"/>
                <a:gd name="connsiteX538" fmla="*/ 609314 w 1502283"/>
                <a:gd name="connsiteY538" fmla="*/ 117634 h 1161573"/>
                <a:gd name="connsiteX539" fmla="*/ 610362 w 1502283"/>
                <a:gd name="connsiteY539" fmla="*/ 125540 h 1161573"/>
                <a:gd name="connsiteX540" fmla="*/ 604456 w 1502283"/>
                <a:gd name="connsiteY540" fmla="*/ 142304 h 1161573"/>
                <a:gd name="connsiteX541" fmla="*/ 599694 w 1502283"/>
                <a:gd name="connsiteY541" fmla="*/ 142875 h 1161573"/>
                <a:gd name="connsiteX542" fmla="*/ 595979 w 1502283"/>
                <a:gd name="connsiteY542" fmla="*/ 151352 h 1161573"/>
                <a:gd name="connsiteX543" fmla="*/ 590074 w 1502283"/>
                <a:gd name="connsiteY543" fmla="*/ 155353 h 1161573"/>
                <a:gd name="connsiteX544" fmla="*/ 590455 w 1502283"/>
                <a:gd name="connsiteY544" fmla="*/ 158496 h 1161573"/>
                <a:gd name="connsiteX545" fmla="*/ 587693 w 1502283"/>
                <a:gd name="connsiteY545" fmla="*/ 162020 h 1161573"/>
                <a:gd name="connsiteX546" fmla="*/ 579977 w 1502283"/>
                <a:gd name="connsiteY546" fmla="*/ 164592 h 1161573"/>
                <a:gd name="connsiteX547" fmla="*/ 575596 w 1502283"/>
                <a:gd name="connsiteY547" fmla="*/ 155543 h 1161573"/>
                <a:gd name="connsiteX548" fmla="*/ 573596 w 1502283"/>
                <a:gd name="connsiteY548" fmla="*/ 152591 h 1161573"/>
                <a:gd name="connsiteX549" fmla="*/ 567309 w 1502283"/>
                <a:gd name="connsiteY549" fmla="*/ 153353 h 1161573"/>
                <a:gd name="connsiteX550" fmla="*/ 565975 w 1502283"/>
                <a:gd name="connsiteY550" fmla="*/ 155162 h 1161573"/>
                <a:gd name="connsiteX551" fmla="*/ 571310 w 1502283"/>
                <a:gd name="connsiteY551" fmla="*/ 159258 h 1161573"/>
                <a:gd name="connsiteX552" fmla="*/ 571500 w 1502283"/>
                <a:gd name="connsiteY552" fmla="*/ 160877 h 1161573"/>
                <a:gd name="connsiteX553" fmla="*/ 570357 w 1502283"/>
                <a:gd name="connsiteY553" fmla="*/ 164211 h 1161573"/>
                <a:gd name="connsiteX554" fmla="*/ 572548 w 1502283"/>
                <a:gd name="connsiteY554" fmla="*/ 168783 h 1161573"/>
                <a:gd name="connsiteX555" fmla="*/ 579501 w 1502283"/>
                <a:gd name="connsiteY555" fmla="*/ 172688 h 1161573"/>
                <a:gd name="connsiteX556" fmla="*/ 581311 w 1502283"/>
                <a:gd name="connsiteY556" fmla="*/ 174022 h 1161573"/>
                <a:gd name="connsiteX557" fmla="*/ 582454 w 1502283"/>
                <a:gd name="connsiteY557" fmla="*/ 170688 h 1161573"/>
                <a:gd name="connsiteX558" fmla="*/ 587407 w 1502283"/>
                <a:gd name="connsiteY558" fmla="*/ 171641 h 1161573"/>
                <a:gd name="connsiteX559" fmla="*/ 583121 w 1502283"/>
                <a:gd name="connsiteY559" fmla="*/ 175355 h 1161573"/>
                <a:gd name="connsiteX560" fmla="*/ 583502 w 1502283"/>
                <a:gd name="connsiteY560" fmla="*/ 178499 h 1161573"/>
                <a:gd name="connsiteX561" fmla="*/ 585502 w 1502283"/>
                <a:gd name="connsiteY561" fmla="*/ 181451 h 1161573"/>
                <a:gd name="connsiteX562" fmla="*/ 591979 w 1502283"/>
                <a:gd name="connsiteY562" fmla="*/ 182213 h 1161573"/>
                <a:gd name="connsiteX563" fmla="*/ 591217 w 1502283"/>
                <a:gd name="connsiteY563" fmla="*/ 188690 h 1161573"/>
                <a:gd name="connsiteX564" fmla="*/ 580739 w 1502283"/>
                <a:gd name="connsiteY564" fmla="*/ 194786 h 1161573"/>
                <a:gd name="connsiteX565" fmla="*/ 586454 w 1502283"/>
                <a:gd name="connsiteY565" fmla="*/ 202121 h 1161573"/>
                <a:gd name="connsiteX566" fmla="*/ 584073 w 1502283"/>
                <a:gd name="connsiteY566" fmla="*/ 208788 h 1161573"/>
                <a:gd name="connsiteX567" fmla="*/ 578168 w 1502283"/>
                <a:gd name="connsiteY567" fmla="*/ 212788 h 1161573"/>
                <a:gd name="connsiteX568" fmla="*/ 575596 w 1502283"/>
                <a:gd name="connsiteY568" fmla="*/ 217932 h 1161573"/>
                <a:gd name="connsiteX569" fmla="*/ 574834 w 1502283"/>
                <a:gd name="connsiteY569" fmla="*/ 224409 h 1161573"/>
                <a:gd name="connsiteX570" fmla="*/ 582549 w 1502283"/>
                <a:gd name="connsiteY570" fmla="*/ 234696 h 1161573"/>
                <a:gd name="connsiteX571" fmla="*/ 579787 w 1502283"/>
                <a:gd name="connsiteY571" fmla="*/ 238220 h 1161573"/>
                <a:gd name="connsiteX572" fmla="*/ 578644 w 1502283"/>
                <a:gd name="connsiteY572" fmla="*/ 241554 h 1161573"/>
                <a:gd name="connsiteX573" fmla="*/ 582168 w 1502283"/>
                <a:gd name="connsiteY573" fmla="*/ 244316 h 1161573"/>
                <a:gd name="connsiteX574" fmla="*/ 577882 w 1502283"/>
                <a:gd name="connsiteY574" fmla="*/ 248031 h 1161573"/>
                <a:gd name="connsiteX575" fmla="*/ 580072 w 1502283"/>
                <a:gd name="connsiteY575" fmla="*/ 252603 h 1161573"/>
                <a:gd name="connsiteX576" fmla="*/ 583406 w 1502283"/>
                <a:gd name="connsiteY576" fmla="*/ 253746 h 1161573"/>
                <a:gd name="connsiteX577" fmla="*/ 589312 w 1502283"/>
                <a:gd name="connsiteY577" fmla="*/ 249746 h 1161573"/>
                <a:gd name="connsiteX578" fmla="*/ 590074 w 1502283"/>
                <a:gd name="connsiteY578" fmla="*/ 256032 h 1161573"/>
                <a:gd name="connsiteX579" fmla="*/ 587312 w 1502283"/>
                <a:gd name="connsiteY579" fmla="*/ 259556 h 1161573"/>
                <a:gd name="connsiteX580" fmla="*/ 586169 w 1502283"/>
                <a:gd name="connsiteY580" fmla="*/ 262890 h 1161573"/>
                <a:gd name="connsiteX581" fmla="*/ 586930 w 1502283"/>
                <a:gd name="connsiteY581" fmla="*/ 269176 h 1161573"/>
                <a:gd name="connsiteX582" fmla="*/ 584740 w 1502283"/>
                <a:gd name="connsiteY582" fmla="*/ 277463 h 1161573"/>
                <a:gd name="connsiteX583" fmla="*/ 585311 w 1502283"/>
                <a:gd name="connsiteY583" fmla="*/ 282226 h 1161573"/>
                <a:gd name="connsiteX584" fmla="*/ 581978 w 1502283"/>
                <a:gd name="connsiteY584" fmla="*/ 281083 h 1161573"/>
                <a:gd name="connsiteX585" fmla="*/ 582168 w 1502283"/>
                <a:gd name="connsiteY585" fmla="*/ 282702 h 1161573"/>
                <a:gd name="connsiteX586" fmla="*/ 585121 w 1502283"/>
                <a:gd name="connsiteY586" fmla="*/ 293561 h 1161573"/>
                <a:gd name="connsiteX587" fmla="*/ 588264 w 1502283"/>
                <a:gd name="connsiteY587" fmla="*/ 293180 h 1161573"/>
                <a:gd name="connsiteX588" fmla="*/ 582739 w 1502283"/>
                <a:gd name="connsiteY588" fmla="*/ 300323 h 1161573"/>
                <a:gd name="connsiteX589" fmla="*/ 588455 w 1502283"/>
                <a:gd name="connsiteY589" fmla="*/ 307562 h 1161573"/>
                <a:gd name="connsiteX590" fmla="*/ 588645 w 1502283"/>
                <a:gd name="connsiteY590" fmla="*/ 309182 h 1161573"/>
                <a:gd name="connsiteX591" fmla="*/ 592360 w 1502283"/>
                <a:gd name="connsiteY591" fmla="*/ 313563 h 1161573"/>
                <a:gd name="connsiteX592" fmla="*/ 589026 w 1502283"/>
                <a:gd name="connsiteY592" fmla="*/ 312420 h 1161573"/>
                <a:gd name="connsiteX593" fmla="*/ 592360 w 1502283"/>
                <a:gd name="connsiteY593" fmla="*/ 313563 h 1161573"/>
                <a:gd name="connsiteX594" fmla="*/ 591407 w 1502283"/>
                <a:gd name="connsiteY594" fmla="*/ 318516 h 1161573"/>
                <a:gd name="connsiteX595" fmla="*/ 585121 w 1502283"/>
                <a:gd name="connsiteY595" fmla="*/ 319278 h 1161573"/>
                <a:gd name="connsiteX596" fmla="*/ 583978 w 1502283"/>
                <a:gd name="connsiteY596" fmla="*/ 322612 h 1161573"/>
                <a:gd name="connsiteX597" fmla="*/ 576739 w 1502283"/>
                <a:gd name="connsiteY597" fmla="*/ 328327 h 1161573"/>
                <a:gd name="connsiteX598" fmla="*/ 571976 w 1502283"/>
                <a:gd name="connsiteY598" fmla="*/ 328898 h 1161573"/>
                <a:gd name="connsiteX599" fmla="*/ 572167 w 1502283"/>
                <a:gd name="connsiteY599" fmla="*/ 330517 h 1161573"/>
                <a:gd name="connsiteX600" fmla="*/ 568071 w 1502283"/>
                <a:gd name="connsiteY600" fmla="*/ 335851 h 1161573"/>
                <a:gd name="connsiteX601" fmla="*/ 568262 w 1502283"/>
                <a:gd name="connsiteY601" fmla="*/ 337471 h 1161573"/>
                <a:gd name="connsiteX602" fmla="*/ 564928 w 1502283"/>
                <a:gd name="connsiteY602" fmla="*/ 336328 h 1161573"/>
                <a:gd name="connsiteX603" fmla="*/ 564166 w 1502283"/>
                <a:gd name="connsiteY603" fmla="*/ 330041 h 1161573"/>
                <a:gd name="connsiteX604" fmla="*/ 557879 w 1502283"/>
                <a:gd name="connsiteY604" fmla="*/ 330803 h 1161573"/>
                <a:gd name="connsiteX605" fmla="*/ 556450 w 1502283"/>
                <a:gd name="connsiteY605" fmla="*/ 332613 h 1161573"/>
                <a:gd name="connsiteX606" fmla="*/ 557022 w 1502283"/>
                <a:gd name="connsiteY606" fmla="*/ 337375 h 1161573"/>
                <a:gd name="connsiteX607" fmla="*/ 554260 w 1502283"/>
                <a:gd name="connsiteY607" fmla="*/ 340900 h 1161573"/>
                <a:gd name="connsiteX608" fmla="*/ 542639 w 1502283"/>
                <a:gd name="connsiteY608" fmla="*/ 350425 h 1161573"/>
                <a:gd name="connsiteX609" fmla="*/ 539305 w 1502283"/>
                <a:gd name="connsiteY609" fmla="*/ 349282 h 1161573"/>
                <a:gd name="connsiteX610" fmla="*/ 535019 w 1502283"/>
                <a:gd name="connsiteY610" fmla="*/ 352996 h 1161573"/>
                <a:gd name="connsiteX611" fmla="*/ 527113 w 1502283"/>
                <a:gd name="connsiteY611" fmla="*/ 354044 h 1161573"/>
                <a:gd name="connsiteX612" fmla="*/ 525494 w 1502283"/>
                <a:gd name="connsiteY612" fmla="*/ 354235 h 1161573"/>
                <a:gd name="connsiteX613" fmla="*/ 526066 w 1502283"/>
                <a:gd name="connsiteY613" fmla="*/ 358997 h 1161573"/>
                <a:gd name="connsiteX614" fmla="*/ 526256 w 1502283"/>
                <a:gd name="connsiteY614" fmla="*/ 360617 h 1161573"/>
                <a:gd name="connsiteX615" fmla="*/ 524923 w 1502283"/>
                <a:gd name="connsiteY615" fmla="*/ 362426 h 1161573"/>
                <a:gd name="connsiteX616" fmla="*/ 528923 w 1502283"/>
                <a:gd name="connsiteY616" fmla="*/ 368332 h 1161573"/>
                <a:gd name="connsiteX617" fmla="*/ 525971 w 1502283"/>
                <a:gd name="connsiteY617" fmla="*/ 370332 h 1161573"/>
                <a:gd name="connsiteX618" fmla="*/ 526542 w 1502283"/>
                <a:gd name="connsiteY618" fmla="*/ 375095 h 1161573"/>
                <a:gd name="connsiteX619" fmla="*/ 523780 w 1502283"/>
                <a:gd name="connsiteY619" fmla="*/ 378619 h 1161573"/>
                <a:gd name="connsiteX620" fmla="*/ 519017 w 1502283"/>
                <a:gd name="connsiteY620" fmla="*/ 379190 h 1161573"/>
                <a:gd name="connsiteX621" fmla="*/ 516255 w 1502283"/>
                <a:gd name="connsiteY621" fmla="*/ 382715 h 1161573"/>
                <a:gd name="connsiteX622" fmla="*/ 519779 w 1502283"/>
                <a:gd name="connsiteY622" fmla="*/ 385477 h 1161573"/>
                <a:gd name="connsiteX623" fmla="*/ 519970 w 1502283"/>
                <a:gd name="connsiteY623" fmla="*/ 387096 h 1161573"/>
                <a:gd name="connsiteX624" fmla="*/ 515017 w 1502283"/>
                <a:gd name="connsiteY624" fmla="*/ 386144 h 1161573"/>
                <a:gd name="connsiteX625" fmla="*/ 515398 w 1502283"/>
                <a:gd name="connsiteY625" fmla="*/ 389287 h 1161573"/>
                <a:gd name="connsiteX626" fmla="*/ 507682 w 1502283"/>
                <a:gd name="connsiteY626" fmla="*/ 391859 h 1161573"/>
                <a:gd name="connsiteX627" fmla="*/ 505873 w 1502283"/>
                <a:gd name="connsiteY627" fmla="*/ 390525 h 1161573"/>
                <a:gd name="connsiteX628" fmla="*/ 504444 w 1502283"/>
                <a:gd name="connsiteY628" fmla="*/ 392335 h 1161573"/>
                <a:gd name="connsiteX629" fmla="*/ 502253 w 1502283"/>
                <a:gd name="connsiteY629" fmla="*/ 400621 h 1161573"/>
                <a:gd name="connsiteX630" fmla="*/ 503301 w 1502283"/>
                <a:gd name="connsiteY630" fmla="*/ 408527 h 1161573"/>
                <a:gd name="connsiteX631" fmla="*/ 505492 w 1502283"/>
                <a:gd name="connsiteY631" fmla="*/ 413099 h 1161573"/>
                <a:gd name="connsiteX632" fmla="*/ 514921 w 1502283"/>
                <a:gd name="connsiteY632" fmla="*/ 411861 h 1161573"/>
                <a:gd name="connsiteX633" fmla="*/ 515112 w 1502283"/>
                <a:gd name="connsiteY633" fmla="*/ 413480 h 1161573"/>
                <a:gd name="connsiteX634" fmla="*/ 518446 w 1502283"/>
                <a:gd name="connsiteY634" fmla="*/ 414623 h 1161573"/>
                <a:gd name="connsiteX635" fmla="*/ 517493 w 1502283"/>
                <a:gd name="connsiteY635" fmla="*/ 419576 h 1161573"/>
                <a:gd name="connsiteX636" fmla="*/ 524447 w 1502283"/>
                <a:gd name="connsiteY636" fmla="*/ 423482 h 1161573"/>
                <a:gd name="connsiteX637" fmla="*/ 525494 w 1502283"/>
                <a:gd name="connsiteY637" fmla="*/ 431387 h 1161573"/>
                <a:gd name="connsiteX638" fmla="*/ 522351 w 1502283"/>
                <a:gd name="connsiteY638" fmla="*/ 431768 h 1161573"/>
                <a:gd name="connsiteX639" fmla="*/ 521018 w 1502283"/>
                <a:gd name="connsiteY639" fmla="*/ 433578 h 1161573"/>
                <a:gd name="connsiteX640" fmla="*/ 516446 w 1502283"/>
                <a:gd name="connsiteY640" fmla="*/ 435769 h 1161573"/>
                <a:gd name="connsiteX641" fmla="*/ 515112 w 1502283"/>
                <a:gd name="connsiteY641" fmla="*/ 437579 h 1161573"/>
                <a:gd name="connsiteX642" fmla="*/ 511969 w 1502283"/>
                <a:gd name="connsiteY642" fmla="*/ 437959 h 1161573"/>
                <a:gd name="connsiteX643" fmla="*/ 509969 w 1502283"/>
                <a:gd name="connsiteY643" fmla="*/ 435007 h 1161573"/>
                <a:gd name="connsiteX644" fmla="*/ 503682 w 1502283"/>
                <a:gd name="connsiteY644" fmla="*/ 435769 h 1161573"/>
                <a:gd name="connsiteX645" fmla="*/ 502063 w 1502283"/>
                <a:gd name="connsiteY645" fmla="*/ 435959 h 1161573"/>
                <a:gd name="connsiteX646" fmla="*/ 499300 w 1502283"/>
                <a:gd name="connsiteY646" fmla="*/ 439484 h 1161573"/>
                <a:gd name="connsiteX647" fmla="*/ 499872 w 1502283"/>
                <a:gd name="connsiteY647" fmla="*/ 444246 h 1161573"/>
                <a:gd name="connsiteX648" fmla="*/ 495776 w 1502283"/>
                <a:gd name="connsiteY648" fmla="*/ 449580 h 1161573"/>
                <a:gd name="connsiteX649" fmla="*/ 491109 w 1502283"/>
                <a:gd name="connsiteY649" fmla="*/ 463010 h 1161573"/>
                <a:gd name="connsiteX650" fmla="*/ 488537 w 1502283"/>
                <a:gd name="connsiteY650" fmla="*/ 468154 h 1161573"/>
                <a:gd name="connsiteX651" fmla="*/ 490919 w 1502283"/>
                <a:gd name="connsiteY651" fmla="*/ 474250 h 1161573"/>
                <a:gd name="connsiteX652" fmla="*/ 487204 w 1502283"/>
                <a:gd name="connsiteY652" fmla="*/ 482727 h 1161573"/>
                <a:gd name="connsiteX653" fmla="*/ 490728 w 1502283"/>
                <a:gd name="connsiteY653" fmla="*/ 485489 h 1161573"/>
                <a:gd name="connsiteX654" fmla="*/ 495490 w 1502283"/>
                <a:gd name="connsiteY654" fmla="*/ 484918 h 1161573"/>
                <a:gd name="connsiteX655" fmla="*/ 502158 w 1502283"/>
                <a:gd name="connsiteY655" fmla="*/ 487299 h 1161573"/>
                <a:gd name="connsiteX656" fmla="*/ 506921 w 1502283"/>
                <a:gd name="connsiteY656" fmla="*/ 486728 h 1161573"/>
                <a:gd name="connsiteX657" fmla="*/ 510635 w 1502283"/>
                <a:gd name="connsiteY657" fmla="*/ 491014 h 1161573"/>
                <a:gd name="connsiteX658" fmla="*/ 516160 w 1502283"/>
                <a:gd name="connsiteY658" fmla="*/ 496729 h 1161573"/>
                <a:gd name="connsiteX659" fmla="*/ 515207 w 1502283"/>
                <a:gd name="connsiteY659" fmla="*/ 501682 h 1161573"/>
                <a:gd name="connsiteX660" fmla="*/ 513397 w 1502283"/>
                <a:gd name="connsiteY660" fmla="*/ 500348 h 1161573"/>
                <a:gd name="connsiteX661" fmla="*/ 512255 w 1502283"/>
                <a:gd name="connsiteY661" fmla="*/ 503682 h 1161573"/>
                <a:gd name="connsiteX662" fmla="*/ 513683 w 1502283"/>
                <a:gd name="connsiteY662" fmla="*/ 514731 h 1161573"/>
                <a:gd name="connsiteX663" fmla="*/ 518636 w 1502283"/>
                <a:gd name="connsiteY663" fmla="*/ 515684 h 1161573"/>
                <a:gd name="connsiteX664" fmla="*/ 514921 w 1502283"/>
                <a:gd name="connsiteY664" fmla="*/ 524161 h 1161573"/>
                <a:gd name="connsiteX665" fmla="*/ 507968 w 1502283"/>
                <a:gd name="connsiteY665" fmla="*/ 520255 h 1161573"/>
                <a:gd name="connsiteX666" fmla="*/ 508349 w 1502283"/>
                <a:gd name="connsiteY666" fmla="*/ 523399 h 1161573"/>
                <a:gd name="connsiteX667" fmla="*/ 505587 w 1502283"/>
                <a:gd name="connsiteY667" fmla="*/ 526923 h 1161573"/>
                <a:gd name="connsiteX668" fmla="*/ 495681 w 1502283"/>
                <a:gd name="connsiteY668" fmla="*/ 525018 h 1161573"/>
                <a:gd name="connsiteX669" fmla="*/ 487775 w 1502283"/>
                <a:gd name="connsiteY669" fmla="*/ 526066 h 1161573"/>
                <a:gd name="connsiteX670" fmla="*/ 485775 w 1502283"/>
                <a:gd name="connsiteY670" fmla="*/ 535972 h 1161573"/>
                <a:gd name="connsiteX671" fmla="*/ 483013 w 1502283"/>
                <a:gd name="connsiteY671" fmla="*/ 539496 h 1161573"/>
                <a:gd name="connsiteX672" fmla="*/ 487966 w 1502283"/>
                <a:gd name="connsiteY672" fmla="*/ 540449 h 1161573"/>
                <a:gd name="connsiteX673" fmla="*/ 485394 w 1502283"/>
                <a:gd name="connsiteY673" fmla="*/ 545592 h 1161573"/>
                <a:gd name="connsiteX674" fmla="*/ 489966 w 1502283"/>
                <a:gd name="connsiteY674" fmla="*/ 543401 h 1161573"/>
                <a:gd name="connsiteX675" fmla="*/ 492157 w 1502283"/>
                <a:gd name="connsiteY675" fmla="*/ 547973 h 1161573"/>
                <a:gd name="connsiteX676" fmla="*/ 492728 w 1502283"/>
                <a:gd name="connsiteY676" fmla="*/ 552736 h 1161573"/>
                <a:gd name="connsiteX677" fmla="*/ 498253 w 1502283"/>
                <a:gd name="connsiteY677" fmla="*/ 558451 h 1161573"/>
                <a:gd name="connsiteX678" fmla="*/ 495490 w 1502283"/>
                <a:gd name="connsiteY678" fmla="*/ 561975 h 1161573"/>
                <a:gd name="connsiteX679" fmla="*/ 493681 w 1502283"/>
                <a:gd name="connsiteY679" fmla="*/ 560642 h 1161573"/>
                <a:gd name="connsiteX680" fmla="*/ 492728 w 1502283"/>
                <a:gd name="connsiteY680" fmla="*/ 565595 h 1161573"/>
                <a:gd name="connsiteX681" fmla="*/ 490156 w 1502283"/>
                <a:gd name="connsiteY681" fmla="*/ 570738 h 1161573"/>
                <a:gd name="connsiteX682" fmla="*/ 491776 w 1502283"/>
                <a:gd name="connsiteY682" fmla="*/ 570548 h 1161573"/>
                <a:gd name="connsiteX683" fmla="*/ 492919 w 1502283"/>
                <a:gd name="connsiteY683" fmla="*/ 567214 h 1161573"/>
                <a:gd name="connsiteX684" fmla="*/ 497872 w 1502283"/>
                <a:gd name="connsiteY684" fmla="*/ 568166 h 1161573"/>
                <a:gd name="connsiteX685" fmla="*/ 505111 w 1502283"/>
                <a:gd name="connsiteY685" fmla="*/ 562451 h 1161573"/>
                <a:gd name="connsiteX686" fmla="*/ 504539 w 1502283"/>
                <a:gd name="connsiteY686" fmla="*/ 557689 h 1161573"/>
                <a:gd name="connsiteX687" fmla="*/ 507873 w 1502283"/>
                <a:gd name="connsiteY687" fmla="*/ 558832 h 1161573"/>
                <a:gd name="connsiteX688" fmla="*/ 508445 w 1502283"/>
                <a:gd name="connsiteY688" fmla="*/ 563594 h 1161573"/>
                <a:gd name="connsiteX689" fmla="*/ 504730 w 1502283"/>
                <a:gd name="connsiteY689" fmla="*/ 572072 h 1161573"/>
                <a:gd name="connsiteX690" fmla="*/ 512826 w 1502283"/>
                <a:gd name="connsiteY690" fmla="*/ 572643 h 1161573"/>
                <a:gd name="connsiteX691" fmla="*/ 513397 w 1502283"/>
                <a:gd name="connsiteY691" fmla="*/ 577405 h 1161573"/>
                <a:gd name="connsiteX692" fmla="*/ 516541 w 1502283"/>
                <a:gd name="connsiteY692" fmla="*/ 577025 h 1161573"/>
                <a:gd name="connsiteX693" fmla="*/ 513779 w 1502283"/>
                <a:gd name="connsiteY693" fmla="*/ 593408 h 1161573"/>
                <a:gd name="connsiteX694" fmla="*/ 513969 w 1502283"/>
                <a:gd name="connsiteY694" fmla="*/ 595027 h 1161573"/>
                <a:gd name="connsiteX695" fmla="*/ 512159 w 1502283"/>
                <a:gd name="connsiteY695" fmla="*/ 593693 h 1161573"/>
                <a:gd name="connsiteX696" fmla="*/ 509588 w 1502283"/>
                <a:gd name="connsiteY696" fmla="*/ 598837 h 1161573"/>
                <a:gd name="connsiteX697" fmla="*/ 506825 w 1502283"/>
                <a:gd name="connsiteY697" fmla="*/ 602361 h 1161573"/>
                <a:gd name="connsiteX698" fmla="*/ 505682 w 1502283"/>
                <a:gd name="connsiteY698" fmla="*/ 605695 h 1161573"/>
                <a:gd name="connsiteX699" fmla="*/ 501110 w 1502283"/>
                <a:gd name="connsiteY699" fmla="*/ 607886 h 1161573"/>
                <a:gd name="connsiteX700" fmla="*/ 499967 w 1502283"/>
                <a:gd name="connsiteY700" fmla="*/ 611219 h 1161573"/>
                <a:gd name="connsiteX701" fmla="*/ 496824 w 1502283"/>
                <a:gd name="connsiteY701" fmla="*/ 611600 h 1161573"/>
                <a:gd name="connsiteX702" fmla="*/ 492252 w 1502283"/>
                <a:gd name="connsiteY702" fmla="*/ 613791 h 1161573"/>
                <a:gd name="connsiteX703" fmla="*/ 485775 w 1502283"/>
                <a:gd name="connsiteY703" fmla="*/ 613029 h 1161573"/>
                <a:gd name="connsiteX704" fmla="*/ 481013 w 1502283"/>
                <a:gd name="connsiteY704" fmla="*/ 613601 h 1161573"/>
                <a:gd name="connsiteX705" fmla="*/ 480060 w 1502283"/>
                <a:gd name="connsiteY705" fmla="*/ 618554 h 1161573"/>
                <a:gd name="connsiteX706" fmla="*/ 485965 w 1502283"/>
                <a:gd name="connsiteY706" fmla="*/ 627412 h 1161573"/>
                <a:gd name="connsiteX707" fmla="*/ 486346 w 1502283"/>
                <a:gd name="connsiteY707" fmla="*/ 630555 h 1161573"/>
                <a:gd name="connsiteX708" fmla="*/ 481584 w 1502283"/>
                <a:gd name="connsiteY708" fmla="*/ 631126 h 1161573"/>
                <a:gd name="connsiteX709" fmla="*/ 477488 w 1502283"/>
                <a:gd name="connsiteY709" fmla="*/ 636461 h 1161573"/>
                <a:gd name="connsiteX710" fmla="*/ 477869 w 1502283"/>
                <a:gd name="connsiteY710" fmla="*/ 639604 h 1161573"/>
                <a:gd name="connsiteX711" fmla="*/ 473773 w 1502283"/>
                <a:gd name="connsiteY711" fmla="*/ 644938 h 1161573"/>
                <a:gd name="connsiteX712" fmla="*/ 466820 w 1502283"/>
                <a:gd name="connsiteY712" fmla="*/ 641033 h 1161573"/>
                <a:gd name="connsiteX713" fmla="*/ 459296 w 1502283"/>
                <a:gd name="connsiteY713" fmla="*/ 645224 h 1161573"/>
                <a:gd name="connsiteX714" fmla="*/ 454152 w 1502283"/>
                <a:gd name="connsiteY714" fmla="*/ 642652 h 1161573"/>
                <a:gd name="connsiteX715" fmla="*/ 451390 w 1502283"/>
                <a:gd name="connsiteY715" fmla="*/ 646176 h 1161573"/>
                <a:gd name="connsiteX716" fmla="*/ 444437 w 1502283"/>
                <a:gd name="connsiteY716" fmla="*/ 642271 h 1161573"/>
                <a:gd name="connsiteX717" fmla="*/ 439674 w 1502283"/>
                <a:gd name="connsiteY717" fmla="*/ 642842 h 1161573"/>
                <a:gd name="connsiteX718" fmla="*/ 436912 w 1502283"/>
                <a:gd name="connsiteY718" fmla="*/ 646367 h 1161573"/>
                <a:gd name="connsiteX719" fmla="*/ 432149 w 1502283"/>
                <a:gd name="connsiteY719" fmla="*/ 646938 h 1161573"/>
                <a:gd name="connsiteX720" fmla="*/ 421672 w 1502283"/>
                <a:gd name="connsiteY720" fmla="*/ 653034 h 1161573"/>
                <a:gd name="connsiteX721" fmla="*/ 419862 w 1502283"/>
                <a:gd name="connsiteY721" fmla="*/ 651701 h 1161573"/>
                <a:gd name="connsiteX722" fmla="*/ 421672 w 1502283"/>
                <a:gd name="connsiteY722" fmla="*/ 653034 h 1161573"/>
                <a:gd name="connsiteX723" fmla="*/ 416147 w 1502283"/>
                <a:gd name="connsiteY723" fmla="*/ 660178 h 1161573"/>
                <a:gd name="connsiteX724" fmla="*/ 424624 w 1502283"/>
                <a:gd name="connsiteY724" fmla="*/ 663893 h 1161573"/>
                <a:gd name="connsiteX725" fmla="*/ 425196 w 1502283"/>
                <a:gd name="connsiteY725" fmla="*/ 668655 h 1161573"/>
                <a:gd name="connsiteX726" fmla="*/ 428530 w 1502283"/>
                <a:gd name="connsiteY726" fmla="*/ 669798 h 1161573"/>
                <a:gd name="connsiteX727" fmla="*/ 428911 w 1502283"/>
                <a:gd name="connsiteY727" fmla="*/ 672941 h 1161573"/>
                <a:gd name="connsiteX728" fmla="*/ 419862 w 1502283"/>
                <a:gd name="connsiteY728" fmla="*/ 677323 h 1161573"/>
                <a:gd name="connsiteX729" fmla="*/ 417671 w 1502283"/>
                <a:gd name="connsiteY729" fmla="*/ 672751 h 1161573"/>
                <a:gd name="connsiteX730" fmla="*/ 414528 w 1502283"/>
                <a:gd name="connsiteY730" fmla="*/ 673132 h 1161573"/>
                <a:gd name="connsiteX731" fmla="*/ 413575 w 1502283"/>
                <a:gd name="connsiteY731" fmla="*/ 678085 h 1161573"/>
                <a:gd name="connsiteX732" fmla="*/ 410623 w 1502283"/>
                <a:gd name="connsiteY732" fmla="*/ 680085 h 1161573"/>
                <a:gd name="connsiteX733" fmla="*/ 413956 w 1502283"/>
                <a:gd name="connsiteY733" fmla="*/ 681228 h 1161573"/>
                <a:gd name="connsiteX734" fmla="*/ 411004 w 1502283"/>
                <a:gd name="connsiteY734" fmla="*/ 683228 h 1161573"/>
                <a:gd name="connsiteX735" fmla="*/ 409670 w 1502283"/>
                <a:gd name="connsiteY735" fmla="*/ 685038 h 1161573"/>
                <a:gd name="connsiteX736" fmla="*/ 399383 w 1502283"/>
                <a:gd name="connsiteY736" fmla="*/ 679895 h 1161573"/>
                <a:gd name="connsiteX737" fmla="*/ 398050 w 1502283"/>
                <a:gd name="connsiteY737" fmla="*/ 681704 h 1161573"/>
                <a:gd name="connsiteX738" fmla="*/ 396907 w 1502283"/>
                <a:gd name="connsiteY738" fmla="*/ 685038 h 1161573"/>
                <a:gd name="connsiteX739" fmla="*/ 391763 w 1502283"/>
                <a:gd name="connsiteY739" fmla="*/ 682466 h 1161573"/>
                <a:gd name="connsiteX740" fmla="*/ 387001 w 1502283"/>
                <a:gd name="connsiteY740" fmla="*/ 683038 h 1161573"/>
                <a:gd name="connsiteX741" fmla="*/ 385572 w 1502283"/>
                <a:gd name="connsiteY741" fmla="*/ 684848 h 1161573"/>
                <a:gd name="connsiteX742" fmla="*/ 387953 w 1502283"/>
                <a:gd name="connsiteY742" fmla="*/ 690944 h 1161573"/>
                <a:gd name="connsiteX743" fmla="*/ 388144 w 1502283"/>
                <a:gd name="connsiteY743" fmla="*/ 692563 h 1161573"/>
                <a:gd name="connsiteX744" fmla="*/ 384620 w 1502283"/>
                <a:gd name="connsiteY744" fmla="*/ 689801 h 1161573"/>
                <a:gd name="connsiteX745" fmla="*/ 380619 w 1502283"/>
                <a:gd name="connsiteY745" fmla="*/ 683895 h 1161573"/>
                <a:gd name="connsiteX746" fmla="*/ 375666 w 1502283"/>
                <a:gd name="connsiteY746" fmla="*/ 682943 h 1161573"/>
                <a:gd name="connsiteX747" fmla="*/ 374523 w 1502283"/>
                <a:gd name="connsiteY747" fmla="*/ 686276 h 1161573"/>
                <a:gd name="connsiteX748" fmla="*/ 371189 w 1502283"/>
                <a:gd name="connsiteY748" fmla="*/ 685133 h 1161573"/>
                <a:gd name="connsiteX749" fmla="*/ 364046 w 1502283"/>
                <a:gd name="connsiteY749" fmla="*/ 679609 h 1161573"/>
                <a:gd name="connsiteX750" fmla="*/ 362426 w 1502283"/>
                <a:gd name="connsiteY750" fmla="*/ 679799 h 1161573"/>
                <a:gd name="connsiteX751" fmla="*/ 357664 w 1502283"/>
                <a:gd name="connsiteY751" fmla="*/ 680371 h 1161573"/>
                <a:gd name="connsiteX752" fmla="*/ 357473 w 1502283"/>
                <a:gd name="connsiteY752" fmla="*/ 678751 h 1161573"/>
                <a:gd name="connsiteX753" fmla="*/ 352711 w 1502283"/>
                <a:gd name="connsiteY753" fmla="*/ 679323 h 1161573"/>
                <a:gd name="connsiteX754" fmla="*/ 352139 w 1502283"/>
                <a:gd name="connsiteY754" fmla="*/ 674561 h 1161573"/>
                <a:gd name="connsiteX755" fmla="*/ 350330 w 1502283"/>
                <a:gd name="connsiteY755" fmla="*/ 673227 h 1161573"/>
                <a:gd name="connsiteX756" fmla="*/ 347186 w 1502283"/>
                <a:gd name="connsiteY756" fmla="*/ 673608 h 1161573"/>
                <a:gd name="connsiteX757" fmla="*/ 347567 w 1502283"/>
                <a:gd name="connsiteY757" fmla="*/ 676751 h 1161573"/>
                <a:gd name="connsiteX758" fmla="*/ 349568 w 1502283"/>
                <a:gd name="connsiteY758" fmla="*/ 679704 h 1161573"/>
                <a:gd name="connsiteX759" fmla="*/ 348805 w 1502283"/>
                <a:gd name="connsiteY759" fmla="*/ 686181 h 1161573"/>
                <a:gd name="connsiteX760" fmla="*/ 344043 w 1502283"/>
                <a:gd name="connsiteY760" fmla="*/ 686753 h 1161573"/>
                <a:gd name="connsiteX761" fmla="*/ 340138 w 1502283"/>
                <a:gd name="connsiteY761" fmla="*/ 693706 h 1161573"/>
                <a:gd name="connsiteX762" fmla="*/ 336995 w 1502283"/>
                <a:gd name="connsiteY762" fmla="*/ 694087 h 1161573"/>
                <a:gd name="connsiteX763" fmla="*/ 334042 w 1502283"/>
                <a:gd name="connsiteY763" fmla="*/ 696087 h 1161573"/>
                <a:gd name="connsiteX764" fmla="*/ 325946 w 1502283"/>
                <a:gd name="connsiteY764" fmla="*/ 695516 h 1161573"/>
                <a:gd name="connsiteX765" fmla="*/ 319469 w 1502283"/>
                <a:gd name="connsiteY765" fmla="*/ 694754 h 1161573"/>
                <a:gd name="connsiteX766" fmla="*/ 312325 w 1502283"/>
                <a:gd name="connsiteY766" fmla="*/ 689229 h 1161573"/>
                <a:gd name="connsiteX767" fmla="*/ 310324 w 1502283"/>
                <a:gd name="connsiteY767" fmla="*/ 686276 h 1161573"/>
                <a:gd name="connsiteX768" fmla="*/ 313468 w 1502283"/>
                <a:gd name="connsiteY768" fmla="*/ 685895 h 1161573"/>
                <a:gd name="connsiteX769" fmla="*/ 309944 w 1502283"/>
                <a:gd name="connsiteY769" fmla="*/ 683133 h 1161573"/>
                <a:gd name="connsiteX770" fmla="*/ 309753 w 1502283"/>
                <a:gd name="connsiteY770" fmla="*/ 681514 h 1161573"/>
                <a:gd name="connsiteX771" fmla="*/ 310134 w 1502283"/>
                <a:gd name="connsiteY771" fmla="*/ 684657 h 1161573"/>
                <a:gd name="connsiteX772" fmla="*/ 308800 w 1502283"/>
                <a:gd name="connsiteY772" fmla="*/ 686467 h 1161573"/>
                <a:gd name="connsiteX773" fmla="*/ 306800 w 1502283"/>
                <a:gd name="connsiteY773" fmla="*/ 683514 h 1161573"/>
                <a:gd name="connsiteX774" fmla="*/ 303657 w 1502283"/>
                <a:gd name="connsiteY774" fmla="*/ 683895 h 1161573"/>
                <a:gd name="connsiteX775" fmla="*/ 303276 w 1502283"/>
                <a:gd name="connsiteY775" fmla="*/ 680752 h 1161573"/>
                <a:gd name="connsiteX776" fmla="*/ 305086 w 1502283"/>
                <a:gd name="connsiteY776" fmla="*/ 682085 h 1161573"/>
                <a:gd name="connsiteX777" fmla="*/ 303086 w 1502283"/>
                <a:gd name="connsiteY777" fmla="*/ 679133 h 1161573"/>
                <a:gd name="connsiteX778" fmla="*/ 304514 w 1502283"/>
                <a:gd name="connsiteY778" fmla="*/ 677323 h 1161573"/>
                <a:gd name="connsiteX779" fmla="*/ 305657 w 1502283"/>
                <a:gd name="connsiteY779" fmla="*/ 673989 h 1161573"/>
                <a:gd name="connsiteX780" fmla="*/ 302323 w 1502283"/>
                <a:gd name="connsiteY780" fmla="*/ 672846 h 1161573"/>
                <a:gd name="connsiteX781" fmla="*/ 300133 w 1502283"/>
                <a:gd name="connsiteY781" fmla="*/ 668274 h 1161573"/>
                <a:gd name="connsiteX782" fmla="*/ 299752 w 1502283"/>
                <a:gd name="connsiteY782" fmla="*/ 665131 h 1161573"/>
                <a:gd name="connsiteX783" fmla="*/ 297752 w 1502283"/>
                <a:gd name="connsiteY783" fmla="*/ 662178 h 1161573"/>
                <a:gd name="connsiteX784" fmla="*/ 290513 w 1502283"/>
                <a:gd name="connsiteY784" fmla="*/ 667893 h 1161573"/>
                <a:gd name="connsiteX785" fmla="*/ 286607 w 1502283"/>
                <a:gd name="connsiteY785" fmla="*/ 674846 h 1161573"/>
                <a:gd name="connsiteX786" fmla="*/ 276130 w 1502283"/>
                <a:gd name="connsiteY786" fmla="*/ 668179 h 1161573"/>
                <a:gd name="connsiteX787" fmla="*/ 276130 w 1502283"/>
                <a:gd name="connsiteY787" fmla="*/ 681038 h 1161573"/>
                <a:gd name="connsiteX788" fmla="*/ 279559 w 1502283"/>
                <a:gd name="connsiteY788" fmla="*/ 682180 h 1161573"/>
                <a:gd name="connsiteX789" fmla="*/ 270700 w 1502283"/>
                <a:gd name="connsiteY789" fmla="*/ 688086 h 1161573"/>
                <a:gd name="connsiteX790" fmla="*/ 265176 w 1502283"/>
                <a:gd name="connsiteY790" fmla="*/ 695230 h 1161573"/>
                <a:gd name="connsiteX791" fmla="*/ 263176 w 1502283"/>
                <a:gd name="connsiteY791" fmla="*/ 692277 h 1161573"/>
                <a:gd name="connsiteX792" fmla="*/ 260223 w 1502283"/>
                <a:gd name="connsiteY792" fmla="*/ 694277 h 1161573"/>
                <a:gd name="connsiteX793" fmla="*/ 255270 w 1502283"/>
                <a:gd name="connsiteY793" fmla="*/ 693325 h 1161573"/>
                <a:gd name="connsiteX794" fmla="*/ 256699 w 1502283"/>
                <a:gd name="connsiteY794" fmla="*/ 691515 h 1161573"/>
                <a:gd name="connsiteX795" fmla="*/ 261461 w 1502283"/>
                <a:gd name="connsiteY795" fmla="*/ 690944 h 1161573"/>
                <a:gd name="connsiteX796" fmla="*/ 261271 w 1502283"/>
                <a:gd name="connsiteY796" fmla="*/ 689324 h 1161573"/>
                <a:gd name="connsiteX797" fmla="*/ 250793 w 1502283"/>
                <a:gd name="connsiteY797" fmla="*/ 682657 h 1161573"/>
                <a:gd name="connsiteX798" fmla="*/ 246031 w 1502283"/>
                <a:gd name="connsiteY798" fmla="*/ 683228 h 1161573"/>
                <a:gd name="connsiteX799" fmla="*/ 242697 w 1502283"/>
                <a:gd name="connsiteY799" fmla="*/ 682085 h 1161573"/>
                <a:gd name="connsiteX800" fmla="*/ 245078 w 1502283"/>
                <a:gd name="connsiteY800" fmla="*/ 688181 h 1161573"/>
                <a:gd name="connsiteX801" fmla="*/ 242316 w 1502283"/>
                <a:gd name="connsiteY801" fmla="*/ 691705 h 1161573"/>
                <a:gd name="connsiteX802" fmla="*/ 242888 w 1502283"/>
                <a:gd name="connsiteY802" fmla="*/ 696468 h 1161573"/>
                <a:gd name="connsiteX803" fmla="*/ 238982 w 1502283"/>
                <a:gd name="connsiteY803" fmla="*/ 703421 h 1161573"/>
                <a:gd name="connsiteX804" fmla="*/ 242316 w 1502283"/>
                <a:gd name="connsiteY804" fmla="*/ 704564 h 1161573"/>
                <a:gd name="connsiteX805" fmla="*/ 240982 w 1502283"/>
                <a:gd name="connsiteY805" fmla="*/ 706374 h 1161573"/>
                <a:gd name="connsiteX806" fmla="*/ 239363 w 1502283"/>
                <a:gd name="connsiteY806" fmla="*/ 706565 h 1161573"/>
                <a:gd name="connsiteX807" fmla="*/ 241554 w 1502283"/>
                <a:gd name="connsiteY807" fmla="*/ 711137 h 1161573"/>
                <a:gd name="connsiteX808" fmla="*/ 239935 w 1502283"/>
                <a:gd name="connsiteY808" fmla="*/ 711327 h 1161573"/>
                <a:gd name="connsiteX809" fmla="*/ 236791 w 1502283"/>
                <a:gd name="connsiteY809" fmla="*/ 711708 h 1161573"/>
                <a:gd name="connsiteX810" fmla="*/ 234029 w 1502283"/>
                <a:gd name="connsiteY810" fmla="*/ 715232 h 1161573"/>
                <a:gd name="connsiteX811" fmla="*/ 237554 w 1502283"/>
                <a:gd name="connsiteY811" fmla="*/ 717995 h 1161573"/>
                <a:gd name="connsiteX812" fmla="*/ 231457 w 1502283"/>
                <a:gd name="connsiteY812" fmla="*/ 720376 h 1161573"/>
                <a:gd name="connsiteX813" fmla="*/ 230696 w 1502283"/>
                <a:gd name="connsiteY813" fmla="*/ 714089 h 1161573"/>
                <a:gd name="connsiteX814" fmla="*/ 227552 w 1502283"/>
                <a:gd name="connsiteY814" fmla="*/ 714470 h 1161573"/>
                <a:gd name="connsiteX815" fmla="*/ 219075 w 1502283"/>
                <a:gd name="connsiteY815" fmla="*/ 710755 h 1161573"/>
                <a:gd name="connsiteX816" fmla="*/ 216503 w 1502283"/>
                <a:gd name="connsiteY816" fmla="*/ 715899 h 1161573"/>
                <a:gd name="connsiteX817" fmla="*/ 209550 w 1502283"/>
                <a:gd name="connsiteY817" fmla="*/ 711994 h 1161573"/>
                <a:gd name="connsiteX818" fmla="*/ 204025 w 1502283"/>
                <a:gd name="connsiteY818" fmla="*/ 719138 h 1161573"/>
                <a:gd name="connsiteX819" fmla="*/ 197072 w 1502283"/>
                <a:gd name="connsiteY819" fmla="*/ 715232 h 1161573"/>
                <a:gd name="connsiteX820" fmla="*/ 194500 w 1502283"/>
                <a:gd name="connsiteY820" fmla="*/ 720376 h 1161573"/>
                <a:gd name="connsiteX821" fmla="*/ 187166 w 1502283"/>
                <a:gd name="connsiteY821" fmla="*/ 726091 h 1161573"/>
                <a:gd name="connsiteX822" fmla="*/ 185547 w 1502283"/>
                <a:gd name="connsiteY822" fmla="*/ 726281 h 1161573"/>
                <a:gd name="connsiteX823" fmla="*/ 181451 w 1502283"/>
                <a:gd name="connsiteY823" fmla="*/ 731615 h 1161573"/>
                <a:gd name="connsiteX824" fmla="*/ 187928 w 1502283"/>
                <a:gd name="connsiteY824" fmla="*/ 732377 h 1161573"/>
                <a:gd name="connsiteX825" fmla="*/ 188119 w 1502283"/>
                <a:gd name="connsiteY825" fmla="*/ 733997 h 1161573"/>
                <a:gd name="connsiteX826" fmla="*/ 186499 w 1502283"/>
                <a:gd name="connsiteY826" fmla="*/ 734187 h 1161573"/>
                <a:gd name="connsiteX827" fmla="*/ 185356 w 1502283"/>
                <a:gd name="connsiteY827" fmla="*/ 737521 h 1161573"/>
                <a:gd name="connsiteX828" fmla="*/ 180594 w 1502283"/>
                <a:gd name="connsiteY828" fmla="*/ 738092 h 1161573"/>
                <a:gd name="connsiteX829" fmla="*/ 180594 w 1502283"/>
                <a:gd name="connsiteY829" fmla="*/ 738092 h 1161573"/>
                <a:gd name="connsiteX830" fmla="*/ 178403 w 1502283"/>
                <a:gd name="connsiteY830" fmla="*/ 746379 h 1161573"/>
                <a:gd name="connsiteX831" fmla="*/ 170879 w 1502283"/>
                <a:gd name="connsiteY831" fmla="*/ 750570 h 1161573"/>
                <a:gd name="connsiteX832" fmla="*/ 158020 w 1502283"/>
                <a:gd name="connsiteY832" fmla="*/ 750570 h 1161573"/>
                <a:gd name="connsiteX833" fmla="*/ 154686 w 1502283"/>
                <a:gd name="connsiteY833" fmla="*/ 749427 h 1161573"/>
                <a:gd name="connsiteX834" fmla="*/ 154877 w 1502283"/>
                <a:gd name="connsiteY834" fmla="*/ 751046 h 1161573"/>
                <a:gd name="connsiteX835" fmla="*/ 154496 w 1502283"/>
                <a:gd name="connsiteY835" fmla="*/ 760762 h 1161573"/>
                <a:gd name="connsiteX836" fmla="*/ 154686 w 1502283"/>
                <a:gd name="connsiteY836" fmla="*/ 762381 h 1161573"/>
                <a:gd name="connsiteX837" fmla="*/ 151924 w 1502283"/>
                <a:gd name="connsiteY837" fmla="*/ 765905 h 1161573"/>
                <a:gd name="connsiteX838" fmla="*/ 146590 w 1502283"/>
                <a:gd name="connsiteY838" fmla="*/ 761809 h 1161573"/>
                <a:gd name="connsiteX839" fmla="*/ 142875 w 1502283"/>
                <a:gd name="connsiteY839" fmla="*/ 770287 h 1161573"/>
                <a:gd name="connsiteX840" fmla="*/ 139541 w 1502283"/>
                <a:gd name="connsiteY840" fmla="*/ 769144 h 1161573"/>
                <a:gd name="connsiteX841" fmla="*/ 141351 w 1502283"/>
                <a:gd name="connsiteY841" fmla="*/ 770477 h 1161573"/>
                <a:gd name="connsiteX842" fmla="*/ 141541 w 1502283"/>
                <a:gd name="connsiteY842" fmla="*/ 772097 h 1161573"/>
                <a:gd name="connsiteX843" fmla="*/ 143351 w 1502283"/>
                <a:gd name="connsiteY843" fmla="*/ 773430 h 1161573"/>
                <a:gd name="connsiteX844" fmla="*/ 140779 w 1502283"/>
                <a:gd name="connsiteY844" fmla="*/ 778574 h 1161573"/>
                <a:gd name="connsiteX845" fmla="*/ 141351 w 1502283"/>
                <a:gd name="connsiteY845" fmla="*/ 783336 h 1161573"/>
                <a:gd name="connsiteX846" fmla="*/ 138208 w 1502283"/>
                <a:gd name="connsiteY846" fmla="*/ 783717 h 1161573"/>
                <a:gd name="connsiteX847" fmla="*/ 135446 w 1502283"/>
                <a:gd name="connsiteY847" fmla="*/ 787241 h 1161573"/>
                <a:gd name="connsiteX848" fmla="*/ 133255 w 1502283"/>
                <a:gd name="connsiteY848" fmla="*/ 782669 h 1161573"/>
                <a:gd name="connsiteX849" fmla="*/ 127921 w 1502283"/>
                <a:gd name="connsiteY849" fmla="*/ 778574 h 1161573"/>
                <a:gd name="connsiteX850" fmla="*/ 125539 w 1502283"/>
                <a:gd name="connsiteY850" fmla="*/ 772478 h 1161573"/>
                <a:gd name="connsiteX851" fmla="*/ 118396 w 1502283"/>
                <a:gd name="connsiteY851" fmla="*/ 766953 h 1161573"/>
                <a:gd name="connsiteX852" fmla="*/ 118015 w 1502283"/>
                <a:gd name="connsiteY852" fmla="*/ 763810 h 1161573"/>
                <a:gd name="connsiteX853" fmla="*/ 108585 w 1502283"/>
                <a:gd name="connsiteY853" fmla="*/ 765048 h 1161573"/>
                <a:gd name="connsiteX854" fmla="*/ 102870 w 1502283"/>
                <a:gd name="connsiteY854" fmla="*/ 770573 h 1161573"/>
                <a:gd name="connsiteX855" fmla="*/ 99917 w 1502283"/>
                <a:gd name="connsiteY855" fmla="*/ 772573 h 1161573"/>
                <a:gd name="connsiteX856" fmla="*/ 99536 w 1502283"/>
                <a:gd name="connsiteY856" fmla="*/ 769430 h 1161573"/>
                <a:gd name="connsiteX857" fmla="*/ 94774 w 1502283"/>
                <a:gd name="connsiteY857" fmla="*/ 770001 h 1161573"/>
                <a:gd name="connsiteX858" fmla="*/ 92773 w 1502283"/>
                <a:gd name="connsiteY858" fmla="*/ 767048 h 1161573"/>
                <a:gd name="connsiteX859" fmla="*/ 89630 w 1502283"/>
                <a:gd name="connsiteY859" fmla="*/ 767429 h 1161573"/>
                <a:gd name="connsiteX860" fmla="*/ 85058 w 1502283"/>
                <a:gd name="connsiteY860" fmla="*/ 769620 h 1161573"/>
                <a:gd name="connsiteX861" fmla="*/ 89440 w 1502283"/>
                <a:gd name="connsiteY861" fmla="*/ 778669 h 1161573"/>
                <a:gd name="connsiteX862" fmla="*/ 88106 w 1502283"/>
                <a:gd name="connsiteY862" fmla="*/ 780479 h 1161573"/>
                <a:gd name="connsiteX863" fmla="*/ 83534 w 1502283"/>
                <a:gd name="connsiteY863" fmla="*/ 782669 h 1161573"/>
                <a:gd name="connsiteX864" fmla="*/ 84106 w 1502283"/>
                <a:gd name="connsiteY864" fmla="*/ 787432 h 1161573"/>
                <a:gd name="connsiteX865" fmla="*/ 77819 w 1502283"/>
                <a:gd name="connsiteY865" fmla="*/ 788194 h 1161573"/>
                <a:gd name="connsiteX866" fmla="*/ 79820 w 1502283"/>
                <a:gd name="connsiteY866" fmla="*/ 791147 h 1161573"/>
                <a:gd name="connsiteX867" fmla="*/ 78677 w 1502283"/>
                <a:gd name="connsiteY867" fmla="*/ 794480 h 1161573"/>
                <a:gd name="connsiteX868" fmla="*/ 76105 w 1502283"/>
                <a:gd name="connsiteY868" fmla="*/ 799624 h 1161573"/>
                <a:gd name="connsiteX869" fmla="*/ 72771 w 1502283"/>
                <a:gd name="connsiteY869" fmla="*/ 798481 h 1161573"/>
                <a:gd name="connsiteX870" fmla="*/ 70390 w 1502283"/>
                <a:gd name="connsiteY870" fmla="*/ 792385 h 1161573"/>
                <a:gd name="connsiteX871" fmla="*/ 67437 w 1502283"/>
                <a:gd name="connsiteY871" fmla="*/ 794385 h 1161573"/>
                <a:gd name="connsiteX872" fmla="*/ 64294 w 1502283"/>
                <a:gd name="connsiteY872" fmla="*/ 794766 h 1161573"/>
                <a:gd name="connsiteX873" fmla="*/ 59150 w 1502283"/>
                <a:gd name="connsiteY873" fmla="*/ 792194 h 1161573"/>
                <a:gd name="connsiteX874" fmla="*/ 57150 w 1502283"/>
                <a:gd name="connsiteY874" fmla="*/ 789242 h 1161573"/>
                <a:gd name="connsiteX875" fmla="*/ 59531 w 1502283"/>
                <a:gd name="connsiteY875" fmla="*/ 782479 h 1161573"/>
                <a:gd name="connsiteX876" fmla="*/ 56197 w 1502283"/>
                <a:gd name="connsiteY876" fmla="*/ 781336 h 1161573"/>
                <a:gd name="connsiteX877" fmla="*/ 54007 w 1502283"/>
                <a:gd name="connsiteY877" fmla="*/ 776764 h 1161573"/>
                <a:gd name="connsiteX878" fmla="*/ 50482 w 1502283"/>
                <a:gd name="connsiteY878" fmla="*/ 774001 h 1161573"/>
                <a:gd name="connsiteX879" fmla="*/ 44387 w 1502283"/>
                <a:gd name="connsiteY879" fmla="*/ 776383 h 1161573"/>
                <a:gd name="connsiteX880" fmla="*/ 46958 w 1502283"/>
                <a:gd name="connsiteY880" fmla="*/ 784098 h 1161573"/>
                <a:gd name="connsiteX881" fmla="*/ 34862 w 1502283"/>
                <a:gd name="connsiteY881" fmla="*/ 777621 h 1161573"/>
                <a:gd name="connsiteX882" fmla="*/ 28575 w 1502283"/>
                <a:gd name="connsiteY882" fmla="*/ 778383 h 1161573"/>
                <a:gd name="connsiteX883" fmla="*/ 31909 w 1502283"/>
                <a:gd name="connsiteY883" fmla="*/ 779526 h 1161573"/>
                <a:gd name="connsiteX884" fmla="*/ 35052 w 1502283"/>
                <a:gd name="connsiteY884" fmla="*/ 779145 h 1161573"/>
                <a:gd name="connsiteX885" fmla="*/ 35433 w 1502283"/>
                <a:gd name="connsiteY885" fmla="*/ 782288 h 1161573"/>
                <a:gd name="connsiteX886" fmla="*/ 38576 w 1502283"/>
                <a:gd name="connsiteY886" fmla="*/ 781907 h 1161573"/>
                <a:gd name="connsiteX887" fmla="*/ 32671 w 1502283"/>
                <a:gd name="connsiteY887" fmla="*/ 785908 h 1161573"/>
                <a:gd name="connsiteX888" fmla="*/ 30099 w 1502283"/>
                <a:gd name="connsiteY888" fmla="*/ 791051 h 1161573"/>
                <a:gd name="connsiteX889" fmla="*/ 28766 w 1502283"/>
                <a:gd name="connsiteY889" fmla="*/ 792861 h 1161573"/>
                <a:gd name="connsiteX890" fmla="*/ 27432 w 1502283"/>
                <a:gd name="connsiteY890" fmla="*/ 794671 h 1161573"/>
                <a:gd name="connsiteX891" fmla="*/ 24289 w 1502283"/>
                <a:gd name="connsiteY891" fmla="*/ 795052 h 1161573"/>
                <a:gd name="connsiteX892" fmla="*/ 19336 w 1502283"/>
                <a:gd name="connsiteY892" fmla="*/ 794099 h 1161573"/>
                <a:gd name="connsiteX893" fmla="*/ 18764 w 1502283"/>
                <a:gd name="connsiteY893" fmla="*/ 789337 h 1161573"/>
                <a:gd name="connsiteX894" fmla="*/ 13811 w 1502283"/>
                <a:gd name="connsiteY894" fmla="*/ 788384 h 1161573"/>
                <a:gd name="connsiteX895" fmla="*/ 13049 w 1502283"/>
                <a:gd name="connsiteY895" fmla="*/ 794861 h 1161573"/>
                <a:gd name="connsiteX896" fmla="*/ 15050 w 1502283"/>
                <a:gd name="connsiteY896" fmla="*/ 797814 h 1161573"/>
                <a:gd name="connsiteX897" fmla="*/ 16383 w 1502283"/>
                <a:gd name="connsiteY897" fmla="*/ 796004 h 1161573"/>
                <a:gd name="connsiteX898" fmla="*/ 16573 w 1502283"/>
                <a:gd name="connsiteY898" fmla="*/ 797624 h 1161573"/>
                <a:gd name="connsiteX899" fmla="*/ 19907 w 1502283"/>
                <a:gd name="connsiteY899" fmla="*/ 798767 h 1161573"/>
                <a:gd name="connsiteX900" fmla="*/ 21717 w 1502283"/>
                <a:gd name="connsiteY900" fmla="*/ 800100 h 1161573"/>
                <a:gd name="connsiteX901" fmla="*/ 20764 w 1502283"/>
                <a:gd name="connsiteY901" fmla="*/ 805053 h 1161573"/>
                <a:gd name="connsiteX902" fmla="*/ 17431 w 1502283"/>
                <a:gd name="connsiteY902" fmla="*/ 803910 h 1161573"/>
                <a:gd name="connsiteX903" fmla="*/ 14668 w 1502283"/>
                <a:gd name="connsiteY903" fmla="*/ 807434 h 1161573"/>
                <a:gd name="connsiteX904" fmla="*/ 13049 w 1502283"/>
                <a:gd name="connsiteY904" fmla="*/ 807625 h 1161573"/>
                <a:gd name="connsiteX905" fmla="*/ 14859 w 1502283"/>
                <a:gd name="connsiteY905" fmla="*/ 808958 h 1161573"/>
                <a:gd name="connsiteX906" fmla="*/ 21336 w 1502283"/>
                <a:gd name="connsiteY906" fmla="*/ 809720 h 1161573"/>
                <a:gd name="connsiteX907" fmla="*/ 16764 w 1502283"/>
                <a:gd name="connsiteY907" fmla="*/ 811911 h 1161573"/>
                <a:gd name="connsiteX908" fmla="*/ 14002 w 1502283"/>
                <a:gd name="connsiteY908" fmla="*/ 815435 h 1161573"/>
                <a:gd name="connsiteX909" fmla="*/ 8858 w 1502283"/>
                <a:gd name="connsiteY909" fmla="*/ 812864 h 1161573"/>
                <a:gd name="connsiteX910" fmla="*/ 7525 w 1502283"/>
                <a:gd name="connsiteY910" fmla="*/ 814673 h 1161573"/>
                <a:gd name="connsiteX911" fmla="*/ 8287 w 1502283"/>
                <a:gd name="connsiteY911" fmla="*/ 820960 h 1161573"/>
                <a:gd name="connsiteX912" fmla="*/ 6667 w 1502283"/>
                <a:gd name="connsiteY912" fmla="*/ 821150 h 1161573"/>
                <a:gd name="connsiteX913" fmla="*/ 0 w 1502283"/>
                <a:gd name="connsiteY913" fmla="*/ 831628 h 1161573"/>
                <a:gd name="connsiteX914" fmla="*/ 13430 w 1502283"/>
                <a:gd name="connsiteY914" fmla="*/ 836295 h 1161573"/>
                <a:gd name="connsiteX915" fmla="*/ 27432 w 1502283"/>
                <a:gd name="connsiteY915" fmla="*/ 845725 h 1161573"/>
                <a:gd name="connsiteX916" fmla="*/ 43434 w 1502283"/>
                <a:gd name="connsiteY916" fmla="*/ 845249 h 1161573"/>
                <a:gd name="connsiteX917" fmla="*/ 49911 w 1502283"/>
                <a:gd name="connsiteY917" fmla="*/ 846010 h 1161573"/>
                <a:gd name="connsiteX918" fmla="*/ 52864 w 1502283"/>
                <a:gd name="connsiteY918" fmla="*/ 844010 h 1161573"/>
                <a:gd name="connsiteX919" fmla="*/ 58198 w 1502283"/>
                <a:gd name="connsiteY919" fmla="*/ 848106 h 1161573"/>
                <a:gd name="connsiteX920" fmla="*/ 65913 w 1502283"/>
                <a:gd name="connsiteY920" fmla="*/ 858393 h 1161573"/>
                <a:gd name="connsiteX921" fmla="*/ 70675 w 1502283"/>
                <a:gd name="connsiteY921" fmla="*/ 857822 h 1161573"/>
                <a:gd name="connsiteX922" fmla="*/ 68866 w 1502283"/>
                <a:gd name="connsiteY922" fmla="*/ 856488 h 1161573"/>
                <a:gd name="connsiteX923" fmla="*/ 82487 w 1502283"/>
                <a:gd name="connsiteY923" fmla="*/ 862775 h 1161573"/>
                <a:gd name="connsiteX924" fmla="*/ 91821 w 1502283"/>
                <a:gd name="connsiteY924" fmla="*/ 872776 h 1161573"/>
                <a:gd name="connsiteX925" fmla="*/ 95821 w 1502283"/>
                <a:gd name="connsiteY925" fmla="*/ 878681 h 1161573"/>
                <a:gd name="connsiteX926" fmla="*/ 102965 w 1502283"/>
                <a:gd name="connsiteY926" fmla="*/ 884206 h 1161573"/>
                <a:gd name="connsiteX927" fmla="*/ 107156 w 1502283"/>
                <a:gd name="connsiteY927" fmla="*/ 891731 h 1161573"/>
                <a:gd name="connsiteX928" fmla="*/ 110490 w 1502283"/>
                <a:gd name="connsiteY928" fmla="*/ 892874 h 1161573"/>
                <a:gd name="connsiteX929" fmla="*/ 114776 w 1502283"/>
                <a:gd name="connsiteY929" fmla="*/ 889159 h 1161573"/>
                <a:gd name="connsiteX930" fmla="*/ 122682 w 1502283"/>
                <a:gd name="connsiteY930" fmla="*/ 888111 h 1161573"/>
                <a:gd name="connsiteX931" fmla="*/ 125825 w 1502283"/>
                <a:gd name="connsiteY931" fmla="*/ 887730 h 1161573"/>
                <a:gd name="connsiteX932" fmla="*/ 126016 w 1502283"/>
                <a:gd name="connsiteY932" fmla="*/ 889349 h 1161573"/>
                <a:gd name="connsiteX933" fmla="*/ 144208 w 1502283"/>
                <a:gd name="connsiteY933" fmla="*/ 893445 h 1161573"/>
                <a:gd name="connsiteX934" fmla="*/ 154305 w 1502283"/>
                <a:gd name="connsiteY934" fmla="*/ 896969 h 1161573"/>
                <a:gd name="connsiteX935" fmla="*/ 165545 w 1502283"/>
                <a:gd name="connsiteY935" fmla="*/ 884301 h 1161573"/>
                <a:gd name="connsiteX936" fmla="*/ 169259 w 1502283"/>
                <a:gd name="connsiteY936" fmla="*/ 875824 h 1161573"/>
                <a:gd name="connsiteX937" fmla="*/ 171831 w 1502283"/>
                <a:gd name="connsiteY937" fmla="*/ 870680 h 1161573"/>
                <a:gd name="connsiteX938" fmla="*/ 181546 w 1502283"/>
                <a:gd name="connsiteY938" fmla="*/ 871061 h 1161573"/>
                <a:gd name="connsiteX939" fmla="*/ 191643 w 1502283"/>
                <a:gd name="connsiteY939" fmla="*/ 874585 h 1161573"/>
                <a:gd name="connsiteX940" fmla="*/ 202692 w 1502283"/>
                <a:gd name="connsiteY940" fmla="*/ 873157 h 1161573"/>
                <a:gd name="connsiteX941" fmla="*/ 206026 w 1502283"/>
                <a:gd name="connsiteY941" fmla="*/ 874300 h 1161573"/>
                <a:gd name="connsiteX942" fmla="*/ 209169 w 1502283"/>
                <a:gd name="connsiteY942" fmla="*/ 873919 h 1161573"/>
                <a:gd name="connsiteX943" fmla="*/ 214694 w 1502283"/>
                <a:gd name="connsiteY943" fmla="*/ 866775 h 1161573"/>
                <a:gd name="connsiteX944" fmla="*/ 216884 w 1502283"/>
                <a:gd name="connsiteY944" fmla="*/ 871347 h 1161573"/>
                <a:gd name="connsiteX945" fmla="*/ 222599 w 1502283"/>
                <a:gd name="connsiteY945" fmla="*/ 878681 h 1161573"/>
                <a:gd name="connsiteX946" fmla="*/ 221456 w 1502283"/>
                <a:gd name="connsiteY946" fmla="*/ 882015 h 1161573"/>
                <a:gd name="connsiteX947" fmla="*/ 216884 w 1502283"/>
                <a:gd name="connsiteY947" fmla="*/ 884206 h 1161573"/>
                <a:gd name="connsiteX948" fmla="*/ 217456 w 1502283"/>
                <a:gd name="connsiteY948" fmla="*/ 888968 h 1161573"/>
                <a:gd name="connsiteX949" fmla="*/ 227362 w 1502283"/>
                <a:gd name="connsiteY949" fmla="*/ 890873 h 1161573"/>
                <a:gd name="connsiteX950" fmla="*/ 232886 w 1502283"/>
                <a:gd name="connsiteY950" fmla="*/ 896588 h 1161573"/>
                <a:gd name="connsiteX951" fmla="*/ 240602 w 1502283"/>
                <a:gd name="connsiteY951" fmla="*/ 894017 h 1161573"/>
                <a:gd name="connsiteX952" fmla="*/ 240030 w 1502283"/>
                <a:gd name="connsiteY952" fmla="*/ 889254 h 1161573"/>
                <a:gd name="connsiteX953" fmla="*/ 238220 w 1502283"/>
                <a:gd name="connsiteY953" fmla="*/ 887921 h 1161573"/>
                <a:gd name="connsiteX954" fmla="*/ 241363 w 1502283"/>
                <a:gd name="connsiteY954" fmla="*/ 887540 h 1161573"/>
                <a:gd name="connsiteX955" fmla="*/ 243364 w 1502283"/>
                <a:gd name="connsiteY955" fmla="*/ 890492 h 1161573"/>
                <a:gd name="connsiteX956" fmla="*/ 243554 w 1502283"/>
                <a:gd name="connsiteY956" fmla="*/ 892111 h 1161573"/>
                <a:gd name="connsiteX957" fmla="*/ 243364 w 1502283"/>
                <a:gd name="connsiteY957" fmla="*/ 903351 h 1161573"/>
                <a:gd name="connsiteX958" fmla="*/ 247079 w 1502283"/>
                <a:gd name="connsiteY958" fmla="*/ 907637 h 1161573"/>
                <a:gd name="connsiteX959" fmla="*/ 250222 w 1502283"/>
                <a:gd name="connsiteY959" fmla="*/ 907256 h 1161573"/>
                <a:gd name="connsiteX960" fmla="*/ 255746 w 1502283"/>
                <a:gd name="connsiteY960" fmla="*/ 900113 h 1161573"/>
                <a:gd name="connsiteX961" fmla="*/ 259937 w 1502283"/>
                <a:gd name="connsiteY961" fmla="*/ 907637 h 1161573"/>
                <a:gd name="connsiteX962" fmla="*/ 260509 w 1502283"/>
                <a:gd name="connsiteY962" fmla="*/ 912400 h 1161573"/>
                <a:gd name="connsiteX963" fmla="*/ 258889 w 1502283"/>
                <a:gd name="connsiteY963" fmla="*/ 912590 h 1161573"/>
                <a:gd name="connsiteX964" fmla="*/ 255556 w 1502283"/>
                <a:gd name="connsiteY964" fmla="*/ 911447 h 1161573"/>
                <a:gd name="connsiteX965" fmla="*/ 253174 w 1502283"/>
                <a:gd name="connsiteY965" fmla="*/ 905351 h 1161573"/>
                <a:gd name="connsiteX966" fmla="*/ 253365 w 1502283"/>
                <a:gd name="connsiteY966" fmla="*/ 906971 h 1161573"/>
                <a:gd name="connsiteX967" fmla="*/ 252413 w 1502283"/>
                <a:gd name="connsiteY967" fmla="*/ 911924 h 1161573"/>
                <a:gd name="connsiteX968" fmla="*/ 254603 w 1502283"/>
                <a:gd name="connsiteY968" fmla="*/ 916496 h 1161573"/>
                <a:gd name="connsiteX969" fmla="*/ 264033 w 1502283"/>
                <a:gd name="connsiteY969" fmla="*/ 915257 h 1161573"/>
                <a:gd name="connsiteX970" fmla="*/ 269938 w 1502283"/>
                <a:gd name="connsiteY970" fmla="*/ 911257 h 1161573"/>
                <a:gd name="connsiteX971" fmla="*/ 273653 w 1502283"/>
                <a:gd name="connsiteY971" fmla="*/ 915543 h 1161573"/>
                <a:gd name="connsiteX972" fmla="*/ 278606 w 1502283"/>
                <a:gd name="connsiteY972" fmla="*/ 916496 h 1161573"/>
                <a:gd name="connsiteX973" fmla="*/ 275272 w 1502283"/>
                <a:gd name="connsiteY973" fmla="*/ 928116 h 1161573"/>
                <a:gd name="connsiteX974" fmla="*/ 278797 w 1502283"/>
                <a:gd name="connsiteY974" fmla="*/ 930878 h 1161573"/>
                <a:gd name="connsiteX975" fmla="*/ 282512 w 1502283"/>
                <a:gd name="connsiteY975" fmla="*/ 935260 h 1161573"/>
                <a:gd name="connsiteX976" fmla="*/ 285655 w 1502283"/>
                <a:gd name="connsiteY976" fmla="*/ 934879 h 1161573"/>
                <a:gd name="connsiteX977" fmla="*/ 288607 w 1502283"/>
                <a:gd name="connsiteY977" fmla="*/ 932878 h 1161573"/>
                <a:gd name="connsiteX978" fmla="*/ 287560 w 1502283"/>
                <a:gd name="connsiteY978" fmla="*/ 924973 h 1161573"/>
                <a:gd name="connsiteX979" fmla="*/ 290703 w 1502283"/>
                <a:gd name="connsiteY979" fmla="*/ 924592 h 1161573"/>
                <a:gd name="connsiteX980" fmla="*/ 292513 w 1502283"/>
                <a:gd name="connsiteY980" fmla="*/ 925925 h 1161573"/>
                <a:gd name="connsiteX981" fmla="*/ 291560 w 1502283"/>
                <a:gd name="connsiteY981" fmla="*/ 930878 h 1161573"/>
                <a:gd name="connsiteX982" fmla="*/ 299466 w 1502283"/>
                <a:gd name="connsiteY982" fmla="*/ 929831 h 1161573"/>
                <a:gd name="connsiteX983" fmla="*/ 301466 w 1502283"/>
                <a:gd name="connsiteY983" fmla="*/ 932783 h 1161573"/>
                <a:gd name="connsiteX984" fmla="*/ 294418 w 1502283"/>
                <a:gd name="connsiteY984" fmla="*/ 940118 h 1161573"/>
                <a:gd name="connsiteX985" fmla="*/ 294227 w 1502283"/>
                <a:gd name="connsiteY985" fmla="*/ 951357 h 1161573"/>
                <a:gd name="connsiteX986" fmla="*/ 303086 w 1502283"/>
                <a:gd name="connsiteY986" fmla="*/ 958215 h 1161573"/>
                <a:gd name="connsiteX987" fmla="*/ 306229 w 1502283"/>
                <a:gd name="connsiteY987" fmla="*/ 957834 h 1161573"/>
                <a:gd name="connsiteX988" fmla="*/ 321088 w 1502283"/>
                <a:gd name="connsiteY988" fmla="*/ 973550 h 1161573"/>
                <a:gd name="connsiteX989" fmla="*/ 326612 w 1502283"/>
                <a:gd name="connsiteY989" fmla="*/ 979265 h 1161573"/>
                <a:gd name="connsiteX990" fmla="*/ 366141 w 1502283"/>
                <a:gd name="connsiteY990" fmla="*/ 999934 h 1161573"/>
                <a:gd name="connsiteX991" fmla="*/ 378428 w 1502283"/>
                <a:gd name="connsiteY991" fmla="*/ 1008031 h 1161573"/>
                <a:gd name="connsiteX992" fmla="*/ 388715 w 1502283"/>
                <a:gd name="connsiteY992" fmla="*/ 1013174 h 1161573"/>
                <a:gd name="connsiteX993" fmla="*/ 400526 w 1502283"/>
                <a:gd name="connsiteY993" fmla="*/ 1018032 h 1161573"/>
                <a:gd name="connsiteX994" fmla="*/ 408622 w 1502283"/>
                <a:gd name="connsiteY994" fmla="*/ 1018603 h 1161573"/>
                <a:gd name="connsiteX995" fmla="*/ 411766 w 1502283"/>
                <a:gd name="connsiteY995" fmla="*/ 1018223 h 1161573"/>
                <a:gd name="connsiteX996" fmla="*/ 411385 w 1502283"/>
                <a:gd name="connsiteY996" fmla="*/ 1015079 h 1161573"/>
                <a:gd name="connsiteX997" fmla="*/ 414719 w 1502283"/>
                <a:gd name="connsiteY997" fmla="*/ 1016222 h 1161573"/>
                <a:gd name="connsiteX998" fmla="*/ 416528 w 1502283"/>
                <a:gd name="connsiteY998" fmla="*/ 1017556 h 1161573"/>
                <a:gd name="connsiteX999" fmla="*/ 429768 w 1502283"/>
                <a:gd name="connsiteY999" fmla="*/ 1020699 h 1161573"/>
                <a:gd name="connsiteX1000" fmla="*/ 430911 w 1502283"/>
                <a:gd name="connsiteY1000" fmla="*/ 1017365 h 1161573"/>
                <a:gd name="connsiteX1001" fmla="*/ 435864 w 1502283"/>
                <a:gd name="connsiteY1001" fmla="*/ 1018318 h 1161573"/>
                <a:gd name="connsiteX1002" fmla="*/ 437674 w 1502283"/>
                <a:gd name="connsiteY1002" fmla="*/ 1019651 h 1161573"/>
                <a:gd name="connsiteX1003" fmla="*/ 440627 w 1502283"/>
                <a:gd name="connsiteY1003" fmla="*/ 1017651 h 1161573"/>
                <a:gd name="connsiteX1004" fmla="*/ 440246 w 1502283"/>
                <a:gd name="connsiteY1004" fmla="*/ 1014508 h 1161573"/>
                <a:gd name="connsiteX1005" fmla="*/ 469868 w 1502283"/>
                <a:gd name="connsiteY1005" fmla="*/ 1020318 h 1161573"/>
                <a:gd name="connsiteX1006" fmla="*/ 507206 w 1502283"/>
                <a:gd name="connsiteY1006" fmla="*/ 1023557 h 1161573"/>
                <a:gd name="connsiteX1007" fmla="*/ 517303 w 1502283"/>
                <a:gd name="connsiteY1007" fmla="*/ 1027081 h 1161573"/>
                <a:gd name="connsiteX1008" fmla="*/ 518922 w 1502283"/>
                <a:gd name="connsiteY1008" fmla="*/ 1026890 h 1161573"/>
                <a:gd name="connsiteX1009" fmla="*/ 521684 w 1502283"/>
                <a:gd name="connsiteY1009" fmla="*/ 1023366 h 1161573"/>
                <a:gd name="connsiteX1010" fmla="*/ 529590 w 1502283"/>
                <a:gd name="connsiteY1010" fmla="*/ 1022318 h 1161573"/>
                <a:gd name="connsiteX1011" fmla="*/ 542830 w 1502283"/>
                <a:gd name="connsiteY1011" fmla="*/ 1025461 h 1161573"/>
                <a:gd name="connsiteX1012" fmla="*/ 547306 w 1502283"/>
                <a:gd name="connsiteY1012" fmla="*/ 1023271 h 1161573"/>
                <a:gd name="connsiteX1013" fmla="*/ 554641 w 1502283"/>
                <a:gd name="connsiteY1013" fmla="*/ 1030319 h 1161573"/>
                <a:gd name="connsiteX1014" fmla="*/ 567880 w 1502283"/>
                <a:gd name="connsiteY1014" fmla="*/ 1033463 h 1161573"/>
                <a:gd name="connsiteX1015" fmla="*/ 573596 w 1502283"/>
                <a:gd name="connsiteY1015" fmla="*/ 1027938 h 1161573"/>
                <a:gd name="connsiteX1016" fmla="*/ 574357 w 1502283"/>
                <a:gd name="connsiteY1016" fmla="*/ 1021461 h 1161573"/>
                <a:gd name="connsiteX1017" fmla="*/ 575691 w 1502283"/>
                <a:gd name="connsiteY1017" fmla="*/ 1019651 h 1161573"/>
                <a:gd name="connsiteX1018" fmla="*/ 575310 w 1502283"/>
                <a:gd name="connsiteY1018" fmla="*/ 1016508 h 1161573"/>
                <a:gd name="connsiteX1019" fmla="*/ 577691 w 1502283"/>
                <a:gd name="connsiteY1019" fmla="*/ 1022604 h 1161573"/>
                <a:gd name="connsiteX1020" fmla="*/ 582263 w 1502283"/>
                <a:gd name="connsiteY1020" fmla="*/ 1020413 h 1161573"/>
                <a:gd name="connsiteX1021" fmla="*/ 584263 w 1502283"/>
                <a:gd name="connsiteY1021" fmla="*/ 1023366 h 1161573"/>
                <a:gd name="connsiteX1022" fmla="*/ 586264 w 1502283"/>
                <a:gd name="connsiteY1022" fmla="*/ 1026319 h 1161573"/>
                <a:gd name="connsiteX1023" fmla="*/ 583502 w 1502283"/>
                <a:gd name="connsiteY1023" fmla="*/ 1029843 h 1161573"/>
                <a:gd name="connsiteX1024" fmla="*/ 587216 w 1502283"/>
                <a:gd name="connsiteY1024" fmla="*/ 1034129 h 1161573"/>
                <a:gd name="connsiteX1025" fmla="*/ 588550 w 1502283"/>
                <a:gd name="connsiteY1025" fmla="*/ 1032319 h 1161573"/>
                <a:gd name="connsiteX1026" fmla="*/ 588931 w 1502283"/>
                <a:gd name="connsiteY1026" fmla="*/ 1035463 h 1161573"/>
                <a:gd name="connsiteX1027" fmla="*/ 599980 w 1502283"/>
                <a:gd name="connsiteY1027" fmla="*/ 1034034 h 1161573"/>
                <a:gd name="connsiteX1028" fmla="*/ 600170 w 1502283"/>
                <a:gd name="connsiteY1028" fmla="*/ 1035653 h 1161573"/>
                <a:gd name="connsiteX1029" fmla="*/ 603313 w 1502283"/>
                <a:gd name="connsiteY1029" fmla="*/ 1035272 h 1161573"/>
                <a:gd name="connsiteX1030" fmla="*/ 606266 w 1502283"/>
                <a:gd name="connsiteY1030" fmla="*/ 1033272 h 1161573"/>
                <a:gd name="connsiteX1031" fmla="*/ 607219 w 1502283"/>
                <a:gd name="connsiteY1031" fmla="*/ 1028319 h 1161573"/>
                <a:gd name="connsiteX1032" fmla="*/ 608647 w 1502283"/>
                <a:gd name="connsiteY1032" fmla="*/ 1026509 h 1161573"/>
                <a:gd name="connsiteX1033" fmla="*/ 609790 w 1502283"/>
                <a:gd name="connsiteY1033" fmla="*/ 1023176 h 1161573"/>
                <a:gd name="connsiteX1034" fmla="*/ 611410 w 1502283"/>
                <a:gd name="connsiteY1034" fmla="*/ 1022985 h 1161573"/>
                <a:gd name="connsiteX1035" fmla="*/ 613410 w 1502283"/>
                <a:gd name="connsiteY1035" fmla="*/ 1025938 h 1161573"/>
                <a:gd name="connsiteX1036" fmla="*/ 619125 w 1502283"/>
                <a:gd name="connsiteY1036" fmla="*/ 1020413 h 1161573"/>
                <a:gd name="connsiteX1037" fmla="*/ 620935 w 1502283"/>
                <a:gd name="connsiteY1037" fmla="*/ 1021747 h 1161573"/>
                <a:gd name="connsiteX1038" fmla="*/ 623888 w 1502283"/>
                <a:gd name="connsiteY1038" fmla="*/ 1019747 h 1161573"/>
                <a:gd name="connsiteX1039" fmla="*/ 626078 w 1502283"/>
                <a:gd name="connsiteY1039" fmla="*/ 1011460 h 1161573"/>
                <a:gd name="connsiteX1040" fmla="*/ 627412 w 1502283"/>
                <a:gd name="connsiteY1040" fmla="*/ 1009650 h 1161573"/>
                <a:gd name="connsiteX1041" fmla="*/ 628364 w 1502283"/>
                <a:gd name="connsiteY1041" fmla="*/ 1004697 h 1161573"/>
                <a:gd name="connsiteX1042" fmla="*/ 633889 w 1502283"/>
                <a:gd name="connsiteY1042" fmla="*/ 997553 h 1161573"/>
                <a:gd name="connsiteX1043" fmla="*/ 639985 w 1502283"/>
                <a:gd name="connsiteY1043" fmla="*/ 995172 h 1161573"/>
                <a:gd name="connsiteX1044" fmla="*/ 644366 w 1502283"/>
                <a:gd name="connsiteY1044" fmla="*/ 991457 h 1161573"/>
                <a:gd name="connsiteX1045" fmla="*/ 644938 w 1502283"/>
                <a:gd name="connsiteY1045" fmla="*/ 983361 h 1161573"/>
                <a:gd name="connsiteX1046" fmla="*/ 643128 w 1502283"/>
                <a:gd name="connsiteY1046" fmla="*/ 982027 h 1161573"/>
                <a:gd name="connsiteX1047" fmla="*/ 642938 w 1502283"/>
                <a:gd name="connsiteY1047" fmla="*/ 980408 h 1161573"/>
                <a:gd name="connsiteX1048" fmla="*/ 645128 w 1502283"/>
                <a:gd name="connsiteY1048" fmla="*/ 972122 h 1161573"/>
                <a:gd name="connsiteX1049" fmla="*/ 650462 w 1502283"/>
                <a:gd name="connsiteY1049" fmla="*/ 963454 h 1161573"/>
                <a:gd name="connsiteX1050" fmla="*/ 649700 w 1502283"/>
                <a:gd name="connsiteY1050" fmla="*/ 957167 h 1161573"/>
                <a:gd name="connsiteX1051" fmla="*/ 652463 w 1502283"/>
                <a:gd name="connsiteY1051" fmla="*/ 953643 h 1161573"/>
                <a:gd name="connsiteX1052" fmla="*/ 661130 w 1502283"/>
                <a:gd name="connsiteY1052" fmla="*/ 946118 h 1161573"/>
                <a:gd name="connsiteX1053" fmla="*/ 660940 w 1502283"/>
                <a:gd name="connsiteY1053" fmla="*/ 944499 h 1161573"/>
                <a:gd name="connsiteX1054" fmla="*/ 657606 w 1502283"/>
                <a:gd name="connsiteY1054" fmla="*/ 943356 h 1161573"/>
                <a:gd name="connsiteX1055" fmla="*/ 660749 w 1502283"/>
                <a:gd name="connsiteY1055" fmla="*/ 942975 h 1161573"/>
                <a:gd name="connsiteX1056" fmla="*/ 671417 w 1502283"/>
                <a:gd name="connsiteY1056" fmla="*/ 951262 h 1161573"/>
                <a:gd name="connsiteX1057" fmla="*/ 687610 w 1502283"/>
                <a:gd name="connsiteY1057" fmla="*/ 952405 h 1161573"/>
                <a:gd name="connsiteX1058" fmla="*/ 698468 w 1502283"/>
                <a:gd name="connsiteY1058" fmla="*/ 949452 h 1161573"/>
                <a:gd name="connsiteX1059" fmla="*/ 700659 w 1502283"/>
                <a:gd name="connsiteY1059" fmla="*/ 954024 h 1161573"/>
                <a:gd name="connsiteX1060" fmla="*/ 705231 w 1502283"/>
                <a:gd name="connsiteY1060" fmla="*/ 951833 h 1161573"/>
                <a:gd name="connsiteX1061" fmla="*/ 710565 w 1502283"/>
                <a:gd name="connsiteY1061" fmla="*/ 943166 h 1161573"/>
                <a:gd name="connsiteX1062" fmla="*/ 714661 w 1502283"/>
                <a:gd name="connsiteY1062" fmla="*/ 937832 h 1161573"/>
                <a:gd name="connsiteX1063" fmla="*/ 725519 w 1502283"/>
                <a:gd name="connsiteY1063" fmla="*/ 947642 h 1161573"/>
                <a:gd name="connsiteX1064" fmla="*/ 727520 w 1502283"/>
                <a:gd name="connsiteY1064" fmla="*/ 950595 h 1161573"/>
                <a:gd name="connsiteX1065" fmla="*/ 735044 w 1502283"/>
                <a:gd name="connsiteY1065" fmla="*/ 959263 h 1161573"/>
                <a:gd name="connsiteX1066" fmla="*/ 746474 w 1502283"/>
                <a:gd name="connsiteY1066" fmla="*/ 960977 h 1161573"/>
                <a:gd name="connsiteX1067" fmla="*/ 755142 w 1502283"/>
                <a:gd name="connsiteY1067" fmla="*/ 966311 h 1161573"/>
                <a:gd name="connsiteX1068" fmla="*/ 754380 w 1502283"/>
                <a:gd name="connsiteY1068" fmla="*/ 972788 h 1161573"/>
                <a:gd name="connsiteX1069" fmla="*/ 765810 w 1502283"/>
                <a:gd name="connsiteY1069" fmla="*/ 974503 h 1161573"/>
                <a:gd name="connsiteX1070" fmla="*/ 770572 w 1502283"/>
                <a:gd name="connsiteY1070" fmla="*/ 973931 h 1161573"/>
                <a:gd name="connsiteX1071" fmla="*/ 780193 w 1502283"/>
                <a:gd name="connsiteY1071" fmla="*/ 974312 h 1161573"/>
                <a:gd name="connsiteX1072" fmla="*/ 781812 w 1502283"/>
                <a:gd name="connsiteY1072" fmla="*/ 974122 h 1161573"/>
                <a:gd name="connsiteX1073" fmla="*/ 782764 w 1502283"/>
                <a:gd name="connsiteY1073" fmla="*/ 969169 h 1161573"/>
                <a:gd name="connsiteX1074" fmla="*/ 790480 w 1502283"/>
                <a:gd name="connsiteY1074" fmla="*/ 966597 h 1161573"/>
                <a:gd name="connsiteX1075" fmla="*/ 790670 w 1502283"/>
                <a:gd name="connsiteY1075" fmla="*/ 968216 h 1161573"/>
                <a:gd name="connsiteX1076" fmla="*/ 797338 w 1502283"/>
                <a:gd name="connsiteY1076" fmla="*/ 970598 h 1161573"/>
                <a:gd name="connsiteX1077" fmla="*/ 804005 w 1502283"/>
                <a:gd name="connsiteY1077" fmla="*/ 972979 h 1161573"/>
                <a:gd name="connsiteX1078" fmla="*/ 806387 w 1502283"/>
                <a:gd name="connsiteY1078" fmla="*/ 979075 h 1161573"/>
                <a:gd name="connsiteX1079" fmla="*/ 813721 w 1502283"/>
                <a:gd name="connsiteY1079" fmla="*/ 986123 h 1161573"/>
                <a:gd name="connsiteX1080" fmla="*/ 817150 w 1502283"/>
                <a:gd name="connsiteY1080" fmla="*/ 1000125 h 1161573"/>
                <a:gd name="connsiteX1081" fmla="*/ 818197 w 1502283"/>
                <a:gd name="connsiteY1081" fmla="*/ 1008031 h 1161573"/>
                <a:gd name="connsiteX1082" fmla="*/ 812863 w 1502283"/>
                <a:gd name="connsiteY1082" fmla="*/ 1016699 h 1161573"/>
                <a:gd name="connsiteX1083" fmla="*/ 813245 w 1502283"/>
                <a:gd name="connsiteY1083" fmla="*/ 1019842 h 1161573"/>
                <a:gd name="connsiteX1084" fmla="*/ 817436 w 1502283"/>
                <a:gd name="connsiteY1084" fmla="*/ 1027367 h 1161573"/>
                <a:gd name="connsiteX1085" fmla="*/ 819817 w 1502283"/>
                <a:gd name="connsiteY1085" fmla="*/ 1033463 h 1161573"/>
                <a:gd name="connsiteX1086" fmla="*/ 822960 w 1502283"/>
                <a:gd name="connsiteY1086" fmla="*/ 1033082 h 1161573"/>
                <a:gd name="connsiteX1087" fmla="*/ 833247 w 1502283"/>
                <a:gd name="connsiteY1087" fmla="*/ 1025366 h 1161573"/>
                <a:gd name="connsiteX1088" fmla="*/ 834771 w 1502283"/>
                <a:gd name="connsiteY1088" fmla="*/ 1025176 h 1161573"/>
                <a:gd name="connsiteX1089" fmla="*/ 836200 w 1502283"/>
                <a:gd name="connsiteY1089" fmla="*/ 1023366 h 1161573"/>
                <a:gd name="connsiteX1090" fmla="*/ 844105 w 1502283"/>
                <a:gd name="connsiteY1090" fmla="*/ 1022318 h 1161573"/>
                <a:gd name="connsiteX1091" fmla="*/ 849058 w 1502283"/>
                <a:gd name="connsiteY1091" fmla="*/ 1023271 h 1161573"/>
                <a:gd name="connsiteX1092" fmla="*/ 850868 w 1502283"/>
                <a:gd name="connsiteY1092" fmla="*/ 1024604 h 1161573"/>
                <a:gd name="connsiteX1093" fmla="*/ 854012 w 1502283"/>
                <a:gd name="connsiteY1093" fmla="*/ 1024223 h 1161573"/>
                <a:gd name="connsiteX1094" fmla="*/ 852678 w 1502283"/>
                <a:gd name="connsiteY1094" fmla="*/ 1026033 h 1161573"/>
                <a:gd name="connsiteX1095" fmla="*/ 852869 w 1502283"/>
                <a:gd name="connsiteY1095" fmla="*/ 1027652 h 1161573"/>
                <a:gd name="connsiteX1096" fmla="*/ 856012 w 1502283"/>
                <a:gd name="connsiteY1096" fmla="*/ 1027271 h 1161573"/>
                <a:gd name="connsiteX1097" fmla="*/ 857822 w 1502283"/>
                <a:gd name="connsiteY1097" fmla="*/ 1028605 h 1161573"/>
                <a:gd name="connsiteX1098" fmla="*/ 858203 w 1502283"/>
                <a:gd name="connsiteY1098" fmla="*/ 1031748 h 1161573"/>
                <a:gd name="connsiteX1099" fmla="*/ 865918 w 1502283"/>
                <a:gd name="connsiteY1099" fmla="*/ 1029176 h 1161573"/>
                <a:gd name="connsiteX1100" fmla="*/ 870109 w 1502283"/>
                <a:gd name="connsiteY1100" fmla="*/ 1036701 h 1161573"/>
                <a:gd name="connsiteX1101" fmla="*/ 870680 w 1502283"/>
                <a:gd name="connsiteY1101" fmla="*/ 1041464 h 1161573"/>
                <a:gd name="connsiteX1102" fmla="*/ 874205 w 1502283"/>
                <a:gd name="connsiteY1102" fmla="*/ 1044226 h 1161573"/>
                <a:gd name="connsiteX1103" fmla="*/ 874395 w 1502283"/>
                <a:gd name="connsiteY1103" fmla="*/ 1045845 h 1161573"/>
                <a:gd name="connsiteX1104" fmla="*/ 878967 w 1502283"/>
                <a:gd name="connsiteY1104" fmla="*/ 1043654 h 1161573"/>
                <a:gd name="connsiteX1105" fmla="*/ 884682 w 1502283"/>
                <a:gd name="connsiteY1105" fmla="*/ 1050893 h 1161573"/>
                <a:gd name="connsiteX1106" fmla="*/ 886301 w 1502283"/>
                <a:gd name="connsiteY1106" fmla="*/ 1050703 h 1161573"/>
                <a:gd name="connsiteX1107" fmla="*/ 889254 w 1502283"/>
                <a:gd name="connsiteY1107" fmla="*/ 1048702 h 1161573"/>
                <a:gd name="connsiteX1108" fmla="*/ 891064 w 1502283"/>
                <a:gd name="connsiteY1108" fmla="*/ 1050036 h 1161573"/>
                <a:gd name="connsiteX1109" fmla="*/ 895826 w 1502283"/>
                <a:gd name="connsiteY1109" fmla="*/ 1049465 h 1161573"/>
                <a:gd name="connsiteX1110" fmla="*/ 902780 w 1502283"/>
                <a:gd name="connsiteY1110" fmla="*/ 1053370 h 1161573"/>
                <a:gd name="connsiteX1111" fmla="*/ 904970 w 1502283"/>
                <a:gd name="connsiteY1111" fmla="*/ 1057942 h 1161573"/>
                <a:gd name="connsiteX1112" fmla="*/ 908875 w 1502283"/>
                <a:gd name="connsiteY1112" fmla="*/ 1050989 h 1161573"/>
                <a:gd name="connsiteX1113" fmla="*/ 913829 w 1502283"/>
                <a:gd name="connsiteY1113" fmla="*/ 1051941 h 1161573"/>
                <a:gd name="connsiteX1114" fmla="*/ 923449 w 1502283"/>
                <a:gd name="connsiteY1114" fmla="*/ 1052322 h 1161573"/>
                <a:gd name="connsiteX1115" fmla="*/ 928973 w 1502283"/>
                <a:gd name="connsiteY1115" fmla="*/ 1045178 h 1161573"/>
                <a:gd name="connsiteX1116" fmla="*/ 934498 w 1502283"/>
                <a:gd name="connsiteY1116" fmla="*/ 1050893 h 1161573"/>
                <a:gd name="connsiteX1117" fmla="*/ 953643 w 1502283"/>
                <a:gd name="connsiteY1117" fmla="*/ 1050036 h 1161573"/>
                <a:gd name="connsiteX1118" fmla="*/ 960120 w 1502283"/>
                <a:gd name="connsiteY1118" fmla="*/ 1037939 h 1161573"/>
                <a:gd name="connsiteX1119" fmla="*/ 964311 w 1502283"/>
                <a:gd name="connsiteY1119" fmla="*/ 1045464 h 1161573"/>
                <a:gd name="connsiteX1120" fmla="*/ 974027 w 1502283"/>
                <a:gd name="connsiteY1120" fmla="*/ 1045845 h 1161573"/>
                <a:gd name="connsiteX1121" fmla="*/ 976979 w 1502283"/>
                <a:gd name="connsiteY1121" fmla="*/ 1043845 h 1161573"/>
                <a:gd name="connsiteX1122" fmla="*/ 980504 w 1502283"/>
                <a:gd name="connsiteY1122" fmla="*/ 1046607 h 1161573"/>
                <a:gd name="connsiteX1123" fmla="*/ 977360 w 1502283"/>
                <a:gd name="connsiteY1123" fmla="*/ 1046988 h 1161573"/>
                <a:gd name="connsiteX1124" fmla="*/ 979551 w 1502283"/>
                <a:gd name="connsiteY1124" fmla="*/ 1051560 h 1161573"/>
                <a:gd name="connsiteX1125" fmla="*/ 983266 w 1502283"/>
                <a:gd name="connsiteY1125" fmla="*/ 1055846 h 1161573"/>
                <a:gd name="connsiteX1126" fmla="*/ 981932 w 1502283"/>
                <a:gd name="connsiteY1126" fmla="*/ 1057656 h 1161573"/>
                <a:gd name="connsiteX1127" fmla="*/ 987266 w 1502283"/>
                <a:gd name="connsiteY1127" fmla="*/ 1061752 h 1161573"/>
                <a:gd name="connsiteX1128" fmla="*/ 988028 w 1502283"/>
                <a:gd name="connsiteY1128" fmla="*/ 1068038 h 1161573"/>
                <a:gd name="connsiteX1129" fmla="*/ 988409 w 1502283"/>
                <a:gd name="connsiteY1129" fmla="*/ 1071182 h 1161573"/>
                <a:gd name="connsiteX1130" fmla="*/ 987266 w 1502283"/>
                <a:gd name="connsiteY1130" fmla="*/ 1074515 h 1161573"/>
                <a:gd name="connsiteX1131" fmla="*/ 989076 w 1502283"/>
                <a:gd name="connsiteY1131" fmla="*/ 1075849 h 1161573"/>
                <a:gd name="connsiteX1132" fmla="*/ 987743 w 1502283"/>
                <a:gd name="connsiteY1132" fmla="*/ 1077659 h 1161573"/>
                <a:gd name="connsiteX1133" fmla="*/ 988123 w 1502283"/>
                <a:gd name="connsiteY1133" fmla="*/ 1080802 h 1161573"/>
                <a:gd name="connsiteX1134" fmla="*/ 986504 w 1502283"/>
                <a:gd name="connsiteY1134" fmla="*/ 1080992 h 1161573"/>
                <a:gd name="connsiteX1135" fmla="*/ 986695 w 1502283"/>
                <a:gd name="connsiteY1135" fmla="*/ 1082611 h 1161573"/>
                <a:gd name="connsiteX1136" fmla="*/ 984123 w 1502283"/>
                <a:gd name="connsiteY1136" fmla="*/ 1087755 h 1161573"/>
                <a:gd name="connsiteX1137" fmla="*/ 984695 w 1502283"/>
                <a:gd name="connsiteY1137" fmla="*/ 1092518 h 1161573"/>
                <a:gd name="connsiteX1138" fmla="*/ 991362 w 1502283"/>
                <a:gd name="connsiteY1138" fmla="*/ 1094899 h 1161573"/>
                <a:gd name="connsiteX1139" fmla="*/ 993553 w 1502283"/>
                <a:gd name="connsiteY1139" fmla="*/ 1099471 h 1161573"/>
                <a:gd name="connsiteX1140" fmla="*/ 992219 w 1502283"/>
                <a:gd name="connsiteY1140" fmla="*/ 1101281 h 1161573"/>
                <a:gd name="connsiteX1141" fmla="*/ 994029 w 1502283"/>
                <a:gd name="connsiteY1141" fmla="*/ 1102614 h 1161573"/>
                <a:gd name="connsiteX1142" fmla="*/ 992696 w 1502283"/>
                <a:gd name="connsiteY1142" fmla="*/ 1104424 h 1161573"/>
                <a:gd name="connsiteX1143" fmla="*/ 994886 w 1502283"/>
                <a:gd name="connsiteY1143" fmla="*/ 1108996 h 1161573"/>
                <a:gd name="connsiteX1144" fmla="*/ 993934 w 1502283"/>
                <a:gd name="connsiteY1144" fmla="*/ 1113949 h 1161573"/>
                <a:gd name="connsiteX1145" fmla="*/ 990981 w 1502283"/>
                <a:gd name="connsiteY1145" fmla="*/ 1115949 h 1161573"/>
                <a:gd name="connsiteX1146" fmla="*/ 993362 w 1502283"/>
                <a:gd name="connsiteY1146" fmla="*/ 1122045 h 1161573"/>
                <a:gd name="connsiteX1147" fmla="*/ 992029 w 1502283"/>
                <a:gd name="connsiteY1147" fmla="*/ 1123855 h 1161573"/>
                <a:gd name="connsiteX1148" fmla="*/ 995744 w 1502283"/>
                <a:gd name="connsiteY1148" fmla="*/ 1128141 h 1161573"/>
                <a:gd name="connsiteX1149" fmla="*/ 997363 w 1502283"/>
                <a:gd name="connsiteY1149" fmla="*/ 1127951 h 1161573"/>
                <a:gd name="connsiteX1150" fmla="*/ 997934 w 1502283"/>
                <a:gd name="connsiteY1150" fmla="*/ 1132713 h 1161573"/>
                <a:gd name="connsiteX1151" fmla="*/ 996601 w 1502283"/>
                <a:gd name="connsiteY1151" fmla="*/ 1134523 h 1161573"/>
                <a:gd name="connsiteX1152" fmla="*/ 997363 w 1502283"/>
                <a:gd name="connsiteY1152" fmla="*/ 1140809 h 1161573"/>
                <a:gd name="connsiteX1153" fmla="*/ 993457 w 1502283"/>
                <a:gd name="connsiteY1153" fmla="*/ 1147763 h 1161573"/>
                <a:gd name="connsiteX1154" fmla="*/ 992505 w 1502283"/>
                <a:gd name="connsiteY1154" fmla="*/ 1152716 h 1161573"/>
                <a:gd name="connsiteX1155" fmla="*/ 999172 w 1502283"/>
                <a:gd name="connsiteY1155" fmla="*/ 1155097 h 1161573"/>
                <a:gd name="connsiteX1156" fmla="*/ 1007459 w 1502283"/>
                <a:gd name="connsiteY1156" fmla="*/ 1157288 h 1161573"/>
                <a:gd name="connsiteX1157" fmla="*/ 1011174 w 1502283"/>
                <a:gd name="connsiteY1157" fmla="*/ 1161574 h 1161573"/>
                <a:gd name="connsiteX1158" fmla="*/ 1010983 w 1502283"/>
                <a:gd name="connsiteY1158" fmla="*/ 1159955 h 1161573"/>
                <a:gd name="connsiteX1159" fmla="*/ 1010412 w 1502283"/>
                <a:gd name="connsiteY1159" fmla="*/ 1155192 h 1161573"/>
                <a:gd name="connsiteX1160" fmla="*/ 1015365 w 1502283"/>
                <a:gd name="connsiteY1160" fmla="*/ 1156144 h 1161573"/>
                <a:gd name="connsiteX1161" fmla="*/ 1016889 w 1502283"/>
                <a:gd name="connsiteY1161" fmla="*/ 1155954 h 1161573"/>
                <a:gd name="connsiteX1162" fmla="*/ 1015079 w 1502283"/>
                <a:gd name="connsiteY1162" fmla="*/ 1154621 h 1161573"/>
                <a:gd name="connsiteX1163" fmla="*/ 1014698 w 1502283"/>
                <a:gd name="connsiteY1163" fmla="*/ 1151477 h 1161573"/>
                <a:gd name="connsiteX1164" fmla="*/ 1017841 w 1502283"/>
                <a:gd name="connsiteY1164" fmla="*/ 1151096 h 1161573"/>
                <a:gd name="connsiteX1165" fmla="*/ 1017080 w 1502283"/>
                <a:gd name="connsiteY1165" fmla="*/ 1144810 h 1161573"/>
                <a:gd name="connsiteX1166" fmla="*/ 1018604 w 1502283"/>
                <a:gd name="connsiteY1166" fmla="*/ 1144619 h 1161573"/>
                <a:gd name="connsiteX1167" fmla="*/ 1020794 w 1502283"/>
                <a:gd name="connsiteY1167" fmla="*/ 1149191 h 1161573"/>
                <a:gd name="connsiteX1168" fmla="*/ 1020223 w 1502283"/>
                <a:gd name="connsiteY1168" fmla="*/ 1144429 h 1161573"/>
                <a:gd name="connsiteX1169" fmla="*/ 1025366 w 1502283"/>
                <a:gd name="connsiteY1169" fmla="*/ 1147001 h 1161573"/>
                <a:gd name="connsiteX1170" fmla="*/ 1026795 w 1502283"/>
                <a:gd name="connsiteY1170" fmla="*/ 1145191 h 1161573"/>
                <a:gd name="connsiteX1171" fmla="*/ 1023271 w 1502283"/>
                <a:gd name="connsiteY1171" fmla="*/ 1142428 h 1161573"/>
                <a:gd name="connsiteX1172" fmla="*/ 1026414 w 1502283"/>
                <a:gd name="connsiteY1172" fmla="*/ 1142048 h 1161573"/>
                <a:gd name="connsiteX1173" fmla="*/ 1020508 w 1502283"/>
                <a:gd name="connsiteY1173" fmla="*/ 1133189 h 1161573"/>
                <a:gd name="connsiteX1174" fmla="*/ 1021937 w 1502283"/>
                <a:gd name="connsiteY1174" fmla="*/ 1131380 h 1161573"/>
                <a:gd name="connsiteX1175" fmla="*/ 1027271 w 1502283"/>
                <a:gd name="connsiteY1175" fmla="*/ 1135475 h 1161573"/>
                <a:gd name="connsiteX1176" fmla="*/ 1025080 w 1502283"/>
                <a:gd name="connsiteY1176" fmla="*/ 1130903 h 1161573"/>
                <a:gd name="connsiteX1177" fmla="*/ 1029653 w 1502283"/>
                <a:gd name="connsiteY1177" fmla="*/ 1128713 h 1161573"/>
                <a:gd name="connsiteX1178" fmla="*/ 1024319 w 1502283"/>
                <a:gd name="connsiteY1178" fmla="*/ 1124617 h 1161573"/>
                <a:gd name="connsiteX1179" fmla="*/ 1032034 w 1502283"/>
                <a:gd name="connsiteY1179" fmla="*/ 1122045 h 1161573"/>
                <a:gd name="connsiteX1180" fmla="*/ 1026700 w 1502283"/>
                <a:gd name="connsiteY1180" fmla="*/ 1117949 h 1161573"/>
                <a:gd name="connsiteX1181" fmla="*/ 1026223 w 1502283"/>
                <a:gd name="connsiteY1181" fmla="*/ 1101947 h 1161573"/>
                <a:gd name="connsiteX1182" fmla="*/ 1030510 w 1502283"/>
                <a:gd name="connsiteY1182" fmla="*/ 1098233 h 1161573"/>
                <a:gd name="connsiteX1183" fmla="*/ 1026795 w 1502283"/>
                <a:gd name="connsiteY1183" fmla="*/ 1093946 h 1161573"/>
                <a:gd name="connsiteX1184" fmla="*/ 1028129 w 1502283"/>
                <a:gd name="connsiteY1184" fmla="*/ 1092136 h 1161573"/>
                <a:gd name="connsiteX1185" fmla="*/ 1030319 w 1502283"/>
                <a:gd name="connsiteY1185" fmla="*/ 1096709 h 1161573"/>
                <a:gd name="connsiteX1186" fmla="*/ 1031653 w 1502283"/>
                <a:gd name="connsiteY1186" fmla="*/ 1094899 h 1161573"/>
                <a:gd name="connsiteX1187" fmla="*/ 1030891 w 1502283"/>
                <a:gd name="connsiteY1187" fmla="*/ 1088612 h 1161573"/>
                <a:gd name="connsiteX1188" fmla="*/ 1032510 w 1502283"/>
                <a:gd name="connsiteY1188" fmla="*/ 1088422 h 1161573"/>
                <a:gd name="connsiteX1189" fmla="*/ 1031938 w 1502283"/>
                <a:gd name="connsiteY1189" fmla="*/ 1083659 h 1161573"/>
                <a:gd name="connsiteX1190" fmla="*/ 1034891 w 1502283"/>
                <a:gd name="connsiteY1190" fmla="*/ 1081659 h 1161573"/>
                <a:gd name="connsiteX1191" fmla="*/ 1034129 w 1502283"/>
                <a:gd name="connsiteY1191" fmla="*/ 1075373 h 1161573"/>
                <a:gd name="connsiteX1192" fmla="*/ 1035463 w 1502283"/>
                <a:gd name="connsiteY1192" fmla="*/ 1073563 h 1161573"/>
                <a:gd name="connsiteX1193" fmla="*/ 1038987 w 1502283"/>
                <a:gd name="connsiteY1193" fmla="*/ 1076325 h 1161573"/>
                <a:gd name="connsiteX1194" fmla="*/ 1042130 w 1502283"/>
                <a:gd name="connsiteY1194" fmla="*/ 1075944 h 1161573"/>
                <a:gd name="connsiteX1195" fmla="*/ 1041940 w 1502283"/>
                <a:gd name="connsiteY1195" fmla="*/ 1074325 h 1161573"/>
                <a:gd name="connsiteX1196" fmla="*/ 1043083 w 1502283"/>
                <a:gd name="connsiteY1196" fmla="*/ 1070991 h 1161573"/>
                <a:gd name="connsiteX1197" fmla="*/ 1046607 w 1502283"/>
                <a:gd name="connsiteY1197" fmla="*/ 1073753 h 1161573"/>
                <a:gd name="connsiteX1198" fmla="*/ 1049179 w 1502283"/>
                <a:gd name="connsiteY1198" fmla="*/ 1068610 h 1161573"/>
                <a:gd name="connsiteX1199" fmla="*/ 1044416 w 1502283"/>
                <a:gd name="connsiteY1199" fmla="*/ 1069181 h 1161573"/>
                <a:gd name="connsiteX1200" fmla="*/ 1045750 w 1502283"/>
                <a:gd name="connsiteY1200" fmla="*/ 1067372 h 1161573"/>
                <a:gd name="connsiteX1201" fmla="*/ 1042416 w 1502283"/>
                <a:gd name="connsiteY1201" fmla="*/ 1066228 h 1161573"/>
                <a:gd name="connsiteX1202" fmla="*/ 1043749 w 1502283"/>
                <a:gd name="connsiteY1202" fmla="*/ 1064419 h 1161573"/>
                <a:gd name="connsiteX1203" fmla="*/ 1053179 w 1502283"/>
                <a:gd name="connsiteY1203" fmla="*/ 1063181 h 1161573"/>
                <a:gd name="connsiteX1204" fmla="*/ 1048036 w 1502283"/>
                <a:gd name="connsiteY1204" fmla="*/ 1060609 h 1161573"/>
                <a:gd name="connsiteX1205" fmla="*/ 1049179 w 1502283"/>
                <a:gd name="connsiteY1205" fmla="*/ 1057275 h 1161573"/>
                <a:gd name="connsiteX1206" fmla="*/ 1047845 w 1502283"/>
                <a:gd name="connsiteY1206" fmla="*/ 1059085 h 1161573"/>
                <a:gd name="connsiteX1207" fmla="*/ 1046036 w 1502283"/>
                <a:gd name="connsiteY1207" fmla="*/ 1057751 h 1161573"/>
                <a:gd name="connsiteX1208" fmla="*/ 1047179 w 1502283"/>
                <a:gd name="connsiteY1208" fmla="*/ 1054418 h 1161573"/>
                <a:gd name="connsiteX1209" fmla="*/ 1048988 w 1502283"/>
                <a:gd name="connsiteY1209" fmla="*/ 1055751 h 1161573"/>
                <a:gd name="connsiteX1210" fmla="*/ 1047179 w 1502283"/>
                <a:gd name="connsiteY1210" fmla="*/ 1054418 h 1161573"/>
                <a:gd name="connsiteX1211" fmla="*/ 1048131 w 1502283"/>
                <a:gd name="connsiteY1211" fmla="*/ 1049465 h 1161573"/>
                <a:gd name="connsiteX1212" fmla="*/ 1049941 w 1502283"/>
                <a:gd name="connsiteY1212" fmla="*/ 1050798 h 1161573"/>
                <a:gd name="connsiteX1213" fmla="*/ 1051370 w 1502283"/>
                <a:gd name="connsiteY1213" fmla="*/ 1048988 h 1161573"/>
                <a:gd name="connsiteX1214" fmla="*/ 1049560 w 1502283"/>
                <a:gd name="connsiteY1214" fmla="*/ 1047655 h 1161573"/>
                <a:gd name="connsiteX1215" fmla="*/ 1048988 w 1502283"/>
                <a:gd name="connsiteY1215" fmla="*/ 1042892 h 1161573"/>
                <a:gd name="connsiteX1216" fmla="*/ 1051941 w 1502283"/>
                <a:gd name="connsiteY1216" fmla="*/ 1040892 h 1161573"/>
                <a:gd name="connsiteX1217" fmla="*/ 1048798 w 1502283"/>
                <a:gd name="connsiteY1217" fmla="*/ 1041273 h 1161573"/>
                <a:gd name="connsiteX1218" fmla="*/ 1048226 w 1502283"/>
                <a:gd name="connsiteY1218" fmla="*/ 1036510 h 1161573"/>
                <a:gd name="connsiteX1219" fmla="*/ 1046607 w 1502283"/>
                <a:gd name="connsiteY1219" fmla="*/ 1036701 h 1161573"/>
                <a:gd name="connsiteX1220" fmla="*/ 1044988 w 1502283"/>
                <a:gd name="connsiteY1220" fmla="*/ 1036892 h 1161573"/>
                <a:gd name="connsiteX1221" fmla="*/ 1049369 w 1502283"/>
                <a:gd name="connsiteY1221" fmla="*/ 1033177 h 1161573"/>
                <a:gd name="connsiteX1222" fmla="*/ 1052703 w 1502283"/>
                <a:gd name="connsiteY1222" fmla="*/ 1034320 h 1161573"/>
                <a:gd name="connsiteX1223" fmla="*/ 1052322 w 1502283"/>
                <a:gd name="connsiteY1223" fmla="*/ 1031176 h 1161573"/>
                <a:gd name="connsiteX1224" fmla="*/ 1055656 w 1502283"/>
                <a:gd name="connsiteY1224" fmla="*/ 1032319 h 1161573"/>
                <a:gd name="connsiteX1225" fmla="*/ 1056799 w 1502283"/>
                <a:gd name="connsiteY1225" fmla="*/ 1028986 h 1161573"/>
                <a:gd name="connsiteX1226" fmla="*/ 1057751 w 1502283"/>
                <a:gd name="connsiteY1226" fmla="*/ 1024033 h 1161573"/>
                <a:gd name="connsiteX1227" fmla="*/ 1059561 w 1502283"/>
                <a:gd name="connsiteY1227" fmla="*/ 1025366 h 1161573"/>
                <a:gd name="connsiteX1228" fmla="*/ 1058989 w 1502283"/>
                <a:gd name="connsiteY1228" fmla="*/ 1020604 h 1161573"/>
                <a:gd name="connsiteX1229" fmla="*/ 1065276 w 1502283"/>
                <a:gd name="connsiteY1229" fmla="*/ 1019842 h 1161573"/>
                <a:gd name="connsiteX1230" fmla="*/ 1064514 w 1502283"/>
                <a:gd name="connsiteY1230" fmla="*/ 1013555 h 1161573"/>
                <a:gd name="connsiteX1231" fmla="*/ 1066895 w 1502283"/>
                <a:gd name="connsiteY1231" fmla="*/ 1006793 h 1161573"/>
                <a:gd name="connsiteX1232" fmla="*/ 1072801 w 1502283"/>
                <a:gd name="connsiteY1232" fmla="*/ 1002792 h 1161573"/>
                <a:gd name="connsiteX1233" fmla="*/ 1075373 w 1502283"/>
                <a:gd name="connsiteY1233" fmla="*/ 997649 h 1161573"/>
                <a:gd name="connsiteX1234" fmla="*/ 1079659 w 1502283"/>
                <a:gd name="connsiteY1234" fmla="*/ 993934 h 1161573"/>
                <a:gd name="connsiteX1235" fmla="*/ 1079468 w 1502283"/>
                <a:gd name="connsiteY1235" fmla="*/ 992315 h 1161573"/>
                <a:gd name="connsiteX1236" fmla="*/ 1076706 w 1502283"/>
                <a:gd name="connsiteY1236" fmla="*/ 995839 h 1161573"/>
                <a:gd name="connsiteX1237" fmla="*/ 1074896 w 1502283"/>
                <a:gd name="connsiteY1237" fmla="*/ 994505 h 1161573"/>
                <a:gd name="connsiteX1238" fmla="*/ 1078230 w 1502283"/>
                <a:gd name="connsiteY1238" fmla="*/ 982885 h 1161573"/>
                <a:gd name="connsiteX1239" fmla="*/ 1078039 w 1502283"/>
                <a:gd name="connsiteY1239" fmla="*/ 981266 h 1161573"/>
                <a:gd name="connsiteX1240" fmla="*/ 1083183 w 1502283"/>
                <a:gd name="connsiteY1240" fmla="*/ 983837 h 1161573"/>
                <a:gd name="connsiteX1241" fmla="*/ 1084326 w 1502283"/>
                <a:gd name="connsiteY1241" fmla="*/ 980503 h 1161573"/>
                <a:gd name="connsiteX1242" fmla="*/ 1086136 w 1502283"/>
                <a:gd name="connsiteY1242" fmla="*/ 981837 h 1161573"/>
                <a:gd name="connsiteX1243" fmla="*/ 1087469 w 1502283"/>
                <a:gd name="connsiteY1243" fmla="*/ 980027 h 1161573"/>
                <a:gd name="connsiteX1244" fmla="*/ 1085660 w 1502283"/>
                <a:gd name="connsiteY1244" fmla="*/ 978694 h 1161573"/>
                <a:gd name="connsiteX1245" fmla="*/ 1090613 w 1502283"/>
                <a:gd name="connsiteY1245" fmla="*/ 979646 h 1161573"/>
                <a:gd name="connsiteX1246" fmla="*/ 1093565 w 1502283"/>
                <a:gd name="connsiteY1246" fmla="*/ 977646 h 1161573"/>
                <a:gd name="connsiteX1247" fmla="*/ 1088422 w 1502283"/>
                <a:gd name="connsiteY1247" fmla="*/ 975074 h 1161573"/>
                <a:gd name="connsiteX1248" fmla="*/ 1088231 w 1502283"/>
                <a:gd name="connsiteY1248" fmla="*/ 973455 h 1161573"/>
                <a:gd name="connsiteX1249" fmla="*/ 1090041 w 1502283"/>
                <a:gd name="connsiteY1249" fmla="*/ 974789 h 1161573"/>
                <a:gd name="connsiteX1250" fmla="*/ 1094804 w 1502283"/>
                <a:gd name="connsiteY1250" fmla="*/ 974217 h 1161573"/>
                <a:gd name="connsiteX1251" fmla="*/ 1094423 w 1502283"/>
                <a:gd name="connsiteY1251" fmla="*/ 971074 h 1161573"/>
                <a:gd name="connsiteX1252" fmla="*/ 1095756 w 1502283"/>
                <a:gd name="connsiteY1252" fmla="*/ 969264 h 1161573"/>
                <a:gd name="connsiteX1253" fmla="*/ 1097566 w 1502283"/>
                <a:gd name="connsiteY1253" fmla="*/ 970598 h 1161573"/>
                <a:gd name="connsiteX1254" fmla="*/ 1097185 w 1502283"/>
                <a:gd name="connsiteY1254" fmla="*/ 967454 h 1161573"/>
                <a:gd name="connsiteX1255" fmla="*/ 1098804 w 1502283"/>
                <a:gd name="connsiteY1255" fmla="*/ 967264 h 1161573"/>
                <a:gd name="connsiteX1256" fmla="*/ 1103186 w 1502283"/>
                <a:gd name="connsiteY1256" fmla="*/ 963549 h 1161573"/>
                <a:gd name="connsiteX1257" fmla="*/ 1105186 w 1502283"/>
                <a:gd name="connsiteY1257" fmla="*/ 966502 h 1161573"/>
                <a:gd name="connsiteX1258" fmla="*/ 1112044 w 1502283"/>
                <a:gd name="connsiteY1258" fmla="*/ 957643 h 1161573"/>
                <a:gd name="connsiteX1259" fmla="*/ 1108710 w 1502283"/>
                <a:gd name="connsiteY1259" fmla="*/ 956501 h 1161573"/>
                <a:gd name="connsiteX1260" fmla="*/ 1109472 w 1502283"/>
                <a:gd name="connsiteY1260" fmla="*/ 950024 h 1161573"/>
                <a:gd name="connsiteX1261" fmla="*/ 1112234 w 1502283"/>
                <a:gd name="connsiteY1261" fmla="*/ 946499 h 1161573"/>
                <a:gd name="connsiteX1262" fmla="*/ 1113854 w 1502283"/>
                <a:gd name="connsiteY1262" fmla="*/ 946309 h 1161573"/>
                <a:gd name="connsiteX1263" fmla="*/ 1111853 w 1502283"/>
                <a:gd name="connsiteY1263" fmla="*/ 943356 h 1161573"/>
                <a:gd name="connsiteX1264" fmla="*/ 1113473 w 1502283"/>
                <a:gd name="connsiteY1264" fmla="*/ 943166 h 1161573"/>
                <a:gd name="connsiteX1265" fmla="*/ 1114997 w 1502283"/>
                <a:gd name="connsiteY1265" fmla="*/ 942975 h 1161573"/>
                <a:gd name="connsiteX1266" fmla="*/ 1114615 w 1502283"/>
                <a:gd name="connsiteY1266" fmla="*/ 939832 h 1161573"/>
                <a:gd name="connsiteX1267" fmla="*/ 1117759 w 1502283"/>
                <a:gd name="connsiteY1267" fmla="*/ 939451 h 1161573"/>
                <a:gd name="connsiteX1268" fmla="*/ 1117378 w 1502283"/>
                <a:gd name="connsiteY1268" fmla="*/ 936308 h 1161573"/>
                <a:gd name="connsiteX1269" fmla="*/ 1120140 w 1502283"/>
                <a:gd name="connsiteY1269" fmla="*/ 932783 h 1161573"/>
                <a:gd name="connsiteX1270" fmla="*/ 1121093 w 1502283"/>
                <a:gd name="connsiteY1270" fmla="*/ 927830 h 1161573"/>
                <a:gd name="connsiteX1271" fmla="*/ 1118521 w 1502283"/>
                <a:gd name="connsiteY1271" fmla="*/ 920115 h 1161573"/>
                <a:gd name="connsiteX1272" fmla="*/ 1120712 w 1502283"/>
                <a:gd name="connsiteY1272" fmla="*/ 911828 h 1161573"/>
                <a:gd name="connsiteX1273" fmla="*/ 1118902 w 1502283"/>
                <a:gd name="connsiteY1273" fmla="*/ 910495 h 1161573"/>
                <a:gd name="connsiteX1274" fmla="*/ 1123188 w 1502283"/>
                <a:gd name="connsiteY1274" fmla="*/ 906780 h 1161573"/>
                <a:gd name="connsiteX1275" fmla="*/ 1121188 w 1502283"/>
                <a:gd name="connsiteY1275" fmla="*/ 903827 h 1161573"/>
                <a:gd name="connsiteX1276" fmla="*/ 1124331 w 1502283"/>
                <a:gd name="connsiteY1276" fmla="*/ 903446 h 1161573"/>
                <a:gd name="connsiteX1277" fmla="*/ 1126903 w 1502283"/>
                <a:gd name="connsiteY1277" fmla="*/ 898303 h 1161573"/>
                <a:gd name="connsiteX1278" fmla="*/ 1138714 w 1502283"/>
                <a:gd name="connsiteY1278" fmla="*/ 903160 h 1161573"/>
                <a:gd name="connsiteX1279" fmla="*/ 1146620 w 1502283"/>
                <a:gd name="connsiteY1279" fmla="*/ 902113 h 1161573"/>
                <a:gd name="connsiteX1280" fmla="*/ 1149763 w 1502283"/>
                <a:gd name="connsiteY1280" fmla="*/ 901732 h 1161573"/>
                <a:gd name="connsiteX1281" fmla="*/ 1150715 w 1502283"/>
                <a:gd name="connsiteY1281" fmla="*/ 896779 h 1161573"/>
                <a:gd name="connsiteX1282" fmla="*/ 1153668 w 1502283"/>
                <a:gd name="connsiteY1282" fmla="*/ 894778 h 1161573"/>
                <a:gd name="connsiteX1283" fmla="*/ 1153668 w 1502283"/>
                <a:gd name="connsiteY1283" fmla="*/ 894778 h 1161573"/>
                <a:gd name="connsiteX1284" fmla="*/ 1150525 w 1502283"/>
                <a:gd name="connsiteY1284" fmla="*/ 895159 h 1161573"/>
                <a:gd name="connsiteX1285" fmla="*/ 1151287 w 1502283"/>
                <a:gd name="connsiteY1285" fmla="*/ 888683 h 1161573"/>
                <a:gd name="connsiteX1286" fmla="*/ 1153287 w 1502283"/>
                <a:gd name="connsiteY1286" fmla="*/ 891635 h 1161573"/>
                <a:gd name="connsiteX1287" fmla="*/ 1157764 w 1502283"/>
                <a:gd name="connsiteY1287" fmla="*/ 889444 h 1161573"/>
                <a:gd name="connsiteX1288" fmla="*/ 1155764 w 1502283"/>
                <a:gd name="connsiteY1288" fmla="*/ 886492 h 1161573"/>
                <a:gd name="connsiteX1289" fmla="*/ 1160716 w 1502283"/>
                <a:gd name="connsiteY1289" fmla="*/ 887444 h 1161573"/>
                <a:gd name="connsiteX1290" fmla="*/ 1160526 w 1502283"/>
                <a:gd name="connsiteY1290" fmla="*/ 885825 h 1161573"/>
                <a:gd name="connsiteX1291" fmla="*/ 1158526 w 1502283"/>
                <a:gd name="connsiteY1291" fmla="*/ 882872 h 1161573"/>
                <a:gd name="connsiteX1292" fmla="*/ 1161669 w 1502283"/>
                <a:gd name="connsiteY1292" fmla="*/ 882491 h 1161573"/>
                <a:gd name="connsiteX1293" fmla="*/ 1164622 w 1502283"/>
                <a:gd name="connsiteY1293" fmla="*/ 880491 h 1161573"/>
                <a:gd name="connsiteX1294" fmla="*/ 1162622 w 1502283"/>
                <a:gd name="connsiteY1294" fmla="*/ 877538 h 1161573"/>
                <a:gd name="connsiteX1295" fmla="*/ 1165574 w 1502283"/>
                <a:gd name="connsiteY1295" fmla="*/ 875538 h 1161573"/>
                <a:gd name="connsiteX1296" fmla="*/ 1167194 w 1502283"/>
                <a:gd name="connsiteY1296" fmla="*/ 875348 h 1161573"/>
                <a:gd name="connsiteX1297" fmla="*/ 1166241 w 1502283"/>
                <a:gd name="connsiteY1297" fmla="*/ 880301 h 1161573"/>
                <a:gd name="connsiteX1298" fmla="*/ 1169384 w 1502283"/>
                <a:gd name="connsiteY1298" fmla="*/ 879919 h 1161573"/>
                <a:gd name="connsiteX1299" fmla="*/ 1169003 w 1502283"/>
                <a:gd name="connsiteY1299" fmla="*/ 876776 h 1161573"/>
                <a:gd name="connsiteX1300" fmla="*/ 1166813 w 1502283"/>
                <a:gd name="connsiteY1300" fmla="*/ 872204 h 1161573"/>
                <a:gd name="connsiteX1301" fmla="*/ 1166431 w 1502283"/>
                <a:gd name="connsiteY1301" fmla="*/ 869061 h 1161573"/>
                <a:gd name="connsiteX1302" fmla="*/ 1167765 w 1502283"/>
                <a:gd name="connsiteY1302" fmla="*/ 867251 h 1161573"/>
                <a:gd name="connsiteX1303" fmla="*/ 1174528 w 1502283"/>
                <a:gd name="connsiteY1303" fmla="*/ 869633 h 1161573"/>
                <a:gd name="connsiteX1304" fmla="*/ 1173956 w 1502283"/>
                <a:gd name="connsiteY1304" fmla="*/ 864870 h 1161573"/>
                <a:gd name="connsiteX1305" fmla="*/ 1179671 w 1502283"/>
                <a:gd name="connsiteY1305" fmla="*/ 859346 h 1161573"/>
                <a:gd name="connsiteX1306" fmla="*/ 1182814 w 1502283"/>
                <a:gd name="connsiteY1306" fmla="*/ 858965 h 1161573"/>
                <a:gd name="connsiteX1307" fmla="*/ 1182814 w 1502283"/>
                <a:gd name="connsiteY1307" fmla="*/ 858965 h 1161573"/>
                <a:gd name="connsiteX1308" fmla="*/ 1185958 w 1502283"/>
                <a:gd name="connsiteY1308" fmla="*/ 858584 h 1161573"/>
                <a:gd name="connsiteX1309" fmla="*/ 1187577 w 1502283"/>
                <a:gd name="connsiteY1309" fmla="*/ 858393 h 1161573"/>
                <a:gd name="connsiteX1310" fmla="*/ 1187768 w 1502283"/>
                <a:gd name="connsiteY1310" fmla="*/ 860012 h 1161573"/>
                <a:gd name="connsiteX1311" fmla="*/ 1189577 w 1502283"/>
                <a:gd name="connsiteY1311" fmla="*/ 861346 h 1161573"/>
                <a:gd name="connsiteX1312" fmla="*/ 1190911 w 1502283"/>
                <a:gd name="connsiteY1312" fmla="*/ 859536 h 1161573"/>
                <a:gd name="connsiteX1313" fmla="*/ 1196054 w 1502283"/>
                <a:gd name="connsiteY1313" fmla="*/ 862108 h 1161573"/>
                <a:gd name="connsiteX1314" fmla="*/ 1200340 w 1502283"/>
                <a:gd name="connsiteY1314" fmla="*/ 858393 h 1161573"/>
                <a:gd name="connsiteX1315" fmla="*/ 1202531 w 1502283"/>
                <a:gd name="connsiteY1315" fmla="*/ 862965 h 1161573"/>
                <a:gd name="connsiteX1316" fmla="*/ 1205865 w 1502283"/>
                <a:gd name="connsiteY1316" fmla="*/ 864108 h 1161573"/>
                <a:gd name="connsiteX1317" fmla="*/ 1209389 w 1502283"/>
                <a:gd name="connsiteY1317" fmla="*/ 866870 h 1161573"/>
                <a:gd name="connsiteX1318" fmla="*/ 1217295 w 1502283"/>
                <a:gd name="connsiteY1318" fmla="*/ 865823 h 1161573"/>
                <a:gd name="connsiteX1319" fmla="*/ 1221296 w 1502283"/>
                <a:gd name="connsiteY1319" fmla="*/ 871728 h 1161573"/>
                <a:gd name="connsiteX1320" fmla="*/ 1227963 w 1502283"/>
                <a:gd name="connsiteY1320" fmla="*/ 874109 h 1161573"/>
                <a:gd name="connsiteX1321" fmla="*/ 1234249 w 1502283"/>
                <a:gd name="connsiteY1321" fmla="*/ 873347 h 1161573"/>
                <a:gd name="connsiteX1322" fmla="*/ 1240727 w 1502283"/>
                <a:gd name="connsiteY1322" fmla="*/ 874109 h 1161573"/>
                <a:gd name="connsiteX1323" fmla="*/ 1243108 w 1502283"/>
                <a:gd name="connsiteY1323" fmla="*/ 880205 h 1161573"/>
                <a:gd name="connsiteX1324" fmla="*/ 1255205 w 1502283"/>
                <a:gd name="connsiteY1324" fmla="*/ 886682 h 1161573"/>
                <a:gd name="connsiteX1325" fmla="*/ 1259205 w 1502283"/>
                <a:gd name="connsiteY1325" fmla="*/ 892588 h 1161573"/>
                <a:gd name="connsiteX1326" fmla="*/ 1264158 w 1502283"/>
                <a:gd name="connsiteY1326" fmla="*/ 893540 h 1161573"/>
                <a:gd name="connsiteX1327" fmla="*/ 1270254 w 1502283"/>
                <a:gd name="connsiteY1327" fmla="*/ 891159 h 1161573"/>
                <a:gd name="connsiteX1328" fmla="*/ 1272064 w 1502283"/>
                <a:gd name="connsiteY1328" fmla="*/ 892493 h 1161573"/>
                <a:gd name="connsiteX1329" fmla="*/ 1274445 w 1502283"/>
                <a:gd name="connsiteY1329" fmla="*/ 898589 h 1161573"/>
                <a:gd name="connsiteX1330" fmla="*/ 1280160 w 1502283"/>
                <a:gd name="connsiteY1330" fmla="*/ 905827 h 1161573"/>
                <a:gd name="connsiteX1331" fmla="*/ 1290638 w 1502283"/>
                <a:gd name="connsiteY1331" fmla="*/ 912495 h 1161573"/>
                <a:gd name="connsiteX1332" fmla="*/ 1292828 w 1502283"/>
                <a:gd name="connsiteY1332" fmla="*/ 917067 h 1161573"/>
                <a:gd name="connsiteX1333" fmla="*/ 1295972 w 1502283"/>
                <a:gd name="connsiteY1333" fmla="*/ 916686 h 1161573"/>
                <a:gd name="connsiteX1334" fmla="*/ 1302068 w 1502283"/>
                <a:gd name="connsiteY1334" fmla="*/ 927164 h 1161573"/>
                <a:gd name="connsiteX1335" fmla="*/ 1314069 w 1502283"/>
                <a:gd name="connsiteY1335" fmla="*/ 920782 h 1161573"/>
                <a:gd name="connsiteX1336" fmla="*/ 1319213 w 1502283"/>
                <a:gd name="connsiteY1336" fmla="*/ 923353 h 1161573"/>
                <a:gd name="connsiteX1337" fmla="*/ 1322356 w 1502283"/>
                <a:gd name="connsiteY1337" fmla="*/ 922973 h 1161573"/>
                <a:gd name="connsiteX1338" fmla="*/ 1325880 w 1502283"/>
                <a:gd name="connsiteY1338" fmla="*/ 925735 h 1161573"/>
                <a:gd name="connsiteX1339" fmla="*/ 1331405 w 1502283"/>
                <a:gd name="connsiteY1339" fmla="*/ 918591 h 1161573"/>
                <a:gd name="connsiteX1340" fmla="*/ 1338644 w 1502283"/>
                <a:gd name="connsiteY1340" fmla="*/ 912876 h 1161573"/>
                <a:gd name="connsiteX1341" fmla="*/ 1341406 w 1502283"/>
                <a:gd name="connsiteY1341" fmla="*/ 909352 h 1161573"/>
                <a:gd name="connsiteX1342" fmla="*/ 1347883 w 1502283"/>
                <a:gd name="connsiteY1342" fmla="*/ 910114 h 1161573"/>
                <a:gd name="connsiteX1343" fmla="*/ 1350455 w 1502283"/>
                <a:gd name="connsiteY1343" fmla="*/ 904970 h 1161573"/>
                <a:gd name="connsiteX1344" fmla="*/ 1353979 w 1502283"/>
                <a:gd name="connsiteY1344" fmla="*/ 894874 h 1161573"/>
                <a:gd name="connsiteX1345" fmla="*/ 1359313 w 1502283"/>
                <a:gd name="connsiteY1345" fmla="*/ 898969 h 1161573"/>
                <a:gd name="connsiteX1346" fmla="*/ 1358741 w 1502283"/>
                <a:gd name="connsiteY1346" fmla="*/ 894207 h 1161573"/>
                <a:gd name="connsiteX1347" fmla="*/ 1364266 w 1502283"/>
                <a:gd name="connsiteY1347" fmla="*/ 887063 h 1161573"/>
                <a:gd name="connsiteX1348" fmla="*/ 1382649 w 1502283"/>
                <a:gd name="connsiteY1348" fmla="*/ 892778 h 1161573"/>
                <a:gd name="connsiteX1349" fmla="*/ 1387793 w 1502283"/>
                <a:gd name="connsiteY1349" fmla="*/ 895350 h 1161573"/>
                <a:gd name="connsiteX1350" fmla="*/ 1395698 w 1502283"/>
                <a:gd name="connsiteY1350" fmla="*/ 907161 h 1161573"/>
                <a:gd name="connsiteX1351" fmla="*/ 1406747 w 1502283"/>
                <a:gd name="connsiteY1351" fmla="*/ 918591 h 1161573"/>
                <a:gd name="connsiteX1352" fmla="*/ 1405128 w 1502283"/>
                <a:gd name="connsiteY1352" fmla="*/ 918782 h 1161573"/>
                <a:gd name="connsiteX1353" fmla="*/ 1406938 w 1502283"/>
                <a:gd name="connsiteY1353" fmla="*/ 920115 h 1161573"/>
                <a:gd name="connsiteX1354" fmla="*/ 1412462 w 1502283"/>
                <a:gd name="connsiteY1354" fmla="*/ 925830 h 1161573"/>
                <a:gd name="connsiteX1355" fmla="*/ 1420368 w 1502283"/>
                <a:gd name="connsiteY1355" fmla="*/ 924782 h 1161573"/>
                <a:gd name="connsiteX1356" fmla="*/ 1427416 w 1502283"/>
                <a:gd name="connsiteY1356" fmla="*/ 917448 h 1161573"/>
                <a:gd name="connsiteX1357" fmla="*/ 1435703 w 1502283"/>
                <a:gd name="connsiteY1357" fmla="*/ 919639 h 1161573"/>
                <a:gd name="connsiteX1358" fmla="*/ 1442371 w 1502283"/>
                <a:gd name="connsiteY1358" fmla="*/ 909161 h 1161573"/>
                <a:gd name="connsiteX1359" fmla="*/ 1450657 w 1502283"/>
                <a:gd name="connsiteY1359" fmla="*/ 911352 h 1161573"/>
                <a:gd name="connsiteX1360" fmla="*/ 1455230 w 1502283"/>
                <a:gd name="connsiteY1360" fmla="*/ 909161 h 1161573"/>
                <a:gd name="connsiteX1361" fmla="*/ 1463326 w 1502283"/>
                <a:gd name="connsiteY1361" fmla="*/ 909733 h 1161573"/>
                <a:gd name="connsiteX1362" fmla="*/ 1467612 w 1502283"/>
                <a:gd name="connsiteY1362" fmla="*/ 906018 h 1161573"/>
                <a:gd name="connsiteX1363" fmla="*/ 1469327 w 1502283"/>
                <a:gd name="connsiteY1363" fmla="*/ 894588 h 1161573"/>
                <a:gd name="connsiteX1364" fmla="*/ 1472089 w 1502283"/>
                <a:gd name="connsiteY1364" fmla="*/ 891064 h 1161573"/>
                <a:gd name="connsiteX1365" fmla="*/ 1484757 w 1502283"/>
                <a:gd name="connsiteY1365" fmla="*/ 889444 h 1161573"/>
                <a:gd name="connsiteX1366" fmla="*/ 1485519 w 1502283"/>
                <a:gd name="connsiteY1366" fmla="*/ 882968 h 1161573"/>
                <a:gd name="connsiteX1367" fmla="*/ 1491044 w 1502283"/>
                <a:gd name="connsiteY1367" fmla="*/ 875824 h 1161573"/>
                <a:gd name="connsiteX1368" fmla="*/ 1497330 w 1502283"/>
                <a:gd name="connsiteY1368" fmla="*/ 875062 h 1161573"/>
                <a:gd name="connsiteX1369" fmla="*/ 1502283 w 1502283"/>
                <a:gd name="connsiteY1369" fmla="*/ 876014 h 1161573"/>
                <a:gd name="connsiteX1370" fmla="*/ 1495139 w 1502283"/>
                <a:gd name="connsiteY1370" fmla="*/ 857726 h 1161573"/>
                <a:gd name="connsiteX1371" fmla="*/ 1495139 w 1502283"/>
                <a:gd name="connsiteY1371" fmla="*/ 857726 h 116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</a:cxnLst>
              <a:rect l="l" t="t" r="r" b="b"/>
              <a:pathLst>
                <a:path w="1502283" h="1161573">
                  <a:moveTo>
                    <a:pt x="1496282" y="857155"/>
                  </a:moveTo>
                  <a:lnTo>
                    <a:pt x="1495711" y="852392"/>
                  </a:lnTo>
                  <a:lnTo>
                    <a:pt x="1497330" y="852202"/>
                  </a:lnTo>
                  <a:lnTo>
                    <a:pt x="1495520" y="850868"/>
                  </a:lnTo>
                  <a:lnTo>
                    <a:pt x="1498282" y="847344"/>
                  </a:lnTo>
                  <a:lnTo>
                    <a:pt x="1490567" y="849916"/>
                  </a:lnTo>
                  <a:lnTo>
                    <a:pt x="1486853" y="845630"/>
                  </a:lnTo>
                  <a:lnTo>
                    <a:pt x="1487996" y="842296"/>
                  </a:lnTo>
                  <a:lnTo>
                    <a:pt x="1481899" y="831818"/>
                  </a:lnTo>
                  <a:lnTo>
                    <a:pt x="1469803" y="812483"/>
                  </a:lnTo>
                  <a:lnTo>
                    <a:pt x="1458563" y="812292"/>
                  </a:lnTo>
                  <a:lnTo>
                    <a:pt x="1442371" y="798290"/>
                  </a:lnTo>
                  <a:lnTo>
                    <a:pt x="1437608" y="798862"/>
                  </a:lnTo>
                  <a:lnTo>
                    <a:pt x="1433513" y="804196"/>
                  </a:lnTo>
                  <a:lnTo>
                    <a:pt x="1424845" y="798862"/>
                  </a:lnTo>
                  <a:lnTo>
                    <a:pt x="1432274" y="781907"/>
                  </a:lnTo>
                  <a:lnTo>
                    <a:pt x="1431703" y="777145"/>
                  </a:lnTo>
                  <a:lnTo>
                    <a:pt x="1434465" y="773621"/>
                  </a:lnTo>
                  <a:lnTo>
                    <a:pt x="1425797" y="768287"/>
                  </a:lnTo>
                  <a:lnTo>
                    <a:pt x="1411796" y="758857"/>
                  </a:lnTo>
                  <a:lnTo>
                    <a:pt x="1402937" y="764762"/>
                  </a:lnTo>
                  <a:lnTo>
                    <a:pt x="1400937" y="761809"/>
                  </a:lnTo>
                  <a:lnTo>
                    <a:pt x="1394365" y="748189"/>
                  </a:lnTo>
                  <a:lnTo>
                    <a:pt x="1395413" y="756095"/>
                  </a:lnTo>
                  <a:lnTo>
                    <a:pt x="1381601" y="761048"/>
                  </a:lnTo>
                  <a:lnTo>
                    <a:pt x="1375886" y="753809"/>
                  </a:lnTo>
                  <a:lnTo>
                    <a:pt x="1372933" y="755809"/>
                  </a:lnTo>
                  <a:lnTo>
                    <a:pt x="1372743" y="754190"/>
                  </a:lnTo>
                  <a:lnTo>
                    <a:pt x="1366838" y="758190"/>
                  </a:lnTo>
                  <a:lnTo>
                    <a:pt x="1365028" y="756857"/>
                  </a:lnTo>
                  <a:lnTo>
                    <a:pt x="1362265" y="760381"/>
                  </a:lnTo>
                  <a:lnTo>
                    <a:pt x="1360456" y="759047"/>
                  </a:lnTo>
                  <a:lnTo>
                    <a:pt x="1348645" y="766953"/>
                  </a:lnTo>
                  <a:lnTo>
                    <a:pt x="1339596" y="758476"/>
                  </a:lnTo>
                  <a:lnTo>
                    <a:pt x="1337977" y="758666"/>
                  </a:lnTo>
                  <a:lnTo>
                    <a:pt x="1328642" y="748665"/>
                  </a:lnTo>
                  <a:lnTo>
                    <a:pt x="1321689" y="744760"/>
                  </a:lnTo>
                  <a:lnTo>
                    <a:pt x="1320260" y="733711"/>
                  </a:lnTo>
                  <a:lnTo>
                    <a:pt x="1309402" y="736663"/>
                  </a:lnTo>
                  <a:lnTo>
                    <a:pt x="1307021" y="743331"/>
                  </a:lnTo>
                  <a:lnTo>
                    <a:pt x="1304830" y="738759"/>
                  </a:lnTo>
                  <a:lnTo>
                    <a:pt x="1303496" y="740569"/>
                  </a:lnTo>
                  <a:lnTo>
                    <a:pt x="1300163" y="739426"/>
                  </a:lnTo>
                  <a:lnTo>
                    <a:pt x="1298829" y="741236"/>
                  </a:lnTo>
                  <a:lnTo>
                    <a:pt x="1292162" y="738854"/>
                  </a:lnTo>
                  <a:lnTo>
                    <a:pt x="1290352" y="737521"/>
                  </a:lnTo>
                  <a:lnTo>
                    <a:pt x="1290161" y="735901"/>
                  </a:lnTo>
                  <a:lnTo>
                    <a:pt x="1291304" y="732568"/>
                  </a:lnTo>
                  <a:lnTo>
                    <a:pt x="1289495" y="731234"/>
                  </a:lnTo>
                  <a:lnTo>
                    <a:pt x="1293590" y="725900"/>
                  </a:lnTo>
                  <a:lnTo>
                    <a:pt x="1293209" y="722757"/>
                  </a:lnTo>
                  <a:lnTo>
                    <a:pt x="1294352" y="719423"/>
                  </a:lnTo>
                  <a:lnTo>
                    <a:pt x="1292352" y="716471"/>
                  </a:lnTo>
                  <a:lnTo>
                    <a:pt x="1294543" y="708184"/>
                  </a:lnTo>
                  <a:lnTo>
                    <a:pt x="1289209" y="704088"/>
                  </a:lnTo>
                  <a:lnTo>
                    <a:pt x="1288066" y="707422"/>
                  </a:lnTo>
                  <a:lnTo>
                    <a:pt x="1281113" y="703517"/>
                  </a:lnTo>
                  <a:lnTo>
                    <a:pt x="1282256" y="700183"/>
                  </a:lnTo>
                  <a:lnTo>
                    <a:pt x="1276922" y="696087"/>
                  </a:lnTo>
                  <a:lnTo>
                    <a:pt x="1269397" y="700278"/>
                  </a:lnTo>
                  <a:lnTo>
                    <a:pt x="1266063" y="699135"/>
                  </a:lnTo>
                  <a:lnTo>
                    <a:pt x="1259777" y="699897"/>
                  </a:lnTo>
                  <a:lnTo>
                    <a:pt x="1257586" y="695325"/>
                  </a:lnTo>
                  <a:lnTo>
                    <a:pt x="1254252" y="694182"/>
                  </a:lnTo>
                  <a:lnTo>
                    <a:pt x="1252633" y="694373"/>
                  </a:lnTo>
                  <a:lnTo>
                    <a:pt x="1251299" y="696182"/>
                  </a:lnTo>
                  <a:lnTo>
                    <a:pt x="1244822" y="695420"/>
                  </a:lnTo>
                  <a:lnTo>
                    <a:pt x="1245013" y="697040"/>
                  </a:lnTo>
                  <a:lnTo>
                    <a:pt x="1241489" y="694277"/>
                  </a:lnTo>
                  <a:lnTo>
                    <a:pt x="1238726" y="697801"/>
                  </a:lnTo>
                  <a:lnTo>
                    <a:pt x="1233964" y="698373"/>
                  </a:lnTo>
                  <a:lnTo>
                    <a:pt x="1233964" y="685514"/>
                  </a:lnTo>
                  <a:cubicBezTo>
                    <a:pt x="1233964" y="685514"/>
                    <a:pt x="1230344" y="682752"/>
                    <a:pt x="1230344" y="682752"/>
                  </a:cubicBezTo>
                  <a:lnTo>
                    <a:pt x="1227963" y="676656"/>
                  </a:lnTo>
                  <a:lnTo>
                    <a:pt x="1223010" y="675704"/>
                  </a:lnTo>
                  <a:lnTo>
                    <a:pt x="1218724" y="679418"/>
                  </a:lnTo>
                  <a:lnTo>
                    <a:pt x="1217105" y="679609"/>
                  </a:lnTo>
                  <a:lnTo>
                    <a:pt x="1215866" y="670179"/>
                  </a:lnTo>
                  <a:lnTo>
                    <a:pt x="1199674" y="669036"/>
                  </a:lnTo>
                  <a:lnTo>
                    <a:pt x="1197293" y="675704"/>
                  </a:lnTo>
                  <a:lnTo>
                    <a:pt x="1194340" y="677704"/>
                  </a:lnTo>
                  <a:lnTo>
                    <a:pt x="1192339" y="674751"/>
                  </a:lnTo>
                  <a:lnTo>
                    <a:pt x="1193482" y="671417"/>
                  </a:lnTo>
                  <a:lnTo>
                    <a:pt x="1195864" y="664750"/>
                  </a:lnTo>
                  <a:lnTo>
                    <a:pt x="1195483" y="661607"/>
                  </a:lnTo>
                  <a:lnTo>
                    <a:pt x="1199579" y="656273"/>
                  </a:lnTo>
                  <a:lnTo>
                    <a:pt x="1200531" y="651320"/>
                  </a:lnTo>
                  <a:lnTo>
                    <a:pt x="1200912" y="641604"/>
                  </a:lnTo>
                  <a:lnTo>
                    <a:pt x="1198721" y="637032"/>
                  </a:lnTo>
                  <a:lnTo>
                    <a:pt x="1198150" y="632270"/>
                  </a:lnTo>
                  <a:lnTo>
                    <a:pt x="1196149" y="629317"/>
                  </a:lnTo>
                  <a:lnTo>
                    <a:pt x="1191197" y="628364"/>
                  </a:lnTo>
                  <a:lnTo>
                    <a:pt x="1187577" y="612743"/>
                  </a:lnTo>
                  <a:lnTo>
                    <a:pt x="1185767" y="611410"/>
                  </a:lnTo>
                  <a:lnTo>
                    <a:pt x="1177671" y="610838"/>
                  </a:lnTo>
                  <a:lnTo>
                    <a:pt x="1167384" y="618554"/>
                  </a:lnTo>
                  <a:lnTo>
                    <a:pt x="1156525" y="621506"/>
                  </a:lnTo>
                  <a:lnTo>
                    <a:pt x="1151954" y="623697"/>
                  </a:lnTo>
                  <a:lnTo>
                    <a:pt x="1148620" y="622554"/>
                  </a:lnTo>
                  <a:lnTo>
                    <a:pt x="1145667" y="624554"/>
                  </a:lnTo>
                  <a:lnTo>
                    <a:pt x="1142524" y="624935"/>
                  </a:lnTo>
                  <a:lnTo>
                    <a:pt x="1138619" y="631888"/>
                  </a:lnTo>
                  <a:lnTo>
                    <a:pt x="1135094" y="629126"/>
                  </a:lnTo>
                  <a:lnTo>
                    <a:pt x="1130618" y="631317"/>
                  </a:lnTo>
                  <a:lnTo>
                    <a:pt x="1114235" y="628555"/>
                  </a:lnTo>
                  <a:lnTo>
                    <a:pt x="1120140" y="624554"/>
                  </a:lnTo>
                  <a:lnTo>
                    <a:pt x="1120902" y="618077"/>
                  </a:lnTo>
                  <a:lnTo>
                    <a:pt x="1118711" y="613505"/>
                  </a:lnTo>
                  <a:lnTo>
                    <a:pt x="1117282" y="615315"/>
                  </a:lnTo>
                  <a:lnTo>
                    <a:pt x="1115092" y="597980"/>
                  </a:lnTo>
                  <a:lnTo>
                    <a:pt x="1126522" y="599694"/>
                  </a:lnTo>
                  <a:lnTo>
                    <a:pt x="1129856" y="600837"/>
                  </a:lnTo>
                  <a:lnTo>
                    <a:pt x="1134142" y="597122"/>
                  </a:lnTo>
                  <a:lnTo>
                    <a:pt x="1133094" y="589217"/>
                  </a:lnTo>
                  <a:lnTo>
                    <a:pt x="1134713" y="589026"/>
                  </a:lnTo>
                  <a:lnTo>
                    <a:pt x="1137666" y="574262"/>
                  </a:lnTo>
                  <a:lnTo>
                    <a:pt x="1138047" y="564642"/>
                  </a:lnTo>
                  <a:lnTo>
                    <a:pt x="1142619" y="562451"/>
                  </a:lnTo>
                  <a:lnTo>
                    <a:pt x="1149096" y="563213"/>
                  </a:lnTo>
                  <a:lnTo>
                    <a:pt x="1150906" y="564547"/>
                  </a:lnTo>
                  <a:lnTo>
                    <a:pt x="1154049" y="564166"/>
                  </a:lnTo>
                  <a:lnTo>
                    <a:pt x="1155192" y="560832"/>
                  </a:lnTo>
                  <a:lnTo>
                    <a:pt x="1156335" y="557498"/>
                  </a:lnTo>
                  <a:lnTo>
                    <a:pt x="1159669" y="558641"/>
                  </a:lnTo>
                  <a:lnTo>
                    <a:pt x="1161002" y="556832"/>
                  </a:lnTo>
                  <a:lnTo>
                    <a:pt x="1165955" y="557784"/>
                  </a:lnTo>
                  <a:lnTo>
                    <a:pt x="1169480" y="534924"/>
                  </a:lnTo>
                  <a:lnTo>
                    <a:pt x="1174052" y="532733"/>
                  </a:lnTo>
                  <a:lnTo>
                    <a:pt x="1172051" y="529780"/>
                  </a:lnTo>
                  <a:lnTo>
                    <a:pt x="1173671" y="529590"/>
                  </a:lnTo>
                  <a:lnTo>
                    <a:pt x="1171670" y="526637"/>
                  </a:lnTo>
                  <a:lnTo>
                    <a:pt x="1172813" y="523304"/>
                  </a:lnTo>
                  <a:lnTo>
                    <a:pt x="1176147" y="511683"/>
                  </a:lnTo>
                  <a:lnTo>
                    <a:pt x="1172147" y="505778"/>
                  </a:lnTo>
                  <a:lnTo>
                    <a:pt x="1170623" y="505968"/>
                  </a:lnTo>
                  <a:lnTo>
                    <a:pt x="1165479" y="516255"/>
                  </a:lnTo>
                  <a:lnTo>
                    <a:pt x="1160907" y="518446"/>
                  </a:lnTo>
                  <a:lnTo>
                    <a:pt x="1157383" y="515684"/>
                  </a:lnTo>
                  <a:lnTo>
                    <a:pt x="1154239" y="516065"/>
                  </a:lnTo>
                  <a:lnTo>
                    <a:pt x="1152430" y="514731"/>
                  </a:lnTo>
                  <a:lnTo>
                    <a:pt x="1141381" y="516160"/>
                  </a:lnTo>
                  <a:lnTo>
                    <a:pt x="1141952" y="520922"/>
                  </a:lnTo>
                  <a:lnTo>
                    <a:pt x="1136618" y="516826"/>
                  </a:lnTo>
                  <a:lnTo>
                    <a:pt x="1140714" y="511492"/>
                  </a:lnTo>
                  <a:lnTo>
                    <a:pt x="1141476" y="505016"/>
                  </a:lnTo>
                  <a:lnTo>
                    <a:pt x="1143286" y="506349"/>
                  </a:lnTo>
                  <a:lnTo>
                    <a:pt x="1149001" y="500825"/>
                  </a:lnTo>
                  <a:lnTo>
                    <a:pt x="1146810" y="496253"/>
                  </a:lnTo>
                  <a:lnTo>
                    <a:pt x="1145191" y="496443"/>
                  </a:lnTo>
                  <a:lnTo>
                    <a:pt x="1143381" y="495109"/>
                  </a:lnTo>
                  <a:lnTo>
                    <a:pt x="1140047" y="493967"/>
                  </a:lnTo>
                  <a:lnTo>
                    <a:pt x="1137095" y="483108"/>
                  </a:lnTo>
                  <a:lnTo>
                    <a:pt x="1132904" y="475583"/>
                  </a:lnTo>
                  <a:lnTo>
                    <a:pt x="1127570" y="471488"/>
                  </a:lnTo>
                  <a:lnTo>
                    <a:pt x="1133856" y="457867"/>
                  </a:lnTo>
                  <a:lnTo>
                    <a:pt x="1132808" y="449961"/>
                  </a:lnTo>
                  <a:lnTo>
                    <a:pt x="1129094" y="445675"/>
                  </a:lnTo>
                  <a:lnTo>
                    <a:pt x="1126903" y="441103"/>
                  </a:lnTo>
                  <a:lnTo>
                    <a:pt x="1121759" y="438531"/>
                  </a:lnTo>
                  <a:lnTo>
                    <a:pt x="1122521" y="432054"/>
                  </a:lnTo>
                  <a:lnTo>
                    <a:pt x="1128427" y="428054"/>
                  </a:lnTo>
                  <a:lnTo>
                    <a:pt x="1130998" y="422910"/>
                  </a:lnTo>
                  <a:lnTo>
                    <a:pt x="1135571" y="420719"/>
                  </a:lnTo>
                  <a:lnTo>
                    <a:pt x="1137475" y="410813"/>
                  </a:lnTo>
                  <a:lnTo>
                    <a:pt x="1137285" y="409194"/>
                  </a:lnTo>
                  <a:lnTo>
                    <a:pt x="1141190" y="402241"/>
                  </a:lnTo>
                  <a:lnTo>
                    <a:pt x="1142810" y="402050"/>
                  </a:lnTo>
                  <a:lnTo>
                    <a:pt x="1142429" y="398907"/>
                  </a:lnTo>
                  <a:lnTo>
                    <a:pt x="1142238" y="397288"/>
                  </a:lnTo>
                  <a:lnTo>
                    <a:pt x="1139285" y="399288"/>
                  </a:lnTo>
                  <a:lnTo>
                    <a:pt x="1140428" y="395954"/>
                  </a:lnTo>
                  <a:lnTo>
                    <a:pt x="1138619" y="394621"/>
                  </a:lnTo>
                  <a:lnTo>
                    <a:pt x="1135856" y="385382"/>
                  </a:lnTo>
                  <a:lnTo>
                    <a:pt x="1135285" y="380619"/>
                  </a:lnTo>
                  <a:lnTo>
                    <a:pt x="1133475" y="379286"/>
                  </a:lnTo>
                  <a:lnTo>
                    <a:pt x="1132141" y="381095"/>
                  </a:lnTo>
                  <a:lnTo>
                    <a:pt x="1129951" y="376523"/>
                  </a:lnTo>
                  <a:lnTo>
                    <a:pt x="1129189" y="370237"/>
                  </a:lnTo>
                  <a:lnTo>
                    <a:pt x="1126617" y="362521"/>
                  </a:lnTo>
                  <a:lnTo>
                    <a:pt x="1122616" y="356616"/>
                  </a:lnTo>
                  <a:lnTo>
                    <a:pt x="1125569" y="354616"/>
                  </a:lnTo>
                  <a:lnTo>
                    <a:pt x="1125379" y="352996"/>
                  </a:lnTo>
                  <a:lnTo>
                    <a:pt x="1126522" y="349663"/>
                  </a:lnTo>
                  <a:lnTo>
                    <a:pt x="1125760" y="343376"/>
                  </a:lnTo>
                  <a:lnTo>
                    <a:pt x="1118045" y="345948"/>
                  </a:lnTo>
                  <a:lnTo>
                    <a:pt x="1112139" y="337090"/>
                  </a:lnTo>
                  <a:lnTo>
                    <a:pt x="1108424" y="332804"/>
                  </a:lnTo>
                  <a:lnTo>
                    <a:pt x="1109758" y="330994"/>
                  </a:lnTo>
                  <a:lnTo>
                    <a:pt x="1104805" y="330041"/>
                  </a:lnTo>
                  <a:lnTo>
                    <a:pt x="1096328" y="326326"/>
                  </a:lnTo>
                  <a:lnTo>
                    <a:pt x="1093184" y="326708"/>
                  </a:lnTo>
                  <a:lnTo>
                    <a:pt x="1091851" y="328517"/>
                  </a:lnTo>
                  <a:lnTo>
                    <a:pt x="1083183" y="323183"/>
                  </a:lnTo>
                  <a:lnTo>
                    <a:pt x="1080040" y="323564"/>
                  </a:lnTo>
                  <a:lnTo>
                    <a:pt x="1078516" y="323755"/>
                  </a:lnTo>
                  <a:lnTo>
                    <a:pt x="1078325" y="322136"/>
                  </a:lnTo>
                  <a:lnTo>
                    <a:pt x="1071563" y="319754"/>
                  </a:lnTo>
                  <a:lnTo>
                    <a:pt x="1069562" y="316801"/>
                  </a:lnTo>
                  <a:lnTo>
                    <a:pt x="1070896" y="314992"/>
                  </a:lnTo>
                  <a:lnTo>
                    <a:pt x="1060799" y="311467"/>
                  </a:lnTo>
                  <a:lnTo>
                    <a:pt x="1059466" y="313277"/>
                  </a:lnTo>
                  <a:lnTo>
                    <a:pt x="1055465" y="307372"/>
                  </a:lnTo>
                  <a:lnTo>
                    <a:pt x="1060037" y="305181"/>
                  </a:lnTo>
                  <a:lnTo>
                    <a:pt x="1060990" y="300228"/>
                  </a:lnTo>
                  <a:lnTo>
                    <a:pt x="1059180" y="298895"/>
                  </a:lnTo>
                  <a:lnTo>
                    <a:pt x="1059180" y="298895"/>
                  </a:lnTo>
                  <a:lnTo>
                    <a:pt x="1057180" y="295942"/>
                  </a:lnTo>
                  <a:lnTo>
                    <a:pt x="1062514" y="287274"/>
                  </a:lnTo>
                  <a:lnTo>
                    <a:pt x="1065276" y="283750"/>
                  </a:lnTo>
                  <a:lnTo>
                    <a:pt x="1063276" y="280797"/>
                  </a:lnTo>
                  <a:lnTo>
                    <a:pt x="1064228" y="275844"/>
                  </a:lnTo>
                  <a:lnTo>
                    <a:pt x="1068324" y="270510"/>
                  </a:lnTo>
                  <a:lnTo>
                    <a:pt x="1067562" y="264224"/>
                  </a:lnTo>
                  <a:lnTo>
                    <a:pt x="1063752" y="259937"/>
                  </a:lnTo>
                  <a:lnTo>
                    <a:pt x="1061371" y="253841"/>
                  </a:lnTo>
                  <a:lnTo>
                    <a:pt x="1059180" y="249269"/>
                  </a:lnTo>
                  <a:lnTo>
                    <a:pt x="1057561" y="249460"/>
                  </a:lnTo>
                  <a:lnTo>
                    <a:pt x="1059752" y="254032"/>
                  </a:lnTo>
                  <a:lnTo>
                    <a:pt x="1056989" y="257556"/>
                  </a:lnTo>
                  <a:lnTo>
                    <a:pt x="1057370" y="260699"/>
                  </a:lnTo>
                  <a:lnTo>
                    <a:pt x="1052608" y="261271"/>
                  </a:lnTo>
                  <a:lnTo>
                    <a:pt x="1055941" y="262414"/>
                  </a:lnTo>
                  <a:lnTo>
                    <a:pt x="1054989" y="267367"/>
                  </a:lnTo>
                  <a:lnTo>
                    <a:pt x="1056608" y="267176"/>
                  </a:lnTo>
                  <a:lnTo>
                    <a:pt x="1056989" y="270320"/>
                  </a:lnTo>
                  <a:lnTo>
                    <a:pt x="1058323" y="268510"/>
                  </a:lnTo>
                  <a:lnTo>
                    <a:pt x="1055561" y="272034"/>
                  </a:lnTo>
                  <a:lnTo>
                    <a:pt x="1055561" y="272034"/>
                  </a:lnTo>
                  <a:lnTo>
                    <a:pt x="1055751" y="273653"/>
                  </a:lnTo>
                  <a:lnTo>
                    <a:pt x="1050798" y="272701"/>
                  </a:lnTo>
                  <a:lnTo>
                    <a:pt x="1049179" y="272891"/>
                  </a:lnTo>
                  <a:lnTo>
                    <a:pt x="1049369" y="274511"/>
                  </a:lnTo>
                  <a:lnTo>
                    <a:pt x="1046226" y="274892"/>
                  </a:lnTo>
                  <a:lnTo>
                    <a:pt x="1045655" y="270129"/>
                  </a:lnTo>
                  <a:lnTo>
                    <a:pt x="1046797" y="266795"/>
                  </a:lnTo>
                  <a:lnTo>
                    <a:pt x="1043654" y="267176"/>
                  </a:lnTo>
                  <a:lnTo>
                    <a:pt x="1041273" y="261080"/>
                  </a:lnTo>
                  <a:lnTo>
                    <a:pt x="1039654" y="261271"/>
                  </a:lnTo>
                  <a:lnTo>
                    <a:pt x="1042225" y="256127"/>
                  </a:lnTo>
                  <a:lnTo>
                    <a:pt x="1032796" y="257366"/>
                  </a:lnTo>
                  <a:lnTo>
                    <a:pt x="1032224" y="252603"/>
                  </a:lnTo>
                  <a:lnTo>
                    <a:pt x="1035558" y="253746"/>
                  </a:lnTo>
                  <a:lnTo>
                    <a:pt x="1034987" y="248984"/>
                  </a:lnTo>
                  <a:lnTo>
                    <a:pt x="1033367" y="249174"/>
                  </a:lnTo>
                  <a:lnTo>
                    <a:pt x="1035748" y="242507"/>
                  </a:lnTo>
                  <a:lnTo>
                    <a:pt x="1035368" y="239363"/>
                  </a:lnTo>
                  <a:lnTo>
                    <a:pt x="1030605" y="239935"/>
                  </a:lnTo>
                  <a:lnTo>
                    <a:pt x="1030224" y="236792"/>
                  </a:lnTo>
                  <a:lnTo>
                    <a:pt x="1025652" y="238982"/>
                  </a:lnTo>
                  <a:lnTo>
                    <a:pt x="1020699" y="238030"/>
                  </a:lnTo>
                  <a:lnTo>
                    <a:pt x="1013555" y="232505"/>
                  </a:lnTo>
                  <a:lnTo>
                    <a:pt x="1014698" y="229171"/>
                  </a:lnTo>
                  <a:lnTo>
                    <a:pt x="1016508" y="230505"/>
                  </a:lnTo>
                  <a:lnTo>
                    <a:pt x="1017270" y="224028"/>
                  </a:lnTo>
                  <a:lnTo>
                    <a:pt x="1016698" y="219266"/>
                  </a:lnTo>
                  <a:lnTo>
                    <a:pt x="1012127" y="208598"/>
                  </a:lnTo>
                  <a:lnTo>
                    <a:pt x="1011936" y="206978"/>
                  </a:lnTo>
                  <a:lnTo>
                    <a:pt x="1013555" y="206788"/>
                  </a:lnTo>
                  <a:lnTo>
                    <a:pt x="1012507" y="198882"/>
                  </a:lnTo>
                  <a:lnTo>
                    <a:pt x="1010698" y="197453"/>
                  </a:lnTo>
                  <a:lnTo>
                    <a:pt x="1008697" y="194500"/>
                  </a:lnTo>
                  <a:lnTo>
                    <a:pt x="1005745" y="196501"/>
                  </a:lnTo>
                  <a:lnTo>
                    <a:pt x="1002221" y="193738"/>
                  </a:lnTo>
                  <a:lnTo>
                    <a:pt x="1000601" y="193929"/>
                  </a:lnTo>
                  <a:lnTo>
                    <a:pt x="1000220" y="190786"/>
                  </a:lnTo>
                  <a:lnTo>
                    <a:pt x="1004983" y="190214"/>
                  </a:lnTo>
                  <a:lnTo>
                    <a:pt x="1006316" y="188404"/>
                  </a:lnTo>
                  <a:lnTo>
                    <a:pt x="1004316" y="185452"/>
                  </a:lnTo>
                  <a:lnTo>
                    <a:pt x="992886" y="183737"/>
                  </a:lnTo>
                  <a:lnTo>
                    <a:pt x="992314" y="178975"/>
                  </a:lnTo>
                  <a:lnTo>
                    <a:pt x="989171" y="179356"/>
                  </a:lnTo>
                  <a:lnTo>
                    <a:pt x="987171" y="176403"/>
                  </a:lnTo>
                  <a:lnTo>
                    <a:pt x="993457" y="175641"/>
                  </a:lnTo>
                  <a:lnTo>
                    <a:pt x="992219" y="166211"/>
                  </a:lnTo>
                  <a:lnTo>
                    <a:pt x="985266" y="162306"/>
                  </a:lnTo>
                  <a:lnTo>
                    <a:pt x="983266" y="159353"/>
                  </a:lnTo>
                  <a:lnTo>
                    <a:pt x="984599" y="157544"/>
                  </a:lnTo>
                  <a:lnTo>
                    <a:pt x="981265" y="156400"/>
                  </a:lnTo>
                  <a:lnTo>
                    <a:pt x="981075" y="154781"/>
                  </a:lnTo>
                  <a:lnTo>
                    <a:pt x="977741" y="153638"/>
                  </a:lnTo>
                  <a:lnTo>
                    <a:pt x="973836" y="160592"/>
                  </a:lnTo>
                  <a:lnTo>
                    <a:pt x="962787" y="149162"/>
                  </a:lnTo>
                  <a:lnTo>
                    <a:pt x="960977" y="147828"/>
                  </a:lnTo>
                  <a:lnTo>
                    <a:pt x="958215" y="151352"/>
                  </a:lnTo>
                  <a:lnTo>
                    <a:pt x="954881" y="150209"/>
                  </a:lnTo>
                  <a:lnTo>
                    <a:pt x="940118" y="160115"/>
                  </a:lnTo>
                  <a:lnTo>
                    <a:pt x="935355" y="160687"/>
                  </a:lnTo>
                  <a:lnTo>
                    <a:pt x="932402" y="162687"/>
                  </a:lnTo>
                  <a:lnTo>
                    <a:pt x="934212" y="164021"/>
                  </a:lnTo>
                  <a:lnTo>
                    <a:pt x="935831" y="163830"/>
                  </a:lnTo>
                  <a:lnTo>
                    <a:pt x="937641" y="165163"/>
                  </a:lnTo>
                  <a:lnTo>
                    <a:pt x="934498" y="165545"/>
                  </a:lnTo>
                  <a:lnTo>
                    <a:pt x="933545" y="170498"/>
                  </a:lnTo>
                  <a:lnTo>
                    <a:pt x="930593" y="172498"/>
                  </a:lnTo>
                  <a:lnTo>
                    <a:pt x="925449" y="169926"/>
                  </a:lnTo>
                  <a:lnTo>
                    <a:pt x="921163" y="173641"/>
                  </a:lnTo>
                  <a:lnTo>
                    <a:pt x="927449" y="172879"/>
                  </a:lnTo>
                  <a:lnTo>
                    <a:pt x="931164" y="177165"/>
                  </a:lnTo>
                  <a:lnTo>
                    <a:pt x="928783" y="183833"/>
                  </a:lnTo>
                  <a:lnTo>
                    <a:pt x="930402" y="183642"/>
                  </a:lnTo>
                  <a:lnTo>
                    <a:pt x="933736" y="184785"/>
                  </a:lnTo>
                  <a:lnTo>
                    <a:pt x="936688" y="182785"/>
                  </a:lnTo>
                  <a:lnTo>
                    <a:pt x="936879" y="184404"/>
                  </a:lnTo>
                  <a:lnTo>
                    <a:pt x="938689" y="185738"/>
                  </a:lnTo>
                  <a:lnTo>
                    <a:pt x="941070" y="191834"/>
                  </a:lnTo>
                  <a:lnTo>
                    <a:pt x="942689" y="191643"/>
                  </a:lnTo>
                  <a:lnTo>
                    <a:pt x="943261" y="196405"/>
                  </a:lnTo>
                  <a:lnTo>
                    <a:pt x="944594" y="194596"/>
                  </a:lnTo>
                  <a:lnTo>
                    <a:pt x="949357" y="194024"/>
                  </a:lnTo>
                  <a:lnTo>
                    <a:pt x="949738" y="197167"/>
                  </a:lnTo>
                  <a:lnTo>
                    <a:pt x="953072" y="198311"/>
                  </a:lnTo>
                  <a:lnTo>
                    <a:pt x="951929" y="201644"/>
                  </a:lnTo>
                  <a:lnTo>
                    <a:pt x="952119" y="203263"/>
                  </a:lnTo>
                  <a:lnTo>
                    <a:pt x="947642" y="205454"/>
                  </a:lnTo>
                  <a:lnTo>
                    <a:pt x="946499" y="208788"/>
                  </a:lnTo>
                  <a:lnTo>
                    <a:pt x="948499" y="211741"/>
                  </a:lnTo>
                  <a:lnTo>
                    <a:pt x="956786" y="213932"/>
                  </a:lnTo>
                  <a:lnTo>
                    <a:pt x="958596" y="215265"/>
                  </a:lnTo>
                  <a:lnTo>
                    <a:pt x="957834" y="221742"/>
                  </a:lnTo>
                  <a:lnTo>
                    <a:pt x="965168" y="228791"/>
                  </a:lnTo>
                  <a:lnTo>
                    <a:pt x="959453" y="234315"/>
                  </a:lnTo>
                  <a:lnTo>
                    <a:pt x="956500" y="236315"/>
                  </a:lnTo>
                  <a:lnTo>
                    <a:pt x="952500" y="230410"/>
                  </a:lnTo>
                  <a:lnTo>
                    <a:pt x="949357" y="243650"/>
                  </a:lnTo>
                  <a:lnTo>
                    <a:pt x="947738" y="243840"/>
                  </a:lnTo>
                  <a:lnTo>
                    <a:pt x="948309" y="248603"/>
                  </a:lnTo>
                  <a:lnTo>
                    <a:pt x="948499" y="250222"/>
                  </a:lnTo>
                  <a:lnTo>
                    <a:pt x="947738" y="256699"/>
                  </a:lnTo>
                  <a:lnTo>
                    <a:pt x="951547" y="260985"/>
                  </a:lnTo>
                  <a:lnTo>
                    <a:pt x="948214" y="259842"/>
                  </a:lnTo>
                  <a:lnTo>
                    <a:pt x="943928" y="263557"/>
                  </a:lnTo>
                  <a:lnTo>
                    <a:pt x="939165" y="264128"/>
                  </a:lnTo>
                  <a:lnTo>
                    <a:pt x="933260" y="268129"/>
                  </a:lnTo>
                  <a:lnTo>
                    <a:pt x="928116" y="278416"/>
                  </a:lnTo>
                  <a:lnTo>
                    <a:pt x="928497" y="281559"/>
                  </a:lnTo>
                  <a:lnTo>
                    <a:pt x="925544" y="283559"/>
                  </a:lnTo>
                  <a:lnTo>
                    <a:pt x="921544" y="277654"/>
                  </a:lnTo>
                  <a:lnTo>
                    <a:pt x="911447" y="274130"/>
                  </a:lnTo>
                  <a:lnTo>
                    <a:pt x="903922" y="265462"/>
                  </a:lnTo>
                  <a:lnTo>
                    <a:pt x="886778" y="256413"/>
                  </a:lnTo>
                  <a:lnTo>
                    <a:pt x="889159" y="249746"/>
                  </a:lnTo>
                  <a:lnTo>
                    <a:pt x="884206" y="248793"/>
                  </a:lnTo>
                  <a:lnTo>
                    <a:pt x="883063" y="252127"/>
                  </a:lnTo>
                  <a:lnTo>
                    <a:pt x="879729" y="250984"/>
                  </a:lnTo>
                  <a:lnTo>
                    <a:pt x="878967" y="244697"/>
                  </a:lnTo>
                  <a:lnTo>
                    <a:pt x="881348" y="238030"/>
                  </a:lnTo>
                  <a:lnTo>
                    <a:pt x="880967" y="234887"/>
                  </a:lnTo>
                  <a:lnTo>
                    <a:pt x="883539" y="229743"/>
                  </a:lnTo>
                  <a:lnTo>
                    <a:pt x="890016" y="230505"/>
                  </a:lnTo>
                  <a:lnTo>
                    <a:pt x="891445" y="228695"/>
                  </a:lnTo>
                  <a:lnTo>
                    <a:pt x="897731" y="227933"/>
                  </a:lnTo>
                  <a:lnTo>
                    <a:pt x="899065" y="226124"/>
                  </a:lnTo>
                  <a:lnTo>
                    <a:pt x="900874" y="227457"/>
                  </a:lnTo>
                  <a:lnTo>
                    <a:pt x="901827" y="222504"/>
                  </a:lnTo>
                  <a:lnTo>
                    <a:pt x="901446" y="219361"/>
                  </a:lnTo>
                  <a:lnTo>
                    <a:pt x="896493" y="218408"/>
                  </a:lnTo>
                  <a:lnTo>
                    <a:pt x="897827" y="216599"/>
                  </a:lnTo>
                  <a:lnTo>
                    <a:pt x="895636" y="212026"/>
                  </a:lnTo>
                  <a:lnTo>
                    <a:pt x="892493" y="212408"/>
                  </a:lnTo>
                  <a:lnTo>
                    <a:pt x="894683" y="204121"/>
                  </a:lnTo>
                  <a:lnTo>
                    <a:pt x="892873" y="202787"/>
                  </a:lnTo>
                  <a:lnTo>
                    <a:pt x="886587" y="203549"/>
                  </a:lnTo>
                  <a:lnTo>
                    <a:pt x="884587" y="200596"/>
                  </a:lnTo>
                  <a:lnTo>
                    <a:pt x="879634" y="199644"/>
                  </a:lnTo>
                  <a:lnTo>
                    <a:pt x="880586" y="181928"/>
                  </a:lnTo>
                  <a:lnTo>
                    <a:pt x="877253" y="180784"/>
                  </a:lnTo>
                  <a:lnTo>
                    <a:pt x="880396" y="180404"/>
                  </a:lnTo>
                  <a:lnTo>
                    <a:pt x="880205" y="178784"/>
                  </a:lnTo>
                  <a:lnTo>
                    <a:pt x="876205" y="172879"/>
                  </a:lnTo>
                  <a:lnTo>
                    <a:pt x="875633" y="168116"/>
                  </a:lnTo>
                  <a:lnTo>
                    <a:pt x="873633" y="165163"/>
                  </a:lnTo>
                  <a:lnTo>
                    <a:pt x="872871" y="158877"/>
                  </a:lnTo>
                  <a:lnTo>
                    <a:pt x="869156" y="154496"/>
                  </a:lnTo>
                  <a:lnTo>
                    <a:pt x="872490" y="142875"/>
                  </a:lnTo>
                  <a:lnTo>
                    <a:pt x="870490" y="139922"/>
                  </a:lnTo>
                  <a:lnTo>
                    <a:pt x="876205" y="134398"/>
                  </a:lnTo>
                  <a:lnTo>
                    <a:pt x="879538" y="135541"/>
                  </a:lnTo>
                  <a:lnTo>
                    <a:pt x="882491" y="133541"/>
                  </a:lnTo>
                  <a:lnTo>
                    <a:pt x="883825" y="131731"/>
                  </a:lnTo>
                  <a:lnTo>
                    <a:pt x="882777" y="123825"/>
                  </a:lnTo>
                  <a:lnTo>
                    <a:pt x="880777" y="120872"/>
                  </a:lnTo>
                  <a:lnTo>
                    <a:pt x="884682" y="113919"/>
                  </a:lnTo>
                  <a:lnTo>
                    <a:pt x="889254" y="111728"/>
                  </a:lnTo>
                  <a:lnTo>
                    <a:pt x="894397" y="114300"/>
                  </a:lnTo>
                  <a:lnTo>
                    <a:pt x="900684" y="113538"/>
                  </a:lnTo>
                  <a:lnTo>
                    <a:pt x="902018" y="111728"/>
                  </a:lnTo>
                  <a:lnTo>
                    <a:pt x="900398" y="111919"/>
                  </a:lnTo>
                  <a:lnTo>
                    <a:pt x="898588" y="110585"/>
                  </a:lnTo>
                  <a:lnTo>
                    <a:pt x="895636" y="112586"/>
                  </a:lnTo>
                  <a:lnTo>
                    <a:pt x="895445" y="110966"/>
                  </a:lnTo>
                  <a:lnTo>
                    <a:pt x="890492" y="110014"/>
                  </a:lnTo>
                  <a:lnTo>
                    <a:pt x="888682" y="108680"/>
                  </a:lnTo>
                  <a:lnTo>
                    <a:pt x="887539" y="112014"/>
                  </a:lnTo>
                  <a:lnTo>
                    <a:pt x="887158" y="108871"/>
                  </a:lnTo>
                  <a:lnTo>
                    <a:pt x="888587" y="107061"/>
                  </a:lnTo>
                  <a:lnTo>
                    <a:pt x="884206" y="110776"/>
                  </a:lnTo>
                  <a:lnTo>
                    <a:pt x="876110" y="110204"/>
                  </a:lnTo>
                  <a:lnTo>
                    <a:pt x="867442" y="104870"/>
                  </a:lnTo>
                  <a:lnTo>
                    <a:pt x="865441" y="101917"/>
                  </a:lnTo>
                  <a:lnTo>
                    <a:pt x="858774" y="99536"/>
                  </a:lnTo>
                  <a:lnTo>
                    <a:pt x="855821" y="101537"/>
                  </a:lnTo>
                  <a:lnTo>
                    <a:pt x="850868" y="100584"/>
                  </a:lnTo>
                  <a:lnTo>
                    <a:pt x="847535" y="99441"/>
                  </a:lnTo>
                  <a:lnTo>
                    <a:pt x="841438" y="101822"/>
                  </a:lnTo>
                  <a:lnTo>
                    <a:pt x="834962" y="101060"/>
                  </a:lnTo>
                  <a:lnTo>
                    <a:pt x="837343" y="94393"/>
                  </a:lnTo>
                  <a:lnTo>
                    <a:pt x="840296" y="92392"/>
                  </a:lnTo>
                  <a:lnTo>
                    <a:pt x="842486" y="84106"/>
                  </a:lnTo>
                  <a:lnTo>
                    <a:pt x="845248" y="80582"/>
                  </a:lnTo>
                  <a:lnTo>
                    <a:pt x="845058" y="78962"/>
                  </a:lnTo>
                  <a:lnTo>
                    <a:pt x="844868" y="77343"/>
                  </a:lnTo>
                  <a:lnTo>
                    <a:pt x="841724" y="77724"/>
                  </a:lnTo>
                  <a:lnTo>
                    <a:pt x="839914" y="76391"/>
                  </a:lnTo>
                  <a:lnTo>
                    <a:pt x="840677" y="69913"/>
                  </a:lnTo>
                  <a:lnTo>
                    <a:pt x="838295" y="63817"/>
                  </a:lnTo>
                  <a:lnTo>
                    <a:pt x="838105" y="62198"/>
                  </a:lnTo>
                  <a:lnTo>
                    <a:pt x="841057" y="60198"/>
                  </a:lnTo>
                  <a:lnTo>
                    <a:pt x="838867" y="55626"/>
                  </a:lnTo>
                  <a:lnTo>
                    <a:pt x="842010" y="55245"/>
                  </a:lnTo>
                  <a:lnTo>
                    <a:pt x="838010" y="49340"/>
                  </a:lnTo>
                  <a:lnTo>
                    <a:pt x="843534" y="55054"/>
                  </a:lnTo>
                  <a:lnTo>
                    <a:pt x="850202" y="57436"/>
                  </a:lnTo>
                  <a:lnTo>
                    <a:pt x="852202" y="60388"/>
                  </a:lnTo>
                  <a:lnTo>
                    <a:pt x="853154" y="55436"/>
                  </a:lnTo>
                  <a:lnTo>
                    <a:pt x="855345" y="60008"/>
                  </a:lnTo>
                  <a:lnTo>
                    <a:pt x="858298" y="58007"/>
                  </a:lnTo>
                  <a:lnTo>
                    <a:pt x="861822" y="60770"/>
                  </a:lnTo>
                  <a:lnTo>
                    <a:pt x="864013" y="65342"/>
                  </a:lnTo>
                  <a:lnTo>
                    <a:pt x="865822" y="66675"/>
                  </a:lnTo>
                  <a:lnTo>
                    <a:pt x="873538" y="64103"/>
                  </a:lnTo>
                  <a:lnTo>
                    <a:pt x="878014" y="61913"/>
                  </a:lnTo>
                  <a:lnTo>
                    <a:pt x="879157" y="58579"/>
                  </a:lnTo>
                  <a:lnTo>
                    <a:pt x="875824" y="57436"/>
                  </a:lnTo>
                  <a:lnTo>
                    <a:pt x="873443" y="51340"/>
                  </a:lnTo>
                  <a:lnTo>
                    <a:pt x="868489" y="50387"/>
                  </a:lnTo>
                  <a:lnTo>
                    <a:pt x="869252" y="43910"/>
                  </a:lnTo>
                  <a:lnTo>
                    <a:pt x="871061" y="45244"/>
                  </a:lnTo>
                  <a:lnTo>
                    <a:pt x="875538" y="43053"/>
                  </a:lnTo>
                  <a:lnTo>
                    <a:pt x="875157" y="39910"/>
                  </a:lnTo>
                  <a:lnTo>
                    <a:pt x="881253" y="37529"/>
                  </a:lnTo>
                  <a:lnTo>
                    <a:pt x="879443" y="36195"/>
                  </a:lnTo>
                  <a:lnTo>
                    <a:pt x="865441" y="39624"/>
                  </a:lnTo>
                  <a:lnTo>
                    <a:pt x="858488" y="35719"/>
                  </a:lnTo>
                  <a:lnTo>
                    <a:pt x="846391" y="29242"/>
                  </a:lnTo>
                  <a:lnTo>
                    <a:pt x="843058" y="28099"/>
                  </a:lnTo>
                  <a:lnTo>
                    <a:pt x="824294" y="19241"/>
                  </a:lnTo>
                  <a:lnTo>
                    <a:pt x="822674" y="19431"/>
                  </a:lnTo>
                  <a:lnTo>
                    <a:pt x="819340" y="18288"/>
                  </a:lnTo>
                  <a:lnTo>
                    <a:pt x="816959" y="12192"/>
                  </a:lnTo>
                  <a:lnTo>
                    <a:pt x="802100" y="9239"/>
                  </a:lnTo>
                  <a:lnTo>
                    <a:pt x="804863" y="5715"/>
                  </a:lnTo>
                  <a:lnTo>
                    <a:pt x="798957" y="9716"/>
                  </a:lnTo>
                  <a:lnTo>
                    <a:pt x="795623" y="8573"/>
                  </a:lnTo>
                  <a:lnTo>
                    <a:pt x="794290" y="10382"/>
                  </a:lnTo>
                  <a:lnTo>
                    <a:pt x="790956" y="9239"/>
                  </a:lnTo>
                  <a:lnTo>
                    <a:pt x="782288" y="3905"/>
                  </a:lnTo>
                  <a:lnTo>
                    <a:pt x="780955" y="5715"/>
                  </a:lnTo>
                  <a:lnTo>
                    <a:pt x="784288" y="6858"/>
                  </a:lnTo>
                  <a:lnTo>
                    <a:pt x="784670" y="10001"/>
                  </a:lnTo>
                  <a:lnTo>
                    <a:pt x="778002" y="7620"/>
                  </a:lnTo>
                  <a:lnTo>
                    <a:pt x="772478" y="14764"/>
                  </a:lnTo>
                  <a:lnTo>
                    <a:pt x="759809" y="3524"/>
                  </a:lnTo>
                  <a:lnTo>
                    <a:pt x="749713" y="0"/>
                  </a:lnTo>
                  <a:lnTo>
                    <a:pt x="748094" y="191"/>
                  </a:lnTo>
                  <a:lnTo>
                    <a:pt x="747141" y="5144"/>
                  </a:lnTo>
                  <a:lnTo>
                    <a:pt x="749141" y="8096"/>
                  </a:lnTo>
                  <a:lnTo>
                    <a:pt x="745998" y="8477"/>
                  </a:lnTo>
                  <a:lnTo>
                    <a:pt x="746188" y="10096"/>
                  </a:lnTo>
                  <a:lnTo>
                    <a:pt x="738283" y="11144"/>
                  </a:lnTo>
                  <a:lnTo>
                    <a:pt x="738283" y="11144"/>
                  </a:lnTo>
                  <a:lnTo>
                    <a:pt x="734949" y="10001"/>
                  </a:lnTo>
                  <a:lnTo>
                    <a:pt x="729805" y="7429"/>
                  </a:lnTo>
                  <a:lnTo>
                    <a:pt x="725519" y="11144"/>
                  </a:lnTo>
                  <a:lnTo>
                    <a:pt x="718566" y="7239"/>
                  </a:lnTo>
                  <a:lnTo>
                    <a:pt x="717995" y="2476"/>
                  </a:lnTo>
                  <a:lnTo>
                    <a:pt x="713708" y="6287"/>
                  </a:lnTo>
                  <a:lnTo>
                    <a:pt x="712089" y="6477"/>
                  </a:lnTo>
                  <a:lnTo>
                    <a:pt x="708565" y="3715"/>
                  </a:lnTo>
                  <a:lnTo>
                    <a:pt x="703802" y="4286"/>
                  </a:lnTo>
                  <a:lnTo>
                    <a:pt x="700849" y="6287"/>
                  </a:lnTo>
                  <a:lnTo>
                    <a:pt x="701230" y="9430"/>
                  </a:lnTo>
                  <a:lnTo>
                    <a:pt x="697135" y="14764"/>
                  </a:lnTo>
                  <a:lnTo>
                    <a:pt x="698182" y="22670"/>
                  </a:lnTo>
                  <a:lnTo>
                    <a:pt x="698754" y="27432"/>
                  </a:lnTo>
                  <a:lnTo>
                    <a:pt x="697421" y="29242"/>
                  </a:lnTo>
                  <a:lnTo>
                    <a:pt x="697611" y="30861"/>
                  </a:lnTo>
                  <a:lnTo>
                    <a:pt x="693706" y="37814"/>
                  </a:lnTo>
                  <a:lnTo>
                    <a:pt x="696087" y="43910"/>
                  </a:lnTo>
                  <a:lnTo>
                    <a:pt x="696468" y="47054"/>
                  </a:lnTo>
                  <a:lnTo>
                    <a:pt x="693515" y="49054"/>
                  </a:lnTo>
                  <a:lnTo>
                    <a:pt x="693134" y="45911"/>
                  </a:lnTo>
                  <a:lnTo>
                    <a:pt x="690181" y="47911"/>
                  </a:lnTo>
                  <a:lnTo>
                    <a:pt x="677132" y="46387"/>
                  </a:lnTo>
                  <a:lnTo>
                    <a:pt x="677513" y="49530"/>
                  </a:lnTo>
                  <a:lnTo>
                    <a:pt x="674180" y="48387"/>
                  </a:lnTo>
                  <a:lnTo>
                    <a:pt x="672370" y="47054"/>
                  </a:lnTo>
                  <a:lnTo>
                    <a:pt x="669417" y="49054"/>
                  </a:lnTo>
                  <a:lnTo>
                    <a:pt x="667607" y="47720"/>
                  </a:lnTo>
                  <a:lnTo>
                    <a:pt x="660082" y="39053"/>
                  </a:lnTo>
                  <a:lnTo>
                    <a:pt x="656939" y="39433"/>
                  </a:lnTo>
                  <a:lnTo>
                    <a:pt x="646938" y="48768"/>
                  </a:lnTo>
                  <a:lnTo>
                    <a:pt x="640461" y="48006"/>
                  </a:lnTo>
                  <a:lnTo>
                    <a:pt x="637508" y="50006"/>
                  </a:lnTo>
                  <a:lnTo>
                    <a:pt x="634365" y="50387"/>
                  </a:lnTo>
                  <a:lnTo>
                    <a:pt x="631412" y="52388"/>
                  </a:lnTo>
                  <a:lnTo>
                    <a:pt x="628269" y="52769"/>
                  </a:lnTo>
                  <a:lnTo>
                    <a:pt x="630269" y="42863"/>
                  </a:lnTo>
                  <a:lnTo>
                    <a:pt x="625126" y="40291"/>
                  </a:lnTo>
                  <a:lnTo>
                    <a:pt x="623506" y="40481"/>
                  </a:lnTo>
                  <a:lnTo>
                    <a:pt x="621697" y="39148"/>
                  </a:lnTo>
                  <a:lnTo>
                    <a:pt x="619125" y="44291"/>
                  </a:lnTo>
                  <a:lnTo>
                    <a:pt x="614553" y="46482"/>
                  </a:lnTo>
                  <a:lnTo>
                    <a:pt x="607886" y="44101"/>
                  </a:lnTo>
                  <a:lnTo>
                    <a:pt x="606933" y="49054"/>
                  </a:lnTo>
                  <a:lnTo>
                    <a:pt x="609505" y="56769"/>
                  </a:lnTo>
                  <a:lnTo>
                    <a:pt x="600837" y="64294"/>
                  </a:lnTo>
                  <a:lnTo>
                    <a:pt x="601599" y="70580"/>
                  </a:lnTo>
                  <a:lnTo>
                    <a:pt x="596455" y="68008"/>
                  </a:lnTo>
                  <a:lnTo>
                    <a:pt x="592455" y="62103"/>
                  </a:lnTo>
                  <a:lnTo>
                    <a:pt x="589121" y="60960"/>
                  </a:lnTo>
                  <a:lnTo>
                    <a:pt x="591122" y="63913"/>
                  </a:lnTo>
                  <a:lnTo>
                    <a:pt x="592360" y="73342"/>
                  </a:lnTo>
                  <a:lnTo>
                    <a:pt x="591026" y="75152"/>
                  </a:lnTo>
                  <a:lnTo>
                    <a:pt x="589407" y="75343"/>
                  </a:lnTo>
                  <a:lnTo>
                    <a:pt x="590169" y="81629"/>
                  </a:lnTo>
                  <a:lnTo>
                    <a:pt x="586264" y="88583"/>
                  </a:lnTo>
                  <a:lnTo>
                    <a:pt x="585121" y="91916"/>
                  </a:lnTo>
                  <a:lnTo>
                    <a:pt x="578834" y="92678"/>
                  </a:lnTo>
                  <a:lnTo>
                    <a:pt x="577691" y="96012"/>
                  </a:lnTo>
                  <a:lnTo>
                    <a:pt x="581025" y="97155"/>
                  </a:lnTo>
                  <a:lnTo>
                    <a:pt x="581597" y="101917"/>
                  </a:lnTo>
                  <a:lnTo>
                    <a:pt x="583121" y="101727"/>
                  </a:lnTo>
                  <a:lnTo>
                    <a:pt x="584930" y="103061"/>
                  </a:lnTo>
                  <a:lnTo>
                    <a:pt x="586740" y="104394"/>
                  </a:lnTo>
                  <a:lnTo>
                    <a:pt x="588740" y="107347"/>
                  </a:lnTo>
                  <a:lnTo>
                    <a:pt x="593503" y="106775"/>
                  </a:lnTo>
                  <a:lnTo>
                    <a:pt x="593693" y="108395"/>
                  </a:lnTo>
                  <a:lnTo>
                    <a:pt x="605123" y="110109"/>
                  </a:lnTo>
                  <a:lnTo>
                    <a:pt x="609314" y="117634"/>
                  </a:lnTo>
                  <a:lnTo>
                    <a:pt x="610362" y="125540"/>
                  </a:lnTo>
                  <a:lnTo>
                    <a:pt x="604456" y="142304"/>
                  </a:lnTo>
                  <a:lnTo>
                    <a:pt x="599694" y="142875"/>
                  </a:lnTo>
                  <a:lnTo>
                    <a:pt x="595979" y="151352"/>
                  </a:lnTo>
                  <a:lnTo>
                    <a:pt x="590074" y="155353"/>
                  </a:lnTo>
                  <a:lnTo>
                    <a:pt x="590455" y="158496"/>
                  </a:lnTo>
                  <a:lnTo>
                    <a:pt x="587693" y="162020"/>
                  </a:lnTo>
                  <a:lnTo>
                    <a:pt x="579977" y="164592"/>
                  </a:lnTo>
                  <a:lnTo>
                    <a:pt x="575596" y="155543"/>
                  </a:lnTo>
                  <a:lnTo>
                    <a:pt x="573596" y="152591"/>
                  </a:lnTo>
                  <a:lnTo>
                    <a:pt x="567309" y="153353"/>
                  </a:lnTo>
                  <a:lnTo>
                    <a:pt x="565975" y="155162"/>
                  </a:lnTo>
                  <a:lnTo>
                    <a:pt x="571310" y="159258"/>
                  </a:lnTo>
                  <a:lnTo>
                    <a:pt x="571500" y="160877"/>
                  </a:lnTo>
                  <a:lnTo>
                    <a:pt x="570357" y="164211"/>
                  </a:lnTo>
                  <a:lnTo>
                    <a:pt x="572548" y="168783"/>
                  </a:lnTo>
                  <a:lnTo>
                    <a:pt x="579501" y="172688"/>
                  </a:lnTo>
                  <a:lnTo>
                    <a:pt x="581311" y="174022"/>
                  </a:lnTo>
                  <a:lnTo>
                    <a:pt x="582454" y="170688"/>
                  </a:lnTo>
                  <a:lnTo>
                    <a:pt x="587407" y="171641"/>
                  </a:lnTo>
                  <a:lnTo>
                    <a:pt x="583121" y="175355"/>
                  </a:lnTo>
                  <a:lnTo>
                    <a:pt x="583502" y="178499"/>
                  </a:lnTo>
                  <a:lnTo>
                    <a:pt x="585502" y="181451"/>
                  </a:lnTo>
                  <a:lnTo>
                    <a:pt x="591979" y="182213"/>
                  </a:lnTo>
                  <a:lnTo>
                    <a:pt x="591217" y="188690"/>
                  </a:lnTo>
                  <a:lnTo>
                    <a:pt x="580739" y="194786"/>
                  </a:lnTo>
                  <a:lnTo>
                    <a:pt x="586454" y="202121"/>
                  </a:lnTo>
                  <a:lnTo>
                    <a:pt x="584073" y="208788"/>
                  </a:lnTo>
                  <a:lnTo>
                    <a:pt x="578168" y="212788"/>
                  </a:lnTo>
                  <a:lnTo>
                    <a:pt x="575596" y="217932"/>
                  </a:lnTo>
                  <a:lnTo>
                    <a:pt x="574834" y="224409"/>
                  </a:lnTo>
                  <a:lnTo>
                    <a:pt x="582549" y="234696"/>
                  </a:lnTo>
                  <a:lnTo>
                    <a:pt x="579787" y="238220"/>
                  </a:lnTo>
                  <a:lnTo>
                    <a:pt x="578644" y="241554"/>
                  </a:lnTo>
                  <a:lnTo>
                    <a:pt x="582168" y="244316"/>
                  </a:lnTo>
                  <a:lnTo>
                    <a:pt x="577882" y="248031"/>
                  </a:lnTo>
                  <a:lnTo>
                    <a:pt x="580072" y="252603"/>
                  </a:lnTo>
                  <a:lnTo>
                    <a:pt x="583406" y="253746"/>
                  </a:lnTo>
                  <a:lnTo>
                    <a:pt x="589312" y="249746"/>
                  </a:lnTo>
                  <a:lnTo>
                    <a:pt x="590074" y="256032"/>
                  </a:lnTo>
                  <a:lnTo>
                    <a:pt x="587312" y="259556"/>
                  </a:lnTo>
                  <a:lnTo>
                    <a:pt x="586169" y="262890"/>
                  </a:lnTo>
                  <a:lnTo>
                    <a:pt x="586930" y="269176"/>
                  </a:lnTo>
                  <a:lnTo>
                    <a:pt x="584740" y="277463"/>
                  </a:lnTo>
                  <a:lnTo>
                    <a:pt x="585311" y="282226"/>
                  </a:lnTo>
                  <a:lnTo>
                    <a:pt x="581978" y="281083"/>
                  </a:lnTo>
                  <a:lnTo>
                    <a:pt x="582168" y="282702"/>
                  </a:lnTo>
                  <a:lnTo>
                    <a:pt x="585121" y="293561"/>
                  </a:lnTo>
                  <a:lnTo>
                    <a:pt x="588264" y="293180"/>
                  </a:lnTo>
                  <a:lnTo>
                    <a:pt x="582739" y="300323"/>
                  </a:lnTo>
                  <a:lnTo>
                    <a:pt x="588455" y="307562"/>
                  </a:lnTo>
                  <a:lnTo>
                    <a:pt x="588645" y="309182"/>
                  </a:lnTo>
                  <a:lnTo>
                    <a:pt x="592360" y="313563"/>
                  </a:lnTo>
                  <a:lnTo>
                    <a:pt x="589026" y="312420"/>
                  </a:lnTo>
                  <a:lnTo>
                    <a:pt x="592360" y="313563"/>
                  </a:lnTo>
                  <a:lnTo>
                    <a:pt x="591407" y="318516"/>
                  </a:lnTo>
                  <a:lnTo>
                    <a:pt x="585121" y="319278"/>
                  </a:lnTo>
                  <a:lnTo>
                    <a:pt x="583978" y="322612"/>
                  </a:lnTo>
                  <a:lnTo>
                    <a:pt x="576739" y="328327"/>
                  </a:lnTo>
                  <a:lnTo>
                    <a:pt x="571976" y="328898"/>
                  </a:lnTo>
                  <a:lnTo>
                    <a:pt x="572167" y="330517"/>
                  </a:lnTo>
                  <a:lnTo>
                    <a:pt x="568071" y="335851"/>
                  </a:lnTo>
                  <a:lnTo>
                    <a:pt x="568262" y="337471"/>
                  </a:lnTo>
                  <a:lnTo>
                    <a:pt x="564928" y="336328"/>
                  </a:lnTo>
                  <a:lnTo>
                    <a:pt x="564166" y="330041"/>
                  </a:lnTo>
                  <a:lnTo>
                    <a:pt x="557879" y="330803"/>
                  </a:lnTo>
                  <a:lnTo>
                    <a:pt x="556450" y="332613"/>
                  </a:lnTo>
                  <a:lnTo>
                    <a:pt x="557022" y="337375"/>
                  </a:lnTo>
                  <a:lnTo>
                    <a:pt x="554260" y="340900"/>
                  </a:lnTo>
                  <a:lnTo>
                    <a:pt x="542639" y="350425"/>
                  </a:lnTo>
                  <a:lnTo>
                    <a:pt x="539305" y="349282"/>
                  </a:lnTo>
                  <a:lnTo>
                    <a:pt x="535019" y="352996"/>
                  </a:lnTo>
                  <a:lnTo>
                    <a:pt x="527113" y="354044"/>
                  </a:lnTo>
                  <a:lnTo>
                    <a:pt x="525494" y="354235"/>
                  </a:lnTo>
                  <a:lnTo>
                    <a:pt x="526066" y="358997"/>
                  </a:lnTo>
                  <a:lnTo>
                    <a:pt x="526256" y="360617"/>
                  </a:lnTo>
                  <a:lnTo>
                    <a:pt x="524923" y="362426"/>
                  </a:lnTo>
                  <a:lnTo>
                    <a:pt x="528923" y="368332"/>
                  </a:lnTo>
                  <a:lnTo>
                    <a:pt x="525971" y="370332"/>
                  </a:lnTo>
                  <a:lnTo>
                    <a:pt x="526542" y="375095"/>
                  </a:lnTo>
                  <a:lnTo>
                    <a:pt x="523780" y="378619"/>
                  </a:lnTo>
                  <a:lnTo>
                    <a:pt x="519017" y="379190"/>
                  </a:lnTo>
                  <a:lnTo>
                    <a:pt x="516255" y="382715"/>
                  </a:lnTo>
                  <a:lnTo>
                    <a:pt x="519779" y="385477"/>
                  </a:lnTo>
                  <a:lnTo>
                    <a:pt x="519970" y="387096"/>
                  </a:lnTo>
                  <a:lnTo>
                    <a:pt x="515017" y="386144"/>
                  </a:lnTo>
                  <a:lnTo>
                    <a:pt x="515398" y="389287"/>
                  </a:lnTo>
                  <a:lnTo>
                    <a:pt x="507682" y="391859"/>
                  </a:lnTo>
                  <a:lnTo>
                    <a:pt x="505873" y="390525"/>
                  </a:lnTo>
                  <a:lnTo>
                    <a:pt x="504444" y="392335"/>
                  </a:lnTo>
                  <a:lnTo>
                    <a:pt x="502253" y="400621"/>
                  </a:lnTo>
                  <a:lnTo>
                    <a:pt x="503301" y="408527"/>
                  </a:lnTo>
                  <a:lnTo>
                    <a:pt x="505492" y="413099"/>
                  </a:lnTo>
                  <a:lnTo>
                    <a:pt x="514921" y="411861"/>
                  </a:lnTo>
                  <a:lnTo>
                    <a:pt x="515112" y="413480"/>
                  </a:lnTo>
                  <a:lnTo>
                    <a:pt x="518446" y="414623"/>
                  </a:lnTo>
                  <a:lnTo>
                    <a:pt x="517493" y="419576"/>
                  </a:lnTo>
                  <a:lnTo>
                    <a:pt x="524447" y="423482"/>
                  </a:lnTo>
                  <a:lnTo>
                    <a:pt x="525494" y="431387"/>
                  </a:lnTo>
                  <a:lnTo>
                    <a:pt x="522351" y="431768"/>
                  </a:lnTo>
                  <a:lnTo>
                    <a:pt x="521018" y="433578"/>
                  </a:lnTo>
                  <a:lnTo>
                    <a:pt x="516446" y="435769"/>
                  </a:lnTo>
                  <a:lnTo>
                    <a:pt x="515112" y="437579"/>
                  </a:lnTo>
                  <a:lnTo>
                    <a:pt x="511969" y="437959"/>
                  </a:lnTo>
                  <a:lnTo>
                    <a:pt x="509969" y="435007"/>
                  </a:lnTo>
                  <a:lnTo>
                    <a:pt x="503682" y="435769"/>
                  </a:lnTo>
                  <a:lnTo>
                    <a:pt x="502063" y="435959"/>
                  </a:lnTo>
                  <a:lnTo>
                    <a:pt x="499300" y="439484"/>
                  </a:lnTo>
                  <a:lnTo>
                    <a:pt x="499872" y="444246"/>
                  </a:lnTo>
                  <a:lnTo>
                    <a:pt x="495776" y="449580"/>
                  </a:lnTo>
                  <a:lnTo>
                    <a:pt x="491109" y="463010"/>
                  </a:lnTo>
                  <a:lnTo>
                    <a:pt x="488537" y="468154"/>
                  </a:lnTo>
                  <a:lnTo>
                    <a:pt x="490919" y="474250"/>
                  </a:lnTo>
                  <a:lnTo>
                    <a:pt x="487204" y="482727"/>
                  </a:lnTo>
                  <a:lnTo>
                    <a:pt x="490728" y="485489"/>
                  </a:lnTo>
                  <a:lnTo>
                    <a:pt x="495490" y="484918"/>
                  </a:lnTo>
                  <a:lnTo>
                    <a:pt x="502158" y="487299"/>
                  </a:lnTo>
                  <a:lnTo>
                    <a:pt x="506921" y="486728"/>
                  </a:lnTo>
                  <a:lnTo>
                    <a:pt x="510635" y="491014"/>
                  </a:lnTo>
                  <a:lnTo>
                    <a:pt x="516160" y="496729"/>
                  </a:lnTo>
                  <a:lnTo>
                    <a:pt x="515207" y="501682"/>
                  </a:lnTo>
                  <a:lnTo>
                    <a:pt x="513397" y="500348"/>
                  </a:lnTo>
                  <a:lnTo>
                    <a:pt x="512255" y="503682"/>
                  </a:lnTo>
                  <a:lnTo>
                    <a:pt x="513683" y="514731"/>
                  </a:lnTo>
                  <a:lnTo>
                    <a:pt x="518636" y="515684"/>
                  </a:lnTo>
                  <a:lnTo>
                    <a:pt x="514921" y="524161"/>
                  </a:lnTo>
                  <a:lnTo>
                    <a:pt x="507968" y="520255"/>
                  </a:lnTo>
                  <a:lnTo>
                    <a:pt x="508349" y="523399"/>
                  </a:lnTo>
                  <a:lnTo>
                    <a:pt x="505587" y="526923"/>
                  </a:lnTo>
                  <a:lnTo>
                    <a:pt x="495681" y="525018"/>
                  </a:lnTo>
                  <a:lnTo>
                    <a:pt x="487775" y="526066"/>
                  </a:lnTo>
                  <a:lnTo>
                    <a:pt x="485775" y="535972"/>
                  </a:lnTo>
                  <a:lnTo>
                    <a:pt x="483013" y="539496"/>
                  </a:lnTo>
                  <a:lnTo>
                    <a:pt x="487966" y="540449"/>
                  </a:lnTo>
                  <a:lnTo>
                    <a:pt x="485394" y="545592"/>
                  </a:lnTo>
                  <a:lnTo>
                    <a:pt x="489966" y="543401"/>
                  </a:lnTo>
                  <a:lnTo>
                    <a:pt x="492157" y="547973"/>
                  </a:lnTo>
                  <a:lnTo>
                    <a:pt x="492728" y="552736"/>
                  </a:lnTo>
                  <a:lnTo>
                    <a:pt x="498253" y="558451"/>
                  </a:lnTo>
                  <a:lnTo>
                    <a:pt x="495490" y="561975"/>
                  </a:lnTo>
                  <a:lnTo>
                    <a:pt x="493681" y="560642"/>
                  </a:lnTo>
                  <a:lnTo>
                    <a:pt x="492728" y="565595"/>
                  </a:lnTo>
                  <a:lnTo>
                    <a:pt x="490156" y="570738"/>
                  </a:lnTo>
                  <a:lnTo>
                    <a:pt x="491776" y="570548"/>
                  </a:lnTo>
                  <a:lnTo>
                    <a:pt x="492919" y="567214"/>
                  </a:lnTo>
                  <a:lnTo>
                    <a:pt x="497872" y="568166"/>
                  </a:lnTo>
                  <a:lnTo>
                    <a:pt x="505111" y="562451"/>
                  </a:lnTo>
                  <a:lnTo>
                    <a:pt x="504539" y="557689"/>
                  </a:lnTo>
                  <a:lnTo>
                    <a:pt x="507873" y="558832"/>
                  </a:lnTo>
                  <a:lnTo>
                    <a:pt x="508445" y="563594"/>
                  </a:lnTo>
                  <a:lnTo>
                    <a:pt x="504730" y="572072"/>
                  </a:lnTo>
                  <a:lnTo>
                    <a:pt x="512826" y="572643"/>
                  </a:lnTo>
                  <a:lnTo>
                    <a:pt x="513397" y="577405"/>
                  </a:lnTo>
                  <a:lnTo>
                    <a:pt x="516541" y="577025"/>
                  </a:lnTo>
                  <a:lnTo>
                    <a:pt x="513779" y="593408"/>
                  </a:lnTo>
                  <a:lnTo>
                    <a:pt x="513969" y="595027"/>
                  </a:lnTo>
                  <a:lnTo>
                    <a:pt x="512159" y="593693"/>
                  </a:lnTo>
                  <a:lnTo>
                    <a:pt x="509588" y="598837"/>
                  </a:lnTo>
                  <a:lnTo>
                    <a:pt x="506825" y="602361"/>
                  </a:lnTo>
                  <a:lnTo>
                    <a:pt x="505682" y="605695"/>
                  </a:lnTo>
                  <a:lnTo>
                    <a:pt x="501110" y="607886"/>
                  </a:lnTo>
                  <a:lnTo>
                    <a:pt x="499967" y="611219"/>
                  </a:lnTo>
                  <a:lnTo>
                    <a:pt x="496824" y="611600"/>
                  </a:lnTo>
                  <a:lnTo>
                    <a:pt x="492252" y="613791"/>
                  </a:lnTo>
                  <a:lnTo>
                    <a:pt x="485775" y="613029"/>
                  </a:lnTo>
                  <a:lnTo>
                    <a:pt x="481013" y="613601"/>
                  </a:lnTo>
                  <a:lnTo>
                    <a:pt x="480060" y="618554"/>
                  </a:lnTo>
                  <a:lnTo>
                    <a:pt x="485965" y="627412"/>
                  </a:lnTo>
                  <a:lnTo>
                    <a:pt x="486346" y="630555"/>
                  </a:lnTo>
                  <a:lnTo>
                    <a:pt x="481584" y="631126"/>
                  </a:lnTo>
                  <a:lnTo>
                    <a:pt x="477488" y="636461"/>
                  </a:lnTo>
                  <a:lnTo>
                    <a:pt x="477869" y="639604"/>
                  </a:lnTo>
                  <a:lnTo>
                    <a:pt x="473773" y="644938"/>
                  </a:lnTo>
                  <a:lnTo>
                    <a:pt x="466820" y="641033"/>
                  </a:lnTo>
                  <a:lnTo>
                    <a:pt x="459296" y="645224"/>
                  </a:lnTo>
                  <a:lnTo>
                    <a:pt x="454152" y="642652"/>
                  </a:lnTo>
                  <a:lnTo>
                    <a:pt x="451390" y="646176"/>
                  </a:lnTo>
                  <a:lnTo>
                    <a:pt x="444437" y="642271"/>
                  </a:lnTo>
                  <a:lnTo>
                    <a:pt x="439674" y="642842"/>
                  </a:lnTo>
                  <a:lnTo>
                    <a:pt x="436912" y="646367"/>
                  </a:lnTo>
                  <a:lnTo>
                    <a:pt x="432149" y="646938"/>
                  </a:lnTo>
                  <a:lnTo>
                    <a:pt x="421672" y="653034"/>
                  </a:lnTo>
                  <a:lnTo>
                    <a:pt x="419862" y="651701"/>
                  </a:lnTo>
                  <a:lnTo>
                    <a:pt x="421672" y="653034"/>
                  </a:lnTo>
                  <a:lnTo>
                    <a:pt x="416147" y="660178"/>
                  </a:lnTo>
                  <a:lnTo>
                    <a:pt x="424624" y="663893"/>
                  </a:lnTo>
                  <a:lnTo>
                    <a:pt x="425196" y="668655"/>
                  </a:lnTo>
                  <a:lnTo>
                    <a:pt x="428530" y="669798"/>
                  </a:lnTo>
                  <a:lnTo>
                    <a:pt x="428911" y="672941"/>
                  </a:lnTo>
                  <a:lnTo>
                    <a:pt x="419862" y="677323"/>
                  </a:lnTo>
                  <a:lnTo>
                    <a:pt x="417671" y="672751"/>
                  </a:lnTo>
                  <a:lnTo>
                    <a:pt x="414528" y="673132"/>
                  </a:lnTo>
                  <a:lnTo>
                    <a:pt x="413575" y="678085"/>
                  </a:lnTo>
                  <a:lnTo>
                    <a:pt x="410623" y="680085"/>
                  </a:lnTo>
                  <a:lnTo>
                    <a:pt x="413956" y="681228"/>
                  </a:lnTo>
                  <a:lnTo>
                    <a:pt x="411004" y="683228"/>
                  </a:lnTo>
                  <a:lnTo>
                    <a:pt x="409670" y="685038"/>
                  </a:lnTo>
                  <a:lnTo>
                    <a:pt x="399383" y="679895"/>
                  </a:lnTo>
                  <a:lnTo>
                    <a:pt x="398050" y="681704"/>
                  </a:lnTo>
                  <a:lnTo>
                    <a:pt x="396907" y="685038"/>
                  </a:lnTo>
                  <a:lnTo>
                    <a:pt x="391763" y="682466"/>
                  </a:lnTo>
                  <a:lnTo>
                    <a:pt x="387001" y="683038"/>
                  </a:lnTo>
                  <a:lnTo>
                    <a:pt x="385572" y="684848"/>
                  </a:lnTo>
                  <a:lnTo>
                    <a:pt x="387953" y="690944"/>
                  </a:lnTo>
                  <a:lnTo>
                    <a:pt x="388144" y="692563"/>
                  </a:lnTo>
                  <a:lnTo>
                    <a:pt x="384620" y="689801"/>
                  </a:lnTo>
                  <a:lnTo>
                    <a:pt x="380619" y="683895"/>
                  </a:lnTo>
                  <a:lnTo>
                    <a:pt x="375666" y="682943"/>
                  </a:lnTo>
                  <a:lnTo>
                    <a:pt x="374523" y="686276"/>
                  </a:lnTo>
                  <a:lnTo>
                    <a:pt x="371189" y="685133"/>
                  </a:lnTo>
                  <a:lnTo>
                    <a:pt x="364046" y="679609"/>
                  </a:lnTo>
                  <a:lnTo>
                    <a:pt x="362426" y="679799"/>
                  </a:lnTo>
                  <a:lnTo>
                    <a:pt x="357664" y="680371"/>
                  </a:lnTo>
                  <a:lnTo>
                    <a:pt x="357473" y="678751"/>
                  </a:lnTo>
                  <a:lnTo>
                    <a:pt x="352711" y="679323"/>
                  </a:lnTo>
                  <a:lnTo>
                    <a:pt x="352139" y="674561"/>
                  </a:lnTo>
                  <a:lnTo>
                    <a:pt x="350330" y="673227"/>
                  </a:lnTo>
                  <a:lnTo>
                    <a:pt x="347186" y="673608"/>
                  </a:lnTo>
                  <a:lnTo>
                    <a:pt x="347567" y="676751"/>
                  </a:lnTo>
                  <a:lnTo>
                    <a:pt x="349568" y="679704"/>
                  </a:lnTo>
                  <a:lnTo>
                    <a:pt x="348805" y="686181"/>
                  </a:lnTo>
                  <a:lnTo>
                    <a:pt x="344043" y="686753"/>
                  </a:lnTo>
                  <a:lnTo>
                    <a:pt x="340138" y="693706"/>
                  </a:lnTo>
                  <a:lnTo>
                    <a:pt x="336995" y="694087"/>
                  </a:lnTo>
                  <a:lnTo>
                    <a:pt x="334042" y="696087"/>
                  </a:lnTo>
                  <a:lnTo>
                    <a:pt x="325946" y="695516"/>
                  </a:lnTo>
                  <a:lnTo>
                    <a:pt x="319469" y="694754"/>
                  </a:lnTo>
                  <a:lnTo>
                    <a:pt x="312325" y="689229"/>
                  </a:lnTo>
                  <a:lnTo>
                    <a:pt x="310324" y="686276"/>
                  </a:lnTo>
                  <a:lnTo>
                    <a:pt x="313468" y="685895"/>
                  </a:lnTo>
                  <a:lnTo>
                    <a:pt x="309944" y="683133"/>
                  </a:lnTo>
                  <a:lnTo>
                    <a:pt x="309753" y="681514"/>
                  </a:lnTo>
                  <a:lnTo>
                    <a:pt x="310134" y="684657"/>
                  </a:lnTo>
                  <a:lnTo>
                    <a:pt x="308800" y="686467"/>
                  </a:lnTo>
                  <a:lnTo>
                    <a:pt x="306800" y="683514"/>
                  </a:lnTo>
                  <a:lnTo>
                    <a:pt x="303657" y="683895"/>
                  </a:lnTo>
                  <a:lnTo>
                    <a:pt x="303276" y="680752"/>
                  </a:lnTo>
                  <a:lnTo>
                    <a:pt x="305086" y="682085"/>
                  </a:lnTo>
                  <a:lnTo>
                    <a:pt x="303086" y="679133"/>
                  </a:lnTo>
                  <a:lnTo>
                    <a:pt x="304514" y="677323"/>
                  </a:lnTo>
                  <a:lnTo>
                    <a:pt x="305657" y="673989"/>
                  </a:lnTo>
                  <a:lnTo>
                    <a:pt x="302323" y="672846"/>
                  </a:lnTo>
                  <a:lnTo>
                    <a:pt x="300133" y="668274"/>
                  </a:lnTo>
                  <a:lnTo>
                    <a:pt x="299752" y="665131"/>
                  </a:lnTo>
                  <a:lnTo>
                    <a:pt x="297752" y="662178"/>
                  </a:lnTo>
                  <a:lnTo>
                    <a:pt x="290513" y="667893"/>
                  </a:lnTo>
                  <a:lnTo>
                    <a:pt x="286607" y="674846"/>
                  </a:lnTo>
                  <a:lnTo>
                    <a:pt x="276130" y="668179"/>
                  </a:lnTo>
                  <a:lnTo>
                    <a:pt x="276130" y="681038"/>
                  </a:lnTo>
                  <a:cubicBezTo>
                    <a:pt x="276130" y="681038"/>
                    <a:pt x="279559" y="682180"/>
                    <a:pt x="279559" y="682180"/>
                  </a:cubicBezTo>
                  <a:lnTo>
                    <a:pt x="270700" y="688086"/>
                  </a:lnTo>
                  <a:lnTo>
                    <a:pt x="265176" y="695230"/>
                  </a:lnTo>
                  <a:lnTo>
                    <a:pt x="263176" y="692277"/>
                  </a:lnTo>
                  <a:lnTo>
                    <a:pt x="260223" y="694277"/>
                  </a:lnTo>
                  <a:lnTo>
                    <a:pt x="255270" y="693325"/>
                  </a:lnTo>
                  <a:lnTo>
                    <a:pt x="256699" y="691515"/>
                  </a:lnTo>
                  <a:lnTo>
                    <a:pt x="261461" y="690944"/>
                  </a:lnTo>
                  <a:lnTo>
                    <a:pt x="261271" y="689324"/>
                  </a:lnTo>
                  <a:lnTo>
                    <a:pt x="250793" y="682657"/>
                  </a:lnTo>
                  <a:lnTo>
                    <a:pt x="246031" y="683228"/>
                  </a:lnTo>
                  <a:lnTo>
                    <a:pt x="242697" y="682085"/>
                  </a:lnTo>
                  <a:lnTo>
                    <a:pt x="245078" y="688181"/>
                  </a:lnTo>
                  <a:lnTo>
                    <a:pt x="242316" y="691705"/>
                  </a:lnTo>
                  <a:lnTo>
                    <a:pt x="242888" y="696468"/>
                  </a:lnTo>
                  <a:lnTo>
                    <a:pt x="238982" y="703421"/>
                  </a:lnTo>
                  <a:lnTo>
                    <a:pt x="242316" y="704564"/>
                  </a:lnTo>
                  <a:lnTo>
                    <a:pt x="240982" y="706374"/>
                  </a:lnTo>
                  <a:lnTo>
                    <a:pt x="239363" y="706565"/>
                  </a:lnTo>
                  <a:lnTo>
                    <a:pt x="241554" y="711137"/>
                  </a:lnTo>
                  <a:lnTo>
                    <a:pt x="239935" y="711327"/>
                  </a:lnTo>
                  <a:lnTo>
                    <a:pt x="236791" y="711708"/>
                  </a:lnTo>
                  <a:lnTo>
                    <a:pt x="234029" y="715232"/>
                  </a:lnTo>
                  <a:lnTo>
                    <a:pt x="237554" y="717995"/>
                  </a:lnTo>
                  <a:lnTo>
                    <a:pt x="231457" y="720376"/>
                  </a:lnTo>
                  <a:lnTo>
                    <a:pt x="230696" y="714089"/>
                  </a:lnTo>
                  <a:lnTo>
                    <a:pt x="227552" y="714470"/>
                  </a:lnTo>
                  <a:lnTo>
                    <a:pt x="219075" y="710755"/>
                  </a:lnTo>
                  <a:lnTo>
                    <a:pt x="216503" y="715899"/>
                  </a:lnTo>
                  <a:lnTo>
                    <a:pt x="209550" y="711994"/>
                  </a:lnTo>
                  <a:lnTo>
                    <a:pt x="204025" y="719138"/>
                  </a:lnTo>
                  <a:lnTo>
                    <a:pt x="197072" y="715232"/>
                  </a:lnTo>
                  <a:lnTo>
                    <a:pt x="194500" y="720376"/>
                  </a:lnTo>
                  <a:lnTo>
                    <a:pt x="187166" y="726091"/>
                  </a:lnTo>
                  <a:lnTo>
                    <a:pt x="185547" y="726281"/>
                  </a:lnTo>
                  <a:lnTo>
                    <a:pt x="181451" y="731615"/>
                  </a:lnTo>
                  <a:lnTo>
                    <a:pt x="187928" y="732377"/>
                  </a:lnTo>
                  <a:lnTo>
                    <a:pt x="188119" y="733997"/>
                  </a:lnTo>
                  <a:lnTo>
                    <a:pt x="186499" y="734187"/>
                  </a:lnTo>
                  <a:lnTo>
                    <a:pt x="185356" y="737521"/>
                  </a:lnTo>
                  <a:lnTo>
                    <a:pt x="180594" y="738092"/>
                  </a:lnTo>
                  <a:lnTo>
                    <a:pt x="180594" y="738092"/>
                  </a:lnTo>
                  <a:lnTo>
                    <a:pt x="178403" y="746379"/>
                  </a:lnTo>
                  <a:lnTo>
                    <a:pt x="170879" y="750570"/>
                  </a:lnTo>
                  <a:lnTo>
                    <a:pt x="158020" y="750570"/>
                  </a:lnTo>
                  <a:cubicBezTo>
                    <a:pt x="158020" y="750570"/>
                    <a:pt x="154686" y="749427"/>
                    <a:pt x="154686" y="749427"/>
                  </a:cubicBezTo>
                  <a:lnTo>
                    <a:pt x="154877" y="751046"/>
                  </a:lnTo>
                  <a:lnTo>
                    <a:pt x="154496" y="760762"/>
                  </a:lnTo>
                  <a:lnTo>
                    <a:pt x="154686" y="762381"/>
                  </a:lnTo>
                  <a:lnTo>
                    <a:pt x="151924" y="765905"/>
                  </a:lnTo>
                  <a:lnTo>
                    <a:pt x="146590" y="761809"/>
                  </a:lnTo>
                  <a:lnTo>
                    <a:pt x="142875" y="770287"/>
                  </a:lnTo>
                  <a:lnTo>
                    <a:pt x="139541" y="769144"/>
                  </a:lnTo>
                  <a:lnTo>
                    <a:pt x="141351" y="770477"/>
                  </a:lnTo>
                  <a:lnTo>
                    <a:pt x="141541" y="772097"/>
                  </a:lnTo>
                  <a:lnTo>
                    <a:pt x="143351" y="773430"/>
                  </a:lnTo>
                  <a:lnTo>
                    <a:pt x="140779" y="778574"/>
                  </a:lnTo>
                  <a:lnTo>
                    <a:pt x="141351" y="783336"/>
                  </a:lnTo>
                  <a:lnTo>
                    <a:pt x="138208" y="783717"/>
                  </a:lnTo>
                  <a:lnTo>
                    <a:pt x="135446" y="787241"/>
                  </a:lnTo>
                  <a:lnTo>
                    <a:pt x="133255" y="782669"/>
                  </a:lnTo>
                  <a:lnTo>
                    <a:pt x="127921" y="778574"/>
                  </a:lnTo>
                  <a:lnTo>
                    <a:pt x="125539" y="772478"/>
                  </a:lnTo>
                  <a:lnTo>
                    <a:pt x="118396" y="766953"/>
                  </a:lnTo>
                  <a:lnTo>
                    <a:pt x="118015" y="763810"/>
                  </a:lnTo>
                  <a:lnTo>
                    <a:pt x="108585" y="765048"/>
                  </a:lnTo>
                  <a:lnTo>
                    <a:pt x="102870" y="770573"/>
                  </a:lnTo>
                  <a:lnTo>
                    <a:pt x="99917" y="772573"/>
                  </a:lnTo>
                  <a:lnTo>
                    <a:pt x="99536" y="769430"/>
                  </a:lnTo>
                  <a:lnTo>
                    <a:pt x="94774" y="770001"/>
                  </a:lnTo>
                  <a:lnTo>
                    <a:pt x="92773" y="767048"/>
                  </a:lnTo>
                  <a:lnTo>
                    <a:pt x="89630" y="767429"/>
                  </a:lnTo>
                  <a:lnTo>
                    <a:pt x="85058" y="769620"/>
                  </a:lnTo>
                  <a:lnTo>
                    <a:pt x="89440" y="778669"/>
                  </a:lnTo>
                  <a:lnTo>
                    <a:pt x="88106" y="780479"/>
                  </a:lnTo>
                  <a:lnTo>
                    <a:pt x="83534" y="782669"/>
                  </a:lnTo>
                  <a:lnTo>
                    <a:pt x="84106" y="787432"/>
                  </a:lnTo>
                  <a:lnTo>
                    <a:pt x="77819" y="788194"/>
                  </a:lnTo>
                  <a:lnTo>
                    <a:pt x="79820" y="791147"/>
                  </a:lnTo>
                  <a:lnTo>
                    <a:pt x="78677" y="794480"/>
                  </a:lnTo>
                  <a:lnTo>
                    <a:pt x="76105" y="799624"/>
                  </a:lnTo>
                  <a:lnTo>
                    <a:pt x="72771" y="798481"/>
                  </a:lnTo>
                  <a:lnTo>
                    <a:pt x="70390" y="792385"/>
                  </a:lnTo>
                  <a:lnTo>
                    <a:pt x="67437" y="794385"/>
                  </a:lnTo>
                  <a:lnTo>
                    <a:pt x="64294" y="794766"/>
                  </a:lnTo>
                  <a:lnTo>
                    <a:pt x="59150" y="792194"/>
                  </a:lnTo>
                  <a:lnTo>
                    <a:pt x="57150" y="789242"/>
                  </a:lnTo>
                  <a:lnTo>
                    <a:pt x="59531" y="782479"/>
                  </a:lnTo>
                  <a:lnTo>
                    <a:pt x="56197" y="781336"/>
                  </a:lnTo>
                  <a:lnTo>
                    <a:pt x="54007" y="776764"/>
                  </a:lnTo>
                  <a:lnTo>
                    <a:pt x="50482" y="774001"/>
                  </a:lnTo>
                  <a:lnTo>
                    <a:pt x="44387" y="776383"/>
                  </a:lnTo>
                  <a:lnTo>
                    <a:pt x="46958" y="784098"/>
                  </a:lnTo>
                  <a:lnTo>
                    <a:pt x="34862" y="777621"/>
                  </a:lnTo>
                  <a:lnTo>
                    <a:pt x="28575" y="778383"/>
                  </a:lnTo>
                  <a:lnTo>
                    <a:pt x="31909" y="779526"/>
                  </a:lnTo>
                  <a:lnTo>
                    <a:pt x="35052" y="779145"/>
                  </a:lnTo>
                  <a:lnTo>
                    <a:pt x="35433" y="782288"/>
                  </a:lnTo>
                  <a:lnTo>
                    <a:pt x="38576" y="781907"/>
                  </a:lnTo>
                  <a:lnTo>
                    <a:pt x="32671" y="785908"/>
                  </a:lnTo>
                  <a:lnTo>
                    <a:pt x="30099" y="791051"/>
                  </a:lnTo>
                  <a:lnTo>
                    <a:pt x="28766" y="792861"/>
                  </a:lnTo>
                  <a:lnTo>
                    <a:pt x="27432" y="794671"/>
                  </a:lnTo>
                  <a:lnTo>
                    <a:pt x="24289" y="795052"/>
                  </a:lnTo>
                  <a:lnTo>
                    <a:pt x="19336" y="794099"/>
                  </a:lnTo>
                  <a:lnTo>
                    <a:pt x="18764" y="789337"/>
                  </a:lnTo>
                  <a:lnTo>
                    <a:pt x="13811" y="788384"/>
                  </a:lnTo>
                  <a:lnTo>
                    <a:pt x="13049" y="794861"/>
                  </a:lnTo>
                  <a:lnTo>
                    <a:pt x="15050" y="797814"/>
                  </a:lnTo>
                  <a:lnTo>
                    <a:pt x="16383" y="796004"/>
                  </a:lnTo>
                  <a:lnTo>
                    <a:pt x="16573" y="797624"/>
                  </a:lnTo>
                  <a:lnTo>
                    <a:pt x="19907" y="798767"/>
                  </a:lnTo>
                  <a:lnTo>
                    <a:pt x="21717" y="800100"/>
                  </a:lnTo>
                  <a:lnTo>
                    <a:pt x="20764" y="805053"/>
                  </a:lnTo>
                  <a:lnTo>
                    <a:pt x="17431" y="803910"/>
                  </a:lnTo>
                  <a:lnTo>
                    <a:pt x="14668" y="807434"/>
                  </a:lnTo>
                  <a:lnTo>
                    <a:pt x="13049" y="807625"/>
                  </a:lnTo>
                  <a:lnTo>
                    <a:pt x="14859" y="808958"/>
                  </a:lnTo>
                  <a:lnTo>
                    <a:pt x="21336" y="809720"/>
                  </a:lnTo>
                  <a:lnTo>
                    <a:pt x="16764" y="811911"/>
                  </a:lnTo>
                  <a:lnTo>
                    <a:pt x="14002" y="815435"/>
                  </a:lnTo>
                  <a:lnTo>
                    <a:pt x="8858" y="812864"/>
                  </a:lnTo>
                  <a:lnTo>
                    <a:pt x="7525" y="814673"/>
                  </a:lnTo>
                  <a:lnTo>
                    <a:pt x="8287" y="820960"/>
                  </a:lnTo>
                  <a:lnTo>
                    <a:pt x="6667" y="821150"/>
                  </a:lnTo>
                  <a:lnTo>
                    <a:pt x="0" y="831628"/>
                  </a:lnTo>
                  <a:lnTo>
                    <a:pt x="13430" y="836295"/>
                  </a:lnTo>
                  <a:lnTo>
                    <a:pt x="27432" y="845725"/>
                  </a:lnTo>
                  <a:lnTo>
                    <a:pt x="43434" y="845249"/>
                  </a:lnTo>
                  <a:lnTo>
                    <a:pt x="49911" y="846010"/>
                  </a:lnTo>
                  <a:lnTo>
                    <a:pt x="52864" y="844010"/>
                  </a:lnTo>
                  <a:lnTo>
                    <a:pt x="58198" y="848106"/>
                  </a:lnTo>
                  <a:lnTo>
                    <a:pt x="65913" y="858393"/>
                  </a:lnTo>
                  <a:lnTo>
                    <a:pt x="70675" y="857822"/>
                  </a:lnTo>
                  <a:lnTo>
                    <a:pt x="68866" y="856488"/>
                  </a:lnTo>
                  <a:lnTo>
                    <a:pt x="82487" y="862775"/>
                  </a:lnTo>
                  <a:lnTo>
                    <a:pt x="91821" y="872776"/>
                  </a:lnTo>
                  <a:lnTo>
                    <a:pt x="95821" y="878681"/>
                  </a:lnTo>
                  <a:lnTo>
                    <a:pt x="102965" y="884206"/>
                  </a:lnTo>
                  <a:lnTo>
                    <a:pt x="107156" y="891731"/>
                  </a:lnTo>
                  <a:lnTo>
                    <a:pt x="110490" y="892874"/>
                  </a:lnTo>
                  <a:lnTo>
                    <a:pt x="114776" y="889159"/>
                  </a:lnTo>
                  <a:lnTo>
                    <a:pt x="122682" y="888111"/>
                  </a:lnTo>
                  <a:lnTo>
                    <a:pt x="125825" y="887730"/>
                  </a:lnTo>
                  <a:lnTo>
                    <a:pt x="126016" y="889349"/>
                  </a:lnTo>
                  <a:lnTo>
                    <a:pt x="144208" y="893445"/>
                  </a:lnTo>
                  <a:lnTo>
                    <a:pt x="154305" y="896969"/>
                  </a:lnTo>
                  <a:lnTo>
                    <a:pt x="165545" y="884301"/>
                  </a:lnTo>
                  <a:lnTo>
                    <a:pt x="169259" y="875824"/>
                  </a:lnTo>
                  <a:lnTo>
                    <a:pt x="171831" y="870680"/>
                  </a:lnTo>
                  <a:lnTo>
                    <a:pt x="181546" y="871061"/>
                  </a:lnTo>
                  <a:lnTo>
                    <a:pt x="191643" y="874585"/>
                  </a:lnTo>
                  <a:lnTo>
                    <a:pt x="202692" y="873157"/>
                  </a:lnTo>
                  <a:lnTo>
                    <a:pt x="206026" y="874300"/>
                  </a:lnTo>
                  <a:lnTo>
                    <a:pt x="209169" y="873919"/>
                  </a:lnTo>
                  <a:lnTo>
                    <a:pt x="214694" y="866775"/>
                  </a:lnTo>
                  <a:lnTo>
                    <a:pt x="216884" y="871347"/>
                  </a:lnTo>
                  <a:lnTo>
                    <a:pt x="222599" y="878681"/>
                  </a:lnTo>
                  <a:lnTo>
                    <a:pt x="221456" y="882015"/>
                  </a:lnTo>
                  <a:lnTo>
                    <a:pt x="216884" y="884206"/>
                  </a:lnTo>
                  <a:lnTo>
                    <a:pt x="217456" y="888968"/>
                  </a:lnTo>
                  <a:lnTo>
                    <a:pt x="227362" y="890873"/>
                  </a:lnTo>
                  <a:lnTo>
                    <a:pt x="232886" y="896588"/>
                  </a:lnTo>
                  <a:lnTo>
                    <a:pt x="240602" y="894017"/>
                  </a:lnTo>
                  <a:lnTo>
                    <a:pt x="240030" y="889254"/>
                  </a:lnTo>
                  <a:lnTo>
                    <a:pt x="238220" y="887921"/>
                  </a:lnTo>
                  <a:lnTo>
                    <a:pt x="241363" y="887540"/>
                  </a:lnTo>
                  <a:lnTo>
                    <a:pt x="243364" y="890492"/>
                  </a:lnTo>
                  <a:lnTo>
                    <a:pt x="243554" y="892111"/>
                  </a:lnTo>
                  <a:lnTo>
                    <a:pt x="243364" y="903351"/>
                  </a:lnTo>
                  <a:lnTo>
                    <a:pt x="247079" y="907637"/>
                  </a:lnTo>
                  <a:lnTo>
                    <a:pt x="250222" y="907256"/>
                  </a:lnTo>
                  <a:lnTo>
                    <a:pt x="255746" y="900113"/>
                  </a:lnTo>
                  <a:lnTo>
                    <a:pt x="259937" y="907637"/>
                  </a:lnTo>
                  <a:lnTo>
                    <a:pt x="260509" y="912400"/>
                  </a:lnTo>
                  <a:lnTo>
                    <a:pt x="258889" y="912590"/>
                  </a:lnTo>
                  <a:lnTo>
                    <a:pt x="255556" y="911447"/>
                  </a:lnTo>
                  <a:lnTo>
                    <a:pt x="253174" y="905351"/>
                  </a:lnTo>
                  <a:lnTo>
                    <a:pt x="253365" y="906971"/>
                  </a:lnTo>
                  <a:lnTo>
                    <a:pt x="252413" y="911924"/>
                  </a:lnTo>
                  <a:lnTo>
                    <a:pt x="254603" y="916496"/>
                  </a:lnTo>
                  <a:lnTo>
                    <a:pt x="264033" y="915257"/>
                  </a:lnTo>
                  <a:lnTo>
                    <a:pt x="269938" y="911257"/>
                  </a:lnTo>
                  <a:lnTo>
                    <a:pt x="273653" y="915543"/>
                  </a:lnTo>
                  <a:lnTo>
                    <a:pt x="278606" y="916496"/>
                  </a:lnTo>
                  <a:lnTo>
                    <a:pt x="275272" y="928116"/>
                  </a:lnTo>
                  <a:lnTo>
                    <a:pt x="278797" y="930878"/>
                  </a:lnTo>
                  <a:lnTo>
                    <a:pt x="282512" y="935260"/>
                  </a:lnTo>
                  <a:lnTo>
                    <a:pt x="285655" y="934879"/>
                  </a:lnTo>
                  <a:lnTo>
                    <a:pt x="288607" y="932878"/>
                  </a:lnTo>
                  <a:lnTo>
                    <a:pt x="287560" y="924973"/>
                  </a:lnTo>
                  <a:lnTo>
                    <a:pt x="290703" y="924592"/>
                  </a:lnTo>
                  <a:lnTo>
                    <a:pt x="292513" y="925925"/>
                  </a:lnTo>
                  <a:lnTo>
                    <a:pt x="291560" y="930878"/>
                  </a:lnTo>
                  <a:lnTo>
                    <a:pt x="299466" y="929831"/>
                  </a:lnTo>
                  <a:lnTo>
                    <a:pt x="301466" y="932783"/>
                  </a:lnTo>
                  <a:lnTo>
                    <a:pt x="294418" y="940118"/>
                  </a:lnTo>
                  <a:lnTo>
                    <a:pt x="294227" y="951357"/>
                  </a:lnTo>
                  <a:lnTo>
                    <a:pt x="303086" y="958215"/>
                  </a:lnTo>
                  <a:lnTo>
                    <a:pt x="306229" y="957834"/>
                  </a:lnTo>
                  <a:lnTo>
                    <a:pt x="321088" y="973550"/>
                  </a:lnTo>
                  <a:lnTo>
                    <a:pt x="326612" y="979265"/>
                  </a:lnTo>
                  <a:lnTo>
                    <a:pt x="366141" y="999934"/>
                  </a:lnTo>
                  <a:lnTo>
                    <a:pt x="378428" y="1008031"/>
                  </a:lnTo>
                  <a:lnTo>
                    <a:pt x="388715" y="1013174"/>
                  </a:lnTo>
                  <a:lnTo>
                    <a:pt x="400526" y="1018032"/>
                  </a:lnTo>
                  <a:lnTo>
                    <a:pt x="408622" y="1018603"/>
                  </a:lnTo>
                  <a:lnTo>
                    <a:pt x="411766" y="1018223"/>
                  </a:lnTo>
                  <a:lnTo>
                    <a:pt x="411385" y="1015079"/>
                  </a:lnTo>
                  <a:lnTo>
                    <a:pt x="414719" y="1016222"/>
                  </a:lnTo>
                  <a:lnTo>
                    <a:pt x="416528" y="1017556"/>
                  </a:lnTo>
                  <a:lnTo>
                    <a:pt x="429768" y="1020699"/>
                  </a:lnTo>
                  <a:lnTo>
                    <a:pt x="430911" y="1017365"/>
                  </a:lnTo>
                  <a:lnTo>
                    <a:pt x="435864" y="1018318"/>
                  </a:lnTo>
                  <a:lnTo>
                    <a:pt x="437674" y="1019651"/>
                  </a:lnTo>
                  <a:lnTo>
                    <a:pt x="440627" y="1017651"/>
                  </a:lnTo>
                  <a:lnTo>
                    <a:pt x="440246" y="1014508"/>
                  </a:lnTo>
                  <a:lnTo>
                    <a:pt x="469868" y="1020318"/>
                  </a:lnTo>
                  <a:lnTo>
                    <a:pt x="507206" y="1023557"/>
                  </a:lnTo>
                  <a:lnTo>
                    <a:pt x="517303" y="1027081"/>
                  </a:lnTo>
                  <a:lnTo>
                    <a:pt x="518922" y="1026890"/>
                  </a:lnTo>
                  <a:lnTo>
                    <a:pt x="521684" y="1023366"/>
                  </a:lnTo>
                  <a:lnTo>
                    <a:pt x="529590" y="1022318"/>
                  </a:lnTo>
                  <a:lnTo>
                    <a:pt x="542830" y="1025461"/>
                  </a:lnTo>
                  <a:lnTo>
                    <a:pt x="547306" y="1023271"/>
                  </a:lnTo>
                  <a:lnTo>
                    <a:pt x="554641" y="1030319"/>
                  </a:lnTo>
                  <a:lnTo>
                    <a:pt x="567880" y="1033463"/>
                  </a:lnTo>
                  <a:lnTo>
                    <a:pt x="573596" y="1027938"/>
                  </a:lnTo>
                  <a:lnTo>
                    <a:pt x="574357" y="1021461"/>
                  </a:lnTo>
                  <a:lnTo>
                    <a:pt x="575691" y="1019651"/>
                  </a:lnTo>
                  <a:lnTo>
                    <a:pt x="575310" y="1016508"/>
                  </a:lnTo>
                  <a:lnTo>
                    <a:pt x="577691" y="1022604"/>
                  </a:lnTo>
                  <a:lnTo>
                    <a:pt x="582263" y="1020413"/>
                  </a:lnTo>
                  <a:lnTo>
                    <a:pt x="584263" y="1023366"/>
                  </a:lnTo>
                  <a:lnTo>
                    <a:pt x="586264" y="1026319"/>
                  </a:lnTo>
                  <a:lnTo>
                    <a:pt x="583502" y="1029843"/>
                  </a:lnTo>
                  <a:lnTo>
                    <a:pt x="587216" y="1034129"/>
                  </a:lnTo>
                  <a:lnTo>
                    <a:pt x="588550" y="1032319"/>
                  </a:lnTo>
                  <a:lnTo>
                    <a:pt x="588931" y="1035463"/>
                  </a:lnTo>
                  <a:lnTo>
                    <a:pt x="599980" y="1034034"/>
                  </a:lnTo>
                  <a:lnTo>
                    <a:pt x="600170" y="1035653"/>
                  </a:lnTo>
                  <a:lnTo>
                    <a:pt x="603313" y="1035272"/>
                  </a:lnTo>
                  <a:lnTo>
                    <a:pt x="606266" y="1033272"/>
                  </a:lnTo>
                  <a:lnTo>
                    <a:pt x="607219" y="1028319"/>
                  </a:lnTo>
                  <a:lnTo>
                    <a:pt x="608647" y="1026509"/>
                  </a:lnTo>
                  <a:lnTo>
                    <a:pt x="609790" y="1023176"/>
                  </a:lnTo>
                  <a:lnTo>
                    <a:pt x="611410" y="1022985"/>
                  </a:lnTo>
                  <a:lnTo>
                    <a:pt x="613410" y="1025938"/>
                  </a:lnTo>
                  <a:lnTo>
                    <a:pt x="619125" y="1020413"/>
                  </a:lnTo>
                  <a:lnTo>
                    <a:pt x="620935" y="1021747"/>
                  </a:lnTo>
                  <a:lnTo>
                    <a:pt x="623888" y="1019747"/>
                  </a:lnTo>
                  <a:lnTo>
                    <a:pt x="626078" y="1011460"/>
                  </a:lnTo>
                  <a:lnTo>
                    <a:pt x="627412" y="1009650"/>
                  </a:lnTo>
                  <a:lnTo>
                    <a:pt x="628364" y="1004697"/>
                  </a:lnTo>
                  <a:lnTo>
                    <a:pt x="633889" y="997553"/>
                  </a:lnTo>
                  <a:lnTo>
                    <a:pt x="639985" y="995172"/>
                  </a:lnTo>
                  <a:lnTo>
                    <a:pt x="644366" y="991457"/>
                  </a:lnTo>
                  <a:lnTo>
                    <a:pt x="644938" y="983361"/>
                  </a:lnTo>
                  <a:lnTo>
                    <a:pt x="643128" y="982027"/>
                  </a:lnTo>
                  <a:lnTo>
                    <a:pt x="642938" y="980408"/>
                  </a:lnTo>
                  <a:lnTo>
                    <a:pt x="645128" y="972122"/>
                  </a:lnTo>
                  <a:lnTo>
                    <a:pt x="650462" y="963454"/>
                  </a:lnTo>
                  <a:lnTo>
                    <a:pt x="649700" y="957167"/>
                  </a:lnTo>
                  <a:lnTo>
                    <a:pt x="652463" y="953643"/>
                  </a:lnTo>
                  <a:lnTo>
                    <a:pt x="661130" y="946118"/>
                  </a:lnTo>
                  <a:lnTo>
                    <a:pt x="660940" y="944499"/>
                  </a:lnTo>
                  <a:lnTo>
                    <a:pt x="657606" y="943356"/>
                  </a:lnTo>
                  <a:lnTo>
                    <a:pt x="660749" y="942975"/>
                  </a:lnTo>
                  <a:lnTo>
                    <a:pt x="671417" y="951262"/>
                  </a:lnTo>
                  <a:lnTo>
                    <a:pt x="687610" y="952405"/>
                  </a:lnTo>
                  <a:lnTo>
                    <a:pt x="698468" y="949452"/>
                  </a:lnTo>
                  <a:lnTo>
                    <a:pt x="700659" y="954024"/>
                  </a:lnTo>
                  <a:lnTo>
                    <a:pt x="705231" y="951833"/>
                  </a:lnTo>
                  <a:lnTo>
                    <a:pt x="710565" y="943166"/>
                  </a:lnTo>
                  <a:lnTo>
                    <a:pt x="714661" y="937832"/>
                  </a:lnTo>
                  <a:lnTo>
                    <a:pt x="725519" y="947642"/>
                  </a:lnTo>
                  <a:lnTo>
                    <a:pt x="727520" y="950595"/>
                  </a:lnTo>
                  <a:lnTo>
                    <a:pt x="735044" y="959263"/>
                  </a:lnTo>
                  <a:lnTo>
                    <a:pt x="746474" y="960977"/>
                  </a:lnTo>
                  <a:lnTo>
                    <a:pt x="755142" y="966311"/>
                  </a:lnTo>
                  <a:lnTo>
                    <a:pt x="754380" y="972788"/>
                  </a:lnTo>
                  <a:lnTo>
                    <a:pt x="765810" y="974503"/>
                  </a:lnTo>
                  <a:lnTo>
                    <a:pt x="770572" y="973931"/>
                  </a:lnTo>
                  <a:lnTo>
                    <a:pt x="780193" y="974312"/>
                  </a:lnTo>
                  <a:lnTo>
                    <a:pt x="781812" y="974122"/>
                  </a:lnTo>
                  <a:lnTo>
                    <a:pt x="782764" y="969169"/>
                  </a:lnTo>
                  <a:lnTo>
                    <a:pt x="790480" y="966597"/>
                  </a:lnTo>
                  <a:lnTo>
                    <a:pt x="790670" y="968216"/>
                  </a:lnTo>
                  <a:lnTo>
                    <a:pt x="797338" y="970598"/>
                  </a:lnTo>
                  <a:lnTo>
                    <a:pt x="804005" y="972979"/>
                  </a:lnTo>
                  <a:lnTo>
                    <a:pt x="806387" y="979075"/>
                  </a:lnTo>
                  <a:lnTo>
                    <a:pt x="813721" y="986123"/>
                  </a:lnTo>
                  <a:lnTo>
                    <a:pt x="817150" y="1000125"/>
                  </a:lnTo>
                  <a:lnTo>
                    <a:pt x="818197" y="1008031"/>
                  </a:lnTo>
                  <a:lnTo>
                    <a:pt x="812863" y="1016699"/>
                  </a:lnTo>
                  <a:lnTo>
                    <a:pt x="813245" y="1019842"/>
                  </a:lnTo>
                  <a:lnTo>
                    <a:pt x="817436" y="1027367"/>
                  </a:lnTo>
                  <a:lnTo>
                    <a:pt x="819817" y="1033463"/>
                  </a:lnTo>
                  <a:lnTo>
                    <a:pt x="822960" y="1033082"/>
                  </a:lnTo>
                  <a:lnTo>
                    <a:pt x="833247" y="1025366"/>
                  </a:lnTo>
                  <a:lnTo>
                    <a:pt x="834771" y="1025176"/>
                  </a:lnTo>
                  <a:lnTo>
                    <a:pt x="836200" y="1023366"/>
                  </a:lnTo>
                  <a:lnTo>
                    <a:pt x="844105" y="1022318"/>
                  </a:lnTo>
                  <a:lnTo>
                    <a:pt x="849058" y="1023271"/>
                  </a:lnTo>
                  <a:lnTo>
                    <a:pt x="850868" y="1024604"/>
                  </a:lnTo>
                  <a:lnTo>
                    <a:pt x="854012" y="1024223"/>
                  </a:lnTo>
                  <a:lnTo>
                    <a:pt x="852678" y="1026033"/>
                  </a:lnTo>
                  <a:lnTo>
                    <a:pt x="852869" y="1027652"/>
                  </a:lnTo>
                  <a:lnTo>
                    <a:pt x="856012" y="1027271"/>
                  </a:lnTo>
                  <a:lnTo>
                    <a:pt x="857822" y="1028605"/>
                  </a:lnTo>
                  <a:lnTo>
                    <a:pt x="858203" y="1031748"/>
                  </a:lnTo>
                  <a:lnTo>
                    <a:pt x="865918" y="1029176"/>
                  </a:lnTo>
                  <a:lnTo>
                    <a:pt x="870109" y="1036701"/>
                  </a:lnTo>
                  <a:lnTo>
                    <a:pt x="870680" y="1041464"/>
                  </a:lnTo>
                  <a:lnTo>
                    <a:pt x="874205" y="1044226"/>
                  </a:lnTo>
                  <a:lnTo>
                    <a:pt x="874395" y="1045845"/>
                  </a:lnTo>
                  <a:lnTo>
                    <a:pt x="878967" y="1043654"/>
                  </a:lnTo>
                  <a:lnTo>
                    <a:pt x="884682" y="1050893"/>
                  </a:lnTo>
                  <a:lnTo>
                    <a:pt x="886301" y="1050703"/>
                  </a:lnTo>
                  <a:lnTo>
                    <a:pt x="889254" y="1048702"/>
                  </a:lnTo>
                  <a:lnTo>
                    <a:pt x="891064" y="1050036"/>
                  </a:lnTo>
                  <a:lnTo>
                    <a:pt x="895826" y="1049465"/>
                  </a:lnTo>
                  <a:lnTo>
                    <a:pt x="902780" y="1053370"/>
                  </a:lnTo>
                  <a:lnTo>
                    <a:pt x="904970" y="1057942"/>
                  </a:lnTo>
                  <a:lnTo>
                    <a:pt x="908875" y="1050989"/>
                  </a:lnTo>
                  <a:lnTo>
                    <a:pt x="913829" y="1051941"/>
                  </a:lnTo>
                  <a:lnTo>
                    <a:pt x="923449" y="1052322"/>
                  </a:lnTo>
                  <a:lnTo>
                    <a:pt x="928973" y="1045178"/>
                  </a:lnTo>
                  <a:lnTo>
                    <a:pt x="934498" y="1050893"/>
                  </a:lnTo>
                  <a:lnTo>
                    <a:pt x="953643" y="1050036"/>
                  </a:lnTo>
                  <a:lnTo>
                    <a:pt x="960120" y="1037939"/>
                  </a:lnTo>
                  <a:lnTo>
                    <a:pt x="964311" y="1045464"/>
                  </a:lnTo>
                  <a:lnTo>
                    <a:pt x="974027" y="1045845"/>
                  </a:lnTo>
                  <a:lnTo>
                    <a:pt x="976979" y="1043845"/>
                  </a:lnTo>
                  <a:lnTo>
                    <a:pt x="980504" y="1046607"/>
                  </a:lnTo>
                  <a:lnTo>
                    <a:pt x="977360" y="1046988"/>
                  </a:lnTo>
                  <a:lnTo>
                    <a:pt x="979551" y="1051560"/>
                  </a:lnTo>
                  <a:lnTo>
                    <a:pt x="983266" y="1055846"/>
                  </a:lnTo>
                  <a:lnTo>
                    <a:pt x="981932" y="1057656"/>
                  </a:lnTo>
                  <a:lnTo>
                    <a:pt x="987266" y="1061752"/>
                  </a:lnTo>
                  <a:lnTo>
                    <a:pt x="988028" y="1068038"/>
                  </a:lnTo>
                  <a:lnTo>
                    <a:pt x="988409" y="1071182"/>
                  </a:lnTo>
                  <a:lnTo>
                    <a:pt x="987266" y="1074515"/>
                  </a:lnTo>
                  <a:lnTo>
                    <a:pt x="989076" y="1075849"/>
                  </a:lnTo>
                  <a:lnTo>
                    <a:pt x="987743" y="1077659"/>
                  </a:lnTo>
                  <a:lnTo>
                    <a:pt x="988123" y="1080802"/>
                  </a:lnTo>
                  <a:lnTo>
                    <a:pt x="986504" y="1080992"/>
                  </a:lnTo>
                  <a:lnTo>
                    <a:pt x="986695" y="1082611"/>
                  </a:lnTo>
                  <a:lnTo>
                    <a:pt x="984123" y="1087755"/>
                  </a:lnTo>
                  <a:lnTo>
                    <a:pt x="984695" y="1092518"/>
                  </a:lnTo>
                  <a:lnTo>
                    <a:pt x="991362" y="1094899"/>
                  </a:lnTo>
                  <a:lnTo>
                    <a:pt x="993553" y="1099471"/>
                  </a:lnTo>
                  <a:lnTo>
                    <a:pt x="992219" y="1101281"/>
                  </a:lnTo>
                  <a:lnTo>
                    <a:pt x="994029" y="1102614"/>
                  </a:lnTo>
                  <a:lnTo>
                    <a:pt x="992696" y="1104424"/>
                  </a:lnTo>
                  <a:lnTo>
                    <a:pt x="994886" y="1108996"/>
                  </a:lnTo>
                  <a:lnTo>
                    <a:pt x="993934" y="1113949"/>
                  </a:lnTo>
                  <a:lnTo>
                    <a:pt x="990981" y="1115949"/>
                  </a:lnTo>
                  <a:lnTo>
                    <a:pt x="993362" y="1122045"/>
                  </a:lnTo>
                  <a:lnTo>
                    <a:pt x="992029" y="1123855"/>
                  </a:lnTo>
                  <a:lnTo>
                    <a:pt x="995744" y="1128141"/>
                  </a:lnTo>
                  <a:lnTo>
                    <a:pt x="997363" y="1127951"/>
                  </a:lnTo>
                  <a:lnTo>
                    <a:pt x="997934" y="1132713"/>
                  </a:lnTo>
                  <a:lnTo>
                    <a:pt x="996601" y="1134523"/>
                  </a:lnTo>
                  <a:lnTo>
                    <a:pt x="997363" y="1140809"/>
                  </a:lnTo>
                  <a:lnTo>
                    <a:pt x="993457" y="1147763"/>
                  </a:lnTo>
                  <a:lnTo>
                    <a:pt x="992505" y="1152716"/>
                  </a:lnTo>
                  <a:lnTo>
                    <a:pt x="999172" y="1155097"/>
                  </a:lnTo>
                  <a:lnTo>
                    <a:pt x="1007459" y="1157288"/>
                  </a:lnTo>
                  <a:lnTo>
                    <a:pt x="1011174" y="1161574"/>
                  </a:lnTo>
                  <a:lnTo>
                    <a:pt x="1010983" y="1159955"/>
                  </a:lnTo>
                  <a:lnTo>
                    <a:pt x="1010412" y="1155192"/>
                  </a:lnTo>
                  <a:lnTo>
                    <a:pt x="1015365" y="1156144"/>
                  </a:lnTo>
                  <a:lnTo>
                    <a:pt x="1016889" y="1155954"/>
                  </a:lnTo>
                  <a:lnTo>
                    <a:pt x="1015079" y="1154621"/>
                  </a:lnTo>
                  <a:lnTo>
                    <a:pt x="1014698" y="1151477"/>
                  </a:lnTo>
                  <a:lnTo>
                    <a:pt x="1017841" y="1151096"/>
                  </a:lnTo>
                  <a:lnTo>
                    <a:pt x="1017080" y="1144810"/>
                  </a:lnTo>
                  <a:lnTo>
                    <a:pt x="1018604" y="1144619"/>
                  </a:lnTo>
                  <a:lnTo>
                    <a:pt x="1020794" y="1149191"/>
                  </a:lnTo>
                  <a:lnTo>
                    <a:pt x="1020223" y="1144429"/>
                  </a:lnTo>
                  <a:lnTo>
                    <a:pt x="1025366" y="1147001"/>
                  </a:lnTo>
                  <a:lnTo>
                    <a:pt x="1026795" y="1145191"/>
                  </a:lnTo>
                  <a:lnTo>
                    <a:pt x="1023271" y="1142428"/>
                  </a:lnTo>
                  <a:lnTo>
                    <a:pt x="1026414" y="1142048"/>
                  </a:lnTo>
                  <a:lnTo>
                    <a:pt x="1020508" y="1133189"/>
                  </a:lnTo>
                  <a:lnTo>
                    <a:pt x="1021937" y="1131380"/>
                  </a:lnTo>
                  <a:lnTo>
                    <a:pt x="1027271" y="1135475"/>
                  </a:lnTo>
                  <a:lnTo>
                    <a:pt x="1025080" y="1130903"/>
                  </a:lnTo>
                  <a:lnTo>
                    <a:pt x="1029653" y="1128713"/>
                  </a:lnTo>
                  <a:lnTo>
                    <a:pt x="1024319" y="1124617"/>
                  </a:lnTo>
                  <a:lnTo>
                    <a:pt x="1032034" y="1122045"/>
                  </a:lnTo>
                  <a:lnTo>
                    <a:pt x="1026700" y="1117949"/>
                  </a:lnTo>
                  <a:lnTo>
                    <a:pt x="1026223" y="1101947"/>
                  </a:lnTo>
                  <a:lnTo>
                    <a:pt x="1030510" y="1098233"/>
                  </a:lnTo>
                  <a:lnTo>
                    <a:pt x="1026795" y="1093946"/>
                  </a:lnTo>
                  <a:lnTo>
                    <a:pt x="1028129" y="1092136"/>
                  </a:lnTo>
                  <a:lnTo>
                    <a:pt x="1030319" y="1096709"/>
                  </a:lnTo>
                  <a:lnTo>
                    <a:pt x="1031653" y="1094899"/>
                  </a:lnTo>
                  <a:lnTo>
                    <a:pt x="1030891" y="1088612"/>
                  </a:lnTo>
                  <a:lnTo>
                    <a:pt x="1032510" y="1088422"/>
                  </a:lnTo>
                  <a:lnTo>
                    <a:pt x="1031938" y="1083659"/>
                  </a:lnTo>
                  <a:lnTo>
                    <a:pt x="1034891" y="1081659"/>
                  </a:lnTo>
                  <a:lnTo>
                    <a:pt x="1034129" y="1075373"/>
                  </a:lnTo>
                  <a:lnTo>
                    <a:pt x="1035463" y="1073563"/>
                  </a:lnTo>
                  <a:lnTo>
                    <a:pt x="1038987" y="1076325"/>
                  </a:lnTo>
                  <a:lnTo>
                    <a:pt x="1042130" y="1075944"/>
                  </a:lnTo>
                  <a:lnTo>
                    <a:pt x="1041940" y="1074325"/>
                  </a:lnTo>
                  <a:lnTo>
                    <a:pt x="1043083" y="1070991"/>
                  </a:lnTo>
                  <a:lnTo>
                    <a:pt x="1046607" y="1073753"/>
                  </a:lnTo>
                  <a:lnTo>
                    <a:pt x="1049179" y="1068610"/>
                  </a:lnTo>
                  <a:lnTo>
                    <a:pt x="1044416" y="1069181"/>
                  </a:lnTo>
                  <a:lnTo>
                    <a:pt x="1045750" y="1067372"/>
                  </a:lnTo>
                  <a:lnTo>
                    <a:pt x="1042416" y="1066228"/>
                  </a:lnTo>
                  <a:lnTo>
                    <a:pt x="1043749" y="1064419"/>
                  </a:lnTo>
                  <a:lnTo>
                    <a:pt x="1053179" y="1063181"/>
                  </a:lnTo>
                  <a:lnTo>
                    <a:pt x="1048036" y="1060609"/>
                  </a:lnTo>
                  <a:lnTo>
                    <a:pt x="1049179" y="1057275"/>
                  </a:lnTo>
                  <a:lnTo>
                    <a:pt x="1047845" y="1059085"/>
                  </a:lnTo>
                  <a:lnTo>
                    <a:pt x="1046036" y="1057751"/>
                  </a:lnTo>
                  <a:lnTo>
                    <a:pt x="1047179" y="1054418"/>
                  </a:lnTo>
                  <a:lnTo>
                    <a:pt x="1048988" y="1055751"/>
                  </a:lnTo>
                  <a:lnTo>
                    <a:pt x="1047179" y="1054418"/>
                  </a:lnTo>
                  <a:lnTo>
                    <a:pt x="1048131" y="1049465"/>
                  </a:lnTo>
                  <a:lnTo>
                    <a:pt x="1049941" y="1050798"/>
                  </a:lnTo>
                  <a:lnTo>
                    <a:pt x="1051370" y="1048988"/>
                  </a:lnTo>
                  <a:lnTo>
                    <a:pt x="1049560" y="1047655"/>
                  </a:lnTo>
                  <a:lnTo>
                    <a:pt x="1048988" y="1042892"/>
                  </a:lnTo>
                  <a:lnTo>
                    <a:pt x="1051941" y="1040892"/>
                  </a:lnTo>
                  <a:lnTo>
                    <a:pt x="1048798" y="1041273"/>
                  </a:lnTo>
                  <a:lnTo>
                    <a:pt x="1048226" y="1036510"/>
                  </a:lnTo>
                  <a:lnTo>
                    <a:pt x="1046607" y="1036701"/>
                  </a:lnTo>
                  <a:lnTo>
                    <a:pt x="1044988" y="1036892"/>
                  </a:lnTo>
                  <a:lnTo>
                    <a:pt x="1049369" y="1033177"/>
                  </a:lnTo>
                  <a:lnTo>
                    <a:pt x="1052703" y="1034320"/>
                  </a:lnTo>
                  <a:lnTo>
                    <a:pt x="1052322" y="1031176"/>
                  </a:lnTo>
                  <a:lnTo>
                    <a:pt x="1055656" y="1032319"/>
                  </a:lnTo>
                  <a:lnTo>
                    <a:pt x="1056799" y="1028986"/>
                  </a:lnTo>
                  <a:lnTo>
                    <a:pt x="1057751" y="1024033"/>
                  </a:lnTo>
                  <a:lnTo>
                    <a:pt x="1059561" y="1025366"/>
                  </a:lnTo>
                  <a:lnTo>
                    <a:pt x="1058989" y="1020604"/>
                  </a:lnTo>
                  <a:lnTo>
                    <a:pt x="1065276" y="1019842"/>
                  </a:lnTo>
                  <a:lnTo>
                    <a:pt x="1064514" y="1013555"/>
                  </a:lnTo>
                  <a:lnTo>
                    <a:pt x="1066895" y="1006793"/>
                  </a:lnTo>
                  <a:lnTo>
                    <a:pt x="1072801" y="1002792"/>
                  </a:lnTo>
                  <a:lnTo>
                    <a:pt x="1075373" y="997649"/>
                  </a:lnTo>
                  <a:lnTo>
                    <a:pt x="1079659" y="993934"/>
                  </a:lnTo>
                  <a:lnTo>
                    <a:pt x="1079468" y="992315"/>
                  </a:lnTo>
                  <a:lnTo>
                    <a:pt x="1076706" y="995839"/>
                  </a:lnTo>
                  <a:lnTo>
                    <a:pt x="1074896" y="994505"/>
                  </a:lnTo>
                  <a:lnTo>
                    <a:pt x="1078230" y="982885"/>
                  </a:lnTo>
                  <a:lnTo>
                    <a:pt x="1078039" y="981266"/>
                  </a:lnTo>
                  <a:lnTo>
                    <a:pt x="1083183" y="983837"/>
                  </a:lnTo>
                  <a:lnTo>
                    <a:pt x="1084326" y="980503"/>
                  </a:lnTo>
                  <a:lnTo>
                    <a:pt x="1086136" y="981837"/>
                  </a:lnTo>
                  <a:lnTo>
                    <a:pt x="1087469" y="980027"/>
                  </a:lnTo>
                  <a:lnTo>
                    <a:pt x="1085660" y="978694"/>
                  </a:lnTo>
                  <a:lnTo>
                    <a:pt x="1090613" y="979646"/>
                  </a:lnTo>
                  <a:lnTo>
                    <a:pt x="1093565" y="977646"/>
                  </a:lnTo>
                  <a:lnTo>
                    <a:pt x="1088422" y="975074"/>
                  </a:lnTo>
                  <a:lnTo>
                    <a:pt x="1088231" y="973455"/>
                  </a:lnTo>
                  <a:lnTo>
                    <a:pt x="1090041" y="974789"/>
                  </a:lnTo>
                  <a:lnTo>
                    <a:pt x="1094804" y="974217"/>
                  </a:lnTo>
                  <a:lnTo>
                    <a:pt x="1094423" y="971074"/>
                  </a:lnTo>
                  <a:lnTo>
                    <a:pt x="1095756" y="969264"/>
                  </a:lnTo>
                  <a:lnTo>
                    <a:pt x="1097566" y="970598"/>
                  </a:lnTo>
                  <a:lnTo>
                    <a:pt x="1097185" y="967454"/>
                  </a:lnTo>
                  <a:lnTo>
                    <a:pt x="1098804" y="967264"/>
                  </a:lnTo>
                  <a:lnTo>
                    <a:pt x="1103186" y="963549"/>
                  </a:lnTo>
                  <a:lnTo>
                    <a:pt x="1105186" y="966502"/>
                  </a:lnTo>
                  <a:lnTo>
                    <a:pt x="1112044" y="957643"/>
                  </a:lnTo>
                  <a:lnTo>
                    <a:pt x="1108710" y="956501"/>
                  </a:lnTo>
                  <a:lnTo>
                    <a:pt x="1109472" y="950024"/>
                  </a:lnTo>
                  <a:lnTo>
                    <a:pt x="1112234" y="946499"/>
                  </a:lnTo>
                  <a:lnTo>
                    <a:pt x="1113854" y="946309"/>
                  </a:lnTo>
                  <a:lnTo>
                    <a:pt x="1111853" y="943356"/>
                  </a:lnTo>
                  <a:lnTo>
                    <a:pt x="1113473" y="943166"/>
                  </a:lnTo>
                  <a:lnTo>
                    <a:pt x="1114997" y="942975"/>
                  </a:lnTo>
                  <a:lnTo>
                    <a:pt x="1114615" y="939832"/>
                  </a:lnTo>
                  <a:lnTo>
                    <a:pt x="1117759" y="939451"/>
                  </a:lnTo>
                  <a:lnTo>
                    <a:pt x="1117378" y="936308"/>
                  </a:lnTo>
                  <a:lnTo>
                    <a:pt x="1120140" y="932783"/>
                  </a:lnTo>
                  <a:lnTo>
                    <a:pt x="1121093" y="927830"/>
                  </a:lnTo>
                  <a:lnTo>
                    <a:pt x="1118521" y="920115"/>
                  </a:lnTo>
                  <a:lnTo>
                    <a:pt x="1120712" y="911828"/>
                  </a:lnTo>
                  <a:lnTo>
                    <a:pt x="1118902" y="910495"/>
                  </a:lnTo>
                  <a:lnTo>
                    <a:pt x="1123188" y="906780"/>
                  </a:lnTo>
                  <a:lnTo>
                    <a:pt x="1121188" y="903827"/>
                  </a:lnTo>
                  <a:lnTo>
                    <a:pt x="1124331" y="903446"/>
                  </a:lnTo>
                  <a:lnTo>
                    <a:pt x="1126903" y="898303"/>
                  </a:lnTo>
                  <a:lnTo>
                    <a:pt x="1138714" y="903160"/>
                  </a:lnTo>
                  <a:lnTo>
                    <a:pt x="1146620" y="902113"/>
                  </a:lnTo>
                  <a:lnTo>
                    <a:pt x="1149763" y="901732"/>
                  </a:lnTo>
                  <a:lnTo>
                    <a:pt x="1150715" y="896779"/>
                  </a:lnTo>
                  <a:lnTo>
                    <a:pt x="1153668" y="894778"/>
                  </a:lnTo>
                  <a:lnTo>
                    <a:pt x="1153668" y="894778"/>
                  </a:lnTo>
                  <a:lnTo>
                    <a:pt x="1150525" y="895159"/>
                  </a:lnTo>
                  <a:lnTo>
                    <a:pt x="1151287" y="888683"/>
                  </a:lnTo>
                  <a:lnTo>
                    <a:pt x="1153287" y="891635"/>
                  </a:lnTo>
                  <a:lnTo>
                    <a:pt x="1157764" y="889444"/>
                  </a:lnTo>
                  <a:lnTo>
                    <a:pt x="1155764" y="886492"/>
                  </a:lnTo>
                  <a:lnTo>
                    <a:pt x="1160716" y="887444"/>
                  </a:lnTo>
                  <a:lnTo>
                    <a:pt x="1160526" y="885825"/>
                  </a:lnTo>
                  <a:lnTo>
                    <a:pt x="1158526" y="882872"/>
                  </a:lnTo>
                  <a:lnTo>
                    <a:pt x="1161669" y="882491"/>
                  </a:lnTo>
                  <a:lnTo>
                    <a:pt x="1164622" y="880491"/>
                  </a:lnTo>
                  <a:lnTo>
                    <a:pt x="1162622" y="877538"/>
                  </a:lnTo>
                  <a:lnTo>
                    <a:pt x="1165574" y="875538"/>
                  </a:lnTo>
                  <a:lnTo>
                    <a:pt x="1167194" y="875348"/>
                  </a:lnTo>
                  <a:lnTo>
                    <a:pt x="1166241" y="880301"/>
                  </a:lnTo>
                  <a:lnTo>
                    <a:pt x="1169384" y="879919"/>
                  </a:lnTo>
                  <a:lnTo>
                    <a:pt x="1169003" y="876776"/>
                  </a:lnTo>
                  <a:lnTo>
                    <a:pt x="1166813" y="872204"/>
                  </a:lnTo>
                  <a:lnTo>
                    <a:pt x="1166431" y="869061"/>
                  </a:lnTo>
                  <a:lnTo>
                    <a:pt x="1167765" y="867251"/>
                  </a:lnTo>
                  <a:lnTo>
                    <a:pt x="1174528" y="869633"/>
                  </a:lnTo>
                  <a:lnTo>
                    <a:pt x="1173956" y="864870"/>
                  </a:lnTo>
                  <a:lnTo>
                    <a:pt x="1179671" y="859346"/>
                  </a:lnTo>
                  <a:lnTo>
                    <a:pt x="1182814" y="858965"/>
                  </a:lnTo>
                  <a:lnTo>
                    <a:pt x="1182814" y="858965"/>
                  </a:lnTo>
                  <a:lnTo>
                    <a:pt x="1185958" y="858584"/>
                  </a:lnTo>
                  <a:lnTo>
                    <a:pt x="1187577" y="858393"/>
                  </a:lnTo>
                  <a:lnTo>
                    <a:pt x="1187768" y="860012"/>
                  </a:lnTo>
                  <a:lnTo>
                    <a:pt x="1189577" y="861346"/>
                  </a:lnTo>
                  <a:lnTo>
                    <a:pt x="1190911" y="859536"/>
                  </a:lnTo>
                  <a:lnTo>
                    <a:pt x="1196054" y="862108"/>
                  </a:lnTo>
                  <a:lnTo>
                    <a:pt x="1200340" y="858393"/>
                  </a:lnTo>
                  <a:lnTo>
                    <a:pt x="1202531" y="862965"/>
                  </a:lnTo>
                  <a:lnTo>
                    <a:pt x="1205865" y="864108"/>
                  </a:lnTo>
                  <a:lnTo>
                    <a:pt x="1209389" y="866870"/>
                  </a:lnTo>
                  <a:lnTo>
                    <a:pt x="1217295" y="865823"/>
                  </a:lnTo>
                  <a:lnTo>
                    <a:pt x="1221296" y="871728"/>
                  </a:lnTo>
                  <a:lnTo>
                    <a:pt x="1227963" y="874109"/>
                  </a:lnTo>
                  <a:lnTo>
                    <a:pt x="1234249" y="873347"/>
                  </a:lnTo>
                  <a:lnTo>
                    <a:pt x="1240727" y="874109"/>
                  </a:lnTo>
                  <a:lnTo>
                    <a:pt x="1243108" y="880205"/>
                  </a:lnTo>
                  <a:lnTo>
                    <a:pt x="1255205" y="886682"/>
                  </a:lnTo>
                  <a:lnTo>
                    <a:pt x="1259205" y="892588"/>
                  </a:lnTo>
                  <a:lnTo>
                    <a:pt x="1264158" y="893540"/>
                  </a:lnTo>
                  <a:lnTo>
                    <a:pt x="1270254" y="891159"/>
                  </a:lnTo>
                  <a:lnTo>
                    <a:pt x="1272064" y="892493"/>
                  </a:lnTo>
                  <a:lnTo>
                    <a:pt x="1274445" y="898589"/>
                  </a:lnTo>
                  <a:lnTo>
                    <a:pt x="1280160" y="905827"/>
                  </a:lnTo>
                  <a:lnTo>
                    <a:pt x="1290638" y="912495"/>
                  </a:lnTo>
                  <a:lnTo>
                    <a:pt x="1292828" y="917067"/>
                  </a:lnTo>
                  <a:lnTo>
                    <a:pt x="1295972" y="916686"/>
                  </a:lnTo>
                  <a:lnTo>
                    <a:pt x="1302068" y="927164"/>
                  </a:lnTo>
                  <a:lnTo>
                    <a:pt x="1314069" y="920782"/>
                  </a:lnTo>
                  <a:lnTo>
                    <a:pt x="1319213" y="923353"/>
                  </a:lnTo>
                  <a:lnTo>
                    <a:pt x="1322356" y="922973"/>
                  </a:lnTo>
                  <a:lnTo>
                    <a:pt x="1325880" y="925735"/>
                  </a:lnTo>
                  <a:lnTo>
                    <a:pt x="1331405" y="918591"/>
                  </a:lnTo>
                  <a:lnTo>
                    <a:pt x="1338644" y="912876"/>
                  </a:lnTo>
                  <a:lnTo>
                    <a:pt x="1341406" y="909352"/>
                  </a:lnTo>
                  <a:lnTo>
                    <a:pt x="1347883" y="910114"/>
                  </a:lnTo>
                  <a:lnTo>
                    <a:pt x="1350455" y="904970"/>
                  </a:lnTo>
                  <a:lnTo>
                    <a:pt x="1353979" y="894874"/>
                  </a:lnTo>
                  <a:lnTo>
                    <a:pt x="1359313" y="898969"/>
                  </a:lnTo>
                  <a:lnTo>
                    <a:pt x="1358741" y="894207"/>
                  </a:lnTo>
                  <a:lnTo>
                    <a:pt x="1364266" y="887063"/>
                  </a:lnTo>
                  <a:lnTo>
                    <a:pt x="1382649" y="892778"/>
                  </a:lnTo>
                  <a:lnTo>
                    <a:pt x="1387793" y="895350"/>
                  </a:lnTo>
                  <a:lnTo>
                    <a:pt x="1395698" y="907161"/>
                  </a:lnTo>
                  <a:lnTo>
                    <a:pt x="1406747" y="918591"/>
                  </a:lnTo>
                  <a:lnTo>
                    <a:pt x="1405128" y="918782"/>
                  </a:lnTo>
                  <a:lnTo>
                    <a:pt x="1406938" y="920115"/>
                  </a:lnTo>
                  <a:lnTo>
                    <a:pt x="1412462" y="925830"/>
                  </a:lnTo>
                  <a:lnTo>
                    <a:pt x="1420368" y="924782"/>
                  </a:lnTo>
                  <a:lnTo>
                    <a:pt x="1427416" y="917448"/>
                  </a:lnTo>
                  <a:lnTo>
                    <a:pt x="1435703" y="919639"/>
                  </a:lnTo>
                  <a:lnTo>
                    <a:pt x="1442371" y="909161"/>
                  </a:lnTo>
                  <a:lnTo>
                    <a:pt x="1450657" y="911352"/>
                  </a:lnTo>
                  <a:lnTo>
                    <a:pt x="1455230" y="909161"/>
                  </a:lnTo>
                  <a:lnTo>
                    <a:pt x="1463326" y="909733"/>
                  </a:lnTo>
                  <a:lnTo>
                    <a:pt x="1467612" y="906018"/>
                  </a:lnTo>
                  <a:lnTo>
                    <a:pt x="1469327" y="894588"/>
                  </a:lnTo>
                  <a:lnTo>
                    <a:pt x="1472089" y="891064"/>
                  </a:lnTo>
                  <a:lnTo>
                    <a:pt x="1484757" y="889444"/>
                  </a:lnTo>
                  <a:lnTo>
                    <a:pt x="1485519" y="882968"/>
                  </a:lnTo>
                  <a:lnTo>
                    <a:pt x="1491044" y="875824"/>
                  </a:lnTo>
                  <a:lnTo>
                    <a:pt x="1497330" y="875062"/>
                  </a:lnTo>
                  <a:lnTo>
                    <a:pt x="1502283" y="876014"/>
                  </a:lnTo>
                  <a:lnTo>
                    <a:pt x="1495139" y="857726"/>
                  </a:lnTo>
                  <a:lnTo>
                    <a:pt x="1495139" y="857726"/>
                  </a:lnTo>
                  <a:close/>
                </a:path>
              </a:pathLst>
            </a:custGeom>
            <a:solidFill>
              <a:srgbClr val="D71440"/>
            </a:solidFill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19" name="Volný tvar: obrazec 18">
              <a:extLst>
                <a:ext uri="{FF2B5EF4-FFF2-40B4-BE49-F238E27FC236}">
                  <a16:creationId xmlns:a16="http://schemas.microsoft.com/office/drawing/2014/main" id="{BAD8960E-EA18-A6E4-1368-CA1093E0D53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90470" y="2042826"/>
              <a:ext cx="887920" cy="627602"/>
            </a:xfrm>
            <a:custGeom>
              <a:avLst/>
              <a:gdLst>
                <a:gd name="connsiteX0" fmla="*/ 883920 w 887920"/>
                <a:gd name="connsiteY0" fmla="*/ 565595 h 627602"/>
                <a:gd name="connsiteX1" fmla="*/ 883158 w 887920"/>
                <a:gd name="connsiteY1" fmla="*/ 559308 h 627602"/>
                <a:gd name="connsiteX2" fmla="*/ 881634 w 887920"/>
                <a:gd name="connsiteY2" fmla="*/ 559499 h 627602"/>
                <a:gd name="connsiteX3" fmla="*/ 877443 w 887920"/>
                <a:gd name="connsiteY3" fmla="*/ 551974 h 627602"/>
                <a:gd name="connsiteX4" fmla="*/ 873824 w 887920"/>
                <a:gd name="connsiteY4" fmla="*/ 549212 h 627602"/>
                <a:gd name="connsiteX5" fmla="*/ 873443 w 887920"/>
                <a:gd name="connsiteY5" fmla="*/ 546068 h 627602"/>
                <a:gd name="connsiteX6" fmla="*/ 868109 w 887920"/>
                <a:gd name="connsiteY6" fmla="*/ 541973 h 627602"/>
                <a:gd name="connsiteX7" fmla="*/ 865727 w 887920"/>
                <a:gd name="connsiteY7" fmla="*/ 535877 h 627602"/>
                <a:gd name="connsiteX8" fmla="*/ 859250 w 887920"/>
                <a:gd name="connsiteY8" fmla="*/ 535019 h 627602"/>
                <a:gd name="connsiteX9" fmla="*/ 859060 w 887920"/>
                <a:gd name="connsiteY9" fmla="*/ 533495 h 627602"/>
                <a:gd name="connsiteX10" fmla="*/ 863918 w 887920"/>
                <a:gd name="connsiteY10" fmla="*/ 534448 h 627602"/>
                <a:gd name="connsiteX11" fmla="*/ 852869 w 887920"/>
                <a:gd name="connsiteY11" fmla="*/ 523018 h 627602"/>
                <a:gd name="connsiteX12" fmla="*/ 857441 w 887920"/>
                <a:gd name="connsiteY12" fmla="*/ 520827 h 627602"/>
                <a:gd name="connsiteX13" fmla="*/ 860012 w 887920"/>
                <a:gd name="connsiteY13" fmla="*/ 515684 h 627602"/>
                <a:gd name="connsiteX14" fmla="*/ 850297 w 887920"/>
                <a:gd name="connsiteY14" fmla="*/ 515303 h 627602"/>
                <a:gd name="connsiteX15" fmla="*/ 843153 w 887920"/>
                <a:gd name="connsiteY15" fmla="*/ 509873 h 627602"/>
                <a:gd name="connsiteX16" fmla="*/ 853631 w 887920"/>
                <a:gd name="connsiteY16" fmla="*/ 490919 h 627602"/>
                <a:gd name="connsiteX17" fmla="*/ 851440 w 887920"/>
                <a:gd name="connsiteY17" fmla="*/ 486347 h 627602"/>
                <a:gd name="connsiteX18" fmla="*/ 858107 w 887920"/>
                <a:gd name="connsiteY18" fmla="*/ 475869 h 627602"/>
                <a:gd name="connsiteX19" fmla="*/ 863822 w 887920"/>
                <a:gd name="connsiteY19" fmla="*/ 470345 h 627602"/>
                <a:gd name="connsiteX20" fmla="*/ 855155 w 887920"/>
                <a:gd name="connsiteY20" fmla="*/ 465011 h 627602"/>
                <a:gd name="connsiteX21" fmla="*/ 854297 w 887920"/>
                <a:gd name="connsiteY21" fmla="*/ 458724 h 627602"/>
                <a:gd name="connsiteX22" fmla="*/ 850106 w 887920"/>
                <a:gd name="connsiteY22" fmla="*/ 451199 h 627602"/>
                <a:gd name="connsiteX23" fmla="*/ 839629 w 887920"/>
                <a:gd name="connsiteY23" fmla="*/ 444532 h 627602"/>
                <a:gd name="connsiteX24" fmla="*/ 839438 w 887920"/>
                <a:gd name="connsiteY24" fmla="*/ 442913 h 627602"/>
                <a:gd name="connsiteX25" fmla="*/ 844582 w 887920"/>
                <a:gd name="connsiteY25" fmla="*/ 432721 h 627602"/>
                <a:gd name="connsiteX26" fmla="*/ 851630 w 887920"/>
                <a:gd name="connsiteY26" fmla="*/ 425387 h 627602"/>
                <a:gd name="connsiteX27" fmla="*/ 844582 w 887920"/>
                <a:gd name="connsiteY27" fmla="*/ 419862 h 627602"/>
                <a:gd name="connsiteX28" fmla="*/ 838200 w 887920"/>
                <a:gd name="connsiteY28" fmla="*/ 395002 h 627602"/>
                <a:gd name="connsiteX29" fmla="*/ 836390 w 887920"/>
                <a:gd name="connsiteY29" fmla="*/ 393668 h 627602"/>
                <a:gd name="connsiteX30" fmla="*/ 835819 w 887920"/>
                <a:gd name="connsiteY30" fmla="*/ 388906 h 627602"/>
                <a:gd name="connsiteX31" fmla="*/ 839343 w 887920"/>
                <a:gd name="connsiteY31" fmla="*/ 378809 h 627602"/>
                <a:gd name="connsiteX32" fmla="*/ 837343 w 887920"/>
                <a:gd name="connsiteY32" fmla="*/ 375857 h 627602"/>
                <a:gd name="connsiteX33" fmla="*/ 838867 w 887920"/>
                <a:gd name="connsiteY33" fmla="*/ 362807 h 627602"/>
                <a:gd name="connsiteX34" fmla="*/ 831723 w 887920"/>
                <a:gd name="connsiteY34" fmla="*/ 357378 h 627602"/>
                <a:gd name="connsiteX35" fmla="*/ 832961 w 887920"/>
                <a:gd name="connsiteY35" fmla="*/ 353949 h 627602"/>
                <a:gd name="connsiteX36" fmla="*/ 840772 w 887920"/>
                <a:gd name="connsiteY36" fmla="*/ 340138 h 627602"/>
                <a:gd name="connsiteX37" fmla="*/ 842963 w 887920"/>
                <a:gd name="connsiteY37" fmla="*/ 331851 h 627602"/>
                <a:gd name="connsiteX38" fmla="*/ 838391 w 887920"/>
                <a:gd name="connsiteY38" fmla="*/ 321183 h 627602"/>
                <a:gd name="connsiteX39" fmla="*/ 822579 w 887920"/>
                <a:gd name="connsiteY39" fmla="*/ 310420 h 627602"/>
                <a:gd name="connsiteX40" fmla="*/ 818579 w 887920"/>
                <a:gd name="connsiteY40" fmla="*/ 304514 h 627602"/>
                <a:gd name="connsiteX41" fmla="*/ 817626 w 887920"/>
                <a:gd name="connsiteY41" fmla="*/ 296609 h 627602"/>
                <a:gd name="connsiteX42" fmla="*/ 817340 w 887920"/>
                <a:gd name="connsiteY42" fmla="*/ 282226 h 627602"/>
                <a:gd name="connsiteX43" fmla="*/ 808101 w 887920"/>
                <a:gd name="connsiteY43" fmla="*/ 284988 h 627602"/>
                <a:gd name="connsiteX44" fmla="*/ 799624 w 887920"/>
                <a:gd name="connsiteY44" fmla="*/ 268415 h 627602"/>
                <a:gd name="connsiteX45" fmla="*/ 791909 w 887920"/>
                <a:gd name="connsiteY45" fmla="*/ 270986 h 627602"/>
                <a:gd name="connsiteX46" fmla="*/ 778669 w 887920"/>
                <a:gd name="connsiteY46" fmla="*/ 267843 h 627602"/>
                <a:gd name="connsiteX47" fmla="*/ 774764 w 887920"/>
                <a:gd name="connsiteY47" fmla="*/ 261938 h 627602"/>
                <a:gd name="connsiteX48" fmla="*/ 767620 w 887920"/>
                <a:gd name="connsiteY48" fmla="*/ 256508 h 627602"/>
                <a:gd name="connsiteX49" fmla="*/ 759333 w 887920"/>
                <a:gd name="connsiteY49" fmla="*/ 254318 h 627602"/>
                <a:gd name="connsiteX50" fmla="*/ 757142 w 887920"/>
                <a:gd name="connsiteY50" fmla="*/ 249746 h 627602"/>
                <a:gd name="connsiteX51" fmla="*/ 750380 w 887920"/>
                <a:gd name="connsiteY51" fmla="*/ 247460 h 627602"/>
                <a:gd name="connsiteX52" fmla="*/ 745712 w 887920"/>
                <a:gd name="connsiteY52" fmla="*/ 248031 h 627602"/>
                <a:gd name="connsiteX53" fmla="*/ 741140 w 887920"/>
                <a:gd name="connsiteY53" fmla="*/ 250222 h 627602"/>
                <a:gd name="connsiteX54" fmla="*/ 729520 w 887920"/>
                <a:gd name="connsiteY54" fmla="*/ 272510 h 627602"/>
                <a:gd name="connsiteX55" fmla="*/ 718376 w 887920"/>
                <a:gd name="connsiteY55" fmla="*/ 285179 h 627602"/>
                <a:gd name="connsiteX56" fmla="*/ 713613 w 887920"/>
                <a:gd name="connsiteY56" fmla="*/ 285750 h 627602"/>
                <a:gd name="connsiteX57" fmla="*/ 710089 w 887920"/>
                <a:gd name="connsiteY57" fmla="*/ 283083 h 627602"/>
                <a:gd name="connsiteX58" fmla="*/ 706850 w 887920"/>
                <a:gd name="connsiteY58" fmla="*/ 283464 h 627602"/>
                <a:gd name="connsiteX59" fmla="*/ 703136 w 887920"/>
                <a:gd name="connsiteY59" fmla="*/ 279083 h 627602"/>
                <a:gd name="connsiteX60" fmla="*/ 705898 w 887920"/>
                <a:gd name="connsiteY60" fmla="*/ 275558 h 627602"/>
                <a:gd name="connsiteX61" fmla="*/ 705517 w 887920"/>
                <a:gd name="connsiteY61" fmla="*/ 272415 h 627602"/>
                <a:gd name="connsiteX62" fmla="*/ 706660 w 887920"/>
                <a:gd name="connsiteY62" fmla="*/ 269081 h 627602"/>
                <a:gd name="connsiteX63" fmla="*/ 704660 w 887920"/>
                <a:gd name="connsiteY63" fmla="*/ 266129 h 627602"/>
                <a:gd name="connsiteX64" fmla="*/ 704279 w 887920"/>
                <a:gd name="connsiteY64" fmla="*/ 262890 h 627602"/>
                <a:gd name="connsiteX65" fmla="*/ 699897 w 887920"/>
                <a:gd name="connsiteY65" fmla="*/ 253841 h 627602"/>
                <a:gd name="connsiteX66" fmla="*/ 705803 w 887920"/>
                <a:gd name="connsiteY66" fmla="*/ 249936 h 627602"/>
                <a:gd name="connsiteX67" fmla="*/ 703802 w 887920"/>
                <a:gd name="connsiteY67" fmla="*/ 246983 h 627602"/>
                <a:gd name="connsiteX68" fmla="*/ 706565 w 887920"/>
                <a:gd name="connsiteY68" fmla="*/ 243364 h 627602"/>
                <a:gd name="connsiteX69" fmla="*/ 702850 w 887920"/>
                <a:gd name="connsiteY69" fmla="*/ 239078 h 627602"/>
                <a:gd name="connsiteX70" fmla="*/ 706755 w 887920"/>
                <a:gd name="connsiteY70" fmla="*/ 232124 h 627602"/>
                <a:gd name="connsiteX71" fmla="*/ 704945 w 887920"/>
                <a:gd name="connsiteY71" fmla="*/ 230791 h 627602"/>
                <a:gd name="connsiteX72" fmla="*/ 701231 w 887920"/>
                <a:gd name="connsiteY72" fmla="*/ 213646 h 627602"/>
                <a:gd name="connsiteX73" fmla="*/ 695420 w 887920"/>
                <a:gd name="connsiteY73" fmla="*/ 206312 h 627602"/>
                <a:gd name="connsiteX74" fmla="*/ 691134 w 887920"/>
                <a:gd name="connsiteY74" fmla="*/ 197263 h 627602"/>
                <a:gd name="connsiteX75" fmla="*/ 689515 w 887920"/>
                <a:gd name="connsiteY75" fmla="*/ 197453 h 627602"/>
                <a:gd name="connsiteX76" fmla="*/ 686181 w 887920"/>
                <a:gd name="connsiteY76" fmla="*/ 196310 h 627602"/>
                <a:gd name="connsiteX77" fmla="*/ 684562 w 887920"/>
                <a:gd name="connsiteY77" fmla="*/ 196501 h 627602"/>
                <a:gd name="connsiteX78" fmla="*/ 684181 w 887920"/>
                <a:gd name="connsiteY78" fmla="*/ 193358 h 627602"/>
                <a:gd name="connsiteX79" fmla="*/ 682847 w 887920"/>
                <a:gd name="connsiteY79" fmla="*/ 195072 h 627602"/>
                <a:gd name="connsiteX80" fmla="*/ 680847 w 887920"/>
                <a:gd name="connsiteY80" fmla="*/ 192119 h 627602"/>
                <a:gd name="connsiteX81" fmla="*/ 674465 w 887920"/>
                <a:gd name="connsiteY81" fmla="*/ 192977 h 627602"/>
                <a:gd name="connsiteX82" fmla="*/ 674084 w 887920"/>
                <a:gd name="connsiteY82" fmla="*/ 189833 h 627602"/>
                <a:gd name="connsiteX83" fmla="*/ 672560 w 887920"/>
                <a:gd name="connsiteY83" fmla="*/ 190024 h 627602"/>
                <a:gd name="connsiteX84" fmla="*/ 665798 w 887920"/>
                <a:gd name="connsiteY84" fmla="*/ 187643 h 627602"/>
                <a:gd name="connsiteX85" fmla="*/ 660654 w 887920"/>
                <a:gd name="connsiteY85" fmla="*/ 185071 h 627602"/>
                <a:gd name="connsiteX86" fmla="*/ 649224 w 887920"/>
                <a:gd name="connsiteY86" fmla="*/ 170498 h 627602"/>
                <a:gd name="connsiteX87" fmla="*/ 648367 w 887920"/>
                <a:gd name="connsiteY87" fmla="*/ 164211 h 627602"/>
                <a:gd name="connsiteX88" fmla="*/ 640842 w 887920"/>
                <a:gd name="connsiteY88" fmla="*/ 155543 h 627602"/>
                <a:gd name="connsiteX89" fmla="*/ 638651 w 887920"/>
                <a:gd name="connsiteY89" fmla="*/ 150971 h 627602"/>
                <a:gd name="connsiteX90" fmla="*/ 635318 w 887920"/>
                <a:gd name="connsiteY90" fmla="*/ 124206 h 627602"/>
                <a:gd name="connsiteX91" fmla="*/ 631508 w 887920"/>
                <a:gd name="connsiteY91" fmla="*/ 119824 h 627602"/>
                <a:gd name="connsiteX92" fmla="*/ 633698 w 887920"/>
                <a:gd name="connsiteY92" fmla="*/ 111538 h 627602"/>
                <a:gd name="connsiteX93" fmla="*/ 632841 w 887920"/>
                <a:gd name="connsiteY93" fmla="*/ 105251 h 627602"/>
                <a:gd name="connsiteX94" fmla="*/ 634079 w 887920"/>
                <a:gd name="connsiteY94" fmla="*/ 101918 h 627602"/>
                <a:gd name="connsiteX95" fmla="*/ 638366 w 887920"/>
                <a:gd name="connsiteY95" fmla="*/ 98108 h 627602"/>
                <a:gd name="connsiteX96" fmla="*/ 639509 w 887920"/>
                <a:gd name="connsiteY96" fmla="*/ 94774 h 627602"/>
                <a:gd name="connsiteX97" fmla="*/ 646843 w 887920"/>
                <a:gd name="connsiteY97" fmla="*/ 89059 h 627602"/>
                <a:gd name="connsiteX98" fmla="*/ 647605 w 887920"/>
                <a:gd name="connsiteY98" fmla="*/ 82487 h 627602"/>
                <a:gd name="connsiteX99" fmla="*/ 643223 w 887920"/>
                <a:gd name="connsiteY99" fmla="*/ 73438 h 627602"/>
                <a:gd name="connsiteX100" fmla="*/ 636556 w 887920"/>
                <a:gd name="connsiteY100" fmla="*/ 71057 h 627602"/>
                <a:gd name="connsiteX101" fmla="*/ 638270 w 887920"/>
                <a:gd name="connsiteY101" fmla="*/ 59626 h 627602"/>
                <a:gd name="connsiteX102" fmla="*/ 637318 w 887920"/>
                <a:gd name="connsiteY102" fmla="*/ 51721 h 627602"/>
                <a:gd name="connsiteX103" fmla="*/ 622459 w 887920"/>
                <a:gd name="connsiteY103" fmla="*/ 48863 h 627602"/>
                <a:gd name="connsiteX104" fmla="*/ 619316 w 887920"/>
                <a:gd name="connsiteY104" fmla="*/ 49244 h 627602"/>
                <a:gd name="connsiteX105" fmla="*/ 617982 w 887920"/>
                <a:gd name="connsiteY105" fmla="*/ 51054 h 627602"/>
                <a:gd name="connsiteX106" fmla="*/ 612172 w 887920"/>
                <a:gd name="connsiteY106" fmla="*/ 43720 h 627602"/>
                <a:gd name="connsiteX107" fmla="*/ 615125 w 887920"/>
                <a:gd name="connsiteY107" fmla="*/ 41720 h 627602"/>
                <a:gd name="connsiteX108" fmla="*/ 613124 w 887920"/>
                <a:gd name="connsiteY108" fmla="*/ 38767 h 627602"/>
                <a:gd name="connsiteX109" fmla="*/ 610743 w 887920"/>
                <a:gd name="connsiteY109" fmla="*/ 32671 h 627602"/>
                <a:gd name="connsiteX110" fmla="*/ 613696 w 887920"/>
                <a:gd name="connsiteY110" fmla="*/ 30670 h 627602"/>
                <a:gd name="connsiteX111" fmla="*/ 611981 w 887920"/>
                <a:gd name="connsiteY111" fmla="*/ 29337 h 627602"/>
                <a:gd name="connsiteX112" fmla="*/ 597980 w 887920"/>
                <a:gd name="connsiteY112" fmla="*/ 32671 h 627602"/>
                <a:gd name="connsiteX113" fmla="*/ 592074 w 887920"/>
                <a:gd name="connsiteY113" fmla="*/ 36671 h 627602"/>
                <a:gd name="connsiteX114" fmla="*/ 587121 w 887920"/>
                <a:gd name="connsiteY114" fmla="*/ 35719 h 627602"/>
                <a:gd name="connsiteX115" fmla="*/ 583025 w 887920"/>
                <a:gd name="connsiteY115" fmla="*/ 41053 h 627602"/>
                <a:gd name="connsiteX116" fmla="*/ 583787 w 887920"/>
                <a:gd name="connsiteY116" fmla="*/ 47339 h 627602"/>
                <a:gd name="connsiteX117" fmla="*/ 577691 w 887920"/>
                <a:gd name="connsiteY117" fmla="*/ 49720 h 627602"/>
                <a:gd name="connsiteX118" fmla="*/ 569024 w 887920"/>
                <a:gd name="connsiteY118" fmla="*/ 44387 h 627602"/>
                <a:gd name="connsiteX119" fmla="*/ 565595 w 887920"/>
                <a:gd name="connsiteY119" fmla="*/ 43244 h 627602"/>
                <a:gd name="connsiteX120" fmla="*/ 568547 w 887920"/>
                <a:gd name="connsiteY120" fmla="*/ 41243 h 627602"/>
                <a:gd name="connsiteX121" fmla="*/ 569309 w 887920"/>
                <a:gd name="connsiteY121" fmla="*/ 34766 h 627602"/>
                <a:gd name="connsiteX122" fmla="*/ 568928 w 887920"/>
                <a:gd name="connsiteY122" fmla="*/ 31623 h 627602"/>
                <a:gd name="connsiteX123" fmla="*/ 568547 w 887920"/>
                <a:gd name="connsiteY123" fmla="*/ 15621 h 627602"/>
                <a:gd name="connsiteX124" fmla="*/ 565499 w 887920"/>
                <a:gd name="connsiteY124" fmla="*/ 4763 h 627602"/>
                <a:gd name="connsiteX125" fmla="*/ 553498 w 887920"/>
                <a:gd name="connsiteY125" fmla="*/ 11144 h 627602"/>
                <a:gd name="connsiteX126" fmla="*/ 545592 w 887920"/>
                <a:gd name="connsiteY126" fmla="*/ 12097 h 627602"/>
                <a:gd name="connsiteX127" fmla="*/ 544830 w 887920"/>
                <a:gd name="connsiteY127" fmla="*/ 18669 h 627602"/>
                <a:gd name="connsiteX128" fmla="*/ 539591 w 887920"/>
                <a:gd name="connsiteY128" fmla="*/ 27337 h 627602"/>
                <a:gd name="connsiteX129" fmla="*/ 538734 w 887920"/>
                <a:gd name="connsiteY129" fmla="*/ 33814 h 627602"/>
                <a:gd name="connsiteX130" fmla="*/ 542163 w 887920"/>
                <a:gd name="connsiteY130" fmla="*/ 35052 h 627602"/>
                <a:gd name="connsiteX131" fmla="*/ 545687 w 887920"/>
                <a:gd name="connsiteY131" fmla="*/ 37814 h 627602"/>
                <a:gd name="connsiteX132" fmla="*/ 540734 w 887920"/>
                <a:gd name="connsiteY132" fmla="*/ 36767 h 627602"/>
                <a:gd name="connsiteX133" fmla="*/ 536258 w 887920"/>
                <a:gd name="connsiteY133" fmla="*/ 38957 h 627602"/>
                <a:gd name="connsiteX134" fmla="*/ 530924 w 887920"/>
                <a:gd name="connsiteY134" fmla="*/ 34862 h 627602"/>
                <a:gd name="connsiteX135" fmla="*/ 524542 w 887920"/>
                <a:gd name="connsiteY135" fmla="*/ 35624 h 627602"/>
                <a:gd name="connsiteX136" fmla="*/ 519875 w 887920"/>
                <a:gd name="connsiteY136" fmla="*/ 36290 h 627602"/>
                <a:gd name="connsiteX137" fmla="*/ 515684 w 887920"/>
                <a:gd name="connsiteY137" fmla="*/ 28766 h 627602"/>
                <a:gd name="connsiteX138" fmla="*/ 515112 w 887920"/>
                <a:gd name="connsiteY138" fmla="*/ 24003 h 627602"/>
                <a:gd name="connsiteX139" fmla="*/ 522161 w 887920"/>
                <a:gd name="connsiteY139" fmla="*/ 16669 h 627602"/>
                <a:gd name="connsiteX140" fmla="*/ 518351 w 887920"/>
                <a:gd name="connsiteY140" fmla="*/ 12383 h 627602"/>
                <a:gd name="connsiteX141" fmla="*/ 505397 w 887920"/>
                <a:gd name="connsiteY141" fmla="*/ 10859 h 627602"/>
                <a:gd name="connsiteX142" fmla="*/ 500634 w 887920"/>
                <a:gd name="connsiteY142" fmla="*/ 11430 h 627602"/>
                <a:gd name="connsiteX143" fmla="*/ 500063 w 887920"/>
                <a:gd name="connsiteY143" fmla="*/ 6668 h 627602"/>
                <a:gd name="connsiteX144" fmla="*/ 495110 w 887920"/>
                <a:gd name="connsiteY144" fmla="*/ 5715 h 627602"/>
                <a:gd name="connsiteX145" fmla="*/ 494729 w 887920"/>
                <a:gd name="connsiteY145" fmla="*/ 2572 h 627602"/>
                <a:gd name="connsiteX146" fmla="*/ 489585 w 887920"/>
                <a:gd name="connsiteY146" fmla="*/ 0 h 627602"/>
                <a:gd name="connsiteX147" fmla="*/ 487966 w 887920"/>
                <a:gd name="connsiteY147" fmla="*/ 190 h 627602"/>
                <a:gd name="connsiteX148" fmla="*/ 487775 w 887920"/>
                <a:gd name="connsiteY148" fmla="*/ 11430 h 627602"/>
                <a:gd name="connsiteX149" fmla="*/ 481679 w 887920"/>
                <a:gd name="connsiteY149" fmla="*/ 13811 h 627602"/>
                <a:gd name="connsiteX150" fmla="*/ 471869 w 887920"/>
                <a:gd name="connsiteY150" fmla="*/ 11906 h 627602"/>
                <a:gd name="connsiteX151" fmla="*/ 471392 w 887920"/>
                <a:gd name="connsiteY151" fmla="*/ 8763 h 627602"/>
                <a:gd name="connsiteX152" fmla="*/ 471202 w 887920"/>
                <a:gd name="connsiteY152" fmla="*/ 7144 h 627602"/>
                <a:gd name="connsiteX153" fmla="*/ 470630 w 887920"/>
                <a:gd name="connsiteY153" fmla="*/ 2477 h 627602"/>
                <a:gd name="connsiteX154" fmla="*/ 463868 w 887920"/>
                <a:gd name="connsiteY154" fmla="*/ 95 h 627602"/>
                <a:gd name="connsiteX155" fmla="*/ 459200 w 887920"/>
                <a:gd name="connsiteY155" fmla="*/ 667 h 627602"/>
                <a:gd name="connsiteX156" fmla="*/ 458438 w 887920"/>
                <a:gd name="connsiteY156" fmla="*/ 7239 h 627602"/>
                <a:gd name="connsiteX157" fmla="*/ 455200 w 887920"/>
                <a:gd name="connsiteY157" fmla="*/ 7620 h 627602"/>
                <a:gd name="connsiteX158" fmla="*/ 449485 w 887920"/>
                <a:gd name="connsiteY158" fmla="*/ 13145 h 627602"/>
                <a:gd name="connsiteX159" fmla="*/ 445008 w 887920"/>
                <a:gd name="connsiteY159" fmla="*/ 15335 h 627602"/>
                <a:gd name="connsiteX160" fmla="*/ 438436 w 887920"/>
                <a:gd name="connsiteY160" fmla="*/ 14573 h 627602"/>
                <a:gd name="connsiteX161" fmla="*/ 435959 w 887920"/>
                <a:gd name="connsiteY161" fmla="*/ 19717 h 627602"/>
                <a:gd name="connsiteX162" fmla="*/ 426911 w 887920"/>
                <a:gd name="connsiteY162" fmla="*/ 36862 h 627602"/>
                <a:gd name="connsiteX163" fmla="*/ 432245 w 887920"/>
                <a:gd name="connsiteY163" fmla="*/ 40958 h 627602"/>
                <a:gd name="connsiteX164" fmla="*/ 440150 w 887920"/>
                <a:gd name="connsiteY164" fmla="*/ 52864 h 627602"/>
                <a:gd name="connsiteX165" fmla="*/ 444246 w 887920"/>
                <a:gd name="connsiteY165" fmla="*/ 47435 h 627602"/>
                <a:gd name="connsiteX166" fmla="*/ 451771 w 887920"/>
                <a:gd name="connsiteY166" fmla="*/ 43339 h 627602"/>
                <a:gd name="connsiteX167" fmla="*/ 453581 w 887920"/>
                <a:gd name="connsiteY167" fmla="*/ 44672 h 627602"/>
                <a:gd name="connsiteX168" fmla="*/ 458534 w 887920"/>
                <a:gd name="connsiteY168" fmla="*/ 58484 h 627602"/>
                <a:gd name="connsiteX169" fmla="*/ 462725 w 887920"/>
                <a:gd name="connsiteY169" fmla="*/ 66008 h 627602"/>
                <a:gd name="connsiteX170" fmla="*/ 460915 w 887920"/>
                <a:gd name="connsiteY170" fmla="*/ 64580 h 627602"/>
                <a:gd name="connsiteX171" fmla="*/ 455200 w 887920"/>
                <a:gd name="connsiteY171" fmla="*/ 70104 h 627602"/>
                <a:gd name="connsiteX172" fmla="*/ 458534 w 887920"/>
                <a:gd name="connsiteY172" fmla="*/ 84106 h 627602"/>
                <a:gd name="connsiteX173" fmla="*/ 456248 w 887920"/>
                <a:gd name="connsiteY173" fmla="*/ 90869 h 627602"/>
                <a:gd name="connsiteX174" fmla="*/ 458248 w 887920"/>
                <a:gd name="connsiteY174" fmla="*/ 93821 h 627602"/>
                <a:gd name="connsiteX175" fmla="*/ 448723 w 887920"/>
                <a:gd name="connsiteY175" fmla="*/ 107823 h 627602"/>
                <a:gd name="connsiteX176" fmla="*/ 445770 w 887920"/>
                <a:gd name="connsiteY176" fmla="*/ 109823 h 627602"/>
                <a:gd name="connsiteX177" fmla="*/ 441674 w 887920"/>
                <a:gd name="connsiteY177" fmla="*/ 115157 h 627602"/>
                <a:gd name="connsiteX178" fmla="*/ 444056 w 887920"/>
                <a:gd name="connsiteY178" fmla="*/ 121253 h 627602"/>
                <a:gd name="connsiteX179" fmla="*/ 448056 w 887920"/>
                <a:gd name="connsiteY179" fmla="*/ 127159 h 627602"/>
                <a:gd name="connsiteX180" fmla="*/ 448818 w 887920"/>
                <a:gd name="connsiteY180" fmla="*/ 133541 h 627602"/>
                <a:gd name="connsiteX181" fmla="*/ 453581 w 887920"/>
                <a:gd name="connsiteY181" fmla="*/ 132874 h 627602"/>
                <a:gd name="connsiteX182" fmla="*/ 446437 w 887920"/>
                <a:gd name="connsiteY182" fmla="*/ 140208 h 627602"/>
                <a:gd name="connsiteX183" fmla="*/ 447294 w 887920"/>
                <a:gd name="connsiteY183" fmla="*/ 146495 h 627602"/>
                <a:gd name="connsiteX184" fmla="*/ 444532 w 887920"/>
                <a:gd name="connsiteY184" fmla="*/ 150114 h 627602"/>
                <a:gd name="connsiteX185" fmla="*/ 448056 w 887920"/>
                <a:gd name="connsiteY185" fmla="*/ 152876 h 627602"/>
                <a:gd name="connsiteX186" fmla="*/ 450056 w 887920"/>
                <a:gd name="connsiteY186" fmla="*/ 168593 h 627602"/>
                <a:gd name="connsiteX187" fmla="*/ 451104 w 887920"/>
                <a:gd name="connsiteY187" fmla="*/ 176498 h 627602"/>
                <a:gd name="connsiteX188" fmla="*/ 447961 w 887920"/>
                <a:gd name="connsiteY188" fmla="*/ 176879 h 627602"/>
                <a:gd name="connsiteX189" fmla="*/ 433578 w 887920"/>
                <a:gd name="connsiteY189" fmla="*/ 177165 h 627602"/>
                <a:gd name="connsiteX190" fmla="*/ 429387 w 887920"/>
                <a:gd name="connsiteY190" fmla="*/ 182499 h 627602"/>
                <a:gd name="connsiteX191" fmla="*/ 421481 w 887920"/>
                <a:gd name="connsiteY191" fmla="*/ 183452 h 627602"/>
                <a:gd name="connsiteX192" fmla="*/ 413195 w 887920"/>
                <a:gd name="connsiteY192" fmla="*/ 181356 h 627602"/>
                <a:gd name="connsiteX193" fmla="*/ 407670 w 887920"/>
                <a:gd name="connsiteY193" fmla="*/ 175641 h 627602"/>
                <a:gd name="connsiteX194" fmla="*/ 381000 w 887920"/>
                <a:gd name="connsiteY194" fmla="*/ 167831 h 627602"/>
                <a:gd name="connsiteX195" fmla="*/ 379095 w 887920"/>
                <a:gd name="connsiteY195" fmla="*/ 177641 h 627602"/>
                <a:gd name="connsiteX196" fmla="*/ 363093 w 887920"/>
                <a:gd name="connsiteY196" fmla="*/ 165259 h 627602"/>
                <a:gd name="connsiteX197" fmla="*/ 356711 w 887920"/>
                <a:gd name="connsiteY197" fmla="*/ 166116 h 627602"/>
                <a:gd name="connsiteX198" fmla="*/ 356140 w 887920"/>
                <a:gd name="connsiteY198" fmla="*/ 174212 h 627602"/>
                <a:gd name="connsiteX199" fmla="*/ 349853 w 887920"/>
                <a:gd name="connsiteY199" fmla="*/ 174974 h 627602"/>
                <a:gd name="connsiteX200" fmla="*/ 344900 w 887920"/>
                <a:gd name="connsiteY200" fmla="*/ 174022 h 627602"/>
                <a:gd name="connsiteX201" fmla="*/ 340233 w 887920"/>
                <a:gd name="connsiteY201" fmla="*/ 174593 h 627602"/>
                <a:gd name="connsiteX202" fmla="*/ 333280 w 887920"/>
                <a:gd name="connsiteY202" fmla="*/ 170688 h 627602"/>
                <a:gd name="connsiteX203" fmla="*/ 328803 w 887920"/>
                <a:gd name="connsiteY203" fmla="*/ 172879 h 627602"/>
                <a:gd name="connsiteX204" fmla="*/ 329184 w 887920"/>
                <a:gd name="connsiteY204" fmla="*/ 176022 h 627602"/>
                <a:gd name="connsiteX205" fmla="*/ 325660 w 887920"/>
                <a:gd name="connsiteY205" fmla="*/ 186119 h 627602"/>
                <a:gd name="connsiteX206" fmla="*/ 320326 w 887920"/>
                <a:gd name="connsiteY206" fmla="*/ 194786 h 627602"/>
                <a:gd name="connsiteX207" fmla="*/ 314420 w 887920"/>
                <a:gd name="connsiteY207" fmla="*/ 211550 h 627602"/>
                <a:gd name="connsiteX208" fmla="*/ 312896 w 887920"/>
                <a:gd name="connsiteY208" fmla="*/ 224600 h 627602"/>
                <a:gd name="connsiteX209" fmla="*/ 307181 w 887920"/>
                <a:gd name="connsiteY209" fmla="*/ 230124 h 627602"/>
                <a:gd name="connsiteX210" fmla="*/ 308324 w 887920"/>
                <a:gd name="connsiteY210" fmla="*/ 226790 h 627602"/>
                <a:gd name="connsiteX211" fmla="*/ 306610 w 887920"/>
                <a:gd name="connsiteY211" fmla="*/ 225362 h 627602"/>
                <a:gd name="connsiteX212" fmla="*/ 297752 w 887920"/>
                <a:gd name="connsiteY212" fmla="*/ 231362 h 627602"/>
                <a:gd name="connsiteX213" fmla="*/ 289655 w 887920"/>
                <a:gd name="connsiteY213" fmla="*/ 230791 h 627602"/>
                <a:gd name="connsiteX214" fmla="*/ 289179 w 887920"/>
                <a:gd name="connsiteY214" fmla="*/ 227648 h 627602"/>
                <a:gd name="connsiteX215" fmla="*/ 286036 w 887920"/>
                <a:gd name="connsiteY215" fmla="*/ 228029 h 627602"/>
                <a:gd name="connsiteX216" fmla="*/ 284131 w 887920"/>
                <a:gd name="connsiteY216" fmla="*/ 225076 h 627602"/>
                <a:gd name="connsiteX217" fmla="*/ 279178 w 887920"/>
                <a:gd name="connsiteY217" fmla="*/ 224123 h 627602"/>
                <a:gd name="connsiteX218" fmla="*/ 273844 w 887920"/>
                <a:gd name="connsiteY218" fmla="*/ 219932 h 627602"/>
                <a:gd name="connsiteX219" fmla="*/ 268891 w 887920"/>
                <a:gd name="connsiteY219" fmla="*/ 218980 h 627602"/>
                <a:gd name="connsiteX220" fmla="*/ 266319 w 887920"/>
                <a:gd name="connsiteY220" fmla="*/ 224123 h 627602"/>
                <a:gd name="connsiteX221" fmla="*/ 258604 w 887920"/>
                <a:gd name="connsiteY221" fmla="*/ 226695 h 627602"/>
                <a:gd name="connsiteX222" fmla="*/ 255270 w 887920"/>
                <a:gd name="connsiteY222" fmla="*/ 225552 h 627602"/>
                <a:gd name="connsiteX223" fmla="*/ 255080 w 887920"/>
                <a:gd name="connsiteY223" fmla="*/ 223933 h 627602"/>
                <a:gd name="connsiteX224" fmla="*/ 257270 w 887920"/>
                <a:gd name="connsiteY224" fmla="*/ 215646 h 627602"/>
                <a:gd name="connsiteX225" fmla="*/ 249746 w 887920"/>
                <a:gd name="connsiteY225" fmla="*/ 206978 h 627602"/>
                <a:gd name="connsiteX226" fmla="*/ 237077 w 887920"/>
                <a:gd name="connsiteY226" fmla="*/ 208598 h 627602"/>
                <a:gd name="connsiteX227" fmla="*/ 231743 w 887920"/>
                <a:gd name="connsiteY227" fmla="*/ 204502 h 627602"/>
                <a:gd name="connsiteX228" fmla="*/ 217742 w 887920"/>
                <a:gd name="connsiteY228" fmla="*/ 194977 h 627602"/>
                <a:gd name="connsiteX229" fmla="*/ 208407 w 887920"/>
                <a:gd name="connsiteY229" fmla="*/ 197834 h 627602"/>
                <a:gd name="connsiteX230" fmla="*/ 196215 w 887920"/>
                <a:gd name="connsiteY230" fmla="*/ 189738 h 627602"/>
                <a:gd name="connsiteX231" fmla="*/ 187738 w 887920"/>
                <a:gd name="connsiteY231" fmla="*/ 186023 h 627602"/>
                <a:gd name="connsiteX232" fmla="*/ 180213 w 887920"/>
                <a:gd name="connsiteY232" fmla="*/ 202978 h 627602"/>
                <a:gd name="connsiteX233" fmla="*/ 177260 w 887920"/>
                <a:gd name="connsiteY233" fmla="*/ 204978 h 627602"/>
                <a:gd name="connsiteX234" fmla="*/ 172593 w 887920"/>
                <a:gd name="connsiteY234" fmla="*/ 205550 h 627602"/>
                <a:gd name="connsiteX235" fmla="*/ 168212 w 887920"/>
                <a:gd name="connsiteY235" fmla="*/ 209360 h 627602"/>
                <a:gd name="connsiteX236" fmla="*/ 153448 w 887920"/>
                <a:gd name="connsiteY236" fmla="*/ 206407 h 627602"/>
                <a:gd name="connsiteX237" fmla="*/ 152210 w 887920"/>
                <a:gd name="connsiteY237" fmla="*/ 209741 h 627602"/>
                <a:gd name="connsiteX238" fmla="*/ 154781 w 887920"/>
                <a:gd name="connsiteY238" fmla="*/ 217456 h 627602"/>
                <a:gd name="connsiteX239" fmla="*/ 150495 w 887920"/>
                <a:gd name="connsiteY239" fmla="*/ 221266 h 627602"/>
                <a:gd name="connsiteX240" fmla="*/ 151448 w 887920"/>
                <a:gd name="connsiteY240" fmla="*/ 229076 h 627602"/>
                <a:gd name="connsiteX241" fmla="*/ 148971 w 887920"/>
                <a:gd name="connsiteY241" fmla="*/ 234220 h 627602"/>
                <a:gd name="connsiteX242" fmla="*/ 150114 w 887920"/>
                <a:gd name="connsiteY242" fmla="*/ 243745 h 627602"/>
                <a:gd name="connsiteX243" fmla="*/ 148019 w 887920"/>
                <a:gd name="connsiteY243" fmla="*/ 252032 h 627602"/>
                <a:gd name="connsiteX244" fmla="*/ 140303 w 887920"/>
                <a:gd name="connsiteY244" fmla="*/ 254603 h 627602"/>
                <a:gd name="connsiteX245" fmla="*/ 135541 w 887920"/>
                <a:gd name="connsiteY245" fmla="*/ 255175 h 627602"/>
                <a:gd name="connsiteX246" fmla="*/ 135350 w 887920"/>
                <a:gd name="connsiteY246" fmla="*/ 253651 h 627602"/>
                <a:gd name="connsiteX247" fmla="*/ 134398 w 887920"/>
                <a:gd name="connsiteY247" fmla="*/ 258604 h 627602"/>
                <a:gd name="connsiteX248" fmla="*/ 130683 w 887920"/>
                <a:gd name="connsiteY248" fmla="*/ 254222 h 627602"/>
                <a:gd name="connsiteX249" fmla="*/ 124301 w 887920"/>
                <a:gd name="connsiteY249" fmla="*/ 255080 h 627602"/>
                <a:gd name="connsiteX250" fmla="*/ 122301 w 887920"/>
                <a:gd name="connsiteY250" fmla="*/ 252127 h 627602"/>
                <a:gd name="connsiteX251" fmla="*/ 114014 w 887920"/>
                <a:gd name="connsiteY251" fmla="*/ 249936 h 627602"/>
                <a:gd name="connsiteX252" fmla="*/ 111633 w 887920"/>
                <a:gd name="connsiteY252" fmla="*/ 243840 h 627602"/>
                <a:gd name="connsiteX253" fmla="*/ 102965 w 887920"/>
                <a:gd name="connsiteY253" fmla="*/ 238506 h 627602"/>
                <a:gd name="connsiteX254" fmla="*/ 99822 w 887920"/>
                <a:gd name="connsiteY254" fmla="*/ 238887 h 627602"/>
                <a:gd name="connsiteX255" fmla="*/ 98393 w 887920"/>
                <a:gd name="connsiteY255" fmla="*/ 240697 h 627602"/>
                <a:gd name="connsiteX256" fmla="*/ 96679 w 887920"/>
                <a:gd name="connsiteY256" fmla="*/ 239268 h 627602"/>
                <a:gd name="connsiteX257" fmla="*/ 92107 w 887920"/>
                <a:gd name="connsiteY257" fmla="*/ 241459 h 627602"/>
                <a:gd name="connsiteX258" fmla="*/ 94869 w 887920"/>
                <a:gd name="connsiteY258" fmla="*/ 237935 h 627602"/>
                <a:gd name="connsiteX259" fmla="*/ 95822 w 887920"/>
                <a:gd name="connsiteY259" fmla="*/ 232982 h 627602"/>
                <a:gd name="connsiteX260" fmla="*/ 92678 w 887920"/>
                <a:gd name="connsiteY260" fmla="*/ 233363 h 627602"/>
                <a:gd name="connsiteX261" fmla="*/ 90964 w 887920"/>
                <a:gd name="connsiteY261" fmla="*/ 232029 h 627602"/>
                <a:gd name="connsiteX262" fmla="*/ 83249 w 887920"/>
                <a:gd name="connsiteY262" fmla="*/ 234601 h 627602"/>
                <a:gd name="connsiteX263" fmla="*/ 79058 w 887920"/>
                <a:gd name="connsiteY263" fmla="*/ 239935 h 627602"/>
                <a:gd name="connsiteX264" fmla="*/ 73533 w 887920"/>
                <a:gd name="connsiteY264" fmla="*/ 234220 h 627602"/>
                <a:gd name="connsiteX265" fmla="*/ 67437 w 887920"/>
                <a:gd name="connsiteY265" fmla="*/ 236601 h 627602"/>
                <a:gd name="connsiteX266" fmla="*/ 71247 w 887920"/>
                <a:gd name="connsiteY266" fmla="*/ 240983 h 627602"/>
                <a:gd name="connsiteX267" fmla="*/ 69818 w 887920"/>
                <a:gd name="connsiteY267" fmla="*/ 242697 h 627602"/>
                <a:gd name="connsiteX268" fmla="*/ 73152 w 887920"/>
                <a:gd name="connsiteY268" fmla="*/ 243935 h 627602"/>
                <a:gd name="connsiteX269" fmla="*/ 74581 w 887920"/>
                <a:gd name="connsiteY269" fmla="*/ 242126 h 627602"/>
                <a:gd name="connsiteX270" fmla="*/ 77915 w 887920"/>
                <a:gd name="connsiteY270" fmla="*/ 243269 h 627602"/>
                <a:gd name="connsiteX271" fmla="*/ 78296 w 887920"/>
                <a:gd name="connsiteY271" fmla="*/ 246507 h 627602"/>
                <a:gd name="connsiteX272" fmla="*/ 74771 w 887920"/>
                <a:gd name="connsiteY272" fmla="*/ 243745 h 627602"/>
                <a:gd name="connsiteX273" fmla="*/ 72200 w 887920"/>
                <a:gd name="connsiteY273" fmla="*/ 248888 h 627602"/>
                <a:gd name="connsiteX274" fmla="*/ 74009 w 887920"/>
                <a:gd name="connsiteY274" fmla="*/ 250222 h 627602"/>
                <a:gd name="connsiteX275" fmla="*/ 73057 w 887920"/>
                <a:gd name="connsiteY275" fmla="*/ 255175 h 627602"/>
                <a:gd name="connsiteX276" fmla="*/ 74771 w 887920"/>
                <a:gd name="connsiteY276" fmla="*/ 256508 h 627602"/>
                <a:gd name="connsiteX277" fmla="*/ 76391 w 887920"/>
                <a:gd name="connsiteY277" fmla="*/ 256318 h 627602"/>
                <a:gd name="connsiteX278" fmla="*/ 78200 w 887920"/>
                <a:gd name="connsiteY278" fmla="*/ 257746 h 627602"/>
                <a:gd name="connsiteX279" fmla="*/ 78391 w 887920"/>
                <a:gd name="connsiteY279" fmla="*/ 259270 h 627602"/>
                <a:gd name="connsiteX280" fmla="*/ 78581 w 887920"/>
                <a:gd name="connsiteY280" fmla="*/ 260890 h 627602"/>
                <a:gd name="connsiteX281" fmla="*/ 72676 w 887920"/>
                <a:gd name="connsiteY281" fmla="*/ 264795 h 627602"/>
                <a:gd name="connsiteX282" fmla="*/ 71438 w 887920"/>
                <a:gd name="connsiteY282" fmla="*/ 268224 h 627602"/>
                <a:gd name="connsiteX283" fmla="*/ 77057 w 887920"/>
                <a:gd name="connsiteY283" fmla="*/ 273844 h 627602"/>
                <a:gd name="connsiteX284" fmla="*/ 71723 w 887920"/>
                <a:gd name="connsiteY284" fmla="*/ 282607 h 627602"/>
                <a:gd name="connsiteX285" fmla="*/ 66580 w 887920"/>
                <a:gd name="connsiteY285" fmla="*/ 280035 h 627602"/>
                <a:gd name="connsiteX286" fmla="*/ 61817 w 887920"/>
                <a:gd name="connsiteY286" fmla="*/ 280607 h 627602"/>
                <a:gd name="connsiteX287" fmla="*/ 62008 w 887920"/>
                <a:gd name="connsiteY287" fmla="*/ 282226 h 627602"/>
                <a:gd name="connsiteX288" fmla="*/ 56483 w 887920"/>
                <a:gd name="connsiteY288" fmla="*/ 289370 h 627602"/>
                <a:gd name="connsiteX289" fmla="*/ 54959 w 887920"/>
                <a:gd name="connsiteY289" fmla="*/ 302324 h 627602"/>
                <a:gd name="connsiteX290" fmla="*/ 54007 w 887920"/>
                <a:gd name="connsiteY290" fmla="*/ 307277 h 627602"/>
                <a:gd name="connsiteX291" fmla="*/ 51054 w 887920"/>
                <a:gd name="connsiteY291" fmla="*/ 309277 h 627602"/>
                <a:gd name="connsiteX292" fmla="*/ 50292 w 887920"/>
                <a:gd name="connsiteY292" fmla="*/ 315754 h 627602"/>
                <a:gd name="connsiteX293" fmla="*/ 59150 w 887920"/>
                <a:gd name="connsiteY293" fmla="*/ 322707 h 627602"/>
                <a:gd name="connsiteX294" fmla="*/ 56388 w 887920"/>
                <a:gd name="connsiteY294" fmla="*/ 326231 h 627602"/>
                <a:gd name="connsiteX295" fmla="*/ 50102 w 887920"/>
                <a:gd name="connsiteY295" fmla="*/ 326993 h 627602"/>
                <a:gd name="connsiteX296" fmla="*/ 48482 w 887920"/>
                <a:gd name="connsiteY296" fmla="*/ 327279 h 627602"/>
                <a:gd name="connsiteX297" fmla="*/ 49721 w 887920"/>
                <a:gd name="connsiteY297" fmla="*/ 323850 h 627602"/>
                <a:gd name="connsiteX298" fmla="*/ 47339 w 887920"/>
                <a:gd name="connsiteY298" fmla="*/ 317754 h 627602"/>
                <a:gd name="connsiteX299" fmla="*/ 44768 w 887920"/>
                <a:gd name="connsiteY299" fmla="*/ 322898 h 627602"/>
                <a:gd name="connsiteX300" fmla="*/ 44958 w 887920"/>
                <a:gd name="connsiteY300" fmla="*/ 324517 h 627602"/>
                <a:gd name="connsiteX301" fmla="*/ 41243 w 887920"/>
                <a:gd name="connsiteY301" fmla="*/ 332994 h 627602"/>
                <a:gd name="connsiteX302" fmla="*/ 32195 w 887920"/>
                <a:gd name="connsiteY302" fmla="*/ 337376 h 627602"/>
                <a:gd name="connsiteX303" fmla="*/ 22860 w 887920"/>
                <a:gd name="connsiteY303" fmla="*/ 340138 h 627602"/>
                <a:gd name="connsiteX304" fmla="*/ 18955 w 887920"/>
                <a:gd name="connsiteY304" fmla="*/ 346996 h 627602"/>
                <a:gd name="connsiteX305" fmla="*/ 19812 w 887920"/>
                <a:gd name="connsiteY305" fmla="*/ 353378 h 627602"/>
                <a:gd name="connsiteX306" fmla="*/ 15621 w 887920"/>
                <a:gd name="connsiteY306" fmla="*/ 358712 h 627602"/>
                <a:gd name="connsiteX307" fmla="*/ 15050 w 887920"/>
                <a:gd name="connsiteY307" fmla="*/ 366808 h 627602"/>
                <a:gd name="connsiteX308" fmla="*/ 22003 w 887920"/>
                <a:gd name="connsiteY308" fmla="*/ 370713 h 627602"/>
                <a:gd name="connsiteX309" fmla="*/ 22574 w 887920"/>
                <a:gd name="connsiteY309" fmla="*/ 375476 h 627602"/>
                <a:gd name="connsiteX310" fmla="*/ 8192 w 887920"/>
                <a:gd name="connsiteY310" fmla="*/ 388525 h 627602"/>
                <a:gd name="connsiteX311" fmla="*/ 6477 w 887920"/>
                <a:gd name="connsiteY311" fmla="*/ 387096 h 627602"/>
                <a:gd name="connsiteX312" fmla="*/ 191 w 887920"/>
                <a:gd name="connsiteY312" fmla="*/ 400717 h 627602"/>
                <a:gd name="connsiteX313" fmla="*/ 0 w 887920"/>
                <a:gd name="connsiteY313" fmla="*/ 412052 h 627602"/>
                <a:gd name="connsiteX314" fmla="*/ 4953 w 887920"/>
                <a:gd name="connsiteY314" fmla="*/ 413004 h 627602"/>
                <a:gd name="connsiteX315" fmla="*/ 9620 w 887920"/>
                <a:gd name="connsiteY315" fmla="*/ 412337 h 627602"/>
                <a:gd name="connsiteX316" fmla="*/ 11240 w 887920"/>
                <a:gd name="connsiteY316" fmla="*/ 412147 h 627602"/>
                <a:gd name="connsiteX317" fmla="*/ 10478 w 887920"/>
                <a:gd name="connsiteY317" fmla="*/ 418719 h 627602"/>
                <a:gd name="connsiteX318" fmla="*/ 10859 w 887920"/>
                <a:gd name="connsiteY318" fmla="*/ 421862 h 627602"/>
                <a:gd name="connsiteX319" fmla="*/ 11049 w 887920"/>
                <a:gd name="connsiteY319" fmla="*/ 423386 h 627602"/>
                <a:gd name="connsiteX320" fmla="*/ 13811 w 887920"/>
                <a:gd name="connsiteY320" fmla="*/ 432721 h 627602"/>
                <a:gd name="connsiteX321" fmla="*/ 14288 w 887920"/>
                <a:gd name="connsiteY321" fmla="*/ 435864 h 627602"/>
                <a:gd name="connsiteX322" fmla="*/ 10763 w 887920"/>
                <a:gd name="connsiteY322" fmla="*/ 445961 h 627602"/>
                <a:gd name="connsiteX323" fmla="*/ 17812 w 887920"/>
                <a:gd name="connsiteY323" fmla="*/ 451390 h 627602"/>
                <a:gd name="connsiteX324" fmla="*/ 16478 w 887920"/>
                <a:gd name="connsiteY324" fmla="*/ 453200 h 627602"/>
                <a:gd name="connsiteX325" fmla="*/ 16859 w 887920"/>
                <a:gd name="connsiteY325" fmla="*/ 456343 h 627602"/>
                <a:gd name="connsiteX326" fmla="*/ 24003 w 887920"/>
                <a:gd name="connsiteY326" fmla="*/ 461867 h 627602"/>
                <a:gd name="connsiteX327" fmla="*/ 26956 w 887920"/>
                <a:gd name="connsiteY327" fmla="*/ 472726 h 627602"/>
                <a:gd name="connsiteX328" fmla="*/ 24384 w 887920"/>
                <a:gd name="connsiteY328" fmla="*/ 477869 h 627602"/>
                <a:gd name="connsiteX329" fmla="*/ 29337 w 887920"/>
                <a:gd name="connsiteY329" fmla="*/ 478822 h 627602"/>
                <a:gd name="connsiteX330" fmla="*/ 33338 w 887920"/>
                <a:gd name="connsiteY330" fmla="*/ 484727 h 627602"/>
                <a:gd name="connsiteX331" fmla="*/ 32099 w 887920"/>
                <a:gd name="connsiteY331" fmla="*/ 488061 h 627602"/>
                <a:gd name="connsiteX332" fmla="*/ 42196 w 887920"/>
                <a:gd name="connsiteY332" fmla="*/ 491585 h 627602"/>
                <a:gd name="connsiteX333" fmla="*/ 41434 w 887920"/>
                <a:gd name="connsiteY333" fmla="*/ 498158 h 627602"/>
                <a:gd name="connsiteX334" fmla="*/ 43053 w 887920"/>
                <a:gd name="connsiteY334" fmla="*/ 497967 h 627602"/>
                <a:gd name="connsiteX335" fmla="*/ 41624 w 887920"/>
                <a:gd name="connsiteY335" fmla="*/ 499682 h 627602"/>
                <a:gd name="connsiteX336" fmla="*/ 44768 w 887920"/>
                <a:gd name="connsiteY336" fmla="*/ 499301 h 627602"/>
                <a:gd name="connsiteX337" fmla="*/ 46006 w 887920"/>
                <a:gd name="connsiteY337" fmla="*/ 508826 h 627602"/>
                <a:gd name="connsiteX338" fmla="*/ 47625 w 887920"/>
                <a:gd name="connsiteY338" fmla="*/ 508540 h 627602"/>
                <a:gd name="connsiteX339" fmla="*/ 48006 w 887920"/>
                <a:gd name="connsiteY339" fmla="*/ 511778 h 627602"/>
                <a:gd name="connsiteX340" fmla="*/ 50006 w 887920"/>
                <a:gd name="connsiteY340" fmla="*/ 514731 h 627602"/>
                <a:gd name="connsiteX341" fmla="*/ 51149 w 887920"/>
                <a:gd name="connsiteY341" fmla="*/ 524161 h 627602"/>
                <a:gd name="connsiteX342" fmla="*/ 50006 w 887920"/>
                <a:gd name="connsiteY342" fmla="*/ 527495 h 627602"/>
                <a:gd name="connsiteX343" fmla="*/ 56864 w 887920"/>
                <a:gd name="connsiteY343" fmla="*/ 531400 h 627602"/>
                <a:gd name="connsiteX344" fmla="*/ 59531 w 887920"/>
                <a:gd name="connsiteY344" fmla="*/ 539115 h 627602"/>
                <a:gd name="connsiteX345" fmla="*/ 61055 w 887920"/>
                <a:gd name="connsiteY345" fmla="*/ 538925 h 627602"/>
                <a:gd name="connsiteX346" fmla="*/ 59722 w 887920"/>
                <a:gd name="connsiteY346" fmla="*/ 540734 h 627602"/>
                <a:gd name="connsiteX347" fmla="*/ 62865 w 887920"/>
                <a:gd name="connsiteY347" fmla="*/ 540353 h 627602"/>
                <a:gd name="connsiteX348" fmla="*/ 61627 w 887920"/>
                <a:gd name="connsiteY348" fmla="*/ 543687 h 627602"/>
                <a:gd name="connsiteX349" fmla="*/ 63437 w 887920"/>
                <a:gd name="connsiteY349" fmla="*/ 545021 h 627602"/>
                <a:gd name="connsiteX350" fmla="*/ 62103 w 887920"/>
                <a:gd name="connsiteY350" fmla="*/ 546830 h 627602"/>
                <a:gd name="connsiteX351" fmla="*/ 63627 w 887920"/>
                <a:gd name="connsiteY351" fmla="*/ 546640 h 627602"/>
                <a:gd name="connsiteX352" fmla="*/ 65246 w 887920"/>
                <a:gd name="connsiteY352" fmla="*/ 546449 h 627602"/>
                <a:gd name="connsiteX353" fmla="*/ 65437 w 887920"/>
                <a:gd name="connsiteY353" fmla="*/ 547973 h 627602"/>
                <a:gd name="connsiteX354" fmla="*/ 64484 w 887920"/>
                <a:gd name="connsiteY354" fmla="*/ 552926 h 627602"/>
                <a:gd name="connsiteX355" fmla="*/ 66389 w 887920"/>
                <a:gd name="connsiteY355" fmla="*/ 555879 h 627602"/>
                <a:gd name="connsiteX356" fmla="*/ 67818 w 887920"/>
                <a:gd name="connsiteY356" fmla="*/ 554069 h 627602"/>
                <a:gd name="connsiteX357" fmla="*/ 67056 w 887920"/>
                <a:gd name="connsiteY357" fmla="*/ 560642 h 627602"/>
                <a:gd name="connsiteX358" fmla="*/ 75343 w 887920"/>
                <a:gd name="connsiteY358" fmla="*/ 562737 h 627602"/>
                <a:gd name="connsiteX359" fmla="*/ 76676 w 887920"/>
                <a:gd name="connsiteY359" fmla="*/ 561023 h 627602"/>
                <a:gd name="connsiteX360" fmla="*/ 76867 w 887920"/>
                <a:gd name="connsiteY360" fmla="*/ 562547 h 627602"/>
                <a:gd name="connsiteX361" fmla="*/ 76867 w 887920"/>
                <a:gd name="connsiteY361" fmla="*/ 562547 h 627602"/>
                <a:gd name="connsiteX362" fmla="*/ 78677 w 887920"/>
                <a:gd name="connsiteY362" fmla="*/ 563975 h 627602"/>
                <a:gd name="connsiteX363" fmla="*/ 78486 w 887920"/>
                <a:gd name="connsiteY363" fmla="*/ 562356 h 627602"/>
                <a:gd name="connsiteX364" fmla="*/ 83439 w 887920"/>
                <a:gd name="connsiteY364" fmla="*/ 563309 h 627602"/>
                <a:gd name="connsiteX365" fmla="*/ 86582 w 887920"/>
                <a:gd name="connsiteY365" fmla="*/ 562928 h 627602"/>
                <a:gd name="connsiteX366" fmla="*/ 86773 w 887920"/>
                <a:gd name="connsiteY366" fmla="*/ 564547 h 627602"/>
                <a:gd name="connsiteX367" fmla="*/ 85439 w 887920"/>
                <a:gd name="connsiteY367" fmla="*/ 566261 h 627602"/>
                <a:gd name="connsiteX368" fmla="*/ 90297 w 887920"/>
                <a:gd name="connsiteY368" fmla="*/ 567309 h 627602"/>
                <a:gd name="connsiteX369" fmla="*/ 89726 w 887920"/>
                <a:gd name="connsiteY369" fmla="*/ 575405 h 627602"/>
                <a:gd name="connsiteX370" fmla="*/ 93155 w 887920"/>
                <a:gd name="connsiteY370" fmla="*/ 576548 h 627602"/>
                <a:gd name="connsiteX371" fmla="*/ 95345 w 887920"/>
                <a:gd name="connsiteY371" fmla="*/ 581120 h 627602"/>
                <a:gd name="connsiteX372" fmla="*/ 97917 w 887920"/>
                <a:gd name="connsiteY372" fmla="*/ 588740 h 627602"/>
                <a:gd name="connsiteX373" fmla="*/ 99441 w 887920"/>
                <a:gd name="connsiteY373" fmla="*/ 588550 h 627602"/>
                <a:gd name="connsiteX374" fmla="*/ 98679 w 887920"/>
                <a:gd name="connsiteY374" fmla="*/ 595122 h 627602"/>
                <a:gd name="connsiteX375" fmla="*/ 105251 w 887920"/>
                <a:gd name="connsiteY375" fmla="*/ 595884 h 627602"/>
                <a:gd name="connsiteX376" fmla="*/ 103823 w 887920"/>
                <a:gd name="connsiteY376" fmla="*/ 597599 h 627602"/>
                <a:gd name="connsiteX377" fmla="*/ 107633 w 887920"/>
                <a:gd name="connsiteY377" fmla="*/ 601980 h 627602"/>
                <a:gd name="connsiteX378" fmla="*/ 109919 w 887920"/>
                <a:gd name="connsiteY378" fmla="*/ 595217 h 627602"/>
                <a:gd name="connsiteX379" fmla="*/ 108204 w 887920"/>
                <a:gd name="connsiteY379" fmla="*/ 593884 h 627602"/>
                <a:gd name="connsiteX380" fmla="*/ 113252 w 887920"/>
                <a:gd name="connsiteY380" fmla="*/ 583597 h 627602"/>
                <a:gd name="connsiteX381" fmla="*/ 124301 w 887920"/>
                <a:gd name="connsiteY381" fmla="*/ 582168 h 627602"/>
                <a:gd name="connsiteX382" fmla="*/ 121349 w 887920"/>
                <a:gd name="connsiteY382" fmla="*/ 584168 h 627602"/>
                <a:gd name="connsiteX383" fmla="*/ 125159 w 887920"/>
                <a:gd name="connsiteY383" fmla="*/ 588550 h 627602"/>
                <a:gd name="connsiteX384" fmla="*/ 127730 w 887920"/>
                <a:gd name="connsiteY384" fmla="*/ 596170 h 627602"/>
                <a:gd name="connsiteX385" fmla="*/ 129445 w 887920"/>
                <a:gd name="connsiteY385" fmla="*/ 597599 h 627602"/>
                <a:gd name="connsiteX386" fmla="*/ 137732 w 887920"/>
                <a:gd name="connsiteY386" fmla="*/ 599694 h 627602"/>
                <a:gd name="connsiteX387" fmla="*/ 142494 w 887920"/>
                <a:gd name="connsiteY387" fmla="*/ 599123 h 627602"/>
                <a:gd name="connsiteX388" fmla="*/ 145256 w 887920"/>
                <a:gd name="connsiteY388" fmla="*/ 595598 h 627602"/>
                <a:gd name="connsiteX389" fmla="*/ 139732 w 887920"/>
                <a:gd name="connsiteY389" fmla="*/ 589883 h 627602"/>
                <a:gd name="connsiteX390" fmla="*/ 139541 w 887920"/>
                <a:gd name="connsiteY390" fmla="*/ 588264 h 627602"/>
                <a:gd name="connsiteX391" fmla="*/ 149162 w 887920"/>
                <a:gd name="connsiteY391" fmla="*/ 588645 h 627602"/>
                <a:gd name="connsiteX392" fmla="*/ 150590 w 887920"/>
                <a:gd name="connsiteY392" fmla="*/ 586835 h 627602"/>
                <a:gd name="connsiteX393" fmla="*/ 153162 w 887920"/>
                <a:gd name="connsiteY393" fmla="*/ 581692 h 627602"/>
                <a:gd name="connsiteX394" fmla="*/ 159639 w 887920"/>
                <a:gd name="connsiteY394" fmla="*/ 582549 h 627602"/>
                <a:gd name="connsiteX395" fmla="*/ 161258 w 887920"/>
                <a:gd name="connsiteY395" fmla="*/ 582263 h 627602"/>
                <a:gd name="connsiteX396" fmla="*/ 161449 w 887920"/>
                <a:gd name="connsiteY396" fmla="*/ 583883 h 627602"/>
                <a:gd name="connsiteX397" fmla="*/ 160020 w 887920"/>
                <a:gd name="connsiteY397" fmla="*/ 585692 h 627602"/>
                <a:gd name="connsiteX398" fmla="*/ 160687 w 887920"/>
                <a:gd name="connsiteY398" fmla="*/ 590360 h 627602"/>
                <a:gd name="connsiteX399" fmla="*/ 159258 w 887920"/>
                <a:gd name="connsiteY399" fmla="*/ 592169 h 627602"/>
                <a:gd name="connsiteX400" fmla="*/ 164783 w 887920"/>
                <a:gd name="connsiteY400" fmla="*/ 597884 h 627602"/>
                <a:gd name="connsiteX401" fmla="*/ 163068 w 887920"/>
                <a:gd name="connsiteY401" fmla="*/ 596551 h 627602"/>
                <a:gd name="connsiteX402" fmla="*/ 160306 w 887920"/>
                <a:gd name="connsiteY402" fmla="*/ 600075 h 627602"/>
                <a:gd name="connsiteX403" fmla="*/ 159258 w 887920"/>
                <a:gd name="connsiteY403" fmla="*/ 605028 h 627602"/>
                <a:gd name="connsiteX404" fmla="*/ 161068 w 887920"/>
                <a:gd name="connsiteY404" fmla="*/ 606362 h 627602"/>
                <a:gd name="connsiteX405" fmla="*/ 162497 w 887920"/>
                <a:gd name="connsiteY405" fmla="*/ 617411 h 627602"/>
                <a:gd name="connsiteX406" fmla="*/ 168021 w 887920"/>
                <a:gd name="connsiteY406" fmla="*/ 623126 h 627602"/>
                <a:gd name="connsiteX407" fmla="*/ 169640 w 887920"/>
                <a:gd name="connsiteY407" fmla="*/ 622935 h 627602"/>
                <a:gd name="connsiteX408" fmla="*/ 170593 w 887920"/>
                <a:gd name="connsiteY408" fmla="*/ 617982 h 627602"/>
                <a:gd name="connsiteX409" fmla="*/ 172593 w 887920"/>
                <a:gd name="connsiteY409" fmla="*/ 620935 h 627602"/>
                <a:gd name="connsiteX410" fmla="*/ 173927 w 887920"/>
                <a:gd name="connsiteY410" fmla="*/ 619220 h 627602"/>
                <a:gd name="connsiteX411" fmla="*/ 174117 w 887920"/>
                <a:gd name="connsiteY411" fmla="*/ 620744 h 627602"/>
                <a:gd name="connsiteX412" fmla="*/ 177260 w 887920"/>
                <a:gd name="connsiteY412" fmla="*/ 620363 h 627602"/>
                <a:gd name="connsiteX413" fmla="*/ 175927 w 887920"/>
                <a:gd name="connsiteY413" fmla="*/ 622173 h 627602"/>
                <a:gd name="connsiteX414" fmla="*/ 175927 w 887920"/>
                <a:gd name="connsiteY414" fmla="*/ 622173 h 627602"/>
                <a:gd name="connsiteX415" fmla="*/ 181070 w 887920"/>
                <a:gd name="connsiteY415" fmla="*/ 624650 h 627602"/>
                <a:gd name="connsiteX416" fmla="*/ 183071 w 887920"/>
                <a:gd name="connsiteY416" fmla="*/ 627602 h 627602"/>
                <a:gd name="connsiteX417" fmla="*/ 185738 w 887920"/>
                <a:gd name="connsiteY417" fmla="*/ 624078 h 627602"/>
                <a:gd name="connsiteX418" fmla="*/ 183642 w 887920"/>
                <a:gd name="connsiteY418" fmla="*/ 619506 h 627602"/>
                <a:gd name="connsiteX419" fmla="*/ 187738 w 887920"/>
                <a:gd name="connsiteY419" fmla="*/ 614172 h 627602"/>
                <a:gd name="connsiteX420" fmla="*/ 188119 w 887920"/>
                <a:gd name="connsiteY420" fmla="*/ 617411 h 627602"/>
                <a:gd name="connsiteX421" fmla="*/ 194691 w 887920"/>
                <a:gd name="connsiteY421" fmla="*/ 618173 h 627602"/>
                <a:gd name="connsiteX422" fmla="*/ 196215 w 887920"/>
                <a:gd name="connsiteY422" fmla="*/ 617982 h 627602"/>
                <a:gd name="connsiteX423" fmla="*/ 196977 w 887920"/>
                <a:gd name="connsiteY423" fmla="*/ 611410 h 627602"/>
                <a:gd name="connsiteX424" fmla="*/ 201930 w 887920"/>
                <a:gd name="connsiteY424" fmla="*/ 612362 h 627602"/>
                <a:gd name="connsiteX425" fmla="*/ 204121 w 887920"/>
                <a:gd name="connsiteY425" fmla="*/ 616934 h 627602"/>
                <a:gd name="connsiteX426" fmla="*/ 209074 w 887920"/>
                <a:gd name="connsiteY426" fmla="*/ 617887 h 627602"/>
                <a:gd name="connsiteX427" fmla="*/ 208407 w 887920"/>
                <a:gd name="connsiteY427" fmla="*/ 613220 h 627602"/>
                <a:gd name="connsiteX428" fmla="*/ 209836 w 887920"/>
                <a:gd name="connsiteY428" fmla="*/ 611410 h 627602"/>
                <a:gd name="connsiteX429" fmla="*/ 221266 w 887920"/>
                <a:gd name="connsiteY429" fmla="*/ 613124 h 627602"/>
                <a:gd name="connsiteX430" fmla="*/ 227552 w 887920"/>
                <a:gd name="connsiteY430" fmla="*/ 612362 h 627602"/>
                <a:gd name="connsiteX431" fmla="*/ 227362 w 887920"/>
                <a:gd name="connsiteY431" fmla="*/ 610743 h 627602"/>
                <a:gd name="connsiteX432" fmla="*/ 237839 w 887920"/>
                <a:gd name="connsiteY432" fmla="*/ 617411 h 627602"/>
                <a:gd name="connsiteX433" fmla="*/ 237839 w 887920"/>
                <a:gd name="connsiteY433" fmla="*/ 617411 h 627602"/>
                <a:gd name="connsiteX434" fmla="*/ 239268 w 887920"/>
                <a:gd name="connsiteY434" fmla="*/ 615696 h 627602"/>
                <a:gd name="connsiteX435" fmla="*/ 236220 w 887920"/>
                <a:gd name="connsiteY435" fmla="*/ 604838 h 627602"/>
                <a:gd name="connsiteX436" fmla="*/ 242316 w 887920"/>
                <a:gd name="connsiteY436" fmla="*/ 602456 h 627602"/>
                <a:gd name="connsiteX437" fmla="*/ 242126 w 887920"/>
                <a:gd name="connsiteY437" fmla="*/ 600837 h 627602"/>
                <a:gd name="connsiteX438" fmla="*/ 251841 w 887920"/>
                <a:gd name="connsiteY438" fmla="*/ 601218 h 627602"/>
                <a:gd name="connsiteX439" fmla="*/ 254603 w 887920"/>
                <a:gd name="connsiteY439" fmla="*/ 597694 h 627602"/>
                <a:gd name="connsiteX440" fmla="*/ 257937 w 887920"/>
                <a:gd name="connsiteY440" fmla="*/ 598837 h 627602"/>
                <a:gd name="connsiteX441" fmla="*/ 261652 w 887920"/>
                <a:gd name="connsiteY441" fmla="*/ 577501 h 627602"/>
                <a:gd name="connsiteX442" fmla="*/ 261271 w 887920"/>
                <a:gd name="connsiteY442" fmla="*/ 574358 h 627602"/>
                <a:gd name="connsiteX443" fmla="*/ 280988 w 887920"/>
                <a:gd name="connsiteY443" fmla="*/ 578263 h 627602"/>
                <a:gd name="connsiteX444" fmla="*/ 282131 w 887920"/>
                <a:gd name="connsiteY444" fmla="*/ 574929 h 627602"/>
                <a:gd name="connsiteX445" fmla="*/ 284131 w 887920"/>
                <a:gd name="connsiteY445" fmla="*/ 565023 h 627602"/>
                <a:gd name="connsiteX446" fmla="*/ 278130 w 887920"/>
                <a:gd name="connsiteY446" fmla="*/ 543401 h 627602"/>
                <a:gd name="connsiteX447" fmla="*/ 278321 w 887920"/>
                <a:gd name="connsiteY447" fmla="*/ 532067 h 627602"/>
                <a:gd name="connsiteX448" fmla="*/ 312896 w 887920"/>
                <a:gd name="connsiteY448" fmla="*/ 538925 h 627602"/>
                <a:gd name="connsiteX449" fmla="*/ 332232 w 887920"/>
                <a:gd name="connsiteY449" fmla="*/ 552450 h 627602"/>
                <a:gd name="connsiteX450" fmla="*/ 346424 w 887920"/>
                <a:gd name="connsiteY450" fmla="*/ 537877 h 627602"/>
                <a:gd name="connsiteX451" fmla="*/ 349568 w 887920"/>
                <a:gd name="connsiteY451" fmla="*/ 537496 h 627602"/>
                <a:gd name="connsiteX452" fmla="*/ 352330 w 887920"/>
                <a:gd name="connsiteY452" fmla="*/ 533876 h 627602"/>
                <a:gd name="connsiteX453" fmla="*/ 353473 w 887920"/>
                <a:gd name="connsiteY453" fmla="*/ 530543 h 627602"/>
                <a:gd name="connsiteX454" fmla="*/ 351473 w 887920"/>
                <a:gd name="connsiteY454" fmla="*/ 527590 h 627602"/>
                <a:gd name="connsiteX455" fmla="*/ 346139 w 887920"/>
                <a:gd name="connsiteY455" fmla="*/ 523494 h 627602"/>
                <a:gd name="connsiteX456" fmla="*/ 347091 w 887920"/>
                <a:gd name="connsiteY456" fmla="*/ 518541 h 627602"/>
                <a:gd name="connsiteX457" fmla="*/ 345186 w 887920"/>
                <a:gd name="connsiteY457" fmla="*/ 515588 h 627602"/>
                <a:gd name="connsiteX458" fmla="*/ 357569 w 887920"/>
                <a:gd name="connsiteY458" fmla="*/ 512350 h 627602"/>
                <a:gd name="connsiteX459" fmla="*/ 357378 w 887920"/>
                <a:gd name="connsiteY459" fmla="*/ 510826 h 627602"/>
                <a:gd name="connsiteX460" fmla="*/ 364903 w 887920"/>
                <a:gd name="connsiteY460" fmla="*/ 506635 h 627602"/>
                <a:gd name="connsiteX461" fmla="*/ 369570 w 887920"/>
                <a:gd name="connsiteY461" fmla="*/ 506063 h 627602"/>
                <a:gd name="connsiteX462" fmla="*/ 372713 w 887920"/>
                <a:gd name="connsiteY462" fmla="*/ 505587 h 627602"/>
                <a:gd name="connsiteX463" fmla="*/ 375476 w 887920"/>
                <a:gd name="connsiteY463" fmla="*/ 502063 h 627602"/>
                <a:gd name="connsiteX464" fmla="*/ 376142 w 887920"/>
                <a:gd name="connsiteY464" fmla="*/ 506825 h 627602"/>
                <a:gd name="connsiteX465" fmla="*/ 381857 w 887920"/>
                <a:gd name="connsiteY465" fmla="*/ 501301 h 627602"/>
                <a:gd name="connsiteX466" fmla="*/ 387953 w 887920"/>
                <a:gd name="connsiteY466" fmla="*/ 498920 h 627602"/>
                <a:gd name="connsiteX467" fmla="*/ 383572 w 887920"/>
                <a:gd name="connsiteY467" fmla="*/ 489871 h 627602"/>
                <a:gd name="connsiteX468" fmla="*/ 385191 w 887920"/>
                <a:gd name="connsiteY468" fmla="*/ 489585 h 627602"/>
                <a:gd name="connsiteX469" fmla="*/ 380810 w 887920"/>
                <a:gd name="connsiteY469" fmla="*/ 480536 h 627602"/>
                <a:gd name="connsiteX470" fmla="*/ 377666 w 887920"/>
                <a:gd name="connsiteY470" fmla="*/ 480917 h 627602"/>
                <a:gd name="connsiteX471" fmla="*/ 383762 w 887920"/>
                <a:gd name="connsiteY471" fmla="*/ 478536 h 627602"/>
                <a:gd name="connsiteX472" fmla="*/ 385096 w 887920"/>
                <a:gd name="connsiteY472" fmla="*/ 476822 h 627602"/>
                <a:gd name="connsiteX473" fmla="*/ 388430 w 887920"/>
                <a:gd name="connsiteY473" fmla="*/ 477965 h 627602"/>
                <a:gd name="connsiteX474" fmla="*/ 388239 w 887920"/>
                <a:gd name="connsiteY474" fmla="*/ 476441 h 627602"/>
                <a:gd name="connsiteX475" fmla="*/ 391478 w 887920"/>
                <a:gd name="connsiteY475" fmla="*/ 475964 h 627602"/>
                <a:gd name="connsiteX476" fmla="*/ 393192 w 887920"/>
                <a:gd name="connsiteY476" fmla="*/ 477393 h 627602"/>
                <a:gd name="connsiteX477" fmla="*/ 386620 w 887920"/>
                <a:gd name="connsiteY477" fmla="*/ 463772 h 627602"/>
                <a:gd name="connsiteX478" fmla="*/ 391192 w 887920"/>
                <a:gd name="connsiteY478" fmla="*/ 461582 h 627602"/>
                <a:gd name="connsiteX479" fmla="*/ 404241 w 887920"/>
                <a:gd name="connsiteY479" fmla="*/ 463106 h 627602"/>
                <a:gd name="connsiteX480" fmla="*/ 402812 w 887920"/>
                <a:gd name="connsiteY480" fmla="*/ 464915 h 627602"/>
                <a:gd name="connsiteX481" fmla="*/ 405194 w 887920"/>
                <a:gd name="connsiteY481" fmla="*/ 471011 h 627602"/>
                <a:gd name="connsiteX482" fmla="*/ 402241 w 887920"/>
                <a:gd name="connsiteY482" fmla="*/ 473012 h 627602"/>
                <a:gd name="connsiteX483" fmla="*/ 404241 w 887920"/>
                <a:gd name="connsiteY483" fmla="*/ 475964 h 627602"/>
                <a:gd name="connsiteX484" fmla="*/ 407384 w 887920"/>
                <a:gd name="connsiteY484" fmla="*/ 475583 h 627602"/>
                <a:gd name="connsiteX485" fmla="*/ 411004 w 887920"/>
                <a:gd name="connsiteY485" fmla="*/ 478346 h 627602"/>
                <a:gd name="connsiteX486" fmla="*/ 410528 w 887920"/>
                <a:gd name="connsiteY486" fmla="*/ 475202 h 627602"/>
                <a:gd name="connsiteX487" fmla="*/ 415481 w 887920"/>
                <a:gd name="connsiteY487" fmla="*/ 476155 h 627602"/>
                <a:gd name="connsiteX488" fmla="*/ 419862 w 887920"/>
                <a:gd name="connsiteY488" fmla="*/ 485204 h 627602"/>
                <a:gd name="connsiteX489" fmla="*/ 415100 w 887920"/>
                <a:gd name="connsiteY489" fmla="*/ 485775 h 627602"/>
                <a:gd name="connsiteX490" fmla="*/ 418529 w 887920"/>
                <a:gd name="connsiteY490" fmla="*/ 487013 h 627602"/>
                <a:gd name="connsiteX491" fmla="*/ 420434 w 887920"/>
                <a:gd name="connsiteY491" fmla="*/ 489966 h 627602"/>
                <a:gd name="connsiteX492" fmla="*/ 425196 w 887920"/>
                <a:gd name="connsiteY492" fmla="*/ 489299 h 627602"/>
                <a:gd name="connsiteX493" fmla="*/ 428720 w 887920"/>
                <a:gd name="connsiteY493" fmla="*/ 492062 h 627602"/>
                <a:gd name="connsiteX494" fmla="*/ 427958 w 887920"/>
                <a:gd name="connsiteY494" fmla="*/ 485775 h 627602"/>
                <a:gd name="connsiteX495" fmla="*/ 432721 w 887920"/>
                <a:gd name="connsiteY495" fmla="*/ 485204 h 627602"/>
                <a:gd name="connsiteX496" fmla="*/ 433483 w 887920"/>
                <a:gd name="connsiteY496" fmla="*/ 478631 h 627602"/>
                <a:gd name="connsiteX497" fmla="*/ 434816 w 887920"/>
                <a:gd name="connsiteY497" fmla="*/ 476917 h 627602"/>
                <a:gd name="connsiteX498" fmla="*/ 438245 w 887920"/>
                <a:gd name="connsiteY498" fmla="*/ 478060 h 627602"/>
                <a:gd name="connsiteX499" fmla="*/ 435293 w 887920"/>
                <a:gd name="connsiteY499" fmla="*/ 480060 h 627602"/>
                <a:gd name="connsiteX500" fmla="*/ 437007 w 887920"/>
                <a:gd name="connsiteY500" fmla="*/ 481394 h 627602"/>
                <a:gd name="connsiteX501" fmla="*/ 440150 w 887920"/>
                <a:gd name="connsiteY501" fmla="*/ 481013 h 627602"/>
                <a:gd name="connsiteX502" fmla="*/ 442151 w 887920"/>
                <a:gd name="connsiteY502" fmla="*/ 483965 h 627602"/>
                <a:gd name="connsiteX503" fmla="*/ 446913 w 887920"/>
                <a:gd name="connsiteY503" fmla="*/ 483394 h 627602"/>
                <a:gd name="connsiteX504" fmla="*/ 450056 w 887920"/>
                <a:gd name="connsiteY504" fmla="*/ 482918 h 627602"/>
                <a:gd name="connsiteX505" fmla="*/ 455962 w 887920"/>
                <a:gd name="connsiteY505" fmla="*/ 479012 h 627602"/>
                <a:gd name="connsiteX506" fmla="*/ 456343 w 887920"/>
                <a:gd name="connsiteY506" fmla="*/ 482156 h 627602"/>
                <a:gd name="connsiteX507" fmla="*/ 455200 w 887920"/>
                <a:gd name="connsiteY507" fmla="*/ 485489 h 627602"/>
                <a:gd name="connsiteX508" fmla="*/ 457010 w 887920"/>
                <a:gd name="connsiteY508" fmla="*/ 486918 h 627602"/>
                <a:gd name="connsiteX509" fmla="*/ 463487 w 887920"/>
                <a:gd name="connsiteY509" fmla="*/ 500444 h 627602"/>
                <a:gd name="connsiteX510" fmla="*/ 465106 w 887920"/>
                <a:gd name="connsiteY510" fmla="*/ 500253 h 627602"/>
                <a:gd name="connsiteX511" fmla="*/ 466630 w 887920"/>
                <a:gd name="connsiteY511" fmla="*/ 500063 h 627602"/>
                <a:gd name="connsiteX512" fmla="*/ 471773 w 887920"/>
                <a:gd name="connsiteY512" fmla="*/ 502634 h 627602"/>
                <a:gd name="connsiteX513" fmla="*/ 472631 w 887920"/>
                <a:gd name="connsiteY513" fmla="*/ 508921 h 627602"/>
                <a:gd name="connsiteX514" fmla="*/ 473964 w 887920"/>
                <a:gd name="connsiteY514" fmla="*/ 507206 h 627602"/>
                <a:gd name="connsiteX515" fmla="*/ 477107 w 887920"/>
                <a:gd name="connsiteY515" fmla="*/ 506730 h 627602"/>
                <a:gd name="connsiteX516" fmla="*/ 477298 w 887920"/>
                <a:gd name="connsiteY516" fmla="*/ 508349 h 627602"/>
                <a:gd name="connsiteX517" fmla="*/ 476345 w 887920"/>
                <a:gd name="connsiteY517" fmla="*/ 513302 h 627602"/>
                <a:gd name="connsiteX518" fmla="*/ 480155 w 887920"/>
                <a:gd name="connsiteY518" fmla="*/ 517589 h 627602"/>
                <a:gd name="connsiteX519" fmla="*/ 479108 w 887920"/>
                <a:gd name="connsiteY519" fmla="*/ 522542 h 627602"/>
                <a:gd name="connsiteX520" fmla="*/ 483489 w 887920"/>
                <a:gd name="connsiteY520" fmla="*/ 518827 h 627602"/>
                <a:gd name="connsiteX521" fmla="*/ 485299 w 887920"/>
                <a:gd name="connsiteY521" fmla="*/ 520160 h 627602"/>
                <a:gd name="connsiteX522" fmla="*/ 489776 w 887920"/>
                <a:gd name="connsiteY522" fmla="*/ 517970 h 627602"/>
                <a:gd name="connsiteX523" fmla="*/ 494538 w 887920"/>
                <a:gd name="connsiteY523" fmla="*/ 517398 h 627602"/>
                <a:gd name="connsiteX524" fmla="*/ 494538 w 887920"/>
                <a:gd name="connsiteY524" fmla="*/ 517398 h 627602"/>
                <a:gd name="connsiteX525" fmla="*/ 498729 w 887920"/>
                <a:gd name="connsiteY525" fmla="*/ 524828 h 627602"/>
                <a:gd name="connsiteX526" fmla="*/ 503873 w 887920"/>
                <a:gd name="connsiteY526" fmla="*/ 527399 h 627602"/>
                <a:gd name="connsiteX527" fmla="*/ 502634 w 887920"/>
                <a:gd name="connsiteY527" fmla="*/ 530828 h 627602"/>
                <a:gd name="connsiteX528" fmla="*/ 507397 w 887920"/>
                <a:gd name="connsiteY528" fmla="*/ 530162 h 627602"/>
                <a:gd name="connsiteX529" fmla="*/ 516255 w 887920"/>
                <a:gd name="connsiteY529" fmla="*/ 537020 h 627602"/>
                <a:gd name="connsiteX530" fmla="*/ 513493 w 887920"/>
                <a:gd name="connsiteY530" fmla="*/ 540639 h 627602"/>
                <a:gd name="connsiteX531" fmla="*/ 513683 w 887920"/>
                <a:gd name="connsiteY531" fmla="*/ 542163 h 627602"/>
                <a:gd name="connsiteX532" fmla="*/ 516731 w 887920"/>
                <a:gd name="connsiteY532" fmla="*/ 540258 h 627602"/>
                <a:gd name="connsiteX533" fmla="*/ 515684 w 887920"/>
                <a:gd name="connsiteY533" fmla="*/ 545116 h 627602"/>
                <a:gd name="connsiteX534" fmla="*/ 519113 w 887920"/>
                <a:gd name="connsiteY534" fmla="*/ 559118 h 627602"/>
                <a:gd name="connsiteX535" fmla="*/ 520922 w 887920"/>
                <a:gd name="connsiteY535" fmla="*/ 560546 h 627602"/>
                <a:gd name="connsiteX536" fmla="*/ 522827 w 887920"/>
                <a:gd name="connsiteY536" fmla="*/ 563499 h 627602"/>
                <a:gd name="connsiteX537" fmla="*/ 530543 w 887920"/>
                <a:gd name="connsiteY537" fmla="*/ 560927 h 627602"/>
                <a:gd name="connsiteX538" fmla="*/ 530924 w 887920"/>
                <a:gd name="connsiteY538" fmla="*/ 564071 h 627602"/>
                <a:gd name="connsiteX539" fmla="*/ 532543 w 887920"/>
                <a:gd name="connsiteY539" fmla="*/ 563880 h 627602"/>
                <a:gd name="connsiteX540" fmla="*/ 532733 w 887920"/>
                <a:gd name="connsiteY540" fmla="*/ 565404 h 627602"/>
                <a:gd name="connsiteX541" fmla="*/ 537305 w 887920"/>
                <a:gd name="connsiteY541" fmla="*/ 563309 h 627602"/>
                <a:gd name="connsiteX542" fmla="*/ 542163 w 887920"/>
                <a:gd name="connsiteY542" fmla="*/ 564261 h 627602"/>
                <a:gd name="connsiteX543" fmla="*/ 547497 w 887920"/>
                <a:gd name="connsiteY543" fmla="*/ 568357 h 627602"/>
                <a:gd name="connsiteX544" fmla="*/ 546164 w 887920"/>
                <a:gd name="connsiteY544" fmla="*/ 570167 h 627602"/>
                <a:gd name="connsiteX545" fmla="*/ 547783 w 887920"/>
                <a:gd name="connsiteY545" fmla="*/ 569976 h 627602"/>
                <a:gd name="connsiteX546" fmla="*/ 548164 w 887920"/>
                <a:gd name="connsiteY546" fmla="*/ 573119 h 627602"/>
                <a:gd name="connsiteX547" fmla="*/ 551307 w 887920"/>
                <a:gd name="connsiteY547" fmla="*/ 572738 h 627602"/>
                <a:gd name="connsiteX548" fmla="*/ 553307 w 887920"/>
                <a:gd name="connsiteY548" fmla="*/ 575691 h 627602"/>
                <a:gd name="connsiteX549" fmla="*/ 553879 w 887920"/>
                <a:gd name="connsiteY549" fmla="*/ 580358 h 627602"/>
                <a:gd name="connsiteX550" fmla="*/ 558832 w 887920"/>
                <a:gd name="connsiteY550" fmla="*/ 581406 h 627602"/>
                <a:gd name="connsiteX551" fmla="*/ 560165 w 887920"/>
                <a:gd name="connsiteY551" fmla="*/ 579596 h 627602"/>
                <a:gd name="connsiteX552" fmla="*/ 572262 w 887920"/>
                <a:gd name="connsiteY552" fmla="*/ 586073 h 627602"/>
                <a:gd name="connsiteX553" fmla="*/ 575786 w 887920"/>
                <a:gd name="connsiteY553" fmla="*/ 588836 h 627602"/>
                <a:gd name="connsiteX554" fmla="*/ 579596 w 887920"/>
                <a:gd name="connsiteY554" fmla="*/ 593122 h 627602"/>
                <a:gd name="connsiteX555" fmla="*/ 587883 w 887920"/>
                <a:gd name="connsiteY555" fmla="*/ 595313 h 627602"/>
                <a:gd name="connsiteX556" fmla="*/ 596360 w 887920"/>
                <a:gd name="connsiteY556" fmla="*/ 599027 h 627602"/>
                <a:gd name="connsiteX557" fmla="*/ 605409 w 887920"/>
                <a:gd name="connsiteY557" fmla="*/ 607505 h 627602"/>
                <a:gd name="connsiteX558" fmla="*/ 609981 w 887920"/>
                <a:gd name="connsiteY558" fmla="*/ 605314 h 627602"/>
                <a:gd name="connsiteX559" fmla="*/ 613124 w 887920"/>
                <a:gd name="connsiteY559" fmla="*/ 604933 h 627602"/>
                <a:gd name="connsiteX560" fmla="*/ 617887 w 887920"/>
                <a:gd name="connsiteY560" fmla="*/ 604266 h 627602"/>
                <a:gd name="connsiteX561" fmla="*/ 617506 w 887920"/>
                <a:gd name="connsiteY561" fmla="*/ 601123 h 627602"/>
                <a:gd name="connsiteX562" fmla="*/ 618268 w 887920"/>
                <a:gd name="connsiteY562" fmla="*/ 594646 h 627602"/>
                <a:gd name="connsiteX563" fmla="*/ 616268 w 887920"/>
                <a:gd name="connsiteY563" fmla="*/ 591693 h 627602"/>
                <a:gd name="connsiteX564" fmla="*/ 621221 w 887920"/>
                <a:gd name="connsiteY564" fmla="*/ 592646 h 627602"/>
                <a:gd name="connsiteX565" fmla="*/ 620363 w 887920"/>
                <a:gd name="connsiteY565" fmla="*/ 586359 h 627602"/>
                <a:gd name="connsiteX566" fmla="*/ 628079 w 887920"/>
                <a:gd name="connsiteY566" fmla="*/ 583787 h 627602"/>
                <a:gd name="connsiteX567" fmla="*/ 626269 w 887920"/>
                <a:gd name="connsiteY567" fmla="*/ 582359 h 627602"/>
                <a:gd name="connsiteX568" fmla="*/ 629031 w 887920"/>
                <a:gd name="connsiteY568" fmla="*/ 578834 h 627602"/>
                <a:gd name="connsiteX569" fmla="*/ 630650 w 887920"/>
                <a:gd name="connsiteY569" fmla="*/ 578644 h 627602"/>
                <a:gd name="connsiteX570" fmla="*/ 631793 w 887920"/>
                <a:gd name="connsiteY570" fmla="*/ 575310 h 627602"/>
                <a:gd name="connsiteX571" fmla="*/ 634937 w 887920"/>
                <a:gd name="connsiteY571" fmla="*/ 574834 h 627602"/>
                <a:gd name="connsiteX572" fmla="*/ 636175 w 887920"/>
                <a:gd name="connsiteY572" fmla="*/ 571500 h 627602"/>
                <a:gd name="connsiteX573" fmla="*/ 639890 w 887920"/>
                <a:gd name="connsiteY573" fmla="*/ 575882 h 627602"/>
                <a:gd name="connsiteX574" fmla="*/ 641318 w 887920"/>
                <a:gd name="connsiteY574" fmla="*/ 574072 h 627602"/>
                <a:gd name="connsiteX575" fmla="*/ 645986 w 887920"/>
                <a:gd name="connsiteY575" fmla="*/ 573500 h 627602"/>
                <a:gd name="connsiteX576" fmla="*/ 649605 w 887920"/>
                <a:gd name="connsiteY576" fmla="*/ 576167 h 627602"/>
                <a:gd name="connsiteX577" fmla="*/ 650939 w 887920"/>
                <a:gd name="connsiteY577" fmla="*/ 574453 h 627602"/>
                <a:gd name="connsiteX578" fmla="*/ 659606 w 887920"/>
                <a:gd name="connsiteY578" fmla="*/ 579692 h 627602"/>
                <a:gd name="connsiteX579" fmla="*/ 658463 w 887920"/>
                <a:gd name="connsiteY579" fmla="*/ 583121 h 627602"/>
                <a:gd name="connsiteX580" fmla="*/ 666750 w 887920"/>
                <a:gd name="connsiteY580" fmla="*/ 585216 h 627602"/>
                <a:gd name="connsiteX581" fmla="*/ 668750 w 887920"/>
                <a:gd name="connsiteY581" fmla="*/ 588169 h 627602"/>
                <a:gd name="connsiteX582" fmla="*/ 672846 w 887920"/>
                <a:gd name="connsiteY582" fmla="*/ 582835 h 627602"/>
                <a:gd name="connsiteX583" fmla="*/ 675037 w 887920"/>
                <a:gd name="connsiteY583" fmla="*/ 587407 h 627602"/>
                <a:gd name="connsiteX584" fmla="*/ 676656 w 887920"/>
                <a:gd name="connsiteY584" fmla="*/ 587216 h 627602"/>
                <a:gd name="connsiteX585" fmla="*/ 677799 w 887920"/>
                <a:gd name="connsiteY585" fmla="*/ 583883 h 627602"/>
                <a:gd name="connsiteX586" fmla="*/ 686086 w 887920"/>
                <a:gd name="connsiteY586" fmla="*/ 585978 h 627602"/>
                <a:gd name="connsiteX587" fmla="*/ 684943 w 887920"/>
                <a:gd name="connsiteY587" fmla="*/ 589312 h 627602"/>
                <a:gd name="connsiteX588" fmla="*/ 689039 w 887920"/>
                <a:gd name="connsiteY588" fmla="*/ 596837 h 627602"/>
                <a:gd name="connsiteX589" fmla="*/ 690658 w 887920"/>
                <a:gd name="connsiteY589" fmla="*/ 596646 h 627602"/>
                <a:gd name="connsiteX590" fmla="*/ 697421 w 887920"/>
                <a:gd name="connsiteY590" fmla="*/ 599027 h 627602"/>
                <a:gd name="connsiteX591" fmla="*/ 699516 w 887920"/>
                <a:gd name="connsiteY591" fmla="*/ 603504 h 627602"/>
                <a:gd name="connsiteX592" fmla="*/ 706469 w 887920"/>
                <a:gd name="connsiteY592" fmla="*/ 607409 h 627602"/>
                <a:gd name="connsiteX593" fmla="*/ 706660 w 887920"/>
                <a:gd name="connsiteY593" fmla="*/ 596170 h 627602"/>
                <a:gd name="connsiteX594" fmla="*/ 712565 w 887920"/>
                <a:gd name="connsiteY594" fmla="*/ 592265 h 627602"/>
                <a:gd name="connsiteX595" fmla="*/ 715899 w 887920"/>
                <a:gd name="connsiteY595" fmla="*/ 593408 h 627602"/>
                <a:gd name="connsiteX596" fmla="*/ 714756 w 887920"/>
                <a:gd name="connsiteY596" fmla="*/ 596741 h 627602"/>
                <a:gd name="connsiteX597" fmla="*/ 718852 w 887920"/>
                <a:gd name="connsiteY597" fmla="*/ 604266 h 627602"/>
                <a:gd name="connsiteX598" fmla="*/ 715709 w 887920"/>
                <a:gd name="connsiteY598" fmla="*/ 604647 h 627602"/>
                <a:gd name="connsiteX599" fmla="*/ 717899 w 887920"/>
                <a:gd name="connsiteY599" fmla="*/ 609219 h 627602"/>
                <a:gd name="connsiteX600" fmla="*/ 721233 w 887920"/>
                <a:gd name="connsiteY600" fmla="*/ 610362 h 627602"/>
                <a:gd name="connsiteX601" fmla="*/ 721519 w 887920"/>
                <a:gd name="connsiteY601" fmla="*/ 611981 h 627602"/>
                <a:gd name="connsiteX602" fmla="*/ 713423 w 887920"/>
                <a:gd name="connsiteY602" fmla="*/ 611410 h 627602"/>
                <a:gd name="connsiteX603" fmla="*/ 715328 w 887920"/>
                <a:gd name="connsiteY603" fmla="*/ 614363 h 627602"/>
                <a:gd name="connsiteX604" fmla="*/ 720090 w 887920"/>
                <a:gd name="connsiteY604" fmla="*/ 613696 h 627602"/>
                <a:gd name="connsiteX605" fmla="*/ 720471 w 887920"/>
                <a:gd name="connsiteY605" fmla="*/ 616934 h 627602"/>
                <a:gd name="connsiteX606" fmla="*/ 717328 w 887920"/>
                <a:gd name="connsiteY606" fmla="*/ 617315 h 627602"/>
                <a:gd name="connsiteX607" fmla="*/ 720662 w 887920"/>
                <a:gd name="connsiteY607" fmla="*/ 618458 h 627602"/>
                <a:gd name="connsiteX608" fmla="*/ 721328 w 887920"/>
                <a:gd name="connsiteY608" fmla="*/ 623221 h 627602"/>
                <a:gd name="connsiteX609" fmla="*/ 727805 w 887920"/>
                <a:gd name="connsiteY609" fmla="*/ 623983 h 627602"/>
                <a:gd name="connsiteX610" fmla="*/ 732377 w 887920"/>
                <a:gd name="connsiteY610" fmla="*/ 621792 h 627602"/>
                <a:gd name="connsiteX611" fmla="*/ 737330 w 887920"/>
                <a:gd name="connsiteY611" fmla="*/ 622745 h 627602"/>
                <a:gd name="connsiteX612" fmla="*/ 738473 w 887920"/>
                <a:gd name="connsiteY612" fmla="*/ 619411 h 627602"/>
                <a:gd name="connsiteX613" fmla="*/ 743617 w 887920"/>
                <a:gd name="connsiteY613" fmla="*/ 621983 h 627602"/>
                <a:gd name="connsiteX614" fmla="*/ 743426 w 887920"/>
                <a:gd name="connsiteY614" fmla="*/ 620363 h 627602"/>
                <a:gd name="connsiteX615" fmla="*/ 746760 w 887920"/>
                <a:gd name="connsiteY615" fmla="*/ 621602 h 627602"/>
                <a:gd name="connsiteX616" fmla="*/ 746570 w 887920"/>
                <a:gd name="connsiteY616" fmla="*/ 619982 h 627602"/>
                <a:gd name="connsiteX617" fmla="*/ 742760 w 887920"/>
                <a:gd name="connsiteY617" fmla="*/ 615696 h 627602"/>
                <a:gd name="connsiteX618" fmla="*/ 745522 w 887920"/>
                <a:gd name="connsiteY618" fmla="*/ 612077 h 627602"/>
                <a:gd name="connsiteX619" fmla="*/ 748475 w 887920"/>
                <a:gd name="connsiteY619" fmla="*/ 610076 h 627602"/>
                <a:gd name="connsiteX620" fmla="*/ 750856 w 887920"/>
                <a:gd name="connsiteY620" fmla="*/ 616268 h 627602"/>
                <a:gd name="connsiteX621" fmla="*/ 755809 w 887920"/>
                <a:gd name="connsiteY621" fmla="*/ 617220 h 627602"/>
                <a:gd name="connsiteX622" fmla="*/ 756761 w 887920"/>
                <a:gd name="connsiteY622" fmla="*/ 612267 h 627602"/>
                <a:gd name="connsiteX623" fmla="*/ 759524 w 887920"/>
                <a:gd name="connsiteY623" fmla="*/ 608743 h 627602"/>
                <a:gd name="connsiteX624" fmla="*/ 757619 w 887920"/>
                <a:gd name="connsiteY624" fmla="*/ 605790 h 627602"/>
                <a:gd name="connsiteX625" fmla="*/ 762286 w 887920"/>
                <a:gd name="connsiteY625" fmla="*/ 605123 h 627602"/>
                <a:gd name="connsiteX626" fmla="*/ 763334 w 887920"/>
                <a:gd name="connsiteY626" fmla="*/ 600170 h 627602"/>
                <a:gd name="connsiteX627" fmla="*/ 756380 w 887920"/>
                <a:gd name="connsiteY627" fmla="*/ 596265 h 627602"/>
                <a:gd name="connsiteX628" fmla="*/ 755142 w 887920"/>
                <a:gd name="connsiteY628" fmla="*/ 586835 h 627602"/>
                <a:gd name="connsiteX629" fmla="*/ 751427 w 887920"/>
                <a:gd name="connsiteY629" fmla="*/ 582454 h 627602"/>
                <a:gd name="connsiteX630" fmla="*/ 752761 w 887920"/>
                <a:gd name="connsiteY630" fmla="*/ 580739 h 627602"/>
                <a:gd name="connsiteX631" fmla="*/ 753713 w 887920"/>
                <a:gd name="connsiteY631" fmla="*/ 575786 h 627602"/>
                <a:gd name="connsiteX632" fmla="*/ 763048 w 887920"/>
                <a:gd name="connsiteY632" fmla="*/ 573024 h 627602"/>
                <a:gd name="connsiteX633" fmla="*/ 764762 w 887920"/>
                <a:gd name="connsiteY633" fmla="*/ 574358 h 627602"/>
                <a:gd name="connsiteX634" fmla="*/ 772478 w 887920"/>
                <a:gd name="connsiteY634" fmla="*/ 571786 h 627602"/>
                <a:gd name="connsiteX635" fmla="*/ 772668 w 887920"/>
                <a:gd name="connsiteY635" fmla="*/ 560546 h 627602"/>
                <a:gd name="connsiteX636" fmla="*/ 778002 w 887920"/>
                <a:gd name="connsiteY636" fmla="*/ 564642 h 627602"/>
                <a:gd name="connsiteX637" fmla="*/ 779336 w 887920"/>
                <a:gd name="connsiteY637" fmla="*/ 562832 h 627602"/>
                <a:gd name="connsiteX638" fmla="*/ 781145 w 887920"/>
                <a:gd name="connsiteY638" fmla="*/ 564261 h 627602"/>
                <a:gd name="connsiteX639" fmla="*/ 782098 w 887920"/>
                <a:gd name="connsiteY639" fmla="*/ 559308 h 627602"/>
                <a:gd name="connsiteX640" fmla="*/ 778383 w 887920"/>
                <a:gd name="connsiteY640" fmla="*/ 555022 h 627602"/>
                <a:gd name="connsiteX641" fmla="*/ 781145 w 887920"/>
                <a:gd name="connsiteY641" fmla="*/ 551402 h 627602"/>
                <a:gd name="connsiteX642" fmla="*/ 779526 w 887920"/>
                <a:gd name="connsiteY642" fmla="*/ 551593 h 627602"/>
                <a:gd name="connsiteX643" fmla="*/ 778955 w 887920"/>
                <a:gd name="connsiteY643" fmla="*/ 546926 h 627602"/>
                <a:gd name="connsiteX644" fmla="*/ 792385 w 887920"/>
                <a:gd name="connsiteY644" fmla="*/ 551593 h 627602"/>
                <a:gd name="connsiteX645" fmla="*/ 794385 w 887920"/>
                <a:gd name="connsiteY645" fmla="*/ 554546 h 627602"/>
                <a:gd name="connsiteX646" fmla="*/ 794766 w 887920"/>
                <a:gd name="connsiteY646" fmla="*/ 557689 h 627602"/>
                <a:gd name="connsiteX647" fmla="*/ 792956 w 887920"/>
                <a:gd name="connsiteY647" fmla="*/ 556355 h 627602"/>
                <a:gd name="connsiteX648" fmla="*/ 792194 w 887920"/>
                <a:gd name="connsiteY648" fmla="*/ 562832 h 627602"/>
                <a:gd name="connsiteX649" fmla="*/ 803243 w 887920"/>
                <a:gd name="connsiteY649" fmla="*/ 574262 h 627602"/>
                <a:gd name="connsiteX650" fmla="*/ 804101 w 887920"/>
                <a:gd name="connsiteY650" fmla="*/ 580549 h 627602"/>
                <a:gd name="connsiteX651" fmla="*/ 810387 w 887920"/>
                <a:gd name="connsiteY651" fmla="*/ 579787 h 627602"/>
                <a:gd name="connsiteX652" fmla="*/ 812387 w 887920"/>
                <a:gd name="connsiteY652" fmla="*/ 582740 h 627602"/>
                <a:gd name="connsiteX653" fmla="*/ 816864 w 887920"/>
                <a:gd name="connsiteY653" fmla="*/ 580549 h 627602"/>
                <a:gd name="connsiteX654" fmla="*/ 819055 w 887920"/>
                <a:gd name="connsiteY654" fmla="*/ 585121 h 627602"/>
                <a:gd name="connsiteX655" fmla="*/ 826961 w 887920"/>
                <a:gd name="connsiteY655" fmla="*/ 584073 h 627602"/>
                <a:gd name="connsiteX656" fmla="*/ 826008 w 887920"/>
                <a:gd name="connsiteY656" fmla="*/ 576167 h 627602"/>
                <a:gd name="connsiteX657" fmla="*/ 829342 w 887920"/>
                <a:gd name="connsiteY657" fmla="*/ 577310 h 627602"/>
                <a:gd name="connsiteX658" fmla="*/ 833914 w 887920"/>
                <a:gd name="connsiteY658" fmla="*/ 575215 h 627602"/>
                <a:gd name="connsiteX659" fmla="*/ 835438 w 887920"/>
                <a:gd name="connsiteY659" fmla="*/ 574929 h 627602"/>
                <a:gd name="connsiteX660" fmla="*/ 841343 w 887920"/>
                <a:gd name="connsiteY660" fmla="*/ 571024 h 627602"/>
                <a:gd name="connsiteX661" fmla="*/ 842963 w 887920"/>
                <a:gd name="connsiteY661" fmla="*/ 570833 h 627602"/>
                <a:gd name="connsiteX662" fmla="*/ 843344 w 887920"/>
                <a:gd name="connsiteY662" fmla="*/ 573977 h 627602"/>
                <a:gd name="connsiteX663" fmla="*/ 844677 w 887920"/>
                <a:gd name="connsiteY663" fmla="*/ 572167 h 627602"/>
                <a:gd name="connsiteX664" fmla="*/ 845153 w 887920"/>
                <a:gd name="connsiteY664" fmla="*/ 575310 h 627602"/>
                <a:gd name="connsiteX665" fmla="*/ 848487 w 887920"/>
                <a:gd name="connsiteY665" fmla="*/ 576548 h 627602"/>
                <a:gd name="connsiteX666" fmla="*/ 848297 w 887920"/>
                <a:gd name="connsiteY666" fmla="*/ 574929 h 627602"/>
                <a:gd name="connsiteX667" fmla="*/ 851440 w 887920"/>
                <a:gd name="connsiteY667" fmla="*/ 574548 h 627602"/>
                <a:gd name="connsiteX668" fmla="*/ 852678 w 887920"/>
                <a:gd name="connsiteY668" fmla="*/ 583978 h 627602"/>
                <a:gd name="connsiteX669" fmla="*/ 855821 w 887920"/>
                <a:gd name="connsiteY669" fmla="*/ 583597 h 627602"/>
                <a:gd name="connsiteX670" fmla="*/ 853821 w 887920"/>
                <a:gd name="connsiteY670" fmla="*/ 580644 h 627602"/>
                <a:gd name="connsiteX671" fmla="*/ 856583 w 887920"/>
                <a:gd name="connsiteY671" fmla="*/ 577120 h 627602"/>
                <a:gd name="connsiteX672" fmla="*/ 858774 w 887920"/>
                <a:gd name="connsiteY672" fmla="*/ 581597 h 627602"/>
                <a:gd name="connsiteX673" fmla="*/ 860108 w 887920"/>
                <a:gd name="connsiteY673" fmla="*/ 579882 h 627602"/>
                <a:gd name="connsiteX674" fmla="*/ 864680 w 887920"/>
                <a:gd name="connsiteY674" fmla="*/ 577691 h 627602"/>
                <a:gd name="connsiteX675" fmla="*/ 886778 w 887920"/>
                <a:gd name="connsiteY675" fmla="*/ 574834 h 627602"/>
                <a:gd name="connsiteX676" fmla="*/ 887921 w 887920"/>
                <a:gd name="connsiteY676" fmla="*/ 571500 h 627602"/>
                <a:gd name="connsiteX677" fmla="*/ 883920 w 887920"/>
                <a:gd name="connsiteY677" fmla="*/ 565595 h 627602"/>
                <a:gd name="connsiteX678" fmla="*/ 883920 w 887920"/>
                <a:gd name="connsiteY678" fmla="*/ 565595 h 627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</a:cxnLst>
              <a:rect l="l" t="t" r="r" b="b"/>
              <a:pathLst>
                <a:path w="887920" h="627602">
                  <a:moveTo>
                    <a:pt x="883920" y="565595"/>
                  </a:moveTo>
                  <a:lnTo>
                    <a:pt x="883158" y="559308"/>
                  </a:lnTo>
                  <a:lnTo>
                    <a:pt x="881634" y="559499"/>
                  </a:lnTo>
                  <a:lnTo>
                    <a:pt x="877443" y="551974"/>
                  </a:lnTo>
                  <a:lnTo>
                    <a:pt x="873824" y="549212"/>
                  </a:lnTo>
                  <a:lnTo>
                    <a:pt x="873443" y="546068"/>
                  </a:lnTo>
                  <a:lnTo>
                    <a:pt x="868109" y="541973"/>
                  </a:lnTo>
                  <a:lnTo>
                    <a:pt x="865727" y="535877"/>
                  </a:lnTo>
                  <a:lnTo>
                    <a:pt x="859250" y="535019"/>
                  </a:lnTo>
                  <a:lnTo>
                    <a:pt x="859060" y="533495"/>
                  </a:lnTo>
                  <a:lnTo>
                    <a:pt x="863918" y="534448"/>
                  </a:lnTo>
                  <a:lnTo>
                    <a:pt x="852869" y="523018"/>
                  </a:lnTo>
                  <a:lnTo>
                    <a:pt x="857441" y="520827"/>
                  </a:lnTo>
                  <a:lnTo>
                    <a:pt x="860012" y="515684"/>
                  </a:lnTo>
                  <a:lnTo>
                    <a:pt x="850297" y="515303"/>
                  </a:lnTo>
                  <a:lnTo>
                    <a:pt x="843153" y="509873"/>
                  </a:lnTo>
                  <a:lnTo>
                    <a:pt x="853631" y="490919"/>
                  </a:lnTo>
                  <a:lnTo>
                    <a:pt x="851440" y="486347"/>
                  </a:lnTo>
                  <a:lnTo>
                    <a:pt x="858107" y="475869"/>
                  </a:lnTo>
                  <a:lnTo>
                    <a:pt x="863822" y="470345"/>
                  </a:lnTo>
                  <a:lnTo>
                    <a:pt x="855155" y="465011"/>
                  </a:lnTo>
                  <a:lnTo>
                    <a:pt x="854297" y="458724"/>
                  </a:lnTo>
                  <a:lnTo>
                    <a:pt x="850106" y="451199"/>
                  </a:lnTo>
                  <a:lnTo>
                    <a:pt x="839629" y="444532"/>
                  </a:lnTo>
                  <a:lnTo>
                    <a:pt x="839438" y="442913"/>
                  </a:lnTo>
                  <a:lnTo>
                    <a:pt x="844582" y="432721"/>
                  </a:lnTo>
                  <a:lnTo>
                    <a:pt x="851630" y="425387"/>
                  </a:lnTo>
                  <a:lnTo>
                    <a:pt x="844582" y="419862"/>
                  </a:lnTo>
                  <a:lnTo>
                    <a:pt x="838200" y="395002"/>
                  </a:lnTo>
                  <a:lnTo>
                    <a:pt x="836390" y="393668"/>
                  </a:lnTo>
                  <a:lnTo>
                    <a:pt x="835819" y="388906"/>
                  </a:lnTo>
                  <a:lnTo>
                    <a:pt x="839343" y="378809"/>
                  </a:lnTo>
                  <a:lnTo>
                    <a:pt x="837343" y="375857"/>
                  </a:lnTo>
                  <a:lnTo>
                    <a:pt x="838867" y="362807"/>
                  </a:lnTo>
                  <a:lnTo>
                    <a:pt x="831723" y="357378"/>
                  </a:lnTo>
                  <a:lnTo>
                    <a:pt x="832961" y="353949"/>
                  </a:lnTo>
                  <a:lnTo>
                    <a:pt x="840772" y="340138"/>
                  </a:lnTo>
                  <a:lnTo>
                    <a:pt x="842963" y="331851"/>
                  </a:lnTo>
                  <a:lnTo>
                    <a:pt x="838391" y="321183"/>
                  </a:lnTo>
                  <a:lnTo>
                    <a:pt x="822579" y="310420"/>
                  </a:lnTo>
                  <a:lnTo>
                    <a:pt x="818579" y="304514"/>
                  </a:lnTo>
                  <a:lnTo>
                    <a:pt x="817626" y="296609"/>
                  </a:lnTo>
                  <a:lnTo>
                    <a:pt x="817340" y="282226"/>
                  </a:lnTo>
                  <a:lnTo>
                    <a:pt x="808101" y="284988"/>
                  </a:lnTo>
                  <a:lnTo>
                    <a:pt x="799624" y="268415"/>
                  </a:lnTo>
                  <a:lnTo>
                    <a:pt x="791909" y="270986"/>
                  </a:lnTo>
                  <a:lnTo>
                    <a:pt x="778669" y="267843"/>
                  </a:lnTo>
                  <a:lnTo>
                    <a:pt x="774764" y="261938"/>
                  </a:lnTo>
                  <a:lnTo>
                    <a:pt x="767620" y="256508"/>
                  </a:lnTo>
                  <a:lnTo>
                    <a:pt x="759333" y="254318"/>
                  </a:lnTo>
                  <a:lnTo>
                    <a:pt x="757142" y="249746"/>
                  </a:lnTo>
                  <a:lnTo>
                    <a:pt x="750380" y="247460"/>
                  </a:lnTo>
                  <a:lnTo>
                    <a:pt x="745712" y="248031"/>
                  </a:lnTo>
                  <a:lnTo>
                    <a:pt x="741140" y="250222"/>
                  </a:lnTo>
                  <a:lnTo>
                    <a:pt x="729520" y="272510"/>
                  </a:lnTo>
                  <a:lnTo>
                    <a:pt x="718376" y="285179"/>
                  </a:lnTo>
                  <a:lnTo>
                    <a:pt x="713613" y="285750"/>
                  </a:lnTo>
                  <a:lnTo>
                    <a:pt x="710089" y="283083"/>
                  </a:lnTo>
                  <a:lnTo>
                    <a:pt x="706850" y="283464"/>
                  </a:lnTo>
                  <a:lnTo>
                    <a:pt x="703136" y="279083"/>
                  </a:lnTo>
                  <a:lnTo>
                    <a:pt x="705898" y="275558"/>
                  </a:lnTo>
                  <a:lnTo>
                    <a:pt x="705517" y="272415"/>
                  </a:lnTo>
                  <a:lnTo>
                    <a:pt x="706660" y="269081"/>
                  </a:lnTo>
                  <a:lnTo>
                    <a:pt x="704660" y="266129"/>
                  </a:lnTo>
                  <a:lnTo>
                    <a:pt x="704279" y="262890"/>
                  </a:lnTo>
                  <a:lnTo>
                    <a:pt x="699897" y="253841"/>
                  </a:lnTo>
                  <a:lnTo>
                    <a:pt x="705803" y="249936"/>
                  </a:lnTo>
                  <a:lnTo>
                    <a:pt x="703802" y="246983"/>
                  </a:lnTo>
                  <a:lnTo>
                    <a:pt x="706565" y="243364"/>
                  </a:lnTo>
                  <a:lnTo>
                    <a:pt x="702850" y="239078"/>
                  </a:lnTo>
                  <a:lnTo>
                    <a:pt x="706755" y="232124"/>
                  </a:lnTo>
                  <a:lnTo>
                    <a:pt x="704945" y="230791"/>
                  </a:lnTo>
                  <a:lnTo>
                    <a:pt x="701231" y="213646"/>
                  </a:lnTo>
                  <a:lnTo>
                    <a:pt x="695420" y="206312"/>
                  </a:lnTo>
                  <a:lnTo>
                    <a:pt x="691134" y="197263"/>
                  </a:lnTo>
                  <a:lnTo>
                    <a:pt x="689515" y="197453"/>
                  </a:lnTo>
                  <a:lnTo>
                    <a:pt x="686181" y="196310"/>
                  </a:lnTo>
                  <a:lnTo>
                    <a:pt x="684562" y="196501"/>
                  </a:lnTo>
                  <a:lnTo>
                    <a:pt x="684181" y="193358"/>
                  </a:lnTo>
                  <a:lnTo>
                    <a:pt x="682847" y="195072"/>
                  </a:lnTo>
                  <a:lnTo>
                    <a:pt x="680847" y="192119"/>
                  </a:lnTo>
                  <a:lnTo>
                    <a:pt x="674465" y="192977"/>
                  </a:lnTo>
                  <a:lnTo>
                    <a:pt x="674084" y="189833"/>
                  </a:lnTo>
                  <a:lnTo>
                    <a:pt x="672560" y="190024"/>
                  </a:lnTo>
                  <a:lnTo>
                    <a:pt x="665798" y="187643"/>
                  </a:lnTo>
                  <a:lnTo>
                    <a:pt x="660654" y="185071"/>
                  </a:lnTo>
                  <a:lnTo>
                    <a:pt x="649224" y="170498"/>
                  </a:lnTo>
                  <a:lnTo>
                    <a:pt x="648367" y="164211"/>
                  </a:lnTo>
                  <a:lnTo>
                    <a:pt x="640842" y="155543"/>
                  </a:lnTo>
                  <a:lnTo>
                    <a:pt x="638651" y="150971"/>
                  </a:lnTo>
                  <a:lnTo>
                    <a:pt x="635318" y="124206"/>
                  </a:lnTo>
                  <a:lnTo>
                    <a:pt x="631508" y="119824"/>
                  </a:lnTo>
                  <a:lnTo>
                    <a:pt x="633698" y="111538"/>
                  </a:lnTo>
                  <a:lnTo>
                    <a:pt x="632841" y="105251"/>
                  </a:lnTo>
                  <a:lnTo>
                    <a:pt x="634079" y="101918"/>
                  </a:lnTo>
                  <a:lnTo>
                    <a:pt x="638366" y="98108"/>
                  </a:lnTo>
                  <a:lnTo>
                    <a:pt x="639509" y="94774"/>
                  </a:lnTo>
                  <a:lnTo>
                    <a:pt x="646843" y="89059"/>
                  </a:lnTo>
                  <a:lnTo>
                    <a:pt x="647605" y="82487"/>
                  </a:lnTo>
                  <a:lnTo>
                    <a:pt x="643223" y="73438"/>
                  </a:lnTo>
                  <a:lnTo>
                    <a:pt x="636556" y="71057"/>
                  </a:lnTo>
                  <a:lnTo>
                    <a:pt x="638270" y="59626"/>
                  </a:lnTo>
                  <a:lnTo>
                    <a:pt x="637318" y="51721"/>
                  </a:lnTo>
                  <a:lnTo>
                    <a:pt x="622459" y="48863"/>
                  </a:lnTo>
                  <a:lnTo>
                    <a:pt x="619316" y="49244"/>
                  </a:lnTo>
                  <a:lnTo>
                    <a:pt x="617982" y="51054"/>
                  </a:lnTo>
                  <a:lnTo>
                    <a:pt x="612172" y="43720"/>
                  </a:lnTo>
                  <a:lnTo>
                    <a:pt x="615125" y="41720"/>
                  </a:lnTo>
                  <a:lnTo>
                    <a:pt x="613124" y="38767"/>
                  </a:lnTo>
                  <a:lnTo>
                    <a:pt x="610743" y="32671"/>
                  </a:lnTo>
                  <a:lnTo>
                    <a:pt x="613696" y="30670"/>
                  </a:lnTo>
                  <a:lnTo>
                    <a:pt x="611981" y="29337"/>
                  </a:lnTo>
                  <a:lnTo>
                    <a:pt x="597980" y="32671"/>
                  </a:lnTo>
                  <a:lnTo>
                    <a:pt x="592074" y="36671"/>
                  </a:lnTo>
                  <a:lnTo>
                    <a:pt x="587121" y="35719"/>
                  </a:lnTo>
                  <a:lnTo>
                    <a:pt x="583025" y="41053"/>
                  </a:lnTo>
                  <a:lnTo>
                    <a:pt x="583787" y="47339"/>
                  </a:lnTo>
                  <a:lnTo>
                    <a:pt x="577691" y="49720"/>
                  </a:lnTo>
                  <a:lnTo>
                    <a:pt x="569024" y="44387"/>
                  </a:lnTo>
                  <a:lnTo>
                    <a:pt x="565595" y="43244"/>
                  </a:lnTo>
                  <a:lnTo>
                    <a:pt x="568547" y="41243"/>
                  </a:lnTo>
                  <a:lnTo>
                    <a:pt x="569309" y="34766"/>
                  </a:lnTo>
                  <a:lnTo>
                    <a:pt x="568928" y="31623"/>
                  </a:lnTo>
                  <a:lnTo>
                    <a:pt x="568547" y="15621"/>
                  </a:lnTo>
                  <a:lnTo>
                    <a:pt x="565499" y="4763"/>
                  </a:lnTo>
                  <a:lnTo>
                    <a:pt x="553498" y="11144"/>
                  </a:lnTo>
                  <a:lnTo>
                    <a:pt x="545592" y="12097"/>
                  </a:lnTo>
                  <a:lnTo>
                    <a:pt x="544830" y="18669"/>
                  </a:lnTo>
                  <a:lnTo>
                    <a:pt x="539591" y="27337"/>
                  </a:lnTo>
                  <a:lnTo>
                    <a:pt x="538734" y="33814"/>
                  </a:lnTo>
                  <a:lnTo>
                    <a:pt x="542163" y="35052"/>
                  </a:lnTo>
                  <a:lnTo>
                    <a:pt x="545687" y="37814"/>
                  </a:lnTo>
                  <a:lnTo>
                    <a:pt x="540734" y="36767"/>
                  </a:lnTo>
                  <a:lnTo>
                    <a:pt x="536258" y="38957"/>
                  </a:lnTo>
                  <a:lnTo>
                    <a:pt x="530924" y="34862"/>
                  </a:lnTo>
                  <a:lnTo>
                    <a:pt x="524542" y="35624"/>
                  </a:lnTo>
                  <a:lnTo>
                    <a:pt x="519875" y="36290"/>
                  </a:lnTo>
                  <a:lnTo>
                    <a:pt x="515684" y="28766"/>
                  </a:lnTo>
                  <a:lnTo>
                    <a:pt x="515112" y="24003"/>
                  </a:lnTo>
                  <a:lnTo>
                    <a:pt x="522161" y="16669"/>
                  </a:lnTo>
                  <a:lnTo>
                    <a:pt x="518351" y="12383"/>
                  </a:lnTo>
                  <a:lnTo>
                    <a:pt x="505397" y="10859"/>
                  </a:lnTo>
                  <a:lnTo>
                    <a:pt x="500634" y="11430"/>
                  </a:lnTo>
                  <a:lnTo>
                    <a:pt x="500063" y="6668"/>
                  </a:lnTo>
                  <a:lnTo>
                    <a:pt x="495110" y="5715"/>
                  </a:lnTo>
                  <a:lnTo>
                    <a:pt x="494729" y="2572"/>
                  </a:lnTo>
                  <a:lnTo>
                    <a:pt x="489585" y="0"/>
                  </a:lnTo>
                  <a:lnTo>
                    <a:pt x="487966" y="190"/>
                  </a:lnTo>
                  <a:lnTo>
                    <a:pt x="487775" y="11430"/>
                  </a:lnTo>
                  <a:lnTo>
                    <a:pt x="481679" y="13811"/>
                  </a:lnTo>
                  <a:lnTo>
                    <a:pt x="471869" y="11906"/>
                  </a:lnTo>
                  <a:lnTo>
                    <a:pt x="471392" y="8763"/>
                  </a:lnTo>
                  <a:lnTo>
                    <a:pt x="471202" y="7144"/>
                  </a:lnTo>
                  <a:lnTo>
                    <a:pt x="470630" y="2477"/>
                  </a:lnTo>
                  <a:lnTo>
                    <a:pt x="463868" y="95"/>
                  </a:lnTo>
                  <a:lnTo>
                    <a:pt x="459200" y="667"/>
                  </a:lnTo>
                  <a:lnTo>
                    <a:pt x="458438" y="7239"/>
                  </a:lnTo>
                  <a:lnTo>
                    <a:pt x="455200" y="7620"/>
                  </a:lnTo>
                  <a:lnTo>
                    <a:pt x="449485" y="13145"/>
                  </a:lnTo>
                  <a:lnTo>
                    <a:pt x="445008" y="15335"/>
                  </a:lnTo>
                  <a:lnTo>
                    <a:pt x="438436" y="14573"/>
                  </a:lnTo>
                  <a:lnTo>
                    <a:pt x="435959" y="19717"/>
                  </a:lnTo>
                  <a:lnTo>
                    <a:pt x="426911" y="36862"/>
                  </a:lnTo>
                  <a:lnTo>
                    <a:pt x="432245" y="40958"/>
                  </a:lnTo>
                  <a:lnTo>
                    <a:pt x="440150" y="52864"/>
                  </a:lnTo>
                  <a:lnTo>
                    <a:pt x="444246" y="47435"/>
                  </a:lnTo>
                  <a:lnTo>
                    <a:pt x="451771" y="43339"/>
                  </a:lnTo>
                  <a:lnTo>
                    <a:pt x="453581" y="44672"/>
                  </a:lnTo>
                  <a:lnTo>
                    <a:pt x="458534" y="58484"/>
                  </a:lnTo>
                  <a:lnTo>
                    <a:pt x="462725" y="66008"/>
                  </a:lnTo>
                  <a:lnTo>
                    <a:pt x="460915" y="64580"/>
                  </a:lnTo>
                  <a:lnTo>
                    <a:pt x="455200" y="70104"/>
                  </a:lnTo>
                  <a:lnTo>
                    <a:pt x="458534" y="84106"/>
                  </a:lnTo>
                  <a:lnTo>
                    <a:pt x="456248" y="90869"/>
                  </a:lnTo>
                  <a:lnTo>
                    <a:pt x="458248" y="93821"/>
                  </a:lnTo>
                  <a:lnTo>
                    <a:pt x="448723" y="107823"/>
                  </a:lnTo>
                  <a:lnTo>
                    <a:pt x="445770" y="109823"/>
                  </a:lnTo>
                  <a:lnTo>
                    <a:pt x="441674" y="115157"/>
                  </a:lnTo>
                  <a:lnTo>
                    <a:pt x="444056" y="121253"/>
                  </a:lnTo>
                  <a:lnTo>
                    <a:pt x="448056" y="127159"/>
                  </a:lnTo>
                  <a:lnTo>
                    <a:pt x="448818" y="133541"/>
                  </a:lnTo>
                  <a:lnTo>
                    <a:pt x="453581" y="132874"/>
                  </a:lnTo>
                  <a:lnTo>
                    <a:pt x="446437" y="140208"/>
                  </a:lnTo>
                  <a:lnTo>
                    <a:pt x="447294" y="146495"/>
                  </a:lnTo>
                  <a:lnTo>
                    <a:pt x="444532" y="150114"/>
                  </a:lnTo>
                  <a:lnTo>
                    <a:pt x="448056" y="152876"/>
                  </a:lnTo>
                  <a:lnTo>
                    <a:pt x="450056" y="168593"/>
                  </a:lnTo>
                  <a:lnTo>
                    <a:pt x="451104" y="176498"/>
                  </a:lnTo>
                  <a:lnTo>
                    <a:pt x="447961" y="176879"/>
                  </a:lnTo>
                  <a:lnTo>
                    <a:pt x="433578" y="177165"/>
                  </a:lnTo>
                  <a:lnTo>
                    <a:pt x="429387" y="182499"/>
                  </a:lnTo>
                  <a:lnTo>
                    <a:pt x="421481" y="183452"/>
                  </a:lnTo>
                  <a:lnTo>
                    <a:pt x="413195" y="181356"/>
                  </a:lnTo>
                  <a:lnTo>
                    <a:pt x="407670" y="175641"/>
                  </a:lnTo>
                  <a:lnTo>
                    <a:pt x="381000" y="167831"/>
                  </a:lnTo>
                  <a:lnTo>
                    <a:pt x="379095" y="177641"/>
                  </a:lnTo>
                  <a:lnTo>
                    <a:pt x="363093" y="165259"/>
                  </a:lnTo>
                  <a:lnTo>
                    <a:pt x="356711" y="166116"/>
                  </a:lnTo>
                  <a:lnTo>
                    <a:pt x="356140" y="174212"/>
                  </a:lnTo>
                  <a:lnTo>
                    <a:pt x="349853" y="174974"/>
                  </a:lnTo>
                  <a:lnTo>
                    <a:pt x="344900" y="174022"/>
                  </a:lnTo>
                  <a:lnTo>
                    <a:pt x="340233" y="174593"/>
                  </a:lnTo>
                  <a:lnTo>
                    <a:pt x="333280" y="170688"/>
                  </a:lnTo>
                  <a:lnTo>
                    <a:pt x="328803" y="172879"/>
                  </a:lnTo>
                  <a:lnTo>
                    <a:pt x="329184" y="176022"/>
                  </a:lnTo>
                  <a:lnTo>
                    <a:pt x="325660" y="186119"/>
                  </a:lnTo>
                  <a:lnTo>
                    <a:pt x="320326" y="194786"/>
                  </a:lnTo>
                  <a:lnTo>
                    <a:pt x="314420" y="211550"/>
                  </a:lnTo>
                  <a:lnTo>
                    <a:pt x="312896" y="224600"/>
                  </a:lnTo>
                  <a:lnTo>
                    <a:pt x="307181" y="230124"/>
                  </a:lnTo>
                  <a:lnTo>
                    <a:pt x="308324" y="226790"/>
                  </a:lnTo>
                  <a:lnTo>
                    <a:pt x="306610" y="225362"/>
                  </a:lnTo>
                  <a:lnTo>
                    <a:pt x="297752" y="231362"/>
                  </a:lnTo>
                  <a:lnTo>
                    <a:pt x="289655" y="230791"/>
                  </a:lnTo>
                  <a:lnTo>
                    <a:pt x="289179" y="227648"/>
                  </a:lnTo>
                  <a:lnTo>
                    <a:pt x="286036" y="228029"/>
                  </a:lnTo>
                  <a:lnTo>
                    <a:pt x="284131" y="225076"/>
                  </a:lnTo>
                  <a:lnTo>
                    <a:pt x="279178" y="224123"/>
                  </a:lnTo>
                  <a:lnTo>
                    <a:pt x="273844" y="219932"/>
                  </a:lnTo>
                  <a:lnTo>
                    <a:pt x="268891" y="218980"/>
                  </a:lnTo>
                  <a:lnTo>
                    <a:pt x="266319" y="224123"/>
                  </a:lnTo>
                  <a:lnTo>
                    <a:pt x="258604" y="226695"/>
                  </a:lnTo>
                  <a:lnTo>
                    <a:pt x="255270" y="225552"/>
                  </a:lnTo>
                  <a:lnTo>
                    <a:pt x="255080" y="223933"/>
                  </a:lnTo>
                  <a:lnTo>
                    <a:pt x="257270" y="215646"/>
                  </a:lnTo>
                  <a:lnTo>
                    <a:pt x="249746" y="206978"/>
                  </a:lnTo>
                  <a:lnTo>
                    <a:pt x="237077" y="208598"/>
                  </a:lnTo>
                  <a:lnTo>
                    <a:pt x="231743" y="204502"/>
                  </a:lnTo>
                  <a:lnTo>
                    <a:pt x="217742" y="194977"/>
                  </a:lnTo>
                  <a:lnTo>
                    <a:pt x="208407" y="197834"/>
                  </a:lnTo>
                  <a:lnTo>
                    <a:pt x="196215" y="189738"/>
                  </a:lnTo>
                  <a:lnTo>
                    <a:pt x="187738" y="186023"/>
                  </a:lnTo>
                  <a:lnTo>
                    <a:pt x="180213" y="202978"/>
                  </a:lnTo>
                  <a:lnTo>
                    <a:pt x="177260" y="204978"/>
                  </a:lnTo>
                  <a:lnTo>
                    <a:pt x="172593" y="205550"/>
                  </a:lnTo>
                  <a:lnTo>
                    <a:pt x="168212" y="209360"/>
                  </a:lnTo>
                  <a:lnTo>
                    <a:pt x="153448" y="206407"/>
                  </a:lnTo>
                  <a:lnTo>
                    <a:pt x="152210" y="209741"/>
                  </a:lnTo>
                  <a:lnTo>
                    <a:pt x="154781" y="217456"/>
                  </a:lnTo>
                  <a:lnTo>
                    <a:pt x="150495" y="221266"/>
                  </a:lnTo>
                  <a:lnTo>
                    <a:pt x="151448" y="229076"/>
                  </a:lnTo>
                  <a:lnTo>
                    <a:pt x="148971" y="234220"/>
                  </a:lnTo>
                  <a:lnTo>
                    <a:pt x="150114" y="243745"/>
                  </a:lnTo>
                  <a:lnTo>
                    <a:pt x="148019" y="252032"/>
                  </a:lnTo>
                  <a:lnTo>
                    <a:pt x="140303" y="254603"/>
                  </a:lnTo>
                  <a:lnTo>
                    <a:pt x="135541" y="255175"/>
                  </a:lnTo>
                  <a:lnTo>
                    <a:pt x="135350" y="253651"/>
                  </a:lnTo>
                  <a:lnTo>
                    <a:pt x="134398" y="258604"/>
                  </a:lnTo>
                  <a:lnTo>
                    <a:pt x="130683" y="254222"/>
                  </a:lnTo>
                  <a:lnTo>
                    <a:pt x="124301" y="255080"/>
                  </a:lnTo>
                  <a:lnTo>
                    <a:pt x="122301" y="252127"/>
                  </a:lnTo>
                  <a:lnTo>
                    <a:pt x="114014" y="249936"/>
                  </a:lnTo>
                  <a:lnTo>
                    <a:pt x="111633" y="243840"/>
                  </a:lnTo>
                  <a:lnTo>
                    <a:pt x="102965" y="238506"/>
                  </a:lnTo>
                  <a:lnTo>
                    <a:pt x="99822" y="238887"/>
                  </a:lnTo>
                  <a:lnTo>
                    <a:pt x="98393" y="240697"/>
                  </a:lnTo>
                  <a:lnTo>
                    <a:pt x="96679" y="239268"/>
                  </a:lnTo>
                  <a:lnTo>
                    <a:pt x="92107" y="241459"/>
                  </a:lnTo>
                  <a:lnTo>
                    <a:pt x="94869" y="237935"/>
                  </a:lnTo>
                  <a:lnTo>
                    <a:pt x="95822" y="232982"/>
                  </a:lnTo>
                  <a:lnTo>
                    <a:pt x="92678" y="233363"/>
                  </a:lnTo>
                  <a:lnTo>
                    <a:pt x="90964" y="232029"/>
                  </a:lnTo>
                  <a:lnTo>
                    <a:pt x="83249" y="234601"/>
                  </a:lnTo>
                  <a:lnTo>
                    <a:pt x="79058" y="239935"/>
                  </a:lnTo>
                  <a:lnTo>
                    <a:pt x="73533" y="234220"/>
                  </a:lnTo>
                  <a:lnTo>
                    <a:pt x="67437" y="236601"/>
                  </a:lnTo>
                  <a:lnTo>
                    <a:pt x="71247" y="240983"/>
                  </a:lnTo>
                  <a:lnTo>
                    <a:pt x="69818" y="242697"/>
                  </a:lnTo>
                  <a:lnTo>
                    <a:pt x="73152" y="243935"/>
                  </a:lnTo>
                  <a:lnTo>
                    <a:pt x="74581" y="242126"/>
                  </a:lnTo>
                  <a:lnTo>
                    <a:pt x="77915" y="243269"/>
                  </a:lnTo>
                  <a:lnTo>
                    <a:pt x="78296" y="246507"/>
                  </a:lnTo>
                  <a:lnTo>
                    <a:pt x="74771" y="243745"/>
                  </a:lnTo>
                  <a:lnTo>
                    <a:pt x="72200" y="248888"/>
                  </a:lnTo>
                  <a:lnTo>
                    <a:pt x="74009" y="250222"/>
                  </a:lnTo>
                  <a:lnTo>
                    <a:pt x="73057" y="255175"/>
                  </a:lnTo>
                  <a:lnTo>
                    <a:pt x="74771" y="256508"/>
                  </a:lnTo>
                  <a:lnTo>
                    <a:pt x="76391" y="256318"/>
                  </a:lnTo>
                  <a:lnTo>
                    <a:pt x="78200" y="257746"/>
                  </a:lnTo>
                  <a:lnTo>
                    <a:pt x="78391" y="259270"/>
                  </a:lnTo>
                  <a:lnTo>
                    <a:pt x="78581" y="260890"/>
                  </a:lnTo>
                  <a:lnTo>
                    <a:pt x="72676" y="264795"/>
                  </a:lnTo>
                  <a:lnTo>
                    <a:pt x="71438" y="268224"/>
                  </a:lnTo>
                  <a:lnTo>
                    <a:pt x="77057" y="273844"/>
                  </a:lnTo>
                  <a:lnTo>
                    <a:pt x="71723" y="282607"/>
                  </a:lnTo>
                  <a:lnTo>
                    <a:pt x="66580" y="280035"/>
                  </a:lnTo>
                  <a:lnTo>
                    <a:pt x="61817" y="280607"/>
                  </a:lnTo>
                  <a:lnTo>
                    <a:pt x="62008" y="282226"/>
                  </a:lnTo>
                  <a:lnTo>
                    <a:pt x="56483" y="289370"/>
                  </a:lnTo>
                  <a:lnTo>
                    <a:pt x="54959" y="302324"/>
                  </a:lnTo>
                  <a:lnTo>
                    <a:pt x="54007" y="307277"/>
                  </a:lnTo>
                  <a:lnTo>
                    <a:pt x="51054" y="309277"/>
                  </a:lnTo>
                  <a:lnTo>
                    <a:pt x="50292" y="315754"/>
                  </a:lnTo>
                  <a:lnTo>
                    <a:pt x="59150" y="322707"/>
                  </a:lnTo>
                  <a:lnTo>
                    <a:pt x="56388" y="326231"/>
                  </a:lnTo>
                  <a:lnTo>
                    <a:pt x="50102" y="326993"/>
                  </a:lnTo>
                  <a:lnTo>
                    <a:pt x="48482" y="327279"/>
                  </a:lnTo>
                  <a:lnTo>
                    <a:pt x="49721" y="323850"/>
                  </a:lnTo>
                  <a:lnTo>
                    <a:pt x="47339" y="317754"/>
                  </a:lnTo>
                  <a:lnTo>
                    <a:pt x="44768" y="322898"/>
                  </a:lnTo>
                  <a:lnTo>
                    <a:pt x="44958" y="324517"/>
                  </a:lnTo>
                  <a:lnTo>
                    <a:pt x="41243" y="332994"/>
                  </a:lnTo>
                  <a:lnTo>
                    <a:pt x="32195" y="337376"/>
                  </a:lnTo>
                  <a:lnTo>
                    <a:pt x="22860" y="340138"/>
                  </a:lnTo>
                  <a:lnTo>
                    <a:pt x="18955" y="346996"/>
                  </a:lnTo>
                  <a:lnTo>
                    <a:pt x="19812" y="353378"/>
                  </a:lnTo>
                  <a:lnTo>
                    <a:pt x="15621" y="358712"/>
                  </a:lnTo>
                  <a:lnTo>
                    <a:pt x="15050" y="366808"/>
                  </a:lnTo>
                  <a:lnTo>
                    <a:pt x="22003" y="370713"/>
                  </a:lnTo>
                  <a:lnTo>
                    <a:pt x="22574" y="375476"/>
                  </a:lnTo>
                  <a:lnTo>
                    <a:pt x="8192" y="388525"/>
                  </a:lnTo>
                  <a:lnTo>
                    <a:pt x="6477" y="387096"/>
                  </a:lnTo>
                  <a:lnTo>
                    <a:pt x="191" y="400717"/>
                  </a:lnTo>
                  <a:lnTo>
                    <a:pt x="0" y="412052"/>
                  </a:lnTo>
                  <a:lnTo>
                    <a:pt x="4953" y="413004"/>
                  </a:lnTo>
                  <a:lnTo>
                    <a:pt x="9620" y="412337"/>
                  </a:lnTo>
                  <a:lnTo>
                    <a:pt x="11240" y="412147"/>
                  </a:lnTo>
                  <a:lnTo>
                    <a:pt x="10478" y="418719"/>
                  </a:lnTo>
                  <a:lnTo>
                    <a:pt x="10859" y="421862"/>
                  </a:lnTo>
                  <a:lnTo>
                    <a:pt x="11049" y="423386"/>
                  </a:lnTo>
                  <a:lnTo>
                    <a:pt x="13811" y="432721"/>
                  </a:lnTo>
                  <a:lnTo>
                    <a:pt x="14288" y="435864"/>
                  </a:lnTo>
                  <a:lnTo>
                    <a:pt x="10763" y="445961"/>
                  </a:lnTo>
                  <a:lnTo>
                    <a:pt x="17812" y="451390"/>
                  </a:lnTo>
                  <a:lnTo>
                    <a:pt x="16478" y="453200"/>
                  </a:lnTo>
                  <a:lnTo>
                    <a:pt x="16859" y="456343"/>
                  </a:lnTo>
                  <a:lnTo>
                    <a:pt x="24003" y="461867"/>
                  </a:lnTo>
                  <a:lnTo>
                    <a:pt x="26956" y="472726"/>
                  </a:lnTo>
                  <a:lnTo>
                    <a:pt x="24384" y="477869"/>
                  </a:lnTo>
                  <a:lnTo>
                    <a:pt x="29337" y="478822"/>
                  </a:lnTo>
                  <a:lnTo>
                    <a:pt x="33338" y="484727"/>
                  </a:lnTo>
                  <a:lnTo>
                    <a:pt x="32099" y="488061"/>
                  </a:lnTo>
                  <a:lnTo>
                    <a:pt x="42196" y="491585"/>
                  </a:lnTo>
                  <a:lnTo>
                    <a:pt x="41434" y="498158"/>
                  </a:lnTo>
                  <a:lnTo>
                    <a:pt x="43053" y="497967"/>
                  </a:lnTo>
                  <a:lnTo>
                    <a:pt x="41624" y="499682"/>
                  </a:lnTo>
                  <a:lnTo>
                    <a:pt x="44768" y="499301"/>
                  </a:lnTo>
                  <a:lnTo>
                    <a:pt x="46006" y="508826"/>
                  </a:lnTo>
                  <a:lnTo>
                    <a:pt x="47625" y="508540"/>
                  </a:lnTo>
                  <a:lnTo>
                    <a:pt x="48006" y="511778"/>
                  </a:lnTo>
                  <a:lnTo>
                    <a:pt x="50006" y="514731"/>
                  </a:lnTo>
                  <a:lnTo>
                    <a:pt x="51149" y="524161"/>
                  </a:lnTo>
                  <a:lnTo>
                    <a:pt x="50006" y="527495"/>
                  </a:lnTo>
                  <a:lnTo>
                    <a:pt x="56864" y="531400"/>
                  </a:lnTo>
                  <a:lnTo>
                    <a:pt x="59531" y="539115"/>
                  </a:lnTo>
                  <a:lnTo>
                    <a:pt x="61055" y="538925"/>
                  </a:lnTo>
                  <a:lnTo>
                    <a:pt x="59722" y="540734"/>
                  </a:lnTo>
                  <a:lnTo>
                    <a:pt x="62865" y="540353"/>
                  </a:lnTo>
                  <a:lnTo>
                    <a:pt x="61627" y="543687"/>
                  </a:lnTo>
                  <a:lnTo>
                    <a:pt x="63437" y="545021"/>
                  </a:lnTo>
                  <a:lnTo>
                    <a:pt x="62103" y="546830"/>
                  </a:lnTo>
                  <a:lnTo>
                    <a:pt x="63627" y="546640"/>
                  </a:lnTo>
                  <a:lnTo>
                    <a:pt x="65246" y="546449"/>
                  </a:lnTo>
                  <a:lnTo>
                    <a:pt x="65437" y="547973"/>
                  </a:lnTo>
                  <a:lnTo>
                    <a:pt x="64484" y="552926"/>
                  </a:lnTo>
                  <a:lnTo>
                    <a:pt x="66389" y="555879"/>
                  </a:lnTo>
                  <a:lnTo>
                    <a:pt x="67818" y="554069"/>
                  </a:lnTo>
                  <a:lnTo>
                    <a:pt x="67056" y="560642"/>
                  </a:lnTo>
                  <a:lnTo>
                    <a:pt x="75343" y="562737"/>
                  </a:lnTo>
                  <a:lnTo>
                    <a:pt x="76676" y="561023"/>
                  </a:lnTo>
                  <a:lnTo>
                    <a:pt x="76867" y="562547"/>
                  </a:lnTo>
                  <a:lnTo>
                    <a:pt x="76867" y="562547"/>
                  </a:lnTo>
                  <a:lnTo>
                    <a:pt x="78677" y="563975"/>
                  </a:lnTo>
                  <a:lnTo>
                    <a:pt x="78486" y="562356"/>
                  </a:lnTo>
                  <a:lnTo>
                    <a:pt x="83439" y="563309"/>
                  </a:lnTo>
                  <a:lnTo>
                    <a:pt x="86582" y="562928"/>
                  </a:lnTo>
                  <a:lnTo>
                    <a:pt x="86773" y="564547"/>
                  </a:lnTo>
                  <a:lnTo>
                    <a:pt x="85439" y="566261"/>
                  </a:lnTo>
                  <a:lnTo>
                    <a:pt x="90297" y="567309"/>
                  </a:lnTo>
                  <a:lnTo>
                    <a:pt x="89726" y="575405"/>
                  </a:lnTo>
                  <a:lnTo>
                    <a:pt x="93155" y="576548"/>
                  </a:lnTo>
                  <a:lnTo>
                    <a:pt x="95345" y="581120"/>
                  </a:lnTo>
                  <a:lnTo>
                    <a:pt x="97917" y="588740"/>
                  </a:lnTo>
                  <a:lnTo>
                    <a:pt x="99441" y="588550"/>
                  </a:lnTo>
                  <a:lnTo>
                    <a:pt x="98679" y="595122"/>
                  </a:lnTo>
                  <a:lnTo>
                    <a:pt x="105251" y="595884"/>
                  </a:lnTo>
                  <a:lnTo>
                    <a:pt x="103823" y="597599"/>
                  </a:lnTo>
                  <a:lnTo>
                    <a:pt x="107633" y="601980"/>
                  </a:lnTo>
                  <a:lnTo>
                    <a:pt x="109919" y="595217"/>
                  </a:lnTo>
                  <a:lnTo>
                    <a:pt x="108204" y="593884"/>
                  </a:lnTo>
                  <a:lnTo>
                    <a:pt x="113252" y="583597"/>
                  </a:lnTo>
                  <a:lnTo>
                    <a:pt x="124301" y="582168"/>
                  </a:lnTo>
                  <a:lnTo>
                    <a:pt x="121349" y="584168"/>
                  </a:lnTo>
                  <a:lnTo>
                    <a:pt x="125159" y="588550"/>
                  </a:lnTo>
                  <a:lnTo>
                    <a:pt x="127730" y="596170"/>
                  </a:lnTo>
                  <a:lnTo>
                    <a:pt x="129445" y="597599"/>
                  </a:lnTo>
                  <a:lnTo>
                    <a:pt x="137732" y="599694"/>
                  </a:lnTo>
                  <a:lnTo>
                    <a:pt x="142494" y="599123"/>
                  </a:lnTo>
                  <a:lnTo>
                    <a:pt x="145256" y="595598"/>
                  </a:lnTo>
                  <a:lnTo>
                    <a:pt x="139732" y="589883"/>
                  </a:lnTo>
                  <a:lnTo>
                    <a:pt x="139541" y="588264"/>
                  </a:lnTo>
                  <a:lnTo>
                    <a:pt x="149162" y="588645"/>
                  </a:lnTo>
                  <a:lnTo>
                    <a:pt x="150590" y="586835"/>
                  </a:lnTo>
                  <a:lnTo>
                    <a:pt x="153162" y="581692"/>
                  </a:lnTo>
                  <a:lnTo>
                    <a:pt x="159639" y="582549"/>
                  </a:lnTo>
                  <a:lnTo>
                    <a:pt x="161258" y="582263"/>
                  </a:lnTo>
                  <a:lnTo>
                    <a:pt x="161449" y="583883"/>
                  </a:lnTo>
                  <a:lnTo>
                    <a:pt x="160020" y="585692"/>
                  </a:lnTo>
                  <a:lnTo>
                    <a:pt x="160687" y="590360"/>
                  </a:lnTo>
                  <a:lnTo>
                    <a:pt x="159258" y="592169"/>
                  </a:lnTo>
                  <a:lnTo>
                    <a:pt x="164783" y="597884"/>
                  </a:lnTo>
                  <a:lnTo>
                    <a:pt x="163068" y="596551"/>
                  </a:lnTo>
                  <a:lnTo>
                    <a:pt x="160306" y="600075"/>
                  </a:lnTo>
                  <a:lnTo>
                    <a:pt x="159258" y="605028"/>
                  </a:lnTo>
                  <a:lnTo>
                    <a:pt x="161068" y="606362"/>
                  </a:lnTo>
                  <a:lnTo>
                    <a:pt x="162497" y="617411"/>
                  </a:lnTo>
                  <a:lnTo>
                    <a:pt x="168021" y="623126"/>
                  </a:lnTo>
                  <a:lnTo>
                    <a:pt x="169640" y="622935"/>
                  </a:lnTo>
                  <a:lnTo>
                    <a:pt x="170593" y="617982"/>
                  </a:lnTo>
                  <a:lnTo>
                    <a:pt x="172593" y="620935"/>
                  </a:lnTo>
                  <a:lnTo>
                    <a:pt x="173927" y="619220"/>
                  </a:lnTo>
                  <a:lnTo>
                    <a:pt x="174117" y="620744"/>
                  </a:lnTo>
                  <a:lnTo>
                    <a:pt x="177260" y="620363"/>
                  </a:lnTo>
                  <a:lnTo>
                    <a:pt x="175927" y="622173"/>
                  </a:lnTo>
                  <a:lnTo>
                    <a:pt x="175927" y="622173"/>
                  </a:lnTo>
                  <a:lnTo>
                    <a:pt x="181070" y="624650"/>
                  </a:lnTo>
                  <a:lnTo>
                    <a:pt x="183071" y="627602"/>
                  </a:lnTo>
                  <a:lnTo>
                    <a:pt x="185738" y="624078"/>
                  </a:lnTo>
                  <a:lnTo>
                    <a:pt x="183642" y="619506"/>
                  </a:lnTo>
                  <a:lnTo>
                    <a:pt x="187738" y="614172"/>
                  </a:lnTo>
                  <a:lnTo>
                    <a:pt x="188119" y="617411"/>
                  </a:lnTo>
                  <a:lnTo>
                    <a:pt x="194691" y="618173"/>
                  </a:lnTo>
                  <a:lnTo>
                    <a:pt x="196215" y="617982"/>
                  </a:lnTo>
                  <a:lnTo>
                    <a:pt x="196977" y="611410"/>
                  </a:lnTo>
                  <a:lnTo>
                    <a:pt x="201930" y="612362"/>
                  </a:lnTo>
                  <a:lnTo>
                    <a:pt x="204121" y="616934"/>
                  </a:lnTo>
                  <a:lnTo>
                    <a:pt x="209074" y="617887"/>
                  </a:lnTo>
                  <a:lnTo>
                    <a:pt x="208407" y="613220"/>
                  </a:lnTo>
                  <a:lnTo>
                    <a:pt x="209836" y="611410"/>
                  </a:lnTo>
                  <a:lnTo>
                    <a:pt x="221266" y="613124"/>
                  </a:lnTo>
                  <a:lnTo>
                    <a:pt x="227552" y="612362"/>
                  </a:lnTo>
                  <a:lnTo>
                    <a:pt x="227362" y="610743"/>
                  </a:lnTo>
                  <a:lnTo>
                    <a:pt x="237839" y="617411"/>
                  </a:lnTo>
                  <a:lnTo>
                    <a:pt x="237839" y="617411"/>
                  </a:lnTo>
                  <a:lnTo>
                    <a:pt x="239268" y="615696"/>
                  </a:lnTo>
                  <a:lnTo>
                    <a:pt x="236220" y="604838"/>
                  </a:lnTo>
                  <a:lnTo>
                    <a:pt x="242316" y="602456"/>
                  </a:lnTo>
                  <a:lnTo>
                    <a:pt x="242126" y="600837"/>
                  </a:lnTo>
                  <a:lnTo>
                    <a:pt x="251841" y="601218"/>
                  </a:lnTo>
                  <a:lnTo>
                    <a:pt x="254603" y="597694"/>
                  </a:lnTo>
                  <a:lnTo>
                    <a:pt x="257937" y="598837"/>
                  </a:lnTo>
                  <a:lnTo>
                    <a:pt x="261652" y="577501"/>
                  </a:lnTo>
                  <a:lnTo>
                    <a:pt x="261271" y="574358"/>
                  </a:lnTo>
                  <a:lnTo>
                    <a:pt x="280988" y="578263"/>
                  </a:lnTo>
                  <a:lnTo>
                    <a:pt x="282131" y="574929"/>
                  </a:lnTo>
                  <a:lnTo>
                    <a:pt x="284131" y="565023"/>
                  </a:lnTo>
                  <a:lnTo>
                    <a:pt x="278130" y="543401"/>
                  </a:lnTo>
                  <a:lnTo>
                    <a:pt x="278321" y="532067"/>
                  </a:lnTo>
                  <a:lnTo>
                    <a:pt x="312896" y="538925"/>
                  </a:lnTo>
                  <a:lnTo>
                    <a:pt x="332232" y="552450"/>
                  </a:lnTo>
                  <a:lnTo>
                    <a:pt x="346424" y="537877"/>
                  </a:lnTo>
                  <a:lnTo>
                    <a:pt x="349568" y="537496"/>
                  </a:lnTo>
                  <a:lnTo>
                    <a:pt x="352330" y="533876"/>
                  </a:lnTo>
                  <a:lnTo>
                    <a:pt x="353473" y="530543"/>
                  </a:lnTo>
                  <a:lnTo>
                    <a:pt x="351473" y="527590"/>
                  </a:lnTo>
                  <a:lnTo>
                    <a:pt x="346139" y="523494"/>
                  </a:lnTo>
                  <a:lnTo>
                    <a:pt x="347091" y="518541"/>
                  </a:lnTo>
                  <a:lnTo>
                    <a:pt x="345186" y="515588"/>
                  </a:lnTo>
                  <a:lnTo>
                    <a:pt x="357569" y="512350"/>
                  </a:lnTo>
                  <a:lnTo>
                    <a:pt x="357378" y="510826"/>
                  </a:lnTo>
                  <a:lnTo>
                    <a:pt x="364903" y="506635"/>
                  </a:lnTo>
                  <a:lnTo>
                    <a:pt x="369570" y="506063"/>
                  </a:lnTo>
                  <a:lnTo>
                    <a:pt x="372713" y="505587"/>
                  </a:lnTo>
                  <a:lnTo>
                    <a:pt x="375476" y="502063"/>
                  </a:lnTo>
                  <a:lnTo>
                    <a:pt x="376142" y="506825"/>
                  </a:lnTo>
                  <a:lnTo>
                    <a:pt x="381857" y="501301"/>
                  </a:lnTo>
                  <a:lnTo>
                    <a:pt x="387953" y="498920"/>
                  </a:lnTo>
                  <a:lnTo>
                    <a:pt x="383572" y="489871"/>
                  </a:lnTo>
                  <a:lnTo>
                    <a:pt x="385191" y="489585"/>
                  </a:lnTo>
                  <a:lnTo>
                    <a:pt x="380810" y="480536"/>
                  </a:lnTo>
                  <a:lnTo>
                    <a:pt x="377666" y="480917"/>
                  </a:lnTo>
                  <a:lnTo>
                    <a:pt x="383762" y="478536"/>
                  </a:lnTo>
                  <a:lnTo>
                    <a:pt x="385096" y="476822"/>
                  </a:lnTo>
                  <a:lnTo>
                    <a:pt x="388430" y="477965"/>
                  </a:lnTo>
                  <a:lnTo>
                    <a:pt x="388239" y="476441"/>
                  </a:lnTo>
                  <a:lnTo>
                    <a:pt x="391478" y="475964"/>
                  </a:lnTo>
                  <a:lnTo>
                    <a:pt x="393192" y="477393"/>
                  </a:lnTo>
                  <a:lnTo>
                    <a:pt x="386620" y="463772"/>
                  </a:lnTo>
                  <a:lnTo>
                    <a:pt x="391192" y="461582"/>
                  </a:lnTo>
                  <a:lnTo>
                    <a:pt x="404241" y="463106"/>
                  </a:lnTo>
                  <a:lnTo>
                    <a:pt x="402812" y="464915"/>
                  </a:lnTo>
                  <a:lnTo>
                    <a:pt x="405194" y="471011"/>
                  </a:lnTo>
                  <a:lnTo>
                    <a:pt x="402241" y="473012"/>
                  </a:lnTo>
                  <a:lnTo>
                    <a:pt x="404241" y="475964"/>
                  </a:lnTo>
                  <a:lnTo>
                    <a:pt x="407384" y="475583"/>
                  </a:lnTo>
                  <a:lnTo>
                    <a:pt x="411004" y="478346"/>
                  </a:lnTo>
                  <a:lnTo>
                    <a:pt x="410528" y="475202"/>
                  </a:lnTo>
                  <a:lnTo>
                    <a:pt x="415481" y="476155"/>
                  </a:lnTo>
                  <a:lnTo>
                    <a:pt x="419862" y="485204"/>
                  </a:lnTo>
                  <a:lnTo>
                    <a:pt x="415100" y="485775"/>
                  </a:lnTo>
                  <a:lnTo>
                    <a:pt x="418529" y="487013"/>
                  </a:lnTo>
                  <a:lnTo>
                    <a:pt x="420434" y="489966"/>
                  </a:lnTo>
                  <a:lnTo>
                    <a:pt x="425196" y="489299"/>
                  </a:lnTo>
                  <a:lnTo>
                    <a:pt x="428720" y="492062"/>
                  </a:lnTo>
                  <a:lnTo>
                    <a:pt x="427958" y="485775"/>
                  </a:lnTo>
                  <a:lnTo>
                    <a:pt x="432721" y="485204"/>
                  </a:lnTo>
                  <a:lnTo>
                    <a:pt x="433483" y="478631"/>
                  </a:lnTo>
                  <a:lnTo>
                    <a:pt x="434816" y="476917"/>
                  </a:lnTo>
                  <a:lnTo>
                    <a:pt x="438245" y="478060"/>
                  </a:lnTo>
                  <a:lnTo>
                    <a:pt x="435293" y="480060"/>
                  </a:lnTo>
                  <a:lnTo>
                    <a:pt x="437007" y="481394"/>
                  </a:lnTo>
                  <a:lnTo>
                    <a:pt x="440150" y="481013"/>
                  </a:lnTo>
                  <a:lnTo>
                    <a:pt x="442151" y="483965"/>
                  </a:lnTo>
                  <a:lnTo>
                    <a:pt x="446913" y="483394"/>
                  </a:lnTo>
                  <a:lnTo>
                    <a:pt x="450056" y="482918"/>
                  </a:lnTo>
                  <a:lnTo>
                    <a:pt x="455962" y="479012"/>
                  </a:lnTo>
                  <a:lnTo>
                    <a:pt x="456343" y="482156"/>
                  </a:lnTo>
                  <a:lnTo>
                    <a:pt x="455200" y="485489"/>
                  </a:lnTo>
                  <a:lnTo>
                    <a:pt x="457010" y="486918"/>
                  </a:lnTo>
                  <a:lnTo>
                    <a:pt x="463487" y="500444"/>
                  </a:lnTo>
                  <a:lnTo>
                    <a:pt x="465106" y="500253"/>
                  </a:lnTo>
                  <a:lnTo>
                    <a:pt x="466630" y="500063"/>
                  </a:lnTo>
                  <a:lnTo>
                    <a:pt x="471773" y="502634"/>
                  </a:lnTo>
                  <a:lnTo>
                    <a:pt x="472631" y="508921"/>
                  </a:lnTo>
                  <a:lnTo>
                    <a:pt x="473964" y="507206"/>
                  </a:lnTo>
                  <a:lnTo>
                    <a:pt x="477107" y="506730"/>
                  </a:lnTo>
                  <a:lnTo>
                    <a:pt x="477298" y="508349"/>
                  </a:lnTo>
                  <a:lnTo>
                    <a:pt x="476345" y="513302"/>
                  </a:lnTo>
                  <a:lnTo>
                    <a:pt x="480155" y="517589"/>
                  </a:lnTo>
                  <a:lnTo>
                    <a:pt x="479108" y="522542"/>
                  </a:lnTo>
                  <a:lnTo>
                    <a:pt x="483489" y="518827"/>
                  </a:lnTo>
                  <a:lnTo>
                    <a:pt x="485299" y="520160"/>
                  </a:lnTo>
                  <a:lnTo>
                    <a:pt x="489776" y="517970"/>
                  </a:lnTo>
                  <a:lnTo>
                    <a:pt x="494538" y="517398"/>
                  </a:lnTo>
                  <a:lnTo>
                    <a:pt x="494538" y="517398"/>
                  </a:lnTo>
                  <a:lnTo>
                    <a:pt x="498729" y="524828"/>
                  </a:lnTo>
                  <a:lnTo>
                    <a:pt x="503873" y="527399"/>
                  </a:lnTo>
                  <a:lnTo>
                    <a:pt x="502634" y="530828"/>
                  </a:lnTo>
                  <a:lnTo>
                    <a:pt x="507397" y="530162"/>
                  </a:lnTo>
                  <a:lnTo>
                    <a:pt x="516255" y="537020"/>
                  </a:lnTo>
                  <a:lnTo>
                    <a:pt x="513493" y="540639"/>
                  </a:lnTo>
                  <a:lnTo>
                    <a:pt x="513683" y="542163"/>
                  </a:lnTo>
                  <a:lnTo>
                    <a:pt x="516731" y="540258"/>
                  </a:lnTo>
                  <a:lnTo>
                    <a:pt x="515684" y="545116"/>
                  </a:lnTo>
                  <a:lnTo>
                    <a:pt x="519113" y="559118"/>
                  </a:lnTo>
                  <a:lnTo>
                    <a:pt x="520922" y="560546"/>
                  </a:lnTo>
                  <a:lnTo>
                    <a:pt x="522827" y="563499"/>
                  </a:lnTo>
                  <a:lnTo>
                    <a:pt x="530543" y="560927"/>
                  </a:lnTo>
                  <a:lnTo>
                    <a:pt x="530924" y="564071"/>
                  </a:lnTo>
                  <a:lnTo>
                    <a:pt x="532543" y="563880"/>
                  </a:lnTo>
                  <a:lnTo>
                    <a:pt x="532733" y="565404"/>
                  </a:lnTo>
                  <a:lnTo>
                    <a:pt x="537305" y="563309"/>
                  </a:lnTo>
                  <a:lnTo>
                    <a:pt x="542163" y="564261"/>
                  </a:lnTo>
                  <a:lnTo>
                    <a:pt x="547497" y="568357"/>
                  </a:lnTo>
                  <a:lnTo>
                    <a:pt x="546164" y="570167"/>
                  </a:lnTo>
                  <a:lnTo>
                    <a:pt x="547783" y="569976"/>
                  </a:lnTo>
                  <a:lnTo>
                    <a:pt x="548164" y="573119"/>
                  </a:lnTo>
                  <a:lnTo>
                    <a:pt x="551307" y="572738"/>
                  </a:lnTo>
                  <a:lnTo>
                    <a:pt x="553307" y="575691"/>
                  </a:lnTo>
                  <a:lnTo>
                    <a:pt x="553879" y="580358"/>
                  </a:lnTo>
                  <a:lnTo>
                    <a:pt x="558832" y="581406"/>
                  </a:lnTo>
                  <a:lnTo>
                    <a:pt x="560165" y="579596"/>
                  </a:lnTo>
                  <a:lnTo>
                    <a:pt x="572262" y="586073"/>
                  </a:lnTo>
                  <a:lnTo>
                    <a:pt x="575786" y="588836"/>
                  </a:lnTo>
                  <a:lnTo>
                    <a:pt x="579596" y="593122"/>
                  </a:lnTo>
                  <a:lnTo>
                    <a:pt x="587883" y="595313"/>
                  </a:lnTo>
                  <a:lnTo>
                    <a:pt x="596360" y="599027"/>
                  </a:lnTo>
                  <a:lnTo>
                    <a:pt x="605409" y="607505"/>
                  </a:lnTo>
                  <a:lnTo>
                    <a:pt x="609981" y="605314"/>
                  </a:lnTo>
                  <a:lnTo>
                    <a:pt x="613124" y="604933"/>
                  </a:lnTo>
                  <a:lnTo>
                    <a:pt x="617887" y="604266"/>
                  </a:lnTo>
                  <a:lnTo>
                    <a:pt x="617506" y="601123"/>
                  </a:lnTo>
                  <a:lnTo>
                    <a:pt x="618268" y="594646"/>
                  </a:lnTo>
                  <a:lnTo>
                    <a:pt x="616268" y="591693"/>
                  </a:lnTo>
                  <a:lnTo>
                    <a:pt x="621221" y="592646"/>
                  </a:lnTo>
                  <a:lnTo>
                    <a:pt x="620363" y="586359"/>
                  </a:lnTo>
                  <a:lnTo>
                    <a:pt x="628079" y="583787"/>
                  </a:lnTo>
                  <a:lnTo>
                    <a:pt x="626269" y="582359"/>
                  </a:lnTo>
                  <a:lnTo>
                    <a:pt x="629031" y="578834"/>
                  </a:lnTo>
                  <a:lnTo>
                    <a:pt x="630650" y="578644"/>
                  </a:lnTo>
                  <a:lnTo>
                    <a:pt x="631793" y="575310"/>
                  </a:lnTo>
                  <a:lnTo>
                    <a:pt x="634937" y="574834"/>
                  </a:lnTo>
                  <a:lnTo>
                    <a:pt x="636175" y="571500"/>
                  </a:lnTo>
                  <a:lnTo>
                    <a:pt x="639890" y="575882"/>
                  </a:lnTo>
                  <a:lnTo>
                    <a:pt x="641318" y="574072"/>
                  </a:lnTo>
                  <a:lnTo>
                    <a:pt x="645986" y="573500"/>
                  </a:lnTo>
                  <a:lnTo>
                    <a:pt x="649605" y="576167"/>
                  </a:lnTo>
                  <a:lnTo>
                    <a:pt x="650939" y="574453"/>
                  </a:lnTo>
                  <a:lnTo>
                    <a:pt x="659606" y="579692"/>
                  </a:lnTo>
                  <a:lnTo>
                    <a:pt x="658463" y="583121"/>
                  </a:lnTo>
                  <a:lnTo>
                    <a:pt x="666750" y="585216"/>
                  </a:lnTo>
                  <a:lnTo>
                    <a:pt x="668750" y="588169"/>
                  </a:lnTo>
                  <a:lnTo>
                    <a:pt x="672846" y="582835"/>
                  </a:lnTo>
                  <a:lnTo>
                    <a:pt x="675037" y="587407"/>
                  </a:lnTo>
                  <a:lnTo>
                    <a:pt x="676656" y="587216"/>
                  </a:lnTo>
                  <a:lnTo>
                    <a:pt x="677799" y="583883"/>
                  </a:lnTo>
                  <a:lnTo>
                    <a:pt x="686086" y="585978"/>
                  </a:lnTo>
                  <a:lnTo>
                    <a:pt x="684943" y="589312"/>
                  </a:lnTo>
                  <a:lnTo>
                    <a:pt x="689039" y="596837"/>
                  </a:lnTo>
                  <a:lnTo>
                    <a:pt x="690658" y="596646"/>
                  </a:lnTo>
                  <a:lnTo>
                    <a:pt x="697421" y="599027"/>
                  </a:lnTo>
                  <a:lnTo>
                    <a:pt x="699516" y="603504"/>
                  </a:lnTo>
                  <a:lnTo>
                    <a:pt x="706469" y="607409"/>
                  </a:lnTo>
                  <a:lnTo>
                    <a:pt x="706660" y="596170"/>
                  </a:lnTo>
                  <a:lnTo>
                    <a:pt x="712565" y="592265"/>
                  </a:lnTo>
                  <a:lnTo>
                    <a:pt x="715899" y="593408"/>
                  </a:lnTo>
                  <a:lnTo>
                    <a:pt x="714756" y="596741"/>
                  </a:lnTo>
                  <a:lnTo>
                    <a:pt x="718852" y="604266"/>
                  </a:lnTo>
                  <a:lnTo>
                    <a:pt x="715709" y="604647"/>
                  </a:lnTo>
                  <a:lnTo>
                    <a:pt x="717899" y="609219"/>
                  </a:lnTo>
                  <a:lnTo>
                    <a:pt x="721233" y="610362"/>
                  </a:lnTo>
                  <a:lnTo>
                    <a:pt x="721519" y="611981"/>
                  </a:lnTo>
                  <a:lnTo>
                    <a:pt x="713423" y="611410"/>
                  </a:lnTo>
                  <a:lnTo>
                    <a:pt x="715328" y="614363"/>
                  </a:lnTo>
                  <a:lnTo>
                    <a:pt x="720090" y="613696"/>
                  </a:lnTo>
                  <a:lnTo>
                    <a:pt x="720471" y="616934"/>
                  </a:lnTo>
                  <a:lnTo>
                    <a:pt x="717328" y="617315"/>
                  </a:lnTo>
                  <a:lnTo>
                    <a:pt x="720662" y="618458"/>
                  </a:lnTo>
                  <a:lnTo>
                    <a:pt x="721328" y="623221"/>
                  </a:lnTo>
                  <a:lnTo>
                    <a:pt x="727805" y="623983"/>
                  </a:lnTo>
                  <a:lnTo>
                    <a:pt x="732377" y="621792"/>
                  </a:lnTo>
                  <a:lnTo>
                    <a:pt x="737330" y="622745"/>
                  </a:lnTo>
                  <a:lnTo>
                    <a:pt x="738473" y="619411"/>
                  </a:lnTo>
                  <a:lnTo>
                    <a:pt x="743617" y="621983"/>
                  </a:lnTo>
                  <a:lnTo>
                    <a:pt x="743426" y="620363"/>
                  </a:lnTo>
                  <a:lnTo>
                    <a:pt x="746760" y="621602"/>
                  </a:lnTo>
                  <a:lnTo>
                    <a:pt x="746570" y="619982"/>
                  </a:lnTo>
                  <a:lnTo>
                    <a:pt x="742760" y="615696"/>
                  </a:lnTo>
                  <a:lnTo>
                    <a:pt x="745522" y="612077"/>
                  </a:lnTo>
                  <a:lnTo>
                    <a:pt x="748475" y="610076"/>
                  </a:lnTo>
                  <a:lnTo>
                    <a:pt x="750856" y="616268"/>
                  </a:lnTo>
                  <a:lnTo>
                    <a:pt x="755809" y="617220"/>
                  </a:lnTo>
                  <a:lnTo>
                    <a:pt x="756761" y="612267"/>
                  </a:lnTo>
                  <a:lnTo>
                    <a:pt x="759524" y="608743"/>
                  </a:lnTo>
                  <a:lnTo>
                    <a:pt x="757619" y="605790"/>
                  </a:lnTo>
                  <a:lnTo>
                    <a:pt x="762286" y="605123"/>
                  </a:lnTo>
                  <a:lnTo>
                    <a:pt x="763334" y="600170"/>
                  </a:lnTo>
                  <a:lnTo>
                    <a:pt x="756380" y="596265"/>
                  </a:lnTo>
                  <a:lnTo>
                    <a:pt x="755142" y="586835"/>
                  </a:lnTo>
                  <a:lnTo>
                    <a:pt x="751427" y="582454"/>
                  </a:lnTo>
                  <a:lnTo>
                    <a:pt x="752761" y="580739"/>
                  </a:lnTo>
                  <a:lnTo>
                    <a:pt x="753713" y="575786"/>
                  </a:lnTo>
                  <a:lnTo>
                    <a:pt x="763048" y="573024"/>
                  </a:lnTo>
                  <a:lnTo>
                    <a:pt x="764762" y="574358"/>
                  </a:lnTo>
                  <a:lnTo>
                    <a:pt x="772478" y="571786"/>
                  </a:lnTo>
                  <a:lnTo>
                    <a:pt x="772668" y="560546"/>
                  </a:lnTo>
                  <a:lnTo>
                    <a:pt x="778002" y="564642"/>
                  </a:lnTo>
                  <a:lnTo>
                    <a:pt x="779336" y="562832"/>
                  </a:lnTo>
                  <a:lnTo>
                    <a:pt x="781145" y="564261"/>
                  </a:lnTo>
                  <a:lnTo>
                    <a:pt x="782098" y="559308"/>
                  </a:lnTo>
                  <a:lnTo>
                    <a:pt x="778383" y="555022"/>
                  </a:lnTo>
                  <a:lnTo>
                    <a:pt x="781145" y="551402"/>
                  </a:lnTo>
                  <a:lnTo>
                    <a:pt x="779526" y="551593"/>
                  </a:lnTo>
                  <a:lnTo>
                    <a:pt x="778955" y="546926"/>
                  </a:lnTo>
                  <a:lnTo>
                    <a:pt x="792385" y="551593"/>
                  </a:lnTo>
                  <a:lnTo>
                    <a:pt x="794385" y="554546"/>
                  </a:lnTo>
                  <a:lnTo>
                    <a:pt x="794766" y="557689"/>
                  </a:lnTo>
                  <a:lnTo>
                    <a:pt x="792956" y="556355"/>
                  </a:lnTo>
                  <a:lnTo>
                    <a:pt x="792194" y="562832"/>
                  </a:lnTo>
                  <a:lnTo>
                    <a:pt x="803243" y="574262"/>
                  </a:lnTo>
                  <a:lnTo>
                    <a:pt x="804101" y="580549"/>
                  </a:lnTo>
                  <a:lnTo>
                    <a:pt x="810387" y="579787"/>
                  </a:lnTo>
                  <a:lnTo>
                    <a:pt x="812387" y="582740"/>
                  </a:lnTo>
                  <a:lnTo>
                    <a:pt x="816864" y="580549"/>
                  </a:lnTo>
                  <a:lnTo>
                    <a:pt x="819055" y="585121"/>
                  </a:lnTo>
                  <a:lnTo>
                    <a:pt x="826961" y="584073"/>
                  </a:lnTo>
                  <a:lnTo>
                    <a:pt x="826008" y="576167"/>
                  </a:lnTo>
                  <a:lnTo>
                    <a:pt x="829342" y="577310"/>
                  </a:lnTo>
                  <a:lnTo>
                    <a:pt x="833914" y="575215"/>
                  </a:lnTo>
                  <a:lnTo>
                    <a:pt x="835438" y="574929"/>
                  </a:lnTo>
                  <a:lnTo>
                    <a:pt x="841343" y="571024"/>
                  </a:lnTo>
                  <a:lnTo>
                    <a:pt x="842963" y="570833"/>
                  </a:lnTo>
                  <a:lnTo>
                    <a:pt x="843344" y="573977"/>
                  </a:lnTo>
                  <a:lnTo>
                    <a:pt x="844677" y="572167"/>
                  </a:lnTo>
                  <a:lnTo>
                    <a:pt x="845153" y="575310"/>
                  </a:lnTo>
                  <a:lnTo>
                    <a:pt x="848487" y="576548"/>
                  </a:lnTo>
                  <a:lnTo>
                    <a:pt x="848297" y="574929"/>
                  </a:lnTo>
                  <a:lnTo>
                    <a:pt x="851440" y="574548"/>
                  </a:lnTo>
                  <a:lnTo>
                    <a:pt x="852678" y="583978"/>
                  </a:lnTo>
                  <a:lnTo>
                    <a:pt x="855821" y="583597"/>
                  </a:lnTo>
                  <a:lnTo>
                    <a:pt x="853821" y="580644"/>
                  </a:lnTo>
                  <a:lnTo>
                    <a:pt x="856583" y="577120"/>
                  </a:lnTo>
                  <a:lnTo>
                    <a:pt x="858774" y="581597"/>
                  </a:lnTo>
                  <a:lnTo>
                    <a:pt x="860108" y="579882"/>
                  </a:lnTo>
                  <a:lnTo>
                    <a:pt x="864680" y="577691"/>
                  </a:lnTo>
                  <a:lnTo>
                    <a:pt x="886778" y="574834"/>
                  </a:lnTo>
                  <a:lnTo>
                    <a:pt x="887921" y="571500"/>
                  </a:lnTo>
                  <a:lnTo>
                    <a:pt x="883920" y="565595"/>
                  </a:lnTo>
                  <a:lnTo>
                    <a:pt x="883920" y="565595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0" name="Volný tvar: obrazec 19">
              <a:extLst>
                <a:ext uri="{FF2B5EF4-FFF2-40B4-BE49-F238E27FC236}">
                  <a16:creationId xmlns:a16="http://schemas.microsoft.com/office/drawing/2014/main" id="{90BD359B-3D47-C6CC-1723-73EA731F69DB}"/>
                </a:ext>
              </a:extLst>
            </p:cNvPr>
            <p:cNvSpPr>
              <a:spLocks noChangeAspect="1"/>
            </p:cNvSpPr>
            <p:nvPr userDrawn="1">
              <p:custDataLst>
                <p:tags r:id="rId7"/>
              </p:custDataLst>
            </p:nvPr>
          </p:nvSpPr>
          <p:spPr>
            <a:xfrm>
              <a:off x="4628292" y="2504407"/>
              <a:ext cx="1489995" cy="1273968"/>
            </a:xfrm>
            <a:custGeom>
              <a:avLst/>
              <a:gdLst>
                <a:gd name="connsiteX0" fmla="*/ 443198 w 1489995"/>
                <a:gd name="connsiteY0" fmla="*/ 1201960 h 1273968"/>
                <a:gd name="connsiteX1" fmla="*/ 439198 w 1489995"/>
                <a:gd name="connsiteY1" fmla="*/ 1208913 h 1273968"/>
                <a:gd name="connsiteX2" fmla="*/ 439007 w 1489995"/>
                <a:gd name="connsiteY2" fmla="*/ 1207294 h 1273968"/>
                <a:gd name="connsiteX3" fmla="*/ 433292 w 1489995"/>
                <a:gd name="connsiteY3" fmla="*/ 1212818 h 1273968"/>
                <a:gd name="connsiteX4" fmla="*/ 431578 w 1489995"/>
                <a:gd name="connsiteY4" fmla="*/ 1211485 h 1273968"/>
                <a:gd name="connsiteX5" fmla="*/ 430149 w 1489995"/>
                <a:gd name="connsiteY5" fmla="*/ 1213199 h 1273968"/>
                <a:gd name="connsiteX6" fmla="*/ 423481 w 1489995"/>
                <a:gd name="connsiteY6" fmla="*/ 1210913 h 1273968"/>
                <a:gd name="connsiteX7" fmla="*/ 422719 w 1489995"/>
                <a:gd name="connsiteY7" fmla="*/ 1217390 h 1273968"/>
                <a:gd name="connsiteX8" fmla="*/ 426625 w 1489995"/>
                <a:gd name="connsiteY8" fmla="*/ 1223296 h 1273968"/>
                <a:gd name="connsiteX9" fmla="*/ 423863 w 1489995"/>
                <a:gd name="connsiteY9" fmla="*/ 1226915 h 1273968"/>
                <a:gd name="connsiteX10" fmla="*/ 423481 w 1489995"/>
                <a:gd name="connsiteY10" fmla="*/ 1223677 h 1273968"/>
                <a:gd name="connsiteX11" fmla="*/ 422719 w 1489995"/>
                <a:gd name="connsiteY11" fmla="*/ 1230249 h 1273968"/>
                <a:gd name="connsiteX12" fmla="*/ 421291 w 1489995"/>
                <a:gd name="connsiteY12" fmla="*/ 1231964 h 1273968"/>
                <a:gd name="connsiteX13" fmla="*/ 421767 w 1489995"/>
                <a:gd name="connsiteY13" fmla="*/ 1235202 h 1273968"/>
                <a:gd name="connsiteX14" fmla="*/ 420148 w 1489995"/>
                <a:gd name="connsiteY14" fmla="*/ 1235393 h 1273968"/>
                <a:gd name="connsiteX15" fmla="*/ 418814 w 1489995"/>
                <a:gd name="connsiteY15" fmla="*/ 1237107 h 1273968"/>
                <a:gd name="connsiteX16" fmla="*/ 416814 w 1489995"/>
                <a:gd name="connsiteY16" fmla="*/ 1234154 h 1273968"/>
                <a:gd name="connsiteX17" fmla="*/ 415195 w 1489995"/>
                <a:gd name="connsiteY17" fmla="*/ 1234345 h 1273968"/>
                <a:gd name="connsiteX18" fmla="*/ 415576 w 1489995"/>
                <a:gd name="connsiteY18" fmla="*/ 1237583 h 1273968"/>
                <a:gd name="connsiteX19" fmla="*/ 414052 w 1489995"/>
                <a:gd name="connsiteY19" fmla="*/ 1237774 h 1273968"/>
                <a:gd name="connsiteX20" fmla="*/ 417957 w 1489995"/>
                <a:gd name="connsiteY20" fmla="*/ 1243679 h 1273968"/>
                <a:gd name="connsiteX21" fmla="*/ 414814 w 1489995"/>
                <a:gd name="connsiteY21" fmla="*/ 1244060 h 1273968"/>
                <a:gd name="connsiteX22" fmla="*/ 415290 w 1489995"/>
                <a:gd name="connsiteY22" fmla="*/ 1247204 h 1273968"/>
                <a:gd name="connsiteX23" fmla="*/ 412051 w 1489995"/>
                <a:gd name="connsiteY23" fmla="*/ 1247585 h 1273968"/>
                <a:gd name="connsiteX24" fmla="*/ 411289 w 1489995"/>
                <a:gd name="connsiteY24" fmla="*/ 1241298 h 1273968"/>
                <a:gd name="connsiteX25" fmla="*/ 408146 w 1489995"/>
                <a:gd name="connsiteY25" fmla="*/ 1241679 h 1273968"/>
                <a:gd name="connsiteX26" fmla="*/ 405955 w 1489995"/>
                <a:gd name="connsiteY26" fmla="*/ 1237202 h 1273968"/>
                <a:gd name="connsiteX27" fmla="*/ 403384 w 1489995"/>
                <a:gd name="connsiteY27" fmla="*/ 1242346 h 1273968"/>
                <a:gd name="connsiteX28" fmla="*/ 401860 w 1489995"/>
                <a:gd name="connsiteY28" fmla="*/ 1242536 h 1273968"/>
                <a:gd name="connsiteX29" fmla="*/ 402241 w 1489995"/>
                <a:gd name="connsiteY29" fmla="*/ 1245680 h 1273968"/>
                <a:gd name="connsiteX30" fmla="*/ 399479 w 1489995"/>
                <a:gd name="connsiteY30" fmla="*/ 1249204 h 1273968"/>
                <a:gd name="connsiteX31" fmla="*/ 399859 w 1489995"/>
                <a:gd name="connsiteY31" fmla="*/ 1252347 h 1273968"/>
                <a:gd name="connsiteX32" fmla="*/ 400240 w 1489995"/>
                <a:gd name="connsiteY32" fmla="*/ 1255586 h 1273968"/>
                <a:gd name="connsiteX33" fmla="*/ 390620 w 1489995"/>
                <a:gd name="connsiteY33" fmla="*/ 1255205 h 1273968"/>
                <a:gd name="connsiteX34" fmla="*/ 383858 w 1489995"/>
                <a:gd name="connsiteY34" fmla="*/ 1252823 h 1273968"/>
                <a:gd name="connsiteX35" fmla="*/ 383286 w 1489995"/>
                <a:gd name="connsiteY35" fmla="*/ 1248061 h 1273968"/>
                <a:gd name="connsiteX36" fmla="*/ 379952 w 1489995"/>
                <a:gd name="connsiteY36" fmla="*/ 1246918 h 1273968"/>
                <a:gd name="connsiteX37" fmla="*/ 371284 w 1489995"/>
                <a:gd name="connsiteY37" fmla="*/ 1254443 h 1273968"/>
                <a:gd name="connsiteX38" fmla="*/ 372237 w 1489995"/>
                <a:gd name="connsiteY38" fmla="*/ 1262348 h 1273968"/>
                <a:gd name="connsiteX39" fmla="*/ 372237 w 1489995"/>
                <a:gd name="connsiteY39" fmla="*/ 1262348 h 1273968"/>
                <a:gd name="connsiteX40" fmla="*/ 370713 w 1489995"/>
                <a:gd name="connsiteY40" fmla="*/ 1262539 h 1273968"/>
                <a:gd name="connsiteX41" fmla="*/ 366331 w 1489995"/>
                <a:gd name="connsiteY41" fmla="*/ 1266254 h 1273968"/>
                <a:gd name="connsiteX42" fmla="*/ 365950 w 1489995"/>
                <a:gd name="connsiteY42" fmla="*/ 1263110 h 1273968"/>
                <a:gd name="connsiteX43" fmla="*/ 356711 w 1489995"/>
                <a:gd name="connsiteY43" fmla="*/ 1265873 h 1273968"/>
                <a:gd name="connsiteX44" fmla="*/ 354711 w 1489995"/>
                <a:gd name="connsiteY44" fmla="*/ 1262920 h 1273968"/>
                <a:gd name="connsiteX45" fmla="*/ 349948 w 1489995"/>
                <a:gd name="connsiteY45" fmla="*/ 1263587 h 1273968"/>
                <a:gd name="connsiteX46" fmla="*/ 349377 w 1489995"/>
                <a:gd name="connsiteY46" fmla="*/ 1258824 h 1273968"/>
                <a:gd name="connsiteX47" fmla="*/ 345853 w 1489995"/>
                <a:gd name="connsiteY47" fmla="*/ 1256062 h 1273968"/>
                <a:gd name="connsiteX48" fmla="*/ 344614 w 1489995"/>
                <a:gd name="connsiteY48" fmla="*/ 1259396 h 1273968"/>
                <a:gd name="connsiteX49" fmla="*/ 338328 w 1489995"/>
                <a:gd name="connsiteY49" fmla="*/ 1260253 h 1273968"/>
                <a:gd name="connsiteX50" fmla="*/ 342614 w 1489995"/>
                <a:gd name="connsiteY50" fmla="*/ 1256443 h 1273968"/>
                <a:gd name="connsiteX51" fmla="*/ 342233 w 1489995"/>
                <a:gd name="connsiteY51" fmla="*/ 1253300 h 1273968"/>
                <a:gd name="connsiteX52" fmla="*/ 345186 w 1489995"/>
                <a:gd name="connsiteY52" fmla="*/ 1251299 h 1273968"/>
                <a:gd name="connsiteX53" fmla="*/ 337280 w 1489995"/>
                <a:gd name="connsiteY53" fmla="*/ 1252347 h 1273968"/>
                <a:gd name="connsiteX54" fmla="*/ 335947 w 1489995"/>
                <a:gd name="connsiteY54" fmla="*/ 1254157 h 1273968"/>
                <a:gd name="connsiteX55" fmla="*/ 332422 w 1489995"/>
                <a:gd name="connsiteY55" fmla="*/ 1251395 h 1273968"/>
                <a:gd name="connsiteX56" fmla="*/ 330232 w 1489995"/>
                <a:gd name="connsiteY56" fmla="*/ 1246823 h 1273968"/>
                <a:gd name="connsiteX57" fmla="*/ 330994 w 1489995"/>
                <a:gd name="connsiteY57" fmla="*/ 1240346 h 1273968"/>
                <a:gd name="connsiteX58" fmla="*/ 320897 w 1489995"/>
                <a:gd name="connsiteY58" fmla="*/ 1236821 h 1273968"/>
                <a:gd name="connsiteX59" fmla="*/ 316325 w 1489995"/>
                <a:gd name="connsiteY59" fmla="*/ 1239012 h 1273968"/>
                <a:gd name="connsiteX60" fmla="*/ 316611 w 1489995"/>
                <a:gd name="connsiteY60" fmla="*/ 1240536 h 1273968"/>
                <a:gd name="connsiteX61" fmla="*/ 319945 w 1489995"/>
                <a:gd name="connsiteY61" fmla="*/ 1241679 h 1273968"/>
                <a:gd name="connsiteX62" fmla="*/ 315373 w 1489995"/>
                <a:gd name="connsiteY62" fmla="*/ 1243870 h 1273968"/>
                <a:gd name="connsiteX63" fmla="*/ 311658 w 1489995"/>
                <a:gd name="connsiteY63" fmla="*/ 1252347 h 1273968"/>
                <a:gd name="connsiteX64" fmla="*/ 308324 w 1489995"/>
                <a:gd name="connsiteY64" fmla="*/ 1251204 h 1273968"/>
                <a:gd name="connsiteX65" fmla="*/ 308515 w 1489995"/>
                <a:gd name="connsiteY65" fmla="*/ 1252823 h 1273968"/>
                <a:gd name="connsiteX66" fmla="*/ 306705 w 1489995"/>
                <a:gd name="connsiteY66" fmla="*/ 1251395 h 1273968"/>
                <a:gd name="connsiteX67" fmla="*/ 303943 w 1489995"/>
                <a:gd name="connsiteY67" fmla="*/ 1255014 h 1273968"/>
                <a:gd name="connsiteX68" fmla="*/ 302038 w 1489995"/>
                <a:gd name="connsiteY68" fmla="*/ 1252061 h 1273968"/>
                <a:gd name="connsiteX69" fmla="*/ 303371 w 1489995"/>
                <a:gd name="connsiteY69" fmla="*/ 1250252 h 1273968"/>
                <a:gd name="connsiteX70" fmla="*/ 301752 w 1489995"/>
                <a:gd name="connsiteY70" fmla="*/ 1250442 h 1273968"/>
                <a:gd name="connsiteX71" fmla="*/ 300418 w 1489995"/>
                <a:gd name="connsiteY71" fmla="*/ 1252252 h 1273968"/>
                <a:gd name="connsiteX72" fmla="*/ 298990 w 1489995"/>
                <a:gd name="connsiteY72" fmla="*/ 1253966 h 1273968"/>
                <a:gd name="connsiteX73" fmla="*/ 297656 w 1489995"/>
                <a:gd name="connsiteY73" fmla="*/ 1242917 h 1273968"/>
                <a:gd name="connsiteX74" fmla="*/ 296228 w 1489995"/>
                <a:gd name="connsiteY74" fmla="*/ 1244727 h 1273968"/>
                <a:gd name="connsiteX75" fmla="*/ 294513 w 1489995"/>
                <a:gd name="connsiteY75" fmla="*/ 1243394 h 1273968"/>
                <a:gd name="connsiteX76" fmla="*/ 291655 w 1489995"/>
                <a:gd name="connsiteY76" fmla="*/ 1234059 h 1273968"/>
                <a:gd name="connsiteX77" fmla="*/ 288512 w 1489995"/>
                <a:gd name="connsiteY77" fmla="*/ 1234535 h 1273968"/>
                <a:gd name="connsiteX78" fmla="*/ 290513 w 1489995"/>
                <a:gd name="connsiteY78" fmla="*/ 1237488 h 1273968"/>
                <a:gd name="connsiteX79" fmla="*/ 284226 w 1489995"/>
                <a:gd name="connsiteY79" fmla="*/ 1238250 h 1273968"/>
                <a:gd name="connsiteX80" fmla="*/ 284988 w 1489995"/>
                <a:gd name="connsiteY80" fmla="*/ 1244537 h 1273968"/>
                <a:gd name="connsiteX81" fmla="*/ 280225 w 1489995"/>
                <a:gd name="connsiteY81" fmla="*/ 1245203 h 1273968"/>
                <a:gd name="connsiteX82" fmla="*/ 280702 w 1489995"/>
                <a:gd name="connsiteY82" fmla="*/ 1248347 h 1273968"/>
                <a:gd name="connsiteX83" fmla="*/ 273748 w 1489995"/>
                <a:gd name="connsiteY83" fmla="*/ 1244441 h 1273968"/>
                <a:gd name="connsiteX84" fmla="*/ 267271 w 1489995"/>
                <a:gd name="connsiteY84" fmla="*/ 1243584 h 1273968"/>
                <a:gd name="connsiteX85" fmla="*/ 263747 w 1489995"/>
                <a:gd name="connsiteY85" fmla="*/ 1253681 h 1273968"/>
                <a:gd name="connsiteX86" fmla="*/ 262128 w 1489995"/>
                <a:gd name="connsiteY86" fmla="*/ 1253871 h 1273968"/>
                <a:gd name="connsiteX87" fmla="*/ 262128 w 1489995"/>
                <a:gd name="connsiteY87" fmla="*/ 1253871 h 1273968"/>
                <a:gd name="connsiteX88" fmla="*/ 252222 w 1489995"/>
                <a:gd name="connsiteY88" fmla="*/ 1251966 h 1273968"/>
                <a:gd name="connsiteX89" fmla="*/ 250507 w 1489995"/>
                <a:gd name="connsiteY89" fmla="*/ 1250537 h 1273968"/>
                <a:gd name="connsiteX90" fmla="*/ 251269 w 1489995"/>
                <a:gd name="connsiteY90" fmla="*/ 1244060 h 1273968"/>
                <a:gd name="connsiteX91" fmla="*/ 252603 w 1489995"/>
                <a:gd name="connsiteY91" fmla="*/ 1242251 h 1273968"/>
                <a:gd name="connsiteX92" fmla="*/ 254413 w 1489995"/>
                <a:gd name="connsiteY92" fmla="*/ 1230821 h 1273968"/>
                <a:gd name="connsiteX93" fmla="*/ 254984 w 1489995"/>
                <a:gd name="connsiteY93" fmla="*/ 1222724 h 1273968"/>
                <a:gd name="connsiteX94" fmla="*/ 249841 w 1489995"/>
                <a:gd name="connsiteY94" fmla="*/ 1220153 h 1273968"/>
                <a:gd name="connsiteX95" fmla="*/ 250412 w 1489995"/>
                <a:gd name="connsiteY95" fmla="*/ 1212056 h 1273968"/>
                <a:gd name="connsiteX96" fmla="*/ 239935 w 1489995"/>
                <a:gd name="connsiteY96" fmla="*/ 1205389 h 1273968"/>
                <a:gd name="connsiteX97" fmla="*/ 236791 w 1489995"/>
                <a:gd name="connsiteY97" fmla="*/ 1205770 h 1273968"/>
                <a:gd name="connsiteX98" fmla="*/ 231457 w 1489995"/>
                <a:gd name="connsiteY98" fmla="*/ 1214533 h 1273968"/>
                <a:gd name="connsiteX99" fmla="*/ 229648 w 1489995"/>
                <a:gd name="connsiteY99" fmla="*/ 1213104 h 1273968"/>
                <a:gd name="connsiteX100" fmla="*/ 234029 w 1489995"/>
                <a:gd name="connsiteY100" fmla="*/ 1209389 h 1273968"/>
                <a:gd name="connsiteX101" fmla="*/ 235744 w 1489995"/>
                <a:gd name="connsiteY101" fmla="*/ 1197959 h 1273968"/>
                <a:gd name="connsiteX102" fmla="*/ 233743 w 1489995"/>
                <a:gd name="connsiteY102" fmla="*/ 1195007 h 1273968"/>
                <a:gd name="connsiteX103" fmla="*/ 232029 w 1489995"/>
                <a:gd name="connsiteY103" fmla="*/ 1193578 h 1273968"/>
                <a:gd name="connsiteX104" fmla="*/ 234696 w 1489995"/>
                <a:gd name="connsiteY104" fmla="*/ 1177195 h 1273968"/>
                <a:gd name="connsiteX105" fmla="*/ 231934 w 1489995"/>
                <a:gd name="connsiteY105" fmla="*/ 1167956 h 1273968"/>
                <a:gd name="connsiteX106" fmla="*/ 236029 w 1489995"/>
                <a:gd name="connsiteY106" fmla="*/ 1162622 h 1273968"/>
                <a:gd name="connsiteX107" fmla="*/ 240030 w 1489995"/>
                <a:gd name="connsiteY107" fmla="*/ 1155668 h 1273968"/>
                <a:gd name="connsiteX108" fmla="*/ 239554 w 1489995"/>
                <a:gd name="connsiteY108" fmla="*/ 1139666 h 1273968"/>
                <a:gd name="connsiteX109" fmla="*/ 242125 w 1489995"/>
                <a:gd name="connsiteY109" fmla="*/ 1134523 h 1273968"/>
                <a:gd name="connsiteX110" fmla="*/ 242888 w 1489995"/>
                <a:gd name="connsiteY110" fmla="*/ 1128046 h 1273968"/>
                <a:gd name="connsiteX111" fmla="*/ 239173 w 1489995"/>
                <a:gd name="connsiteY111" fmla="*/ 1123760 h 1273968"/>
                <a:gd name="connsiteX112" fmla="*/ 234601 w 1489995"/>
                <a:gd name="connsiteY112" fmla="*/ 1125855 h 1273968"/>
                <a:gd name="connsiteX113" fmla="*/ 227933 w 1489995"/>
                <a:gd name="connsiteY113" fmla="*/ 1123569 h 1273968"/>
                <a:gd name="connsiteX114" fmla="*/ 227266 w 1489995"/>
                <a:gd name="connsiteY114" fmla="*/ 1118807 h 1273968"/>
                <a:gd name="connsiteX115" fmla="*/ 223742 w 1489995"/>
                <a:gd name="connsiteY115" fmla="*/ 1116044 h 1273968"/>
                <a:gd name="connsiteX116" fmla="*/ 219361 w 1489995"/>
                <a:gd name="connsiteY116" fmla="*/ 1119854 h 1273968"/>
                <a:gd name="connsiteX117" fmla="*/ 217837 w 1489995"/>
                <a:gd name="connsiteY117" fmla="*/ 1120045 h 1273968"/>
                <a:gd name="connsiteX118" fmla="*/ 210884 w 1489995"/>
                <a:gd name="connsiteY118" fmla="*/ 1116044 h 1273968"/>
                <a:gd name="connsiteX119" fmla="*/ 210502 w 1489995"/>
                <a:gd name="connsiteY119" fmla="*/ 1112901 h 1273968"/>
                <a:gd name="connsiteX120" fmla="*/ 213646 w 1489995"/>
                <a:gd name="connsiteY120" fmla="*/ 1112520 h 1273968"/>
                <a:gd name="connsiteX121" fmla="*/ 214789 w 1489995"/>
                <a:gd name="connsiteY121" fmla="*/ 1109186 h 1273968"/>
                <a:gd name="connsiteX122" fmla="*/ 205168 w 1489995"/>
                <a:gd name="connsiteY122" fmla="*/ 1108805 h 1273968"/>
                <a:gd name="connsiteX123" fmla="*/ 204788 w 1489995"/>
                <a:gd name="connsiteY123" fmla="*/ 1105662 h 1273968"/>
                <a:gd name="connsiteX124" fmla="*/ 200025 w 1489995"/>
                <a:gd name="connsiteY124" fmla="*/ 1106234 h 1273968"/>
                <a:gd name="connsiteX125" fmla="*/ 196501 w 1489995"/>
                <a:gd name="connsiteY125" fmla="*/ 1103471 h 1273968"/>
                <a:gd name="connsiteX126" fmla="*/ 193357 w 1489995"/>
                <a:gd name="connsiteY126" fmla="*/ 1103948 h 1273968"/>
                <a:gd name="connsiteX127" fmla="*/ 190881 w 1489995"/>
                <a:gd name="connsiteY127" fmla="*/ 1097756 h 1273968"/>
                <a:gd name="connsiteX128" fmla="*/ 187547 w 1489995"/>
                <a:gd name="connsiteY128" fmla="*/ 1096613 h 1273968"/>
                <a:gd name="connsiteX129" fmla="*/ 195643 w 1489995"/>
                <a:gd name="connsiteY129" fmla="*/ 1097185 h 1273968"/>
                <a:gd name="connsiteX130" fmla="*/ 202787 w 1489995"/>
                <a:gd name="connsiteY130" fmla="*/ 1102709 h 1273968"/>
                <a:gd name="connsiteX131" fmla="*/ 210693 w 1489995"/>
                <a:gd name="connsiteY131" fmla="*/ 1101662 h 1273968"/>
                <a:gd name="connsiteX132" fmla="*/ 212026 w 1489995"/>
                <a:gd name="connsiteY132" fmla="*/ 1099947 h 1273968"/>
                <a:gd name="connsiteX133" fmla="*/ 216789 w 1489995"/>
                <a:gd name="connsiteY133" fmla="*/ 1099280 h 1273968"/>
                <a:gd name="connsiteX134" fmla="*/ 219742 w 1489995"/>
                <a:gd name="connsiteY134" fmla="*/ 1097280 h 1273968"/>
                <a:gd name="connsiteX135" fmla="*/ 216408 w 1489995"/>
                <a:gd name="connsiteY135" fmla="*/ 1096137 h 1273968"/>
                <a:gd name="connsiteX136" fmla="*/ 209836 w 1489995"/>
                <a:gd name="connsiteY136" fmla="*/ 1082516 h 1273968"/>
                <a:gd name="connsiteX137" fmla="*/ 200120 w 1489995"/>
                <a:gd name="connsiteY137" fmla="*/ 1082135 h 1273968"/>
                <a:gd name="connsiteX138" fmla="*/ 196405 w 1489995"/>
                <a:gd name="connsiteY138" fmla="*/ 1077849 h 1273968"/>
                <a:gd name="connsiteX139" fmla="*/ 198977 w 1489995"/>
                <a:gd name="connsiteY139" fmla="*/ 1072706 h 1273968"/>
                <a:gd name="connsiteX140" fmla="*/ 196977 w 1489995"/>
                <a:gd name="connsiteY140" fmla="*/ 1069753 h 1273968"/>
                <a:gd name="connsiteX141" fmla="*/ 198120 w 1489995"/>
                <a:gd name="connsiteY141" fmla="*/ 1066419 h 1273968"/>
                <a:gd name="connsiteX142" fmla="*/ 200120 w 1489995"/>
                <a:gd name="connsiteY142" fmla="*/ 1069372 h 1273968"/>
                <a:gd name="connsiteX143" fmla="*/ 200311 w 1489995"/>
                <a:gd name="connsiteY143" fmla="*/ 1070896 h 1273968"/>
                <a:gd name="connsiteX144" fmla="*/ 202120 w 1489995"/>
                <a:gd name="connsiteY144" fmla="*/ 1072325 h 1273968"/>
                <a:gd name="connsiteX145" fmla="*/ 204883 w 1489995"/>
                <a:gd name="connsiteY145" fmla="*/ 1068705 h 1273968"/>
                <a:gd name="connsiteX146" fmla="*/ 205073 w 1489995"/>
                <a:gd name="connsiteY146" fmla="*/ 1070324 h 1273968"/>
                <a:gd name="connsiteX147" fmla="*/ 206692 w 1489995"/>
                <a:gd name="connsiteY147" fmla="*/ 1070134 h 1273968"/>
                <a:gd name="connsiteX148" fmla="*/ 206692 w 1489995"/>
                <a:gd name="connsiteY148" fmla="*/ 1070134 h 1273968"/>
                <a:gd name="connsiteX149" fmla="*/ 208026 w 1489995"/>
                <a:gd name="connsiteY149" fmla="*/ 1068324 h 1273968"/>
                <a:gd name="connsiteX150" fmla="*/ 215741 w 1489995"/>
                <a:gd name="connsiteY150" fmla="*/ 1065752 h 1273968"/>
                <a:gd name="connsiteX151" fmla="*/ 219075 w 1489995"/>
                <a:gd name="connsiteY151" fmla="*/ 1066895 h 1273968"/>
                <a:gd name="connsiteX152" fmla="*/ 226123 w 1489995"/>
                <a:gd name="connsiteY152" fmla="*/ 1059656 h 1273968"/>
                <a:gd name="connsiteX153" fmla="*/ 221456 w 1489995"/>
                <a:gd name="connsiteY153" fmla="*/ 1060228 h 1273968"/>
                <a:gd name="connsiteX154" fmla="*/ 220789 w 1489995"/>
                <a:gd name="connsiteY154" fmla="*/ 1055465 h 1273968"/>
                <a:gd name="connsiteX155" fmla="*/ 216122 w 1489995"/>
                <a:gd name="connsiteY155" fmla="*/ 1056132 h 1273968"/>
                <a:gd name="connsiteX156" fmla="*/ 215932 w 1489995"/>
                <a:gd name="connsiteY156" fmla="*/ 1054513 h 1273968"/>
                <a:gd name="connsiteX157" fmla="*/ 212503 w 1489995"/>
                <a:gd name="connsiteY157" fmla="*/ 1053370 h 1273968"/>
                <a:gd name="connsiteX158" fmla="*/ 208026 w 1489995"/>
                <a:gd name="connsiteY158" fmla="*/ 1055561 h 1273968"/>
                <a:gd name="connsiteX159" fmla="*/ 210788 w 1489995"/>
                <a:gd name="connsiteY159" fmla="*/ 1051941 h 1273968"/>
                <a:gd name="connsiteX160" fmla="*/ 207359 w 1489995"/>
                <a:gd name="connsiteY160" fmla="*/ 1050798 h 1273968"/>
                <a:gd name="connsiteX161" fmla="*/ 203073 w 1489995"/>
                <a:gd name="connsiteY161" fmla="*/ 1054513 h 1273968"/>
                <a:gd name="connsiteX162" fmla="*/ 201073 w 1489995"/>
                <a:gd name="connsiteY162" fmla="*/ 1051560 h 1273968"/>
                <a:gd name="connsiteX163" fmla="*/ 198120 w 1489995"/>
                <a:gd name="connsiteY163" fmla="*/ 1053560 h 1273968"/>
                <a:gd name="connsiteX164" fmla="*/ 196977 w 1489995"/>
                <a:gd name="connsiteY164" fmla="*/ 1056894 h 1273968"/>
                <a:gd name="connsiteX165" fmla="*/ 194024 w 1489995"/>
                <a:gd name="connsiteY165" fmla="*/ 1058894 h 1273968"/>
                <a:gd name="connsiteX166" fmla="*/ 194405 w 1489995"/>
                <a:gd name="connsiteY166" fmla="*/ 1062037 h 1273968"/>
                <a:gd name="connsiteX167" fmla="*/ 189452 w 1489995"/>
                <a:gd name="connsiteY167" fmla="*/ 1061085 h 1273968"/>
                <a:gd name="connsiteX168" fmla="*/ 186690 w 1489995"/>
                <a:gd name="connsiteY168" fmla="*/ 1051846 h 1273968"/>
                <a:gd name="connsiteX169" fmla="*/ 190024 w 1489995"/>
                <a:gd name="connsiteY169" fmla="*/ 1052989 h 1273968"/>
                <a:gd name="connsiteX170" fmla="*/ 189833 w 1489995"/>
                <a:gd name="connsiteY170" fmla="*/ 1051465 h 1273968"/>
                <a:gd name="connsiteX171" fmla="*/ 186499 w 1489995"/>
                <a:gd name="connsiteY171" fmla="*/ 1050227 h 1273968"/>
                <a:gd name="connsiteX172" fmla="*/ 190595 w 1489995"/>
                <a:gd name="connsiteY172" fmla="*/ 1044893 h 1273968"/>
                <a:gd name="connsiteX173" fmla="*/ 186690 w 1489995"/>
                <a:gd name="connsiteY173" fmla="*/ 1038987 h 1273968"/>
                <a:gd name="connsiteX174" fmla="*/ 189166 w 1489995"/>
                <a:gd name="connsiteY174" fmla="*/ 1033844 h 1273968"/>
                <a:gd name="connsiteX175" fmla="*/ 198311 w 1489995"/>
                <a:gd name="connsiteY175" fmla="*/ 1029462 h 1273968"/>
                <a:gd name="connsiteX176" fmla="*/ 205740 w 1489995"/>
                <a:gd name="connsiteY176" fmla="*/ 1012507 h 1273968"/>
                <a:gd name="connsiteX177" fmla="*/ 228409 w 1489995"/>
                <a:gd name="connsiteY177" fmla="*/ 1001649 h 1273968"/>
                <a:gd name="connsiteX178" fmla="*/ 232886 w 1489995"/>
                <a:gd name="connsiteY178" fmla="*/ 999458 h 1273968"/>
                <a:gd name="connsiteX179" fmla="*/ 239268 w 1489995"/>
                <a:gd name="connsiteY179" fmla="*/ 998601 h 1273968"/>
                <a:gd name="connsiteX180" fmla="*/ 236125 w 1489995"/>
                <a:gd name="connsiteY180" fmla="*/ 998982 h 1273968"/>
                <a:gd name="connsiteX181" fmla="*/ 236887 w 1489995"/>
                <a:gd name="connsiteY181" fmla="*/ 1005364 h 1273968"/>
                <a:gd name="connsiteX182" fmla="*/ 238696 w 1489995"/>
                <a:gd name="connsiteY182" fmla="*/ 1006697 h 1273968"/>
                <a:gd name="connsiteX183" fmla="*/ 243554 w 1489995"/>
                <a:gd name="connsiteY183" fmla="*/ 1007650 h 1273968"/>
                <a:gd name="connsiteX184" fmla="*/ 245745 w 1489995"/>
                <a:gd name="connsiteY184" fmla="*/ 1012222 h 1273968"/>
                <a:gd name="connsiteX185" fmla="*/ 247364 w 1489995"/>
                <a:gd name="connsiteY185" fmla="*/ 1012031 h 1273968"/>
                <a:gd name="connsiteX186" fmla="*/ 247555 w 1489995"/>
                <a:gd name="connsiteY186" fmla="*/ 1013555 h 1273968"/>
                <a:gd name="connsiteX187" fmla="*/ 252317 w 1489995"/>
                <a:gd name="connsiteY187" fmla="*/ 1012984 h 1273968"/>
                <a:gd name="connsiteX188" fmla="*/ 254032 w 1489995"/>
                <a:gd name="connsiteY188" fmla="*/ 1014317 h 1273968"/>
                <a:gd name="connsiteX189" fmla="*/ 255079 w 1489995"/>
                <a:gd name="connsiteY189" fmla="*/ 1009460 h 1273968"/>
                <a:gd name="connsiteX190" fmla="*/ 256603 w 1489995"/>
                <a:gd name="connsiteY190" fmla="*/ 1009269 h 1273968"/>
                <a:gd name="connsiteX191" fmla="*/ 256222 w 1489995"/>
                <a:gd name="connsiteY191" fmla="*/ 1006031 h 1273968"/>
                <a:gd name="connsiteX192" fmla="*/ 257556 w 1489995"/>
                <a:gd name="connsiteY192" fmla="*/ 1004316 h 1273968"/>
                <a:gd name="connsiteX193" fmla="*/ 258413 w 1489995"/>
                <a:gd name="connsiteY193" fmla="*/ 997744 h 1273968"/>
                <a:gd name="connsiteX194" fmla="*/ 261366 w 1489995"/>
                <a:gd name="connsiteY194" fmla="*/ 995839 h 1273968"/>
                <a:gd name="connsiteX195" fmla="*/ 263652 w 1489995"/>
                <a:gd name="connsiteY195" fmla="*/ 989076 h 1273968"/>
                <a:gd name="connsiteX196" fmla="*/ 266795 w 1489995"/>
                <a:gd name="connsiteY196" fmla="*/ 988695 h 1273968"/>
                <a:gd name="connsiteX197" fmla="*/ 272986 w 1489995"/>
                <a:gd name="connsiteY197" fmla="*/ 986314 h 1273968"/>
                <a:gd name="connsiteX198" fmla="*/ 272510 w 1489995"/>
                <a:gd name="connsiteY198" fmla="*/ 983170 h 1273968"/>
                <a:gd name="connsiteX199" fmla="*/ 274320 w 1489995"/>
                <a:gd name="connsiteY199" fmla="*/ 984504 h 1273968"/>
                <a:gd name="connsiteX200" fmla="*/ 275749 w 1489995"/>
                <a:gd name="connsiteY200" fmla="*/ 982790 h 1273968"/>
                <a:gd name="connsiteX201" fmla="*/ 278892 w 1489995"/>
                <a:gd name="connsiteY201" fmla="*/ 982313 h 1273968"/>
                <a:gd name="connsiteX202" fmla="*/ 283178 w 1489995"/>
                <a:gd name="connsiteY202" fmla="*/ 978599 h 1273968"/>
                <a:gd name="connsiteX203" fmla="*/ 284988 w 1489995"/>
                <a:gd name="connsiteY203" fmla="*/ 979932 h 1273968"/>
                <a:gd name="connsiteX204" fmla="*/ 288893 w 1489995"/>
                <a:gd name="connsiteY204" fmla="*/ 973074 h 1273968"/>
                <a:gd name="connsiteX205" fmla="*/ 286703 w 1489995"/>
                <a:gd name="connsiteY205" fmla="*/ 968502 h 1273968"/>
                <a:gd name="connsiteX206" fmla="*/ 281559 w 1489995"/>
                <a:gd name="connsiteY206" fmla="*/ 965930 h 1273968"/>
                <a:gd name="connsiteX207" fmla="*/ 279559 w 1489995"/>
                <a:gd name="connsiteY207" fmla="*/ 962978 h 1273968"/>
                <a:gd name="connsiteX208" fmla="*/ 276225 w 1489995"/>
                <a:gd name="connsiteY208" fmla="*/ 961835 h 1273968"/>
                <a:gd name="connsiteX209" fmla="*/ 273272 w 1489995"/>
                <a:gd name="connsiteY209" fmla="*/ 963835 h 1273968"/>
                <a:gd name="connsiteX210" fmla="*/ 271939 w 1489995"/>
                <a:gd name="connsiteY210" fmla="*/ 965549 h 1273968"/>
                <a:gd name="connsiteX211" fmla="*/ 266033 w 1489995"/>
                <a:gd name="connsiteY211" fmla="*/ 969550 h 1273968"/>
                <a:gd name="connsiteX212" fmla="*/ 264223 w 1489995"/>
                <a:gd name="connsiteY212" fmla="*/ 968121 h 1273968"/>
                <a:gd name="connsiteX213" fmla="*/ 264795 w 1489995"/>
                <a:gd name="connsiteY213" fmla="*/ 960120 h 1273968"/>
                <a:gd name="connsiteX214" fmla="*/ 274034 w 1489995"/>
                <a:gd name="connsiteY214" fmla="*/ 957262 h 1273968"/>
                <a:gd name="connsiteX215" fmla="*/ 277178 w 1489995"/>
                <a:gd name="connsiteY215" fmla="*/ 944023 h 1273968"/>
                <a:gd name="connsiteX216" fmla="*/ 276415 w 1489995"/>
                <a:gd name="connsiteY216" fmla="*/ 937736 h 1273968"/>
                <a:gd name="connsiteX217" fmla="*/ 272605 w 1489995"/>
                <a:gd name="connsiteY217" fmla="*/ 933450 h 1273968"/>
                <a:gd name="connsiteX218" fmla="*/ 272224 w 1489995"/>
                <a:gd name="connsiteY218" fmla="*/ 930307 h 1273968"/>
                <a:gd name="connsiteX219" fmla="*/ 269843 w 1489995"/>
                <a:gd name="connsiteY219" fmla="*/ 924115 h 1273968"/>
                <a:gd name="connsiteX220" fmla="*/ 270796 w 1489995"/>
                <a:gd name="connsiteY220" fmla="*/ 919258 h 1273968"/>
                <a:gd name="connsiteX221" fmla="*/ 280321 w 1489995"/>
                <a:gd name="connsiteY221" fmla="*/ 918020 h 1273968"/>
                <a:gd name="connsiteX222" fmla="*/ 279463 w 1489995"/>
                <a:gd name="connsiteY222" fmla="*/ 911733 h 1273968"/>
                <a:gd name="connsiteX223" fmla="*/ 285369 w 1489995"/>
                <a:gd name="connsiteY223" fmla="*/ 907732 h 1273968"/>
                <a:gd name="connsiteX224" fmla="*/ 282226 w 1489995"/>
                <a:gd name="connsiteY224" fmla="*/ 908114 h 1273968"/>
                <a:gd name="connsiteX225" fmla="*/ 284416 w 1489995"/>
                <a:gd name="connsiteY225" fmla="*/ 899827 h 1273968"/>
                <a:gd name="connsiteX226" fmla="*/ 277463 w 1489995"/>
                <a:gd name="connsiteY226" fmla="*/ 895922 h 1273968"/>
                <a:gd name="connsiteX227" fmla="*/ 276415 w 1489995"/>
                <a:gd name="connsiteY227" fmla="*/ 888016 h 1273968"/>
                <a:gd name="connsiteX228" fmla="*/ 283369 w 1489995"/>
                <a:gd name="connsiteY228" fmla="*/ 879157 h 1273968"/>
                <a:gd name="connsiteX229" fmla="*/ 281368 w 1489995"/>
                <a:gd name="connsiteY229" fmla="*/ 876205 h 1273968"/>
                <a:gd name="connsiteX230" fmla="*/ 277654 w 1489995"/>
                <a:gd name="connsiteY230" fmla="*/ 871823 h 1273968"/>
                <a:gd name="connsiteX231" fmla="*/ 280321 w 1489995"/>
                <a:gd name="connsiteY231" fmla="*/ 868299 h 1273968"/>
                <a:gd name="connsiteX232" fmla="*/ 283750 w 1489995"/>
                <a:gd name="connsiteY232" fmla="*/ 869442 h 1273968"/>
                <a:gd name="connsiteX233" fmla="*/ 287464 w 1489995"/>
                <a:gd name="connsiteY233" fmla="*/ 860965 h 1273968"/>
                <a:gd name="connsiteX234" fmla="*/ 283464 w 1489995"/>
                <a:gd name="connsiteY234" fmla="*/ 855059 h 1273968"/>
                <a:gd name="connsiteX235" fmla="*/ 286607 w 1489995"/>
                <a:gd name="connsiteY235" fmla="*/ 854678 h 1273968"/>
                <a:gd name="connsiteX236" fmla="*/ 285464 w 1489995"/>
                <a:gd name="connsiteY236" fmla="*/ 845153 h 1273968"/>
                <a:gd name="connsiteX237" fmla="*/ 287179 w 1489995"/>
                <a:gd name="connsiteY237" fmla="*/ 846582 h 1273968"/>
                <a:gd name="connsiteX238" fmla="*/ 290417 w 1489995"/>
                <a:gd name="connsiteY238" fmla="*/ 846201 h 1273968"/>
                <a:gd name="connsiteX239" fmla="*/ 290132 w 1489995"/>
                <a:gd name="connsiteY239" fmla="*/ 844582 h 1273968"/>
                <a:gd name="connsiteX240" fmla="*/ 290417 w 1489995"/>
                <a:gd name="connsiteY240" fmla="*/ 846201 h 1273968"/>
                <a:gd name="connsiteX241" fmla="*/ 291941 w 1489995"/>
                <a:gd name="connsiteY241" fmla="*/ 845915 h 1273968"/>
                <a:gd name="connsiteX242" fmla="*/ 293370 w 1489995"/>
                <a:gd name="connsiteY242" fmla="*/ 844201 h 1273968"/>
                <a:gd name="connsiteX243" fmla="*/ 296704 w 1489995"/>
                <a:gd name="connsiteY243" fmla="*/ 845344 h 1273968"/>
                <a:gd name="connsiteX244" fmla="*/ 299657 w 1489995"/>
                <a:gd name="connsiteY244" fmla="*/ 843344 h 1273968"/>
                <a:gd name="connsiteX245" fmla="*/ 300228 w 1489995"/>
                <a:gd name="connsiteY245" fmla="*/ 848106 h 1273968"/>
                <a:gd name="connsiteX246" fmla="*/ 303181 w 1489995"/>
                <a:gd name="connsiteY246" fmla="*/ 846106 h 1273968"/>
                <a:gd name="connsiteX247" fmla="*/ 299657 w 1489995"/>
                <a:gd name="connsiteY247" fmla="*/ 830580 h 1273968"/>
                <a:gd name="connsiteX248" fmla="*/ 298037 w 1489995"/>
                <a:gd name="connsiteY248" fmla="*/ 817912 h 1273968"/>
                <a:gd name="connsiteX249" fmla="*/ 295656 w 1489995"/>
                <a:gd name="connsiteY249" fmla="*/ 811816 h 1273968"/>
                <a:gd name="connsiteX250" fmla="*/ 296609 w 1489995"/>
                <a:gd name="connsiteY250" fmla="*/ 806863 h 1273968"/>
                <a:gd name="connsiteX251" fmla="*/ 296228 w 1489995"/>
                <a:gd name="connsiteY251" fmla="*/ 803720 h 1273968"/>
                <a:gd name="connsiteX252" fmla="*/ 294418 w 1489995"/>
                <a:gd name="connsiteY252" fmla="*/ 802386 h 1273968"/>
                <a:gd name="connsiteX253" fmla="*/ 292417 w 1489995"/>
                <a:gd name="connsiteY253" fmla="*/ 799433 h 1273968"/>
                <a:gd name="connsiteX254" fmla="*/ 293656 w 1489995"/>
                <a:gd name="connsiteY254" fmla="*/ 796004 h 1273968"/>
                <a:gd name="connsiteX255" fmla="*/ 294799 w 1489995"/>
                <a:gd name="connsiteY255" fmla="*/ 792670 h 1273968"/>
                <a:gd name="connsiteX256" fmla="*/ 293941 w 1489995"/>
                <a:gd name="connsiteY256" fmla="*/ 786384 h 1273968"/>
                <a:gd name="connsiteX257" fmla="*/ 292227 w 1489995"/>
                <a:gd name="connsiteY257" fmla="*/ 784955 h 1273968"/>
                <a:gd name="connsiteX258" fmla="*/ 294799 w 1489995"/>
                <a:gd name="connsiteY258" fmla="*/ 779812 h 1273968"/>
                <a:gd name="connsiteX259" fmla="*/ 302419 w 1489995"/>
                <a:gd name="connsiteY259" fmla="*/ 777240 h 1273968"/>
                <a:gd name="connsiteX260" fmla="*/ 291370 w 1489995"/>
                <a:gd name="connsiteY260" fmla="*/ 778669 h 1273968"/>
                <a:gd name="connsiteX261" fmla="*/ 286226 w 1489995"/>
                <a:gd name="connsiteY261" fmla="*/ 776097 h 1273968"/>
                <a:gd name="connsiteX262" fmla="*/ 274034 w 1489995"/>
                <a:gd name="connsiteY262" fmla="*/ 768096 h 1273968"/>
                <a:gd name="connsiteX263" fmla="*/ 270034 w 1489995"/>
                <a:gd name="connsiteY263" fmla="*/ 762190 h 1273968"/>
                <a:gd name="connsiteX264" fmla="*/ 256984 w 1489995"/>
                <a:gd name="connsiteY264" fmla="*/ 760571 h 1273968"/>
                <a:gd name="connsiteX265" fmla="*/ 251841 w 1489995"/>
                <a:gd name="connsiteY265" fmla="*/ 758095 h 1273968"/>
                <a:gd name="connsiteX266" fmla="*/ 245936 w 1489995"/>
                <a:gd name="connsiteY266" fmla="*/ 762000 h 1273968"/>
                <a:gd name="connsiteX267" fmla="*/ 239459 w 1489995"/>
                <a:gd name="connsiteY267" fmla="*/ 761238 h 1273968"/>
                <a:gd name="connsiteX268" fmla="*/ 240792 w 1489995"/>
                <a:gd name="connsiteY268" fmla="*/ 759428 h 1273968"/>
                <a:gd name="connsiteX269" fmla="*/ 239077 w 1489995"/>
                <a:gd name="connsiteY269" fmla="*/ 758095 h 1273968"/>
                <a:gd name="connsiteX270" fmla="*/ 240411 w 1489995"/>
                <a:gd name="connsiteY270" fmla="*/ 756285 h 1273968"/>
                <a:gd name="connsiteX271" fmla="*/ 244030 w 1489995"/>
                <a:gd name="connsiteY271" fmla="*/ 759047 h 1273968"/>
                <a:gd name="connsiteX272" fmla="*/ 245554 w 1489995"/>
                <a:gd name="connsiteY272" fmla="*/ 758857 h 1273968"/>
                <a:gd name="connsiteX273" fmla="*/ 245745 w 1489995"/>
                <a:gd name="connsiteY273" fmla="*/ 747617 h 1273968"/>
                <a:gd name="connsiteX274" fmla="*/ 246507 w 1489995"/>
                <a:gd name="connsiteY274" fmla="*/ 741140 h 1273968"/>
                <a:gd name="connsiteX275" fmla="*/ 244697 w 1489995"/>
                <a:gd name="connsiteY275" fmla="*/ 739711 h 1273968"/>
                <a:gd name="connsiteX276" fmla="*/ 243745 w 1489995"/>
                <a:gd name="connsiteY276" fmla="*/ 731806 h 1273968"/>
                <a:gd name="connsiteX277" fmla="*/ 237649 w 1489995"/>
                <a:gd name="connsiteY277" fmla="*/ 734187 h 1273968"/>
                <a:gd name="connsiteX278" fmla="*/ 232505 w 1489995"/>
                <a:gd name="connsiteY278" fmla="*/ 731615 h 1273968"/>
                <a:gd name="connsiteX279" fmla="*/ 225742 w 1489995"/>
                <a:gd name="connsiteY279" fmla="*/ 729329 h 1273968"/>
                <a:gd name="connsiteX280" fmla="*/ 216503 w 1489995"/>
                <a:gd name="connsiteY280" fmla="*/ 732091 h 1273968"/>
                <a:gd name="connsiteX281" fmla="*/ 211931 w 1489995"/>
                <a:gd name="connsiteY281" fmla="*/ 734282 h 1273968"/>
                <a:gd name="connsiteX282" fmla="*/ 211931 w 1489995"/>
                <a:gd name="connsiteY282" fmla="*/ 734282 h 1273968"/>
                <a:gd name="connsiteX283" fmla="*/ 210407 w 1489995"/>
                <a:gd name="connsiteY283" fmla="*/ 734473 h 1273968"/>
                <a:gd name="connsiteX284" fmla="*/ 209359 w 1489995"/>
                <a:gd name="connsiteY284" fmla="*/ 726567 h 1273968"/>
                <a:gd name="connsiteX285" fmla="*/ 204978 w 1489995"/>
                <a:gd name="connsiteY285" fmla="*/ 717518 h 1273968"/>
                <a:gd name="connsiteX286" fmla="*/ 201644 w 1489995"/>
                <a:gd name="connsiteY286" fmla="*/ 716375 h 1273968"/>
                <a:gd name="connsiteX287" fmla="*/ 198691 w 1489995"/>
                <a:gd name="connsiteY287" fmla="*/ 718280 h 1273968"/>
                <a:gd name="connsiteX288" fmla="*/ 196977 w 1489995"/>
                <a:gd name="connsiteY288" fmla="*/ 716947 h 1273968"/>
                <a:gd name="connsiteX289" fmla="*/ 192976 w 1489995"/>
                <a:gd name="connsiteY289" fmla="*/ 711041 h 1273968"/>
                <a:gd name="connsiteX290" fmla="*/ 189833 w 1489995"/>
                <a:gd name="connsiteY290" fmla="*/ 711422 h 1273968"/>
                <a:gd name="connsiteX291" fmla="*/ 187833 w 1489995"/>
                <a:gd name="connsiteY291" fmla="*/ 695611 h 1273968"/>
                <a:gd name="connsiteX292" fmla="*/ 182880 w 1489995"/>
                <a:gd name="connsiteY292" fmla="*/ 694658 h 1273968"/>
                <a:gd name="connsiteX293" fmla="*/ 178879 w 1489995"/>
                <a:gd name="connsiteY293" fmla="*/ 688753 h 1273968"/>
                <a:gd name="connsiteX294" fmla="*/ 175736 w 1489995"/>
                <a:gd name="connsiteY294" fmla="*/ 689134 h 1273968"/>
                <a:gd name="connsiteX295" fmla="*/ 172402 w 1489995"/>
                <a:gd name="connsiteY295" fmla="*/ 687991 h 1273968"/>
                <a:gd name="connsiteX296" fmla="*/ 169640 w 1489995"/>
                <a:gd name="connsiteY296" fmla="*/ 691515 h 1273968"/>
                <a:gd name="connsiteX297" fmla="*/ 168021 w 1489995"/>
                <a:gd name="connsiteY297" fmla="*/ 691801 h 1273968"/>
                <a:gd name="connsiteX298" fmla="*/ 166497 w 1489995"/>
                <a:gd name="connsiteY298" fmla="*/ 691991 h 1273968"/>
                <a:gd name="connsiteX299" fmla="*/ 163163 w 1489995"/>
                <a:gd name="connsiteY299" fmla="*/ 690753 h 1273968"/>
                <a:gd name="connsiteX300" fmla="*/ 161734 w 1489995"/>
                <a:gd name="connsiteY300" fmla="*/ 692563 h 1273968"/>
                <a:gd name="connsiteX301" fmla="*/ 163925 w 1489995"/>
                <a:gd name="connsiteY301" fmla="*/ 697135 h 1273968"/>
                <a:gd name="connsiteX302" fmla="*/ 144970 w 1489995"/>
                <a:gd name="connsiteY302" fmla="*/ 699516 h 1273968"/>
                <a:gd name="connsiteX303" fmla="*/ 139827 w 1489995"/>
                <a:gd name="connsiteY303" fmla="*/ 696944 h 1273968"/>
                <a:gd name="connsiteX304" fmla="*/ 118777 w 1489995"/>
                <a:gd name="connsiteY304" fmla="*/ 694849 h 1273968"/>
                <a:gd name="connsiteX305" fmla="*/ 118300 w 1489995"/>
                <a:gd name="connsiteY305" fmla="*/ 691706 h 1273968"/>
                <a:gd name="connsiteX306" fmla="*/ 114967 w 1489995"/>
                <a:gd name="connsiteY306" fmla="*/ 690467 h 1273968"/>
                <a:gd name="connsiteX307" fmla="*/ 114586 w 1489995"/>
                <a:gd name="connsiteY307" fmla="*/ 687324 h 1273968"/>
                <a:gd name="connsiteX308" fmla="*/ 109252 w 1489995"/>
                <a:gd name="connsiteY308" fmla="*/ 683228 h 1273968"/>
                <a:gd name="connsiteX309" fmla="*/ 110585 w 1489995"/>
                <a:gd name="connsiteY309" fmla="*/ 681419 h 1273968"/>
                <a:gd name="connsiteX310" fmla="*/ 108680 w 1489995"/>
                <a:gd name="connsiteY310" fmla="*/ 678466 h 1273968"/>
                <a:gd name="connsiteX311" fmla="*/ 103537 w 1489995"/>
                <a:gd name="connsiteY311" fmla="*/ 675894 h 1273968"/>
                <a:gd name="connsiteX312" fmla="*/ 99917 w 1489995"/>
                <a:gd name="connsiteY312" fmla="*/ 673132 h 1273968"/>
                <a:gd name="connsiteX313" fmla="*/ 98393 w 1489995"/>
                <a:gd name="connsiteY313" fmla="*/ 673322 h 1273968"/>
                <a:gd name="connsiteX314" fmla="*/ 94774 w 1489995"/>
                <a:gd name="connsiteY314" fmla="*/ 670655 h 1273968"/>
                <a:gd name="connsiteX315" fmla="*/ 85534 w 1489995"/>
                <a:gd name="connsiteY315" fmla="*/ 673418 h 1273968"/>
                <a:gd name="connsiteX316" fmla="*/ 82772 w 1489995"/>
                <a:gd name="connsiteY316" fmla="*/ 664178 h 1273968"/>
                <a:gd name="connsiteX317" fmla="*/ 78010 w 1489995"/>
                <a:gd name="connsiteY317" fmla="*/ 664750 h 1273968"/>
                <a:gd name="connsiteX318" fmla="*/ 72866 w 1489995"/>
                <a:gd name="connsiteY318" fmla="*/ 662178 h 1273968"/>
                <a:gd name="connsiteX319" fmla="*/ 73438 w 1489995"/>
                <a:gd name="connsiteY319" fmla="*/ 654082 h 1273968"/>
                <a:gd name="connsiteX320" fmla="*/ 76771 w 1489995"/>
                <a:gd name="connsiteY320" fmla="*/ 655225 h 1273968"/>
                <a:gd name="connsiteX321" fmla="*/ 78010 w 1489995"/>
                <a:gd name="connsiteY321" fmla="*/ 651891 h 1273968"/>
                <a:gd name="connsiteX322" fmla="*/ 89249 w 1489995"/>
                <a:gd name="connsiteY322" fmla="*/ 652082 h 1273968"/>
                <a:gd name="connsiteX323" fmla="*/ 97726 w 1489995"/>
                <a:gd name="connsiteY323" fmla="*/ 655796 h 1273968"/>
                <a:gd name="connsiteX324" fmla="*/ 97345 w 1489995"/>
                <a:gd name="connsiteY324" fmla="*/ 652653 h 1273968"/>
                <a:gd name="connsiteX325" fmla="*/ 90583 w 1489995"/>
                <a:gd name="connsiteY325" fmla="*/ 650272 h 1273968"/>
                <a:gd name="connsiteX326" fmla="*/ 89059 w 1489995"/>
                <a:gd name="connsiteY326" fmla="*/ 650462 h 1273968"/>
                <a:gd name="connsiteX327" fmla="*/ 86296 w 1489995"/>
                <a:gd name="connsiteY327" fmla="*/ 641223 h 1273968"/>
                <a:gd name="connsiteX328" fmla="*/ 82867 w 1489995"/>
                <a:gd name="connsiteY328" fmla="*/ 640080 h 1273968"/>
                <a:gd name="connsiteX329" fmla="*/ 70294 w 1489995"/>
                <a:gd name="connsiteY329" fmla="*/ 641699 h 1273968"/>
                <a:gd name="connsiteX330" fmla="*/ 66294 w 1489995"/>
                <a:gd name="connsiteY330" fmla="*/ 648557 h 1273968"/>
                <a:gd name="connsiteX331" fmla="*/ 60007 w 1489995"/>
                <a:gd name="connsiteY331" fmla="*/ 649415 h 1273968"/>
                <a:gd name="connsiteX332" fmla="*/ 56483 w 1489995"/>
                <a:gd name="connsiteY332" fmla="*/ 646652 h 1273968"/>
                <a:gd name="connsiteX333" fmla="*/ 57626 w 1489995"/>
                <a:gd name="connsiteY333" fmla="*/ 643319 h 1273968"/>
                <a:gd name="connsiteX334" fmla="*/ 57245 w 1489995"/>
                <a:gd name="connsiteY334" fmla="*/ 640080 h 1273968"/>
                <a:gd name="connsiteX335" fmla="*/ 54292 w 1489995"/>
                <a:gd name="connsiteY335" fmla="*/ 642080 h 1273968"/>
                <a:gd name="connsiteX336" fmla="*/ 52102 w 1489995"/>
                <a:gd name="connsiteY336" fmla="*/ 637604 h 1273968"/>
                <a:gd name="connsiteX337" fmla="*/ 47815 w 1489995"/>
                <a:gd name="connsiteY337" fmla="*/ 641318 h 1273968"/>
                <a:gd name="connsiteX338" fmla="*/ 32956 w 1489995"/>
                <a:gd name="connsiteY338" fmla="*/ 638365 h 1273968"/>
                <a:gd name="connsiteX339" fmla="*/ 30861 w 1489995"/>
                <a:gd name="connsiteY339" fmla="*/ 646652 h 1273968"/>
                <a:gd name="connsiteX340" fmla="*/ 27622 w 1489995"/>
                <a:gd name="connsiteY340" fmla="*/ 647129 h 1273968"/>
                <a:gd name="connsiteX341" fmla="*/ 25336 w 1489995"/>
                <a:gd name="connsiteY341" fmla="*/ 653796 h 1273968"/>
                <a:gd name="connsiteX342" fmla="*/ 23717 w 1489995"/>
                <a:gd name="connsiteY342" fmla="*/ 653986 h 1273968"/>
                <a:gd name="connsiteX343" fmla="*/ 18764 w 1489995"/>
                <a:gd name="connsiteY343" fmla="*/ 653034 h 1273968"/>
                <a:gd name="connsiteX344" fmla="*/ 17812 w 1489995"/>
                <a:gd name="connsiteY344" fmla="*/ 645128 h 1273968"/>
                <a:gd name="connsiteX345" fmla="*/ 6763 w 1489995"/>
                <a:gd name="connsiteY345" fmla="*/ 646557 h 1273968"/>
                <a:gd name="connsiteX346" fmla="*/ 2191 w 1489995"/>
                <a:gd name="connsiteY346" fmla="*/ 648748 h 1273968"/>
                <a:gd name="connsiteX347" fmla="*/ 667 w 1489995"/>
                <a:gd name="connsiteY347" fmla="*/ 648938 h 1273968"/>
                <a:gd name="connsiteX348" fmla="*/ 0 w 1489995"/>
                <a:gd name="connsiteY348" fmla="*/ 644176 h 1273968"/>
                <a:gd name="connsiteX349" fmla="*/ 4191 w 1489995"/>
                <a:gd name="connsiteY349" fmla="*/ 638842 h 1273968"/>
                <a:gd name="connsiteX350" fmla="*/ 3524 w 1489995"/>
                <a:gd name="connsiteY350" fmla="*/ 634175 h 1273968"/>
                <a:gd name="connsiteX351" fmla="*/ 9430 w 1489995"/>
                <a:gd name="connsiteY351" fmla="*/ 630174 h 1273968"/>
                <a:gd name="connsiteX352" fmla="*/ 10858 w 1489995"/>
                <a:gd name="connsiteY352" fmla="*/ 628364 h 1273968"/>
                <a:gd name="connsiteX353" fmla="*/ 8858 w 1489995"/>
                <a:gd name="connsiteY353" fmla="*/ 625411 h 1273968"/>
                <a:gd name="connsiteX354" fmla="*/ 12954 w 1489995"/>
                <a:gd name="connsiteY354" fmla="*/ 620078 h 1273968"/>
                <a:gd name="connsiteX355" fmla="*/ 12382 w 1489995"/>
                <a:gd name="connsiteY355" fmla="*/ 615410 h 1273968"/>
                <a:gd name="connsiteX356" fmla="*/ 17335 w 1489995"/>
                <a:gd name="connsiteY356" fmla="*/ 616363 h 1273968"/>
                <a:gd name="connsiteX357" fmla="*/ 23622 w 1489995"/>
                <a:gd name="connsiteY357" fmla="*/ 615506 h 1273968"/>
                <a:gd name="connsiteX358" fmla="*/ 24003 w 1489995"/>
                <a:gd name="connsiteY358" fmla="*/ 605885 h 1273968"/>
                <a:gd name="connsiteX359" fmla="*/ 21622 w 1489995"/>
                <a:gd name="connsiteY359" fmla="*/ 599789 h 1273968"/>
                <a:gd name="connsiteX360" fmla="*/ 21431 w 1489995"/>
                <a:gd name="connsiteY360" fmla="*/ 598170 h 1273968"/>
                <a:gd name="connsiteX361" fmla="*/ 16478 w 1489995"/>
                <a:gd name="connsiteY361" fmla="*/ 597218 h 1273968"/>
                <a:gd name="connsiteX362" fmla="*/ 13906 w 1489995"/>
                <a:gd name="connsiteY362" fmla="*/ 589502 h 1273968"/>
                <a:gd name="connsiteX363" fmla="*/ 9811 w 1489995"/>
                <a:gd name="connsiteY363" fmla="*/ 594836 h 1273968"/>
                <a:gd name="connsiteX364" fmla="*/ 7810 w 1489995"/>
                <a:gd name="connsiteY364" fmla="*/ 591884 h 1273968"/>
                <a:gd name="connsiteX365" fmla="*/ 8382 w 1489995"/>
                <a:gd name="connsiteY365" fmla="*/ 583787 h 1273968"/>
                <a:gd name="connsiteX366" fmla="*/ 9144 w 1489995"/>
                <a:gd name="connsiteY366" fmla="*/ 577310 h 1273968"/>
                <a:gd name="connsiteX367" fmla="*/ 7144 w 1489995"/>
                <a:gd name="connsiteY367" fmla="*/ 574358 h 1273968"/>
                <a:gd name="connsiteX368" fmla="*/ 11525 w 1489995"/>
                <a:gd name="connsiteY368" fmla="*/ 570548 h 1273968"/>
                <a:gd name="connsiteX369" fmla="*/ 14859 w 1489995"/>
                <a:gd name="connsiteY369" fmla="*/ 571786 h 1273968"/>
                <a:gd name="connsiteX370" fmla="*/ 17621 w 1489995"/>
                <a:gd name="connsiteY370" fmla="*/ 568166 h 1273968"/>
                <a:gd name="connsiteX371" fmla="*/ 20764 w 1489995"/>
                <a:gd name="connsiteY371" fmla="*/ 567785 h 1273968"/>
                <a:gd name="connsiteX372" fmla="*/ 21526 w 1489995"/>
                <a:gd name="connsiteY372" fmla="*/ 561308 h 1273968"/>
                <a:gd name="connsiteX373" fmla="*/ 31242 w 1489995"/>
                <a:gd name="connsiteY373" fmla="*/ 561689 h 1273968"/>
                <a:gd name="connsiteX374" fmla="*/ 31242 w 1489995"/>
                <a:gd name="connsiteY374" fmla="*/ 561689 h 1273968"/>
                <a:gd name="connsiteX375" fmla="*/ 31432 w 1489995"/>
                <a:gd name="connsiteY375" fmla="*/ 563213 h 1273968"/>
                <a:gd name="connsiteX376" fmla="*/ 41434 w 1489995"/>
                <a:gd name="connsiteY376" fmla="*/ 566738 h 1273968"/>
                <a:gd name="connsiteX377" fmla="*/ 46196 w 1489995"/>
                <a:gd name="connsiteY377" fmla="*/ 566166 h 1273968"/>
                <a:gd name="connsiteX378" fmla="*/ 47149 w 1489995"/>
                <a:gd name="connsiteY378" fmla="*/ 561213 h 1273968"/>
                <a:gd name="connsiteX379" fmla="*/ 45434 w 1489995"/>
                <a:gd name="connsiteY379" fmla="*/ 559880 h 1273968"/>
                <a:gd name="connsiteX380" fmla="*/ 46577 w 1489995"/>
                <a:gd name="connsiteY380" fmla="*/ 556451 h 1273968"/>
                <a:gd name="connsiteX381" fmla="*/ 48387 w 1489995"/>
                <a:gd name="connsiteY381" fmla="*/ 557879 h 1273968"/>
                <a:gd name="connsiteX382" fmla="*/ 53054 w 1489995"/>
                <a:gd name="connsiteY382" fmla="*/ 557213 h 1273968"/>
                <a:gd name="connsiteX383" fmla="*/ 51911 w 1489995"/>
                <a:gd name="connsiteY383" fmla="*/ 547783 h 1273968"/>
                <a:gd name="connsiteX384" fmla="*/ 51721 w 1489995"/>
                <a:gd name="connsiteY384" fmla="*/ 546163 h 1273968"/>
                <a:gd name="connsiteX385" fmla="*/ 52102 w 1489995"/>
                <a:gd name="connsiteY385" fmla="*/ 536543 h 1273968"/>
                <a:gd name="connsiteX386" fmla="*/ 52483 w 1489995"/>
                <a:gd name="connsiteY386" fmla="*/ 539686 h 1273968"/>
                <a:gd name="connsiteX387" fmla="*/ 53816 w 1489995"/>
                <a:gd name="connsiteY387" fmla="*/ 537877 h 1273968"/>
                <a:gd name="connsiteX388" fmla="*/ 56007 w 1489995"/>
                <a:gd name="connsiteY388" fmla="*/ 542449 h 1273968"/>
                <a:gd name="connsiteX389" fmla="*/ 60960 w 1489995"/>
                <a:gd name="connsiteY389" fmla="*/ 543401 h 1273968"/>
                <a:gd name="connsiteX390" fmla="*/ 65913 w 1489995"/>
                <a:gd name="connsiteY390" fmla="*/ 544354 h 1273968"/>
                <a:gd name="connsiteX391" fmla="*/ 66865 w 1489995"/>
                <a:gd name="connsiteY391" fmla="*/ 539496 h 1273968"/>
                <a:gd name="connsiteX392" fmla="*/ 66103 w 1489995"/>
                <a:gd name="connsiteY392" fmla="*/ 533114 h 1273968"/>
                <a:gd name="connsiteX393" fmla="*/ 65246 w 1489995"/>
                <a:gd name="connsiteY393" fmla="*/ 526828 h 1273968"/>
                <a:gd name="connsiteX394" fmla="*/ 60103 w 1489995"/>
                <a:gd name="connsiteY394" fmla="*/ 524256 h 1273968"/>
                <a:gd name="connsiteX395" fmla="*/ 60103 w 1489995"/>
                <a:gd name="connsiteY395" fmla="*/ 524256 h 1273968"/>
                <a:gd name="connsiteX396" fmla="*/ 69628 w 1489995"/>
                <a:gd name="connsiteY396" fmla="*/ 523113 h 1273968"/>
                <a:gd name="connsiteX397" fmla="*/ 70580 w 1489995"/>
                <a:gd name="connsiteY397" fmla="*/ 518160 h 1273968"/>
                <a:gd name="connsiteX398" fmla="*/ 66008 w 1489995"/>
                <a:gd name="connsiteY398" fmla="*/ 507492 h 1273968"/>
                <a:gd name="connsiteX399" fmla="*/ 68770 w 1489995"/>
                <a:gd name="connsiteY399" fmla="*/ 503968 h 1273968"/>
                <a:gd name="connsiteX400" fmla="*/ 66199 w 1489995"/>
                <a:gd name="connsiteY400" fmla="*/ 496253 h 1273968"/>
                <a:gd name="connsiteX401" fmla="*/ 69913 w 1489995"/>
                <a:gd name="connsiteY401" fmla="*/ 500539 h 1273968"/>
                <a:gd name="connsiteX402" fmla="*/ 69723 w 1489995"/>
                <a:gd name="connsiteY402" fmla="*/ 499015 h 1273968"/>
                <a:gd name="connsiteX403" fmla="*/ 77629 w 1489995"/>
                <a:gd name="connsiteY403" fmla="*/ 497967 h 1273968"/>
                <a:gd name="connsiteX404" fmla="*/ 80581 w 1489995"/>
                <a:gd name="connsiteY404" fmla="*/ 496062 h 1273968"/>
                <a:gd name="connsiteX405" fmla="*/ 80391 w 1489995"/>
                <a:gd name="connsiteY405" fmla="*/ 494443 h 1273968"/>
                <a:gd name="connsiteX406" fmla="*/ 83534 w 1489995"/>
                <a:gd name="connsiteY406" fmla="*/ 494062 h 1273968"/>
                <a:gd name="connsiteX407" fmla="*/ 83534 w 1489995"/>
                <a:gd name="connsiteY407" fmla="*/ 494062 h 1273968"/>
                <a:gd name="connsiteX408" fmla="*/ 83153 w 1489995"/>
                <a:gd name="connsiteY408" fmla="*/ 490919 h 1273968"/>
                <a:gd name="connsiteX409" fmla="*/ 87820 w 1489995"/>
                <a:gd name="connsiteY409" fmla="*/ 490252 h 1273968"/>
                <a:gd name="connsiteX410" fmla="*/ 86106 w 1489995"/>
                <a:gd name="connsiteY410" fmla="*/ 488918 h 1273968"/>
                <a:gd name="connsiteX411" fmla="*/ 85249 w 1489995"/>
                <a:gd name="connsiteY411" fmla="*/ 482632 h 1273968"/>
                <a:gd name="connsiteX412" fmla="*/ 86868 w 1489995"/>
                <a:gd name="connsiteY412" fmla="*/ 482346 h 1273968"/>
                <a:gd name="connsiteX413" fmla="*/ 90202 w 1489995"/>
                <a:gd name="connsiteY413" fmla="*/ 483584 h 1273968"/>
                <a:gd name="connsiteX414" fmla="*/ 91345 w 1489995"/>
                <a:gd name="connsiteY414" fmla="*/ 480250 h 1273968"/>
                <a:gd name="connsiteX415" fmla="*/ 97726 w 1489995"/>
                <a:gd name="connsiteY415" fmla="*/ 479393 h 1273968"/>
                <a:gd name="connsiteX416" fmla="*/ 100013 w 1489995"/>
                <a:gd name="connsiteY416" fmla="*/ 472726 h 1273968"/>
                <a:gd name="connsiteX417" fmla="*/ 107728 w 1489995"/>
                <a:gd name="connsiteY417" fmla="*/ 470154 h 1273968"/>
                <a:gd name="connsiteX418" fmla="*/ 110871 w 1489995"/>
                <a:gd name="connsiteY418" fmla="*/ 469678 h 1273968"/>
                <a:gd name="connsiteX419" fmla="*/ 110680 w 1489995"/>
                <a:gd name="connsiteY419" fmla="*/ 468154 h 1273968"/>
                <a:gd name="connsiteX420" fmla="*/ 113633 w 1489995"/>
                <a:gd name="connsiteY420" fmla="*/ 466154 h 1273968"/>
                <a:gd name="connsiteX421" fmla="*/ 113633 w 1489995"/>
                <a:gd name="connsiteY421" fmla="*/ 466154 h 1273968"/>
                <a:gd name="connsiteX422" fmla="*/ 121348 w 1489995"/>
                <a:gd name="connsiteY422" fmla="*/ 476345 h 1273968"/>
                <a:gd name="connsiteX423" fmla="*/ 124777 w 1489995"/>
                <a:gd name="connsiteY423" fmla="*/ 477584 h 1273968"/>
                <a:gd name="connsiteX424" fmla="*/ 127730 w 1489995"/>
                <a:gd name="connsiteY424" fmla="*/ 475583 h 1273968"/>
                <a:gd name="connsiteX425" fmla="*/ 135541 w 1489995"/>
                <a:gd name="connsiteY425" fmla="*/ 474536 h 1273968"/>
                <a:gd name="connsiteX426" fmla="*/ 142684 w 1489995"/>
                <a:gd name="connsiteY426" fmla="*/ 467296 h 1273968"/>
                <a:gd name="connsiteX427" fmla="*/ 147828 w 1489995"/>
                <a:gd name="connsiteY427" fmla="*/ 469773 h 1273968"/>
                <a:gd name="connsiteX428" fmla="*/ 147352 w 1489995"/>
                <a:gd name="connsiteY428" fmla="*/ 466630 h 1273968"/>
                <a:gd name="connsiteX429" fmla="*/ 160782 w 1489995"/>
                <a:gd name="connsiteY429" fmla="*/ 458534 h 1273968"/>
                <a:gd name="connsiteX430" fmla="*/ 156591 w 1489995"/>
                <a:gd name="connsiteY430" fmla="*/ 451009 h 1273968"/>
                <a:gd name="connsiteX431" fmla="*/ 164973 w 1489995"/>
                <a:gd name="connsiteY431" fmla="*/ 453200 h 1273968"/>
                <a:gd name="connsiteX432" fmla="*/ 167926 w 1489995"/>
                <a:gd name="connsiteY432" fmla="*/ 451199 h 1273968"/>
                <a:gd name="connsiteX433" fmla="*/ 171640 w 1489995"/>
                <a:gd name="connsiteY433" fmla="*/ 442722 h 1273968"/>
                <a:gd name="connsiteX434" fmla="*/ 169831 w 1489995"/>
                <a:gd name="connsiteY434" fmla="*/ 441388 h 1273968"/>
                <a:gd name="connsiteX435" fmla="*/ 171164 w 1489995"/>
                <a:gd name="connsiteY435" fmla="*/ 439579 h 1273968"/>
                <a:gd name="connsiteX436" fmla="*/ 171450 w 1489995"/>
                <a:gd name="connsiteY436" fmla="*/ 441103 h 1273968"/>
                <a:gd name="connsiteX437" fmla="*/ 176117 w 1489995"/>
                <a:gd name="connsiteY437" fmla="*/ 440531 h 1273968"/>
                <a:gd name="connsiteX438" fmla="*/ 180308 w 1489995"/>
                <a:gd name="connsiteY438" fmla="*/ 435197 h 1273968"/>
                <a:gd name="connsiteX439" fmla="*/ 192691 w 1489995"/>
                <a:gd name="connsiteY439" fmla="*/ 419195 h 1273968"/>
                <a:gd name="connsiteX440" fmla="*/ 194691 w 1489995"/>
                <a:gd name="connsiteY440" fmla="*/ 422148 h 1273968"/>
                <a:gd name="connsiteX441" fmla="*/ 193262 w 1489995"/>
                <a:gd name="connsiteY441" fmla="*/ 423958 h 1273968"/>
                <a:gd name="connsiteX442" fmla="*/ 193262 w 1489995"/>
                <a:gd name="connsiteY442" fmla="*/ 436721 h 1273968"/>
                <a:gd name="connsiteX443" fmla="*/ 202597 w 1489995"/>
                <a:gd name="connsiteY443" fmla="*/ 433959 h 1273968"/>
                <a:gd name="connsiteX444" fmla="*/ 205930 w 1489995"/>
                <a:gd name="connsiteY444" fmla="*/ 435102 h 1273968"/>
                <a:gd name="connsiteX445" fmla="*/ 211264 w 1489995"/>
                <a:gd name="connsiteY445" fmla="*/ 439293 h 1273968"/>
                <a:gd name="connsiteX446" fmla="*/ 214408 w 1489995"/>
                <a:gd name="connsiteY446" fmla="*/ 438912 h 1273968"/>
                <a:gd name="connsiteX447" fmla="*/ 225076 w 1489995"/>
                <a:gd name="connsiteY447" fmla="*/ 434340 h 1273968"/>
                <a:gd name="connsiteX448" fmla="*/ 242792 w 1489995"/>
                <a:gd name="connsiteY448" fmla="*/ 435292 h 1273968"/>
                <a:gd name="connsiteX449" fmla="*/ 247936 w 1489995"/>
                <a:gd name="connsiteY449" fmla="*/ 437769 h 1273968"/>
                <a:gd name="connsiteX450" fmla="*/ 250317 w 1489995"/>
                <a:gd name="connsiteY450" fmla="*/ 431102 h 1273968"/>
                <a:gd name="connsiteX451" fmla="*/ 251079 w 1489995"/>
                <a:gd name="connsiteY451" fmla="*/ 424529 h 1273968"/>
                <a:gd name="connsiteX452" fmla="*/ 253079 w 1489995"/>
                <a:gd name="connsiteY452" fmla="*/ 427577 h 1273968"/>
                <a:gd name="connsiteX453" fmla="*/ 256794 w 1489995"/>
                <a:gd name="connsiteY453" fmla="*/ 419005 h 1273968"/>
                <a:gd name="connsiteX454" fmla="*/ 258794 w 1489995"/>
                <a:gd name="connsiteY454" fmla="*/ 421958 h 1273968"/>
                <a:gd name="connsiteX455" fmla="*/ 258032 w 1489995"/>
                <a:gd name="connsiteY455" fmla="*/ 428530 h 1273968"/>
                <a:gd name="connsiteX456" fmla="*/ 261175 w 1489995"/>
                <a:gd name="connsiteY456" fmla="*/ 428149 h 1273968"/>
                <a:gd name="connsiteX457" fmla="*/ 263747 w 1489995"/>
                <a:gd name="connsiteY457" fmla="*/ 423005 h 1273968"/>
                <a:gd name="connsiteX458" fmla="*/ 266890 w 1489995"/>
                <a:gd name="connsiteY458" fmla="*/ 422529 h 1273968"/>
                <a:gd name="connsiteX459" fmla="*/ 275177 w 1489995"/>
                <a:gd name="connsiteY459" fmla="*/ 411861 h 1273968"/>
                <a:gd name="connsiteX460" fmla="*/ 280607 w 1489995"/>
                <a:gd name="connsiteY460" fmla="*/ 404813 h 1273968"/>
                <a:gd name="connsiteX461" fmla="*/ 282988 w 1489995"/>
                <a:gd name="connsiteY461" fmla="*/ 398050 h 1273968"/>
                <a:gd name="connsiteX462" fmla="*/ 286131 w 1489995"/>
                <a:gd name="connsiteY462" fmla="*/ 397669 h 1273968"/>
                <a:gd name="connsiteX463" fmla="*/ 292036 w 1489995"/>
                <a:gd name="connsiteY463" fmla="*/ 393668 h 1273968"/>
                <a:gd name="connsiteX464" fmla="*/ 295180 w 1489995"/>
                <a:gd name="connsiteY464" fmla="*/ 393287 h 1273968"/>
                <a:gd name="connsiteX465" fmla="*/ 299180 w 1489995"/>
                <a:gd name="connsiteY465" fmla="*/ 399193 h 1273968"/>
                <a:gd name="connsiteX466" fmla="*/ 300323 w 1489995"/>
                <a:gd name="connsiteY466" fmla="*/ 395859 h 1273968"/>
                <a:gd name="connsiteX467" fmla="*/ 302133 w 1489995"/>
                <a:gd name="connsiteY467" fmla="*/ 397192 h 1273968"/>
                <a:gd name="connsiteX468" fmla="*/ 308705 w 1489995"/>
                <a:gd name="connsiteY468" fmla="*/ 410813 h 1273968"/>
                <a:gd name="connsiteX469" fmla="*/ 307943 w 1489995"/>
                <a:gd name="connsiteY469" fmla="*/ 417386 h 1273968"/>
                <a:gd name="connsiteX470" fmla="*/ 309848 w 1489995"/>
                <a:gd name="connsiteY470" fmla="*/ 420338 h 1273968"/>
                <a:gd name="connsiteX471" fmla="*/ 309848 w 1489995"/>
                <a:gd name="connsiteY471" fmla="*/ 420338 h 1273968"/>
                <a:gd name="connsiteX472" fmla="*/ 326993 w 1489995"/>
                <a:gd name="connsiteY472" fmla="*/ 416528 h 1273968"/>
                <a:gd name="connsiteX473" fmla="*/ 327374 w 1489995"/>
                <a:gd name="connsiteY473" fmla="*/ 406813 h 1273968"/>
                <a:gd name="connsiteX474" fmla="*/ 330327 w 1489995"/>
                <a:gd name="connsiteY474" fmla="*/ 404813 h 1273968"/>
                <a:gd name="connsiteX475" fmla="*/ 327946 w 1489995"/>
                <a:gd name="connsiteY475" fmla="*/ 398717 h 1273968"/>
                <a:gd name="connsiteX476" fmla="*/ 333661 w 1489995"/>
                <a:gd name="connsiteY476" fmla="*/ 393192 h 1273968"/>
                <a:gd name="connsiteX477" fmla="*/ 337661 w 1489995"/>
                <a:gd name="connsiteY477" fmla="*/ 386334 h 1273968"/>
                <a:gd name="connsiteX478" fmla="*/ 343948 w 1489995"/>
                <a:gd name="connsiteY478" fmla="*/ 385477 h 1273968"/>
                <a:gd name="connsiteX479" fmla="*/ 359473 w 1489995"/>
                <a:gd name="connsiteY479" fmla="*/ 381857 h 1273968"/>
                <a:gd name="connsiteX480" fmla="*/ 362712 w 1489995"/>
                <a:gd name="connsiteY480" fmla="*/ 381476 h 1273968"/>
                <a:gd name="connsiteX481" fmla="*/ 361474 w 1489995"/>
                <a:gd name="connsiteY481" fmla="*/ 384810 h 1273968"/>
                <a:gd name="connsiteX482" fmla="*/ 370522 w 1489995"/>
                <a:gd name="connsiteY482" fmla="*/ 380524 h 1273968"/>
                <a:gd name="connsiteX483" fmla="*/ 371761 w 1489995"/>
                <a:gd name="connsiteY483" fmla="*/ 377095 h 1273968"/>
                <a:gd name="connsiteX484" fmla="*/ 376428 w 1489995"/>
                <a:gd name="connsiteY484" fmla="*/ 376523 h 1273968"/>
                <a:gd name="connsiteX485" fmla="*/ 381000 w 1489995"/>
                <a:gd name="connsiteY485" fmla="*/ 374333 h 1273968"/>
                <a:gd name="connsiteX486" fmla="*/ 381762 w 1489995"/>
                <a:gd name="connsiteY486" fmla="*/ 367856 h 1273968"/>
                <a:gd name="connsiteX487" fmla="*/ 384905 w 1489995"/>
                <a:gd name="connsiteY487" fmla="*/ 367475 h 1273968"/>
                <a:gd name="connsiteX488" fmla="*/ 384715 w 1489995"/>
                <a:gd name="connsiteY488" fmla="*/ 365855 h 1273968"/>
                <a:gd name="connsiteX489" fmla="*/ 388048 w 1489995"/>
                <a:gd name="connsiteY489" fmla="*/ 366998 h 1273968"/>
                <a:gd name="connsiteX490" fmla="*/ 390811 w 1489995"/>
                <a:gd name="connsiteY490" fmla="*/ 363474 h 1273968"/>
                <a:gd name="connsiteX491" fmla="*/ 392049 w 1489995"/>
                <a:gd name="connsiteY491" fmla="*/ 360140 h 1273968"/>
                <a:gd name="connsiteX492" fmla="*/ 390811 w 1489995"/>
                <a:gd name="connsiteY492" fmla="*/ 350615 h 1273968"/>
                <a:gd name="connsiteX493" fmla="*/ 390430 w 1489995"/>
                <a:gd name="connsiteY493" fmla="*/ 347472 h 1273968"/>
                <a:gd name="connsiteX494" fmla="*/ 387287 w 1489995"/>
                <a:gd name="connsiteY494" fmla="*/ 347853 h 1273968"/>
                <a:gd name="connsiteX495" fmla="*/ 388810 w 1489995"/>
                <a:gd name="connsiteY495" fmla="*/ 347663 h 1273968"/>
                <a:gd name="connsiteX496" fmla="*/ 388620 w 1489995"/>
                <a:gd name="connsiteY496" fmla="*/ 346138 h 1273968"/>
                <a:gd name="connsiteX497" fmla="*/ 395192 w 1489995"/>
                <a:gd name="connsiteY497" fmla="*/ 346900 h 1273968"/>
                <a:gd name="connsiteX498" fmla="*/ 395383 w 1489995"/>
                <a:gd name="connsiteY498" fmla="*/ 348425 h 1273968"/>
                <a:gd name="connsiteX499" fmla="*/ 401669 w 1489995"/>
                <a:gd name="connsiteY499" fmla="*/ 347663 h 1273968"/>
                <a:gd name="connsiteX500" fmla="*/ 402050 w 1489995"/>
                <a:gd name="connsiteY500" fmla="*/ 350806 h 1273968"/>
                <a:gd name="connsiteX501" fmla="*/ 414909 w 1489995"/>
                <a:gd name="connsiteY501" fmla="*/ 350806 h 1273968"/>
                <a:gd name="connsiteX502" fmla="*/ 418052 w 1489995"/>
                <a:gd name="connsiteY502" fmla="*/ 350425 h 1273968"/>
                <a:gd name="connsiteX503" fmla="*/ 417862 w 1489995"/>
                <a:gd name="connsiteY503" fmla="*/ 348806 h 1273968"/>
                <a:gd name="connsiteX504" fmla="*/ 415862 w 1489995"/>
                <a:gd name="connsiteY504" fmla="*/ 345853 h 1273968"/>
                <a:gd name="connsiteX505" fmla="*/ 417481 w 1489995"/>
                <a:gd name="connsiteY505" fmla="*/ 345662 h 1273968"/>
                <a:gd name="connsiteX506" fmla="*/ 417195 w 1489995"/>
                <a:gd name="connsiteY506" fmla="*/ 344043 h 1273968"/>
                <a:gd name="connsiteX507" fmla="*/ 415480 w 1489995"/>
                <a:gd name="connsiteY507" fmla="*/ 342710 h 1273968"/>
                <a:gd name="connsiteX508" fmla="*/ 417767 w 1489995"/>
                <a:gd name="connsiteY508" fmla="*/ 335947 h 1273968"/>
                <a:gd name="connsiteX509" fmla="*/ 413861 w 1489995"/>
                <a:gd name="connsiteY509" fmla="*/ 330041 h 1273968"/>
                <a:gd name="connsiteX510" fmla="*/ 410718 w 1489995"/>
                <a:gd name="connsiteY510" fmla="*/ 330517 h 1273968"/>
                <a:gd name="connsiteX511" fmla="*/ 408908 w 1489995"/>
                <a:gd name="connsiteY511" fmla="*/ 316230 h 1273968"/>
                <a:gd name="connsiteX512" fmla="*/ 416623 w 1489995"/>
                <a:gd name="connsiteY512" fmla="*/ 313658 h 1273968"/>
                <a:gd name="connsiteX513" fmla="*/ 414814 w 1489995"/>
                <a:gd name="connsiteY513" fmla="*/ 312325 h 1273968"/>
                <a:gd name="connsiteX514" fmla="*/ 419576 w 1489995"/>
                <a:gd name="connsiteY514" fmla="*/ 311753 h 1273968"/>
                <a:gd name="connsiteX515" fmla="*/ 422053 w 1489995"/>
                <a:gd name="connsiteY515" fmla="*/ 306610 h 1273968"/>
                <a:gd name="connsiteX516" fmla="*/ 425196 w 1489995"/>
                <a:gd name="connsiteY516" fmla="*/ 306134 h 1273968"/>
                <a:gd name="connsiteX517" fmla="*/ 427958 w 1489995"/>
                <a:gd name="connsiteY517" fmla="*/ 302609 h 1273968"/>
                <a:gd name="connsiteX518" fmla="*/ 435673 w 1489995"/>
                <a:gd name="connsiteY518" fmla="*/ 300038 h 1273968"/>
                <a:gd name="connsiteX519" fmla="*/ 441388 w 1489995"/>
                <a:gd name="connsiteY519" fmla="*/ 307277 h 1273968"/>
                <a:gd name="connsiteX520" fmla="*/ 444817 w 1489995"/>
                <a:gd name="connsiteY520" fmla="*/ 308515 h 1273968"/>
                <a:gd name="connsiteX521" fmla="*/ 444151 w 1489995"/>
                <a:gd name="connsiteY521" fmla="*/ 303752 h 1273968"/>
                <a:gd name="connsiteX522" fmla="*/ 447294 w 1489995"/>
                <a:gd name="connsiteY522" fmla="*/ 303371 h 1273968"/>
                <a:gd name="connsiteX523" fmla="*/ 447104 w 1489995"/>
                <a:gd name="connsiteY523" fmla="*/ 301752 h 1273968"/>
                <a:gd name="connsiteX524" fmla="*/ 459200 w 1489995"/>
                <a:gd name="connsiteY524" fmla="*/ 308229 h 1273968"/>
                <a:gd name="connsiteX525" fmla="*/ 469011 w 1489995"/>
                <a:gd name="connsiteY525" fmla="*/ 310229 h 1273968"/>
                <a:gd name="connsiteX526" fmla="*/ 471011 w 1489995"/>
                <a:gd name="connsiteY526" fmla="*/ 313182 h 1273968"/>
                <a:gd name="connsiteX527" fmla="*/ 474155 w 1489995"/>
                <a:gd name="connsiteY527" fmla="*/ 312801 h 1273968"/>
                <a:gd name="connsiteX528" fmla="*/ 474631 w 1489995"/>
                <a:gd name="connsiteY528" fmla="*/ 315944 h 1273968"/>
                <a:gd name="connsiteX529" fmla="*/ 476155 w 1489995"/>
                <a:gd name="connsiteY529" fmla="*/ 315754 h 1273968"/>
                <a:gd name="connsiteX530" fmla="*/ 489013 w 1489995"/>
                <a:gd name="connsiteY530" fmla="*/ 315659 h 1273968"/>
                <a:gd name="connsiteX531" fmla="*/ 503396 w 1489995"/>
                <a:gd name="connsiteY531" fmla="*/ 315468 h 1273968"/>
                <a:gd name="connsiteX532" fmla="*/ 503777 w 1489995"/>
                <a:gd name="connsiteY532" fmla="*/ 318611 h 1273968"/>
                <a:gd name="connsiteX533" fmla="*/ 510350 w 1489995"/>
                <a:gd name="connsiteY533" fmla="*/ 319373 h 1273968"/>
                <a:gd name="connsiteX534" fmla="*/ 519970 w 1489995"/>
                <a:gd name="connsiteY534" fmla="*/ 319754 h 1273968"/>
                <a:gd name="connsiteX535" fmla="*/ 521780 w 1489995"/>
                <a:gd name="connsiteY535" fmla="*/ 321088 h 1273968"/>
                <a:gd name="connsiteX536" fmla="*/ 523113 w 1489995"/>
                <a:gd name="connsiteY536" fmla="*/ 319373 h 1273968"/>
                <a:gd name="connsiteX537" fmla="*/ 538925 w 1489995"/>
                <a:gd name="connsiteY537" fmla="*/ 317373 h 1273968"/>
                <a:gd name="connsiteX538" fmla="*/ 540258 w 1489995"/>
                <a:gd name="connsiteY538" fmla="*/ 315563 h 1273968"/>
                <a:gd name="connsiteX539" fmla="*/ 548640 w 1489995"/>
                <a:gd name="connsiteY539" fmla="*/ 317754 h 1273968"/>
                <a:gd name="connsiteX540" fmla="*/ 550926 w 1489995"/>
                <a:gd name="connsiteY540" fmla="*/ 310991 h 1273968"/>
                <a:gd name="connsiteX541" fmla="*/ 548735 w 1489995"/>
                <a:gd name="connsiteY541" fmla="*/ 306419 h 1273968"/>
                <a:gd name="connsiteX542" fmla="*/ 558832 w 1489995"/>
                <a:gd name="connsiteY542" fmla="*/ 310039 h 1273968"/>
                <a:gd name="connsiteX543" fmla="*/ 557498 w 1489995"/>
                <a:gd name="connsiteY543" fmla="*/ 311753 h 1273968"/>
                <a:gd name="connsiteX544" fmla="*/ 561404 w 1489995"/>
                <a:gd name="connsiteY544" fmla="*/ 317659 h 1273968"/>
                <a:gd name="connsiteX545" fmla="*/ 562642 w 1489995"/>
                <a:gd name="connsiteY545" fmla="*/ 314325 h 1273968"/>
                <a:gd name="connsiteX546" fmla="*/ 569500 w 1489995"/>
                <a:gd name="connsiteY546" fmla="*/ 318230 h 1273968"/>
                <a:gd name="connsiteX547" fmla="*/ 569119 w 1489995"/>
                <a:gd name="connsiteY547" fmla="*/ 315087 h 1273968"/>
                <a:gd name="connsiteX548" fmla="*/ 572452 w 1489995"/>
                <a:gd name="connsiteY548" fmla="*/ 316230 h 1273968"/>
                <a:gd name="connsiteX549" fmla="*/ 573405 w 1489995"/>
                <a:gd name="connsiteY549" fmla="*/ 311372 h 1273968"/>
                <a:gd name="connsiteX550" fmla="*/ 589026 w 1489995"/>
                <a:gd name="connsiteY550" fmla="*/ 320611 h 1273968"/>
                <a:gd name="connsiteX551" fmla="*/ 593979 w 1489995"/>
                <a:gd name="connsiteY551" fmla="*/ 321564 h 1273968"/>
                <a:gd name="connsiteX552" fmla="*/ 594360 w 1489995"/>
                <a:gd name="connsiteY552" fmla="*/ 324707 h 1273968"/>
                <a:gd name="connsiteX553" fmla="*/ 596170 w 1489995"/>
                <a:gd name="connsiteY553" fmla="*/ 326041 h 1273968"/>
                <a:gd name="connsiteX554" fmla="*/ 599694 w 1489995"/>
                <a:gd name="connsiteY554" fmla="*/ 316040 h 1273968"/>
                <a:gd name="connsiteX555" fmla="*/ 601313 w 1489995"/>
                <a:gd name="connsiteY555" fmla="*/ 315849 h 1273968"/>
                <a:gd name="connsiteX556" fmla="*/ 605600 w 1489995"/>
                <a:gd name="connsiteY556" fmla="*/ 312039 h 1273968"/>
                <a:gd name="connsiteX557" fmla="*/ 605218 w 1489995"/>
                <a:gd name="connsiteY557" fmla="*/ 308896 h 1273968"/>
                <a:gd name="connsiteX558" fmla="*/ 608933 w 1489995"/>
                <a:gd name="connsiteY558" fmla="*/ 300419 h 1273968"/>
                <a:gd name="connsiteX559" fmla="*/ 610743 w 1489995"/>
                <a:gd name="connsiteY559" fmla="*/ 301752 h 1273968"/>
                <a:gd name="connsiteX560" fmla="*/ 614839 w 1489995"/>
                <a:gd name="connsiteY560" fmla="*/ 296418 h 1273968"/>
                <a:gd name="connsiteX561" fmla="*/ 621983 w 1489995"/>
                <a:gd name="connsiteY561" fmla="*/ 301942 h 1273968"/>
                <a:gd name="connsiteX562" fmla="*/ 626935 w 1489995"/>
                <a:gd name="connsiteY562" fmla="*/ 302895 h 1273968"/>
                <a:gd name="connsiteX563" fmla="*/ 628269 w 1489995"/>
                <a:gd name="connsiteY563" fmla="*/ 301181 h 1273968"/>
                <a:gd name="connsiteX564" fmla="*/ 628079 w 1489995"/>
                <a:gd name="connsiteY564" fmla="*/ 299561 h 1273968"/>
                <a:gd name="connsiteX565" fmla="*/ 633222 w 1489995"/>
                <a:gd name="connsiteY565" fmla="*/ 302133 h 1273968"/>
                <a:gd name="connsiteX566" fmla="*/ 637984 w 1489995"/>
                <a:gd name="connsiteY566" fmla="*/ 301561 h 1273968"/>
                <a:gd name="connsiteX567" fmla="*/ 635794 w 1489995"/>
                <a:gd name="connsiteY567" fmla="*/ 296990 h 1273968"/>
                <a:gd name="connsiteX568" fmla="*/ 647224 w 1489995"/>
                <a:gd name="connsiteY568" fmla="*/ 298704 h 1273968"/>
                <a:gd name="connsiteX569" fmla="*/ 646652 w 1489995"/>
                <a:gd name="connsiteY569" fmla="*/ 294037 h 1273968"/>
                <a:gd name="connsiteX570" fmla="*/ 649986 w 1489995"/>
                <a:gd name="connsiteY570" fmla="*/ 295180 h 1273968"/>
                <a:gd name="connsiteX571" fmla="*/ 651319 w 1489995"/>
                <a:gd name="connsiteY571" fmla="*/ 293370 h 1273968"/>
                <a:gd name="connsiteX572" fmla="*/ 657892 w 1489995"/>
                <a:gd name="connsiteY572" fmla="*/ 294132 h 1273968"/>
                <a:gd name="connsiteX573" fmla="*/ 658082 w 1489995"/>
                <a:gd name="connsiteY573" fmla="*/ 295751 h 1273968"/>
                <a:gd name="connsiteX574" fmla="*/ 661416 w 1489995"/>
                <a:gd name="connsiteY574" fmla="*/ 296894 h 1273968"/>
                <a:gd name="connsiteX575" fmla="*/ 661606 w 1489995"/>
                <a:gd name="connsiteY575" fmla="*/ 298513 h 1273968"/>
                <a:gd name="connsiteX576" fmla="*/ 664940 w 1489995"/>
                <a:gd name="connsiteY576" fmla="*/ 299657 h 1273968"/>
                <a:gd name="connsiteX577" fmla="*/ 665607 w 1489995"/>
                <a:gd name="connsiteY577" fmla="*/ 304419 h 1273968"/>
                <a:gd name="connsiteX578" fmla="*/ 666750 w 1489995"/>
                <a:gd name="connsiteY578" fmla="*/ 301085 h 1273968"/>
                <a:gd name="connsiteX579" fmla="*/ 670084 w 1489995"/>
                <a:gd name="connsiteY579" fmla="*/ 302228 h 1273968"/>
                <a:gd name="connsiteX580" fmla="*/ 666559 w 1489995"/>
                <a:gd name="connsiteY580" fmla="*/ 299466 h 1273968"/>
                <a:gd name="connsiteX581" fmla="*/ 669703 w 1489995"/>
                <a:gd name="connsiteY581" fmla="*/ 299085 h 1273968"/>
                <a:gd name="connsiteX582" fmla="*/ 671513 w 1489995"/>
                <a:gd name="connsiteY582" fmla="*/ 300419 h 1273968"/>
                <a:gd name="connsiteX583" fmla="*/ 670084 w 1489995"/>
                <a:gd name="connsiteY583" fmla="*/ 302228 h 1273968"/>
                <a:gd name="connsiteX584" fmla="*/ 670274 w 1489995"/>
                <a:gd name="connsiteY584" fmla="*/ 303848 h 1273968"/>
                <a:gd name="connsiteX585" fmla="*/ 674656 w 1489995"/>
                <a:gd name="connsiteY585" fmla="*/ 300038 h 1273968"/>
                <a:gd name="connsiteX586" fmla="*/ 676180 w 1489995"/>
                <a:gd name="connsiteY586" fmla="*/ 299847 h 1273968"/>
                <a:gd name="connsiteX587" fmla="*/ 681323 w 1489995"/>
                <a:gd name="connsiteY587" fmla="*/ 289560 h 1273968"/>
                <a:gd name="connsiteX588" fmla="*/ 679704 w 1489995"/>
                <a:gd name="connsiteY588" fmla="*/ 289750 h 1273968"/>
                <a:gd name="connsiteX589" fmla="*/ 680752 w 1489995"/>
                <a:gd name="connsiteY589" fmla="*/ 284798 h 1273968"/>
                <a:gd name="connsiteX590" fmla="*/ 679133 w 1489995"/>
                <a:gd name="connsiteY590" fmla="*/ 285083 h 1273968"/>
                <a:gd name="connsiteX591" fmla="*/ 680561 w 1489995"/>
                <a:gd name="connsiteY591" fmla="*/ 283273 h 1273968"/>
                <a:gd name="connsiteX592" fmla="*/ 677132 w 1489995"/>
                <a:gd name="connsiteY592" fmla="*/ 282131 h 1273968"/>
                <a:gd name="connsiteX593" fmla="*/ 678561 w 1489995"/>
                <a:gd name="connsiteY593" fmla="*/ 280321 h 1273968"/>
                <a:gd name="connsiteX594" fmla="*/ 677323 w 1489995"/>
                <a:gd name="connsiteY594" fmla="*/ 270796 h 1273968"/>
                <a:gd name="connsiteX595" fmla="*/ 684085 w 1489995"/>
                <a:gd name="connsiteY595" fmla="*/ 273177 h 1273968"/>
                <a:gd name="connsiteX596" fmla="*/ 683800 w 1489995"/>
                <a:gd name="connsiteY596" fmla="*/ 258794 h 1273968"/>
                <a:gd name="connsiteX597" fmla="*/ 683228 w 1489995"/>
                <a:gd name="connsiteY597" fmla="*/ 254032 h 1273968"/>
                <a:gd name="connsiteX598" fmla="*/ 684752 w 1489995"/>
                <a:gd name="connsiteY598" fmla="*/ 253841 h 1273968"/>
                <a:gd name="connsiteX599" fmla="*/ 685990 w 1489995"/>
                <a:gd name="connsiteY599" fmla="*/ 250508 h 1273968"/>
                <a:gd name="connsiteX600" fmla="*/ 682371 w 1489995"/>
                <a:gd name="connsiteY600" fmla="*/ 247745 h 1273968"/>
                <a:gd name="connsiteX601" fmla="*/ 679037 w 1489995"/>
                <a:gd name="connsiteY601" fmla="*/ 246602 h 1273968"/>
                <a:gd name="connsiteX602" fmla="*/ 678466 w 1489995"/>
                <a:gd name="connsiteY602" fmla="*/ 241840 h 1273968"/>
                <a:gd name="connsiteX603" fmla="*/ 674942 w 1489995"/>
                <a:gd name="connsiteY603" fmla="*/ 239077 h 1273968"/>
                <a:gd name="connsiteX604" fmla="*/ 674465 w 1489995"/>
                <a:gd name="connsiteY604" fmla="*/ 235934 h 1273968"/>
                <a:gd name="connsiteX605" fmla="*/ 678847 w 1489995"/>
                <a:gd name="connsiteY605" fmla="*/ 232124 h 1273968"/>
                <a:gd name="connsiteX606" fmla="*/ 680847 w 1489995"/>
                <a:gd name="connsiteY606" fmla="*/ 235077 h 1273968"/>
                <a:gd name="connsiteX607" fmla="*/ 683800 w 1489995"/>
                <a:gd name="connsiteY607" fmla="*/ 233172 h 1273968"/>
                <a:gd name="connsiteX608" fmla="*/ 680180 w 1489995"/>
                <a:gd name="connsiteY608" fmla="*/ 230410 h 1273968"/>
                <a:gd name="connsiteX609" fmla="*/ 679799 w 1489995"/>
                <a:gd name="connsiteY609" fmla="*/ 227267 h 1273968"/>
                <a:gd name="connsiteX610" fmla="*/ 676275 w 1489995"/>
                <a:gd name="connsiteY610" fmla="*/ 224504 h 1273968"/>
                <a:gd name="connsiteX611" fmla="*/ 677418 w 1489995"/>
                <a:gd name="connsiteY611" fmla="*/ 221075 h 1273968"/>
                <a:gd name="connsiteX612" fmla="*/ 679228 w 1489995"/>
                <a:gd name="connsiteY612" fmla="*/ 222504 h 1273968"/>
                <a:gd name="connsiteX613" fmla="*/ 678751 w 1489995"/>
                <a:gd name="connsiteY613" fmla="*/ 219361 h 1273968"/>
                <a:gd name="connsiteX614" fmla="*/ 677037 w 1489995"/>
                <a:gd name="connsiteY614" fmla="*/ 217932 h 1273968"/>
                <a:gd name="connsiteX615" fmla="*/ 676847 w 1489995"/>
                <a:gd name="connsiteY615" fmla="*/ 216408 h 1273968"/>
                <a:gd name="connsiteX616" fmla="*/ 673227 w 1489995"/>
                <a:gd name="connsiteY616" fmla="*/ 213646 h 1273968"/>
                <a:gd name="connsiteX617" fmla="*/ 673037 w 1489995"/>
                <a:gd name="connsiteY617" fmla="*/ 212027 h 1273968"/>
                <a:gd name="connsiteX618" fmla="*/ 675989 w 1489995"/>
                <a:gd name="connsiteY618" fmla="*/ 210026 h 1273968"/>
                <a:gd name="connsiteX619" fmla="*/ 679133 w 1489995"/>
                <a:gd name="connsiteY619" fmla="*/ 209645 h 1273968"/>
                <a:gd name="connsiteX620" fmla="*/ 680371 w 1489995"/>
                <a:gd name="connsiteY620" fmla="*/ 206311 h 1273968"/>
                <a:gd name="connsiteX621" fmla="*/ 683323 w 1489995"/>
                <a:gd name="connsiteY621" fmla="*/ 204311 h 1273968"/>
                <a:gd name="connsiteX622" fmla="*/ 695992 w 1489995"/>
                <a:gd name="connsiteY622" fmla="*/ 215551 h 1273968"/>
                <a:gd name="connsiteX623" fmla="*/ 711137 w 1489995"/>
                <a:gd name="connsiteY623" fmla="*/ 221647 h 1273968"/>
                <a:gd name="connsiteX624" fmla="*/ 712375 w 1489995"/>
                <a:gd name="connsiteY624" fmla="*/ 218313 h 1273968"/>
                <a:gd name="connsiteX625" fmla="*/ 715709 w 1489995"/>
                <a:gd name="connsiteY625" fmla="*/ 219456 h 1273968"/>
                <a:gd name="connsiteX626" fmla="*/ 712089 w 1489995"/>
                <a:gd name="connsiteY626" fmla="*/ 216694 h 1273968"/>
                <a:gd name="connsiteX627" fmla="*/ 714851 w 1489995"/>
                <a:gd name="connsiteY627" fmla="*/ 213169 h 1273968"/>
                <a:gd name="connsiteX628" fmla="*/ 713137 w 1489995"/>
                <a:gd name="connsiteY628" fmla="*/ 211741 h 1273968"/>
                <a:gd name="connsiteX629" fmla="*/ 708374 w 1489995"/>
                <a:gd name="connsiteY629" fmla="*/ 212312 h 1273968"/>
                <a:gd name="connsiteX630" fmla="*/ 706564 w 1489995"/>
                <a:gd name="connsiteY630" fmla="*/ 210979 h 1273968"/>
                <a:gd name="connsiteX631" fmla="*/ 710755 w 1489995"/>
                <a:gd name="connsiteY631" fmla="*/ 205645 h 1273968"/>
                <a:gd name="connsiteX632" fmla="*/ 714280 w 1489995"/>
                <a:gd name="connsiteY632" fmla="*/ 208407 h 1273968"/>
                <a:gd name="connsiteX633" fmla="*/ 715423 w 1489995"/>
                <a:gd name="connsiteY633" fmla="*/ 205073 h 1273968"/>
                <a:gd name="connsiteX634" fmla="*/ 712089 w 1489995"/>
                <a:gd name="connsiteY634" fmla="*/ 203835 h 1273968"/>
                <a:gd name="connsiteX635" fmla="*/ 713708 w 1489995"/>
                <a:gd name="connsiteY635" fmla="*/ 203644 h 1273968"/>
                <a:gd name="connsiteX636" fmla="*/ 718185 w 1489995"/>
                <a:gd name="connsiteY636" fmla="*/ 201454 h 1273968"/>
                <a:gd name="connsiteX637" fmla="*/ 716185 w 1489995"/>
                <a:gd name="connsiteY637" fmla="*/ 185738 h 1273968"/>
                <a:gd name="connsiteX638" fmla="*/ 726853 w 1489995"/>
                <a:gd name="connsiteY638" fmla="*/ 193929 h 1273968"/>
                <a:gd name="connsiteX639" fmla="*/ 734759 w 1489995"/>
                <a:gd name="connsiteY639" fmla="*/ 192977 h 1273968"/>
                <a:gd name="connsiteX640" fmla="*/ 733806 w 1489995"/>
                <a:gd name="connsiteY640" fmla="*/ 185071 h 1273968"/>
                <a:gd name="connsiteX641" fmla="*/ 742474 w 1489995"/>
                <a:gd name="connsiteY641" fmla="*/ 190405 h 1273968"/>
                <a:gd name="connsiteX642" fmla="*/ 750570 w 1489995"/>
                <a:gd name="connsiteY642" fmla="*/ 190976 h 1273968"/>
                <a:gd name="connsiteX643" fmla="*/ 749141 w 1489995"/>
                <a:gd name="connsiteY643" fmla="*/ 179927 h 1273968"/>
                <a:gd name="connsiteX644" fmla="*/ 750284 w 1489995"/>
                <a:gd name="connsiteY644" fmla="*/ 176498 h 1273968"/>
                <a:gd name="connsiteX645" fmla="*/ 749713 w 1489995"/>
                <a:gd name="connsiteY645" fmla="*/ 171831 h 1273968"/>
                <a:gd name="connsiteX646" fmla="*/ 750856 w 1489995"/>
                <a:gd name="connsiteY646" fmla="*/ 168497 h 1273968"/>
                <a:gd name="connsiteX647" fmla="*/ 745998 w 1489995"/>
                <a:gd name="connsiteY647" fmla="*/ 167450 h 1273968"/>
                <a:gd name="connsiteX648" fmla="*/ 749141 w 1489995"/>
                <a:gd name="connsiteY648" fmla="*/ 167069 h 1273968"/>
                <a:gd name="connsiteX649" fmla="*/ 749522 w 1489995"/>
                <a:gd name="connsiteY649" fmla="*/ 157448 h 1273968"/>
                <a:gd name="connsiteX650" fmla="*/ 738759 w 1489995"/>
                <a:gd name="connsiteY650" fmla="*/ 136303 h 1273968"/>
                <a:gd name="connsiteX651" fmla="*/ 751237 w 1489995"/>
                <a:gd name="connsiteY651" fmla="*/ 133160 h 1273968"/>
                <a:gd name="connsiteX652" fmla="*/ 748189 w 1489995"/>
                <a:gd name="connsiteY652" fmla="*/ 122301 h 1273968"/>
                <a:gd name="connsiteX653" fmla="*/ 760095 w 1489995"/>
                <a:gd name="connsiteY653" fmla="*/ 127159 h 1273968"/>
                <a:gd name="connsiteX654" fmla="*/ 761619 w 1489995"/>
                <a:gd name="connsiteY654" fmla="*/ 126968 h 1273968"/>
                <a:gd name="connsiteX655" fmla="*/ 760857 w 1489995"/>
                <a:gd name="connsiteY655" fmla="*/ 133540 h 1273968"/>
                <a:gd name="connsiteX656" fmla="*/ 767429 w 1489995"/>
                <a:gd name="connsiteY656" fmla="*/ 134302 h 1273968"/>
                <a:gd name="connsiteX657" fmla="*/ 766001 w 1489995"/>
                <a:gd name="connsiteY657" fmla="*/ 136017 h 1273968"/>
                <a:gd name="connsiteX658" fmla="*/ 769810 w 1489995"/>
                <a:gd name="connsiteY658" fmla="*/ 140398 h 1273968"/>
                <a:gd name="connsiteX659" fmla="*/ 772097 w 1489995"/>
                <a:gd name="connsiteY659" fmla="*/ 133636 h 1273968"/>
                <a:gd name="connsiteX660" fmla="*/ 770382 w 1489995"/>
                <a:gd name="connsiteY660" fmla="*/ 132302 h 1273968"/>
                <a:gd name="connsiteX661" fmla="*/ 775430 w 1489995"/>
                <a:gd name="connsiteY661" fmla="*/ 122015 h 1273968"/>
                <a:gd name="connsiteX662" fmla="*/ 786479 w 1489995"/>
                <a:gd name="connsiteY662" fmla="*/ 120586 h 1273968"/>
                <a:gd name="connsiteX663" fmla="*/ 783526 w 1489995"/>
                <a:gd name="connsiteY663" fmla="*/ 122587 h 1273968"/>
                <a:gd name="connsiteX664" fmla="*/ 787337 w 1489995"/>
                <a:gd name="connsiteY664" fmla="*/ 126968 h 1273968"/>
                <a:gd name="connsiteX665" fmla="*/ 789908 w 1489995"/>
                <a:gd name="connsiteY665" fmla="*/ 134588 h 1273968"/>
                <a:gd name="connsiteX666" fmla="*/ 791623 w 1489995"/>
                <a:gd name="connsiteY666" fmla="*/ 136017 h 1273968"/>
                <a:gd name="connsiteX667" fmla="*/ 799909 w 1489995"/>
                <a:gd name="connsiteY667" fmla="*/ 138113 h 1273968"/>
                <a:gd name="connsiteX668" fmla="*/ 804672 w 1489995"/>
                <a:gd name="connsiteY668" fmla="*/ 137541 h 1273968"/>
                <a:gd name="connsiteX669" fmla="*/ 807434 w 1489995"/>
                <a:gd name="connsiteY669" fmla="*/ 134017 h 1273968"/>
                <a:gd name="connsiteX670" fmla="*/ 801910 w 1489995"/>
                <a:gd name="connsiteY670" fmla="*/ 128302 h 1273968"/>
                <a:gd name="connsiteX671" fmla="*/ 801719 w 1489995"/>
                <a:gd name="connsiteY671" fmla="*/ 126683 h 1273968"/>
                <a:gd name="connsiteX672" fmla="*/ 811339 w 1489995"/>
                <a:gd name="connsiteY672" fmla="*/ 127063 h 1273968"/>
                <a:gd name="connsiteX673" fmla="*/ 812768 w 1489995"/>
                <a:gd name="connsiteY673" fmla="*/ 125254 h 1273968"/>
                <a:gd name="connsiteX674" fmla="*/ 815340 w 1489995"/>
                <a:gd name="connsiteY674" fmla="*/ 120110 h 1273968"/>
                <a:gd name="connsiteX675" fmla="*/ 821817 w 1489995"/>
                <a:gd name="connsiteY675" fmla="*/ 120967 h 1273968"/>
                <a:gd name="connsiteX676" fmla="*/ 823436 w 1489995"/>
                <a:gd name="connsiteY676" fmla="*/ 120682 h 1273968"/>
                <a:gd name="connsiteX677" fmla="*/ 823627 w 1489995"/>
                <a:gd name="connsiteY677" fmla="*/ 122301 h 1273968"/>
                <a:gd name="connsiteX678" fmla="*/ 822198 w 1489995"/>
                <a:gd name="connsiteY678" fmla="*/ 124111 h 1273968"/>
                <a:gd name="connsiteX679" fmla="*/ 822865 w 1489995"/>
                <a:gd name="connsiteY679" fmla="*/ 128778 h 1273968"/>
                <a:gd name="connsiteX680" fmla="*/ 821436 w 1489995"/>
                <a:gd name="connsiteY680" fmla="*/ 130588 h 1273968"/>
                <a:gd name="connsiteX681" fmla="*/ 826960 w 1489995"/>
                <a:gd name="connsiteY681" fmla="*/ 136303 h 1273968"/>
                <a:gd name="connsiteX682" fmla="*/ 825246 w 1489995"/>
                <a:gd name="connsiteY682" fmla="*/ 134969 h 1273968"/>
                <a:gd name="connsiteX683" fmla="*/ 822484 w 1489995"/>
                <a:gd name="connsiteY683" fmla="*/ 138494 h 1273968"/>
                <a:gd name="connsiteX684" fmla="*/ 821436 w 1489995"/>
                <a:gd name="connsiteY684" fmla="*/ 143446 h 1273968"/>
                <a:gd name="connsiteX685" fmla="*/ 823246 w 1489995"/>
                <a:gd name="connsiteY685" fmla="*/ 144780 h 1273968"/>
                <a:gd name="connsiteX686" fmla="*/ 824675 w 1489995"/>
                <a:gd name="connsiteY686" fmla="*/ 155829 h 1273968"/>
                <a:gd name="connsiteX687" fmla="*/ 830199 w 1489995"/>
                <a:gd name="connsiteY687" fmla="*/ 161544 h 1273968"/>
                <a:gd name="connsiteX688" fmla="*/ 831818 w 1489995"/>
                <a:gd name="connsiteY688" fmla="*/ 161354 h 1273968"/>
                <a:gd name="connsiteX689" fmla="*/ 832771 w 1489995"/>
                <a:gd name="connsiteY689" fmla="*/ 156400 h 1273968"/>
                <a:gd name="connsiteX690" fmla="*/ 834771 w 1489995"/>
                <a:gd name="connsiteY690" fmla="*/ 159353 h 1273968"/>
                <a:gd name="connsiteX691" fmla="*/ 836105 w 1489995"/>
                <a:gd name="connsiteY691" fmla="*/ 157639 h 1273968"/>
                <a:gd name="connsiteX692" fmla="*/ 836295 w 1489995"/>
                <a:gd name="connsiteY692" fmla="*/ 159163 h 1273968"/>
                <a:gd name="connsiteX693" fmla="*/ 839438 w 1489995"/>
                <a:gd name="connsiteY693" fmla="*/ 158782 h 1273968"/>
                <a:gd name="connsiteX694" fmla="*/ 838105 w 1489995"/>
                <a:gd name="connsiteY694" fmla="*/ 160592 h 1273968"/>
                <a:gd name="connsiteX695" fmla="*/ 838105 w 1489995"/>
                <a:gd name="connsiteY695" fmla="*/ 160592 h 1273968"/>
                <a:gd name="connsiteX696" fmla="*/ 843248 w 1489995"/>
                <a:gd name="connsiteY696" fmla="*/ 163068 h 1273968"/>
                <a:gd name="connsiteX697" fmla="*/ 845248 w 1489995"/>
                <a:gd name="connsiteY697" fmla="*/ 166021 h 1273968"/>
                <a:gd name="connsiteX698" fmla="*/ 847915 w 1489995"/>
                <a:gd name="connsiteY698" fmla="*/ 162496 h 1273968"/>
                <a:gd name="connsiteX699" fmla="*/ 845820 w 1489995"/>
                <a:gd name="connsiteY699" fmla="*/ 157925 h 1273968"/>
                <a:gd name="connsiteX700" fmla="*/ 849916 w 1489995"/>
                <a:gd name="connsiteY700" fmla="*/ 152590 h 1273968"/>
                <a:gd name="connsiteX701" fmla="*/ 850297 w 1489995"/>
                <a:gd name="connsiteY701" fmla="*/ 155829 h 1273968"/>
                <a:gd name="connsiteX702" fmla="*/ 856869 w 1489995"/>
                <a:gd name="connsiteY702" fmla="*/ 156591 h 1273968"/>
                <a:gd name="connsiteX703" fmla="*/ 858393 w 1489995"/>
                <a:gd name="connsiteY703" fmla="*/ 156400 h 1273968"/>
                <a:gd name="connsiteX704" fmla="*/ 859155 w 1489995"/>
                <a:gd name="connsiteY704" fmla="*/ 149828 h 1273968"/>
                <a:gd name="connsiteX705" fmla="*/ 864108 w 1489995"/>
                <a:gd name="connsiteY705" fmla="*/ 150781 h 1273968"/>
                <a:gd name="connsiteX706" fmla="*/ 866299 w 1489995"/>
                <a:gd name="connsiteY706" fmla="*/ 155353 h 1273968"/>
                <a:gd name="connsiteX707" fmla="*/ 871252 w 1489995"/>
                <a:gd name="connsiteY707" fmla="*/ 156305 h 1273968"/>
                <a:gd name="connsiteX708" fmla="*/ 870585 w 1489995"/>
                <a:gd name="connsiteY708" fmla="*/ 151638 h 1273968"/>
                <a:gd name="connsiteX709" fmla="*/ 872014 w 1489995"/>
                <a:gd name="connsiteY709" fmla="*/ 149828 h 1273968"/>
                <a:gd name="connsiteX710" fmla="*/ 883444 w 1489995"/>
                <a:gd name="connsiteY710" fmla="*/ 151543 h 1273968"/>
                <a:gd name="connsiteX711" fmla="*/ 889730 w 1489995"/>
                <a:gd name="connsiteY711" fmla="*/ 150781 h 1273968"/>
                <a:gd name="connsiteX712" fmla="*/ 889540 w 1489995"/>
                <a:gd name="connsiteY712" fmla="*/ 149161 h 1273968"/>
                <a:gd name="connsiteX713" fmla="*/ 900017 w 1489995"/>
                <a:gd name="connsiteY713" fmla="*/ 155829 h 1273968"/>
                <a:gd name="connsiteX714" fmla="*/ 900017 w 1489995"/>
                <a:gd name="connsiteY714" fmla="*/ 155829 h 1273968"/>
                <a:gd name="connsiteX715" fmla="*/ 900779 w 1489995"/>
                <a:gd name="connsiteY715" fmla="*/ 155543 h 1273968"/>
                <a:gd name="connsiteX716" fmla="*/ 901446 w 1489995"/>
                <a:gd name="connsiteY716" fmla="*/ 154115 h 1273968"/>
                <a:gd name="connsiteX717" fmla="*/ 898398 w 1489995"/>
                <a:gd name="connsiteY717" fmla="*/ 143256 h 1273968"/>
                <a:gd name="connsiteX718" fmla="*/ 904494 w 1489995"/>
                <a:gd name="connsiteY718" fmla="*/ 140875 h 1273968"/>
                <a:gd name="connsiteX719" fmla="*/ 904304 w 1489995"/>
                <a:gd name="connsiteY719" fmla="*/ 139256 h 1273968"/>
                <a:gd name="connsiteX720" fmla="*/ 914019 w 1489995"/>
                <a:gd name="connsiteY720" fmla="*/ 139636 h 1273968"/>
                <a:gd name="connsiteX721" fmla="*/ 916781 w 1489995"/>
                <a:gd name="connsiteY721" fmla="*/ 136112 h 1273968"/>
                <a:gd name="connsiteX722" fmla="*/ 920115 w 1489995"/>
                <a:gd name="connsiteY722" fmla="*/ 137255 h 1273968"/>
                <a:gd name="connsiteX723" fmla="*/ 923830 w 1489995"/>
                <a:gd name="connsiteY723" fmla="*/ 115919 h 1273968"/>
                <a:gd name="connsiteX724" fmla="*/ 923449 w 1489995"/>
                <a:gd name="connsiteY724" fmla="*/ 112776 h 1273968"/>
                <a:gd name="connsiteX725" fmla="*/ 943165 w 1489995"/>
                <a:gd name="connsiteY725" fmla="*/ 116681 h 1273968"/>
                <a:gd name="connsiteX726" fmla="*/ 944309 w 1489995"/>
                <a:gd name="connsiteY726" fmla="*/ 113348 h 1273968"/>
                <a:gd name="connsiteX727" fmla="*/ 946309 w 1489995"/>
                <a:gd name="connsiteY727" fmla="*/ 103442 h 1273968"/>
                <a:gd name="connsiteX728" fmla="*/ 940308 w 1489995"/>
                <a:gd name="connsiteY728" fmla="*/ 81820 h 1273968"/>
                <a:gd name="connsiteX729" fmla="*/ 940498 w 1489995"/>
                <a:gd name="connsiteY729" fmla="*/ 70485 h 1273968"/>
                <a:gd name="connsiteX730" fmla="*/ 975074 w 1489995"/>
                <a:gd name="connsiteY730" fmla="*/ 77343 h 1273968"/>
                <a:gd name="connsiteX731" fmla="*/ 994410 w 1489995"/>
                <a:gd name="connsiteY731" fmla="*/ 90869 h 1273968"/>
                <a:gd name="connsiteX732" fmla="*/ 1008602 w 1489995"/>
                <a:gd name="connsiteY732" fmla="*/ 76295 h 1273968"/>
                <a:gd name="connsiteX733" fmla="*/ 1011746 w 1489995"/>
                <a:gd name="connsiteY733" fmla="*/ 75914 h 1273968"/>
                <a:gd name="connsiteX734" fmla="*/ 1014508 w 1489995"/>
                <a:gd name="connsiteY734" fmla="*/ 72295 h 1273968"/>
                <a:gd name="connsiteX735" fmla="*/ 1015651 w 1489995"/>
                <a:gd name="connsiteY735" fmla="*/ 68961 h 1273968"/>
                <a:gd name="connsiteX736" fmla="*/ 1013651 w 1489995"/>
                <a:gd name="connsiteY736" fmla="*/ 66008 h 1273968"/>
                <a:gd name="connsiteX737" fmla="*/ 1008317 w 1489995"/>
                <a:gd name="connsiteY737" fmla="*/ 61913 h 1273968"/>
                <a:gd name="connsiteX738" fmla="*/ 1009269 w 1489995"/>
                <a:gd name="connsiteY738" fmla="*/ 56959 h 1273968"/>
                <a:gd name="connsiteX739" fmla="*/ 1007364 w 1489995"/>
                <a:gd name="connsiteY739" fmla="*/ 54007 h 1273968"/>
                <a:gd name="connsiteX740" fmla="*/ 1019747 w 1489995"/>
                <a:gd name="connsiteY740" fmla="*/ 50768 h 1273968"/>
                <a:gd name="connsiteX741" fmla="*/ 1019556 w 1489995"/>
                <a:gd name="connsiteY741" fmla="*/ 49244 h 1273968"/>
                <a:gd name="connsiteX742" fmla="*/ 1027081 w 1489995"/>
                <a:gd name="connsiteY742" fmla="*/ 45053 h 1273968"/>
                <a:gd name="connsiteX743" fmla="*/ 1031748 w 1489995"/>
                <a:gd name="connsiteY743" fmla="*/ 44482 h 1273968"/>
                <a:gd name="connsiteX744" fmla="*/ 1034891 w 1489995"/>
                <a:gd name="connsiteY744" fmla="*/ 44005 h 1273968"/>
                <a:gd name="connsiteX745" fmla="*/ 1037654 w 1489995"/>
                <a:gd name="connsiteY745" fmla="*/ 40481 h 1273968"/>
                <a:gd name="connsiteX746" fmla="*/ 1038320 w 1489995"/>
                <a:gd name="connsiteY746" fmla="*/ 45244 h 1273968"/>
                <a:gd name="connsiteX747" fmla="*/ 1044035 w 1489995"/>
                <a:gd name="connsiteY747" fmla="*/ 39719 h 1273968"/>
                <a:gd name="connsiteX748" fmla="*/ 1050131 w 1489995"/>
                <a:gd name="connsiteY748" fmla="*/ 37338 h 1273968"/>
                <a:gd name="connsiteX749" fmla="*/ 1045750 w 1489995"/>
                <a:gd name="connsiteY749" fmla="*/ 28289 h 1273968"/>
                <a:gd name="connsiteX750" fmla="*/ 1047369 w 1489995"/>
                <a:gd name="connsiteY750" fmla="*/ 28003 h 1273968"/>
                <a:gd name="connsiteX751" fmla="*/ 1042988 w 1489995"/>
                <a:gd name="connsiteY751" fmla="*/ 18955 h 1273968"/>
                <a:gd name="connsiteX752" fmla="*/ 1039844 w 1489995"/>
                <a:gd name="connsiteY752" fmla="*/ 19336 h 1273968"/>
                <a:gd name="connsiteX753" fmla="*/ 1045940 w 1489995"/>
                <a:gd name="connsiteY753" fmla="*/ 16954 h 1273968"/>
                <a:gd name="connsiteX754" fmla="*/ 1047274 w 1489995"/>
                <a:gd name="connsiteY754" fmla="*/ 15240 h 1273968"/>
                <a:gd name="connsiteX755" fmla="*/ 1050608 w 1489995"/>
                <a:gd name="connsiteY755" fmla="*/ 16383 h 1273968"/>
                <a:gd name="connsiteX756" fmla="*/ 1050417 w 1489995"/>
                <a:gd name="connsiteY756" fmla="*/ 14859 h 1273968"/>
                <a:gd name="connsiteX757" fmla="*/ 1053656 w 1489995"/>
                <a:gd name="connsiteY757" fmla="*/ 14383 h 1273968"/>
                <a:gd name="connsiteX758" fmla="*/ 1055370 w 1489995"/>
                <a:gd name="connsiteY758" fmla="*/ 15811 h 1273968"/>
                <a:gd name="connsiteX759" fmla="*/ 1048798 w 1489995"/>
                <a:gd name="connsiteY759" fmla="*/ 2191 h 1273968"/>
                <a:gd name="connsiteX760" fmla="*/ 1053370 w 1489995"/>
                <a:gd name="connsiteY760" fmla="*/ 0 h 1273968"/>
                <a:gd name="connsiteX761" fmla="*/ 1066419 w 1489995"/>
                <a:gd name="connsiteY761" fmla="*/ 1524 h 1273968"/>
                <a:gd name="connsiteX762" fmla="*/ 1064990 w 1489995"/>
                <a:gd name="connsiteY762" fmla="*/ 3334 h 1273968"/>
                <a:gd name="connsiteX763" fmla="*/ 1067372 w 1489995"/>
                <a:gd name="connsiteY763" fmla="*/ 9430 h 1273968"/>
                <a:gd name="connsiteX764" fmla="*/ 1064419 w 1489995"/>
                <a:gd name="connsiteY764" fmla="*/ 11430 h 1273968"/>
                <a:gd name="connsiteX765" fmla="*/ 1066419 w 1489995"/>
                <a:gd name="connsiteY765" fmla="*/ 14383 h 1273968"/>
                <a:gd name="connsiteX766" fmla="*/ 1069562 w 1489995"/>
                <a:gd name="connsiteY766" fmla="*/ 14002 h 1273968"/>
                <a:gd name="connsiteX767" fmla="*/ 1073182 w 1489995"/>
                <a:gd name="connsiteY767" fmla="*/ 16764 h 1273968"/>
                <a:gd name="connsiteX768" fmla="*/ 1072706 w 1489995"/>
                <a:gd name="connsiteY768" fmla="*/ 13621 h 1273968"/>
                <a:gd name="connsiteX769" fmla="*/ 1077659 w 1489995"/>
                <a:gd name="connsiteY769" fmla="*/ 14573 h 1273968"/>
                <a:gd name="connsiteX770" fmla="*/ 1082040 w 1489995"/>
                <a:gd name="connsiteY770" fmla="*/ 23622 h 1273968"/>
                <a:gd name="connsiteX771" fmla="*/ 1077277 w 1489995"/>
                <a:gd name="connsiteY771" fmla="*/ 24194 h 1273968"/>
                <a:gd name="connsiteX772" fmla="*/ 1080706 w 1489995"/>
                <a:gd name="connsiteY772" fmla="*/ 25432 h 1273968"/>
                <a:gd name="connsiteX773" fmla="*/ 1082612 w 1489995"/>
                <a:gd name="connsiteY773" fmla="*/ 28384 h 1273968"/>
                <a:gd name="connsiteX774" fmla="*/ 1087374 w 1489995"/>
                <a:gd name="connsiteY774" fmla="*/ 27718 h 1273968"/>
                <a:gd name="connsiteX775" fmla="*/ 1090898 w 1489995"/>
                <a:gd name="connsiteY775" fmla="*/ 30480 h 1273968"/>
                <a:gd name="connsiteX776" fmla="*/ 1090136 w 1489995"/>
                <a:gd name="connsiteY776" fmla="*/ 24194 h 1273968"/>
                <a:gd name="connsiteX777" fmla="*/ 1094899 w 1489995"/>
                <a:gd name="connsiteY777" fmla="*/ 23622 h 1273968"/>
                <a:gd name="connsiteX778" fmla="*/ 1095661 w 1489995"/>
                <a:gd name="connsiteY778" fmla="*/ 17050 h 1273968"/>
                <a:gd name="connsiteX779" fmla="*/ 1096994 w 1489995"/>
                <a:gd name="connsiteY779" fmla="*/ 15335 h 1273968"/>
                <a:gd name="connsiteX780" fmla="*/ 1100423 w 1489995"/>
                <a:gd name="connsiteY780" fmla="*/ 16478 h 1273968"/>
                <a:gd name="connsiteX781" fmla="*/ 1097471 w 1489995"/>
                <a:gd name="connsiteY781" fmla="*/ 18478 h 1273968"/>
                <a:gd name="connsiteX782" fmla="*/ 1099185 w 1489995"/>
                <a:gd name="connsiteY782" fmla="*/ 19812 h 1273968"/>
                <a:gd name="connsiteX783" fmla="*/ 1102328 w 1489995"/>
                <a:gd name="connsiteY783" fmla="*/ 19431 h 1273968"/>
                <a:gd name="connsiteX784" fmla="*/ 1104329 w 1489995"/>
                <a:gd name="connsiteY784" fmla="*/ 22384 h 1273968"/>
                <a:gd name="connsiteX785" fmla="*/ 1109091 w 1489995"/>
                <a:gd name="connsiteY785" fmla="*/ 21812 h 1273968"/>
                <a:gd name="connsiteX786" fmla="*/ 1112234 w 1489995"/>
                <a:gd name="connsiteY786" fmla="*/ 21336 h 1273968"/>
                <a:gd name="connsiteX787" fmla="*/ 1118140 w 1489995"/>
                <a:gd name="connsiteY787" fmla="*/ 17431 h 1273968"/>
                <a:gd name="connsiteX788" fmla="*/ 1118521 w 1489995"/>
                <a:gd name="connsiteY788" fmla="*/ 20574 h 1273968"/>
                <a:gd name="connsiteX789" fmla="*/ 1117378 w 1489995"/>
                <a:gd name="connsiteY789" fmla="*/ 23908 h 1273968"/>
                <a:gd name="connsiteX790" fmla="*/ 1119188 w 1489995"/>
                <a:gd name="connsiteY790" fmla="*/ 25336 h 1273968"/>
                <a:gd name="connsiteX791" fmla="*/ 1125664 w 1489995"/>
                <a:gd name="connsiteY791" fmla="*/ 38862 h 1273968"/>
                <a:gd name="connsiteX792" fmla="*/ 1127284 w 1489995"/>
                <a:gd name="connsiteY792" fmla="*/ 38672 h 1273968"/>
                <a:gd name="connsiteX793" fmla="*/ 1128808 w 1489995"/>
                <a:gd name="connsiteY793" fmla="*/ 38481 h 1273968"/>
                <a:gd name="connsiteX794" fmla="*/ 1133951 w 1489995"/>
                <a:gd name="connsiteY794" fmla="*/ 41053 h 1273968"/>
                <a:gd name="connsiteX795" fmla="*/ 1134809 w 1489995"/>
                <a:gd name="connsiteY795" fmla="*/ 47339 h 1273968"/>
                <a:gd name="connsiteX796" fmla="*/ 1136142 w 1489995"/>
                <a:gd name="connsiteY796" fmla="*/ 45625 h 1273968"/>
                <a:gd name="connsiteX797" fmla="*/ 1139285 w 1489995"/>
                <a:gd name="connsiteY797" fmla="*/ 45148 h 1273968"/>
                <a:gd name="connsiteX798" fmla="*/ 1139476 w 1489995"/>
                <a:gd name="connsiteY798" fmla="*/ 46768 h 1273968"/>
                <a:gd name="connsiteX799" fmla="*/ 1138523 w 1489995"/>
                <a:gd name="connsiteY799" fmla="*/ 51721 h 1273968"/>
                <a:gd name="connsiteX800" fmla="*/ 1142333 w 1489995"/>
                <a:gd name="connsiteY800" fmla="*/ 56007 h 1273968"/>
                <a:gd name="connsiteX801" fmla="*/ 1141285 w 1489995"/>
                <a:gd name="connsiteY801" fmla="*/ 60960 h 1273968"/>
                <a:gd name="connsiteX802" fmla="*/ 1145667 w 1489995"/>
                <a:gd name="connsiteY802" fmla="*/ 57245 h 1273968"/>
                <a:gd name="connsiteX803" fmla="*/ 1147477 w 1489995"/>
                <a:gd name="connsiteY803" fmla="*/ 58579 h 1273968"/>
                <a:gd name="connsiteX804" fmla="*/ 1151954 w 1489995"/>
                <a:gd name="connsiteY804" fmla="*/ 56388 h 1273968"/>
                <a:gd name="connsiteX805" fmla="*/ 1156716 w 1489995"/>
                <a:gd name="connsiteY805" fmla="*/ 55817 h 1273968"/>
                <a:gd name="connsiteX806" fmla="*/ 1156716 w 1489995"/>
                <a:gd name="connsiteY806" fmla="*/ 55817 h 1273968"/>
                <a:gd name="connsiteX807" fmla="*/ 1160907 w 1489995"/>
                <a:gd name="connsiteY807" fmla="*/ 63246 h 1273968"/>
                <a:gd name="connsiteX808" fmla="*/ 1166051 w 1489995"/>
                <a:gd name="connsiteY808" fmla="*/ 65818 h 1273968"/>
                <a:gd name="connsiteX809" fmla="*/ 1164812 w 1489995"/>
                <a:gd name="connsiteY809" fmla="*/ 69247 h 1273968"/>
                <a:gd name="connsiteX810" fmla="*/ 1169575 w 1489995"/>
                <a:gd name="connsiteY810" fmla="*/ 68580 h 1273968"/>
                <a:gd name="connsiteX811" fmla="*/ 1178433 w 1489995"/>
                <a:gd name="connsiteY811" fmla="*/ 75438 h 1273968"/>
                <a:gd name="connsiteX812" fmla="*/ 1175671 w 1489995"/>
                <a:gd name="connsiteY812" fmla="*/ 79057 h 1273968"/>
                <a:gd name="connsiteX813" fmla="*/ 1175861 w 1489995"/>
                <a:gd name="connsiteY813" fmla="*/ 80581 h 1273968"/>
                <a:gd name="connsiteX814" fmla="*/ 1178909 w 1489995"/>
                <a:gd name="connsiteY814" fmla="*/ 78676 h 1273968"/>
                <a:gd name="connsiteX815" fmla="*/ 1177862 w 1489995"/>
                <a:gd name="connsiteY815" fmla="*/ 83534 h 1273968"/>
                <a:gd name="connsiteX816" fmla="*/ 1181290 w 1489995"/>
                <a:gd name="connsiteY816" fmla="*/ 97536 h 1273968"/>
                <a:gd name="connsiteX817" fmla="*/ 1183100 w 1489995"/>
                <a:gd name="connsiteY817" fmla="*/ 98965 h 1273968"/>
                <a:gd name="connsiteX818" fmla="*/ 1185005 w 1489995"/>
                <a:gd name="connsiteY818" fmla="*/ 101917 h 1273968"/>
                <a:gd name="connsiteX819" fmla="*/ 1192721 w 1489995"/>
                <a:gd name="connsiteY819" fmla="*/ 99346 h 1273968"/>
                <a:gd name="connsiteX820" fmla="*/ 1193102 w 1489995"/>
                <a:gd name="connsiteY820" fmla="*/ 102489 h 1273968"/>
                <a:gd name="connsiteX821" fmla="*/ 1194721 w 1489995"/>
                <a:gd name="connsiteY821" fmla="*/ 102298 h 1273968"/>
                <a:gd name="connsiteX822" fmla="*/ 1194911 w 1489995"/>
                <a:gd name="connsiteY822" fmla="*/ 103823 h 1273968"/>
                <a:gd name="connsiteX823" fmla="*/ 1199483 w 1489995"/>
                <a:gd name="connsiteY823" fmla="*/ 101727 h 1273968"/>
                <a:gd name="connsiteX824" fmla="*/ 1204341 w 1489995"/>
                <a:gd name="connsiteY824" fmla="*/ 102679 h 1273968"/>
                <a:gd name="connsiteX825" fmla="*/ 1209675 w 1489995"/>
                <a:gd name="connsiteY825" fmla="*/ 106775 h 1273968"/>
                <a:gd name="connsiteX826" fmla="*/ 1208342 w 1489995"/>
                <a:gd name="connsiteY826" fmla="*/ 108585 h 1273968"/>
                <a:gd name="connsiteX827" fmla="*/ 1209961 w 1489995"/>
                <a:gd name="connsiteY827" fmla="*/ 108394 h 1273968"/>
                <a:gd name="connsiteX828" fmla="*/ 1210342 w 1489995"/>
                <a:gd name="connsiteY828" fmla="*/ 111538 h 1273968"/>
                <a:gd name="connsiteX829" fmla="*/ 1213485 w 1489995"/>
                <a:gd name="connsiteY829" fmla="*/ 111157 h 1273968"/>
                <a:gd name="connsiteX830" fmla="*/ 1212342 w 1489995"/>
                <a:gd name="connsiteY830" fmla="*/ 114490 h 1273968"/>
                <a:gd name="connsiteX831" fmla="*/ 1210723 w 1489995"/>
                <a:gd name="connsiteY831" fmla="*/ 114681 h 1273968"/>
                <a:gd name="connsiteX832" fmla="*/ 1211104 w 1489995"/>
                <a:gd name="connsiteY832" fmla="*/ 117824 h 1273968"/>
                <a:gd name="connsiteX833" fmla="*/ 1209580 w 1489995"/>
                <a:gd name="connsiteY833" fmla="*/ 118015 h 1273968"/>
                <a:gd name="connsiteX834" fmla="*/ 1210151 w 1489995"/>
                <a:gd name="connsiteY834" fmla="*/ 122777 h 1273968"/>
                <a:gd name="connsiteX835" fmla="*/ 1203674 w 1489995"/>
                <a:gd name="connsiteY835" fmla="*/ 122015 h 1273968"/>
                <a:gd name="connsiteX836" fmla="*/ 1204055 w 1489995"/>
                <a:gd name="connsiteY836" fmla="*/ 125158 h 1273968"/>
                <a:gd name="connsiteX837" fmla="*/ 1196150 w 1489995"/>
                <a:gd name="connsiteY837" fmla="*/ 126111 h 1273968"/>
                <a:gd name="connsiteX838" fmla="*/ 1191768 w 1489995"/>
                <a:gd name="connsiteY838" fmla="*/ 129921 h 1273968"/>
                <a:gd name="connsiteX839" fmla="*/ 1192816 w 1489995"/>
                <a:gd name="connsiteY839" fmla="*/ 137827 h 1273968"/>
                <a:gd name="connsiteX840" fmla="*/ 1194816 w 1489995"/>
                <a:gd name="connsiteY840" fmla="*/ 140779 h 1273968"/>
                <a:gd name="connsiteX841" fmla="*/ 1198150 w 1489995"/>
                <a:gd name="connsiteY841" fmla="*/ 141923 h 1273968"/>
                <a:gd name="connsiteX842" fmla="*/ 1205675 w 1489995"/>
                <a:gd name="connsiteY842" fmla="*/ 150590 h 1273968"/>
                <a:gd name="connsiteX843" fmla="*/ 1206246 w 1489995"/>
                <a:gd name="connsiteY843" fmla="*/ 155353 h 1273968"/>
                <a:gd name="connsiteX844" fmla="*/ 1205103 w 1489995"/>
                <a:gd name="connsiteY844" fmla="*/ 158686 h 1273968"/>
                <a:gd name="connsiteX845" fmla="*/ 1203769 w 1489995"/>
                <a:gd name="connsiteY845" fmla="*/ 160496 h 1273968"/>
                <a:gd name="connsiteX846" fmla="*/ 1207103 w 1489995"/>
                <a:gd name="connsiteY846" fmla="*/ 161639 h 1273968"/>
                <a:gd name="connsiteX847" fmla="*/ 1212437 w 1489995"/>
                <a:gd name="connsiteY847" fmla="*/ 165735 h 1273968"/>
                <a:gd name="connsiteX848" fmla="*/ 1211009 w 1489995"/>
                <a:gd name="connsiteY848" fmla="*/ 167545 h 1273968"/>
                <a:gd name="connsiteX849" fmla="*/ 1211485 w 1489995"/>
                <a:gd name="connsiteY849" fmla="*/ 170688 h 1273968"/>
                <a:gd name="connsiteX850" fmla="*/ 1208056 w 1489995"/>
                <a:gd name="connsiteY850" fmla="*/ 169545 h 1273968"/>
                <a:gd name="connsiteX851" fmla="*/ 1206722 w 1489995"/>
                <a:gd name="connsiteY851" fmla="*/ 171355 h 1273968"/>
                <a:gd name="connsiteX852" fmla="*/ 1208246 w 1489995"/>
                <a:gd name="connsiteY852" fmla="*/ 171069 h 1273968"/>
                <a:gd name="connsiteX853" fmla="*/ 1208723 w 1489995"/>
                <a:gd name="connsiteY853" fmla="*/ 174308 h 1273968"/>
                <a:gd name="connsiteX854" fmla="*/ 1207484 w 1489995"/>
                <a:gd name="connsiteY854" fmla="*/ 177641 h 1273968"/>
                <a:gd name="connsiteX855" fmla="*/ 1209104 w 1489995"/>
                <a:gd name="connsiteY855" fmla="*/ 177451 h 1273968"/>
                <a:gd name="connsiteX856" fmla="*/ 1208342 w 1489995"/>
                <a:gd name="connsiteY856" fmla="*/ 183928 h 1273968"/>
                <a:gd name="connsiteX857" fmla="*/ 1206722 w 1489995"/>
                <a:gd name="connsiteY857" fmla="*/ 184118 h 1273968"/>
                <a:gd name="connsiteX858" fmla="*/ 1207389 w 1489995"/>
                <a:gd name="connsiteY858" fmla="*/ 188881 h 1273968"/>
                <a:gd name="connsiteX859" fmla="*/ 1203008 w 1489995"/>
                <a:gd name="connsiteY859" fmla="*/ 192596 h 1273968"/>
                <a:gd name="connsiteX860" fmla="*/ 1205389 w 1489995"/>
                <a:gd name="connsiteY860" fmla="*/ 198787 h 1273968"/>
                <a:gd name="connsiteX861" fmla="*/ 1209961 w 1489995"/>
                <a:gd name="connsiteY861" fmla="*/ 196596 h 1273968"/>
                <a:gd name="connsiteX862" fmla="*/ 1210342 w 1489995"/>
                <a:gd name="connsiteY862" fmla="*/ 199739 h 1273968"/>
                <a:gd name="connsiteX863" fmla="*/ 1213294 w 1489995"/>
                <a:gd name="connsiteY863" fmla="*/ 197739 h 1273968"/>
                <a:gd name="connsiteX864" fmla="*/ 1215104 w 1489995"/>
                <a:gd name="connsiteY864" fmla="*/ 199073 h 1273968"/>
                <a:gd name="connsiteX865" fmla="*/ 1221010 w 1489995"/>
                <a:gd name="connsiteY865" fmla="*/ 208026 h 1273968"/>
                <a:gd name="connsiteX866" fmla="*/ 1221391 w 1489995"/>
                <a:gd name="connsiteY866" fmla="*/ 211169 h 1273968"/>
                <a:gd name="connsiteX867" fmla="*/ 1216628 w 1489995"/>
                <a:gd name="connsiteY867" fmla="*/ 211741 h 1273968"/>
                <a:gd name="connsiteX868" fmla="*/ 1217295 w 1489995"/>
                <a:gd name="connsiteY868" fmla="*/ 216503 h 1273968"/>
                <a:gd name="connsiteX869" fmla="*/ 1220629 w 1489995"/>
                <a:gd name="connsiteY869" fmla="*/ 217646 h 1273968"/>
                <a:gd name="connsiteX870" fmla="*/ 1219486 w 1489995"/>
                <a:gd name="connsiteY870" fmla="*/ 220980 h 1273968"/>
                <a:gd name="connsiteX871" fmla="*/ 1226153 w 1489995"/>
                <a:gd name="connsiteY871" fmla="*/ 223361 h 1273968"/>
                <a:gd name="connsiteX872" fmla="*/ 1220914 w 1489995"/>
                <a:gd name="connsiteY872" fmla="*/ 244888 h 1273968"/>
                <a:gd name="connsiteX873" fmla="*/ 1219105 w 1489995"/>
                <a:gd name="connsiteY873" fmla="*/ 243459 h 1273968"/>
                <a:gd name="connsiteX874" fmla="*/ 1217962 w 1489995"/>
                <a:gd name="connsiteY874" fmla="*/ 246888 h 1273968"/>
                <a:gd name="connsiteX875" fmla="*/ 1215962 w 1489995"/>
                <a:gd name="connsiteY875" fmla="*/ 243935 h 1273968"/>
                <a:gd name="connsiteX876" fmla="*/ 1214818 w 1489995"/>
                <a:gd name="connsiteY876" fmla="*/ 247269 h 1273968"/>
                <a:gd name="connsiteX877" fmla="*/ 1208437 w 1489995"/>
                <a:gd name="connsiteY877" fmla="*/ 248031 h 1273968"/>
                <a:gd name="connsiteX878" fmla="*/ 1209294 w 1489995"/>
                <a:gd name="connsiteY878" fmla="*/ 254413 h 1273968"/>
                <a:gd name="connsiteX879" fmla="*/ 1210818 w 1489995"/>
                <a:gd name="connsiteY879" fmla="*/ 254222 h 1273968"/>
                <a:gd name="connsiteX880" fmla="*/ 1211294 w 1489995"/>
                <a:gd name="connsiteY880" fmla="*/ 257365 h 1273968"/>
                <a:gd name="connsiteX881" fmla="*/ 1208342 w 1489995"/>
                <a:gd name="connsiteY881" fmla="*/ 259271 h 1273968"/>
                <a:gd name="connsiteX882" fmla="*/ 1213676 w 1489995"/>
                <a:gd name="connsiteY882" fmla="*/ 263461 h 1273968"/>
                <a:gd name="connsiteX883" fmla="*/ 1212437 w 1489995"/>
                <a:gd name="connsiteY883" fmla="*/ 266795 h 1273968"/>
                <a:gd name="connsiteX884" fmla="*/ 1209294 w 1489995"/>
                <a:gd name="connsiteY884" fmla="*/ 267176 h 1273968"/>
                <a:gd name="connsiteX885" fmla="*/ 1207960 w 1489995"/>
                <a:gd name="connsiteY885" fmla="*/ 268986 h 1273968"/>
                <a:gd name="connsiteX886" fmla="*/ 1206341 w 1489995"/>
                <a:gd name="connsiteY886" fmla="*/ 269177 h 1273968"/>
                <a:gd name="connsiteX887" fmla="*/ 1207770 w 1489995"/>
                <a:gd name="connsiteY887" fmla="*/ 267367 h 1273968"/>
                <a:gd name="connsiteX888" fmla="*/ 1205960 w 1489995"/>
                <a:gd name="connsiteY888" fmla="*/ 266033 h 1273968"/>
                <a:gd name="connsiteX889" fmla="*/ 1204531 w 1489995"/>
                <a:gd name="connsiteY889" fmla="*/ 267843 h 1273968"/>
                <a:gd name="connsiteX890" fmla="*/ 1201198 w 1489995"/>
                <a:gd name="connsiteY890" fmla="*/ 266605 h 1273968"/>
                <a:gd name="connsiteX891" fmla="*/ 1199864 w 1489995"/>
                <a:gd name="connsiteY891" fmla="*/ 268415 h 1273968"/>
                <a:gd name="connsiteX892" fmla="*/ 1196245 w 1489995"/>
                <a:gd name="connsiteY892" fmla="*/ 265652 h 1273968"/>
                <a:gd name="connsiteX893" fmla="*/ 1193768 w 1489995"/>
                <a:gd name="connsiteY893" fmla="*/ 270796 h 1273968"/>
                <a:gd name="connsiteX894" fmla="*/ 1186815 w 1489995"/>
                <a:gd name="connsiteY894" fmla="*/ 279654 h 1273968"/>
                <a:gd name="connsiteX895" fmla="*/ 1192339 w 1489995"/>
                <a:gd name="connsiteY895" fmla="*/ 285369 h 1273968"/>
                <a:gd name="connsiteX896" fmla="*/ 1196340 w 1489995"/>
                <a:gd name="connsiteY896" fmla="*/ 291275 h 1273968"/>
                <a:gd name="connsiteX897" fmla="*/ 1199483 w 1489995"/>
                <a:gd name="connsiteY897" fmla="*/ 290894 h 1273968"/>
                <a:gd name="connsiteX898" fmla="*/ 1204817 w 1489995"/>
                <a:gd name="connsiteY898" fmla="*/ 295085 h 1273968"/>
                <a:gd name="connsiteX899" fmla="*/ 1203293 w 1489995"/>
                <a:gd name="connsiteY899" fmla="*/ 295275 h 1273968"/>
                <a:gd name="connsiteX900" fmla="*/ 1199102 w 1489995"/>
                <a:gd name="connsiteY900" fmla="*/ 300609 h 1273968"/>
                <a:gd name="connsiteX901" fmla="*/ 1201864 w 1489995"/>
                <a:gd name="connsiteY901" fmla="*/ 309848 h 1273968"/>
                <a:gd name="connsiteX902" fmla="*/ 1204055 w 1489995"/>
                <a:gd name="connsiteY902" fmla="*/ 314420 h 1273968"/>
                <a:gd name="connsiteX903" fmla="*/ 1207675 w 1489995"/>
                <a:gd name="connsiteY903" fmla="*/ 317087 h 1273968"/>
                <a:gd name="connsiteX904" fmla="*/ 1214533 w 1489995"/>
                <a:gd name="connsiteY904" fmla="*/ 321088 h 1273968"/>
                <a:gd name="connsiteX905" fmla="*/ 1221296 w 1489995"/>
                <a:gd name="connsiteY905" fmla="*/ 323374 h 1273968"/>
                <a:gd name="connsiteX906" fmla="*/ 1224248 w 1489995"/>
                <a:gd name="connsiteY906" fmla="*/ 321469 h 1273968"/>
                <a:gd name="connsiteX907" fmla="*/ 1229582 w 1489995"/>
                <a:gd name="connsiteY907" fmla="*/ 312706 h 1273968"/>
                <a:gd name="connsiteX908" fmla="*/ 1233488 w 1489995"/>
                <a:gd name="connsiteY908" fmla="*/ 318611 h 1273968"/>
                <a:gd name="connsiteX909" fmla="*/ 1241965 w 1489995"/>
                <a:gd name="connsiteY909" fmla="*/ 322326 h 1273968"/>
                <a:gd name="connsiteX910" fmla="*/ 1245394 w 1489995"/>
                <a:gd name="connsiteY910" fmla="*/ 323564 h 1273968"/>
                <a:gd name="connsiteX911" fmla="*/ 1243965 w 1489995"/>
                <a:gd name="connsiteY911" fmla="*/ 325374 h 1273968"/>
                <a:gd name="connsiteX912" fmla="*/ 1242631 w 1489995"/>
                <a:gd name="connsiteY912" fmla="*/ 327088 h 1273968"/>
                <a:gd name="connsiteX913" fmla="*/ 1241012 w 1489995"/>
                <a:gd name="connsiteY913" fmla="*/ 327279 h 1273968"/>
                <a:gd name="connsiteX914" fmla="*/ 1240441 w 1489995"/>
                <a:gd name="connsiteY914" fmla="*/ 335375 h 1273968"/>
                <a:gd name="connsiteX915" fmla="*/ 1243775 w 1489995"/>
                <a:gd name="connsiteY915" fmla="*/ 336613 h 1273968"/>
                <a:gd name="connsiteX916" fmla="*/ 1247965 w 1489995"/>
                <a:gd name="connsiteY916" fmla="*/ 331280 h 1273968"/>
                <a:gd name="connsiteX917" fmla="*/ 1249680 w 1489995"/>
                <a:gd name="connsiteY917" fmla="*/ 332613 h 1273968"/>
                <a:gd name="connsiteX918" fmla="*/ 1249871 w 1489995"/>
                <a:gd name="connsiteY918" fmla="*/ 334232 h 1273968"/>
                <a:gd name="connsiteX919" fmla="*/ 1253871 w 1489995"/>
                <a:gd name="connsiteY919" fmla="*/ 340138 h 1273968"/>
                <a:gd name="connsiteX920" fmla="*/ 1255490 w 1489995"/>
                <a:gd name="connsiteY920" fmla="*/ 339947 h 1273968"/>
                <a:gd name="connsiteX921" fmla="*/ 1257395 w 1489995"/>
                <a:gd name="connsiteY921" fmla="*/ 342900 h 1273968"/>
                <a:gd name="connsiteX922" fmla="*/ 1260634 w 1489995"/>
                <a:gd name="connsiteY922" fmla="*/ 342424 h 1273968"/>
                <a:gd name="connsiteX923" fmla="*/ 1264348 w 1489995"/>
                <a:gd name="connsiteY923" fmla="*/ 346805 h 1273968"/>
                <a:gd name="connsiteX924" fmla="*/ 1264920 w 1489995"/>
                <a:gd name="connsiteY924" fmla="*/ 351568 h 1273968"/>
                <a:gd name="connsiteX925" fmla="*/ 1261586 w 1489995"/>
                <a:gd name="connsiteY925" fmla="*/ 350330 h 1273968"/>
                <a:gd name="connsiteX926" fmla="*/ 1255681 w 1489995"/>
                <a:gd name="connsiteY926" fmla="*/ 354330 h 1273968"/>
                <a:gd name="connsiteX927" fmla="*/ 1256062 w 1489995"/>
                <a:gd name="connsiteY927" fmla="*/ 357473 h 1273968"/>
                <a:gd name="connsiteX928" fmla="*/ 1259681 w 1489995"/>
                <a:gd name="connsiteY928" fmla="*/ 360236 h 1273968"/>
                <a:gd name="connsiteX929" fmla="*/ 1260253 w 1489995"/>
                <a:gd name="connsiteY929" fmla="*/ 364998 h 1273968"/>
                <a:gd name="connsiteX930" fmla="*/ 1257681 w 1489995"/>
                <a:gd name="connsiteY930" fmla="*/ 370046 h 1273968"/>
                <a:gd name="connsiteX931" fmla="*/ 1261301 w 1489995"/>
                <a:gd name="connsiteY931" fmla="*/ 372809 h 1273968"/>
                <a:gd name="connsiteX932" fmla="*/ 1271492 w 1489995"/>
                <a:gd name="connsiteY932" fmla="*/ 377952 h 1273968"/>
                <a:gd name="connsiteX933" fmla="*/ 1271968 w 1489995"/>
                <a:gd name="connsiteY933" fmla="*/ 381095 h 1273968"/>
                <a:gd name="connsiteX934" fmla="*/ 1273683 w 1489995"/>
                <a:gd name="connsiteY934" fmla="*/ 382524 h 1273968"/>
                <a:gd name="connsiteX935" fmla="*/ 1274921 w 1489995"/>
                <a:gd name="connsiteY935" fmla="*/ 379095 h 1273968"/>
                <a:gd name="connsiteX936" fmla="*/ 1276445 w 1489995"/>
                <a:gd name="connsiteY936" fmla="*/ 378905 h 1273968"/>
                <a:gd name="connsiteX937" fmla="*/ 1276826 w 1489995"/>
                <a:gd name="connsiteY937" fmla="*/ 382048 h 1273968"/>
                <a:gd name="connsiteX938" fmla="*/ 1278636 w 1489995"/>
                <a:gd name="connsiteY938" fmla="*/ 383477 h 1273968"/>
                <a:gd name="connsiteX939" fmla="*/ 1280065 w 1489995"/>
                <a:gd name="connsiteY939" fmla="*/ 381667 h 1273968"/>
                <a:gd name="connsiteX940" fmla="*/ 1281589 w 1489995"/>
                <a:gd name="connsiteY940" fmla="*/ 381476 h 1273968"/>
                <a:gd name="connsiteX941" fmla="*/ 1281208 w 1489995"/>
                <a:gd name="connsiteY941" fmla="*/ 378333 h 1273968"/>
                <a:gd name="connsiteX942" fmla="*/ 1290828 w 1489995"/>
                <a:gd name="connsiteY942" fmla="*/ 378714 h 1273968"/>
                <a:gd name="connsiteX943" fmla="*/ 1295019 w 1489995"/>
                <a:gd name="connsiteY943" fmla="*/ 373380 h 1273968"/>
                <a:gd name="connsiteX944" fmla="*/ 1298162 w 1489995"/>
                <a:gd name="connsiteY944" fmla="*/ 372999 h 1273968"/>
                <a:gd name="connsiteX945" fmla="*/ 1299972 w 1489995"/>
                <a:gd name="connsiteY945" fmla="*/ 374333 h 1273968"/>
                <a:gd name="connsiteX946" fmla="*/ 1300163 w 1489995"/>
                <a:gd name="connsiteY946" fmla="*/ 375952 h 1273968"/>
                <a:gd name="connsiteX947" fmla="*/ 1303687 w 1489995"/>
                <a:gd name="connsiteY947" fmla="*/ 378714 h 1273968"/>
                <a:gd name="connsiteX948" fmla="*/ 1303877 w 1489995"/>
                <a:gd name="connsiteY948" fmla="*/ 380238 h 1273968"/>
                <a:gd name="connsiteX949" fmla="*/ 1306830 w 1489995"/>
                <a:gd name="connsiteY949" fmla="*/ 378238 h 1273968"/>
                <a:gd name="connsiteX950" fmla="*/ 1310450 w 1489995"/>
                <a:gd name="connsiteY950" fmla="*/ 381000 h 1273968"/>
                <a:gd name="connsiteX951" fmla="*/ 1311783 w 1489995"/>
                <a:gd name="connsiteY951" fmla="*/ 379286 h 1273968"/>
                <a:gd name="connsiteX952" fmla="*/ 1318546 w 1489995"/>
                <a:gd name="connsiteY952" fmla="*/ 381571 h 1273968"/>
                <a:gd name="connsiteX953" fmla="*/ 1325404 w 1489995"/>
                <a:gd name="connsiteY953" fmla="*/ 385477 h 1273968"/>
                <a:gd name="connsiteX954" fmla="*/ 1324070 w 1489995"/>
                <a:gd name="connsiteY954" fmla="*/ 387286 h 1273968"/>
                <a:gd name="connsiteX955" fmla="*/ 1327594 w 1489995"/>
                <a:gd name="connsiteY955" fmla="*/ 390049 h 1273968"/>
                <a:gd name="connsiteX956" fmla="*/ 1328928 w 1489995"/>
                <a:gd name="connsiteY956" fmla="*/ 388239 h 1273968"/>
                <a:gd name="connsiteX957" fmla="*/ 1333310 w 1489995"/>
                <a:gd name="connsiteY957" fmla="*/ 384524 h 1273968"/>
                <a:gd name="connsiteX958" fmla="*/ 1335691 w 1489995"/>
                <a:gd name="connsiteY958" fmla="*/ 377761 h 1273968"/>
                <a:gd name="connsiteX959" fmla="*/ 1342168 w 1489995"/>
                <a:gd name="connsiteY959" fmla="*/ 378619 h 1273968"/>
                <a:gd name="connsiteX960" fmla="*/ 1346549 w 1489995"/>
                <a:gd name="connsiteY960" fmla="*/ 374809 h 1273968"/>
                <a:gd name="connsiteX961" fmla="*/ 1351217 w 1489995"/>
                <a:gd name="connsiteY961" fmla="*/ 374237 h 1273968"/>
                <a:gd name="connsiteX962" fmla="*/ 1352645 w 1489995"/>
                <a:gd name="connsiteY962" fmla="*/ 372428 h 1273968"/>
                <a:gd name="connsiteX963" fmla="*/ 1357313 w 1489995"/>
                <a:gd name="connsiteY963" fmla="*/ 371856 h 1273968"/>
                <a:gd name="connsiteX964" fmla="*/ 1358551 w 1489995"/>
                <a:gd name="connsiteY964" fmla="*/ 368522 h 1273968"/>
                <a:gd name="connsiteX965" fmla="*/ 1358932 w 1489995"/>
                <a:gd name="connsiteY965" fmla="*/ 371665 h 1273968"/>
                <a:gd name="connsiteX966" fmla="*/ 1360551 w 1489995"/>
                <a:gd name="connsiteY966" fmla="*/ 371475 h 1273968"/>
                <a:gd name="connsiteX967" fmla="*/ 1361504 w 1489995"/>
                <a:gd name="connsiteY967" fmla="*/ 379286 h 1273968"/>
                <a:gd name="connsiteX968" fmla="*/ 1363123 w 1489995"/>
                <a:gd name="connsiteY968" fmla="*/ 379095 h 1273968"/>
                <a:gd name="connsiteX969" fmla="*/ 1363313 w 1489995"/>
                <a:gd name="connsiteY969" fmla="*/ 380714 h 1273968"/>
                <a:gd name="connsiteX970" fmla="*/ 1367981 w 1489995"/>
                <a:gd name="connsiteY970" fmla="*/ 380048 h 1273968"/>
                <a:gd name="connsiteX971" fmla="*/ 1371600 w 1489995"/>
                <a:gd name="connsiteY971" fmla="*/ 382810 h 1273968"/>
                <a:gd name="connsiteX972" fmla="*/ 1371790 w 1489995"/>
                <a:gd name="connsiteY972" fmla="*/ 384429 h 1273968"/>
                <a:gd name="connsiteX973" fmla="*/ 1376553 w 1489995"/>
                <a:gd name="connsiteY973" fmla="*/ 383858 h 1273968"/>
                <a:gd name="connsiteX974" fmla="*/ 1378744 w 1489995"/>
                <a:gd name="connsiteY974" fmla="*/ 388334 h 1273968"/>
                <a:gd name="connsiteX975" fmla="*/ 1374362 w 1489995"/>
                <a:gd name="connsiteY975" fmla="*/ 392144 h 1273968"/>
                <a:gd name="connsiteX976" fmla="*/ 1376553 w 1489995"/>
                <a:gd name="connsiteY976" fmla="*/ 396621 h 1273968"/>
                <a:gd name="connsiteX977" fmla="*/ 1376743 w 1489995"/>
                <a:gd name="connsiteY977" fmla="*/ 398240 h 1273968"/>
                <a:gd name="connsiteX978" fmla="*/ 1375219 w 1489995"/>
                <a:gd name="connsiteY978" fmla="*/ 398431 h 1273968"/>
                <a:gd name="connsiteX979" fmla="*/ 1377982 w 1489995"/>
                <a:gd name="connsiteY979" fmla="*/ 407670 h 1273968"/>
                <a:gd name="connsiteX980" fmla="*/ 1377029 w 1489995"/>
                <a:gd name="connsiteY980" fmla="*/ 412623 h 1273968"/>
                <a:gd name="connsiteX981" fmla="*/ 1378744 w 1489995"/>
                <a:gd name="connsiteY981" fmla="*/ 413957 h 1273968"/>
                <a:gd name="connsiteX982" fmla="*/ 1382744 w 1489995"/>
                <a:gd name="connsiteY982" fmla="*/ 419957 h 1273968"/>
                <a:gd name="connsiteX983" fmla="*/ 1378363 w 1489995"/>
                <a:gd name="connsiteY983" fmla="*/ 423672 h 1273968"/>
                <a:gd name="connsiteX984" fmla="*/ 1373696 w 1489995"/>
                <a:gd name="connsiteY984" fmla="*/ 424244 h 1273968"/>
                <a:gd name="connsiteX985" fmla="*/ 1370933 w 1489995"/>
                <a:gd name="connsiteY985" fmla="*/ 427863 h 1273968"/>
                <a:gd name="connsiteX986" fmla="*/ 1374267 w 1489995"/>
                <a:gd name="connsiteY986" fmla="*/ 429006 h 1273968"/>
                <a:gd name="connsiteX987" fmla="*/ 1376077 w 1489995"/>
                <a:gd name="connsiteY987" fmla="*/ 443198 h 1273968"/>
                <a:gd name="connsiteX988" fmla="*/ 1372362 w 1489995"/>
                <a:gd name="connsiteY988" fmla="*/ 451675 h 1273968"/>
                <a:gd name="connsiteX989" fmla="*/ 1378839 w 1489995"/>
                <a:gd name="connsiteY989" fmla="*/ 452438 h 1273968"/>
                <a:gd name="connsiteX990" fmla="*/ 1379696 w 1489995"/>
                <a:gd name="connsiteY990" fmla="*/ 458819 h 1273968"/>
                <a:gd name="connsiteX991" fmla="*/ 1381220 w 1489995"/>
                <a:gd name="connsiteY991" fmla="*/ 458629 h 1273968"/>
                <a:gd name="connsiteX992" fmla="*/ 1387983 w 1489995"/>
                <a:gd name="connsiteY992" fmla="*/ 460915 h 1273968"/>
                <a:gd name="connsiteX993" fmla="*/ 1385983 w 1489995"/>
                <a:gd name="connsiteY993" fmla="*/ 470821 h 1273968"/>
                <a:gd name="connsiteX994" fmla="*/ 1388745 w 1489995"/>
                <a:gd name="connsiteY994" fmla="*/ 467296 h 1273968"/>
                <a:gd name="connsiteX995" fmla="*/ 1389126 w 1489995"/>
                <a:gd name="connsiteY995" fmla="*/ 470440 h 1273968"/>
                <a:gd name="connsiteX996" fmla="*/ 1390936 w 1489995"/>
                <a:gd name="connsiteY996" fmla="*/ 471773 h 1273968"/>
                <a:gd name="connsiteX997" fmla="*/ 1388364 w 1489995"/>
                <a:gd name="connsiteY997" fmla="*/ 476917 h 1273968"/>
                <a:gd name="connsiteX998" fmla="*/ 1394269 w 1489995"/>
                <a:gd name="connsiteY998" fmla="*/ 472916 h 1273968"/>
                <a:gd name="connsiteX999" fmla="*/ 1390364 w 1489995"/>
                <a:gd name="connsiteY999" fmla="*/ 479869 h 1273968"/>
                <a:gd name="connsiteX1000" fmla="*/ 1391126 w 1489995"/>
                <a:gd name="connsiteY1000" fmla="*/ 486156 h 1273968"/>
                <a:gd name="connsiteX1001" fmla="*/ 1388650 w 1489995"/>
                <a:gd name="connsiteY1001" fmla="*/ 491300 h 1273968"/>
                <a:gd name="connsiteX1002" fmla="*/ 1386840 w 1489995"/>
                <a:gd name="connsiteY1002" fmla="*/ 489966 h 1273968"/>
                <a:gd name="connsiteX1003" fmla="*/ 1384078 w 1489995"/>
                <a:gd name="connsiteY1003" fmla="*/ 493490 h 1273968"/>
                <a:gd name="connsiteX1004" fmla="*/ 1385888 w 1489995"/>
                <a:gd name="connsiteY1004" fmla="*/ 494919 h 1273968"/>
                <a:gd name="connsiteX1005" fmla="*/ 1387888 w 1489995"/>
                <a:gd name="connsiteY1005" fmla="*/ 497872 h 1273968"/>
                <a:gd name="connsiteX1006" fmla="*/ 1386268 w 1489995"/>
                <a:gd name="connsiteY1006" fmla="*/ 498062 h 1273968"/>
                <a:gd name="connsiteX1007" fmla="*/ 1385316 w 1489995"/>
                <a:gd name="connsiteY1007" fmla="*/ 503015 h 1273968"/>
                <a:gd name="connsiteX1008" fmla="*/ 1383506 w 1489995"/>
                <a:gd name="connsiteY1008" fmla="*/ 501586 h 1273968"/>
                <a:gd name="connsiteX1009" fmla="*/ 1383887 w 1489995"/>
                <a:gd name="connsiteY1009" fmla="*/ 504730 h 1273968"/>
                <a:gd name="connsiteX1010" fmla="*/ 1379410 w 1489995"/>
                <a:gd name="connsiteY1010" fmla="*/ 506921 h 1273968"/>
                <a:gd name="connsiteX1011" fmla="*/ 1378363 w 1489995"/>
                <a:gd name="connsiteY1011" fmla="*/ 511873 h 1273968"/>
                <a:gd name="connsiteX1012" fmla="*/ 1373505 w 1489995"/>
                <a:gd name="connsiteY1012" fmla="*/ 510921 h 1273968"/>
                <a:gd name="connsiteX1013" fmla="*/ 1372648 w 1489995"/>
                <a:gd name="connsiteY1013" fmla="*/ 517398 h 1273968"/>
                <a:gd name="connsiteX1014" fmla="*/ 1370743 w 1489995"/>
                <a:gd name="connsiteY1014" fmla="*/ 514445 h 1273968"/>
                <a:gd name="connsiteX1015" fmla="*/ 1369314 w 1489995"/>
                <a:gd name="connsiteY1015" fmla="*/ 516255 h 1273968"/>
                <a:gd name="connsiteX1016" fmla="*/ 1369981 w 1489995"/>
                <a:gd name="connsiteY1016" fmla="*/ 521017 h 1273968"/>
                <a:gd name="connsiteX1017" fmla="*/ 1366742 w 1489995"/>
                <a:gd name="connsiteY1017" fmla="*/ 521398 h 1273968"/>
                <a:gd name="connsiteX1018" fmla="*/ 1365028 w 1489995"/>
                <a:gd name="connsiteY1018" fmla="*/ 519970 h 1273968"/>
                <a:gd name="connsiteX1019" fmla="*/ 1363409 w 1489995"/>
                <a:gd name="connsiteY1019" fmla="*/ 520160 h 1273968"/>
                <a:gd name="connsiteX1020" fmla="*/ 1362456 w 1489995"/>
                <a:gd name="connsiteY1020" fmla="*/ 525113 h 1273968"/>
                <a:gd name="connsiteX1021" fmla="*/ 1367218 w 1489995"/>
                <a:gd name="connsiteY1021" fmla="*/ 524542 h 1273968"/>
                <a:gd name="connsiteX1022" fmla="*/ 1375886 w 1489995"/>
                <a:gd name="connsiteY1022" fmla="*/ 529876 h 1273968"/>
                <a:gd name="connsiteX1023" fmla="*/ 1376077 w 1489995"/>
                <a:gd name="connsiteY1023" fmla="*/ 531400 h 1273968"/>
                <a:gd name="connsiteX1024" fmla="*/ 1366076 w 1489995"/>
                <a:gd name="connsiteY1024" fmla="*/ 540734 h 1273968"/>
                <a:gd name="connsiteX1025" fmla="*/ 1358360 w 1489995"/>
                <a:gd name="connsiteY1025" fmla="*/ 543306 h 1273968"/>
                <a:gd name="connsiteX1026" fmla="*/ 1358551 w 1489995"/>
                <a:gd name="connsiteY1026" fmla="*/ 544925 h 1273968"/>
                <a:gd name="connsiteX1027" fmla="*/ 1369981 w 1489995"/>
                <a:gd name="connsiteY1027" fmla="*/ 546640 h 1273968"/>
                <a:gd name="connsiteX1028" fmla="*/ 1379220 w 1489995"/>
                <a:gd name="connsiteY1028" fmla="*/ 543878 h 1273968"/>
                <a:gd name="connsiteX1029" fmla="*/ 1386554 w 1489995"/>
                <a:gd name="connsiteY1029" fmla="*/ 550926 h 1273968"/>
                <a:gd name="connsiteX1030" fmla="*/ 1388555 w 1489995"/>
                <a:gd name="connsiteY1030" fmla="*/ 553879 h 1273968"/>
                <a:gd name="connsiteX1031" fmla="*/ 1395317 w 1489995"/>
                <a:gd name="connsiteY1031" fmla="*/ 556260 h 1273968"/>
                <a:gd name="connsiteX1032" fmla="*/ 1396460 w 1489995"/>
                <a:gd name="connsiteY1032" fmla="*/ 552926 h 1273968"/>
                <a:gd name="connsiteX1033" fmla="*/ 1396079 w 1489995"/>
                <a:gd name="connsiteY1033" fmla="*/ 549688 h 1273968"/>
                <a:gd name="connsiteX1034" fmla="*/ 1399604 w 1489995"/>
                <a:gd name="connsiteY1034" fmla="*/ 552450 h 1273968"/>
                <a:gd name="connsiteX1035" fmla="*/ 1402747 w 1489995"/>
                <a:gd name="connsiteY1035" fmla="*/ 552069 h 1273968"/>
                <a:gd name="connsiteX1036" fmla="*/ 1401604 w 1489995"/>
                <a:gd name="connsiteY1036" fmla="*/ 555403 h 1273968"/>
                <a:gd name="connsiteX1037" fmla="*/ 1412272 w 1489995"/>
                <a:gd name="connsiteY1037" fmla="*/ 563690 h 1273968"/>
                <a:gd name="connsiteX1038" fmla="*/ 1418939 w 1489995"/>
                <a:gd name="connsiteY1038" fmla="*/ 566071 h 1273968"/>
                <a:gd name="connsiteX1039" fmla="*/ 1420368 w 1489995"/>
                <a:gd name="connsiteY1039" fmla="*/ 564261 h 1273968"/>
                <a:gd name="connsiteX1040" fmla="*/ 1422178 w 1489995"/>
                <a:gd name="connsiteY1040" fmla="*/ 565595 h 1273968"/>
                <a:gd name="connsiteX1041" fmla="*/ 1420559 w 1489995"/>
                <a:gd name="connsiteY1041" fmla="*/ 565880 h 1273968"/>
                <a:gd name="connsiteX1042" fmla="*/ 1427321 w 1489995"/>
                <a:gd name="connsiteY1042" fmla="*/ 568166 h 1273968"/>
                <a:gd name="connsiteX1043" fmla="*/ 1419035 w 1489995"/>
                <a:gd name="connsiteY1043" fmla="*/ 578834 h 1273968"/>
                <a:gd name="connsiteX1044" fmla="*/ 1419797 w 1489995"/>
                <a:gd name="connsiteY1044" fmla="*/ 585216 h 1273968"/>
                <a:gd name="connsiteX1045" fmla="*/ 1417987 w 1489995"/>
                <a:gd name="connsiteY1045" fmla="*/ 583787 h 1273968"/>
                <a:gd name="connsiteX1046" fmla="*/ 1416463 w 1489995"/>
                <a:gd name="connsiteY1046" fmla="*/ 583978 h 1273968"/>
                <a:gd name="connsiteX1047" fmla="*/ 1419225 w 1489995"/>
                <a:gd name="connsiteY1047" fmla="*/ 593312 h 1273968"/>
                <a:gd name="connsiteX1048" fmla="*/ 1413319 w 1489995"/>
                <a:gd name="connsiteY1048" fmla="*/ 597218 h 1273968"/>
                <a:gd name="connsiteX1049" fmla="*/ 1408176 w 1489995"/>
                <a:gd name="connsiteY1049" fmla="*/ 594646 h 1273968"/>
                <a:gd name="connsiteX1050" fmla="*/ 1407605 w 1489995"/>
                <a:gd name="connsiteY1050" fmla="*/ 589979 h 1273968"/>
                <a:gd name="connsiteX1051" fmla="*/ 1404080 w 1489995"/>
                <a:gd name="connsiteY1051" fmla="*/ 587216 h 1273968"/>
                <a:gd name="connsiteX1052" fmla="*/ 1398080 w 1489995"/>
                <a:gd name="connsiteY1052" fmla="*/ 591122 h 1273968"/>
                <a:gd name="connsiteX1053" fmla="*/ 1394555 w 1489995"/>
                <a:gd name="connsiteY1053" fmla="*/ 601218 h 1273968"/>
                <a:gd name="connsiteX1054" fmla="*/ 1401699 w 1489995"/>
                <a:gd name="connsiteY1054" fmla="*/ 606743 h 1273968"/>
                <a:gd name="connsiteX1055" fmla="*/ 1406081 w 1489995"/>
                <a:gd name="connsiteY1055" fmla="*/ 602933 h 1273968"/>
                <a:gd name="connsiteX1056" fmla="*/ 1410176 w 1489995"/>
                <a:gd name="connsiteY1056" fmla="*/ 610457 h 1273968"/>
                <a:gd name="connsiteX1057" fmla="*/ 1413319 w 1489995"/>
                <a:gd name="connsiteY1057" fmla="*/ 610076 h 1273968"/>
                <a:gd name="connsiteX1058" fmla="*/ 1408843 w 1489995"/>
                <a:gd name="connsiteY1058" fmla="*/ 612267 h 1273968"/>
                <a:gd name="connsiteX1059" fmla="*/ 1405033 w 1489995"/>
                <a:gd name="connsiteY1059" fmla="*/ 607886 h 1273968"/>
                <a:gd name="connsiteX1060" fmla="*/ 1402271 w 1489995"/>
                <a:gd name="connsiteY1060" fmla="*/ 611505 h 1273968"/>
                <a:gd name="connsiteX1061" fmla="*/ 1399127 w 1489995"/>
                <a:gd name="connsiteY1061" fmla="*/ 611886 h 1273968"/>
                <a:gd name="connsiteX1062" fmla="*/ 1397794 w 1489995"/>
                <a:gd name="connsiteY1062" fmla="*/ 613696 h 1273968"/>
                <a:gd name="connsiteX1063" fmla="*/ 1400365 w 1489995"/>
                <a:gd name="connsiteY1063" fmla="*/ 621316 h 1273968"/>
                <a:gd name="connsiteX1064" fmla="*/ 1402556 w 1489995"/>
                <a:gd name="connsiteY1064" fmla="*/ 625888 h 1273968"/>
                <a:gd name="connsiteX1065" fmla="*/ 1402747 w 1489995"/>
                <a:gd name="connsiteY1065" fmla="*/ 640271 h 1273968"/>
                <a:gd name="connsiteX1066" fmla="*/ 1396270 w 1489995"/>
                <a:gd name="connsiteY1066" fmla="*/ 639509 h 1273968"/>
                <a:gd name="connsiteX1067" fmla="*/ 1391698 w 1489995"/>
                <a:gd name="connsiteY1067" fmla="*/ 641699 h 1273968"/>
                <a:gd name="connsiteX1068" fmla="*/ 1389983 w 1489995"/>
                <a:gd name="connsiteY1068" fmla="*/ 640271 h 1273968"/>
                <a:gd name="connsiteX1069" fmla="*/ 1390364 w 1489995"/>
                <a:gd name="connsiteY1069" fmla="*/ 643414 h 1273968"/>
                <a:gd name="connsiteX1070" fmla="*/ 1387221 w 1489995"/>
                <a:gd name="connsiteY1070" fmla="*/ 643890 h 1273968"/>
                <a:gd name="connsiteX1071" fmla="*/ 1385411 w 1489995"/>
                <a:gd name="connsiteY1071" fmla="*/ 642461 h 1273968"/>
                <a:gd name="connsiteX1072" fmla="*/ 1382077 w 1489995"/>
                <a:gd name="connsiteY1072" fmla="*/ 641318 h 1273968"/>
                <a:gd name="connsiteX1073" fmla="*/ 1380839 w 1489995"/>
                <a:gd name="connsiteY1073" fmla="*/ 644652 h 1273968"/>
                <a:gd name="connsiteX1074" fmla="*/ 1377887 w 1489995"/>
                <a:gd name="connsiteY1074" fmla="*/ 646652 h 1273968"/>
                <a:gd name="connsiteX1075" fmla="*/ 1378172 w 1489995"/>
                <a:gd name="connsiteY1075" fmla="*/ 648272 h 1273968"/>
                <a:gd name="connsiteX1076" fmla="*/ 1381697 w 1489995"/>
                <a:gd name="connsiteY1076" fmla="*/ 650938 h 1273968"/>
                <a:gd name="connsiteX1077" fmla="*/ 1392936 w 1489995"/>
                <a:gd name="connsiteY1077" fmla="*/ 651129 h 1273968"/>
                <a:gd name="connsiteX1078" fmla="*/ 1391793 w 1489995"/>
                <a:gd name="connsiteY1078" fmla="*/ 654558 h 1273968"/>
                <a:gd name="connsiteX1079" fmla="*/ 1396270 w 1489995"/>
                <a:gd name="connsiteY1079" fmla="*/ 652367 h 1273968"/>
                <a:gd name="connsiteX1080" fmla="*/ 1396937 w 1489995"/>
                <a:gd name="connsiteY1080" fmla="*/ 657035 h 1273968"/>
                <a:gd name="connsiteX1081" fmla="*/ 1395508 w 1489995"/>
                <a:gd name="connsiteY1081" fmla="*/ 658844 h 1273968"/>
                <a:gd name="connsiteX1082" fmla="*/ 1393698 w 1489995"/>
                <a:gd name="connsiteY1082" fmla="*/ 657511 h 1273968"/>
                <a:gd name="connsiteX1083" fmla="*/ 1392364 w 1489995"/>
                <a:gd name="connsiteY1083" fmla="*/ 659225 h 1273968"/>
                <a:gd name="connsiteX1084" fmla="*/ 1387221 w 1489995"/>
                <a:gd name="connsiteY1084" fmla="*/ 656654 h 1273968"/>
                <a:gd name="connsiteX1085" fmla="*/ 1387412 w 1489995"/>
                <a:gd name="connsiteY1085" fmla="*/ 658273 h 1273968"/>
                <a:gd name="connsiteX1086" fmla="*/ 1390745 w 1489995"/>
                <a:gd name="connsiteY1086" fmla="*/ 659416 h 1273968"/>
                <a:gd name="connsiteX1087" fmla="*/ 1389221 w 1489995"/>
                <a:gd name="connsiteY1087" fmla="*/ 659606 h 1273968"/>
                <a:gd name="connsiteX1088" fmla="*/ 1384078 w 1489995"/>
                <a:gd name="connsiteY1088" fmla="*/ 657130 h 1273968"/>
                <a:gd name="connsiteX1089" fmla="*/ 1380744 w 1489995"/>
                <a:gd name="connsiteY1089" fmla="*/ 655892 h 1273968"/>
                <a:gd name="connsiteX1090" fmla="*/ 1375029 w 1489995"/>
                <a:gd name="connsiteY1090" fmla="*/ 661416 h 1273968"/>
                <a:gd name="connsiteX1091" fmla="*/ 1368933 w 1489995"/>
                <a:gd name="connsiteY1091" fmla="*/ 663797 h 1273968"/>
                <a:gd name="connsiteX1092" fmla="*/ 1374267 w 1489995"/>
                <a:gd name="connsiteY1092" fmla="*/ 667988 h 1273968"/>
                <a:gd name="connsiteX1093" fmla="*/ 1374648 w 1489995"/>
                <a:gd name="connsiteY1093" fmla="*/ 671132 h 1273968"/>
                <a:gd name="connsiteX1094" fmla="*/ 1376172 w 1489995"/>
                <a:gd name="connsiteY1094" fmla="*/ 670941 h 1273968"/>
                <a:gd name="connsiteX1095" fmla="*/ 1377029 w 1489995"/>
                <a:gd name="connsiteY1095" fmla="*/ 677228 h 1273968"/>
                <a:gd name="connsiteX1096" fmla="*/ 1380554 w 1489995"/>
                <a:gd name="connsiteY1096" fmla="*/ 679990 h 1273968"/>
                <a:gd name="connsiteX1097" fmla="*/ 1382173 w 1489995"/>
                <a:gd name="connsiteY1097" fmla="*/ 679799 h 1273968"/>
                <a:gd name="connsiteX1098" fmla="*/ 1380744 w 1489995"/>
                <a:gd name="connsiteY1098" fmla="*/ 681609 h 1273968"/>
                <a:gd name="connsiteX1099" fmla="*/ 1383887 w 1489995"/>
                <a:gd name="connsiteY1099" fmla="*/ 681133 h 1273968"/>
                <a:gd name="connsiteX1100" fmla="*/ 1384364 w 1489995"/>
                <a:gd name="connsiteY1100" fmla="*/ 684276 h 1273968"/>
                <a:gd name="connsiteX1101" fmla="*/ 1389507 w 1489995"/>
                <a:gd name="connsiteY1101" fmla="*/ 686848 h 1273968"/>
                <a:gd name="connsiteX1102" fmla="*/ 1394651 w 1489995"/>
                <a:gd name="connsiteY1102" fmla="*/ 689420 h 1273968"/>
                <a:gd name="connsiteX1103" fmla="*/ 1396365 w 1489995"/>
                <a:gd name="connsiteY1103" fmla="*/ 690848 h 1273968"/>
                <a:gd name="connsiteX1104" fmla="*/ 1400556 w 1489995"/>
                <a:gd name="connsiteY1104" fmla="*/ 685514 h 1273968"/>
                <a:gd name="connsiteX1105" fmla="*/ 1408843 w 1489995"/>
                <a:gd name="connsiteY1105" fmla="*/ 687610 h 1273968"/>
                <a:gd name="connsiteX1106" fmla="*/ 1407414 w 1489995"/>
                <a:gd name="connsiteY1106" fmla="*/ 689420 h 1273968"/>
                <a:gd name="connsiteX1107" fmla="*/ 1405700 w 1489995"/>
                <a:gd name="connsiteY1107" fmla="*/ 687991 h 1273968"/>
                <a:gd name="connsiteX1108" fmla="*/ 1409414 w 1489995"/>
                <a:gd name="connsiteY1108" fmla="*/ 692372 h 1273968"/>
                <a:gd name="connsiteX1109" fmla="*/ 1412367 w 1489995"/>
                <a:gd name="connsiteY1109" fmla="*/ 690372 h 1273968"/>
                <a:gd name="connsiteX1110" fmla="*/ 1417510 w 1489995"/>
                <a:gd name="connsiteY1110" fmla="*/ 692944 h 1273968"/>
                <a:gd name="connsiteX1111" fmla="*/ 1413129 w 1489995"/>
                <a:gd name="connsiteY1111" fmla="*/ 696659 h 1273968"/>
                <a:gd name="connsiteX1112" fmla="*/ 1409986 w 1489995"/>
                <a:gd name="connsiteY1112" fmla="*/ 697040 h 1273968"/>
                <a:gd name="connsiteX1113" fmla="*/ 1411986 w 1489995"/>
                <a:gd name="connsiteY1113" fmla="*/ 699992 h 1273968"/>
                <a:gd name="connsiteX1114" fmla="*/ 1415320 w 1489995"/>
                <a:gd name="connsiteY1114" fmla="*/ 701231 h 1273968"/>
                <a:gd name="connsiteX1115" fmla="*/ 1418558 w 1489995"/>
                <a:gd name="connsiteY1115" fmla="*/ 700850 h 1273968"/>
                <a:gd name="connsiteX1116" fmla="*/ 1418749 w 1489995"/>
                <a:gd name="connsiteY1116" fmla="*/ 702374 h 1273968"/>
                <a:gd name="connsiteX1117" fmla="*/ 1420082 w 1489995"/>
                <a:gd name="connsiteY1117" fmla="*/ 700659 h 1273968"/>
                <a:gd name="connsiteX1118" fmla="*/ 1421892 w 1489995"/>
                <a:gd name="connsiteY1118" fmla="*/ 701993 h 1273968"/>
                <a:gd name="connsiteX1119" fmla="*/ 1427035 w 1489995"/>
                <a:gd name="connsiteY1119" fmla="*/ 704564 h 1273968"/>
                <a:gd name="connsiteX1120" fmla="*/ 1434275 w 1489995"/>
                <a:gd name="connsiteY1120" fmla="*/ 698849 h 1273968"/>
                <a:gd name="connsiteX1121" fmla="*/ 1436084 w 1489995"/>
                <a:gd name="connsiteY1121" fmla="*/ 700183 h 1273968"/>
                <a:gd name="connsiteX1122" fmla="*/ 1436465 w 1489995"/>
                <a:gd name="connsiteY1122" fmla="*/ 703326 h 1273968"/>
                <a:gd name="connsiteX1123" fmla="*/ 1438275 w 1489995"/>
                <a:gd name="connsiteY1123" fmla="*/ 704755 h 1273968"/>
                <a:gd name="connsiteX1124" fmla="*/ 1435322 w 1489995"/>
                <a:gd name="connsiteY1124" fmla="*/ 706660 h 1273968"/>
                <a:gd name="connsiteX1125" fmla="*/ 1436084 w 1489995"/>
                <a:gd name="connsiteY1125" fmla="*/ 713041 h 1273968"/>
                <a:gd name="connsiteX1126" fmla="*/ 1439227 w 1489995"/>
                <a:gd name="connsiteY1126" fmla="*/ 712565 h 1273968"/>
                <a:gd name="connsiteX1127" fmla="*/ 1442752 w 1489995"/>
                <a:gd name="connsiteY1127" fmla="*/ 702564 h 1273968"/>
                <a:gd name="connsiteX1128" fmla="*/ 1444752 w 1489995"/>
                <a:gd name="connsiteY1128" fmla="*/ 705517 h 1273968"/>
                <a:gd name="connsiteX1129" fmla="*/ 1443609 w 1489995"/>
                <a:gd name="connsiteY1129" fmla="*/ 708851 h 1273968"/>
                <a:gd name="connsiteX1130" fmla="*/ 1446752 w 1489995"/>
                <a:gd name="connsiteY1130" fmla="*/ 708470 h 1273968"/>
                <a:gd name="connsiteX1131" fmla="*/ 1445800 w 1489995"/>
                <a:gd name="connsiteY1131" fmla="*/ 713423 h 1273968"/>
                <a:gd name="connsiteX1132" fmla="*/ 1446371 w 1489995"/>
                <a:gd name="connsiteY1132" fmla="*/ 718090 h 1273968"/>
                <a:gd name="connsiteX1133" fmla="*/ 1445038 w 1489995"/>
                <a:gd name="connsiteY1133" fmla="*/ 719899 h 1273968"/>
                <a:gd name="connsiteX1134" fmla="*/ 1437513 w 1489995"/>
                <a:gd name="connsiteY1134" fmla="*/ 724090 h 1273968"/>
                <a:gd name="connsiteX1135" fmla="*/ 1437704 w 1489995"/>
                <a:gd name="connsiteY1135" fmla="*/ 725615 h 1273968"/>
                <a:gd name="connsiteX1136" fmla="*/ 1439704 w 1489995"/>
                <a:gd name="connsiteY1136" fmla="*/ 728567 h 1273968"/>
                <a:gd name="connsiteX1137" fmla="*/ 1448372 w 1489995"/>
                <a:gd name="connsiteY1137" fmla="*/ 733901 h 1273968"/>
                <a:gd name="connsiteX1138" fmla="*/ 1467707 w 1489995"/>
                <a:gd name="connsiteY1138" fmla="*/ 747427 h 1273968"/>
                <a:gd name="connsiteX1139" fmla="*/ 1469136 w 1489995"/>
                <a:gd name="connsiteY1139" fmla="*/ 745712 h 1273968"/>
                <a:gd name="connsiteX1140" fmla="*/ 1472279 w 1489995"/>
                <a:gd name="connsiteY1140" fmla="*/ 745236 h 1273968"/>
                <a:gd name="connsiteX1141" fmla="*/ 1474470 w 1489995"/>
                <a:gd name="connsiteY1141" fmla="*/ 749808 h 1273968"/>
                <a:gd name="connsiteX1142" fmla="*/ 1475804 w 1489995"/>
                <a:gd name="connsiteY1142" fmla="*/ 747998 h 1273968"/>
                <a:gd name="connsiteX1143" fmla="*/ 1477613 w 1489995"/>
                <a:gd name="connsiteY1143" fmla="*/ 749427 h 1273968"/>
                <a:gd name="connsiteX1144" fmla="*/ 1479423 w 1489995"/>
                <a:gd name="connsiteY1144" fmla="*/ 750761 h 1273968"/>
                <a:gd name="connsiteX1145" fmla="*/ 1478185 w 1489995"/>
                <a:gd name="connsiteY1145" fmla="*/ 754190 h 1273968"/>
                <a:gd name="connsiteX1146" fmla="*/ 1481614 w 1489995"/>
                <a:gd name="connsiteY1146" fmla="*/ 755332 h 1273968"/>
                <a:gd name="connsiteX1147" fmla="*/ 1484376 w 1489995"/>
                <a:gd name="connsiteY1147" fmla="*/ 751808 h 1273968"/>
                <a:gd name="connsiteX1148" fmla="*/ 1488281 w 1489995"/>
                <a:gd name="connsiteY1148" fmla="*/ 757714 h 1273968"/>
                <a:gd name="connsiteX1149" fmla="*/ 1485710 w 1489995"/>
                <a:gd name="connsiteY1149" fmla="*/ 762857 h 1273968"/>
                <a:gd name="connsiteX1150" fmla="*/ 1487519 w 1489995"/>
                <a:gd name="connsiteY1150" fmla="*/ 764191 h 1273968"/>
                <a:gd name="connsiteX1151" fmla="*/ 1486567 w 1489995"/>
                <a:gd name="connsiteY1151" fmla="*/ 769144 h 1273968"/>
                <a:gd name="connsiteX1152" fmla="*/ 1488567 w 1489995"/>
                <a:gd name="connsiteY1152" fmla="*/ 772097 h 1273968"/>
                <a:gd name="connsiteX1153" fmla="*/ 1485138 w 1489995"/>
                <a:gd name="connsiteY1153" fmla="*/ 770953 h 1273968"/>
                <a:gd name="connsiteX1154" fmla="*/ 1480661 w 1489995"/>
                <a:gd name="connsiteY1154" fmla="*/ 773049 h 1273968"/>
                <a:gd name="connsiteX1155" fmla="*/ 1476470 w 1489995"/>
                <a:gd name="connsiteY1155" fmla="*/ 778383 h 1273968"/>
                <a:gd name="connsiteX1156" fmla="*/ 1485995 w 1489995"/>
                <a:gd name="connsiteY1156" fmla="*/ 790003 h 1273968"/>
                <a:gd name="connsiteX1157" fmla="*/ 1487805 w 1489995"/>
                <a:gd name="connsiteY1157" fmla="*/ 791432 h 1273968"/>
                <a:gd name="connsiteX1158" fmla="*/ 1489615 w 1489995"/>
                <a:gd name="connsiteY1158" fmla="*/ 792766 h 1273968"/>
                <a:gd name="connsiteX1159" fmla="*/ 1489996 w 1489995"/>
                <a:gd name="connsiteY1159" fmla="*/ 795909 h 1273968"/>
                <a:gd name="connsiteX1160" fmla="*/ 1488758 w 1489995"/>
                <a:gd name="connsiteY1160" fmla="*/ 799338 h 1273968"/>
                <a:gd name="connsiteX1161" fmla="*/ 1487424 w 1489995"/>
                <a:gd name="connsiteY1161" fmla="*/ 801053 h 1273968"/>
                <a:gd name="connsiteX1162" fmla="*/ 1483900 w 1489995"/>
                <a:gd name="connsiteY1162" fmla="*/ 798290 h 1273968"/>
                <a:gd name="connsiteX1163" fmla="*/ 1484852 w 1489995"/>
                <a:gd name="connsiteY1163" fmla="*/ 806196 h 1273968"/>
                <a:gd name="connsiteX1164" fmla="*/ 1483328 w 1489995"/>
                <a:gd name="connsiteY1164" fmla="*/ 806386 h 1273968"/>
                <a:gd name="connsiteX1165" fmla="*/ 1482281 w 1489995"/>
                <a:gd name="connsiteY1165" fmla="*/ 811340 h 1273968"/>
                <a:gd name="connsiteX1166" fmla="*/ 1480756 w 1489995"/>
                <a:gd name="connsiteY1166" fmla="*/ 811530 h 1273968"/>
                <a:gd name="connsiteX1167" fmla="*/ 1480947 w 1489995"/>
                <a:gd name="connsiteY1167" fmla="*/ 813149 h 1273968"/>
                <a:gd name="connsiteX1168" fmla="*/ 1475613 w 1489995"/>
                <a:gd name="connsiteY1168" fmla="*/ 821817 h 1273968"/>
                <a:gd name="connsiteX1169" fmla="*/ 1479233 w 1489995"/>
                <a:gd name="connsiteY1169" fmla="*/ 824579 h 1273968"/>
                <a:gd name="connsiteX1170" fmla="*/ 1476185 w 1489995"/>
                <a:gd name="connsiteY1170" fmla="*/ 826580 h 1273968"/>
                <a:gd name="connsiteX1171" fmla="*/ 1466945 w 1489995"/>
                <a:gd name="connsiteY1171" fmla="*/ 829342 h 1273968"/>
                <a:gd name="connsiteX1172" fmla="*/ 1465421 w 1489995"/>
                <a:gd name="connsiteY1172" fmla="*/ 829532 h 1273968"/>
                <a:gd name="connsiteX1173" fmla="*/ 1465802 w 1489995"/>
                <a:gd name="connsiteY1173" fmla="*/ 832676 h 1273968"/>
                <a:gd name="connsiteX1174" fmla="*/ 1465802 w 1489995"/>
                <a:gd name="connsiteY1174" fmla="*/ 832676 h 1273968"/>
                <a:gd name="connsiteX1175" fmla="*/ 1464659 w 1489995"/>
                <a:gd name="connsiteY1175" fmla="*/ 836105 h 1273968"/>
                <a:gd name="connsiteX1176" fmla="*/ 1469708 w 1489995"/>
                <a:gd name="connsiteY1176" fmla="*/ 838581 h 1273968"/>
                <a:gd name="connsiteX1177" fmla="*/ 1468946 w 1489995"/>
                <a:gd name="connsiteY1177" fmla="*/ 845153 h 1273968"/>
                <a:gd name="connsiteX1178" fmla="*/ 1467993 w 1489995"/>
                <a:gd name="connsiteY1178" fmla="*/ 850106 h 1273968"/>
                <a:gd name="connsiteX1179" fmla="*/ 1469803 w 1489995"/>
                <a:gd name="connsiteY1179" fmla="*/ 851440 h 1273968"/>
                <a:gd name="connsiteX1180" fmla="*/ 1469041 w 1489995"/>
                <a:gd name="connsiteY1180" fmla="*/ 857917 h 1273968"/>
                <a:gd name="connsiteX1181" fmla="*/ 1467422 w 1489995"/>
                <a:gd name="connsiteY1181" fmla="*/ 858203 h 1273968"/>
                <a:gd name="connsiteX1182" fmla="*/ 1465421 w 1489995"/>
                <a:gd name="connsiteY1182" fmla="*/ 855250 h 1273968"/>
                <a:gd name="connsiteX1183" fmla="*/ 1462850 w 1489995"/>
                <a:gd name="connsiteY1183" fmla="*/ 860298 h 1273968"/>
                <a:gd name="connsiteX1184" fmla="*/ 1466469 w 1489995"/>
                <a:gd name="connsiteY1184" fmla="*/ 863060 h 1273968"/>
                <a:gd name="connsiteX1185" fmla="*/ 1466660 w 1489995"/>
                <a:gd name="connsiteY1185" fmla="*/ 864680 h 1273968"/>
                <a:gd name="connsiteX1186" fmla="*/ 1467231 w 1489995"/>
                <a:gd name="connsiteY1186" fmla="*/ 869442 h 1273968"/>
                <a:gd name="connsiteX1187" fmla="*/ 1464088 w 1489995"/>
                <a:gd name="connsiteY1187" fmla="*/ 869823 h 1273968"/>
                <a:gd name="connsiteX1188" fmla="*/ 1462754 w 1489995"/>
                <a:gd name="connsiteY1188" fmla="*/ 871633 h 1273968"/>
                <a:gd name="connsiteX1189" fmla="*/ 1463326 w 1489995"/>
                <a:gd name="connsiteY1189" fmla="*/ 876300 h 1273968"/>
                <a:gd name="connsiteX1190" fmla="*/ 1463516 w 1489995"/>
                <a:gd name="connsiteY1190" fmla="*/ 877919 h 1273968"/>
                <a:gd name="connsiteX1191" fmla="*/ 1459421 w 1489995"/>
                <a:gd name="connsiteY1191" fmla="*/ 883253 h 1273968"/>
                <a:gd name="connsiteX1192" fmla="*/ 1455610 w 1489995"/>
                <a:gd name="connsiteY1192" fmla="*/ 878872 h 1273968"/>
                <a:gd name="connsiteX1193" fmla="*/ 1447990 w 1489995"/>
                <a:gd name="connsiteY1193" fmla="*/ 881539 h 1273968"/>
                <a:gd name="connsiteX1194" fmla="*/ 1448181 w 1489995"/>
                <a:gd name="connsiteY1194" fmla="*/ 883063 h 1273968"/>
                <a:gd name="connsiteX1195" fmla="*/ 1449896 w 1489995"/>
                <a:gd name="connsiteY1195" fmla="*/ 884491 h 1273968"/>
                <a:gd name="connsiteX1196" fmla="*/ 1448372 w 1489995"/>
                <a:gd name="connsiteY1196" fmla="*/ 884682 h 1273968"/>
                <a:gd name="connsiteX1197" fmla="*/ 1448943 w 1489995"/>
                <a:gd name="connsiteY1197" fmla="*/ 889349 h 1273968"/>
                <a:gd name="connsiteX1198" fmla="*/ 1444466 w 1489995"/>
                <a:gd name="connsiteY1198" fmla="*/ 891540 h 1273968"/>
                <a:gd name="connsiteX1199" fmla="*/ 1441228 w 1489995"/>
                <a:gd name="connsiteY1199" fmla="*/ 892016 h 1273968"/>
                <a:gd name="connsiteX1200" fmla="*/ 1441704 w 1489995"/>
                <a:gd name="connsiteY1200" fmla="*/ 895160 h 1273968"/>
                <a:gd name="connsiteX1201" fmla="*/ 1440085 w 1489995"/>
                <a:gd name="connsiteY1201" fmla="*/ 895350 h 1273968"/>
                <a:gd name="connsiteX1202" fmla="*/ 1436084 w 1489995"/>
                <a:gd name="connsiteY1202" fmla="*/ 889445 h 1273968"/>
                <a:gd name="connsiteX1203" fmla="*/ 1431036 w 1489995"/>
                <a:gd name="connsiteY1203" fmla="*/ 886873 h 1273968"/>
                <a:gd name="connsiteX1204" fmla="*/ 1428083 w 1489995"/>
                <a:gd name="connsiteY1204" fmla="*/ 888873 h 1273968"/>
                <a:gd name="connsiteX1205" fmla="*/ 1418177 w 1489995"/>
                <a:gd name="connsiteY1205" fmla="*/ 899732 h 1273968"/>
                <a:gd name="connsiteX1206" fmla="*/ 1418558 w 1489995"/>
                <a:gd name="connsiteY1206" fmla="*/ 902875 h 1273968"/>
                <a:gd name="connsiteX1207" fmla="*/ 1413701 w 1489995"/>
                <a:gd name="connsiteY1207" fmla="*/ 901922 h 1273968"/>
                <a:gd name="connsiteX1208" fmla="*/ 1411129 w 1489995"/>
                <a:gd name="connsiteY1208" fmla="*/ 907066 h 1273968"/>
                <a:gd name="connsiteX1209" fmla="*/ 1407223 w 1489995"/>
                <a:gd name="connsiteY1209" fmla="*/ 913924 h 1273968"/>
                <a:gd name="connsiteX1210" fmla="*/ 1407795 w 1489995"/>
                <a:gd name="connsiteY1210" fmla="*/ 918686 h 1273968"/>
                <a:gd name="connsiteX1211" fmla="*/ 1409795 w 1489995"/>
                <a:gd name="connsiteY1211" fmla="*/ 921639 h 1273968"/>
                <a:gd name="connsiteX1212" fmla="*/ 1414463 w 1489995"/>
                <a:gd name="connsiteY1212" fmla="*/ 921068 h 1273968"/>
                <a:gd name="connsiteX1213" fmla="*/ 1417606 w 1489995"/>
                <a:gd name="connsiteY1213" fmla="*/ 920591 h 1273968"/>
                <a:gd name="connsiteX1214" fmla="*/ 1416653 w 1489995"/>
                <a:gd name="connsiteY1214" fmla="*/ 925544 h 1273968"/>
                <a:gd name="connsiteX1215" fmla="*/ 1420273 w 1489995"/>
                <a:gd name="connsiteY1215" fmla="*/ 928307 h 1273968"/>
                <a:gd name="connsiteX1216" fmla="*/ 1419225 w 1489995"/>
                <a:gd name="connsiteY1216" fmla="*/ 933260 h 1273968"/>
                <a:gd name="connsiteX1217" fmla="*/ 1424368 w 1489995"/>
                <a:gd name="connsiteY1217" fmla="*/ 935831 h 1273968"/>
                <a:gd name="connsiteX1218" fmla="*/ 1421416 w 1489995"/>
                <a:gd name="connsiteY1218" fmla="*/ 937832 h 1273968"/>
                <a:gd name="connsiteX1219" fmla="*/ 1421892 w 1489995"/>
                <a:gd name="connsiteY1219" fmla="*/ 940975 h 1273968"/>
                <a:gd name="connsiteX1220" fmla="*/ 1419130 w 1489995"/>
                <a:gd name="connsiteY1220" fmla="*/ 944499 h 1273968"/>
                <a:gd name="connsiteX1221" fmla="*/ 1415891 w 1489995"/>
                <a:gd name="connsiteY1221" fmla="*/ 944880 h 1273968"/>
                <a:gd name="connsiteX1222" fmla="*/ 1413224 w 1489995"/>
                <a:gd name="connsiteY1222" fmla="*/ 948499 h 1273968"/>
                <a:gd name="connsiteX1223" fmla="*/ 1413415 w 1489995"/>
                <a:gd name="connsiteY1223" fmla="*/ 950024 h 1273968"/>
                <a:gd name="connsiteX1224" fmla="*/ 1409795 w 1489995"/>
                <a:gd name="connsiteY1224" fmla="*/ 947261 h 1273968"/>
                <a:gd name="connsiteX1225" fmla="*/ 1408271 w 1489995"/>
                <a:gd name="connsiteY1225" fmla="*/ 947452 h 1273968"/>
                <a:gd name="connsiteX1226" fmla="*/ 1406462 w 1489995"/>
                <a:gd name="connsiteY1226" fmla="*/ 946118 h 1273968"/>
                <a:gd name="connsiteX1227" fmla="*/ 1401889 w 1489995"/>
                <a:gd name="connsiteY1227" fmla="*/ 948309 h 1273968"/>
                <a:gd name="connsiteX1228" fmla="*/ 1394841 w 1489995"/>
                <a:gd name="connsiteY1228" fmla="*/ 942785 h 1273968"/>
                <a:gd name="connsiteX1229" fmla="*/ 1395413 w 1489995"/>
                <a:gd name="connsiteY1229" fmla="*/ 947547 h 1273968"/>
                <a:gd name="connsiteX1230" fmla="*/ 1392269 w 1489995"/>
                <a:gd name="connsiteY1230" fmla="*/ 947928 h 1273968"/>
                <a:gd name="connsiteX1231" fmla="*/ 1388745 w 1489995"/>
                <a:gd name="connsiteY1231" fmla="*/ 945166 h 1273968"/>
                <a:gd name="connsiteX1232" fmla="*/ 1387888 w 1489995"/>
                <a:gd name="connsiteY1232" fmla="*/ 938879 h 1273968"/>
                <a:gd name="connsiteX1233" fmla="*/ 1386554 w 1489995"/>
                <a:gd name="connsiteY1233" fmla="*/ 940594 h 1273968"/>
                <a:gd name="connsiteX1234" fmla="*/ 1384744 w 1489995"/>
                <a:gd name="connsiteY1234" fmla="*/ 939260 h 1273968"/>
                <a:gd name="connsiteX1235" fmla="*/ 1382363 w 1489995"/>
                <a:gd name="connsiteY1235" fmla="*/ 946023 h 1273968"/>
                <a:gd name="connsiteX1236" fmla="*/ 1378268 w 1489995"/>
                <a:gd name="connsiteY1236" fmla="*/ 951357 h 1273968"/>
                <a:gd name="connsiteX1237" fmla="*/ 1375886 w 1489995"/>
                <a:gd name="connsiteY1237" fmla="*/ 958024 h 1273968"/>
                <a:gd name="connsiteX1238" fmla="*/ 1377696 w 1489995"/>
                <a:gd name="connsiteY1238" fmla="*/ 959453 h 1273968"/>
                <a:gd name="connsiteX1239" fmla="*/ 1374934 w 1489995"/>
                <a:gd name="connsiteY1239" fmla="*/ 962978 h 1273968"/>
                <a:gd name="connsiteX1240" fmla="*/ 1375696 w 1489995"/>
                <a:gd name="connsiteY1240" fmla="*/ 969264 h 1273968"/>
                <a:gd name="connsiteX1241" fmla="*/ 1374172 w 1489995"/>
                <a:gd name="connsiteY1241" fmla="*/ 969455 h 1273968"/>
                <a:gd name="connsiteX1242" fmla="*/ 1373600 w 1489995"/>
                <a:gd name="connsiteY1242" fmla="*/ 964787 h 1273968"/>
                <a:gd name="connsiteX1243" fmla="*/ 1368647 w 1489995"/>
                <a:gd name="connsiteY1243" fmla="*/ 963740 h 1273968"/>
                <a:gd name="connsiteX1244" fmla="*/ 1361694 w 1489995"/>
                <a:gd name="connsiteY1244" fmla="*/ 972693 h 1273968"/>
                <a:gd name="connsiteX1245" fmla="*/ 1353026 w 1489995"/>
                <a:gd name="connsiteY1245" fmla="*/ 967359 h 1273968"/>
                <a:gd name="connsiteX1246" fmla="*/ 1345597 w 1489995"/>
                <a:gd name="connsiteY1246" fmla="*/ 971550 h 1273968"/>
                <a:gd name="connsiteX1247" fmla="*/ 1338453 w 1489995"/>
                <a:gd name="connsiteY1247" fmla="*/ 978884 h 1273968"/>
                <a:gd name="connsiteX1248" fmla="*/ 1336643 w 1489995"/>
                <a:gd name="connsiteY1248" fmla="*/ 977456 h 1273968"/>
                <a:gd name="connsiteX1249" fmla="*/ 1335310 w 1489995"/>
                <a:gd name="connsiteY1249" fmla="*/ 979265 h 1273968"/>
                <a:gd name="connsiteX1250" fmla="*/ 1330357 w 1489995"/>
                <a:gd name="connsiteY1250" fmla="*/ 978218 h 1273968"/>
                <a:gd name="connsiteX1251" fmla="*/ 1327214 w 1489995"/>
                <a:gd name="connsiteY1251" fmla="*/ 978694 h 1273968"/>
                <a:gd name="connsiteX1252" fmla="*/ 1326833 w 1489995"/>
                <a:gd name="connsiteY1252" fmla="*/ 975551 h 1273968"/>
                <a:gd name="connsiteX1253" fmla="*/ 1325880 w 1489995"/>
                <a:gd name="connsiteY1253" fmla="*/ 980408 h 1273968"/>
                <a:gd name="connsiteX1254" fmla="*/ 1325689 w 1489995"/>
                <a:gd name="connsiteY1254" fmla="*/ 978884 h 1273968"/>
                <a:gd name="connsiteX1255" fmla="*/ 1322451 w 1489995"/>
                <a:gd name="connsiteY1255" fmla="*/ 979265 h 1273968"/>
                <a:gd name="connsiteX1256" fmla="*/ 1317784 w 1489995"/>
                <a:gd name="connsiteY1256" fmla="*/ 979837 h 1273968"/>
                <a:gd name="connsiteX1257" fmla="*/ 1317022 w 1489995"/>
                <a:gd name="connsiteY1257" fmla="*/ 986409 h 1273968"/>
                <a:gd name="connsiteX1258" fmla="*/ 1313402 w 1489995"/>
                <a:gd name="connsiteY1258" fmla="*/ 983647 h 1273968"/>
                <a:gd name="connsiteX1259" fmla="*/ 1312069 w 1489995"/>
                <a:gd name="connsiteY1259" fmla="*/ 985457 h 1273968"/>
                <a:gd name="connsiteX1260" fmla="*/ 1314260 w 1489995"/>
                <a:gd name="connsiteY1260" fmla="*/ 989933 h 1273968"/>
                <a:gd name="connsiteX1261" fmla="*/ 1306544 w 1489995"/>
                <a:gd name="connsiteY1261" fmla="*/ 992505 h 1273968"/>
                <a:gd name="connsiteX1262" fmla="*/ 1306354 w 1489995"/>
                <a:gd name="connsiteY1262" fmla="*/ 990981 h 1273968"/>
                <a:gd name="connsiteX1263" fmla="*/ 1303592 w 1489995"/>
                <a:gd name="connsiteY1263" fmla="*/ 994505 h 1273968"/>
                <a:gd name="connsiteX1264" fmla="*/ 1301591 w 1489995"/>
                <a:gd name="connsiteY1264" fmla="*/ 991553 h 1273968"/>
                <a:gd name="connsiteX1265" fmla="*/ 1298639 w 1489995"/>
                <a:gd name="connsiteY1265" fmla="*/ 993553 h 1273968"/>
                <a:gd name="connsiteX1266" fmla="*/ 1298448 w 1489995"/>
                <a:gd name="connsiteY1266" fmla="*/ 991934 h 1273968"/>
                <a:gd name="connsiteX1267" fmla="*/ 1292162 w 1489995"/>
                <a:gd name="connsiteY1267" fmla="*/ 992791 h 1273968"/>
                <a:gd name="connsiteX1268" fmla="*/ 1291971 w 1489995"/>
                <a:gd name="connsiteY1268" fmla="*/ 991172 h 1273968"/>
                <a:gd name="connsiteX1269" fmla="*/ 1297400 w 1489995"/>
                <a:gd name="connsiteY1269" fmla="*/ 984028 h 1273968"/>
                <a:gd name="connsiteX1270" fmla="*/ 1295495 w 1489995"/>
                <a:gd name="connsiteY1270" fmla="*/ 981075 h 1273968"/>
                <a:gd name="connsiteX1271" fmla="*/ 1292257 w 1489995"/>
                <a:gd name="connsiteY1271" fmla="*/ 981551 h 1273968"/>
                <a:gd name="connsiteX1272" fmla="*/ 1289590 w 1489995"/>
                <a:gd name="connsiteY1272" fmla="*/ 985076 h 1273968"/>
                <a:gd name="connsiteX1273" fmla="*/ 1286161 w 1489995"/>
                <a:gd name="connsiteY1273" fmla="*/ 983932 h 1273968"/>
                <a:gd name="connsiteX1274" fmla="*/ 1283589 w 1489995"/>
                <a:gd name="connsiteY1274" fmla="*/ 989076 h 1273968"/>
                <a:gd name="connsiteX1275" fmla="*/ 1278922 w 1489995"/>
                <a:gd name="connsiteY1275" fmla="*/ 989648 h 1273968"/>
                <a:gd name="connsiteX1276" fmla="*/ 1277112 w 1489995"/>
                <a:gd name="connsiteY1276" fmla="*/ 988219 h 1273968"/>
                <a:gd name="connsiteX1277" fmla="*/ 1273207 w 1489995"/>
                <a:gd name="connsiteY1277" fmla="*/ 995172 h 1273968"/>
                <a:gd name="connsiteX1278" fmla="*/ 1271588 w 1489995"/>
                <a:gd name="connsiteY1278" fmla="*/ 995362 h 1273968"/>
                <a:gd name="connsiteX1279" fmla="*/ 1272064 w 1489995"/>
                <a:gd name="connsiteY1279" fmla="*/ 998506 h 1273968"/>
                <a:gd name="connsiteX1280" fmla="*/ 1275398 w 1489995"/>
                <a:gd name="connsiteY1280" fmla="*/ 999744 h 1273968"/>
                <a:gd name="connsiteX1281" fmla="*/ 1273969 w 1489995"/>
                <a:gd name="connsiteY1281" fmla="*/ 1001459 h 1273968"/>
                <a:gd name="connsiteX1282" fmla="*/ 1275969 w 1489995"/>
                <a:gd name="connsiteY1282" fmla="*/ 1004411 h 1273968"/>
                <a:gd name="connsiteX1283" fmla="*/ 1268444 w 1489995"/>
                <a:gd name="connsiteY1283" fmla="*/ 1008602 h 1273968"/>
                <a:gd name="connsiteX1284" fmla="*/ 1269683 w 1489995"/>
                <a:gd name="connsiteY1284" fmla="*/ 1018032 h 1273968"/>
                <a:gd name="connsiteX1285" fmla="*/ 1270540 w 1489995"/>
                <a:gd name="connsiteY1285" fmla="*/ 1024414 h 1273968"/>
                <a:gd name="connsiteX1286" fmla="*/ 1256729 w 1489995"/>
                <a:gd name="connsiteY1286" fmla="*/ 1029367 h 1273968"/>
                <a:gd name="connsiteX1287" fmla="*/ 1258634 w 1489995"/>
                <a:gd name="connsiteY1287" fmla="*/ 1032320 h 1273968"/>
                <a:gd name="connsiteX1288" fmla="*/ 1253395 w 1489995"/>
                <a:gd name="connsiteY1288" fmla="*/ 1040987 h 1273968"/>
                <a:gd name="connsiteX1289" fmla="*/ 1251776 w 1489995"/>
                <a:gd name="connsiteY1289" fmla="*/ 1041178 h 1273968"/>
                <a:gd name="connsiteX1290" fmla="*/ 1251394 w 1489995"/>
                <a:gd name="connsiteY1290" fmla="*/ 1038035 h 1273968"/>
                <a:gd name="connsiteX1291" fmla="*/ 1250061 w 1489995"/>
                <a:gd name="connsiteY1291" fmla="*/ 1039844 h 1273968"/>
                <a:gd name="connsiteX1292" fmla="*/ 1250061 w 1489995"/>
                <a:gd name="connsiteY1292" fmla="*/ 1039844 h 1273968"/>
                <a:gd name="connsiteX1293" fmla="*/ 1246823 w 1489995"/>
                <a:gd name="connsiteY1293" fmla="*/ 1040225 h 1273968"/>
                <a:gd name="connsiteX1294" fmla="*/ 1248632 w 1489995"/>
                <a:gd name="connsiteY1294" fmla="*/ 1041559 h 1273968"/>
                <a:gd name="connsiteX1295" fmla="*/ 1245489 w 1489995"/>
                <a:gd name="connsiteY1295" fmla="*/ 1042035 h 1273968"/>
                <a:gd name="connsiteX1296" fmla="*/ 1247489 w 1489995"/>
                <a:gd name="connsiteY1296" fmla="*/ 1044988 h 1273968"/>
                <a:gd name="connsiteX1297" fmla="*/ 1244727 w 1489995"/>
                <a:gd name="connsiteY1297" fmla="*/ 1048512 h 1273968"/>
                <a:gd name="connsiteX1298" fmla="*/ 1243775 w 1489995"/>
                <a:gd name="connsiteY1298" fmla="*/ 1053465 h 1273968"/>
                <a:gd name="connsiteX1299" fmla="*/ 1242536 w 1489995"/>
                <a:gd name="connsiteY1299" fmla="*/ 1056799 h 1273968"/>
                <a:gd name="connsiteX1300" fmla="*/ 1244727 w 1489995"/>
                <a:gd name="connsiteY1300" fmla="*/ 1061371 h 1273968"/>
                <a:gd name="connsiteX1301" fmla="*/ 1242822 w 1489995"/>
                <a:gd name="connsiteY1301" fmla="*/ 1071182 h 1273968"/>
                <a:gd name="connsiteX1302" fmla="*/ 1245013 w 1489995"/>
                <a:gd name="connsiteY1302" fmla="*/ 1075754 h 1273968"/>
                <a:gd name="connsiteX1303" fmla="*/ 1243965 w 1489995"/>
                <a:gd name="connsiteY1303" fmla="*/ 1080707 h 1273968"/>
                <a:gd name="connsiteX1304" fmla="*/ 1247585 w 1489995"/>
                <a:gd name="connsiteY1304" fmla="*/ 1083469 h 1273968"/>
                <a:gd name="connsiteX1305" fmla="*/ 1245965 w 1489995"/>
                <a:gd name="connsiteY1305" fmla="*/ 1083659 h 1273968"/>
                <a:gd name="connsiteX1306" fmla="*/ 1248537 w 1489995"/>
                <a:gd name="connsiteY1306" fmla="*/ 1091375 h 1273968"/>
                <a:gd name="connsiteX1307" fmla="*/ 1251680 w 1489995"/>
                <a:gd name="connsiteY1307" fmla="*/ 1090898 h 1273968"/>
                <a:gd name="connsiteX1308" fmla="*/ 1255681 w 1489995"/>
                <a:gd name="connsiteY1308" fmla="*/ 1084040 h 1273968"/>
                <a:gd name="connsiteX1309" fmla="*/ 1263587 w 1489995"/>
                <a:gd name="connsiteY1309" fmla="*/ 1095851 h 1273968"/>
                <a:gd name="connsiteX1310" fmla="*/ 1271302 w 1489995"/>
                <a:gd name="connsiteY1310" fmla="*/ 1093280 h 1273968"/>
                <a:gd name="connsiteX1311" fmla="*/ 1282541 w 1489995"/>
                <a:gd name="connsiteY1311" fmla="*/ 1093375 h 1273968"/>
                <a:gd name="connsiteX1312" fmla="*/ 1281493 w 1489995"/>
                <a:gd name="connsiteY1312" fmla="*/ 1098328 h 1273968"/>
                <a:gd name="connsiteX1313" fmla="*/ 1285875 w 1489995"/>
                <a:gd name="connsiteY1313" fmla="*/ 1107377 h 1273968"/>
                <a:gd name="connsiteX1314" fmla="*/ 1293590 w 1489995"/>
                <a:gd name="connsiteY1314" fmla="*/ 1117664 h 1273968"/>
                <a:gd name="connsiteX1315" fmla="*/ 1294257 w 1489995"/>
                <a:gd name="connsiteY1315" fmla="*/ 1122426 h 1273968"/>
                <a:gd name="connsiteX1316" fmla="*/ 1291304 w 1489995"/>
                <a:gd name="connsiteY1316" fmla="*/ 1124331 h 1273968"/>
                <a:gd name="connsiteX1317" fmla="*/ 1290066 w 1489995"/>
                <a:gd name="connsiteY1317" fmla="*/ 1127760 h 1273968"/>
                <a:gd name="connsiteX1318" fmla="*/ 1293876 w 1489995"/>
                <a:gd name="connsiteY1318" fmla="*/ 1132046 h 1273968"/>
                <a:gd name="connsiteX1319" fmla="*/ 1290161 w 1489995"/>
                <a:gd name="connsiteY1319" fmla="*/ 1140524 h 1273968"/>
                <a:gd name="connsiteX1320" fmla="*/ 1286542 w 1489995"/>
                <a:gd name="connsiteY1320" fmla="*/ 1137761 h 1273968"/>
                <a:gd name="connsiteX1321" fmla="*/ 1287209 w 1489995"/>
                <a:gd name="connsiteY1321" fmla="*/ 1142524 h 1273968"/>
                <a:gd name="connsiteX1322" fmla="*/ 1285399 w 1489995"/>
                <a:gd name="connsiteY1322" fmla="*/ 1141190 h 1273968"/>
                <a:gd name="connsiteX1323" fmla="*/ 1285589 w 1489995"/>
                <a:gd name="connsiteY1323" fmla="*/ 1142714 h 1273968"/>
                <a:gd name="connsiteX1324" fmla="*/ 1283970 w 1489995"/>
                <a:gd name="connsiteY1324" fmla="*/ 1142905 h 1273968"/>
                <a:gd name="connsiteX1325" fmla="*/ 1279684 w 1489995"/>
                <a:gd name="connsiteY1325" fmla="*/ 1146715 h 1273968"/>
                <a:gd name="connsiteX1326" fmla="*/ 1280255 w 1489995"/>
                <a:gd name="connsiteY1326" fmla="*/ 1151477 h 1273968"/>
                <a:gd name="connsiteX1327" fmla="*/ 1274159 w 1489995"/>
                <a:gd name="connsiteY1327" fmla="*/ 1153859 h 1273968"/>
                <a:gd name="connsiteX1328" fmla="*/ 1273969 w 1489995"/>
                <a:gd name="connsiteY1328" fmla="*/ 1152239 h 1273968"/>
                <a:gd name="connsiteX1329" fmla="*/ 1270826 w 1489995"/>
                <a:gd name="connsiteY1329" fmla="*/ 1152620 h 1273968"/>
                <a:gd name="connsiteX1330" fmla="*/ 1266254 w 1489995"/>
                <a:gd name="connsiteY1330" fmla="*/ 1154811 h 1273968"/>
                <a:gd name="connsiteX1331" fmla="*/ 1264253 w 1489995"/>
                <a:gd name="connsiteY1331" fmla="*/ 1151858 h 1273968"/>
                <a:gd name="connsiteX1332" fmla="*/ 1261586 w 1489995"/>
                <a:gd name="connsiteY1332" fmla="*/ 1155383 h 1273968"/>
                <a:gd name="connsiteX1333" fmla="*/ 1259110 w 1489995"/>
                <a:gd name="connsiteY1333" fmla="*/ 1149287 h 1273968"/>
                <a:gd name="connsiteX1334" fmla="*/ 1252252 w 1489995"/>
                <a:gd name="connsiteY1334" fmla="*/ 1145381 h 1273968"/>
                <a:gd name="connsiteX1335" fmla="*/ 1251109 w 1489995"/>
                <a:gd name="connsiteY1335" fmla="*/ 1148715 h 1273968"/>
                <a:gd name="connsiteX1336" fmla="*/ 1246156 w 1489995"/>
                <a:gd name="connsiteY1336" fmla="*/ 1147762 h 1273968"/>
                <a:gd name="connsiteX1337" fmla="*/ 1247108 w 1489995"/>
                <a:gd name="connsiteY1337" fmla="*/ 1155668 h 1273968"/>
                <a:gd name="connsiteX1338" fmla="*/ 1247108 w 1489995"/>
                <a:gd name="connsiteY1338" fmla="*/ 1155668 h 1273968"/>
                <a:gd name="connsiteX1339" fmla="*/ 1244156 w 1489995"/>
                <a:gd name="connsiteY1339" fmla="*/ 1157669 h 1273968"/>
                <a:gd name="connsiteX1340" fmla="*/ 1240631 w 1489995"/>
                <a:gd name="connsiteY1340" fmla="*/ 1154906 h 1273968"/>
                <a:gd name="connsiteX1341" fmla="*/ 1241774 w 1489995"/>
                <a:gd name="connsiteY1341" fmla="*/ 1151573 h 1273968"/>
                <a:gd name="connsiteX1342" fmla="*/ 1237107 w 1489995"/>
                <a:gd name="connsiteY1342" fmla="*/ 1152144 h 1273968"/>
                <a:gd name="connsiteX1343" fmla="*/ 1237488 w 1489995"/>
                <a:gd name="connsiteY1343" fmla="*/ 1155287 h 1273968"/>
                <a:gd name="connsiteX1344" fmla="*/ 1241012 w 1489995"/>
                <a:gd name="connsiteY1344" fmla="*/ 1158050 h 1273968"/>
                <a:gd name="connsiteX1345" fmla="*/ 1240060 w 1489995"/>
                <a:gd name="connsiteY1345" fmla="*/ 1163003 h 1273968"/>
                <a:gd name="connsiteX1346" fmla="*/ 1235297 w 1489995"/>
                <a:gd name="connsiteY1346" fmla="*/ 1163574 h 1273968"/>
                <a:gd name="connsiteX1347" fmla="*/ 1235678 w 1489995"/>
                <a:gd name="connsiteY1347" fmla="*/ 1166717 h 1273968"/>
                <a:gd name="connsiteX1348" fmla="*/ 1234345 w 1489995"/>
                <a:gd name="connsiteY1348" fmla="*/ 1168527 h 1273968"/>
                <a:gd name="connsiteX1349" fmla="*/ 1233202 w 1489995"/>
                <a:gd name="connsiteY1349" fmla="*/ 1171861 h 1273968"/>
                <a:gd name="connsiteX1350" fmla="*/ 1235107 w 1489995"/>
                <a:gd name="connsiteY1350" fmla="*/ 1174814 h 1273968"/>
                <a:gd name="connsiteX1351" fmla="*/ 1233773 w 1489995"/>
                <a:gd name="connsiteY1351" fmla="*/ 1176623 h 1273968"/>
                <a:gd name="connsiteX1352" fmla="*/ 1233964 w 1489995"/>
                <a:gd name="connsiteY1352" fmla="*/ 1178147 h 1273968"/>
                <a:gd name="connsiteX1353" fmla="*/ 1225868 w 1489995"/>
                <a:gd name="connsiteY1353" fmla="*/ 1177576 h 1273968"/>
                <a:gd name="connsiteX1354" fmla="*/ 1225296 w 1489995"/>
                <a:gd name="connsiteY1354" fmla="*/ 1172909 h 1273968"/>
                <a:gd name="connsiteX1355" fmla="*/ 1222915 w 1489995"/>
                <a:gd name="connsiteY1355" fmla="*/ 1166812 h 1273968"/>
                <a:gd name="connsiteX1356" fmla="*/ 1215962 w 1489995"/>
                <a:gd name="connsiteY1356" fmla="*/ 1162812 h 1273968"/>
                <a:gd name="connsiteX1357" fmla="*/ 1216343 w 1489995"/>
                <a:gd name="connsiteY1357" fmla="*/ 1165955 h 1273968"/>
                <a:gd name="connsiteX1358" fmla="*/ 1214628 w 1489995"/>
                <a:gd name="connsiteY1358" fmla="*/ 1164622 h 1273968"/>
                <a:gd name="connsiteX1359" fmla="*/ 1214818 w 1489995"/>
                <a:gd name="connsiteY1359" fmla="*/ 1166146 h 1273968"/>
                <a:gd name="connsiteX1360" fmla="*/ 1211675 w 1489995"/>
                <a:gd name="connsiteY1360" fmla="*/ 1166622 h 1273968"/>
                <a:gd name="connsiteX1361" fmla="*/ 1206913 w 1489995"/>
                <a:gd name="connsiteY1361" fmla="*/ 1167194 h 1273968"/>
                <a:gd name="connsiteX1362" fmla="*/ 1205103 w 1489995"/>
                <a:gd name="connsiteY1362" fmla="*/ 1165860 h 1273968"/>
                <a:gd name="connsiteX1363" fmla="*/ 1203103 w 1489995"/>
                <a:gd name="connsiteY1363" fmla="*/ 1162907 h 1273968"/>
                <a:gd name="connsiteX1364" fmla="*/ 1202912 w 1489995"/>
                <a:gd name="connsiteY1364" fmla="*/ 1161288 h 1273968"/>
                <a:gd name="connsiteX1365" fmla="*/ 1198245 w 1489995"/>
                <a:gd name="connsiteY1365" fmla="*/ 1161860 h 1273968"/>
                <a:gd name="connsiteX1366" fmla="*/ 1199198 w 1489995"/>
                <a:gd name="connsiteY1366" fmla="*/ 1157002 h 1273968"/>
                <a:gd name="connsiteX1367" fmla="*/ 1200722 w 1489995"/>
                <a:gd name="connsiteY1367" fmla="*/ 1156716 h 1273968"/>
                <a:gd name="connsiteX1368" fmla="*/ 1202150 w 1489995"/>
                <a:gd name="connsiteY1368" fmla="*/ 1155002 h 1273968"/>
                <a:gd name="connsiteX1369" fmla="*/ 1197388 w 1489995"/>
                <a:gd name="connsiteY1369" fmla="*/ 1155573 h 1273968"/>
                <a:gd name="connsiteX1370" fmla="*/ 1196245 w 1489995"/>
                <a:gd name="connsiteY1370" fmla="*/ 1158907 h 1273968"/>
                <a:gd name="connsiteX1371" fmla="*/ 1194435 w 1489995"/>
                <a:gd name="connsiteY1371" fmla="*/ 1157573 h 1273968"/>
                <a:gd name="connsiteX1372" fmla="*/ 1191292 w 1489995"/>
                <a:gd name="connsiteY1372" fmla="*/ 1157954 h 1273968"/>
                <a:gd name="connsiteX1373" fmla="*/ 1192339 w 1489995"/>
                <a:gd name="connsiteY1373" fmla="*/ 1165860 h 1273968"/>
                <a:gd name="connsiteX1374" fmla="*/ 1187196 w 1489995"/>
                <a:gd name="connsiteY1374" fmla="*/ 1163288 h 1273968"/>
                <a:gd name="connsiteX1375" fmla="*/ 1179481 w 1489995"/>
                <a:gd name="connsiteY1375" fmla="*/ 1165860 h 1273968"/>
                <a:gd name="connsiteX1376" fmla="*/ 1177862 w 1489995"/>
                <a:gd name="connsiteY1376" fmla="*/ 1166051 h 1273968"/>
                <a:gd name="connsiteX1377" fmla="*/ 1178338 w 1489995"/>
                <a:gd name="connsiteY1377" fmla="*/ 1169194 h 1273968"/>
                <a:gd name="connsiteX1378" fmla="*/ 1175099 w 1489995"/>
                <a:gd name="connsiteY1378" fmla="*/ 1169670 h 1273968"/>
                <a:gd name="connsiteX1379" fmla="*/ 1171575 w 1489995"/>
                <a:gd name="connsiteY1379" fmla="*/ 1166908 h 1273968"/>
                <a:gd name="connsiteX1380" fmla="*/ 1170432 w 1489995"/>
                <a:gd name="connsiteY1380" fmla="*/ 1170241 h 1273968"/>
                <a:gd name="connsiteX1381" fmla="*/ 1167289 w 1489995"/>
                <a:gd name="connsiteY1381" fmla="*/ 1170623 h 1273968"/>
                <a:gd name="connsiteX1382" fmla="*/ 1163860 w 1489995"/>
                <a:gd name="connsiteY1382" fmla="*/ 1169480 h 1273968"/>
                <a:gd name="connsiteX1383" fmla="*/ 1157954 w 1489995"/>
                <a:gd name="connsiteY1383" fmla="*/ 1173385 h 1273968"/>
                <a:gd name="connsiteX1384" fmla="*/ 1150715 w 1489995"/>
                <a:gd name="connsiteY1384" fmla="*/ 1166336 h 1273968"/>
                <a:gd name="connsiteX1385" fmla="*/ 1146143 w 1489995"/>
                <a:gd name="connsiteY1385" fmla="*/ 1168527 h 1273968"/>
                <a:gd name="connsiteX1386" fmla="*/ 1143952 w 1489995"/>
                <a:gd name="connsiteY1386" fmla="*/ 1163955 h 1273968"/>
                <a:gd name="connsiteX1387" fmla="*/ 1137856 w 1489995"/>
                <a:gd name="connsiteY1387" fmla="*/ 1166336 h 1273968"/>
                <a:gd name="connsiteX1388" fmla="*/ 1136618 w 1489995"/>
                <a:gd name="connsiteY1388" fmla="*/ 1169765 h 1273968"/>
                <a:gd name="connsiteX1389" fmla="*/ 1134904 w 1489995"/>
                <a:gd name="connsiteY1389" fmla="*/ 1168337 h 1273968"/>
                <a:gd name="connsiteX1390" fmla="*/ 1133475 w 1489995"/>
                <a:gd name="connsiteY1390" fmla="*/ 1170146 h 1273968"/>
                <a:gd name="connsiteX1391" fmla="*/ 1131284 w 1489995"/>
                <a:gd name="connsiteY1391" fmla="*/ 1165574 h 1273968"/>
                <a:gd name="connsiteX1392" fmla="*/ 1129760 w 1489995"/>
                <a:gd name="connsiteY1392" fmla="*/ 1165765 h 1273968"/>
                <a:gd name="connsiteX1393" fmla="*/ 1129951 w 1489995"/>
                <a:gd name="connsiteY1393" fmla="*/ 1167384 h 1273968"/>
                <a:gd name="connsiteX1394" fmla="*/ 1124807 w 1489995"/>
                <a:gd name="connsiteY1394" fmla="*/ 1164812 h 1273968"/>
                <a:gd name="connsiteX1395" fmla="*/ 1126236 w 1489995"/>
                <a:gd name="connsiteY1395" fmla="*/ 1163098 h 1273968"/>
                <a:gd name="connsiteX1396" fmla="*/ 1120902 w 1489995"/>
                <a:gd name="connsiteY1396" fmla="*/ 1158907 h 1273968"/>
                <a:gd name="connsiteX1397" fmla="*/ 1120616 w 1489995"/>
                <a:gd name="connsiteY1397" fmla="*/ 1157383 h 1273968"/>
                <a:gd name="connsiteX1398" fmla="*/ 1108234 w 1489995"/>
                <a:gd name="connsiteY1398" fmla="*/ 1160526 h 1273968"/>
                <a:gd name="connsiteX1399" fmla="*/ 1101947 w 1489995"/>
                <a:gd name="connsiteY1399" fmla="*/ 1161288 h 1273968"/>
                <a:gd name="connsiteX1400" fmla="*/ 1096804 w 1489995"/>
                <a:gd name="connsiteY1400" fmla="*/ 1171575 h 1273968"/>
                <a:gd name="connsiteX1401" fmla="*/ 1100328 w 1489995"/>
                <a:gd name="connsiteY1401" fmla="*/ 1174337 h 1273968"/>
                <a:gd name="connsiteX1402" fmla="*/ 1105281 w 1489995"/>
                <a:gd name="connsiteY1402" fmla="*/ 1175290 h 1273968"/>
                <a:gd name="connsiteX1403" fmla="*/ 1109281 w 1489995"/>
                <a:gd name="connsiteY1403" fmla="*/ 1181195 h 1273968"/>
                <a:gd name="connsiteX1404" fmla="*/ 1107853 w 1489995"/>
                <a:gd name="connsiteY1404" fmla="*/ 1183005 h 1273968"/>
                <a:gd name="connsiteX1405" fmla="*/ 1110043 w 1489995"/>
                <a:gd name="connsiteY1405" fmla="*/ 1187577 h 1273968"/>
                <a:gd name="connsiteX1406" fmla="*/ 1108710 w 1489995"/>
                <a:gd name="connsiteY1406" fmla="*/ 1189291 h 1273968"/>
                <a:gd name="connsiteX1407" fmla="*/ 1102614 w 1489995"/>
                <a:gd name="connsiteY1407" fmla="*/ 1191673 h 1273968"/>
                <a:gd name="connsiteX1408" fmla="*/ 1091089 w 1489995"/>
                <a:gd name="connsiteY1408" fmla="*/ 1189958 h 1273968"/>
                <a:gd name="connsiteX1409" fmla="*/ 1088612 w 1489995"/>
                <a:gd name="connsiteY1409" fmla="*/ 1195102 h 1273968"/>
                <a:gd name="connsiteX1410" fmla="*/ 1081468 w 1489995"/>
                <a:gd name="connsiteY1410" fmla="*/ 1189577 h 1273968"/>
                <a:gd name="connsiteX1411" fmla="*/ 1076706 w 1489995"/>
                <a:gd name="connsiteY1411" fmla="*/ 1190244 h 1273968"/>
                <a:gd name="connsiteX1412" fmla="*/ 1073944 w 1489995"/>
                <a:gd name="connsiteY1412" fmla="*/ 1193768 h 1273968"/>
                <a:gd name="connsiteX1413" fmla="*/ 1074801 w 1489995"/>
                <a:gd name="connsiteY1413" fmla="*/ 1200055 h 1273968"/>
                <a:gd name="connsiteX1414" fmla="*/ 1073372 w 1489995"/>
                <a:gd name="connsiteY1414" fmla="*/ 1201865 h 1273968"/>
                <a:gd name="connsiteX1415" fmla="*/ 1072039 w 1489995"/>
                <a:gd name="connsiteY1415" fmla="*/ 1203579 h 1273968"/>
                <a:gd name="connsiteX1416" fmla="*/ 1075563 w 1489995"/>
                <a:gd name="connsiteY1416" fmla="*/ 1206341 h 1273968"/>
                <a:gd name="connsiteX1417" fmla="*/ 1079754 w 1489995"/>
                <a:gd name="connsiteY1417" fmla="*/ 1213866 h 1273968"/>
                <a:gd name="connsiteX1418" fmla="*/ 1076611 w 1489995"/>
                <a:gd name="connsiteY1418" fmla="*/ 1214247 h 1273968"/>
                <a:gd name="connsiteX1419" fmla="*/ 1071848 w 1489995"/>
                <a:gd name="connsiteY1419" fmla="*/ 1214914 h 1273968"/>
                <a:gd name="connsiteX1420" fmla="*/ 1070515 w 1489995"/>
                <a:gd name="connsiteY1420" fmla="*/ 1216628 h 1273968"/>
                <a:gd name="connsiteX1421" fmla="*/ 1071277 w 1489995"/>
                <a:gd name="connsiteY1421" fmla="*/ 1223010 h 1273968"/>
                <a:gd name="connsiteX1422" fmla="*/ 1066514 w 1489995"/>
                <a:gd name="connsiteY1422" fmla="*/ 1223582 h 1273968"/>
                <a:gd name="connsiteX1423" fmla="*/ 1065562 w 1489995"/>
                <a:gd name="connsiteY1423" fmla="*/ 1228535 h 1273968"/>
                <a:gd name="connsiteX1424" fmla="*/ 1064038 w 1489995"/>
                <a:gd name="connsiteY1424" fmla="*/ 1228725 h 1273968"/>
                <a:gd name="connsiteX1425" fmla="*/ 1058894 w 1489995"/>
                <a:gd name="connsiteY1425" fmla="*/ 1226153 h 1273968"/>
                <a:gd name="connsiteX1426" fmla="*/ 1056323 w 1489995"/>
                <a:gd name="connsiteY1426" fmla="*/ 1231297 h 1273968"/>
                <a:gd name="connsiteX1427" fmla="*/ 1051369 w 1489995"/>
                <a:gd name="connsiteY1427" fmla="*/ 1230344 h 1273968"/>
                <a:gd name="connsiteX1428" fmla="*/ 1048988 w 1489995"/>
                <a:gd name="connsiteY1428" fmla="*/ 1224248 h 1273968"/>
                <a:gd name="connsiteX1429" fmla="*/ 1041844 w 1489995"/>
                <a:gd name="connsiteY1429" fmla="*/ 1218724 h 1273968"/>
                <a:gd name="connsiteX1430" fmla="*/ 1046226 w 1489995"/>
                <a:gd name="connsiteY1430" fmla="*/ 1214914 h 1273968"/>
                <a:gd name="connsiteX1431" fmla="*/ 1041083 w 1489995"/>
                <a:gd name="connsiteY1431" fmla="*/ 1212342 h 1273968"/>
                <a:gd name="connsiteX1432" fmla="*/ 1039082 w 1489995"/>
                <a:gd name="connsiteY1432" fmla="*/ 1209389 h 1273968"/>
                <a:gd name="connsiteX1433" fmla="*/ 1040511 w 1489995"/>
                <a:gd name="connsiteY1433" fmla="*/ 1207675 h 1273968"/>
                <a:gd name="connsiteX1434" fmla="*/ 1038701 w 1489995"/>
                <a:gd name="connsiteY1434" fmla="*/ 1206246 h 1273968"/>
                <a:gd name="connsiteX1435" fmla="*/ 1036892 w 1489995"/>
                <a:gd name="connsiteY1435" fmla="*/ 1204912 h 1273968"/>
                <a:gd name="connsiteX1436" fmla="*/ 1035463 w 1489995"/>
                <a:gd name="connsiteY1436" fmla="*/ 1193864 h 1273968"/>
                <a:gd name="connsiteX1437" fmla="*/ 1031176 w 1489995"/>
                <a:gd name="connsiteY1437" fmla="*/ 1197578 h 1273968"/>
                <a:gd name="connsiteX1438" fmla="*/ 1032319 w 1489995"/>
                <a:gd name="connsiteY1438" fmla="*/ 1194245 h 1273968"/>
                <a:gd name="connsiteX1439" fmla="*/ 1031938 w 1489995"/>
                <a:gd name="connsiteY1439" fmla="*/ 1191101 h 1273968"/>
                <a:gd name="connsiteX1440" fmla="*/ 1030319 w 1489995"/>
                <a:gd name="connsiteY1440" fmla="*/ 1191292 h 1273968"/>
                <a:gd name="connsiteX1441" fmla="*/ 1031748 w 1489995"/>
                <a:gd name="connsiteY1441" fmla="*/ 1189482 h 1273968"/>
                <a:gd name="connsiteX1442" fmla="*/ 1031176 w 1489995"/>
                <a:gd name="connsiteY1442" fmla="*/ 1184815 h 1273968"/>
                <a:gd name="connsiteX1443" fmla="*/ 1026223 w 1489995"/>
                <a:gd name="connsiteY1443" fmla="*/ 1183767 h 1273968"/>
                <a:gd name="connsiteX1444" fmla="*/ 1029367 w 1489995"/>
                <a:gd name="connsiteY1444" fmla="*/ 1183386 h 1273968"/>
                <a:gd name="connsiteX1445" fmla="*/ 1032510 w 1489995"/>
                <a:gd name="connsiteY1445" fmla="*/ 1183005 h 1273968"/>
                <a:gd name="connsiteX1446" fmla="*/ 1032319 w 1489995"/>
                <a:gd name="connsiteY1446" fmla="*/ 1181386 h 1273968"/>
                <a:gd name="connsiteX1447" fmla="*/ 1025557 w 1489995"/>
                <a:gd name="connsiteY1447" fmla="*/ 1179100 h 1273968"/>
                <a:gd name="connsiteX1448" fmla="*/ 1025176 w 1489995"/>
                <a:gd name="connsiteY1448" fmla="*/ 1175957 h 1273968"/>
                <a:gd name="connsiteX1449" fmla="*/ 1024223 w 1489995"/>
                <a:gd name="connsiteY1449" fmla="*/ 1180814 h 1273968"/>
                <a:gd name="connsiteX1450" fmla="*/ 1021080 w 1489995"/>
                <a:gd name="connsiteY1450" fmla="*/ 1181291 h 1273968"/>
                <a:gd name="connsiteX1451" fmla="*/ 1019080 w 1489995"/>
                <a:gd name="connsiteY1451" fmla="*/ 1178338 h 1273968"/>
                <a:gd name="connsiteX1452" fmla="*/ 1016127 w 1489995"/>
                <a:gd name="connsiteY1452" fmla="*/ 1180243 h 1273968"/>
                <a:gd name="connsiteX1453" fmla="*/ 1012603 w 1489995"/>
                <a:gd name="connsiteY1453" fmla="*/ 1190339 h 1273968"/>
                <a:gd name="connsiteX1454" fmla="*/ 1014413 w 1489995"/>
                <a:gd name="connsiteY1454" fmla="*/ 1191768 h 1273968"/>
                <a:gd name="connsiteX1455" fmla="*/ 1012984 w 1489995"/>
                <a:gd name="connsiteY1455" fmla="*/ 1193483 h 1273968"/>
                <a:gd name="connsiteX1456" fmla="*/ 1009650 w 1489995"/>
                <a:gd name="connsiteY1456" fmla="*/ 1192340 h 1273968"/>
                <a:gd name="connsiteX1457" fmla="*/ 1009079 w 1489995"/>
                <a:gd name="connsiteY1457" fmla="*/ 1187577 h 1273968"/>
                <a:gd name="connsiteX1458" fmla="*/ 1005268 w 1489995"/>
                <a:gd name="connsiteY1458" fmla="*/ 1183291 h 1273968"/>
                <a:gd name="connsiteX1459" fmla="*/ 1003744 w 1489995"/>
                <a:gd name="connsiteY1459" fmla="*/ 1183481 h 1273968"/>
                <a:gd name="connsiteX1460" fmla="*/ 998601 w 1489995"/>
                <a:gd name="connsiteY1460" fmla="*/ 1180910 h 1273968"/>
                <a:gd name="connsiteX1461" fmla="*/ 992791 w 1489995"/>
                <a:gd name="connsiteY1461" fmla="*/ 1173671 h 1273968"/>
                <a:gd name="connsiteX1462" fmla="*/ 988219 w 1489995"/>
                <a:gd name="connsiteY1462" fmla="*/ 1163003 h 1273968"/>
                <a:gd name="connsiteX1463" fmla="*/ 985076 w 1489995"/>
                <a:gd name="connsiteY1463" fmla="*/ 1163384 h 1273968"/>
                <a:gd name="connsiteX1464" fmla="*/ 981932 w 1489995"/>
                <a:gd name="connsiteY1464" fmla="*/ 1163765 h 1273968"/>
                <a:gd name="connsiteX1465" fmla="*/ 965359 w 1489995"/>
                <a:gd name="connsiteY1465" fmla="*/ 1159478 h 1273968"/>
                <a:gd name="connsiteX1466" fmla="*/ 962977 w 1489995"/>
                <a:gd name="connsiteY1466" fmla="*/ 1153382 h 1273968"/>
                <a:gd name="connsiteX1467" fmla="*/ 953643 w 1489995"/>
                <a:gd name="connsiteY1467" fmla="*/ 1143286 h 1273968"/>
                <a:gd name="connsiteX1468" fmla="*/ 955072 w 1489995"/>
                <a:gd name="connsiteY1468" fmla="*/ 1141571 h 1273968"/>
                <a:gd name="connsiteX1469" fmla="*/ 953262 w 1489995"/>
                <a:gd name="connsiteY1469" fmla="*/ 1140143 h 1273968"/>
                <a:gd name="connsiteX1470" fmla="*/ 952500 w 1489995"/>
                <a:gd name="connsiteY1470" fmla="*/ 1146715 h 1273968"/>
                <a:gd name="connsiteX1471" fmla="*/ 951738 w 1489995"/>
                <a:gd name="connsiteY1471" fmla="*/ 1153192 h 1273968"/>
                <a:gd name="connsiteX1472" fmla="*/ 943832 w 1489995"/>
                <a:gd name="connsiteY1472" fmla="*/ 1154240 h 1273968"/>
                <a:gd name="connsiteX1473" fmla="*/ 944023 w 1489995"/>
                <a:gd name="connsiteY1473" fmla="*/ 1155764 h 1273968"/>
                <a:gd name="connsiteX1474" fmla="*/ 941070 w 1489995"/>
                <a:gd name="connsiteY1474" fmla="*/ 1157764 h 1273968"/>
                <a:gd name="connsiteX1475" fmla="*/ 941260 w 1489995"/>
                <a:gd name="connsiteY1475" fmla="*/ 1159383 h 1273968"/>
                <a:gd name="connsiteX1476" fmla="*/ 939546 w 1489995"/>
                <a:gd name="connsiteY1476" fmla="*/ 1157954 h 1273968"/>
                <a:gd name="connsiteX1477" fmla="*/ 936784 w 1489995"/>
                <a:gd name="connsiteY1477" fmla="*/ 1161479 h 1273968"/>
                <a:gd name="connsiteX1478" fmla="*/ 936974 w 1489995"/>
                <a:gd name="connsiteY1478" fmla="*/ 1163098 h 1273968"/>
                <a:gd name="connsiteX1479" fmla="*/ 940118 w 1489995"/>
                <a:gd name="connsiteY1479" fmla="*/ 1162717 h 1273968"/>
                <a:gd name="connsiteX1480" fmla="*/ 939546 w 1489995"/>
                <a:gd name="connsiteY1480" fmla="*/ 1170813 h 1273968"/>
                <a:gd name="connsiteX1481" fmla="*/ 927926 w 1489995"/>
                <a:gd name="connsiteY1481" fmla="*/ 1167479 h 1273968"/>
                <a:gd name="connsiteX1482" fmla="*/ 928306 w 1489995"/>
                <a:gd name="connsiteY1482" fmla="*/ 1170623 h 1273968"/>
                <a:gd name="connsiteX1483" fmla="*/ 930116 w 1489995"/>
                <a:gd name="connsiteY1483" fmla="*/ 1171956 h 1273968"/>
                <a:gd name="connsiteX1484" fmla="*/ 925354 w 1489995"/>
                <a:gd name="connsiteY1484" fmla="*/ 1172623 h 1273968"/>
                <a:gd name="connsiteX1485" fmla="*/ 926878 w 1489995"/>
                <a:gd name="connsiteY1485" fmla="*/ 1172432 h 1273968"/>
                <a:gd name="connsiteX1486" fmla="*/ 928878 w 1489995"/>
                <a:gd name="connsiteY1486" fmla="*/ 1175385 h 1273968"/>
                <a:gd name="connsiteX1487" fmla="*/ 927544 w 1489995"/>
                <a:gd name="connsiteY1487" fmla="*/ 1177100 h 1273968"/>
                <a:gd name="connsiteX1488" fmla="*/ 930878 w 1489995"/>
                <a:gd name="connsiteY1488" fmla="*/ 1178338 h 1273968"/>
                <a:gd name="connsiteX1489" fmla="*/ 928306 w 1489995"/>
                <a:gd name="connsiteY1489" fmla="*/ 1183481 h 1273968"/>
                <a:gd name="connsiteX1490" fmla="*/ 930116 w 1489995"/>
                <a:gd name="connsiteY1490" fmla="*/ 1184815 h 1273968"/>
                <a:gd name="connsiteX1491" fmla="*/ 926973 w 1489995"/>
                <a:gd name="connsiteY1491" fmla="*/ 1185196 h 1273968"/>
                <a:gd name="connsiteX1492" fmla="*/ 925735 w 1489995"/>
                <a:gd name="connsiteY1492" fmla="*/ 1188625 h 1273968"/>
                <a:gd name="connsiteX1493" fmla="*/ 924211 w 1489995"/>
                <a:gd name="connsiteY1493" fmla="*/ 1188815 h 1273968"/>
                <a:gd name="connsiteX1494" fmla="*/ 923449 w 1489995"/>
                <a:gd name="connsiteY1494" fmla="*/ 1195292 h 1273968"/>
                <a:gd name="connsiteX1495" fmla="*/ 921830 w 1489995"/>
                <a:gd name="connsiteY1495" fmla="*/ 1195483 h 1273968"/>
                <a:gd name="connsiteX1496" fmla="*/ 920687 w 1489995"/>
                <a:gd name="connsiteY1496" fmla="*/ 1198816 h 1273968"/>
                <a:gd name="connsiteX1497" fmla="*/ 922210 w 1489995"/>
                <a:gd name="connsiteY1497" fmla="*/ 1198626 h 1273968"/>
                <a:gd name="connsiteX1498" fmla="*/ 922687 w 1489995"/>
                <a:gd name="connsiteY1498" fmla="*/ 1201769 h 1273968"/>
                <a:gd name="connsiteX1499" fmla="*/ 927544 w 1489995"/>
                <a:gd name="connsiteY1499" fmla="*/ 1202817 h 1273968"/>
                <a:gd name="connsiteX1500" fmla="*/ 925259 w 1489995"/>
                <a:gd name="connsiteY1500" fmla="*/ 1209485 h 1273968"/>
                <a:gd name="connsiteX1501" fmla="*/ 927259 w 1489995"/>
                <a:gd name="connsiteY1501" fmla="*/ 1212437 h 1273968"/>
                <a:gd name="connsiteX1502" fmla="*/ 930212 w 1489995"/>
                <a:gd name="connsiteY1502" fmla="*/ 1210437 h 1273968"/>
                <a:gd name="connsiteX1503" fmla="*/ 930593 w 1489995"/>
                <a:gd name="connsiteY1503" fmla="*/ 1213676 h 1273968"/>
                <a:gd name="connsiteX1504" fmla="*/ 928973 w 1489995"/>
                <a:gd name="connsiteY1504" fmla="*/ 1213866 h 1273968"/>
                <a:gd name="connsiteX1505" fmla="*/ 934117 w 1489995"/>
                <a:gd name="connsiteY1505" fmla="*/ 1216343 h 1273968"/>
                <a:gd name="connsiteX1506" fmla="*/ 934498 w 1489995"/>
                <a:gd name="connsiteY1506" fmla="*/ 1219581 h 1273968"/>
                <a:gd name="connsiteX1507" fmla="*/ 930021 w 1489995"/>
                <a:gd name="connsiteY1507" fmla="*/ 1221677 h 1273968"/>
                <a:gd name="connsiteX1508" fmla="*/ 934688 w 1489995"/>
                <a:gd name="connsiteY1508" fmla="*/ 1221105 h 1273968"/>
                <a:gd name="connsiteX1509" fmla="*/ 933355 w 1489995"/>
                <a:gd name="connsiteY1509" fmla="*/ 1222915 h 1273968"/>
                <a:gd name="connsiteX1510" fmla="*/ 928783 w 1489995"/>
                <a:gd name="connsiteY1510" fmla="*/ 1225106 h 1273968"/>
                <a:gd name="connsiteX1511" fmla="*/ 925449 w 1489995"/>
                <a:gd name="connsiteY1511" fmla="*/ 1223867 h 1273968"/>
                <a:gd name="connsiteX1512" fmla="*/ 924115 w 1489995"/>
                <a:gd name="connsiteY1512" fmla="*/ 1225677 h 1273968"/>
                <a:gd name="connsiteX1513" fmla="*/ 924306 w 1489995"/>
                <a:gd name="connsiteY1513" fmla="*/ 1227296 h 1273968"/>
                <a:gd name="connsiteX1514" fmla="*/ 916591 w 1489995"/>
                <a:gd name="connsiteY1514" fmla="*/ 1229868 h 1273968"/>
                <a:gd name="connsiteX1515" fmla="*/ 916781 w 1489995"/>
                <a:gd name="connsiteY1515" fmla="*/ 1231392 h 1273968"/>
                <a:gd name="connsiteX1516" fmla="*/ 913638 w 1489995"/>
                <a:gd name="connsiteY1516" fmla="*/ 1231868 h 1273968"/>
                <a:gd name="connsiteX1517" fmla="*/ 913257 w 1489995"/>
                <a:gd name="connsiteY1517" fmla="*/ 1228630 h 1273968"/>
                <a:gd name="connsiteX1518" fmla="*/ 906971 w 1489995"/>
                <a:gd name="connsiteY1518" fmla="*/ 1229487 h 1273968"/>
                <a:gd name="connsiteX1519" fmla="*/ 903542 w 1489995"/>
                <a:gd name="connsiteY1519" fmla="*/ 1228249 h 1273968"/>
                <a:gd name="connsiteX1520" fmla="*/ 902208 w 1489995"/>
                <a:gd name="connsiteY1520" fmla="*/ 1230059 h 1273968"/>
                <a:gd name="connsiteX1521" fmla="*/ 902589 w 1489995"/>
                <a:gd name="connsiteY1521" fmla="*/ 1233202 h 1273968"/>
                <a:gd name="connsiteX1522" fmla="*/ 897826 w 1489995"/>
                <a:gd name="connsiteY1522" fmla="*/ 1233869 h 1273968"/>
                <a:gd name="connsiteX1523" fmla="*/ 896302 w 1489995"/>
                <a:gd name="connsiteY1523" fmla="*/ 1234059 h 1273968"/>
                <a:gd name="connsiteX1524" fmla="*/ 895350 w 1489995"/>
                <a:gd name="connsiteY1524" fmla="*/ 1239012 h 1273968"/>
                <a:gd name="connsiteX1525" fmla="*/ 888206 w 1489995"/>
                <a:gd name="connsiteY1525" fmla="*/ 1246251 h 1273968"/>
                <a:gd name="connsiteX1526" fmla="*/ 884872 w 1489995"/>
                <a:gd name="connsiteY1526" fmla="*/ 1245108 h 1273968"/>
                <a:gd name="connsiteX1527" fmla="*/ 883730 w 1489995"/>
                <a:gd name="connsiteY1527" fmla="*/ 1248442 h 1273968"/>
                <a:gd name="connsiteX1528" fmla="*/ 878776 w 1489995"/>
                <a:gd name="connsiteY1528" fmla="*/ 1247489 h 1273968"/>
                <a:gd name="connsiteX1529" fmla="*/ 876014 w 1489995"/>
                <a:gd name="connsiteY1529" fmla="*/ 1251014 h 1273968"/>
                <a:gd name="connsiteX1530" fmla="*/ 876395 w 1489995"/>
                <a:gd name="connsiteY1530" fmla="*/ 1254252 h 1273968"/>
                <a:gd name="connsiteX1531" fmla="*/ 871633 w 1489995"/>
                <a:gd name="connsiteY1531" fmla="*/ 1254824 h 1273968"/>
                <a:gd name="connsiteX1532" fmla="*/ 877443 w 1489995"/>
                <a:gd name="connsiteY1532" fmla="*/ 1262062 h 1273968"/>
                <a:gd name="connsiteX1533" fmla="*/ 874681 w 1489995"/>
                <a:gd name="connsiteY1533" fmla="*/ 1265682 h 1273968"/>
                <a:gd name="connsiteX1534" fmla="*/ 873919 w 1489995"/>
                <a:gd name="connsiteY1534" fmla="*/ 1272159 h 1273968"/>
                <a:gd name="connsiteX1535" fmla="*/ 872490 w 1489995"/>
                <a:gd name="connsiteY1535" fmla="*/ 1273969 h 1273968"/>
                <a:gd name="connsiteX1536" fmla="*/ 866013 w 1489995"/>
                <a:gd name="connsiteY1536" fmla="*/ 1273207 h 1273968"/>
                <a:gd name="connsiteX1537" fmla="*/ 864013 w 1489995"/>
                <a:gd name="connsiteY1537" fmla="*/ 1270254 h 1273968"/>
                <a:gd name="connsiteX1538" fmla="*/ 865156 w 1489995"/>
                <a:gd name="connsiteY1538" fmla="*/ 1266825 h 1273968"/>
                <a:gd name="connsiteX1539" fmla="*/ 862393 w 1489995"/>
                <a:gd name="connsiteY1539" fmla="*/ 1257586 h 1273968"/>
                <a:gd name="connsiteX1540" fmla="*/ 857440 w 1489995"/>
                <a:gd name="connsiteY1540" fmla="*/ 1256633 h 1273968"/>
                <a:gd name="connsiteX1541" fmla="*/ 843820 w 1489995"/>
                <a:gd name="connsiteY1541" fmla="*/ 1250347 h 1273968"/>
                <a:gd name="connsiteX1542" fmla="*/ 830009 w 1489995"/>
                <a:gd name="connsiteY1542" fmla="*/ 1255300 h 1273968"/>
                <a:gd name="connsiteX1543" fmla="*/ 826865 w 1489995"/>
                <a:gd name="connsiteY1543" fmla="*/ 1255681 h 1273968"/>
                <a:gd name="connsiteX1544" fmla="*/ 824675 w 1489995"/>
                <a:gd name="connsiteY1544" fmla="*/ 1251204 h 1273968"/>
                <a:gd name="connsiteX1545" fmla="*/ 820007 w 1489995"/>
                <a:gd name="connsiteY1545" fmla="*/ 1251776 h 1273968"/>
                <a:gd name="connsiteX1546" fmla="*/ 819531 w 1489995"/>
                <a:gd name="connsiteY1546" fmla="*/ 1248632 h 1273968"/>
                <a:gd name="connsiteX1547" fmla="*/ 822484 w 1489995"/>
                <a:gd name="connsiteY1547" fmla="*/ 1246632 h 1273968"/>
                <a:gd name="connsiteX1548" fmla="*/ 825627 w 1489995"/>
                <a:gd name="connsiteY1548" fmla="*/ 1246251 h 1273968"/>
                <a:gd name="connsiteX1549" fmla="*/ 826675 w 1489995"/>
                <a:gd name="connsiteY1549" fmla="*/ 1241298 h 1273968"/>
                <a:gd name="connsiteX1550" fmla="*/ 829437 w 1489995"/>
                <a:gd name="connsiteY1550" fmla="*/ 1237774 h 1273968"/>
                <a:gd name="connsiteX1551" fmla="*/ 830009 w 1489995"/>
                <a:gd name="connsiteY1551" fmla="*/ 1229678 h 1273968"/>
                <a:gd name="connsiteX1552" fmla="*/ 829532 w 1489995"/>
                <a:gd name="connsiteY1552" fmla="*/ 1226534 h 1273968"/>
                <a:gd name="connsiteX1553" fmla="*/ 828008 w 1489995"/>
                <a:gd name="connsiteY1553" fmla="*/ 1226725 h 1273968"/>
                <a:gd name="connsiteX1554" fmla="*/ 826580 w 1489995"/>
                <a:gd name="connsiteY1554" fmla="*/ 1228439 h 1273968"/>
                <a:gd name="connsiteX1555" fmla="*/ 825627 w 1489995"/>
                <a:gd name="connsiteY1555" fmla="*/ 1233392 h 1273968"/>
                <a:gd name="connsiteX1556" fmla="*/ 822674 w 1489995"/>
                <a:gd name="connsiteY1556" fmla="*/ 1235393 h 1273968"/>
                <a:gd name="connsiteX1557" fmla="*/ 817721 w 1489995"/>
                <a:gd name="connsiteY1557" fmla="*/ 1234440 h 1273968"/>
                <a:gd name="connsiteX1558" fmla="*/ 818197 w 1489995"/>
                <a:gd name="connsiteY1558" fmla="*/ 1237583 h 1273968"/>
                <a:gd name="connsiteX1559" fmla="*/ 814959 w 1489995"/>
                <a:gd name="connsiteY1559" fmla="*/ 1237964 h 1273968"/>
                <a:gd name="connsiteX1560" fmla="*/ 815816 w 1489995"/>
                <a:gd name="connsiteY1560" fmla="*/ 1231487 h 1273968"/>
                <a:gd name="connsiteX1561" fmla="*/ 810673 w 1489995"/>
                <a:gd name="connsiteY1561" fmla="*/ 1241774 h 1273968"/>
                <a:gd name="connsiteX1562" fmla="*/ 805720 w 1489995"/>
                <a:gd name="connsiteY1562" fmla="*/ 1240727 h 1273968"/>
                <a:gd name="connsiteX1563" fmla="*/ 807148 w 1489995"/>
                <a:gd name="connsiteY1563" fmla="*/ 1239012 h 1273968"/>
                <a:gd name="connsiteX1564" fmla="*/ 805529 w 1489995"/>
                <a:gd name="connsiteY1564" fmla="*/ 1239203 h 1273968"/>
                <a:gd name="connsiteX1565" fmla="*/ 804196 w 1489995"/>
                <a:gd name="connsiteY1565" fmla="*/ 1240917 h 1273968"/>
                <a:gd name="connsiteX1566" fmla="*/ 802196 w 1489995"/>
                <a:gd name="connsiteY1566" fmla="*/ 1237964 h 1273968"/>
                <a:gd name="connsiteX1567" fmla="*/ 800767 w 1489995"/>
                <a:gd name="connsiteY1567" fmla="*/ 1239774 h 1273968"/>
                <a:gd name="connsiteX1568" fmla="*/ 799052 w 1489995"/>
                <a:gd name="connsiteY1568" fmla="*/ 1238441 h 1273968"/>
                <a:gd name="connsiteX1569" fmla="*/ 794099 w 1489995"/>
                <a:gd name="connsiteY1569" fmla="*/ 1237393 h 1273968"/>
                <a:gd name="connsiteX1570" fmla="*/ 792099 w 1489995"/>
                <a:gd name="connsiteY1570" fmla="*/ 1234440 h 1273968"/>
                <a:gd name="connsiteX1571" fmla="*/ 789146 w 1489995"/>
                <a:gd name="connsiteY1571" fmla="*/ 1236440 h 1273968"/>
                <a:gd name="connsiteX1572" fmla="*/ 786384 w 1489995"/>
                <a:gd name="connsiteY1572" fmla="*/ 1240060 h 1273968"/>
                <a:gd name="connsiteX1573" fmla="*/ 784193 w 1489995"/>
                <a:gd name="connsiteY1573" fmla="*/ 1235488 h 1273968"/>
                <a:gd name="connsiteX1574" fmla="*/ 782860 w 1489995"/>
                <a:gd name="connsiteY1574" fmla="*/ 1237298 h 1273968"/>
                <a:gd name="connsiteX1575" fmla="*/ 782384 w 1489995"/>
                <a:gd name="connsiteY1575" fmla="*/ 1234154 h 1273968"/>
                <a:gd name="connsiteX1576" fmla="*/ 777907 w 1489995"/>
                <a:gd name="connsiteY1576" fmla="*/ 1236250 h 1273968"/>
                <a:gd name="connsiteX1577" fmla="*/ 777716 w 1489995"/>
                <a:gd name="connsiteY1577" fmla="*/ 1234726 h 1273968"/>
                <a:gd name="connsiteX1578" fmla="*/ 774383 w 1489995"/>
                <a:gd name="connsiteY1578" fmla="*/ 1233583 h 1273968"/>
                <a:gd name="connsiteX1579" fmla="*/ 776668 w 1489995"/>
                <a:gd name="connsiteY1579" fmla="*/ 1226820 h 1273968"/>
                <a:gd name="connsiteX1580" fmla="*/ 774954 w 1489995"/>
                <a:gd name="connsiteY1580" fmla="*/ 1225487 h 1273968"/>
                <a:gd name="connsiteX1581" fmla="*/ 770192 w 1489995"/>
                <a:gd name="connsiteY1581" fmla="*/ 1226058 h 1273968"/>
                <a:gd name="connsiteX1582" fmla="*/ 767429 w 1489995"/>
                <a:gd name="connsiteY1582" fmla="*/ 1229582 h 1273968"/>
                <a:gd name="connsiteX1583" fmla="*/ 762476 w 1489995"/>
                <a:gd name="connsiteY1583" fmla="*/ 1228630 h 1273968"/>
                <a:gd name="connsiteX1584" fmla="*/ 753809 w 1489995"/>
                <a:gd name="connsiteY1584" fmla="*/ 1223296 h 1273968"/>
                <a:gd name="connsiteX1585" fmla="*/ 749046 w 1489995"/>
                <a:gd name="connsiteY1585" fmla="*/ 1223962 h 1273968"/>
                <a:gd name="connsiteX1586" fmla="*/ 750856 w 1489995"/>
                <a:gd name="connsiteY1586" fmla="*/ 1225296 h 1273968"/>
                <a:gd name="connsiteX1587" fmla="*/ 748475 w 1489995"/>
                <a:gd name="connsiteY1587" fmla="*/ 1232059 h 1273968"/>
                <a:gd name="connsiteX1588" fmla="*/ 742379 w 1489995"/>
                <a:gd name="connsiteY1588" fmla="*/ 1234440 h 1273968"/>
                <a:gd name="connsiteX1589" fmla="*/ 744379 w 1489995"/>
                <a:gd name="connsiteY1589" fmla="*/ 1237393 h 1273968"/>
                <a:gd name="connsiteX1590" fmla="*/ 747522 w 1489995"/>
                <a:gd name="connsiteY1590" fmla="*/ 1236916 h 1273968"/>
                <a:gd name="connsiteX1591" fmla="*/ 746093 w 1489995"/>
                <a:gd name="connsiteY1591" fmla="*/ 1238726 h 1273968"/>
                <a:gd name="connsiteX1592" fmla="*/ 744569 w 1489995"/>
                <a:gd name="connsiteY1592" fmla="*/ 1238917 h 1273968"/>
                <a:gd name="connsiteX1593" fmla="*/ 740759 w 1489995"/>
                <a:gd name="connsiteY1593" fmla="*/ 1234631 h 1273968"/>
                <a:gd name="connsiteX1594" fmla="*/ 739616 w 1489995"/>
                <a:gd name="connsiteY1594" fmla="*/ 1237964 h 1273968"/>
                <a:gd name="connsiteX1595" fmla="*/ 736092 w 1489995"/>
                <a:gd name="connsiteY1595" fmla="*/ 1235202 h 1273968"/>
                <a:gd name="connsiteX1596" fmla="*/ 735616 w 1489995"/>
                <a:gd name="connsiteY1596" fmla="*/ 1232059 h 1273968"/>
                <a:gd name="connsiteX1597" fmla="*/ 734092 w 1489995"/>
                <a:gd name="connsiteY1597" fmla="*/ 1232249 h 1273968"/>
                <a:gd name="connsiteX1598" fmla="*/ 731901 w 1489995"/>
                <a:gd name="connsiteY1598" fmla="*/ 1227677 h 1273968"/>
                <a:gd name="connsiteX1599" fmla="*/ 727138 w 1489995"/>
                <a:gd name="connsiteY1599" fmla="*/ 1228344 h 1273968"/>
                <a:gd name="connsiteX1600" fmla="*/ 726186 w 1489995"/>
                <a:gd name="connsiteY1600" fmla="*/ 1220438 h 1273968"/>
                <a:gd name="connsiteX1601" fmla="*/ 719804 w 1489995"/>
                <a:gd name="connsiteY1601" fmla="*/ 1221200 h 1273968"/>
                <a:gd name="connsiteX1602" fmla="*/ 718661 w 1489995"/>
                <a:gd name="connsiteY1602" fmla="*/ 1224629 h 1273968"/>
                <a:gd name="connsiteX1603" fmla="*/ 715518 w 1489995"/>
                <a:gd name="connsiteY1603" fmla="*/ 1225010 h 1273968"/>
                <a:gd name="connsiteX1604" fmla="*/ 707422 w 1489995"/>
                <a:gd name="connsiteY1604" fmla="*/ 1211580 h 1273968"/>
                <a:gd name="connsiteX1605" fmla="*/ 704279 w 1489995"/>
                <a:gd name="connsiteY1605" fmla="*/ 1211961 h 1273968"/>
                <a:gd name="connsiteX1606" fmla="*/ 700468 w 1489995"/>
                <a:gd name="connsiteY1606" fmla="*/ 1207675 h 1273968"/>
                <a:gd name="connsiteX1607" fmla="*/ 702850 w 1489995"/>
                <a:gd name="connsiteY1607" fmla="*/ 1213771 h 1273968"/>
                <a:gd name="connsiteX1608" fmla="*/ 701326 w 1489995"/>
                <a:gd name="connsiteY1608" fmla="*/ 1213961 h 1273968"/>
                <a:gd name="connsiteX1609" fmla="*/ 697706 w 1489995"/>
                <a:gd name="connsiteY1609" fmla="*/ 1211199 h 1273968"/>
                <a:gd name="connsiteX1610" fmla="*/ 696373 w 1489995"/>
                <a:gd name="connsiteY1610" fmla="*/ 1213009 h 1273968"/>
                <a:gd name="connsiteX1611" fmla="*/ 697897 w 1489995"/>
                <a:gd name="connsiteY1611" fmla="*/ 1212818 h 1273968"/>
                <a:gd name="connsiteX1612" fmla="*/ 702278 w 1489995"/>
                <a:gd name="connsiteY1612" fmla="*/ 1221867 h 1273968"/>
                <a:gd name="connsiteX1613" fmla="*/ 700945 w 1489995"/>
                <a:gd name="connsiteY1613" fmla="*/ 1223677 h 1273968"/>
                <a:gd name="connsiteX1614" fmla="*/ 702659 w 1489995"/>
                <a:gd name="connsiteY1614" fmla="*/ 1225010 h 1273968"/>
                <a:gd name="connsiteX1615" fmla="*/ 699897 w 1489995"/>
                <a:gd name="connsiteY1615" fmla="*/ 1228630 h 1273968"/>
                <a:gd name="connsiteX1616" fmla="*/ 701897 w 1489995"/>
                <a:gd name="connsiteY1616" fmla="*/ 1231583 h 1273968"/>
                <a:gd name="connsiteX1617" fmla="*/ 706660 w 1489995"/>
                <a:gd name="connsiteY1617" fmla="*/ 1230916 h 1273968"/>
                <a:gd name="connsiteX1618" fmla="*/ 705231 w 1489995"/>
                <a:gd name="connsiteY1618" fmla="*/ 1232726 h 1273968"/>
                <a:gd name="connsiteX1619" fmla="*/ 701897 w 1489995"/>
                <a:gd name="connsiteY1619" fmla="*/ 1231583 h 1273968"/>
                <a:gd name="connsiteX1620" fmla="*/ 702278 w 1489995"/>
                <a:gd name="connsiteY1620" fmla="*/ 1234726 h 1273968"/>
                <a:gd name="connsiteX1621" fmla="*/ 700754 w 1489995"/>
                <a:gd name="connsiteY1621" fmla="*/ 1234916 h 1273968"/>
                <a:gd name="connsiteX1622" fmla="*/ 698183 w 1489995"/>
                <a:gd name="connsiteY1622" fmla="*/ 1227201 h 1273968"/>
                <a:gd name="connsiteX1623" fmla="*/ 695039 w 1489995"/>
                <a:gd name="connsiteY1623" fmla="*/ 1227582 h 1273968"/>
                <a:gd name="connsiteX1624" fmla="*/ 691420 w 1489995"/>
                <a:gd name="connsiteY1624" fmla="*/ 1224820 h 1273968"/>
                <a:gd name="connsiteX1625" fmla="*/ 686752 w 1489995"/>
                <a:gd name="connsiteY1625" fmla="*/ 1225487 h 1273968"/>
                <a:gd name="connsiteX1626" fmla="*/ 685514 w 1489995"/>
                <a:gd name="connsiteY1626" fmla="*/ 1228820 h 1273968"/>
                <a:gd name="connsiteX1627" fmla="*/ 682180 w 1489995"/>
                <a:gd name="connsiteY1627" fmla="*/ 1227677 h 1273968"/>
                <a:gd name="connsiteX1628" fmla="*/ 682371 w 1489995"/>
                <a:gd name="connsiteY1628" fmla="*/ 1229201 h 1273968"/>
                <a:gd name="connsiteX1629" fmla="*/ 680752 w 1489995"/>
                <a:gd name="connsiteY1629" fmla="*/ 1229392 h 1273968"/>
                <a:gd name="connsiteX1630" fmla="*/ 682752 w 1489995"/>
                <a:gd name="connsiteY1630" fmla="*/ 1232345 h 1273968"/>
                <a:gd name="connsiteX1631" fmla="*/ 681228 w 1489995"/>
                <a:gd name="connsiteY1631" fmla="*/ 1232535 h 1273968"/>
                <a:gd name="connsiteX1632" fmla="*/ 681418 w 1489995"/>
                <a:gd name="connsiteY1632" fmla="*/ 1234154 h 1273968"/>
                <a:gd name="connsiteX1633" fmla="*/ 679609 w 1489995"/>
                <a:gd name="connsiteY1633" fmla="*/ 1232821 h 1273968"/>
                <a:gd name="connsiteX1634" fmla="*/ 679799 w 1489995"/>
                <a:gd name="connsiteY1634" fmla="*/ 1234345 h 1273968"/>
                <a:gd name="connsiteX1635" fmla="*/ 678466 w 1489995"/>
                <a:gd name="connsiteY1635" fmla="*/ 1236155 h 1273968"/>
                <a:gd name="connsiteX1636" fmla="*/ 676465 w 1489995"/>
                <a:gd name="connsiteY1636" fmla="*/ 1233202 h 1273968"/>
                <a:gd name="connsiteX1637" fmla="*/ 675132 w 1489995"/>
                <a:gd name="connsiteY1637" fmla="*/ 1234916 h 1273968"/>
                <a:gd name="connsiteX1638" fmla="*/ 672751 w 1489995"/>
                <a:gd name="connsiteY1638" fmla="*/ 1241679 h 1273968"/>
                <a:gd name="connsiteX1639" fmla="*/ 671131 w 1489995"/>
                <a:gd name="connsiteY1639" fmla="*/ 1241870 h 1273968"/>
                <a:gd name="connsiteX1640" fmla="*/ 672370 w 1489995"/>
                <a:gd name="connsiteY1640" fmla="*/ 1238536 h 1273968"/>
                <a:gd name="connsiteX1641" fmla="*/ 668941 w 1489995"/>
                <a:gd name="connsiteY1641" fmla="*/ 1237298 h 1273968"/>
                <a:gd name="connsiteX1642" fmla="*/ 666179 w 1489995"/>
                <a:gd name="connsiteY1642" fmla="*/ 1240917 h 1273968"/>
                <a:gd name="connsiteX1643" fmla="*/ 665226 w 1489995"/>
                <a:gd name="connsiteY1643" fmla="*/ 1245870 h 1273968"/>
                <a:gd name="connsiteX1644" fmla="*/ 663702 w 1489995"/>
                <a:gd name="connsiteY1644" fmla="*/ 1246061 h 1273968"/>
                <a:gd name="connsiteX1645" fmla="*/ 663035 w 1489995"/>
                <a:gd name="connsiteY1645" fmla="*/ 1241298 h 1273968"/>
                <a:gd name="connsiteX1646" fmla="*/ 659892 w 1489995"/>
                <a:gd name="connsiteY1646" fmla="*/ 1241679 h 1273968"/>
                <a:gd name="connsiteX1647" fmla="*/ 659511 w 1489995"/>
                <a:gd name="connsiteY1647" fmla="*/ 1238536 h 1273968"/>
                <a:gd name="connsiteX1648" fmla="*/ 656177 w 1489995"/>
                <a:gd name="connsiteY1648" fmla="*/ 1237393 h 1273968"/>
                <a:gd name="connsiteX1649" fmla="*/ 648843 w 1489995"/>
                <a:gd name="connsiteY1649" fmla="*/ 1243108 h 1273968"/>
                <a:gd name="connsiteX1650" fmla="*/ 645509 w 1489995"/>
                <a:gd name="connsiteY1650" fmla="*/ 1241965 h 1273968"/>
                <a:gd name="connsiteX1651" fmla="*/ 643700 w 1489995"/>
                <a:gd name="connsiteY1651" fmla="*/ 1240536 h 1273968"/>
                <a:gd name="connsiteX1652" fmla="*/ 646843 w 1489995"/>
                <a:gd name="connsiteY1652" fmla="*/ 1240155 h 1273968"/>
                <a:gd name="connsiteX1653" fmla="*/ 648272 w 1489995"/>
                <a:gd name="connsiteY1653" fmla="*/ 1238345 h 1273968"/>
                <a:gd name="connsiteX1654" fmla="*/ 646081 w 1489995"/>
                <a:gd name="connsiteY1654" fmla="*/ 1233869 h 1273968"/>
                <a:gd name="connsiteX1655" fmla="*/ 648843 w 1489995"/>
                <a:gd name="connsiteY1655" fmla="*/ 1230249 h 1273968"/>
                <a:gd name="connsiteX1656" fmla="*/ 648462 w 1489995"/>
                <a:gd name="connsiteY1656" fmla="*/ 1227106 h 1273968"/>
                <a:gd name="connsiteX1657" fmla="*/ 645319 w 1489995"/>
                <a:gd name="connsiteY1657" fmla="*/ 1227487 h 1273968"/>
                <a:gd name="connsiteX1658" fmla="*/ 643509 w 1489995"/>
                <a:gd name="connsiteY1658" fmla="*/ 1226153 h 1273968"/>
                <a:gd name="connsiteX1659" fmla="*/ 641699 w 1489995"/>
                <a:gd name="connsiteY1659" fmla="*/ 1224820 h 1273968"/>
                <a:gd name="connsiteX1660" fmla="*/ 641699 w 1489995"/>
                <a:gd name="connsiteY1660" fmla="*/ 1224820 h 1273968"/>
                <a:gd name="connsiteX1661" fmla="*/ 639509 w 1489995"/>
                <a:gd name="connsiteY1661" fmla="*/ 1220248 h 1273968"/>
                <a:gd name="connsiteX1662" fmla="*/ 638175 w 1489995"/>
                <a:gd name="connsiteY1662" fmla="*/ 1222058 h 1273968"/>
                <a:gd name="connsiteX1663" fmla="*/ 631031 w 1489995"/>
                <a:gd name="connsiteY1663" fmla="*/ 1216533 h 1273968"/>
                <a:gd name="connsiteX1664" fmla="*/ 625316 w 1489995"/>
                <a:gd name="connsiteY1664" fmla="*/ 1222058 h 1273968"/>
                <a:gd name="connsiteX1665" fmla="*/ 623126 w 1489995"/>
                <a:gd name="connsiteY1665" fmla="*/ 1217486 h 1273968"/>
                <a:gd name="connsiteX1666" fmla="*/ 621792 w 1489995"/>
                <a:gd name="connsiteY1666" fmla="*/ 1219295 h 1273968"/>
                <a:gd name="connsiteX1667" fmla="*/ 621601 w 1489995"/>
                <a:gd name="connsiteY1667" fmla="*/ 1217771 h 1273968"/>
                <a:gd name="connsiteX1668" fmla="*/ 619792 w 1489995"/>
                <a:gd name="connsiteY1668" fmla="*/ 1216343 h 1273968"/>
                <a:gd name="connsiteX1669" fmla="*/ 620363 w 1489995"/>
                <a:gd name="connsiteY1669" fmla="*/ 1208246 h 1273968"/>
                <a:gd name="connsiteX1670" fmla="*/ 621697 w 1489995"/>
                <a:gd name="connsiteY1670" fmla="*/ 1206437 h 1273968"/>
                <a:gd name="connsiteX1671" fmla="*/ 616363 w 1489995"/>
                <a:gd name="connsiteY1671" fmla="*/ 1202341 h 1273968"/>
                <a:gd name="connsiteX1672" fmla="*/ 609886 w 1489995"/>
                <a:gd name="connsiteY1672" fmla="*/ 1201579 h 1273968"/>
                <a:gd name="connsiteX1673" fmla="*/ 609505 w 1489995"/>
                <a:gd name="connsiteY1673" fmla="*/ 1198436 h 1273968"/>
                <a:gd name="connsiteX1674" fmla="*/ 604933 w 1489995"/>
                <a:gd name="connsiteY1674" fmla="*/ 1200626 h 1273968"/>
                <a:gd name="connsiteX1675" fmla="*/ 602551 w 1489995"/>
                <a:gd name="connsiteY1675" fmla="*/ 1194435 h 1273968"/>
                <a:gd name="connsiteX1676" fmla="*/ 596837 w 1489995"/>
                <a:gd name="connsiteY1676" fmla="*/ 1200055 h 1273968"/>
                <a:gd name="connsiteX1677" fmla="*/ 593693 w 1489995"/>
                <a:gd name="connsiteY1677" fmla="*/ 1200436 h 1273968"/>
                <a:gd name="connsiteX1678" fmla="*/ 582835 w 1489995"/>
                <a:gd name="connsiteY1678" fmla="*/ 1203389 h 1273968"/>
                <a:gd name="connsiteX1679" fmla="*/ 580644 w 1489995"/>
                <a:gd name="connsiteY1679" fmla="*/ 1198912 h 1273968"/>
                <a:gd name="connsiteX1680" fmla="*/ 577882 w 1489995"/>
                <a:gd name="connsiteY1680" fmla="*/ 1202436 h 1273968"/>
                <a:gd name="connsiteX1681" fmla="*/ 574738 w 1489995"/>
                <a:gd name="connsiteY1681" fmla="*/ 1202817 h 1273968"/>
                <a:gd name="connsiteX1682" fmla="*/ 573405 w 1489995"/>
                <a:gd name="connsiteY1682" fmla="*/ 1204627 h 1273968"/>
                <a:gd name="connsiteX1683" fmla="*/ 573786 w 1489995"/>
                <a:gd name="connsiteY1683" fmla="*/ 1207770 h 1273968"/>
                <a:gd name="connsiteX1684" fmla="*/ 574834 w 1489995"/>
                <a:gd name="connsiteY1684" fmla="*/ 1215676 h 1273968"/>
                <a:gd name="connsiteX1685" fmla="*/ 570262 w 1489995"/>
                <a:gd name="connsiteY1685" fmla="*/ 1217866 h 1273968"/>
                <a:gd name="connsiteX1686" fmla="*/ 570643 w 1489995"/>
                <a:gd name="connsiteY1686" fmla="*/ 1221010 h 1273968"/>
                <a:gd name="connsiteX1687" fmla="*/ 566356 w 1489995"/>
                <a:gd name="connsiteY1687" fmla="*/ 1224725 h 1273968"/>
                <a:gd name="connsiteX1688" fmla="*/ 563213 w 1489995"/>
                <a:gd name="connsiteY1688" fmla="*/ 1225201 h 1273968"/>
                <a:gd name="connsiteX1689" fmla="*/ 563594 w 1489995"/>
                <a:gd name="connsiteY1689" fmla="*/ 1228344 h 1273968"/>
                <a:gd name="connsiteX1690" fmla="*/ 566547 w 1489995"/>
                <a:gd name="connsiteY1690" fmla="*/ 1226344 h 1273968"/>
                <a:gd name="connsiteX1691" fmla="*/ 560832 w 1489995"/>
                <a:gd name="connsiteY1691" fmla="*/ 1231868 h 1273968"/>
                <a:gd name="connsiteX1692" fmla="*/ 561404 w 1489995"/>
                <a:gd name="connsiteY1692" fmla="*/ 1236631 h 1273968"/>
                <a:gd name="connsiteX1693" fmla="*/ 556546 w 1489995"/>
                <a:gd name="connsiteY1693" fmla="*/ 1235678 h 1273968"/>
                <a:gd name="connsiteX1694" fmla="*/ 556069 w 1489995"/>
                <a:gd name="connsiteY1694" fmla="*/ 1232440 h 1273968"/>
                <a:gd name="connsiteX1695" fmla="*/ 559022 w 1489995"/>
                <a:gd name="connsiteY1695" fmla="*/ 1230535 h 1273968"/>
                <a:gd name="connsiteX1696" fmla="*/ 557308 w 1489995"/>
                <a:gd name="connsiteY1696" fmla="*/ 1229106 h 1273968"/>
                <a:gd name="connsiteX1697" fmla="*/ 551117 w 1489995"/>
                <a:gd name="connsiteY1697" fmla="*/ 1231487 h 1273968"/>
                <a:gd name="connsiteX1698" fmla="*/ 543306 w 1489995"/>
                <a:gd name="connsiteY1698" fmla="*/ 1232535 h 1273968"/>
                <a:gd name="connsiteX1699" fmla="*/ 540353 w 1489995"/>
                <a:gd name="connsiteY1699" fmla="*/ 1234535 h 1273968"/>
                <a:gd name="connsiteX1700" fmla="*/ 536924 w 1489995"/>
                <a:gd name="connsiteY1700" fmla="*/ 1233297 h 1273968"/>
                <a:gd name="connsiteX1701" fmla="*/ 532067 w 1489995"/>
                <a:gd name="connsiteY1701" fmla="*/ 1232345 h 1273968"/>
                <a:gd name="connsiteX1702" fmla="*/ 525685 w 1489995"/>
                <a:gd name="connsiteY1702" fmla="*/ 1233107 h 1273968"/>
                <a:gd name="connsiteX1703" fmla="*/ 522542 w 1489995"/>
                <a:gd name="connsiteY1703" fmla="*/ 1233583 h 1273968"/>
                <a:gd name="connsiteX1704" fmla="*/ 521398 w 1489995"/>
                <a:gd name="connsiteY1704" fmla="*/ 1236916 h 1273968"/>
                <a:gd name="connsiteX1705" fmla="*/ 514255 w 1489995"/>
                <a:gd name="connsiteY1705" fmla="*/ 1231392 h 1273968"/>
                <a:gd name="connsiteX1706" fmla="*/ 509492 w 1489995"/>
                <a:gd name="connsiteY1706" fmla="*/ 1231964 h 1273968"/>
                <a:gd name="connsiteX1707" fmla="*/ 501205 w 1489995"/>
                <a:gd name="connsiteY1707" fmla="*/ 1229868 h 1273968"/>
                <a:gd name="connsiteX1708" fmla="*/ 502444 w 1489995"/>
                <a:gd name="connsiteY1708" fmla="*/ 1239298 h 1273968"/>
                <a:gd name="connsiteX1709" fmla="*/ 497300 w 1489995"/>
                <a:gd name="connsiteY1709" fmla="*/ 1236726 h 1273968"/>
                <a:gd name="connsiteX1710" fmla="*/ 492728 w 1489995"/>
                <a:gd name="connsiteY1710" fmla="*/ 1238917 h 1273968"/>
                <a:gd name="connsiteX1711" fmla="*/ 491014 w 1489995"/>
                <a:gd name="connsiteY1711" fmla="*/ 1237583 h 1273968"/>
                <a:gd name="connsiteX1712" fmla="*/ 490633 w 1489995"/>
                <a:gd name="connsiteY1712" fmla="*/ 1234440 h 1273968"/>
                <a:gd name="connsiteX1713" fmla="*/ 491776 w 1489995"/>
                <a:gd name="connsiteY1713" fmla="*/ 1231011 h 1273968"/>
                <a:gd name="connsiteX1714" fmla="*/ 489775 w 1489995"/>
                <a:gd name="connsiteY1714" fmla="*/ 1228058 h 1273968"/>
                <a:gd name="connsiteX1715" fmla="*/ 486632 w 1489995"/>
                <a:gd name="connsiteY1715" fmla="*/ 1228535 h 1273968"/>
                <a:gd name="connsiteX1716" fmla="*/ 487394 w 1489995"/>
                <a:gd name="connsiteY1716" fmla="*/ 1234821 h 1273968"/>
                <a:gd name="connsiteX1717" fmla="*/ 486251 w 1489995"/>
                <a:gd name="connsiteY1717" fmla="*/ 1238155 h 1273968"/>
                <a:gd name="connsiteX1718" fmla="*/ 479774 w 1489995"/>
                <a:gd name="connsiteY1718" fmla="*/ 1237393 h 1273968"/>
                <a:gd name="connsiteX1719" fmla="*/ 478346 w 1489995"/>
                <a:gd name="connsiteY1719" fmla="*/ 1239203 h 1273968"/>
                <a:gd name="connsiteX1720" fmla="*/ 476345 w 1489995"/>
                <a:gd name="connsiteY1720" fmla="*/ 1236250 h 1273968"/>
                <a:gd name="connsiteX1721" fmla="*/ 470059 w 1489995"/>
                <a:gd name="connsiteY1721" fmla="*/ 1237012 h 1273968"/>
                <a:gd name="connsiteX1722" fmla="*/ 469868 w 1489995"/>
                <a:gd name="connsiteY1722" fmla="*/ 1235488 h 1273968"/>
                <a:gd name="connsiteX1723" fmla="*/ 466915 w 1489995"/>
                <a:gd name="connsiteY1723" fmla="*/ 1237393 h 1273968"/>
                <a:gd name="connsiteX1724" fmla="*/ 464915 w 1489995"/>
                <a:gd name="connsiteY1724" fmla="*/ 1234440 h 1273968"/>
                <a:gd name="connsiteX1725" fmla="*/ 463391 w 1489995"/>
                <a:gd name="connsiteY1725" fmla="*/ 1234631 h 1273968"/>
                <a:gd name="connsiteX1726" fmla="*/ 461010 w 1489995"/>
                <a:gd name="connsiteY1726" fmla="*/ 1228535 h 1273968"/>
                <a:gd name="connsiteX1727" fmla="*/ 461963 w 1489995"/>
                <a:gd name="connsiteY1727" fmla="*/ 1223582 h 1273968"/>
                <a:gd name="connsiteX1728" fmla="*/ 463296 w 1489995"/>
                <a:gd name="connsiteY1728" fmla="*/ 1221867 h 1273968"/>
                <a:gd name="connsiteX1729" fmla="*/ 462534 w 1489995"/>
                <a:gd name="connsiteY1729" fmla="*/ 1215485 h 1273968"/>
                <a:gd name="connsiteX1730" fmla="*/ 462153 w 1489995"/>
                <a:gd name="connsiteY1730" fmla="*/ 1212342 h 1273968"/>
                <a:gd name="connsiteX1731" fmla="*/ 463487 w 1489995"/>
                <a:gd name="connsiteY1731" fmla="*/ 1210628 h 1273968"/>
                <a:gd name="connsiteX1732" fmla="*/ 463105 w 1489995"/>
                <a:gd name="connsiteY1732" fmla="*/ 1207484 h 1273968"/>
                <a:gd name="connsiteX1733" fmla="*/ 467868 w 1489995"/>
                <a:gd name="connsiteY1733" fmla="*/ 1206818 h 1273968"/>
                <a:gd name="connsiteX1734" fmla="*/ 462915 w 1489995"/>
                <a:gd name="connsiteY1734" fmla="*/ 1205865 h 1273968"/>
                <a:gd name="connsiteX1735" fmla="*/ 457390 w 1489995"/>
                <a:gd name="connsiteY1735" fmla="*/ 1200150 h 1273968"/>
                <a:gd name="connsiteX1736" fmla="*/ 455962 w 1489995"/>
                <a:gd name="connsiteY1736" fmla="*/ 1201960 h 1273968"/>
                <a:gd name="connsiteX1737" fmla="*/ 446532 w 1489995"/>
                <a:gd name="connsiteY1737" fmla="*/ 1203103 h 1273968"/>
                <a:gd name="connsiteX1738" fmla="*/ 443198 w 1489995"/>
                <a:gd name="connsiteY1738" fmla="*/ 1201960 h 127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</a:cxnLst>
              <a:rect l="l" t="t" r="r" b="b"/>
              <a:pathLst>
                <a:path w="1489995" h="1273968">
                  <a:moveTo>
                    <a:pt x="443198" y="1201960"/>
                  </a:moveTo>
                  <a:lnTo>
                    <a:pt x="439198" y="1208913"/>
                  </a:lnTo>
                  <a:lnTo>
                    <a:pt x="439007" y="1207294"/>
                  </a:lnTo>
                  <a:lnTo>
                    <a:pt x="433292" y="1212818"/>
                  </a:lnTo>
                  <a:lnTo>
                    <a:pt x="431578" y="1211485"/>
                  </a:lnTo>
                  <a:lnTo>
                    <a:pt x="430149" y="1213199"/>
                  </a:lnTo>
                  <a:lnTo>
                    <a:pt x="423481" y="1210913"/>
                  </a:lnTo>
                  <a:lnTo>
                    <a:pt x="422719" y="1217390"/>
                  </a:lnTo>
                  <a:lnTo>
                    <a:pt x="426625" y="1223296"/>
                  </a:lnTo>
                  <a:lnTo>
                    <a:pt x="423863" y="1226915"/>
                  </a:lnTo>
                  <a:lnTo>
                    <a:pt x="423481" y="1223677"/>
                  </a:lnTo>
                  <a:lnTo>
                    <a:pt x="422719" y="1230249"/>
                  </a:lnTo>
                  <a:lnTo>
                    <a:pt x="421291" y="1231964"/>
                  </a:lnTo>
                  <a:lnTo>
                    <a:pt x="421767" y="1235202"/>
                  </a:lnTo>
                  <a:lnTo>
                    <a:pt x="420148" y="1235393"/>
                  </a:lnTo>
                  <a:lnTo>
                    <a:pt x="418814" y="1237107"/>
                  </a:lnTo>
                  <a:lnTo>
                    <a:pt x="416814" y="1234154"/>
                  </a:lnTo>
                  <a:lnTo>
                    <a:pt x="415195" y="1234345"/>
                  </a:lnTo>
                  <a:lnTo>
                    <a:pt x="415576" y="1237583"/>
                  </a:lnTo>
                  <a:lnTo>
                    <a:pt x="414052" y="1237774"/>
                  </a:lnTo>
                  <a:lnTo>
                    <a:pt x="417957" y="1243679"/>
                  </a:lnTo>
                  <a:lnTo>
                    <a:pt x="414814" y="1244060"/>
                  </a:lnTo>
                  <a:lnTo>
                    <a:pt x="415290" y="1247204"/>
                  </a:lnTo>
                  <a:lnTo>
                    <a:pt x="412051" y="1247585"/>
                  </a:lnTo>
                  <a:lnTo>
                    <a:pt x="411289" y="1241298"/>
                  </a:lnTo>
                  <a:lnTo>
                    <a:pt x="408146" y="1241679"/>
                  </a:lnTo>
                  <a:lnTo>
                    <a:pt x="405955" y="1237202"/>
                  </a:lnTo>
                  <a:lnTo>
                    <a:pt x="403384" y="1242346"/>
                  </a:lnTo>
                  <a:lnTo>
                    <a:pt x="401860" y="1242536"/>
                  </a:lnTo>
                  <a:lnTo>
                    <a:pt x="402241" y="1245680"/>
                  </a:lnTo>
                  <a:lnTo>
                    <a:pt x="399479" y="1249204"/>
                  </a:lnTo>
                  <a:lnTo>
                    <a:pt x="399859" y="1252347"/>
                  </a:lnTo>
                  <a:lnTo>
                    <a:pt x="400240" y="1255586"/>
                  </a:lnTo>
                  <a:lnTo>
                    <a:pt x="390620" y="1255205"/>
                  </a:lnTo>
                  <a:lnTo>
                    <a:pt x="383858" y="1252823"/>
                  </a:lnTo>
                  <a:lnTo>
                    <a:pt x="383286" y="1248061"/>
                  </a:lnTo>
                  <a:lnTo>
                    <a:pt x="379952" y="1246918"/>
                  </a:lnTo>
                  <a:lnTo>
                    <a:pt x="371284" y="1254443"/>
                  </a:lnTo>
                  <a:lnTo>
                    <a:pt x="372237" y="1262348"/>
                  </a:lnTo>
                  <a:lnTo>
                    <a:pt x="372237" y="1262348"/>
                  </a:lnTo>
                  <a:lnTo>
                    <a:pt x="370713" y="1262539"/>
                  </a:lnTo>
                  <a:lnTo>
                    <a:pt x="366331" y="1266254"/>
                  </a:lnTo>
                  <a:lnTo>
                    <a:pt x="365950" y="1263110"/>
                  </a:lnTo>
                  <a:lnTo>
                    <a:pt x="356711" y="1265873"/>
                  </a:lnTo>
                  <a:lnTo>
                    <a:pt x="354711" y="1262920"/>
                  </a:lnTo>
                  <a:lnTo>
                    <a:pt x="349948" y="1263587"/>
                  </a:lnTo>
                  <a:lnTo>
                    <a:pt x="349377" y="1258824"/>
                  </a:lnTo>
                  <a:lnTo>
                    <a:pt x="345853" y="1256062"/>
                  </a:lnTo>
                  <a:lnTo>
                    <a:pt x="344614" y="1259396"/>
                  </a:lnTo>
                  <a:lnTo>
                    <a:pt x="338328" y="1260253"/>
                  </a:lnTo>
                  <a:lnTo>
                    <a:pt x="342614" y="1256443"/>
                  </a:lnTo>
                  <a:lnTo>
                    <a:pt x="342233" y="1253300"/>
                  </a:lnTo>
                  <a:lnTo>
                    <a:pt x="345186" y="1251299"/>
                  </a:lnTo>
                  <a:lnTo>
                    <a:pt x="337280" y="1252347"/>
                  </a:lnTo>
                  <a:lnTo>
                    <a:pt x="335947" y="1254157"/>
                  </a:lnTo>
                  <a:lnTo>
                    <a:pt x="332422" y="1251395"/>
                  </a:lnTo>
                  <a:lnTo>
                    <a:pt x="330232" y="1246823"/>
                  </a:lnTo>
                  <a:lnTo>
                    <a:pt x="330994" y="1240346"/>
                  </a:lnTo>
                  <a:lnTo>
                    <a:pt x="320897" y="1236821"/>
                  </a:lnTo>
                  <a:lnTo>
                    <a:pt x="316325" y="1239012"/>
                  </a:lnTo>
                  <a:lnTo>
                    <a:pt x="316611" y="1240536"/>
                  </a:lnTo>
                  <a:lnTo>
                    <a:pt x="319945" y="1241679"/>
                  </a:lnTo>
                  <a:lnTo>
                    <a:pt x="315373" y="1243870"/>
                  </a:lnTo>
                  <a:lnTo>
                    <a:pt x="311658" y="1252347"/>
                  </a:lnTo>
                  <a:lnTo>
                    <a:pt x="308324" y="1251204"/>
                  </a:lnTo>
                  <a:lnTo>
                    <a:pt x="308515" y="1252823"/>
                  </a:lnTo>
                  <a:lnTo>
                    <a:pt x="306705" y="1251395"/>
                  </a:lnTo>
                  <a:lnTo>
                    <a:pt x="303943" y="1255014"/>
                  </a:lnTo>
                  <a:lnTo>
                    <a:pt x="302038" y="1252061"/>
                  </a:lnTo>
                  <a:lnTo>
                    <a:pt x="303371" y="1250252"/>
                  </a:lnTo>
                  <a:lnTo>
                    <a:pt x="301752" y="1250442"/>
                  </a:lnTo>
                  <a:lnTo>
                    <a:pt x="300418" y="1252252"/>
                  </a:lnTo>
                  <a:lnTo>
                    <a:pt x="298990" y="1253966"/>
                  </a:lnTo>
                  <a:lnTo>
                    <a:pt x="297656" y="1242917"/>
                  </a:lnTo>
                  <a:lnTo>
                    <a:pt x="296228" y="1244727"/>
                  </a:lnTo>
                  <a:lnTo>
                    <a:pt x="294513" y="1243394"/>
                  </a:lnTo>
                  <a:lnTo>
                    <a:pt x="291655" y="1234059"/>
                  </a:lnTo>
                  <a:lnTo>
                    <a:pt x="288512" y="1234535"/>
                  </a:lnTo>
                  <a:lnTo>
                    <a:pt x="290513" y="1237488"/>
                  </a:lnTo>
                  <a:lnTo>
                    <a:pt x="284226" y="1238250"/>
                  </a:lnTo>
                  <a:lnTo>
                    <a:pt x="284988" y="1244537"/>
                  </a:lnTo>
                  <a:lnTo>
                    <a:pt x="280225" y="1245203"/>
                  </a:lnTo>
                  <a:lnTo>
                    <a:pt x="280702" y="1248347"/>
                  </a:lnTo>
                  <a:lnTo>
                    <a:pt x="273748" y="1244441"/>
                  </a:lnTo>
                  <a:lnTo>
                    <a:pt x="267271" y="1243584"/>
                  </a:lnTo>
                  <a:lnTo>
                    <a:pt x="263747" y="1253681"/>
                  </a:lnTo>
                  <a:lnTo>
                    <a:pt x="262128" y="1253871"/>
                  </a:lnTo>
                  <a:lnTo>
                    <a:pt x="262128" y="1253871"/>
                  </a:lnTo>
                  <a:lnTo>
                    <a:pt x="252222" y="1251966"/>
                  </a:lnTo>
                  <a:lnTo>
                    <a:pt x="250507" y="1250537"/>
                  </a:lnTo>
                  <a:lnTo>
                    <a:pt x="251269" y="1244060"/>
                  </a:lnTo>
                  <a:lnTo>
                    <a:pt x="252603" y="1242251"/>
                  </a:lnTo>
                  <a:lnTo>
                    <a:pt x="254413" y="1230821"/>
                  </a:lnTo>
                  <a:lnTo>
                    <a:pt x="254984" y="1222724"/>
                  </a:lnTo>
                  <a:lnTo>
                    <a:pt x="249841" y="1220153"/>
                  </a:lnTo>
                  <a:lnTo>
                    <a:pt x="250412" y="1212056"/>
                  </a:lnTo>
                  <a:lnTo>
                    <a:pt x="239935" y="1205389"/>
                  </a:lnTo>
                  <a:lnTo>
                    <a:pt x="236791" y="1205770"/>
                  </a:lnTo>
                  <a:lnTo>
                    <a:pt x="231457" y="1214533"/>
                  </a:lnTo>
                  <a:lnTo>
                    <a:pt x="229648" y="1213104"/>
                  </a:lnTo>
                  <a:lnTo>
                    <a:pt x="234029" y="1209389"/>
                  </a:lnTo>
                  <a:lnTo>
                    <a:pt x="235744" y="1197959"/>
                  </a:lnTo>
                  <a:lnTo>
                    <a:pt x="233743" y="1195007"/>
                  </a:lnTo>
                  <a:lnTo>
                    <a:pt x="232029" y="1193578"/>
                  </a:lnTo>
                  <a:lnTo>
                    <a:pt x="234696" y="1177195"/>
                  </a:lnTo>
                  <a:lnTo>
                    <a:pt x="231934" y="1167956"/>
                  </a:lnTo>
                  <a:lnTo>
                    <a:pt x="236029" y="1162622"/>
                  </a:lnTo>
                  <a:lnTo>
                    <a:pt x="240030" y="1155668"/>
                  </a:lnTo>
                  <a:lnTo>
                    <a:pt x="239554" y="1139666"/>
                  </a:lnTo>
                  <a:lnTo>
                    <a:pt x="242125" y="1134523"/>
                  </a:lnTo>
                  <a:lnTo>
                    <a:pt x="242888" y="1128046"/>
                  </a:lnTo>
                  <a:lnTo>
                    <a:pt x="239173" y="1123760"/>
                  </a:lnTo>
                  <a:lnTo>
                    <a:pt x="234601" y="1125855"/>
                  </a:lnTo>
                  <a:lnTo>
                    <a:pt x="227933" y="1123569"/>
                  </a:lnTo>
                  <a:lnTo>
                    <a:pt x="227266" y="1118807"/>
                  </a:lnTo>
                  <a:lnTo>
                    <a:pt x="223742" y="1116044"/>
                  </a:lnTo>
                  <a:lnTo>
                    <a:pt x="219361" y="1119854"/>
                  </a:lnTo>
                  <a:lnTo>
                    <a:pt x="217837" y="1120045"/>
                  </a:lnTo>
                  <a:lnTo>
                    <a:pt x="210884" y="1116044"/>
                  </a:lnTo>
                  <a:lnTo>
                    <a:pt x="210502" y="1112901"/>
                  </a:lnTo>
                  <a:lnTo>
                    <a:pt x="213646" y="1112520"/>
                  </a:lnTo>
                  <a:lnTo>
                    <a:pt x="214789" y="1109186"/>
                  </a:lnTo>
                  <a:lnTo>
                    <a:pt x="205168" y="1108805"/>
                  </a:lnTo>
                  <a:lnTo>
                    <a:pt x="204788" y="1105662"/>
                  </a:lnTo>
                  <a:lnTo>
                    <a:pt x="200025" y="1106234"/>
                  </a:lnTo>
                  <a:lnTo>
                    <a:pt x="196501" y="1103471"/>
                  </a:lnTo>
                  <a:lnTo>
                    <a:pt x="193357" y="1103948"/>
                  </a:lnTo>
                  <a:lnTo>
                    <a:pt x="190881" y="1097756"/>
                  </a:lnTo>
                  <a:lnTo>
                    <a:pt x="187547" y="1096613"/>
                  </a:lnTo>
                  <a:lnTo>
                    <a:pt x="195643" y="1097185"/>
                  </a:lnTo>
                  <a:lnTo>
                    <a:pt x="202787" y="1102709"/>
                  </a:lnTo>
                  <a:lnTo>
                    <a:pt x="210693" y="1101662"/>
                  </a:lnTo>
                  <a:lnTo>
                    <a:pt x="212026" y="1099947"/>
                  </a:lnTo>
                  <a:lnTo>
                    <a:pt x="216789" y="1099280"/>
                  </a:lnTo>
                  <a:lnTo>
                    <a:pt x="219742" y="1097280"/>
                  </a:lnTo>
                  <a:lnTo>
                    <a:pt x="216408" y="1096137"/>
                  </a:lnTo>
                  <a:lnTo>
                    <a:pt x="209836" y="1082516"/>
                  </a:lnTo>
                  <a:lnTo>
                    <a:pt x="200120" y="1082135"/>
                  </a:lnTo>
                  <a:lnTo>
                    <a:pt x="196405" y="1077849"/>
                  </a:lnTo>
                  <a:lnTo>
                    <a:pt x="198977" y="1072706"/>
                  </a:lnTo>
                  <a:lnTo>
                    <a:pt x="196977" y="1069753"/>
                  </a:lnTo>
                  <a:lnTo>
                    <a:pt x="198120" y="1066419"/>
                  </a:lnTo>
                  <a:lnTo>
                    <a:pt x="200120" y="1069372"/>
                  </a:lnTo>
                  <a:lnTo>
                    <a:pt x="200311" y="1070896"/>
                  </a:lnTo>
                  <a:lnTo>
                    <a:pt x="202120" y="1072325"/>
                  </a:lnTo>
                  <a:lnTo>
                    <a:pt x="204883" y="1068705"/>
                  </a:lnTo>
                  <a:lnTo>
                    <a:pt x="205073" y="1070324"/>
                  </a:lnTo>
                  <a:lnTo>
                    <a:pt x="206692" y="1070134"/>
                  </a:lnTo>
                  <a:lnTo>
                    <a:pt x="206692" y="1070134"/>
                  </a:lnTo>
                  <a:lnTo>
                    <a:pt x="208026" y="1068324"/>
                  </a:lnTo>
                  <a:lnTo>
                    <a:pt x="215741" y="1065752"/>
                  </a:lnTo>
                  <a:lnTo>
                    <a:pt x="219075" y="1066895"/>
                  </a:lnTo>
                  <a:lnTo>
                    <a:pt x="226123" y="1059656"/>
                  </a:lnTo>
                  <a:lnTo>
                    <a:pt x="221456" y="1060228"/>
                  </a:lnTo>
                  <a:lnTo>
                    <a:pt x="220789" y="1055465"/>
                  </a:lnTo>
                  <a:lnTo>
                    <a:pt x="216122" y="1056132"/>
                  </a:lnTo>
                  <a:lnTo>
                    <a:pt x="215932" y="1054513"/>
                  </a:lnTo>
                  <a:lnTo>
                    <a:pt x="212503" y="1053370"/>
                  </a:lnTo>
                  <a:lnTo>
                    <a:pt x="208026" y="1055561"/>
                  </a:lnTo>
                  <a:lnTo>
                    <a:pt x="210788" y="1051941"/>
                  </a:lnTo>
                  <a:lnTo>
                    <a:pt x="207359" y="1050798"/>
                  </a:lnTo>
                  <a:lnTo>
                    <a:pt x="203073" y="1054513"/>
                  </a:lnTo>
                  <a:lnTo>
                    <a:pt x="201073" y="1051560"/>
                  </a:lnTo>
                  <a:lnTo>
                    <a:pt x="198120" y="1053560"/>
                  </a:lnTo>
                  <a:lnTo>
                    <a:pt x="196977" y="1056894"/>
                  </a:lnTo>
                  <a:lnTo>
                    <a:pt x="194024" y="1058894"/>
                  </a:lnTo>
                  <a:lnTo>
                    <a:pt x="194405" y="1062037"/>
                  </a:lnTo>
                  <a:lnTo>
                    <a:pt x="189452" y="1061085"/>
                  </a:lnTo>
                  <a:lnTo>
                    <a:pt x="186690" y="1051846"/>
                  </a:lnTo>
                  <a:lnTo>
                    <a:pt x="190024" y="1052989"/>
                  </a:lnTo>
                  <a:lnTo>
                    <a:pt x="189833" y="1051465"/>
                  </a:lnTo>
                  <a:lnTo>
                    <a:pt x="186499" y="1050227"/>
                  </a:lnTo>
                  <a:lnTo>
                    <a:pt x="190595" y="1044893"/>
                  </a:lnTo>
                  <a:lnTo>
                    <a:pt x="186690" y="1038987"/>
                  </a:lnTo>
                  <a:lnTo>
                    <a:pt x="189166" y="1033844"/>
                  </a:lnTo>
                  <a:lnTo>
                    <a:pt x="198311" y="1029462"/>
                  </a:lnTo>
                  <a:lnTo>
                    <a:pt x="205740" y="1012507"/>
                  </a:lnTo>
                  <a:lnTo>
                    <a:pt x="228409" y="1001649"/>
                  </a:lnTo>
                  <a:lnTo>
                    <a:pt x="232886" y="999458"/>
                  </a:lnTo>
                  <a:lnTo>
                    <a:pt x="239268" y="998601"/>
                  </a:lnTo>
                  <a:lnTo>
                    <a:pt x="236125" y="998982"/>
                  </a:lnTo>
                  <a:lnTo>
                    <a:pt x="236887" y="1005364"/>
                  </a:lnTo>
                  <a:lnTo>
                    <a:pt x="238696" y="1006697"/>
                  </a:lnTo>
                  <a:lnTo>
                    <a:pt x="243554" y="1007650"/>
                  </a:lnTo>
                  <a:lnTo>
                    <a:pt x="245745" y="1012222"/>
                  </a:lnTo>
                  <a:lnTo>
                    <a:pt x="247364" y="1012031"/>
                  </a:lnTo>
                  <a:lnTo>
                    <a:pt x="247555" y="1013555"/>
                  </a:lnTo>
                  <a:lnTo>
                    <a:pt x="252317" y="1012984"/>
                  </a:lnTo>
                  <a:lnTo>
                    <a:pt x="254032" y="1014317"/>
                  </a:lnTo>
                  <a:lnTo>
                    <a:pt x="255079" y="1009460"/>
                  </a:lnTo>
                  <a:lnTo>
                    <a:pt x="256603" y="1009269"/>
                  </a:lnTo>
                  <a:lnTo>
                    <a:pt x="256222" y="1006031"/>
                  </a:lnTo>
                  <a:lnTo>
                    <a:pt x="257556" y="1004316"/>
                  </a:lnTo>
                  <a:lnTo>
                    <a:pt x="258413" y="997744"/>
                  </a:lnTo>
                  <a:lnTo>
                    <a:pt x="261366" y="995839"/>
                  </a:lnTo>
                  <a:lnTo>
                    <a:pt x="263652" y="989076"/>
                  </a:lnTo>
                  <a:lnTo>
                    <a:pt x="266795" y="988695"/>
                  </a:lnTo>
                  <a:lnTo>
                    <a:pt x="272986" y="986314"/>
                  </a:lnTo>
                  <a:lnTo>
                    <a:pt x="272510" y="983170"/>
                  </a:lnTo>
                  <a:lnTo>
                    <a:pt x="274320" y="984504"/>
                  </a:lnTo>
                  <a:lnTo>
                    <a:pt x="275749" y="982790"/>
                  </a:lnTo>
                  <a:lnTo>
                    <a:pt x="278892" y="982313"/>
                  </a:lnTo>
                  <a:lnTo>
                    <a:pt x="283178" y="978599"/>
                  </a:lnTo>
                  <a:lnTo>
                    <a:pt x="284988" y="979932"/>
                  </a:lnTo>
                  <a:lnTo>
                    <a:pt x="288893" y="973074"/>
                  </a:lnTo>
                  <a:lnTo>
                    <a:pt x="286703" y="968502"/>
                  </a:lnTo>
                  <a:lnTo>
                    <a:pt x="281559" y="965930"/>
                  </a:lnTo>
                  <a:lnTo>
                    <a:pt x="279559" y="962978"/>
                  </a:lnTo>
                  <a:lnTo>
                    <a:pt x="276225" y="961835"/>
                  </a:lnTo>
                  <a:lnTo>
                    <a:pt x="273272" y="963835"/>
                  </a:lnTo>
                  <a:lnTo>
                    <a:pt x="271939" y="965549"/>
                  </a:lnTo>
                  <a:lnTo>
                    <a:pt x="266033" y="969550"/>
                  </a:lnTo>
                  <a:lnTo>
                    <a:pt x="264223" y="968121"/>
                  </a:lnTo>
                  <a:lnTo>
                    <a:pt x="264795" y="960120"/>
                  </a:lnTo>
                  <a:lnTo>
                    <a:pt x="274034" y="957262"/>
                  </a:lnTo>
                  <a:lnTo>
                    <a:pt x="277178" y="944023"/>
                  </a:lnTo>
                  <a:lnTo>
                    <a:pt x="276415" y="937736"/>
                  </a:lnTo>
                  <a:lnTo>
                    <a:pt x="272605" y="933450"/>
                  </a:lnTo>
                  <a:lnTo>
                    <a:pt x="272224" y="930307"/>
                  </a:lnTo>
                  <a:lnTo>
                    <a:pt x="269843" y="924115"/>
                  </a:lnTo>
                  <a:lnTo>
                    <a:pt x="270796" y="919258"/>
                  </a:lnTo>
                  <a:lnTo>
                    <a:pt x="280321" y="918020"/>
                  </a:lnTo>
                  <a:lnTo>
                    <a:pt x="279463" y="911733"/>
                  </a:lnTo>
                  <a:lnTo>
                    <a:pt x="285369" y="907732"/>
                  </a:lnTo>
                  <a:lnTo>
                    <a:pt x="282226" y="908114"/>
                  </a:lnTo>
                  <a:lnTo>
                    <a:pt x="284416" y="899827"/>
                  </a:lnTo>
                  <a:lnTo>
                    <a:pt x="277463" y="895922"/>
                  </a:lnTo>
                  <a:lnTo>
                    <a:pt x="276415" y="888016"/>
                  </a:lnTo>
                  <a:lnTo>
                    <a:pt x="283369" y="879157"/>
                  </a:lnTo>
                  <a:lnTo>
                    <a:pt x="281368" y="876205"/>
                  </a:lnTo>
                  <a:lnTo>
                    <a:pt x="277654" y="871823"/>
                  </a:lnTo>
                  <a:lnTo>
                    <a:pt x="280321" y="868299"/>
                  </a:lnTo>
                  <a:lnTo>
                    <a:pt x="283750" y="869442"/>
                  </a:lnTo>
                  <a:lnTo>
                    <a:pt x="287464" y="860965"/>
                  </a:lnTo>
                  <a:lnTo>
                    <a:pt x="283464" y="855059"/>
                  </a:lnTo>
                  <a:lnTo>
                    <a:pt x="286607" y="854678"/>
                  </a:lnTo>
                  <a:lnTo>
                    <a:pt x="285464" y="845153"/>
                  </a:lnTo>
                  <a:lnTo>
                    <a:pt x="287179" y="846582"/>
                  </a:lnTo>
                  <a:lnTo>
                    <a:pt x="290417" y="846201"/>
                  </a:lnTo>
                  <a:lnTo>
                    <a:pt x="290132" y="844582"/>
                  </a:lnTo>
                  <a:lnTo>
                    <a:pt x="290417" y="846201"/>
                  </a:lnTo>
                  <a:lnTo>
                    <a:pt x="291941" y="845915"/>
                  </a:lnTo>
                  <a:lnTo>
                    <a:pt x="293370" y="844201"/>
                  </a:lnTo>
                  <a:lnTo>
                    <a:pt x="296704" y="845344"/>
                  </a:lnTo>
                  <a:lnTo>
                    <a:pt x="299657" y="843344"/>
                  </a:lnTo>
                  <a:lnTo>
                    <a:pt x="300228" y="848106"/>
                  </a:lnTo>
                  <a:lnTo>
                    <a:pt x="303181" y="846106"/>
                  </a:lnTo>
                  <a:lnTo>
                    <a:pt x="299657" y="830580"/>
                  </a:lnTo>
                  <a:lnTo>
                    <a:pt x="298037" y="817912"/>
                  </a:lnTo>
                  <a:lnTo>
                    <a:pt x="295656" y="811816"/>
                  </a:lnTo>
                  <a:lnTo>
                    <a:pt x="296609" y="806863"/>
                  </a:lnTo>
                  <a:lnTo>
                    <a:pt x="296228" y="803720"/>
                  </a:lnTo>
                  <a:lnTo>
                    <a:pt x="294418" y="802386"/>
                  </a:lnTo>
                  <a:lnTo>
                    <a:pt x="292417" y="799433"/>
                  </a:lnTo>
                  <a:lnTo>
                    <a:pt x="293656" y="796004"/>
                  </a:lnTo>
                  <a:lnTo>
                    <a:pt x="294799" y="792670"/>
                  </a:lnTo>
                  <a:lnTo>
                    <a:pt x="293941" y="786384"/>
                  </a:lnTo>
                  <a:lnTo>
                    <a:pt x="292227" y="784955"/>
                  </a:lnTo>
                  <a:lnTo>
                    <a:pt x="294799" y="779812"/>
                  </a:lnTo>
                  <a:lnTo>
                    <a:pt x="302419" y="777240"/>
                  </a:lnTo>
                  <a:lnTo>
                    <a:pt x="291370" y="778669"/>
                  </a:lnTo>
                  <a:lnTo>
                    <a:pt x="286226" y="776097"/>
                  </a:lnTo>
                  <a:lnTo>
                    <a:pt x="274034" y="768096"/>
                  </a:lnTo>
                  <a:lnTo>
                    <a:pt x="270034" y="762190"/>
                  </a:lnTo>
                  <a:lnTo>
                    <a:pt x="256984" y="760571"/>
                  </a:lnTo>
                  <a:lnTo>
                    <a:pt x="251841" y="758095"/>
                  </a:lnTo>
                  <a:lnTo>
                    <a:pt x="245936" y="762000"/>
                  </a:lnTo>
                  <a:lnTo>
                    <a:pt x="239459" y="761238"/>
                  </a:lnTo>
                  <a:lnTo>
                    <a:pt x="240792" y="759428"/>
                  </a:lnTo>
                  <a:lnTo>
                    <a:pt x="239077" y="758095"/>
                  </a:lnTo>
                  <a:lnTo>
                    <a:pt x="240411" y="756285"/>
                  </a:lnTo>
                  <a:lnTo>
                    <a:pt x="244030" y="759047"/>
                  </a:lnTo>
                  <a:lnTo>
                    <a:pt x="245554" y="758857"/>
                  </a:lnTo>
                  <a:lnTo>
                    <a:pt x="245745" y="747617"/>
                  </a:lnTo>
                  <a:lnTo>
                    <a:pt x="246507" y="741140"/>
                  </a:lnTo>
                  <a:lnTo>
                    <a:pt x="244697" y="739711"/>
                  </a:lnTo>
                  <a:lnTo>
                    <a:pt x="243745" y="731806"/>
                  </a:lnTo>
                  <a:lnTo>
                    <a:pt x="237649" y="734187"/>
                  </a:lnTo>
                  <a:lnTo>
                    <a:pt x="232505" y="731615"/>
                  </a:lnTo>
                  <a:lnTo>
                    <a:pt x="225742" y="729329"/>
                  </a:lnTo>
                  <a:lnTo>
                    <a:pt x="216503" y="732091"/>
                  </a:lnTo>
                  <a:lnTo>
                    <a:pt x="211931" y="734282"/>
                  </a:lnTo>
                  <a:lnTo>
                    <a:pt x="211931" y="734282"/>
                  </a:lnTo>
                  <a:lnTo>
                    <a:pt x="210407" y="734473"/>
                  </a:lnTo>
                  <a:lnTo>
                    <a:pt x="209359" y="726567"/>
                  </a:lnTo>
                  <a:lnTo>
                    <a:pt x="204978" y="717518"/>
                  </a:lnTo>
                  <a:lnTo>
                    <a:pt x="201644" y="716375"/>
                  </a:lnTo>
                  <a:lnTo>
                    <a:pt x="198691" y="718280"/>
                  </a:lnTo>
                  <a:lnTo>
                    <a:pt x="196977" y="716947"/>
                  </a:lnTo>
                  <a:lnTo>
                    <a:pt x="192976" y="711041"/>
                  </a:lnTo>
                  <a:lnTo>
                    <a:pt x="189833" y="711422"/>
                  </a:lnTo>
                  <a:lnTo>
                    <a:pt x="187833" y="695611"/>
                  </a:lnTo>
                  <a:lnTo>
                    <a:pt x="182880" y="694658"/>
                  </a:lnTo>
                  <a:lnTo>
                    <a:pt x="178879" y="688753"/>
                  </a:lnTo>
                  <a:lnTo>
                    <a:pt x="175736" y="689134"/>
                  </a:lnTo>
                  <a:lnTo>
                    <a:pt x="172402" y="687991"/>
                  </a:lnTo>
                  <a:lnTo>
                    <a:pt x="169640" y="691515"/>
                  </a:lnTo>
                  <a:lnTo>
                    <a:pt x="168021" y="691801"/>
                  </a:lnTo>
                  <a:lnTo>
                    <a:pt x="166497" y="691991"/>
                  </a:lnTo>
                  <a:lnTo>
                    <a:pt x="163163" y="690753"/>
                  </a:lnTo>
                  <a:lnTo>
                    <a:pt x="161734" y="692563"/>
                  </a:lnTo>
                  <a:lnTo>
                    <a:pt x="163925" y="697135"/>
                  </a:lnTo>
                  <a:lnTo>
                    <a:pt x="144970" y="699516"/>
                  </a:lnTo>
                  <a:lnTo>
                    <a:pt x="139827" y="696944"/>
                  </a:lnTo>
                  <a:lnTo>
                    <a:pt x="118777" y="694849"/>
                  </a:lnTo>
                  <a:lnTo>
                    <a:pt x="118300" y="691706"/>
                  </a:lnTo>
                  <a:lnTo>
                    <a:pt x="114967" y="690467"/>
                  </a:lnTo>
                  <a:lnTo>
                    <a:pt x="114586" y="687324"/>
                  </a:lnTo>
                  <a:lnTo>
                    <a:pt x="109252" y="683228"/>
                  </a:lnTo>
                  <a:lnTo>
                    <a:pt x="110585" y="681419"/>
                  </a:lnTo>
                  <a:lnTo>
                    <a:pt x="108680" y="678466"/>
                  </a:lnTo>
                  <a:lnTo>
                    <a:pt x="103537" y="675894"/>
                  </a:lnTo>
                  <a:lnTo>
                    <a:pt x="99917" y="673132"/>
                  </a:lnTo>
                  <a:lnTo>
                    <a:pt x="98393" y="673322"/>
                  </a:lnTo>
                  <a:lnTo>
                    <a:pt x="94774" y="670655"/>
                  </a:lnTo>
                  <a:lnTo>
                    <a:pt x="85534" y="673418"/>
                  </a:lnTo>
                  <a:lnTo>
                    <a:pt x="82772" y="664178"/>
                  </a:lnTo>
                  <a:lnTo>
                    <a:pt x="78010" y="664750"/>
                  </a:lnTo>
                  <a:lnTo>
                    <a:pt x="72866" y="662178"/>
                  </a:lnTo>
                  <a:lnTo>
                    <a:pt x="73438" y="654082"/>
                  </a:lnTo>
                  <a:lnTo>
                    <a:pt x="76771" y="655225"/>
                  </a:lnTo>
                  <a:lnTo>
                    <a:pt x="78010" y="651891"/>
                  </a:lnTo>
                  <a:lnTo>
                    <a:pt x="89249" y="652082"/>
                  </a:lnTo>
                  <a:lnTo>
                    <a:pt x="97726" y="655796"/>
                  </a:lnTo>
                  <a:lnTo>
                    <a:pt x="97345" y="652653"/>
                  </a:lnTo>
                  <a:lnTo>
                    <a:pt x="90583" y="650272"/>
                  </a:lnTo>
                  <a:lnTo>
                    <a:pt x="89059" y="650462"/>
                  </a:lnTo>
                  <a:lnTo>
                    <a:pt x="86296" y="641223"/>
                  </a:lnTo>
                  <a:lnTo>
                    <a:pt x="82867" y="640080"/>
                  </a:lnTo>
                  <a:lnTo>
                    <a:pt x="70294" y="641699"/>
                  </a:lnTo>
                  <a:lnTo>
                    <a:pt x="66294" y="648557"/>
                  </a:lnTo>
                  <a:lnTo>
                    <a:pt x="60007" y="649415"/>
                  </a:lnTo>
                  <a:lnTo>
                    <a:pt x="56483" y="646652"/>
                  </a:lnTo>
                  <a:lnTo>
                    <a:pt x="57626" y="643319"/>
                  </a:lnTo>
                  <a:lnTo>
                    <a:pt x="57245" y="640080"/>
                  </a:lnTo>
                  <a:lnTo>
                    <a:pt x="54292" y="642080"/>
                  </a:lnTo>
                  <a:lnTo>
                    <a:pt x="52102" y="637604"/>
                  </a:lnTo>
                  <a:lnTo>
                    <a:pt x="47815" y="641318"/>
                  </a:lnTo>
                  <a:lnTo>
                    <a:pt x="32956" y="638365"/>
                  </a:lnTo>
                  <a:lnTo>
                    <a:pt x="30861" y="646652"/>
                  </a:lnTo>
                  <a:lnTo>
                    <a:pt x="27622" y="647129"/>
                  </a:lnTo>
                  <a:lnTo>
                    <a:pt x="25336" y="653796"/>
                  </a:lnTo>
                  <a:lnTo>
                    <a:pt x="23717" y="653986"/>
                  </a:lnTo>
                  <a:lnTo>
                    <a:pt x="18764" y="653034"/>
                  </a:lnTo>
                  <a:lnTo>
                    <a:pt x="17812" y="645128"/>
                  </a:lnTo>
                  <a:lnTo>
                    <a:pt x="6763" y="646557"/>
                  </a:lnTo>
                  <a:lnTo>
                    <a:pt x="2191" y="648748"/>
                  </a:lnTo>
                  <a:lnTo>
                    <a:pt x="667" y="648938"/>
                  </a:lnTo>
                  <a:lnTo>
                    <a:pt x="0" y="644176"/>
                  </a:lnTo>
                  <a:lnTo>
                    <a:pt x="4191" y="638842"/>
                  </a:lnTo>
                  <a:lnTo>
                    <a:pt x="3524" y="634175"/>
                  </a:lnTo>
                  <a:lnTo>
                    <a:pt x="9430" y="630174"/>
                  </a:lnTo>
                  <a:lnTo>
                    <a:pt x="10858" y="628364"/>
                  </a:lnTo>
                  <a:lnTo>
                    <a:pt x="8858" y="625411"/>
                  </a:lnTo>
                  <a:lnTo>
                    <a:pt x="12954" y="620078"/>
                  </a:lnTo>
                  <a:lnTo>
                    <a:pt x="12382" y="615410"/>
                  </a:lnTo>
                  <a:lnTo>
                    <a:pt x="17335" y="616363"/>
                  </a:lnTo>
                  <a:lnTo>
                    <a:pt x="23622" y="615506"/>
                  </a:lnTo>
                  <a:lnTo>
                    <a:pt x="24003" y="605885"/>
                  </a:lnTo>
                  <a:lnTo>
                    <a:pt x="21622" y="599789"/>
                  </a:lnTo>
                  <a:lnTo>
                    <a:pt x="21431" y="598170"/>
                  </a:lnTo>
                  <a:lnTo>
                    <a:pt x="16478" y="597218"/>
                  </a:lnTo>
                  <a:lnTo>
                    <a:pt x="13906" y="589502"/>
                  </a:lnTo>
                  <a:lnTo>
                    <a:pt x="9811" y="594836"/>
                  </a:lnTo>
                  <a:lnTo>
                    <a:pt x="7810" y="591884"/>
                  </a:lnTo>
                  <a:lnTo>
                    <a:pt x="8382" y="583787"/>
                  </a:lnTo>
                  <a:lnTo>
                    <a:pt x="9144" y="577310"/>
                  </a:lnTo>
                  <a:lnTo>
                    <a:pt x="7144" y="574358"/>
                  </a:lnTo>
                  <a:lnTo>
                    <a:pt x="11525" y="570548"/>
                  </a:lnTo>
                  <a:lnTo>
                    <a:pt x="14859" y="571786"/>
                  </a:lnTo>
                  <a:lnTo>
                    <a:pt x="17621" y="568166"/>
                  </a:lnTo>
                  <a:lnTo>
                    <a:pt x="20764" y="567785"/>
                  </a:lnTo>
                  <a:lnTo>
                    <a:pt x="21526" y="561308"/>
                  </a:lnTo>
                  <a:lnTo>
                    <a:pt x="31242" y="561689"/>
                  </a:lnTo>
                  <a:lnTo>
                    <a:pt x="31242" y="561689"/>
                  </a:lnTo>
                  <a:lnTo>
                    <a:pt x="31432" y="563213"/>
                  </a:lnTo>
                  <a:lnTo>
                    <a:pt x="41434" y="566738"/>
                  </a:lnTo>
                  <a:lnTo>
                    <a:pt x="46196" y="566166"/>
                  </a:lnTo>
                  <a:lnTo>
                    <a:pt x="47149" y="561213"/>
                  </a:lnTo>
                  <a:lnTo>
                    <a:pt x="45434" y="559880"/>
                  </a:lnTo>
                  <a:lnTo>
                    <a:pt x="46577" y="556451"/>
                  </a:lnTo>
                  <a:lnTo>
                    <a:pt x="48387" y="557879"/>
                  </a:lnTo>
                  <a:lnTo>
                    <a:pt x="53054" y="557213"/>
                  </a:lnTo>
                  <a:lnTo>
                    <a:pt x="51911" y="547783"/>
                  </a:lnTo>
                  <a:lnTo>
                    <a:pt x="51721" y="546163"/>
                  </a:lnTo>
                  <a:lnTo>
                    <a:pt x="52102" y="536543"/>
                  </a:lnTo>
                  <a:lnTo>
                    <a:pt x="52483" y="539686"/>
                  </a:lnTo>
                  <a:lnTo>
                    <a:pt x="53816" y="537877"/>
                  </a:lnTo>
                  <a:lnTo>
                    <a:pt x="56007" y="542449"/>
                  </a:lnTo>
                  <a:lnTo>
                    <a:pt x="60960" y="543401"/>
                  </a:lnTo>
                  <a:lnTo>
                    <a:pt x="65913" y="544354"/>
                  </a:lnTo>
                  <a:lnTo>
                    <a:pt x="66865" y="539496"/>
                  </a:lnTo>
                  <a:lnTo>
                    <a:pt x="66103" y="533114"/>
                  </a:lnTo>
                  <a:lnTo>
                    <a:pt x="65246" y="526828"/>
                  </a:lnTo>
                  <a:lnTo>
                    <a:pt x="60103" y="524256"/>
                  </a:lnTo>
                  <a:lnTo>
                    <a:pt x="60103" y="524256"/>
                  </a:lnTo>
                  <a:lnTo>
                    <a:pt x="69628" y="523113"/>
                  </a:lnTo>
                  <a:lnTo>
                    <a:pt x="70580" y="518160"/>
                  </a:lnTo>
                  <a:lnTo>
                    <a:pt x="66008" y="507492"/>
                  </a:lnTo>
                  <a:lnTo>
                    <a:pt x="68770" y="503968"/>
                  </a:lnTo>
                  <a:lnTo>
                    <a:pt x="66199" y="496253"/>
                  </a:lnTo>
                  <a:lnTo>
                    <a:pt x="69913" y="500539"/>
                  </a:lnTo>
                  <a:lnTo>
                    <a:pt x="69723" y="499015"/>
                  </a:lnTo>
                  <a:lnTo>
                    <a:pt x="77629" y="497967"/>
                  </a:lnTo>
                  <a:lnTo>
                    <a:pt x="80581" y="496062"/>
                  </a:lnTo>
                  <a:lnTo>
                    <a:pt x="80391" y="494443"/>
                  </a:lnTo>
                  <a:lnTo>
                    <a:pt x="83534" y="494062"/>
                  </a:lnTo>
                  <a:lnTo>
                    <a:pt x="83534" y="494062"/>
                  </a:lnTo>
                  <a:lnTo>
                    <a:pt x="83153" y="490919"/>
                  </a:lnTo>
                  <a:lnTo>
                    <a:pt x="87820" y="490252"/>
                  </a:lnTo>
                  <a:lnTo>
                    <a:pt x="86106" y="488918"/>
                  </a:lnTo>
                  <a:lnTo>
                    <a:pt x="85249" y="482632"/>
                  </a:lnTo>
                  <a:lnTo>
                    <a:pt x="86868" y="482346"/>
                  </a:lnTo>
                  <a:lnTo>
                    <a:pt x="90202" y="483584"/>
                  </a:lnTo>
                  <a:lnTo>
                    <a:pt x="91345" y="480250"/>
                  </a:lnTo>
                  <a:lnTo>
                    <a:pt x="97726" y="479393"/>
                  </a:lnTo>
                  <a:lnTo>
                    <a:pt x="100013" y="472726"/>
                  </a:lnTo>
                  <a:lnTo>
                    <a:pt x="107728" y="470154"/>
                  </a:lnTo>
                  <a:lnTo>
                    <a:pt x="110871" y="469678"/>
                  </a:lnTo>
                  <a:lnTo>
                    <a:pt x="110680" y="468154"/>
                  </a:lnTo>
                  <a:lnTo>
                    <a:pt x="113633" y="466154"/>
                  </a:lnTo>
                  <a:lnTo>
                    <a:pt x="113633" y="466154"/>
                  </a:lnTo>
                  <a:lnTo>
                    <a:pt x="121348" y="476345"/>
                  </a:lnTo>
                  <a:lnTo>
                    <a:pt x="124777" y="477584"/>
                  </a:lnTo>
                  <a:lnTo>
                    <a:pt x="127730" y="475583"/>
                  </a:lnTo>
                  <a:lnTo>
                    <a:pt x="135541" y="474536"/>
                  </a:lnTo>
                  <a:lnTo>
                    <a:pt x="142684" y="467296"/>
                  </a:lnTo>
                  <a:lnTo>
                    <a:pt x="147828" y="469773"/>
                  </a:lnTo>
                  <a:lnTo>
                    <a:pt x="147352" y="466630"/>
                  </a:lnTo>
                  <a:lnTo>
                    <a:pt x="160782" y="458534"/>
                  </a:lnTo>
                  <a:lnTo>
                    <a:pt x="156591" y="451009"/>
                  </a:lnTo>
                  <a:lnTo>
                    <a:pt x="164973" y="453200"/>
                  </a:lnTo>
                  <a:lnTo>
                    <a:pt x="167926" y="451199"/>
                  </a:lnTo>
                  <a:lnTo>
                    <a:pt x="171640" y="442722"/>
                  </a:lnTo>
                  <a:lnTo>
                    <a:pt x="169831" y="441388"/>
                  </a:lnTo>
                  <a:lnTo>
                    <a:pt x="171164" y="439579"/>
                  </a:lnTo>
                  <a:lnTo>
                    <a:pt x="171450" y="441103"/>
                  </a:lnTo>
                  <a:lnTo>
                    <a:pt x="176117" y="440531"/>
                  </a:lnTo>
                  <a:lnTo>
                    <a:pt x="180308" y="435197"/>
                  </a:lnTo>
                  <a:lnTo>
                    <a:pt x="192691" y="419195"/>
                  </a:lnTo>
                  <a:lnTo>
                    <a:pt x="194691" y="422148"/>
                  </a:lnTo>
                  <a:lnTo>
                    <a:pt x="193262" y="423958"/>
                  </a:lnTo>
                  <a:lnTo>
                    <a:pt x="193262" y="436721"/>
                  </a:lnTo>
                  <a:lnTo>
                    <a:pt x="202597" y="433959"/>
                  </a:lnTo>
                  <a:lnTo>
                    <a:pt x="205930" y="435102"/>
                  </a:lnTo>
                  <a:lnTo>
                    <a:pt x="211264" y="439293"/>
                  </a:lnTo>
                  <a:lnTo>
                    <a:pt x="214408" y="438912"/>
                  </a:lnTo>
                  <a:lnTo>
                    <a:pt x="225076" y="434340"/>
                  </a:lnTo>
                  <a:lnTo>
                    <a:pt x="242792" y="435292"/>
                  </a:lnTo>
                  <a:lnTo>
                    <a:pt x="247936" y="437769"/>
                  </a:lnTo>
                  <a:lnTo>
                    <a:pt x="250317" y="431102"/>
                  </a:lnTo>
                  <a:lnTo>
                    <a:pt x="251079" y="424529"/>
                  </a:lnTo>
                  <a:lnTo>
                    <a:pt x="253079" y="427577"/>
                  </a:lnTo>
                  <a:lnTo>
                    <a:pt x="256794" y="419005"/>
                  </a:lnTo>
                  <a:lnTo>
                    <a:pt x="258794" y="421958"/>
                  </a:lnTo>
                  <a:lnTo>
                    <a:pt x="258032" y="428530"/>
                  </a:lnTo>
                  <a:lnTo>
                    <a:pt x="261175" y="428149"/>
                  </a:lnTo>
                  <a:lnTo>
                    <a:pt x="263747" y="423005"/>
                  </a:lnTo>
                  <a:lnTo>
                    <a:pt x="266890" y="422529"/>
                  </a:lnTo>
                  <a:lnTo>
                    <a:pt x="275177" y="411861"/>
                  </a:lnTo>
                  <a:lnTo>
                    <a:pt x="280607" y="404813"/>
                  </a:lnTo>
                  <a:lnTo>
                    <a:pt x="282988" y="398050"/>
                  </a:lnTo>
                  <a:lnTo>
                    <a:pt x="286131" y="397669"/>
                  </a:lnTo>
                  <a:lnTo>
                    <a:pt x="292036" y="393668"/>
                  </a:lnTo>
                  <a:lnTo>
                    <a:pt x="295180" y="393287"/>
                  </a:lnTo>
                  <a:lnTo>
                    <a:pt x="299180" y="399193"/>
                  </a:lnTo>
                  <a:lnTo>
                    <a:pt x="300323" y="395859"/>
                  </a:lnTo>
                  <a:lnTo>
                    <a:pt x="302133" y="397192"/>
                  </a:lnTo>
                  <a:lnTo>
                    <a:pt x="308705" y="410813"/>
                  </a:lnTo>
                  <a:lnTo>
                    <a:pt x="307943" y="417386"/>
                  </a:lnTo>
                  <a:lnTo>
                    <a:pt x="309848" y="420338"/>
                  </a:lnTo>
                  <a:lnTo>
                    <a:pt x="309848" y="420338"/>
                  </a:lnTo>
                  <a:lnTo>
                    <a:pt x="326993" y="416528"/>
                  </a:lnTo>
                  <a:lnTo>
                    <a:pt x="327374" y="406813"/>
                  </a:lnTo>
                  <a:lnTo>
                    <a:pt x="330327" y="404813"/>
                  </a:lnTo>
                  <a:lnTo>
                    <a:pt x="327946" y="398717"/>
                  </a:lnTo>
                  <a:lnTo>
                    <a:pt x="333661" y="393192"/>
                  </a:lnTo>
                  <a:lnTo>
                    <a:pt x="337661" y="386334"/>
                  </a:lnTo>
                  <a:lnTo>
                    <a:pt x="343948" y="385477"/>
                  </a:lnTo>
                  <a:lnTo>
                    <a:pt x="359473" y="381857"/>
                  </a:lnTo>
                  <a:lnTo>
                    <a:pt x="362712" y="381476"/>
                  </a:lnTo>
                  <a:lnTo>
                    <a:pt x="361474" y="384810"/>
                  </a:lnTo>
                  <a:lnTo>
                    <a:pt x="370522" y="380524"/>
                  </a:lnTo>
                  <a:lnTo>
                    <a:pt x="371761" y="377095"/>
                  </a:lnTo>
                  <a:lnTo>
                    <a:pt x="376428" y="376523"/>
                  </a:lnTo>
                  <a:lnTo>
                    <a:pt x="381000" y="374333"/>
                  </a:lnTo>
                  <a:lnTo>
                    <a:pt x="381762" y="367856"/>
                  </a:lnTo>
                  <a:lnTo>
                    <a:pt x="384905" y="367475"/>
                  </a:lnTo>
                  <a:lnTo>
                    <a:pt x="384715" y="365855"/>
                  </a:lnTo>
                  <a:lnTo>
                    <a:pt x="388048" y="366998"/>
                  </a:lnTo>
                  <a:lnTo>
                    <a:pt x="390811" y="363474"/>
                  </a:lnTo>
                  <a:lnTo>
                    <a:pt x="392049" y="360140"/>
                  </a:lnTo>
                  <a:lnTo>
                    <a:pt x="390811" y="350615"/>
                  </a:lnTo>
                  <a:lnTo>
                    <a:pt x="390430" y="347472"/>
                  </a:lnTo>
                  <a:lnTo>
                    <a:pt x="387287" y="347853"/>
                  </a:lnTo>
                  <a:lnTo>
                    <a:pt x="388810" y="347663"/>
                  </a:lnTo>
                  <a:lnTo>
                    <a:pt x="388620" y="346138"/>
                  </a:lnTo>
                  <a:lnTo>
                    <a:pt x="395192" y="346900"/>
                  </a:lnTo>
                  <a:lnTo>
                    <a:pt x="395383" y="348425"/>
                  </a:lnTo>
                  <a:lnTo>
                    <a:pt x="401669" y="347663"/>
                  </a:lnTo>
                  <a:lnTo>
                    <a:pt x="402050" y="350806"/>
                  </a:lnTo>
                  <a:lnTo>
                    <a:pt x="414909" y="350806"/>
                  </a:lnTo>
                  <a:lnTo>
                    <a:pt x="418052" y="350425"/>
                  </a:lnTo>
                  <a:lnTo>
                    <a:pt x="417862" y="348806"/>
                  </a:lnTo>
                  <a:lnTo>
                    <a:pt x="415862" y="345853"/>
                  </a:lnTo>
                  <a:lnTo>
                    <a:pt x="417481" y="345662"/>
                  </a:lnTo>
                  <a:lnTo>
                    <a:pt x="417195" y="344043"/>
                  </a:lnTo>
                  <a:lnTo>
                    <a:pt x="415480" y="342710"/>
                  </a:lnTo>
                  <a:lnTo>
                    <a:pt x="417767" y="335947"/>
                  </a:lnTo>
                  <a:lnTo>
                    <a:pt x="413861" y="330041"/>
                  </a:lnTo>
                  <a:lnTo>
                    <a:pt x="410718" y="330517"/>
                  </a:lnTo>
                  <a:lnTo>
                    <a:pt x="408908" y="316230"/>
                  </a:lnTo>
                  <a:lnTo>
                    <a:pt x="416623" y="313658"/>
                  </a:lnTo>
                  <a:lnTo>
                    <a:pt x="414814" y="312325"/>
                  </a:lnTo>
                  <a:lnTo>
                    <a:pt x="419576" y="311753"/>
                  </a:lnTo>
                  <a:lnTo>
                    <a:pt x="422053" y="306610"/>
                  </a:lnTo>
                  <a:lnTo>
                    <a:pt x="425196" y="306134"/>
                  </a:lnTo>
                  <a:lnTo>
                    <a:pt x="427958" y="302609"/>
                  </a:lnTo>
                  <a:lnTo>
                    <a:pt x="435673" y="300038"/>
                  </a:lnTo>
                  <a:lnTo>
                    <a:pt x="441388" y="307277"/>
                  </a:lnTo>
                  <a:lnTo>
                    <a:pt x="444817" y="308515"/>
                  </a:lnTo>
                  <a:lnTo>
                    <a:pt x="444151" y="303752"/>
                  </a:lnTo>
                  <a:lnTo>
                    <a:pt x="447294" y="303371"/>
                  </a:lnTo>
                  <a:lnTo>
                    <a:pt x="447104" y="301752"/>
                  </a:lnTo>
                  <a:lnTo>
                    <a:pt x="459200" y="308229"/>
                  </a:lnTo>
                  <a:lnTo>
                    <a:pt x="469011" y="310229"/>
                  </a:lnTo>
                  <a:lnTo>
                    <a:pt x="471011" y="313182"/>
                  </a:lnTo>
                  <a:lnTo>
                    <a:pt x="474155" y="312801"/>
                  </a:lnTo>
                  <a:lnTo>
                    <a:pt x="474631" y="315944"/>
                  </a:lnTo>
                  <a:lnTo>
                    <a:pt x="476155" y="315754"/>
                  </a:lnTo>
                  <a:lnTo>
                    <a:pt x="489013" y="315659"/>
                  </a:lnTo>
                  <a:lnTo>
                    <a:pt x="503396" y="315468"/>
                  </a:lnTo>
                  <a:lnTo>
                    <a:pt x="503777" y="318611"/>
                  </a:lnTo>
                  <a:lnTo>
                    <a:pt x="510350" y="319373"/>
                  </a:lnTo>
                  <a:lnTo>
                    <a:pt x="519970" y="319754"/>
                  </a:lnTo>
                  <a:lnTo>
                    <a:pt x="521780" y="321088"/>
                  </a:lnTo>
                  <a:lnTo>
                    <a:pt x="523113" y="319373"/>
                  </a:lnTo>
                  <a:lnTo>
                    <a:pt x="538925" y="317373"/>
                  </a:lnTo>
                  <a:lnTo>
                    <a:pt x="540258" y="315563"/>
                  </a:lnTo>
                  <a:lnTo>
                    <a:pt x="548640" y="317754"/>
                  </a:lnTo>
                  <a:lnTo>
                    <a:pt x="550926" y="310991"/>
                  </a:lnTo>
                  <a:lnTo>
                    <a:pt x="548735" y="306419"/>
                  </a:lnTo>
                  <a:lnTo>
                    <a:pt x="558832" y="310039"/>
                  </a:lnTo>
                  <a:lnTo>
                    <a:pt x="557498" y="311753"/>
                  </a:lnTo>
                  <a:lnTo>
                    <a:pt x="561404" y="317659"/>
                  </a:lnTo>
                  <a:lnTo>
                    <a:pt x="562642" y="314325"/>
                  </a:lnTo>
                  <a:lnTo>
                    <a:pt x="569500" y="318230"/>
                  </a:lnTo>
                  <a:lnTo>
                    <a:pt x="569119" y="315087"/>
                  </a:lnTo>
                  <a:lnTo>
                    <a:pt x="572452" y="316230"/>
                  </a:lnTo>
                  <a:lnTo>
                    <a:pt x="573405" y="311372"/>
                  </a:lnTo>
                  <a:lnTo>
                    <a:pt x="589026" y="320611"/>
                  </a:lnTo>
                  <a:lnTo>
                    <a:pt x="593979" y="321564"/>
                  </a:lnTo>
                  <a:lnTo>
                    <a:pt x="594360" y="324707"/>
                  </a:lnTo>
                  <a:lnTo>
                    <a:pt x="596170" y="326041"/>
                  </a:lnTo>
                  <a:lnTo>
                    <a:pt x="599694" y="316040"/>
                  </a:lnTo>
                  <a:lnTo>
                    <a:pt x="601313" y="315849"/>
                  </a:lnTo>
                  <a:lnTo>
                    <a:pt x="605600" y="312039"/>
                  </a:lnTo>
                  <a:lnTo>
                    <a:pt x="605218" y="308896"/>
                  </a:lnTo>
                  <a:lnTo>
                    <a:pt x="608933" y="300419"/>
                  </a:lnTo>
                  <a:lnTo>
                    <a:pt x="610743" y="301752"/>
                  </a:lnTo>
                  <a:lnTo>
                    <a:pt x="614839" y="296418"/>
                  </a:lnTo>
                  <a:lnTo>
                    <a:pt x="621983" y="301942"/>
                  </a:lnTo>
                  <a:lnTo>
                    <a:pt x="626935" y="302895"/>
                  </a:lnTo>
                  <a:lnTo>
                    <a:pt x="628269" y="301181"/>
                  </a:lnTo>
                  <a:lnTo>
                    <a:pt x="628079" y="299561"/>
                  </a:lnTo>
                  <a:lnTo>
                    <a:pt x="633222" y="302133"/>
                  </a:lnTo>
                  <a:lnTo>
                    <a:pt x="637984" y="301561"/>
                  </a:lnTo>
                  <a:lnTo>
                    <a:pt x="635794" y="296990"/>
                  </a:lnTo>
                  <a:lnTo>
                    <a:pt x="647224" y="298704"/>
                  </a:lnTo>
                  <a:lnTo>
                    <a:pt x="646652" y="294037"/>
                  </a:lnTo>
                  <a:lnTo>
                    <a:pt x="649986" y="295180"/>
                  </a:lnTo>
                  <a:lnTo>
                    <a:pt x="651319" y="293370"/>
                  </a:lnTo>
                  <a:lnTo>
                    <a:pt x="657892" y="294132"/>
                  </a:lnTo>
                  <a:lnTo>
                    <a:pt x="658082" y="295751"/>
                  </a:lnTo>
                  <a:lnTo>
                    <a:pt x="661416" y="296894"/>
                  </a:lnTo>
                  <a:lnTo>
                    <a:pt x="661606" y="298513"/>
                  </a:lnTo>
                  <a:lnTo>
                    <a:pt x="664940" y="299657"/>
                  </a:lnTo>
                  <a:lnTo>
                    <a:pt x="665607" y="304419"/>
                  </a:lnTo>
                  <a:lnTo>
                    <a:pt x="666750" y="301085"/>
                  </a:lnTo>
                  <a:lnTo>
                    <a:pt x="670084" y="302228"/>
                  </a:lnTo>
                  <a:lnTo>
                    <a:pt x="666559" y="299466"/>
                  </a:lnTo>
                  <a:lnTo>
                    <a:pt x="669703" y="299085"/>
                  </a:lnTo>
                  <a:lnTo>
                    <a:pt x="671513" y="300419"/>
                  </a:lnTo>
                  <a:lnTo>
                    <a:pt x="670084" y="302228"/>
                  </a:lnTo>
                  <a:lnTo>
                    <a:pt x="670274" y="303848"/>
                  </a:lnTo>
                  <a:lnTo>
                    <a:pt x="674656" y="300038"/>
                  </a:lnTo>
                  <a:lnTo>
                    <a:pt x="676180" y="299847"/>
                  </a:lnTo>
                  <a:lnTo>
                    <a:pt x="681323" y="289560"/>
                  </a:lnTo>
                  <a:lnTo>
                    <a:pt x="679704" y="289750"/>
                  </a:lnTo>
                  <a:lnTo>
                    <a:pt x="680752" y="284798"/>
                  </a:lnTo>
                  <a:lnTo>
                    <a:pt x="679133" y="285083"/>
                  </a:lnTo>
                  <a:lnTo>
                    <a:pt x="680561" y="283273"/>
                  </a:lnTo>
                  <a:lnTo>
                    <a:pt x="677132" y="282131"/>
                  </a:lnTo>
                  <a:lnTo>
                    <a:pt x="678561" y="280321"/>
                  </a:lnTo>
                  <a:lnTo>
                    <a:pt x="677323" y="270796"/>
                  </a:lnTo>
                  <a:lnTo>
                    <a:pt x="684085" y="273177"/>
                  </a:lnTo>
                  <a:lnTo>
                    <a:pt x="683800" y="258794"/>
                  </a:lnTo>
                  <a:lnTo>
                    <a:pt x="683228" y="254032"/>
                  </a:lnTo>
                  <a:lnTo>
                    <a:pt x="684752" y="253841"/>
                  </a:lnTo>
                  <a:lnTo>
                    <a:pt x="685990" y="250508"/>
                  </a:lnTo>
                  <a:lnTo>
                    <a:pt x="682371" y="247745"/>
                  </a:lnTo>
                  <a:lnTo>
                    <a:pt x="679037" y="246602"/>
                  </a:lnTo>
                  <a:lnTo>
                    <a:pt x="678466" y="241840"/>
                  </a:lnTo>
                  <a:lnTo>
                    <a:pt x="674942" y="239077"/>
                  </a:lnTo>
                  <a:lnTo>
                    <a:pt x="674465" y="235934"/>
                  </a:lnTo>
                  <a:lnTo>
                    <a:pt x="678847" y="232124"/>
                  </a:lnTo>
                  <a:lnTo>
                    <a:pt x="680847" y="235077"/>
                  </a:lnTo>
                  <a:lnTo>
                    <a:pt x="683800" y="233172"/>
                  </a:lnTo>
                  <a:lnTo>
                    <a:pt x="680180" y="230410"/>
                  </a:lnTo>
                  <a:lnTo>
                    <a:pt x="679799" y="227267"/>
                  </a:lnTo>
                  <a:lnTo>
                    <a:pt x="676275" y="224504"/>
                  </a:lnTo>
                  <a:lnTo>
                    <a:pt x="677418" y="221075"/>
                  </a:lnTo>
                  <a:lnTo>
                    <a:pt x="679228" y="222504"/>
                  </a:lnTo>
                  <a:lnTo>
                    <a:pt x="678751" y="219361"/>
                  </a:lnTo>
                  <a:lnTo>
                    <a:pt x="677037" y="217932"/>
                  </a:lnTo>
                  <a:lnTo>
                    <a:pt x="676847" y="216408"/>
                  </a:lnTo>
                  <a:lnTo>
                    <a:pt x="673227" y="213646"/>
                  </a:lnTo>
                  <a:lnTo>
                    <a:pt x="673037" y="212027"/>
                  </a:lnTo>
                  <a:lnTo>
                    <a:pt x="675989" y="210026"/>
                  </a:lnTo>
                  <a:lnTo>
                    <a:pt x="679133" y="209645"/>
                  </a:lnTo>
                  <a:lnTo>
                    <a:pt x="680371" y="206311"/>
                  </a:lnTo>
                  <a:lnTo>
                    <a:pt x="683323" y="204311"/>
                  </a:lnTo>
                  <a:lnTo>
                    <a:pt x="695992" y="215551"/>
                  </a:lnTo>
                  <a:lnTo>
                    <a:pt x="711137" y="221647"/>
                  </a:lnTo>
                  <a:lnTo>
                    <a:pt x="712375" y="218313"/>
                  </a:lnTo>
                  <a:lnTo>
                    <a:pt x="715709" y="219456"/>
                  </a:lnTo>
                  <a:lnTo>
                    <a:pt x="712089" y="216694"/>
                  </a:lnTo>
                  <a:lnTo>
                    <a:pt x="714851" y="213169"/>
                  </a:lnTo>
                  <a:lnTo>
                    <a:pt x="713137" y="211741"/>
                  </a:lnTo>
                  <a:lnTo>
                    <a:pt x="708374" y="212312"/>
                  </a:lnTo>
                  <a:lnTo>
                    <a:pt x="706564" y="210979"/>
                  </a:lnTo>
                  <a:lnTo>
                    <a:pt x="710755" y="205645"/>
                  </a:lnTo>
                  <a:lnTo>
                    <a:pt x="714280" y="208407"/>
                  </a:lnTo>
                  <a:lnTo>
                    <a:pt x="715423" y="205073"/>
                  </a:lnTo>
                  <a:lnTo>
                    <a:pt x="712089" y="203835"/>
                  </a:lnTo>
                  <a:lnTo>
                    <a:pt x="713708" y="203644"/>
                  </a:lnTo>
                  <a:lnTo>
                    <a:pt x="718185" y="201454"/>
                  </a:lnTo>
                  <a:lnTo>
                    <a:pt x="716185" y="185738"/>
                  </a:lnTo>
                  <a:lnTo>
                    <a:pt x="726853" y="193929"/>
                  </a:lnTo>
                  <a:lnTo>
                    <a:pt x="734759" y="192977"/>
                  </a:lnTo>
                  <a:lnTo>
                    <a:pt x="733806" y="185071"/>
                  </a:lnTo>
                  <a:lnTo>
                    <a:pt x="742474" y="190405"/>
                  </a:lnTo>
                  <a:lnTo>
                    <a:pt x="750570" y="190976"/>
                  </a:lnTo>
                  <a:lnTo>
                    <a:pt x="749141" y="179927"/>
                  </a:lnTo>
                  <a:lnTo>
                    <a:pt x="750284" y="176498"/>
                  </a:lnTo>
                  <a:lnTo>
                    <a:pt x="749713" y="171831"/>
                  </a:lnTo>
                  <a:lnTo>
                    <a:pt x="750856" y="168497"/>
                  </a:lnTo>
                  <a:lnTo>
                    <a:pt x="745998" y="167450"/>
                  </a:lnTo>
                  <a:lnTo>
                    <a:pt x="749141" y="167069"/>
                  </a:lnTo>
                  <a:lnTo>
                    <a:pt x="749522" y="157448"/>
                  </a:lnTo>
                  <a:lnTo>
                    <a:pt x="738759" y="136303"/>
                  </a:lnTo>
                  <a:lnTo>
                    <a:pt x="751237" y="133160"/>
                  </a:lnTo>
                  <a:lnTo>
                    <a:pt x="748189" y="122301"/>
                  </a:lnTo>
                  <a:lnTo>
                    <a:pt x="760095" y="127159"/>
                  </a:lnTo>
                  <a:lnTo>
                    <a:pt x="761619" y="126968"/>
                  </a:lnTo>
                  <a:lnTo>
                    <a:pt x="760857" y="133540"/>
                  </a:lnTo>
                  <a:lnTo>
                    <a:pt x="767429" y="134302"/>
                  </a:lnTo>
                  <a:lnTo>
                    <a:pt x="766001" y="136017"/>
                  </a:lnTo>
                  <a:lnTo>
                    <a:pt x="769810" y="140398"/>
                  </a:lnTo>
                  <a:lnTo>
                    <a:pt x="772097" y="133636"/>
                  </a:lnTo>
                  <a:lnTo>
                    <a:pt x="770382" y="132302"/>
                  </a:lnTo>
                  <a:lnTo>
                    <a:pt x="775430" y="122015"/>
                  </a:lnTo>
                  <a:lnTo>
                    <a:pt x="786479" y="120586"/>
                  </a:lnTo>
                  <a:lnTo>
                    <a:pt x="783526" y="122587"/>
                  </a:lnTo>
                  <a:lnTo>
                    <a:pt x="787337" y="126968"/>
                  </a:lnTo>
                  <a:lnTo>
                    <a:pt x="789908" y="134588"/>
                  </a:lnTo>
                  <a:lnTo>
                    <a:pt x="791623" y="136017"/>
                  </a:lnTo>
                  <a:lnTo>
                    <a:pt x="799909" y="138113"/>
                  </a:lnTo>
                  <a:lnTo>
                    <a:pt x="804672" y="137541"/>
                  </a:lnTo>
                  <a:lnTo>
                    <a:pt x="807434" y="134017"/>
                  </a:lnTo>
                  <a:lnTo>
                    <a:pt x="801910" y="128302"/>
                  </a:lnTo>
                  <a:lnTo>
                    <a:pt x="801719" y="126683"/>
                  </a:lnTo>
                  <a:lnTo>
                    <a:pt x="811339" y="127063"/>
                  </a:lnTo>
                  <a:lnTo>
                    <a:pt x="812768" y="125254"/>
                  </a:lnTo>
                  <a:lnTo>
                    <a:pt x="815340" y="120110"/>
                  </a:lnTo>
                  <a:lnTo>
                    <a:pt x="821817" y="120967"/>
                  </a:lnTo>
                  <a:lnTo>
                    <a:pt x="823436" y="120682"/>
                  </a:lnTo>
                  <a:lnTo>
                    <a:pt x="823627" y="122301"/>
                  </a:lnTo>
                  <a:lnTo>
                    <a:pt x="822198" y="124111"/>
                  </a:lnTo>
                  <a:lnTo>
                    <a:pt x="822865" y="128778"/>
                  </a:lnTo>
                  <a:lnTo>
                    <a:pt x="821436" y="130588"/>
                  </a:lnTo>
                  <a:lnTo>
                    <a:pt x="826960" y="136303"/>
                  </a:lnTo>
                  <a:lnTo>
                    <a:pt x="825246" y="134969"/>
                  </a:lnTo>
                  <a:lnTo>
                    <a:pt x="822484" y="138494"/>
                  </a:lnTo>
                  <a:lnTo>
                    <a:pt x="821436" y="143446"/>
                  </a:lnTo>
                  <a:lnTo>
                    <a:pt x="823246" y="144780"/>
                  </a:lnTo>
                  <a:lnTo>
                    <a:pt x="824675" y="155829"/>
                  </a:lnTo>
                  <a:lnTo>
                    <a:pt x="830199" y="161544"/>
                  </a:lnTo>
                  <a:lnTo>
                    <a:pt x="831818" y="161354"/>
                  </a:lnTo>
                  <a:lnTo>
                    <a:pt x="832771" y="156400"/>
                  </a:lnTo>
                  <a:lnTo>
                    <a:pt x="834771" y="159353"/>
                  </a:lnTo>
                  <a:lnTo>
                    <a:pt x="836105" y="157639"/>
                  </a:lnTo>
                  <a:lnTo>
                    <a:pt x="836295" y="159163"/>
                  </a:lnTo>
                  <a:lnTo>
                    <a:pt x="839438" y="158782"/>
                  </a:lnTo>
                  <a:lnTo>
                    <a:pt x="838105" y="160592"/>
                  </a:lnTo>
                  <a:lnTo>
                    <a:pt x="838105" y="160592"/>
                  </a:lnTo>
                  <a:lnTo>
                    <a:pt x="843248" y="163068"/>
                  </a:lnTo>
                  <a:lnTo>
                    <a:pt x="845248" y="166021"/>
                  </a:lnTo>
                  <a:lnTo>
                    <a:pt x="847915" y="162496"/>
                  </a:lnTo>
                  <a:lnTo>
                    <a:pt x="845820" y="157925"/>
                  </a:lnTo>
                  <a:lnTo>
                    <a:pt x="849916" y="152590"/>
                  </a:lnTo>
                  <a:lnTo>
                    <a:pt x="850297" y="155829"/>
                  </a:lnTo>
                  <a:lnTo>
                    <a:pt x="856869" y="156591"/>
                  </a:lnTo>
                  <a:lnTo>
                    <a:pt x="858393" y="156400"/>
                  </a:lnTo>
                  <a:lnTo>
                    <a:pt x="859155" y="149828"/>
                  </a:lnTo>
                  <a:lnTo>
                    <a:pt x="864108" y="150781"/>
                  </a:lnTo>
                  <a:lnTo>
                    <a:pt x="866299" y="155353"/>
                  </a:lnTo>
                  <a:lnTo>
                    <a:pt x="871252" y="156305"/>
                  </a:lnTo>
                  <a:lnTo>
                    <a:pt x="870585" y="151638"/>
                  </a:lnTo>
                  <a:lnTo>
                    <a:pt x="872014" y="149828"/>
                  </a:lnTo>
                  <a:lnTo>
                    <a:pt x="883444" y="151543"/>
                  </a:lnTo>
                  <a:lnTo>
                    <a:pt x="889730" y="150781"/>
                  </a:lnTo>
                  <a:lnTo>
                    <a:pt x="889540" y="149161"/>
                  </a:lnTo>
                  <a:lnTo>
                    <a:pt x="900017" y="155829"/>
                  </a:lnTo>
                  <a:lnTo>
                    <a:pt x="900017" y="155829"/>
                  </a:lnTo>
                  <a:lnTo>
                    <a:pt x="900779" y="155543"/>
                  </a:lnTo>
                  <a:lnTo>
                    <a:pt x="901446" y="154115"/>
                  </a:lnTo>
                  <a:lnTo>
                    <a:pt x="898398" y="143256"/>
                  </a:lnTo>
                  <a:lnTo>
                    <a:pt x="904494" y="140875"/>
                  </a:lnTo>
                  <a:lnTo>
                    <a:pt x="904304" y="139256"/>
                  </a:lnTo>
                  <a:lnTo>
                    <a:pt x="914019" y="139636"/>
                  </a:lnTo>
                  <a:lnTo>
                    <a:pt x="916781" y="136112"/>
                  </a:lnTo>
                  <a:lnTo>
                    <a:pt x="920115" y="137255"/>
                  </a:lnTo>
                  <a:lnTo>
                    <a:pt x="923830" y="115919"/>
                  </a:lnTo>
                  <a:lnTo>
                    <a:pt x="923449" y="112776"/>
                  </a:lnTo>
                  <a:lnTo>
                    <a:pt x="943165" y="116681"/>
                  </a:lnTo>
                  <a:lnTo>
                    <a:pt x="944309" y="113348"/>
                  </a:lnTo>
                  <a:lnTo>
                    <a:pt x="946309" y="103442"/>
                  </a:lnTo>
                  <a:lnTo>
                    <a:pt x="940308" y="81820"/>
                  </a:lnTo>
                  <a:lnTo>
                    <a:pt x="940498" y="70485"/>
                  </a:lnTo>
                  <a:lnTo>
                    <a:pt x="975074" y="77343"/>
                  </a:lnTo>
                  <a:lnTo>
                    <a:pt x="994410" y="90869"/>
                  </a:lnTo>
                  <a:lnTo>
                    <a:pt x="1008602" y="76295"/>
                  </a:lnTo>
                  <a:lnTo>
                    <a:pt x="1011746" y="75914"/>
                  </a:lnTo>
                  <a:lnTo>
                    <a:pt x="1014508" y="72295"/>
                  </a:lnTo>
                  <a:lnTo>
                    <a:pt x="1015651" y="68961"/>
                  </a:lnTo>
                  <a:lnTo>
                    <a:pt x="1013651" y="66008"/>
                  </a:lnTo>
                  <a:lnTo>
                    <a:pt x="1008317" y="61913"/>
                  </a:lnTo>
                  <a:lnTo>
                    <a:pt x="1009269" y="56959"/>
                  </a:lnTo>
                  <a:lnTo>
                    <a:pt x="1007364" y="54007"/>
                  </a:lnTo>
                  <a:lnTo>
                    <a:pt x="1019747" y="50768"/>
                  </a:lnTo>
                  <a:lnTo>
                    <a:pt x="1019556" y="49244"/>
                  </a:lnTo>
                  <a:lnTo>
                    <a:pt x="1027081" y="45053"/>
                  </a:lnTo>
                  <a:lnTo>
                    <a:pt x="1031748" y="44482"/>
                  </a:lnTo>
                  <a:lnTo>
                    <a:pt x="1034891" y="44005"/>
                  </a:lnTo>
                  <a:lnTo>
                    <a:pt x="1037654" y="40481"/>
                  </a:lnTo>
                  <a:lnTo>
                    <a:pt x="1038320" y="45244"/>
                  </a:lnTo>
                  <a:lnTo>
                    <a:pt x="1044035" y="39719"/>
                  </a:lnTo>
                  <a:lnTo>
                    <a:pt x="1050131" y="37338"/>
                  </a:lnTo>
                  <a:lnTo>
                    <a:pt x="1045750" y="28289"/>
                  </a:lnTo>
                  <a:lnTo>
                    <a:pt x="1047369" y="28003"/>
                  </a:lnTo>
                  <a:lnTo>
                    <a:pt x="1042988" y="18955"/>
                  </a:lnTo>
                  <a:lnTo>
                    <a:pt x="1039844" y="19336"/>
                  </a:lnTo>
                  <a:lnTo>
                    <a:pt x="1045940" y="16954"/>
                  </a:lnTo>
                  <a:lnTo>
                    <a:pt x="1047274" y="15240"/>
                  </a:lnTo>
                  <a:lnTo>
                    <a:pt x="1050608" y="16383"/>
                  </a:lnTo>
                  <a:lnTo>
                    <a:pt x="1050417" y="14859"/>
                  </a:lnTo>
                  <a:lnTo>
                    <a:pt x="1053656" y="14383"/>
                  </a:lnTo>
                  <a:lnTo>
                    <a:pt x="1055370" y="15811"/>
                  </a:lnTo>
                  <a:lnTo>
                    <a:pt x="1048798" y="2191"/>
                  </a:lnTo>
                  <a:lnTo>
                    <a:pt x="1053370" y="0"/>
                  </a:lnTo>
                  <a:lnTo>
                    <a:pt x="1066419" y="1524"/>
                  </a:lnTo>
                  <a:lnTo>
                    <a:pt x="1064990" y="3334"/>
                  </a:lnTo>
                  <a:lnTo>
                    <a:pt x="1067372" y="9430"/>
                  </a:lnTo>
                  <a:lnTo>
                    <a:pt x="1064419" y="11430"/>
                  </a:lnTo>
                  <a:lnTo>
                    <a:pt x="1066419" y="14383"/>
                  </a:lnTo>
                  <a:lnTo>
                    <a:pt x="1069562" y="14002"/>
                  </a:lnTo>
                  <a:lnTo>
                    <a:pt x="1073182" y="16764"/>
                  </a:lnTo>
                  <a:lnTo>
                    <a:pt x="1072706" y="13621"/>
                  </a:lnTo>
                  <a:lnTo>
                    <a:pt x="1077659" y="14573"/>
                  </a:lnTo>
                  <a:lnTo>
                    <a:pt x="1082040" y="23622"/>
                  </a:lnTo>
                  <a:lnTo>
                    <a:pt x="1077277" y="24194"/>
                  </a:lnTo>
                  <a:lnTo>
                    <a:pt x="1080706" y="25432"/>
                  </a:lnTo>
                  <a:lnTo>
                    <a:pt x="1082612" y="28384"/>
                  </a:lnTo>
                  <a:lnTo>
                    <a:pt x="1087374" y="27718"/>
                  </a:lnTo>
                  <a:lnTo>
                    <a:pt x="1090898" y="30480"/>
                  </a:lnTo>
                  <a:lnTo>
                    <a:pt x="1090136" y="24194"/>
                  </a:lnTo>
                  <a:lnTo>
                    <a:pt x="1094899" y="23622"/>
                  </a:lnTo>
                  <a:lnTo>
                    <a:pt x="1095661" y="17050"/>
                  </a:lnTo>
                  <a:lnTo>
                    <a:pt x="1096994" y="15335"/>
                  </a:lnTo>
                  <a:lnTo>
                    <a:pt x="1100423" y="16478"/>
                  </a:lnTo>
                  <a:lnTo>
                    <a:pt x="1097471" y="18478"/>
                  </a:lnTo>
                  <a:lnTo>
                    <a:pt x="1099185" y="19812"/>
                  </a:lnTo>
                  <a:lnTo>
                    <a:pt x="1102328" y="19431"/>
                  </a:lnTo>
                  <a:lnTo>
                    <a:pt x="1104329" y="22384"/>
                  </a:lnTo>
                  <a:lnTo>
                    <a:pt x="1109091" y="21812"/>
                  </a:lnTo>
                  <a:lnTo>
                    <a:pt x="1112234" y="21336"/>
                  </a:lnTo>
                  <a:lnTo>
                    <a:pt x="1118140" y="17431"/>
                  </a:lnTo>
                  <a:lnTo>
                    <a:pt x="1118521" y="20574"/>
                  </a:lnTo>
                  <a:lnTo>
                    <a:pt x="1117378" y="23908"/>
                  </a:lnTo>
                  <a:lnTo>
                    <a:pt x="1119188" y="25336"/>
                  </a:lnTo>
                  <a:lnTo>
                    <a:pt x="1125664" y="38862"/>
                  </a:lnTo>
                  <a:lnTo>
                    <a:pt x="1127284" y="38672"/>
                  </a:lnTo>
                  <a:lnTo>
                    <a:pt x="1128808" y="38481"/>
                  </a:lnTo>
                  <a:lnTo>
                    <a:pt x="1133951" y="41053"/>
                  </a:lnTo>
                  <a:lnTo>
                    <a:pt x="1134809" y="47339"/>
                  </a:lnTo>
                  <a:lnTo>
                    <a:pt x="1136142" y="45625"/>
                  </a:lnTo>
                  <a:lnTo>
                    <a:pt x="1139285" y="45148"/>
                  </a:lnTo>
                  <a:lnTo>
                    <a:pt x="1139476" y="46768"/>
                  </a:lnTo>
                  <a:lnTo>
                    <a:pt x="1138523" y="51721"/>
                  </a:lnTo>
                  <a:lnTo>
                    <a:pt x="1142333" y="56007"/>
                  </a:lnTo>
                  <a:lnTo>
                    <a:pt x="1141285" y="60960"/>
                  </a:lnTo>
                  <a:lnTo>
                    <a:pt x="1145667" y="57245"/>
                  </a:lnTo>
                  <a:lnTo>
                    <a:pt x="1147477" y="58579"/>
                  </a:lnTo>
                  <a:lnTo>
                    <a:pt x="1151954" y="56388"/>
                  </a:lnTo>
                  <a:lnTo>
                    <a:pt x="1156716" y="55817"/>
                  </a:lnTo>
                  <a:lnTo>
                    <a:pt x="1156716" y="55817"/>
                  </a:lnTo>
                  <a:lnTo>
                    <a:pt x="1160907" y="63246"/>
                  </a:lnTo>
                  <a:lnTo>
                    <a:pt x="1166051" y="65818"/>
                  </a:lnTo>
                  <a:lnTo>
                    <a:pt x="1164812" y="69247"/>
                  </a:lnTo>
                  <a:lnTo>
                    <a:pt x="1169575" y="68580"/>
                  </a:lnTo>
                  <a:lnTo>
                    <a:pt x="1178433" y="75438"/>
                  </a:lnTo>
                  <a:lnTo>
                    <a:pt x="1175671" y="79057"/>
                  </a:lnTo>
                  <a:lnTo>
                    <a:pt x="1175861" y="80581"/>
                  </a:lnTo>
                  <a:lnTo>
                    <a:pt x="1178909" y="78676"/>
                  </a:lnTo>
                  <a:lnTo>
                    <a:pt x="1177862" y="83534"/>
                  </a:lnTo>
                  <a:lnTo>
                    <a:pt x="1181290" y="97536"/>
                  </a:lnTo>
                  <a:lnTo>
                    <a:pt x="1183100" y="98965"/>
                  </a:lnTo>
                  <a:lnTo>
                    <a:pt x="1185005" y="101917"/>
                  </a:lnTo>
                  <a:lnTo>
                    <a:pt x="1192721" y="99346"/>
                  </a:lnTo>
                  <a:lnTo>
                    <a:pt x="1193102" y="102489"/>
                  </a:lnTo>
                  <a:lnTo>
                    <a:pt x="1194721" y="102298"/>
                  </a:lnTo>
                  <a:lnTo>
                    <a:pt x="1194911" y="103823"/>
                  </a:lnTo>
                  <a:lnTo>
                    <a:pt x="1199483" y="101727"/>
                  </a:lnTo>
                  <a:lnTo>
                    <a:pt x="1204341" y="102679"/>
                  </a:lnTo>
                  <a:lnTo>
                    <a:pt x="1209675" y="106775"/>
                  </a:lnTo>
                  <a:lnTo>
                    <a:pt x="1208342" y="108585"/>
                  </a:lnTo>
                  <a:lnTo>
                    <a:pt x="1209961" y="108394"/>
                  </a:lnTo>
                  <a:lnTo>
                    <a:pt x="1210342" y="111538"/>
                  </a:lnTo>
                  <a:lnTo>
                    <a:pt x="1213485" y="111157"/>
                  </a:lnTo>
                  <a:lnTo>
                    <a:pt x="1212342" y="114490"/>
                  </a:lnTo>
                  <a:lnTo>
                    <a:pt x="1210723" y="114681"/>
                  </a:lnTo>
                  <a:lnTo>
                    <a:pt x="1211104" y="117824"/>
                  </a:lnTo>
                  <a:lnTo>
                    <a:pt x="1209580" y="118015"/>
                  </a:lnTo>
                  <a:lnTo>
                    <a:pt x="1210151" y="122777"/>
                  </a:lnTo>
                  <a:lnTo>
                    <a:pt x="1203674" y="122015"/>
                  </a:lnTo>
                  <a:lnTo>
                    <a:pt x="1204055" y="125158"/>
                  </a:lnTo>
                  <a:lnTo>
                    <a:pt x="1196150" y="126111"/>
                  </a:lnTo>
                  <a:lnTo>
                    <a:pt x="1191768" y="129921"/>
                  </a:lnTo>
                  <a:lnTo>
                    <a:pt x="1192816" y="137827"/>
                  </a:lnTo>
                  <a:lnTo>
                    <a:pt x="1194816" y="140779"/>
                  </a:lnTo>
                  <a:lnTo>
                    <a:pt x="1198150" y="141923"/>
                  </a:lnTo>
                  <a:lnTo>
                    <a:pt x="1205675" y="150590"/>
                  </a:lnTo>
                  <a:lnTo>
                    <a:pt x="1206246" y="155353"/>
                  </a:lnTo>
                  <a:lnTo>
                    <a:pt x="1205103" y="158686"/>
                  </a:lnTo>
                  <a:lnTo>
                    <a:pt x="1203769" y="160496"/>
                  </a:lnTo>
                  <a:lnTo>
                    <a:pt x="1207103" y="161639"/>
                  </a:lnTo>
                  <a:lnTo>
                    <a:pt x="1212437" y="165735"/>
                  </a:lnTo>
                  <a:lnTo>
                    <a:pt x="1211009" y="167545"/>
                  </a:lnTo>
                  <a:lnTo>
                    <a:pt x="1211485" y="170688"/>
                  </a:lnTo>
                  <a:lnTo>
                    <a:pt x="1208056" y="169545"/>
                  </a:lnTo>
                  <a:lnTo>
                    <a:pt x="1206722" y="171355"/>
                  </a:lnTo>
                  <a:lnTo>
                    <a:pt x="1208246" y="171069"/>
                  </a:lnTo>
                  <a:lnTo>
                    <a:pt x="1208723" y="174308"/>
                  </a:lnTo>
                  <a:lnTo>
                    <a:pt x="1207484" y="177641"/>
                  </a:lnTo>
                  <a:lnTo>
                    <a:pt x="1209104" y="177451"/>
                  </a:lnTo>
                  <a:lnTo>
                    <a:pt x="1208342" y="183928"/>
                  </a:lnTo>
                  <a:lnTo>
                    <a:pt x="1206722" y="184118"/>
                  </a:lnTo>
                  <a:lnTo>
                    <a:pt x="1207389" y="188881"/>
                  </a:lnTo>
                  <a:lnTo>
                    <a:pt x="1203008" y="192596"/>
                  </a:lnTo>
                  <a:lnTo>
                    <a:pt x="1205389" y="198787"/>
                  </a:lnTo>
                  <a:lnTo>
                    <a:pt x="1209961" y="196596"/>
                  </a:lnTo>
                  <a:lnTo>
                    <a:pt x="1210342" y="199739"/>
                  </a:lnTo>
                  <a:lnTo>
                    <a:pt x="1213294" y="197739"/>
                  </a:lnTo>
                  <a:lnTo>
                    <a:pt x="1215104" y="199073"/>
                  </a:lnTo>
                  <a:lnTo>
                    <a:pt x="1221010" y="208026"/>
                  </a:lnTo>
                  <a:lnTo>
                    <a:pt x="1221391" y="211169"/>
                  </a:lnTo>
                  <a:lnTo>
                    <a:pt x="1216628" y="211741"/>
                  </a:lnTo>
                  <a:lnTo>
                    <a:pt x="1217295" y="216503"/>
                  </a:lnTo>
                  <a:lnTo>
                    <a:pt x="1220629" y="217646"/>
                  </a:lnTo>
                  <a:lnTo>
                    <a:pt x="1219486" y="220980"/>
                  </a:lnTo>
                  <a:lnTo>
                    <a:pt x="1226153" y="223361"/>
                  </a:lnTo>
                  <a:lnTo>
                    <a:pt x="1220914" y="244888"/>
                  </a:lnTo>
                  <a:lnTo>
                    <a:pt x="1219105" y="243459"/>
                  </a:lnTo>
                  <a:lnTo>
                    <a:pt x="1217962" y="246888"/>
                  </a:lnTo>
                  <a:lnTo>
                    <a:pt x="1215962" y="243935"/>
                  </a:lnTo>
                  <a:lnTo>
                    <a:pt x="1214818" y="247269"/>
                  </a:lnTo>
                  <a:lnTo>
                    <a:pt x="1208437" y="248031"/>
                  </a:lnTo>
                  <a:lnTo>
                    <a:pt x="1209294" y="254413"/>
                  </a:lnTo>
                  <a:lnTo>
                    <a:pt x="1210818" y="254222"/>
                  </a:lnTo>
                  <a:lnTo>
                    <a:pt x="1211294" y="257365"/>
                  </a:lnTo>
                  <a:lnTo>
                    <a:pt x="1208342" y="259271"/>
                  </a:lnTo>
                  <a:lnTo>
                    <a:pt x="1213676" y="263461"/>
                  </a:lnTo>
                  <a:lnTo>
                    <a:pt x="1212437" y="266795"/>
                  </a:lnTo>
                  <a:lnTo>
                    <a:pt x="1209294" y="267176"/>
                  </a:lnTo>
                  <a:lnTo>
                    <a:pt x="1207960" y="268986"/>
                  </a:lnTo>
                  <a:lnTo>
                    <a:pt x="1206341" y="269177"/>
                  </a:lnTo>
                  <a:lnTo>
                    <a:pt x="1207770" y="267367"/>
                  </a:lnTo>
                  <a:lnTo>
                    <a:pt x="1205960" y="266033"/>
                  </a:lnTo>
                  <a:lnTo>
                    <a:pt x="1204531" y="267843"/>
                  </a:lnTo>
                  <a:lnTo>
                    <a:pt x="1201198" y="266605"/>
                  </a:lnTo>
                  <a:lnTo>
                    <a:pt x="1199864" y="268415"/>
                  </a:lnTo>
                  <a:lnTo>
                    <a:pt x="1196245" y="265652"/>
                  </a:lnTo>
                  <a:lnTo>
                    <a:pt x="1193768" y="270796"/>
                  </a:lnTo>
                  <a:lnTo>
                    <a:pt x="1186815" y="279654"/>
                  </a:lnTo>
                  <a:lnTo>
                    <a:pt x="1192339" y="285369"/>
                  </a:lnTo>
                  <a:lnTo>
                    <a:pt x="1196340" y="291275"/>
                  </a:lnTo>
                  <a:lnTo>
                    <a:pt x="1199483" y="290894"/>
                  </a:lnTo>
                  <a:lnTo>
                    <a:pt x="1204817" y="295085"/>
                  </a:lnTo>
                  <a:lnTo>
                    <a:pt x="1203293" y="295275"/>
                  </a:lnTo>
                  <a:lnTo>
                    <a:pt x="1199102" y="300609"/>
                  </a:lnTo>
                  <a:lnTo>
                    <a:pt x="1201864" y="309848"/>
                  </a:lnTo>
                  <a:lnTo>
                    <a:pt x="1204055" y="314420"/>
                  </a:lnTo>
                  <a:lnTo>
                    <a:pt x="1207675" y="317087"/>
                  </a:lnTo>
                  <a:lnTo>
                    <a:pt x="1214533" y="321088"/>
                  </a:lnTo>
                  <a:lnTo>
                    <a:pt x="1221296" y="323374"/>
                  </a:lnTo>
                  <a:lnTo>
                    <a:pt x="1224248" y="321469"/>
                  </a:lnTo>
                  <a:lnTo>
                    <a:pt x="1229582" y="312706"/>
                  </a:lnTo>
                  <a:lnTo>
                    <a:pt x="1233488" y="318611"/>
                  </a:lnTo>
                  <a:lnTo>
                    <a:pt x="1241965" y="322326"/>
                  </a:lnTo>
                  <a:lnTo>
                    <a:pt x="1245394" y="323564"/>
                  </a:lnTo>
                  <a:lnTo>
                    <a:pt x="1243965" y="325374"/>
                  </a:lnTo>
                  <a:lnTo>
                    <a:pt x="1242631" y="327088"/>
                  </a:lnTo>
                  <a:lnTo>
                    <a:pt x="1241012" y="327279"/>
                  </a:lnTo>
                  <a:lnTo>
                    <a:pt x="1240441" y="335375"/>
                  </a:lnTo>
                  <a:lnTo>
                    <a:pt x="1243775" y="336613"/>
                  </a:lnTo>
                  <a:lnTo>
                    <a:pt x="1247965" y="331280"/>
                  </a:lnTo>
                  <a:lnTo>
                    <a:pt x="1249680" y="332613"/>
                  </a:lnTo>
                  <a:lnTo>
                    <a:pt x="1249871" y="334232"/>
                  </a:lnTo>
                  <a:lnTo>
                    <a:pt x="1253871" y="340138"/>
                  </a:lnTo>
                  <a:lnTo>
                    <a:pt x="1255490" y="339947"/>
                  </a:lnTo>
                  <a:lnTo>
                    <a:pt x="1257395" y="342900"/>
                  </a:lnTo>
                  <a:lnTo>
                    <a:pt x="1260634" y="342424"/>
                  </a:lnTo>
                  <a:lnTo>
                    <a:pt x="1264348" y="346805"/>
                  </a:lnTo>
                  <a:lnTo>
                    <a:pt x="1264920" y="351568"/>
                  </a:lnTo>
                  <a:lnTo>
                    <a:pt x="1261586" y="350330"/>
                  </a:lnTo>
                  <a:lnTo>
                    <a:pt x="1255681" y="354330"/>
                  </a:lnTo>
                  <a:lnTo>
                    <a:pt x="1256062" y="357473"/>
                  </a:lnTo>
                  <a:lnTo>
                    <a:pt x="1259681" y="360236"/>
                  </a:lnTo>
                  <a:lnTo>
                    <a:pt x="1260253" y="364998"/>
                  </a:lnTo>
                  <a:lnTo>
                    <a:pt x="1257681" y="370046"/>
                  </a:lnTo>
                  <a:lnTo>
                    <a:pt x="1261301" y="372809"/>
                  </a:lnTo>
                  <a:lnTo>
                    <a:pt x="1271492" y="377952"/>
                  </a:lnTo>
                  <a:lnTo>
                    <a:pt x="1271968" y="381095"/>
                  </a:lnTo>
                  <a:lnTo>
                    <a:pt x="1273683" y="382524"/>
                  </a:lnTo>
                  <a:lnTo>
                    <a:pt x="1274921" y="379095"/>
                  </a:lnTo>
                  <a:lnTo>
                    <a:pt x="1276445" y="378905"/>
                  </a:lnTo>
                  <a:lnTo>
                    <a:pt x="1276826" y="382048"/>
                  </a:lnTo>
                  <a:lnTo>
                    <a:pt x="1278636" y="383477"/>
                  </a:lnTo>
                  <a:lnTo>
                    <a:pt x="1280065" y="381667"/>
                  </a:lnTo>
                  <a:lnTo>
                    <a:pt x="1281589" y="381476"/>
                  </a:lnTo>
                  <a:lnTo>
                    <a:pt x="1281208" y="378333"/>
                  </a:lnTo>
                  <a:lnTo>
                    <a:pt x="1290828" y="378714"/>
                  </a:lnTo>
                  <a:lnTo>
                    <a:pt x="1295019" y="373380"/>
                  </a:lnTo>
                  <a:lnTo>
                    <a:pt x="1298162" y="372999"/>
                  </a:lnTo>
                  <a:lnTo>
                    <a:pt x="1299972" y="374333"/>
                  </a:lnTo>
                  <a:lnTo>
                    <a:pt x="1300163" y="375952"/>
                  </a:lnTo>
                  <a:lnTo>
                    <a:pt x="1303687" y="378714"/>
                  </a:lnTo>
                  <a:lnTo>
                    <a:pt x="1303877" y="380238"/>
                  </a:lnTo>
                  <a:lnTo>
                    <a:pt x="1306830" y="378238"/>
                  </a:lnTo>
                  <a:lnTo>
                    <a:pt x="1310450" y="381000"/>
                  </a:lnTo>
                  <a:lnTo>
                    <a:pt x="1311783" y="379286"/>
                  </a:lnTo>
                  <a:lnTo>
                    <a:pt x="1318546" y="381571"/>
                  </a:lnTo>
                  <a:lnTo>
                    <a:pt x="1325404" y="385477"/>
                  </a:lnTo>
                  <a:lnTo>
                    <a:pt x="1324070" y="387286"/>
                  </a:lnTo>
                  <a:lnTo>
                    <a:pt x="1327594" y="390049"/>
                  </a:lnTo>
                  <a:lnTo>
                    <a:pt x="1328928" y="388239"/>
                  </a:lnTo>
                  <a:lnTo>
                    <a:pt x="1333310" y="384524"/>
                  </a:lnTo>
                  <a:lnTo>
                    <a:pt x="1335691" y="377761"/>
                  </a:lnTo>
                  <a:lnTo>
                    <a:pt x="1342168" y="378619"/>
                  </a:lnTo>
                  <a:lnTo>
                    <a:pt x="1346549" y="374809"/>
                  </a:lnTo>
                  <a:lnTo>
                    <a:pt x="1351217" y="374237"/>
                  </a:lnTo>
                  <a:lnTo>
                    <a:pt x="1352645" y="372428"/>
                  </a:lnTo>
                  <a:lnTo>
                    <a:pt x="1357313" y="371856"/>
                  </a:lnTo>
                  <a:lnTo>
                    <a:pt x="1358551" y="368522"/>
                  </a:lnTo>
                  <a:lnTo>
                    <a:pt x="1358932" y="371665"/>
                  </a:lnTo>
                  <a:lnTo>
                    <a:pt x="1360551" y="371475"/>
                  </a:lnTo>
                  <a:lnTo>
                    <a:pt x="1361504" y="379286"/>
                  </a:lnTo>
                  <a:lnTo>
                    <a:pt x="1363123" y="379095"/>
                  </a:lnTo>
                  <a:lnTo>
                    <a:pt x="1363313" y="380714"/>
                  </a:lnTo>
                  <a:lnTo>
                    <a:pt x="1367981" y="380048"/>
                  </a:lnTo>
                  <a:lnTo>
                    <a:pt x="1371600" y="382810"/>
                  </a:lnTo>
                  <a:lnTo>
                    <a:pt x="1371790" y="384429"/>
                  </a:lnTo>
                  <a:lnTo>
                    <a:pt x="1376553" y="383858"/>
                  </a:lnTo>
                  <a:lnTo>
                    <a:pt x="1378744" y="388334"/>
                  </a:lnTo>
                  <a:lnTo>
                    <a:pt x="1374362" y="392144"/>
                  </a:lnTo>
                  <a:lnTo>
                    <a:pt x="1376553" y="396621"/>
                  </a:lnTo>
                  <a:lnTo>
                    <a:pt x="1376743" y="398240"/>
                  </a:lnTo>
                  <a:lnTo>
                    <a:pt x="1375219" y="398431"/>
                  </a:lnTo>
                  <a:lnTo>
                    <a:pt x="1377982" y="407670"/>
                  </a:lnTo>
                  <a:lnTo>
                    <a:pt x="1377029" y="412623"/>
                  </a:lnTo>
                  <a:lnTo>
                    <a:pt x="1378744" y="413957"/>
                  </a:lnTo>
                  <a:lnTo>
                    <a:pt x="1382744" y="419957"/>
                  </a:lnTo>
                  <a:lnTo>
                    <a:pt x="1378363" y="423672"/>
                  </a:lnTo>
                  <a:lnTo>
                    <a:pt x="1373696" y="424244"/>
                  </a:lnTo>
                  <a:lnTo>
                    <a:pt x="1370933" y="427863"/>
                  </a:lnTo>
                  <a:lnTo>
                    <a:pt x="1374267" y="429006"/>
                  </a:lnTo>
                  <a:lnTo>
                    <a:pt x="1376077" y="443198"/>
                  </a:lnTo>
                  <a:lnTo>
                    <a:pt x="1372362" y="451675"/>
                  </a:lnTo>
                  <a:lnTo>
                    <a:pt x="1378839" y="452438"/>
                  </a:lnTo>
                  <a:lnTo>
                    <a:pt x="1379696" y="458819"/>
                  </a:lnTo>
                  <a:lnTo>
                    <a:pt x="1381220" y="458629"/>
                  </a:lnTo>
                  <a:lnTo>
                    <a:pt x="1387983" y="460915"/>
                  </a:lnTo>
                  <a:lnTo>
                    <a:pt x="1385983" y="470821"/>
                  </a:lnTo>
                  <a:lnTo>
                    <a:pt x="1388745" y="467296"/>
                  </a:lnTo>
                  <a:lnTo>
                    <a:pt x="1389126" y="470440"/>
                  </a:lnTo>
                  <a:lnTo>
                    <a:pt x="1390936" y="471773"/>
                  </a:lnTo>
                  <a:lnTo>
                    <a:pt x="1388364" y="476917"/>
                  </a:lnTo>
                  <a:lnTo>
                    <a:pt x="1394269" y="472916"/>
                  </a:lnTo>
                  <a:lnTo>
                    <a:pt x="1390364" y="479869"/>
                  </a:lnTo>
                  <a:lnTo>
                    <a:pt x="1391126" y="486156"/>
                  </a:lnTo>
                  <a:lnTo>
                    <a:pt x="1388650" y="491300"/>
                  </a:lnTo>
                  <a:lnTo>
                    <a:pt x="1386840" y="489966"/>
                  </a:lnTo>
                  <a:lnTo>
                    <a:pt x="1384078" y="493490"/>
                  </a:lnTo>
                  <a:lnTo>
                    <a:pt x="1385888" y="494919"/>
                  </a:lnTo>
                  <a:lnTo>
                    <a:pt x="1387888" y="497872"/>
                  </a:lnTo>
                  <a:lnTo>
                    <a:pt x="1386268" y="498062"/>
                  </a:lnTo>
                  <a:lnTo>
                    <a:pt x="1385316" y="503015"/>
                  </a:lnTo>
                  <a:lnTo>
                    <a:pt x="1383506" y="501586"/>
                  </a:lnTo>
                  <a:lnTo>
                    <a:pt x="1383887" y="504730"/>
                  </a:lnTo>
                  <a:lnTo>
                    <a:pt x="1379410" y="506921"/>
                  </a:lnTo>
                  <a:lnTo>
                    <a:pt x="1378363" y="511873"/>
                  </a:lnTo>
                  <a:lnTo>
                    <a:pt x="1373505" y="510921"/>
                  </a:lnTo>
                  <a:lnTo>
                    <a:pt x="1372648" y="517398"/>
                  </a:lnTo>
                  <a:lnTo>
                    <a:pt x="1370743" y="514445"/>
                  </a:lnTo>
                  <a:lnTo>
                    <a:pt x="1369314" y="516255"/>
                  </a:lnTo>
                  <a:lnTo>
                    <a:pt x="1369981" y="521017"/>
                  </a:lnTo>
                  <a:lnTo>
                    <a:pt x="1366742" y="521398"/>
                  </a:lnTo>
                  <a:lnTo>
                    <a:pt x="1365028" y="519970"/>
                  </a:lnTo>
                  <a:lnTo>
                    <a:pt x="1363409" y="520160"/>
                  </a:lnTo>
                  <a:lnTo>
                    <a:pt x="1362456" y="525113"/>
                  </a:lnTo>
                  <a:lnTo>
                    <a:pt x="1367218" y="524542"/>
                  </a:lnTo>
                  <a:lnTo>
                    <a:pt x="1375886" y="529876"/>
                  </a:lnTo>
                  <a:lnTo>
                    <a:pt x="1376077" y="531400"/>
                  </a:lnTo>
                  <a:lnTo>
                    <a:pt x="1366076" y="540734"/>
                  </a:lnTo>
                  <a:lnTo>
                    <a:pt x="1358360" y="543306"/>
                  </a:lnTo>
                  <a:lnTo>
                    <a:pt x="1358551" y="544925"/>
                  </a:lnTo>
                  <a:lnTo>
                    <a:pt x="1369981" y="546640"/>
                  </a:lnTo>
                  <a:lnTo>
                    <a:pt x="1379220" y="543878"/>
                  </a:lnTo>
                  <a:lnTo>
                    <a:pt x="1386554" y="550926"/>
                  </a:lnTo>
                  <a:lnTo>
                    <a:pt x="1388555" y="553879"/>
                  </a:lnTo>
                  <a:lnTo>
                    <a:pt x="1395317" y="556260"/>
                  </a:lnTo>
                  <a:lnTo>
                    <a:pt x="1396460" y="552926"/>
                  </a:lnTo>
                  <a:lnTo>
                    <a:pt x="1396079" y="549688"/>
                  </a:lnTo>
                  <a:lnTo>
                    <a:pt x="1399604" y="552450"/>
                  </a:lnTo>
                  <a:lnTo>
                    <a:pt x="1402747" y="552069"/>
                  </a:lnTo>
                  <a:lnTo>
                    <a:pt x="1401604" y="555403"/>
                  </a:lnTo>
                  <a:lnTo>
                    <a:pt x="1412272" y="563690"/>
                  </a:lnTo>
                  <a:lnTo>
                    <a:pt x="1418939" y="566071"/>
                  </a:lnTo>
                  <a:lnTo>
                    <a:pt x="1420368" y="564261"/>
                  </a:lnTo>
                  <a:lnTo>
                    <a:pt x="1422178" y="565595"/>
                  </a:lnTo>
                  <a:lnTo>
                    <a:pt x="1420559" y="565880"/>
                  </a:lnTo>
                  <a:lnTo>
                    <a:pt x="1427321" y="568166"/>
                  </a:lnTo>
                  <a:lnTo>
                    <a:pt x="1419035" y="578834"/>
                  </a:lnTo>
                  <a:lnTo>
                    <a:pt x="1419797" y="585216"/>
                  </a:lnTo>
                  <a:lnTo>
                    <a:pt x="1417987" y="583787"/>
                  </a:lnTo>
                  <a:lnTo>
                    <a:pt x="1416463" y="583978"/>
                  </a:lnTo>
                  <a:lnTo>
                    <a:pt x="1419225" y="593312"/>
                  </a:lnTo>
                  <a:lnTo>
                    <a:pt x="1413319" y="597218"/>
                  </a:lnTo>
                  <a:lnTo>
                    <a:pt x="1408176" y="594646"/>
                  </a:lnTo>
                  <a:lnTo>
                    <a:pt x="1407605" y="589979"/>
                  </a:lnTo>
                  <a:lnTo>
                    <a:pt x="1404080" y="587216"/>
                  </a:lnTo>
                  <a:lnTo>
                    <a:pt x="1398080" y="591122"/>
                  </a:lnTo>
                  <a:lnTo>
                    <a:pt x="1394555" y="601218"/>
                  </a:lnTo>
                  <a:lnTo>
                    <a:pt x="1401699" y="606743"/>
                  </a:lnTo>
                  <a:lnTo>
                    <a:pt x="1406081" y="602933"/>
                  </a:lnTo>
                  <a:lnTo>
                    <a:pt x="1410176" y="610457"/>
                  </a:lnTo>
                  <a:lnTo>
                    <a:pt x="1413319" y="610076"/>
                  </a:lnTo>
                  <a:lnTo>
                    <a:pt x="1408843" y="612267"/>
                  </a:lnTo>
                  <a:lnTo>
                    <a:pt x="1405033" y="607886"/>
                  </a:lnTo>
                  <a:lnTo>
                    <a:pt x="1402271" y="611505"/>
                  </a:lnTo>
                  <a:lnTo>
                    <a:pt x="1399127" y="611886"/>
                  </a:lnTo>
                  <a:lnTo>
                    <a:pt x="1397794" y="613696"/>
                  </a:lnTo>
                  <a:lnTo>
                    <a:pt x="1400365" y="621316"/>
                  </a:lnTo>
                  <a:lnTo>
                    <a:pt x="1402556" y="625888"/>
                  </a:lnTo>
                  <a:lnTo>
                    <a:pt x="1402747" y="640271"/>
                  </a:lnTo>
                  <a:lnTo>
                    <a:pt x="1396270" y="639509"/>
                  </a:lnTo>
                  <a:lnTo>
                    <a:pt x="1391698" y="641699"/>
                  </a:lnTo>
                  <a:lnTo>
                    <a:pt x="1389983" y="640271"/>
                  </a:lnTo>
                  <a:lnTo>
                    <a:pt x="1390364" y="643414"/>
                  </a:lnTo>
                  <a:lnTo>
                    <a:pt x="1387221" y="643890"/>
                  </a:lnTo>
                  <a:lnTo>
                    <a:pt x="1385411" y="642461"/>
                  </a:lnTo>
                  <a:lnTo>
                    <a:pt x="1382077" y="641318"/>
                  </a:lnTo>
                  <a:lnTo>
                    <a:pt x="1380839" y="644652"/>
                  </a:lnTo>
                  <a:lnTo>
                    <a:pt x="1377887" y="646652"/>
                  </a:lnTo>
                  <a:lnTo>
                    <a:pt x="1378172" y="648272"/>
                  </a:lnTo>
                  <a:lnTo>
                    <a:pt x="1381697" y="650938"/>
                  </a:lnTo>
                  <a:lnTo>
                    <a:pt x="1392936" y="651129"/>
                  </a:lnTo>
                  <a:lnTo>
                    <a:pt x="1391793" y="654558"/>
                  </a:lnTo>
                  <a:lnTo>
                    <a:pt x="1396270" y="652367"/>
                  </a:lnTo>
                  <a:lnTo>
                    <a:pt x="1396937" y="657035"/>
                  </a:lnTo>
                  <a:lnTo>
                    <a:pt x="1395508" y="658844"/>
                  </a:lnTo>
                  <a:lnTo>
                    <a:pt x="1393698" y="657511"/>
                  </a:lnTo>
                  <a:lnTo>
                    <a:pt x="1392364" y="659225"/>
                  </a:lnTo>
                  <a:lnTo>
                    <a:pt x="1387221" y="656654"/>
                  </a:lnTo>
                  <a:lnTo>
                    <a:pt x="1387412" y="658273"/>
                  </a:lnTo>
                  <a:lnTo>
                    <a:pt x="1390745" y="659416"/>
                  </a:lnTo>
                  <a:lnTo>
                    <a:pt x="1389221" y="659606"/>
                  </a:lnTo>
                  <a:lnTo>
                    <a:pt x="1384078" y="657130"/>
                  </a:lnTo>
                  <a:lnTo>
                    <a:pt x="1380744" y="655892"/>
                  </a:lnTo>
                  <a:lnTo>
                    <a:pt x="1375029" y="661416"/>
                  </a:lnTo>
                  <a:lnTo>
                    <a:pt x="1368933" y="663797"/>
                  </a:lnTo>
                  <a:lnTo>
                    <a:pt x="1374267" y="667988"/>
                  </a:lnTo>
                  <a:lnTo>
                    <a:pt x="1374648" y="671132"/>
                  </a:lnTo>
                  <a:lnTo>
                    <a:pt x="1376172" y="670941"/>
                  </a:lnTo>
                  <a:lnTo>
                    <a:pt x="1377029" y="677228"/>
                  </a:lnTo>
                  <a:lnTo>
                    <a:pt x="1380554" y="679990"/>
                  </a:lnTo>
                  <a:lnTo>
                    <a:pt x="1382173" y="679799"/>
                  </a:lnTo>
                  <a:lnTo>
                    <a:pt x="1380744" y="681609"/>
                  </a:lnTo>
                  <a:lnTo>
                    <a:pt x="1383887" y="681133"/>
                  </a:lnTo>
                  <a:lnTo>
                    <a:pt x="1384364" y="684276"/>
                  </a:lnTo>
                  <a:lnTo>
                    <a:pt x="1389507" y="686848"/>
                  </a:lnTo>
                  <a:lnTo>
                    <a:pt x="1394651" y="689420"/>
                  </a:lnTo>
                  <a:lnTo>
                    <a:pt x="1396365" y="690848"/>
                  </a:lnTo>
                  <a:lnTo>
                    <a:pt x="1400556" y="685514"/>
                  </a:lnTo>
                  <a:lnTo>
                    <a:pt x="1408843" y="687610"/>
                  </a:lnTo>
                  <a:lnTo>
                    <a:pt x="1407414" y="689420"/>
                  </a:lnTo>
                  <a:lnTo>
                    <a:pt x="1405700" y="687991"/>
                  </a:lnTo>
                  <a:lnTo>
                    <a:pt x="1409414" y="692372"/>
                  </a:lnTo>
                  <a:lnTo>
                    <a:pt x="1412367" y="690372"/>
                  </a:lnTo>
                  <a:lnTo>
                    <a:pt x="1417510" y="692944"/>
                  </a:lnTo>
                  <a:lnTo>
                    <a:pt x="1413129" y="696659"/>
                  </a:lnTo>
                  <a:lnTo>
                    <a:pt x="1409986" y="697040"/>
                  </a:lnTo>
                  <a:lnTo>
                    <a:pt x="1411986" y="699992"/>
                  </a:lnTo>
                  <a:lnTo>
                    <a:pt x="1415320" y="701231"/>
                  </a:lnTo>
                  <a:lnTo>
                    <a:pt x="1418558" y="700850"/>
                  </a:lnTo>
                  <a:lnTo>
                    <a:pt x="1418749" y="702374"/>
                  </a:lnTo>
                  <a:lnTo>
                    <a:pt x="1420082" y="700659"/>
                  </a:lnTo>
                  <a:lnTo>
                    <a:pt x="1421892" y="701993"/>
                  </a:lnTo>
                  <a:lnTo>
                    <a:pt x="1427035" y="704564"/>
                  </a:lnTo>
                  <a:lnTo>
                    <a:pt x="1434275" y="698849"/>
                  </a:lnTo>
                  <a:lnTo>
                    <a:pt x="1436084" y="700183"/>
                  </a:lnTo>
                  <a:lnTo>
                    <a:pt x="1436465" y="703326"/>
                  </a:lnTo>
                  <a:lnTo>
                    <a:pt x="1438275" y="704755"/>
                  </a:lnTo>
                  <a:lnTo>
                    <a:pt x="1435322" y="706660"/>
                  </a:lnTo>
                  <a:lnTo>
                    <a:pt x="1436084" y="713041"/>
                  </a:lnTo>
                  <a:lnTo>
                    <a:pt x="1439227" y="712565"/>
                  </a:lnTo>
                  <a:lnTo>
                    <a:pt x="1442752" y="702564"/>
                  </a:lnTo>
                  <a:lnTo>
                    <a:pt x="1444752" y="705517"/>
                  </a:lnTo>
                  <a:lnTo>
                    <a:pt x="1443609" y="708851"/>
                  </a:lnTo>
                  <a:lnTo>
                    <a:pt x="1446752" y="708470"/>
                  </a:lnTo>
                  <a:lnTo>
                    <a:pt x="1445800" y="713423"/>
                  </a:lnTo>
                  <a:lnTo>
                    <a:pt x="1446371" y="718090"/>
                  </a:lnTo>
                  <a:lnTo>
                    <a:pt x="1445038" y="719899"/>
                  </a:lnTo>
                  <a:lnTo>
                    <a:pt x="1437513" y="724090"/>
                  </a:lnTo>
                  <a:lnTo>
                    <a:pt x="1437704" y="725615"/>
                  </a:lnTo>
                  <a:lnTo>
                    <a:pt x="1439704" y="728567"/>
                  </a:lnTo>
                  <a:lnTo>
                    <a:pt x="1448372" y="733901"/>
                  </a:lnTo>
                  <a:lnTo>
                    <a:pt x="1467707" y="747427"/>
                  </a:lnTo>
                  <a:lnTo>
                    <a:pt x="1469136" y="745712"/>
                  </a:lnTo>
                  <a:lnTo>
                    <a:pt x="1472279" y="745236"/>
                  </a:lnTo>
                  <a:lnTo>
                    <a:pt x="1474470" y="749808"/>
                  </a:lnTo>
                  <a:lnTo>
                    <a:pt x="1475804" y="747998"/>
                  </a:lnTo>
                  <a:lnTo>
                    <a:pt x="1477613" y="749427"/>
                  </a:lnTo>
                  <a:lnTo>
                    <a:pt x="1479423" y="750761"/>
                  </a:lnTo>
                  <a:lnTo>
                    <a:pt x="1478185" y="754190"/>
                  </a:lnTo>
                  <a:lnTo>
                    <a:pt x="1481614" y="755332"/>
                  </a:lnTo>
                  <a:lnTo>
                    <a:pt x="1484376" y="751808"/>
                  </a:lnTo>
                  <a:lnTo>
                    <a:pt x="1488281" y="757714"/>
                  </a:lnTo>
                  <a:lnTo>
                    <a:pt x="1485710" y="762857"/>
                  </a:lnTo>
                  <a:lnTo>
                    <a:pt x="1487519" y="764191"/>
                  </a:lnTo>
                  <a:lnTo>
                    <a:pt x="1486567" y="769144"/>
                  </a:lnTo>
                  <a:lnTo>
                    <a:pt x="1488567" y="772097"/>
                  </a:lnTo>
                  <a:lnTo>
                    <a:pt x="1485138" y="770953"/>
                  </a:lnTo>
                  <a:lnTo>
                    <a:pt x="1480661" y="773049"/>
                  </a:lnTo>
                  <a:lnTo>
                    <a:pt x="1476470" y="778383"/>
                  </a:lnTo>
                  <a:lnTo>
                    <a:pt x="1485995" y="790003"/>
                  </a:lnTo>
                  <a:lnTo>
                    <a:pt x="1487805" y="791432"/>
                  </a:lnTo>
                  <a:lnTo>
                    <a:pt x="1489615" y="792766"/>
                  </a:lnTo>
                  <a:lnTo>
                    <a:pt x="1489996" y="795909"/>
                  </a:lnTo>
                  <a:lnTo>
                    <a:pt x="1488758" y="799338"/>
                  </a:lnTo>
                  <a:lnTo>
                    <a:pt x="1487424" y="801053"/>
                  </a:lnTo>
                  <a:lnTo>
                    <a:pt x="1483900" y="798290"/>
                  </a:lnTo>
                  <a:lnTo>
                    <a:pt x="1484852" y="806196"/>
                  </a:lnTo>
                  <a:lnTo>
                    <a:pt x="1483328" y="806386"/>
                  </a:lnTo>
                  <a:lnTo>
                    <a:pt x="1482281" y="811340"/>
                  </a:lnTo>
                  <a:lnTo>
                    <a:pt x="1480756" y="811530"/>
                  </a:lnTo>
                  <a:lnTo>
                    <a:pt x="1480947" y="813149"/>
                  </a:lnTo>
                  <a:lnTo>
                    <a:pt x="1475613" y="821817"/>
                  </a:lnTo>
                  <a:lnTo>
                    <a:pt x="1479233" y="824579"/>
                  </a:lnTo>
                  <a:lnTo>
                    <a:pt x="1476185" y="826580"/>
                  </a:lnTo>
                  <a:lnTo>
                    <a:pt x="1466945" y="829342"/>
                  </a:lnTo>
                  <a:lnTo>
                    <a:pt x="1465421" y="829532"/>
                  </a:lnTo>
                  <a:lnTo>
                    <a:pt x="1465802" y="832676"/>
                  </a:lnTo>
                  <a:lnTo>
                    <a:pt x="1465802" y="832676"/>
                  </a:lnTo>
                  <a:lnTo>
                    <a:pt x="1464659" y="836105"/>
                  </a:lnTo>
                  <a:lnTo>
                    <a:pt x="1469708" y="838581"/>
                  </a:lnTo>
                  <a:lnTo>
                    <a:pt x="1468946" y="845153"/>
                  </a:lnTo>
                  <a:lnTo>
                    <a:pt x="1467993" y="850106"/>
                  </a:lnTo>
                  <a:lnTo>
                    <a:pt x="1469803" y="851440"/>
                  </a:lnTo>
                  <a:lnTo>
                    <a:pt x="1469041" y="857917"/>
                  </a:lnTo>
                  <a:lnTo>
                    <a:pt x="1467422" y="858203"/>
                  </a:lnTo>
                  <a:lnTo>
                    <a:pt x="1465421" y="855250"/>
                  </a:lnTo>
                  <a:lnTo>
                    <a:pt x="1462850" y="860298"/>
                  </a:lnTo>
                  <a:lnTo>
                    <a:pt x="1466469" y="863060"/>
                  </a:lnTo>
                  <a:lnTo>
                    <a:pt x="1466660" y="864680"/>
                  </a:lnTo>
                  <a:lnTo>
                    <a:pt x="1467231" y="869442"/>
                  </a:lnTo>
                  <a:lnTo>
                    <a:pt x="1464088" y="869823"/>
                  </a:lnTo>
                  <a:lnTo>
                    <a:pt x="1462754" y="871633"/>
                  </a:lnTo>
                  <a:lnTo>
                    <a:pt x="1463326" y="876300"/>
                  </a:lnTo>
                  <a:lnTo>
                    <a:pt x="1463516" y="877919"/>
                  </a:lnTo>
                  <a:lnTo>
                    <a:pt x="1459421" y="883253"/>
                  </a:lnTo>
                  <a:lnTo>
                    <a:pt x="1455610" y="878872"/>
                  </a:lnTo>
                  <a:lnTo>
                    <a:pt x="1447990" y="881539"/>
                  </a:lnTo>
                  <a:lnTo>
                    <a:pt x="1448181" y="883063"/>
                  </a:lnTo>
                  <a:lnTo>
                    <a:pt x="1449896" y="884491"/>
                  </a:lnTo>
                  <a:lnTo>
                    <a:pt x="1448372" y="884682"/>
                  </a:lnTo>
                  <a:lnTo>
                    <a:pt x="1448943" y="889349"/>
                  </a:lnTo>
                  <a:lnTo>
                    <a:pt x="1444466" y="891540"/>
                  </a:lnTo>
                  <a:lnTo>
                    <a:pt x="1441228" y="892016"/>
                  </a:lnTo>
                  <a:lnTo>
                    <a:pt x="1441704" y="895160"/>
                  </a:lnTo>
                  <a:lnTo>
                    <a:pt x="1440085" y="895350"/>
                  </a:lnTo>
                  <a:lnTo>
                    <a:pt x="1436084" y="889445"/>
                  </a:lnTo>
                  <a:lnTo>
                    <a:pt x="1431036" y="886873"/>
                  </a:lnTo>
                  <a:lnTo>
                    <a:pt x="1428083" y="888873"/>
                  </a:lnTo>
                  <a:lnTo>
                    <a:pt x="1418177" y="899732"/>
                  </a:lnTo>
                  <a:lnTo>
                    <a:pt x="1418558" y="902875"/>
                  </a:lnTo>
                  <a:lnTo>
                    <a:pt x="1413701" y="901922"/>
                  </a:lnTo>
                  <a:lnTo>
                    <a:pt x="1411129" y="907066"/>
                  </a:lnTo>
                  <a:lnTo>
                    <a:pt x="1407223" y="913924"/>
                  </a:lnTo>
                  <a:lnTo>
                    <a:pt x="1407795" y="918686"/>
                  </a:lnTo>
                  <a:lnTo>
                    <a:pt x="1409795" y="921639"/>
                  </a:lnTo>
                  <a:lnTo>
                    <a:pt x="1414463" y="921068"/>
                  </a:lnTo>
                  <a:lnTo>
                    <a:pt x="1417606" y="920591"/>
                  </a:lnTo>
                  <a:lnTo>
                    <a:pt x="1416653" y="925544"/>
                  </a:lnTo>
                  <a:lnTo>
                    <a:pt x="1420273" y="928307"/>
                  </a:lnTo>
                  <a:lnTo>
                    <a:pt x="1419225" y="933260"/>
                  </a:lnTo>
                  <a:lnTo>
                    <a:pt x="1424368" y="935831"/>
                  </a:lnTo>
                  <a:lnTo>
                    <a:pt x="1421416" y="937832"/>
                  </a:lnTo>
                  <a:lnTo>
                    <a:pt x="1421892" y="940975"/>
                  </a:lnTo>
                  <a:lnTo>
                    <a:pt x="1419130" y="944499"/>
                  </a:lnTo>
                  <a:lnTo>
                    <a:pt x="1415891" y="944880"/>
                  </a:lnTo>
                  <a:lnTo>
                    <a:pt x="1413224" y="948499"/>
                  </a:lnTo>
                  <a:lnTo>
                    <a:pt x="1413415" y="950024"/>
                  </a:lnTo>
                  <a:lnTo>
                    <a:pt x="1409795" y="947261"/>
                  </a:lnTo>
                  <a:lnTo>
                    <a:pt x="1408271" y="947452"/>
                  </a:lnTo>
                  <a:lnTo>
                    <a:pt x="1406462" y="946118"/>
                  </a:lnTo>
                  <a:lnTo>
                    <a:pt x="1401889" y="948309"/>
                  </a:lnTo>
                  <a:lnTo>
                    <a:pt x="1394841" y="942785"/>
                  </a:lnTo>
                  <a:lnTo>
                    <a:pt x="1395413" y="947547"/>
                  </a:lnTo>
                  <a:lnTo>
                    <a:pt x="1392269" y="947928"/>
                  </a:lnTo>
                  <a:lnTo>
                    <a:pt x="1388745" y="945166"/>
                  </a:lnTo>
                  <a:lnTo>
                    <a:pt x="1387888" y="938879"/>
                  </a:lnTo>
                  <a:lnTo>
                    <a:pt x="1386554" y="940594"/>
                  </a:lnTo>
                  <a:lnTo>
                    <a:pt x="1384744" y="939260"/>
                  </a:lnTo>
                  <a:lnTo>
                    <a:pt x="1382363" y="946023"/>
                  </a:lnTo>
                  <a:lnTo>
                    <a:pt x="1378268" y="951357"/>
                  </a:lnTo>
                  <a:lnTo>
                    <a:pt x="1375886" y="958024"/>
                  </a:lnTo>
                  <a:lnTo>
                    <a:pt x="1377696" y="959453"/>
                  </a:lnTo>
                  <a:lnTo>
                    <a:pt x="1374934" y="962978"/>
                  </a:lnTo>
                  <a:lnTo>
                    <a:pt x="1375696" y="969264"/>
                  </a:lnTo>
                  <a:lnTo>
                    <a:pt x="1374172" y="969455"/>
                  </a:lnTo>
                  <a:lnTo>
                    <a:pt x="1373600" y="964787"/>
                  </a:lnTo>
                  <a:lnTo>
                    <a:pt x="1368647" y="963740"/>
                  </a:lnTo>
                  <a:lnTo>
                    <a:pt x="1361694" y="972693"/>
                  </a:lnTo>
                  <a:lnTo>
                    <a:pt x="1353026" y="967359"/>
                  </a:lnTo>
                  <a:lnTo>
                    <a:pt x="1345597" y="971550"/>
                  </a:lnTo>
                  <a:lnTo>
                    <a:pt x="1338453" y="978884"/>
                  </a:lnTo>
                  <a:lnTo>
                    <a:pt x="1336643" y="977456"/>
                  </a:lnTo>
                  <a:lnTo>
                    <a:pt x="1335310" y="979265"/>
                  </a:lnTo>
                  <a:lnTo>
                    <a:pt x="1330357" y="978218"/>
                  </a:lnTo>
                  <a:lnTo>
                    <a:pt x="1327214" y="978694"/>
                  </a:lnTo>
                  <a:lnTo>
                    <a:pt x="1326833" y="975551"/>
                  </a:lnTo>
                  <a:lnTo>
                    <a:pt x="1325880" y="980408"/>
                  </a:lnTo>
                  <a:lnTo>
                    <a:pt x="1325689" y="978884"/>
                  </a:lnTo>
                  <a:lnTo>
                    <a:pt x="1322451" y="979265"/>
                  </a:lnTo>
                  <a:lnTo>
                    <a:pt x="1317784" y="979837"/>
                  </a:lnTo>
                  <a:lnTo>
                    <a:pt x="1317022" y="986409"/>
                  </a:lnTo>
                  <a:lnTo>
                    <a:pt x="1313402" y="983647"/>
                  </a:lnTo>
                  <a:lnTo>
                    <a:pt x="1312069" y="985457"/>
                  </a:lnTo>
                  <a:lnTo>
                    <a:pt x="1314260" y="989933"/>
                  </a:lnTo>
                  <a:lnTo>
                    <a:pt x="1306544" y="992505"/>
                  </a:lnTo>
                  <a:lnTo>
                    <a:pt x="1306354" y="990981"/>
                  </a:lnTo>
                  <a:lnTo>
                    <a:pt x="1303592" y="994505"/>
                  </a:lnTo>
                  <a:lnTo>
                    <a:pt x="1301591" y="991553"/>
                  </a:lnTo>
                  <a:lnTo>
                    <a:pt x="1298639" y="993553"/>
                  </a:lnTo>
                  <a:lnTo>
                    <a:pt x="1298448" y="991934"/>
                  </a:lnTo>
                  <a:lnTo>
                    <a:pt x="1292162" y="992791"/>
                  </a:lnTo>
                  <a:lnTo>
                    <a:pt x="1291971" y="991172"/>
                  </a:lnTo>
                  <a:lnTo>
                    <a:pt x="1297400" y="984028"/>
                  </a:lnTo>
                  <a:lnTo>
                    <a:pt x="1295495" y="981075"/>
                  </a:lnTo>
                  <a:lnTo>
                    <a:pt x="1292257" y="981551"/>
                  </a:lnTo>
                  <a:lnTo>
                    <a:pt x="1289590" y="985076"/>
                  </a:lnTo>
                  <a:lnTo>
                    <a:pt x="1286161" y="983932"/>
                  </a:lnTo>
                  <a:lnTo>
                    <a:pt x="1283589" y="989076"/>
                  </a:lnTo>
                  <a:lnTo>
                    <a:pt x="1278922" y="989648"/>
                  </a:lnTo>
                  <a:lnTo>
                    <a:pt x="1277112" y="988219"/>
                  </a:lnTo>
                  <a:lnTo>
                    <a:pt x="1273207" y="995172"/>
                  </a:lnTo>
                  <a:lnTo>
                    <a:pt x="1271588" y="995362"/>
                  </a:lnTo>
                  <a:lnTo>
                    <a:pt x="1272064" y="998506"/>
                  </a:lnTo>
                  <a:lnTo>
                    <a:pt x="1275398" y="999744"/>
                  </a:lnTo>
                  <a:lnTo>
                    <a:pt x="1273969" y="1001459"/>
                  </a:lnTo>
                  <a:lnTo>
                    <a:pt x="1275969" y="1004411"/>
                  </a:lnTo>
                  <a:lnTo>
                    <a:pt x="1268444" y="1008602"/>
                  </a:lnTo>
                  <a:lnTo>
                    <a:pt x="1269683" y="1018032"/>
                  </a:lnTo>
                  <a:lnTo>
                    <a:pt x="1270540" y="1024414"/>
                  </a:lnTo>
                  <a:lnTo>
                    <a:pt x="1256729" y="1029367"/>
                  </a:lnTo>
                  <a:lnTo>
                    <a:pt x="1258634" y="1032320"/>
                  </a:lnTo>
                  <a:lnTo>
                    <a:pt x="1253395" y="1040987"/>
                  </a:lnTo>
                  <a:lnTo>
                    <a:pt x="1251776" y="1041178"/>
                  </a:lnTo>
                  <a:lnTo>
                    <a:pt x="1251394" y="1038035"/>
                  </a:lnTo>
                  <a:lnTo>
                    <a:pt x="1250061" y="1039844"/>
                  </a:lnTo>
                  <a:lnTo>
                    <a:pt x="1250061" y="1039844"/>
                  </a:lnTo>
                  <a:lnTo>
                    <a:pt x="1246823" y="1040225"/>
                  </a:lnTo>
                  <a:lnTo>
                    <a:pt x="1248632" y="1041559"/>
                  </a:lnTo>
                  <a:lnTo>
                    <a:pt x="1245489" y="1042035"/>
                  </a:lnTo>
                  <a:lnTo>
                    <a:pt x="1247489" y="1044988"/>
                  </a:lnTo>
                  <a:lnTo>
                    <a:pt x="1244727" y="1048512"/>
                  </a:lnTo>
                  <a:lnTo>
                    <a:pt x="1243775" y="1053465"/>
                  </a:lnTo>
                  <a:lnTo>
                    <a:pt x="1242536" y="1056799"/>
                  </a:lnTo>
                  <a:lnTo>
                    <a:pt x="1244727" y="1061371"/>
                  </a:lnTo>
                  <a:lnTo>
                    <a:pt x="1242822" y="1071182"/>
                  </a:lnTo>
                  <a:lnTo>
                    <a:pt x="1245013" y="1075754"/>
                  </a:lnTo>
                  <a:lnTo>
                    <a:pt x="1243965" y="1080707"/>
                  </a:lnTo>
                  <a:lnTo>
                    <a:pt x="1247585" y="1083469"/>
                  </a:lnTo>
                  <a:lnTo>
                    <a:pt x="1245965" y="1083659"/>
                  </a:lnTo>
                  <a:lnTo>
                    <a:pt x="1248537" y="1091375"/>
                  </a:lnTo>
                  <a:lnTo>
                    <a:pt x="1251680" y="1090898"/>
                  </a:lnTo>
                  <a:lnTo>
                    <a:pt x="1255681" y="1084040"/>
                  </a:lnTo>
                  <a:lnTo>
                    <a:pt x="1263587" y="1095851"/>
                  </a:lnTo>
                  <a:lnTo>
                    <a:pt x="1271302" y="1093280"/>
                  </a:lnTo>
                  <a:lnTo>
                    <a:pt x="1282541" y="1093375"/>
                  </a:lnTo>
                  <a:lnTo>
                    <a:pt x="1281493" y="1098328"/>
                  </a:lnTo>
                  <a:lnTo>
                    <a:pt x="1285875" y="1107377"/>
                  </a:lnTo>
                  <a:lnTo>
                    <a:pt x="1293590" y="1117664"/>
                  </a:lnTo>
                  <a:lnTo>
                    <a:pt x="1294257" y="1122426"/>
                  </a:lnTo>
                  <a:lnTo>
                    <a:pt x="1291304" y="1124331"/>
                  </a:lnTo>
                  <a:lnTo>
                    <a:pt x="1290066" y="1127760"/>
                  </a:lnTo>
                  <a:lnTo>
                    <a:pt x="1293876" y="1132046"/>
                  </a:lnTo>
                  <a:lnTo>
                    <a:pt x="1290161" y="1140524"/>
                  </a:lnTo>
                  <a:lnTo>
                    <a:pt x="1286542" y="1137761"/>
                  </a:lnTo>
                  <a:lnTo>
                    <a:pt x="1287209" y="1142524"/>
                  </a:lnTo>
                  <a:lnTo>
                    <a:pt x="1285399" y="1141190"/>
                  </a:lnTo>
                  <a:lnTo>
                    <a:pt x="1285589" y="1142714"/>
                  </a:lnTo>
                  <a:lnTo>
                    <a:pt x="1283970" y="1142905"/>
                  </a:lnTo>
                  <a:lnTo>
                    <a:pt x="1279684" y="1146715"/>
                  </a:lnTo>
                  <a:lnTo>
                    <a:pt x="1280255" y="1151477"/>
                  </a:lnTo>
                  <a:lnTo>
                    <a:pt x="1274159" y="1153859"/>
                  </a:lnTo>
                  <a:lnTo>
                    <a:pt x="1273969" y="1152239"/>
                  </a:lnTo>
                  <a:lnTo>
                    <a:pt x="1270826" y="1152620"/>
                  </a:lnTo>
                  <a:lnTo>
                    <a:pt x="1266254" y="1154811"/>
                  </a:lnTo>
                  <a:lnTo>
                    <a:pt x="1264253" y="1151858"/>
                  </a:lnTo>
                  <a:lnTo>
                    <a:pt x="1261586" y="1155383"/>
                  </a:lnTo>
                  <a:lnTo>
                    <a:pt x="1259110" y="1149287"/>
                  </a:lnTo>
                  <a:lnTo>
                    <a:pt x="1252252" y="1145381"/>
                  </a:lnTo>
                  <a:lnTo>
                    <a:pt x="1251109" y="1148715"/>
                  </a:lnTo>
                  <a:lnTo>
                    <a:pt x="1246156" y="1147762"/>
                  </a:lnTo>
                  <a:lnTo>
                    <a:pt x="1247108" y="1155668"/>
                  </a:lnTo>
                  <a:lnTo>
                    <a:pt x="1247108" y="1155668"/>
                  </a:lnTo>
                  <a:lnTo>
                    <a:pt x="1244156" y="1157669"/>
                  </a:lnTo>
                  <a:lnTo>
                    <a:pt x="1240631" y="1154906"/>
                  </a:lnTo>
                  <a:lnTo>
                    <a:pt x="1241774" y="1151573"/>
                  </a:lnTo>
                  <a:lnTo>
                    <a:pt x="1237107" y="1152144"/>
                  </a:lnTo>
                  <a:lnTo>
                    <a:pt x="1237488" y="1155287"/>
                  </a:lnTo>
                  <a:lnTo>
                    <a:pt x="1241012" y="1158050"/>
                  </a:lnTo>
                  <a:lnTo>
                    <a:pt x="1240060" y="1163003"/>
                  </a:lnTo>
                  <a:lnTo>
                    <a:pt x="1235297" y="1163574"/>
                  </a:lnTo>
                  <a:lnTo>
                    <a:pt x="1235678" y="1166717"/>
                  </a:lnTo>
                  <a:lnTo>
                    <a:pt x="1234345" y="1168527"/>
                  </a:lnTo>
                  <a:lnTo>
                    <a:pt x="1233202" y="1171861"/>
                  </a:lnTo>
                  <a:lnTo>
                    <a:pt x="1235107" y="1174814"/>
                  </a:lnTo>
                  <a:lnTo>
                    <a:pt x="1233773" y="1176623"/>
                  </a:lnTo>
                  <a:lnTo>
                    <a:pt x="1233964" y="1178147"/>
                  </a:lnTo>
                  <a:lnTo>
                    <a:pt x="1225868" y="1177576"/>
                  </a:lnTo>
                  <a:lnTo>
                    <a:pt x="1225296" y="1172909"/>
                  </a:lnTo>
                  <a:lnTo>
                    <a:pt x="1222915" y="1166812"/>
                  </a:lnTo>
                  <a:lnTo>
                    <a:pt x="1215962" y="1162812"/>
                  </a:lnTo>
                  <a:lnTo>
                    <a:pt x="1216343" y="1165955"/>
                  </a:lnTo>
                  <a:lnTo>
                    <a:pt x="1214628" y="1164622"/>
                  </a:lnTo>
                  <a:lnTo>
                    <a:pt x="1214818" y="1166146"/>
                  </a:lnTo>
                  <a:lnTo>
                    <a:pt x="1211675" y="1166622"/>
                  </a:lnTo>
                  <a:lnTo>
                    <a:pt x="1206913" y="1167194"/>
                  </a:lnTo>
                  <a:lnTo>
                    <a:pt x="1205103" y="1165860"/>
                  </a:lnTo>
                  <a:lnTo>
                    <a:pt x="1203103" y="1162907"/>
                  </a:lnTo>
                  <a:lnTo>
                    <a:pt x="1202912" y="1161288"/>
                  </a:lnTo>
                  <a:lnTo>
                    <a:pt x="1198245" y="1161860"/>
                  </a:lnTo>
                  <a:lnTo>
                    <a:pt x="1199198" y="1157002"/>
                  </a:lnTo>
                  <a:lnTo>
                    <a:pt x="1200722" y="1156716"/>
                  </a:lnTo>
                  <a:lnTo>
                    <a:pt x="1202150" y="1155002"/>
                  </a:lnTo>
                  <a:lnTo>
                    <a:pt x="1197388" y="1155573"/>
                  </a:lnTo>
                  <a:lnTo>
                    <a:pt x="1196245" y="1158907"/>
                  </a:lnTo>
                  <a:lnTo>
                    <a:pt x="1194435" y="1157573"/>
                  </a:lnTo>
                  <a:lnTo>
                    <a:pt x="1191292" y="1157954"/>
                  </a:lnTo>
                  <a:lnTo>
                    <a:pt x="1192339" y="1165860"/>
                  </a:lnTo>
                  <a:lnTo>
                    <a:pt x="1187196" y="1163288"/>
                  </a:lnTo>
                  <a:lnTo>
                    <a:pt x="1179481" y="1165860"/>
                  </a:lnTo>
                  <a:lnTo>
                    <a:pt x="1177862" y="1166051"/>
                  </a:lnTo>
                  <a:lnTo>
                    <a:pt x="1178338" y="1169194"/>
                  </a:lnTo>
                  <a:lnTo>
                    <a:pt x="1175099" y="1169670"/>
                  </a:lnTo>
                  <a:lnTo>
                    <a:pt x="1171575" y="1166908"/>
                  </a:lnTo>
                  <a:lnTo>
                    <a:pt x="1170432" y="1170241"/>
                  </a:lnTo>
                  <a:lnTo>
                    <a:pt x="1167289" y="1170623"/>
                  </a:lnTo>
                  <a:lnTo>
                    <a:pt x="1163860" y="1169480"/>
                  </a:lnTo>
                  <a:lnTo>
                    <a:pt x="1157954" y="1173385"/>
                  </a:lnTo>
                  <a:lnTo>
                    <a:pt x="1150715" y="1166336"/>
                  </a:lnTo>
                  <a:lnTo>
                    <a:pt x="1146143" y="1168527"/>
                  </a:lnTo>
                  <a:lnTo>
                    <a:pt x="1143952" y="1163955"/>
                  </a:lnTo>
                  <a:lnTo>
                    <a:pt x="1137856" y="1166336"/>
                  </a:lnTo>
                  <a:lnTo>
                    <a:pt x="1136618" y="1169765"/>
                  </a:lnTo>
                  <a:lnTo>
                    <a:pt x="1134904" y="1168337"/>
                  </a:lnTo>
                  <a:lnTo>
                    <a:pt x="1133475" y="1170146"/>
                  </a:lnTo>
                  <a:lnTo>
                    <a:pt x="1131284" y="1165574"/>
                  </a:lnTo>
                  <a:lnTo>
                    <a:pt x="1129760" y="1165765"/>
                  </a:lnTo>
                  <a:lnTo>
                    <a:pt x="1129951" y="1167384"/>
                  </a:lnTo>
                  <a:lnTo>
                    <a:pt x="1124807" y="1164812"/>
                  </a:lnTo>
                  <a:lnTo>
                    <a:pt x="1126236" y="1163098"/>
                  </a:lnTo>
                  <a:lnTo>
                    <a:pt x="1120902" y="1158907"/>
                  </a:lnTo>
                  <a:lnTo>
                    <a:pt x="1120616" y="1157383"/>
                  </a:lnTo>
                  <a:lnTo>
                    <a:pt x="1108234" y="1160526"/>
                  </a:lnTo>
                  <a:lnTo>
                    <a:pt x="1101947" y="1161288"/>
                  </a:lnTo>
                  <a:lnTo>
                    <a:pt x="1096804" y="1171575"/>
                  </a:lnTo>
                  <a:lnTo>
                    <a:pt x="1100328" y="1174337"/>
                  </a:lnTo>
                  <a:lnTo>
                    <a:pt x="1105281" y="1175290"/>
                  </a:lnTo>
                  <a:lnTo>
                    <a:pt x="1109281" y="1181195"/>
                  </a:lnTo>
                  <a:lnTo>
                    <a:pt x="1107853" y="1183005"/>
                  </a:lnTo>
                  <a:lnTo>
                    <a:pt x="1110043" y="1187577"/>
                  </a:lnTo>
                  <a:lnTo>
                    <a:pt x="1108710" y="1189291"/>
                  </a:lnTo>
                  <a:lnTo>
                    <a:pt x="1102614" y="1191673"/>
                  </a:lnTo>
                  <a:lnTo>
                    <a:pt x="1091089" y="1189958"/>
                  </a:lnTo>
                  <a:lnTo>
                    <a:pt x="1088612" y="1195102"/>
                  </a:lnTo>
                  <a:lnTo>
                    <a:pt x="1081468" y="1189577"/>
                  </a:lnTo>
                  <a:lnTo>
                    <a:pt x="1076706" y="1190244"/>
                  </a:lnTo>
                  <a:lnTo>
                    <a:pt x="1073944" y="1193768"/>
                  </a:lnTo>
                  <a:lnTo>
                    <a:pt x="1074801" y="1200055"/>
                  </a:lnTo>
                  <a:lnTo>
                    <a:pt x="1073372" y="1201865"/>
                  </a:lnTo>
                  <a:lnTo>
                    <a:pt x="1072039" y="1203579"/>
                  </a:lnTo>
                  <a:lnTo>
                    <a:pt x="1075563" y="1206341"/>
                  </a:lnTo>
                  <a:lnTo>
                    <a:pt x="1079754" y="1213866"/>
                  </a:lnTo>
                  <a:lnTo>
                    <a:pt x="1076611" y="1214247"/>
                  </a:lnTo>
                  <a:lnTo>
                    <a:pt x="1071848" y="1214914"/>
                  </a:lnTo>
                  <a:lnTo>
                    <a:pt x="1070515" y="1216628"/>
                  </a:lnTo>
                  <a:lnTo>
                    <a:pt x="1071277" y="1223010"/>
                  </a:lnTo>
                  <a:lnTo>
                    <a:pt x="1066514" y="1223582"/>
                  </a:lnTo>
                  <a:lnTo>
                    <a:pt x="1065562" y="1228535"/>
                  </a:lnTo>
                  <a:lnTo>
                    <a:pt x="1064038" y="1228725"/>
                  </a:lnTo>
                  <a:lnTo>
                    <a:pt x="1058894" y="1226153"/>
                  </a:lnTo>
                  <a:lnTo>
                    <a:pt x="1056323" y="1231297"/>
                  </a:lnTo>
                  <a:lnTo>
                    <a:pt x="1051369" y="1230344"/>
                  </a:lnTo>
                  <a:lnTo>
                    <a:pt x="1048988" y="1224248"/>
                  </a:lnTo>
                  <a:lnTo>
                    <a:pt x="1041844" y="1218724"/>
                  </a:lnTo>
                  <a:lnTo>
                    <a:pt x="1046226" y="1214914"/>
                  </a:lnTo>
                  <a:lnTo>
                    <a:pt x="1041083" y="1212342"/>
                  </a:lnTo>
                  <a:lnTo>
                    <a:pt x="1039082" y="1209389"/>
                  </a:lnTo>
                  <a:lnTo>
                    <a:pt x="1040511" y="1207675"/>
                  </a:lnTo>
                  <a:lnTo>
                    <a:pt x="1038701" y="1206246"/>
                  </a:lnTo>
                  <a:lnTo>
                    <a:pt x="1036892" y="1204912"/>
                  </a:lnTo>
                  <a:lnTo>
                    <a:pt x="1035463" y="1193864"/>
                  </a:lnTo>
                  <a:lnTo>
                    <a:pt x="1031176" y="1197578"/>
                  </a:lnTo>
                  <a:lnTo>
                    <a:pt x="1032319" y="1194245"/>
                  </a:lnTo>
                  <a:lnTo>
                    <a:pt x="1031938" y="1191101"/>
                  </a:lnTo>
                  <a:lnTo>
                    <a:pt x="1030319" y="1191292"/>
                  </a:lnTo>
                  <a:lnTo>
                    <a:pt x="1031748" y="1189482"/>
                  </a:lnTo>
                  <a:lnTo>
                    <a:pt x="1031176" y="1184815"/>
                  </a:lnTo>
                  <a:lnTo>
                    <a:pt x="1026223" y="1183767"/>
                  </a:lnTo>
                  <a:lnTo>
                    <a:pt x="1029367" y="1183386"/>
                  </a:lnTo>
                  <a:lnTo>
                    <a:pt x="1032510" y="1183005"/>
                  </a:lnTo>
                  <a:lnTo>
                    <a:pt x="1032319" y="1181386"/>
                  </a:lnTo>
                  <a:lnTo>
                    <a:pt x="1025557" y="1179100"/>
                  </a:lnTo>
                  <a:lnTo>
                    <a:pt x="1025176" y="1175957"/>
                  </a:lnTo>
                  <a:lnTo>
                    <a:pt x="1024223" y="1180814"/>
                  </a:lnTo>
                  <a:lnTo>
                    <a:pt x="1021080" y="1181291"/>
                  </a:lnTo>
                  <a:lnTo>
                    <a:pt x="1019080" y="1178338"/>
                  </a:lnTo>
                  <a:lnTo>
                    <a:pt x="1016127" y="1180243"/>
                  </a:lnTo>
                  <a:lnTo>
                    <a:pt x="1012603" y="1190339"/>
                  </a:lnTo>
                  <a:lnTo>
                    <a:pt x="1014413" y="1191768"/>
                  </a:lnTo>
                  <a:lnTo>
                    <a:pt x="1012984" y="1193483"/>
                  </a:lnTo>
                  <a:lnTo>
                    <a:pt x="1009650" y="1192340"/>
                  </a:lnTo>
                  <a:lnTo>
                    <a:pt x="1009079" y="1187577"/>
                  </a:lnTo>
                  <a:lnTo>
                    <a:pt x="1005268" y="1183291"/>
                  </a:lnTo>
                  <a:lnTo>
                    <a:pt x="1003744" y="1183481"/>
                  </a:lnTo>
                  <a:lnTo>
                    <a:pt x="998601" y="1180910"/>
                  </a:lnTo>
                  <a:lnTo>
                    <a:pt x="992791" y="1173671"/>
                  </a:lnTo>
                  <a:lnTo>
                    <a:pt x="988219" y="1163003"/>
                  </a:lnTo>
                  <a:lnTo>
                    <a:pt x="985076" y="1163384"/>
                  </a:lnTo>
                  <a:lnTo>
                    <a:pt x="981932" y="1163765"/>
                  </a:lnTo>
                  <a:lnTo>
                    <a:pt x="965359" y="1159478"/>
                  </a:lnTo>
                  <a:lnTo>
                    <a:pt x="962977" y="1153382"/>
                  </a:lnTo>
                  <a:lnTo>
                    <a:pt x="953643" y="1143286"/>
                  </a:lnTo>
                  <a:lnTo>
                    <a:pt x="955072" y="1141571"/>
                  </a:lnTo>
                  <a:lnTo>
                    <a:pt x="953262" y="1140143"/>
                  </a:lnTo>
                  <a:lnTo>
                    <a:pt x="952500" y="1146715"/>
                  </a:lnTo>
                  <a:lnTo>
                    <a:pt x="951738" y="1153192"/>
                  </a:lnTo>
                  <a:lnTo>
                    <a:pt x="943832" y="1154240"/>
                  </a:lnTo>
                  <a:lnTo>
                    <a:pt x="944023" y="1155764"/>
                  </a:lnTo>
                  <a:lnTo>
                    <a:pt x="941070" y="1157764"/>
                  </a:lnTo>
                  <a:lnTo>
                    <a:pt x="941260" y="1159383"/>
                  </a:lnTo>
                  <a:lnTo>
                    <a:pt x="939546" y="1157954"/>
                  </a:lnTo>
                  <a:lnTo>
                    <a:pt x="936784" y="1161479"/>
                  </a:lnTo>
                  <a:lnTo>
                    <a:pt x="936974" y="1163098"/>
                  </a:lnTo>
                  <a:lnTo>
                    <a:pt x="940118" y="1162717"/>
                  </a:lnTo>
                  <a:lnTo>
                    <a:pt x="939546" y="1170813"/>
                  </a:lnTo>
                  <a:lnTo>
                    <a:pt x="927926" y="1167479"/>
                  </a:lnTo>
                  <a:lnTo>
                    <a:pt x="928306" y="1170623"/>
                  </a:lnTo>
                  <a:lnTo>
                    <a:pt x="930116" y="1171956"/>
                  </a:lnTo>
                  <a:lnTo>
                    <a:pt x="925354" y="1172623"/>
                  </a:lnTo>
                  <a:lnTo>
                    <a:pt x="926878" y="1172432"/>
                  </a:lnTo>
                  <a:lnTo>
                    <a:pt x="928878" y="1175385"/>
                  </a:lnTo>
                  <a:lnTo>
                    <a:pt x="927544" y="1177100"/>
                  </a:lnTo>
                  <a:lnTo>
                    <a:pt x="930878" y="1178338"/>
                  </a:lnTo>
                  <a:lnTo>
                    <a:pt x="928306" y="1183481"/>
                  </a:lnTo>
                  <a:lnTo>
                    <a:pt x="930116" y="1184815"/>
                  </a:lnTo>
                  <a:lnTo>
                    <a:pt x="926973" y="1185196"/>
                  </a:lnTo>
                  <a:lnTo>
                    <a:pt x="925735" y="1188625"/>
                  </a:lnTo>
                  <a:lnTo>
                    <a:pt x="924211" y="1188815"/>
                  </a:lnTo>
                  <a:lnTo>
                    <a:pt x="923449" y="1195292"/>
                  </a:lnTo>
                  <a:lnTo>
                    <a:pt x="921830" y="1195483"/>
                  </a:lnTo>
                  <a:lnTo>
                    <a:pt x="920687" y="1198816"/>
                  </a:lnTo>
                  <a:lnTo>
                    <a:pt x="922210" y="1198626"/>
                  </a:lnTo>
                  <a:lnTo>
                    <a:pt x="922687" y="1201769"/>
                  </a:lnTo>
                  <a:lnTo>
                    <a:pt x="927544" y="1202817"/>
                  </a:lnTo>
                  <a:lnTo>
                    <a:pt x="925259" y="1209485"/>
                  </a:lnTo>
                  <a:lnTo>
                    <a:pt x="927259" y="1212437"/>
                  </a:lnTo>
                  <a:lnTo>
                    <a:pt x="930212" y="1210437"/>
                  </a:lnTo>
                  <a:lnTo>
                    <a:pt x="930593" y="1213676"/>
                  </a:lnTo>
                  <a:lnTo>
                    <a:pt x="928973" y="1213866"/>
                  </a:lnTo>
                  <a:lnTo>
                    <a:pt x="934117" y="1216343"/>
                  </a:lnTo>
                  <a:lnTo>
                    <a:pt x="934498" y="1219581"/>
                  </a:lnTo>
                  <a:lnTo>
                    <a:pt x="930021" y="1221677"/>
                  </a:lnTo>
                  <a:lnTo>
                    <a:pt x="934688" y="1221105"/>
                  </a:lnTo>
                  <a:lnTo>
                    <a:pt x="933355" y="1222915"/>
                  </a:lnTo>
                  <a:lnTo>
                    <a:pt x="928783" y="1225106"/>
                  </a:lnTo>
                  <a:lnTo>
                    <a:pt x="925449" y="1223867"/>
                  </a:lnTo>
                  <a:lnTo>
                    <a:pt x="924115" y="1225677"/>
                  </a:lnTo>
                  <a:lnTo>
                    <a:pt x="924306" y="1227296"/>
                  </a:lnTo>
                  <a:lnTo>
                    <a:pt x="916591" y="1229868"/>
                  </a:lnTo>
                  <a:lnTo>
                    <a:pt x="916781" y="1231392"/>
                  </a:lnTo>
                  <a:lnTo>
                    <a:pt x="913638" y="1231868"/>
                  </a:lnTo>
                  <a:lnTo>
                    <a:pt x="913257" y="1228630"/>
                  </a:lnTo>
                  <a:lnTo>
                    <a:pt x="906971" y="1229487"/>
                  </a:lnTo>
                  <a:lnTo>
                    <a:pt x="903542" y="1228249"/>
                  </a:lnTo>
                  <a:lnTo>
                    <a:pt x="902208" y="1230059"/>
                  </a:lnTo>
                  <a:lnTo>
                    <a:pt x="902589" y="1233202"/>
                  </a:lnTo>
                  <a:lnTo>
                    <a:pt x="897826" y="1233869"/>
                  </a:lnTo>
                  <a:lnTo>
                    <a:pt x="896302" y="1234059"/>
                  </a:lnTo>
                  <a:lnTo>
                    <a:pt x="895350" y="1239012"/>
                  </a:lnTo>
                  <a:lnTo>
                    <a:pt x="888206" y="1246251"/>
                  </a:lnTo>
                  <a:lnTo>
                    <a:pt x="884872" y="1245108"/>
                  </a:lnTo>
                  <a:lnTo>
                    <a:pt x="883730" y="1248442"/>
                  </a:lnTo>
                  <a:lnTo>
                    <a:pt x="878776" y="1247489"/>
                  </a:lnTo>
                  <a:lnTo>
                    <a:pt x="876014" y="1251014"/>
                  </a:lnTo>
                  <a:lnTo>
                    <a:pt x="876395" y="1254252"/>
                  </a:lnTo>
                  <a:lnTo>
                    <a:pt x="871633" y="1254824"/>
                  </a:lnTo>
                  <a:lnTo>
                    <a:pt x="877443" y="1262062"/>
                  </a:lnTo>
                  <a:lnTo>
                    <a:pt x="874681" y="1265682"/>
                  </a:lnTo>
                  <a:lnTo>
                    <a:pt x="873919" y="1272159"/>
                  </a:lnTo>
                  <a:lnTo>
                    <a:pt x="872490" y="1273969"/>
                  </a:lnTo>
                  <a:lnTo>
                    <a:pt x="866013" y="1273207"/>
                  </a:lnTo>
                  <a:lnTo>
                    <a:pt x="864013" y="1270254"/>
                  </a:lnTo>
                  <a:lnTo>
                    <a:pt x="865156" y="1266825"/>
                  </a:lnTo>
                  <a:lnTo>
                    <a:pt x="862393" y="1257586"/>
                  </a:lnTo>
                  <a:lnTo>
                    <a:pt x="857440" y="1256633"/>
                  </a:lnTo>
                  <a:lnTo>
                    <a:pt x="843820" y="1250347"/>
                  </a:lnTo>
                  <a:lnTo>
                    <a:pt x="830009" y="1255300"/>
                  </a:lnTo>
                  <a:lnTo>
                    <a:pt x="826865" y="1255681"/>
                  </a:lnTo>
                  <a:lnTo>
                    <a:pt x="824675" y="1251204"/>
                  </a:lnTo>
                  <a:lnTo>
                    <a:pt x="820007" y="1251776"/>
                  </a:lnTo>
                  <a:lnTo>
                    <a:pt x="819531" y="1248632"/>
                  </a:lnTo>
                  <a:lnTo>
                    <a:pt x="822484" y="1246632"/>
                  </a:lnTo>
                  <a:lnTo>
                    <a:pt x="825627" y="1246251"/>
                  </a:lnTo>
                  <a:lnTo>
                    <a:pt x="826675" y="1241298"/>
                  </a:lnTo>
                  <a:lnTo>
                    <a:pt x="829437" y="1237774"/>
                  </a:lnTo>
                  <a:lnTo>
                    <a:pt x="830009" y="1229678"/>
                  </a:lnTo>
                  <a:lnTo>
                    <a:pt x="829532" y="1226534"/>
                  </a:lnTo>
                  <a:lnTo>
                    <a:pt x="828008" y="1226725"/>
                  </a:lnTo>
                  <a:lnTo>
                    <a:pt x="826580" y="1228439"/>
                  </a:lnTo>
                  <a:lnTo>
                    <a:pt x="825627" y="1233392"/>
                  </a:lnTo>
                  <a:lnTo>
                    <a:pt x="822674" y="1235393"/>
                  </a:lnTo>
                  <a:lnTo>
                    <a:pt x="817721" y="1234440"/>
                  </a:lnTo>
                  <a:lnTo>
                    <a:pt x="818197" y="1237583"/>
                  </a:lnTo>
                  <a:lnTo>
                    <a:pt x="814959" y="1237964"/>
                  </a:lnTo>
                  <a:lnTo>
                    <a:pt x="815816" y="1231487"/>
                  </a:lnTo>
                  <a:lnTo>
                    <a:pt x="810673" y="1241774"/>
                  </a:lnTo>
                  <a:lnTo>
                    <a:pt x="805720" y="1240727"/>
                  </a:lnTo>
                  <a:lnTo>
                    <a:pt x="807148" y="1239012"/>
                  </a:lnTo>
                  <a:lnTo>
                    <a:pt x="805529" y="1239203"/>
                  </a:lnTo>
                  <a:lnTo>
                    <a:pt x="804196" y="1240917"/>
                  </a:lnTo>
                  <a:lnTo>
                    <a:pt x="802196" y="1237964"/>
                  </a:lnTo>
                  <a:lnTo>
                    <a:pt x="800767" y="1239774"/>
                  </a:lnTo>
                  <a:lnTo>
                    <a:pt x="799052" y="1238441"/>
                  </a:lnTo>
                  <a:lnTo>
                    <a:pt x="794099" y="1237393"/>
                  </a:lnTo>
                  <a:lnTo>
                    <a:pt x="792099" y="1234440"/>
                  </a:lnTo>
                  <a:lnTo>
                    <a:pt x="789146" y="1236440"/>
                  </a:lnTo>
                  <a:lnTo>
                    <a:pt x="786384" y="1240060"/>
                  </a:lnTo>
                  <a:lnTo>
                    <a:pt x="784193" y="1235488"/>
                  </a:lnTo>
                  <a:lnTo>
                    <a:pt x="782860" y="1237298"/>
                  </a:lnTo>
                  <a:lnTo>
                    <a:pt x="782384" y="1234154"/>
                  </a:lnTo>
                  <a:lnTo>
                    <a:pt x="777907" y="1236250"/>
                  </a:lnTo>
                  <a:lnTo>
                    <a:pt x="777716" y="1234726"/>
                  </a:lnTo>
                  <a:lnTo>
                    <a:pt x="774383" y="1233583"/>
                  </a:lnTo>
                  <a:lnTo>
                    <a:pt x="776668" y="1226820"/>
                  </a:lnTo>
                  <a:lnTo>
                    <a:pt x="774954" y="1225487"/>
                  </a:lnTo>
                  <a:lnTo>
                    <a:pt x="770192" y="1226058"/>
                  </a:lnTo>
                  <a:lnTo>
                    <a:pt x="767429" y="1229582"/>
                  </a:lnTo>
                  <a:lnTo>
                    <a:pt x="762476" y="1228630"/>
                  </a:lnTo>
                  <a:lnTo>
                    <a:pt x="753809" y="1223296"/>
                  </a:lnTo>
                  <a:lnTo>
                    <a:pt x="749046" y="1223962"/>
                  </a:lnTo>
                  <a:lnTo>
                    <a:pt x="750856" y="1225296"/>
                  </a:lnTo>
                  <a:lnTo>
                    <a:pt x="748475" y="1232059"/>
                  </a:lnTo>
                  <a:lnTo>
                    <a:pt x="742379" y="1234440"/>
                  </a:lnTo>
                  <a:lnTo>
                    <a:pt x="744379" y="1237393"/>
                  </a:lnTo>
                  <a:lnTo>
                    <a:pt x="747522" y="1236916"/>
                  </a:lnTo>
                  <a:lnTo>
                    <a:pt x="746093" y="1238726"/>
                  </a:lnTo>
                  <a:lnTo>
                    <a:pt x="744569" y="1238917"/>
                  </a:lnTo>
                  <a:lnTo>
                    <a:pt x="740759" y="1234631"/>
                  </a:lnTo>
                  <a:lnTo>
                    <a:pt x="739616" y="1237964"/>
                  </a:lnTo>
                  <a:lnTo>
                    <a:pt x="736092" y="1235202"/>
                  </a:lnTo>
                  <a:lnTo>
                    <a:pt x="735616" y="1232059"/>
                  </a:lnTo>
                  <a:lnTo>
                    <a:pt x="734092" y="1232249"/>
                  </a:lnTo>
                  <a:lnTo>
                    <a:pt x="731901" y="1227677"/>
                  </a:lnTo>
                  <a:lnTo>
                    <a:pt x="727138" y="1228344"/>
                  </a:lnTo>
                  <a:lnTo>
                    <a:pt x="726186" y="1220438"/>
                  </a:lnTo>
                  <a:lnTo>
                    <a:pt x="719804" y="1221200"/>
                  </a:lnTo>
                  <a:lnTo>
                    <a:pt x="718661" y="1224629"/>
                  </a:lnTo>
                  <a:lnTo>
                    <a:pt x="715518" y="1225010"/>
                  </a:lnTo>
                  <a:lnTo>
                    <a:pt x="707422" y="1211580"/>
                  </a:lnTo>
                  <a:lnTo>
                    <a:pt x="704279" y="1211961"/>
                  </a:lnTo>
                  <a:lnTo>
                    <a:pt x="700468" y="1207675"/>
                  </a:lnTo>
                  <a:lnTo>
                    <a:pt x="702850" y="1213771"/>
                  </a:lnTo>
                  <a:lnTo>
                    <a:pt x="701326" y="1213961"/>
                  </a:lnTo>
                  <a:lnTo>
                    <a:pt x="697706" y="1211199"/>
                  </a:lnTo>
                  <a:lnTo>
                    <a:pt x="696373" y="1213009"/>
                  </a:lnTo>
                  <a:lnTo>
                    <a:pt x="697897" y="1212818"/>
                  </a:lnTo>
                  <a:lnTo>
                    <a:pt x="702278" y="1221867"/>
                  </a:lnTo>
                  <a:lnTo>
                    <a:pt x="700945" y="1223677"/>
                  </a:lnTo>
                  <a:lnTo>
                    <a:pt x="702659" y="1225010"/>
                  </a:lnTo>
                  <a:lnTo>
                    <a:pt x="699897" y="1228630"/>
                  </a:lnTo>
                  <a:lnTo>
                    <a:pt x="701897" y="1231583"/>
                  </a:lnTo>
                  <a:lnTo>
                    <a:pt x="706660" y="1230916"/>
                  </a:lnTo>
                  <a:lnTo>
                    <a:pt x="705231" y="1232726"/>
                  </a:lnTo>
                  <a:lnTo>
                    <a:pt x="701897" y="1231583"/>
                  </a:lnTo>
                  <a:lnTo>
                    <a:pt x="702278" y="1234726"/>
                  </a:lnTo>
                  <a:lnTo>
                    <a:pt x="700754" y="1234916"/>
                  </a:lnTo>
                  <a:lnTo>
                    <a:pt x="698183" y="1227201"/>
                  </a:lnTo>
                  <a:lnTo>
                    <a:pt x="695039" y="1227582"/>
                  </a:lnTo>
                  <a:lnTo>
                    <a:pt x="691420" y="1224820"/>
                  </a:lnTo>
                  <a:lnTo>
                    <a:pt x="686752" y="1225487"/>
                  </a:lnTo>
                  <a:lnTo>
                    <a:pt x="685514" y="1228820"/>
                  </a:lnTo>
                  <a:lnTo>
                    <a:pt x="682180" y="1227677"/>
                  </a:lnTo>
                  <a:lnTo>
                    <a:pt x="682371" y="1229201"/>
                  </a:lnTo>
                  <a:lnTo>
                    <a:pt x="680752" y="1229392"/>
                  </a:lnTo>
                  <a:lnTo>
                    <a:pt x="682752" y="1232345"/>
                  </a:lnTo>
                  <a:lnTo>
                    <a:pt x="681228" y="1232535"/>
                  </a:lnTo>
                  <a:lnTo>
                    <a:pt x="681418" y="1234154"/>
                  </a:lnTo>
                  <a:lnTo>
                    <a:pt x="679609" y="1232821"/>
                  </a:lnTo>
                  <a:lnTo>
                    <a:pt x="679799" y="1234345"/>
                  </a:lnTo>
                  <a:lnTo>
                    <a:pt x="678466" y="1236155"/>
                  </a:lnTo>
                  <a:lnTo>
                    <a:pt x="676465" y="1233202"/>
                  </a:lnTo>
                  <a:lnTo>
                    <a:pt x="675132" y="1234916"/>
                  </a:lnTo>
                  <a:lnTo>
                    <a:pt x="672751" y="1241679"/>
                  </a:lnTo>
                  <a:lnTo>
                    <a:pt x="671131" y="1241870"/>
                  </a:lnTo>
                  <a:lnTo>
                    <a:pt x="672370" y="1238536"/>
                  </a:lnTo>
                  <a:lnTo>
                    <a:pt x="668941" y="1237298"/>
                  </a:lnTo>
                  <a:lnTo>
                    <a:pt x="666179" y="1240917"/>
                  </a:lnTo>
                  <a:lnTo>
                    <a:pt x="665226" y="1245870"/>
                  </a:lnTo>
                  <a:lnTo>
                    <a:pt x="663702" y="1246061"/>
                  </a:lnTo>
                  <a:lnTo>
                    <a:pt x="663035" y="1241298"/>
                  </a:lnTo>
                  <a:lnTo>
                    <a:pt x="659892" y="1241679"/>
                  </a:lnTo>
                  <a:lnTo>
                    <a:pt x="659511" y="1238536"/>
                  </a:lnTo>
                  <a:lnTo>
                    <a:pt x="656177" y="1237393"/>
                  </a:lnTo>
                  <a:lnTo>
                    <a:pt x="648843" y="1243108"/>
                  </a:lnTo>
                  <a:lnTo>
                    <a:pt x="645509" y="1241965"/>
                  </a:lnTo>
                  <a:lnTo>
                    <a:pt x="643700" y="1240536"/>
                  </a:lnTo>
                  <a:lnTo>
                    <a:pt x="646843" y="1240155"/>
                  </a:lnTo>
                  <a:lnTo>
                    <a:pt x="648272" y="1238345"/>
                  </a:lnTo>
                  <a:lnTo>
                    <a:pt x="646081" y="1233869"/>
                  </a:lnTo>
                  <a:lnTo>
                    <a:pt x="648843" y="1230249"/>
                  </a:lnTo>
                  <a:lnTo>
                    <a:pt x="648462" y="1227106"/>
                  </a:lnTo>
                  <a:lnTo>
                    <a:pt x="645319" y="1227487"/>
                  </a:lnTo>
                  <a:lnTo>
                    <a:pt x="643509" y="1226153"/>
                  </a:lnTo>
                  <a:lnTo>
                    <a:pt x="641699" y="1224820"/>
                  </a:lnTo>
                  <a:lnTo>
                    <a:pt x="641699" y="1224820"/>
                  </a:lnTo>
                  <a:lnTo>
                    <a:pt x="639509" y="1220248"/>
                  </a:lnTo>
                  <a:lnTo>
                    <a:pt x="638175" y="1222058"/>
                  </a:lnTo>
                  <a:lnTo>
                    <a:pt x="631031" y="1216533"/>
                  </a:lnTo>
                  <a:lnTo>
                    <a:pt x="625316" y="1222058"/>
                  </a:lnTo>
                  <a:lnTo>
                    <a:pt x="623126" y="1217486"/>
                  </a:lnTo>
                  <a:lnTo>
                    <a:pt x="621792" y="1219295"/>
                  </a:lnTo>
                  <a:lnTo>
                    <a:pt x="621601" y="1217771"/>
                  </a:lnTo>
                  <a:lnTo>
                    <a:pt x="619792" y="1216343"/>
                  </a:lnTo>
                  <a:lnTo>
                    <a:pt x="620363" y="1208246"/>
                  </a:lnTo>
                  <a:lnTo>
                    <a:pt x="621697" y="1206437"/>
                  </a:lnTo>
                  <a:lnTo>
                    <a:pt x="616363" y="1202341"/>
                  </a:lnTo>
                  <a:lnTo>
                    <a:pt x="609886" y="1201579"/>
                  </a:lnTo>
                  <a:lnTo>
                    <a:pt x="609505" y="1198436"/>
                  </a:lnTo>
                  <a:lnTo>
                    <a:pt x="604933" y="1200626"/>
                  </a:lnTo>
                  <a:lnTo>
                    <a:pt x="602551" y="1194435"/>
                  </a:lnTo>
                  <a:lnTo>
                    <a:pt x="596837" y="1200055"/>
                  </a:lnTo>
                  <a:lnTo>
                    <a:pt x="593693" y="1200436"/>
                  </a:lnTo>
                  <a:lnTo>
                    <a:pt x="582835" y="1203389"/>
                  </a:lnTo>
                  <a:lnTo>
                    <a:pt x="580644" y="1198912"/>
                  </a:lnTo>
                  <a:lnTo>
                    <a:pt x="577882" y="1202436"/>
                  </a:lnTo>
                  <a:lnTo>
                    <a:pt x="574738" y="1202817"/>
                  </a:lnTo>
                  <a:lnTo>
                    <a:pt x="573405" y="1204627"/>
                  </a:lnTo>
                  <a:lnTo>
                    <a:pt x="573786" y="1207770"/>
                  </a:lnTo>
                  <a:lnTo>
                    <a:pt x="574834" y="1215676"/>
                  </a:lnTo>
                  <a:lnTo>
                    <a:pt x="570262" y="1217866"/>
                  </a:lnTo>
                  <a:lnTo>
                    <a:pt x="570643" y="1221010"/>
                  </a:lnTo>
                  <a:lnTo>
                    <a:pt x="566356" y="1224725"/>
                  </a:lnTo>
                  <a:lnTo>
                    <a:pt x="563213" y="1225201"/>
                  </a:lnTo>
                  <a:lnTo>
                    <a:pt x="563594" y="1228344"/>
                  </a:lnTo>
                  <a:lnTo>
                    <a:pt x="566547" y="1226344"/>
                  </a:lnTo>
                  <a:lnTo>
                    <a:pt x="560832" y="1231868"/>
                  </a:lnTo>
                  <a:lnTo>
                    <a:pt x="561404" y="1236631"/>
                  </a:lnTo>
                  <a:lnTo>
                    <a:pt x="556546" y="1235678"/>
                  </a:lnTo>
                  <a:lnTo>
                    <a:pt x="556069" y="1232440"/>
                  </a:lnTo>
                  <a:lnTo>
                    <a:pt x="559022" y="1230535"/>
                  </a:lnTo>
                  <a:lnTo>
                    <a:pt x="557308" y="1229106"/>
                  </a:lnTo>
                  <a:lnTo>
                    <a:pt x="551117" y="1231487"/>
                  </a:lnTo>
                  <a:lnTo>
                    <a:pt x="543306" y="1232535"/>
                  </a:lnTo>
                  <a:lnTo>
                    <a:pt x="540353" y="1234535"/>
                  </a:lnTo>
                  <a:lnTo>
                    <a:pt x="536924" y="1233297"/>
                  </a:lnTo>
                  <a:lnTo>
                    <a:pt x="532067" y="1232345"/>
                  </a:lnTo>
                  <a:lnTo>
                    <a:pt x="525685" y="1233107"/>
                  </a:lnTo>
                  <a:lnTo>
                    <a:pt x="522542" y="1233583"/>
                  </a:lnTo>
                  <a:lnTo>
                    <a:pt x="521398" y="1236916"/>
                  </a:lnTo>
                  <a:lnTo>
                    <a:pt x="514255" y="1231392"/>
                  </a:lnTo>
                  <a:lnTo>
                    <a:pt x="509492" y="1231964"/>
                  </a:lnTo>
                  <a:lnTo>
                    <a:pt x="501205" y="1229868"/>
                  </a:lnTo>
                  <a:lnTo>
                    <a:pt x="502444" y="1239298"/>
                  </a:lnTo>
                  <a:lnTo>
                    <a:pt x="497300" y="1236726"/>
                  </a:lnTo>
                  <a:lnTo>
                    <a:pt x="492728" y="1238917"/>
                  </a:lnTo>
                  <a:lnTo>
                    <a:pt x="491014" y="1237583"/>
                  </a:lnTo>
                  <a:lnTo>
                    <a:pt x="490633" y="1234440"/>
                  </a:lnTo>
                  <a:lnTo>
                    <a:pt x="491776" y="1231011"/>
                  </a:lnTo>
                  <a:lnTo>
                    <a:pt x="489775" y="1228058"/>
                  </a:lnTo>
                  <a:lnTo>
                    <a:pt x="486632" y="1228535"/>
                  </a:lnTo>
                  <a:lnTo>
                    <a:pt x="487394" y="1234821"/>
                  </a:lnTo>
                  <a:lnTo>
                    <a:pt x="486251" y="1238155"/>
                  </a:lnTo>
                  <a:lnTo>
                    <a:pt x="479774" y="1237393"/>
                  </a:lnTo>
                  <a:lnTo>
                    <a:pt x="478346" y="1239203"/>
                  </a:lnTo>
                  <a:lnTo>
                    <a:pt x="476345" y="1236250"/>
                  </a:lnTo>
                  <a:lnTo>
                    <a:pt x="470059" y="1237012"/>
                  </a:lnTo>
                  <a:lnTo>
                    <a:pt x="469868" y="1235488"/>
                  </a:lnTo>
                  <a:lnTo>
                    <a:pt x="466915" y="1237393"/>
                  </a:lnTo>
                  <a:lnTo>
                    <a:pt x="464915" y="1234440"/>
                  </a:lnTo>
                  <a:lnTo>
                    <a:pt x="463391" y="1234631"/>
                  </a:lnTo>
                  <a:lnTo>
                    <a:pt x="461010" y="1228535"/>
                  </a:lnTo>
                  <a:lnTo>
                    <a:pt x="461963" y="1223582"/>
                  </a:lnTo>
                  <a:lnTo>
                    <a:pt x="463296" y="1221867"/>
                  </a:lnTo>
                  <a:lnTo>
                    <a:pt x="462534" y="1215485"/>
                  </a:lnTo>
                  <a:lnTo>
                    <a:pt x="462153" y="1212342"/>
                  </a:lnTo>
                  <a:lnTo>
                    <a:pt x="463487" y="1210628"/>
                  </a:lnTo>
                  <a:lnTo>
                    <a:pt x="463105" y="1207484"/>
                  </a:lnTo>
                  <a:lnTo>
                    <a:pt x="467868" y="1206818"/>
                  </a:lnTo>
                  <a:lnTo>
                    <a:pt x="462915" y="1205865"/>
                  </a:lnTo>
                  <a:lnTo>
                    <a:pt x="457390" y="1200150"/>
                  </a:lnTo>
                  <a:lnTo>
                    <a:pt x="455962" y="1201960"/>
                  </a:lnTo>
                  <a:lnTo>
                    <a:pt x="446532" y="1203103"/>
                  </a:lnTo>
                  <a:lnTo>
                    <a:pt x="443198" y="1201960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1" name="Volný tvar: obrazec 20">
              <a:extLst>
                <a:ext uri="{FF2B5EF4-FFF2-40B4-BE49-F238E27FC236}">
                  <a16:creationId xmlns:a16="http://schemas.microsoft.com/office/drawing/2014/main" id="{F7E88035-DF8D-315F-9750-83B960E062C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37533" y="2694717"/>
              <a:ext cx="860393" cy="1348549"/>
            </a:xfrm>
            <a:custGeom>
              <a:avLst/>
              <a:gdLst>
                <a:gd name="connsiteX0" fmla="*/ 855250 w 860393"/>
                <a:gd name="connsiteY0" fmla="*/ 1022509 h 1348549"/>
                <a:gd name="connsiteX1" fmla="*/ 856012 w 860393"/>
                <a:gd name="connsiteY1" fmla="*/ 1016032 h 1348549"/>
                <a:gd name="connsiteX2" fmla="*/ 854202 w 860393"/>
                <a:gd name="connsiteY2" fmla="*/ 1014698 h 1348549"/>
                <a:gd name="connsiteX3" fmla="*/ 853821 w 860393"/>
                <a:gd name="connsiteY3" fmla="*/ 1011555 h 1348549"/>
                <a:gd name="connsiteX4" fmla="*/ 852202 w 860393"/>
                <a:gd name="connsiteY4" fmla="*/ 1011746 h 1348549"/>
                <a:gd name="connsiteX5" fmla="*/ 854583 w 860393"/>
                <a:gd name="connsiteY5" fmla="*/ 1004983 h 1348549"/>
                <a:gd name="connsiteX6" fmla="*/ 847439 w 860393"/>
                <a:gd name="connsiteY6" fmla="*/ 999458 h 1348549"/>
                <a:gd name="connsiteX7" fmla="*/ 850011 w 860393"/>
                <a:gd name="connsiteY7" fmla="*/ 994315 h 1348549"/>
                <a:gd name="connsiteX8" fmla="*/ 849821 w 860393"/>
                <a:gd name="connsiteY8" fmla="*/ 992791 h 1348549"/>
                <a:gd name="connsiteX9" fmla="*/ 846677 w 860393"/>
                <a:gd name="connsiteY9" fmla="*/ 993172 h 1348549"/>
                <a:gd name="connsiteX10" fmla="*/ 845725 w 860393"/>
                <a:gd name="connsiteY10" fmla="*/ 998125 h 1348549"/>
                <a:gd name="connsiteX11" fmla="*/ 835438 w 860393"/>
                <a:gd name="connsiteY11" fmla="*/ 992981 h 1348549"/>
                <a:gd name="connsiteX12" fmla="*/ 832675 w 860393"/>
                <a:gd name="connsiteY12" fmla="*/ 996601 h 1348549"/>
                <a:gd name="connsiteX13" fmla="*/ 833247 w 860393"/>
                <a:gd name="connsiteY13" fmla="*/ 1001268 h 1348549"/>
                <a:gd name="connsiteX14" fmla="*/ 828484 w 860393"/>
                <a:gd name="connsiteY14" fmla="*/ 1001935 h 1348549"/>
                <a:gd name="connsiteX15" fmla="*/ 827151 w 860393"/>
                <a:gd name="connsiteY15" fmla="*/ 1003649 h 1348549"/>
                <a:gd name="connsiteX16" fmla="*/ 822484 w 860393"/>
                <a:gd name="connsiteY16" fmla="*/ 1017080 h 1348549"/>
                <a:gd name="connsiteX17" fmla="*/ 815340 w 860393"/>
                <a:gd name="connsiteY17" fmla="*/ 1011555 h 1348549"/>
                <a:gd name="connsiteX18" fmla="*/ 814483 w 860393"/>
                <a:gd name="connsiteY18" fmla="*/ 1005268 h 1348549"/>
                <a:gd name="connsiteX19" fmla="*/ 810578 w 860393"/>
                <a:gd name="connsiteY19" fmla="*/ 999363 h 1348549"/>
                <a:gd name="connsiteX20" fmla="*/ 807434 w 860393"/>
                <a:gd name="connsiteY20" fmla="*/ 999744 h 1348549"/>
                <a:gd name="connsiteX21" fmla="*/ 806958 w 860393"/>
                <a:gd name="connsiteY21" fmla="*/ 996601 h 1348549"/>
                <a:gd name="connsiteX22" fmla="*/ 814102 w 860393"/>
                <a:gd name="connsiteY22" fmla="*/ 989267 h 1348549"/>
                <a:gd name="connsiteX23" fmla="*/ 819055 w 860393"/>
                <a:gd name="connsiteY23" fmla="*/ 990314 h 1348549"/>
                <a:gd name="connsiteX24" fmla="*/ 822960 w 860393"/>
                <a:gd name="connsiteY24" fmla="*/ 983361 h 1348549"/>
                <a:gd name="connsiteX25" fmla="*/ 819626 w 860393"/>
                <a:gd name="connsiteY25" fmla="*/ 982218 h 1348549"/>
                <a:gd name="connsiteX26" fmla="*/ 820769 w 860393"/>
                <a:gd name="connsiteY26" fmla="*/ 978789 h 1348549"/>
                <a:gd name="connsiteX27" fmla="*/ 819150 w 860393"/>
                <a:gd name="connsiteY27" fmla="*/ 979075 h 1348549"/>
                <a:gd name="connsiteX28" fmla="*/ 822103 w 860393"/>
                <a:gd name="connsiteY28" fmla="*/ 977075 h 1348549"/>
                <a:gd name="connsiteX29" fmla="*/ 818959 w 860393"/>
                <a:gd name="connsiteY29" fmla="*/ 977455 h 1348549"/>
                <a:gd name="connsiteX30" fmla="*/ 813816 w 860393"/>
                <a:gd name="connsiteY30" fmla="*/ 974884 h 1348549"/>
                <a:gd name="connsiteX31" fmla="*/ 814673 w 860393"/>
                <a:gd name="connsiteY31" fmla="*/ 968407 h 1348549"/>
                <a:gd name="connsiteX32" fmla="*/ 812863 w 860393"/>
                <a:gd name="connsiteY32" fmla="*/ 966978 h 1348549"/>
                <a:gd name="connsiteX33" fmla="*/ 809911 w 860393"/>
                <a:gd name="connsiteY33" fmla="*/ 968978 h 1348549"/>
                <a:gd name="connsiteX34" fmla="*/ 807720 w 860393"/>
                <a:gd name="connsiteY34" fmla="*/ 964501 h 1348549"/>
                <a:gd name="connsiteX35" fmla="*/ 809054 w 860393"/>
                <a:gd name="connsiteY35" fmla="*/ 962692 h 1348549"/>
                <a:gd name="connsiteX36" fmla="*/ 807530 w 860393"/>
                <a:gd name="connsiteY36" fmla="*/ 962882 h 1348549"/>
                <a:gd name="connsiteX37" fmla="*/ 806863 w 860393"/>
                <a:gd name="connsiteY37" fmla="*/ 958120 h 1348549"/>
                <a:gd name="connsiteX38" fmla="*/ 803720 w 860393"/>
                <a:gd name="connsiteY38" fmla="*/ 958501 h 1348549"/>
                <a:gd name="connsiteX39" fmla="*/ 801338 w 860393"/>
                <a:gd name="connsiteY39" fmla="*/ 952405 h 1348549"/>
                <a:gd name="connsiteX40" fmla="*/ 799433 w 860393"/>
                <a:gd name="connsiteY40" fmla="*/ 949452 h 1348549"/>
                <a:gd name="connsiteX41" fmla="*/ 795814 w 860393"/>
                <a:gd name="connsiteY41" fmla="*/ 946690 h 1348549"/>
                <a:gd name="connsiteX42" fmla="*/ 790289 w 860393"/>
                <a:gd name="connsiteY42" fmla="*/ 940975 h 1348549"/>
                <a:gd name="connsiteX43" fmla="*/ 785717 w 860393"/>
                <a:gd name="connsiteY43" fmla="*/ 930402 h 1348549"/>
                <a:gd name="connsiteX44" fmla="*/ 779240 w 860393"/>
                <a:gd name="connsiteY44" fmla="*/ 929640 h 1348549"/>
                <a:gd name="connsiteX45" fmla="*/ 770572 w 860393"/>
                <a:gd name="connsiteY45" fmla="*/ 924306 h 1348549"/>
                <a:gd name="connsiteX46" fmla="*/ 764762 w 860393"/>
                <a:gd name="connsiteY46" fmla="*/ 916972 h 1348549"/>
                <a:gd name="connsiteX47" fmla="*/ 761619 w 860393"/>
                <a:gd name="connsiteY47" fmla="*/ 917448 h 1348549"/>
                <a:gd name="connsiteX48" fmla="*/ 758857 w 860393"/>
                <a:gd name="connsiteY48" fmla="*/ 920972 h 1348549"/>
                <a:gd name="connsiteX49" fmla="*/ 757047 w 860393"/>
                <a:gd name="connsiteY49" fmla="*/ 919543 h 1348549"/>
                <a:gd name="connsiteX50" fmla="*/ 755904 w 860393"/>
                <a:gd name="connsiteY50" fmla="*/ 910114 h 1348549"/>
                <a:gd name="connsiteX51" fmla="*/ 750570 w 860393"/>
                <a:gd name="connsiteY51" fmla="*/ 906018 h 1348549"/>
                <a:gd name="connsiteX52" fmla="*/ 754285 w 860393"/>
                <a:gd name="connsiteY52" fmla="*/ 897541 h 1348549"/>
                <a:gd name="connsiteX53" fmla="*/ 743617 w 860393"/>
                <a:gd name="connsiteY53" fmla="*/ 889254 h 1348549"/>
                <a:gd name="connsiteX54" fmla="*/ 735044 w 860393"/>
                <a:gd name="connsiteY54" fmla="*/ 872680 h 1348549"/>
                <a:gd name="connsiteX55" fmla="*/ 727996 w 860393"/>
                <a:gd name="connsiteY55" fmla="*/ 867156 h 1348549"/>
                <a:gd name="connsiteX56" fmla="*/ 727996 w 860393"/>
                <a:gd name="connsiteY56" fmla="*/ 867156 h 1348549"/>
                <a:gd name="connsiteX57" fmla="*/ 725424 w 860393"/>
                <a:gd name="connsiteY57" fmla="*/ 872300 h 1348549"/>
                <a:gd name="connsiteX58" fmla="*/ 725043 w 860393"/>
                <a:gd name="connsiteY58" fmla="*/ 882015 h 1348549"/>
                <a:gd name="connsiteX59" fmla="*/ 723424 w 860393"/>
                <a:gd name="connsiteY59" fmla="*/ 882205 h 1348549"/>
                <a:gd name="connsiteX60" fmla="*/ 722090 w 860393"/>
                <a:gd name="connsiteY60" fmla="*/ 883920 h 1348549"/>
                <a:gd name="connsiteX61" fmla="*/ 720280 w 860393"/>
                <a:gd name="connsiteY61" fmla="*/ 882587 h 1348549"/>
                <a:gd name="connsiteX62" fmla="*/ 717709 w 860393"/>
                <a:gd name="connsiteY62" fmla="*/ 887730 h 1348549"/>
                <a:gd name="connsiteX63" fmla="*/ 715994 w 860393"/>
                <a:gd name="connsiteY63" fmla="*/ 886301 h 1348549"/>
                <a:gd name="connsiteX64" fmla="*/ 715613 w 860393"/>
                <a:gd name="connsiteY64" fmla="*/ 883158 h 1348549"/>
                <a:gd name="connsiteX65" fmla="*/ 694849 w 860393"/>
                <a:gd name="connsiteY65" fmla="*/ 871347 h 1348549"/>
                <a:gd name="connsiteX66" fmla="*/ 692467 w 860393"/>
                <a:gd name="connsiteY66" fmla="*/ 865251 h 1348549"/>
                <a:gd name="connsiteX67" fmla="*/ 690848 w 860393"/>
                <a:gd name="connsiteY67" fmla="*/ 852678 h 1348549"/>
                <a:gd name="connsiteX68" fmla="*/ 687610 w 860393"/>
                <a:gd name="connsiteY68" fmla="*/ 840200 h 1348549"/>
                <a:gd name="connsiteX69" fmla="*/ 688657 w 860393"/>
                <a:gd name="connsiteY69" fmla="*/ 835247 h 1348549"/>
                <a:gd name="connsiteX70" fmla="*/ 694849 w 860393"/>
                <a:gd name="connsiteY70" fmla="*/ 821626 h 1348549"/>
                <a:gd name="connsiteX71" fmla="*/ 696468 w 860393"/>
                <a:gd name="connsiteY71" fmla="*/ 821436 h 1348549"/>
                <a:gd name="connsiteX72" fmla="*/ 697421 w 860393"/>
                <a:gd name="connsiteY72" fmla="*/ 816483 h 1348549"/>
                <a:gd name="connsiteX73" fmla="*/ 699040 w 860393"/>
                <a:gd name="connsiteY73" fmla="*/ 816293 h 1348549"/>
                <a:gd name="connsiteX74" fmla="*/ 697039 w 860393"/>
                <a:gd name="connsiteY74" fmla="*/ 813340 h 1348549"/>
                <a:gd name="connsiteX75" fmla="*/ 697611 w 860393"/>
                <a:gd name="connsiteY75" fmla="*/ 805243 h 1348549"/>
                <a:gd name="connsiteX76" fmla="*/ 696087 w 860393"/>
                <a:gd name="connsiteY76" fmla="*/ 805529 h 1348549"/>
                <a:gd name="connsiteX77" fmla="*/ 693706 w 860393"/>
                <a:gd name="connsiteY77" fmla="*/ 812197 h 1348549"/>
                <a:gd name="connsiteX78" fmla="*/ 690563 w 860393"/>
                <a:gd name="connsiteY78" fmla="*/ 812578 h 1348549"/>
                <a:gd name="connsiteX79" fmla="*/ 686943 w 860393"/>
                <a:gd name="connsiteY79" fmla="*/ 809815 h 1348549"/>
                <a:gd name="connsiteX80" fmla="*/ 685229 w 860393"/>
                <a:gd name="connsiteY80" fmla="*/ 808482 h 1348549"/>
                <a:gd name="connsiteX81" fmla="*/ 681799 w 860393"/>
                <a:gd name="connsiteY81" fmla="*/ 807339 h 1348549"/>
                <a:gd name="connsiteX82" fmla="*/ 684371 w 860393"/>
                <a:gd name="connsiteY82" fmla="*/ 802196 h 1348549"/>
                <a:gd name="connsiteX83" fmla="*/ 680847 w 860393"/>
                <a:gd name="connsiteY83" fmla="*/ 799433 h 1348549"/>
                <a:gd name="connsiteX84" fmla="*/ 677513 w 860393"/>
                <a:gd name="connsiteY84" fmla="*/ 798195 h 1348549"/>
                <a:gd name="connsiteX85" fmla="*/ 671322 w 860393"/>
                <a:gd name="connsiteY85" fmla="*/ 800576 h 1348549"/>
                <a:gd name="connsiteX86" fmla="*/ 665416 w 860393"/>
                <a:gd name="connsiteY86" fmla="*/ 791718 h 1348549"/>
                <a:gd name="connsiteX87" fmla="*/ 660654 w 860393"/>
                <a:gd name="connsiteY87" fmla="*/ 792385 h 1348549"/>
                <a:gd name="connsiteX88" fmla="*/ 651986 w 860393"/>
                <a:gd name="connsiteY88" fmla="*/ 787051 h 1348549"/>
                <a:gd name="connsiteX89" fmla="*/ 649605 w 860393"/>
                <a:gd name="connsiteY89" fmla="*/ 793718 h 1348549"/>
                <a:gd name="connsiteX90" fmla="*/ 646271 w 860393"/>
                <a:gd name="connsiteY90" fmla="*/ 792575 h 1348549"/>
                <a:gd name="connsiteX91" fmla="*/ 642175 w 860393"/>
                <a:gd name="connsiteY91" fmla="*/ 797909 h 1348549"/>
                <a:gd name="connsiteX92" fmla="*/ 636080 w 860393"/>
                <a:gd name="connsiteY92" fmla="*/ 800290 h 1348549"/>
                <a:gd name="connsiteX93" fmla="*/ 635317 w 860393"/>
                <a:gd name="connsiteY93" fmla="*/ 806768 h 1348549"/>
                <a:gd name="connsiteX94" fmla="*/ 622649 w 860393"/>
                <a:gd name="connsiteY94" fmla="*/ 808387 h 1348549"/>
                <a:gd name="connsiteX95" fmla="*/ 615887 w 860393"/>
                <a:gd name="connsiteY95" fmla="*/ 806101 h 1348549"/>
                <a:gd name="connsiteX96" fmla="*/ 604075 w 860393"/>
                <a:gd name="connsiteY96" fmla="*/ 788289 h 1348549"/>
                <a:gd name="connsiteX97" fmla="*/ 595598 w 860393"/>
                <a:gd name="connsiteY97" fmla="*/ 784574 h 1348549"/>
                <a:gd name="connsiteX98" fmla="*/ 587312 w 860393"/>
                <a:gd name="connsiteY98" fmla="*/ 782479 h 1348549"/>
                <a:gd name="connsiteX99" fmla="*/ 585311 w 860393"/>
                <a:gd name="connsiteY99" fmla="*/ 779526 h 1348549"/>
                <a:gd name="connsiteX100" fmla="*/ 581978 w 860393"/>
                <a:gd name="connsiteY100" fmla="*/ 778288 h 1348549"/>
                <a:gd name="connsiteX101" fmla="*/ 579406 w 860393"/>
                <a:gd name="connsiteY101" fmla="*/ 783431 h 1348549"/>
                <a:gd name="connsiteX102" fmla="*/ 578167 w 860393"/>
                <a:gd name="connsiteY102" fmla="*/ 786860 h 1348549"/>
                <a:gd name="connsiteX103" fmla="*/ 579977 w 860393"/>
                <a:gd name="connsiteY103" fmla="*/ 788194 h 1348549"/>
                <a:gd name="connsiteX104" fmla="*/ 572072 w 860393"/>
                <a:gd name="connsiteY104" fmla="*/ 802005 h 1348549"/>
                <a:gd name="connsiteX105" fmla="*/ 558927 w 860393"/>
                <a:gd name="connsiteY105" fmla="*/ 798862 h 1348549"/>
                <a:gd name="connsiteX106" fmla="*/ 555498 w 860393"/>
                <a:gd name="connsiteY106" fmla="*/ 797719 h 1348549"/>
                <a:gd name="connsiteX107" fmla="*/ 547211 w 860393"/>
                <a:gd name="connsiteY107" fmla="*/ 782764 h 1348549"/>
                <a:gd name="connsiteX108" fmla="*/ 543878 w 860393"/>
                <a:gd name="connsiteY108" fmla="*/ 781526 h 1348549"/>
                <a:gd name="connsiteX109" fmla="*/ 541115 w 860393"/>
                <a:gd name="connsiteY109" fmla="*/ 785146 h 1348549"/>
                <a:gd name="connsiteX110" fmla="*/ 535972 w 860393"/>
                <a:gd name="connsiteY110" fmla="*/ 782574 h 1348549"/>
                <a:gd name="connsiteX111" fmla="*/ 520922 w 860393"/>
                <a:gd name="connsiteY111" fmla="*/ 778097 h 1348549"/>
                <a:gd name="connsiteX112" fmla="*/ 513493 w 860393"/>
                <a:gd name="connsiteY112" fmla="*/ 782193 h 1348549"/>
                <a:gd name="connsiteX113" fmla="*/ 509111 w 860393"/>
                <a:gd name="connsiteY113" fmla="*/ 786003 h 1348549"/>
                <a:gd name="connsiteX114" fmla="*/ 504444 w 860393"/>
                <a:gd name="connsiteY114" fmla="*/ 786575 h 1348549"/>
                <a:gd name="connsiteX115" fmla="*/ 504825 w 860393"/>
                <a:gd name="connsiteY115" fmla="*/ 789718 h 1348549"/>
                <a:gd name="connsiteX116" fmla="*/ 502634 w 860393"/>
                <a:gd name="connsiteY116" fmla="*/ 785241 h 1348549"/>
                <a:gd name="connsiteX117" fmla="*/ 495490 w 860393"/>
                <a:gd name="connsiteY117" fmla="*/ 779717 h 1348549"/>
                <a:gd name="connsiteX118" fmla="*/ 501587 w 860393"/>
                <a:gd name="connsiteY118" fmla="*/ 777335 h 1348549"/>
                <a:gd name="connsiteX119" fmla="*/ 499681 w 860393"/>
                <a:gd name="connsiteY119" fmla="*/ 774383 h 1348549"/>
                <a:gd name="connsiteX120" fmla="*/ 492538 w 860393"/>
                <a:gd name="connsiteY120" fmla="*/ 768858 h 1348549"/>
                <a:gd name="connsiteX121" fmla="*/ 492157 w 860393"/>
                <a:gd name="connsiteY121" fmla="*/ 765715 h 1348549"/>
                <a:gd name="connsiteX122" fmla="*/ 495109 w 860393"/>
                <a:gd name="connsiteY122" fmla="*/ 763714 h 1348549"/>
                <a:gd name="connsiteX123" fmla="*/ 492728 w 860393"/>
                <a:gd name="connsiteY123" fmla="*/ 757618 h 1348549"/>
                <a:gd name="connsiteX124" fmla="*/ 485775 w 860393"/>
                <a:gd name="connsiteY124" fmla="*/ 753713 h 1348549"/>
                <a:gd name="connsiteX125" fmla="*/ 483584 w 860393"/>
                <a:gd name="connsiteY125" fmla="*/ 749141 h 1348549"/>
                <a:gd name="connsiteX126" fmla="*/ 480441 w 860393"/>
                <a:gd name="connsiteY126" fmla="*/ 749522 h 1348549"/>
                <a:gd name="connsiteX127" fmla="*/ 478441 w 860393"/>
                <a:gd name="connsiteY127" fmla="*/ 746569 h 1348549"/>
                <a:gd name="connsiteX128" fmla="*/ 467011 w 860393"/>
                <a:gd name="connsiteY128" fmla="*/ 731996 h 1348549"/>
                <a:gd name="connsiteX129" fmla="*/ 465011 w 860393"/>
                <a:gd name="connsiteY129" fmla="*/ 729043 h 1348549"/>
                <a:gd name="connsiteX130" fmla="*/ 463582 w 860393"/>
                <a:gd name="connsiteY130" fmla="*/ 730853 h 1348549"/>
                <a:gd name="connsiteX131" fmla="*/ 456152 w 860393"/>
                <a:gd name="connsiteY131" fmla="*/ 722185 h 1348549"/>
                <a:gd name="connsiteX132" fmla="*/ 448818 w 860393"/>
                <a:gd name="connsiteY132" fmla="*/ 727901 h 1348549"/>
                <a:gd name="connsiteX133" fmla="*/ 439388 w 860393"/>
                <a:gd name="connsiteY133" fmla="*/ 729139 h 1348549"/>
                <a:gd name="connsiteX134" fmla="*/ 436626 w 860393"/>
                <a:gd name="connsiteY134" fmla="*/ 732663 h 1348549"/>
                <a:gd name="connsiteX135" fmla="*/ 434054 w 860393"/>
                <a:gd name="connsiteY135" fmla="*/ 737806 h 1348549"/>
                <a:gd name="connsiteX136" fmla="*/ 432054 w 860393"/>
                <a:gd name="connsiteY136" fmla="*/ 734854 h 1348549"/>
                <a:gd name="connsiteX137" fmla="*/ 433006 w 860393"/>
                <a:gd name="connsiteY137" fmla="*/ 729901 h 1348549"/>
                <a:gd name="connsiteX138" fmla="*/ 421386 w 860393"/>
                <a:gd name="connsiteY138" fmla="*/ 726567 h 1348549"/>
                <a:gd name="connsiteX139" fmla="*/ 415290 w 860393"/>
                <a:gd name="connsiteY139" fmla="*/ 729043 h 1348549"/>
                <a:gd name="connsiteX140" fmla="*/ 410337 w 860393"/>
                <a:gd name="connsiteY140" fmla="*/ 727996 h 1348549"/>
                <a:gd name="connsiteX141" fmla="*/ 410146 w 860393"/>
                <a:gd name="connsiteY141" fmla="*/ 726472 h 1348549"/>
                <a:gd name="connsiteX142" fmla="*/ 409956 w 860393"/>
                <a:gd name="connsiteY142" fmla="*/ 724852 h 1348549"/>
                <a:gd name="connsiteX143" fmla="*/ 404622 w 860393"/>
                <a:gd name="connsiteY143" fmla="*/ 720757 h 1348549"/>
                <a:gd name="connsiteX144" fmla="*/ 403003 w 860393"/>
                <a:gd name="connsiteY144" fmla="*/ 720947 h 1348549"/>
                <a:gd name="connsiteX145" fmla="*/ 401860 w 860393"/>
                <a:gd name="connsiteY145" fmla="*/ 724281 h 1348549"/>
                <a:gd name="connsiteX146" fmla="*/ 401288 w 860393"/>
                <a:gd name="connsiteY146" fmla="*/ 719518 h 1348549"/>
                <a:gd name="connsiteX147" fmla="*/ 399288 w 860393"/>
                <a:gd name="connsiteY147" fmla="*/ 716566 h 1348549"/>
                <a:gd name="connsiteX148" fmla="*/ 394716 w 860393"/>
                <a:gd name="connsiteY148" fmla="*/ 718756 h 1348549"/>
                <a:gd name="connsiteX149" fmla="*/ 391192 w 860393"/>
                <a:gd name="connsiteY149" fmla="*/ 715994 h 1348549"/>
                <a:gd name="connsiteX150" fmla="*/ 384620 w 860393"/>
                <a:gd name="connsiteY150" fmla="*/ 715232 h 1348549"/>
                <a:gd name="connsiteX151" fmla="*/ 382238 w 860393"/>
                <a:gd name="connsiteY151" fmla="*/ 709136 h 1348549"/>
                <a:gd name="connsiteX152" fmla="*/ 379286 w 860393"/>
                <a:gd name="connsiteY152" fmla="*/ 711137 h 1348549"/>
                <a:gd name="connsiteX153" fmla="*/ 375761 w 860393"/>
                <a:gd name="connsiteY153" fmla="*/ 708374 h 1348549"/>
                <a:gd name="connsiteX154" fmla="*/ 371189 w 860393"/>
                <a:gd name="connsiteY154" fmla="*/ 710565 h 1348549"/>
                <a:gd name="connsiteX155" fmla="*/ 369284 w 860393"/>
                <a:gd name="connsiteY155" fmla="*/ 707612 h 1348549"/>
                <a:gd name="connsiteX156" fmla="*/ 368046 w 860393"/>
                <a:gd name="connsiteY156" fmla="*/ 710946 h 1348549"/>
                <a:gd name="connsiteX157" fmla="*/ 364903 w 860393"/>
                <a:gd name="connsiteY157" fmla="*/ 711327 h 1348549"/>
                <a:gd name="connsiteX158" fmla="*/ 365284 w 860393"/>
                <a:gd name="connsiteY158" fmla="*/ 714470 h 1348549"/>
                <a:gd name="connsiteX159" fmla="*/ 363760 w 860393"/>
                <a:gd name="connsiteY159" fmla="*/ 714756 h 1348549"/>
                <a:gd name="connsiteX160" fmla="*/ 361950 w 860393"/>
                <a:gd name="connsiteY160" fmla="*/ 713327 h 1348549"/>
                <a:gd name="connsiteX161" fmla="*/ 358997 w 860393"/>
                <a:gd name="connsiteY161" fmla="*/ 715327 h 1348549"/>
                <a:gd name="connsiteX162" fmla="*/ 357664 w 860393"/>
                <a:gd name="connsiteY162" fmla="*/ 717137 h 1348549"/>
                <a:gd name="connsiteX163" fmla="*/ 357188 w 860393"/>
                <a:gd name="connsiteY163" fmla="*/ 713899 h 1348549"/>
                <a:gd name="connsiteX164" fmla="*/ 355473 w 860393"/>
                <a:gd name="connsiteY164" fmla="*/ 712565 h 1348549"/>
                <a:gd name="connsiteX165" fmla="*/ 354997 w 860393"/>
                <a:gd name="connsiteY165" fmla="*/ 709422 h 1348549"/>
                <a:gd name="connsiteX166" fmla="*/ 351854 w 860393"/>
                <a:gd name="connsiteY166" fmla="*/ 709803 h 1348549"/>
                <a:gd name="connsiteX167" fmla="*/ 354235 w 860393"/>
                <a:gd name="connsiteY167" fmla="*/ 703135 h 1348549"/>
                <a:gd name="connsiteX168" fmla="*/ 360331 w 860393"/>
                <a:gd name="connsiteY168" fmla="*/ 687896 h 1348549"/>
                <a:gd name="connsiteX169" fmla="*/ 362807 w 860393"/>
                <a:gd name="connsiteY169" fmla="*/ 669893 h 1348549"/>
                <a:gd name="connsiteX170" fmla="*/ 359664 w 860393"/>
                <a:gd name="connsiteY170" fmla="*/ 670369 h 1348549"/>
                <a:gd name="connsiteX171" fmla="*/ 355949 w 860393"/>
                <a:gd name="connsiteY171" fmla="*/ 678847 h 1348549"/>
                <a:gd name="connsiteX172" fmla="*/ 350806 w 860393"/>
                <a:gd name="connsiteY172" fmla="*/ 676275 h 1348549"/>
                <a:gd name="connsiteX173" fmla="*/ 349472 w 860393"/>
                <a:gd name="connsiteY173" fmla="*/ 678085 h 1348549"/>
                <a:gd name="connsiteX174" fmla="*/ 350044 w 860393"/>
                <a:gd name="connsiteY174" fmla="*/ 682752 h 1348549"/>
                <a:gd name="connsiteX175" fmla="*/ 345091 w 860393"/>
                <a:gd name="connsiteY175" fmla="*/ 681800 h 1348549"/>
                <a:gd name="connsiteX176" fmla="*/ 341947 w 860393"/>
                <a:gd name="connsiteY176" fmla="*/ 682180 h 1348549"/>
                <a:gd name="connsiteX177" fmla="*/ 334899 w 860393"/>
                <a:gd name="connsiteY177" fmla="*/ 689515 h 1348549"/>
                <a:gd name="connsiteX178" fmla="*/ 332708 w 860393"/>
                <a:gd name="connsiteY178" fmla="*/ 685038 h 1348549"/>
                <a:gd name="connsiteX179" fmla="*/ 329374 w 860393"/>
                <a:gd name="connsiteY179" fmla="*/ 683800 h 1348549"/>
                <a:gd name="connsiteX180" fmla="*/ 324803 w 860393"/>
                <a:gd name="connsiteY180" fmla="*/ 673132 h 1348549"/>
                <a:gd name="connsiteX181" fmla="*/ 323945 w 860393"/>
                <a:gd name="connsiteY181" fmla="*/ 666845 h 1348549"/>
                <a:gd name="connsiteX182" fmla="*/ 321945 w 860393"/>
                <a:gd name="connsiteY182" fmla="*/ 663893 h 1348549"/>
                <a:gd name="connsiteX183" fmla="*/ 318611 w 860393"/>
                <a:gd name="connsiteY183" fmla="*/ 662750 h 1348549"/>
                <a:gd name="connsiteX184" fmla="*/ 316039 w 860393"/>
                <a:gd name="connsiteY184" fmla="*/ 667893 h 1348549"/>
                <a:gd name="connsiteX185" fmla="*/ 316611 w 860393"/>
                <a:gd name="connsiteY185" fmla="*/ 659797 h 1348549"/>
                <a:gd name="connsiteX186" fmla="*/ 314230 w 860393"/>
                <a:gd name="connsiteY186" fmla="*/ 653701 h 1348549"/>
                <a:gd name="connsiteX187" fmla="*/ 305753 w 860393"/>
                <a:gd name="connsiteY187" fmla="*/ 649891 h 1348549"/>
                <a:gd name="connsiteX188" fmla="*/ 306705 w 860393"/>
                <a:gd name="connsiteY188" fmla="*/ 645033 h 1348549"/>
                <a:gd name="connsiteX189" fmla="*/ 309944 w 860393"/>
                <a:gd name="connsiteY189" fmla="*/ 644557 h 1348549"/>
                <a:gd name="connsiteX190" fmla="*/ 307467 w 860393"/>
                <a:gd name="connsiteY190" fmla="*/ 638461 h 1348549"/>
                <a:gd name="connsiteX191" fmla="*/ 312230 w 860393"/>
                <a:gd name="connsiteY191" fmla="*/ 637889 h 1348549"/>
                <a:gd name="connsiteX192" fmla="*/ 313468 w 860393"/>
                <a:gd name="connsiteY192" fmla="*/ 634555 h 1348549"/>
                <a:gd name="connsiteX193" fmla="*/ 319183 w 860393"/>
                <a:gd name="connsiteY193" fmla="*/ 629031 h 1348549"/>
                <a:gd name="connsiteX194" fmla="*/ 318897 w 860393"/>
                <a:gd name="connsiteY194" fmla="*/ 627412 h 1348549"/>
                <a:gd name="connsiteX195" fmla="*/ 319945 w 860393"/>
                <a:gd name="connsiteY195" fmla="*/ 622459 h 1348549"/>
                <a:gd name="connsiteX196" fmla="*/ 321659 w 860393"/>
                <a:gd name="connsiteY196" fmla="*/ 623888 h 1348549"/>
                <a:gd name="connsiteX197" fmla="*/ 323088 w 860393"/>
                <a:gd name="connsiteY197" fmla="*/ 622078 h 1348549"/>
                <a:gd name="connsiteX198" fmla="*/ 322707 w 860393"/>
                <a:gd name="connsiteY198" fmla="*/ 618934 h 1348549"/>
                <a:gd name="connsiteX199" fmla="*/ 324993 w 860393"/>
                <a:gd name="connsiteY199" fmla="*/ 612172 h 1348549"/>
                <a:gd name="connsiteX200" fmla="*/ 316706 w 860393"/>
                <a:gd name="connsiteY200" fmla="*/ 610076 h 1348549"/>
                <a:gd name="connsiteX201" fmla="*/ 317849 w 860393"/>
                <a:gd name="connsiteY201" fmla="*/ 606647 h 1348549"/>
                <a:gd name="connsiteX202" fmla="*/ 315563 w 860393"/>
                <a:gd name="connsiteY202" fmla="*/ 600551 h 1348549"/>
                <a:gd name="connsiteX203" fmla="*/ 323183 w 860393"/>
                <a:gd name="connsiteY203" fmla="*/ 597980 h 1348549"/>
                <a:gd name="connsiteX204" fmla="*/ 322802 w 860393"/>
                <a:gd name="connsiteY204" fmla="*/ 594836 h 1348549"/>
                <a:gd name="connsiteX205" fmla="*/ 327374 w 860393"/>
                <a:gd name="connsiteY205" fmla="*/ 592646 h 1348549"/>
                <a:gd name="connsiteX206" fmla="*/ 328327 w 860393"/>
                <a:gd name="connsiteY206" fmla="*/ 587693 h 1348549"/>
                <a:gd name="connsiteX207" fmla="*/ 334613 w 860393"/>
                <a:gd name="connsiteY207" fmla="*/ 586930 h 1348549"/>
                <a:gd name="connsiteX208" fmla="*/ 336804 w 860393"/>
                <a:gd name="connsiteY208" fmla="*/ 578644 h 1348549"/>
                <a:gd name="connsiteX209" fmla="*/ 338519 w 860393"/>
                <a:gd name="connsiteY209" fmla="*/ 579977 h 1348549"/>
                <a:gd name="connsiteX210" fmla="*/ 341090 w 860393"/>
                <a:gd name="connsiteY210" fmla="*/ 574834 h 1348549"/>
                <a:gd name="connsiteX211" fmla="*/ 339090 w 860393"/>
                <a:gd name="connsiteY211" fmla="*/ 571881 h 1348549"/>
                <a:gd name="connsiteX212" fmla="*/ 341852 w 860393"/>
                <a:gd name="connsiteY212" fmla="*/ 568357 h 1348549"/>
                <a:gd name="connsiteX213" fmla="*/ 339471 w 860393"/>
                <a:gd name="connsiteY213" fmla="*/ 562261 h 1348549"/>
                <a:gd name="connsiteX214" fmla="*/ 339280 w 860393"/>
                <a:gd name="connsiteY214" fmla="*/ 560642 h 1348549"/>
                <a:gd name="connsiteX215" fmla="*/ 335185 w 860393"/>
                <a:gd name="connsiteY215" fmla="*/ 553212 h 1348549"/>
                <a:gd name="connsiteX216" fmla="*/ 320516 w 860393"/>
                <a:gd name="connsiteY216" fmla="*/ 539020 h 1348549"/>
                <a:gd name="connsiteX217" fmla="*/ 312039 w 860393"/>
                <a:gd name="connsiteY217" fmla="*/ 535305 h 1348549"/>
                <a:gd name="connsiteX218" fmla="*/ 309658 w 860393"/>
                <a:gd name="connsiteY218" fmla="*/ 529114 h 1348549"/>
                <a:gd name="connsiteX219" fmla="*/ 311182 w 860393"/>
                <a:gd name="connsiteY219" fmla="*/ 528923 h 1348549"/>
                <a:gd name="connsiteX220" fmla="*/ 320040 w 860393"/>
                <a:gd name="connsiteY220" fmla="*/ 523018 h 1348549"/>
                <a:gd name="connsiteX221" fmla="*/ 320802 w 860393"/>
                <a:gd name="connsiteY221" fmla="*/ 516541 h 1348549"/>
                <a:gd name="connsiteX222" fmla="*/ 318421 w 860393"/>
                <a:gd name="connsiteY222" fmla="*/ 510349 h 1348549"/>
                <a:gd name="connsiteX223" fmla="*/ 316801 w 860393"/>
                <a:gd name="connsiteY223" fmla="*/ 497776 h 1348549"/>
                <a:gd name="connsiteX224" fmla="*/ 325279 w 860393"/>
                <a:gd name="connsiteY224" fmla="*/ 488632 h 1348549"/>
                <a:gd name="connsiteX225" fmla="*/ 329851 w 860393"/>
                <a:gd name="connsiteY225" fmla="*/ 473678 h 1348549"/>
                <a:gd name="connsiteX226" fmla="*/ 337471 w 860393"/>
                <a:gd name="connsiteY226" fmla="*/ 471107 h 1348549"/>
                <a:gd name="connsiteX227" fmla="*/ 342995 w 860393"/>
                <a:gd name="connsiteY227" fmla="*/ 463963 h 1348549"/>
                <a:gd name="connsiteX228" fmla="*/ 345567 w 860393"/>
                <a:gd name="connsiteY228" fmla="*/ 458819 h 1348549"/>
                <a:gd name="connsiteX229" fmla="*/ 353282 w 860393"/>
                <a:gd name="connsiteY229" fmla="*/ 456247 h 1348549"/>
                <a:gd name="connsiteX230" fmla="*/ 360521 w 860393"/>
                <a:gd name="connsiteY230" fmla="*/ 437674 h 1348549"/>
                <a:gd name="connsiteX231" fmla="*/ 359473 w 860393"/>
                <a:gd name="connsiteY231" fmla="*/ 429768 h 1348549"/>
                <a:gd name="connsiteX232" fmla="*/ 357092 w 860393"/>
                <a:gd name="connsiteY232" fmla="*/ 423672 h 1348549"/>
                <a:gd name="connsiteX233" fmla="*/ 357473 w 860393"/>
                <a:gd name="connsiteY233" fmla="*/ 414052 h 1348549"/>
                <a:gd name="connsiteX234" fmla="*/ 349948 w 860393"/>
                <a:gd name="connsiteY234" fmla="*/ 392525 h 1348549"/>
                <a:gd name="connsiteX235" fmla="*/ 365665 w 860393"/>
                <a:gd name="connsiteY235" fmla="*/ 377666 h 1348549"/>
                <a:gd name="connsiteX236" fmla="*/ 369665 w 860393"/>
                <a:gd name="connsiteY236" fmla="*/ 370808 h 1348549"/>
                <a:gd name="connsiteX237" fmla="*/ 365665 w 860393"/>
                <a:gd name="connsiteY237" fmla="*/ 364903 h 1348549"/>
                <a:gd name="connsiteX238" fmla="*/ 364236 w 860393"/>
                <a:gd name="connsiteY238" fmla="*/ 353854 h 1348549"/>
                <a:gd name="connsiteX239" fmla="*/ 361664 w 860393"/>
                <a:gd name="connsiteY239" fmla="*/ 346138 h 1348549"/>
                <a:gd name="connsiteX240" fmla="*/ 371951 w 860393"/>
                <a:gd name="connsiteY240" fmla="*/ 338423 h 1348549"/>
                <a:gd name="connsiteX241" fmla="*/ 375095 w 860393"/>
                <a:gd name="connsiteY241" fmla="*/ 338042 h 1348549"/>
                <a:gd name="connsiteX242" fmla="*/ 383096 w 860393"/>
                <a:gd name="connsiteY242" fmla="*/ 325755 h 1348549"/>
                <a:gd name="connsiteX243" fmla="*/ 387287 w 860393"/>
                <a:gd name="connsiteY243" fmla="*/ 320421 h 1348549"/>
                <a:gd name="connsiteX244" fmla="*/ 392335 w 860393"/>
                <a:gd name="connsiteY244" fmla="*/ 310134 h 1348549"/>
                <a:gd name="connsiteX245" fmla="*/ 397669 w 860393"/>
                <a:gd name="connsiteY245" fmla="*/ 314230 h 1348549"/>
                <a:gd name="connsiteX246" fmla="*/ 400717 w 860393"/>
                <a:gd name="connsiteY246" fmla="*/ 312325 h 1348549"/>
                <a:gd name="connsiteX247" fmla="*/ 405003 w 860393"/>
                <a:gd name="connsiteY247" fmla="*/ 308515 h 1348549"/>
                <a:gd name="connsiteX248" fmla="*/ 404241 w 860393"/>
                <a:gd name="connsiteY248" fmla="*/ 302228 h 1348549"/>
                <a:gd name="connsiteX249" fmla="*/ 408146 w 860393"/>
                <a:gd name="connsiteY249" fmla="*/ 295275 h 1348549"/>
                <a:gd name="connsiteX250" fmla="*/ 414052 w 860393"/>
                <a:gd name="connsiteY250" fmla="*/ 291370 h 1348549"/>
                <a:gd name="connsiteX251" fmla="*/ 427672 w 860393"/>
                <a:gd name="connsiteY251" fmla="*/ 297656 h 1348549"/>
                <a:gd name="connsiteX252" fmla="*/ 434912 w 860393"/>
                <a:gd name="connsiteY252" fmla="*/ 291846 h 1348549"/>
                <a:gd name="connsiteX253" fmla="*/ 442246 w 860393"/>
                <a:gd name="connsiteY253" fmla="*/ 273272 h 1348549"/>
                <a:gd name="connsiteX254" fmla="*/ 450723 w 860393"/>
                <a:gd name="connsiteY254" fmla="*/ 264223 h 1348549"/>
                <a:gd name="connsiteX255" fmla="*/ 453962 w 860393"/>
                <a:gd name="connsiteY255" fmla="*/ 252603 h 1348549"/>
                <a:gd name="connsiteX256" fmla="*/ 455771 w 860393"/>
                <a:gd name="connsiteY256" fmla="*/ 253936 h 1348549"/>
                <a:gd name="connsiteX257" fmla="*/ 463487 w 860393"/>
                <a:gd name="connsiteY257" fmla="*/ 264223 h 1348549"/>
                <a:gd name="connsiteX258" fmla="*/ 468821 w 860393"/>
                <a:gd name="connsiteY258" fmla="*/ 268319 h 1348549"/>
                <a:gd name="connsiteX259" fmla="*/ 471773 w 860393"/>
                <a:gd name="connsiteY259" fmla="*/ 266319 h 1348549"/>
                <a:gd name="connsiteX260" fmla="*/ 480060 w 860393"/>
                <a:gd name="connsiteY260" fmla="*/ 268510 h 1348549"/>
                <a:gd name="connsiteX261" fmla="*/ 485965 w 860393"/>
                <a:gd name="connsiteY261" fmla="*/ 264509 h 1348549"/>
                <a:gd name="connsiteX262" fmla="*/ 485394 w 860393"/>
                <a:gd name="connsiteY262" fmla="*/ 259842 h 1348549"/>
                <a:gd name="connsiteX263" fmla="*/ 488156 w 860393"/>
                <a:gd name="connsiteY263" fmla="*/ 256222 h 1348549"/>
                <a:gd name="connsiteX264" fmla="*/ 487299 w 860393"/>
                <a:gd name="connsiteY264" fmla="*/ 249936 h 1348549"/>
                <a:gd name="connsiteX265" fmla="*/ 488156 w 860393"/>
                <a:gd name="connsiteY265" fmla="*/ 243459 h 1348549"/>
                <a:gd name="connsiteX266" fmla="*/ 485299 w 860393"/>
                <a:gd name="connsiteY266" fmla="*/ 234124 h 1348549"/>
                <a:gd name="connsiteX267" fmla="*/ 487680 w 860393"/>
                <a:gd name="connsiteY267" fmla="*/ 227457 h 1348549"/>
                <a:gd name="connsiteX268" fmla="*/ 489204 w 860393"/>
                <a:gd name="connsiteY268" fmla="*/ 214408 h 1348549"/>
                <a:gd name="connsiteX269" fmla="*/ 487013 w 860393"/>
                <a:gd name="connsiteY269" fmla="*/ 209836 h 1348549"/>
                <a:gd name="connsiteX270" fmla="*/ 489775 w 860393"/>
                <a:gd name="connsiteY270" fmla="*/ 206311 h 1348549"/>
                <a:gd name="connsiteX271" fmla="*/ 481108 w 860393"/>
                <a:gd name="connsiteY271" fmla="*/ 188214 h 1348549"/>
                <a:gd name="connsiteX272" fmla="*/ 472249 w 860393"/>
                <a:gd name="connsiteY272" fmla="*/ 194119 h 1348549"/>
                <a:gd name="connsiteX273" fmla="*/ 469582 w 860393"/>
                <a:gd name="connsiteY273" fmla="*/ 186404 h 1348549"/>
                <a:gd name="connsiteX274" fmla="*/ 459581 w 860393"/>
                <a:gd name="connsiteY274" fmla="*/ 182880 h 1348549"/>
                <a:gd name="connsiteX275" fmla="*/ 445389 w 860393"/>
                <a:gd name="connsiteY275" fmla="*/ 184690 h 1348549"/>
                <a:gd name="connsiteX276" fmla="*/ 442436 w 860393"/>
                <a:gd name="connsiteY276" fmla="*/ 186690 h 1348549"/>
                <a:gd name="connsiteX277" fmla="*/ 441484 w 860393"/>
                <a:gd name="connsiteY277" fmla="*/ 204406 h 1348549"/>
                <a:gd name="connsiteX278" fmla="*/ 435102 w 860393"/>
                <a:gd name="connsiteY278" fmla="*/ 205264 h 1348549"/>
                <a:gd name="connsiteX279" fmla="*/ 431578 w 860393"/>
                <a:gd name="connsiteY279" fmla="*/ 202501 h 1348549"/>
                <a:gd name="connsiteX280" fmla="*/ 428149 w 860393"/>
                <a:gd name="connsiteY280" fmla="*/ 188500 h 1348549"/>
                <a:gd name="connsiteX281" fmla="*/ 424244 w 860393"/>
                <a:gd name="connsiteY281" fmla="*/ 182594 h 1348549"/>
                <a:gd name="connsiteX282" fmla="*/ 431959 w 860393"/>
                <a:gd name="connsiteY282" fmla="*/ 180022 h 1348549"/>
                <a:gd name="connsiteX283" fmla="*/ 429768 w 860393"/>
                <a:gd name="connsiteY283" fmla="*/ 175450 h 1348549"/>
                <a:gd name="connsiteX284" fmla="*/ 430339 w 860393"/>
                <a:gd name="connsiteY284" fmla="*/ 167354 h 1348549"/>
                <a:gd name="connsiteX285" fmla="*/ 435197 w 860393"/>
                <a:gd name="connsiteY285" fmla="*/ 155543 h 1348549"/>
                <a:gd name="connsiteX286" fmla="*/ 429673 w 860393"/>
                <a:gd name="connsiteY286" fmla="*/ 149828 h 1348549"/>
                <a:gd name="connsiteX287" fmla="*/ 426530 w 860393"/>
                <a:gd name="connsiteY287" fmla="*/ 150209 h 1348549"/>
                <a:gd name="connsiteX288" fmla="*/ 423196 w 860393"/>
                <a:gd name="connsiteY288" fmla="*/ 149066 h 1348549"/>
                <a:gd name="connsiteX289" fmla="*/ 425101 w 860393"/>
                <a:gd name="connsiteY289" fmla="*/ 139160 h 1348549"/>
                <a:gd name="connsiteX290" fmla="*/ 430054 w 860393"/>
                <a:gd name="connsiteY290" fmla="*/ 140113 h 1348549"/>
                <a:gd name="connsiteX291" fmla="*/ 432625 w 860393"/>
                <a:gd name="connsiteY291" fmla="*/ 135064 h 1348549"/>
                <a:gd name="connsiteX292" fmla="*/ 430435 w 860393"/>
                <a:gd name="connsiteY292" fmla="*/ 130492 h 1348549"/>
                <a:gd name="connsiteX293" fmla="*/ 414814 w 860393"/>
                <a:gd name="connsiteY293" fmla="*/ 134112 h 1348549"/>
                <a:gd name="connsiteX294" fmla="*/ 406146 w 860393"/>
                <a:gd name="connsiteY294" fmla="*/ 141637 h 1348549"/>
                <a:gd name="connsiteX295" fmla="*/ 398336 w 860393"/>
                <a:gd name="connsiteY295" fmla="*/ 142589 h 1348549"/>
                <a:gd name="connsiteX296" fmla="*/ 389001 w 860393"/>
                <a:gd name="connsiteY296" fmla="*/ 145351 h 1348549"/>
                <a:gd name="connsiteX297" fmla="*/ 378714 w 860393"/>
                <a:gd name="connsiteY297" fmla="*/ 140303 h 1348549"/>
                <a:gd name="connsiteX298" fmla="*/ 371665 w 860393"/>
                <a:gd name="connsiteY298" fmla="*/ 134779 h 1348549"/>
                <a:gd name="connsiteX299" fmla="*/ 359759 w 860393"/>
                <a:gd name="connsiteY299" fmla="*/ 129826 h 1348549"/>
                <a:gd name="connsiteX300" fmla="*/ 357378 w 860393"/>
                <a:gd name="connsiteY300" fmla="*/ 123730 h 1348549"/>
                <a:gd name="connsiteX301" fmla="*/ 350330 w 860393"/>
                <a:gd name="connsiteY301" fmla="*/ 118205 h 1348549"/>
                <a:gd name="connsiteX302" fmla="*/ 343376 w 860393"/>
                <a:gd name="connsiteY302" fmla="*/ 114300 h 1348549"/>
                <a:gd name="connsiteX303" fmla="*/ 335471 w 860393"/>
                <a:gd name="connsiteY303" fmla="*/ 102489 h 1348549"/>
                <a:gd name="connsiteX304" fmla="*/ 326136 w 860393"/>
                <a:gd name="connsiteY304" fmla="*/ 92488 h 1348549"/>
                <a:gd name="connsiteX305" fmla="*/ 324517 w 860393"/>
                <a:gd name="connsiteY305" fmla="*/ 79819 h 1348549"/>
                <a:gd name="connsiteX306" fmla="*/ 328041 w 860393"/>
                <a:gd name="connsiteY306" fmla="*/ 69723 h 1348549"/>
                <a:gd name="connsiteX307" fmla="*/ 321183 w 860393"/>
                <a:gd name="connsiteY307" fmla="*/ 65818 h 1348549"/>
                <a:gd name="connsiteX308" fmla="*/ 314611 w 860393"/>
                <a:gd name="connsiteY308" fmla="*/ 65056 h 1348549"/>
                <a:gd name="connsiteX309" fmla="*/ 310324 w 860393"/>
                <a:gd name="connsiteY309" fmla="*/ 68770 h 1348549"/>
                <a:gd name="connsiteX310" fmla="*/ 299466 w 860393"/>
                <a:gd name="connsiteY310" fmla="*/ 71818 h 1348549"/>
                <a:gd name="connsiteX311" fmla="*/ 295084 w 860393"/>
                <a:gd name="connsiteY311" fmla="*/ 75533 h 1348549"/>
                <a:gd name="connsiteX312" fmla="*/ 293370 w 860393"/>
                <a:gd name="connsiteY312" fmla="*/ 74200 h 1348549"/>
                <a:gd name="connsiteX313" fmla="*/ 285464 w 860393"/>
                <a:gd name="connsiteY313" fmla="*/ 75152 h 1348549"/>
                <a:gd name="connsiteX314" fmla="*/ 272224 w 860393"/>
                <a:gd name="connsiteY314" fmla="*/ 59245 h 1348549"/>
                <a:gd name="connsiteX315" fmla="*/ 264319 w 860393"/>
                <a:gd name="connsiteY315" fmla="*/ 60198 h 1348549"/>
                <a:gd name="connsiteX316" fmla="*/ 262699 w 860393"/>
                <a:gd name="connsiteY316" fmla="*/ 47625 h 1348549"/>
                <a:gd name="connsiteX317" fmla="*/ 257746 w 860393"/>
                <a:gd name="connsiteY317" fmla="*/ 46672 h 1348549"/>
                <a:gd name="connsiteX318" fmla="*/ 245173 w 860393"/>
                <a:gd name="connsiteY318" fmla="*/ 48292 h 1348549"/>
                <a:gd name="connsiteX319" fmla="*/ 243935 w 860393"/>
                <a:gd name="connsiteY319" fmla="*/ 51625 h 1348549"/>
                <a:gd name="connsiteX320" fmla="*/ 222409 w 860393"/>
                <a:gd name="connsiteY320" fmla="*/ 46291 h 1348549"/>
                <a:gd name="connsiteX321" fmla="*/ 211550 w 860393"/>
                <a:gd name="connsiteY321" fmla="*/ 36481 h 1348549"/>
                <a:gd name="connsiteX322" fmla="*/ 206883 w 860393"/>
                <a:gd name="connsiteY322" fmla="*/ 37052 h 1348549"/>
                <a:gd name="connsiteX323" fmla="*/ 202692 w 860393"/>
                <a:gd name="connsiteY323" fmla="*/ 29623 h 1348549"/>
                <a:gd name="connsiteX324" fmla="*/ 199549 w 860393"/>
                <a:gd name="connsiteY324" fmla="*/ 30004 h 1348549"/>
                <a:gd name="connsiteX325" fmla="*/ 195167 w 860393"/>
                <a:gd name="connsiteY325" fmla="*/ 33814 h 1348549"/>
                <a:gd name="connsiteX326" fmla="*/ 189452 w 860393"/>
                <a:gd name="connsiteY326" fmla="*/ 26479 h 1348549"/>
                <a:gd name="connsiteX327" fmla="*/ 184309 w 860393"/>
                <a:gd name="connsiteY327" fmla="*/ 23908 h 1348549"/>
                <a:gd name="connsiteX328" fmla="*/ 175831 w 860393"/>
                <a:gd name="connsiteY328" fmla="*/ 33052 h 1348549"/>
                <a:gd name="connsiteX329" fmla="*/ 167926 w 860393"/>
                <a:gd name="connsiteY329" fmla="*/ 34004 h 1348549"/>
                <a:gd name="connsiteX330" fmla="*/ 165735 w 860393"/>
                <a:gd name="connsiteY330" fmla="*/ 29527 h 1348549"/>
                <a:gd name="connsiteX331" fmla="*/ 151543 w 860393"/>
                <a:gd name="connsiteY331" fmla="*/ 18478 h 1348549"/>
                <a:gd name="connsiteX332" fmla="*/ 134588 w 860393"/>
                <a:gd name="connsiteY332" fmla="*/ 11049 h 1348549"/>
                <a:gd name="connsiteX333" fmla="*/ 120301 w 860393"/>
                <a:gd name="connsiteY333" fmla="*/ 0 h 1348549"/>
                <a:gd name="connsiteX334" fmla="*/ 118967 w 860393"/>
                <a:gd name="connsiteY334" fmla="*/ 1810 h 1348549"/>
                <a:gd name="connsiteX335" fmla="*/ 115538 w 860393"/>
                <a:gd name="connsiteY335" fmla="*/ 571 h 1348549"/>
                <a:gd name="connsiteX336" fmla="*/ 111633 w 860393"/>
                <a:gd name="connsiteY336" fmla="*/ 7525 h 1348549"/>
                <a:gd name="connsiteX337" fmla="*/ 106680 w 860393"/>
                <a:gd name="connsiteY337" fmla="*/ 6572 h 1348549"/>
                <a:gd name="connsiteX338" fmla="*/ 103727 w 860393"/>
                <a:gd name="connsiteY338" fmla="*/ 8572 h 1348549"/>
                <a:gd name="connsiteX339" fmla="*/ 102965 w 860393"/>
                <a:gd name="connsiteY339" fmla="*/ 15049 h 1348549"/>
                <a:gd name="connsiteX340" fmla="*/ 98679 w 860393"/>
                <a:gd name="connsiteY340" fmla="*/ 18764 h 1348549"/>
                <a:gd name="connsiteX341" fmla="*/ 99441 w 860393"/>
                <a:gd name="connsiteY341" fmla="*/ 25146 h 1348549"/>
                <a:gd name="connsiteX342" fmla="*/ 95536 w 860393"/>
                <a:gd name="connsiteY342" fmla="*/ 32004 h 1348549"/>
                <a:gd name="connsiteX343" fmla="*/ 96298 w 860393"/>
                <a:gd name="connsiteY343" fmla="*/ 38290 h 1348549"/>
                <a:gd name="connsiteX344" fmla="*/ 90678 w 860393"/>
                <a:gd name="connsiteY344" fmla="*/ 43910 h 1348549"/>
                <a:gd name="connsiteX345" fmla="*/ 89630 w 860393"/>
                <a:gd name="connsiteY345" fmla="*/ 48768 h 1348549"/>
                <a:gd name="connsiteX346" fmla="*/ 92773 w 860393"/>
                <a:gd name="connsiteY346" fmla="*/ 48387 h 1348549"/>
                <a:gd name="connsiteX347" fmla="*/ 100108 w 860393"/>
                <a:gd name="connsiteY347" fmla="*/ 55531 h 1348549"/>
                <a:gd name="connsiteX348" fmla="*/ 107061 w 860393"/>
                <a:gd name="connsiteY348" fmla="*/ 59436 h 1348549"/>
                <a:gd name="connsiteX349" fmla="*/ 112204 w 860393"/>
                <a:gd name="connsiteY349" fmla="*/ 62008 h 1348549"/>
                <a:gd name="connsiteX350" fmla="*/ 116300 w 860393"/>
                <a:gd name="connsiteY350" fmla="*/ 69437 h 1348549"/>
                <a:gd name="connsiteX351" fmla="*/ 122491 w 860393"/>
                <a:gd name="connsiteY351" fmla="*/ 67056 h 1348549"/>
                <a:gd name="connsiteX352" fmla="*/ 124396 w 860393"/>
                <a:gd name="connsiteY352" fmla="*/ 70009 h 1348549"/>
                <a:gd name="connsiteX353" fmla="*/ 124873 w 860393"/>
                <a:gd name="connsiteY353" fmla="*/ 73152 h 1348549"/>
                <a:gd name="connsiteX354" fmla="*/ 127063 w 860393"/>
                <a:gd name="connsiteY354" fmla="*/ 77724 h 1348549"/>
                <a:gd name="connsiteX355" fmla="*/ 130397 w 860393"/>
                <a:gd name="connsiteY355" fmla="*/ 91726 h 1348549"/>
                <a:gd name="connsiteX356" fmla="*/ 128016 w 860393"/>
                <a:gd name="connsiteY356" fmla="*/ 98488 h 1348549"/>
                <a:gd name="connsiteX357" fmla="*/ 136588 w 860393"/>
                <a:gd name="connsiteY357" fmla="*/ 114967 h 1348549"/>
                <a:gd name="connsiteX358" fmla="*/ 143923 w 860393"/>
                <a:gd name="connsiteY358" fmla="*/ 122111 h 1348549"/>
                <a:gd name="connsiteX359" fmla="*/ 145256 w 860393"/>
                <a:gd name="connsiteY359" fmla="*/ 133159 h 1348549"/>
                <a:gd name="connsiteX360" fmla="*/ 142589 w 860393"/>
                <a:gd name="connsiteY360" fmla="*/ 136684 h 1348549"/>
                <a:gd name="connsiteX361" fmla="*/ 147066 w 860393"/>
                <a:gd name="connsiteY361" fmla="*/ 147352 h 1348549"/>
                <a:gd name="connsiteX362" fmla="*/ 156210 w 860393"/>
                <a:gd name="connsiteY362" fmla="*/ 155829 h 1348549"/>
                <a:gd name="connsiteX363" fmla="*/ 161163 w 860393"/>
                <a:gd name="connsiteY363" fmla="*/ 156781 h 1348549"/>
                <a:gd name="connsiteX364" fmla="*/ 164116 w 860393"/>
                <a:gd name="connsiteY364" fmla="*/ 154781 h 1348549"/>
                <a:gd name="connsiteX365" fmla="*/ 167259 w 860393"/>
                <a:gd name="connsiteY365" fmla="*/ 154400 h 1348549"/>
                <a:gd name="connsiteX366" fmla="*/ 169640 w 860393"/>
                <a:gd name="connsiteY366" fmla="*/ 160496 h 1348549"/>
                <a:gd name="connsiteX367" fmla="*/ 186595 w 860393"/>
                <a:gd name="connsiteY367" fmla="*/ 167926 h 1348549"/>
                <a:gd name="connsiteX368" fmla="*/ 189547 w 860393"/>
                <a:gd name="connsiteY368" fmla="*/ 166021 h 1348549"/>
                <a:gd name="connsiteX369" fmla="*/ 191357 w 860393"/>
                <a:gd name="connsiteY369" fmla="*/ 167354 h 1348549"/>
                <a:gd name="connsiteX370" fmla="*/ 192214 w 860393"/>
                <a:gd name="connsiteY370" fmla="*/ 173641 h 1348549"/>
                <a:gd name="connsiteX371" fmla="*/ 195739 w 860393"/>
                <a:gd name="connsiteY371" fmla="*/ 176403 h 1348549"/>
                <a:gd name="connsiteX372" fmla="*/ 204406 w 860393"/>
                <a:gd name="connsiteY372" fmla="*/ 194596 h 1348549"/>
                <a:gd name="connsiteX373" fmla="*/ 202882 w 860393"/>
                <a:gd name="connsiteY373" fmla="*/ 207550 h 1348549"/>
                <a:gd name="connsiteX374" fmla="*/ 198977 w 860393"/>
                <a:gd name="connsiteY374" fmla="*/ 214503 h 1348549"/>
                <a:gd name="connsiteX375" fmla="*/ 193072 w 860393"/>
                <a:gd name="connsiteY375" fmla="*/ 218503 h 1348549"/>
                <a:gd name="connsiteX376" fmla="*/ 191929 w 860393"/>
                <a:gd name="connsiteY376" fmla="*/ 221837 h 1348549"/>
                <a:gd name="connsiteX377" fmla="*/ 199168 w 860393"/>
                <a:gd name="connsiteY377" fmla="*/ 228886 h 1348549"/>
                <a:gd name="connsiteX378" fmla="*/ 198596 w 860393"/>
                <a:gd name="connsiteY378" fmla="*/ 236982 h 1348549"/>
                <a:gd name="connsiteX379" fmla="*/ 211455 w 860393"/>
                <a:gd name="connsiteY379" fmla="*/ 249745 h 1348549"/>
                <a:gd name="connsiteX380" fmla="*/ 207169 w 860393"/>
                <a:gd name="connsiteY380" fmla="*/ 253555 h 1348549"/>
                <a:gd name="connsiteX381" fmla="*/ 203454 w 860393"/>
                <a:gd name="connsiteY381" fmla="*/ 262033 h 1348549"/>
                <a:gd name="connsiteX382" fmla="*/ 192596 w 860393"/>
                <a:gd name="connsiteY382" fmla="*/ 265081 h 1348549"/>
                <a:gd name="connsiteX383" fmla="*/ 190976 w 860393"/>
                <a:gd name="connsiteY383" fmla="*/ 265271 h 1348549"/>
                <a:gd name="connsiteX384" fmla="*/ 186214 w 860393"/>
                <a:gd name="connsiteY384" fmla="*/ 252984 h 1348549"/>
                <a:gd name="connsiteX385" fmla="*/ 180499 w 860393"/>
                <a:gd name="connsiteY385" fmla="*/ 245745 h 1348549"/>
                <a:gd name="connsiteX386" fmla="*/ 179261 w 860393"/>
                <a:gd name="connsiteY386" fmla="*/ 236220 h 1348549"/>
                <a:gd name="connsiteX387" fmla="*/ 174117 w 860393"/>
                <a:gd name="connsiteY387" fmla="*/ 233743 h 1348549"/>
                <a:gd name="connsiteX388" fmla="*/ 165449 w 860393"/>
                <a:gd name="connsiteY388" fmla="*/ 241173 h 1348549"/>
                <a:gd name="connsiteX389" fmla="*/ 166116 w 860393"/>
                <a:gd name="connsiteY389" fmla="*/ 245936 h 1348549"/>
                <a:gd name="connsiteX390" fmla="*/ 168116 w 860393"/>
                <a:gd name="connsiteY390" fmla="*/ 248888 h 1348549"/>
                <a:gd name="connsiteX391" fmla="*/ 163925 w 860393"/>
                <a:gd name="connsiteY391" fmla="*/ 254222 h 1348549"/>
                <a:gd name="connsiteX392" fmla="*/ 162782 w 860393"/>
                <a:gd name="connsiteY392" fmla="*/ 257556 h 1348549"/>
                <a:gd name="connsiteX393" fmla="*/ 158210 w 860393"/>
                <a:gd name="connsiteY393" fmla="*/ 259747 h 1348549"/>
                <a:gd name="connsiteX394" fmla="*/ 154686 w 860393"/>
                <a:gd name="connsiteY394" fmla="*/ 256984 h 1348549"/>
                <a:gd name="connsiteX395" fmla="*/ 142018 w 860393"/>
                <a:gd name="connsiteY395" fmla="*/ 258604 h 1348549"/>
                <a:gd name="connsiteX396" fmla="*/ 140113 w 860393"/>
                <a:gd name="connsiteY396" fmla="*/ 255651 h 1348549"/>
                <a:gd name="connsiteX397" fmla="*/ 135160 w 860393"/>
                <a:gd name="connsiteY397" fmla="*/ 254698 h 1348549"/>
                <a:gd name="connsiteX398" fmla="*/ 122872 w 860393"/>
                <a:gd name="connsiteY398" fmla="*/ 259461 h 1348549"/>
                <a:gd name="connsiteX399" fmla="*/ 121920 w 860393"/>
                <a:gd name="connsiteY399" fmla="*/ 264414 h 1348549"/>
                <a:gd name="connsiteX400" fmla="*/ 115824 w 860393"/>
                <a:gd name="connsiteY400" fmla="*/ 266795 h 1348549"/>
                <a:gd name="connsiteX401" fmla="*/ 111728 w 860393"/>
                <a:gd name="connsiteY401" fmla="*/ 272129 h 1348549"/>
                <a:gd name="connsiteX402" fmla="*/ 112871 w 860393"/>
                <a:gd name="connsiteY402" fmla="*/ 281559 h 1348549"/>
                <a:gd name="connsiteX403" fmla="*/ 111919 w 860393"/>
                <a:gd name="connsiteY403" fmla="*/ 286512 h 1348549"/>
                <a:gd name="connsiteX404" fmla="*/ 105823 w 860393"/>
                <a:gd name="connsiteY404" fmla="*/ 288893 h 1348549"/>
                <a:gd name="connsiteX405" fmla="*/ 99250 w 860393"/>
                <a:gd name="connsiteY405" fmla="*/ 288131 h 1348549"/>
                <a:gd name="connsiteX406" fmla="*/ 98488 w 860393"/>
                <a:gd name="connsiteY406" fmla="*/ 294608 h 1348549"/>
                <a:gd name="connsiteX407" fmla="*/ 100679 w 860393"/>
                <a:gd name="connsiteY407" fmla="*/ 299180 h 1348549"/>
                <a:gd name="connsiteX408" fmla="*/ 99727 w 860393"/>
                <a:gd name="connsiteY408" fmla="*/ 304133 h 1348549"/>
                <a:gd name="connsiteX409" fmla="*/ 100774 w 860393"/>
                <a:gd name="connsiteY409" fmla="*/ 312039 h 1348549"/>
                <a:gd name="connsiteX410" fmla="*/ 98203 w 860393"/>
                <a:gd name="connsiteY410" fmla="*/ 317182 h 1348549"/>
                <a:gd name="connsiteX411" fmla="*/ 90869 w 860393"/>
                <a:gd name="connsiteY411" fmla="*/ 322897 h 1348549"/>
                <a:gd name="connsiteX412" fmla="*/ 90106 w 860393"/>
                <a:gd name="connsiteY412" fmla="*/ 329374 h 1348549"/>
                <a:gd name="connsiteX413" fmla="*/ 86392 w 860393"/>
                <a:gd name="connsiteY413" fmla="*/ 337947 h 1348549"/>
                <a:gd name="connsiteX414" fmla="*/ 85820 w 860393"/>
                <a:gd name="connsiteY414" fmla="*/ 345948 h 1348549"/>
                <a:gd name="connsiteX415" fmla="*/ 83058 w 860393"/>
                <a:gd name="connsiteY415" fmla="*/ 349567 h 1348549"/>
                <a:gd name="connsiteX416" fmla="*/ 81153 w 860393"/>
                <a:gd name="connsiteY416" fmla="*/ 359378 h 1348549"/>
                <a:gd name="connsiteX417" fmla="*/ 81915 w 860393"/>
                <a:gd name="connsiteY417" fmla="*/ 365760 h 1348549"/>
                <a:gd name="connsiteX418" fmla="*/ 79534 w 860393"/>
                <a:gd name="connsiteY418" fmla="*/ 372428 h 1348549"/>
                <a:gd name="connsiteX419" fmla="*/ 78010 w 860393"/>
                <a:gd name="connsiteY419" fmla="*/ 372618 h 1348549"/>
                <a:gd name="connsiteX420" fmla="*/ 77343 w 860393"/>
                <a:gd name="connsiteY420" fmla="*/ 367951 h 1348549"/>
                <a:gd name="connsiteX421" fmla="*/ 74200 w 860393"/>
                <a:gd name="connsiteY421" fmla="*/ 368332 h 1348549"/>
                <a:gd name="connsiteX422" fmla="*/ 76009 w 860393"/>
                <a:gd name="connsiteY422" fmla="*/ 382524 h 1348549"/>
                <a:gd name="connsiteX423" fmla="*/ 70295 w 860393"/>
                <a:gd name="connsiteY423" fmla="*/ 388048 h 1348549"/>
                <a:gd name="connsiteX424" fmla="*/ 62484 w 860393"/>
                <a:gd name="connsiteY424" fmla="*/ 389096 h 1348549"/>
                <a:gd name="connsiteX425" fmla="*/ 61055 w 860393"/>
                <a:gd name="connsiteY425" fmla="*/ 390811 h 1348549"/>
                <a:gd name="connsiteX426" fmla="*/ 63055 w 860393"/>
                <a:gd name="connsiteY426" fmla="*/ 393763 h 1348549"/>
                <a:gd name="connsiteX427" fmla="*/ 69628 w 860393"/>
                <a:gd name="connsiteY427" fmla="*/ 407384 h 1348549"/>
                <a:gd name="connsiteX428" fmla="*/ 70390 w 860393"/>
                <a:gd name="connsiteY428" fmla="*/ 413671 h 1348549"/>
                <a:gd name="connsiteX429" fmla="*/ 74200 w 860393"/>
                <a:gd name="connsiteY429" fmla="*/ 418052 h 1348549"/>
                <a:gd name="connsiteX430" fmla="*/ 66865 w 860393"/>
                <a:gd name="connsiteY430" fmla="*/ 423767 h 1348549"/>
                <a:gd name="connsiteX431" fmla="*/ 60007 w 860393"/>
                <a:gd name="connsiteY431" fmla="*/ 432625 h 1348549"/>
                <a:gd name="connsiteX432" fmla="*/ 57436 w 860393"/>
                <a:gd name="connsiteY432" fmla="*/ 437769 h 1348549"/>
                <a:gd name="connsiteX433" fmla="*/ 68294 w 860393"/>
                <a:gd name="connsiteY433" fmla="*/ 447675 h 1348549"/>
                <a:gd name="connsiteX434" fmla="*/ 64389 w 860393"/>
                <a:gd name="connsiteY434" fmla="*/ 454533 h 1348549"/>
                <a:gd name="connsiteX435" fmla="*/ 72104 w 860393"/>
                <a:gd name="connsiteY435" fmla="*/ 464820 h 1348549"/>
                <a:gd name="connsiteX436" fmla="*/ 66199 w 860393"/>
                <a:gd name="connsiteY436" fmla="*/ 468725 h 1348549"/>
                <a:gd name="connsiteX437" fmla="*/ 65246 w 860393"/>
                <a:gd name="connsiteY437" fmla="*/ 473678 h 1348549"/>
                <a:gd name="connsiteX438" fmla="*/ 65627 w 860393"/>
                <a:gd name="connsiteY438" fmla="*/ 476821 h 1348549"/>
                <a:gd name="connsiteX439" fmla="*/ 64389 w 860393"/>
                <a:gd name="connsiteY439" fmla="*/ 480250 h 1348549"/>
                <a:gd name="connsiteX440" fmla="*/ 56579 w 860393"/>
                <a:gd name="connsiteY440" fmla="*/ 481203 h 1348549"/>
                <a:gd name="connsiteX441" fmla="*/ 55340 w 860393"/>
                <a:gd name="connsiteY441" fmla="*/ 484537 h 1348549"/>
                <a:gd name="connsiteX442" fmla="*/ 46291 w 860393"/>
                <a:gd name="connsiteY442" fmla="*/ 488918 h 1348549"/>
                <a:gd name="connsiteX443" fmla="*/ 43910 w 860393"/>
                <a:gd name="connsiteY443" fmla="*/ 495681 h 1348549"/>
                <a:gd name="connsiteX444" fmla="*/ 39053 w 860393"/>
                <a:gd name="connsiteY444" fmla="*/ 494728 h 1348549"/>
                <a:gd name="connsiteX445" fmla="*/ 37814 w 860393"/>
                <a:gd name="connsiteY445" fmla="*/ 498062 h 1348549"/>
                <a:gd name="connsiteX446" fmla="*/ 38671 w 860393"/>
                <a:gd name="connsiteY446" fmla="*/ 504349 h 1348549"/>
                <a:gd name="connsiteX447" fmla="*/ 37433 w 860393"/>
                <a:gd name="connsiteY447" fmla="*/ 507682 h 1348549"/>
                <a:gd name="connsiteX448" fmla="*/ 33147 w 860393"/>
                <a:gd name="connsiteY448" fmla="*/ 511492 h 1348549"/>
                <a:gd name="connsiteX449" fmla="*/ 29242 w 860393"/>
                <a:gd name="connsiteY449" fmla="*/ 518350 h 1348549"/>
                <a:gd name="connsiteX450" fmla="*/ 29432 w 860393"/>
                <a:gd name="connsiteY450" fmla="*/ 519970 h 1348549"/>
                <a:gd name="connsiteX451" fmla="*/ 24860 w 860393"/>
                <a:gd name="connsiteY451" fmla="*/ 522160 h 1348549"/>
                <a:gd name="connsiteX452" fmla="*/ 19145 w 860393"/>
                <a:gd name="connsiteY452" fmla="*/ 514826 h 1348549"/>
                <a:gd name="connsiteX453" fmla="*/ 6096 w 860393"/>
                <a:gd name="connsiteY453" fmla="*/ 513302 h 1348549"/>
                <a:gd name="connsiteX454" fmla="*/ 0 w 860393"/>
                <a:gd name="connsiteY454" fmla="*/ 515684 h 1348549"/>
                <a:gd name="connsiteX455" fmla="*/ 3810 w 860393"/>
                <a:gd name="connsiteY455" fmla="*/ 532829 h 1348549"/>
                <a:gd name="connsiteX456" fmla="*/ 9144 w 860393"/>
                <a:gd name="connsiteY456" fmla="*/ 537019 h 1348549"/>
                <a:gd name="connsiteX457" fmla="*/ 13049 w 860393"/>
                <a:gd name="connsiteY457" fmla="*/ 542925 h 1348549"/>
                <a:gd name="connsiteX458" fmla="*/ 12097 w 860393"/>
                <a:gd name="connsiteY458" fmla="*/ 547783 h 1348549"/>
                <a:gd name="connsiteX459" fmla="*/ 17621 w 860393"/>
                <a:gd name="connsiteY459" fmla="*/ 553498 h 1348549"/>
                <a:gd name="connsiteX460" fmla="*/ 15526 w 860393"/>
                <a:gd name="connsiteY460" fmla="*/ 561784 h 1348549"/>
                <a:gd name="connsiteX461" fmla="*/ 15145 w 860393"/>
                <a:gd name="connsiteY461" fmla="*/ 571500 h 1348549"/>
                <a:gd name="connsiteX462" fmla="*/ 15716 w 860393"/>
                <a:gd name="connsiteY462" fmla="*/ 576263 h 1348549"/>
                <a:gd name="connsiteX463" fmla="*/ 20860 w 860393"/>
                <a:gd name="connsiteY463" fmla="*/ 578834 h 1348549"/>
                <a:gd name="connsiteX464" fmla="*/ 22288 w 860393"/>
                <a:gd name="connsiteY464" fmla="*/ 589788 h 1348549"/>
                <a:gd name="connsiteX465" fmla="*/ 29146 w 860393"/>
                <a:gd name="connsiteY465" fmla="*/ 593788 h 1348549"/>
                <a:gd name="connsiteX466" fmla="*/ 25432 w 860393"/>
                <a:gd name="connsiteY466" fmla="*/ 602266 h 1348549"/>
                <a:gd name="connsiteX467" fmla="*/ 33909 w 860393"/>
                <a:gd name="connsiteY467" fmla="*/ 605980 h 1348549"/>
                <a:gd name="connsiteX468" fmla="*/ 31432 w 860393"/>
                <a:gd name="connsiteY468" fmla="*/ 611124 h 1348549"/>
                <a:gd name="connsiteX469" fmla="*/ 33623 w 860393"/>
                <a:gd name="connsiteY469" fmla="*/ 615696 h 1348549"/>
                <a:gd name="connsiteX470" fmla="*/ 31051 w 860393"/>
                <a:gd name="connsiteY470" fmla="*/ 620744 h 1348549"/>
                <a:gd name="connsiteX471" fmla="*/ 31813 w 860393"/>
                <a:gd name="connsiteY471" fmla="*/ 627126 h 1348549"/>
                <a:gd name="connsiteX472" fmla="*/ 33814 w 860393"/>
                <a:gd name="connsiteY472" fmla="*/ 630079 h 1348549"/>
                <a:gd name="connsiteX473" fmla="*/ 29908 w 860393"/>
                <a:gd name="connsiteY473" fmla="*/ 636937 h 1348549"/>
                <a:gd name="connsiteX474" fmla="*/ 36195 w 860393"/>
                <a:gd name="connsiteY474" fmla="*/ 649034 h 1348549"/>
                <a:gd name="connsiteX475" fmla="*/ 37243 w 860393"/>
                <a:gd name="connsiteY475" fmla="*/ 656844 h 1348549"/>
                <a:gd name="connsiteX476" fmla="*/ 43910 w 860393"/>
                <a:gd name="connsiteY476" fmla="*/ 659225 h 1348549"/>
                <a:gd name="connsiteX477" fmla="*/ 40957 w 860393"/>
                <a:gd name="connsiteY477" fmla="*/ 661226 h 1348549"/>
                <a:gd name="connsiteX478" fmla="*/ 42767 w 860393"/>
                <a:gd name="connsiteY478" fmla="*/ 662559 h 1348549"/>
                <a:gd name="connsiteX479" fmla="*/ 33909 w 860393"/>
                <a:gd name="connsiteY479" fmla="*/ 668560 h 1348549"/>
                <a:gd name="connsiteX480" fmla="*/ 30766 w 860393"/>
                <a:gd name="connsiteY480" fmla="*/ 668941 h 1348549"/>
                <a:gd name="connsiteX481" fmla="*/ 24860 w 860393"/>
                <a:gd name="connsiteY481" fmla="*/ 672941 h 1348549"/>
                <a:gd name="connsiteX482" fmla="*/ 22098 w 860393"/>
                <a:gd name="connsiteY482" fmla="*/ 676465 h 1348549"/>
                <a:gd name="connsiteX483" fmla="*/ 22098 w 860393"/>
                <a:gd name="connsiteY483" fmla="*/ 689324 h 1348549"/>
                <a:gd name="connsiteX484" fmla="*/ 21336 w 860393"/>
                <a:gd name="connsiteY484" fmla="*/ 695801 h 1348549"/>
                <a:gd name="connsiteX485" fmla="*/ 24860 w 860393"/>
                <a:gd name="connsiteY485" fmla="*/ 698563 h 1348549"/>
                <a:gd name="connsiteX486" fmla="*/ 20955 w 860393"/>
                <a:gd name="connsiteY486" fmla="*/ 705422 h 1348549"/>
                <a:gd name="connsiteX487" fmla="*/ 23527 w 860393"/>
                <a:gd name="connsiteY487" fmla="*/ 713137 h 1348549"/>
                <a:gd name="connsiteX488" fmla="*/ 28480 w 860393"/>
                <a:gd name="connsiteY488" fmla="*/ 714089 h 1348549"/>
                <a:gd name="connsiteX489" fmla="*/ 28670 w 860393"/>
                <a:gd name="connsiteY489" fmla="*/ 715709 h 1348549"/>
                <a:gd name="connsiteX490" fmla="*/ 32290 w 860393"/>
                <a:gd name="connsiteY490" fmla="*/ 718471 h 1348549"/>
                <a:gd name="connsiteX491" fmla="*/ 34195 w 860393"/>
                <a:gd name="connsiteY491" fmla="*/ 721423 h 1348549"/>
                <a:gd name="connsiteX492" fmla="*/ 39338 w 860393"/>
                <a:gd name="connsiteY492" fmla="*/ 723995 h 1348549"/>
                <a:gd name="connsiteX493" fmla="*/ 36576 w 860393"/>
                <a:gd name="connsiteY493" fmla="*/ 727519 h 1348549"/>
                <a:gd name="connsiteX494" fmla="*/ 38957 w 860393"/>
                <a:gd name="connsiteY494" fmla="*/ 733615 h 1348549"/>
                <a:gd name="connsiteX495" fmla="*/ 36671 w 860393"/>
                <a:gd name="connsiteY495" fmla="*/ 740378 h 1348549"/>
                <a:gd name="connsiteX496" fmla="*/ 44767 w 860393"/>
                <a:gd name="connsiteY496" fmla="*/ 753713 h 1348549"/>
                <a:gd name="connsiteX497" fmla="*/ 56483 w 860393"/>
                <a:gd name="connsiteY497" fmla="*/ 769906 h 1348549"/>
                <a:gd name="connsiteX498" fmla="*/ 61817 w 860393"/>
                <a:gd name="connsiteY498" fmla="*/ 774001 h 1348549"/>
                <a:gd name="connsiteX499" fmla="*/ 66675 w 860393"/>
                <a:gd name="connsiteY499" fmla="*/ 775049 h 1348549"/>
                <a:gd name="connsiteX500" fmla="*/ 70675 w 860393"/>
                <a:gd name="connsiteY500" fmla="*/ 780955 h 1348549"/>
                <a:gd name="connsiteX501" fmla="*/ 67723 w 860393"/>
                <a:gd name="connsiteY501" fmla="*/ 782860 h 1348549"/>
                <a:gd name="connsiteX502" fmla="*/ 68104 w 860393"/>
                <a:gd name="connsiteY502" fmla="*/ 786098 h 1348549"/>
                <a:gd name="connsiteX503" fmla="*/ 68294 w 860393"/>
                <a:gd name="connsiteY503" fmla="*/ 787622 h 1348549"/>
                <a:gd name="connsiteX504" fmla="*/ 63817 w 860393"/>
                <a:gd name="connsiteY504" fmla="*/ 789813 h 1348549"/>
                <a:gd name="connsiteX505" fmla="*/ 64008 w 860393"/>
                <a:gd name="connsiteY505" fmla="*/ 791432 h 1348549"/>
                <a:gd name="connsiteX506" fmla="*/ 73247 w 860393"/>
                <a:gd name="connsiteY506" fmla="*/ 801434 h 1348549"/>
                <a:gd name="connsiteX507" fmla="*/ 78391 w 860393"/>
                <a:gd name="connsiteY507" fmla="*/ 804005 h 1348549"/>
                <a:gd name="connsiteX508" fmla="*/ 74676 w 860393"/>
                <a:gd name="connsiteY508" fmla="*/ 812483 h 1348549"/>
                <a:gd name="connsiteX509" fmla="*/ 71533 w 860393"/>
                <a:gd name="connsiteY509" fmla="*/ 812863 h 1348549"/>
                <a:gd name="connsiteX510" fmla="*/ 67628 w 860393"/>
                <a:gd name="connsiteY510" fmla="*/ 819817 h 1348549"/>
                <a:gd name="connsiteX511" fmla="*/ 63246 w 860393"/>
                <a:gd name="connsiteY511" fmla="*/ 823531 h 1348549"/>
                <a:gd name="connsiteX512" fmla="*/ 65437 w 860393"/>
                <a:gd name="connsiteY512" fmla="*/ 828104 h 1348549"/>
                <a:gd name="connsiteX513" fmla="*/ 68580 w 860393"/>
                <a:gd name="connsiteY513" fmla="*/ 827722 h 1348549"/>
                <a:gd name="connsiteX514" fmla="*/ 73342 w 860393"/>
                <a:gd name="connsiteY514" fmla="*/ 827056 h 1348549"/>
                <a:gd name="connsiteX515" fmla="*/ 74295 w 860393"/>
                <a:gd name="connsiteY515" fmla="*/ 822198 h 1348549"/>
                <a:gd name="connsiteX516" fmla="*/ 79057 w 860393"/>
                <a:gd name="connsiteY516" fmla="*/ 821531 h 1348549"/>
                <a:gd name="connsiteX517" fmla="*/ 79629 w 860393"/>
                <a:gd name="connsiteY517" fmla="*/ 826294 h 1348549"/>
                <a:gd name="connsiteX518" fmla="*/ 81439 w 860393"/>
                <a:gd name="connsiteY518" fmla="*/ 827627 h 1348549"/>
                <a:gd name="connsiteX519" fmla="*/ 86011 w 860393"/>
                <a:gd name="connsiteY519" fmla="*/ 825437 h 1348549"/>
                <a:gd name="connsiteX520" fmla="*/ 92297 w 860393"/>
                <a:gd name="connsiteY520" fmla="*/ 824675 h 1348549"/>
                <a:gd name="connsiteX521" fmla="*/ 96203 w 860393"/>
                <a:gd name="connsiteY521" fmla="*/ 830580 h 1348549"/>
                <a:gd name="connsiteX522" fmla="*/ 103156 w 860393"/>
                <a:gd name="connsiteY522" fmla="*/ 834485 h 1348549"/>
                <a:gd name="connsiteX523" fmla="*/ 102394 w 860393"/>
                <a:gd name="connsiteY523" fmla="*/ 841058 h 1348549"/>
                <a:gd name="connsiteX524" fmla="*/ 98679 w 860393"/>
                <a:gd name="connsiteY524" fmla="*/ 849535 h 1348549"/>
                <a:gd name="connsiteX525" fmla="*/ 100394 w 860393"/>
                <a:gd name="connsiteY525" fmla="*/ 850868 h 1348549"/>
                <a:gd name="connsiteX526" fmla="*/ 100870 w 860393"/>
                <a:gd name="connsiteY526" fmla="*/ 854012 h 1348549"/>
                <a:gd name="connsiteX527" fmla="*/ 103822 w 860393"/>
                <a:gd name="connsiteY527" fmla="*/ 852106 h 1348549"/>
                <a:gd name="connsiteX528" fmla="*/ 104394 w 860393"/>
                <a:gd name="connsiteY528" fmla="*/ 856774 h 1348549"/>
                <a:gd name="connsiteX529" fmla="*/ 101917 w 860393"/>
                <a:gd name="connsiteY529" fmla="*/ 874776 h 1348549"/>
                <a:gd name="connsiteX530" fmla="*/ 104299 w 860393"/>
                <a:gd name="connsiteY530" fmla="*/ 880872 h 1348549"/>
                <a:gd name="connsiteX531" fmla="*/ 98774 w 860393"/>
                <a:gd name="connsiteY531" fmla="*/ 888016 h 1348549"/>
                <a:gd name="connsiteX532" fmla="*/ 95631 w 860393"/>
                <a:gd name="connsiteY532" fmla="*/ 888397 h 1348549"/>
                <a:gd name="connsiteX533" fmla="*/ 89440 w 860393"/>
                <a:gd name="connsiteY533" fmla="*/ 890778 h 1348549"/>
                <a:gd name="connsiteX534" fmla="*/ 91630 w 860393"/>
                <a:gd name="connsiteY534" fmla="*/ 895350 h 1348549"/>
                <a:gd name="connsiteX535" fmla="*/ 90297 w 860393"/>
                <a:gd name="connsiteY535" fmla="*/ 897064 h 1348549"/>
                <a:gd name="connsiteX536" fmla="*/ 88868 w 860393"/>
                <a:gd name="connsiteY536" fmla="*/ 898874 h 1348549"/>
                <a:gd name="connsiteX537" fmla="*/ 82391 w 860393"/>
                <a:gd name="connsiteY537" fmla="*/ 898112 h 1348549"/>
                <a:gd name="connsiteX538" fmla="*/ 78296 w 860393"/>
                <a:gd name="connsiteY538" fmla="*/ 903446 h 1348549"/>
                <a:gd name="connsiteX539" fmla="*/ 78867 w 860393"/>
                <a:gd name="connsiteY539" fmla="*/ 908209 h 1348549"/>
                <a:gd name="connsiteX540" fmla="*/ 74104 w 860393"/>
                <a:gd name="connsiteY540" fmla="*/ 908780 h 1348549"/>
                <a:gd name="connsiteX541" fmla="*/ 75724 w 860393"/>
                <a:gd name="connsiteY541" fmla="*/ 921448 h 1348549"/>
                <a:gd name="connsiteX542" fmla="*/ 74390 w 860393"/>
                <a:gd name="connsiteY542" fmla="*/ 923163 h 1348549"/>
                <a:gd name="connsiteX543" fmla="*/ 75152 w 860393"/>
                <a:gd name="connsiteY543" fmla="*/ 929545 h 1348549"/>
                <a:gd name="connsiteX544" fmla="*/ 81153 w 860393"/>
                <a:gd name="connsiteY544" fmla="*/ 938403 h 1348549"/>
                <a:gd name="connsiteX545" fmla="*/ 88392 w 860393"/>
                <a:gd name="connsiteY545" fmla="*/ 945451 h 1348549"/>
                <a:gd name="connsiteX546" fmla="*/ 87058 w 860393"/>
                <a:gd name="connsiteY546" fmla="*/ 947261 h 1348549"/>
                <a:gd name="connsiteX547" fmla="*/ 83534 w 860393"/>
                <a:gd name="connsiteY547" fmla="*/ 944499 h 1348549"/>
                <a:gd name="connsiteX548" fmla="*/ 83058 w 860393"/>
                <a:gd name="connsiteY548" fmla="*/ 941356 h 1348549"/>
                <a:gd name="connsiteX549" fmla="*/ 81344 w 860393"/>
                <a:gd name="connsiteY549" fmla="*/ 939927 h 1348549"/>
                <a:gd name="connsiteX550" fmla="*/ 81724 w 860393"/>
                <a:gd name="connsiteY550" fmla="*/ 943070 h 1348549"/>
                <a:gd name="connsiteX551" fmla="*/ 80486 w 860393"/>
                <a:gd name="connsiteY551" fmla="*/ 946499 h 1348549"/>
                <a:gd name="connsiteX552" fmla="*/ 78962 w 860393"/>
                <a:gd name="connsiteY552" fmla="*/ 946690 h 1348549"/>
                <a:gd name="connsiteX553" fmla="*/ 78391 w 860393"/>
                <a:gd name="connsiteY553" fmla="*/ 954786 h 1348549"/>
                <a:gd name="connsiteX554" fmla="*/ 74104 w 860393"/>
                <a:gd name="connsiteY554" fmla="*/ 958501 h 1348549"/>
                <a:gd name="connsiteX555" fmla="*/ 77819 w 860393"/>
                <a:gd name="connsiteY555" fmla="*/ 962787 h 1348549"/>
                <a:gd name="connsiteX556" fmla="*/ 76676 w 860393"/>
                <a:gd name="connsiteY556" fmla="*/ 966216 h 1348549"/>
                <a:gd name="connsiteX557" fmla="*/ 73723 w 860393"/>
                <a:gd name="connsiteY557" fmla="*/ 968216 h 1348549"/>
                <a:gd name="connsiteX558" fmla="*/ 76105 w 860393"/>
                <a:gd name="connsiteY558" fmla="*/ 974312 h 1348549"/>
                <a:gd name="connsiteX559" fmla="*/ 77819 w 860393"/>
                <a:gd name="connsiteY559" fmla="*/ 975646 h 1348549"/>
                <a:gd name="connsiteX560" fmla="*/ 71723 w 860393"/>
                <a:gd name="connsiteY560" fmla="*/ 978027 h 1348549"/>
                <a:gd name="connsiteX561" fmla="*/ 72104 w 860393"/>
                <a:gd name="connsiteY561" fmla="*/ 981170 h 1348549"/>
                <a:gd name="connsiteX562" fmla="*/ 67628 w 860393"/>
                <a:gd name="connsiteY562" fmla="*/ 983361 h 1348549"/>
                <a:gd name="connsiteX563" fmla="*/ 65818 w 860393"/>
                <a:gd name="connsiteY563" fmla="*/ 982027 h 1348549"/>
                <a:gd name="connsiteX564" fmla="*/ 65056 w 860393"/>
                <a:gd name="connsiteY564" fmla="*/ 988505 h 1348549"/>
                <a:gd name="connsiteX565" fmla="*/ 70009 w 860393"/>
                <a:gd name="connsiteY565" fmla="*/ 989457 h 1348549"/>
                <a:gd name="connsiteX566" fmla="*/ 72390 w 860393"/>
                <a:gd name="connsiteY566" fmla="*/ 995648 h 1348549"/>
                <a:gd name="connsiteX567" fmla="*/ 75724 w 860393"/>
                <a:gd name="connsiteY567" fmla="*/ 996791 h 1348549"/>
                <a:gd name="connsiteX568" fmla="*/ 74581 w 860393"/>
                <a:gd name="connsiteY568" fmla="*/ 1000125 h 1348549"/>
                <a:gd name="connsiteX569" fmla="*/ 70009 w 860393"/>
                <a:gd name="connsiteY569" fmla="*/ 1002316 h 1348549"/>
                <a:gd name="connsiteX570" fmla="*/ 62294 w 860393"/>
                <a:gd name="connsiteY570" fmla="*/ 1004888 h 1348549"/>
                <a:gd name="connsiteX571" fmla="*/ 60579 w 860393"/>
                <a:gd name="connsiteY571" fmla="*/ 1003554 h 1348549"/>
                <a:gd name="connsiteX572" fmla="*/ 58388 w 860393"/>
                <a:gd name="connsiteY572" fmla="*/ 998982 h 1348549"/>
                <a:gd name="connsiteX573" fmla="*/ 54769 w 860393"/>
                <a:gd name="connsiteY573" fmla="*/ 996220 h 1348549"/>
                <a:gd name="connsiteX574" fmla="*/ 51816 w 860393"/>
                <a:gd name="connsiteY574" fmla="*/ 998220 h 1348549"/>
                <a:gd name="connsiteX575" fmla="*/ 49625 w 860393"/>
                <a:gd name="connsiteY575" fmla="*/ 993648 h 1348549"/>
                <a:gd name="connsiteX576" fmla="*/ 48673 w 860393"/>
                <a:gd name="connsiteY576" fmla="*/ 998601 h 1348549"/>
                <a:gd name="connsiteX577" fmla="*/ 46672 w 860393"/>
                <a:gd name="connsiteY577" fmla="*/ 995648 h 1348549"/>
                <a:gd name="connsiteX578" fmla="*/ 40005 w 860393"/>
                <a:gd name="connsiteY578" fmla="*/ 993362 h 1348549"/>
                <a:gd name="connsiteX579" fmla="*/ 34480 w 860393"/>
                <a:gd name="connsiteY579" fmla="*/ 987647 h 1348549"/>
                <a:gd name="connsiteX580" fmla="*/ 38386 w 860393"/>
                <a:gd name="connsiteY580" fmla="*/ 993553 h 1348549"/>
                <a:gd name="connsiteX581" fmla="*/ 35242 w 860393"/>
                <a:gd name="connsiteY581" fmla="*/ 993934 h 1348549"/>
                <a:gd name="connsiteX582" fmla="*/ 37433 w 860393"/>
                <a:gd name="connsiteY582" fmla="*/ 998410 h 1348549"/>
                <a:gd name="connsiteX583" fmla="*/ 34480 w 860393"/>
                <a:gd name="connsiteY583" fmla="*/ 1000411 h 1348549"/>
                <a:gd name="connsiteX584" fmla="*/ 34671 w 860393"/>
                <a:gd name="connsiteY584" fmla="*/ 1002030 h 1348549"/>
                <a:gd name="connsiteX585" fmla="*/ 37052 w 860393"/>
                <a:gd name="connsiteY585" fmla="*/ 1008126 h 1348549"/>
                <a:gd name="connsiteX586" fmla="*/ 36290 w 860393"/>
                <a:gd name="connsiteY586" fmla="*/ 1014603 h 1348549"/>
                <a:gd name="connsiteX587" fmla="*/ 38100 w 860393"/>
                <a:gd name="connsiteY587" fmla="*/ 1016032 h 1348549"/>
                <a:gd name="connsiteX588" fmla="*/ 41243 w 860393"/>
                <a:gd name="connsiteY588" fmla="*/ 1015651 h 1348549"/>
                <a:gd name="connsiteX589" fmla="*/ 41434 w 860393"/>
                <a:gd name="connsiteY589" fmla="*/ 1017175 h 1348549"/>
                <a:gd name="connsiteX590" fmla="*/ 41624 w 860393"/>
                <a:gd name="connsiteY590" fmla="*/ 1018794 h 1348549"/>
                <a:gd name="connsiteX591" fmla="*/ 38862 w 860393"/>
                <a:gd name="connsiteY591" fmla="*/ 1022318 h 1348549"/>
                <a:gd name="connsiteX592" fmla="*/ 36766 w 860393"/>
                <a:gd name="connsiteY592" fmla="*/ 1030605 h 1348549"/>
                <a:gd name="connsiteX593" fmla="*/ 33814 w 860393"/>
                <a:gd name="connsiteY593" fmla="*/ 1032605 h 1348549"/>
                <a:gd name="connsiteX594" fmla="*/ 31432 w 860393"/>
                <a:gd name="connsiteY594" fmla="*/ 1039273 h 1348549"/>
                <a:gd name="connsiteX595" fmla="*/ 37909 w 860393"/>
                <a:gd name="connsiteY595" fmla="*/ 1040035 h 1348549"/>
                <a:gd name="connsiteX596" fmla="*/ 44101 w 860393"/>
                <a:gd name="connsiteY596" fmla="*/ 1037654 h 1348549"/>
                <a:gd name="connsiteX597" fmla="*/ 47434 w 860393"/>
                <a:gd name="connsiteY597" fmla="*/ 1038892 h 1348549"/>
                <a:gd name="connsiteX598" fmla="*/ 52388 w 860393"/>
                <a:gd name="connsiteY598" fmla="*/ 1039844 h 1348549"/>
                <a:gd name="connsiteX599" fmla="*/ 55340 w 860393"/>
                <a:gd name="connsiteY599" fmla="*/ 1037844 h 1348549"/>
                <a:gd name="connsiteX600" fmla="*/ 62008 w 860393"/>
                <a:gd name="connsiteY600" fmla="*/ 1040225 h 1348549"/>
                <a:gd name="connsiteX601" fmla="*/ 64008 w 860393"/>
                <a:gd name="connsiteY601" fmla="*/ 1043178 h 1348549"/>
                <a:gd name="connsiteX602" fmla="*/ 72676 w 860393"/>
                <a:gd name="connsiteY602" fmla="*/ 1048512 h 1348549"/>
                <a:gd name="connsiteX603" fmla="*/ 80772 w 860393"/>
                <a:gd name="connsiteY603" fmla="*/ 1049084 h 1348549"/>
                <a:gd name="connsiteX604" fmla="*/ 85154 w 860393"/>
                <a:gd name="connsiteY604" fmla="*/ 1045273 h 1348549"/>
                <a:gd name="connsiteX605" fmla="*/ 83725 w 860393"/>
                <a:gd name="connsiteY605" fmla="*/ 1047083 h 1348549"/>
                <a:gd name="connsiteX606" fmla="*/ 84106 w 860393"/>
                <a:gd name="connsiteY606" fmla="*/ 1050227 h 1348549"/>
                <a:gd name="connsiteX607" fmla="*/ 85344 w 860393"/>
                <a:gd name="connsiteY607" fmla="*/ 1046893 h 1348549"/>
                <a:gd name="connsiteX608" fmla="*/ 87058 w 860393"/>
                <a:gd name="connsiteY608" fmla="*/ 1048226 h 1348549"/>
                <a:gd name="connsiteX609" fmla="*/ 92012 w 860393"/>
                <a:gd name="connsiteY609" fmla="*/ 1049274 h 1348549"/>
                <a:gd name="connsiteX610" fmla="*/ 92202 w 860393"/>
                <a:gd name="connsiteY610" fmla="*/ 1050798 h 1348549"/>
                <a:gd name="connsiteX611" fmla="*/ 95155 w 860393"/>
                <a:gd name="connsiteY611" fmla="*/ 1048798 h 1348549"/>
                <a:gd name="connsiteX612" fmla="*/ 96964 w 860393"/>
                <a:gd name="connsiteY612" fmla="*/ 1050227 h 1348549"/>
                <a:gd name="connsiteX613" fmla="*/ 98584 w 860393"/>
                <a:gd name="connsiteY613" fmla="*/ 1050036 h 1348549"/>
                <a:gd name="connsiteX614" fmla="*/ 97155 w 860393"/>
                <a:gd name="connsiteY614" fmla="*/ 1051751 h 1348549"/>
                <a:gd name="connsiteX615" fmla="*/ 90869 w 860393"/>
                <a:gd name="connsiteY615" fmla="*/ 1052608 h 1348549"/>
                <a:gd name="connsiteX616" fmla="*/ 85725 w 860393"/>
                <a:gd name="connsiteY616" fmla="*/ 1050036 h 1348549"/>
                <a:gd name="connsiteX617" fmla="*/ 81153 w 860393"/>
                <a:gd name="connsiteY617" fmla="*/ 1052227 h 1348549"/>
                <a:gd name="connsiteX618" fmla="*/ 77248 w 860393"/>
                <a:gd name="connsiteY618" fmla="*/ 1059085 h 1348549"/>
                <a:gd name="connsiteX619" fmla="*/ 79248 w 860393"/>
                <a:gd name="connsiteY619" fmla="*/ 1062133 h 1348549"/>
                <a:gd name="connsiteX620" fmla="*/ 80200 w 860393"/>
                <a:gd name="connsiteY620" fmla="*/ 1069943 h 1348549"/>
                <a:gd name="connsiteX621" fmla="*/ 78867 w 860393"/>
                <a:gd name="connsiteY621" fmla="*/ 1071753 h 1348549"/>
                <a:gd name="connsiteX622" fmla="*/ 75914 w 860393"/>
                <a:gd name="connsiteY622" fmla="*/ 1073753 h 1348549"/>
                <a:gd name="connsiteX623" fmla="*/ 72580 w 860393"/>
                <a:gd name="connsiteY623" fmla="*/ 1072515 h 1348549"/>
                <a:gd name="connsiteX624" fmla="*/ 66865 w 860393"/>
                <a:gd name="connsiteY624" fmla="*/ 1078135 h 1348549"/>
                <a:gd name="connsiteX625" fmla="*/ 68866 w 860393"/>
                <a:gd name="connsiteY625" fmla="*/ 1081088 h 1348549"/>
                <a:gd name="connsiteX626" fmla="*/ 65532 w 860393"/>
                <a:gd name="connsiteY626" fmla="*/ 1092708 h 1348549"/>
                <a:gd name="connsiteX627" fmla="*/ 69247 w 860393"/>
                <a:gd name="connsiteY627" fmla="*/ 1096994 h 1348549"/>
                <a:gd name="connsiteX628" fmla="*/ 70104 w 860393"/>
                <a:gd name="connsiteY628" fmla="*/ 1103376 h 1348549"/>
                <a:gd name="connsiteX629" fmla="*/ 72009 w 860393"/>
                <a:gd name="connsiteY629" fmla="*/ 1106329 h 1348549"/>
                <a:gd name="connsiteX630" fmla="*/ 72676 w 860393"/>
                <a:gd name="connsiteY630" fmla="*/ 1110996 h 1348549"/>
                <a:gd name="connsiteX631" fmla="*/ 76581 w 860393"/>
                <a:gd name="connsiteY631" fmla="*/ 1116902 h 1348549"/>
                <a:gd name="connsiteX632" fmla="*/ 76771 w 860393"/>
                <a:gd name="connsiteY632" fmla="*/ 1118521 h 1348549"/>
                <a:gd name="connsiteX633" fmla="*/ 73628 w 860393"/>
                <a:gd name="connsiteY633" fmla="*/ 1118902 h 1348549"/>
                <a:gd name="connsiteX634" fmla="*/ 76962 w 860393"/>
                <a:gd name="connsiteY634" fmla="*/ 1120140 h 1348549"/>
                <a:gd name="connsiteX635" fmla="*/ 76105 w 860393"/>
                <a:gd name="connsiteY635" fmla="*/ 1137856 h 1348549"/>
                <a:gd name="connsiteX636" fmla="*/ 80963 w 860393"/>
                <a:gd name="connsiteY636" fmla="*/ 1138809 h 1348549"/>
                <a:gd name="connsiteX637" fmla="*/ 82963 w 860393"/>
                <a:gd name="connsiteY637" fmla="*/ 1141762 h 1348549"/>
                <a:gd name="connsiteX638" fmla="*/ 89249 w 860393"/>
                <a:gd name="connsiteY638" fmla="*/ 1141000 h 1348549"/>
                <a:gd name="connsiteX639" fmla="*/ 91059 w 860393"/>
                <a:gd name="connsiteY639" fmla="*/ 1142333 h 1348549"/>
                <a:gd name="connsiteX640" fmla="*/ 88963 w 860393"/>
                <a:gd name="connsiteY640" fmla="*/ 1150620 h 1348549"/>
                <a:gd name="connsiteX641" fmla="*/ 92107 w 860393"/>
                <a:gd name="connsiteY641" fmla="*/ 1150239 h 1348549"/>
                <a:gd name="connsiteX642" fmla="*/ 94297 w 860393"/>
                <a:gd name="connsiteY642" fmla="*/ 1154811 h 1348549"/>
                <a:gd name="connsiteX643" fmla="*/ 92869 w 860393"/>
                <a:gd name="connsiteY643" fmla="*/ 1156526 h 1348549"/>
                <a:gd name="connsiteX644" fmla="*/ 97822 w 860393"/>
                <a:gd name="connsiteY644" fmla="*/ 1157573 h 1348549"/>
                <a:gd name="connsiteX645" fmla="*/ 98203 w 860393"/>
                <a:gd name="connsiteY645" fmla="*/ 1160717 h 1348549"/>
                <a:gd name="connsiteX646" fmla="*/ 97250 w 860393"/>
                <a:gd name="connsiteY646" fmla="*/ 1165669 h 1348549"/>
                <a:gd name="connsiteX647" fmla="*/ 95440 w 860393"/>
                <a:gd name="connsiteY647" fmla="*/ 1164241 h 1348549"/>
                <a:gd name="connsiteX648" fmla="*/ 94107 w 860393"/>
                <a:gd name="connsiteY648" fmla="*/ 1166051 h 1348549"/>
                <a:gd name="connsiteX649" fmla="*/ 87821 w 860393"/>
                <a:gd name="connsiteY649" fmla="*/ 1166813 h 1348549"/>
                <a:gd name="connsiteX650" fmla="*/ 86392 w 860393"/>
                <a:gd name="connsiteY650" fmla="*/ 1168622 h 1348549"/>
                <a:gd name="connsiteX651" fmla="*/ 79915 w 860393"/>
                <a:gd name="connsiteY651" fmla="*/ 1167860 h 1348549"/>
                <a:gd name="connsiteX652" fmla="*/ 77343 w 860393"/>
                <a:gd name="connsiteY652" fmla="*/ 1173004 h 1348549"/>
                <a:gd name="connsiteX653" fmla="*/ 77724 w 860393"/>
                <a:gd name="connsiteY653" fmla="*/ 1176147 h 1348549"/>
                <a:gd name="connsiteX654" fmla="*/ 75343 w 860393"/>
                <a:gd name="connsiteY654" fmla="*/ 1182814 h 1348549"/>
                <a:gd name="connsiteX655" fmla="*/ 76200 w 860393"/>
                <a:gd name="connsiteY655" fmla="*/ 1189196 h 1348549"/>
                <a:gd name="connsiteX656" fmla="*/ 79534 w 860393"/>
                <a:gd name="connsiteY656" fmla="*/ 1190339 h 1348549"/>
                <a:gd name="connsiteX657" fmla="*/ 80677 w 860393"/>
                <a:gd name="connsiteY657" fmla="*/ 1187006 h 1348549"/>
                <a:gd name="connsiteX658" fmla="*/ 85630 w 860393"/>
                <a:gd name="connsiteY658" fmla="*/ 1187958 h 1348549"/>
                <a:gd name="connsiteX659" fmla="*/ 83344 w 860393"/>
                <a:gd name="connsiteY659" fmla="*/ 1194721 h 1348549"/>
                <a:gd name="connsiteX660" fmla="*/ 100489 w 860393"/>
                <a:gd name="connsiteY660" fmla="*/ 1203674 h 1348549"/>
                <a:gd name="connsiteX661" fmla="*/ 108013 w 860393"/>
                <a:gd name="connsiteY661" fmla="*/ 1212342 h 1348549"/>
                <a:gd name="connsiteX662" fmla="*/ 118110 w 860393"/>
                <a:gd name="connsiteY662" fmla="*/ 1215866 h 1348549"/>
                <a:gd name="connsiteX663" fmla="*/ 122015 w 860393"/>
                <a:gd name="connsiteY663" fmla="*/ 1221772 h 1348549"/>
                <a:gd name="connsiteX664" fmla="*/ 124968 w 860393"/>
                <a:gd name="connsiteY664" fmla="*/ 1219867 h 1348549"/>
                <a:gd name="connsiteX665" fmla="*/ 124587 w 860393"/>
                <a:gd name="connsiteY665" fmla="*/ 1216723 h 1348549"/>
                <a:gd name="connsiteX666" fmla="*/ 129730 w 860393"/>
                <a:gd name="connsiteY666" fmla="*/ 1206437 h 1348549"/>
                <a:gd name="connsiteX667" fmla="*/ 135636 w 860393"/>
                <a:gd name="connsiteY667" fmla="*/ 1202436 h 1348549"/>
                <a:gd name="connsiteX668" fmla="*/ 140303 w 860393"/>
                <a:gd name="connsiteY668" fmla="*/ 1201864 h 1348549"/>
                <a:gd name="connsiteX669" fmla="*/ 144685 w 860393"/>
                <a:gd name="connsiteY669" fmla="*/ 1198055 h 1348549"/>
                <a:gd name="connsiteX670" fmla="*/ 148019 w 860393"/>
                <a:gd name="connsiteY670" fmla="*/ 1199293 h 1348549"/>
                <a:gd name="connsiteX671" fmla="*/ 144304 w 860393"/>
                <a:gd name="connsiteY671" fmla="*/ 1194911 h 1348549"/>
                <a:gd name="connsiteX672" fmla="*/ 145066 w 860393"/>
                <a:gd name="connsiteY672" fmla="*/ 1188434 h 1348549"/>
                <a:gd name="connsiteX673" fmla="*/ 144875 w 860393"/>
                <a:gd name="connsiteY673" fmla="*/ 1186815 h 1348549"/>
                <a:gd name="connsiteX674" fmla="*/ 144208 w 860393"/>
                <a:gd name="connsiteY674" fmla="*/ 1182052 h 1348549"/>
                <a:gd name="connsiteX675" fmla="*/ 145828 w 860393"/>
                <a:gd name="connsiteY675" fmla="*/ 1181862 h 1348549"/>
                <a:gd name="connsiteX676" fmla="*/ 148971 w 860393"/>
                <a:gd name="connsiteY676" fmla="*/ 1168718 h 1348549"/>
                <a:gd name="connsiteX677" fmla="*/ 152876 w 860393"/>
                <a:gd name="connsiteY677" fmla="*/ 1174623 h 1348549"/>
                <a:gd name="connsiteX678" fmla="*/ 155829 w 860393"/>
                <a:gd name="connsiteY678" fmla="*/ 1172623 h 1348549"/>
                <a:gd name="connsiteX679" fmla="*/ 161544 w 860393"/>
                <a:gd name="connsiteY679" fmla="*/ 1167098 h 1348549"/>
                <a:gd name="connsiteX680" fmla="*/ 154210 w 860393"/>
                <a:gd name="connsiteY680" fmla="*/ 1159955 h 1348549"/>
                <a:gd name="connsiteX681" fmla="*/ 155067 w 860393"/>
                <a:gd name="connsiteY681" fmla="*/ 1153477 h 1348549"/>
                <a:gd name="connsiteX682" fmla="*/ 153257 w 860393"/>
                <a:gd name="connsiteY682" fmla="*/ 1152049 h 1348549"/>
                <a:gd name="connsiteX683" fmla="*/ 144971 w 860393"/>
                <a:gd name="connsiteY683" fmla="*/ 1149953 h 1348549"/>
                <a:gd name="connsiteX684" fmla="*/ 142970 w 860393"/>
                <a:gd name="connsiteY684" fmla="*/ 1147001 h 1348549"/>
                <a:gd name="connsiteX685" fmla="*/ 144113 w 860393"/>
                <a:gd name="connsiteY685" fmla="*/ 1143572 h 1348549"/>
                <a:gd name="connsiteX686" fmla="*/ 148685 w 860393"/>
                <a:gd name="connsiteY686" fmla="*/ 1141476 h 1348549"/>
                <a:gd name="connsiteX687" fmla="*/ 148495 w 860393"/>
                <a:gd name="connsiteY687" fmla="*/ 1139857 h 1348549"/>
                <a:gd name="connsiteX688" fmla="*/ 149638 w 860393"/>
                <a:gd name="connsiteY688" fmla="*/ 1136523 h 1348549"/>
                <a:gd name="connsiteX689" fmla="*/ 146304 w 860393"/>
                <a:gd name="connsiteY689" fmla="*/ 1135285 h 1348549"/>
                <a:gd name="connsiteX690" fmla="*/ 145923 w 860393"/>
                <a:gd name="connsiteY690" fmla="*/ 1132142 h 1348549"/>
                <a:gd name="connsiteX691" fmla="*/ 141161 w 860393"/>
                <a:gd name="connsiteY691" fmla="*/ 1132808 h 1348549"/>
                <a:gd name="connsiteX692" fmla="*/ 139827 w 860393"/>
                <a:gd name="connsiteY692" fmla="*/ 1134523 h 1348549"/>
                <a:gd name="connsiteX693" fmla="*/ 139160 w 860393"/>
                <a:gd name="connsiteY693" fmla="*/ 1129856 h 1348549"/>
                <a:gd name="connsiteX694" fmla="*/ 137636 w 860393"/>
                <a:gd name="connsiteY694" fmla="*/ 1130046 h 1348549"/>
                <a:gd name="connsiteX695" fmla="*/ 135255 w 860393"/>
                <a:gd name="connsiteY695" fmla="*/ 1123950 h 1348549"/>
                <a:gd name="connsiteX696" fmla="*/ 133445 w 860393"/>
                <a:gd name="connsiteY696" fmla="*/ 1122521 h 1348549"/>
                <a:gd name="connsiteX697" fmla="*/ 133255 w 860393"/>
                <a:gd name="connsiteY697" fmla="*/ 1120997 h 1348549"/>
                <a:gd name="connsiteX698" fmla="*/ 130302 w 860393"/>
                <a:gd name="connsiteY698" fmla="*/ 1122902 h 1348549"/>
                <a:gd name="connsiteX699" fmla="*/ 126968 w 860393"/>
                <a:gd name="connsiteY699" fmla="*/ 1121759 h 1348549"/>
                <a:gd name="connsiteX700" fmla="*/ 125349 w 860393"/>
                <a:gd name="connsiteY700" fmla="*/ 1121950 h 1348549"/>
                <a:gd name="connsiteX701" fmla="*/ 127730 w 860393"/>
                <a:gd name="connsiteY701" fmla="*/ 1115282 h 1348549"/>
                <a:gd name="connsiteX702" fmla="*/ 123920 w 860393"/>
                <a:gd name="connsiteY702" fmla="*/ 1110901 h 1348549"/>
                <a:gd name="connsiteX703" fmla="*/ 117634 w 860393"/>
                <a:gd name="connsiteY703" fmla="*/ 1111758 h 1348549"/>
                <a:gd name="connsiteX704" fmla="*/ 121920 w 860393"/>
                <a:gd name="connsiteY704" fmla="*/ 1107948 h 1348549"/>
                <a:gd name="connsiteX705" fmla="*/ 127063 w 860393"/>
                <a:gd name="connsiteY705" fmla="*/ 1110520 h 1348549"/>
                <a:gd name="connsiteX706" fmla="*/ 130016 w 860393"/>
                <a:gd name="connsiteY706" fmla="*/ 1108519 h 1348549"/>
                <a:gd name="connsiteX707" fmla="*/ 131064 w 860393"/>
                <a:gd name="connsiteY707" fmla="*/ 1103567 h 1348549"/>
                <a:gd name="connsiteX708" fmla="*/ 134207 w 860393"/>
                <a:gd name="connsiteY708" fmla="*/ 1103185 h 1348549"/>
                <a:gd name="connsiteX709" fmla="*/ 132397 w 860393"/>
                <a:gd name="connsiteY709" fmla="*/ 1101852 h 1348549"/>
                <a:gd name="connsiteX710" fmla="*/ 130873 w 860393"/>
                <a:gd name="connsiteY710" fmla="*/ 1102043 h 1348549"/>
                <a:gd name="connsiteX711" fmla="*/ 129064 w 860393"/>
                <a:gd name="connsiteY711" fmla="*/ 1100614 h 1348549"/>
                <a:gd name="connsiteX712" fmla="*/ 132016 w 860393"/>
                <a:gd name="connsiteY712" fmla="*/ 1098709 h 1348549"/>
                <a:gd name="connsiteX713" fmla="*/ 136779 w 860393"/>
                <a:gd name="connsiteY713" fmla="*/ 1098042 h 1348549"/>
                <a:gd name="connsiteX714" fmla="*/ 151543 w 860393"/>
                <a:gd name="connsiteY714" fmla="*/ 1088136 h 1348549"/>
                <a:gd name="connsiteX715" fmla="*/ 154876 w 860393"/>
                <a:gd name="connsiteY715" fmla="*/ 1089374 h 1348549"/>
                <a:gd name="connsiteX716" fmla="*/ 157639 w 860393"/>
                <a:gd name="connsiteY716" fmla="*/ 1085755 h 1348549"/>
                <a:gd name="connsiteX717" fmla="*/ 159448 w 860393"/>
                <a:gd name="connsiteY717" fmla="*/ 1087184 h 1348549"/>
                <a:gd name="connsiteX718" fmla="*/ 170497 w 860393"/>
                <a:gd name="connsiteY718" fmla="*/ 1098614 h 1348549"/>
                <a:gd name="connsiteX719" fmla="*/ 174403 w 860393"/>
                <a:gd name="connsiteY719" fmla="*/ 1091660 h 1348549"/>
                <a:gd name="connsiteX720" fmla="*/ 177737 w 860393"/>
                <a:gd name="connsiteY720" fmla="*/ 1092803 h 1348549"/>
                <a:gd name="connsiteX721" fmla="*/ 177927 w 860393"/>
                <a:gd name="connsiteY721" fmla="*/ 1094423 h 1348549"/>
                <a:gd name="connsiteX722" fmla="*/ 181356 w 860393"/>
                <a:gd name="connsiteY722" fmla="*/ 1095565 h 1348549"/>
                <a:gd name="connsiteX723" fmla="*/ 179927 w 860393"/>
                <a:gd name="connsiteY723" fmla="*/ 1097375 h 1348549"/>
                <a:gd name="connsiteX724" fmla="*/ 181928 w 860393"/>
                <a:gd name="connsiteY724" fmla="*/ 1100328 h 1348549"/>
                <a:gd name="connsiteX725" fmla="*/ 188881 w 860393"/>
                <a:gd name="connsiteY725" fmla="*/ 1104233 h 1348549"/>
                <a:gd name="connsiteX726" fmla="*/ 190024 w 860393"/>
                <a:gd name="connsiteY726" fmla="*/ 1113758 h 1348549"/>
                <a:gd name="connsiteX727" fmla="*/ 183737 w 860393"/>
                <a:gd name="connsiteY727" fmla="*/ 1114520 h 1348549"/>
                <a:gd name="connsiteX728" fmla="*/ 185738 w 860393"/>
                <a:gd name="connsiteY728" fmla="*/ 1117473 h 1348549"/>
                <a:gd name="connsiteX729" fmla="*/ 188881 w 860393"/>
                <a:gd name="connsiteY729" fmla="*/ 1117092 h 1348549"/>
                <a:gd name="connsiteX730" fmla="*/ 189452 w 860393"/>
                <a:gd name="connsiteY730" fmla="*/ 1121759 h 1348549"/>
                <a:gd name="connsiteX731" fmla="*/ 200978 w 860393"/>
                <a:gd name="connsiteY731" fmla="*/ 1123569 h 1348549"/>
                <a:gd name="connsiteX732" fmla="*/ 202882 w 860393"/>
                <a:gd name="connsiteY732" fmla="*/ 1126522 h 1348549"/>
                <a:gd name="connsiteX733" fmla="*/ 201549 w 860393"/>
                <a:gd name="connsiteY733" fmla="*/ 1128331 h 1348549"/>
                <a:gd name="connsiteX734" fmla="*/ 196787 w 860393"/>
                <a:gd name="connsiteY734" fmla="*/ 1128903 h 1348549"/>
                <a:gd name="connsiteX735" fmla="*/ 197167 w 860393"/>
                <a:gd name="connsiteY735" fmla="*/ 1132046 h 1348549"/>
                <a:gd name="connsiteX736" fmla="*/ 198787 w 860393"/>
                <a:gd name="connsiteY736" fmla="*/ 1131856 h 1348549"/>
                <a:gd name="connsiteX737" fmla="*/ 202311 w 860393"/>
                <a:gd name="connsiteY737" fmla="*/ 1134618 h 1348549"/>
                <a:gd name="connsiteX738" fmla="*/ 205264 w 860393"/>
                <a:gd name="connsiteY738" fmla="*/ 1132618 h 1348549"/>
                <a:gd name="connsiteX739" fmla="*/ 207264 w 860393"/>
                <a:gd name="connsiteY739" fmla="*/ 1135571 h 1348549"/>
                <a:gd name="connsiteX740" fmla="*/ 209074 w 860393"/>
                <a:gd name="connsiteY740" fmla="*/ 1136999 h 1348549"/>
                <a:gd name="connsiteX741" fmla="*/ 210026 w 860393"/>
                <a:gd name="connsiteY741" fmla="*/ 1144810 h 1348549"/>
                <a:gd name="connsiteX742" fmla="*/ 208502 w 860393"/>
                <a:gd name="connsiteY742" fmla="*/ 1145096 h 1348549"/>
                <a:gd name="connsiteX743" fmla="*/ 208693 w 860393"/>
                <a:gd name="connsiteY743" fmla="*/ 1146619 h 1348549"/>
                <a:gd name="connsiteX744" fmla="*/ 213265 w 860393"/>
                <a:gd name="connsiteY744" fmla="*/ 1157288 h 1348549"/>
                <a:gd name="connsiteX745" fmla="*/ 213836 w 860393"/>
                <a:gd name="connsiteY745" fmla="*/ 1162050 h 1348549"/>
                <a:gd name="connsiteX746" fmla="*/ 213074 w 860393"/>
                <a:gd name="connsiteY746" fmla="*/ 1168527 h 1348549"/>
                <a:gd name="connsiteX747" fmla="*/ 211264 w 860393"/>
                <a:gd name="connsiteY747" fmla="*/ 1167098 h 1348549"/>
                <a:gd name="connsiteX748" fmla="*/ 210121 w 860393"/>
                <a:gd name="connsiteY748" fmla="*/ 1170527 h 1348549"/>
                <a:gd name="connsiteX749" fmla="*/ 217265 w 860393"/>
                <a:gd name="connsiteY749" fmla="*/ 1175956 h 1348549"/>
                <a:gd name="connsiteX750" fmla="*/ 222123 w 860393"/>
                <a:gd name="connsiteY750" fmla="*/ 1177004 h 1348549"/>
                <a:gd name="connsiteX751" fmla="*/ 226695 w 860393"/>
                <a:gd name="connsiteY751" fmla="*/ 1174814 h 1348549"/>
                <a:gd name="connsiteX752" fmla="*/ 227076 w 860393"/>
                <a:gd name="connsiteY752" fmla="*/ 1177957 h 1348549"/>
                <a:gd name="connsiteX753" fmla="*/ 231838 w 860393"/>
                <a:gd name="connsiteY753" fmla="*/ 1177385 h 1348549"/>
                <a:gd name="connsiteX754" fmla="*/ 232220 w 860393"/>
                <a:gd name="connsiteY754" fmla="*/ 1180529 h 1348549"/>
                <a:gd name="connsiteX755" fmla="*/ 229838 w 860393"/>
                <a:gd name="connsiteY755" fmla="*/ 1187196 h 1348549"/>
                <a:gd name="connsiteX756" fmla="*/ 231457 w 860393"/>
                <a:gd name="connsiteY756" fmla="*/ 1187006 h 1348549"/>
                <a:gd name="connsiteX757" fmla="*/ 232029 w 860393"/>
                <a:gd name="connsiteY757" fmla="*/ 1191768 h 1348549"/>
                <a:gd name="connsiteX758" fmla="*/ 228695 w 860393"/>
                <a:gd name="connsiteY758" fmla="*/ 1190530 h 1348549"/>
                <a:gd name="connsiteX759" fmla="*/ 229362 w 860393"/>
                <a:gd name="connsiteY759" fmla="*/ 1195292 h 1348549"/>
                <a:gd name="connsiteX760" fmla="*/ 238792 w 860393"/>
                <a:gd name="connsiteY760" fmla="*/ 1194149 h 1348549"/>
                <a:gd name="connsiteX761" fmla="*/ 236220 w 860393"/>
                <a:gd name="connsiteY761" fmla="*/ 1199293 h 1348549"/>
                <a:gd name="connsiteX762" fmla="*/ 237839 w 860393"/>
                <a:gd name="connsiteY762" fmla="*/ 1199007 h 1348549"/>
                <a:gd name="connsiteX763" fmla="*/ 240221 w 860393"/>
                <a:gd name="connsiteY763" fmla="*/ 1205198 h 1348549"/>
                <a:gd name="connsiteX764" fmla="*/ 243364 w 860393"/>
                <a:gd name="connsiteY764" fmla="*/ 1204722 h 1348549"/>
                <a:gd name="connsiteX765" fmla="*/ 242221 w 860393"/>
                <a:gd name="connsiteY765" fmla="*/ 1208151 h 1348549"/>
                <a:gd name="connsiteX766" fmla="*/ 242792 w 860393"/>
                <a:gd name="connsiteY766" fmla="*/ 1212818 h 1348549"/>
                <a:gd name="connsiteX767" fmla="*/ 245936 w 860393"/>
                <a:gd name="connsiteY767" fmla="*/ 1212437 h 1348549"/>
                <a:gd name="connsiteX768" fmla="*/ 245745 w 860393"/>
                <a:gd name="connsiteY768" fmla="*/ 1210913 h 1348549"/>
                <a:gd name="connsiteX769" fmla="*/ 247269 w 860393"/>
                <a:gd name="connsiteY769" fmla="*/ 1210627 h 1348549"/>
                <a:gd name="connsiteX770" fmla="*/ 252222 w 860393"/>
                <a:gd name="connsiteY770" fmla="*/ 1211675 h 1348549"/>
                <a:gd name="connsiteX771" fmla="*/ 252031 w 860393"/>
                <a:gd name="connsiteY771" fmla="*/ 1210056 h 1348549"/>
                <a:gd name="connsiteX772" fmla="*/ 252031 w 860393"/>
                <a:gd name="connsiteY772" fmla="*/ 1210056 h 1348549"/>
                <a:gd name="connsiteX773" fmla="*/ 254794 w 860393"/>
                <a:gd name="connsiteY773" fmla="*/ 1206532 h 1348549"/>
                <a:gd name="connsiteX774" fmla="*/ 253460 w 860393"/>
                <a:gd name="connsiteY774" fmla="*/ 1208246 h 1348549"/>
                <a:gd name="connsiteX775" fmla="*/ 252984 w 860393"/>
                <a:gd name="connsiteY775" fmla="*/ 1205103 h 1348549"/>
                <a:gd name="connsiteX776" fmla="*/ 251460 w 860393"/>
                <a:gd name="connsiteY776" fmla="*/ 1205293 h 1348549"/>
                <a:gd name="connsiteX777" fmla="*/ 252413 w 860393"/>
                <a:gd name="connsiteY777" fmla="*/ 1200436 h 1348549"/>
                <a:gd name="connsiteX778" fmla="*/ 249079 w 860393"/>
                <a:gd name="connsiteY778" fmla="*/ 1199198 h 1348549"/>
                <a:gd name="connsiteX779" fmla="*/ 253841 w 860393"/>
                <a:gd name="connsiteY779" fmla="*/ 1198626 h 1348549"/>
                <a:gd name="connsiteX780" fmla="*/ 253365 w 860393"/>
                <a:gd name="connsiteY780" fmla="*/ 1195483 h 1348549"/>
                <a:gd name="connsiteX781" fmla="*/ 256127 w 860393"/>
                <a:gd name="connsiteY781" fmla="*/ 1191863 h 1348549"/>
                <a:gd name="connsiteX782" fmla="*/ 253937 w 860393"/>
                <a:gd name="connsiteY782" fmla="*/ 1187387 h 1348549"/>
                <a:gd name="connsiteX783" fmla="*/ 255556 w 860393"/>
                <a:gd name="connsiteY783" fmla="*/ 1187196 h 1348549"/>
                <a:gd name="connsiteX784" fmla="*/ 257746 w 860393"/>
                <a:gd name="connsiteY784" fmla="*/ 1191673 h 1348549"/>
                <a:gd name="connsiteX785" fmla="*/ 260128 w 860393"/>
                <a:gd name="connsiteY785" fmla="*/ 1197769 h 1348549"/>
                <a:gd name="connsiteX786" fmla="*/ 263842 w 860393"/>
                <a:gd name="connsiteY786" fmla="*/ 1202150 h 1348549"/>
                <a:gd name="connsiteX787" fmla="*/ 264700 w 860393"/>
                <a:gd name="connsiteY787" fmla="*/ 1208437 h 1348549"/>
                <a:gd name="connsiteX788" fmla="*/ 260509 w 860393"/>
                <a:gd name="connsiteY788" fmla="*/ 1213771 h 1348549"/>
                <a:gd name="connsiteX789" fmla="*/ 259556 w 860393"/>
                <a:gd name="connsiteY789" fmla="*/ 1218724 h 1348549"/>
                <a:gd name="connsiteX790" fmla="*/ 261556 w 860393"/>
                <a:gd name="connsiteY790" fmla="*/ 1221677 h 1348549"/>
                <a:gd name="connsiteX791" fmla="*/ 258794 w 860393"/>
                <a:gd name="connsiteY791" fmla="*/ 1225201 h 1348549"/>
                <a:gd name="connsiteX792" fmla="*/ 253460 w 860393"/>
                <a:gd name="connsiteY792" fmla="*/ 1233964 h 1348549"/>
                <a:gd name="connsiteX793" fmla="*/ 255461 w 860393"/>
                <a:gd name="connsiteY793" fmla="*/ 1236917 h 1348549"/>
                <a:gd name="connsiteX794" fmla="*/ 255461 w 860393"/>
                <a:gd name="connsiteY794" fmla="*/ 1236917 h 1348549"/>
                <a:gd name="connsiteX795" fmla="*/ 257270 w 860393"/>
                <a:gd name="connsiteY795" fmla="*/ 1238250 h 1348549"/>
                <a:gd name="connsiteX796" fmla="*/ 256222 w 860393"/>
                <a:gd name="connsiteY796" fmla="*/ 1243203 h 1348549"/>
                <a:gd name="connsiteX797" fmla="*/ 251746 w 860393"/>
                <a:gd name="connsiteY797" fmla="*/ 1245394 h 1348549"/>
                <a:gd name="connsiteX798" fmla="*/ 255651 w 860393"/>
                <a:gd name="connsiteY798" fmla="*/ 1251299 h 1348549"/>
                <a:gd name="connsiteX799" fmla="*/ 257080 w 860393"/>
                <a:gd name="connsiteY799" fmla="*/ 1249489 h 1348549"/>
                <a:gd name="connsiteX800" fmla="*/ 267176 w 860393"/>
                <a:gd name="connsiteY800" fmla="*/ 1253014 h 1348549"/>
                <a:gd name="connsiteX801" fmla="*/ 265747 w 860393"/>
                <a:gd name="connsiteY801" fmla="*/ 1254823 h 1348549"/>
                <a:gd name="connsiteX802" fmla="*/ 267748 w 860393"/>
                <a:gd name="connsiteY802" fmla="*/ 1257776 h 1348549"/>
                <a:gd name="connsiteX803" fmla="*/ 274511 w 860393"/>
                <a:gd name="connsiteY803" fmla="*/ 1260158 h 1348549"/>
                <a:gd name="connsiteX804" fmla="*/ 274701 w 860393"/>
                <a:gd name="connsiteY804" fmla="*/ 1261681 h 1348549"/>
                <a:gd name="connsiteX805" fmla="*/ 276225 w 860393"/>
                <a:gd name="connsiteY805" fmla="*/ 1261491 h 1348549"/>
                <a:gd name="connsiteX806" fmla="*/ 279368 w 860393"/>
                <a:gd name="connsiteY806" fmla="*/ 1261110 h 1348549"/>
                <a:gd name="connsiteX807" fmla="*/ 288131 w 860393"/>
                <a:gd name="connsiteY807" fmla="*/ 1266444 h 1348549"/>
                <a:gd name="connsiteX808" fmla="*/ 289465 w 860393"/>
                <a:gd name="connsiteY808" fmla="*/ 1264634 h 1348549"/>
                <a:gd name="connsiteX809" fmla="*/ 292608 w 860393"/>
                <a:gd name="connsiteY809" fmla="*/ 1264253 h 1348549"/>
                <a:gd name="connsiteX810" fmla="*/ 301085 w 860393"/>
                <a:gd name="connsiteY810" fmla="*/ 1267968 h 1348549"/>
                <a:gd name="connsiteX811" fmla="*/ 306038 w 860393"/>
                <a:gd name="connsiteY811" fmla="*/ 1268921 h 1348549"/>
                <a:gd name="connsiteX812" fmla="*/ 304705 w 860393"/>
                <a:gd name="connsiteY812" fmla="*/ 1270730 h 1348549"/>
                <a:gd name="connsiteX813" fmla="*/ 308420 w 860393"/>
                <a:gd name="connsiteY813" fmla="*/ 1275017 h 1348549"/>
                <a:gd name="connsiteX814" fmla="*/ 314420 w 860393"/>
                <a:gd name="connsiteY814" fmla="*/ 1283875 h 1348549"/>
                <a:gd name="connsiteX815" fmla="*/ 322040 w 860393"/>
                <a:gd name="connsiteY815" fmla="*/ 1281303 h 1348549"/>
                <a:gd name="connsiteX816" fmla="*/ 322897 w 860393"/>
                <a:gd name="connsiteY816" fmla="*/ 1287589 h 1348549"/>
                <a:gd name="connsiteX817" fmla="*/ 321659 w 860393"/>
                <a:gd name="connsiteY817" fmla="*/ 1291018 h 1348549"/>
                <a:gd name="connsiteX818" fmla="*/ 321850 w 860393"/>
                <a:gd name="connsiteY818" fmla="*/ 1292543 h 1348549"/>
                <a:gd name="connsiteX819" fmla="*/ 318897 w 860393"/>
                <a:gd name="connsiteY819" fmla="*/ 1294543 h 1348549"/>
                <a:gd name="connsiteX820" fmla="*/ 322897 w 860393"/>
                <a:gd name="connsiteY820" fmla="*/ 1300448 h 1348549"/>
                <a:gd name="connsiteX821" fmla="*/ 325469 w 860393"/>
                <a:gd name="connsiteY821" fmla="*/ 1308164 h 1348549"/>
                <a:gd name="connsiteX822" fmla="*/ 326326 w 860393"/>
                <a:gd name="connsiteY822" fmla="*/ 1314450 h 1348549"/>
                <a:gd name="connsiteX823" fmla="*/ 328517 w 860393"/>
                <a:gd name="connsiteY823" fmla="*/ 1319022 h 1348549"/>
                <a:gd name="connsiteX824" fmla="*/ 329851 w 860393"/>
                <a:gd name="connsiteY824" fmla="*/ 1317212 h 1348549"/>
                <a:gd name="connsiteX825" fmla="*/ 331661 w 860393"/>
                <a:gd name="connsiteY825" fmla="*/ 1318641 h 1348549"/>
                <a:gd name="connsiteX826" fmla="*/ 332232 w 860393"/>
                <a:gd name="connsiteY826" fmla="*/ 1323308 h 1348549"/>
                <a:gd name="connsiteX827" fmla="*/ 334994 w 860393"/>
                <a:gd name="connsiteY827" fmla="*/ 1332643 h 1348549"/>
                <a:gd name="connsiteX828" fmla="*/ 336804 w 860393"/>
                <a:gd name="connsiteY828" fmla="*/ 1333976 h 1348549"/>
                <a:gd name="connsiteX829" fmla="*/ 335661 w 860393"/>
                <a:gd name="connsiteY829" fmla="*/ 1337310 h 1348549"/>
                <a:gd name="connsiteX830" fmla="*/ 338614 w 860393"/>
                <a:gd name="connsiteY830" fmla="*/ 1335310 h 1348549"/>
                <a:gd name="connsiteX831" fmla="*/ 338804 w 860393"/>
                <a:gd name="connsiteY831" fmla="*/ 1336929 h 1348549"/>
                <a:gd name="connsiteX832" fmla="*/ 339185 w 860393"/>
                <a:gd name="connsiteY832" fmla="*/ 1340072 h 1348549"/>
                <a:gd name="connsiteX833" fmla="*/ 337566 w 860393"/>
                <a:gd name="connsiteY833" fmla="*/ 1340263 h 1348549"/>
                <a:gd name="connsiteX834" fmla="*/ 340995 w 860393"/>
                <a:gd name="connsiteY834" fmla="*/ 1341501 h 1348549"/>
                <a:gd name="connsiteX835" fmla="*/ 342900 w 860393"/>
                <a:gd name="connsiteY835" fmla="*/ 1344454 h 1348549"/>
                <a:gd name="connsiteX836" fmla="*/ 346329 w 860393"/>
                <a:gd name="connsiteY836" fmla="*/ 1345597 h 1348549"/>
                <a:gd name="connsiteX837" fmla="*/ 348234 w 860393"/>
                <a:gd name="connsiteY837" fmla="*/ 1348550 h 1348549"/>
                <a:gd name="connsiteX838" fmla="*/ 348044 w 860393"/>
                <a:gd name="connsiteY838" fmla="*/ 1346930 h 1348549"/>
                <a:gd name="connsiteX839" fmla="*/ 349663 w 860393"/>
                <a:gd name="connsiteY839" fmla="*/ 1346740 h 1348549"/>
                <a:gd name="connsiteX840" fmla="*/ 349853 w 860393"/>
                <a:gd name="connsiteY840" fmla="*/ 1348359 h 1348549"/>
                <a:gd name="connsiteX841" fmla="*/ 352425 w 860393"/>
                <a:gd name="connsiteY841" fmla="*/ 1343215 h 1348549"/>
                <a:gd name="connsiteX842" fmla="*/ 352996 w 860393"/>
                <a:gd name="connsiteY842" fmla="*/ 1335119 h 1348549"/>
                <a:gd name="connsiteX843" fmla="*/ 351377 w 860393"/>
                <a:gd name="connsiteY843" fmla="*/ 1335310 h 1348549"/>
                <a:gd name="connsiteX844" fmla="*/ 350615 w 860393"/>
                <a:gd name="connsiteY844" fmla="*/ 1329023 h 1348549"/>
                <a:gd name="connsiteX845" fmla="*/ 354901 w 860393"/>
                <a:gd name="connsiteY845" fmla="*/ 1325213 h 1348549"/>
                <a:gd name="connsiteX846" fmla="*/ 359664 w 860393"/>
                <a:gd name="connsiteY846" fmla="*/ 1324642 h 1348549"/>
                <a:gd name="connsiteX847" fmla="*/ 364236 w 860393"/>
                <a:gd name="connsiteY847" fmla="*/ 1322451 h 1348549"/>
                <a:gd name="connsiteX848" fmla="*/ 358616 w 860393"/>
                <a:gd name="connsiteY848" fmla="*/ 1316736 h 1348549"/>
                <a:gd name="connsiteX849" fmla="*/ 361569 w 860393"/>
                <a:gd name="connsiteY849" fmla="*/ 1314736 h 1348549"/>
                <a:gd name="connsiteX850" fmla="*/ 364807 w 860393"/>
                <a:gd name="connsiteY850" fmla="*/ 1314355 h 1348549"/>
                <a:gd name="connsiteX851" fmla="*/ 367189 w 860393"/>
                <a:gd name="connsiteY851" fmla="*/ 1320451 h 1348549"/>
                <a:gd name="connsiteX852" fmla="*/ 374047 w 860393"/>
                <a:gd name="connsiteY852" fmla="*/ 1324451 h 1348549"/>
                <a:gd name="connsiteX853" fmla="*/ 375475 w 860393"/>
                <a:gd name="connsiteY853" fmla="*/ 1322642 h 1348549"/>
                <a:gd name="connsiteX854" fmla="*/ 376428 w 860393"/>
                <a:gd name="connsiteY854" fmla="*/ 1317689 h 1348549"/>
                <a:gd name="connsiteX855" fmla="*/ 381190 w 860393"/>
                <a:gd name="connsiteY855" fmla="*/ 1317117 h 1348549"/>
                <a:gd name="connsiteX856" fmla="*/ 385667 w 860393"/>
                <a:gd name="connsiteY856" fmla="*/ 1314926 h 1348549"/>
                <a:gd name="connsiteX857" fmla="*/ 387096 w 860393"/>
                <a:gd name="connsiteY857" fmla="*/ 1313117 h 1348549"/>
                <a:gd name="connsiteX858" fmla="*/ 395573 w 860393"/>
                <a:gd name="connsiteY858" fmla="*/ 1316831 h 1348549"/>
                <a:gd name="connsiteX859" fmla="*/ 398526 w 860393"/>
                <a:gd name="connsiteY859" fmla="*/ 1314926 h 1348549"/>
                <a:gd name="connsiteX860" fmla="*/ 403003 w 860393"/>
                <a:gd name="connsiteY860" fmla="*/ 1312735 h 1348549"/>
                <a:gd name="connsiteX861" fmla="*/ 404050 w 860393"/>
                <a:gd name="connsiteY861" fmla="*/ 1307783 h 1348549"/>
                <a:gd name="connsiteX862" fmla="*/ 406241 w 860393"/>
                <a:gd name="connsiteY862" fmla="*/ 1312259 h 1348549"/>
                <a:gd name="connsiteX863" fmla="*/ 407575 w 860393"/>
                <a:gd name="connsiteY863" fmla="*/ 1310545 h 1348549"/>
                <a:gd name="connsiteX864" fmla="*/ 416433 w 860393"/>
                <a:gd name="connsiteY864" fmla="*/ 1317403 h 1348549"/>
                <a:gd name="connsiteX865" fmla="*/ 417671 w 860393"/>
                <a:gd name="connsiteY865" fmla="*/ 1314069 h 1348549"/>
                <a:gd name="connsiteX866" fmla="*/ 421005 w 860393"/>
                <a:gd name="connsiteY866" fmla="*/ 1315212 h 1348549"/>
                <a:gd name="connsiteX867" fmla="*/ 429863 w 860393"/>
                <a:gd name="connsiteY867" fmla="*/ 1309306 h 1348549"/>
                <a:gd name="connsiteX868" fmla="*/ 431292 w 860393"/>
                <a:gd name="connsiteY868" fmla="*/ 1307497 h 1348549"/>
                <a:gd name="connsiteX869" fmla="*/ 429482 w 860393"/>
                <a:gd name="connsiteY869" fmla="*/ 1306163 h 1348549"/>
                <a:gd name="connsiteX870" fmla="*/ 430625 w 860393"/>
                <a:gd name="connsiteY870" fmla="*/ 1302734 h 1348549"/>
                <a:gd name="connsiteX871" fmla="*/ 435007 w 860393"/>
                <a:gd name="connsiteY871" fmla="*/ 1299019 h 1348549"/>
                <a:gd name="connsiteX872" fmla="*/ 436150 w 860393"/>
                <a:gd name="connsiteY872" fmla="*/ 1295686 h 1348549"/>
                <a:gd name="connsiteX873" fmla="*/ 439293 w 860393"/>
                <a:gd name="connsiteY873" fmla="*/ 1295210 h 1348549"/>
                <a:gd name="connsiteX874" fmla="*/ 437293 w 860393"/>
                <a:gd name="connsiteY874" fmla="*/ 1292257 h 1348549"/>
                <a:gd name="connsiteX875" fmla="*/ 440531 w 860393"/>
                <a:gd name="connsiteY875" fmla="*/ 1291876 h 1348549"/>
                <a:gd name="connsiteX876" fmla="*/ 441674 w 860393"/>
                <a:gd name="connsiteY876" fmla="*/ 1288542 h 1348549"/>
                <a:gd name="connsiteX877" fmla="*/ 443198 w 860393"/>
                <a:gd name="connsiteY877" fmla="*/ 1288352 h 1348549"/>
                <a:gd name="connsiteX878" fmla="*/ 445961 w 860393"/>
                <a:gd name="connsiteY878" fmla="*/ 1271968 h 1348549"/>
                <a:gd name="connsiteX879" fmla="*/ 447961 w 860393"/>
                <a:gd name="connsiteY879" fmla="*/ 1274921 h 1348549"/>
                <a:gd name="connsiteX880" fmla="*/ 454057 w 860393"/>
                <a:gd name="connsiteY880" fmla="*/ 1272540 h 1348549"/>
                <a:gd name="connsiteX881" fmla="*/ 453676 w 860393"/>
                <a:gd name="connsiteY881" fmla="*/ 1269397 h 1348549"/>
                <a:gd name="connsiteX882" fmla="*/ 458629 w 860393"/>
                <a:gd name="connsiteY882" fmla="*/ 1270349 h 1348549"/>
                <a:gd name="connsiteX883" fmla="*/ 462344 w 860393"/>
                <a:gd name="connsiteY883" fmla="*/ 1261872 h 1348549"/>
                <a:gd name="connsiteX884" fmla="*/ 465487 w 860393"/>
                <a:gd name="connsiteY884" fmla="*/ 1261491 h 1348549"/>
                <a:gd name="connsiteX885" fmla="*/ 467011 w 860393"/>
                <a:gd name="connsiteY885" fmla="*/ 1261205 h 1348549"/>
                <a:gd name="connsiteX886" fmla="*/ 473392 w 860393"/>
                <a:gd name="connsiteY886" fmla="*/ 1260443 h 1348549"/>
                <a:gd name="connsiteX887" fmla="*/ 470821 w 860393"/>
                <a:gd name="connsiteY887" fmla="*/ 1252728 h 1348549"/>
                <a:gd name="connsiteX888" fmla="*/ 472345 w 860393"/>
                <a:gd name="connsiteY888" fmla="*/ 1252538 h 1348549"/>
                <a:gd name="connsiteX889" fmla="*/ 469773 w 860393"/>
                <a:gd name="connsiteY889" fmla="*/ 1244822 h 1348549"/>
                <a:gd name="connsiteX890" fmla="*/ 469582 w 860393"/>
                <a:gd name="connsiteY890" fmla="*/ 1243298 h 1348549"/>
                <a:gd name="connsiteX891" fmla="*/ 462820 w 860393"/>
                <a:gd name="connsiteY891" fmla="*/ 1240917 h 1348549"/>
                <a:gd name="connsiteX892" fmla="*/ 463867 w 860393"/>
                <a:gd name="connsiteY892" fmla="*/ 1235964 h 1348549"/>
                <a:gd name="connsiteX893" fmla="*/ 459867 w 860393"/>
                <a:gd name="connsiteY893" fmla="*/ 1230059 h 1348549"/>
                <a:gd name="connsiteX894" fmla="*/ 457295 w 860393"/>
                <a:gd name="connsiteY894" fmla="*/ 1222439 h 1348549"/>
                <a:gd name="connsiteX895" fmla="*/ 456724 w 860393"/>
                <a:gd name="connsiteY895" fmla="*/ 1217676 h 1348549"/>
                <a:gd name="connsiteX896" fmla="*/ 456057 w 860393"/>
                <a:gd name="connsiteY896" fmla="*/ 1212914 h 1348549"/>
                <a:gd name="connsiteX897" fmla="*/ 457867 w 860393"/>
                <a:gd name="connsiteY897" fmla="*/ 1214342 h 1348549"/>
                <a:gd name="connsiteX898" fmla="*/ 456819 w 860393"/>
                <a:gd name="connsiteY898" fmla="*/ 1206437 h 1348549"/>
                <a:gd name="connsiteX899" fmla="*/ 461581 w 860393"/>
                <a:gd name="connsiteY899" fmla="*/ 1205770 h 1348549"/>
                <a:gd name="connsiteX900" fmla="*/ 462724 w 860393"/>
                <a:gd name="connsiteY900" fmla="*/ 1202436 h 1348549"/>
                <a:gd name="connsiteX901" fmla="*/ 462534 w 860393"/>
                <a:gd name="connsiteY901" fmla="*/ 1200912 h 1348549"/>
                <a:gd name="connsiteX902" fmla="*/ 465296 w 860393"/>
                <a:gd name="connsiteY902" fmla="*/ 1197293 h 1348549"/>
                <a:gd name="connsiteX903" fmla="*/ 467106 w 860393"/>
                <a:gd name="connsiteY903" fmla="*/ 1198721 h 1348549"/>
                <a:gd name="connsiteX904" fmla="*/ 468249 w 860393"/>
                <a:gd name="connsiteY904" fmla="*/ 1195292 h 1348549"/>
                <a:gd name="connsiteX905" fmla="*/ 466725 w 860393"/>
                <a:gd name="connsiteY905" fmla="*/ 1195578 h 1348549"/>
                <a:gd name="connsiteX906" fmla="*/ 469678 w 860393"/>
                <a:gd name="connsiteY906" fmla="*/ 1193578 h 1348549"/>
                <a:gd name="connsiteX907" fmla="*/ 470249 w 860393"/>
                <a:gd name="connsiteY907" fmla="*/ 1185481 h 1348549"/>
                <a:gd name="connsiteX908" fmla="*/ 476536 w 860393"/>
                <a:gd name="connsiteY908" fmla="*/ 1184624 h 1348549"/>
                <a:gd name="connsiteX909" fmla="*/ 476345 w 860393"/>
                <a:gd name="connsiteY909" fmla="*/ 1183100 h 1348549"/>
                <a:gd name="connsiteX910" fmla="*/ 481108 w 860393"/>
                <a:gd name="connsiteY910" fmla="*/ 1182529 h 1348549"/>
                <a:gd name="connsiteX911" fmla="*/ 480631 w 860393"/>
                <a:gd name="connsiteY911" fmla="*/ 1179290 h 1348549"/>
                <a:gd name="connsiteX912" fmla="*/ 480631 w 860393"/>
                <a:gd name="connsiteY912" fmla="*/ 1179290 h 1348549"/>
                <a:gd name="connsiteX913" fmla="*/ 488156 w 860393"/>
                <a:gd name="connsiteY913" fmla="*/ 1187958 h 1348549"/>
                <a:gd name="connsiteX914" fmla="*/ 491299 w 860393"/>
                <a:gd name="connsiteY914" fmla="*/ 1187577 h 1348549"/>
                <a:gd name="connsiteX915" fmla="*/ 491585 w 860393"/>
                <a:gd name="connsiteY915" fmla="*/ 1189196 h 1348549"/>
                <a:gd name="connsiteX916" fmla="*/ 485870 w 860393"/>
                <a:gd name="connsiteY916" fmla="*/ 1194721 h 1348549"/>
                <a:gd name="connsiteX917" fmla="*/ 485680 w 860393"/>
                <a:gd name="connsiteY917" fmla="*/ 1205960 h 1348549"/>
                <a:gd name="connsiteX918" fmla="*/ 484918 w 860393"/>
                <a:gd name="connsiteY918" fmla="*/ 1212437 h 1348549"/>
                <a:gd name="connsiteX919" fmla="*/ 485299 w 860393"/>
                <a:gd name="connsiteY919" fmla="*/ 1215581 h 1348549"/>
                <a:gd name="connsiteX920" fmla="*/ 493205 w 860393"/>
                <a:gd name="connsiteY920" fmla="*/ 1214628 h 1348549"/>
                <a:gd name="connsiteX921" fmla="*/ 496538 w 860393"/>
                <a:gd name="connsiteY921" fmla="*/ 1215771 h 1348549"/>
                <a:gd name="connsiteX922" fmla="*/ 495300 w 860393"/>
                <a:gd name="connsiteY922" fmla="*/ 1206341 h 1348549"/>
                <a:gd name="connsiteX923" fmla="*/ 507206 w 860393"/>
                <a:gd name="connsiteY923" fmla="*/ 1211199 h 1348549"/>
                <a:gd name="connsiteX924" fmla="*/ 510159 w 860393"/>
                <a:gd name="connsiteY924" fmla="*/ 1209294 h 1348549"/>
                <a:gd name="connsiteX925" fmla="*/ 513874 w 860393"/>
                <a:gd name="connsiteY925" fmla="*/ 1213580 h 1348549"/>
                <a:gd name="connsiteX926" fmla="*/ 512921 w 860393"/>
                <a:gd name="connsiteY926" fmla="*/ 1218533 h 1348549"/>
                <a:gd name="connsiteX927" fmla="*/ 522351 w 860393"/>
                <a:gd name="connsiteY927" fmla="*/ 1217295 h 1348549"/>
                <a:gd name="connsiteX928" fmla="*/ 524542 w 860393"/>
                <a:gd name="connsiteY928" fmla="*/ 1221867 h 1348549"/>
                <a:gd name="connsiteX929" fmla="*/ 525971 w 860393"/>
                <a:gd name="connsiteY929" fmla="*/ 1220057 h 1348549"/>
                <a:gd name="connsiteX930" fmla="*/ 523780 w 860393"/>
                <a:gd name="connsiteY930" fmla="*/ 1215581 h 1348549"/>
                <a:gd name="connsiteX931" fmla="*/ 528733 w 860393"/>
                <a:gd name="connsiteY931" fmla="*/ 1216533 h 1348549"/>
                <a:gd name="connsiteX932" fmla="*/ 528542 w 860393"/>
                <a:gd name="connsiteY932" fmla="*/ 1214914 h 1348549"/>
                <a:gd name="connsiteX933" fmla="*/ 531876 w 860393"/>
                <a:gd name="connsiteY933" fmla="*/ 1216152 h 1348549"/>
                <a:gd name="connsiteX934" fmla="*/ 538163 w 860393"/>
                <a:gd name="connsiteY934" fmla="*/ 1215295 h 1348549"/>
                <a:gd name="connsiteX935" fmla="*/ 537020 w 860393"/>
                <a:gd name="connsiteY935" fmla="*/ 1218629 h 1348549"/>
                <a:gd name="connsiteX936" fmla="*/ 543497 w 860393"/>
                <a:gd name="connsiteY936" fmla="*/ 1219390 h 1348549"/>
                <a:gd name="connsiteX937" fmla="*/ 549212 w 860393"/>
                <a:gd name="connsiteY937" fmla="*/ 1226725 h 1348549"/>
                <a:gd name="connsiteX938" fmla="*/ 549212 w 860393"/>
                <a:gd name="connsiteY938" fmla="*/ 1226725 h 1348549"/>
                <a:gd name="connsiteX939" fmla="*/ 554831 w 860393"/>
                <a:gd name="connsiteY939" fmla="*/ 1232440 h 1348549"/>
                <a:gd name="connsiteX940" fmla="*/ 555974 w 860393"/>
                <a:gd name="connsiteY940" fmla="*/ 1241869 h 1348549"/>
                <a:gd name="connsiteX941" fmla="*/ 556165 w 860393"/>
                <a:gd name="connsiteY941" fmla="*/ 1243489 h 1348549"/>
                <a:gd name="connsiteX942" fmla="*/ 571500 w 860393"/>
                <a:gd name="connsiteY942" fmla="*/ 1225487 h 1348549"/>
                <a:gd name="connsiteX943" fmla="*/ 576834 w 860393"/>
                <a:gd name="connsiteY943" fmla="*/ 1216819 h 1348549"/>
                <a:gd name="connsiteX944" fmla="*/ 579787 w 860393"/>
                <a:gd name="connsiteY944" fmla="*/ 1214818 h 1348549"/>
                <a:gd name="connsiteX945" fmla="*/ 581597 w 860393"/>
                <a:gd name="connsiteY945" fmla="*/ 1216152 h 1348549"/>
                <a:gd name="connsiteX946" fmla="*/ 584359 w 860393"/>
                <a:gd name="connsiteY946" fmla="*/ 1212628 h 1348549"/>
                <a:gd name="connsiteX947" fmla="*/ 584549 w 860393"/>
                <a:gd name="connsiteY947" fmla="*/ 1201388 h 1348549"/>
                <a:gd name="connsiteX948" fmla="*/ 582549 w 860393"/>
                <a:gd name="connsiteY948" fmla="*/ 1198435 h 1348549"/>
                <a:gd name="connsiteX949" fmla="*/ 579406 w 860393"/>
                <a:gd name="connsiteY949" fmla="*/ 1198817 h 1348549"/>
                <a:gd name="connsiteX950" fmla="*/ 583501 w 860393"/>
                <a:gd name="connsiteY950" fmla="*/ 1193483 h 1348549"/>
                <a:gd name="connsiteX951" fmla="*/ 576548 w 860393"/>
                <a:gd name="connsiteY951" fmla="*/ 1189577 h 1348549"/>
                <a:gd name="connsiteX952" fmla="*/ 584930 w 860393"/>
                <a:gd name="connsiteY952" fmla="*/ 1191673 h 1348549"/>
                <a:gd name="connsiteX953" fmla="*/ 584645 w 860393"/>
                <a:gd name="connsiteY953" fmla="*/ 1190149 h 1348549"/>
                <a:gd name="connsiteX954" fmla="*/ 587597 w 860393"/>
                <a:gd name="connsiteY954" fmla="*/ 1188148 h 1348549"/>
                <a:gd name="connsiteX955" fmla="*/ 589788 w 860393"/>
                <a:gd name="connsiteY955" fmla="*/ 1192721 h 1348549"/>
                <a:gd name="connsiteX956" fmla="*/ 589979 w 860393"/>
                <a:gd name="connsiteY956" fmla="*/ 1194244 h 1348549"/>
                <a:gd name="connsiteX957" fmla="*/ 593407 w 860393"/>
                <a:gd name="connsiteY957" fmla="*/ 1195388 h 1348549"/>
                <a:gd name="connsiteX958" fmla="*/ 597313 w 860393"/>
                <a:gd name="connsiteY958" fmla="*/ 1188530 h 1348549"/>
                <a:gd name="connsiteX959" fmla="*/ 600456 w 860393"/>
                <a:gd name="connsiteY959" fmla="*/ 1188148 h 1348549"/>
                <a:gd name="connsiteX960" fmla="*/ 604838 w 860393"/>
                <a:gd name="connsiteY960" fmla="*/ 1184339 h 1348549"/>
                <a:gd name="connsiteX961" fmla="*/ 606742 w 860393"/>
                <a:gd name="connsiteY961" fmla="*/ 1187291 h 1348549"/>
                <a:gd name="connsiteX962" fmla="*/ 620554 w 860393"/>
                <a:gd name="connsiteY962" fmla="*/ 1182338 h 1348549"/>
                <a:gd name="connsiteX963" fmla="*/ 622363 w 860393"/>
                <a:gd name="connsiteY963" fmla="*/ 1183767 h 1348549"/>
                <a:gd name="connsiteX964" fmla="*/ 627126 w 860393"/>
                <a:gd name="connsiteY964" fmla="*/ 1183100 h 1348549"/>
                <a:gd name="connsiteX965" fmla="*/ 630079 w 860393"/>
                <a:gd name="connsiteY965" fmla="*/ 1181100 h 1348549"/>
                <a:gd name="connsiteX966" fmla="*/ 633413 w 860393"/>
                <a:gd name="connsiteY966" fmla="*/ 1182338 h 1348549"/>
                <a:gd name="connsiteX967" fmla="*/ 638747 w 860393"/>
                <a:gd name="connsiteY967" fmla="*/ 1186434 h 1348549"/>
                <a:gd name="connsiteX968" fmla="*/ 639128 w 860393"/>
                <a:gd name="connsiteY968" fmla="*/ 1189577 h 1348549"/>
                <a:gd name="connsiteX969" fmla="*/ 637984 w 860393"/>
                <a:gd name="connsiteY969" fmla="*/ 1193006 h 1348549"/>
                <a:gd name="connsiteX970" fmla="*/ 642271 w 860393"/>
                <a:gd name="connsiteY970" fmla="*/ 1189196 h 1348549"/>
                <a:gd name="connsiteX971" fmla="*/ 644080 w 860393"/>
                <a:gd name="connsiteY971" fmla="*/ 1190530 h 1348549"/>
                <a:gd name="connsiteX972" fmla="*/ 644271 w 860393"/>
                <a:gd name="connsiteY972" fmla="*/ 1192149 h 1348549"/>
                <a:gd name="connsiteX973" fmla="*/ 645890 w 860393"/>
                <a:gd name="connsiteY973" fmla="*/ 1191959 h 1348549"/>
                <a:gd name="connsiteX974" fmla="*/ 650748 w 860393"/>
                <a:gd name="connsiteY974" fmla="*/ 1192911 h 1348549"/>
                <a:gd name="connsiteX975" fmla="*/ 651986 w 860393"/>
                <a:gd name="connsiteY975" fmla="*/ 1189577 h 1348549"/>
                <a:gd name="connsiteX976" fmla="*/ 652367 w 860393"/>
                <a:gd name="connsiteY976" fmla="*/ 1192721 h 1348549"/>
                <a:gd name="connsiteX977" fmla="*/ 653796 w 860393"/>
                <a:gd name="connsiteY977" fmla="*/ 1190911 h 1348549"/>
                <a:gd name="connsiteX978" fmla="*/ 658654 w 860393"/>
                <a:gd name="connsiteY978" fmla="*/ 1191959 h 1348549"/>
                <a:gd name="connsiteX979" fmla="*/ 666179 w 860393"/>
                <a:gd name="connsiteY979" fmla="*/ 1187768 h 1348549"/>
                <a:gd name="connsiteX980" fmla="*/ 666940 w 860393"/>
                <a:gd name="connsiteY980" fmla="*/ 1181290 h 1348549"/>
                <a:gd name="connsiteX981" fmla="*/ 671703 w 860393"/>
                <a:gd name="connsiteY981" fmla="*/ 1180624 h 1348549"/>
                <a:gd name="connsiteX982" fmla="*/ 678561 w 860393"/>
                <a:gd name="connsiteY982" fmla="*/ 1171765 h 1348549"/>
                <a:gd name="connsiteX983" fmla="*/ 674561 w 860393"/>
                <a:gd name="connsiteY983" fmla="*/ 1165860 h 1348549"/>
                <a:gd name="connsiteX984" fmla="*/ 677513 w 860393"/>
                <a:gd name="connsiteY984" fmla="*/ 1163860 h 1348549"/>
                <a:gd name="connsiteX985" fmla="*/ 672179 w 860393"/>
                <a:gd name="connsiteY985" fmla="*/ 1159764 h 1348549"/>
                <a:gd name="connsiteX986" fmla="*/ 668464 w 860393"/>
                <a:gd name="connsiteY986" fmla="*/ 1155383 h 1348549"/>
                <a:gd name="connsiteX987" fmla="*/ 668274 w 860393"/>
                <a:gd name="connsiteY987" fmla="*/ 1153859 h 1348549"/>
                <a:gd name="connsiteX988" fmla="*/ 667703 w 860393"/>
                <a:gd name="connsiteY988" fmla="*/ 1149096 h 1348549"/>
                <a:gd name="connsiteX989" fmla="*/ 658749 w 860393"/>
                <a:gd name="connsiteY989" fmla="*/ 1142238 h 1348549"/>
                <a:gd name="connsiteX990" fmla="*/ 659892 w 860393"/>
                <a:gd name="connsiteY990" fmla="*/ 1138809 h 1348549"/>
                <a:gd name="connsiteX991" fmla="*/ 656368 w 860393"/>
                <a:gd name="connsiteY991" fmla="*/ 1136047 h 1348549"/>
                <a:gd name="connsiteX992" fmla="*/ 659130 w 860393"/>
                <a:gd name="connsiteY992" fmla="*/ 1132523 h 1348549"/>
                <a:gd name="connsiteX993" fmla="*/ 662845 w 860393"/>
                <a:gd name="connsiteY993" fmla="*/ 1136904 h 1348549"/>
                <a:gd name="connsiteX994" fmla="*/ 664083 w 860393"/>
                <a:gd name="connsiteY994" fmla="*/ 1133475 h 1348549"/>
                <a:gd name="connsiteX995" fmla="*/ 668846 w 860393"/>
                <a:gd name="connsiteY995" fmla="*/ 1132904 h 1348549"/>
                <a:gd name="connsiteX996" fmla="*/ 669036 w 860393"/>
                <a:gd name="connsiteY996" fmla="*/ 1134523 h 1348549"/>
                <a:gd name="connsiteX997" fmla="*/ 676465 w 860393"/>
                <a:gd name="connsiteY997" fmla="*/ 1130332 h 1348549"/>
                <a:gd name="connsiteX998" fmla="*/ 682847 w 860393"/>
                <a:gd name="connsiteY998" fmla="*/ 1142333 h 1348549"/>
                <a:gd name="connsiteX999" fmla="*/ 687800 w 860393"/>
                <a:gd name="connsiteY999" fmla="*/ 1143286 h 1348549"/>
                <a:gd name="connsiteX1000" fmla="*/ 692087 w 860393"/>
                <a:gd name="connsiteY1000" fmla="*/ 1139571 h 1348549"/>
                <a:gd name="connsiteX1001" fmla="*/ 689515 w 860393"/>
                <a:gd name="connsiteY1001" fmla="*/ 1131856 h 1348549"/>
                <a:gd name="connsiteX1002" fmla="*/ 690944 w 860393"/>
                <a:gd name="connsiteY1002" fmla="*/ 1130046 h 1348549"/>
                <a:gd name="connsiteX1003" fmla="*/ 690277 w 860393"/>
                <a:gd name="connsiteY1003" fmla="*/ 1125379 h 1348549"/>
                <a:gd name="connsiteX1004" fmla="*/ 693230 w 860393"/>
                <a:gd name="connsiteY1004" fmla="*/ 1123379 h 1348549"/>
                <a:gd name="connsiteX1005" fmla="*/ 692658 w 860393"/>
                <a:gd name="connsiteY1005" fmla="*/ 1118616 h 1348549"/>
                <a:gd name="connsiteX1006" fmla="*/ 697135 w 860393"/>
                <a:gd name="connsiteY1006" fmla="*/ 1116425 h 1348549"/>
                <a:gd name="connsiteX1007" fmla="*/ 702564 w 860393"/>
                <a:gd name="connsiteY1007" fmla="*/ 1120616 h 1348549"/>
                <a:gd name="connsiteX1008" fmla="*/ 706660 w 860393"/>
                <a:gd name="connsiteY1008" fmla="*/ 1115282 h 1348549"/>
                <a:gd name="connsiteX1009" fmla="*/ 709231 w 860393"/>
                <a:gd name="connsiteY1009" fmla="*/ 1122902 h 1348549"/>
                <a:gd name="connsiteX1010" fmla="*/ 716185 w 860393"/>
                <a:gd name="connsiteY1010" fmla="*/ 1126903 h 1348549"/>
                <a:gd name="connsiteX1011" fmla="*/ 718280 w 860393"/>
                <a:gd name="connsiteY1011" fmla="*/ 1131380 h 1348549"/>
                <a:gd name="connsiteX1012" fmla="*/ 721519 w 860393"/>
                <a:gd name="connsiteY1012" fmla="*/ 1130998 h 1348549"/>
                <a:gd name="connsiteX1013" fmla="*/ 718947 w 860393"/>
                <a:gd name="connsiteY1013" fmla="*/ 1136142 h 1348549"/>
                <a:gd name="connsiteX1014" fmla="*/ 719138 w 860393"/>
                <a:gd name="connsiteY1014" fmla="*/ 1137761 h 1348549"/>
                <a:gd name="connsiteX1015" fmla="*/ 726091 w 860393"/>
                <a:gd name="connsiteY1015" fmla="*/ 1141667 h 1348549"/>
                <a:gd name="connsiteX1016" fmla="*/ 724662 w 860393"/>
                <a:gd name="connsiteY1016" fmla="*/ 1143476 h 1348549"/>
                <a:gd name="connsiteX1017" fmla="*/ 729424 w 860393"/>
                <a:gd name="connsiteY1017" fmla="*/ 1142810 h 1348549"/>
                <a:gd name="connsiteX1018" fmla="*/ 736473 w 860393"/>
                <a:gd name="connsiteY1018" fmla="*/ 1148334 h 1348549"/>
                <a:gd name="connsiteX1019" fmla="*/ 739712 w 860393"/>
                <a:gd name="connsiteY1019" fmla="*/ 1147953 h 1348549"/>
                <a:gd name="connsiteX1020" fmla="*/ 741045 w 860393"/>
                <a:gd name="connsiteY1020" fmla="*/ 1146143 h 1348549"/>
                <a:gd name="connsiteX1021" fmla="*/ 754856 w 860393"/>
                <a:gd name="connsiteY1021" fmla="*/ 1141190 h 1348549"/>
                <a:gd name="connsiteX1022" fmla="*/ 757999 w 860393"/>
                <a:gd name="connsiteY1022" fmla="*/ 1140809 h 1348549"/>
                <a:gd name="connsiteX1023" fmla="*/ 758190 w 860393"/>
                <a:gd name="connsiteY1023" fmla="*/ 1142333 h 1348549"/>
                <a:gd name="connsiteX1024" fmla="*/ 761333 w 860393"/>
                <a:gd name="connsiteY1024" fmla="*/ 1141952 h 1348549"/>
                <a:gd name="connsiteX1025" fmla="*/ 763143 w 860393"/>
                <a:gd name="connsiteY1025" fmla="*/ 1143381 h 1348549"/>
                <a:gd name="connsiteX1026" fmla="*/ 766286 w 860393"/>
                <a:gd name="connsiteY1026" fmla="*/ 1142905 h 1348549"/>
                <a:gd name="connsiteX1027" fmla="*/ 765905 w 860393"/>
                <a:gd name="connsiteY1027" fmla="*/ 1139762 h 1348549"/>
                <a:gd name="connsiteX1028" fmla="*/ 767524 w 860393"/>
                <a:gd name="connsiteY1028" fmla="*/ 1139571 h 1348549"/>
                <a:gd name="connsiteX1029" fmla="*/ 767048 w 860393"/>
                <a:gd name="connsiteY1029" fmla="*/ 1136428 h 1348549"/>
                <a:gd name="connsiteX1030" fmla="*/ 766477 w 860393"/>
                <a:gd name="connsiteY1030" fmla="*/ 1131665 h 1348549"/>
                <a:gd name="connsiteX1031" fmla="*/ 770382 w 860393"/>
                <a:gd name="connsiteY1031" fmla="*/ 1124807 h 1348549"/>
                <a:gd name="connsiteX1032" fmla="*/ 766667 w 860393"/>
                <a:gd name="connsiteY1032" fmla="*/ 1120426 h 1348549"/>
                <a:gd name="connsiteX1033" fmla="*/ 766477 w 860393"/>
                <a:gd name="connsiteY1033" fmla="*/ 1118902 h 1348549"/>
                <a:gd name="connsiteX1034" fmla="*/ 773906 w 860393"/>
                <a:gd name="connsiteY1034" fmla="*/ 1114711 h 1348549"/>
                <a:gd name="connsiteX1035" fmla="*/ 775145 w 860393"/>
                <a:gd name="connsiteY1035" fmla="*/ 1111377 h 1348549"/>
                <a:gd name="connsiteX1036" fmla="*/ 778097 w 860393"/>
                <a:gd name="connsiteY1036" fmla="*/ 1109377 h 1348549"/>
                <a:gd name="connsiteX1037" fmla="*/ 776288 w 860393"/>
                <a:gd name="connsiteY1037" fmla="*/ 1107948 h 1348549"/>
                <a:gd name="connsiteX1038" fmla="*/ 780574 w 860393"/>
                <a:gd name="connsiteY1038" fmla="*/ 1104233 h 1348549"/>
                <a:gd name="connsiteX1039" fmla="*/ 778002 w 860393"/>
                <a:gd name="connsiteY1039" fmla="*/ 1096518 h 1348549"/>
                <a:gd name="connsiteX1040" fmla="*/ 772097 w 860393"/>
                <a:gd name="connsiteY1040" fmla="*/ 1087660 h 1348549"/>
                <a:gd name="connsiteX1041" fmla="*/ 771715 w 860393"/>
                <a:gd name="connsiteY1041" fmla="*/ 1084517 h 1348549"/>
                <a:gd name="connsiteX1042" fmla="*/ 775240 w 860393"/>
                <a:gd name="connsiteY1042" fmla="*/ 1087279 h 1348549"/>
                <a:gd name="connsiteX1043" fmla="*/ 778192 w 860393"/>
                <a:gd name="connsiteY1043" fmla="*/ 1085279 h 1348549"/>
                <a:gd name="connsiteX1044" fmla="*/ 787241 w 860393"/>
                <a:gd name="connsiteY1044" fmla="*/ 1080897 h 1348549"/>
                <a:gd name="connsiteX1045" fmla="*/ 788480 w 860393"/>
                <a:gd name="connsiteY1045" fmla="*/ 1077563 h 1348549"/>
                <a:gd name="connsiteX1046" fmla="*/ 787813 w 860393"/>
                <a:gd name="connsiteY1046" fmla="*/ 1072801 h 1348549"/>
                <a:gd name="connsiteX1047" fmla="*/ 790384 w 860393"/>
                <a:gd name="connsiteY1047" fmla="*/ 1067657 h 1348549"/>
                <a:gd name="connsiteX1048" fmla="*/ 794004 w 860393"/>
                <a:gd name="connsiteY1048" fmla="*/ 1070419 h 1348549"/>
                <a:gd name="connsiteX1049" fmla="*/ 807720 w 860393"/>
                <a:gd name="connsiteY1049" fmla="*/ 1065467 h 1348549"/>
                <a:gd name="connsiteX1050" fmla="*/ 806958 w 860393"/>
                <a:gd name="connsiteY1050" fmla="*/ 1059180 h 1348549"/>
                <a:gd name="connsiteX1051" fmla="*/ 808577 w 860393"/>
                <a:gd name="connsiteY1051" fmla="*/ 1058989 h 1348549"/>
                <a:gd name="connsiteX1052" fmla="*/ 808101 w 860393"/>
                <a:gd name="connsiteY1052" fmla="*/ 1055846 h 1348549"/>
                <a:gd name="connsiteX1053" fmla="*/ 809149 w 860393"/>
                <a:gd name="connsiteY1053" fmla="*/ 1050893 h 1348549"/>
                <a:gd name="connsiteX1054" fmla="*/ 808672 w 860393"/>
                <a:gd name="connsiteY1054" fmla="*/ 1047750 h 1348549"/>
                <a:gd name="connsiteX1055" fmla="*/ 806767 w 860393"/>
                <a:gd name="connsiteY1055" fmla="*/ 1044797 h 1348549"/>
                <a:gd name="connsiteX1056" fmla="*/ 809911 w 860393"/>
                <a:gd name="connsiteY1056" fmla="*/ 1044321 h 1348549"/>
                <a:gd name="connsiteX1057" fmla="*/ 813435 w 860393"/>
                <a:gd name="connsiteY1057" fmla="*/ 1047083 h 1348549"/>
                <a:gd name="connsiteX1058" fmla="*/ 815435 w 860393"/>
                <a:gd name="connsiteY1058" fmla="*/ 1050036 h 1348549"/>
                <a:gd name="connsiteX1059" fmla="*/ 823341 w 860393"/>
                <a:gd name="connsiteY1059" fmla="*/ 1049084 h 1348549"/>
                <a:gd name="connsiteX1060" fmla="*/ 825532 w 860393"/>
                <a:gd name="connsiteY1060" fmla="*/ 1053560 h 1348549"/>
                <a:gd name="connsiteX1061" fmla="*/ 828675 w 860393"/>
                <a:gd name="connsiteY1061" fmla="*/ 1053179 h 1348549"/>
                <a:gd name="connsiteX1062" fmla="*/ 830580 w 860393"/>
                <a:gd name="connsiteY1062" fmla="*/ 1056132 h 1348549"/>
                <a:gd name="connsiteX1063" fmla="*/ 835152 w 860393"/>
                <a:gd name="connsiteY1063" fmla="*/ 1053941 h 1348549"/>
                <a:gd name="connsiteX1064" fmla="*/ 840676 w 860393"/>
                <a:gd name="connsiteY1064" fmla="*/ 1059656 h 1348549"/>
                <a:gd name="connsiteX1065" fmla="*/ 850011 w 860393"/>
                <a:gd name="connsiteY1065" fmla="*/ 1056894 h 1348549"/>
                <a:gd name="connsiteX1066" fmla="*/ 849535 w 860393"/>
                <a:gd name="connsiteY1066" fmla="*/ 1053751 h 1348549"/>
                <a:gd name="connsiteX1067" fmla="*/ 849154 w 860393"/>
                <a:gd name="connsiteY1067" fmla="*/ 1050608 h 1348549"/>
                <a:gd name="connsiteX1068" fmla="*/ 857440 w 860393"/>
                <a:gd name="connsiteY1068" fmla="*/ 1039939 h 1348549"/>
                <a:gd name="connsiteX1069" fmla="*/ 860393 w 860393"/>
                <a:gd name="connsiteY1069" fmla="*/ 1025080 h 1348549"/>
                <a:gd name="connsiteX1070" fmla="*/ 859917 w 860393"/>
                <a:gd name="connsiteY1070" fmla="*/ 1021937 h 1348549"/>
                <a:gd name="connsiteX1071" fmla="*/ 855250 w 860393"/>
                <a:gd name="connsiteY1071" fmla="*/ 1022509 h 1348549"/>
                <a:gd name="connsiteX1072" fmla="*/ 855250 w 860393"/>
                <a:gd name="connsiteY1072" fmla="*/ 1022509 h 1348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</a:cxnLst>
              <a:rect l="l" t="t" r="r" b="b"/>
              <a:pathLst>
                <a:path w="860393" h="1348549">
                  <a:moveTo>
                    <a:pt x="855250" y="1022509"/>
                  </a:moveTo>
                  <a:lnTo>
                    <a:pt x="856012" y="1016032"/>
                  </a:lnTo>
                  <a:lnTo>
                    <a:pt x="854202" y="1014698"/>
                  </a:lnTo>
                  <a:lnTo>
                    <a:pt x="853821" y="1011555"/>
                  </a:lnTo>
                  <a:lnTo>
                    <a:pt x="852202" y="1011746"/>
                  </a:lnTo>
                  <a:lnTo>
                    <a:pt x="854583" y="1004983"/>
                  </a:lnTo>
                  <a:lnTo>
                    <a:pt x="847439" y="999458"/>
                  </a:lnTo>
                  <a:lnTo>
                    <a:pt x="850011" y="994315"/>
                  </a:lnTo>
                  <a:lnTo>
                    <a:pt x="849821" y="992791"/>
                  </a:lnTo>
                  <a:lnTo>
                    <a:pt x="846677" y="993172"/>
                  </a:lnTo>
                  <a:lnTo>
                    <a:pt x="845725" y="998125"/>
                  </a:lnTo>
                  <a:lnTo>
                    <a:pt x="835438" y="992981"/>
                  </a:lnTo>
                  <a:lnTo>
                    <a:pt x="832675" y="996601"/>
                  </a:lnTo>
                  <a:lnTo>
                    <a:pt x="833247" y="1001268"/>
                  </a:lnTo>
                  <a:lnTo>
                    <a:pt x="828484" y="1001935"/>
                  </a:lnTo>
                  <a:lnTo>
                    <a:pt x="827151" y="1003649"/>
                  </a:lnTo>
                  <a:lnTo>
                    <a:pt x="822484" y="1017080"/>
                  </a:lnTo>
                  <a:lnTo>
                    <a:pt x="815340" y="1011555"/>
                  </a:lnTo>
                  <a:lnTo>
                    <a:pt x="814483" y="1005268"/>
                  </a:lnTo>
                  <a:lnTo>
                    <a:pt x="810578" y="999363"/>
                  </a:lnTo>
                  <a:lnTo>
                    <a:pt x="807434" y="999744"/>
                  </a:lnTo>
                  <a:lnTo>
                    <a:pt x="806958" y="996601"/>
                  </a:lnTo>
                  <a:lnTo>
                    <a:pt x="814102" y="989267"/>
                  </a:lnTo>
                  <a:lnTo>
                    <a:pt x="819055" y="990314"/>
                  </a:lnTo>
                  <a:lnTo>
                    <a:pt x="822960" y="983361"/>
                  </a:lnTo>
                  <a:lnTo>
                    <a:pt x="819626" y="982218"/>
                  </a:lnTo>
                  <a:lnTo>
                    <a:pt x="820769" y="978789"/>
                  </a:lnTo>
                  <a:lnTo>
                    <a:pt x="819150" y="979075"/>
                  </a:lnTo>
                  <a:lnTo>
                    <a:pt x="822103" y="977075"/>
                  </a:lnTo>
                  <a:lnTo>
                    <a:pt x="818959" y="977455"/>
                  </a:lnTo>
                  <a:lnTo>
                    <a:pt x="813816" y="974884"/>
                  </a:lnTo>
                  <a:lnTo>
                    <a:pt x="814673" y="968407"/>
                  </a:lnTo>
                  <a:lnTo>
                    <a:pt x="812863" y="966978"/>
                  </a:lnTo>
                  <a:lnTo>
                    <a:pt x="809911" y="968978"/>
                  </a:lnTo>
                  <a:lnTo>
                    <a:pt x="807720" y="964501"/>
                  </a:lnTo>
                  <a:lnTo>
                    <a:pt x="809054" y="962692"/>
                  </a:lnTo>
                  <a:lnTo>
                    <a:pt x="807530" y="962882"/>
                  </a:lnTo>
                  <a:lnTo>
                    <a:pt x="806863" y="958120"/>
                  </a:lnTo>
                  <a:lnTo>
                    <a:pt x="803720" y="958501"/>
                  </a:lnTo>
                  <a:lnTo>
                    <a:pt x="801338" y="952405"/>
                  </a:lnTo>
                  <a:lnTo>
                    <a:pt x="799433" y="949452"/>
                  </a:lnTo>
                  <a:lnTo>
                    <a:pt x="795814" y="946690"/>
                  </a:lnTo>
                  <a:lnTo>
                    <a:pt x="790289" y="940975"/>
                  </a:lnTo>
                  <a:lnTo>
                    <a:pt x="785717" y="930402"/>
                  </a:lnTo>
                  <a:lnTo>
                    <a:pt x="779240" y="929640"/>
                  </a:lnTo>
                  <a:lnTo>
                    <a:pt x="770572" y="924306"/>
                  </a:lnTo>
                  <a:lnTo>
                    <a:pt x="764762" y="916972"/>
                  </a:lnTo>
                  <a:lnTo>
                    <a:pt x="761619" y="917448"/>
                  </a:lnTo>
                  <a:lnTo>
                    <a:pt x="758857" y="920972"/>
                  </a:lnTo>
                  <a:lnTo>
                    <a:pt x="757047" y="919543"/>
                  </a:lnTo>
                  <a:lnTo>
                    <a:pt x="755904" y="910114"/>
                  </a:lnTo>
                  <a:lnTo>
                    <a:pt x="750570" y="906018"/>
                  </a:lnTo>
                  <a:lnTo>
                    <a:pt x="754285" y="897541"/>
                  </a:lnTo>
                  <a:lnTo>
                    <a:pt x="743617" y="889254"/>
                  </a:lnTo>
                  <a:lnTo>
                    <a:pt x="735044" y="872680"/>
                  </a:lnTo>
                  <a:lnTo>
                    <a:pt x="727996" y="867156"/>
                  </a:lnTo>
                  <a:lnTo>
                    <a:pt x="727996" y="867156"/>
                  </a:lnTo>
                  <a:lnTo>
                    <a:pt x="725424" y="872300"/>
                  </a:lnTo>
                  <a:lnTo>
                    <a:pt x="725043" y="882015"/>
                  </a:lnTo>
                  <a:lnTo>
                    <a:pt x="723424" y="882205"/>
                  </a:lnTo>
                  <a:lnTo>
                    <a:pt x="722090" y="883920"/>
                  </a:lnTo>
                  <a:lnTo>
                    <a:pt x="720280" y="882587"/>
                  </a:lnTo>
                  <a:lnTo>
                    <a:pt x="717709" y="887730"/>
                  </a:lnTo>
                  <a:lnTo>
                    <a:pt x="715994" y="886301"/>
                  </a:lnTo>
                  <a:lnTo>
                    <a:pt x="715613" y="883158"/>
                  </a:lnTo>
                  <a:lnTo>
                    <a:pt x="694849" y="871347"/>
                  </a:lnTo>
                  <a:lnTo>
                    <a:pt x="692467" y="865251"/>
                  </a:lnTo>
                  <a:lnTo>
                    <a:pt x="690848" y="852678"/>
                  </a:lnTo>
                  <a:lnTo>
                    <a:pt x="687610" y="840200"/>
                  </a:lnTo>
                  <a:lnTo>
                    <a:pt x="688657" y="835247"/>
                  </a:lnTo>
                  <a:lnTo>
                    <a:pt x="694849" y="821626"/>
                  </a:lnTo>
                  <a:lnTo>
                    <a:pt x="696468" y="821436"/>
                  </a:lnTo>
                  <a:lnTo>
                    <a:pt x="697421" y="816483"/>
                  </a:lnTo>
                  <a:lnTo>
                    <a:pt x="699040" y="816293"/>
                  </a:lnTo>
                  <a:lnTo>
                    <a:pt x="697039" y="813340"/>
                  </a:lnTo>
                  <a:lnTo>
                    <a:pt x="697611" y="805243"/>
                  </a:lnTo>
                  <a:lnTo>
                    <a:pt x="696087" y="805529"/>
                  </a:lnTo>
                  <a:lnTo>
                    <a:pt x="693706" y="812197"/>
                  </a:lnTo>
                  <a:lnTo>
                    <a:pt x="690563" y="812578"/>
                  </a:lnTo>
                  <a:lnTo>
                    <a:pt x="686943" y="809815"/>
                  </a:lnTo>
                  <a:lnTo>
                    <a:pt x="685229" y="808482"/>
                  </a:lnTo>
                  <a:lnTo>
                    <a:pt x="681799" y="807339"/>
                  </a:lnTo>
                  <a:lnTo>
                    <a:pt x="684371" y="802196"/>
                  </a:lnTo>
                  <a:lnTo>
                    <a:pt x="680847" y="799433"/>
                  </a:lnTo>
                  <a:lnTo>
                    <a:pt x="677513" y="798195"/>
                  </a:lnTo>
                  <a:lnTo>
                    <a:pt x="671322" y="800576"/>
                  </a:lnTo>
                  <a:lnTo>
                    <a:pt x="665416" y="791718"/>
                  </a:lnTo>
                  <a:lnTo>
                    <a:pt x="660654" y="792385"/>
                  </a:lnTo>
                  <a:lnTo>
                    <a:pt x="651986" y="787051"/>
                  </a:lnTo>
                  <a:lnTo>
                    <a:pt x="649605" y="793718"/>
                  </a:lnTo>
                  <a:lnTo>
                    <a:pt x="646271" y="792575"/>
                  </a:lnTo>
                  <a:lnTo>
                    <a:pt x="642175" y="797909"/>
                  </a:lnTo>
                  <a:lnTo>
                    <a:pt x="636080" y="800290"/>
                  </a:lnTo>
                  <a:lnTo>
                    <a:pt x="635317" y="806768"/>
                  </a:lnTo>
                  <a:lnTo>
                    <a:pt x="622649" y="808387"/>
                  </a:lnTo>
                  <a:lnTo>
                    <a:pt x="615887" y="806101"/>
                  </a:lnTo>
                  <a:lnTo>
                    <a:pt x="604075" y="788289"/>
                  </a:lnTo>
                  <a:lnTo>
                    <a:pt x="595598" y="784574"/>
                  </a:lnTo>
                  <a:lnTo>
                    <a:pt x="587312" y="782479"/>
                  </a:lnTo>
                  <a:lnTo>
                    <a:pt x="585311" y="779526"/>
                  </a:lnTo>
                  <a:lnTo>
                    <a:pt x="581978" y="778288"/>
                  </a:lnTo>
                  <a:lnTo>
                    <a:pt x="579406" y="783431"/>
                  </a:lnTo>
                  <a:lnTo>
                    <a:pt x="578167" y="786860"/>
                  </a:lnTo>
                  <a:lnTo>
                    <a:pt x="579977" y="788194"/>
                  </a:lnTo>
                  <a:lnTo>
                    <a:pt x="572072" y="802005"/>
                  </a:lnTo>
                  <a:lnTo>
                    <a:pt x="558927" y="798862"/>
                  </a:lnTo>
                  <a:lnTo>
                    <a:pt x="555498" y="797719"/>
                  </a:lnTo>
                  <a:lnTo>
                    <a:pt x="547211" y="782764"/>
                  </a:lnTo>
                  <a:lnTo>
                    <a:pt x="543878" y="781526"/>
                  </a:lnTo>
                  <a:lnTo>
                    <a:pt x="541115" y="785146"/>
                  </a:lnTo>
                  <a:lnTo>
                    <a:pt x="535972" y="782574"/>
                  </a:lnTo>
                  <a:lnTo>
                    <a:pt x="520922" y="778097"/>
                  </a:lnTo>
                  <a:lnTo>
                    <a:pt x="513493" y="782193"/>
                  </a:lnTo>
                  <a:lnTo>
                    <a:pt x="509111" y="786003"/>
                  </a:lnTo>
                  <a:lnTo>
                    <a:pt x="504444" y="786575"/>
                  </a:lnTo>
                  <a:lnTo>
                    <a:pt x="504825" y="789718"/>
                  </a:lnTo>
                  <a:lnTo>
                    <a:pt x="502634" y="785241"/>
                  </a:lnTo>
                  <a:lnTo>
                    <a:pt x="495490" y="779717"/>
                  </a:lnTo>
                  <a:lnTo>
                    <a:pt x="501587" y="777335"/>
                  </a:lnTo>
                  <a:lnTo>
                    <a:pt x="499681" y="774383"/>
                  </a:lnTo>
                  <a:lnTo>
                    <a:pt x="492538" y="768858"/>
                  </a:lnTo>
                  <a:lnTo>
                    <a:pt x="492157" y="765715"/>
                  </a:lnTo>
                  <a:lnTo>
                    <a:pt x="495109" y="763714"/>
                  </a:lnTo>
                  <a:lnTo>
                    <a:pt x="492728" y="757618"/>
                  </a:lnTo>
                  <a:lnTo>
                    <a:pt x="485775" y="753713"/>
                  </a:lnTo>
                  <a:lnTo>
                    <a:pt x="483584" y="749141"/>
                  </a:lnTo>
                  <a:lnTo>
                    <a:pt x="480441" y="749522"/>
                  </a:lnTo>
                  <a:lnTo>
                    <a:pt x="478441" y="746569"/>
                  </a:lnTo>
                  <a:lnTo>
                    <a:pt x="467011" y="731996"/>
                  </a:lnTo>
                  <a:lnTo>
                    <a:pt x="465011" y="729043"/>
                  </a:lnTo>
                  <a:lnTo>
                    <a:pt x="463582" y="730853"/>
                  </a:lnTo>
                  <a:lnTo>
                    <a:pt x="456152" y="722185"/>
                  </a:lnTo>
                  <a:lnTo>
                    <a:pt x="448818" y="727901"/>
                  </a:lnTo>
                  <a:lnTo>
                    <a:pt x="439388" y="729139"/>
                  </a:lnTo>
                  <a:lnTo>
                    <a:pt x="436626" y="732663"/>
                  </a:lnTo>
                  <a:lnTo>
                    <a:pt x="434054" y="737806"/>
                  </a:lnTo>
                  <a:lnTo>
                    <a:pt x="432054" y="734854"/>
                  </a:lnTo>
                  <a:lnTo>
                    <a:pt x="433006" y="729901"/>
                  </a:lnTo>
                  <a:lnTo>
                    <a:pt x="421386" y="726567"/>
                  </a:lnTo>
                  <a:lnTo>
                    <a:pt x="415290" y="729043"/>
                  </a:lnTo>
                  <a:lnTo>
                    <a:pt x="410337" y="727996"/>
                  </a:lnTo>
                  <a:lnTo>
                    <a:pt x="410146" y="726472"/>
                  </a:lnTo>
                  <a:lnTo>
                    <a:pt x="409956" y="724852"/>
                  </a:lnTo>
                  <a:lnTo>
                    <a:pt x="404622" y="720757"/>
                  </a:lnTo>
                  <a:lnTo>
                    <a:pt x="403003" y="720947"/>
                  </a:lnTo>
                  <a:lnTo>
                    <a:pt x="401860" y="724281"/>
                  </a:lnTo>
                  <a:lnTo>
                    <a:pt x="401288" y="719518"/>
                  </a:lnTo>
                  <a:lnTo>
                    <a:pt x="399288" y="716566"/>
                  </a:lnTo>
                  <a:lnTo>
                    <a:pt x="394716" y="718756"/>
                  </a:lnTo>
                  <a:lnTo>
                    <a:pt x="391192" y="715994"/>
                  </a:lnTo>
                  <a:lnTo>
                    <a:pt x="384620" y="715232"/>
                  </a:lnTo>
                  <a:lnTo>
                    <a:pt x="382238" y="709136"/>
                  </a:lnTo>
                  <a:lnTo>
                    <a:pt x="379286" y="711137"/>
                  </a:lnTo>
                  <a:lnTo>
                    <a:pt x="375761" y="708374"/>
                  </a:lnTo>
                  <a:lnTo>
                    <a:pt x="371189" y="710565"/>
                  </a:lnTo>
                  <a:lnTo>
                    <a:pt x="369284" y="707612"/>
                  </a:lnTo>
                  <a:lnTo>
                    <a:pt x="368046" y="710946"/>
                  </a:lnTo>
                  <a:lnTo>
                    <a:pt x="364903" y="711327"/>
                  </a:lnTo>
                  <a:lnTo>
                    <a:pt x="365284" y="714470"/>
                  </a:lnTo>
                  <a:lnTo>
                    <a:pt x="363760" y="714756"/>
                  </a:lnTo>
                  <a:lnTo>
                    <a:pt x="361950" y="713327"/>
                  </a:lnTo>
                  <a:lnTo>
                    <a:pt x="358997" y="715327"/>
                  </a:lnTo>
                  <a:lnTo>
                    <a:pt x="357664" y="717137"/>
                  </a:lnTo>
                  <a:lnTo>
                    <a:pt x="357188" y="713899"/>
                  </a:lnTo>
                  <a:lnTo>
                    <a:pt x="355473" y="712565"/>
                  </a:lnTo>
                  <a:lnTo>
                    <a:pt x="354997" y="709422"/>
                  </a:lnTo>
                  <a:lnTo>
                    <a:pt x="351854" y="709803"/>
                  </a:lnTo>
                  <a:lnTo>
                    <a:pt x="354235" y="703135"/>
                  </a:lnTo>
                  <a:lnTo>
                    <a:pt x="360331" y="687896"/>
                  </a:lnTo>
                  <a:lnTo>
                    <a:pt x="362807" y="669893"/>
                  </a:lnTo>
                  <a:lnTo>
                    <a:pt x="359664" y="670369"/>
                  </a:lnTo>
                  <a:lnTo>
                    <a:pt x="355949" y="678847"/>
                  </a:lnTo>
                  <a:lnTo>
                    <a:pt x="350806" y="676275"/>
                  </a:lnTo>
                  <a:lnTo>
                    <a:pt x="349472" y="678085"/>
                  </a:lnTo>
                  <a:lnTo>
                    <a:pt x="350044" y="682752"/>
                  </a:lnTo>
                  <a:lnTo>
                    <a:pt x="345091" y="681800"/>
                  </a:lnTo>
                  <a:lnTo>
                    <a:pt x="341947" y="682180"/>
                  </a:lnTo>
                  <a:lnTo>
                    <a:pt x="334899" y="689515"/>
                  </a:lnTo>
                  <a:lnTo>
                    <a:pt x="332708" y="685038"/>
                  </a:lnTo>
                  <a:lnTo>
                    <a:pt x="329374" y="683800"/>
                  </a:lnTo>
                  <a:lnTo>
                    <a:pt x="324803" y="673132"/>
                  </a:lnTo>
                  <a:lnTo>
                    <a:pt x="323945" y="666845"/>
                  </a:lnTo>
                  <a:lnTo>
                    <a:pt x="321945" y="663893"/>
                  </a:lnTo>
                  <a:lnTo>
                    <a:pt x="318611" y="662750"/>
                  </a:lnTo>
                  <a:lnTo>
                    <a:pt x="316039" y="667893"/>
                  </a:lnTo>
                  <a:lnTo>
                    <a:pt x="316611" y="659797"/>
                  </a:lnTo>
                  <a:lnTo>
                    <a:pt x="314230" y="653701"/>
                  </a:lnTo>
                  <a:lnTo>
                    <a:pt x="305753" y="649891"/>
                  </a:lnTo>
                  <a:lnTo>
                    <a:pt x="306705" y="645033"/>
                  </a:lnTo>
                  <a:lnTo>
                    <a:pt x="309944" y="644557"/>
                  </a:lnTo>
                  <a:lnTo>
                    <a:pt x="307467" y="638461"/>
                  </a:lnTo>
                  <a:lnTo>
                    <a:pt x="312230" y="637889"/>
                  </a:lnTo>
                  <a:lnTo>
                    <a:pt x="313468" y="634555"/>
                  </a:lnTo>
                  <a:lnTo>
                    <a:pt x="319183" y="629031"/>
                  </a:lnTo>
                  <a:lnTo>
                    <a:pt x="318897" y="627412"/>
                  </a:lnTo>
                  <a:lnTo>
                    <a:pt x="319945" y="622459"/>
                  </a:lnTo>
                  <a:lnTo>
                    <a:pt x="321659" y="623888"/>
                  </a:lnTo>
                  <a:lnTo>
                    <a:pt x="323088" y="622078"/>
                  </a:lnTo>
                  <a:lnTo>
                    <a:pt x="322707" y="618934"/>
                  </a:lnTo>
                  <a:lnTo>
                    <a:pt x="324993" y="612172"/>
                  </a:lnTo>
                  <a:lnTo>
                    <a:pt x="316706" y="610076"/>
                  </a:lnTo>
                  <a:lnTo>
                    <a:pt x="317849" y="606647"/>
                  </a:lnTo>
                  <a:lnTo>
                    <a:pt x="315563" y="600551"/>
                  </a:lnTo>
                  <a:lnTo>
                    <a:pt x="323183" y="597980"/>
                  </a:lnTo>
                  <a:lnTo>
                    <a:pt x="322802" y="594836"/>
                  </a:lnTo>
                  <a:lnTo>
                    <a:pt x="327374" y="592646"/>
                  </a:lnTo>
                  <a:lnTo>
                    <a:pt x="328327" y="587693"/>
                  </a:lnTo>
                  <a:lnTo>
                    <a:pt x="334613" y="586930"/>
                  </a:lnTo>
                  <a:lnTo>
                    <a:pt x="336804" y="578644"/>
                  </a:lnTo>
                  <a:lnTo>
                    <a:pt x="338519" y="579977"/>
                  </a:lnTo>
                  <a:lnTo>
                    <a:pt x="341090" y="574834"/>
                  </a:lnTo>
                  <a:lnTo>
                    <a:pt x="339090" y="571881"/>
                  </a:lnTo>
                  <a:lnTo>
                    <a:pt x="341852" y="568357"/>
                  </a:lnTo>
                  <a:lnTo>
                    <a:pt x="339471" y="562261"/>
                  </a:lnTo>
                  <a:lnTo>
                    <a:pt x="339280" y="560642"/>
                  </a:lnTo>
                  <a:lnTo>
                    <a:pt x="335185" y="553212"/>
                  </a:lnTo>
                  <a:lnTo>
                    <a:pt x="320516" y="539020"/>
                  </a:lnTo>
                  <a:lnTo>
                    <a:pt x="312039" y="535305"/>
                  </a:lnTo>
                  <a:lnTo>
                    <a:pt x="309658" y="529114"/>
                  </a:lnTo>
                  <a:lnTo>
                    <a:pt x="311182" y="528923"/>
                  </a:lnTo>
                  <a:lnTo>
                    <a:pt x="320040" y="523018"/>
                  </a:lnTo>
                  <a:lnTo>
                    <a:pt x="320802" y="516541"/>
                  </a:lnTo>
                  <a:lnTo>
                    <a:pt x="318421" y="510349"/>
                  </a:lnTo>
                  <a:lnTo>
                    <a:pt x="316801" y="497776"/>
                  </a:lnTo>
                  <a:lnTo>
                    <a:pt x="325279" y="488632"/>
                  </a:lnTo>
                  <a:lnTo>
                    <a:pt x="329851" y="473678"/>
                  </a:lnTo>
                  <a:lnTo>
                    <a:pt x="337471" y="471107"/>
                  </a:lnTo>
                  <a:lnTo>
                    <a:pt x="342995" y="463963"/>
                  </a:lnTo>
                  <a:lnTo>
                    <a:pt x="345567" y="458819"/>
                  </a:lnTo>
                  <a:lnTo>
                    <a:pt x="353282" y="456247"/>
                  </a:lnTo>
                  <a:lnTo>
                    <a:pt x="360521" y="437674"/>
                  </a:lnTo>
                  <a:lnTo>
                    <a:pt x="359473" y="429768"/>
                  </a:lnTo>
                  <a:lnTo>
                    <a:pt x="357092" y="423672"/>
                  </a:lnTo>
                  <a:lnTo>
                    <a:pt x="357473" y="414052"/>
                  </a:lnTo>
                  <a:lnTo>
                    <a:pt x="349948" y="392525"/>
                  </a:lnTo>
                  <a:lnTo>
                    <a:pt x="365665" y="377666"/>
                  </a:lnTo>
                  <a:lnTo>
                    <a:pt x="369665" y="370808"/>
                  </a:lnTo>
                  <a:lnTo>
                    <a:pt x="365665" y="364903"/>
                  </a:lnTo>
                  <a:lnTo>
                    <a:pt x="364236" y="353854"/>
                  </a:lnTo>
                  <a:lnTo>
                    <a:pt x="361664" y="346138"/>
                  </a:lnTo>
                  <a:lnTo>
                    <a:pt x="371951" y="338423"/>
                  </a:lnTo>
                  <a:lnTo>
                    <a:pt x="375095" y="338042"/>
                  </a:lnTo>
                  <a:lnTo>
                    <a:pt x="383096" y="325755"/>
                  </a:lnTo>
                  <a:lnTo>
                    <a:pt x="387287" y="320421"/>
                  </a:lnTo>
                  <a:lnTo>
                    <a:pt x="392335" y="310134"/>
                  </a:lnTo>
                  <a:lnTo>
                    <a:pt x="397669" y="314230"/>
                  </a:lnTo>
                  <a:lnTo>
                    <a:pt x="400717" y="312325"/>
                  </a:lnTo>
                  <a:lnTo>
                    <a:pt x="405003" y="308515"/>
                  </a:lnTo>
                  <a:lnTo>
                    <a:pt x="404241" y="302228"/>
                  </a:lnTo>
                  <a:lnTo>
                    <a:pt x="408146" y="295275"/>
                  </a:lnTo>
                  <a:lnTo>
                    <a:pt x="414052" y="291370"/>
                  </a:lnTo>
                  <a:lnTo>
                    <a:pt x="427672" y="297656"/>
                  </a:lnTo>
                  <a:lnTo>
                    <a:pt x="434912" y="291846"/>
                  </a:lnTo>
                  <a:lnTo>
                    <a:pt x="442246" y="273272"/>
                  </a:lnTo>
                  <a:lnTo>
                    <a:pt x="450723" y="264223"/>
                  </a:lnTo>
                  <a:lnTo>
                    <a:pt x="453962" y="252603"/>
                  </a:lnTo>
                  <a:lnTo>
                    <a:pt x="455771" y="253936"/>
                  </a:lnTo>
                  <a:lnTo>
                    <a:pt x="463487" y="264223"/>
                  </a:lnTo>
                  <a:lnTo>
                    <a:pt x="468821" y="268319"/>
                  </a:lnTo>
                  <a:lnTo>
                    <a:pt x="471773" y="266319"/>
                  </a:lnTo>
                  <a:lnTo>
                    <a:pt x="480060" y="268510"/>
                  </a:lnTo>
                  <a:lnTo>
                    <a:pt x="485965" y="264509"/>
                  </a:lnTo>
                  <a:lnTo>
                    <a:pt x="485394" y="259842"/>
                  </a:lnTo>
                  <a:lnTo>
                    <a:pt x="488156" y="256222"/>
                  </a:lnTo>
                  <a:lnTo>
                    <a:pt x="487299" y="249936"/>
                  </a:lnTo>
                  <a:lnTo>
                    <a:pt x="488156" y="243459"/>
                  </a:lnTo>
                  <a:lnTo>
                    <a:pt x="485299" y="234124"/>
                  </a:lnTo>
                  <a:lnTo>
                    <a:pt x="487680" y="227457"/>
                  </a:lnTo>
                  <a:lnTo>
                    <a:pt x="489204" y="214408"/>
                  </a:lnTo>
                  <a:lnTo>
                    <a:pt x="487013" y="209836"/>
                  </a:lnTo>
                  <a:lnTo>
                    <a:pt x="489775" y="206311"/>
                  </a:lnTo>
                  <a:lnTo>
                    <a:pt x="481108" y="188214"/>
                  </a:lnTo>
                  <a:lnTo>
                    <a:pt x="472249" y="194119"/>
                  </a:lnTo>
                  <a:lnTo>
                    <a:pt x="469582" y="186404"/>
                  </a:lnTo>
                  <a:lnTo>
                    <a:pt x="459581" y="182880"/>
                  </a:lnTo>
                  <a:lnTo>
                    <a:pt x="445389" y="184690"/>
                  </a:lnTo>
                  <a:lnTo>
                    <a:pt x="442436" y="186690"/>
                  </a:lnTo>
                  <a:lnTo>
                    <a:pt x="441484" y="204406"/>
                  </a:lnTo>
                  <a:lnTo>
                    <a:pt x="435102" y="205264"/>
                  </a:lnTo>
                  <a:lnTo>
                    <a:pt x="431578" y="202501"/>
                  </a:lnTo>
                  <a:lnTo>
                    <a:pt x="428149" y="188500"/>
                  </a:lnTo>
                  <a:lnTo>
                    <a:pt x="424244" y="182594"/>
                  </a:lnTo>
                  <a:lnTo>
                    <a:pt x="431959" y="180022"/>
                  </a:lnTo>
                  <a:lnTo>
                    <a:pt x="429768" y="175450"/>
                  </a:lnTo>
                  <a:lnTo>
                    <a:pt x="430339" y="167354"/>
                  </a:lnTo>
                  <a:lnTo>
                    <a:pt x="435197" y="155543"/>
                  </a:lnTo>
                  <a:lnTo>
                    <a:pt x="429673" y="149828"/>
                  </a:lnTo>
                  <a:lnTo>
                    <a:pt x="426530" y="150209"/>
                  </a:lnTo>
                  <a:lnTo>
                    <a:pt x="423196" y="149066"/>
                  </a:lnTo>
                  <a:lnTo>
                    <a:pt x="425101" y="139160"/>
                  </a:lnTo>
                  <a:lnTo>
                    <a:pt x="430054" y="140113"/>
                  </a:lnTo>
                  <a:lnTo>
                    <a:pt x="432625" y="135064"/>
                  </a:lnTo>
                  <a:lnTo>
                    <a:pt x="430435" y="130492"/>
                  </a:lnTo>
                  <a:lnTo>
                    <a:pt x="414814" y="134112"/>
                  </a:lnTo>
                  <a:lnTo>
                    <a:pt x="406146" y="141637"/>
                  </a:lnTo>
                  <a:lnTo>
                    <a:pt x="398336" y="142589"/>
                  </a:lnTo>
                  <a:lnTo>
                    <a:pt x="389001" y="145351"/>
                  </a:lnTo>
                  <a:lnTo>
                    <a:pt x="378714" y="140303"/>
                  </a:lnTo>
                  <a:lnTo>
                    <a:pt x="371665" y="134779"/>
                  </a:lnTo>
                  <a:lnTo>
                    <a:pt x="359759" y="129826"/>
                  </a:lnTo>
                  <a:lnTo>
                    <a:pt x="357378" y="123730"/>
                  </a:lnTo>
                  <a:lnTo>
                    <a:pt x="350330" y="118205"/>
                  </a:lnTo>
                  <a:lnTo>
                    <a:pt x="343376" y="114300"/>
                  </a:lnTo>
                  <a:lnTo>
                    <a:pt x="335471" y="102489"/>
                  </a:lnTo>
                  <a:lnTo>
                    <a:pt x="326136" y="92488"/>
                  </a:lnTo>
                  <a:lnTo>
                    <a:pt x="324517" y="79819"/>
                  </a:lnTo>
                  <a:lnTo>
                    <a:pt x="328041" y="69723"/>
                  </a:lnTo>
                  <a:lnTo>
                    <a:pt x="321183" y="65818"/>
                  </a:lnTo>
                  <a:lnTo>
                    <a:pt x="314611" y="65056"/>
                  </a:lnTo>
                  <a:lnTo>
                    <a:pt x="310324" y="68770"/>
                  </a:lnTo>
                  <a:lnTo>
                    <a:pt x="299466" y="71818"/>
                  </a:lnTo>
                  <a:lnTo>
                    <a:pt x="295084" y="75533"/>
                  </a:lnTo>
                  <a:lnTo>
                    <a:pt x="293370" y="74200"/>
                  </a:lnTo>
                  <a:lnTo>
                    <a:pt x="285464" y="75152"/>
                  </a:lnTo>
                  <a:lnTo>
                    <a:pt x="272224" y="59245"/>
                  </a:lnTo>
                  <a:lnTo>
                    <a:pt x="264319" y="60198"/>
                  </a:lnTo>
                  <a:lnTo>
                    <a:pt x="262699" y="47625"/>
                  </a:lnTo>
                  <a:lnTo>
                    <a:pt x="257746" y="46672"/>
                  </a:lnTo>
                  <a:lnTo>
                    <a:pt x="245173" y="48292"/>
                  </a:lnTo>
                  <a:lnTo>
                    <a:pt x="243935" y="51625"/>
                  </a:lnTo>
                  <a:lnTo>
                    <a:pt x="222409" y="46291"/>
                  </a:lnTo>
                  <a:lnTo>
                    <a:pt x="211550" y="36481"/>
                  </a:lnTo>
                  <a:lnTo>
                    <a:pt x="206883" y="37052"/>
                  </a:lnTo>
                  <a:lnTo>
                    <a:pt x="202692" y="29623"/>
                  </a:lnTo>
                  <a:lnTo>
                    <a:pt x="199549" y="30004"/>
                  </a:lnTo>
                  <a:lnTo>
                    <a:pt x="195167" y="33814"/>
                  </a:lnTo>
                  <a:lnTo>
                    <a:pt x="189452" y="26479"/>
                  </a:lnTo>
                  <a:lnTo>
                    <a:pt x="184309" y="23908"/>
                  </a:lnTo>
                  <a:lnTo>
                    <a:pt x="175831" y="33052"/>
                  </a:lnTo>
                  <a:lnTo>
                    <a:pt x="167926" y="34004"/>
                  </a:lnTo>
                  <a:lnTo>
                    <a:pt x="165735" y="29527"/>
                  </a:lnTo>
                  <a:lnTo>
                    <a:pt x="151543" y="18478"/>
                  </a:lnTo>
                  <a:lnTo>
                    <a:pt x="134588" y="11049"/>
                  </a:lnTo>
                  <a:lnTo>
                    <a:pt x="120301" y="0"/>
                  </a:lnTo>
                  <a:lnTo>
                    <a:pt x="118967" y="1810"/>
                  </a:lnTo>
                  <a:lnTo>
                    <a:pt x="115538" y="571"/>
                  </a:lnTo>
                  <a:lnTo>
                    <a:pt x="111633" y="7525"/>
                  </a:lnTo>
                  <a:lnTo>
                    <a:pt x="106680" y="6572"/>
                  </a:lnTo>
                  <a:lnTo>
                    <a:pt x="103727" y="8572"/>
                  </a:lnTo>
                  <a:lnTo>
                    <a:pt x="102965" y="15049"/>
                  </a:lnTo>
                  <a:lnTo>
                    <a:pt x="98679" y="18764"/>
                  </a:lnTo>
                  <a:lnTo>
                    <a:pt x="99441" y="25146"/>
                  </a:lnTo>
                  <a:lnTo>
                    <a:pt x="95536" y="32004"/>
                  </a:lnTo>
                  <a:lnTo>
                    <a:pt x="96298" y="38290"/>
                  </a:lnTo>
                  <a:lnTo>
                    <a:pt x="90678" y="43910"/>
                  </a:lnTo>
                  <a:lnTo>
                    <a:pt x="89630" y="48768"/>
                  </a:lnTo>
                  <a:lnTo>
                    <a:pt x="92773" y="48387"/>
                  </a:lnTo>
                  <a:lnTo>
                    <a:pt x="100108" y="55531"/>
                  </a:lnTo>
                  <a:lnTo>
                    <a:pt x="107061" y="59436"/>
                  </a:lnTo>
                  <a:lnTo>
                    <a:pt x="112204" y="62008"/>
                  </a:lnTo>
                  <a:lnTo>
                    <a:pt x="116300" y="69437"/>
                  </a:lnTo>
                  <a:lnTo>
                    <a:pt x="122491" y="67056"/>
                  </a:lnTo>
                  <a:lnTo>
                    <a:pt x="124396" y="70009"/>
                  </a:lnTo>
                  <a:lnTo>
                    <a:pt x="124873" y="73152"/>
                  </a:lnTo>
                  <a:lnTo>
                    <a:pt x="127063" y="77724"/>
                  </a:lnTo>
                  <a:lnTo>
                    <a:pt x="130397" y="91726"/>
                  </a:lnTo>
                  <a:lnTo>
                    <a:pt x="128016" y="98488"/>
                  </a:lnTo>
                  <a:lnTo>
                    <a:pt x="136588" y="114967"/>
                  </a:lnTo>
                  <a:lnTo>
                    <a:pt x="143923" y="122111"/>
                  </a:lnTo>
                  <a:lnTo>
                    <a:pt x="145256" y="133159"/>
                  </a:lnTo>
                  <a:lnTo>
                    <a:pt x="142589" y="136684"/>
                  </a:lnTo>
                  <a:lnTo>
                    <a:pt x="147066" y="147352"/>
                  </a:lnTo>
                  <a:lnTo>
                    <a:pt x="156210" y="155829"/>
                  </a:lnTo>
                  <a:lnTo>
                    <a:pt x="161163" y="156781"/>
                  </a:lnTo>
                  <a:lnTo>
                    <a:pt x="164116" y="154781"/>
                  </a:lnTo>
                  <a:lnTo>
                    <a:pt x="167259" y="154400"/>
                  </a:lnTo>
                  <a:lnTo>
                    <a:pt x="169640" y="160496"/>
                  </a:lnTo>
                  <a:lnTo>
                    <a:pt x="186595" y="167926"/>
                  </a:lnTo>
                  <a:lnTo>
                    <a:pt x="189547" y="166021"/>
                  </a:lnTo>
                  <a:lnTo>
                    <a:pt x="191357" y="167354"/>
                  </a:lnTo>
                  <a:lnTo>
                    <a:pt x="192214" y="173641"/>
                  </a:lnTo>
                  <a:lnTo>
                    <a:pt x="195739" y="176403"/>
                  </a:lnTo>
                  <a:lnTo>
                    <a:pt x="204406" y="194596"/>
                  </a:lnTo>
                  <a:lnTo>
                    <a:pt x="202882" y="207550"/>
                  </a:lnTo>
                  <a:lnTo>
                    <a:pt x="198977" y="214503"/>
                  </a:lnTo>
                  <a:lnTo>
                    <a:pt x="193072" y="218503"/>
                  </a:lnTo>
                  <a:lnTo>
                    <a:pt x="191929" y="221837"/>
                  </a:lnTo>
                  <a:lnTo>
                    <a:pt x="199168" y="228886"/>
                  </a:lnTo>
                  <a:lnTo>
                    <a:pt x="198596" y="236982"/>
                  </a:lnTo>
                  <a:lnTo>
                    <a:pt x="211455" y="249745"/>
                  </a:lnTo>
                  <a:lnTo>
                    <a:pt x="207169" y="253555"/>
                  </a:lnTo>
                  <a:lnTo>
                    <a:pt x="203454" y="262033"/>
                  </a:lnTo>
                  <a:lnTo>
                    <a:pt x="192596" y="265081"/>
                  </a:lnTo>
                  <a:lnTo>
                    <a:pt x="190976" y="265271"/>
                  </a:lnTo>
                  <a:lnTo>
                    <a:pt x="186214" y="252984"/>
                  </a:lnTo>
                  <a:lnTo>
                    <a:pt x="180499" y="245745"/>
                  </a:lnTo>
                  <a:lnTo>
                    <a:pt x="179261" y="236220"/>
                  </a:lnTo>
                  <a:lnTo>
                    <a:pt x="174117" y="233743"/>
                  </a:lnTo>
                  <a:lnTo>
                    <a:pt x="165449" y="241173"/>
                  </a:lnTo>
                  <a:lnTo>
                    <a:pt x="166116" y="245936"/>
                  </a:lnTo>
                  <a:lnTo>
                    <a:pt x="168116" y="248888"/>
                  </a:lnTo>
                  <a:lnTo>
                    <a:pt x="163925" y="254222"/>
                  </a:lnTo>
                  <a:lnTo>
                    <a:pt x="162782" y="257556"/>
                  </a:lnTo>
                  <a:lnTo>
                    <a:pt x="158210" y="259747"/>
                  </a:lnTo>
                  <a:lnTo>
                    <a:pt x="154686" y="256984"/>
                  </a:lnTo>
                  <a:lnTo>
                    <a:pt x="142018" y="258604"/>
                  </a:lnTo>
                  <a:lnTo>
                    <a:pt x="140113" y="255651"/>
                  </a:lnTo>
                  <a:lnTo>
                    <a:pt x="135160" y="254698"/>
                  </a:lnTo>
                  <a:lnTo>
                    <a:pt x="122872" y="259461"/>
                  </a:lnTo>
                  <a:lnTo>
                    <a:pt x="121920" y="264414"/>
                  </a:lnTo>
                  <a:lnTo>
                    <a:pt x="115824" y="266795"/>
                  </a:lnTo>
                  <a:lnTo>
                    <a:pt x="111728" y="272129"/>
                  </a:lnTo>
                  <a:lnTo>
                    <a:pt x="112871" y="281559"/>
                  </a:lnTo>
                  <a:lnTo>
                    <a:pt x="111919" y="286512"/>
                  </a:lnTo>
                  <a:lnTo>
                    <a:pt x="105823" y="288893"/>
                  </a:lnTo>
                  <a:lnTo>
                    <a:pt x="99250" y="288131"/>
                  </a:lnTo>
                  <a:lnTo>
                    <a:pt x="98488" y="294608"/>
                  </a:lnTo>
                  <a:lnTo>
                    <a:pt x="100679" y="299180"/>
                  </a:lnTo>
                  <a:lnTo>
                    <a:pt x="99727" y="304133"/>
                  </a:lnTo>
                  <a:lnTo>
                    <a:pt x="100774" y="312039"/>
                  </a:lnTo>
                  <a:lnTo>
                    <a:pt x="98203" y="317182"/>
                  </a:lnTo>
                  <a:lnTo>
                    <a:pt x="90869" y="322897"/>
                  </a:lnTo>
                  <a:lnTo>
                    <a:pt x="90106" y="329374"/>
                  </a:lnTo>
                  <a:lnTo>
                    <a:pt x="86392" y="337947"/>
                  </a:lnTo>
                  <a:lnTo>
                    <a:pt x="85820" y="345948"/>
                  </a:lnTo>
                  <a:lnTo>
                    <a:pt x="83058" y="349567"/>
                  </a:lnTo>
                  <a:lnTo>
                    <a:pt x="81153" y="359378"/>
                  </a:lnTo>
                  <a:lnTo>
                    <a:pt x="81915" y="365760"/>
                  </a:lnTo>
                  <a:lnTo>
                    <a:pt x="79534" y="372428"/>
                  </a:lnTo>
                  <a:lnTo>
                    <a:pt x="78010" y="372618"/>
                  </a:lnTo>
                  <a:lnTo>
                    <a:pt x="77343" y="367951"/>
                  </a:lnTo>
                  <a:lnTo>
                    <a:pt x="74200" y="368332"/>
                  </a:lnTo>
                  <a:lnTo>
                    <a:pt x="76009" y="382524"/>
                  </a:lnTo>
                  <a:lnTo>
                    <a:pt x="70295" y="388048"/>
                  </a:lnTo>
                  <a:lnTo>
                    <a:pt x="62484" y="389096"/>
                  </a:lnTo>
                  <a:lnTo>
                    <a:pt x="61055" y="390811"/>
                  </a:lnTo>
                  <a:lnTo>
                    <a:pt x="63055" y="393763"/>
                  </a:lnTo>
                  <a:lnTo>
                    <a:pt x="69628" y="407384"/>
                  </a:lnTo>
                  <a:lnTo>
                    <a:pt x="70390" y="413671"/>
                  </a:lnTo>
                  <a:lnTo>
                    <a:pt x="74200" y="418052"/>
                  </a:lnTo>
                  <a:lnTo>
                    <a:pt x="66865" y="423767"/>
                  </a:lnTo>
                  <a:lnTo>
                    <a:pt x="60007" y="432625"/>
                  </a:lnTo>
                  <a:lnTo>
                    <a:pt x="57436" y="437769"/>
                  </a:lnTo>
                  <a:lnTo>
                    <a:pt x="68294" y="447675"/>
                  </a:lnTo>
                  <a:lnTo>
                    <a:pt x="64389" y="454533"/>
                  </a:lnTo>
                  <a:lnTo>
                    <a:pt x="72104" y="464820"/>
                  </a:lnTo>
                  <a:lnTo>
                    <a:pt x="66199" y="468725"/>
                  </a:lnTo>
                  <a:lnTo>
                    <a:pt x="65246" y="473678"/>
                  </a:lnTo>
                  <a:lnTo>
                    <a:pt x="65627" y="476821"/>
                  </a:lnTo>
                  <a:lnTo>
                    <a:pt x="64389" y="480250"/>
                  </a:lnTo>
                  <a:lnTo>
                    <a:pt x="56579" y="481203"/>
                  </a:lnTo>
                  <a:lnTo>
                    <a:pt x="55340" y="484537"/>
                  </a:lnTo>
                  <a:lnTo>
                    <a:pt x="46291" y="488918"/>
                  </a:lnTo>
                  <a:lnTo>
                    <a:pt x="43910" y="495681"/>
                  </a:lnTo>
                  <a:lnTo>
                    <a:pt x="39053" y="494728"/>
                  </a:lnTo>
                  <a:lnTo>
                    <a:pt x="37814" y="498062"/>
                  </a:lnTo>
                  <a:lnTo>
                    <a:pt x="38671" y="504349"/>
                  </a:lnTo>
                  <a:lnTo>
                    <a:pt x="37433" y="507682"/>
                  </a:lnTo>
                  <a:lnTo>
                    <a:pt x="33147" y="511492"/>
                  </a:lnTo>
                  <a:lnTo>
                    <a:pt x="29242" y="518350"/>
                  </a:lnTo>
                  <a:lnTo>
                    <a:pt x="29432" y="519970"/>
                  </a:lnTo>
                  <a:lnTo>
                    <a:pt x="24860" y="522160"/>
                  </a:lnTo>
                  <a:lnTo>
                    <a:pt x="19145" y="514826"/>
                  </a:lnTo>
                  <a:lnTo>
                    <a:pt x="6096" y="513302"/>
                  </a:lnTo>
                  <a:lnTo>
                    <a:pt x="0" y="515684"/>
                  </a:lnTo>
                  <a:lnTo>
                    <a:pt x="3810" y="532829"/>
                  </a:lnTo>
                  <a:lnTo>
                    <a:pt x="9144" y="537019"/>
                  </a:lnTo>
                  <a:lnTo>
                    <a:pt x="13049" y="542925"/>
                  </a:lnTo>
                  <a:lnTo>
                    <a:pt x="12097" y="547783"/>
                  </a:lnTo>
                  <a:lnTo>
                    <a:pt x="17621" y="553498"/>
                  </a:lnTo>
                  <a:lnTo>
                    <a:pt x="15526" y="561784"/>
                  </a:lnTo>
                  <a:lnTo>
                    <a:pt x="15145" y="571500"/>
                  </a:lnTo>
                  <a:lnTo>
                    <a:pt x="15716" y="576263"/>
                  </a:lnTo>
                  <a:lnTo>
                    <a:pt x="20860" y="578834"/>
                  </a:lnTo>
                  <a:lnTo>
                    <a:pt x="22288" y="589788"/>
                  </a:lnTo>
                  <a:lnTo>
                    <a:pt x="29146" y="593788"/>
                  </a:lnTo>
                  <a:lnTo>
                    <a:pt x="25432" y="602266"/>
                  </a:lnTo>
                  <a:lnTo>
                    <a:pt x="33909" y="605980"/>
                  </a:lnTo>
                  <a:lnTo>
                    <a:pt x="31432" y="611124"/>
                  </a:lnTo>
                  <a:lnTo>
                    <a:pt x="33623" y="615696"/>
                  </a:lnTo>
                  <a:lnTo>
                    <a:pt x="31051" y="620744"/>
                  </a:lnTo>
                  <a:lnTo>
                    <a:pt x="31813" y="627126"/>
                  </a:lnTo>
                  <a:lnTo>
                    <a:pt x="33814" y="630079"/>
                  </a:lnTo>
                  <a:lnTo>
                    <a:pt x="29908" y="636937"/>
                  </a:lnTo>
                  <a:lnTo>
                    <a:pt x="36195" y="649034"/>
                  </a:lnTo>
                  <a:lnTo>
                    <a:pt x="37243" y="656844"/>
                  </a:lnTo>
                  <a:lnTo>
                    <a:pt x="43910" y="659225"/>
                  </a:lnTo>
                  <a:lnTo>
                    <a:pt x="40957" y="661226"/>
                  </a:lnTo>
                  <a:lnTo>
                    <a:pt x="42767" y="662559"/>
                  </a:lnTo>
                  <a:lnTo>
                    <a:pt x="33909" y="668560"/>
                  </a:lnTo>
                  <a:lnTo>
                    <a:pt x="30766" y="668941"/>
                  </a:lnTo>
                  <a:lnTo>
                    <a:pt x="24860" y="672941"/>
                  </a:lnTo>
                  <a:lnTo>
                    <a:pt x="22098" y="676465"/>
                  </a:lnTo>
                  <a:lnTo>
                    <a:pt x="22098" y="689324"/>
                  </a:lnTo>
                  <a:lnTo>
                    <a:pt x="21336" y="695801"/>
                  </a:lnTo>
                  <a:lnTo>
                    <a:pt x="24860" y="698563"/>
                  </a:lnTo>
                  <a:lnTo>
                    <a:pt x="20955" y="705422"/>
                  </a:lnTo>
                  <a:lnTo>
                    <a:pt x="23527" y="713137"/>
                  </a:lnTo>
                  <a:lnTo>
                    <a:pt x="28480" y="714089"/>
                  </a:lnTo>
                  <a:lnTo>
                    <a:pt x="28670" y="715709"/>
                  </a:lnTo>
                  <a:lnTo>
                    <a:pt x="32290" y="718471"/>
                  </a:lnTo>
                  <a:lnTo>
                    <a:pt x="34195" y="721423"/>
                  </a:lnTo>
                  <a:lnTo>
                    <a:pt x="39338" y="723995"/>
                  </a:lnTo>
                  <a:lnTo>
                    <a:pt x="36576" y="727519"/>
                  </a:lnTo>
                  <a:lnTo>
                    <a:pt x="38957" y="733615"/>
                  </a:lnTo>
                  <a:lnTo>
                    <a:pt x="36671" y="740378"/>
                  </a:lnTo>
                  <a:lnTo>
                    <a:pt x="44767" y="753713"/>
                  </a:lnTo>
                  <a:lnTo>
                    <a:pt x="56483" y="769906"/>
                  </a:lnTo>
                  <a:lnTo>
                    <a:pt x="61817" y="774001"/>
                  </a:lnTo>
                  <a:lnTo>
                    <a:pt x="66675" y="775049"/>
                  </a:lnTo>
                  <a:lnTo>
                    <a:pt x="70675" y="780955"/>
                  </a:lnTo>
                  <a:lnTo>
                    <a:pt x="67723" y="782860"/>
                  </a:lnTo>
                  <a:lnTo>
                    <a:pt x="68104" y="786098"/>
                  </a:lnTo>
                  <a:lnTo>
                    <a:pt x="68294" y="787622"/>
                  </a:lnTo>
                  <a:lnTo>
                    <a:pt x="63817" y="789813"/>
                  </a:lnTo>
                  <a:lnTo>
                    <a:pt x="64008" y="791432"/>
                  </a:lnTo>
                  <a:lnTo>
                    <a:pt x="73247" y="801434"/>
                  </a:lnTo>
                  <a:lnTo>
                    <a:pt x="78391" y="804005"/>
                  </a:lnTo>
                  <a:lnTo>
                    <a:pt x="74676" y="812483"/>
                  </a:lnTo>
                  <a:lnTo>
                    <a:pt x="71533" y="812863"/>
                  </a:lnTo>
                  <a:lnTo>
                    <a:pt x="67628" y="819817"/>
                  </a:lnTo>
                  <a:lnTo>
                    <a:pt x="63246" y="823531"/>
                  </a:lnTo>
                  <a:lnTo>
                    <a:pt x="65437" y="828104"/>
                  </a:lnTo>
                  <a:lnTo>
                    <a:pt x="68580" y="827722"/>
                  </a:lnTo>
                  <a:lnTo>
                    <a:pt x="73342" y="827056"/>
                  </a:lnTo>
                  <a:lnTo>
                    <a:pt x="74295" y="822198"/>
                  </a:lnTo>
                  <a:lnTo>
                    <a:pt x="79057" y="821531"/>
                  </a:lnTo>
                  <a:lnTo>
                    <a:pt x="79629" y="826294"/>
                  </a:lnTo>
                  <a:lnTo>
                    <a:pt x="81439" y="827627"/>
                  </a:lnTo>
                  <a:lnTo>
                    <a:pt x="86011" y="825437"/>
                  </a:lnTo>
                  <a:lnTo>
                    <a:pt x="92297" y="824675"/>
                  </a:lnTo>
                  <a:lnTo>
                    <a:pt x="96203" y="830580"/>
                  </a:lnTo>
                  <a:lnTo>
                    <a:pt x="103156" y="834485"/>
                  </a:lnTo>
                  <a:lnTo>
                    <a:pt x="102394" y="841058"/>
                  </a:lnTo>
                  <a:lnTo>
                    <a:pt x="98679" y="849535"/>
                  </a:lnTo>
                  <a:lnTo>
                    <a:pt x="100394" y="850868"/>
                  </a:lnTo>
                  <a:lnTo>
                    <a:pt x="100870" y="854012"/>
                  </a:lnTo>
                  <a:lnTo>
                    <a:pt x="103822" y="852106"/>
                  </a:lnTo>
                  <a:lnTo>
                    <a:pt x="104394" y="856774"/>
                  </a:lnTo>
                  <a:lnTo>
                    <a:pt x="101917" y="874776"/>
                  </a:lnTo>
                  <a:lnTo>
                    <a:pt x="104299" y="880872"/>
                  </a:lnTo>
                  <a:lnTo>
                    <a:pt x="98774" y="888016"/>
                  </a:lnTo>
                  <a:lnTo>
                    <a:pt x="95631" y="888397"/>
                  </a:lnTo>
                  <a:lnTo>
                    <a:pt x="89440" y="890778"/>
                  </a:lnTo>
                  <a:lnTo>
                    <a:pt x="91630" y="895350"/>
                  </a:lnTo>
                  <a:lnTo>
                    <a:pt x="90297" y="897064"/>
                  </a:lnTo>
                  <a:lnTo>
                    <a:pt x="88868" y="898874"/>
                  </a:lnTo>
                  <a:lnTo>
                    <a:pt x="82391" y="898112"/>
                  </a:lnTo>
                  <a:lnTo>
                    <a:pt x="78296" y="903446"/>
                  </a:lnTo>
                  <a:lnTo>
                    <a:pt x="78867" y="908209"/>
                  </a:lnTo>
                  <a:lnTo>
                    <a:pt x="74104" y="908780"/>
                  </a:lnTo>
                  <a:lnTo>
                    <a:pt x="75724" y="921448"/>
                  </a:lnTo>
                  <a:lnTo>
                    <a:pt x="74390" y="923163"/>
                  </a:lnTo>
                  <a:lnTo>
                    <a:pt x="75152" y="929545"/>
                  </a:lnTo>
                  <a:lnTo>
                    <a:pt x="81153" y="938403"/>
                  </a:lnTo>
                  <a:lnTo>
                    <a:pt x="88392" y="945451"/>
                  </a:lnTo>
                  <a:lnTo>
                    <a:pt x="87058" y="947261"/>
                  </a:lnTo>
                  <a:lnTo>
                    <a:pt x="83534" y="944499"/>
                  </a:lnTo>
                  <a:lnTo>
                    <a:pt x="83058" y="941356"/>
                  </a:lnTo>
                  <a:lnTo>
                    <a:pt x="81344" y="939927"/>
                  </a:lnTo>
                  <a:lnTo>
                    <a:pt x="81724" y="943070"/>
                  </a:lnTo>
                  <a:lnTo>
                    <a:pt x="80486" y="946499"/>
                  </a:lnTo>
                  <a:lnTo>
                    <a:pt x="78962" y="946690"/>
                  </a:lnTo>
                  <a:lnTo>
                    <a:pt x="78391" y="954786"/>
                  </a:lnTo>
                  <a:lnTo>
                    <a:pt x="74104" y="958501"/>
                  </a:lnTo>
                  <a:lnTo>
                    <a:pt x="77819" y="962787"/>
                  </a:lnTo>
                  <a:lnTo>
                    <a:pt x="76676" y="966216"/>
                  </a:lnTo>
                  <a:lnTo>
                    <a:pt x="73723" y="968216"/>
                  </a:lnTo>
                  <a:lnTo>
                    <a:pt x="76105" y="974312"/>
                  </a:lnTo>
                  <a:lnTo>
                    <a:pt x="77819" y="975646"/>
                  </a:lnTo>
                  <a:lnTo>
                    <a:pt x="71723" y="978027"/>
                  </a:lnTo>
                  <a:lnTo>
                    <a:pt x="72104" y="981170"/>
                  </a:lnTo>
                  <a:lnTo>
                    <a:pt x="67628" y="983361"/>
                  </a:lnTo>
                  <a:lnTo>
                    <a:pt x="65818" y="982027"/>
                  </a:lnTo>
                  <a:lnTo>
                    <a:pt x="65056" y="988505"/>
                  </a:lnTo>
                  <a:lnTo>
                    <a:pt x="70009" y="989457"/>
                  </a:lnTo>
                  <a:lnTo>
                    <a:pt x="72390" y="995648"/>
                  </a:lnTo>
                  <a:lnTo>
                    <a:pt x="75724" y="996791"/>
                  </a:lnTo>
                  <a:lnTo>
                    <a:pt x="74581" y="1000125"/>
                  </a:lnTo>
                  <a:lnTo>
                    <a:pt x="70009" y="1002316"/>
                  </a:lnTo>
                  <a:lnTo>
                    <a:pt x="62294" y="1004888"/>
                  </a:lnTo>
                  <a:lnTo>
                    <a:pt x="60579" y="1003554"/>
                  </a:lnTo>
                  <a:lnTo>
                    <a:pt x="58388" y="998982"/>
                  </a:lnTo>
                  <a:lnTo>
                    <a:pt x="54769" y="996220"/>
                  </a:lnTo>
                  <a:lnTo>
                    <a:pt x="51816" y="998220"/>
                  </a:lnTo>
                  <a:lnTo>
                    <a:pt x="49625" y="993648"/>
                  </a:lnTo>
                  <a:lnTo>
                    <a:pt x="48673" y="998601"/>
                  </a:lnTo>
                  <a:lnTo>
                    <a:pt x="46672" y="995648"/>
                  </a:lnTo>
                  <a:lnTo>
                    <a:pt x="40005" y="993362"/>
                  </a:lnTo>
                  <a:lnTo>
                    <a:pt x="34480" y="987647"/>
                  </a:lnTo>
                  <a:lnTo>
                    <a:pt x="38386" y="993553"/>
                  </a:lnTo>
                  <a:lnTo>
                    <a:pt x="35242" y="993934"/>
                  </a:lnTo>
                  <a:lnTo>
                    <a:pt x="37433" y="998410"/>
                  </a:lnTo>
                  <a:lnTo>
                    <a:pt x="34480" y="1000411"/>
                  </a:lnTo>
                  <a:lnTo>
                    <a:pt x="34671" y="1002030"/>
                  </a:lnTo>
                  <a:lnTo>
                    <a:pt x="37052" y="1008126"/>
                  </a:lnTo>
                  <a:lnTo>
                    <a:pt x="36290" y="1014603"/>
                  </a:lnTo>
                  <a:lnTo>
                    <a:pt x="38100" y="1016032"/>
                  </a:lnTo>
                  <a:lnTo>
                    <a:pt x="41243" y="1015651"/>
                  </a:lnTo>
                  <a:lnTo>
                    <a:pt x="41434" y="1017175"/>
                  </a:lnTo>
                  <a:lnTo>
                    <a:pt x="41624" y="1018794"/>
                  </a:lnTo>
                  <a:lnTo>
                    <a:pt x="38862" y="1022318"/>
                  </a:lnTo>
                  <a:lnTo>
                    <a:pt x="36766" y="1030605"/>
                  </a:lnTo>
                  <a:lnTo>
                    <a:pt x="33814" y="1032605"/>
                  </a:lnTo>
                  <a:lnTo>
                    <a:pt x="31432" y="1039273"/>
                  </a:lnTo>
                  <a:lnTo>
                    <a:pt x="37909" y="1040035"/>
                  </a:lnTo>
                  <a:lnTo>
                    <a:pt x="44101" y="1037654"/>
                  </a:lnTo>
                  <a:lnTo>
                    <a:pt x="47434" y="1038892"/>
                  </a:lnTo>
                  <a:lnTo>
                    <a:pt x="52388" y="1039844"/>
                  </a:lnTo>
                  <a:lnTo>
                    <a:pt x="55340" y="1037844"/>
                  </a:lnTo>
                  <a:lnTo>
                    <a:pt x="62008" y="1040225"/>
                  </a:lnTo>
                  <a:lnTo>
                    <a:pt x="64008" y="1043178"/>
                  </a:lnTo>
                  <a:lnTo>
                    <a:pt x="72676" y="1048512"/>
                  </a:lnTo>
                  <a:lnTo>
                    <a:pt x="80772" y="1049084"/>
                  </a:lnTo>
                  <a:lnTo>
                    <a:pt x="85154" y="1045273"/>
                  </a:lnTo>
                  <a:lnTo>
                    <a:pt x="83725" y="1047083"/>
                  </a:lnTo>
                  <a:lnTo>
                    <a:pt x="84106" y="1050227"/>
                  </a:lnTo>
                  <a:lnTo>
                    <a:pt x="85344" y="1046893"/>
                  </a:lnTo>
                  <a:lnTo>
                    <a:pt x="87058" y="1048226"/>
                  </a:lnTo>
                  <a:lnTo>
                    <a:pt x="92012" y="1049274"/>
                  </a:lnTo>
                  <a:lnTo>
                    <a:pt x="92202" y="1050798"/>
                  </a:lnTo>
                  <a:lnTo>
                    <a:pt x="95155" y="1048798"/>
                  </a:lnTo>
                  <a:lnTo>
                    <a:pt x="96964" y="1050227"/>
                  </a:lnTo>
                  <a:lnTo>
                    <a:pt x="98584" y="1050036"/>
                  </a:lnTo>
                  <a:lnTo>
                    <a:pt x="97155" y="1051751"/>
                  </a:lnTo>
                  <a:lnTo>
                    <a:pt x="90869" y="1052608"/>
                  </a:lnTo>
                  <a:lnTo>
                    <a:pt x="85725" y="1050036"/>
                  </a:lnTo>
                  <a:lnTo>
                    <a:pt x="81153" y="1052227"/>
                  </a:lnTo>
                  <a:lnTo>
                    <a:pt x="77248" y="1059085"/>
                  </a:lnTo>
                  <a:lnTo>
                    <a:pt x="79248" y="1062133"/>
                  </a:lnTo>
                  <a:lnTo>
                    <a:pt x="80200" y="1069943"/>
                  </a:lnTo>
                  <a:lnTo>
                    <a:pt x="78867" y="1071753"/>
                  </a:lnTo>
                  <a:lnTo>
                    <a:pt x="75914" y="1073753"/>
                  </a:lnTo>
                  <a:lnTo>
                    <a:pt x="72580" y="1072515"/>
                  </a:lnTo>
                  <a:lnTo>
                    <a:pt x="66865" y="1078135"/>
                  </a:lnTo>
                  <a:lnTo>
                    <a:pt x="68866" y="1081088"/>
                  </a:lnTo>
                  <a:lnTo>
                    <a:pt x="65532" y="1092708"/>
                  </a:lnTo>
                  <a:lnTo>
                    <a:pt x="69247" y="1096994"/>
                  </a:lnTo>
                  <a:lnTo>
                    <a:pt x="70104" y="1103376"/>
                  </a:lnTo>
                  <a:lnTo>
                    <a:pt x="72009" y="1106329"/>
                  </a:lnTo>
                  <a:lnTo>
                    <a:pt x="72676" y="1110996"/>
                  </a:lnTo>
                  <a:lnTo>
                    <a:pt x="76581" y="1116902"/>
                  </a:lnTo>
                  <a:lnTo>
                    <a:pt x="76771" y="1118521"/>
                  </a:lnTo>
                  <a:lnTo>
                    <a:pt x="73628" y="1118902"/>
                  </a:lnTo>
                  <a:lnTo>
                    <a:pt x="76962" y="1120140"/>
                  </a:lnTo>
                  <a:lnTo>
                    <a:pt x="76105" y="1137856"/>
                  </a:lnTo>
                  <a:lnTo>
                    <a:pt x="80963" y="1138809"/>
                  </a:lnTo>
                  <a:lnTo>
                    <a:pt x="82963" y="1141762"/>
                  </a:lnTo>
                  <a:lnTo>
                    <a:pt x="89249" y="1141000"/>
                  </a:lnTo>
                  <a:lnTo>
                    <a:pt x="91059" y="1142333"/>
                  </a:lnTo>
                  <a:lnTo>
                    <a:pt x="88963" y="1150620"/>
                  </a:lnTo>
                  <a:lnTo>
                    <a:pt x="92107" y="1150239"/>
                  </a:lnTo>
                  <a:lnTo>
                    <a:pt x="94297" y="1154811"/>
                  </a:lnTo>
                  <a:lnTo>
                    <a:pt x="92869" y="1156526"/>
                  </a:lnTo>
                  <a:lnTo>
                    <a:pt x="97822" y="1157573"/>
                  </a:lnTo>
                  <a:lnTo>
                    <a:pt x="98203" y="1160717"/>
                  </a:lnTo>
                  <a:lnTo>
                    <a:pt x="97250" y="1165669"/>
                  </a:lnTo>
                  <a:lnTo>
                    <a:pt x="95440" y="1164241"/>
                  </a:lnTo>
                  <a:lnTo>
                    <a:pt x="94107" y="1166051"/>
                  </a:lnTo>
                  <a:lnTo>
                    <a:pt x="87821" y="1166813"/>
                  </a:lnTo>
                  <a:lnTo>
                    <a:pt x="86392" y="1168622"/>
                  </a:lnTo>
                  <a:lnTo>
                    <a:pt x="79915" y="1167860"/>
                  </a:lnTo>
                  <a:lnTo>
                    <a:pt x="77343" y="1173004"/>
                  </a:lnTo>
                  <a:lnTo>
                    <a:pt x="77724" y="1176147"/>
                  </a:lnTo>
                  <a:lnTo>
                    <a:pt x="75343" y="1182814"/>
                  </a:lnTo>
                  <a:lnTo>
                    <a:pt x="76200" y="1189196"/>
                  </a:lnTo>
                  <a:lnTo>
                    <a:pt x="79534" y="1190339"/>
                  </a:lnTo>
                  <a:lnTo>
                    <a:pt x="80677" y="1187006"/>
                  </a:lnTo>
                  <a:lnTo>
                    <a:pt x="85630" y="1187958"/>
                  </a:lnTo>
                  <a:lnTo>
                    <a:pt x="83344" y="1194721"/>
                  </a:lnTo>
                  <a:lnTo>
                    <a:pt x="100489" y="1203674"/>
                  </a:lnTo>
                  <a:lnTo>
                    <a:pt x="108013" y="1212342"/>
                  </a:lnTo>
                  <a:lnTo>
                    <a:pt x="118110" y="1215866"/>
                  </a:lnTo>
                  <a:lnTo>
                    <a:pt x="122015" y="1221772"/>
                  </a:lnTo>
                  <a:lnTo>
                    <a:pt x="124968" y="1219867"/>
                  </a:lnTo>
                  <a:lnTo>
                    <a:pt x="124587" y="1216723"/>
                  </a:lnTo>
                  <a:lnTo>
                    <a:pt x="129730" y="1206437"/>
                  </a:lnTo>
                  <a:lnTo>
                    <a:pt x="135636" y="1202436"/>
                  </a:lnTo>
                  <a:lnTo>
                    <a:pt x="140303" y="1201864"/>
                  </a:lnTo>
                  <a:lnTo>
                    <a:pt x="144685" y="1198055"/>
                  </a:lnTo>
                  <a:lnTo>
                    <a:pt x="148019" y="1199293"/>
                  </a:lnTo>
                  <a:lnTo>
                    <a:pt x="144304" y="1194911"/>
                  </a:lnTo>
                  <a:lnTo>
                    <a:pt x="145066" y="1188434"/>
                  </a:lnTo>
                  <a:lnTo>
                    <a:pt x="144875" y="1186815"/>
                  </a:lnTo>
                  <a:lnTo>
                    <a:pt x="144208" y="1182052"/>
                  </a:lnTo>
                  <a:lnTo>
                    <a:pt x="145828" y="1181862"/>
                  </a:lnTo>
                  <a:lnTo>
                    <a:pt x="148971" y="1168718"/>
                  </a:lnTo>
                  <a:lnTo>
                    <a:pt x="152876" y="1174623"/>
                  </a:lnTo>
                  <a:lnTo>
                    <a:pt x="155829" y="1172623"/>
                  </a:lnTo>
                  <a:lnTo>
                    <a:pt x="161544" y="1167098"/>
                  </a:lnTo>
                  <a:lnTo>
                    <a:pt x="154210" y="1159955"/>
                  </a:lnTo>
                  <a:lnTo>
                    <a:pt x="155067" y="1153477"/>
                  </a:lnTo>
                  <a:lnTo>
                    <a:pt x="153257" y="1152049"/>
                  </a:lnTo>
                  <a:lnTo>
                    <a:pt x="144971" y="1149953"/>
                  </a:lnTo>
                  <a:lnTo>
                    <a:pt x="142970" y="1147001"/>
                  </a:lnTo>
                  <a:lnTo>
                    <a:pt x="144113" y="1143572"/>
                  </a:lnTo>
                  <a:lnTo>
                    <a:pt x="148685" y="1141476"/>
                  </a:lnTo>
                  <a:lnTo>
                    <a:pt x="148495" y="1139857"/>
                  </a:lnTo>
                  <a:lnTo>
                    <a:pt x="149638" y="1136523"/>
                  </a:lnTo>
                  <a:lnTo>
                    <a:pt x="146304" y="1135285"/>
                  </a:lnTo>
                  <a:lnTo>
                    <a:pt x="145923" y="1132142"/>
                  </a:lnTo>
                  <a:lnTo>
                    <a:pt x="141161" y="1132808"/>
                  </a:lnTo>
                  <a:lnTo>
                    <a:pt x="139827" y="1134523"/>
                  </a:lnTo>
                  <a:lnTo>
                    <a:pt x="139160" y="1129856"/>
                  </a:lnTo>
                  <a:lnTo>
                    <a:pt x="137636" y="1130046"/>
                  </a:lnTo>
                  <a:lnTo>
                    <a:pt x="135255" y="1123950"/>
                  </a:lnTo>
                  <a:lnTo>
                    <a:pt x="133445" y="1122521"/>
                  </a:lnTo>
                  <a:lnTo>
                    <a:pt x="133255" y="1120997"/>
                  </a:lnTo>
                  <a:lnTo>
                    <a:pt x="130302" y="1122902"/>
                  </a:lnTo>
                  <a:lnTo>
                    <a:pt x="126968" y="1121759"/>
                  </a:lnTo>
                  <a:lnTo>
                    <a:pt x="125349" y="1121950"/>
                  </a:lnTo>
                  <a:lnTo>
                    <a:pt x="127730" y="1115282"/>
                  </a:lnTo>
                  <a:lnTo>
                    <a:pt x="123920" y="1110901"/>
                  </a:lnTo>
                  <a:lnTo>
                    <a:pt x="117634" y="1111758"/>
                  </a:lnTo>
                  <a:lnTo>
                    <a:pt x="121920" y="1107948"/>
                  </a:lnTo>
                  <a:lnTo>
                    <a:pt x="127063" y="1110520"/>
                  </a:lnTo>
                  <a:lnTo>
                    <a:pt x="130016" y="1108519"/>
                  </a:lnTo>
                  <a:lnTo>
                    <a:pt x="131064" y="1103567"/>
                  </a:lnTo>
                  <a:lnTo>
                    <a:pt x="134207" y="1103185"/>
                  </a:lnTo>
                  <a:lnTo>
                    <a:pt x="132397" y="1101852"/>
                  </a:lnTo>
                  <a:lnTo>
                    <a:pt x="130873" y="1102043"/>
                  </a:lnTo>
                  <a:lnTo>
                    <a:pt x="129064" y="1100614"/>
                  </a:lnTo>
                  <a:lnTo>
                    <a:pt x="132016" y="1098709"/>
                  </a:lnTo>
                  <a:lnTo>
                    <a:pt x="136779" y="1098042"/>
                  </a:lnTo>
                  <a:lnTo>
                    <a:pt x="151543" y="1088136"/>
                  </a:lnTo>
                  <a:lnTo>
                    <a:pt x="154876" y="1089374"/>
                  </a:lnTo>
                  <a:lnTo>
                    <a:pt x="157639" y="1085755"/>
                  </a:lnTo>
                  <a:lnTo>
                    <a:pt x="159448" y="1087184"/>
                  </a:lnTo>
                  <a:lnTo>
                    <a:pt x="170497" y="1098614"/>
                  </a:lnTo>
                  <a:lnTo>
                    <a:pt x="174403" y="1091660"/>
                  </a:lnTo>
                  <a:lnTo>
                    <a:pt x="177737" y="1092803"/>
                  </a:lnTo>
                  <a:lnTo>
                    <a:pt x="177927" y="1094423"/>
                  </a:lnTo>
                  <a:lnTo>
                    <a:pt x="181356" y="1095565"/>
                  </a:lnTo>
                  <a:lnTo>
                    <a:pt x="179927" y="1097375"/>
                  </a:lnTo>
                  <a:lnTo>
                    <a:pt x="181928" y="1100328"/>
                  </a:lnTo>
                  <a:lnTo>
                    <a:pt x="188881" y="1104233"/>
                  </a:lnTo>
                  <a:lnTo>
                    <a:pt x="190024" y="1113758"/>
                  </a:lnTo>
                  <a:lnTo>
                    <a:pt x="183737" y="1114520"/>
                  </a:lnTo>
                  <a:lnTo>
                    <a:pt x="185738" y="1117473"/>
                  </a:lnTo>
                  <a:lnTo>
                    <a:pt x="188881" y="1117092"/>
                  </a:lnTo>
                  <a:lnTo>
                    <a:pt x="189452" y="1121759"/>
                  </a:lnTo>
                  <a:lnTo>
                    <a:pt x="200978" y="1123569"/>
                  </a:lnTo>
                  <a:lnTo>
                    <a:pt x="202882" y="1126522"/>
                  </a:lnTo>
                  <a:lnTo>
                    <a:pt x="201549" y="1128331"/>
                  </a:lnTo>
                  <a:lnTo>
                    <a:pt x="196787" y="1128903"/>
                  </a:lnTo>
                  <a:lnTo>
                    <a:pt x="197167" y="1132046"/>
                  </a:lnTo>
                  <a:lnTo>
                    <a:pt x="198787" y="1131856"/>
                  </a:lnTo>
                  <a:lnTo>
                    <a:pt x="202311" y="1134618"/>
                  </a:lnTo>
                  <a:lnTo>
                    <a:pt x="205264" y="1132618"/>
                  </a:lnTo>
                  <a:lnTo>
                    <a:pt x="207264" y="1135571"/>
                  </a:lnTo>
                  <a:lnTo>
                    <a:pt x="209074" y="1136999"/>
                  </a:lnTo>
                  <a:lnTo>
                    <a:pt x="210026" y="1144810"/>
                  </a:lnTo>
                  <a:lnTo>
                    <a:pt x="208502" y="1145096"/>
                  </a:lnTo>
                  <a:lnTo>
                    <a:pt x="208693" y="1146619"/>
                  </a:lnTo>
                  <a:lnTo>
                    <a:pt x="213265" y="1157288"/>
                  </a:lnTo>
                  <a:lnTo>
                    <a:pt x="213836" y="1162050"/>
                  </a:lnTo>
                  <a:lnTo>
                    <a:pt x="213074" y="1168527"/>
                  </a:lnTo>
                  <a:lnTo>
                    <a:pt x="211264" y="1167098"/>
                  </a:lnTo>
                  <a:lnTo>
                    <a:pt x="210121" y="1170527"/>
                  </a:lnTo>
                  <a:lnTo>
                    <a:pt x="217265" y="1175956"/>
                  </a:lnTo>
                  <a:lnTo>
                    <a:pt x="222123" y="1177004"/>
                  </a:lnTo>
                  <a:lnTo>
                    <a:pt x="226695" y="1174814"/>
                  </a:lnTo>
                  <a:lnTo>
                    <a:pt x="227076" y="1177957"/>
                  </a:lnTo>
                  <a:lnTo>
                    <a:pt x="231838" y="1177385"/>
                  </a:lnTo>
                  <a:lnTo>
                    <a:pt x="232220" y="1180529"/>
                  </a:lnTo>
                  <a:lnTo>
                    <a:pt x="229838" y="1187196"/>
                  </a:lnTo>
                  <a:lnTo>
                    <a:pt x="231457" y="1187006"/>
                  </a:lnTo>
                  <a:lnTo>
                    <a:pt x="232029" y="1191768"/>
                  </a:lnTo>
                  <a:lnTo>
                    <a:pt x="228695" y="1190530"/>
                  </a:lnTo>
                  <a:lnTo>
                    <a:pt x="229362" y="1195292"/>
                  </a:lnTo>
                  <a:lnTo>
                    <a:pt x="238792" y="1194149"/>
                  </a:lnTo>
                  <a:lnTo>
                    <a:pt x="236220" y="1199293"/>
                  </a:lnTo>
                  <a:lnTo>
                    <a:pt x="237839" y="1199007"/>
                  </a:lnTo>
                  <a:lnTo>
                    <a:pt x="240221" y="1205198"/>
                  </a:lnTo>
                  <a:lnTo>
                    <a:pt x="243364" y="1204722"/>
                  </a:lnTo>
                  <a:lnTo>
                    <a:pt x="242221" y="1208151"/>
                  </a:lnTo>
                  <a:lnTo>
                    <a:pt x="242792" y="1212818"/>
                  </a:lnTo>
                  <a:lnTo>
                    <a:pt x="245936" y="1212437"/>
                  </a:lnTo>
                  <a:lnTo>
                    <a:pt x="245745" y="1210913"/>
                  </a:lnTo>
                  <a:lnTo>
                    <a:pt x="247269" y="1210627"/>
                  </a:lnTo>
                  <a:lnTo>
                    <a:pt x="252222" y="1211675"/>
                  </a:lnTo>
                  <a:lnTo>
                    <a:pt x="252031" y="1210056"/>
                  </a:lnTo>
                  <a:lnTo>
                    <a:pt x="252031" y="1210056"/>
                  </a:lnTo>
                  <a:lnTo>
                    <a:pt x="254794" y="1206532"/>
                  </a:lnTo>
                  <a:lnTo>
                    <a:pt x="253460" y="1208246"/>
                  </a:lnTo>
                  <a:lnTo>
                    <a:pt x="252984" y="1205103"/>
                  </a:lnTo>
                  <a:lnTo>
                    <a:pt x="251460" y="1205293"/>
                  </a:lnTo>
                  <a:lnTo>
                    <a:pt x="252413" y="1200436"/>
                  </a:lnTo>
                  <a:lnTo>
                    <a:pt x="249079" y="1199198"/>
                  </a:lnTo>
                  <a:lnTo>
                    <a:pt x="253841" y="1198626"/>
                  </a:lnTo>
                  <a:lnTo>
                    <a:pt x="253365" y="1195483"/>
                  </a:lnTo>
                  <a:lnTo>
                    <a:pt x="256127" y="1191863"/>
                  </a:lnTo>
                  <a:lnTo>
                    <a:pt x="253937" y="1187387"/>
                  </a:lnTo>
                  <a:lnTo>
                    <a:pt x="255556" y="1187196"/>
                  </a:lnTo>
                  <a:lnTo>
                    <a:pt x="257746" y="1191673"/>
                  </a:lnTo>
                  <a:lnTo>
                    <a:pt x="260128" y="1197769"/>
                  </a:lnTo>
                  <a:lnTo>
                    <a:pt x="263842" y="1202150"/>
                  </a:lnTo>
                  <a:lnTo>
                    <a:pt x="264700" y="1208437"/>
                  </a:lnTo>
                  <a:lnTo>
                    <a:pt x="260509" y="1213771"/>
                  </a:lnTo>
                  <a:lnTo>
                    <a:pt x="259556" y="1218724"/>
                  </a:lnTo>
                  <a:lnTo>
                    <a:pt x="261556" y="1221677"/>
                  </a:lnTo>
                  <a:lnTo>
                    <a:pt x="258794" y="1225201"/>
                  </a:lnTo>
                  <a:lnTo>
                    <a:pt x="253460" y="1233964"/>
                  </a:lnTo>
                  <a:lnTo>
                    <a:pt x="255461" y="1236917"/>
                  </a:lnTo>
                  <a:lnTo>
                    <a:pt x="255461" y="1236917"/>
                  </a:lnTo>
                  <a:lnTo>
                    <a:pt x="257270" y="1238250"/>
                  </a:lnTo>
                  <a:lnTo>
                    <a:pt x="256222" y="1243203"/>
                  </a:lnTo>
                  <a:lnTo>
                    <a:pt x="251746" y="1245394"/>
                  </a:lnTo>
                  <a:lnTo>
                    <a:pt x="255651" y="1251299"/>
                  </a:lnTo>
                  <a:lnTo>
                    <a:pt x="257080" y="1249489"/>
                  </a:lnTo>
                  <a:lnTo>
                    <a:pt x="267176" y="1253014"/>
                  </a:lnTo>
                  <a:lnTo>
                    <a:pt x="265747" y="1254823"/>
                  </a:lnTo>
                  <a:lnTo>
                    <a:pt x="267748" y="1257776"/>
                  </a:lnTo>
                  <a:lnTo>
                    <a:pt x="274511" y="1260158"/>
                  </a:lnTo>
                  <a:lnTo>
                    <a:pt x="274701" y="1261681"/>
                  </a:lnTo>
                  <a:lnTo>
                    <a:pt x="276225" y="1261491"/>
                  </a:lnTo>
                  <a:lnTo>
                    <a:pt x="279368" y="1261110"/>
                  </a:lnTo>
                  <a:lnTo>
                    <a:pt x="288131" y="1266444"/>
                  </a:lnTo>
                  <a:lnTo>
                    <a:pt x="289465" y="1264634"/>
                  </a:lnTo>
                  <a:lnTo>
                    <a:pt x="292608" y="1264253"/>
                  </a:lnTo>
                  <a:lnTo>
                    <a:pt x="301085" y="1267968"/>
                  </a:lnTo>
                  <a:lnTo>
                    <a:pt x="306038" y="1268921"/>
                  </a:lnTo>
                  <a:lnTo>
                    <a:pt x="304705" y="1270730"/>
                  </a:lnTo>
                  <a:lnTo>
                    <a:pt x="308420" y="1275017"/>
                  </a:lnTo>
                  <a:lnTo>
                    <a:pt x="314420" y="1283875"/>
                  </a:lnTo>
                  <a:lnTo>
                    <a:pt x="322040" y="1281303"/>
                  </a:lnTo>
                  <a:lnTo>
                    <a:pt x="322897" y="1287589"/>
                  </a:lnTo>
                  <a:lnTo>
                    <a:pt x="321659" y="1291018"/>
                  </a:lnTo>
                  <a:lnTo>
                    <a:pt x="321850" y="1292543"/>
                  </a:lnTo>
                  <a:lnTo>
                    <a:pt x="318897" y="1294543"/>
                  </a:lnTo>
                  <a:lnTo>
                    <a:pt x="322897" y="1300448"/>
                  </a:lnTo>
                  <a:lnTo>
                    <a:pt x="325469" y="1308164"/>
                  </a:lnTo>
                  <a:lnTo>
                    <a:pt x="326326" y="1314450"/>
                  </a:lnTo>
                  <a:lnTo>
                    <a:pt x="328517" y="1319022"/>
                  </a:lnTo>
                  <a:lnTo>
                    <a:pt x="329851" y="1317212"/>
                  </a:lnTo>
                  <a:lnTo>
                    <a:pt x="331661" y="1318641"/>
                  </a:lnTo>
                  <a:lnTo>
                    <a:pt x="332232" y="1323308"/>
                  </a:lnTo>
                  <a:lnTo>
                    <a:pt x="334994" y="1332643"/>
                  </a:lnTo>
                  <a:lnTo>
                    <a:pt x="336804" y="1333976"/>
                  </a:lnTo>
                  <a:lnTo>
                    <a:pt x="335661" y="1337310"/>
                  </a:lnTo>
                  <a:lnTo>
                    <a:pt x="338614" y="1335310"/>
                  </a:lnTo>
                  <a:lnTo>
                    <a:pt x="338804" y="1336929"/>
                  </a:lnTo>
                  <a:lnTo>
                    <a:pt x="339185" y="1340072"/>
                  </a:lnTo>
                  <a:lnTo>
                    <a:pt x="337566" y="1340263"/>
                  </a:lnTo>
                  <a:lnTo>
                    <a:pt x="340995" y="1341501"/>
                  </a:lnTo>
                  <a:lnTo>
                    <a:pt x="342900" y="1344454"/>
                  </a:lnTo>
                  <a:lnTo>
                    <a:pt x="346329" y="1345597"/>
                  </a:lnTo>
                  <a:lnTo>
                    <a:pt x="348234" y="1348550"/>
                  </a:lnTo>
                  <a:lnTo>
                    <a:pt x="348044" y="1346930"/>
                  </a:lnTo>
                  <a:lnTo>
                    <a:pt x="349663" y="1346740"/>
                  </a:lnTo>
                  <a:lnTo>
                    <a:pt x="349853" y="1348359"/>
                  </a:lnTo>
                  <a:lnTo>
                    <a:pt x="352425" y="1343215"/>
                  </a:lnTo>
                  <a:lnTo>
                    <a:pt x="352996" y="1335119"/>
                  </a:lnTo>
                  <a:lnTo>
                    <a:pt x="351377" y="1335310"/>
                  </a:lnTo>
                  <a:lnTo>
                    <a:pt x="350615" y="1329023"/>
                  </a:lnTo>
                  <a:lnTo>
                    <a:pt x="354901" y="1325213"/>
                  </a:lnTo>
                  <a:lnTo>
                    <a:pt x="359664" y="1324642"/>
                  </a:lnTo>
                  <a:lnTo>
                    <a:pt x="364236" y="1322451"/>
                  </a:lnTo>
                  <a:lnTo>
                    <a:pt x="358616" y="1316736"/>
                  </a:lnTo>
                  <a:lnTo>
                    <a:pt x="361569" y="1314736"/>
                  </a:lnTo>
                  <a:lnTo>
                    <a:pt x="364807" y="1314355"/>
                  </a:lnTo>
                  <a:lnTo>
                    <a:pt x="367189" y="1320451"/>
                  </a:lnTo>
                  <a:lnTo>
                    <a:pt x="374047" y="1324451"/>
                  </a:lnTo>
                  <a:lnTo>
                    <a:pt x="375475" y="1322642"/>
                  </a:lnTo>
                  <a:lnTo>
                    <a:pt x="376428" y="1317689"/>
                  </a:lnTo>
                  <a:lnTo>
                    <a:pt x="381190" y="1317117"/>
                  </a:lnTo>
                  <a:lnTo>
                    <a:pt x="385667" y="1314926"/>
                  </a:lnTo>
                  <a:lnTo>
                    <a:pt x="387096" y="1313117"/>
                  </a:lnTo>
                  <a:lnTo>
                    <a:pt x="395573" y="1316831"/>
                  </a:lnTo>
                  <a:lnTo>
                    <a:pt x="398526" y="1314926"/>
                  </a:lnTo>
                  <a:lnTo>
                    <a:pt x="403003" y="1312735"/>
                  </a:lnTo>
                  <a:lnTo>
                    <a:pt x="404050" y="1307783"/>
                  </a:lnTo>
                  <a:lnTo>
                    <a:pt x="406241" y="1312259"/>
                  </a:lnTo>
                  <a:lnTo>
                    <a:pt x="407575" y="1310545"/>
                  </a:lnTo>
                  <a:lnTo>
                    <a:pt x="416433" y="1317403"/>
                  </a:lnTo>
                  <a:lnTo>
                    <a:pt x="417671" y="1314069"/>
                  </a:lnTo>
                  <a:lnTo>
                    <a:pt x="421005" y="1315212"/>
                  </a:lnTo>
                  <a:lnTo>
                    <a:pt x="429863" y="1309306"/>
                  </a:lnTo>
                  <a:lnTo>
                    <a:pt x="431292" y="1307497"/>
                  </a:lnTo>
                  <a:lnTo>
                    <a:pt x="429482" y="1306163"/>
                  </a:lnTo>
                  <a:lnTo>
                    <a:pt x="430625" y="1302734"/>
                  </a:lnTo>
                  <a:lnTo>
                    <a:pt x="435007" y="1299019"/>
                  </a:lnTo>
                  <a:lnTo>
                    <a:pt x="436150" y="1295686"/>
                  </a:lnTo>
                  <a:lnTo>
                    <a:pt x="439293" y="1295210"/>
                  </a:lnTo>
                  <a:lnTo>
                    <a:pt x="437293" y="1292257"/>
                  </a:lnTo>
                  <a:lnTo>
                    <a:pt x="440531" y="1291876"/>
                  </a:lnTo>
                  <a:lnTo>
                    <a:pt x="441674" y="1288542"/>
                  </a:lnTo>
                  <a:lnTo>
                    <a:pt x="443198" y="1288352"/>
                  </a:lnTo>
                  <a:lnTo>
                    <a:pt x="445961" y="1271968"/>
                  </a:lnTo>
                  <a:lnTo>
                    <a:pt x="447961" y="1274921"/>
                  </a:lnTo>
                  <a:lnTo>
                    <a:pt x="454057" y="1272540"/>
                  </a:lnTo>
                  <a:lnTo>
                    <a:pt x="453676" y="1269397"/>
                  </a:lnTo>
                  <a:lnTo>
                    <a:pt x="458629" y="1270349"/>
                  </a:lnTo>
                  <a:lnTo>
                    <a:pt x="462344" y="1261872"/>
                  </a:lnTo>
                  <a:lnTo>
                    <a:pt x="465487" y="1261491"/>
                  </a:lnTo>
                  <a:lnTo>
                    <a:pt x="467011" y="1261205"/>
                  </a:lnTo>
                  <a:lnTo>
                    <a:pt x="473392" y="1260443"/>
                  </a:lnTo>
                  <a:lnTo>
                    <a:pt x="470821" y="1252728"/>
                  </a:lnTo>
                  <a:lnTo>
                    <a:pt x="472345" y="1252538"/>
                  </a:lnTo>
                  <a:lnTo>
                    <a:pt x="469773" y="1244822"/>
                  </a:lnTo>
                  <a:lnTo>
                    <a:pt x="469582" y="1243298"/>
                  </a:lnTo>
                  <a:lnTo>
                    <a:pt x="462820" y="1240917"/>
                  </a:lnTo>
                  <a:lnTo>
                    <a:pt x="463867" y="1235964"/>
                  </a:lnTo>
                  <a:lnTo>
                    <a:pt x="459867" y="1230059"/>
                  </a:lnTo>
                  <a:lnTo>
                    <a:pt x="457295" y="1222439"/>
                  </a:lnTo>
                  <a:lnTo>
                    <a:pt x="456724" y="1217676"/>
                  </a:lnTo>
                  <a:lnTo>
                    <a:pt x="456057" y="1212914"/>
                  </a:lnTo>
                  <a:lnTo>
                    <a:pt x="457867" y="1214342"/>
                  </a:lnTo>
                  <a:lnTo>
                    <a:pt x="456819" y="1206437"/>
                  </a:lnTo>
                  <a:lnTo>
                    <a:pt x="461581" y="1205770"/>
                  </a:lnTo>
                  <a:lnTo>
                    <a:pt x="462724" y="1202436"/>
                  </a:lnTo>
                  <a:lnTo>
                    <a:pt x="462534" y="1200912"/>
                  </a:lnTo>
                  <a:lnTo>
                    <a:pt x="465296" y="1197293"/>
                  </a:lnTo>
                  <a:lnTo>
                    <a:pt x="467106" y="1198721"/>
                  </a:lnTo>
                  <a:lnTo>
                    <a:pt x="468249" y="1195292"/>
                  </a:lnTo>
                  <a:lnTo>
                    <a:pt x="466725" y="1195578"/>
                  </a:lnTo>
                  <a:lnTo>
                    <a:pt x="469678" y="1193578"/>
                  </a:lnTo>
                  <a:lnTo>
                    <a:pt x="470249" y="1185481"/>
                  </a:lnTo>
                  <a:lnTo>
                    <a:pt x="476536" y="1184624"/>
                  </a:lnTo>
                  <a:lnTo>
                    <a:pt x="476345" y="1183100"/>
                  </a:lnTo>
                  <a:lnTo>
                    <a:pt x="481108" y="1182529"/>
                  </a:lnTo>
                  <a:lnTo>
                    <a:pt x="480631" y="1179290"/>
                  </a:lnTo>
                  <a:lnTo>
                    <a:pt x="480631" y="1179290"/>
                  </a:lnTo>
                  <a:lnTo>
                    <a:pt x="488156" y="1187958"/>
                  </a:lnTo>
                  <a:lnTo>
                    <a:pt x="491299" y="1187577"/>
                  </a:lnTo>
                  <a:lnTo>
                    <a:pt x="491585" y="1189196"/>
                  </a:lnTo>
                  <a:lnTo>
                    <a:pt x="485870" y="1194721"/>
                  </a:lnTo>
                  <a:lnTo>
                    <a:pt x="485680" y="1205960"/>
                  </a:lnTo>
                  <a:lnTo>
                    <a:pt x="484918" y="1212437"/>
                  </a:lnTo>
                  <a:lnTo>
                    <a:pt x="485299" y="1215581"/>
                  </a:lnTo>
                  <a:lnTo>
                    <a:pt x="493205" y="1214628"/>
                  </a:lnTo>
                  <a:lnTo>
                    <a:pt x="496538" y="1215771"/>
                  </a:lnTo>
                  <a:lnTo>
                    <a:pt x="495300" y="1206341"/>
                  </a:lnTo>
                  <a:lnTo>
                    <a:pt x="507206" y="1211199"/>
                  </a:lnTo>
                  <a:lnTo>
                    <a:pt x="510159" y="1209294"/>
                  </a:lnTo>
                  <a:lnTo>
                    <a:pt x="513874" y="1213580"/>
                  </a:lnTo>
                  <a:lnTo>
                    <a:pt x="512921" y="1218533"/>
                  </a:lnTo>
                  <a:lnTo>
                    <a:pt x="522351" y="1217295"/>
                  </a:lnTo>
                  <a:lnTo>
                    <a:pt x="524542" y="1221867"/>
                  </a:lnTo>
                  <a:lnTo>
                    <a:pt x="525971" y="1220057"/>
                  </a:lnTo>
                  <a:lnTo>
                    <a:pt x="523780" y="1215581"/>
                  </a:lnTo>
                  <a:lnTo>
                    <a:pt x="528733" y="1216533"/>
                  </a:lnTo>
                  <a:lnTo>
                    <a:pt x="528542" y="1214914"/>
                  </a:lnTo>
                  <a:lnTo>
                    <a:pt x="531876" y="1216152"/>
                  </a:lnTo>
                  <a:lnTo>
                    <a:pt x="538163" y="1215295"/>
                  </a:lnTo>
                  <a:lnTo>
                    <a:pt x="537020" y="1218629"/>
                  </a:lnTo>
                  <a:lnTo>
                    <a:pt x="543497" y="1219390"/>
                  </a:lnTo>
                  <a:lnTo>
                    <a:pt x="549212" y="1226725"/>
                  </a:lnTo>
                  <a:lnTo>
                    <a:pt x="549212" y="1226725"/>
                  </a:lnTo>
                  <a:lnTo>
                    <a:pt x="554831" y="1232440"/>
                  </a:lnTo>
                  <a:lnTo>
                    <a:pt x="555974" y="1241869"/>
                  </a:lnTo>
                  <a:lnTo>
                    <a:pt x="556165" y="1243489"/>
                  </a:lnTo>
                  <a:lnTo>
                    <a:pt x="571500" y="1225487"/>
                  </a:lnTo>
                  <a:lnTo>
                    <a:pt x="576834" y="1216819"/>
                  </a:lnTo>
                  <a:lnTo>
                    <a:pt x="579787" y="1214818"/>
                  </a:lnTo>
                  <a:lnTo>
                    <a:pt x="581597" y="1216152"/>
                  </a:lnTo>
                  <a:lnTo>
                    <a:pt x="584359" y="1212628"/>
                  </a:lnTo>
                  <a:lnTo>
                    <a:pt x="584549" y="1201388"/>
                  </a:lnTo>
                  <a:lnTo>
                    <a:pt x="582549" y="1198435"/>
                  </a:lnTo>
                  <a:lnTo>
                    <a:pt x="579406" y="1198817"/>
                  </a:lnTo>
                  <a:lnTo>
                    <a:pt x="583501" y="1193483"/>
                  </a:lnTo>
                  <a:lnTo>
                    <a:pt x="576548" y="1189577"/>
                  </a:lnTo>
                  <a:lnTo>
                    <a:pt x="584930" y="1191673"/>
                  </a:lnTo>
                  <a:lnTo>
                    <a:pt x="584645" y="1190149"/>
                  </a:lnTo>
                  <a:lnTo>
                    <a:pt x="587597" y="1188148"/>
                  </a:lnTo>
                  <a:lnTo>
                    <a:pt x="589788" y="1192721"/>
                  </a:lnTo>
                  <a:lnTo>
                    <a:pt x="589979" y="1194244"/>
                  </a:lnTo>
                  <a:lnTo>
                    <a:pt x="593407" y="1195388"/>
                  </a:lnTo>
                  <a:lnTo>
                    <a:pt x="597313" y="1188530"/>
                  </a:lnTo>
                  <a:lnTo>
                    <a:pt x="600456" y="1188148"/>
                  </a:lnTo>
                  <a:lnTo>
                    <a:pt x="604838" y="1184339"/>
                  </a:lnTo>
                  <a:lnTo>
                    <a:pt x="606742" y="1187291"/>
                  </a:lnTo>
                  <a:lnTo>
                    <a:pt x="620554" y="1182338"/>
                  </a:lnTo>
                  <a:lnTo>
                    <a:pt x="622363" y="1183767"/>
                  </a:lnTo>
                  <a:lnTo>
                    <a:pt x="627126" y="1183100"/>
                  </a:lnTo>
                  <a:lnTo>
                    <a:pt x="630079" y="1181100"/>
                  </a:lnTo>
                  <a:lnTo>
                    <a:pt x="633413" y="1182338"/>
                  </a:lnTo>
                  <a:lnTo>
                    <a:pt x="638747" y="1186434"/>
                  </a:lnTo>
                  <a:lnTo>
                    <a:pt x="639128" y="1189577"/>
                  </a:lnTo>
                  <a:lnTo>
                    <a:pt x="637984" y="1193006"/>
                  </a:lnTo>
                  <a:lnTo>
                    <a:pt x="642271" y="1189196"/>
                  </a:lnTo>
                  <a:lnTo>
                    <a:pt x="644080" y="1190530"/>
                  </a:lnTo>
                  <a:lnTo>
                    <a:pt x="644271" y="1192149"/>
                  </a:lnTo>
                  <a:lnTo>
                    <a:pt x="645890" y="1191959"/>
                  </a:lnTo>
                  <a:lnTo>
                    <a:pt x="650748" y="1192911"/>
                  </a:lnTo>
                  <a:lnTo>
                    <a:pt x="651986" y="1189577"/>
                  </a:lnTo>
                  <a:lnTo>
                    <a:pt x="652367" y="1192721"/>
                  </a:lnTo>
                  <a:lnTo>
                    <a:pt x="653796" y="1190911"/>
                  </a:lnTo>
                  <a:lnTo>
                    <a:pt x="658654" y="1191959"/>
                  </a:lnTo>
                  <a:lnTo>
                    <a:pt x="666179" y="1187768"/>
                  </a:lnTo>
                  <a:lnTo>
                    <a:pt x="666940" y="1181290"/>
                  </a:lnTo>
                  <a:lnTo>
                    <a:pt x="671703" y="1180624"/>
                  </a:lnTo>
                  <a:lnTo>
                    <a:pt x="678561" y="1171765"/>
                  </a:lnTo>
                  <a:lnTo>
                    <a:pt x="674561" y="1165860"/>
                  </a:lnTo>
                  <a:lnTo>
                    <a:pt x="677513" y="1163860"/>
                  </a:lnTo>
                  <a:lnTo>
                    <a:pt x="672179" y="1159764"/>
                  </a:lnTo>
                  <a:lnTo>
                    <a:pt x="668464" y="1155383"/>
                  </a:lnTo>
                  <a:lnTo>
                    <a:pt x="668274" y="1153859"/>
                  </a:lnTo>
                  <a:lnTo>
                    <a:pt x="667703" y="1149096"/>
                  </a:lnTo>
                  <a:lnTo>
                    <a:pt x="658749" y="1142238"/>
                  </a:lnTo>
                  <a:lnTo>
                    <a:pt x="659892" y="1138809"/>
                  </a:lnTo>
                  <a:lnTo>
                    <a:pt x="656368" y="1136047"/>
                  </a:lnTo>
                  <a:lnTo>
                    <a:pt x="659130" y="1132523"/>
                  </a:lnTo>
                  <a:lnTo>
                    <a:pt x="662845" y="1136904"/>
                  </a:lnTo>
                  <a:lnTo>
                    <a:pt x="664083" y="1133475"/>
                  </a:lnTo>
                  <a:lnTo>
                    <a:pt x="668846" y="1132904"/>
                  </a:lnTo>
                  <a:lnTo>
                    <a:pt x="669036" y="1134523"/>
                  </a:lnTo>
                  <a:lnTo>
                    <a:pt x="676465" y="1130332"/>
                  </a:lnTo>
                  <a:lnTo>
                    <a:pt x="682847" y="1142333"/>
                  </a:lnTo>
                  <a:lnTo>
                    <a:pt x="687800" y="1143286"/>
                  </a:lnTo>
                  <a:lnTo>
                    <a:pt x="692087" y="1139571"/>
                  </a:lnTo>
                  <a:lnTo>
                    <a:pt x="689515" y="1131856"/>
                  </a:lnTo>
                  <a:lnTo>
                    <a:pt x="690944" y="1130046"/>
                  </a:lnTo>
                  <a:lnTo>
                    <a:pt x="690277" y="1125379"/>
                  </a:lnTo>
                  <a:lnTo>
                    <a:pt x="693230" y="1123379"/>
                  </a:lnTo>
                  <a:lnTo>
                    <a:pt x="692658" y="1118616"/>
                  </a:lnTo>
                  <a:lnTo>
                    <a:pt x="697135" y="1116425"/>
                  </a:lnTo>
                  <a:lnTo>
                    <a:pt x="702564" y="1120616"/>
                  </a:lnTo>
                  <a:lnTo>
                    <a:pt x="706660" y="1115282"/>
                  </a:lnTo>
                  <a:lnTo>
                    <a:pt x="709231" y="1122902"/>
                  </a:lnTo>
                  <a:lnTo>
                    <a:pt x="716185" y="1126903"/>
                  </a:lnTo>
                  <a:lnTo>
                    <a:pt x="718280" y="1131380"/>
                  </a:lnTo>
                  <a:lnTo>
                    <a:pt x="721519" y="1130998"/>
                  </a:lnTo>
                  <a:lnTo>
                    <a:pt x="718947" y="1136142"/>
                  </a:lnTo>
                  <a:lnTo>
                    <a:pt x="719138" y="1137761"/>
                  </a:lnTo>
                  <a:lnTo>
                    <a:pt x="726091" y="1141667"/>
                  </a:lnTo>
                  <a:lnTo>
                    <a:pt x="724662" y="1143476"/>
                  </a:lnTo>
                  <a:lnTo>
                    <a:pt x="729424" y="1142810"/>
                  </a:lnTo>
                  <a:lnTo>
                    <a:pt x="736473" y="1148334"/>
                  </a:lnTo>
                  <a:lnTo>
                    <a:pt x="739712" y="1147953"/>
                  </a:lnTo>
                  <a:lnTo>
                    <a:pt x="741045" y="1146143"/>
                  </a:lnTo>
                  <a:lnTo>
                    <a:pt x="754856" y="1141190"/>
                  </a:lnTo>
                  <a:lnTo>
                    <a:pt x="757999" y="1140809"/>
                  </a:lnTo>
                  <a:lnTo>
                    <a:pt x="758190" y="1142333"/>
                  </a:lnTo>
                  <a:lnTo>
                    <a:pt x="761333" y="1141952"/>
                  </a:lnTo>
                  <a:lnTo>
                    <a:pt x="763143" y="1143381"/>
                  </a:lnTo>
                  <a:lnTo>
                    <a:pt x="766286" y="1142905"/>
                  </a:lnTo>
                  <a:lnTo>
                    <a:pt x="765905" y="1139762"/>
                  </a:lnTo>
                  <a:lnTo>
                    <a:pt x="767524" y="1139571"/>
                  </a:lnTo>
                  <a:lnTo>
                    <a:pt x="767048" y="1136428"/>
                  </a:lnTo>
                  <a:lnTo>
                    <a:pt x="766477" y="1131665"/>
                  </a:lnTo>
                  <a:lnTo>
                    <a:pt x="770382" y="1124807"/>
                  </a:lnTo>
                  <a:lnTo>
                    <a:pt x="766667" y="1120426"/>
                  </a:lnTo>
                  <a:lnTo>
                    <a:pt x="766477" y="1118902"/>
                  </a:lnTo>
                  <a:lnTo>
                    <a:pt x="773906" y="1114711"/>
                  </a:lnTo>
                  <a:lnTo>
                    <a:pt x="775145" y="1111377"/>
                  </a:lnTo>
                  <a:lnTo>
                    <a:pt x="778097" y="1109377"/>
                  </a:lnTo>
                  <a:lnTo>
                    <a:pt x="776288" y="1107948"/>
                  </a:lnTo>
                  <a:lnTo>
                    <a:pt x="780574" y="1104233"/>
                  </a:lnTo>
                  <a:lnTo>
                    <a:pt x="778002" y="1096518"/>
                  </a:lnTo>
                  <a:lnTo>
                    <a:pt x="772097" y="1087660"/>
                  </a:lnTo>
                  <a:lnTo>
                    <a:pt x="771715" y="1084517"/>
                  </a:lnTo>
                  <a:lnTo>
                    <a:pt x="775240" y="1087279"/>
                  </a:lnTo>
                  <a:lnTo>
                    <a:pt x="778192" y="1085279"/>
                  </a:lnTo>
                  <a:lnTo>
                    <a:pt x="787241" y="1080897"/>
                  </a:lnTo>
                  <a:lnTo>
                    <a:pt x="788480" y="1077563"/>
                  </a:lnTo>
                  <a:lnTo>
                    <a:pt x="787813" y="1072801"/>
                  </a:lnTo>
                  <a:lnTo>
                    <a:pt x="790384" y="1067657"/>
                  </a:lnTo>
                  <a:lnTo>
                    <a:pt x="794004" y="1070419"/>
                  </a:lnTo>
                  <a:lnTo>
                    <a:pt x="807720" y="1065467"/>
                  </a:lnTo>
                  <a:lnTo>
                    <a:pt x="806958" y="1059180"/>
                  </a:lnTo>
                  <a:lnTo>
                    <a:pt x="808577" y="1058989"/>
                  </a:lnTo>
                  <a:lnTo>
                    <a:pt x="808101" y="1055846"/>
                  </a:lnTo>
                  <a:lnTo>
                    <a:pt x="809149" y="1050893"/>
                  </a:lnTo>
                  <a:lnTo>
                    <a:pt x="808672" y="1047750"/>
                  </a:lnTo>
                  <a:lnTo>
                    <a:pt x="806767" y="1044797"/>
                  </a:lnTo>
                  <a:lnTo>
                    <a:pt x="809911" y="1044321"/>
                  </a:lnTo>
                  <a:lnTo>
                    <a:pt x="813435" y="1047083"/>
                  </a:lnTo>
                  <a:lnTo>
                    <a:pt x="815435" y="1050036"/>
                  </a:lnTo>
                  <a:lnTo>
                    <a:pt x="823341" y="1049084"/>
                  </a:lnTo>
                  <a:lnTo>
                    <a:pt x="825532" y="1053560"/>
                  </a:lnTo>
                  <a:lnTo>
                    <a:pt x="828675" y="1053179"/>
                  </a:lnTo>
                  <a:lnTo>
                    <a:pt x="830580" y="1056132"/>
                  </a:lnTo>
                  <a:lnTo>
                    <a:pt x="835152" y="1053941"/>
                  </a:lnTo>
                  <a:lnTo>
                    <a:pt x="840676" y="1059656"/>
                  </a:lnTo>
                  <a:lnTo>
                    <a:pt x="850011" y="1056894"/>
                  </a:lnTo>
                  <a:lnTo>
                    <a:pt x="849535" y="1053751"/>
                  </a:lnTo>
                  <a:lnTo>
                    <a:pt x="849154" y="1050608"/>
                  </a:lnTo>
                  <a:lnTo>
                    <a:pt x="857440" y="1039939"/>
                  </a:lnTo>
                  <a:lnTo>
                    <a:pt x="860393" y="1025080"/>
                  </a:lnTo>
                  <a:lnTo>
                    <a:pt x="859917" y="1021937"/>
                  </a:lnTo>
                  <a:lnTo>
                    <a:pt x="855250" y="1022509"/>
                  </a:lnTo>
                  <a:lnTo>
                    <a:pt x="855250" y="102250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2" name="Volný tvar: obrazec 21">
              <a:extLst>
                <a:ext uri="{FF2B5EF4-FFF2-40B4-BE49-F238E27FC236}">
                  <a16:creationId xmlns:a16="http://schemas.microsoft.com/office/drawing/2014/main" id="{5D0CAC26-0469-D056-662C-8AD653260E10}"/>
                </a:ext>
              </a:extLst>
            </p:cNvPr>
            <p:cNvSpPr>
              <a:spLocks noChangeAspect="1"/>
            </p:cNvSpPr>
            <p:nvPr userDrawn="1">
              <p:custDataLst>
                <p:tags r:id="rId8"/>
              </p:custDataLst>
            </p:nvPr>
          </p:nvSpPr>
          <p:spPr>
            <a:xfrm>
              <a:off x="3727418" y="2648330"/>
              <a:ext cx="835437" cy="647509"/>
            </a:xfrm>
            <a:custGeom>
              <a:avLst/>
              <a:gdLst>
                <a:gd name="connsiteX0" fmla="*/ 833057 w 835437"/>
                <a:gd name="connsiteY0" fmla="*/ 420719 h 647509"/>
                <a:gd name="connsiteX1" fmla="*/ 831437 w 835437"/>
                <a:gd name="connsiteY1" fmla="*/ 408146 h 647509"/>
                <a:gd name="connsiteX2" fmla="*/ 829628 w 835437"/>
                <a:gd name="connsiteY2" fmla="*/ 406717 h 647509"/>
                <a:gd name="connsiteX3" fmla="*/ 821722 w 835437"/>
                <a:gd name="connsiteY3" fmla="*/ 407765 h 647509"/>
                <a:gd name="connsiteX4" fmla="*/ 823151 w 835437"/>
                <a:gd name="connsiteY4" fmla="*/ 405956 h 647509"/>
                <a:gd name="connsiteX5" fmla="*/ 827627 w 835437"/>
                <a:gd name="connsiteY5" fmla="*/ 403765 h 647509"/>
                <a:gd name="connsiteX6" fmla="*/ 820769 w 835437"/>
                <a:gd name="connsiteY6" fmla="*/ 399859 h 647509"/>
                <a:gd name="connsiteX7" fmla="*/ 820579 w 835437"/>
                <a:gd name="connsiteY7" fmla="*/ 398240 h 647509"/>
                <a:gd name="connsiteX8" fmla="*/ 818198 w 835437"/>
                <a:gd name="connsiteY8" fmla="*/ 392144 h 647509"/>
                <a:gd name="connsiteX9" fmla="*/ 813245 w 835437"/>
                <a:gd name="connsiteY9" fmla="*/ 391192 h 647509"/>
                <a:gd name="connsiteX10" fmla="*/ 805529 w 835437"/>
                <a:gd name="connsiteY10" fmla="*/ 393763 h 647509"/>
                <a:gd name="connsiteX11" fmla="*/ 800195 w 835437"/>
                <a:gd name="connsiteY11" fmla="*/ 389668 h 647509"/>
                <a:gd name="connsiteX12" fmla="*/ 797624 w 835437"/>
                <a:gd name="connsiteY12" fmla="*/ 394716 h 647509"/>
                <a:gd name="connsiteX13" fmla="*/ 791909 w 835437"/>
                <a:gd name="connsiteY13" fmla="*/ 387477 h 647509"/>
                <a:gd name="connsiteX14" fmla="*/ 788765 w 835437"/>
                <a:gd name="connsiteY14" fmla="*/ 387858 h 647509"/>
                <a:gd name="connsiteX15" fmla="*/ 785146 w 835437"/>
                <a:gd name="connsiteY15" fmla="*/ 385096 h 647509"/>
                <a:gd name="connsiteX16" fmla="*/ 793051 w 835437"/>
                <a:gd name="connsiteY16" fmla="*/ 384143 h 647509"/>
                <a:gd name="connsiteX17" fmla="*/ 794290 w 835437"/>
                <a:gd name="connsiteY17" fmla="*/ 380714 h 647509"/>
                <a:gd name="connsiteX18" fmla="*/ 790861 w 835437"/>
                <a:gd name="connsiteY18" fmla="*/ 379571 h 647509"/>
                <a:gd name="connsiteX19" fmla="*/ 792099 w 835437"/>
                <a:gd name="connsiteY19" fmla="*/ 376238 h 647509"/>
                <a:gd name="connsiteX20" fmla="*/ 799814 w 835437"/>
                <a:gd name="connsiteY20" fmla="*/ 373666 h 647509"/>
                <a:gd name="connsiteX21" fmla="*/ 800005 w 835437"/>
                <a:gd name="connsiteY21" fmla="*/ 375190 h 647509"/>
                <a:gd name="connsiteX22" fmla="*/ 801148 w 835437"/>
                <a:gd name="connsiteY22" fmla="*/ 371856 h 647509"/>
                <a:gd name="connsiteX23" fmla="*/ 809625 w 835437"/>
                <a:gd name="connsiteY23" fmla="*/ 375571 h 647509"/>
                <a:gd name="connsiteX24" fmla="*/ 809435 w 835437"/>
                <a:gd name="connsiteY24" fmla="*/ 374047 h 647509"/>
                <a:gd name="connsiteX25" fmla="*/ 811244 w 835437"/>
                <a:gd name="connsiteY25" fmla="*/ 375380 h 647509"/>
                <a:gd name="connsiteX26" fmla="*/ 812578 w 835437"/>
                <a:gd name="connsiteY26" fmla="*/ 373571 h 647509"/>
                <a:gd name="connsiteX27" fmla="*/ 815912 w 835437"/>
                <a:gd name="connsiteY27" fmla="*/ 374809 h 647509"/>
                <a:gd name="connsiteX28" fmla="*/ 812959 w 835437"/>
                <a:gd name="connsiteY28" fmla="*/ 376809 h 647509"/>
                <a:gd name="connsiteX29" fmla="*/ 821722 w 835437"/>
                <a:gd name="connsiteY29" fmla="*/ 382048 h 647509"/>
                <a:gd name="connsiteX30" fmla="*/ 824865 w 835437"/>
                <a:gd name="connsiteY30" fmla="*/ 381667 h 647509"/>
                <a:gd name="connsiteX31" fmla="*/ 822484 w 835437"/>
                <a:gd name="connsiteY31" fmla="*/ 375571 h 647509"/>
                <a:gd name="connsiteX32" fmla="*/ 825437 w 835437"/>
                <a:gd name="connsiteY32" fmla="*/ 373571 h 647509"/>
                <a:gd name="connsiteX33" fmla="*/ 820293 w 835437"/>
                <a:gd name="connsiteY33" fmla="*/ 370999 h 647509"/>
                <a:gd name="connsiteX34" fmla="*/ 821817 w 835437"/>
                <a:gd name="connsiteY34" fmla="*/ 370808 h 647509"/>
                <a:gd name="connsiteX35" fmla="*/ 821436 w 835437"/>
                <a:gd name="connsiteY35" fmla="*/ 367665 h 647509"/>
                <a:gd name="connsiteX36" fmla="*/ 812959 w 835437"/>
                <a:gd name="connsiteY36" fmla="*/ 363950 h 647509"/>
                <a:gd name="connsiteX37" fmla="*/ 813911 w 835437"/>
                <a:gd name="connsiteY37" fmla="*/ 358997 h 647509"/>
                <a:gd name="connsiteX38" fmla="*/ 812387 w 835437"/>
                <a:gd name="connsiteY38" fmla="*/ 359188 h 647509"/>
                <a:gd name="connsiteX39" fmla="*/ 815340 w 835437"/>
                <a:gd name="connsiteY39" fmla="*/ 357188 h 647509"/>
                <a:gd name="connsiteX40" fmla="*/ 825151 w 835437"/>
                <a:gd name="connsiteY40" fmla="*/ 359188 h 647509"/>
                <a:gd name="connsiteX41" fmla="*/ 828294 w 835437"/>
                <a:gd name="connsiteY41" fmla="*/ 345948 h 647509"/>
                <a:gd name="connsiteX42" fmla="*/ 818674 w 835437"/>
                <a:gd name="connsiteY42" fmla="*/ 345567 h 647509"/>
                <a:gd name="connsiteX43" fmla="*/ 821436 w 835437"/>
                <a:gd name="connsiteY43" fmla="*/ 342043 h 647509"/>
                <a:gd name="connsiteX44" fmla="*/ 822198 w 835437"/>
                <a:gd name="connsiteY44" fmla="*/ 335471 h 647509"/>
                <a:gd name="connsiteX45" fmla="*/ 820388 w 835437"/>
                <a:gd name="connsiteY45" fmla="*/ 334137 h 647509"/>
                <a:gd name="connsiteX46" fmla="*/ 819436 w 835437"/>
                <a:gd name="connsiteY46" fmla="*/ 326231 h 647509"/>
                <a:gd name="connsiteX47" fmla="*/ 813816 w 835437"/>
                <a:gd name="connsiteY47" fmla="*/ 320516 h 647509"/>
                <a:gd name="connsiteX48" fmla="*/ 813816 w 835437"/>
                <a:gd name="connsiteY48" fmla="*/ 320516 h 647509"/>
                <a:gd name="connsiteX49" fmla="*/ 816388 w 835437"/>
                <a:gd name="connsiteY49" fmla="*/ 315373 h 647509"/>
                <a:gd name="connsiteX50" fmla="*/ 809244 w 835437"/>
                <a:gd name="connsiteY50" fmla="*/ 309848 h 647509"/>
                <a:gd name="connsiteX51" fmla="*/ 807720 w 835437"/>
                <a:gd name="connsiteY51" fmla="*/ 310134 h 647509"/>
                <a:gd name="connsiteX52" fmla="*/ 804386 w 835437"/>
                <a:gd name="connsiteY52" fmla="*/ 308896 h 647509"/>
                <a:gd name="connsiteX53" fmla="*/ 808482 w 835437"/>
                <a:gd name="connsiteY53" fmla="*/ 303562 h 647509"/>
                <a:gd name="connsiteX54" fmla="*/ 808292 w 835437"/>
                <a:gd name="connsiteY54" fmla="*/ 302038 h 647509"/>
                <a:gd name="connsiteX55" fmla="*/ 805148 w 835437"/>
                <a:gd name="connsiteY55" fmla="*/ 302419 h 647509"/>
                <a:gd name="connsiteX56" fmla="*/ 796862 w 835437"/>
                <a:gd name="connsiteY56" fmla="*/ 300228 h 647509"/>
                <a:gd name="connsiteX57" fmla="*/ 796004 w 835437"/>
                <a:gd name="connsiteY57" fmla="*/ 293942 h 647509"/>
                <a:gd name="connsiteX58" fmla="*/ 802386 w 835437"/>
                <a:gd name="connsiteY58" fmla="*/ 293180 h 647509"/>
                <a:gd name="connsiteX59" fmla="*/ 801529 w 835437"/>
                <a:gd name="connsiteY59" fmla="*/ 286798 h 647509"/>
                <a:gd name="connsiteX60" fmla="*/ 802958 w 835437"/>
                <a:gd name="connsiteY60" fmla="*/ 284988 h 647509"/>
                <a:gd name="connsiteX61" fmla="*/ 804291 w 835437"/>
                <a:gd name="connsiteY61" fmla="*/ 283273 h 647509"/>
                <a:gd name="connsiteX62" fmla="*/ 802291 w 835437"/>
                <a:gd name="connsiteY62" fmla="*/ 280321 h 647509"/>
                <a:gd name="connsiteX63" fmla="*/ 805244 w 835437"/>
                <a:gd name="connsiteY63" fmla="*/ 278321 h 647509"/>
                <a:gd name="connsiteX64" fmla="*/ 806672 w 835437"/>
                <a:gd name="connsiteY64" fmla="*/ 276511 h 647509"/>
                <a:gd name="connsiteX65" fmla="*/ 799910 w 835437"/>
                <a:gd name="connsiteY65" fmla="*/ 274225 h 647509"/>
                <a:gd name="connsiteX66" fmla="*/ 799528 w 835437"/>
                <a:gd name="connsiteY66" fmla="*/ 270986 h 647509"/>
                <a:gd name="connsiteX67" fmla="*/ 797909 w 835437"/>
                <a:gd name="connsiteY67" fmla="*/ 271272 h 647509"/>
                <a:gd name="connsiteX68" fmla="*/ 791813 w 835437"/>
                <a:gd name="connsiteY68" fmla="*/ 273653 h 647509"/>
                <a:gd name="connsiteX69" fmla="*/ 788480 w 835437"/>
                <a:gd name="connsiteY69" fmla="*/ 272415 h 647509"/>
                <a:gd name="connsiteX70" fmla="*/ 784098 w 835437"/>
                <a:gd name="connsiteY70" fmla="*/ 263366 h 647509"/>
                <a:gd name="connsiteX71" fmla="*/ 785527 w 835437"/>
                <a:gd name="connsiteY71" fmla="*/ 261556 h 647509"/>
                <a:gd name="connsiteX72" fmla="*/ 783717 w 835437"/>
                <a:gd name="connsiteY72" fmla="*/ 260223 h 647509"/>
                <a:gd name="connsiteX73" fmla="*/ 786479 w 835437"/>
                <a:gd name="connsiteY73" fmla="*/ 256699 h 647509"/>
                <a:gd name="connsiteX74" fmla="*/ 791242 w 835437"/>
                <a:gd name="connsiteY74" fmla="*/ 256032 h 647509"/>
                <a:gd name="connsiteX75" fmla="*/ 794195 w 835437"/>
                <a:gd name="connsiteY75" fmla="*/ 254032 h 647509"/>
                <a:gd name="connsiteX76" fmla="*/ 793147 w 835437"/>
                <a:gd name="connsiteY76" fmla="*/ 246221 h 647509"/>
                <a:gd name="connsiteX77" fmla="*/ 791909 w 835437"/>
                <a:gd name="connsiteY77" fmla="*/ 236696 h 647509"/>
                <a:gd name="connsiteX78" fmla="*/ 788575 w 835437"/>
                <a:gd name="connsiteY78" fmla="*/ 235553 h 647509"/>
                <a:gd name="connsiteX79" fmla="*/ 789527 w 835437"/>
                <a:gd name="connsiteY79" fmla="*/ 230600 h 647509"/>
                <a:gd name="connsiteX80" fmla="*/ 792099 w 835437"/>
                <a:gd name="connsiteY80" fmla="*/ 225457 h 647509"/>
                <a:gd name="connsiteX81" fmla="*/ 782288 w 835437"/>
                <a:gd name="connsiteY81" fmla="*/ 223552 h 647509"/>
                <a:gd name="connsiteX82" fmla="*/ 779050 w 835437"/>
                <a:gd name="connsiteY82" fmla="*/ 223933 h 647509"/>
                <a:gd name="connsiteX83" fmla="*/ 778859 w 835437"/>
                <a:gd name="connsiteY83" fmla="*/ 222313 h 647509"/>
                <a:gd name="connsiteX84" fmla="*/ 782003 w 835437"/>
                <a:gd name="connsiteY84" fmla="*/ 221932 h 647509"/>
                <a:gd name="connsiteX85" fmla="*/ 784003 w 835437"/>
                <a:gd name="connsiteY85" fmla="*/ 212027 h 647509"/>
                <a:gd name="connsiteX86" fmla="*/ 782193 w 835437"/>
                <a:gd name="connsiteY86" fmla="*/ 210693 h 647509"/>
                <a:gd name="connsiteX87" fmla="*/ 785336 w 835437"/>
                <a:gd name="connsiteY87" fmla="*/ 210312 h 647509"/>
                <a:gd name="connsiteX88" fmla="*/ 787908 w 835437"/>
                <a:gd name="connsiteY88" fmla="*/ 205169 h 647509"/>
                <a:gd name="connsiteX89" fmla="*/ 786384 w 835437"/>
                <a:gd name="connsiteY89" fmla="*/ 205359 h 647509"/>
                <a:gd name="connsiteX90" fmla="*/ 785717 w 835437"/>
                <a:gd name="connsiteY90" fmla="*/ 200596 h 647509"/>
                <a:gd name="connsiteX91" fmla="*/ 790289 w 835437"/>
                <a:gd name="connsiteY91" fmla="*/ 198406 h 647509"/>
                <a:gd name="connsiteX92" fmla="*/ 791813 w 835437"/>
                <a:gd name="connsiteY92" fmla="*/ 198215 h 647509"/>
                <a:gd name="connsiteX93" fmla="*/ 792671 w 835437"/>
                <a:gd name="connsiteY93" fmla="*/ 191738 h 647509"/>
                <a:gd name="connsiteX94" fmla="*/ 787718 w 835437"/>
                <a:gd name="connsiteY94" fmla="*/ 190786 h 647509"/>
                <a:gd name="connsiteX95" fmla="*/ 788670 w 835437"/>
                <a:gd name="connsiteY95" fmla="*/ 185833 h 647509"/>
                <a:gd name="connsiteX96" fmla="*/ 785527 w 835437"/>
                <a:gd name="connsiteY96" fmla="*/ 186214 h 647509"/>
                <a:gd name="connsiteX97" fmla="*/ 786670 w 835437"/>
                <a:gd name="connsiteY97" fmla="*/ 182880 h 647509"/>
                <a:gd name="connsiteX98" fmla="*/ 784670 w 835437"/>
                <a:gd name="connsiteY98" fmla="*/ 179927 h 647509"/>
                <a:gd name="connsiteX99" fmla="*/ 784289 w 835437"/>
                <a:gd name="connsiteY99" fmla="*/ 176784 h 647509"/>
                <a:gd name="connsiteX100" fmla="*/ 787051 w 835437"/>
                <a:gd name="connsiteY100" fmla="*/ 173165 h 647509"/>
                <a:gd name="connsiteX101" fmla="*/ 787051 w 835437"/>
                <a:gd name="connsiteY101" fmla="*/ 173165 h 647509"/>
                <a:gd name="connsiteX102" fmla="*/ 790003 w 835437"/>
                <a:gd name="connsiteY102" fmla="*/ 171164 h 647509"/>
                <a:gd name="connsiteX103" fmla="*/ 794576 w 835437"/>
                <a:gd name="connsiteY103" fmla="*/ 169069 h 647509"/>
                <a:gd name="connsiteX104" fmla="*/ 794099 w 835437"/>
                <a:gd name="connsiteY104" fmla="*/ 165830 h 647509"/>
                <a:gd name="connsiteX105" fmla="*/ 795528 w 835437"/>
                <a:gd name="connsiteY105" fmla="*/ 164116 h 647509"/>
                <a:gd name="connsiteX106" fmla="*/ 792956 w 835437"/>
                <a:gd name="connsiteY106" fmla="*/ 156400 h 647509"/>
                <a:gd name="connsiteX107" fmla="*/ 795719 w 835437"/>
                <a:gd name="connsiteY107" fmla="*/ 152876 h 647509"/>
                <a:gd name="connsiteX108" fmla="*/ 788765 w 835437"/>
                <a:gd name="connsiteY108" fmla="*/ 148876 h 647509"/>
                <a:gd name="connsiteX109" fmla="*/ 785622 w 835437"/>
                <a:gd name="connsiteY109" fmla="*/ 136493 h 647509"/>
                <a:gd name="connsiteX110" fmla="*/ 775335 w 835437"/>
                <a:gd name="connsiteY110" fmla="*/ 131350 h 647509"/>
                <a:gd name="connsiteX111" fmla="*/ 777907 w 835437"/>
                <a:gd name="connsiteY111" fmla="*/ 126302 h 647509"/>
                <a:gd name="connsiteX112" fmla="*/ 777716 w 835437"/>
                <a:gd name="connsiteY112" fmla="*/ 124682 h 647509"/>
                <a:gd name="connsiteX113" fmla="*/ 771525 w 835437"/>
                <a:gd name="connsiteY113" fmla="*/ 127063 h 647509"/>
                <a:gd name="connsiteX114" fmla="*/ 767429 w 835437"/>
                <a:gd name="connsiteY114" fmla="*/ 132398 h 647509"/>
                <a:gd name="connsiteX115" fmla="*/ 762476 w 835437"/>
                <a:gd name="connsiteY115" fmla="*/ 131445 h 647509"/>
                <a:gd name="connsiteX116" fmla="*/ 759905 w 835437"/>
                <a:gd name="connsiteY116" fmla="*/ 136588 h 647509"/>
                <a:gd name="connsiteX117" fmla="*/ 759333 w 835437"/>
                <a:gd name="connsiteY117" fmla="*/ 131826 h 647509"/>
                <a:gd name="connsiteX118" fmla="*/ 749903 w 835437"/>
                <a:gd name="connsiteY118" fmla="*/ 133064 h 647509"/>
                <a:gd name="connsiteX119" fmla="*/ 746474 w 835437"/>
                <a:gd name="connsiteY119" fmla="*/ 131826 h 647509"/>
                <a:gd name="connsiteX120" fmla="*/ 741807 w 835437"/>
                <a:gd name="connsiteY120" fmla="*/ 132493 h 647509"/>
                <a:gd name="connsiteX121" fmla="*/ 739997 w 835437"/>
                <a:gd name="connsiteY121" fmla="*/ 131064 h 647509"/>
                <a:gd name="connsiteX122" fmla="*/ 738378 w 835437"/>
                <a:gd name="connsiteY122" fmla="*/ 131254 h 647509"/>
                <a:gd name="connsiteX123" fmla="*/ 736283 w 835437"/>
                <a:gd name="connsiteY123" fmla="*/ 126778 h 647509"/>
                <a:gd name="connsiteX124" fmla="*/ 728186 w 835437"/>
                <a:gd name="connsiteY124" fmla="*/ 126206 h 647509"/>
                <a:gd name="connsiteX125" fmla="*/ 723233 w 835437"/>
                <a:gd name="connsiteY125" fmla="*/ 125158 h 647509"/>
                <a:gd name="connsiteX126" fmla="*/ 717328 w 835437"/>
                <a:gd name="connsiteY126" fmla="*/ 129159 h 647509"/>
                <a:gd name="connsiteX127" fmla="*/ 715709 w 835437"/>
                <a:gd name="connsiteY127" fmla="*/ 129350 h 647509"/>
                <a:gd name="connsiteX128" fmla="*/ 717899 w 835437"/>
                <a:gd name="connsiteY128" fmla="*/ 133921 h 647509"/>
                <a:gd name="connsiteX129" fmla="*/ 714756 w 835437"/>
                <a:gd name="connsiteY129" fmla="*/ 134302 h 647509"/>
                <a:gd name="connsiteX130" fmla="*/ 713327 w 835437"/>
                <a:gd name="connsiteY130" fmla="*/ 136112 h 647509"/>
                <a:gd name="connsiteX131" fmla="*/ 708279 w 835437"/>
                <a:gd name="connsiteY131" fmla="*/ 133540 h 647509"/>
                <a:gd name="connsiteX132" fmla="*/ 709613 w 835437"/>
                <a:gd name="connsiteY132" fmla="*/ 131731 h 647509"/>
                <a:gd name="connsiteX133" fmla="*/ 707803 w 835437"/>
                <a:gd name="connsiteY133" fmla="*/ 130397 h 647509"/>
                <a:gd name="connsiteX134" fmla="*/ 703136 w 835437"/>
                <a:gd name="connsiteY134" fmla="*/ 130969 h 647509"/>
                <a:gd name="connsiteX135" fmla="*/ 699326 w 835437"/>
                <a:gd name="connsiteY135" fmla="*/ 126587 h 647509"/>
                <a:gd name="connsiteX136" fmla="*/ 696373 w 835437"/>
                <a:gd name="connsiteY136" fmla="*/ 128588 h 647509"/>
                <a:gd name="connsiteX137" fmla="*/ 696373 w 835437"/>
                <a:gd name="connsiteY137" fmla="*/ 128588 h 647509"/>
                <a:gd name="connsiteX138" fmla="*/ 695801 w 835437"/>
                <a:gd name="connsiteY138" fmla="*/ 123920 h 647509"/>
                <a:gd name="connsiteX139" fmla="*/ 700278 w 835437"/>
                <a:gd name="connsiteY139" fmla="*/ 121729 h 647509"/>
                <a:gd name="connsiteX140" fmla="*/ 702278 w 835437"/>
                <a:gd name="connsiteY140" fmla="*/ 111823 h 647509"/>
                <a:gd name="connsiteX141" fmla="*/ 708565 w 835437"/>
                <a:gd name="connsiteY141" fmla="*/ 111061 h 647509"/>
                <a:gd name="connsiteX142" fmla="*/ 708374 w 835437"/>
                <a:gd name="connsiteY142" fmla="*/ 109442 h 647509"/>
                <a:gd name="connsiteX143" fmla="*/ 700469 w 835437"/>
                <a:gd name="connsiteY143" fmla="*/ 97631 h 647509"/>
                <a:gd name="connsiteX144" fmla="*/ 698659 w 835437"/>
                <a:gd name="connsiteY144" fmla="*/ 96298 h 647509"/>
                <a:gd name="connsiteX145" fmla="*/ 695706 w 835437"/>
                <a:gd name="connsiteY145" fmla="*/ 98203 h 647509"/>
                <a:gd name="connsiteX146" fmla="*/ 689229 w 835437"/>
                <a:gd name="connsiteY146" fmla="*/ 97441 h 647509"/>
                <a:gd name="connsiteX147" fmla="*/ 679895 w 835437"/>
                <a:gd name="connsiteY147" fmla="*/ 87440 h 647509"/>
                <a:gd name="connsiteX148" fmla="*/ 680276 w 835437"/>
                <a:gd name="connsiteY148" fmla="*/ 90583 h 647509"/>
                <a:gd name="connsiteX149" fmla="*/ 665702 w 835437"/>
                <a:gd name="connsiteY149" fmla="*/ 89249 h 647509"/>
                <a:gd name="connsiteX150" fmla="*/ 664750 w 835437"/>
                <a:gd name="connsiteY150" fmla="*/ 94202 h 647509"/>
                <a:gd name="connsiteX151" fmla="*/ 650939 w 835437"/>
                <a:gd name="connsiteY151" fmla="*/ 86296 h 647509"/>
                <a:gd name="connsiteX152" fmla="*/ 648272 w 835437"/>
                <a:gd name="connsiteY152" fmla="*/ 78581 h 647509"/>
                <a:gd name="connsiteX153" fmla="*/ 640651 w 835437"/>
                <a:gd name="connsiteY153" fmla="*/ 81153 h 647509"/>
                <a:gd name="connsiteX154" fmla="*/ 631793 w 835437"/>
                <a:gd name="connsiteY154" fmla="*/ 87154 h 647509"/>
                <a:gd name="connsiteX155" fmla="*/ 629984 w 835437"/>
                <a:gd name="connsiteY155" fmla="*/ 85725 h 647509"/>
                <a:gd name="connsiteX156" fmla="*/ 631126 w 835437"/>
                <a:gd name="connsiteY156" fmla="*/ 82391 h 647509"/>
                <a:gd name="connsiteX157" fmla="*/ 628174 w 835437"/>
                <a:gd name="connsiteY157" fmla="*/ 84392 h 647509"/>
                <a:gd name="connsiteX158" fmla="*/ 626174 w 835437"/>
                <a:gd name="connsiteY158" fmla="*/ 81439 h 647509"/>
                <a:gd name="connsiteX159" fmla="*/ 615410 w 835437"/>
                <a:gd name="connsiteY159" fmla="*/ 84392 h 647509"/>
                <a:gd name="connsiteX160" fmla="*/ 613029 w 835437"/>
                <a:gd name="connsiteY160" fmla="*/ 78296 h 647509"/>
                <a:gd name="connsiteX161" fmla="*/ 609028 w 835437"/>
                <a:gd name="connsiteY161" fmla="*/ 72390 h 647509"/>
                <a:gd name="connsiteX162" fmla="*/ 597218 w 835437"/>
                <a:gd name="connsiteY162" fmla="*/ 67437 h 647509"/>
                <a:gd name="connsiteX163" fmla="*/ 590455 w 835437"/>
                <a:gd name="connsiteY163" fmla="*/ 65151 h 647509"/>
                <a:gd name="connsiteX164" fmla="*/ 589693 w 835437"/>
                <a:gd name="connsiteY164" fmla="*/ 58865 h 647509"/>
                <a:gd name="connsiteX165" fmla="*/ 575215 w 835437"/>
                <a:gd name="connsiteY165" fmla="*/ 46196 h 647509"/>
                <a:gd name="connsiteX166" fmla="*/ 571881 w 835437"/>
                <a:gd name="connsiteY166" fmla="*/ 45053 h 647509"/>
                <a:gd name="connsiteX167" fmla="*/ 568738 w 835437"/>
                <a:gd name="connsiteY167" fmla="*/ 45434 h 647509"/>
                <a:gd name="connsiteX168" fmla="*/ 561404 w 835437"/>
                <a:gd name="connsiteY168" fmla="*/ 38386 h 647509"/>
                <a:gd name="connsiteX169" fmla="*/ 531305 w 835437"/>
                <a:gd name="connsiteY169" fmla="*/ 16573 h 647509"/>
                <a:gd name="connsiteX170" fmla="*/ 524066 w 835437"/>
                <a:gd name="connsiteY170" fmla="*/ 9430 h 647509"/>
                <a:gd name="connsiteX171" fmla="*/ 509969 w 835437"/>
                <a:gd name="connsiteY171" fmla="*/ 0 h 647509"/>
                <a:gd name="connsiteX172" fmla="*/ 508254 w 835437"/>
                <a:gd name="connsiteY172" fmla="*/ 11430 h 647509"/>
                <a:gd name="connsiteX173" fmla="*/ 501206 w 835437"/>
                <a:gd name="connsiteY173" fmla="*/ 18764 h 647509"/>
                <a:gd name="connsiteX174" fmla="*/ 501777 w 835437"/>
                <a:gd name="connsiteY174" fmla="*/ 23527 h 647509"/>
                <a:gd name="connsiteX175" fmla="*/ 503968 w 835437"/>
                <a:gd name="connsiteY175" fmla="*/ 28004 h 647509"/>
                <a:gd name="connsiteX176" fmla="*/ 503015 w 835437"/>
                <a:gd name="connsiteY176" fmla="*/ 32956 h 647509"/>
                <a:gd name="connsiteX177" fmla="*/ 498634 w 835437"/>
                <a:gd name="connsiteY177" fmla="*/ 23908 h 647509"/>
                <a:gd name="connsiteX178" fmla="*/ 493871 w 835437"/>
                <a:gd name="connsiteY178" fmla="*/ 11716 h 647509"/>
                <a:gd name="connsiteX179" fmla="*/ 451295 w 835437"/>
                <a:gd name="connsiteY179" fmla="*/ 29908 h 647509"/>
                <a:gd name="connsiteX180" fmla="*/ 446342 w 835437"/>
                <a:gd name="connsiteY180" fmla="*/ 41815 h 647509"/>
                <a:gd name="connsiteX181" fmla="*/ 440436 w 835437"/>
                <a:gd name="connsiteY181" fmla="*/ 45720 h 647509"/>
                <a:gd name="connsiteX182" fmla="*/ 432149 w 835437"/>
                <a:gd name="connsiteY182" fmla="*/ 56388 h 647509"/>
                <a:gd name="connsiteX183" fmla="*/ 429673 w 835437"/>
                <a:gd name="connsiteY183" fmla="*/ 61531 h 647509"/>
                <a:gd name="connsiteX184" fmla="*/ 431578 w 835437"/>
                <a:gd name="connsiteY184" fmla="*/ 64484 h 647509"/>
                <a:gd name="connsiteX185" fmla="*/ 430625 w 835437"/>
                <a:gd name="connsiteY185" fmla="*/ 69437 h 647509"/>
                <a:gd name="connsiteX186" fmla="*/ 423482 w 835437"/>
                <a:gd name="connsiteY186" fmla="*/ 63913 h 647509"/>
                <a:gd name="connsiteX187" fmla="*/ 421577 w 835437"/>
                <a:gd name="connsiteY187" fmla="*/ 60960 h 647509"/>
                <a:gd name="connsiteX188" fmla="*/ 414242 w 835437"/>
                <a:gd name="connsiteY188" fmla="*/ 53911 h 647509"/>
                <a:gd name="connsiteX189" fmla="*/ 408337 w 835437"/>
                <a:gd name="connsiteY189" fmla="*/ 45053 h 647509"/>
                <a:gd name="connsiteX190" fmla="*/ 396240 w 835437"/>
                <a:gd name="connsiteY190" fmla="*/ 51340 h 647509"/>
                <a:gd name="connsiteX191" fmla="*/ 388334 w 835437"/>
                <a:gd name="connsiteY191" fmla="*/ 52388 h 647509"/>
                <a:gd name="connsiteX192" fmla="*/ 384810 w 835437"/>
                <a:gd name="connsiteY192" fmla="*/ 49625 h 647509"/>
                <a:gd name="connsiteX193" fmla="*/ 376142 w 835437"/>
                <a:gd name="connsiteY193" fmla="*/ 44291 h 647509"/>
                <a:gd name="connsiteX194" fmla="*/ 368237 w 835437"/>
                <a:gd name="connsiteY194" fmla="*/ 45339 h 647509"/>
                <a:gd name="connsiteX195" fmla="*/ 368427 w 835437"/>
                <a:gd name="connsiteY195" fmla="*/ 46958 h 647509"/>
                <a:gd name="connsiteX196" fmla="*/ 358426 w 835437"/>
                <a:gd name="connsiteY196" fmla="*/ 56198 h 647509"/>
                <a:gd name="connsiteX197" fmla="*/ 355283 w 835437"/>
                <a:gd name="connsiteY197" fmla="*/ 56579 h 647509"/>
                <a:gd name="connsiteX198" fmla="*/ 353282 w 835437"/>
                <a:gd name="connsiteY198" fmla="*/ 53626 h 647509"/>
                <a:gd name="connsiteX199" fmla="*/ 348520 w 835437"/>
                <a:gd name="connsiteY199" fmla="*/ 54292 h 647509"/>
                <a:gd name="connsiteX200" fmla="*/ 343567 w 835437"/>
                <a:gd name="connsiteY200" fmla="*/ 53245 h 647509"/>
                <a:gd name="connsiteX201" fmla="*/ 339471 w 835437"/>
                <a:gd name="connsiteY201" fmla="*/ 58579 h 647509"/>
                <a:gd name="connsiteX202" fmla="*/ 326993 w 835437"/>
                <a:gd name="connsiteY202" fmla="*/ 61817 h 647509"/>
                <a:gd name="connsiteX203" fmla="*/ 323850 w 835437"/>
                <a:gd name="connsiteY203" fmla="*/ 62198 h 647509"/>
                <a:gd name="connsiteX204" fmla="*/ 320516 w 835437"/>
                <a:gd name="connsiteY204" fmla="*/ 61055 h 647509"/>
                <a:gd name="connsiteX205" fmla="*/ 317563 w 835437"/>
                <a:gd name="connsiteY205" fmla="*/ 63056 h 647509"/>
                <a:gd name="connsiteX206" fmla="*/ 310896 w 835437"/>
                <a:gd name="connsiteY206" fmla="*/ 60674 h 647509"/>
                <a:gd name="connsiteX207" fmla="*/ 306514 w 835437"/>
                <a:gd name="connsiteY207" fmla="*/ 64389 h 647509"/>
                <a:gd name="connsiteX208" fmla="*/ 298418 w 835437"/>
                <a:gd name="connsiteY208" fmla="*/ 63817 h 647509"/>
                <a:gd name="connsiteX209" fmla="*/ 295085 w 835437"/>
                <a:gd name="connsiteY209" fmla="*/ 62675 h 647509"/>
                <a:gd name="connsiteX210" fmla="*/ 294513 w 835437"/>
                <a:gd name="connsiteY210" fmla="*/ 70771 h 647509"/>
                <a:gd name="connsiteX211" fmla="*/ 288608 w 835437"/>
                <a:gd name="connsiteY211" fmla="*/ 74771 h 647509"/>
                <a:gd name="connsiteX212" fmla="*/ 284893 w 835437"/>
                <a:gd name="connsiteY212" fmla="*/ 83248 h 647509"/>
                <a:gd name="connsiteX213" fmla="*/ 279178 w 835437"/>
                <a:gd name="connsiteY213" fmla="*/ 88773 h 647509"/>
                <a:gd name="connsiteX214" fmla="*/ 278130 w 835437"/>
                <a:gd name="connsiteY214" fmla="*/ 93726 h 647509"/>
                <a:gd name="connsiteX215" fmla="*/ 281750 w 835437"/>
                <a:gd name="connsiteY215" fmla="*/ 109252 h 647509"/>
                <a:gd name="connsiteX216" fmla="*/ 279368 w 835437"/>
                <a:gd name="connsiteY216" fmla="*/ 116015 h 647509"/>
                <a:gd name="connsiteX217" fmla="*/ 275082 w 835437"/>
                <a:gd name="connsiteY217" fmla="*/ 119729 h 647509"/>
                <a:gd name="connsiteX218" fmla="*/ 264224 w 835437"/>
                <a:gd name="connsiteY218" fmla="*/ 109919 h 647509"/>
                <a:gd name="connsiteX219" fmla="*/ 258318 w 835437"/>
                <a:gd name="connsiteY219" fmla="*/ 113824 h 647509"/>
                <a:gd name="connsiteX220" fmla="*/ 257080 w 835437"/>
                <a:gd name="connsiteY220" fmla="*/ 117253 h 647509"/>
                <a:gd name="connsiteX221" fmla="*/ 249650 w 835437"/>
                <a:gd name="connsiteY221" fmla="*/ 121348 h 647509"/>
                <a:gd name="connsiteX222" fmla="*/ 245269 w 835437"/>
                <a:gd name="connsiteY222" fmla="*/ 125158 h 647509"/>
                <a:gd name="connsiteX223" fmla="*/ 244316 w 835437"/>
                <a:gd name="connsiteY223" fmla="*/ 130111 h 647509"/>
                <a:gd name="connsiteX224" fmla="*/ 240030 w 835437"/>
                <a:gd name="connsiteY224" fmla="*/ 133826 h 647509"/>
                <a:gd name="connsiteX225" fmla="*/ 242126 w 835437"/>
                <a:gd name="connsiteY225" fmla="*/ 138398 h 647509"/>
                <a:gd name="connsiteX226" fmla="*/ 238220 w 835437"/>
                <a:gd name="connsiteY226" fmla="*/ 145256 h 647509"/>
                <a:gd name="connsiteX227" fmla="*/ 234887 w 835437"/>
                <a:gd name="connsiteY227" fmla="*/ 144113 h 647509"/>
                <a:gd name="connsiteX228" fmla="*/ 231934 w 835437"/>
                <a:gd name="connsiteY228" fmla="*/ 146113 h 647509"/>
                <a:gd name="connsiteX229" fmla="*/ 228410 w 835437"/>
                <a:gd name="connsiteY229" fmla="*/ 143351 h 647509"/>
                <a:gd name="connsiteX230" fmla="*/ 218885 w 835437"/>
                <a:gd name="connsiteY230" fmla="*/ 144590 h 647509"/>
                <a:gd name="connsiteX231" fmla="*/ 214408 w 835437"/>
                <a:gd name="connsiteY231" fmla="*/ 146780 h 647509"/>
                <a:gd name="connsiteX232" fmla="*/ 216503 w 835437"/>
                <a:gd name="connsiteY232" fmla="*/ 151257 h 647509"/>
                <a:gd name="connsiteX233" fmla="*/ 214598 w 835437"/>
                <a:gd name="connsiteY233" fmla="*/ 161163 h 647509"/>
                <a:gd name="connsiteX234" fmla="*/ 216980 w 835437"/>
                <a:gd name="connsiteY234" fmla="*/ 167259 h 647509"/>
                <a:gd name="connsiteX235" fmla="*/ 215075 w 835437"/>
                <a:gd name="connsiteY235" fmla="*/ 177070 h 647509"/>
                <a:gd name="connsiteX236" fmla="*/ 210884 w 835437"/>
                <a:gd name="connsiteY236" fmla="*/ 182499 h 647509"/>
                <a:gd name="connsiteX237" fmla="*/ 202978 w 835437"/>
                <a:gd name="connsiteY237" fmla="*/ 183452 h 647509"/>
                <a:gd name="connsiteX238" fmla="*/ 193739 w 835437"/>
                <a:gd name="connsiteY238" fmla="*/ 186214 h 647509"/>
                <a:gd name="connsiteX239" fmla="*/ 194119 w 835437"/>
                <a:gd name="connsiteY239" fmla="*/ 189357 h 647509"/>
                <a:gd name="connsiteX240" fmla="*/ 191357 w 835437"/>
                <a:gd name="connsiteY240" fmla="*/ 192977 h 647509"/>
                <a:gd name="connsiteX241" fmla="*/ 187071 w 835437"/>
                <a:gd name="connsiteY241" fmla="*/ 196691 h 647509"/>
                <a:gd name="connsiteX242" fmla="*/ 188024 w 835437"/>
                <a:gd name="connsiteY242" fmla="*/ 204597 h 647509"/>
                <a:gd name="connsiteX243" fmla="*/ 180975 w 835437"/>
                <a:gd name="connsiteY243" fmla="*/ 211931 h 647509"/>
                <a:gd name="connsiteX244" fmla="*/ 179261 w 835437"/>
                <a:gd name="connsiteY244" fmla="*/ 223361 h 647509"/>
                <a:gd name="connsiteX245" fmla="*/ 183356 w 835437"/>
                <a:gd name="connsiteY245" fmla="*/ 230886 h 647509"/>
                <a:gd name="connsiteX246" fmla="*/ 185547 w 835437"/>
                <a:gd name="connsiteY246" fmla="*/ 235363 h 647509"/>
                <a:gd name="connsiteX247" fmla="*/ 179451 w 835437"/>
                <a:gd name="connsiteY247" fmla="*/ 237744 h 647509"/>
                <a:gd name="connsiteX248" fmla="*/ 182975 w 835437"/>
                <a:gd name="connsiteY248" fmla="*/ 240506 h 647509"/>
                <a:gd name="connsiteX249" fmla="*/ 178308 w 835437"/>
                <a:gd name="connsiteY249" fmla="*/ 241173 h 647509"/>
                <a:gd name="connsiteX250" fmla="*/ 178499 w 835437"/>
                <a:gd name="connsiteY250" fmla="*/ 242697 h 647509"/>
                <a:gd name="connsiteX251" fmla="*/ 172784 w 835437"/>
                <a:gd name="connsiteY251" fmla="*/ 235458 h 647509"/>
                <a:gd name="connsiteX252" fmla="*/ 166021 w 835437"/>
                <a:gd name="connsiteY252" fmla="*/ 233077 h 647509"/>
                <a:gd name="connsiteX253" fmla="*/ 166592 w 835437"/>
                <a:gd name="connsiteY253" fmla="*/ 237839 h 647509"/>
                <a:gd name="connsiteX254" fmla="*/ 164116 w 835437"/>
                <a:gd name="connsiteY254" fmla="*/ 242983 h 647509"/>
                <a:gd name="connsiteX255" fmla="*/ 165830 w 835437"/>
                <a:gd name="connsiteY255" fmla="*/ 244316 h 647509"/>
                <a:gd name="connsiteX256" fmla="*/ 165449 w 835437"/>
                <a:gd name="connsiteY256" fmla="*/ 254032 h 647509"/>
                <a:gd name="connsiteX257" fmla="*/ 167640 w 835437"/>
                <a:gd name="connsiteY257" fmla="*/ 258509 h 647509"/>
                <a:gd name="connsiteX258" fmla="*/ 168307 w 835437"/>
                <a:gd name="connsiteY258" fmla="*/ 263271 h 647509"/>
                <a:gd name="connsiteX259" fmla="*/ 161544 w 835437"/>
                <a:gd name="connsiteY259" fmla="*/ 260890 h 647509"/>
                <a:gd name="connsiteX260" fmla="*/ 162782 w 835437"/>
                <a:gd name="connsiteY260" fmla="*/ 270415 h 647509"/>
                <a:gd name="connsiteX261" fmla="*/ 160211 w 835437"/>
                <a:gd name="connsiteY261" fmla="*/ 275558 h 647509"/>
                <a:gd name="connsiteX262" fmla="*/ 162592 w 835437"/>
                <a:gd name="connsiteY262" fmla="*/ 281654 h 647509"/>
                <a:gd name="connsiteX263" fmla="*/ 165926 w 835437"/>
                <a:gd name="connsiteY263" fmla="*/ 282797 h 647509"/>
                <a:gd name="connsiteX264" fmla="*/ 164973 w 835437"/>
                <a:gd name="connsiteY264" fmla="*/ 287750 h 647509"/>
                <a:gd name="connsiteX265" fmla="*/ 168497 w 835437"/>
                <a:gd name="connsiteY265" fmla="*/ 290513 h 647509"/>
                <a:gd name="connsiteX266" fmla="*/ 168688 w 835437"/>
                <a:gd name="connsiteY266" fmla="*/ 292036 h 647509"/>
                <a:gd name="connsiteX267" fmla="*/ 167545 w 835437"/>
                <a:gd name="connsiteY267" fmla="*/ 295465 h 647509"/>
                <a:gd name="connsiteX268" fmla="*/ 163068 w 835437"/>
                <a:gd name="connsiteY268" fmla="*/ 297561 h 647509"/>
                <a:gd name="connsiteX269" fmla="*/ 162020 w 835437"/>
                <a:gd name="connsiteY269" fmla="*/ 302514 h 647509"/>
                <a:gd name="connsiteX270" fmla="*/ 158877 w 835437"/>
                <a:gd name="connsiteY270" fmla="*/ 302895 h 647509"/>
                <a:gd name="connsiteX271" fmla="*/ 160877 w 835437"/>
                <a:gd name="connsiteY271" fmla="*/ 305943 h 647509"/>
                <a:gd name="connsiteX272" fmla="*/ 161449 w 835437"/>
                <a:gd name="connsiteY272" fmla="*/ 310610 h 647509"/>
                <a:gd name="connsiteX273" fmla="*/ 168212 w 835437"/>
                <a:gd name="connsiteY273" fmla="*/ 312992 h 647509"/>
                <a:gd name="connsiteX274" fmla="*/ 165259 w 835437"/>
                <a:gd name="connsiteY274" fmla="*/ 314992 h 647509"/>
                <a:gd name="connsiteX275" fmla="*/ 152210 w 835437"/>
                <a:gd name="connsiteY275" fmla="*/ 313373 h 647509"/>
                <a:gd name="connsiteX276" fmla="*/ 143732 w 835437"/>
                <a:gd name="connsiteY276" fmla="*/ 309658 h 647509"/>
                <a:gd name="connsiteX277" fmla="*/ 138970 w 835437"/>
                <a:gd name="connsiteY277" fmla="*/ 310325 h 647509"/>
                <a:gd name="connsiteX278" fmla="*/ 135446 w 835437"/>
                <a:gd name="connsiteY278" fmla="*/ 307562 h 647509"/>
                <a:gd name="connsiteX279" fmla="*/ 137732 w 835437"/>
                <a:gd name="connsiteY279" fmla="*/ 300800 h 647509"/>
                <a:gd name="connsiteX280" fmla="*/ 135636 w 835437"/>
                <a:gd name="connsiteY280" fmla="*/ 296323 h 647509"/>
                <a:gd name="connsiteX281" fmla="*/ 132683 w 835437"/>
                <a:gd name="connsiteY281" fmla="*/ 298228 h 647509"/>
                <a:gd name="connsiteX282" fmla="*/ 131826 w 835437"/>
                <a:gd name="connsiteY282" fmla="*/ 291941 h 647509"/>
                <a:gd name="connsiteX283" fmla="*/ 128873 w 835437"/>
                <a:gd name="connsiteY283" fmla="*/ 293942 h 647509"/>
                <a:gd name="connsiteX284" fmla="*/ 126683 w 835437"/>
                <a:gd name="connsiteY284" fmla="*/ 289369 h 647509"/>
                <a:gd name="connsiteX285" fmla="*/ 126111 w 835437"/>
                <a:gd name="connsiteY285" fmla="*/ 284702 h 647509"/>
                <a:gd name="connsiteX286" fmla="*/ 127254 w 835437"/>
                <a:gd name="connsiteY286" fmla="*/ 281273 h 647509"/>
                <a:gd name="connsiteX287" fmla="*/ 134969 w 835437"/>
                <a:gd name="connsiteY287" fmla="*/ 278702 h 647509"/>
                <a:gd name="connsiteX288" fmla="*/ 136112 w 835437"/>
                <a:gd name="connsiteY288" fmla="*/ 275368 h 647509"/>
                <a:gd name="connsiteX289" fmla="*/ 132779 w 835437"/>
                <a:gd name="connsiteY289" fmla="*/ 274225 h 647509"/>
                <a:gd name="connsiteX290" fmla="*/ 135541 w 835437"/>
                <a:gd name="connsiteY290" fmla="*/ 270605 h 647509"/>
                <a:gd name="connsiteX291" fmla="*/ 130969 w 835437"/>
                <a:gd name="connsiteY291" fmla="*/ 272796 h 647509"/>
                <a:gd name="connsiteX292" fmla="*/ 131731 w 835437"/>
                <a:gd name="connsiteY292" fmla="*/ 266319 h 647509"/>
                <a:gd name="connsiteX293" fmla="*/ 138875 w 835437"/>
                <a:gd name="connsiteY293" fmla="*/ 258985 h 647509"/>
                <a:gd name="connsiteX294" fmla="*/ 133541 w 835437"/>
                <a:gd name="connsiteY294" fmla="*/ 254889 h 647509"/>
                <a:gd name="connsiteX295" fmla="*/ 128778 w 835437"/>
                <a:gd name="connsiteY295" fmla="*/ 255461 h 647509"/>
                <a:gd name="connsiteX296" fmla="*/ 131731 w 835437"/>
                <a:gd name="connsiteY296" fmla="*/ 253460 h 647509"/>
                <a:gd name="connsiteX297" fmla="*/ 130207 w 835437"/>
                <a:gd name="connsiteY297" fmla="*/ 253651 h 647509"/>
                <a:gd name="connsiteX298" fmla="*/ 134874 w 835437"/>
                <a:gd name="connsiteY298" fmla="*/ 253079 h 647509"/>
                <a:gd name="connsiteX299" fmla="*/ 127159 w 835437"/>
                <a:gd name="connsiteY299" fmla="*/ 242792 h 647509"/>
                <a:gd name="connsiteX300" fmla="*/ 121063 w 835437"/>
                <a:gd name="connsiteY300" fmla="*/ 245173 h 647509"/>
                <a:gd name="connsiteX301" fmla="*/ 118872 w 835437"/>
                <a:gd name="connsiteY301" fmla="*/ 240697 h 647509"/>
                <a:gd name="connsiteX302" fmla="*/ 112014 w 835437"/>
                <a:gd name="connsiteY302" fmla="*/ 236792 h 647509"/>
                <a:gd name="connsiteX303" fmla="*/ 111347 w 835437"/>
                <a:gd name="connsiteY303" fmla="*/ 232029 h 647509"/>
                <a:gd name="connsiteX304" fmla="*/ 102680 w 835437"/>
                <a:gd name="connsiteY304" fmla="*/ 226695 h 647509"/>
                <a:gd name="connsiteX305" fmla="*/ 105442 w 835437"/>
                <a:gd name="connsiteY305" fmla="*/ 223171 h 647509"/>
                <a:gd name="connsiteX306" fmla="*/ 109538 w 835437"/>
                <a:gd name="connsiteY306" fmla="*/ 217837 h 647509"/>
                <a:gd name="connsiteX307" fmla="*/ 107347 w 835437"/>
                <a:gd name="connsiteY307" fmla="*/ 213265 h 647509"/>
                <a:gd name="connsiteX308" fmla="*/ 111157 w 835437"/>
                <a:gd name="connsiteY308" fmla="*/ 217646 h 647509"/>
                <a:gd name="connsiteX309" fmla="*/ 114872 w 835437"/>
                <a:gd name="connsiteY309" fmla="*/ 221932 h 647509"/>
                <a:gd name="connsiteX310" fmla="*/ 116491 w 835437"/>
                <a:gd name="connsiteY310" fmla="*/ 221742 h 647509"/>
                <a:gd name="connsiteX311" fmla="*/ 121634 w 835437"/>
                <a:gd name="connsiteY311" fmla="*/ 224314 h 647509"/>
                <a:gd name="connsiteX312" fmla="*/ 119444 w 835437"/>
                <a:gd name="connsiteY312" fmla="*/ 219742 h 647509"/>
                <a:gd name="connsiteX313" fmla="*/ 120206 w 835437"/>
                <a:gd name="connsiteY313" fmla="*/ 213265 h 647509"/>
                <a:gd name="connsiteX314" fmla="*/ 118205 w 835437"/>
                <a:gd name="connsiteY314" fmla="*/ 210312 h 647509"/>
                <a:gd name="connsiteX315" fmla="*/ 113633 w 835437"/>
                <a:gd name="connsiteY315" fmla="*/ 199644 h 647509"/>
                <a:gd name="connsiteX316" fmla="*/ 109157 w 835437"/>
                <a:gd name="connsiteY316" fmla="*/ 201835 h 647509"/>
                <a:gd name="connsiteX317" fmla="*/ 101060 w 835437"/>
                <a:gd name="connsiteY317" fmla="*/ 201263 h 647509"/>
                <a:gd name="connsiteX318" fmla="*/ 97441 w 835437"/>
                <a:gd name="connsiteY318" fmla="*/ 198501 h 647509"/>
                <a:gd name="connsiteX319" fmla="*/ 86392 w 835437"/>
                <a:gd name="connsiteY319" fmla="*/ 199930 h 647509"/>
                <a:gd name="connsiteX320" fmla="*/ 77724 w 835437"/>
                <a:gd name="connsiteY320" fmla="*/ 194596 h 647509"/>
                <a:gd name="connsiteX321" fmla="*/ 78867 w 835437"/>
                <a:gd name="connsiteY321" fmla="*/ 191262 h 647509"/>
                <a:gd name="connsiteX322" fmla="*/ 78677 w 835437"/>
                <a:gd name="connsiteY322" fmla="*/ 176879 h 647509"/>
                <a:gd name="connsiteX323" fmla="*/ 74962 w 835437"/>
                <a:gd name="connsiteY323" fmla="*/ 172498 h 647509"/>
                <a:gd name="connsiteX324" fmla="*/ 78867 w 835437"/>
                <a:gd name="connsiteY324" fmla="*/ 152781 h 647509"/>
                <a:gd name="connsiteX325" fmla="*/ 76105 w 835437"/>
                <a:gd name="connsiteY325" fmla="*/ 156305 h 647509"/>
                <a:gd name="connsiteX326" fmla="*/ 73914 w 835437"/>
                <a:gd name="connsiteY326" fmla="*/ 151829 h 647509"/>
                <a:gd name="connsiteX327" fmla="*/ 68771 w 835437"/>
                <a:gd name="connsiteY327" fmla="*/ 149257 h 647509"/>
                <a:gd name="connsiteX328" fmla="*/ 66580 w 835437"/>
                <a:gd name="connsiteY328" fmla="*/ 144685 h 647509"/>
                <a:gd name="connsiteX329" fmla="*/ 67342 w 835437"/>
                <a:gd name="connsiteY329" fmla="*/ 138208 h 647509"/>
                <a:gd name="connsiteX330" fmla="*/ 52959 w 835437"/>
                <a:gd name="connsiteY330" fmla="*/ 138398 h 647509"/>
                <a:gd name="connsiteX331" fmla="*/ 41529 w 835437"/>
                <a:gd name="connsiteY331" fmla="*/ 136684 h 647509"/>
                <a:gd name="connsiteX332" fmla="*/ 29051 w 835437"/>
                <a:gd name="connsiteY332" fmla="*/ 139827 h 647509"/>
                <a:gd name="connsiteX333" fmla="*/ 26289 w 835437"/>
                <a:gd name="connsiteY333" fmla="*/ 143446 h 647509"/>
                <a:gd name="connsiteX334" fmla="*/ 18193 w 835437"/>
                <a:gd name="connsiteY334" fmla="*/ 142875 h 647509"/>
                <a:gd name="connsiteX335" fmla="*/ 19240 w 835437"/>
                <a:gd name="connsiteY335" fmla="*/ 137922 h 647509"/>
                <a:gd name="connsiteX336" fmla="*/ 16002 w 835437"/>
                <a:gd name="connsiteY336" fmla="*/ 138303 h 647509"/>
                <a:gd name="connsiteX337" fmla="*/ 14097 w 835437"/>
                <a:gd name="connsiteY337" fmla="*/ 135350 h 647509"/>
                <a:gd name="connsiteX338" fmla="*/ 8382 w 835437"/>
                <a:gd name="connsiteY338" fmla="*/ 140875 h 647509"/>
                <a:gd name="connsiteX339" fmla="*/ 12097 w 835437"/>
                <a:gd name="connsiteY339" fmla="*/ 145256 h 647509"/>
                <a:gd name="connsiteX340" fmla="*/ 18669 w 835437"/>
                <a:gd name="connsiteY340" fmla="*/ 146018 h 647509"/>
                <a:gd name="connsiteX341" fmla="*/ 25908 w 835437"/>
                <a:gd name="connsiteY341" fmla="*/ 153067 h 647509"/>
                <a:gd name="connsiteX342" fmla="*/ 26384 w 835437"/>
                <a:gd name="connsiteY342" fmla="*/ 156305 h 647509"/>
                <a:gd name="connsiteX343" fmla="*/ 22193 w 835437"/>
                <a:gd name="connsiteY343" fmla="*/ 161639 h 647509"/>
                <a:gd name="connsiteX344" fmla="*/ 23432 w 835437"/>
                <a:gd name="connsiteY344" fmla="*/ 171069 h 647509"/>
                <a:gd name="connsiteX345" fmla="*/ 32671 w 835437"/>
                <a:gd name="connsiteY345" fmla="*/ 181070 h 647509"/>
                <a:gd name="connsiteX346" fmla="*/ 33147 w 835437"/>
                <a:gd name="connsiteY346" fmla="*/ 184213 h 647509"/>
                <a:gd name="connsiteX347" fmla="*/ 35052 w 835437"/>
                <a:gd name="connsiteY347" fmla="*/ 187166 h 647509"/>
                <a:gd name="connsiteX348" fmla="*/ 33909 w 835437"/>
                <a:gd name="connsiteY348" fmla="*/ 190595 h 647509"/>
                <a:gd name="connsiteX349" fmla="*/ 25051 w 835437"/>
                <a:gd name="connsiteY349" fmla="*/ 196501 h 647509"/>
                <a:gd name="connsiteX350" fmla="*/ 21908 w 835437"/>
                <a:gd name="connsiteY350" fmla="*/ 196882 h 647509"/>
                <a:gd name="connsiteX351" fmla="*/ 20479 w 835437"/>
                <a:gd name="connsiteY351" fmla="*/ 198692 h 647509"/>
                <a:gd name="connsiteX352" fmla="*/ 15621 w 835437"/>
                <a:gd name="connsiteY352" fmla="*/ 197739 h 647509"/>
                <a:gd name="connsiteX353" fmla="*/ 11240 w 835437"/>
                <a:gd name="connsiteY353" fmla="*/ 201454 h 647509"/>
                <a:gd name="connsiteX354" fmla="*/ 5144 w 835437"/>
                <a:gd name="connsiteY354" fmla="*/ 203835 h 647509"/>
                <a:gd name="connsiteX355" fmla="*/ 8858 w 835437"/>
                <a:gd name="connsiteY355" fmla="*/ 208217 h 647509"/>
                <a:gd name="connsiteX356" fmla="*/ 7715 w 835437"/>
                <a:gd name="connsiteY356" fmla="*/ 211550 h 647509"/>
                <a:gd name="connsiteX357" fmla="*/ 6382 w 835437"/>
                <a:gd name="connsiteY357" fmla="*/ 213360 h 647509"/>
                <a:gd name="connsiteX358" fmla="*/ 0 w 835437"/>
                <a:gd name="connsiteY358" fmla="*/ 214122 h 647509"/>
                <a:gd name="connsiteX359" fmla="*/ 476 w 835437"/>
                <a:gd name="connsiteY359" fmla="*/ 217265 h 647509"/>
                <a:gd name="connsiteX360" fmla="*/ 6001 w 835437"/>
                <a:gd name="connsiteY360" fmla="*/ 222980 h 647509"/>
                <a:gd name="connsiteX361" fmla="*/ 10668 w 835437"/>
                <a:gd name="connsiteY361" fmla="*/ 222409 h 647509"/>
                <a:gd name="connsiteX362" fmla="*/ 11906 w 835437"/>
                <a:gd name="connsiteY362" fmla="*/ 231838 h 647509"/>
                <a:gd name="connsiteX363" fmla="*/ 24003 w 835437"/>
                <a:gd name="connsiteY363" fmla="*/ 238315 h 647509"/>
                <a:gd name="connsiteX364" fmla="*/ 34004 w 835437"/>
                <a:gd name="connsiteY364" fmla="*/ 241840 h 647509"/>
                <a:gd name="connsiteX365" fmla="*/ 35243 w 835437"/>
                <a:gd name="connsiteY365" fmla="*/ 238506 h 647509"/>
                <a:gd name="connsiteX366" fmla="*/ 41339 w 835437"/>
                <a:gd name="connsiteY366" fmla="*/ 236125 h 647509"/>
                <a:gd name="connsiteX367" fmla="*/ 41529 w 835437"/>
                <a:gd name="connsiteY367" fmla="*/ 237744 h 647509"/>
                <a:gd name="connsiteX368" fmla="*/ 35624 w 835437"/>
                <a:gd name="connsiteY368" fmla="*/ 241649 h 647509"/>
                <a:gd name="connsiteX369" fmla="*/ 42291 w 835437"/>
                <a:gd name="connsiteY369" fmla="*/ 244031 h 647509"/>
                <a:gd name="connsiteX370" fmla="*/ 45911 w 835437"/>
                <a:gd name="connsiteY370" fmla="*/ 246793 h 647509"/>
                <a:gd name="connsiteX371" fmla="*/ 45911 w 835437"/>
                <a:gd name="connsiteY371" fmla="*/ 246793 h 647509"/>
                <a:gd name="connsiteX372" fmla="*/ 44672 w 835437"/>
                <a:gd name="connsiteY372" fmla="*/ 250127 h 647509"/>
                <a:gd name="connsiteX373" fmla="*/ 47911 w 835437"/>
                <a:gd name="connsiteY373" fmla="*/ 249746 h 647509"/>
                <a:gd name="connsiteX374" fmla="*/ 46863 w 835437"/>
                <a:gd name="connsiteY374" fmla="*/ 254698 h 647509"/>
                <a:gd name="connsiteX375" fmla="*/ 48673 w 835437"/>
                <a:gd name="connsiteY375" fmla="*/ 256032 h 647509"/>
                <a:gd name="connsiteX376" fmla="*/ 44577 w 835437"/>
                <a:gd name="connsiteY376" fmla="*/ 261366 h 647509"/>
                <a:gd name="connsiteX377" fmla="*/ 46482 w 835437"/>
                <a:gd name="connsiteY377" fmla="*/ 264319 h 647509"/>
                <a:gd name="connsiteX378" fmla="*/ 49435 w 835437"/>
                <a:gd name="connsiteY378" fmla="*/ 262319 h 647509"/>
                <a:gd name="connsiteX379" fmla="*/ 57531 w 835437"/>
                <a:gd name="connsiteY379" fmla="*/ 262890 h 647509"/>
                <a:gd name="connsiteX380" fmla="*/ 58769 w 835437"/>
                <a:gd name="connsiteY380" fmla="*/ 272415 h 647509"/>
                <a:gd name="connsiteX381" fmla="*/ 61913 w 835437"/>
                <a:gd name="connsiteY381" fmla="*/ 272034 h 647509"/>
                <a:gd name="connsiteX382" fmla="*/ 62103 w 835437"/>
                <a:gd name="connsiteY382" fmla="*/ 273558 h 647509"/>
                <a:gd name="connsiteX383" fmla="*/ 63913 w 835437"/>
                <a:gd name="connsiteY383" fmla="*/ 274987 h 647509"/>
                <a:gd name="connsiteX384" fmla="*/ 60960 w 835437"/>
                <a:gd name="connsiteY384" fmla="*/ 276892 h 647509"/>
                <a:gd name="connsiteX385" fmla="*/ 61151 w 835437"/>
                <a:gd name="connsiteY385" fmla="*/ 278511 h 647509"/>
                <a:gd name="connsiteX386" fmla="*/ 65913 w 835437"/>
                <a:gd name="connsiteY386" fmla="*/ 277940 h 647509"/>
                <a:gd name="connsiteX387" fmla="*/ 67913 w 835437"/>
                <a:gd name="connsiteY387" fmla="*/ 280892 h 647509"/>
                <a:gd name="connsiteX388" fmla="*/ 71057 w 835437"/>
                <a:gd name="connsiteY388" fmla="*/ 280511 h 647509"/>
                <a:gd name="connsiteX389" fmla="*/ 66294 w 835437"/>
                <a:gd name="connsiteY389" fmla="*/ 281083 h 647509"/>
                <a:gd name="connsiteX390" fmla="*/ 65151 w 835437"/>
                <a:gd name="connsiteY390" fmla="*/ 284417 h 647509"/>
                <a:gd name="connsiteX391" fmla="*/ 74200 w 835437"/>
                <a:gd name="connsiteY391" fmla="*/ 292894 h 647509"/>
                <a:gd name="connsiteX392" fmla="*/ 75438 w 835437"/>
                <a:gd name="connsiteY392" fmla="*/ 302323 h 647509"/>
                <a:gd name="connsiteX393" fmla="*/ 77819 w 835437"/>
                <a:gd name="connsiteY393" fmla="*/ 308419 h 647509"/>
                <a:gd name="connsiteX394" fmla="*/ 78200 w 835437"/>
                <a:gd name="connsiteY394" fmla="*/ 311658 h 647509"/>
                <a:gd name="connsiteX395" fmla="*/ 76867 w 835437"/>
                <a:gd name="connsiteY395" fmla="*/ 313373 h 647509"/>
                <a:gd name="connsiteX396" fmla="*/ 83534 w 835437"/>
                <a:gd name="connsiteY396" fmla="*/ 315754 h 647509"/>
                <a:gd name="connsiteX397" fmla="*/ 79820 w 835437"/>
                <a:gd name="connsiteY397" fmla="*/ 324231 h 647509"/>
                <a:gd name="connsiteX398" fmla="*/ 71342 w 835437"/>
                <a:gd name="connsiteY398" fmla="*/ 333375 h 647509"/>
                <a:gd name="connsiteX399" fmla="*/ 73152 w 835437"/>
                <a:gd name="connsiteY399" fmla="*/ 334709 h 647509"/>
                <a:gd name="connsiteX400" fmla="*/ 73724 w 835437"/>
                <a:gd name="connsiteY400" fmla="*/ 339471 h 647509"/>
                <a:gd name="connsiteX401" fmla="*/ 67628 w 835437"/>
                <a:gd name="connsiteY401" fmla="*/ 341852 h 647509"/>
                <a:gd name="connsiteX402" fmla="*/ 66675 w 835437"/>
                <a:gd name="connsiteY402" fmla="*/ 346805 h 647509"/>
                <a:gd name="connsiteX403" fmla="*/ 68866 w 835437"/>
                <a:gd name="connsiteY403" fmla="*/ 351282 h 647509"/>
                <a:gd name="connsiteX404" fmla="*/ 69247 w 835437"/>
                <a:gd name="connsiteY404" fmla="*/ 367284 h 647509"/>
                <a:gd name="connsiteX405" fmla="*/ 71819 w 835437"/>
                <a:gd name="connsiteY405" fmla="*/ 374999 h 647509"/>
                <a:gd name="connsiteX406" fmla="*/ 70866 w 835437"/>
                <a:gd name="connsiteY406" fmla="*/ 379952 h 647509"/>
                <a:gd name="connsiteX407" fmla="*/ 74866 w 835437"/>
                <a:gd name="connsiteY407" fmla="*/ 385858 h 647509"/>
                <a:gd name="connsiteX408" fmla="*/ 77248 w 835437"/>
                <a:gd name="connsiteY408" fmla="*/ 391954 h 647509"/>
                <a:gd name="connsiteX409" fmla="*/ 85154 w 835437"/>
                <a:gd name="connsiteY409" fmla="*/ 390906 h 647509"/>
                <a:gd name="connsiteX410" fmla="*/ 90011 w 835437"/>
                <a:gd name="connsiteY410" fmla="*/ 391954 h 647509"/>
                <a:gd name="connsiteX411" fmla="*/ 87535 w 835437"/>
                <a:gd name="connsiteY411" fmla="*/ 397002 h 647509"/>
                <a:gd name="connsiteX412" fmla="*/ 91250 w 835437"/>
                <a:gd name="connsiteY412" fmla="*/ 401384 h 647509"/>
                <a:gd name="connsiteX413" fmla="*/ 97346 w 835437"/>
                <a:gd name="connsiteY413" fmla="*/ 399002 h 647509"/>
                <a:gd name="connsiteX414" fmla="*/ 100489 w 835437"/>
                <a:gd name="connsiteY414" fmla="*/ 398621 h 647509"/>
                <a:gd name="connsiteX415" fmla="*/ 100965 w 835437"/>
                <a:gd name="connsiteY415" fmla="*/ 401765 h 647509"/>
                <a:gd name="connsiteX416" fmla="*/ 101346 w 835437"/>
                <a:gd name="connsiteY416" fmla="*/ 404908 h 647509"/>
                <a:gd name="connsiteX417" fmla="*/ 106299 w 835437"/>
                <a:gd name="connsiteY417" fmla="*/ 405860 h 647509"/>
                <a:gd name="connsiteX418" fmla="*/ 106871 w 835437"/>
                <a:gd name="connsiteY418" fmla="*/ 410623 h 647509"/>
                <a:gd name="connsiteX419" fmla="*/ 110395 w 835437"/>
                <a:gd name="connsiteY419" fmla="*/ 413385 h 647509"/>
                <a:gd name="connsiteX420" fmla="*/ 114395 w 835437"/>
                <a:gd name="connsiteY420" fmla="*/ 419290 h 647509"/>
                <a:gd name="connsiteX421" fmla="*/ 121253 w 835437"/>
                <a:gd name="connsiteY421" fmla="*/ 423196 h 647509"/>
                <a:gd name="connsiteX422" fmla="*/ 110300 w 835437"/>
                <a:gd name="connsiteY422" fmla="*/ 437388 h 647509"/>
                <a:gd name="connsiteX423" fmla="*/ 111062 w 835437"/>
                <a:gd name="connsiteY423" fmla="*/ 443770 h 647509"/>
                <a:gd name="connsiteX424" fmla="*/ 116967 w 835437"/>
                <a:gd name="connsiteY424" fmla="*/ 439769 h 647509"/>
                <a:gd name="connsiteX425" fmla="*/ 122777 w 835437"/>
                <a:gd name="connsiteY425" fmla="*/ 447104 h 647509"/>
                <a:gd name="connsiteX426" fmla="*/ 136779 w 835437"/>
                <a:gd name="connsiteY426" fmla="*/ 443675 h 647509"/>
                <a:gd name="connsiteX427" fmla="*/ 146780 w 835437"/>
                <a:gd name="connsiteY427" fmla="*/ 447199 h 647509"/>
                <a:gd name="connsiteX428" fmla="*/ 148971 w 835437"/>
                <a:gd name="connsiteY428" fmla="*/ 451771 h 647509"/>
                <a:gd name="connsiteX429" fmla="*/ 150590 w 835437"/>
                <a:gd name="connsiteY429" fmla="*/ 451580 h 647509"/>
                <a:gd name="connsiteX430" fmla="*/ 150971 w 835437"/>
                <a:gd name="connsiteY430" fmla="*/ 454723 h 647509"/>
                <a:gd name="connsiteX431" fmla="*/ 149828 w 835437"/>
                <a:gd name="connsiteY431" fmla="*/ 458057 h 647509"/>
                <a:gd name="connsiteX432" fmla="*/ 154115 w 835437"/>
                <a:gd name="connsiteY432" fmla="*/ 467106 h 647509"/>
                <a:gd name="connsiteX433" fmla="*/ 154972 w 835437"/>
                <a:gd name="connsiteY433" fmla="*/ 473392 h 647509"/>
                <a:gd name="connsiteX434" fmla="*/ 158306 w 835437"/>
                <a:gd name="connsiteY434" fmla="*/ 474631 h 647509"/>
                <a:gd name="connsiteX435" fmla="*/ 163830 w 835437"/>
                <a:gd name="connsiteY435" fmla="*/ 467487 h 647509"/>
                <a:gd name="connsiteX436" fmla="*/ 168783 w 835437"/>
                <a:gd name="connsiteY436" fmla="*/ 468440 h 647509"/>
                <a:gd name="connsiteX437" fmla="*/ 170783 w 835437"/>
                <a:gd name="connsiteY437" fmla="*/ 471392 h 647509"/>
                <a:gd name="connsiteX438" fmla="*/ 171355 w 835437"/>
                <a:gd name="connsiteY438" fmla="*/ 476155 h 647509"/>
                <a:gd name="connsiteX439" fmla="*/ 182404 w 835437"/>
                <a:gd name="connsiteY439" fmla="*/ 487585 h 647509"/>
                <a:gd name="connsiteX440" fmla="*/ 184785 w 835437"/>
                <a:gd name="connsiteY440" fmla="*/ 493681 h 647509"/>
                <a:gd name="connsiteX441" fmla="*/ 190881 w 835437"/>
                <a:gd name="connsiteY441" fmla="*/ 491300 h 647509"/>
                <a:gd name="connsiteX442" fmla="*/ 191548 w 835437"/>
                <a:gd name="connsiteY442" fmla="*/ 496062 h 647509"/>
                <a:gd name="connsiteX443" fmla="*/ 196691 w 835437"/>
                <a:gd name="connsiteY443" fmla="*/ 498634 h 647509"/>
                <a:gd name="connsiteX444" fmla="*/ 207740 w 835437"/>
                <a:gd name="connsiteY444" fmla="*/ 497205 h 647509"/>
                <a:gd name="connsiteX445" fmla="*/ 207931 w 835437"/>
                <a:gd name="connsiteY445" fmla="*/ 498729 h 647509"/>
                <a:gd name="connsiteX446" fmla="*/ 203740 w 835437"/>
                <a:gd name="connsiteY446" fmla="*/ 504063 h 647509"/>
                <a:gd name="connsiteX447" fmla="*/ 208693 w 835437"/>
                <a:gd name="connsiteY447" fmla="*/ 505111 h 647509"/>
                <a:gd name="connsiteX448" fmla="*/ 207550 w 835437"/>
                <a:gd name="connsiteY448" fmla="*/ 508444 h 647509"/>
                <a:gd name="connsiteX449" fmla="*/ 218789 w 835437"/>
                <a:gd name="connsiteY449" fmla="*/ 508635 h 647509"/>
                <a:gd name="connsiteX450" fmla="*/ 222504 w 835437"/>
                <a:gd name="connsiteY450" fmla="*/ 512921 h 647509"/>
                <a:gd name="connsiteX451" fmla="*/ 227267 w 835437"/>
                <a:gd name="connsiteY451" fmla="*/ 512350 h 647509"/>
                <a:gd name="connsiteX452" fmla="*/ 231077 w 835437"/>
                <a:gd name="connsiteY452" fmla="*/ 516636 h 647509"/>
                <a:gd name="connsiteX453" fmla="*/ 230029 w 835437"/>
                <a:gd name="connsiteY453" fmla="*/ 521589 h 647509"/>
                <a:gd name="connsiteX454" fmla="*/ 224123 w 835437"/>
                <a:gd name="connsiteY454" fmla="*/ 525590 h 647509"/>
                <a:gd name="connsiteX455" fmla="*/ 227743 w 835437"/>
                <a:gd name="connsiteY455" fmla="*/ 528352 h 647509"/>
                <a:gd name="connsiteX456" fmla="*/ 226695 w 835437"/>
                <a:gd name="connsiteY456" fmla="*/ 533209 h 647509"/>
                <a:gd name="connsiteX457" fmla="*/ 234410 w 835437"/>
                <a:gd name="connsiteY457" fmla="*/ 530638 h 647509"/>
                <a:gd name="connsiteX458" fmla="*/ 237173 w 835437"/>
                <a:gd name="connsiteY458" fmla="*/ 527113 h 647509"/>
                <a:gd name="connsiteX459" fmla="*/ 243269 w 835437"/>
                <a:gd name="connsiteY459" fmla="*/ 524732 h 647509"/>
                <a:gd name="connsiteX460" fmla="*/ 244697 w 835437"/>
                <a:gd name="connsiteY460" fmla="*/ 522923 h 647509"/>
                <a:gd name="connsiteX461" fmla="*/ 247841 w 835437"/>
                <a:gd name="connsiteY461" fmla="*/ 522542 h 647509"/>
                <a:gd name="connsiteX462" fmla="*/ 254699 w 835437"/>
                <a:gd name="connsiteY462" fmla="*/ 526447 h 647509"/>
                <a:gd name="connsiteX463" fmla="*/ 253556 w 835437"/>
                <a:gd name="connsiteY463" fmla="*/ 529876 h 647509"/>
                <a:gd name="connsiteX464" fmla="*/ 259271 w 835437"/>
                <a:gd name="connsiteY464" fmla="*/ 537115 h 647509"/>
                <a:gd name="connsiteX465" fmla="*/ 267557 w 835437"/>
                <a:gd name="connsiteY465" fmla="*/ 539306 h 647509"/>
                <a:gd name="connsiteX466" fmla="*/ 273558 w 835437"/>
                <a:gd name="connsiteY466" fmla="*/ 548164 h 647509"/>
                <a:gd name="connsiteX467" fmla="*/ 270796 w 835437"/>
                <a:gd name="connsiteY467" fmla="*/ 551688 h 647509"/>
                <a:gd name="connsiteX468" fmla="*/ 267462 w 835437"/>
                <a:gd name="connsiteY468" fmla="*/ 563309 h 647509"/>
                <a:gd name="connsiteX469" fmla="*/ 261176 w 835437"/>
                <a:gd name="connsiteY469" fmla="*/ 564166 h 647509"/>
                <a:gd name="connsiteX470" fmla="*/ 259747 w 835437"/>
                <a:gd name="connsiteY470" fmla="*/ 565976 h 647509"/>
                <a:gd name="connsiteX471" fmla="*/ 252889 w 835437"/>
                <a:gd name="connsiteY471" fmla="*/ 574834 h 647509"/>
                <a:gd name="connsiteX472" fmla="*/ 253460 w 835437"/>
                <a:gd name="connsiteY472" fmla="*/ 579596 h 647509"/>
                <a:gd name="connsiteX473" fmla="*/ 258032 w 835437"/>
                <a:gd name="connsiteY473" fmla="*/ 590169 h 647509"/>
                <a:gd name="connsiteX474" fmla="*/ 269272 w 835437"/>
                <a:gd name="connsiteY474" fmla="*/ 590360 h 647509"/>
                <a:gd name="connsiteX475" fmla="*/ 268129 w 835437"/>
                <a:gd name="connsiteY475" fmla="*/ 593693 h 647509"/>
                <a:gd name="connsiteX476" fmla="*/ 271272 w 835437"/>
                <a:gd name="connsiteY476" fmla="*/ 593312 h 647509"/>
                <a:gd name="connsiteX477" fmla="*/ 274987 w 835437"/>
                <a:gd name="connsiteY477" fmla="*/ 597694 h 647509"/>
                <a:gd name="connsiteX478" fmla="*/ 281940 w 835437"/>
                <a:gd name="connsiteY478" fmla="*/ 601599 h 647509"/>
                <a:gd name="connsiteX479" fmla="*/ 289846 w 835437"/>
                <a:gd name="connsiteY479" fmla="*/ 600551 h 647509"/>
                <a:gd name="connsiteX480" fmla="*/ 296704 w 835437"/>
                <a:gd name="connsiteY480" fmla="*/ 604552 h 647509"/>
                <a:gd name="connsiteX481" fmla="*/ 303467 w 835437"/>
                <a:gd name="connsiteY481" fmla="*/ 606838 h 647509"/>
                <a:gd name="connsiteX482" fmla="*/ 305467 w 835437"/>
                <a:gd name="connsiteY482" fmla="*/ 609790 h 647509"/>
                <a:gd name="connsiteX483" fmla="*/ 307658 w 835437"/>
                <a:gd name="connsiteY483" fmla="*/ 627221 h 647509"/>
                <a:gd name="connsiteX484" fmla="*/ 317754 w 835437"/>
                <a:gd name="connsiteY484" fmla="*/ 630745 h 647509"/>
                <a:gd name="connsiteX485" fmla="*/ 328803 w 835437"/>
                <a:gd name="connsiteY485" fmla="*/ 629317 h 647509"/>
                <a:gd name="connsiteX486" fmla="*/ 335852 w 835437"/>
                <a:gd name="connsiteY486" fmla="*/ 634841 h 647509"/>
                <a:gd name="connsiteX487" fmla="*/ 338519 w 835437"/>
                <a:gd name="connsiteY487" fmla="*/ 642461 h 647509"/>
                <a:gd name="connsiteX488" fmla="*/ 342424 w 835437"/>
                <a:gd name="connsiteY488" fmla="*/ 635603 h 647509"/>
                <a:gd name="connsiteX489" fmla="*/ 349091 w 835437"/>
                <a:gd name="connsiteY489" fmla="*/ 637889 h 647509"/>
                <a:gd name="connsiteX490" fmla="*/ 349282 w 835437"/>
                <a:gd name="connsiteY490" fmla="*/ 626650 h 647509"/>
                <a:gd name="connsiteX491" fmla="*/ 352235 w 835437"/>
                <a:gd name="connsiteY491" fmla="*/ 624745 h 647509"/>
                <a:gd name="connsiteX492" fmla="*/ 356997 w 835437"/>
                <a:gd name="connsiteY492" fmla="*/ 624078 h 647509"/>
                <a:gd name="connsiteX493" fmla="*/ 356616 w 835437"/>
                <a:gd name="connsiteY493" fmla="*/ 620935 h 647509"/>
                <a:gd name="connsiteX494" fmla="*/ 359950 w 835437"/>
                <a:gd name="connsiteY494" fmla="*/ 622173 h 647509"/>
                <a:gd name="connsiteX495" fmla="*/ 359569 w 835437"/>
                <a:gd name="connsiteY495" fmla="*/ 618935 h 647509"/>
                <a:gd name="connsiteX496" fmla="*/ 373761 w 835437"/>
                <a:gd name="connsiteY496" fmla="*/ 617125 h 647509"/>
                <a:gd name="connsiteX497" fmla="*/ 383762 w 835437"/>
                <a:gd name="connsiteY497" fmla="*/ 620649 h 647509"/>
                <a:gd name="connsiteX498" fmla="*/ 389382 w 835437"/>
                <a:gd name="connsiteY498" fmla="*/ 626364 h 647509"/>
                <a:gd name="connsiteX499" fmla="*/ 391192 w 835437"/>
                <a:gd name="connsiteY499" fmla="*/ 640652 h 647509"/>
                <a:gd name="connsiteX500" fmla="*/ 393097 w 835437"/>
                <a:gd name="connsiteY500" fmla="*/ 643604 h 647509"/>
                <a:gd name="connsiteX501" fmla="*/ 391763 w 835437"/>
                <a:gd name="connsiteY501" fmla="*/ 645319 h 647509"/>
                <a:gd name="connsiteX502" fmla="*/ 400050 w 835437"/>
                <a:gd name="connsiteY502" fmla="*/ 647510 h 647509"/>
                <a:gd name="connsiteX503" fmla="*/ 399479 w 835437"/>
                <a:gd name="connsiteY503" fmla="*/ 642747 h 647509"/>
                <a:gd name="connsiteX504" fmla="*/ 398050 w 835437"/>
                <a:gd name="connsiteY504" fmla="*/ 631698 h 647509"/>
                <a:gd name="connsiteX505" fmla="*/ 394526 w 835437"/>
                <a:gd name="connsiteY505" fmla="*/ 628936 h 647509"/>
                <a:gd name="connsiteX506" fmla="*/ 394240 w 835437"/>
                <a:gd name="connsiteY506" fmla="*/ 627412 h 647509"/>
                <a:gd name="connsiteX507" fmla="*/ 406718 w 835437"/>
                <a:gd name="connsiteY507" fmla="*/ 624173 h 647509"/>
                <a:gd name="connsiteX508" fmla="*/ 421100 w 835437"/>
                <a:gd name="connsiteY508" fmla="*/ 623983 h 647509"/>
                <a:gd name="connsiteX509" fmla="*/ 419862 w 835437"/>
                <a:gd name="connsiteY509" fmla="*/ 614458 h 647509"/>
                <a:gd name="connsiteX510" fmla="*/ 414338 w 835437"/>
                <a:gd name="connsiteY510" fmla="*/ 608743 h 647509"/>
                <a:gd name="connsiteX511" fmla="*/ 415766 w 835437"/>
                <a:gd name="connsiteY511" fmla="*/ 607028 h 647509"/>
                <a:gd name="connsiteX512" fmla="*/ 422434 w 835437"/>
                <a:gd name="connsiteY512" fmla="*/ 609314 h 647509"/>
                <a:gd name="connsiteX513" fmla="*/ 429387 w 835437"/>
                <a:gd name="connsiteY513" fmla="*/ 613315 h 647509"/>
                <a:gd name="connsiteX514" fmla="*/ 434150 w 835437"/>
                <a:gd name="connsiteY514" fmla="*/ 612648 h 647509"/>
                <a:gd name="connsiteX515" fmla="*/ 442532 w 835437"/>
                <a:gd name="connsiteY515" fmla="*/ 603599 h 647509"/>
                <a:gd name="connsiteX516" fmla="*/ 443770 w 835437"/>
                <a:gd name="connsiteY516" fmla="*/ 600265 h 647509"/>
                <a:gd name="connsiteX517" fmla="*/ 449104 w 835437"/>
                <a:gd name="connsiteY517" fmla="*/ 604361 h 647509"/>
                <a:gd name="connsiteX518" fmla="*/ 455200 w 835437"/>
                <a:gd name="connsiteY518" fmla="*/ 601980 h 647509"/>
                <a:gd name="connsiteX519" fmla="*/ 456533 w 835437"/>
                <a:gd name="connsiteY519" fmla="*/ 600170 h 647509"/>
                <a:gd name="connsiteX520" fmla="*/ 457962 w 835437"/>
                <a:gd name="connsiteY520" fmla="*/ 598456 h 647509"/>
                <a:gd name="connsiteX521" fmla="*/ 459962 w 835437"/>
                <a:gd name="connsiteY521" fmla="*/ 601408 h 647509"/>
                <a:gd name="connsiteX522" fmla="*/ 463677 w 835437"/>
                <a:gd name="connsiteY522" fmla="*/ 605695 h 647509"/>
                <a:gd name="connsiteX523" fmla="*/ 469392 w 835437"/>
                <a:gd name="connsiteY523" fmla="*/ 600170 h 647509"/>
                <a:gd name="connsiteX524" fmla="*/ 473964 w 835437"/>
                <a:gd name="connsiteY524" fmla="*/ 597980 h 647509"/>
                <a:gd name="connsiteX525" fmla="*/ 474917 w 835437"/>
                <a:gd name="connsiteY525" fmla="*/ 593027 h 647509"/>
                <a:gd name="connsiteX526" fmla="*/ 479870 w 835437"/>
                <a:gd name="connsiteY526" fmla="*/ 593979 h 647509"/>
                <a:gd name="connsiteX527" fmla="*/ 483394 w 835437"/>
                <a:gd name="connsiteY527" fmla="*/ 596741 h 647509"/>
                <a:gd name="connsiteX528" fmla="*/ 489680 w 835437"/>
                <a:gd name="connsiteY528" fmla="*/ 595979 h 647509"/>
                <a:gd name="connsiteX529" fmla="*/ 493109 w 835437"/>
                <a:gd name="connsiteY529" fmla="*/ 597122 h 647509"/>
                <a:gd name="connsiteX530" fmla="*/ 492062 w 835437"/>
                <a:gd name="connsiteY530" fmla="*/ 602075 h 647509"/>
                <a:gd name="connsiteX531" fmla="*/ 495014 w 835437"/>
                <a:gd name="connsiteY531" fmla="*/ 600075 h 647509"/>
                <a:gd name="connsiteX532" fmla="*/ 493871 w 835437"/>
                <a:gd name="connsiteY532" fmla="*/ 603504 h 647509"/>
                <a:gd name="connsiteX533" fmla="*/ 495872 w 835437"/>
                <a:gd name="connsiteY533" fmla="*/ 606457 h 647509"/>
                <a:gd name="connsiteX534" fmla="*/ 499015 w 835437"/>
                <a:gd name="connsiteY534" fmla="*/ 605981 h 647509"/>
                <a:gd name="connsiteX535" fmla="*/ 498634 w 835437"/>
                <a:gd name="connsiteY535" fmla="*/ 602837 h 647509"/>
                <a:gd name="connsiteX536" fmla="*/ 503777 w 835437"/>
                <a:gd name="connsiteY536" fmla="*/ 605409 h 647509"/>
                <a:gd name="connsiteX537" fmla="*/ 509683 w 835437"/>
                <a:gd name="connsiteY537" fmla="*/ 601408 h 647509"/>
                <a:gd name="connsiteX538" fmla="*/ 516731 w 835437"/>
                <a:gd name="connsiteY538" fmla="*/ 606933 h 647509"/>
                <a:gd name="connsiteX539" fmla="*/ 517779 w 835437"/>
                <a:gd name="connsiteY539" fmla="*/ 614839 h 647509"/>
                <a:gd name="connsiteX540" fmla="*/ 520732 w 835437"/>
                <a:gd name="connsiteY540" fmla="*/ 612839 h 647509"/>
                <a:gd name="connsiteX541" fmla="*/ 527018 w 835437"/>
                <a:gd name="connsiteY541" fmla="*/ 612077 h 647509"/>
                <a:gd name="connsiteX542" fmla="*/ 536924 w 835437"/>
                <a:gd name="connsiteY542" fmla="*/ 613982 h 647509"/>
                <a:gd name="connsiteX543" fmla="*/ 543592 w 835437"/>
                <a:gd name="connsiteY543" fmla="*/ 603504 h 647509"/>
                <a:gd name="connsiteX544" fmla="*/ 550069 w 835437"/>
                <a:gd name="connsiteY544" fmla="*/ 604266 h 647509"/>
                <a:gd name="connsiteX545" fmla="*/ 555212 w 835437"/>
                <a:gd name="connsiteY545" fmla="*/ 606838 h 647509"/>
                <a:gd name="connsiteX546" fmla="*/ 555689 w 835437"/>
                <a:gd name="connsiteY546" fmla="*/ 609981 h 647509"/>
                <a:gd name="connsiteX547" fmla="*/ 559403 w 835437"/>
                <a:gd name="connsiteY547" fmla="*/ 614362 h 647509"/>
                <a:gd name="connsiteX548" fmla="*/ 568071 w 835437"/>
                <a:gd name="connsiteY548" fmla="*/ 619697 h 647509"/>
                <a:gd name="connsiteX549" fmla="*/ 571500 w 835437"/>
                <a:gd name="connsiteY549" fmla="*/ 620840 h 647509"/>
                <a:gd name="connsiteX550" fmla="*/ 571310 w 835437"/>
                <a:gd name="connsiteY550" fmla="*/ 619220 h 647509"/>
                <a:gd name="connsiteX551" fmla="*/ 570452 w 835437"/>
                <a:gd name="connsiteY551" fmla="*/ 612934 h 647509"/>
                <a:gd name="connsiteX552" fmla="*/ 577215 w 835437"/>
                <a:gd name="connsiteY552" fmla="*/ 615315 h 647509"/>
                <a:gd name="connsiteX553" fmla="*/ 576929 w 835437"/>
                <a:gd name="connsiteY553" fmla="*/ 613696 h 647509"/>
                <a:gd name="connsiteX554" fmla="*/ 576739 w 835437"/>
                <a:gd name="connsiteY554" fmla="*/ 612172 h 647509"/>
                <a:gd name="connsiteX555" fmla="*/ 579882 w 835437"/>
                <a:gd name="connsiteY555" fmla="*/ 611791 h 647509"/>
                <a:gd name="connsiteX556" fmla="*/ 584073 w 835437"/>
                <a:gd name="connsiteY556" fmla="*/ 606361 h 647509"/>
                <a:gd name="connsiteX557" fmla="*/ 587026 w 835437"/>
                <a:gd name="connsiteY557" fmla="*/ 604457 h 647509"/>
                <a:gd name="connsiteX558" fmla="*/ 589788 w 835437"/>
                <a:gd name="connsiteY558" fmla="*/ 600837 h 647509"/>
                <a:gd name="connsiteX559" fmla="*/ 593122 w 835437"/>
                <a:gd name="connsiteY559" fmla="*/ 602075 h 647509"/>
                <a:gd name="connsiteX560" fmla="*/ 594455 w 835437"/>
                <a:gd name="connsiteY560" fmla="*/ 600265 h 647509"/>
                <a:gd name="connsiteX561" fmla="*/ 598646 w 835437"/>
                <a:gd name="connsiteY561" fmla="*/ 594932 h 647509"/>
                <a:gd name="connsiteX562" fmla="*/ 598075 w 835437"/>
                <a:gd name="connsiteY562" fmla="*/ 590169 h 647509"/>
                <a:gd name="connsiteX563" fmla="*/ 592931 w 835437"/>
                <a:gd name="connsiteY563" fmla="*/ 587597 h 647509"/>
                <a:gd name="connsiteX564" fmla="*/ 597408 w 835437"/>
                <a:gd name="connsiteY564" fmla="*/ 585407 h 647509"/>
                <a:gd name="connsiteX565" fmla="*/ 594074 w 835437"/>
                <a:gd name="connsiteY565" fmla="*/ 584264 h 647509"/>
                <a:gd name="connsiteX566" fmla="*/ 597027 w 835437"/>
                <a:gd name="connsiteY566" fmla="*/ 582263 h 647509"/>
                <a:gd name="connsiteX567" fmla="*/ 600361 w 835437"/>
                <a:gd name="connsiteY567" fmla="*/ 583502 h 647509"/>
                <a:gd name="connsiteX568" fmla="*/ 599980 w 835437"/>
                <a:gd name="connsiteY568" fmla="*/ 580358 h 647509"/>
                <a:gd name="connsiteX569" fmla="*/ 599980 w 835437"/>
                <a:gd name="connsiteY569" fmla="*/ 580358 h 647509"/>
                <a:gd name="connsiteX570" fmla="*/ 592074 w 835437"/>
                <a:gd name="connsiteY570" fmla="*/ 568452 h 647509"/>
                <a:gd name="connsiteX571" fmla="*/ 592646 w 835437"/>
                <a:gd name="connsiteY571" fmla="*/ 560451 h 647509"/>
                <a:gd name="connsiteX572" fmla="*/ 596932 w 835437"/>
                <a:gd name="connsiteY572" fmla="*/ 556641 h 647509"/>
                <a:gd name="connsiteX573" fmla="*/ 604838 w 835437"/>
                <a:gd name="connsiteY573" fmla="*/ 555688 h 647509"/>
                <a:gd name="connsiteX574" fmla="*/ 614934 w 835437"/>
                <a:gd name="connsiteY574" fmla="*/ 559213 h 647509"/>
                <a:gd name="connsiteX575" fmla="*/ 617315 w 835437"/>
                <a:gd name="connsiteY575" fmla="*/ 552450 h 647509"/>
                <a:gd name="connsiteX576" fmla="*/ 622459 w 835437"/>
                <a:gd name="connsiteY576" fmla="*/ 555022 h 647509"/>
                <a:gd name="connsiteX577" fmla="*/ 621030 w 835437"/>
                <a:gd name="connsiteY577" fmla="*/ 556832 h 647509"/>
                <a:gd name="connsiteX578" fmla="*/ 624173 w 835437"/>
                <a:gd name="connsiteY578" fmla="*/ 556355 h 647509"/>
                <a:gd name="connsiteX579" fmla="*/ 622554 w 835437"/>
                <a:gd name="connsiteY579" fmla="*/ 543782 h 647509"/>
                <a:gd name="connsiteX580" fmla="*/ 632079 w 835437"/>
                <a:gd name="connsiteY580" fmla="*/ 542544 h 647509"/>
                <a:gd name="connsiteX581" fmla="*/ 635794 w 835437"/>
                <a:gd name="connsiteY581" fmla="*/ 546926 h 647509"/>
                <a:gd name="connsiteX582" fmla="*/ 638556 w 835437"/>
                <a:gd name="connsiteY582" fmla="*/ 543306 h 647509"/>
                <a:gd name="connsiteX583" fmla="*/ 638175 w 835437"/>
                <a:gd name="connsiteY583" fmla="*/ 540163 h 647509"/>
                <a:gd name="connsiteX584" fmla="*/ 642652 w 835437"/>
                <a:gd name="connsiteY584" fmla="*/ 537972 h 647509"/>
                <a:gd name="connsiteX585" fmla="*/ 642461 w 835437"/>
                <a:gd name="connsiteY585" fmla="*/ 536448 h 647509"/>
                <a:gd name="connsiteX586" fmla="*/ 647414 w 835437"/>
                <a:gd name="connsiteY586" fmla="*/ 537401 h 647509"/>
                <a:gd name="connsiteX587" fmla="*/ 650176 w 835437"/>
                <a:gd name="connsiteY587" fmla="*/ 533781 h 647509"/>
                <a:gd name="connsiteX588" fmla="*/ 649605 w 835437"/>
                <a:gd name="connsiteY588" fmla="*/ 529114 h 647509"/>
                <a:gd name="connsiteX589" fmla="*/ 656082 w 835437"/>
                <a:gd name="connsiteY589" fmla="*/ 529876 h 647509"/>
                <a:gd name="connsiteX590" fmla="*/ 659035 w 835437"/>
                <a:gd name="connsiteY590" fmla="*/ 527876 h 647509"/>
                <a:gd name="connsiteX591" fmla="*/ 659987 w 835437"/>
                <a:gd name="connsiteY591" fmla="*/ 522923 h 647509"/>
                <a:gd name="connsiteX592" fmla="*/ 662940 w 835437"/>
                <a:gd name="connsiteY592" fmla="*/ 521017 h 647509"/>
                <a:gd name="connsiteX593" fmla="*/ 671227 w 835437"/>
                <a:gd name="connsiteY593" fmla="*/ 523113 h 647509"/>
                <a:gd name="connsiteX594" fmla="*/ 675418 w 835437"/>
                <a:gd name="connsiteY594" fmla="*/ 517779 h 647509"/>
                <a:gd name="connsiteX595" fmla="*/ 675227 w 835437"/>
                <a:gd name="connsiteY595" fmla="*/ 516160 h 647509"/>
                <a:gd name="connsiteX596" fmla="*/ 672084 w 835437"/>
                <a:gd name="connsiteY596" fmla="*/ 516636 h 647509"/>
                <a:gd name="connsiteX597" fmla="*/ 670274 w 835437"/>
                <a:gd name="connsiteY597" fmla="*/ 515207 h 647509"/>
                <a:gd name="connsiteX598" fmla="*/ 672846 w 835437"/>
                <a:gd name="connsiteY598" fmla="*/ 510064 h 647509"/>
                <a:gd name="connsiteX599" fmla="*/ 677990 w 835437"/>
                <a:gd name="connsiteY599" fmla="*/ 512636 h 647509"/>
                <a:gd name="connsiteX600" fmla="*/ 682657 w 835437"/>
                <a:gd name="connsiteY600" fmla="*/ 512064 h 647509"/>
                <a:gd name="connsiteX601" fmla="*/ 681514 w 835437"/>
                <a:gd name="connsiteY601" fmla="*/ 502539 h 647509"/>
                <a:gd name="connsiteX602" fmla="*/ 682847 w 835437"/>
                <a:gd name="connsiteY602" fmla="*/ 500825 h 647509"/>
                <a:gd name="connsiteX603" fmla="*/ 683038 w 835437"/>
                <a:gd name="connsiteY603" fmla="*/ 502348 h 647509"/>
                <a:gd name="connsiteX604" fmla="*/ 685991 w 835437"/>
                <a:gd name="connsiteY604" fmla="*/ 500444 h 647509"/>
                <a:gd name="connsiteX605" fmla="*/ 687419 w 835437"/>
                <a:gd name="connsiteY605" fmla="*/ 498634 h 647509"/>
                <a:gd name="connsiteX606" fmla="*/ 693134 w 835437"/>
                <a:gd name="connsiteY606" fmla="*/ 493109 h 647509"/>
                <a:gd name="connsiteX607" fmla="*/ 693896 w 835437"/>
                <a:gd name="connsiteY607" fmla="*/ 499396 h 647509"/>
                <a:gd name="connsiteX608" fmla="*/ 695325 w 835437"/>
                <a:gd name="connsiteY608" fmla="*/ 497586 h 647509"/>
                <a:gd name="connsiteX609" fmla="*/ 696087 w 835437"/>
                <a:gd name="connsiteY609" fmla="*/ 503968 h 647509"/>
                <a:gd name="connsiteX610" fmla="*/ 699611 w 835437"/>
                <a:gd name="connsiteY610" fmla="*/ 506635 h 647509"/>
                <a:gd name="connsiteX611" fmla="*/ 702374 w 835437"/>
                <a:gd name="connsiteY611" fmla="*/ 503111 h 647509"/>
                <a:gd name="connsiteX612" fmla="*/ 707898 w 835437"/>
                <a:gd name="connsiteY612" fmla="*/ 508825 h 647509"/>
                <a:gd name="connsiteX613" fmla="*/ 712089 w 835437"/>
                <a:gd name="connsiteY613" fmla="*/ 503492 h 647509"/>
                <a:gd name="connsiteX614" fmla="*/ 715804 w 835437"/>
                <a:gd name="connsiteY614" fmla="*/ 507778 h 647509"/>
                <a:gd name="connsiteX615" fmla="*/ 715613 w 835437"/>
                <a:gd name="connsiteY615" fmla="*/ 506254 h 647509"/>
                <a:gd name="connsiteX616" fmla="*/ 720566 w 835437"/>
                <a:gd name="connsiteY616" fmla="*/ 507206 h 647509"/>
                <a:gd name="connsiteX617" fmla="*/ 728091 w 835437"/>
                <a:gd name="connsiteY617" fmla="*/ 503015 h 647509"/>
                <a:gd name="connsiteX618" fmla="*/ 728472 w 835437"/>
                <a:gd name="connsiteY618" fmla="*/ 506254 h 647509"/>
                <a:gd name="connsiteX619" fmla="*/ 726853 w 835437"/>
                <a:gd name="connsiteY619" fmla="*/ 506444 h 647509"/>
                <a:gd name="connsiteX620" fmla="*/ 733616 w 835437"/>
                <a:gd name="connsiteY620" fmla="*/ 508730 h 647509"/>
                <a:gd name="connsiteX621" fmla="*/ 734949 w 835437"/>
                <a:gd name="connsiteY621" fmla="*/ 507016 h 647509"/>
                <a:gd name="connsiteX622" fmla="*/ 736568 w 835437"/>
                <a:gd name="connsiteY622" fmla="*/ 506825 h 647509"/>
                <a:gd name="connsiteX623" fmla="*/ 737330 w 835437"/>
                <a:gd name="connsiteY623" fmla="*/ 513112 h 647509"/>
                <a:gd name="connsiteX624" fmla="*/ 738950 w 835437"/>
                <a:gd name="connsiteY624" fmla="*/ 512921 h 647509"/>
                <a:gd name="connsiteX625" fmla="*/ 738759 w 835437"/>
                <a:gd name="connsiteY625" fmla="*/ 511302 h 647509"/>
                <a:gd name="connsiteX626" fmla="*/ 742283 w 835437"/>
                <a:gd name="connsiteY626" fmla="*/ 514064 h 647509"/>
                <a:gd name="connsiteX627" fmla="*/ 743903 w 835437"/>
                <a:gd name="connsiteY627" fmla="*/ 513874 h 647509"/>
                <a:gd name="connsiteX628" fmla="*/ 745808 w 835437"/>
                <a:gd name="connsiteY628" fmla="*/ 516827 h 647509"/>
                <a:gd name="connsiteX629" fmla="*/ 747427 w 835437"/>
                <a:gd name="connsiteY629" fmla="*/ 516636 h 647509"/>
                <a:gd name="connsiteX630" fmla="*/ 749237 w 835437"/>
                <a:gd name="connsiteY630" fmla="*/ 517969 h 647509"/>
                <a:gd name="connsiteX631" fmla="*/ 749999 w 835437"/>
                <a:gd name="connsiteY631" fmla="*/ 524351 h 647509"/>
                <a:gd name="connsiteX632" fmla="*/ 751808 w 835437"/>
                <a:gd name="connsiteY632" fmla="*/ 525685 h 647509"/>
                <a:gd name="connsiteX633" fmla="*/ 752189 w 835437"/>
                <a:gd name="connsiteY633" fmla="*/ 516065 h 647509"/>
                <a:gd name="connsiteX634" fmla="*/ 753713 w 835437"/>
                <a:gd name="connsiteY634" fmla="*/ 515779 h 647509"/>
                <a:gd name="connsiteX635" fmla="*/ 752761 w 835437"/>
                <a:gd name="connsiteY635" fmla="*/ 520732 h 647509"/>
                <a:gd name="connsiteX636" fmla="*/ 754761 w 835437"/>
                <a:gd name="connsiteY636" fmla="*/ 523684 h 647509"/>
                <a:gd name="connsiteX637" fmla="*/ 760095 w 835437"/>
                <a:gd name="connsiteY637" fmla="*/ 527876 h 647509"/>
                <a:gd name="connsiteX638" fmla="*/ 769334 w 835437"/>
                <a:gd name="connsiteY638" fmla="*/ 537877 h 647509"/>
                <a:gd name="connsiteX639" fmla="*/ 781241 w 835437"/>
                <a:gd name="connsiteY639" fmla="*/ 542830 h 647509"/>
                <a:gd name="connsiteX640" fmla="*/ 785717 w 835437"/>
                <a:gd name="connsiteY640" fmla="*/ 540639 h 647509"/>
                <a:gd name="connsiteX641" fmla="*/ 788765 w 835437"/>
                <a:gd name="connsiteY641" fmla="*/ 538639 h 647509"/>
                <a:gd name="connsiteX642" fmla="*/ 784574 w 835437"/>
                <a:gd name="connsiteY642" fmla="*/ 531114 h 647509"/>
                <a:gd name="connsiteX643" fmla="*/ 783336 w 835437"/>
                <a:gd name="connsiteY643" fmla="*/ 521684 h 647509"/>
                <a:gd name="connsiteX644" fmla="*/ 788480 w 835437"/>
                <a:gd name="connsiteY644" fmla="*/ 511397 h 647509"/>
                <a:gd name="connsiteX645" fmla="*/ 793147 w 835437"/>
                <a:gd name="connsiteY645" fmla="*/ 510826 h 647509"/>
                <a:gd name="connsiteX646" fmla="*/ 792766 w 835437"/>
                <a:gd name="connsiteY646" fmla="*/ 507682 h 647509"/>
                <a:gd name="connsiteX647" fmla="*/ 787813 w 835437"/>
                <a:gd name="connsiteY647" fmla="*/ 493871 h 647509"/>
                <a:gd name="connsiteX648" fmla="*/ 790956 w 835437"/>
                <a:gd name="connsiteY648" fmla="*/ 493395 h 647509"/>
                <a:gd name="connsiteX649" fmla="*/ 787432 w 835437"/>
                <a:gd name="connsiteY649" fmla="*/ 490728 h 647509"/>
                <a:gd name="connsiteX650" fmla="*/ 784098 w 835437"/>
                <a:gd name="connsiteY650" fmla="*/ 489490 h 647509"/>
                <a:gd name="connsiteX651" fmla="*/ 785241 w 835437"/>
                <a:gd name="connsiteY651" fmla="*/ 486156 h 647509"/>
                <a:gd name="connsiteX652" fmla="*/ 788194 w 835437"/>
                <a:gd name="connsiteY652" fmla="*/ 484156 h 647509"/>
                <a:gd name="connsiteX653" fmla="*/ 784670 w 835437"/>
                <a:gd name="connsiteY653" fmla="*/ 481394 h 647509"/>
                <a:gd name="connsiteX654" fmla="*/ 790956 w 835437"/>
                <a:gd name="connsiteY654" fmla="*/ 480632 h 647509"/>
                <a:gd name="connsiteX655" fmla="*/ 792956 w 835437"/>
                <a:gd name="connsiteY655" fmla="*/ 483584 h 647509"/>
                <a:gd name="connsiteX656" fmla="*/ 796290 w 835437"/>
                <a:gd name="connsiteY656" fmla="*/ 484727 h 647509"/>
                <a:gd name="connsiteX657" fmla="*/ 797243 w 835437"/>
                <a:gd name="connsiteY657" fmla="*/ 479774 h 647509"/>
                <a:gd name="connsiteX658" fmla="*/ 798100 w 835437"/>
                <a:gd name="connsiteY658" fmla="*/ 486156 h 647509"/>
                <a:gd name="connsiteX659" fmla="*/ 802767 w 835437"/>
                <a:gd name="connsiteY659" fmla="*/ 485489 h 647509"/>
                <a:gd name="connsiteX660" fmla="*/ 802005 w 835437"/>
                <a:gd name="connsiteY660" fmla="*/ 479203 h 647509"/>
                <a:gd name="connsiteX661" fmla="*/ 803529 w 835437"/>
                <a:gd name="connsiteY661" fmla="*/ 479012 h 647509"/>
                <a:gd name="connsiteX662" fmla="*/ 810101 w 835437"/>
                <a:gd name="connsiteY662" fmla="*/ 479774 h 647509"/>
                <a:gd name="connsiteX663" fmla="*/ 814578 w 835437"/>
                <a:gd name="connsiteY663" fmla="*/ 477584 h 647509"/>
                <a:gd name="connsiteX664" fmla="*/ 819531 w 835437"/>
                <a:gd name="connsiteY664" fmla="*/ 478536 h 647509"/>
                <a:gd name="connsiteX665" fmla="*/ 820960 w 835437"/>
                <a:gd name="connsiteY665" fmla="*/ 476821 h 647509"/>
                <a:gd name="connsiteX666" fmla="*/ 816578 w 835437"/>
                <a:gd name="connsiteY666" fmla="*/ 467773 h 647509"/>
                <a:gd name="connsiteX667" fmla="*/ 818388 w 835437"/>
                <a:gd name="connsiteY667" fmla="*/ 469106 h 647509"/>
                <a:gd name="connsiteX668" fmla="*/ 822103 w 835437"/>
                <a:gd name="connsiteY668" fmla="*/ 473392 h 647509"/>
                <a:gd name="connsiteX669" fmla="*/ 823436 w 835437"/>
                <a:gd name="connsiteY669" fmla="*/ 471678 h 647509"/>
                <a:gd name="connsiteX670" fmla="*/ 829628 w 835437"/>
                <a:gd name="connsiteY670" fmla="*/ 469297 h 647509"/>
                <a:gd name="connsiteX671" fmla="*/ 830390 w 835437"/>
                <a:gd name="connsiteY671" fmla="*/ 462725 h 647509"/>
                <a:gd name="connsiteX672" fmla="*/ 833152 w 835437"/>
                <a:gd name="connsiteY672" fmla="*/ 459200 h 647509"/>
                <a:gd name="connsiteX673" fmla="*/ 832485 w 835437"/>
                <a:gd name="connsiteY673" fmla="*/ 454438 h 647509"/>
                <a:gd name="connsiteX674" fmla="*/ 830771 w 835437"/>
                <a:gd name="connsiteY674" fmla="*/ 453104 h 647509"/>
                <a:gd name="connsiteX675" fmla="*/ 830294 w 835437"/>
                <a:gd name="connsiteY675" fmla="*/ 449961 h 647509"/>
                <a:gd name="connsiteX676" fmla="*/ 822674 w 835437"/>
                <a:gd name="connsiteY676" fmla="*/ 452533 h 647509"/>
                <a:gd name="connsiteX677" fmla="*/ 819055 w 835437"/>
                <a:gd name="connsiteY677" fmla="*/ 449771 h 647509"/>
                <a:gd name="connsiteX678" fmla="*/ 827913 w 835437"/>
                <a:gd name="connsiteY678" fmla="*/ 431006 h 647509"/>
                <a:gd name="connsiteX679" fmla="*/ 825913 w 835437"/>
                <a:gd name="connsiteY679" fmla="*/ 428054 h 647509"/>
                <a:gd name="connsiteX680" fmla="*/ 822579 w 835437"/>
                <a:gd name="connsiteY680" fmla="*/ 426911 h 647509"/>
                <a:gd name="connsiteX681" fmla="*/ 822389 w 835437"/>
                <a:gd name="connsiteY681" fmla="*/ 425291 h 647509"/>
                <a:gd name="connsiteX682" fmla="*/ 827151 w 835437"/>
                <a:gd name="connsiteY682" fmla="*/ 424720 h 647509"/>
                <a:gd name="connsiteX683" fmla="*/ 829056 w 835437"/>
                <a:gd name="connsiteY683" fmla="*/ 427673 h 647509"/>
                <a:gd name="connsiteX684" fmla="*/ 832485 w 835437"/>
                <a:gd name="connsiteY684" fmla="*/ 428815 h 647509"/>
                <a:gd name="connsiteX685" fmla="*/ 835438 w 835437"/>
                <a:gd name="connsiteY685" fmla="*/ 426815 h 647509"/>
                <a:gd name="connsiteX686" fmla="*/ 835247 w 835437"/>
                <a:gd name="connsiteY686" fmla="*/ 425291 h 647509"/>
                <a:gd name="connsiteX687" fmla="*/ 831818 w 835437"/>
                <a:gd name="connsiteY687" fmla="*/ 424053 h 647509"/>
                <a:gd name="connsiteX688" fmla="*/ 833057 w 835437"/>
                <a:gd name="connsiteY688" fmla="*/ 420719 h 647509"/>
                <a:gd name="connsiteX689" fmla="*/ 833057 w 835437"/>
                <a:gd name="connsiteY689" fmla="*/ 420719 h 647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</a:cxnLst>
              <a:rect l="l" t="t" r="r" b="b"/>
              <a:pathLst>
                <a:path w="835437" h="647509">
                  <a:moveTo>
                    <a:pt x="833057" y="420719"/>
                  </a:moveTo>
                  <a:lnTo>
                    <a:pt x="831437" y="408146"/>
                  </a:lnTo>
                  <a:lnTo>
                    <a:pt x="829628" y="406717"/>
                  </a:lnTo>
                  <a:lnTo>
                    <a:pt x="821722" y="407765"/>
                  </a:lnTo>
                  <a:lnTo>
                    <a:pt x="823151" y="405956"/>
                  </a:lnTo>
                  <a:lnTo>
                    <a:pt x="827627" y="403765"/>
                  </a:lnTo>
                  <a:lnTo>
                    <a:pt x="820769" y="399859"/>
                  </a:lnTo>
                  <a:lnTo>
                    <a:pt x="820579" y="398240"/>
                  </a:lnTo>
                  <a:lnTo>
                    <a:pt x="818198" y="392144"/>
                  </a:lnTo>
                  <a:lnTo>
                    <a:pt x="813245" y="391192"/>
                  </a:lnTo>
                  <a:lnTo>
                    <a:pt x="805529" y="393763"/>
                  </a:lnTo>
                  <a:lnTo>
                    <a:pt x="800195" y="389668"/>
                  </a:lnTo>
                  <a:lnTo>
                    <a:pt x="797624" y="394716"/>
                  </a:lnTo>
                  <a:lnTo>
                    <a:pt x="791909" y="387477"/>
                  </a:lnTo>
                  <a:lnTo>
                    <a:pt x="788765" y="387858"/>
                  </a:lnTo>
                  <a:lnTo>
                    <a:pt x="785146" y="385096"/>
                  </a:lnTo>
                  <a:lnTo>
                    <a:pt x="793051" y="384143"/>
                  </a:lnTo>
                  <a:lnTo>
                    <a:pt x="794290" y="380714"/>
                  </a:lnTo>
                  <a:lnTo>
                    <a:pt x="790861" y="379571"/>
                  </a:lnTo>
                  <a:lnTo>
                    <a:pt x="792099" y="376238"/>
                  </a:lnTo>
                  <a:lnTo>
                    <a:pt x="799814" y="373666"/>
                  </a:lnTo>
                  <a:lnTo>
                    <a:pt x="800005" y="375190"/>
                  </a:lnTo>
                  <a:lnTo>
                    <a:pt x="801148" y="371856"/>
                  </a:lnTo>
                  <a:lnTo>
                    <a:pt x="809625" y="375571"/>
                  </a:lnTo>
                  <a:lnTo>
                    <a:pt x="809435" y="374047"/>
                  </a:lnTo>
                  <a:lnTo>
                    <a:pt x="811244" y="375380"/>
                  </a:lnTo>
                  <a:lnTo>
                    <a:pt x="812578" y="373571"/>
                  </a:lnTo>
                  <a:lnTo>
                    <a:pt x="815912" y="374809"/>
                  </a:lnTo>
                  <a:lnTo>
                    <a:pt x="812959" y="376809"/>
                  </a:lnTo>
                  <a:lnTo>
                    <a:pt x="821722" y="382048"/>
                  </a:lnTo>
                  <a:lnTo>
                    <a:pt x="824865" y="381667"/>
                  </a:lnTo>
                  <a:lnTo>
                    <a:pt x="822484" y="375571"/>
                  </a:lnTo>
                  <a:lnTo>
                    <a:pt x="825437" y="373571"/>
                  </a:lnTo>
                  <a:lnTo>
                    <a:pt x="820293" y="370999"/>
                  </a:lnTo>
                  <a:lnTo>
                    <a:pt x="821817" y="370808"/>
                  </a:lnTo>
                  <a:lnTo>
                    <a:pt x="821436" y="367665"/>
                  </a:lnTo>
                  <a:lnTo>
                    <a:pt x="812959" y="363950"/>
                  </a:lnTo>
                  <a:lnTo>
                    <a:pt x="813911" y="358997"/>
                  </a:lnTo>
                  <a:lnTo>
                    <a:pt x="812387" y="359188"/>
                  </a:lnTo>
                  <a:lnTo>
                    <a:pt x="815340" y="357188"/>
                  </a:lnTo>
                  <a:lnTo>
                    <a:pt x="825151" y="359188"/>
                  </a:lnTo>
                  <a:lnTo>
                    <a:pt x="828294" y="345948"/>
                  </a:lnTo>
                  <a:lnTo>
                    <a:pt x="818674" y="345567"/>
                  </a:lnTo>
                  <a:lnTo>
                    <a:pt x="821436" y="342043"/>
                  </a:lnTo>
                  <a:lnTo>
                    <a:pt x="822198" y="335471"/>
                  </a:lnTo>
                  <a:lnTo>
                    <a:pt x="820388" y="334137"/>
                  </a:lnTo>
                  <a:lnTo>
                    <a:pt x="819436" y="326231"/>
                  </a:lnTo>
                  <a:lnTo>
                    <a:pt x="813816" y="320516"/>
                  </a:lnTo>
                  <a:lnTo>
                    <a:pt x="813816" y="320516"/>
                  </a:lnTo>
                  <a:lnTo>
                    <a:pt x="816388" y="315373"/>
                  </a:lnTo>
                  <a:lnTo>
                    <a:pt x="809244" y="309848"/>
                  </a:lnTo>
                  <a:lnTo>
                    <a:pt x="807720" y="310134"/>
                  </a:lnTo>
                  <a:lnTo>
                    <a:pt x="804386" y="308896"/>
                  </a:lnTo>
                  <a:lnTo>
                    <a:pt x="808482" y="303562"/>
                  </a:lnTo>
                  <a:lnTo>
                    <a:pt x="808292" y="302038"/>
                  </a:lnTo>
                  <a:lnTo>
                    <a:pt x="805148" y="302419"/>
                  </a:lnTo>
                  <a:lnTo>
                    <a:pt x="796862" y="300228"/>
                  </a:lnTo>
                  <a:lnTo>
                    <a:pt x="796004" y="293942"/>
                  </a:lnTo>
                  <a:lnTo>
                    <a:pt x="802386" y="293180"/>
                  </a:lnTo>
                  <a:lnTo>
                    <a:pt x="801529" y="286798"/>
                  </a:lnTo>
                  <a:lnTo>
                    <a:pt x="802958" y="284988"/>
                  </a:lnTo>
                  <a:lnTo>
                    <a:pt x="804291" y="283273"/>
                  </a:lnTo>
                  <a:lnTo>
                    <a:pt x="802291" y="280321"/>
                  </a:lnTo>
                  <a:lnTo>
                    <a:pt x="805244" y="278321"/>
                  </a:lnTo>
                  <a:lnTo>
                    <a:pt x="806672" y="276511"/>
                  </a:lnTo>
                  <a:lnTo>
                    <a:pt x="799910" y="274225"/>
                  </a:lnTo>
                  <a:lnTo>
                    <a:pt x="799528" y="270986"/>
                  </a:lnTo>
                  <a:lnTo>
                    <a:pt x="797909" y="271272"/>
                  </a:lnTo>
                  <a:lnTo>
                    <a:pt x="791813" y="273653"/>
                  </a:lnTo>
                  <a:lnTo>
                    <a:pt x="788480" y="272415"/>
                  </a:lnTo>
                  <a:lnTo>
                    <a:pt x="784098" y="263366"/>
                  </a:lnTo>
                  <a:lnTo>
                    <a:pt x="785527" y="261556"/>
                  </a:lnTo>
                  <a:lnTo>
                    <a:pt x="783717" y="260223"/>
                  </a:lnTo>
                  <a:lnTo>
                    <a:pt x="786479" y="256699"/>
                  </a:lnTo>
                  <a:lnTo>
                    <a:pt x="791242" y="256032"/>
                  </a:lnTo>
                  <a:lnTo>
                    <a:pt x="794195" y="254032"/>
                  </a:lnTo>
                  <a:lnTo>
                    <a:pt x="793147" y="246221"/>
                  </a:lnTo>
                  <a:lnTo>
                    <a:pt x="791909" y="236696"/>
                  </a:lnTo>
                  <a:lnTo>
                    <a:pt x="788575" y="235553"/>
                  </a:lnTo>
                  <a:lnTo>
                    <a:pt x="789527" y="230600"/>
                  </a:lnTo>
                  <a:lnTo>
                    <a:pt x="792099" y="225457"/>
                  </a:lnTo>
                  <a:lnTo>
                    <a:pt x="782288" y="223552"/>
                  </a:lnTo>
                  <a:lnTo>
                    <a:pt x="779050" y="223933"/>
                  </a:lnTo>
                  <a:lnTo>
                    <a:pt x="778859" y="222313"/>
                  </a:lnTo>
                  <a:lnTo>
                    <a:pt x="782003" y="221932"/>
                  </a:lnTo>
                  <a:lnTo>
                    <a:pt x="784003" y="212027"/>
                  </a:lnTo>
                  <a:lnTo>
                    <a:pt x="782193" y="210693"/>
                  </a:lnTo>
                  <a:lnTo>
                    <a:pt x="785336" y="210312"/>
                  </a:lnTo>
                  <a:lnTo>
                    <a:pt x="787908" y="205169"/>
                  </a:lnTo>
                  <a:lnTo>
                    <a:pt x="786384" y="205359"/>
                  </a:lnTo>
                  <a:lnTo>
                    <a:pt x="785717" y="200596"/>
                  </a:lnTo>
                  <a:lnTo>
                    <a:pt x="790289" y="198406"/>
                  </a:lnTo>
                  <a:lnTo>
                    <a:pt x="791813" y="198215"/>
                  </a:lnTo>
                  <a:lnTo>
                    <a:pt x="792671" y="191738"/>
                  </a:lnTo>
                  <a:lnTo>
                    <a:pt x="787718" y="190786"/>
                  </a:lnTo>
                  <a:lnTo>
                    <a:pt x="788670" y="185833"/>
                  </a:lnTo>
                  <a:lnTo>
                    <a:pt x="785527" y="186214"/>
                  </a:lnTo>
                  <a:lnTo>
                    <a:pt x="786670" y="182880"/>
                  </a:lnTo>
                  <a:lnTo>
                    <a:pt x="784670" y="179927"/>
                  </a:lnTo>
                  <a:lnTo>
                    <a:pt x="784289" y="176784"/>
                  </a:lnTo>
                  <a:lnTo>
                    <a:pt x="787051" y="173165"/>
                  </a:lnTo>
                  <a:lnTo>
                    <a:pt x="787051" y="173165"/>
                  </a:lnTo>
                  <a:lnTo>
                    <a:pt x="790003" y="171164"/>
                  </a:lnTo>
                  <a:lnTo>
                    <a:pt x="794576" y="169069"/>
                  </a:lnTo>
                  <a:lnTo>
                    <a:pt x="794099" y="165830"/>
                  </a:lnTo>
                  <a:lnTo>
                    <a:pt x="795528" y="164116"/>
                  </a:lnTo>
                  <a:lnTo>
                    <a:pt x="792956" y="156400"/>
                  </a:lnTo>
                  <a:lnTo>
                    <a:pt x="795719" y="152876"/>
                  </a:lnTo>
                  <a:lnTo>
                    <a:pt x="788765" y="148876"/>
                  </a:lnTo>
                  <a:lnTo>
                    <a:pt x="785622" y="136493"/>
                  </a:lnTo>
                  <a:lnTo>
                    <a:pt x="775335" y="131350"/>
                  </a:lnTo>
                  <a:lnTo>
                    <a:pt x="777907" y="126302"/>
                  </a:lnTo>
                  <a:lnTo>
                    <a:pt x="777716" y="124682"/>
                  </a:lnTo>
                  <a:lnTo>
                    <a:pt x="771525" y="127063"/>
                  </a:lnTo>
                  <a:lnTo>
                    <a:pt x="767429" y="132398"/>
                  </a:lnTo>
                  <a:lnTo>
                    <a:pt x="762476" y="131445"/>
                  </a:lnTo>
                  <a:lnTo>
                    <a:pt x="759905" y="136588"/>
                  </a:lnTo>
                  <a:lnTo>
                    <a:pt x="759333" y="131826"/>
                  </a:lnTo>
                  <a:lnTo>
                    <a:pt x="749903" y="133064"/>
                  </a:lnTo>
                  <a:lnTo>
                    <a:pt x="746474" y="131826"/>
                  </a:lnTo>
                  <a:lnTo>
                    <a:pt x="741807" y="132493"/>
                  </a:lnTo>
                  <a:lnTo>
                    <a:pt x="739997" y="131064"/>
                  </a:lnTo>
                  <a:lnTo>
                    <a:pt x="738378" y="131254"/>
                  </a:lnTo>
                  <a:lnTo>
                    <a:pt x="736283" y="126778"/>
                  </a:lnTo>
                  <a:lnTo>
                    <a:pt x="728186" y="126206"/>
                  </a:lnTo>
                  <a:lnTo>
                    <a:pt x="723233" y="125158"/>
                  </a:lnTo>
                  <a:lnTo>
                    <a:pt x="717328" y="129159"/>
                  </a:lnTo>
                  <a:lnTo>
                    <a:pt x="715709" y="129350"/>
                  </a:lnTo>
                  <a:lnTo>
                    <a:pt x="717899" y="133921"/>
                  </a:lnTo>
                  <a:lnTo>
                    <a:pt x="714756" y="134302"/>
                  </a:lnTo>
                  <a:lnTo>
                    <a:pt x="713327" y="136112"/>
                  </a:lnTo>
                  <a:lnTo>
                    <a:pt x="708279" y="133540"/>
                  </a:lnTo>
                  <a:lnTo>
                    <a:pt x="709613" y="131731"/>
                  </a:lnTo>
                  <a:lnTo>
                    <a:pt x="707803" y="130397"/>
                  </a:lnTo>
                  <a:lnTo>
                    <a:pt x="703136" y="130969"/>
                  </a:lnTo>
                  <a:lnTo>
                    <a:pt x="699326" y="126587"/>
                  </a:lnTo>
                  <a:lnTo>
                    <a:pt x="696373" y="128588"/>
                  </a:lnTo>
                  <a:lnTo>
                    <a:pt x="696373" y="128588"/>
                  </a:lnTo>
                  <a:lnTo>
                    <a:pt x="695801" y="123920"/>
                  </a:lnTo>
                  <a:lnTo>
                    <a:pt x="700278" y="121729"/>
                  </a:lnTo>
                  <a:lnTo>
                    <a:pt x="702278" y="111823"/>
                  </a:lnTo>
                  <a:lnTo>
                    <a:pt x="708565" y="111061"/>
                  </a:lnTo>
                  <a:lnTo>
                    <a:pt x="708374" y="109442"/>
                  </a:lnTo>
                  <a:lnTo>
                    <a:pt x="700469" y="97631"/>
                  </a:lnTo>
                  <a:lnTo>
                    <a:pt x="698659" y="96298"/>
                  </a:lnTo>
                  <a:lnTo>
                    <a:pt x="695706" y="98203"/>
                  </a:lnTo>
                  <a:lnTo>
                    <a:pt x="689229" y="97441"/>
                  </a:lnTo>
                  <a:lnTo>
                    <a:pt x="679895" y="87440"/>
                  </a:lnTo>
                  <a:lnTo>
                    <a:pt x="680276" y="90583"/>
                  </a:lnTo>
                  <a:lnTo>
                    <a:pt x="665702" y="89249"/>
                  </a:lnTo>
                  <a:lnTo>
                    <a:pt x="664750" y="94202"/>
                  </a:lnTo>
                  <a:lnTo>
                    <a:pt x="650939" y="86296"/>
                  </a:lnTo>
                  <a:lnTo>
                    <a:pt x="648272" y="78581"/>
                  </a:lnTo>
                  <a:lnTo>
                    <a:pt x="640651" y="81153"/>
                  </a:lnTo>
                  <a:lnTo>
                    <a:pt x="631793" y="87154"/>
                  </a:lnTo>
                  <a:lnTo>
                    <a:pt x="629984" y="85725"/>
                  </a:lnTo>
                  <a:lnTo>
                    <a:pt x="631126" y="82391"/>
                  </a:lnTo>
                  <a:lnTo>
                    <a:pt x="628174" y="84392"/>
                  </a:lnTo>
                  <a:lnTo>
                    <a:pt x="626174" y="81439"/>
                  </a:lnTo>
                  <a:lnTo>
                    <a:pt x="615410" y="84392"/>
                  </a:lnTo>
                  <a:lnTo>
                    <a:pt x="613029" y="78296"/>
                  </a:lnTo>
                  <a:lnTo>
                    <a:pt x="609028" y="72390"/>
                  </a:lnTo>
                  <a:lnTo>
                    <a:pt x="597218" y="67437"/>
                  </a:lnTo>
                  <a:lnTo>
                    <a:pt x="590455" y="65151"/>
                  </a:lnTo>
                  <a:lnTo>
                    <a:pt x="589693" y="58865"/>
                  </a:lnTo>
                  <a:lnTo>
                    <a:pt x="575215" y="46196"/>
                  </a:lnTo>
                  <a:lnTo>
                    <a:pt x="571881" y="45053"/>
                  </a:lnTo>
                  <a:lnTo>
                    <a:pt x="568738" y="45434"/>
                  </a:lnTo>
                  <a:lnTo>
                    <a:pt x="561404" y="38386"/>
                  </a:lnTo>
                  <a:lnTo>
                    <a:pt x="531305" y="16573"/>
                  </a:lnTo>
                  <a:lnTo>
                    <a:pt x="524066" y="9430"/>
                  </a:lnTo>
                  <a:lnTo>
                    <a:pt x="509969" y="0"/>
                  </a:lnTo>
                  <a:lnTo>
                    <a:pt x="508254" y="11430"/>
                  </a:lnTo>
                  <a:lnTo>
                    <a:pt x="501206" y="18764"/>
                  </a:lnTo>
                  <a:lnTo>
                    <a:pt x="501777" y="23527"/>
                  </a:lnTo>
                  <a:lnTo>
                    <a:pt x="503968" y="28004"/>
                  </a:lnTo>
                  <a:lnTo>
                    <a:pt x="503015" y="32956"/>
                  </a:lnTo>
                  <a:lnTo>
                    <a:pt x="498634" y="23908"/>
                  </a:lnTo>
                  <a:lnTo>
                    <a:pt x="493871" y="11716"/>
                  </a:lnTo>
                  <a:lnTo>
                    <a:pt x="451295" y="29908"/>
                  </a:lnTo>
                  <a:lnTo>
                    <a:pt x="446342" y="41815"/>
                  </a:lnTo>
                  <a:lnTo>
                    <a:pt x="440436" y="45720"/>
                  </a:lnTo>
                  <a:lnTo>
                    <a:pt x="432149" y="56388"/>
                  </a:lnTo>
                  <a:lnTo>
                    <a:pt x="429673" y="61531"/>
                  </a:lnTo>
                  <a:lnTo>
                    <a:pt x="431578" y="64484"/>
                  </a:lnTo>
                  <a:lnTo>
                    <a:pt x="430625" y="69437"/>
                  </a:lnTo>
                  <a:lnTo>
                    <a:pt x="423482" y="63913"/>
                  </a:lnTo>
                  <a:lnTo>
                    <a:pt x="421577" y="60960"/>
                  </a:lnTo>
                  <a:lnTo>
                    <a:pt x="414242" y="53911"/>
                  </a:lnTo>
                  <a:lnTo>
                    <a:pt x="408337" y="45053"/>
                  </a:lnTo>
                  <a:lnTo>
                    <a:pt x="396240" y="51340"/>
                  </a:lnTo>
                  <a:lnTo>
                    <a:pt x="388334" y="52388"/>
                  </a:lnTo>
                  <a:lnTo>
                    <a:pt x="384810" y="49625"/>
                  </a:lnTo>
                  <a:lnTo>
                    <a:pt x="376142" y="44291"/>
                  </a:lnTo>
                  <a:lnTo>
                    <a:pt x="368237" y="45339"/>
                  </a:lnTo>
                  <a:lnTo>
                    <a:pt x="368427" y="46958"/>
                  </a:lnTo>
                  <a:lnTo>
                    <a:pt x="358426" y="56198"/>
                  </a:lnTo>
                  <a:lnTo>
                    <a:pt x="355283" y="56579"/>
                  </a:lnTo>
                  <a:lnTo>
                    <a:pt x="353282" y="53626"/>
                  </a:lnTo>
                  <a:lnTo>
                    <a:pt x="348520" y="54292"/>
                  </a:lnTo>
                  <a:lnTo>
                    <a:pt x="343567" y="53245"/>
                  </a:lnTo>
                  <a:lnTo>
                    <a:pt x="339471" y="58579"/>
                  </a:lnTo>
                  <a:lnTo>
                    <a:pt x="326993" y="61817"/>
                  </a:lnTo>
                  <a:lnTo>
                    <a:pt x="323850" y="62198"/>
                  </a:lnTo>
                  <a:lnTo>
                    <a:pt x="320516" y="61055"/>
                  </a:lnTo>
                  <a:lnTo>
                    <a:pt x="317563" y="63056"/>
                  </a:lnTo>
                  <a:lnTo>
                    <a:pt x="310896" y="60674"/>
                  </a:lnTo>
                  <a:lnTo>
                    <a:pt x="306514" y="64389"/>
                  </a:lnTo>
                  <a:lnTo>
                    <a:pt x="298418" y="63817"/>
                  </a:lnTo>
                  <a:lnTo>
                    <a:pt x="295085" y="62675"/>
                  </a:lnTo>
                  <a:lnTo>
                    <a:pt x="294513" y="70771"/>
                  </a:lnTo>
                  <a:lnTo>
                    <a:pt x="288608" y="74771"/>
                  </a:lnTo>
                  <a:lnTo>
                    <a:pt x="284893" y="83248"/>
                  </a:lnTo>
                  <a:lnTo>
                    <a:pt x="279178" y="88773"/>
                  </a:lnTo>
                  <a:lnTo>
                    <a:pt x="278130" y="93726"/>
                  </a:lnTo>
                  <a:lnTo>
                    <a:pt x="281750" y="109252"/>
                  </a:lnTo>
                  <a:lnTo>
                    <a:pt x="279368" y="116015"/>
                  </a:lnTo>
                  <a:lnTo>
                    <a:pt x="275082" y="119729"/>
                  </a:lnTo>
                  <a:lnTo>
                    <a:pt x="264224" y="109919"/>
                  </a:lnTo>
                  <a:lnTo>
                    <a:pt x="258318" y="113824"/>
                  </a:lnTo>
                  <a:lnTo>
                    <a:pt x="257080" y="117253"/>
                  </a:lnTo>
                  <a:lnTo>
                    <a:pt x="249650" y="121348"/>
                  </a:lnTo>
                  <a:lnTo>
                    <a:pt x="245269" y="125158"/>
                  </a:lnTo>
                  <a:lnTo>
                    <a:pt x="244316" y="130111"/>
                  </a:lnTo>
                  <a:lnTo>
                    <a:pt x="240030" y="133826"/>
                  </a:lnTo>
                  <a:lnTo>
                    <a:pt x="242126" y="138398"/>
                  </a:lnTo>
                  <a:lnTo>
                    <a:pt x="238220" y="145256"/>
                  </a:lnTo>
                  <a:lnTo>
                    <a:pt x="234887" y="144113"/>
                  </a:lnTo>
                  <a:lnTo>
                    <a:pt x="231934" y="146113"/>
                  </a:lnTo>
                  <a:lnTo>
                    <a:pt x="228410" y="143351"/>
                  </a:lnTo>
                  <a:lnTo>
                    <a:pt x="218885" y="144590"/>
                  </a:lnTo>
                  <a:lnTo>
                    <a:pt x="214408" y="146780"/>
                  </a:lnTo>
                  <a:lnTo>
                    <a:pt x="216503" y="151257"/>
                  </a:lnTo>
                  <a:lnTo>
                    <a:pt x="214598" y="161163"/>
                  </a:lnTo>
                  <a:lnTo>
                    <a:pt x="216980" y="167259"/>
                  </a:lnTo>
                  <a:lnTo>
                    <a:pt x="215075" y="177070"/>
                  </a:lnTo>
                  <a:lnTo>
                    <a:pt x="210884" y="182499"/>
                  </a:lnTo>
                  <a:lnTo>
                    <a:pt x="202978" y="183452"/>
                  </a:lnTo>
                  <a:lnTo>
                    <a:pt x="193739" y="186214"/>
                  </a:lnTo>
                  <a:lnTo>
                    <a:pt x="194119" y="189357"/>
                  </a:lnTo>
                  <a:lnTo>
                    <a:pt x="191357" y="192977"/>
                  </a:lnTo>
                  <a:lnTo>
                    <a:pt x="187071" y="196691"/>
                  </a:lnTo>
                  <a:lnTo>
                    <a:pt x="188024" y="204597"/>
                  </a:lnTo>
                  <a:lnTo>
                    <a:pt x="180975" y="211931"/>
                  </a:lnTo>
                  <a:lnTo>
                    <a:pt x="179261" y="223361"/>
                  </a:lnTo>
                  <a:lnTo>
                    <a:pt x="183356" y="230886"/>
                  </a:lnTo>
                  <a:lnTo>
                    <a:pt x="185547" y="235363"/>
                  </a:lnTo>
                  <a:lnTo>
                    <a:pt x="179451" y="237744"/>
                  </a:lnTo>
                  <a:lnTo>
                    <a:pt x="182975" y="240506"/>
                  </a:lnTo>
                  <a:lnTo>
                    <a:pt x="178308" y="241173"/>
                  </a:lnTo>
                  <a:lnTo>
                    <a:pt x="178499" y="242697"/>
                  </a:lnTo>
                  <a:lnTo>
                    <a:pt x="172784" y="235458"/>
                  </a:lnTo>
                  <a:lnTo>
                    <a:pt x="166021" y="233077"/>
                  </a:lnTo>
                  <a:lnTo>
                    <a:pt x="166592" y="237839"/>
                  </a:lnTo>
                  <a:lnTo>
                    <a:pt x="164116" y="242983"/>
                  </a:lnTo>
                  <a:lnTo>
                    <a:pt x="165830" y="244316"/>
                  </a:lnTo>
                  <a:lnTo>
                    <a:pt x="165449" y="254032"/>
                  </a:lnTo>
                  <a:lnTo>
                    <a:pt x="167640" y="258509"/>
                  </a:lnTo>
                  <a:lnTo>
                    <a:pt x="168307" y="263271"/>
                  </a:lnTo>
                  <a:lnTo>
                    <a:pt x="161544" y="260890"/>
                  </a:lnTo>
                  <a:lnTo>
                    <a:pt x="162782" y="270415"/>
                  </a:lnTo>
                  <a:lnTo>
                    <a:pt x="160211" y="275558"/>
                  </a:lnTo>
                  <a:lnTo>
                    <a:pt x="162592" y="281654"/>
                  </a:lnTo>
                  <a:lnTo>
                    <a:pt x="165926" y="282797"/>
                  </a:lnTo>
                  <a:lnTo>
                    <a:pt x="164973" y="287750"/>
                  </a:lnTo>
                  <a:lnTo>
                    <a:pt x="168497" y="290513"/>
                  </a:lnTo>
                  <a:lnTo>
                    <a:pt x="168688" y="292036"/>
                  </a:lnTo>
                  <a:lnTo>
                    <a:pt x="167545" y="295465"/>
                  </a:lnTo>
                  <a:lnTo>
                    <a:pt x="163068" y="297561"/>
                  </a:lnTo>
                  <a:lnTo>
                    <a:pt x="162020" y="302514"/>
                  </a:lnTo>
                  <a:lnTo>
                    <a:pt x="158877" y="302895"/>
                  </a:lnTo>
                  <a:lnTo>
                    <a:pt x="160877" y="305943"/>
                  </a:lnTo>
                  <a:lnTo>
                    <a:pt x="161449" y="310610"/>
                  </a:lnTo>
                  <a:lnTo>
                    <a:pt x="168212" y="312992"/>
                  </a:lnTo>
                  <a:lnTo>
                    <a:pt x="165259" y="314992"/>
                  </a:lnTo>
                  <a:lnTo>
                    <a:pt x="152210" y="313373"/>
                  </a:lnTo>
                  <a:lnTo>
                    <a:pt x="143732" y="309658"/>
                  </a:lnTo>
                  <a:lnTo>
                    <a:pt x="138970" y="310325"/>
                  </a:lnTo>
                  <a:lnTo>
                    <a:pt x="135446" y="307562"/>
                  </a:lnTo>
                  <a:lnTo>
                    <a:pt x="137732" y="300800"/>
                  </a:lnTo>
                  <a:lnTo>
                    <a:pt x="135636" y="296323"/>
                  </a:lnTo>
                  <a:lnTo>
                    <a:pt x="132683" y="298228"/>
                  </a:lnTo>
                  <a:lnTo>
                    <a:pt x="131826" y="291941"/>
                  </a:lnTo>
                  <a:lnTo>
                    <a:pt x="128873" y="293942"/>
                  </a:lnTo>
                  <a:lnTo>
                    <a:pt x="126683" y="289369"/>
                  </a:lnTo>
                  <a:lnTo>
                    <a:pt x="126111" y="284702"/>
                  </a:lnTo>
                  <a:lnTo>
                    <a:pt x="127254" y="281273"/>
                  </a:lnTo>
                  <a:lnTo>
                    <a:pt x="134969" y="278702"/>
                  </a:lnTo>
                  <a:lnTo>
                    <a:pt x="136112" y="275368"/>
                  </a:lnTo>
                  <a:lnTo>
                    <a:pt x="132779" y="274225"/>
                  </a:lnTo>
                  <a:lnTo>
                    <a:pt x="135541" y="270605"/>
                  </a:lnTo>
                  <a:lnTo>
                    <a:pt x="130969" y="272796"/>
                  </a:lnTo>
                  <a:lnTo>
                    <a:pt x="131731" y="266319"/>
                  </a:lnTo>
                  <a:lnTo>
                    <a:pt x="138875" y="258985"/>
                  </a:lnTo>
                  <a:lnTo>
                    <a:pt x="133541" y="254889"/>
                  </a:lnTo>
                  <a:lnTo>
                    <a:pt x="128778" y="255461"/>
                  </a:lnTo>
                  <a:lnTo>
                    <a:pt x="131731" y="253460"/>
                  </a:lnTo>
                  <a:lnTo>
                    <a:pt x="130207" y="253651"/>
                  </a:lnTo>
                  <a:lnTo>
                    <a:pt x="134874" y="253079"/>
                  </a:lnTo>
                  <a:lnTo>
                    <a:pt x="127159" y="242792"/>
                  </a:lnTo>
                  <a:lnTo>
                    <a:pt x="121063" y="245173"/>
                  </a:lnTo>
                  <a:lnTo>
                    <a:pt x="118872" y="240697"/>
                  </a:lnTo>
                  <a:lnTo>
                    <a:pt x="112014" y="236792"/>
                  </a:lnTo>
                  <a:lnTo>
                    <a:pt x="111347" y="232029"/>
                  </a:lnTo>
                  <a:lnTo>
                    <a:pt x="102680" y="226695"/>
                  </a:lnTo>
                  <a:lnTo>
                    <a:pt x="105442" y="223171"/>
                  </a:lnTo>
                  <a:lnTo>
                    <a:pt x="109538" y="217837"/>
                  </a:lnTo>
                  <a:lnTo>
                    <a:pt x="107347" y="213265"/>
                  </a:lnTo>
                  <a:lnTo>
                    <a:pt x="111157" y="217646"/>
                  </a:lnTo>
                  <a:lnTo>
                    <a:pt x="114872" y="221932"/>
                  </a:lnTo>
                  <a:lnTo>
                    <a:pt x="116491" y="221742"/>
                  </a:lnTo>
                  <a:lnTo>
                    <a:pt x="121634" y="224314"/>
                  </a:lnTo>
                  <a:lnTo>
                    <a:pt x="119444" y="219742"/>
                  </a:lnTo>
                  <a:lnTo>
                    <a:pt x="120206" y="213265"/>
                  </a:lnTo>
                  <a:lnTo>
                    <a:pt x="118205" y="210312"/>
                  </a:lnTo>
                  <a:lnTo>
                    <a:pt x="113633" y="199644"/>
                  </a:lnTo>
                  <a:lnTo>
                    <a:pt x="109157" y="201835"/>
                  </a:lnTo>
                  <a:lnTo>
                    <a:pt x="101060" y="201263"/>
                  </a:lnTo>
                  <a:lnTo>
                    <a:pt x="97441" y="198501"/>
                  </a:lnTo>
                  <a:lnTo>
                    <a:pt x="86392" y="199930"/>
                  </a:lnTo>
                  <a:lnTo>
                    <a:pt x="77724" y="194596"/>
                  </a:lnTo>
                  <a:lnTo>
                    <a:pt x="78867" y="191262"/>
                  </a:lnTo>
                  <a:lnTo>
                    <a:pt x="78677" y="176879"/>
                  </a:lnTo>
                  <a:lnTo>
                    <a:pt x="74962" y="172498"/>
                  </a:lnTo>
                  <a:lnTo>
                    <a:pt x="78867" y="152781"/>
                  </a:lnTo>
                  <a:lnTo>
                    <a:pt x="76105" y="156305"/>
                  </a:lnTo>
                  <a:lnTo>
                    <a:pt x="73914" y="151829"/>
                  </a:lnTo>
                  <a:lnTo>
                    <a:pt x="68771" y="149257"/>
                  </a:lnTo>
                  <a:lnTo>
                    <a:pt x="66580" y="144685"/>
                  </a:lnTo>
                  <a:lnTo>
                    <a:pt x="67342" y="138208"/>
                  </a:lnTo>
                  <a:lnTo>
                    <a:pt x="52959" y="138398"/>
                  </a:lnTo>
                  <a:lnTo>
                    <a:pt x="41529" y="136684"/>
                  </a:lnTo>
                  <a:lnTo>
                    <a:pt x="29051" y="139827"/>
                  </a:lnTo>
                  <a:lnTo>
                    <a:pt x="26289" y="143446"/>
                  </a:lnTo>
                  <a:lnTo>
                    <a:pt x="18193" y="142875"/>
                  </a:lnTo>
                  <a:lnTo>
                    <a:pt x="19240" y="137922"/>
                  </a:lnTo>
                  <a:lnTo>
                    <a:pt x="16002" y="138303"/>
                  </a:lnTo>
                  <a:lnTo>
                    <a:pt x="14097" y="135350"/>
                  </a:lnTo>
                  <a:lnTo>
                    <a:pt x="8382" y="140875"/>
                  </a:lnTo>
                  <a:lnTo>
                    <a:pt x="12097" y="145256"/>
                  </a:lnTo>
                  <a:lnTo>
                    <a:pt x="18669" y="146018"/>
                  </a:lnTo>
                  <a:lnTo>
                    <a:pt x="25908" y="153067"/>
                  </a:lnTo>
                  <a:lnTo>
                    <a:pt x="26384" y="156305"/>
                  </a:lnTo>
                  <a:lnTo>
                    <a:pt x="22193" y="161639"/>
                  </a:lnTo>
                  <a:lnTo>
                    <a:pt x="23432" y="171069"/>
                  </a:lnTo>
                  <a:lnTo>
                    <a:pt x="32671" y="181070"/>
                  </a:lnTo>
                  <a:lnTo>
                    <a:pt x="33147" y="184213"/>
                  </a:lnTo>
                  <a:lnTo>
                    <a:pt x="35052" y="187166"/>
                  </a:lnTo>
                  <a:lnTo>
                    <a:pt x="33909" y="190595"/>
                  </a:lnTo>
                  <a:lnTo>
                    <a:pt x="25051" y="196501"/>
                  </a:lnTo>
                  <a:lnTo>
                    <a:pt x="21908" y="196882"/>
                  </a:lnTo>
                  <a:lnTo>
                    <a:pt x="20479" y="198692"/>
                  </a:lnTo>
                  <a:lnTo>
                    <a:pt x="15621" y="197739"/>
                  </a:lnTo>
                  <a:lnTo>
                    <a:pt x="11240" y="201454"/>
                  </a:lnTo>
                  <a:lnTo>
                    <a:pt x="5144" y="203835"/>
                  </a:lnTo>
                  <a:lnTo>
                    <a:pt x="8858" y="208217"/>
                  </a:lnTo>
                  <a:lnTo>
                    <a:pt x="7715" y="211550"/>
                  </a:lnTo>
                  <a:lnTo>
                    <a:pt x="6382" y="213360"/>
                  </a:lnTo>
                  <a:lnTo>
                    <a:pt x="0" y="214122"/>
                  </a:lnTo>
                  <a:lnTo>
                    <a:pt x="476" y="217265"/>
                  </a:lnTo>
                  <a:lnTo>
                    <a:pt x="6001" y="222980"/>
                  </a:lnTo>
                  <a:lnTo>
                    <a:pt x="10668" y="222409"/>
                  </a:lnTo>
                  <a:lnTo>
                    <a:pt x="11906" y="231838"/>
                  </a:lnTo>
                  <a:lnTo>
                    <a:pt x="24003" y="238315"/>
                  </a:lnTo>
                  <a:lnTo>
                    <a:pt x="34004" y="241840"/>
                  </a:lnTo>
                  <a:lnTo>
                    <a:pt x="35243" y="238506"/>
                  </a:lnTo>
                  <a:lnTo>
                    <a:pt x="41339" y="236125"/>
                  </a:lnTo>
                  <a:lnTo>
                    <a:pt x="41529" y="237744"/>
                  </a:lnTo>
                  <a:lnTo>
                    <a:pt x="35624" y="241649"/>
                  </a:lnTo>
                  <a:lnTo>
                    <a:pt x="42291" y="244031"/>
                  </a:lnTo>
                  <a:lnTo>
                    <a:pt x="45911" y="246793"/>
                  </a:lnTo>
                  <a:lnTo>
                    <a:pt x="45911" y="246793"/>
                  </a:lnTo>
                  <a:lnTo>
                    <a:pt x="44672" y="250127"/>
                  </a:lnTo>
                  <a:lnTo>
                    <a:pt x="47911" y="249746"/>
                  </a:lnTo>
                  <a:lnTo>
                    <a:pt x="46863" y="254698"/>
                  </a:lnTo>
                  <a:lnTo>
                    <a:pt x="48673" y="256032"/>
                  </a:lnTo>
                  <a:lnTo>
                    <a:pt x="44577" y="261366"/>
                  </a:lnTo>
                  <a:lnTo>
                    <a:pt x="46482" y="264319"/>
                  </a:lnTo>
                  <a:lnTo>
                    <a:pt x="49435" y="262319"/>
                  </a:lnTo>
                  <a:lnTo>
                    <a:pt x="57531" y="262890"/>
                  </a:lnTo>
                  <a:lnTo>
                    <a:pt x="58769" y="272415"/>
                  </a:lnTo>
                  <a:lnTo>
                    <a:pt x="61913" y="272034"/>
                  </a:lnTo>
                  <a:lnTo>
                    <a:pt x="62103" y="273558"/>
                  </a:lnTo>
                  <a:lnTo>
                    <a:pt x="63913" y="274987"/>
                  </a:lnTo>
                  <a:lnTo>
                    <a:pt x="60960" y="276892"/>
                  </a:lnTo>
                  <a:lnTo>
                    <a:pt x="61151" y="278511"/>
                  </a:lnTo>
                  <a:lnTo>
                    <a:pt x="65913" y="277940"/>
                  </a:lnTo>
                  <a:lnTo>
                    <a:pt x="67913" y="280892"/>
                  </a:lnTo>
                  <a:lnTo>
                    <a:pt x="71057" y="280511"/>
                  </a:lnTo>
                  <a:lnTo>
                    <a:pt x="66294" y="281083"/>
                  </a:lnTo>
                  <a:lnTo>
                    <a:pt x="65151" y="284417"/>
                  </a:lnTo>
                  <a:lnTo>
                    <a:pt x="74200" y="292894"/>
                  </a:lnTo>
                  <a:lnTo>
                    <a:pt x="75438" y="302323"/>
                  </a:lnTo>
                  <a:lnTo>
                    <a:pt x="77819" y="308419"/>
                  </a:lnTo>
                  <a:lnTo>
                    <a:pt x="78200" y="311658"/>
                  </a:lnTo>
                  <a:lnTo>
                    <a:pt x="76867" y="313373"/>
                  </a:lnTo>
                  <a:lnTo>
                    <a:pt x="83534" y="315754"/>
                  </a:lnTo>
                  <a:lnTo>
                    <a:pt x="79820" y="324231"/>
                  </a:lnTo>
                  <a:lnTo>
                    <a:pt x="71342" y="333375"/>
                  </a:lnTo>
                  <a:lnTo>
                    <a:pt x="73152" y="334709"/>
                  </a:lnTo>
                  <a:lnTo>
                    <a:pt x="73724" y="339471"/>
                  </a:lnTo>
                  <a:lnTo>
                    <a:pt x="67628" y="341852"/>
                  </a:lnTo>
                  <a:lnTo>
                    <a:pt x="66675" y="346805"/>
                  </a:lnTo>
                  <a:lnTo>
                    <a:pt x="68866" y="351282"/>
                  </a:lnTo>
                  <a:lnTo>
                    <a:pt x="69247" y="367284"/>
                  </a:lnTo>
                  <a:lnTo>
                    <a:pt x="71819" y="374999"/>
                  </a:lnTo>
                  <a:lnTo>
                    <a:pt x="70866" y="379952"/>
                  </a:lnTo>
                  <a:lnTo>
                    <a:pt x="74866" y="385858"/>
                  </a:lnTo>
                  <a:lnTo>
                    <a:pt x="77248" y="391954"/>
                  </a:lnTo>
                  <a:lnTo>
                    <a:pt x="85154" y="390906"/>
                  </a:lnTo>
                  <a:lnTo>
                    <a:pt x="90011" y="391954"/>
                  </a:lnTo>
                  <a:lnTo>
                    <a:pt x="87535" y="397002"/>
                  </a:lnTo>
                  <a:lnTo>
                    <a:pt x="91250" y="401384"/>
                  </a:lnTo>
                  <a:lnTo>
                    <a:pt x="97346" y="399002"/>
                  </a:lnTo>
                  <a:lnTo>
                    <a:pt x="100489" y="398621"/>
                  </a:lnTo>
                  <a:lnTo>
                    <a:pt x="100965" y="401765"/>
                  </a:lnTo>
                  <a:lnTo>
                    <a:pt x="101346" y="404908"/>
                  </a:lnTo>
                  <a:lnTo>
                    <a:pt x="106299" y="405860"/>
                  </a:lnTo>
                  <a:lnTo>
                    <a:pt x="106871" y="410623"/>
                  </a:lnTo>
                  <a:lnTo>
                    <a:pt x="110395" y="413385"/>
                  </a:lnTo>
                  <a:lnTo>
                    <a:pt x="114395" y="419290"/>
                  </a:lnTo>
                  <a:lnTo>
                    <a:pt x="121253" y="423196"/>
                  </a:lnTo>
                  <a:lnTo>
                    <a:pt x="110300" y="437388"/>
                  </a:lnTo>
                  <a:lnTo>
                    <a:pt x="111062" y="443770"/>
                  </a:lnTo>
                  <a:lnTo>
                    <a:pt x="116967" y="439769"/>
                  </a:lnTo>
                  <a:lnTo>
                    <a:pt x="122777" y="447104"/>
                  </a:lnTo>
                  <a:lnTo>
                    <a:pt x="136779" y="443675"/>
                  </a:lnTo>
                  <a:lnTo>
                    <a:pt x="146780" y="447199"/>
                  </a:lnTo>
                  <a:lnTo>
                    <a:pt x="148971" y="451771"/>
                  </a:lnTo>
                  <a:lnTo>
                    <a:pt x="150590" y="451580"/>
                  </a:lnTo>
                  <a:lnTo>
                    <a:pt x="150971" y="454723"/>
                  </a:lnTo>
                  <a:lnTo>
                    <a:pt x="149828" y="458057"/>
                  </a:lnTo>
                  <a:lnTo>
                    <a:pt x="154115" y="467106"/>
                  </a:lnTo>
                  <a:lnTo>
                    <a:pt x="154972" y="473392"/>
                  </a:lnTo>
                  <a:lnTo>
                    <a:pt x="158306" y="474631"/>
                  </a:lnTo>
                  <a:lnTo>
                    <a:pt x="163830" y="467487"/>
                  </a:lnTo>
                  <a:lnTo>
                    <a:pt x="168783" y="468440"/>
                  </a:lnTo>
                  <a:lnTo>
                    <a:pt x="170783" y="471392"/>
                  </a:lnTo>
                  <a:lnTo>
                    <a:pt x="171355" y="476155"/>
                  </a:lnTo>
                  <a:lnTo>
                    <a:pt x="182404" y="487585"/>
                  </a:lnTo>
                  <a:lnTo>
                    <a:pt x="184785" y="493681"/>
                  </a:lnTo>
                  <a:lnTo>
                    <a:pt x="190881" y="491300"/>
                  </a:lnTo>
                  <a:lnTo>
                    <a:pt x="191548" y="496062"/>
                  </a:lnTo>
                  <a:lnTo>
                    <a:pt x="196691" y="498634"/>
                  </a:lnTo>
                  <a:lnTo>
                    <a:pt x="207740" y="497205"/>
                  </a:lnTo>
                  <a:lnTo>
                    <a:pt x="207931" y="498729"/>
                  </a:lnTo>
                  <a:lnTo>
                    <a:pt x="203740" y="504063"/>
                  </a:lnTo>
                  <a:lnTo>
                    <a:pt x="208693" y="505111"/>
                  </a:lnTo>
                  <a:lnTo>
                    <a:pt x="207550" y="508444"/>
                  </a:lnTo>
                  <a:lnTo>
                    <a:pt x="218789" y="508635"/>
                  </a:lnTo>
                  <a:lnTo>
                    <a:pt x="222504" y="512921"/>
                  </a:lnTo>
                  <a:lnTo>
                    <a:pt x="227267" y="512350"/>
                  </a:lnTo>
                  <a:lnTo>
                    <a:pt x="231077" y="516636"/>
                  </a:lnTo>
                  <a:lnTo>
                    <a:pt x="230029" y="521589"/>
                  </a:lnTo>
                  <a:lnTo>
                    <a:pt x="224123" y="525590"/>
                  </a:lnTo>
                  <a:lnTo>
                    <a:pt x="227743" y="528352"/>
                  </a:lnTo>
                  <a:lnTo>
                    <a:pt x="226695" y="533209"/>
                  </a:lnTo>
                  <a:lnTo>
                    <a:pt x="234410" y="530638"/>
                  </a:lnTo>
                  <a:lnTo>
                    <a:pt x="237173" y="527113"/>
                  </a:lnTo>
                  <a:lnTo>
                    <a:pt x="243269" y="524732"/>
                  </a:lnTo>
                  <a:lnTo>
                    <a:pt x="244697" y="522923"/>
                  </a:lnTo>
                  <a:lnTo>
                    <a:pt x="247841" y="522542"/>
                  </a:lnTo>
                  <a:lnTo>
                    <a:pt x="254699" y="526447"/>
                  </a:lnTo>
                  <a:lnTo>
                    <a:pt x="253556" y="529876"/>
                  </a:lnTo>
                  <a:lnTo>
                    <a:pt x="259271" y="537115"/>
                  </a:lnTo>
                  <a:lnTo>
                    <a:pt x="267557" y="539306"/>
                  </a:lnTo>
                  <a:lnTo>
                    <a:pt x="273558" y="548164"/>
                  </a:lnTo>
                  <a:lnTo>
                    <a:pt x="270796" y="551688"/>
                  </a:lnTo>
                  <a:lnTo>
                    <a:pt x="267462" y="563309"/>
                  </a:lnTo>
                  <a:lnTo>
                    <a:pt x="261176" y="564166"/>
                  </a:lnTo>
                  <a:lnTo>
                    <a:pt x="259747" y="565976"/>
                  </a:lnTo>
                  <a:lnTo>
                    <a:pt x="252889" y="574834"/>
                  </a:lnTo>
                  <a:lnTo>
                    <a:pt x="253460" y="579596"/>
                  </a:lnTo>
                  <a:lnTo>
                    <a:pt x="258032" y="590169"/>
                  </a:lnTo>
                  <a:lnTo>
                    <a:pt x="269272" y="590360"/>
                  </a:lnTo>
                  <a:lnTo>
                    <a:pt x="268129" y="593693"/>
                  </a:lnTo>
                  <a:lnTo>
                    <a:pt x="271272" y="593312"/>
                  </a:lnTo>
                  <a:lnTo>
                    <a:pt x="274987" y="597694"/>
                  </a:lnTo>
                  <a:lnTo>
                    <a:pt x="281940" y="601599"/>
                  </a:lnTo>
                  <a:lnTo>
                    <a:pt x="289846" y="600551"/>
                  </a:lnTo>
                  <a:lnTo>
                    <a:pt x="296704" y="604552"/>
                  </a:lnTo>
                  <a:lnTo>
                    <a:pt x="303467" y="606838"/>
                  </a:lnTo>
                  <a:lnTo>
                    <a:pt x="305467" y="609790"/>
                  </a:lnTo>
                  <a:lnTo>
                    <a:pt x="307658" y="627221"/>
                  </a:lnTo>
                  <a:lnTo>
                    <a:pt x="317754" y="630745"/>
                  </a:lnTo>
                  <a:lnTo>
                    <a:pt x="328803" y="629317"/>
                  </a:lnTo>
                  <a:lnTo>
                    <a:pt x="335852" y="634841"/>
                  </a:lnTo>
                  <a:lnTo>
                    <a:pt x="338519" y="642461"/>
                  </a:lnTo>
                  <a:lnTo>
                    <a:pt x="342424" y="635603"/>
                  </a:lnTo>
                  <a:lnTo>
                    <a:pt x="349091" y="637889"/>
                  </a:lnTo>
                  <a:lnTo>
                    <a:pt x="349282" y="626650"/>
                  </a:lnTo>
                  <a:lnTo>
                    <a:pt x="352235" y="624745"/>
                  </a:lnTo>
                  <a:lnTo>
                    <a:pt x="356997" y="624078"/>
                  </a:lnTo>
                  <a:lnTo>
                    <a:pt x="356616" y="620935"/>
                  </a:lnTo>
                  <a:lnTo>
                    <a:pt x="359950" y="622173"/>
                  </a:lnTo>
                  <a:lnTo>
                    <a:pt x="359569" y="618935"/>
                  </a:lnTo>
                  <a:lnTo>
                    <a:pt x="373761" y="617125"/>
                  </a:lnTo>
                  <a:lnTo>
                    <a:pt x="383762" y="620649"/>
                  </a:lnTo>
                  <a:lnTo>
                    <a:pt x="389382" y="626364"/>
                  </a:lnTo>
                  <a:lnTo>
                    <a:pt x="391192" y="640652"/>
                  </a:lnTo>
                  <a:lnTo>
                    <a:pt x="393097" y="643604"/>
                  </a:lnTo>
                  <a:lnTo>
                    <a:pt x="391763" y="645319"/>
                  </a:lnTo>
                  <a:lnTo>
                    <a:pt x="400050" y="647510"/>
                  </a:lnTo>
                  <a:lnTo>
                    <a:pt x="399479" y="642747"/>
                  </a:lnTo>
                  <a:lnTo>
                    <a:pt x="398050" y="631698"/>
                  </a:lnTo>
                  <a:lnTo>
                    <a:pt x="394526" y="628936"/>
                  </a:lnTo>
                  <a:lnTo>
                    <a:pt x="394240" y="627412"/>
                  </a:lnTo>
                  <a:lnTo>
                    <a:pt x="406718" y="624173"/>
                  </a:lnTo>
                  <a:lnTo>
                    <a:pt x="421100" y="623983"/>
                  </a:lnTo>
                  <a:lnTo>
                    <a:pt x="419862" y="614458"/>
                  </a:lnTo>
                  <a:lnTo>
                    <a:pt x="414338" y="608743"/>
                  </a:lnTo>
                  <a:lnTo>
                    <a:pt x="415766" y="607028"/>
                  </a:lnTo>
                  <a:lnTo>
                    <a:pt x="422434" y="609314"/>
                  </a:lnTo>
                  <a:lnTo>
                    <a:pt x="429387" y="613315"/>
                  </a:lnTo>
                  <a:lnTo>
                    <a:pt x="434150" y="612648"/>
                  </a:lnTo>
                  <a:lnTo>
                    <a:pt x="442532" y="603599"/>
                  </a:lnTo>
                  <a:lnTo>
                    <a:pt x="443770" y="600265"/>
                  </a:lnTo>
                  <a:lnTo>
                    <a:pt x="449104" y="604361"/>
                  </a:lnTo>
                  <a:lnTo>
                    <a:pt x="455200" y="601980"/>
                  </a:lnTo>
                  <a:lnTo>
                    <a:pt x="456533" y="600170"/>
                  </a:lnTo>
                  <a:lnTo>
                    <a:pt x="457962" y="598456"/>
                  </a:lnTo>
                  <a:lnTo>
                    <a:pt x="459962" y="601408"/>
                  </a:lnTo>
                  <a:lnTo>
                    <a:pt x="463677" y="605695"/>
                  </a:lnTo>
                  <a:lnTo>
                    <a:pt x="469392" y="600170"/>
                  </a:lnTo>
                  <a:lnTo>
                    <a:pt x="473964" y="597980"/>
                  </a:lnTo>
                  <a:lnTo>
                    <a:pt x="474917" y="593027"/>
                  </a:lnTo>
                  <a:lnTo>
                    <a:pt x="479870" y="593979"/>
                  </a:lnTo>
                  <a:lnTo>
                    <a:pt x="483394" y="596741"/>
                  </a:lnTo>
                  <a:lnTo>
                    <a:pt x="489680" y="595979"/>
                  </a:lnTo>
                  <a:lnTo>
                    <a:pt x="493109" y="597122"/>
                  </a:lnTo>
                  <a:lnTo>
                    <a:pt x="492062" y="602075"/>
                  </a:lnTo>
                  <a:lnTo>
                    <a:pt x="495014" y="600075"/>
                  </a:lnTo>
                  <a:lnTo>
                    <a:pt x="493871" y="603504"/>
                  </a:lnTo>
                  <a:lnTo>
                    <a:pt x="495872" y="606457"/>
                  </a:lnTo>
                  <a:lnTo>
                    <a:pt x="499015" y="605981"/>
                  </a:lnTo>
                  <a:lnTo>
                    <a:pt x="498634" y="602837"/>
                  </a:lnTo>
                  <a:lnTo>
                    <a:pt x="503777" y="605409"/>
                  </a:lnTo>
                  <a:lnTo>
                    <a:pt x="509683" y="601408"/>
                  </a:lnTo>
                  <a:lnTo>
                    <a:pt x="516731" y="606933"/>
                  </a:lnTo>
                  <a:lnTo>
                    <a:pt x="517779" y="614839"/>
                  </a:lnTo>
                  <a:lnTo>
                    <a:pt x="520732" y="612839"/>
                  </a:lnTo>
                  <a:lnTo>
                    <a:pt x="527018" y="612077"/>
                  </a:lnTo>
                  <a:lnTo>
                    <a:pt x="536924" y="613982"/>
                  </a:lnTo>
                  <a:lnTo>
                    <a:pt x="543592" y="603504"/>
                  </a:lnTo>
                  <a:lnTo>
                    <a:pt x="550069" y="604266"/>
                  </a:lnTo>
                  <a:lnTo>
                    <a:pt x="555212" y="606838"/>
                  </a:lnTo>
                  <a:lnTo>
                    <a:pt x="555689" y="609981"/>
                  </a:lnTo>
                  <a:lnTo>
                    <a:pt x="559403" y="614362"/>
                  </a:lnTo>
                  <a:lnTo>
                    <a:pt x="568071" y="619697"/>
                  </a:lnTo>
                  <a:lnTo>
                    <a:pt x="571500" y="620840"/>
                  </a:lnTo>
                  <a:lnTo>
                    <a:pt x="571310" y="619220"/>
                  </a:lnTo>
                  <a:lnTo>
                    <a:pt x="570452" y="612934"/>
                  </a:lnTo>
                  <a:lnTo>
                    <a:pt x="577215" y="615315"/>
                  </a:lnTo>
                  <a:lnTo>
                    <a:pt x="576929" y="613696"/>
                  </a:lnTo>
                  <a:lnTo>
                    <a:pt x="576739" y="612172"/>
                  </a:lnTo>
                  <a:lnTo>
                    <a:pt x="579882" y="611791"/>
                  </a:lnTo>
                  <a:lnTo>
                    <a:pt x="584073" y="606361"/>
                  </a:lnTo>
                  <a:lnTo>
                    <a:pt x="587026" y="604457"/>
                  </a:lnTo>
                  <a:lnTo>
                    <a:pt x="589788" y="600837"/>
                  </a:lnTo>
                  <a:lnTo>
                    <a:pt x="593122" y="602075"/>
                  </a:lnTo>
                  <a:lnTo>
                    <a:pt x="594455" y="600265"/>
                  </a:lnTo>
                  <a:lnTo>
                    <a:pt x="598646" y="594932"/>
                  </a:lnTo>
                  <a:lnTo>
                    <a:pt x="598075" y="590169"/>
                  </a:lnTo>
                  <a:lnTo>
                    <a:pt x="592931" y="587597"/>
                  </a:lnTo>
                  <a:lnTo>
                    <a:pt x="597408" y="585407"/>
                  </a:lnTo>
                  <a:lnTo>
                    <a:pt x="594074" y="584264"/>
                  </a:lnTo>
                  <a:lnTo>
                    <a:pt x="597027" y="582263"/>
                  </a:lnTo>
                  <a:lnTo>
                    <a:pt x="600361" y="583502"/>
                  </a:lnTo>
                  <a:lnTo>
                    <a:pt x="599980" y="580358"/>
                  </a:lnTo>
                  <a:lnTo>
                    <a:pt x="599980" y="580358"/>
                  </a:lnTo>
                  <a:lnTo>
                    <a:pt x="592074" y="568452"/>
                  </a:lnTo>
                  <a:lnTo>
                    <a:pt x="592646" y="560451"/>
                  </a:lnTo>
                  <a:lnTo>
                    <a:pt x="596932" y="556641"/>
                  </a:lnTo>
                  <a:lnTo>
                    <a:pt x="604838" y="555688"/>
                  </a:lnTo>
                  <a:lnTo>
                    <a:pt x="614934" y="559213"/>
                  </a:lnTo>
                  <a:lnTo>
                    <a:pt x="617315" y="552450"/>
                  </a:lnTo>
                  <a:lnTo>
                    <a:pt x="622459" y="555022"/>
                  </a:lnTo>
                  <a:lnTo>
                    <a:pt x="621030" y="556832"/>
                  </a:lnTo>
                  <a:lnTo>
                    <a:pt x="624173" y="556355"/>
                  </a:lnTo>
                  <a:lnTo>
                    <a:pt x="622554" y="543782"/>
                  </a:lnTo>
                  <a:lnTo>
                    <a:pt x="632079" y="542544"/>
                  </a:lnTo>
                  <a:lnTo>
                    <a:pt x="635794" y="546926"/>
                  </a:lnTo>
                  <a:lnTo>
                    <a:pt x="638556" y="543306"/>
                  </a:lnTo>
                  <a:lnTo>
                    <a:pt x="638175" y="540163"/>
                  </a:lnTo>
                  <a:lnTo>
                    <a:pt x="642652" y="537972"/>
                  </a:lnTo>
                  <a:lnTo>
                    <a:pt x="642461" y="536448"/>
                  </a:lnTo>
                  <a:lnTo>
                    <a:pt x="647414" y="537401"/>
                  </a:lnTo>
                  <a:lnTo>
                    <a:pt x="650176" y="533781"/>
                  </a:lnTo>
                  <a:lnTo>
                    <a:pt x="649605" y="529114"/>
                  </a:lnTo>
                  <a:lnTo>
                    <a:pt x="656082" y="529876"/>
                  </a:lnTo>
                  <a:lnTo>
                    <a:pt x="659035" y="527876"/>
                  </a:lnTo>
                  <a:lnTo>
                    <a:pt x="659987" y="522923"/>
                  </a:lnTo>
                  <a:lnTo>
                    <a:pt x="662940" y="521017"/>
                  </a:lnTo>
                  <a:lnTo>
                    <a:pt x="671227" y="523113"/>
                  </a:lnTo>
                  <a:lnTo>
                    <a:pt x="675418" y="517779"/>
                  </a:lnTo>
                  <a:lnTo>
                    <a:pt x="675227" y="516160"/>
                  </a:lnTo>
                  <a:lnTo>
                    <a:pt x="672084" y="516636"/>
                  </a:lnTo>
                  <a:lnTo>
                    <a:pt x="670274" y="515207"/>
                  </a:lnTo>
                  <a:lnTo>
                    <a:pt x="672846" y="510064"/>
                  </a:lnTo>
                  <a:lnTo>
                    <a:pt x="677990" y="512636"/>
                  </a:lnTo>
                  <a:lnTo>
                    <a:pt x="682657" y="512064"/>
                  </a:lnTo>
                  <a:lnTo>
                    <a:pt x="681514" y="502539"/>
                  </a:lnTo>
                  <a:lnTo>
                    <a:pt x="682847" y="500825"/>
                  </a:lnTo>
                  <a:lnTo>
                    <a:pt x="683038" y="502348"/>
                  </a:lnTo>
                  <a:lnTo>
                    <a:pt x="685991" y="500444"/>
                  </a:lnTo>
                  <a:lnTo>
                    <a:pt x="687419" y="498634"/>
                  </a:lnTo>
                  <a:lnTo>
                    <a:pt x="693134" y="493109"/>
                  </a:lnTo>
                  <a:lnTo>
                    <a:pt x="693896" y="499396"/>
                  </a:lnTo>
                  <a:lnTo>
                    <a:pt x="695325" y="497586"/>
                  </a:lnTo>
                  <a:lnTo>
                    <a:pt x="696087" y="503968"/>
                  </a:lnTo>
                  <a:lnTo>
                    <a:pt x="699611" y="506635"/>
                  </a:lnTo>
                  <a:lnTo>
                    <a:pt x="702374" y="503111"/>
                  </a:lnTo>
                  <a:lnTo>
                    <a:pt x="707898" y="508825"/>
                  </a:lnTo>
                  <a:lnTo>
                    <a:pt x="712089" y="503492"/>
                  </a:lnTo>
                  <a:lnTo>
                    <a:pt x="715804" y="507778"/>
                  </a:lnTo>
                  <a:lnTo>
                    <a:pt x="715613" y="506254"/>
                  </a:lnTo>
                  <a:lnTo>
                    <a:pt x="720566" y="507206"/>
                  </a:lnTo>
                  <a:lnTo>
                    <a:pt x="728091" y="503015"/>
                  </a:lnTo>
                  <a:lnTo>
                    <a:pt x="728472" y="506254"/>
                  </a:lnTo>
                  <a:lnTo>
                    <a:pt x="726853" y="506444"/>
                  </a:lnTo>
                  <a:lnTo>
                    <a:pt x="733616" y="508730"/>
                  </a:lnTo>
                  <a:lnTo>
                    <a:pt x="734949" y="507016"/>
                  </a:lnTo>
                  <a:lnTo>
                    <a:pt x="736568" y="506825"/>
                  </a:lnTo>
                  <a:lnTo>
                    <a:pt x="737330" y="513112"/>
                  </a:lnTo>
                  <a:lnTo>
                    <a:pt x="738950" y="512921"/>
                  </a:lnTo>
                  <a:lnTo>
                    <a:pt x="738759" y="511302"/>
                  </a:lnTo>
                  <a:lnTo>
                    <a:pt x="742283" y="514064"/>
                  </a:lnTo>
                  <a:lnTo>
                    <a:pt x="743903" y="513874"/>
                  </a:lnTo>
                  <a:lnTo>
                    <a:pt x="745808" y="516827"/>
                  </a:lnTo>
                  <a:lnTo>
                    <a:pt x="747427" y="516636"/>
                  </a:lnTo>
                  <a:lnTo>
                    <a:pt x="749237" y="517969"/>
                  </a:lnTo>
                  <a:lnTo>
                    <a:pt x="749999" y="524351"/>
                  </a:lnTo>
                  <a:lnTo>
                    <a:pt x="751808" y="525685"/>
                  </a:lnTo>
                  <a:lnTo>
                    <a:pt x="752189" y="516065"/>
                  </a:lnTo>
                  <a:lnTo>
                    <a:pt x="753713" y="515779"/>
                  </a:lnTo>
                  <a:lnTo>
                    <a:pt x="752761" y="520732"/>
                  </a:lnTo>
                  <a:lnTo>
                    <a:pt x="754761" y="523684"/>
                  </a:lnTo>
                  <a:lnTo>
                    <a:pt x="760095" y="527876"/>
                  </a:lnTo>
                  <a:lnTo>
                    <a:pt x="769334" y="537877"/>
                  </a:lnTo>
                  <a:lnTo>
                    <a:pt x="781241" y="542830"/>
                  </a:lnTo>
                  <a:lnTo>
                    <a:pt x="785717" y="540639"/>
                  </a:lnTo>
                  <a:lnTo>
                    <a:pt x="788765" y="538639"/>
                  </a:lnTo>
                  <a:lnTo>
                    <a:pt x="784574" y="531114"/>
                  </a:lnTo>
                  <a:lnTo>
                    <a:pt x="783336" y="521684"/>
                  </a:lnTo>
                  <a:lnTo>
                    <a:pt x="788480" y="511397"/>
                  </a:lnTo>
                  <a:lnTo>
                    <a:pt x="793147" y="510826"/>
                  </a:lnTo>
                  <a:lnTo>
                    <a:pt x="792766" y="507682"/>
                  </a:lnTo>
                  <a:lnTo>
                    <a:pt x="787813" y="493871"/>
                  </a:lnTo>
                  <a:lnTo>
                    <a:pt x="790956" y="493395"/>
                  </a:lnTo>
                  <a:lnTo>
                    <a:pt x="787432" y="490728"/>
                  </a:lnTo>
                  <a:lnTo>
                    <a:pt x="784098" y="489490"/>
                  </a:lnTo>
                  <a:lnTo>
                    <a:pt x="785241" y="486156"/>
                  </a:lnTo>
                  <a:lnTo>
                    <a:pt x="788194" y="484156"/>
                  </a:lnTo>
                  <a:lnTo>
                    <a:pt x="784670" y="481394"/>
                  </a:lnTo>
                  <a:lnTo>
                    <a:pt x="790956" y="480632"/>
                  </a:lnTo>
                  <a:lnTo>
                    <a:pt x="792956" y="483584"/>
                  </a:lnTo>
                  <a:lnTo>
                    <a:pt x="796290" y="484727"/>
                  </a:lnTo>
                  <a:lnTo>
                    <a:pt x="797243" y="479774"/>
                  </a:lnTo>
                  <a:lnTo>
                    <a:pt x="798100" y="486156"/>
                  </a:lnTo>
                  <a:lnTo>
                    <a:pt x="802767" y="485489"/>
                  </a:lnTo>
                  <a:lnTo>
                    <a:pt x="802005" y="479203"/>
                  </a:lnTo>
                  <a:lnTo>
                    <a:pt x="803529" y="479012"/>
                  </a:lnTo>
                  <a:lnTo>
                    <a:pt x="810101" y="479774"/>
                  </a:lnTo>
                  <a:lnTo>
                    <a:pt x="814578" y="477584"/>
                  </a:lnTo>
                  <a:lnTo>
                    <a:pt x="819531" y="478536"/>
                  </a:lnTo>
                  <a:lnTo>
                    <a:pt x="820960" y="476821"/>
                  </a:lnTo>
                  <a:lnTo>
                    <a:pt x="816578" y="467773"/>
                  </a:lnTo>
                  <a:lnTo>
                    <a:pt x="818388" y="469106"/>
                  </a:lnTo>
                  <a:lnTo>
                    <a:pt x="822103" y="473392"/>
                  </a:lnTo>
                  <a:lnTo>
                    <a:pt x="823436" y="471678"/>
                  </a:lnTo>
                  <a:lnTo>
                    <a:pt x="829628" y="469297"/>
                  </a:lnTo>
                  <a:lnTo>
                    <a:pt x="830390" y="462725"/>
                  </a:lnTo>
                  <a:lnTo>
                    <a:pt x="833152" y="459200"/>
                  </a:lnTo>
                  <a:lnTo>
                    <a:pt x="832485" y="454438"/>
                  </a:lnTo>
                  <a:lnTo>
                    <a:pt x="830771" y="453104"/>
                  </a:lnTo>
                  <a:lnTo>
                    <a:pt x="830294" y="449961"/>
                  </a:lnTo>
                  <a:lnTo>
                    <a:pt x="822674" y="452533"/>
                  </a:lnTo>
                  <a:lnTo>
                    <a:pt x="819055" y="449771"/>
                  </a:lnTo>
                  <a:lnTo>
                    <a:pt x="827913" y="431006"/>
                  </a:lnTo>
                  <a:lnTo>
                    <a:pt x="825913" y="428054"/>
                  </a:lnTo>
                  <a:lnTo>
                    <a:pt x="822579" y="426911"/>
                  </a:lnTo>
                  <a:lnTo>
                    <a:pt x="822389" y="425291"/>
                  </a:lnTo>
                  <a:lnTo>
                    <a:pt x="827151" y="424720"/>
                  </a:lnTo>
                  <a:lnTo>
                    <a:pt x="829056" y="427673"/>
                  </a:lnTo>
                  <a:lnTo>
                    <a:pt x="832485" y="428815"/>
                  </a:lnTo>
                  <a:lnTo>
                    <a:pt x="835438" y="426815"/>
                  </a:lnTo>
                  <a:lnTo>
                    <a:pt x="835247" y="425291"/>
                  </a:lnTo>
                  <a:lnTo>
                    <a:pt x="831818" y="424053"/>
                  </a:lnTo>
                  <a:lnTo>
                    <a:pt x="833057" y="420719"/>
                  </a:lnTo>
                  <a:lnTo>
                    <a:pt x="833057" y="42071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3" name="Volný tvar: obrazec 22">
              <a:extLst>
                <a:ext uri="{FF2B5EF4-FFF2-40B4-BE49-F238E27FC236}">
                  <a16:creationId xmlns:a16="http://schemas.microsoft.com/office/drawing/2014/main" id="{4CD14E1F-FEEE-ABBE-CA6A-2D16C49986D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05698" y="3006661"/>
              <a:ext cx="335184" cy="266604"/>
            </a:xfrm>
            <a:custGeom>
              <a:avLst/>
              <a:gdLst>
                <a:gd name="connsiteX0" fmla="*/ 306896 w 335184"/>
                <a:gd name="connsiteY0" fmla="*/ 184880 h 266604"/>
                <a:gd name="connsiteX1" fmla="*/ 307372 w 335184"/>
                <a:gd name="connsiteY1" fmla="*/ 188023 h 266604"/>
                <a:gd name="connsiteX2" fmla="*/ 302609 w 335184"/>
                <a:gd name="connsiteY2" fmla="*/ 188595 h 266604"/>
                <a:gd name="connsiteX3" fmla="*/ 303371 w 335184"/>
                <a:gd name="connsiteY3" fmla="*/ 194881 h 266604"/>
                <a:gd name="connsiteX4" fmla="*/ 300609 w 335184"/>
                <a:gd name="connsiteY4" fmla="*/ 198501 h 266604"/>
                <a:gd name="connsiteX5" fmla="*/ 295084 w 335184"/>
                <a:gd name="connsiteY5" fmla="*/ 192786 h 266604"/>
                <a:gd name="connsiteX6" fmla="*/ 293751 w 335184"/>
                <a:gd name="connsiteY6" fmla="*/ 194500 h 266604"/>
                <a:gd name="connsiteX7" fmla="*/ 292703 w 335184"/>
                <a:gd name="connsiteY7" fmla="*/ 199453 h 266604"/>
                <a:gd name="connsiteX8" fmla="*/ 290798 w 335184"/>
                <a:gd name="connsiteY8" fmla="*/ 196501 h 266604"/>
                <a:gd name="connsiteX9" fmla="*/ 289179 w 335184"/>
                <a:gd name="connsiteY9" fmla="*/ 196691 h 266604"/>
                <a:gd name="connsiteX10" fmla="*/ 293370 w 335184"/>
                <a:gd name="connsiteY10" fmla="*/ 204216 h 266604"/>
                <a:gd name="connsiteX11" fmla="*/ 289179 w 335184"/>
                <a:gd name="connsiteY11" fmla="*/ 209550 h 266604"/>
                <a:gd name="connsiteX12" fmla="*/ 284131 w 335184"/>
                <a:gd name="connsiteY12" fmla="*/ 206978 h 266604"/>
                <a:gd name="connsiteX13" fmla="*/ 279368 w 335184"/>
                <a:gd name="connsiteY13" fmla="*/ 207550 h 266604"/>
                <a:gd name="connsiteX14" fmla="*/ 274225 w 335184"/>
                <a:gd name="connsiteY14" fmla="*/ 205073 h 266604"/>
                <a:gd name="connsiteX15" fmla="*/ 274415 w 335184"/>
                <a:gd name="connsiteY15" fmla="*/ 206597 h 266604"/>
                <a:gd name="connsiteX16" fmla="*/ 272605 w 335184"/>
                <a:gd name="connsiteY16" fmla="*/ 205264 h 266604"/>
                <a:gd name="connsiteX17" fmla="*/ 271272 w 335184"/>
                <a:gd name="connsiteY17" fmla="*/ 206978 h 266604"/>
                <a:gd name="connsiteX18" fmla="*/ 269081 w 335184"/>
                <a:gd name="connsiteY18" fmla="*/ 202501 h 266604"/>
                <a:gd name="connsiteX19" fmla="*/ 269462 w 335184"/>
                <a:gd name="connsiteY19" fmla="*/ 205645 h 266604"/>
                <a:gd name="connsiteX20" fmla="*/ 265938 w 335184"/>
                <a:gd name="connsiteY20" fmla="*/ 202882 h 266604"/>
                <a:gd name="connsiteX21" fmla="*/ 265557 w 335184"/>
                <a:gd name="connsiteY21" fmla="*/ 199739 h 266604"/>
                <a:gd name="connsiteX22" fmla="*/ 264128 w 335184"/>
                <a:gd name="connsiteY22" fmla="*/ 201549 h 266604"/>
                <a:gd name="connsiteX23" fmla="*/ 261366 w 335184"/>
                <a:gd name="connsiteY23" fmla="*/ 192214 h 266604"/>
                <a:gd name="connsiteX24" fmla="*/ 256794 w 335184"/>
                <a:gd name="connsiteY24" fmla="*/ 194405 h 266604"/>
                <a:gd name="connsiteX25" fmla="*/ 256604 w 335184"/>
                <a:gd name="connsiteY25" fmla="*/ 192881 h 266604"/>
                <a:gd name="connsiteX26" fmla="*/ 254889 w 335184"/>
                <a:gd name="connsiteY26" fmla="*/ 191452 h 266604"/>
                <a:gd name="connsiteX27" fmla="*/ 251936 w 335184"/>
                <a:gd name="connsiteY27" fmla="*/ 193453 h 266604"/>
                <a:gd name="connsiteX28" fmla="*/ 251460 w 335184"/>
                <a:gd name="connsiteY28" fmla="*/ 190309 h 266604"/>
                <a:gd name="connsiteX29" fmla="*/ 251270 w 335184"/>
                <a:gd name="connsiteY29" fmla="*/ 188690 h 266604"/>
                <a:gd name="connsiteX30" fmla="*/ 248317 w 335184"/>
                <a:gd name="connsiteY30" fmla="*/ 190690 h 266604"/>
                <a:gd name="connsiteX31" fmla="*/ 249079 w 335184"/>
                <a:gd name="connsiteY31" fmla="*/ 184213 h 266604"/>
                <a:gd name="connsiteX32" fmla="*/ 244602 w 335184"/>
                <a:gd name="connsiteY32" fmla="*/ 186404 h 266604"/>
                <a:gd name="connsiteX33" fmla="*/ 243364 w 335184"/>
                <a:gd name="connsiteY33" fmla="*/ 189738 h 266604"/>
                <a:gd name="connsiteX34" fmla="*/ 243364 w 335184"/>
                <a:gd name="connsiteY34" fmla="*/ 189738 h 266604"/>
                <a:gd name="connsiteX35" fmla="*/ 240411 w 335184"/>
                <a:gd name="connsiteY35" fmla="*/ 191738 h 266604"/>
                <a:gd name="connsiteX36" fmla="*/ 237458 w 335184"/>
                <a:gd name="connsiteY36" fmla="*/ 193643 h 266604"/>
                <a:gd name="connsiteX37" fmla="*/ 238887 w 335184"/>
                <a:gd name="connsiteY37" fmla="*/ 191929 h 266604"/>
                <a:gd name="connsiteX38" fmla="*/ 235744 w 335184"/>
                <a:gd name="connsiteY38" fmla="*/ 192310 h 266604"/>
                <a:gd name="connsiteX39" fmla="*/ 235267 w 335184"/>
                <a:gd name="connsiteY39" fmla="*/ 189166 h 266604"/>
                <a:gd name="connsiteX40" fmla="*/ 233744 w 335184"/>
                <a:gd name="connsiteY40" fmla="*/ 189357 h 266604"/>
                <a:gd name="connsiteX41" fmla="*/ 228791 w 335184"/>
                <a:gd name="connsiteY41" fmla="*/ 188404 h 266604"/>
                <a:gd name="connsiteX42" fmla="*/ 228981 w 335184"/>
                <a:gd name="connsiteY42" fmla="*/ 189928 h 266604"/>
                <a:gd name="connsiteX43" fmla="*/ 226219 w 335184"/>
                <a:gd name="connsiteY43" fmla="*/ 193548 h 266604"/>
                <a:gd name="connsiteX44" fmla="*/ 221551 w 335184"/>
                <a:gd name="connsiteY44" fmla="*/ 194119 h 266604"/>
                <a:gd name="connsiteX45" fmla="*/ 214408 w 335184"/>
                <a:gd name="connsiteY45" fmla="*/ 188595 h 266604"/>
                <a:gd name="connsiteX46" fmla="*/ 211455 w 335184"/>
                <a:gd name="connsiteY46" fmla="*/ 190595 h 266604"/>
                <a:gd name="connsiteX47" fmla="*/ 205359 w 335184"/>
                <a:gd name="connsiteY47" fmla="*/ 192976 h 266604"/>
                <a:gd name="connsiteX48" fmla="*/ 211265 w 335184"/>
                <a:gd name="connsiteY48" fmla="*/ 201835 h 266604"/>
                <a:gd name="connsiteX49" fmla="*/ 203740 w 335184"/>
                <a:gd name="connsiteY49" fmla="*/ 206026 h 266604"/>
                <a:gd name="connsiteX50" fmla="*/ 204216 w 335184"/>
                <a:gd name="connsiteY50" fmla="*/ 209169 h 266604"/>
                <a:gd name="connsiteX51" fmla="*/ 202406 w 335184"/>
                <a:gd name="connsiteY51" fmla="*/ 207740 h 266604"/>
                <a:gd name="connsiteX52" fmla="*/ 200978 w 335184"/>
                <a:gd name="connsiteY52" fmla="*/ 209550 h 266604"/>
                <a:gd name="connsiteX53" fmla="*/ 199644 w 335184"/>
                <a:gd name="connsiteY53" fmla="*/ 211360 h 266604"/>
                <a:gd name="connsiteX54" fmla="*/ 196501 w 335184"/>
                <a:gd name="connsiteY54" fmla="*/ 211741 h 266604"/>
                <a:gd name="connsiteX55" fmla="*/ 195644 w 335184"/>
                <a:gd name="connsiteY55" fmla="*/ 205454 h 266604"/>
                <a:gd name="connsiteX56" fmla="*/ 180308 w 335184"/>
                <a:gd name="connsiteY56" fmla="*/ 210598 h 266604"/>
                <a:gd name="connsiteX57" fmla="*/ 181070 w 335184"/>
                <a:gd name="connsiteY57" fmla="*/ 216884 h 266604"/>
                <a:gd name="connsiteX58" fmla="*/ 182690 w 335184"/>
                <a:gd name="connsiteY58" fmla="*/ 216694 h 266604"/>
                <a:gd name="connsiteX59" fmla="*/ 182880 w 335184"/>
                <a:gd name="connsiteY59" fmla="*/ 218313 h 266604"/>
                <a:gd name="connsiteX60" fmla="*/ 171831 w 335184"/>
                <a:gd name="connsiteY60" fmla="*/ 219646 h 266604"/>
                <a:gd name="connsiteX61" fmla="*/ 172403 w 335184"/>
                <a:gd name="connsiteY61" fmla="*/ 224409 h 266604"/>
                <a:gd name="connsiteX62" fmla="*/ 167354 w 335184"/>
                <a:gd name="connsiteY62" fmla="*/ 221837 h 266604"/>
                <a:gd name="connsiteX63" fmla="*/ 166973 w 335184"/>
                <a:gd name="connsiteY63" fmla="*/ 231553 h 266604"/>
                <a:gd name="connsiteX64" fmla="*/ 164211 w 335184"/>
                <a:gd name="connsiteY64" fmla="*/ 235077 h 266604"/>
                <a:gd name="connsiteX65" fmla="*/ 159258 w 335184"/>
                <a:gd name="connsiteY65" fmla="*/ 234125 h 266604"/>
                <a:gd name="connsiteX66" fmla="*/ 155924 w 335184"/>
                <a:gd name="connsiteY66" fmla="*/ 232981 h 266604"/>
                <a:gd name="connsiteX67" fmla="*/ 152495 w 335184"/>
                <a:gd name="connsiteY67" fmla="*/ 231743 h 266604"/>
                <a:gd name="connsiteX68" fmla="*/ 148400 w 335184"/>
                <a:gd name="connsiteY68" fmla="*/ 237077 h 266604"/>
                <a:gd name="connsiteX69" fmla="*/ 137732 w 335184"/>
                <a:gd name="connsiteY69" fmla="*/ 241649 h 266604"/>
                <a:gd name="connsiteX70" fmla="*/ 133064 w 335184"/>
                <a:gd name="connsiteY70" fmla="*/ 242316 h 266604"/>
                <a:gd name="connsiteX71" fmla="*/ 122111 w 335184"/>
                <a:gd name="connsiteY71" fmla="*/ 232410 h 266604"/>
                <a:gd name="connsiteX72" fmla="*/ 120777 w 335184"/>
                <a:gd name="connsiteY72" fmla="*/ 234220 h 266604"/>
                <a:gd name="connsiteX73" fmla="*/ 116872 w 335184"/>
                <a:gd name="connsiteY73" fmla="*/ 253937 h 266604"/>
                <a:gd name="connsiteX74" fmla="*/ 117634 w 335184"/>
                <a:gd name="connsiteY74" fmla="*/ 260223 h 266604"/>
                <a:gd name="connsiteX75" fmla="*/ 118110 w 335184"/>
                <a:gd name="connsiteY75" fmla="*/ 263462 h 266604"/>
                <a:gd name="connsiteX76" fmla="*/ 118491 w 335184"/>
                <a:gd name="connsiteY76" fmla="*/ 266605 h 266604"/>
                <a:gd name="connsiteX77" fmla="*/ 115157 w 335184"/>
                <a:gd name="connsiteY77" fmla="*/ 265367 h 266604"/>
                <a:gd name="connsiteX78" fmla="*/ 112776 w 335184"/>
                <a:gd name="connsiteY78" fmla="*/ 259271 h 266604"/>
                <a:gd name="connsiteX79" fmla="*/ 107823 w 335184"/>
                <a:gd name="connsiteY79" fmla="*/ 258318 h 266604"/>
                <a:gd name="connsiteX80" fmla="*/ 101917 w 335184"/>
                <a:gd name="connsiteY80" fmla="*/ 262318 h 266604"/>
                <a:gd name="connsiteX81" fmla="*/ 101727 w 335184"/>
                <a:gd name="connsiteY81" fmla="*/ 260699 h 266604"/>
                <a:gd name="connsiteX82" fmla="*/ 101251 w 335184"/>
                <a:gd name="connsiteY82" fmla="*/ 257556 h 266604"/>
                <a:gd name="connsiteX83" fmla="*/ 97917 w 335184"/>
                <a:gd name="connsiteY83" fmla="*/ 256413 h 266604"/>
                <a:gd name="connsiteX84" fmla="*/ 92012 w 335184"/>
                <a:gd name="connsiteY84" fmla="*/ 260318 h 266604"/>
                <a:gd name="connsiteX85" fmla="*/ 91821 w 335184"/>
                <a:gd name="connsiteY85" fmla="*/ 258794 h 266604"/>
                <a:gd name="connsiteX86" fmla="*/ 77438 w 335184"/>
                <a:gd name="connsiteY86" fmla="*/ 258985 h 266604"/>
                <a:gd name="connsiteX87" fmla="*/ 75247 w 335184"/>
                <a:gd name="connsiteY87" fmla="*/ 254413 h 266604"/>
                <a:gd name="connsiteX88" fmla="*/ 69913 w 335184"/>
                <a:gd name="connsiteY88" fmla="*/ 250317 h 266604"/>
                <a:gd name="connsiteX89" fmla="*/ 67913 w 335184"/>
                <a:gd name="connsiteY89" fmla="*/ 247364 h 266604"/>
                <a:gd name="connsiteX90" fmla="*/ 71628 w 335184"/>
                <a:gd name="connsiteY90" fmla="*/ 238887 h 266604"/>
                <a:gd name="connsiteX91" fmla="*/ 74581 w 335184"/>
                <a:gd name="connsiteY91" fmla="*/ 236887 h 266604"/>
                <a:gd name="connsiteX92" fmla="*/ 79724 w 335184"/>
                <a:gd name="connsiteY92" fmla="*/ 239459 h 266604"/>
                <a:gd name="connsiteX93" fmla="*/ 83629 w 335184"/>
                <a:gd name="connsiteY93" fmla="*/ 232505 h 266604"/>
                <a:gd name="connsiteX94" fmla="*/ 83439 w 335184"/>
                <a:gd name="connsiteY94" fmla="*/ 230981 h 266604"/>
                <a:gd name="connsiteX95" fmla="*/ 81725 w 335184"/>
                <a:gd name="connsiteY95" fmla="*/ 229552 h 266604"/>
                <a:gd name="connsiteX96" fmla="*/ 72390 w 335184"/>
                <a:gd name="connsiteY96" fmla="*/ 232315 h 266604"/>
                <a:gd name="connsiteX97" fmla="*/ 70866 w 335184"/>
                <a:gd name="connsiteY97" fmla="*/ 232600 h 266604"/>
                <a:gd name="connsiteX98" fmla="*/ 70675 w 335184"/>
                <a:gd name="connsiteY98" fmla="*/ 230981 h 266604"/>
                <a:gd name="connsiteX99" fmla="*/ 79153 w 335184"/>
                <a:gd name="connsiteY99" fmla="*/ 221837 h 266604"/>
                <a:gd name="connsiteX100" fmla="*/ 78486 w 335184"/>
                <a:gd name="connsiteY100" fmla="*/ 217170 h 266604"/>
                <a:gd name="connsiteX101" fmla="*/ 74962 w 335184"/>
                <a:gd name="connsiteY101" fmla="*/ 214408 h 266604"/>
                <a:gd name="connsiteX102" fmla="*/ 81058 w 335184"/>
                <a:gd name="connsiteY102" fmla="*/ 212026 h 266604"/>
                <a:gd name="connsiteX103" fmla="*/ 75724 w 335184"/>
                <a:gd name="connsiteY103" fmla="*/ 207836 h 266604"/>
                <a:gd name="connsiteX104" fmla="*/ 74104 w 335184"/>
                <a:gd name="connsiteY104" fmla="*/ 208121 h 266604"/>
                <a:gd name="connsiteX105" fmla="*/ 63532 w 335184"/>
                <a:gd name="connsiteY105" fmla="*/ 212693 h 266604"/>
                <a:gd name="connsiteX106" fmla="*/ 61150 w 335184"/>
                <a:gd name="connsiteY106" fmla="*/ 206502 h 266604"/>
                <a:gd name="connsiteX107" fmla="*/ 57912 w 335184"/>
                <a:gd name="connsiteY107" fmla="*/ 206978 h 266604"/>
                <a:gd name="connsiteX108" fmla="*/ 56007 w 335184"/>
                <a:gd name="connsiteY108" fmla="*/ 204025 h 266604"/>
                <a:gd name="connsiteX109" fmla="*/ 52578 w 335184"/>
                <a:gd name="connsiteY109" fmla="*/ 202787 h 266604"/>
                <a:gd name="connsiteX110" fmla="*/ 52388 w 335184"/>
                <a:gd name="connsiteY110" fmla="*/ 201263 h 266604"/>
                <a:gd name="connsiteX111" fmla="*/ 48673 w 335184"/>
                <a:gd name="connsiteY111" fmla="*/ 196882 h 266604"/>
                <a:gd name="connsiteX112" fmla="*/ 51625 w 335184"/>
                <a:gd name="connsiteY112" fmla="*/ 194881 h 266604"/>
                <a:gd name="connsiteX113" fmla="*/ 52007 w 335184"/>
                <a:gd name="connsiteY113" fmla="*/ 185261 h 266604"/>
                <a:gd name="connsiteX114" fmla="*/ 59055 w 335184"/>
                <a:gd name="connsiteY114" fmla="*/ 190786 h 266604"/>
                <a:gd name="connsiteX115" fmla="*/ 63437 w 335184"/>
                <a:gd name="connsiteY115" fmla="*/ 174212 h 266604"/>
                <a:gd name="connsiteX116" fmla="*/ 63246 w 335184"/>
                <a:gd name="connsiteY116" fmla="*/ 172593 h 266604"/>
                <a:gd name="connsiteX117" fmla="*/ 50387 w 335184"/>
                <a:gd name="connsiteY117" fmla="*/ 172593 h 266604"/>
                <a:gd name="connsiteX118" fmla="*/ 43244 w 335184"/>
                <a:gd name="connsiteY118" fmla="*/ 167068 h 266604"/>
                <a:gd name="connsiteX119" fmla="*/ 39719 w 335184"/>
                <a:gd name="connsiteY119" fmla="*/ 164401 h 266604"/>
                <a:gd name="connsiteX120" fmla="*/ 30194 w 335184"/>
                <a:gd name="connsiteY120" fmla="*/ 152781 h 266604"/>
                <a:gd name="connsiteX121" fmla="*/ 30004 w 335184"/>
                <a:gd name="connsiteY121" fmla="*/ 151162 h 266604"/>
                <a:gd name="connsiteX122" fmla="*/ 30766 w 335184"/>
                <a:gd name="connsiteY122" fmla="*/ 144685 h 266604"/>
                <a:gd name="connsiteX123" fmla="*/ 29242 w 335184"/>
                <a:gd name="connsiteY123" fmla="*/ 144875 h 266604"/>
                <a:gd name="connsiteX124" fmla="*/ 31909 w 335184"/>
                <a:gd name="connsiteY124" fmla="*/ 141256 h 266604"/>
                <a:gd name="connsiteX125" fmla="*/ 31528 w 335184"/>
                <a:gd name="connsiteY125" fmla="*/ 138113 h 266604"/>
                <a:gd name="connsiteX126" fmla="*/ 26765 w 335184"/>
                <a:gd name="connsiteY126" fmla="*/ 138779 h 266604"/>
                <a:gd name="connsiteX127" fmla="*/ 26384 w 335184"/>
                <a:gd name="connsiteY127" fmla="*/ 135541 h 266604"/>
                <a:gd name="connsiteX128" fmla="*/ 23241 w 335184"/>
                <a:gd name="connsiteY128" fmla="*/ 136017 h 266604"/>
                <a:gd name="connsiteX129" fmla="*/ 21241 w 335184"/>
                <a:gd name="connsiteY129" fmla="*/ 133064 h 266604"/>
                <a:gd name="connsiteX130" fmla="*/ 16383 w 335184"/>
                <a:gd name="connsiteY130" fmla="*/ 132016 h 266604"/>
                <a:gd name="connsiteX131" fmla="*/ 15716 w 335184"/>
                <a:gd name="connsiteY131" fmla="*/ 127349 h 266604"/>
                <a:gd name="connsiteX132" fmla="*/ 18859 w 335184"/>
                <a:gd name="connsiteY132" fmla="*/ 126873 h 266604"/>
                <a:gd name="connsiteX133" fmla="*/ 23432 w 335184"/>
                <a:gd name="connsiteY133" fmla="*/ 124777 h 266604"/>
                <a:gd name="connsiteX134" fmla="*/ 22384 w 335184"/>
                <a:gd name="connsiteY134" fmla="*/ 116872 h 266604"/>
                <a:gd name="connsiteX135" fmla="*/ 33433 w 335184"/>
                <a:gd name="connsiteY135" fmla="*/ 115443 h 266604"/>
                <a:gd name="connsiteX136" fmla="*/ 37052 w 335184"/>
                <a:gd name="connsiteY136" fmla="*/ 118205 h 266604"/>
                <a:gd name="connsiteX137" fmla="*/ 38195 w 335184"/>
                <a:gd name="connsiteY137" fmla="*/ 114871 h 266604"/>
                <a:gd name="connsiteX138" fmla="*/ 44672 w 335184"/>
                <a:gd name="connsiteY138" fmla="*/ 115633 h 266604"/>
                <a:gd name="connsiteX139" fmla="*/ 44482 w 335184"/>
                <a:gd name="connsiteY139" fmla="*/ 114014 h 266604"/>
                <a:gd name="connsiteX140" fmla="*/ 44291 w 335184"/>
                <a:gd name="connsiteY140" fmla="*/ 112490 h 266604"/>
                <a:gd name="connsiteX141" fmla="*/ 44101 w 335184"/>
                <a:gd name="connsiteY141" fmla="*/ 110871 h 266604"/>
                <a:gd name="connsiteX142" fmla="*/ 40767 w 335184"/>
                <a:gd name="connsiteY142" fmla="*/ 109728 h 266604"/>
                <a:gd name="connsiteX143" fmla="*/ 41910 w 335184"/>
                <a:gd name="connsiteY143" fmla="*/ 106299 h 266604"/>
                <a:gd name="connsiteX144" fmla="*/ 34004 w 335184"/>
                <a:gd name="connsiteY144" fmla="*/ 107347 h 266604"/>
                <a:gd name="connsiteX145" fmla="*/ 33052 w 335184"/>
                <a:gd name="connsiteY145" fmla="*/ 99441 h 266604"/>
                <a:gd name="connsiteX146" fmla="*/ 30099 w 335184"/>
                <a:gd name="connsiteY146" fmla="*/ 101441 h 266604"/>
                <a:gd name="connsiteX147" fmla="*/ 24955 w 335184"/>
                <a:gd name="connsiteY147" fmla="*/ 98869 h 266604"/>
                <a:gd name="connsiteX148" fmla="*/ 23717 w 335184"/>
                <a:gd name="connsiteY148" fmla="*/ 89440 h 266604"/>
                <a:gd name="connsiteX149" fmla="*/ 20193 w 335184"/>
                <a:gd name="connsiteY149" fmla="*/ 86677 h 266604"/>
                <a:gd name="connsiteX150" fmla="*/ 23146 w 335184"/>
                <a:gd name="connsiteY150" fmla="*/ 84677 h 266604"/>
                <a:gd name="connsiteX151" fmla="*/ 19145 w 335184"/>
                <a:gd name="connsiteY151" fmla="*/ 78772 h 266604"/>
                <a:gd name="connsiteX152" fmla="*/ 13049 w 335184"/>
                <a:gd name="connsiteY152" fmla="*/ 81153 h 266604"/>
                <a:gd name="connsiteX153" fmla="*/ 8572 w 335184"/>
                <a:gd name="connsiteY153" fmla="*/ 83344 h 266604"/>
                <a:gd name="connsiteX154" fmla="*/ 4953 w 335184"/>
                <a:gd name="connsiteY154" fmla="*/ 80581 h 266604"/>
                <a:gd name="connsiteX155" fmla="*/ 667 w 335184"/>
                <a:gd name="connsiteY155" fmla="*/ 84296 h 266604"/>
                <a:gd name="connsiteX156" fmla="*/ 191 w 335184"/>
                <a:gd name="connsiteY156" fmla="*/ 81153 h 266604"/>
                <a:gd name="connsiteX157" fmla="*/ 0 w 335184"/>
                <a:gd name="connsiteY157" fmla="*/ 79629 h 266604"/>
                <a:gd name="connsiteX158" fmla="*/ 9334 w 335184"/>
                <a:gd name="connsiteY158" fmla="*/ 76771 h 266604"/>
                <a:gd name="connsiteX159" fmla="*/ 8668 w 335184"/>
                <a:gd name="connsiteY159" fmla="*/ 72104 h 266604"/>
                <a:gd name="connsiteX160" fmla="*/ 10096 w 335184"/>
                <a:gd name="connsiteY160" fmla="*/ 70294 h 266604"/>
                <a:gd name="connsiteX161" fmla="*/ 11811 w 335184"/>
                <a:gd name="connsiteY161" fmla="*/ 71723 h 266604"/>
                <a:gd name="connsiteX162" fmla="*/ 13621 w 335184"/>
                <a:gd name="connsiteY162" fmla="*/ 73057 h 266604"/>
                <a:gd name="connsiteX163" fmla="*/ 21336 w 335184"/>
                <a:gd name="connsiteY163" fmla="*/ 70485 h 266604"/>
                <a:gd name="connsiteX164" fmla="*/ 21146 w 335184"/>
                <a:gd name="connsiteY164" fmla="*/ 68866 h 266604"/>
                <a:gd name="connsiteX165" fmla="*/ 22479 w 335184"/>
                <a:gd name="connsiteY165" fmla="*/ 67151 h 266604"/>
                <a:gd name="connsiteX166" fmla="*/ 22670 w 335184"/>
                <a:gd name="connsiteY166" fmla="*/ 68675 h 266604"/>
                <a:gd name="connsiteX167" fmla="*/ 31813 w 335184"/>
                <a:gd name="connsiteY167" fmla="*/ 64294 h 266604"/>
                <a:gd name="connsiteX168" fmla="*/ 37909 w 335184"/>
                <a:gd name="connsiteY168" fmla="*/ 61913 h 266604"/>
                <a:gd name="connsiteX169" fmla="*/ 41815 w 335184"/>
                <a:gd name="connsiteY169" fmla="*/ 67818 h 266604"/>
                <a:gd name="connsiteX170" fmla="*/ 43244 w 335184"/>
                <a:gd name="connsiteY170" fmla="*/ 66103 h 266604"/>
                <a:gd name="connsiteX171" fmla="*/ 50483 w 335184"/>
                <a:gd name="connsiteY171" fmla="*/ 60388 h 266604"/>
                <a:gd name="connsiteX172" fmla="*/ 48292 w 335184"/>
                <a:gd name="connsiteY172" fmla="*/ 55816 h 266604"/>
                <a:gd name="connsiteX173" fmla="*/ 52864 w 335184"/>
                <a:gd name="connsiteY173" fmla="*/ 53626 h 266604"/>
                <a:gd name="connsiteX174" fmla="*/ 52483 w 335184"/>
                <a:gd name="connsiteY174" fmla="*/ 50482 h 266604"/>
                <a:gd name="connsiteX175" fmla="*/ 57436 w 335184"/>
                <a:gd name="connsiteY175" fmla="*/ 51435 h 266604"/>
                <a:gd name="connsiteX176" fmla="*/ 59150 w 335184"/>
                <a:gd name="connsiteY176" fmla="*/ 52864 h 266604"/>
                <a:gd name="connsiteX177" fmla="*/ 62294 w 335184"/>
                <a:gd name="connsiteY177" fmla="*/ 52388 h 266604"/>
                <a:gd name="connsiteX178" fmla="*/ 62960 w 335184"/>
                <a:gd name="connsiteY178" fmla="*/ 57150 h 266604"/>
                <a:gd name="connsiteX179" fmla="*/ 65342 w 335184"/>
                <a:gd name="connsiteY179" fmla="*/ 63246 h 266604"/>
                <a:gd name="connsiteX180" fmla="*/ 65913 w 335184"/>
                <a:gd name="connsiteY180" fmla="*/ 68008 h 266604"/>
                <a:gd name="connsiteX181" fmla="*/ 72009 w 335184"/>
                <a:gd name="connsiteY181" fmla="*/ 65627 h 266604"/>
                <a:gd name="connsiteX182" fmla="*/ 90011 w 335184"/>
                <a:gd name="connsiteY182" fmla="*/ 68104 h 266604"/>
                <a:gd name="connsiteX183" fmla="*/ 94679 w 335184"/>
                <a:gd name="connsiteY183" fmla="*/ 67532 h 266604"/>
                <a:gd name="connsiteX184" fmla="*/ 90392 w 335184"/>
                <a:gd name="connsiteY184" fmla="*/ 58483 h 266604"/>
                <a:gd name="connsiteX185" fmla="*/ 92678 w 335184"/>
                <a:gd name="connsiteY185" fmla="*/ 51721 h 266604"/>
                <a:gd name="connsiteX186" fmla="*/ 91154 w 335184"/>
                <a:gd name="connsiteY186" fmla="*/ 51911 h 266604"/>
                <a:gd name="connsiteX187" fmla="*/ 90964 w 335184"/>
                <a:gd name="connsiteY187" fmla="*/ 50387 h 266604"/>
                <a:gd name="connsiteX188" fmla="*/ 90107 w 335184"/>
                <a:gd name="connsiteY188" fmla="*/ 44101 h 266604"/>
                <a:gd name="connsiteX189" fmla="*/ 91535 w 335184"/>
                <a:gd name="connsiteY189" fmla="*/ 42291 h 266604"/>
                <a:gd name="connsiteX190" fmla="*/ 91059 w 335184"/>
                <a:gd name="connsiteY190" fmla="*/ 39148 h 266604"/>
                <a:gd name="connsiteX191" fmla="*/ 96393 w 335184"/>
                <a:gd name="connsiteY191" fmla="*/ 30480 h 266604"/>
                <a:gd name="connsiteX192" fmla="*/ 102965 w 335184"/>
                <a:gd name="connsiteY192" fmla="*/ 31242 h 266604"/>
                <a:gd name="connsiteX193" fmla="*/ 108013 w 335184"/>
                <a:gd name="connsiteY193" fmla="*/ 33814 h 266604"/>
                <a:gd name="connsiteX194" fmla="*/ 111252 w 335184"/>
                <a:gd name="connsiteY194" fmla="*/ 33338 h 266604"/>
                <a:gd name="connsiteX195" fmla="*/ 116776 w 335184"/>
                <a:gd name="connsiteY195" fmla="*/ 39052 h 266604"/>
                <a:gd name="connsiteX196" fmla="*/ 121253 w 335184"/>
                <a:gd name="connsiteY196" fmla="*/ 36862 h 266604"/>
                <a:gd name="connsiteX197" fmla="*/ 122301 w 335184"/>
                <a:gd name="connsiteY197" fmla="*/ 32004 h 266604"/>
                <a:gd name="connsiteX198" fmla="*/ 125635 w 335184"/>
                <a:gd name="connsiteY198" fmla="*/ 33147 h 266604"/>
                <a:gd name="connsiteX199" fmla="*/ 136493 w 335184"/>
                <a:gd name="connsiteY199" fmla="*/ 30194 h 266604"/>
                <a:gd name="connsiteX200" fmla="*/ 136493 w 335184"/>
                <a:gd name="connsiteY200" fmla="*/ 30194 h 266604"/>
                <a:gd name="connsiteX201" fmla="*/ 135826 w 335184"/>
                <a:gd name="connsiteY201" fmla="*/ 25432 h 266604"/>
                <a:gd name="connsiteX202" fmla="*/ 140779 w 335184"/>
                <a:gd name="connsiteY202" fmla="*/ 26384 h 266604"/>
                <a:gd name="connsiteX203" fmla="*/ 140017 w 335184"/>
                <a:gd name="connsiteY203" fmla="*/ 20098 h 266604"/>
                <a:gd name="connsiteX204" fmla="*/ 149828 w 335184"/>
                <a:gd name="connsiteY204" fmla="*/ 22003 h 266604"/>
                <a:gd name="connsiteX205" fmla="*/ 162496 w 335184"/>
                <a:gd name="connsiteY205" fmla="*/ 20383 h 266604"/>
                <a:gd name="connsiteX206" fmla="*/ 167259 w 335184"/>
                <a:gd name="connsiteY206" fmla="*/ 19812 h 266604"/>
                <a:gd name="connsiteX207" fmla="*/ 166402 w 335184"/>
                <a:gd name="connsiteY207" fmla="*/ 13525 h 266604"/>
                <a:gd name="connsiteX208" fmla="*/ 168021 w 335184"/>
                <a:gd name="connsiteY208" fmla="*/ 13335 h 266604"/>
                <a:gd name="connsiteX209" fmla="*/ 167354 w 335184"/>
                <a:gd name="connsiteY209" fmla="*/ 8572 h 266604"/>
                <a:gd name="connsiteX210" fmla="*/ 176879 w 335184"/>
                <a:gd name="connsiteY210" fmla="*/ 7334 h 266604"/>
                <a:gd name="connsiteX211" fmla="*/ 176498 w 335184"/>
                <a:gd name="connsiteY211" fmla="*/ 4191 h 266604"/>
                <a:gd name="connsiteX212" fmla="*/ 189452 w 335184"/>
                <a:gd name="connsiteY212" fmla="*/ 5715 h 266604"/>
                <a:gd name="connsiteX213" fmla="*/ 196025 w 335184"/>
                <a:gd name="connsiteY213" fmla="*/ 6572 h 266604"/>
                <a:gd name="connsiteX214" fmla="*/ 197167 w 335184"/>
                <a:gd name="connsiteY214" fmla="*/ 3143 h 266604"/>
                <a:gd name="connsiteX215" fmla="*/ 203645 w 335184"/>
                <a:gd name="connsiteY215" fmla="*/ 3905 h 266604"/>
                <a:gd name="connsiteX216" fmla="*/ 209645 w 335184"/>
                <a:gd name="connsiteY216" fmla="*/ 0 h 266604"/>
                <a:gd name="connsiteX217" fmla="*/ 214503 w 335184"/>
                <a:gd name="connsiteY217" fmla="*/ 952 h 266604"/>
                <a:gd name="connsiteX218" fmla="*/ 214408 w 335184"/>
                <a:gd name="connsiteY218" fmla="*/ 12192 h 266604"/>
                <a:gd name="connsiteX219" fmla="*/ 212788 w 335184"/>
                <a:gd name="connsiteY219" fmla="*/ 12382 h 266604"/>
                <a:gd name="connsiteX220" fmla="*/ 213550 w 335184"/>
                <a:gd name="connsiteY220" fmla="*/ 18764 h 266604"/>
                <a:gd name="connsiteX221" fmla="*/ 217932 w 335184"/>
                <a:gd name="connsiteY221" fmla="*/ 14954 h 266604"/>
                <a:gd name="connsiteX222" fmla="*/ 219932 w 335184"/>
                <a:gd name="connsiteY222" fmla="*/ 17907 h 266604"/>
                <a:gd name="connsiteX223" fmla="*/ 222885 w 335184"/>
                <a:gd name="connsiteY223" fmla="*/ 15907 h 266604"/>
                <a:gd name="connsiteX224" fmla="*/ 224028 w 335184"/>
                <a:gd name="connsiteY224" fmla="*/ 12573 h 266604"/>
                <a:gd name="connsiteX225" fmla="*/ 227838 w 335184"/>
                <a:gd name="connsiteY225" fmla="*/ 16954 h 266604"/>
                <a:gd name="connsiteX226" fmla="*/ 232696 w 335184"/>
                <a:gd name="connsiteY226" fmla="*/ 17907 h 266604"/>
                <a:gd name="connsiteX227" fmla="*/ 235077 w 335184"/>
                <a:gd name="connsiteY227" fmla="*/ 24003 h 266604"/>
                <a:gd name="connsiteX228" fmla="*/ 233744 w 335184"/>
                <a:gd name="connsiteY228" fmla="*/ 25813 h 266604"/>
                <a:gd name="connsiteX229" fmla="*/ 234505 w 335184"/>
                <a:gd name="connsiteY229" fmla="*/ 32099 h 266604"/>
                <a:gd name="connsiteX230" fmla="*/ 237458 w 335184"/>
                <a:gd name="connsiteY230" fmla="*/ 30099 h 266604"/>
                <a:gd name="connsiteX231" fmla="*/ 239268 w 335184"/>
                <a:gd name="connsiteY231" fmla="*/ 31432 h 266604"/>
                <a:gd name="connsiteX232" fmla="*/ 245745 w 335184"/>
                <a:gd name="connsiteY232" fmla="*/ 32290 h 266604"/>
                <a:gd name="connsiteX233" fmla="*/ 249936 w 335184"/>
                <a:gd name="connsiteY233" fmla="*/ 26956 h 266604"/>
                <a:gd name="connsiteX234" fmla="*/ 253079 w 335184"/>
                <a:gd name="connsiteY234" fmla="*/ 26479 h 266604"/>
                <a:gd name="connsiteX235" fmla="*/ 259556 w 335184"/>
                <a:gd name="connsiteY235" fmla="*/ 27241 h 266604"/>
                <a:gd name="connsiteX236" fmla="*/ 255651 w 335184"/>
                <a:gd name="connsiteY236" fmla="*/ 34195 h 266604"/>
                <a:gd name="connsiteX237" fmla="*/ 251079 w 335184"/>
                <a:gd name="connsiteY237" fmla="*/ 36385 h 266604"/>
                <a:gd name="connsiteX238" fmla="*/ 253270 w 335184"/>
                <a:gd name="connsiteY238" fmla="*/ 40957 h 266604"/>
                <a:gd name="connsiteX239" fmla="*/ 253460 w 335184"/>
                <a:gd name="connsiteY239" fmla="*/ 42481 h 266604"/>
                <a:gd name="connsiteX240" fmla="*/ 255937 w 335184"/>
                <a:gd name="connsiteY240" fmla="*/ 48577 h 266604"/>
                <a:gd name="connsiteX241" fmla="*/ 261461 w 335184"/>
                <a:gd name="connsiteY241" fmla="*/ 54292 h 266604"/>
                <a:gd name="connsiteX242" fmla="*/ 261461 w 335184"/>
                <a:gd name="connsiteY242" fmla="*/ 54292 h 266604"/>
                <a:gd name="connsiteX243" fmla="*/ 263366 w 335184"/>
                <a:gd name="connsiteY243" fmla="*/ 57245 h 266604"/>
                <a:gd name="connsiteX244" fmla="*/ 266795 w 335184"/>
                <a:gd name="connsiteY244" fmla="*/ 58483 h 266604"/>
                <a:gd name="connsiteX245" fmla="*/ 274415 w 335184"/>
                <a:gd name="connsiteY245" fmla="*/ 55912 h 266604"/>
                <a:gd name="connsiteX246" fmla="*/ 276225 w 335184"/>
                <a:gd name="connsiteY246" fmla="*/ 57245 h 266604"/>
                <a:gd name="connsiteX247" fmla="*/ 283940 w 335184"/>
                <a:gd name="connsiteY247" fmla="*/ 54673 h 266604"/>
                <a:gd name="connsiteX248" fmla="*/ 284702 w 335184"/>
                <a:gd name="connsiteY248" fmla="*/ 60960 h 266604"/>
                <a:gd name="connsiteX249" fmla="*/ 301085 w 335184"/>
                <a:gd name="connsiteY249" fmla="*/ 63722 h 266604"/>
                <a:gd name="connsiteX250" fmla="*/ 300133 w 335184"/>
                <a:gd name="connsiteY250" fmla="*/ 81439 h 266604"/>
                <a:gd name="connsiteX251" fmla="*/ 305467 w 335184"/>
                <a:gd name="connsiteY251" fmla="*/ 85630 h 266604"/>
                <a:gd name="connsiteX252" fmla="*/ 308420 w 335184"/>
                <a:gd name="connsiteY252" fmla="*/ 83629 h 266604"/>
                <a:gd name="connsiteX253" fmla="*/ 313563 w 335184"/>
                <a:gd name="connsiteY253" fmla="*/ 86201 h 266604"/>
                <a:gd name="connsiteX254" fmla="*/ 323659 w 335184"/>
                <a:gd name="connsiteY254" fmla="*/ 89725 h 266604"/>
                <a:gd name="connsiteX255" fmla="*/ 322326 w 335184"/>
                <a:gd name="connsiteY255" fmla="*/ 91440 h 266604"/>
                <a:gd name="connsiteX256" fmla="*/ 322707 w 335184"/>
                <a:gd name="connsiteY256" fmla="*/ 94583 h 266604"/>
                <a:gd name="connsiteX257" fmla="*/ 322707 w 335184"/>
                <a:gd name="connsiteY257" fmla="*/ 94583 h 266604"/>
                <a:gd name="connsiteX258" fmla="*/ 332804 w 335184"/>
                <a:gd name="connsiteY258" fmla="*/ 98203 h 266604"/>
                <a:gd name="connsiteX259" fmla="*/ 335185 w 335184"/>
                <a:gd name="connsiteY259" fmla="*/ 104299 h 266604"/>
                <a:gd name="connsiteX260" fmla="*/ 329279 w 335184"/>
                <a:gd name="connsiteY260" fmla="*/ 121063 h 266604"/>
                <a:gd name="connsiteX261" fmla="*/ 321374 w 335184"/>
                <a:gd name="connsiteY261" fmla="*/ 122015 h 266604"/>
                <a:gd name="connsiteX262" fmla="*/ 321564 w 335184"/>
                <a:gd name="connsiteY262" fmla="*/ 123634 h 266604"/>
                <a:gd name="connsiteX263" fmla="*/ 309563 w 335184"/>
                <a:gd name="connsiteY263" fmla="*/ 130016 h 266604"/>
                <a:gd name="connsiteX264" fmla="*/ 301657 w 335184"/>
                <a:gd name="connsiteY264" fmla="*/ 130969 h 266604"/>
                <a:gd name="connsiteX265" fmla="*/ 300323 w 335184"/>
                <a:gd name="connsiteY265" fmla="*/ 132778 h 266604"/>
                <a:gd name="connsiteX266" fmla="*/ 300323 w 335184"/>
                <a:gd name="connsiteY266" fmla="*/ 132778 h 266604"/>
                <a:gd name="connsiteX267" fmla="*/ 295561 w 335184"/>
                <a:gd name="connsiteY267" fmla="*/ 133350 h 266604"/>
                <a:gd name="connsiteX268" fmla="*/ 295751 w 335184"/>
                <a:gd name="connsiteY268" fmla="*/ 134969 h 266604"/>
                <a:gd name="connsiteX269" fmla="*/ 290798 w 335184"/>
                <a:gd name="connsiteY269" fmla="*/ 133921 h 266604"/>
                <a:gd name="connsiteX270" fmla="*/ 292799 w 335184"/>
                <a:gd name="connsiteY270" fmla="*/ 136874 h 266604"/>
                <a:gd name="connsiteX271" fmla="*/ 289846 w 335184"/>
                <a:gd name="connsiteY271" fmla="*/ 138874 h 266604"/>
                <a:gd name="connsiteX272" fmla="*/ 288226 w 335184"/>
                <a:gd name="connsiteY272" fmla="*/ 139065 h 266604"/>
                <a:gd name="connsiteX273" fmla="*/ 287655 w 335184"/>
                <a:gd name="connsiteY273" fmla="*/ 147161 h 266604"/>
                <a:gd name="connsiteX274" fmla="*/ 290513 w 335184"/>
                <a:gd name="connsiteY274" fmla="*/ 156496 h 266604"/>
                <a:gd name="connsiteX275" fmla="*/ 294989 w 335184"/>
                <a:gd name="connsiteY275" fmla="*/ 154305 h 266604"/>
                <a:gd name="connsiteX276" fmla="*/ 297371 w 335184"/>
                <a:gd name="connsiteY276" fmla="*/ 147542 h 266604"/>
                <a:gd name="connsiteX277" fmla="*/ 302705 w 335184"/>
                <a:gd name="connsiteY277" fmla="*/ 151733 h 266604"/>
                <a:gd name="connsiteX278" fmla="*/ 306896 w 335184"/>
                <a:gd name="connsiteY278" fmla="*/ 159163 h 266604"/>
                <a:gd name="connsiteX279" fmla="*/ 300514 w 335184"/>
                <a:gd name="connsiteY279" fmla="*/ 160020 h 266604"/>
                <a:gd name="connsiteX280" fmla="*/ 299752 w 335184"/>
                <a:gd name="connsiteY280" fmla="*/ 166497 h 266604"/>
                <a:gd name="connsiteX281" fmla="*/ 303943 w 335184"/>
                <a:gd name="connsiteY281" fmla="*/ 174022 h 266604"/>
                <a:gd name="connsiteX282" fmla="*/ 308134 w 335184"/>
                <a:gd name="connsiteY282" fmla="*/ 181451 h 266604"/>
                <a:gd name="connsiteX283" fmla="*/ 306896 w 335184"/>
                <a:gd name="connsiteY283" fmla="*/ 184880 h 266604"/>
                <a:gd name="connsiteX284" fmla="*/ 306896 w 335184"/>
                <a:gd name="connsiteY284" fmla="*/ 184880 h 266604"/>
                <a:gd name="connsiteX285" fmla="*/ 306896 w 335184"/>
                <a:gd name="connsiteY285" fmla="*/ 184880 h 26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</a:cxnLst>
              <a:rect l="l" t="t" r="r" b="b"/>
              <a:pathLst>
                <a:path w="335184" h="266604">
                  <a:moveTo>
                    <a:pt x="306896" y="184880"/>
                  </a:moveTo>
                  <a:lnTo>
                    <a:pt x="307372" y="188023"/>
                  </a:lnTo>
                  <a:lnTo>
                    <a:pt x="302609" y="188595"/>
                  </a:lnTo>
                  <a:lnTo>
                    <a:pt x="303371" y="194881"/>
                  </a:lnTo>
                  <a:lnTo>
                    <a:pt x="300609" y="198501"/>
                  </a:lnTo>
                  <a:lnTo>
                    <a:pt x="295084" y="192786"/>
                  </a:lnTo>
                  <a:lnTo>
                    <a:pt x="293751" y="194500"/>
                  </a:lnTo>
                  <a:lnTo>
                    <a:pt x="292703" y="199453"/>
                  </a:lnTo>
                  <a:lnTo>
                    <a:pt x="290798" y="196501"/>
                  </a:lnTo>
                  <a:lnTo>
                    <a:pt x="289179" y="196691"/>
                  </a:lnTo>
                  <a:lnTo>
                    <a:pt x="293370" y="204216"/>
                  </a:lnTo>
                  <a:lnTo>
                    <a:pt x="289179" y="209550"/>
                  </a:lnTo>
                  <a:lnTo>
                    <a:pt x="284131" y="206978"/>
                  </a:lnTo>
                  <a:lnTo>
                    <a:pt x="279368" y="207550"/>
                  </a:lnTo>
                  <a:lnTo>
                    <a:pt x="274225" y="205073"/>
                  </a:lnTo>
                  <a:lnTo>
                    <a:pt x="274415" y="206597"/>
                  </a:lnTo>
                  <a:lnTo>
                    <a:pt x="272605" y="205264"/>
                  </a:lnTo>
                  <a:lnTo>
                    <a:pt x="271272" y="206978"/>
                  </a:lnTo>
                  <a:lnTo>
                    <a:pt x="269081" y="202501"/>
                  </a:lnTo>
                  <a:lnTo>
                    <a:pt x="269462" y="205645"/>
                  </a:lnTo>
                  <a:lnTo>
                    <a:pt x="265938" y="202882"/>
                  </a:lnTo>
                  <a:lnTo>
                    <a:pt x="265557" y="199739"/>
                  </a:lnTo>
                  <a:lnTo>
                    <a:pt x="264128" y="201549"/>
                  </a:lnTo>
                  <a:lnTo>
                    <a:pt x="261366" y="192214"/>
                  </a:lnTo>
                  <a:lnTo>
                    <a:pt x="256794" y="194405"/>
                  </a:lnTo>
                  <a:lnTo>
                    <a:pt x="256604" y="192881"/>
                  </a:lnTo>
                  <a:lnTo>
                    <a:pt x="254889" y="191452"/>
                  </a:lnTo>
                  <a:lnTo>
                    <a:pt x="251936" y="193453"/>
                  </a:lnTo>
                  <a:lnTo>
                    <a:pt x="251460" y="190309"/>
                  </a:lnTo>
                  <a:lnTo>
                    <a:pt x="251270" y="188690"/>
                  </a:lnTo>
                  <a:lnTo>
                    <a:pt x="248317" y="190690"/>
                  </a:lnTo>
                  <a:lnTo>
                    <a:pt x="249079" y="184213"/>
                  </a:lnTo>
                  <a:lnTo>
                    <a:pt x="244602" y="186404"/>
                  </a:lnTo>
                  <a:lnTo>
                    <a:pt x="243364" y="189738"/>
                  </a:lnTo>
                  <a:lnTo>
                    <a:pt x="243364" y="189738"/>
                  </a:lnTo>
                  <a:lnTo>
                    <a:pt x="240411" y="191738"/>
                  </a:lnTo>
                  <a:lnTo>
                    <a:pt x="237458" y="193643"/>
                  </a:lnTo>
                  <a:lnTo>
                    <a:pt x="238887" y="191929"/>
                  </a:lnTo>
                  <a:lnTo>
                    <a:pt x="235744" y="192310"/>
                  </a:lnTo>
                  <a:lnTo>
                    <a:pt x="235267" y="189166"/>
                  </a:lnTo>
                  <a:lnTo>
                    <a:pt x="233744" y="189357"/>
                  </a:lnTo>
                  <a:lnTo>
                    <a:pt x="228791" y="188404"/>
                  </a:lnTo>
                  <a:lnTo>
                    <a:pt x="228981" y="189928"/>
                  </a:lnTo>
                  <a:lnTo>
                    <a:pt x="226219" y="193548"/>
                  </a:lnTo>
                  <a:lnTo>
                    <a:pt x="221551" y="194119"/>
                  </a:lnTo>
                  <a:lnTo>
                    <a:pt x="214408" y="188595"/>
                  </a:lnTo>
                  <a:lnTo>
                    <a:pt x="211455" y="190595"/>
                  </a:lnTo>
                  <a:lnTo>
                    <a:pt x="205359" y="192976"/>
                  </a:lnTo>
                  <a:lnTo>
                    <a:pt x="211265" y="201835"/>
                  </a:lnTo>
                  <a:lnTo>
                    <a:pt x="203740" y="206026"/>
                  </a:lnTo>
                  <a:lnTo>
                    <a:pt x="204216" y="209169"/>
                  </a:lnTo>
                  <a:lnTo>
                    <a:pt x="202406" y="207740"/>
                  </a:lnTo>
                  <a:lnTo>
                    <a:pt x="200978" y="209550"/>
                  </a:lnTo>
                  <a:lnTo>
                    <a:pt x="199644" y="211360"/>
                  </a:lnTo>
                  <a:lnTo>
                    <a:pt x="196501" y="211741"/>
                  </a:lnTo>
                  <a:lnTo>
                    <a:pt x="195644" y="205454"/>
                  </a:lnTo>
                  <a:lnTo>
                    <a:pt x="180308" y="210598"/>
                  </a:lnTo>
                  <a:lnTo>
                    <a:pt x="181070" y="216884"/>
                  </a:lnTo>
                  <a:lnTo>
                    <a:pt x="182690" y="216694"/>
                  </a:lnTo>
                  <a:lnTo>
                    <a:pt x="182880" y="218313"/>
                  </a:lnTo>
                  <a:lnTo>
                    <a:pt x="171831" y="219646"/>
                  </a:lnTo>
                  <a:lnTo>
                    <a:pt x="172403" y="224409"/>
                  </a:lnTo>
                  <a:lnTo>
                    <a:pt x="167354" y="221837"/>
                  </a:lnTo>
                  <a:lnTo>
                    <a:pt x="166973" y="231553"/>
                  </a:lnTo>
                  <a:lnTo>
                    <a:pt x="164211" y="235077"/>
                  </a:lnTo>
                  <a:lnTo>
                    <a:pt x="159258" y="234125"/>
                  </a:lnTo>
                  <a:lnTo>
                    <a:pt x="155924" y="232981"/>
                  </a:lnTo>
                  <a:lnTo>
                    <a:pt x="152495" y="231743"/>
                  </a:lnTo>
                  <a:lnTo>
                    <a:pt x="148400" y="237077"/>
                  </a:lnTo>
                  <a:lnTo>
                    <a:pt x="137732" y="241649"/>
                  </a:lnTo>
                  <a:lnTo>
                    <a:pt x="133064" y="242316"/>
                  </a:lnTo>
                  <a:lnTo>
                    <a:pt x="122111" y="232410"/>
                  </a:lnTo>
                  <a:lnTo>
                    <a:pt x="120777" y="234220"/>
                  </a:lnTo>
                  <a:lnTo>
                    <a:pt x="116872" y="253937"/>
                  </a:lnTo>
                  <a:lnTo>
                    <a:pt x="117634" y="260223"/>
                  </a:lnTo>
                  <a:lnTo>
                    <a:pt x="118110" y="263462"/>
                  </a:lnTo>
                  <a:lnTo>
                    <a:pt x="118491" y="266605"/>
                  </a:lnTo>
                  <a:lnTo>
                    <a:pt x="115157" y="265367"/>
                  </a:lnTo>
                  <a:lnTo>
                    <a:pt x="112776" y="259271"/>
                  </a:lnTo>
                  <a:lnTo>
                    <a:pt x="107823" y="258318"/>
                  </a:lnTo>
                  <a:lnTo>
                    <a:pt x="101917" y="262318"/>
                  </a:lnTo>
                  <a:lnTo>
                    <a:pt x="101727" y="260699"/>
                  </a:lnTo>
                  <a:lnTo>
                    <a:pt x="101251" y="257556"/>
                  </a:lnTo>
                  <a:lnTo>
                    <a:pt x="97917" y="256413"/>
                  </a:lnTo>
                  <a:lnTo>
                    <a:pt x="92012" y="260318"/>
                  </a:lnTo>
                  <a:lnTo>
                    <a:pt x="91821" y="258794"/>
                  </a:lnTo>
                  <a:lnTo>
                    <a:pt x="77438" y="258985"/>
                  </a:lnTo>
                  <a:lnTo>
                    <a:pt x="75247" y="254413"/>
                  </a:lnTo>
                  <a:lnTo>
                    <a:pt x="69913" y="250317"/>
                  </a:lnTo>
                  <a:lnTo>
                    <a:pt x="67913" y="247364"/>
                  </a:lnTo>
                  <a:lnTo>
                    <a:pt x="71628" y="238887"/>
                  </a:lnTo>
                  <a:lnTo>
                    <a:pt x="74581" y="236887"/>
                  </a:lnTo>
                  <a:lnTo>
                    <a:pt x="79724" y="239459"/>
                  </a:lnTo>
                  <a:lnTo>
                    <a:pt x="83629" y="232505"/>
                  </a:lnTo>
                  <a:lnTo>
                    <a:pt x="83439" y="230981"/>
                  </a:lnTo>
                  <a:lnTo>
                    <a:pt x="81725" y="229552"/>
                  </a:lnTo>
                  <a:lnTo>
                    <a:pt x="72390" y="232315"/>
                  </a:lnTo>
                  <a:lnTo>
                    <a:pt x="70866" y="232600"/>
                  </a:lnTo>
                  <a:lnTo>
                    <a:pt x="70675" y="230981"/>
                  </a:lnTo>
                  <a:lnTo>
                    <a:pt x="79153" y="221837"/>
                  </a:lnTo>
                  <a:lnTo>
                    <a:pt x="78486" y="217170"/>
                  </a:lnTo>
                  <a:lnTo>
                    <a:pt x="74962" y="214408"/>
                  </a:lnTo>
                  <a:lnTo>
                    <a:pt x="81058" y="212026"/>
                  </a:lnTo>
                  <a:lnTo>
                    <a:pt x="75724" y="207836"/>
                  </a:lnTo>
                  <a:lnTo>
                    <a:pt x="74104" y="208121"/>
                  </a:lnTo>
                  <a:lnTo>
                    <a:pt x="63532" y="212693"/>
                  </a:lnTo>
                  <a:lnTo>
                    <a:pt x="61150" y="206502"/>
                  </a:lnTo>
                  <a:lnTo>
                    <a:pt x="57912" y="206978"/>
                  </a:lnTo>
                  <a:lnTo>
                    <a:pt x="56007" y="204025"/>
                  </a:lnTo>
                  <a:lnTo>
                    <a:pt x="52578" y="202787"/>
                  </a:lnTo>
                  <a:lnTo>
                    <a:pt x="52388" y="201263"/>
                  </a:lnTo>
                  <a:lnTo>
                    <a:pt x="48673" y="196882"/>
                  </a:lnTo>
                  <a:lnTo>
                    <a:pt x="51625" y="194881"/>
                  </a:lnTo>
                  <a:lnTo>
                    <a:pt x="52007" y="185261"/>
                  </a:lnTo>
                  <a:lnTo>
                    <a:pt x="59055" y="190786"/>
                  </a:lnTo>
                  <a:lnTo>
                    <a:pt x="63437" y="174212"/>
                  </a:lnTo>
                  <a:lnTo>
                    <a:pt x="63246" y="172593"/>
                  </a:lnTo>
                  <a:lnTo>
                    <a:pt x="50387" y="172593"/>
                  </a:lnTo>
                  <a:lnTo>
                    <a:pt x="43244" y="167068"/>
                  </a:lnTo>
                  <a:lnTo>
                    <a:pt x="39719" y="164401"/>
                  </a:lnTo>
                  <a:lnTo>
                    <a:pt x="30194" y="152781"/>
                  </a:lnTo>
                  <a:lnTo>
                    <a:pt x="30004" y="151162"/>
                  </a:lnTo>
                  <a:lnTo>
                    <a:pt x="30766" y="144685"/>
                  </a:lnTo>
                  <a:lnTo>
                    <a:pt x="29242" y="144875"/>
                  </a:lnTo>
                  <a:lnTo>
                    <a:pt x="31909" y="141256"/>
                  </a:lnTo>
                  <a:lnTo>
                    <a:pt x="31528" y="138113"/>
                  </a:lnTo>
                  <a:lnTo>
                    <a:pt x="26765" y="138779"/>
                  </a:lnTo>
                  <a:lnTo>
                    <a:pt x="26384" y="135541"/>
                  </a:lnTo>
                  <a:lnTo>
                    <a:pt x="23241" y="136017"/>
                  </a:lnTo>
                  <a:lnTo>
                    <a:pt x="21241" y="133064"/>
                  </a:lnTo>
                  <a:lnTo>
                    <a:pt x="16383" y="132016"/>
                  </a:lnTo>
                  <a:lnTo>
                    <a:pt x="15716" y="127349"/>
                  </a:lnTo>
                  <a:lnTo>
                    <a:pt x="18859" y="126873"/>
                  </a:lnTo>
                  <a:lnTo>
                    <a:pt x="23432" y="124777"/>
                  </a:lnTo>
                  <a:lnTo>
                    <a:pt x="22384" y="116872"/>
                  </a:lnTo>
                  <a:lnTo>
                    <a:pt x="33433" y="115443"/>
                  </a:lnTo>
                  <a:lnTo>
                    <a:pt x="37052" y="118205"/>
                  </a:lnTo>
                  <a:lnTo>
                    <a:pt x="38195" y="114871"/>
                  </a:lnTo>
                  <a:lnTo>
                    <a:pt x="44672" y="115633"/>
                  </a:lnTo>
                  <a:lnTo>
                    <a:pt x="44482" y="114014"/>
                  </a:lnTo>
                  <a:lnTo>
                    <a:pt x="44291" y="112490"/>
                  </a:lnTo>
                  <a:lnTo>
                    <a:pt x="44101" y="110871"/>
                  </a:lnTo>
                  <a:lnTo>
                    <a:pt x="40767" y="109728"/>
                  </a:lnTo>
                  <a:lnTo>
                    <a:pt x="41910" y="106299"/>
                  </a:lnTo>
                  <a:lnTo>
                    <a:pt x="34004" y="107347"/>
                  </a:lnTo>
                  <a:lnTo>
                    <a:pt x="33052" y="99441"/>
                  </a:lnTo>
                  <a:lnTo>
                    <a:pt x="30099" y="101441"/>
                  </a:lnTo>
                  <a:lnTo>
                    <a:pt x="24955" y="98869"/>
                  </a:lnTo>
                  <a:lnTo>
                    <a:pt x="23717" y="89440"/>
                  </a:lnTo>
                  <a:lnTo>
                    <a:pt x="20193" y="86677"/>
                  </a:lnTo>
                  <a:lnTo>
                    <a:pt x="23146" y="84677"/>
                  </a:lnTo>
                  <a:lnTo>
                    <a:pt x="19145" y="78772"/>
                  </a:lnTo>
                  <a:lnTo>
                    <a:pt x="13049" y="81153"/>
                  </a:lnTo>
                  <a:lnTo>
                    <a:pt x="8572" y="83344"/>
                  </a:lnTo>
                  <a:lnTo>
                    <a:pt x="4953" y="80581"/>
                  </a:lnTo>
                  <a:lnTo>
                    <a:pt x="667" y="84296"/>
                  </a:lnTo>
                  <a:lnTo>
                    <a:pt x="191" y="81153"/>
                  </a:lnTo>
                  <a:lnTo>
                    <a:pt x="0" y="79629"/>
                  </a:lnTo>
                  <a:lnTo>
                    <a:pt x="9334" y="76771"/>
                  </a:lnTo>
                  <a:lnTo>
                    <a:pt x="8668" y="72104"/>
                  </a:lnTo>
                  <a:lnTo>
                    <a:pt x="10096" y="70294"/>
                  </a:lnTo>
                  <a:lnTo>
                    <a:pt x="11811" y="71723"/>
                  </a:lnTo>
                  <a:lnTo>
                    <a:pt x="13621" y="73057"/>
                  </a:lnTo>
                  <a:lnTo>
                    <a:pt x="21336" y="70485"/>
                  </a:lnTo>
                  <a:lnTo>
                    <a:pt x="21146" y="68866"/>
                  </a:lnTo>
                  <a:lnTo>
                    <a:pt x="22479" y="67151"/>
                  </a:lnTo>
                  <a:lnTo>
                    <a:pt x="22670" y="68675"/>
                  </a:lnTo>
                  <a:lnTo>
                    <a:pt x="31813" y="64294"/>
                  </a:lnTo>
                  <a:lnTo>
                    <a:pt x="37909" y="61913"/>
                  </a:lnTo>
                  <a:lnTo>
                    <a:pt x="41815" y="67818"/>
                  </a:lnTo>
                  <a:lnTo>
                    <a:pt x="43244" y="66103"/>
                  </a:lnTo>
                  <a:lnTo>
                    <a:pt x="50483" y="60388"/>
                  </a:lnTo>
                  <a:lnTo>
                    <a:pt x="48292" y="55816"/>
                  </a:lnTo>
                  <a:lnTo>
                    <a:pt x="52864" y="53626"/>
                  </a:lnTo>
                  <a:lnTo>
                    <a:pt x="52483" y="50482"/>
                  </a:lnTo>
                  <a:lnTo>
                    <a:pt x="57436" y="51435"/>
                  </a:lnTo>
                  <a:lnTo>
                    <a:pt x="59150" y="52864"/>
                  </a:lnTo>
                  <a:lnTo>
                    <a:pt x="62294" y="52388"/>
                  </a:lnTo>
                  <a:lnTo>
                    <a:pt x="62960" y="57150"/>
                  </a:lnTo>
                  <a:lnTo>
                    <a:pt x="65342" y="63246"/>
                  </a:lnTo>
                  <a:lnTo>
                    <a:pt x="65913" y="68008"/>
                  </a:lnTo>
                  <a:lnTo>
                    <a:pt x="72009" y="65627"/>
                  </a:lnTo>
                  <a:lnTo>
                    <a:pt x="90011" y="68104"/>
                  </a:lnTo>
                  <a:lnTo>
                    <a:pt x="94679" y="67532"/>
                  </a:lnTo>
                  <a:lnTo>
                    <a:pt x="90392" y="58483"/>
                  </a:lnTo>
                  <a:lnTo>
                    <a:pt x="92678" y="51721"/>
                  </a:lnTo>
                  <a:lnTo>
                    <a:pt x="91154" y="51911"/>
                  </a:lnTo>
                  <a:lnTo>
                    <a:pt x="90964" y="50387"/>
                  </a:lnTo>
                  <a:lnTo>
                    <a:pt x="90107" y="44101"/>
                  </a:lnTo>
                  <a:lnTo>
                    <a:pt x="91535" y="42291"/>
                  </a:lnTo>
                  <a:lnTo>
                    <a:pt x="91059" y="39148"/>
                  </a:lnTo>
                  <a:lnTo>
                    <a:pt x="96393" y="30480"/>
                  </a:lnTo>
                  <a:lnTo>
                    <a:pt x="102965" y="31242"/>
                  </a:lnTo>
                  <a:lnTo>
                    <a:pt x="108013" y="33814"/>
                  </a:lnTo>
                  <a:lnTo>
                    <a:pt x="111252" y="33338"/>
                  </a:lnTo>
                  <a:lnTo>
                    <a:pt x="116776" y="39052"/>
                  </a:lnTo>
                  <a:lnTo>
                    <a:pt x="121253" y="36862"/>
                  </a:lnTo>
                  <a:lnTo>
                    <a:pt x="122301" y="32004"/>
                  </a:lnTo>
                  <a:lnTo>
                    <a:pt x="125635" y="33147"/>
                  </a:lnTo>
                  <a:lnTo>
                    <a:pt x="136493" y="30194"/>
                  </a:lnTo>
                  <a:lnTo>
                    <a:pt x="136493" y="30194"/>
                  </a:lnTo>
                  <a:lnTo>
                    <a:pt x="135826" y="25432"/>
                  </a:lnTo>
                  <a:lnTo>
                    <a:pt x="140779" y="26384"/>
                  </a:lnTo>
                  <a:lnTo>
                    <a:pt x="140017" y="20098"/>
                  </a:lnTo>
                  <a:lnTo>
                    <a:pt x="149828" y="22003"/>
                  </a:lnTo>
                  <a:lnTo>
                    <a:pt x="162496" y="20383"/>
                  </a:lnTo>
                  <a:lnTo>
                    <a:pt x="167259" y="19812"/>
                  </a:lnTo>
                  <a:lnTo>
                    <a:pt x="166402" y="13525"/>
                  </a:lnTo>
                  <a:lnTo>
                    <a:pt x="168021" y="13335"/>
                  </a:lnTo>
                  <a:lnTo>
                    <a:pt x="167354" y="8572"/>
                  </a:lnTo>
                  <a:lnTo>
                    <a:pt x="176879" y="7334"/>
                  </a:lnTo>
                  <a:lnTo>
                    <a:pt x="176498" y="4191"/>
                  </a:lnTo>
                  <a:lnTo>
                    <a:pt x="189452" y="5715"/>
                  </a:lnTo>
                  <a:lnTo>
                    <a:pt x="196025" y="6572"/>
                  </a:lnTo>
                  <a:lnTo>
                    <a:pt x="197167" y="3143"/>
                  </a:lnTo>
                  <a:lnTo>
                    <a:pt x="203645" y="3905"/>
                  </a:lnTo>
                  <a:lnTo>
                    <a:pt x="209645" y="0"/>
                  </a:lnTo>
                  <a:lnTo>
                    <a:pt x="214503" y="952"/>
                  </a:lnTo>
                  <a:lnTo>
                    <a:pt x="214408" y="12192"/>
                  </a:lnTo>
                  <a:lnTo>
                    <a:pt x="212788" y="12382"/>
                  </a:lnTo>
                  <a:lnTo>
                    <a:pt x="213550" y="18764"/>
                  </a:lnTo>
                  <a:lnTo>
                    <a:pt x="217932" y="14954"/>
                  </a:lnTo>
                  <a:lnTo>
                    <a:pt x="219932" y="17907"/>
                  </a:lnTo>
                  <a:lnTo>
                    <a:pt x="222885" y="15907"/>
                  </a:lnTo>
                  <a:lnTo>
                    <a:pt x="224028" y="12573"/>
                  </a:lnTo>
                  <a:lnTo>
                    <a:pt x="227838" y="16954"/>
                  </a:lnTo>
                  <a:lnTo>
                    <a:pt x="232696" y="17907"/>
                  </a:lnTo>
                  <a:lnTo>
                    <a:pt x="235077" y="24003"/>
                  </a:lnTo>
                  <a:lnTo>
                    <a:pt x="233744" y="25813"/>
                  </a:lnTo>
                  <a:lnTo>
                    <a:pt x="234505" y="32099"/>
                  </a:lnTo>
                  <a:lnTo>
                    <a:pt x="237458" y="30099"/>
                  </a:lnTo>
                  <a:lnTo>
                    <a:pt x="239268" y="31432"/>
                  </a:lnTo>
                  <a:lnTo>
                    <a:pt x="245745" y="32290"/>
                  </a:lnTo>
                  <a:lnTo>
                    <a:pt x="249936" y="26956"/>
                  </a:lnTo>
                  <a:lnTo>
                    <a:pt x="253079" y="26479"/>
                  </a:lnTo>
                  <a:lnTo>
                    <a:pt x="259556" y="27241"/>
                  </a:lnTo>
                  <a:lnTo>
                    <a:pt x="255651" y="34195"/>
                  </a:lnTo>
                  <a:lnTo>
                    <a:pt x="251079" y="36385"/>
                  </a:lnTo>
                  <a:lnTo>
                    <a:pt x="253270" y="40957"/>
                  </a:lnTo>
                  <a:lnTo>
                    <a:pt x="253460" y="42481"/>
                  </a:lnTo>
                  <a:lnTo>
                    <a:pt x="255937" y="48577"/>
                  </a:lnTo>
                  <a:lnTo>
                    <a:pt x="261461" y="54292"/>
                  </a:lnTo>
                  <a:lnTo>
                    <a:pt x="261461" y="54292"/>
                  </a:lnTo>
                  <a:lnTo>
                    <a:pt x="263366" y="57245"/>
                  </a:lnTo>
                  <a:lnTo>
                    <a:pt x="266795" y="58483"/>
                  </a:lnTo>
                  <a:lnTo>
                    <a:pt x="274415" y="55912"/>
                  </a:lnTo>
                  <a:lnTo>
                    <a:pt x="276225" y="57245"/>
                  </a:lnTo>
                  <a:lnTo>
                    <a:pt x="283940" y="54673"/>
                  </a:lnTo>
                  <a:lnTo>
                    <a:pt x="284702" y="60960"/>
                  </a:lnTo>
                  <a:lnTo>
                    <a:pt x="301085" y="63722"/>
                  </a:lnTo>
                  <a:lnTo>
                    <a:pt x="300133" y="81439"/>
                  </a:lnTo>
                  <a:lnTo>
                    <a:pt x="305467" y="85630"/>
                  </a:lnTo>
                  <a:lnTo>
                    <a:pt x="308420" y="83629"/>
                  </a:lnTo>
                  <a:lnTo>
                    <a:pt x="313563" y="86201"/>
                  </a:lnTo>
                  <a:lnTo>
                    <a:pt x="323659" y="89725"/>
                  </a:lnTo>
                  <a:lnTo>
                    <a:pt x="322326" y="91440"/>
                  </a:lnTo>
                  <a:lnTo>
                    <a:pt x="322707" y="94583"/>
                  </a:lnTo>
                  <a:lnTo>
                    <a:pt x="322707" y="94583"/>
                  </a:lnTo>
                  <a:lnTo>
                    <a:pt x="332804" y="98203"/>
                  </a:lnTo>
                  <a:lnTo>
                    <a:pt x="335185" y="104299"/>
                  </a:lnTo>
                  <a:lnTo>
                    <a:pt x="329279" y="121063"/>
                  </a:lnTo>
                  <a:lnTo>
                    <a:pt x="321374" y="122015"/>
                  </a:lnTo>
                  <a:lnTo>
                    <a:pt x="321564" y="123634"/>
                  </a:lnTo>
                  <a:lnTo>
                    <a:pt x="309563" y="130016"/>
                  </a:lnTo>
                  <a:lnTo>
                    <a:pt x="301657" y="130969"/>
                  </a:lnTo>
                  <a:lnTo>
                    <a:pt x="300323" y="132778"/>
                  </a:lnTo>
                  <a:lnTo>
                    <a:pt x="300323" y="132778"/>
                  </a:lnTo>
                  <a:lnTo>
                    <a:pt x="295561" y="133350"/>
                  </a:lnTo>
                  <a:lnTo>
                    <a:pt x="295751" y="134969"/>
                  </a:lnTo>
                  <a:lnTo>
                    <a:pt x="290798" y="133921"/>
                  </a:lnTo>
                  <a:lnTo>
                    <a:pt x="292799" y="136874"/>
                  </a:lnTo>
                  <a:lnTo>
                    <a:pt x="289846" y="138874"/>
                  </a:lnTo>
                  <a:lnTo>
                    <a:pt x="288226" y="139065"/>
                  </a:lnTo>
                  <a:lnTo>
                    <a:pt x="287655" y="147161"/>
                  </a:lnTo>
                  <a:lnTo>
                    <a:pt x="290513" y="156496"/>
                  </a:lnTo>
                  <a:lnTo>
                    <a:pt x="294989" y="154305"/>
                  </a:lnTo>
                  <a:lnTo>
                    <a:pt x="297371" y="147542"/>
                  </a:lnTo>
                  <a:lnTo>
                    <a:pt x="302705" y="151733"/>
                  </a:lnTo>
                  <a:lnTo>
                    <a:pt x="306896" y="159163"/>
                  </a:lnTo>
                  <a:lnTo>
                    <a:pt x="300514" y="160020"/>
                  </a:lnTo>
                  <a:lnTo>
                    <a:pt x="299752" y="166497"/>
                  </a:lnTo>
                  <a:lnTo>
                    <a:pt x="303943" y="174022"/>
                  </a:lnTo>
                  <a:lnTo>
                    <a:pt x="308134" y="181451"/>
                  </a:lnTo>
                  <a:lnTo>
                    <a:pt x="306896" y="184880"/>
                  </a:lnTo>
                  <a:lnTo>
                    <a:pt x="306896" y="184880"/>
                  </a:lnTo>
                  <a:lnTo>
                    <a:pt x="306896" y="184880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12244301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FBAE40"/>
          </p15:clr>
        </p15:guide>
        <p15:guide id="2" pos="7605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Obrázek 64">
            <a:extLst>
              <a:ext uri="{FF2B5EF4-FFF2-40B4-BE49-F238E27FC236}">
                <a16:creationId xmlns:a16="http://schemas.microsoft.com/office/drawing/2014/main" id="{1903806D-B11F-4777-91AC-14AF29D6B2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3424240"/>
          </a:xfrm>
          <a:prstGeom prst="rect">
            <a:avLst/>
          </a:prstGeom>
        </p:spPr>
      </p:pic>
      <p:pic>
        <p:nvPicPr>
          <p:cNvPr id="27" name="Obrázek 75">
            <a:extLst>
              <a:ext uri="{FF2B5EF4-FFF2-40B4-BE49-F238E27FC236}">
                <a16:creationId xmlns:a16="http://schemas.microsoft.com/office/drawing/2014/main" id="{F014DE85-7BF6-41C3-95C4-EC65E5EAD6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5763" y="1354230"/>
            <a:ext cx="3136237" cy="3656116"/>
          </a:xfrm>
          <a:prstGeom prst="rect">
            <a:avLst/>
          </a:prstGeom>
        </p:spPr>
      </p:pic>
      <p:sp>
        <p:nvSpPr>
          <p:cNvPr id="28" name="Obdélník 50">
            <a:extLst>
              <a:ext uri="{FF2B5EF4-FFF2-40B4-BE49-F238E27FC236}">
                <a16:creationId xmlns:a16="http://schemas.microsoft.com/office/drawing/2014/main" id="{C6455D4C-929B-4BB2-BB4B-AA4BD3BB752C}"/>
              </a:ext>
            </a:extLst>
          </p:cNvPr>
          <p:cNvSpPr/>
          <p:nvPr userDrawn="1"/>
        </p:nvSpPr>
        <p:spPr>
          <a:xfrm>
            <a:off x="0" y="3760440"/>
            <a:ext cx="9379670" cy="276458"/>
          </a:xfrm>
          <a:custGeom>
            <a:avLst/>
            <a:gdLst>
              <a:gd name="connsiteX0" fmla="*/ 0 w 7559571"/>
              <a:gd name="connsiteY0" fmla="*/ 0 h 200385"/>
              <a:gd name="connsiteX1" fmla="*/ 7559571 w 7559571"/>
              <a:gd name="connsiteY1" fmla="*/ 0 h 200385"/>
              <a:gd name="connsiteX2" fmla="*/ 7559571 w 7559571"/>
              <a:gd name="connsiteY2" fmla="*/ 200385 h 200385"/>
              <a:gd name="connsiteX3" fmla="*/ 0 w 7559571"/>
              <a:gd name="connsiteY3" fmla="*/ 200385 h 200385"/>
              <a:gd name="connsiteX4" fmla="*/ 0 w 7559571"/>
              <a:gd name="connsiteY4" fmla="*/ 0 h 200385"/>
              <a:gd name="connsiteX0" fmla="*/ 0 w 7559571"/>
              <a:gd name="connsiteY0" fmla="*/ 9427 h 209812"/>
              <a:gd name="connsiteX1" fmla="*/ 7136091 w 7559571"/>
              <a:gd name="connsiteY1" fmla="*/ 0 h 209812"/>
              <a:gd name="connsiteX2" fmla="*/ 7559571 w 7559571"/>
              <a:gd name="connsiteY2" fmla="*/ 9427 h 209812"/>
              <a:gd name="connsiteX3" fmla="*/ 7559571 w 7559571"/>
              <a:gd name="connsiteY3" fmla="*/ 209812 h 209812"/>
              <a:gd name="connsiteX4" fmla="*/ 0 w 7559571"/>
              <a:gd name="connsiteY4" fmla="*/ 209812 h 209812"/>
              <a:gd name="connsiteX5" fmla="*/ 0 w 7559571"/>
              <a:gd name="connsiteY5" fmla="*/ 9427 h 209812"/>
              <a:gd name="connsiteX0" fmla="*/ 0 w 7673419"/>
              <a:gd name="connsiteY0" fmla="*/ 292231 h 492616"/>
              <a:gd name="connsiteX1" fmla="*/ 7673419 w 7673419"/>
              <a:gd name="connsiteY1" fmla="*/ 0 h 492616"/>
              <a:gd name="connsiteX2" fmla="*/ 7559571 w 7673419"/>
              <a:gd name="connsiteY2" fmla="*/ 292231 h 492616"/>
              <a:gd name="connsiteX3" fmla="*/ 7559571 w 7673419"/>
              <a:gd name="connsiteY3" fmla="*/ 492616 h 492616"/>
              <a:gd name="connsiteX4" fmla="*/ 0 w 7673419"/>
              <a:gd name="connsiteY4" fmla="*/ 492616 h 492616"/>
              <a:gd name="connsiteX5" fmla="*/ 0 w 7673419"/>
              <a:gd name="connsiteY5" fmla="*/ 292231 h 492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73419" h="492616">
                <a:moveTo>
                  <a:pt x="0" y="292231"/>
                </a:moveTo>
                <a:lnTo>
                  <a:pt x="7673419" y="0"/>
                </a:lnTo>
                <a:lnTo>
                  <a:pt x="7559571" y="292231"/>
                </a:lnTo>
                <a:lnTo>
                  <a:pt x="7559571" y="492616"/>
                </a:lnTo>
                <a:lnTo>
                  <a:pt x="0" y="492616"/>
                </a:lnTo>
                <a:lnTo>
                  <a:pt x="0" y="292231"/>
                </a:lnTo>
                <a:close/>
              </a:path>
            </a:pathLst>
          </a:custGeom>
          <a:solidFill>
            <a:srgbClr val="0842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9" name="Slza pozadi">
            <a:extLst>
              <a:ext uri="{FF2B5EF4-FFF2-40B4-BE49-F238E27FC236}">
                <a16:creationId xmlns:a16="http://schemas.microsoft.com/office/drawing/2014/main" id="{5B472087-BEB7-43F0-96A3-BDC392C6630F}"/>
              </a:ext>
            </a:extLst>
          </p:cNvPr>
          <p:cNvSpPr/>
          <p:nvPr userDrawn="1"/>
        </p:nvSpPr>
        <p:spPr>
          <a:xfrm rot="16200000">
            <a:off x="1560424" y="-947766"/>
            <a:ext cx="3157403" cy="6278252"/>
          </a:xfrm>
          <a:prstGeom prst="teardrop">
            <a:avLst/>
          </a:prstGeom>
          <a:solidFill>
            <a:srgbClr val="244865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n-lt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0" name="Logo UZIS - skupina">
            <a:extLst>
              <a:ext uri="{FF2B5EF4-FFF2-40B4-BE49-F238E27FC236}">
                <a16:creationId xmlns:a16="http://schemas.microsoft.com/office/drawing/2014/main" id="{E1E7BBD5-891B-4A2F-BD63-5F5DA00EFD2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573965" y="6090002"/>
            <a:ext cx="4524251" cy="612428"/>
            <a:chOff x="4084311" y="378348"/>
            <a:chExt cx="5627053" cy="709095"/>
          </a:xfrm>
        </p:grpSpPr>
        <p:sp>
          <p:nvSpPr>
            <p:cNvPr id="31" name="Nazev">
              <a:extLst>
                <a:ext uri="{FF2B5EF4-FFF2-40B4-BE49-F238E27FC236}">
                  <a16:creationId xmlns:a16="http://schemas.microsoft.com/office/drawing/2014/main" id="{4C1916FE-4B88-49CD-BA58-7B74C639AF98}"/>
                </a:ext>
              </a:extLst>
            </p:cNvPr>
            <p:cNvSpPr txBox="1"/>
            <p:nvPr userDrawn="1"/>
          </p:nvSpPr>
          <p:spPr>
            <a:xfrm>
              <a:off x="5237394" y="599696"/>
              <a:ext cx="4473970" cy="427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noProof="0" dirty="0">
                  <a:solidFill>
                    <a:srgbClr val="2B29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Ústav zdravotnických informací a statistiky České republiky</a:t>
              </a:r>
            </a:p>
            <a:p>
              <a:r>
                <a:rPr lang="en-US" sz="900" i="1" dirty="0">
                  <a:solidFill>
                    <a:srgbClr val="2B29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titute of Health Information and Statistics of the Czech Republic</a:t>
              </a:r>
            </a:p>
          </p:txBody>
        </p:sp>
        <p:pic>
          <p:nvPicPr>
            <p:cNvPr id="32" name="Logo">
              <a:extLst>
                <a:ext uri="{FF2B5EF4-FFF2-40B4-BE49-F238E27FC236}">
                  <a16:creationId xmlns:a16="http://schemas.microsoft.com/office/drawing/2014/main" id="{9F92AC57-7FC1-4571-BECE-7125420930C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84311" y="378348"/>
              <a:ext cx="1080000" cy="709095"/>
            </a:xfrm>
            <a:prstGeom prst="rect">
              <a:avLst/>
            </a:prstGeom>
          </p:spPr>
        </p:pic>
      </p:grpSp>
      <p:pic>
        <p:nvPicPr>
          <p:cNvPr id="33" name="Logo MZ CR">
            <a:extLst>
              <a:ext uri="{FF2B5EF4-FFF2-40B4-BE49-F238E27FC236}">
                <a16:creationId xmlns:a16="http://schemas.microsoft.com/office/drawing/2014/main" id="{5B7C4270-13A2-4527-A4C7-32FE9859D7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311" y="156482"/>
            <a:ext cx="3763463" cy="324000"/>
          </a:xfrm>
          <a:prstGeom prst="rect">
            <a:avLst/>
          </a:prstGeom>
        </p:spPr>
      </p:pic>
      <p:sp>
        <p:nvSpPr>
          <p:cNvPr id="34" name="Nadpis 1">
            <a:extLst>
              <a:ext uri="{FF2B5EF4-FFF2-40B4-BE49-F238E27FC236}">
                <a16:creationId xmlns:a16="http://schemas.microsoft.com/office/drawing/2014/main" id="{DBF05EC1-AC34-4998-A874-C476BF92C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490" y="1382511"/>
            <a:ext cx="5246408" cy="1404481"/>
          </a:xfrm>
        </p:spPr>
        <p:txBody>
          <a:bodyPr>
            <a:normAutofit/>
          </a:bodyPr>
          <a:lstStyle>
            <a:lvl1pPr algn="l">
              <a:defRPr sz="3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5" name="Zástupný text 3">
            <a:extLst>
              <a:ext uri="{FF2B5EF4-FFF2-40B4-BE49-F238E27FC236}">
                <a16:creationId xmlns:a16="http://schemas.microsoft.com/office/drawing/2014/main" id="{30F5E0A5-FA60-44D8-9106-C4F05A37F6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506" y="5213021"/>
            <a:ext cx="11116463" cy="468000"/>
          </a:xfrm>
        </p:spPr>
        <p:txBody>
          <a:bodyPr anchor="ctr">
            <a:noAutofit/>
          </a:bodyPr>
          <a:lstStyle>
            <a:lvl1pPr marL="0" indent="0" algn="l">
              <a:buNone/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cs-CZ" dirty="0"/>
              <a:t>Vložte pod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BA5EBB89-E91C-BB10-15CB-7C7941BFFD6E}"/>
              </a:ext>
            </a:extLst>
          </p:cNvPr>
          <p:cNvGrpSpPr/>
          <p:nvPr userDrawn="1"/>
        </p:nvGrpSpPr>
        <p:grpSpPr>
          <a:xfrm>
            <a:off x="9573906" y="3898066"/>
            <a:ext cx="1261305" cy="1958631"/>
            <a:chOff x="9573906" y="3898066"/>
            <a:chExt cx="1261305" cy="1958631"/>
          </a:xfrm>
        </p:grpSpPr>
        <p:sp>
          <p:nvSpPr>
            <p:cNvPr id="41" name="Rovnoramenný trojúhelník 4">
              <a:extLst>
                <a:ext uri="{FF2B5EF4-FFF2-40B4-BE49-F238E27FC236}">
                  <a16:creationId xmlns:a16="http://schemas.microsoft.com/office/drawing/2014/main" id="{D1640524-7777-AD0D-FBF2-06457FEC5E76}"/>
                </a:ext>
              </a:extLst>
            </p:cNvPr>
            <p:cNvSpPr/>
            <p:nvPr userDrawn="1"/>
          </p:nvSpPr>
          <p:spPr>
            <a:xfrm rot="1106797">
              <a:off x="9872751" y="3898066"/>
              <a:ext cx="962460" cy="1309487"/>
            </a:xfrm>
            <a:prstGeom prst="triangle">
              <a:avLst>
                <a:gd name="adj" fmla="val 39846"/>
              </a:avLst>
            </a:prstGeom>
            <a:solidFill>
              <a:srgbClr val="FFC000">
                <a:alpha val="44000"/>
              </a:srgbClr>
            </a:solidFill>
            <a:ln w="15875">
              <a:solidFill>
                <a:srgbClr val="2E5980"/>
              </a:solidFill>
            </a:ln>
            <a:effectLst>
              <a:outerShdw blurRad="50800" dist="50800" dir="5400000" algn="ctr" rotWithShape="0">
                <a:srgbClr val="2E5980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grpSp>
          <p:nvGrpSpPr>
            <p:cNvPr id="8" name="Skupina 7">
              <a:extLst>
                <a:ext uri="{FF2B5EF4-FFF2-40B4-BE49-F238E27FC236}">
                  <a16:creationId xmlns:a16="http://schemas.microsoft.com/office/drawing/2014/main" id="{AF34A1B2-C591-290E-6B22-0B239091FEA4}"/>
                </a:ext>
              </a:extLst>
            </p:cNvPr>
            <p:cNvGrpSpPr/>
            <p:nvPr userDrawn="1"/>
          </p:nvGrpSpPr>
          <p:grpSpPr>
            <a:xfrm>
              <a:off x="9573906" y="4827097"/>
              <a:ext cx="1029600" cy="1029600"/>
              <a:chOff x="9573906" y="4827097"/>
              <a:chExt cx="1029600" cy="1029600"/>
            </a:xfrm>
          </p:grpSpPr>
          <p:sp>
            <p:nvSpPr>
              <p:cNvPr id="42" name="Ovál 22">
                <a:extLst>
                  <a:ext uri="{FF2B5EF4-FFF2-40B4-BE49-F238E27FC236}">
                    <a16:creationId xmlns:a16="http://schemas.microsoft.com/office/drawing/2014/main" id="{3108DAF1-0649-F266-BACC-D1666C80EDCE}"/>
                  </a:ext>
                </a:extLst>
              </p:cNvPr>
              <p:cNvSpPr/>
              <p:nvPr userDrawn="1"/>
            </p:nvSpPr>
            <p:spPr>
              <a:xfrm>
                <a:off x="9573906" y="4827097"/>
                <a:ext cx="1029600" cy="10296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D714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/>
              </a:p>
            </p:txBody>
          </p:sp>
          <p:sp>
            <p:nvSpPr>
              <p:cNvPr id="43" name="Ovál 23">
                <a:extLst>
                  <a:ext uri="{FF2B5EF4-FFF2-40B4-BE49-F238E27FC236}">
                    <a16:creationId xmlns:a16="http://schemas.microsoft.com/office/drawing/2014/main" id="{2B669EB3-862A-F447-12A2-4D4A2AFB0675}"/>
                  </a:ext>
                </a:extLst>
              </p:cNvPr>
              <p:cNvSpPr/>
              <p:nvPr userDrawn="1"/>
            </p:nvSpPr>
            <p:spPr>
              <a:xfrm>
                <a:off x="9643042" y="4896233"/>
                <a:ext cx="891327" cy="891327"/>
              </a:xfrm>
              <a:prstGeom prst="ellipse">
                <a:avLst/>
              </a:prstGeom>
              <a:solidFill>
                <a:srgbClr val="D7144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/>
              </a:p>
            </p:txBody>
          </p:sp>
        </p:grpSp>
      </p:grpSp>
      <p:pic>
        <p:nvPicPr>
          <p:cNvPr id="3" name="Obrázek 2">
            <a:extLst>
              <a:ext uri="{FF2B5EF4-FFF2-40B4-BE49-F238E27FC236}">
                <a16:creationId xmlns:a16="http://schemas.microsoft.com/office/drawing/2014/main" id="{077CC051-B0BF-47EF-89D4-99C57DF764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2760" t="24183" b="15901"/>
          <a:stretch/>
        </p:blipFill>
        <p:spPr>
          <a:xfrm>
            <a:off x="10754448" y="43399"/>
            <a:ext cx="1164961" cy="538364"/>
          </a:xfrm>
          <a:prstGeom prst="rect">
            <a:avLst/>
          </a:prstGeom>
        </p:spPr>
      </p:pic>
      <p:grpSp>
        <p:nvGrpSpPr>
          <p:cNvPr id="23" name="Skupina 22">
            <a:extLst>
              <a:ext uri="{FF2B5EF4-FFF2-40B4-BE49-F238E27FC236}">
                <a16:creationId xmlns:a16="http://schemas.microsoft.com/office/drawing/2014/main" id="{721CF2AE-CA96-1DA2-851C-26E29D2DCA1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731297" y="5069921"/>
            <a:ext cx="699318" cy="543336"/>
            <a:chOff x="3350574" y="2547401"/>
            <a:chExt cx="2989263" cy="2322513"/>
          </a:xfrm>
        </p:grpSpPr>
        <p:sp>
          <p:nvSpPr>
            <p:cNvPr id="24" name="Freeform 97">
              <a:extLst>
                <a:ext uri="{FF2B5EF4-FFF2-40B4-BE49-F238E27FC236}">
                  <a16:creationId xmlns:a16="http://schemas.microsoft.com/office/drawing/2014/main" id="{96B3F6D7-88E6-17F9-23DF-25D772181B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0061" y="3169701"/>
              <a:ext cx="996950" cy="1444625"/>
            </a:xfrm>
            <a:custGeom>
              <a:avLst/>
              <a:gdLst>
                <a:gd name="T0" fmla="*/ 169 w 628"/>
                <a:gd name="T1" fmla="*/ 5 h 910"/>
                <a:gd name="T2" fmla="*/ 189 w 628"/>
                <a:gd name="T3" fmla="*/ 76 h 910"/>
                <a:gd name="T4" fmla="*/ 212 w 628"/>
                <a:gd name="T5" fmla="*/ 77 h 910"/>
                <a:gd name="T6" fmla="*/ 241 w 628"/>
                <a:gd name="T7" fmla="*/ 94 h 910"/>
                <a:gd name="T8" fmla="*/ 269 w 628"/>
                <a:gd name="T9" fmla="*/ 132 h 910"/>
                <a:gd name="T10" fmla="*/ 331 w 628"/>
                <a:gd name="T11" fmla="*/ 152 h 910"/>
                <a:gd name="T12" fmla="*/ 359 w 628"/>
                <a:gd name="T13" fmla="*/ 197 h 910"/>
                <a:gd name="T14" fmla="*/ 386 w 628"/>
                <a:gd name="T15" fmla="*/ 229 h 910"/>
                <a:gd name="T16" fmla="*/ 431 w 628"/>
                <a:gd name="T17" fmla="*/ 257 h 910"/>
                <a:gd name="T18" fmla="*/ 421 w 628"/>
                <a:gd name="T19" fmla="*/ 296 h 910"/>
                <a:gd name="T20" fmla="*/ 398 w 628"/>
                <a:gd name="T21" fmla="*/ 307 h 910"/>
                <a:gd name="T22" fmla="*/ 386 w 628"/>
                <a:gd name="T23" fmla="*/ 347 h 910"/>
                <a:gd name="T24" fmla="*/ 402 w 628"/>
                <a:gd name="T25" fmla="*/ 362 h 910"/>
                <a:gd name="T26" fmla="*/ 428 w 628"/>
                <a:gd name="T27" fmla="*/ 383 h 910"/>
                <a:gd name="T28" fmla="*/ 418 w 628"/>
                <a:gd name="T29" fmla="*/ 419 h 910"/>
                <a:gd name="T30" fmla="*/ 430 w 628"/>
                <a:gd name="T31" fmla="*/ 448 h 910"/>
                <a:gd name="T32" fmla="*/ 455 w 628"/>
                <a:gd name="T33" fmla="*/ 467 h 910"/>
                <a:gd name="T34" fmla="*/ 466 w 628"/>
                <a:gd name="T35" fmla="*/ 504 h 910"/>
                <a:gd name="T36" fmla="*/ 482 w 628"/>
                <a:gd name="T37" fmla="*/ 531 h 910"/>
                <a:gd name="T38" fmla="*/ 510 w 628"/>
                <a:gd name="T39" fmla="*/ 534 h 910"/>
                <a:gd name="T40" fmla="*/ 498 w 628"/>
                <a:gd name="T41" fmla="*/ 554 h 910"/>
                <a:gd name="T42" fmla="*/ 513 w 628"/>
                <a:gd name="T43" fmla="*/ 576 h 910"/>
                <a:gd name="T44" fmla="*/ 530 w 628"/>
                <a:gd name="T45" fmla="*/ 619 h 910"/>
                <a:gd name="T46" fmla="*/ 553 w 628"/>
                <a:gd name="T47" fmla="*/ 659 h 910"/>
                <a:gd name="T48" fmla="*/ 597 w 628"/>
                <a:gd name="T49" fmla="*/ 678 h 910"/>
                <a:gd name="T50" fmla="*/ 617 w 628"/>
                <a:gd name="T51" fmla="*/ 726 h 910"/>
                <a:gd name="T52" fmla="*/ 627 w 628"/>
                <a:gd name="T53" fmla="*/ 778 h 910"/>
                <a:gd name="T54" fmla="*/ 584 w 628"/>
                <a:gd name="T55" fmla="*/ 766 h 910"/>
                <a:gd name="T56" fmla="*/ 545 w 628"/>
                <a:gd name="T57" fmla="*/ 772 h 910"/>
                <a:gd name="T58" fmla="*/ 530 w 628"/>
                <a:gd name="T59" fmla="*/ 833 h 910"/>
                <a:gd name="T60" fmla="*/ 480 w 628"/>
                <a:gd name="T61" fmla="*/ 880 h 910"/>
                <a:gd name="T62" fmla="*/ 460 w 628"/>
                <a:gd name="T63" fmla="*/ 910 h 910"/>
                <a:gd name="T64" fmla="*/ 438 w 628"/>
                <a:gd name="T65" fmla="*/ 876 h 910"/>
                <a:gd name="T66" fmla="*/ 435 w 628"/>
                <a:gd name="T67" fmla="*/ 834 h 910"/>
                <a:gd name="T68" fmla="*/ 411 w 628"/>
                <a:gd name="T69" fmla="*/ 821 h 910"/>
                <a:gd name="T70" fmla="*/ 348 w 628"/>
                <a:gd name="T71" fmla="*/ 763 h 910"/>
                <a:gd name="T72" fmla="*/ 336 w 628"/>
                <a:gd name="T73" fmla="*/ 728 h 910"/>
                <a:gd name="T74" fmla="*/ 275 w 628"/>
                <a:gd name="T75" fmla="*/ 743 h 910"/>
                <a:gd name="T76" fmla="*/ 250 w 628"/>
                <a:gd name="T77" fmla="*/ 731 h 910"/>
                <a:gd name="T78" fmla="*/ 238 w 628"/>
                <a:gd name="T79" fmla="*/ 684 h 910"/>
                <a:gd name="T80" fmla="*/ 203 w 628"/>
                <a:gd name="T81" fmla="*/ 649 h 910"/>
                <a:gd name="T82" fmla="*/ 162 w 628"/>
                <a:gd name="T83" fmla="*/ 626 h 910"/>
                <a:gd name="T84" fmla="*/ 159 w 628"/>
                <a:gd name="T85" fmla="*/ 604 h 910"/>
                <a:gd name="T86" fmla="*/ 99 w 628"/>
                <a:gd name="T87" fmla="*/ 569 h 910"/>
                <a:gd name="T88" fmla="*/ 61 w 628"/>
                <a:gd name="T89" fmla="*/ 532 h 910"/>
                <a:gd name="T90" fmla="*/ 21 w 628"/>
                <a:gd name="T91" fmla="*/ 501 h 910"/>
                <a:gd name="T92" fmla="*/ 0 w 628"/>
                <a:gd name="T93" fmla="*/ 472 h 910"/>
                <a:gd name="T94" fmla="*/ 22 w 628"/>
                <a:gd name="T95" fmla="*/ 448 h 910"/>
                <a:gd name="T96" fmla="*/ 59 w 628"/>
                <a:gd name="T97" fmla="*/ 419 h 910"/>
                <a:gd name="T98" fmla="*/ 49 w 628"/>
                <a:gd name="T99" fmla="*/ 382 h 910"/>
                <a:gd name="T100" fmla="*/ 31 w 628"/>
                <a:gd name="T101" fmla="*/ 349 h 910"/>
                <a:gd name="T102" fmla="*/ 30 w 628"/>
                <a:gd name="T103" fmla="*/ 297 h 910"/>
                <a:gd name="T104" fmla="*/ 21 w 628"/>
                <a:gd name="T105" fmla="*/ 279 h 910"/>
                <a:gd name="T106" fmla="*/ 33 w 628"/>
                <a:gd name="T107" fmla="*/ 264 h 910"/>
                <a:gd name="T108" fmla="*/ 54 w 628"/>
                <a:gd name="T109" fmla="*/ 249 h 910"/>
                <a:gd name="T110" fmla="*/ 60 w 628"/>
                <a:gd name="T111" fmla="*/ 221 h 910"/>
                <a:gd name="T112" fmla="*/ 84 w 628"/>
                <a:gd name="T113" fmla="*/ 179 h 910"/>
                <a:gd name="T114" fmla="*/ 79 w 628"/>
                <a:gd name="T115" fmla="*/ 130 h 910"/>
                <a:gd name="T116" fmla="*/ 99 w 628"/>
                <a:gd name="T117" fmla="*/ 123 h 910"/>
                <a:gd name="T118" fmla="*/ 133 w 628"/>
                <a:gd name="T119" fmla="*/ 128 h 910"/>
                <a:gd name="T120" fmla="*/ 116 w 628"/>
                <a:gd name="T121" fmla="*/ 84 h 910"/>
                <a:gd name="T122" fmla="*/ 116 w 628"/>
                <a:gd name="T123" fmla="*/ 35 h 910"/>
                <a:gd name="T124" fmla="*/ 150 w 628"/>
                <a:gd name="T125" fmla="*/ 13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28" h="910">
                  <a:moveTo>
                    <a:pt x="160" y="0"/>
                  </a:moveTo>
                  <a:lnTo>
                    <a:pt x="161" y="0"/>
                  </a:lnTo>
                  <a:lnTo>
                    <a:pt x="161" y="0"/>
                  </a:lnTo>
                  <a:lnTo>
                    <a:pt x="161" y="1"/>
                  </a:lnTo>
                  <a:lnTo>
                    <a:pt x="161" y="2"/>
                  </a:lnTo>
                  <a:lnTo>
                    <a:pt x="162" y="2"/>
                  </a:lnTo>
                  <a:lnTo>
                    <a:pt x="164" y="3"/>
                  </a:lnTo>
                  <a:lnTo>
                    <a:pt x="167" y="4"/>
                  </a:lnTo>
                  <a:lnTo>
                    <a:pt x="167" y="3"/>
                  </a:lnTo>
                  <a:lnTo>
                    <a:pt x="169" y="3"/>
                  </a:lnTo>
                  <a:lnTo>
                    <a:pt x="169" y="5"/>
                  </a:lnTo>
                  <a:lnTo>
                    <a:pt x="169" y="5"/>
                  </a:lnTo>
                  <a:lnTo>
                    <a:pt x="169" y="9"/>
                  </a:lnTo>
                  <a:lnTo>
                    <a:pt x="170" y="16"/>
                  </a:lnTo>
                  <a:lnTo>
                    <a:pt x="171" y="21"/>
                  </a:lnTo>
                  <a:lnTo>
                    <a:pt x="174" y="28"/>
                  </a:lnTo>
                  <a:lnTo>
                    <a:pt x="176" y="38"/>
                  </a:lnTo>
                  <a:lnTo>
                    <a:pt x="178" y="42"/>
                  </a:lnTo>
                  <a:lnTo>
                    <a:pt x="179" y="47"/>
                  </a:lnTo>
                  <a:lnTo>
                    <a:pt x="183" y="55"/>
                  </a:lnTo>
                  <a:lnTo>
                    <a:pt x="185" y="61"/>
                  </a:lnTo>
                  <a:lnTo>
                    <a:pt x="186" y="66"/>
                  </a:lnTo>
                  <a:lnTo>
                    <a:pt x="189" y="74"/>
                  </a:lnTo>
                  <a:lnTo>
                    <a:pt x="189" y="76"/>
                  </a:lnTo>
                  <a:lnTo>
                    <a:pt x="190" y="78"/>
                  </a:lnTo>
                  <a:lnTo>
                    <a:pt x="191" y="80"/>
                  </a:lnTo>
                  <a:lnTo>
                    <a:pt x="191" y="81"/>
                  </a:lnTo>
                  <a:lnTo>
                    <a:pt x="192" y="82"/>
                  </a:lnTo>
                  <a:lnTo>
                    <a:pt x="194" y="83"/>
                  </a:lnTo>
                  <a:lnTo>
                    <a:pt x="194" y="83"/>
                  </a:lnTo>
                  <a:lnTo>
                    <a:pt x="196" y="83"/>
                  </a:lnTo>
                  <a:lnTo>
                    <a:pt x="197" y="83"/>
                  </a:lnTo>
                  <a:lnTo>
                    <a:pt x="199" y="82"/>
                  </a:lnTo>
                  <a:lnTo>
                    <a:pt x="205" y="80"/>
                  </a:lnTo>
                  <a:lnTo>
                    <a:pt x="208" y="77"/>
                  </a:lnTo>
                  <a:lnTo>
                    <a:pt x="212" y="77"/>
                  </a:lnTo>
                  <a:lnTo>
                    <a:pt x="216" y="76"/>
                  </a:lnTo>
                  <a:lnTo>
                    <a:pt x="218" y="75"/>
                  </a:lnTo>
                  <a:lnTo>
                    <a:pt x="222" y="76"/>
                  </a:lnTo>
                  <a:lnTo>
                    <a:pt x="224" y="76"/>
                  </a:lnTo>
                  <a:lnTo>
                    <a:pt x="226" y="77"/>
                  </a:lnTo>
                  <a:lnTo>
                    <a:pt x="228" y="79"/>
                  </a:lnTo>
                  <a:lnTo>
                    <a:pt x="231" y="80"/>
                  </a:lnTo>
                  <a:lnTo>
                    <a:pt x="233" y="82"/>
                  </a:lnTo>
                  <a:lnTo>
                    <a:pt x="236" y="85"/>
                  </a:lnTo>
                  <a:lnTo>
                    <a:pt x="237" y="87"/>
                  </a:lnTo>
                  <a:lnTo>
                    <a:pt x="238" y="90"/>
                  </a:lnTo>
                  <a:lnTo>
                    <a:pt x="241" y="94"/>
                  </a:lnTo>
                  <a:lnTo>
                    <a:pt x="242" y="97"/>
                  </a:lnTo>
                  <a:lnTo>
                    <a:pt x="244" y="103"/>
                  </a:lnTo>
                  <a:lnTo>
                    <a:pt x="246" y="106"/>
                  </a:lnTo>
                  <a:lnTo>
                    <a:pt x="247" y="108"/>
                  </a:lnTo>
                  <a:lnTo>
                    <a:pt x="253" y="117"/>
                  </a:lnTo>
                  <a:lnTo>
                    <a:pt x="256" y="120"/>
                  </a:lnTo>
                  <a:lnTo>
                    <a:pt x="259" y="124"/>
                  </a:lnTo>
                  <a:lnTo>
                    <a:pt x="261" y="126"/>
                  </a:lnTo>
                  <a:lnTo>
                    <a:pt x="263" y="128"/>
                  </a:lnTo>
                  <a:lnTo>
                    <a:pt x="266" y="130"/>
                  </a:lnTo>
                  <a:lnTo>
                    <a:pt x="268" y="131"/>
                  </a:lnTo>
                  <a:lnTo>
                    <a:pt x="269" y="132"/>
                  </a:lnTo>
                  <a:lnTo>
                    <a:pt x="271" y="133"/>
                  </a:lnTo>
                  <a:lnTo>
                    <a:pt x="273" y="134"/>
                  </a:lnTo>
                  <a:lnTo>
                    <a:pt x="277" y="135"/>
                  </a:lnTo>
                  <a:lnTo>
                    <a:pt x="287" y="137"/>
                  </a:lnTo>
                  <a:lnTo>
                    <a:pt x="293" y="138"/>
                  </a:lnTo>
                  <a:lnTo>
                    <a:pt x="311" y="145"/>
                  </a:lnTo>
                  <a:lnTo>
                    <a:pt x="321" y="147"/>
                  </a:lnTo>
                  <a:lnTo>
                    <a:pt x="323" y="148"/>
                  </a:lnTo>
                  <a:lnTo>
                    <a:pt x="327" y="150"/>
                  </a:lnTo>
                  <a:lnTo>
                    <a:pt x="328" y="150"/>
                  </a:lnTo>
                  <a:lnTo>
                    <a:pt x="330" y="151"/>
                  </a:lnTo>
                  <a:lnTo>
                    <a:pt x="331" y="152"/>
                  </a:lnTo>
                  <a:lnTo>
                    <a:pt x="333" y="154"/>
                  </a:lnTo>
                  <a:lnTo>
                    <a:pt x="334" y="156"/>
                  </a:lnTo>
                  <a:lnTo>
                    <a:pt x="335" y="158"/>
                  </a:lnTo>
                  <a:lnTo>
                    <a:pt x="337" y="162"/>
                  </a:lnTo>
                  <a:lnTo>
                    <a:pt x="339" y="170"/>
                  </a:lnTo>
                  <a:lnTo>
                    <a:pt x="340" y="173"/>
                  </a:lnTo>
                  <a:lnTo>
                    <a:pt x="341" y="176"/>
                  </a:lnTo>
                  <a:lnTo>
                    <a:pt x="343" y="179"/>
                  </a:lnTo>
                  <a:lnTo>
                    <a:pt x="344" y="181"/>
                  </a:lnTo>
                  <a:lnTo>
                    <a:pt x="346" y="183"/>
                  </a:lnTo>
                  <a:lnTo>
                    <a:pt x="353" y="191"/>
                  </a:lnTo>
                  <a:lnTo>
                    <a:pt x="359" y="197"/>
                  </a:lnTo>
                  <a:lnTo>
                    <a:pt x="361" y="199"/>
                  </a:lnTo>
                  <a:lnTo>
                    <a:pt x="362" y="201"/>
                  </a:lnTo>
                  <a:lnTo>
                    <a:pt x="363" y="202"/>
                  </a:lnTo>
                  <a:lnTo>
                    <a:pt x="366" y="209"/>
                  </a:lnTo>
                  <a:lnTo>
                    <a:pt x="367" y="212"/>
                  </a:lnTo>
                  <a:lnTo>
                    <a:pt x="368" y="214"/>
                  </a:lnTo>
                  <a:lnTo>
                    <a:pt x="370" y="215"/>
                  </a:lnTo>
                  <a:lnTo>
                    <a:pt x="376" y="222"/>
                  </a:lnTo>
                  <a:lnTo>
                    <a:pt x="378" y="224"/>
                  </a:lnTo>
                  <a:lnTo>
                    <a:pt x="379" y="225"/>
                  </a:lnTo>
                  <a:lnTo>
                    <a:pt x="381" y="226"/>
                  </a:lnTo>
                  <a:lnTo>
                    <a:pt x="386" y="229"/>
                  </a:lnTo>
                  <a:lnTo>
                    <a:pt x="388" y="230"/>
                  </a:lnTo>
                  <a:lnTo>
                    <a:pt x="389" y="232"/>
                  </a:lnTo>
                  <a:lnTo>
                    <a:pt x="394" y="237"/>
                  </a:lnTo>
                  <a:lnTo>
                    <a:pt x="397" y="239"/>
                  </a:lnTo>
                  <a:lnTo>
                    <a:pt x="401" y="242"/>
                  </a:lnTo>
                  <a:lnTo>
                    <a:pt x="405" y="244"/>
                  </a:lnTo>
                  <a:lnTo>
                    <a:pt x="408" y="247"/>
                  </a:lnTo>
                  <a:lnTo>
                    <a:pt x="416" y="250"/>
                  </a:lnTo>
                  <a:lnTo>
                    <a:pt x="421" y="252"/>
                  </a:lnTo>
                  <a:lnTo>
                    <a:pt x="430" y="255"/>
                  </a:lnTo>
                  <a:lnTo>
                    <a:pt x="431" y="256"/>
                  </a:lnTo>
                  <a:lnTo>
                    <a:pt x="431" y="257"/>
                  </a:lnTo>
                  <a:lnTo>
                    <a:pt x="430" y="257"/>
                  </a:lnTo>
                  <a:lnTo>
                    <a:pt x="430" y="259"/>
                  </a:lnTo>
                  <a:lnTo>
                    <a:pt x="430" y="266"/>
                  </a:lnTo>
                  <a:lnTo>
                    <a:pt x="430" y="270"/>
                  </a:lnTo>
                  <a:lnTo>
                    <a:pt x="429" y="275"/>
                  </a:lnTo>
                  <a:lnTo>
                    <a:pt x="428" y="279"/>
                  </a:lnTo>
                  <a:lnTo>
                    <a:pt x="428" y="283"/>
                  </a:lnTo>
                  <a:lnTo>
                    <a:pt x="426" y="287"/>
                  </a:lnTo>
                  <a:lnTo>
                    <a:pt x="425" y="290"/>
                  </a:lnTo>
                  <a:lnTo>
                    <a:pt x="423" y="293"/>
                  </a:lnTo>
                  <a:lnTo>
                    <a:pt x="423" y="294"/>
                  </a:lnTo>
                  <a:lnTo>
                    <a:pt x="421" y="296"/>
                  </a:lnTo>
                  <a:lnTo>
                    <a:pt x="420" y="297"/>
                  </a:lnTo>
                  <a:lnTo>
                    <a:pt x="418" y="297"/>
                  </a:lnTo>
                  <a:lnTo>
                    <a:pt x="417" y="298"/>
                  </a:lnTo>
                  <a:lnTo>
                    <a:pt x="416" y="298"/>
                  </a:lnTo>
                  <a:lnTo>
                    <a:pt x="409" y="298"/>
                  </a:lnTo>
                  <a:lnTo>
                    <a:pt x="408" y="298"/>
                  </a:lnTo>
                  <a:lnTo>
                    <a:pt x="406" y="299"/>
                  </a:lnTo>
                  <a:lnTo>
                    <a:pt x="404" y="299"/>
                  </a:lnTo>
                  <a:lnTo>
                    <a:pt x="402" y="300"/>
                  </a:lnTo>
                  <a:lnTo>
                    <a:pt x="401" y="302"/>
                  </a:lnTo>
                  <a:lnTo>
                    <a:pt x="399" y="304"/>
                  </a:lnTo>
                  <a:lnTo>
                    <a:pt x="398" y="307"/>
                  </a:lnTo>
                  <a:lnTo>
                    <a:pt x="396" y="309"/>
                  </a:lnTo>
                  <a:lnTo>
                    <a:pt x="396" y="312"/>
                  </a:lnTo>
                  <a:lnTo>
                    <a:pt x="396" y="315"/>
                  </a:lnTo>
                  <a:lnTo>
                    <a:pt x="396" y="322"/>
                  </a:lnTo>
                  <a:lnTo>
                    <a:pt x="395" y="331"/>
                  </a:lnTo>
                  <a:lnTo>
                    <a:pt x="394" y="334"/>
                  </a:lnTo>
                  <a:lnTo>
                    <a:pt x="393" y="336"/>
                  </a:lnTo>
                  <a:lnTo>
                    <a:pt x="392" y="338"/>
                  </a:lnTo>
                  <a:lnTo>
                    <a:pt x="391" y="339"/>
                  </a:lnTo>
                  <a:lnTo>
                    <a:pt x="387" y="344"/>
                  </a:lnTo>
                  <a:lnTo>
                    <a:pt x="386" y="346"/>
                  </a:lnTo>
                  <a:lnTo>
                    <a:pt x="386" y="347"/>
                  </a:lnTo>
                  <a:lnTo>
                    <a:pt x="386" y="349"/>
                  </a:lnTo>
                  <a:lnTo>
                    <a:pt x="385" y="350"/>
                  </a:lnTo>
                  <a:lnTo>
                    <a:pt x="385" y="353"/>
                  </a:lnTo>
                  <a:lnTo>
                    <a:pt x="386" y="354"/>
                  </a:lnTo>
                  <a:lnTo>
                    <a:pt x="386" y="355"/>
                  </a:lnTo>
                  <a:lnTo>
                    <a:pt x="387" y="357"/>
                  </a:lnTo>
                  <a:lnTo>
                    <a:pt x="388" y="358"/>
                  </a:lnTo>
                  <a:lnTo>
                    <a:pt x="389" y="359"/>
                  </a:lnTo>
                  <a:lnTo>
                    <a:pt x="391" y="359"/>
                  </a:lnTo>
                  <a:lnTo>
                    <a:pt x="393" y="360"/>
                  </a:lnTo>
                  <a:lnTo>
                    <a:pt x="395" y="361"/>
                  </a:lnTo>
                  <a:lnTo>
                    <a:pt x="402" y="362"/>
                  </a:lnTo>
                  <a:lnTo>
                    <a:pt x="407" y="364"/>
                  </a:lnTo>
                  <a:lnTo>
                    <a:pt x="411" y="365"/>
                  </a:lnTo>
                  <a:lnTo>
                    <a:pt x="413" y="366"/>
                  </a:lnTo>
                  <a:lnTo>
                    <a:pt x="415" y="367"/>
                  </a:lnTo>
                  <a:lnTo>
                    <a:pt x="417" y="369"/>
                  </a:lnTo>
                  <a:lnTo>
                    <a:pt x="418" y="370"/>
                  </a:lnTo>
                  <a:lnTo>
                    <a:pt x="421" y="372"/>
                  </a:lnTo>
                  <a:lnTo>
                    <a:pt x="422" y="373"/>
                  </a:lnTo>
                  <a:lnTo>
                    <a:pt x="423" y="375"/>
                  </a:lnTo>
                  <a:lnTo>
                    <a:pt x="425" y="377"/>
                  </a:lnTo>
                  <a:lnTo>
                    <a:pt x="427" y="381"/>
                  </a:lnTo>
                  <a:lnTo>
                    <a:pt x="428" y="383"/>
                  </a:lnTo>
                  <a:lnTo>
                    <a:pt x="428" y="385"/>
                  </a:lnTo>
                  <a:lnTo>
                    <a:pt x="429" y="387"/>
                  </a:lnTo>
                  <a:lnTo>
                    <a:pt x="430" y="389"/>
                  </a:lnTo>
                  <a:lnTo>
                    <a:pt x="430" y="390"/>
                  </a:lnTo>
                  <a:lnTo>
                    <a:pt x="430" y="392"/>
                  </a:lnTo>
                  <a:lnTo>
                    <a:pt x="429" y="395"/>
                  </a:lnTo>
                  <a:lnTo>
                    <a:pt x="428" y="401"/>
                  </a:lnTo>
                  <a:lnTo>
                    <a:pt x="427" y="403"/>
                  </a:lnTo>
                  <a:lnTo>
                    <a:pt x="425" y="405"/>
                  </a:lnTo>
                  <a:lnTo>
                    <a:pt x="424" y="409"/>
                  </a:lnTo>
                  <a:lnTo>
                    <a:pt x="418" y="417"/>
                  </a:lnTo>
                  <a:lnTo>
                    <a:pt x="418" y="419"/>
                  </a:lnTo>
                  <a:lnTo>
                    <a:pt x="417" y="420"/>
                  </a:lnTo>
                  <a:lnTo>
                    <a:pt x="417" y="421"/>
                  </a:lnTo>
                  <a:lnTo>
                    <a:pt x="417" y="423"/>
                  </a:lnTo>
                  <a:lnTo>
                    <a:pt x="418" y="424"/>
                  </a:lnTo>
                  <a:lnTo>
                    <a:pt x="418" y="424"/>
                  </a:lnTo>
                  <a:lnTo>
                    <a:pt x="421" y="428"/>
                  </a:lnTo>
                  <a:lnTo>
                    <a:pt x="423" y="430"/>
                  </a:lnTo>
                  <a:lnTo>
                    <a:pt x="425" y="433"/>
                  </a:lnTo>
                  <a:lnTo>
                    <a:pt x="426" y="436"/>
                  </a:lnTo>
                  <a:lnTo>
                    <a:pt x="428" y="438"/>
                  </a:lnTo>
                  <a:lnTo>
                    <a:pt x="428" y="440"/>
                  </a:lnTo>
                  <a:lnTo>
                    <a:pt x="430" y="448"/>
                  </a:lnTo>
                  <a:lnTo>
                    <a:pt x="431" y="450"/>
                  </a:lnTo>
                  <a:lnTo>
                    <a:pt x="432" y="451"/>
                  </a:lnTo>
                  <a:lnTo>
                    <a:pt x="433" y="453"/>
                  </a:lnTo>
                  <a:lnTo>
                    <a:pt x="433" y="454"/>
                  </a:lnTo>
                  <a:lnTo>
                    <a:pt x="435" y="455"/>
                  </a:lnTo>
                  <a:lnTo>
                    <a:pt x="438" y="456"/>
                  </a:lnTo>
                  <a:lnTo>
                    <a:pt x="440" y="458"/>
                  </a:lnTo>
                  <a:lnTo>
                    <a:pt x="448" y="460"/>
                  </a:lnTo>
                  <a:lnTo>
                    <a:pt x="449" y="461"/>
                  </a:lnTo>
                  <a:lnTo>
                    <a:pt x="450" y="461"/>
                  </a:lnTo>
                  <a:lnTo>
                    <a:pt x="452" y="463"/>
                  </a:lnTo>
                  <a:lnTo>
                    <a:pt x="455" y="467"/>
                  </a:lnTo>
                  <a:lnTo>
                    <a:pt x="457" y="469"/>
                  </a:lnTo>
                  <a:lnTo>
                    <a:pt x="458" y="469"/>
                  </a:lnTo>
                  <a:lnTo>
                    <a:pt x="463" y="473"/>
                  </a:lnTo>
                  <a:lnTo>
                    <a:pt x="465" y="474"/>
                  </a:lnTo>
                  <a:lnTo>
                    <a:pt x="467" y="476"/>
                  </a:lnTo>
                  <a:lnTo>
                    <a:pt x="468" y="478"/>
                  </a:lnTo>
                  <a:lnTo>
                    <a:pt x="468" y="479"/>
                  </a:lnTo>
                  <a:lnTo>
                    <a:pt x="469" y="481"/>
                  </a:lnTo>
                  <a:lnTo>
                    <a:pt x="469" y="482"/>
                  </a:lnTo>
                  <a:lnTo>
                    <a:pt x="469" y="484"/>
                  </a:lnTo>
                  <a:lnTo>
                    <a:pt x="468" y="490"/>
                  </a:lnTo>
                  <a:lnTo>
                    <a:pt x="466" y="504"/>
                  </a:lnTo>
                  <a:lnTo>
                    <a:pt x="466" y="506"/>
                  </a:lnTo>
                  <a:lnTo>
                    <a:pt x="465" y="509"/>
                  </a:lnTo>
                  <a:lnTo>
                    <a:pt x="466" y="511"/>
                  </a:lnTo>
                  <a:lnTo>
                    <a:pt x="467" y="514"/>
                  </a:lnTo>
                  <a:lnTo>
                    <a:pt x="468" y="516"/>
                  </a:lnTo>
                  <a:lnTo>
                    <a:pt x="470" y="519"/>
                  </a:lnTo>
                  <a:lnTo>
                    <a:pt x="471" y="521"/>
                  </a:lnTo>
                  <a:lnTo>
                    <a:pt x="473" y="524"/>
                  </a:lnTo>
                  <a:lnTo>
                    <a:pt x="475" y="526"/>
                  </a:lnTo>
                  <a:lnTo>
                    <a:pt x="478" y="528"/>
                  </a:lnTo>
                  <a:lnTo>
                    <a:pt x="480" y="529"/>
                  </a:lnTo>
                  <a:lnTo>
                    <a:pt x="482" y="531"/>
                  </a:lnTo>
                  <a:lnTo>
                    <a:pt x="484" y="531"/>
                  </a:lnTo>
                  <a:lnTo>
                    <a:pt x="486" y="532"/>
                  </a:lnTo>
                  <a:lnTo>
                    <a:pt x="488" y="533"/>
                  </a:lnTo>
                  <a:lnTo>
                    <a:pt x="489" y="534"/>
                  </a:lnTo>
                  <a:lnTo>
                    <a:pt x="492" y="534"/>
                  </a:lnTo>
                  <a:lnTo>
                    <a:pt x="495" y="534"/>
                  </a:lnTo>
                  <a:lnTo>
                    <a:pt x="503" y="532"/>
                  </a:lnTo>
                  <a:lnTo>
                    <a:pt x="505" y="532"/>
                  </a:lnTo>
                  <a:lnTo>
                    <a:pt x="507" y="532"/>
                  </a:lnTo>
                  <a:lnTo>
                    <a:pt x="508" y="532"/>
                  </a:lnTo>
                  <a:lnTo>
                    <a:pt x="510" y="533"/>
                  </a:lnTo>
                  <a:lnTo>
                    <a:pt x="510" y="534"/>
                  </a:lnTo>
                  <a:lnTo>
                    <a:pt x="511" y="534"/>
                  </a:lnTo>
                  <a:lnTo>
                    <a:pt x="511" y="535"/>
                  </a:lnTo>
                  <a:lnTo>
                    <a:pt x="511" y="536"/>
                  </a:lnTo>
                  <a:lnTo>
                    <a:pt x="511" y="538"/>
                  </a:lnTo>
                  <a:lnTo>
                    <a:pt x="510" y="540"/>
                  </a:lnTo>
                  <a:lnTo>
                    <a:pt x="510" y="542"/>
                  </a:lnTo>
                  <a:lnTo>
                    <a:pt x="509" y="543"/>
                  </a:lnTo>
                  <a:lnTo>
                    <a:pt x="508" y="544"/>
                  </a:lnTo>
                  <a:lnTo>
                    <a:pt x="503" y="548"/>
                  </a:lnTo>
                  <a:lnTo>
                    <a:pt x="500" y="550"/>
                  </a:lnTo>
                  <a:lnTo>
                    <a:pt x="499" y="551"/>
                  </a:lnTo>
                  <a:lnTo>
                    <a:pt x="498" y="554"/>
                  </a:lnTo>
                  <a:lnTo>
                    <a:pt x="497" y="556"/>
                  </a:lnTo>
                  <a:lnTo>
                    <a:pt x="496" y="559"/>
                  </a:lnTo>
                  <a:lnTo>
                    <a:pt x="495" y="561"/>
                  </a:lnTo>
                  <a:lnTo>
                    <a:pt x="496" y="564"/>
                  </a:lnTo>
                  <a:lnTo>
                    <a:pt x="497" y="565"/>
                  </a:lnTo>
                  <a:lnTo>
                    <a:pt x="498" y="566"/>
                  </a:lnTo>
                  <a:lnTo>
                    <a:pt x="498" y="568"/>
                  </a:lnTo>
                  <a:lnTo>
                    <a:pt x="500" y="569"/>
                  </a:lnTo>
                  <a:lnTo>
                    <a:pt x="501" y="570"/>
                  </a:lnTo>
                  <a:lnTo>
                    <a:pt x="503" y="571"/>
                  </a:lnTo>
                  <a:lnTo>
                    <a:pt x="511" y="575"/>
                  </a:lnTo>
                  <a:lnTo>
                    <a:pt x="513" y="576"/>
                  </a:lnTo>
                  <a:lnTo>
                    <a:pt x="515" y="578"/>
                  </a:lnTo>
                  <a:lnTo>
                    <a:pt x="516" y="579"/>
                  </a:lnTo>
                  <a:lnTo>
                    <a:pt x="517" y="579"/>
                  </a:lnTo>
                  <a:lnTo>
                    <a:pt x="518" y="581"/>
                  </a:lnTo>
                  <a:lnTo>
                    <a:pt x="518" y="584"/>
                  </a:lnTo>
                  <a:lnTo>
                    <a:pt x="519" y="586"/>
                  </a:lnTo>
                  <a:lnTo>
                    <a:pt x="520" y="592"/>
                  </a:lnTo>
                  <a:lnTo>
                    <a:pt x="523" y="599"/>
                  </a:lnTo>
                  <a:lnTo>
                    <a:pt x="524" y="604"/>
                  </a:lnTo>
                  <a:lnTo>
                    <a:pt x="528" y="611"/>
                  </a:lnTo>
                  <a:lnTo>
                    <a:pt x="530" y="614"/>
                  </a:lnTo>
                  <a:lnTo>
                    <a:pt x="530" y="619"/>
                  </a:lnTo>
                  <a:lnTo>
                    <a:pt x="532" y="628"/>
                  </a:lnTo>
                  <a:lnTo>
                    <a:pt x="533" y="632"/>
                  </a:lnTo>
                  <a:lnTo>
                    <a:pt x="534" y="634"/>
                  </a:lnTo>
                  <a:lnTo>
                    <a:pt x="535" y="637"/>
                  </a:lnTo>
                  <a:lnTo>
                    <a:pt x="537" y="640"/>
                  </a:lnTo>
                  <a:lnTo>
                    <a:pt x="539" y="644"/>
                  </a:lnTo>
                  <a:lnTo>
                    <a:pt x="541" y="646"/>
                  </a:lnTo>
                  <a:lnTo>
                    <a:pt x="543" y="649"/>
                  </a:lnTo>
                  <a:lnTo>
                    <a:pt x="545" y="652"/>
                  </a:lnTo>
                  <a:lnTo>
                    <a:pt x="548" y="655"/>
                  </a:lnTo>
                  <a:lnTo>
                    <a:pt x="550" y="657"/>
                  </a:lnTo>
                  <a:lnTo>
                    <a:pt x="553" y="659"/>
                  </a:lnTo>
                  <a:lnTo>
                    <a:pt x="555" y="661"/>
                  </a:lnTo>
                  <a:lnTo>
                    <a:pt x="558" y="663"/>
                  </a:lnTo>
                  <a:lnTo>
                    <a:pt x="561" y="665"/>
                  </a:lnTo>
                  <a:lnTo>
                    <a:pt x="565" y="667"/>
                  </a:lnTo>
                  <a:lnTo>
                    <a:pt x="568" y="668"/>
                  </a:lnTo>
                  <a:lnTo>
                    <a:pt x="573" y="671"/>
                  </a:lnTo>
                  <a:lnTo>
                    <a:pt x="577" y="672"/>
                  </a:lnTo>
                  <a:lnTo>
                    <a:pt x="580" y="673"/>
                  </a:lnTo>
                  <a:lnTo>
                    <a:pt x="591" y="676"/>
                  </a:lnTo>
                  <a:lnTo>
                    <a:pt x="593" y="676"/>
                  </a:lnTo>
                  <a:lnTo>
                    <a:pt x="595" y="677"/>
                  </a:lnTo>
                  <a:lnTo>
                    <a:pt x="597" y="678"/>
                  </a:lnTo>
                  <a:lnTo>
                    <a:pt x="598" y="679"/>
                  </a:lnTo>
                  <a:lnTo>
                    <a:pt x="600" y="681"/>
                  </a:lnTo>
                  <a:lnTo>
                    <a:pt x="602" y="683"/>
                  </a:lnTo>
                  <a:lnTo>
                    <a:pt x="603" y="685"/>
                  </a:lnTo>
                  <a:lnTo>
                    <a:pt x="603" y="687"/>
                  </a:lnTo>
                  <a:lnTo>
                    <a:pt x="605" y="691"/>
                  </a:lnTo>
                  <a:lnTo>
                    <a:pt x="605" y="695"/>
                  </a:lnTo>
                  <a:lnTo>
                    <a:pt x="607" y="703"/>
                  </a:lnTo>
                  <a:lnTo>
                    <a:pt x="608" y="706"/>
                  </a:lnTo>
                  <a:lnTo>
                    <a:pt x="609" y="708"/>
                  </a:lnTo>
                  <a:lnTo>
                    <a:pt x="610" y="713"/>
                  </a:lnTo>
                  <a:lnTo>
                    <a:pt x="617" y="726"/>
                  </a:lnTo>
                  <a:lnTo>
                    <a:pt x="619" y="730"/>
                  </a:lnTo>
                  <a:lnTo>
                    <a:pt x="620" y="733"/>
                  </a:lnTo>
                  <a:lnTo>
                    <a:pt x="620" y="736"/>
                  </a:lnTo>
                  <a:lnTo>
                    <a:pt x="620" y="738"/>
                  </a:lnTo>
                  <a:lnTo>
                    <a:pt x="622" y="748"/>
                  </a:lnTo>
                  <a:lnTo>
                    <a:pt x="623" y="754"/>
                  </a:lnTo>
                  <a:lnTo>
                    <a:pt x="624" y="759"/>
                  </a:lnTo>
                  <a:lnTo>
                    <a:pt x="626" y="768"/>
                  </a:lnTo>
                  <a:lnTo>
                    <a:pt x="628" y="772"/>
                  </a:lnTo>
                  <a:lnTo>
                    <a:pt x="628" y="775"/>
                  </a:lnTo>
                  <a:lnTo>
                    <a:pt x="627" y="777"/>
                  </a:lnTo>
                  <a:lnTo>
                    <a:pt x="627" y="778"/>
                  </a:lnTo>
                  <a:lnTo>
                    <a:pt x="626" y="778"/>
                  </a:lnTo>
                  <a:lnTo>
                    <a:pt x="626" y="779"/>
                  </a:lnTo>
                  <a:lnTo>
                    <a:pt x="625" y="779"/>
                  </a:lnTo>
                  <a:lnTo>
                    <a:pt x="624" y="778"/>
                  </a:lnTo>
                  <a:lnTo>
                    <a:pt x="621" y="778"/>
                  </a:lnTo>
                  <a:lnTo>
                    <a:pt x="614" y="773"/>
                  </a:lnTo>
                  <a:lnTo>
                    <a:pt x="611" y="772"/>
                  </a:lnTo>
                  <a:lnTo>
                    <a:pt x="608" y="771"/>
                  </a:lnTo>
                  <a:lnTo>
                    <a:pt x="603" y="769"/>
                  </a:lnTo>
                  <a:lnTo>
                    <a:pt x="600" y="768"/>
                  </a:lnTo>
                  <a:lnTo>
                    <a:pt x="598" y="768"/>
                  </a:lnTo>
                  <a:lnTo>
                    <a:pt x="584" y="766"/>
                  </a:lnTo>
                  <a:lnTo>
                    <a:pt x="575" y="763"/>
                  </a:lnTo>
                  <a:lnTo>
                    <a:pt x="571" y="763"/>
                  </a:lnTo>
                  <a:lnTo>
                    <a:pt x="568" y="763"/>
                  </a:lnTo>
                  <a:lnTo>
                    <a:pt x="565" y="763"/>
                  </a:lnTo>
                  <a:lnTo>
                    <a:pt x="561" y="763"/>
                  </a:lnTo>
                  <a:lnTo>
                    <a:pt x="558" y="763"/>
                  </a:lnTo>
                  <a:lnTo>
                    <a:pt x="555" y="764"/>
                  </a:lnTo>
                  <a:lnTo>
                    <a:pt x="553" y="765"/>
                  </a:lnTo>
                  <a:lnTo>
                    <a:pt x="551" y="766"/>
                  </a:lnTo>
                  <a:lnTo>
                    <a:pt x="549" y="768"/>
                  </a:lnTo>
                  <a:lnTo>
                    <a:pt x="547" y="770"/>
                  </a:lnTo>
                  <a:lnTo>
                    <a:pt x="545" y="772"/>
                  </a:lnTo>
                  <a:lnTo>
                    <a:pt x="544" y="775"/>
                  </a:lnTo>
                  <a:lnTo>
                    <a:pt x="543" y="778"/>
                  </a:lnTo>
                  <a:lnTo>
                    <a:pt x="542" y="781"/>
                  </a:lnTo>
                  <a:lnTo>
                    <a:pt x="540" y="791"/>
                  </a:lnTo>
                  <a:lnTo>
                    <a:pt x="537" y="805"/>
                  </a:lnTo>
                  <a:lnTo>
                    <a:pt x="536" y="810"/>
                  </a:lnTo>
                  <a:lnTo>
                    <a:pt x="535" y="819"/>
                  </a:lnTo>
                  <a:lnTo>
                    <a:pt x="534" y="823"/>
                  </a:lnTo>
                  <a:lnTo>
                    <a:pt x="533" y="826"/>
                  </a:lnTo>
                  <a:lnTo>
                    <a:pt x="533" y="828"/>
                  </a:lnTo>
                  <a:lnTo>
                    <a:pt x="531" y="831"/>
                  </a:lnTo>
                  <a:lnTo>
                    <a:pt x="530" y="833"/>
                  </a:lnTo>
                  <a:lnTo>
                    <a:pt x="526" y="838"/>
                  </a:lnTo>
                  <a:lnTo>
                    <a:pt x="523" y="843"/>
                  </a:lnTo>
                  <a:lnTo>
                    <a:pt x="518" y="848"/>
                  </a:lnTo>
                  <a:lnTo>
                    <a:pt x="515" y="852"/>
                  </a:lnTo>
                  <a:lnTo>
                    <a:pt x="512" y="855"/>
                  </a:lnTo>
                  <a:lnTo>
                    <a:pt x="508" y="858"/>
                  </a:lnTo>
                  <a:lnTo>
                    <a:pt x="505" y="860"/>
                  </a:lnTo>
                  <a:lnTo>
                    <a:pt x="497" y="866"/>
                  </a:lnTo>
                  <a:lnTo>
                    <a:pt x="492" y="868"/>
                  </a:lnTo>
                  <a:lnTo>
                    <a:pt x="486" y="873"/>
                  </a:lnTo>
                  <a:lnTo>
                    <a:pt x="483" y="877"/>
                  </a:lnTo>
                  <a:lnTo>
                    <a:pt x="480" y="880"/>
                  </a:lnTo>
                  <a:lnTo>
                    <a:pt x="476" y="883"/>
                  </a:lnTo>
                  <a:lnTo>
                    <a:pt x="473" y="887"/>
                  </a:lnTo>
                  <a:lnTo>
                    <a:pt x="471" y="890"/>
                  </a:lnTo>
                  <a:lnTo>
                    <a:pt x="469" y="893"/>
                  </a:lnTo>
                  <a:lnTo>
                    <a:pt x="467" y="896"/>
                  </a:lnTo>
                  <a:lnTo>
                    <a:pt x="465" y="900"/>
                  </a:lnTo>
                  <a:lnTo>
                    <a:pt x="464" y="903"/>
                  </a:lnTo>
                  <a:lnTo>
                    <a:pt x="463" y="907"/>
                  </a:lnTo>
                  <a:lnTo>
                    <a:pt x="462" y="909"/>
                  </a:lnTo>
                  <a:lnTo>
                    <a:pt x="462" y="910"/>
                  </a:lnTo>
                  <a:lnTo>
                    <a:pt x="461" y="910"/>
                  </a:lnTo>
                  <a:lnTo>
                    <a:pt x="460" y="910"/>
                  </a:lnTo>
                  <a:lnTo>
                    <a:pt x="458" y="908"/>
                  </a:lnTo>
                  <a:lnTo>
                    <a:pt x="456" y="908"/>
                  </a:lnTo>
                  <a:lnTo>
                    <a:pt x="455" y="906"/>
                  </a:lnTo>
                  <a:lnTo>
                    <a:pt x="453" y="905"/>
                  </a:lnTo>
                  <a:lnTo>
                    <a:pt x="452" y="903"/>
                  </a:lnTo>
                  <a:lnTo>
                    <a:pt x="450" y="901"/>
                  </a:lnTo>
                  <a:lnTo>
                    <a:pt x="448" y="898"/>
                  </a:lnTo>
                  <a:lnTo>
                    <a:pt x="447" y="896"/>
                  </a:lnTo>
                  <a:lnTo>
                    <a:pt x="444" y="891"/>
                  </a:lnTo>
                  <a:lnTo>
                    <a:pt x="442" y="886"/>
                  </a:lnTo>
                  <a:lnTo>
                    <a:pt x="440" y="881"/>
                  </a:lnTo>
                  <a:lnTo>
                    <a:pt x="438" y="876"/>
                  </a:lnTo>
                  <a:lnTo>
                    <a:pt x="437" y="871"/>
                  </a:lnTo>
                  <a:lnTo>
                    <a:pt x="436" y="867"/>
                  </a:lnTo>
                  <a:lnTo>
                    <a:pt x="436" y="863"/>
                  </a:lnTo>
                  <a:lnTo>
                    <a:pt x="436" y="857"/>
                  </a:lnTo>
                  <a:lnTo>
                    <a:pt x="436" y="847"/>
                  </a:lnTo>
                  <a:lnTo>
                    <a:pt x="437" y="841"/>
                  </a:lnTo>
                  <a:lnTo>
                    <a:pt x="438" y="836"/>
                  </a:lnTo>
                  <a:lnTo>
                    <a:pt x="438" y="835"/>
                  </a:lnTo>
                  <a:lnTo>
                    <a:pt x="438" y="834"/>
                  </a:lnTo>
                  <a:lnTo>
                    <a:pt x="437" y="833"/>
                  </a:lnTo>
                  <a:lnTo>
                    <a:pt x="436" y="834"/>
                  </a:lnTo>
                  <a:lnTo>
                    <a:pt x="435" y="834"/>
                  </a:lnTo>
                  <a:lnTo>
                    <a:pt x="435" y="835"/>
                  </a:lnTo>
                  <a:lnTo>
                    <a:pt x="430" y="838"/>
                  </a:lnTo>
                  <a:lnTo>
                    <a:pt x="429" y="839"/>
                  </a:lnTo>
                  <a:lnTo>
                    <a:pt x="428" y="839"/>
                  </a:lnTo>
                  <a:lnTo>
                    <a:pt x="427" y="839"/>
                  </a:lnTo>
                  <a:lnTo>
                    <a:pt x="425" y="839"/>
                  </a:lnTo>
                  <a:lnTo>
                    <a:pt x="424" y="838"/>
                  </a:lnTo>
                  <a:lnTo>
                    <a:pt x="423" y="838"/>
                  </a:lnTo>
                  <a:lnTo>
                    <a:pt x="421" y="836"/>
                  </a:lnTo>
                  <a:lnTo>
                    <a:pt x="420" y="835"/>
                  </a:lnTo>
                  <a:lnTo>
                    <a:pt x="414" y="826"/>
                  </a:lnTo>
                  <a:lnTo>
                    <a:pt x="411" y="821"/>
                  </a:lnTo>
                  <a:lnTo>
                    <a:pt x="408" y="818"/>
                  </a:lnTo>
                  <a:lnTo>
                    <a:pt x="402" y="813"/>
                  </a:lnTo>
                  <a:lnTo>
                    <a:pt x="399" y="810"/>
                  </a:lnTo>
                  <a:lnTo>
                    <a:pt x="386" y="793"/>
                  </a:lnTo>
                  <a:lnTo>
                    <a:pt x="378" y="784"/>
                  </a:lnTo>
                  <a:lnTo>
                    <a:pt x="373" y="778"/>
                  </a:lnTo>
                  <a:lnTo>
                    <a:pt x="371" y="776"/>
                  </a:lnTo>
                  <a:lnTo>
                    <a:pt x="366" y="771"/>
                  </a:lnTo>
                  <a:lnTo>
                    <a:pt x="365" y="771"/>
                  </a:lnTo>
                  <a:lnTo>
                    <a:pt x="363" y="769"/>
                  </a:lnTo>
                  <a:lnTo>
                    <a:pt x="359" y="768"/>
                  </a:lnTo>
                  <a:lnTo>
                    <a:pt x="348" y="763"/>
                  </a:lnTo>
                  <a:lnTo>
                    <a:pt x="347" y="761"/>
                  </a:lnTo>
                  <a:lnTo>
                    <a:pt x="345" y="760"/>
                  </a:lnTo>
                  <a:lnTo>
                    <a:pt x="343" y="758"/>
                  </a:lnTo>
                  <a:lnTo>
                    <a:pt x="342" y="756"/>
                  </a:lnTo>
                  <a:lnTo>
                    <a:pt x="341" y="754"/>
                  </a:lnTo>
                  <a:lnTo>
                    <a:pt x="340" y="752"/>
                  </a:lnTo>
                  <a:lnTo>
                    <a:pt x="338" y="743"/>
                  </a:lnTo>
                  <a:lnTo>
                    <a:pt x="337" y="741"/>
                  </a:lnTo>
                  <a:lnTo>
                    <a:pt x="336" y="736"/>
                  </a:lnTo>
                  <a:lnTo>
                    <a:pt x="336" y="732"/>
                  </a:lnTo>
                  <a:lnTo>
                    <a:pt x="336" y="730"/>
                  </a:lnTo>
                  <a:lnTo>
                    <a:pt x="336" y="728"/>
                  </a:lnTo>
                  <a:lnTo>
                    <a:pt x="335" y="727"/>
                  </a:lnTo>
                  <a:lnTo>
                    <a:pt x="333" y="726"/>
                  </a:lnTo>
                  <a:lnTo>
                    <a:pt x="332" y="726"/>
                  </a:lnTo>
                  <a:lnTo>
                    <a:pt x="330" y="726"/>
                  </a:lnTo>
                  <a:lnTo>
                    <a:pt x="328" y="726"/>
                  </a:lnTo>
                  <a:lnTo>
                    <a:pt x="326" y="727"/>
                  </a:lnTo>
                  <a:lnTo>
                    <a:pt x="324" y="728"/>
                  </a:lnTo>
                  <a:lnTo>
                    <a:pt x="314" y="732"/>
                  </a:lnTo>
                  <a:lnTo>
                    <a:pt x="306" y="734"/>
                  </a:lnTo>
                  <a:lnTo>
                    <a:pt x="299" y="736"/>
                  </a:lnTo>
                  <a:lnTo>
                    <a:pt x="285" y="740"/>
                  </a:lnTo>
                  <a:lnTo>
                    <a:pt x="275" y="743"/>
                  </a:lnTo>
                  <a:lnTo>
                    <a:pt x="271" y="743"/>
                  </a:lnTo>
                  <a:lnTo>
                    <a:pt x="268" y="744"/>
                  </a:lnTo>
                  <a:lnTo>
                    <a:pt x="266" y="744"/>
                  </a:lnTo>
                  <a:lnTo>
                    <a:pt x="264" y="744"/>
                  </a:lnTo>
                  <a:lnTo>
                    <a:pt x="262" y="743"/>
                  </a:lnTo>
                  <a:lnTo>
                    <a:pt x="260" y="743"/>
                  </a:lnTo>
                  <a:lnTo>
                    <a:pt x="258" y="743"/>
                  </a:lnTo>
                  <a:lnTo>
                    <a:pt x="257" y="742"/>
                  </a:lnTo>
                  <a:lnTo>
                    <a:pt x="256" y="741"/>
                  </a:lnTo>
                  <a:lnTo>
                    <a:pt x="254" y="740"/>
                  </a:lnTo>
                  <a:lnTo>
                    <a:pt x="253" y="738"/>
                  </a:lnTo>
                  <a:lnTo>
                    <a:pt x="250" y="731"/>
                  </a:lnTo>
                  <a:lnTo>
                    <a:pt x="243" y="720"/>
                  </a:lnTo>
                  <a:lnTo>
                    <a:pt x="242" y="717"/>
                  </a:lnTo>
                  <a:lnTo>
                    <a:pt x="241" y="715"/>
                  </a:lnTo>
                  <a:lnTo>
                    <a:pt x="241" y="713"/>
                  </a:lnTo>
                  <a:lnTo>
                    <a:pt x="240" y="705"/>
                  </a:lnTo>
                  <a:lnTo>
                    <a:pt x="238" y="698"/>
                  </a:lnTo>
                  <a:lnTo>
                    <a:pt x="238" y="696"/>
                  </a:lnTo>
                  <a:lnTo>
                    <a:pt x="238" y="691"/>
                  </a:lnTo>
                  <a:lnTo>
                    <a:pt x="238" y="689"/>
                  </a:lnTo>
                  <a:lnTo>
                    <a:pt x="238" y="686"/>
                  </a:lnTo>
                  <a:lnTo>
                    <a:pt x="238" y="685"/>
                  </a:lnTo>
                  <a:lnTo>
                    <a:pt x="238" y="684"/>
                  </a:lnTo>
                  <a:lnTo>
                    <a:pt x="238" y="683"/>
                  </a:lnTo>
                  <a:lnTo>
                    <a:pt x="238" y="681"/>
                  </a:lnTo>
                  <a:lnTo>
                    <a:pt x="237" y="679"/>
                  </a:lnTo>
                  <a:lnTo>
                    <a:pt x="236" y="678"/>
                  </a:lnTo>
                  <a:lnTo>
                    <a:pt x="234" y="677"/>
                  </a:lnTo>
                  <a:lnTo>
                    <a:pt x="231" y="675"/>
                  </a:lnTo>
                  <a:lnTo>
                    <a:pt x="228" y="673"/>
                  </a:lnTo>
                  <a:lnTo>
                    <a:pt x="221" y="666"/>
                  </a:lnTo>
                  <a:lnTo>
                    <a:pt x="214" y="660"/>
                  </a:lnTo>
                  <a:lnTo>
                    <a:pt x="207" y="651"/>
                  </a:lnTo>
                  <a:lnTo>
                    <a:pt x="206" y="650"/>
                  </a:lnTo>
                  <a:lnTo>
                    <a:pt x="203" y="649"/>
                  </a:lnTo>
                  <a:lnTo>
                    <a:pt x="200" y="646"/>
                  </a:lnTo>
                  <a:lnTo>
                    <a:pt x="194" y="643"/>
                  </a:lnTo>
                  <a:lnTo>
                    <a:pt x="189" y="641"/>
                  </a:lnTo>
                  <a:lnTo>
                    <a:pt x="184" y="638"/>
                  </a:lnTo>
                  <a:lnTo>
                    <a:pt x="179" y="634"/>
                  </a:lnTo>
                  <a:lnTo>
                    <a:pt x="176" y="632"/>
                  </a:lnTo>
                  <a:lnTo>
                    <a:pt x="174" y="631"/>
                  </a:lnTo>
                  <a:lnTo>
                    <a:pt x="172" y="630"/>
                  </a:lnTo>
                  <a:lnTo>
                    <a:pt x="165" y="628"/>
                  </a:lnTo>
                  <a:lnTo>
                    <a:pt x="164" y="627"/>
                  </a:lnTo>
                  <a:lnTo>
                    <a:pt x="162" y="626"/>
                  </a:lnTo>
                  <a:lnTo>
                    <a:pt x="162" y="626"/>
                  </a:lnTo>
                  <a:lnTo>
                    <a:pt x="161" y="625"/>
                  </a:lnTo>
                  <a:lnTo>
                    <a:pt x="161" y="624"/>
                  </a:lnTo>
                  <a:lnTo>
                    <a:pt x="161" y="623"/>
                  </a:lnTo>
                  <a:lnTo>
                    <a:pt x="161" y="621"/>
                  </a:lnTo>
                  <a:lnTo>
                    <a:pt x="161" y="618"/>
                  </a:lnTo>
                  <a:lnTo>
                    <a:pt x="161" y="616"/>
                  </a:lnTo>
                  <a:lnTo>
                    <a:pt x="161" y="610"/>
                  </a:lnTo>
                  <a:lnTo>
                    <a:pt x="161" y="609"/>
                  </a:lnTo>
                  <a:lnTo>
                    <a:pt x="161" y="607"/>
                  </a:lnTo>
                  <a:lnTo>
                    <a:pt x="160" y="606"/>
                  </a:lnTo>
                  <a:lnTo>
                    <a:pt x="160" y="606"/>
                  </a:lnTo>
                  <a:lnTo>
                    <a:pt x="159" y="604"/>
                  </a:lnTo>
                  <a:lnTo>
                    <a:pt x="157" y="603"/>
                  </a:lnTo>
                  <a:lnTo>
                    <a:pt x="155" y="602"/>
                  </a:lnTo>
                  <a:lnTo>
                    <a:pt x="146" y="597"/>
                  </a:lnTo>
                  <a:lnTo>
                    <a:pt x="141" y="594"/>
                  </a:lnTo>
                  <a:lnTo>
                    <a:pt x="136" y="591"/>
                  </a:lnTo>
                  <a:lnTo>
                    <a:pt x="127" y="585"/>
                  </a:lnTo>
                  <a:lnTo>
                    <a:pt x="121" y="581"/>
                  </a:lnTo>
                  <a:lnTo>
                    <a:pt x="117" y="579"/>
                  </a:lnTo>
                  <a:lnTo>
                    <a:pt x="104" y="573"/>
                  </a:lnTo>
                  <a:lnTo>
                    <a:pt x="102" y="571"/>
                  </a:lnTo>
                  <a:lnTo>
                    <a:pt x="101" y="571"/>
                  </a:lnTo>
                  <a:lnTo>
                    <a:pt x="99" y="569"/>
                  </a:lnTo>
                  <a:lnTo>
                    <a:pt x="98" y="568"/>
                  </a:lnTo>
                  <a:lnTo>
                    <a:pt x="94" y="564"/>
                  </a:lnTo>
                  <a:lnTo>
                    <a:pt x="89" y="556"/>
                  </a:lnTo>
                  <a:lnTo>
                    <a:pt x="82" y="548"/>
                  </a:lnTo>
                  <a:lnTo>
                    <a:pt x="81" y="546"/>
                  </a:lnTo>
                  <a:lnTo>
                    <a:pt x="80" y="546"/>
                  </a:lnTo>
                  <a:lnTo>
                    <a:pt x="78" y="544"/>
                  </a:lnTo>
                  <a:lnTo>
                    <a:pt x="74" y="542"/>
                  </a:lnTo>
                  <a:lnTo>
                    <a:pt x="71" y="540"/>
                  </a:lnTo>
                  <a:lnTo>
                    <a:pt x="68" y="539"/>
                  </a:lnTo>
                  <a:lnTo>
                    <a:pt x="64" y="534"/>
                  </a:lnTo>
                  <a:lnTo>
                    <a:pt x="61" y="532"/>
                  </a:lnTo>
                  <a:lnTo>
                    <a:pt x="59" y="531"/>
                  </a:lnTo>
                  <a:lnTo>
                    <a:pt x="54" y="527"/>
                  </a:lnTo>
                  <a:lnTo>
                    <a:pt x="51" y="526"/>
                  </a:lnTo>
                  <a:lnTo>
                    <a:pt x="51" y="525"/>
                  </a:lnTo>
                  <a:lnTo>
                    <a:pt x="49" y="524"/>
                  </a:lnTo>
                  <a:lnTo>
                    <a:pt x="44" y="517"/>
                  </a:lnTo>
                  <a:lnTo>
                    <a:pt x="42" y="515"/>
                  </a:lnTo>
                  <a:lnTo>
                    <a:pt x="40" y="513"/>
                  </a:lnTo>
                  <a:lnTo>
                    <a:pt x="37" y="511"/>
                  </a:lnTo>
                  <a:lnTo>
                    <a:pt x="35" y="509"/>
                  </a:lnTo>
                  <a:lnTo>
                    <a:pt x="31" y="507"/>
                  </a:lnTo>
                  <a:lnTo>
                    <a:pt x="21" y="501"/>
                  </a:lnTo>
                  <a:lnTo>
                    <a:pt x="18" y="499"/>
                  </a:lnTo>
                  <a:lnTo>
                    <a:pt x="14" y="497"/>
                  </a:lnTo>
                  <a:lnTo>
                    <a:pt x="11" y="495"/>
                  </a:lnTo>
                  <a:lnTo>
                    <a:pt x="9" y="492"/>
                  </a:lnTo>
                  <a:lnTo>
                    <a:pt x="8" y="491"/>
                  </a:lnTo>
                  <a:lnTo>
                    <a:pt x="6" y="488"/>
                  </a:lnTo>
                  <a:lnTo>
                    <a:pt x="5" y="486"/>
                  </a:lnTo>
                  <a:lnTo>
                    <a:pt x="4" y="484"/>
                  </a:lnTo>
                  <a:lnTo>
                    <a:pt x="3" y="481"/>
                  </a:lnTo>
                  <a:lnTo>
                    <a:pt x="1" y="478"/>
                  </a:lnTo>
                  <a:lnTo>
                    <a:pt x="1" y="475"/>
                  </a:lnTo>
                  <a:lnTo>
                    <a:pt x="0" y="472"/>
                  </a:lnTo>
                  <a:lnTo>
                    <a:pt x="0" y="469"/>
                  </a:lnTo>
                  <a:lnTo>
                    <a:pt x="0" y="466"/>
                  </a:lnTo>
                  <a:lnTo>
                    <a:pt x="0" y="464"/>
                  </a:lnTo>
                  <a:lnTo>
                    <a:pt x="1" y="461"/>
                  </a:lnTo>
                  <a:lnTo>
                    <a:pt x="1" y="459"/>
                  </a:lnTo>
                  <a:lnTo>
                    <a:pt x="2" y="456"/>
                  </a:lnTo>
                  <a:lnTo>
                    <a:pt x="2" y="456"/>
                  </a:lnTo>
                  <a:lnTo>
                    <a:pt x="3" y="456"/>
                  </a:lnTo>
                  <a:lnTo>
                    <a:pt x="11" y="453"/>
                  </a:lnTo>
                  <a:lnTo>
                    <a:pt x="16" y="451"/>
                  </a:lnTo>
                  <a:lnTo>
                    <a:pt x="19" y="449"/>
                  </a:lnTo>
                  <a:lnTo>
                    <a:pt x="22" y="448"/>
                  </a:lnTo>
                  <a:lnTo>
                    <a:pt x="26" y="446"/>
                  </a:lnTo>
                  <a:lnTo>
                    <a:pt x="29" y="444"/>
                  </a:lnTo>
                  <a:lnTo>
                    <a:pt x="31" y="442"/>
                  </a:lnTo>
                  <a:lnTo>
                    <a:pt x="37" y="438"/>
                  </a:lnTo>
                  <a:lnTo>
                    <a:pt x="41" y="435"/>
                  </a:lnTo>
                  <a:lnTo>
                    <a:pt x="43" y="431"/>
                  </a:lnTo>
                  <a:lnTo>
                    <a:pt x="46" y="427"/>
                  </a:lnTo>
                  <a:lnTo>
                    <a:pt x="49" y="425"/>
                  </a:lnTo>
                  <a:lnTo>
                    <a:pt x="50" y="424"/>
                  </a:lnTo>
                  <a:lnTo>
                    <a:pt x="51" y="423"/>
                  </a:lnTo>
                  <a:lnTo>
                    <a:pt x="56" y="420"/>
                  </a:lnTo>
                  <a:lnTo>
                    <a:pt x="59" y="419"/>
                  </a:lnTo>
                  <a:lnTo>
                    <a:pt x="59" y="418"/>
                  </a:lnTo>
                  <a:lnTo>
                    <a:pt x="60" y="417"/>
                  </a:lnTo>
                  <a:lnTo>
                    <a:pt x="60" y="416"/>
                  </a:lnTo>
                  <a:lnTo>
                    <a:pt x="60" y="414"/>
                  </a:lnTo>
                  <a:lnTo>
                    <a:pt x="61" y="411"/>
                  </a:lnTo>
                  <a:lnTo>
                    <a:pt x="61" y="409"/>
                  </a:lnTo>
                  <a:lnTo>
                    <a:pt x="61" y="407"/>
                  </a:lnTo>
                  <a:lnTo>
                    <a:pt x="60" y="404"/>
                  </a:lnTo>
                  <a:lnTo>
                    <a:pt x="59" y="401"/>
                  </a:lnTo>
                  <a:lnTo>
                    <a:pt x="53" y="389"/>
                  </a:lnTo>
                  <a:lnTo>
                    <a:pt x="51" y="385"/>
                  </a:lnTo>
                  <a:lnTo>
                    <a:pt x="49" y="382"/>
                  </a:lnTo>
                  <a:lnTo>
                    <a:pt x="46" y="380"/>
                  </a:lnTo>
                  <a:lnTo>
                    <a:pt x="41" y="374"/>
                  </a:lnTo>
                  <a:lnTo>
                    <a:pt x="39" y="372"/>
                  </a:lnTo>
                  <a:lnTo>
                    <a:pt x="37" y="371"/>
                  </a:lnTo>
                  <a:lnTo>
                    <a:pt x="36" y="368"/>
                  </a:lnTo>
                  <a:lnTo>
                    <a:pt x="35" y="367"/>
                  </a:lnTo>
                  <a:lnTo>
                    <a:pt x="34" y="364"/>
                  </a:lnTo>
                  <a:lnTo>
                    <a:pt x="33" y="362"/>
                  </a:lnTo>
                  <a:lnTo>
                    <a:pt x="32" y="359"/>
                  </a:lnTo>
                  <a:lnTo>
                    <a:pt x="31" y="356"/>
                  </a:lnTo>
                  <a:lnTo>
                    <a:pt x="31" y="353"/>
                  </a:lnTo>
                  <a:lnTo>
                    <a:pt x="31" y="349"/>
                  </a:lnTo>
                  <a:lnTo>
                    <a:pt x="32" y="344"/>
                  </a:lnTo>
                  <a:lnTo>
                    <a:pt x="34" y="336"/>
                  </a:lnTo>
                  <a:lnTo>
                    <a:pt x="34" y="332"/>
                  </a:lnTo>
                  <a:lnTo>
                    <a:pt x="35" y="314"/>
                  </a:lnTo>
                  <a:lnTo>
                    <a:pt x="35" y="309"/>
                  </a:lnTo>
                  <a:lnTo>
                    <a:pt x="35" y="307"/>
                  </a:lnTo>
                  <a:lnTo>
                    <a:pt x="35" y="304"/>
                  </a:lnTo>
                  <a:lnTo>
                    <a:pt x="34" y="302"/>
                  </a:lnTo>
                  <a:lnTo>
                    <a:pt x="34" y="301"/>
                  </a:lnTo>
                  <a:lnTo>
                    <a:pt x="33" y="300"/>
                  </a:lnTo>
                  <a:lnTo>
                    <a:pt x="31" y="299"/>
                  </a:lnTo>
                  <a:lnTo>
                    <a:pt x="30" y="297"/>
                  </a:lnTo>
                  <a:lnTo>
                    <a:pt x="29" y="297"/>
                  </a:lnTo>
                  <a:lnTo>
                    <a:pt x="27" y="297"/>
                  </a:lnTo>
                  <a:lnTo>
                    <a:pt x="26" y="297"/>
                  </a:lnTo>
                  <a:lnTo>
                    <a:pt x="24" y="292"/>
                  </a:lnTo>
                  <a:lnTo>
                    <a:pt x="19" y="284"/>
                  </a:lnTo>
                  <a:lnTo>
                    <a:pt x="19" y="283"/>
                  </a:lnTo>
                  <a:lnTo>
                    <a:pt x="19" y="282"/>
                  </a:lnTo>
                  <a:lnTo>
                    <a:pt x="19" y="282"/>
                  </a:lnTo>
                  <a:lnTo>
                    <a:pt x="19" y="281"/>
                  </a:lnTo>
                  <a:lnTo>
                    <a:pt x="19" y="280"/>
                  </a:lnTo>
                  <a:lnTo>
                    <a:pt x="20" y="279"/>
                  </a:lnTo>
                  <a:lnTo>
                    <a:pt x="21" y="279"/>
                  </a:lnTo>
                  <a:lnTo>
                    <a:pt x="22" y="279"/>
                  </a:lnTo>
                  <a:lnTo>
                    <a:pt x="25" y="278"/>
                  </a:lnTo>
                  <a:lnTo>
                    <a:pt x="27" y="277"/>
                  </a:lnTo>
                  <a:lnTo>
                    <a:pt x="28" y="277"/>
                  </a:lnTo>
                  <a:lnTo>
                    <a:pt x="29" y="277"/>
                  </a:lnTo>
                  <a:lnTo>
                    <a:pt x="29" y="276"/>
                  </a:lnTo>
                  <a:lnTo>
                    <a:pt x="29" y="274"/>
                  </a:lnTo>
                  <a:lnTo>
                    <a:pt x="30" y="269"/>
                  </a:lnTo>
                  <a:lnTo>
                    <a:pt x="31" y="267"/>
                  </a:lnTo>
                  <a:lnTo>
                    <a:pt x="31" y="266"/>
                  </a:lnTo>
                  <a:lnTo>
                    <a:pt x="32" y="264"/>
                  </a:lnTo>
                  <a:lnTo>
                    <a:pt x="33" y="264"/>
                  </a:lnTo>
                  <a:lnTo>
                    <a:pt x="34" y="263"/>
                  </a:lnTo>
                  <a:lnTo>
                    <a:pt x="34" y="262"/>
                  </a:lnTo>
                  <a:lnTo>
                    <a:pt x="35" y="262"/>
                  </a:lnTo>
                  <a:lnTo>
                    <a:pt x="39" y="261"/>
                  </a:lnTo>
                  <a:lnTo>
                    <a:pt x="41" y="261"/>
                  </a:lnTo>
                  <a:lnTo>
                    <a:pt x="43" y="259"/>
                  </a:lnTo>
                  <a:lnTo>
                    <a:pt x="46" y="259"/>
                  </a:lnTo>
                  <a:lnTo>
                    <a:pt x="47" y="257"/>
                  </a:lnTo>
                  <a:lnTo>
                    <a:pt x="49" y="257"/>
                  </a:lnTo>
                  <a:lnTo>
                    <a:pt x="52" y="253"/>
                  </a:lnTo>
                  <a:lnTo>
                    <a:pt x="53" y="252"/>
                  </a:lnTo>
                  <a:lnTo>
                    <a:pt x="54" y="249"/>
                  </a:lnTo>
                  <a:lnTo>
                    <a:pt x="54" y="247"/>
                  </a:lnTo>
                  <a:lnTo>
                    <a:pt x="55" y="244"/>
                  </a:lnTo>
                  <a:lnTo>
                    <a:pt x="56" y="241"/>
                  </a:lnTo>
                  <a:lnTo>
                    <a:pt x="56" y="237"/>
                  </a:lnTo>
                  <a:lnTo>
                    <a:pt x="56" y="235"/>
                  </a:lnTo>
                  <a:lnTo>
                    <a:pt x="56" y="234"/>
                  </a:lnTo>
                  <a:lnTo>
                    <a:pt x="56" y="233"/>
                  </a:lnTo>
                  <a:lnTo>
                    <a:pt x="56" y="232"/>
                  </a:lnTo>
                  <a:lnTo>
                    <a:pt x="56" y="229"/>
                  </a:lnTo>
                  <a:lnTo>
                    <a:pt x="56" y="228"/>
                  </a:lnTo>
                  <a:lnTo>
                    <a:pt x="59" y="224"/>
                  </a:lnTo>
                  <a:lnTo>
                    <a:pt x="60" y="221"/>
                  </a:lnTo>
                  <a:lnTo>
                    <a:pt x="61" y="218"/>
                  </a:lnTo>
                  <a:lnTo>
                    <a:pt x="64" y="215"/>
                  </a:lnTo>
                  <a:lnTo>
                    <a:pt x="71" y="205"/>
                  </a:lnTo>
                  <a:lnTo>
                    <a:pt x="75" y="199"/>
                  </a:lnTo>
                  <a:lnTo>
                    <a:pt x="80" y="192"/>
                  </a:lnTo>
                  <a:lnTo>
                    <a:pt x="81" y="190"/>
                  </a:lnTo>
                  <a:lnTo>
                    <a:pt x="82" y="189"/>
                  </a:lnTo>
                  <a:lnTo>
                    <a:pt x="82" y="187"/>
                  </a:lnTo>
                  <a:lnTo>
                    <a:pt x="83" y="185"/>
                  </a:lnTo>
                  <a:lnTo>
                    <a:pt x="84" y="183"/>
                  </a:lnTo>
                  <a:lnTo>
                    <a:pt x="84" y="182"/>
                  </a:lnTo>
                  <a:lnTo>
                    <a:pt x="84" y="179"/>
                  </a:lnTo>
                  <a:lnTo>
                    <a:pt x="83" y="177"/>
                  </a:lnTo>
                  <a:lnTo>
                    <a:pt x="82" y="174"/>
                  </a:lnTo>
                  <a:lnTo>
                    <a:pt x="80" y="165"/>
                  </a:lnTo>
                  <a:lnTo>
                    <a:pt x="79" y="160"/>
                  </a:lnTo>
                  <a:lnTo>
                    <a:pt x="78" y="153"/>
                  </a:lnTo>
                  <a:lnTo>
                    <a:pt x="77" y="146"/>
                  </a:lnTo>
                  <a:lnTo>
                    <a:pt x="77" y="143"/>
                  </a:lnTo>
                  <a:lnTo>
                    <a:pt x="77" y="140"/>
                  </a:lnTo>
                  <a:lnTo>
                    <a:pt x="77" y="137"/>
                  </a:lnTo>
                  <a:lnTo>
                    <a:pt x="78" y="135"/>
                  </a:lnTo>
                  <a:lnTo>
                    <a:pt x="78" y="133"/>
                  </a:lnTo>
                  <a:lnTo>
                    <a:pt x="79" y="130"/>
                  </a:lnTo>
                  <a:lnTo>
                    <a:pt x="79" y="129"/>
                  </a:lnTo>
                  <a:lnTo>
                    <a:pt x="81" y="127"/>
                  </a:lnTo>
                  <a:lnTo>
                    <a:pt x="81" y="126"/>
                  </a:lnTo>
                  <a:lnTo>
                    <a:pt x="83" y="125"/>
                  </a:lnTo>
                  <a:lnTo>
                    <a:pt x="84" y="124"/>
                  </a:lnTo>
                  <a:lnTo>
                    <a:pt x="86" y="123"/>
                  </a:lnTo>
                  <a:lnTo>
                    <a:pt x="87" y="122"/>
                  </a:lnTo>
                  <a:lnTo>
                    <a:pt x="89" y="122"/>
                  </a:lnTo>
                  <a:lnTo>
                    <a:pt x="91" y="122"/>
                  </a:lnTo>
                  <a:lnTo>
                    <a:pt x="94" y="122"/>
                  </a:lnTo>
                  <a:lnTo>
                    <a:pt x="96" y="122"/>
                  </a:lnTo>
                  <a:lnTo>
                    <a:pt x="99" y="123"/>
                  </a:lnTo>
                  <a:lnTo>
                    <a:pt x="103" y="124"/>
                  </a:lnTo>
                  <a:lnTo>
                    <a:pt x="113" y="128"/>
                  </a:lnTo>
                  <a:lnTo>
                    <a:pt x="121" y="130"/>
                  </a:lnTo>
                  <a:lnTo>
                    <a:pt x="124" y="132"/>
                  </a:lnTo>
                  <a:lnTo>
                    <a:pt x="127" y="132"/>
                  </a:lnTo>
                  <a:lnTo>
                    <a:pt x="129" y="132"/>
                  </a:lnTo>
                  <a:lnTo>
                    <a:pt x="130" y="132"/>
                  </a:lnTo>
                  <a:lnTo>
                    <a:pt x="131" y="131"/>
                  </a:lnTo>
                  <a:lnTo>
                    <a:pt x="131" y="131"/>
                  </a:lnTo>
                  <a:lnTo>
                    <a:pt x="132" y="130"/>
                  </a:lnTo>
                  <a:lnTo>
                    <a:pt x="132" y="130"/>
                  </a:lnTo>
                  <a:lnTo>
                    <a:pt x="133" y="128"/>
                  </a:lnTo>
                  <a:lnTo>
                    <a:pt x="133" y="127"/>
                  </a:lnTo>
                  <a:lnTo>
                    <a:pt x="133" y="125"/>
                  </a:lnTo>
                  <a:lnTo>
                    <a:pt x="132" y="124"/>
                  </a:lnTo>
                  <a:lnTo>
                    <a:pt x="131" y="120"/>
                  </a:lnTo>
                  <a:lnTo>
                    <a:pt x="126" y="114"/>
                  </a:lnTo>
                  <a:lnTo>
                    <a:pt x="125" y="111"/>
                  </a:lnTo>
                  <a:lnTo>
                    <a:pt x="122" y="106"/>
                  </a:lnTo>
                  <a:lnTo>
                    <a:pt x="121" y="101"/>
                  </a:lnTo>
                  <a:lnTo>
                    <a:pt x="119" y="96"/>
                  </a:lnTo>
                  <a:lnTo>
                    <a:pt x="117" y="92"/>
                  </a:lnTo>
                  <a:lnTo>
                    <a:pt x="116" y="88"/>
                  </a:lnTo>
                  <a:lnTo>
                    <a:pt x="116" y="84"/>
                  </a:lnTo>
                  <a:lnTo>
                    <a:pt x="115" y="78"/>
                  </a:lnTo>
                  <a:lnTo>
                    <a:pt x="114" y="74"/>
                  </a:lnTo>
                  <a:lnTo>
                    <a:pt x="114" y="64"/>
                  </a:lnTo>
                  <a:lnTo>
                    <a:pt x="112" y="50"/>
                  </a:lnTo>
                  <a:lnTo>
                    <a:pt x="112" y="45"/>
                  </a:lnTo>
                  <a:lnTo>
                    <a:pt x="112" y="42"/>
                  </a:lnTo>
                  <a:lnTo>
                    <a:pt x="112" y="41"/>
                  </a:lnTo>
                  <a:lnTo>
                    <a:pt x="113" y="40"/>
                  </a:lnTo>
                  <a:lnTo>
                    <a:pt x="114" y="38"/>
                  </a:lnTo>
                  <a:lnTo>
                    <a:pt x="114" y="37"/>
                  </a:lnTo>
                  <a:lnTo>
                    <a:pt x="115" y="36"/>
                  </a:lnTo>
                  <a:lnTo>
                    <a:pt x="116" y="35"/>
                  </a:lnTo>
                  <a:lnTo>
                    <a:pt x="119" y="34"/>
                  </a:lnTo>
                  <a:lnTo>
                    <a:pt x="122" y="32"/>
                  </a:lnTo>
                  <a:lnTo>
                    <a:pt x="126" y="30"/>
                  </a:lnTo>
                  <a:lnTo>
                    <a:pt x="129" y="29"/>
                  </a:lnTo>
                  <a:lnTo>
                    <a:pt x="136" y="27"/>
                  </a:lnTo>
                  <a:lnTo>
                    <a:pt x="138" y="27"/>
                  </a:lnTo>
                  <a:lnTo>
                    <a:pt x="140" y="25"/>
                  </a:lnTo>
                  <a:lnTo>
                    <a:pt x="141" y="25"/>
                  </a:lnTo>
                  <a:lnTo>
                    <a:pt x="143" y="24"/>
                  </a:lnTo>
                  <a:lnTo>
                    <a:pt x="144" y="22"/>
                  </a:lnTo>
                  <a:lnTo>
                    <a:pt x="146" y="18"/>
                  </a:lnTo>
                  <a:lnTo>
                    <a:pt x="150" y="13"/>
                  </a:lnTo>
                  <a:lnTo>
                    <a:pt x="153" y="7"/>
                  </a:lnTo>
                  <a:lnTo>
                    <a:pt x="155" y="3"/>
                  </a:lnTo>
                  <a:lnTo>
                    <a:pt x="156" y="2"/>
                  </a:lnTo>
                  <a:lnTo>
                    <a:pt x="158" y="0"/>
                  </a:lnTo>
                  <a:lnTo>
                    <a:pt x="159" y="0"/>
                  </a:lnTo>
                  <a:lnTo>
                    <a:pt x="159" y="0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D7144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>
                <a:ln w="9525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25" name="Freeform 98">
              <a:extLst>
                <a:ext uri="{FF2B5EF4-FFF2-40B4-BE49-F238E27FC236}">
                  <a16:creationId xmlns:a16="http://schemas.microsoft.com/office/drawing/2014/main" id="{1B4C91DA-3581-D611-D52F-4AEE788D4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5561" y="3893601"/>
              <a:ext cx="1177925" cy="976313"/>
            </a:xfrm>
            <a:custGeom>
              <a:avLst/>
              <a:gdLst>
                <a:gd name="T0" fmla="*/ 281 w 742"/>
                <a:gd name="T1" fmla="*/ 22 h 615"/>
                <a:gd name="T2" fmla="*/ 301 w 742"/>
                <a:gd name="T3" fmla="*/ 45 h 615"/>
                <a:gd name="T4" fmla="*/ 334 w 742"/>
                <a:gd name="T5" fmla="*/ 71 h 615"/>
                <a:gd name="T6" fmla="*/ 362 w 742"/>
                <a:gd name="T7" fmla="*/ 92 h 615"/>
                <a:gd name="T8" fmla="*/ 407 w 742"/>
                <a:gd name="T9" fmla="*/ 129 h 615"/>
                <a:gd name="T10" fmla="*/ 441 w 742"/>
                <a:gd name="T11" fmla="*/ 153 h 615"/>
                <a:gd name="T12" fmla="*/ 444 w 742"/>
                <a:gd name="T13" fmla="*/ 171 h 615"/>
                <a:gd name="T14" fmla="*/ 483 w 742"/>
                <a:gd name="T15" fmla="*/ 193 h 615"/>
                <a:gd name="T16" fmla="*/ 518 w 742"/>
                <a:gd name="T17" fmla="*/ 225 h 615"/>
                <a:gd name="T18" fmla="*/ 521 w 742"/>
                <a:gd name="T19" fmla="*/ 257 h 615"/>
                <a:gd name="T20" fmla="*/ 540 w 742"/>
                <a:gd name="T21" fmla="*/ 287 h 615"/>
                <a:gd name="T22" fmla="*/ 594 w 742"/>
                <a:gd name="T23" fmla="*/ 276 h 615"/>
                <a:gd name="T24" fmla="*/ 616 w 742"/>
                <a:gd name="T25" fmla="*/ 276 h 615"/>
                <a:gd name="T26" fmla="*/ 628 w 742"/>
                <a:gd name="T27" fmla="*/ 307 h 615"/>
                <a:gd name="T28" fmla="*/ 682 w 742"/>
                <a:gd name="T29" fmla="*/ 357 h 615"/>
                <a:gd name="T30" fmla="*/ 708 w 742"/>
                <a:gd name="T31" fmla="*/ 383 h 615"/>
                <a:gd name="T32" fmla="*/ 717 w 742"/>
                <a:gd name="T33" fmla="*/ 385 h 615"/>
                <a:gd name="T34" fmla="*/ 727 w 742"/>
                <a:gd name="T35" fmla="*/ 440 h 615"/>
                <a:gd name="T36" fmla="*/ 742 w 742"/>
                <a:gd name="T37" fmla="*/ 454 h 615"/>
                <a:gd name="T38" fmla="*/ 738 w 742"/>
                <a:gd name="T39" fmla="*/ 519 h 615"/>
                <a:gd name="T40" fmla="*/ 723 w 742"/>
                <a:gd name="T41" fmla="*/ 574 h 615"/>
                <a:gd name="T42" fmla="*/ 694 w 742"/>
                <a:gd name="T43" fmla="*/ 578 h 615"/>
                <a:gd name="T44" fmla="*/ 666 w 742"/>
                <a:gd name="T45" fmla="*/ 551 h 615"/>
                <a:gd name="T46" fmla="*/ 641 w 742"/>
                <a:gd name="T47" fmla="*/ 529 h 615"/>
                <a:gd name="T48" fmla="*/ 601 w 742"/>
                <a:gd name="T49" fmla="*/ 542 h 615"/>
                <a:gd name="T50" fmla="*/ 546 w 742"/>
                <a:gd name="T51" fmla="*/ 530 h 615"/>
                <a:gd name="T52" fmla="*/ 511 w 742"/>
                <a:gd name="T53" fmla="*/ 499 h 615"/>
                <a:gd name="T54" fmla="*/ 493 w 742"/>
                <a:gd name="T55" fmla="*/ 502 h 615"/>
                <a:gd name="T56" fmla="*/ 483 w 742"/>
                <a:gd name="T57" fmla="*/ 547 h 615"/>
                <a:gd name="T58" fmla="*/ 465 w 742"/>
                <a:gd name="T59" fmla="*/ 567 h 615"/>
                <a:gd name="T60" fmla="*/ 436 w 742"/>
                <a:gd name="T61" fmla="*/ 575 h 615"/>
                <a:gd name="T62" fmla="*/ 418 w 742"/>
                <a:gd name="T63" fmla="*/ 596 h 615"/>
                <a:gd name="T64" fmla="*/ 389 w 742"/>
                <a:gd name="T65" fmla="*/ 614 h 615"/>
                <a:gd name="T66" fmla="*/ 325 w 742"/>
                <a:gd name="T67" fmla="*/ 588 h 615"/>
                <a:gd name="T68" fmla="*/ 266 w 742"/>
                <a:gd name="T69" fmla="*/ 572 h 615"/>
                <a:gd name="T70" fmla="*/ 204 w 742"/>
                <a:gd name="T71" fmla="*/ 562 h 615"/>
                <a:gd name="T72" fmla="*/ 167 w 742"/>
                <a:gd name="T73" fmla="*/ 562 h 615"/>
                <a:gd name="T74" fmla="*/ 127 w 742"/>
                <a:gd name="T75" fmla="*/ 543 h 615"/>
                <a:gd name="T76" fmla="*/ 110 w 742"/>
                <a:gd name="T77" fmla="*/ 518 h 615"/>
                <a:gd name="T78" fmla="*/ 96 w 742"/>
                <a:gd name="T79" fmla="*/ 495 h 615"/>
                <a:gd name="T80" fmla="*/ 120 w 742"/>
                <a:gd name="T81" fmla="*/ 476 h 615"/>
                <a:gd name="T82" fmla="*/ 127 w 742"/>
                <a:gd name="T83" fmla="*/ 458 h 615"/>
                <a:gd name="T84" fmla="*/ 97 w 742"/>
                <a:gd name="T85" fmla="*/ 427 h 615"/>
                <a:gd name="T86" fmla="*/ 67 w 742"/>
                <a:gd name="T87" fmla="*/ 401 h 615"/>
                <a:gd name="T88" fmla="*/ 17 w 742"/>
                <a:gd name="T89" fmla="*/ 372 h 615"/>
                <a:gd name="T90" fmla="*/ 10 w 742"/>
                <a:gd name="T91" fmla="*/ 339 h 615"/>
                <a:gd name="T92" fmla="*/ 38 w 742"/>
                <a:gd name="T93" fmla="*/ 325 h 615"/>
                <a:gd name="T94" fmla="*/ 56 w 742"/>
                <a:gd name="T95" fmla="*/ 281 h 615"/>
                <a:gd name="T96" fmla="*/ 47 w 742"/>
                <a:gd name="T97" fmla="*/ 230 h 615"/>
                <a:gd name="T98" fmla="*/ 39 w 742"/>
                <a:gd name="T99" fmla="*/ 175 h 615"/>
                <a:gd name="T100" fmla="*/ 42 w 742"/>
                <a:gd name="T101" fmla="*/ 145 h 615"/>
                <a:gd name="T102" fmla="*/ 74 w 742"/>
                <a:gd name="T103" fmla="*/ 145 h 615"/>
                <a:gd name="T104" fmla="*/ 137 w 742"/>
                <a:gd name="T105" fmla="*/ 133 h 615"/>
                <a:gd name="T106" fmla="*/ 190 w 742"/>
                <a:gd name="T107" fmla="*/ 133 h 615"/>
                <a:gd name="T108" fmla="*/ 233 w 742"/>
                <a:gd name="T109" fmla="*/ 151 h 615"/>
                <a:gd name="T110" fmla="*/ 247 w 742"/>
                <a:gd name="T111" fmla="*/ 145 h 615"/>
                <a:gd name="T112" fmla="*/ 248 w 742"/>
                <a:gd name="T113" fmla="*/ 131 h 615"/>
                <a:gd name="T114" fmla="*/ 237 w 742"/>
                <a:gd name="T115" fmla="*/ 102 h 615"/>
                <a:gd name="T116" fmla="*/ 247 w 742"/>
                <a:gd name="T117" fmla="*/ 78 h 615"/>
                <a:gd name="T118" fmla="*/ 254 w 742"/>
                <a:gd name="T119" fmla="*/ 40 h 615"/>
                <a:gd name="T120" fmla="*/ 269 w 742"/>
                <a:gd name="T121" fmla="*/ 10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42" h="615">
                  <a:moveTo>
                    <a:pt x="282" y="0"/>
                  </a:moveTo>
                  <a:lnTo>
                    <a:pt x="282" y="0"/>
                  </a:lnTo>
                  <a:lnTo>
                    <a:pt x="281" y="3"/>
                  </a:lnTo>
                  <a:lnTo>
                    <a:pt x="281" y="5"/>
                  </a:lnTo>
                  <a:lnTo>
                    <a:pt x="280" y="8"/>
                  </a:lnTo>
                  <a:lnTo>
                    <a:pt x="280" y="10"/>
                  </a:lnTo>
                  <a:lnTo>
                    <a:pt x="280" y="13"/>
                  </a:lnTo>
                  <a:lnTo>
                    <a:pt x="280" y="16"/>
                  </a:lnTo>
                  <a:lnTo>
                    <a:pt x="281" y="19"/>
                  </a:lnTo>
                  <a:lnTo>
                    <a:pt x="281" y="22"/>
                  </a:lnTo>
                  <a:lnTo>
                    <a:pt x="283" y="25"/>
                  </a:lnTo>
                  <a:lnTo>
                    <a:pt x="284" y="28"/>
                  </a:lnTo>
                  <a:lnTo>
                    <a:pt x="285" y="30"/>
                  </a:lnTo>
                  <a:lnTo>
                    <a:pt x="286" y="32"/>
                  </a:lnTo>
                  <a:lnTo>
                    <a:pt x="288" y="35"/>
                  </a:lnTo>
                  <a:lnTo>
                    <a:pt x="289" y="36"/>
                  </a:lnTo>
                  <a:lnTo>
                    <a:pt x="291" y="39"/>
                  </a:lnTo>
                  <a:lnTo>
                    <a:pt x="294" y="41"/>
                  </a:lnTo>
                  <a:lnTo>
                    <a:pt x="298" y="43"/>
                  </a:lnTo>
                  <a:lnTo>
                    <a:pt x="301" y="45"/>
                  </a:lnTo>
                  <a:lnTo>
                    <a:pt x="311" y="51"/>
                  </a:lnTo>
                  <a:lnTo>
                    <a:pt x="315" y="53"/>
                  </a:lnTo>
                  <a:lnTo>
                    <a:pt x="317" y="55"/>
                  </a:lnTo>
                  <a:lnTo>
                    <a:pt x="320" y="57"/>
                  </a:lnTo>
                  <a:lnTo>
                    <a:pt x="322" y="59"/>
                  </a:lnTo>
                  <a:lnTo>
                    <a:pt x="324" y="61"/>
                  </a:lnTo>
                  <a:lnTo>
                    <a:pt x="329" y="68"/>
                  </a:lnTo>
                  <a:lnTo>
                    <a:pt x="331" y="69"/>
                  </a:lnTo>
                  <a:lnTo>
                    <a:pt x="331" y="70"/>
                  </a:lnTo>
                  <a:lnTo>
                    <a:pt x="334" y="71"/>
                  </a:lnTo>
                  <a:lnTo>
                    <a:pt x="339" y="75"/>
                  </a:lnTo>
                  <a:lnTo>
                    <a:pt x="341" y="76"/>
                  </a:lnTo>
                  <a:lnTo>
                    <a:pt x="344" y="78"/>
                  </a:lnTo>
                  <a:lnTo>
                    <a:pt x="348" y="83"/>
                  </a:lnTo>
                  <a:lnTo>
                    <a:pt x="351" y="84"/>
                  </a:lnTo>
                  <a:lnTo>
                    <a:pt x="354" y="86"/>
                  </a:lnTo>
                  <a:lnTo>
                    <a:pt x="358" y="88"/>
                  </a:lnTo>
                  <a:lnTo>
                    <a:pt x="360" y="90"/>
                  </a:lnTo>
                  <a:lnTo>
                    <a:pt x="361" y="90"/>
                  </a:lnTo>
                  <a:lnTo>
                    <a:pt x="362" y="92"/>
                  </a:lnTo>
                  <a:lnTo>
                    <a:pt x="369" y="100"/>
                  </a:lnTo>
                  <a:lnTo>
                    <a:pt x="374" y="108"/>
                  </a:lnTo>
                  <a:lnTo>
                    <a:pt x="378" y="112"/>
                  </a:lnTo>
                  <a:lnTo>
                    <a:pt x="379" y="113"/>
                  </a:lnTo>
                  <a:lnTo>
                    <a:pt x="381" y="115"/>
                  </a:lnTo>
                  <a:lnTo>
                    <a:pt x="382" y="115"/>
                  </a:lnTo>
                  <a:lnTo>
                    <a:pt x="384" y="117"/>
                  </a:lnTo>
                  <a:lnTo>
                    <a:pt x="397" y="123"/>
                  </a:lnTo>
                  <a:lnTo>
                    <a:pt x="401" y="125"/>
                  </a:lnTo>
                  <a:lnTo>
                    <a:pt x="407" y="129"/>
                  </a:lnTo>
                  <a:lnTo>
                    <a:pt x="416" y="135"/>
                  </a:lnTo>
                  <a:lnTo>
                    <a:pt x="421" y="138"/>
                  </a:lnTo>
                  <a:lnTo>
                    <a:pt x="426" y="141"/>
                  </a:lnTo>
                  <a:lnTo>
                    <a:pt x="435" y="146"/>
                  </a:lnTo>
                  <a:lnTo>
                    <a:pt x="437" y="147"/>
                  </a:lnTo>
                  <a:lnTo>
                    <a:pt x="439" y="148"/>
                  </a:lnTo>
                  <a:lnTo>
                    <a:pt x="440" y="150"/>
                  </a:lnTo>
                  <a:lnTo>
                    <a:pt x="440" y="150"/>
                  </a:lnTo>
                  <a:lnTo>
                    <a:pt x="441" y="151"/>
                  </a:lnTo>
                  <a:lnTo>
                    <a:pt x="441" y="153"/>
                  </a:lnTo>
                  <a:lnTo>
                    <a:pt x="441" y="154"/>
                  </a:lnTo>
                  <a:lnTo>
                    <a:pt x="441" y="160"/>
                  </a:lnTo>
                  <a:lnTo>
                    <a:pt x="441" y="162"/>
                  </a:lnTo>
                  <a:lnTo>
                    <a:pt x="441" y="165"/>
                  </a:lnTo>
                  <a:lnTo>
                    <a:pt x="441" y="167"/>
                  </a:lnTo>
                  <a:lnTo>
                    <a:pt x="441" y="168"/>
                  </a:lnTo>
                  <a:lnTo>
                    <a:pt x="441" y="169"/>
                  </a:lnTo>
                  <a:lnTo>
                    <a:pt x="442" y="170"/>
                  </a:lnTo>
                  <a:lnTo>
                    <a:pt x="442" y="170"/>
                  </a:lnTo>
                  <a:lnTo>
                    <a:pt x="444" y="171"/>
                  </a:lnTo>
                  <a:lnTo>
                    <a:pt x="445" y="172"/>
                  </a:lnTo>
                  <a:lnTo>
                    <a:pt x="452" y="174"/>
                  </a:lnTo>
                  <a:lnTo>
                    <a:pt x="454" y="175"/>
                  </a:lnTo>
                  <a:lnTo>
                    <a:pt x="456" y="176"/>
                  </a:lnTo>
                  <a:lnTo>
                    <a:pt x="459" y="178"/>
                  </a:lnTo>
                  <a:lnTo>
                    <a:pt x="464" y="182"/>
                  </a:lnTo>
                  <a:lnTo>
                    <a:pt x="469" y="185"/>
                  </a:lnTo>
                  <a:lnTo>
                    <a:pt x="474" y="187"/>
                  </a:lnTo>
                  <a:lnTo>
                    <a:pt x="480" y="190"/>
                  </a:lnTo>
                  <a:lnTo>
                    <a:pt x="483" y="193"/>
                  </a:lnTo>
                  <a:lnTo>
                    <a:pt x="486" y="194"/>
                  </a:lnTo>
                  <a:lnTo>
                    <a:pt x="487" y="195"/>
                  </a:lnTo>
                  <a:lnTo>
                    <a:pt x="494" y="204"/>
                  </a:lnTo>
                  <a:lnTo>
                    <a:pt x="501" y="210"/>
                  </a:lnTo>
                  <a:lnTo>
                    <a:pt x="508" y="217"/>
                  </a:lnTo>
                  <a:lnTo>
                    <a:pt x="511" y="219"/>
                  </a:lnTo>
                  <a:lnTo>
                    <a:pt x="514" y="221"/>
                  </a:lnTo>
                  <a:lnTo>
                    <a:pt x="516" y="222"/>
                  </a:lnTo>
                  <a:lnTo>
                    <a:pt x="517" y="223"/>
                  </a:lnTo>
                  <a:lnTo>
                    <a:pt x="518" y="225"/>
                  </a:lnTo>
                  <a:lnTo>
                    <a:pt x="518" y="227"/>
                  </a:lnTo>
                  <a:lnTo>
                    <a:pt x="518" y="228"/>
                  </a:lnTo>
                  <a:lnTo>
                    <a:pt x="518" y="229"/>
                  </a:lnTo>
                  <a:lnTo>
                    <a:pt x="518" y="230"/>
                  </a:lnTo>
                  <a:lnTo>
                    <a:pt x="518" y="233"/>
                  </a:lnTo>
                  <a:lnTo>
                    <a:pt x="518" y="235"/>
                  </a:lnTo>
                  <a:lnTo>
                    <a:pt x="518" y="240"/>
                  </a:lnTo>
                  <a:lnTo>
                    <a:pt x="518" y="242"/>
                  </a:lnTo>
                  <a:lnTo>
                    <a:pt x="520" y="249"/>
                  </a:lnTo>
                  <a:lnTo>
                    <a:pt x="521" y="257"/>
                  </a:lnTo>
                  <a:lnTo>
                    <a:pt x="521" y="259"/>
                  </a:lnTo>
                  <a:lnTo>
                    <a:pt x="522" y="261"/>
                  </a:lnTo>
                  <a:lnTo>
                    <a:pt x="523" y="264"/>
                  </a:lnTo>
                  <a:lnTo>
                    <a:pt x="530" y="275"/>
                  </a:lnTo>
                  <a:lnTo>
                    <a:pt x="533" y="282"/>
                  </a:lnTo>
                  <a:lnTo>
                    <a:pt x="534" y="284"/>
                  </a:lnTo>
                  <a:lnTo>
                    <a:pt x="536" y="285"/>
                  </a:lnTo>
                  <a:lnTo>
                    <a:pt x="537" y="286"/>
                  </a:lnTo>
                  <a:lnTo>
                    <a:pt x="538" y="287"/>
                  </a:lnTo>
                  <a:lnTo>
                    <a:pt x="540" y="287"/>
                  </a:lnTo>
                  <a:lnTo>
                    <a:pt x="542" y="287"/>
                  </a:lnTo>
                  <a:lnTo>
                    <a:pt x="544" y="288"/>
                  </a:lnTo>
                  <a:lnTo>
                    <a:pt x="546" y="288"/>
                  </a:lnTo>
                  <a:lnTo>
                    <a:pt x="548" y="288"/>
                  </a:lnTo>
                  <a:lnTo>
                    <a:pt x="551" y="287"/>
                  </a:lnTo>
                  <a:lnTo>
                    <a:pt x="555" y="287"/>
                  </a:lnTo>
                  <a:lnTo>
                    <a:pt x="565" y="284"/>
                  </a:lnTo>
                  <a:lnTo>
                    <a:pt x="579" y="280"/>
                  </a:lnTo>
                  <a:lnTo>
                    <a:pt x="586" y="278"/>
                  </a:lnTo>
                  <a:lnTo>
                    <a:pt x="594" y="276"/>
                  </a:lnTo>
                  <a:lnTo>
                    <a:pt x="604" y="272"/>
                  </a:lnTo>
                  <a:lnTo>
                    <a:pt x="606" y="271"/>
                  </a:lnTo>
                  <a:lnTo>
                    <a:pt x="608" y="270"/>
                  </a:lnTo>
                  <a:lnTo>
                    <a:pt x="610" y="270"/>
                  </a:lnTo>
                  <a:lnTo>
                    <a:pt x="612" y="270"/>
                  </a:lnTo>
                  <a:lnTo>
                    <a:pt x="613" y="270"/>
                  </a:lnTo>
                  <a:lnTo>
                    <a:pt x="615" y="271"/>
                  </a:lnTo>
                  <a:lnTo>
                    <a:pt x="616" y="272"/>
                  </a:lnTo>
                  <a:lnTo>
                    <a:pt x="616" y="274"/>
                  </a:lnTo>
                  <a:lnTo>
                    <a:pt x="616" y="276"/>
                  </a:lnTo>
                  <a:lnTo>
                    <a:pt x="616" y="280"/>
                  </a:lnTo>
                  <a:lnTo>
                    <a:pt x="617" y="285"/>
                  </a:lnTo>
                  <a:lnTo>
                    <a:pt x="618" y="287"/>
                  </a:lnTo>
                  <a:lnTo>
                    <a:pt x="620" y="296"/>
                  </a:lnTo>
                  <a:lnTo>
                    <a:pt x="621" y="298"/>
                  </a:lnTo>
                  <a:lnTo>
                    <a:pt x="622" y="300"/>
                  </a:lnTo>
                  <a:lnTo>
                    <a:pt x="623" y="302"/>
                  </a:lnTo>
                  <a:lnTo>
                    <a:pt x="625" y="304"/>
                  </a:lnTo>
                  <a:lnTo>
                    <a:pt x="627" y="305"/>
                  </a:lnTo>
                  <a:lnTo>
                    <a:pt x="628" y="307"/>
                  </a:lnTo>
                  <a:lnTo>
                    <a:pt x="639" y="312"/>
                  </a:lnTo>
                  <a:lnTo>
                    <a:pt x="643" y="313"/>
                  </a:lnTo>
                  <a:lnTo>
                    <a:pt x="645" y="315"/>
                  </a:lnTo>
                  <a:lnTo>
                    <a:pt x="646" y="315"/>
                  </a:lnTo>
                  <a:lnTo>
                    <a:pt x="651" y="320"/>
                  </a:lnTo>
                  <a:lnTo>
                    <a:pt x="653" y="322"/>
                  </a:lnTo>
                  <a:lnTo>
                    <a:pt x="658" y="328"/>
                  </a:lnTo>
                  <a:lnTo>
                    <a:pt x="666" y="337"/>
                  </a:lnTo>
                  <a:lnTo>
                    <a:pt x="679" y="354"/>
                  </a:lnTo>
                  <a:lnTo>
                    <a:pt x="682" y="357"/>
                  </a:lnTo>
                  <a:lnTo>
                    <a:pt x="688" y="362"/>
                  </a:lnTo>
                  <a:lnTo>
                    <a:pt x="691" y="365"/>
                  </a:lnTo>
                  <a:lnTo>
                    <a:pt x="694" y="370"/>
                  </a:lnTo>
                  <a:lnTo>
                    <a:pt x="700" y="379"/>
                  </a:lnTo>
                  <a:lnTo>
                    <a:pt x="701" y="380"/>
                  </a:lnTo>
                  <a:lnTo>
                    <a:pt x="703" y="382"/>
                  </a:lnTo>
                  <a:lnTo>
                    <a:pt x="704" y="382"/>
                  </a:lnTo>
                  <a:lnTo>
                    <a:pt x="705" y="383"/>
                  </a:lnTo>
                  <a:lnTo>
                    <a:pt x="707" y="383"/>
                  </a:lnTo>
                  <a:lnTo>
                    <a:pt x="708" y="383"/>
                  </a:lnTo>
                  <a:lnTo>
                    <a:pt x="709" y="383"/>
                  </a:lnTo>
                  <a:lnTo>
                    <a:pt x="710" y="382"/>
                  </a:lnTo>
                  <a:lnTo>
                    <a:pt x="715" y="379"/>
                  </a:lnTo>
                  <a:lnTo>
                    <a:pt x="715" y="378"/>
                  </a:lnTo>
                  <a:lnTo>
                    <a:pt x="716" y="378"/>
                  </a:lnTo>
                  <a:lnTo>
                    <a:pt x="717" y="377"/>
                  </a:lnTo>
                  <a:lnTo>
                    <a:pt x="718" y="378"/>
                  </a:lnTo>
                  <a:lnTo>
                    <a:pt x="718" y="379"/>
                  </a:lnTo>
                  <a:lnTo>
                    <a:pt x="718" y="380"/>
                  </a:lnTo>
                  <a:lnTo>
                    <a:pt x="717" y="385"/>
                  </a:lnTo>
                  <a:lnTo>
                    <a:pt x="716" y="391"/>
                  </a:lnTo>
                  <a:lnTo>
                    <a:pt x="716" y="401"/>
                  </a:lnTo>
                  <a:lnTo>
                    <a:pt x="716" y="407"/>
                  </a:lnTo>
                  <a:lnTo>
                    <a:pt x="716" y="411"/>
                  </a:lnTo>
                  <a:lnTo>
                    <a:pt x="717" y="415"/>
                  </a:lnTo>
                  <a:lnTo>
                    <a:pt x="718" y="420"/>
                  </a:lnTo>
                  <a:lnTo>
                    <a:pt x="720" y="425"/>
                  </a:lnTo>
                  <a:lnTo>
                    <a:pt x="722" y="430"/>
                  </a:lnTo>
                  <a:lnTo>
                    <a:pt x="724" y="435"/>
                  </a:lnTo>
                  <a:lnTo>
                    <a:pt x="727" y="440"/>
                  </a:lnTo>
                  <a:lnTo>
                    <a:pt x="728" y="442"/>
                  </a:lnTo>
                  <a:lnTo>
                    <a:pt x="730" y="445"/>
                  </a:lnTo>
                  <a:lnTo>
                    <a:pt x="732" y="447"/>
                  </a:lnTo>
                  <a:lnTo>
                    <a:pt x="733" y="449"/>
                  </a:lnTo>
                  <a:lnTo>
                    <a:pt x="735" y="450"/>
                  </a:lnTo>
                  <a:lnTo>
                    <a:pt x="736" y="452"/>
                  </a:lnTo>
                  <a:lnTo>
                    <a:pt x="738" y="452"/>
                  </a:lnTo>
                  <a:lnTo>
                    <a:pt x="740" y="454"/>
                  </a:lnTo>
                  <a:lnTo>
                    <a:pt x="741" y="454"/>
                  </a:lnTo>
                  <a:lnTo>
                    <a:pt x="742" y="454"/>
                  </a:lnTo>
                  <a:lnTo>
                    <a:pt x="741" y="455"/>
                  </a:lnTo>
                  <a:lnTo>
                    <a:pt x="740" y="457"/>
                  </a:lnTo>
                  <a:lnTo>
                    <a:pt x="739" y="463"/>
                  </a:lnTo>
                  <a:lnTo>
                    <a:pt x="738" y="469"/>
                  </a:lnTo>
                  <a:lnTo>
                    <a:pt x="738" y="476"/>
                  </a:lnTo>
                  <a:lnTo>
                    <a:pt x="737" y="480"/>
                  </a:lnTo>
                  <a:lnTo>
                    <a:pt x="737" y="484"/>
                  </a:lnTo>
                  <a:lnTo>
                    <a:pt x="738" y="507"/>
                  </a:lnTo>
                  <a:lnTo>
                    <a:pt x="738" y="513"/>
                  </a:lnTo>
                  <a:lnTo>
                    <a:pt x="738" y="519"/>
                  </a:lnTo>
                  <a:lnTo>
                    <a:pt x="736" y="534"/>
                  </a:lnTo>
                  <a:lnTo>
                    <a:pt x="735" y="545"/>
                  </a:lnTo>
                  <a:lnTo>
                    <a:pt x="735" y="548"/>
                  </a:lnTo>
                  <a:lnTo>
                    <a:pt x="735" y="552"/>
                  </a:lnTo>
                  <a:lnTo>
                    <a:pt x="734" y="556"/>
                  </a:lnTo>
                  <a:lnTo>
                    <a:pt x="733" y="559"/>
                  </a:lnTo>
                  <a:lnTo>
                    <a:pt x="730" y="564"/>
                  </a:lnTo>
                  <a:lnTo>
                    <a:pt x="728" y="568"/>
                  </a:lnTo>
                  <a:lnTo>
                    <a:pt x="725" y="572"/>
                  </a:lnTo>
                  <a:lnTo>
                    <a:pt x="723" y="574"/>
                  </a:lnTo>
                  <a:lnTo>
                    <a:pt x="722" y="576"/>
                  </a:lnTo>
                  <a:lnTo>
                    <a:pt x="720" y="577"/>
                  </a:lnTo>
                  <a:lnTo>
                    <a:pt x="718" y="578"/>
                  </a:lnTo>
                  <a:lnTo>
                    <a:pt x="715" y="579"/>
                  </a:lnTo>
                  <a:lnTo>
                    <a:pt x="711" y="579"/>
                  </a:lnTo>
                  <a:lnTo>
                    <a:pt x="707" y="580"/>
                  </a:lnTo>
                  <a:lnTo>
                    <a:pt x="703" y="580"/>
                  </a:lnTo>
                  <a:lnTo>
                    <a:pt x="700" y="580"/>
                  </a:lnTo>
                  <a:lnTo>
                    <a:pt x="697" y="579"/>
                  </a:lnTo>
                  <a:lnTo>
                    <a:pt x="694" y="578"/>
                  </a:lnTo>
                  <a:lnTo>
                    <a:pt x="691" y="577"/>
                  </a:lnTo>
                  <a:lnTo>
                    <a:pt x="689" y="575"/>
                  </a:lnTo>
                  <a:lnTo>
                    <a:pt x="686" y="572"/>
                  </a:lnTo>
                  <a:lnTo>
                    <a:pt x="684" y="569"/>
                  </a:lnTo>
                  <a:lnTo>
                    <a:pt x="677" y="561"/>
                  </a:lnTo>
                  <a:lnTo>
                    <a:pt x="675" y="558"/>
                  </a:lnTo>
                  <a:lnTo>
                    <a:pt x="673" y="556"/>
                  </a:lnTo>
                  <a:lnTo>
                    <a:pt x="671" y="554"/>
                  </a:lnTo>
                  <a:lnTo>
                    <a:pt x="668" y="552"/>
                  </a:lnTo>
                  <a:lnTo>
                    <a:pt x="666" y="551"/>
                  </a:lnTo>
                  <a:lnTo>
                    <a:pt x="661" y="549"/>
                  </a:lnTo>
                  <a:lnTo>
                    <a:pt x="658" y="548"/>
                  </a:lnTo>
                  <a:lnTo>
                    <a:pt x="656" y="547"/>
                  </a:lnTo>
                  <a:lnTo>
                    <a:pt x="655" y="546"/>
                  </a:lnTo>
                  <a:lnTo>
                    <a:pt x="653" y="544"/>
                  </a:lnTo>
                  <a:lnTo>
                    <a:pt x="651" y="542"/>
                  </a:lnTo>
                  <a:lnTo>
                    <a:pt x="649" y="539"/>
                  </a:lnTo>
                  <a:lnTo>
                    <a:pt x="645" y="533"/>
                  </a:lnTo>
                  <a:lnTo>
                    <a:pt x="642" y="530"/>
                  </a:lnTo>
                  <a:lnTo>
                    <a:pt x="641" y="529"/>
                  </a:lnTo>
                  <a:lnTo>
                    <a:pt x="639" y="527"/>
                  </a:lnTo>
                  <a:lnTo>
                    <a:pt x="638" y="527"/>
                  </a:lnTo>
                  <a:lnTo>
                    <a:pt x="637" y="526"/>
                  </a:lnTo>
                  <a:lnTo>
                    <a:pt x="635" y="525"/>
                  </a:lnTo>
                  <a:lnTo>
                    <a:pt x="633" y="525"/>
                  </a:lnTo>
                  <a:lnTo>
                    <a:pt x="630" y="526"/>
                  </a:lnTo>
                  <a:lnTo>
                    <a:pt x="628" y="527"/>
                  </a:lnTo>
                  <a:lnTo>
                    <a:pt x="624" y="529"/>
                  </a:lnTo>
                  <a:lnTo>
                    <a:pt x="605" y="540"/>
                  </a:lnTo>
                  <a:lnTo>
                    <a:pt x="601" y="542"/>
                  </a:lnTo>
                  <a:lnTo>
                    <a:pt x="597" y="544"/>
                  </a:lnTo>
                  <a:lnTo>
                    <a:pt x="594" y="544"/>
                  </a:lnTo>
                  <a:lnTo>
                    <a:pt x="591" y="545"/>
                  </a:lnTo>
                  <a:lnTo>
                    <a:pt x="589" y="545"/>
                  </a:lnTo>
                  <a:lnTo>
                    <a:pt x="586" y="545"/>
                  </a:lnTo>
                  <a:lnTo>
                    <a:pt x="583" y="544"/>
                  </a:lnTo>
                  <a:lnTo>
                    <a:pt x="575" y="541"/>
                  </a:lnTo>
                  <a:lnTo>
                    <a:pt x="564" y="537"/>
                  </a:lnTo>
                  <a:lnTo>
                    <a:pt x="560" y="536"/>
                  </a:lnTo>
                  <a:lnTo>
                    <a:pt x="546" y="530"/>
                  </a:lnTo>
                  <a:lnTo>
                    <a:pt x="544" y="529"/>
                  </a:lnTo>
                  <a:lnTo>
                    <a:pt x="542" y="528"/>
                  </a:lnTo>
                  <a:lnTo>
                    <a:pt x="538" y="526"/>
                  </a:lnTo>
                  <a:lnTo>
                    <a:pt x="536" y="524"/>
                  </a:lnTo>
                  <a:lnTo>
                    <a:pt x="533" y="522"/>
                  </a:lnTo>
                  <a:lnTo>
                    <a:pt x="528" y="515"/>
                  </a:lnTo>
                  <a:lnTo>
                    <a:pt x="526" y="513"/>
                  </a:lnTo>
                  <a:lnTo>
                    <a:pt x="518" y="504"/>
                  </a:lnTo>
                  <a:lnTo>
                    <a:pt x="513" y="500"/>
                  </a:lnTo>
                  <a:lnTo>
                    <a:pt x="511" y="499"/>
                  </a:lnTo>
                  <a:lnTo>
                    <a:pt x="508" y="497"/>
                  </a:lnTo>
                  <a:lnTo>
                    <a:pt x="506" y="497"/>
                  </a:lnTo>
                  <a:lnTo>
                    <a:pt x="503" y="497"/>
                  </a:lnTo>
                  <a:lnTo>
                    <a:pt x="501" y="497"/>
                  </a:lnTo>
                  <a:lnTo>
                    <a:pt x="500" y="497"/>
                  </a:lnTo>
                  <a:lnTo>
                    <a:pt x="498" y="498"/>
                  </a:lnTo>
                  <a:lnTo>
                    <a:pt x="496" y="499"/>
                  </a:lnTo>
                  <a:lnTo>
                    <a:pt x="495" y="500"/>
                  </a:lnTo>
                  <a:lnTo>
                    <a:pt x="494" y="501"/>
                  </a:lnTo>
                  <a:lnTo>
                    <a:pt x="493" y="502"/>
                  </a:lnTo>
                  <a:lnTo>
                    <a:pt x="492" y="504"/>
                  </a:lnTo>
                  <a:lnTo>
                    <a:pt x="491" y="505"/>
                  </a:lnTo>
                  <a:lnTo>
                    <a:pt x="491" y="508"/>
                  </a:lnTo>
                  <a:lnTo>
                    <a:pt x="491" y="518"/>
                  </a:lnTo>
                  <a:lnTo>
                    <a:pt x="490" y="522"/>
                  </a:lnTo>
                  <a:lnTo>
                    <a:pt x="489" y="527"/>
                  </a:lnTo>
                  <a:lnTo>
                    <a:pt x="487" y="534"/>
                  </a:lnTo>
                  <a:lnTo>
                    <a:pt x="486" y="541"/>
                  </a:lnTo>
                  <a:lnTo>
                    <a:pt x="484" y="544"/>
                  </a:lnTo>
                  <a:lnTo>
                    <a:pt x="483" y="547"/>
                  </a:lnTo>
                  <a:lnTo>
                    <a:pt x="481" y="550"/>
                  </a:lnTo>
                  <a:lnTo>
                    <a:pt x="480" y="553"/>
                  </a:lnTo>
                  <a:lnTo>
                    <a:pt x="479" y="556"/>
                  </a:lnTo>
                  <a:lnTo>
                    <a:pt x="476" y="558"/>
                  </a:lnTo>
                  <a:lnTo>
                    <a:pt x="475" y="561"/>
                  </a:lnTo>
                  <a:lnTo>
                    <a:pt x="473" y="562"/>
                  </a:lnTo>
                  <a:lnTo>
                    <a:pt x="471" y="564"/>
                  </a:lnTo>
                  <a:lnTo>
                    <a:pt x="469" y="566"/>
                  </a:lnTo>
                  <a:lnTo>
                    <a:pt x="467" y="567"/>
                  </a:lnTo>
                  <a:lnTo>
                    <a:pt x="465" y="567"/>
                  </a:lnTo>
                  <a:lnTo>
                    <a:pt x="463" y="567"/>
                  </a:lnTo>
                  <a:lnTo>
                    <a:pt x="461" y="568"/>
                  </a:lnTo>
                  <a:lnTo>
                    <a:pt x="451" y="569"/>
                  </a:lnTo>
                  <a:lnTo>
                    <a:pt x="446" y="569"/>
                  </a:lnTo>
                  <a:lnTo>
                    <a:pt x="442" y="571"/>
                  </a:lnTo>
                  <a:lnTo>
                    <a:pt x="441" y="571"/>
                  </a:lnTo>
                  <a:lnTo>
                    <a:pt x="439" y="572"/>
                  </a:lnTo>
                  <a:lnTo>
                    <a:pt x="437" y="573"/>
                  </a:lnTo>
                  <a:lnTo>
                    <a:pt x="436" y="574"/>
                  </a:lnTo>
                  <a:lnTo>
                    <a:pt x="436" y="575"/>
                  </a:lnTo>
                  <a:lnTo>
                    <a:pt x="434" y="578"/>
                  </a:lnTo>
                  <a:lnTo>
                    <a:pt x="432" y="584"/>
                  </a:lnTo>
                  <a:lnTo>
                    <a:pt x="431" y="587"/>
                  </a:lnTo>
                  <a:lnTo>
                    <a:pt x="429" y="589"/>
                  </a:lnTo>
                  <a:lnTo>
                    <a:pt x="429" y="589"/>
                  </a:lnTo>
                  <a:lnTo>
                    <a:pt x="427" y="591"/>
                  </a:lnTo>
                  <a:lnTo>
                    <a:pt x="426" y="592"/>
                  </a:lnTo>
                  <a:lnTo>
                    <a:pt x="424" y="594"/>
                  </a:lnTo>
                  <a:lnTo>
                    <a:pt x="421" y="594"/>
                  </a:lnTo>
                  <a:lnTo>
                    <a:pt x="418" y="596"/>
                  </a:lnTo>
                  <a:lnTo>
                    <a:pt x="412" y="597"/>
                  </a:lnTo>
                  <a:lnTo>
                    <a:pt x="410" y="597"/>
                  </a:lnTo>
                  <a:lnTo>
                    <a:pt x="408" y="599"/>
                  </a:lnTo>
                  <a:lnTo>
                    <a:pt x="406" y="599"/>
                  </a:lnTo>
                  <a:lnTo>
                    <a:pt x="404" y="602"/>
                  </a:lnTo>
                  <a:lnTo>
                    <a:pt x="402" y="603"/>
                  </a:lnTo>
                  <a:lnTo>
                    <a:pt x="396" y="609"/>
                  </a:lnTo>
                  <a:lnTo>
                    <a:pt x="394" y="611"/>
                  </a:lnTo>
                  <a:lnTo>
                    <a:pt x="391" y="613"/>
                  </a:lnTo>
                  <a:lnTo>
                    <a:pt x="389" y="614"/>
                  </a:lnTo>
                  <a:lnTo>
                    <a:pt x="386" y="615"/>
                  </a:lnTo>
                  <a:lnTo>
                    <a:pt x="384" y="615"/>
                  </a:lnTo>
                  <a:lnTo>
                    <a:pt x="381" y="615"/>
                  </a:lnTo>
                  <a:lnTo>
                    <a:pt x="379" y="614"/>
                  </a:lnTo>
                  <a:lnTo>
                    <a:pt x="376" y="614"/>
                  </a:lnTo>
                  <a:lnTo>
                    <a:pt x="369" y="610"/>
                  </a:lnTo>
                  <a:lnTo>
                    <a:pt x="359" y="605"/>
                  </a:lnTo>
                  <a:lnTo>
                    <a:pt x="349" y="601"/>
                  </a:lnTo>
                  <a:lnTo>
                    <a:pt x="329" y="589"/>
                  </a:lnTo>
                  <a:lnTo>
                    <a:pt x="325" y="588"/>
                  </a:lnTo>
                  <a:lnTo>
                    <a:pt x="322" y="587"/>
                  </a:lnTo>
                  <a:lnTo>
                    <a:pt x="319" y="585"/>
                  </a:lnTo>
                  <a:lnTo>
                    <a:pt x="314" y="584"/>
                  </a:lnTo>
                  <a:lnTo>
                    <a:pt x="311" y="584"/>
                  </a:lnTo>
                  <a:lnTo>
                    <a:pt x="301" y="582"/>
                  </a:lnTo>
                  <a:lnTo>
                    <a:pt x="296" y="582"/>
                  </a:lnTo>
                  <a:lnTo>
                    <a:pt x="293" y="580"/>
                  </a:lnTo>
                  <a:lnTo>
                    <a:pt x="283" y="577"/>
                  </a:lnTo>
                  <a:lnTo>
                    <a:pt x="276" y="574"/>
                  </a:lnTo>
                  <a:lnTo>
                    <a:pt x="266" y="572"/>
                  </a:lnTo>
                  <a:lnTo>
                    <a:pt x="259" y="569"/>
                  </a:lnTo>
                  <a:lnTo>
                    <a:pt x="253" y="568"/>
                  </a:lnTo>
                  <a:lnTo>
                    <a:pt x="247" y="567"/>
                  </a:lnTo>
                  <a:lnTo>
                    <a:pt x="242" y="567"/>
                  </a:lnTo>
                  <a:lnTo>
                    <a:pt x="234" y="566"/>
                  </a:lnTo>
                  <a:lnTo>
                    <a:pt x="229" y="566"/>
                  </a:lnTo>
                  <a:lnTo>
                    <a:pt x="227" y="565"/>
                  </a:lnTo>
                  <a:lnTo>
                    <a:pt x="215" y="564"/>
                  </a:lnTo>
                  <a:lnTo>
                    <a:pt x="210" y="563"/>
                  </a:lnTo>
                  <a:lnTo>
                    <a:pt x="204" y="562"/>
                  </a:lnTo>
                  <a:lnTo>
                    <a:pt x="199" y="562"/>
                  </a:lnTo>
                  <a:lnTo>
                    <a:pt x="195" y="562"/>
                  </a:lnTo>
                  <a:lnTo>
                    <a:pt x="192" y="563"/>
                  </a:lnTo>
                  <a:lnTo>
                    <a:pt x="184" y="564"/>
                  </a:lnTo>
                  <a:lnTo>
                    <a:pt x="181" y="564"/>
                  </a:lnTo>
                  <a:lnTo>
                    <a:pt x="178" y="564"/>
                  </a:lnTo>
                  <a:lnTo>
                    <a:pt x="174" y="564"/>
                  </a:lnTo>
                  <a:lnTo>
                    <a:pt x="172" y="564"/>
                  </a:lnTo>
                  <a:lnTo>
                    <a:pt x="169" y="563"/>
                  </a:lnTo>
                  <a:lnTo>
                    <a:pt x="167" y="562"/>
                  </a:lnTo>
                  <a:lnTo>
                    <a:pt x="161" y="560"/>
                  </a:lnTo>
                  <a:lnTo>
                    <a:pt x="158" y="559"/>
                  </a:lnTo>
                  <a:lnTo>
                    <a:pt x="153" y="557"/>
                  </a:lnTo>
                  <a:lnTo>
                    <a:pt x="143" y="555"/>
                  </a:lnTo>
                  <a:lnTo>
                    <a:pt x="141" y="554"/>
                  </a:lnTo>
                  <a:lnTo>
                    <a:pt x="139" y="554"/>
                  </a:lnTo>
                  <a:lnTo>
                    <a:pt x="137" y="552"/>
                  </a:lnTo>
                  <a:lnTo>
                    <a:pt x="133" y="548"/>
                  </a:lnTo>
                  <a:lnTo>
                    <a:pt x="128" y="544"/>
                  </a:lnTo>
                  <a:lnTo>
                    <a:pt x="127" y="543"/>
                  </a:lnTo>
                  <a:lnTo>
                    <a:pt x="124" y="541"/>
                  </a:lnTo>
                  <a:lnTo>
                    <a:pt x="122" y="539"/>
                  </a:lnTo>
                  <a:lnTo>
                    <a:pt x="119" y="536"/>
                  </a:lnTo>
                  <a:lnTo>
                    <a:pt x="118" y="533"/>
                  </a:lnTo>
                  <a:lnTo>
                    <a:pt x="117" y="530"/>
                  </a:lnTo>
                  <a:lnTo>
                    <a:pt x="114" y="524"/>
                  </a:lnTo>
                  <a:lnTo>
                    <a:pt x="113" y="522"/>
                  </a:lnTo>
                  <a:lnTo>
                    <a:pt x="112" y="521"/>
                  </a:lnTo>
                  <a:lnTo>
                    <a:pt x="112" y="519"/>
                  </a:lnTo>
                  <a:lnTo>
                    <a:pt x="110" y="518"/>
                  </a:lnTo>
                  <a:lnTo>
                    <a:pt x="104" y="513"/>
                  </a:lnTo>
                  <a:lnTo>
                    <a:pt x="102" y="511"/>
                  </a:lnTo>
                  <a:lnTo>
                    <a:pt x="100" y="509"/>
                  </a:lnTo>
                  <a:lnTo>
                    <a:pt x="99" y="507"/>
                  </a:lnTo>
                  <a:lnTo>
                    <a:pt x="97" y="504"/>
                  </a:lnTo>
                  <a:lnTo>
                    <a:pt x="96" y="502"/>
                  </a:lnTo>
                  <a:lnTo>
                    <a:pt x="96" y="500"/>
                  </a:lnTo>
                  <a:lnTo>
                    <a:pt x="96" y="499"/>
                  </a:lnTo>
                  <a:lnTo>
                    <a:pt x="96" y="497"/>
                  </a:lnTo>
                  <a:lnTo>
                    <a:pt x="96" y="495"/>
                  </a:lnTo>
                  <a:lnTo>
                    <a:pt x="97" y="494"/>
                  </a:lnTo>
                  <a:lnTo>
                    <a:pt x="98" y="492"/>
                  </a:lnTo>
                  <a:lnTo>
                    <a:pt x="99" y="489"/>
                  </a:lnTo>
                  <a:lnTo>
                    <a:pt x="101" y="488"/>
                  </a:lnTo>
                  <a:lnTo>
                    <a:pt x="102" y="486"/>
                  </a:lnTo>
                  <a:lnTo>
                    <a:pt x="104" y="484"/>
                  </a:lnTo>
                  <a:lnTo>
                    <a:pt x="108" y="482"/>
                  </a:lnTo>
                  <a:lnTo>
                    <a:pt x="111" y="480"/>
                  </a:lnTo>
                  <a:lnTo>
                    <a:pt x="117" y="477"/>
                  </a:lnTo>
                  <a:lnTo>
                    <a:pt x="120" y="476"/>
                  </a:lnTo>
                  <a:lnTo>
                    <a:pt x="122" y="474"/>
                  </a:lnTo>
                  <a:lnTo>
                    <a:pt x="122" y="474"/>
                  </a:lnTo>
                  <a:lnTo>
                    <a:pt x="124" y="472"/>
                  </a:lnTo>
                  <a:lnTo>
                    <a:pt x="124" y="471"/>
                  </a:lnTo>
                  <a:lnTo>
                    <a:pt x="126" y="469"/>
                  </a:lnTo>
                  <a:lnTo>
                    <a:pt x="127" y="467"/>
                  </a:lnTo>
                  <a:lnTo>
                    <a:pt x="127" y="464"/>
                  </a:lnTo>
                  <a:lnTo>
                    <a:pt x="127" y="462"/>
                  </a:lnTo>
                  <a:lnTo>
                    <a:pt x="127" y="460"/>
                  </a:lnTo>
                  <a:lnTo>
                    <a:pt x="127" y="458"/>
                  </a:lnTo>
                  <a:lnTo>
                    <a:pt x="125" y="456"/>
                  </a:lnTo>
                  <a:lnTo>
                    <a:pt x="124" y="454"/>
                  </a:lnTo>
                  <a:lnTo>
                    <a:pt x="123" y="452"/>
                  </a:lnTo>
                  <a:lnTo>
                    <a:pt x="121" y="450"/>
                  </a:lnTo>
                  <a:lnTo>
                    <a:pt x="119" y="449"/>
                  </a:lnTo>
                  <a:lnTo>
                    <a:pt x="112" y="443"/>
                  </a:lnTo>
                  <a:lnTo>
                    <a:pt x="108" y="440"/>
                  </a:lnTo>
                  <a:lnTo>
                    <a:pt x="106" y="438"/>
                  </a:lnTo>
                  <a:lnTo>
                    <a:pt x="103" y="435"/>
                  </a:lnTo>
                  <a:lnTo>
                    <a:pt x="97" y="427"/>
                  </a:lnTo>
                  <a:lnTo>
                    <a:pt x="93" y="422"/>
                  </a:lnTo>
                  <a:lnTo>
                    <a:pt x="89" y="418"/>
                  </a:lnTo>
                  <a:lnTo>
                    <a:pt x="86" y="414"/>
                  </a:lnTo>
                  <a:lnTo>
                    <a:pt x="83" y="411"/>
                  </a:lnTo>
                  <a:lnTo>
                    <a:pt x="80" y="408"/>
                  </a:lnTo>
                  <a:lnTo>
                    <a:pt x="78" y="407"/>
                  </a:lnTo>
                  <a:lnTo>
                    <a:pt x="77" y="405"/>
                  </a:lnTo>
                  <a:lnTo>
                    <a:pt x="74" y="405"/>
                  </a:lnTo>
                  <a:lnTo>
                    <a:pt x="72" y="403"/>
                  </a:lnTo>
                  <a:lnTo>
                    <a:pt x="67" y="401"/>
                  </a:lnTo>
                  <a:lnTo>
                    <a:pt x="55" y="397"/>
                  </a:lnTo>
                  <a:lnTo>
                    <a:pt x="47" y="394"/>
                  </a:lnTo>
                  <a:lnTo>
                    <a:pt x="44" y="393"/>
                  </a:lnTo>
                  <a:lnTo>
                    <a:pt x="41" y="392"/>
                  </a:lnTo>
                  <a:lnTo>
                    <a:pt x="40" y="390"/>
                  </a:lnTo>
                  <a:lnTo>
                    <a:pt x="37" y="389"/>
                  </a:lnTo>
                  <a:lnTo>
                    <a:pt x="30" y="384"/>
                  </a:lnTo>
                  <a:lnTo>
                    <a:pt x="25" y="380"/>
                  </a:lnTo>
                  <a:lnTo>
                    <a:pt x="20" y="376"/>
                  </a:lnTo>
                  <a:lnTo>
                    <a:pt x="17" y="372"/>
                  </a:lnTo>
                  <a:lnTo>
                    <a:pt x="12" y="367"/>
                  </a:lnTo>
                  <a:lnTo>
                    <a:pt x="7" y="362"/>
                  </a:lnTo>
                  <a:lnTo>
                    <a:pt x="2" y="356"/>
                  </a:lnTo>
                  <a:lnTo>
                    <a:pt x="0" y="352"/>
                  </a:lnTo>
                  <a:lnTo>
                    <a:pt x="2" y="347"/>
                  </a:lnTo>
                  <a:lnTo>
                    <a:pt x="4" y="345"/>
                  </a:lnTo>
                  <a:lnTo>
                    <a:pt x="5" y="344"/>
                  </a:lnTo>
                  <a:lnTo>
                    <a:pt x="6" y="342"/>
                  </a:lnTo>
                  <a:lnTo>
                    <a:pt x="7" y="340"/>
                  </a:lnTo>
                  <a:lnTo>
                    <a:pt x="10" y="339"/>
                  </a:lnTo>
                  <a:lnTo>
                    <a:pt x="11" y="337"/>
                  </a:lnTo>
                  <a:lnTo>
                    <a:pt x="15" y="335"/>
                  </a:lnTo>
                  <a:lnTo>
                    <a:pt x="18" y="334"/>
                  </a:lnTo>
                  <a:lnTo>
                    <a:pt x="21" y="333"/>
                  </a:lnTo>
                  <a:lnTo>
                    <a:pt x="29" y="331"/>
                  </a:lnTo>
                  <a:lnTo>
                    <a:pt x="32" y="330"/>
                  </a:lnTo>
                  <a:lnTo>
                    <a:pt x="33" y="329"/>
                  </a:lnTo>
                  <a:lnTo>
                    <a:pt x="35" y="327"/>
                  </a:lnTo>
                  <a:lnTo>
                    <a:pt x="36" y="326"/>
                  </a:lnTo>
                  <a:lnTo>
                    <a:pt x="38" y="325"/>
                  </a:lnTo>
                  <a:lnTo>
                    <a:pt x="40" y="322"/>
                  </a:lnTo>
                  <a:lnTo>
                    <a:pt x="41" y="320"/>
                  </a:lnTo>
                  <a:lnTo>
                    <a:pt x="42" y="318"/>
                  </a:lnTo>
                  <a:lnTo>
                    <a:pt x="43" y="316"/>
                  </a:lnTo>
                  <a:lnTo>
                    <a:pt x="47" y="305"/>
                  </a:lnTo>
                  <a:lnTo>
                    <a:pt x="52" y="297"/>
                  </a:lnTo>
                  <a:lnTo>
                    <a:pt x="53" y="292"/>
                  </a:lnTo>
                  <a:lnTo>
                    <a:pt x="54" y="289"/>
                  </a:lnTo>
                  <a:lnTo>
                    <a:pt x="56" y="283"/>
                  </a:lnTo>
                  <a:lnTo>
                    <a:pt x="56" y="281"/>
                  </a:lnTo>
                  <a:lnTo>
                    <a:pt x="57" y="278"/>
                  </a:lnTo>
                  <a:lnTo>
                    <a:pt x="57" y="276"/>
                  </a:lnTo>
                  <a:lnTo>
                    <a:pt x="57" y="272"/>
                  </a:lnTo>
                  <a:lnTo>
                    <a:pt x="55" y="260"/>
                  </a:lnTo>
                  <a:lnTo>
                    <a:pt x="54" y="254"/>
                  </a:lnTo>
                  <a:lnTo>
                    <a:pt x="54" y="250"/>
                  </a:lnTo>
                  <a:lnTo>
                    <a:pt x="53" y="247"/>
                  </a:lnTo>
                  <a:lnTo>
                    <a:pt x="52" y="242"/>
                  </a:lnTo>
                  <a:lnTo>
                    <a:pt x="50" y="236"/>
                  </a:lnTo>
                  <a:lnTo>
                    <a:pt x="47" y="230"/>
                  </a:lnTo>
                  <a:lnTo>
                    <a:pt x="42" y="217"/>
                  </a:lnTo>
                  <a:lnTo>
                    <a:pt x="40" y="212"/>
                  </a:lnTo>
                  <a:lnTo>
                    <a:pt x="39" y="208"/>
                  </a:lnTo>
                  <a:lnTo>
                    <a:pt x="38" y="203"/>
                  </a:lnTo>
                  <a:lnTo>
                    <a:pt x="38" y="198"/>
                  </a:lnTo>
                  <a:lnTo>
                    <a:pt x="38" y="195"/>
                  </a:lnTo>
                  <a:lnTo>
                    <a:pt x="38" y="191"/>
                  </a:lnTo>
                  <a:lnTo>
                    <a:pt x="39" y="183"/>
                  </a:lnTo>
                  <a:lnTo>
                    <a:pt x="39" y="179"/>
                  </a:lnTo>
                  <a:lnTo>
                    <a:pt x="39" y="175"/>
                  </a:lnTo>
                  <a:lnTo>
                    <a:pt x="39" y="172"/>
                  </a:lnTo>
                  <a:lnTo>
                    <a:pt x="37" y="163"/>
                  </a:lnTo>
                  <a:lnTo>
                    <a:pt x="37" y="161"/>
                  </a:lnTo>
                  <a:lnTo>
                    <a:pt x="37" y="159"/>
                  </a:lnTo>
                  <a:lnTo>
                    <a:pt x="37" y="155"/>
                  </a:lnTo>
                  <a:lnTo>
                    <a:pt x="37" y="152"/>
                  </a:lnTo>
                  <a:lnTo>
                    <a:pt x="38" y="150"/>
                  </a:lnTo>
                  <a:lnTo>
                    <a:pt x="40" y="148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3" y="145"/>
                  </a:lnTo>
                  <a:lnTo>
                    <a:pt x="45" y="144"/>
                  </a:lnTo>
                  <a:lnTo>
                    <a:pt x="47" y="144"/>
                  </a:lnTo>
                  <a:lnTo>
                    <a:pt x="53" y="143"/>
                  </a:lnTo>
                  <a:lnTo>
                    <a:pt x="59" y="143"/>
                  </a:lnTo>
                  <a:lnTo>
                    <a:pt x="62" y="143"/>
                  </a:lnTo>
                  <a:lnTo>
                    <a:pt x="64" y="143"/>
                  </a:lnTo>
                  <a:lnTo>
                    <a:pt x="68" y="143"/>
                  </a:lnTo>
                  <a:lnTo>
                    <a:pt x="72" y="145"/>
                  </a:lnTo>
                  <a:lnTo>
                    <a:pt x="74" y="145"/>
                  </a:lnTo>
                  <a:lnTo>
                    <a:pt x="77" y="145"/>
                  </a:lnTo>
                  <a:lnTo>
                    <a:pt x="79" y="145"/>
                  </a:lnTo>
                  <a:lnTo>
                    <a:pt x="82" y="145"/>
                  </a:lnTo>
                  <a:lnTo>
                    <a:pt x="84" y="144"/>
                  </a:lnTo>
                  <a:lnTo>
                    <a:pt x="97" y="139"/>
                  </a:lnTo>
                  <a:lnTo>
                    <a:pt x="99" y="138"/>
                  </a:lnTo>
                  <a:lnTo>
                    <a:pt x="103" y="138"/>
                  </a:lnTo>
                  <a:lnTo>
                    <a:pt x="107" y="137"/>
                  </a:lnTo>
                  <a:lnTo>
                    <a:pt x="117" y="135"/>
                  </a:lnTo>
                  <a:lnTo>
                    <a:pt x="137" y="133"/>
                  </a:lnTo>
                  <a:lnTo>
                    <a:pt x="140" y="133"/>
                  </a:lnTo>
                  <a:lnTo>
                    <a:pt x="147" y="132"/>
                  </a:lnTo>
                  <a:lnTo>
                    <a:pt x="149" y="132"/>
                  </a:lnTo>
                  <a:lnTo>
                    <a:pt x="154" y="131"/>
                  </a:lnTo>
                  <a:lnTo>
                    <a:pt x="158" y="132"/>
                  </a:lnTo>
                  <a:lnTo>
                    <a:pt x="164" y="132"/>
                  </a:lnTo>
                  <a:lnTo>
                    <a:pt x="174" y="133"/>
                  </a:lnTo>
                  <a:lnTo>
                    <a:pt x="178" y="134"/>
                  </a:lnTo>
                  <a:lnTo>
                    <a:pt x="182" y="134"/>
                  </a:lnTo>
                  <a:lnTo>
                    <a:pt x="190" y="133"/>
                  </a:lnTo>
                  <a:lnTo>
                    <a:pt x="192" y="133"/>
                  </a:lnTo>
                  <a:lnTo>
                    <a:pt x="194" y="133"/>
                  </a:lnTo>
                  <a:lnTo>
                    <a:pt x="207" y="133"/>
                  </a:lnTo>
                  <a:lnTo>
                    <a:pt x="209" y="134"/>
                  </a:lnTo>
                  <a:lnTo>
                    <a:pt x="211" y="135"/>
                  </a:lnTo>
                  <a:lnTo>
                    <a:pt x="213" y="135"/>
                  </a:lnTo>
                  <a:lnTo>
                    <a:pt x="214" y="136"/>
                  </a:lnTo>
                  <a:lnTo>
                    <a:pt x="221" y="142"/>
                  </a:lnTo>
                  <a:lnTo>
                    <a:pt x="227" y="146"/>
                  </a:lnTo>
                  <a:lnTo>
                    <a:pt x="233" y="151"/>
                  </a:lnTo>
                  <a:lnTo>
                    <a:pt x="236" y="153"/>
                  </a:lnTo>
                  <a:lnTo>
                    <a:pt x="237" y="154"/>
                  </a:lnTo>
                  <a:lnTo>
                    <a:pt x="239" y="154"/>
                  </a:lnTo>
                  <a:lnTo>
                    <a:pt x="239" y="154"/>
                  </a:lnTo>
                  <a:lnTo>
                    <a:pt x="241" y="154"/>
                  </a:lnTo>
                  <a:lnTo>
                    <a:pt x="242" y="153"/>
                  </a:lnTo>
                  <a:lnTo>
                    <a:pt x="244" y="150"/>
                  </a:lnTo>
                  <a:lnTo>
                    <a:pt x="245" y="149"/>
                  </a:lnTo>
                  <a:lnTo>
                    <a:pt x="247" y="148"/>
                  </a:lnTo>
                  <a:lnTo>
                    <a:pt x="247" y="145"/>
                  </a:lnTo>
                  <a:lnTo>
                    <a:pt x="248" y="144"/>
                  </a:lnTo>
                  <a:lnTo>
                    <a:pt x="249" y="143"/>
                  </a:lnTo>
                  <a:lnTo>
                    <a:pt x="249" y="141"/>
                  </a:lnTo>
                  <a:lnTo>
                    <a:pt x="249" y="140"/>
                  </a:lnTo>
                  <a:lnTo>
                    <a:pt x="247" y="138"/>
                  </a:lnTo>
                  <a:lnTo>
                    <a:pt x="247" y="136"/>
                  </a:lnTo>
                  <a:lnTo>
                    <a:pt x="247" y="135"/>
                  </a:lnTo>
                  <a:lnTo>
                    <a:pt x="248" y="133"/>
                  </a:lnTo>
                  <a:lnTo>
                    <a:pt x="248" y="132"/>
                  </a:lnTo>
                  <a:lnTo>
                    <a:pt x="248" y="131"/>
                  </a:lnTo>
                  <a:lnTo>
                    <a:pt x="248" y="130"/>
                  </a:lnTo>
                  <a:lnTo>
                    <a:pt x="245" y="125"/>
                  </a:lnTo>
                  <a:lnTo>
                    <a:pt x="242" y="120"/>
                  </a:lnTo>
                  <a:lnTo>
                    <a:pt x="241" y="119"/>
                  </a:lnTo>
                  <a:lnTo>
                    <a:pt x="240" y="118"/>
                  </a:lnTo>
                  <a:lnTo>
                    <a:pt x="239" y="115"/>
                  </a:lnTo>
                  <a:lnTo>
                    <a:pt x="239" y="113"/>
                  </a:lnTo>
                  <a:lnTo>
                    <a:pt x="239" y="110"/>
                  </a:lnTo>
                  <a:lnTo>
                    <a:pt x="237" y="105"/>
                  </a:lnTo>
                  <a:lnTo>
                    <a:pt x="237" y="102"/>
                  </a:lnTo>
                  <a:lnTo>
                    <a:pt x="237" y="100"/>
                  </a:lnTo>
                  <a:lnTo>
                    <a:pt x="237" y="98"/>
                  </a:lnTo>
                  <a:lnTo>
                    <a:pt x="238" y="94"/>
                  </a:lnTo>
                  <a:lnTo>
                    <a:pt x="239" y="92"/>
                  </a:lnTo>
                  <a:lnTo>
                    <a:pt x="239" y="89"/>
                  </a:lnTo>
                  <a:lnTo>
                    <a:pt x="242" y="83"/>
                  </a:lnTo>
                  <a:lnTo>
                    <a:pt x="244" y="82"/>
                  </a:lnTo>
                  <a:lnTo>
                    <a:pt x="246" y="79"/>
                  </a:lnTo>
                  <a:lnTo>
                    <a:pt x="247" y="78"/>
                  </a:lnTo>
                  <a:lnTo>
                    <a:pt x="247" y="78"/>
                  </a:lnTo>
                  <a:lnTo>
                    <a:pt x="248" y="72"/>
                  </a:lnTo>
                  <a:lnTo>
                    <a:pt x="250" y="65"/>
                  </a:lnTo>
                  <a:lnTo>
                    <a:pt x="251" y="63"/>
                  </a:lnTo>
                  <a:lnTo>
                    <a:pt x="252" y="60"/>
                  </a:lnTo>
                  <a:lnTo>
                    <a:pt x="252" y="56"/>
                  </a:lnTo>
                  <a:lnTo>
                    <a:pt x="252" y="50"/>
                  </a:lnTo>
                  <a:lnTo>
                    <a:pt x="252" y="45"/>
                  </a:lnTo>
                  <a:lnTo>
                    <a:pt x="253" y="43"/>
                  </a:lnTo>
                  <a:lnTo>
                    <a:pt x="253" y="41"/>
                  </a:lnTo>
                  <a:lnTo>
                    <a:pt x="254" y="40"/>
                  </a:lnTo>
                  <a:lnTo>
                    <a:pt x="254" y="38"/>
                  </a:lnTo>
                  <a:lnTo>
                    <a:pt x="258" y="33"/>
                  </a:lnTo>
                  <a:lnTo>
                    <a:pt x="259" y="30"/>
                  </a:lnTo>
                  <a:lnTo>
                    <a:pt x="259" y="29"/>
                  </a:lnTo>
                  <a:lnTo>
                    <a:pt x="261" y="23"/>
                  </a:lnTo>
                  <a:lnTo>
                    <a:pt x="262" y="21"/>
                  </a:lnTo>
                  <a:lnTo>
                    <a:pt x="262" y="19"/>
                  </a:lnTo>
                  <a:lnTo>
                    <a:pt x="264" y="16"/>
                  </a:lnTo>
                  <a:lnTo>
                    <a:pt x="266" y="13"/>
                  </a:lnTo>
                  <a:lnTo>
                    <a:pt x="269" y="10"/>
                  </a:lnTo>
                  <a:lnTo>
                    <a:pt x="271" y="7"/>
                  </a:lnTo>
                  <a:lnTo>
                    <a:pt x="274" y="5"/>
                  </a:lnTo>
                  <a:lnTo>
                    <a:pt x="278" y="3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283" y="0"/>
                  </a:lnTo>
                  <a:lnTo>
                    <a:pt x="282" y="0"/>
                  </a:lnTo>
                  <a:close/>
                </a:path>
              </a:pathLst>
            </a:custGeom>
            <a:solidFill>
              <a:srgbClr val="D7144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>
                <a:ln w="9525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36" name="Freeform 99">
              <a:extLst>
                <a:ext uri="{FF2B5EF4-FFF2-40B4-BE49-F238E27FC236}">
                  <a16:creationId xmlns:a16="http://schemas.microsoft.com/office/drawing/2014/main" id="{F424BD99-A041-D3D5-F077-1F29B60FD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1249" y="3215739"/>
              <a:ext cx="1398588" cy="1208088"/>
            </a:xfrm>
            <a:custGeom>
              <a:avLst/>
              <a:gdLst>
                <a:gd name="T0" fmla="*/ 320 w 881"/>
                <a:gd name="T1" fmla="*/ 41 h 761"/>
                <a:gd name="T2" fmla="*/ 376 w 881"/>
                <a:gd name="T3" fmla="*/ 38 h 761"/>
                <a:gd name="T4" fmla="*/ 421 w 881"/>
                <a:gd name="T5" fmla="*/ 68 h 761"/>
                <a:gd name="T6" fmla="*/ 415 w 881"/>
                <a:gd name="T7" fmla="*/ 88 h 761"/>
                <a:gd name="T8" fmla="*/ 460 w 881"/>
                <a:gd name="T9" fmla="*/ 115 h 761"/>
                <a:gd name="T10" fmla="*/ 501 w 881"/>
                <a:gd name="T11" fmla="*/ 115 h 761"/>
                <a:gd name="T12" fmla="*/ 564 w 881"/>
                <a:gd name="T13" fmla="*/ 131 h 761"/>
                <a:gd name="T14" fmla="*/ 622 w 881"/>
                <a:gd name="T15" fmla="*/ 128 h 761"/>
                <a:gd name="T16" fmla="*/ 646 w 881"/>
                <a:gd name="T17" fmla="*/ 155 h 761"/>
                <a:gd name="T18" fmla="*/ 662 w 881"/>
                <a:gd name="T19" fmla="*/ 221 h 761"/>
                <a:gd name="T20" fmla="*/ 734 w 881"/>
                <a:gd name="T21" fmla="*/ 254 h 761"/>
                <a:gd name="T22" fmla="*/ 801 w 881"/>
                <a:gd name="T23" fmla="*/ 253 h 761"/>
                <a:gd name="T24" fmla="*/ 842 w 881"/>
                <a:gd name="T25" fmla="*/ 253 h 761"/>
                <a:gd name="T26" fmla="*/ 851 w 881"/>
                <a:gd name="T27" fmla="*/ 280 h 761"/>
                <a:gd name="T28" fmla="*/ 864 w 881"/>
                <a:gd name="T29" fmla="*/ 323 h 761"/>
                <a:gd name="T30" fmla="*/ 826 w 881"/>
                <a:gd name="T31" fmla="*/ 363 h 761"/>
                <a:gd name="T32" fmla="*/ 789 w 881"/>
                <a:gd name="T33" fmla="*/ 420 h 761"/>
                <a:gd name="T34" fmla="*/ 804 w 881"/>
                <a:gd name="T35" fmla="*/ 440 h 761"/>
                <a:gd name="T36" fmla="*/ 850 w 881"/>
                <a:gd name="T37" fmla="*/ 477 h 761"/>
                <a:gd name="T38" fmla="*/ 854 w 881"/>
                <a:gd name="T39" fmla="*/ 512 h 761"/>
                <a:gd name="T40" fmla="*/ 845 w 881"/>
                <a:gd name="T41" fmla="*/ 532 h 761"/>
                <a:gd name="T42" fmla="*/ 814 w 881"/>
                <a:gd name="T43" fmla="*/ 550 h 761"/>
                <a:gd name="T44" fmla="*/ 749 w 881"/>
                <a:gd name="T45" fmla="*/ 501 h 761"/>
                <a:gd name="T46" fmla="*/ 657 w 881"/>
                <a:gd name="T47" fmla="*/ 457 h 761"/>
                <a:gd name="T48" fmla="*/ 594 w 881"/>
                <a:gd name="T49" fmla="*/ 447 h 761"/>
                <a:gd name="T50" fmla="*/ 568 w 881"/>
                <a:gd name="T51" fmla="*/ 487 h 761"/>
                <a:gd name="T52" fmla="*/ 499 w 881"/>
                <a:gd name="T53" fmla="*/ 505 h 761"/>
                <a:gd name="T54" fmla="*/ 480 w 881"/>
                <a:gd name="T55" fmla="*/ 477 h 761"/>
                <a:gd name="T56" fmla="*/ 438 w 881"/>
                <a:gd name="T57" fmla="*/ 434 h 761"/>
                <a:gd name="T58" fmla="*/ 383 w 881"/>
                <a:gd name="T59" fmla="*/ 415 h 761"/>
                <a:gd name="T60" fmla="*/ 332 w 881"/>
                <a:gd name="T61" fmla="*/ 415 h 761"/>
                <a:gd name="T62" fmla="*/ 312 w 881"/>
                <a:gd name="T63" fmla="*/ 469 h 761"/>
                <a:gd name="T64" fmla="*/ 320 w 881"/>
                <a:gd name="T65" fmla="*/ 574 h 761"/>
                <a:gd name="T66" fmla="*/ 304 w 881"/>
                <a:gd name="T67" fmla="*/ 662 h 761"/>
                <a:gd name="T68" fmla="*/ 304 w 881"/>
                <a:gd name="T69" fmla="*/ 737 h 761"/>
                <a:gd name="T70" fmla="*/ 277 w 881"/>
                <a:gd name="T71" fmla="*/ 760 h 761"/>
                <a:gd name="T72" fmla="*/ 235 w 881"/>
                <a:gd name="T73" fmla="*/ 709 h 761"/>
                <a:gd name="T74" fmla="*/ 212 w 881"/>
                <a:gd name="T75" fmla="*/ 649 h 761"/>
                <a:gd name="T76" fmla="*/ 158 w 881"/>
                <a:gd name="T77" fmla="*/ 620 h 761"/>
                <a:gd name="T78" fmla="*/ 133 w 881"/>
                <a:gd name="T79" fmla="*/ 552 h 761"/>
                <a:gd name="T80" fmla="*/ 113 w 881"/>
                <a:gd name="T81" fmla="*/ 525 h 761"/>
                <a:gd name="T82" fmla="*/ 120 w 881"/>
                <a:gd name="T83" fmla="*/ 503 h 761"/>
                <a:gd name="T84" fmla="*/ 82 w 881"/>
                <a:gd name="T85" fmla="*/ 485 h 761"/>
                <a:gd name="T86" fmla="*/ 70 w 881"/>
                <a:gd name="T87" fmla="*/ 438 h 761"/>
                <a:gd name="T88" fmla="*/ 40 w 881"/>
                <a:gd name="T89" fmla="*/ 404 h 761"/>
                <a:gd name="T90" fmla="*/ 45 w 881"/>
                <a:gd name="T91" fmla="*/ 361 h 761"/>
                <a:gd name="T92" fmla="*/ 17 w 881"/>
                <a:gd name="T93" fmla="*/ 333 h 761"/>
                <a:gd name="T94" fmla="*/ 7 w 881"/>
                <a:gd name="T95" fmla="*/ 309 h 761"/>
                <a:gd name="T96" fmla="*/ 31 w 881"/>
                <a:gd name="T97" fmla="*/ 269 h 761"/>
                <a:gd name="T98" fmla="*/ 46 w 881"/>
                <a:gd name="T99" fmla="*/ 228 h 761"/>
                <a:gd name="T100" fmla="*/ 90 w 881"/>
                <a:gd name="T101" fmla="*/ 253 h 761"/>
                <a:gd name="T102" fmla="*/ 130 w 881"/>
                <a:gd name="T103" fmla="*/ 257 h 761"/>
                <a:gd name="T104" fmla="*/ 163 w 881"/>
                <a:gd name="T105" fmla="*/ 268 h 761"/>
                <a:gd name="T106" fmla="*/ 131 w 881"/>
                <a:gd name="T107" fmla="*/ 224 h 761"/>
                <a:gd name="T108" fmla="*/ 146 w 881"/>
                <a:gd name="T109" fmla="*/ 180 h 761"/>
                <a:gd name="T110" fmla="*/ 108 w 881"/>
                <a:gd name="T111" fmla="*/ 133 h 761"/>
                <a:gd name="T112" fmla="*/ 124 w 881"/>
                <a:gd name="T113" fmla="*/ 118 h 761"/>
                <a:gd name="T114" fmla="*/ 208 w 881"/>
                <a:gd name="T115" fmla="*/ 101 h 761"/>
                <a:gd name="T116" fmla="*/ 228 w 881"/>
                <a:gd name="T117" fmla="*/ 43 h 761"/>
                <a:gd name="T118" fmla="*/ 220 w 881"/>
                <a:gd name="T119" fmla="*/ 11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1" h="761">
                  <a:moveTo>
                    <a:pt x="263" y="0"/>
                  </a:moveTo>
                  <a:lnTo>
                    <a:pt x="266" y="1"/>
                  </a:lnTo>
                  <a:lnTo>
                    <a:pt x="269" y="3"/>
                  </a:lnTo>
                  <a:lnTo>
                    <a:pt x="272" y="6"/>
                  </a:lnTo>
                  <a:lnTo>
                    <a:pt x="275" y="8"/>
                  </a:lnTo>
                  <a:lnTo>
                    <a:pt x="277" y="10"/>
                  </a:lnTo>
                  <a:lnTo>
                    <a:pt x="286" y="18"/>
                  </a:lnTo>
                  <a:lnTo>
                    <a:pt x="290" y="22"/>
                  </a:lnTo>
                  <a:lnTo>
                    <a:pt x="303" y="34"/>
                  </a:lnTo>
                  <a:lnTo>
                    <a:pt x="306" y="36"/>
                  </a:lnTo>
                  <a:lnTo>
                    <a:pt x="309" y="38"/>
                  </a:lnTo>
                  <a:lnTo>
                    <a:pt x="310" y="39"/>
                  </a:lnTo>
                  <a:lnTo>
                    <a:pt x="312" y="41"/>
                  </a:lnTo>
                  <a:lnTo>
                    <a:pt x="315" y="41"/>
                  </a:lnTo>
                  <a:lnTo>
                    <a:pt x="317" y="41"/>
                  </a:lnTo>
                  <a:lnTo>
                    <a:pt x="320" y="41"/>
                  </a:lnTo>
                  <a:lnTo>
                    <a:pt x="323" y="41"/>
                  </a:lnTo>
                  <a:lnTo>
                    <a:pt x="325" y="40"/>
                  </a:lnTo>
                  <a:lnTo>
                    <a:pt x="327" y="39"/>
                  </a:lnTo>
                  <a:lnTo>
                    <a:pt x="340" y="33"/>
                  </a:lnTo>
                  <a:lnTo>
                    <a:pt x="343" y="31"/>
                  </a:lnTo>
                  <a:lnTo>
                    <a:pt x="346" y="30"/>
                  </a:lnTo>
                  <a:lnTo>
                    <a:pt x="350" y="28"/>
                  </a:lnTo>
                  <a:lnTo>
                    <a:pt x="353" y="28"/>
                  </a:lnTo>
                  <a:lnTo>
                    <a:pt x="356" y="28"/>
                  </a:lnTo>
                  <a:lnTo>
                    <a:pt x="358" y="28"/>
                  </a:lnTo>
                  <a:lnTo>
                    <a:pt x="360" y="28"/>
                  </a:lnTo>
                  <a:lnTo>
                    <a:pt x="362" y="28"/>
                  </a:lnTo>
                  <a:lnTo>
                    <a:pt x="365" y="30"/>
                  </a:lnTo>
                  <a:lnTo>
                    <a:pt x="367" y="31"/>
                  </a:lnTo>
                  <a:lnTo>
                    <a:pt x="370" y="33"/>
                  </a:lnTo>
                  <a:lnTo>
                    <a:pt x="376" y="38"/>
                  </a:lnTo>
                  <a:lnTo>
                    <a:pt x="380" y="41"/>
                  </a:lnTo>
                  <a:lnTo>
                    <a:pt x="385" y="45"/>
                  </a:lnTo>
                  <a:lnTo>
                    <a:pt x="389" y="47"/>
                  </a:lnTo>
                  <a:lnTo>
                    <a:pt x="391" y="48"/>
                  </a:lnTo>
                  <a:lnTo>
                    <a:pt x="394" y="49"/>
                  </a:lnTo>
                  <a:lnTo>
                    <a:pt x="405" y="53"/>
                  </a:lnTo>
                  <a:lnTo>
                    <a:pt x="409" y="55"/>
                  </a:lnTo>
                  <a:lnTo>
                    <a:pt x="412" y="56"/>
                  </a:lnTo>
                  <a:lnTo>
                    <a:pt x="415" y="57"/>
                  </a:lnTo>
                  <a:lnTo>
                    <a:pt x="417" y="58"/>
                  </a:lnTo>
                  <a:lnTo>
                    <a:pt x="418" y="60"/>
                  </a:lnTo>
                  <a:lnTo>
                    <a:pt x="419" y="61"/>
                  </a:lnTo>
                  <a:lnTo>
                    <a:pt x="420" y="62"/>
                  </a:lnTo>
                  <a:lnTo>
                    <a:pt x="420" y="64"/>
                  </a:lnTo>
                  <a:lnTo>
                    <a:pt x="421" y="66"/>
                  </a:lnTo>
                  <a:lnTo>
                    <a:pt x="421" y="68"/>
                  </a:lnTo>
                  <a:lnTo>
                    <a:pt x="421" y="69"/>
                  </a:lnTo>
                  <a:lnTo>
                    <a:pt x="420" y="71"/>
                  </a:lnTo>
                  <a:lnTo>
                    <a:pt x="420" y="74"/>
                  </a:lnTo>
                  <a:lnTo>
                    <a:pt x="419" y="76"/>
                  </a:lnTo>
                  <a:lnTo>
                    <a:pt x="418" y="77"/>
                  </a:lnTo>
                  <a:lnTo>
                    <a:pt x="417" y="78"/>
                  </a:lnTo>
                  <a:lnTo>
                    <a:pt x="416" y="80"/>
                  </a:lnTo>
                  <a:lnTo>
                    <a:pt x="414" y="81"/>
                  </a:lnTo>
                  <a:lnTo>
                    <a:pt x="411" y="83"/>
                  </a:lnTo>
                  <a:lnTo>
                    <a:pt x="410" y="83"/>
                  </a:lnTo>
                  <a:lnTo>
                    <a:pt x="410" y="84"/>
                  </a:lnTo>
                  <a:lnTo>
                    <a:pt x="410" y="85"/>
                  </a:lnTo>
                  <a:lnTo>
                    <a:pt x="410" y="86"/>
                  </a:lnTo>
                  <a:lnTo>
                    <a:pt x="411" y="87"/>
                  </a:lnTo>
                  <a:lnTo>
                    <a:pt x="412" y="88"/>
                  </a:lnTo>
                  <a:lnTo>
                    <a:pt x="415" y="88"/>
                  </a:lnTo>
                  <a:lnTo>
                    <a:pt x="418" y="89"/>
                  </a:lnTo>
                  <a:lnTo>
                    <a:pt x="420" y="90"/>
                  </a:lnTo>
                  <a:lnTo>
                    <a:pt x="422" y="91"/>
                  </a:lnTo>
                  <a:lnTo>
                    <a:pt x="430" y="91"/>
                  </a:lnTo>
                  <a:lnTo>
                    <a:pt x="434" y="92"/>
                  </a:lnTo>
                  <a:lnTo>
                    <a:pt x="436" y="93"/>
                  </a:lnTo>
                  <a:lnTo>
                    <a:pt x="438" y="93"/>
                  </a:lnTo>
                  <a:lnTo>
                    <a:pt x="440" y="94"/>
                  </a:lnTo>
                  <a:lnTo>
                    <a:pt x="442" y="95"/>
                  </a:lnTo>
                  <a:lnTo>
                    <a:pt x="443" y="96"/>
                  </a:lnTo>
                  <a:lnTo>
                    <a:pt x="445" y="98"/>
                  </a:lnTo>
                  <a:lnTo>
                    <a:pt x="447" y="99"/>
                  </a:lnTo>
                  <a:lnTo>
                    <a:pt x="449" y="101"/>
                  </a:lnTo>
                  <a:lnTo>
                    <a:pt x="452" y="105"/>
                  </a:lnTo>
                  <a:lnTo>
                    <a:pt x="458" y="113"/>
                  </a:lnTo>
                  <a:lnTo>
                    <a:pt x="460" y="115"/>
                  </a:lnTo>
                  <a:lnTo>
                    <a:pt x="462" y="116"/>
                  </a:lnTo>
                  <a:lnTo>
                    <a:pt x="463" y="118"/>
                  </a:lnTo>
                  <a:lnTo>
                    <a:pt x="465" y="119"/>
                  </a:lnTo>
                  <a:lnTo>
                    <a:pt x="467" y="121"/>
                  </a:lnTo>
                  <a:lnTo>
                    <a:pt x="469" y="121"/>
                  </a:lnTo>
                  <a:lnTo>
                    <a:pt x="472" y="123"/>
                  </a:lnTo>
                  <a:lnTo>
                    <a:pt x="475" y="123"/>
                  </a:lnTo>
                  <a:lnTo>
                    <a:pt x="476" y="123"/>
                  </a:lnTo>
                  <a:lnTo>
                    <a:pt x="478" y="123"/>
                  </a:lnTo>
                  <a:lnTo>
                    <a:pt x="480" y="123"/>
                  </a:lnTo>
                  <a:lnTo>
                    <a:pt x="482" y="123"/>
                  </a:lnTo>
                  <a:lnTo>
                    <a:pt x="484" y="123"/>
                  </a:lnTo>
                  <a:lnTo>
                    <a:pt x="487" y="122"/>
                  </a:lnTo>
                  <a:lnTo>
                    <a:pt x="490" y="121"/>
                  </a:lnTo>
                  <a:lnTo>
                    <a:pt x="493" y="119"/>
                  </a:lnTo>
                  <a:lnTo>
                    <a:pt x="501" y="115"/>
                  </a:lnTo>
                  <a:lnTo>
                    <a:pt x="504" y="113"/>
                  </a:lnTo>
                  <a:lnTo>
                    <a:pt x="507" y="113"/>
                  </a:lnTo>
                  <a:lnTo>
                    <a:pt x="508" y="112"/>
                  </a:lnTo>
                  <a:lnTo>
                    <a:pt x="510" y="112"/>
                  </a:lnTo>
                  <a:lnTo>
                    <a:pt x="512" y="112"/>
                  </a:lnTo>
                  <a:lnTo>
                    <a:pt x="514" y="113"/>
                  </a:lnTo>
                  <a:lnTo>
                    <a:pt x="517" y="113"/>
                  </a:lnTo>
                  <a:lnTo>
                    <a:pt x="532" y="117"/>
                  </a:lnTo>
                  <a:lnTo>
                    <a:pt x="537" y="118"/>
                  </a:lnTo>
                  <a:lnTo>
                    <a:pt x="549" y="122"/>
                  </a:lnTo>
                  <a:lnTo>
                    <a:pt x="556" y="124"/>
                  </a:lnTo>
                  <a:lnTo>
                    <a:pt x="561" y="126"/>
                  </a:lnTo>
                  <a:lnTo>
                    <a:pt x="564" y="128"/>
                  </a:lnTo>
                  <a:lnTo>
                    <a:pt x="564" y="128"/>
                  </a:lnTo>
                  <a:lnTo>
                    <a:pt x="564" y="129"/>
                  </a:lnTo>
                  <a:lnTo>
                    <a:pt x="564" y="131"/>
                  </a:lnTo>
                  <a:lnTo>
                    <a:pt x="564" y="132"/>
                  </a:lnTo>
                  <a:lnTo>
                    <a:pt x="564" y="133"/>
                  </a:lnTo>
                  <a:lnTo>
                    <a:pt x="565" y="133"/>
                  </a:lnTo>
                  <a:lnTo>
                    <a:pt x="566" y="134"/>
                  </a:lnTo>
                  <a:lnTo>
                    <a:pt x="567" y="134"/>
                  </a:lnTo>
                  <a:lnTo>
                    <a:pt x="568" y="135"/>
                  </a:lnTo>
                  <a:lnTo>
                    <a:pt x="570" y="135"/>
                  </a:lnTo>
                  <a:lnTo>
                    <a:pt x="577" y="134"/>
                  </a:lnTo>
                  <a:lnTo>
                    <a:pt x="582" y="134"/>
                  </a:lnTo>
                  <a:lnTo>
                    <a:pt x="586" y="133"/>
                  </a:lnTo>
                  <a:lnTo>
                    <a:pt x="594" y="131"/>
                  </a:lnTo>
                  <a:lnTo>
                    <a:pt x="598" y="131"/>
                  </a:lnTo>
                  <a:lnTo>
                    <a:pt x="602" y="131"/>
                  </a:lnTo>
                  <a:lnTo>
                    <a:pt x="610" y="130"/>
                  </a:lnTo>
                  <a:lnTo>
                    <a:pt x="618" y="128"/>
                  </a:lnTo>
                  <a:lnTo>
                    <a:pt x="622" y="128"/>
                  </a:lnTo>
                  <a:lnTo>
                    <a:pt x="624" y="128"/>
                  </a:lnTo>
                  <a:lnTo>
                    <a:pt x="627" y="128"/>
                  </a:lnTo>
                  <a:lnTo>
                    <a:pt x="629" y="129"/>
                  </a:lnTo>
                  <a:lnTo>
                    <a:pt x="632" y="130"/>
                  </a:lnTo>
                  <a:lnTo>
                    <a:pt x="634" y="131"/>
                  </a:lnTo>
                  <a:lnTo>
                    <a:pt x="635" y="131"/>
                  </a:lnTo>
                  <a:lnTo>
                    <a:pt x="637" y="132"/>
                  </a:lnTo>
                  <a:lnTo>
                    <a:pt x="638" y="133"/>
                  </a:lnTo>
                  <a:lnTo>
                    <a:pt x="639" y="134"/>
                  </a:lnTo>
                  <a:lnTo>
                    <a:pt x="640" y="136"/>
                  </a:lnTo>
                  <a:lnTo>
                    <a:pt x="642" y="138"/>
                  </a:lnTo>
                  <a:lnTo>
                    <a:pt x="642" y="140"/>
                  </a:lnTo>
                  <a:lnTo>
                    <a:pt x="643" y="143"/>
                  </a:lnTo>
                  <a:lnTo>
                    <a:pt x="644" y="147"/>
                  </a:lnTo>
                  <a:lnTo>
                    <a:pt x="645" y="151"/>
                  </a:lnTo>
                  <a:lnTo>
                    <a:pt x="646" y="155"/>
                  </a:lnTo>
                  <a:lnTo>
                    <a:pt x="647" y="161"/>
                  </a:lnTo>
                  <a:lnTo>
                    <a:pt x="647" y="166"/>
                  </a:lnTo>
                  <a:lnTo>
                    <a:pt x="646" y="172"/>
                  </a:lnTo>
                  <a:lnTo>
                    <a:pt x="645" y="180"/>
                  </a:lnTo>
                  <a:lnTo>
                    <a:pt x="644" y="185"/>
                  </a:lnTo>
                  <a:lnTo>
                    <a:pt x="644" y="190"/>
                  </a:lnTo>
                  <a:lnTo>
                    <a:pt x="644" y="194"/>
                  </a:lnTo>
                  <a:lnTo>
                    <a:pt x="644" y="197"/>
                  </a:lnTo>
                  <a:lnTo>
                    <a:pt x="645" y="200"/>
                  </a:lnTo>
                  <a:lnTo>
                    <a:pt x="647" y="203"/>
                  </a:lnTo>
                  <a:lnTo>
                    <a:pt x="649" y="208"/>
                  </a:lnTo>
                  <a:lnTo>
                    <a:pt x="650" y="210"/>
                  </a:lnTo>
                  <a:lnTo>
                    <a:pt x="652" y="211"/>
                  </a:lnTo>
                  <a:lnTo>
                    <a:pt x="653" y="213"/>
                  </a:lnTo>
                  <a:lnTo>
                    <a:pt x="655" y="215"/>
                  </a:lnTo>
                  <a:lnTo>
                    <a:pt x="662" y="221"/>
                  </a:lnTo>
                  <a:lnTo>
                    <a:pt x="669" y="227"/>
                  </a:lnTo>
                  <a:lnTo>
                    <a:pt x="672" y="229"/>
                  </a:lnTo>
                  <a:lnTo>
                    <a:pt x="679" y="235"/>
                  </a:lnTo>
                  <a:lnTo>
                    <a:pt x="682" y="238"/>
                  </a:lnTo>
                  <a:lnTo>
                    <a:pt x="684" y="240"/>
                  </a:lnTo>
                  <a:lnTo>
                    <a:pt x="688" y="243"/>
                  </a:lnTo>
                  <a:lnTo>
                    <a:pt x="704" y="252"/>
                  </a:lnTo>
                  <a:lnTo>
                    <a:pt x="713" y="257"/>
                  </a:lnTo>
                  <a:lnTo>
                    <a:pt x="715" y="258"/>
                  </a:lnTo>
                  <a:lnTo>
                    <a:pt x="716" y="258"/>
                  </a:lnTo>
                  <a:lnTo>
                    <a:pt x="719" y="258"/>
                  </a:lnTo>
                  <a:lnTo>
                    <a:pt x="720" y="258"/>
                  </a:lnTo>
                  <a:lnTo>
                    <a:pt x="726" y="255"/>
                  </a:lnTo>
                  <a:lnTo>
                    <a:pt x="729" y="255"/>
                  </a:lnTo>
                  <a:lnTo>
                    <a:pt x="731" y="254"/>
                  </a:lnTo>
                  <a:lnTo>
                    <a:pt x="734" y="254"/>
                  </a:lnTo>
                  <a:lnTo>
                    <a:pt x="736" y="254"/>
                  </a:lnTo>
                  <a:lnTo>
                    <a:pt x="739" y="255"/>
                  </a:lnTo>
                  <a:lnTo>
                    <a:pt x="750" y="258"/>
                  </a:lnTo>
                  <a:lnTo>
                    <a:pt x="753" y="259"/>
                  </a:lnTo>
                  <a:lnTo>
                    <a:pt x="756" y="259"/>
                  </a:lnTo>
                  <a:lnTo>
                    <a:pt x="760" y="260"/>
                  </a:lnTo>
                  <a:lnTo>
                    <a:pt x="766" y="260"/>
                  </a:lnTo>
                  <a:lnTo>
                    <a:pt x="771" y="260"/>
                  </a:lnTo>
                  <a:lnTo>
                    <a:pt x="776" y="260"/>
                  </a:lnTo>
                  <a:lnTo>
                    <a:pt x="779" y="260"/>
                  </a:lnTo>
                  <a:lnTo>
                    <a:pt x="782" y="260"/>
                  </a:lnTo>
                  <a:lnTo>
                    <a:pt x="784" y="259"/>
                  </a:lnTo>
                  <a:lnTo>
                    <a:pt x="786" y="258"/>
                  </a:lnTo>
                  <a:lnTo>
                    <a:pt x="790" y="257"/>
                  </a:lnTo>
                  <a:lnTo>
                    <a:pt x="798" y="254"/>
                  </a:lnTo>
                  <a:lnTo>
                    <a:pt x="801" y="253"/>
                  </a:lnTo>
                  <a:lnTo>
                    <a:pt x="806" y="252"/>
                  </a:lnTo>
                  <a:lnTo>
                    <a:pt x="813" y="250"/>
                  </a:lnTo>
                  <a:lnTo>
                    <a:pt x="816" y="250"/>
                  </a:lnTo>
                  <a:lnTo>
                    <a:pt x="818" y="249"/>
                  </a:lnTo>
                  <a:lnTo>
                    <a:pt x="822" y="247"/>
                  </a:lnTo>
                  <a:lnTo>
                    <a:pt x="824" y="246"/>
                  </a:lnTo>
                  <a:lnTo>
                    <a:pt x="826" y="246"/>
                  </a:lnTo>
                  <a:lnTo>
                    <a:pt x="828" y="246"/>
                  </a:lnTo>
                  <a:lnTo>
                    <a:pt x="829" y="246"/>
                  </a:lnTo>
                  <a:lnTo>
                    <a:pt x="831" y="247"/>
                  </a:lnTo>
                  <a:lnTo>
                    <a:pt x="832" y="247"/>
                  </a:lnTo>
                  <a:lnTo>
                    <a:pt x="834" y="248"/>
                  </a:lnTo>
                  <a:lnTo>
                    <a:pt x="837" y="250"/>
                  </a:lnTo>
                  <a:lnTo>
                    <a:pt x="841" y="252"/>
                  </a:lnTo>
                  <a:lnTo>
                    <a:pt x="841" y="253"/>
                  </a:lnTo>
                  <a:lnTo>
                    <a:pt x="842" y="253"/>
                  </a:lnTo>
                  <a:lnTo>
                    <a:pt x="843" y="255"/>
                  </a:lnTo>
                  <a:lnTo>
                    <a:pt x="844" y="255"/>
                  </a:lnTo>
                  <a:lnTo>
                    <a:pt x="844" y="257"/>
                  </a:lnTo>
                  <a:lnTo>
                    <a:pt x="845" y="258"/>
                  </a:lnTo>
                  <a:lnTo>
                    <a:pt x="845" y="260"/>
                  </a:lnTo>
                  <a:lnTo>
                    <a:pt x="845" y="261"/>
                  </a:lnTo>
                  <a:lnTo>
                    <a:pt x="844" y="263"/>
                  </a:lnTo>
                  <a:lnTo>
                    <a:pt x="843" y="268"/>
                  </a:lnTo>
                  <a:lnTo>
                    <a:pt x="843" y="268"/>
                  </a:lnTo>
                  <a:lnTo>
                    <a:pt x="843" y="270"/>
                  </a:lnTo>
                  <a:lnTo>
                    <a:pt x="843" y="270"/>
                  </a:lnTo>
                  <a:lnTo>
                    <a:pt x="844" y="272"/>
                  </a:lnTo>
                  <a:lnTo>
                    <a:pt x="844" y="273"/>
                  </a:lnTo>
                  <a:lnTo>
                    <a:pt x="845" y="275"/>
                  </a:lnTo>
                  <a:lnTo>
                    <a:pt x="848" y="278"/>
                  </a:lnTo>
                  <a:lnTo>
                    <a:pt x="851" y="280"/>
                  </a:lnTo>
                  <a:lnTo>
                    <a:pt x="854" y="282"/>
                  </a:lnTo>
                  <a:lnTo>
                    <a:pt x="861" y="287"/>
                  </a:lnTo>
                  <a:lnTo>
                    <a:pt x="863" y="288"/>
                  </a:lnTo>
                  <a:lnTo>
                    <a:pt x="865" y="290"/>
                  </a:lnTo>
                  <a:lnTo>
                    <a:pt x="868" y="293"/>
                  </a:lnTo>
                  <a:lnTo>
                    <a:pt x="874" y="300"/>
                  </a:lnTo>
                  <a:lnTo>
                    <a:pt x="880" y="307"/>
                  </a:lnTo>
                  <a:lnTo>
                    <a:pt x="881" y="308"/>
                  </a:lnTo>
                  <a:lnTo>
                    <a:pt x="881" y="308"/>
                  </a:lnTo>
                  <a:lnTo>
                    <a:pt x="880" y="309"/>
                  </a:lnTo>
                  <a:lnTo>
                    <a:pt x="879" y="310"/>
                  </a:lnTo>
                  <a:lnTo>
                    <a:pt x="876" y="315"/>
                  </a:lnTo>
                  <a:lnTo>
                    <a:pt x="873" y="317"/>
                  </a:lnTo>
                  <a:lnTo>
                    <a:pt x="871" y="319"/>
                  </a:lnTo>
                  <a:lnTo>
                    <a:pt x="867" y="321"/>
                  </a:lnTo>
                  <a:lnTo>
                    <a:pt x="864" y="323"/>
                  </a:lnTo>
                  <a:lnTo>
                    <a:pt x="859" y="325"/>
                  </a:lnTo>
                  <a:lnTo>
                    <a:pt x="852" y="326"/>
                  </a:lnTo>
                  <a:lnTo>
                    <a:pt x="846" y="328"/>
                  </a:lnTo>
                  <a:lnTo>
                    <a:pt x="844" y="328"/>
                  </a:lnTo>
                  <a:lnTo>
                    <a:pt x="842" y="329"/>
                  </a:lnTo>
                  <a:lnTo>
                    <a:pt x="841" y="330"/>
                  </a:lnTo>
                  <a:lnTo>
                    <a:pt x="840" y="330"/>
                  </a:lnTo>
                  <a:lnTo>
                    <a:pt x="839" y="332"/>
                  </a:lnTo>
                  <a:lnTo>
                    <a:pt x="838" y="334"/>
                  </a:lnTo>
                  <a:lnTo>
                    <a:pt x="835" y="340"/>
                  </a:lnTo>
                  <a:lnTo>
                    <a:pt x="831" y="345"/>
                  </a:lnTo>
                  <a:lnTo>
                    <a:pt x="831" y="348"/>
                  </a:lnTo>
                  <a:lnTo>
                    <a:pt x="830" y="349"/>
                  </a:lnTo>
                  <a:lnTo>
                    <a:pt x="829" y="351"/>
                  </a:lnTo>
                  <a:lnTo>
                    <a:pt x="827" y="360"/>
                  </a:lnTo>
                  <a:lnTo>
                    <a:pt x="826" y="363"/>
                  </a:lnTo>
                  <a:lnTo>
                    <a:pt x="826" y="365"/>
                  </a:lnTo>
                  <a:lnTo>
                    <a:pt x="825" y="367"/>
                  </a:lnTo>
                  <a:lnTo>
                    <a:pt x="824" y="369"/>
                  </a:lnTo>
                  <a:lnTo>
                    <a:pt x="819" y="376"/>
                  </a:lnTo>
                  <a:lnTo>
                    <a:pt x="817" y="378"/>
                  </a:lnTo>
                  <a:lnTo>
                    <a:pt x="816" y="381"/>
                  </a:lnTo>
                  <a:lnTo>
                    <a:pt x="814" y="388"/>
                  </a:lnTo>
                  <a:lnTo>
                    <a:pt x="813" y="391"/>
                  </a:lnTo>
                  <a:lnTo>
                    <a:pt x="811" y="393"/>
                  </a:lnTo>
                  <a:lnTo>
                    <a:pt x="810" y="395"/>
                  </a:lnTo>
                  <a:lnTo>
                    <a:pt x="808" y="397"/>
                  </a:lnTo>
                  <a:lnTo>
                    <a:pt x="801" y="405"/>
                  </a:lnTo>
                  <a:lnTo>
                    <a:pt x="797" y="410"/>
                  </a:lnTo>
                  <a:lnTo>
                    <a:pt x="795" y="411"/>
                  </a:lnTo>
                  <a:lnTo>
                    <a:pt x="791" y="415"/>
                  </a:lnTo>
                  <a:lnTo>
                    <a:pt x="789" y="420"/>
                  </a:lnTo>
                  <a:lnTo>
                    <a:pt x="786" y="423"/>
                  </a:lnTo>
                  <a:lnTo>
                    <a:pt x="785" y="425"/>
                  </a:lnTo>
                  <a:lnTo>
                    <a:pt x="784" y="428"/>
                  </a:lnTo>
                  <a:lnTo>
                    <a:pt x="783" y="431"/>
                  </a:lnTo>
                  <a:lnTo>
                    <a:pt x="784" y="432"/>
                  </a:lnTo>
                  <a:lnTo>
                    <a:pt x="784" y="434"/>
                  </a:lnTo>
                  <a:lnTo>
                    <a:pt x="785" y="435"/>
                  </a:lnTo>
                  <a:lnTo>
                    <a:pt x="786" y="436"/>
                  </a:lnTo>
                  <a:lnTo>
                    <a:pt x="787" y="437"/>
                  </a:lnTo>
                  <a:lnTo>
                    <a:pt x="789" y="437"/>
                  </a:lnTo>
                  <a:lnTo>
                    <a:pt x="795" y="437"/>
                  </a:lnTo>
                  <a:lnTo>
                    <a:pt x="798" y="437"/>
                  </a:lnTo>
                  <a:lnTo>
                    <a:pt x="799" y="438"/>
                  </a:lnTo>
                  <a:lnTo>
                    <a:pt x="801" y="439"/>
                  </a:lnTo>
                  <a:lnTo>
                    <a:pt x="803" y="440"/>
                  </a:lnTo>
                  <a:lnTo>
                    <a:pt x="804" y="440"/>
                  </a:lnTo>
                  <a:lnTo>
                    <a:pt x="806" y="442"/>
                  </a:lnTo>
                  <a:lnTo>
                    <a:pt x="808" y="445"/>
                  </a:lnTo>
                  <a:lnTo>
                    <a:pt x="809" y="446"/>
                  </a:lnTo>
                  <a:lnTo>
                    <a:pt x="812" y="453"/>
                  </a:lnTo>
                  <a:lnTo>
                    <a:pt x="814" y="455"/>
                  </a:lnTo>
                  <a:lnTo>
                    <a:pt x="816" y="457"/>
                  </a:lnTo>
                  <a:lnTo>
                    <a:pt x="818" y="460"/>
                  </a:lnTo>
                  <a:lnTo>
                    <a:pt x="821" y="462"/>
                  </a:lnTo>
                  <a:lnTo>
                    <a:pt x="824" y="463"/>
                  </a:lnTo>
                  <a:lnTo>
                    <a:pt x="828" y="465"/>
                  </a:lnTo>
                  <a:lnTo>
                    <a:pt x="835" y="468"/>
                  </a:lnTo>
                  <a:lnTo>
                    <a:pt x="838" y="470"/>
                  </a:lnTo>
                  <a:lnTo>
                    <a:pt x="841" y="471"/>
                  </a:lnTo>
                  <a:lnTo>
                    <a:pt x="844" y="473"/>
                  </a:lnTo>
                  <a:lnTo>
                    <a:pt x="846" y="475"/>
                  </a:lnTo>
                  <a:lnTo>
                    <a:pt x="850" y="477"/>
                  </a:lnTo>
                  <a:lnTo>
                    <a:pt x="851" y="479"/>
                  </a:lnTo>
                  <a:lnTo>
                    <a:pt x="854" y="480"/>
                  </a:lnTo>
                  <a:lnTo>
                    <a:pt x="856" y="482"/>
                  </a:lnTo>
                  <a:lnTo>
                    <a:pt x="857" y="484"/>
                  </a:lnTo>
                  <a:lnTo>
                    <a:pt x="859" y="486"/>
                  </a:lnTo>
                  <a:lnTo>
                    <a:pt x="861" y="490"/>
                  </a:lnTo>
                  <a:lnTo>
                    <a:pt x="866" y="499"/>
                  </a:lnTo>
                  <a:lnTo>
                    <a:pt x="867" y="502"/>
                  </a:lnTo>
                  <a:lnTo>
                    <a:pt x="868" y="502"/>
                  </a:lnTo>
                  <a:lnTo>
                    <a:pt x="866" y="504"/>
                  </a:lnTo>
                  <a:lnTo>
                    <a:pt x="862" y="509"/>
                  </a:lnTo>
                  <a:lnTo>
                    <a:pt x="861" y="510"/>
                  </a:lnTo>
                  <a:lnTo>
                    <a:pt x="860" y="510"/>
                  </a:lnTo>
                  <a:lnTo>
                    <a:pt x="859" y="511"/>
                  </a:lnTo>
                  <a:lnTo>
                    <a:pt x="858" y="512"/>
                  </a:lnTo>
                  <a:lnTo>
                    <a:pt x="854" y="512"/>
                  </a:lnTo>
                  <a:lnTo>
                    <a:pt x="854" y="512"/>
                  </a:lnTo>
                  <a:lnTo>
                    <a:pt x="853" y="512"/>
                  </a:lnTo>
                  <a:lnTo>
                    <a:pt x="852" y="514"/>
                  </a:lnTo>
                  <a:lnTo>
                    <a:pt x="852" y="516"/>
                  </a:lnTo>
                  <a:lnTo>
                    <a:pt x="851" y="517"/>
                  </a:lnTo>
                  <a:lnTo>
                    <a:pt x="851" y="520"/>
                  </a:lnTo>
                  <a:lnTo>
                    <a:pt x="849" y="522"/>
                  </a:lnTo>
                  <a:lnTo>
                    <a:pt x="846" y="525"/>
                  </a:lnTo>
                  <a:lnTo>
                    <a:pt x="846" y="526"/>
                  </a:lnTo>
                  <a:lnTo>
                    <a:pt x="846" y="527"/>
                  </a:lnTo>
                  <a:lnTo>
                    <a:pt x="846" y="527"/>
                  </a:lnTo>
                  <a:lnTo>
                    <a:pt x="846" y="528"/>
                  </a:lnTo>
                  <a:lnTo>
                    <a:pt x="848" y="529"/>
                  </a:lnTo>
                  <a:lnTo>
                    <a:pt x="848" y="530"/>
                  </a:lnTo>
                  <a:lnTo>
                    <a:pt x="847" y="530"/>
                  </a:lnTo>
                  <a:lnTo>
                    <a:pt x="845" y="532"/>
                  </a:lnTo>
                  <a:lnTo>
                    <a:pt x="842" y="534"/>
                  </a:lnTo>
                  <a:lnTo>
                    <a:pt x="841" y="535"/>
                  </a:lnTo>
                  <a:lnTo>
                    <a:pt x="839" y="535"/>
                  </a:lnTo>
                  <a:lnTo>
                    <a:pt x="837" y="536"/>
                  </a:lnTo>
                  <a:lnTo>
                    <a:pt x="836" y="537"/>
                  </a:lnTo>
                  <a:lnTo>
                    <a:pt x="836" y="538"/>
                  </a:lnTo>
                  <a:lnTo>
                    <a:pt x="834" y="540"/>
                  </a:lnTo>
                  <a:lnTo>
                    <a:pt x="830" y="551"/>
                  </a:lnTo>
                  <a:lnTo>
                    <a:pt x="829" y="555"/>
                  </a:lnTo>
                  <a:lnTo>
                    <a:pt x="828" y="557"/>
                  </a:lnTo>
                  <a:lnTo>
                    <a:pt x="827" y="557"/>
                  </a:lnTo>
                  <a:lnTo>
                    <a:pt x="826" y="557"/>
                  </a:lnTo>
                  <a:lnTo>
                    <a:pt x="824" y="556"/>
                  </a:lnTo>
                  <a:lnTo>
                    <a:pt x="821" y="555"/>
                  </a:lnTo>
                  <a:lnTo>
                    <a:pt x="819" y="553"/>
                  </a:lnTo>
                  <a:lnTo>
                    <a:pt x="814" y="550"/>
                  </a:lnTo>
                  <a:lnTo>
                    <a:pt x="809" y="546"/>
                  </a:lnTo>
                  <a:lnTo>
                    <a:pt x="805" y="542"/>
                  </a:lnTo>
                  <a:lnTo>
                    <a:pt x="801" y="538"/>
                  </a:lnTo>
                  <a:lnTo>
                    <a:pt x="797" y="534"/>
                  </a:lnTo>
                  <a:lnTo>
                    <a:pt x="789" y="523"/>
                  </a:lnTo>
                  <a:lnTo>
                    <a:pt x="785" y="519"/>
                  </a:lnTo>
                  <a:lnTo>
                    <a:pt x="782" y="516"/>
                  </a:lnTo>
                  <a:lnTo>
                    <a:pt x="779" y="514"/>
                  </a:lnTo>
                  <a:lnTo>
                    <a:pt x="776" y="511"/>
                  </a:lnTo>
                  <a:lnTo>
                    <a:pt x="772" y="509"/>
                  </a:lnTo>
                  <a:lnTo>
                    <a:pt x="769" y="507"/>
                  </a:lnTo>
                  <a:lnTo>
                    <a:pt x="765" y="505"/>
                  </a:lnTo>
                  <a:lnTo>
                    <a:pt x="762" y="504"/>
                  </a:lnTo>
                  <a:lnTo>
                    <a:pt x="760" y="503"/>
                  </a:lnTo>
                  <a:lnTo>
                    <a:pt x="756" y="502"/>
                  </a:lnTo>
                  <a:lnTo>
                    <a:pt x="749" y="501"/>
                  </a:lnTo>
                  <a:lnTo>
                    <a:pt x="746" y="500"/>
                  </a:lnTo>
                  <a:lnTo>
                    <a:pt x="733" y="497"/>
                  </a:lnTo>
                  <a:lnTo>
                    <a:pt x="729" y="496"/>
                  </a:lnTo>
                  <a:lnTo>
                    <a:pt x="726" y="495"/>
                  </a:lnTo>
                  <a:lnTo>
                    <a:pt x="722" y="494"/>
                  </a:lnTo>
                  <a:lnTo>
                    <a:pt x="719" y="492"/>
                  </a:lnTo>
                  <a:lnTo>
                    <a:pt x="716" y="491"/>
                  </a:lnTo>
                  <a:lnTo>
                    <a:pt x="713" y="490"/>
                  </a:lnTo>
                  <a:lnTo>
                    <a:pt x="706" y="485"/>
                  </a:lnTo>
                  <a:lnTo>
                    <a:pt x="694" y="477"/>
                  </a:lnTo>
                  <a:lnTo>
                    <a:pt x="682" y="468"/>
                  </a:lnTo>
                  <a:lnTo>
                    <a:pt x="678" y="465"/>
                  </a:lnTo>
                  <a:lnTo>
                    <a:pt x="674" y="463"/>
                  </a:lnTo>
                  <a:lnTo>
                    <a:pt x="668" y="460"/>
                  </a:lnTo>
                  <a:lnTo>
                    <a:pt x="663" y="458"/>
                  </a:lnTo>
                  <a:lnTo>
                    <a:pt x="657" y="457"/>
                  </a:lnTo>
                  <a:lnTo>
                    <a:pt x="654" y="456"/>
                  </a:lnTo>
                  <a:lnTo>
                    <a:pt x="652" y="455"/>
                  </a:lnTo>
                  <a:lnTo>
                    <a:pt x="647" y="455"/>
                  </a:lnTo>
                  <a:lnTo>
                    <a:pt x="641" y="455"/>
                  </a:lnTo>
                  <a:lnTo>
                    <a:pt x="636" y="455"/>
                  </a:lnTo>
                  <a:lnTo>
                    <a:pt x="628" y="456"/>
                  </a:lnTo>
                  <a:lnTo>
                    <a:pt x="625" y="456"/>
                  </a:lnTo>
                  <a:lnTo>
                    <a:pt x="622" y="456"/>
                  </a:lnTo>
                  <a:lnTo>
                    <a:pt x="617" y="455"/>
                  </a:lnTo>
                  <a:lnTo>
                    <a:pt x="612" y="455"/>
                  </a:lnTo>
                  <a:lnTo>
                    <a:pt x="609" y="454"/>
                  </a:lnTo>
                  <a:lnTo>
                    <a:pt x="607" y="453"/>
                  </a:lnTo>
                  <a:lnTo>
                    <a:pt x="604" y="452"/>
                  </a:lnTo>
                  <a:lnTo>
                    <a:pt x="598" y="449"/>
                  </a:lnTo>
                  <a:lnTo>
                    <a:pt x="595" y="448"/>
                  </a:lnTo>
                  <a:lnTo>
                    <a:pt x="594" y="447"/>
                  </a:lnTo>
                  <a:lnTo>
                    <a:pt x="593" y="447"/>
                  </a:lnTo>
                  <a:lnTo>
                    <a:pt x="592" y="447"/>
                  </a:lnTo>
                  <a:lnTo>
                    <a:pt x="591" y="447"/>
                  </a:lnTo>
                  <a:lnTo>
                    <a:pt x="590" y="448"/>
                  </a:lnTo>
                  <a:lnTo>
                    <a:pt x="589" y="449"/>
                  </a:lnTo>
                  <a:lnTo>
                    <a:pt x="588" y="450"/>
                  </a:lnTo>
                  <a:lnTo>
                    <a:pt x="587" y="452"/>
                  </a:lnTo>
                  <a:lnTo>
                    <a:pt x="586" y="455"/>
                  </a:lnTo>
                  <a:lnTo>
                    <a:pt x="584" y="462"/>
                  </a:lnTo>
                  <a:lnTo>
                    <a:pt x="582" y="467"/>
                  </a:lnTo>
                  <a:lnTo>
                    <a:pt x="579" y="472"/>
                  </a:lnTo>
                  <a:lnTo>
                    <a:pt x="576" y="479"/>
                  </a:lnTo>
                  <a:lnTo>
                    <a:pt x="574" y="482"/>
                  </a:lnTo>
                  <a:lnTo>
                    <a:pt x="572" y="484"/>
                  </a:lnTo>
                  <a:lnTo>
                    <a:pt x="570" y="485"/>
                  </a:lnTo>
                  <a:lnTo>
                    <a:pt x="568" y="487"/>
                  </a:lnTo>
                  <a:lnTo>
                    <a:pt x="567" y="487"/>
                  </a:lnTo>
                  <a:lnTo>
                    <a:pt x="565" y="488"/>
                  </a:lnTo>
                  <a:lnTo>
                    <a:pt x="562" y="489"/>
                  </a:lnTo>
                  <a:lnTo>
                    <a:pt x="559" y="489"/>
                  </a:lnTo>
                  <a:lnTo>
                    <a:pt x="551" y="490"/>
                  </a:lnTo>
                  <a:lnTo>
                    <a:pt x="544" y="490"/>
                  </a:lnTo>
                  <a:lnTo>
                    <a:pt x="539" y="491"/>
                  </a:lnTo>
                  <a:lnTo>
                    <a:pt x="534" y="492"/>
                  </a:lnTo>
                  <a:lnTo>
                    <a:pt x="529" y="493"/>
                  </a:lnTo>
                  <a:lnTo>
                    <a:pt x="524" y="495"/>
                  </a:lnTo>
                  <a:lnTo>
                    <a:pt x="519" y="497"/>
                  </a:lnTo>
                  <a:lnTo>
                    <a:pt x="509" y="502"/>
                  </a:lnTo>
                  <a:lnTo>
                    <a:pt x="506" y="504"/>
                  </a:lnTo>
                  <a:lnTo>
                    <a:pt x="503" y="505"/>
                  </a:lnTo>
                  <a:lnTo>
                    <a:pt x="501" y="505"/>
                  </a:lnTo>
                  <a:lnTo>
                    <a:pt x="499" y="505"/>
                  </a:lnTo>
                  <a:lnTo>
                    <a:pt x="492" y="506"/>
                  </a:lnTo>
                  <a:lnTo>
                    <a:pt x="488" y="506"/>
                  </a:lnTo>
                  <a:lnTo>
                    <a:pt x="487" y="506"/>
                  </a:lnTo>
                  <a:lnTo>
                    <a:pt x="486" y="506"/>
                  </a:lnTo>
                  <a:lnTo>
                    <a:pt x="484" y="505"/>
                  </a:lnTo>
                  <a:lnTo>
                    <a:pt x="483" y="505"/>
                  </a:lnTo>
                  <a:lnTo>
                    <a:pt x="482" y="504"/>
                  </a:lnTo>
                  <a:lnTo>
                    <a:pt x="482" y="503"/>
                  </a:lnTo>
                  <a:lnTo>
                    <a:pt x="481" y="502"/>
                  </a:lnTo>
                  <a:lnTo>
                    <a:pt x="480" y="500"/>
                  </a:lnTo>
                  <a:lnTo>
                    <a:pt x="480" y="498"/>
                  </a:lnTo>
                  <a:lnTo>
                    <a:pt x="480" y="495"/>
                  </a:lnTo>
                  <a:lnTo>
                    <a:pt x="481" y="485"/>
                  </a:lnTo>
                  <a:lnTo>
                    <a:pt x="481" y="482"/>
                  </a:lnTo>
                  <a:lnTo>
                    <a:pt x="480" y="480"/>
                  </a:lnTo>
                  <a:lnTo>
                    <a:pt x="480" y="477"/>
                  </a:lnTo>
                  <a:lnTo>
                    <a:pt x="480" y="475"/>
                  </a:lnTo>
                  <a:lnTo>
                    <a:pt x="478" y="468"/>
                  </a:lnTo>
                  <a:lnTo>
                    <a:pt x="477" y="465"/>
                  </a:lnTo>
                  <a:lnTo>
                    <a:pt x="475" y="457"/>
                  </a:lnTo>
                  <a:lnTo>
                    <a:pt x="472" y="451"/>
                  </a:lnTo>
                  <a:lnTo>
                    <a:pt x="471" y="447"/>
                  </a:lnTo>
                  <a:lnTo>
                    <a:pt x="470" y="445"/>
                  </a:lnTo>
                  <a:lnTo>
                    <a:pt x="468" y="443"/>
                  </a:lnTo>
                  <a:lnTo>
                    <a:pt x="467" y="442"/>
                  </a:lnTo>
                  <a:lnTo>
                    <a:pt x="465" y="440"/>
                  </a:lnTo>
                  <a:lnTo>
                    <a:pt x="461" y="438"/>
                  </a:lnTo>
                  <a:lnTo>
                    <a:pt x="457" y="437"/>
                  </a:lnTo>
                  <a:lnTo>
                    <a:pt x="454" y="435"/>
                  </a:lnTo>
                  <a:lnTo>
                    <a:pt x="450" y="435"/>
                  </a:lnTo>
                  <a:lnTo>
                    <a:pt x="445" y="434"/>
                  </a:lnTo>
                  <a:lnTo>
                    <a:pt x="438" y="434"/>
                  </a:lnTo>
                  <a:lnTo>
                    <a:pt x="434" y="433"/>
                  </a:lnTo>
                  <a:lnTo>
                    <a:pt x="425" y="434"/>
                  </a:lnTo>
                  <a:lnTo>
                    <a:pt x="422" y="433"/>
                  </a:lnTo>
                  <a:lnTo>
                    <a:pt x="415" y="432"/>
                  </a:lnTo>
                  <a:lnTo>
                    <a:pt x="412" y="432"/>
                  </a:lnTo>
                  <a:lnTo>
                    <a:pt x="409" y="431"/>
                  </a:lnTo>
                  <a:lnTo>
                    <a:pt x="405" y="430"/>
                  </a:lnTo>
                  <a:lnTo>
                    <a:pt x="403" y="430"/>
                  </a:lnTo>
                  <a:lnTo>
                    <a:pt x="400" y="428"/>
                  </a:lnTo>
                  <a:lnTo>
                    <a:pt x="398" y="427"/>
                  </a:lnTo>
                  <a:lnTo>
                    <a:pt x="396" y="426"/>
                  </a:lnTo>
                  <a:lnTo>
                    <a:pt x="395" y="425"/>
                  </a:lnTo>
                  <a:lnTo>
                    <a:pt x="389" y="419"/>
                  </a:lnTo>
                  <a:lnTo>
                    <a:pt x="386" y="417"/>
                  </a:lnTo>
                  <a:lnTo>
                    <a:pt x="385" y="416"/>
                  </a:lnTo>
                  <a:lnTo>
                    <a:pt x="383" y="415"/>
                  </a:lnTo>
                  <a:lnTo>
                    <a:pt x="382" y="414"/>
                  </a:lnTo>
                  <a:lnTo>
                    <a:pt x="380" y="413"/>
                  </a:lnTo>
                  <a:lnTo>
                    <a:pt x="377" y="412"/>
                  </a:lnTo>
                  <a:lnTo>
                    <a:pt x="375" y="412"/>
                  </a:lnTo>
                  <a:lnTo>
                    <a:pt x="367" y="411"/>
                  </a:lnTo>
                  <a:lnTo>
                    <a:pt x="358" y="409"/>
                  </a:lnTo>
                  <a:lnTo>
                    <a:pt x="354" y="408"/>
                  </a:lnTo>
                  <a:lnTo>
                    <a:pt x="351" y="408"/>
                  </a:lnTo>
                  <a:lnTo>
                    <a:pt x="349" y="408"/>
                  </a:lnTo>
                  <a:lnTo>
                    <a:pt x="346" y="408"/>
                  </a:lnTo>
                  <a:lnTo>
                    <a:pt x="343" y="409"/>
                  </a:lnTo>
                  <a:lnTo>
                    <a:pt x="341" y="410"/>
                  </a:lnTo>
                  <a:lnTo>
                    <a:pt x="338" y="411"/>
                  </a:lnTo>
                  <a:lnTo>
                    <a:pt x="335" y="412"/>
                  </a:lnTo>
                  <a:lnTo>
                    <a:pt x="334" y="414"/>
                  </a:lnTo>
                  <a:lnTo>
                    <a:pt x="332" y="415"/>
                  </a:lnTo>
                  <a:lnTo>
                    <a:pt x="331" y="416"/>
                  </a:lnTo>
                  <a:lnTo>
                    <a:pt x="330" y="417"/>
                  </a:lnTo>
                  <a:lnTo>
                    <a:pt x="330" y="418"/>
                  </a:lnTo>
                  <a:lnTo>
                    <a:pt x="329" y="420"/>
                  </a:lnTo>
                  <a:lnTo>
                    <a:pt x="328" y="422"/>
                  </a:lnTo>
                  <a:lnTo>
                    <a:pt x="327" y="427"/>
                  </a:lnTo>
                  <a:lnTo>
                    <a:pt x="326" y="431"/>
                  </a:lnTo>
                  <a:lnTo>
                    <a:pt x="325" y="435"/>
                  </a:lnTo>
                  <a:lnTo>
                    <a:pt x="324" y="438"/>
                  </a:lnTo>
                  <a:lnTo>
                    <a:pt x="322" y="442"/>
                  </a:lnTo>
                  <a:lnTo>
                    <a:pt x="317" y="452"/>
                  </a:lnTo>
                  <a:lnTo>
                    <a:pt x="316" y="455"/>
                  </a:lnTo>
                  <a:lnTo>
                    <a:pt x="315" y="459"/>
                  </a:lnTo>
                  <a:lnTo>
                    <a:pt x="313" y="462"/>
                  </a:lnTo>
                  <a:lnTo>
                    <a:pt x="312" y="465"/>
                  </a:lnTo>
                  <a:lnTo>
                    <a:pt x="312" y="469"/>
                  </a:lnTo>
                  <a:lnTo>
                    <a:pt x="312" y="472"/>
                  </a:lnTo>
                  <a:lnTo>
                    <a:pt x="312" y="477"/>
                  </a:lnTo>
                  <a:lnTo>
                    <a:pt x="311" y="482"/>
                  </a:lnTo>
                  <a:lnTo>
                    <a:pt x="312" y="489"/>
                  </a:lnTo>
                  <a:lnTo>
                    <a:pt x="312" y="494"/>
                  </a:lnTo>
                  <a:lnTo>
                    <a:pt x="313" y="503"/>
                  </a:lnTo>
                  <a:lnTo>
                    <a:pt x="315" y="516"/>
                  </a:lnTo>
                  <a:lnTo>
                    <a:pt x="316" y="527"/>
                  </a:lnTo>
                  <a:lnTo>
                    <a:pt x="316" y="531"/>
                  </a:lnTo>
                  <a:lnTo>
                    <a:pt x="320" y="548"/>
                  </a:lnTo>
                  <a:lnTo>
                    <a:pt x="320" y="553"/>
                  </a:lnTo>
                  <a:lnTo>
                    <a:pt x="320" y="557"/>
                  </a:lnTo>
                  <a:lnTo>
                    <a:pt x="321" y="561"/>
                  </a:lnTo>
                  <a:lnTo>
                    <a:pt x="321" y="565"/>
                  </a:lnTo>
                  <a:lnTo>
                    <a:pt x="320" y="569"/>
                  </a:lnTo>
                  <a:lnTo>
                    <a:pt x="320" y="574"/>
                  </a:lnTo>
                  <a:lnTo>
                    <a:pt x="319" y="581"/>
                  </a:lnTo>
                  <a:lnTo>
                    <a:pt x="315" y="598"/>
                  </a:lnTo>
                  <a:lnTo>
                    <a:pt x="313" y="602"/>
                  </a:lnTo>
                  <a:lnTo>
                    <a:pt x="312" y="607"/>
                  </a:lnTo>
                  <a:lnTo>
                    <a:pt x="311" y="610"/>
                  </a:lnTo>
                  <a:lnTo>
                    <a:pt x="310" y="615"/>
                  </a:lnTo>
                  <a:lnTo>
                    <a:pt x="310" y="620"/>
                  </a:lnTo>
                  <a:lnTo>
                    <a:pt x="309" y="625"/>
                  </a:lnTo>
                  <a:lnTo>
                    <a:pt x="309" y="630"/>
                  </a:lnTo>
                  <a:lnTo>
                    <a:pt x="310" y="640"/>
                  </a:lnTo>
                  <a:lnTo>
                    <a:pt x="310" y="643"/>
                  </a:lnTo>
                  <a:lnTo>
                    <a:pt x="310" y="646"/>
                  </a:lnTo>
                  <a:lnTo>
                    <a:pt x="309" y="648"/>
                  </a:lnTo>
                  <a:lnTo>
                    <a:pt x="308" y="650"/>
                  </a:lnTo>
                  <a:lnTo>
                    <a:pt x="305" y="657"/>
                  </a:lnTo>
                  <a:lnTo>
                    <a:pt x="304" y="662"/>
                  </a:lnTo>
                  <a:lnTo>
                    <a:pt x="300" y="675"/>
                  </a:lnTo>
                  <a:lnTo>
                    <a:pt x="297" y="685"/>
                  </a:lnTo>
                  <a:lnTo>
                    <a:pt x="295" y="689"/>
                  </a:lnTo>
                  <a:lnTo>
                    <a:pt x="295" y="694"/>
                  </a:lnTo>
                  <a:lnTo>
                    <a:pt x="294" y="699"/>
                  </a:lnTo>
                  <a:lnTo>
                    <a:pt x="293" y="705"/>
                  </a:lnTo>
                  <a:lnTo>
                    <a:pt x="292" y="710"/>
                  </a:lnTo>
                  <a:lnTo>
                    <a:pt x="292" y="714"/>
                  </a:lnTo>
                  <a:lnTo>
                    <a:pt x="293" y="717"/>
                  </a:lnTo>
                  <a:lnTo>
                    <a:pt x="294" y="719"/>
                  </a:lnTo>
                  <a:lnTo>
                    <a:pt x="295" y="722"/>
                  </a:lnTo>
                  <a:lnTo>
                    <a:pt x="295" y="724"/>
                  </a:lnTo>
                  <a:lnTo>
                    <a:pt x="297" y="726"/>
                  </a:lnTo>
                  <a:lnTo>
                    <a:pt x="301" y="732"/>
                  </a:lnTo>
                  <a:lnTo>
                    <a:pt x="303" y="735"/>
                  </a:lnTo>
                  <a:lnTo>
                    <a:pt x="304" y="737"/>
                  </a:lnTo>
                  <a:lnTo>
                    <a:pt x="305" y="739"/>
                  </a:lnTo>
                  <a:lnTo>
                    <a:pt x="305" y="742"/>
                  </a:lnTo>
                  <a:lnTo>
                    <a:pt x="306" y="744"/>
                  </a:lnTo>
                  <a:lnTo>
                    <a:pt x="305" y="746"/>
                  </a:lnTo>
                  <a:lnTo>
                    <a:pt x="305" y="748"/>
                  </a:lnTo>
                  <a:lnTo>
                    <a:pt x="304" y="750"/>
                  </a:lnTo>
                  <a:lnTo>
                    <a:pt x="302" y="753"/>
                  </a:lnTo>
                  <a:lnTo>
                    <a:pt x="301" y="755"/>
                  </a:lnTo>
                  <a:lnTo>
                    <a:pt x="298" y="757"/>
                  </a:lnTo>
                  <a:lnTo>
                    <a:pt x="296" y="759"/>
                  </a:lnTo>
                  <a:lnTo>
                    <a:pt x="293" y="760"/>
                  </a:lnTo>
                  <a:lnTo>
                    <a:pt x="291" y="761"/>
                  </a:lnTo>
                  <a:lnTo>
                    <a:pt x="288" y="761"/>
                  </a:lnTo>
                  <a:lnTo>
                    <a:pt x="285" y="761"/>
                  </a:lnTo>
                  <a:lnTo>
                    <a:pt x="281" y="761"/>
                  </a:lnTo>
                  <a:lnTo>
                    <a:pt x="277" y="760"/>
                  </a:lnTo>
                  <a:lnTo>
                    <a:pt x="272" y="759"/>
                  </a:lnTo>
                  <a:lnTo>
                    <a:pt x="267" y="758"/>
                  </a:lnTo>
                  <a:lnTo>
                    <a:pt x="253" y="754"/>
                  </a:lnTo>
                  <a:lnTo>
                    <a:pt x="243" y="751"/>
                  </a:lnTo>
                  <a:lnTo>
                    <a:pt x="240" y="750"/>
                  </a:lnTo>
                  <a:lnTo>
                    <a:pt x="241" y="750"/>
                  </a:lnTo>
                  <a:lnTo>
                    <a:pt x="241" y="749"/>
                  </a:lnTo>
                  <a:lnTo>
                    <a:pt x="242" y="749"/>
                  </a:lnTo>
                  <a:lnTo>
                    <a:pt x="242" y="748"/>
                  </a:lnTo>
                  <a:lnTo>
                    <a:pt x="243" y="746"/>
                  </a:lnTo>
                  <a:lnTo>
                    <a:pt x="243" y="743"/>
                  </a:lnTo>
                  <a:lnTo>
                    <a:pt x="241" y="739"/>
                  </a:lnTo>
                  <a:lnTo>
                    <a:pt x="239" y="730"/>
                  </a:lnTo>
                  <a:lnTo>
                    <a:pt x="238" y="725"/>
                  </a:lnTo>
                  <a:lnTo>
                    <a:pt x="237" y="719"/>
                  </a:lnTo>
                  <a:lnTo>
                    <a:pt x="235" y="709"/>
                  </a:lnTo>
                  <a:lnTo>
                    <a:pt x="235" y="707"/>
                  </a:lnTo>
                  <a:lnTo>
                    <a:pt x="235" y="704"/>
                  </a:lnTo>
                  <a:lnTo>
                    <a:pt x="234" y="701"/>
                  </a:lnTo>
                  <a:lnTo>
                    <a:pt x="232" y="697"/>
                  </a:lnTo>
                  <a:lnTo>
                    <a:pt x="225" y="684"/>
                  </a:lnTo>
                  <a:lnTo>
                    <a:pt x="224" y="679"/>
                  </a:lnTo>
                  <a:lnTo>
                    <a:pt x="223" y="677"/>
                  </a:lnTo>
                  <a:lnTo>
                    <a:pt x="222" y="674"/>
                  </a:lnTo>
                  <a:lnTo>
                    <a:pt x="220" y="666"/>
                  </a:lnTo>
                  <a:lnTo>
                    <a:pt x="220" y="662"/>
                  </a:lnTo>
                  <a:lnTo>
                    <a:pt x="218" y="658"/>
                  </a:lnTo>
                  <a:lnTo>
                    <a:pt x="218" y="656"/>
                  </a:lnTo>
                  <a:lnTo>
                    <a:pt x="217" y="654"/>
                  </a:lnTo>
                  <a:lnTo>
                    <a:pt x="215" y="652"/>
                  </a:lnTo>
                  <a:lnTo>
                    <a:pt x="213" y="650"/>
                  </a:lnTo>
                  <a:lnTo>
                    <a:pt x="212" y="649"/>
                  </a:lnTo>
                  <a:lnTo>
                    <a:pt x="210" y="648"/>
                  </a:lnTo>
                  <a:lnTo>
                    <a:pt x="208" y="647"/>
                  </a:lnTo>
                  <a:lnTo>
                    <a:pt x="206" y="647"/>
                  </a:lnTo>
                  <a:lnTo>
                    <a:pt x="195" y="644"/>
                  </a:lnTo>
                  <a:lnTo>
                    <a:pt x="192" y="643"/>
                  </a:lnTo>
                  <a:lnTo>
                    <a:pt x="188" y="642"/>
                  </a:lnTo>
                  <a:lnTo>
                    <a:pt x="183" y="639"/>
                  </a:lnTo>
                  <a:lnTo>
                    <a:pt x="180" y="638"/>
                  </a:lnTo>
                  <a:lnTo>
                    <a:pt x="176" y="636"/>
                  </a:lnTo>
                  <a:lnTo>
                    <a:pt x="173" y="634"/>
                  </a:lnTo>
                  <a:lnTo>
                    <a:pt x="170" y="632"/>
                  </a:lnTo>
                  <a:lnTo>
                    <a:pt x="168" y="630"/>
                  </a:lnTo>
                  <a:lnTo>
                    <a:pt x="165" y="628"/>
                  </a:lnTo>
                  <a:lnTo>
                    <a:pt x="163" y="626"/>
                  </a:lnTo>
                  <a:lnTo>
                    <a:pt x="160" y="623"/>
                  </a:lnTo>
                  <a:lnTo>
                    <a:pt x="158" y="620"/>
                  </a:lnTo>
                  <a:lnTo>
                    <a:pt x="156" y="617"/>
                  </a:lnTo>
                  <a:lnTo>
                    <a:pt x="154" y="615"/>
                  </a:lnTo>
                  <a:lnTo>
                    <a:pt x="152" y="611"/>
                  </a:lnTo>
                  <a:lnTo>
                    <a:pt x="150" y="608"/>
                  </a:lnTo>
                  <a:lnTo>
                    <a:pt x="149" y="605"/>
                  </a:lnTo>
                  <a:lnTo>
                    <a:pt x="148" y="603"/>
                  </a:lnTo>
                  <a:lnTo>
                    <a:pt x="147" y="599"/>
                  </a:lnTo>
                  <a:lnTo>
                    <a:pt x="145" y="590"/>
                  </a:lnTo>
                  <a:lnTo>
                    <a:pt x="145" y="585"/>
                  </a:lnTo>
                  <a:lnTo>
                    <a:pt x="143" y="582"/>
                  </a:lnTo>
                  <a:lnTo>
                    <a:pt x="139" y="575"/>
                  </a:lnTo>
                  <a:lnTo>
                    <a:pt x="138" y="570"/>
                  </a:lnTo>
                  <a:lnTo>
                    <a:pt x="135" y="563"/>
                  </a:lnTo>
                  <a:lnTo>
                    <a:pt x="134" y="557"/>
                  </a:lnTo>
                  <a:lnTo>
                    <a:pt x="133" y="555"/>
                  </a:lnTo>
                  <a:lnTo>
                    <a:pt x="133" y="552"/>
                  </a:lnTo>
                  <a:lnTo>
                    <a:pt x="132" y="550"/>
                  </a:lnTo>
                  <a:lnTo>
                    <a:pt x="131" y="550"/>
                  </a:lnTo>
                  <a:lnTo>
                    <a:pt x="130" y="549"/>
                  </a:lnTo>
                  <a:lnTo>
                    <a:pt x="128" y="547"/>
                  </a:lnTo>
                  <a:lnTo>
                    <a:pt x="126" y="546"/>
                  </a:lnTo>
                  <a:lnTo>
                    <a:pt x="118" y="542"/>
                  </a:lnTo>
                  <a:lnTo>
                    <a:pt x="116" y="541"/>
                  </a:lnTo>
                  <a:lnTo>
                    <a:pt x="115" y="540"/>
                  </a:lnTo>
                  <a:lnTo>
                    <a:pt x="113" y="539"/>
                  </a:lnTo>
                  <a:lnTo>
                    <a:pt x="113" y="537"/>
                  </a:lnTo>
                  <a:lnTo>
                    <a:pt x="112" y="536"/>
                  </a:lnTo>
                  <a:lnTo>
                    <a:pt x="111" y="535"/>
                  </a:lnTo>
                  <a:lnTo>
                    <a:pt x="110" y="532"/>
                  </a:lnTo>
                  <a:lnTo>
                    <a:pt x="111" y="530"/>
                  </a:lnTo>
                  <a:lnTo>
                    <a:pt x="112" y="527"/>
                  </a:lnTo>
                  <a:lnTo>
                    <a:pt x="113" y="525"/>
                  </a:lnTo>
                  <a:lnTo>
                    <a:pt x="114" y="522"/>
                  </a:lnTo>
                  <a:lnTo>
                    <a:pt x="115" y="521"/>
                  </a:lnTo>
                  <a:lnTo>
                    <a:pt x="118" y="519"/>
                  </a:lnTo>
                  <a:lnTo>
                    <a:pt x="123" y="515"/>
                  </a:lnTo>
                  <a:lnTo>
                    <a:pt x="124" y="514"/>
                  </a:lnTo>
                  <a:lnTo>
                    <a:pt x="125" y="513"/>
                  </a:lnTo>
                  <a:lnTo>
                    <a:pt x="125" y="511"/>
                  </a:lnTo>
                  <a:lnTo>
                    <a:pt x="126" y="509"/>
                  </a:lnTo>
                  <a:lnTo>
                    <a:pt x="126" y="507"/>
                  </a:lnTo>
                  <a:lnTo>
                    <a:pt x="126" y="506"/>
                  </a:lnTo>
                  <a:lnTo>
                    <a:pt x="126" y="505"/>
                  </a:lnTo>
                  <a:lnTo>
                    <a:pt x="125" y="505"/>
                  </a:lnTo>
                  <a:lnTo>
                    <a:pt x="125" y="504"/>
                  </a:lnTo>
                  <a:lnTo>
                    <a:pt x="123" y="503"/>
                  </a:lnTo>
                  <a:lnTo>
                    <a:pt x="122" y="503"/>
                  </a:lnTo>
                  <a:lnTo>
                    <a:pt x="120" y="503"/>
                  </a:lnTo>
                  <a:lnTo>
                    <a:pt x="118" y="503"/>
                  </a:lnTo>
                  <a:lnTo>
                    <a:pt x="110" y="505"/>
                  </a:lnTo>
                  <a:lnTo>
                    <a:pt x="107" y="505"/>
                  </a:lnTo>
                  <a:lnTo>
                    <a:pt x="104" y="505"/>
                  </a:lnTo>
                  <a:lnTo>
                    <a:pt x="103" y="504"/>
                  </a:lnTo>
                  <a:lnTo>
                    <a:pt x="101" y="503"/>
                  </a:lnTo>
                  <a:lnTo>
                    <a:pt x="99" y="502"/>
                  </a:lnTo>
                  <a:lnTo>
                    <a:pt x="97" y="502"/>
                  </a:lnTo>
                  <a:lnTo>
                    <a:pt x="95" y="500"/>
                  </a:lnTo>
                  <a:lnTo>
                    <a:pt x="93" y="499"/>
                  </a:lnTo>
                  <a:lnTo>
                    <a:pt x="90" y="497"/>
                  </a:lnTo>
                  <a:lnTo>
                    <a:pt x="88" y="495"/>
                  </a:lnTo>
                  <a:lnTo>
                    <a:pt x="86" y="492"/>
                  </a:lnTo>
                  <a:lnTo>
                    <a:pt x="85" y="490"/>
                  </a:lnTo>
                  <a:lnTo>
                    <a:pt x="83" y="487"/>
                  </a:lnTo>
                  <a:lnTo>
                    <a:pt x="82" y="485"/>
                  </a:lnTo>
                  <a:lnTo>
                    <a:pt x="81" y="482"/>
                  </a:lnTo>
                  <a:lnTo>
                    <a:pt x="80" y="480"/>
                  </a:lnTo>
                  <a:lnTo>
                    <a:pt x="81" y="477"/>
                  </a:lnTo>
                  <a:lnTo>
                    <a:pt x="81" y="475"/>
                  </a:lnTo>
                  <a:lnTo>
                    <a:pt x="83" y="461"/>
                  </a:lnTo>
                  <a:lnTo>
                    <a:pt x="84" y="455"/>
                  </a:lnTo>
                  <a:lnTo>
                    <a:pt x="84" y="453"/>
                  </a:lnTo>
                  <a:lnTo>
                    <a:pt x="84" y="452"/>
                  </a:lnTo>
                  <a:lnTo>
                    <a:pt x="83" y="450"/>
                  </a:lnTo>
                  <a:lnTo>
                    <a:pt x="83" y="449"/>
                  </a:lnTo>
                  <a:lnTo>
                    <a:pt x="82" y="447"/>
                  </a:lnTo>
                  <a:lnTo>
                    <a:pt x="80" y="445"/>
                  </a:lnTo>
                  <a:lnTo>
                    <a:pt x="78" y="444"/>
                  </a:lnTo>
                  <a:lnTo>
                    <a:pt x="73" y="440"/>
                  </a:lnTo>
                  <a:lnTo>
                    <a:pt x="72" y="440"/>
                  </a:lnTo>
                  <a:lnTo>
                    <a:pt x="70" y="438"/>
                  </a:lnTo>
                  <a:lnTo>
                    <a:pt x="67" y="434"/>
                  </a:lnTo>
                  <a:lnTo>
                    <a:pt x="65" y="432"/>
                  </a:lnTo>
                  <a:lnTo>
                    <a:pt x="64" y="432"/>
                  </a:lnTo>
                  <a:lnTo>
                    <a:pt x="63" y="431"/>
                  </a:lnTo>
                  <a:lnTo>
                    <a:pt x="55" y="429"/>
                  </a:lnTo>
                  <a:lnTo>
                    <a:pt x="53" y="427"/>
                  </a:lnTo>
                  <a:lnTo>
                    <a:pt x="50" y="426"/>
                  </a:lnTo>
                  <a:lnTo>
                    <a:pt x="48" y="425"/>
                  </a:lnTo>
                  <a:lnTo>
                    <a:pt x="48" y="424"/>
                  </a:lnTo>
                  <a:lnTo>
                    <a:pt x="47" y="422"/>
                  </a:lnTo>
                  <a:lnTo>
                    <a:pt x="46" y="421"/>
                  </a:lnTo>
                  <a:lnTo>
                    <a:pt x="45" y="419"/>
                  </a:lnTo>
                  <a:lnTo>
                    <a:pt x="43" y="411"/>
                  </a:lnTo>
                  <a:lnTo>
                    <a:pt x="43" y="409"/>
                  </a:lnTo>
                  <a:lnTo>
                    <a:pt x="41" y="407"/>
                  </a:lnTo>
                  <a:lnTo>
                    <a:pt x="40" y="404"/>
                  </a:lnTo>
                  <a:lnTo>
                    <a:pt x="38" y="401"/>
                  </a:lnTo>
                  <a:lnTo>
                    <a:pt x="36" y="399"/>
                  </a:lnTo>
                  <a:lnTo>
                    <a:pt x="33" y="395"/>
                  </a:lnTo>
                  <a:lnTo>
                    <a:pt x="33" y="395"/>
                  </a:lnTo>
                  <a:lnTo>
                    <a:pt x="32" y="394"/>
                  </a:lnTo>
                  <a:lnTo>
                    <a:pt x="32" y="392"/>
                  </a:lnTo>
                  <a:lnTo>
                    <a:pt x="32" y="391"/>
                  </a:lnTo>
                  <a:lnTo>
                    <a:pt x="33" y="390"/>
                  </a:lnTo>
                  <a:lnTo>
                    <a:pt x="33" y="388"/>
                  </a:lnTo>
                  <a:lnTo>
                    <a:pt x="39" y="380"/>
                  </a:lnTo>
                  <a:lnTo>
                    <a:pt x="40" y="376"/>
                  </a:lnTo>
                  <a:lnTo>
                    <a:pt x="42" y="374"/>
                  </a:lnTo>
                  <a:lnTo>
                    <a:pt x="43" y="372"/>
                  </a:lnTo>
                  <a:lnTo>
                    <a:pt x="44" y="366"/>
                  </a:lnTo>
                  <a:lnTo>
                    <a:pt x="45" y="363"/>
                  </a:lnTo>
                  <a:lnTo>
                    <a:pt x="45" y="361"/>
                  </a:lnTo>
                  <a:lnTo>
                    <a:pt x="45" y="360"/>
                  </a:lnTo>
                  <a:lnTo>
                    <a:pt x="44" y="358"/>
                  </a:lnTo>
                  <a:lnTo>
                    <a:pt x="43" y="356"/>
                  </a:lnTo>
                  <a:lnTo>
                    <a:pt x="43" y="354"/>
                  </a:lnTo>
                  <a:lnTo>
                    <a:pt x="42" y="352"/>
                  </a:lnTo>
                  <a:lnTo>
                    <a:pt x="40" y="348"/>
                  </a:lnTo>
                  <a:lnTo>
                    <a:pt x="38" y="346"/>
                  </a:lnTo>
                  <a:lnTo>
                    <a:pt x="37" y="344"/>
                  </a:lnTo>
                  <a:lnTo>
                    <a:pt x="36" y="343"/>
                  </a:lnTo>
                  <a:lnTo>
                    <a:pt x="33" y="341"/>
                  </a:lnTo>
                  <a:lnTo>
                    <a:pt x="32" y="340"/>
                  </a:lnTo>
                  <a:lnTo>
                    <a:pt x="30" y="338"/>
                  </a:lnTo>
                  <a:lnTo>
                    <a:pt x="28" y="337"/>
                  </a:lnTo>
                  <a:lnTo>
                    <a:pt x="26" y="336"/>
                  </a:lnTo>
                  <a:lnTo>
                    <a:pt x="22" y="335"/>
                  </a:lnTo>
                  <a:lnTo>
                    <a:pt x="17" y="333"/>
                  </a:lnTo>
                  <a:lnTo>
                    <a:pt x="10" y="332"/>
                  </a:lnTo>
                  <a:lnTo>
                    <a:pt x="8" y="331"/>
                  </a:lnTo>
                  <a:lnTo>
                    <a:pt x="6" y="330"/>
                  </a:lnTo>
                  <a:lnTo>
                    <a:pt x="4" y="330"/>
                  </a:lnTo>
                  <a:lnTo>
                    <a:pt x="3" y="329"/>
                  </a:lnTo>
                  <a:lnTo>
                    <a:pt x="2" y="328"/>
                  </a:lnTo>
                  <a:lnTo>
                    <a:pt x="1" y="326"/>
                  </a:lnTo>
                  <a:lnTo>
                    <a:pt x="1" y="325"/>
                  </a:lnTo>
                  <a:lnTo>
                    <a:pt x="0" y="324"/>
                  </a:lnTo>
                  <a:lnTo>
                    <a:pt x="0" y="321"/>
                  </a:lnTo>
                  <a:lnTo>
                    <a:pt x="1" y="320"/>
                  </a:lnTo>
                  <a:lnTo>
                    <a:pt x="1" y="318"/>
                  </a:lnTo>
                  <a:lnTo>
                    <a:pt x="1" y="317"/>
                  </a:lnTo>
                  <a:lnTo>
                    <a:pt x="2" y="315"/>
                  </a:lnTo>
                  <a:lnTo>
                    <a:pt x="6" y="310"/>
                  </a:lnTo>
                  <a:lnTo>
                    <a:pt x="7" y="309"/>
                  </a:lnTo>
                  <a:lnTo>
                    <a:pt x="8" y="307"/>
                  </a:lnTo>
                  <a:lnTo>
                    <a:pt x="9" y="305"/>
                  </a:lnTo>
                  <a:lnTo>
                    <a:pt x="10" y="302"/>
                  </a:lnTo>
                  <a:lnTo>
                    <a:pt x="11" y="293"/>
                  </a:lnTo>
                  <a:lnTo>
                    <a:pt x="11" y="286"/>
                  </a:lnTo>
                  <a:lnTo>
                    <a:pt x="11" y="283"/>
                  </a:lnTo>
                  <a:lnTo>
                    <a:pt x="11" y="280"/>
                  </a:lnTo>
                  <a:lnTo>
                    <a:pt x="13" y="278"/>
                  </a:lnTo>
                  <a:lnTo>
                    <a:pt x="14" y="275"/>
                  </a:lnTo>
                  <a:lnTo>
                    <a:pt x="16" y="273"/>
                  </a:lnTo>
                  <a:lnTo>
                    <a:pt x="17" y="271"/>
                  </a:lnTo>
                  <a:lnTo>
                    <a:pt x="19" y="270"/>
                  </a:lnTo>
                  <a:lnTo>
                    <a:pt x="21" y="270"/>
                  </a:lnTo>
                  <a:lnTo>
                    <a:pt x="23" y="269"/>
                  </a:lnTo>
                  <a:lnTo>
                    <a:pt x="24" y="269"/>
                  </a:lnTo>
                  <a:lnTo>
                    <a:pt x="31" y="269"/>
                  </a:lnTo>
                  <a:lnTo>
                    <a:pt x="32" y="269"/>
                  </a:lnTo>
                  <a:lnTo>
                    <a:pt x="33" y="268"/>
                  </a:lnTo>
                  <a:lnTo>
                    <a:pt x="35" y="268"/>
                  </a:lnTo>
                  <a:lnTo>
                    <a:pt x="36" y="267"/>
                  </a:lnTo>
                  <a:lnTo>
                    <a:pt x="38" y="265"/>
                  </a:lnTo>
                  <a:lnTo>
                    <a:pt x="38" y="264"/>
                  </a:lnTo>
                  <a:lnTo>
                    <a:pt x="40" y="261"/>
                  </a:lnTo>
                  <a:lnTo>
                    <a:pt x="41" y="258"/>
                  </a:lnTo>
                  <a:lnTo>
                    <a:pt x="43" y="254"/>
                  </a:lnTo>
                  <a:lnTo>
                    <a:pt x="43" y="250"/>
                  </a:lnTo>
                  <a:lnTo>
                    <a:pt x="44" y="246"/>
                  </a:lnTo>
                  <a:lnTo>
                    <a:pt x="45" y="241"/>
                  </a:lnTo>
                  <a:lnTo>
                    <a:pt x="45" y="237"/>
                  </a:lnTo>
                  <a:lnTo>
                    <a:pt x="45" y="230"/>
                  </a:lnTo>
                  <a:lnTo>
                    <a:pt x="45" y="228"/>
                  </a:lnTo>
                  <a:lnTo>
                    <a:pt x="46" y="228"/>
                  </a:lnTo>
                  <a:lnTo>
                    <a:pt x="47" y="228"/>
                  </a:lnTo>
                  <a:lnTo>
                    <a:pt x="52" y="227"/>
                  </a:lnTo>
                  <a:lnTo>
                    <a:pt x="54" y="227"/>
                  </a:lnTo>
                  <a:lnTo>
                    <a:pt x="56" y="227"/>
                  </a:lnTo>
                  <a:lnTo>
                    <a:pt x="58" y="227"/>
                  </a:lnTo>
                  <a:lnTo>
                    <a:pt x="61" y="228"/>
                  </a:lnTo>
                  <a:lnTo>
                    <a:pt x="64" y="228"/>
                  </a:lnTo>
                  <a:lnTo>
                    <a:pt x="67" y="229"/>
                  </a:lnTo>
                  <a:lnTo>
                    <a:pt x="69" y="230"/>
                  </a:lnTo>
                  <a:lnTo>
                    <a:pt x="72" y="233"/>
                  </a:lnTo>
                  <a:lnTo>
                    <a:pt x="74" y="234"/>
                  </a:lnTo>
                  <a:lnTo>
                    <a:pt x="77" y="236"/>
                  </a:lnTo>
                  <a:lnTo>
                    <a:pt x="79" y="238"/>
                  </a:lnTo>
                  <a:lnTo>
                    <a:pt x="82" y="243"/>
                  </a:lnTo>
                  <a:lnTo>
                    <a:pt x="88" y="250"/>
                  </a:lnTo>
                  <a:lnTo>
                    <a:pt x="90" y="253"/>
                  </a:lnTo>
                  <a:lnTo>
                    <a:pt x="92" y="255"/>
                  </a:lnTo>
                  <a:lnTo>
                    <a:pt x="93" y="257"/>
                  </a:lnTo>
                  <a:lnTo>
                    <a:pt x="95" y="258"/>
                  </a:lnTo>
                  <a:lnTo>
                    <a:pt x="97" y="259"/>
                  </a:lnTo>
                  <a:lnTo>
                    <a:pt x="98" y="260"/>
                  </a:lnTo>
                  <a:lnTo>
                    <a:pt x="101" y="260"/>
                  </a:lnTo>
                  <a:lnTo>
                    <a:pt x="103" y="260"/>
                  </a:lnTo>
                  <a:lnTo>
                    <a:pt x="105" y="260"/>
                  </a:lnTo>
                  <a:lnTo>
                    <a:pt x="108" y="260"/>
                  </a:lnTo>
                  <a:lnTo>
                    <a:pt x="110" y="260"/>
                  </a:lnTo>
                  <a:lnTo>
                    <a:pt x="113" y="260"/>
                  </a:lnTo>
                  <a:lnTo>
                    <a:pt x="119" y="258"/>
                  </a:lnTo>
                  <a:lnTo>
                    <a:pt x="123" y="257"/>
                  </a:lnTo>
                  <a:lnTo>
                    <a:pt x="125" y="257"/>
                  </a:lnTo>
                  <a:lnTo>
                    <a:pt x="128" y="257"/>
                  </a:lnTo>
                  <a:lnTo>
                    <a:pt x="130" y="257"/>
                  </a:lnTo>
                  <a:lnTo>
                    <a:pt x="132" y="257"/>
                  </a:lnTo>
                  <a:lnTo>
                    <a:pt x="134" y="258"/>
                  </a:lnTo>
                  <a:lnTo>
                    <a:pt x="137" y="258"/>
                  </a:lnTo>
                  <a:lnTo>
                    <a:pt x="139" y="259"/>
                  </a:lnTo>
                  <a:lnTo>
                    <a:pt x="140" y="260"/>
                  </a:lnTo>
                  <a:lnTo>
                    <a:pt x="143" y="261"/>
                  </a:lnTo>
                  <a:lnTo>
                    <a:pt x="145" y="263"/>
                  </a:lnTo>
                  <a:lnTo>
                    <a:pt x="153" y="268"/>
                  </a:lnTo>
                  <a:lnTo>
                    <a:pt x="155" y="269"/>
                  </a:lnTo>
                  <a:lnTo>
                    <a:pt x="156" y="270"/>
                  </a:lnTo>
                  <a:lnTo>
                    <a:pt x="158" y="270"/>
                  </a:lnTo>
                  <a:lnTo>
                    <a:pt x="160" y="270"/>
                  </a:lnTo>
                  <a:lnTo>
                    <a:pt x="161" y="270"/>
                  </a:lnTo>
                  <a:lnTo>
                    <a:pt x="162" y="269"/>
                  </a:lnTo>
                  <a:lnTo>
                    <a:pt x="163" y="268"/>
                  </a:lnTo>
                  <a:lnTo>
                    <a:pt x="163" y="268"/>
                  </a:lnTo>
                  <a:lnTo>
                    <a:pt x="163" y="267"/>
                  </a:lnTo>
                  <a:lnTo>
                    <a:pt x="163" y="265"/>
                  </a:lnTo>
                  <a:lnTo>
                    <a:pt x="163" y="264"/>
                  </a:lnTo>
                  <a:lnTo>
                    <a:pt x="162" y="263"/>
                  </a:lnTo>
                  <a:lnTo>
                    <a:pt x="160" y="261"/>
                  </a:lnTo>
                  <a:lnTo>
                    <a:pt x="160" y="260"/>
                  </a:lnTo>
                  <a:lnTo>
                    <a:pt x="153" y="255"/>
                  </a:lnTo>
                  <a:lnTo>
                    <a:pt x="146" y="248"/>
                  </a:lnTo>
                  <a:lnTo>
                    <a:pt x="143" y="245"/>
                  </a:lnTo>
                  <a:lnTo>
                    <a:pt x="139" y="240"/>
                  </a:lnTo>
                  <a:lnTo>
                    <a:pt x="136" y="236"/>
                  </a:lnTo>
                  <a:lnTo>
                    <a:pt x="135" y="234"/>
                  </a:lnTo>
                  <a:lnTo>
                    <a:pt x="134" y="232"/>
                  </a:lnTo>
                  <a:lnTo>
                    <a:pt x="133" y="230"/>
                  </a:lnTo>
                  <a:lnTo>
                    <a:pt x="132" y="226"/>
                  </a:lnTo>
                  <a:lnTo>
                    <a:pt x="131" y="224"/>
                  </a:lnTo>
                  <a:lnTo>
                    <a:pt x="131" y="223"/>
                  </a:lnTo>
                  <a:lnTo>
                    <a:pt x="130" y="220"/>
                  </a:lnTo>
                  <a:lnTo>
                    <a:pt x="131" y="217"/>
                  </a:lnTo>
                  <a:lnTo>
                    <a:pt x="132" y="214"/>
                  </a:lnTo>
                  <a:lnTo>
                    <a:pt x="133" y="212"/>
                  </a:lnTo>
                  <a:lnTo>
                    <a:pt x="135" y="209"/>
                  </a:lnTo>
                  <a:lnTo>
                    <a:pt x="137" y="205"/>
                  </a:lnTo>
                  <a:lnTo>
                    <a:pt x="145" y="197"/>
                  </a:lnTo>
                  <a:lnTo>
                    <a:pt x="147" y="195"/>
                  </a:lnTo>
                  <a:lnTo>
                    <a:pt x="148" y="193"/>
                  </a:lnTo>
                  <a:lnTo>
                    <a:pt x="148" y="190"/>
                  </a:lnTo>
                  <a:lnTo>
                    <a:pt x="148" y="188"/>
                  </a:lnTo>
                  <a:lnTo>
                    <a:pt x="148" y="186"/>
                  </a:lnTo>
                  <a:lnTo>
                    <a:pt x="148" y="183"/>
                  </a:lnTo>
                  <a:lnTo>
                    <a:pt x="147" y="182"/>
                  </a:lnTo>
                  <a:lnTo>
                    <a:pt x="146" y="180"/>
                  </a:lnTo>
                  <a:lnTo>
                    <a:pt x="145" y="179"/>
                  </a:lnTo>
                  <a:lnTo>
                    <a:pt x="143" y="178"/>
                  </a:lnTo>
                  <a:lnTo>
                    <a:pt x="140" y="175"/>
                  </a:lnTo>
                  <a:lnTo>
                    <a:pt x="135" y="172"/>
                  </a:lnTo>
                  <a:lnTo>
                    <a:pt x="133" y="171"/>
                  </a:lnTo>
                  <a:lnTo>
                    <a:pt x="128" y="168"/>
                  </a:lnTo>
                  <a:lnTo>
                    <a:pt x="125" y="166"/>
                  </a:lnTo>
                  <a:lnTo>
                    <a:pt x="124" y="165"/>
                  </a:lnTo>
                  <a:lnTo>
                    <a:pt x="122" y="163"/>
                  </a:lnTo>
                  <a:lnTo>
                    <a:pt x="120" y="161"/>
                  </a:lnTo>
                  <a:lnTo>
                    <a:pt x="119" y="159"/>
                  </a:lnTo>
                  <a:lnTo>
                    <a:pt x="116" y="155"/>
                  </a:lnTo>
                  <a:lnTo>
                    <a:pt x="114" y="150"/>
                  </a:lnTo>
                  <a:lnTo>
                    <a:pt x="112" y="145"/>
                  </a:lnTo>
                  <a:lnTo>
                    <a:pt x="110" y="142"/>
                  </a:lnTo>
                  <a:lnTo>
                    <a:pt x="108" y="133"/>
                  </a:lnTo>
                  <a:lnTo>
                    <a:pt x="108" y="129"/>
                  </a:lnTo>
                  <a:lnTo>
                    <a:pt x="108" y="127"/>
                  </a:lnTo>
                  <a:lnTo>
                    <a:pt x="108" y="126"/>
                  </a:lnTo>
                  <a:lnTo>
                    <a:pt x="108" y="124"/>
                  </a:lnTo>
                  <a:lnTo>
                    <a:pt x="108" y="123"/>
                  </a:lnTo>
                  <a:lnTo>
                    <a:pt x="108" y="121"/>
                  </a:lnTo>
                  <a:lnTo>
                    <a:pt x="109" y="120"/>
                  </a:lnTo>
                  <a:lnTo>
                    <a:pt x="110" y="118"/>
                  </a:lnTo>
                  <a:lnTo>
                    <a:pt x="112" y="118"/>
                  </a:lnTo>
                  <a:lnTo>
                    <a:pt x="113" y="117"/>
                  </a:lnTo>
                  <a:lnTo>
                    <a:pt x="115" y="117"/>
                  </a:lnTo>
                  <a:lnTo>
                    <a:pt x="116" y="116"/>
                  </a:lnTo>
                  <a:lnTo>
                    <a:pt x="118" y="116"/>
                  </a:lnTo>
                  <a:lnTo>
                    <a:pt x="120" y="116"/>
                  </a:lnTo>
                  <a:lnTo>
                    <a:pt x="122" y="117"/>
                  </a:lnTo>
                  <a:lnTo>
                    <a:pt x="124" y="118"/>
                  </a:lnTo>
                  <a:lnTo>
                    <a:pt x="130" y="120"/>
                  </a:lnTo>
                  <a:lnTo>
                    <a:pt x="135" y="121"/>
                  </a:lnTo>
                  <a:lnTo>
                    <a:pt x="139" y="123"/>
                  </a:lnTo>
                  <a:lnTo>
                    <a:pt x="143" y="123"/>
                  </a:lnTo>
                  <a:lnTo>
                    <a:pt x="148" y="124"/>
                  </a:lnTo>
                  <a:lnTo>
                    <a:pt x="151" y="124"/>
                  </a:lnTo>
                  <a:lnTo>
                    <a:pt x="155" y="124"/>
                  </a:lnTo>
                  <a:lnTo>
                    <a:pt x="158" y="123"/>
                  </a:lnTo>
                  <a:lnTo>
                    <a:pt x="173" y="120"/>
                  </a:lnTo>
                  <a:lnTo>
                    <a:pt x="177" y="118"/>
                  </a:lnTo>
                  <a:lnTo>
                    <a:pt x="181" y="117"/>
                  </a:lnTo>
                  <a:lnTo>
                    <a:pt x="188" y="113"/>
                  </a:lnTo>
                  <a:lnTo>
                    <a:pt x="191" y="112"/>
                  </a:lnTo>
                  <a:lnTo>
                    <a:pt x="199" y="107"/>
                  </a:lnTo>
                  <a:lnTo>
                    <a:pt x="206" y="103"/>
                  </a:lnTo>
                  <a:lnTo>
                    <a:pt x="208" y="101"/>
                  </a:lnTo>
                  <a:lnTo>
                    <a:pt x="210" y="100"/>
                  </a:lnTo>
                  <a:lnTo>
                    <a:pt x="211" y="98"/>
                  </a:lnTo>
                  <a:lnTo>
                    <a:pt x="212" y="97"/>
                  </a:lnTo>
                  <a:lnTo>
                    <a:pt x="213" y="95"/>
                  </a:lnTo>
                  <a:lnTo>
                    <a:pt x="213" y="92"/>
                  </a:lnTo>
                  <a:lnTo>
                    <a:pt x="215" y="81"/>
                  </a:lnTo>
                  <a:lnTo>
                    <a:pt x="216" y="76"/>
                  </a:lnTo>
                  <a:lnTo>
                    <a:pt x="217" y="73"/>
                  </a:lnTo>
                  <a:lnTo>
                    <a:pt x="219" y="67"/>
                  </a:lnTo>
                  <a:lnTo>
                    <a:pt x="220" y="64"/>
                  </a:lnTo>
                  <a:lnTo>
                    <a:pt x="225" y="56"/>
                  </a:lnTo>
                  <a:lnTo>
                    <a:pt x="226" y="52"/>
                  </a:lnTo>
                  <a:lnTo>
                    <a:pt x="228" y="48"/>
                  </a:lnTo>
                  <a:lnTo>
                    <a:pt x="228" y="46"/>
                  </a:lnTo>
                  <a:lnTo>
                    <a:pt x="228" y="45"/>
                  </a:lnTo>
                  <a:lnTo>
                    <a:pt x="228" y="43"/>
                  </a:lnTo>
                  <a:lnTo>
                    <a:pt x="228" y="42"/>
                  </a:lnTo>
                  <a:lnTo>
                    <a:pt x="228" y="41"/>
                  </a:lnTo>
                  <a:lnTo>
                    <a:pt x="227" y="39"/>
                  </a:lnTo>
                  <a:lnTo>
                    <a:pt x="225" y="38"/>
                  </a:lnTo>
                  <a:lnTo>
                    <a:pt x="223" y="34"/>
                  </a:lnTo>
                  <a:lnTo>
                    <a:pt x="218" y="28"/>
                  </a:lnTo>
                  <a:lnTo>
                    <a:pt x="216" y="26"/>
                  </a:lnTo>
                  <a:lnTo>
                    <a:pt x="215" y="24"/>
                  </a:lnTo>
                  <a:lnTo>
                    <a:pt x="214" y="21"/>
                  </a:lnTo>
                  <a:lnTo>
                    <a:pt x="213" y="19"/>
                  </a:lnTo>
                  <a:lnTo>
                    <a:pt x="213" y="18"/>
                  </a:lnTo>
                  <a:lnTo>
                    <a:pt x="213" y="16"/>
                  </a:lnTo>
                  <a:lnTo>
                    <a:pt x="214" y="15"/>
                  </a:lnTo>
                  <a:lnTo>
                    <a:pt x="215" y="14"/>
                  </a:lnTo>
                  <a:lnTo>
                    <a:pt x="217" y="13"/>
                  </a:lnTo>
                  <a:lnTo>
                    <a:pt x="220" y="11"/>
                  </a:lnTo>
                  <a:lnTo>
                    <a:pt x="223" y="9"/>
                  </a:lnTo>
                  <a:lnTo>
                    <a:pt x="226" y="8"/>
                  </a:lnTo>
                  <a:lnTo>
                    <a:pt x="231" y="6"/>
                  </a:lnTo>
                  <a:lnTo>
                    <a:pt x="244" y="4"/>
                  </a:lnTo>
                  <a:lnTo>
                    <a:pt x="247" y="3"/>
                  </a:lnTo>
                  <a:lnTo>
                    <a:pt x="250" y="2"/>
                  </a:lnTo>
                  <a:lnTo>
                    <a:pt x="251" y="1"/>
                  </a:lnTo>
                  <a:lnTo>
                    <a:pt x="253" y="1"/>
                  </a:lnTo>
                  <a:lnTo>
                    <a:pt x="256" y="1"/>
                  </a:lnTo>
                  <a:lnTo>
                    <a:pt x="258" y="1"/>
                  </a:lnTo>
                  <a:lnTo>
                    <a:pt x="260" y="1"/>
                  </a:lnTo>
                  <a:lnTo>
                    <a:pt x="261" y="1"/>
                  </a:lnTo>
                  <a:lnTo>
                    <a:pt x="262" y="0"/>
                  </a:lnTo>
                  <a:lnTo>
                    <a:pt x="263" y="0"/>
                  </a:lnTo>
                  <a:close/>
                </a:path>
              </a:pathLst>
            </a:custGeom>
            <a:solidFill>
              <a:srgbClr val="D7144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>
                <a:ln w="9525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37" name="Freeform 100">
              <a:extLst>
                <a:ext uri="{FF2B5EF4-FFF2-40B4-BE49-F238E27FC236}">
                  <a16:creationId xmlns:a16="http://schemas.microsoft.com/office/drawing/2014/main" id="{81408CBC-8FC0-7D82-560D-DD6AB8BAF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3186" y="2650589"/>
              <a:ext cx="771525" cy="890588"/>
            </a:xfrm>
            <a:custGeom>
              <a:avLst/>
              <a:gdLst>
                <a:gd name="T0" fmla="*/ 124 w 486"/>
                <a:gd name="T1" fmla="*/ 32 h 561"/>
                <a:gd name="T2" fmla="*/ 141 w 486"/>
                <a:gd name="T3" fmla="*/ 45 h 561"/>
                <a:gd name="T4" fmla="*/ 177 w 486"/>
                <a:gd name="T5" fmla="*/ 42 h 561"/>
                <a:gd name="T6" fmla="*/ 246 w 486"/>
                <a:gd name="T7" fmla="*/ 40 h 561"/>
                <a:gd name="T8" fmla="*/ 264 w 486"/>
                <a:gd name="T9" fmla="*/ 18 h 561"/>
                <a:gd name="T10" fmla="*/ 291 w 486"/>
                <a:gd name="T11" fmla="*/ 0 h 561"/>
                <a:gd name="T12" fmla="*/ 319 w 486"/>
                <a:gd name="T13" fmla="*/ 6 h 561"/>
                <a:gd name="T14" fmla="*/ 346 w 486"/>
                <a:gd name="T15" fmla="*/ 27 h 561"/>
                <a:gd name="T16" fmla="*/ 362 w 486"/>
                <a:gd name="T17" fmla="*/ 47 h 561"/>
                <a:gd name="T18" fmla="*/ 395 w 486"/>
                <a:gd name="T19" fmla="*/ 47 h 561"/>
                <a:gd name="T20" fmla="*/ 428 w 486"/>
                <a:gd name="T21" fmla="*/ 35 h 561"/>
                <a:gd name="T22" fmla="*/ 431 w 486"/>
                <a:gd name="T23" fmla="*/ 17 h 561"/>
                <a:gd name="T24" fmla="*/ 459 w 486"/>
                <a:gd name="T25" fmla="*/ 27 h 561"/>
                <a:gd name="T26" fmla="*/ 485 w 486"/>
                <a:gd name="T27" fmla="*/ 50 h 561"/>
                <a:gd name="T28" fmla="*/ 470 w 486"/>
                <a:gd name="T29" fmla="*/ 82 h 561"/>
                <a:gd name="T30" fmla="*/ 473 w 486"/>
                <a:gd name="T31" fmla="*/ 117 h 561"/>
                <a:gd name="T32" fmla="*/ 485 w 486"/>
                <a:gd name="T33" fmla="*/ 145 h 561"/>
                <a:gd name="T34" fmla="*/ 479 w 486"/>
                <a:gd name="T35" fmla="*/ 184 h 561"/>
                <a:gd name="T36" fmla="*/ 469 w 486"/>
                <a:gd name="T37" fmla="*/ 213 h 561"/>
                <a:gd name="T38" fmla="*/ 471 w 486"/>
                <a:gd name="T39" fmla="*/ 252 h 561"/>
                <a:gd name="T40" fmla="*/ 463 w 486"/>
                <a:gd name="T41" fmla="*/ 281 h 561"/>
                <a:gd name="T42" fmla="*/ 444 w 486"/>
                <a:gd name="T43" fmla="*/ 302 h 561"/>
                <a:gd name="T44" fmla="*/ 421 w 486"/>
                <a:gd name="T45" fmla="*/ 332 h 561"/>
                <a:gd name="T46" fmla="*/ 411 w 486"/>
                <a:gd name="T47" fmla="*/ 327 h 561"/>
                <a:gd name="T48" fmla="*/ 396 w 486"/>
                <a:gd name="T49" fmla="*/ 345 h 561"/>
                <a:gd name="T50" fmla="*/ 369 w 486"/>
                <a:gd name="T51" fmla="*/ 361 h 561"/>
                <a:gd name="T52" fmla="*/ 364 w 486"/>
                <a:gd name="T53" fmla="*/ 391 h 561"/>
                <a:gd name="T54" fmla="*/ 376 w 486"/>
                <a:gd name="T55" fmla="*/ 441 h 561"/>
                <a:gd name="T56" fmla="*/ 380 w 486"/>
                <a:gd name="T57" fmla="*/ 459 h 561"/>
                <a:gd name="T58" fmla="*/ 341 w 486"/>
                <a:gd name="T59" fmla="*/ 449 h 561"/>
                <a:gd name="T60" fmla="*/ 328 w 486"/>
                <a:gd name="T61" fmla="*/ 460 h 561"/>
                <a:gd name="T62" fmla="*/ 333 w 486"/>
                <a:gd name="T63" fmla="*/ 504 h 561"/>
                <a:gd name="T64" fmla="*/ 321 w 486"/>
                <a:gd name="T65" fmla="*/ 532 h 561"/>
                <a:gd name="T66" fmla="*/ 305 w 486"/>
                <a:gd name="T67" fmla="*/ 561 h 561"/>
                <a:gd name="T68" fmla="*/ 254 w 486"/>
                <a:gd name="T69" fmla="*/ 555 h 561"/>
                <a:gd name="T70" fmla="*/ 229 w 486"/>
                <a:gd name="T71" fmla="*/ 536 h 561"/>
                <a:gd name="T72" fmla="*/ 204 w 486"/>
                <a:gd name="T73" fmla="*/ 515 h 561"/>
                <a:gd name="T74" fmla="*/ 169 w 486"/>
                <a:gd name="T75" fmla="*/ 505 h 561"/>
                <a:gd name="T76" fmla="*/ 148 w 486"/>
                <a:gd name="T77" fmla="*/ 487 h 561"/>
                <a:gd name="T78" fmla="*/ 124 w 486"/>
                <a:gd name="T79" fmla="*/ 447 h 561"/>
                <a:gd name="T80" fmla="*/ 100 w 486"/>
                <a:gd name="T81" fmla="*/ 416 h 561"/>
                <a:gd name="T82" fmla="*/ 89 w 486"/>
                <a:gd name="T83" fmla="*/ 379 h 561"/>
                <a:gd name="T84" fmla="*/ 54 w 486"/>
                <a:gd name="T85" fmla="*/ 328 h 561"/>
                <a:gd name="T86" fmla="*/ 55 w 486"/>
                <a:gd name="T87" fmla="*/ 288 h 561"/>
                <a:gd name="T88" fmla="*/ 67 w 486"/>
                <a:gd name="T89" fmla="*/ 257 h 561"/>
                <a:gd name="T90" fmla="*/ 68 w 486"/>
                <a:gd name="T91" fmla="*/ 235 h 561"/>
                <a:gd name="T92" fmla="*/ 54 w 486"/>
                <a:gd name="T93" fmla="*/ 217 h 561"/>
                <a:gd name="T94" fmla="*/ 50 w 486"/>
                <a:gd name="T95" fmla="*/ 187 h 561"/>
                <a:gd name="T96" fmla="*/ 43 w 486"/>
                <a:gd name="T97" fmla="*/ 167 h 561"/>
                <a:gd name="T98" fmla="*/ 63 w 486"/>
                <a:gd name="T99" fmla="*/ 150 h 561"/>
                <a:gd name="T100" fmla="*/ 68 w 486"/>
                <a:gd name="T101" fmla="*/ 132 h 561"/>
                <a:gd name="T102" fmla="*/ 52 w 486"/>
                <a:gd name="T103" fmla="*/ 120 h 561"/>
                <a:gd name="T104" fmla="*/ 52 w 486"/>
                <a:gd name="T105" fmla="*/ 110 h 561"/>
                <a:gd name="T106" fmla="*/ 33 w 486"/>
                <a:gd name="T107" fmla="*/ 97 h 561"/>
                <a:gd name="T108" fmla="*/ 3 w 486"/>
                <a:gd name="T109" fmla="*/ 85 h 561"/>
                <a:gd name="T110" fmla="*/ 12 w 486"/>
                <a:gd name="T111" fmla="*/ 70 h 561"/>
                <a:gd name="T112" fmla="*/ 42 w 486"/>
                <a:gd name="T113" fmla="*/ 63 h 561"/>
                <a:gd name="T114" fmla="*/ 59 w 486"/>
                <a:gd name="T115" fmla="*/ 54 h 561"/>
                <a:gd name="T116" fmla="*/ 73 w 486"/>
                <a:gd name="T117" fmla="*/ 30 h 561"/>
                <a:gd name="T118" fmla="*/ 108 w 486"/>
                <a:gd name="T119" fmla="*/ 5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86" h="561">
                  <a:moveTo>
                    <a:pt x="120" y="1"/>
                  </a:moveTo>
                  <a:lnTo>
                    <a:pt x="120" y="2"/>
                  </a:lnTo>
                  <a:lnTo>
                    <a:pt x="122" y="2"/>
                  </a:lnTo>
                  <a:lnTo>
                    <a:pt x="122" y="4"/>
                  </a:lnTo>
                  <a:lnTo>
                    <a:pt x="122" y="5"/>
                  </a:lnTo>
                  <a:lnTo>
                    <a:pt x="123" y="9"/>
                  </a:lnTo>
                  <a:lnTo>
                    <a:pt x="123" y="21"/>
                  </a:lnTo>
                  <a:lnTo>
                    <a:pt x="124" y="27"/>
                  </a:lnTo>
                  <a:lnTo>
                    <a:pt x="124" y="30"/>
                  </a:lnTo>
                  <a:lnTo>
                    <a:pt x="124" y="32"/>
                  </a:lnTo>
                  <a:lnTo>
                    <a:pt x="125" y="35"/>
                  </a:lnTo>
                  <a:lnTo>
                    <a:pt x="126" y="37"/>
                  </a:lnTo>
                  <a:lnTo>
                    <a:pt x="127" y="38"/>
                  </a:lnTo>
                  <a:lnTo>
                    <a:pt x="128" y="40"/>
                  </a:lnTo>
                  <a:lnTo>
                    <a:pt x="129" y="41"/>
                  </a:lnTo>
                  <a:lnTo>
                    <a:pt x="132" y="42"/>
                  </a:lnTo>
                  <a:lnTo>
                    <a:pt x="134" y="44"/>
                  </a:lnTo>
                  <a:lnTo>
                    <a:pt x="136" y="45"/>
                  </a:lnTo>
                  <a:lnTo>
                    <a:pt x="138" y="45"/>
                  </a:lnTo>
                  <a:lnTo>
                    <a:pt x="141" y="45"/>
                  </a:lnTo>
                  <a:lnTo>
                    <a:pt x="144" y="46"/>
                  </a:lnTo>
                  <a:lnTo>
                    <a:pt x="148" y="45"/>
                  </a:lnTo>
                  <a:lnTo>
                    <a:pt x="150" y="45"/>
                  </a:lnTo>
                  <a:lnTo>
                    <a:pt x="154" y="44"/>
                  </a:lnTo>
                  <a:lnTo>
                    <a:pt x="157" y="43"/>
                  </a:lnTo>
                  <a:lnTo>
                    <a:pt x="159" y="44"/>
                  </a:lnTo>
                  <a:lnTo>
                    <a:pt x="164" y="45"/>
                  </a:lnTo>
                  <a:lnTo>
                    <a:pt x="168" y="45"/>
                  </a:lnTo>
                  <a:lnTo>
                    <a:pt x="171" y="45"/>
                  </a:lnTo>
                  <a:lnTo>
                    <a:pt x="177" y="42"/>
                  </a:lnTo>
                  <a:lnTo>
                    <a:pt x="180" y="42"/>
                  </a:lnTo>
                  <a:lnTo>
                    <a:pt x="185" y="42"/>
                  </a:lnTo>
                  <a:lnTo>
                    <a:pt x="195" y="42"/>
                  </a:lnTo>
                  <a:lnTo>
                    <a:pt x="199" y="42"/>
                  </a:lnTo>
                  <a:lnTo>
                    <a:pt x="212" y="42"/>
                  </a:lnTo>
                  <a:lnTo>
                    <a:pt x="222" y="41"/>
                  </a:lnTo>
                  <a:lnTo>
                    <a:pt x="232" y="40"/>
                  </a:lnTo>
                  <a:lnTo>
                    <a:pt x="236" y="40"/>
                  </a:lnTo>
                  <a:lnTo>
                    <a:pt x="240" y="40"/>
                  </a:lnTo>
                  <a:lnTo>
                    <a:pt x="246" y="40"/>
                  </a:lnTo>
                  <a:lnTo>
                    <a:pt x="247" y="40"/>
                  </a:lnTo>
                  <a:lnTo>
                    <a:pt x="249" y="40"/>
                  </a:lnTo>
                  <a:lnTo>
                    <a:pt x="250" y="39"/>
                  </a:lnTo>
                  <a:lnTo>
                    <a:pt x="251" y="37"/>
                  </a:lnTo>
                  <a:lnTo>
                    <a:pt x="253" y="36"/>
                  </a:lnTo>
                  <a:lnTo>
                    <a:pt x="254" y="35"/>
                  </a:lnTo>
                  <a:lnTo>
                    <a:pt x="256" y="30"/>
                  </a:lnTo>
                  <a:lnTo>
                    <a:pt x="260" y="26"/>
                  </a:lnTo>
                  <a:lnTo>
                    <a:pt x="262" y="22"/>
                  </a:lnTo>
                  <a:lnTo>
                    <a:pt x="264" y="18"/>
                  </a:lnTo>
                  <a:lnTo>
                    <a:pt x="267" y="12"/>
                  </a:lnTo>
                  <a:lnTo>
                    <a:pt x="269" y="10"/>
                  </a:lnTo>
                  <a:lnTo>
                    <a:pt x="270" y="8"/>
                  </a:lnTo>
                  <a:lnTo>
                    <a:pt x="272" y="6"/>
                  </a:lnTo>
                  <a:lnTo>
                    <a:pt x="274" y="5"/>
                  </a:lnTo>
                  <a:lnTo>
                    <a:pt x="276" y="4"/>
                  </a:lnTo>
                  <a:lnTo>
                    <a:pt x="277" y="4"/>
                  </a:lnTo>
                  <a:lnTo>
                    <a:pt x="279" y="3"/>
                  </a:lnTo>
                  <a:lnTo>
                    <a:pt x="287" y="1"/>
                  </a:lnTo>
                  <a:lnTo>
                    <a:pt x="291" y="0"/>
                  </a:lnTo>
                  <a:lnTo>
                    <a:pt x="294" y="0"/>
                  </a:lnTo>
                  <a:lnTo>
                    <a:pt x="299" y="0"/>
                  </a:lnTo>
                  <a:lnTo>
                    <a:pt x="301" y="0"/>
                  </a:lnTo>
                  <a:lnTo>
                    <a:pt x="303" y="0"/>
                  </a:lnTo>
                  <a:lnTo>
                    <a:pt x="306" y="0"/>
                  </a:lnTo>
                  <a:lnTo>
                    <a:pt x="309" y="1"/>
                  </a:lnTo>
                  <a:lnTo>
                    <a:pt x="311" y="2"/>
                  </a:lnTo>
                  <a:lnTo>
                    <a:pt x="314" y="4"/>
                  </a:lnTo>
                  <a:lnTo>
                    <a:pt x="316" y="5"/>
                  </a:lnTo>
                  <a:lnTo>
                    <a:pt x="319" y="6"/>
                  </a:lnTo>
                  <a:lnTo>
                    <a:pt x="321" y="7"/>
                  </a:lnTo>
                  <a:lnTo>
                    <a:pt x="322" y="10"/>
                  </a:lnTo>
                  <a:lnTo>
                    <a:pt x="324" y="12"/>
                  </a:lnTo>
                  <a:lnTo>
                    <a:pt x="328" y="17"/>
                  </a:lnTo>
                  <a:lnTo>
                    <a:pt x="329" y="19"/>
                  </a:lnTo>
                  <a:lnTo>
                    <a:pt x="331" y="20"/>
                  </a:lnTo>
                  <a:lnTo>
                    <a:pt x="333" y="22"/>
                  </a:lnTo>
                  <a:lnTo>
                    <a:pt x="335" y="22"/>
                  </a:lnTo>
                  <a:lnTo>
                    <a:pt x="341" y="25"/>
                  </a:lnTo>
                  <a:lnTo>
                    <a:pt x="346" y="27"/>
                  </a:lnTo>
                  <a:lnTo>
                    <a:pt x="349" y="29"/>
                  </a:lnTo>
                  <a:lnTo>
                    <a:pt x="351" y="30"/>
                  </a:lnTo>
                  <a:lnTo>
                    <a:pt x="353" y="32"/>
                  </a:lnTo>
                  <a:lnTo>
                    <a:pt x="356" y="35"/>
                  </a:lnTo>
                  <a:lnTo>
                    <a:pt x="357" y="37"/>
                  </a:lnTo>
                  <a:lnTo>
                    <a:pt x="358" y="37"/>
                  </a:lnTo>
                  <a:lnTo>
                    <a:pt x="359" y="40"/>
                  </a:lnTo>
                  <a:lnTo>
                    <a:pt x="361" y="45"/>
                  </a:lnTo>
                  <a:lnTo>
                    <a:pt x="361" y="46"/>
                  </a:lnTo>
                  <a:lnTo>
                    <a:pt x="362" y="47"/>
                  </a:lnTo>
                  <a:lnTo>
                    <a:pt x="364" y="47"/>
                  </a:lnTo>
                  <a:lnTo>
                    <a:pt x="364" y="48"/>
                  </a:lnTo>
                  <a:lnTo>
                    <a:pt x="366" y="49"/>
                  </a:lnTo>
                  <a:lnTo>
                    <a:pt x="380" y="51"/>
                  </a:lnTo>
                  <a:lnTo>
                    <a:pt x="382" y="51"/>
                  </a:lnTo>
                  <a:lnTo>
                    <a:pt x="384" y="50"/>
                  </a:lnTo>
                  <a:lnTo>
                    <a:pt x="391" y="49"/>
                  </a:lnTo>
                  <a:lnTo>
                    <a:pt x="391" y="48"/>
                  </a:lnTo>
                  <a:lnTo>
                    <a:pt x="393" y="48"/>
                  </a:lnTo>
                  <a:lnTo>
                    <a:pt x="395" y="47"/>
                  </a:lnTo>
                  <a:lnTo>
                    <a:pt x="404" y="40"/>
                  </a:lnTo>
                  <a:lnTo>
                    <a:pt x="406" y="39"/>
                  </a:lnTo>
                  <a:lnTo>
                    <a:pt x="409" y="37"/>
                  </a:lnTo>
                  <a:lnTo>
                    <a:pt x="412" y="36"/>
                  </a:lnTo>
                  <a:lnTo>
                    <a:pt x="415" y="35"/>
                  </a:lnTo>
                  <a:lnTo>
                    <a:pt x="418" y="35"/>
                  </a:lnTo>
                  <a:lnTo>
                    <a:pt x="421" y="35"/>
                  </a:lnTo>
                  <a:lnTo>
                    <a:pt x="426" y="35"/>
                  </a:lnTo>
                  <a:lnTo>
                    <a:pt x="427" y="35"/>
                  </a:lnTo>
                  <a:lnTo>
                    <a:pt x="428" y="35"/>
                  </a:lnTo>
                  <a:lnTo>
                    <a:pt x="429" y="35"/>
                  </a:lnTo>
                  <a:lnTo>
                    <a:pt x="429" y="34"/>
                  </a:lnTo>
                  <a:lnTo>
                    <a:pt x="429" y="33"/>
                  </a:lnTo>
                  <a:lnTo>
                    <a:pt x="429" y="32"/>
                  </a:lnTo>
                  <a:lnTo>
                    <a:pt x="429" y="29"/>
                  </a:lnTo>
                  <a:lnTo>
                    <a:pt x="429" y="22"/>
                  </a:lnTo>
                  <a:lnTo>
                    <a:pt x="429" y="20"/>
                  </a:lnTo>
                  <a:lnTo>
                    <a:pt x="430" y="20"/>
                  </a:lnTo>
                  <a:lnTo>
                    <a:pt x="431" y="18"/>
                  </a:lnTo>
                  <a:lnTo>
                    <a:pt x="431" y="17"/>
                  </a:lnTo>
                  <a:lnTo>
                    <a:pt x="433" y="17"/>
                  </a:lnTo>
                  <a:lnTo>
                    <a:pt x="434" y="16"/>
                  </a:lnTo>
                  <a:lnTo>
                    <a:pt x="435" y="16"/>
                  </a:lnTo>
                  <a:lnTo>
                    <a:pt x="436" y="17"/>
                  </a:lnTo>
                  <a:lnTo>
                    <a:pt x="439" y="17"/>
                  </a:lnTo>
                  <a:lnTo>
                    <a:pt x="441" y="19"/>
                  </a:lnTo>
                  <a:lnTo>
                    <a:pt x="446" y="22"/>
                  </a:lnTo>
                  <a:lnTo>
                    <a:pt x="449" y="24"/>
                  </a:lnTo>
                  <a:lnTo>
                    <a:pt x="456" y="27"/>
                  </a:lnTo>
                  <a:lnTo>
                    <a:pt x="459" y="27"/>
                  </a:lnTo>
                  <a:lnTo>
                    <a:pt x="461" y="29"/>
                  </a:lnTo>
                  <a:lnTo>
                    <a:pt x="463" y="30"/>
                  </a:lnTo>
                  <a:lnTo>
                    <a:pt x="466" y="33"/>
                  </a:lnTo>
                  <a:lnTo>
                    <a:pt x="473" y="37"/>
                  </a:lnTo>
                  <a:lnTo>
                    <a:pt x="480" y="44"/>
                  </a:lnTo>
                  <a:lnTo>
                    <a:pt x="484" y="47"/>
                  </a:lnTo>
                  <a:lnTo>
                    <a:pt x="484" y="47"/>
                  </a:lnTo>
                  <a:lnTo>
                    <a:pt x="485" y="48"/>
                  </a:lnTo>
                  <a:lnTo>
                    <a:pt x="485" y="49"/>
                  </a:lnTo>
                  <a:lnTo>
                    <a:pt x="485" y="50"/>
                  </a:lnTo>
                  <a:lnTo>
                    <a:pt x="484" y="53"/>
                  </a:lnTo>
                  <a:lnTo>
                    <a:pt x="483" y="55"/>
                  </a:lnTo>
                  <a:lnTo>
                    <a:pt x="482" y="59"/>
                  </a:lnTo>
                  <a:lnTo>
                    <a:pt x="478" y="65"/>
                  </a:lnTo>
                  <a:lnTo>
                    <a:pt x="476" y="70"/>
                  </a:lnTo>
                  <a:lnTo>
                    <a:pt x="473" y="74"/>
                  </a:lnTo>
                  <a:lnTo>
                    <a:pt x="471" y="76"/>
                  </a:lnTo>
                  <a:lnTo>
                    <a:pt x="471" y="78"/>
                  </a:lnTo>
                  <a:lnTo>
                    <a:pt x="470" y="80"/>
                  </a:lnTo>
                  <a:lnTo>
                    <a:pt x="470" y="82"/>
                  </a:lnTo>
                  <a:lnTo>
                    <a:pt x="469" y="85"/>
                  </a:lnTo>
                  <a:lnTo>
                    <a:pt x="470" y="86"/>
                  </a:lnTo>
                  <a:lnTo>
                    <a:pt x="470" y="88"/>
                  </a:lnTo>
                  <a:lnTo>
                    <a:pt x="471" y="95"/>
                  </a:lnTo>
                  <a:lnTo>
                    <a:pt x="472" y="97"/>
                  </a:lnTo>
                  <a:lnTo>
                    <a:pt x="472" y="102"/>
                  </a:lnTo>
                  <a:lnTo>
                    <a:pt x="471" y="109"/>
                  </a:lnTo>
                  <a:lnTo>
                    <a:pt x="472" y="113"/>
                  </a:lnTo>
                  <a:lnTo>
                    <a:pt x="473" y="116"/>
                  </a:lnTo>
                  <a:lnTo>
                    <a:pt x="473" y="117"/>
                  </a:lnTo>
                  <a:lnTo>
                    <a:pt x="474" y="120"/>
                  </a:lnTo>
                  <a:lnTo>
                    <a:pt x="476" y="123"/>
                  </a:lnTo>
                  <a:lnTo>
                    <a:pt x="478" y="125"/>
                  </a:lnTo>
                  <a:lnTo>
                    <a:pt x="482" y="131"/>
                  </a:lnTo>
                  <a:lnTo>
                    <a:pt x="483" y="133"/>
                  </a:lnTo>
                  <a:lnTo>
                    <a:pt x="485" y="136"/>
                  </a:lnTo>
                  <a:lnTo>
                    <a:pt x="486" y="138"/>
                  </a:lnTo>
                  <a:lnTo>
                    <a:pt x="486" y="140"/>
                  </a:lnTo>
                  <a:lnTo>
                    <a:pt x="486" y="142"/>
                  </a:lnTo>
                  <a:lnTo>
                    <a:pt x="485" y="145"/>
                  </a:lnTo>
                  <a:lnTo>
                    <a:pt x="484" y="149"/>
                  </a:lnTo>
                  <a:lnTo>
                    <a:pt x="483" y="151"/>
                  </a:lnTo>
                  <a:lnTo>
                    <a:pt x="483" y="154"/>
                  </a:lnTo>
                  <a:lnTo>
                    <a:pt x="483" y="161"/>
                  </a:lnTo>
                  <a:lnTo>
                    <a:pt x="483" y="165"/>
                  </a:lnTo>
                  <a:lnTo>
                    <a:pt x="483" y="167"/>
                  </a:lnTo>
                  <a:lnTo>
                    <a:pt x="481" y="173"/>
                  </a:lnTo>
                  <a:lnTo>
                    <a:pt x="481" y="177"/>
                  </a:lnTo>
                  <a:lnTo>
                    <a:pt x="480" y="179"/>
                  </a:lnTo>
                  <a:lnTo>
                    <a:pt x="479" y="184"/>
                  </a:lnTo>
                  <a:lnTo>
                    <a:pt x="479" y="192"/>
                  </a:lnTo>
                  <a:lnTo>
                    <a:pt x="479" y="196"/>
                  </a:lnTo>
                  <a:lnTo>
                    <a:pt x="478" y="200"/>
                  </a:lnTo>
                  <a:lnTo>
                    <a:pt x="478" y="202"/>
                  </a:lnTo>
                  <a:lnTo>
                    <a:pt x="476" y="205"/>
                  </a:lnTo>
                  <a:lnTo>
                    <a:pt x="475" y="207"/>
                  </a:lnTo>
                  <a:lnTo>
                    <a:pt x="474" y="209"/>
                  </a:lnTo>
                  <a:lnTo>
                    <a:pt x="473" y="210"/>
                  </a:lnTo>
                  <a:lnTo>
                    <a:pt x="471" y="212"/>
                  </a:lnTo>
                  <a:lnTo>
                    <a:pt x="469" y="213"/>
                  </a:lnTo>
                  <a:lnTo>
                    <a:pt x="462" y="217"/>
                  </a:lnTo>
                  <a:lnTo>
                    <a:pt x="461" y="218"/>
                  </a:lnTo>
                  <a:lnTo>
                    <a:pt x="461" y="219"/>
                  </a:lnTo>
                  <a:lnTo>
                    <a:pt x="461" y="220"/>
                  </a:lnTo>
                  <a:lnTo>
                    <a:pt x="461" y="222"/>
                  </a:lnTo>
                  <a:lnTo>
                    <a:pt x="461" y="224"/>
                  </a:lnTo>
                  <a:lnTo>
                    <a:pt x="466" y="235"/>
                  </a:lnTo>
                  <a:lnTo>
                    <a:pt x="467" y="239"/>
                  </a:lnTo>
                  <a:lnTo>
                    <a:pt x="470" y="247"/>
                  </a:lnTo>
                  <a:lnTo>
                    <a:pt x="471" y="252"/>
                  </a:lnTo>
                  <a:lnTo>
                    <a:pt x="471" y="257"/>
                  </a:lnTo>
                  <a:lnTo>
                    <a:pt x="471" y="261"/>
                  </a:lnTo>
                  <a:lnTo>
                    <a:pt x="471" y="266"/>
                  </a:lnTo>
                  <a:lnTo>
                    <a:pt x="471" y="270"/>
                  </a:lnTo>
                  <a:lnTo>
                    <a:pt x="470" y="272"/>
                  </a:lnTo>
                  <a:lnTo>
                    <a:pt x="469" y="275"/>
                  </a:lnTo>
                  <a:lnTo>
                    <a:pt x="467" y="278"/>
                  </a:lnTo>
                  <a:lnTo>
                    <a:pt x="465" y="279"/>
                  </a:lnTo>
                  <a:lnTo>
                    <a:pt x="464" y="280"/>
                  </a:lnTo>
                  <a:lnTo>
                    <a:pt x="463" y="281"/>
                  </a:lnTo>
                  <a:lnTo>
                    <a:pt x="458" y="282"/>
                  </a:lnTo>
                  <a:lnTo>
                    <a:pt x="455" y="284"/>
                  </a:lnTo>
                  <a:lnTo>
                    <a:pt x="453" y="285"/>
                  </a:lnTo>
                  <a:lnTo>
                    <a:pt x="451" y="286"/>
                  </a:lnTo>
                  <a:lnTo>
                    <a:pt x="450" y="287"/>
                  </a:lnTo>
                  <a:lnTo>
                    <a:pt x="449" y="288"/>
                  </a:lnTo>
                  <a:lnTo>
                    <a:pt x="447" y="290"/>
                  </a:lnTo>
                  <a:lnTo>
                    <a:pt x="446" y="293"/>
                  </a:lnTo>
                  <a:lnTo>
                    <a:pt x="445" y="297"/>
                  </a:lnTo>
                  <a:lnTo>
                    <a:pt x="444" y="302"/>
                  </a:lnTo>
                  <a:lnTo>
                    <a:pt x="444" y="304"/>
                  </a:lnTo>
                  <a:lnTo>
                    <a:pt x="443" y="307"/>
                  </a:lnTo>
                  <a:lnTo>
                    <a:pt x="441" y="309"/>
                  </a:lnTo>
                  <a:lnTo>
                    <a:pt x="438" y="314"/>
                  </a:lnTo>
                  <a:lnTo>
                    <a:pt x="432" y="321"/>
                  </a:lnTo>
                  <a:lnTo>
                    <a:pt x="429" y="325"/>
                  </a:lnTo>
                  <a:lnTo>
                    <a:pt x="426" y="328"/>
                  </a:lnTo>
                  <a:lnTo>
                    <a:pt x="424" y="330"/>
                  </a:lnTo>
                  <a:lnTo>
                    <a:pt x="421" y="331"/>
                  </a:lnTo>
                  <a:lnTo>
                    <a:pt x="421" y="332"/>
                  </a:lnTo>
                  <a:lnTo>
                    <a:pt x="420" y="332"/>
                  </a:lnTo>
                  <a:lnTo>
                    <a:pt x="419" y="332"/>
                  </a:lnTo>
                  <a:lnTo>
                    <a:pt x="419" y="330"/>
                  </a:lnTo>
                  <a:lnTo>
                    <a:pt x="417" y="330"/>
                  </a:lnTo>
                  <a:lnTo>
                    <a:pt x="417" y="331"/>
                  </a:lnTo>
                  <a:lnTo>
                    <a:pt x="414" y="330"/>
                  </a:lnTo>
                  <a:lnTo>
                    <a:pt x="412" y="329"/>
                  </a:lnTo>
                  <a:lnTo>
                    <a:pt x="411" y="329"/>
                  </a:lnTo>
                  <a:lnTo>
                    <a:pt x="411" y="328"/>
                  </a:lnTo>
                  <a:lnTo>
                    <a:pt x="411" y="327"/>
                  </a:lnTo>
                  <a:lnTo>
                    <a:pt x="411" y="327"/>
                  </a:lnTo>
                  <a:lnTo>
                    <a:pt x="410" y="327"/>
                  </a:lnTo>
                  <a:lnTo>
                    <a:pt x="409" y="327"/>
                  </a:lnTo>
                  <a:lnTo>
                    <a:pt x="409" y="327"/>
                  </a:lnTo>
                  <a:lnTo>
                    <a:pt x="408" y="327"/>
                  </a:lnTo>
                  <a:lnTo>
                    <a:pt x="406" y="329"/>
                  </a:lnTo>
                  <a:lnTo>
                    <a:pt x="405" y="330"/>
                  </a:lnTo>
                  <a:lnTo>
                    <a:pt x="403" y="334"/>
                  </a:lnTo>
                  <a:lnTo>
                    <a:pt x="400" y="340"/>
                  </a:lnTo>
                  <a:lnTo>
                    <a:pt x="396" y="345"/>
                  </a:lnTo>
                  <a:lnTo>
                    <a:pt x="394" y="349"/>
                  </a:lnTo>
                  <a:lnTo>
                    <a:pt x="393" y="351"/>
                  </a:lnTo>
                  <a:lnTo>
                    <a:pt x="391" y="352"/>
                  </a:lnTo>
                  <a:lnTo>
                    <a:pt x="390" y="352"/>
                  </a:lnTo>
                  <a:lnTo>
                    <a:pt x="388" y="354"/>
                  </a:lnTo>
                  <a:lnTo>
                    <a:pt x="386" y="354"/>
                  </a:lnTo>
                  <a:lnTo>
                    <a:pt x="379" y="356"/>
                  </a:lnTo>
                  <a:lnTo>
                    <a:pt x="376" y="357"/>
                  </a:lnTo>
                  <a:lnTo>
                    <a:pt x="372" y="359"/>
                  </a:lnTo>
                  <a:lnTo>
                    <a:pt x="369" y="361"/>
                  </a:lnTo>
                  <a:lnTo>
                    <a:pt x="366" y="362"/>
                  </a:lnTo>
                  <a:lnTo>
                    <a:pt x="365" y="363"/>
                  </a:lnTo>
                  <a:lnTo>
                    <a:pt x="364" y="364"/>
                  </a:lnTo>
                  <a:lnTo>
                    <a:pt x="364" y="365"/>
                  </a:lnTo>
                  <a:lnTo>
                    <a:pt x="363" y="367"/>
                  </a:lnTo>
                  <a:lnTo>
                    <a:pt x="362" y="368"/>
                  </a:lnTo>
                  <a:lnTo>
                    <a:pt x="362" y="369"/>
                  </a:lnTo>
                  <a:lnTo>
                    <a:pt x="362" y="372"/>
                  </a:lnTo>
                  <a:lnTo>
                    <a:pt x="362" y="377"/>
                  </a:lnTo>
                  <a:lnTo>
                    <a:pt x="364" y="391"/>
                  </a:lnTo>
                  <a:lnTo>
                    <a:pt x="364" y="401"/>
                  </a:lnTo>
                  <a:lnTo>
                    <a:pt x="365" y="405"/>
                  </a:lnTo>
                  <a:lnTo>
                    <a:pt x="366" y="411"/>
                  </a:lnTo>
                  <a:lnTo>
                    <a:pt x="366" y="415"/>
                  </a:lnTo>
                  <a:lnTo>
                    <a:pt x="367" y="419"/>
                  </a:lnTo>
                  <a:lnTo>
                    <a:pt x="369" y="423"/>
                  </a:lnTo>
                  <a:lnTo>
                    <a:pt x="371" y="428"/>
                  </a:lnTo>
                  <a:lnTo>
                    <a:pt x="372" y="433"/>
                  </a:lnTo>
                  <a:lnTo>
                    <a:pt x="375" y="438"/>
                  </a:lnTo>
                  <a:lnTo>
                    <a:pt x="376" y="441"/>
                  </a:lnTo>
                  <a:lnTo>
                    <a:pt x="381" y="447"/>
                  </a:lnTo>
                  <a:lnTo>
                    <a:pt x="382" y="451"/>
                  </a:lnTo>
                  <a:lnTo>
                    <a:pt x="383" y="452"/>
                  </a:lnTo>
                  <a:lnTo>
                    <a:pt x="383" y="454"/>
                  </a:lnTo>
                  <a:lnTo>
                    <a:pt x="383" y="455"/>
                  </a:lnTo>
                  <a:lnTo>
                    <a:pt x="382" y="457"/>
                  </a:lnTo>
                  <a:lnTo>
                    <a:pt x="382" y="457"/>
                  </a:lnTo>
                  <a:lnTo>
                    <a:pt x="381" y="458"/>
                  </a:lnTo>
                  <a:lnTo>
                    <a:pt x="381" y="458"/>
                  </a:lnTo>
                  <a:lnTo>
                    <a:pt x="380" y="459"/>
                  </a:lnTo>
                  <a:lnTo>
                    <a:pt x="379" y="459"/>
                  </a:lnTo>
                  <a:lnTo>
                    <a:pt x="377" y="459"/>
                  </a:lnTo>
                  <a:lnTo>
                    <a:pt x="374" y="459"/>
                  </a:lnTo>
                  <a:lnTo>
                    <a:pt x="371" y="457"/>
                  </a:lnTo>
                  <a:lnTo>
                    <a:pt x="363" y="455"/>
                  </a:lnTo>
                  <a:lnTo>
                    <a:pt x="353" y="451"/>
                  </a:lnTo>
                  <a:lnTo>
                    <a:pt x="349" y="450"/>
                  </a:lnTo>
                  <a:lnTo>
                    <a:pt x="346" y="449"/>
                  </a:lnTo>
                  <a:lnTo>
                    <a:pt x="344" y="449"/>
                  </a:lnTo>
                  <a:lnTo>
                    <a:pt x="341" y="449"/>
                  </a:lnTo>
                  <a:lnTo>
                    <a:pt x="339" y="449"/>
                  </a:lnTo>
                  <a:lnTo>
                    <a:pt x="337" y="449"/>
                  </a:lnTo>
                  <a:lnTo>
                    <a:pt x="336" y="450"/>
                  </a:lnTo>
                  <a:lnTo>
                    <a:pt x="334" y="451"/>
                  </a:lnTo>
                  <a:lnTo>
                    <a:pt x="333" y="452"/>
                  </a:lnTo>
                  <a:lnTo>
                    <a:pt x="331" y="453"/>
                  </a:lnTo>
                  <a:lnTo>
                    <a:pt x="331" y="454"/>
                  </a:lnTo>
                  <a:lnTo>
                    <a:pt x="329" y="456"/>
                  </a:lnTo>
                  <a:lnTo>
                    <a:pt x="329" y="457"/>
                  </a:lnTo>
                  <a:lnTo>
                    <a:pt x="328" y="460"/>
                  </a:lnTo>
                  <a:lnTo>
                    <a:pt x="328" y="462"/>
                  </a:lnTo>
                  <a:lnTo>
                    <a:pt x="327" y="464"/>
                  </a:lnTo>
                  <a:lnTo>
                    <a:pt x="327" y="467"/>
                  </a:lnTo>
                  <a:lnTo>
                    <a:pt x="327" y="470"/>
                  </a:lnTo>
                  <a:lnTo>
                    <a:pt x="327" y="473"/>
                  </a:lnTo>
                  <a:lnTo>
                    <a:pt x="328" y="480"/>
                  </a:lnTo>
                  <a:lnTo>
                    <a:pt x="329" y="487"/>
                  </a:lnTo>
                  <a:lnTo>
                    <a:pt x="330" y="492"/>
                  </a:lnTo>
                  <a:lnTo>
                    <a:pt x="332" y="501"/>
                  </a:lnTo>
                  <a:lnTo>
                    <a:pt x="333" y="504"/>
                  </a:lnTo>
                  <a:lnTo>
                    <a:pt x="334" y="506"/>
                  </a:lnTo>
                  <a:lnTo>
                    <a:pt x="334" y="509"/>
                  </a:lnTo>
                  <a:lnTo>
                    <a:pt x="334" y="510"/>
                  </a:lnTo>
                  <a:lnTo>
                    <a:pt x="333" y="512"/>
                  </a:lnTo>
                  <a:lnTo>
                    <a:pt x="332" y="514"/>
                  </a:lnTo>
                  <a:lnTo>
                    <a:pt x="332" y="516"/>
                  </a:lnTo>
                  <a:lnTo>
                    <a:pt x="331" y="517"/>
                  </a:lnTo>
                  <a:lnTo>
                    <a:pt x="330" y="519"/>
                  </a:lnTo>
                  <a:lnTo>
                    <a:pt x="325" y="526"/>
                  </a:lnTo>
                  <a:lnTo>
                    <a:pt x="321" y="532"/>
                  </a:lnTo>
                  <a:lnTo>
                    <a:pt x="314" y="542"/>
                  </a:lnTo>
                  <a:lnTo>
                    <a:pt x="311" y="545"/>
                  </a:lnTo>
                  <a:lnTo>
                    <a:pt x="310" y="548"/>
                  </a:lnTo>
                  <a:lnTo>
                    <a:pt x="309" y="551"/>
                  </a:lnTo>
                  <a:lnTo>
                    <a:pt x="306" y="555"/>
                  </a:lnTo>
                  <a:lnTo>
                    <a:pt x="306" y="556"/>
                  </a:lnTo>
                  <a:lnTo>
                    <a:pt x="306" y="559"/>
                  </a:lnTo>
                  <a:lnTo>
                    <a:pt x="306" y="560"/>
                  </a:lnTo>
                  <a:lnTo>
                    <a:pt x="306" y="561"/>
                  </a:lnTo>
                  <a:lnTo>
                    <a:pt x="305" y="561"/>
                  </a:lnTo>
                  <a:lnTo>
                    <a:pt x="304" y="561"/>
                  </a:lnTo>
                  <a:lnTo>
                    <a:pt x="301" y="561"/>
                  </a:lnTo>
                  <a:lnTo>
                    <a:pt x="298" y="560"/>
                  </a:lnTo>
                  <a:lnTo>
                    <a:pt x="288" y="559"/>
                  </a:lnTo>
                  <a:lnTo>
                    <a:pt x="283" y="558"/>
                  </a:lnTo>
                  <a:lnTo>
                    <a:pt x="279" y="557"/>
                  </a:lnTo>
                  <a:lnTo>
                    <a:pt x="274" y="556"/>
                  </a:lnTo>
                  <a:lnTo>
                    <a:pt x="263" y="556"/>
                  </a:lnTo>
                  <a:lnTo>
                    <a:pt x="259" y="556"/>
                  </a:lnTo>
                  <a:lnTo>
                    <a:pt x="254" y="555"/>
                  </a:lnTo>
                  <a:lnTo>
                    <a:pt x="249" y="554"/>
                  </a:lnTo>
                  <a:lnTo>
                    <a:pt x="244" y="552"/>
                  </a:lnTo>
                  <a:lnTo>
                    <a:pt x="241" y="551"/>
                  </a:lnTo>
                  <a:lnTo>
                    <a:pt x="239" y="550"/>
                  </a:lnTo>
                  <a:lnTo>
                    <a:pt x="237" y="549"/>
                  </a:lnTo>
                  <a:lnTo>
                    <a:pt x="236" y="546"/>
                  </a:lnTo>
                  <a:lnTo>
                    <a:pt x="232" y="541"/>
                  </a:lnTo>
                  <a:lnTo>
                    <a:pt x="232" y="539"/>
                  </a:lnTo>
                  <a:lnTo>
                    <a:pt x="230" y="538"/>
                  </a:lnTo>
                  <a:lnTo>
                    <a:pt x="229" y="536"/>
                  </a:lnTo>
                  <a:lnTo>
                    <a:pt x="227" y="536"/>
                  </a:lnTo>
                  <a:lnTo>
                    <a:pt x="217" y="533"/>
                  </a:lnTo>
                  <a:lnTo>
                    <a:pt x="215" y="532"/>
                  </a:lnTo>
                  <a:lnTo>
                    <a:pt x="212" y="531"/>
                  </a:lnTo>
                  <a:lnTo>
                    <a:pt x="210" y="529"/>
                  </a:lnTo>
                  <a:lnTo>
                    <a:pt x="209" y="527"/>
                  </a:lnTo>
                  <a:lnTo>
                    <a:pt x="207" y="525"/>
                  </a:lnTo>
                  <a:lnTo>
                    <a:pt x="207" y="523"/>
                  </a:lnTo>
                  <a:lnTo>
                    <a:pt x="205" y="517"/>
                  </a:lnTo>
                  <a:lnTo>
                    <a:pt x="204" y="515"/>
                  </a:lnTo>
                  <a:lnTo>
                    <a:pt x="204" y="513"/>
                  </a:lnTo>
                  <a:lnTo>
                    <a:pt x="203" y="512"/>
                  </a:lnTo>
                  <a:lnTo>
                    <a:pt x="202" y="511"/>
                  </a:lnTo>
                  <a:lnTo>
                    <a:pt x="201" y="511"/>
                  </a:lnTo>
                  <a:lnTo>
                    <a:pt x="199" y="510"/>
                  </a:lnTo>
                  <a:lnTo>
                    <a:pt x="197" y="510"/>
                  </a:lnTo>
                  <a:lnTo>
                    <a:pt x="191" y="509"/>
                  </a:lnTo>
                  <a:lnTo>
                    <a:pt x="188" y="509"/>
                  </a:lnTo>
                  <a:lnTo>
                    <a:pt x="180" y="507"/>
                  </a:lnTo>
                  <a:lnTo>
                    <a:pt x="169" y="505"/>
                  </a:lnTo>
                  <a:lnTo>
                    <a:pt x="165" y="504"/>
                  </a:lnTo>
                  <a:lnTo>
                    <a:pt x="163" y="503"/>
                  </a:lnTo>
                  <a:lnTo>
                    <a:pt x="162" y="502"/>
                  </a:lnTo>
                  <a:lnTo>
                    <a:pt x="159" y="501"/>
                  </a:lnTo>
                  <a:lnTo>
                    <a:pt x="158" y="500"/>
                  </a:lnTo>
                  <a:lnTo>
                    <a:pt x="157" y="499"/>
                  </a:lnTo>
                  <a:lnTo>
                    <a:pt x="156" y="497"/>
                  </a:lnTo>
                  <a:lnTo>
                    <a:pt x="152" y="492"/>
                  </a:lnTo>
                  <a:lnTo>
                    <a:pt x="150" y="489"/>
                  </a:lnTo>
                  <a:lnTo>
                    <a:pt x="148" y="487"/>
                  </a:lnTo>
                  <a:lnTo>
                    <a:pt x="143" y="483"/>
                  </a:lnTo>
                  <a:lnTo>
                    <a:pt x="138" y="479"/>
                  </a:lnTo>
                  <a:lnTo>
                    <a:pt x="136" y="477"/>
                  </a:lnTo>
                  <a:lnTo>
                    <a:pt x="134" y="474"/>
                  </a:lnTo>
                  <a:lnTo>
                    <a:pt x="132" y="471"/>
                  </a:lnTo>
                  <a:lnTo>
                    <a:pt x="130" y="467"/>
                  </a:lnTo>
                  <a:lnTo>
                    <a:pt x="129" y="463"/>
                  </a:lnTo>
                  <a:lnTo>
                    <a:pt x="127" y="455"/>
                  </a:lnTo>
                  <a:lnTo>
                    <a:pt x="125" y="452"/>
                  </a:lnTo>
                  <a:lnTo>
                    <a:pt x="124" y="447"/>
                  </a:lnTo>
                  <a:lnTo>
                    <a:pt x="121" y="443"/>
                  </a:lnTo>
                  <a:lnTo>
                    <a:pt x="119" y="439"/>
                  </a:lnTo>
                  <a:lnTo>
                    <a:pt x="114" y="432"/>
                  </a:lnTo>
                  <a:lnTo>
                    <a:pt x="112" y="430"/>
                  </a:lnTo>
                  <a:lnTo>
                    <a:pt x="107" y="426"/>
                  </a:lnTo>
                  <a:lnTo>
                    <a:pt x="105" y="424"/>
                  </a:lnTo>
                  <a:lnTo>
                    <a:pt x="104" y="422"/>
                  </a:lnTo>
                  <a:lnTo>
                    <a:pt x="102" y="420"/>
                  </a:lnTo>
                  <a:lnTo>
                    <a:pt x="101" y="417"/>
                  </a:lnTo>
                  <a:lnTo>
                    <a:pt x="100" y="416"/>
                  </a:lnTo>
                  <a:lnTo>
                    <a:pt x="99" y="414"/>
                  </a:lnTo>
                  <a:lnTo>
                    <a:pt x="99" y="412"/>
                  </a:lnTo>
                  <a:lnTo>
                    <a:pt x="99" y="410"/>
                  </a:lnTo>
                  <a:lnTo>
                    <a:pt x="99" y="407"/>
                  </a:lnTo>
                  <a:lnTo>
                    <a:pt x="98" y="404"/>
                  </a:lnTo>
                  <a:lnTo>
                    <a:pt x="97" y="402"/>
                  </a:lnTo>
                  <a:lnTo>
                    <a:pt x="97" y="399"/>
                  </a:lnTo>
                  <a:lnTo>
                    <a:pt x="94" y="392"/>
                  </a:lnTo>
                  <a:lnTo>
                    <a:pt x="92" y="384"/>
                  </a:lnTo>
                  <a:lnTo>
                    <a:pt x="89" y="379"/>
                  </a:lnTo>
                  <a:lnTo>
                    <a:pt x="87" y="374"/>
                  </a:lnTo>
                  <a:lnTo>
                    <a:pt x="79" y="361"/>
                  </a:lnTo>
                  <a:lnTo>
                    <a:pt x="77" y="357"/>
                  </a:lnTo>
                  <a:lnTo>
                    <a:pt x="75" y="353"/>
                  </a:lnTo>
                  <a:lnTo>
                    <a:pt x="72" y="349"/>
                  </a:lnTo>
                  <a:lnTo>
                    <a:pt x="69" y="345"/>
                  </a:lnTo>
                  <a:lnTo>
                    <a:pt x="64" y="339"/>
                  </a:lnTo>
                  <a:lnTo>
                    <a:pt x="57" y="332"/>
                  </a:lnTo>
                  <a:lnTo>
                    <a:pt x="55" y="330"/>
                  </a:lnTo>
                  <a:lnTo>
                    <a:pt x="54" y="328"/>
                  </a:lnTo>
                  <a:lnTo>
                    <a:pt x="53" y="326"/>
                  </a:lnTo>
                  <a:lnTo>
                    <a:pt x="52" y="324"/>
                  </a:lnTo>
                  <a:lnTo>
                    <a:pt x="51" y="322"/>
                  </a:lnTo>
                  <a:lnTo>
                    <a:pt x="51" y="320"/>
                  </a:lnTo>
                  <a:lnTo>
                    <a:pt x="50" y="317"/>
                  </a:lnTo>
                  <a:lnTo>
                    <a:pt x="50" y="313"/>
                  </a:lnTo>
                  <a:lnTo>
                    <a:pt x="52" y="306"/>
                  </a:lnTo>
                  <a:lnTo>
                    <a:pt x="53" y="295"/>
                  </a:lnTo>
                  <a:lnTo>
                    <a:pt x="54" y="292"/>
                  </a:lnTo>
                  <a:lnTo>
                    <a:pt x="55" y="288"/>
                  </a:lnTo>
                  <a:lnTo>
                    <a:pt x="58" y="280"/>
                  </a:lnTo>
                  <a:lnTo>
                    <a:pt x="59" y="277"/>
                  </a:lnTo>
                  <a:lnTo>
                    <a:pt x="60" y="274"/>
                  </a:lnTo>
                  <a:lnTo>
                    <a:pt x="61" y="269"/>
                  </a:lnTo>
                  <a:lnTo>
                    <a:pt x="61" y="267"/>
                  </a:lnTo>
                  <a:lnTo>
                    <a:pt x="62" y="264"/>
                  </a:lnTo>
                  <a:lnTo>
                    <a:pt x="65" y="260"/>
                  </a:lnTo>
                  <a:lnTo>
                    <a:pt x="66" y="259"/>
                  </a:lnTo>
                  <a:lnTo>
                    <a:pt x="66" y="258"/>
                  </a:lnTo>
                  <a:lnTo>
                    <a:pt x="67" y="257"/>
                  </a:lnTo>
                  <a:lnTo>
                    <a:pt x="67" y="255"/>
                  </a:lnTo>
                  <a:lnTo>
                    <a:pt x="67" y="253"/>
                  </a:lnTo>
                  <a:lnTo>
                    <a:pt x="66" y="249"/>
                  </a:lnTo>
                  <a:lnTo>
                    <a:pt x="66" y="247"/>
                  </a:lnTo>
                  <a:lnTo>
                    <a:pt x="67" y="245"/>
                  </a:lnTo>
                  <a:lnTo>
                    <a:pt x="68" y="240"/>
                  </a:lnTo>
                  <a:lnTo>
                    <a:pt x="69" y="239"/>
                  </a:lnTo>
                  <a:lnTo>
                    <a:pt x="69" y="237"/>
                  </a:lnTo>
                  <a:lnTo>
                    <a:pt x="68" y="236"/>
                  </a:lnTo>
                  <a:lnTo>
                    <a:pt x="68" y="235"/>
                  </a:lnTo>
                  <a:lnTo>
                    <a:pt x="67" y="232"/>
                  </a:lnTo>
                  <a:lnTo>
                    <a:pt x="65" y="230"/>
                  </a:lnTo>
                  <a:lnTo>
                    <a:pt x="64" y="230"/>
                  </a:lnTo>
                  <a:lnTo>
                    <a:pt x="63" y="228"/>
                  </a:lnTo>
                  <a:lnTo>
                    <a:pt x="59" y="225"/>
                  </a:lnTo>
                  <a:lnTo>
                    <a:pt x="57" y="223"/>
                  </a:lnTo>
                  <a:lnTo>
                    <a:pt x="55" y="222"/>
                  </a:lnTo>
                  <a:lnTo>
                    <a:pt x="54" y="220"/>
                  </a:lnTo>
                  <a:lnTo>
                    <a:pt x="54" y="219"/>
                  </a:lnTo>
                  <a:lnTo>
                    <a:pt x="54" y="217"/>
                  </a:lnTo>
                  <a:lnTo>
                    <a:pt x="55" y="216"/>
                  </a:lnTo>
                  <a:lnTo>
                    <a:pt x="57" y="214"/>
                  </a:lnTo>
                  <a:lnTo>
                    <a:pt x="57" y="212"/>
                  </a:lnTo>
                  <a:lnTo>
                    <a:pt x="57" y="210"/>
                  </a:lnTo>
                  <a:lnTo>
                    <a:pt x="57" y="208"/>
                  </a:lnTo>
                  <a:lnTo>
                    <a:pt x="56" y="206"/>
                  </a:lnTo>
                  <a:lnTo>
                    <a:pt x="53" y="199"/>
                  </a:lnTo>
                  <a:lnTo>
                    <a:pt x="52" y="195"/>
                  </a:lnTo>
                  <a:lnTo>
                    <a:pt x="51" y="192"/>
                  </a:lnTo>
                  <a:lnTo>
                    <a:pt x="50" y="187"/>
                  </a:lnTo>
                  <a:lnTo>
                    <a:pt x="49" y="185"/>
                  </a:lnTo>
                  <a:lnTo>
                    <a:pt x="48" y="182"/>
                  </a:lnTo>
                  <a:lnTo>
                    <a:pt x="45" y="177"/>
                  </a:lnTo>
                  <a:lnTo>
                    <a:pt x="44" y="175"/>
                  </a:lnTo>
                  <a:lnTo>
                    <a:pt x="43" y="172"/>
                  </a:lnTo>
                  <a:lnTo>
                    <a:pt x="43" y="172"/>
                  </a:lnTo>
                  <a:lnTo>
                    <a:pt x="42" y="170"/>
                  </a:lnTo>
                  <a:lnTo>
                    <a:pt x="42" y="169"/>
                  </a:lnTo>
                  <a:lnTo>
                    <a:pt x="43" y="167"/>
                  </a:lnTo>
                  <a:lnTo>
                    <a:pt x="43" y="167"/>
                  </a:lnTo>
                  <a:lnTo>
                    <a:pt x="44" y="164"/>
                  </a:lnTo>
                  <a:lnTo>
                    <a:pt x="46" y="162"/>
                  </a:lnTo>
                  <a:lnTo>
                    <a:pt x="48" y="160"/>
                  </a:lnTo>
                  <a:lnTo>
                    <a:pt x="49" y="158"/>
                  </a:lnTo>
                  <a:lnTo>
                    <a:pt x="51" y="157"/>
                  </a:lnTo>
                  <a:lnTo>
                    <a:pt x="53" y="157"/>
                  </a:lnTo>
                  <a:lnTo>
                    <a:pt x="57" y="155"/>
                  </a:lnTo>
                  <a:lnTo>
                    <a:pt x="59" y="154"/>
                  </a:lnTo>
                  <a:lnTo>
                    <a:pt x="61" y="152"/>
                  </a:lnTo>
                  <a:lnTo>
                    <a:pt x="63" y="150"/>
                  </a:lnTo>
                  <a:lnTo>
                    <a:pt x="64" y="148"/>
                  </a:lnTo>
                  <a:lnTo>
                    <a:pt x="66" y="145"/>
                  </a:lnTo>
                  <a:lnTo>
                    <a:pt x="67" y="142"/>
                  </a:lnTo>
                  <a:lnTo>
                    <a:pt x="69" y="140"/>
                  </a:lnTo>
                  <a:lnTo>
                    <a:pt x="69" y="138"/>
                  </a:lnTo>
                  <a:lnTo>
                    <a:pt x="69" y="136"/>
                  </a:lnTo>
                  <a:lnTo>
                    <a:pt x="69" y="135"/>
                  </a:lnTo>
                  <a:lnTo>
                    <a:pt x="69" y="134"/>
                  </a:lnTo>
                  <a:lnTo>
                    <a:pt x="69" y="132"/>
                  </a:lnTo>
                  <a:lnTo>
                    <a:pt x="68" y="132"/>
                  </a:lnTo>
                  <a:lnTo>
                    <a:pt x="67" y="131"/>
                  </a:lnTo>
                  <a:lnTo>
                    <a:pt x="67" y="131"/>
                  </a:lnTo>
                  <a:lnTo>
                    <a:pt x="66" y="130"/>
                  </a:lnTo>
                  <a:lnTo>
                    <a:pt x="62" y="130"/>
                  </a:lnTo>
                  <a:lnTo>
                    <a:pt x="60" y="129"/>
                  </a:lnTo>
                  <a:lnTo>
                    <a:pt x="59" y="128"/>
                  </a:lnTo>
                  <a:lnTo>
                    <a:pt x="57" y="127"/>
                  </a:lnTo>
                  <a:lnTo>
                    <a:pt x="53" y="122"/>
                  </a:lnTo>
                  <a:lnTo>
                    <a:pt x="53" y="121"/>
                  </a:lnTo>
                  <a:lnTo>
                    <a:pt x="52" y="120"/>
                  </a:lnTo>
                  <a:lnTo>
                    <a:pt x="52" y="118"/>
                  </a:lnTo>
                  <a:lnTo>
                    <a:pt x="52" y="117"/>
                  </a:lnTo>
                  <a:lnTo>
                    <a:pt x="52" y="116"/>
                  </a:lnTo>
                  <a:lnTo>
                    <a:pt x="52" y="115"/>
                  </a:lnTo>
                  <a:lnTo>
                    <a:pt x="54" y="114"/>
                  </a:lnTo>
                  <a:lnTo>
                    <a:pt x="54" y="113"/>
                  </a:lnTo>
                  <a:lnTo>
                    <a:pt x="54" y="112"/>
                  </a:lnTo>
                  <a:lnTo>
                    <a:pt x="54" y="112"/>
                  </a:lnTo>
                  <a:lnTo>
                    <a:pt x="53" y="111"/>
                  </a:lnTo>
                  <a:lnTo>
                    <a:pt x="52" y="110"/>
                  </a:lnTo>
                  <a:lnTo>
                    <a:pt x="50" y="110"/>
                  </a:lnTo>
                  <a:lnTo>
                    <a:pt x="49" y="109"/>
                  </a:lnTo>
                  <a:lnTo>
                    <a:pt x="46" y="108"/>
                  </a:lnTo>
                  <a:lnTo>
                    <a:pt x="44" y="108"/>
                  </a:lnTo>
                  <a:lnTo>
                    <a:pt x="43" y="107"/>
                  </a:lnTo>
                  <a:lnTo>
                    <a:pt x="41" y="106"/>
                  </a:lnTo>
                  <a:lnTo>
                    <a:pt x="39" y="105"/>
                  </a:lnTo>
                  <a:lnTo>
                    <a:pt x="37" y="102"/>
                  </a:lnTo>
                  <a:lnTo>
                    <a:pt x="34" y="97"/>
                  </a:lnTo>
                  <a:lnTo>
                    <a:pt x="33" y="97"/>
                  </a:lnTo>
                  <a:lnTo>
                    <a:pt x="32" y="96"/>
                  </a:lnTo>
                  <a:lnTo>
                    <a:pt x="30" y="95"/>
                  </a:lnTo>
                  <a:lnTo>
                    <a:pt x="27" y="92"/>
                  </a:lnTo>
                  <a:lnTo>
                    <a:pt x="25" y="91"/>
                  </a:lnTo>
                  <a:lnTo>
                    <a:pt x="22" y="90"/>
                  </a:lnTo>
                  <a:lnTo>
                    <a:pt x="19" y="89"/>
                  </a:lnTo>
                  <a:lnTo>
                    <a:pt x="17" y="87"/>
                  </a:lnTo>
                  <a:lnTo>
                    <a:pt x="14" y="87"/>
                  </a:lnTo>
                  <a:lnTo>
                    <a:pt x="5" y="86"/>
                  </a:lnTo>
                  <a:lnTo>
                    <a:pt x="3" y="85"/>
                  </a:lnTo>
                  <a:lnTo>
                    <a:pt x="2" y="85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2" y="82"/>
                  </a:lnTo>
                  <a:lnTo>
                    <a:pt x="5" y="77"/>
                  </a:lnTo>
                  <a:lnTo>
                    <a:pt x="6" y="75"/>
                  </a:lnTo>
                  <a:lnTo>
                    <a:pt x="7" y="73"/>
                  </a:lnTo>
                  <a:lnTo>
                    <a:pt x="9" y="72"/>
                  </a:lnTo>
                  <a:lnTo>
                    <a:pt x="10" y="70"/>
                  </a:lnTo>
                  <a:lnTo>
                    <a:pt x="12" y="70"/>
                  </a:lnTo>
                  <a:lnTo>
                    <a:pt x="15" y="68"/>
                  </a:lnTo>
                  <a:lnTo>
                    <a:pt x="17" y="67"/>
                  </a:lnTo>
                  <a:lnTo>
                    <a:pt x="19" y="67"/>
                  </a:lnTo>
                  <a:lnTo>
                    <a:pt x="22" y="67"/>
                  </a:lnTo>
                  <a:lnTo>
                    <a:pt x="29" y="67"/>
                  </a:lnTo>
                  <a:lnTo>
                    <a:pt x="32" y="67"/>
                  </a:lnTo>
                  <a:lnTo>
                    <a:pt x="34" y="66"/>
                  </a:lnTo>
                  <a:lnTo>
                    <a:pt x="37" y="65"/>
                  </a:lnTo>
                  <a:lnTo>
                    <a:pt x="39" y="65"/>
                  </a:lnTo>
                  <a:lnTo>
                    <a:pt x="42" y="63"/>
                  </a:lnTo>
                  <a:lnTo>
                    <a:pt x="44" y="61"/>
                  </a:lnTo>
                  <a:lnTo>
                    <a:pt x="48" y="57"/>
                  </a:lnTo>
                  <a:lnTo>
                    <a:pt x="49" y="56"/>
                  </a:lnTo>
                  <a:lnTo>
                    <a:pt x="51" y="55"/>
                  </a:lnTo>
                  <a:lnTo>
                    <a:pt x="52" y="55"/>
                  </a:lnTo>
                  <a:lnTo>
                    <a:pt x="53" y="55"/>
                  </a:lnTo>
                  <a:lnTo>
                    <a:pt x="55" y="55"/>
                  </a:lnTo>
                  <a:lnTo>
                    <a:pt x="57" y="55"/>
                  </a:lnTo>
                  <a:lnTo>
                    <a:pt x="59" y="55"/>
                  </a:lnTo>
                  <a:lnTo>
                    <a:pt x="59" y="54"/>
                  </a:lnTo>
                  <a:lnTo>
                    <a:pt x="61" y="53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3" y="50"/>
                  </a:lnTo>
                  <a:lnTo>
                    <a:pt x="64" y="47"/>
                  </a:lnTo>
                  <a:lnTo>
                    <a:pt x="67" y="43"/>
                  </a:lnTo>
                  <a:lnTo>
                    <a:pt x="69" y="41"/>
                  </a:lnTo>
                  <a:lnTo>
                    <a:pt x="70" y="37"/>
                  </a:lnTo>
                  <a:lnTo>
                    <a:pt x="72" y="32"/>
                  </a:lnTo>
                  <a:lnTo>
                    <a:pt x="73" y="30"/>
                  </a:lnTo>
                  <a:lnTo>
                    <a:pt x="74" y="25"/>
                  </a:lnTo>
                  <a:lnTo>
                    <a:pt x="74" y="23"/>
                  </a:lnTo>
                  <a:lnTo>
                    <a:pt x="76" y="21"/>
                  </a:lnTo>
                  <a:lnTo>
                    <a:pt x="77" y="20"/>
                  </a:lnTo>
                  <a:lnTo>
                    <a:pt x="79" y="18"/>
                  </a:lnTo>
                  <a:lnTo>
                    <a:pt x="82" y="17"/>
                  </a:lnTo>
                  <a:lnTo>
                    <a:pt x="96" y="10"/>
                  </a:lnTo>
                  <a:lnTo>
                    <a:pt x="102" y="7"/>
                  </a:lnTo>
                  <a:lnTo>
                    <a:pt x="105" y="5"/>
                  </a:lnTo>
                  <a:lnTo>
                    <a:pt x="108" y="5"/>
                  </a:lnTo>
                  <a:lnTo>
                    <a:pt x="119" y="1"/>
                  </a:lnTo>
                  <a:lnTo>
                    <a:pt x="120" y="1"/>
                  </a:lnTo>
                  <a:close/>
                </a:path>
              </a:pathLst>
            </a:custGeom>
            <a:solidFill>
              <a:srgbClr val="D7144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>
                <a:ln w="9525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38" name="Freeform 101">
              <a:extLst>
                <a:ext uri="{FF2B5EF4-FFF2-40B4-BE49-F238E27FC236}">
                  <a16:creationId xmlns:a16="http://schemas.microsoft.com/office/drawing/2014/main" id="{7CBEE1AF-7741-ECE1-9DAE-660190E10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0574" y="3522126"/>
              <a:ext cx="1076325" cy="930275"/>
            </a:xfrm>
            <a:custGeom>
              <a:avLst/>
              <a:gdLst>
                <a:gd name="T0" fmla="*/ 141 w 678"/>
                <a:gd name="T1" fmla="*/ 7 h 586"/>
                <a:gd name="T2" fmla="*/ 179 w 678"/>
                <a:gd name="T3" fmla="*/ 19 h 586"/>
                <a:gd name="T4" fmla="*/ 197 w 678"/>
                <a:gd name="T5" fmla="*/ 39 h 586"/>
                <a:gd name="T6" fmla="*/ 244 w 678"/>
                <a:gd name="T7" fmla="*/ 42 h 586"/>
                <a:gd name="T8" fmla="*/ 296 w 678"/>
                <a:gd name="T9" fmla="*/ 62 h 586"/>
                <a:gd name="T10" fmla="*/ 324 w 678"/>
                <a:gd name="T11" fmla="*/ 74 h 586"/>
                <a:gd name="T12" fmla="*/ 364 w 678"/>
                <a:gd name="T13" fmla="*/ 65 h 586"/>
                <a:gd name="T14" fmla="*/ 394 w 678"/>
                <a:gd name="T15" fmla="*/ 40 h 586"/>
                <a:gd name="T16" fmla="*/ 410 w 678"/>
                <a:gd name="T17" fmla="*/ 47 h 586"/>
                <a:gd name="T18" fmla="*/ 434 w 678"/>
                <a:gd name="T19" fmla="*/ 51 h 586"/>
                <a:gd name="T20" fmla="*/ 447 w 678"/>
                <a:gd name="T21" fmla="*/ 68 h 586"/>
                <a:gd name="T22" fmla="*/ 470 w 678"/>
                <a:gd name="T23" fmla="*/ 95 h 586"/>
                <a:gd name="T24" fmla="*/ 510 w 678"/>
                <a:gd name="T25" fmla="*/ 107 h 586"/>
                <a:gd name="T26" fmla="*/ 601 w 678"/>
                <a:gd name="T27" fmla="*/ 105 h 586"/>
                <a:gd name="T28" fmla="*/ 629 w 678"/>
                <a:gd name="T29" fmla="*/ 94 h 586"/>
                <a:gd name="T30" fmla="*/ 644 w 678"/>
                <a:gd name="T31" fmla="*/ 75 h 586"/>
                <a:gd name="T32" fmla="*/ 652 w 678"/>
                <a:gd name="T33" fmla="*/ 92 h 586"/>
                <a:gd name="T34" fmla="*/ 652 w 678"/>
                <a:gd name="T35" fmla="*/ 145 h 586"/>
                <a:gd name="T36" fmla="*/ 677 w 678"/>
                <a:gd name="T37" fmla="*/ 182 h 586"/>
                <a:gd name="T38" fmla="*/ 668 w 678"/>
                <a:gd name="T39" fmla="*/ 201 h 586"/>
                <a:gd name="T40" fmla="*/ 639 w 678"/>
                <a:gd name="T41" fmla="*/ 226 h 586"/>
                <a:gd name="T42" fmla="*/ 606 w 678"/>
                <a:gd name="T43" fmla="*/ 244 h 586"/>
                <a:gd name="T44" fmla="*/ 591 w 678"/>
                <a:gd name="T45" fmla="*/ 274 h 586"/>
                <a:gd name="T46" fmla="*/ 584 w 678"/>
                <a:gd name="T47" fmla="*/ 312 h 586"/>
                <a:gd name="T48" fmla="*/ 574 w 678"/>
                <a:gd name="T49" fmla="*/ 336 h 586"/>
                <a:gd name="T50" fmla="*/ 585 w 678"/>
                <a:gd name="T51" fmla="*/ 365 h 586"/>
                <a:gd name="T52" fmla="*/ 584 w 678"/>
                <a:gd name="T53" fmla="*/ 379 h 586"/>
                <a:gd name="T54" fmla="*/ 570 w 678"/>
                <a:gd name="T55" fmla="*/ 385 h 586"/>
                <a:gd name="T56" fmla="*/ 527 w 678"/>
                <a:gd name="T57" fmla="*/ 367 h 586"/>
                <a:gd name="T58" fmla="*/ 474 w 678"/>
                <a:gd name="T59" fmla="*/ 367 h 586"/>
                <a:gd name="T60" fmla="*/ 411 w 678"/>
                <a:gd name="T61" fmla="*/ 379 h 586"/>
                <a:gd name="T62" fmla="*/ 379 w 678"/>
                <a:gd name="T63" fmla="*/ 379 h 586"/>
                <a:gd name="T64" fmla="*/ 376 w 678"/>
                <a:gd name="T65" fmla="*/ 409 h 586"/>
                <a:gd name="T66" fmla="*/ 384 w 678"/>
                <a:gd name="T67" fmla="*/ 464 h 586"/>
                <a:gd name="T68" fmla="*/ 393 w 678"/>
                <a:gd name="T69" fmla="*/ 515 h 586"/>
                <a:gd name="T70" fmla="*/ 375 w 678"/>
                <a:gd name="T71" fmla="*/ 559 h 586"/>
                <a:gd name="T72" fmla="*/ 347 w 678"/>
                <a:gd name="T73" fmla="*/ 573 h 586"/>
                <a:gd name="T74" fmla="*/ 326 w 678"/>
                <a:gd name="T75" fmla="*/ 576 h 586"/>
                <a:gd name="T76" fmla="*/ 281 w 678"/>
                <a:gd name="T77" fmla="*/ 551 h 586"/>
                <a:gd name="T78" fmla="*/ 243 w 678"/>
                <a:gd name="T79" fmla="*/ 531 h 586"/>
                <a:gd name="T80" fmla="*/ 226 w 678"/>
                <a:gd name="T81" fmla="*/ 477 h 586"/>
                <a:gd name="T82" fmla="*/ 203 w 678"/>
                <a:gd name="T83" fmla="*/ 454 h 586"/>
                <a:gd name="T84" fmla="*/ 181 w 678"/>
                <a:gd name="T85" fmla="*/ 402 h 586"/>
                <a:gd name="T86" fmla="*/ 148 w 678"/>
                <a:gd name="T87" fmla="*/ 394 h 586"/>
                <a:gd name="T88" fmla="*/ 115 w 678"/>
                <a:gd name="T89" fmla="*/ 384 h 586"/>
                <a:gd name="T90" fmla="*/ 75 w 678"/>
                <a:gd name="T91" fmla="*/ 308 h 586"/>
                <a:gd name="T92" fmla="*/ 57 w 678"/>
                <a:gd name="T93" fmla="*/ 301 h 586"/>
                <a:gd name="T94" fmla="*/ 34 w 678"/>
                <a:gd name="T95" fmla="*/ 275 h 586"/>
                <a:gd name="T96" fmla="*/ 8 w 678"/>
                <a:gd name="T97" fmla="*/ 270 h 586"/>
                <a:gd name="T98" fmla="*/ 0 w 678"/>
                <a:gd name="T99" fmla="*/ 232 h 586"/>
                <a:gd name="T100" fmla="*/ 13 w 678"/>
                <a:gd name="T101" fmla="*/ 184 h 586"/>
                <a:gd name="T102" fmla="*/ 40 w 678"/>
                <a:gd name="T103" fmla="*/ 159 h 586"/>
                <a:gd name="T104" fmla="*/ 56 w 678"/>
                <a:gd name="T105" fmla="*/ 140 h 586"/>
                <a:gd name="T106" fmla="*/ 47 w 678"/>
                <a:gd name="T107" fmla="*/ 91 h 586"/>
                <a:gd name="T108" fmla="*/ 52 w 678"/>
                <a:gd name="T109" fmla="*/ 40 h 586"/>
                <a:gd name="T110" fmla="*/ 74 w 678"/>
                <a:gd name="T111" fmla="*/ 27 h 586"/>
                <a:gd name="T112" fmla="*/ 99 w 678"/>
                <a:gd name="T113" fmla="*/ 22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78" h="586">
                  <a:moveTo>
                    <a:pt x="132" y="0"/>
                  </a:moveTo>
                  <a:lnTo>
                    <a:pt x="135" y="2"/>
                  </a:lnTo>
                  <a:lnTo>
                    <a:pt x="137" y="1"/>
                  </a:lnTo>
                  <a:lnTo>
                    <a:pt x="137" y="1"/>
                  </a:lnTo>
                  <a:lnTo>
                    <a:pt x="138" y="2"/>
                  </a:lnTo>
                  <a:lnTo>
                    <a:pt x="139" y="2"/>
                  </a:lnTo>
                  <a:lnTo>
                    <a:pt x="140" y="5"/>
                  </a:lnTo>
                  <a:lnTo>
                    <a:pt x="140" y="6"/>
                  </a:lnTo>
                  <a:lnTo>
                    <a:pt x="140" y="6"/>
                  </a:lnTo>
                  <a:lnTo>
                    <a:pt x="141" y="7"/>
                  </a:lnTo>
                  <a:lnTo>
                    <a:pt x="143" y="8"/>
                  </a:lnTo>
                  <a:lnTo>
                    <a:pt x="145" y="9"/>
                  </a:lnTo>
                  <a:lnTo>
                    <a:pt x="147" y="10"/>
                  </a:lnTo>
                  <a:lnTo>
                    <a:pt x="150" y="10"/>
                  </a:lnTo>
                  <a:lnTo>
                    <a:pt x="161" y="12"/>
                  </a:lnTo>
                  <a:lnTo>
                    <a:pt x="167" y="14"/>
                  </a:lnTo>
                  <a:lnTo>
                    <a:pt x="171" y="15"/>
                  </a:lnTo>
                  <a:lnTo>
                    <a:pt x="174" y="16"/>
                  </a:lnTo>
                  <a:lnTo>
                    <a:pt x="177" y="17"/>
                  </a:lnTo>
                  <a:lnTo>
                    <a:pt x="179" y="19"/>
                  </a:lnTo>
                  <a:lnTo>
                    <a:pt x="182" y="20"/>
                  </a:lnTo>
                  <a:lnTo>
                    <a:pt x="184" y="22"/>
                  </a:lnTo>
                  <a:lnTo>
                    <a:pt x="185" y="23"/>
                  </a:lnTo>
                  <a:lnTo>
                    <a:pt x="187" y="25"/>
                  </a:lnTo>
                  <a:lnTo>
                    <a:pt x="188" y="26"/>
                  </a:lnTo>
                  <a:lnTo>
                    <a:pt x="189" y="28"/>
                  </a:lnTo>
                  <a:lnTo>
                    <a:pt x="192" y="35"/>
                  </a:lnTo>
                  <a:lnTo>
                    <a:pt x="194" y="36"/>
                  </a:lnTo>
                  <a:lnTo>
                    <a:pt x="195" y="37"/>
                  </a:lnTo>
                  <a:lnTo>
                    <a:pt x="197" y="39"/>
                  </a:lnTo>
                  <a:lnTo>
                    <a:pt x="199" y="40"/>
                  </a:lnTo>
                  <a:lnTo>
                    <a:pt x="201" y="41"/>
                  </a:lnTo>
                  <a:lnTo>
                    <a:pt x="204" y="42"/>
                  </a:lnTo>
                  <a:lnTo>
                    <a:pt x="206" y="42"/>
                  </a:lnTo>
                  <a:lnTo>
                    <a:pt x="208" y="43"/>
                  </a:lnTo>
                  <a:lnTo>
                    <a:pt x="212" y="43"/>
                  </a:lnTo>
                  <a:lnTo>
                    <a:pt x="215" y="43"/>
                  </a:lnTo>
                  <a:lnTo>
                    <a:pt x="225" y="42"/>
                  </a:lnTo>
                  <a:lnTo>
                    <a:pt x="231" y="42"/>
                  </a:lnTo>
                  <a:lnTo>
                    <a:pt x="244" y="42"/>
                  </a:lnTo>
                  <a:lnTo>
                    <a:pt x="256" y="43"/>
                  </a:lnTo>
                  <a:lnTo>
                    <a:pt x="281" y="44"/>
                  </a:lnTo>
                  <a:lnTo>
                    <a:pt x="283" y="45"/>
                  </a:lnTo>
                  <a:lnTo>
                    <a:pt x="284" y="45"/>
                  </a:lnTo>
                  <a:lnTo>
                    <a:pt x="287" y="46"/>
                  </a:lnTo>
                  <a:lnTo>
                    <a:pt x="288" y="47"/>
                  </a:lnTo>
                  <a:lnTo>
                    <a:pt x="290" y="50"/>
                  </a:lnTo>
                  <a:lnTo>
                    <a:pt x="292" y="53"/>
                  </a:lnTo>
                  <a:lnTo>
                    <a:pt x="294" y="57"/>
                  </a:lnTo>
                  <a:lnTo>
                    <a:pt x="296" y="62"/>
                  </a:lnTo>
                  <a:lnTo>
                    <a:pt x="299" y="70"/>
                  </a:lnTo>
                  <a:lnTo>
                    <a:pt x="301" y="73"/>
                  </a:lnTo>
                  <a:lnTo>
                    <a:pt x="302" y="75"/>
                  </a:lnTo>
                  <a:lnTo>
                    <a:pt x="302" y="75"/>
                  </a:lnTo>
                  <a:lnTo>
                    <a:pt x="304" y="75"/>
                  </a:lnTo>
                  <a:lnTo>
                    <a:pt x="304" y="76"/>
                  </a:lnTo>
                  <a:lnTo>
                    <a:pt x="307" y="76"/>
                  </a:lnTo>
                  <a:lnTo>
                    <a:pt x="314" y="74"/>
                  </a:lnTo>
                  <a:lnTo>
                    <a:pt x="318" y="74"/>
                  </a:lnTo>
                  <a:lnTo>
                    <a:pt x="324" y="74"/>
                  </a:lnTo>
                  <a:lnTo>
                    <a:pt x="332" y="74"/>
                  </a:lnTo>
                  <a:lnTo>
                    <a:pt x="337" y="74"/>
                  </a:lnTo>
                  <a:lnTo>
                    <a:pt x="339" y="74"/>
                  </a:lnTo>
                  <a:lnTo>
                    <a:pt x="340" y="74"/>
                  </a:lnTo>
                  <a:lnTo>
                    <a:pt x="342" y="73"/>
                  </a:lnTo>
                  <a:lnTo>
                    <a:pt x="344" y="72"/>
                  </a:lnTo>
                  <a:lnTo>
                    <a:pt x="353" y="68"/>
                  </a:lnTo>
                  <a:lnTo>
                    <a:pt x="357" y="67"/>
                  </a:lnTo>
                  <a:lnTo>
                    <a:pt x="359" y="66"/>
                  </a:lnTo>
                  <a:lnTo>
                    <a:pt x="364" y="65"/>
                  </a:lnTo>
                  <a:lnTo>
                    <a:pt x="377" y="63"/>
                  </a:lnTo>
                  <a:lnTo>
                    <a:pt x="379" y="62"/>
                  </a:lnTo>
                  <a:lnTo>
                    <a:pt x="381" y="62"/>
                  </a:lnTo>
                  <a:lnTo>
                    <a:pt x="382" y="61"/>
                  </a:lnTo>
                  <a:lnTo>
                    <a:pt x="383" y="60"/>
                  </a:lnTo>
                  <a:lnTo>
                    <a:pt x="384" y="59"/>
                  </a:lnTo>
                  <a:lnTo>
                    <a:pt x="387" y="54"/>
                  </a:lnTo>
                  <a:lnTo>
                    <a:pt x="392" y="44"/>
                  </a:lnTo>
                  <a:lnTo>
                    <a:pt x="394" y="41"/>
                  </a:lnTo>
                  <a:lnTo>
                    <a:pt x="394" y="40"/>
                  </a:lnTo>
                  <a:lnTo>
                    <a:pt x="396" y="39"/>
                  </a:lnTo>
                  <a:lnTo>
                    <a:pt x="397" y="38"/>
                  </a:lnTo>
                  <a:lnTo>
                    <a:pt x="399" y="37"/>
                  </a:lnTo>
                  <a:lnTo>
                    <a:pt x="401" y="38"/>
                  </a:lnTo>
                  <a:lnTo>
                    <a:pt x="401" y="38"/>
                  </a:lnTo>
                  <a:lnTo>
                    <a:pt x="402" y="39"/>
                  </a:lnTo>
                  <a:lnTo>
                    <a:pt x="404" y="40"/>
                  </a:lnTo>
                  <a:lnTo>
                    <a:pt x="406" y="42"/>
                  </a:lnTo>
                  <a:lnTo>
                    <a:pt x="408" y="45"/>
                  </a:lnTo>
                  <a:lnTo>
                    <a:pt x="410" y="47"/>
                  </a:lnTo>
                  <a:lnTo>
                    <a:pt x="412" y="49"/>
                  </a:lnTo>
                  <a:lnTo>
                    <a:pt x="414" y="50"/>
                  </a:lnTo>
                  <a:lnTo>
                    <a:pt x="416" y="51"/>
                  </a:lnTo>
                  <a:lnTo>
                    <a:pt x="416" y="51"/>
                  </a:lnTo>
                  <a:lnTo>
                    <a:pt x="420" y="51"/>
                  </a:lnTo>
                  <a:lnTo>
                    <a:pt x="422" y="51"/>
                  </a:lnTo>
                  <a:lnTo>
                    <a:pt x="429" y="50"/>
                  </a:lnTo>
                  <a:lnTo>
                    <a:pt x="432" y="50"/>
                  </a:lnTo>
                  <a:lnTo>
                    <a:pt x="434" y="51"/>
                  </a:lnTo>
                  <a:lnTo>
                    <a:pt x="434" y="51"/>
                  </a:lnTo>
                  <a:lnTo>
                    <a:pt x="436" y="52"/>
                  </a:lnTo>
                  <a:lnTo>
                    <a:pt x="436" y="52"/>
                  </a:lnTo>
                  <a:lnTo>
                    <a:pt x="439" y="54"/>
                  </a:lnTo>
                  <a:lnTo>
                    <a:pt x="439" y="56"/>
                  </a:lnTo>
                  <a:lnTo>
                    <a:pt x="440" y="58"/>
                  </a:lnTo>
                  <a:lnTo>
                    <a:pt x="442" y="62"/>
                  </a:lnTo>
                  <a:lnTo>
                    <a:pt x="443" y="64"/>
                  </a:lnTo>
                  <a:lnTo>
                    <a:pt x="444" y="65"/>
                  </a:lnTo>
                  <a:lnTo>
                    <a:pt x="445" y="66"/>
                  </a:lnTo>
                  <a:lnTo>
                    <a:pt x="447" y="68"/>
                  </a:lnTo>
                  <a:lnTo>
                    <a:pt x="453" y="74"/>
                  </a:lnTo>
                  <a:lnTo>
                    <a:pt x="456" y="77"/>
                  </a:lnTo>
                  <a:lnTo>
                    <a:pt x="457" y="78"/>
                  </a:lnTo>
                  <a:lnTo>
                    <a:pt x="459" y="80"/>
                  </a:lnTo>
                  <a:lnTo>
                    <a:pt x="463" y="87"/>
                  </a:lnTo>
                  <a:lnTo>
                    <a:pt x="465" y="90"/>
                  </a:lnTo>
                  <a:lnTo>
                    <a:pt x="466" y="91"/>
                  </a:lnTo>
                  <a:lnTo>
                    <a:pt x="467" y="92"/>
                  </a:lnTo>
                  <a:lnTo>
                    <a:pt x="469" y="94"/>
                  </a:lnTo>
                  <a:lnTo>
                    <a:pt x="470" y="95"/>
                  </a:lnTo>
                  <a:lnTo>
                    <a:pt x="472" y="96"/>
                  </a:lnTo>
                  <a:lnTo>
                    <a:pt x="475" y="97"/>
                  </a:lnTo>
                  <a:lnTo>
                    <a:pt x="477" y="97"/>
                  </a:lnTo>
                  <a:lnTo>
                    <a:pt x="484" y="98"/>
                  </a:lnTo>
                  <a:lnTo>
                    <a:pt x="489" y="100"/>
                  </a:lnTo>
                  <a:lnTo>
                    <a:pt x="492" y="100"/>
                  </a:lnTo>
                  <a:lnTo>
                    <a:pt x="498" y="103"/>
                  </a:lnTo>
                  <a:lnTo>
                    <a:pt x="501" y="105"/>
                  </a:lnTo>
                  <a:lnTo>
                    <a:pt x="504" y="105"/>
                  </a:lnTo>
                  <a:lnTo>
                    <a:pt x="510" y="107"/>
                  </a:lnTo>
                  <a:lnTo>
                    <a:pt x="520" y="107"/>
                  </a:lnTo>
                  <a:lnTo>
                    <a:pt x="525" y="107"/>
                  </a:lnTo>
                  <a:lnTo>
                    <a:pt x="536" y="107"/>
                  </a:lnTo>
                  <a:lnTo>
                    <a:pt x="550" y="106"/>
                  </a:lnTo>
                  <a:lnTo>
                    <a:pt x="561" y="105"/>
                  </a:lnTo>
                  <a:lnTo>
                    <a:pt x="574" y="105"/>
                  </a:lnTo>
                  <a:lnTo>
                    <a:pt x="580" y="105"/>
                  </a:lnTo>
                  <a:lnTo>
                    <a:pt x="591" y="105"/>
                  </a:lnTo>
                  <a:lnTo>
                    <a:pt x="596" y="105"/>
                  </a:lnTo>
                  <a:lnTo>
                    <a:pt x="601" y="105"/>
                  </a:lnTo>
                  <a:lnTo>
                    <a:pt x="605" y="104"/>
                  </a:lnTo>
                  <a:lnTo>
                    <a:pt x="608" y="103"/>
                  </a:lnTo>
                  <a:lnTo>
                    <a:pt x="611" y="103"/>
                  </a:lnTo>
                  <a:lnTo>
                    <a:pt x="614" y="102"/>
                  </a:lnTo>
                  <a:lnTo>
                    <a:pt x="616" y="101"/>
                  </a:lnTo>
                  <a:lnTo>
                    <a:pt x="619" y="100"/>
                  </a:lnTo>
                  <a:lnTo>
                    <a:pt x="622" y="98"/>
                  </a:lnTo>
                  <a:lnTo>
                    <a:pt x="624" y="97"/>
                  </a:lnTo>
                  <a:lnTo>
                    <a:pt x="627" y="95"/>
                  </a:lnTo>
                  <a:lnTo>
                    <a:pt x="629" y="94"/>
                  </a:lnTo>
                  <a:lnTo>
                    <a:pt x="631" y="92"/>
                  </a:lnTo>
                  <a:lnTo>
                    <a:pt x="634" y="90"/>
                  </a:lnTo>
                  <a:lnTo>
                    <a:pt x="636" y="87"/>
                  </a:lnTo>
                  <a:lnTo>
                    <a:pt x="639" y="84"/>
                  </a:lnTo>
                  <a:lnTo>
                    <a:pt x="641" y="82"/>
                  </a:lnTo>
                  <a:lnTo>
                    <a:pt x="641" y="80"/>
                  </a:lnTo>
                  <a:lnTo>
                    <a:pt x="642" y="78"/>
                  </a:lnTo>
                  <a:lnTo>
                    <a:pt x="643" y="76"/>
                  </a:lnTo>
                  <a:lnTo>
                    <a:pt x="643" y="75"/>
                  </a:lnTo>
                  <a:lnTo>
                    <a:pt x="644" y="75"/>
                  </a:lnTo>
                  <a:lnTo>
                    <a:pt x="646" y="75"/>
                  </a:lnTo>
                  <a:lnTo>
                    <a:pt x="647" y="75"/>
                  </a:lnTo>
                  <a:lnTo>
                    <a:pt x="648" y="77"/>
                  </a:lnTo>
                  <a:lnTo>
                    <a:pt x="650" y="78"/>
                  </a:lnTo>
                  <a:lnTo>
                    <a:pt x="651" y="79"/>
                  </a:lnTo>
                  <a:lnTo>
                    <a:pt x="651" y="80"/>
                  </a:lnTo>
                  <a:lnTo>
                    <a:pt x="652" y="82"/>
                  </a:lnTo>
                  <a:lnTo>
                    <a:pt x="652" y="85"/>
                  </a:lnTo>
                  <a:lnTo>
                    <a:pt x="652" y="87"/>
                  </a:lnTo>
                  <a:lnTo>
                    <a:pt x="652" y="92"/>
                  </a:lnTo>
                  <a:lnTo>
                    <a:pt x="651" y="110"/>
                  </a:lnTo>
                  <a:lnTo>
                    <a:pt x="651" y="114"/>
                  </a:lnTo>
                  <a:lnTo>
                    <a:pt x="649" y="122"/>
                  </a:lnTo>
                  <a:lnTo>
                    <a:pt x="648" y="127"/>
                  </a:lnTo>
                  <a:lnTo>
                    <a:pt x="648" y="131"/>
                  </a:lnTo>
                  <a:lnTo>
                    <a:pt x="648" y="134"/>
                  </a:lnTo>
                  <a:lnTo>
                    <a:pt x="649" y="137"/>
                  </a:lnTo>
                  <a:lnTo>
                    <a:pt x="650" y="140"/>
                  </a:lnTo>
                  <a:lnTo>
                    <a:pt x="651" y="142"/>
                  </a:lnTo>
                  <a:lnTo>
                    <a:pt x="652" y="145"/>
                  </a:lnTo>
                  <a:lnTo>
                    <a:pt x="653" y="146"/>
                  </a:lnTo>
                  <a:lnTo>
                    <a:pt x="654" y="149"/>
                  </a:lnTo>
                  <a:lnTo>
                    <a:pt x="656" y="150"/>
                  </a:lnTo>
                  <a:lnTo>
                    <a:pt x="658" y="152"/>
                  </a:lnTo>
                  <a:lnTo>
                    <a:pt x="663" y="158"/>
                  </a:lnTo>
                  <a:lnTo>
                    <a:pt x="666" y="160"/>
                  </a:lnTo>
                  <a:lnTo>
                    <a:pt x="668" y="163"/>
                  </a:lnTo>
                  <a:lnTo>
                    <a:pt x="670" y="167"/>
                  </a:lnTo>
                  <a:lnTo>
                    <a:pt x="676" y="179"/>
                  </a:lnTo>
                  <a:lnTo>
                    <a:pt x="677" y="182"/>
                  </a:lnTo>
                  <a:lnTo>
                    <a:pt x="678" y="185"/>
                  </a:lnTo>
                  <a:lnTo>
                    <a:pt x="678" y="187"/>
                  </a:lnTo>
                  <a:lnTo>
                    <a:pt x="678" y="189"/>
                  </a:lnTo>
                  <a:lnTo>
                    <a:pt x="677" y="192"/>
                  </a:lnTo>
                  <a:lnTo>
                    <a:pt x="677" y="194"/>
                  </a:lnTo>
                  <a:lnTo>
                    <a:pt x="677" y="195"/>
                  </a:lnTo>
                  <a:lnTo>
                    <a:pt x="676" y="196"/>
                  </a:lnTo>
                  <a:lnTo>
                    <a:pt x="676" y="197"/>
                  </a:lnTo>
                  <a:lnTo>
                    <a:pt x="673" y="198"/>
                  </a:lnTo>
                  <a:lnTo>
                    <a:pt x="668" y="201"/>
                  </a:lnTo>
                  <a:lnTo>
                    <a:pt x="667" y="202"/>
                  </a:lnTo>
                  <a:lnTo>
                    <a:pt x="666" y="203"/>
                  </a:lnTo>
                  <a:lnTo>
                    <a:pt x="663" y="205"/>
                  </a:lnTo>
                  <a:lnTo>
                    <a:pt x="660" y="209"/>
                  </a:lnTo>
                  <a:lnTo>
                    <a:pt x="658" y="213"/>
                  </a:lnTo>
                  <a:lnTo>
                    <a:pt x="654" y="216"/>
                  </a:lnTo>
                  <a:lnTo>
                    <a:pt x="648" y="220"/>
                  </a:lnTo>
                  <a:lnTo>
                    <a:pt x="646" y="222"/>
                  </a:lnTo>
                  <a:lnTo>
                    <a:pt x="643" y="224"/>
                  </a:lnTo>
                  <a:lnTo>
                    <a:pt x="639" y="226"/>
                  </a:lnTo>
                  <a:lnTo>
                    <a:pt x="636" y="227"/>
                  </a:lnTo>
                  <a:lnTo>
                    <a:pt x="633" y="229"/>
                  </a:lnTo>
                  <a:lnTo>
                    <a:pt x="628" y="231"/>
                  </a:lnTo>
                  <a:lnTo>
                    <a:pt x="620" y="234"/>
                  </a:lnTo>
                  <a:lnTo>
                    <a:pt x="618" y="234"/>
                  </a:lnTo>
                  <a:lnTo>
                    <a:pt x="618" y="234"/>
                  </a:lnTo>
                  <a:lnTo>
                    <a:pt x="615" y="237"/>
                  </a:lnTo>
                  <a:lnTo>
                    <a:pt x="611" y="239"/>
                  </a:lnTo>
                  <a:lnTo>
                    <a:pt x="608" y="241"/>
                  </a:lnTo>
                  <a:lnTo>
                    <a:pt x="606" y="244"/>
                  </a:lnTo>
                  <a:lnTo>
                    <a:pt x="603" y="247"/>
                  </a:lnTo>
                  <a:lnTo>
                    <a:pt x="601" y="250"/>
                  </a:lnTo>
                  <a:lnTo>
                    <a:pt x="599" y="253"/>
                  </a:lnTo>
                  <a:lnTo>
                    <a:pt x="599" y="255"/>
                  </a:lnTo>
                  <a:lnTo>
                    <a:pt x="598" y="257"/>
                  </a:lnTo>
                  <a:lnTo>
                    <a:pt x="596" y="263"/>
                  </a:lnTo>
                  <a:lnTo>
                    <a:pt x="596" y="264"/>
                  </a:lnTo>
                  <a:lnTo>
                    <a:pt x="595" y="267"/>
                  </a:lnTo>
                  <a:lnTo>
                    <a:pt x="591" y="272"/>
                  </a:lnTo>
                  <a:lnTo>
                    <a:pt x="591" y="274"/>
                  </a:lnTo>
                  <a:lnTo>
                    <a:pt x="590" y="275"/>
                  </a:lnTo>
                  <a:lnTo>
                    <a:pt x="590" y="277"/>
                  </a:lnTo>
                  <a:lnTo>
                    <a:pt x="589" y="279"/>
                  </a:lnTo>
                  <a:lnTo>
                    <a:pt x="589" y="284"/>
                  </a:lnTo>
                  <a:lnTo>
                    <a:pt x="589" y="290"/>
                  </a:lnTo>
                  <a:lnTo>
                    <a:pt x="589" y="294"/>
                  </a:lnTo>
                  <a:lnTo>
                    <a:pt x="588" y="297"/>
                  </a:lnTo>
                  <a:lnTo>
                    <a:pt x="587" y="299"/>
                  </a:lnTo>
                  <a:lnTo>
                    <a:pt x="585" y="306"/>
                  </a:lnTo>
                  <a:lnTo>
                    <a:pt x="584" y="312"/>
                  </a:lnTo>
                  <a:lnTo>
                    <a:pt x="584" y="312"/>
                  </a:lnTo>
                  <a:lnTo>
                    <a:pt x="583" y="313"/>
                  </a:lnTo>
                  <a:lnTo>
                    <a:pt x="581" y="316"/>
                  </a:lnTo>
                  <a:lnTo>
                    <a:pt x="579" y="317"/>
                  </a:lnTo>
                  <a:lnTo>
                    <a:pt x="576" y="323"/>
                  </a:lnTo>
                  <a:lnTo>
                    <a:pt x="576" y="326"/>
                  </a:lnTo>
                  <a:lnTo>
                    <a:pt x="575" y="328"/>
                  </a:lnTo>
                  <a:lnTo>
                    <a:pt x="574" y="332"/>
                  </a:lnTo>
                  <a:lnTo>
                    <a:pt x="574" y="334"/>
                  </a:lnTo>
                  <a:lnTo>
                    <a:pt x="574" y="336"/>
                  </a:lnTo>
                  <a:lnTo>
                    <a:pt x="574" y="339"/>
                  </a:lnTo>
                  <a:lnTo>
                    <a:pt x="576" y="344"/>
                  </a:lnTo>
                  <a:lnTo>
                    <a:pt x="576" y="347"/>
                  </a:lnTo>
                  <a:lnTo>
                    <a:pt x="576" y="349"/>
                  </a:lnTo>
                  <a:lnTo>
                    <a:pt x="577" y="352"/>
                  </a:lnTo>
                  <a:lnTo>
                    <a:pt x="578" y="353"/>
                  </a:lnTo>
                  <a:lnTo>
                    <a:pt x="579" y="354"/>
                  </a:lnTo>
                  <a:lnTo>
                    <a:pt x="582" y="359"/>
                  </a:lnTo>
                  <a:lnTo>
                    <a:pt x="585" y="364"/>
                  </a:lnTo>
                  <a:lnTo>
                    <a:pt x="585" y="365"/>
                  </a:lnTo>
                  <a:lnTo>
                    <a:pt x="585" y="366"/>
                  </a:lnTo>
                  <a:lnTo>
                    <a:pt x="585" y="367"/>
                  </a:lnTo>
                  <a:lnTo>
                    <a:pt x="584" y="369"/>
                  </a:lnTo>
                  <a:lnTo>
                    <a:pt x="584" y="370"/>
                  </a:lnTo>
                  <a:lnTo>
                    <a:pt x="584" y="372"/>
                  </a:lnTo>
                  <a:lnTo>
                    <a:pt x="586" y="374"/>
                  </a:lnTo>
                  <a:lnTo>
                    <a:pt x="586" y="375"/>
                  </a:lnTo>
                  <a:lnTo>
                    <a:pt x="586" y="377"/>
                  </a:lnTo>
                  <a:lnTo>
                    <a:pt x="585" y="378"/>
                  </a:lnTo>
                  <a:lnTo>
                    <a:pt x="584" y="379"/>
                  </a:lnTo>
                  <a:lnTo>
                    <a:pt x="584" y="382"/>
                  </a:lnTo>
                  <a:lnTo>
                    <a:pt x="582" y="383"/>
                  </a:lnTo>
                  <a:lnTo>
                    <a:pt x="581" y="384"/>
                  </a:lnTo>
                  <a:lnTo>
                    <a:pt x="579" y="387"/>
                  </a:lnTo>
                  <a:lnTo>
                    <a:pt x="578" y="388"/>
                  </a:lnTo>
                  <a:lnTo>
                    <a:pt x="576" y="388"/>
                  </a:lnTo>
                  <a:lnTo>
                    <a:pt x="576" y="388"/>
                  </a:lnTo>
                  <a:lnTo>
                    <a:pt x="574" y="388"/>
                  </a:lnTo>
                  <a:lnTo>
                    <a:pt x="573" y="387"/>
                  </a:lnTo>
                  <a:lnTo>
                    <a:pt x="570" y="385"/>
                  </a:lnTo>
                  <a:lnTo>
                    <a:pt x="564" y="380"/>
                  </a:lnTo>
                  <a:lnTo>
                    <a:pt x="558" y="376"/>
                  </a:lnTo>
                  <a:lnTo>
                    <a:pt x="551" y="370"/>
                  </a:lnTo>
                  <a:lnTo>
                    <a:pt x="550" y="369"/>
                  </a:lnTo>
                  <a:lnTo>
                    <a:pt x="548" y="369"/>
                  </a:lnTo>
                  <a:lnTo>
                    <a:pt x="546" y="368"/>
                  </a:lnTo>
                  <a:lnTo>
                    <a:pt x="544" y="367"/>
                  </a:lnTo>
                  <a:lnTo>
                    <a:pt x="531" y="367"/>
                  </a:lnTo>
                  <a:lnTo>
                    <a:pt x="529" y="367"/>
                  </a:lnTo>
                  <a:lnTo>
                    <a:pt x="527" y="367"/>
                  </a:lnTo>
                  <a:lnTo>
                    <a:pt x="519" y="368"/>
                  </a:lnTo>
                  <a:lnTo>
                    <a:pt x="515" y="368"/>
                  </a:lnTo>
                  <a:lnTo>
                    <a:pt x="511" y="367"/>
                  </a:lnTo>
                  <a:lnTo>
                    <a:pt x="501" y="366"/>
                  </a:lnTo>
                  <a:lnTo>
                    <a:pt x="495" y="366"/>
                  </a:lnTo>
                  <a:lnTo>
                    <a:pt x="491" y="365"/>
                  </a:lnTo>
                  <a:lnTo>
                    <a:pt x="486" y="366"/>
                  </a:lnTo>
                  <a:lnTo>
                    <a:pt x="484" y="366"/>
                  </a:lnTo>
                  <a:lnTo>
                    <a:pt x="477" y="367"/>
                  </a:lnTo>
                  <a:lnTo>
                    <a:pt x="474" y="367"/>
                  </a:lnTo>
                  <a:lnTo>
                    <a:pt x="454" y="369"/>
                  </a:lnTo>
                  <a:lnTo>
                    <a:pt x="444" y="371"/>
                  </a:lnTo>
                  <a:lnTo>
                    <a:pt x="440" y="372"/>
                  </a:lnTo>
                  <a:lnTo>
                    <a:pt x="436" y="372"/>
                  </a:lnTo>
                  <a:lnTo>
                    <a:pt x="434" y="373"/>
                  </a:lnTo>
                  <a:lnTo>
                    <a:pt x="421" y="378"/>
                  </a:lnTo>
                  <a:lnTo>
                    <a:pt x="419" y="379"/>
                  </a:lnTo>
                  <a:lnTo>
                    <a:pt x="416" y="379"/>
                  </a:lnTo>
                  <a:lnTo>
                    <a:pt x="414" y="379"/>
                  </a:lnTo>
                  <a:lnTo>
                    <a:pt x="411" y="379"/>
                  </a:lnTo>
                  <a:lnTo>
                    <a:pt x="409" y="379"/>
                  </a:lnTo>
                  <a:lnTo>
                    <a:pt x="405" y="377"/>
                  </a:lnTo>
                  <a:lnTo>
                    <a:pt x="401" y="377"/>
                  </a:lnTo>
                  <a:lnTo>
                    <a:pt x="399" y="377"/>
                  </a:lnTo>
                  <a:lnTo>
                    <a:pt x="396" y="377"/>
                  </a:lnTo>
                  <a:lnTo>
                    <a:pt x="390" y="377"/>
                  </a:lnTo>
                  <a:lnTo>
                    <a:pt x="384" y="378"/>
                  </a:lnTo>
                  <a:lnTo>
                    <a:pt x="382" y="378"/>
                  </a:lnTo>
                  <a:lnTo>
                    <a:pt x="380" y="379"/>
                  </a:lnTo>
                  <a:lnTo>
                    <a:pt x="379" y="379"/>
                  </a:lnTo>
                  <a:lnTo>
                    <a:pt x="377" y="381"/>
                  </a:lnTo>
                  <a:lnTo>
                    <a:pt x="377" y="382"/>
                  </a:lnTo>
                  <a:lnTo>
                    <a:pt x="375" y="384"/>
                  </a:lnTo>
                  <a:lnTo>
                    <a:pt x="374" y="386"/>
                  </a:lnTo>
                  <a:lnTo>
                    <a:pt x="374" y="389"/>
                  </a:lnTo>
                  <a:lnTo>
                    <a:pt x="374" y="393"/>
                  </a:lnTo>
                  <a:lnTo>
                    <a:pt x="374" y="395"/>
                  </a:lnTo>
                  <a:lnTo>
                    <a:pt x="374" y="397"/>
                  </a:lnTo>
                  <a:lnTo>
                    <a:pt x="376" y="406"/>
                  </a:lnTo>
                  <a:lnTo>
                    <a:pt x="376" y="409"/>
                  </a:lnTo>
                  <a:lnTo>
                    <a:pt x="376" y="413"/>
                  </a:lnTo>
                  <a:lnTo>
                    <a:pt x="376" y="417"/>
                  </a:lnTo>
                  <a:lnTo>
                    <a:pt x="375" y="425"/>
                  </a:lnTo>
                  <a:lnTo>
                    <a:pt x="375" y="429"/>
                  </a:lnTo>
                  <a:lnTo>
                    <a:pt x="375" y="432"/>
                  </a:lnTo>
                  <a:lnTo>
                    <a:pt x="375" y="437"/>
                  </a:lnTo>
                  <a:lnTo>
                    <a:pt x="376" y="442"/>
                  </a:lnTo>
                  <a:lnTo>
                    <a:pt x="377" y="446"/>
                  </a:lnTo>
                  <a:lnTo>
                    <a:pt x="379" y="451"/>
                  </a:lnTo>
                  <a:lnTo>
                    <a:pt x="384" y="464"/>
                  </a:lnTo>
                  <a:lnTo>
                    <a:pt x="387" y="470"/>
                  </a:lnTo>
                  <a:lnTo>
                    <a:pt x="389" y="476"/>
                  </a:lnTo>
                  <a:lnTo>
                    <a:pt x="390" y="481"/>
                  </a:lnTo>
                  <a:lnTo>
                    <a:pt x="391" y="484"/>
                  </a:lnTo>
                  <a:lnTo>
                    <a:pt x="391" y="488"/>
                  </a:lnTo>
                  <a:lnTo>
                    <a:pt x="392" y="494"/>
                  </a:lnTo>
                  <a:lnTo>
                    <a:pt x="394" y="506"/>
                  </a:lnTo>
                  <a:lnTo>
                    <a:pt x="394" y="510"/>
                  </a:lnTo>
                  <a:lnTo>
                    <a:pt x="394" y="512"/>
                  </a:lnTo>
                  <a:lnTo>
                    <a:pt x="393" y="515"/>
                  </a:lnTo>
                  <a:lnTo>
                    <a:pt x="393" y="517"/>
                  </a:lnTo>
                  <a:lnTo>
                    <a:pt x="391" y="523"/>
                  </a:lnTo>
                  <a:lnTo>
                    <a:pt x="390" y="526"/>
                  </a:lnTo>
                  <a:lnTo>
                    <a:pt x="389" y="531"/>
                  </a:lnTo>
                  <a:lnTo>
                    <a:pt x="384" y="539"/>
                  </a:lnTo>
                  <a:lnTo>
                    <a:pt x="380" y="550"/>
                  </a:lnTo>
                  <a:lnTo>
                    <a:pt x="379" y="552"/>
                  </a:lnTo>
                  <a:lnTo>
                    <a:pt x="378" y="554"/>
                  </a:lnTo>
                  <a:lnTo>
                    <a:pt x="377" y="556"/>
                  </a:lnTo>
                  <a:lnTo>
                    <a:pt x="375" y="559"/>
                  </a:lnTo>
                  <a:lnTo>
                    <a:pt x="373" y="560"/>
                  </a:lnTo>
                  <a:lnTo>
                    <a:pt x="372" y="561"/>
                  </a:lnTo>
                  <a:lnTo>
                    <a:pt x="370" y="563"/>
                  </a:lnTo>
                  <a:lnTo>
                    <a:pt x="369" y="564"/>
                  </a:lnTo>
                  <a:lnTo>
                    <a:pt x="366" y="565"/>
                  </a:lnTo>
                  <a:lnTo>
                    <a:pt x="358" y="567"/>
                  </a:lnTo>
                  <a:lnTo>
                    <a:pt x="355" y="568"/>
                  </a:lnTo>
                  <a:lnTo>
                    <a:pt x="352" y="569"/>
                  </a:lnTo>
                  <a:lnTo>
                    <a:pt x="348" y="571"/>
                  </a:lnTo>
                  <a:lnTo>
                    <a:pt x="347" y="573"/>
                  </a:lnTo>
                  <a:lnTo>
                    <a:pt x="344" y="574"/>
                  </a:lnTo>
                  <a:lnTo>
                    <a:pt x="343" y="576"/>
                  </a:lnTo>
                  <a:lnTo>
                    <a:pt x="342" y="578"/>
                  </a:lnTo>
                  <a:lnTo>
                    <a:pt x="341" y="579"/>
                  </a:lnTo>
                  <a:lnTo>
                    <a:pt x="339" y="581"/>
                  </a:lnTo>
                  <a:lnTo>
                    <a:pt x="337" y="586"/>
                  </a:lnTo>
                  <a:lnTo>
                    <a:pt x="337" y="586"/>
                  </a:lnTo>
                  <a:lnTo>
                    <a:pt x="335" y="584"/>
                  </a:lnTo>
                  <a:lnTo>
                    <a:pt x="330" y="580"/>
                  </a:lnTo>
                  <a:lnTo>
                    <a:pt x="326" y="576"/>
                  </a:lnTo>
                  <a:lnTo>
                    <a:pt x="321" y="573"/>
                  </a:lnTo>
                  <a:lnTo>
                    <a:pt x="316" y="569"/>
                  </a:lnTo>
                  <a:lnTo>
                    <a:pt x="310" y="565"/>
                  </a:lnTo>
                  <a:lnTo>
                    <a:pt x="305" y="561"/>
                  </a:lnTo>
                  <a:lnTo>
                    <a:pt x="300" y="559"/>
                  </a:lnTo>
                  <a:lnTo>
                    <a:pt x="296" y="556"/>
                  </a:lnTo>
                  <a:lnTo>
                    <a:pt x="293" y="555"/>
                  </a:lnTo>
                  <a:lnTo>
                    <a:pt x="289" y="554"/>
                  </a:lnTo>
                  <a:lnTo>
                    <a:pt x="285" y="552"/>
                  </a:lnTo>
                  <a:lnTo>
                    <a:pt x="281" y="551"/>
                  </a:lnTo>
                  <a:lnTo>
                    <a:pt x="264" y="547"/>
                  </a:lnTo>
                  <a:lnTo>
                    <a:pt x="259" y="545"/>
                  </a:lnTo>
                  <a:lnTo>
                    <a:pt x="256" y="544"/>
                  </a:lnTo>
                  <a:lnTo>
                    <a:pt x="254" y="542"/>
                  </a:lnTo>
                  <a:lnTo>
                    <a:pt x="250" y="540"/>
                  </a:lnTo>
                  <a:lnTo>
                    <a:pt x="248" y="539"/>
                  </a:lnTo>
                  <a:lnTo>
                    <a:pt x="247" y="537"/>
                  </a:lnTo>
                  <a:lnTo>
                    <a:pt x="245" y="535"/>
                  </a:lnTo>
                  <a:lnTo>
                    <a:pt x="244" y="533"/>
                  </a:lnTo>
                  <a:lnTo>
                    <a:pt x="243" y="531"/>
                  </a:lnTo>
                  <a:lnTo>
                    <a:pt x="243" y="529"/>
                  </a:lnTo>
                  <a:lnTo>
                    <a:pt x="242" y="526"/>
                  </a:lnTo>
                  <a:lnTo>
                    <a:pt x="240" y="514"/>
                  </a:lnTo>
                  <a:lnTo>
                    <a:pt x="240" y="511"/>
                  </a:lnTo>
                  <a:lnTo>
                    <a:pt x="239" y="508"/>
                  </a:lnTo>
                  <a:lnTo>
                    <a:pt x="238" y="504"/>
                  </a:lnTo>
                  <a:lnTo>
                    <a:pt x="236" y="499"/>
                  </a:lnTo>
                  <a:lnTo>
                    <a:pt x="230" y="485"/>
                  </a:lnTo>
                  <a:lnTo>
                    <a:pt x="228" y="480"/>
                  </a:lnTo>
                  <a:lnTo>
                    <a:pt x="226" y="477"/>
                  </a:lnTo>
                  <a:lnTo>
                    <a:pt x="223" y="472"/>
                  </a:lnTo>
                  <a:lnTo>
                    <a:pt x="222" y="470"/>
                  </a:lnTo>
                  <a:lnTo>
                    <a:pt x="221" y="469"/>
                  </a:lnTo>
                  <a:lnTo>
                    <a:pt x="219" y="467"/>
                  </a:lnTo>
                  <a:lnTo>
                    <a:pt x="217" y="466"/>
                  </a:lnTo>
                  <a:lnTo>
                    <a:pt x="210" y="461"/>
                  </a:lnTo>
                  <a:lnTo>
                    <a:pt x="207" y="459"/>
                  </a:lnTo>
                  <a:lnTo>
                    <a:pt x="206" y="457"/>
                  </a:lnTo>
                  <a:lnTo>
                    <a:pt x="204" y="455"/>
                  </a:lnTo>
                  <a:lnTo>
                    <a:pt x="203" y="454"/>
                  </a:lnTo>
                  <a:lnTo>
                    <a:pt x="202" y="451"/>
                  </a:lnTo>
                  <a:lnTo>
                    <a:pt x="200" y="449"/>
                  </a:lnTo>
                  <a:lnTo>
                    <a:pt x="199" y="445"/>
                  </a:lnTo>
                  <a:lnTo>
                    <a:pt x="197" y="442"/>
                  </a:lnTo>
                  <a:lnTo>
                    <a:pt x="195" y="437"/>
                  </a:lnTo>
                  <a:lnTo>
                    <a:pt x="190" y="426"/>
                  </a:lnTo>
                  <a:lnTo>
                    <a:pt x="187" y="414"/>
                  </a:lnTo>
                  <a:lnTo>
                    <a:pt x="184" y="409"/>
                  </a:lnTo>
                  <a:lnTo>
                    <a:pt x="182" y="404"/>
                  </a:lnTo>
                  <a:lnTo>
                    <a:pt x="181" y="402"/>
                  </a:lnTo>
                  <a:lnTo>
                    <a:pt x="179" y="399"/>
                  </a:lnTo>
                  <a:lnTo>
                    <a:pt x="177" y="396"/>
                  </a:lnTo>
                  <a:lnTo>
                    <a:pt x="174" y="394"/>
                  </a:lnTo>
                  <a:lnTo>
                    <a:pt x="173" y="393"/>
                  </a:lnTo>
                  <a:lnTo>
                    <a:pt x="171" y="392"/>
                  </a:lnTo>
                  <a:lnTo>
                    <a:pt x="169" y="392"/>
                  </a:lnTo>
                  <a:lnTo>
                    <a:pt x="167" y="392"/>
                  </a:lnTo>
                  <a:lnTo>
                    <a:pt x="158" y="393"/>
                  </a:lnTo>
                  <a:lnTo>
                    <a:pt x="153" y="394"/>
                  </a:lnTo>
                  <a:lnTo>
                    <a:pt x="148" y="394"/>
                  </a:lnTo>
                  <a:lnTo>
                    <a:pt x="140" y="394"/>
                  </a:lnTo>
                  <a:lnTo>
                    <a:pt x="137" y="393"/>
                  </a:lnTo>
                  <a:lnTo>
                    <a:pt x="134" y="393"/>
                  </a:lnTo>
                  <a:lnTo>
                    <a:pt x="130" y="392"/>
                  </a:lnTo>
                  <a:lnTo>
                    <a:pt x="126" y="391"/>
                  </a:lnTo>
                  <a:lnTo>
                    <a:pt x="123" y="390"/>
                  </a:lnTo>
                  <a:lnTo>
                    <a:pt x="122" y="389"/>
                  </a:lnTo>
                  <a:lnTo>
                    <a:pt x="120" y="388"/>
                  </a:lnTo>
                  <a:lnTo>
                    <a:pt x="117" y="386"/>
                  </a:lnTo>
                  <a:lnTo>
                    <a:pt x="115" y="384"/>
                  </a:lnTo>
                  <a:lnTo>
                    <a:pt x="107" y="374"/>
                  </a:lnTo>
                  <a:lnTo>
                    <a:pt x="105" y="372"/>
                  </a:lnTo>
                  <a:lnTo>
                    <a:pt x="103" y="369"/>
                  </a:lnTo>
                  <a:lnTo>
                    <a:pt x="100" y="364"/>
                  </a:lnTo>
                  <a:lnTo>
                    <a:pt x="97" y="358"/>
                  </a:lnTo>
                  <a:lnTo>
                    <a:pt x="92" y="348"/>
                  </a:lnTo>
                  <a:lnTo>
                    <a:pt x="88" y="340"/>
                  </a:lnTo>
                  <a:lnTo>
                    <a:pt x="84" y="329"/>
                  </a:lnTo>
                  <a:lnTo>
                    <a:pt x="79" y="317"/>
                  </a:lnTo>
                  <a:lnTo>
                    <a:pt x="75" y="308"/>
                  </a:lnTo>
                  <a:lnTo>
                    <a:pt x="75" y="307"/>
                  </a:lnTo>
                  <a:lnTo>
                    <a:pt x="74" y="305"/>
                  </a:lnTo>
                  <a:lnTo>
                    <a:pt x="72" y="304"/>
                  </a:lnTo>
                  <a:lnTo>
                    <a:pt x="72" y="304"/>
                  </a:lnTo>
                  <a:lnTo>
                    <a:pt x="71" y="303"/>
                  </a:lnTo>
                  <a:lnTo>
                    <a:pt x="70" y="303"/>
                  </a:lnTo>
                  <a:lnTo>
                    <a:pt x="67" y="302"/>
                  </a:lnTo>
                  <a:lnTo>
                    <a:pt x="62" y="302"/>
                  </a:lnTo>
                  <a:lnTo>
                    <a:pt x="60" y="302"/>
                  </a:lnTo>
                  <a:lnTo>
                    <a:pt x="57" y="301"/>
                  </a:lnTo>
                  <a:lnTo>
                    <a:pt x="56" y="300"/>
                  </a:lnTo>
                  <a:lnTo>
                    <a:pt x="53" y="297"/>
                  </a:lnTo>
                  <a:lnTo>
                    <a:pt x="50" y="294"/>
                  </a:lnTo>
                  <a:lnTo>
                    <a:pt x="48" y="292"/>
                  </a:lnTo>
                  <a:lnTo>
                    <a:pt x="43" y="284"/>
                  </a:lnTo>
                  <a:lnTo>
                    <a:pt x="42" y="282"/>
                  </a:lnTo>
                  <a:lnTo>
                    <a:pt x="40" y="281"/>
                  </a:lnTo>
                  <a:lnTo>
                    <a:pt x="38" y="279"/>
                  </a:lnTo>
                  <a:lnTo>
                    <a:pt x="36" y="277"/>
                  </a:lnTo>
                  <a:lnTo>
                    <a:pt x="34" y="275"/>
                  </a:lnTo>
                  <a:lnTo>
                    <a:pt x="32" y="274"/>
                  </a:lnTo>
                  <a:lnTo>
                    <a:pt x="29" y="273"/>
                  </a:lnTo>
                  <a:lnTo>
                    <a:pt x="27" y="272"/>
                  </a:lnTo>
                  <a:lnTo>
                    <a:pt x="25" y="271"/>
                  </a:lnTo>
                  <a:lnTo>
                    <a:pt x="21" y="271"/>
                  </a:lnTo>
                  <a:lnTo>
                    <a:pt x="17" y="270"/>
                  </a:lnTo>
                  <a:lnTo>
                    <a:pt x="13" y="269"/>
                  </a:lnTo>
                  <a:lnTo>
                    <a:pt x="10" y="270"/>
                  </a:lnTo>
                  <a:lnTo>
                    <a:pt x="9" y="270"/>
                  </a:lnTo>
                  <a:lnTo>
                    <a:pt x="8" y="270"/>
                  </a:lnTo>
                  <a:lnTo>
                    <a:pt x="8" y="269"/>
                  </a:lnTo>
                  <a:lnTo>
                    <a:pt x="7" y="267"/>
                  </a:lnTo>
                  <a:lnTo>
                    <a:pt x="4" y="256"/>
                  </a:lnTo>
                  <a:lnTo>
                    <a:pt x="2" y="252"/>
                  </a:lnTo>
                  <a:lnTo>
                    <a:pt x="2" y="250"/>
                  </a:lnTo>
                  <a:lnTo>
                    <a:pt x="2" y="247"/>
                  </a:lnTo>
                  <a:lnTo>
                    <a:pt x="1" y="244"/>
                  </a:lnTo>
                  <a:lnTo>
                    <a:pt x="1" y="240"/>
                  </a:lnTo>
                  <a:lnTo>
                    <a:pt x="0" y="237"/>
                  </a:lnTo>
                  <a:lnTo>
                    <a:pt x="0" y="232"/>
                  </a:lnTo>
                  <a:lnTo>
                    <a:pt x="1" y="228"/>
                  </a:lnTo>
                  <a:lnTo>
                    <a:pt x="1" y="223"/>
                  </a:lnTo>
                  <a:lnTo>
                    <a:pt x="2" y="219"/>
                  </a:lnTo>
                  <a:lnTo>
                    <a:pt x="3" y="212"/>
                  </a:lnTo>
                  <a:lnTo>
                    <a:pt x="5" y="207"/>
                  </a:lnTo>
                  <a:lnTo>
                    <a:pt x="6" y="201"/>
                  </a:lnTo>
                  <a:lnTo>
                    <a:pt x="7" y="197"/>
                  </a:lnTo>
                  <a:lnTo>
                    <a:pt x="8" y="194"/>
                  </a:lnTo>
                  <a:lnTo>
                    <a:pt x="10" y="191"/>
                  </a:lnTo>
                  <a:lnTo>
                    <a:pt x="13" y="184"/>
                  </a:lnTo>
                  <a:lnTo>
                    <a:pt x="17" y="177"/>
                  </a:lnTo>
                  <a:lnTo>
                    <a:pt x="20" y="174"/>
                  </a:lnTo>
                  <a:lnTo>
                    <a:pt x="22" y="171"/>
                  </a:lnTo>
                  <a:lnTo>
                    <a:pt x="24" y="169"/>
                  </a:lnTo>
                  <a:lnTo>
                    <a:pt x="26" y="167"/>
                  </a:lnTo>
                  <a:lnTo>
                    <a:pt x="27" y="165"/>
                  </a:lnTo>
                  <a:lnTo>
                    <a:pt x="30" y="164"/>
                  </a:lnTo>
                  <a:lnTo>
                    <a:pt x="32" y="162"/>
                  </a:lnTo>
                  <a:lnTo>
                    <a:pt x="33" y="162"/>
                  </a:lnTo>
                  <a:lnTo>
                    <a:pt x="40" y="159"/>
                  </a:lnTo>
                  <a:lnTo>
                    <a:pt x="42" y="158"/>
                  </a:lnTo>
                  <a:lnTo>
                    <a:pt x="45" y="156"/>
                  </a:lnTo>
                  <a:lnTo>
                    <a:pt x="47" y="154"/>
                  </a:lnTo>
                  <a:lnTo>
                    <a:pt x="50" y="152"/>
                  </a:lnTo>
                  <a:lnTo>
                    <a:pt x="51" y="150"/>
                  </a:lnTo>
                  <a:lnTo>
                    <a:pt x="52" y="148"/>
                  </a:lnTo>
                  <a:lnTo>
                    <a:pt x="54" y="146"/>
                  </a:lnTo>
                  <a:lnTo>
                    <a:pt x="55" y="145"/>
                  </a:lnTo>
                  <a:lnTo>
                    <a:pt x="55" y="142"/>
                  </a:lnTo>
                  <a:lnTo>
                    <a:pt x="56" y="140"/>
                  </a:lnTo>
                  <a:lnTo>
                    <a:pt x="57" y="138"/>
                  </a:lnTo>
                  <a:lnTo>
                    <a:pt x="57" y="135"/>
                  </a:lnTo>
                  <a:lnTo>
                    <a:pt x="57" y="130"/>
                  </a:lnTo>
                  <a:lnTo>
                    <a:pt x="57" y="127"/>
                  </a:lnTo>
                  <a:lnTo>
                    <a:pt x="56" y="122"/>
                  </a:lnTo>
                  <a:lnTo>
                    <a:pt x="53" y="110"/>
                  </a:lnTo>
                  <a:lnTo>
                    <a:pt x="52" y="107"/>
                  </a:lnTo>
                  <a:lnTo>
                    <a:pt x="51" y="102"/>
                  </a:lnTo>
                  <a:lnTo>
                    <a:pt x="47" y="95"/>
                  </a:lnTo>
                  <a:lnTo>
                    <a:pt x="47" y="91"/>
                  </a:lnTo>
                  <a:lnTo>
                    <a:pt x="46" y="87"/>
                  </a:lnTo>
                  <a:lnTo>
                    <a:pt x="46" y="85"/>
                  </a:lnTo>
                  <a:lnTo>
                    <a:pt x="46" y="82"/>
                  </a:lnTo>
                  <a:lnTo>
                    <a:pt x="46" y="80"/>
                  </a:lnTo>
                  <a:lnTo>
                    <a:pt x="49" y="72"/>
                  </a:lnTo>
                  <a:lnTo>
                    <a:pt x="50" y="68"/>
                  </a:lnTo>
                  <a:lnTo>
                    <a:pt x="50" y="64"/>
                  </a:lnTo>
                  <a:lnTo>
                    <a:pt x="50" y="52"/>
                  </a:lnTo>
                  <a:lnTo>
                    <a:pt x="51" y="47"/>
                  </a:lnTo>
                  <a:lnTo>
                    <a:pt x="52" y="40"/>
                  </a:lnTo>
                  <a:lnTo>
                    <a:pt x="53" y="35"/>
                  </a:lnTo>
                  <a:lnTo>
                    <a:pt x="54" y="30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7" y="25"/>
                  </a:lnTo>
                  <a:lnTo>
                    <a:pt x="58" y="25"/>
                  </a:lnTo>
                  <a:lnTo>
                    <a:pt x="60" y="25"/>
                  </a:lnTo>
                  <a:lnTo>
                    <a:pt x="62" y="25"/>
                  </a:lnTo>
                  <a:lnTo>
                    <a:pt x="63" y="25"/>
                  </a:lnTo>
                  <a:lnTo>
                    <a:pt x="74" y="27"/>
                  </a:lnTo>
                  <a:lnTo>
                    <a:pt x="77" y="28"/>
                  </a:lnTo>
                  <a:lnTo>
                    <a:pt x="80" y="29"/>
                  </a:lnTo>
                  <a:lnTo>
                    <a:pt x="82" y="29"/>
                  </a:lnTo>
                  <a:lnTo>
                    <a:pt x="85" y="29"/>
                  </a:lnTo>
                  <a:lnTo>
                    <a:pt x="87" y="28"/>
                  </a:lnTo>
                  <a:lnTo>
                    <a:pt x="90" y="27"/>
                  </a:lnTo>
                  <a:lnTo>
                    <a:pt x="92" y="27"/>
                  </a:lnTo>
                  <a:lnTo>
                    <a:pt x="94" y="26"/>
                  </a:lnTo>
                  <a:lnTo>
                    <a:pt x="96" y="25"/>
                  </a:lnTo>
                  <a:lnTo>
                    <a:pt x="99" y="22"/>
                  </a:lnTo>
                  <a:lnTo>
                    <a:pt x="104" y="20"/>
                  </a:lnTo>
                  <a:lnTo>
                    <a:pt x="107" y="17"/>
                  </a:lnTo>
                  <a:lnTo>
                    <a:pt x="119" y="7"/>
                  </a:lnTo>
                  <a:lnTo>
                    <a:pt x="122" y="5"/>
                  </a:lnTo>
                  <a:lnTo>
                    <a:pt x="125" y="3"/>
                  </a:lnTo>
                  <a:lnTo>
                    <a:pt x="129" y="1"/>
                  </a:lnTo>
                  <a:lnTo>
                    <a:pt x="131" y="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D7144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>
                <a:ln w="9525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40" name="Freeform 102">
              <a:extLst>
                <a:ext uri="{FF2B5EF4-FFF2-40B4-BE49-F238E27FC236}">
                  <a16:creationId xmlns:a16="http://schemas.microsoft.com/office/drawing/2014/main" id="{B7B676D4-8685-F225-D892-B447CDDD7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2824" y="2725201"/>
              <a:ext cx="846138" cy="966788"/>
            </a:xfrm>
            <a:custGeom>
              <a:avLst/>
              <a:gdLst>
                <a:gd name="T0" fmla="*/ 147 w 533"/>
                <a:gd name="T1" fmla="*/ 19 h 609"/>
                <a:gd name="T2" fmla="*/ 172 w 533"/>
                <a:gd name="T3" fmla="*/ 6 h 609"/>
                <a:gd name="T4" fmla="*/ 193 w 533"/>
                <a:gd name="T5" fmla="*/ 21 h 609"/>
                <a:gd name="T6" fmla="*/ 222 w 533"/>
                <a:gd name="T7" fmla="*/ 35 h 609"/>
                <a:gd name="T8" fmla="*/ 252 w 533"/>
                <a:gd name="T9" fmla="*/ 44 h 609"/>
                <a:gd name="T10" fmla="*/ 273 w 533"/>
                <a:gd name="T11" fmla="*/ 61 h 609"/>
                <a:gd name="T12" fmla="*/ 279 w 533"/>
                <a:gd name="T13" fmla="*/ 70 h 609"/>
                <a:gd name="T14" fmla="*/ 294 w 533"/>
                <a:gd name="T15" fmla="*/ 84 h 609"/>
                <a:gd name="T16" fmla="*/ 290 w 533"/>
                <a:gd name="T17" fmla="*/ 103 h 609"/>
                <a:gd name="T18" fmla="*/ 270 w 533"/>
                <a:gd name="T19" fmla="*/ 120 h 609"/>
                <a:gd name="T20" fmla="*/ 279 w 533"/>
                <a:gd name="T21" fmla="*/ 148 h 609"/>
                <a:gd name="T22" fmla="*/ 282 w 533"/>
                <a:gd name="T23" fmla="*/ 175 h 609"/>
                <a:gd name="T24" fmla="*/ 295 w 533"/>
                <a:gd name="T25" fmla="*/ 193 h 609"/>
                <a:gd name="T26" fmla="*/ 288 w 533"/>
                <a:gd name="T27" fmla="*/ 220 h 609"/>
                <a:gd name="T28" fmla="*/ 278 w 533"/>
                <a:gd name="T29" fmla="*/ 273 h 609"/>
                <a:gd name="T30" fmla="*/ 304 w 533"/>
                <a:gd name="T31" fmla="*/ 310 h 609"/>
                <a:gd name="T32" fmla="*/ 326 w 533"/>
                <a:gd name="T33" fmla="*/ 365 h 609"/>
                <a:gd name="T34" fmla="*/ 348 w 533"/>
                <a:gd name="T35" fmla="*/ 396 h 609"/>
                <a:gd name="T36" fmla="*/ 375 w 533"/>
                <a:gd name="T37" fmla="*/ 440 h 609"/>
                <a:gd name="T38" fmla="*/ 407 w 533"/>
                <a:gd name="T39" fmla="*/ 460 h 609"/>
                <a:gd name="T40" fmla="*/ 434 w 533"/>
                <a:gd name="T41" fmla="*/ 476 h 609"/>
                <a:gd name="T42" fmla="*/ 459 w 533"/>
                <a:gd name="T43" fmla="*/ 494 h 609"/>
                <a:gd name="T44" fmla="*/ 506 w 533"/>
                <a:gd name="T45" fmla="*/ 510 h 609"/>
                <a:gd name="T46" fmla="*/ 532 w 533"/>
                <a:gd name="T47" fmla="*/ 524 h 609"/>
                <a:gd name="T48" fmla="*/ 512 w 533"/>
                <a:gd name="T49" fmla="*/ 542 h 609"/>
                <a:gd name="T50" fmla="*/ 505 w 533"/>
                <a:gd name="T51" fmla="*/ 557 h 609"/>
                <a:gd name="T52" fmla="*/ 496 w 533"/>
                <a:gd name="T53" fmla="*/ 564 h 609"/>
                <a:gd name="T54" fmla="*/ 489 w 533"/>
                <a:gd name="T55" fmla="*/ 596 h 609"/>
                <a:gd name="T56" fmla="*/ 456 w 533"/>
                <a:gd name="T57" fmla="*/ 607 h 609"/>
                <a:gd name="T58" fmla="*/ 361 w 533"/>
                <a:gd name="T59" fmla="*/ 607 h 609"/>
                <a:gd name="T60" fmla="*/ 326 w 533"/>
                <a:gd name="T61" fmla="*/ 593 h 609"/>
                <a:gd name="T62" fmla="*/ 302 w 533"/>
                <a:gd name="T63" fmla="*/ 564 h 609"/>
                <a:gd name="T64" fmla="*/ 280 w 533"/>
                <a:gd name="T65" fmla="*/ 553 h 609"/>
                <a:gd name="T66" fmla="*/ 261 w 533"/>
                <a:gd name="T67" fmla="*/ 540 h 609"/>
                <a:gd name="T68" fmla="*/ 241 w 533"/>
                <a:gd name="T69" fmla="*/ 564 h 609"/>
                <a:gd name="T70" fmla="*/ 197 w 533"/>
                <a:gd name="T71" fmla="*/ 576 h 609"/>
                <a:gd name="T72" fmla="*/ 159 w 533"/>
                <a:gd name="T73" fmla="*/ 572 h 609"/>
                <a:gd name="T74" fmla="*/ 104 w 533"/>
                <a:gd name="T75" fmla="*/ 544 h 609"/>
                <a:gd name="T76" fmla="*/ 55 w 533"/>
                <a:gd name="T77" fmla="*/ 539 h 609"/>
                <a:gd name="T78" fmla="*/ 34 w 533"/>
                <a:gd name="T79" fmla="*/ 518 h 609"/>
                <a:gd name="T80" fmla="*/ 0 w 533"/>
                <a:gd name="T81" fmla="*/ 507 h 609"/>
                <a:gd name="T82" fmla="*/ 13 w 533"/>
                <a:gd name="T83" fmla="*/ 466 h 609"/>
                <a:gd name="T84" fmla="*/ 18 w 533"/>
                <a:gd name="T85" fmla="*/ 440 h 609"/>
                <a:gd name="T86" fmla="*/ 7 w 533"/>
                <a:gd name="T87" fmla="*/ 407 h 609"/>
                <a:gd name="T88" fmla="*/ 29 w 533"/>
                <a:gd name="T89" fmla="*/ 387 h 609"/>
                <a:gd name="T90" fmla="*/ 24 w 533"/>
                <a:gd name="T91" fmla="*/ 368 h 609"/>
                <a:gd name="T92" fmla="*/ 18 w 533"/>
                <a:gd name="T93" fmla="*/ 350 h 609"/>
                <a:gd name="T94" fmla="*/ 35 w 533"/>
                <a:gd name="T95" fmla="*/ 335 h 609"/>
                <a:gd name="T96" fmla="*/ 37 w 533"/>
                <a:gd name="T97" fmla="*/ 310 h 609"/>
                <a:gd name="T98" fmla="*/ 71 w 533"/>
                <a:gd name="T99" fmla="*/ 275 h 609"/>
                <a:gd name="T100" fmla="*/ 92 w 533"/>
                <a:gd name="T101" fmla="*/ 228 h 609"/>
                <a:gd name="T102" fmla="*/ 81 w 533"/>
                <a:gd name="T103" fmla="*/ 201 h 609"/>
                <a:gd name="T104" fmla="*/ 79 w 533"/>
                <a:gd name="T105" fmla="*/ 143 h 609"/>
                <a:gd name="T106" fmla="*/ 77 w 533"/>
                <a:gd name="T107" fmla="*/ 99 h 609"/>
                <a:gd name="T108" fmla="*/ 68 w 533"/>
                <a:gd name="T109" fmla="*/ 56 h 609"/>
                <a:gd name="T110" fmla="*/ 71 w 533"/>
                <a:gd name="T111" fmla="*/ 24 h 609"/>
                <a:gd name="T112" fmla="*/ 86 w 533"/>
                <a:gd name="T113" fmla="*/ 21 h 609"/>
                <a:gd name="T114" fmla="*/ 106 w 533"/>
                <a:gd name="T115" fmla="*/ 12 h 609"/>
                <a:gd name="T116" fmla="*/ 127 w 533"/>
                <a:gd name="T117" fmla="*/ 0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3" h="609">
                  <a:moveTo>
                    <a:pt x="127" y="0"/>
                  </a:moveTo>
                  <a:lnTo>
                    <a:pt x="128" y="0"/>
                  </a:lnTo>
                  <a:lnTo>
                    <a:pt x="129" y="0"/>
                  </a:lnTo>
                  <a:lnTo>
                    <a:pt x="132" y="6"/>
                  </a:lnTo>
                  <a:lnTo>
                    <a:pt x="138" y="15"/>
                  </a:lnTo>
                  <a:lnTo>
                    <a:pt x="139" y="17"/>
                  </a:lnTo>
                  <a:lnTo>
                    <a:pt x="139" y="18"/>
                  </a:lnTo>
                  <a:lnTo>
                    <a:pt x="141" y="18"/>
                  </a:lnTo>
                  <a:lnTo>
                    <a:pt x="142" y="19"/>
                  </a:lnTo>
                  <a:lnTo>
                    <a:pt x="143" y="19"/>
                  </a:lnTo>
                  <a:lnTo>
                    <a:pt x="147" y="19"/>
                  </a:lnTo>
                  <a:lnTo>
                    <a:pt x="148" y="19"/>
                  </a:lnTo>
                  <a:lnTo>
                    <a:pt x="150" y="18"/>
                  </a:lnTo>
                  <a:lnTo>
                    <a:pt x="153" y="17"/>
                  </a:lnTo>
                  <a:lnTo>
                    <a:pt x="155" y="15"/>
                  </a:lnTo>
                  <a:lnTo>
                    <a:pt x="157" y="13"/>
                  </a:lnTo>
                  <a:lnTo>
                    <a:pt x="164" y="8"/>
                  </a:lnTo>
                  <a:lnTo>
                    <a:pt x="165" y="7"/>
                  </a:lnTo>
                  <a:lnTo>
                    <a:pt x="167" y="6"/>
                  </a:lnTo>
                  <a:lnTo>
                    <a:pt x="169" y="6"/>
                  </a:lnTo>
                  <a:lnTo>
                    <a:pt x="170" y="6"/>
                  </a:lnTo>
                  <a:lnTo>
                    <a:pt x="172" y="6"/>
                  </a:lnTo>
                  <a:lnTo>
                    <a:pt x="174" y="7"/>
                  </a:lnTo>
                  <a:lnTo>
                    <a:pt x="175" y="7"/>
                  </a:lnTo>
                  <a:lnTo>
                    <a:pt x="176" y="8"/>
                  </a:lnTo>
                  <a:lnTo>
                    <a:pt x="177" y="9"/>
                  </a:lnTo>
                  <a:lnTo>
                    <a:pt x="179" y="10"/>
                  </a:lnTo>
                  <a:lnTo>
                    <a:pt x="183" y="15"/>
                  </a:lnTo>
                  <a:lnTo>
                    <a:pt x="184" y="16"/>
                  </a:lnTo>
                  <a:lnTo>
                    <a:pt x="186" y="17"/>
                  </a:lnTo>
                  <a:lnTo>
                    <a:pt x="187" y="18"/>
                  </a:lnTo>
                  <a:lnTo>
                    <a:pt x="192" y="20"/>
                  </a:lnTo>
                  <a:lnTo>
                    <a:pt x="193" y="21"/>
                  </a:lnTo>
                  <a:lnTo>
                    <a:pt x="194" y="21"/>
                  </a:lnTo>
                  <a:lnTo>
                    <a:pt x="194" y="22"/>
                  </a:lnTo>
                  <a:lnTo>
                    <a:pt x="195" y="25"/>
                  </a:lnTo>
                  <a:lnTo>
                    <a:pt x="196" y="25"/>
                  </a:lnTo>
                  <a:lnTo>
                    <a:pt x="197" y="26"/>
                  </a:lnTo>
                  <a:lnTo>
                    <a:pt x="198" y="27"/>
                  </a:lnTo>
                  <a:lnTo>
                    <a:pt x="201" y="28"/>
                  </a:lnTo>
                  <a:lnTo>
                    <a:pt x="208" y="31"/>
                  </a:lnTo>
                  <a:lnTo>
                    <a:pt x="212" y="33"/>
                  </a:lnTo>
                  <a:lnTo>
                    <a:pt x="218" y="35"/>
                  </a:lnTo>
                  <a:lnTo>
                    <a:pt x="222" y="35"/>
                  </a:lnTo>
                  <a:lnTo>
                    <a:pt x="227" y="36"/>
                  </a:lnTo>
                  <a:lnTo>
                    <a:pt x="227" y="37"/>
                  </a:lnTo>
                  <a:lnTo>
                    <a:pt x="228" y="38"/>
                  </a:lnTo>
                  <a:lnTo>
                    <a:pt x="229" y="38"/>
                  </a:lnTo>
                  <a:lnTo>
                    <a:pt x="230" y="38"/>
                  </a:lnTo>
                  <a:lnTo>
                    <a:pt x="232" y="39"/>
                  </a:lnTo>
                  <a:lnTo>
                    <a:pt x="241" y="40"/>
                  </a:lnTo>
                  <a:lnTo>
                    <a:pt x="244" y="40"/>
                  </a:lnTo>
                  <a:lnTo>
                    <a:pt x="246" y="42"/>
                  </a:lnTo>
                  <a:lnTo>
                    <a:pt x="249" y="43"/>
                  </a:lnTo>
                  <a:lnTo>
                    <a:pt x="252" y="44"/>
                  </a:lnTo>
                  <a:lnTo>
                    <a:pt x="254" y="45"/>
                  </a:lnTo>
                  <a:lnTo>
                    <a:pt x="257" y="48"/>
                  </a:lnTo>
                  <a:lnTo>
                    <a:pt x="259" y="49"/>
                  </a:lnTo>
                  <a:lnTo>
                    <a:pt x="260" y="50"/>
                  </a:lnTo>
                  <a:lnTo>
                    <a:pt x="261" y="50"/>
                  </a:lnTo>
                  <a:lnTo>
                    <a:pt x="264" y="55"/>
                  </a:lnTo>
                  <a:lnTo>
                    <a:pt x="266" y="58"/>
                  </a:lnTo>
                  <a:lnTo>
                    <a:pt x="268" y="59"/>
                  </a:lnTo>
                  <a:lnTo>
                    <a:pt x="270" y="60"/>
                  </a:lnTo>
                  <a:lnTo>
                    <a:pt x="271" y="61"/>
                  </a:lnTo>
                  <a:lnTo>
                    <a:pt x="273" y="61"/>
                  </a:lnTo>
                  <a:lnTo>
                    <a:pt x="276" y="62"/>
                  </a:lnTo>
                  <a:lnTo>
                    <a:pt x="277" y="63"/>
                  </a:lnTo>
                  <a:lnTo>
                    <a:pt x="279" y="63"/>
                  </a:lnTo>
                  <a:lnTo>
                    <a:pt x="280" y="64"/>
                  </a:lnTo>
                  <a:lnTo>
                    <a:pt x="281" y="65"/>
                  </a:lnTo>
                  <a:lnTo>
                    <a:pt x="281" y="65"/>
                  </a:lnTo>
                  <a:lnTo>
                    <a:pt x="281" y="66"/>
                  </a:lnTo>
                  <a:lnTo>
                    <a:pt x="281" y="67"/>
                  </a:lnTo>
                  <a:lnTo>
                    <a:pt x="279" y="68"/>
                  </a:lnTo>
                  <a:lnTo>
                    <a:pt x="279" y="69"/>
                  </a:lnTo>
                  <a:lnTo>
                    <a:pt x="279" y="70"/>
                  </a:lnTo>
                  <a:lnTo>
                    <a:pt x="279" y="71"/>
                  </a:lnTo>
                  <a:lnTo>
                    <a:pt x="279" y="73"/>
                  </a:lnTo>
                  <a:lnTo>
                    <a:pt x="280" y="74"/>
                  </a:lnTo>
                  <a:lnTo>
                    <a:pt x="280" y="75"/>
                  </a:lnTo>
                  <a:lnTo>
                    <a:pt x="284" y="80"/>
                  </a:lnTo>
                  <a:lnTo>
                    <a:pt x="286" y="81"/>
                  </a:lnTo>
                  <a:lnTo>
                    <a:pt x="287" y="82"/>
                  </a:lnTo>
                  <a:lnTo>
                    <a:pt x="289" y="83"/>
                  </a:lnTo>
                  <a:lnTo>
                    <a:pt x="293" y="83"/>
                  </a:lnTo>
                  <a:lnTo>
                    <a:pt x="294" y="84"/>
                  </a:lnTo>
                  <a:lnTo>
                    <a:pt x="294" y="84"/>
                  </a:lnTo>
                  <a:lnTo>
                    <a:pt x="295" y="85"/>
                  </a:lnTo>
                  <a:lnTo>
                    <a:pt x="296" y="85"/>
                  </a:lnTo>
                  <a:lnTo>
                    <a:pt x="296" y="87"/>
                  </a:lnTo>
                  <a:lnTo>
                    <a:pt x="296" y="88"/>
                  </a:lnTo>
                  <a:lnTo>
                    <a:pt x="296" y="89"/>
                  </a:lnTo>
                  <a:lnTo>
                    <a:pt x="296" y="91"/>
                  </a:lnTo>
                  <a:lnTo>
                    <a:pt x="296" y="93"/>
                  </a:lnTo>
                  <a:lnTo>
                    <a:pt x="294" y="95"/>
                  </a:lnTo>
                  <a:lnTo>
                    <a:pt x="293" y="98"/>
                  </a:lnTo>
                  <a:lnTo>
                    <a:pt x="291" y="101"/>
                  </a:lnTo>
                  <a:lnTo>
                    <a:pt x="290" y="103"/>
                  </a:lnTo>
                  <a:lnTo>
                    <a:pt x="288" y="105"/>
                  </a:lnTo>
                  <a:lnTo>
                    <a:pt x="286" y="107"/>
                  </a:lnTo>
                  <a:lnTo>
                    <a:pt x="284" y="108"/>
                  </a:lnTo>
                  <a:lnTo>
                    <a:pt x="280" y="110"/>
                  </a:lnTo>
                  <a:lnTo>
                    <a:pt x="278" y="110"/>
                  </a:lnTo>
                  <a:lnTo>
                    <a:pt x="276" y="111"/>
                  </a:lnTo>
                  <a:lnTo>
                    <a:pt x="275" y="113"/>
                  </a:lnTo>
                  <a:lnTo>
                    <a:pt x="273" y="115"/>
                  </a:lnTo>
                  <a:lnTo>
                    <a:pt x="271" y="117"/>
                  </a:lnTo>
                  <a:lnTo>
                    <a:pt x="270" y="120"/>
                  </a:lnTo>
                  <a:lnTo>
                    <a:pt x="270" y="120"/>
                  </a:lnTo>
                  <a:lnTo>
                    <a:pt x="269" y="122"/>
                  </a:lnTo>
                  <a:lnTo>
                    <a:pt x="269" y="123"/>
                  </a:lnTo>
                  <a:lnTo>
                    <a:pt x="270" y="125"/>
                  </a:lnTo>
                  <a:lnTo>
                    <a:pt x="270" y="125"/>
                  </a:lnTo>
                  <a:lnTo>
                    <a:pt x="271" y="128"/>
                  </a:lnTo>
                  <a:lnTo>
                    <a:pt x="272" y="130"/>
                  </a:lnTo>
                  <a:lnTo>
                    <a:pt x="275" y="135"/>
                  </a:lnTo>
                  <a:lnTo>
                    <a:pt x="276" y="138"/>
                  </a:lnTo>
                  <a:lnTo>
                    <a:pt x="277" y="140"/>
                  </a:lnTo>
                  <a:lnTo>
                    <a:pt x="278" y="145"/>
                  </a:lnTo>
                  <a:lnTo>
                    <a:pt x="279" y="148"/>
                  </a:lnTo>
                  <a:lnTo>
                    <a:pt x="280" y="152"/>
                  </a:lnTo>
                  <a:lnTo>
                    <a:pt x="283" y="159"/>
                  </a:lnTo>
                  <a:lnTo>
                    <a:pt x="284" y="161"/>
                  </a:lnTo>
                  <a:lnTo>
                    <a:pt x="284" y="163"/>
                  </a:lnTo>
                  <a:lnTo>
                    <a:pt x="284" y="165"/>
                  </a:lnTo>
                  <a:lnTo>
                    <a:pt x="284" y="167"/>
                  </a:lnTo>
                  <a:lnTo>
                    <a:pt x="282" y="169"/>
                  </a:lnTo>
                  <a:lnTo>
                    <a:pt x="281" y="170"/>
                  </a:lnTo>
                  <a:lnTo>
                    <a:pt x="281" y="172"/>
                  </a:lnTo>
                  <a:lnTo>
                    <a:pt x="281" y="173"/>
                  </a:lnTo>
                  <a:lnTo>
                    <a:pt x="282" y="175"/>
                  </a:lnTo>
                  <a:lnTo>
                    <a:pt x="284" y="176"/>
                  </a:lnTo>
                  <a:lnTo>
                    <a:pt x="286" y="178"/>
                  </a:lnTo>
                  <a:lnTo>
                    <a:pt x="290" y="181"/>
                  </a:lnTo>
                  <a:lnTo>
                    <a:pt x="291" y="183"/>
                  </a:lnTo>
                  <a:lnTo>
                    <a:pt x="292" y="183"/>
                  </a:lnTo>
                  <a:lnTo>
                    <a:pt x="294" y="185"/>
                  </a:lnTo>
                  <a:lnTo>
                    <a:pt x="295" y="188"/>
                  </a:lnTo>
                  <a:lnTo>
                    <a:pt x="295" y="189"/>
                  </a:lnTo>
                  <a:lnTo>
                    <a:pt x="296" y="190"/>
                  </a:lnTo>
                  <a:lnTo>
                    <a:pt x="296" y="192"/>
                  </a:lnTo>
                  <a:lnTo>
                    <a:pt x="295" y="193"/>
                  </a:lnTo>
                  <a:lnTo>
                    <a:pt x="294" y="198"/>
                  </a:lnTo>
                  <a:lnTo>
                    <a:pt x="293" y="200"/>
                  </a:lnTo>
                  <a:lnTo>
                    <a:pt x="293" y="202"/>
                  </a:lnTo>
                  <a:lnTo>
                    <a:pt x="294" y="206"/>
                  </a:lnTo>
                  <a:lnTo>
                    <a:pt x="294" y="208"/>
                  </a:lnTo>
                  <a:lnTo>
                    <a:pt x="294" y="210"/>
                  </a:lnTo>
                  <a:lnTo>
                    <a:pt x="293" y="211"/>
                  </a:lnTo>
                  <a:lnTo>
                    <a:pt x="293" y="212"/>
                  </a:lnTo>
                  <a:lnTo>
                    <a:pt x="292" y="213"/>
                  </a:lnTo>
                  <a:lnTo>
                    <a:pt x="289" y="217"/>
                  </a:lnTo>
                  <a:lnTo>
                    <a:pt x="288" y="220"/>
                  </a:lnTo>
                  <a:lnTo>
                    <a:pt x="288" y="222"/>
                  </a:lnTo>
                  <a:lnTo>
                    <a:pt x="287" y="227"/>
                  </a:lnTo>
                  <a:lnTo>
                    <a:pt x="286" y="230"/>
                  </a:lnTo>
                  <a:lnTo>
                    <a:pt x="285" y="233"/>
                  </a:lnTo>
                  <a:lnTo>
                    <a:pt x="282" y="241"/>
                  </a:lnTo>
                  <a:lnTo>
                    <a:pt x="281" y="245"/>
                  </a:lnTo>
                  <a:lnTo>
                    <a:pt x="280" y="248"/>
                  </a:lnTo>
                  <a:lnTo>
                    <a:pt x="279" y="259"/>
                  </a:lnTo>
                  <a:lnTo>
                    <a:pt x="277" y="266"/>
                  </a:lnTo>
                  <a:lnTo>
                    <a:pt x="277" y="270"/>
                  </a:lnTo>
                  <a:lnTo>
                    <a:pt x="278" y="273"/>
                  </a:lnTo>
                  <a:lnTo>
                    <a:pt x="278" y="275"/>
                  </a:lnTo>
                  <a:lnTo>
                    <a:pt x="279" y="277"/>
                  </a:lnTo>
                  <a:lnTo>
                    <a:pt x="280" y="279"/>
                  </a:lnTo>
                  <a:lnTo>
                    <a:pt x="281" y="281"/>
                  </a:lnTo>
                  <a:lnTo>
                    <a:pt x="282" y="283"/>
                  </a:lnTo>
                  <a:lnTo>
                    <a:pt x="284" y="285"/>
                  </a:lnTo>
                  <a:lnTo>
                    <a:pt x="291" y="292"/>
                  </a:lnTo>
                  <a:lnTo>
                    <a:pt x="296" y="298"/>
                  </a:lnTo>
                  <a:lnTo>
                    <a:pt x="299" y="302"/>
                  </a:lnTo>
                  <a:lnTo>
                    <a:pt x="302" y="306"/>
                  </a:lnTo>
                  <a:lnTo>
                    <a:pt x="304" y="310"/>
                  </a:lnTo>
                  <a:lnTo>
                    <a:pt x="306" y="314"/>
                  </a:lnTo>
                  <a:lnTo>
                    <a:pt x="314" y="327"/>
                  </a:lnTo>
                  <a:lnTo>
                    <a:pt x="316" y="332"/>
                  </a:lnTo>
                  <a:lnTo>
                    <a:pt x="319" y="337"/>
                  </a:lnTo>
                  <a:lnTo>
                    <a:pt x="321" y="345"/>
                  </a:lnTo>
                  <a:lnTo>
                    <a:pt x="324" y="352"/>
                  </a:lnTo>
                  <a:lnTo>
                    <a:pt x="324" y="355"/>
                  </a:lnTo>
                  <a:lnTo>
                    <a:pt x="325" y="357"/>
                  </a:lnTo>
                  <a:lnTo>
                    <a:pt x="326" y="360"/>
                  </a:lnTo>
                  <a:lnTo>
                    <a:pt x="326" y="363"/>
                  </a:lnTo>
                  <a:lnTo>
                    <a:pt x="326" y="365"/>
                  </a:lnTo>
                  <a:lnTo>
                    <a:pt x="326" y="367"/>
                  </a:lnTo>
                  <a:lnTo>
                    <a:pt x="327" y="369"/>
                  </a:lnTo>
                  <a:lnTo>
                    <a:pt x="328" y="370"/>
                  </a:lnTo>
                  <a:lnTo>
                    <a:pt x="329" y="373"/>
                  </a:lnTo>
                  <a:lnTo>
                    <a:pt x="331" y="375"/>
                  </a:lnTo>
                  <a:lnTo>
                    <a:pt x="332" y="377"/>
                  </a:lnTo>
                  <a:lnTo>
                    <a:pt x="334" y="379"/>
                  </a:lnTo>
                  <a:lnTo>
                    <a:pt x="339" y="383"/>
                  </a:lnTo>
                  <a:lnTo>
                    <a:pt x="341" y="385"/>
                  </a:lnTo>
                  <a:lnTo>
                    <a:pt x="346" y="392"/>
                  </a:lnTo>
                  <a:lnTo>
                    <a:pt x="348" y="396"/>
                  </a:lnTo>
                  <a:lnTo>
                    <a:pt x="351" y="400"/>
                  </a:lnTo>
                  <a:lnTo>
                    <a:pt x="352" y="405"/>
                  </a:lnTo>
                  <a:lnTo>
                    <a:pt x="354" y="408"/>
                  </a:lnTo>
                  <a:lnTo>
                    <a:pt x="356" y="416"/>
                  </a:lnTo>
                  <a:lnTo>
                    <a:pt x="357" y="420"/>
                  </a:lnTo>
                  <a:lnTo>
                    <a:pt x="359" y="424"/>
                  </a:lnTo>
                  <a:lnTo>
                    <a:pt x="361" y="427"/>
                  </a:lnTo>
                  <a:lnTo>
                    <a:pt x="363" y="430"/>
                  </a:lnTo>
                  <a:lnTo>
                    <a:pt x="365" y="432"/>
                  </a:lnTo>
                  <a:lnTo>
                    <a:pt x="370" y="436"/>
                  </a:lnTo>
                  <a:lnTo>
                    <a:pt x="375" y="440"/>
                  </a:lnTo>
                  <a:lnTo>
                    <a:pt x="377" y="442"/>
                  </a:lnTo>
                  <a:lnTo>
                    <a:pt x="379" y="445"/>
                  </a:lnTo>
                  <a:lnTo>
                    <a:pt x="383" y="450"/>
                  </a:lnTo>
                  <a:lnTo>
                    <a:pt x="384" y="452"/>
                  </a:lnTo>
                  <a:lnTo>
                    <a:pt x="385" y="453"/>
                  </a:lnTo>
                  <a:lnTo>
                    <a:pt x="386" y="454"/>
                  </a:lnTo>
                  <a:lnTo>
                    <a:pt x="389" y="455"/>
                  </a:lnTo>
                  <a:lnTo>
                    <a:pt x="390" y="456"/>
                  </a:lnTo>
                  <a:lnTo>
                    <a:pt x="392" y="457"/>
                  </a:lnTo>
                  <a:lnTo>
                    <a:pt x="396" y="458"/>
                  </a:lnTo>
                  <a:lnTo>
                    <a:pt x="407" y="460"/>
                  </a:lnTo>
                  <a:lnTo>
                    <a:pt x="415" y="462"/>
                  </a:lnTo>
                  <a:lnTo>
                    <a:pt x="418" y="462"/>
                  </a:lnTo>
                  <a:lnTo>
                    <a:pt x="424" y="463"/>
                  </a:lnTo>
                  <a:lnTo>
                    <a:pt x="426" y="463"/>
                  </a:lnTo>
                  <a:lnTo>
                    <a:pt x="428" y="464"/>
                  </a:lnTo>
                  <a:lnTo>
                    <a:pt x="429" y="464"/>
                  </a:lnTo>
                  <a:lnTo>
                    <a:pt x="430" y="465"/>
                  </a:lnTo>
                  <a:lnTo>
                    <a:pt x="431" y="466"/>
                  </a:lnTo>
                  <a:lnTo>
                    <a:pt x="431" y="468"/>
                  </a:lnTo>
                  <a:lnTo>
                    <a:pt x="432" y="470"/>
                  </a:lnTo>
                  <a:lnTo>
                    <a:pt x="434" y="476"/>
                  </a:lnTo>
                  <a:lnTo>
                    <a:pt x="434" y="478"/>
                  </a:lnTo>
                  <a:lnTo>
                    <a:pt x="436" y="480"/>
                  </a:lnTo>
                  <a:lnTo>
                    <a:pt x="437" y="482"/>
                  </a:lnTo>
                  <a:lnTo>
                    <a:pt x="439" y="484"/>
                  </a:lnTo>
                  <a:lnTo>
                    <a:pt x="442" y="485"/>
                  </a:lnTo>
                  <a:lnTo>
                    <a:pt x="444" y="486"/>
                  </a:lnTo>
                  <a:lnTo>
                    <a:pt x="454" y="489"/>
                  </a:lnTo>
                  <a:lnTo>
                    <a:pt x="456" y="489"/>
                  </a:lnTo>
                  <a:lnTo>
                    <a:pt x="457" y="491"/>
                  </a:lnTo>
                  <a:lnTo>
                    <a:pt x="459" y="492"/>
                  </a:lnTo>
                  <a:lnTo>
                    <a:pt x="459" y="494"/>
                  </a:lnTo>
                  <a:lnTo>
                    <a:pt x="463" y="499"/>
                  </a:lnTo>
                  <a:lnTo>
                    <a:pt x="464" y="502"/>
                  </a:lnTo>
                  <a:lnTo>
                    <a:pt x="466" y="503"/>
                  </a:lnTo>
                  <a:lnTo>
                    <a:pt x="468" y="504"/>
                  </a:lnTo>
                  <a:lnTo>
                    <a:pt x="471" y="505"/>
                  </a:lnTo>
                  <a:lnTo>
                    <a:pt x="476" y="507"/>
                  </a:lnTo>
                  <a:lnTo>
                    <a:pt x="481" y="508"/>
                  </a:lnTo>
                  <a:lnTo>
                    <a:pt x="486" y="509"/>
                  </a:lnTo>
                  <a:lnTo>
                    <a:pt x="490" y="509"/>
                  </a:lnTo>
                  <a:lnTo>
                    <a:pt x="501" y="509"/>
                  </a:lnTo>
                  <a:lnTo>
                    <a:pt x="506" y="510"/>
                  </a:lnTo>
                  <a:lnTo>
                    <a:pt x="510" y="511"/>
                  </a:lnTo>
                  <a:lnTo>
                    <a:pt x="515" y="512"/>
                  </a:lnTo>
                  <a:lnTo>
                    <a:pt x="525" y="513"/>
                  </a:lnTo>
                  <a:lnTo>
                    <a:pt x="528" y="514"/>
                  </a:lnTo>
                  <a:lnTo>
                    <a:pt x="531" y="514"/>
                  </a:lnTo>
                  <a:lnTo>
                    <a:pt x="532" y="514"/>
                  </a:lnTo>
                  <a:lnTo>
                    <a:pt x="533" y="514"/>
                  </a:lnTo>
                  <a:lnTo>
                    <a:pt x="533" y="515"/>
                  </a:lnTo>
                  <a:lnTo>
                    <a:pt x="533" y="517"/>
                  </a:lnTo>
                  <a:lnTo>
                    <a:pt x="533" y="521"/>
                  </a:lnTo>
                  <a:lnTo>
                    <a:pt x="532" y="524"/>
                  </a:lnTo>
                  <a:lnTo>
                    <a:pt x="531" y="527"/>
                  </a:lnTo>
                  <a:lnTo>
                    <a:pt x="531" y="529"/>
                  </a:lnTo>
                  <a:lnTo>
                    <a:pt x="530" y="532"/>
                  </a:lnTo>
                  <a:lnTo>
                    <a:pt x="529" y="533"/>
                  </a:lnTo>
                  <a:lnTo>
                    <a:pt x="526" y="537"/>
                  </a:lnTo>
                  <a:lnTo>
                    <a:pt x="524" y="537"/>
                  </a:lnTo>
                  <a:lnTo>
                    <a:pt x="523" y="539"/>
                  </a:lnTo>
                  <a:lnTo>
                    <a:pt x="520" y="539"/>
                  </a:lnTo>
                  <a:lnTo>
                    <a:pt x="518" y="541"/>
                  </a:lnTo>
                  <a:lnTo>
                    <a:pt x="516" y="541"/>
                  </a:lnTo>
                  <a:lnTo>
                    <a:pt x="512" y="542"/>
                  </a:lnTo>
                  <a:lnTo>
                    <a:pt x="511" y="542"/>
                  </a:lnTo>
                  <a:lnTo>
                    <a:pt x="511" y="543"/>
                  </a:lnTo>
                  <a:lnTo>
                    <a:pt x="510" y="544"/>
                  </a:lnTo>
                  <a:lnTo>
                    <a:pt x="509" y="544"/>
                  </a:lnTo>
                  <a:lnTo>
                    <a:pt x="508" y="546"/>
                  </a:lnTo>
                  <a:lnTo>
                    <a:pt x="508" y="547"/>
                  </a:lnTo>
                  <a:lnTo>
                    <a:pt x="507" y="549"/>
                  </a:lnTo>
                  <a:lnTo>
                    <a:pt x="506" y="554"/>
                  </a:lnTo>
                  <a:lnTo>
                    <a:pt x="506" y="556"/>
                  </a:lnTo>
                  <a:lnTo>
                    <a:pt x="506" y="557"/>
                  </a:lnTo>
                  <a:lnTo>
                    <a:pt x="505" y="557"/>
                  </a:lnTo>
                  <a:lnTo>
                    <a:pt x="504" y="557"/>
                  </a:lnTo>
                  <a:lnTo>
                    <a:pt x="502" y="558"/>
                  </a:lnTo>
                  <a:lnTo>
                    <a:pt x="499" y="559"/>
                  </a:lnTo>
                  <a:lnTo>
                    <a:pt x="498" y="559"/>
                  </a:lnTo>
                  <a:lnTo>
                    <a:pt x="497" y="559"/>
                  </a:lnTo>
                  <a:lnTo>
                    <a:pt x="496" y="560"/>
                  </a:lnTo>
                  <a:lnTo>
                    <a:pt x="496" y="561"/>
                  </a:lnTo>
                  <a:lnTo>
                    <a:pt x="496" y="562"/>
                  </a:lnTo>
                  <a:lnTo>
                    <a:pt x="496" y="562"/>
                  </a:lnTo>
                  <a:lnTo>
                    <a:pt x="496" y="563"/>
                  </a:lnTo>
                  <a:lnTo>
                    <a:pt x="496" y="564"/>
                  </a:lnTo>
                  <a:lnTo>
                    <a:pt x="501" y="572"/>
                  </a:lnTo>
                  <a:lnTo>
                    <a:pt x="503" y="577"/>
                  </a:lnTo>
                  <a:lnTo>
                    <a:pt x="503" y="578"/>
                  </a:lnTo>
                  <a:lnTo>
                    <a:pt x="502" y="580"/>
                  </a:lnTo>
                  <a:lnTo>
                    <a:pt x="501" y="582"/>
                  </a:lnTo>
                  <a:lnTo>
                    <a:pt x="501" y="584"/>
                  </a:lnTo>
                  <a:lnTo>
                    <a:pt x="499" y="586"/>
                  </a:lnTo>
                  <a:lnTo>
                    <a:pt x="496" y="589"/>
                  </a:lnTo>
                  <a:lnTo>
                    <a:pt x="494" y="592"/>
                  </a:lnTo>
                  <a:lnTo>
                    <a:pt x="491" y="594"/>
                  </a:lnTo>
                  <a:lnTo>
                    <a:pt x="489" y="596"/>
                  </a:lnTo>
                  <a:lnTo>
                    <a:pt x="487" y="597"/>
                  </a:lnTo>
                  <a:lnTo>
                    <a:pt x="484" y="599"/>
                  </a:lnTo>
                  <a:lnTo>
                    <a:pt x="482" y="600"/>
                  </a:lnTo>
                  <a:lnTo>
                    <a:pt x="479" y="602"/>
                  </a:lnTo>
                  <a:lnTo>
                    <a:pt x="476" y="603"/>
                  </a:lnTo>
                  <a:lnTo>
                    <a:pt x="474" y="604"/>
                  </a:lnTo>
                  <a:lnTo>
                    <a:pt x="471" y="605"/>
                  </a:lnTo>
                  <a:lnTo>
                    <a:pt x="468" y="605"/>
                  </a:lnTo>
                  <a:lnTo>
                    <a:pt x="465" y="606"/>
                  </a:lnTo>
                  <a:lnTo>
                    <a:pt x="461" y="607"/>
                  </a:lnTo>
                  <a:lnTo>
                    <a:pt x="456" y="607"/>
                  </a:lnTo>
                  <a:lnTo>
                    <a:pt x="451" y="607"/>
                  </a:lnTo>
                  <a:lnTo>
                    <a:pt x="440" y="607"/>
                  </a:lnTo>
                  <a:lnTo>
                    <a:pt x="434" y="607"/>
                  </a:lnTo>
                  <a:lnTo>
                    <a:pt x="421" y="607"/>
                  </a:lnTo>
                  <a:lnTo>
                    <a:pt x="410" y="608"/>
                  </a:lnTo>
                  <a:lnTo>
                    <a:pt x="396" y="609"/>
                  </a:lnTo>
                  <a:lnTo>
                    <a:pt x="385" y="609"/>
                  </a:lnTo>
                  <a:lnTo>
                    <a:pt x="380" y="609"/>
                  </a:lnTo>
                  <a:lnTo>
                    <a:pt x="370" y="609"/>
                  </a:lnTo>
                  <a:lnTo>
                    <a:pt x="364" y="607"/>
                  </a:lnTo>
                  <a:lnTo>
                    <a:pt x="361" y="607"/>
                  </a:lnTo>
                  <a:lnTo>
                    <a:pt x="358" y="605"/>
                  </a:lnTo>
                  <a:lnTo>
                    <a:pt x="352" y="602"/>
                  </a:lnTo>
                  <a:lnTo>
                    <a:pt x="349" y="602"/>
                  </a:lnTo>
                  <a:lnTo>
                    <a:pt x="344" y="600"/>
                  </a:lnTo>
                  <a:lnTo>
                    <a:pt x="337" y="599"/>
                  </a:lnTo>
                  <a:lnTo>
                    <a:pt x="335" y="599"/>
                  </a:lnTo>
                  <a:lnTo>
                    <a:pt x="332" y="598"/>
                  </a:lnTo>
                  <a:lnTo>
                    <a:pt x="330" y="597"/>
                  </a:lnTo>
                  <a:lnTo>
                    <a:pt x="329" y="596"/>
                  </a:lnTo>
                  <a:lnTo>
                    <a:pt x="327" y="594"/>
                  </a:lnTo>
                  <a:lnTo>
                    <a:pt x="326" y="593"/>
                  </a:lnTo>
                  <a:lnTo>
                    <a:pt x="325" y="592"/>
                  </a:lnTo>
                  <a:lnTo>
                    <a:pt x="323" y="589"/>
                  </a:lnTo>
                  <a:lnTo>
                    <a:pt x="319" y="582"/>
                  </a:lnTo>
                  <a:lnTo>
                    <a:pt x="317" y="580"/>
                  </a:lnTo>
                  <a:lnTo>
                    <a:pt x="316" y="579"/>
                  </a:lnTo>
                  <a:lnTo>
                    <a:pt x="313" y="576"/>
                  </a:lnTo>
                  <a:lnTo>
                    <a:pt x="307" y="570"/>
                  </a:lnTo>
                  <a:lnTo>
                    <a:pt x="305" y="568"/>
                  </a:lnTo>
                  <a:lnTo>
                    <a:pt x="304" y="567"/>
                  </a:lnTo>
                  <a:lnTo>
                    <a:pt x="303" y="566"/>
                  </a:lnTo>
                  <a:lnTo>
                    <a:pt x="302" y="564"/>
                  </a:lnTo>
                  <a:lnTo>
                    <a:pt x="300" y="560"/>
                  </a:lnTo>
                  <a:lnTo>
                    <a:pt x="299" y="558"/>
                  </a:lnTo>
                  <a:lnTo>
                    <a:pt x="299" y="556"/>
                  </a:lnTo>
                  <a:lnTo>
                    <a:pt x="296" y="554"/>
                  </a:lnTo>
                  <a:lnTo>
                    <a:pt x="296" y="554"/>
                  </a:lnTo>
                  <a:lnTo>
                    <a:pt x="294" y="553"/>
                  </a:lnTo>
                  <a:lnTo>
                    <a:pt x="294" y="553"/>
                  </a:lnTo>
                  <a:lnTo>
                    <a:pt x="292" y="552"/>
                  </a:lnTo>
                  <a:lnTo>
                    <a:pt x="289" y="552"/>
                  </a:lnTo>
                  <a:lnTo>
                    <a:pt x="282" y="553"/>
                  </a:lnTo>
                  <a:lnTo>
                    <a:pt x="280" y="553"/>
                  </a:lnTo>
                  <a:lnTo>
                    <a:pt x="276" y="553"/>
                  </a:lnTo>
                  <a:lnTo>
                    <a:pt x="276" y="553"/>
                  </a:lnTo>
                  <a:lnTo>
                    <a:pt x="274" y="552"/>
                  </a:lnTo>
                  <a:lnTo>
                    <a:pt x="272" y="551"/>
                  </a:lnTo>
                  <a:lnTo>
                    <a:pt x="270" y="549"/>
                  </a:lnTo>
                  <a:lnTo>
                    <a:pt x="268" y="547"/>
                  </a:lnTo>
                  <a:lnTo>
                    <a:pt x="266" y="544"/>
                  </a:lnTo>
                  <a:lnTo>
                    <a:pt x="264" y="542"/>
                  </a:lnTo>
                  <a:lnTo>
                    <a:pt x="262" y="541"/>
                  </a:lnTo>
                  <a:lnTo>
                    <a:pt x="261" y="540"/>
                  </a:lnTo>
                  <a:lnTo>
                    <a:pt x="261" y="540"/>
                  </a:lnTo>
                  <a:lnTo>
                    <a:pt x="259" y="539"/>
                  </a:lnTo>
                  <a:lnTo>
                    <a:pt x="257" y="540"/>
                  </a:lnTo>
                  <a:lnTo>
                    <a:pt x="256" y="541"/>
                  </a:lnTo>
                  <a:lnTo>
                    <a:pt x="254" y="542"/>
                  </a:lnTo>
                  <a:lnTo>
                    <a:pt x="254" y="543"/>
                  </a:lnTo>
                  <a:lnTo>
                    <a:pt x="252" y="546"/>
                  </a:lnTo>
                  <a:lnTo>
                    <a:pt x="247" y="556"/>
                  </a:lnTo>
                  <a:lnTo>
                    <a:pt x="244" y="561"/>
                  </a:lnTo>
                  <a:lnTo>
                    <a:pt x="243" y="562"/>
                  </a:lnTo>
                  <a:lnTo>
                    <a:pt x="242" y="563"/>
                  </a:lnTo>
                  <a:lnTo>
                    <a:pt x="241" y="564"/>
                  </a:lnTo>
                  <a:lnTo>
                    <a:pt x="239" y="564"/>
                  </a:lnTo>
                  <a:lnTo>
                    <a:pt x="237" y="565"/>
                  </a:lnTo>
                  <a:lnTo>
                    <a:pt x="224" y="567"/>
                  </a:lnTo>
                  <a:lnTo>
                    <a:pt x="219" y="568"/>
                  </a:lnTo>
                  <a:lnTo>
                    <a:pt x="217" y="569"/>
                  </a:lnTo>
                  <a:lnTo>
                    <a:pt x="213" y="570"/>
                  </a:lnTo>
                  <a:lnTo>
                    <a:pt x="204" y="574"/>
                  </a:lnTo>
                  <a:lnTo>
                    <a:pt x="202" y="575"/>
                  </a:lnTo>
                  <a:lnTo>
                    <a:pt x="200" y="576"/>
                  </a:lnTo>
                  <a:lnTo>
                    <a:pt x="199" y="576"/>
                  </a:lnTo>
                  <a:lnTo>
                    <a:pt x="197" y="576"/>
                  </a:lnTo>
                  <a:lnTo>
                    <a:pt x="192" y="576"/>
                  </a:lnTo>
                  <a:lnTo>
                    <a:pt x="184" y="576"/>
                  </a:lnTo>
                  <a:lnTo>
                    <a:pt x="178" y="576"/>
                  </a:lnTo>
                  <a:lnTo>
                    <a:pt x="174" y="576"/>
                  </a:lnTo>
                  <a:lnTo>
                    <a:pt x="167" y="578"/>
                  </a:lnTo>
                  <a:lnTo>
                    <a:pt x="164" y="578"/>
                  </a:lnTo>
                  <a:lnTo>
                    <a:pt x="164" y="577"/>
                  </a:lnTo>
                  <a:lnTo>
                    <a:pt x="162" y="577"/>
                  </a:lnTo>
                  <a:lnTo>
                    <a:pt x="162" y="577"/>
                  </a:lnTo>
                  <a:lnTo>
                    <a:pt x="161" y="575"/>
                  </a:lnTo>
                  <a:lnTo>
                    <a:pt x="159" y="572"/>
                  </a:lnTo>
                  <a:lnTo>
                    <a:pt x="156" y="564"/>
                  </a:lnTo>
                  <a:lnTo>
                    <a:pt x="154" y="559"/>
                  </a:lnTo>
                  <a:lnTo>
                    <a:pt x="152" y="555"/>
                  </a:lnTo>
                  <a:lnTo>
                    <a:pt x="150" y="552"/>
                  </a:lnTo>
                  <a:lnTo>
                    <a:pt x="148" y="549"/>
                  </a:lnTo>
                  <a:lnTo>
                    <a:pt x="147" y="548"/>
                  </a:lnTo>
                  <a:lnTo>
                    <a:pt x="144" y="547"/>
                  </a:lnTo>
                  <a:lnTo>
                    <a:pt x="143" y="547"/>
                  </a:lnTo>
                  <a:lnTo>
                    <a:pt x="141" y="546"/>
                  </a:lnTo>
                  <a:lnTo>
                    <a:pt x="116" y="545"/>
                  </a:lnTo>
                  <a:lnTo>
                    <a:pt x="104" y="544"/>
                  </a:lnTo>
                  <a:lnTo>
                    <a:pt x="91" y="544"/>
                  </a:lnTo>
                  <a:lnTo>
                    <a:pt x="85" y="544"/>
                  </a:lnTo>
                  <a:lnTo>
                    <a:pt x="75" y="545"/>
                  </a:lnTo>
                  <a:lnTo>
                    <a:pt x="72" y="545"/>
                  </a:lnTo>
                  <a:lnTo>
                    <a:pt x="68" y="545"/>
                  </a:lnTo>
                  <a:lnTo>
                    <a:pt x="66" y="544"/>
                  </a:lnTo>
                  <a:lnTo>
                    <a:pt x="64" y="544"/>
                  </a:lnTo>
                  <a:lnTo>
                    <a:pt x="61" y="543"/>
                  </a:lnTo>
                  <a:lnTo>
                    <a:pt x="59" y="542"/>
                  </a:lnTo>
                  <a:lnTo>
                    <a:pt x="57" y="541"/>
                  </a:lnTo>
                  <a:lnTo>
                    <a:pt x="55" y="539"/>
                  </a:lnTo>
                  <a:lnTo>
                    <a:pt x="54" y="538"/>
                  </a:lnTo>
                  <a:lnTo>
                    <a:pt x="52" y="537"/>
                  </a:lnTo>
                  <a:lnTo>
                    <a:pt x="49" y="530"/>
                  </a:lnTo>
                  <a:lnTo>
                    <a:pt x="48" y="528"/>
                  </a:lnTo>
                  <a:lnTo>
                    <a:pt x="47" y="527"/>
                  </a:lnTo>
                  <a:lnTo>
                    <a:pt x="45" y="525"/>
                  </a:lnTo>
                  <a:lnTo>
                    <a:pt x="44" y="524"/>
                  </a:lnTo>
                  <a:lnTo>
                    <a:pt x="42" y="522"/>
                  </a:lnTo>
                  <a:lnTo>
                    <a:pt x="39" y="521"/>
                  </a:lnTo>
                  <a:lnTo>
                    <a:pt x="37" y="519"/>
                  </a:lnTo>
                  <a:lnTo>
                    <a:pt x="34" y="518"/>
                  </a:lnTo>
                  <a:lnTo>
                    <a:pt x="31" y="517"/>
                  </a:lnTo>
                  <a:lnTo>
                    <a:pt x="27" y="516"/>
                  </a:lnTo>
                  <a:lnTo>
                    <a:pt x="21" y="514"/>
                  </a:lnTo>
                  <a:lnTo>
                    <a:pt x="10" y="512"/>
                  </a:lnTo>
                  <a:lnTo>
                    <a:pt x="7" y="512"/>
                  </a:lnTo>
                  <a:lnTo>
                    <a:pt x="5" y="511"/>
                  </a:lnTo>
                  <a:lnTo>
                    <a:pt x="3" y="510"/>
                  </a:lnTo>
                  <a:lnTo>
                    <a:pt x="1" y="509"/>
                  </a:lnTo>
                  <a:lnTo>
                    <a:pt x="0" y="508"/>
                  </a:lnTo>
                  <a:lnTo>
                    <a:pt x="0" y="508"/>
                  </a:lnTo>
                  <a:lnTo>
                    <a:pt x="0" y="507"/>
                  </a:lnTo>
                  <a:lnTo>
                    <a:pt x="0" y="507"/>
                  </a:lnTo>
                  <a:lnTo>
                    <a:pt x="0" y="502"/>
                  </a:lnTo>
                  <a:lnTo>
                    <a:pt x="0" y="499"/>
                  </a:lnTo>
                  <a:lnTo>
                    <a:pt x="4" y="484"/>
                  </a:lnTo>
                  <a:lnTo>
                    <a:pt x="5" y="480"/>
                  </a:lnTo>
                  <a:lnTo>
                    <a:pt x="6" y="477"/>
                  </a:lnTo>
                  <a:lnTo>
                    <a:pt x="7" y="474"/>
                  </a:lnTo>
                  <a:lnTo>
                    <a:pt x="8" y="472"/>
                  </a:lnTo>
                  <a:lnTo>
                    <a:pt x="9" y="471"/>
                  </a:lnTo>
                  <a:lnTo>
                    <a:pt x="10" y="469"/>
                  </a:lnTo>
                  <a:lnTo>
                    <a:pt x="13" y="466"/>
                  </a:lnTo>
                  <a:lnTo>
                    <a:pt x="18" y="461"/>
                  </a:lnTo>
                  <a:lnTo>
                    <a:pt x="19" y="459"/>
                  </a:lnTo>
                  <a:lnTo>
                    <a:pt x="20" y="458"/>
                  </a:lnTo>
                  <a:lnTo>
                    <a:pt x="21" y="457"/>
                  </a:lnTo>
                  <a:lnTo>
                    <a:pt x="21" y="455"/>
                  </a:lnTo>
                  <a:lnTo>
                    <a:pt x="22" y="453"/>
                  </a:lnTo>
                  <a:lnTo>
                    <a:pt x="22" y="451"/>
                  </a:lnTo>
                  <a:lnTo>
                    <a:pt x="21" y="447"/>
                  </a:lnTo>
                  <a:lnTo>
                    <a:pt x="20" y="445"/>
                  </a:lnTo>
                  <a:lnTo>
                    <a:pt x="19" y="442"/>
                  </a:lnTo>
                  <a:lnTo>
                    <a:pt x="18" y="440"/>
                  </a:lnTo>
                  <a:lnTo>
                    <a:pt x="17" y="438"/>
                  </a:lnTo>
                  <a:lnTo>
                    <a:pt x="12" y="432"/>
                  </a:lnTo>
                  <a:lnTo>
                    <a:pt x="10" y="430"/>
                  </a:lnTo>
                  <a:lnTo>
                    <a:pt x="8" y="425"/>
                  </a:lnTo>
                  <a:lnTo>
                    <a:pt x="7" y="422"/>
                  </a:lnTo>
                  <a:lnTo>
                    <a:pt x="6" y="419"/>
                  </a:lnTo>
                  <a:lnTo>
                    <a:pt x="5" y="416"/>
                  </a:lnTo>
                  <a:lnTo>
                    <a:pt x="5" y="414"/>
                  </a:lnTo>
                  <a:lnTo>
                    <a:pt x="5" y="412"/>
                  </a:lnTo>
                  <a:lnTo>
                    <a:pt x="6" y="410"/>
                  </a:lnTo>
                  <a:lnTo>
                    <a:pt x="7" y="407"/>
                  </a:lnTo>
                  <a:lnTo>
                    <a:pt x="8" y="406"/>
                  </a:lnTo>
                  <a:lnTo>
                    <a:pt x="9" y="405"/>
                  </a:lnTo>
                  <a:lnTo>
                    <a:pt x="11" y="402"/>
                  </a:lnTo>
                  <a:lnTo>
                    <a:pt x="15" y="398"/>
                  </a:lnTo>
                  <a:lnTo>
                    <a:pt x="19" y="393"/>
                  </a:lnTo>
                  <a:lnTo>
                    <a:pt x="20" y="392"/>
                  </a:lnTo>
                  <a:lnTo>
                    <a:pt x="22" y="391"/>
                  </a:lnTo>
                  <a:lnTo>
                    <a:pt x="26" y="390"/>
                  </a:lnTo>
                  <a:lnTo>
                    <a:pt x="27" y="389"/>
                  </a:lnTo>
                  <a:lnTo>
                    <a:pt x="29" y="388"/>
                  </a:lnTo>
                  <a:lnTo>
                    <a:pt x="29" y="387"/>
                  </a:lnTo>
                  <a:lnTo>
                    <a:pt x="30" y="386"/>
                  </a:lnTo>
                  <a:lnTo>
                    <a:pt x="31" y="384"/>
                  </a:lnTo>
                  <a:lnTo>
                    <a:pt x="32" y="380"/>
                  </a:lnTo>
                  <a:lnTo>
                    <a:pt x="33" y="378"/>
                  </a:lnTo>
                  <a:lnTo>
                    <a:pt x="33" y="377"/>
                  </a:lnTo>
                  <a:lnTo>
                    <a:pt x="33" y="376"/>
                  </a:lnTo>
                  <a:lnTo>
                    <a:pt x="32" y="375"/>
                  </a:lnTo>
                  <a:lnTo>
                    <a:pt x="32" y="375"/>
                  </a:lnTo>
                  <a:lnTo>
                    <a:pt x="31" y="373"/>
                  </a:lnTo>
                  <a:lnTo>
                    <a:pt x="26" y="370"/>
                  </a:lnTo>
                  <a:lnTo>
                    <a:pt x="24" y="368"/>
                  </a:lnTo>
                  <a:lnTo>
                    <a:pt x="22" y="366"/>
                  </a:lnTo>
                  <a:lnTo>
                    <a:pt x="21" y="365"/>
                  </a:lnTo>
                  <a:lnTo>
                    <a:pt x="20" y="363"/>
                  </a:lnTo>
                  <a:lnTo>
                    <a:pt x="19" y="361"/>
                  </a:lnTo>
                  <a:lnTo>
                    <a:pt x="19" y="360"/>
                  </a:lnTo>
                  <a:lnTo>
                    <a:pt x="18" y="357"/>
                  </a:lnTo>
                  <a:lnTo>
                    <a:pt x="18" y="356"/>
                  </a:lnTo>
                  <a:lnTo>
                    <a:pt x="18" y="355"/>
                  </a:lnTo>
                  <a:lnTo>
                    <a:pt x="18" y="352"/>
                  </a:lnTo>
                  <a:lnTo>
                    <a:pt x="18" y="351"/>
                  </a:lnTo>
                  <a:lnTo>
                    <a:pt x="18" y="350"/>
                  </a:lnTo>
                  <a:lnTo>
                    <a:pt x="19" y="349"/>
                  </a:lnTo>
                  <a:lnTo>
                    <a:pt x="19" y="348"/>
                  </a:lnTo>
                  <a:lnTo>
                    <a:pt x="20" y="347"/>
                  </a:lnTo>
                  <a:lnTo>
                    <a:pt x="21" y="346"/>
                  </a:lnTo>
                  <a:lnTo>
                    <a:pt x="22" y="345"/>
                  </a:lnTo>
                  <a:lnTo>
                    <a:pt x="29" y="342"/>
                  </a:lnTo>
                  <a:lnTo>
                    <a:pt x="30" y="340"/>
                  </a:lnTo>
                  <a:lnTo>
                    <a:pt x="32" y="340"/>
                  </a:lnTo>
                  <a:lnTo>
                    <a:pt x="33" y="338"/>
                  </a:lnTo>
                  <a:lnTo>
                    <a:pt x="34" y="337"/>
                  </a:lnTo>
                  <a:lnTo>
                    <a:pt x="35" y="335"/>
                  </a:lnTo>
                  <a:lnTo>
                    <a:pt x="36" y="334"/>
                  </a:lnTo>
                  <a:lnTo>
                    <a:pt x="37" y="332"/>
                  </a:lnTo>
                  <a:lnTo>
                    <a:pt x="37" y="330"/>
                  </a:lnTo>
                  <a:lnTo>
                    <a:pt x="37" y="329"/>
                  </a:lnTo>
                  <a:lnTo>
                    <a:pt x="37" y="327"/>
                  </a:lnTo>
                  <a:lnTo>
                    <a:pt x="37" y="325"/>
                  </a:lnTo>
                  <a:lnTo>
                    <a:pt x="37" y="321"/>
                  </a:lnTo>
                  <a:lnTo>
                    <a:pt x="37" y="317"/>
                  </a:lnTo>
                  <a:lnTo>
                    <a:pt x="37" y="315"/>
                  </a:lnTo>
                  <a:lnTo>
                    <a:pt x="37" y="312"/>
                  </a:lnTo>
                  <a:lnTo>
                    <a:pt x="37" y="310"/>
                  </a:lnTo>
                  <a:lnTo>
                    <a:pt x="37" y="307"/>
                  </a:lnTo>
                  <a:lnTo>
                    <a:pt x="39" y="305"/>
                  </a:lnTo>
                  <a:lnTo>
                    <a:pt x="39" y="302"/>
                  </a:lnTo>
                  <a:lnTo>
                    <a:pt x="42" y="300"/>
                  </a:lnTo>
                  <a:lnTo>
                    <a:pt x="47" y="295"/>
                  </a:lnTo>
                  <a:lnTo>
                    <a:pt x="49" y="292"/>
                  </a:lnTo>
                  <a:lnTo>
                    <a:pt x="52" y="290"/>
                  </a:lnTo>
                  <a:lnTo>
                    <a:pt x="59" y="285"/>
                  </a:lnTo>
                  <a:lnTo>
                    <a:pt x="67" y="279"/>
                  </a:lnTo>
                  <a:lnTo>
                    <a:pt x="69" y="277"/>
                  </a:lnTo>
                  <a:lnTo>
                    <a:pt x="71" y="275"/>
                  </a:lnTo>
                  <a:lnTo>
                    <a:pt x="73" y="273"/>
                  </a:lnTo>
                  <a:lnTo>
                    <a:pt x="74" y="270"/>
                  </a:lnTo>
                  <a:lnTo>
                    <a:pt x="76" y="265"/>
                  </a:lnTo>
                  <a:lnTo>
                    <a:pt x="79" y="258"/>
                  </a:lnTo>
                  <a:lnTo>
                    <a:pt x="81" y="254"/>
                  </a:lnTo>
                  <a:lnTo>
                    <a:pt x="83" y="249"/>
                  </a:lnTo>
                  <a:lnTo>
                    <a:pt x="87" y="243"/>
                  </a:lnTo>
                  <a:lnTo>
                    <a:pt x="88" y="240"/>
                  </a:lnTo>
                  <a:lnTo>
                    <a:pt x="89" y="237"/>
                  </a:lnTo>
                  <a:lnTo>
                    <a:pt x="90" y="233"/>
                  </a:lnTo>
                  <a:lnTo>
                    <a:pt x="92" y="228"/>
                  </a:lnTo>
                  <a:lnTo>
                    <a:pt x="92" y="225"/>
                  </a:lnTo>
                  <a:lnTo>
                    <a:pt x="93" y="223"/>
                  </a:lnTo>
                  <a:lnTo>
                    <a:pt x="93" y="220"/>
                  </a:lnTo>
                  <a:lnTo>
                    <a:pt x="92" y="219"/>
                  </a:lnTo>
                  <a:lnTo>
                    <a:pt x="92" y="217"/>
                  </a:lnTo>
                  <a:lnTo>
                    <a:pt x="91" y="215"/>
                  </a:lnTo>
                  <a:lnTo>
                    <a:pt x="89" y="213"/>
                  </a:lnTo>
                  <a:lnTo>
                    <a:pt x="88" y="211"/>
                  </a:lnTo>
                  <a:lnTo>
                    <a:pt x="84" y="207"/>
                  </a:lnTo>
                  <a:lnTo>
                    <a:pt x="83" y="205"/>
                  </a:lnTo>
                  <a:lnTo>
                    <a:pt x="81" y="201"/>
                  </a:lnTo>
                  <a:lnTo>
                    <a:pt x="77" y="193"/>
                  </a:lnTo>
                  <a:lnTo>
                    <a:pt x="74" y="188"/>
                  </a:lnTo>
                  <a:lnTo>
                    <a:pt x="73" y="183"/>
                  </a:lnTo>
                  <a:lnTo>
                    <a:pt x="69" y="173"/>
                  </a:lnTo>
                  <a:lnTo>
                    <a:pt x="69" y="170"/>
                  </a:lnTo>
                  <a:lnTo>
                    <a:pt x="69" y="169"/>
                  </a:lnTo>
                  <a:lnTo>
                    <a:pt x="69" y="168"/>
                  </a:lnTo>
                  <a:lnTo>
                    <a:pt x="74" y="155"/>
                  </a:lnTo>
                  <a:lnTo>
                    <a:pt x="75" y="151"/>
                  </a:lnTo>
                  <a:lnTo>
                    <a:pt x="77" y="147"/>
                  </a:lnTo>
                  <a:lnTo>
                    <a:pt x="79" y="143"/>
                  </a:lnTo>
                  <a:lnTo>
                    <a:pt x="80" y="140"/>
                  </a:lnTo>
                  <a:lnTo>
                    <a:pt x="87" y="130"/>
                  </a:lnTo>
                  <a:lnTo>
                    <a:pt x="88" y="128"/>
                  </a:lnTo>
                  <a:lnTo>
                    <a:pt x="89" y="127"/>
                  </a:lnTo>
                  <a:lnTo>
                    <a:pt x="89" y="125"/>
                  </a:lnTo>
                  <a:lnTo>
                    <a:pt x="88" y="123"/>
                  </a:lnTo>
                  <a:lnTo>
                    <a:pt x="86" y="118"/>
                  </a:lnTo>
                  <a:lnTo>
                    <a:pt x="82" y="112"/>
                  </a:lnTo>
                  <a:lnTo>
                    <a:pt x="80" y="106"/>
                  </a:lnTo>
                  <a:lnTo>
                    <a:pt x="79" y="103"/>
                  </a:lnTo>
                  <a:lnTo>
                    <a:pt x="77" y="99"/>
                  </a:lnTo>
                  <a:lnTo>
                    <a:pt x="77" y="93"/>
                  </a:lnTo>
                  <a:lnTo>
                    <a:pt x="76" y="89"/>
                  </a:lnTo>
                  <a:lnTo>
                    <a:pt x="76" y="86"/>
                  </a:lnTo>
                  <a:lnTo>
                    <a:pt x="75" y="75"/>
                  </a:lnTo>
                  <a:lnTo>
                    <a:pt x="75" y="73"/>
                  </a:lnTo>
                  <a:lnTo>
                    <a:pt x="74" y="69"/>
                  </a:lnTo>
                  <a:lnTo>
                    <a:pt x="73" y="65"/>
                  </a:lnTo>
                  <a:lnTo>
                    <a:pt x="72" y="61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68" y="56"/>
                  </a:lnTo>
                  <a:lnTo>
                    <a:pt x="67" y="53"/>
                  </a:lnTo>
                  <a:lnTo>
                    <a:pt x="66" y="52"/>
                  </a:lnTo>
                  <a:lnTo>
                    <a:pt x="65" y="50"/>
                  </a:lnTo>
                  <a:lnTo>
                    <a:pt x="65" y="49"/>
                  </a:lnTo>
                  <a:lnTo>
                    <a:pt x="64" y="48"/>
                  </a:lnTo>
                  <a:lnTo>
                    <a:pt x="64" y="46"/>
                  </a:lnTo>
                  <a:lnTo>
                    <a:pt x="64" y="45"/>
                  </a:lnTo>
                  <a:lnTo>
                    <a:pt x="65" y="41"/>
                  </a:lnTo>
                  <a:lnTo>
                    <a:pt x="69" y="28"/>
                  </a:lnTo>
                  <a:lnTo>
                    <a:pt x="70" y="25"/>
                  </a:lnTo>
                  <a:lnTo>
                    <a:pt x="71" y="24"/>
                  </a:lnTo>
                  <a:lnTo>
                    <a:pt x="72" y="23"/>
                  </a:lnTo>
                  <a:lnTo>
                    <a:pt x="74" y="20"/>
                  </a:lnTo>
                  <a:lnTo>
                    <a:pt x="75" y="18"/>
                  </a:lnTo>
                  <a:lnTo>
                    <a:pt x="76" y="18"/>
                  </a:lnTo>
                  <a:lnTo>
                    <a:pt x="77" y="17"/>
                  </a:lnTo>
                  <a:lnTo>
                    <a:pt x="77" y="17"/>
                  </a:lnTo>
                  <a:lnTo>
                    <a:pt x="77" y="18"/>
                  </a:lnTo>
                  <a:lnTo>
                    <a:pt x="79" y="19"/>
                  </a:lnTo>
                  <a:lnTo>
                    <a:pt x="81" y="20"/>
                  </a:lnTo>
                  <a:lnTo>
                    <a:pt x="83" y="20"/>
                  </a:lnTo>
                  <a:lnTo>
                    <a:pt x="86" y="21"/>
                  </a:lnTo>
                  <a:lnTo>
                    <a:pt x="89" y="22"/>
                  </a:lnTo>
                  <a:lnTo>
                    <a:pt x="92" y="23"/>
                  </a:lnTo>
                  <a:lnTo>
                    <a:pt x="93" y="22"/>
                  </a:lnTo>
                  <a:lnTo>
                    <a:pt x="94" y="21"/>
                  </a:lnTo>
                  <a:lnTo>
                    <a:pt x="95" y="20"/>
                  </a:lnTo>
                  <a:lnTo>
                    <a:pt x="98" y="18"/>
                  </a:lnTo>
                  <a:lnTo>
                    <a:pt x="101" y="13"/>
                  </a:lnTo>
                  <a:lnTo>
                    <a:pt x="102" y="13"/>
                  </a:lnTo>
                  <a:lnTo>
                    <a:pt x="102" y="13"/>
                  </a:lnTo>
                  <a:lnTo>
                    <a:pt x="104" y="12"/>
                  </a:lnTo>
                  <a:lnTo>
                    <a:pt x="106" y="12"/>
                  </a:lnTo>
                  <a:lnTo>
                    <a:pt x="109" y="13"/>
                  </a:lnTo>
                  <a:lnTo>
                    <a:pt x="113" y="13"/>
                  </a:lnTo>
                  <a:lnTo>
                    <a:pt x="114" y="13"/>
                  </a:lnTo>
                  <a:lnTo>
                    <a:pt x="115" y="13"/>
                  </a:lnTo>
                  <a:lnTo>
                    <a:pt x="118" y="11"/>
                  </a:lnTo>
                  <a:lnTo>
                    <a:pt x="119" y="10"/>
                  </a:lnTo>
                  <a:lnTo>
                    <a:pt x="119" y="10"/>
                  </a:lnTo>
                  <a:lnTo>
                    <a:pt x="121" y="7"/>
                  </a:lnTo>
                  <a:lnTo>
                    <a:pt x="122" y="5"/>
                  </a:lnTo>
                  <a:lnTo>
                    <a:pt x="124" y="3"/>
                  </a:lnTo>
                  <a:lnTo>
                    <a:pt x="127" y="0"/>
                  </a:lnTo>
                  <a:lnTo>
                    <a:pt x="127" y="0"/>
                  </a:lnTo>
                  <a:close/>
                </a:path>
              </a:pathLst>
            </a:custGeom>
            <a:solidFill>
              <a:srgbClr val="D7144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>
                <a:ln w="9525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44" name="Freeform 103">
              <a:extLst>
                <a:ext uri="{FF2B5EF4-FFF2-40B4-BE49-F238E27FC236}">
                  <a16:creationId xmlns:a16="http://schemas.microsoft.com/office/drawing/2014/main" id="{9F1FA0EE-1FBB-DCA7-9296-C558A6DAE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8349" y="2547401"/>
              <a:ext cx="774700" cy="1096963"/>
            </a:xfrm>
            <a:custGeom>
              <a:avLst/>
              <a:gdLst>
                <a:gd name="T0" fmla="*/ 351 w 488"/>
                <a:gd name="T1" fmla="*/ 8 h 691"/>
                <a:gd name="T2" fmla="*/ 404 w 488"/>
                <a:gd name="T3" fmla="*/ 43 h 691"/>
                <a:gd name="T4" fmla="*/ 426 w 488"/>
                <a:gd name="T5" fmla="*/ 36 h 691"/>
                <a:gd name="T6" fmla="*/ 440 w 488"/>
                <a:gd name="T7" fmla="*/ 58 h 691"/>
                <a:gd name="T8" fmla="*/ 469 w 488"/>
                <a:gd name="T9" fmla="*/ 92 h 691"/>
                <a:gd name="T10" fmla="*/ 488 w 488"/>
                <a:gd name="T11" fmla="*/ 103 h 691"/>
                <a:gd name="T12" fmla="*/ 480 w 488"/>
                <a:gd name="T13" fmla="*/ 125 h 691"/>
                <a:gd name="T14" fmla="*/ 466 w 488"/>
                <a:gd name="T15" fmla="*/ 138 h 691"/>
                <a:gd name="T16" fmla="*/ 481 w 488"/>
                <a:gd name="T17" fmla="*/ 177 h 691"/>
                <a:gd name="T18" fmla="*/ 474 w 488"/>
                <a:gd name="T19" fmla="*/ 228 h 691"/>
                <a:gd name="T20" fmla="*/ 464 w 488"/>
                <a:gd name="T21" fmla="*/ 270 h 691"/>
                <a:gd name="T22" fmla="*/ 453 w 488"/>
                <a:gd name="T23" fmla="*/ 325 h 691"/>
                <a:gd name="T24" fmla="*/ 476 w 488"/>
                <a:gd name="T25" fmla="*/ 350 h 691"/>
                <a:gd name="T26" fmla="*/ 468 w 488"/>
                <a:gd name="T27" fmla="*/ 382 h 691"/>
                <a:gd name="T28" fmla="*/ 478 w 488"/>
                <a:gd name="T29" fmla="*/ 416 h 691"/>
                <a:gd name="T30" fmla="*/ 466 w 488"/>
                <a:gd name="T31" fmla="*/ 423 h 691"/>
                <a:gd name="T32" fmla="*/ 429 w 488"/>
                <a:gd name="T33" fmla="*/ 439 h 691"/>
                <a:gd name="T34" fmla="*/ 444 w 488"/>
                <a:gd name="T35" fmla="*/ 464 h 691"/>
                <a:gd name="T36" fmla="*/ 429 w 488"/>
                <a:gd name="T37" fmla="*/ 513 h 691"/>
                <a:gd name="T38" fmla="*/ 393 w 488"/>
                <a:gd name="T39" fmla="*/ 539 h 691"/>
                <a:gd name="T40" fmla="*/ 338 w 488"/>
                <a:gd name="T41" fmla="*/ 538 h 691"/>
                <a:gd name="T42" fmla="*/ 324 w 488"/>
                <a:gd name="T43" fmla="*/ 545 h 691"/>
                <a:gd name="T44" fmla="*/ 338 w 488"/>
                <a:gd name="T45" fmla="*/ 584 h 691"/>
                <a:gd name="T46" fmla="*/ 364 w 488"/>
                <a:gd name="T47" fmla="*/ 604 h 691"/>
                <a:gd name="T48" fmla="*/ 347 w 488"/>
                <a:gd name="T49" fmla="*/ 638 h 691"/>
                <a:gd name="T50" fmla="*/ 362 w 488"/>
                <a:gd name="T51" fmla="*/ 669 h 691"/>
                <a:gd name="T52" fmla="*/ 377 w 488"/>
                <a:gd name="T53" fmla="*/ 691 h 691"/>
                <a:gd name="T54" fmla="*/ 350 w 488"/>
                <a:gd name="T55" fmla="*/ 679 h 691"/>
                <a:gd name="T56" fmla="*/ 319 w 488"/>
                <a:gd name="T57" fmla="*/ 681 h 691"/>
                <a:gd name="T58" fmla="*/ 293 w 488"/>
                <a:gd name="T59" fmla="*/ 657 h 691"/>
                <a:gd name="T60" fmla="*/ 263 w 488"/>
                <a:gd name="T61" fmla="*/ 649 h 691"/>
                <a:gd name="T62" fmla="*/ 220 w 488"/>
                <a:gd name="T63" fmla="*/ 624 h 691"/>
                <a:gd name="T64" fmla="*/ 194 w 488"/>
                <a:gd name="T65" fmla="*/ 594 h 691"/>
                <a:gd name="T66" fmla="*/ 168 w 488"/>
                <a:gd name="T67" fmla="*/ 554 h 691"/>
                <a:gd name="T68" fmla="*/ 124 w 488"/>
                <a:gd name="T69" fmla="*/ 530 h 691"/>
                <a:gd name="T70" fmla="*/ 87 w 488"/>
                <a:gd name="T71" fmla="*/ 512 h 691"/>
                <a:gd name="T72" fmla="*/ 62 w 488"/>
                <a:gd name="T73" fmla="*/ 472 h 691"/>
                <a:gd name="T74" fmla="*/ 28 w 488"/>
                <a:gd name="T75" fmla="*/ 475 h 691"/>
                <a:gd name="T76" fmla="*/ 16 w 488"/>
                <a:gd name="T77" fmla="*/ 453 h 691"/>
                <a:gd name="T78" fmla="*/ 1 w 488"/>
                <a:gd name="T79" fmla="*/ 397 h 691"/>
                <a:gd name="T80" fmla="*/ 25 w 488"/>
                <a:gd name="T81" fmla="*/ 367 h 691"/>
                <a:gd name="T82" fmla="*/ 45 w 488"/>
                <a:gd name="T83" fmla="*/ 345 h 691"/>
                <a:gd name="T84" fmla="*/ 48 w 488"/>
                <a:gd name="T85" fmla="*/ 304 h 691"/>
                <a:gd name="T86" fmla="*/ 55 w 488"/>
                <a:gd name="T87" fmla="*/ 274 h 691"/>
                <a:gd name="T88" fmla="*/ 64 w 488"/>
                <a:gd name="T89" fmla="*/ 232 h 691"/>
                <a:gd name="T90" fmla="*/ 64 w 488"/>
                <a:gd name="T91" fmla="*/ 198 h 691"/>
                <a:gd name="T92" fmla="*/ 52 w 488"/>
                <a:gd name="T93" fmla="*/ 160 h 691"/>
                <a:gd name="T94" fmla="*/ 63 w 488"/>
                <a:gd name="T95" fmla="*/ 124 h 691"/>
                <a:gd name="T96" fmla="*/ 73 w 488"/>
                <a:gd name="T97" fmla="*/ 100 h 691"/>
                <a:gd name="T98" fmla="*/ 103 w 488"/>
                <a:gd name="T99" fmla="*/ 99 h 691"/>
                <a:gd name="T100" fmla="*/ 147 w 488"/>
                <a:gd name="T101" fmla="*/ 110 h 691"/>
                <a:gd name="T102" fmla="*/ 176 w 488"/>
                <a:gd name="T103" fmla="*/ 95 h 691"/>
                <a:gd name="T104" fmla="*/ 172 w 488"/>
                <a:gd name="T105" fmla="*/ 122 h 691"/>
                <a:gd name="T106" fmla="*/ 198 w 488"/>
                <a:gd name="T107" fmla="*/ 131 h 691"/>
                <a:gd name="T108" fmla="*/ 230 w 488"/>
                <a:gd name="T109" fmla="*/ 142 h 691"/>
                <a:gd name="T110" fmla="*/ 269 w 488"/>
                <a:gd name="T111" fmla="*/ 103 h 691"/>
                <a:gd name="T112" fmla="*/ 304 w 488"/>
                <a:gd name="T113" fmla="*/ 85 h 691"/>
                <a:gd name="T114" fmla="*/ 300 w 488"/>
                <a:gd name="T115" fmla="*/ 48 h 691"/>
                <a:gd name="T116" fmla="*/ 311 w 488"/>
                <a:gd name="T117" fmla="*/ 22 h 691"/>
                <a:gd name="T118" fmla="*/ 339 w 488"/>
                <a:gd name="T119" fmla="*/ 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88" h="691">
                  <a:moveTo>
                    <a:pt x="339" y="0"/>
                  </a:moveTo>
                  <a:lnTo>
                    <a:pt x="340" y="0"/>
                  </a:lnTo>
                  <a:lnTo>
                    <a:pt x="341" y="0"/>
                  </a:lnTo>
                  <a:lnTo>
                    <a:pt x="342" y="1"/>
                  </a:lnTo>
                  <a:lnTo>
                    <a:pt x="343" y="2"/>
                  </a:lnTo>
                  <a:lnTo>
                    <a:pt x="344" y="3"/>
                  </a:lnTo>
                  <a:lnTo>
                    <a:pt x="344" y="3"/>
                  </a:lnTo>
                  <a:lnTo>
                    <a:pt x="344" y="3"/>
                  </a:lnTo>
                  <a:lnTo>
                    <a:pt x="345" y="4"/>
                  </a:lnTo>
                  <a:lnTo>
                    <a:pt x="347" y="5"/>
                  </a:lnTo>
                  <a:lnTo>
                    <a:pt x="351" y="8"/>
                  </a:lnTo>
                  <a:lnTo>
                    <a:pt x="366" y="15"/>
                  </a:lnTo>
                  <a:lnTo>
                    <a:pt x="370" y="18"/>
                  </a:lnTo>
                  <a:lnTo>
                    <a:pt x="374" y="20"/>
                  </a:lnTo>
                  <a:lnTo>
                    <a:pt x="378" y="23"/>
                  </a:lnTo>
                  <a:lnTo>
                    <a:pt x="381" y="25"/>
                  </a:lnTo>
                  <a:lnTo>
                    <a:pt x="384" y="28"/>
                  </a:lnTo>
                  <a:lnTo>
                    <a:pt x="391" y="34"/>
                  </a:lnTo>
                  <a:lnTo>
                    <a:pt x="395" y="38"/>
                  </a:lnTo>
                  <a:lnTo>
                    <a:pt x="398" y="39"/>
                  </a:lnTo>
                  <a:lnTo>
                    <a:pt x="400" y="41"/>
                  </a:lnTo>
                  <a:lnTo>
                    <a:pt x="404" y="43"/>
                  </a:lnTo>
                  <a:lnTo>
                    <a:pt x="406" y="44"/>
                  </a:lnTo>
                  <a:lnTo>
                    <a:pt x="407" y="45"/>
                  </a:lnTo>
                  <a:lnTo>
                    <a:pt x="409" y="45"/>
                  </a:lnTo>
                  <a:lnTo>
                    <a:pt x="409" y="45"/>
                  </a:lnTo>
                  <a:lnTo>
                    <a:pt x="411" y="44"/>
                  </a:lnTo>
                  <a:lnTo>
                    <a:pt x="412" y="43"/>
                  </a:lnTo>
                  <a:lnTo>
                    <a:pt x="416" y="40"/>
                  </a:lnTo>
                  <a:lnTo>
                    <a:pt x="419" y="39"/>
                  </a:lnTo>
                  <a:lnTo>
                    <a:pt x="421" y="38"/>
                  </a:lnTo>
                  <a:lnTo>
                    <a:pt x="424" y="37"/>
                  </a:lnTo>
                  <a:lnTo>
                    <a:pt x="426" y="36"/>
                  </a:lnTo>
                  <a:lnTo>
                    <a:pt x="427" y="36"/>
                  </a:lnTo>
                  <a:lnTo>
                    <a:pt x="428" y="37"/>
                  </a:lnTo>
                  <a:lnTo>
                    <a:pt x="429" y="38"/>
                  </a:lnTo>
                  <a:lnTo>
                    <a:pt x="431" y="38"/>
                  </a:lnTo>
                  <a:lnTo>
                    <a:pt x="431" y="38"/>
                  </a:lnTo>
                  <a:lnTo>
                    <a:pt x="431" y="39"/>
                  </a:lnTo>
                  <a:lnTo>
                    <a:pt x="432" y="40"/>
                  </a:lnTo>
                  <a:lnTo>
                    <a:pt x="434" y="43"/>
                  </a:lnTo>
                  <a:lnTo>
                    <a:pt x="436" y="49"/>
                  </a:lnTo>
                  <a:lnTo>
                    <a:pt x="437" y="53"/>
                  </a:lnTo>
                  <a:lnTo>
                    <a:pt x="440" y="58"/>
                  </a:lnTo>
                  <a:lnTo>
                    <a:pt x="444" y="66"/>
                  </a:lnTo>
                  <a:lnTo>
                    <a:pt x="448" y="74"/>
                  </a:lnTo>
                  <a:lnTo>
                    <a:pt x="452" y="81"/>
                  </a:lnTo>
                  <a:lnTo>
                    <a:pt x="454" y="83"/>
                  </a:lnTo>
                  <a:lnTo>
                    <a:pt x="456" y="85"/>
                  </a:lnTo>
                  <a:lnTo>
                    <a:pt x="457" y="87"/>
                  </a:lnTo>
                  <a:lnTo>
                    <a:pt x="459" y="88"/>
                  </a:lnTo>
                  <a:lnTo>
                    <a:pt x="463" y="90"/>
                  </a:lnTo>
                  <a:lnTo>
                    <a:pt x="464" y="91"/>
                  </a:lnTo>
                  <a:lnTo>
                    <a:pt x="466" y="91"/>
                  </a:lnTo>
                  <a:lnTo>
                    <a:pt x="469" y="92"/>
                  </a:lnTo>
                  <a:lnTo>
                    <a:pt x="470" y="92"/>
                  </a:lnTo>
                  <a:lnTo>
                    <a:pt x="472" y="92"/>
                  </a:lnTo>
                  <a:lnTo>
                    <a:pt x="474" y="92"/>
                  </a:lnTo>
                  <a:lnTo>
                    <a:pt x="476" y="92"/>
                  </a:lnTo>
                  <a:lnTo>
                    <a:pt x="478" y="92"/>
                  </a:lnTo>
                  <a:lnTo>
                    <a:pt x="480" y="91"/>
                  </a:lnTo>
                  <a:lnTo>
                    <a:pt x="482" y="91"/>
                  </a:lnTo>
                  <a:lnTo>
                    <a:pt x="486" y="89"/>
                  </a:lnTo>
                  <a:lnTo>
                    <a:pt x="486" y="90"/>
                  </a:lnTo>
                  <a:lnTo>
                    <a:pt x="486" y="92"/>
                  </a:lnTo>
                  <a:lnTo>
                    <a:pt x="488" y="103"/>
                  </a:lnTo>
                  <a:lnTo>
                    <a:pt x="488" y="107"/>
                  </a:lnTo>
                  <a:lnTo>
                    <a:pt x="488" y="110"/>
                  </a:lnTo>
                  <a:lnTo>
                    <a:pt x="488" y="112"/>
                  </a:lnTo>
                  <a:lnTo>
                    <a:pt x="488" y="113"/>
                  </a:lnTo>
                  <a:lnTo>
                    <a:pt x="488" y="115"/>
                  </a:lnTo>
                  <a:lnTo>
                    <a:pt x="487" y="117"/>
                  </a:lnTo>
                  <a:lnTo>
                    <a:pt x="486" y="120"/>
                  </a:lnTo>
                  <a:lnTo>
                    <a:pt x="485" y="121"/>
                  </a:lnTo>
                  <a:lnTo>
                    <a:pt x="483" y="122"/>
                  </a:lnTo>
                  <a:lnTo>
                    <a:pt x="482" y="123"/>
                  </a:lnTo>
                  <a:lnTo>
                    <a:pt x="480" y="125"/>
                  </a:lnTo>
                  <a:lnTo>
                    <a:pt x="476" y="126"/>
                  </a:lnTo>
                  <a:lnTo>
                    <a:pt x="473" y="127"/>
                  </a:lnTo>
                  <a:lnTo>
                    <a:pt x="471" y="128"/>
                  </a:lnTo>
                  <a:lnTo>
                    <a:pt x="469" y="129"/>
                  </a:lnTo>
                  <a:lnTo>
                    <a:pt x="468" y="130"/>
                  </a:lnTo>
                  <a:lnTo>
                    <a:pt x="467" y="132"/>
                  </a:lnTo>
                  <a:lnTo>
                    <a:pt x="466" y="132"/>
                  </a:lnTo>
                  <a:lnTo>
                    <a:pt x="466" y="135"/>
                  </a:lnTo>
                  <a:lnTo>
                    <a:pt x="466" y="135"/>
                  </a:lnTo>
                  <a:lnTo>
                    <a:pt x="466" y="137"/>
                  </a:lnTo>
                  <a:lnTo>
                    <a:pt x="466" y="138"/>
                  </a:lnTo>
                  <a:lnTo>
                    <a:pt x="467" y="140"/>
                  </a:lnTo>
                  <a:lnTo>
                    <a:pt x="469" y="142"/>
                  </a:lnTo>
                  <a:lnTo>
                    <a:pt x="474" y="152"/>
                  </a:lnTo>
                  <a:lnTo>
                    <a:pt x="476" y="154"/>
                  </a:lnTo>
                  <a:lnTo>
                    <a:pt x="476" y="157"/>
                  </a:lnTo>
                  <a:lnTo>
                    <a:pt x="478" y="160"/>
                  </a:lnTo>
                  <a:lnTo>
                    <a:pt x="478" y="162"/>
                  </a:lnTo>
                  <a:lnTo>
                    <a:pt x="479" y="165"/>
                  </a:lnTo>
                  <a:lnTo>
                    <a:pt x="480" y="169"/>
                  </a:lnTo>
                  <a:lnTo>
                    <a:pt x="481" y="174"/>
                  </a:lnTo>
                  <a:lnTo>
                    <a:pt x="481" y="177"/>
                  </a:lnTo>
                  <a:lnTo>
                    <a:pt x="481" y="181"/>
                  </a:lnTo>
                  <a:lnTo>
                    <a:pt x="479" y="190"/>
                  </a:lnTo>
                  <a:lnTo>
                    <a:pt x="479" y="193"/>
                  </a:lnTo>
                  <a:lnTo>
                    <a:pt x="478" y="197"/>
                  </a:lnTo>
                  <a:lnTo>
                    <a:pt x="479" y="203"/>
                  </a:lnTo>
                  <a:lnTo>
                    <a:pt x="479" y="207"/>
                  </a:lnTo>
                  <a:lnTo>
                    <a:pt x="478" y="212"/>
                  </a:lnTo>
                  <a:lnTo>
                    <a:pt x="478" y="215"/>
                  </a:lnTo>
                  <a:lnTo>
                    <a:pt x="477" y="219"/>
                  </a:lnTo>
                  <a:lnTo>
                    <a:pt x="476" y="223"/>
                  </a:lnTo>
                  <a:lnTo>
                    <a:pt x="474" y="228"/>
                  </a:lnTo>
                  <a:lnTo>
                    <a:pt x="470" y="237"/>
                  </a:lnTo>
                  <a:lnTo>
                    <a:pt x="467" y="247"/>
                  </a:lnTo>
                  <a:lnTo>
                    <a:pt x="464" y="255"/>
                  </a:lnTo>
                  <a:lnTo>
                    <a:pt x="463" y="257"/>
                  </a:lnTo>
                  <a:lnTo>
                    <a:pt x="463" y="259"/>
                  </a:lnTo>
                  <a:lnTo>
                    <a:pt x="462" y="260"/>
                  </a:lnTo>
                  <a:lnTo>
                    <a:pt x="463" y="262"/>
                  </a:lnTo>
                  <a:lnTo>
                    <a:pt x="464" y="265"/>
                  </a:lnTo>
                  <a:lnTo>
                    <a:pt x="464" y="267"/>
                  </a:lnTo>
                  <a:lnTo>
                    <a:pt x="464" y="268"/>
                  </a:lnTo>
                  <a:lnTo>
                    <a:pt x="464" y="270"/>
                  </a:lnTo>
                  <a:lnTo>
                    <a:pt x="461" y="280"/>
                  </a:lnTo>
                  <a:lnTo>
                    <a:pt x="459" y="288"/>
                  </a:lnTo>
                  <a:lnTo>
                    <a:pt x="458" y="292"/>
                  </a:lnTo>
                  <a:lnTo>
                    <a:pt x="456" y="298"/>
                  </a:lnTo>
                  <a:lnTo>
                    <a:pt x="454" y="305"/>
                  </a:lnTo>
                  <a:lnTo>
                    <a:pt x="453" y="308"/>
                  </a:lnTo>
                  <a:lnTo>
                    <a:pt x="452" y="312"/>
                  </a:lnTo>
                  <a:lnTo>
                    <a:pt x="451" y="317"/>
                  </a:lnTo>
                  <a:lnTo>
                    <a:pt x="451" y="321"/>
                  </a:lnTo>
                  <a:lnTo>
                    <a:pt x="452" y="323"/>
                  </a:lnTo>
                  <a:lnTo>
                    <a:pt x="453" y="325"/>
                  </a:lnTo>
                  <a:lnTo>
                    <a:pt x="453" y="327"/>
                  </a:lnTo>
                  <a:lnTo>
                    <a:pt x="454" y="328"/>
                  </a:lnTo>
                  <a:lnTo>
                    <a:pt x="454" y="329"/>
                  </a:lnTo>
                  <a:lnTo>
                    <a:pt x="455" y="331"/>
                  </a:lnTo>
                  <a:lnTo>
                    <a:pt x="457" y="334"/>
                  </a:lnTo>
                  <a:lnTo>
                    <a:pt x="460" y="337"/>
                  </a:lnTo>
                  <a:lnTo>
                    <a:pt x="464" y="339"/>
                  </a:lnTo>
                  <a:lnTo>
                    <a:pt x="470" y="344"/>
                  </a:lnTo>
                  <a:lnTo>
                    <a:pt x="472" y="347"/>
                  </a:lnTo>
                  <a:lnTo>
                    <a:pt x="474" y="348"/>
                  </a:lnTo>
                  <a:lnTo>
                    <a:pt x="476" y="350"/>
                  </a:lnTo>
                  <a:lnTo>
                    <a:pt x="478" y="353"/>
                  </a:lnTo>
                  <a:lnTo>
                    <a:pt x="481" y="357"/>
                  </a:lnTo>
                  <a:lnTo>
                    <a:pt x="481" y="359"/>
                  </a:lnTo>
                  <a:lnTo>
                    <a:pt x="481" y="360"/>
                  </a:lnTo>
                  <a:lnTo>
                    <a:pt x="481" y="361"/>
                  </a:lnTo>
                  <a:lnTo>
                    <a:pt x="481" y="362"/>
                  </a:lnTo>
                  <a:lnTo>
                    <a:pt x="481" y="363"/>
                  </a:lnTo>
                  <a:lnTo>
                    <a:pt x="473" y="374"/>
                  </a:lnTo>
                  <a:lnTo>
                    <a:pt x="470" y="377"/>
                  </a:lnTo>
                  <a:lnTo>
                    <a:pt x="469" y="379"/>
                  </a:lnTo>
                  <a:lnTo>
                    <a:pt x="468" y="382"/>
                  </a:lnTo>
                  <a:lnTo>
                    <a:pt x="467" y="384"/>
                  </a:lnTo>
                  <a:lnTo>
                    <a:pt x="466" y="385"/>
                  </a:lnTo>
                  <a:lnTo>
                    <a:pt x="466" y="387"/>
                  </a:lnTo>
                  <a:lnTo>
                    <a:pt x="466" y="389"/>
                  </a:lnTo>
                  <a:lnTo>
                    <a:pt x="467" y="392"/>
                  </a:lnTo>
                  <a:lnTo>
                    <a:pt x="467" y="394"/>
                  </a:lnTo>
                  <a:lnTo>
                    <a:pt x="469" y="397"/>
                  </a:lnTo>
                  <a:lnTo>
                    <a:pt x="471" y="401"/>
                  </a:lnTo>
                  <a:lnTo>
                    <a:pt x="476" y="412"/>
                  </a:lnTo>
                  <a:lnTo>
                    <a:pt x="477" y="414"/>
                  </a:lnTo>
                  <a:lnTo>
                    <a:pt x="478" y="416"/>
                  </a:lnTo>
                  <a:lnTo>
                    <a:pt x="478" y="417"/>
                  </a:lnTo>
                  <a:lnTo>
                    <a:pt x="478" y="419"/>
                  </a:lnTo>
                  <a:lnTo>
                    <a:pt x="478" y="420"/>
                  </a:lnTo>
                  <a:lnTo>
                    <a:pt x="478" y="421"/>
                  </a:lnTo>
                  <a:lnTo>
                    <a:pt x="477" y="422"/>
                  </a:lnTo>
                  <a:lnTo>
                    <a:pt x="476" y="422"/>
                  </a:lnTo>
                  <a:lnTo>
                    <a:pt x="474" y="422"/>
                  </a:lnTo>
                  <a:lnTo>
                    <a:pt x="472" y="422"/>
                  </a:lnTo>
                  <a:lnTo>
                    <a:pt x="469" y="422"/>
                  </a:lnTo>
                  <a:lnTo>
                    <a:pt x="467" y="422"/>
                  </a:lnTo>
                  <a:lnTo>
                    <a:pt x="466" y="423"/>
                  </a:lnTo>
                  <a:lnTo>
                    <a:pt x="463" y="424"/>
                  </a:lnTo>
                  <a:lnTo>
                    <a:pt x="460" y="425"/>
                  </a:lnTo>
                  <a:lnTo>
                    <a:pt x="447" y="427"/>
                  </a:lnTo>
                  <a:lnTo>
                    <a:pt x="442" y="429"/>
                  </a:lnTo>
                  <a:lnTo>
                    <a:pt x="439" y="430"/>
                  </a:lnTo>
                  <a:lnTo>
                    <a:pt x="436" y="432"/>
                  </a:lnTo>
                  <a:lnTo>
                    <a:pt x="433" y="434"/>
                  </a:lnTo>
                  <a:lnTo>
                    <a:pt x="431" y="435"/>
                  </a:lnTo>
                  <a:lnTo>
                    <a:pt x="430" y="436"/>
                  </a:lnTo>
                  <a:lnTo>
                    <a:pt x="429" y="437"/>
                  </a:lnTo>
                  <a:lnTo>
                    <a:pt x="429" y="439"/>
                  </a:lnTo>
                  <a:lnTo>
                    <a:pt x="429" y="440"/>
                  </a:lnTo>
                  <a:lnTo>
                    <a:pt x="430" y="442"/>
                  </a:lnTo>
                  <a:lnTo>
                    <a:pt x="431" y="445"/>
                  </a:lnTo>
                  <a:lnTo>
                    <a:pt x="432" y="447"/>
                  </a:lnTo>
                  <a:lnTo>
                    <a:pt x="434" y="449"/>
                  </a:lnTo>
                  <a:lnTo>
                    <a:pt x="439" y="455"/>
                  </a:lnTo>
                  <a:lnTo>
                    <a:pt x="441" y="459"/>
                  </a:lnTo>
                  <a:lnTo>
                    <a:pt x="443" y="460"/>
                  </a:lnTo>
                  <a:lnTo>
                    <a:pt x="444" y="462"/>
                  </a:lnTo>
                  <a:lnTo>
                    <a:pt x="444" y="463"/>
                  </a:lnTo>
                  <a:lnTo>
                    <a:pt x="444" y="464"/>
                  </a:lnTo>
                  <a:lnTo>
                    <a:pt x="444" y="466"/>
                  </a:lnTo>
                  <a:lnTo>
                    <a:pt x="444" y="467"/>
                  </a:lnTo>
                  <a:lnTo>
                    <a:pt x="444" y="469"/>
                  </a:lnTo>
                  <a:lnTo>
                    <a:pt x="442" y="473"/>
                  </a:lnTo>
                  <a:lnTo>
                    <a:pt x="441" y="477"/>
                  </a:lnTo>
                  <a:lnTo>
                    <a:pt x="436" y="485"/>
                  </a:lnTo>
                  <a:lnTo>
                    <a:pt x="435" y="488"/>
                  </a:lnTo>
                  <a:lnTo>
                    <a:pt x="433" y="494"/>
                  </a:lnTo>
                  <a:lnTo>
                    <a:pt x="432" y="497"/>
                  </a:lnTo>
                  <a:lnTo>
                    <a:pt x="431" y="502"/>
                  </a:lnTo>
                  <a:lnTo>
                    <a:pt x="429" y="513"/>
                  </a:lnTo>
                  <a:lnTo>
                    <a:pt x="429" y="516"/>
                  </a:lnTo>
                  <a:lnTo>
                    <a:pt x="428" y="518"/>
                  </a:lnTo>
                  <a:lnTo>
                    <a:pt x="427" y="519"/>
                  </a:lnTo>
                  <a:lnTo>
                    <a:pt x="426" y="521"/>
                  </a:lnTo>
                  <a:lnTo>
                    <a:pt x="424" y="522"/>
                  </a:lnTo>
                  <a:lnTo>
                    <a:pt x="422" y="524"/>
                  </a:lnTo>
                  <a:lnTo>
                    <a:pt x="415" y="528"/>
                  </a:lnTo>
                  <a:lnTo>
                    <a:pt x="407" y="533"/>
                  </a:lnTo>
                  <a:lnTo>
                    <a:pt x="404" y="534"/>
                  </a:lnTo>
                  <a:lnTo>
                    <a:pt x="397" y="538"/>
                  </a:lnTo>
                  <a:lnTo>
                    <a:pt x="393" y="539"/>
                  </a:lnTo>
                  <a:lnTo>
                    <a:pt x="389" y="541"/>
                  </a:lnTo>
                  <a:lnTo>
                    <a:pt x="374" y="544"/>
                  </a:lnTo>
                  <a:lnTo>
                    <a:pt x="371" y="545"/>
                  </a:lnTo>
                  <a:lnTo>
                    <a:pt x="367" y="545"/>
                  </a:lnTo>
                  <a:lnTo>
                    <a:pt x="364" y="545"/>
                  </a:lnTo>
                  <a:lnTo>
                    <a:pt x="359" y="544"/>
                  </a:lnTo>
                  <a:lnTo>
                    <a:pt x="355" y="544"/>
                  </a:lnTo>
                  <a:lnTo>
                    <a:pt x="351" y="542"/>
                  </a:lnTo>
                  <a:lnTo>
                    <a:pt x="346" y="541"/>
                  </a:lnTo>
                  <a:lnTo>
                    <a:pt x="340" y="539"/>
                  </a:lnTo>
                  <a:lnTo>
                    <a:pt x="338" y="538"/>
                  </a:lnTo>
                  <a:lnTo>
                    <a:pt x="336" y="537"/>
                  </a:lnTo>
                  <a:lnTo>
                    <a:pt x="334" y="537"/>
                  </a:lnTo>
                  <a:lnTo>
                    <a:pt x="332" y="537"/>
                  </a:lnTo>
                  <a:lnTo>
                    <a:pt x="331" y="538"/>
                  </a:lnTo>
                  <a:lnTo>
                    <a:pt x="329" y="538"/>
                  </a:lnTo>
                  <a:lnTo>
                    <a:pt x="328" y="539"/>
                  </a:lnTo>
                  <a:lnTo>
                    <a:pt x="326" y="539"/>
                  </a:lnTo>
                  <a:lnTo>
                    <a:pt x="325" y="541"/>
                  </a:lnTo>
                  <a:lnTo>
                    <a:pt x="324" y="542"/>
                  </a:lnTo>
                  <a:lnTo>
                    <a:pt x="324" y="544"/>
                  </a:lnTo>
                  <a:lnTo>
                    <a:pt x="324" y="545"/>
                  </a:lnTo>
                  <a:lnTo>
                    <a:pt x="324" y="547"/>
                  </a:lnTo>
                  <a:lnTo>
                    <a:pt x="324" y="548"/>
                  </a:lnTo>
                  <a:lnTo>
                    <a:pt x="324" y="550"/>
                  </a:lnTo>
                  <a:lnTo>
                    <a:pt x="324" y="554"/>
                  </a:lnTo>
                  <a:lnTo>
                    <a:pt x="326" y="563"/>
                  </a:lnTo>
                  <a:lnTo>
                    <a:pt x="328" y="566"/>
                  </a:lnTo>
                  <a:lnTo>
                    <a:pt x="330" y="571"/>
                  </a:lnTo>
                  <a:lnTo>
                    <a:pt x="332" y="576"/>
                  </a:lnTo>
                  <a:lnTo>
                    <a:pt x="335" y="580"/>
                  </a:lnTo>
                  <a:lnTo>
                    <a:pt x="336" y="582"/>
                  </a:lnTo>
                  <a:lnTo>
                    <a:pt x="338" y="584"/>
                  </a:lnTo>
                  <a:lnTo>
                    <a:pt x="340" y="586"/>
                  </a:lnTo>
                  <a:lnTo>
                    <a:pt x="341" y="587"/>
                  </a:lnTo>
                  <a:lnTo>
                    <a:pt x="344" y="589"/>
                  </a:lnTo>
                  <a:lnTo>
                    <a:pt x="349" y="592"/>
                  </a:lnTo>
                  <a:lnTo>
                    <a:pt x="351" y="593"/>
                  </a:lnTo>
                  <a:lnTo>
                    <a:pt x="356" y="596"/>
                  </a:lnTo>
                  <a:lnTo>
                    <a:pt x="359" y="599"/>
                  </a:lnTo>
                  <a:lnTo>
                    <a:pt x="361" y="600"/>
                  </a:lnTo>
                  <a:lnTo>
                    <a:pt x="362" y="601"/>
                  </a:lnTo>
                  <a:lnTo>
                    <a:pt x="363" y="603"/>
                  </a:lnTo>
                  <a:lnTo>
                    <a:pt x="364" y="604"/>
                  </a:lnTo>
                  <a:lnTo>
                    <a:pt x="364" y="607"/>
                  </a:lnTo>
                  <a:lnTo>
                    <a:pt x="364" y="609"/>
                  </a:lnTo>
                  <a:lnTo>
                    <a:pt x="364" y="611"/>
                  </a:lnTo>
                  <a:lnTo>
                    <a:pt x="364" y="614"/>
                  </a:lnTo>
                  <a:lnTo>
                    <a:pt x="363" y="616"/>
                  </a:lnTo>
                  <a:lnTo>
                    <a:pt x="361" y="618"/>
                  </a:lnTo>
                  <a:lnTo>
                    <a:pt x="353" y="626"/>
                  </a:lnTo>
                  <a:lnTo>
                    <a:pt x="351" y="630"/>
                  </a:lnTo>
                  <a:lnTo>
                    <a:pt x="349" y="633"/>
                  </a:lnTo>
                  <a:lnTo>
                    <a:pt x="348" y="635"/>
                  </a:lnTo>
                  <a:lnTo>
                    <a:pt x="347" y="638"/>
                  </a:lnTo>
                  <a:lnTo>
                    <a:pt x="346" y="641"/>
                  </a:lnTo>
                  <a:lnTo>
                    <a:pt x="347" y="644"/>
                  </a:lnTo>
                  <a:lnTo>
                    <a:pt x="347" y="645"/>
                  </a:lnTo>
                  <a:lnTo>
                    <a:pt x="348" y="647"/>
                  </a:lnTo>
                  <a:lnTo>
                    <a:pt x="349" y="651"/>
                  </a:lnTo>
                  <a:lnTo>
                    <a:pt x="350" y="653"/>
                  </a:lnTo>
                  <a:lnTo>
                    <a:pt x="351" y="655"/>
                  </a:lnTo>
                  <a:lnTo>
                    <a:pt x="352" y="657"/>
                  </a:lnTo>
                  <a:lnTo>
                    <a:pt x="355" y="661"/>
                  </a:lnTo>
                  <a:lnTo>
                    <a:pt x="359" y="666"/>
                  </a:lnTo>
                  <a:lnTo>
                    <a:pt x="362" y="669"/>
                  </a:lnTo>
                  <a:lnTo>
                    <a:pt x="369" y="676"/>
                  </a:lnTo>
                  <a:lnTo>
                    <a:pt x="376" y="681"/>
                  </a:lnTo>
                  <a:lnTo>
                    <a:pt x="376" y="682"/>
                  </a:lnTo>
                  <a:lnTo>
                    <a:pt x="378" y="684"/>
                  </a:lnTo>
                  <a:lnTo>
                    <a:pt x="379" y="685"/>
                  </a:lnTo>
                  <a:lnTo>
                    <a:pt x="379" y="686"/>
                  </a:lnTo>
                  <a:lnTo>
                    <a:pt x="379" y="688"/>
                  </a:lnTo>
                  <a:lnTo>
                    <a:pt x="379" y="689"/>
                  </a:lnTo>
                  <a:lnTo>
                    <a:pt x="379" y="689"/>
                  </a:lnTo>
                  <a:lnTo>
                    <a:pt x="378" y="690"/>
                  </a:lnTo>
                  <a:lnTo>
                    <a:pt x="377" y="691"/>
                  </a:lnTo>
                  <a:lnTo>
                    <a:pt x="376" y="691"/>
                  </a:lnTo>
                  <a:lnTo>
                    <a:pt x="374" y="691"/>
                  </a:lnTo>
                  <a:lnTo>
                    <a:pt x="372" y="691"/>
                  </a:lnTo>
                  <a:lnTo>
                    <a:pt x="371" y="690"/>
                  </a:lnTo>
                  <a:lnTo>
                    <a:pt x="369" y="689"/>
                  </a:lnTo>
                  <a:lnTo>
                    <a:pt x="361" y="684"/>
                  </a:lnTo>
                  <a:lnTo>
                    <a:pt x="359" y="682"/>
                  </a:lnTo>
                  <a:lnTo>
                    <a:pt x="356" y="681"/>
                  </a:lnTo>
                  <a:lnTo>
                    <a:pt x="355" y="680"/>
                  </a:lnTo>
                  <a:lnTo>
                    <a:pt x="353" y="679"/>
                  </a:lnTo>
                  <a:lnTo>
                    <a:pt x="350" y="679"/>
                  </a:lnTo>
                  <a:lnTo>
                    <a:pt x="348" y="678"/>
                  </a:lnTo>
                  <a:lnTo>
                    <a:pt x="346" y="678"/>
                  </a:lnTo>
                  <a:lnTo>
                    <a:pt x="344" y="678"/>
                  </a:lnTo>
                  <a:lnTo>
                    <a:pt x="341" y="678"/>
                  </a:lnTo>
                  <a:lnTo>
                    <a:pt x="339" y="678"/>
                  </a:lnTo>
                  <a:lnTo>
                    <a:pt x="335" y="679"/>
                  </a:lnTo>
                  <a:lnTo>
                    <a:pt x="329" y="681"/>
                  </a:lnTo>
                  <a:lnTo>
                    <a:pt x="326" y="681"/>
                  </a:lnTo>
                  <a:lnTo>
                    <a:pt x="324" y="681"/>
                  </a:lnTo>
                  <a:lnTo>
                    <a:pt x="321" y="681"/>
                  </a:lnTo>
                  <a:lnTo>
                    <a:pt x="319" y="681"/>
                  </a:lnTo>
                  <a:lnTo>
                    <a:pt x="317" y="681"/>
                  </a:lnTo>
                  <a:lnTo>
                    <a:pt x="314" y="681"/>
                  </a:lnTo>
                  <a:lnTo>
                    <a:pt x="313" y="680"/>
                  </a:lnTo>
                  <a:lnTo>
                    <a:pt x="311" y="679"/>
                  </a:lnTo>
                  <a:lnTo>
                    <a:pt x="309" y="678"/>
                  </a:lnTo>
                  <a:lnTo>
                    <a:pt x="308" y="676"/>
                  </a:lnTo>
                  <a:lnTo>
                    <a:pt x="306" y="674"/>
                  </a:lnTo>
                  <a:lnTo>
                    <a:pt x="304" y="671"/>
                  </a:lnTo>
                  <a:lnTo>
                    <a:pt x="298" y="664"/>
                  </a:lnTo>
                  <a:lnTo>
                    <a:pt x="295" y="659"/>
                  </a:lnTo>
                  <a:lnTo>
                    <a:pt x="293" y="657"/>
                  </a:lnTo>
                  <a:lnTo>
                    <a:pt x="290" y="655"/>
                  </a:lnTo>
                  <a:lnTo>
                    <a:pt x="288" y="654"/>
                  </a:lnTo>
                  <a:lnTo>
                    <a:pt x="285" y="651"/>
                  </a:lnTo>
                  <a:lnTo>
                    <a:pt x="283" y="650"/>
                  </a:lnTo>
                  <a:lnTo>
                    <a:pt x="280" y="649"/>
                  </a:lnTo>
                  <a:lnTo>
                    <a:pt x="277" y="649"/>
                  </a:lnTo>
                  <a:lnTo>
                    <a:pt x="274" y="648"/>
                  </a:lnTo>
                  <a:lnTo>
                    <a:pt x="272" y="648"/>
                  </a:lnTo>
                  <a:lnTo>
                    <a:pt x="270" y="648"/>
                  </a:lnTo>
                  <a:lnTo>
                    <a:pt x="268" y="648"/>
                  </a:lnTo>
                  <a:lnTo>
                    <a:pt x="263" y="649"/>
                  </a:lnTo>
                  <a:lnTo>
                    <a:pt x="262" y="649"/>
                  </a:lnTo>
                  <a:lnTo>
                    <a:pt x="262" y="648"/>
                  </a:lnTo>
                  <a:lnTo>
                    <a:pt x="261" y="647"/>
                  </a:lnTo>
                  <a:lnTo>
                    <a:pt x="252" y="644"/>
                  </a:lnTo>
                  <a:lnTo>
                    <a:pt x="247" y="642"/>
                  </a:lnTo>
                  <a:lnTo>
                    <a:pt x="239" y="639"/>
                  </a:lnTo>
                  <a:lnTo>
                    <a:pt x="236" y="636"/>
                  </a:lnTo>
                  <a:lnTo>
                    <a:pt x="232" y="634"/>
                  </a:lnTo>
                  <a:lnTo>
                    <a:pt x="228" y="631"/>
                  </a:lnTo>
                  <a:lnTo>
                    <a:pt x="225" y="629"/>
                  </a:lnTo>
                  <a:lnTo>
                    <a:pt x="220" y="624"/>
                  </a:lnTo>
                  <a:lnTo>
                    <a:pt x="219" y="622"/>
                  </a:lnTo>
                  <a:lnTo>
                    <a:pt x="217" y="621"/>
                  </a:lnTo>
                  <a:lnTo>
                    <a:pt x="212" y="618"/>
                  </a:lnTo>
                  <a:lnTo>
                    <a:pt x="210" y="617"/>
                  </a:lnTo>
                  <a:lnTo>
                    <a:pt x="209" y="616"/>
                  </a:lnTo>
                  <a:lnTo>
                    <a:pt x="207" y="614"/>
                  </a:lnTo>
                  <a:lnTo>
                    <a:pt x="201" y="607"/>
                  </a:lnTo>
                  <a:lnTo>
                    <a:pt x="199" y="606"/>
                  </a:lnTo>
                  <a:lnTo>
                    <a:pt x="198" y="604"/>
                  </a:lnTo>
                  <a:lnTo>
                    <a:pt x="197" y="601"/>
                  </a:lnTo>
                  <a:lnTo>
                    <a:pt x="194" y="594"/>
                  </a:lnTo>
                  <a:lnTo>
                    <a:pt x="193" y="593"/>
                  </a:lnTo>
                  <a:lnTo>
                    <a:pt x="192" y="591"/>
                  </a:lnTo>
                  <a:lnTo>
                    <a:pt x="190" y="589"/>
                  </a:lnTo>
                  <a:lnTo>
                    <a:pt x="184" y="583"/>
                  </a:lnTo>
                  <a:lnTo>
                    <a:pt x="177" y="575"/>
                  </a:lnTo>
                  <a:lnTo>
                    <a:pt x="175" y="573"/>
                  </a:lnTo>
                  <a:lnTo>
                    <a:pt x="174" y="571"/>
                  </a:lnTo>
                  <a:lnTo>
                    <a:pt x="172" y="568"/>
                  </a:lnTo>
                  <a:lnTo>
                    <a:pt x="171" y="565"/>
                  </a:lnTo>
                  <a:lnTo>
                    <a:pt x="170" y="562"/>
                  </a:lnTo>
                  <a:lnTo>
                    <a:pt x="168" y="554"/>
                  </a:lnTo>
                  <a:lnTo>
                    <a:pt x="166" y="550"/>
                  </a:lnTo>
                  <a:lnTo>
                    <a:pt x="165" y="548"/>
                  </a:lnTo>
                  <a:lnTo>
                    <a:pt x="164" y="546"/>
                  </a:lnTo>
                  <a:lnTo>
                    <a:pt x="162" y="544"/>
                  </a:lnTo>
                  <a:lnTo>
                    <a:pt x="161" y="543"/>
                  </a:lnTo>
                  <a:lnTo>
                    <a:pt x="159" y="542"/>
                  </a:lnTo>
                  <a:lnTo>
                    <a:pt x="158" y="542"/>
                  </a:lnTo>
                  <a:lnTo>
                    <a:pt x="154" y="540"/>
                  </a:lnTo>
                  <a:lnTo>
                    <a:pt x="152" y="539"/>
                  </a:lnTo>
                  <a:lnTo>
                    <a:pt x="142" y="537"/>
                  </a:lnTo>
                  <a:lnTo>
                    <a:pt x="124" y="530"/>
                  </a:lnTo>
                  <a:lnTo>
                    <a:pt x="118" y="529"/>
                  </a:lnTo>
                  <a:lnTo>
                    <a:pt x="108" y="527"/>
                  </a:lnTo>
                  <a:lnTo>
                    <a:pt x="104" y="526"/>
                  </a:lnTo>
                  <a:lnTo>
                    <a:pt x="102" y="525"/>
                  </a:lnTo>
                  <a:lnTo>
                    <a:pt x="100" y="524"/>
                  </a:lnTo>
                  <a:lnTo>
                    <a:pt x="99" y="523"/>
                  </a:lnTo>
                  <a:lnTo>
                    <a:pt x="97" y="522"/>
                  </a:lnTo>
                  <a:lnTo>
                    <a:pt x="94" y="520"/>
                  </a:lnTo>
                  <a:lnTo>
                    <a:pt x="92" y="518"/>
                  </a:lnTo>
                  <a:lnTo>
                    <a:pt x="90" y="516"/>
                  </a:lnTo>
                  <a:lnTo>
                    <a:pt x="87" y="512"/>
                  </a:lnTo>
                  <a:lnTo>
                    <a:pt x="84" y="509"/>
                  </a:lnTo>
                  <a:lnTo>
                    <a:pt x="78" y="500"/>
                  </a:lnTo>
                  <a:lnTo>
                    <a:pt x="77" y="498"/>
                  </a:lnTo>
                  <a:lnTo>
                    <a:pt x="75" y="495"/>
                  </a:lnTo>
                  <a:lnTo>
                    <a:pt x="73" y="489"/>
                  </a:lnTo>
                  <a:lnTo>
                    <a:pt x="72" y="486"/>
                  </a:lnTo>
                  <a:lnTo>
                    <a:pt x="69" y="482"/>
                  </a:lnTo>
                  <a:lnTo>
                    <a:pt x="68" y="479"/>
                  </a:lnTo>
                  <a:lnTo>
                    <a:pt x="67" y="477"/>
                  </a:lnTo>
                  <a:lnTo>
                    <a:pt x="64" y="474"/>
                  </a:lnTo>
                  <a:lnTo>
                    <a:pt x="62" y="472"/>
                  </a:lnTo>
                  <a:lnTo>
                    <a:pt x="59" y="471"/>
                  </a:lnTo>
                  <a:lnTo>
                    <a:pt x="57" y="469"/>
                  </a:lnTo>
                  <a:lnTo>
                    <a:pt x="55" y="468"/>
                  </a:lnTo>
                  <a:lnTo>
                    <a:pt x="53" y="468"/>
                  </a:lnTo>
                  <a:lnTo>
                    <a:pt x="49" y="467"/>
                  </a:lnTo>
                  <a:lnTo>
                    <a:pt x="47" y="468"/>
                  </a:lnTo>
                  <a:lnTo>
                    <a:pt x="43" y="469"/>
                  </a:lnTo>
                  <a:lnTo>
                    <a:pt x="39" y="469"/>
                  </a:lnTo>
                  <a:lnTo>
                    <a:pt x="36" y="472"/>
                  </a:lnTo>
                  <a:lnTo>
                    <a:pt x="30" y="474"/>
                  </a:lnTo>
                  <a:lnTo>
                    <a:pt x="28" y="475"/>
                  </a:lnTo>
                  <a:lnTo>
                    <a:pt x="27" y="475"/>
                  </a:lnTo>
                  <a:lnTo>
                    <a:pt x="25" y="475"/>
                  </a:lnTo>
                  <a:lnTo>
                    <a:pt x="25" y="475"/>
                  </a:lnTo>
                  <a:lnTo>
                    <a:pt x="23" y="474"/>
                  </a:lnTo>
                  <a:lnTo>
                    <a:pt x="22" y="473"/>
                  </a:lnTo>
                  <a:lnTo>
                    <a:pt x="22" y="472"/>
                  </a:lnTo>
                  <a:lnTo>
                    <a:pt x="21" y="470"/>
                  </a:lnTo>
                  <a:lnTo>
                    <a:pt x="20" y="468"/>
                  </a:lnTo>
                  <a:lnTo>
                    <a:pt x="20" y="466"/>
                  </a:lnTo>
                  <a:lnTo>
                    <a:pt x="17" y="458"/>
                  </a:lnTo>
                  <a:lnTo>
                    <a:pt x="16" y="453"/>
                  </a:lnTo>
                  <a:lnTo>
                    <a:pt x="14" y="447"/>
                  </a:lnTo>
                  <a:lnTo>
                    <a:pt x="10" y="439"/>
                  </a:lnTo>
                  <a:lnTo>
                    <a:pt x="9" y="434"/>
                  </a:lnTo>
                  <a:lnTo>
                    <a:pt x="7" y="430"/>
                  </a:lnTo>
                  <a:lnTo>
                    <a:pt x="5" y="420"/>
                  </a:lnTo>
                  <a:lnTo>
                    <a:pt x="2" y="413"/>
                  </a:lnTo>
                  <a:lnTo>
                    <a:pt x="1" y="408"/>
                  </a:lnTo>
                  <a:lnTo>
                    <a:pt x="0" y="401"/>
                  </a:lnTo>
                  <a:lnTo>
                    <a:pt x="0" y="397"/>
                  </a:lnTo>
                  <a:lnTo>
                    <a:pt x="0" y="397"/>
                  </a:lnTo>
                  <a:lnTo>
                    <a:pt x="1" y="397"/>
                  </a:lnTo>
                  <a:lnTo>
                    <a:pt x="2" y="397"/>
                  </a:lnTo>
                  <a:lnTo>
                    <a:pt x="2" y="396"/>
                  </a:lnTo>
                  <a:lnTo>
                    <a:pt x="5" y="395"/>
                  </a:lnTo>
                  <a:lnTo>
                    <a:pt x="7" y="393"/>
                  </a:lnTo>
                  <a:lnTo>
                    <a:pt x="10" y="390"/>
                  </a:lnTo>
                  <a:lnTo>
                    <a:pt x="13" y="386"/>
                  </a:lnTo>
                  <a:lnTo>
                    <a:pt x="19" y="379"/>
                  </a:lnTo>
                  <a:lnTo>
                    <a:pt x="22" y="374"/>
                  </a:lnTo>
                  <a:lnTo>
                    <a:pt x="24" y="372"/>
                  </a:lnTo>
                  <a:lnTo>
                    <a:pt x="25" y="369"/>
                  </a:lnTo>
                  <a:lnTo>
                    <a:pt x="25" y="367"/>
                  </a:lnTo>
                  <a:lnTo>
                    <a:pt x="26" y="362"/>
                  </a:lnTo>
                  <a:lnTo>
                    <a:pt x="27" y="358"/>
                  </a:lnTo>
                  <a:lnTo>
                    <a:pt x="28" y="355"/>
                  </a:lnTo>
                  <a:lnTo>
                    <a:pt x="30" y="353"/>
                  </a:lnTo>
                  <a:lnTo>
                    <a:pt x="31" y="352"/>
                  </a:lnTo>
                  <a:lnTo>
                    <a:pt x="32" y="351"/>
                  </a:lnTo>
                  <a:lnTo>
                    <a:pt x="34" y="350"/>
                  </a:lnTo>
                  <a:lnTo>
                    <a:pt x="36" y="349"/>
                  </a:lnTo>
                  <a:lnTo>
                    <a:pt x="39" y="347"/>
                  </a:lnTo>
                  <a:lnTo>
                    <a:pt x="44" y="346"/>
                  </a:lnTo>
                  <a:lnTo>
                    <a:pt x="45" y="345"/>
                  </a:lnTo>
                  <a:lnTo>
                    <a:pt x="46" y="344"/>
                  </a:lnTo>
                  <a:lnTo>
                    <a:pt x="48" y="343"/>
                  </a:lnTo>
                  <a:lnTo>
                    <a:pt x="50" y="340"/>
                  </a:lnTo>
                  <a:lnTo>
                    <a:pt x="51" y="337"/>
                  </a:lnTo>
                  <a:lnTo>
                    <a:pt x="52" y="335"/>
                  </a:lnTo>
                  <a:lnTo>
                    <a:pt x="52" y="331"/>
                  </a:lnTo>
                  <a:lnTo>
                    <a:pt x="52" y="326"/>
                  </a:lnTo>
                  <a:lnTo>
                    <a:pt x="52" y="322"/>
                  </a:lnTo>
                  <a:lnTo>
                    <a:pt x="52" y="317"/>
                  </a:lnTo>
                  <a:lnTo>
                    <a:pt x="51" y="312"/>
                  </a:lnTo>
                  <a:lnTo>
                    <a:pt x="48" y="304"/>
                  </a:lnTo>
                  <a:lnTo>
                    <a:pt x="47" y="300"/>
                  </a:lnTo>
                  <a:lnTo>
                    <a:pt x="42" y="289"/>
                  </a:lnTo>
                  <a:lnTo>
                    <a:pt x="42" y="287"/>
                  </a:lnTo>
                  <a:lnTo>
                    <a:pt x="42" y="285"/>
                  </a:lnTo>
                  <a:lnTo>
                    <a:pt x="42" y="284"/>
                  </a:lnTo>
                  <a:lnTo>
                    <a:pt x="42" y="283"/>
                  </a:lnTo>
                  <a:lnTo>
                    <a:pt x="43" y="282"/>
                  </a:lnTo>
                  <a:lnTo>
                    <a:pt x="50" y="278"/>
                  </a:lnTo>
                  <a:lnTo>
                    <a:pt x="52" y="277"/>
                  </a:lnTo>
                  <a:lnTo>
                    <a:pt x="54" y="275"/>
                  </a:lnTo>
                  <a:lnTo>
                    <a:pt x="55" y="274"/>
                  </a:lnTo>
                  <a:lnTo>
                    <a:pt x="56" y="272"/>
                  </a:lnTo>
                  <a:lnTo>
                    <a:pt x="57" y="270"/>
                  </a:lnTo>
                  <a:lnTo>
                    <a:pt x="59" y="267"/>
                  </a:lnTo>
                  <a:lnTo>
                    <a:pt x="59" y="265"/>
                  </a:lnTo>
                  <a:lnTo>
                    <a:pt x="60" y="261"/>
                  </a:lnTo>
                  <a:lnTo>
                    <a:pt x="60" y="257"/>
                  </a:lnTo>
                  <a:lnTo>
                    <a:pt x="60" y="249"/>
                  </a:lnTo>
                  <a:lnTo>
                    <a:pt x="61" y="244"/>
                  </a:lnTo>
                  <a:lnTo>
                    <a:pt x="62" y="242"/>
                  </a:lnTo>
                  <a:lnTo>
                    <a:pt x="62" y="238"/>
                  </a:lnTo>
                  <a:lnTo>
                    <a:pt x="64" y="232"/>
                  </a:lnTo>
                  <a:lnTo>
                    <a:pt x="64" y="230"/>
                  </a:lnTo>
                  <a:lnTo>
                    <a:pt x="64" y="226"/>
                  </a:lnTo>
                  <a:lnTo>
                    <a:pt x="64" y="219"/>
                  </a:lnTo>
                  <a:lnTo>
                    <a:pt x="64" y="216"/>
                  </a:lnTo>
                  <a:lnTo>
                    <a:pt x="65" y="214"/>
                  </a:lnTo>
                  <a:lnTo>
                    <a:pt x="66" y="210"/>
                  </a:lnTo>
                  <a:lnTo>
                    <a:pt x="67" y="207"/>
                  </a:lnTo>
                  <a:lnTo>
                    <a:pt x="67" y="205"/>
                  </a:lnTo>
                  <a:lnTo>
                    <a:pt x="67" y="203"/>
                  </a:lnTo>
                  <a:lnTo>
                    <a:pt x="66" y="201"/>
                  </a:lnTo>
                  <a:lnTo>
                    <a:pt x="64" y="198"/>
                  </a:lnTo>
                  <a:lnTo>
                    <a:pt x="63" y="196"/>
                  </a:lnTo>
                  <a:lnTo>
                    <a:pt x="59" y="190"/>
                  </a:lnTo>
                  <a:lnTo>
                    <a:pt x="57" y="188"/>
                  </a:lnTo>
                  <a:lnTo>
                    <a:pt x="55" y="185"/>
                  </a:lnTo>
                  <a:lnTo>
                    <a:pt x="54" y="182"/>
                  </a:lnTo>
                  <a:lnTo>
                    <a:pt x="54" y="181"/>
                  </a:lnTo>
                  <a:lnTo>
                    <a:pt x="53" y="178"/>
                  </a:lnTo>
                  <a:lnTo>
                    <a:pt x="52" y="174"/>
                  </a:lnTo>
                  <a:lnTo>
                    <a:pt x="53" y="167"/>
                  </a:lnTo>
                  <a:lnTo>
                    <a:pt x="53" y="162"/>
                  </a:lnTo>
                  <a:lnTo>
                    <a:pt x="52" y="160"/>
                  </a:lnTo>
                  <a:lnTo>
                    <a:pt x="51" y="153"/>
                  </a:lnTo>
                  <a:lnTo>
                    <a:pt x="51" y="151"/>
                  </a:lnTo>
                  <a:lnTo>
                    <a:pt x="50" y="150"/>
                  </a:lnTo>
                  <a:lnTo>
                    <a:pt x="51" y="147"/>
                  </a:lnTo>
                  <a:lnTo>
                    <a:pt x="51" y="145"/>
                  </a:lnTo>
                  <a:lnTo>
                    <a:pt x="52" y="143"/>
                  </a:lnTo>
                  <a:lnTo>
                    <a:pt x="52" y="141"/>
                  </a:lnTo>
                  <a:lnTo>
                    <a:pt x="54" y="139"/>
                  </a:lnTo>
                  <a:lnTo>
                    <a:pt x="57" y="135"/>
                  </a:lnTo>
                  <a:lnTo>
                    <a:pt x="59" y="130"/>
                  </a:lnTo>
                  <a:lnTo>
                    <a:pt x="63" y="124"/>
                  </a:lnTo>
                  <a:lnTo>
                    <a:pt x="64" y="120"/>
                  </a:lnTo>
                  <a:lnTo>
                    <a:pt x="65" y="118"/>
                  </a:lnTo>
                  <a:lnTo>
                    <a:pt x="66" y="115"/>
                  </a:lnTo>
                  <a:lnTo>
                    <a:pt x="66" y="114"/>
                  </a:lnTo>
                  <a:lnTo>
                    <a:pt x="66" y="113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7" y="109"/>
                  </a:lnTo>
                  <a:lnTo>
                    <a:pt x="68" y="107"/>
                  </a:lnTo>
                  <a:lnTo>
                    <a:pt x="71" y="102"/>
                  </a:lnTo>
                  <a:lnTo>
                    <a:pt x="73" y="100"/>
                  </a:lnTo>
                  <a:lnTo>
                    <a:pt x="75" y="98"/>
                  </a:lnTo>
                  <a:lnTo>
                    <a:pt x="77" y="97"/>
                  </a:lnTo>
                  <a:lnTo>
                    <a:pt x="78" y="96"/>
                  </a:lnTo>
                  <a:lnTo>
                    <a:pt x="79" y="95"/>
                  </a:lnTo>
                  <a:lnTo>
                    <a:pt x="82" y="95"/>
                  </a:lnTo>
                  <a:lnTo>
                    <a:pt x="84" y="95"/>
                  </a:lnTo>
                  <a:lnTo>
                    <a:pt x="91" y="97"/>
                  </a:lnTo>
                  <a:lnTo>
                    <a:pt x="97" y="97"/>
                  </a:lnTo>
                  <a:lnTo>
                    <a:pt x="100" y="98"/>
                  </a:lnTo>
                  <a:lnTo>
                    <a:pt x="102" y="98"/>
                  </a:lnTo>
                  <a:lnTo>
                    <a:pt x="103" y="99"/>
                  </a:lnTo>
                  <a:lnTo>
                    <a:pt x="107" y="103"/>
                  </a:lnTo>
                  <a:lnTo>
                    <a:pt x="110" y="105"/>
                  </a:lnTo>
                  <a:lnTo>
                    <a:pt x="113" y="106"/>
                  </a:lnTo>
                  <a:lnTo>
                    <a:pt x="118" y="107"/>
                  </a:lnTo>
                  <a:lnTo>
                    <a:pt x="121" y="108"/>
                  </a:lnTo>
                  <a:lnTo>
                    <a:pt x="126" y="108"/>
                  </a:lnTo>
                  <a:lnTo>
                    <a:pt x="128" y="108"/>
                  </a:lnTo>
                  <a:lnTo>
                    <a:pt x="138" y="110"/>
                  </a:lnTo>
                  <a:lnTo>
                    <a:pt x="142" y="110"/>
                  </a:lnTo>
                  <a:lnTo>
                    <a:pt x="145" y="110"/>
                  </a:lnTo>
                  <a:lnTo>
                    <a:pt x="147" y="110"/>
                  </a:lnTo>
                  <a:lnTo>
                    <a:pt x="149" y="110"/>
                  </a:lnTo>
                  <a:lnTo>
                    <a:pt x="150" y="110"/>
                  </a:lnTo>
                  <a:lnTo>
                    <a:pt x="154" y="108"/>
                  </a:lnTo>
                  <a:lnTo>
                    <a:pt x="156" y="108"/>
                  </a:lnTo>
                  <a:lnTo>
                    <a:pt x="159" y="107"/>
                  </a:lnTo>
                  <a:lnTo>
                    <a:pt x="160" y="107"/>
                  </a:lnTo>
                  <a:lnTo>
                    <a:pt x="162" y="107"/>
                  </a:lnTo>
                  <a:lnTo>
                    <a:pt x="168" y="103"/>
                  </a:lnTo>
                  <a:lnTo>
                    <a:pt x="170" y="101"/>
                  </a:lnTo>
                  <a:lnTo>
                    <a:pt x="173" y="99"/>
                  </a:lnTo>
                  <a:lnTo>
                    <a:pt x="176" y="95"/>
                  </a:lnTo>
                  <a:lnTo>
                    <a:pt x="176" y="96"/>
                  </a:lnTo>
                  <a:lnTo>
                    <a:pt x="176" y="98"/>
                  </a:lnTo>
                  <a:lnTo>
                    <a:pt x="175" y="101"/>
                  </a:lnTo>
                  <a:lnTo>
                    <a:pt x="173" y="107"/>
                  </a:lnTo>
                  <a:lnTo>
                    <a:pt x="172" y="110"/>
                  </a:lnTo>
                  <a:lnTo>
                    <a:pt x="171" y="114"/>
                  </a:lnTo>
                  <a:lnTo>
                    <a:pt x="170" y="116"/>
                  </a:lnTo>
                  <a:lnTo>
                    <a:pt x="170" y="119"/>
                  </a:lnTo>
                  <a:lnTo>
                    <a:pt x="170" y="120"/>
                  </a:lnTo>
                  <a:lnTo>
                    <a:pt x="171" y="121"/>
                  </a:lnTo>
                  <a:lnTo>
                    <a:pt x="172" y="122"/>
                  </a:lnTo>
                  <a:lnTo>
                    <a:pt x="172" y="123"/>
                  </a:lnTo>
                  <a:lnTo>
                    <a:pt x="172" y="124"/>
                  </a:lnTo>
                  <a:lnTo>
                    <a:pt x="174" y="125"/>
                  </a:lnTo>
                  <a:lnTo>
                    <a:pt x="174" y="126"/>
                  </a:lnTo>
                  <a:lnTo>
                    <a:pt x="177" y="127"/>
                  </a:lnTo>
                  <a:lnTo>
                    <a:pt x="178" y="127"/>
                  </a:lnTo>
                  <a:lnTo>
                    <a:pt x="179" y="128"/>
                  </a:lnTo>
                  <a:lnTo>
                    <a:pt x="182" y="128"/>
                  </a:lnTo>
                  <a:lnTo>
                    <a:pt x="190" y="130"/>
                  </a:lnTo>
                  <a:lnTo>
                    <a:pt x="194" y="130"/>
                  </a:lnTo>
                  <a:lnTo>
                    <a:pt x="198" y="131"/>
                  </a:lnTo>
                  <a:lnTo>
                    <a:pt x="203" y="132"/>
                  </a:lnTo>
                  <a:lnTo>
                    <a:pt x="208" y="134"/>
                  </a:lnTo>
                  <a:lnTo>
                    <a:pt x="212" y="136"/>
                  </a:lnTo>
                  <a:lnTo>
                    <a:pt x="215" y="138"/>
                  </a:lnTo>
                  <a:lnTo>
                    <a:pt x="221" y="142"/>
                  </a:lnTo>
                  <a:lnTo>
                    <a:pt x="223" y="143"/>
                  </a:lnTo>
                  <a:lnTo>
                    <a:pt x="224" y="143"/>
                  </a:lnTo>
                  <a:lnTo>
                    <a:pt x="226" y="144"/>
                  </a:lnTo>
                  <a:lnTo>
                    <a:pt x="227" y="143"/>
                  </a:lnTo>
                  <a:lnTo>
                    <a:pt x="229" y="143"/>
                  </a:lnTo>
                  <a:lnTo>
                    <a:pt x="230" y="142"/>
                  </a:lnTo>
                  <a:lnTo>
                    <a:pt x="232" y="140"/>
                  </a:lnTo>
                  <a:lnTo>
                    <a:pt x="233" y="138"/>
                  </a:lnTo>
                  <a:lnTo>
                    <a:pt x="236" y="133"/>
                  </a:lnTo>
                  <a:lnTo>
                    <a:pt x="237" y="131"/>
                  </a:lnTo>
                  <a:lnTo>
                    <a:pt x="240" y="127"/>
                  </a:lnTo>
                  <a:lnTo>
                    <a:pt x="243" y="124"/>
                  </a:lnTo>
                  <a:lnTo>
                    <a:pt x="246" y="121"/>
                  </a:lnTo>
                  <a:lnTo>
                    <a:pt x="248" y="119"/>
                  </a:lnTo>
                  <a:lnTo>
                    <a:pt x="257" y="112"/>
                  </a:lnTo>
                  <a:lnTo>
                    <a:pt x="264" y="107"/>
                  </a:lnTo>
                  <a:lnTo>
                    <a:pt x="269" y="103"/>
                  </a:lnTo>
                  <a:lnTo>
                    <a:pt x="273" y="101"/>
                  </a:lnTo>
                  <a:lnTo>
                    <a:pt x="275" y="100"/>
                  </a:lnTo>
                  <a:lnTo>
                    <a:pt x="277" y="100"/>
                  </a:lnTo>
                  <a:lnTo>
                    <a:pt x="287" y="97"/>
                  </a:lnTo>
                  <a:lnTo>
                    <a:pt x="292" y="95"/>
                  </a:lnTo>
                  <a:lnTo>
                    <a:pt x="296" y="93"/>
                  </a:lnTo>
                  <a:lnTo>
                    <a:pt x="299" y="91"/>
                  </a:lnTo>
                  <a:lnTo>
                    <a:pt x="301" y="90"/>
                  </a:lnTo>
                  <a:lnTo>
                    <a:pt x="303" y="88"/>
                  </a:lnTo>
                  <a:lnTo>
                    <a:pt x="304" y="87"/>
                  </a:lnTo>
                  <a:lnTo>
                    <a:pt x="304" y="85"/>
                  </a:lnTo>
                  <a:lnTo>
                    <a:pt x="305" y="83"/>
                  </a:lnTo>
                  <a:lnTo>
                    <a:pt x="305" y="82"/>
                  </a:lnTo>
                  <a:lnTo>
                    <a:pt x="304" y="78"/>
                  </a:lnTo>
                  <a:lnTo>
                    <a:pt x="302" y="72"/>
                  </a:lnTo>
                  <a:lnTo>
                    <a:pt x="301" y="66"/>
                  </a:lnTo>
                  <a:lnTo>
                    <a:pt x="299" y="62"/>
                  </a:lnTo>
                  <a:lnTo>
                    <a:pt x="299" y="59"/>
                  </a:lnTo>
                  <a:lnTo>
                    <a:pt x="299" y="56"/>
                  </a:lnTo>
                  <a:lnTo>
                    <a:pt x="299" y="53"/>
                  </a:lnTo>
                  <a:lnTo>
                    <a:pt x="299" y="50"/>
                  </a:lnTo>
                  <a:lnTo>
                    <a:pt x="300" y="48"/>
                  </a:lnTo>
                  <a:lnTo>
                    <a:pt x="301" y="43"/>
                  </a:lnTo>
                  <a:lnTo>
                    <a:pt x="302" y="40"/>
                  </a:lnTo>
                  <a:lnTo>
                    <a:pt x="303" y="38"/>
                  </a:lnTo>
                  <a:lnTo>
                    <a:pt x="303" y="34"/>
                  </a:lnTo>
                  <a:lnTo>
                    <a:pt x="303" y="31"/>
                  </a:lnTo>
                  <a:lnTo>
                    <a:pt x="304" y="30"/>
                  </a:lnTo>
                  <a:lnTo>
                    <a:pt x="304" y="29"/>
                  </a:lnTo>
                  <a:lnTo>
                    <a:pt x="305" y="26"/>
                  </a:lnTo>
                  <a:lnTo>
                    <a:pt x="306" y="25"/>
                  </a:lnTo>
                  <a:lnTo>
                    <a:pt x="307" y="24"/>
                  </a:lnTo>
                  <a:lnTo>
                    <a:pt x="311" y="22"/>
                  </a:lnTo>
                  <a:lnTo>
                    <a:pt x="313" y="20"/>
                  </a:lnTo>
                  <a:lnTo>
                    <a:pt x="314" y="18"/>
                  </a:lnTo>
                  <a:lnTo>
                    <a:pt x="316" y="14"/>
                  </a:lnTo>
                  <a:lnTo>
                    <a:pt x="319" y="12"/>
                  </a:lnTo>
                  <a:lnTo>
                    <a:pt x="321" y="9"/>
                  </a:lnTo>
                  <a:lnTo>
                    <a:pt x="326" y="6"/>
                  </a:lnTo>
                  <a:lnTo>
                    <a:pt x="330" y="4"/>
                  </a:lnTo>
                  <a:lnTo>
                    <a:pt x="334" y="1"/>
                  </a:lnTo>
                  <a:lnTo>
                    <a:pt x="336" y="0"/>
                  </a:lnTo>
                  <a:lnTo>
                    <a:pt x="339" y="0"/>
                  </a:lnTo>
                  <a:lnTo>
                    <a:pt x="339" y="0"/>
                  </a:lnTo>
                  <a:close/>
                </a:path>
              </a:pathLst>
            </a:custGeom>
            <a:solidFill>
              <a:srgbClr val="D7144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>
                <a:ln w="9525">
                  <a:solidFill>
                    <a:schemeClr val="tx1"/>
                  </a:solidFill>
                </a:ln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06893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30">
          <p15:clr>
            <a:srgbClr val="FBAE40"/>
          </p15:clr>
        </p15:guide>
        <p15:guide id="2" pos="347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bdélník 2">
            <a:extLst>
              <a:ext uri="{FF2B5EF4-FFF2-40B4-BE49-F238E27FC236}">
                <a16:creationId xmlns:a16="http://schemas.microsoft.com/office/drawing/2014/main" id="{D51D8113-868B-23EE-5B54-BD2D149F78D0}"/>
              </a:ext>
            </a:extLst>
          </p:cNvPr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2C88A9E8-4301-7482-7BAA-FC4BB7DB6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2760" t="24183" b="15901"/>
          <a:stretch/>
        </p:blipFill>
        <p:spPr>
          <a:xfrm>
            <a:off x="10754448" y="160258"/>
            <a:ext cx="1164961" cy="538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73050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BB4D3228-15CC-AFED-D2D1-C18083C5C0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760" t="24183" b="15901"/>
          <a:stretch/>
        </p:blipFill>
        <p:spPr>
          <a:xfrm>
            <a:off x="10754448" y="160258"/>
            <a:ext cx="1164961" cy="538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41747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zadi seda">
            <a:extLst>
              <a:ext uri="{FF2B5EF4-FFF2-40B4-BE49-F238E27FC236}">
                <a16:creationId xmlns:a16="http://schemas.microsoft.com/office/drawing/2014/main" id="{C6DB6EA3-D18B-4247-B7E0-D3F0ED4ABC66}"/>
              </a:ext>
            </a:extLst>
          </p:cNvPr>
          <p:cNvSpPr/>
          <p:nvPr userDrawn="1"/>
        </p:nvSpPr>
        <p:spPr bwMode="gray">
          <a:xfrm>
            <a:off x="0" y="1899462"/>
            <a:ext cx="12192000" cy="4028858"/>
          </a:xfrm>
          <a:prstGeom prst="rect">
            <a:avLst/>
          </a:prstGeom>
          <a:solidFill>
            <a:schemeClr val="bg1">
              <a:lumMod val="95000"/>
              <a:alpha val="6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2" name="Linka cervena">
            <a:extLst>
              <a:ext uri="{FF2B5EF4-FFF2-40B4-BE49-F238E27FC236}">
                <a16:creationId xmlns:a16="http://schemas.microsoft.com/office/drawing/2014/main" id="{B9205121-7638-4ABD-95F5-177B33D17428}"/>
              </a:ext>
            </a:extLst>
          </p:cNvPr>
          <p:cNvSpPr/>
          <p:nvPr userDrawn="1"/>
        </p:nvSpPr>
        <p:spPr>
          <a:xfrm flipV="1">
            <a:off x="5552" y="5881971"/>
            <a:ext cx="12173011" cy="36000"/>
          </a:xfrm>
          <a:prstGeom prst="rect">
            <a:avLst/>
          </a:prstGeom>
          <a:solidFill>
            <a:srgbClr val="D71440"/>
          </a:solidFill>
          <a:ln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8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805" y="6275298"/>
            <a:ext cx="3763463" cy="324000"/>
          </a:xfrm>
          <a:prstGeom prst="rect">
            <a:avLst/>
          </a:prstGeom>
        </p:spPr>
      </p:pic>
      <p:pic>
        <p:nvPicPr>
          <p:cNvPr id="6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9537" y="6124324"/>
            <a:ext cx="822458" cy="540000"/>
          </a:xfrm>
          <a:prstGeom prst="rect">
            <a:avLst/>
          </a:prstGeom>
        </p:spPr>
      </p:pic>
      <p:pic>
        <p:nvPicPr>
          <p:cNvPr id="11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113" y="2607870"/>
            <a:ext cx="5715760" cy="2224771"/>
          </a:xfrm>
          <a:prstGeom prst="rect">
            <a:avLst/>
          </a:prstGeom>
        </p:spPr>
      </p:pic>
      <p:pic>
        <p:nvPicPr>
          <p:cNvPr id="61" name="Ikona 7">
            <a:extLst>
              <a:ext uri="{FF2B5EF4-FFF2-40B4-BE49-F238E27FC236}">
                <a16:creationId xmlns:a16="http://schemas.microsoft.com/office/drawing/2014/main" id="{1E522FD7-51BC-4B8E-A68D-8A0B5E4169E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5605" y="3727037"/>
            <a:ext cx="791389" cy="792000"/>
          </a:xfrm>
          <a:prstGeom prst="rect">
            <a:avLst/>
          </a:prstGeom>
        </p:spPr>
      </p:pic>
      <p:pic>
        <p:nvPicPr>
          <p:cNvPr id="62" name="Ikona 6">
            <a:extLst>
              <a:ext uri="{FF2B5EF4-FFF2-40B4-BE49-F238E27FC236}">
                <a16:creationId xmlns:a16="http://schemas.microsoft.com/office/drawing/2014/main" id="{E01AA11B-D042-44CE-8E91-BAD234FB490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5916" y="2819547"/>
            <a:ext cx="791389" cy="792000"/>
          </a:xfrm>
          <a:prstGeom prst="rect">
            <a:avLst/>
          </a:prstGeom>
        </p:spPr>
      </p:pic>
      <p:pic>
        <p:nvPicPr>
          <p:cNvPr id="63" name="Ikona 5">
            <a:extLst>
              <a:ext uri="{FF2B5EF4-FFF2-40B4-BE49-F238E27FC236}">
                <a16:creationId xmlns:a16="http://schemas.microsoft.com/office/drawing/2014/main" id="{6E1D9AE5-9B01-4D1E-A130-EA1856689D6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4327" y="2821182"/>
            <a:ext cx="791389" cy="792000"/>
          </a:xfrm>
          <a:prstGeom prst="rect">
            <a:avLst/>
          </a:prstGeom>
        </p:spPr>
      </p:pic>
      <p:pic>
        <p:nvPicPr>
          <p:cNvPr id="64" name="Ikona 4">
            <a:extLst>
              <a:ext uri="{FF2B5EF4-FFF2-40B4-BE49-F238E27FC236}">
                <a16:creationId xmlns:a16="http://schemas.microsoft.com/office/drawing/2014/main" id="{78221017-9FB8-4EF8-A88B-38444E30A279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4197" y="2826357"/>
            <a:ext cx="788298" cy="792000"/>
          </a:xfrm>
          <a:prstGeom prst="rect">
            <a:avLst/>
          </a:prstGeom>
        </p:spPr>
      </p:pic>
      <p:pic>
        <p:nvPicPr>
          <p:cNvPr id="65" name="Ikona 3">
            <a:extLst>
              <a:ext uri="{FF2B5EF4-FFF2-40B4-BE49-F238E27FC236}">
                <a16:creationId xmlns:a16="http://schemas.microsoft.com/office/drawing/2014/main" id="{D435ECA9-9699-4A70-9ABD-16C688E3468C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1468" y="2827327"/>
            <a:ext cx="788298" cy="792000"/>
          </a:xfrm>
          <a:prstGeom prst="rect">
            <a:avLst/>
          </a:prstGeom>
        </p:spPr>
      </p:pic>
      <p:pic>
        <p:nvPicPr>
          <p:cNvPr id="66" name="Ikona 2">
            <a:extLst>
              <a:ext uri="{FF2B5EF4-FFF2-40B4-BE49-F238E27FC236}">
                <a16:creationId xmlns:a16="http://schemas.microsoft.com/office/drawing/2014/main" id="{06B998D0-4DD3-4617-8B85-7A97769C7BF7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1592" y="3720280"/>
            <a:ext cx="791389" cy="792000"/>
          </a:xfrm>
          <a:prstGeom prst="rect">
            <a:avLst/>
          </a:prstGeom>
        </p:spPr>
      </p:pic>
      <p:pic>
        <p:nvPicPr>
          <p:cNvPr id="67" name="Ikona 1">
            <a:extLst>
              <a:ext uri="{FF2B5EF4-FFF2-40B4-BE49-F238E27FC236}">
                <a16:creationId xmlns:a16="http://schemas.microsoft.com/office/drawing/2014/main" id="{CDFE4053-986D-4CF5-BB65-55DDA986CB79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5004" y="3714480"/>
            <a:ext cx="794492" cy="792000"/>
          </a:xfrm>
          <a:prstGeom prst="rect">
            <a:avLst/>
          </a:prstGeom>
        </p:spPr>
      </p:pic>
      <p:pic>
        <p:nvPicPr>
          <p:cNvPr id="9" name="Vlajka CR">
            <a:extLst>
              <a:ext uri="{FF2B5EF4-FFF2-40B4-BE49-F238E27FC236}">
                <a16:creationId xmlns:a16="http://schemas.microsoft.com/office/drawing/2014/main" id="{471DD38C-87B2-4EF0-9C4F-92FAABA3B665}"/>
              </a:ext>
            </a:extLst>
          </p:cNvPr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525177" y="249066"/>
            <a:ext cx="540000" cy="36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" name="Vlajka EU">
            <a:extLst>
              <a:ext uri="{FF2B5EF4-FFF2-40B4-BE49-F238E27FC236}">
                <a16:creationId xmlns:a16="http://schemas.microsoft.com/office/drawing/2014/main" id="{F0605D3E-9EE4-4CE0-8944-A11CBF44BE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118"/>
          <a:stretch/>
        </p:blipFill>
        <p:spPr>
          <a:xfrm>
            <a:off x="10876478" y="245794"/>
            <a:ext cx="538775" cy="360000"/>
          </a:xfrm>
          <a:prstGeom prst="rect">
            <a:avLst/>
          </a:prstGeom>
        </p:spPr>
      </p:pic>
      <p:sp>
        <p:nvSpPr>
          <p:cNvPr id="41" name="Podnadpis">
            <a:extLst>
              <a:ext uri="{FF2B5EF4-FFF2-40B4-BE49-F238E27FC236}">
                <a16:creationId xmlns:a16="http://schemas.microsoft.com/office/drawing/2014/main" id="{A48B58A5-C806-4673-B1BA-E9829457EA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0806" y="5471177"/>
            <a:ext cx="8608732" cy="468000"/>
          </a:xfrm>
          <a:noFill/>
        </p:spPr>
        <p:txBody>
          <a:bodyPr anchor="ctr"/>
          <a:lstStyle>
            <a:lvl1pPr marL="0" indent="0">
              <a:buNone/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cs-CZ" dirty="0"/>
              <a:t>Vložte podnadpis</a:t>
            </a:r>
          </a:p>
        </p:txBody>
      </p:sp>
      <p:sp>
        <p:nvSpPr>
          <p:cNvPr id="13" name="Nadpis">
            <a:extLst>
              <a:ext uri="{FF2B5EF4-FFF2-40B4-BE49-F238E27FC236}">
                <a16:creationId xmlns:a16="http://schemas.microsoft.com/office/drawing/2014/main" id="{99BDED9C-93B2-4C0D-BE31-6A2F4570EB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391" y="240974"/>
            <a:ext cx="8648147" cy="1598025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defRPr lang="cs-CZ" sz="3600" b="1" kern="1200">
                <a:solidFill>
                  <a:srgbClr val="2E598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29" name="Ovál 29">
            <a:extLst>
              <a:ext uri="{FF2B5EF4-FFF2-40B4-BE49-F238E27FC236}">
                <a16:creationId xmlns:a16="http://schemas.microsoft.com/office/drawing/2014/main" id="{E411B488-D6A9-4125-9226-91E8FF7C26F2}"/>
              </a:ext>
            </a:extLst>
          </p:cNvPr>
          <p:cNvSpPr/>
          <p:nvPr userDrawn="1"/>
        </p:nvSpPr>
        <p:spPr>
          <a:xfrm>
            <a:off x="8139289" y="752121"/>
            <a:ext cx="1747911" cy="1747911"/>
          </a:xfrm>
          <a:prstGeom prst="ellipse">
            <a:avLst/>
          </a:prstGeom>
          <a:solidFill>
            <a:schemeClr val="bg1"/>
          </a:solidFill>
          <a:ln w="19050"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Ovál 30">
            <a:extLst>
              <a:ext uri="{FF2B5EF4-FFF2-40B4-BE49-F238E27FC236}">
                <a16:creationId xmlns:a16="http://schemas.microsoft.com/office/drawing/2014/main" id="{822DE0E7-21EC-4CAD-9CAC-791515B7EB64}"/>
              </a:ext>
            </a:extLst>
          </p:cNvPr>
          <p:cNvSpPr/>
          <p:nvPr userDrawn="1"/>
        </p:nvSpPr>
        <p:spPr>
          <a:xfrm>
            <a:off x="8256659" y="869491"/>
            <a:ext cx="1513171" cy="1513171"/>
          </a:xfrm>
          <a:prstGeom prst="ellipse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7F79A67F-5DE8-F2B4-3423-2F232835C53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294400" y="1162800"/>
            <a:ext cx="1457522" cy="882000"/>
            <a:chOff x="3727418" y="1998630"/>
            <a:chExt cx="4732781" cy="2863977"/>
          </a:xfrm>
        </p:grpSpPr>
        <p:sp>
          <p:nvSpPr>
            <p:cNvPr id="24" name="Volný tvar: obrazec 23">
              <a:extLst>
                <a:ext uri="{FF2B5EF4-FFF2-40B4-BE49-F238E27FC236}">
                  <a16:creationId xmlns:a16="http://schemas.microsoft.com/office/drawing/2014/main" id="{D2F943EE-94F2-FEAE-751F-68C16F8C70E6}"/>
                </a:ext>
              </a:extLst>
            </p:cNvPr>
            <p:cNvSpPr>
              <a:spLocks noChangeAspect="1"/>
            </p:cNvSpPr>
            <p:nvPr userDrawn="1">
              <p:custDataLst>
                <p:tags r:id="rId2"/>
              </p:custDataLst>
            </p:nvPr>
          </p:nvSpPr>
          <p:spPr>
            <a:xfrm>
              <a:off x="4319492" y="1998630"/>
              <a:ext cx="1182528" cy="1101852"/>
            </a:xfrm>
            <a:custGeom>
              <a:avLst/>
              <a:gdLst>
                <a:gd name="connsiteX0" fmla="*/ 1180148 w 1182528"/>
                <a:gd name="connsiteY0" fmla="*/ 147257 h 1101852"/>
                <a:gd name="connsiteX1" fmla="*/ 1175290 w 1182528"/>
                <a:gd name="connsiteY1" fmla="*/ 146304 h 1101852"/>
                <a:gd name="connsiteX2" fmla="*/ 1165003 w 1182528"/>
                <a:gd name="connsiteY2" fmla="*/ 154019 h 1101852"/>
                <a:gd name="connsiteX3" fmla="*/ 1158526 w 1182528"/>
                <a:gd name="connsiteY3" fmla="*/ 153257 h 1101852"/>
                <a:gd name="connsiteX4" fmla="*/ 1154144 w 1182528"/>
                <a:gd name="connsiteY4" fmla="*/ 156972 h 1101852"/>
                <a:gd name="connsiteX5" fmla="*/ 1146239 w 1182528"/>
                <a:gd name="connsiteY5" fmla="*/ 158020 h 1101852"/>
                <a:gd name="connsiteX6" fmla="*/ 1134428 w 1182528"/>
                <a:gd name="connsiteY6" fmla="*/ 165926 h 1101852"/>
                <a:gd name="connsiteX7" fmla="*/ 1130903 w 1182528"/>
                <a:gd name="connsiteY7" fmla="*/ 163163 h 1101852"/>
                <a:gd name="connsiteX8" fmla="*/ 1122617 w 1182528"/>
                <a:gd name="connsiteY8" fmla="*/ 161068 h 1101852"/>
                <a:gd name="connsiteX9" fmla="*/ 1120045 w 1182528"/>
                <a:gd name="connsiteY9" fmla="*/ 153353 h 1101852"/>
                <a:gd name="connsiteX10" fmla="*/ 1126331 w 1182528"/>
                <a:gd name="connsiteY10" fmla="*/ 139732 h 1101852"/>
                <a:gd name="connsiteX11" fmla="*/ 1134809 w 1182528"/>
                <a:gd name="connsiteY11" fmla="*/ 130588 h 1101852"/>
                <a:gd name="connsiteX12" fmla="*/ 1135571 w 1182528"/>
                <a:gd name="connsiteY12" fmla="*/ 124111 h 1101852"/>
                <a:gd name="connsiteX13" fmla="*/ 1143381 w 1182528"/>
                <a:gd name="connsiteY13" fmla="*/ 110300 h 1101852"/>
                <a:gd name="connsiteX14" fmla="*/ 1141190 w 1182528"/>
                <a:gd name="connsiteY14" fmla="*/ 105728 h 1101852"/>
                <a:gd name="connsiteX15" fmla="*/ 1143953 w 1182528"/>
                <a:gd name="connsiteY15" fmla="*/ 102203 h 1101852"/>
                <a:gd name="connsiteX16" fmla="*/ 1143381 w 1182528"/>
                <a:gd name="connsiteY16" fmla="*/ 97441 h 1101852"/>
                <a:gd name="connsiteX17" fmla="*/ 1145953 w 1182528"/>
                <a:gd name="connsiteY17" fmla="*/ 92297 h 1101852"/>
                <a:gd name="connsiteX18" fmla="*/ 1146048 w 1182528"/>
                <a:gd name="connsiteY18" fmla="*/ 81058 h 1101852"/>
                <a:gd name="connsiteX19" fmla="*/ 1142905 w 1182528"/>
                <a:gd name="connsiteY19" fmla="*/ 81439 h 1101852"/>
                <a:gd name="connsiteX20" fmla="*/ 1135571 w 1182528"/>
                <a:gd name="connsiteY20" fmla="*/ 74390 h 1101852"/>
                <a:gd name="connsiteX21" fmla="*/ 1133189 w 1182528"/>
                <a:gd name="connsiteY21" fmla="*/ 68294 h 1101852"/>
                <a:gd name="connsiteX22" fmla="*/ 1124140 w 1182528"/>
                <a:gd name="connsiteY22" fmla="*/ 59817 h 1101852"/>
                <a:gd name="connsiteX23" fmla="*/ 1122140 w 1182528"/>
                <a:gd name="connsiteY23" fmla="*/ 56864 h 1101852"/>
                <a:gd name="connsiteX24" fmla="*/ 1119188 w 1182528"/>
                <a:gd name="connsiteY24" fmla="*/ 58865 h 1101852"/>
                <a:gd name="connsiteX25" fmla="*/ 1103662 w 1182528"/>
                <a:gd name="connsiteY25" fmla="*/ 62389 h 1101852"/>
                <a:gd name="connsiteX26" fmla="*/ 1101852 w 1182528"/>
                <a:gd name="connsiteY26" fmla="*/ 61055 h 1101852"/>
                <a:gd name="connsiteX27" fmla="*/ 1101661 w 1182528"/>
                <a:gd name="connsiteY27" fmla="*/ 59436 h 1101852"/>
                <a:gd name="connsiteX28" fmla="*/ 1102805 w 1182528"/>
                <a:gd name="connsiteY28" fmla="*/ 56102 h 1101852"/>
                <a:gd name="connsiteX29" fmla="*/ 1105757 w 1182528"/>
                <a:gd name="connsiteY29" fmla="*/ 54102 h 1101852"/>
                <a:gd name="connsiteX30" fmla="*/ 1105567 w 1182528"/>
                <a:gd name="connsiteY30" fmla="*/ 52578 h 1101852"/>
                <a:gd name="connsiteX31" fmla="*/ 1100042 w 1182528"/>
                <a:gd name="connsiteY31" fmla="*/ 46863 h 1101852"/>
                <a:gd name="connsiteX32" fmla="*/ 1078516 w 1182528"/>
                <a:gd name="connsiteY32" fmla="*/ 41529 h 1101852"/>
                <a:gd name="connsiteX33" fmla="*/ 1078706 w 1182528"/>
                <a:gd name="connsiteY33" fmla="*/ 30290 h 1101852"/>
                <a:gd name="connsiteX34" fmla="*/ 1083564 w 1182528"/>
                <a:gd name="connsiteY34" fmla="*/ 18479 h 1101852"/>
                <a:gd name="connsiteX35" fmla="*/ 1079659 w 1182528"/>
                <a:gd name="connsiteY35" fmla="*/ 12573 h 1101852"/>
                <a:gd name="connsiteX36" fmla="*/ 1072134 w 1182528"/>
                <a:gd name="connsiteY36" fmla="*/ 16764 h 1101852"/>
                <a:gd name="connsiteX37" fmla="*/ 1074896 w 1182528"/>
                <a:gd name="connsiteY37" fmla="*/ 26003 h 1101852"/>
                <a:gd name="connsiteX38" fmla="*/ 1073372 w 1182528"/>
                <a:gd name="connsiteY38" fmla="*/ 39053 h 1101852"/>
                <a:gd name="connsiteX39" fmla="*/ 1061942 w 1182528"/>
                <a:gd name="connsiteY39" fmla="*/ 37243 h 1101852"/>
                <a:gd name="connsiteX40" fmla="*/ 1061276 w 1182528"/>
                <a:gd name="connsiteY40" fmla="*/ 32576 h 1101852"/>
                <a:gd name="connsiteX41" fmla="*/ 1059561 w 1182528"/>
                <a:gd name="connsiteY41" fmla="*/ 31147 h 1101852"/>
                <a:gd name="connsiteX42" fmla="*/ 1054036 w 1182528"/>
                <a:gd name="connsiteY42" fmla="*/ 25432 h 1101852"/>
                <a:gd name="connsiteX43" fmla="*/ 1047464 w 1182528"/>
                <a:gd name="connsiteY43" fmla="*/ 24670 h 1101852"/>
                <a:gd name="connsiteX44" fmla="*/ 1032891 w 1182528"/>
                <a:gd name="connsiteY44" fmla="*/ 36195 h 1101852"/>
                <a:gd name="connsiteX45" fmla="*/ 1031557 w 1182528"/>
                <a:gd name="connsiteY45" fmla="*/ 37910 h 1101852"/>
                <a:gd name="connsiteX46" fmla="*/ 1024223 w 1182528"/>
                <a:gd name="connsiteY46" fmla="*/ 43625 h 1101852"/>
                <a:gd name="connsiteX47" fmla="*/ 1017746 w 1182528"/>
                <a:gd name="connsiteY47" fmla="*/ 42863 h 1101852"/>
                <a:gd name="connsiteX48" fmla="*/ 1009269 w 1182528"/>
                <a:gd name="connsiteY48" fmla="*/ 39148 h 1101852"/>
                <a:gd name="connsiteX49" fmla="*/ 1004126 w 1182528"/>
                <a:gd name="connsiteY49" fmla="*/ 36576 h 1101852"/>
                <a:gd name="connsiteX50" fmla="*/ 998982 w 1182528"/>
                <a:gd name="connsiteY50" fmla="*/ 34100 h 1101852"/>
                <a:gd name="connsiteX51" fmla="*/ 997363 w 1182528"/>
                <a:gd name="connsiteY51" fmla="*/ 21431 h 1101852"/>
                <a:gd name="connsiteX52" fmla="*/ 992410 w 1182528"/>
                <a:gd name="connsiteY52" fmla="*/ 20479 h 1101852"/>
                <a:gd name="connsiteX53" fmla="*/ 985076 w 1182528"/>
                <a:gd name="connsiteY53" fmla="*/ 13335 h 1101852"/>
                <a:gd name="connsiteX54" fmla="*/ 974217 w 1182528"/>
                <a:gd name="connsiteY54" fmla="*/ 16383 h 1101852"/>
                <a:gd name="connsiteX55" fmla="*/ 972884 w 1182528"/>
                <a:gd name="connsiteY55" fmla="*/ 18098 h 1101852"/>
                <a:gd name="connsiteX56" fmla="*/ 966597 w 1182528"/>
                <a:gd name="connsiteY56" fmla="*/ 18955 h 1101852"/>
                <a:gd name="connsiteX57" fmla="*/ 960406 w 1182528"/>
                <a:gd name="connsiteY57" fmla="*/ 8477 h 1101852"/>
                <a:gd name="connsiteX58" fmla="*/ 951357 w 1182528"/>
                <a:gd name="connsiteY58" fmla="*/ 0 h 1101852"/>
                <a:gd name="connsiteX59" fmla="*/ 943451 w 1182528"/>
                <a:gd name="connsiteY59" fmla="*/ 1048 h 1101852"/>
                <a:gd name="connsiteX60" fmla="*/ 939356 w 1182528"/>
                <a:gd name="connsiteY60" fmla="*/ 6382 h 1101852"/>
                <a:gd name="connsiteX61" fmla="*/ 934402 w 1182528"/>
                <a:gd name="connsiteY61" fmla="*/ 18193 h 1101852"/>
                <a:gd name="connsiteX62" fmla="*/ 924497 w 1182528"/>
                <a:gd name="connsiteY62" fmla="*/ 16288 h 1101852"/>
                <a:gd name="connsiteX63" fmla="*/ 925163 w 1182528"/>
                <a:gd name="connsiteY63" fmla="*/ 21050 h 1101852"/>
                <a:gd name="connsiteX64" fmla="*/ 928497 w 1182528"/>
                <a:gd name="connsiteY64" fmla="*/ 22193 h 1101852"/>
                <a:gd name="connsiteX65" fmla="*/ 932498 w 1182528"/>
                <a:gd name="connsiteY65" fmla="*/ 28099 h 1101852"/>
                <a:gd name="connsiteX66" fmla="*/ 931735 w 1182528"/>
                <a:gd name="connsiteY66" fmla="*/ 34576 h 1101852"/>
                <a:gd name="connsiteX67" fmla="*/ 927735 w 1182528"/>
                <a:gd name="connsiteY67" fmla="*/ 41529 h 1101852"/>
                <a:gd name="connsiteX68" fmla="*/ 929735 w 1182528"/>
                <a:gd name="connsiteY68" fmla="*/ 44482 h 1101852"/>
                <a:gd name="connsiteX69" fmla="*/ 919448 w 1182528"/>
                <a:gd name="connsiteY69" fmla="*/ 52197 h 1101852"/>
                <a:gd name="connsiteX70" fmla="*/ 916114 w 1182528"/>
                <a:gd name="connsiteY70" fmla="*/ 51054 h 1101852"/>
                <a:gd name="connsiteX71" fmla="*/ 915352 w 1182528"/>
                <a:gd name="connsiteY71" fmla="*/ 57531 h 1101852"/>
                <a:gd name="connsiteX72" fmla="*/ 920877 w 1182528"/>
                <a:gd name="connsiteY72" fmla="*/ 63246 h 1101852"/>
                <a:gd name="connsiteX73" fmla="*/ 914019 w 1182528"/>
                <a:gd name="connsiteY73" fmla="*/ 72104 h 1101852"/>
                <a:gd name="connsiteX74" fmla="*/ 913067 w 1182528"/>
                <a:gd name="connsiteY74" fmla="*/ 77057 h 1101852"/>
                <a:gd name="connsiteX75" fmla="*/ 916781 w 1182528"/>
                <a:gd name="connsiteY75" fmla="*/ 81439 h 1101852"/>
                <a:gd name="connsiteX76" fmla="*/ 924877 w 1182528"/>
                <a:gd name="connsiteY76" fmla="*/ 82010 h 1101852"/>
                <a:gd name="connsiteX77" fmla="*/ 932212 w 1182528"/>
                <a:gd name="connsiteY77" fmla="*/ 89059 h 1101852"/>
                <a:gd name="connsiteX78" fmla="*/ 935355 w 1182528"/>
                <a:gd name="connsiteY78" fmla="*/ 88678 h 1101852"/>
                <a:gd name="connsiteX79" fmla="*/ 940118 w 1182528"/>
                <a:gd name="connsiteY79" fmla="*/ 88106 h 1101852"/>
                <a:gd name="connsiteX80" fmla="*/ 948976 w 1182528"/>
                <a:gd name="connsiteY80" fmla="*/ 82106 h 1101852"/>
                <a:gd name="connsiteX81" fmla="*/ 956881 w 1182528"/>
                <a:gd name="connsiteY81" fmla="*/ 81153 h 1101852"/>
                <a:gd name="connsiteX82" fmla="*/ 960596 w 1182528"/>
                <a:gd name="connsiteY82" fmla="*/ 85439 h 1101852"/>
                <a:gd name="connsiteX83" fmla="*/ 959453 w 1182528"/>
                <a:gd name="connsiteY83" fmla="*/ 88773 h 1101852"/>
                <a:gd name="connsiteX84" fmla="*/ 960215 w 1182528"/>
                <a:gd name="connsiteY84" fmla="*/ 95155 h 1101852"/>
                <a:gd name="connsiteX85" fmla="*/ 955548 w 1182528"/>
                <a:gd name="connsiteY85" fmla="*/ 95726 h 1101852"/>
                <a:gd name="connsiteX86" fmla="*/ 952119 w 1182528"/>
                <a:gd name="connsiteY86" fmla="*/ 94583 h 1101852"/>
                <a:gd name="connsiteX87" fmla="*/ 942118 w 1182528"/>
                <a:gd name="connsiteY87" fmla="*/ 103822 h 1101852"/>
                <a:gd name="connsiteX88" fmla="*/ 954119 w 1182528"/>
                <a:gd name="connsiteY88" fmla="*/ 110300 h 1101852"/>
                <a:gd name="connsiteX89" fmla="*/ 954405 w 1182528"/>
                <a:gd name="connsiteY89" fmla="*/ 111919 h 1101852"/>
                <a:gd name="connsiteX90" fmla="*/ 950023 w 1182528"/>
                <a:gd name="connsiteY90" fmla="*/ 115634 h 1101852"/>
                <a:gd name="connsiteX91" fmla="*/ 958882 w 1182528"/>
                <a:gd name="connsiteY91" fmla="*/ 122587 h 1101852"/>
                <a:gd name="connsiteX92" fmla="*/ 971740 w 1182528"/>
                <a:gd name="connsiteY92" fmla="*/ 122491 h 1101852"/>
                <a:gd name="connsiteX93" fmla="*/ 975551 w 1182528"/>
                <a:gd name="connsiteY93" fmla="*/ 126873 h 1101852"/>
                <a:gd name="connsiteX94" fmla="*/ 978884 w 1182528"/>
                <a:gd name="connsiteY94" fmla="*/ 128016 h 1101852"/>
                <a:gd name="connsiteX95" fmla="*/ 984218 w 1182528"/>
                <a:gd name="connsiteY95" fmla="*/ 132207 h 1101852"/>
                <a:gd name="connsiteX96" fmla="*/ 988695 w 1182528"/>
                <a:gd name="connsiteY96" fmla="*/ 130016 h 1101852"/>
                <a:gd name="connsiteX97" fmla="*/ 989362 w 1182528"/>
                <a:gd name="connsiteY97" fmla="*/ 134684 h 1101852"/>
                <a:gd name="connsiteX98" fmla="*/ 992696 w 1182528"/>
                <a:gd name="connsiteY98" fmla="*/ 135922 h 1101852"/>
                <a:gd name="connsiteX99" fmla="*/ 1001744 w 1182528"/>
                <a:gd name="connsiteY99" fmla="*/ 131540 h 1101852"/>
                <a:gd name="connsiteX100" fmla="*/ 1007269 w 1182528"/>
                <a:gd name="connsiteY100" fmla="*/ 137255 h 1101852"/>
                <a:gd name="connsiteX101" fmla="*/ 1011079 w 1182528"/>
                <a:gd name="connsiteY101" fmla="*/ 141542 h 1101852"/>
                <a:gd name="connsiteX102" fmla="*/ 1009936 w 1182528"/>
                <a:gd name="connsiteY102" fmla="*/ 144971 h 1101852"/>
                <a:gd name="connsiteX103" fmla="*/ 1010888 w 1182528"/>
                <a:gd name="connsiteY103" fmla="*/ 152781 h 1101852"/>
                <a:gd name="connsiteX104" fmla="*/ 1003173 w 1182528"/>
                <a:gd name="connsiteY104" fmla="*/ 155448 h 1101852"/>
                <a:gd name="connsiteX105" fmla="*/ 1006602 w 1182528"/>
                <a:gd name="connsiteY105" fmla="*/ 156591 h 1101852"/>
                <a:gd name="connsiteX106" fmla="*/ 1005364 w 1182528"/>
                <a:gd name="connsiteY106" fmla="*/ 159925 h 1101852"/>
                <a:gd name="connsiteX107" fmla="*/ 1002030 w 1182528"/>
                <a:gd name="connsiteY107" fmla="*/ 158782 h 1101852"/>
                <a:gd name="connsiteX108" fmla="*/ 1002221 w 1182528"/>
                <a:gd name="connsiteY108" fmla="*/ 160306 h 1101852"/>
                <a:gd name="connsiteX109" fmla="*/ 1000697 w 1182528"/>
                <a:gd name="connsiteY109" fmla="*/ 160496 h 1101852"/>
                <a:gd name="connsiteX110" fmla="*/ 1001839 w 1182528"/>
                <a:gd name="connsiteY110" fmla="*/ 170021 h 1101852"/>
                <a:gd name="connsiteX111" fmla="*/ 1001459 w 1182528"/>
                <a:gd name="connsiteY111" fmla="*/ 179642 h 1101852"/>
                <a:gd name="connsiteX112" fmla="*/ 1000125 w 1182528"/>
                <a:gd name="connsiteY112" fmla="*/ 181451 h 1101852"/>
                <a:gd name="connsiteX113" fmla="*/ 992219 w 1182528"/>
                <a:gd name="connsiteY113" fmla="*/ 182499 h 1101852"/>
                <a:gd name="connsiteX114" fmla="*/ 980599 w 1182528"/>
                <a:gd name="connsiteY114" fmla="*/ 179165 h 1101852"/>
                <a:gd name="connsiteX115" fmla="*/ 979170 w 1182528"/>
                <a:gd name="connsiteY115" fmla="*/ 180880 h 1101852"/>
                <a:gd name="connsiteX116" fmla="*/ 975646 w 1182528"/>
                <a:gd name="connsiteY116" fmla="*/ 178118 h 1101852"/>
                <a:gd name="connsiteX117" fmla="*/ 976408 w 1182528"/>
                <a:gd name="connsiteY117" fmla="*/ 184499 h 1101852"/>
                <a:gd name="connsiteX118" fmla="*/ 973646 w 1182528"/>
                <a:gd name="connsiteY118" fmla="*/ 188024 h 1101852"/>
                <a:gd name="connsiteX119" fmla="*/ 959644 w 1182528"/>
                <a:gd name="connsiteY119" fmla="*/ 191453 h 1101852"/>
                <a:gd name="connsiteX120" fmla="*/ 956310 w 1182528"/>
                <a:gd name="connsiteY120" fmla="*/ 190214 h 1101852"/>
                <a:gd name="connsiteX121" fmla="*/ 944309 w 1182528"/>
                <a:gd name="connsiteY121" fmla="*/ 196596 h 1101852"/>
                <a:gd name="connsiteX122" fmla="*/ 936022 w 1182528"/>
                <a:gd name="connsiteY122" fmla="*/ 194405 h 1101852"/>
                <a:gd name="connsiteX123" fmla="*/ 930307 w 1182528"/>
                <a:gd name="connsiteY123" fmla="*/ 187166 h 1101852"/>
                <a:gd name="connsiteX124" fmla="*/ 920210 w 1182528"/>
                <a:gd name="connsiteY124" fmla="*/ 183642 h 1101852"/>
                <a:gd name="connsiteX125" fmla="*/ 908399 w 1182528"/>
                <a:gd name="connsiteY125" fmla="*/ 191548 h 1101852"/>
                <a:gd name="connsiteX126" fmla="*/ 903827 w 1182528"/>
                <a:gd name="connsiteY126" fmla="*/ 193739 h 1101852"/>
                <a:gd name="connsiteX127" fmla="*/ 895540 w 1182528"/>
                <a:gd name="connsiteY127" fmla="*/ 191548 h 1101852"/>
                <a:gd name="connsiteX128" fmla="*/ 896969 w 1182528"/>
                <a:gd name="connsiteY128" fmla="*/ 202597 h 1101852"/>
                <a:gd name="connsiteX129" fmla="*/ 888302 w 1182528"/>
                <a:gd name="connsiteY129" fmla="*/ 222980 h 1101852"/>
                <a:gd name="connsiteX130" fmla="*/ 884968 w 1182528"/>
                <a:gd name="connsiteY130" fmla="*/ 221742 h 1101852"/>
                <a:gd name="connsiteX131" fmla="*/ 873347 w 1182528"/>
                <a:gd name="connsiteY131" fmla="*/ 231267 h 1101852"/>
                <a:gd name="connsiteX132" fmla="*/ 870204 w 1182528"/>
                <a:gd name="connsiteY132" fmla="*/ 231648 h 1101852"/>
                <a:gd name="connsiteX133" fmla="*/ 865823 w 1182528"/>
                <a:gd name="connsiteY133" fmla="*/ 235458 h 1101852"/>
                <a:gd name="connsiteX134" fmla="*/ 846773 w 1182528"/>
                <a:gd name="connsiteY134" fmla="*/ 236315 h 1101852"/>
                <a:gd name="connsiteX135" fmla="*/ 826198 w 1182528"/>
                <a:gd name="connsiteY135" fmla="*/ 251746 h 1101852"/>
                <a:gd name="connsiteX136" fmla="*/ 821341 w 1182528"/>
                <a:gd name="connsiteY136" fmla="*/ 250793 h 1101852"/>
                <a:gd name="connsiteX137" fmla="*/ 814006 w 1182528"/>
                <a:gd name="connsiteY137" fmla="*/ 256508 h 1101852"/>
                <a:gd name="connsiteX138" fmla="*/ 807720 w 1182528"/>
                <a:gd name="connsiteY138" fmla="*/ 257270 h 1101852"/>
                <a:gd name="connsiteX139" fmla="*/ 803148 w 1182528"/>
                <a:gd name="connsiteY139" fmla="*/ 259461 h 1101852"/>
                <a:gd name="connsiteX140" fmla="*/ 796861 w 1182528"/>
                <a:gd name="connsiteY140" fmla="*/ 260318 h 1101852"/>
                <a:gd name="connsiteX141" fmla="*/ 790003 w 1182528"/>
                <a:gd name="connsiteY141" fmla="*/ 269177 h 1101852"/>
                <a:gd name="connsiteX142" fmla="*/ 788956 w 1182528"/>
                <a:gd name="connsiteY142" fmla="*/ 274130 h 1101852"/>
                <a:gd name="connsiteX143" fmla="*/ 784669 w 1182528"/>
                <a:gd name="connsiteY143" fmla="*/ 277844 h 1101852"/>
                <a:gd name="connsiteX144" fmla="*/ 778383 w 1182528"/>
                <a:gd name="connsiteY144" fmla="*/ 278702 h 1101852"/>
                <a:gd name="connsiteX145" fmla="*/ 774764 w 1182528"/>
                <a:gd name="connsiteY145" fmla="*/ 275939 h 1101852"/>
                <a:gd name="connsiteX146" fmla="*/ 768477 w 1182528"/>
                <a:gd name="connsiteY146" fmla="*/ 276701 h 1101852"/>
                <a:gd name="connsiteX147" fmla="*/ 762190 w 1182528"/>
                <a:gd name="connsiteY147" fmla="*/ 277559 h 1101852"/>
                <a:gd name="connsiteX148" fmla="*/ 758285 w 1182528"/>
                <a:gd name="connsiteY148" fmla="*/ 284417 h 1101852"/>
                <a:gd name="connsiteX149" fmla="*/ 747522 w 1182528"/>
                <a:gd name="connsiteY149" fmla="*/ 276225 h 1101852"/>
                <a:gd name="connsiteX150" fmla="*/ 737902 w 1182528"/>
                <a:gd name="connsiteY150" fmla="*/ 275844 h 1101852"/>
                <a:gd name="connsiteX151" fmla="*/ 737330 w 1182528"/>
                <a:gd name="connsiteY151" fmla="*/ 271082 h 1101852"/>
                <a:gd name="connsiteX152" fmla="*/ 728567 w 1182528"/>
                <a:gd name="connsiteY152" fmla="*/ 265748 h 1101852"/>
                <a:gd name="connsiteX153" fmla="*/ 724281 w 1182528"/>
                <a:gd name="connsiteY153" fmla="*/ 269558 h 1101852"/>
                <a:gd name="connsiteX154" fmla="*/ 715423 w 1182528"/>
                <a:gd name="connsiteY154" fmla="*/ 275463 h 1101852"/>
                <a:gd name="connsiteX155" fmla="*/ 705898 w 1182528"/>
                <a:gd name="connsiteY155" fmla="*/ 276701 h 1101852"/>
                <a:gd name="connsiteX156" fmla="*/ 702945 w 1182528"/>
                <a:gd name="connsiteY156" fmla="*/ 278606 h 1101852"/>
                <a:gd name="connsiteX157" fmla="*/ 703993 w 1182528"/>
                <a:gd name="connsiteY157" fmla="*/ 286512 h 1101852"/>
                <a:gd name="connsiteX158" fmla="*/ 699611 w 1182528"/>
                <a:gd name="connsiteY158" fmla="*/ 290322 h 1101852"/>
                <a:gd name="connsiteX159" fmla="*/ 696944 w 1182528"/>
                <a:gd name="connsiteY159" fmla="*/ 293846 h 1101852"/>
                <a:gd name="connsiteX160" fmla="*/ 692753 w 1182528"/>
                <a:gd name="connsiteY160" fmla="*/ 299180 h 1101852"/>
                <a:gd name="connsiteX161" fmla="*/ 678180 w 1182528"/>
                <a:gd name="connsiteY161" fmla="*/ 297847 h 1101852"/>
                <a:gd name="connsiteX162" fmla="*/ 669512 w 1182528"/>
                <a:gd name="connsiteY162" fmla="*/ 292513 h 1101852"/>
                <a:gd name="connsiteX163" fmla="*/ 665131 w 1182528"/>
                <a:gd name="connsiteY163" fmla="*/ 296323 h 1101852"/>
                <a:gd name="connsiteX164" fmla="*/ 664178 w 1182528"/>
                <a:gd name="connsiteY164" fmla="*/ 301276 h 1101852"/>
                <a:gd name="connsiteX165" fmla="*/ 665988 w 1182528"/>
                <a:gd name="connsiteY165" fmla="*/ 302609 h 1101852"/>
                <a:gd name="connsiteX166" fmla="*/ 661988 w 1182528"/>
                <a:gd name="connsiteY166" fmla="*/ 309563 h 1101852"/>
                <a:gd name="connsiteX167" fmla="*/ 661226 w 1182528"/>
                <a:gd name="connsiteY167" fmla="*/ 316039 h 1101852"/>
                <a:gd name="connsiteX168" fmla="*/ 657130 w 1182528"/>
                <a:gd name="connsiteY168" fmla="*/ 321374 h 1101852"/>
                <a:gd name="connsiteX169" fmla="*/ 659702 w 1182528"/>
                <a:gd name="connsiteY169" fmla="*/ 329089 h 1101852"/>
                <a:gd name="connsiteX170" fmla="*/ 667417 w 1182528"/>
                <a:gd name="connsiteY170" fmla="*/ 339281 h 1101852"/>
                <a:gd name="connsiteX171" fmla="*/ 663893 w 1182528"/>
                <a:gd name="connsiteY171" fmla="*/ 349377 h 1101852"/>
                <a:gd name="connsiteX172" fmla="*/ 655034 w 1182528"/>
                <a:gd name="connsiteY172" fmla="*/ 355378 h 1101852"/>
                <a:gd name="connsiteX173" fmla="*/ 652081 w 1182528"/>
                <a:gd name="connsiteY173" fmla="*/ 357283 h 1101852"/>
                <a:gd name="connsiteX174" fmla="*/ 644747 w 1182528"/>
                <a:gd name="connsiteY174" fmla="*/ 350234 h 1101852"/>
                <a:gd name="connsiteX175" fmla="*/ 639985 w 1182528"/>
                <a:gd name="connsiteY175" fmla="*/ 350806 h 1101852"/>
                <a:gd name="connsiteX176" fmla="*/ 639413 w 1182528"/>
                <a:gd name="connsiteY176" fmla="*/ 358902 h 1101852"/>
                <a:gd name="connsiteX177" fmla="*/ 635889 w 1182528"/>
                <a:gd name="connsiteY177" fmla="*/ 368999 h 1101852"/>
                <a:gd name="connsiteX178" fmla="*/ 628174 w 1182528"/>
                <a:gd name="connsiteY178" fmla="*/ 371570 h 1101852"/>
                <a:gd name="connsiteX179" fmla="*/ 621316 w 1182528"/>
                <a:gd name="connsiteY179" fmla="*/ 367665 h 1101852"/>
                <a:gd name="connsiteX180" fmla="*/ 618554 w 1182528"/>
                <a:gd name="connsiteY180" fmla="*/ 371189 h 1101852"/>
                <a:gd name="connsiteX181" fmla="*/ 615410 w 1182528"/>
                <a:gd name="connsiteY181" fmla="*/ 371570 h 1101852"/>
                <a:gd name="connsiteX182" fmla="*/ 606266 w 1182528"/>
                <a:gd name="connsiteY182" fmla="*/ 363188 h 1101852"/>
                <a:gd name="connsiteX183" fmla="*/ 602742 w 1182528"/>
                <a:gd name="connsiteY183" fmla="*/ 360426 h 1101852"/>
                <a:gd name="connsiteX184" fmla="*/ 596265 w 1182528"/>
                <a:gd name="connsiteY184" fmla="*/ 359569 h 1101852"/>
                <a:gd name="connsiteX185" fmla="*/ 591693 w 1182528"/>
                <a:gd name="connsiteY185" fmla="*/ 361760 h 1101852"/>
                <a:gd name="connsiteX186" fmla="*/ 589502 w 1182528"/>
                <a:gd name="connsiteY186" fmla="*/ 357283 h 1101852"/>
                <a:gd name="connsiteX187" fmla="*/ 586740 w 1182528"/>
                <a:gd name="connsiteY187" fmla="*/ 360807 h 1101852"/>
                <a:gd name="connsiteX188" fmla="*/ 583025 w 1182528"/>
                <a:gd name="connsiteY188" fmla="*/ 356521 h 1101852"/>
                <a:gd name="connsiteX189" fmla="*/ 578644 w 1182528"/>
                <a:gd name="connsiteY189" fmla="*/ 360236 h 1101852"/>
                <a:gd name="connsiteX190" fmla="*/ 573500 w 1182528"/>
                <a:gd name="connsiteY190" fmla="*/ 357664 h 1101852"/>
                <a:gd name="connsiteX191" fmla="*/ 568833 w 1182528"/>
                <a:gd name="connsiteY191" fmla="*/ 358331 h 1101852"/>
                <a:gd name="connsiteX192" fmla="*/ 564642 w 1182528"/>
                <a:gd name="connsiteY192" fmla="*/ 363664 h 1101852"/>
                <a:gd name="connsiteX193" fmla="*/ 561689 w 1182528"/>
                <a:gd name="connsiteY193" fmla="*/ 365570 h 1101852"/>
                <a:gd name="connsiteX194" fmla="*/ 555403 w 1182528"/>
                <a:gd name="connsiteY194" fmla="*/ 366427 h 1101852"/>
                <a:gd name="connsiteX195" fmla="*/ 547878 w 1182528"/>
                <a:gd name="connsiteY195" fmla="*/ 357759 h 1101852"/>
                <a:gd name="connsiteX196" fmla="*/ 539591 w 1182528"/>
                <a:gd name="connsiteY196" fmla="*/ 368427 h 1101852"/>
                <a:gd name="connsiteX197" fmla="*/ 534924 w 1182528"/>
                <a:gd name="connsiteY197" fmla="*/ 368999 h 1101852"/>
                <a:gd name="connsiteX198" fmla="*/ 537305 w 1182528"/>
                <a:gd name="connsiteY198" fmla="*/ 375190 h 1101852"/>
                <a:gd name="connsiteX199" fmla="*/ 534543 w 1182528"/>
                <a:gd name="connsiteY199" fmla="*/ 378714 h 1101852"/>
                <a:gd name="connsiteX200" fmla="*/ 522827 w 1182528"/>
                <a:gd name="connsiteY200" fmla="*/ 375380 h 1101852"/>
                <a:gd name="connsiteX201" fmla="*/ 517112 w 1182528"/>
                <a:gd name="connsiteY201" fmla="*/ 368046 h 1101852"/>
                <a:gd name="connsiteX202" fmla="*/ 504825 w 1182528"/>
                <a:gd name="connsiteY202" fmla="*/ 360045 h 1101852"/>
                <a:gd name="connsiteX203" fmla="*/ 490633 w 1182528"/>
                <a:gd name="connsiteY203" fmla="*/ 361855 h 1101852"/>
                <a:gd name="connsiteX204" fmla="*/ 484727 w 1182528"/>
                <a:gd name="connsiteY204" fmla="*/ 365760 h 1101852"/>
                <a:gd name="connsiteX205" fmla="*/ 477298 w 1182528"/>
                <a:gd name="connsiteY205" fmla="*/ 369951 h 1101852"/>
                <a:gd name="connsiteX206" fmla="*/ 478250 w 1182528"/>
                <a:gd name="connsiteY206" fmla="*/ 377857 h 1101852"/>
                <a:gd name="connsiteX207" fmla="*/ 467201 w 1182528"/>
                <a:gd name="connsiteY207" fmla="*/ 379286 h 1101852"/>
                <a:gd name="connsiteX208" fmla="*/ 461296 w 1182528"/>
                <a:gd name="connsiteY208" fmla="*/ 383191 h 1101852"/>
                <a:gd name="connsiteX209" fmla="*/ 451199 w 1182528"/>
                <a:gd name="connsiteY209" fmla="*/ 379667 h 1101852"/>
                <a:gd name="connsiteX210" fmla="*/ 441389 w 1182528"/>
                <a:gd name="connsiteY210" fmla="*/ 377762 h 1101852"/>
                <a:gd name="connsiteX211" fmla="*/ 438436 w 1182528"/>
                <a:gd name="connsiteY211" fmla="*/ 379762 h 1101852"/>
                <a:gd name="connsiteX212" fmla="*/ 433292 w 1182528"/>
                <a:gd name="connsiteY212" fmla="*/ 377190 h 1101852"/>
                <a:gd name="connsiteX213" fmla="*/ 428530 w 1182528"/>
                <a:gd name="connsiteY213" fmla="*/ 377762 h 1101852"/>
                <a:gd name="connsiteX214" fmla="*/ 422434 w 1182528"/>
                <a:gd name="connsiteY214" fmla="*/ 380143 h 1101852"/>
                <a:gd name="connsiteX215" fmla="*/ 416909 w 1182528"/>
                <a:gd name="connsiteY215" fmla="*/ 387287 h 1101852"/>
                <a:gd name="connsiteX216" fmla="*/ 408813 w 1182528"/>
                <a:gd name="connsiteY216" fmla="*/ 386715 h 1101852"/>
                <a:gd name="connsiteX217" fmla="*/ 409861 w 1182528"/>
                <a:gd name="connsiteY217" fmla="*/ 394621 h 1101852"/>
                <a:gd name="connsiteX218" fmla="*/ 417576 w 1182528"/>
                <a:gd name="connsiteY218" fmla="*/ 404813 h 1101852"/>
                <a:gd name="connsiteX219" fmla="*/ 419767 w 1182528"/>
                <a:gd name="connsiteY219" fmla="*/ 409385 h 1101852"/>
                <a:gd name="connsiteX220" fmla="*/ 420910 w 1182528"/>
                <a:gd name="connsiteY220" fmla="*/ 418814 h 1101852"/>
                <a:gd name="connsiteX221" fmla="*/ 418147 w 1182528"/>
                <a:gd name="connsiteY221" fmla="*/ 422434 h 1101852"/>
                <a:gd name="connsiteX222" fmla="*/ 419005 w 1182528"/>
                <a:gd name="connsiteY222" fmla="*/ 428720 h 1101852"/>
                <a:gd name="connsiteX223" fmla="*/ 417576 w 1182528"/>
                <a:gd name="connsiteY223" fmla="*/ 430435 h 1101852"/>
                <a:gd name="connsiteX224" fmla="*/ 412718 w 1182528"/>
                <a:gd name="connsiteY224" fmla="*/ 429482 h 1101852"/>
                <a:gd name="connsiteX225" fmla="*/ 398716 w 1182528"/>
                <a:gd name="connsiteY225" fmla="*/ 445675 h 1101852"/>
                <a:gd name="connsiteX226" fmla="*/ 401288 w 1182528"/>
                <a:gd name="connsiteY226" fmla="*/ 453390 h 1101852"/>
                <a:gd name="connsiteX227" fmla="*/ 407575 w 1182528"/>
                <a:gd name="connsiteY227" fmla="*/ 452628 h 1101852"/>
                <a:gd name="connsiteX228" fmla="*/ 407194 w 1182528"/>
                <a:gd name="connsiteY228" fmla="*/ 462248 h 1101852"/>
                <a:gd name="connsiteX229" fmla="*/ 402908 w 1182528"/>
                <a:gd name="connsiteY229" fmla="*/ 466058 h 1101852"/>
                <a:gd name="connsiteX230" fmla="*/ 391858 w 1182528"/>
                <a:gd name="connsiteY230" fmla="*/ 467487 h 1101852"/>
                <a:gd name="connsiteX231" fmla="*/ 387477 w 1182528"/>
                <a:gd name="connsiteY231" fmla="*/ 471202 h 1101852"/>
                <a:gd name="connsiteX232" fmla="*/ 386906 w 1182528"/>
                <a:gd name="connsiteY232" fmla="*/ 479298 h 1101852"/>
                <a:gd name="connsiteX233" fmla="*/ 373761 w 1182528"/>
                <a:gd name="connsiteY233" fmla="*/ 489013 h 1101852"/>
                <a:gd name="connsiteX234" fmla="*/ 374142 w 1182528"/>
                <a:gd name="connsiteY234" fmla="*/ 492157 h 1101852"/>
                <a:gd name="connsiteX235" fmla="*/ 369856 w 1182528"/>
                <a:gd name="connsiteY235" fmla="*/ 495872 h 1101852"/>
                <a:gd name="connsiteX236" fmla="*/ 364331 w 1182528"/>
                <a:gd name="connsiteY236" fmla="*/ 503015 h 1101852"/>
                <a:gd name="connsiteX237" fmla="*/ 350329 w 1182528"/>
                <a:gd name="connsiteY237" fmla="*/ 493586 h 1101852"/>
                <a:gd name="connsiteX238" fmla="*/ 342233 w 1182528"/>
                <a:gd name="connsiteY238" fmla="*/ 493014 h 1101852"/>
                <a:gd name="connsiteX239" fmla="*/ 338614 w 1182528"/>
                <a:gd name="connsiteY239" fmla="*/ 490252 h 1101852"/>
                <a:gd name="connsiteX240" fmla="*/ 340233 w 1182528"/>
                <a:gd name="connsiteY240" fmla="*/ 490061 h 1101852"/>
                <a:gd name="connsiteX241" fmla="*/ 338233 w 1182528"/>
                <a:gd name="connsiteY241" fmla="*/ 487109 h 1101852"/>
                <a:gd name="connsiteX242" fmla="*/ 331756 w 1182528"/>
                <a:gd name="connsiteY242" fmla="*/ 486347 h 1101852"/>
                <a:gd name="connsiteX243" fmla="*/ 329946 w 1182528"/>
                <a:gd name="connsiteY243" fmla="*/ 484918 h 1101852"/>
                <a:gd name="connsiteX244" fmla="*/ 330899 w 1182528"/>
                <a:gd name="connsiteY244" fmla="*/ 480060 h 1101852"/>
                <a:gd name="connsiteX245" fmla="*/ 324326 w 1182528"/>
                <a:gd name="connsiteY245" fmla="*/ 466439 h 1101852"/>
                <a:gd name="connsiteX246" fmla="*/ 316611 w 1182528"/>
                <a:gd name="connsiteY246" fmla="*/ 456152 h 1101852"/>
                <a:gd name="connsiteX247" fmla="*/ 316039 w 1182528"/>
                <a:gd name="connsiteY247" fmla="*/ 451485 h 1101852"/>
                <a:gd name="connsiteX248" fmla="*/ 311087 w 1182528"/>
                <a:gd name="connsiteY248" fmla="*/ 450437 h 1101852"/>
                <a:gd name="connsiteX249" fmla="*/ 309753 w 1182528"/>
                <a:gd name="connsiteY249" fmla="*/ 452247 h 1101852"/>
                <a:gd name="connsiteX250" fmla="*/ 305943 w 1182528"/>
                <a:gd name="connsiteY250" fmla="*/ 447961 h 1101852"/>
                <a:gd name="connsiteX251" fmla="*/ 300799 w 1182528"/>
                <a:gd name="connsiteY251" fmla="*/ 445389 h 1101852"/>
                <a:gd name="connsiteX252" fmla="*/ 303657 w 1182528"/>
                <a:gd name="connsiteY252" fmla="*/ 467487 h 1101852"/>
                <a:gd name="connsiteX253" fmla="*/ 305848 w 1182528"/>
                <a:gd name="connsiteY253" fmla="*/ 471964 h 1101852"/>
                <a:gd name="connsiteX254" fmla="*/ 301466 w 1182528"/>
                <a:gd name="connsiteY254" fmla="*/ 475774 h 1101852"/>
                <a:gd name="connsiteX255" fmla="*/ 300514 w 1182528"/>
                <a:gd name="connsiteY255" fmla="*/ 480727 h 1101852"/>
                <a:gd name="connsiteX256" fmla="*/ 297561 w 1182528"/>
                <a:gd name="connsiteY256" fmla="*/ 482632 h 1101852"/>
                <a:gd name="connsiteX257" fmla="*/ 294418 w 1182528"/>
                <a:gd name="connsiteY257" fmla="*/ 483108 h 1101852"/>
                <a:gd name="connsiteX258" fmla="*/ 293084 w 1182528"/>
                <a:gd name="connsiteY258" fmla="*/ 484823 h 1101852"/>
                <a:gd name="connsiteX259" fmla="*/ 277463 w 1182528"/>
                <a:gd name="connsiteY259" fmla="*/ 488442 h 1101852"/>
                <a:gd name="connsiteX260" fmla="*/ 279464 w 1182528"/>
                <a:gd name="connsiteY260" fmla="*/ 491395 h 1101852"/>
                <a:gd name="connsiteX261" fmla="*/ 276701 w 1182528"/>
                <a:gd name="connsiteY261" fmla="*/ 494919 h 1101852"/>
                <a:gd name="connsiteX262" fmla="*/ 268605 w 1182528"/>
                <a:gd name="connsiteY262" fmla="*/ 494348 h 1101852"/>
                <a:gd name="connsiteX263" fmla="*/ 268986 w 1182528"/>
                <a:gd name="connsiteY263" fmla="*/ 497491 h 1101852"/>
                <a:gd name="connsiteX264" fmla="*/ 266224 w 1182528"/>
                <a:gd name="connsiteY264" fmla="*/ 501110 h 1101852"/>
                <a:gd name="connsiteX265" fmla="*/ 267081 w 1182528"/>
                <a:gd name="connsiteY265" fmla="*/ 507397 h 1101852"/>
                <a:gd name="connsiteX266" fmla="*/ 266510 w 1182528"/>
                <a:gd name="connsiteY266" fmla="*/ 515493 h 1101852"/>
                <a:gd name="connsiteX267" fmla="*/ 268224 w 1182528"/>
                <a:gd name="connsiteY267" fmla="*/ 516827 h 1101852"/>
                <a:gd name="connsiteX268" fmla="*/ 267652 w 1182528"/>
                <a:gd name="connsiteY268" fmla="*/ 524923 h 1101852"/>
                <a:gd name="connsiteX269" fmla="*/ 258413 w 1182528"/>
                <a:gd name="connsiteY269" fmla="*/ 527780 h 1101852"/>
                <a:gd name="connsiteX270" fmla="*/ 250317 w 1182528"/>
                <a:gd name="connsiteY270" fmla="*/ 527209 h 1101852"/>
                <a:gd name="connsiteX271" fmla="*/ 246031 w 1182528"/>
                <a:gd name="connsiteY271" fmla="*/ 530924 h 1101852"/>
                <a:gd name="connsiteX272" fmla="*/ 241268 w 1182528"/>
                <a:gd name="connsiteY272" fmla="*/ 518732 h 1101852"/>
                <a:gd name="connsiteX273" fmla="*/ 240792 w 1182528"/>
                <a:gd name="connsiteY273" fmla="*/ 515588 h 1101852"/>
                <a:gd name="connsiteX274" fmla="*/ 237077 w 1182528"/>
                <a:gd name="connsiteY274" fmla="*/ 511207 h 1101852"/>
                <a:gd name="connsiteX275" fmla="*/ 225838 w 1182528"/>
                <a:gd name="connsiteY275" fmla="*/ 511016 h 1101852"/>
                <a:gd name="connsiteX276" fmla="*/ 220504 w 1182528"/>
                <a:gd name="connsiteY276" fmla="*/ 506921 h 1101852"/>
                <a:gd name="connsiteX277" fmla="*/ 214789 w 1182528"/>
                <a:gd name="connsiteY277" fmla="*/ 512445 h 1101852"/>
                <a:gd name="connsiteX278" fmla="*/ 215360 w 1182528"/>
                <a:gd name="connsiteY278" fmla="*/ 517208 h 1101852"/>
                <a:gd name="connsiteX279" fmla="*/ 210883 w 1182528"/>
                <a:gd name="connsiteY279" fmla="*/ 519398 h 1101852"/>
                <a:gd name="connsiteX280" fmla="*/ 206693 w 1182528"/>
                <a:gd name="connsiteY280" fmla="*/ 524732 h 1101852"/>
                <a:gd name="connsiteX281" fmla="*/ 205359 w 1182528"/>
                <a:gd name="connsiteY281" fmla="*/ 526447 h 1101852"/>
                <a:gd name="connsiteX282" fmla="*/ 206312 w 1182528"/>
                <a:gd name="connsiteY282" fmla="*/ 534353 h 1101852"/>
                <a:gd name="connsiteX283" fmla="*/ 197834 w 1182528"/>
                <a:gd name="connsiteY283" fmla="*/ 543497 h 1101852"/>
                <a:gd name="connsiteX284" fmla="*/ 198501 w 1182528"/>
                <a:gd name="connsiteY284" fmla="*/ 548259 h 1101852"/>
                <a:gd name="connsiteX285" fmla="*/ 200692 w 1182528"/>
                <a:gd name="connsiteY285" fmla="*/ 552736 h 1101852"/>
                <a:gd name="connsiteX286" fmla="*/ 201454 w 1182528"/>
                <a:gd name="connsiteY286" fmla="*/ 559022 h 1101852"/>
                <a:gd name="connsiteX287" fmla="*/ 197168 w 1182528"/>
                <a:gd name="connsiteY287" fmla="*/ 562832 h 1101852"/>
                <a:gd name="connsiteX288" fmla="*/ 196120 w 1182528"/>
                <a:gd name="connsiteY288" fmla="*/ 567785 h 1101852"/>
                <a:gd name="connsiteX289" fmla="*/ 188309 w 1182528"/>
                <a:gd name="connsiteY289" fmla="*/ 581597 h 1101852"/>
                <a:gd name="connsiteX290" fmla="*/ 187738 w 1182528"/>
                <a:gd name="connsiteY290" fmla="*/ 589693 h 1101852"/>
                <a:gd name="connsiteX291" fmla="*/ 177260 w 1182528"/>
                <a:gd name="connsiteY291" fmla="*/ 595789 h 1101852"/>
                <a:gd name="connsiteX292" fmla="*/ 178879 w 1182528"/>
                <a:gd name="connsiteY292" fmla="*/ 608457 h 1101852"/>
                <a:gd name="connsiteX293" fmla="*/ 177546 w 1182528"/>
                <a:gd name="connsiteY293" fmla="*/ 610267 h 1101852"/>
                <a:gd name="connsiteX294" fmla="*/ 172593 w 1182528"/>
                <a:gd name="connsiteY294" fmla="*/ 609219 h 1101852"/>
                <a:gd name="connsiteX295" fmla="*/ 164497 w 1182528"/>
                <a:gd name="connsiteY295" fmla="*/ 608648 h 1101852"/>
                <a:gd name="connsiteX296" fmla="*/ 149257 w 1182528"/>
                <a:gd name="connsiteY296" fmla="*/ 602552 h 1101852"/>
                <a:gd name="connsiteX297" fmla="*/ 143351 w 1182528"/>
                <a:gd name="connsiteY297" fmla="*/ 606552 h 1101852"/>
                <a:gd name="connsiteX298" fmla="*/ 138398 w 1182528"/>
                <a:gd name="connsiteY298" fmla="*/ 605600 h 1101852"/>
                <a:gd name="connsiteX299" fmla="*/ 140779 w 1182528"/>
                <a:gd name="connsiteY299" fmla="*/ 598837 h 1101852"/>
                <a:gd name="connsiteX300" fmla="*/ 137255 w 1182528"/>
                <a:gd name="connsiteY300" fmla="*/ 596075 h 1101852"/>
                <a:gd name="connsiteX301" fmla="*/ 134874 w 1182528"/>
                <a:gd name="connsiteY301" fmla="*/ 589979 h 1101852"/>
                <a:gd name="connsiteX302" fmla="*/ 126016 w 1182528"/>
                <a:gd name="connsiteY302" fmla="*/ 595979 h 1101852"/>
                <a:gd name="connsiteX303" fmla="*/ 114586 w 1182528"/>
                <a:gd name="connsiteY303" fmla="*/ 607028 h 1101852"/>
                <a:gd name="connsiteX304" fmla="*/ 106680 w 1182528"/>
                <a:gd name="connsiteY304" fmla="*/ 607981 h 1101852"/>
                <a:gd name="connsiteX305" fmla="*/ 102299 w 1182528"/>
                <a:gd name="connsiteY305" fmla="*/ 611791 h 1101852"/>
                <a:gd name="connsiteX306" fmla="*/ 82772 w 1182528"/>
                <a:gd name="connsiteY306" fmla="*/ 609505 h 1101852"/>
                <a:gd name="connsiteX307" fmla="*/ 79057 w 1182528"/>
                <a:gd name="connsiteY307" fmla="*/ 605123 h 1101852"/>
                <a:gd name="connsiteX308" fmla="*/ 74866 w 1182528"/>
                <a:gd name="connsiteY308" fmla="*/ 597599 h 1101852"/>
                <a:gd name="connsiteX309" fmla="*/ 70295 w 1182528"/>
                <a:gd name="connsiteY309" fmla="*/ 599789 h 1101852"/>
                <a:gd name="connsiteX310" fmla="*/ 65437 w 1182528"/>
                <a:gd name="connsiteY310" fmla="*/ 598837 h 1101852"/>
                <a:gd name="connsiteX311" fmla="*/ 65246 w 1182528"/>
                <a:gd name="connsiteY311" fmla="*/ 610076 h 1101852"/>
                <a:gd name="connsiteX312" fmla="*/ 59150 w 1182528"/>
                <a:gd name="connsiteY312" fmla="*/ 625316 h 1101852"/>
                <a:gd name="connsiteX313" fmla="*/ 56864 w 1182528"/>
                <a:gd name="connsiteY313" fmla="*/ 644843 h 1101852"/>
                <a:gd name="connsiteX314" fmla="*/ 54864 w 1182528"/>
                <a:gd name="connsiteY314" fmla="*/ 654749 h 1101852"/>
                <a:gd name="connsiteX315" fmla="*/ 57626 w 1182528"/>
                <a:gd name="connsiteY315" fmla="*/ 663988 h 1101852"/>
                <a:gd name="connsiteX316" fmla="*/ 54102 w 1182528"/>
                <a:gd name="connsiteY316" fmla="*/ 674084 h 1101852"/>
                <a:gd name="connsiteX317" fmla="*/ 40957 w 1182528"/>
                <a:gd name="connsiteY317" fmla="*/ 683800 h 1101852"/>
                <a:gd name="connsiteX318" fmla="*/ 36766 w 1182528"/>
                <a:gd name="connsiteY318" fmla="*/ 689134 h 1101852"/>
                <a:gd name="connsiteX319" fmla="*/ 33242 w 1182528"/>
                <a:gd name="connsiteY319" fmla="*/ 699135 h 1101852"/>
                <a:gd name="connsiteX320" fmla="*/ 30289 w 1182528"/>
                <a:gd name="connsiteY320" fmla="*/ 701135 h 1101852"/>
                <a:gd name="connsiteX321" fmla="*/ 16574 w 1182528"/>
                <a:gd name="connsiteY321" fmla="*/ 706088 h 1101852"/>
                <a:gd name="connsiteX322" fmla="*/ 5524 w 1182528"/>
                <a:gd name="connsiteY322" fmla="*/ 707517 h 1101852"/>
                <a:gd name="connsiteX323" fmla="*/ 952 w 1182528"/>
                <a:gd name="connsiteY323" fmla="*/ 709708 h 1101852"/>
                <a:gd name="connsiteX324" fmla="*/ 0 w 1182528"/>
                <a:gd name="connsiteY324" fmla="*/ 714661 h 1101852"/>
                <a:gd name="connsiteX325" fmla="*/ 4858 w 1182528"/>
                <a:gd name="connsiteY325" fmla="*/ 715613 h 1101852"/>
                <a:gd name="connsiteX326" fmla="*/ 5143 w 1182528"/>
                <a:gd name="connsiteY326" fmla="*/ 717137 h 1101852"/>
                <a:gd name="connsiteX327" fmla="*/ 16954 w 1182528"/>
                <a:gd name="connsiteY327" fmla="*/ 722090 h 1101852"/>
                <a:gd name="connsiteX328" fmla="*/ 20955 w 1182528"/>
                <a:gd name="connsiteY328" fmla="*/ 727996 h 1101852"/>
                <a:gd name="connsiteX329" fmla="*/ 23336 w 1182528"/>
                <a:gd name="connsiteY329" fmla="*/ 734092 h 1101852"/>
                <a:gd name="connsiteX330" fmla="*/ 34099 w 1182528"/>
                <a:gd name="connsiteY330" fmla="*/ 731139 h 1101852"/>
                <a:gd name="connsiteX331" fmla="*/ 36100 w 1182528"/>
                <a:gd name="connsiteY331" fmla="*/ 734092 h 1101852"/>
                <a:gd name="connsiteX332" fmla="*/ 39052 w 1182528"/>
                <a:gd name="connsiteY332" fmla="*/ 732092 h 1101852"/>
                <a:gd name="connsiteX333" fmla="*/ 37909 w 1182528"/>
                <a:gd name="connsiteY333" fmla="*/ 735425 h 1101852"/>
                <a:gd name="connsiteX334" fmla="*/ 39719 w 1182528"/>
                <a:gd name="connsiteY334" fmla="*/ 736854 h 1101852"/>
                <a:gd name="connsiteX335" fmla="*/ 48577 w 1182528"/>
                <a:gd name="connsiteY335" fmla="*/ 730853 h 1101852"/>
                <a:gd name="connsiteX336" fmla="*/ 56197 w 1182528"/>
                <a:gd name="connsiteY336" fmla="*/ 728282 h 1101852"/>
                <a:gd name="connsiteX337" fmla="*/ 58864 w 1182528"/>
                <a:gd name="connsiteY337" fmla="*/ 735997 h 1101852"/>
                <a:gd name="connsiteX338" fmla="*/ 72676 w 1182528"/>
                <a:gd name="connsiteY338" fmla="*/ 743903 h 1101852"/>
                <a:gd name="connsiteX339" fmla="*/ 73628 w 1182528"/>
                <a:gd name="connsiteY339" fmla="*/ 738950 h 1101852"/>
                <a:gd name="connsiteX340" fmla="*/ 88201 w 1182528"/>
                <a:gd name="connsiteY340" fmla="*/ 740283 h 1101852"/>
                <a:gd name="connsiteX341" fmla="*/ 87820 w 1182528"/>
                <a:gd name="connsiteY341" fmla="*/ 737140 h 1101852"/>
                <a:gd name="connsiteX342" fmla="*/ 97155 w 1182528"/>
                <a:gd name="connsiteY342" fmla="*/ 747141 h 1101852"/>
                <a:gd name="connsiteX343" fmla="*/ 103632 w 1182528"/>
                <a:gd name="connsiteY343" fmla="*/ 747903 h 1101852"/>
                <a:gd name="connsiteX344" fmla="*/ 106585 w 1182528"/>
                <a:gd name="connsiteY344" fmla="*/ 745998 h 1101852"/>
                <a:gd name="connsiteX345" fmla="*/ 108395 w 1182528"/>
                <a:gd name="connsiteY345" fmla="*/ 747332 h 1101852"/>
                <a:gd name="connsiteX346" fmla="*/ 116300 w 1182528"/>
                <a:gd name="connsiteY346" fmla="*/ 759143 h 1101852"/>
                <a:gd name="connsiteX347" fmla="*/ 116491 w 1182528"/>
                <a:gd name="connsiteY347" fmla="*/ 760762 h 1101852"/>
                <a:gd name="connsiteX348" fmla="*/ 110204 w 1182528"/>
                <a:gd name="connsiteY348" fmla="*/ 761524 h 1101852"/>
                <a:gd name="connsiteX349" fmla="*/ 108204 w 1182528"/>
                <a:gd name="connsiteY349" fmla="*/ 771430 h 1101852"/>
                <a:gd name="connsiteX350" fmla="*/ 103727 w 1182528"/>
                <a:gd name="connsiteY350" fmla="*/ 773621 h 1101852"/>
                <a:gd name="connsiteX351" fmla="*/ 104299 w 1182528"/>
                <a:gd name="connsiteY351" fmla="*/ 778288 h 1101852"/>
                <a:gd name="connsiteX352" fmla="*/ 104299 w 1182528"/>
                <a:gd name="connsiteY352" fmla="*/ 778288 h 1101852"/>
                <a:gd name="connsiteX353" fmla="*/ 107251 w 1182528"/>
                <a:gd name="connsiteY353" fmla="*/ 776288 h 1101852"/>
                <a:gd name="connsiteX354" fmla="*/ 111062 w 1182528"/>
                <a:gd name="connsiteY354" fmla="*/ 780669 h 1101852"/>
                <a:gd name="connsiteX355" fmla="*/ 115729 w 1182528"/>
                <a:gd name="connsiteY355" fmla="*/ 780098 h 1101852"/>
                <a:gd name="connsiteX356" fmla="*/ 117539 w 1182528"/>
                <a:gd name="connsiteY356" fmla="*/ 781431 h 1101852"/>
                <a:gd name="connsiteX357" fmla="*/ 116205 w 1182528"/>
                <a:gd name="connsiteY357" fmla="*/ 783241 h 1101852"/>
                <a:gd name="connsiteX358" fmla="*/ 121253 w 1182528"/>
                <a:gd name="connsiteY358" fmla="*/ 785813 h 1101852"/>
                <a:gd name="connsiteX359" fmla="*/ 122682 w 1182528"/>
                <a:gd name="connsiteY359" fmla="*/ 784003 h 1101852"/>
                <a:gd name="connsiteX360" fmla="*/ 125825 w 1182528"/>
                <a:gd name="connsiteY360" fmla="*/ 783622 h 1101852"/>
                <a:gd name="connsiteX361" fmla="*/ 123634 w 1182528"/>
                <a:gd name="connsiteY361" fmla="*/ 779050 h 1101852"/>
                <a:gd name="connsiteX362" fmla="*/ 125254 w 1182528"/>
                <a:gd name="connsiteY362" fmla="*/ 778859 h 1101852"/>
                <a:gd name="connsiteX363" fmla="*/ 131159 w 1182528"/>
                <a:gd name="connsiteY363" fmla="*/ 774859 h 1101852"/>
                <a:gd name="connsiteX364" fmla="*/ 136112 w 1182528"/>
                <a:gd name="connsiteY364" fmla="*/ 775907 h 1101852"/>
                <a:gd name="connsiteX365" fmla="*/ 144208 w 1182528"/>
                <a:gd name="connsiteY365" fmla="*/ 776478 h 1101852"/>
                <a:gd name="connsiteX366" fmla="*/ 146304 w 1182528"/>
                <a:gd name="connsiteY366" fmla="*/ 780955 h 1101852"/>
                <a:gd name="connsiteX367" fmla="*/ 147923 w 1182528"/>
                <a:gd name="connsiteY367" fmla="*/ 780764 h 1101852"/>
                <a:gd name="connsiteX368" fmla="*/ 149733 w 1182528"/>
                <a:gd name="connsiteY368" fmla="*/ 782193 h 1101852"/>
                <a:gd name="connsiteX369" fmla="*/ 154400 w 1182528"/>
                <a:gd name="connsiteY369" fmla="*/ 781526 h 1101852"/>
                <a:gd name="connsiteX370" fmla="*/ 157829 w 1182528"/>
                <a:gd name="connsiteY370" fmla="*/ 782765 h 1101852"/>
                <a:gd name="connsiteX371" fmla="*/ 167259 w 1182528"/>
                <a:gd name="connsiteY371" fmla="*/ 781526 h 1101852"/>
                <a:gd name="connsiteX372" fmla="*/ 167830 w 1182528"/>
                <a:gd name="connsiteY372" fmla="*/ 786289 h 1101852"/>
                <a:gd name="connsiteX373" fmla="*/ 170402 w 1182528"/>
                <a:gd name="connsiteY373" fmla="*/ 781145 h 1101852"/>
                <a:gd name="connsiteX374" fmla="*/ 175355 w 1182528"/>
                <a:gd name="connsiteY374" fmla="*/ 782098 h 1101852"/>
                <a:gd name="connsiteX375" fmla="*/ 179451 w 1182528"/>
                <a:gd name="connsiteY375" fmla="*/ 776764 h 1101852"/>
                <a:gd name="connsiteX376" fmla="*/ 185642 w 1182528"/>
                <a:gd name="connsiteY376" fmla="*/ 774383 h 1101852"/>
                <a:gd name="connsiteX377" fmla="*/ 185833 w 1182528"/>
                <a:gd name="connsiteY377" fmla="*/ 776002 h 1101852"/>
                <a:gd name="connsiteX378" fmla="*/ 183261 w 1182528"/>
                <a:gd name="connsiteY378" fmla="*/ 781050 h 1101852"/>
                <a:gd name="connsiteX379" fmla="*/ 193548 w 1182528"/>
                <a:gd name="connsiteY379" fmla="*/ 786194 h 1101852"/>
                <a:gd name="connsiteX380" fmla="*/ 196691 w 1182528"/>
                <a:gd name="connsiteY380" fmla="*/ 798576 h 1101852"/>
                <a:gd name="connsiteX381" fmla="*/ 203645 w 1182528"/>
                <a:gd name="connsiteY381" fmla="*/ 802576 h 1101852"/>
                <a:gd name="connsiteX382" fmla="*/ 200882 w 1182528"/>
                <a:gd name="connsiteY382" fmla="*/ 806101 h 1101852"/>
                <a:gd name="connsiteX383" fmla="*/ 203454 w 1182528"/>
                <a:gd name="connsiteY383" fmla="*/ 813816 h 1101852"/>
                <a:gd name="connsiteX384" fmla="*/ 202025 w 1182528"/>
                <a:gd name="connsiteY384" fmla="*/ 815531 h 1101852"/>
                <a:gd name="connsiteX385" fmla="*/ 202501 w 1182528"/>
                <a:gd name="connsiteY385" fmla="*/ 818769 h 1101852"/>
                <a:gd name="connsiteX386" fmla="*/ 197929 w 1182528"/>
                <a:gd name="connsiteY386" fmla="*/ 820865 h 1101852"/>
                <a:gd name="connsiteX387" fmla="*/ 194977 w 1182528"/>
                <a:gd name="connsiteY387" fmla="*/ 822865 h 1101852"/>
                <a:gd name="connsiteX388" fmla="*/ 194977 w 1182528"/>
                <a:gd name="connsiteY388" fmla="*/ 822865 h 1101852"/>
                <a:gd name="connsiteX389" fmla="*/ 192214 w 1182528"/>
                <a:gd name="connsiteY389" fmla="*/ 826484 h 1101852"/>
                <a:gd name="connsiteX390" fmla="*/ 192595 w 1182528"/>
                <a:gd name="connsiteY390" fmla="*/ 829628 h 1101852"/>
                <a:gd name="connsiteX391" fmla="*/ 194596 w 1182528"/>
                <a:gd name="connsiteY391" fmla="*/ 832580 h 1101852"/>
                <a:gd name="connsiteX392" fmla="*/ 193453 w 1182528"/>
                <a:gd name="connsiteY392" fmla="*/ 835914 h 1101852"/>
                <a:gd name="connsiteX393" fmla="*/ 196596 w 1182528"/>
                <a:gd name="connsiteY393" fmla="*/ 835533 h 1101852"/>
                <a:gd name="connsiteX394" fmla="*/ 195643 w 1182528"/>
                <a:gd name="connsiteY394" fmla="*/ 840486 h 1101852"/>
                <a:gd name="connsiteX395" fmla="*/ 200597 w 1182528"/>
                <a:gd name="connsiteY395" fmla="*/ 841439 h 1101852"/>
                <a:gd name="connsiteX396" fmla="*/ 199739 w 1182528"/>
                <a:gd name="connsiteY396" fmla="*/ 847916 h 1101852"/>
                <a:gd name="connsiteX397" fmla="*/ 198215 w 1182528"/>
                <a:gd name="connsiteY397" fmla="*/ 848106 h 1101852"/>
                <a:gd name="connsiteX398" fmla="*/ 193643 w 1182528"/>
                <a:gd name="connsiteY398" fmla="*/ 850297 h 1101852"/>
                <a:gd name="connsiteX399" fmla="*/ 194310 w 1182528"/>
                <a:gd name="connsiteY399" fmla="*/ 855059 h 1101852"/>
                <a:gd name="connsiteX400" fmla="*/ 195834 w 1182528"/>
                <a:gd name="connsiteY400" fmla="*/ 854869 h 1101852"/>
                <a:gd name="connsiteX401" fmla="*/ 193262 w 1182528"/>
                <a:gd name="connsiteY401" fmla="*/ 860012 h 1101852"/>
                <a:gd name="connsiteX402" fmla="*/ 190119 w 1182528"/>
                <a:gd name="connsiteY402" fmla="*/ 860393 h 1101852"/>
                <a:gd name="connsiteX403" fmla="*/ 191929 w 1182528"/>
                <a:gd name="connsiteY403" fmla="*/ 861727 h 1101852"/>
                <a:gd name="connsiteX404" fmla="*/ 189928 w 1182528"/>
                <a:gd name="connsiteY404" fmla="*/ 871633 h 1101852"/>
                <a:gd name="connsiteX405" fmla="*/ 186785 w 1182528"/>
                <a:gd name="connsiteY405" fmla="*/ 872014 h 1101852"/>
                <a:gd name="connsiteX406" fmla="*/ 186976 w 1182528"/>
                <a:gd name="connsiteY406" fmla="*/ 873633 h 1101852"/>
                <a:gd name="connsiteX407" fmla="*/ 190214 w 1182528"/>
                <a:gd name="connsiteY407" fmla="*/ 873252 h 1101852"/>
                <a:gd name="connsiteX408" fmla="*/ 200025 w 1182528"/>
                <a:gd name="connsiteY408" fmla="*/ 875157 h 1101852"/>
                <a:gd name="connsiteX409" fmla="*/ 197453 w 1182528"/>
                <a:gd name="connsiteY409" fmla="*/ 880301 h 1101852"/>
                <a:gd name="connsiteX410" fmla="*/ 196501 w 1182528"/>
                <a:gd name="connsiteY410" fmla="*/ 885253 h 1101852"/>
                <a:gd name="connsiteX411" fmla="*/ 199835 w 1182528"/>
                <a:gd name="connsiteY411" fmla="*/ 886397 h 1101852"/>
                <a:gd name="connsiteX412" fmla="*/ 201073 w 1182528"/>
                <a:gd name="connsiteY412" fmla="*/ 895922 h 1101852"/>
                <a:gd name="connsiteX413" fmla="*/ 202120 w 1182528"/>
                <a:gd name="connsiteY413" fmla="*/ 903732 h 1101852"/>
                <a:gd name="connsiteX414" fmla="*/ 199168 w 1182528"/>
                <a:gd name="connsiteY414" fmla="*/ 905732 h 1101852"/>
                <a:gd name="connsiteX415" fmla="*/ 194405 w 1182528"/>
                <a:gd name="connsiteY415" fmla="*/ 906399 h 1101852"/>
                <a:gd name="connsiteX416" fmla="*/ 191643 w 1182528"/>
                <a:gd name="connsiteY416" fmla="*/ 909923 h 1101852"/>
                <a:gd name="connsiteX417" fmla="*/ 193453 w 1182528"/>
                <a:gd name="connsiteY417" fmla="*/ 911257 h 1101852"/>
                <a:gd name="connsiteX418" fmla="*/ 192024 w 1182528"/>
                <a:gd name="connsiteY418" fmla="*/ 913067 h 1101852"/>
                <a:gd name="connsiteX419" fmla="*/ 196405 w 1182528"/>
                <a:gd name="connsiteY419" fmla="*/ 922115 h 1101852"/>
                <a:gd name="connsiteX420" fmla="*/ 199739 w 1182528"/>
                <a:gd name="connsiteY420" fmla="*/ 923353 h 1101852"/>
                <a:gd name="connsiteX421" fmla="*/ 205835 w 1182528"/>
                <a:gd name="connsiteY421" fmla="*/ 920972 h 1101852"/>
                <a:gd name="connsiteX422" fmla="*/ 207454 w 1182528"/>
                <a:gd name="connsiteY422" fmla="*/ 920687 h 1101852"/>
                <a:gd name="connsiteX423" fmla="*/ 207835 w 1182528"/>
                <a:gd name="connsiteY423" fmla="*/ 923925 h 1101852"/>
                <a:gd name="connsiteX424" fmla="*/ 214598 w 1182528"/>
                <a:gd name="connsiteY424" fmla="*/ 926211 h 1101852"/>
                <a:gd name="connsiteX425" fmla="*/ 213170 w 1182528"/>
                <a:gd name="connsiteY425" fmla="*/ 928021 h 1101852"/>
                <a:gd name="connsiteX426" fmla="*/ 210217 w 1182528"/>
                <a:gd name="connsiteY426" fmla="*/ 930021 h 1101852"/>
                <a:gd name="connsiteX427" fmla="*/ 212217 w 1182528"/>
                <a:gd name="connsiteY427" fmla="*/ 932974 h 1101852"/>
                <a:gd name="connsiteX428" fmla="*/ 210883 w 1182528"/>
                <a:gd name="connsiteY428" fmla="*/ 934688 h 1101852"/>
                <a:gd name="connsiteX429" fmla="*/ 209455 w 1182528"/>
                <a:gd name="connsiteY429" fmla="*/ 936498 h 1101852"/>
                <a:gd name="connsiteX430" fmla="*/ 210312 w 1182528"/>
                <a:gd name="connsiteY430" fmla="*/ 942880 h 1101852"/>
                <a:gd name="connsiteX431" fmla="*/ 203930 w 1182528"/>
                <a:gd name="connsiteY431" fmla="*/ 943642 h 1101852"/>
                <a:gd name="connsiteX432" fmla="*/ 204787 w 1182528"/>
                <a:gd name="connsiteY432" fmla="*/ 949928 h 1101852"/>
                <a:gd name="connsiteX433" fmla="*/ 213074 w 1182528"/>
                <a:gd name="connsiteY433" fmla="*/ 952119 h 1101852"/>
                <a:gd name="connsiteX434" fmla="*/ 216218 w 1182528"/>
                <a:gd name="connsiteY434" fmla="*/ 951738 h 1101852"/>
                <a:gd name="connsiteX435" fmla="*/ 216408 w 1182528"/>
                <a:gd name="connsiteY435" fmla="*/ 953262 h 1101852"/>
                <a:gd name="connsiteX436" fmla="*/ 212312 w 1182528"/>
                <a:gd name="connsiteY436" fmla="*/ 958596 h 1101852"/>
                <a:gd name="connsiteX437" fmla="*/ 215646 w 1182528"/>
                <a:gd name="connsiteY437" fmla="*/ 959834 h 1101852"/>
                <a:gd name="connsiteX438" fmla="*/ 217170 w 1182528"/>
                <a:gd name="connsiteY438" fmla="*/ 959549 h 1101852"/>
                <a:gd name="connsiteX439" fmla="*/ 224314 w 1182528"/>
                <a:gd name="connsiteY439" fmla="*/ 965073 h 1101852"/>
                <a:gd name="connsiteX440" fmla="*/ 221742 w 1182528"/>
                <a:gd name="connsiteY440" fmla="*/ 970217 h 1101852"/>
                <a:gd name="connsiteX441" fmla="*/ 221742 w 1182528"/>
                <a:gd name="connsiteY441" fmla="*/ 970217 h 1101852"/>
                <a:gd name="connsiteX442" fmla="*/ 227362 w 1182528"/>
                <a:gd name="connsiteY442" fmla="*/ 975932 h 1101852"/>
                <a:gd name="connsiteX443" fmla="*/ 228314 w 1182528"/>
                <a:gd name="connsiteY443" fmla="*/ 983837 h 1101852"/>
                <a:gd name="connsiteX444" fmla="*/ 230124 w 1182528"/>
                <a:gd name="connsiteY444" fmla="*/ 985171 h 1101852"/>
                <a:gd name="connsiteX445" fmla="*/ 229362 w 1182528"/>
                <a:gd name="connsiteY445" fmla="*/ 991743 h 1101852"/>
                <a:gd name="connsiteX446" fmla="*/ 226600 w 1182528"/>
                <a:gd name="connsiteY446" fmla="*/ 995267 h 1101852"/>
                <a:gd name="connsiteX447" fmla="*/ 236220 w 1182528"/>
                <a:gd name="connsiteY447" fmla="*/ 995648 h 1101852"/>
                <a:gd name="connsiteX448" fmla="*/ 233077 w 1182528"/>
                <a:gd name="connsiteY448" fmla="*/ 1008888 h 1101852"/>
                <a:gd name="connsiteX449" fmla="*/ 224790 w 1182528"/>
                <a:gd name="connsiteY449" fmla="*/ 1006697 h 1101852"/>
                <a:gd name="connsiteX450" fmla="*/ 220313 w 1182528"/>
                <a:gd name="connsiteY450" fmla="*/ 1008888 h 1101852"/>
                <a:gd name="connsiteX451" fmla="*/ 221837 w 1182528"/>
                <a:gd name="connsiteY451" fmla="*/ 1008698 h 1101852"/>
                <a:gd name="connsiteX452" fmla="*/ 220885 w 1182528"/>
                <a:gd name="connsiteY452" fmla="*/ 1013651 h 1101852"/>
                <a:gd name="connsiteX453" fmla="*/ 229362 w 1182528"/>
                <a:gd name="connsiteY453" fmla="*/ 1017365 h 1101852"/>
                <a:gd name="connsiteX454" fmla="*/ 229743 w 1182528"/>
                <a:gd name="connsiteY454" fmla="*/ 1020509 h 1101852"/>
                <a:gd name="connsiteX455" fmla="*/ 228219 w 1182528"/>
                <a:gd name="connsiteY455" fmla="*/ 1020699 h 1101852"/>
                <a:gd name="connsiteX456" fmla="*/ 233362 w 1182528"/>
                <a:gd name="connsiteY456" fmla="*/ 1023271 h 1101852"/>
                <a:gd name="connsiteX457" fmla="*/ 230410 w 1182528"/>
                <a:gd name="connsiteY457" fmla="*/ 1025271 h 1101852"/>
                <a:gd name="connsiteX458" fmla="*/ 232791 w 1182528"/>
                <a:gd name="connsiteY458" fmla="*/ 1031367 h 1101852"/>
                <a:gd name="connsiteX459" fmla="*/ 229648 w 1182528"/>
                <a:gd name="connsiteY459" fmla="*/ 1031748 h 1101852"/>
                <a:gd name="connsiteX460" fmla="*/ 220885 w 1182528"/>
                <a:gd name="connsiteY460" fmla="*/ 1026509 h 1101852"/>
                <a:gd name="connsiteX461" fmla="*/ 223837 w 1182528"/>
                <a:gd name="connsiteY461" fmla="*/ 1024509 h 1101852"/>
                <a:gd name="connsiteX462" fmla="*/ 220504 w 1182528"/>
                <a:gd name="connsiteY462" fmla="*/ 1023271 h 1101852"/>
                <a:gd name="connsiteX463" fmla="*/ 219170 w 1182528"/>
                <a:gd name="connsiteY463" fmla="*/ 1025081 h 1101852"/>
                <a:gd name="connsiteX464" fmla="*/ 217360 w 1182528"/>
                <a:gd name="connsiteY464" fmla="*/ 1023747 h 1101852"/>
                <a:gd name="connsiteX465" fmla="*/ 217551 w 1182528"/>
                <a:gd name="connsiteY465" fmla="*/ 1025271 h 1101852"/>
                <a:gd name="connsiteX466" fmla="*/ 209074 w 1182528"/>
                <a:gd name="connsiteY466" fmla="*/ 1021556 h 1101852"/>
                <a:gd name="connsiteX467" fmla="*/ 207931 w 1182528"/>
                <a:gd name="connsiteY467" fmla="*/ 1024890 h 1101852"/>
                <a:gd name="connsiteX468" fmla="*/ 207740 w 1182528"/>
                <a:gd name="connsiteY468" fmla="*/ 1023366 h 1101852"/>
                <a:gd name="connsiteX469" fmla="*/ 200025 w 1182528"/>
                <a:gd name="connsiteY469" fmla="*/ 1025938 h 1101852"/>
                <a:gd name="connsiteX470" fmla="*/ 198787 w 1182528"/>
                <a:gd name="connsiteY470" fmla="*/ 1029272 h 1101852"/>
                <a:gd name="connsiteX471" fmla="*/ 202216 w 1182528"/>
                <a:gd name="connsiteY471" fmla="*/ 1030415 h 1101852"/>
                <a:gd name="connsiteX472" fmla="*/ 200977 w 1182528"/>
                <a:gd name="connsiteY472" fmla="*/ 1033844 h 1101852"/>
                <a:gd name="connsiteX473" fmla="*/ 193072 w 1182528"/>
                <a:gd name="connsiteY473" fmla="*/ 1034796 h 1101852"/>
                <a:gd name="connsiteX474" fmla="*/ 196691 w 1182528"/>
                <a:gd name="connsiteY474" fmla="*/ 1037558 h 1101852"/>
                <a:gd name="connsiteX475" fmla="*/ 199835 w 1182528"/>
                <a:gd name="connsiteY475" fmla="*/ 1037177 h 1101852"/>
                <a:gd name="connsiteX476" fmla="*/ 205549 w 1182528"/>
                <a:gd name="connsiteY476" fmla="*/ 1044416 h 1101852"/>
                <a:gd name="connsiteX477" fmla="*/ 208121 w 1182528"/>
                <a:gd name="connsiteY477" fmla="*/ 1039368 h 1101852"/>
                <a:gd name="connsiteX478" fmla="*/ 213455 w 1182528"/>
                <a:gd name="connsiteY478" fmla="*/ 1043464 h 1101852"/>
                <a:gd name="connsiteX479" fmla="*/ 221170 w 1182528"/>
                <a:gd name="connsiteY479" fmla="*/ 1040892 h 1101852"/>
                <a:gd name="connsiteX480" fmla="*/ 226124 w 1182528"/>
                <a:gd name="connsiteY480" fmla="*/ 1041845 h 1101852"/>
                <a:gd name="connsiteX481" fmla="*/ 228505 w 1182528"/>
                <a:gd name="connsiteY481" fmla="*/ 1047941 h 1101852"/>
                <a:gd name="connsiteX482" fmla="*/ 228695 w 1182528"/>
                <a:gd name="connsiteY482" fmla="*/ 1049560 h 1101852"/>
                <a:gd name="connsiteX483" fmla="*/ 235553 w 1182528"/>
                <a:gd name="connsiteY483" fmla="*/ 1053465 h 1101852"/>
                <a:gd name="connsiteX484" fmla="*/ 231076 w 1182528"/>
                <a:gd name="connsiteY484" fmla="*/ 1055656 h 1101852"/>
                <a:gd name="connsiteX485" fmla="*/ 229648 w 1182528"/>
                <a:gd name="connsiteY485" fmla="*/ 1057466 h 1101852"/>
                <a:gd name="connsiteX486" fmla="*/ 237553 w 1182528"/>
                <a:gd name="connsiteY486" fmla="*/ 1056418 h 1101852"/>
                <a:gd name="connsiteX487" fmla="*/ 239363 w 1182528"/>
                <a:gd name="connsiteY487" fmla="*/ 1057847 h 1101852"/>
                <a:gd name="connsiteX488" fmla="*/ 240983 w 1182528"/>
                <a:gd name="connsiteY488" fmla="*/ 1070420 h 1101852"/>
                <a:gd name="connsiteX489" fmla="*/ 239744 w 1182528"/>
                <a:gd name="connsiteY489" fmla="*/ 1073753 h 1101852"/>
                <a:gd name="connsiteX490" fmla="*/ 243173 w 1182528"/>
                <a:gd name="connsiteY490" fmla="*/ 1074992 h 1101852"/>
                <a:gd name="connsiteX491" fmla="*/ 246126 w 1182528"/>
                <a:gd name="connsiteY491" fmla="*/ 1072991 h 1101852"/>
                <a:gd name="connsiteX492" fmla="*/ 259080 w 1182528"/>
                <a:gd name="connsiteY492" fmla="*/ 1074515 h 1101852"/>
                <a:gd name="connsiteX493" fmla="*/ 258699 w 1182528"/>
                <a:gd name="connsiteY493" fmla="*/ 1071372 h 1101852"/>
                <a:gd name="connsiteX494" fmla="*/ 260318 w 1182528"/>
                <a:gd name="connsiteY494" fmla="*/ 1071182 h 1101852"/>
                <a:gd name="connsiteX495" fmla="*/ 261461 w 1182528"/>
                <a:gd name="connsiteY495" fmla="*/ 1080611 h 1101852"/>
                <a:gd name="connsiteX496" fmla="*/ 259366 w 1182528"/>
                <a:gd name="connsiteY496" fmla="*/ 1088898 h 1101852"/>
                <a:gd name="connsiteX497" fmla="*/ 265843 w 1182528"/>
                <a:gd name="connsiteY497" fmla="*/ 1089660 h 1101852"/>
                <a:gd name="connsiteX498" fmla="*/ 268414 w 1182528"/>
                <a:gd name="connsiteY498" fmla="*/ 1084517 h 1101852"/>
                <a:gd name="connsiteX499" fmla="*/ 271558 w 1182528"/>
                <a:gd name="connsiteY499" fmla="*/ 1084136 h 1101852"/>
                <a:gd name="connsiteX500" fmla="*/ 272510 w 1182528"/>
                <a:gd name="connsiteY500" fmla="*/ 1079183 h 1101852"/>
                <a:gd name="connsiteX501" fmla="*/ 273749 w 1182528"/>
                <a:gd name="connsiteY501" fmla="*/ 1075849 h 1101852"/>
                <a:gd name="connsiteX502" fmla="*/ 276892 w 1182528"/>
                <a:gd name="connsiteY502" fmla="*/ 1075468 h 1101852"/>
                <a:gd name="connsiteX503" fmla="*/ 281178 w 1182528"/>
                <a:gd name="connsiteY503" fmla="*/ 1071753 h 1101852"/>
                <a:gd name="connsiteX504" fmla="*/ 283178 w 1182528"/>
                <a:gd name="connsiteY504" fmla="*/ 1074706 h 1101852"/>
                <a:gd name="connsiteX505" fmla="*/ 280035 w 1182528"/>
                <a:gd name="connsiteY505" fmla="*/ 1075087 h 1101852"/>
                <a:gd name="connsiteX506" fmla="*/ 278701 w 1182528"/>
                <a:gd name="connsiteY506" fmla="*/ 1076801 h 1101852"/>
                <a:gd name="connsiteX507" fmla="*/ 283750 w 1182528"/>
                <a:gd name="connsiteY507" fmla="*/ 1079373 h 1101852"/>
                <a:gd name="connsiteX508" fmla="*/ 282988 w 1182528"/>
                <a:gd name="connsiteY508" fmla="*/ 1085945 h 1101852"/>
                <a:gd name="connsiteX509" fmla="*/ 286226 w 1182528"/>
                <a:gd name="connsiteY509" fmla="*/ 1085469 h 1101852"/>
                <a:gd name="connsiteX510" fmla="*/ 287941 w 1182528"/>
                <a:gd name="connsiteY510" fmla="*/ 1086898 h 1101852"/>
                <a:gd name="connsiteX511" fmla="*/ 291084 w 1182528"/>
                <a:gd name="connsiteY511" fmla="*/ 1086517 h 1101852"/>
                <a:gd name="connsiteX512" fmla="*/ 291179 w 1182528"/>
                <a:gd name="connsiteY512" fmla="*/ 1099280 h 1101852"/>
                <a:gd name="connsiteX513" fmla="*/ 296323 w 1182528"/>
                <a:gd name="connsiteY513" fmla="*/ 1101852 h 1101852"/>
                <a:gd name="connsiteX514" fmla="*/ 302228 w 1182528"/>
                <a:gd name="connsiteY514" fmla="*/ 1097852 h 1101852"/>
                <a:gd name="connsiteX515" fmla="*/ 305372 w 1182528"/>
                <a:gd name="connsiteY515" fmla="*/ 1097471 h 1101852"/>
                <a:gd name="connsiteX516" fmla="*/ 308705 w 1182528"/>
                <a:gd name="connsiteY516" fmla="*/ 1098709 h 1101852"/>
                <a:gd name="connsiteX517" fmla="*/ 308515 w 1182528"/>
                <a:gd name="connsiteY517" fmla="*/ 1097090 h 1101852"/>
                <a:gd name="connsiteX518" fmla="*/ 314611 w 1182528"/>
                <a:gd name="connsiteY518" fmla="*/ 1094708 h 1101852"/>
                <a:gd name="connsiteX519" fmla="*/ 315373 w 1182528"/>
                <a:gd name="connsiteY519" fmla="*/ 1088231 h 1101852"/>
                <a:gd name="connsiteX520" fmla="*/ 317183 w 1182528"/>
                <a:gd name="connsiteY520" fmla="*/ 1089565 h 1101852"/>
                <a:gd name="connsiteX521" fmla="*/ 317945 w 1182528"/>
                <a:gd name="connsiteY521" fmla="*/ 1083088 h 1101852"/>
                <a:gd name="connsiteX522" fmla="*/ 315944 w 1182528"/>
                <a:gd name="connsiteY522" fmla="*/ 1080135 h 1101852"/>
                <a:gd name="connsiteX523" fmla="*/ 320326 w 1182528"/>
                <a:gd name="connsiteY523" fmla="*/ 1076325 h 1101852"/>
                <a:gd name="connsiteX524" fmla="*/ 323660 w 1182528"/>
                <a:gd name="connsiteY524" fmla="*/ 1077563 h 1101852"/>
                <a:gd name="connsiteX525" fmla="*/ 326422 w 1182528"/>
                <a:gd name="connsiteY525" fmla="*/ 1073944 h 1101852"/>
                <a:gd name="connsiteX526" fmla="*/ 329565 w 1182528"/>
                <a:gd name="connsiteY526" fmla="*/ 1073563 h 1101852"/>
                <a:gd name="connsiteX527" fmla="*/ 330327 w 1182528"/>
                <a:gd name="connsiteY527" fmla="*/ 1067086 h 1101852"/>
                <a:gd name="connsiteX528" fmla="*/ 340043 w 1182528"/>
                <a:gd name="connsiteY528" fmla="*/ 1067467 h 1101852"/>
                <a:gd name="connsiteX529" fmla="*/ 340043 w 1182528"/>
                <a:gd name="connsiteY529" fmla="*/ 1067467 h 1101852"/>
                <a:gd name="connsiteX530" fmla="*/ 340233 w 1182528"/>
                <a:gd name="connsiteY530" fmla="*/ 1068991 h 1101852"/>
                <a:gd name="connsiteX531" fmla="*/ 350234 w 1182528"/>
                <a:gd name="connsiteY531" fmla="*/ 1072515 h 1101852"/>
                <a:gd name="connsiteX532" fmla="*/ 354997 w 1182528"/>
                <a:gd name="connsiteY532" fmla="*/ 1071944 h 1101852"/>
                <a:gd name="connsiteX533" fmla="*/ 355949 w 1182528"/>
                <a:gd name="connsiteY533" fmla="*/ 1066991 h 1101852"/>
                <a:gd name="connsiteX534" fmla="*/ 354235 w 1182528"/>
                <a:gd name="connsiteY534" fmla="*/ 1065657 h 1101852"/>
                <a:gd name="connsiteX535" fmla="*/ 355378 w 1182528"/>
                <a:gd name="connsiteY535" fmla="*/ 1062228 h 1101852"/>
                <a:gd name="connsiteX536" fmla="*/ 357187 w 1182528"/>
                <a:gd name="connsiteY536" fmla="*/ 1063657 h 1101852"/>
                <a:gd name="connsiteX537" fmla="*/ 361855 w 1182528"/>
                <a:gd name="connsiteY537" fmla="*/ 1062990 h 1101852"/>
                <a:gd name="connsiteX538" fmla="*/ 360712 w 1182528"/>
                <a:gd name="connsiteY538" fmla="*/ 1053560 h 1101852"/>
                <a:gd name="connsiteX539" fmla="*/ 360521 w 1182528"/>
                <a:gd name="connsiteY539" fmla="*/ 1051941 h 1101852"/>
                <a:gd name="connsiteX540" fmla="*/ 360902 w 1182528"/>
                <a:gd name="connsiteY540" fmla="*/ 1042321 h 1101852"/>
                <a:gd name="connsiteX541" fmla="*/ 361283 w 1182528"/>
                <a:gd name="connsiteY541" fmla="*/ 1045464 h 1101852"/>
                <a:gd name="connsiteX542" fmla="*/ 362617 w 1182528"/>
                <a:gd name="connsiteY542" fmla="*/ 1043654 h 1101852"/>
                <a:gd name="connsiteX543" fmla="*/ 364808 w 1182528"/>
                <a:gd name="connsiteY543" fmla="*/ 1048226 h 1101852"/>
                <a:gd name="connsiteX544" fmla="*/ 369760 w 1182528"/>
                <a:gd name="connsiteY544" fmla="*/ 1049179 h 1101852"/>
                <a:gd name="connsiteX545" fmla="*/ 374714 w 1182528"/>
                <a:gd name="connsiteY545" fmla="*/ 1050131 h 1101852"/>
                <a:gd name="connsiteX546" fmla="*/ 375666 w 1182528"/>
                <a:gd name="connsiteY546" fmla="*/ 1045274 h 1101852"/>
                <a:gd name="connsiteX547" fmla="*/ 374904 w 1182528"/>
                <a:gd name="connsiteY547" fmla="*/ 1038892 h 1101852"/>
                <a:gd name="connsiteX548" fmla="*/ 374047 w 1182528"/>
                <a:gd name="connsiteY548" fmla="*/ 1032605 h 1101852"/>
                <a:gd name="connsiteX549" fmla="*/ 368903 w 1182528"/>
                <a:gd name="connsiteY549" fmla="*/ 1030034 h 1101852"/>
                <a:gd name="connsiteX550" fmla="*/ 368903 w 1182528"/>
                <a:gd name="connsiteY550" fmla="*/ 1030034 h 1101852"/>
                <a:gd name="connsiteX551" fmla="*/ 378428 w 1182528"/>
                <a:gd name="connsiteY551" fmla="*/ 1028891 h 1101852"/>
                <a:gd name="connsiteX552" fmla="*/ 379381 w 1182528"/>
                <a:gd name="connsiteY552" fmla="*/ 1023938 h 1101852"/>
                <a:gd name="connsiteX553" fmla="*/ 374809 w 1182528"/>
                <a:gd name="connsiteY553" fmla="*/ 1013270 h 1101852"/>
                <a:gd name="connsiteX554" fmla="*/ 377571 w 1182528"/>
                <a:gd name="connsiteY554" fmla="*/ 1009745 h 1101852"/>
                <a:gd name="connsiteX555" fmla="*/ 374999 w 1182528"/>
                <a:gd name="connsiteY555" fmla="*/ 1002030 h 1101852"/>
                <a:gd name="connsiteX556" fmla="*/ 378714 w 1182528"/>
                <a:gd name="connsiteY556" fmla="*/ 1006316 h 1101852"/>
                <a:gd name="connsiteX557" fmla="*/ 378524 w 1182528"/>
                <a:gd name="connsiteY557" fmla="*/ 1004792 h 1101852"/>
                <a:gd name="connsiteX558" fmla="*/ 386429 w 1182528"/>
                <a:gd name="connsiteY558" fmla="*/ 1003745 h 1101852"/>
                <a:gd name="connsiteX559" fmla="*/ 389382 w 1182528"/>
                <a:gd name="connsiteY559" fmla="*/ 1001840 h 1101852"/>
                <a:gd name="connsiteX560" fmla="*/ 389191 w 1182528"/>
                <a:gd name="connsiteY560" fmla="*/ 1000220 h 1101852"/>
                <a:gd name="connsiteX561" fmla="*/ 392335 w 1182528"/>
                <a:gd name="connsiteY561" fmla="*/ 999839 h 1101852"/>
                <a:gd name="connsiteX562" fmla="*/ 392335 w 1182528"/>
                <a:gd name="connsiteY562" fmla="*/ 999839 h 1101852"/>
                <a:gd name="connsiteX563" fmla="*/ 391954 w 1182528"/>
                <a:gd name="connsiteY563" fmla="*/ 996696 h 1101852"/>
                <a:gd name="connsiteX564" fmla="*/ 396621 w 1182528"/>
                <a:gd name="connsiteY564" fmla="*/ 996029 h 1101852"/>
                <a:gd name="connsiteX565" fmla="*/ 394906 w 1182528"/>
                <a:gd name="connsiteY565" fmla="*/ 994696 h 1101852"/>
                <a:gd name="connsiteX566" fmla="*/ 394049 w 1182528"/>
                <a:gd name="connsiteY566" fmla="*/ 988409 h 1101852"/>
                <a:gd name="connsiteX567" fmla="*/ 395668 w 1182528"/>
                <a:gd name="connsiteY567" fmla="*/ 988124 h 1101852"/>
                <a:gd name="connsiteX568" fmla="*/ 399002 w 1182528"/>
                <a:gd name="connsiteY568" fmla="*/ 989362 h 1101852"/>
                <a:gd name="connsiteX569" fmla="*/ 400145 w 1182528"/>
                <a:gd name="connsiteY569" fmla="*/ 986028 h 1101852"/>
                <a:gd name="connsiteX570" fmla="*/ 406527 w 1182528"/>
                <a:gd name="connsiteY570" fmla="*/ 985171 h 1101852"/>
                <a:gd name="connsiteX571" fmla="*/ 408813 w 1182528"/>
                <a:gd name="connsiteY571" fmla="*/ 978503 h 1101852"/>
                <a:gd name="connsiteX572" fmla="*/ 416528 w 1182528"/>
                <a:gd name="connsiteY572" fmla="*/ 975932 h 1101852"/>
                <a:gd name="connsiteX573" fmla="*/ 419672 w 1182528"/>
                <a:gd name="connsiteY573" fmla="*/ 975455 h 1101852"/>
                <a:gd name="connsiteX574" fmla="*/ 419481 w 1182528"/>
                <a:gd name="connsiteY574" fmla="*/ 973931 h 1101852"/>
                <a:gd name="connsiteX575" fmla="*/ 422434 w 1182528"/>
                <a:gd name="connsiteY575" fmla="*/ 971931 h 1101852"/>
                <a:gd name="connsiteX576" fmla="*/ 422434 w 1182528"/>
                <a:gd name="connsiteY576" fmla="*/ 971931 h 1101852"/>
                <a:gd name="connsiteX577" fmla="*/ 430149 w 1182528"/>
                <a:gd name="connsiteY577" fmla="*/ 982123 h 1101852"/>
                <a:gd name="connsiteX578" fmla="*/ 433578 w 1182528"/>
                <a:gd name="connsiteY578" fmla="*/ 983361 h 1101852"/>
                <a:gd name="connsiteX579" fmla="*/ 436531 w 1182528"/>
                <a:gd name="connsiteY579" fmla="*/ 981361 h 1101852"/>
                <a:gd name="connsiteX580" fmla="*/ 444341 w 1182528"/>
                <a:gd name="connsiteY580" fmla="*/ 980313 h 1101852"/>
                <a:gd name="connsiteX581" fmla="*/ 451485 w 1182528"/>
                <a:gd name="connsiteY581" fmla="*/ 973074 h 1101852"/>
                <a:gd name="connsiteX582" fmla="*/ 456629 w 1182528"/>
                <a:gd name="connsiteY582" fmla="*/ 975551 h 1101852"/>
                <a:gd name="connsiteX583" fmla="*/ 456152 w 1182528"/>
                <a:gd name="connsiteY583" fmla="*/ 972407 h 1101852"/>
                <a:gd name="connsiteX584" fmla="*/ 469583 w 1182528"/>
                <a:gd name="connsiteY584" fmla="*/ 964311 h 1101852"/>
                <a:gd name="connsiteX585" fmla="*/ 465391 w 1182528"/>
                <a:gd name="connsiteY585" fmla="*/ 956786 h 1101852"/>
                <a:gd name="connsiteX586" fmla="*/ 473774 w 1182528"/>
                <a:gd name="connsiteY586" fmla="*/ 958977 h 1101852"/>
                <a:gd name="connsiteX587" fmla="*/ 476726 w 1182528"/>
                <a:gd name="connsiteY587" fmla="*/ 956977 h 1101852"/>
                <a:gd name="connsiteX588" fmla="*/ 480441 w 1182528"/>
                <a:gd name="connsiteY588" fmla="*/ 948500 h 1101852"/>
                <a:gd name="connsiteX589" fmla="*/ 478631 w 1182528"/>
                <a:gd name="connsiteY589" fmla="*/ 947166 h 1101852"/>
                <a:gd name="connsiteX590" fmla="*/ 479965 w 1182528"/>
                <a:gd name="connsiteY590" fmla="*/ 945356 h 1101852"/>
                <a:gd name="connsiteX591" fmla="*/ 480251 w 1182528"/>
                <a:gd name="connsiteY591" fmla="*/ 946880 h 1101852"/>
                <a:gd name="connsiteX592" fmla="*/ 484918 w 1182528"/>
                <a:gd name="connsiteY592" fmla="*/ 946309 h 1101852"/>
                <a:gd name="connsiteX593" fmla="*/ 489109 w 1182528"/>
                <a:gd name="connsiteY593" fmla="*/ 940975 h 1101852"/>
                <a:gd name="connsiteX594" fmla="*/ 501491 w 1182528"/>
                <a:gd name="connsiteY594" fmla="*/ 924973 h 1101852"/>
                <a:gd name="connsiteX595" fmla="*/ 503491 w 1182528"/>
                <a:gd name="connsiteY595" fmla="*/ 927926 h 1101852"/>
                <a:gd name="connsiteX596" fmla="*/ 502063 w 1182528"/>
                <a:gd name="connsiteY596" fmla="*/ 929735 h 1101852"/>
                <a:gd name="connsiteX597" fmla="*/ 502063 w 1182528"/>
                <a:gd name="connsiteY597" fmla="*/ 942499 h 1101852"/>
                <a:gd name="connsiteX598" fmla="*/ 511397 w 1182528"/>
                <a:gd name="connsiteY598" fmla="*/ 939737 h 1101852"/>
                <a:gd name="connsiteX599" fmla="*/ 514731 w 1182528"/>
                <a:gd name="connsiteY599" fmla="*/ 940880 h 1101852"/>
                <a:gd name="connsiteX600" fmla="*/ 520065 w 1182528"/>
                <a:gd name="connsiteY600" fmla="*/ 945071 h 1101852"/>
                <a:gd name="connsiteX601" fmla="*/ 523208 w 1182528"/>
                <a:gd name="connsiteY601" fmla="*/ 944690 h 1101852"/>
                <a:gd name="connsiteX602" fmla="*/ 533876 w 1182528"/>
                <a:gd name="connsiteY602" fmla="*/ 940118 h 1101852"/>
                <a:gd name="connsiteX603" fmla="*/ 551593 w 1182528"/>
                <a:gd name="connsiteY603" fmla="*/ 941070 h 1101852"/>
                <a:gd name="connsiteX604" fmla="*/ 556736 w 1182528"/>
                <a:gd name="connsiteY604" fmla="*/ 943547 h 1101852"/>
                <a:gd name="connsiteX605" fmla="*/ 559118 w 1182528"/>
                <a:gd name="connsiteY605" fmla="*/ 936879 h 1101852"/>
                <a:gd name="connsiteX606" fmla="*/ 559879 w 1182528"/>
                <a:gd name="connsiteY606" fmla="*/ 930307 h 1101852"/>
                <a:gd name="connsiteX607" fmla="*/ 561880 w 1182528"/>
                <a:gd name="connsiteY607" fmla="*/ 933355 h 1101852"/>
                <a:gd name="connsiteX608" fmla="*/ 565595 w 1182528"/>
                <a:gd name="connsiteY608" fmla="*/ 924782 h 1101852"/>
                <a:gd name="connsiteX609" fmla="*/ 567595 w 1182528"/>
                <a:gd name="connsiteY609" fmla="*/ 927735 h 1101852"/>
                <a:gd name="connsiteX610" fmla="*/ 566833 w 1182528"/>
                <a:gd name="connsiteY610" fmla="*/ 934307 h 1101852"/>
                <a:gd name="connsiteX611" fmla="*/ 569976 w 1182528"/>
                <a:gd name="connsiteY611" fmla="*/ 933926 h 1101852"/>
                <a:gd name="connsiteX612" fmla="*/ 572548 w 1182528"/>
                <a:gd name="connsiteY612" fmla="*/ 928783 h 1101852"/>
                <a:gd name="connsiteX613" fmla="*/ 575691 w 1182528"/>
                <a:gd name="connsiteY613" fmla="*/ 928307 h 1101852"/>
                <a:gd name="connsiteX614" fmla="*/ 583978 w 1182528"/>
                <a:gd name="connsiteY614" fmla="*/ 917639 h 1101852"/>
                <a:gd name="connsiteX615" fmla="*/ 589407 w 1182528"/>
                <a:gd name="connsiteY615" fmla="*/ 910590 h 1101852"/>
                <a:gd name="connsiteX616" fmla="*/ 591788 w 1182528"/>
                <a:gd name="connsiteY616" fmla="*/ 903827 h 1101852"/>
                <a:gd name="connsiteX617" fmla="*/ 594931 w 1182528"/>
                <a:gd name="connsiteY617" fmla="*/ 903446 h 1101852"/>
                <a:gd name="connsiteX618" fmla="*/ 600837 w 1182528"/>
                <a:gd name="connsiteY618" fmla="*/ 899446 h 1101852"/>
                <a:gd name="connsiteX619" fmla="*/ 603980 w 1182528"/>
                <a:gd name="connsiteY619" fmla="*/ 899065 h 1101852"/>
                <a:gd name="connsiteX620" fmla="*/ 607981 w 1182528"/>
                <a:gd name="connsiteY620" fmla="*/ 904970 h 1101852"/>
                <a:gd name="connsiteX621" fmla="*/ 609124 w 1182528"/>
                <a:gd name="connsiteY621" fmla="*/ 901637 h 1101852"/>
                <a:gd name="connsiteX622" fmla="*/ 610933 w 1182528"/>
                <a:gd name="connsiteY622" fmla="*/ 902970 h 1101852"/>
                <a:gd name="connsiteX623" fmla="*/ 617506 w 1182528"/>
                <a:gd name="connsiteY623" fmla="*/ 916591 h 1101852"/>
                <a:gd name="connsiteX624" fmla="*/ 616744 w 1182528"/>
                <a:gd name="connsiteY624" fmla="*/ 923163 h 1101852"/>
                <a:gd name="connsiteX625" fmla="*/ 618649 w 1182528"/>
                <a:gd name="connsiteY625" fmla="*/ 926116 h 1101852"/>
                <a:gd name="connsiteX626" fmla="*/ 618649 w 1182528"/>
                <a:gd name="connsiteY626" fmla="*/ 926116 h 1101852"/>
                <a:gd name="connsiteX627" fmla="*/ 635794 w 1182528"/>
                <a:gd name="connsiteY627" fmla="*/ 922306 h 1101852"/>
                <a:gd name="connsiteX628" fmla="*/ 636175 w 1182528"/>
                <a:gd name="connsiteY628" fmla="*/ 912590 h 1101852"/>
                <a:gd name="connsiteX629" fmla="*/ 639127 w 1182528"/>
                <a:gd name="connsiteY629" fmla="*/ 910590 h 1101852"/>
                <a:gd name="connsiteX630" fmla="*/ 636746 w 1182528"/>
                <a:gd name="connsiteY630" fmla="*/ 904494 h 1101852"/>
                <a:gd name="connsiteX631" fmla="*/ 642461 w 1182528"/>
                <a:gd name="connsiteY631" fmla="*/ 898970 h 1101852"/>
                <a:gd name="connsiteX632" fmla="*/ 646462 w 1182528"/>
                <a:gd name="connsiteY632" fmla="*/ 892112 h 1101852"/>
                <a:gd name="connsiteX633" fmla="*/ 652748 w 1182528"/>
                <a:gd name="connsiteY633" fmla="*/ 891254 h 1101852"/>
                <a:gd name="connsiteX634" fmla="*/ 668274 w 1182528"/>
                <a:gd name="connsiteY634" fmla="*/ 887635 h 1101852"/>
                <a:gd name="connsiteX635" fmla="*/ 671513 w 1182528"/>
                <a:gd name="connsiteY635" fmla="*/ 887254 h 1101852"/>
                <a:gd name="connsiteX636" fmla="*/ 670274 w 1182528"/>
                <a:gd name="connsiteY636" fmla="*/ 890588 h 1101852"/>
                <a:gd name="connsiteX637" fmla="*/ 679323 w 1182528"/>
                <a:gd name="connsiteY637" fmla="*/ 886301 h 1101852"/>
                <a:gd name="connsiteX638" fmla="*/ 680561 w 1182528"/>
                <a:gd name="connsiteY638" fmla="*/ 882872 h 1101852"/>
                <a:gd name="connsiteX639" fmla="*/ 685228 w 1182528"/>
                <a:gd name="connsiteY639" fmla="*/ 882301 h 1101852"/>
                <a:gd name="connsiteX640" fmla="*/ 689801 w 1182528"/>
                <a:gd name="connsiteY640" fmla="*/ 880110 h 1101852"/>
                <a:gd name="connsiteX641" fmla="*/ 690563 w 1182528"/>
                <a:gd name="connsiteY641" fmla="*/ 873633 h 1101852"/>
                <a:gd name="connsiteX642" fmla="*/ 693706 w 1182528"/>
                <a:gd name="connsiteY642" fmla="*/ 873252 h 1101852"/>
                <a:gd name="connsiteX643" fmla="*/ 693515 w 1182528"/>
                <a:gd name="connsiteY643" fmla="*/ 871633 h 1101852"/>
                <a:gd name="connsiteX644" fmla="*/ 696849 w 1182528"/>
                <a:gd name="connsiteY644" fmla="*/ 872776 h 1101852"/>
                <a:gd name="connsiteX645" fmla="*/ 699611 w 1182528"/>
                <a:gd name="connsiteY645" fmla="*/ 869251 h 1101852"/>
                <a:gd name="connsiteX646" fmla="*/ 700850 w 1182528"/>
                <a:gd name="connsiteY646" fmla="*/ 865918 h 1101852"/>
                <a:gd name="connsiteX647" fmla="*/ 699230 w 1182528"/>
                <a:gd name="connsiteY647" fmla="*/ 853250 h 1101852"/>
                <a:gd name="connsiteX648" fmla="*/ 696087 w 1182528"/>
                <a:gd name="connsiteY648" fmla="*/ 853631 h 1101852"/>
                <a:gd name="connsiteX649" fmla="*/ 697611 w 1182528"/>
                <a:gd name="connsiteY649" fmla="*/ 853440 h 1101852"/>
                <a:gd name="connsiteX650" fmla="*/ 697421 w 1182528"/>
                <a:gd name="connsiteY650" fmla="*/ 851916 h 1101852"/>
                <a:gd name="connsiteX651" fmla="*/ 703993 w 1182528"/>
                <a:gd name="connsiteY651" fmla="*/ 852678 h 1101852"/>
                <a:gd name="connsiteX652" fmla="*/ 704183 w 1182528"/>
                <a:gd name="connsiteY652" fmla="*/ 854202 h 1101852"/>
                <a:gd name="connsiteX653" fmla="*/ 710470 w 1182528"/>
                <a:gd name="connsiteY653" fmla="*/ 853440 h 1101852"/>
                <a:gd name="connsiteX654" fmla="*/ 710851 w 1182528"/>
                <a:gd name="connsiteY654" fmla="*/ 856583 h 1101852"/>
                <a:gd name="connsiteX655" fmla="*/ 723710 w 1182528"/>
                <a:gd name="connsiteY655" fmla="*/ 856583 h 1101852"/>
                <a:gd name="connsiteX656" fmla="*/ 726853 w 1182528"/>
                <a:gd name="connsiteY656" fmla="*/ 856202 h 1101852"/>
                <a:gd name="connsiteX657" fmla="*/ 726662 w 1182528"/>
                <a:gd name="connsiteY657" fmla="*/ 854583 h 1101852"/>
                <a:gd name="connsiteX658" fmla="*/ 724662 w 1182528"/>
                <a:gd name="connsiteY658" fmla="*/ 851630 h 1101852"/>
                <a:gd name="connsiteX659" fmla="*/ 726281 w 1182528"/>
                <a:gd name="connsiteY659" fmla="*/ 851440 h 1101852"/>
                <a:gd name="connsiteX660" fmla="*/ 725996 w 1182528"/>
                <a:gd name="connsiteY660" fmla="*/ 849821 h 1101852"/>
                <a:gd name="connsiteX661" fmla="*/ 724281 w 1182528"/>
                <a:gd name="connsiteY661" fmla="*/ 848487 h 1101852"/>
                <a:gd name="connsiteX662" fmla="*/ 726567 w 1182528"/>
                <a:gd name="connsiteY662" fmla="*/ 841724 h 1101852"/>
                <a:gd name="connsiteX663" fmla="*/ 722662 w 1182528"/>
                <a:gd name="connsiteY663" fmla="*/ 835819 h 1101852"/>
                <a:gd name="connsiteX664" fmla="*/ 719519 w 1182528"/>
                <a:gd name="connsiteY664" fmla="*/ 836295 h 1101852"/>
                <a:gd name="connsiteX665" fmla="*/ 717709 w 1182528"/>
                <a:gd name="connsiteY665" fmla="*/ 822008 h 1101852"/>
                <a:gd name="connsiteX666" fmla="*/ 725424 w 1182528"/>
                <a:gd name="connsiteY666" fmla="*/ 819436 h 1101852"/>
                <a:gd name="connsiteX667" fmla="*/ 723614 w 1182528"/>
                <a:gd name="connsiteY667" fmla="*/ 818102 h 1101852"/>
                <a:gd name="connsiteX668" fmla="*/ 728377 w 1182528"/>
                <a:gd name="connsiteY668" fmla="*/ 817531 h 1101852"/>
                <a:gd name="connsiteX669" fmla="*/ 730853 w 1182528"/>
                <a:gd name="connsiteY669" fmla="*/ 812387 h 1101852"/>
                <a:gd name="connsiteX670" fmla="*/ 733997 w 1182528"/>
                <a:gd name="connsiteY670" fmla="*/ 811911 h 1101852"/>
                <a:gd name="connsiteX671" fmla="*/ 736759 w 1182528"/>
                <a:gd name="connsiteY671" fmla="*/ 808387 h 1101852"/>
                <a:gd name="connsiteX672" fmla="*/ 744474 w 1182528"/>
                <a:gd name="connsiteY672" fmla="*/ 805815 h 1101852"/>
                <a:gd name="connsiteX673" fmla="*/ 750189 w 1182528"/>
                <a:gd name="connsiteY673" fmla="*/ 813054 h 1101852"/>
                <a:gd name="connsiteX674" fmla="*/ 753618 w 1182528"/>
                <a:gd name="connsiteY674" fmla="*/ 814292 h 1101852"/>
                <a:gd name="connsiteX675" fmla="*/ 752951 w 1182528"/>
                <a:gd name="connsiteY675" fmla="*/ 809530 h 1101852"/>
                <a:gd name="connsiteX676" fmla="*/ 756094 w 1182528"/>
                <a:gd name="connsiteY676" fmla="*/ 809149 h 1101852"/>
                <a:gd name="connsiteX677" fmla="*/ 755904 w 1182528"/>
                <a:gd name="connsiteY677" fmla="*/ 807530 h 1101852"/>
                <a:gd name="connsiteX678" fmla="*/ 768001 w 1182528"/>
                <a:gd name="connsiteY678" fmla="*/ 814007 h 1101852"/>
                <a:gd name="connsiteX679" fmla="*/ 777811 w 1182528"/>
                <a:gd name="connsiteY679" fmla="*/ 816007 h 1101852"/>
                <a:gd name="connsiteX680" fmla="*/ 779812 w 1182528"/>
                <a:gd name="connsiteY680" fmla="*/ 818960 h 1101852"/>
                <a:gd name="connsiteX681" fmla="*/ 782955 w 1182528"/>
                <a:gd name="connsiteY681" fmla="*/ 818578 h 1101852"/>
                <a:gd name="connsiteX682" fmla="*/ 783431 w 1182528"/>
                <a:gd name="connsiteY682" fmla="*/ 821722 h 1101852"/>
                <a:gd name="connsiteX683" fmla="*/ 784955 w 1182528"/>
                <a:gd name="connsiteY683" fmla="*/ 821531 h 1101852"/>
                <a:gd name="connsiteX684" fmla="*/ 797814 w 1182528"/>
                <a:gd name="connsiteY684" fmla="*/ 821436 h 1101852"/>
                <a:gd name="connsiteX685" fmla="*/ 812197 w 1182528"/>
                <a:gd name="connsiteY685" fmla="*/ 821246 h 1101852"/>
                <a:gd name="connsiteX686" fmla="*/ 812578 w 1182528"/>
                <a:gd name="connsiteY686" fmla="*/ 824389 h 1101852"/>
                <a:gd name="connsiteX687" fmla="*/ 819150 w 1182528"/>
                <a:gd name="connsiteY687" fmla="*/ 825151 h 1101852"/>
                <a:gd name="connsiteX688" fmla="*/ 828770 w 1182528"/>
                <a:gd name="connsiteY688" fmla="*/ 825532 h 1101852"/>
                <a:gd name="connsiteX689" fmla="*/ 830580 w 1182528"/>
                <a:gd name="connsiteY689" fmla="*/ 826865 h 1101852"/>
                <a:gd name="connsiteX690" fmla="*/ 831914 w 1182528"/>
                <a:gd name="connsiteY690" fmla="*/ 825151 h 1101852"/>
                <a:gd name="connsiteX691" fmla="*/ 847725 w 1182528"/>
                <a:gd name="connsiteY691" fmla="*/ 823151 h 1101852"/>
                <a:gd name="connsiteX692" fmla="*/ 849059 w 1182528"/>
                <a:gd name="connsiteY692" fmla="*/ 821341 h 1101852"/>
                <a:gd name="connsiteX693" fmla="*/ 857440 w 1182528"/>
                <a:gd name="connsiteY693" fmla="*/ 823532 h 1101852"/>
                <a:gd name="connsiteX694" fmla="*/ 859727 w 1182528"/>
                <a:gd name="connsiteY694" fmla="*/ 816769 h 1101852"/>
                <a:gd name="connsiteX695" fmla="*/ 857536 w 1182528"/>
                <a:gd name="connsiteY695" fmla="*/ 812197 h 1101852"/>
                <a:gd name="connsiteX696" fmla="*/ 867632 w 1182528"/>
                <a:gd name="connsiteY696" fmla="*/ 815816 h 1101852"/>
                <a:gd name="connsiteX697" fmla="*/ 866299 w 1182528"/>
                <a:gd name="connsiteY697" fmla="*/ 817531 h 1101852"/>
                <a:gd name="connsiteX698" fmla="*/ 870204 w 1182528"/>
                <a:gd name="connsiteY698" fmla="*/ 823436 h 1101852"/>
                <a:gd name="connsiteX699" fmla="*/ 871442 w 1182528"/>
                <a:gd name="connsiteY699" fmla="*/ 820103 h 1101852"/>
                <a:gd name="connsiteX700" fmla="*/ 878300 w 1182528"/>
                <a:gd name="connsiteY700" fmla="*/ 824008 h 1101852"/>
                <a:gd name="connsiteX701" fmla="*/ 877919 w 1182528"/>
                <a:gd name="connsiteY701" fmla="*/ 820865 h 1101852"/>
                <a:gd name="connsiteX702" fmla="*/ 881253 w 1182528"/>
                <a:gd name="connsiteY702" fmla="*/ 822008 h 1101852"/>
                <a:gd name="connsiteX703" fmla="*/ 882206 w 1182528"/>
                <a:gd name="connsiteY703" fmla="*/ 817150 h 1101852"/>
                <a:gd name="connsiteX704" fmla="*/ 897827 w 1182528"/>
                <a:gd name="connsiteY704" fmla="*/ 826389 h 1101852"/>
                <a:gd name="connsiteX705" fmla="*/ 902780 w 1182528"/>
                <a:gd name="connsiteY705" fmla="*/ 827342 h 1101852"/>
                <a:gd name="connsiteX706" fmla="*/ 903160 w 1182528"/>
                <a:gd name="connsiteY706" fmla="*/ 830485 h 1101852"/>
                <a:gd name="connsiteX707" fmla="*/ 904970 w 1182528"/>
                <a:gd name="connsiteY707" fmla="*/ 831818 h 1101852"/>
                <a:gd name="connsiteX708" fmla="*/ 908494 w 1182528"/>
                <a:gd name="connsiteY708" fmla="*/ 821817 h 1101852"/>
                <a:gd name="connsiteX709" fmla="*/ 910114 w 1182528"/>
                <a:gd name="connsiteY709" fmla="*/ 821626 h 1101852"/>
                <a:gd name="connsiteX710" fmla="*/ 914400 w 1182528"/>
                <a:gd name="connsiteY710" fmla="*/ 817817 h 1101852"/>
                <a:gd name="connsiteX711" fmla="*/ 914019 w 1182528"/>
                <a:gd name="connsiteY711" fmla="*/ 814673 h 1101852"/>
                <a:gd name="connsiteX712" fmla="*/ 917734 w 1182528"/>
                <a:gd name="connsiteY712" fmla="*/ 806196 h 1101852"/>
                <a:gd name="connsiteX713" fmla="*/ 919544 w 1182528"/>
                <a:gd name="connsiteY713" fmla="*/ 807530 h 1101852"/>
                <a:gd name="connsiteX714" fmla="*/ 923639 w 1182528"/>
                <a:gd name="connsiteY714" fmla="*/ 802196 h 1101852"/>
                <a:gd name="connsiteX715" fmla="*/ 930783 w 1182528"/>
                <a:gd name="connsiteY715" fmla="*/ 807720 h 1101852"/>
                <a:gd name="connsiteX716" fmla="*/ 935736 w 1182528"/>
                <a:gd name="connsiteY716" fmla="*/ 808673 h 1101852"/>
                <a:gd name="connsiteX717" fmla="*/ 937069 w 1182528"/>
                <a:gd name="connsiteY717" fmla="*/ 806958 h 1101852"/>
                <a:gd name="connsiteX718" fmla="*/ 936879 w 1182528"/>
                <a:gd name="connsiteY718" fmla="*/ 805339 h 1101852"/>
                <a:gd name="connsiteX719" fmla="*/ 942023 w 1182528"/>
                <a:gd name="connsiteY719" fmla="*/ 807911 h 1101852"/>
                <a:gd name="connsiteX720" fmla="*/ 946785 w 1182528"/>
                <a:gd name="connsiteY720" fmla="*/ 807339 h 1101852"/>
                <a:gd name="connsiteX721" fmla="*/ 944594 w 1182528"/>
                <a:gd name="connsiteY721" fmla="*/ 802767 h 1101852"/>
                <a:gd name="connsiteX722" fmla="*/ 956024 w 1182528"/>
                <a:gd name="connsiteY722" fmla="*/ 804482 h 1101852"/>
                <a:gd name="connsiteX723" fmla="*/ 955453 w 1182528"/>
                <a:gd name="connsiteY723" fmla="*/ 799814 h 1101852"/>
                <a:gd name="connsiteX724" fmla="*/ 958786 w 1182528"/>
                <a:gd name="connsiteY724" fmla="*/ 800957 h 1101852"/>
                <a:gd name="connsiteX725" fmla="*/ 960120 w 1182528"/>
                <a:gd name="connsiteY725" fmla="*/ 799148 h 1101852"/>
                <a:gd name="connsiteX726" fmla="*/ 966692 w 1182528"/>
                <a:gd name="connsiteY726" fmla="*/ 799910 h 1101852"/>
                <a:gd name="connsiteX727" fmla="*/ 966883 w 1182528"/>
                <a:gd name="connsiteY727" fmla="*/ 801529 h 1101852"/>
                <a:gd name="connsiteX728" fmla="*/ 970217 w 1182528"/>
                <a:gd name="connsiteY728" fmla="*/ 802672 h 1101852"/>
                <a:gd name="connsiteX729" fmla="*/ 970407 w 1182528"/>
                <a:gd name="connsiteY729" fmla="*/ 804291 h 1101852"/>
                <a:gd name="connsiteX730" fmla="*/ 973741 w 1182528"/>
                <a:gd name="connsiteY730" fmla="*/ 805434 h 1101852"/>
                <a:gd name="connsiteX731" fmla="*/ 974407 w 1182528"/>
                <a:gd name="connsiteY731" fmla="*/ 810197 h 1101852"/>
                <a:gd name="connsiteX732" fmla="*/ 975551 w 1182528"/>
                <a:gd name="connsiteY732" fmla="*/ 806863 h 1101852"/>
                <a:gd name="connsiteX733" fmla="*/ 978884 w 1182528"/>
                <a:gd name="connsiteY733" fmla="*/ 808006 h 1101852"/>
                <a:gd name="connsiteX734" fmla="*/ 975360 w 1182528"/>
                <a:gd name="connsiteY734" fmla="*/ 805244 h 1101852"/>
                <a:gd name="connsiteX735" fmla="*/ 978503 w 1182528"/>
                <a:gd name="connsiteY735" fmla="*/ 804863 h 1101852"/>
                <a:gd name="connsiteX736" fmla="*/ 980313 w 1182528"/>
                <a:gd name="connsiteY736" fmla="*/ 806196 h 1101852"/>
                <a:gd name="connsiteX737" fmla="*/ 978884 w 1182528"/>
                <a:gd name="connsiteY737" fmla="*/ 808006 h 1101852"/>
                <a:gd name="connsiteX738" fmla="*/ 979075 w 1182528"/>
                <a:gd name="connsiteY738" fmla="*/ 809625 h 1101852"/>
                <a:gd name="connsiteX739" fmla="*/ 983456 w 1182528"/>
                <a:gd name="connsiteY739" fmla="*/ 805815 h 1101852"/>
                <a:gd name="connsiteX740" fmla="*/ 984980 w 1182528"/>
                <a:gd name="connsiteY740" fmla="*/ 805625 h 1101852"/>
                <a:gd name="connsiteX741" fmla="*/ 990124 w 1182528"/>
                <a:gd name="connsiteY741" fmla="*/ 795338 h 1101852"/>
                <a:gd name="connsiteX742" fmla="*/ 988505 w 1182528"/>
                <a:gd name="connsiteY742" fmla="*/ 795528 h 1101852"/>
                <a:gd name="connsiteX743" fmla="*/ 989552 w 1182528"/>
                <a:gd name="connsiteY743" fmla="*/ 790575 h 1101852"/>
                <a:gd name="connsiteX744" fmla="*/ 987933 w 1182528"/>
                <a:gd name="connsiteY744" fmla="*/ 790861 h 1101852"/>
                <a:gd name="connsiteX745" fmla="*/ 989362 w 1182528"/>
                <a:gd name="connsiteY745" fmla="*/ 789051 h 1101852"/>
                <a:gd name="connsiteX746" fmla="*/ 985933 w 1182528"/>
                <a:gd name="connsiteY746" fmla="*/ 787908 h 1101852"/>
                <a:gd name="connsiteX747" fmla="*/ 987361 w 1182528"/>
                <a:gd name="connsiteY747" fmla="*/ 786098 h 1101852"/>
                <a:gd name="connsiteX748" fmla="*/ 986123 w 1182528"/>
                <a:gd name="connsiteY748" fmla="*/ 776573 h 1101852"/>
                <a:gd name="connsiteX749" fmla="*/ 992886 w 1182528"/>
                <a:gd name="connsiteY749" fmla="*/ 778955 h 1101852"/>
                <a:gd name="connsiteX750" fmla="*/ 992600 w 1182528"/>
                <a:gd name="connsiteY750" fmla="*/ 764572 h 1101852"/>
                <a:gd name="connsiteX751" fmla="*/ 992029 w 1182528"/>
                <a:gd name="connsiteY751" fmla="*/ 759809 h 1101852"/>
                <a:gd name="connsiteX752" fmla="*/ 993553 w 1182528"/>
                <a:gd name="connsiteY752" fmla="*/ 759619 h 1101852"/>
                <a:gd name="connsiteX753" fmla="*/ 994791 w 1182528"/>
                <a:gd name="connsiteY753" fmla="*/ 756285 h 1101852"/>
                <a:gd name="connsiteX754" fmla="*/ 991172 w 1182528"/>
                <a:gd name="connsiteY754" fmla="*/ 753523 h 1101852"/>
                <a:gd name="connsiteX755" fmla="*/ 987838 w 1182528"/>
                <a:gd name="connsiteY755" fmla="*/ 752380 h 1101852"/>
                <a:gd name="connsiteX756" fmla="*/ 987266 w 1182528"/>
                <a:gd name="connsiteY756" fmla="*/ 747617 h 1101852"/>
                <a:gd name="connsiteX757" fmla="*/ 983742 w 1182528"/>
                <a:gd name="connsiteY757" fmla="*/ 744855 h 1101852"/>
                <a:gd name="connsiteX758" fmla="*/ 983266 w 1182528"/>
                <a:gd name="connsiteY758" fmla="*/ 741712 h 1101852"/>
                <a:gd name="connsiteX759" fmla="*/ 987647 w 1182528"/>
                <a:gd name="connsiteY759" fmla="*/ 737902 h 1101852"/>
                <a:gd name="connsiteX760" fmla="*/ 989648 w 1182528"/>
                <a:gd name="connsiteY760" fmla="*/ 740855 h 1101852"/>
                <a:gd name="connsiteX761" fmla="*/ 992600 w 1182528"/>
                <a:gd name="connsiteY761" fmla="*/ 738950 h 1101852"/>
                <a:gd name="connsiteX762" fmla="*/ 988981 w 1182528"/>
                <a:gd name="connsiteY762" fmla="*/ 736187 h 1101852"/>
                <a:gd name="connsiteX763" fmla="*/ 988600 w 1182528"/>
                <a:gd name="connsiteY763" fmla="*/ 733044 h 1101852"/>
                <a:gd name="connsiteX764" fmla="*/ 985076 w 1182528"/>
                <a:gd name="connsiteY764" fmla="*/ 730282 h 1101852"/>
                <a:gd name="connsiteX765" fmla="*/ 986219 w 1182528"/>
                <a:gd name="connsiteY765" fmla="*/ 726853 h 1101852"/>
                <a:gd name="connsiteX766" fmla="*/ 988028 w 1182528"/>
                <a:gd name="connsiteY766" fmla="*/ 728282 h 1101852"/>
                <a:gd name="connsiteX767" fmla="*/ 987552 w 1182528"/>
                <a:gd name="connsiteY767" fmla="*/ 725138 h 1101852"/>
                <a:gd name="connsiteX768" fmla="*/ 985838 w 1182528"/>
                <a:gd name="connsiteY768" fmla="*/ 723710 h 1101852"/>
                <a:gd name="connsiteX769" fmla="*/ 985647 w 1182528"/>
                <a:gd name="connsiteY769" fmla="*/ 722186 h 1101852"/>
                <a:gd name="connsiteX770" fmla="*/ 982027 w 1182528"/>
                <a:gd name="connsiteY770" fmla="*/ 719423 h 1101852"/>
                <a:gd name="connsiteX771" fmla="*/ 981837 w 1182528"/>
                <a:gd name="connsiteY771" fmla="*/ 717804 h 1101852"/>
                <a:gd name="connsiteX772" fmla="*/ 984790 w 1182528"/>
                <a:gd name="connsiteY772" fmla="*/ 715804 h 1101852"/>
                <a:gd name="connsiteX773" fmla="*/ 987933 w 1182528"/>
                <a:gd name="connsiteY773" fmla="*/ 715423 h 1101852"/>
                <a:gd name="connsiteX774" fmla="*/ 989171 w 1182528"/>
                <a:gd name="connsiteY774" fmla="*/ 712089 h 1101852"/>
                <a:gd name="connsiteX775" fmla="*/ 992124 w 1182528"/>
                <a:gd name="connsiteY775" fmla="*/ 710089 h 1101852"/>
                <a:gd name="connsiteX776" fmla="*/ 1004792 w 1182528"/>
                <a:gd name="connsiteY776" fmla="*/ 721328 h 1101852"/>
                <a:gd name="connsiteX777" fmla="*/ 1019937 w 1182528"/>
                <a:gd name="connsiteY777" fmla="*/ 727424 h 1101852"/>
                <a:gd name="connsiteX778" fmla="*/ 1021175 w 1182528"/>
                <a:gd name="connsiteY778" fmla="*/ 724091 h 1101852"/>
                <a:gd name="connsiteX779" fmla="*/ 1024509 w 1182528"/>
                <a:gd name="connsiteY779" fmla="*/ 725234 h 1101852"/>
                <a:gd name="connsiteX780" fmla="*/ 1020889 w 1182528"/>
                <a:gd name="connsiteY780" fmla="*/ 722471 h 1101852"/>
                <a:gd name="connsiteX781" fmla="*/ 1023652 w 1182528"/>
                <a:gd name="connsiteY781" fmla="*/ 718947 h 1101852"/>
                <a:gd name="connsiteX782" fmla="*/ 1021937 w 1182528"/>
                <a:gd name="connsiteY782" fmla="*/ 717518 h 1101852"/>
                <a:gd name="connsiteX783" fmla="*/ 1017175 w 1182528"/>
                <a:gd name="connsiteY783" fmla="*/ 718090 h 1101852"/>
                <a:gd name="connsiteX784" fmla="*/ 1015365 w 1182528"/>
                <a:gd name="connsiteY784" fmla="*/ 716756 h 1101852"/>
                <a:gd name="connsiteX785" fmla="*/ 1019556 w 1182528"/>
                <a:gd name="connsiteY785" fmla="*/ 711422 h 1101852"/>
                <a:gd name="connsiteX786" fmla="*/ 1023080 w 1182528"/>
                <a:gd name="connsiteY786" fmla="*/ 714185 h 1101852"/>
                <a:gd name="connsiteX787" fmla="*/ 1024223 w 1182528"/>
                <a:gd name="connsiteY787" fmla="*/ 710851 h 1101852"/>
                <a:gd name="connsiteX788" fmla="*/ 1020889 w 1182528"/>
                <a:gd name="connsiteY788" fmla="*/ 709613 h 1101852"/>
                <a:gd name="connsiteX789" fmla="*/ 1022509 w 1182528"/>
                <a:gd name="connsiteY789" fmla="*/ 709422 h 1101852"/>
                <a:gd name="connsiteX790" fmla="*/ 1026985 w 1182528"/>
                <a:gd name="connsiteY790" fmla="*/ 707231 h 1101852"/>
                <a:gd name="connsiteX791" fmla="*/ 1024985 w 1182528"/>
                <a:gd name="connsiteY791" fmla="*/ 691515 h 1101852"/>
                <a:gd name="connsiteX792" fmla="*/ 1035653 w 1182528"/>
                <a:gd name="connsiteY792" fmla="*/ 699707 h 1101852"/>
                <a:gd name="connsiteX793" fmla="*/ 1043559 w 1182528"/>
                <a:gd name="connsiteY793" fmla="*/ 698754 h 1101852"/>
                <a:gd name="connsiteX794" fmla="*/ 1042606 w 1182528"/>
                <a:gd name="connsiteY794" fmla="*/ 690848 h 1101852"/>
                <a:gd name="connsiteX795" fmla="*/ 1051274 w 1182528"/>
                <a:gd name="connsiteY795" fmla="*/ 696182 h 1101852"/>
                <a:gd name="connsiteX796" fmla="*/ 1059371 w 1182528"/>
                <a:gd name="connsiteY796" fmla="*/ 696754 h 1101852"/>
                <a:gd name="connsiteX797" fmla="*/ 1057942 w 1182528"/>
                <a:gd name="connsiteY797" fmla="*/ 685705 h 1101852"/>
                <a:gd name="connsiteX798" fmla="*/ 1059085 w 1182528"/>
                <a:gd name="connsiteY798" fmla="*/ 682276 h 1101852"/>
                <a:gd name="connsiteX799" fmla="*/ 1058513 w 1182528"/>
                <a:gd name="connsiteY799" fmla="*/ 677609 h 1101852"/>
                <a:gd name="connsiteX800" fmla="*/ 1059656 w 1182528"/>
                <a:gd name="connsiteY800" fmla="*/ 674275 h 1101852"/>
                <a:gd name="connsiteX801" fmla="*/ 1054799 w 1182528"/>
                <a:gd name="connsiteY801" fmla="*/ 673227 h 1101852"/>
                <a:gd name="connsiteX802" fmla="*/ 1057942 w 1182528"/>
                <a:gd name="connsiteY802" fmla="*/ 672846 h 1101852"/>
                <a:gd name="connsiteX803" fmla="*/ 1058323 w 1182528"/>
                <a:gd name="connsiteY803" fmla="*/ 663226 h 1101852"/>
                <a:gd name="connsiteX804" fmla="*/ 1047560 w 1182528"/>
                <a:gd name="connsiteY804" fmla="*/ 642080 h 1101852"/>
                <a:gd name="connsiteX805" fmla="*/ 1060037 w 1182528"/>
                <a:gd name="connsiteY805" fmla="*/ 638937 h 1101852"/>
                <a:gd name="connsiteX806" fmla="*/ 1056989 w 1182528"/>
                <a:gd name="connsiteY806" fmla="*/ 628078 h 1101852"/>
                <a:gd name="connsiteX807" fmla="*/ 1068896 w 1182528"/>
                <a:gd name="connsiteY807" fmla="*/ 632936 h 1101852"/>
                <a:gd name="connsiteX808" fmla="*/ 1066324 w 1182528"/>
                <a:gd name="connsiteY808" fmla="*/ 625316 h 1101852"/>
                <a:gd name="connsiteX809" fmla="*/ 1064133 w 1182528"/>
                <a:gd name="connsiteY809" fmla="*/ 620744 h 1101852"/>
                <a:gd name="connsiteX810" fmla="*/ 1060704 w 1182528"/>
                <a:gd name="connsiteY810" fmla="*/ 619601 h 1101852"/>
                <a:gd name="connsiteX811" fmla="*/ 1061276 w 1182528"/>
                <a:gd name="connsiteY811" fmla="*/ 611505 h 1101852"/>
                <a:gd name="connsiteX812" fmla="*/ 1056418 w 1182528"/>
                <a:gd name="connsiteY812" fmla="*/ 610457 h 1101852"/>
                <a:gd name="connsiteX813" fmla="*/ 1057751 w 1182528"/>
                <a:gd name="connsiteY813" fmla="*/ 608743 h 1101852"/>
                <a:gd name="connsiteX814" fmla="*/ 1057561 w 1182528"/>
                <a:gd name="connsiteY814" fmla="*/ 607124 h 1101852"/>
                <a:gd name="connsiteX815" fmla="*/ 1054418 w 1182528"/>
                <a:gd name="connsiteY815" fmla="*/ 607505 h 1101852"/>
                <a:gd name="connsiteX816" fmla="*/ 1049465 w 1182528"/>
                <a:gd name="connsiteY816" fmla="*/ 606552 h 1101852"/>
                <a:gd name="connsiteX817" fmla="*/ 1049655 w 1182528"/>
                <a:gd name="connsiteY817" fmla="*/ 608171 h 1101852"/>
                <a:gd name="connsiteX818" fmla="*/ 1047845 w 1182528"/>
                <a:gd name="connsiteY818" fmla="*/ 606743 h 1101852"/>
                <a:gd name="connsiteX819" fmla="*/ 1047845 w 1182528"/>
                <a:gd name="connsiteY819" fmla="*/ 606743 h 1101852"/>
                <a:gd name="connsiteX820" fmla="*/ 1047655 w 1182528"/>
                <a:gd name="connsiteY820" fmla="*/ 605219 h 1101852"/>
                <a:gd name="connsiteX821" fmla="*/ 1046321 w 1182528"/>
                <a:gd name="connsiteY821" fmla="*/ 606933 h 1101852"/>
                <a:gd name="connsiteX822" fmla="*/ 1038035 w 1182528"/>
                <a:gd name="connsiteY822" fmla="*/ 604838 h 1101852"/>
                <a:gd name="connsiteX823" fmla="*/ 1038797 w 1182528"/>
                <a:gd name="connsiteY823" fmla="*/ 598265 h 1101852"/>
                <a:gd name="connsiteX824" fmla="*/ 1037368 w 1182528"/>
                <a:gd name="connsiteY824" fmla="*/ 600075 h 1101852"/>
                <a:gd name="connsiteX825" fmla="*/ 1035463 w 1182528"/>
                <a:gd name="connsiteY825" fmla="*/ 597122 h 1101852"/>
                <a:gd name="connsiteX826" fmla="*/ 1036415 w 1182528"/>
                <a:gd name="connsiteY826" fmla="*/ 592169 h 1101852"/>
                <a:gd name="connsiteX827" fmla="*/ 1036225 w 1182528"/>
                <a:gd name="connsiteY827" fmla="*/ 590645 h 1101852"/>
                <a:gd name="connsiteX828" fmla="*/ 1034606 w 1182528"/>
                <a:gd name="connsiteY828" fmla="*/ 590836 h 1101852"/>
                <a:gd name="connsiteX829" fmla="*/ 1033081 w 1182528"/>
                <a:gd name="connsiteY829" fmla="*/ 591026 h 1101852"/>
                <a:gd name="connsiteX830" fmla="*/ 1034415 w 1182528"/>
                <a:gd name="connsiteY830" fmla="*/ 589217 h 1101852"/>
                <a:gd name="connsiteX831" fmla="*/ 1032605 w 1182528"/>
                <a:gd name="connsiteY831" fmla="*/ 587883 h 1101852"/>
                <a:gd name="connsiteX832" fmla="*/ 1033844 w 1182528"/>
                <a:gd name="connsiteY832" fmla="*/ 584549 h 1101852"/>
                <a:gd name="connsiteX833" fmla="*/ 1030700 w 1182528"/>
                <a:gd name="connsiteY833" fmla="*/ 584930 h 1101852"/>
                <a:gd name="connsiteX834" fmla="*/ 1032034 w 1182528"/>
                <a:gd name="connsiteY834" fmla="*/ 583121 h 1101852"/>
                <a:gd name="connsiteX835" fmla="*/ 1030510 w 1182528"/>
                <a:gd name="connsiteY835" fmla="*/ 583311 h 1101852"/>
                <a:gd name="connsiteX836" fmla="*/ 1027843 w 1182528"/>
                <a:gd name="connsiteY836" fmla="*/ 575596 h 1101852"/>
                <a:gd name="connsiteX837" fmla="*/ 1020985 w 1182528"/>
                <a:gd name="connsiteY837" fmla="*/ 571691 h 1101852"/>
                <a:gd name="connsiteX838" fmla="*/ 1022128 w 1182528"/>
                <a:gd name="connsiteY838" fmla="*/ 568357 h 1101852"/>
                <a:gd name="connsiteX839" fmla="*/ 1020985 w 1182528"/>
                <a:gd name="connsiteY839" fmla="*/ 558927 h 1101852"/>
                <a:gd name="connsiteX840" fmla="*/ 1018985 w 1182528"/>
                <a:gd name="connsiteY840" fmla="*/ 555974 h 1101852"/>
                <a:gd name="connsiteX841" fmla="*/ 1018603 w 1182528"/>
                <a:gd name="connsiteY841" fmla="*/ 552736 h 1101852"/>
                <a:gd name="connsiteX842" fmla="*/ 1016984 w 1182528"/>
                <a:gd name="connsiteY842" fmla="*/ 553022 h 1101852"/>
                <a:gd name="connsiteX843" fmla="*/ 1015746 w 1182528"/>
                <a:gd name="connsiteY843" fmla="*/ 543497 h 1101852"/>
                <a:gd name="connsiteX844" fmla="*/ 1012603 w 1182528"/>
                <a:gd name="connsiteY844" fmla="*/ 543878 h 1101852"/>
                <a:gd name="connsiteX845" fmla="*/ 1014031 w 1182528"/>
                <a:gd name="connsiteY845" fmla="*/ 542163 h 1101852"/>
                <a:gd name="connsiteX846" fmla="*/ 1012412 w 1182528"/>
                <a:gd name="connsiteY846" fmla="*/ 542354 h 1101852"/>
                <a:gd name="connsiteX847" fmla="*/ 1013174 w 1182528"/>
                <a:gd name="connsiteY847" fmla="*/ 535781 h 1101852"/>
                <a:gd name="connsiteX848" fmla="*/ 1003078 w 1182528"/>
                <a:gd name="connsiteY848" fmla="*/ 532257 h 1101852"/>
                <a:gd name="connsiteX849" fmla="*/ 1004316 w 1182528"/>
                <a:gd name="connsiteY849" fmla="*/ 528923 h 1101852"/>
                <a:gd name="connsiteX850" fmla="*/ 1000315 w 1182528"/>
                <a:gd name="connsiteY850" fmla="*/ 523018 h 1101852"/>
                <a:gd name="connsiteX851" fmla="*/ 995363 w 1182528"/>
                <a:gd name="connsiteY851" fmla="*/ 522065 h 1101852"/>
                <a:gd name="connsiteX852" fmla="*/ 997934 w 1182528"/>
                <a:gd name="connsiteY852" fmla="*/ 516922 h 1101852"/>
                <a:gd name="connsiteX853" fmla="*/ 994981 w 1182528"/>
                <a:gd name="connsiteY853" fmla="*/ 506063 h 1101852"/>
                <a:gd name="connsiteX854" fmla="*/ 987838 w 1182528"/>
                <a:gd name="connsiteY854" fmla="*/ 500539 h 1101852"/>
                <a:gd name="connsiteX855" fmla="*/ 987457 w 1182528"/>
                <a:gd name="connsiteY855" fmla="*/ 497396 h 1101852"/>
                <a:gd name="connsiteX856" fmla="*/ 988790 w 1182528"/>
                <a:gd name="connsiteY856" fmla="*/ 495586 h 1101852"/>
                <a:gd name="connsiteX857" fmla="*/ 981742 w 1182528"/>
                <a:gd name="connsiteY857" fmla="*/ 490157 h 1101852"/>
                <a:gd name="connsiteX858" fmla="*/ 985266 w 1182528"/>
                <a:gd name="connsiteY858" fmla="*/ 480060 h 1101852"/>
                <a:gd name="connsiteX859" fmla="*/ 984790 w 1182528"/>
                <a:gd name="connsiteY859" fmla="*/ 476917 h 1101852"/>
                <a:gd name="connsiteX860" fmla="*/ 982027 w 1182528"/>
                <a:gd name="connsiteY860" fmla="*/ 467582 h 1101852"/>
                <a:gd name="connsiteX861" fmla="*/ 981837 w 1182528"/>
                <a:gd name="connsiteY861" fmla="*/ 466058 h 1101852"/>
                <a:gd name="connsiteX862" fmla="*/ 981456 w 1182528"/>
                <a:gd name="connsiteY862" fmla="*/ 462915 h 1101852"/>
                <a:gd name="connsiteX863" fmla="*/ 982218 w 1182528"/>
                <a:gd name="connsiteY863" fmla="*/ 456343 h 1101852"/>
                <a:gd name="connsiteX864" fmla="*/ 980599 w 1182528"/>
                <a:gd name="connsiteY864" fmla="*/ 456533 h 1101852"/>
                <a:gd name="connsiteX865" fmla="*/ 975931 w 1182528"/>
                <a:gd name="connsiteY865" fmla="*/ 457200 h 1101852"/>
                <a:gd name="connsiteX866" fmla="*/ 970978 w 1182528"/>
                <a:gd name="connsiteY866" fmla="*/ 456248 h 1101852"/>
                <a:gd name="connsiteX867" fmla="*/ 971169 w 1182528"/>
                <a:gd name="connsiteY867" fmla="*/ 444913 h 1101852"/>
                <a:gd name="connsiteX868" fmla="*/ 977456 w 1182528"/>
                <a:gd name="connsiteY868" fmla="*/ 431292 h 1101852"/>
                <a:gd name="connsiteX869" fmla="*/ 979170 w 1182528"/>
                <a:gd name="connsiteY869" fmla="*/ 432721 h 1101852"/>
                <a:gd name="connsiteX870" fmla="*/ 993553 w 1182528"/>
                <a:gd name="connsiteY870" fmla="*/ 419672 h 1101852"/>
                <a:gd name="connsiteX871" fmla="*/ 992981 w 1182528"/>
                <a:gd name="connsiteY871" fmla="*/ 414909 h 1101852"/>
                <a:gd name="connsiteX872" fmla="*/ 986028 w 1182528"/>
                <a:gd name="connsiteY872" fmla="*/ 411004 h 1101852"/>
                <a:gd name="connsiteX873" fmla="*/ 986600 w 1182528"/>
                <a:gd name="connsiteY873" fmla="*/ 402908 h 1101852"/>
                <a:gd name="connsiteX874" fmla="*/ 990790 w 1182528"/>
                <a:gd name="connsiteY874" fmla="*/ 397574 h 1101852"/>
                <a:gd name="connsiteX875" fmla="*/ 989933 w 1182528"/>
                <a:gd name="connsiteY875" fmla="*/ 391192 h 1101852"/>
                <a:gd name="connsiteX876" fmla="*/ 993839 w 1182528"/>
                <a:gd name="connsiteY876" fmla="*/ 384334 h 1101852"/>
                <a:gd name="connsiteX877" fmla="*/ 1003173 w 1182528"/>
                <a:gd name="connsiteY877" fmla="*/ 381572 h 1101852"/>
                <a:gd name="connsiteX878" fmla="*/ 1012222 w 1182528"/>
                <a:gd name="connsiteY878" fmla="*/ 377190 h 1101852"/>
                <a:gd name="connsiteX879" fmla="*/ 1015936 w 1182528"/>
                <a:gd name="connsiteY879" fmla="*/ 368713 h 1101852"/>
                <a:gd name="connsiteX880" fmla="*/ 1015746 w 1182528"/>
                <a:gd name="connsiteY880" fmla="*/ 367094 h 1101852"/>
                <a:gd name="connsiteX881" fmla="*/ 1018318 w 1182528"/>
                <a:gd name="connsiteY881" fmla="*/ 361950 h 1101852"/>
                <a:gd name="connsiteX882" fmla="*/ 1020699 w 1182528"/>
                <a:gd name="connsiteY882" fmla="*/ 368046 h 1101852"/>
                <a:gd name="connsiteX883" fmla="*/ 1019461 w 1182528"/>
                <a:gd name="connsiteY883" fmla="*/ 371475 h 1101852"/>
                <a:gd name="connsiteX884" fmla="*/ 1021080 w 1182528"/>
                <a:gd name="connsiteY884" fmla="*/ 371189 h 1101852"/>
                <a:gd name="connsiteX885" fmla="*/ 1027367 w 1182528"/>
                <a:gd name="connsiteY885" fmla="*/ 370427 h 1101852"/>
                <a:gd name="connsiteX886" fmla="*/ 1030129 w 1182528"/>
                <a:gd name="connsiteY886" fmla="*/ 366903 h 1101852"/>
                <a:gd name="connsiteX887" fmla="*/ 1021271 w 1182528"/>
                <a:gd name="connsiteY887" fmla="*/ 359950 h 1101852"/>
                <a:gd name="connsiteX888" fmla="*/ 1022032 w 1182528"/>
                <a:gd name="connsiteY888" fmla="*/ 353473 h 1101852"/>
                <a:gd name="connsiteX889" fmla="*/ 1024985 w 1182528"/>
                <a:gd name="connsiteY889" fmla="*/ 351473 h 1101852"/>
                <a:gd name="connsiteX890" fmla="*/ 1025938 w 1182528"/>
                <a:gd name="connsiteY890" fmla="*/ 346520 h 1101852"/>
                <a:gd name="connsiteX891" fmla="*/ 1027462 w 1182528"/>
                <a:gd name="connsiteY891" fmla="*/ 333566 h 1101852"/>
                <a:gd name="connsiteX892" fmla="*/ 1032986 w 1182528"/>
                <a:gd name="connsiteY892" fmla="*/ 326422 h 1101852"/>
                <a:gd name="connsiteX893" fmla="*/ 1032796 w 1182528"/>
                <a:gd name="connsiteY893" fmla="*/ 324803 h 1101852"/>
                <a:gd name="connsiteX894" fmla="*/ 1037558 w 1182528"/>
                <a:gd name="connsiteY894" fmla="*/ 324231 h 1101852"/>
                <a:gd name="connsiteX895" fmla="*/ 1042702 w 1182528"/>
                <a:gd name="connsiteY895" fmla="*/ 326803 h 1101852"/>
                <a:gd name="connsiteX896" fmla="*/ 1048036 w 1182528"/>
                <a:gd name="connsiteY896" fmla="*/ 318040 h 1101852"/>
                <a:gd name="connsiteX897" fmla="*/ 1042416 w 1182528"/>
                <a:gd name="connsiteY897" fmla="*/ 312420 h 1101852"/>
                <a:gd name="connsiteX898" fmla="*/ 1043654 w 1182528"/>
                <a:gd name="connsiteY898" fmla="*/ 308991 h 1101852"/>
                <a:gd name="connsiteX899" fmla="*/ 1049560 w 1182528"/>
                <a:gd name="connsiteY899" fmla="*/ 305086 h 1101852"/>
                <a:gd name="connsiteX900" fmla="*/ 1049369 w 1182528"/>
                <a:gd name="connsiteY900" fmla="*/ 303467 h 1101852"/>
                <a:gd name="connsiteX901" fmla="*/ 1049179 w 1182528"/>
                <a:gd name="connsiteY901" fmla="*/ 301943 h 1101852"/>
                <a:gd name="connsiteX902" fmla="*/ 1047369 w 1182528"/>
                <a:gd name="connsiteY902" fmla="*/ 300514 h 1101852"/>
                <a:gd name="connsiteX903" fmla="*/ 1045750 w 1182528"/>
                <a:gd name="connsiteY903" fmla="*/ 300704 h 1101852"/>
                <a:gd name="connsiteX904" fmla="*/ 1044035 w 1182528"/>
                <a:gd name="connsiteY904" fmla="*/ 299371 h 1101852"/>
                <a:gd name="connsiteX905" fmla="*/ 1044988 w 1182528"/>
                <a:gd name="connsiteY905" fmla="*/ 294418 h 1101852"/>
                <a:gd name="connsiteX906" fmla="*/ 1043178 w 1182528"/>
                <a:gd name="connsiteY906" fmla="*/ 293084 h 1101852"/>
                <a:gd name="connsiteX907" fmla="*/ 1045750 w 1182528"/>
                <a:gd name="connsiteY907" fmla="*/ 287941 h 1101852"/>
                <a:gd name="connsiteX908" fmla="*/ 1049274 w 1182528"/>
                <a:gd name="connsiteY908" fmla="*/ 290703 h 1101852"/>
                <a:gd name="connsiteX909" fmla="*/ 1048893 w 1182528"/>
                <a:gd name="connsiteY909" fmla="*/ 287465 h 1101852"/>
                <a:gd name="connsiteX910" fmla="*/ 1045559 w 1182528"/>
                <a:gd name="connsiteY910" fmla="*/ 286322 h 1101852"/>
                <a:gd name="connsiteX911" fmla="*/ 1044131 w 1182528"/>
                <a:gd name="connsiteY911" fmla="*/ 288131 h 1101852"/>
                <a:gd name="connsiteX912" fmla="*/ 1040797 w 1182528"/>
                <a:gd name="connsiteY912" fmla="*/ 286893 h 1101852"/>
                <a:gd name="connsiteX913" fmla="*/ 1042226 w 1182528"/>
                <a:gd name="connsiteY913" fmla="*/ 285179 h 1101852"/>
                <a:gd name="connsiteX914" fmla="*/ 1038415 w 1182528"/>
                <a:gd name="connsiteY914" fmla="*/ 280797 h 1101852"/>
                <a:gd name="connsiteX915" fmla="*/ 1044511 w 1182528"/>
                <a:gd name="connsiteY915" fmla="*/ 278416 h 1101852"/>
                <a:gd name="connsiteX916" fmla="*/ 1050036 w 1182528"/>
                <a:gd name="connsiteY916" fmla="*/ 284131 h 1101852"/>
                <a:gd name="connsiteX917" fmla="*/ 1054227 w 1182528"/>
                <a:gd name="connsiteY917" fmla="*/ 278797 h 1101852"/>
                <a:gd name="connsiteX918" fmla="*/ 1061942 w 1182528"/>
                <a:gd name="connsiteY918" fmla="*/ 276225 h 1101852"/>
                <a:gd name="connsiteX919" fmla="*/ 1063657 w 1182528"/>
                <a:gd name="connsiteY919" fmla="*/ 277559 h 1101852"/>
                <a:gd name="connsiteX920" fmla="*/ 1066800 w 1182528"/>
                <a:gd name="connsiteY920" fmla="*/ 277178 h 1101852"/>
                <a:gd name="connsiteX921" fmla="*/ 1065848 w 1182528"/>
                <a:gd name="connsiteY921" fmla="*/ 282131 h 1101852"/>
                <a:gd name="connsiteX922" fmla="*/ 1063085 w 1182528"/>
                <a:gd name="connsiteY922" fmla="*/ 285655 h 1101852"/>
                <a:gd name="connsiteX923" fmla="*/ 1067657 w 1182528"/>
                <a:gd name="connsiteY923" fmla="*/ 283464 h 1101852"/>
                <a:gd name="connsiteX924" fmla="*/ 1069372 w 1182528"/>
                <a:gd name="connsiteY924" fmla="*/ 284893 h 1101852"/>
                <a:gd name="connsiteX925" fmla="*/ 1070801 w 1182528"/>
                <a:gd name="connsiteY925" fmla="*/ 283083 h 1101852"/>
                <a:gd name="connsiteX926" fmla="*/ 1073944 w 1182528"/>
                <a:gd name="connsiteY926" fmla="*/ 282702 h 1101852"/>
                <a:gd name="connsiteX927" fmla="*/ 1082611 w 1182528"/>
                <a:gd name="connsiteY927" fmla="*/ 288036 h 1101852"/>
                <a:gd name="connsiteX928" fmla="*/ 1084993 w 1182528"/>
                <a:gd name="connsiteY928" fmla="*/ 294132 h 1101852"/>
                <a:gd name="connsiteX929" fmla="*/ 1093280 w 1182528"/>
                <a:gd name="connsiteY929" fmla="*/ 296323 h 1101852"/>
                <a:gd name="connsiteX930" fmla="*/ 1095280 w 1182528"/>
                <a:gd name="connsiteY930" fmla="*/ 299276 h 1101852"/>
                <a:gd name="connsiteX931" fmla="*/ 1101661 w 1182528"/>
                <a:gd name="connsiteY931" fmla="*/ 298418 h 1101852"/>
                <a:gd name="connsiteX932" fmla="*/ 1105376 w 1182528"/>
                <a:gd name="connsiteY932" fmla="*/ 302800 h 1101852"/>
                <a:gd name="connsiteX933" fmla="*/ 1106329 w 1182528"/>
                <a:gd name="connsiteY933" fmla="*/ 297847 h 1101852"/>
                <a:gd name="connsiteX934" fmla="*/ 1106519 w 1182528"/>
                <a:gd name="connsiteY934" fmla="*/ 299371 h 1101852"/>
                <a:gd name="connsiteX935" fmla="*/ 1111282 w 1182528"/>
                <a:gd name="connsiteY935" fmla="*/ 298799 h 1101852"/>
                <a:gd name="connsiteX936" fmla="*/ 1118997 w 1182528"/>
                <a:gd name="connsiteY936" fmla="*/ 296228 h 1101852"/>
                <a:gd name="connsiteX937" fmla="*/ 1121093 w 1182528"/>
                <a:gd name="connsiteY937" fmla="*/ 287941 h 1101852"/>
                <a:gd name="connsiteX938" fmla="*/ 1119950 w 1182528"/>
                <a:gd name="connsiteY938" fmla="*/ 278416 h 1101852"/>
                <a:gd name="connsiteX939" fmla="*/ 1122426 w 1182528"/>
                <a:gd name="connsiteY939" fmla="*/ 273272 h 1101852"/>
                <a:gd name="connsiteX940" fmla="*/ 1121474 w 1182528"/>
                <a:gd name="connsiteY940" fmla="*/ 265462 h 1101852"/>
                <a:gd name="connsiteX941" fmla="*/ 1125760 w 1182528"/>
                <a:gd name="connsiteY941" fmla="*/ 261652 h 1101852"/>
                <a:gd name="connsiteX942" fmla="*/ 1123188 w 1182528"/>
                <a:gd name="connsiteY942" fmla="*/ 253937 h 1101852"/>
                <a:gd name="connsiteX943" fmla="*/ 1124426 w 1182528"/>
                <a:gd name="connsiteY943" fmla="*/ 250603 h 1101852"/>
                <a:gd name="connsiteX944" fmla="*/ 1139190 w 1182528"/>
                <a:gd name="connsiteY944" fmla="*/ 253556 h 1101852"/>
                <a:gd name="connsiteX945" fmla="*/ 1143572 w 1182528"/>
                <a:gd name="connsiteY945" fmla="*/ 249746 h 1101852"/>
                <a:gd name="connsiteX946" fmla="*/ 1148239 w 1182528"/>
                <a:gd name="connsiteY946" fmla="*/ 249174 h 1101852"/>
                <a:gd name="connsiteX947" fmla="*/ 1151192 w 1182528"/>
                <a:gd name="connsiteY947" fmla="*/ 247174 h 1101852"/>
                <a:gd name="connsiteX948" fmla="*/ 1158716 w 1182528"/>
                <a:gd name="connsiteY948" fmla="*/ 230219 h 1101852"/>
                <a:gd name="connsiteX949" fmla="*/ 1159288 w 1182528"/>
                <a:gd name="connsiteY949" fmla="*/ 222123 h 1101852"/>
                <a:gd name="connsiteX950" fmla="*/ 1162050 w 1182528"/>
                <a:gd name="connsiteY950" fmla="*/ 218599 h 1101852"/>
                <a:gd name="connsiteX951" fmla="*/ 1168813 w 1182528"/>
                <a:gd name="connsiteY951" fmla="*/ 196882 h 1101852"/>
                <a:gd name="connsiteX952" fmla="*/ 1171956 w 1182528"/>
                <a:gd name="connsiteY952" fmla="*/ 183642 h 1101852"/>
                <a:gd name="connsiteX953" fmla="*/ 1182243 w 1182528"/>
                <a:gd name="connsiteY953" fmla="*/ 175927 h 1101852"/>
                <a:gd name="connsiteX954" fmla="*/ 1182529 w 1182528"/>
                <a:gd name="connsiteY954" fmla="*/ 153353 h 1101852"/>
                <a:gd name="connsiteX955" fmla="*/ 1180148 w 1182528"/>
                <a:gd name="connsiteY955" fmla="*/ 147257 h 1101852"/>
                <a:gd name="connsiteX956" fmla="*/ 1180148 w 1182528"/>
                <a:gd name="connsiteY956" fmla="*/ 147257 h 1101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</a:cxnLst>
              <a:rect l="l" t="t" r="r" b="b"/>
              <a:pathLst>
                <a:path w="1182528" h="1101852">
                  <a:moveTo>
                    <a:pt x="1180148" y="147257"/>
                  </a:moveTo>
                  <a:lnTo>
                    <a:pt x="1175290" y="146304"/>
                  </a:lnTo>
                  <a:lnTo>
                    <a:pt x="1165003" y="154019"/>
                  </a:lnTo>
                  <a:lnTo>
                    <a:pt x="1158526" y="153257"/>
                  </a:lnTo>
                  <a:lnTo>
                    <a:pt x="1154144" y="156972"/>
                  </a:lnTo>
                  <a:lnTo>
                    <a:pt x="1146239" y="158020"/>
                  </a:lnTo>
                  <a:lnTo>
                    <a:pt x="1134428" y="165926"/>
                  </a:lnTo>
                  <a:lnTo>
                    <a:pt x="1130903" y="163163"/>
                  </a:lnTo>
                  <a:lnTo>
                    <a:pt x="1122617" y="161068"/>
                  </a:lnTo>
                  <a:lnTo>
                    <a:pt x="1120045" y="153353"/>
                  </a:lnTo>
                  <a:lnTo>
                    <a:pt x="1126331" y="139732"/>
                  </a:lnTo>
                  <a:lnTo>
                    <a:pt x="1134809" y="130588"/>
                  </a:lnTo>
                  <a:lnTo>
                    <a:pt x="1135571" y="124111"/>
                  </a:lnTo>
                  <a:lnTo>
                    <a:pt x="1143381" y="110300"/>
                  </a:lnTo>
                  <a:lnTo>
                    <a:pt x="1141190" y="105728"/>
                  </a:lnTo>
                  <a:lnTo>
                    <a:pt x="1143953" y="102203"/>
                  </a:lnTo>
                  <a:lnTo>
                    <a:pt x="1143381" y="97441"/>
                  </a:lnTo>
                  <a:lnTo>
                    <a:pt x="1145953" y="92297"/>
                  </a:lnTo>
                  <a:lnTo>
                    <a:pt x="1146048" y="81058"/>
                  </a:lnTo>
                  <a:lnTo>
                    <a:pt x="1142905" y="81439"/>
                  </a:lnTo>
                  <a:lnTo>
                    <a:pt x="1135571" y="74390"/>
                  </a:lnTo>
                  <a:lnTo>
                    <a:pt x="1133189" y="68294"/>
                  </a:lnTo>
                  <a:lnTo>
                    <a:pt x="1124140" y="59817"/>
                  </a:lnTo>
                  <a:lnTo>
                    <a:pt x="1122140" y="56864"/>
                  </a:lnTo>
                  <a:lnTo>
                    <a:pt x="1119188" y="58865"/>
                  </a:lnTo>
                  <a:lnTo>
                    <a:pt x="1103662" y="62389"/>
                  </a:lnTo>
                  <a:lnTo>
                    <a:pt x="1101852" y="61055"/>
                  </a:lnTo>
                  <a:lnTo>
                    <a:pt x="1101661" y="59436"/>
                  </a:lnTo>
                  <a:lnTo>
                    <a:pt x="1102805" y="56102"/>
                  </a:lnTo>
                  <a:lnTo>
                    <a:pt x="1105757" y="54102"/>
                  </a:lnTo>
                  <a:lnTo>
                    <a:pt x="1105567" y="52578"/>
                  </a:lnTo>
                  <a:lnTo>
                    <a:pt x="1100042" y="46863"/>
                  </a:lnTo>
                  <a:lnTo>
                    <a:pt x="1078516" y="41529"/>
                  </a:lnTo>
                  <a:lnTo>
                    <a:pt x="1078706" y="30290"/>
                  </a:lnTo>
                  <a:lnTo>
                    <a:pt x="1083564" y="18479"/>
                  </a:lnTo>
                  <a:lnTo>
                    <a:pt x="1079659" y="12573"/>
                  </a:lnTo>
                  <a:lnTo>
                    <a:pt x="1072134" y="16764"/>
                  </a:lnTo>
                  <a:lnTo>
                    <a:pt x="1074896" y="26003"/>
                  </a:lnTo>
                  <a:lnTo>
                    <a:pt x="1073372" y="39053"/>
                  </a:lnTo>
                  <a:lnTo>
                    <a:pt x="1061942" y="37243"/>
                  </a:lnTo>
                  <a:lnTo>
                    <a:pt x="1061276" y="32576"/>
                  </a:lnTo>
                  <a:lnTo>
                    <a:pt x="1059561" y="31147"/>
                  </a:lnTo>
                  <a:lnTo>
                    <a:pt x="1054036" y="25432"/>
                  </a:lnTo>
                  <a:lnTo>
                    <a:pt x="1047464" y="24670"/>
                  </a:lnTo>
                  <a:lnTo>
                    <a:pt x="1032891" y="36195"/>
                  </a:lnTo>
                  <a:lnTo>
                    <a:pt x="1031557" y="37910"/>
                  </a:lnTo>
                  <a:lnTo>
                    <a:pt x="1024223" y="43625"/>
                  </a:lnTo>
                  <a:lnTo>
                    <a:pt x="1017746" y="42863"/>
                  </a:lnTo>
                  <a:lnTo>
                    <a:pt x="1009269" y="39148"/>
                  </a:lnTo>
                  <a:lnTo>
                    <a:pt x="1004126" y="36576"/>
                  </a:lnTo>
                  <a:lnTo>
                    <a:pt x="998982" y="34100"/>
                  </a:lnTo>
                  <a:lnTo>
                    <a:pt x="997363" y="21431"/>
                  </a:lnTo>
                  <a:lnTo>
                    <a:pt x="992410" y="20479"/>
                  </a:lnTo>
                  <a:lnTo>
                    <a:pt x="985076" y="13335"/>
                  </a:lnTo>
                  <a:lnTo>
                    <a:pt x="974217" y="16383"/>
                  </a:lnTo>
                  <a:lnTo>
                    <a:pt x="972884" y="18098"/>
                  </a:lnTo>
                  <a:lnTo>
                    <a:pt x="966597" y="18955"/>
                  </a:lnTo>
                  <a:lnTo>
                    <a:pt x="960406" y="8477"/>
                  </a:lnTo>
                  <a:lnTo>
                    <a:pt x="951357" y="0"/>
                  </a:lnTo>
                  <a:lnTo>
                    <a:pt x="943451" y="1048"/>
                  </a:lnTo>
                  <a:lnTo>
                    <a:pt x="939356" y="6382"/>
                  </a:lnTo>
                  <a:lnTo>
                    <a:pt x="934402" y="18193"/>
                  </a:lnTo>
                  <a:lnTo>
                    <a:pt x="924497" y="16288"/>
                  </a:lnTo>
                  <a:lnTo>
                    <a:pt x="925163" y="21050"/>
                  </a:lnTo>
                  <a:lnTo>
                    <a:pt x="928497" y="22193"/>
                  </a:lnTo>
                  <a:lnTo>
                    <a:pt x="932498" y="28099"/>
                  </a:lnTo>
                  <a:lnTo>
                    <a:pt x="931735" y="34576"/>
                  </a:lnTo>
                  <a:lnTo>
                    <a:pt x="927735" y="41529"/>
                  </a:lnTo>
                  <a:lnTo>
                    <a:pt x="929735" y="44482"/>
                  </a:lnTo>
                  <a:lnTo>
                    <a:pt x="919448" y="52197"/>
                  </a:lnTo>
                  <a:lnTo>
                    <a:pt x="916114" y="51054"/>
                  </a:lnTo>
                  <a:lnTo>
                    <a:pt x="915352" y="57531"/>
                  </a:lnTo>
                  <a:lnTo>
                    <a:pt x="920877" y="63246"/>
                  </a:lnTo>
                  <a:lnTo>
                    <a:pt x="914019" y="72104"/>
                  </a:lnTo>
                  <a:lnTo>
                    <a:pt x="913067" y="77057"/>
                  </a:lnTo>
                  <a:lnTo>
                    <a:pt x="916781" y="81439"/>
                  </a:lnTo>
                  <a:lnTo>
                    <a:pt x="924877" y="82010"/>
                  </a:lnTo>
                  <a:lnTo>
                    <a:pt x="932212" y="89059"/>
                  </a:lnTo>
                  <a:lnTo>
                    <a:pt x="935355" y="88678"/>
                  </a:lnTo>
                  <a:lnTo>
                    <a:pt x="940118" y="88106"/>
                  </a:lnTo>
                  <a:lnTo>
                    <a:pt x="948976" y="82106"/>
                  </a:lnTo>
                  <a:lnTo>
                    <a:pt x="956881" y="81153"/>
                  </a:lnTo>
                  <a:lnTo>
                    <a:pt x="960596" y="85439"/>
                  </a:lnTo>
                  <a:lnTo>
                    <a:pt x="959453" y="88773"/>
                  </a:lnTo>
                  <a:lnTo>
                    <a:pt x="960215" y="95155"/>
                  </a:lnTo>
                  <a:lnTo>
                    <a:pt x="955548" y="95726"/>
                  </a:lnTo>
                  <a:lnTo>
                    <a:pt x="952119" y="94583"/>
                  </a:lnTo>
                  <a:lnTo>
                    <a:pt x="942118" y="103822"/>
                  </a:lnTo>
                  <a:lnTo>
                    <a:pt x="954119" y="110300"/>
                  </a:lnTo>
                  <a:lnTo>
                    <a:pt x="954405" y="111919"/>
                  </a:lnTo>
                  <a:lnTo>
                    <a:pt x="950023" y="115634"/>
                  </a:lnTo>
                  <a:lnTo>
                    <a:pt x="958882" y="122587"/>
                  </a:lnTo>
                  <a:lnTo>
                    <a:pt x="971740" y="122491"/>
                  </a:lnTo>
                  <a:lnTo>
                    <a:pt x="975551" y="126873"/>
                  </a:lnTo>
                  <a:lnTo>
                    <a:pt x="978884" y="128016"/>
                  </a:lnTo>
                  <a:lnTo>
                    <a:pt x="984218" y="132207"/>
                  </a:lnTo>
                  <a:lnTo>
                    <a:pt x="988695" y="130016"/>
                  </a:lnTo>
                  <a:lnTo>
                    <a:pt x="989362" y="134684"/>
                  </a:lnTo>
                  <a:lnTo>
                    <a:pt x="992696" y="135922"/>
                  </a:lnTo>
                  <a:lnTo>
                    <a:pt x="1001744" y="131540"/>
                  </a:lnTo>
                  <a:lnTo>
                    <a:pt x="1007269" y="137255"/>
                  </a:lnTo>
                  <a:lnTo>
                    <a:pt x="1011079" y="141542"/>
                  </a:lnTo>
                  <a:lnTo>
                    <a:pt x="1009936" y="144971"/>
                  </a:lnTo>
                  <a:lnTo>
                    <a:pt x="1010888" y="152781"/>
                  </a:lnTo>
                  <a:lnTo>
                    <a:pt x="1003173" y="155448"/>
                  </a:lnTo>
                  <a:lnTo>
                    <a:pt x="1006602" y="156591"/>
                  </a:lnTo>
                  <a:lnTo>
                    <a:pt x="1005364" y="159925"/>
                  </a:lnTo>
                  <a:lnTo>
                    <a:pt x="1002030" y="158782"/>
                  </a:lnTo>
                  <a:lnTo>
                    <a:pt x="1002221" y="160306"/>
                  </a:lnTo>
                  <a:lnTo>
                    <a:pt x="1000697" y="160496"/>
                  </a:lnTo>
                  <a:lnTo>
                    <a:pt x="1001839" y="170021"/>
                  </a:lnTo>
                  <a:lnTo>
                    <a:pt x="1001459" y="179642"/>
                  </a:lnTo>
                  <a:lnTo>
                    <a:pt x="1000125" y="181451"/>
                  </a:lnTo>
                  <a:lnTo>
                    <a:pt x="992219" y="182499"/>
                  </a:lnTo>
                  <a:lnTo>
                    <a:pt x="980599" y="179165"/>
                  </a:lnTo>
                  <a:lnTo>
                    <a:pt x="979170" y="180880"/>
                  </a:lnTo>
                  <a:lnTo>
                    <a:pt x="975646" y="178118"/>
                  </a:lnTo>
                  <a:lnTo>
                    <a:pt x="976408" y="184499"/>
                  </a:lnTo>
                  <a:lnTo>
                    <a:pt x="973646" y="188024"/>
                  </a:lnTo>
                  <a:lnTo>
                    <a:pt x="959644" y="191453"/>
                  </a:lnTo>
                  <a:lnTo>
                    <a:pt x="956310" y="190214"/>
                  </a:lnTo>
                  <a:lnTo>
                    <a:pt x="944309" y="196596"/>
                  </a:lnTo>
                  <a:lnTo>
                    <a:pt x="936022" y="194405"/>
                  </a:lnTo>
                  <a:lnTo>
                    <a:pt x="930307" y="187166"/>
                  </a:lnTo>
                  <a:lnTo>
                    <a:pt x="920210" y="183642"/>
                  </a:lnTo>
                  <a:lnTo>
                    <a:pt x="908399" y="191548"/>
                  </a:lnTo>
                  <a:lnTo>
                    <a:pt x="903827" y="193739"/>
                  </a:lnTo>
                  <a:lnTo>
                    <a:pt x="895540" y="191548"/>
                  </a:lnTo>
                  <a:lnTo>
                    <a:pt x="896969" y="202597"/>
                  </a:lnTo>
                  <a:lnTo>
                    <a:pt x="888302" y="222980"/>
                  </a:lnTo>
                  <a:lnTo>
                    <a:pt x="884968" y="221742"/>
                  </a:lnTo>
                  <a:lnTo>
                    <a:pt x="873347" y="231267"/>
                  </a:lnTo>
                  <a:lnTo>
                    <a:pt x="870204" y="231648"/>
                  </a:lnTo>
                  <a:lnTo>
                    <a:pt x="865823" y="235458"/>
                  </a:lnTo>
                  <a:lnTo>
                    <a:pt x="846773" y="236315"/>
                  </a:lnTo>
                  <a:lnTo>
                    <a:pt x="826198" y="251746"/>
                  </a:lnTo>
                  <a:lnTo>
                    <a:pt x="821341" y="250793"/>
                  </a:lnTo>
                  <a:lnTo>
                    <a:pt x="814006" y="256508"/>
                  </a:lnTo>
                  <a:lnTo>
                    <a:pt x="807720" y="257270"/>
                  </a:lnTo>
                  <a:lnTo>
                    <a:pt x="803148" y="259461"/>
                  </a:lnTo>
                  <a:lnTo>
                    <a:pt x="796861" y="260318"/>
                  </a:lnTo>
                  <a:lnTo>
                    <a:pt x="790003" y="269177"/>
                  </a:lnTo>
                  <a:lnTo>
                    <a:pt x="788956" y="274130"/>
                  </a:lnTo>
                  <a:lnTo>
                    <a:pt x="784669" y="277844"/>
                  </a:lnTo>
                  <a:lnTo>
                    <a:pt x="778383" y="278702"/>
                  </a:lnTo>
                  <a:lnTo>
                    <a:pt x="774764" y="275939"/>
                  </a:lnTo>
                  <a:lnTo>
                    <a:pt x="768477" y="276701"/>
                  </a:lnTo>
                  <a:lnTo>
                    <a:pt x="762190" y="277559"/>
                  </a:lnTo>
                  <a:lnTo>
                    <a:pt x="758285" y="284417"/>
                  </a:lnTo>
                  <a:lnTo>
                    <a:pt x="747522" y="276225"/>
                  </a:lnTo>
                  <a:lnTo>
                    <a:pt x="737902" y="275844"/>
                  </a:lnTo>
                  <a:lnTo>
                    <a:pt x="737330" y="271082"/>
                  </a:lnTo>
                  <a:lnTo>
                    <a:pt x="728567" y="265748"/>
                  </a:lnTo>
                  <a:lnTo>
                    <a:pt x="724281" y="269558"/>
                  </a:lnTo>
                  <a:lnTo>
                    <a:pt x="715423" y="275463"/>
                  </a:lnTo>
                  <a:lnTo>
                    <a:pt x="705898" y="276701"/>
                  </a:lnTo>
                  <a:lnTo>
                    <a:pt x="702945" y="278606"/>
                  </a:lnTo>
                  <a:lnTo>
                    <a:pt x="703993" y="286512"/>
                  </a:lnTo>
                  <a:lnTo>
                    <a:pt x="699611" y="290322"/>
                  </a:lnTo>
                  <a:lnTo>
                    <a:pt x="696944" y="293846"/>
                  </a:lnTo>
                  <a:lnTo>
                    <a:pt x="692753" y="299180"/>
                  </a:lnTo>
                  <a:lnTo>
                    <a:pt x="678180" y="297847"/>
                  </a:lnTo>
                  <a:lnTo>
                    <a:pt x="669512" y="292513"/>
                  </a:lnTo>
                  <a:lnTo>
                    <a:pt x="665131" y="296323"/>
                  </a:lnTo>
                  <a:lnTo>
                    <a:pt x="664178" y="301276"/>
                  </a:lnTo>
                  <a:lnTo>
                    <a:pt x="665988" y="302609"/>
                  </a:lnTo>
                  <a:lnTo>
                    <a:pt x="661988" y="309563"/>
                  </a:lnTo>
                  <a:lnTo>
                    <a:pt x="661226" y="316039"/>
                  </a:lnTo>
                  <a:lnTo>
                    <a:pt x="657130" y="321374"/>
                  </a:lnTo>
                  <a:lnTo>
                    <a:pt x="659702" y="329089"/>
                  </a:lnTo>
                  <a:lnTo>
                    <a:pt x="667417" y="339281"/>
                  </a:lnTo>
                  <a:lnTo>
                    <a:pt x="663893" y="349377"/>
                  </a:lnTo>
                  <a:lnTo>
                    <a:pt x="655034" y="355378"/>
                  </a:lnTo>
                  <a:lnTo>
                    <a:pt x="652081" y="357283"/>
                  </a:lnTo>
                  <a:lnTo>
                    <a:pt x="644747" y="350234"/>
                  </a:lnTo>
                  <a:lnTo>
                    <a:pt x="639985" y="350806"/>
                  </a:lnTo>
                  <a:lnTo>
                    <a:pt x="639413" y="358902"/>
                  </a:lnTo>
                  <a:lnTo>
                    <a:pt x="635889" y="368999"/>
                  </a:lnTo>
                  <a:lnTo>
                    <a:pt x="628174" y="371570"/>
                  </a:lnTo>
                  <a:lnTo>
                    <a:pt x="621316" y="367665"/>
                  </a:lnTo>
                  <a:lnTo>
                    <a:pt x="618554" y="371189"/>
                  </a:lnTo>
                  <a:lnTo>
                    <a:pt x="615410" y="371570"/>
                  </a:lnTo>
                  <a:lnTo>
                    <a:pt x="606266" y="363188"/>
                  </a:lnTo>
                  <a:lnTo>
                    <a:pt x="602742" y="360426"/>
                  </a:lnTo>
                  <a:lnTo>
                    <a:pt x="596265" y="359569"/>
                  </a:lnTo>
                  <a:lnTo>
                    <a:pt x="591693" y="361760"/>
                  </a:lnTo>
                  <a:lnTo>
                    <a:pt x="589502" y="357283"/>
                  </a:lnTo>
                  <a:lnTo>
                    <a:pt x="586740" y="360807"/>
                  </a:lnTo>
                  <a:lnTo>
                    <a:pt x="583025" y="356521"/>
                  </a:lnTo>
                  <a:lnTo>
                    <a:pt x="578644" y="360236"/>
                  </a:lnTo>
                  <a:lnTo>
                    <a:pt x="573500" y="357664"/>
                  </a:lnTo>
                  <a:lnTo>
                    <a:pt x="568833" y="358331"/>
                  </a:lnTo>
                  <a:lnTo>
                    <a:pt x="564642" y="363664"/>
                  </a:lnTo>
                  <a:lnTo>
                    <a:pt x="561689" y="365570"/>
                  </a:lnTo>
                  <a:lnTo>
                    <a:pt x="555403" y="366427"/>
                  </a:lnTo>
                  <a:lnTo>
                    <a:pt x="547878" y="357759"/>
                  </a:lnTo>
                  <a:lnTo>
                    <a:pt x="539591" y="368427"/>
                  </a:lnTo>
                  <a:lnTo>
                    <a:pt x="534924" y="368999"/>
                  </a:lnTo>
                  <a:lnTo>
                    <a:pt x="537305" y="375190"/>
                  </a:lnTo>
                  <a:lnTo>
                    <a:pt x="534543" y="378714"/>
                  </a:lnTo>
                  <a:lnTo>
                    <a:pt x="522827" y="375380"/>
                  </a:lnTo>
                  <a:lnTo>
                    <a:pt x="517112" y="368046"/>
                  </a:lnTo>
                  <a:lnTo>
                    <a:pt x="504825" y="360045"/>
                  </a:lnTo>
                  <a:lnTo>
                    <a:pt x="490633" y="361855"/>
                  </a:lnTo>
                  <a:lnTo>
                    <a:pt x="484727" y="365760"/>
                  </a:lnTo>
                  <a:lnTo>
                    <a:pt x="477298" y="369951"/>
                  </a:lnTo>
                  <a:lnTo>
                    <a:pt x="478250" y="377857"/>
                  </a:lnTo>
                  <a:lnTo>
                    <a:pt x="467201" y="379286"/>
                  </a:lnTo>
                  <a:lnTo>
                    <a:pt x="461296" y="383191"/>
                  </a:lnTo>
                  <a:lnTo>
                    <a:pt x="451199" y="379667"/>
                  </a:lnTo>
                  <a:lnTo>
                    <a:pt x="441389" y="377762"/>
                  </a:lnTo>
                  <a:lnTo>
                    <a:pt x="438436" y="379762"/>
                  </a:lnTo>
                  <a:lnTo>
                    <a:pt x="433292" y="377190"/>
                  </a:lnTo>
                  <a:lnTo>
                    <a:pt x="428530" y="377762"/>
                  </a:lnTo>
                  <a:lnTo>
                    <a:pt x="422434" y="380143"/>
                  </a:lnTo>
                  <a:lnTo>
                    <a:pt x="416909" y="387287"/>
                  </a:lnTo>
                  <a:lnTo>
                    <a:pt x="408813" y="386715"/>
                  </a:lnTo>
                  <a:lnTo>
                    <a:pt x="409861" y="394621"/>
                  </a:lnTo>
                  <a:lnTo>
                    <a:pt x="417576" y="404813"/>
                  </a:lnTo>
                  <a:lnTo>
                    <a:pt x="419767" y="409385"/>
                  </a:lnTo>
                  <a:lnTo>
                    <a:pt x="420910" y="418814"/>
                  </a:lnTo>
                  <a:lnTo>
                    <a:pt x="418147" y="422434"/>
                  </a:lnTo>
                  <a:lnTo>
                    <a:pt x="419005" y="428720"/>
                  </a:lnTo>
                  <a:lnTo>
                    <a:pt x="417576" y="430435"/>
                  </a:lnTo>
                  <a:lnTo>
                    <a:pt x="412718" y="429482"/>
                  </a:lnTo>
                  <a:lnTo>
                    <a:pt x="398716" y="445675"/>
                  </a:lnTo>
                  <a:lnTo>
                    <a:pt x="401288" y="453390"/>
                  </a:lnTo>
                  <a:lnTo>
                    <a:pt x="407575" y="452628"/>
                  </a:lnTo>
                  <a:lnTo>
                    <a:pt x="407194" y="462248"/>
                  </a:lnTo>
                  <a:lnTo>
                    <a:pt x="402908" y="466058"/>
                  </a:lnTo>
                  <a:lnTo>
                    <a:pt x="391858" y="467487"/>
                  </a:lnTo>
                  <a:lnTo>
                    <a:pt x="387477" y="471202"/>
                  </a:lnTo>
                  <a:lnTo>
                    <a:pt x="386906" y="479298"/>
                  </a:lnTo>
                  <a:lnTo>
                    <a:pt x="373761" y="489013"/>
                  </a:lnTo>
                  <a:lnTo>
                    <a:pt x="374142" y="492157"/>
                  </a:lnTo>
                  <a:lnTo>
                    <a:pt x="369856" y="495872"/>
                  </a:lnTo>
                  <a:lnTo>
                    <a:pt x="364331" y="503015"/>
                  </a:lnTo>
                  <a:lnTo>
                    <a:pt x="350329" y="493586"/>
                  </a:lnTo>
                  <a:lnTo>
                    <a:pt x="342233" y="493014"/>
                  </a:lnTo>
                  <a:lnTo>
                    <a:pt x="338614" y="490252"/>
                  </a:lnTo>
                  <a:lnTo>
                    <a:pt x="340233" y="490061"/>
                  </a:lnTo>
                  <a:lnTo>
                    <a:pt x="338233" y="487109"/>
                  </a:lnTo>
                  <a:lnTo>
                    <a:pt x="331756" y="486347"/>
                  </a:lnTo>
                  <a:lnTo>
                    <a:pt x="329946" y="484918"/>
                  </a:lnTo>
                  <a:lnTo>
                    <a:pt x="330899" y="480060"/>
                  </a:lnTo>
                  <a:lnTo>
                    <a:pt x="324326" y="466439"/>
                  </a:lnTo>
                  <a:lnTo>
                    <a:pt x="316611" y="456152"/>
                  </a:lnTo>
                  <a:lnTo>
                    <a:pt x="316039" y="451485"/>
                  </a:lnTo>
                  <a:lnTo>
                    <a:pt x="311087" y="450437"/>
                  </a:lnTo>
                  <a:lnTo>
                    <a:pt x="309753" y="452247"/>
                  </a:lnTo>
                  <a:lnTo>
                    <a:pt x="305943" y="447961"/>
                  </a:lnTo>
                  <a:lnTo>
                    <a:pt x="300799" y="445389"/>
                  </a:lnTo>
                  <a:lnTo>
                    <a:pt x="303657" y="467487"/>
                  </a:lnTo>
                  <a:lnTo>
                    <a:pt x="305848" y="471964"/>
                  </a:lnTo>
                  <a:lnTo>
                    <a:pt x="301466" y="475774"/>
                  </a:lnTo>
                  <a:lnTo>
                    <a:pt x="300514" y="480727"/>
                  </a:lnTo>
                  <a:lnTo>
                    <a:pt x="297561" y="482632"/>
                  </a:lnTo>
                  <a:lnTo>
                    <a:pt x="294418" y="483108"/>
                  </a:lnTo>
                  <a:lnTo>
                    <a:pt x="293084" y="484823"/>
                  </a:lnTo>
                  <a:lnTo>
                    <a:pt x="277463" y="488442"/>
                  </a:lnTo>
                  <a:lnTo>
                    <a:pt x="279464" y="491395"/>
                  </a:lnTo>
                  <a:lnTo>
                    <a:pt x="276701" y="494919"/>
                  </a:lnTo>
                  <a:lnTo>
                    <a:pt x="268605" y="494348"/>
                  </a:lnTo>
                  <a:lnTo>
                    <a:pt x="268986" y="497491"/>
                  </a:lnTo>
                  <a:lnTo>
                    <a:pt x="266224" y="501110"/>
                  </a:lnTo>
                  <a:lnTo>
                    <a:pt x="267081" y="507397"/>
                  </a:lnTo>
                  <a:lnTo>
                    <a:pt x="266510" y="515493"/>
                  </a:lnTo>
                  <a:lnTo>
                    <a:pt x="268224" y="516827"/>
                  </a:lnTo>
                  <a:lnTo>
                    <a:pt x="267652" y="524923"/>
                  </a:lnTo>
                  <a:lnTo>
                    <a:pt x="258413" y="527780"/>
                  </a:lnTo>
                  <a:lnTo>
                    <a:pt x="250317" y="527209"/>
                  </a:lnTo>
                  <a:lnTo>
                    <a:pt x="246031" y="530924"/>
                  </a:lnTo>
                  <a:lnTo>
                    <a:pt x="241268" y="518732"/>
                  </a:lnTo>
                  <a:lnTo>
                    <a:pt x="240792" y="515588"/>
                  </a:lnTo>
                  <a:lnTo>
                    <a:pt x="237077" y="511207"/>
                  </a:lnTo>
                  <a:lnTo>
                    <a:pt x="225838" y="511016"/>
                  </a:lnTo>
                  <a:lnTo>
                    <a:pt x="220504" y="506921"/>
                  </a:lnTo>
                  <a:lnTo>
                    <a:pt x="214789" y="512445"/>
                  </a:lnTo>
                  <a:lnTo>
                    <a:pt x="215360" y="517208"/>
                  </a:lnTo>
                  <a:lnTo>
                    <a:pt x="210883" y="519398"/>
                  </a:lnTo>
                  <a:lnTo>
                    <a:pt x="206693" y="524732"/>
                  </a:lnTo>
                  <a:lnTo>
                    <a:pt x="205359" y="526447"/>
                  </a:lnTo>
                  <a:lnTo>
                    <a:pt x="206312" y="534353"/>
                  </a:lnTo>
                  <a:lnTo>
                    <a:pt x="197834" y="543497"/>
                  </a:lnTo>
                  <a:lnTo>
                    <a:pt x="198501" y="548259"/>
                  </a:lnTo>
                  <a:lnTo>
                    <a:pt x="200692" y="552736"/>
                  </a:lnTo>
                  <a:lnTo>
                    <a:pt x="201454" y="559022"/>
                  </a:lnTo>
                  <a:lnTo>
                    <a:pt x="197168" y="562832"/>
                  </a:lnTo>
                  <a:lnTo>
                    <a:pt x="196120" y="567785"/>
                  </a:lnTo>
                  <a:lnTo>
                    <a:pt x="188309" y="581597"/>
                  </a:lnTo>
                  <a:lnTo>
                    <a:pt x="187738" y="589693"/>
                  </a:lnTo>
                  <a:lnTo>
                    <a:pt x="177260" y="595789"/>
                  </a:lnTo>
                  <a:lnTo>
                    <a:pt x="178879" y="608457"/>
                  </a:lnTo>
                  <a:lnTo>
                    <a:pt x="177546" y="610267"/>
                  </a:lnTo>
                  <a:lnTo>
                    <a:pt x="172593" y="609219"/>
                  </a:lnTo>
                  <a:lnTo>
                    <a:pt x="164497" y="608648"/>
                  </a:lnTo>
                  <a:lnTo>
                    <a:pt x="149257" y="602552"/>
                  </a:lnTo>
                  <a:lnTo>
                    <a:pt x="143351" y="606552"/>
                  </a:lnTo>
                  <a:lnTo>
                    <a:pt x="138398" y="605600"/>
                  </a:lnTo>
                  <a:lnTo>
                    <a:pt x="140779" y="598837"/>
                  </a:lnTo>
                  <a:lnTo>
                    <a:pt x="137255" y="596075"/>
                  </a:lnTo>
                  <a:lnTo>
                    <a:pt x="134874" y="589979"/>
                  </a:lnTo>
                  <a:lnTo>
                    <a:pt x="126016" y="595979"/>
                  </a:lnTo>
                  <a:lnTo>
                    <a:pt x="114586" y="607028"/>
                  </a:lnTo>
                  <a:lnTo>
                    <a:pt x="106680" y="607981"/>
                  </a:lnTo>
                  <a:lnTo>
                    <a:pt x="102299" y="611791"/>
                  </a:lnTo>
                  <a:lnTo>
                    <a:pt x="82772" y="609505"/>
                  </a:lnTo>
                  <a:lnTo>
                    <a:pt x="79057" y="605123"/>
                  </a:lnTo>
                  <a:lnTo>
                    <a:pt x="74866" y="597599"/>
                  </a:lnTo>
                  <a:lnTo>
                    <a:pt x="70295" y="599789"/>
                  </a:lnTo>
                  <a:lnTo>
                    <a:pt x="65437" y="598837"/>
                  </a:lnTo>
                  <a:lnTo>
                    <a:pt x="65246" y="610076"/>
                  </a:lnTo>
                  <a:lnTo>
                    <a:pt x="59150" y="625316"/>
                  </a:lnTo>
                  <a:lnTo>
                    <a:pt x="56864" y="644843"/>
                  </a:lnTo>
                  <a:lnTo>
                    <a:pt x="54864" y="654749"/>
                  </a:lnTo>
                  <a:lnTo>
                    <a:pt x="57626" y="663988"/>
                  </a:lnTo>
                  <a:lnTo>
                    <a:pt x="54102" y="674084"/>
                  </a:lnTo>
                  <a:lnTo>
                    <a:pt x="40957" y="683800"/>
                  </a:lnTo>
                  <a:lnTo>
                    <a:pt x="36766" y="689134"/>
                  </a:lnTo>
                  <a:lnTo>
                    <a:pt x="33242" y="699135"/>
                  </a:lnTo>
                  <a:lnTo>
                    <a:pt x="30289" y="701135"/>
                  </a:lnTo>
                  <a:lnTo>
                    <a:pt x="16574" y="706088"/>
                  </a:lnTo>
                  <a:lnTo>
                    <a:pt x="5524" y="707517"/>
                  </a:lnTo>
                  <a:lnTo>
                    <a:pt x="952" y="709708"/>
                  </a:lnTo>
                  <a:lnTo>
                    <a:pt x="0" y="714661"/>
                  </a:lnTo>
                  <a:lnTo>
                    <a:pt x="4858" y="715613"/>
                  </a:lnTo>
                  <a:lnTo>
                    <a:pt x="5143" y="717137"/>
                  </a:lnTo>
                  <a:lnTo>
                    <a:pt x="16954" y="722090"/>
                  </a:lnTo>
                  <a:lnTo>
                    <a:pt x="20955" y="727996"/>
                  </a:lnTo>
                  <a:lnTo>
                    <a:pt x="23336" y="734092"/>
                  </a:lnTo>
                  <a:lnTo>
                    <a:pt x="34099" y="731139"/>
                  </a:lnTo>
                  <a:lnTo>
                    <a:pt x="36100" y="734092"/>
                  </a:lnTo>
                  <a:lnTo>
                    <a:pt x="39052" y="732092"/>
                  </a:lnTo>
                  <a:lnTo>
                    <a:pt x="37909" y="735425"/>
                  </a:lnTo>
                  <a:lnTo>
                    <a:pt x="39719" y="736854"/>
                  </a:lnTo>
                  <a:lnTo>
                    <a:pt x="48577" y="730853"/>
                  </a:lnTo>
                  <a:lnTo>
                    <a:pt x="56197" y="728282"/>
                  </a:lnTo>
                  <a:lnTo>
                    <a:pt x="58864" y="735997"/>
                  </a:lnTo>
                  <a:lnTo>
                    <a:pt x="72676" y="743903"/>
                  </a:lnTo>
                  <a:lnTo>
                    <a:pt x="73628" y="738950"/>
                  </a:lnTo>
                  <a:lnTo>
                    <a:pt x="88201" y="740283"/>
                  </a:lnTo>
                  <a:lnTo>
                    <a:pt x="87820" y="737140"/>
                  </a:lnTo>
                  <a:lnTo>
                    <a:pt x="97155" y="747141"/>
                  </a:lnTo>
                  <a:lnTo>
                    <a:pt x="103632" y="747903"/>
                  </a:lnTo>
                  <a:lnTo>
                    <a:pt x="106585" y="745998"/>
                  </a:lnTo>
                  <a:lnTo>
                    <a:pt x="108395" y="747332"/>
                  </a:lnTo>
                  <a:lnTo>
                    <a:pt x="116300" y="759143"/>
                  </a:lnTo>
                  <a:lnTo>
                    <a:pt x="116491" y="760762"/>
                  </a:lnTo>
                  <a:lnTo>
                    <a:pt x="110204" y="761524"/>
                  </a:lnTo>
                  <a:lnTo>
                    <a:pt x="108204" y="771430"/>
                  </a:lnTo>
                  <a:lnTo>
                    <a:pt x="103727" y="773621"/>
                  </a:lnTo>
                  <a:lnTo>
                    <a:pt x="104299" y="778288"/>
                  </a:lnTo>
                  <a:lnTo>
                    <a:pt x="104299" y="778288"/>
                  </a:lnTo>
                  <a:lnTo>
                    <a:pt x="107251" y="776288"/>
                  </a:lnTo>
                  <a:lnTo>
                    <a:pt x="111062" y="780669"/>
                  </a:lnTo>
                  <a:lnTo>
                    <a:pt x="115729" y="780098"/>
                  </a:lnTo>
                  <a:lnTo>
                    <a:pt x="117539" y="781431"/>
                  </a:lnTo>
                  <a:lnTo>
                    <a:pt x="116205" y="783241"/>
                  </a:lnTo>
                  <a:lnTo>
                    <a:pt x="121253" y="785813"/>
                  </a:lnTo>
                  <a:lnTo>
                    <a:pt x="122682" y="784003"/>
                  </a:lnTo>
                  <a:lnTo>
                    <a:pt x="125825" y="783622"/>
                  </a:lnTo>
                  <a:lnTo>
                    <a:pt x="123634" y="779050"/>
                  </a:lnTo>
                  <a:lnTo>
                    <a:pt x="125254" y="778859"/>
                  </a:lnTo>
                  <a:lnTo>
                    <a:pt x="131159" y="774859"/>
                  </a:lnTo>
                  <a:lnTo>
                    <a:pt x="136112" y="775907"/>
                  </a:lnTo>
                  <a:lnTo>
                    <a:pt x="144208" y="776478"/>
                  </a:lnTo>
                  <a:lnTo>
                    <a:pt x="146304" y="780955"/>
                  </a:lnTo>
                  <a:lnTo>
                    <a:pt x="147923" y="780764"/>
                  </a:lnTo>
                  <a:lnTo>
                    <a:pt x="149733" y="782193"/>
                  </a:lnTo>
                  <a:lnTo>
                    <a:pt x="154400" y="781526"/>
                  </a:lnTo>
                  <a:lnTo>
                    <a:pt x="157829" y="782765"/>
                  </a:lnTo>
                  <a:lnTo>
                    <a:pt x="167259" y="781526"/>
                  </a:lnTo>
                  <a:lnTo>
                    <a:pt x="167830" y="786289"/>
                  </a:lnTo>
                  <a:lnTo>
                    <a:pt x="170402" y="781145"/>
                  </a:lnTo>
                  <a:lnTo>
                    <a:pt x="175355" y="782098"/>
                  </a:lnTo>
                  <a:lnTo>
                    <a:pt x="179451" y="776764"/>
                  </a:lnTo>
                  <a:lnTo>
                    <a:pt x="185642" y="774383"/>
                  </a:lnTo>
                  <a:lnTo>
                    <a:pt x="185833" y="776002"/>
                  </a:lnTo>
                  <a:lnTo>
                    <a:pt x="183261" y="781050"/>
                  </a:lnTo>
                  <a:lnTo>
                    <a:pt x="193548" y="786194"/>
                  </a:lnTo>
                  <a:lnTo>
                    <a:pt x="196691" y="798576"/>
                  </a:lnTo>
                  <a:lnTo>
                    <a:pt x="203645" y="802576"/>
                  </a:lnTo>
                  <a:lnTo>
                    <a:pt x="200882" y="806101"/>
                  </a:lnTo>
                  <a:lnTo>
                    <a:pt x="203454" y="813816"/>
                  </a:lnTo>
                  <a:lnTo>
                    <a:pt x="202025" y="815531"/>
                  </a:lnTo>
                  <a:lnTo>
                    <a:pt x="202501" y="818769"/>
                  </a:lnTo>
                  <a:lnTo>
                    <a:pt x="197929" y="820865"/>
                  </a:lnTo>
                  <a:lnTo>
                    <a:pt x="194977" y="822865"/>
                  </a:lnTo>
                  <a:lnTo>
                    <a:pt x="194977" y="822865"/>
                  </a:lnTo>
                  <a:lnTo>
                    <a:pt x="192214" y="826484"/>
                  </a:lnTo>
                  <a:lnTo>
                    <a:pt x="192595" y="829628"/>
                  </a:lnTo>
                  <a:lnTo>
                    <a:pt x="194596" y="832580"/>
                  </a:lnTo>
                  <a:lnTo>
                    <a:pt x="193453" y="835914"/>
                  </a:lnTo>
                  <a:lnTo>
                    <a:pt x="196596" y="835533"/>
                  </a:lnTo>
                  <a:lnTo>
                    <a:pt x="195643" y="840486"/>
                  </a:lnTo>
                  <a:lnTo>
                    <a:pt x="200597" y="841439"/>
                  </a:lnTo>
                  <a:lnTo>
                    <a:pt x="199739" y="847916"/>
                  </a:lnTo>
                  <a:lnTo>
                    <a:pt x="198215" y="848106"/>
                  </a:lnTo>
                  <a:lnTo>
                    <a:pt x="193643" y="850297"/>
                  </a:lnTo>
                  <a:lnTo>
                    <a:pt x="194310" y="855059"/>
                  </a:lnTo>
                  <a:lnTo>
                    <a:pt x="195834" y="854869"/>
                  </a:lnTo>
                  <a:lnTo>
                    <a:pt x="193262" y="860012"/>
                  </a:lnTo>
                  <a:lnTo>
                    <a:pt x="190119" y="860393"/>
                  </a:lnTo>
                  <a:lnTo>
                    <a:pt x="191929" y="861727"/>
                  </a:lnTo>
                  <a:lnTo>
                    <a:pt x="189928" y="871633"/>
                  </a:lnTo>
                  <a:lnTo>
                    <a:pt x="186785" y="872014"/>
                  </a:lnTo>
                  <a:lnTo>
                    <a:pt x="186976" y="873633"/>
                  </a:lnTo>
                  <a:lnTo>
                    <a:pt x="190214" y="873252"/>
                  </a:lnTo>
                  <a:lnTo>
                    <a:pt x="200025" y="875157"/>
                  </a:lnTo>
                  <a:lnTo>
                    <a:pt x="197453" y="880301"/>
                  </a:lnTo>
                  <a:lnTo>
                    <a:pt x="196501" y="885253"/>
                  </a:lnTo>
                  <a:lnTo>
                    <a:pt x="199835" y="886397"/>
                  </a:lnTo>
                  <a:lnTo>
                    <a:pt x="201073" y="895922"/>
                  </a:lnTo>
                  <a:lnTo>
                    <a:pt x="202120" y="903732"/>
                  </a:lnTo>
                  <a:lnTo>
                    <a:pt x="199168" y="905732"/>
                  </a:lnTo>
                  <a:lnTo>
                    <a:pt x="194405" y="906399"/>
                  </a:lnTo>
                  <a:lnTo>
                    <a:pt x="191643" y="909923"/>
                  </a:lnTo>
                  <a:lnTo>
                    <a:pt x="193453" y="911257"/>
                  </a:lnTo>
                  <a:lnTo>
                    <a:pt x="192024" y="913067"/>
                  </a:lnTo>
                  <a:lnTo>
                    <a:pt x="196405" y="922115"/>
                  </a:lnTo>
                  <a:lnTo>
                    <a:pt x="199739" y="923353"/>
                  </a:lnTo>
                  <a:lnTo>
                    <a:pt x="205835" y="920972"/>
                  </a:lnTo>
                  <a:lnTo>
                    <a:pt x="207454" y="920687"/>
                  </a:lnTo>
                  <a:lnTo>
                    <a:pt x="207835" y="923925"/>
                  </a:lnTo>
                  <a:lnTo>
                    <a:pt x="214598" y="926211"/>
                  </a:lnTo>
                  <a:lnTo>
                    <a:pt x="213170" y="928021"/>
                  </a:lnTo>
                  <a:lnTo>
                    <a:pt x="210217" y="930021"/>
                  </a:lnTo>
                  <a:lnTo>
                    <a:pt x="212217" y="932974"/>
                  </a:lnTo>
                  <a:lnTo>
                    <a:pt x="210883" y="934688"/>
                  </a:lnTo>
                  <a:lnTo>
                    <a:pt x="209455" y="936498"/>
                  </a:lnTo>
                  <a:lnTo>
                    <a:pt x="210312" y="942880"/>
                  </a:lnTo>
                  <a:lnTo>
                    <a:pt x="203930" y="943642"/>
                  </a:lnTo>
                  <a:lnTo>
                    <a:pt x="204787" y="949928"/>
                  </a:lnTo>
                  <a:lnTo>
                    <a:pt x="213074" y="952119"/>
                  </a:lnTo>
                  <a:lnTo>
                    <a:pt x="216218" y="951738"/>
                  </a:lnTo>
                  <a:lnTo>
                    <a:pt x="216408" y="953262"/>
                  </a:lnTo>
                  <a:lnTo>
                    <a:pt x="212312" y="958596"/>
                  </a:lnTo>
                  <a:lnTo>
                    <a:pt x="215646" y="959834"/>
                  </a:lnTo>
                  <a:lnTo>
                    <a:pt x="217170" y="959549"/>
                  </a:lnTo>
                  <a:lnTo>
                    <a:pt x="224314" y="965073"/>
                  </a:lnTo>
                  <a:lnTo>
                    <a:pt x="221742" y="970217"/>
                  </a:lnTo>
                  <a:lnTo>
                    <a:pt x="221742" y="970217"/>
                  </a:lnTo>
                  <a:lnTo>
                    <a:pt x="227362" y="975932"/>
                  </a:lnTo>
                  <a:lnTo>
                    <a:pt x="228314" y="983837"/>
                  </a:lnTo>
                  <a:lnTo>
                    <a:pt x="230124" y="985171"/>
                  </a:lnTo>
                  <a:lnTo>
                    <a:pt x="229362" y="991743"/>
                  </a:lnTo>
                  <a:lnTo>
                    <a:pt x="226600" y="995267"/>
                  </a:lnTo>
                  <a:lnTo>
                    <a:pt x="236220" y="995648"/>
                  </a:lnTo>
                  <a:lnTo>
                    <a:pt x="233077" y="1008888"/>
                  </a:lnTo>
                  <a:lnTo>
                    <a:pt x="224790" y="1006697"/>
                  </a:lnTo>
                  <a:lnTo>
                    <a:pt x="220313" y="1008888"/>
                  </a:lnTo>
                  <a:lnTo>
                    <a:pt x="221837" y="1008698"/>
                  </a:lnTo>
                  <a:lnTo>
                    <a:pt x="220885" y="1013651"/>
                  </a:lnTo>
                  <a:lnTo>
                    <a:pt x="229362" y="1017365"/>
                  </a:lnTo>
                  <a:lnTo>
                    <a:pt x="229743" y="1020509"/>
                  </a:lnTo>
                  <a:lnTo>
                    <a:pt x="228219" y="1020699"/>
                  </a:lnTo>
                  <a:lnTo>
                    <a:pt x="233362" y="1023271"/>
                  </a:lnTo>
                  <a:lnTo>
                    <a:pt x="230410" y="1025271"/>
                  </a:lnTo>
                  <a:lnTo>
                    <a:pt x="232791" y="1031367"/>
                  </a:lnTo>
                  <a:lnTo>
                    <a:pt x="229648" y="1031748"/>
                  </a:lnTo>
                  <a:lnTo>
                    <a:pt x="220885" y="1026509"/>
                  </a:lnTo>
                  <a:lnTo>
                    <a:pt x="223837" y="1024509"/>
                  </a:lnTo>
                  <a:lnTo>
                    <a:pt x="220504" y="1023271"/>
                  </a:lnTo>
                  <a:lnTo>
                    <a:pt x="219170" y="1025081"/>
                  </a:lnTo>
                  <a:lnTo>
                    <a:pt x="217360" y="1023747"/>
                  </a:lnTo>
                  <a:lnTo>
                    <a:pt x="217551" y="1025271"/>
                  </a:lnTo>
                  <a:lnTo>
                    <a:pt x="209074" y="1021556"/>
                  </a:lnTo>
                  <a:lnTo>
                    <a:pt x="207931" y="1024890"/>
                  </a:lnTo>
                  <a:lnTo>
                    <a:pt x="207740" y="1023366"/>
                  </a:lnTo>
                  <a:lnTo>
                    <a:pt x="200025" y="1025938"/>
                  </a:lnTo>
                  <a:lnTo>
                    <a:pt x="198787" y="1029272"/>
                  </a:lnTo>
                  <a:lnTo>
                    <a:pt x="202216" y="1030415"/>
                  </a:lnTo>
                  <a:lnTo>
                    <a:pt x="200977" y="1033844"/>
                  </a:lnTo>
                  <a:lnTo>
                    <a:pt x="193072" y="1034796"/>
                  </a:lnTo>
                  <a:lnTo>
                    <a:pt x="196691" y="1037558"/>
                  </a:lnTo>
                  <a:lnTo>
                    <a:pt x="199835" y="1037177"/>
                  </a:lnTo>
                  <a:lnTo>
                    <a:pt x="205549" y="1044416"/>
                  </a:lnTo>
                  <a:lnTo>
                    <a:pt x="208121" y="1039368"/>
                  </a:lnTo>
                  <a:lnTo>
                    <a:pt x="213455" y="1043464"/>
                  </a:lnTo>
                  <a:lnTo>
                    <a:pt x="221170" y="1040892"/>
                  </a:lnTo>
                  <a:lnTo>
                    <a:pt x="226124" y="1041845"/>
                  </a:lnTo>
                  <a:lnTo>
                    <a:pt x="228505" y="1047941"/>
                  </a:lnTo>
                  <a:lnTo>
                    <a:pt x="228695" y="1049560"/>
                  </a:lnTo>
                  <a:lnTo>
                    <a:pt x="235553" y="1053465"/>
                  </a:lnTo>
                  <a:lnTo>
                    <a:pt x="231076" y="1055656"/>
                  </a:lnTo>
                  <a:lnTo>
                    <a:pt x="229648" y="1057466"/>
                  </a:lnTo>
                  <a:lnTo>
                    <a:pt x="237553" y="1056418"/>
                  </a:lnTo>
                  <a:lnTo>
                    <a:pt x="239363" y="1057847"/>
                  </a:lnTo>
                  <a:lnTo>
                    <a:pt x="240983" y="1070420"/>
                  </a:lnTo>
                  <a:lnTo>
                    <a:pt x="239744" y="1073753"/>
                  </a:lnTo>
                  <a:lnTo>
                    <a:pt x="243173" y="1074992"/>
                  </a:lnTo>
                  <a:lnTo>
                    <a:pt x="246126" y="1072991"/>
                  </a:lnTo>
                  <a:lnTo>
                    <a:pt x="259080" y="1074515"/>
                  </a:lnTo>
                  <a:lnTo>
                    <a:pt x="258699" y="1071372"/>
                  </a:lnTo>
                  <a:lnTo>
                    <a:pt x="260318" y="1071182"/>
                  </a:lnTo>
                  <a:lnTo>
                    <a:pt x="261461" y="1080611"/>
                  </a:lnTo>
                  <a:lnTo>
                    <a:pt x="259366" y="1088898"/>
                  </a:lnTo>
                  <a:lnTo>
                    <a:pt x="265843" y="1089660"/>
                  </a:lnTo>
                  <a:lnTo>
                    <a:pt x="268414" y="1084517"/>
                  </a:lnTo>
                  <a:lnTo>
                    <a:pt x="271558" y="1084136"/>
                  </a:lnTo>
                  <a:lnTo>
                    <a:pt x="272510" y="1079183"/>
                  </a:lnTo>
                  <a:lnTo>
                    <a:pt x="273749" y="1075849"/>
                  </a:lnTo>
                  <a:lnTo>
                    <a:pt x="276892" y="1075468"/>
                  </a:lnTo>
                  <a:lnTo>
                    <a:pt x="281178" y="1071753"/>
                  </a:lnTo>
                  <a:lnTo>
                    <a:pt x="283178" y="1074706"/>
                  </a:lnTo>
                  <a:lnTo>
                    <a:pt x="280035" y="1075087"/>
                  </a:lnTo>
                  <a:lnTo>
                    <a:pt x="278701" y="1076801"/>
                  </a:lnTo>
                  <a:lnTo>
                    <a:pt x="283750" y="1079373"/>
                  </a:lnTo>
                  <a:lnTo>
                    <a:pt x="282988" y="1085945"/>
                  </a:lnTo>
                  <a:lnTo>
                    <a:pt x="286226" y="1085469"/>
                  </a:lnTo>
                  <a:lnTo>
                    <a:pt x="287941" y="1086898"/>
                  </a:lnTo>
                  <a:lnTo>
                    <a:pt x="291084" y="1086517"/>
                  </a:lnTo>
                  <a:lnTo>
                    <a:pt x="291179" y="1099280"/>
                  </a:lnTo>
                  <a:lnTo>
                    <a:pt x="296323" y="1101852"/>
                  </a:lnTo>
                  <a:lnTo>
                    <a:pt x="302228" y="1097852"/>
                  </a:lnTo>
                  <a:lnTo>
                    <a:pt x="305372" y="1097471"/>
                  </a:lnTo>
                  <a:lnTo>
                    <a:pt x="308705" y="1098709"/>
                  </a:lnTo>
                  <a:lnTo>
                    <a:pt x="308515" y="1097090"/>
                  </a:lnTo>
                  <a:lnTo>
                    <a:pt x="314611" y="1094708"/>
                  </a:lnTo>
                  <a:lnTo>
                    <a:pt x="315373" y="1088231"/>
                  </a:lnTo>
                  <a:lnTo>
                    <a:pt x="317183" y="1089565"/>
                  </a:lnTo>
                  <a:lnTo>
                    <a:pt x="317945" y="1083088"/>
                  </a:lnTo>
                  <a:lnTo>
                    <a:pt x="315944" y="1080135"/>
                  </a:lnTo>
                  <a:lnTo>
                    <a:pt x="320326" y="1076325"/>
                  </a:lnTo>
                  <a:lnTo>
                    <a:pt x="323660" y="1077563"/>
                  </a:lnTo>
                  <a:lnTo>
                    <a:pt x="326422" y="1073944"/>
                  </a:lnTo>
                  <a:lnTo>
                    <a:pt x="329565" y="1073563"/>
                  </a:lnTo>
                  <a:lnTo>
                    <a:pt x="330327" y="1067086"/>
                  </a:lnTo>
                  <a:lnTo>
                    <a:pt x="340043" y="1067467"/>
                  </a:lnTo>
                  <a:lnTo>
                    <a:pt x="340043" y="1067467"/>
                  </a:lnTo>
                  <a:lnTo>
                    <a:pt x="340233" y="1068991"/>
                  </a:lnTo>
                  <a:lnTo>
                    <a:pt x="350234" y="1072515"/>
                  </a:lnTo>
                  <a:lnTo>
                    <a:pt x="354997" y="1071944"/>
                  </a:lnTo>
                  <a:lnTo>
                    <a:pt x="355949" y="1066991"/>
                  </a:lnTo>
                  <a:lnTo>
                    <a:pt x="354235" y="1065657"/>
                  </a:lnTo>
                  <a:lnTo>
                    <a:pt x="355378" y="1062228"/>
                  </a:lnTo>
                  <a:lnTo>
                    <a:pt x="357187" y="1063657"/>
                  </a:lnTo>
                  <a:lnTo>
                    <a:pt x="361855" y="1062990"/>
                  </a:lnTo>
                  <a:lnTo>
                    <a:pt x="360712" y="1053560"/>
                  </a:lnTo>
                  <a:lnTo>
                    <a:pt x="360521" y="1051941"/>
                  </a:lnTo>
                  <a:lnTo>
                    <a:pt x="360902" y="1042321"/>
                  </a:lnTo>
                  <a:lnTo>
                    <a:pt x="361283" y="1045464"/>
                  </a:lnTo>
                  <a:lnTo>
                    <a:pt x="362617" y="1043654"/>
                  </a:lnTo>
                  <a:lnTo>
                    <a:pt x="364808" y="1048226"/>
                  </a:lnTo>
                  <a:lnTo>
                    <a:pt x="369760" y="1049179"/>
                  </a:lnTo>
                  <a:lnTo>
                    <a:pt x="374714" y="1050131"/>
                  </a:lnTo>
                  <a:lnTo>
                    <a:pt x="375666" y="1045274"/>
                  </a:lnTo>
                  <a:lnTo>
                    <a:pt x="374904" y="1038892"/>
                  </a:lnTo>
                  <a:lnTo>
                    <a:pt x="374047" y="1032605"/>
                  </a:lnTo>
                  <a:lnTo>
                    <a:pt x="368903" y="1030034"/>
                  </a:lnTo>
                  <a:lnTo>
                    <a:pt x="368903" y="1030034"/>
                  </a:lnTo>
                  <a:lnTo>
                    <a:pt x="378428" y="1028891"/>
                  </a:lnTo>
                  <a:lnTo>
                    <a:pt x="379381" y="1023938"/>
                  </a:lnTo>
                  <a:lnTo>
                    <a:pt x="374809" y="1013270"/>
                  </a:lnTo>
                  <a:lnTo>
                    <a:pt x="377571" y="1009745"/>
                  </a:lnTo>
                  <a:lnTo>
                    <a:pt x="374999" y="1002030"/>
                  </a:lnTo>
                  <a:lnTo>
                    <a:pt x="378714" y="1006316"/>
                  </a:lnTo>
                  <a:lnTo>
                    <a:pt x="378524" y="1004792"/>
                  </a:lnTo>
                  <a:lnTo>
                    <a:pt x="386429" y="1003745"/>
                  </a:lnTo>
                  <a:lnTo>
                    <a:pt x="389382" y="1001840"/>
                  </a:lnTo>
                  <a:lnTo>
                    <a:pt x="389191" y="1000220"/>
                  </a:lnTo>
                  <a:lnTo>
                    <a:pt x="392335" y="999839"/>
                  </a:lnTo>
                  <a:lnTo>
                    <a:pt x="392335" y="999839"/>
                  </a:lnTo>
                  <a:lnTo>
                    <a:pt x="391954" y="996696"/>
                  </a:lnTo>
                  <a:lnTo>
                    <a:pt x="396621" y="996029"/>
                  </a:lnTo>
                  <a:lnTo>
                    <a:pt x="394906" y="994696"/>
                  </a:lnTo>
                  <a:lnTo>
                    <a:pt x="394049" y="988409"/>
                  </a:lnTo>
                  <a:lnTo>
                    <a:pt x="395668" y="988124"/>
                  </a:lnTo>
                  <a:lnTo>
                    <a:pt x="399002" y="989362"/>
                  </a:lnTo>
                  <a:lnTo>
                    <a:pt x="400145" y="986028"/>
                  </a:lnTo>
                  <a:lnTo>
                    <a:pt x="406527" y="985171"/>
                  </a:lnTo>
                  <a:lnTo>
                    <a:pt x="408813" y="978503"/>
                  </a:lnTo>
                  <a:lnTo>
                    <a:pt x="416528" y="975932"/>
                  </a:lnTo>
                  <a:lnTo>
                    <a:pt x="419672" y="975455"/>
                  </a:lnTo>
                  <a:lnTo>
                    <a:pt x="419481" y="973931"/>
                  </a:lnTo>
                  <a:lnTo>
                    <a:pt x="422434" y="971931"/>
                  </a:lnTo>
                  <a:lnTo>
                    <a:pt x="422434" y="971931"/>
                  </a:lnTo>
                  <a:lnTo>
                    <a:pt x="430149" y="982123"/>
                  </a:lnTo>
                  <a:lnTo>
                    <a:pt x="433578" y="983361"/>
                  </a:lnTo>
                  <a:lnTo>
                    <a:pt x="436531" y="981361"/>
                  </a:lnTo>
                  <a:lnTo>
                    <a:pt x="444341" y="980313"/>
                  </a:lnTo>
                  <a:lnTo>
                    <a:pt x="451485" y="973074"/>
                  </a:lnTo>
                  <a:lnTo>
                    <a:pt x="456629" y="975551"/>
                  </a:lnTo>
                  <a:lnTo>
                    <a:pt x="456152" y="972407"/>
                  </a:lnTo>
                  <a:lnTo>
                    <a:pt x="469583" y="964311"/>
                  </a:lnTo>
                  <a:lnTo>
                    <a:pt x="465391" y="956786"/>
                  </a:lnTo>
                  <a:lnTo>
                    <a:pt x="473774" y="958977"/>
                  </a:lnTo>
                  <a:lnTo>
                    <a:pt x="476726" y="956977"/>
                  </a:lnTo>
                  <a:lnTo>
                    <a:pt x="480441" y="948500"/>
                  </a:lnTo>
                  <a:lnTo>
                    <a:pt x="478631" y="947166"/>
                  </a:lnTo>
                  <a:lnTo>
                    <a:pt x="479965" y="945356"/>
                  </a:lnTo>
                  <a:lnTo>
                    <a:pt x="480251" y="946880"/>
                  </a:lnTo>
                  <a:lnTo>
                    <a:pt x="484918" y="946309"/>
                  </a:lnTo>
                  <a:lnTo>
                    <a:pt x="489109" y="940975"/>
                  </a:lnTo>
                  <a:lnTo>
                    <a:pt x="501491" y="924973"/>
                  </a:lnTo>
                  <a:lnTo>
                    <a:pt x="503491" y="927926"/>
                  </a:lnTo>
                  <a:lnTo>
                    <a:pt x="502063" y="929735"/>
                  </a:lnTo>
                  <a:lnTo>
                    <a:pt x="502063" y="942499"/>
                  </a:lnTo>
                  <a:lnTo>
                    <a:pt x="511397" y="939737"/>
                  </a:lnTo>
                  <a:lnTo>
                    <a:pt x="514731" y="940880"/>
                  </a:lnTo>
                  <a:lnTo>
                    <a:pt x="520065" y="945071"/>
                  </a:lnTo>
                  <a:lnTo>
                    <a:pt x="523208" y="944690"/>
                  </a:lnTo>
                  <a:lnTo>
                    <a:pt x="533876" y="940118"/>
                  </a:lnTo>
                  <a:lnTo>
                    <a:pt x="551593" y="941070"/>
                  </a:lnTo>
                  <a:lnTo>
                    <a:pt x="556736" y="943547"/>
                  </a:lnTo>
                  <a:lnTo>
                    <a:pt x="559118" y="936879"/>
                  </a:lnTo>
                  <a:lnTo>
                    <a:pt x="559879" y="930307"/>
                  </a:lnTo>
                  <a:lnTo>
                    <a:pt x="561880" y="933355"/>
                  </a:lnTo>
                  <a:lnTo>
                    <a:pt x="565595" y="924782"/>
                  </a:lnTo>
                  <a:lnTo>
                    <a:pt x="567595" y="927735"/>
                  </a:lnTo>
                  <a:lnTo>
                    <a:pt x="566833" y="934307"/>
                  </a:lnTo>
                  <a:lnTo>
                    <a:pt x="569976" y="933926"/>
                  </a:lnTo>
                  <a:lnTo>
                    <a:pt x="572548" y="928783"/>
                  </a:lnTo>
                  <a:lnTo>
                    <a:pt x="575691" y="928307"/>
                  </a:lnTo>
                  <a:lnTo>
                    <a:pt x="583978" y="917639"/>
                  </a:lnTo>
                  <a:lnTo>
                    <a:pt x="589407" y="910590"/>
                  </a:lnTo>
                  <a:lnTo>
                    <a:pt x="591788" y="903827"/>
                  </a:lnTo>
                  <a:lnTo>
                    <a:pt x="594931" y="903446"/>
                  </a:lnTo>
                  <a:lnTo>
                    <a:pt x="600837" y="899446"/>
                  </a:lnTo>
                  <a:lnTo>
                    <a:pt x="603980" y="899065"/>
                  </a:lnTo>
                  <a:lnTo>
                    <a:pt x="607981" y="904970"/>
                  </a:lnTo>
                  <a:lnTo>
                    <a:pt x="609124" y="901637"/>
                  </a:lnTo>
                  <a:lnTo>
                    <a:pt x="610933" y="902970"/>
                  </a:lnTo>
                  <a:lnTo>
                    <a:pt x="617506" y="916591"/>
                  </a:lnTo>
                  <a:lnTo>
                    <a:pt x="616744" y="923163"/>
                  </a:lnTo>
                  <a:lnTo>
                    <a:pt x="618649" y="926116"/>
                  </a:lnTo>
                  <a:lnTo>
                    <a:pt x="618649" y="926116"/>
                  </a:lnTo>
                  <a:lnTo>
                    <a:pt x="635794" y="922306"/>
                  </a:lnTo>
                  <a:lnTo>
                    <a:pt x="636175" y="912590"/>
                  </a:lnTo>
                  <a:lnTo>
                    <a:pt x="639127" y="910590"/>
                  </a:lnTo>
                  <a:lnTo>
                    <a:pt x="636746" y="904494"/>
                  </a:lnTo>
                  <a:lnTo>
                    <a:pt x="642461" y="898970"/>
                  </a:lnTo>
                  <a:lnTo>
                    <a:pt x="646462" y="892112"/>
                  </a:lnTo>
                  <a:lnTo>
                    <a:pt x="652748" y="891254"/>
                  </a:lnTo>
                  <a:lnTo>
                    <a:pt x="668274" y="887635"/>
                  </a:lnTo>
                  <a:lnTo>
                    <a:pt x="671513" y="887254"/>
                  </a:lnTo>
                  <a:lnTo>
                    <a:pt x="670274" y="890588"/>
                  </a:lnTo>
                  <a:lnTo>
                    <a:pt x="679323" y="886301"/>
                  </a:lnTo>
                  <a:lnTo>
                    <a:pt x="680561" y="882872"/>
                  </a:lnTo>
                  <a:lnTo>
                    <a:pt x="685228" y="882301"/>
                  </a:lnTo>
                  <a:lnTo>
                    <a:pt x="689801" y="880110"/>
                  </a:lnTo>
                  <a:lnTo>
                    <a:pt x="690563" y="873633"/>
                  </a:lnTo>
                  <a:lnTo>
                    <a:pt x="693706" y="873252"/>
                  </a:lnTo>
                  <a:lnTo>
                    <a:pt x="693515" y="871633"/>
                  </a:lnTo>
                  <a:lnTo>
                    <a:pt x="696849" y="872776"/>
                  </a:lnTo>
                  <a:lnTo>
                    <a:pt x="699611" y="869251"/>
                  </a:lnTo>
                  <a:lnTo>
                    <a:pt x="700850" y="865918"/>
                  </a:lnTo>
                  <a:lnTo>
                    <a:pt x="699230" y="853250"/>
                  </a:lnTo>
                  <a:lnTo>
                    <a:pt x="696087" y="853631"/>
                  </a:lnTo>
                  <a:lnTo>
                    <a:pt x="697611" y="853440"/>
                  </a:lnTo>
                  <a:lnTo>
                    <a:pt x="697421" y="851916"/>
                  </a:lnTo>
                  <a:lnTo>
                    <a:pt x="703993" y="852678"/>
                  </a:lnTo>
                  <a:lnTo>
                    <a:pt x="704183" y="854202"/>
                  </a:lnTo>
                  <a:lnTo>
                    <a:pt x="710470" y="853440"/>
                  </a:lnTo>
                  <a:lnTo>
                    <a:pt x="710851" y="856583"/>
                  </a:lnTo>
                  <a:lnTo>
                    <a:pt x="723710" y="856583"/>
                  </a:lnTo>
                  <a:lnTo>
                    <a:pt x="726853" y="856202"/>
                  </a:lnTo>
                  <a:lnTo>
                    <a:pt x="726662" y="854583"/>
                  </a:lnTo>
                  <a:lnTo>
                    <a:pt x="724662" y="851630"/>
                  </a:lnTo>
                  <a:lnTo>
                    <a:pt x="726281" y="851440"/>
                  </a:lnTo>
                  <a:lnTo>
                    <a:pt x="725996" y="849821"/>
                  </a:lnTo>
                  <a:lnTo>
                    <a:pt x="724281" y="848487"/>
                  </a:lnTo>
                  <a:lnTo>
                    <a:pt x="726567" y="841724"/>
                  </a:lnTo>
                  <a:lnTo>
                    <a:pt x="722662" y="835819"/>
                  </a:lnTo>
                  <a:lnTo>
                    <a:pt x="719519" y="836295"/>
                  </a:lnTo>
                  <a:lnTo>
                    <a:pt x="717709" y="822008"/>
                  </a:lnTo>
                  <a:lnTo>
                    <a:pt x="725424" y="819436"/>
                  </a:lnTo>
                  <a:lnTo>
                    <a:pt x="723614" y="818102"/>
                  </a:lnTo>
                  <a:lnTo>
                    <a:pt x="728377" y="817531"/>
                  </a:lnTo>
                  <a:lnTo>
                    <a:pt x="730853" y="812387"/>
                  </a:lnTo>
                  <a:lnTo>
                    <a:pt x="733997" y="811911"/>
                  </a:lnTo>
                  <a:lnTo>
                    <a:pt x="736759" y="808387"/>
                  </a:lnTo>
                  <a:lnTo>
                    <a:pt x="744474" y="805815"/>
                  </a:lnTo>
                  <a:lnTo>
                    <a:pt x="750189" y="813054"/>
                  </a:lnTo>
                  <a:lnTo>
                    <a:pt x="753618" y="814292"/>
                  </a:lnTo>
                  <a:lnTo>
                    <a:pt x="752951" y="809530"/>
                  </a:lnTo>
                  <a:lnTo>
                    <a:pt x="756094" y="809149"/>
                  </a:lnTo>
                  <a:lnTo>
                    <a:pt x="755904" y="807530"/>
                  </a:lnTo>
                  <a:lnTo>
                    <a:pt x="768001" y="814007"/>
                  </a:lnTo>
                  <a:lnTo>
                    <a:pt x="777811" y="816007"/>
                  </a:lnTo>
                  <a:lnTo>
                    <a:pt x="779812" y="818960"/>
                  </a:lnTo>
                  <a:lnTo>
                    <a:pt x="782955" y="818578"/>
                  </a:lnTo>
                  <a:lnTo>
                    <a:pt x="783431" y="821722"/>
                  </a:lnTo>
                  <a:lnTo>
                    <a:pt x="784955" y="821531"/>
                  </a:lnTo>
                  <a:lnTo>
                    <a:pt x="797814" y="821436"/>
                  </a:lnTo>
                  <a:lnTo>
                    <a:pt x="812197" y="821246"/>
                  </a:lnTo>
                  <a:lnTo>
                    <a:pt x="812578" y="824389"/>
                  </a:lnTo>
                  <a:lnTo>
                    <a:pt x="819150" y="825151"/>
                  </a:lnTo>
                  <a:lnTo>
                    <a:pt x="828770" y="825532"/>
                  </a:lnTo>
                  <a:lnTo>
                    <a:pt x="830580" y="826865"/>
                  </a:lnTo>
                  <a:lnTo>
                    <a:pt x="831914" y="825151"/>
                  </a:lnTo>
                  <a:lnTo>
                    <a:pt x="847725" y="823151"/>
                  </a:lnTo>
                  <a:lnTo>
                    <a:pt x="849059" y="821341"/>
                  </a:lnTo>
                  <a:lnTo>
                    <a:pt x="857440" y="823532"/>
                  </a:lnTo>
                  <a:lnTo>
                    <a:pt x="859727" y="816769"/>
                  </a:lnTo>
                  <a:lnTo>
                    <a:pt x="857536" y="812197"/>
                  </a:lnTo>
                  <a:lnTo>
                    <a:pt x="867632" y="815816"/>
                  </a:lnTo>
                  <a:lnTo>
                    <a:pt x="866299" y="817531"/>
                  </a:lnTo>
                  <a:lnTo>
                    <a:pt x="870204" y="823436"/>
                  </a:lnTo>
                  <a:lnTo>
                    <a:pt x="871442" y="820103"/>
                  </a:lnTo>
                  <a:lnTo>
                    <a:pt x="878300" y="824008"/>
                  </a:lnTo>
                  <a:lnTo>
                    <a:pt x="877919" y="820865"/>
                  </a:lnTo>
                  <a:lnTo>
                    <a:pt x="881253" y="822008"/>
                  </a:lnTo>
                  <a:lnTo>
                    <a:pt x="882206" y="817150"/>
                  </a:lnTo>
                  <a:lnTo>
                    <a:pt x="897827" y="826389"/>
                  </a:lnTo>
                  <a:lnTo>
                    <a:pt x="902780" y="827342"/>
                  </a:lnTo>
                  <a:lnTo>
                    <a:pt x="903160" y="830485"/>
                  </a:lnTo>
                  <a:lnTo>
                    <a:pt x="904970" y="831818"/>
                  </a:lnTo>
                  <a:lnTo>
                    <a:pt x="908494" y="821817"/>
                  </a:lnTo>
                  <a:lnTo>
                    <a:pt x="910114" y="821626"/>
                  </a:lnTo>
                  <a:lnTo>
                    <a:pt x="914400" y="817817"/>
                  </a:lnTo>
                  <a:lnTo>
                    <a:pt x="914019" y="814673"/>
                  </a:lnTo>
                  <a:lnTo>
                    <a:pt x="917734" y="806196"/>
                  </a:lnTo>
                  <a:lnTo>
                    <a:pt x="919544" y="807530"/>
                  </a:lnTo>
                  <a:lnTo>
                    <a:pt x="923639" y="802196"/>
                  </a:lnTo>
                  <a:lnTo>
                    <a:pt x="930783" y="807720"/>
                  </a:lnTo>
                  <a:lnTo>
                    <a:pt x="935736" y="808673"/>
                  </a:lnTo>
                  <a:lnTo>
                    <a:pt x="937069" y="806958"/>
                  </a:lnTo>
                  <a:lnTo>
                    <a:pt x="936879" y="805339"/>
                  </a:lnTo>
                  <a:lnTo>
                    <a:pt x="942023" y="807911"/>
                  </a:lnTo>
                  <a:lnTo>
                    <a:pt x="946785" y="807339"/>
                  </a:lnTo>
                  <a:lnTo>
                    <a:pt x="944594" y="802767"/>
                  </a:lnTo>
                  <a:lnTo>
                    <a:pt x="956024" y="804482"/>
                  </a:lnTo>
                  <a:lnTo>
                    <a:pt x="955453" y="799814"/>
                  </a:lnTo>
                  <a:lnTo>
                    <a:pt x="958786" y="800957"/>
                  </a:lnTo>
                  <a:lnTo>
                    <a:pt x="960120" y="799148"/>
                  </a:lnTo>
                  <a:lnTo>
                    <a:pt x="966692" y="799910"/>
                  </a:lnTo>
                  <a:lnTo>
                    <a:pt x="966883" y="801529"/>
                  </a:lnTo>
                  <a:lnTo>
                    <a:pt x="970217" y="802672"/>
                  </a:lnTo>
                  <a:lnTo>
                    <a:pt x="970407" y="804291"/>
                  </a:lnTo>
                  <a:lnTo>
                    <a:pt x="973741" y="805434"/>
                  </a:lnTo>
                  <a:lnTo>
                    <a:pt x="974407" y="810197"/>
                  </a:lnTo>
                  <a:lnTo>
                    <a:pt x="975551" y="806863"/>
                  </a:lnTo>
                  <a:lnTo>
                    <a:pt x="978884" y="808006"/>
                  </a:lnTo>
                  <a:lnTo>
                    <a:pt x="975360" y="805244"/>
                  </a:lnTo>
                  <a:lnTo>
                    <a:pt x="978503" y="804863"/>
                  </a:lnTo>
                  <a:lnTo>
                    <a:pt x="980313" y="806196"/>
                  </a:lnTo>
                  <a:lnTo>
                    <a:pt x="978884" y="808006"/>
                  </a:lnTo>
                  <a:lnTo>
                    <a:pt x="979075" y="809625"/>
                  </a:lnTo>
                  <a:lnTo>
                    <a:pt x="983456" y="805815"/>
                  </a:lnTo>
                  <a:lnTo>
                    <a:pt x="984980" y="805625"/>
                  </a:lnTo>
                  <a:lnTo>
                    <a:pt x="990124" y="795338"/>
                  </a:lnTo>
                  <a:lnTo>
                    <a:pt x="988505" y="795528"/>
                  </a:lnTo>
                  <a:lnTo>
                    <a:pt x="989552" y="790575"/>
                  </a:lnTo>
                  <a:lnTo>
                    <a:pt x="987933" y="790861"/>
                  </a:lnTo>
                  <a:lnTo>
                    <a:pt x="989362" y="789051"/>
                  </a:lnTo>
                  <a:lnTo>
                    <a:pt x="985933" y="787908"/>
                  </a:lnTo>
                  <a:lnTo>
                    <a:pt x="987361" y="786098"/>
                  </a:lnTo>
                  <a:lnTo>
                    <a:pt x="986123" y="776573"/>
                  </a:lnTo>
                  <a:lnTo>
                    <a:pt x="992886" y="778955"/>
                  </a:lnTo>
                  <a:lnTo>
                    <a:pt x="992600" y="764572"/>
                  </a:lnTo>
                  <a:lnTo>
                    <a:pt x="992029" y="759809"/>
                  </a:lnTo>
                  <a:lnTo>
                    <a:pt x="993553" y="759619"/>
                  </a:lnTo>
                  <a:lnTo>
                    <a:pt x="994791" y="756285"/>
                  </a:lnTo>
                  <a:lnTo>
                    <a:pt x="991172" y="753523"/>
                  </a:lnTo>
                  <a:lnTo>
                    <a:pt x="987838" y="752380"/>
                  </a:lnTo>
                  <a:lnTo>
                    <a:pt x="987266" y="747617"/>
                  </a:lnTo>
                  <a:lnTo>
                    <a:pt x="983742" y="744855"/>
                  </a:lnTo>
                  <a:lnTo>
                    <a:pt x="983266" y="741712"/>
                  </a:lnTo>
                  <a:lnTo>
                    <a:pt x="987647" y="737902"/>
                  </a:lnTo>
                  <a:lnTo>
                    <a:pt x="989648" y="740855"/>
                  </a:lnTo>
                  <a:lnTo>
                    <a:pt x="992600" y="738950"/>
                  </a:lnTo>
                  <a:lnTo>
                    <a:pt x="988981" y="736187"/>
                  </a:lnTo>
                  <a:lnTo>
                    <a:pt x="988600" y="733044"/>
                  </a:lnTo>
                  <a:lnTo>
                    <a:pt x="985076" y="730282"/>
                  </a:lnTo>
                  <a:lnTo>
                    <a:pt x="986219" y="726853"/>
                  </a:lnTo>
                  <a:lnTo>
                    <a:pt x="988028" y="728282"/>
                  </a:lnTo>
                  <a:lnTo>
                    <a:pt x="987552" y="725138"/>
                  </a:lnTo>
                  <a:lnTo>
                    <a:pt x="985838" y="723710"/>
                  </a:lnTo>
                  <a:lnTo>
                    <a:pt x="985647" y="722186"/>
                  </a:lnTo>
                  <a:lnTo>
                    <a:pt x="982027" y="719423"/>
                  </a:lnTo>
                  <a:lnTo>
                    <a:pt x="981837" y="717804"/>
                  </a:lnTo>
                  <a:lnTo>
                    <a:pt x="984790" y="715804"/>
                  </a:lnTo>
                  <a:lnTo>
                    <a:pt x="987933" y="715423"/>
                  </a:lnTo>
                  <a:lnTo>
                    <a:pt x="989171" y="712089"/>
                  </a:lnTo>
                  <a:lnTo>
                    <a:pt x="992124" y="710089"/>
                  </a:lnTo>
                  <a:lnTo>
                    <a:pt x="1004792" y="721328"/>
                  </a:lnTo>
                  <a:lnTo>
                    <a:pt x="1019937" y="727424"/>
                  </a:lnTo>
                  <a:lnTo>
                    <a:pt x="1021175" y="724091"/>
                  </a:lnTo>
                  <a:lnTo>
                    <a:pt x="1024509" y="725234"/>
                  </a:lnTo>
                  <a:lnTo>
                    <a:pt x="1020889" y="722471"/>
                  </a:lnTo>
                  <a:lnTo>
                    <a:pt x="1023652" y="718947"/>
                  </a:lnTo>
                  <a:lnTo>
                    <a:pt x="1021937" y="717518"/>
                  </a:lnTo>
                  <a:lnTo>
                    <a:pt x="1017175" y="718090"/>
                  </a:lnTo>
                  <a:lnTo>
                    <a:pt x="1015365" y="716756"/>
                  </a:lnTo>
                  <a:lnTo>
                    <a:pt x="1019556" y="711422"/>
                  </a:lnTo>
                  <a:lnTo>
                    <a:pt x="1023080" y="714185"/>
                  </a:lnTo>
                  <a:lnTo>
                    <a:pt x="1024223" y="710851"/>
                  </a:lnTo>
                  <a:lnTo>
                    <a:pt x="1020889" y="709613"/>
                  </a:lnTo>
                  <a:lnTo>
                    <a:pt x="1022509" y="709422"/>
                  </a:lnTo>
                  <a:lnTo>
                    <a:pt x="1026985" y="707231"/>
                  </a:lnTo>
                  <a:lnTo>
                    <a:pt x="1024985" y="691515"/>
                  </a:lnTo>
                  <a:lnTo>
                    <a:pt x="1035653" y="699707"/>
                  </a:lnTo>
                  <a:lnTo>
                    <a:pt x="1043559" y="698754"/>
                  </a:lnTo>
                  <a:lnTo>
                    <a:pt x="1042606" y="690848"/>
                  </a:lnTo>
                  <a:lnTo>
                    <a:pt x="1051274" y="696182"/>
                  </a:lnTo>
                  <a:lnTo>
                    <a:pt x="1059371" y="696754"/>
                  </a:lnTo>
                  <a:lnTo>
                    <a:pt x="1057942" y="685705"/>
                  </a:lnTo>
                  <a:lnTo>
                    <a:pt x="1059085" y="682276"/>
                  </a:lnTo>
                  <a:lnTo>
                    <a:pt x="1058513" y="677609"/>
                  </a:lnTo>
                  <a:lnTo>
                    <a:pt x="1059656" y="674275"/>
                  </a:lnTo>
                  <a:lnTo>
                    <a:pt x="1054799" y="673227"/>
                  </a:lnTo>
                  <a:lnTo>
                    <a:pt x="1057942" y="672846"/>
                  </a:lnTo>
                  <a:lnTo>
                    <a:pt x="1058323" y="663226"/>
                  </a:lnTo>
                  <a:lnTo>
                    <a:pt x="1047560" y="642080"/>
                  </a:lnTo>
                  <a:lnTo>
                    <a:pt x="1060037" y="638937"/>
                  </a:lnTo>
                  <a:lnTo>
                    <a:pt x="1056989" y="628078"/>
                  </a:lnTo>
                  <a:lnTo>
                    <a:pt x="1068896" y="632936"/>
                  </a:lnTo>
                  <a:lnTo>
                    <a:pt x="1066324" y="625316"/>
                  </a:lnTo>
                  <a:lnTo>
                    <a:pt x="1064133" y="620744"/>
                  </a:lnTo>
                  <a:lnTo>
                    <a:pt x="1060704" y="619601"/>
                  </a:lnTo>
                  <a:lnTo>
                    <a:pt x="1061276" y="611505"/>
                  </a:lnTo>
                  <a:lnTo>
                    <a:pt x="1056418" y="610457"/>
                  </a:lnTo>
                  <a:lnTo>
                    <a:pt x="1057751" y="608743"/>
                  </a:lnTo>
                  <a:lnTo>
                    <a:pt x="1057561" y="607124"/>
                  </a:lnTo>
                  <a:lnTo>
                    <a:pt x="1054418" y="607505"/>
                  </a:lnTo>
                  <a:lnTo>
                    <a:pt x="1049465" y="606552"/>
                  </a:lnTo>
                  <a:lnTo>
                    <a:pt x="1049655" y="608171"/>
                  </a:lnTo>
                  <a:lnTo>
                    <a:pt x="1047845" y="606743"/>
                  </a:lnTo>
                  <a:lnTo>
                    <a:pt x="1047845" y="606743"/>
                  </a:lnTo>
                  <a:lnTo>
                    <a:pt x="1047655" y="605219"/>
                  </a:lnTo>
                  <a:lnTo>
                    <a:pt x="1046321" y="606933"/>
                  </a:lnTo>
                  <a:lnTo>
                    <a:pt x="1038035" y="604838"/>
                  </a:lnTo>
                  <a:lnTo>
                    <a:pt x="1038797" y="598265"/>
                  </a:lnTo>
                  <a:lnTo>
                    <a:pt x="1037368" y="600075"/>
                  </a:lnTo>
                  <a:lnTo>
                    <a:pt x="1035463" y="597122"/>
                  </a:lnTo>
                  <a:lnTo>
                    <a:pt x="1036415" y="592169"/>
                  </a:lnTo>
                  <a:lnTo>
                    <a:pt x="1036225" y="590645"/>
                  </a:lnTo>
                  <a:lnTo>
                    <a:pt x="1034606" y="590836"/>
                  </a:lnTo>
                  <a:lnTo>
                    <a:pt x="1033081" y="591026"/>
                  </a:lnTo>
                  <a:lnTo>
                    <a:pt x="1034415" y="589217"/>
                  </a:lnTo>
                  <a:lnTo>
                    <a:pt x="1032605" y="587883"/>
                  </a:lnTo>
                  <a:lnTo>
                    <a:pt x="1033844" y="584549"/>
                  </a:lnTo>
                  <a:lnTo>
                    <a:pt x="1030700" y="584930"/>
                  </a:lnTo>
                  <a:lnTo>
                    <a:pt x="1032034" y="583121"/>
                  </a:lnTo>
                  <a:lnTo>
                    <a:pt x="1030510" y="583311"/>
                  </a:lnTo>
                  <a:lnTo>
                    <a:pt x="1027843" y="575596"/>
                  </a:lnTo>
                  <a:lnTo>
                    <a:pt x="1020985" y="571691"/>
                  </a:lnTo>
                  <a:lnTo>
                    <a:pt x="1022128" y="568357"/>
                  </a:lnTo>
                  <a:lnTo>
                    <a:pt x="1020985" y="558927"/>
                  </a:lnTo>
                  <a:lnTo>
                    <a:pt x="1018985" y="555974"/>
                  </a:lnTo>
                  <a:lnTo>
                    <a:pt x="1018603" y="552736"/>
                  </a:lnTo>
                  <a:lnTo>
                    <a:pt x="1016984" y="553022"/>
                  </a:lnTo>
                  <a:lnTo>
                    <a:pt x="1015746" y="543497"/>
                  </a:lnTo>
                  <a:lnTo>
                    <a:pt x="1012603" y="543878"/>
                  </a:lnTo>
                  <a:lnTo>
                    <a:pt x="1014031" y="542163"/>
                  </a:lnTo>
                  <a:lnTo>
                    <a:pt x="1012412" y="542354"/>
                  </a:lnTo>
                  <a:lnTo>
                    <a:pt x="1013174" y="535781"/>
                  </a:lnTo>
                  <a:lnTo>
                    <a:pt x="1003078" y="532257"/>
                  </a:lnTo>
                  <a:lnTo>
                    <a:pt x="1004316" y="528923"/>
                  </a:lnTo>
                  <a:lnTo>
                    <a:pt x="1000315" y="523018"/>
                  </a:lnTo>
                  <a:lnTo>
                    <a:pt x="995363" y="522065"/>
                  </a:lnTo>
                  <a:lnTo>
                    <a:pt x="997934" y="516922"/>
                  </a:lnTo>
                  <a:lnTo>
                    <a:pt x="994981" y="506063"/>
                  </a:lnTo>
                  <a:lnTo>
                    <a:pt x="987838" y="500539"/>
                  </a:lnTo>
                  <a:lnTo>
                    <a:pt x="987457" y="497396"/>
                  </a:lnTo>
                  <a:lnTo>
                    <a:pt x="988790" y="495586"/>
                  </a:lnTo>
                  <a:lnTo>
                    <a:pt x="981742" y="490157"/>
                  </a:lnTo>
                  <a:lnTo>
                    <a:pt x="985266" y="480060"/>
                  </a:lnTo>
                  <a:lnTo>
                    <a:pt x="984790" y="476917"/>
                  </a:lnTo>
                  <a:lnTo>
                    <a:pt x="982027" y="467582"/>
                  </a:lnTo>
                  <a:lnTo>
                    <a:pt x="981837" y="466058"/>
                  </a:lnTo>
                  <a:lnTo>
                    <a:pt x="981456" y="462915"/>
                  </a:lnTo>
                  <a:lnTo>
                    <a:pt x="982218" y="456343"/>
                  </a:lnTo>
                  <a:lnTo>
                    <a:pt x="980599" y="456533"/>
                  </a:lnTo>
                  <a:lnTo>
                    <a:pt x="975931" y="457200"/>
                  </a:lnTo>
                  <a:lnTo>
                    <a:pt x="970978" y="456248"/>
                  </a:lnTo>
                  <a:lnTo>
                    <a:pt x="971169" y="444913"/>
                  </a:lnTo>
                  <a:lnTo>
                    <a:pt x="977456" y="431292"/>
                  </a:lnTo>
                  <a:lnTo>
                    <a:pt x="979170" y="432721"/>
                  </a:lnTo>
                  <a:lnTo>
                    <a:pt x="993553" y="419672"/>
                  </a:lnTo>
                  <a:lnTo>
                    <a:pt x="992981" y="414909"/>
                  </a:lnTo>
                  <a:lnTo>
                    <a:pt x="986028" y="411004"/>
                  </a:lnTo>
                  <a:lnTo>
                    <a:pt x="986600" y="402908"/>
                  </a:lnTo>
                  <a:lnTo>
                    <a:pt x="990790" y="397574"/>
                  </a:lnTo>
                  <a:lnTo>
                    <a:pt x="989933" y="391192"/>
                  </a:lnTo>
                  <a:lnTo>
                    <a:pt x="993839" y="384334"/>
                  </a:lnTo>
                  <a:lnTo>
                    <a:pt x="1003173" y="381572"/>
                  </a:lnTo>
                  <a:lnTo>
                    <a:pt x="1012222" y="377190"/>
                  </a:lnTo>
                  <a:lnTo>
                    <a:pt x="1015936" y="368713"/>
                  </a:lnTo>
                  <a:lnTo>
                    <a:pt x="1015746" y="367094"/>
                  </a:lnTo>
                  <a:lnTo>
                    <a:pt x="1018318" y="361950"/>
                  </a:lnTo>
                  <a:lnTo>
                    <a:pt x="1020699" y="368046"/>
                  </a:lnTo>
                  <a:lnTo>
                    <a:pt x="1019461" y="371475"/>
                  </a:lnTo>
                  <a:lnTo>
                    <a:pt x="1021080" y="371189"/>
                  </a:lnTo>
                  <a:lnTo>
                    <a:pt x="1027367" y="370427"/>
                  </a:lnTo>
                  <a:lnTo>
                    <a:pt x="1030129" y="366903"/>
                  </a:lnTo>
                  <a:lnTo>
                    <a:pt x="1021271" y="359950"/>
                  </a:lnTo>
                  <a:lnTo>
                    <a:pt x="1022032" y="353473"/>
                  </a:lnTo>
                  <a:lnTo>
                    <a:pt x="1024985" y="351473"/>
                  </a:lnTo>
                  <a:lnTo>
                    <a:pt x="1025938" y="346520"/>
                  </a:lnTo>
                  <a:lnTo>
                    <a:pt x="1027462" y="333566"/>
                  </a:lnTo>
                  <a:lnTo>
                    <a:pt x="1032986" y="326422"/>
                  </a:lnTo>
                  <a:lnTo>
                    <a:pt x="1032796" y="324803"/>
                  </a:lnTo>
                  <a:lnTo>
                    <a:pt x="1037558" y="324231"/>
                  </a:lnTo>
                  <a:lnTo>
                    <a:pt x="1042702" y="326803"/>
                  </a:lnTo>
                  <a:lnTo>
                    <a:pt x="1048036" y="318040"/>
                  </a:lnTo>
                  <a:lnTo>
                    <a:pt x="1042416" y="312420"/>
                  </a:lnTo>
                  <a:lnTo>
                    <a:pt x="1043654" y="308991"/>
                  </a:lnTo>
                  <a:lnTo>
                    <a:pt x="1049560" y="305086"/>
                  </a:lnTo>
                  <a:lnTo>
                    <a:pt x="1049369" y="303467"/>
                  </a:lnTo>
                  <a:lnTo>
                    <a:pt x="1049179" y="301943"/>
                  </a:lnTo>
                  <a:lnTo>
                    <a:pt x="1047369" y="300514"/>
                  </a:lnTo>
                  <a:lnTo>
                    <a:pt x="1045750" y="300704"/>
                  </a:lnTo>
                  <a:lnTo>
                    <a:pt x="1044035" y="299371"/>
                  </a:lnTo>
                  <a:lnTo>
                    <a:pt x="1044988" y="294418"/>
                  </a:lnTo>
                  <a:lnTo>
                    <a:pt x="1043178" y="293084"/>
                  </a:lnTo>
                  <a:lnTo>
                    <a:pt x="1045750" y="287941"/>
                  </a:lnTo>
                  <a:lnTo>
                    <a:pt x="1049274" y="290703"/>
                  </a:lnTo>
                  <a:lnTo>
                    <a:pt x="1048893" y="287465"/>
                  </a:lnTo>
                  <a:lnTo>
                    <a:pt x="1045559" y="286322"/>
                  </a:lnTo>
                  <a:lnTo>
                    <a:pt x="1044131" y="288131"/>
                  </a:lnTo>
                  <a:lnTo>
                    <a:pt x="1040797" y="286893"/>
                  </a:lnTo>
                  <a:lnTo>
                    <a:pt x="1042226" y="285179"/>
                  </a:lnTo>
                  <a:lnTo>
                    <a:pt x="1038415" y="280797"/>
                  </a:lnTo>
                  <a:lnTo>
                    <a:pt x="1044511" y="278416"/>
                  </a:lnTo>
                  <a:lnTo>
                    <a:pt x="1050036" y="284131"/>
                  </a:lnTo>
                  <a:lnTo>
                    <a:pt x="1054227" y="278797"/>
                  </a:lnTo>
                  <a:lnTo>
                    <a:pt x="1061942" y="276225"/>
                  </a:lnTo>
                  <a:lnTo>
                    <a:pt x="1063657" y="277559"/>
                  </a:lnTo>
                  <a:lnTo>
                    <a:pt x="1066800" y="277178"/>
                  </a:lnTo>
                  <a:lnTo>
                    <a:pt x="1065848" y="282131"/>
                  </a:lnTo>
                  <a:lnTo>
                    <a:pt x="1063085" y="285655"/>
                  </a:lnTo>
                  <a:lnTo>
                    <a:pt x="1067657" y="283464"/>
                  </a:lnTo>
                  <a:lnTo>
                    <a:pt x="1069372" y="284893"/>
                  </a:lnTo>
                  <a:lnTo>
                    <a:pt x="1070801" y="283083"/>
                  </a:lnTo>
                  <a:lnTo>
                    <a:pt x="1073944" y="282702"/>
                  </a:lnTo>
                  <a:lnTo>
                    <a:pt x="1082611" y="288036"/>
                  </a:lnTo>
                  <a:lnTo>
                    <a:pt x="1084993" y="294132"/>
                  </a:lnTo>
                  <a:lnTo>
                    <a:pt x="1093280" y="296323"/>
                  </a:lnTo>
                  <a:lnTo>
                    <a:pt x="1095280" y="299276"/>
                  </a:lnTo>
                  <a:lnTo>
                    <a:pt x="1101661" y="298418"/>
                  </a:lnTo>
                  <a:lnTo>
                    <a:pt x="1105376" y="302800"/>
                  </a:lnTo>
                  <a:lnTo>
                    <a:pt x="1106329" y="297847"/>
                  </a:lnTo>
                  <a:lnTo>
                    <a:pt x="1106519" y="299371"/>
                  </a:lnTo>
                  <a:lnTo>
                    <a:pt x="1111282" y="298799"/>
                  </a:lnTo>
                  <a:lnTo>
                    <a:pt x="1118997" y="296228"/>
                  </a:lnTo>
                  <a:lnTo>
                    <a:pt x="1121093" y="287941"/>
                  </a:lnTo>
                  <a:lnTo>
                    <a:pt x="1119950" y="278416"/>
                  </a:lnTo>
                  <a:lnTo>
                    <a:pt x="1122426" y="273272"/>
                  </a:lnTo>
                  <a:lnTo>
                    <a:pt x="1121474" y="265462"/>
                  </a:lnTo>
                  <a:lnTo>
                    <a:pt x="1125760" y="261652"/>
                  </a:lnTo>
                  <a:lnTo>
                    <a:pt x="1123188" y="253937"/>
                  </a:lnTo>
                  <a:lnTo>
                    <a:pt x="1124426" y="250603"/>
                  </a:lnTo>
                  <a:lnTo>
                    <a:pt x="1139190" y="253556"/>
                  </a:lnTo>
                  <a:lnTo>
                    <a:pt x="1143572" y="249746"/>
                  </a:lnTo>
                  <a:lnTo>
                    <a:pt x="1148239" y="249174"/>
                  </a:lnTo>
                  <a:lnTo>
                    <a:pt x="1151192" y="247174"/>
                  </a:lnTo>
                  <a:lnTo>
                    <a:pt x="1158716" y="230219"/>
                  </a:lnTo>
                  <a:lnTo>
                    <a:pt x="1159288" y="222123"/>
                  </a:lnTo>
                  <a:lnTo>
                    <a:pt x="1162050" y="218599"/>
                  </a:lnTo>
                  <a:lnTo>
                    <a:pt x="1168813" y="196882"/>
                  </a:lnTo>
                  <a:lnTo>
                    <a:pt x="1171956" y="183642"/>
                  </a:lnTo>
                  <a:lnTo>
                    <a:pt x="1182243" y="175927"/>
                  </a:lnTo>
                  <a:lnTo>
                    <a:pt x="1182529" y="153353"/>
                  </a:lnTo>
                  <a:lnTo>
                    <a:pt x="1180148" y="147257"/>
                  </a:lnTo>
                  <a:lnTo>
                    <a:pt x="1180148" y="147257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5" name="Volný tvar: obrazec 24">
              <a:extLst>
                <a:ext uri="{FF2B5EF4-FFF2-40B4-BE49-F238E27FC236}">
                  <a16:creationId xmlns:a16="http://schemas.microsoft.com/office/drawing/2014/main" id="{7432A541-4ECE-B9BA-D289-5EA65630F5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15107" y="2323813"/>
              <a:ext cx="1029843" cy="845819"/>
            </a:xfrm>
            <a:custGeom>
              <a:avLst/>
              <a:gdLst>
                <a:gd name="connsiteX0" fmla="*/ 1029843 w 1029843"/>
                <a:gd name="connsiteY0" fmla="*/ 713994 h 845819"/>
                <a:gd name="connsiteX1" fmla="*/ 1026319 w 1029843"/>
                <a:gd name="connsiteY1" fmla="*/ 711232 h 845819"/>
                <a:gd name="connsiteX2" fmla="*/ 1024128 w 1029843"/>
                <a:gd name="connsiteY2" fmla="*/ 706660 h 845819"/>
                <a:gd name="connsiteX3" fmla="*/ 1013651 w 1029843"/>
                <a:gd name="connsiteY3" fmla="*/ 699992 h 845819"/>
                <a:gd name="connsiteX4" fmla="*/ 1011079 w 1029843"/>
                <a:gd name="connsiteY4" fmla="*/ 692277 h 845819"/>
                <a:gd name="connsiteX5" fmla="*/ 1010888 w 1029843"/>
                <a:gd name="connsiteY5" fmla="*/ 690753 h 845819"/>
                <a:gd name="connsiteX6" fmla="*/ 1014603 w 1029843"/>
                <a:gd name="connsiteY6" fmla="*/ 682276 h 845819"/>
                <a:gd name="connsiteX7" fmla="*/ 1012412 w 1029843"/>
                <a:gd name="connsiteY7" fmla="*/ 677704 h 845819"/>
                <a:gd name="connsiteX8" fmla="*/ 1009079 w 1029843"/>
                <a:gd name="connsiteY8" fmla="*/ 676561 h 845819"/>
                <a:gd name="connsiteX9" fmla="*/ 1010222 w 1029843"/>
                <a:gd name="connsiteY9" fmla="*/ 673132 h 845819"/>
                <a:gd name="connsiteX10" fmla="*/ 1007650 w 1029843"/>
                <a:gd name="connsiteY10" fmla="*/ 665512 h 845819"/>
                <a:gd name="connsiteX11" fmla="*/ 1008602 w 1029843"/>
                <a:gd name="connsiteY11" fmla="*/ 660559 h 845819"/>
                <a:gd name="connsiteX12" fmla="*/ 1008031 w 1029843"/>
                <a:gd name="connsiteY12" fmla="*/ 655796 h 845819"/>
                <a:gd name="connsiteX13" fmla="*/ 1010984 w 1029843"/>
                <a:gd name="connsiteY13" fmla="*/ 653796 h 845819"/>
                <a:gd name="connsiteX14" fmla="*/ 1012126 w 1029843"/>
                <a:gd name="connsiteY14" fmla="*/ 650462 h 845819"/>
                <a:gd name="connsiteX15" fmla="*/ 1009555 w 1029843"/>
                <a:gd name="connsiteY15" fmla="*/ 642747 h 845819"/>
                <a:gd name="connsiteX16" fmla="*/ 1006412 w 1029843"/>
                <a:gd name="connsiteY16" fmla="*/ 643223 h 845819"/>
                <a:gd name="connsiteX17" fmla="*/ 1008793 w 1029843"/>
                <a:gd name="connsiteY17" fmla="*/ 636461 h 845819"/>
                <a:gd name="connsiteX18" fmla="*/ 1003649 w 1029843"/>
                <a:gd name="connsiteY18" fmla="*/ 633889 h 845819"/>
                <a:gd name="connsiteX19" fmla="*/ 1002601 w 1029843"/>
                <a:gd name="connsiteY19" fmla="*/ 625983 h 845819"/>
                <a:gd name="connsiteX20" fmla="*/ 995458 w 1029843"/>
                <a:gd name="connsiteY20" fmla="*/ 620554 h 845819"/>
                <a:gd name="connsiteX21" fmla="*/ 994886 w 1029843"/>
                <a:gd name="connsiteY21" fmla="*/ 615791 h 845819"/>
                <a:gd name="connsiteX22" fmla="*/ 988600 w 1029843"/>
                <a:gd name="connsiteY22" fmla="*/ 616553 h 845819"/>
                <a:gd name="connsiteX23" fmla="*/ 983647 w 1029843"/>
                <a:gd name="connsiteY23" fmla="*/ 615601 h 845819"/>
                <a:gd name="connsiteX24" fmla="*/ 977551 w 1029843"/>
                <a:gd name="connsiteY24" fmla="*/ 605123 h 845819"/>
                <a:gd name="connsiteX25" fmla="*/ 978503 w 1029843"/>
                <a:gd name="connsiteY25" fmla="*/ 600265 h 845819"/>
                <a:gd name="connsiteX26" fmla="*/ 973550 w 1029843"/>
                <a:gd name="connsiteY26" fmla="*/ 599218 h 845819"/>
                <a:gd name="connsiteX27" fmla="*/ 972502 w 1029843"/>
                <a:gd name="connsiteY27" fmla="*/ 591407 h 845819"/>
                <a:gd name="connsiteX28" fmla="*/ 969169 w 1029843"/>
                <a:gd name="connsiteY28" fmla="*/ 590169 h 845819"/>
                <a:gd name="connsiteX29" fmla="*/ 964406 w 1029843"/>
                <a:gd name="connsiteY29" fmla="*/ 590836 h 845819"/>
                <a:gd name="connsiteX30" fmla="*/ 962501 w 1029843"/>
                <a:gd name="connsiteY30" fmla="*/ 587788 h 845819"/>
                <a:gd name="connsiteX31" fmla="*/ 960692 w 1029843"/>
                <a:gd name="connsiteY31" fmla="*/ 586454 h 845819"/>
                <a:gd name="connsiteX32" fmla="*/ 960120 w 1029843"/>
                <a:gd name="connsiteY32" fmla="*/ 581692 h 845819"/>
                <a:gd name="connsiteX33" fmla="*/ 953167 w 1029843"/>
                <a:gd name="connsiteY33" fmla="*/ 577786 h 845819"/>
                <a:gd name="connsiteX34" fmla="*/ 952595 w 1029843"/>
                <a:gd name="connsiteY34" fmla="*/ 573024 h 845819"/>
                <a:gd name="connsiteX35" fmla="*/ 943070 w 1029843"/>
                <a:gd name="connsiteY35" fmla="*/ 561404 h 845819"/>
                <a:gd name="connsiteX36" fmla="*/ 944213 w 1029843"/>
                <a:gd name="connsiteY36" fmla="*/ 558070 h 845819"/>
                <a:gd name="connsiteX37" fmla="*/ 942023 w 1029843"/>
                <a:gd name="connsiteY37" fmla="*/ 553593 h 845819"/>
                <a:gd name="connsiteX38" fmla="*/ 941642 w 1029843"/>
                <a:gd name="connsiteY38" fmla="*/ 550355 h 845819"/>
                <a:gd name="connsiteX39" fmla="*/ 930783 w 1029843"/>
                <a:gd name="connsiteY39" fmla="*/ 540544 h 845819"/>
                <a:gd name="connsiteX40" fmla="*/ 926401 w 1029843"/>
                <a:gd name="connsiteY40" fmla="*/ 531495 h 845819"/>
                <a:gd name="connsiteX41" fmla="*/ 922687 w 1029843"/>
                <a:gd name="connsiteY41" fmla="*/ 527113 h 845819"/>
                <a:gd name="connsiteX42" fmla="*/ 922020 w 1029843"/>
                <a:gd name="connsiteY42" fmla="*/ 522446 h 845819"/>
                <a:gd name="connsiteX43" fmla="*/ 918305 w 1029843"/>
                <a:gd name="connsiteY43" fmla="*/ 518065 h 845819"/>
                <a:gd name="connsiteX44" fmla="*/ 907256 w 1029843"/>
                <a:gd name="connsiteY44" fmla="*/ 519494 h 845819"/>
                <a:gd name="connsiteX45" fmla="*/ 903923 w 1029843"/>
                <a:gd name="connsiteY45" fmla="*/ 518350 h 845819"/>
                <a:gd name="connsiteX46" fmla="*/ 900970 w 1029843"/>
                <a:gd name="connsiteY46" fmla="*/ 520255 h 845819"/>
                <a:gd name="connsiteX47" fmla="*/ 899732 w 1029843"/>
                <a:gd name="connsiteY47" fmla="*/ 523684 h 845819"/>
                <a:gd name="connsiteX48" fmla="*/ 896588 w 1029843"/>
                <a:gd name="connsiteY48" fmla="*/ 524065 h 845819"/>
                <a:gd name="connsiteX49" fmla="*/ 885730 w 1029843"/>
                <a:gd name="connsiteY49" fmla="*/ 514255 h 845819"/>
                <a:gd name="connsiteX50" fmla="*/ 878776 w 1029843"/>
                <a:gd name="connsiteY50" fmla="*/ 497491 h 845819"/>
                <a:gd name="connsiteX51" fmla="*/ 869728 w 1029843"/>
                <a:gd name="connsiteY51" fmla="*/ 489013 h 845819"/>
                <a:gd name="connsiteX52" fmla="*/ 869251 w 1029843"/>
                <a:gd name="connsiteY52" fmla="*/ 485870 h 845819"/>
                <a:gd name="connsiteX53" fmla="*/ 873443 w 1029843"/>
                <a:gd name="connsiteY53" fmla="*/ 480536 h 845819"/>
                <a:gd name="connsiteX54" fmla="*/ 871061 w 1029843"/>
                <a:gd name="connsiteY54" fmla="*/ 474440 h 845819"/>
                <a:gd name="connsiteX55" fmla="*/ 873824 w 1029843"/>
                <a:gd name="connsiteY55" fmla="*/ 470821 h 845819"/>
                <a:gd name="connsiteX56" fmla="*/ 869823 w 1029843"/>
                <a:gd name="connsiteY56" fmla="*/ 464915 h 845819"/>
                <a:gd name="connsiteX57" fmla="*/ 869061 w 1029843"/>
                <a:gd name="connsiteY57" fmla="*/ 458629 h 845819"/>
                <a:gd name="connsiteX58" fmla="*/ 867061 w 1029843"/>
                <a:gd name="connsiteY58" fmla="*/ 455676 h 845819"/>
                <a:gd name="connsiteX59" fmla="*/ 862489 w 1029843"/>
                <a:gd name="connsiteY59" fmla="*/ 457867 h 845819"/>
                <a:gd name="connsiteX60" fmla="*/ 858965 w 1029843"/>
                <a:gd name="connsiteY60" fmla="*/ 455105 h 845819"/>
                <a:gd name="connsiteX61" fmla="*/ 852868 w 1029843"/>
                <a:gd name="connsiteY61" fmla="*/ 457486 h 845819"/>
                <a:gd name="connsiteX62" fmla="*/ 844391 w 1029843"/>
                <a:gd name="connsiteY62" fmla="*/ 453771 h 845819"/>
                <a:gd name="connsiteX63" fmla="*/ 838200 w 1029843"/>
                <a:gd name="connsiteY63" fmla="*/ 456152 h 845819"/>
                <a:gd name="connsiteX64" fmla="*/ 831342 w 1029843"/>
                <a:gd name="connsiteY64" fmla="*/ 452152 h 845819"/>
                <a:gd name="connsiteX65" fmla="*/ 829723 w 1029843"/>
                <a:gd name="connsiteY65" fmla="*/ 452438 h 845819"/>
                <a:gd name="connsiteX66" fmla="*/ 825246 w 1029843"/>
                <a:gd name="connsiteY66" fmla="*/ 454533 h 845819"/>
                <a:gd name="connsiteX67" fmla="*/ 821531 w 1029843"/>
                <a:gd name="connsiteY67" fmla="*/ 463105 h 845819"/>
                <a:gd name="connsiteX68" fmla="*/ 821912 w 1029843"/>
                <a:gd name="connsiteY68" fmla="*/ 466249 h 845819"/>
                <a:gd name="connsiteX69" fmla="*/ 816007 w 1029843"/>
                <a:gd name="connsiteY69" fmla="*/ 470154 h 845819"/>
                <a:gd name="connsiteX70" fmla="*/ 811244 w 1029843"/>
                <a:gd name="connsiteY70" fmla="*/ 470821 h 845819"/>
                <a:gd name="connsiteX71" fmla="*/ 809816 w 1029843"/>
                <a:gd name="connsiteY71" fmla="*/ 459772 h 845819"/>
                <a:gd name="connsiteX72" fmla="*/ 802672 w 1029843"/>
                <a:gd name="connsiteY72" fmla="*/ 454247 h 845819"/>
                <a:gd name="connsiteX73" fmla="*/ 803720 w 1029843"/>
                <a:gd name="connsiteY73" fmla="*/ 449294 h 845819"/>
                <a:gd name="connsiteX74" fmla="*/ 801148 w 1029843"/>
                <a:gd name="connsiteY74" fmla="*/ 441579 h 845819"/>
                <a:gd name="connsiteX75" fmla="*/ 799148 w 1029843"/>
                <a:gd name="connsiteY75" fmla="*/ 438626 h 845819"/>
                <a:gd name="connsiteX76" fmla="*/ 789623 w 1029843"/>
                <a:gd name="connsiteY76" fmla="*/ 439865 h 845819"/>
                <a:gd name="connsiteX77" fmla="*/ 789242 w 1029843"/>
                <a:gd name="connsiteY77" fmla="*/ 436721 h 845819"/>
                <a:gd name="connsiteX78" fmla="*/ 792956 w 1029843"/>
                <a:gd name="connsiteY78" fmla="*/ 428244 h 845819"/>
                <a:gd name="connsiteX79" fmla="*/ 791242 w 1029843"/>
                <a:gd name="connsiteY79" fmla="*/ 426815 h 845819"/>
                <a:gd name="connsiteX80" fmla="*/ 784289 w 1029843"/>
                <a:gd name="connsiteY80" fmla="*/ 422910 h 845819"/>
                <a:gd name="connsiteX81" fmla="*/ 783717 w 1029843"/>
                <a:gd name="connsiteY81" fmla="*/ 418148 h 845819"/>
                <a:gd name="connsiteX82" fmla="*/ 778764 w 1029843"/>
                <a:gd name="connsiteY82" fmla="*/ 417195 h 845819"/>
                <a:gd name="connsiteX83" fmla="*/ 771620 w 1029843"/>
                <a:gd name="connsiteY83" fmla="*/ 424529 h 845819"/>
                <a:gd name="connsiteX84" fmla="*/ 763143 w 1029843"/>
                <a:gd name="connsiteY84" fmla="*/ 420815 h 845819"/>
                <a:gd name="connsiteX85" fmla="*/ 765715 w 1029843"/>
                <a:gd name="connsiteY85" fmla="*/ 415671 h 845819"/>
                <a:gd name="connsiteX86" fmla="*/ 760762 w 1029843"/>
                <a:gd name="connsiteY86" fmla="*/ 401860 h 845819"/>
                <a:gd name="connsiteX87" fmla="*/ 757238 w 1029843"/>
                <a:gd name="connsiteY87" fmla="*/ 399098 h 845819"/>
                <a:gd name="connsiteX88" fmla="*/ 752475 w 1029843"/>
                <a:gd name="connsiteY88" fmla="*/ 399669 h 845819"/>
                <a:gd name="connsiteX89" fmla="*/ 751904 w 1029843"/>
                <a:gd name="connsiteY89" fmla="*/ 395002 h 845819"/>
                <a:gd name="connsiteX90" fmla="*/ 753237 w 1029843"/>
                <a:gd name="connsiteY90" fmla="*/ 393192 h 845819"/>
                <a:gd name="connsiteX91" fmla="*/ 755618 w 1029843"/>
                <a:gd name="connsiteY91" fmla="*/ 386429 h 845819"/>
                <a:gd name="connsiteX92" fmla="*/ 759524 w 1029843"/>
                <a:gd name="connsiteY92" fmla="*/ 379571 h 845819"/>
                <a:gd name="connsiteX93" fmla="*/ 762286 w 1029843"/>
                <a:gd name="connsiteY93" fmla="*/ 375952 h 845819"/>
                <a:gd name="connsiteX94" fmla="*/ 763619 w 1029843"/>
                <a:gd name="connsiteY94" fmla="*/ 374237 h 845819"/>
                <a:gd name="connsiteX95" fmla="*/ 768382 w 1029843"/>
                <a:gd name="connsiteY95" fmla="*/ 373571 h 845819"/>
                <a:gd name="connsiteX96" fmla="*/ 768953 w 1029843"/>
                <a:gd name="connsiteY96" fmla="*/ 378333 h 845819"/>
                <a:gd name="connsiteX97" fmla="*/ 771334 w 1029843"/>
                <a:gd name="connsiteY97" fmla="*/ 384429 h 845819"/>
                <a:gd name="connsiteX98" fmla="*/ 777716 w 1029843"/>
                <a:gd name="connsiteY98" fmla="*/ 383667 h 845819"/>
                <a:gd name="connsiteX99" fmla="*/ 778478 w 1029843"/>
                <a:gd name="connsiteY99" fmla="*/ 377095 h 845819"/>
                <a:gd name="connsiteX100" fmla="*/ 776097 w 1029843"/>
                <a:gd name="connsiteY100" fmla="*/ 370999 h 845819"/>
                <a:gd name="connsiteX101" fmla="*/ 772477 w 1029843"/>
                <a:gd name="connsiteY101" fmla="*/ 368236 h 845819"/>
                <a:gd name="connsiteX102" fmla="*/ 769144 w 1029843"/>
                <a:gd name="connsiteY102" fmla="*/ 367094 h 845819"/>
                <a:gd name="connsiteX103" fmla="*/ 772097 w 1029843"/>
                <a:gd name="connsiteY103" fmla="*/ 365093 h 845819"/>
                <a:gd name="connsiteX104" fmla="*/ 780002 w 1029843"/>
                <a:gd name="connsiteY104" fmla="*/ 364141 h 845819"/>
                <a:gd name="connsiteX105" fmla="*/ 777621 w 1029843"/>
                <a:gd name="connsiteY105" fmla="*/ 358045 h 845819"/>
                <a:gd name="connsiteX106" fmla="*/ 785908 w 1029843"/>
                <a:gd name="connsiteY106" fmla="*/ 360140 h 845819"/>
                <a:gd name="connsiteX107" fmla="*/ 793433 w 1029843"/>
                <a:gd name="connsiteY107" fmla="*/ 355949 h 845819"/>
                <a:gd name="connsiteX108" fmla="*/ 789242 w 1029843"/>
                <a:gd name="connsiteY108" fmla="*/ 348520 h 845819"/>
                <a:gd name="connsiteX109" fmla="*/ 796576 w 1029843"/>
                <a:gd name="connsiteY109" fmla="*/ 342805 h 845819"/>
                <a:gd name="connsiteX110" fmla="*/ 799719 w 1029843"/>
                <a:gd name="connsiteY110" fmla="*/ 342329 h 845819"/>
                <a:gd name="connsiteX111" fmla="*/ 803243 w 1029843"/>
                <a:gd name="connsiteY111" fmla="*/ 345091 h 845819"/>
                <a:gd name="connsiteX112" fmla="*/ 806387 w 1029843"/>
                <a:gd name="connsiteY112" fmla="*/ 344710 h 845819"/>
                <a:gd name="connsiteX113" fmla="*/ 802481 w 1029843"/>
                <a:gd name="connsiteY113" fmla="*/ 338804 h 845819"/>
                <a:gd name="connsiteX114" fmla="*/ 803815 w 1029843"/>
                <a:gd name="connsiteY114" fmla="*/ 336994 h 845819"/>
                <a:gd name="connsiteX115" fmla="*/ 805815 w 1029843"/>
                <a:gd name="connsiteY115" fmla="*/ 339947 h 845819"/>
                <a:gd name="connsiteX116" fmla="*/ 812483 w 1029843"/>
                <a:gd name="connsiteY116" fmla="*/ 342329 h 845819"/>
                <a:gd name="connsiteX117" fmla="*/ 815435 w 1029843"/>
                <a:gd name="connsiteY117" fmla="*/ 340328 h 845819"/>
                <a:gd name="connsiteX118" fmla="*/ 819055 w 1029843"/>
                <a:gd name="connsiteY118" fmla="*/ 343090 h 845819"/>
                <a:gd name="connsiteX119" fmla="*/ 824293 w 1029843"/>
                <a:gd name="connsiteY119" fmla="*/ 334423 h 845819"/>
                <a:gd name="connsiteX120" fmla="*/ 823722 w 1029843"/>
                <a:gd name="connsiteY120" fmla="*/ 329660 h 845819"/>
                <a:gd name="connsiteX121" fmla="*/ 829818 w 1029843"/>
                <a:gd name="connsiteY121" fmla="*/ 327279 h 845819"/>
                <a:gd name="connsiteX122" fmla="*/ 831247 w 1029843"/>
                <a:gd name="connsiteY122" fmla="*/ 325469 h 845819"/>
                <a:gd name="connsiteX123" fmla="*/ 828389 w 1029843"/>
                <a:gd name="connsiteY123" fmla="*/ 316230 h 845819"/>
                <a:gd name="connsiteX124" fmla="*/ 829627 w 1029843"/>
                <a:gd name="connsiteY124" fmla="*/ 312896 h 845819"/>
                <a:gd name="connsiteX125" fmla="*/ 835724 w 1029843"/>
                <a:gd name="connsiteY125" fmla="*/ 310515 h 845819"/>
                <a:gd name="connsiteX126" fmla="*/ 837343 w 1029843"/>
                <a:gd name="connsiteY126" fmla="*/ 310325 h 845819"/>
                <a:gd name="connsiteX127" fmla="*/ 844201 w 1029843"/>
                <a:gd name="connsiteY127" fmla="*/ 314230 h 845819"/>
                <a:gd name="connsiteX128" fmla="*/ 846201 w 1029843"/>
                <a:gd name="connsiteY128" fmla="*/ 317182 h 845819"/>
                <a:gd name="connsiteX129" fmla="*/ 853345 w 1029843"/>
                <a:gd name="connsiteY129" fmla="*/ 322707 h 845819"/>
                <a:gd name="connsiteX130" fmla="*/ 863727 w 1029843"/>
                <a:gd name="connsiteY130" fmla="*/ 316516 h 845819"/>
                <a:gd name="connsiteX131" fmla="*/ 872776 w 1029843"/>
                <a:gd name="connsiteY131" fmla="*/ 299371 h 845819"/>
                <a:gd name="connsiteX132" fmla="*/ 881825 w 1029843"/>
                <a:gd name="connsiteY132" fmla="*/ 294989 h 845819"/>
                <a:gd name="connsiteX133" fmla="*/ 891921 w 1029843"/>
                <a:gd name="connsiteY133" fmla="*/ 285750 h 845819"/>
                <a:gd name="connsiteX134" fmla="*/ 891540 w 1029843"/>
                <a:gd name="connsiteY134" fmla="*/ 282511 h 845819"/>
                <a:gd name="connsiteX135" fmla="*/ 889540 w 1029843"/>
                <a:gd name="connsiteY135" fmla="*/ 279559 h 845819"/>
                <a:gd name="connsiteX136" fmla="*/ 891064 w 1029843"/>
                <a:gd name="connsiteY136" fmla="*/ 279368 h 845819"/>
                <a:gd name="connsiteX137" fmla="*/ 881825 w 1029843"/>
                <a:gd name="connsiteY137" fmla="*/ 269367 h 845819"/>
                <a:gd name="connsiteX138" fmla="*/ 888111 w 1029843"/>
                <a:gd name="connsiteY138" fmla="*/ 268510 h 845819"/>
                <a:gd name="connsiteX139" fmla="*/ 898589 w 1029843"/>
                <a:gd name="connsiteY139" fmla="*/ 262414 h 845819"/>
                <a:gd name="connsiteX140" fmla="*/ 898970 w 1029843"/>
                <a:gd name="connsiteY140" fmla="*/ 252698 h 845819"/>
                <a:gd name="connsiteX141" fmla="*/ 892778 w 1029843"/>
                <a:gd name="connsiteY141" fmla="*/ 242316 h 845819"/>
                <a:gd name="connsiteX142" fmla="*/ 893921 w 1029843"/>
                <a:gd name="connsiteY142" fmla="*/ 238982 h 845819"/>
                <a:gd name="connsiteX143" fmla="*/ 903637 w 1029843"/>
                <a:gd name="connsiteY143" fmla="*/ 239268 h 845819"/>
                <a:gd name="connsiteX144" fmla="*/ 908209 w 1029843"/>
                <a:gd name="connsiteY144" fmla="*/ 237172 h 845819"/>
                <a:gd name="connsiteX145" fmla="*/ 921163 w 1029843"/>
                <a:gd name="connsiteY145" fmla="*/ 225838 h 845819"/>
                <a:gd name="connsiteX146" fmla="*/ 920401 w 1029843"/>
                <a:gd name="connsiteY146" fmla="*/ 219551 h 845819"/>
                <a:gd name="connsiteX147" fmla="*/ 917734 w 1029843"/>
                <a:gd name="connsiteY147" fmla="*/ 211836 h 845819"/>
                <a:gd name="connsiteX148" fmla="*/ 908685 w 1029843"/>
                <a:gd name="connsiteY148" fmla="*/ 203359 h 845819"/>
                <a:gd name="connsiteX149" fmla="*/ 906113 w 1029843"/>
                <a:gd name="connsiteY149" fmla="*/ 195739 h 845819"/>
                <a:gd name="connsiteX150" fmla="*/ 897446 w 1029843"/>
                <a:gd name="connsiteY150" fmla="*/ 190405 h 845819"/>
                <a:gd name="connsiteX151" fmla="*/ 893445 w 1029843"/>
                <a:gd name="connsiteY151" fmla="*/ 184499 h 845819"/>
                <a:gd name="connsiteX152" fmla="*/ 885158 w 1029843"/>
                <a:gd name="connsiteY152" fmla="*/ 182309 h 845819"/>
                <a:gd name="connsiteX153" fmla="*/ 875252 w 1029843"/>
                <a:gd name="connsiteY153" fmla="*/ 167545 h 845819"/>
                <a:gd name="connsiteX154" fmla="*/ 874395 w 1029843"/>
                <a:gd name="connsiteY154" fmla="*/ 161258 h 845819"/>
                <a:gd name="connsiteX155" fmla="*/ 872871 w 1029843"/>
                <a:gd name="connsiteY155" fmla="*/ 161449 h 845819"/>
                <a:gd name="connsiteX156" fmla="*/ 869728 w 1029843"/>
                <a:gd name="connsiteY156" fmla="*/ 161830 h 845819"/>
                <a:gd name="connsiteX157" fmla="*/ 867727 w 1029843"/>
                <a:gd name="connsiteY157" fmla="*/ 158877 h 845819"/>
                <a:gd name="connsiteX158" fmla="*/ 863156 w 1029843"/>
                <a:gd name="connsiteY158" fmla="*/ 148209 h 845819"/>
                <a:gd name="connsiteX159" fmla="*/ 855250 w 1029843"/>
                <a:gd name="connsiteY159" fmla="*/ 149257 h 845819"/>
                <a:gd name="connsiteX160" fmla="*/ 854678 w 1029843"/>
                <a:gd name="connsiteY160" fmla="*/ 144494 h 845819"/>
                <a:gd name="connsiteX161" fmla="*/ 848297 w 1029843"/>
                <a:gd name="connsiteY161" fmla="*/ 132493 h 845819"/>
                <a:gd name="connsiteX162" fmla="*/ 834866 w 1029843"/>
                <a:gd name="connsiteY162" fmla="*/ 127825 h 845819"/>
                <a:gd name="connsiteX163" fmla="*/ 828580 w 1029843"/>
                <a:gd name="connsiteY163" fmla="*/ 128588 h 845819"/>
                <a:gd name="connsiteX164" fmla="*/ 824675 w 1029843"/>
                <a:gd name="connsiteY164" fmla="*/ 135541 h 845819"/>
                <a:gd name="connsiteX165" fmla="*/ 818102 w 1029843"/>
                <a:gd name="connsiteY165" fmla="*/ 134779 h 845819"/>
                <a:gd name="connsiteX166" fmla="*/ 806863 w 1029843"/>
                <a:gd name="connsiteY166" fmla="*/ 134588 h 845819"/>
                <a:gd name="connsiteX167" fmla="*/ 805720 w 1029843"/>
                <a:gd name="connsiteY167" fmla="*/ 125063 h 845819"/>
                <a:gd name="connsiteX168" fmla="*/ 804101 w 1029843"/>
                <a:gd name="connsiteY168" fmla="*/ 125254 h 845819"/>
                <a:gd name="connsiteX169" fmla="*/ 800957 w 1029843"/>
                <a:gd name="connsiteY169" fmla="*/ 125730 h 845819"/>
                <a:gd name="connsiteX170" fmla="*/ 792861 w 1029843"/>
                <a:gd name="connsiteY170" fmla="*/ 125158 h 845819"/>
                <a:gd name="connsiteX171" fmla="*/ 789908 w 1029843"/>
                <a:gd name="connsiteY171" fmla="*/ 127064 h 845819"/>
                <a:gd name="connsiteX172" fmla="*/ 774859 w 1029843"/>
                <a:gd name="connsiteY172" fmla="*/ 122587 h 845819"/>
                <a:gd name="connsiteX173" fmla="*/ 771716 w 1029843"/>
                <a:gd name="connsiteY173" fmla="*/ 122968 h 845819"/>
                <a:gd name="connsiteX174" fmla="*/ 763524 w 1029843"/>
                <a:gd name="connsiteY174" fmla="*/ 146494 h 845819"/>
                <a:gd name="connsiteX175" fmla="*/ 765143 w 1029843"/>
                <a:gd name="connsiteY175" fmla="*/ 159163 h 845819"/>
                <a:gd name="connsiteX176" fmla="*/ 763524 w 1029843"/>
                <a:gd name="connsiteY176" fmla="*/ 159353 h 845819"/>
                <a:gd name="connsiteX177" fmla="*/ 765524 w 1029843"/>
                <a:gd name="connsiteY177" fmla="*/ 162306 h 845819"/>
                <a:gd name="connsiteX178" fmla="*/ 762952 w 1029843"/>
                <a:gd name="connsiteY178" fmla="*/ 167449 h 845819"/>
                <a:gd name="connsiteX179" fmla="*/ 747141 w 1029843"/>
                <a:gd name="connsiteY179" fmla="*/ 169450 h 845819"/>
                <a:gd name="connsiteX180" fmla="*/ 741235 w 1029843"/>
                <a:gd name="connsiteY180" fmla="*/ 173355 h 845819"/>
                <a:gd name="connsiteX181" fmla="*/ 736092 w 1029843"/>
                <a:gd name="connsiteY181" fmla="*/ 170878 h 845819"/>
                <a:gd name="connsiteX182" fmla="*/ 737711 w 1029843"/>
                <a:gd name="connsiteY182" fmla="*/ 170593 h 845819"/>
                <a:gd name="connsiteX183" fmla="*/ 734759 w 1029843"/>
                <a:gd name="connsiteY183" fmla="*/ 159829 h 845819"/>
                <a:gd name="connsiteX184" fmla="*/ 730568 w 1029843"/>
                <a:gd name="connsiteY184" fmla="*/ 152305 h 845819"/>
                <a:gd name="connsiteX185" fmla="*/ 714947 w 1029843"/>
                <a:gd name="connsiteY185" fmla="*/ 143066 h 845819"/>
                <a:gd name="connsiteX186" fmla="*/ 707231 w 1029843"/>
                <a:gd name="connsiteY186" fmla="*/ 145637 h 845819"/>
                <a:gd name="connsiteX187" fmla="*/ 704850 w 1029843"/>
                <a:gd name="connsiteY187" fmla="*/ 139541 h 845819"/>
                <a:gd name="connsiteX188" fmla="*/ 701516 w 1029843"/>
                <a:gd name="connsiteY188" fmla="*/ 138398 h 845819"/>
                <a:gd name="connsiteX189" fmla="*/ 699516 w 1029843"/>
                <a:gd name="connsiteY189" fmla="*/ 135445 h 845819"/>
                <a:gd name="connsiteX190" fmla="*/ 691706 w 1029843"/>
                <a:gd name="connsiteY190" fmla="*/ 136398 h 845819"/>
                <a:gd name="connsiteX191" fmla="*/ 688086 w 1029843"/>
                <a:gd name="connsiteY191" fmla="*/ 133636 h 845819"/>
                <a:gd name="connsiteX192" fmla="*/ 681800 w 1029843"/>
                <a:gd name="connsiteY192" fmla="*/ 134493 h 845819"/>
                <a:gd name="connsiteX193" fmla="*/ 679609 w 1029843"/>
                <a:gd name="connsiteY193" fmla="*/ 142780 h 845819"/>
                <a:gd name="connsiteX194" fmla="*/ 676656 w 1029843"/>
                <a:gd name="connsiteY194" fmla="*/ 144780 h 845819"/>
                <a:gd name="connsiteX195" fmla="*/ 673513 w 1029843"/>
                <a:gd name="connsiteY195" fmla="*/ 145161 h 845819"/>
                <a:gd name="connsiteX196" fmla="*/ 672560 w 1029843"/>
                <a:gd name="connsiteY196" fmla="*/ 150114 h 845819"/>
                <a:gd name="connsiteX197" fmla="*/ 664083 w 1029843"/>
                <a:gd name="connsiteY197" fmla="*/ 159163 h 845819"/>
                <a:gd name="connsiteX198" fmla="*/ 659321 w 1029843"/>
                <a:gd name="connsiteY198" fmla="*/ 159734 h 845819"/>
                <a:gd name="connsiteX199" fmla="*/ 659797 w 1029843"/>
                <a:gd name="connsiteY199" fmla="*/ 162973 h 845819"/>
                <a:gd name="connsiteX200" fmla="*/ 655606 w 1029843"/>
                <a:gd name="connsiteY200" fmla="*/ 168307 h 845819"/>
                <a:gd name="connsiteX201" fmla="*/ 653129 w 1029843"/>
                <a:gd name="connsiteY201" fmla="*/ 186214 h 845819"/>
                <a:gd name="connsiteX202" fmla="*/ 653510 w 1029843"/>
                <a:gd name="connsiteY202" fmla="*/ 189357 h 845819"/>
                <a:gd name="connsiteX203" fmla="*/ 652367 w 1029843"/>
                <a:gd name="connsiteY203" fmla="*/ 192786 h 845819"/>
                <a:gd name="connsiteX204" fmla="*/ 642271 w 1029843"/>
                <a:gd name="connsiteY204" fmla="*/ 189167 h 845819"/>
                <a:gd name="connsiteX205" fmla="*/ 631603 w 1029843"/>
                <a:gd name="connsiteY205" fmla="*/ 206597 h 845819"/>
                <a:gd name="connsiteX206" fmla="*/ 626269 w 1029843"/>
                <a:gd name="connsiteY206" fmla="*/ 202501 h 845819"/>
                <a:gd name="connsiteX207" fmla="*/ 624364 w 1029843"/>
                <a:gd name="connsiteY207" fmla="*/ 199549 h 845819"/>
                <a:gd name="connsiteX208" fmla="*/ 619411 w 1029843"/>
                <a:gd name="connsiteY208" fmla="*/ 198596 h 845819"/>
                <a:gd name="connsiteX209" fmla="*/ 609124 w 1029843"/>
                <a:gd name="connsiteY209" fmla="*/ 193453 h 845819"/>
                <a:gd name="connsiteX210" fmla="*/ 605600 w 1029843"/>
                <a:gd name="connsiteY210" fmla="*/ 190691 h 845819"/>
                <a:gd name="connsiteX211" fmla="*/ 605123 w 1029843"/>
                <a:gd name="connsiteY211" fmla="*/ 187547 h 845819"/>
                <a:gd name="connsiteX212" fmla="*/ 610648 w 1029843"/>
                <a:gd name="connsiteY212" fmla="*/ 180403 h 845819"/>
                <a:gd name="connsiteX213" fmla="*/ 618363 w 1029843"/>
                <a:gd name="connsiteY213" fmla="*/ 177832 h 845819"/>
                <a:gd name="connsiteX214" fmla="*/ 628555 w 1029843"/>
                <a:gd name="connsiteY214" fmla="*/ 170117 h 845819"/>
                <a:gd name="connsiteX215" fmla="*/ 626650 w 1029843"/>
                <a:gd name="connsiteY215" fmla="*/ 167164 h 845819"/>
                <a:gd name="connsiteX216" fmla="*/ 618363 w 1029843"/>
                <a:gd name="connsiteY216" fmla="*/ 164973 h 845819"/>
                <a:gd name="connsiteX217" fmla="*/ 617125 w 1029843"/>
                <a:gd name="connsiteY217" fmla="*/ 155543 h 845819"/>
                <a:gd name="connsiteX218" fmla="*/ 613791 w 1029843"/>
                <a:gd name="connsiteY218" fmla="*/ 154400 h 845819"/>
                <a:gd name="connsiteX219" fmla="*/ 616268 w 1029843"/>
                <a:gd name="connsiteY219" fmla="*/ 149257 h 845819"/>
                <a:gd name="connsiteX220" fmla="*/ 614743 w 1029843"/>
                <a:gd name="connsiteY220" fmla="*/ 136589 h 845819"/>
                <a:gd name="connsiteX221" fmla="*/ 612076 w 1029843"/>
                <a:gd name="connsiteY221" fmla="*/ 128873 h 845819"/>
                <a:gd name="connsiteX222" fmla="*/ 612934 w 1029843"/>
                <a:gd name="connsiteY222" fmla="*/ 122396 h 845819"/>
                <a:gd name="connsiteX223" fmla="*/ 609505 w 1029843"/>
                <a:gd name="connsiteY223" fmla="*/ 121253 h 845819"/>
                <a:gd name="connsiteX224" fmla="*/ 605600 w 1029843"/>
                <a:gd name="connsiteY224" fmla="*/ 115348 h 845819"/>
                <a:gd name="connsiteX225" fmla="*/ 606552 w 1029843"/>
                <a:gd name="connsiteY225" fmla="*/ 110395 h 845819"/>
                <a:gd name="connsiteX226" fmla="*/ 606171 w 1029843"/>
                <a:gd name="connsiteY226" fmla="*/ 107251 h 845819"/>
                <a:gd name="connsiteX227" fmla="*/ 587597 w 1029843"/>
                <a:gd name="connsiteY227" fmla="*/ 99917 h 845819"/>
                <a:gd name="connsiteX228" fmla="*/ 578072 w 1029843"/>
                <a:gd name="connsiteY228" fmla="*/ 101155 h 845819"/>
                <a:gd name="connsiteX229" fmla="*/ 576739 w 1029843"/>
                <a:gd name="connsiteY229" fmla="*/ 102965 h 845819"/>
                <a:gd name="connsiteX230" fmla="*/ 572452 w 1029843"/>
                <a:gd name="connsiteY230" fmla="*/ 106680 h 845819"/>
                <a:gd name="connsiteX231" fmla="*/ 565880 w 1029843"/>
                <a:gd name="connsiteY231" fmla="*/ 105918 h 845819"/>
                <a:gd name="connsiteX232" fmla="*/ 563309 w 1029843"/>
                <a:gd name="connsiteY232" fmla="*/ 111062 h 845819"/>
                <a:gd name="connsiteX233" fmla="*/ 556641 w 1029843"/>
                <a:gd name="connsiteY233" fmla="*/ 108680 h 845819"/>
                <a:gd name="connsiteX234" fmla="*/ 549116 w 1029843"/>
                <a:gd name="connsiteY234" fmla="*/ 112871 h 845819"/>
                <a:gd name="connsiteX235" fmla="*/ 533972 w 1029843"/>
                <a:gd name="connsiteY235" fmla="*/ 119634 h 845819"/>
                <a:gd name="connsiteX236" fmla="*/ 533019 w 1029843"/>
                <a:gd name="connsiteY236" fmla="*/ 124587 h 845819"/>
                <a:gd name="connsiteX237" fmla="*/ 517970 w 1029843"/>
                <a:gd name="connsiteY237" fmla="*/ 120015 h 845819"/>
                <a:gd name="connsiteX238" fmla="*/ 518732 w 1029843"/>
                <a:gd name="connsiteY238" fmla="*/ 113538 h 845819"/>
                <a:gd name="connsiteX239" fmla="*/ 518160 w 1029843"/>
                <a:gd name="connsiteY239" fmla="*/ 108775 h 845819"/>
                <a:gd name="connsiteX240" fmla="*/ 514731 w 1029843"/>
                <a:gd name="connsiteY240" fmla="*/ 94774 h 845819"/>
                <a:gd name="connsiteX241" fmla="*/ 511016 w 1029843"/>
                <a:gd name="connsiteY241" fmla="*/ 90488 h 845819"/>
                <a:gd name="connsiteX242" fmla="*/ 509778 w 1029843"/>
                <a:gd name="connsiteY242" fmla="*/ 80963 h 845819"/>
                <a:gd name="connsiteX243" fmla="*/ 506444 w 1029843"/>
                <a:gd name="connsiteY243" fmla="*/ 79819 h 845819"/>
                <a:gd name="connsiteX244" fmla="*/ 498539 w 1029843"/>
                <a:gd name="connsiteY244" fmla="*/ 68008 h 845819"/>
                <a:gd name="connsiteX245" fmla="*/ 494538 w 1029843"/>
                <a:gd name="connsiteY245" fmla="*/ 62103 h 845819"/>
                <a:gd name="connsiteX246" fmla="*/ 496634 w 1029843"/>
                <a:gd name="connsiteY246" fmla="*/ 40957 h 845819"/>
                <a:gd name="connsiteX247" fmla="*/ 487966 w 1029843"/>
                <a:gd name="connsiteY247" fmla="*/ 35623 h 845819"/>
                <a:gd name="connsiteX248" fmla="*/ 485394 w 1029843"/>
                <a:gd name="connsiteY248" fmla="*/ 28003 h 845819"/>
                <a:gd name="connsiteX249" fmla="*/ 466630 w 1029843"/>
                <a:gd name="connsiteY249" fmla="*/ 32004 h 845819"/>
                <a:gd name="connsiteX250" fmla="*/ 465677 w 1029843"/>
                <a:gd name="connsiteY250" fmla="*/ 36862 h 845819"/>
                <a:gd name="connsiteX251" fmla="*/ 459962 w 1029843"/>
                <a:gd name="connsiteY251" fmla="*/ 42481 h 845819"/>
                <a:gd name="connsiteX252" fmla="*/ 446913 w 1029843"/>
                <a:gd name="connsiteY252" fmla="*/ 40862 h 845819"/>
                <a:gd name="connsiteX253" fmla="*/ 436340 w 1029843"/>
                <a:gd name="connsiteY253" fmla="*/ 45434 h 845819"/>
                <a:gd name="connsiteX254" fmla="*/ 431959 w 1029843"/>
                <a:gd name="connsiteY254" fmla="*/ 49244 h 845819"/>
                <a:gd name="connsiteX255" fmla="*/ 430435 w 1029843"/>
                <a:gd name="connsiteY255" fmla="*/ 49435 h 845819"/>
                <a:gd name="connsiteX256" fmla="*/ 420148 w 1029843"/>
                <a:gd name="connsiteY256" fmla="*/ 44291 h 845819"/>
                <a:gd name="connsiteX257" fmla="*/ 409289 w 1029843"/>
                <a:gd name="connsiteY257" fmla="*/ 47339 h 845819"/>
                <a:gd name="connsiteX258" fmla="*/ 404336 w 1029843"/>
                <a:gd name="connsiteY258" fmla="*/ 46292 h 845819"/>
                <a:gd name="connsiteX259" fmla="*/ 397383 w 1029843"/>
                <a:gd name="connsiteY259" fmla="*/ 42386 h 845819"/>
                <a:gd name="connsiteX260" fmla="*/ 394621 w 1029843"/>
                <a:gd name="connsiteY260" fmla="*/ 33147 h 845819"/>
                <a:gd name="connsiteX261" fmla="*/ 390906 w 1029843"/>
                <a:gd name="connsiteY261" fmla="*/ 28766 h 845819"/>
                <a:gd name="connsiteX262" fmla="*/ 382619 w 1029843"/>
                <a:gd name="connsiteY262" fmla="*/ 26670 h 845819"/>
                <a:gd name="connsiteX263" fmla="*/ 377285 w 1029843"/>
                <a:gd name="connsiteY263" fmla="*/ 22479 h 845819"/>
                <a:gd name="connsiteX264" fmla="*/ 369189 w 1029843"/>
                <a:gd name="connsiteY264" fmla="*/ 21907 h 845819"/>
                <a:gd name="connsiteX265" fmla="*/ 350996 w 1029843"/>
                <a:gd name="connsiteY265" fmla="*/ 17812 h 845819"/>
                <a:gd name="connsiteX266" fmla="*/ 348043 w 1029843"/>
                <a:gd name="connsiteY266" fmla="*/ 6953 h 845819"/>
                <a:gd name="connsiteX267" fmla="*/ 337947 w 1029843"/>
                <a:gd name="connsiteY267" fmla="*/ 3429 h 845819"/>
                <a:gd name="connsiteX268" fmla="*/ 321564 w 1029843"/>
                <a:gd name="connsiteY268" fmla="*/ 762 h 845819"/>
                <a:gd name="connsiteX269" fmla="*/ 309372 w 1029843"/>
                <a:gd name="connsiteY269" fmla="*/ 5524 h 845819"/>
                <a:gd name="connsiteX270" fmla="*/ 302228 w 1029843"/>
                <a:gd name="connsiteY270" fmla="*/ 0 h 845819"/>
                <a:gd name="connsiteX271" fmla="*/ 292703 w 1029843"/>
                <a:gd name="connsiteY271" fmla="*/ 1238 h 845819"/>
                <a:gd name="connsiteX272" fmla="*/ 292989 w 1029843"/>
                <a:gd name="connsiteY272" fmla="*/ 15621 h 845819"/>
                <a:gd name="connsiteX273" fmla="*/ 293942 w 1029843"/>
                <a:gd name="connsiteY273" fmla="*/ 23527 h 845819"/>
                <a:gd name="connsiteX274" fmla="*/ 297942 w 1029843"/>
                <a:gd name="connsiteY274" fmla="*/ 29432 h 845819"/>
                <a:gd name="connsiteX275" fmla="*/ 313754 w 1029843"/>
                <a:gd name="connsiteY275" fmla="*/ 40195 h 845819"/>
                <a:gd name="connsiteX276" fmla="*/ 318325 w 1029843"/>
                <a:gd name="connsiteY276" fmla="*/ 50864 h 845819"/>
                <a:gd name="connsiteX277" fmla="*/ 316135 w 1029843"/>
                <a:gd name="connsiteY277" fmla="*/ 59150 h 845819"/>
                <a:gd name="connsiteX278" fmla="*/ 308324 w 1029843"/>
                <a:gd name="connsiteY278" fmla="*/ 72962 h 845819"/>
                <a:gd name="connsiteX279" fmla="*/ 307086 w 1029843"/>
                <a:gd name="connsiteY279" fmla="*/ 76391 h 845819"/>
                <a:gd name="connsiteX280" fmla="*/ 314230 w 1029843"/>
                <a:gd name="connsiteY280" fmla="*/ 81820 h 845819"/>
                <a:gd name="connsiteX281" fmla="*/ 312706 w 1029843"/>
                <a:gd name="connsiteY281" fmla="*/ 94869 h 845819"/>
                <a:gd name="connsiteX282" fmla="*/ 314706 w 1029843"/>
                <a:gd name="connsiteY282" fmla="*/ 97822 h 845819"/>
                <a:gd name="connsiteX283" fmla="*/ 311182 w 1029843"/>
                <a:gd name="connsiteY283" fmla="*/ 107918 h 845819"/>
                <a:gd name="connsiteX284" fmla="*/ 311753 w 1029843"/>
                <a:gd name="connsiteY284" fmla="*/ 112681 h 845819"/>
                <a:gd name="connsiteX285" fmla="*/ 313563 w 1029843"/>
                <a:gd name="connsiteY285" fmla="*/ 114014 h 845819"/>
                <a:gd name="connsiteX286" fmla="*/ 319945 w 1029843"/>
                <a:gd name="connsiteY286" fmla="*/ 138874 h 845819"/>
                <a:gd name="connsiteX287" fmla="*/ 326993 w 1029843"/>
                <a:gd name="connsiteY287" fmla="*/ 144399 h 845819"/>
                <a:gd name="connsiteX288" fmla="*/ 319945 w 1029843"/>
                <a:gd name="connsiteY288" fmla="*/ 151733 h 845819"/>
                <a:gd name="connsiteX289" fmla="*/ 314801 w 1029843"/>
                <a:gd name="connsiteY289" fmla="*/ 161925 h 845819"/>
                <a:gd name="connsiteX290" fmla="*/ 314992 w 1029843"/>
                <a:gd name="connsiteY290" fmla="*/ 163544 h 845819"/>
                <a:gd name="connsiteX291" fmla="*/ 325469 w 1029843"/>
                <a:gd name="connsiteY291" fmla="*/ 170212 h 845819"/>
                <a:gd name="connsiteX292" fmla="*/ 329660 w 1029843"/>
                <a:gd name="connsiteY292" fmla="*/ 177737 h 845819"/>
                <a:gd name="connsiteX293" fmla="*/ 330518 w 1029843"/>
                <a:gd name="connsiteY293" fmla="*/ 184023 h 845819"/>
                <a:gd name="connsiteX294" fmla="*/ 339185 w 1029843"/>
                <a:gd name="connsiteY294" fmla="*/ 189357 h 845819"/>
                <a:gd name="connsiteX295" fmla="*/ 333470 w 1029843"/>
                <a:gd name="connsiteY295" fmla="*/ 194881 h 845819"/>
                <a:gd name="connsiteX296" fmla="*/ 326803 w 1029843"/>
                <a:gd name="connsiteY296" fmla="*/ 205359 h 845819"/>
                <a:gd name="connsiteX297" fmla="*/ 328994 w 1029843"/>
                <a:gd name="connsiteY297" fmla="*/ 209931 h 845819"/>
                <a:gd name="connsiteX298" fmla="*/ 318516 w 1029843"/>
                <a:gd name="connsiteY298" fmla="*/ 228886 h 845819"/>
                <a:gd name="connsiteX299" fmla="*/ 325660 w 1029843"/>
                <a:gd name="connsiteY299" fmla="*/ 234315 h 845819"/>
                <a:gd name="connsiteX300" fmla="*/ 335375 w 1029843"/>
                <a:gd name="connsiteY300" fmla="*/ 234696 h 845819"/>
                <a:gd name="connsiteX301" fmla="*/ 332804 w 1029843"/>
                <a:gd name="connsiteY301" fmla="*/ 239840 h 845819"/>
                <a:gd name="connsiteX302" fmla="*/ 328232 w 1029843"/>
                <a:gd name="connsiteY302" fmla="*/ 242030 h 845819"/>
                <a:gd name="connsiteX303" fmla="*/ 339281 w 1029843"/>
                <a:gd name="connsiteY303" fmla="*/ 253460 h 845819"/>
                <a:gd name="connsiteX304" fmla="*/ 334423 w 1029843"/>
                <a:gd name="connsiteY304" fmla="*/ 252508 h 845819"/>
                <a:gd name="connsiteX305" fmla="*/ 334613 w 1029843"/>
                <a:gd name="connsiteY305" fmla="*/ 254032 h 845819"/>
                <a:gd name="connsiteX306" fmla="*/ 341090 w 1029843"/>
                <a:gd name="connsiteY306" fmla="*/ 254889 h 845819"/>
                <a:gd name="connsiteX307" fmla="*/ 343472 w 1029843"/>
                <a:gd name="connsiteY307" fmla="*/ 260985 h 845819"/>
                <a:gd name="connsiteX308" fmla="*/ 348806 w 1029843"/>
                <a:gd name="connsiteY308" fmla="*/ 265081 h 845819"/>
                <a:gd name="connsiteX309" fmla="*/ 349187 w 1029843"/>
                <a:gd name="connsiteY309" fmla="*/ 268224 h 845819"/>
                <a:gd name="connsiteX310" fmla="*/ 352806 w 1029843"/>
                <a:gd name="connsiteY310" fmla="*/ 270986 h 845819"/>
                <a:gd name="connsiteX311" fmla="*/ 356997 w 1029843"/>
                <a:gd name="connsiteY311" fmla="*/ 278511 h 845819"/>
                <a:gd name="connsiteX312" fmla="*/ 358521 w 1029843"/>
                <a:gd name="connsiteY312" fmla="*/ 278320 h 845819"/>
                <a:gd name="connsiteX313" fmla="*/ 359283 w 1029843"/>
                <a:gd name="connsiteY313" fmla="*/ 284607 h 845819"/>
                <a:gd name="connsiteX314" fmla="*/ 363284 w 1029843"/>
                <a:gd name="connsiteY314" fmla="*/ 290513 h 845819"/>
                <a:gd name="connsiteX315" fmla="*/ 362141 w 1029843"/>
                <a:gd name="connsiteY315" fmla="*/ 293846 h 845819"/>
                <a:gd name="connsiteX316" fmla="*/ 340043 w 1029843"/>
                <a:gd name="connsiteY316" fmla="*/ 296704 h 845819"/>
                <a:gd name="connsiteX317" fmla="*/ 335471 w 1029843"/>
                <a:gd name="connsiteY317" fmla="*/ 298894 h 845819"/>
                <a:gd name="connsiteX318" fmla="*/ 334137 w 1029843"/>
                <a:gd name="connsiteY318" fmla="*/ 300609 h 845819"/>
                <a:gd name="connsiteX319" fmla="*/ 331946 w 1029843"/>
                <a:gd name="connsiteY319" fmla="*/ 296132 h 845819"/>
                <a:gd name="connsiteX320" fmla="*/ 329184 w 1029843"/>
                <a:gd name="connsiteY320" fmla="*/ 299657 h 845819"/>
                <a:gd name="connsiteX321" fmla="*/ 331184 w 1029843"/>
                <a:gd name="connsiteY321" fmla="*/ 302609 h 845819"/>
                <a:gd name="connsiteX322" fmla="*/ 328041 w 1029843"/>
                <a:gd name="connsiteY322" fmla="*/ 302990 h 845819"/>
                <a:gd name="connsiteX323" fmla="*/ 326803 w 1029843"/>
                <a:gd name="connsiteY323" fmla="*/ 293561 h 845819"/>
                <a:gd name="connsiteX324" fmla="*/ 323660 w 1029843"/>
                <a:gd name="connsiteY324" fmla="*/ 293942 h 845819"/>
                <a:gd name="connsiteX325" fmla="*/ 323850 w 1029843"/>
                <a:gd name="connsiteY325" fmla="*/ 295561 h 845819"/>
                <a:gd name="connsiteX326" fmla="*/ 320516 w 1029843"/>
                <a:gd name="connsiteY326" fmla="*/ 294323 h 845819"/>
                <a:gd name="connsiteX327" fmla="*/ 320040 w 1029843"/>
                <a:gd name="connsiteY327" fmla="*/ 291179 h 845819"/>
                <a:gd name="connsiteX328" fmla="*/ 318707 w 1029843"/>
                <a:gd name="connsiteY328" fmla="*/ 292989 h 845819"/>
                <a:gd name="connsiteX329" fmla="*/ 318325 w 1029843"/>
                <a:gd name="connsiteY329" fmla="*/ 289846 h 845819"/>
                <a:gd name="connsiteX330" fmla="*/ 316706 w 1029843"/>
                <a:gd name="connsiteY330" fmla="*/ 290036 h 845819"/>
                <a:gd name="connsiteX331" fmla="*/ 310801 w 1029843"/>
                <a:gd name="connsiteY331" fmla="*/ 293942 h 845819"/>
                <a:gd name="connsiteX332" fmla="*/ 309277 w 1029843"/>
                <a:gd name="connsiteY332" fmla="*/ 294227 h 845819"/>
                <a:gd name="connsiteX333" fmla="*/ 304705 w 1029843"/>
                <a:gd name="connsiteY333" fmla="*/ 296323 h 845819"/>
                <a:gd name="connsiteX334" fmla="*/ 301371 w 1029843"/>
                <a:gd name="connsiteY334" fmla="*/ 295180 h 845819"/>
                <a:gd name="connsiteX335" fmla="*/ 302324 w 1029843"/>
                <a:gd name="connsiteY335" fmla="*/ 303086 h 845819"/>
                <a:gd name="connsiteX336" fmla="*/ 294418 w 1029843"/>
                <a:gd name="connsiteY336" fmla="*/ 304133 h 845819"/>
                <a:gd name="connsiteX337" fmla="*/ 292227 w 1029843"/>
                <a:gd name="connsiteY337" fmla="*/ 299561 h 845819"/>
                <a:gd name="connsiteX338" fmla="*/ 287750 w 1029843"/>
                <a:gd name="connsiteY338" fmla="*/ 301752 h 845819"/>
                <a:gd name="connsiteX339" fmla="*/ 285750 w 1029843"/>
                <a:gd name="connsiteY339" fmla="*/ 298799 h 845819"/>
                <a:gd name="connsiteX340" fmla="*/ 279464 w 1029843"/>
                <a:gd name="connsiteY340" fmla="*/ 299561 h 845819"/>
                <a:gd name="connsiteX341" fmla="*/ 278606 w 1029843"/>
                <a:gd name="connsiteY341" fmla="*/ 293275 h 845819"/>
                <a:gd name="connsiteX342" fmla="*/ 267557 w 1029843"/>
                <a:gd name="connsiteY342" fmla="*/ 281845 h 845819"/>
                <a:gd name="connsiteX343" fmla="*/ 268319 w 1029843"/>
                <a:gd name="connsiteY343" fmla="*/ 275368 h 845819"/>
                <a:gd name="connsiteX344" fmla="*/ 270129 w 1029843"/>
                <a:gd name="connsiteY344" fmla="*/ 276701 h 845819"/>
                <a:gd name="connsiteX345" fmla="*/ 269748 w 1029843"/>
                <a:gd name="connsiteY345" fmla="*/ 273558 h 845819"/>
                <a:gd name="connsiteX346" fmla="*/ 267748 w 1029843"/>
                <a:gd name="connsiteY346" fmla="*/ 270605 h 845819"/>
                <a:gd name="connsiteX347" fmla="*/ 254318 w 1029843"/>
                <a:gd name="connsiteY347" fmla="*/ 265938 h 845819"/>
                <a:gd name="connsiteX348" fmla="*/ 254889 w 1029843"/>
                <a:gd name="connsiteY348" fmla="*/ 270605 h 845819"/>
                <a:gd name="connsiteX349" fmla="*/ 256508 w 1029843"/>
                <a:gd name="connsiteY349" fmla="*/ 270415 h 845819"/>
                <a:gd name="connsiteX350" fmla="*/ 253746 w 1029843"/>
                <a:gd name="connsiteY350" fmla="*/ 274034 h 845819"/>
                <a:gd name="connsiteX351" fmla="*/ 257461 w 1029843"/>
                <a:gd name="connsiteY351" fmla="*/ 278320 h 845819"/>
                <a:gd name="connsiteX352" fmla="*/ 256508 w 1029843"/>
                <a:gd name="connsiteY352" fmla="*/ 283273 h 845819"/>
                <a:gd name="connsiteX353" fmla="*/ 254699 w 1029843"/>
                <a:gd name="connsiteY353" fmla="*/ 281845 h 845819"/>
                <a:gd name="connsiteX354" fmla="*/ 253365 w 1029843"/>
                <a:gd name="connsiteY354" fmla="*/ 283655 h 845819"/>
                <a:gd name="connsiteX355" fmla="*/ 248031 w 1029843"/>
                <a:gd name="connsiteY355" fmla="*/ 279559 h 845819"/>
                <a:gd name="connsiteX356" fmla="*/ 247841 w 1029843"/>
                <a:gd name="connsiteY356" fmla="*/ 290798 h 845819"/>
                <a:gd name="connsiteX357" fmla="*/ 240125 w 1029843"/>
                <a:gd name="connsiteY357" fmla="*/ 293370 h 845819"/>
                <a:gd name="connsiteX358" fmla="*/ 238411 w 1029843"/>
                <a:gd name="connsiteY358" fmla="*/ 292036 h 845819"/>
                <a:gd name="connsiteX359" fmla="*/ 229076 w 1029843"/>
                <a:gd name="connsiteY359" fmla="*/ 294799 h 845819"/>
                <a:gd name="connsiteX360" fmla="*/ 228124 w 1029843"/>
                <a:gd name="connsiteY360" fmla="*/ 299752 h 845819"/>
                <a:gd name="connsiteX361" fmla="*/ 226790 w 1029843"/>
                <a:gd name="connsiteY361" fmla="*/ 301466 h 845819"/>
                <a:gd name="connsiteX362" fmla="*/ 230505 w 1029843"/>
                <a:gd name="connsiteY362" fmla="*/ 305848 h 845819"/>
                <a:gd name="connsiteX363" fmla="*/ 231743 w 1029843"/>
                <a:gd name="connsiteY363" fmla="*/ 315278 h 845819"/>
                <a:gd name="connsiteX364" fmla="*/ 238697 w 1029843"/>
                <a:gd name="connsiteY364" fmla="*/ 319183 h 845819"/>
                <a:gd name="connsiteX365" fmla="*/ 237649 w 1029843"/>
                <a:gd name="connsiteY365" fmla="*/ 324136 h 845819"/>
                <a:gd name="connsiteX366" fmla="*/ 232982 w 1029843"/>
                <a:gd name="connsiteY366" fmla="*/ 324803 h 845819"/>
                <a:gd name="connsiteX367" fmla="*/ 234887 w 1029843"/>
                <a:gd name="connsiteY367" fmla="*/ 327755 h 845819"/>
                <a:gd name="connsiteX368" fmla="*/ 232124 w 1029843"/>
                <a:gd name="connsiteY368" fmla="*/ 331280 h 845819"/>
                <a:gd name="connsiteX369" fmla="*/ 231172 w 1029843"/>
                <a:gd name="connsiteY369" fmla="*/ 336232 h 845819"/>
                <a:gd name="connsiteX370" fmla="*/ 226219 w 1029843"/>
                <a:gd name="connsiteY370" fmla="*/ 335280 h 845819"/>
                <a:gd name="connsiteX371" fmla="*/ 223838 w 1029843"/>
                <a:gd name="connsiteY371" fmla="*/ 329089 h 845819"/>
                <a:gd name="connsiteX372" fmla="*/ 220885 w 1029843"/>
                <a:gd name="connsiteY372" fmla="*/ 331089 h 845819"/>
                <a:gd name="connsiteX373" fmla="*/ 218123 w 1029843"/>
                <a:gd name="connsiteY373" fmla="*/ 334709 h 845819"/>
                <a:gd name="connsiteX374" fmla="*/ 221933 w 1029843"/>
                <a:gd name="connsiteY374" fmla="*/ 338995 h 845819"/>
                <a:gd name="connsiteX375" fmla="*/ 222123 w 1029843"/>
                <a:gd name="connsiteY375" fmla="*/ 340614 h 845819"/>
                <a:gd name="connsiteX376" fmla="*/ 218789 w 1029843"/>
                <a:gd name="connsiteY376" fmla="*/ 339376 h 845819"/>
                <a:gd name="connsiteX377" fmla="*/ 218980 w 1029843"/>
                <a:gd name="connsiteY377" fmla="*/ 340995 h 845819"/>
                <a:gd name="connsiteX378" fmla="*/ 213836 w 1029843"/>
                <a:gd name="connsiteY378" fmla="*/ 338423 h 845819"/>
                <a:gd name="connsiteX379" fmla="*/ 212693 w 1029843"/>
                <a:gd name="connsiteY379" fmla="*/ 341757 h 845819"/>
                <a:gd name="connsiteX380" fmla="*/ 207740 w 1029843"/>
                <a:gd name="connsiteY380" fmla="*/ 340805 h 845819"/>
                <a:gd name="connsiteX381" fmla="*/ 203168 w 1029843"/>
                <a:gd name="connsiteY381" fmla="*/ 342995 h 845819"/>
                <a:gd name="connsiteX382" fmla="*/ 196691 w 1029843"/>
                <a:gd name="connsiteY382" fmla="*/ 342233 h 845819"/>
                <a:gd name="connsiteX383" fmla="*/ 196025 w 1029843"/>
                <a:gd name="connsiteY383" fmla="*/ 337471 h 845819"/>
                <a:gd name="connsiteX384" fmla="*/ 192691 w 1029843"/>
                <a:gd name="connsiteY384" fmla="*/ 336328 h 845819"/>
                <a:gd name="connsiteX385" fmla="*/ 195834 w 1029843"/>
                <a:gd name="connsiteY385" fmla="*/ 335947 h 845819"/>
                <a:gd name="connsiteX386" fmla="*/ 195453 w 1029843"/>
                <a:gd name="connsiteY386" fmla="*/ 332708 h 845819"/>
                <a:gd name="connsiteX387" fmla="*/ 190691 w 1029843"/>
                <a:gd name="connsiteY387" fmla="*/ 333375 h 845819"/>
                <a:gd name="connsiteX388" fmla="*/ 188786 w 1029843"/>
                <a:gd name="connsiteY388" fmla="*/ 330422 h 845819"/>
                <a:gd name="connsiteX389" fmla="*/ 196882 w 1029843"/>
                <a:gd name="connsiteY389" fmla="*/ 330994 h 845819"/>
                <a:gd name="connsiteX390" fmla="*/ 196596 w 1029843"/>
                <a:gd name="connsiteY390" fmla="*/ 329375 h 845819"/>
                <a:gd name="connsiteX391" fmla="*/ 193262 w 1029843"/>
                <a:gd name="connsiteY391" fmla="*/ 328232 h 845819"/>
                <a:gd name="connsiteX392" fmla="*/ 191072 w 1029843"/>
                <a:gd name="connsiteY392" fmla="*/ 323659 h 845819"/>
                <a:gd name="connsiteX393" fmla="*/ 194215 w 1029843"/>
                <a:gd name="connsiteY393" fmla="*/ 323279 h 845819"/>
                <a:gd name="connsiteX394" fmla="*/ 190119 w 1029843"/>
                <a:gd name="connsiteY394" fmla="*/ 315754 h 845819"/>
                <a:gd name="connsiteX395" fmla="*/ 191262 w 1029843"/>
                <a:gd name="connsiteY395" fmla="*/ 312420 h 845819"/>
                <a:gd name="connsiteX396" fmla="*/ 187928 w 1029843"/>
                <a:gd name="connsiteY396" fmla="*/ 311277 h 845819"/>
                <a:gd name="connsiteX397" fmla="*/ 182023 w 1029843"/>
                <a:gd name="connsiteY397" fmla="*/ 315182 h 845819"/>
                <a:gd name="connsiteX398" fmla="*/ 181832 w 1029843"/>
                <a:gd name="connsiteY398" fmla="*/ 326422 h 845819"/>
                <a:gd name="connsiteX399" fmla="*/ 174879 w 1029843"/>
                <a:gd name="connsiteY399" fmla="*/ 322517 h 845819"/>
                <a:gd name="connsiteX400" fmla="*/ 172784 w 1029843"/>
                <a:gd name="connsiteY400" fmla="*/ 318040 h 845819"/>
                <a:gd name="connsiteX401" fmla="*/ 166021 w 1029843"/>
                <a:gd name="connsiteY401" fmla="*/ 315659 h 845819"/>
                <a:gd name="connsiteX402" fmla="*/ 164402 w 1029843"/>
                <a:gd name="connsiteY402" fmla="*/ 315849 h 845819"/>
                <a:gd name="connsiteX403" fmla="*/ 160306 w 1029843"/>
                <a:gd name="connsiteY403" fmla="*/ 308324 h 845819"/>
                <a:gd name="connsiteX404" fmla="*/ 161449 w 1029843"/>
                <a:gd name="connsiteY404" fmla="*/ 304990 h 845819"/>
                <a:gd name="connsiteX405" fmla="*/ 153162 w 1029843"/>
                <a:gd name="connsiteY405" fmla="*/ 302895 h 845819"/>
                <a:gd name="connsiteX406" fmla="*/ 152019 w 1029843"/>
                <a:gd name="connsiteY406" fmla="*/ 306229 h 845819"/>
                <a:gd name="connsiteX407" fmla="*/ 150400 w 1029843"/>
                <a:gd name="connsiteY407" fmla="*/ 306419 h 845819"/>
                <a:gd name="connsiteX408" fmla="*/ 148209 w 1029843"/>
                <a:gd name="connsiteY408" fmla="*/ 301847 h 845819"/>
                <a:gd name="connsiteX409" fmla="*/ 144113 w 1029843"/>
                <a:gd name="connsiteY409" fmla="*/ 307181 h 845819"/>
                <a:gd name="connsiteX410" fmla="*/ 142113 w 1029843"/>
                <a:gd name="connsiteY410" fmla="*/ 304229 h 845819"/>
                <a:gd name="connsiteX411" fmla="*/ 133826 w 1029843"/>
                <a:gd name="connsiteY411" fmla="*/ 302133 h 845819"/>
                <a:gd name="connsiteX412" fmla="*/ 134969 w 1029843"/>
                <a:gd name="connsiteY412" fmla="*/ 298704 h 845819"/>
                <a:gd name="connsiteX413" fmla="*/ 126302 w 1029843"/>
                <a:gd name="connsiteY413" fmla="*/ 293465 h 845819"/>
                <a:gd name="connsiteX414" fmla="*/ 124968 w 1029843"/>
                <a:gd name="connsiteY414" fmla="*/ 295180 h 845819"/>
                <a:gd name="connsiteX415" fmla="*/ 121349 w 1029843"/>
                <a:gd name="connsiteY415" fmla="*/ 292513 h 845819"/>
                <a:gd name="connsiteX416" fmla="*/ 116681 w 1029843"/>
                <a:gd name="connsiteY416" fmla="*/ 293084 h 845819"/>
                <a:gd name="connsiteX417" fmla="*/ 115253 w 1029843"/>
                <a:gd name="connsiteY417" fmla="*/ 294894 h 845819"/>
                <a:gd name="connsiteX418" fmla="*/ 111538 w 1029843"/>
                <a:gd name="connsiteY418" fmla="*/ 290513 h 845819"/>
                <a:gd name="connsiteX419" fmla="*/ 110300 w 1029843"/>
                <a:gd name="connsiteY419" fmla="*/ 293846 h 845819"/>
                <a:gd name="connsiteX420" fmla="*/ 107156 w 1029843"/>
                <a:gd name="connsiteY420" fmla="*/ 294323 h 845819"/>
                <a:gd name="connsiteX421" fmla="*/ 106013 w 1029843"/>
                <a:gd name="connsiteY421" fmla="*/ 297656 h 845819"/>
                <a:gd name="connsiteX422" fmla="*/ 104394 w 1029843"/>
                <a:gd name="connsiteY422" fmla="*/ 297847 h 845819"/>
                <a:gd name="connsiteX423" fmla="*/ 101632 w 1029843"/>
                <a:gd name="connsiteY423" fmla="*/ 301371 h 845819"/>
                <a:gd name="connsiteX424" fmla="*/ 103442 w 1029843"/>
                <a:gd name="connsiteY424" fmla="*/ 302800 h 845819"/>
                <a:gd name="connsiteX425" fmla="*/ 95726 w 1029843"/>
                <a:gd name="connsiteY425" fmla="*/ 305371 h 845819"/>
                <a:gd name="connsiteX426" fmla="*/ 96583 w 1029843"/>
                <a:gd name="connsiteY426" fmla="*/ 311658 h 845819"/>
                <a:gd name="connsiteX427" fmla="*/ 91631 w 1029843"/>
                <a:gd name="connsiteY427" fmla="*/ 310705 h 845819"/>
                <a:gd name="connsiteX428" fmla="*/ 93631 w 1029843"/>
                <a:gd name="connsiteY428" fmla="*/ 313658 h 845819"/>
                <a:gd name="connsiteX429" fmla="*/ 92869 w 1029843"/>
                <a:gd name="connsiteY429" fmla="*/ 320135 h 845819"/>
                <a:gd name="connsiteX430" fmla="*/ 93250 w 1029843"/>
                <a:gd name="connsiteY430" fmla="*/ 323279 h 845819"/>
                <a:gd name="connsiteX431" fmla="*/ 88487 w 1029843"/>
                <a:gd name="connsiteY431" fmla="*/ 323945 h 845819"/>
                <a:gd name="connsiteX432" fmla="*/ 85344 w 1029843"/>
                <a:gd name="connsiteY432" fmla="*/ 324326 h 845819"/>
                <a:gd name="connsiteX433" fmla="*/ 80772 w 1029843"/>
                <a:gd name="connsiteY433" fmla="*/ 326517 h 845819"/>
                <a:gd name="connsiteX434" fmla="*/ 71723 w 1029843"/>
                <a:gd name="connsiteY434" fmla="*/ 318040 h 845819"/>
                <a:gd name="connsiteX435" fmla="*/ 63246 w 1029843"/>
                <a:gd name="connsiteY435" fmla="*/ 314325 h 845819"/>
                <a:gd name="connsiteX436" fmla="*/ 54959 w 1029843"/>
                <a:gd name="connsiteY436" fmla="*/ 312134 h 845819"/>
                <a:gd name="connsiteX437" fmla="*/ 51149 w 1029843"/>
                <a:gd name="connsiteY437" fmla="*/ 307848 h 845819"/>
                <a:gd name="connsiteX438" fmla="*/ 47625 w 1029843"/>
                <a:gd name="connsiteY438" fmla="*/ 305086 h 845819"/>
                <a:gd name="connsiteX439" fmla="*/ 35528 w 1029843"/>
                <a:gd name="connsiteY439" fmla="*/ 298609 h 845819"/>
                <a:gd name="connsiteX440" fmla="*/ 34195 w 1029843"/>
                <a:gd name="connsiteY440" fmla="*/ 300419 h 845819"/>
                <a:gd name="connsiteX441" fmla="*/ 29242 w 1029843"/>
                <a:gd name="connsiteY441" fmla="*/ 299371 h 845819"/>
                <a:gd name="connsiteX442" fmla="*/ 28670 w 1029843"/>
                <a:gd name="connsiteY442" fmla="*/ 294704 h 845819"/>
                <a:gd name="connsiteX443" fmla="*/ 26670 w 1029843"/>
                <a:gd name="connsiteY443" fmla="*/ 291751 h 845819"/>
                <a:gd name="connsiteX444" fmla="*/ 25527 w 1029843"/>
                <a:gd name="connsiteY444" fmla="*/ 295084 h 845819"/>
                <a:gd name="connsiteX445" fmla="*/ 23908 w 1029843"/>
                <a:gd name="connsiteY445" fmla="*/ 295275 h 845819"/>
                <a:gd name="connsiteX446" fmla="*/ 24289 w 1029843"/>
                <a:gd name="connsiteY446" fmla="*/ 298418 h 845819"/>
                <a:gd name="connsiteX447" fmla="*/ 22765 w 1029843"/>
                <a:gd name="connsiteY447" fmla="*/ 298609 h 845819"/>
                <a:gd name="connsiteX448" fmla="*/ 23336 w 1029843"/>
                <a:gd name="connsiteY448" fmla="*/ 303371 h 845819"/>
                <a:gd name="connsiteX449" fmla="*/ 16859 w 1029843"/>
                <a:gd name="connsiteY449" fmla="*/ 302609 h 845819"/>
                <a:gd name="connsiteX450" fmla="*/ 17240 w 1029843"/>
                <a:gd name="connsiteY450" fmla="*/ 305753 h 845819"/>
                <a:gd name="connsiteX451" fmla="*/ 9335 w 1029843"/>
                <a:gd name="connsiteY451" fmla="*/ 306705 h 845819"/>
                <a:gd name="connsiteX452" fmla="*/ 4953 w 1029843"/>
                <a:gd name="connsiteY452" fmla="*/ 310515 h 845819"/>
                <a:gd name="connsiteX453" fmla="*/ 6001 w 1029843"/>
                <a:gd name="connsiteY453" fmla="*/ 318421 h 845819"/>
                <a:gd name="connsiteX454" fmla="*/ 8001 w 1029843"/>
                <a:gd name="connsiteY454" fmla="*/ 321373 h 845819"/>
                <a:gd name="connsiteX455" fmla="*/ 11335 w 1029843"/>
                <a:gd name="connsiteY455" fmla="*/ 322517 h 845819"/>
                <a:gd name="connsiteX456" fmla="*/ 18860 w 1029843"/>
                <a:gd name="connsiteY456" fmla="*/ 331184 h 845819"/>
                <a:gd name="connsiteX457" fmla="*/ 19431 w 1029843"/>
                <a:gd name="connsiteY457" fmla="*/ 335947 h 845819"/>
                <a:gd name="connsiteX458" fmla="*/ 18288 w 1029843"/>
                <a:gd name="connsiteY458" fmla="*/ 339280 h 845819"/>
                <a:gd name="connsiteX459" fmla="*/ 16954 w 1029843"/>
                <a:gd name="connsiteY459" fmla="*/ 341090 h 845819"/>
                <a:gd name="connsiteX460" fmla="*/ 20288 w 1029843"/>
                <a:gd name="connsiteY460" fmla="*/ 342233 h 845819"/>
                <a:gd name="connsiteX461" fmla="*/ 25622 w 1029843"/>
                <a:gd name="connsiteY461" fmla="*/ 346329 h 845819"/>
                <a:gd name="connsiteX462" fmla="*/ 24194 w 1029843"/>
                <a:gd name="connsiteY462" fmla="*/ 348139 h 845819"/>
                <a:gd name="connsiteX463" fmla="*/ 24670 w 1029843"/>
                <a:gd name="connsiteY463" fmla="*/ 351282 h 845819"/>
                <a:gd name="connsiteX464" fmla="*/ 21241 w 1029843"/>
                <a:gd name="connsiteY464" fmla="*/ 350139 h 845819"/>
                <a:gd name="connsiteX465" fmla="*/ 19907 w 1029843"/>
                <a:gd name="connsiteY465" fmla="*/ 351949 h 845819"/>
                <a:gd name="connsiteX466" fmla="*/ 21431 w 1029843"/>
                <a:gd name="connsiteY466" fmla="*/ 351663 h 845819"/>
                <a:gd name="connsiteX467" fmla="*/ 21908 w 1029843"/>
                <a:gd name="connsiteY467" fmla="*/ 354902 h 845819"/>
                <a:gd name="connsiteX468" fmla="*/ 20669 w 1029843"/>
                <a:gd name="connsiteY468" fmla="*/ 358235 h 845819"/>
                <a:gd name="connsiteX469" fmla="*/ 22289 w 1029843"/>
                <a:gd name="connsiteY469" fmla="*/ 358045 h 845819"/>
                <a:gd name="connsiteX470" fmla="*/ 21527 w 1029843"/>
                <a:gd name="connsiteY470" fmla="*/ 364522 h 845819"/>
                <a:gd name="connsiteX471" fmla="*/ 19907 w 1029843"/>
                <a:gd name="connsiteY471" fmla="*/ 364712 h 845819"/>
                <a:gd name="connsiteX472" fmla="*/ 20574 w 1029843"/>
                <a:gd name="connsiteY472" fmla="*/ 369475 h 845819"/>
                <a:gd name="connsiteX473" fmla="*/ 16193 w 1029843"/>
                <a:gd name="connsiteY473" fmla="*/ 373190 h 845819"/>
                <a:gd name="connsiteX474" fmla="*/ 18574 w 1029843"/>
                <a:gd name="connsiteY474" fmla="*/ 379381 h 845819"/>
                <a:gd name="connsiteX475" fmla="*/ 23146 w 1029843"/>
                <a:gd name="connsiteY475" fmla="*/ 377190 h 845819"/>
                <a:gd name="connsiteX476" fmla="*/ 23527 w 1029843"/>
                <a:gd name="connsiteY476" fmla="*/ 380333 h 845819"/>
                <a:gd name="connsiteX477" fmla="*/ 26479 w 1029843"/>
                <a:gd name="connsiteY477" fmla="*/ 378333 h 845819"/>
                <a:gd name="connsiteX478" fmla="*/ 28289 w 1029843"/>
                <a:gd name="connsiteY478" fmla="*/ 379667 h 845819"/>
                <a:gd name="connsiteX479" fmla="*/ 34195 w 1029843"/>
                <a:gd name="connsiteY479" fmla="*/ 388620 h 845819"/>
                <a:gd name="connsiteX480" fmla="*/ 34576 w 1029843"/>
                <a:gd name="connsiteY480" fmla="*/ 391763 h 845819"/>
                <a:gd name="connsiteX481" fmla="*/ 29813 w 1029843"/>
                <a:gd name="connsiteY481" fmla="*/ 392335 h 845819"/>
                <a:gd name="connsiteX482" fmla="*/ 30480 w 1029843"/>
                <a:gd name="connsiteY482" fmla="*/ 397097 h 845819"/>
                <a:gd name="connsiteX483" fmla="*/ 33814 w 1029843"/>
                <a:gd name="connsiteY483" fmla="*/ 398240 h 845819"/>
                <a:gd name="connsiteX484" fmla="*/ 32671 w 1029843"/>
                <a:gd name="connsiteY484" fmla="*/ 401574 h 845819"/>
                <a:gd name="connsiteX485" fmla="*/ 39338 w 1029843"/>
                <a:gd name="connsiteY485" fmla="*/ 403955 h 845819"/>
                <a:gd name="connsiteX486" fmla="*/ 34100 w 1029843"/>
                <a:gd name="connsiteY486" fmla="*/ 425482 h 845819"/>
                <a:gd name="connsiteX487" fmla="*/ 32290 w 1029843"/>
                <a:gd name="connsiteY487" fmla="*/ 424053 h 845819"/>
                <a:gd name="connsiteX488" fmla="*/ 31147 w 1029843"/>
                <a:gd name="connsiteY488" fmla="*/ 427482 h 845819"/>
                <a:gd name="connsiteX489" fmla="*/ 29147 w 1029843"/>
                <a:gd name="connsiteY489" fmla="*/ 424529 h 845819"/>
                <a:gd name="connsiteX490" fmla="*/ 28004 w 1029843"/>
                <a:gd name="connsiteY490" fmla="*/ 427863 h 845819"/>
                <a:gd name="connsiteX491" fmla="*/ 21622 w 1029843"/>
                <a:gd name="connsiteY491" fmla="*/ 428625 h 845819"/>
                <a:gd name="connsiteX492" fmla="*/ 22479 w 1029843"/>
                <a:gd name="connsiteY492" fmla="*/ 435007 h 845819"/>
                <a:gd name="connsiteX493" fmla="*/ 24003 w 1029843"/>
                <a:gd name="connsiteY493" fmla="*/ 434816 h 845819"/>
                <a:gd name="connsiteX494" fmla="*/ 24479 w 1029843"/>
                <a:gd name="connsiteY494" fmla="*/ 437959 h 845819"/>
                <a:gd name="connsiteX495" fmla="*/ 21527 w 1029843"/>
                <a:gd name="connsiteY495" fmla="*/ 439865 h 845819"/>
                <a:gd name="connsiteX496" fmla="*/ 26861 w 1029843"/>
                <a:gd name="connsiteY496" fmla="*/ 444055 h 845819"/>
                <a:gd name="connsiteX497" fmla="*/ 25622 w 1029843"/>
                <a:gd name="connsiteY497" fmla="*/ 447389 h 845819"/>
                <a:gd name="connsiteX498" fmla="*/ 22479 w 1029843"/>
                <a:gd name="connsiteY498" fmla="*/ 447770 h 845819"/>
                <a:gd name="connsiteX499" fmla="*/ 21146 w 1029843"/>
                <a:gd name="connsiteY499" fmla="*/ 449580 h 845819"/>
                <a:gd name="connsiteX500" fmla="*/ 19526 w 1029843"/>
                <a:gd name="connsiteY500" fmla="*/ 449771 h 845819"/>
                <a:gd name="connsiteX501" fmla="*/ 20955 w 1029843"/>
                <a:gd name="connsiteY501" fmla="*/ 447961 h 845819"/>
                <a:gd name="connsiteX502" fmla="*/ 19145 w 1029843"/>
                <a:gd name="connsiteY502" fmla="*/ 446627 h 845819"/>
                <a:gd name="connsiteX503" fmla="*/ 17717 w 1029843"/>
                <a:gd name="connsiteY503" fmla="*/ 448437 h 845819"/>
                <a:gd name="connsiteX504" fmla="*/ 14383 w 1029843"/>
                <a:gd name="connsiteY504" fmla="*/ 447199 h 845819"/>
                <a:gd name="connsiteX505" fmla="*/ 13049 w 1029843"/>
                <a:gd name="connsiteY505" fmla="*/ 449009 h 845819"/>
                <a:gd name="connsiteX506" fmla="*/ 9430 w 1029843"/>
                <a:gd name="connsiteY506" fmla="*/ 446246 h 845819"/>
                <a:gd name="connsiteX507" fmla="*/ 6953 w 1029843"/>
                <a:gd name="connsiteY507" fmla="*/ 451390 h 845819"/>
                <a:gd name="connsiteX508" fmla="*/ 0 w 1029843"/>
                <a:gd name="connsiteY508" fmla="*/ 460248 h 845819"/>
                <a:gd name="connsiteX509" fmla="*/ 5525 w 1029843"/>
                <a:gd name="connsiteY509" fmla="*/ 465963 h 845819"/>
                <a:gd name="connsiteX510" fmla="*/ 9525 w 1029843"/>
                <a:gd name="connsiteY510" fmla="*/ 471869 h 845819"/>
                <a:gd name="connsiteX511" fmla="*/ 12668 w 1029843"/>
                <a:gd name="connsiteY511" fmla="*/ 471488 h 845819"/>
                <a:gd name="connsiteX512" fmla="*/ 18002 w 1029843"/>
                <a:gd name="connsiteY512" fmla="*/ 475679 h 845819"/>
                <a:gd name="connsiteX513" fmla="*/ 16478 w 1029843"/>
                <a:gd name="connsiteY513" fmla="*/ 475869 h 845819"/>
                <a:gd name="connsiteX514" fmla="*/ 12287 w 1029843"/>
                <a:gd name="connsiteY514" fmla="*/ 481203 h 845819"/>
                <a:gd name="connsiteX515" fmla="*/ 15050 w 1029843"/>
                <a:gd name="connsiteY515" fmla="*/ 490442 h 845819"/>
                <a:gd name="connsiteX516" fmla="*/ 17240 w 1029843"/>
                <a:gd name="connsiteY516" fmla="*/ 495014 h 845819"/>
                <a:gd name="connsiteX517" fmla="*/ 20860 w 1029843"/>
                <a:gd name="connsiteY517" fmla="*/ 497681 h 845819"/>
                <a:gd name="connsiteX518" fmla="*/ 27718 w 1029843"/>
                <a:gd name="connsiteY518" fmla="*/ 501682 h 845819"/>
                <a:gd name="connsiteX519" fmla="*/ 34481 w 1029843"/>
                <a:gd name="connsiteY519" fmla="*/ 503968 h 845819"/>
                <a:gd name="connsiteX520" fmla="*/ 37433 w 1029843"/>
                <a:gd name="connsiteY520" fmla="*/ 502063 h 845819"/>
                <a:gd name="connsiteX521" fmla="*/ 42767 w 1029843"/>
                <a:gd name="connsiteY521" fmla="*/ 493300 h 845819"/>
                <a:gd name="connsiteX522" fmla="*/ 46673 w 1029843"/>
                <a:gd name="connsiteY522" fmla="*/ 499205 h 845819"/>
                <a:gd name="connsiteX523" fmla="*/ 55150 w 1029843"/>
                <a:gd name="connsiteY523" fmla="*/ 502920 h 845819"/>
                <a:gd name="connsiteX524" fmla="*/ 58579 w 1029843"/>
                <a:gd name="connsiteY524" fmla="*/ 504158 h 845819"/>
                <a:gd name="connsiteX525" fmla="*/ 57150 w 1029843"/>
                <a:gd name="connsiteY525" fmla="*/ 505968 h 845819"/>
                <a:gd name="connsiteX526" fmla="*/ 55817 w 1029843"/>
                <a:gd name="connsiteY526" fmla="*/ 507682 h 845819"/>
                <a:gd name="connsiteX527" fmla="*/ 54197 w 1029843"/>
                <a:gd name="connsiteY527" fmla="*/ 507873 h 845819"/>
                <a:gd name="connsiteX528" fmla="*/ 53626 w 1029843"/>
                <a:gd name="connsiteY528" fmla="*/ 515969 h 845819"/>
                <a:gd name="connsiteX529" fmla="*/ 56960 w 1029843"/>
                <a:gd name="connsiteY529" fmla="*/ 517207 h 845819"/>
                <a:gd name="connsiteX530" fmla="*/ 61150 w 1029843"/>
                <a:gd name="connsiteY530" fmla="*/ 511873 h 845819"/>
                <a:gd name="connsiteX531" fmla="*/ 62865 w 1029843"/>
                <a:gd name="connsiteY531" fmla="*/ 513207 h 845819"/>
                <a:gd name="connsiteX532" fmla="*/ 63056 w 1029843"/>
                <a:gd name="connsiteY532" fmla="*/ 514826 h 845819"/>
                <a:gd name="connsiteX533" fmla="*/ 67056 w 1029843"/>
                <a:gd name="connsiteY533" fmla="*/ 520732 h 845819"/>
                <a:gd name="connsiteX534" fmla="*/ 68675 w 1029843"/>
                <a:gd name="connsiteY534" fmla="*/ 520541 h 845819"/>
                <a:gd name="connsiteX535" fmla="*/ 70580 w 1029843"/>
                <a:gd name="connsiteY535" fmla="*/ 523494 h 845819"/>
                <a:gd name="connsiteX536" fmla="*/ 73819 w 1029843"/>
                <a:gd name="connsiteY536" fmla="*/ 523018 h 845819"/>
                <a:gd name="connsiteX537" fmla="*/ 77533 w 1029843"/>
                <a:gd name="connsiteY537" fmla="*/ 527399 h 845819"/>
                <a:gd name="connsiteX538" fmla="*/ 78105 w 1029843"/>
                <a:gd name="connsiteY538" fmla="*/ 532162 h 845819"/>
                <a:gd name="connsiteX539" fmla="*/ 74771 w 1029843"/>
                <a:gd name="connsiteY539" fmla="*/ 530924 h 845819"/>
                <a:gd name="connsiteX540" fmla="*/ 68866 w 1029843"/>
                <a:gd name="connsiteY540" fmla="*/ 534924 h 845819"/>
                <a:gd name="connsiteX541" fmla="*/ 69247 w 1029843"/>
                <a:gd name="connsiteY541" fmla="*/ 538067 h 845819"/>
                <a:gd name="connsiteX542" fmla="*/ 72866 w 1029843"/>
                <a:gd name="connsiteY542" fmla="*/ 540830 h 845819"/>
                <a:gd name="connsiteX543" fmla="*/ 73438 w 1029843"/>
                <a:gd name="connsiteY543" fmla="*/ 545592 h 845819"/>
                <a:gd name="connsiteX544" fmla="*/ 70866 w 1029843"/>
                <a:gd name="connsiteY544" fmla="*/ 550640 h 845819"/>
                <a:gd name="connsiteX545" fmla="*/ 74486 w 1029843"/>
                <a:gd name="connsiteY545" fmla="*/ 553403 h 845819"/>
                <a:gd name="connsiteX546" fmla="*/ 84677 w 1029843"/>
                <a:gd name="connsiteY546" fmla="*/ 558546 h 845819"/>
                <a:gd name="connsiteX547" fmla="*/ 85154 w 1029843"/>
                <a:gd name="connsiteY547" fmla="*/ 561689 h 845819"/>
                <a:gd name="connsiteX548" fmla="*/ 86868 w 1029843"/>
                <a:gd name="connsiteY548" fmla="*/ 563118 h 845819"/>
                <a:gd name="connsiteX549" fmla="*/ 88106 w 1029843"/>
                <a:gd name="connsiteY549" fmla="*/ 559689 h 845819"/>
                <a:gd name="connsiteX550" fmla="*/ 89630 w 1029843"/>
                <a:gd name="connsiteY550" fmla="*/ 559499 h 845819"/>
                <a:gd name="connsiteX551" fmla="*/ 90011 w 1029843"/>
                <a:gd name="connsiteY551" fmla="*/ 562642 h 845819"/>
                <a:gd name="connsiteX552" fmla="*/ 91821 w 1029843"/>
                <a:gd name="connsiteY552" fmla="*/ 564071 h 845819"/>
                <a:gd name="connsiteX553" fmla="*/ 93250 w 1029843"/>
                <a:gd name="connsiteY553" fmla="*/ 562261 h 845819"/>
                <a:gd name="connsiteX554" fmla="*/ 94774 w 1029843"/>
                <a:gd name="connsiteY554" fmla="*/ 562070 h 845819"/>
                <a:gd name="connsiteX555" fmla="*/ 94393 w 1029843"/>
                <a:gd name="connsiteY555" fmla="*/ 558927 h 845819"/>
                <a:gd name="connsiteX556" fmla="*/ 104013 w 1029843"/>
                <a:gd name="connsiteY556" fmla="*/ 559308 h 845819"/>
                <a:gd name="connsiteX557" fmla="*/ 108204 w 1029843"/>
                <a:gd name="connsiteY557" fmla="*/ 553974 h 845819"/>
                <a:gd name="connsiteX558" fmla="*/ 111347 w 1029843"/>
                <a:gd name="connsiteY558" fmla="*/ 553593 h 845819"/>
                <a:gd name="connsiteX559" fmla="*/ 113157 w 1029843"/>
                <a:gd name="connsiteY559" fmla="*/ 554927 h 845819"/>
                <a:gd name="connsiteX560" fmla="*/ 113348 w 1029843"/>
                <a:gd name="connsiteY560" fmla="*/ 556546 h 845819"/>
                <a:gd name="connsiteX561" fmla="*/ 116872 w 1029843"/>
                <a:gd name="connsiteY561" fmla="*/ 559308 h 845819"/>
                <a:gd name="connsiteX562" fmla="*/ 117062 w 1029843"/>
                <a:gd name="connsiteY562" fmla="*/ 560832 h 845819"/>
                <a:gd name="connsiteX563" fmla="*/ 120015 w 1029843"/>
                <a:gd name="connsiteY563" fmla="*/ 558832 h 845819"/>
                <a:gd name="connsiteX564" fmla="*/ 123635 w 1029843"/>
                <a:gd name="connsiteY564" fmla="*/ 561594 h 845819"/>
                <a:gd name="connsiteX565" fmla="*/ 124968 w 1029843"/>
                <a:gd name="connsiteY565" fmla="*/ 559880 h 845819"/>
                <a:gd name="connsiteX566" fmla="*/ 131731 w 1029843"/>
                <a:gd name="connsiteY566" fmla="*/ 562165 h 845819"/>
                <a:gd name="connsiteX567" fmla="*/ 138589 w 1029843"/>
                <a:gd name="connsiteY567" fmla="*/ 566071 h 845819"/>
                <a:gd name="connsiteX568" fmla="*/ 137255 w 1029843"/>
                <a:gd name="connsiteY568" fmla="*/ 567880 h 845819"/>
                <a:gd name="connsiteX569" fmla="*/ 140779 w 1029843"/>
                <a:gd name="connsiteY569" fmla="*/ 570643 h 845819"/>
                <a:gd name="connsiteX570" fmla="*/ 142113 w 1029843"/>
                <a:gd name="connsiteY570" fmla="*/ 568833 h 845819"/>
                <a:gd name="connsiteX571" fmla="*/ 146495 w 1029843"/>
                <a:gd name="connsiteY571" fmla="*/ 565118 h 845819"/>
                <a:gd name="connsiteX572" fmla="*/ 148876 w 1029843"/>
                <a:gd name="connsiteY572" fmla="*/ 558355 h 845819"/>
                <a:gd name="connsiteX573" fmla="*/ 155353 w 1029843"/>
                <a:gd name="connsiteY573" fmla="*/ 559213 h 845819"/>
                <a:gd name="connsiteX574" fmla="*/ 159734 w 1029843"/>
                <a:gd name="connsiteY574" fmla="*/ 555403 h 845819"/>
                <a:gd name="connsiteX575" fmla="*/ 164402 w 1029843"/>
                <a:gd name="connsiteY575" fmla="*/ 554831 h 845819"/>
                <a:gd name="connsiteX576" fmla="*/ 165830 w 1029843"/>
                <a:gd name="connsiteY576" fmla="*/ 553022 h 845819"/>
                <a:gd name="connsiteX577" fmla="*/ 170498 w 1029843"/>
                <a:gd name="connsiteY577" fmla="*/ 552450 h 845819"/>
                <a:gd name="connsiteX578" fmla="*/ 171736 w 1029843"/>
                <a:gd name="connsiteY578" fmla="*/ 549116 h 845819"/>
                <a:gd name="connsiteX579" fmla="*/ 172117 w 1029843"/>
                <a:gd name="connsiteY579" fmla="*/ 552259 h 845819"/>
                <a:gd name="connsiteX580" fmla="*/ 173736 w 1029843"/>
                <a:gd name="connsiteY580" fmla="*/ 552069 h 845819"/>
                <a:gd name="connsiteX581" fmla="*/ 174689 w 1029843"/>
                <a:gd name="connsiteY581" fmla="*/ 559880 h 845819"/>
                <a:gd name="connsiteX582" fmla="*/ 176308 w 1029843"/>
                <a:gd name="connsiteY582" fmla="*/ 559689 h 845819"/>
                <a:gd name="connsiteX583" fmla="*/ 176498 w 1029843"/>
                <a:gd name="connsiteY583" fmla="*/ 561308 h 845819"/>
                <a:gd name="connsiteX584" fmla="*/ 181166 w 1029843"/>
                <a:gd name="connsiteY584" fmla="*/ 560642 h 845819"/>
                <a:gd name="connsiteX585" fmla="*/ 184785 w 1029843"/>
                <a:gd name="connsiteY585" fmla="*/ 563404 h 845819"/>
                <a:gd name="connsiteX586" fmla="*/ 184975 w 1029843"/>
                <a:gd name="connsiteY586" fmla="*/ 565023 h 845819"/>
                <a:gd name="connsiteX587" fmla="*/ 189738 w 1029843"/>
                <a:gd name="connsiteY587" fmla="*/ 564452 h 845819"/>
                <a:gd name="connsiteX588" fmla="*/ 191929 w 1029843"/>
                <a:gd name="connsiteY588" fmla="*/ 568928 h 845819"/>
                <a:gd name="connsiteX589" fmla="*/ 187547 w 1029843"/>
                <a:gd name="connsiteY589" fmla="*/ 572738 h 845819"/>
                <a:gd name="connsiteX590" fmla="*/ 189738 w 1029843"/>
                <a:gd name="connsiteY590" fmla="*/ 577215 h 845819"/>
                <a:gd name="connsiteX591" fmla="*/ 189929 w 1029843"/>
                <a:gd name="connsiteY591" fmla="*/ 578834 h 845819"/>
                <a:gd name="connsiteX592" fmla="*/ 188404 w 1029843"/>
                <a:gd name="connsiteY592" fmla="*/ 579025 h 845819"/>
                <a:gd name="connsiteX593" fmla="*/ 191167 w 1029843"/>
                <a:gd name="connsiteY593" fmla="*/ 588264 h 845819"/>
                <a:gd name="connsiteX594" fmla="*/ 190214 w 1029843"/>
                <a:gd name="connsiteY594" fmla="*/ 593217 h 845819"/>
                <a:gd name="connsiteX595" fmla="*/ 191929 w 1029843"/>
                <a:gd name="connsiteY595" fmla="*/ 594551 h 845819"/>
                <a:gd name="connsiteX596" fmla="*/ 195929 w 1029843"/>
                <a:gd name="connsiteY596" fmla="*/ 600551 h 845819"/>
                <a:gd name="connsiteX597" fmla="*/ 191548 w 1029843"/>
                <a:gd name="connsiteY597" fmla="*/ 604266 h 845819"/>
                <a:gd name="connsiteX598" fmla="*/ 186881 w 1029843"/>
                <a:gd name="connsiteY598" fmla="*/ 604838 h 845819"/>
                <a:gd name="connsiteX599" fmla="*/ 184118 w 1029843"/>
                <a:gd name="connsiteY599" fmla="*/ 608457 h 845819"/>
                <a:gd name="connsiteX600" fmla="*/ 187452 w 1029843"/>
                <a:gd name="connsiteY600" fmla="*/ 609600 h 845819"/>
                <a:gd name="connsiteX601" fmla="*/ 189262 w 1029843"/>
                <a:gd name="connsiteY601" fmla="*/ 623792 h 845819"/>
                <a:gd name="connsiteX602" fmla="*/ 185547 w 1029843"/>
                <a:gd name="connsiteY602" fmla="*/ 632270 h 845819"/>
                <a:gd name="connsiteX603" fmla="*/ 192024 w 1029843"/>
                <a:gd name="connsiteY603" fmla="*/ 633032 h 845819"/>
                <a:gd name="connsiteX604" fmla="*/ 192881 w 1029843"/>
                <a:gd name="connsiteY604" fmla="*/ 639413 h 845819"/>
                <a:gd name="connsiteX605" fmla="*/ 194405 w 1029843"/>
                <a:gd name="connsiteY605" fmla="*/ 639223 h 845819"/>
                <a:gd name="connsiteX606" fmla="*/ 201168 w 1029843"/>
                <a:gd name="connsiteY606" fmla="*/ 641509 h 845819"/>
                <a:gd name="connsiteX607" fmla="*/ 199168 w 1029843"/>
                <a:gd name="connsiteY607" fmla="*/ 651415 h 845819"/>
                <a:gd name="connsiteX608" fmla="*/ 201930 w 1029843"/>
                <a:gd name="connsiteY608" fmla="*/ 647890 h 845819"/>
                <a:gd name="connsiteX609" fmla="*/ 202311 w 1029843"/>
                <a:gd name="connsiteY609" fmla="*/ 651034 h 845819"/>
                <a:gd name="connsiteX610" fmla="*/ 204121 w 1029843"/>
                <a:gd name="connsiteY610" fmla="*/ 652367 h 845819"/>
                <a:gd name="connsiteX611" fmla="*/ 201549 w 1029843"/>
                <a:gd name="connsiteY611" fmla="*/ 657511 h 845819"/>
                <a:gd name="connsiteX612" fmla="*/ 207454 w 1029843"/>
                <a:gd name="connsiteY612" fmla="*/ 653510 h 845819"/>
                <a:gd name="connsiteX613" fmla="*/ 203549 w 1029843"/>
                <a:gd name="connsiteY613" fmla="*/ 660463 h 845819"/>
                <a:gd name="connsiteX614" fmla="*/ 204311 w 1029843"/>
                <a:gd name="connsiteY614" fmla="*/ 666750 h 845819"/>
                <a:gd name="connsiteX615" fmla="*/ 201835 w 1029843"/>
                <a:gd name="connsiteY615" fmla="*/ 671894 h 845819"/>
                <a:gd name="connsiteX616" fmla="*/ 200025 w 1029843"/>
                <a:gd name="connsiteY616" fmla="*/ 670560 h 845819"/>
                <a:gd name="connsiteX617" fmla="*/ 197263 w 1029843"/>
                <a:gd name="connsiteY617" fmla="*/ 674084 h 845819"/>
                <a:gd name="connsiteX618" fmla="*/ 199073 w 1029843"/>
                <a:gd name="connsiteY618" fmla="*/ 675513 h 845819"/>
                <a:gd name="connsiteX619" fmla="*/ 201073 w 1029843"/>
                <a:gd name="connsiteY619" fmla="*/ 678466 h 845819"/>
                <a:gd name="connsiteX620" fmla="*/ 199454 w 1029843"/>
                <a:gd name="connsiteY620" fmla="*/ 678656 h 845819"/>
                <a:gd name="connsiteX621" fmla="*/ 198501 w 1029843"/>
                <a:gd name="connsiteY621" fmla="*/ 683609 h 845819"/>
                <a:gd name="connsiteX622" fmla="*/ 196691 w 1029843"/>
                <a:gd name="connsiteY622" fmla="*/ 682180 h 845819"/>
                <a:gd name="connsiteX623" fmla="*/ 197072 w 1029843"/>
                <a:gd name="connsiteY623" fmla="*/ 685324 h 845819"/>
                <a:gd name="connsiteX624" fmla="*/ 192596 w 1029843"/>
                <a:gd name="connsiteY624" fmla="*/ 687515 h 845819"/>
                <a:gd name="connsiteX625" fmla="*/ 191548 w 1029843"/>
                <a:gd name="connsiteY625" fmla="*/ 692468 h 845819"/>
                <a:gd name="connsiteX626" fmla="*/ 186690 w 1029843"/>
                <a:gd name="connsiteY626" fmla="*/ 691515 h 845819"/>
                <a:gd name="connsiteX627" fmla="*/ 185833 w 1029843"/>
                <a:gd name="connsiteY627" fmla="*/ 697992 h 845819"/>
                <a:gd name="connsiteX628" fmla="*/ 183928 w 1029843"/>
                <a:gd name="connsiteY628" fmla="*/ 695039 h 845819"/>
                <a:gd name="connsiteX629" fmla="*/ 182499 w 1029843"/>
                <a:gd name="connsiteY629" fmla="*/ 696849 h 845819"/>
                <a:gd name="connsiteX630" fmla="*/ 183166 w 1029843"/>
                <a:gd name="connsiteY630" fmla="*/ 701611 h 845819"/>
                <a:gd name="connsiteX631" fmla="*/ 179927 w 1029843"/>
                <a:gd name="connsiteY631" fmla="*/ 701993 h 845819"/>
                <a:gd name="connsiteX632" fmla="*/ 178213 w 1029843"/>
                <a:gd name="connsiteY632" fmla="*/ 700564 h 845819"/>
                <a:gd name="connsiteX633" fmla="*/ 176594 w 1029843"/>
                <a:gd name="connsiteY633" fmla="*/ 700754 h 845819"/>
                <a:gd name="connsiteX634" fmla="*/ 175641 w 1029843"/>
                <a:gd name="connsiteY634" fmla="*/ 705707 h 845819"/>
                <a:gd name="connsiteX635" fmla="*/ 180404 w 1029843"/>
                <a:gd name="connsiteY635" fmla="*/ 705136 h 845819"/>
                <a:gd name="connsiteX636" fmla="*/ 189071 w 1029843"/>
                <a:gd name="connsiteY636" fmla="*/ 710470 h 845819"/>
                <a:gd name="connsiteX637" fmla="*/ 189262 w 1029843"/>
                <a:gd name="connsiteY637" fmla="*/ 711994 h 845819"/>
                <a:gd name="connsiteX638" fmla="*/ 179261 w 1029843"/>
                <a:gd name="connsiteY638" fmla="*/ 721328 h 845819"/>
                <a:gd name="connsiteX639" fmla="*/ 171545 w 1029843"/>
                <a:gd name="connsiteY639" fmla="*/ 723900 h 845819"/>
                <a:gd name="connsiteX640" fmla="*/ 171736 w 1029843"/>
                <a:gd name="connsiteY640" fmla="*/ 725519 h 845819"/>
                <a:gd name="connsiteX641" fmla="*/ 183166 w 1029843"/>
                <a:gd name="connsiteY641" fmla="*/ 727234 h 845819"/>
                <a:gd name="connsiteX642" fmla="*/ 192405 w 1029843"/>
                <a:gd name="connsiteY642" fmla="*/ 724472 h 845819"/>
                <a:gd name="connsiteX643" fmla="*/ 199739 w 1029843"/>
                <a:gd name="connsiteY643" fmla="*/ 731520 h 845819"/>
                <a:gd name="connsiteX644" fmla="*/ 201740 w 1029843"/>
                <a:gd name="connsiteY644" fmla="*/ 734473 h 845819"/>
                <a:gd name="connsiteX645" fmla="*/ 208502 w 1029843"/>
                <a:gd name="connsiteY645" fmla="*/ 736854 h 845819"/>
                <a:gd name="connsiteX646" fmla="*/ 209645 w 1029843"/>
                <a:gd name="connsiteY646" fmla="*/ 733520 h 845819"/>
                <a:gd name="connsiteX647" fmla="*/ 209264 w 1029843"/>
                <a:gd name="connsiteY647" fmla="*/ 730282 h 845819"/>
                <a:gd name="connsiteX648" fmla="*/ 212789 w 1029843"/>
                <a:gd name="connsiteY648" fmla="*/ 733044 h 845819"/>
                <a:gd name="connsiteX649" fmla="*/ 215932 w 1029843"/>
                <a:gd name="connsiteY649" fmla="*/ 732663 h 845819"/>
                <a:gd name="connsiteX650" fmla="*/ 214789 w 1029843"/>
                <a:gd name="connsiteY650" fmla="*/ 735997 h 845819"/>
                <a:gd name="connsiteX651" fmla="*/ 225457 w 1029843"/>
                <a:gd name="connsiteY651" fmla="*/ 744284 h 845819"/>
                <a:gd name="connsiteX652" fmla="*/ 232124 w 1029843"/>
                <a:gd name="connsiteY652" fmla="*/ 746665 h 845819"/>
                <a:gd name="connsiteX653" fmla="*/ 233553 w 1029843"/>
                <a:gd name="connsiteY653" fmla="*/ 744855 h 845819"/>
                <a:gd name="connsiteX654" fmla="*/ 235363 w 1029843"/>
                <a:gd name="connsiteY654" fmla="*/ 746188 h 845819"/>
                <a:gd name="connsiteX655" fmla="*/ 233744 w 1029843"/>
                <a:gd name="connsiteY655" fmla="*/ 746474 h 845819"/>
                <a:gd name="connsiteX656" fmla="*/ 240506 w 1029843"/>
                <a:gd name="connsiteY656" fmla="*/ 748760 h 845819"/>
                <a:gd name="connsiteX657" fmla="*/ 232220 w 1029843"/>
                <a:gd name="connsiteY657" fmla="*/ 759428 h 845819"/>
                <a:gd name="connsiteX658" fmla="*/ 232982 w 1029843"/>
                <a:gd name="connsiteY658" fmla="*/ 765810 h 845819"/>
                <a:gd name="connsiteX659" fmla="*/ 243078 w 1029843"/>
                <a:gd name="connsiteY659" fmla="*/ 782098 h 845819"/>
                <a:gd name="connsiteX660" fmla="*/ 255365 w 1029843"/>
                <a:gd name="connsiteY660" fmla="*/ 777335 h 845819"/>
                <a:gd name="connsiteX661" fmla="*/ 259461 w 1029843"/>
                <a:gd name="connsiteY661" fmla="*/ 772001 h 845819"/>
                <a:gd name="connsiteX662" fmla="*/ 261080 w 1029843"/>
                <a:gd name="connsiteY662" fmla="*/ 771811 h 845819"/>
                <a:gd name="connsiteX663" fmla="*/ 265367 w 1029843"/>
                <a:gd name="connsiteY663" fmla="*/ 768096 h 845819"/>
                <a:gd name="connsiteX664" fmla="*/ 265176 w 1029843"/>
                <a:gd name="connsiteY664" fmla="*/ 766477 h 845819"/>
                <a:gd name="connsiteX665" fmla="*/ 270129 w 1029843"/>
                <a:gd name="connsiteY665" fmla="*/ 767429 h 845819"/>
                <a:gd name="connsiteX666" fmla="*/ 273082 w 1029843"/>
                <a:gd name="connsiteY666" fmla="*/ 765524 h 845819"/>
                <a:gd name="connsiteX667" fmla="*/ 268319 w 1029843"/>
                <a:gd name="connsiteY667" fmla="*/ 766096 h 845819"/>
                <a:gd name="connsiteX668" fmla="*/ 267748 w 1029843"/>
                <a:gd name="connsiteY668" fmla="*/ 761333 h 845819"/>
                <a:gd name="connsiteX669" fmla="*/ 278987 w 1029843"/>
                <a:gd name="connsiteY669" fmla="*/ 761524 h 845819"/>
                <a:gd name="connsiteX670" fmla="*/ 280702 w 1029843"/>
                <a:gd name="connsiteY670" fmla="*/ 762857 h 845819"/>
                <a:gd name="connsiteX671" fmla="*/ 280511 w 1029843"/>
                <a:gd name="connsiteY671" fmla="*/ 761333 h 845819"/>
                <a:gd name="connsiteX672" fmla="*/ 285083 w 1029843"/>
                <a:gd name="connsiteY672" fmla="*/ 759143 h 845819"/>
                <a:gd name="connsiteX673" fmla="*/ 287846 w 1029843"/>
                <a:gd name="connsiteY673" fmla="*/ 755618 h 845819"/>
                <a:gd name="connsiteX674" fmla="*/ 291370 w 1029843"/>
                <a:gd name="connsiteY674" fmla="*/ 758380 h 845819"/>
                <a:gd name="connsiteX675" fmla="*/ 292799 w 1029843"/>
                <a:gd name="connsiteY675" fmla="*/ 756571 h 845819"/>
                <a:gd name="connsiteX676" fmla="*/ 290608 w 1029843"/>
                <a:gd name="connsiteY676" fmla="*/ 751999 h 845819"/>
                <a:gd name="connsiteX677" fmla="*/ 288798 w 1029843"/>
                <a:gd name="connsiteY677" fmla="*/ 750665 h 845819"/>
                <a:gd name="connsiteX678" fmla="*/ 289941 w 1029843"/>
                <a:gd name="connsiteY678" fmla="*/ 747332 h 845819"/>
                <a:gd name="connsiteX679" fmla="*/ 290513 w 1029843"/>
                <a:gd name="connsiteY679" fmla="*/ 739235 h 845819"/>
                <a:gd name="connsiteX680" fmla="*/ 291941 w 1029843"/>
                <a:gd name="connsiteY680" fmla="*/ 737426 h 845819"/>
                <a:gd name="connsiteX681" fmla="*/ 302419 w 1029843"/>
                <a:gd name="connsiteY681" fmla="*/ 731234 h 845819"/>
                <a:gd name="connsiteX682" fmla="*/ 305562 w 1029843"/>
                <a:gd name="connsiteY682" fmla="*/ 730853 h 845819"/>
                <a:gd name="connsiteX683" fmla="*/ 307467 w 1029843"/>
                <a:gd name="connsiteY683" fmla="*/ 733806 h 845819"/>
                <a:gd name="connsiteX684" fmla="*/ 308896 w 1029843"/>
                <a:gd name="connsiteY684" fmla="*/ 732092 h 845819"/>
                <a:gd name="connsiteX685" fmla="*/ 309467 w 1029843"/>
                <a:gd name="connsiteY685" fmla="*/ 736759 h 845819"/>
                <a:gd name="connsiteX686" fmla="*/ 312801 w 1029843"/>
                <a:gd name="connsiteY686" fmla="*/ 737997 h 845819"/>
                <a:gd name="connsiteX687" fmla="*/ 317373 w 1029843"/>
                <a:gd name="connsiteY687" fmla="*/ 735806 h 845819"/>
                <a:gd name="connsiteX688" fmla="*/ 316802 w 1029843"/>
                <a:gd name="connsiteY688" fmla="*/ 731044 h 845819"/>
                <a:gd name="connsiteX689" fmla="*/ 318135 w 1029843"/>
                <a:gd name="connsiteY689" fmla="*/ 729234 h 845819"/>
                <a:gd name="connsiteX690" fmla="*/ 319945 w 1029843"/>
                <a:gd name="connsiteY690" fmla="*/ 730663 h 845819"/>
                <a:gd name="connsiteX691" fmla="*/ 326041 w 1029843"/>
                <a:gd name="connsiteY691" fmla="*/ 728282 h 845819"/>
                <a:gd name="connsiteX692" fmla="*/ 320897 w 1029843"/>
                <a:gd name="connsiteY692" fmla="*/ 725710 h 845819"/>
                <a:gd name="connsiteX693" fmla="*/ 321850 w 1029843"/>
                <a:gd name="connsiteY693" fmla="*/ 720757 h 845819"/>
                <a:gd name="connsiteX694" fmla="*/ 325088 w 1029843"/>
                <a:gd name="connsiteY694" fmla="*/ 720376 h 845819"/>
                <a:gd name="connsiteX695" fmla="*/ 331946 w 1029843"/>
                <a:gd name="connsiteY695" fmla="*/ 724281 h 845819"/>
                <a:gd name="connsiteX696" fmla="*/ 331756 w 1029843"/>
                <a:gd name="connsiteY696" fmla="*/ 735521 h 845819"/>
                <a:gd name="connsiteX697" fmla="*/ 334899 w 1029843"/>
                <a:gd name="connsiteY697" fmla="*/ 735140 h 845819"/>
                <a:gd name="connsiteX698" fmla="*/ 335566 w 1029843"/>
                <a:gd name="connsiteY698" fmla="*/ 739902 h 845819"/>
                <a:gd name="connsiteX699" fmla="*/ 337090 w 1029843"/>
                <a:gd name="connsiteY699" fmla="*/ 739711 h 845819"/>
                <a:gd name="connsiteX700" fmla="*/ 338709 w 1029843"/>
                <a:gd name="connsiteY700" fmla="*/ 739521 h 845819"/>
                <a:gd name="connsiteX701" fmla="*/ 338519 w 1029843"/>
                <a:gd name="connsiteY701" fmla="*/ 737902 h 845819"/>
                <a:gd name="connsiteX702" fmla="*/ 339852 w 1029843"/>
                <a:gd name="connsiteY702" fmla="*/ 736092 h 845819"/>
                <a:gd name="connsiteX703" fmla="*/ 343472 w 1029843"/>
                <a:gd name="connsiteY703" fmla="*/ 738854 h 845819"/>
                <a:gd name="connsiteX704" fmla="*/ 345186 w 1029843"/>
                <a:gd name="connsiteY704" fmla="*/ 740283 h 845819"/>
                <a:gd name="connsiteX705" fmla="*/ 346615 w 1029843"/>
                <a:gd name="connsiteY705" fmla="*/ 738473 h 845819"/>
                <a:gd name="connsiteX706" fmla="*/ 343472 w 1029843"/>
                <a:gd name="connsiteY706" fmla="*/ 738854 h 845819"/>
                <a:gd name="connsiteX707" fmla="*/ 342614 w 1029843"/>
                <a:gd name="connsiteY707" fmla="*/ 732568 h 845819"/>
                <a:gd name="connsiteX708" fmla="*/ 344234 w 1029843"/>
                <a:gd name="connsiteY708" fmla="*/ 732377 h 845819"/>
                <a:gd name="connsiteX709" fmla="*/ 344615 w 1029843"/>
                <a:gd name="connsiteY709" fmla="*/ 735521 h 845819"/>
                <a:gd name="connsiteX710" fmla="*/ 346043 w 1029843"/>
                <a:gd name="connsiteY710" fmla="*/ 733711 h 845819"/>
                <a:gd name="connsiteX711" fmla="*/ 347758 w 1029843"/>
                <a:gd name="connsiteY711" fmla="*/ 735140 h 845819"/>
                <a:gd name="connsiteX712" fmla="*/ 350901 w 1029843"/>
                <a:gd name="connsiteY712" fmla="*/ 734759 h 845819"/>
                <a:gd name="connsiteX713" fmla="*/ 352901 w 1029843"/>
                <a:gd name="connsiteY713" fmla="*/ 737711 h 845819"/>
                <a:gd name="connsiteX714" fmla="*/ 357473 w 1029843"/>
                <a:gd name="connsiteY714" fmla="*/ 735521 h 845819"/>
                <a:gd name="connsiteX715" fmla="*/ 355854 w 1029843"/>
                <a:gd name="connsiteY715" fmla="*/ 735711 h 845819"/>
                <a:gd name="connsiteX716" fmla="*/ 357188 w 1029843"/>
                <a:gd name="connsiteY716" fmla="*/ 733901 h 845819"/>
                <a:gd name="connsiteX717" fmla="*/ 362331 w 1029843"/>
                <a:gd name="connsiteY717" fmla="*/ 736473 h 845819"/>
                <a:gd name="connsiteX718" fmla="*/ 363760 w 1029843"/>
                <a:gd name="connsiteY718" fmla="*/ 734663 h 845819"/>
                <a:gd name="connsiteX719" fmla="*/ 365379 w 1029843"/>
                <a:gd name="connsiteY719" fmla="*/ 734473 h 845819"/>
                <a:gd name="connsiteX720" fmla="*/ 365570 w 1029843"/>
                <a:gd name="connsiteY720" fmla="*/ 736092 h 845819"/>
                <a:gd name="connsiteX721" fmla="*/ 363950 w 1029843"/>
                <a:gd name="connsiteY721" fmla="*/ 736282 h 845819"/>
                <a:gd name="connsiteX722" fmla="*/ 364141 w 1029843"/>
                <a:gd name="connsiteY722" fmla="*/ 737807 h 845819"/>
                <a:gd name="connsiteX723" fmla="*/ 368903 w 1029843"/>
                <a:gd name="connsiteY723" fmla="*/ 737235 h 845819"/>
                <a:gd name="connsiteX724" fmla="*/ 374047 w 1029843"/>
                <a:gd name="connsiteY724" fmla="*/ 739807 h 845819"/>
                <a:gd name="connsiteX725" fmla="*/ 373856 w 1029843"/>
                <a:gd name="connsiteY725" fmla="*/ 738188 h 845819"/>
                <a:gd name="connsiteX726" fmla="*/ 377381 w 1029843"/>
                <a:gd name="connsiteY726" fmla="*/ 740950 h 845819"/>
                <a:gd name="connsiteX727" fmla="*/ 377952 w 1029843"/>
                <a:gd name="connsiteY727" fmla="*/ 732854 h 845819"/>
                <a:gd name="connsiteX728" fmla="*/ 379762 w 1029843"/>
                <a:gd name="connsiteY728" fmla="*/ 734282 h 845819"/>
                <a:gd name="connsiteX729" fmla="*/ 381476 w 1029843"/>
                <a:gd name="connsiteY729" fmla="*/ 735616 h 845819"/>
                <a:gd name="connsiteX730" fmla="*/ 391763 w 1029843"/>
                <a:gd name="connsiteY730" fmla="*/ 740759 h 845819"/>
                <a:gd name="connsiteX731" fmla="*/ 391954 w 1029843"/>
                <a:gd name="connsiteY731" fmla="*/ 742283 h 845819"/>
                <a:gd name="connsiteX732" fmla="*/ 397097 w 1029843"/>
                <a:gd name="connsiteY732" fmla="*/ 744855 h 845819"/>
                <a:gd name="connsiteX733" fmla="*/ 397288 w 1029843"/>
                <a:gd name="connsiteY733" fmla="*/ 746474 h 845819"/>
                <a:gd name="connsiteX734" fmla="*/ 400907 w 1029843"/>
                <a:gd name="connsiteY734" fmla="*/ 749236 h 845819"/>
                <a:gd name="connsiteX735" fmla="*/ 402050 w 1029843"/>
                <a:gd name="connsiteY735" fmla="*/ 745807 h 845819"/>
                <a:gd name="connsiteX736" fmla="*/ 403670 w 1029843"/>
                <a:gd name="connsiteY736" fmla="*/ 745617 h 845819"/>
                <a:gd name="connsiteX737" fmla="*/ 407194 w 1029843"/>
                <a:gd name="connsiteY737" fmla="*/ 748379 h 845819"/>
                <a:gd name="connsiteX738" fmla="*/ 409956 w 1029843"/>
                <a:gd name="connsiteY738" fmla="*/ 744855 h 845819"/>
                <a:gd name="connsiteX739" fmla="*/ 409575 w 1029843"/>
                <a:gd name="connsiteY739" fmla="*/ 741712 h 845819"/>
                <a:gd name="connsiteX740" fmla="*/ 411099 w 1029843"/>
                <a:gd name="connsiteY740" fmla="*/ 741521 h 845819"/>
                <a:gd name="connsiteX741" fmla="*/ 413671 w 1029843"/>
                <a:gd name="connsiteY741" fmla="*/ 736378 h 845819"/>
                <a:gd name="connsiteX742" fmla="*/ 416814 w 1029843"/>
                <a:gd name="connsiteY742" fmla="*/ 735902 h 845819"/>
                <a:gd name="connsiteX743" fmla="*/ 418052 w 1029843"/>
                <a:gd name="connsiteY743" fmla="*/ 732568 h 845819"/>
                <a:gd name="connsiteX744" fmla="*/ 421386 w 1029843"/>
                <a:gd name="connsiteY744" fmla="*/ 733711 h 845819"/>
                <a:gd name="connsiteX745" fmla="*/ 421576 w 1029843"/>
                <a:gd name="connsiteY745" fmla="*/ 735330 h 845819"/>
                <a:gd name="connsiteX746" fmla="*/ 424529 w 1029843"/>
                <a:gd name="connsiteY746" fmla="*/ 733330 h 845819"/>
                <a:gd name="connsiteX747" fmla="*/ 429482 w 1029843"/>
                <a:gd name="connsiteY747" fmla="*/ 734282 h 845819"/>
                <a:gd name="connsiteX748" fmla="*/ 433197 w 1029843"/>
                <a:gd name="connsiteY748" fmla="*/ 738664 h 845819"/>
                <a:gd name="connsiteX749" fmla="*/ 436912 w 1029843"/>
                <a:gd name="connsiteY749" fmla="*/ 730186 h 845819"/>
                <a:gd name="connsiteX750" fmla="*/ 438912 w 1029843"/>
                <a:gd name="connsiteY750" fmla="*/ 733139 h 845819"/>
                <a:gd name="connsiteX751" fmla="*/ 438722 w 1029843"/>
                <a:gd name="connsiteY751" fmla="*/ 731520 h 845819"/>
                <a:gd name="connsiteX752" fmla="*/ 441865 w 1029843"/>
                <a:gd name="connsiteY752" fmla="*/ 731139 h 845819"/>
                <a:gd name="connsiteX753" fmla="*/ 443103 w 1029843"/>
                <a:gd name="connsiteY753" fmla="*/ 727805 h 845819"/>
                <a:gd name="connsiteX754" fmla="*/ 444817 w 1029843"/>
                <a:gd name="connsiteY754" fmla="*/ 716375 h 845819"/>
                <a:gd name="connsiteX755" fmla="*/ 443008 w 1029843"/>
                <a:gd name="connsiteY755" fmla="*/ 714947 h 845819"/>
                <a:gd name="connsiteX756" fmla="*/ 442246 w 1029843"/>
                <a:gd name="connsiteY756" fmla="*/ 708660 h 845819"/>
                <a:gd name="connsiteX757" fmla="*/ 446723 w 1029843"/>
                <a:gd name="connsiteY757" fmla="*/ 706469 h 845819"/>
                <a:gd name="connsiteX758" fmla="*/ 446532 w 1029843"/>
                <a:gd name="connsiteY758" fmla="*/ 704850 h 845819"/>
                <a:gd name="connsiteX759" fmla="*/ 451295 w 1029843"/>
                <a:gd name="connsiteY759" fmla="*/ 704279 h 845819"/>
                <a:gd name="connsiteX760" fmla="*/ 452247 w 1029843"/>
                <a:gd name="connsiteY760" fmla="*/ 699326 h 845819"/>
                <a:gd name="connsiteX761" fmla="*/ 460534 w 1029843"/>
                <a:gd name="connsiteY761" fmla="*/ 701516 h 845819"/>
                <a:gd name="connsiteX762" fmla="*/ 462915 w 1029843"/>
                <a:gd name="connsiteY762" fmla="*/ 694754 h 845819"/>
                <a:gd name="connsiteX763" fmla="*/ 467201 w 1029843"/>
                <a:gd name="connsiteY763" fmla="*/ 691039 h 845819"/>
                <a:gd name="connsiteX764" fmla="*/ 472631 w 1029843"/>
                <a:gd name="connsiteY764" fmla="*/ 695134 h 845819"/>
                <a:gd name="connsiteX765" fmla="*/ 476345 w 1029843"/>
                <a:gd name="connsiteY765" fmla="*/ 699516 h 845819"/>
                <a:gd name="connsiteX766" fmla="*/ 485966 w 1029843"/>
                <a:gd name="connsiteY766" fmla="*/ 699897 h 845819"/>
                <a:gd name="connsiteX767" fmla="*/ 486442 w 1029843"/>
                <a:gd name="connsiteY767" fmla="*/ 703040 h 845819"/>
                <a:gd name="connsiteX768" fmla="*/ 485204 w 1029843"/>
                <a:gd name="connsiteY768" fmla="*/ 706374 h 845819"/>
                <a:gd name="connsiteX769" fmla="*/ 490347 w 1029843"/>
                <a:gd name="connsiteY769" fmla="*/ 708946 h 845819"/>
                <a:gd name="connsiteX770" fmla="*/ 486632 w 1029843"/>
                <a:gd name="connsiteY770" fmla="*/ 717423 h 845819"/>
                <a:gd name="connsiteX771" fmla="*/ 486251 w 1029843"/>
                <a:gd name="connsiteY771" fmla="*/ 727043 h 845819"/>
                <a:gd name="connsiteX772" fmla="*/ 488442 w 1029843"/>
                <a:gd name="connsiteY772" fmla="*/ 731615 h 845819"/>
                <a:gd name="connsiteX773" fmla="*/ 495205 w 1029843"/>
                <a:gd name="connsiteY773" fmla="*/ 733997 h 845819"/>
                <a:gd name="connsiteX774" fmla="*/ 495586 w 1029843"/>
                <a:gd name="connsiteY774" fmla="*/ 737140 h 845819"/>
                <a:gd name="connsiteX775" fmla="*/ 497110 w 1029843"/>
                <a:gd name="connsiteY775" fmla="*/ 736949 h 845819"/>
                <a:gd name="connsiteX776" fmla="*/ 508349 w 1029843"/>
                <a:gd name="connsiteY776" fmla="*/ 737140 h 845819"/>
                <a:gd name="connsiteX777" fmla="*/ 509016 w 1029843"/>
                <a:gd name="connsiteY777" fmla="*/ 741807 h 845819"/>
                <a:gd name="connsiteX778" fmla="*/ 511969 w 1029843"/>
                <a:gd name="connsiteY778" fmla="*/ 739902 h 845819"/>
                <a:gd name="connsiteX779" fmla="*/ 511588 w 1029843"/>
                <a:gd name="connsiteY779" fmla="*/ 736663 h 845819"/>
                <a:gd name="connsiteX780" fmla="*/ 520446 w 1029843"/>
                <a:gd name="connsiteY780" fmla="*/ 730758 h 845819"/>
                <a:gd name="connsiteX781" fmla="*/ 521017 w 1029843"/>
                <a:gd name="connsiteY781" fmla="*/ 722662 h 845819"/>
                <a:gd name="connsiteX782" fmla="*/ 533781 w 1029843"/>
                <a:gd name="connsiteY782" fmla="*/ 722662 h 845819"/>
                <a:gd name="connsiteX783" fmla="*/ 545021 w 1029843"/>
                <a:gd name="connsiteY783" fmla="*/ 722852 h 845819"/>
                <a:gd name="connsiteX784" fmla="*/ 544449 w 1029843"/>
                <a:gd name="connsiteY784" fmla="*/ 705231 h 845819"/>
                <a:gd name="connsiteX785" fmla="*/ 565118 w 1029843"/>
                <a:gd name="connsiteY785" fmla="*/ 704183 h 845819"/>
                <a:gd name="connsiteX786" fmla="*/ 566547 w 1029843"/>
                <a:gd name="connsiteY786" fmla="*/ 702469 h 845819"/>
                <a:gd name="connsiteX787" fmla="*/ 565690 w 1029843"/>
                <a:gd name="connsiteY787" fmla="*/ 696087 h 845819"/>
                <a:gd name="connsiteX788" fmla="*/ 570643 w 1029843"/>
                <a:gd name="connsiteY788" fmla="*/ 697135 h 845819"/>
                <a:gd name="connsiteX789" fmla="*/ 583311 w 1029843"/>
                <a:gd name="connsiteY789" fmla="*/ 708279 h 845819"/>
                <a:gd name="connsiteX790" fmla="*/ 587407 w 1029843"/>
                <a:gd name="connsiteY790" fmla="*/ 702945 h 845819"/>
                <a:gd name="connsiteX791" fmla="*/ 588074 w 1029843"/>
                <a:gd name="connsiteY791" fmla="*/ 707707 h 845819"/>
                <a:gd name="connsiteX792" fmla="*/ 592741 w 1029843"/>
                <a:gd name="connsiteY792" fmla="*/ 707136 h 845819"/>
                <a:gd name="connsiteX793" fmla="*/ 598075 w 1029843"/>
                <a:gd name="connsiteY793" fmla="*/ 711232 h 845819"/>
                <a:gd name="connsiteX794" fmla="*/ 617220 w 1029843"/>
                <a:gd name="connsiteY794" fmla="*/ 710375 h 845819"/>
                <a:gd name="connsiteX795" fmla="*/ 617315 w 1029843"/>
                <a:gd name="connsiteY795" fmla="*/ 723233 h 845819"/>
                <a:gd name="connsiteX796" fmla="*/ 630555 w 1029843"/>
                <a:gd name="connsiteY796" fmla="*/ 726377 h 845819"/>
                <a:gd name="connsiteX797" fmla="*/ 631698 w 1029843"/>
                <a:gd name="connsiteY797" fmla="*/ 735806 h 845819"/>
                <a:gd name="connsiteX798" fmla="*/ 631793 w 1029843"/>
                <a:gd name="connsiteY798" fmla="*/ 761429 h 845819"/>
                <a:gd name="connsiteX799" fmla="*/ 662368 w 1029843"/>
                <a:gd name="connsiteY799" fmla="*/ 762381 h 845819"/>
                <a:gd name="connsiteX800" fmla="*/ 668846 w 1029843"/>
                <a:gd name="connsiteY800" fmla="*/ 763143 h 845819"/>
                <a:gd name="connsiteX801" fmla="*/ 674465 w 1029843"/>
                <a:gd name="connsiteY801" fmla="*/ 781717 h 845819"/>
                <a:gd name="connsiteX802" fmla="*/ 675418 w 1029843"/>
                <a:gd name="connsiteY802" fmla="*/ 789623 h 845819"/>
                <a:gd name="connsiteX803" fmla="*/ 677418 w 1029843"/>
                <a:gd name="connsiteY803" fmla="*/ 792575 h 845819"/>
                <a:gd name="connsiteX804" fmla="*/ 680561 w 1029843"/>
                <a:gd name="connsiteY804" fmla="*/ 792099 h 845819"/>
                <a:gd name="connsiteX805" fmla="*/ 687134 w 1029843"/>
                <a:gd name="connsiteY805" fmla="*/ 792956 h 845819"/>
                <a:gd name="connsiteX806" fmla="*/ 689039 w 1029843"/>
                <a:gd name="connsiteY806" fmla="*/ 795909 h 845819"/>
                <a:gd name="connsiteX807" fmla="*/ 693801 w 1029843"/>
                <a:gd name="connsiteY807" fmla="*/ 795242 h 845819"/>
                <a:gd name="connsiteX808" fmla="*/ 695611 w 1029843"/>
                <a:gd name="connsiteY808" fmla="*/ 796671 h 845819"/>
                <a:gd name="connsiteX809" fmla="*/ 701707 w 1029843"/>
                <a:gd name="connsiteY809" fmla="*/ 794290 h 845819"/>
                <a:gd name="connsiteX810" fmla="*/ 710565 w 1029843"/>
                <a:gd name="connsiteY810" fmla="*/ 801148 h 845819"/>
                <a:gd name="connsiteX811" fmla="*/ 713613 w 1029843"/>
                <a:gd name="connsiteY811" fmla="*/ 812006 h 845819"/>
                <a:gd name="connsiteX812" fmla="*/ 722471 w 1029843"/>
                <a:gd name="connsiteY812" fmla="*/ 818864 h 845819"/>
                <a:gd name="connsiteX813" fmla="*/ 724091 w 1029843"/>
                <a:gd name="connsiteY813" fmla="*/ 818674 h 845819"/>
                <a:gd name="connsiteX814" fmla="*/ 725234 w 1029843"/>
                <a:gd name="connsiteY814" fmla="*/ 815340 h 845819"/>
                <a:gd name="connsiteX815" fmla="*/ 728186 w 1029843"/>
                <a:gd name="connsiteY815" fmla="*/ 813340 h 845819"/>
                <a:gd name="connsiteX816" fmla="*/ 734092 w 1029843"/>
                <a:gd name="connsiteY816" fmla="*/ 822198 h 845819"/>
                <a:gd name="connsiteX817" fmla="*/ 735711 w 1029843"/>
                <a:gd name="connsiteY817" fmla="*/ 822007 h 845819"/>
                <a:gd name="connsiteX818" fmla="*/ 738854 w 1029843"/>
                <a:gd name="connsiteY818" fmla="*/ 821627 h 845819"/>
                <a:gd name="connsiteX819" fmla="*/ 740664 w 1029843"/>
                <a:gd name="connsiteY819" fmla="*/ 822960 h 845819"/>
                <a:gd name="connsiteX820" fmla="*/ 741998 w 1029843"/>
                <a:gd name="connsiteY820" fmla="*/ 821150 h 845819"/>
                <a:gd name="connsiteX821" fmla="*/ 743807 w 1029843"/>
                <a:gd name="connsiteY821" fmla="*/ 822579 h 845819"/>
                <a:gd name="connsiteX822" fmla="*/ 746951 w 1029843"/>
                <a:gd name="connsiteY822" fmla="*/ 822198 h 845819"/>
                <a:gd name="connsiteX823" fmla="*/ 751523 w 1029843"/>
                <a:gd name="connsiteY823" fmla="*/ 832866 h 845819"/>
                <a:gd name="connsiteX824" fmla="*/ 756666 w 1029843"/>
                <a:gd name="connsiteY824" fmla="*/ 835343 h 845819"/>
                <a:gd name="connsiteX825" fmla="*/ 758285 w 1029843"/>
                <a:gd name="connsiteY825" fmla="*/ 835152 h 845819"/>
                <a:gd name="connsiteX826" fmla="*/ 757047 w 1029843"/>
                <a:gd name="connsiteY826" fmla="*/ 838486 h 845819"/>
                <a:gd name="connsiteX827" fmla="*/ 759047 w 1029843"/>
                <a:gd name="connsiteY827" fmla="*/ 841438 h 845819"/>
                <a:gd name="connsiteX828" fmla="*/ 762762 w 1029843"/>
                <a:gd name="connsiteY828" fmla="*/ 845820 h 845819"/>
                <a:gd name="connsiteX829" fmla="*/ 764191 w 1029843"/>
                <a:gd name="connsiteY829" fmla="*/ 844010 h 845819"/>
                <a:gd name="connsiteX830" fmla="*/ 769144 w 1029843"/>
                <a:gd name="connsiteY830" fmla="*/ 844963 h 845819"/>
                <a:gd name="connsiteX831" fmla="*/ 771716 w 1029843"/>
                <a:gd name="connsiteY831" fmla="*/ 839915 h 845819"/>
                <a:gd name="connsiteX832" fmla="*/ 778193 w 1029843"/>
                <a:gd name="connsiteY832" fmla="*/ 840677 h 845819"/>
                <a:gd name="connsiteX833" fmla="*/ 780955 w 1029843"/>
                <a:gd name="connsiteY833" fmla="*/ 837057 h 845819"/>
                <a:gd name="connsiteX834" fmla="*/ 784670 w 1029843"/>
                <a:gd name="connsiteY834" fmla="*/ 841438 h 845819"/>
                <a:gd name="connsiteX835" fmla="*/ 793528 w 1029843"/>
                <a:gd name="connsiteY835" fmla="*/ 835438 h 845819"/>
                <a:gd name="connsiteX836" fmla="*/ 793337 w 1029843"/>
                <a:gd name="connsiteY836" fmla="*/ 833914 h 845819"/>
                <a:gd name="connsiteX837" fmla="*/ 794576 w 1029843"/>
                <a:gd name="connsiteY837" fmla="*/ 830580 h 845819"/>
                <a:gd name="connsiteX838" fmla="*/ 792575 w 1029843"/>
                <a:gd name="connsiteY838" fmla="*/ 827627 h 845819"/>
                <a:gd name="connsiteX839" fmla="*/ 794099 w 1029843"/>
                <a:gd name="connsiteY839" fmla="*/ 827437 h 845819"/>
                <a:gd name="connsiteX840" fmla="*/ 794385 w 1029843"/>
                <a:gd name="connsiteY840" fmla="*/ 828961 h 845819"/>
                <a:gd name="connsiteX841" fmla="*/ 799052 w 1029843"/>
                <a:gd name="connsiteY841" fmla="*/ 828389 h 845819"/>
                <a:gd name="connsiteX842" fmla="*/ 800862 w 1029843"/>
                <a:gd name="connsiteY842" fmla="*/ 829723 h 845819"/>
                <a:gd name="connsiteX843" fmla="*/ 796766 w 1029843"/>
                <a:gd name="connsiteY843" fmla="*/ 835057 h 845819"/>
                <a:gd name="connsiteX844" fmla="*/ 796957 w 1029843"/>
                <a:gd name="connsiteY844" fmla="*/ 836676 h 845819"/>
                <a:gd name="connsiteX845" fmla="*/ 797528 w 1029843"/>
                <a:gd name="connsiteY845" fmla="*/ 841438 h 845819"/>
                <a:gd name="connsiteX846" fmla="*/ 809911 w 1029843"/>
                <a:gd name="connsiteY846" fmla="*/ 838200 h 845819"/>
                <a:gd name="connsiteX847" fmla="*/ 813054 w 1029843"/>
                <a:gd name="connsiteY847" fmla="*/ 837819 h 845819"/>
                <a:gd name="connsiteX848" fmla="*/ 814673 w 1029843"/>
                <a:gd name="connsiteY848" fmla="*/ 837629 h 845819"/>
                <a:gd name="connsiteX849" fmla="*/ 816102 w 1029843"/>
                <a:gd name="connsiteY849" fmla="*/ 835819 h 845819"/>
                <a:gd name="connsiteX850" fmla="*/ 822770 w 1029843"/>
                <a:gd name="connsiteY850" fmla="*/ 838200 h 845819"/>
                <a:gd name="connsiteX851" fmla="*/ 820960 w 1029843"/>
                <a:gd name="connsiteY851" fmla="*/ 836771 h 845819"/>
                <a:gd name="connsiteX852" fmla="*/ 822198 w 1029843"/>
                <a:gd name="connsiteY852" fmla="*/ 833438 h 845819"/>
                <a:gd name="connsiteX853" fmla="*/ 820388 w 1029843"/>
                <a:gd name="connsiteY853" fmla="*/ 832104 h 845819"/>
                <a:gd name="connsiteX854" fmla="*/ 827151 w 1029843"/>
                <a:gd name="connsiteY854" fmla="*/ 834390 h 845819"/>
                <a:gd name="connsiteX855" fmla="*/ 828484 w 1029843"/>
                <a:gd name="connsiteY855" fmla="*/ 832676 h 845819"/>
                <a:gd name="connsiteX856" fmla="*/ 833818 w 1029843"/>
                <a:gd name="connsiteY856" fmla="*/ 836771 h 845819"/>
                <a:gd name="connsiteX857" fmla="*/ 837152 w 1029843"/>
                <a:gd name="connsiteY857" fmla="*/ 837914 h 845819"/>
                <a:gd name="connsiteX858" fmla="*/ 857345 w 1029843"/>
                <a:gd name="connsiteY858" fmla="*/ 844963 h 845819"/>
                <a:gd name="connsiteX859" fmla="*/ 855917 w 1029843"/>
                <a:gd name="connsiteY859" fmla="*/ 833914 h 845819"/>
                <a:gd name="connsiteX860" fmla="*/ 852583 w 1029843"/>
                <a:gd name="connsiteY860" fmla="*/ 832771 h 845819"/>
                <a:gd name="connsiteX861" fmla="*/ 850201 w 1029843"/>
                <a:gd name="connsiteY861" fmla="*/ 826675 h 845819"/>
                <a:gd name="connsiteX862" fmla="*/ 845058 w 1029843"/>
                <a:gd name="connsiteY862" fmla="*/ 824103 h 845819"/>
                <a:gd name="connsiteX863" fmla="*/ 844391 w 1029843"/>
                <a:gd name="connsiteY863" fmla="*/ 819340 h 845819"/>
                <a:gd name="connsiteX864" fmla="*/ 846201 w 1029843"/>
                <a:gd name="connsiteY864" fmla="*/ 820769 h 845819"/>
                <a:gd name="connsiteX865" fmla="*/ 847344 w 1029843"/>
                <a:gd name="connsiteY865" fmla="*/ 817436 h 845819"/>
                <a:gd name="connsiteX866" fmla="*/ 845153 w 1029843"/>
                <a:gd name="connsiteY866" fmla="*/ 812863 h 845819"/>
                <a:gd name="connsiteX867" fmla="*/ 849916 w 1029843"/>
                <a:gd name="connsiteY867" fmla="*/ 812292 h 845819"/>
                <a:gd name="connsiteX868" fmla="*/ 851345 w 1029843"/>
                <a:gd name="connsiteY868" fmla="*/ 810482 h 845819"/>
                <a:gd name="connsiteX869" fmla="*/ 856679 w 1029843"/>
                <a:gd name="connsiteY869" fmla="*/ 814578 h 845819"/>
                <a:gd name="connsiteX870" fmla="*/ 859250 w 1029843"/>
                <a:gd name="connsiteY870" fmla="*/ 809434 h 845819"/>
                <a:gd name="connsiteX871" fmla="*/ 865537 w 1029843"/>
                <a:gd name="connsiteY871" fmla="*/ 808673 h 845819"/>
                <a:gd name="connsiteX872" fmla="*/ 866680 w 1029843"/>
                <a:gd name="connsiteY872" fmla="*/ 805339 h 845819"/>
                <a:gd name="connsiteX873" fmla="*/ 872585 w 1029843"/>
                <a:gd name="connsiteY873" fmla="*/ 801338 h 845819"/>
                <a:gd name="connsiteX874" fmla="*/ 867251 w 1029843"/>
                <a:gd name="connsiteY874" fmla="*/ 797243 h 845819"/>
                <a:gd name="connsiteX875" fmla="*/ 863537 w 1029843"/>
                <a:gd name="connsiteY875" fmla="*/ 792861 h 845819"/>
                <a:gd name="connsiteX876" fmla="*/ 862108 w 1029843"/>
                <a:gd name="connsiteY876" fmla="*/ 794671 h 845819"/>
                <a:gd name="connsiteX877" fmla="*/ 859726 w 1029843"/>
                <a:gd name="connsiteY877" fmla="*/ 788575 h 845819"/>
                <a:gd name="connsiteX878" fmla="*/ 863632 w 1029843"/>
                <a:gd name="connsiteY878" fmla="*/ 781622 h 845819"/>
                <a:gd name="connsiteX879" fmla="*/ 869823 w 1029843"/>
                <a:gd name="connsiteY879" fmla="*/ 779240 h 845819"/>
                <a:gd name="connsiteX880" fmla="*/ 869156 w 1029843"/>
                <a:gd name="connsiteY880" fmla="*/ 774573 h 845819"/>
                <a:gd name="connsiteX881" fmla="*/ 873919 w 1029843"/>
                <a:gd name="connsiteY881" fmla="*/ 773906 h 845819"/>
                <a:gd name="connsiteX882" fmla="*/ 885158 w 1029843"/>
                <a:gd name="connsiteY882" fmla="*/ 774097 h 845819"/>
                <a:gd name="connsiteX883" fmla="*/ 897541 w 1029843"/>
                <a:gd name="connsiteY883" fmla="*/ 758095 h 845819"/>
                <a:gd name="connsiteX884" fmla="*/ 897350 w 1029843"/>
                <a:gd name="connsiteY884" fmla="*/ 756476 h 845819"/>
                <a:gd name="connsiteX885" fmla="*/ 902113 w 1029843"/>
                <a:gd name="connsiteY885" fmla="*/ 755904 h 845819"/>
                <a:gd name="connsiteX886" fmla="*/ 903923 w 1029843"/>
                <a:gd name="connsiteY886" fmla="*/ 757238 h 845819"/>
                <a:gd name="connsiteX887" fmla="*/ 907256 w 1029843"/>
                <a:gd name="connsiteY887" fmla="*/ 758476 h 845819"/>
                <a:gd name="connsiteX888" fmla="*/ 906875 w 1029843"/>
                <a:gd name="connsiteY888" fmla="*/ 755332 h 845819"/>
                <a:gd name="connsiteX889" fmla="*/ 910018 w 1029843"/>
                <a:gd name="connsiteY889" fmla="*/ 754856 h 845819"/>
                <a:gd name="connsiteX890" fmla="*/ 909542 w 1029843"/>
                <a:gd name="connsiteY890" fmla="*/ 751713 h 845819"/>
                <a:gd name="connsiteX891" fmla="*/ 912781 w 1029843"/>
                <a:gd name="connsiteY891" fmla="*/ 751332 h 845819"/>
                <a:gd name="connsiteX892" fmla="*/ 915734 w 1029843"/>
                <a:gd name="connsiteY892" fmla="*/ 749332 h 845819"/>
                <a:gd name="connsiteX893" fmla="*/ 919448 w 1029843"/>
                <a:gd name="connsiteY893" fmla="*/ 753713 h 845819"/>
                <a:gd name="connsiteX894" fmla="*/ 922210 w 1029843"/>
                <a:gd name="connsiteY894" fmla="*/ 750094 h 845819"/>
                <a:gd name="connsiteX895" fmla="*/ 921830 w 1029843"/>
                <a:gd name="connsiteY895" fmla="*/ 746951 h 845819"/>
                <a:gd name="connsiteX896" fmla="*/ 918496 w 1029843"/>
                <a:gd name="connsiteY896" fmla="*/ 745807 h 845819"/>
                <a:gd name="connsiteX897" fmla="*/ 926116 w 1029843"/>
                <a:gd name="connsiteY897" fmla="*/ 743236 h 845819"/>
                <a:gd name="connsiteX898" fmla="*/ 925735 w 1029843"/>
                <a:gd name="connsiteY898" fmla="*/ 740093 h 845819"/>
                <a:gd name="connsiteX899" fmla="*/ 927354 w 1029843"/>
                <a:gd name="connsiteY899" fmla="*/ 739807 h 845819"/>
                <a:gd name="connsiteX900" fmla="*/ 927735 w 1029843"/>
                <a:gd name="connsiteY900" fmla="*/ 743045 h 845819"/>
                <a:gd name="connsiteX901" fmla="*/ 937165 w 1029843"/>
                <a:gd name="connsiteY901" fmla="*/ 741807 h 845819"/>
                <a:gd name="connsiteX902" fmla="*/ 937355 w 1029843"/>
                <a:gd name="connsiteY902" fmla="*/ 743426 h 845819"/>
                <a:gd name="connsiteX903" fmla="*/ 939927 w 1029843"/>
                <a:gd name="connsiteY903" fmla="*/ 738283 h 845819"/>
                <a:gd name="connsiteX904" fmla="*/ 941546 w 1029843"/>
                <a:gd name="connsiteY904" fmla="*/ 737997 h 845819"/>
                <a:gd name="connsiteX905" fmla="*/ 944309 w 1029843"/>
                <a:gd name="connsiteY905" fmla="*/ 734473 h 845819"/>
                <a:gd name="connsiteX906" fmla="*/ 951929 w 1029843"/>
                <a:gd name="connsiteY906" fmla="*/ 731901 h 845819"/>
                <a:gd name="connsiteX907" fmla="*/ 954500 w 1029843"/>
                <a:gd name="connsiteY907" fmla="*/ 726757 h 845819"/>
                <a:gd name="connsiteX908" fmla="*/ 954881 w 1029843"/>
                <a:gd name="connsiteY908" fmla="*/ 704279 h 845819"/>
                <a:gd name="connsiteX909" fmla="*/ 960596 w 1029843"/>
                <a:gd name="connsiteY909" fmla="*/ 698754 h 845819"/>
                <a:gd name="connsiteX910" fmla="*/ 967073 w 1029843"/>
                <a:gd name="connsiteY910" fmla="*/ 699516 h 845819"/>
                <a:gd name="connsiteX911" fmla="*/ 968502 w 1029843"/>
                <a:gd name="connsiteY911" fmla="*/ 697706 h 845819"/>
                <a:gd name="connsiteX912" fmla="*/ 972217 w 1029843"/>
                <a:gd name="connsiteY912" fmla="*/ 702088 h 845819"/>
                <a:gd name="connsiteX913" fmla="*/ 975360 w 1029843"/>
                <a:gd name="connsiteY913" fmla="*/ 701707 h 845819"/>
                <a:gd name="connsiteX914" fmla="*/ 983837 w 1029843"/>
                <a:gd name="connsiteY914" fmla="*/ 705422 h 845819"/>
                <a:gd name="connsiteX915" fmla="*/ 986885 w 1029843"/>
                <a:gd name="connsiteY915" fmla="*/ 716185 h 845819"/>
                <a:gd name="connsiteX916" fmla="*/ 989838 w 1029843"/>
                <a:gd name="connsiteY916" fmla="*/ 714280 h 845819"/>
                <a:gd name="connsiteX917" fmla="*/ 993553 w 1029843"/>
                <a:gd name="connsiteY917" fmla="*/ 718566 h 845819"/>
                <a:gd name="connsiteX918" fmla="*/ 995363 w 1029843"/>
                <a:gd name="connsiteY918" fmla="*/ 719995 h 845819"/>
                <a:gd name="connsiteX919" fmla="*/ 998315 w 1029843"/>
                <a:gd name="connsiteY919" fmla="*/ 717995 h 845819"/>
                <a:gd name="connsiteX920" fmla="*/ 1019080 w 1029843"/>
                <a:gd name="connsiteY920" fmla="*/ 729805 h 845819"/>
                <a:gd name="connsiteX921" fmla="*/ 1020413 w 1029843"/>
                <a:gd name="connsiteY921" fmla="*/ 727996 h 845819"/>
                <a:gd name="connsiteX922" fmla="*/ 1022223 w 1029843"/>
                <a:gd name="connsiteY922" fmla="*/ 729329 h 845819"/>
                <a:gd name="connsiteX923" fmla="*/ 1026509 w 1029843"/>
                <a:gd name="connsiteY923" fmla="*/ 725615 h 845819"/>
                <a:gd name="connsiteX924" fmla="*/ 1029272 w 1029843"/>
                <a:gd name="connsiteY924" fmla="*/ 722090 h 845819"/>
                <a:gd name="connsiteX925" fmla="*/ 1027081 w 1029843"/>
                <a:gd name="connsiteY925" fmla="*/ 717518 h 845819"/>
                <a:gd name="connsiteX926" fmla="*/ 1029843 w 1029843"/>
                <a:gd name="connsiteY926" fmla="*/ 713994 h 845819"/>
                <a:gd name="connsiteX927" fmla="*/ 1029843 w 1029843"/>
                <a:gd name="connsiteY927" fmla="*/ 713994 h 845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</a:cxnLst>
              <a:rect l="l" t="t" r="r" b="b"/>
              <a:pathLst>
                <a:path w="1029843" h="845819">
                  <a:moveTo>
                    <a:pt x="1029843" y="713994"/>
                  </a:moveTo>
                  <a:lnTo>
                    <a:pt x="1026319" y="711232"/>
                  </a:lnTo>
                  <a:lnTo>
                    <a:pt x="1024128" y="706660"/>
                  </a:lnTo>
                  <a:lnTo>
                    <a:pt x="1013651" y="699992"/>
                  </a:lnTo>
                  <a:lnTo>
                    <a:pt x="1011079" y="692277"/>
                  </a:lnTo>
                  <a:lnTo>
                    <a:pt x="1010888" y="690753"/>
                  </a:lnTo>
                  <a:lnTo>
                    <a:pt x="1014603" y="682276"/>
                  </a:lnTo>
                  <a:lnTo>
                    <a:pt x="1012412" y="677704"/>
                  </a:lnTo>
                  <a:lnTo>
                    <a:pt x="1009079" y="676561"/>
                  </a:lnTo>
                  <a:lnTo>
                    <a:pt x="1010222" y="673132"/>
                  </a:lnTo>
                  <a:lnTo>
                    <a:pt x="1007650" y="665512"/>
                  </a:lnTo>
                  <a:lnTo>
                    <a:pt x="1008602" y="660559"/>
                  </a:lnTo>
                  <a:lnTo>
                    <a:pt x="1008031" y="655796"/>
                  </a:lnTo>
                  <a:lnTo>
                    <a:pt x="1010984" y="653796"/>
                  </a:lnTo>
                  <a:lnTo>
                    <a:pt x="1012126" y="650462"/>
                  </a:lnTo>
                  <a:lnTo>
                    <a:pt x="1009555" y="642747"/>
                  </a:lnTo>
                  <a:lnTo>
                    <a:pt x="1006412" y="643223"/>
                  </a:lnTo>
                  <a:lnTo>
                    <a:pt x="1008793" y="636461"/>
                  </a:lnTo>
                  <a:lnTo>
                    <a:pt x="1003649" y="633889"/>
                  </a:lnTo>
                  <a:lnTo>
                    <a:pt x="1002601" y="625983"/>
                  </a:lnTo>
                  <a:lnTo>
                    <a:pt x="995458" y="620554"/>
                  </a:lnTo>
                  <a:lnTo>
                    <a:pt x="994886" y="615791"/>
                  </a:lnTo>
                  <a:lnTo>
                    <a:pt x="988600" y="616553"/>
                  </a:lnTo>
                  <a:lnTo>
                    <a:pt x="983647" y="615601"/>
                  </a:lnTo>
                  <a:lnTo>
                    <a:pt x="977551" y="605123"/>
                  </a:lnTo>
                  <a:lnTo>
                    <a:pt x="978503" y="600265"/>
                  </a:lnTo>
                  <a:lnTo>
                    <a:pt x="973550" y="599218"/>
                  </a:lnTo>
                  <a:lnTo>
                    <a:pt x="972502" y="591407"/>
                  </a:lnTo>
                  <a:lnTo>
                    <a:pt x="969169" y="590169"/>
                  </a:lnTo>
                  <a:lnTo>
                    <a:pt x="964406" y="590836"/>
                  </a:lnTo>
                  <a:lnTo>
                    <a:pt x="962501" y="587788"/>
                  </a:lnTo>
                  <a:lnTo>
                    <a:pt x="960692" y="586454"/>
                  </a:lnTo>
                  <a:lnTo>
                    <a:pt x="960120" y="581692"/>
                  </a:lnTo>
                  <a:lnTo>
                    <a:pt x="953167" y="577786"/>
                  </a:lnTo>
                  <a:lnTo>
                    <a:pt x="952595" y="573024"/>
                  </a:lnTo>
                  <a:lnTo>
                    <a:pt x="943070" y="561404"/>
                  </a:lnTo>
                  <a:lnTo>
                    <a:pt x="944213" y="558070"/>
                  </a:lnTo>
                  <a:lnTo>
                    <a:pt x="942023" y="553593"/>
                  </a:lnTo>
                  <a:lnTo>
                    <a:pt x="941642" y="550355"/>
                  </a:lnTo>
                  <a:lnTo>
                    <a:pt x="930783" y="540544"/>
                  </a:lnTo>
                  <a:lnTo>
                    <a:pt x="926401" y="531495"/>
                  </a:lnTo>
                  <a:lnTo>
                    <a:pt x="922687" y="527113"/>
                  </a:lnTo>
                  <a:lnTo>
                    <a:pt x="922020" y="522446"/>
                  </a:lnTo>
                  <a:lnTo>
                    <a:pt x="918305" y="518065"/>
                  </a:lnTo>
                  <a:lnTo>
                    <a:pt x="907256" y="519494"/>
                  </a:lnTo>
                  <a:lnTo>
                    <a:pt x="903923" y="518350"/>
                  </a:lnTo>
                  <a:lnTo>
                    <a:pt x="900970" y="520255"/>
                  </a:lnTo>
                  <a:lnTo>
                    <a:pt x="899732" y="523684"/>
                  </a:lnTo>
                  <a:lnTo>
                    <a:pt x="896588" y="524065"/>
                  </a:lnTo>
                  <a:lnTo>
                    <a:pt x="885730" y="514255"/>
                  </a:lnTo>
                  <a:lnTo>
                    <a:pt x="878776" y="497491"/>
                  </a:lnTo>
                  <a:lnTo>
                    <a:pt x="869728" y="489013"/>
                  </a:lnTo>
                  <a:lnTo>
                    <a:pt x="869251" y="485870"/>
                  </a:lnTo>
                  <a:lnTo>
                    <a:pt x="873443" y="480536"/>
                  </a:lnTo>
                  <a:lnTo>
                    <a:pt x="871061" y="474440"/>
                  </a:lnTo>
                  <a:lnTo>
                    <a:pt x="873824" y="470821"/>
                  </a:lnTo>
                  <a:lnTo>
                    <a:pt x="869823" y="464915"/>
                  </a:lnTo>
                  <a:lnTo>
                    <a:pt x="869061" y="458629"/>
                  </a:lnTo>
                  <a:lnTo>
                    <a:pt x="867061" y="455676"/>
                  </a:lnTo>
                  <a:lnTo>
                    <a:pt x="862489" y="457867"/>
                  </a:lnTo>
                  <a:lnTo>
                    <a:pt x="858965" y="455105"/>
                  </a:lnTo>
                  <a:lnTo>
                    <a:pt x="852868" y="457486"/>
                  </a:lnTo>
                  <a:lnTo>
                    <a:pt x="844391" y="453771"/>
                  </a:lnTo>
                  <a:lnTo>
                    <a:pt x="838200" y="456152"/>
                  </a:lnTo>
                  <a:lnTo>
                    <a:pt x="831342" y="452152"/>
                  </a:lnTo>
                  <a:lnTo>
                    <a:pt x="829723" y="452438"/>
                  </a:lnTo>
                  <a:lnTo>
                    <a:pt x="825246" y="454533"/>
                  </a:lnTo>
                  <a:lnTo>
                    <a:pt x="821531" y="463105"/>
                  </a:lnTo>
                  <a:lnTo>
                    <a:pt x="821912" y="466249"/>
                  </a:lnTo>
                  <a:lnTo>
                    <a:pt x="816007" y="470154"/>
                  </a:lnTo>
                  <a:lnTo>
                    <a:pt x="811244" y="470821"/>
                  </a:lnTo>
                  <a:lnTo>
                    <a:pt x="809816" y="459772"/>
                  </a:lnTo>
                  <a:lnTo>
                    <a:pt x="802672" y="454247"/>
                  </a:lnTo>
                  <a:lnTo>
                    <a:pt x="803720" y="449294"/>
                  </a:lnTo>
                  <a:lnTo>
                    <a:pt x="801148" y="441579"/>
                  </a:lnTo>
                  <a:lnTo>
                    <a:pt x="799148" y="438626"/>
                  </a:lnTo>
                  <a:lnTo>
                    <a:pt x="789623" y="439865"/>
                  </a:lnTo>
                  <a:lnTo>
                    <a:pt x="789242" y="436721"/>
                  </a:lnTo>
                  <a:lnTo>
                    <a:pt x="792956" y="428244"/>
                  </a:lnTo>
                  <a:lnTo>
                    <a:pt x="791242" y="426815"/>
                  </a:lnTo>
                  <a:lnTo>
                    <a:pt x="784289" y="422910"/>
                  </a:lnTo>
                  <a:lnTo>
                    <a:pt x="783717" y="418148"/>
                  </a:lnTo>
                  <a:lnTo>
                    <a:pt x="778764" y="417195"/>
                  </a:lnTo>
                  <a:lnTo>
                    <a:pt x="771620" y="424529"/>
                  </a:lnTo>
                  <a:lnTo>
                    <a:pt x="763143" y="420815"/>
                  </a:lnTo>
                  <a:lnTo>
                    <a:pt x="765715" y="415671"/>
                  </a:lnTo>
                  <a:lnTo>
                    <a:pt x="760762" y="401860"/>
                  </a:lnTo>
                  <a:lnTo>
                    <a:pt x="757238" y="399098"/>
                  </a:lnTo>
                  <a:lnTo>
                    <a:pt x="752475" y="399669"/>
                  </a:lnTo>
                  <a:lnTo>
                    <a:pt x="751904" y="395002"/>
                  </a:lnTo>
                  <a:lnTo>
                    <a:pt x="753237" y="393192"/>
                  </a:lnTo>
                  <a:lnTo>
                    <a:pt x="755618" y="386429"/>
                  </a:lnTo>
                  <a:lnTo>
                    <a:pt x="759524" y="379571"/>
                  </a:lnTo>
                  <a:lnTo>
                    <a:pt x="762286" y="375952"/>
                  </a:lnTo>
                  <a:lnTo>
                    <a:pt x="763619" y="374237"/>
                  </a:lnTo>
                  <a:lnTo>
                    <a:pt x="768382" y="373571"/>
                  </a:lnTo>
                  <a:lnTo>
                    <a:pt x="768953" y="378333"/>
                  </a:lnTo>
                  <a:lnTo>
                    <a:pt x="771334" y="384429"/>
                  </a:lnTo>
                  <a:lnTo>
                    <a:pt x="777716" y="383667"/>
                  </a:lnTo>
                  <a:lnTo>
                    <a:pt x="778478" y="377095"/>
                  </a:lnTo>
                  <a:lnTo>
                    <a:pt x="776097" y="370999"/>
                  </a:lnTo>
                  <a:lnTo>
                    <a:pt x="772477" y="368236"/>
                  </a:lnTo>
                  <a:lnTo>
                    <a:pt x="769144" y="367094"/>
                  </a:lnTo>
                  <a:lnTo>
                    <a:pt x="772097" y="365093"/>
                  </a:lnTo>
                  <a:lnTo>
                    <a:pt x="780002" y="364141"/>
                  </a:lnTo>
                  <a:lnTo>
                    <a:pt x="777621" y="358045"/>
                  </a:lnTo>
                  <a:lnTo>
                    <a:pt x="785908" y="360140"/>
                  </a:lnTo>
                  <a:lnTo>
                    <a:pt x="793433" y="355949"/>
                  </a:lnTo>
                  <a:lnTo>
                    <a:pt x="789242" y="348520"/>
                  </a:lnTo>
                  <a:lnTo>
                    <a:pt x="796576" y="342805"/>
                  </a:lnTo>
                  <a:lnTo>
                    <a:pt x="799719" y="342329"/>
                  </a:lnTo>
                  <a:lnTo>
                    <a:pt x="803243" y="345091"/>
                  </a:lnTo>
                  <a:lnTo>
                    <a:pt x="806387" y="344710"/>
                  </a:lnTo>
                  <a:lnTo>
                    <a:pt x="802481" y="338804"/>
                  </a:lnTo>
                  <a:lnTo>
                    <a:pt x="803815" y="336994"/>
                  </a:lnTo>
                  <a:lnTo>
                    <a:pt x="805815" y="339947"/>
                  </a:lnTo>
                  <a:lnTo>
                    <a:pt x="812483" y="342329"/>
                  </a:lnTo>
                  <a:lnTo>
                    <a:pt x="815435" y="340328"/>
                  </a:lnTo>
                  <a:lnTo>
                    <a:pt x="819055" y="343090"/>
                  </a:lnTo>
                  <a:lnTo>
                    <a:pt x="824293" y="334423"/>
                  </a:lnTo>
                  <a:lnTo>
                    <a:pt x="823722" y="329660"/>
                  </a:lnTo>
                  <a:lnTo>
                    <a:pt x="829818" y="327279"/>
                  </a:lnTo>
                  <a:lnTo>
                    <a:pt x="831247" y="325469"/>
                  </a:lnTo>
                  <a:lnTo>
                    <a:pt x="828389" y="316230"/>
                  </a:lnTo>
                  <a:lnTo>
                    <a:pt x="829627" y="312896"/>
                  </a:lnTo>
                  <a:lnTo>
                    <a:pt x="835724" y="310515"/>
                  </a:lnTo>
                  <a:lnTo>
                    <a:pt x="837343" y="310325"/>
                  </a:lnTo>
                  <a:lnTo>
                    <a:pt x="844201" y="314230"/>
                  </a:lnTo>
                  <a:lnTo>
                    <a:pt x="846201" y="317182"/>
                  </a:lnTo>
                  <a:lnTo>
                    <a:pt x="853345" y="322707"/>
                  </a:lnTo>
                  <a:lnTo>
                    <a:pt x="863727" y="316516"/>
                  </a:lnTo>
                  <a:lnTo>
                    <a:pt x="872776" y="299371"/>
                  </a:lnTo>
                  <a:lnTo>
                    <a:pt x="881825" y="294989"/>
                  </a:lnTo>
                  <a:lnTo>
                    <a:pt x="891921" y="285750"/>
                  </a:lnTo>
                  <a:lnTo>
                    <a:pt x="891540" y="282511"/>
                  </a:lnTo>
                  <a:lnTo>
                    <a:pt x="889540" y="279559"/>
                  </a:lnTo>
                  <a:lnTo>
                    <a:pt x="891064" y="279368"/>
                  </a:lnTo>
                  <a:lnTo>
                    <a:pt x="881825" y="269367"/>
                  </a:lnTo>
                  <a:lnTo>
                    <a:pt x="888111" y="268510"/>
                  </a:lnTo>
                  <a:lnTo>
                    <a:pt x="898589" y="262414"/>
                  </a:lnTo>
                  <a:lnTo>
                    <a:pt x="898970" y="252698"/>
                  </a:lnTo>
                  <a:lnTo>
                    <a:pt x="892778" y="242316"/>
                  </a:lnTo>
                  <a:lnTo>
                    <a:pt x="893921" y="238982"/>
                  </a:lnTo>
                  <a:lnTo>
                    <a:pt x="903637" y="239268"/>
                  </a:lnTo>
                  <a:lnTo>
                    <a:pt x="908209" y="237172"/>
                  </a:lnTo>
                  <a:lnTo>
                    <a:pt x="921163" y="225838"/>
                  </a:lnTo>
                  <a:lnTo>
                    <a:pt x="920401" y="219551"/>
                  </a:lnTo>
                  <a:lnTo>
                    <a:pt x="917734" y="211836"/>
                  </a:lnTo>
                  <a:lnTo>
                    <a:pt x="908685" y="203359"/>
                  </a:lnTo>
                  <a:lnTo>
                    <a:pt x="906113" y="195739"/>
                  </a:lnTo>
                  <a:lnTo>
                    <a:pt x="897446" y="190405"/>
                  </a:lnTo>
                  <a:lnTo>
                    <a:pt x="893445" y="184499"/>
                  </a:lnTo>
                  <a:lnTo>
                    <a:pt x="885158" y="182309"/>
                  </a:lnTo>
                  <a:lnTo>
                    <a:pt x="875252" y="167545"/>
                  </a:lnTo>
                  <a:lnTo>
                    <a:pt x="874395" y="161258"/>
                  </a:lnTo>
                  <a:lnTo>
                    <a:pt x="872871" y="161449"/>
                  </a:lnTo>
                  <a:lnTo>
                    <a:pt x="869728" y="161830"/>
                  </a:lnTo>
                  <a:lnTo>
                    <a:pt x="867727" y="158877"/>
                  </a:lnTo>
                  <a:lnTo>
                    <a:pt x="863156" y="148209"/>
                  </a:lnTo>
                  <a:lnTo>
                    <a:pt x="855250" y="149257"/>
                  </a:lnTo>
                  <a:lnTo>
                    <a:pt x="854678" y="144494"/>
                  </a:lnTo>
                  <a:lnTo>
                    <a:pt x="848297" y="132493"/>
                  </a:lnTo>
                  <a:lnTo>
                    <a:pt x="834866" y="127825"/>
                  </a:lnTo>
                  <a:lnTo>
                    <a:pt x="828580" y="128588"/>
                  </a:lnTo>
                  <a:lnTo>
                    <a:pt x="824675" y="135541"/>
                  </a:lnTo>
                  <a:lnTo>
                    <a:pt x="818102" y="134779"/>
                  </a:lnTo>
                  <a:lnTo>
                    <a:pt x="806863" y="134588"/>
                  </a:lnTo>
                  <a:lnTo>
                    <a:pt x="805720" y="125063"/>
                  </a:lnTo>
                  <a:lnTo>
                    <a:pt x="804101" y="125254"/>
                  </a:lnTo>
                  <a:lnTo>
                    <a:pt x="800957" y="125730"/>
                  </a:lnTo>
                  <a:lnTo>
                    <a:pt x="792861" y="125158"/>
                  </a:lnTo>
                  <a:lnTo>
                    <a:pt x="789908" y="127064"/>
                  </a:lnTo>
                  <a:lnTo>
                    <a:pt x="774859" y="122587"/>
                  </a:lnTo>
                  <a:lnTo>
                    <a:pt x="771716" y="122968"/>
                  </a:lnTo>
                  <a:lnTo>
                    <a:pt x="763524" y="146494"/>
                  </a:lnTo>
                  <a:lnTo>
                    <a:pt x="765143" y="159163"/>
                  </a:lnTo>
                  <a:lnTo>
                    <a:pt x="763524" y="159353"/>
                  </a:lnTo>
                  <a:lnTo>
                    <a:pt x="765524" y="162306"/>
                  </a:lnTo>
                  <a:lnTo>
                    <a:pt x="762952" y="167449"/>
                  </a:lnTo>
                  <a:lnTo>
                    <a:pt x="747141" y="169450"/>
                  </a:lnTo>
                  <a:lnTo>
                    <a:pt x="741235" y="173355"/>
                  </a:lnTo>
                  <a:lnTo>
                    <a:pt x="736092" y="170878"/>
                  </a:lnTo>
                  <a:lnTo>
                    <a:pt x="737711" y="170593"/>
                  </a:lnTo>
                  <a:lnTo>
                    <a:pt x="734759" y="159829"/>
                  </a:lnTo>
                  <a:lnTo>
                    <a:pt x="730568" y="152305"/>
                  </a:lnTo>
                  <a:lnTo>
                    <a:pt x="714947" y="143066"/>
                  </a:lnTo>
                  <a:lnTo>
                    <a:pt x="707231" y="145637"/>
                  </a:lnTo>
                  <a:lnTo>
                    <a:pt x="704850" y="139541"/>
                  </a:lnTo>
                  <a:lnTo>
                    <a:pt x="701516" y="138398"/>
                  </a:lnTo>
                  <a:lnTo>
                    <a:pt x="699516" y="135445"/>
                  </a:lnTo>
                  <a:lnTo>
                    <a:pt x="691706" y="136398"/>
                  </a:lnTo>
                  <a:lnTo>
                    <a:pt x="688086" y="133636"/>
                  </a:lnTo>
                  <a:lnTo>
                    <a:pt x="681800" y="134493"/>
                  </a:lnTo>
                  <a:lnTo>
                    <a:pt x="679609" y="142780"/>
                  </a:lnTo>
                  <a:lnTo>
                    <a:pt x="676656" y="144780"/>
                  </a:lnTo>
                  <a:lnTo>
                    <a:pt x="673513" y="145161"/>
                  </a:lnTo>
                  <a:lnTo>
                    <a:pt x="672560" y="150114"/>
                  </a:lnTo>
                  <a:lnTo>
                    <a:pt x="664083" y="159163"/>
                  </a:lnTo>
                  <a:lnTo>
                    <a:pt x="659321" y="159734"/>
                  </a:lnTo>
                  <a:lnTo>
                    <a:pt x="659797" y="162973"/>
                  </a:lnTo>
                  <a:lnTo>
                    <a:pt x="655606" y="168307"/>
                  </a:lnTo>
                  <a:lnTo>
                    <a:pt x="653129" y="186214"/>
                  </a:lnTo>
                  <a:lnTo>
                    <a:pt x="653510" y="189357"/>
                  </a:lnTo>
                  <a:lnTo>
                    <a:pt x="652367" y="192786"/>
                  </a:lnTo>
                  <a:lnTo>
                    <a:pt x="642271" y="189167"/>
                  </a:lnTo>
                  <a:lnTo>
                    <a:pt x="631603" y="206597"/>
                  </a:lnTo>
                  <a:lnTo>
                    <a:pt x="626269" y="202501"/>
                  </a:lnTo>
                  <a:lnTo>
                    <a:pt x="624364" y="199549"/>
                  </a:lnTo>
                  <a:lnTo>
                    <a:pt x="619411" y="198596"/>
                  </a:lnTo>
                  <a:lnTo>
                    <a:pt x="609124" y="193453"/>
                  </a:lnTo>
                  <a:lnTo>
                    <a:pt x="605600" y="190691"/>
                  </a:lnTo>
                  <a:lnTo>
                    <a:pt x="605123" y="187547"/>
                  </a:lnTo>
                  <a:lnTo>
                    <a:pt x="610648" y="180403"/>
                  </a:lnTo>
                  <a:lnTo>
                    <a:pt x="618363" y="177832"/>
                  </a:lnTo>
                  <a:lnTo>
                    <a:pt x="628555" y="170117"/>
                  </a:lnTo>
                  <a:lnTo>
                    <a:pt x="626650" y="167164"/>
                  </a:lnTo>
                  <a:lnTo>
                    <a:pt x="618363" y="164973"/>
                  </a:lnTo>
                  <a:lnTo>
                    <a:pt x="617125" y="155543"/>
                  </a:lnTo>
                  <a:lnTo>
                    <a:pt x="613791" y="154400"/>
                  </a:lnTo>
                  <a:lnTo>
                    <a:pt x="616268" y="149257"/>
                  </a:lnTo>
                  <a:lnTo>
                    <a:pt x="614743" y="136589"/>
                  </a:lnTo>
                  <a:lnTo>
                    <a:pt x="612076" y="128873"/>
                  </a:lnTo>
                  <a:lnTo>
                    <a:pt x="612934" y="122396"/>
                  </a:lnTo>
                  <a:lnTo>
                    <a:pt x="609505" y="121253"/>
                  </a:lnTo>
                  <a:lnTo>
                    <a:pt x="605600" y="115348"/>
                  </a:lnTo>
                  <a:lnTo>
                    <a:pt x="606552" y="110395"/>
                  </a:lnTo>
                  <a:lnTo>
                    <a:pt x="606171" y="107251"/>
                  </a:lnTo>
                  <a:lnTo>
                    <a:pt x="587597" y="99917"/>
                  </a:lnTo>
                  <a:lnTo>
                    <a:pt x="578072" y="101155"/>
                  </a:lnTo>
                  <a:lnTo>
                    <a:pt x="576739" y="102965"/>
                  </a:lnTo>
                  <a:lnTo>
                    <a:pt x="572452" y="106680"/>
                  </a:lnTo>
                  <a:lnTo>
                    <a:pt x="565880" y="105918"/>
                  </a:lnTo>
                  <a:lnTo>
                    <a:pt x="563309" y="111062"/>
                  </a:lnTo>
                  <a:lnTo>
                    <a:pt x="556641" y="108680"/>
                  </a:lnTo>
                  <a:lnTo>
                    <a:pt x="549116" y="112871"/>
                  </a:lnTo>
                  <a:lnTo>
                    <a:pt x="533972" y="119634"/>
                  </a:lnTo>
                  <a:lnTo>
                    <a:pt x="533019" y="124587"/>
                  </a:lnTo>
                  <a:lnTo>
                    <a:pt x="517970" y="120015"/>
                  </a:lnTo>
                  <a:lnTo>
                    <a:pt x="518732" y="113538"/>
                  </a:lnTo>
                  <a:lnTo>
                    <a:pt x="518160" y="108775"/>
                  </a:lnTo>
                  <a:lnTo>
                    <a:pt x="514731" y="94774"/>
                  </a:lnTo>
                  <a:lnTo>
                    <a:pt x="511016" y="90488"/>
                  </a:lnTo>
                  <a:lnTo>
                    <a:pt x="509778" y="80963"/>
                  </a:lnTo>
                  <a:lnTo>
                    <a:pt x="506444" y="79819"/>
                  </a:lnTo>
                  <a:lnTo>
                    <a:pt x="498539" y="68008"/>
                  </a:lnTo>
                  <a:lnTo>
                    <a:pt x="494538" y="62103"/>
                  </a:lnTo>
                  <a:lnTo>
                    <a:pt x="496634" y="40957"/>
                  </a:lnTo>
                  <a:lnTo>
                    <a:pt x="487966" y="35623"/>
                  </a:lnTo>
                  <a:lnTo>
                    <a:pt x="485394" y="28003"/>
                  </a:lnTo>
                  <a:lnTo>
                    <a:pt x="466630" y="32004"/>
                  </a:lnTo>
                  <a:lnTo>
                    <a:pt x="465677" y="36862"/>
                  </a:lnTo>
                  <a:lnTo>
                    <a:pt x="459962" y="42481"/>
                  </a:lnTo>
                  <a:lnTo>
                    <a:pt x="446913" y="40862"/>
                  </a:lnTo>
                  <a:lnTo>
                    <a:pt x="436340" y="45434"/>
                  </a:lnTo>
                  <a:lnTo>
                    <a:pt x="431959" y="49244"/>
                  </a:lnTo>
                  <a:lnTo>
                    <a:pt x="430435" y="49435"/>
                  </a:lnTo>
                  <a:lnTo>
                    <a:pt x="420148" y="44291"/>
                  </a:lnTo>
                  <a:lnTo>
                    <a:pt x="409289" y="47339"/>
                  </a:lnTo>
                  <a:lnTo>
                    <a:pt x="404336" y="46292"/>
                  </a:lnTo>
                  <a:lnTo>
                    <a:pt x="397383" y="42386"/>
                  </a:lnTo>
                  <a:lnTo>
                    <a:pt x="394621" y="33147"/>
                  </a:lnTo>
                  <a:lnTo>
                    <a:pt x="390906" y="28766"/>
                  </a:lnTo>
                  <a:lnTo>
                    <a:pt x="382619" y="26670"/>
                  </a:lnTo>
                  <a:lnTo>
                    <a:pt x="377285" y="22479"/>
                  </a:lnTo>
                  <a:lnTo>
                    <a:pt x="369189" y="21907"/>
                  </a:lnTo>
                  <a:lnTo>
                    <a:pt x="350996" y="17812"/>
                  </a:lnTo>
                  <a:lnTo>
                    <a:pt x="348043" y="6953"/>
                  </a:lnTo>
                  <a:lnTo>
                    <a:pt x="337947" y="3429"/>
                  </a:lnTo>
                  <a:lnTo>
                    <a:pt x="321564" y="762"/>
                  </a:lnTo>
                  <a:lnTo>
                    <a:pt x="309372" y="5524"/>
                  </a:lnTo>
                  <a:lnTo>
                    <a:pt x="302228" y="0"/>
                  </a:lnTo>
                  <a:lnTo>
                    <a:pt x="292703" y="1238"/>
                  </a:lnTo>
                  <a:lnTo>
                    <a:pt x="292989" y="15621"/>
                  </a:lnTo>
                  <a:lnTo>
                    <a:pt x="293942" y="23527"/>
                  </a:lnTo>
                  <a:lnTo>
                    <a:pt x="297942" y="29432"/>
                  </a:lnTo>
                  <a:lnTo>
                    <a:pt x="313754" y="40195"/>
                  </a:lnTo>
                  <a:lnTo>
                    <a:pt x="318325" y="50864"/>
                  </a:lnTo>
                  <a:lnTo>
                    <a:pt x="316135" y="59150"/>
                  </a:lnTo>
                  <a:lnTo>
                    <a:pt x="308324" y="72962"/>
                  </a:lnTo>
                  <a:lnTo>
                    <a:pt x="307086" y="76391"/>
                  </a:lnTo>
                  <a:lnTo>
                    <a:pt x="314230" y="81820"/>
                  </a:lnTo>
                  <a:lnTo>
                    <a:pt x="312706" y="94869"/>
                  </a:lnTo>
                  <a:lnTo>
                    <a:pt x="314706" y="97822"/>
                  </a:lnTo>
                  <a:lnTo>
                    <a:pt x="311182" y="107918"/>
                  </a:lnTo>
                  <a:lnTo>
                    <a:pt x="311753" y="112681"/>
                  </a:lnTo>
                  <a:lnTo>
                    <a:pt x="313563" y="114014"/>
                  </a:lnTo>
                  <a:lnTo>
                    <a:pt x="319945" y="138874"/>
                  </a:lnTo>
                  <a:lnTo>
                    <a:pt x="326993" y="144399"/>
                  </a:lnTo>
                  <a:lnTo>
                    <a:pt x="319945" y="151733"/>
                  </a:lnTo>
                  <a:lnTo>
                    <a:pt x="314801" y="161925"/>
                  </a:lnTo>
                  <a:lnTo>
                    <a:pt x="314992" y="163544"/>
                  </a:lnTo>
                  <a:lnTo>
                    <a:pt x="325469" y="170212"/>
                  </a:lnTo>
                  <a:lnTo>
                    <a:pt x="329660" y="177737"/>
                  </a:lnTo>
                  <a:lnTo>
                    <a:pt x="330518" y="184023"/>
                  </a:lnTo>
                  <a:lnTo>
                    <a:pt x="339185" y="189357"/>
                  </a:lnTo>
                  <a:lnTo>
                    <a:pt x="333470" y="194881"/>
                  </a:lnTo>
                  <a:lnTo>
                    <a:pt x="326803" y="205359"/>
                  </a:lnTo>
                  <a:lnTo>
                    <a:pt x="328994" y="209931"/>
                  </a:lnTo>
                  <a:lnTo>
                    <a:pt x="318516" y="228886"/>
                  </a:lnTo>
                  <a:lnTo>
                    <a:pt x="325660" y="234315"/>
                  </a:lnTo>
                  <a:lnTo>
                    <a:pt x="335375" y="234696"/>
                  </a:lnTo>
                  <a:lnTo>
                    <a:pt x="332804" y="239840"/>
                  </a:lnTo>
                  <a:lnTo>
                    <a:pt x="328232" y="242030"/>
                  </a:lnTo>
                  <a:lnTo>
                    <a:pt x="339281" y="253460"/>
                  </a:lnTo>
                  <a:lnTo>
                    <a:pt x="334423" y="252508"/>
                  </a:lnTo>
                  <a:lnTo>
                    <a:pt x="334613" y="254032"/>
                  </a:lnTo>
                  <a:lnTo>
                    <a:pt x="341090" y="254889"/>
                  </a:lnTo>
                  <a:lnTo>
                    <a:pt x="343472" y="260985"/>
                  </a:lnTo>
                  <a:lnTo>
                    <a:pt x="348806" y="265081"/>
                  </a:lnTo>
                  <a:lnTo>
                    <a:pt x="349187" y="268224"/>
                  </a:lnTo>
                  <a:lnTo>
                    <a:pt x="352806" y="270986"/>
                  </a:lnTo>
                  <a:lnTo>
                    <a:pt x="356997" y="278511"/>
                  </a:lnTo>
                  <a:lnTo>
                    <a:pt x="358521" y="278320"/>
                  </a:lnTo>
                  <a:lnTo>
                    <a:pt x="359283" y="284607"/>
                  </a:lnTo>
                  <a:lnTo>
                    <a:pt x="363284" y="290513"/>
                  </a:lnTo>
                  <a:lnTo>
                    <a:pt x="362141" y="293846"/>
                  </a:lnTo>
                  <a:lnTo>
                    <a:pt x="340043" y="296704"/>
                  </a:lnTo>
                  <a:lnTo>
                    <a:pt x="335471" y="298894"/>
                  </a:lnTo>
                  <a:lnTo>
                    <a:pt x="334137" y="300609"/>
                  </a:lnTo>
                  <a:lnTo>
                    <a:pt x="331946" y="296132"/>
                  </a:lnTo>
                  <a:lnTo>
                    <a:pt x="329184" y="299657"/>
                  </a:lnTo>
                  <a:lnTo>
                    <a:pt x="331184" y="302609"/>
                  </a:lnTo>
                  <a:lnTo>
                    <a:pt x="328041" y="302990"/>
                  </a:lnTo>
                  <a:lnTo>
                    <a:pt x="326803" y="293561"/>
                  </a:lnTo>
                  <a:lnTo>
                    <a:pt x="323660" y="293942"/>
                  </a:lnTo>
                  <a:lnTo>
                    <a:pt x="323850" y="295561"/>
                  </a:lnTo>
                  <a:lnTo>
                    <a:pt x="320516" y="294323"/>
                  </a:lnTo>
                  <a:lnTo>
                    <a:pt x="320040" y="291179"/>
                  </a:lnTo>
                  <a:lnTo>
                    <a:pt x="318707" y="292989"/>
                  </a:lnTo>
                  <a:lnTo>
                    <a:pt x="318325" y="289846"/>
                  </a:lnTo>
                  <a:lnTo>
                    <a:pt x="316706" y="290036"/>
                  </a:lnTo>
                  <a:lnTo>
                    <a:pt x="310801" y="293942"/>
                  </a:lnTo>
                  <a:lnTo>
                    <a:pt x="309277" y="294227"/>
                  </a:lnTo>
                  <a:lnTo>
                    <a:pt x="304705" y="296323"/>
                  </a:lnTo>
                  <a:lnTo>
                    <a:pt x="301371" y="295180"/>
                  </a:lnTo>
                  <a:lnTo>
                    <a:pt x="302324" y="303086"/>
                  </a:lnTo>
                  <a:lnTo>
                    <a:pt x="294418" y="304133"/>
                  </a:lnTo>
                  <a:lnTo>
                    <a:pt x="292227" y="299561"/>
                  </a:lnTo>
                  <a:lnTo>
                    <a:pt x="287750" y="301752"/>
                  </a:lnTo>
                  <a:lnTo>
                    <a:pt x="285750" y="298799"/>
                  </a:lnTo>
                  <a:lnTo>
                    <a:pt x="279464" y="299561"/>
                  </a:lnTo>
                  <a:lnTo>
                    <a:pt x="278606" y="293275"/>
                  </a:lnTo>
                  <a:lnTo>
                    <a:pt x="267557" y="281845"/>
                  </a:lnTo>
                  <a:lnTo>
                    <a:pt x="268319" y="275368"/>
                  </a:lnTo>
                  <a:lnTo>
                    <a:pt x="270129" y="276701"/>
                  </a:lnTo>
                  <a:lnTo>
                    <a:pt x="269748" y="273558"/>
                  </a:lnTo>
                  <a:lnTo>
                    <a:pt x="267748" y="270605"/>
                  </a:lnTo>
                  <a:lnTo>
                    <a:pt x="254318" y="265938"/>
                  </a:lnTo>
                  <a:lnTo>
                    <a:pt x="254889" y="270605"/>
                  </a:lnTo>
                  <a:lnTo>
                    <a:pt x="256508" y="270415"/>
                  </a:lnTo>
                  <a:lnTo>
                    <a:pt x="253746" y="274034"/>
                  </a:lnTo>
                  <a:lnTo>
                    <a:pt x="257461" y="278320"/>
                  </a:lnTo>
                  <a:lnTo>
                    <a:pt x="256508" y="283273"/>
                  </a:lnTo>
                  <a:lnTo>
                    <a:pt x="254699" y="281845"/>
                  </a:lnTo>
                  <a:lnTo>
                    <a:pt x="253365" y="283655"/>
                  </a:lnTo>
                  <a:lnTo>
                    <a:pt x="248031" y="279559"/>
                  </a:lnTo>
                  <a:lnTo>
                    <a:pt x="247841" y="290798"/>
                  </a:lnTo>
                  <a:lnTo>
                    <a:pt x="240125" y="293370"/>
                  </a:lnTo>
                  <a:lnTo>
                    <a:pt x="238411" y="292036"/>
                  </a:lnTo>
                  <a:lnTo>
                    <a:pt x="229076" y="294799"/>
                  </a:lnTo>
                  <a:lnTo>
                    <a:pt x="228124" y="299752"/>
                  </a:lnTo>
                  <a:lnTo>
                    <a:pt x="226790" y="301466"/>
                  </a:lnTo>
                  <a:lnTo>
                    <a:pt x="230505" y="305848"/>
                  </a:lnTo>
                  <a:lnTo>
                    <a:pt x="231743" y="315278"/>
                  </a:lnTo>
                  <a:lnTo>
                    <a:pt x="238697" y="319183"/>
                  </a:lnTo>
                  <a:lnTo>
                    <a:pt x="237649" y="324136"/>
                  </a:lnTo>
                  <a:lnTo>
                    <a:pt x="232982" y="324803"/>
                  </a:lnTo>
                  <a:lnTo>
                    <a:pt x="234887" y="327755"/>
                  </a:lnTo>
                  <a:lnTo>
                    <a:pt x="232124" y="331280"/>
                  </a:lnTo>
                  <a:lnTo>
                    <a:pt x="231172" y="336232"/>
                  </a:lnTo>
                  <a:lnTo>
                    <a:pt x="226219" y="335280"/>
                  </a:lnTo>
                  <a:lnTo>
                    <a:pt x="223838" y="329089"/>
                  </a:lnTo>
                  <a:lnTo>
                    <a:pt x="220885" y="331089"/>
                  </a:lnTo>
                  <a:lnTo>
                    <a:pt x="218123" y="334709"/>
                  </a:lnTo>
                  <a:lnTo>
                    <a:pt x="221933" y="338995"/>
                  </a:lnTo>
                  <a:lnTo>
                    <a:pt x="222123" y="340614"/>
                  </a:lnTo>
                  <a:lnTo>
                    <a:pt x="218789" y="339376"/>
                  </a:lnTo>
                  <a:lnTo>
                    <a:pt x="218980" y="340995"/>
                  </a:lnTo>
                  <a:lnTo>
                    <a:pt x="213836" y="338423"/>
                  </a:lnTo>
                  <a:lnTo>
                    <a:pt x="212693" y="341757"/>
                  </a:lnTo>
                  <a:lnTo>
                    <a:pt x="207740" y="340805"/>
                  </a:lnTo>
                  <a:lnTo>
                    <a:pt x="203168" y="342995"/>
                  </a:lnTo>
                  <a:lnTo>
                    <a:pt x="196691" y="342233"/>
                  </a:lnTo>
                  <a:lnTo>
                    <a:pt x="196025" y="337471"/>
                  </a:lnTo>
                  <a:lnTo>
                    <a:pt x="192691" y="336328"/>
                  </a:lnTo>
                  <a:lnTo>
                    <a:pt x="195834" y="335947"/>
                  </a:lnTo>
                  <a:lnTo>
                    <a:pt x="195453" y="332708"/>
                  </a:lnTo>
                  <a:lnTo>
                    <a:pt x="190691" y="333375"/>
                  </a:lnTo>
                  <a:lnTo>
                    <a:pt x="188786" y="330422"/>
                  </a:lnTo>
                  <a:lnTo>
                    <a:pt x="196882" y="330994"/>
                  </a:lnTo>
                  <a:lnTo>
                    <a:pt x="196596" y="329375"/>
                  </a:lnTo>
                  <a:lnTo>
                    <a:pt x="193262" y="328232"/>
                  </a:lnTo>
                  <a:lnTo>
                    <a:pt x="191072" y="323659"/>
                  </a:lnTo>
                  <a:lnTo>
                    <a:pt x="194215" y="323279"/>
                  </a:lnTo>
                  <a:lnTo>
                    <a:pt x="190119" y="315754"/>
                  </a:lnTo>
                  <a:lnTo>
                    <a:pt x="191262" y="312420"/>
                  </a:lnTo>
                  <a:lnTo>
                    <a:pt x="187928" y="311277"/>
                  </a:lnTo>
                  <a:lnTo>
                    <a:pt x="182023" y="315182"/>
                  </a:lnTo>
                  <a:lnTo>
                    <a:pt x="181832" y="326422"/>
                  </a:lnTo>
                  <a:lnTo>
                    <a:pt x="174879" y="322517"/>
                  </a:lnTo>
                  <a:lnTo>
                    <a:pt x="172784" y="318040"/>
                  </a:lnTo>
                  <a:lnTo>
                    <a:pt x="166021" y="315659"/>
                  </a:lnTo>
                  <a:lnTo>
                    <a:pt x="164402" y="315849"/>
                  </a:lnTo>
                  <a:lnTo>
                    <a:pt x="160306" y="308324"/>
                  </a:lnTo>
                  <a:lnTo>
                    <a:pt x="161449" y="304990"/>
                  </a:lnTo>
                  <a:lnTo>
                    <a:pt x="153162" y="302895"/>
                  </a:lnTo>
                  <a:lnTo>
                    <a:pt x="152019" y="306229"/>
                  </a:lnTo>
                  <a:lnTo>
                    <a:pt x="150400" y="306419"/>
                  </a:lnTo>
                  <a:lnTo>
                    <a:pt x="148209" y="301847"/>
                  </a:lnTo>
                  <a:lnTo>
                    <a:pt x="144113" y="307181"/>
                  </a:lnTo>
                  <a:lnTo>
                    <a:pt x="142113" y="304229"/>
                  </a:lnTo>
                  <a:lnTo>
                    <a:pt x="133826" y="302133"/>
                  </a:lnTo>
                  <a:lnTo>
                    <a:pt x="134969" y="298704"/>
                  </a:lnTo>
                  <a:lnTo>
                    <a:pt x="126302" y="293465"/>
                  </a:lnTo>
                  <a:lnTo>
                    <a:pt x="124968" y="295180"/>
                  </a:lnTo>
                  <a:lnTo>
                    <a:pt x="121349" y="292513"/>
                  </a:lnTo>
                  <a:lnTo>
                    <a:pt x="116681" y="293084"/>
                  </a:lnTo>
                  <a:lnTo>
                    <a:pt x="115253" y="294894"/>
                  </a:lnTo>
                  <a:lnTo>
                    <a:pt x="111538" y="290513"/>
                  </a:lnTo>
                  <a:lnTo>
                    <a:pt x="110300" y="293846"/>
                  </a:lnTo>
                  <a:lnTo>
                    <a:pt x="107156" y="294323"/>
                  </a:lnTo>
                  <a:lnTo>
                    <a:pt x="106013" y="297656"/>
                  </a:lnTo>
                  <a:lnTo>
                    <a:pt x="104394" y="297847"/>
                  </a:lnTo>
                  <a:lnTo>
                    <a:pt x="101632" y="301371"/>
                  </a:lnTo>
                  <a:lnTo>
                    <a:pt x="103442" y="302800"/>
                  </a:lnTo>
                  <a:lnTo>
                    <a:pt x="95726" y="305371"/>
                  </a:lnTo>
                  <a:lnTo>
                    <a:pt x="96583" y="311658"/>
                  </a:lnTo>
                  <a:lnTo>
                    <a:pt x="91631" y="310705"/>
                  </a:lnTo>
                  <a:lnTo>
                    <a:pt x="93631" y="313658"/>
                  </a:lnTo>
                  <a:lnTo>
                    <a:pt x="92869" y="320135"/>
                  </a:lnTo>
                  <a:lnTo>
                    <a:pt x="93250" y="323279"/>
                  </a:lnTo>
                  <a:lnTo>
                    <a:pt x="88487" y="323945"/>
                  </a:lnTo>
                  <a:lnTo>
                    <a:pt x="85344" y="324326"/>
                  </a:lnTo>
                  <a:lnTo>
                    <a:pt x="80772" y="326517"/>
                  </a:lnTo>
                  <a:lnTo>
                    <a:pt x="71723" y="318040"/>
                  </a:lnTo>
                  <a:lnTo>
                    <a:pt x="63246" y="314325"/>
                  </a:lnTo>
                  <a:lnTo>
                    <a:pt x="54959" y="312134"/>
                  </a:lnTo>
                  <a:lnTo>
                    <a:pt x="51149" y="307848"/>
                  </a:lnTo>
                  <a:lnTo>
                    <a:pt x="47625" y="305086"/>
                  </a:lnTo>
                  <a:lnTo>
                    <a:pt x="35528" y="298609"/>
                  </a:lnTo>
                  <a:lnTo>
                    <a:pt x="34195" y="300419"/>
                  </a:lnTo>
                  <a:lnTo>
                    <a:pt x="29242" y="299371"/>
                  </a:lnTo>
                  <a:lnTo>
                    <a:pt x="28670" y="294704"/>
                  </a:lnTo>
                  <a:lnTo>
                    <a:pt x="26670" y="291751"/>
                  </a:lnTo>
                  <a:lnTo>
                    <a:pt x="25527" y="295084"/>
                  </a:lnTo>
                  <a:lnTo>
                    <a:pt x="23908" y="295275"/>
                  </a:lnTo>
                  <a:lnTo>
                    <a:pt x="24289" y="298418"/>
                  </a:lnTo>
                  <a:lnTo>
                    <a:pt x="22765" y="298609"/>
                  </a:lnTo>
                  <a:lnTo>
                    <a:pt x="23336" y="303371"/>
                  </a:lnTo>
                  <a:lnTo>
                    <a:pt x="16859" y="302609"/>
                  </a:lnTo>
                  <a:lnTo>
                    <a:pt x="17240" y="305753"/>
                  </a:lnTo>
                  <a:lnTo>
                    <a:pt x="9335" y="306705"/>
                  </a:lnTo>
                  <a:lnTo>
                    <a:pt x="4953" y="310515"/>
                  </a:lnTo>
                  <a:lnTo>
                    <a:pt x="6001" y="318421"/>
                  </a:lnTo>
                  <a:lnTo>
                    <a:pt x="8001" y="321373"/>
                  </a:lnTo>
                  <a:lnTo>
                    <a:pt x="11335" y="322517"/>
                  </a:lnTo>
                  <a:lnTo>
                    <a:pt x="18860" y="331184"/>
                  </a:lnTo>
                  <a:lnTo>
                    <a:pt x="19431" y="335947"/>
                  </a:lnTo>
                  <a:lnTo>
                    <a:pt x="18288" y="339280"/>
                  </a:lnTo>
                  <a:lnTo>
                    <a:pt x="16954" y="341090"/>
                  </a:lnTo>
                  <a:lnTo>
                    <a:pt x="20288" y="342233"/>
                  </a:lnTo>
                  <a:lnTo>
                    <a:pt x="25622" y="346329"/>
                  </a:lnTo>
                  <a:lnTo>
                    <a:pt x="24194" y="348139"/>
                  </a:lnTo>
                  <a:lnTo>
                    <a:pt x="24670" y="351282"/>
                  </a:lnTo>
                  <a:lnTo>
                    <a:pt x="21241" y="350139"/>
                  </a:lnTo>
                  <a:lnTo>
                    <a:pt x="19907" y="351949"/>
                  </a:lnTo>
                  <a:lnTo>
                    <a:pt x="21431" y="351663"/>
                  </a:lnTo>
                  <a:lnTo>
                    <a:pt x="21908" y="354902"/>
                  </a:lnTo>
                  <a:lnTo>
                    <a:pt x="20669" y="358235"/>
                  </a:lnTo>
                  <a:lnTo>
                    <a:pt x="22289" y="358045"/>
                  </a:lnTo>
                  <a:lnTo>
                    <a:pt x="21527" y="364522"/>
                  </a:lnTo>
                  <a:lnTo>
                    <a:pt x="19907" y="364712"/>
                  </a:lnTo>
                  <a:lnTo>
                    <a:pt x="20574" y="369475"/>
                  </a:lnTo>
                  <a:lnTo>
                    <a:pt x="16193" y="373190"/>
                  </a:lnTo>
                  <a:lnTo>
                    <a:pt x="18574" y="379381"/>
                  </a:lnTo>
                  <a:lnTo>
                    <a:pt x="23146" y="377190"/>
                  </a:lnTo>
                  <a:lnTo>
                    <a:pt x="23527" y="380333"/>
                  </a:lnTo>
                  <a:lnTo>
                    <a:pt x="26479" y="378333"/>
                  </a:lnTo>
                  <a:lnTo>
                    <a:pt x="28289" y="379667"/>
                  </a:lnTo>
                  <a:lnTo>
                    <a:pt x="34195" y="388620"/>
                  </a:lnTo>
                  <a:lnTo>
                    <a:pt x="34576" y="391763"/>
                  </a:lnTo>
                  <a:lnTo>
                    <a:pt x="29813" y="392335"/>
                  </a:lnTo>
                  <a:lnTo>
                    <a:pt x="30480" y="397097"/>
                  </a:lnTo>
                  <a:lnTo>
                    <a:pt x="33814" y="398240"/>
                  </a:lnTo>
                  <a:lnTo>
                    <a:pt x="32671" y="401574"/>
                  </a:lnTo>
                  <a:lnTo>
                    <a:pt x="39338" y="403955"/>
                  </a:lnTo>
                  <a:lnTo>
                    <a:pt x="34100" y="425482"/>
                  </a:lnTo>
                  <a:lnTo>
                    <a:pt x="32290" y="424053"/>
                  </a:lnTo>
                  <a:lnTo>
                    <a:pt x="31147" y="427482"/>
                  </a:lnTo>
                  <a:lnTo>
                    <a:pt x="29147" y="424529"/>
                  </a:lnTo>
                  <a:lnTo>
                    <a:pt x="28004" y="427863"/>
                  </a:lnTo>
                  <a:lnTo>
                    <a:pt x="21622" y="428625"/>
                  </a:lnTo>
                  <a:lnTo>
                    <a:pt x="22479" y="435007"/>
                  </a:lnTo>
                  <a:lnTo>
                    <a:pt x="24003" y="434816"/>
                  </a:lnTo>
                  <a:lnTo>
                    <a:pt x="24479" y="437959"/>
                  </a:lnTo>
                  <a:lnTo>
                    <a:pt x="21527" y="439865"/>
                  </a:lnTo>
                  <a:lnTo>
                    <a:pt x="26861" y="444055"/>
                  </a:lnTo>
                  <a:lnTo>
                    <a:pt x="25622" y="447389"/>
                  </a:lnTo>
                  <a:lnTo>
                    <a:pt x="22479" y="447770"/>
                  </a:lnTo>
                  <a:lnTo>
                    <a:pt x="21146" y="449580"/>
                  </a:lnTo>
                  <a:lnTo>
                    <a:pt x="19526" y="449771"/>
                  </a:lnTo>
                  <a:lnTo>
                    <a:pt x="20955" y="447961"/>
                  </a:lnTo>
                  <a:lnTo>
                    <a:pt x="19145" y="446627"/>
                  </a:lnTo>
                  <a:lnTo>
                    <a:pt x="17717" y="448437"/>
                  </a:lnTo>
                  <a:lnTo>
                    <a:pt x="14383" y="447199"/>
                  </a:lnTo>
                  <a:lnTo>
                    <a:pt x="13049" y="449009"/>
                  </a:lnTo>
                  <a:lnTo>
                    <a:pt x="9430" y="446246"/>
                  </a:lnTo>
                  <a:lnTo>
                    <a:pt x="6953" y="451390"/>
                  </a:lnTo>
                  <a:lnTo>
                    <a:pt x="0" y="460248"/>
                  </a:lnTo>
                  <a:lnTo>
                    <a:pt x="5525" y="465963"/>
                  </a:lnTo>
                  <a:lnTo>
                    <a:pt x="9525" y="471869"/>
                  </a:lnTo>
                  <a:lnTo>
                    <a:pt x="12668" y="471488"/>
                  </a:lnTo>
                  <a:lnTo>
                    <a:pt x="18002" y="475679"/>
                  </a:lnTo>
                  <a:lnTo>
                    <a:pt x="16478" y="475869"/>
                  </a:lnTo>
                  <a:lnTo>
                    <a:pt x="12287" y="481203"/>
                  </a:lnTo>
                  <a:lnTo>
                    <a:pt x="15050" y="490442"/>
                  </a:lnTo>
                  <a:lnTo>
                    <a:pt x="17240" y="495014"/>
                  </a:lnTo>
                  <a:lnTo>
                    <a:pt x="20860" y="497681"/>
                  </a:lnTo>
                  <a:lnTo>
                    <a:pt x="27718" y="501682"/>
                  </a:lnTo>
                  <a:lnTo>
                    <a:pt x="34481" y="503968"/>
                  </a:lnTo>
                  <a:lnTo>
                    <a:pt x="37433" y="502063"/>
                  </a:lnTo>
                  <a:lnTo>
                    <a:pt x="42767" y="493300"/>
                  </a:lnTo>
                  <a:lnTo>
                    <a:pt x="46673" y="499205"/>
                  </a:lnTo>
                  <a:lnTo>
                    <a:pt x="55150" y="502920"/>
                  </a:lnTo>
                  <a:lnTo>
                    <a:pt x="58579" y="504158"/>
                  </a:lnTo>
                  <a:lnTo>
                    <a:pt x="57150" y="505968"/>
                  </a:lnTo>
                  <a:lnTo>
                    <a:pt x="55817" y="507682"/>
                  </a:lnTo>
                  <a:lnTo>
                    <a:pt x="54197" y="507873"/>
                  </a:lnTo>
                  <a:lnTo>
                    <a:pt x="53626" y="515969"/>
                  </a:lnTo>
                  <a:lnTo>
                    <a:pt x="56960" y="517207"/>
                  </a:lnTo>
                  <a:lnTo>
                    <a:pt x="61150" y="511873"/>
                  </a:lnTo>
                  <a:lnTo>
                    <a:pt x="62865" y="513207"/>
                  </a:lnTo>
                  <a:lnTo>
                    <a:pt x="63056" y="514826"/>
                  </a:lnTo>
                  <a:lnTo>
                    <a:pt x="67056" y="520732"/>
                  </a:lnTo>
                  <a:lnTo>
                    <a:pt x="68675" y="520541"/>
                  </a:lnTo>
                  <a:lnTo>
                    <a:pt x="70580" y="523494"/>
                  </a:lnTo>
                  <a:lnTo>
                    <a:pt x="73819" y="523018"/>
                  </a:lnTo>
                  <a:lnTo>
                    <a:pt x="77533" y="527399"/>
                  </a:lnTo>
                  <a:lnTo>
                    <a:pt x="78105" y="532162"/>
                  </a:lnTo>
                  <a:lnTo>
                    <a:pt x="74771" y="530924"/>
                  </a:lnTo>
                  <a:lnTo>
                    <a:pt x="68866" y="534924"/>
                  </a:lnTo>
                  <a:lnTo>
                    <a:pt x="69247" y="538067"/>
                  </a:lnTo>
                  <a:lnTo>
                    <a:pt x="72866" y="540830"/>
                  </a:lnTo>
                  <a:lnTo>
                    <a:pt x="73438" y="545592"/>
                  </a:lnTo>
                  <a:lnTo>
                    <a:pt x="70866" y="550640"/>
                  </a:lnTo>
                  <a:lnTo>
                    <a:pt x="74486" y="553403"/>
                  </a:lnTo>
                  <a:lnTo>
                    <a:pt x="84677" y="558546"/>
                  </a:lnTo>
                  <a:lnTo>
                    <a:pt x="85154" y="561689"/>
                  </a:lnTo>
                  <a:lnTo>
                    <a:pt x="86868" y="563118"/>
                  </a:lnTo>
                  <a:lnTo>
                    <a:pt x="88106" y="559689"/>
                  </a:lnTo>
                  <a:lnTo>
                    <a:pt x="89630" y="559499"/>
                  </a:lnTo>
                  <a:lnTo>
                    <a:pt x="90011" y="562642"/>
                  </a:lnTo>
                  <a:lnTo>
                    <a:pt x="91821" y="564071"/>
                  </a:lnTo>
                  <a:lnTo>
                    <a:pt x="93250" y="562261"/>
                  </a:lnTo>
                  <a:lnTo>
                    <a:pt x="94774" y="562070"/>
                  </a:lnTo>
                  <a:lnTo>
                    <a:pt x="94393" y="558927"/>
                  </a:lnTo>
                  <a:lnTo>
                    <a:pt x="104013" y="559308"/>
                  </a:lnTo>
                  <a:lnTo>
                    <a:pt x="108204" y="553974"/>
                  </a:lnTo>
                  <a:lnTo>
                    <a:pt x="111347" y="553593"/>
                  </a:lnTo>
                  <a:lnTo>
                    <a:pt x="113157" y="554927"/>
                  </a:lnTo>
                  <a:lnTo>
                    <a:pt x="113348" y="556546"/>
                  </a:lnTo>
                  <a:lnTo>
                    <a:pt x="116872" y="559308"/>
                  </a:lnTo>
                  <a:lnTo>
                    <a:pt x="117062" y="560832"/>
                  </a:lnTo>
                  <a:lnTo>
                    <a:pt x="120015" y="558832"/>
                  </a:lnTo>
                  <a:lnTo>
                    <a:pt x="123635" y="561594"/>
                  </a:lnTo>
                  <a:lnTo>
                    <a:pt x="124968" y="559880"/>
                  </a:lnTo>
                  <a:lnTo>
                    <a:pt x="131731" y="562165"/>
                  </a:lnTo>
                  <a:lnTo>
                    <a:pt x="138589" y="566071"/>
                  </a:lnTo>
                  <a:lnTo>
                    <a:pt x="137255" y="567880"/>
                  </a:lnTo>
                  <a:lnTo>
                    <a:pt x="140779" y="570643"/>
                  </a:lnTo>
                  <a:lnTo>
                    <a:pt x="142113" y="568833"/>
                  </a:lnTo>
                  <a:lnTo>
                    <a:pt x="146495" y="565118"/>
                  </a:lnTo>
                  <a:lnTo>
                    <a:pt x="148876" y="558355"/>
                  </a:lnTo>
                  <a:lnTo>
                    <a:pt x="155353" y="559213"/>
                  </a:lnTo>
                  <a:lnTo>
                    <a:pt x="159734" y="555403"/>
                  </a:lnTo>
                  <a:lnTo>
                    <a:pt x="164402" y="554831"/>
                  </a:lnTo>
                  <a:lnTo>
                    <a:pt x="165830" y="553022"/>
                  </a:lnTo>
                  <a:lnTo>
                    <a:pt x="170498" y="552450"/>
                  </a:lnTo>
                  <a:lnTo>
                    <a:pt x="171736" y="549116"/>
                  </a:lnTo>
                  <a:lnTo>
                    <a:pt x="172117" y="552259"/>
                  </a:lnTo>
                  <a:lnTo>
                    <a:pt x="173736" y="552069"/>
                  </a:lnTo>
                  <a:lnTo>
                    <a:pt x="174689" y="559880"/>
                  </a:lnTo>
                  <a:lnTo>
                    <a:pt x="176308" y="559689"/>
                  </a:lnTo>
                  <a:lnTo>
                    <a:pt x="176498" y="561308"/>
                  </a:lnTo>
                  <a:lnTo>
                    <a:pt x="181166" y="560642"/>
                  </a:lnTo>
                  <a:lnTo>
                    <a:pt x="184785" y="563404"/>
                  </a:lnTo>
                  <a:lnTo>
                    <a:pt x="184975" y="565023"/>
                  </a:lnTo>
                  <a:lnTo>
                    <a:pt x="189738" y="564452"/>
                  </a:lnTo>
                  <a:lnTo>
                    <a:pt x="191929" y="568928"/>
                  </a:lnTo>
                  <a:lnTo>
                    <a:pt x="187547" y="572738"/>
                  </a:lnTo>
                  <a:lnTo>
                    <a:pt x="189738" y="577215"/>
                  </a:lnTo>
                  <a:lnTo>
                    <a:pt x="189929" y="578834"/>
                  </a:lnTo>
                  <a:lnTo>
                    <a:pt x="188404" y="579025"/>
                  </a:lnTo>
                  <a:lnTo>
                    <a:pt x="191167" y="588264"/>
                  </a:lnTo>
                  <a:lnTo>
                    <a:pt x="190214" y="593217"/>
                  </a:lnTo>
                  <a:lnTo>
                    <a:pt x="191929" y="594551"/>
                  </a:lnTo>
                  <a:lnTo>
                    <a:pt x="195929" y="600551"/>
                  </a:lnTo>
                  <a:lnTo>
                    <a:pt x="191548" y="604266"/>
                  </a:lnTo>
                  <a:lnTo>
                    <a:pt x="186881" y="604838"/>
                  </a:lnTo>
                  <a:lnTo>
                    <a:pt x="184118" y="608457"/>
                  </a:lnTo>
                  <a:lnTo>
                    <a:pt x="187452" y="609600"/>
                  </a:lnTo>
                  <a:lnTo>
                    <a:pt x="189262" y="623792"/>
                  </a:lnTo>
                  <a:lnTo>
                    <a:pt x="185547" y="632270"/>
                  </a:lnTo>
                  <a:lnTo>
                    <a:pt x="192024" y="633032"/>
                  </a:lnTo>
                  <a:lnTo>
                    <a:pt x="192881" y="639413"/>
                  </a:lnTo>
                  <a:lnTo>
                    <a:pt x="194405" y="639223"/>
                  </a:lnTo>
                  <a:lnTo>
                    <a:pt x="201168" y="641509"/>
                  </a:lnTo>
                  <a:lnTo>
                    <a:pt x="199168" y="651415"/>
                  </a:lnTo>
                  <a:lnTo>
                    <a:pt x="201930" y="647890"/>
                  </a:lnTo>
                  <a:lnTo>
                    <a:pt x="202311" y="651034"/>
                  </a:lnTo>
                  <a:lnTo>
                    <a:pt x="204121" y="652367"/>
                  </a:lnTo>
                  <a:lnTo>
                    <a:pt x="201549" y="657511"/>
                  </a:lnTo>
                  <a:lnTo>
                    <a:pt x="207454" y="653510"/>
                  </a:lnTo>
                  <a:lnTo>
                    <a:pt x="203549" y="660463"/>
                  </a:lnTo>
                  <a:lnTo>
                    <a:pt x="204311" y="666750"/>
                  </a:lnTo>
                  <a:lnTo>
                    <a:pt x="201835" y="671894"/>
                  </a:lnTo>
                  <a:lnTo>
                    <a:pt x="200025" y="670560"/>
                  </a:lnTo>
                  <a:lnTo>
                    <a:pt x="197263" y="674084"/>
                  </a:lnTo>
                  <a:lnTo>
                    <a:pt x="199073" y="675513"/>
                  </a:lnTo>
                  <a:lnTo>
                    <a:pt x="201073" y="678466"/>
                  </a:lnTo>
                  <a:lnTo>
                    <a:pt x="199454" y="678656"/>
                  </a:lnTo>
                  <a:lnTo>
                    <a:pt x="198501" y="683609"/>
                  </a:lnTo>
                  <a:lnTo>
                    <a:pt x="196691" y="682180"/>
                  </a:lnTo>
                  <a:lnTo>
                    <a:pt x="197072" y="685324"/>
                  </a:lnTo>
                  <a:lnTo>
                    <a:pt x="192596" y="687515"/>
                  </a:lnTo>
                  <a:lnTo>
                    <a:pt x="191548" y="692468"/>
                  </a:lnTo>
                  <a:lnTo>
                    <a:pt x="186690" y="691515"/>
                  </a:lnTo>
                  <a:lnTo>
                    <a:pt x="185833" y="697992"/>
                  </a:lnTo>
                  <a:lnTo>
                    <a:pt x="183928" y="695039"/>
                  </a:lnTo>
                  <a:lnTo>
                    <a:pt x="182499" y="696849"/>
                  </a:lnTo>
                  <a:lnTo>
                    <a:pt x="183166" y="701611"/>
                  </a:lnTo>
                  <a:lnTo>
                    <a:pt x="179927" y="701993"/>
                  </a:lnTo>
                  <a:lnTo>
                    <a:pt x="178213" y="700564"/>
                  </a:lnTo>
                  <a:lnTo>
                    <a:pt x="176594" y="700754"/>
                  </a:lnTo>
                  <a:lnTo>
                    <a:pt x="175641" y="705707"/>
                  </a:lnTo>
                  <a:lnTo>
                    <a:pt x="180404" y="705136"/>
                  </a:lnTo>
                  <a:lnTo>
                    <a:pt x="189071" y="710470"/>
                  </a:lnTo>
                  <a:lnTo>
                    <a:pt x="189262" y="711994"/>
                  </a:lnTo>
                  <a:lnTo>
                    <a:pt x="179261" y="721328"/>
                  </a:lnTo>
                  <a:lnTo>
                    <a:pt x="171545" y="723900"/>
                  </a:lnTo>
                  <a:lnTo>
                    <a:pt x="171736" y="725519"/>
                  </a:lnTo>
                  <a:lnTo>
                    <a:pt x="183166" y="727234"/>
                  </a:lnTo>
                  <a:lnTo>
                    <a:pt x="192405" y="724472"/>
                  </a:lnTo>
                  <a:lnTo>
                    <a:pt x="199739" y="731520"/>
                  </a:lnTo>
                  <a:lnTo>
                    <a:pt x="201740" y="734473"/>
                  </a:lnTo>
                  <a:lnTo>
                    <a:pt x="208502" y="736854"/>
                  </a:lnTo>
                  <a:lnTo>
                    <a:pt x="209645" y="733520"/>
                  </a:lnTo>
                  <a:lnTo>
                    <a:pt x="209264" y="730282"/>
                  </a:lnTo>
                  <a:lnTo>
                    <a:pt x="212789" y="733044"/>
                  </a:lnTo>
                  <a:lnTo>
                    <a:pt x="215932" y="732663"/>
                  </a:lnTo>
                  <a:lnTo>
                    <a:pt x="214789" y="735997"/>
                  </a:lnTo>
                  <a:lnTo>
                    <a:pt x="225457" y="744284"/>
                  </a:lnTo>
                  <a:lnTo>
                    <a:pt x="232124" y="746665"/>
                  </a:lnTo>
                  <a:lnTo>
                    <a:pt x="233553" y="744855"/>
                  </a:lnTo>
                  <a:lnTo>
                    <a:pt x="235363" y="746188"/>
                  </a:lnTo>
                  <a:lnTo>
                    <a:pt x="233744" y="746474"/>
                  </a:lnTo>
                  <a:lnTo>
                    <a:pt x="240506" y="748760"/>
                  </a:lnTo>
                  <a:lnTo>
                    <a:pt x="232220" y="759428"/>
                  </a:lnTo>
                  <a:lnTo>
                    <a:pt x="232982" y="765810"/>
                  </a:lnTo>
                  <a:lnTo>
                    <a:pt x="243078" y="782098"/>
                  </a:lnTo>
                  <a:lnTo>
                    <a:pt x="255365" y="777335"/>
                  </a:lnTo>
                  <a:lnTo>
                    <a:pt x="259461" y="772001"/>
                  </a:lnTo>
                  <a:lnTo>
                    <a:pt x="261080" y="771811"/>
                  </a:lnTo>
                  <a:lnTo>
                    <a:pt x="265367" y="768096"/>
                  </a:lnTo>
                  <a:lnTo>
                    <a:pt x="265176" y="766477"/>
                  </a:lnTo>
                  <a:lnTo>
                    <a:pt x="270129" y="767429"/>
                  </a:lnTo>
                  <a:lnTo>
                    <a:pt x="273082" y="765524"/>
                  </a:lnTo>
                  <a:lnTo>
                    <a:pt x="268319" y="766096"/>
                  </a:lnTo>
                  <a:lnTo>
                    <a:pt x="267748" y="761333"/>
                  </a:lnTo>
                  <a:lnTo>
                    <a:pt x="278987" y="761524"/>
                  </a:lnTo>
                  <a:lnTo>
                    <a:pt x="280702" y="762857"/>
                  </a:lnTo>
                  <a:lnTo>
                    <a:pt x="280511" y="761333"/>
                  </a:lnTo>
                  <a:lnTo>
                    <a:pt x="285083" y="759143"/>
                  </a:lnTo>
                  <a:lnTo>
                    <a:pt x="287846" y="755618"/>
                  </a:lnTo>
                  <a:lnTo>
                    <a:pt x="291370" y="758380"/>
                  </a:lnTo>
                  <a:lnTo>
                    <a:pt x="292799" y="756571"/>
                  </a:lnTo>
                  <a:lnTo>
                    <a:pt x="290608" y="751999"/>
                  </a:lnTo>
                  <a:lnTo>
                    <a:pt x="288798" y="750665"/>
                  </a:lnTo>
                  <a:lnTo>
                    <a:pt x="289941" y="747332"/>
                  </a:lnTo>
                  <a:lnTo>
                    <a:pt x="290513" y="739235"/>
                  </a:lnTo>
                  <a:lnTo>
                    <a:pt x="291941" y="737426"/>
                  </a:lnTo>
                  <a:lnTo>
                    <a:pt x="302419" y="731234"/>
                  </a:lnTo>
                  <a:lnTo>
                    <a:pt x="305562" y="730853"/>
                  </a:lnTo>
                  <a:lnTo>
                    <a:pt x="307467" y="733806"/>
                  </a:lnTo>
                  <a:lnTo>
                    <a:pt x="308896" y="732092"/>
                  </a:lnTo>
                  <a:lnTo>
                    <a:pt x="309467" y="736759"/>
                  </a:lnTo>
                  <a:lnTo>
                    <a:pt x="312801" y="737997"/>
                  </a:lnTo>
                  <a:lnTo>
                    <a:pt x="317373" y="735806"/>
                  </a:lnTo>
                  <a:lnTo>
                    <a:pt x="316802" y="731044"/>
                  </a:lnTo>
                  <a:lnTo>
                    <a:pt x="318135" y="729234"/>
                  </a:lnTo>
                  <a:lnTo>
                    <a:pt x="319945" y="730663"/>
                  </a:lnTo>
                  <a:lnTo>
                    <a:pt x="326041" y="728282"/>
                  </a:lnTo>
                  <a:lnTo>
                    <a:pt x="320897" y="725710"/>
                  </a:lnTo>
                  <a:lnTo>
                    <a:pt x="321850" y="720757"/>
                  </a:lnTo>
                  <a:lnTo>
                    <a:pt x="325088" y="720376"/>
                  </a:lnTo>
                  <a:lnTo>
                    <a:pt x="331946" y="724281"/>
                  </a:lnTo>
                  <a:lnTo>
                    <a:pt x="331756" y="735521"/>
                  </a:lnTo>
                  <a:lnTo>
                    <a:pt x="334899" y="735140"/>
                  </a:lnTo>
                  <a:lnTo>
                    <a:pt x="335566" y="739902"/>
                  </a:lnTo>
                  <a:lnTo>
                    <a:pt x="337090" y="739711"/>
                  </a:lnTo>
                  <a:lnTo>
                    <a:pt x="338709" y="739521"/>
                  </a:lnTo>
                  <a:lnTo>
                    <a:pt x="338519" y="737902"/>
                  </a:lnTo>
                  <a:lnTo>
                    <a:pt x="339852" y="736092"/>
                  </a:lnTo>
                  <a:lnTo>
                    <a:pt x="343472" y="738854"/>
                  </a:lnTo>
                  <a:lnTo>
                    <a:pt x="345186" y="740283"/>
                  </a:lnTo>
                  <a:lnTo>
                    <a:pt x="346615" y="738473"/>
                  </a:lnTo>
                  <a:lnTo>
                    <a:pt x="343472" y="738854"/>
                  </a:lnTo>
                  <a:lnTo>
                    <a:pt x="342614" y="732568"/>
                  </a:lnTo>
                  <a:lnTo>
                    <a:pt x="344234" y="732377"/>
                  </a:lnTo>
                  <a:lnTo>
                    <a:pt x="344615" y="735521"/>
                  </a:lnTo>
                  <a:lnTo>
                    <a:pt x="346043" y="733711"/>
                  </a:lnTo>
                  <a:lnTo>
                    <a:pt x="347758" y="735140"/>
                  </a:lnTo>
                  <a:lnTo>
                    <a:pt x="350901" y="734759"/>
                  </a:lnTo>
                  <a:lnTo>
                    <a:pt x="352901" y="737711"/>
                  </a:lnTo>
                  <a:lnTo>
                    <a:pt x="357473" y="735521"/>
                  </a:lnTo>
                  <a:lnTo>
                    <a:pt x="355854" y="735711"/>
                  </a:lnTo>
                  <a:lnTo>
                    <a:pt x="357188" y="733901"/>
                  </a:lnTo>
                  <a:lnTo>
                    <a:pt x="362331" y="736473"/>
                  </a:lnTo>
                  <a:lnTo>
                    <a:pt x="363760" y="734663"/>
                  </a:lnTo>
                  <a:lnTo>
                    <a:pt x="365379" y="734473"/>
                  </a:lnTo>
                  <a:lnTo>
                    <a:pt x="365570" y="736092"/>
                  </a:lnTo>
                  <a:lnTo>
                    <a:pt x="363950" y="736282"/>
                  </a:lnTo>
                  <a:lnTo>
                    <a:pt x="364141" y="737807"/>
                  </a:lnTo>
                  <a:lnTo>
                    <a:pt x="368903" y="737235"/>
                  </a:lnTo>
                  <a:lnTo>
                    <a:pt x="374047" y="739807"/>
                  </a:lnTo>
                  <a:lnTo>
                    <a:pt x="373856" y="738188"/>
                  </a:lnTo>
                  <a:lnTo>
                    <a:pt x="377381" y="740950"/>
                  </a:lnTo>
                  <a:lnTo>
                    <a:pt x="377952" y="732854"/>
                  </a:lnTo>
                  <a:lnTo>
                    <a:pt x="379762" y="734282"/>
                  </a:lnTo>
                  <a:lnTo>
                    <a:pt x="381476" y="735616"/>
                  </a:lnTo>
                  <a:lnTo>
                    <a:pt x="391763" y="740759"/>
                  </a:lnTo>
                  <a:lnTo>
                    <a:pt x="391954" y="742283"/>
                  </a:lnTo>
                  <a:lnTo>
                    <a:pt x="397097" y="744855"/>
                  </a:lnTo>
                  <a:lnTo>
                    <a:pt x="397288" y="746474"/>
                  </a:lnTo>
                  <a:lnTo>
                    <a:pt x="400907" y="749236"/>
                  </a:lnTo>
                  <a:lnTo>
                    <a:pt x="402050" y="745807"/>
                  </a:lnTo>
                  <a:lnTo>
                    <a:pt x="403670" y="745617"/>
                  </a:lnTo>
                  <a:lnTo>
                    <a:pt x="407194" y="748379"/>
                  </a:lnTo>
                  <a:lnTo>
                    <a:pt x="409956" y="744855"/>
                  </a:lnTo>
                  <a:lnTo>
                    <a:pt x="409575" y="741712"/>
                  </a:lnTo>
                  <a:lnTo>
                    <a:pt x="411099" y="741521"/>
                  </a:lnTo>
                  <a:lnTo>
                    <a:pt x="413671" y="736378"/>
                  </a:lnTo>
                  <a:lnTo>
                    <a:pt x="416814" y="735902"/>
                  </a:lnTo>
                  <a:lnTo>
                    <a:pt x="418052" y="732568"/>
                  </a:lnTo>
                  <a:lnTo>
                    <a:pt x="421386" y="733711"/>
                  </a:lnTo>
                  <a:lnTo>
                    <a:pt x="421576" y="735330"/>
                  </a:lnTo>
                  <a:lnTo>
                    <a:pt x="424529" y="733330"/>
                  </a:lnTo>
                  <a:lnTo>
                    <a:pt x="429482" y="734282"/>
                  </a:lnTo>
                  <a:lnTo>
                    <a:pt x="433197" y="738664"/>
                  </a:lnTo>
                  <a:lnTo>
                    <a:pt x="436912" y="730186"/>
                  </a:lnTo>
                  <a:lnTo>
                    <a:pt x="438912" y="733139"/>
                  </a:lnTo>
                  <a:lnTo>
                    <a:pt x="438722" y="731520"/>
                  </a:lnTo>
                  <a:lnTo>
                    <a:pt x="441865" y="731139"/>
                  </a:lnTo>
                  <a:lnTo>
                    <a:pt x="443103" y="727805"/>
                  </a:lnTo>
                  <a:lnTo>
                    <a:pt x="444817" y="716375"/>
                  </a:lnTo>
                  <a:lnTo>
                    <a:pt x="443008" y="714947"/>
                  </a:lnTo>
                  <a:lnTo>
                    <a:pt x="442246" y="708660"/>
                  </a:lnTo>
                  <a:lnTo>
                    <a:pt x="446723" y="706469"/>
                  </a:lnTo>
                  <a:lnTo>
                    <a:pt x="446532" y="704850"/>
                  </a:lnTo>
                  <a:lnTo>
                    <a:pt x="451295" y="704279"/>
                  </a:lnTo>
                  <a:lnTo>
                    <a:pt x="452247" y="699326"/>
                  </a:lnTo>
                  <a:lnTo>
                    <a:pt x="460534" y="701516"/>
                  </a:lnTo>
                  <a:lnTo>
                    <a:pt x="462915" y="694754"/>
                  </a:lnTo>
                  <a:lnTo>
                    <a:pt x="467201" y="691039"/>
                  </a:lnTo>
                  <a:lnTo>
                    <a:pt x="472631" y="695134"/>
                  </a:lnTo>
                  <a:lnTo>
                    <a:pt x="476345" y="699516"/>
                  </a:lnTo>
                  <a:lnTo>
                    <a:pt x="485966" y="699897"/>
                  </a:lnTo>
                  <a:lnTo>
                    <a:pt x="486442" y="703040"/>
                  </a:lnTo>
                  <a:lnTo>
                    <a:pt x="485204" y="706374"/>
                  </a:lnTo>
                  <a:lnTo>
                    <a:pt x="490347" y="708946"/>
                  </a:lnTo>
                  <a:lnTo>
                    <a:pt x="486632" y="717423"/>
                  </a:lnTo>
                  <a:lnTo>
                    <a:pt x="486251" y="727043"/>
                  </a:lnTo>
                  <a:lnTo>
                    <a:pt x="488442" y="731615"/>
                  </a:lnTo>
                  <a:lnTo>
                    <a:pt x="495205" y="733997"/>
                  </a:lnTo>
                  <a:lnTo>
                    <a:pt x="495586" y="737140"/>
                  </a:lnTo>
                  <a:lnTo>
                    <a:pt x="497110" y="736949"/>
                  </a:lnTo>
                  <a:lnTo>
                    <a:pt x="508349" y="737140"/>
                  </a:lnTo>
                  <a:lnTo>
                    <a:pt x="509016" y="741807"/>
                  </a:lnTo>
                  <a:lnTo>
                    <a:pt x="511969" y="739902"/>
                  </a:lnTo>
                  <a:lnTo>
                    <a:pt x="511588" y="736663"/>
                  </a:lnTo>
                  <a:lnTo>
                    <a:pt x="520446" y="730758"/>
                  </a:lnTo>
                  <a:lnTo>
                    <a:pt x="521017" y="722662"/>
                  </a:lnTo>
                  <a:lnTo>
                    <a:pt x="533781" y="722662"/>
                  </a:lnTo>
                  <a:lnTo>
                    <a:pt x="545021" y="722852"/>
                  </a:lnTo>
                  <a:lnTo>
                    <a:pt x="544449" y="705231"/>
                  </a:lnTo>
                  <a:lnTo>
                    <a:pt x="565118" y="704183"/>
                  </a:lnTo>
                  <a:lnTo>
                    <a:pt x="566547" y="702469"/>
                  </a:lnTo>
                  <a:lnTo>
                    <a:pt x="565690" y="696087"/>
                  </a:lnTo>
                  <a:lnTo>
                    <a:pt x="570643" y="697135"/>
                  </a:lnTo>
                  <a:lnTo>
                    <a:pt x="583311" y="708279"/>
                  </a:lnTo>
                  <a:lnTo>
                    <a:pt x="587407" y="702945"/>
                  </a:lnTo>
                  <a:lnTo>
                    <a:pt x="588074" y="707707"/>
                  </a:lnTo>
                  <a:lnTo>
                    <a:pt x="592741" y="707136"/>
                  </a:lnTo>
                  <a:lnTo>
                    <a:pt x="598075" y="711232"/>
                  </a:lnTo>
                  <a:lnTo>
                    <a:pt x="617220" y="710375"/>
                  </a:lnTo>
                  <a:lnTo>
                    <a:pt x="617315" y="723233"/>
                  </a:lnTo>
                  <a:lnTo>
                    <a:pt x="630555" y="726377"/>
                  </a:lnTo>
                  <a:lnTo>
                    <a:pt x="631698" y="735806"/>
                  </a:lnTo>
                  <a:lnTo>
                    <a:pt x="631793" y="761429"/>
                  </a:lnTo>
                  <a:lnTo>
                    <a:pt x="662368" y="762381"/>
                  </a:lnTo>
                  <a:lnTo>
                    <a:pt x="668846" y="763143"/>
                  </a:lnTo>
                  <a:lnTo>
                    <a:pt x="674465" y="781717"/>
                  </a:lnTo>
                  <a:lnTo>
                    <a:pt x="675418" y="789623"/>
                  </a:lnTo>
                  <a:lnTo>
                    <a:pt x="677418" y="792575"/>
                  </a:lnTo>
                  <a:lnTo>
                    <a:pt x="680561" y="792099"/>
                  </a:lnTo>
                  <a:lnTo>
                    <a:pt x="687134" y="792956"/>
                  </a:lnTo>
                  <a:lnTo>
                    <a:pt x="689039" y="795909"/>
                  </a:lnTo>
                  <a:lnTo>
                    <a:pt x="693801" y="795242"/>
                  </a:lnTo>
                  <a:lnTo>
                    <a:pt x="695611" y="796671"/>
                  </a:lnTo>
                  <a:lnTo>
                    <a:pt x="701707" y="794290"/>
                  </a:lnTo>
                  <a:lnTo>
                    <a:pt x="710565" y="801148"/>
                  </a:lnTo>
                  <a:lnTo>
                    <a:pt x="713613" y="812006"/>
                  </a:lnTo>
                  <a:lnTo>
                    <a:pt x="722471" y="818864"/>
                  </a:lnTo>
                  <a:lnTo>
                    <a:pt x="724091" y="818674"/>
                  </a:lnTo>
                  <a:lnTo>
                    <a:pt x="725234" y="815340"/>
                  </a:lnTo>
                  <a:lnTo>
                    <a:pt x="728186" y="813340"/>
                  </a:lnTo>
                  <a:lnTo>
                    <a:pt x="734092" y="822198"/>
                  </a:lnTo>
                  <a:lnTo>
                    <a:pt x="735711" y="822007"/>
                  </a:lnTo>
                  <a:lnTo>
                    <a:pt x="738854" y="821627"/>
                  </a:lnTo>
                  <a:lnTo>
                    <a:pt x="740664" y="822960"/>
                  </a:lnTo>
                  <a:lnTo>
                    <a:pt x="741998" y="821150"/>
                  </a:lnTo>
                  <a:lnTo>
                    <a:pt x="743807" y="822579"/>
                  </a:lnTo>
                  <a:lnTo>
                    <a:pt x="746951" y="822198"/>
                  </a:lnTo>
                  <a:lnTo>
                    <a:pt x="751523" y="832866"/>
                  </a:lnTo>
                  <a:lnTo>
                    <a:pt x="756666" y="835343"/>
                  </a:lnTo>
                  <a:lnTo>
                    <a:pt x="758285" y="835152"/>
                  </a:lnTo>
                  <a:lnTo>
                    <a:pt x="757047" y="838486"/>
                  </a:lnTo>
                  <a:lnTo>
                    <a:pt x="759047" y="841438"/>
                  </a:lnTo>
                  <a:lnTo>
                    <a:pt x="762762" y="845820"/>
                  </a:lnTo>
                  <a:lnTo>
                    <a:pt x="764191" y="844010"/>
                  </a:lnTo>
                  <a:lnTo>
                    <a:pt x="769144" y="844963"/>
                  </a:lnTo>
                  <a:lnTo>
                    <a:pt x="771716" y="839915"/>
                  </a:lnTo>
                  <a:lnTo>
                    <a:pt x="778193" y="840677"/>
                  </a:lnTo>
                  <a:lnTo>
                    <a:pt x="780955" y="837057"/>
                  </a:lnTo>
                  <a:lnTo>
                    <a:pt x="784670" y="841438"/>
                  </a:lnTo>
                  <a:lnTo>
                    <a:pt x="793528" y="835438"/>
                  </a:lnTo>
                  <a:lnTo>
                    <a:pt x="793337" y="833914"/>
                  </a:lnTo>
                  <a:lnTo>
                    <a:pt x="794576" y="830580"/>
                  </a:lnTo>
                  <a:lnTo>
                    <a:pt x="792575" y="827627"/>
                  </a:lnTo>
                  <a:lnTo>
                    <a:pt x="794099" y="827437"/>
                  </a:lnTo>
                  <a:lnTo>
                    <a:pt x="794385" y="828961"/>
                  </a:lnTo>
                  <a:lnTo>
                    <a:pt x="799052" y="828389"/>
                  </a:lnTo>
                  <a:lnTo>
                    <a:pt x="800862" y="829723"/>
                  </a:lnTo>
                  <a:lnTo>
                    <a:pt x="796766" y="835057"/>
                  </a:lnTo>
                  <a:lnTo>
                    <a:pt x="796957" y="836676"/>
                  </a:lnTo>
                  <a:lnTo>
                    <a:pt x="797528" y="841438"/>
                  </a:lnTo>
                  <a:lnTo>
                    <a:pt x="809911" y="838200"/>
                  </a:lnTo>
                  <a:lnTo>
                    <a:pt x="813054" y="837819"/>
                  </a:lnTo>
                  <a:lnTo>
                    <a:pt x="814673" y="837629"/>
                  </a:lnTo>
                  <a:lnTo>
                    <a:pt x="816102" y="835819"/>
                  </a:lnTo>
                  <a:lnTo>
                    <a:pt x="822770" y="838200"/>
                  </a:lnTo>
                  <a:lnTo>
                    <a:pt x="820960" y="836771"/>
                  </a:lnTo>
                  <a:lnTo>
                    <a:pt x="822198" y="833438"/>
                  </a:lnTo>
                  <a:lnTo>
                    <a:pt x="820388" y="832104"/>
                  </a:lnTo>
                  <a:lnTo>
                    <a:pt x="827151" y="834390"/>
                  </a:lnTo>
                  <a:lnTo>
                    <a:pt x="828484" y="832676"/>
                  </a:lnTo>
                  <a:lnTo>
                    <a:pt x="833818" y="836771"/>
                  </a:lnTo>
                  <a:lnTo>
                    <a:pt x="837152" y="837914"/>
                  </a:lnTo>
                  <a:lnTo>
                    <a:pt x="857345" y="844963"/>
                  </a:lnTo>
                  <a:lnTo>
                    <a:pt x="855917" y="833914"/>
                  </a:lnTo>
                  <a:lnTo>
                    <a:pt x="852583" y="832771"/>
                  </a:lnTo>
                  <a:lnTo>
                    <a:pt x="850201" y="826675"/>
                  </a:lnTo>
                  <a:lnTo>
                    <a:pt x="845058" y="824103"/>
                  </a:lnTo>
                  <a:lnTo>
                    <a:pt x="844391" y="819340"/>
                  </a:lnTo>
                  <a:lnTo>
                    <a:pt x="846201" y="820769"/>
                  </a:lnTo>
                  <a:lnTo>
                    <a:pt x="847344" y="817436"/>
                  </a:lnTo>
                  <a:lnTo>
                    <a:pt x="845153" y="812863"/>
                  </a:lnTo>
                  <a:lnTo>
                    <a:pt x="849916" y="812292"/>
                  </a:lnTo>
                  <a:lnTo>
                    <a:pt x="851345" y="810482"/>
                  </a:lnTo>
                  <a:lnTo>
                    <a:pt x="856679" y="814578"/>
                  </a:lnTo>
                  <a:lnTo>
                    <a:pt x="859250" y="809434"/>
                  </a:lnTo>
                  <a:lnTo>
                    <a:pt x="865537" y="808673"/>
                  </a:lnTo>
                  <a:lnTo>
                    <a:pt x="866680" y="805339"/>
                  </a:lnTo>
                  <a:lnTo>
                    <a:pt x="872585" y="801338"/>
                  </a:lnTo>
                  <a:lnTo>
                    <a:pt x="867251" y="797243"/>
                  </a:lnTo>
                  <a:lnTo>
                    <a:pt x="863537" y="792861"/>
                  </a:lnTo>
                  <a:lnTo>
                    <a:pt x="862108" y="794671"/>
                  </a:lnTo>
                  <a:lnTo>
                    <a:pt x="859726" y="788575"/>
                  </a:lnTo>
                  <a:lnTo>
                    <a:pt x="863632" y="781622"/>
                  </a:lnTo>
                  <a:lnTo>
                    <a:pt x="869823" y="779240"/>
                  </a:lnTo>
                  <a:lnTo>
                    <a:pt x="869156" y="774573"/>
                  </a:lnTo>
                  <a:lnTo>
                    <a:pt x="873919" y="773906"/>
                  </a:lnTo>
                  <a:lnTo>
                    <a:pt x="885158" y="774097"/>
                  </a:lnTo>
                  <a:lnTo>
                    <a:pt x="897541" y="758095"/>
                  </a:lnTo>
                  <a:lnTo>
                    <a:pt x="897350" y="756476"/>
                  </a:lnTo>
                  <a:lnTo>
                    <a:pt x="902113" y="755904"/>
                  </a:lnTo>
                  <a:lnTo>
                    <a:pt x="903923" y="757238"/>
                  </a:lnTo>
                  <a:lnTo>
                    <a:pt x="907256" y="758476"/>
                  </a:lnTo>
                  <a:lnTo>
                    <a:pt x="906875" y="755332"/>
                  </a:lnTo>
                  <a:lnTo>
                    <a:pt x="910018" y="754856"/>
                  </a:lnTo>
                  <a:lnTo>
                    <a:pt x="909542" y="751713"/>
                  </a:lnTo>
                  <a:lnTo>
                    <a:pt x="912781" y="751332"/>
                  </a:lnTo>
                  <a:lnTo>
                    <a:pt x="915734" y="749332"/>
                  </a:lnTo>
                  <a:lnTo>
                    <a:pt x="919448" y="753713"/>
                  </a:lnTo>
                  <a:lnTo>
                    <a:pt x="922210" y="750094"/>
                  </a:lnTo>
                  <a:lnTo>
                    <a:pt x="921830" y="746951"/>
                  </a:lnTo>
                  <a:lnTo>
                    <a:pt x="918496" y="745807"/>
                  </a:lnTo>
                  <a:lnTo>
                    <a:pt x="926116" y="743236"/>
                  </a:lnTo>
                  <a:lnTo>
                    <a:pt x="925735" y="740093"/>
                  </a:lnTo>
                  <a:lnTo>
                    <a:pt x="927354" y="739807"/>
                  </a:lnTo>
                  <a:lnTo>
                    <a:pt x="927735" y="743045"/>
                  </a:lnTo>
                  <a:lnTo>
                    <a:pt x="937165" y="741807"/>
                  </a:lnTo>
                  <a:lnTo>
                    <a:pt x="937355" y="743426"/>
                  </a:lnTo>
                  <a:lnTo>
                    <a:pt x="939927" y="738283"/>
                  </a:lnTo>
                  <a:lnTo>
                    <a:pt x="941546" y="737997"/>
                  </a:lnTo>
                  <a:lnTo>
                    <a:pt x="944309" y="734473"/>
                  </a:lnTo>
                  <a:lnTo>
                    <a:pt x="951929" y="731901"/>
                  </a:lnTo>
                  <a:lnTo>
                    <a:pt x="954500" y="726757"/>
                  </a:lnTo>
                  <a:lnTo>
                    <a:pt x="954881" y="704279"/>
                  </a:lnTo>
                  <a:lnTo>
                    <a:pt x="960596" y="698754"/>
                  </a:lnTo>
                  <a:lnTo>
                    <a:pt x="967073" y="699516"/>
                  </a:lnTo>
                  <a:lnTo>
                    <a:pt x="968502" y="697706"/>
                  </a:lnTo>
                  <a:lnTo>
                    <a:pt x="972217" y="702088"/>
                  </a:lnTo>
                  <a:lnTo>
                    <a:pt x="975360" y="701707"/>
                  </a:lnTo>
                  <a:lnTo>
                    <a:pt x="983837" y="705422"/>
                  </a:lnTo>
                  <a:lnTo>
                    <a:pt x="986885" y="716185"/>
                  </a:lnTo>
                  <a:lnTo>
                    <a:pt x="989838" y="714280"/>
                  </a:lnTo>
                  <a:lnTo>
                    <a:pt x="993553" y="718566"/>
                  </a:lnTo>
                  <a:lnTo>
                    <a:pt x="995363" y="719995"/>
                  </a:lnTo>
                  <a:lnTo>
                    <a:pt x="998315" y="717995"/>
                  </a:lnTo>
                  <a:lnTo>
                    <a:pt x="1019080" y="729805"/>
                  </a:lnTo>
                  <a:lnTo>
                    <a:pt x="1020413" y="727996"/>
                  </a:lnTo>
                  <a:lnTo>
                    <a:pt x="1022223" y="729329"/>
                  </a:lnTo>
                  <a:lnTo>
                    <a:pt x="1026509" y="725615"/>
                  </a:lnTo>
                  <a:lnTo>
                    <a:pt x="1029272" y="722090"/>
                  </a:lnTo>
                  <a:lnTo>
                    <a:pt x="1027081" y="717518"/>
                  </a:lnTo>
                  <a:lnTo>
                    <a:pt x="1029843" y="713994"/>
                  </a:lnTo>
                  <a:lnTo>
                    <a:pt x="1029843" y="713994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6" name="Volný tvar: obrazec 25">
              <a:extLst>
                <a:ext uri="{FF2B5EF4-FFF2-40B4-BE49-F238E27FC236}">
                  <a16:creationId xmlns:a16="http://schemas.microsoft.com/office/drawing/2014/main" id="{93082A9C-BB53-3AF7-4878-4160FF2E5D63}"/>
                </a:ext>
              </a:extLst>
            </p:cNvPr>
            <p:cNvSpPr>
              <a:spLocks noChangeAspect="1"/>
            </p:cNvSpPr>
            <p:nvPr userDrawn="1">
              <p:custDataLst>
                <p:tags r:id="rId3"/>
              </p:custDataLst>
            </p:nvPr>
          </p:nvSpPr>
          <p:spPr>
            <a:xfrm>
              <a:off x="3926585" y="3069811"/>
              <a:ext cx="1004887" cy="1332642"/>
            </a:xfrm>
            <a:custGeom>
              <a:avLst/>
              <a:gdLst>
                <a:gd name="connsiteX0" fmla="*/ 999744 w 1004887"/>
                <a:gd name="connsiteY0" fmla="*/ 252508 h 1332642"/>
                <a:gd name="connsiteX1" fmla="*/ 997363 w 1004887"/>
                <a:gd name="connsiteY1" fmla="*/ 246412 h 1332642"/>
                <a:gd name="connsiteX2" fmla="*/ 998315 w 1004887"/>
                <a:gd name="connsiteY2" fmla="*/ 241459 h 1332642"/>
                <a:gd name="connsiteX3" fmla="*/ 997934 w 1004887"/>
                <a:gd name="connsiteY3" fmla="*/ 238315 h 1332642"/>
                <a:gd name="connsiteX4" fmla="*/ 996125 w 1004887"/>
                <a:gd name="connsiteY4" fmla="*/ 236982 h 1332642"/>
                <a:gd name="connsiteX5" fmla="*/ 994124 w 1004887"/>
                <a:gd name="connsiteY5" fmla="*/ 234029 h 1332642"/>
                <a:gd name="connsiteX6" fmla="*/ 995363 w 1004887"/>
                <a:gd name="connsiteY6" fmla="*/ 230600 h 1332642"/>
                <a:gd name="connsiteX7" fmla="*/ 996506 w 1004887"/>
                <a:gd name="connsiteY7" fmla="*/ 227266 h 1332642"/>
                <a:gd name="connsiteX8" fmla="*/ 995648 w 1004887"/>
                <a:gd name="connsiteY8" fmla="*/ 220980 h 1332642"/>
                <a:gd name="connsiteX9" fmla="*/ 993934 w 1004887"/>
                <a:gd name="connsiteY9" fmla="*/ 219551 h 1332642"/>
                <a:gd name="connsiteX10" fmla="*/ 996506 w 1004887"/>
                <a:gd name="connsiteY10" fmla="*/ 214408 h 1332642"/>
                <a:gd name="connsiteX11" fmla="*/ 1004126 w 1004887"/>
                <a:gd name="connsiteY11" fmla="*/ 211836 h 1332642"/>
                <a:gd name="connsiteX12" fmla="*/ 993077 w 1004887"/>
                <a:gd name="connsiteY12" fmla="*/ 213265 h 1332642"/>
                <a:gd name="connsiteX13" fmla="*/ 987933 w 1004887"/>
                <a:gd name="connsiteY13" fmla="*/ 210693 h 1332642"/>
                <a:gd name="connsiteX14" fmla="*/ 975741 w 1004887"/>
                <a:gd name="connsiteY14" fmla="*/ 202692 h 1332642"/>
                <a:gd name="connsiteX15" fmla="*/ 971741 w 1004887"/>
                <a:gd name="connsiteY15" fmla="*/ 196786 h 1332642"/>
                <a:gd name="connsiteX16" fmla="*/ 958691 w 1004887"/>
                <a:gd name="connsiteY16" fmla="*/ 195167 h 1332642"/>
                <a:gd name="connsiteX17" fmla="*/ 953548 w 1004887"/>
                <a:gd name="connsiteY17" fmla="*/ 192691 h 1332642"/>
                <a:gd name="connsiteX18" fmla="*/ 947642 w 1004887"/>
                <a:gd name="connsiteY18" fmla="*/ 196596 h 1332642"/>
                <a:gd name="connsiteX19" fmla="*/ 941165 w 1004887"/>
                <a:gd name="connsiteY19" fmla="*/ 195834 h 1332642"/>
                <a:gd name="connsiteX20" fmla="*/ 942499 w 1004887"/>
                <a:gd name="connsiteY20" fmla="*/ 194024 h 1332642"/>
                <a:gd name="connsiteX21" fmla="*/ 940784 w 1004887"/>
                <a:gd name="connsiteY21" fmla="*/ 192691 h 1332642"/>
                <a:gd name="connsiteX22" fmla="*/ 942118 w 1004887"/>
                <a:gd name="connsiteY22" fmla="*/ 190881 h 1332642"/>
                <a:gd name="connsiteX23" fmla="*/ 945737 w 1004887"/>
                <a:gd name="connsiteY23" fmla="*/ 193643 h 1332642"/>
                <a:gd name="connsiteX24" fmla="*/ 947261 w 1004887"/>
                <a:gd name="connsiteY24" fmla="*/ 193453 h 1332642"/>
                <a:gd name="connsiteX25" fmla="*/ 947452 w 1004887"/>
                <a:gd name="connsiteY25" fmla="*/ 182213 h 1332642"/>
                <a:gd name="connsiteX26" fmla="*/ 948214 w 1004887"/>
                <a:gd name="connsiteY26" fmla="*/ 175736 h 1332642"/>
                <a:gd name="connsiteX27" fmla="*/ 946404 w 1004887"/>
                <a:gd name="connsiteY27" fmla="*/ 174307 h 1332642"/>
                <a:gd name="connsiteX28" fmla="*/ 945452 w 1004887"/>
                <a:gd name="connsiteY28" fmla="*/ 166402 h 1332642"/>
                <a:gd name="connsiteX29" fmla="*/ 939356 w 1004887"/>
                <a:gd name="connsiteY29" fmla="*/ 168783 h 1332642"/>
                <a:gd name="connsiteX30" fmla="*/ 934212 w 1004887"/>
                <a:gd name="connsiteY30" fmla="*/ 166211 h 1332642"/>
                <a:gd name="connsiteX31" fmla="*/ 927449 w 1004887"/>
                <a:gd name="connsiteY31" fmla="*/ 163925 h 1332642"/>
                <a:gd name="connsiteX32" fmla="*/ 918210 w 1004887"/>
                <a:gd name="connsiteY32" fmla="*/ 166687 h 1332642"/>
                <a:gd name="connsiteX33" fmla="*/ 913638 w 1004887"/>
                <a:gd name="connsiteY33" fmla="*/ 168878 h 1332642"/>
                <a:gd name="connsiteX34" fmla="*/ 913638 w 1004887"/>
                <a:gd name="connsiteY34" fmla="*/ 168878 h 1332642"/>
                <a:gd name="connsiteX35" fmla="*/ 912114 w 1004887"/>
                <a:gd name="connsiteY35" fmla="*/ 169069 h 1332642"/>
                <a:gd name="connsiteX36" fmla="*/ 911066 w 1004887"/>
                <a:gd name="connsiteY36" fmla="*/ 161163 h 1332642"/>
                <a:gd name="connsiteX37" fmla="*/ 906685 w 1004887"/>
                <a:gd name="connsiteY37" fmla="*/ 152114 h 1332642"/>
                <a:gd name="connsiteX38" fmla="*/ 903351 w 1004887"/>
                <a:gd name="connsiteY38" fmla="*/ 150971 h 1332642"/>
                <a:gd name="connsiteX39" fmla="*/ 900398 w 1004887"/>
                <a:gd name="connsiteY39" fmla="*/ 152876 h 1332642"/>
                <a:gd name="connsiteX40" fmla="*/ 898684 w 1004887"/>
                <a:gd name="connsiteY40" fmla="*/ 151543 h 1332642"/>
                <a:gd name="connsiteX41" fmla="*/ 894683 w 1004887"/>
                <a:gd name="connsiteY41" fmla="*/ 145637 h 1332642"/>
                <a:gd name="connsiteX42" fmla="*/ 891540 w 1004887"/>
                <a:gd name="connsiteY42" fmla="*/ 146018 h 1332642"/>
                <a:gd name="connsiteX43" fmla="*/ 889540 w 1004887"/>
                <a:gd name="connsiteY43" fmla="*/ 130207 h 1332642"/>
                <a:gd name="connsiteX44" fmla="*/ 884587 w 1004887"/>
                <a:gd name="connsiteY44" fmla="*/ 129254 h 1332642"/>
                <a:gd name="connsiteX45" fmla="*/ 880586 w 1004887"/>
                <a:gd name="connsiteY45" fmla="*/ 123349 h 1332642"/>
                <a:gd name="connsiteX46" fmla="*/ 877443 w 1004887"/>
                <a:gd name="connsiteY46" fmla="*/ 123730 h 1332642"/>
                <a:gd name="connsiteX47" fmla="*/ 874109 w 1004887"/>
                <a:gd name="connsiteY47" fmla="*/ 122587 h 1332642"/>
                <a:gd name="connsiteX48" fmla="*/ 871347 w 1004887"/>
                <a:gd name="connsiteY48" fmla="*/ 126111 h 1332642"/>
                <a:gd name="connsiteX49" fmla="*/ 868204 w 1004887"/>
                <a:gd name="connsiteY49" fmla="*/ 126587 h 1332642"/>
                <a:gd name="connsiteX50" fmla="*/ 864870 w 1004887"/>
                <a:gd name="connsiteY50" fmla="*/ 125349 h 1332642"/>
                <a:gd name="connsiteX51" fmla="*/ 863441 w 1004887"/>
                <a:gd name="connsiteY51" fmla="*/ 127159 h 1332642"/>
                <a:gd name="connsiteX52" fmla="*/ 865632 w 1004887"/>
                <a:gd name="connsiteY52" fmla="*/ 131731 h 1332642"/>
                <a:gd name="connsiteX53" fmla="*/ 846677 w 1004887"/>
                <a:gd name="connsiteY53" fmla="*/ 134112 h 1332642"/>
                <a:gd name="connsiteX54" fmla="*/ 841534 w 1004887"/>
                <a:gd name="connsiteY54" fmla="*/ 131540 h 1332642"/>
                <a:gd name="connsiteX55" fmla="*/ 820484 w 1004887"/>
                <a:gd name="connsiteY55" fmla="*/ 129445 h 1332642"/>
                <a:gd name="connsiteX56" fmla="*/ 820007 w 1004887"/>
                <a:gd name="connsiteY56" fmla="*/ 126302 h 1332642"/>
                <a:gd name="connsiteX57" fmla="*/ 816674 w 1004887"/>
                <a:gd name="connsiteY57" fmla="*/ 125063 h 1332642"/>
                <a:gd name="connsiteX58" fmla="*/ 816293 w 1004887"/>
                <a:gd name="connsiteY58" fmla="*/ 121920 h 1332642"/>
                <a:gd name="connsiteX59" fmla="*/ 810959 w 1004887"/>
                <a:gd name="connsiteY59" fmla="*/ 117824 h 1332642"/>
                <a:gd name="connsiteX60" fmla="*/ 812292 w 1004887"/>
                <a:gd name="connsiteY60" fmla="*/ 116015 h 1332642"/>
                <a:gd name="connsiteX61" fmla="*/ 810387 w 1004887"/>
                <a:gd name="connsiteY61" fmla="*/ 113062 h 1332642"/>
                <a:gd name="connsiteX62" fmla="*/ 805244 w 1004887"/>
                <a:gd name="connsiteY62" fmla="*/ 110490 h 1332642"/>
                <a:gd name="connsiteX63" fmla="*/ 801624 w 1004887"/>
                <a:gd name="connsiteY63" fmla="*/ 107728 h 1332642"/>
                <a:gd name="connsiteX64" fmla="*/ 800100 w 1004887"/>
                <a:gd name="connsiteY64" fmla="*/ 107918 h 1332642"/>
                <a:gd name="connsiteX65" fmla="*/ 796481 w 1004887"/>
                <a:gd name="connsiteY65" fmla="*/ 105251 h 1332642"/>
                <a:gd name="connsiteX66" fmla="*/ 787241 w 1004887"/>
                <a:gd name="connsiteY66" fmla="*/ 108013 h 1332642"/>
                <a:gd name="connsiteX67" fmla="*/ 784479 w 1004887"/>
                <a:gd name="connsiteY67" fmla="*/ 98774 h 1332642"/>
                <a:gd name="connsiteX68" fmla="*/ 779717 w 1004887"/>
                <a:gd name="connsiteY68" fmla="*/ 99346 h 1332642"/>
                <a:gd name="connsiteX69" fmla="*/ 774573 w 1004887"/>
                <a:gd name="connsiteY69" fmla="*/ 96774 h 1332642"/>
                <a:gd name="connsiteX70" fmla="*/ 775145 w 1004887"/>
                <a:gd name="connsiteY70" fmla="*/ 88678 h 1332642"/>
                <a:gd name="connsiteX71" fmla="*/ 778478 w 1004887"/>
                <a:gd name="connsiteY71" fmla="*/ 89821 h 1332642"/>
                <a:gd name="connsiteX72" fmla="*/ 779717 w 1004887"/>
                <a:gd name="connsiteY72" fmla="*/ 86487 h 1332642"/>
                <a:gd name="connsiteX73" fmla="*/ 790956 w 1004887"/>
                <a:gd name="connsiteY73" fmla="*/ 86677 h 1332642"/>
                <a:gd name="connsiteX74" fmla="*/ 799433 w 1004887"/>
                <a:gd name="connsiteY74" fmla="*/ 90392 h 1332642"/>
                <a:gd name="connsiteX75" fmla="*/ 799052 w 1004887"/>
                <a:gd name="connsiteY75" fmla="*/ 87249 h 1332642"/>
                <a:gd name="connsiteX76" fmla="*/ 792290 w 1004887"/>
                <a:gd name="connsiteY76" fmla="*/ 84868 h 1332642"/>
                <a:gd name="connsiteX77" fmla="*/ 790766 w 1004887"/>
                <a:gd name="connsiteY77" fmla="*/ 85058 h 1332642"/>
                <a:gd name="connsiteX78" fmla="*/ 788003 w 1004887"/>
                <a:gd name="connsiteY78" fmla="*/ 75819 h 1332642"/>
                <a:gd name="connsiteX79" fmla="*/ 784574 w 1004887"/>
                <a:gd name="connsiteY79" fmla="*/ 74676 h 1332642"/>
                <a:gd name="connsiteX80" fmla="*/ 772001 w 1004887"/>
                <a:gd name="connsiteY80" fmla="*/ 76295 h 1332642"/>
                <a:gd name="connsiteX81" fmla="*/ 768001 w 1004887"/>
                <a:gd name="connsiteY81" fmla="*/ 83153 h 1332642"/>
                <a:gd name="connsiteX82" fmla="*/ 761714 w 1004887"/>
                <a:gd name="connsiteY82" fmla="*/ 84011 h 1332642"/>
                <a:gd name="connsiteX83" fmla="*/ 758190 w 1004887"/>
                <a:gd name="connsiteY83" fmla="*/ 81248 h 1332642"/>
                <a:gd name="connsiteX84" fmla="*/ 759333 w 1004887"/>
                <a:gd name="connsiteY84" fmla="*/ 77915 h 1332642"/>
                <a:gd name="connsiteX85" fmla="*/ 758952 w 1004887"/>
                <a:gd name="connsiteY85" fmla="*/ 74676 h 1332642"/>
                <a:gd name="connsiteX86" fmla="*/ 755999 w 1004887"/>
                <a:gd name="connsiteY86" fmla="*/ 76676 h 1332642"/>
                <a:gd name="connsiteX87" fmla="*/ 753809 w 1004887"/>
                <a:gd name="connsiteY87" fmla="*/ 72200 h 1332642"/>
                <a:gd name="connsiteX88" fmla="*/ 749522 w 1004887"/>
                <a:gd name="connsiteY88" fmla="*/ 75914 h 1332642"/>
                <a:gd name="connsiteX89" fmla="*/ 734663 w 1004887"/>
                <a:gd name="connsiteY89" fmla="*/ 72961 h 1332642"/>
                <a:gd name="connsiteX90" fmla="*/ 732568 w 1004887"/>
                <a:gd name="connsiteY90" fmla="*/ 81248 h 1332642"/>
                <a:gd name="connsiteX91" fmla="*/ 729329 w 1004887"/>
                <a:gd name="connsiteY91" fmla="*/ 81725 h 1332642"/>
                <a:gd name="connsiteX92" fmla="*/ 727043 w 1004887"/>
                <a:gd name="connsiteY92" fmla="*/ 88392 h 1332642"/>
                <a:gd name="connsiteX93" fmla="*/ 725424 w 1004887"/>
                <a:gd name="connsiteY93" fmla="*/ 88582 h 1332642"/>
                <a:gd name="connsiteX94" fmla="*/ 720471 w 1004887"/>
                <a:gd name="connsiteY94" fmla="*/ 87630 h 1332642"/>
                <a:gd name="connsiteX95" fmla="*/ 719519 w 1004887"/>
                <a:gd name="connsiteY95" fmla="*/ 79724 h 1332642"/>
                <a:gd name="connsiteX96" fmla="*/ 708470 w 1004887"/>
                <a:gd name="connsiteY96" fmla="*/ 81153 h 1332642"/>
                <a:gd name="connsiteX97" fmla="*/ 703898 w 1004887"/>
                <a:gd name="connsiteY97" fmla="*/ 83344 h 1332642"/>
                <a:gd name="connsiteX98" fmla="*/ 702374 w 1004887"/>
                <a:gd name="connsiteY98" fmla="*/ 83534 h 1332642"/>
                <a:gd name="connsiteX99" fmla="*/ 701707 w 1004887"/>
                <a:gd name="connsiteY99" fmla="*/ 78772 h 1332642"/>
                <a:gd name="connsiteX100" fmla="*/ 705898 w 1004887"/>
                <a:gd name="connsiteY100" fmla="*/ 73438 h 1332642"/>
                <a:gd name="connsiteX101" fmla="*/ 705231 w 1004887"/>
                <a:gd name="connsiteY101" fmla="*/ 68771 h 1332642"/>
                <a:gd name="connsiteX102" fmla="*/ 711137 w 1004887"/>
                <a:gd name="connsiteY102" fmla="*/ 64770 h 1332642"/>
                <a:gd name="connsiteX103" fmla="*/ 712565 w 1004887"/>
                <a:gd name="connsiteY103" fmla="*/ 62960 h 1332642"/>
                <a:gd name="connsiteX104" fmla="*/ 710565 w 1004887"/>
                <a:gd name="connsiteY104" fmla="*/ 60007 h 1332642"/>
                <a:gd name="connsiteX105" fmla="*/ 714661 w 1004887"/>
                <a:gd name="connsiteY105" fmla="*/ 54673 h 1332642"/>
                <a:gd name="connsiteX106" fmla="*/ 714089 w 1004887"/>
                <a:gd name="connsiteY106" fmla="*/ 50006 h 1332642"/>
                <a:gd name="connsiteX107" fmla="*/ 719042 w 1004887"/>
                <a:gd name="connsiteY107" fmla="*/ 50959 h 1332642"/>
                <a:gd name="connsiteX108" fmla="*/ 725329 w 1004887"/>
                <a:gd name="connsiteY108" fmla="*/ 50102 h 1332642"/>
                <a:gd name="connsiteX109" fmla="*/ 725710 w 1004887"/>
                <a:gd name="connsiteY109" fmla="*/ 40481 h 1332642"/>
                <a:gd name="connsiteX110" fmla="*/ 723329 w 1004887"/>
                <a:gd name="connsiteY110" fmla="*/ 34385 h 1332642"/>
                <a:gd name="connsiteX111" fmla="*/ 723138 w 1004887"/>
                <a:gd name="connsiteY111" fmla="*/ 32766 h 1332642"/>
                <a:gd name="connsiteX112" fmla="*/ 718185 w 1004887"/>
                <a:gd name="connsiteY112" fmla="*/ 31813 h 1332642"/>
                <a:gd name="connsiteX113" fmla="*/ 715613 w 1004887"/>
                <a:gd name="connsiteY113" fmla="*/ 24098 h 1332642"/>
                <a:gd name="connsiteX114" fmla="*/ 711518 w 1004887"/>
                <a:gd name="connsiteY114" fmla="*/ 29432 h 1332642"/>
                <a:gd name="connsiteX115" fmla="*/ 709517 w 1004887"/>
                <a:gd name="connsiteY115" fmla="*/ 26479 h 1332642"/>
                <a:gd name="connsiteX116" fmla="*/ 710089 w 1004887"/>
                <a:gd name="connsiteY116" fmla="*/ 18383 h 1332642"/>
                <a:gd name="connsiteX117" fmla="*/ 708279 w 1004887"/>
                <a:gd name="connsiteY117" fmla="*/ 17050 h 1332642"/>
                <a:gd name="connsiteX118" fmla="*/ 707517 w 1004887"/>
                <a:gd name="connsiteY118" fmla="*/ 23527 h 1332642"/>
                <a:gd name="connsiteX119" fmla="*/ 701421 w 1004887"/>
                <a:gd name="connsiteY119" fmla="*/ 25908 h 1332642"/>
                <a:gd name="connsiteX120" fmla="*/ 701612 w 1004887"/>
                <a:gd name="connsiteY120" fmla="*/ 27527 h 1332642"/>
                <a:gd name="connsiteX121" fmla="*/ 698278 w 1004887"/>
                <a:gd name="connsiteY121" fmla="*/ 26289 h 1332642"/>
                <a:gd name="connsiteX122" fmla="*/ 695135 w 1004887"/>
                <a:gd name="connsiteY122" fmla="*/ 26670 h 1332642"/>
                <a:gd name="connsiteX123" fmla="*/ 689229 w 1004887"/>
                <a:gd name="connsiteY123" fmla="*/ 30671 h 1332642"/>
                <a:gd name="connsiteX124" fmla="*/ 684086 w 1004887"/>
                <a:gd name="connsiteY124" fmla="*/ 28099 h 1332642"/>
                <a:gd name="connsiteX125" fmla="*/ 683990 w 1004887"/>
                <a:gd name="connsiteY125" fmla="*/ 15335 h 1332642"/>
                <a:gd name="connsiteX126" fmla="*/ 680847 w 1004887"/>
                <a:gd name="connsiteY126" fmla="*/ 15716 h 1332642"/>
                <a:gd name="connsiteX127" fmla="*/ 679133 w 1004887"/>
                <a:gd name="connsiteY127" fmla="*/ 14288 h 1332642"/>
                <a:gd name="connsiteX128" fmla="*/ 675894 w 1004887"/>
                <a:gd name="connsiteY128" fmla="*/ 14764 h 1332642"/>
                <a:gd name="connsiteX129" fmla="*/ 676656 w 1004887"/>
                <a:gd name="connsiteY129" fmla="*/ 8192 h 1332642"/>
                <a:gd name="connsiteX130" fmla="*/ 671608 w 1004887"/>
                <a:gd name="connsiteY130" fmla="*/ 5620 h 1332642"/>
                <a:gd name="connsiteX131" fmla="*/ 672941 w 1004887"/>
                <a:gd name="connsiteY131" fmla="*/ 3905 h 1332642"/>
                <a:gd name="connsiteX132" fmla="*/ 676085 w 1004887"/>
                <a:gd name="connsiteY132" fmla="*/ 3524 h 1332642"/>
                <a:gd name="connsiteX133" fmla="*/ 674084 w 1004887"/>
                <a:gd name="connsiteY133" fmla="*/ 571 h 1332642"/>
                <a:gd name="connsiteX134" fmla="*/ 669798 w 1004887"/>
                <a:gd name="connsiteY134" fmla="*/ 4286 h 1332642"/>
                <a:gd name="connsiteX135" fmla="*/ 666655 w 1004887"/>
                <a:gd name="connsiteY135" fmla="*/ 4667 h 1332642"/>
                <a:gd name="connsiteX136" fmla="*/ 665417 w 1004887"/>
                <a:gd name="connsiteY136" fmla="*/ 8001 h 1332642"/>
                <a:gd name="connsiteX137" fmla="*/ 664464 w 1004887"/>
                <a:gd name="connsiteY137" fmla="*/ 12954 h 1332642"/>
                <a:gd name="connsiteX138" fmla="*/ 661321 w 1004887"/>
                <a:gd name="connsiteY138" fmla="*/ 13335 h 1332642"/>
                <a:gd name="connsiteX139" fmla="*/ 658749 w 1004887"/>
                <a:gd name="connsiteY139" fmla="*/ 18479 h 1332642"/>
                <a:gd name="connsiteX140" fmla="*/ 652272 w 1004887"/>
                <a:gd name="connsiteY140" fmla="*/ 17717 h 1332642"/>
                <a:gd name="connsiteX141" fmla="*/ 654368 w 1004887"/>
                <a:gd name="connsiteY141" fmla="*/ 9430 h 1332642"/>
                <a:gd name="connsiteX142" fmla="*/ 653225 w 1004887"/>
                <a:gd name="connsiteY142" fmla="*/ 0 h 1332642"/>
                <a:gd name="connsiteX143" fmla="*/ 651605 w 1004887"/>
                <a:gd name="connsiteY143" fmla="*/ 190 h 1332642"/>
                <a:gd name="connsiteX144" fmla="*/ 651986 w 1004887"/>
                <a:gd name="connsiteY144" fmla="*/ 3334 h 1332642"/>
                <a:gd name="connsiteX145" fmla="*/ 639032 w 1004887"/>
                <a:gd name="connsiteY145" fmla="*/ 1810 h 1332642"/>
                <a:gd name="connsiteX146" fmla="*/ 636080 w 1004887"/>
                <a:gd name="connsiteY146" fmla="*/ 3810 h 1332642"/>
                <a:gd name="connsiteX147" fmla="*/ 636270 w 1004887"/>
                <a:gd name="connsiteY147" fmla="*/ 5334 h 1332642"/>
                <a:gd name="connsiteX148" fmla="*/ 633317 w 1004887"/>
                <a:gd name="connsiteY148" fmla="*/ 7334 h 1332642"/>
                <a:gd name="connsiteX149" fmla="*/ 629888 w 1004887"/>
                <a:gd name="connsiteY149" fmla="*/ 6191 h 1332642"/>
                <a:gd name="connsiteX150" fmla="*/ 627983 w 1004887"/>
                <a:gd name="connsiteY150" fmla="*/ 3238 h 1332642"/>
                <a:gd name="connsiteX151" fmla="*/ 623221 w 1004887"/>
                <a:gd name="connsiteY151" fmla="*/ 3810 h 1332642"/>
                <a:gd name="connsiteX152" fmla="*/ 623411 w 1004887"/>
                <a:gd name="connsiteY152" fmla="*/ 5429 h 1332642"/>
                <a:gd name="connsiteX153" fmla="*/ 626745 w 1004887"/>
                <a:gd name="connsiteY153" fmla="*/ 6572 h 1332642"/>
                <a:gd name="connsiteX154" fmla="*/ 628745 w 1004887"/>
                <a:gd name="connsiteY154" fmla="*/ 9525 h 1332642"/>
                <a:gd name="connsiteX155" fmla="*/ 619887 w 1004887"/>
                <a:gd name="connsiteY155" fmla="*/ 28289 h 1332642"/>
                <a:gd name="connsiteX156" fmla="*/ 623507 w 1004887"/>
                <a:gd name="connsiteY156" fmla="*/ 31052 h 1332642"/>
                <a:gd name="connsiteX157" fmla="*/ 631127 w 1004887"/>
                <a:gd name="connsiteY157" fmla="*/ 28480 h 1332642"/>
                <a:gd name="connsiteX158" fmla="*/ 631603 w 1004887"/>
                <a:gd name="connsiteY158" fmla="*/ 31623 h 1332642"/>
                <a:gd name="connsiteX159" fmla="*/ 633317 w 1004887"/>
                <a:gd name="connsiteY159" fmla="*/ 32956 h 1332642"/>
                <a:gd name="connsiteX160" fmla="*/ 633984 w 1004887"/>
                <a:gd name="connsiteY160" fmla="*/ 37719 h 1332642"/>
                <a:gd name="connsiteX161" fmla="*/ 631222 w 1004887"/>
                <a:gd name="connsiteY161" fmla="*/ 41243 h 1332642"/>
                <a:gd name="connsiteX162" fmla="*/ 630460 w 1004887"/>
                <a:gd name="connsiteY162" fmla="*/ 47815 h 1332642"/>
                <a:gd name="connsiteX163" fmla="*/ 624269 w 1004887"/>
                <a:gd name="connsiteY163" fmla="*/ 50197 h 1332642"/>
                <a:gd name="connsiteX164" fmla="*/ 622935 w 1004887"/>
                <a:gd name="connsiteY164" fmla="*/ 51911 h 1332642"/>
                <a:gd name="connsiteX165" fmla="*/ 619220 w 1004887"/>
                <a:gd name="connsiteY165" fmla="*/ 47625 h 1332642"/>
                <a:gd name="connsiteX166" fmla="*/ 617411 w 1004887"/>
                <a:gd name="connsiteY166" fmla="*/ 46292 h 1332642"/>
                <a:gd name="connsiteX167" fmla="*/ 621792 w 1004887"/>
                <a:gd name="connsiteY167" fmla="*/ 55340 h 1332642"/>
                <a:gd name="connsiteX168" fmla="*/ 620363 w 1004887"/>
                <a:gd name="connsiteY168" fmla="*/ 57055 h 1332642"/>
                <a:gd name="connsiteX169" fmla="*/ 615410 w 1004887"/>
                <a:gd name="connsiteY169" fmla="*/ 56102 h 1332642"/>
                <a:gd name="connsiteX170" fmla="*/ 610934 w 1004887"/>
                <a:gd name="connsiteY170" fmla="*/ 58293 h 1332642"/>
                <a:gd name="connsiteX171" fmla="*/ 604361 w 1004887"/>
                <a:gd name="connsiteY171" fmla="*/ 57531 h 1332642"/>
                <a:gd name="connsiteX172" fmla="*/ 602837 w 1004887"/>
                <a:gd name="connsiteY172" fmla="*/ 57721 h 1332642"/>
                <a:gd name="connsiteX173" fmla="*/ 603599 w 1004887"/>
                <a:gd name="connsiteY173" fmla="*/ 64008 h 1332642"/>
                <a:gd name="connsiteX174" fmla="*/ 598932 w 1004887"/>
                <a:gd name="connsiteY174" fmla="*/ 64675 h 1332642"/>
                <a:gd name="connsiteX175" fmla="*/ 598075 w 1004887"/>
                <a:gd name="connsiteY175" fmla="*/ 58293 h 1332642"/>
                <a:gd name="connsiteX176" fmla="*/ 597122 w 1004887"/>
                <a:gd name="connsiteY176" fmla="*/ 63246 h 1332642"/>
                <a:gd name="connsiteX177" fmla="*/ 593789 w 1004887"/>
                <a:gd name="connsiteY177" fmla="*/ 62103 h 1332642"/>
                <a:gd name="connsiteX178" fmla="*/ 591788 w 1004887"/>
                <a:gd name="connsiteY178" fmla="*/ 59150 h 1332642"/>
                <a:gd name="connsiteX179" fmla="*/ 585502 w 1004887"/>
                <a:gd name="connsiteY179" fmla="*/ 59912 h 1332642"/>
                <a:gd name="connsiteX180" fmla="*/ 589026 w 1004887"/>
                <a:gd name="connsiteY180" fmla="*/ 62675 h 1332642"/>
                <a:gd name="connsiteX181" fmla="*/ 586073 w 1004887"/>
                <a:gd name="connsiteY181" fmla="*/ 64675 h 1332642"/>
                <a:gd name="connsiteX182" fmla="*/ 584930 w 1004887"/>
                <a:gd name="connsiteY182" fmla="*/ 68008 h 1332642"/>
                <a:gd name="connsiteX183" fmla="*/ 588264 w 1004887"/>
                <a:gd name="connsiteY183" fmla="*/ 69247 h 1332642"/>
                <a:gd name="connsiteX184" fmla="*/ 591788 w 1004887"/>
                <a:gd name="connsiteY184" fmla="*/ 71914 h 1332642"/>
                <a:gd name="connsiteX185" fmla="*/ 588645 w 1004887"/>
                <a:gd name="connsiteY185" fmla="*/ 72390 h 1332642"/>
                <a:gd name="connsiteX186" fmla="*/ 593598 w 1004887"/>
                <a:gd name="connsiteY186" fmla="*/ 86201 h 1332642"/>
                <a:gd name="connsiteX187" fmla="*/ 593979 w 1004887"/>
                <a:gd name="connsiteY187" fmla="*/ 89344 h 1332642"/>
                <a:gd name="connsiteX188" fmla="*/ 589312 w 1004887"/>
                <a:gd name="connsiteY188" fmla="*/ 89916 h 1332642"/>
                <a:gd name="connsiteX189" fmla="*/ 584168 w 1004887"/>
                <a:gd name="connsiteY189" fmla="*/ 100203 h 1332642"/>
                <a:gd name="connsiteX190" fmla="*/ 585407 w 1004887"/>
                <a:gd name="connsiteY190" fmla="*/ 109633 h 1332642"/>
                <a:gd name="connsiteX191" fmla="*/ 589598 w 1004887"/>
                <a:gd name="connsiteY191" fmla="*/ 117157 h 1332642"/>
                <a:gd name="connsiteX192" fmla="*/ 586550 w 1004887"/>
                <a:gd name="connsiteY192" fmla="*/ 119158 h 1332642"/>
                <a:gd name="connsiteX193" fmla="*/ 582073 w 1004887"/>
                <a:gd name="connsiteY193" fmla="*/ 121348 h 1332642"/>
                <a:gd name="connsiteX194" fmla="*/ 570167 w 1004887"/>
                <a:gd name="connsiteY194" fmla="*/ 116396 h 1332642"/>
                <a:gd name="connsiteX195" fmla="*/ 560927 w 1004887"/>
                <a:gd name="connsiteY195" fmla="*/ 106394 h 1332642"/>
                <a:gd name="connsiteX196" fmla="*/ 555593 w 1004887"/>
                <a:gd name="connsiteY196" fmla="*/ 102203 h 1332642"/>
                <a:gd name="connsiteX197" fmla="*/ 553593 w 1004887"/>
                <a:gd name="connsiteY197" fmla="*/ 99250 h 1332642"/>
                <a:gd name="connsiteX198" fmla="*/ 554546 w 1004887"/>
                <a:gd name="connsiteY198" fmla="*/ 94298 h 1332642"/>
                <a:gd name="connsiteX199" fmla="*/ 553022 w 1004887"/>
                <a:gd name="connsiteY199" fmla="*/ 94583 h 1332642"/>
                <a:gd name="connsiteX200" fmla="*/ 552641 w 1004887"/>
                <a:gd name="connsiteY200" fmla="*/ 104204 h 1332642"/>
                <a:gd name="connsiteX201" fmla="*/ 550831 w 1004887"/>
                <a:gd name="connsiteY201" fmla="*/ 102870 h 1332642"/>
                <a:gd name="connsiteX202" fmla="*/ 550069 w 1004887"/>
                <a:gd name="connsiteY202" fmla="*/ 96488 h 1332642"/>
                <a:gd name="connsiteX203" fmla="*/ 548259 w 1004887"/>
                <a:gd name="connsiteY203" fmla="*/ 95155 h 1332642"/>
                <a:gd name="connsiteX204" fmla="*/ 546640 w 1004887"/>
                <a:gd name="connsiteY204" fmla="*/ 95345 h 1332642"/>
                <a:gd name="connsiteX205" fmla="*/ 544735 w 1004887"/>
                <a:gd name="connsiteY205" fmla="*/ 92392 h 1332642"/>
                <a:gd name="connsiteX206" fmla="*/ 543116 w 1004887"/>
                <a:gd name="connsiteY206" fmla="*/ 92583 h 1332642"/>
                <a:gd name="connsiteX207" fmla="*/ 539591 w 1004887"/>
                <a:gd name="connsiteY207" fmla="*/ 89821 h 1332642"/>
                <a:gd name="connsiteX208" fmla="*/ 539782 w 1004887"/>
                <a:gd name="connsiteY208" fmla="*/ 91440 h 1332642"/>
                <a:gd name="connsiteX209" fmla="*/ 538163 w 1004887"/>
                <a:gd name="connsiteY209" fmla="*/ 91631 h 1332642"/>
                <a:gd name="connsiteX210" fmla="*/ 537401 w 1004887"/>
                <a:gd name="connsiteY210" fmla="*/ 85344 h 1332642"/>
                <a:gd name="connsiteX211" fmla="*/ 535781 w 1004887"/>
                <a:gd name="connsiteY211" fmla="*/ 85534 h 1332642"/>
                <a:gd name="connsiteX212" fmla="*/ 534448 w 1004887"/>
                <a:gd name="connsiteY212" fmla="*/ 87249 h 1332642"/>
                <a:gd name="connsiteX213" fmla="*/ 527685 w 1004887"/>
                <a:gd name="connsiteY213" fmla="*/ 84963 h 1332642"/>
                <a:gd name="connsiteX214" fmla="*/ 529304 w 1004887"/>
                <a:gd name="connsiteY214" fmla="*/ 84773 h 1332642"/>
                <a:gd name="connsiteX215" fmla="*/ 528923 w 1004887"/>
                <a:gd name="connsiteY215" fmla="*/ 81534 h 1332642"/>
                <a:gd name="connsiteX216" fmla="*/ 521399 w 1004887"/>
                <a:gd name="connsiteY216" fmla="*/ 85725 h 1332642"/>
                <a:gd name="connsiteX217" fmla="*/ 516446 w 1004887"/>
                <a:gd name="connsiteY217" fmla="*/ 84773 h 1332642"/>
                <a:gd name="connsiteX218" fmla="*/ 516636 w 1004887"/>
                <a:gd name="connsiteY218" fmla="*/ 86296 h 1332642"/>
                <a:gd name="connsiteX219" fmla="*/ 512921 w 1004887"/>
                <a:gd name="connsiteY219" fmla="*/ 82010 h 1332642"/>
                <a:gd name="connsiteX220" fmla="*/ 508730 w 1004887"/>
                <a:gd name="connsiteY220" fmla="*/ 87344 h 1332642"/>
                <a:gd name="connsiteX221" fmla="*/ 503206 w 1004887"/>
                <a:gd name="connsiteY221" fmla="*/ 81629 h 1332642"/>
                <a:gd name="connsiteX222" fmla="*/ 500444 w 1004887"/>
                <a:gd name="connsiteY222" fmla="*/ 85154 h 1332642"/>
                <a:gd name="connsiteX223" fmla="*/ 496919 w 1004887"/>
                <a:gd name="connsiteY223" fmla="*/ 82486 h 1332642"/>
                <a:gd name="connsiteX224" fmla="*/ 496157 w 1004887"/>
                <a:gd name="connsiteY224" fmla="*/ 76105 h 1332642"/>
                <a:gd name="connsiteX225" fmla="*/ 494729 w 1004887"/>
                <a:gd name="connsiteY225" fmla="*/ 77915 h 1332642"/>
                <a:gd name="connsiteX226" fmla="*/ 493967 w 1004887"/>
                <a:gd name="connsiteY226" fmla="*/ 71628 h 1332642"/>
                <a:gd name="connsiteX227" fmla="*/ 488252 w 1004887"/>
                <a:gd name="connsiteY227" fmla="*/ 77152 h 1332642"/>
                <a:gd name="connsiteX228" fmla="*/ 486823 w 1004887"/>
                <a:gd name="connsiteY228" fmla="*/ 78962 h 1332642"/>
                <a:gd name="connsiteX229" fmla="*/ 483870 w 1004887"/>
                <a:gd name="connsiteY229" fmla="*/ 80867 h 1332642"/>
                <a:gd name="connsiteX230" fmla="*/ 483679 w 1004887"/>
                <a:gd name="connsiteY230" fmla="*/ 79343 h 1332642"/>
                <a:gd name="connsiteX231" fmla="*/ 482346 w 1004887"/>
                <a:gd name="connsiteY231" fmla="*/ 81058 h 1332642"/>
                <a:gd name="connsiteX232" fmla="*/ 483489 w 1004887"/>
                <a:gd name="connsiteY232" fmla="*/ 90583 h 1332642"/>
                <a:gd name="connsiteX233" fmla="*/ 478822 w 1004887"/>
                <a:gd name="connsiteY233" fmla="*/ 91154 h 1332642"/>
                <a:gd name="connsiteX234" fmla="*/ 473678 w 1004887"/>
                <a:gd name="connsiteY234" fmla="*/ 88582 h 1332642"/>
                <a:gd name="connsiteX235" fmla="*/ 471106 w 1004887"/>
                <a:gd name="connsiteY235" fmla="*/ 93726 h 1332642"/>
                <a:gd name="connsiteX236" fmla="*/ 472916 w 1004887"/>
                <a:gd name="connsiteY236" fmla="*/ 95155 h 1332642"/>
                <a:gd name="connsiteX237" fmla="*/ 476060 w 1004887"/>
                <a:gd name="connsiteY237" fmla="*/ 94679 h 1332642"/>
                <a:gd name="connsiteX238" fmla="*/ 476250 w 1004887"/>
                <a:gd name="connsiteY238" fmla="*/ 96298 h 1332642"/>
                <a:gd name="connsiteX239" fmla="*/ 472059 w 1004887"/>
                <a:gd name="connsiteY239" fmla="*/ 101632 h 1332642"/>
                <a:gd name="connsiteX240" fmla="*/ 463772 w 1004887"/>
                <a:gd name="connsiteY240" fmla="*/ 99536 h 1332642"/>
                <a:gd name="connsiteX241" fmla="*/ 460820 w 1004887"/>
                <a:gd name="connsiteY241" fmla="*/ 101441 h 1332642"/>
                <a:gd name="connsiteX242" fmla="*/ 459867 w 1004887"/>
                <a:gd name="connsiteY242" fmla="*/ 106394 h 1332642"/>
                <a:gd name="connsiteX243" fmla="*/ 456914 w 1004887"/>
                <a:gd name="connsiteY243" fmla="*/ 108394 h 1332642"/>
                <a:gd name="connsiteX244" fmla="*/ 450437 w 1004887"/>
                <a:gd name="connsiteY244" fmla="*/ 107632 h 1332642"/>
                <a:gd name="connsiteX245" fmla="*/ 451009 w 1004887"/>
                <a:gd name="connsiteY245" fmla="*/ 112300 h 1332642"/>
                <a:gd name="connsiteX246" fmla="*/ 448247 w 1004887"/>
                <a:gd name="connsiteY246" fmla="*/ 115919 h 1332642"/>
                <a:gd name="connsiteX247" fmla="*/ 443294 w 1004887"/>
                <a:gd name="connsiteY247" fmla="*/ 114967 h 1332642"/>
                <a:gd name="connsiteX248" fmla="*/ 443484 w 1004887"/>
                <a:gd name="connsiteY248" fmla="*/ 116491 h 1332642"/>
                <a:gd name="connsiteX249" fmla="*/ 439007 w 1004887"/>
                <a:gd name="connsiteY249" fmla="*/ 118681 h 1332642"/>
                <a:gd name="connsiteX250" fmla="*/ 439388 w 1004887"/>
                <a:gd name="connsiteY250" fmla="*/ 121825 h 1332642"/>
                <a:gd name="connsiteX251" fmla="*/ 436626 w 1004887"/>
                <a:gd name="connsiteY251" fmla="*/ 125444 h 1332642"/>
                <a:gd name="connsiteX252" fmla="*/ 432911 w 1004887"/>
                <a:gd name="connsiteY252" fmla="*/ 121063 h 1332642"/>
                <a:gd name="connsiteX253" fmla="*/ 423386 w 1004887"/>
                <a:gd name="connsiteY253" fmla="*/ 122301 h 1332642"/>
                <a:gd name="connsiteX254" fmla="*/ 425006 w 1004887"/>
                <a:gd name="connsiteY254" fmla="*/ 134874 h 1332642"/>
                <a:gd name="connsiteX255" fmla="*/ 421862 w 1004887"/>
                <a:gd name="connsiteY255" fmla="*/ 135350 h 1332642"/>
                <a:gd name="connsiteX256" fmla="*/ 423291 w 1004887"/>
                <a:gd name="connsiteY256" fmla="*/ 133540 h 1332642"/>
                <a:gd name="connsiteX257" fmla="*/ 418148 w 1004887"/>
                <a:gd name="connsiteY257" fmla="*/ 130969 h 1332642"/>
                <a:gd name="connsiteX258" fmla="*/ 415766 w 1004887"/>
                <a:gd name="connsiteY258" fmla="*/ 137731 h 1332642"/>
                <a:gd name="connsiteX259" fmla="*/ 405670 w 1004887"/>
                <a:gd name="connsiteY259" fmla="*/ 134207 h 1332642"/>
                <a:gd name="connsiteX260" fmla="*/ 397764 w 1004887"/>
                <a:gd name="connsiteY260" fmla="*/ 135160 h 1332642"/>
                <a:gd name="connsiteX261" fmla="*/ 393478 w 1004887"/>
                <a:gd name="connsiteY261" fmla="*/ 138970 h 1332642"/>
                <a:gd name="connsiteX262" fmla="*/ 392906 w 1004887"/>
                <a:gd name="connsiteY262" fmla="*/ 146971 h 1332642"/>
                <a:gd name="connsiteX263" fmla="*/ 400812 w 1004887"/>
                <a:gd name="connsiteY263" fmla="*/ 158877 h 1332642"/>
                <a:gd name="connsiteX264" fmla="*/ 400812 w 1004887"/>
                <a:gd name="connsiteY264" fmla="*/ 158877 h 1332642"/>
                <a:gd name="connsiteX265" fmla="*/ 401193 w 1004887"/>
                <a:gd name="connsiteY265" fmla="*/ 162020 h 1332642"/>
                <a:gd name="connsiteX266" fmla="*/ 397859 w 1004887"/>
                <a:gd name="connsiteY266" fmla="*/ 160782 h 1332642"/>
                <a:gd name="connsiteX267" fmla="*/ 394907 w 1004887"/>
                <a:gd name="connsiteY267" fmla="*/ 162782 h 1332642"/>
                <a:gd name="connsiteX268" fmla="*/ 398240 w 1004887"/>
                <a:gd name="connsiteY268" fmla="*/ 163925 h 1332642"/>
                <a:gd name="connsiteX269" fmla="*/ 393764 w 1004887"/>
                <a:gd name="connsiteY269" fmla="*/ 166116 h 1332642"/>
                <a:gd name="connsiteX270" fmla="*/ 398907 w 1004887"/>
                <a:gd name="connsiteY270" fmla="*/ 168688 h 1332642"/>
                <a:gd name="connsiteX271" fmla="*/ 399479 w 1004887"/>
                <a:gd name="connsiteY271" fmla="*/ 173450 h 1332642"/>
                <a:gd name="connsiteX272" fmla="*/ 395288 w 1004887"/>
                <a:gd name="connsiteY272" fmla="*/ 178784 h 1332642"/>
                <a:gd name="connsiteX273" fmla="*/ 393954 w 1004887"/>
                <a:gd name="connsiteY273" fmla="*/ 180594 h 1332642"/>
                <a:gd name="connsiteX274" fmla="*/ 390620 w 1004887"/>
                <a:gd name="connsiteY274" fmla="*/ 179356 h 1332642"/>
                <a:gd name="connsiteX275" fmla="*/ 387858 w 1004887"/>
                <a:gd name="connsiteY275" fmla="*/ 182975 h 1332642"/>
                <a:gd name="connsiteX276" fmla="*/ 384905 w 1004887"/>
                <a:gd name="connsiteY276" fmla="*/ 184880 h 1332642"/>
                <a:gd name="connsiteX277" fmla="*/ 380714 w 1004887"/>
                <a:gd name="connsiteY277" fmla="*/ 190310 h 1332642"/>
                <a:gd name="connsiteX278" fmla="*/ 377571 w 1004887"/>
                <a:gd name="connsiteY278" fmla="*/ 190690 h 1332642"/>
                <a:gd name="connsiteX279" fmla="*/ 377762 w 1004887"/>
                <a:gd name="connsiteY279" fmla="*/ 192215 h 1332642"/>
                <a:gd name="connsiteX280" fmla="*/ 378047 w 1004887"/>
                <a:gd name="connsiteY280" fmla="*/ 193834 h 1332642"/>
                <a:gd name="connsiteX281" fmla="*/ 371285 w 1004887"/>
                <a:gd name="connsiteY281" fmla="*/ 191452 h 1332642"/>
                <a:gd name="connsiteX282" fmla="*/ 372142 w 1004887"/>
                <a:gd name="connsiteY282" fmla="*/ 197739 h 1332642"/>
                <a:gd name="connsiteX283" fmla="*/ 372332 w 1004887"/>
                <a:gd name="connsiteY283" fmla="*/ 199358 h 1332642"/>
                <a:gd name="connsiteX284" fmla="*/ 368903 w 1004887"/>
                <a:gd name="connsiteY284" fmla="*/ 198215 h 1332642"/>
                <a:gd name="connsiteX285" fmla="*/ 360236 w 1004887"/>
                <a:gd name="connsiteY285" fmla="*/ 192881 h 1332642"/>
                <a:gd name="connsiteX286" fmla="*/ 356521 w 1004887"/>
                <a:gd name="connsiteY286" fmla="*/ 188500 h 1332642"/>
                <a:gd name="connsiteX287" fmla="*/ 356045 w 1004887"/>
                <a:gd name="connsiteY287" fmla="*/ 185356 h 1332642"/>
                <a:gd name="connsiteX288" fmla="*/ 350901 w 1004887"/>
                <a:gd name="connsiteY288" fmla="*/ 182785 h 1332642"/>
                <a:gd name="connsiteX289" fmla="*/ 344424 w 1004887"/>
                <a:gd name="connsiteY289" fmla="*/ 182023 h 1332642"/>
                <a:gd name="connsiteX290" fmla="*/ 337757 w 1004887"/>
                <a:gd name="connsiteY290" fmla="*/ 192500 h 1332642"/>
                <a:gd name="connsiteX291" fmla="*/ 327851 w 1004887"/>
                <a:gd name="connsiteY291" fmla="*/ 190595 h 1332642"/>
                <a:gd name="connsiteX292" fmla="*/ 321564 w 1004887"/>
                <a:gd name="connsiteY292" fmla="*/ 191357 h 1332642"/>
                <a:gd name="connsiteX293" fmla="*/ 318611 w 1004887"/>
                <a:gd name="connsiteY293" fmla="*/ 193357 h 1332642"/>
                <a:gd name="connsiteX294" fmla="*/ 317564 w 1004887"/>
                <a:gd name="connsiteY294" fmla="*/ 185452 h 1332642"/>
                <a:gd name="connsiteX295" fmla="*/ 310515 w 1004887"/>
                <a:gd name="connsiteY295" fmla="*/ 179927 h 1332642"/>
                <a:gd name="connsiteX296" fmla="*/ 304610 w 1004887"/>
                <a:gd name="connsiteY296" fmla="*/ 183928 h 1332642"/>
                <a:gd name="connsiteX297" fmla="*/ 299466 w 1004887"/>
                <a:gd name="connsiteY297" fmla="*/ 181356 h 1332642"/>
                <a:gd name="connsiteX298" fmla="*/ 299847 w 1004887"/>
                <a:gd name="connsiteY298" fmla="*/ 184499 h 1332642"/>
                <a:gd name="connsiteX299" fmla="*/ 296704 w 1004887"/>
                <a:gd name="connsiteY299" fmla="*/ 184976 h 1332642"/>
                <a:gd name="connsiteX300" fmla="*/ 294704 w 1004887"/>
                <a:gd name="connsiteY300" fmla="*/ 182023 h 1332642"/>
                <a:gd name="connsiteX301" fmla="*/ 295847 w 1004887"/>
                <a:gd name="connsiteY301" fmla="*/ 178594 h 1332642"/>
                <a:gd name="connsiteX302" fmla="*/ 292894 w 1004887"/>
                <a:gd name="connsiteY302" fmla="*/ 180594 h 1332642"/>
                <a:gd name="connsiteX303" fmla="*/ 293942 w 1004887"/>
                <a:gd name="connsiteY303" fmla="*/ 175641 h 1332642"/>
                <a:gd name="connsiteX304" fmla="*/ 290513 w 1004887"/>
                <a:gd name="connsiteY304" fmla="*/ 174498 h 1332642"/>
                <a:gd name="connsiteX305" fmla="*/ 284226 w 1004887"/>
                <a:gd name="connsiteY305" fmla="*/ 175260 h 1332642"/>
                <a:gd name="connsiteX306" fmla="*/ 280702 w 1004887"/>
                <a:gd name="connsiteY306" fmla="*/ 172498 h 1332642"/>
                <a:gd name="connsiteX307" fmla="*/ 275749 w 1004887"/>
                <a:gd name="connsiteY307" fmla="*/ 171545 h 1332642"/>
                <a:gd name="connsiteX308" fmla="*/ 274796 w 1004887"/>
                <a:gd name="connsiteY308" fmla="*/ 176498 h 1332642"/>
                <a:gd name="connsiteX309" fmla="*/ 270224 w 1004887"/>
                <a:gd name="connsiteY309" fmla="*/ 178689 h 1332642"/>
                <a:gd name="connsiteX310" fmla="*/ 264509 w 1004887"/>
                <a:gd name="connsiteY310" fmla="*/ 184214 h 1332642"/>
                <a:gd name="connsiteX311" fmla="*/ 260794 w 1004887"/>
                <a:gd name="connsiteY311" fmla="*/ 179927 h 1332642"/>
                <a:gd name="connsiteX312" fmla="*/ 258794 w 1004887"/>
                <a:gd name="connsiteY312" fmla="*/ 176974 h 1332642"/>
                <a:gd name="connsiteX313" fmla="*/ 257365 w 1004887"/>
                <a:gd name="connsiteY313" fmla="*/ 178689 h 1332642"/>
                <a:gd name="connsiteX314" fmla="*/ 256032 w 1004887"/>
                <a:gd name="connsiteY314" fmla="*/ 180499 h 1332642"/>
                <a:gd name="connsiteX315" fmla="*/ 249936 w 1004887"/>
                <a:gd name="connsiteY315" fmla="*/ 182880 h 1332642"/>
                <a:gd name="connsiteX316" fmla="*/ 244602 w 1004887"/>
                <a:gd name="connsiteY316" fmla="*/ 178784 h 1332642"/>
                <a:gd name="connsiteX317" fmla="*/ 243364 w 1004887"/>
                <a:gd name="connsiteY317" fmla="*/ 182118 h 1332642"/>
                <a:gd name="connsiteX318" fmla="*/ 234982 w 1004887"/>
                <a:gd name="connsiteY318" fmla="*/ 191167 h 1332642"/>
                <a:gd name="connsiteX319" fmla="*/ 230219 w 1004887"/>
                <a:gd name="connsiteY319" fmla="*/ 191833 h 1332642"/>
                <a:gd name="connsiteX320" fmla="*/ 223266 w 1004887"/>
                <a:gd name="connsiteY320" fmla="*/ 187833 h 1332642"/>
                <a:gd name="connsiteX321" fmla="*/ 216599 w 1004887"/>
                <a:gd name="connsiteY321" fmla="*/ 185547 h 1332642"/>
                <a:gd name="connsiteX322" fmla="*/ 215170 w 1004887"/>
                <a:gd name="connsiteY322" fmla="*/ 187261 h 1332642"/>
                <a:gd name="connsiteX323" fmla="*/ 220694 w 1004887"/>
                <a:gd name="connsiteY323" fmla="*/ 192977 h 1332642"/>
                <a:gd name="connsiteX324" fmla="*/ 221933 w 1004887"/>
                <a:gd name="connsiteY324" fmla="*/ 202502 h 1332642"/>
                <a:gd name="connsiteX325" fmla="*/ 207550 w 1004887"/>
                <a:gd name="connsiteY325" fmla="*/ 202692 h 1332642"/>
                <a:gd name="connsiteX326" fmla="*/ 195072 w 1004887"/>
                <a:gd name="connsiteY326" fmla="*/ 205931 h 1332642"/>
                <a:gd name="connsiteX327" fmla="*/ 195358 w 1004887"/>
                <a:gd name="connsiteY327" fmla="*/ 207455 h 1332642"/>
                <a:gd name="connsiteX328" fmla="*/ 198882 w 1004887"/>
                <a:gd name="connsiteY328" fmla="*/ 210217 h 1332642"/>
                <a:gd name="connsiteX329" fmla="*/ 200311 w 1004887"/>
                <a:gd name="connsiteY329" fmla="*/ 221266 h 1332642"/>
                <a:gd name="connsiteX330" fmla="*/ 200882 w 1004887"/>
                <a:gd name="connsiteY330" fmla="*/ 226028 h 1332642"/>
                <a:gd name="connsiteX331" fmla="*/ 192596 w 1004887"/>
                <a:gd name="connsiteY331" fmla="*/ 223837 h 1332642"/>
                <a:gd name="connsiteX332" fmla="*/ 193929 w 1004887"/>
                <a:gd name="connsiteY332" fmla="*/ 222123 h 1332642"/>
                <a:gd name="connsiteX333" fmla="*/ 192024 w 1004887"/>
                <a:gd name="connsiteY333" fmla="*/ 219170 h 1332642"/>
                <a:gd name="connsiteX334" fmla="*/ 190214 w 1004887"/>
                <a:gd name="connsiteY334" fmla="*/ 204883 h 1332642"/>
                <a:gd name="connsiteX335" fmla="*/ 184594 w 1004887"/>
                <a:gd name="connsiteY335" fmla="*/ 199168 h 1332642"/>
                <a:gd name="connsiteX336" fmla="*/ 174593 w 1004887"/>
                <a:gd name="connsiteY336" fmla="*/ 195644 h 1332642"/>
                <a:gd name="connsiteX337" fmla="*/ 160401 w 1004887"/>
                <a:gd name="connsiteY337" fmla="*/ 197453 h 1332642"/>
                <a:gd name="connsiteX338" fmla="*/ 160782 w 1004887"/>
                <a:gd name="connsiteY338" fmla="*/ 200692 h 1332642"/>
                <a:gd name="connsiteX339" fmla="*/ 157448 w 1004887"/>
                <a:gd name="connsiteY339" fmla="*/ 199453 h 1332642"/>
                <a:gd name="connsiteX340" fmla="*/ 157829 w 1004887"/>
                <a:gd name="connsiteY340" fmla="*/ 202597 h 1332642"/>
                <a:gd name="connsiteX341" fmla="*/ 153067 w 1004887"/>
                <a:gd name="connsiteY341" fmla="*/ 203264 h 1332642"/>
                <a:gd name="connsiteX342" fmla="*/ 150114 w 1004887"/>
                <a:gd name="connsiteY342" fmla="*/ 205169 h 1332642"/>
                <a:gd name="connsiteX343" fmla="*/ 149924 w 1004887"/>
                <a:gd name="connsiteY343" fmla="*/ 216408 h 1332642"/>
                <a:gd name="connsiteX344" fmla="*/ 143256 w 1004887"/>
                <a:gd name="connsiteY344" fmla="*/ 214122 h 1332642"/>
                <a:gd name="connsiteX345" fmla="*/ 139351 w 1004887"/>
                <a:gd name="connsiteY345" fmla="*/ 220980 h 1332642"/>
                <a:gd name="connsiteX346" fmla="*/ 136684 w 1004887"/>
                <a:gd name="connsiteY346" fmla="*/ 213360 h 1332642"/>
                <a:gd name="connsiteX347" fmla="*/ 129635 w 1004887"/>
                <a:gd name="connsiteY347" fmla="*/ 207836 h 1332642"/>
                <a:gd name="connsiteX348" fmla="*/ 118586 w 1004887"/>
                <a:gd name="connsiteY348" fmla="*/ 209264 h 1332642"/>
                <a:gd name="connsiteX349" fmla="*/ 108490 w 1004887"/>
                <a:gd name="connsiteY349" fmla="*/ 205740 h 1332642"/>
                <a:gd name="connsiteX350" fmla="*/ 106299 w 1004887"/>
                <a:gd name="connsiteY350" fmla="*/ 214027 h 1332642"/>
                <a:gd name="connsiteX351" fmla="*/ 100870 w 1004887"/>
                <a:gd name="connsiteY351" fmla="*/ 221075 h 1332642"/>
                <a:gd name="connsiteX352" fmla="*/ 97631 w 1004887"/>
                <a:gd name="connsiteY352" fmla="*/ 221552 h 1332642"/>
                <a:gd name="connsiteX353" fmla="*/ 87630 w 1004887"/>
                <a:gd name="connsiteY353" fmla="*/ 230791 h 1332642"/>
                <a:gd name="connsiteX354" fmla="*/ 85058 w 1004887"/>
                <a:gd name="connsiteY354" fmla="*/ 235934 h 1332642"/>
                <a:gd name="connsiteX355" fmla="*/ 86106 w 1004887"/>
                <a:gd name="connsiteY355" fmla="*/ 243840 h 1332642"/>
                <a:gd name="connsiteX356" fmla="*/ 82201 w 1004887"/>
                <a:gd name="connsiteY356" fmla="*/ 250793 h 1332642"/>
                <a:gd name="connsiteX357" fmla="*/ 79820 w 1004887"/>
                <a:gd name="connsiteY357" fmla="*/ 257461 h 1332642"/>
                <a:gd name="connsiteX358" fmla="*/ 70295 w 1004887"/>
                <a:gd name="connsiteY358" fmla="*/ 258699 h 1332642"/>
                <a:gd name="connsiteX359" fmla="*/ 70009 w 1004887"/>
                <a:gd name="connsiteY359" fmla="*/ 281178 h 1332642"/>
                <a:gd name="connsiteX360" fmla="*/ 68199 w 1004887"/>
                <a:gd name="connsiteY360" fmla="*/ 279749 h 1332642"/>
                <a:gd name="connsiteX361" fmla="*/ 64865 w 1004887"/>
                <a:gd name="connsiteY361" fmla="*/ 278606 h 1332642"/>
                <a:gd name="connsiteX362" fmla="*/ 62865 w 1004887"/>
                <a:gd name="connsiteY362" fmla="*/ 275653 h 1332642"/>
                <a:gd name="connsiteX363" fmla="*/ 59722 w 1004887"/>
                <a:gd name="connsiteY363" fmla="*/ 276035 h 1332642"/>
                <a:gd name="connsiteX364" fmla="*/ 55626 w 1004887"/>
                <a:gd name="connsiteY364" fmla="*/ 281369 h 1332642"/>
                <a:gd name="connsiteX365" fmla="*/ 51435 w 1004887"/>
                <a:gd name="connsiteY365" fmla="*/ 286703 h 1332642"/>
                <a:gd name="connsiteX366" fmla="*/ 54007 w 1004887"/>
                <a:gd name="connsiteY366" fmla="*/ 294418 h 1332642"/>
                <a:gd name="connsiteX367" fmla="*/ 53245 w 1004887"/>
                <a:gd name="connsiteY367" fmla="*/ 300990 h 1332642"/>
                <a:gd name="connsiteX368" fmla="*/ 50959 w 1004887"/>
                <a:gd name="connsiteY368" fmla="*/ 307657 h 1332642"/>
                <a:gd name="connsiteX369" fmla="*/ 46387 w 1004887"/>
                <a:gd name="connsiteY369" fmla="*/ 309848 h 1332642"/>
                <a:gd name="connsiteX370" fmla="*/ 45053 w 1004887"/>
                <a:gd name="connsiteY370" fmla="*/ 311658 h 1332642"/>
                <a:gd name="connsiteX371" fmla="*/ 49816 w 1004887"/>
                <a:gd name="connsiteY371" fmla="*/ 323850 h 1332642"/>
                <a:gd name="connsiteX372" fmla="*/ 45625 w 1004887"/>
                <a:gd name="connsiteY372" fmla="*/ 329184 h 1332642"/>
                <a:gd name="connsiteX373" fmla="*/ 52578 w 1004887"/>
                <a:gd name="connsiteY373" fmla="*/ 333089 h 1332642"/>
                <a:gd name="connsiteX374" fmla="*/ 51340 w 1004887"/>
                <a:gd name="connsiteY374" fmla="*/ 336423 h 1332642"/>
                <a:gd name="connsiteX375" fmla="*/ 50197 w 1004887"/>
                <a:gd name="connsiteY375" fmla="*/ 339852 h 1332642"/>
                <a:gd name="connsiteX376" fmla="*/ 48196 w 1004887"/>
                <a:gd name="connsiteY376" fmla="*/ 336899 h 1332642"/>
                <a:gd name="connsiteX377" fmla="*/ 3524 w 1004887"/>
                <a:gd name="connsiteY377" fmla="*/ 363379 h 1332642"/>
                <a:gd name="connsiteX378" fmla="*/ 0 w 1004887"/>
                <a:gd name="connsiteY378" fmla="*/ 373475 h 1332642"/>
                <a:gd name="connsiteX379" fmla="*/ 2381 w 1004887"/>
                <a:gd name="connsiteY379" fmla="*/ 379571 h 1332642"/>
                <a:gd name="connsiteX380" fmla="*/ 1333 w 1004887"/>
                <a:gd name="connsiteY380" fmla="*/ 384524 h 1332642"/>
                <a:gd name="connsiteX381" fmla="*/ 3715 w 1004887"/>
                <a:gd name="connsiteY381" fmla="*/ 390620 h 1332642"/>
                <a:gd name="connsiteX382" fmla="*/ 7525 w 1004887"/>
                <a:gd name="connsiteY382" fmla="*/ 395002 h 1332642"/>
                <a:gd name="connsiteX383" fmla="*/ 6382 w 1004887"/>
                <a:gd name="connsiteY383" fmla="*/ 398336 h 1332642"/>
                <a:gd name="connsiteX384" fmla="*/ 14669 w 1004887"/>
                <a:gd name="connsiteY384" fmla="*/ 400526 h 1332642"/>
                <a:gd name="connsiteX385" fmla="*/ 16573 w 1004887"/>
                <a:gd name="connsiteY385" fmla="*/ 403479 h 1332642"/>
                <a:gd name="connsiteX386" fmla="*/ 17621 w 1004887"/>
                <a:gd name="connsiteY386" fmla="*/ 411290 h 1332642"/>
                <a:gd name="connsiteX387" fmla="*/ 24765 w 1004887"/>
                <a:gd name="connsiteY387" fmla="*/ 429673 h 1332642"/>
                <a:gd name="connsiteX388" fmla="*/ 30099 w 1004887"/>
                <a:gd name="connsiteY388" fmla="*/ 433769 h 1332642"/>
                <a:gd name="connsiteX389" fmla="*/ 38195 w 1004887"/>
                <a:gd name="connsiteY389" fmla="*/ 434340 h 1332642"/>
                <a:gd name="connsiteX390" fmla="*/ 55626 w 1004887"/>
                <a:gd name="connsiteY390" fmla="*/ 445008 h 1332642"/>
                <a:gd name="connsiteX391" fmla="*/ 56388 w 1004887"/>
                <a:gd name="connsiteY391" fmla="*/ 451294 h 1332642"/>
                <a:gd name="connsiteX392" fmla="*/ 63341 w 1004887"/>
                <a:gd name="connsiteY392" fmla="*/ 455200 h 1332642"/>
                <a:gd name="connsiteX393" fmla="*/ 68008 w 1004887"/>
                <a:gd name="connsiteY393" fmla="*/ 454628 h 1332642"/>
                <a:gd name="connsiteX394" fmla="*/ 69818 w 1004887"/>
                <a:gd name="connsiteY394" fmla="*/ 455962 h 1332642"/>
                <a:gd name="connsiteX395" fmla="*/ 77533 w 1004887"/>
                <a:gd name="connsiteY395" fmla="*/ 453390 h 1332642"/>
                <a:gd name="connsiteX396" fmla="*/ 82487 w 1004887"/>
                <a:gd name="connsiteY396" fmla="*/ 454343 h 1332642"/>
                <a:gd name="connsiteX397" fmla="*/ 82106 w 1004887"/>
                <a:gd name="connsiteY397" fmla="*/ 464058 h 1332642"/>
                <a:gd name="connsiteX398" fmla="*/ 87058 w 1004887"/>
                <a:gd name="connsiteY398" fmla="*/ 477869 h 1332642"/>
                <a:gd name="connsiteX399" fmla="*/ 81534 w 1004887"/>
                <a:gd name="connsiteY399" fmla="*/ 485013 h 1332642"/>
                <a:gd name="connsiteX400" fmla="*/ 84106 w 1004887"/>
                <a:gd name="connsiteY400" fmla="*/ 492633 h 1332642"/>
                <a:gd name="connsiteX401" fmla="*/ 78391 w 1004887"/>
                <a:gd name="connsiteY401" fmla="*/ 498253 h 1332642"/>
                <a:gd name="connsiteX402" fmla="*/ 77248 w 1004887"/>
                <a:gd name="connsiteY402" fmla="*/ 501586 h 1332642"/>
                <a:gd name="connsiteX403" fmla="*/ 79248 w 1004887"/>
                <a:gd name="connsiteY403" fmla="*/ 504539 h 1332642"/>
                <a:gd name="connsiteX404" fmla="*/ 84106 w 1004887"/>
                <a:gd name="connsiteY404" fmla="*/ 505492 h 1332642"/>
                <a:gd name="connsiteX405" fmla="*/ 85916 w 1004887"/>
                <a:gd name="connsiteY405" fmla="*/ 506825 h 1332642"/>
                <a:gd name="connsiteX406" fmla="*/ 84773 w 1004887"/>
                <a:gd name="connsiteY406" fmla="*/ 510254 h 1332642"/>
                <a:gd name="connsiteX407" fmla="*/ 80582 w 1004887"/>
                <a:gd name="connsiteY407" fmla="*/ 515588 h 1332642"/>
                <a:gd name="connsiteX408" fmla="*/ 81439 w 1004887"/>
                <a:gd name="connsiteY408" fmla="*/ 521875 h 1332642"/>
                <a:gd name="connsiteX409" fmla="*/ 89726 w 1004887"/>
                <a:gd name="connsiteY409" fmla="*/ 524065 h 1332642"/>
                <a:gd name="connsiteX410" fmla="*/ 88297 w 1004887"/>
                <a:gd name="connsiteY410" fmla="*/ 525780 h 1332642"/>
                <a:gd name="connsiteX411" fmla="*/ 83820 w 1004887"/>
                <a:gd name="connsiteY411" fmla="*/ 527971 h 1332642"/>
                <a:gd name="connsiteX412" fmla="*/ 84392 w 1004887"/>
                <a:gd name="connsiteY412" fmla="*/ 532733 h 1332642"/>
                <a:gd name="connsiteX413" fmla="*/ 90964 w 1004887"/>
                <a:gd name="connsiteY413" fmla="*/ 533495 h 1332642"/>
                <a:gd name="connsiteX414" fmla="*/ 96869 w 1004887"/>
                <a:gd name="connsiteY414" fmla="*/ 529495 h 1332642"/>
                <a:gd name="connsiteX415" fmla="*/ 104965 w 1004887"/>
                <a:gd name="connsiteY415" fmla="*/ 530066 h 1332642"/>
                <a:gd name="connsiteX416" fmla="*/ 106870 w 1004887"/>
                <a:gd name="connsiteY416" fmla="*/ 533114 h 1332642"/>
                <a:gd name="connsiteX417" fmla="*/ 105537 w 1004887"/>
                <a:gd name="connsiteY417" fmla="*/ 534829 h 1332642"/>
                <a:gd name="connsiteX418" fmla="*/ 104108 w 1004887"/>
                <a:gd name="connsiteY418" fmla="*/ 536639 h 1332642"/>
                <a:gd name="connsiteX419" fmla="*/ 108299 w 1004887"/>
                <a:gd name="connsiteY419" fmla="*/ 544068 h 1332642"/>
                <a:gd name="connsiteX420" fmla="*/ 108585 w 1004887"/>
                <a:gd name="connsiteY420" fmla="*/ 558546 h 1332642"/>
                <a:gd name="connsiteX421" fmla="*/ 118205 w 1004887"/>
                <a:gd name="connsiteY421" fmla="*/ 571690 h 1332642"/>
                <a:gd name="connsiteX422" fmla="*/ 114110 w 1004887"/>
                <a:gd name="connsiteY422" fmla="*/ 589883 h 1332642"/>
                <a:gd name="connsiteX423" fmla="*/ 115729 w 1004887"/>
                <a:gd name="connsiteY423" fmla="*/ 602456 h 1332642"/>
                <a:gd name="connsiteX424" fmla="*/ 119348 w 1004887"/>
                <a:gd name="connsiteY424" fmla="*/ 605219 h 1332642"/>
                <a:gd name="connsiteX425" fmla="*/ 121920 w 1004887"/>
                <a:gd name="connsiteY425" fmla="*/ 612934 h 1332642"/>
                <a:gd name="connsiteX426" fmla="*/ 126016 w 1004887"/>
                <a:gd name="connsiteY426" fmla="*/ 620458 h 1332642"/>
                <a:gd name="connsiteX427" fmla="*/ 129445 w 1004887"/>
                <a:gd name="connsiteY427" fmla="*/ 621602 h 1332642"/>
                <a:gd name="connsiteX428" fmla="*/ 125254 w 1004887"/>
                <a:gd name="connsiteY428" fmla="*/ 626936 h 1332642"/>
                <a:gd name="connsiteX429" fmla="*/ 135922 w 1004887"/>
                <a:gd name="connsiteY429" fmla="*/ 635222 h 1332642"/>
                <a:gd name="connsiteX430" fmla="*/ 140875 w 1004887"/>
                <a:gd name="connsiteY430" fmla="*/ 636175 h 1332642"/>
                <a:gd name="connsiteX431" fmla="*/ 142875 w 1004887"/>
                <a:gd name="connsiteY431" fmla="*/ 639128 h 1332642"/>
                <a:gd name="connsiteX432" fmla="*/ 145828 w 1004887"/>
                <a:gd name="connsiteY432" fmla="*/ 637127 h 1332642"/>
                <a:gd name="connsiteX433" fmla="*/ 147828 w 1004887"/>
                <a:gd name="connsiteY433" fmla="*/ 640080 h 1332642"/>
                <a:gd name="connsiteX434" fmla="*/ 152495 w 1004887"/>
                <a:gd name="connsiteY434" fmla="*/ 639508 h 1332642"/>
                <a:gd name="connsiteX435" fmla="*/ 153734 w 1004887"/>
                <a:gd name="connsiteY435" fmla="*/ 636175 h 1332642"/>
                <a:gd name="connsiteX436" fmla="*/ 158210 w 1004887"/>
                <a:gd name="connsiteY436" fmla="*/ 633984 h 1332642"/>
                <a:gd name="connsiteX437" fmla="*/ 162973 w 1004887"/>
                <a:gd name="connsiteY437" fmla="*/ 646176 h 1332642"/>
                <a:gd name="connsiteX438" fmla="*/ 162020 w 1004887"/>
                <a:gd name="connsiteY438" fmla="*/ 651129 h 1332642"/>
                <a:gd name="connsiteX439" fmla="*/ 161639 w 1004887"/>
                <a:gd name="connsiteY439" fmla="*/ 660845 h 1332642"/>
                <a:gd name="connsiteX440" fmla="*/ 159544 w 1004887"/>
                <a:gd name="connsiteY440" fmla="*/ 669131 h 1332642"/>
                <a:gd name="connsiteX441" fmla="*/ 162306 w 1004887"/>
                <a:gd name="connsiteY441" fmla="*/ 678370 h 1332642"/>
                <a:gd name="connsiteX442" fmla="*/ 161735 w 1004887"/>
                <a:gd name="connsiteY442" fmla="*/ 686467 h 1332642"/>
                <a:gd name="connsiteX443" fmla="*/ 153638 w 1004887"/>
                <a:gd name="connsiteY443" fmla="*/ 698754 h 1332642"/>
                <a:gd name="connsiteX444" fmla="*/ 156782 w 1004887"/>
                <a:gd name="connsiteY444" fmla="*/ 698278 h 1332642"/>
                <a:gd name="connsiteX445" fmla="*/ 161163 w 1004887"/>
                <a:gd name="connsiteY445" fmla="*/ 707327 h 1332642"/>
                <a:gd name="connsiteX446" fmla="*/ 164497 w 1004887"/>
                <a:gd name="connsiteY446" fmla="*/ 708565 h 1332642"/>
                <a:gd name="connsiteX447" fmla="*/ 170116 w 1004887"/>
                <a:gd name="connsiteY447" fmla="*/ 727043 h 1332642"/>
                <a:gd name="connsiteX448" fmla="*/ 168974 w 1004887"/>
                <a:gd name="connsiteY448" fmla="*/ 730472 h 1332642"/>
                <a:gd name="connsiteX449" fmla="*/ 170307 w 1004887"/>
                <a:gd name="connsiteY449" fmla="*/ 741521 h 1332642"/>
                <a:gd name="connsiteX450" fmla="*/ 167831 w 1004887"/>
                <a:gd name="connsiteY450" fmla="*/ 746665 h 1332642"/>
                <a:gd name="connsiteX451" fmla="*/ 185166 w 1004887"/>
                <a:gd name="connsiteY451" fmla="*/ 757237 h 1332642"/>
                <a:gd name="connsiteX452" fmla="*/ 206312 w 1004887"/>
                <a:gd name="connsiteY452" fmla="*/ 759333 h 1332642"/>
                <a:gd name="connsiteX453" fmla="*/ 209455 w 1004887"/>
                <a:gd name="connsiteY453" fmla="*/ 771811 h 1332642"/>
                <a:gd name="connsiteX454" fmla="*/ 222885 w 1004887"/>
                <a:gd name="connsiteY454" fmla="*/ 776478 h 1332642"/>
                <a:gd name="connsiteX455" fmla="*/ 239744 w 1004887"/>
                <a:gd name="connsiteY455" fmla="*/ 795147 h 1332642"/>
                <a:gd name="connsiteX456" fmla="*/ 241554 w 1004887"/>
                <a:gd name="connsiteY456" fmla="*/ 809435 h 1332642"/>
                <a:gd name="connsiteX457" fmla="*/ 239363 w 1004887"/>
                <a:gd name="connsiteY457" fmla="*/ 817721 h 1332642"/>
                <a:gd name="connsiteX458" fmla="*/ 245745 w 1004887"/>
                <a:gd name="connsiteY458" fmla="*/ 829723 h 1332642"/>
                <a:gd name="connsiteX459" fmla="*/ 252413 w 1004887"/>
                <a:gd name="connsiteY459" fmla="*/ 832009 h 1332642"/>
                <a:gd name="connsiteX460" fmla="*/ 254603 w 1004887"/>
                <a:gd name="connsiteY460" fmla="*/ 836581 h 1332642"/>
                <a:gd name="connsiteX461" fmla="*/ 252698 w 1004887"/>
                <a:gd name="connsiteY461" fmla="*/ 846487 h 1332642"/>
                <a:gd name="connsiteX462" fmla="*/ 253079 w 1004887"/>
                <a:gd name="connsiteY462" fmla="*/ 849630 h 1332642"/>
                <a:gd name="connsiteX463" fmla="*/ 256413 w 1004887"/>
                <a:gd name="connsiteY463" fmla="*/ 850773 h 1332642"/>
                <a:gd name="connsiteX464" fmla="*/ 266700 w 1004887"/>
                <a:gd name="connsiteY464" fmla="*/ 855916 h 1332642"/>
                <a:gd name="connsiteX465" fmla="*/ 276797 w 1004887"/>
                <a:gd name="connsiteY465" fmla="*/ 859441 h 1332642"/>
                <a:gd name="connsiteX466" fmla="*/ 294323 w 1004887"/>
                <a:gd name="connsiteY466" fmla="*/ 858774 h 1332642"/>
                <a:gd name="connsiteX467" fmla="*/ 299085 w 1004887"/>
                <a:gd name="connsiteY467" fmla="*/ 858203 h 1332642"/>
                <a:gd name="connsiteX468" fmla="*/ 300419 w 1004887"/>
                <a:gd name="connsiteY468" fmla="*/ 856393 h 1332642"/>
                <a:gd name="connsiteX469" fmla="*/ 302038 w 1004887"/>
                <a:gd name="connsiteY469" fmla="*/ 856202 h 1332642"/>
                <a:gd name="connsiteX470" fmla="*/ 306229 w 1004887"/>
                <a:gd name="connsiteY470" fmla="*/ 863727 h 1332642"/>
                <a:gd name="connsiteX471" fmla="*/ 310706 w 1004887"/>
                <a:gd name="connsiteY471" fmla="*/ 861536 h 1332642"/>
                <a:gd name="connsiteX472" fmla="*/ 321374 w 1004887"/>
                <a:gd name="connsiteY472" fmla="*/ 869823 h 1332642"/>
                <a:gd name="connsiteX473" fmla="*/ 329660 w 1004887"/>
                <a:gd name="connsiteY473" fmla="*/ 871919 h 1332642"/>
                <a:gd name="connsiteX474" fmla="*/ 328517 w 1004887"/>
                <a:gd name="connsiteY474" fmla="*/ 862489 h 1332642"/>
                <a:gd name="connsiteX475" fmla="*/ 326136 w 1004887"/>
                <a:gd name="connsiteY475" fmla="*/ 856393 h 1332642"/>
                <a:gd name="connsiteX476" fmla="*/ 325279 w 1004887"/>
                <a:gd name="connsiteY476" fmla="*/ 850011 h 1332642"/>
                <a:gd name="connsiteX477" fmla="*/ 341662 w 1004887"/>
                <a:gd name="connsiteY477" fmla="*/ 852773 h 1332642"/>
                <a:gd name="connsiteX478" fmla="*/ 348615 w 1004887"/>
                <a:gd name="connsiteY478" fmla="*/ 856678 h 1332642"/>
                <a:gd name="connsiteX479" fmla="*/ 352139 w 1004887"/>
                <a:gd name="connsiteY479" fmla="*/ 859441 h 1332642"/>
                <a:gd name="connsiteX480" fmla="*/ 359855 w 1004887"/>
                <a:gd name="connsiteY480" fmla="*/ 856869 h 1332642"/>
                <a:gd name="connsiteX481" fmla="*/ 366808 w 1004887"/>
                <a:gd name="connsiteY481" fmla="*/ 860774 h 1332642"/>
                <a:gd name="connsiteX482" fmla="*/ 371475 w 1004887"/>
                <a:gd name="connsiteY482" fmla="*/ 860203 h 1332642"/>
                <a:gd name="connsiteX483" fmla="*/ 374809 w 1004887"/>
                <a:gd name="connsiteY483" fmla="*/ 861346 h 1332642"/>
                <a:gd name="connsiteX484" fmla="*/ 380429 w 1004887"/>
                <a:gd name="connsiteY484" fmla="*/ 867061 h 1332642"/>
                <a:gd name="connsiteX485" fmla="*/ 383572 w 1004887"/>
                <a:gd name="connsiteY485" fmla="*/ 866680 h 1332642"/>
                <a:gd name="connsiteX486" fmla="*/ 390430 w 1004887"/>
                <a:gd name="connsiteY486" fmla="*/ 870585 h 1332642"/>
                <a:gd name="connsiteX487" fmla="*/ 400145 w 1004887"/>
                <a:gd name="connsiteY487" fmla="*/ 883825 h 1332642"/>
                <a:gd name="connsiteX488" fmla="*/ 404336 w 1004887"/>
                <a:gd name="connsiteY488" fmla="*/ 891254 h 1332642"/>
                <a:gd name="connsiteX489" fmla="*/ 411671 w 1004887"/>
                <a:gd name="connsiteY489" fmla="*/ 898398 h 1332642"/>
                <a:gd name="connsiteX490" fmla="*/ 414052 w 1004887"/>
                <a:gd name="connsiteY490" fmla="*/ 904494 h 1332642"/>
                <a:gd name="connsiteX491" fmla="*/ 428816 w 1004887"/>
                <a:gd name="connsiteY491" fmla="*/ 907447 h 1332642"/>
                <a:gd name="connsiteX492" fmla="*/ 429673 w 1004887"/>
                <a:gd name="connsiteY492" fmla="*/ 926592 h 1332642"/>
                <a:gd name="connsiteX493" fmla="*/ 428339 w 1004887"/>
                <a:gd name="connsiteY493" fmla="*/ 928307 h 1332642"/>
                <a:gd name="connsiteX494" fmla="*/ 425958 w 1004887"/>
                <a:gd name="connsiteY494" fmla="*/ 935069 h 1332642"/>
                <a:gd name="connsiteX495" fmla="*/ 431292 w 1004887"/>
                <a:gd name="connsiteY495" fmla="*/ 952024 h 1332642"/>
                <a:gd name="connsiteX496" fmla="*/ 445960 w 1004887"/>
                <a:gd name="connsiteY496" fmla="*/ 953357 h 1332642"/>
                <a:gd name="connsiteX497" fmla="*/ 447866 w 1004887"/>
                <a:gd name="connsiteY497" fmla="*/ 956310 h 1332642"/>
                <a:gd name="connsiteX498" fmla="*/ 446913 w 1004887"/>
                <a:gd name="connsiteY498" fmla="*/ 961263 h 1332642"/>
                <a:gd name="connsiteX499" fmla="*/ 449294 w 1004887"/>
                <a:gd name="connsiteY499" fmla="*/ 967359 h 1332642"/>
                <a:gd name="connsiteX500" fmla="*/ 454438 w 1004887"/>
                <a:gd name="connsiteY500" fmla="*/ 969931 h 1332642"/>
                <a:gd name="connsiteX501" fmla="*/ 458152 w 1004887"/>
                <a:gd name="connsiteY501" fmla="*/ 974217 h 1332642"/>
                <a:gd name="connsiteX502" fmla="*/ 464534 w 1004887"/>
                <a:gd name="connsiteY502" fmla="*/ 973455 h 1332642"/>
                <a:gd name="connsiteX503" fmla="*/ 466725 w 1004887"/>
                <a:gd name="connsiteY503" fmla="*/ 977932 h 1332642"/>
                <a:gd name="connsiteX504" fmla="*/ 469106 w 1004887"/>
                <a:gd name="connsiteY504" fmla="*/ 984028 h 1332642"/>
                <a:gd name="connsiteX505" fmla="*/ 467106 w 1004887"/>
                <a:gd name="connsiteY505" fmla="*/ 993934 h 1332642"/>
                <a:gd name="connsiteX506" fmla="*/ 486537 w 1004887"/>
                <a:gd name="connsiteY506" fmla="*/ 1007555 h 1332642"/>
                <a:gd name="connsiteX507" fmla="*/ 485966 w 1004887"/>
                <a:gd name="connsiteY507" fmla="*/ 1015651 h 1332642"/>
                <a:gd name="connsiteX508" fmla="*/ 483394 w 1004887"/>
                <a:gd name="connsiteY508" fmla="*/ 1020699 h 1332642"/>
                <a:gd name="connsiteX509" fmla="*/ 483775 w 1004887"/>
                <a:gd name="connsiteY509" fmla="*/ 1023937 h 1332642"/>
                <a:gd name="connsiteX510" fmla="*/ 492824 w 1004887"/>
                <a:gd name="connsiteY510" fmla="*/ 1032320 h 1332642"/>
                <a:gd name="connsiteX511" fmla="*/ 497586 w 1004887"/>
                <a:gd name="connsiteY511" fmla="*/ 1031748 h 1332642"/>
                <a:gd name="connsiteX512" fmla="*/ 503301 w 1004887"/>
                <a:gd name="connsiteY512" fmla="*/ 1039082 h 1332642"/>
                <a:gd name="connsiteX513" fmla="*/ 505111 w 1004887"/>
                <a:gd name="connsiteY513" fmla="*/ 1040416 h 1332642"/>
                <a:gd name="connsiteX514" fmla="*/ 509302 w 1004887"/>
                <a:gd name="connsiteY514" fmla="*/ 1047940 h 1332642"/>
                <a:gd name="connsiteX515" fmla="*/ 520351 w 1004887"/>
                <a:gd name="connsiteY515" fmla="*/ 1059371 h 1332642"/>
                <a:gd name="connsiteX516" fmla="*/ 526828 w 1004887"/>
                <a:gd name="connsiteY516" fmla="*/ 1060133 h 1332642"/>
                <a:gd name="connsiteX517" fmla="*/ 528828 w 1004887"/>
                <a:gd name="connsiteY517" fmla="*/ 1063085 h 1332642"/>
                <a:gd name="connsiteX518" fmla="*/ 530066 w 1004887"/>
                <a:gd name="connsiteY518" fmla="*/ 1072515 h 1332642"/>
                <a:gd name="connsiteX519" fmla="*/ 524732 w 1004887"/>
                <a:gd name="connsiteY519" fmla="*/ 1094041 h 1332642"/>
                <a:gd name="connsiteX520" fmla="*/ 534257 w 1004887"/>
                <a:gd name="connsiteY520" fmla="*/ 1105662 h 1332642"/>
                <a:gd name="connsiteX521" fmla="*/ 550450 w 1004887"/>
                <a:gd name="connsiteY521" fmla="*/ 1119664 h 1332642"/>
                <a:gd name="connsiteX522" fmla="*/ 571024 w 1004887"/>
                <a:gd name="connsiteY522" fmla="*/ 1129856 h 1332642"/>
                <a:gd name="connsiteX523" fmla="*/ 587978 w 1004887"/>
                <a:gd name="connsiteY523" fmla="*/ 1124522 h 1332642"/>
                <a:gd name="connsiteX524" fmla="*/ 603790 w 1004887"/>
                <a:gd name="connsiteY524" fmla="*/ 1122426 h 1332642"/>
                <a:gd name="connsiteX525" fmla="*/ 608933 w 1004887"/>
                <a:gd name="connsiteY525" fmla="*/ 1124998 h 1332642"/>
                <a:gd name="connsiteX526" fmla="*/ 623792 w 1004887"/>
                <a:gd name="connsiteY526" fmla="*/ 1140809 h 1332642"/>
                <a:gd name="connsiteX527" fmla="*/ 628841 w 1004887"/>
                <a:gd name="connsiteY527" fmla="*/ 1143286 h 1332642"/>
                <a:gd name="connsiteX528" fmla="*/ 634270 w 1004887"/>
                <a:gd name="connsiteY528" fmla="*/ 1147477 h 1332642"/>
                <a:gd name="connsiteX529" fmla="*/ 634841 w 1004887"/>
                <a:gd name="connsiteY529" fmla="*/ 1152239 h 1332642"/>
                <a:gd name="connsiteX530" fmla="*/ 641509 w 1004887"/>
                <a:gd name="connsiteY530" fmla="*/ 1154525 h 1332642"/>
                <a:gd name="connsiteX531" fmla="*/ 647319 w 1004887"/>
                <a:gd name="connsiteY531" fmla="*/ 1161860 h 1332642"/>
                <a:gd name="connsiteX532" fmla="*/ 649891 w 1004887"/>
                <a:gd name="connsiteY532" fmla="*/ 1169480 h 1332642"/>
                <a:gd name="connsiteX533" fmla="*/ 655225 w 1004887"/>
                <a:gd name="connsiteY533" fmla="*/ 1173671 h 1332642"/>
                <a:gd name="connsiteX534" fmla="*/ 661130 w 1004887"/>
                <a:gd name="connsiteY534" fmla="*/ 1182529 h 1332642"/>
                <a:gd name="connsiteX535" fmla="*/ 662940 w 1004887"/>
                <a:gd name="connsiteY535" fmla="*/ 1183862 h 1332642"/>
                <a:gd name="connsiteX536" fmla="*/ 666464 w 1004887"/>
                <a:gd name="connsiteY536" fmla="*/ 1186625 h 1332642"/>
                <a:gd name="connsiteX537" fmla="*/ 671227 w 1004887"/>
                <a:gd name="connsiteY537" fmla="*/ 1198912 h 1332642"/>
                <a:gd name="connsiteX538" fmla="*/ 675989 w 1004887"/>
                <a:gd name="connsiteY538" fmla="*/ 1198245 h 1332642"/>
                <a:gd name="connsiteX539" fmla="*/ 676561 w 1004887"/>
                <a:gd name="connsiteY539" fmla="*/ 1203008 h 1332642"/>
                <a:gd name="connsiteX540" fmla="*/ 681323 w 1004887"/>
                <a:gd name="connsiteY540" fmla="*/ 1202436 h 1332642"/>
                <a:gd name="connsiteX541" fmla="*/ 684848 w 1004887"/>
                <a:gd name="connsiteY541" fmla="*/ 1205198 h 1332642"/>
                <a:gd name="connsiteX542" fmla="*/ 684086 w 1004887"/>
                <a:gd name="connsiteY542" fmla="*/ 1211675 h 1332642"/>
                <a:gd name="connsiteX543" fmla="*/ 681323 w 1004887"/>
                <a:gd name="connsiteY543" fmla="*/ 1215200 h 1332642"/>
                <a:gd name="connsiteX544" fmla="*/ 681323 w 1004887"/>
                <a:gd name="connsiteY544" fmla="*/ 1215200 h 1332642"/>
                <a:gd name="connsiteX545" fmla="*/ 685324 w 1004887"/>
                <a:gd name="connsiteY545" fmla="*/ 1221105 h 1332642"/>
                <a:gd name="connsiteX546" fmla="*/ 690467 w 1004887"/>
                <a:gd name="connsiteY546" fmla="*/ 1236536 h 1332642"/>
                <a:gd name="connsiteX547" fmla="*/ 687705 w 1004887"/>
                <a:gd name="connsiteY547" fmla="*/ 1240060 h 1332642"/>
                <a:gd name="connsiteX548" fmla="*/ 685610 w 1004887"/>
                <a:gd name="connsiteY548" fmla="*/ 1248347 h 1332642"/>
                <a:gd name="connsiteX549" fmla="*/ 691706 w 1004887"/>
                <a:gd name="connsiteY549" fmla="*/ 1258824 h 1332642"/>
                <a:gd name="connsiteX550" fmla="*/ 691896 w 1004887"/>
                <a:gd name="connsiteY550" fmla="*/ 1260348 h 1332642"/>
                <a:gd name="connsiteX551" fmla="*/ 688181 w 1004887"/>
                <a:gd name="connsiteY551" fmla="*/ 1268921 h 1332642"/>
                <a:gd name="connsiteX552" fmla="*/ 686276 w 1004887"/>
                <a:gd name="connsiteY552" fmla="*/ 1278731 h 1332642"/>
                <a:gd name="connsiteX553" fmla="*/ 703802 w 1004887"/>
                <a:gd name="connsiteY553" fmla="*/ 1290923 h 1332642"/>
                <a:gd name="connsiteX554" fmla="*/ 704469 w 1004887"/>
                <a:gd name="connsiteY554" fmla="*/ 1295686 h 1332642"/>
                <a:gd name="connsiteX555" fmla="*/ 709327 w 1004887"/>
                <a:gd name="connsiteY555" fmla="*/ 1296638 h 1332642"/>
                <a:gd name="connsiteX556" fmla="*/ 716661 w 1004887"/>
                <a:gd name="connsiteY556" fmla="*/ 1303687 h 1332642"/>
                <a:gd name="connsiteX557" fmla="*/ 728567 w 1004887"/>
                <a:gd name="connsiteY557" fmla="*/ 1308640 h 1332642"/>
                <a:gd name="connsiteX558" fmla="*/ 734282 w 1004887"/>
                <a:gd name="connsiteY558" fmla="*/ 1315974 h 1332642"/>
                <a:gd name="connsiteX559" fmla="*/ 744569 w 1004887"/>
                <a:gd name="connsiteY559" fmla="*/ 1321022 h 1332642"/>
                <a:gd name="connsiteX560" fmla="*/ 745141 w 1004887"/>
                <a:gd name="connsiteY560" fmla="*/ 1325785 h 1332642"/>
                <a:gd name="connsiteX561" fmla="*/ 753999 w 1004887"/>
                <a:gd name="connsiteY561" fmla="*/ 1332643 h 1332642"/>
                <a:gd name="connsiteX562" fmla="*/ 761905 w 1004887"/>
                <a:gd name="connsiteY562" fmla="*/ 1331690 h 1332642"/>
                <a:gd name="connsiteX563" fmla="*/ 760857 w 1004887"/>
                <a:gd name="connsiteY563" fmla="*/ 1310926 h 1332642"/>
                <a:gd name="connsiteX564" fmla="*/ 762857 w 1004887"/>
                <a:gd name="connsiteY564" fmla="*/ 1301020 h 1332642"/>
                <a:gd name="connsiteX565" fmla="*/ 767810 w 1004887"/>
                <a:gd name="connsiteY565" fmla="*/ 1302068 h 1332642"/>
                <a:gd name="connsiteX566" fmla="*/ 775049 w 1004887"/>
                <a:gd name="connsiteY566" fmla="*/ 1296257 h 1332642"/>
                <a:gd name="connsiteX567" fmla="*/ 779812 w 1004887"/>
                <a:gd name="connsiteY567" fmla="*/ 1295686 h 1332642"/>
                <a:gd name="connsiteX568" fmla="*/ 788861 w 1004887"/>
                <a:gd name="connsiteY568" fmla="*/ 1304163 h 1332642"/>
                <a:gd name="connsiteX569" fmla="*/ 793623 w 1004887"/>
                <a:gd name="connsiteY569" fmla="*/ 1303591 h 1332642"/>
                <a:gd name="connsiteX570" fmla="*/ 792671 w 1004887"/>
                <a:gd name="connsiteY570" fmla="*/ 1295686 h 1332642"/>
                <a:gd name="connsiteX571" fmla="*/ 793623 w 1004887"/>
                <a:gd name="connsiteY571" fmla="*/ 1290733 h 1332642"/>
                <a:gd name="connsiteX572" fmla="*/ 786860 w 1004887"/>
                <a:gd name="connsiteY572" fmla="*/ 1288352 h 1332642"/>
                <a:gd name="connsiteX573" fmla="*/ 782955 w 1004887"/>
                <a:gd name="connsiteY573" fmla="*/ 1282446 h 1332642"/>
                <a:gd name="connsiteX574" fmla="*/ 785051 w 1004887"/>
                <a:gd name="connsiteY574" fmla="*/ 1274159 h 1332642"/>
                <a:gd name="connsiteX575" fmla="*/ 784479 w 1004887"/>
                <a:gd name="connsiteY575" fmla="*/ 1269397 h 1332642"/>
                <a:gd name="connsiteX576" fmla="*/ 789813 w 1004887"/>
                <a:gd name="connsiteY576" fmla="*/ 1260729 h 1332642"/>
                <a:gd name="connsiteX577" fmla="*/ 789146 w 1004887"/>
                <a:gd name="connsiteY577" fmla="*/ 1255966 h 1332642"/>
                <a:gd name="connsiteX578" fmla="*/ 790004 w 1004887"/>
                <a:gd name="connsiteY578" fmla="*/ 1249490 h 1332642"/>
                <a:gd name="connsiteX579" fmla="*/ 788003 w 1004887"/>
                <a:gd name="connsiteY579" fmla="*/ 1246537 h 1332642"/>
                <a:gd name="connsiteX580" fmla="*/ 796195 w 1004887"/>
                <a:gd name="connsiteY580" fmla="*/ 1235869 h 1332642"/>
                <a:gd name="connsiteX581" fmla="*/ 798005 w 1004887"/>
                <a:gd name="connsiteY581" fmla="*/ 1224439 h 1332642"/>
                <a:gd name="connsiteX582" fmla="*/ 807625 w 1004887"/>
                <a:gd name="connsiteY582" fmla="*/ 1211961 h 1332642"/>
                <a:gd name="connsiteX583" fmla="*/ 807244 w 1004887"/>
                <a:gd name="connsiteY583" fmla="*/ 1208818 h 1332642"/>
                <a:gd name="connsiteX584" fmla="*/ 808768 w 1004887"/>
                <a:gd name="connsiteY584" fmla="*/ 1208627 h 1332642"/>
                <a:gd name="connsiteX585" fmla="*/ 810768 w 1004887"/>
                <a:gd name="connsiteY585" fmla="*/ 1211580 h 1332642"/>
                <a:gd name="connsiteX586" fmla="*/ 814102 w 1004887"/>
                <a:gd name="connsiteY586" fmla="*/ 1212723 h 1332642"/>
                <a:gd name="connsiteX587" fmla="*/ 817912 w 1004887"/>
                <a:gd name="connsiteY587" fmla="*/ 1217105 h 1332642"/>
                <a:gd name="connsiteX588" fmla="*/ 830675 w 1004887"/>
                <a:gd name="connsiteY588" fmla="*/ 1204246 h 1332642"/>
                <a:gd name="connsiteX589" fmla="*/ 832866 w 1004887"/>
                <a:gd name="connsiteY589" fmla="*/ 1195959 h 1332642"/>
                <a:gd name="connsiteX590" fmla="*/ 834009 w 1004887"/>
                <a:gd name="connsiteY590" fmla="*/ 1192530 h 1332642"/>
                <a:gd name="connsiteX591" fmla="*/ 833247 w 1004887"/>
                <a:gd name="connsiteY591" fmla="*/ 1186244 h 1332642"/>
                <a:gd name="connsiteX592" fmla="*/ 825341 w 1004887"/>
                <a:gd name="connsiteY592" fmla="*/ 1174433 h 1332642"/>
                <a:gd name="connsiteX593" fmla="*/ 827437 w 1004887"/>
                <a:gd name="connsiteY593" fmla="*/ 1166146 h 1332642"/>
                <a:gd name="connsiteX594" fmla="*/ 825437 w 1004887"/>
                <a:gd name="connsiteY594" fmla="*/ 1163193 h 1332642"/>
                <a:gd name="connsiteX595" fmla="*/ 818388 w 1004887"/>
                <a:gd name="connsiteY595" fmla="*/ 1157669 h 1332642"/>
                <a:gd name="connsiteX596" fmla="*/ 815531 w 1004887"/>
                <a:gd name="connsiteY596" fmla="*/ 1148429 h 1332642"/>
                <a:gd name="connsiteX597" fmla="*/ 815340 w 1004887"/>
                <a:gd name="connsiteY597" fmla="*/ 1146810 h 1332642"/>
                <a:gd name="connsiteX598" fmla="*/ 826199 w 1004887"/>
                <a:gd name="connsiteY598" fmla="*/ 1143857 h 1332642"/>
                <a:gd name="connsiteX599" fmla="*/ 827342 w 1004887"/>
                <a:gd name="connsiteY599" fmla="*/ 1140524 h 1332642"/>
                <a:gd name="connsiteX600" fmla="*/ 825818 w 1004887"/>
                <a:gd name="connsiteY600" fmla="*/ 1127855 h 1332642"/>
                <a:gd name="connsiteX601" fmla="*/ 822389 w 1004887"/>
                <a:gd name="connsiteY601" fmla="*/ 1126712 h 1332642"/>
                <a:gd name="connsiteX602" fmla="*/ 823436 w 1004887"/>
                <a:gd name="connsiteY602" fmla="*/ 1121759 h 1332642"/>
                <a:gd name="connsiteX603" fmla="*/ 824579 w 1004887"/>
                <a:gd name="connsiteY603" fmla="*/ 1118426 h 1332642"/>
                <a:gd name="connsiteX604" fmla="*/ 824389 w 1004887"/>
                <a:gd name="connsiteY604" fmla="*/ 1116806 h 1332642"/>
                <a:gd name="connsiteX605" fmla="*/ 826675 w 1004887"/>
                <a:gd name="connsiteY605" fmla="*/ 1110139 h 1332642"/>
                <a:gd name="connsiteX606" fmla="*/ 829723 w 1004887"/>
                <a:gd name="connsiteY606" fmla="*/ 1108139 h 1332642"/>
                <a:gd name="connsiteX607" fmla="*/ 831056 w 1004887"/>
                <a:gd name="connsiteY607" fmla="*/ 1106329 h 1332642"/>
                <a:gd name="connsiteX608" fmla="*/ 829056 w 1004887"/>
                <a:gd name="connsiteY608" fmla="*/ 1103376 h 1332642"/>
                <a:gd name="connsiteX609" fmla="*/ 822389 w 1004887"/>
                <a:gd name="connsiteY609" fmla="*/ 1100995 h 1332642"/>
                <a:gd name="connsiteX610" fmla="*/ 822198 w 1004887"/>
                <a:gd name="connsiteY610" fmla="*/ 1099471 h 1332642"/>
                <a:gd name="connsiteX611" fmla="*/ 823532 w 1004887"/>
                <a:gd name="connsiteY611" fmla="*/ 1097661 h 1332642"/>
                <a:gd name="connsiteX612" fmla="*/ 836581 w 1004887"/>
                <a:gd name="connsiteY612" fmla="*/ 1099185 h 1332642"/>
                <a:gd name="connsiteX613" fmla="*/ 836771 w 1004887"/>
                <a:gd name="connsiteY613" fmla="*/ 1100804 h 1332642"/>
                <a:gd name="connsiteX614" fmla="*/ 833819 w 1004887"/>
                <a:gd name="connsiteY614" fmla="*/ 1102805 h 1332642"/>
                <a:gd name="connsiteX615" fmla="*/ 842296 w 1004887"/>
                <a:gd name="connsiteY615" fmla="*/ 1106519 h 1332642"/>
                <a:gd name="connsiteX616" fmla="*/ 847058 w 1004887"/>
                <a:gd name="connsiteY616" fmla="*/ 1105948 h 1332642"/>
                <a:gd name="connsiteX617" fmla="*/ 849059 w 1004887"/>
                <a:gd name="connsiteY617" fmla="*/ 1108901 h 1332642"/>
                <a:gd name="connsiteX618" fmla="*/ 850964 w 1004887"/>
                <a:gd name="connsiteY618" fmla="*/ 1111853 h 1332642"/>
                <a:gd name="connsiteX619" fmla="*/ 861060 w 1004887"/>
                <a:gd name="connsiteY619" fmla="*/ 1102519 h 1332642"/>
                <a:gd name="connsiteX620" fmla="*/ 862013 w 1004887"/>
                <a:gd name="connsiteY620" fmla="*/ 1097566 h 1332642"/>
                <a:gd name="connsiteX621" fmla="*/ 866966 w 1004887"/>
                <a:gd name="connsiteY621" fmla="*/ 1098518 h 1332642"/>
                <a:gd name="connsiteX622" fmla="*/ 869918 w 1004887"/>
                <a:gd name="connsiteY622" fmla="*/ 1096613 h 1332642"/>
                <a:gd name="connsiteX623" fmla="*/ 869537 w 1004887"/>
                <a:gd name="connsiteY623" fmla="*/ 1093470 h 1332642"/>
                <a:gd name="connsiteX624" fmla="*/ 872490 w 1004887"/>
                <a:gd name="connsiteY624" fmla="*/ 1091470 h 1332642"/>
                <a:gd name="connsiteX625" fmla="*/ 871823 w 1004887"/>
                <a:gd name="connsiteY625" fmla="*/ 1086707 h 1332642"/>
                <a:gd name="connsiteX626" fmla="*/ 879920 w 1004887"/>
                <a:gd name="connsiteY626" fmla="*/ 1087279 h 1332642"/>
                <a:gd name="connsiteX627" fmla="*/ 884301 w 1004887"/>
                <a:gd name="connsiteY627" fmla="*/ 1083564 h 1332642"/>
                <a:gd name="connsiteX628" fmla="*/ 886016 w 1004887"/>
                <a:gd name="connsiteY628" fmla="*/ 1084898 h 1332642"/>
                <a:gd name="connsiteX629" fmla="*/ 888778 w 1004887"/>
                <a:gd name="connsiteY629" fmla="*/ 1081373 h 1332642"/>
                <a:gd name="connsiteX630" fmla="*/ 892397 w 1004887"/>
                <a:gd name="connsiteY630" fmla="*/ 1084136 h 1332642"/>
                <a:gd name="connsiteX631" fmla="*/ 893921 w 1004887"/>
                <a:gd name="connsiteY631" fmla="*/ 1083850 h 1332642"/>
                <a:gd name="connsiteX632" fmla="*/ 894588 w 1004887"/>
                <a:gd name="connsiteY632" fmla="*/ 1088612 h 1332642"/>
                <a:gd name="connsiteX633" fmla="*/ 895731 w 1004887"/>
                <a:gd name="connsiteY633" fmla="*/ 1085279 h 1332642"/>
                <a:gd name="connsiteX634" fmla="*/ 898493 w 1004887"/>
                <a:gd name="connsiteY634" fmla="*/ 1081754 h 1332642"/>
                <a:gd name="connsiteX635" fmla="*/ 898303 w 1004887"/>
                <a:gd name="connsiteY635" fmla="*/ 1080135 h 1332642"/>
                <a:gd name="connsiteX636" fmla="*/ 895350 w 1004887"/>
                <a:gd name="connsiteY636" fmla="*/ 1082135 h 1332642"/>
                <a:gd name="connsiteX637" fmla="*/ 895160 w 1004887"/>
                <a:gd name="connsiteY637" fmla="*/ 1080516 h 1332642"/>
                <a:gd name="connsiteX638" fmla="*/ 893731 w 1004887"/>
                <a:gd name="connsiteY638" fmla="*/ 1082326 h 1332642"/>
                <a:gd name="connsiteX639" fmla="*/ 891731 w 1004887"/>
                <a:gd name="connsiteY639" fmla="*/ 1079373 h 1332642"/>
                <a:gd name="connsiteX640" fmla="*/ 896302 w 1004887"/>
                <a:gd name="connsiteY640" fmla="*/ 1077182 h 1332642"/>
                <a:gd name="connsiteX641" fmla="*/ 896112 w 1004887"/>
                <a:gd name="connsiteY641" fmla="*/ 1075563 h 1332642"/>
                <a:gd name="connsiteX642" fmla="*/ 895445 w 1004887"/>
                <a:gd name="connsiteY642" fmla="*/ 1058037 h 1332642"/>
                <a:gd name="connsiteX643" fmla="*/ 902303 w 1004887"/>
                <a:gd name="connsiteY643" fmla="*/ 1049179 h 1332642"/>
                <a:gd name="connsiteX644" fmla="*/ 905542 w 1004887"/>
                <a:gd name="connsiteY644" fmla="*/ 1048703 h 1332642"/>
                <a:gd name="connsiteX645" fmla="*/ 910685 w 1004887"/>
                <a:gd name="connsiteY645" fmla="*/ 1051274 h 1332642"/>
                <a:gd name="connsiteX646" fmla="*/ 914972 w 1004887"/>
                <a:gd name="connsiteY646" fmla="*/ 1047560 h 1332642"/>
                <a:gd name="connsiteX647" fmla="*/ 912400 w 1004887"/>
                <a:gd name="connsiteY647" fmla="*/ 1039844 h 1332642"/>
                <a:gd name="connsiteX648" fmla="*/ 911352 w 1004887"/>
                <a:gd name="connsiteY648" fmla="*/ 1031939 h 1332642"/>
                <a:gd name="connsiteX649" fmla="*/ 908018 w 1004887"/>
                <a:gd name="connsiteY649" fmla="*/ 1030795 h 1332642"/>
                <a:gd name="connsiteX650" fmla="*/ 909161 w 1004887"/>
                <a:gd name="connsiteY650" fmla="*/ 1027462 h 1332642"/>
                <a:gd name="connsiteX651" fmla="*/ 907637 w 1004887"/>
                <a:gd name="connsiteY651" fmla="*/ 1027652 h 1332642"/>
                <a:gd name="connsiteX652" fmla="*/ 899351 w 1004887"/>
                <a:gd name="connsiteY652" fmla="*/ 1025461 h 1332642"/>
                <a:gd name="connsiteX653" fmla="*/ 899732 w 1004887"/>
                <a:gd name="connsiteY653" fmla="*/ 1015841 h 1332642"/>
                <a:gd name="connsiteX654" fmla="*/ 896969 w 1004887"/>
                <a:gd name="connsiteY654" fmla="*/ 1019365 h 1332642"/>
                <a:gd name="connsiteX655" fmla="*/ 896112 w 1004887"/>
                <a:gd name="connsiteY655" fmla="*/ 1013079 h 1332642"/>
                <a:gd name="connsiteX656" fmla="*/ 897731 w 1004887"/>
                <a:gd name="connsiteY656" fmla="*/ 1012889 h 1332642"/>
                <a:gd name="connsiteX657" fmla="*/ 894588 w 1004887"/>
                <a:gd name="connsiteY657" fmla="*/ 1013270 h 1332642"/>
                <a:gd name="connsiteX658" fmla="*/ 893921 w 1004887"/>
                <a:gd name="connsiteY658" fmla="*/ 1008507 h 1332642"/>
                <a:gd name="connsiteX659" fmla="*/ 895350 w 1004887"/>
                <a:gd name="connsiteY659" fmla="*/ 1006697 h 1332642"/>
                <a:gd name="connsiteX660" fmla="*/ 898684 w 1004887"/>
                <a:gd name="connsiteY660" fmla="*/ 1007936 h 1332642"/>
                <a:gd name="connsiteX661" fmla="*/ 898303 w 1004887"/>
                <a:gd name="connsiteY661" fmla="*/ 1004792 h 1332642"/>
                <a:gd name="connsiteX662" fmla="*/ 896493 w 1004887"/>
                <a:gd name="connsiteY662" fmla="*/ 1003364 h 1332642"/>
                <a:gd name="connsiteX663" fmla="*/ 902208 w 1004887"/>
                <a:gd name="connsiteY663" fmla="*/ 997839 h 1332642"/>
                <a:gd name="connsiteX664" fmla="*/ 908971 w 1004887"/>
                <a:gd name="connsiteY664" fmla="*/ 1000220 h 1332642"/>
                <a:gd name="connsiteX665" fmla="*/ 908114 w 1004887"/>
                <a:gd name="connsiteY665" fmla="*/ 993839 h 1332642"/>
                <a:gd name="connsiteX666" fmla="*/ 906399 w 1004887"/>
                <a:gd name="connsiteY666" fmla="*/ 992505 h 1332642"/>
                <a:gd name="connsiteX667" fmla="*/ 907352 w 1004887"/>
                <a:gd name="connsiteY667" fmla="*/ 987552 h 1332642"/>
                <a:gd name="connsiteX668" fmla="*/ 912495 w 1004887"/>
                <a:gd name="connsiteY668" fmla="*/ 990124 h 1332642"/>
                <a:gd name="connsiteX669" fmla="*/ 912686 w 1004887"/>
                <a:gd name="connsiteY669" fmla="*/ 991743 h 1332642"/>
                <a:gd name="connsiteX670" fmla="*/ 919163 w 1004887"/>
                <a:gd name="connsiteY670" fmla="*/ 992505 h 1332642"/>
                <a:gd name="connsiteX671" fmla="*/ 920782 w 1004887"/>
                <a:gd name="connsiteY671" fmla="*/ 992315 h 1332642"/>
                <a:gd name="connsiteX672" fmla="*/ 916781 w 1004887"/>
                <a:gd name="connsiteY672" fmla="*/ 986314 h 1332642"/>
                <a:gd name="connsiteX673" fmla="*/ 916591 w 1004887"/>
                <a:gd name="connsiteY673" fmla="*/ 984790 h 1332642"/>
                <a:gd name="connsiteX674" fmla="*/ 923639 w 1004887"/>
                <a:gd name="connsiteY674" fmla="*/ 977456 h 1332642"/>
                <a:gd name="connsiteX675" fmla="*/ 926878 w 1004887"/>
                <a:gd name="connsiteY675" fmla="*/ 977074 h 1332642"/>
                <a:gd name="connsiteX676" fmla="*/ 924877 w 1004887"/>
                <a:gd name="connsiteY676" fmla="*/ 974122 h 1332642"/>
                <a:gd name="connsiteX677" fmla="*/ 921925 w 1004887"/>
                <a:gd name="connsiteY677" fmla="*/ 976122 h 1332642"/>
                <a:gd name="connsiteX678" fmla="*/ 912209 w 1004887"/>
                <a:gd name="connsiteY678" fmla="*/ 975741 h 1332642"/>
                <a:gd name="connsiteX679" fmla="*/ 910495 w 1004887"/>
                <a:gd name="connsiteY679" fmla="*/ 974312 h 1332642"/>
                <a:gd name="connsiteX680" fmla="*/ 907256 w 1004887"/>
                <a:gd name="connsiteY680" fmla="*/ 974789 h 1332642"/>
                <a:gd name="connsiteX681" fmla="*/ 904304 w 1004887"/>
                <a:gd name="connsiteY681" fmla="*/ 963930 h 1332642"/>
                <a:gd name="connsiteX682" fmla="*/ 904685 w 1004887"/>
                <a:gd name="connsiteY682" fmla="*/ 954215 h 1332642"/>
                <a:gd name="connsiteX683" fmla="*/ 901160 w 1004887"/>
                <a:gd name="connsiteY683" fmla="*/ 951452 h 1332642"/>
                <a:gd name="connsiteX684" fmla="*/ 902494 w 1004887"/>
                <a:gd name="connsiteY684" fmla="*/ 949738 h 1332642"/>
                <a:gd name="connsiteX685" fmla="*/ 909066 w 1004887"/>
                <a:gd name="connsiteY685" fmla="*/ 950500 h 1332642"/>
                <a:gd name="connsiteX686" fmla="*/ 913543 w 1004887"/>
                <a:gd name="connsiteY686" fmla="*/ 948309 h 1332642"/>
                <a:gd name="connsiteX687" fmla="*/ 917353 w 1004887"/>
                <a:gd name="connsiteY687" fmla="*/ 952595 h 1332642"/>
                <a:gd name="connsiteX688" fmla="*/ 920496 w 1004887"/>
                <a:gd name="connsiteY688" fmla="*/ 952214 h 1332642"/>
                <a:gd name="connsiteX689" fmla="*/ 923639 w 1004887"/>
                <a:gd name="connsiteY689" fmla="*/ 951833 h 1332642"/>
                <a:gd name="connsiteX690" fmla="*/ 924401 w 1004887"/>
                <a:gd name="connsiteY690" fmla="*/ 945261 h 1332642"/>
                <a:gd name="connsiteX691" fmla="*/ 927354 w 1004887"/>
                <a:gd name="connsiteY691" fmla="*/ 943356 h 1332642"/>
                <a:gd name="connsiteX692" fmla="*/ 928116 w 1004887"/>
                <a:gd name="connsiteY692" fmla="*/ 936784 h 1332642"/>
                <a:gd name="connsiteX693" fmla="*/ 924782 w 1004887"/>
                <a:gd name="connsiteY693" fmla="*/ 935641 h 1332642"/>
                <a:gd name="connsiteX694" fmla="*/ 921639 w 1004887"/>
                <a:gd name="connsiteY694" fmla="*/ 936022 h 1332642"/>
                <a:gd name="connsiteX695" fmla="*/ 917448 w 1004887"/>
                <a:gd name="connsiteY695" fmla="*/ 928497 h 1332642"/>
                <a:gd name="connsiteX696" fmla="*/ 919067 w 1004887"/>
                <a:gd name="connsiteY696" fmla="*/ 928307 h 1332642"/>
                <a:gd name="connsiteX697" fmla="*/ 922020 w 1004887"/>
                <a:gd name="connsiteY697" fmla="*/ 926402 h 1332642"/>
                <a:gd name="connsiteX698" fmla="*/ 918972 w 1004887"/>
                <a:gd name="connsiteY698" fmla="*/ 915543 h 1332642"/>
                <a:gd name="connsiteX699" fmla="*/ 927449 w 1004887"/>
                <a:gd name="connsiteY699" fmla="*/ 919258 h 1332642"/>
                <a:gd name="connsiteX700" fmla="*/ 929450 w 1004887"/>
                <a:gd name="connsiteY700" fmla="*/ 909352 h 1332642"/>
                <a:gd name="connsiteX701" fmla="*/ 934022 w 1004887"/>
                <a:gd name="connsiteY701" fmla="*/ 907161 h 1332642"/>
                <a:gd name="connsiteX702" fmla="*/ 937165 w 1004887"/>
                <a:gd name="connsiteY702" fmla="*/ 906780 h 1332642"/>
                <a:gd name="connsiteX703" fmla="*/ 938117 w 1004887"/>
                <a:gd name="connsiteY703" fmla="*/ 901827 h 1332642"/>
                <a:gd name="connsiteX704" fmla="*/ 942594 w 1004887"/>
                <a:gd name="connsiteY704" fmla="*/ 899636 h 1332642"/>
                <a:gd name="connsiteX705" fmla="*/ 950976 w 1004887"/>
                <a:gd name="connsiteY705" fmla="*/ 901827 h 1332642"/>
                <a:gd name="connsiteX706" fmla="*/ 952310 w 1004887"/>
                <a:gd name="connsiteY706" fmla="*/ 900017 h 1332642"/>
                <a:gd name="connsiteX707" fmla="*/ 953452 w 1004887"/>
                <a:gd name="connsiteY707" fmla="*/ 896683 h 1332642"/>
                <a:gd name="connsiteX708" fmla="*/ 950881 w 1004887"/>
                <a:gd name="connsiteY708" fmla="*/ 888968 h 1332642"/>
                <a:gd name="connsiteX709" fmla="*/ 954024 w 1004887"/>
                <a:gd name="connsiteY709" fmla="*/ 888587 h 1332642"/>
                <a:gd name="connsiteX710" fmla="*/ 952119 w 1004887"/>
                <a:gd name="connsiteY710" fmla="*/ 885635 h 1332642"/>
                <a:gd name="connsiteX711" fmla="*/ 954405 w 1004887"/>
                <a:gd name="connsiteY711" fmla="*/ 878967 h 1332642"/>
                <a:gd name="connsiteX712" fmla="*/ 958120 w 1004887"/>
                <a:gd name="connsiteY712" fmla="*/ 870395 h 1332642"/>
                <a:gd name="connsiteX713" fmla="*/ 966026 w 1004887"/>
                <a:gd name="connsiteY713" fmla="*/ 869442 h 1332642"/>
                <a:gd name="connsiteX714" fmla="*/ 964311 w 1004887"/>
                <a:gd name="connsiteY714" fmla="*/ 868013 h 1332642"/>
                <a:gd name="connsiteX715" fmla="*/ 963263 w 1004887"/>
                <a:gd name="connsiteY715" fmla="*/ 860203 h 1332642"/>
                <a:gd name="connsiteX716" fmla="*/ 960692 w 1004887"/>
                <a:gd name="connsiteY716" fmla="*/ 865251 h 1332642"/>
                <a:gd name="connsiteX717" fmla="*/ 958977 w 1004887"/>
                <a:gd name="connsiteY717" fmla="*/ 863918 h 1332642"/>
                <a:gd name="connsiteX718" fmla="*/ 963073 w 1004887"/>
                <a:gd name="connsiteY718" fmla="*/ 858583 h 1332642"/>
                <a:gd name="connsiteX719" fmla="*/ 964597 w 1004887"/>
                <a:gd name="connsiteY719" fmla="*/ 858393 h 1332642"/>
                <a:gd name="connsiteX720" fmla="*/ 964216 w 1004887"/>
                <a:gd name="connsiteY720" fmla="*/ 855250 h 1332642"/>
                <a:gd name="connsiteX721" fmla="*/ 967550 w 1004887"/>
                <a:gd name="connsiteY721" fmla="*/ 856393 h 1332642"/>
                <a:gd name="connsiteX722" fmla="*/ 965645 w 1004887"/>
                <a:gd name="connsiteY722" fmla="*/ 853440 h 1332642"/>
                <a:gd name="connsiteX723" fmla="*/ 966407 w 1004887"/>
                <a:gd name="connsiteY723" fmla="*/ 846963 h 1332642"/>
                <a:gd name="connsiteX724" fmla="*/ 963073 w 1004887"/>
                <a:gd name="connsiteY724" fmla="*/ 845725 h 1332642"/>
                <a:gd name="connsiteX725" fmla="*/ 964216 w 1004887"/>
                <a:gd name="connsiteY725" fmla="*/ 842391 h 1332642"/>
                <a:gd name="connsiteX726" fmla="*/ 961263 w 1004887"/>
                <a:gd name="connsiteY726" fmla="*/ 844391 h 1332642"/>
                <a:gd name="connsiteX727" fmla="*/ 957453 w 1004887"/>
                <a:gd name="connsiteY727" fmla="*/ 840010 h 1332642"/>
                <a:gd name="connsiteX728" fmla="*/ 954310 w 1004887"/>
                <a:gd name="connsiteY728" fmla="*/ 840486 h 1332642"/>
                <a:gd name="connsiteX729" fmla="*/ 954119 w 1004887"/>
                <a:gd name="connsiteY729" fmla="*/ 838867 h 1332642"/>
                <a:gd name="connsiteX730" fmla="*/ 957263 w 1004887"/>
                <a:gd name="connsiteY730" fmla="*/ 838486 h 1332642"/>
                <a:gd name="connsiteX731" fmla="*/ 953929 w 1004887"/>
                <a:gd name="connsiteY731" fmla="*/ 837343 h 1332642"/>
                <a:gd name="connsiteX732" fmla="*/ 956882 w 1004887"/>
                <a:gd name="connsiteY732" fmla="*/ 835343 h 1332642"/>
                <a:gd name="connsiteX733" fmla="*/ 954881 w 1004887"/>
                <a:gd name="connsiteY733" fmla="*/ 832390 h 1332642"/>
                <a:gd name="connsiteX734" fmla="*/ 949357 w 1004887"/>
                <a:gd name="connsiteY734" fmla="*/ 826675 h 1332642"/>
                <a:gd name="connsiteX735" fmla="*/ 950309 w 1004887"/>
                <a:gd name="connsiteY735" fmla="*/ 821722 h 1332642"/>
                <a:gd name="connsiteX736" fmla="*/ 946404 w 1004887"/>
                <a:gd name="connsiteY736" fmla="*/ 815816 h 1332642"/>
                <a:gd name="connsiteX737" fmla="*/ 947738 w 1004887"/>
                <a:gd name="connsiteY737" fmla="*/ 814007 h 1332642"/>
                <a:gd name="connsiteX738" fmla="*/ 946214 w 1004887"/>
                <a:gd name="connsiteY738" fmla="*/ 814197 h 1332642"/>
                <a:gd name="connsiteX739" fmla="*/ 947547 w 1004887"/>
                <a:gd name="connsiteY739" fmla="*/ 812482 h 1332642"/>
                <a:gd name="connsiteX740" fmla="*/ 946023 w 1004887"/>
                <a:gd name="connsiteY740" fmla="*/ 812673 h 1332642"/>
                <a:gd name="connsiteX741" fmla="*/ 945547 w 1004887"/>
                <a:gd name="connsiteY741" fmla="*/ 809530 h 1332642"/>
                <a:gd name="connsiteX742" fmla="*/ 947166 w 1004887"/>
                <a:gd name="connsiteY742" fmla="*/ 809244 h 1332642"/>
                <a:gd name="connsiteX743" fmla="*/ 951071 w 1004887"/>
                <a:gd name="connsiteY743" fmla="*/ 802386 h 1332642"/>
                <a:gd name="connsiteX744" fmla="*/ 949357 w 1004887"/>
                <a:gd name="connsiteY744" fmla="*/ 800957 h 1332642"/>
                <a:gd name="connsiteX745" fmla="*/ 948500 w 1004887"/>
                <a:gd name="connsiteY745" fmla="*/ 794671 h 1332642"/>
                <a:gd name="connsiteX746" fmla="*/ 951071 w 1004887"/>
                <a:gd name="connsiteY746" fmla="*/ 789527 h 1332642"/>
                <a:gd name="connsiteX747" fmla="*/ 949262 w 1004887"/>
                <a:gd name="connsiteY747" fmla="*/ 788194 h 1332642"/>
                <a:gd name="connsiteX748" fmla="*/ 952405 w 1004887"/>
                <a:gd name="connsiteY748" fmla="*/ 787813 h 1332642"/>
                <a:gd name="connsiteX749" fmla="*/ 956405 w 1004887"/>
                <a:gd name="connsiteY749" fmla="*/ 780860 h 1332642"/>
                <a:gd name="connsiteX750" fmla="*/ 957929 w 1004887"/>
                <a:gd name="connsiteY750" fmla="*/ 780669 h 1332642"/>
                <a:gd name="connsiteX751" fmla="*/ 956120 w 1004887"/>
                <a:gd name="connsiteY751" fmla="*/ 779240 h 1332642"/>
                <a:gd name="connsiteX752" fmla="*/ 958691 w 1004887"/>
                <a:gd name="connsiteY752" fmla="*/ 774097 h 1332642"/>
                <a:gd name="connsiteX753" fmla="*/ 965264 w 1004887"/>
                <a:gd name="connsiteY753" fmla="*/ 774954 h 1332642"/>
                <a:gd name="connsiteX754" fmla="*/ 968407 w 1004887"/>
                <a:gd name="connsiteY754" fmla="*/ 774478 h 1332642"/>
                <a:gd name="connsiteX755" fmla="*/ 968216 w 1004887"/>
                <a:gd name="connsiteY755" fmla="*/ 772954 h 1332642"/>
                <a:gd name="connsiteX756" fmla="*/ 960120 w 1004887"/>
                <a:gd name="connsiteY756" fmla="*/ 772382 h 1332642"/>
                <a:gd name="connsiteX757" fmla="*/ 958120 w 1004887"/>
                <a:gd name="connsiteY757" fmla="*/ 769430 h 1332642"/>
                <a:gd name="connsiteX758" fmla="*/ 961263 w 1004887"/>
                <a:gd name="connsiteY758" fmla="*/ 769049 h 1332642"/>
                <a:gd name="connsiteX759" fmla="*/ 961073 w 1004887"/>
                <a:gd name="connsiteY759" fmla="*/ 767429 h 1332642"/>
                <a:gd name="connsiteX760" fmla="*/ 957929 w 1004887"/>
                <a:gd name="connsiteY760" fmla="*/ 767810 h 1332642"/>
                <a:gd name="connsiteX761" fmla="*/ 957548 w 1004887"/>
                <a:gd name="connsiteY761" fmla="*/ 764667 h 1332642"/>
                <a:gd name="connsiteX762" fmla="*/ 955739 w 1004887"/>
                <a:gd name="connsiteY762" fmla="*/ 763333 h 1332642"/>
                <a:gd name="connsiteX763" fmla="*/ 955358 w 1004887"/>
                <a:gd name="connsiteY763" fmla="*/ 760190 h 1332642"/>
                <a:gd name="connsiteX764" fmla="*/ 953738 w 1004887"/>
                <a:gd name="connsiteY764" fmla="*/ 760381 h 1332642"/>
                <a:gd name="connsiteX765" fmla="*/ 951548 w 1004887"/>
                <a:gd name="connsiteY765" fmla="*/ 755809 h 1332642"/>
                <a:gd name="connsiteX766" fmla="*/ 949833 w 1004887"/>
                <a:gd name="connsiteY766" fmla="*/ 754380 h 1332642"/>
                <a:gd name="connsiteX767" fmla="*/ 950976 w 1004887"/>
                <a:gd name="connsiteY767" fmla="*/ 751046 h 1332642"/>
                <a:gd name="connsiteX768" fmla="*/ 950595 w 1004887"/>
                <a:gd name="connsiteY768" fmla="*/ 747903 h 1332642"/>
                <a:gd name="connsiteX769" fmla="*/ 951929 w 1004887"/>
                <a:gd name="connsiteY769" fmla="*/ 746093 h 1332642"/>
                <a:gd name="connsiteX770" fmla="*/ 948595 w 1004887"/>
                <a:gd name="connsiteY770" fmla="*/ 744950 h 1332642"/>
                <a:gd name="connsiteX771" fmla="*/ 949547 w 1004887"/>
                <a:gd name="connsiteY771" fmla="*/ 739997 h 1332642"/>
                <a:gd name="connsiteX772" fmla="*/ 952500 w 1004887"/>
                <a:gd name="connsiteY772" fmla="*/ 738092 h 1332642"/>
                <a:gd name="connsiteX773" fmla="*/ 950119 w 1004887"/>
                <a:gd name="connsiteY773" fmla="*/ 731901 h 1332642"/>
                <a:gd name="connsiteX774" fmla="*/ 951357 w 1004887"/>
                <a:gd name="connsiteY774" fmla="*/ 728567 h 1332642"/>
                <a:gd name="connsiteX775" fmla="*/ 948119 w 1004887"/>
                <a:gd name="connsiteY775" fmla="*/ 728948 h 1332642"/>
                <a:gd name="connsiteX776" fmla="*/ 950881 w 1004887"/>
                <a:gd name="connsiteY776" fmla="*/ 725424 h 1332642"/>
                <a:gd name="connsiteX777" fmla="*/ 950500 w 1004887"/>
                <a:gd name="connsiteY777" fmla="*/ 722281 h 1332642"/>
                <a:gd name="connsiteX778" fmla="*/ 948881 w 1004887"/>
                <a:gd name="connsiteY778" fmla="*/ 722471 h 1332642"/>
                <a:gd name="connsiteX779" fmla="*/ 947738 w 1004887"/>
                <a:gd name="connsiteY779" fmla="*/ 725805 h 1332642"/>
                <a:gd name="connsiteX780" fmla="*/ 948881 w 1004887"/>
                <a:gd name="connsiteY780" fmla="*/ 722471 h 1332642"/>
                <a:gd name="connsiteX781" fmla="*/ 946976 w 1004887"/>
                <a:gd name="connsiteY781" fmla="*/ 719519 h 1332642"/>
                <a:gd name="connsiteX782" fmla="*/ 953452 w 1004887"/>
                <a:gd name="connsiteY782" fmla="*/ 720281 h 1332642"/>
                <a:gd name="connsiteX783" fmla="*/ 953262 w 1004887"/>
                <a:gd name="connsiteY783" fmla="*/ 718757 h 1332642"/>
                <a:gd name="connsiteX784" fmla="*/ 946785 w 1004887"/>
                <a:gd name="connsiteY784" fmla="*/ 717899 h 1332642"/>
                <a:gd name="connsiteX785" fmla="*/ 946976 w 1004887"/>
                <a:gd name="connsiteY785" fmla="*/ 719519 h 1332642"/>
                <a:gd name="connsiteX786" fmla="*/ 946785 w 1004887"/>
                <a:gd name="connsiteY786" fmla="*/ 717899 h 1332642"/>
                <a:gd name="connsiteX787" fmla="*/ 943547 w 1004887"/>
                <a:gd name="connsiteY787" fmla="*/ 718376 h 1332642"/>
                <a:gd name="connsiteX788" fmla="*/ 940213 w 1004887"/>
                <a:gd name="connsiteY788" fmla="*/ 717137 h 1332642"/>
                <a:gd name="connsiteX789" fmla="*/ 939451 w 1004887"/>
                <a:gd name="connsiteY789" fmla="*/ 710851 h 1332642"/>
                <a:gd name="connsiteX790" fmla="*/ 940784 w 1004887"/>
                <a:gd name="connsiteY790" fmla="*/ 709041 h 1332642"/>
                <a:gd name="connsiteX791" fmla="*/ 938784 w 1004887"/>
                <a:gd name="connsiteY791" fmla="*/ 706088 h 1332642"/>
                <a:gd name="connsiteX792" fmla="*/ 942023 w 1004887"/>
                <a:gd name="connsiteY792" fmla="*/ 705707 h 1332642"/>
                <a:gd name="connsiteX793" fmla="*/ 943166 w 1004887"/>
                <a:gd name="connsiteY793" fmla="*/ 702374 h 1332642"/>
                <a:gd name="connsiteX794" fmla="*/ 946499 w 1004887"/>
                <a:gd name="connsiteY794" fmla="*/ 703516 h 1332642"/>
                <a:gd name="connsiteX795" fmla="*/ 947738 w 1004887"/>
                <a:gd name="connsiteY795" fmla="*/ 700183 h 1332642"/>
                <a:gd name="connsiteX796" fmla="*/ 947261 w 1004887"/>
                <a:gd name="connsiteY796" fmla="*/ 697040 h 1332642"/>
                <a:gd name="connsiteX797" fmla="*/ 942118 w 1004887"/>
                <a:gd name="connsiteY797" fmla="*/ 694468 h 1332642"/>
                <a:gd name="connsiteX798" fmla="*/ 943356 w 1004887"/>
                <a:gd name="connsiteY798" fmla="*/ 691134 h 1332642"/>
                <a:gd name="connsiteX799" fmla="*/ 947642 w 1004887"/>
                <a:gd name="connsiteY799" fmla="*/ 687324 h 1332642"/>
                <a:gd name="connsiteX800" fmla="*/ 948881 w 1004887"/>
                <a:gd name="connsiteY800" fmla="*/ 683990 h 1332642"/>
                <a:gd name="connsiteX801" fmla="*/ 952214 w 1004887"/>
                <a:gd name="connsiteY801" fmla="*/ 685133 h 1332642"/>
                <a:gd name="connsiteX802" fmla="*/ 952976 w 1004887"/>
                <a:gd name="connsiteY802" fmla="*/ 678656 h 1332642"/>
                <a:gd name="connsiteX803" fmla="*/ 954310 w 1004887"/>
                <a:gd name="connsiteY803" fmla="*/ 676847 h 1332642"/>
                <a:gd name="connsiteX804" fmla="*/ 956120 w 1004887"/>
                <a:gd name="connsiteY804" fmla="*/ 665416 h 1332642"/>
                <a:gd name="connsiteX805" fmla="*/ 956691 w 1004887"/>
                <a:gd name="connsiteY805" fmla="*/ 657320 h 1332642"/>
                <a:gd name="connsiteX806" fmla="*/ 951548 w 1004887"/>
                <a:gd name="connsiteY806" fmla="*/ 654749 h 1332642"/>
                <a:gd name="connsiteX807" fmla="*/ 952119 w 1004887"/>
                <a:gd name="connsiteY807" fmla="*/ 646652 h 1332642"/>
                <a:gd name="connsiteX808" fmla="*/ 941642 w 1004887"/>
                <a:gd name="connsiteY808" fmla="*/ 639985 h 1332642"/>
                <a:gd name="connsiteX809" fmla="*/ 938498 w 1004887"/>
                <a:gd name="connsiteY809" fmla="*/ 640366 h 1332642"/>
                <a:gd name="connsiteX810" fmla="*/ 933164 w 1004887"/>
                <a:gd name="connsiteY810" fmla="*/ 649129 h 1332642"/>
                <a:gd name="connsiteX811" fmla="*/ 931355 w 1004887"/>
                <a:gd name="connsiteY811" fmla="*/ 647700 h 1332642"/>
                <a:gd name="connsiteX812" fmla="*/ 935736 w 1004887"/>
                <a:gd name="connsiteY812" fmla="*/ 643985 h 1332642"/>
                <a:gd name="connsiteX813" fmla="*/ 937451 w 1004887"/>
                <a:gd name="connsiteY813" fmla="*/ 632555 h 1332642"/>
                <a:gd name="connsiteX814" fmla="*/ 935450 w 1004887"/>
                <a:gd name="connsiteY814" fmla="*/ 629603 h 1332642"/>
                <a:gd name="connsiteX815" fmla="*/ 933736 w 1004887"/>
                <a:gd name="connsiteY815" fmla="*/ 628174 h 1332642"/>
                <a:gd name="connsiteX816" fmla="*/ 936403 w 1004887"/>
                <a:gd name="connsiteY816" fmla="*/ 611791 h 1332642"/>
                <a:gd name="connsiteX817" fmla="*/ 933641 w 1004887"/>
                <a:gd name="connsiteY817" fmla="*/ 602552 h 1332642"/>
                <a:gd name="connsiteX818" fmla="*/ 937736 w 1004887"/>
                <a:gd name="connsiteY818" fmla="*/ 597218 h 1332642"/>
                <a:gd name="connsiteX819" fmla="*/ 941737 w 1004887"/>
                <a:gd name="connsiteY819" fmla="*/ 590264 h 1332642"/>
                <a:gd name="connsiteX820" fmla="*/ 941261 w 1004887"/>
                <a:gd name="connsiteY820" fmla="*/ 574262 h 1332642"/>
                <a:gd name="connsiteX821" fmla="*/ 943832 w 1004887"/>
                <a:gd name="connsiteY821" fmla="*/ 569119 h 1332642"/>
                <a:gd name="connsiteX822" fmla="*/ 944594 w 1004887"/>
                <a:gd name="connsiteY822" fmla="*/ 562642 h 1332642"/>
                <a:gd name="connsiteX823" fmla="*/ 940880 w 1004887"/>
                <a:gd name="connsiteY823" fmla="*/ 558356 h 1332642"/>
                <a:gd name="connsiteX824" fmla="*/ 936308 w 1004887"/>
                <a:gd name="connsiteY824" fmla="*/ 560451 h 1332642"/>
                <a:gd name="connsiteX825" fmla="*/ 929640 w 1004887"/>
                <a:gd name="connsiteY825" fmla="*/ 558165 h 1332642"/>
                <a:gd name="connsiteX826" fmla="*/ 928973 w 1004887"/>
                <a:gd name="connsiteY826" fmla="*/ 553403 h 1332642"/>
                <a:gd name="connsiteX827" fmla="*/ 925449 w 1004887"/>
                <a:gd name="connsiteY827" fmla="*/ 550640 h 1332642"/>
                <a:gd name="connsiteX828" fmla="*/ 921068 w 1004887"/>
                <a:gd name="connsiteY828" fmla="*/ 554450 h 1332642"/>
                <a:gd name="connsiteX829" fmla="*/ 919544 w 1004887"/>
                <a:gd name="connsiteY829" fmla="*/ 554641 h 1332642"/>
                <a:gd name="connsiteX830" fmla="*/ 912590 w 1004887"/>
                <a:gd name="connsiteY830" fmla="*/ 550640 h 1332642"/>
                <a:gd name="connsiteX831" fmla="*/ 912209 w 1004887"/>
                <a:gd name="connsiteY831" fmla="*/ 547497 h 1332642"/>
                <a:gd name="connsiteX832" fmla="*/ 915352 w 1004887"/>
                <a:gd name="connsiteY832" fmla="*/ 547116 h 1332642"/>
                <a:gd name="connsiteX833" fmla="*/ 916496 w 1004887"/>
                <a:gd name="connsiteY833" fmla="*/ 543782 h 1332642"/>
                <a:gd name="connsiteX834" fmla="*/ 906875 w 1004887"/>
                <a:gd name="connsiteY834" fmla="*/ 543401 h 1332642"/>
                <a:gd name="connsiteX835" fmla="*/ 906494 w 1004887"/>
                <a:gd name="connsiteY835" fmla="*/ 540258 h 1332642"/>
                <a:gd name="connsiteX836" fmla="*/ 901732 w 1004887"/>
                <a:gd name="connsiteY836" fmla="*/ 540830 h 1332642"/>
                <a:gd name="connsiteX837" fmla="*/ 898208 w 1004887"/>
                <a:gd name="connsiteY837" fmla="*/ 538067 h 1332642"/>
                <a:gd name="connsiteX838" fmla="*/ 895064 w 1004887"/>
                <a:gd name="connsiteY838" fmla="*/ 538544 h 1332642"/>
                <a:gd name="connsiteX839" fmla="*/ 892588 w 1004887"/>
                <a:gd name="connsiteY839" fmla="*/ 532352 h 1332642"/>
                <a:gd name="connsiteX840" fmla="*/ 889254 w 1004887"/>
                <a:gd name="connsiteY840" fmla="*/ 531209 h 1332642"/>
                <a:gd name="connsiteX841" fmla="*/ 897350 w 1004887"/>
                <a:gd name="connsiteY841" fmla="*/ 531781 h 1332642"/>
                <a:gd name="connsiteX842" fmla="*/ 904494 w 1004887"/>
                <a:gd name="connsiteY842" fmla="*/ 537305 h 1332642"/>
                <a:gd name="connsiteX843" fmla="*/ 912400 w 1004887"/>
                <a:gd name="connsiteY843" fmla="*/ 536257 h 1332642"/>
                <a:gd name="connsiteX844" fmla="*/ 913733 w 1004887"/>
                <a:gd name="connsiteY844" fmla="*/ 534543 h 1332642"/>
                <a:gd name="connsiteX845" fmla="*/ 918496 w 1004887"/>
                <a:gd name="connsiteY845" fmla="*/ 533876 h 1332642"/>
                <a:gd name="connsiteX846" fmla="*/ 921449 w 1004887"/>
                <a:gd name="connsiteY846" fmla="*/ 531876 h 1332642"/>
                <a:gd name="connsiteX847" fmla="*/ 918115 w 1004887"/>
                <a:gd name="connsiteY847" fmla="*/ 530733 h 1332642"/>
                <a:gd name="connsiteX848" fmla="*/ 911543 w 1004887"/>
                <a:gd name="connsiteY848" fmla="*/ 517112 h 1332642"/>
                <a:gd name="connsiteX849" fmla="*/ 901827 w 1004887"/>
                <a:gd name="connsiteY849" fmla="*/ 516731 h 1332642"/>
                <a:gd name="connsiteX850" fmla="*/ 898112 w 1004887"/>
                <a:gd name="connsiteY850" fmla="*/ 512445 h 1332642"/>
                <a:gd name="connsiteX851" fmla="*/ 900684 w 1004887"/>
                <a:gd name="connsiteY851" fmla="*/ 507302 h 1332642"/>
                <a:gd name="connsiteX852" fmla="*/ 898684 w 1004887"/>
                <a:gd name="connsiteY852" fmla="*/ 504349 h 1332642"/>
                <a:gd name="connsiteX853" fmla="*/ 899827 w 1004887"/>
                <a:gd name="connsiteY853" fmla="*/ 501015 h 1332642"/>
                <a:gd name="connsiteX854" fmla="*/ 901827 w 1004887"/>
                <a:gd name="connsiteY854" fmla="*/ 503968 h 1332642"/>
                <a:gd name="connsiteX855" fmla="*/ 902018 w 1004887"/>
                <a:gd name="connsiteY855" fmla="*/ 505492 h 1332642"/>
                <a:gd name="connsiteX856" fmla="*/ 903827 w 1004887"/>
                <a:gd name="connsiteY856" fmla="*/ 506920 h 1332642"/>
                <a:gd name="connsiteX857" fmla="*/ 906590 w 1004887"/>
                <a:gd name="connsiteY857" fmla="*/ 503301 h 1332642"/>
                <a:gd name="connsiteX858" fmla="*/ 906780 w 1004887"/>
                <a:gd name="connsiteY858" fmla="*/ 504920 h 1332642"/>
                <a:gd name="connsiteX859" fmla="*/ 908399 w 1004887"/>
                <a:gd name="connsiteY859" fmla="*/ 504730 h 1332642"/>
                <a:gd name="connsiteX860" fmla="*/ 908399 w 1004887"/>
                <a:gd name="connsiteY860" fmla="*/ 504730 h 1332642"/>
                <a:gd name="connsiteX861" fmla="*/ 909733 w 1004887"/>
                <a:gd name="connsiteY861" fmla="*/ 502920 h 1332642"/>
                <a:gd name="connsiteX862" fmla="*/ 917448 w 1004887"/>
                <a:gd name="connsiteY862" fmla="*/ 500348 h 1332642"/>
                <a:gd name="connsiteX863" fmla="*/ 920782 w 1004887"/>
                <a:gd name="connsiteY863" fmla="*/ 501491 h 1332642"/>
                <a:gd name="connsiteX864" fmla="*/ 927830 w 1004887"/>
                <a:gd name="connsiteY864" fmla="*/ 494252 h 1332642"/>
                <a:gd name="connsiteX865" fmla="*/ 923163 w 1004887"/>
                <a:gd name="connsiteY865" fmla="*/ 494824 h 1332642"/>
                <a:gd name="connsiteX866" fmla="*/ 922496 w 1004887"/>
                <a:gd name="connsiteY866" fmla="*/ 490061 h 1332642"/>
                <a:gd name="connsiteX867" fmla="*/ 917829 w 1004887"/>
                <a:gd name="connsiteY867" fmla="*/ 490728 h 1332642"/>
                <a:gd name="connsiteX868" fmla="*/ 917639 w 1004887"/>
                <a:gd name="connsiteY868" fmla="*/ 489109 h 1332642"/>
                <a:gd name="connsiteX869" fmla="*/ 914210 w 1004887"/>
                <a:gd name="connsiteY869" fmla="*/ 487966 h 1332642"/>
                <a:gd name="connsiteX870" fmla="*/ 909733 w 1004887"/>
                <a:gd name="connsiteY870" fmla="*/ 490157 h 1332642"/>
                <a:gd name="connsiteX871" fmla="*/ 912495 w 1004887"/>
                <a:gd name="connsiteY871" fmla="*/ 486537 h 1332642"/>
                <a:gd name="connsiteX872" fmla="*/ 909066 w 1004887"/>
                <a:gd name="connsiteY872" fmla="*/ 485394 h 1332642"/>
                <a:gd name="connsiteX873" fmla="*/ 904780 w 1004887"/>
                <a:gd name="connsiteY873" fmla="*/ 489109 h 1332642"/>
                <a:gd name="connsiteX874" fmla="*/ 902780 w 1004887"/>
                <a:gd name="connsiteY874" fmla="*/ 486156 h 1332642"/>
                <a:gd name="connsiteX875" fmla="*/ 899827 w 1004887"/>
                <a:gd name="connsiteY875" fmla="*/ 488156 h 1332642"/>
                <a:gd name="connsiteX876" fmla="*/ 898684 w 1004887"/>
                <a:gd name="connsiteY876" fmla="*/ 491490 h 1332642"/>
                <a:gd name="connsiteX877" fmla="*/ 895731 w 1004887"/>
                <a:gd name="connsiteY877" fmla="*/ 493490 h 1332642"/>
                <a:gd name="connsiteX878" fmla="*/ 896112 w 1004887"/>
                <a:gd name="connsiteY878" fmla="*/ 496633 h 1332642"/>
                <a:gd name="connsiteX879" fmla="*/ 891159 w 1004887"/>
                <a:gd name="connsiteY879" fmla="*/ 495681 h 1332642"/>
                <a:gd name="connsiteX880" fmla="*/ 888397 w 1004887"/>
                <a:gd name="connsiteY880" fmla="*/ 486442 h 1332642"/>
                <a:gd name="connsiteX881" fmla="*/ 891731 w 1004887"/>
                <a:gd name="connsiteY881" fmla="*/ 487585 h 1332642"/>
                <a:gd name="connsiteX882" fmla="*/ 891540 w 1004887"/>
                <a:gd name="connsiteY882" fmla="*/ 486061 h 1332642"/>
                <a:gd name="connsiteX883" fmla="*/ 888206 w 1004887"/>
                <a:gd name="connsiteY883" fmla="*/ 484823 h 1332642"/>
                <a:gd name="connsiteX884" fmla="*/ 892302 w 1004887"/>
                <a:gd name="connsiteY884" fmla="*/ 479489 h 1332642"/>
                <a:gd name="connsiteX885" fmla="*/ 888397 w 1004887"/>
                <a:gd name="connsiteY885" fmla="*/ 473583 h 1332642"/>
                <a:gd name="connsiteX886" fmla="*/ 890873 w 1004887"/>
                <a:gd name="connsiteY886" fmla="*/ 468440 h 1332642"/>
                <a:gd name="connsiteX887" fmla="*/ 900017 w 1004887"/>
                <a:gd name="connsiteY887" fmla="*/ 464058 h 1332642"/>
                <a:gd name="connsiteX888" fmla="*/ 907447 w 1004887"/>
                <a:gd name="connsiteY888" fmla="*/ 447103 h 1332642"/>
                <a:gd name="connsiteX889" fmla="*/ 930116 w 1004887"/>
                <a:gd name="connsiteY889" fmla="*/ 436245 h 1332642"/>
                <a:gd name="connsiteX890" fmla="*/ 934593 w 1004887"/>
                <a:gd name="connsiteY890" fmla="*/ 434054 h 1332642"/>
                <a:gd name="connsiteX891" fmla="*/ 940975 w 1004887"/>
                <a:gd name="connsiteY891" fmla="*/ 433197 h 1332642"/>
                <a:gd name="connsiteX892" fmla="*/ 937832 w 1004887"/>
                <a:gd name="connsiteY892" fmla="*/ 433578 h 1332642"/>
                <a:gd name="connsiteX893" fmla="*/ 938594 w 1004887"/>
                <a:gd name="connsiteY893" fmla="*/ 439960 h 1332642"/>
                <a:gd name="connsiteX894" fmla="*/ 940403 w 1004887"/>
                <a:gd name="connsiteY894" fmla="*/ 441293 h 1332642"/>
                <a:gd name="connsiteX895" fmla="*/ 945261 w 1004887"/>
                <a:gd name="connsiteY895" fmla="*/ 442246 h 1332642"/>
                <a:gd name="connsiteX896" fmla="*/ 947452 w 1004887"/>
                <a:gd name="connsiteY896" fmla="*/ 446818 h 1332642"/>
                <a:gd name="connsiteX897" fmla="*/ 949071 w 1004887"/>
                <a:gd name="connsiteY897" fmla="*/ 446627 h 1332642"/>
                <a:gd name="connsiteX898" fmla="*/ 949262 w 1004887"/>
                <a:gd name="connsiteY898" fmla="*/ 448151 h 1332642"/>
                <a:gd name="connsiteX899" fmla="*/ 954024 w 1004887"/>
                <a:gd name="connsiteY899" fmla="*/ 447580 h 1332642"/>
                <a:gd name="connsiteX900" fmla="*/ 955739 w 1004887"/>
                <a:gd name="connsiteY900" fmla="*/ 448913 h 1332642"/>
                <a:gd name="connsiteX901" fmla="*/ 956786 w 1004887"/>
                <a:gd name="connsiteY901" fmla="*/ 444056 h 1332642"/>
                <a:gd name="connsiteX902" fmla="*/ 958310 w 1004887"/>
                <a:gd name="connsiteY902" fmla="*/ 443865 h 1332642"/>
                <a:gd name="connsiteX903" fmla="*/ 957929 w 1004887"/>
                <a:gd name="connsiteY903" fmla="*/ 440627 h 1332642"/>
                <a:gd name="connsiteX904" fmla="*/ 959263 w 1004887"/>
                <a:gd name="connsiteY904" fmla="*/ 438912 h 1332642"/>
                <a:gd name="connsiteX905" fmla="*/ 960120 w 1004887"/>
                <a:gd name="connsiteY905" fmla="*/ 432340 h 1332642"/>
                <a:gd name="connsiteX906" fmla="*/ 963073 w 1004887"/>
                <a:gd name="connsiteY906" fmla="*/ 430435 h 1332642"/>
                <a:gd name="connsiteX907" fmla="*/ 965359 w 1004887"/>
                <a:gd name="connsiteY907" fmla="*/ 423672 h 1332642"/>
                <a:gd name="connsiteX908" fmla="*/ 968502 w 1004887"/>
                <a:gd name="connsiteY908" fmla="*/ 423291 h 1332642"/>
                <a:gd name="connsiteX909" fmla="*/ 974693 w 1004887"/>
                <a:gd name="connsiteY909" fmla="*/ 420910 h 1332642"/>
                <a:gd name="connsiteX910" fmla="*/ 974217 w 1004887"/>
                <a:gd name="connsiteY910" fmla="*/ 417766 h 1332642"/>
                <a:gd name="connsiteX911" fmla="*/ 976027 w 1004887"/>
                <a:gd name="connsiteY911" fmla="*/ 419100 h 1332642"/>
                <a:gd name="connsiteX912" fmla="*/ 977456 w 1004887"/>
                <a:gd name="connsiteY912" fmla="*/ 417386 h 1332642"/>
                <a:gd name="connsiteX913" fmla="*/ 980599 w 1004887"/>
                <a:gd name="connsiteY913" fmla="*/ 416909 h 1332642"/>
                <a:gd name="connsiteX914" fmla="*/ 984885 w 1004887"/>
                <a:gd name="connsiteY914" fmla="*/ 413194 h 1332642"/>
                <a:gd name="connsiteX915" fmla="*/ 986695 w 1004887"/>
                <a:gd name="connsiteY915" fmla="*/ 414528 h 1332642"/>
                <a:gd name="connsiteX916" fmla="*/ 990600 w 1004887"/>
                <a:gd name="connsiteY916" fmla="*/ 407670 h 1332642"/>
                <a:gd name="connsiteX917" fmla="*/ 988409 w 1004887"/>
                <a:gd name="connsiteY917" fmla="*/ 403098 h 1332642"/>
                <a:gd name="connsiteX918" fmla="*/ 983266 w 1004887"/>
                <a:gd name="connsiteY918" fmla="*/ 400526 h 1332642"/>
                <a:gd name="connsiteX919" fmla="*/ 981266 w 1004887"/>
                <a:gd name="connsiteY919" fmla="*/ 397573 h 1332642"/>
                <a:gd name="connsiteX920" fmla="*/ 977932 w 1004887"/>
                <a:gd name="connsiteY920" fmla="*/ 396431 h 1332642"/>
                <a:gd name="connsiteX921" fmla="*/ 974979 w 1004887"/>
                <a:gd name="connsiteY921" fmla="*/ 398431 h 1332642"/>
                <a:gd name="connsiteX922" fmla="*/ 973646 w 1004887"/>
                <a:gd name="connsiteY922" fmla="*/ 400145 h 1332642"/>
                <a:gd name="connsiteX923" fmla="*/ 967740 w 1004887"/>
                <a:gd name="connsiteY923" fmla="*/ 404146 h 1332642"/>
                <a:gd name="connsiteX924" fmla="*/ 965930 w 1004887"/>
                <a:gd name="connsiteY924" fmla="*/ 402717 h 1332642"/>
                <a:gd name="connsiteX925" fmla="*/ 966502 w 1004887"/>
                <a:gd name="connsiteY925" fmla="*/ 394716 h 1332642"/>
                <a:gd name="connsiteX926" fmla="*/ 975741 w 1004887"/>
                <a:gd name="connsiteY926" fmla="*/ 391858 h 1332642"/>
                <a:gd name="connsiteX927" fmla="*/ 978884 w 1004887"/>
                <a:gd name="connsiteY927" fmla="*/ 378619 h 1332642"/>
                <a:gd name="connsiteX928" fmla="*/ 978122 w 1004887"/>
                <a:gd name="connsiteY928" fmla="*/ 372332 h 1332642"/>
                <a:gd name="connsiteX929" fmla="*/ 974312 w 1004887"/>
                <a:gd name="connsiteY929" fmla="*/ 368046 h 1332642"/>
                <a:gd name="connsiteX930" fmla="*/ 973931 w 1004887"/>
                <a:gd name="connsiteY930" fmla="*/ 364903 h 1332642"/>
                <a:gd name="connsiteX931" fmla="*/ 971550 w 1004887"/>
                <a:gd name="connsiteY931" fmla="*/ 358711 h 1332642"/>
                <a:gd name="connsiteX932" fmla="*/ 972502 w 1004887"/>
                <a:gd name="connsiteY932" fmla="*/ 353854 h 1332642"/>
                <a:gd name="connsiteX933" fmla="*/ 982027 w 1004887"/>
                <a:gd name="connsiteY933" fmla="*/ 352615 h 1332642"/>
                <a:gd name="connsiteX934" fmla="*/ 981170 w 1004887"/>
                <a:gd name="connsiteY934" fmla="*/ 346329 h 1332642"/>
                <a:gd name="connsiteX935" fmla="*/ 987076 w 1004887"/>
                <a:gd name="connsiteY935" fmla="*/ 342328 h 1332642"/>
                <a:gd name="connsiteX936" fmla="*/ 983933 w 1004887"/>
                <a:gd name="connsiteY936" fmla="*/ 342710 h 1332642"/>
                <a:gd name="connsiteX937" fmla="*/ 986123 w 1004887"/>
                <a:gd name="connsiteY937" fmla="*/ 334423 h 1332642"/>
                <a:gd name="connsiteX938" fmla="*/ 979170 w 1004887"/>
                <a:gd name="connsiteY938" fmla="*/ 330518 h 1332642"/>
                <a:gd name="connsiteX939" fmla="*/ 978122 w 1004887"/>
                <a:gd name="connsiteY939" fmla="*/ 322612 h 1332642"/>
                <a:gd name="connsiteX940" fmla="*/ 985076 w 1004887"/>
                <a:gd name="connsiteY940" fmla="*/ 313753 h 1332642"/>
                <a:gd name="connsiteX941" fmla="*/ 983075 w 1004887"/>
                <a:gd name="connsiteY941" fmla="*/ 310801 h 1332642"/>
                <a:gd name="connsiteX942" fmla="*/ 979361 w 1004887"/>
                <a:gd name="connsiteY942" fmla="*/ 306419 h 1332642"/>
                <a:gd name="connsiteX943" fmla="*/ 982027 w 1004887"/>
                <a:gd name="connsiteY943" fmla="*/ 302895 h 1332642"/>
                <a:gd name="connsiteX944" fmla="*/ 985457 w 1004887"/>
                <a:gd name="connsiteY944" fmla="*/ 304038 h 1332642"/>
                <a:gd name="connsiteX945" fmla="*/ 989171 w 1004887"/>
                <a:gd name="connsiteY945" fmla="*/ 295561 h 1332642"/>
                <a:gd name="connsiteX946" fmla="*/ 985171 w 1004887"/>
                <a:gd name="connsiteY946" fmla="*/ 289655 h 1332642"/>
                <a:gd name="connsiteX947" fmla="*/ 988314 w 1004887"/>
                <a:gd name="connsiteY947" fmla="*/ 289274 h 1332642"/>
                <a:gd name="connsiteX948" fmla="*/ 987171 w 1004887"/>
                <a:gd name="connsiteY948" fmla="*/ 279749 h 1332642"/>
                <a:gd name="connsiteX949" fmla="*/ 988886 w 1004887"/>
                <a:gd name="connsiteY949" fmla="*/ 281178 h 1332642"/>
                <a:gd name="connsiteX950" fmla="*/ 992124 w 1004887"/>
                <a:gd name="connsiteY950" fmla="*/ 280797 h 1332642"/>
                <a:gd name="connsiteX951" fmla="*/ 991838 w 1004887"/>
                <a:gd name="connsiteY951" fmla="*/ 279178 h 1332642"/>
                <a:gd name="connsiteX952" fmla="*/ 992124 w 1004887"/>
                <a:gd name="connsiteY952" fmla="*/ 280797 h 1332642"/>
                <a:gd name="connsiteX953" fmla="*/ 993648 w 1004887"/>
                <a:gd name="connsiteY953" fmla="*/ 280511 h 1332642"/>
                <a:gd name="connsiteX954" fmla="*/ 995077 w 1004887"/>
                <a:gd name="connsiteY954" fmla="*/ 278797 h 1332642"/>
                <a:gd name="connsiteX955" fmla="*/ 998411 w 1004887"/>
                <a:gd name="connsiteY955" fmla="*/ 279940 h 1332642"/>
                <a:gd name="connsiteX956" fmla="*/ 1001363 w 1004887"/>
                <a:gd name="connsiteY956" fmla="*/ 277940 h 1332642"/>
                <a:gd name="connsiteX957" fmla="*/ 1001935 w 1004887"/>
                <a:gd name="connsiteY957" fmla="*/ 282702 h 1332642"/>
                <a:gd name="connsiteX958" fmla="*/ 1004888 w 1004887"/>
                <a:gd name="connsiteY958" fmla="*/ 280702 h 1332642"/>
                <a:gd name="connsiteX959" fmla="*/ 1001363 w 1004887"/>
                <a:gd name="connsiteY959" fmla="*/ 265176 h 1332642"/>
                <a:gd name="connsiteX960" fmla="*/ 999744 w 1004887"/>
                <a:gd name="connsiteY960" fmla="*/ 252508 h 1332642"/>
                <a:gd name="connsiteX961" fmla="*/ 999744 w 1004887"/>
                <a:gd name="connsiteY961" fmla="*/ 252508 h 133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</a:cxnLst>
              <a:rect l="l" t="t" r="r" b="b"/>
              <a:pathLst>
                <a:path w="1004887" h="1332642">
                  <a:moveTo>
                    <a:pt x="999744" y="252508"/>
                  </a:moveTo>
                  <a:lnTo>
                    <a:pt x="997363" y="246412"/>
                  </a:lnTo>
                  <a:lnTo>
                    <a:pt x="998315" y="241459"/>
                  </a:lnTo>
                  <a:lnTo>
                    <a:pt x="997934" y="238315"/>
                  </a:lnTo>
                  <a:lnTo>
                    <a:pt x="996125" y="236982"/>
                  </a:lnTo>
                  <a:lnTo>
                    <a:pt x="994124" y="234029"/>
                  </a:lnTo>
                  <a:lnTo>
                    <a:pt x="995363" y="230600"/>
                  </a:lnTo>
                  <a:lnTo>
                    <a:pt x="996506" y="227266"/>
                  </a:lnTo>
                  <a:lnTo>
                    <a:pt x="995648" y="220980"/>
                  </a:lnTo>
                  <a:lnTo>
                    <a:pt x="993934" y="219551"/>
                  </a:lnTo>
                  <a:lnTo>
                    <a:pt x="996506" y="214408"/>
                  </a:lnTo>
                  <a:lnTo>
                    <a:pt x="1004126" y="211836"/>
                  </a:lnTo>
                  <a:lnTo>
                    <a:pt x="993077" y="213265"/>
                  </a:lnTo>
                  <a:lnTo>
                    <a:pt x="987933" y="210693"/>
                  </a:lnTo>
                  <a:lnTo>
                    <a:pt x="975741" y="202692"/>
                  </a:lnTo>
                  <a:lnTo>
                    <a:pt x="971741" y="196786"/>
                  </a:lnTo>
                  <a:lnTo>
                    <a:pt x="958691" y="195167"/>
                  </a:lnTo>
                  <a:lnTo>
                    <a:pt x="953548" y="192691"/>
                  </a:lnTo>
                  <a:lnTo>
                    <a:pt x="947642" y="196596"/>
                  </a:lnTo>
                  <a:lnTo>
                    <a:pt x="941165" y="195834"/>
                  </a:lnTo>
                  <a:lnTo>
                    <a:pt x="942499" y="194024"/>
                  </a:lnTo>
                  <a:lnTo>
                    <a:pt x="940784" y="192691"/>
                  </a:lnTo>
                  <a:lnTo>
                    <a:pt x="942118" y="190881"/>
                  </a:lnTo>
                  <a:lnTo>
                    <a:pt x="945737" y="193643"/>
                  </a:lnTo>
                  <a:lnTo>
                    <a:pt x="947261" y="193453"/>
                  </a:lnTo>
                  <a:lnTo>
                    <a:pt x="947452" y="182213"/>
                  </a:lnTo>
                  <a:lnTo>
                    <a:pt x="948214" y="175736"/>
                  </a:lnTo>
                  <a:lnTo>
                    <a:pt x="946404" y="174307"/>
                  </a:lnTo>
                  <a:lnTo>
                    <a:pt x="945452" y="166402"/>
                  </a:lnTo>
                  <a:lnTo>
                    <a:pt x="939356" y="168783"/>
                  </a:lnTo>
                  <a:lnTo>
                    <a:pt x="934212" y="166211"/>
                  </a:lnTo>
                  <a:lnTo>
                    <a:pt x="927449" y="163925"/>
                  </a:lnTo>
                  <a:lnTo>
                    <a:pt x="918210" y="166687"/>
                  </a:lnTo>
                  <a:lnTo>
                    <a:pt x="913638" y="168878"/>
                  </a:lnTo>
                  <a:lnTo>
                    <a:pt x="913638" y="168878"/>
                  </a:lnTo>
                  <a:lnTo>
                    <a:pt x="912114" y="169069"/>
                  </a:lnTo>
                  <a:lnTo>
                    <a:pt x="911066" y="161163"/>
                  </a:lnTo>
                  <a:lnTo>
                    <a:pt x="906685" y="152114"/>
                  </a:lnTo>
                  <a:lnTo>
                    <a:pt x="903351" y="150971"/>
                  </a:lnTo>
                  <a:lnTo>
                    <a:pt x="900398" y="152876"/>
                  </a:lnTo>
                  <a:lnTo>
                    <a:pt x="898684" y="151543"/>
                  </a:lnTo>
                  <a:lnTo>
                    <a:pt x="894683" y="145637"/>
                  </a:lnTo>
                  <a:lnTo>
                    <a:pt x="891540" y="146018"/>
                  </a:lnTo>
                  <a:lnTo>
                    <a:pt x="889540" y="130207"/>
                  </a:lnTo>
                  <a:lnTo>
                    <a:pt x="884587" y="129254"/>
                  </a:lnTo>
                  <a:lnTo>
                    <a:pt x="880586" y="123349"/>
                  </a:lnTo>
                  <a:lnTo>
                    <a:pt x="877443" y="123730"/>
                  </a:lnTo>
                  <a:lnTo>
                    <a:pt x="874109" y="122587"/>
                  </a:lnTo>
                  <a:lnTo>
                    <a:pt x="871347" y="126111"/>
                  </a:lnTo>
                  <a:lnTo>
                    <a:pt x="868204" y="126587"/>
                  </a:lnTo>
                  <a:lnTo>
                    <a:pt x="864870" y="125349"/>
                  </a:lnTo>
                  <a:lnTo>
                    <a:pt x="863441" y="127159"/>
                  </a:lnTo>
                  <a:lnTo>
                    <a:pt x="865632" y="131731"/>
                  </a:lnTo>
                  <a:lnTo>
                    <a:pt x="846677" y="134112"/>
                  </a:lnTo>
                  <a:lnTo>
                    <a:pt x="841534" y="131540"/>
                  </a:lnTo>
                  <a:lnTo>
                    <a:pt x="820484" y="129445"/>
                  </a:lnTo>
                  <a:lnTo>
                    <a:pt x="820007" y="126302"/>
                  </a:lnTo>
                  <a:lnTo>
                    <a:pt x="816674" y="125063"/>
                  </a:lnTo>
                  <a:lnTo>
                    <a:pt x="816293" y="121920"/>
                  </a:lnTo>
                  <a:lnTo>
                    <a:pt x="810959" y="117824"/>
                  </a:lnTo>
                  <a:lnTo>
                    <a:pt x="812292" y="116015"/>
                  </a:lnTo>
                  <a:lnTo>
                    <a:pt x="810387" y="113062"/>
                  </a:lnTo>
                  <a:lnTo>
                    <a:pt x="805244" y="110490"/>
                  </a:lnTo>
                  <a:lnTo>
                    <a:pt x="801624" y="107728"/>
                  </a:lnTo>
                  <a:lnTo>
                    <a:pt x="800100" y="107918"/>
                  </a:lnTo>
                  <a:lnTo>
                    <a:pt x="796481" y="105251"/>
                  </a:lnTo>
                  <a:lnTo>
                    <a:pt x="787241" y="108013"/>
                  </a:lnTo>
                  <a:lnTo>
                    <a:pt x="784479" y="98774"/>
                  </a:lnTo>
                  <a:lnTo>
                    <a:pt x="779717" y="99346"/>
                  </a:lnTo>
                  <a:lnTo>
                    <a:pt x="774573" y="96774"/>
                  </a:lnTo>
                  <a:lnTo>
                    <a:pt x="775145" y="88678"/>
                  </a:lnTo>
                  <a:lnTo>
                    <a:pt x="778478" y="89821"/>
                  </a:lnTo>
                  <a:lnTo>
                    <a:pt x="779717" y="86487"/>
                  </a:lnTo>
                  <a:lnTo>
                    <a:pt x="790956" y="86677"/>
                  </a:lnTo>
                  <a:lnTo>
                    <a:pt x="799433" y="90392"/>
                  </a:lnTo>
                  <a:lnTo>
                    <a:pt x="799052" y="87249"/>
                  </a:lnTo>
                  <a:lnTo>
                    <a:pt x="792290" y="84868"/>
                  </a:lnTo>
                  <a:lnTo>
                    <a:pt x="790766" y="85058"/>
                  </a:lnTo>
                  <a:lnTo>
                    <a:pt x="788003" y="75819"/>
                  </a:lnTo>
                  <a:lnTo>
                    <a:pt x="784574" y="74676"/>
                  </a:lnTo>
                  <a:lnTo>
                    <a:pt x="772001" y="76295"/>
                  </a:lnTo>
                  <a:lnTo>
                    <a:pt x="768001" y="83153"/>
                  </a:lnTo>
                  <a:lnTo>
                    <a:pt x="761714" y="84011"/>
                  </a:lnTo>
                  <a:lnTo>
                    <a:pt x="758190" y="81248"/>
                  </a:lnTo>
                  <a:lnTo>
                    <a:pt x="759333" y="77915"/>
                  </a:lnTo>
                  <a:lnTo>
                    <a:pt x="758952" y="74676"/>
                  </a:lnTo>
                  <a:lnTo>
                    <a:pt x="755999" y="76676"/>
                  </a:lnTo>
                  <a:lnTo>
                    <a:pt x="753809" y="72200"/>
                  </a:lnTo>
                  <a:lnTo>
                    <a:pt x="749522" y="75914"/>
                  </a:lnTo>
                  <a:lnTo>
                    <a:pt x="734663" y="72961"/>
                  </a:lnTo>
                  <a:lnTo>
                    <a:pt x="732568" y="81248"/>
                  </a:lnTo>
                  <a:lnTo>
                    <a:pt x="729329" y="81725"/>
                  </a:lnTo>
                  <a:lnTo>
                    <a:pt x="727043" y="88392"/>
                  </a:lnTo>
                  <a:lnTo>
                    <a:pt x="725424" y="88582"/>
                  </a:lnTo>
                  <a:lnTo>
                    <a:pt x="720471" y="87630"/>
                  </a:lnTo>
                  <a:lnTo>
                    <a:pt x="719519" y="79724"/>
                  </a:lnTo>
                  <a:lnTo>
                    <a:pt x="708470" y="81153"/>
                  </a:lnTo>
                  <a:lnTo>
                    <a:pt x="703898" y="83344"/>
                  </a:lnTo>
                  <a:lnTo>
                    <a:pt x="702374" y="83534"/>
                  </a:lnTo>
                  <a:lnTo>
                    <a:pt x="701707" y="78772"/>
                  </a:lnTo>
                  <a:lnTo>
                    <a:pt x="705898" y="73438"/>
                  </a:lnTo>
                  <a:lnTo>
                    <a:pt x="705231" y="68771"/>
                  </a:lnTo>
                  <a:lnTo>
                    <a:pt x="711137" y="64770"/>
                  </a:lnTo>
                  <a:lnTo>
                    <a:pt x="712565" y="62960"/>
                  </a:lnTo>
                  <a:lnTo>
                    <a:pt x="710565" y="60007"/>
                  </a:lnTo>
                  <a:lnTo>
                    <a:pt x="714661" y="54673"/>
                  </a:lnTo>
                  <a:lnTo>
                    <a:pt x="714089" y="50006"/>
                  </a:lnTo>
                  <a:lnTo>
                    <a:pt x="719042" y="50959"/>
                  </a:lnTo>
                  <a:lnTo>
                    <a:pt x="725329" y="50102"/>
                  </a:lnTo>
                  <a:lnTo>
                    <a:pt x="725710" y="40481"/>
                  </a:lnTo>
                  <a:lnTo>
                    <a:pt x="723329" y="34385"/>
                  </a:lnTo>
                  <a:lnTo>
                    <a:pt x="723138" y="32766"/>
                  </a:lnTo>
                  <a:lnTo>
                    <a:pt x="718185" y="31813"/>
                  </a:lnTo>
                  <a:lnTo>
                    <a:pt x="715613" y="24098"/>
                  </a:lnTo>
                  <a:lnTo>
                    <a:pt x="711518" y="29432"/>
                  </a:lnTo>
                  <a:lnTo>
                    <a:pt x="709517" y="26479"/>
                  </a:lnTo>
                  <a:lnTo>
                    <a:pt x="710089" y="18383"/>
                  </a:lnTo>
                  <a:lnTo>
                    <a:pt x="708279" y="17050"/>
                  </a:lnTo>
                  <a:lnTo>
                    <a:pt x="707517" y="23527"/>
                  </a:lnTo>
                  <a:lnTo>
                    <a:pt x="701421" y="25908"/>
                  </a:lnTo>
                  <a:lnTo>
                    <a:pt x="701612" y="27527"/>
                  </a:lnTo>
                  <a:lnTo>
                    <a:pt x="698278" y="26289"/>
                  </a:lnTo>
                  <a:lnTo>
                    <a:pt x="695135" y="26670"/>
                  </a:lnTo>
                  <a:lnTo>
                    <a:pt x="689229" y="30671"/>
                  </a:lnTo>
                  <a:lnTo>
                    <a:pt x="684086" y="28099"/>
                  </a:lnTo>
                  <a:lnTo>
                    <a:pt x="683990" y="15335"/>
                  </a:lnTo>
                  <a:lnTo>
                    <a:pt x="680847" y="15716"/>
                  </a:lnTo>
                  <a:lnTo>
                    <a:pt x="679133" y="14288"/>
                  </a:lnTo>
                  <a:lnTo>
                    <a:pt x="675894" y="14764"/>
                  </a:lnTo>
                  <a:lnTo>
                    <a:pt x="676656" y="8192"/>
                  </a:lnTo>
                  <a:lnTo>
                    <a:pt x="671608" y="5620"/>
                  </a:lnTo>
                  <a:lnTo>
                    <a:pt x="672941" y="3905"/>
                  </a:lnTo>
                  <a:lnTo>
                    <a:pt x="676085" y="3524"/>
                  </a:lnTo>
                  <a:lnTo>
                    <a:pt x="674084" y="571"/>
                  </a:lnTo>
                  <a:lnTo>
                    <a:pt x="669798" y="4286"/>
                  </a:lnTo>
                  <a:lnTo>
                    <a:pt x="666655" y="4667"/>
                  </a:lnTo>
                  <a:lnTo>
                    <a:pt x="665417" y="8001"/>
                  </a:lnTo>
                  <a:lnTo>
                    <a:pt x="664464" y="12954"/>
                  </a:lnTo>
                  <a:lnTo>
                    <a:pt x="661321" y="13335"/>
                  </a:lnTo>
                  <a:lnTo>
                    <a:pt x="658749" y="18479"/>
                  </a:lnTo>
                  <a:lnTo>
                    <a:pt x="652272" y="17717"/>
                  </a:lnTo>
                  <a:lnTo>
                    <a:pt x="654368" y="9430"/>
                  </a:lnTo>
                  <a:lnTo>
                    <a:pt x="653225" y="0"/>
                  </a:lnTo>
                  <a:lnTo>
                    <a:pt x="651605" y="190"/>
                  </a:lnTo>
                  <a:lnTo>
                    <a:pt x="651986" y="3334"/>
                  </a:lnTo>
                  <a:lnTo>
                    <a:pt x="639032" y="1810"/>
                  </a:lnTo>
                  <a:lnTo>
                    <a:pt x="636080" y="3810"/>
                  </a:lnTo>
                  <a:lnTo>
                    <a:pt x="636270" y="5334"/>
                  </a:lnTo>
                  <a:lnTo>
                    <a:pt x="633317" y="7334"/>
                  </a:lnTo>
                  <a:lnTo>
                    <a:pt x="629888" y="6191"/>
                  </a:lnTo>
                  <a:lnTo>
                    <a:pt x="627983" y="3238"/>
                  </a:lnTo>
                  <a:lnTo>
                    <a:pt x="623221" y="3810"/>
                  </a:lnTo>
                  <a:lnTo>
                    <a:pt x="623411" y="5429"/>
                  </a:lnTo>
                  <a:lnTo>
                    <a:pt x="626745" y="6572"/>
                  </a:lnTo>
                  <a:lnTo>
                    <a:pt x="628745" y="9525"/>
                  </a:lnTo>
                  <a:lnTo>
                    <a:pt x="619887" y="28289"/>
                  </a:lnTo>
                  <a:lnTo>
                    <a:pt x="623507" y="31052"/>
                  </a:lnTo>
                  <a:lnTo>
                    <a:pt x="631127" y="28480"/>
                  </a:lnTo>
                  <a:lnTo>
                    <a:pt x="631603" y="31623"/>
                  </a:lnTo>
                  <a:lnTo>
                    <a:pt x="633317" y="32956"/>
                  </a:lnTo>
                  <a:lnTo>
                    <a:pt x="633984" y="37719"/>
                  </a:lnTo>
                  <a:lnTo>
                    <a:pt x="631222" y="41243"/>
                  </a:lnTo>
                  <a:lnTo>
                    <a:pt x="630460" y="47815"/>
                  </a:lnTo>
                  <a:lnTo>
                    <a:pt x="624269" y="50197"/>
                  </a:lnTo>
                  <a:lnTo>
                    <a:pt x="622935" y="51911"/>
                  </a:lnTo>
                  <a:lnTo>
                    <a:pt x="619220" y="47625"/>
                  </a:lnTo>
                  <a:lnTo>
                    <a:pt x="617411" y="46292"/>
                  </a:lnTo>
                  <a:lnTo>
                    <a:pt x="621792" y="55340"/>
                  </a:lnTo>
                  <a:lnTo>
                    <a:pt x="620363" y="57055"/>
                  </a:lnTo>
                  <a:lnTo>
                    <a:pt x="615410" y="56102"/>
                  </a:lnTo>
                  <a:lnTo>
                    <a:pt x="610934" y="58293"/>
                  </a:lnTo>
                  <a:lnTo>
                    <a:pt x="604361" y="57531"/>
                  </a:lnTo>
                  <a:lnTo>
                    <a:pt x="602837" y="57721"/>
                  </a:lnTo>
                  <a:lnTo>
                    <a:pt x="603599" y="64008"/>
                  </a:lnTo>
                  <a:lnTo>
                    <a:pt x="598932" y="64675"/>
                  </a:lnTo>
                  <a:lnTo>
                    <a:pt x="598075" y="58293"/>
                  </a:lnTo>
                  <a:lnTo>
                    <a:pt x="597122" y="63246"/>
                  </a:lnTo>
                  <a:lnTo>
                    <a:pt x="593789" y="62103"/>
                  </a:lnTo>
                  <a:lnTo>
                    <a:pt x="591788" y="59150"/>
                  </a:lnTo>
                  <a:lnTo>
                    <a:pt x="585502" y="59912"/>
                  </a:lnTo>
                  <a:lnTo>
                    <a:pt x="589026" y="62675"/>
                  </a:lnTo>
                  <a:lnTo>
                    <a:pt x="586073" y="64675"/>
                  </a:lnTo>
                  <a:lnTo>
                    <a:pt x="584930" y="68008"/>
                  </a:lnTo>
                  <a:lnTo>
                    <a:pt x="588264" y="69247"/>
                  </a:lnTo>
                  <a:lnTo>
                    <a:pt x="591788" y="71914"/>
                  </a:lnTo>
                  <a:lnTo>
                    <a:pt x="588645" y="72390"/>
                  </a:lnTo>
                  <a:lnTo>
                    <a:pt x="593598" y="86201"/>
                  </a:lnTo>
                  <a:lnTo>
                    <a:pt x="593979" y="89344"/>
                  </a:lnTo>
                  <a:lnTo>
                    <a:pt x="589312" y="89916"/>
                  </a:lnTo>
                  <a:lnTo>
                    <a:pt x="584168" y="100203"/>
                  </a:lnTo>
                  <a:lnTo>
                    <a:pt x="585407" y="109633"/>
                  </a:lnTo>
                  <a:lnTo>
                    <a:pt x="589598" y="117157"/>
                  </a:lnTo>
                  <a:lnTo>
                    <a:pt x="586550" y="119158"/>
                  </a:lnTo>
                  <a:lnTo>
                    <a:pt x="582073" y="121348"/>
                  </a:lnTo>
                  <a:lnTo>
                    <a:pt x="570167" y="116396"/>
                  </a:lnTo>
                  <a:lnTo>
                    <a:pt x="560927" y="106394"/>
                  </a:lnTo>
                  <a:lnTo>
                    <a:pt x="555593" y="102203"/>
                  </a:lnTo>
                  <a:lnTo>
                    <a:pt x="553593" y="99250"/>
                  </a:lnTo>
                  <a:lnTo>
                    <a:pt x="554546" y="94298"/>
                  </a:lnTo>
                  <a:lnTo>
                    <a:pt x="553022" y="94583"/>
                  </a:lnTo>
                  <a:lnTo>
                    <a:pt x="552641" y="104204"/>
                  </a:lnTo>
                  <a:lnTo>
                    <a:pt x="550831" y="102870"/>
                  </a:lnTo>
                  <a:lnTo>
                    <a:pt x="550069" y="96488"/>
                  </a:lnTo>
                  <a:lnTo>
                    <a:pt x="548259" y="95155"/>
                  </a:lnTo>
                  <a:lnTo>
                    <a:pt x="546640" y="95345"/>
                  </a:lnTo>
                  <a:lnTo>
                    <a:pt x="544735" y="92392"/>
                  </a:lnTo>
                  <a:lnTo>
                    <a:pt x="543116" y="92583"/>
                  </a:lnTo>
                  <a:lnTo>
                    <a:pt x="539591" y="89821"/>
                  </a:lnTo>
                  <a:lnTo>
                    <a:pt x="539782" y="91440"/>
                  </a:lnTo>
                  <a:lnTo>
                    <a:pt x="538163" y="91631"/>
                  </a:lnTo>
                  <a:lnTo>
                    <a:pt x="537401" y="85344"/>
                  </a:lnTo>
                  <a:lnTo>
                    <a:pt x="535781" y="85534"/>
                  </a:lnTo>
                  <a:lnTo>
                    <a:pt x="534448" y="87249"/>
                  </a:lnTo>
                  <a:lnTo>
                    <a:pt x="527685" y="84963"/>
                  </a:lnTo>
                  <a:lnTo>
                    <a:pt x="529304" y="84773"/>
                  </a:lnTo>
                  <a:lnTo>
                    <a:pt x="528923" y="81534"/>
                  </a:lnTo>
                  <a:lnTo>
                    <a:pt x="521399" y="85725"/>
                  </a:lnTo>
                  <a:lnTo>
                    <a:pt x="516446" y="84773"/>
                  </a:lnTo>
                  <a:lnTo>
                    <a:pt x="516636" y="86296"/>
                  </a:lnTo>
                  <a:lnTo>
                    <a:pt x="512921" y="82010"/>
                  </a:lnTo>
                  <a:lnTo>
                    <a:pt x="508730" y="87344"/>
                  </a:lnTo>
                  <a:lnTo>
                    <a:pt x="503206" y="81629"/>
                  </a:lnTo>
                  <a:lnTo>
                    <a:pt x="500444" y="85154"/>
                  </a:lnTo>
                  <a:lnTo>
                    <a:pt x="496919" y="82486"/>
                  </a:lnTo>
                  <a:lnTo>
                    <a:pt x="496157" y="76105"/>
                  </a:lnTo>
                  <a:lnTo>
                    <a:pt x="494729" y="77915"/>
                  </a:lnTo>
                  <a:lnTo>
                    <a:pt x="493967" y="71628"/>
                  </a:lnTo>
                  <a:lnTo>
                    <a:pt x="488252" y="77152"/>
                  </a:lnTo>
                  <a:lnTo>
                    <a:pt x="486823" y="78962"/>
                  </a:lnTo>
                  <a:lnTo>
                    <a:pt x="483870" y="80867"/>
                  </a:lnTo>
                  <a:lnTo>
                    <a:pt x="483679" y="79343"/>
                  </a:lnTo>
                  <a:lnTo>
                    <a:pt x="482346" y="81058"/>
                  </a:lnTo>
                  <a:lnTo>
                    <a:pt x="483489" y="90583"/>
                  </a:lnTo>
                  <a:lnTo>
                    <a:pt x="478822" y="91154"/>
                  </a:lnTo>
                  <a:lnTo>
                    <a:pt x="473678" y="88582"/>
                  </a:lnTo>
                  <a:lnTo>
                    <a:pt x="471106" y="93726"/>
                  </a:lnTo>
                  <a:lnTo>
                    <a:pt x="472916" y="95155"/>
                  </a:lnTo>
                  <a:lnTo>
                    <a:pt x="476060" y="94679"/>
                  </a:lnTo>
                  <a:lnTo>
                    <a:pt x="476250" y="96298"/>
                  </a:lnTo>
                  <a:lnTo>
                    <a:pt x="472059" y="101632"/>
                  </a:lnTo>
                  <a:lnTo>
                    <a:pt x="463772" y="99536"/>
                  </a:lnTo>
                  <a:lnTo>
                    <a:pt x="460820" y="101441"/>
                  </a:lnTo>
                  <a:lnTo>
                    <a:pt x="459867" y="106394"/>
                  </a:lnTo>
                  <a:lnTo>
                    <a:pt x="456914" y="108394"/>
                  </a:lnTo>
                  <a:lnTo>
                    <a:pt x="450437" y="107632"/>
                  </a:lnTo>
                  <a:lnTo>
                    <a:pt x="451009" y="112300"/>
                  </a:lnTo>
                  <a:lnTo>
                    <a:pt x="448247" y="115919"/>
                  </a:lnTo>
                  <a:lnTo>
                    <a:pt x="443294" y="114967"/>
                  </a:lnTo>
                  <a:lnTo>
                    <a:pt x="443484" y="116491"/>
                  </a:lnTo>
                  <a:lnTo>
                    <a:pt x="439007" y="118681"/>
                  </a:lnTo>
                  <a:lnTo>
                    <a:pt x="439388" y="121825"/>
                  </a:lnTo>
                  <a:lnTo>
                    <a:pt x="436626" y="125444"/>
                  </a:lnTo>
                  <a:lnTo>
                    <a:pt x="432911" y="121063"/>
                  </a:lnTo>
                  <a:lnTo>
                    <a:pt x="423386" y="122301"/>
                  </a:lnTo>
                  <a:lnTo>
                    <a:pt x="425006" y="134874"/>
                  </a:lnTo>
                  <a:lnTo>
                    <a:pt x="421862" y="135350"/>
                  </a:lnTo>
                  <a:lnTo>
                    <a:pt x="423291" y="133540"/>
                  </a:lnTo>
                  <a:lnTo>
                    <a:pt x="418148" y="130969"/>
                  </a:lnTo>
                  <a:lnTo>
                    <a:pt x="415766" y="137731"/>
                  </a:lnTo>
                  <a:lnTo>
                    <a:pt x="405670" y="134207"/>
                  </a:lnTo>
                  <a:lnTo>
                    <a:pt x="397764" y="135160"/>
                  </a:lnTo>
                  <a:lnTo>
                    <a:pt x="393478" y="138970"/>
                  </a:lnTo>
                  <a:lnTo>
                    <a:pt x="392906" y="146971"/>
                  </a:lnTo>
                  <a:lnTo>
                    <a:pt x="400812" y="158877"/>
                  </a:lnTo>
                  <a:lnTo>
                    <a:pt x="400812" y="158877"/>
                  </a:lnTo>
                  <a:lnTo>
                    <a:pt x="401193" y="162020"/>
                  </a:lnTo>
                  <a:lnTo>
                    <a:pt x="397859" y="160782"/>
                  </a:lnTo>
                  <a:lnTo>
                    <a:pt x="394907" y="162782"/>
                  </a:lnTo>
                  <a:lnTo>
                    <a:pt x="398240" y="163925"/>
                  </a:lnTo>
                  <a:lnTo>
                    <a:pt x="393764" y="166116"/>
                  </a:lnTo>
                  <a:lnTo>
                    <a:pt x="398907" y="168688"/>
                  </a:lnTo>
                  <a:lnTo>
                    <a:pt x="399479" y="173450"/>
                  </a:lnTo>
                  <a:lnTo>
                    <a:pt x="395288" y="178784"/>
                  </a:lnTo>
                  <a:lnTo>
                    <a:pt x="393954" y="180594"/>
                  </a:lnTo>
                  <a:lnTo>
                    <a:pt x="390620" y="179356"/>
                  </a:lnTo>
                  <a:lnTo>
                    <a:pt x="387858" y="182975"/>
                  </a:lnTo>
                  <a:lnTo>
                    <a:pt x="384905" y="184880"/>
                  </a:lnTo>
                  <a:lnTo>
                    <a:pt x="380714" y="190310"/>
                  </a:lnTo>
                  <a:lnTo>
                    <a:pt x="377571" y="190690"/>
                  </a:lnTo>
                  <a:lnTo>
                    <a:pt x="377762" y="192215"/>
                  </a:lnTo>
                  <a:lnTo>
                    <a:pt x="378047" y="193834"/>
                  </a:lnTo>
                  <a:lnTo>
                    <a:pt x="371285" y="191452"/>
                  </a:lnTo>
                  <a:lnTo>
                    <a:pt x="372142" y="197739"/>
                  </a:lnTo>
                  <a:lnTo>
                    <a:pt x="372332" y="199358"/>
                  </a:lnTo>
                  <a:lnTo>
                    <a:pt x="368903" y="198215"/>
                  </a:lnTo>
                  <a:lnTo>
                    <a:pt x="360236" y="192881"/>
                  </a:lnTo>
                  <a:lnTo>
                    <a:pt x="356521" y="188500"/>
                  </a:lnTo>
                  <a:lnTo>
                    <a:pt x="356045" y="185356"/>
                  </a:lnTo>
                  <a:lnTo>
                    <a:pt x="350901" y="182785"/>
                  </a:lnTo>
                  <a:lnTo>
                    <a:pt x="344424" y="182023"/>
                  </a:lnTo>
                  <a:lnTo>
                    <a:pt x="337757" y="192500"/>
                  </a:lnTo>
                  <a:lnTo>
                    <a:pt x="327851" y="190595"/>
                  </a:lnTo>
                  <a:lnTo>
                    <a:pt x="321564" y="191357"/>
                  </a:lnTo>
                  <a:lnTo>
                    <a:pt x="318611" y="193357"/>
                  </a:lnTo>
                  <a:lnTo>
                    <a:pt x="317564" y="185452"/>
                  </a:lnTo>
                  <a:lnTo>
                    <a:pt x="310515" y="179927"/>
                  </a:lnTo>
                  <a:lnTo>
                    <a:pt x="304610" y="183928"/>
                  </a:lnTo>
                  <a:lnTo>
                    <a:pt x="299466" y="181356"/>
                  </a:lnTo>
                  <a:lnTo>
                    <a:pt x="299847" y="184499"/>
                  </a:lnTo>
                  <a:lnTo>
                    <a:pt x="296704" y="184976"/>
                  </a:lnTo>
                  <a:lnTo>
                    <a:pt x="294704" y="182023"/>
                  </a:lnTo>
                  <a:lnTo>
                    <a:pt x="295847" y="178594"/>
                  </a:lnTo>
                  <a:lnTo>
                    <a:pt x="292894" y="180594"/>
                  </a:lnTo>
                  <a:lnTo>
                    <a:pt x="293942" y="175641"/>
                  </a:lnTo>
                  <a:lnTo>
                    <a:pt x="290513" y="174498"/>
                  </a:lnTo>
                  <a:lnTo>
                    <a:pt x="284226" y="175260"/>
                  </a:lnTo>
                  <a:lnTo>
                    <a:pt x="280702" y="172498"/>
                  </a:lnTo>
                  <a:lnTo>
                    <a:pt x="275749" y="171545"/>
                  </a:lnTo>
                  <a:lnTo>
                    <a:pt x="274796" y="176498"/>
                  </a:lnTo>
                  <a:lnTo>
                    <a:pt x="270224" y="178689"/>
                  </a:lnTo>
                  <a:lnTo>
                    <a:pt x="264509" y="184214"/>
                  </a:lnTo>
                  <a:lnTo>
                    <a:pt x="260794" y="179927"/>
                  </a:lnTo>
                  <a:lnTo>
                    <a:pt x="258794" y="176974"/>
                  </a:lnTo>
                  <a:lnTo>
                    <a:pt x="257365" y="178689"/>
                  </a:lnTo>
                  <a:lnTo>
                    <a:pt x="256032" y="180499"/>
                  </a:lnTo>
                  <a:lnTo>
                    <a:pt x="249936" y="182880"/>
                  </a:lnTo>
                  <a:lnTo>
                    <a:pt x="244602" y="178784"/>
                  </a:lnTo>
                  <a:lnTo>
                    <a:pt x="243364" y="182118"/>
                  </a:lnTo>
                  <a:lnTo>
                    <a:pt x="234982" y="191167"/>
                  </a:lnTo>
                  <a:lnTo>
                    <a:pt x="230219" y="191833"/>
                  </a:lnTo>
                  <a:lnTo>
                    <a:pt x="223266" y="187833"/>
                  </a:lnTo>
                  <a:lnTo>
                    <a:pt x="216599" y="185547"/>
                  </a:lnTo>
                  <a:lnTo>
                    <a:pt x="215170" y="187261"/>
                  </a:lnTo>
                  <a:lnTo>
                    <a:pt x="220694" y="192977"/>
                  </a:lnTo>
                  <a:lnTo>
                    <a:pt x="221933" y="202502"/>
                  </a:lnTo>
                  <a:lnTo>
                    <a:pt x="207550" y="202692"/>
                  </a:lnTo>
                  <a:lnTo>
                    <a:pt x="195072" y="205931"/>
                  </a:lnTo>
                  <a:lnTo>
                    <a:pt x="195358" y="207455"/>
                  </a:lnTo>
                  <a:lnTo>
                    <a:pt x="198882" y="210217"/>
                  </a:lnTo>
                  <a:lnTo>
                    <a:pt x="200311" y="221266"/>
                  </a:lnTo>
                  <a:lnTo>
                    <a:pt x="200882" y="226028"/>
                  </a:lnTo>
                  <a:lnTo>
                    <a:pt x="192596" y="223837"/>
                  </a:lnTo>
                  <a:lnTo>
                    <a:pt x="193929" y="222123"/>
                  </a:lnTo>
                  <a:lnTo>
                    <a:pt x="192024" y="219170"/>
                  </a:lnTo>
                  <a:lnTo>
                    <a:pt x="190214" y="204883"/>
                  </a:lnTo>
                  <a:lnTo>
                    <a:pt x="184594" y="199168"/>
                  </a:lnTo>
                  <a:lnTo>
                    <a:pt x="174593" y="195644"/>
                  </a:lnTo>
                  <a:lnTo>
                    <a:pt x="160401" y="197453"/>
                  </a:lnTo>
                  <a:lnTo>
                    <a:pt x="160782" y="200692"/>
                  </a:lnTo>
                  <a:lnTo>
                    <a:pt x="157448" y="199453"/>
                  </a:lnTo>
                  <a:lnTo>
                    <a:pt x="157829" y="202597"/>
                  </a:lnTo>
                  <a:lnTo>
                    <a:pt x="153067" y="203264"/>
                  </a:lnTo>
                  <a:lnTo>
                    <a:pt x="150114" y="205169"/>
                  </a:lnTo>
                  <a:lnTo>
                    <a:pt x="149924" y="216408"/>
                  </a:lnTo>
                  <a:lnTo>
                    <a:pt x="143256" y="214122"/>
                  </a:lnTo>
                  <a:lnTo>
                    <a:pt x="139351" y="220980"/>
                  </a:lnTo>
                  <a:lnTo>
                    <a:pt x="136684" y="213360"/>
                  </a:lnTo>
                  <a:lnTo>
                    <a:pt x="129635" y="207836"/>
                  </a:lnTo>
                  <a:lnTo>
                    <a:pt x="118586" y="209264"/>
                  </a:lnTo>
                  <a:lnTo>
                    <a:pt x="108490" y="205740"/>
                  </a:lnTo>
                  <a:lnTo>
                    <a:pt x="106299" y="214027"/>
                  </a:lnTo>
                  <a:lnTo>
                    <a:pt x="100870" y="221075"/>
                  </a:lnTo>
                  <a:lnTo>
                    <a:pt x="97631" y="221552"/>
                  </a:lnTo>
                  <a:lnTo>
                    <a:pt x="87630" y="230791"/>
                  </a:lnTo>
                  <a:lnTo>
                    <a:pt x="85058" y="235934"/>
                  </a:lnTo>
                  <a:lnTo>
                    <a:pt x="86106" y="243840"/>
                  </a:lnTo>
                  <a:lnTo>
                    <a:pt x="82201" y="250793"/>
                  </a:lnTo>
                  <a:lnTo>
                    <a:pt x="79820" y="257461"/>
                  </a:lnTo>
                  <a:lnTo>
                    <a:pt x="70295" y="258699"/>
                  </a:lnTo>
                  <a:lnTo>
                    <a:pt x="70009" y="281178"/>
                  </a:lnTo>
                  <a:lnTo>
                    <a:pt x="68199" y="279749"/>
                  </a:lnTo>
                  <a:lnTo>
                    <a:pt x="64865" y="278606"/>
                  </a:lnTo>
                  <a:lnTo>
                    <a:pt x="62865" y="275653"/>
                  </a:lnTo>
                  <a:lnTo>
                    <a:pt x="59722" y="276035"/>
                  </a:lnTo>
                  <a:lnTo>
                    <a:pt x="55626" y="281369"/>
                  </a:lnTo>
                  <a:lnTo>
                    <a:pt x="51435" y="286703"/>
                  </a:lnTo>
                  <a:lnTo>
                    <a:pt x="54007" y="294418"/>
                  </a:lnTo>
                  <a:lnTo>
                    <a:pt x="53245" y="300990"/>
                  </a:lnTo>
                  <a:lnTo>
                    <a:pt x="50959" y="307657"/>
                  </a:lnTo>
                  <a:lnTo>
                    <a:pt x="46387" y="309848"/>
                  </a:lnTo>
                  <a:lnTo>
                    <a:pt x="45053" y="311658"/>
                  </a:lnTo>
                  <a:lnTo>
                    <a:pt x="49816" y="323850"/>
                  </a:lnTo>
                  <a:lnTo>
                    <a:pt x="45625" y="329184"/>
                  </a:lnTo>
                  <a:lnTo>
                    <a:pt x="52578" y="333089"/>
                  </a:lnTo>
                  <a:lnTo>
                    <a:pt x="51340" y="336423"/>
                  </a:lnTo>
                  <a:lnTo>
                    <a:pt x="50197" y="339852"/>
                  </a:lnTo>
                  <a:lnTo>
                    <a:pt x="48196" y="336899"/>
                  </a:lnTo>
                  <a:lnTo>
                    <a:pt x="3524" y="363379"/>
                  </a:lnTo>
                  <a:lnTo>
                    <a:pt x="0" y="373475"/>
                  </a:lnTo>
                  <a:lnTo>
                    <a:pt x="2381" y="379571"/>
                  </a:lnTo>
                  <a:lnTo>
                    <a:pt x="1333" y="384524"/>
                  </a:lnTo>
                  <a:lnTo>
                    <a:pt x="3715" y="390620"/>
                  </a:lnTo>
                  <a:lnTo>
                    <a:pt x="7525" y="395002"/>
                  </a:lnTo>
                  <a:lnTo>
                    <a:pt x="6382" y="398336"/>
                  </a:lnTo>
                  <a:lnTo>
                    <a:pt x="14669" y="400526"/>
                  </a:lnTo>
                  <a:lnTo>
                    <a:pt x="16573" y="403479"/>
                  </a:lnTo>
                  <a:lnTo>
                    <a:pt x="17621" y="411290"/>
                  </a:lnTo>
                  <a:lnTo>
                    <a:pt x="24765" y="429673"/>
                  </a:lnTo>
                  <a:lnTo>
                    <a:pt x="30099" y="433769"/>
                  </a:lnTo>
                  <a:lnTo>
                    <a:pt x="38195" y="434340"/>
                  </a:lnTo>
                  <a:lnTo>
                    <a:pt x="55626" y="445008"/>
                  </a:lnTo>
                  <a:lnTo>
                    <a:pt x="56388" y="451294"/>
                  </a:lnTo>
                  <a:lnTo>
                    <a:pt x="63341" y="455200"/>
                  </a:lnTo>
                  <a:lnTo>
                    <a:pt x="68008" y="454628"/>
                  </a:lnTo>
                  <a:lnTo>
                    <a:pt x="69818" y="455962"/>
                  </a:lnTo>
                  <a:lnTo>
                    <a:pt x="77533" y="453390"/>
                  </a:lnTo>
                  <a:lnTo>
                    <a:pt x="82487" y="454343"/>
                  </a:lnTo>
                  <a:lnTo>
                    <a:pt x="82106" y="464058"/>
                  </a:lnTo>
                  <a:lnTo>
                    <a:pt x="87058" y="477869"/>
                  </a:lnTo>
                  <a:lnTo>
                    <a:pt x="81534" y="485013"/>
                  </a:lnTo>
                  <a:lnTo>
                    <a:pt x="84106" y="492633"/>
                  </a:lnTo>
                  <a:lnTo>
                    <a:pt x="78391" y="498253"/>
                  </a:lnTo>
                  <a:lnTo>
                    <a:pt x="77248" y="501586"/>
                  </a:lnTo>
                  <a:lnTo>
                    <a:pt x="79248" y="504539"/>
                  </a:lnTo>
                  <a:lnTo>
                    <a:pt x="84106" y="505492"/>
                  </a:lnTo>
                  <a:lnTo>
                    <a:pt x="85916" y="506825"/>
                  </a:lnTo>
                  <a:lnTo>
                    <a:pt x="84773" y="510254"/>
                  </a:lnTo>
                  <a:lnTo>
                    <a:pt x="80582" y="515588"/>
                  </a:lnTo>
                  <a:lnTo>
                    <a:pt x="81439" y="521875"/>
                  </a:lnTo>
                  <a:lnTo>
                    <a:pt x="89726" y="524065"/>
                  </a:lnTo>
                  <a:lnTo>
                    <a:pt x="88297" y="525780"/>
                  </a:lnTo>
                  <a:lnTo>
                    <a:pt x="83820" y="527971"/>
                  </a:lnTo>
                  <a:lnTo>
                    <a:pt x="84392" y="532733"/>
                  </a:lnTo>
                  <a:lnTo>
                    <a:pt x="90964" y="533495"/>
                  </a:lnTo>
                  <a:lnTo>
                    <a:pt x="96869" y="529495"/>
                  </a:lnTo>
                  <a:lnTo>
                    <a:pt x="104965" y="530066"/>
                  </a:lnTo>
                  <a:lnTo>
                    <a:pt x="106870" y="533114"/>
                  </a:lnTo>
                  <a:lnTo>
                    <a:pt x="105537" y="534829"/>
                  </a:lnTo>
                  <a:lnTo>
                    <a:pt x="104108" y="536639"/>
                  </a:lnTo>
                  <a:lnTo>
                    <a:pt x="108299" y="544068"/>
                  </a:lnTo>
                  <a:lnTo>
                    <a:pt x="108585" y="558546"/>
                  </a:lnTo>
                  <a:lnTo>
                    <a:pt x="118205" y="571690"/>
                  </a:lnTo>
                  <a:lnTo>
                    <a:pt x="114110" y="589883"/>
                  </a:lnTo>
                  <a:lnTo>
                    <a:pt x="115729" y="602456"/>
                  </a:lnTo>
                  <a:lnTo>
                    <a:pt x="119348" y="605219"/>
                  </a:lnTo>
                  <a:lnTo>
                    <a:pt x="121920" y="612934"/>
                  </a:lnTo>
                  <a:lnTo>
                    <a:pt x="126016" y="620458"/>
                  </a:lnTo>
                  <a:lnTo>
                    <a:pt x="129445" y="621602"/>
                  </a:lnTo>
                  <a:lnTo>
                    <a:pt x="125254" y="626936"/>
                  </a:lnTo>
                  <a:lnTo>
                    <a:pt x="135922" y="635222"/>
                  </a:lnTo>
                  <a:lnTo>
                    <a:pt x="140875" y="636175"/>
                  </a:lnTo>
                  <a:lnTo>
                    <a:pt x="142875" y="639128"/>
                  </a:lnTo>
                  <a:lnTo>
                    <a:pt x="145828" y="637127"/>
                  </a:lnTo>
                  <a:lnTo>
                    <a:pt x="147828" y="640080"/>
                  </a:lnTo>
                  <a:lnTo>
                    <a:pt x="152495" y="639508"/>
                  </a:lnTo>
                  <a:lnTo>
                    <a:pt x="153734" y="636175"/>
                  </a:lnTo>
                  <a:lnTo>
                    <a:pt x="158210" y="633984"/>
                  </a:lnTo>
                  <a:lnTo>
                    <a:pt x="162973" y="646176"/>
                  </a:lnTo>
                  <a:lnTo>
                    <a:pt x="162020" y="651129"/>
                  </a:lnTo>
                  <a:lnTo>
                    <a:pt x="161639" y="660845"/>
                  </a:lnTo>
                  <a:lnTo>
                    <a:pt x="159544" y="669131"/>
                  </a:lnTo>
                  <a:lnTo>
                    <a:pt x="162306" y="678370"/>
                  </a:lnTo>
                  <a:lnTo>
                    <a:pt x="161735" y="686467"/>
                  </a:lnTo>
                  <a:lnTo>
                    <a:pt x="153638" y="698754"/>
                  </a:lnTo>
                  <a:lnTo>
                    <a:pt x="156782" y="698278"/>
                  </a:lnTo>
                  <a:lnTo>
                    <a:pt x="161163" y="707327"/>
                  </a:lnTo>
                  <a:lnTo>
                    <a:pt x="164497" y="708565"/>
                  </a:lnTo>
                  <a:lnTo>
                    <a:pt x="170116" y="727043"/>
                  </a:lnTo>
                  <a:lnTo>
                    <a:pt x="168974" y="730472"/>
                  </a:lnTo>
                  <a:lnTo>
                    <a:pt x="170307" y="741521"/>
                  </a:lnTo>
                  <a:lnTo>
                    <a:pt x="167831" y="746665"/>
                  </a:lnTo>
                  <a:lnTo>
                    <a:pt x="185166" y="757237"/>
                  </a:lnTo>
                  <a:lnTo>
                    <a:pt x="206312" y="759333"/>
                  </a:lnTo>
                  <a:lnTo>
                    <a:pt x="209455" y="771811"/>
                  </a:lnTo>
                  <a:lnTo>
                    <a:pt x="222885" y="776478"/>
                  </a:lnTo>
                  <a:lnTo>
                    <a:pt x="239744" y="795147"/>
                  </a:lnTo>
                  <a:lnTo>
                    <a:pt x="241554" y="809435"/>
                  </a:lnTo>
                  <a:lnTo>
                    <a:pt x="239363" y="817721"/>
                  </a:lnTo>
                  <a:lnTo>
                    <a:pt x="245745" y="829723"/>
                  </a:lnTo>
                  <a:lnTo>
                    <a:pt x="252413" y="832009"/>
                  </a:lnTo>
                  <a:lnTo>
                    <a:pt x="254603" y="836581"/>
                  </a:lnTo>
                  <a:lnTo>
                    <a:pt x="252698" y="846487"/>
                  </a:lnTo>
                  <a:lnTo>
                    <a:pt x="253079" y="849630"/>
                  </a:lnTo>
                  <a:lnTo>
                    <a:pt x="256413" y="850773"/>
                  </a:lnTo>
                  <a:lnTo>
                    <a:pt x="266700" y="855916"/>
                  </a:lnTo>
                  <a:lnTo>
                    <a:pt x="276797" y="859441"/>
                  </a:lnTo>
                  <a:lnTo>
                    <a:pt x="294323" y="858774"/>
                  </a:lnTo>
                  <a:lnTo>
                    <a:pt x="299085" y="858203"/>
                  </a:lnTo>
                  <a:lnTo>
                    <a:pt x="300419" y="856393"/>
                  </a:lnTo>
                  <a:lnTo>
                    <a:pt x="302038" y="856202"/>
                  </a:lnTo>
                  <a:lnTo>
                    <a:pt x="306229" y="863727"/>
                  </a:lnTo>
                  <a:lnTo>
                    <a:pt x="310706" y="861536"/>
                  </a:lnTo>
                  <a:lnTo>
                    <a:pt x="321374" y="869823"/>
                  </a:lnTo>
                  <a:lnTo>
                    <a:pt x="329660" y="871919"/>
                  </a:lnTo>
                  <a:lnTo>
                    <a:pt x="328517" y="862489"/>
                  </a:lnTo>
                  <a:lnTo>
                    <a:pt x="326136" y="856393"/>
                  </a:lnTo>
                  <a:lnTo>
                    <a:pt x="325279" y="850011"/>
                  </a:lnTo>
                  <a:lnTo>
                    <a:pt x="341662" y="852773"/>
                  </a:lnTo>
                  <a:lnTo>
                    <a:pt x="348615" y="856678"/>
                  </a:lnTo>
                  <a:lnTo>
                    <a:pt x="352139" y="859441"/>
                  </a:lnTo>
                  <a:lnTo>
                    <a:pt x="359855" y="856869"/>
                  </a:lnTo>
                  <a:lnTo>
                    <a:pt x="366808" y="860774"/>
                  </a:lnTo>
                  <a:lnTo>
                    <a:pt x="371475" y="860203"/>
                  </a:lnTo>
                  <a:lnTo>
                    <a:pt x="374809" y="861346"/>
                  </a:lnTo>
                  <a:lnTo>
                    <a:pt x="380429" y="867061"/>
                  </a:lnTo>
                  <a:lnTo>
                    <a:pt x="383572" y="866680"/>
                  </a:lnTo>
                  <a:lnTo>
                    <a:pt x="390430" y="870585"/>
                  </a:lnTo>
                  <a:lnTo>
                    <a:pt x="400145" y="883825"/>
                  </a:lnTo>
                  <a:lnTo>
                    <a:pt x="404336" y="891254"/>
                  </a:lnTo>
                  <a:lnTo>
                    <a:pt x="411671" y="898398"/>
                  </a:lnTo>
                  <a:lnTo>
                    <a:pt x="414052" y="904494"/>
                  </a:lnTo>
                  <a:lnTo>
                    <a:pt x="428816" y="907447"/>
                  </a:lnTo>
                  <a:lnTo>
                    <a:pt x="429673" y="926592"/>
                  </a:lnTo>
                  <a:lnTo>
                    <a:pt x="428339" y="928307"/>
                  </a:lnTo>
                  <a:lnTo>
                    <a:pt x="425958" y="935069"/>
                  </a:lnTo>
                  <a:lnTo>
                    <a:pt x="431292" y="952024"/>
                  </a:lnTo>
                  <a:lnTo>
                    <a:pt x="445960" y="953357"/>
                  </a:lnTo>
                  <a:lnTo>
                    <a:pt x="447866" y="956310"/>
                  </a:lnTo>
                  <a:lnTo>
                    <a:pt x="446913" y="961263"/>
                  </a:lnTo>
                  <a:lnTo>
                    <a:pt x="449294" y="967359"/>
                  </a:lnTo>
                  <a:lnTo>
                    <a:pt x="454438" y="969931"/>
                  </a:lnTo>
                  <a:lnTo>
                    <a:pt x="458152" y="974217"/>
                  </a:lnTo>
                  <a:lnTo>
                    <a:pt x="464534" y="973455"/>
                  </a:lnTo>
                  <a:lnTo>
                    <a:pt x="466725" y="977932"/>
                  </a:lnTo>
                  <a:lnTo>
                    <a:pt x="469106" y="984028"/>
                  </a:lnTo>
                  <a:lnTo>
                    <a:pt x="467106" y="993934"/>
                  </a:lnTo>
                  <a:lnTo>
                    <a:pt x="486537" y="1007555"/>
                  </a:lnTo>
                  <a:lnTo>
                    <a:pt x="485966" y="1015651"/>
                  </a:lnTo>
                  <a:lnTo>
                    <a:pt x="483394" y="1020699"/>
                  </a:lnTo>
                  <a:lnTo>
                    <a:pt x="483775" y="1023937"/>
                  </a:lnTo>
                  <a:lnTo>
                    <a:pt x="492824" y="1032320"/>
                  </a:lnTo>
                  <a:lnTo>
                    <a:pt x="497586" y="1031748"/>
                  </a:lnTo>
                  <a:lnTo>
                    <a:pt x="503301" y="1039082"/>
                  </a:lnTo>
                  <a:lnTo>
                    <a:pt x="505111" y="1040416"/>
                  </a:lnTo>
                  <a:lnTo>
                    <a:pt x="509302" y="1047940"/>
                  </a:lnTo>
                  <a:lnTo>
                    <a:pt x="520351" y="1059371"/>
                  </a:lnTo>
                  <a:lnTo>
                    <a:pt x="526828" y="1060133"/>
                  </a:lnTo>
                  <a:lnTo>
                    <a:pt x="528828" y="1063085"/>
                  </a:lnTo>
                  <a:lnTo>
                    <a:pt x="530066" y="1072515"/>
                  </a:lnTo>
                  <a:lnTo>
                    <a:pt x="524732" y="1094041"/>
                  </a:lnTo>
                  <a:lnTo>
                    <a:pt x="534257" y="1105662"/>
                  </a:lnTo>
                  <a:lnTo>
                    <a:pt x="550450" y="1119664"/>
                  </a:lnTo>
                  <a:lnTo>
                    <a:pt x="571024" y="1129856"/>
                  </a:lnTo>
                  <a:lnTo>
                    <a:pt x="587978" y="1124522"/>
                  </a:lnTo>
                  <a:lnTo>
                    <a:pt x="603790" y="1122426"/>
                  </a:lnTo>
                  <a:lnTo>
                    <a:pt x="608933" y="1124998"/>
                  </a:lnTo>
                  <a:lnTo>
                    <a:pt x="623792" y="1140809"/>
                  </a:lnTo>
                  <a:lnTo>
                    <a:pt x="628841" y="1143286"/>
                  </a:lnTo>
                  <a:lnTo>
                    <a:pt x="634270" y="1147477"/>
                  </a:lnTo>
                  <a:lnTo>
                    <a:pt x="634841" y="1152239"/>
                  </a:lnTo>
                  <a:lnTo>
                    <a:pt x="641509" y="1154525"/>
                  </a:lnTo>
                  <a:lnTo>
                    <a:pt x="647319" y="1161860"/>
                  </a:lnTo>
                  <a:lnTo>
                    <a:pt x="649891" y="1169480"/>
                  </a:lnTo>
                  <a:lnTo>
                    <a:pt x="655225" y="1173671"/>
                  </a:lnTo>
                  <a:lnTo>
                    <a:pt x="661130" y="1182529"/>
                  </a:lnTo>
                  <a:lnTo>
                    <a:pt x="662940" y="1183862"/>
                  </a:lnTo>
                  <a:lnTo>
                    <a:pt x="666464" y="1186625"/>
                  </a:lnTo>
                  <a:lnTo>
                    <a:pt x="671227" y="1198912"/>
                  </a:lnTo>
                  <a:lnTo>
                    <a:pt x="675989" y="1198245"/>
                  </a:lnTo>
                  <a:lnTo>
                    <a:pt x="676561" y="1203008"/>
                  </a:lnTo>
                  <a:lnTo>
                    <a:pt x="681323" y="1202436"/>
                  </a:lnTo>
                  <a:lnTo>
                    <a:pt x="684848" y="1205198"/>
                  </a:lnTo>
                  <a:lnTo>
                    <a:pt x="684086" y="1211675"/>
                  </a:lnTo>
                  <a:lnTo>
                    <a:pt x="681323" y="1215200"/>
                  </a:lnTo>
                  <a:lnTo>
                    <a:pt x="681323" y="1215200"/>
                  </a:lnTo>
                  <a:lnTo>
                    <a:pt x="685324" y="1221105"/>
                  </a:lnTo>
                  <a:lnTo>
                    <a:pt x="690467" y="1236536"/>
                  </a:lnTo>
                  <a:lnTo>
                    <a:pt x="687705" y="1240060"/>
                  </a:lnTo>
                  <a:lnTo>
                    <a:pt x="685610" y="1248347"/>
                  </a:lnTo>
                  <a:lnTo>
                    <a:pt x="691706" y="1258824"/>
                  </a:lnTo>
                  <a:lnTo>
                    <a:pt x="691896" y="1260348"/>
                  </a:lnTo>
                  <a:lnTo>
                    <a:pt x="688181" y="1268921"/>
                  </a:lnTo>
                  <a:lnTo>
                    <a:pt x="686276" y="1278731"/>
                  </a:lnTo>
                  <a:lnTo>
                    <a:pt x="703802" y="1290923"/>
                  </a:lnTo>
                  <a:lnTo>
                    <a:pt x="704469" y="1295686"/>
                  </a:lnTo>
                  <a:lnTo>
                    <a:pt x="709327" y="1296638"/>
                  </a:lnTo>
                  <a:lnTo>
                    <a:pt x="716661" y="1303687"/>
                  </a:lnTo>
                  <a:lnTo>
                    <a:pt x="728567" y="1308640"/>
                  </a:lnTo>
                  <a:lnTo>
                    <a:pt x="734282" y="1315974"/>
                  </a:lnTo>
                  <a:lnTo>
                    <a:pt x="744569" y="1321022"/>
                  </a:lnTo>
                  <a:lnTo>
                    <a:pt x="745141" y="1325785"/>
                  </a:lnTo>
                  <a:lnTo>
                    <a:pt x="753999" y="1332643"/>
                  </a:lnTo>
                  <a:lnTo>
                    <a:pt x="761905" y="1331690"/>
                  </a:lnTo>
                  <a:lnTo>
                    <a:pt x="760857" y="1310926"/>
                  </a:lnTo>
                  <a:lnTo>
                    <a:pt x="762857" y="1301020"/>
                  </a:lnTo>
                  <a:lnTo>
                    <a:pt x="767810" y="1302068"/>
                  </a:lnTo>
                  <a:lnTo>
                    <a:pt x="775049" y="1296257"/>
                  </a:lnTo>
                  <a:lnTo>
                    <a:pt x="779812" y="1295686"/>
                  </a:lnTo>
                  <a:lnTo>
                    <a:pt x="788861" y="1304163"/>
                  </a:lnTo>
                  <a:lnTo>
                    <a:pt x="793623" y="1303591"/>
                  </a:lnTo>
                  <a:lnTo>
                    <a:pt x="792671" y="1295686"/>
                  </a:lnTo>
                  <a:lnTo>
                    <a:pt x="793623" y="1290733"/>
                  </a:lnTo>
                  <a:lnTo>
                    <a:pt x="786860" y="1288352"/>
                  </a:lnTo>
                  <a:lnTo>
                    <a:pt x="782955" y="1282446"/>
                  </a:lnTo>
                  <a:lnTo>
                    <a:pt x="785051" y="1274159"/>
                  </a:lnTo>
                  <a:lnTo>
                    <a:pt x="784479" y="1269397"/>
                  </a:lnTo>
                  <a:lnTo>
                    <a:pt x="789813" y="1260729"/>
                  </a:lnTo>
                  <a:lnTo>
                    <a:pt x="789146" y="1255966"/>
                  </a:lnTo>
                  <a:lnTo>
                    <a:pt x="790004" y="1249490"/>
                  </a:lnTo>
                  <a:lnTo>
                    <a:pt x="788003" y="1246537"/>
                  </a:lnTo>
                  <a:lnTo>
                    <a:pt x="796195" y="1235869"/>
                  </a:lnTo>
                  <a:lnTo>
                    <a:pt x="798005" y="1224439"/>
                  </a:lnTo>
                  <a:lnTo>
                    <a:pt x="807625" y="1211961"/>
                  </a:lnTo>
                  <a:lnTo>
                    <a:pt x="807244" y="1208818"/>
                  </a:lnTo>
                  <a:lnTo>
                    <a:pt x="808768" y="1208627"/>
                  </a:lnTo>
                  <a:lnTo>
                    <a:pt x="810768" y="1211580"/>
                  </a:lnTo>
                  <a:lnTo>
                    <a:pt x="814102" y="1212723"/>
                  </a:lnTo>
                  <a:lnTo>
                    <a:pt x="817912" y="1217105"/>
                  </a:lnTo>
                  <a:lnTo>
                    <a:pt x="830675" y="1204246"/>
                  </a:lnTo>
                  <a:lnTo>
                    <a:pt x="832866" y="1195959"/>
                  </a:lnTo>
                  <a:lnTo>
                    <a:pt x="834009" y="1192530"/>
                  </a:lnTo>
                  <a:lnTo>
                    <a:pt x="833247" y="1186244"/>
                  </a:lnTo>
                  <a:lnTo>
                    <a:pt x="825341" y="1174433"/>
                  </a:lnTo>
                  <a:lnTo>
                    <a:pt x="827437" y="1166146"/>
                  </a:lnTo>
                  <a:lnTo>
                    <a:pt x="825437" y="1163193"/>
                  </a:lnTo>
                  <a:lnTo>
                    <a:pt x="818388" y="1157669"/>
                  </a:lnTo>
                  <a:lnTo>
                    <a:pt x="815531" y="1148429"/>
                  </a:lnTo>
                  <a:lnTo>
                    <a:pt x="815340" y="1146810"/>
                  </a:lnTo>
                  <a:lnTo>
                    <a:pt x="826199" y="1143857"/>
                  </a:lnTo>
                  <a:lnTo>
                    <a:pt x="827342" y="1140524"/>
                  </a:lnTo>
                  <a:lnTo>
                    <a:pt x="825818" y="1127855"/>
                  </a:lnTo>
                  <a:lnTo>
                    <a:pt x="822389" y="1126712"/>
                  </a:lnTo>
                  <a:lnTo>
                    <a:pt x="823436" y="1121759"/>
                  </a:lnTo>
                  <a:lnTo>
                    <a:pt x="824579" y="1118426"/>
                  </a:lnTo>
                  <a:lnTo>
                    <a:pt x="824389" y="1116806"/>
                  </a:lnTo>
                  <a:lnTo>
                    <a:pt x="826675" y="1110139"/>
                  </a:lnTo>
                  <a:lnTo>
                    <a:pt x="829723" y="1108139"/>
                  </a:lnTo>
                  <a:lnTo>
                    <a:pt x="831056" y="1106329"/>
                  </a:lnTo>
                  <a:lnTo>
                    <a:pt x="829056" y="1103376"/>
                  </a:lnTo>
                  <a:lnTo>
                    <a:pt x="822389" y="1100995"/>
                  </a:lnTo>
                  <a:lnTo>
                    <a:pt x="822198" y="1099471"/>
                  </a:lnTo>
                  <a:lnTo>
                    <a:pt x="823532" y="1097661"/>
                  </a:lnTo>
                  <a:lnTo>
                    <a:pt x="836581" y="1099185"/>
                  </a:lnTo>
                  <a:lnTo>
                    <a:pt x="836771" y="1100804"/>
                  </a:lnTo>
                  <a:lnTo>
                    <a:pt x="833819" y="1102805"/>
                  </a:lnTo>
                  <a:lnTo>
                    <a:pt x="842296" y="1106519"/>
                  </a:lnTo>
                  <a:lnTo>
                    <a:pt x="847058" y="1105948"/>
                  </a:lnTo>
                  <a:lnTo>
                    <a:pt x="849059" y="1108901"/>
                  </a:lnTo>
                  <a:lnTo>
                    <a:pt x="850964" y="1111853"/>
                  </a:lnTo>
                  <a:lnTo>
                    <a:pt x="861060" y="1102519"/>
                  </a:lnTo>
                  <a:lnTo>
                    <a:pt x="862013" y="1097566"/>
                  </a:lnTo>
                  <a:lnTo>
                    <a:pt x="866966" y="1098518"/>
                  </a:lnTo>
                  <a:lnTo>
                    <a:pt x="869918" y="1096613"/>
                  </a:lnTo>
                  <a:lnTo>
                    <a:pt x="869537" y="1093470"/>
                  </a:lnTo>
                  <a:lnTo>
                    <a:pt x="872490" y="1091470"/>
                  </a:lnTo>
                  <a:lnTo>
                    <a:pt x="871823" y="1086707"/>
                  </a:lnTo>
                  <a:lnTo>
                    <a:pt x="879920" y="1087279"/>
                  </a:lnTo>
                  <a:lnTo>
                    <a:pt x="884301" y="1083564"/>
                  </a:lnTo>
                  <a:lnTo>
                    <a:pt x="886016" y="1084898"/>
                  </a:lnTo>
                  <a:lnTo>
                    <a:pt x="888778" y="1081373"/>
                  </a:lnTo>
                  <a:lnTo>
                    <a:pt x="892397" y="1084136"/>
                  </a:lnTo>
                  <a:lnTo>
                    <a:pt x="893921" y="1083850"/>
                  </a:lnTo>
                  <a:lnTo>
                    <a:pt x="894588" y="1088612"/>
                  </a:lnTo>
                  <a:lnTo>
                    <a:pt x="895731" y="1085279"/>
                  </a:lnTo>
                  <a:lnTo>
                    <a:pt x="898493" y="1081754"/>
                  </a:lnTo>
                  <a:lnTo>
                    <a:pt x="898303" y="1080135"/>
                  </a:lnTo>
                  <a:lnTo>
                    <a:pt x="895350" y="1082135"/>
                  </a:lnTo>
                  <a:lnTo>
                    <a:pt x="895160" y="1080516"/>
                  </a:lnTo>
                  <a:lnTo>
                    <a:pt x="893731" y="1082326"/>
                  </a:lnTo>
                  <a:lnTo>
                    <a:pt x="891731" y="1079373"/>
                  </a:lnTo>
                  <a:lnTo>
                    <a:pt x="896302" y="1077182"/>
                  </a:lnTo>
                  <a:lnTo>
                    <a:pt x="896112" y="1075563"/>
                  </a:lnTo>
                  <a:lnTo>
                    <a:pt x="895445" y="1058037"/>
                  </a:lnTo>
                  <a:lnTo>
                    <a:pt x="902303" y="1049179"/>
                  </a:lnTo>
                  <a:lnTo>
                    <a:pt x="905542" y="1048703"/>
                  </a:lnTo>
                  <a:lnTo>
                    <a:pt x="910685" y="1051274"/>
                  </a:lnTo>
                  <a:lnTo>
                    <a:pt x="914972" y="1047560"/>
                  </a:lnTo>
                  <a:lnTo>
                    <a:pt x="912400" y="1039844"/>
                  </a:lnTo>
                  <a:lnTo>
                    <a:pt x="911352" y="1031939"/>
                  </a:lnTo>
                  <a:lnTo>
                    <a:pt x="908018" y="1030795"/>
                  </a:lnTo>
                  <a:lnTo>
                    <a:pt x="909161" y="1027462"/>
                  </a:lnTo>
                  <a:lnTo>
                    <a:pt x="907637" y="1027652"/>
                  </a:lnTo>
                  <a:lnTo>
                    <a:pt x="899351" y="1025461"/>
                  </a:lnTo>
                  <a:lnTo>
                    <a:pt x="899732" y="1015841"/>
                  </a:lnTo>
                  <a:lnTo>
                    <a:pt x="896969" y="1019365"/>
                  </a:lnTo>
                  <a:lnTo>
                    <a:pt x="896112" y="1013079"/>
                  </a:lnTo>
                  <a:lnTo>
                    <a:pt x="897731" y="1012889"/>
                  </a:lnTo>
                  <a:lnTo>
                    <a:pt x="894588" y="1013270"/>
                  </a:lnTo>
                  <a:lnTo>
                    <a:pt x="893921" y="1008507"/>
                  </a:lnTo>
                  <a:lnTo>
                    <a:pt x="895350" y="1006697"/>
                  </a:lnTo>
                  <a:lnTo>
                    <a:pt x="898684" y="1007936"/>
                  </a:lnTo>
                  <a:lnTo>
                    <a:pt x="898303" y="1004792"/>
                  </a:lnTo>
                  <a:lnTo>
                    <a:pt x="896493" y="1003364"/>
                  </a:lnTo>
                  <a:lnTo>
                    <a:pt x="902208" y="997839"/>
                  </a:lnTo>
                  <a:lnTo>
                    <a:pt x="908971" y="1000220"/>
                  </a:lnTo>
                  <a:lnTo>
                    <a:pt x="908114" y="993839"/>
                  </a:lnTo>
                  <a:lnTo>
                    <a:pt x="906399" y="992505"/>
                  </a:lnTo>
                  <a:lnTo>
                    <a:pt x="907352" y="987552"/>
                  </a:lnTo>
                  <a:lnTo>
                    <a:pt x="912495" y="990124"/>
                  </a:lnTo>
                  <a:lnTo>
                    <a:pt x="912686" y="991743"/>
                  </a:lnTo>
                  <a:lnTo>
                    <a:pt x="919163" y="992505"/>
                  </a:lnTo>
                  <a:lnTo>
                    <a:pt x="920782" y="992315"/>
                  </a:lnTo>
                  <a:lnTo>
                    <a:pt x="916781" y="986314"/>
                  </a:lnTo>
                  <a:lnTo>
                    <a:pt x="916591" y="984790"/>
                  </a:lnTo>
                  <a:lnTo>
                    <a:pt x="923639" y="977456"/>
                  </a:lnTo>
                  <a:lnTo>
                    <a:pt x="926878" y="977074"/>
                  </a:lnTo>
                  <a:lnTo>
                    <a:pt x="924877" y="974122"/>
                  </a:lnTo>
                  <a:lnTo>
                    <a:pt x="921925" y="976122"/>
                  </a:lnTo>
                  <a:lnTo>
                    <a:pt x="912209" y="975741"/>
                  </a:lnTo>
                  <a:lnTo>
                    <a:pt x="910495" y="974312"/>
                  </a:lnTo>
                  <a:lnTo>
                    <a:pt x="907256" y="974789"/>
                  </a:lnTo>
                  <a:lnTo>
                    <a:pt x="904304" y="963930"/>
                  </a:lnTo>
                  <a:lnTo>
                    <a:pt x="904685" y="954215"/>
                  </a:lnTo>
                  <a:lnTo>
                    <a:pt x="901160" y="951452"/>
                  </a:lnTo>
                  <a:lnTo>
                    <a:pt x="902494" y="949738"/>
                  </a:lnTo>
                  <a:lnTo>
                    <a:pt x="909066" y="950500"/>
                  </a:lnTo>
                  <a:lnTo>
                    <a:pt x="913543" y="948309"/>
                  </a:lnTo>
                  <a:lnTo>
                    <a:pt x="917353" y="952595"/>
                  </a:lnTo>
                  <a:lnTo>
                    <a:pt x="920496" y="952214"/>
                  </a:lnTo>
                  <a:lnTo>
                    <a:pt x="923639" y="951833"/>
                  </a:lnTo>
                  <a:lnTo>
                    <a:pt x="924401" y="945261"/>
                  </a:lnTo>
                  <a:lnTo>
                    <a:pt x="927354" y="943356"/>
                  </a:lnTo>
                  <a:lnTo>
                    <a:pt x="928116" y="936784"/>
                  </a:lnTo>
                  <a:lnTo>
                    <a:pt x="924782" y="935641"/>
                  </a:lnTo>
                  <a:lnTo>
                    <a:pt x="921639" y="936022"/>
                  </a:lnTo>
                  <a:lnTo>
                    <a:pt x="917448" y="928497"/>
                  </a:lnTo>
                  <a:lnTo>
                    <a:pt x="919067" y="928307"/>
                  </a:lnTo>
                  <a:lnTo>
                    <a:pt x="922020" y="926402"/>
                  </a:lnTo>
                  <a:lnTo>
                    <a:pt x="918972" y="915543"/>
                  </a:lnTo>
                  <a:lnTo>
                    <a:pt x="927449" y="919258"/>
                  </a:lnTo>
                  <a:lnTo>
                    <a:pt x="929450" y="909352"/>
                  </a:lnTo>
                  <a:lnTo>
                    <a:pt x="934022" y="907161"/>
                  </a:lnTo>
                  <a:lnTo>
                    <a:pt x="937165" y="906780"/>
                  </a:lnTo>
                  <a:lnTo>
                    <a:pt x="938117" y="901827"/>
                  </a:lnTo>
                  <a:lnTo>
                    <a:pt x="942594" y="899636"/>
                  </a:lnTo>
                  <a:lnTo>
                    <a:pt x="950976" y="901827"/>
                  </a:lnTo>
                  <a:lnTo>
                    <a:pt x="952310" y="900017"/>
                  </a:lnTo>
                  <a:lnTo>
                    <a:pt x="953452" y="896683"/>
                  </a:lnTo>
                  <a:lnTo>
                    <a:pt x="950881" y="888968"/>
                  </a:lnTo>
                  <a:lnTo>
                    <a:pt x="954024" y="888587"/>
                  </a:lnTo>
                  <a:lnTo>
                    <a:pt x="952119" y="885635"/>
                  </a:lnTo>
                  <a:lnTo>
                    <a:pt x="954405" y="878967"/>
                  </a:lnTo>
                  <a:lnTo>
                    <a:pt x="958120" y="870395"/>
                  </a:lnTo>
                  <a:lnTo>
                    <a:pt x="966026" y="869442"/>
                  </a:lnTo>
                  <a:lnTo>
                    <a:pt x="964311" y="868013"/>
                  </a:lnTo>
                  <a:lnTo>
                    <a:pt x="963263" y="860203"/>
                  </a:lnTo>
                  <a:lnTo>
                    <a:pt x="960692" y="865251"/>
                  </a:lnTo>
                  <a:lnTo>
                    <a:pt x="958977" y="863918"/>
                  </a:lnTo>
                  <a:lnTo>
                    <a:pt x="963073" y="858583"/>
                  </a:lnTo>
                  <a:lnTo>
                    <a:pt x="964597" y="858393"/>
                  </a:lnTo>
                  <a:lnTo>
                    <a:pt x="964216" y="855250"/>
                  </a:lnTo>
                  <a:lnTo>
                    <a:pt x="967550" y="856393"/>
                  </a:lnTo>
                  <a:lnTo>
                    <a:pt x="965645" y="853440"/>
                  </a:lnTo>
                  <a:lnTo>
                    <a:pt x="966407" y="846963"/>
                  </a:lnTo>
                  <a:lnTo>
                    <a:pt x="963073" y="845725"/>
                  </a:lnTo>
                  <a:lnTo>
                    <a:pt x="964216" y="842391"/>
                  </a:lnTo>
                  <a:lnTo>
                    <a:pt x="961263" y="844391"/>
                  </a:lnTo>
                  <a:lnTo>
                    <a:pt x="957453" y="840010"/>
                  </a:lnTo>
                  <a:lnTo>
                    <a:pt x="954310" y="840486"/>
                  </a:lnTo>
                  <a:lnTo>
                    <a:pt x="954119" y="838867"/>
                  </a:lnTo>
                  <a:lnTo>
                    <a:pt x="957263" y="838486"/>
                  </a:lnTo>
                  <a:lnTo>
                    <a:pt x="953929" y="837343"/>
                  </a:lnTo>
                  <a:lnTo>
                    <a:pt x="956882" y="835343"/>
                  </a:lnTo>
                  <a:lnTo>
                    <a:pt x="954881" y="832390"/>
                  </a:lnTo>
                  <a:lnTo>
                    <a:pt x="949357" y="826675"/>
                  </a:lnTo>
                  <a:lnTo>
                    <a:pt x="950309" y="821722"/>
                  </a:lnTo>
                  <a:lnTo>
                    <a:pt x="946404" y="815816"/>
                  </a:lnTo>
                  <a:lnTo>
                    <a:pt x="947738" y="814007"/>
                  </a:lnTo>
                  <a:lnTo>
                    <a:pt x="946214" y="814197"/>
                  </a:lnTo>
                  <a:lnTo>
                    <a:pt x="947547" y="812482"/>
                  </a:lnTo>
                  <a:lnTo>
                    <a:pt x="946023" y="812673"/>
                  </a:lnTo>
                  <a:lnTo>
                    <a:pt x="945547" y="809530"/>
                  </a:lnTo>
                  <a:lnTo>
                    <a:pt x="947166" y="809244"/>
                  </a:lnTo>
                  <a:lnTo>
                    <a:pt x="951071" y="802386"/>
                  </a:lnTo>
                  <a:lnTo>
                    <a:pt x="949357" y="800957"/>
                  </a:lnTo>
                  <a:lnTo>
                    <a:pt x="948500" y="794671"/>
                  </a:lnTo>
                  <a:lnTo>
                    <a:pt x="951071" y="789527"/>
                  </a:lnTo>
                  <a:lnTo>
                    <a:pt x="949262" y="788194"/>
                  </a:lnTo>
                  <a:lnTo>
                    <a:pt x="952405" y="787813"/>
                  </a:lnTo>
                  <a:lnTo>
                    <a:pt x="956405" y="780860"/>
                  </a:lnTo>
                  <a:lnTo>
                    <a:pt x="957929" y="780669"/>
                  </a:lnTo>
                  <a:lnTo>
                    <a:pt x="956120" y="779240"/>
                  </a:lnTo>
                  <a:lnTo>
                    <a:pt x="958691" y="774097"/>
                  </a:lnTo>
                  <a:lnTo>
                    <a:pt x="965264" y="774954"/>
                  </a:lnTo>
                  <a:lnTo>
                    <a:pt x="968407" y="774478"/>
                  </a:lnTo>
                  <a:lnTo>
                    <a:pt x="968216" y="772954"/>
                  </a:lnTo>
                  <a:lnTo>
                    <a:pt x="960120" y="772382"/>
                  </a:lnTo>
                  <a:lnTo>
                    <a:pt x="958120" y="769430"/>
                  </a:lnTo>
                  <a:lnTo>
                    <a:pt x="961263" y="769049"/>
                  </a:lnTo>
                  <a:lnTo>
                    <a:pt x="961073" y="767429"/>
                  </a:lnTo>
                  <a:lnTo>
                    <a:pt x="957929" y="767810"/>
                  </a:lnTo>
                  <a:lnTo>
                    <a:pt x="957548" y="764667"/>
                  </a:lnTo>
                  <a:lnTo>
                    <a:pt x="955739" y="763333"/>
                  </a:lnTo>
                  <a:lnTo>
                    <a:pt x="955358" y="760190"/>
                  </a:lnTo>
                  <a:lnTo>
                    <a:pt x="953738" y="760381"/>
                  </a:lnTo>
                  <a:lnTo>
                    <a:pt x="951548" y="755809"/>
                  </a:lnTo>
                  <a:lnTo>
                    <a:pt x="949833" y="754380"/>
                  </a:lnTo>
                  <a:lnTo>
                    <a:pt x="950976" y="751046"/>
                  </a:lnTo>
                  <a:lnTo>
                    <a:pt x="950595" y="747903"/>
                  </a:lnTo>
                  <a:lnTo>
                    <a:pt x="951929" y="746093"/>
                  </a:lnTo>
                  <a:lnTo>
                    <a:pt x="948595" y="744950"/>
                  </a:lnTo>
                  <a:lnTo>
                    <a:pt x="949547" y="739997"/>
                  </a:lnTo>
                  <a:lnTo>
                    <a:pt x="952500" y="738092"/>
                  </a:lnTo>
                  <a:lnTo>
                    <a:pt x="950119" y="731901"/>
                  </a:lnTo>
                  <a:lnTo>
                    <a:pt x="951357" y="728567"/>
                  </a:lnTo>
                  <a:lnTo>
                    <a:pt x="948119" y="728948"/>
                  </a:lnTo>
                  <a:lnTo>
                    <a:pt x="950881" y="725424"/>
                  </a:lnTo>
                  <a:lnTo>
                    <a:pt x="950500" y="722281"/>
                  </a:lnTo>
                  <a:lnTo>
                    <a:pt x="948881" y="722471"/>
                  </a:lnTo>
                  <a:lnTo>
                    <a:pt x="947738" y="725805"/>
                  </a:lnTo>
                  <a:lnTo>
                    <a:pt x="948881" y="722471"/>
                  </a:lnTo>
                  <a:lnTo>
                    <a:pt x="946976" y="719519"/>
                  </a:lnTo>
                  <a:lnTo>
                    <a:pt x="953452" y="720281"/>
                  </a:lnTo>
                  <a:lnTo>
                    <a:pt x="953262" y="718757"/>
                  </a:lnTo>
                  <a:lnTo>
                    <a:pt x="946785" y="717899"/>
                  </a:lnTo>
                  <a:lnTo>
                    <a:pt x="946976" y="719519"/>
                  </a:lnTo>
                  <a:lnTo>
                    <a:pt x="946785" y="717899"/>
                  </a:lnTo>
                  <a:lnTo>
                    <a:pt x="943547" y="718376"/>
                  </a:lnTo>
                  <a:lnTo>
                    <a:pt x="940213" y="717137"/>
                  </a:lnTo>
                  <a:lnTo>
                    <a:pt x="939451" y="710851"/>
                  </a:lnTo>
                  <a:lnTo>
                    <a:pt x="940784" y="709041"/>
                  </a:lnTo>
                  <a:lnTo>
                    <a:pt x="938784" y="706088"/>
                  </a:lnTo>
                  <a:lnTo>
                    <a:pt x="942023" y="705707"/>
                  </a:lnTo>
                  <a:lnTo>
                    <a:pt x="943166" y="702374"/>
                  </a:lnTo>
                  <a:lnTo>
                    <a:pt x="946499" y="703516"/>
                  </a:lnTo>
                  <a:lnTo>
                    <a:pt x="947738" y="700183"/>
                  </a:lnTo>
                  <a:lnTo>
                    <a:pt x="947261" y="697040"/>
                  </a:lnTo>
                  <a:lnTo>
                    <a:pt x="942118" y="694468"/>
                  </a:lnTo>
                  <a:lnTo>
                    <a:pt x="943356" y="691134"/>
                  </a:lnTo>
                  <a:lnTo>
                    <a:pt x="947642" y="687324"/>
                  </a:lnTo>
                  <a:lnTo>
                    <a:pt x="948881" y="683990"/>
                  </a:lnTo>
                  <a:lnTo>
                    <a:pt x="952214" y="685133"/>
                  </a:lnTo>
                  <a:lnTo>
                    <a:pt x="952976" y="678656"/>
                  </a:lnTo>
                  <a:lnTo>
                    <a:pt x="954310" y="676847"/>
                  </a:lnTo>
                  <a:lnTo>
                    <a:pt x="956120" y="665416"/>
                  </a:lnTo>
                  <a:lnTo>
                    <a:pt x="956691" y="657320"/>
                  </a:lnTo>
                  <a:lnTo>
                    <a:pt x="951548" y="654749"/>
                  </a:lnTo>
                  <a:lnTo>
                    <a:pt x="952119" y="646652"/>
                  </a:lnTo>
                  <a:lnTo>
                    <a:pt x="941642" y="639985"/>
                  </a:lnTo>
                  <a:lnTo>
                    <a:pt x="938498" y="640366"/>
                  </a:lnTo>
                  <a:lnTo>
                    <a:pt x="933164" y="649129"/>
                  </a:lnTo>
                  <a:lnTo>
                    <a:pt x="931355" y="647700"/>
                  </a:lnTo>
                  <a:lnTo>
                    <a:pt x="935736" y="643985"/>
                  </a:lnTo>
                  <a:lnTo>
                    <a:pt x="937451" y="632555"/>
                  </a:lnTo>
                  <a:lnTo>
                    <a:pt x="935450" y="629603"/>
                  </a:lnTo>
                  <a:lnTo>
                    <a:pt x="933736" y="628174"/>
                  </a:lnTo>
                  <a:lnTo>
                    <a:pt x="936403" y="611791"/>
                  </a:lnTo>
                  <a:lnTo>
                    <a:pt x="933641" y="602552"/>
                  </a:lnTo>
                  <a:lnTo>
                    <a:pt x="937736" y="597218"/>
                  </a:lnTo>
                  <a:lnTo>
                    <a:pt x="941737" y="590264"/>
                  </a:lnTo>
                  <a:lnTo>
                    <a:pt x="941261" y="574262"/>
                  </a:lnTo>
                  <a:lnTo>
                    <a:pt x="943832" y="569119"/>
                  </a:lnTo>
                  <a:lnTo>
                    <a:pt x="944594" y="562642"/>
                  </a:lnTo>
                  <a:lnTo>
                    <a:pt x="940880" y="558356"/>
                  </a:lnTo>
                  <a:lnTo>
                    <a:pt x="936308" y="560451"/>
                  </a:lnTo>
                  <a:lnTo>
                    <a:pt x="929640" y="558165"/>
                  </a:lnTo>
                  <a:lnTo>
                    <a:pt x="928973" y="553403"/>
                  </a:lnTo>
                  <a:lnTo>
                    <a:pt x="925449" y="550640"/>
                  </a:lnTo>
                  <a:lnTo>
                    <a:pt x="921068" y="554450"/>
                  </a:lnTo>
                  <a:lnTo>
                    <a:pt x="919544" y="554641"/>
                  </a:lnTo>
                  <a:lnTo>
                    <a:pt x="912590" y="550640"/>
                  </a:lnTo>
                  <a:lnTo>
                    <a:pt x="912209" y="547497"/>
                  </a:lnTo>
                  <a:lnTo>
                    <a:pt x="915352" y="547116"/>
                  </a:lnTo>
                  <a:lnTo>
                    <a:pt x="916496" y="543782"/>
                  </a:lnTo>
                  <a:lnTo>
                    <a:pt x="906875" y="543401"/>
                  </a:lnTo>
                  <a:lnTo>
                    <a:pt x="906494" y="540258"/>
                  </a:lnTo>
                  <a:lnTo>
                    <a:pt x="901732" y="540830"/>
                  </a:lnTo>
                  <a:lnTo>
                    <a:pt x="898208" y="538067"/>
                  </a:lnTo>
                  <a:lnTo>
                    <a:pt x="895064" y="538544"/>
                  </a:lnTo>
                  <a:lnTo>
                    <a:pt x="892588" y="532352"/>
                  </a:lnTo>
                  <a:lnTo>
                    <a:pt x="889254" y="531209"/>
                  </a:lnTo>
                  <a:lnTo>
                    <a:pt x="897350" y="531781"/>
                  </a:lnTo>
                  <a:lnTo>
                    <a:pt x="904494" y="537305"/>
                  </a:lnTo>
                  <a:lnTo>
                    <a:pt x="912400" y="536257"/>
                  </a:lnTo>
                  <a:lnTo>
                    <a:pt x="913733" y="534543"/>
                  </a:lnTo>
                  <a:lnTo>
                    <a:pt x="918496" y="533876"/>
                  </a:lnTo>
                  <a:lnTo>
                    <a:pt x="921449" y="531876"/>
                  </a:lnTo>
                  <a:lnTo>
                    <a:pt x="918115" y="530733"/>
                  </a:lnTo>
                  <a:lnTo>
                    <a:pt x="911543" y="517112"/>
                  </a:lnTo>
                  <a:lnTo>
                    <a:pt x="901827" y="516731"/>
                  </a:lnTo>
                  <a:lnTo>
                    <a:pt x="898112" y="512445"/>
                  </a:lnTo>
                  <a:lnTo>
                    <a:pt x="900684" y="507302"/>
                  </a:lnTo>
                  <a:lnTo>
                    <a:pt x="898684" y="504349"/>
                  </a:lnTo>
                  <a:lnTo>
                    <a:pt x="899827" y="501015"/>
                  </a:lnTo>
                  <a:lnTo>
                    <a:pt x="901827" y="503968"/>
                  </a:lnTo>
                  <a:lnTo>
                    <a:pt x="902018" y="505492"/>
                  </a:lnTo>
                  <a:lnTo>
                    <a:pt x="903827" y="506920"/>
                  </a:lnTo>
                  <a:lnTo>
                    <a:pt x="906590" y="503301"/>
                  </a:lnTo>
                  <a:lnTo>
                    <a:pt x="906780" y="504920"/>
                  </a:lnTo>
                  <a:lnTo>
                    <a:pt x="908399" y="504730"/>
                  </a:lnTo>
                  <a:lnTo>
                    <a:pt x="908399" y="504730"/>
                  </a:lnTo>
                  <a:lnTo>
                    <a:pt x="909733" y="502920"/>
                  </a:lnTo>
                  <a:lnTo>
                    <a:pt x="917448" y="500348"/>
                  </a:lnTo>
                  <a:lnTo>
                    <a:pt x="920782" y="501491"/>
                  </a:lnTo>
                  <a:lnTo>
                    <a:pt x="927830" y="494252"/>
                  </a:lnTo>
                  <a:lnTo>
                    <a:pt x="923163" y="494824"/>
                  </a:lnTo>
                  <a:lnTo>
                    <a:pt x="922496" y="490061"/>
                  </a:lnTo>
                  <a:lnTo>
                    <a:pt x="917829" y="490728"/>
                  </a:lnTo>
                  <a:lnTo>
                    <a:pt x="917639" y="489109"/>
                  </a:lnTo>
                  <a:lnTo>
                    <a:pt x="914210" y="487966"/>
                  </a:lnTo>
                  <a:lnTo>
                    <a:pt x="909733" y="490157"/>
                  </a:lnTo>
                  <a:lnTo>
                    <a:pt x="912495" y="486537"/>
                  </a:lnTo>
                  <a:lnTo>
                    <a:pt x="909066" y="485394"/>
                  </a:lnTo>
                  <a:lnTo>
                    <a:pt x="904780" y="489109"/>
                  </a:lnTo>
                  <a:lnTo>
                    <a:pt x="902780" y="486156"/>
                  </a:lnTo>
                  <a:lnTo>
                    <a:pt x="899827" y="488156"/>
                  </a:lnTo>
                  <a:lnTo>
                    <a:pt x="898684" y="491490"/>
                  </a:lnTo>
                  <a:lnTo>
                    <a:pt x="895731" y="493490"/>
                  </a:lnTo>
                  <a:lnTo>
                    <a:pt x="896112" y="496633"/>
                  </a:lnTo>
                  <a:lnTo>
                    <a:pt x="891159" y="495681"/>
                  </a:lnTo>
                  <a:lnTo>
                    <a:pt x="888397" y="486442"/>
                  </a:lnTo>
                  <a:lnTo>
                    <a:pt x="891731" y="487585"/>
                  </a:lnTo>
                  <a:lnTo>
                    <a:pt x="891540" y="486061"/>
                  </a:lnTo>
                  <a:lnTo>
                    <a:pt x="888206" y="484823"/>
                  </a:lnTo>
                  <a:lnTo>
                    <a:pt x="892302" y="479489"/>
                  </a:lnTo>
                  <a:lnTo>
                    <a:pt x="888397" y="473583"/>
                  </a:lnTo>
                  <a:lnTo>
                    <a:pt x="890873" y="468440"/>
                  </a:lnTo>
                  <a:lnTo>
                    <a:pt x="900017" y="464058"/>
                  </a:lnTo>
                  <a:lnTo>
                    <a:pt x="907447" y="447103"/>
                  </a:lnTo>
                  <a:lnTo>
                    <a:pt x="930116" y="436245"/>
                  </a:lnTo>
                  <a:lnTo>
                    <a:pt x="934593" y="434054"/>
                  </a:lnTo>
                  <a:lnTo>
                    <a:pt x="940975" y="433197"/>
                  </a:lnTo>
                  <a:lnTo>
                    <a:pt x="937832" y="433578"/>
                  </a:lnTo>
                  <a:lnTo>
                    <a:pt x="938594" y="439960"/>
                  </a:lnTo>
                  <a:lnTo>
                    <a:pt x="940403" y="441293"/>
                  </a:lnTo>
                  <a:lnTo>
                    <a:pt x="945261" y="442246"/>
                  </a:lnTo>
                  <a:lnTo>
                    <a:pt x="947452" y="446818"/>
                  </a:lnTo>
                  <a:lnTo>
                    <a:pt x="949071" y="446627"/>
                  </a:lnTo>
                  <a:lnTo>
                    <a:pt x="949262" y="448151"/>
                  </a:lnTo>
                  <a:lnTo>
                    <a:pt x="954024" y="447580"/>
                  </a:lnTo>
                  <a:lnTo>
                    <a:pt x="955739" y="448913"/>
                  </a:lnTo>
                  <a:lnTo>
                    <a:pt x="956786" y="444056"/>
                  </a:lnTo>
                  <a:lnTo>
                    <a:pt x="958310" y="443865"/>
                  </a:lnTo>
                  <a:lnTo>
                    <a:pt x="957929" y="440627"/>
                  </a:lnTo>
                  <a:lnTo>
                    <a:pt x="959263" y="438912"/>
                  </a:lnTo>
                  <a:lnTo>
                    <a:pt x="960120" y="432340"/>
                  </a:lnTo>
                  <a:lnTo>
                    <a:pt x="963073" y="430435"/>
                  </a:lnTo>
                  <a:lnTo>
                    <a:pt x="965359" y="423672"/>
                  </a:lnTo>
                  <a:lnTo>
                    <a:pt x="968502" y="423291"/>
                  </a:lnTo>
                  <a:lnTo>
                    <a:pt x="974693" y="420910"/>
                  </a:lnTo>
                  <a:lnTo>
                    <a:pt x="974217" y="417766"/>
                  </a:lnTo>
                  <a:lnTo>
                    <a:pt x="976027" y="419100"/>
                  </a:lnTo>
                  <a:lnTo>
                    <a:pt x="977456" y="417386"/>
                  </a:lnTo>
                  <a:lnTo>
                    <a:pt x="980599" y="416909"/>
                  </a:lnTo>
                  <a:lnTo>
                    <a:pt x="984885" y="413194"/>
                  </a:lnTo>
                  <a:lnTo>
                    <a:pt x="986695" y="414528"/>
                  </a:lnTo>
                  <a:lnTo>
                    <a:pt x="990600" y="407670"/>
                  </a:lnTo>
                  <a:lnTo>
                    <a:pt x="988409" y="403098"/>
                  </a:lnTo>
                  <a:lnTo>
                    <a:pt x="983266" y="400526"/>
                  </a:lnTo>
                  <a:lnTo>
                    <a:pt x="981266" y="397573"/>
                  </a:lnTo>
                  <a:lnTo>
                    <a:pt x="977932" y="396431"/>
                  </a:lnTo>
                  <a:lnTo>
                    <a:pt x="974979" y="398431"/>
                  </a:lnTo>
                  <a:lnTo>
                    <a:pt x="973646" y="400145"/>
                  </a:lnTo>
                  <a:lnTo>
                    <a:pt x="967740" y="404146"/>
                  </a:lnTo>
                  <a:lnTo>
                    <a:pt x="965930" y="402717"/>
                  </a:lnTo>
                  <a:lnTo>
                    <a:pt x="966502" y="394716"/>
                  </a:lnTo>
                  <a:lnTo>
                    <a:pt x="975741" y="391858"/>
                  </a:lnTo>
                  <a:lnTo>
                    <a:pt x="978884" y="378619"/>
                  </a:lnTo>
                  <a:lnTo>
                    <a:pt x="978122" y="372332"/>
                  </a:lnTo>
                  <a:lnTo>
                    <a:pt x="974312" y="368046"/>
                  </a:lnTo>
                  <a:lnTo>
                    <a:pt x="973931" y="364903"/>
                  </a:lnTo>
                  <a:lnTo>
                    <a:pt x="971550" y="358711"/>
                  </a:lnTo>
                  <a:lnTo>
                    <a:pt x="972502" y="353854"/>
                  </a:lnTo>
                  <a:lnTo>
                    <a:pt x="982027" y="352615"/>
                  </a:lnTo>
                  <a:lnTo>
                    <a:pt x="981170" y="346329"/>
                  </a:lnTo>
                  <a:lnTo>
                    <a:pt x="987076" y="342328"/>
                  </a:lnTo>
                  <a:lnTo>
                    <a:pt x="983933" y="342710"/>
                  </a:lnTo>
                  <a:lnTo>
                    <a:pt x="986123" y="334423"/>
                  </a:lnTo>
                  <a:lnTo>
                    <a:pt x="979170" y="330518"/>
                  </a:lnTo>
                  <a:lnTo>
                    <a:pt x="978122" y="322612"/>
                  </a:lnTo>
                  <a:lnTo>
                    <a:pt x="985076" y="313753"/>
                  </a:lnTo>
                  <a:lnTo>
                    <a:pt x="983075" y="310801"/>
                  </a:lnTo>
                  <a:lnTo>
                    <a:pt x="979361" y="306419"/>
                  </a:lnTo>
                  <a:lnTo>
                    <a:pt x="982027" y="302895"/>
                  </a:lnTo>
                  <a:lnTo>
                    <a:pt x="985457" y="304038"/>
                  </a:lnTo>
                  <a:lnTo>
                    <a:pt x="989171" y="295561"/>
                  </a:lnTo>
                  <a:lnTo>
                    <a:pt x="985171" y="289655"/>
                  </a:lnTo>
                  <a:lnTo>
                    <a:pt x="988314" y="289274"/>
                  </a:lnTo>
                  <a:lnTo>
                    <a:pt x="987171" y="279749"/>
                  </a:lnTo>
                  <a:lnTo>
                    <a:pt x="988886" y="281178"/>
                  </a:lnTo>
                  <a:lnTo>
                    <a:pt x="992124" y="280797"/>
                  </a:lnTo>
                  <a:lnTo>
                    <a:pt x="991838" y="279178"/>
                  </a:lnTo>
                  <a:lnTo>
                    <a:pt x="992124" y="280797"/>
                  </a:lnTo>
                  <a:lnTo>
                    <a:pt x="993648" y="280511"/>
                  </a:lnTo>
                  <a:lnTo>
                    <a:pt x="995077" y="278797"/>
                  </a:lnTo>
                  <a:lnTo>
                    <a:pt x="998411" y="279940"/>
                  </a:lnTo>
                  <a:lnTo>
                    <a:pt x="1001363" y="277940"/>
                  </a:lnTo>
                  <a:lnTo>
                    <a:pt x="1001935" y="282702"/>
                  </a:lnTo>
                  <a:lnTo>
                    <a:pt x="1004888" y="280702"/>
                  </a:lnTo>
                  <a:lnTo>
                    <a:pt x="1001363" y="265176"/>
                  </a:lnTo>
                  <a:lnTo>
                    <a:pt x="999744" y="252508"/>
                  </a:lnTo>
                  <a:lnTo>
                    <a:pt x="999744" y="252508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7" name="Volný tvar: obrazec 26">
              <a:extLst>
                <a:ext uri="{FF2B5EF4-FFF2-40B4-BE49-F238E27FC236}">
                  <a16:creationId xmlns:a16="http://schemas.microsoft.com/office/drawing/2014/main" id="{B535F71C-1701-6A94-B8BF-016E74F3926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25" y="2971418"/>
              <a:ext cx="1044701" cy="731424"/>
            </a:xfrm>
            <a:custGeom>
              <a:avLst/>
              <a:gdLst>
                <a:gd name="connsiteX0" fmla="*/ 1038797 w 1044701"/>
                <a:gd name="connsiteY0" fmla="*/ 17907 h 731424"/>
                <a:gd name="connsiteX1" fmla="*/ 1039558 w 1044701"/>
                <a:gd name="connsiteY1" fmla="*/ 11430 h 731424"/>
                <a:gd name="connsiteX2" fmla="*/ 1037463 w 1044701"/>
                <a:gd name="connsiteY2" fmla="*/ 6953 h 731424"/>
                <a:gd name="connsiteX3" fmla="*/ 1028509 w 1044701"/>
                <a:gd name="connsiteY3" fmla="*/ 0 h 731424"/>
                <a:gd name="connsiteX4" fmla="*/ 1019651 w 1044701"/>
                <a:gd name="connsiteY4" fmla="*/ 6001 h 731424"/>
                <a:gd name="connsiteX5" fmla="*/ 1018889 w 1044701"/>
                <a:gd name="connsiteY5" fmla="*/ 12478 h 731424"/>
                <a:gd name="connsiteX6" fmla="*/ 1017270 w 1044701"/>
                <a:gd name="connsiteY6" fmla="*/ 12668 h 731424"/>
                <a:gd name="connsiteX7" fmla="*/ 1012984 w 1044701"/>
                <a:gd name="connsiteY7" fmla="*/ 16478 h 731424"/>
                <a:gd name="connsiteX8" fmla="*/ 1010412 w 1044701"/>
                <a:gd name="connsiteY8" fmla="*/ 21527 h 731424"/>
                <a:gd name="connsiteX9" fmla="*/ 1006888 w 1044701"/>
                <a:gd name="connsiteY9" fmla="*/ 18860 h 731424"/>
                <a:gd name="connsiteX10" fmla="*/ 1002316 w 1044701"/>
                <a:gd name="connsiteY10" fmla="*/ 20955 h 731424"/>
                <a:gd name="connsiteX11" fmla="*/ 995839 w 1044701"/>
                <a:gd name="connsiteY11" fmla="*/ 33052 h 731424"/>
                <a:gd name="connsiteX12" fmla="*/ 994696 w 1044701"/>
                <a:gd name="connsiteY12" fmla="*/ 49244 h 731424"/>
                <a:gd name="connsiteX13" fmla="*/ 989362 w 1044701"/>
                <a:gd name="connsiteY13" fmla="*/ 57912 h 731424"/>
                <a:gd name="connsiteX14" fmla="*/ 982313 w 1044701"/>
                <a:gd name="connsiteY14" fmla="*/ 65246 h 731424"/>
                <a:gd name="connsiteX15" fmla="*/ 984504 w 1044701"/>
                <a:gd name="connsiteY15" fmla="*/ 69818 h 731424"/>
                <a:gd name="connsiteX16" fmla="*/ 983361 w 1044701"/>
                <a:gd name="connsiteY16" fmla="*/ 73152 h 731424"/>
                <a:gd name="connsiteX17" fmla="*/ 972883 w 1044701"/>
                <a:gd name="connsiteY17" fmla="*/ 79248 h 731424"/>
                <a:gd name="connsiteX18" fmla="*/ 965549 w 1044701"/>
                <a:gd name="connsiteY18" fmla="*/ 85058 h 731424"/>
                <a:gd name="connsiteX19" fmla="*/ 962215 w 1044701"/>
                <a:gd name="connsiteY19" fmla="*/ 83820 h 731424"/>
                <a:gd name="connsiteX20" fmla="*/ 959263 w 1044701"/>
                <a:gd name="connsiteY20" fmla="*/ 85820 h 731424"/>
                <a:gd name="connsiteX21" fmla="*/ 947452 w 1044701"/>
                <a:gd name="connsiteY21" fmla="*/ 106585 h 731424"/>
                <a:gd name="connsiteX22" fmla="*/ 944308 w 1044701"/>
                <a:gd name="connsiteY22" fmla="*/ 119825 h 731424"/>
                <a:gd name="connsiteX23" fmla="*/ 941641 w 1044701"/>
                <a:gd name="connsiteY23" fmla="*/ 123349 h 731424"/>
                <a:gd name="connsiteX24" fmla="*/ 932783 w 1044701"/>
                <a:gd name="connsiteY24" fmla="*/ 129254 h 731424"/>
                <a:gd name="connsiteX25" fmla="*/ 924401 w 1044701"/>
                <a:gd name="connsiteY25" fmla="*/ 127159 h 731424"/>
                <a:gd name="connsiteX26" fmla="*/ 917734 w 1044701"/>
                <a:gd name="connsiteY26" fmla="*/ 124777 h 731424"/>
                <a:gd name="connsiteX27" fmla="*/ 914209 w 1044701"/>
                <a:gd name="connsiteY27" fmla="*/ 122015 h 731424"/>
                <a:gd name="connsiteX28" fmla="*/ 893826 w 1044701"/>
                <a:gd name="connsiteY28" fmla="*/ 113443 h 731424"/>
                <a:gd name="connsiteX29" fmla="*/ 887349 w 1044701"/>
                <a:gd name="connsiteY29" fmla="*/ 112586 h 731424"/>
                <a:gd name="connsiteX30" fmla="*/ 882396 w 1044701"/>
                <a:gd name="connsiteY30" fmla="*/ 111633 h 731424"/>
                <a:gd name="connsiteX31" fmla="*/ 878205 w 1044701"/>
                <a:gd name="connsiteY31" fmla="*/ 104204 h 731424"/>
                <a:gd name="connsiteX32" fmla="*/ 867537 w 1044701"/>
                <a:gd name="connsiteY32" fmla="*/ 95917 h 731424"/>
                <a:gd name="connsiteX33" fmla="*/ 866775 w 1044701"/>
                <a:gd name="connsiteY33" fmla="*/ 89630 h 731424"/>
                <a:gd name="connsiteX34" fmla="*/ 859822 w 1044701"/>
                <a:gd name="connsiteY34" fmla="*/ 85630 h 731424"/>
                <a:gd name="connsiteX35" fmla="*/ 855821 w 1044701"/>
                <a:gd name="connsiteY35" fmla="*/ 79724 h 731424"/>
                <a:gd name="connsiteX36" fmla="*/ 844391 w 1044701"/>
                <a:gd name="connsiteY36" fmla="*/ 78010 h 731424"/>
                <a:gd name="connsiteX37" fmla="*/ 840105 w 1044701"/>
                <a:gd name="connsiteY37" fmla="*/ 81725 h 731424"/>
                <a:gd name="connsiteX38" fmla="*/ 838295 w 1044701"/>
                <a:gd name="connsiteY38" fmla="*/ 80391 h 731424"/>
                <a:gd name="connsiteX39" fmla="*/ 836962 w 1044701"/>
                <a:gd name="connsiteY39" fmla="*/ 82201 h 731424"/>
                <a:gd name="connsiteX40" fmla="*/ 816197 w 1044701"/>
                <a:gd name="connsiteY40" fmla="*/ 70390 h 731424"/>
                <a:gd name="connsiteX41" fmla="*/ 813245 w 1044701"/>
                <a:gd name="connsiteY41" fmla="*/ 72390 h 731424"/>
                <a:gd name="connsiteX42" fmla="*/ 811435 w 1044701"/>
                <a:gd name="connsiteY42" fmla="*/ 70961 h 731424"/>
                <a:gd name="connsiteX43" fmla="*/ 807720 w 1044701"/>
                <a:gd name="connsiteY43" fmla="*/ 66675 h 731424"/>
                <a:gd name="connsiteX44" fmla="*/ 804767 w 1044701"/>
                <a:gd name="connsiteY44" fmla="*/ 68580 h 731424"/>
                <a:gd name="connsiteX45" fmla="*/ 801719 w 1044701"/>
                <a:gd name="connsiteY45" fmla="*/ 57817 h 731424"/>
                <a:gd name="connsiteX46" fmla="*/ 793242 w 1044701"/>
                <a:gd name="connsiteY46" fmla="*/ 54102 h 731424"/>
                <a:gd name="connsiteX47" fmla="*/ 790099 w 1044701"/>
                <a:gd name="connsiteY47" fmla="*/ 54483 h 731424"/>
                <a:gd name="connsiteX48" fmla="*/ 786384 w 1044701"/>
                <a:gd name="connsiteY48" fmla="*/ 50102 h 731424"/>
                <a:gd name="connsiteX49" fmla="*/ 784955 w 1044701"/>
                <a:gd name="connsiteY49" fmla="*/ 51911 h 731424"/>
                <a:gd name="connsiteX50" fmla="*/ 778478 w 1044701"/>
                <a:gd name="connsiteY50" fmla="*/ 51149 h 731424"/>
                <a:gd name="connsiteX51" fmla="*/ 772763 w 1044701"/>
                <a:gd name="connsiteY51" fmla="*/ 56674 h 731424"/>
                <a:gd name="connsiteX52" fmla="*/ 772382 w 1044701"/>
                <a:gd name="connsiteY52" fmla="*/ 79153 h 731424"/>
                <a:gd name="connsiteX53" fmla="*/ 769811 w 1044701"/>
                <a:gd name="connsiteY53" fmla="*/ 84296 h 731424"/>
                <a:gd name="connsiteX54" fmla="*/ 762190 w 1044701"/>
                <a:gd name="connsiteY54" fmla="*/ 86868 h 731424"/>
                <a:gd name="connsiteX55" fmla="*/ 759428 w 1044701"/>
                <a:gd name="connsiteY55" fmla="*/ 90392 h 731424"/>
                <a:gd name="connsiteX56" fmla="*/ 757809 w 1044701"/>
                <a:gd name="connsiteY56" fmla="*/ 90678 h 731424"/>
                <a:gd name="connsiteX57" fmla="*/ 755237 w 1044701"/>
                <a:gd name="connsiteY57" fmla="*/ 95821 h 731424"/>
                <a:gd name="connsiteX58" fmla="*/ 755047 w 1044701"/>
                <a:gd name="connsiteY58" fmla="*/ 94202 h 731424"/>
                <a:gd name="connsiteX59" fmla="*/ 745617 w 1044701"/>
                <a:gd name="connsiteY59" fmla="*/ 95441 h 731424"/>
                <a:gd name="connsiteX60" fmla="*/ 745236 w 1044701"/>
                <a:gd name="connsiteY60" fmla="*/ 92202 h 731424"/>
                <a:gd name="connsiteX61" fmla="*/ 743617 w 1044701"/>
                <a:gd name="connsiteY61" fmla="*/ 92488 h 731424"/>
                <a:gd name="connsiteX62" fmla="*/ 743998 w 1044701"/>
                <a:gd name="connsiteY62" fmla="*/ 95631 h 731424"/>
                <a:gd name="connsiteX63" fmla="*/ 736378 w 1044701"/>
                <a:gd name="connsiteY63" fmla="*/ 98203 h 731424"/>
                <a:gd name="connsiteX64" fmla="*/ 739712 w 1044701"/>
                <a:gd name="connsiteY64" fmla="*/ 99346 h 731424"/>
                <a:gd name="connsiteX65" fmla="*/ 740092 w 1044701"/>
                <a:gd name="connsiteY65" fmla="*/ 102489 h 731424"/>
                <a:gd name="connsiteX66" fmla="*/ 737330 w 1044701"/>
                <a:gd name="connsiteY66" fmla="*/ 106108 h 731424"/>
                <a:gd name="connsiteX67" fmla="*/ 733615 w 1044701"/>
                <a:gd name="connsiteY67" fmla="*/ 101727 h 731424"/>
                <a:gd name="connsiteX68" fmla="*/ 730663 w 1044701"/>
                <a:gd name="connsiteY68" fmla="*/ 103727 h 731424"/>
                <a:gd name="connsiteX69" fmla="*/ 727424 w 1044701"/>
                <a:gd name="connsiteY69" fmla="*/ 104108 h 731424"/>
                <a:gd name="connsiteX70" fmla="*/ 727900 w 1044701"/>
                <a:gd name="connsiteY70" fmla="*/ 107252 h 731424"/>
                <a:gd name="connsiteX71" fmla="*/ 724757 w 1044701"/>
                <a:gd name="connsiteY71" fmla="*/ 107728 h 731424"/>
                <a:gd name="connsiteX72" fmla="*/ 725138 w 1044701"/>
                <a:gd name="connsiteY72" fmla="*/ 110871 h 731424"/>
                <a:gd name="connsiteX73" fmla="*/ 721805 w 1044701"/>
                <a:gd name="connsiteY73" fmla="*/ 109633 h 731424"/>
                <a:gd name="connsiteX74" fmla="*/ 719995 w 1044701"/>
                <a:gd name="connsiteY74" fmla="*/ 108299 h 731424"/>
                <a:gd name="connsiteX75" fmla="*/ 715232 w 1044701"/>
                <a:gd name="connsiteY75" fmla="*/ 108871 h 731424"/>
                <a:gd name="connsiteX76" fmla="*/ 715423 w 1044701"/>
                <a:gd name="connsiteY76" fmla="*/ 110490 h 731424"/>
                <a:gd name="connsiteX77" fmla="*/ 703040 w 1044701"/>
                <a:gd name="connsiteY77" fmla="*/ 126492 h 731424"/>
                <a:gd name="connsiteX78" fmla="*/ 691801 w 1044701"/>
                <a:gd name="connsiteY78" fmla="*/ 126302 h 731424"/>
                <a:gd name="connsiteX79" fmla="*/ 687038 w 1044701"/>
                <a:gd name="connsiteY79" fmla="*/ 126968 h 731424"/>
                <a:gd name="connsiteX80" fmla="*/ 687705 w 1044701"/>
                <a:gd name="connsiteY80" fmla="*/ 131636 h 731424"/>
                <a:gd name="connsiteX81" fmla="*/ 681514 w 1044701"/>
                <a:gd name="connsiteY81" fmla="*/ 134017 h 731424"/>
                <a:gd name="connsiteX82" fmla="*/ 677608 w 1044701"/>
                <a:gd name="connsiteY82" fmla="*/ 140970 h 731424"/>
                <a:gd name="connsiteX83" fmla="*/ 679990 w 1044701"/>
                <a:gd name="connsiteY83" fmla="*/ 147066 h 731424"/>
                <a:gd name="connsiteX84" fmla="*/ 681419 w 1044701"/>
                <a:gd name="connsiteY84" fmla="*/ 145256 h 731424"/>
                <a:gd name="connsiteX85" fmla="*/ 685133 w 1044701"/>
                <a:gd name="connsiteY85" fmla="*/ 149638 h 731424"/>
                <a:gd name="connsiteX86" fmla="*/ 690467 w 1044701"/>
                <a:gd name="connsiteY86" fmla="*/ 153734 h 731424"/>
                <a:gd name="connsiteX87" fmla="*/ 684562 w 1044701"/>
                <a:gd name="connsiteY87" fmla="*/ 157734 h 731424"/>
                <a:gd name="connsiteX88" fmla="*/ 683419 w 1044701"/>
                <a:gd name="connsiteY88" fmla="*/ 161068 h 731424"/>
                <a:gd name="connsiteX89" fmla="*/ 677132 w 1044701"/>
                <a:gd name="connsiteY89" fmla="*/ 161830 h 731424"/>
                <a:gd name="connsiteX90" fmla="*/ 674561 w 1044701"/>
                <a:gd name="connsiteY90" fmla="*/ 166973 h 731424"/>
                <a:gd name="connsiteX91" fmla="*/ 669227 w 1044701"/>
                <a:gd name="connsiteY91" fmla="*/ 162877 h 731424"/>
                <a:gd name="connsiteX92" fmla="*/ 667798 w 1044701"/>
                <a:gd name="connsiteY92" fmla="*/ 164687 h 731424"/>
                <a:gd name="connsiteX93" fmla="*/ 663035 w 1044701"/>
                <a:gd name="connsiteY93" fmla="*/ 165259 h 731424"/>
                <a:gd name="connsiteX94" fmla="*/ 665226 w 1044701"/>
                <a:gd name="connsiteY94" fmla="*/ 169831 h 731424"/>
                <a:gd name="connsiteX95" fmla="*/ 664083 w 1044701"/>
                <a:gd name="connsiteY95" fmla="*/ 173165 h 731424"/>
                <a:gd name="connsiteX96" fmla="*/ 662273 w 1044701"/>
                <a:gd name="connsiteY96" fmla="*/ 171736 h 731424"/>
                <a:gd name="connsiteX97" fmla="*/ 662940 w 1044701"/>
                <a:gd name="connsiteY97" fmla="*/ 176498 h 731424"/>
                <a:gd name="connsiteX98" fmla="*/ 668083 w 1044701"/>
                <a:gd name="connsiteY98" fmla="*/ 179070 h 731424"/>
                <a:gd name="connsiteX99" fmla="*/ 670465 w 1044701"/>
                <a:gd name="connsiteY99" fmla="*/ 185166 h 731424"/>
                <a:gd name="connsiteX100" fmla="*/ 673798 w 1044701"/>
                <a:gd name="connsiteY100" fmla="*/ 186309 h 731424"/>
                <a:gd name="connsiteX101" fmla="*/ 675227 w 1044701"/>
                <a:gd name="connsiteY101" fmla="*/ 197358 h 731424"/>
                <a:gd name="connsiteX102" fmla="*/ 655034 w 1044701"/>
                <a:gd name="connsiteY102" fmla="*/ 190310 h 731424"/>
                <a:gd name="connsiteX103" fmla="*/ 651700 w 1044701"/>
                <a:gd name="connsiteY103" fmla="*/ 189167 h 731424"/>
                <a:gd name="connsiteX104" fmla="*/ 646366 w 1044701"/>
                <a:gd name="connsiteY104" fmla="*/ 185071 h 731424"/>
                <a:gd name="connsiteX105" fmla="*/ 645033 w 1044701"/>
                <a:gd name="connsiteY105" fmla="*/ 186785 h 731424"/>
                <a:gd name="connsiteX106" fmla="*/ 638270 w 1044701"/>
                <a:gd name="connsiteY106" fmla="*/ 184499 h 731424"/>
                <a:gd name="connsiteX107" fmla="*/ 640080 w 1044701"/>
                <a:gd name="connsiteY107" fmla="*/ 185833 h 731424"/>
                <a:gd name="connsiteX108" fmla="*/ 638842 w 1044701"/>
                <a:gd name="connsiteY108" fmla="*/ 189167 h 731424"/>
                <a:gd name="connsiteX109" fmla="*/ 640652 w 1044701"/>
                <a:gd name="connsiteY109" fmla="*/ 190595 h 731424"/>
                <a:gd name="connsiteX110" fmla="*/ 633984 w 1044701"/>
                <a:gd name="connsiteY110" fmla="*/ 188214 h 731424"/>
                <a:gd name="connsiteX111" fmla="*/ 632555 w 1044701"/>
                <a:gd name="connsiteY111" fmla="*/ 190024 h 731424"/>
                <a:gd name="connsiteX112" fmla="*/ 630936 w 1044701"/>
                <a:gd name="connsiteY112" fmla="*/ 190214 h 731424"/>
                <a:gd name="connsiteX113" fmla="*/ 627793 w 1044701"/>
                <a:gd name="connsiteY113" fmla="*/ 190595 h 731424"/>
                <a:gd name="connsiteX114" fmla="*/ 615410 w 1044701"/>
                <a:gd name="connsiteY114" fmla="*/ 193834 h 731424"/>
                <a:gd name="connsiteX115" fmla="*/ 614839 w 1044701"/>
                <a:gd name="connsiteY115" fmla="*/ 189071 h 731424"/>
                <a:gd name="connsiteX116" fmla="*/ 614648 w 1044701"/>
                <a:gd name="connsiteY116" fmla="*/ 187452 h 731424"/>
                <a:gd name="connsiteX117" fmla="*/ 618744 w 1044701"/>
                <a:gd name="connsiteY117" fmla="*/ 182118 h 731424"/>
                <a:gd name="connsiteX118" fmla="*/ 616934 w 1044701"/>
                <a:gd name="connsiteY118" fmla="*/ 180785 h 731424"/>
                <a:gd name="connsiteX119" fmla="*/ 612267 w 1044701"/>
                <a:gd name="connsiteY119" fmla="*/ 181356 h 731424"/>
                <a:gd name="connsiteX120" fmla="*/ 611981 w 1044701"/>
                <a:gd name="connsiteY120" fmla="*/ 179832 h 731424"/>
                <a:gd name="connsiteX121" fmla="*/ 610457 w 1044701"/>
                <a:gd name="connsiteY121" fmla="*/ 180023 h 731424"/>
                <a:gd name="connsiteX122" fmla="*/ 612457 w 1044701"/>
                <a:gd name="connsiteY122" fmla="*/ 182975 h 731424"/>
                <a:gd name="connsiteX123" fmla="*/ 611219 w 1044701"/>
                <a:gd name="connsiteY123" fmla="*/ 186309 h 731424"/>
                <a:gd name="connsiteX124" fmla="*/ 611410 w 1044701"/>
                <a:gd name="connsiteY124" fmla="*/ 187833 h 731424"/>
                <a:gd name="connsiteX125" fmla="*/ 602552 w 1044701"/>
                <a:gd name="connsiteY125" fmla="*/ 193834 h 731424"/>
                <a:gd name="connsiteX126" fmla="*/ 598837 w 1044701"/>
                <a:gd name="connsiteY126" fmla="*/ 189452 h 731424"/>
                <a:gd name="connsiteX127" fmla="*/ 596074 w 1044701"/>
                <a:gd name="connsiteY127" fmla="*/ 193072 h 731424"/>
                <a:gd name="connsiteX128" fmla="*/ 589597 w 1044701"/>
                <a:gd name="connsiteY128" fmla="*/ 192310 h 731424"/>
                <a:gd name="connsiteX129" fmla="*/ 587026 w 1044701"/>
                <a:gd name="connsiteY129" fmla="*/ 197358 h 731424"/>
                <a:gd name="connsiteX130" fmla="*/ 582073 w 1044701"/>
                <a:gd name="connsiteY130" fmla="*/ 196406 h 731424"/>
                <a:gd name="connsiteX131" fmla="*/ 580644 w 1044701"/>
                <a:gd name="connsiteY131" fmla="*/ 198215 h 731424"/>
                <a:gd name="connsiteX132" fmla="*/ 576929 w 1044701"/>
                <a:gd name="connsiteY132" fmla="*/ 193834 h 731424"/>
                <a:gd name="connsiteX133" fmla="*/ 574929 w 1044701"/>
                <a:gd name="connsiteY133" fmla="*/ 190881 h 731424"/>
                <a:gd name="connsiteX134" fmla="*/ 576167 w 1044701"/>
                <a:gd name="connsiteY134" fmla="*/ 187547 h 731424"/>
                <a:gd name="connsiteX135" fmla="*/ 574548 w 1044701"/>
                <a:gd name="connsiteY135" fmla="*/ 187738 h 731424"/>
                <a:gd name="connsiteX136" fmla="*/ 569405 w 1044701"/>
                <a:gd name="connsiteY136" fmla="*/ 185261 h 731424"/>
                <a:gd name="connsiteX137" fmla="*/ 564832 w 1044701"/>
                <a:gd name="connsiteY137" fmla="*/ 174593 h 731424"/>
                <a:gd name="connsiteX138" fmla="*/ 561689 w 1044701"/>
                <a:gd name="connsiteY138" fmla="*/ 174974 h 731424"/>
                <a:gd name="connsiteX139" fmla="*/ 559880 w 1044701"/>
                <a:gd name="connsiteY139" fmla="*/ 173546 h 731424"/>
                <a:gd name="connsiteX140" fmla="*/ 558546 w 1044701"/>
                <a:gd name="connsiteY140" fmla="*/ 175355 h 731424"/>
                <a:gd name="connsiteX141" fmla="*/ 556736 w 1044701"/>
                <a:gd name="connsiteY141" fmla="*/ 174022 h 731424"/>
                <a:gd name="connsiteX142" fmla="*/ 553593 w 1044701"/>
                <a:gd name="connsiteY142" fmla="*/ 174403 h 731424"/>
                <a:gd name="connsiteX143" fmla="*/ 551974 w 1044701"/>
                <a:gd name="connsiteY143" fmla="*/ 174593 h 731424"/>
                <a:gd name="connsiteX144" fmla="*/ 546068 w 1044701"/>
                <a:gd name="connsiteY144" fmla="*/ 165735 h 731424"/>
                <a:gd name="connsiteX145" fmla="*/ 543115 w 1044701"/>
                <a:gd name="connsiteY145" fmla="*/ 167735 h 731424"/>
                <a:gd name="connsiteX146" fmla="*/ 541972 w 1044701"/>
                <a:gd name="connsiteY146" fmla="*/ 171069 h 731424"/>
                <a:gd name="connsiteX147" fmla="*/ 540353 w 1044701"/>
                <a:gd name="connsiteY147" fmla="*/ 171260 h 731424"/>
                <a:gd name="connsiteX148" fmla="*/ 531495 w 1044701"/>
                <a:gd name="connsiteY148" fmla="*/ 164402 h 731424"/>
                <a:gd name="connsiteX149" fmla="*/ 528447 w 1044701"/>
                <a:gd name="connsiteY149" fmla="*/ 153543 h 731424"/>
                <a:gd name="connsiteX150" fmla="*/ 519589 w 1044701"/>
                <a:gd name="connsiteY150" fmla="*/ 146685 h 731424"/>
                <a:gd name="connsiteX151" fmla="*/ 513493 w 1044701"/>
                <a:gd name="connsiteY151" fmla="*/ 149066 h 731424"/>
                <a:gd name="connsiteX152" fmla="*/ 511683 w 1044701"/>
                <a:gd name="connsiteY152" fmla="*/ 147638 h 731424"/>
                <a:gd name="connsiteX153" fmla="*/ 506921 w 1044701"/>
                <a:gd name="connsiteY153" fmla="*/ 148304 h 731424"/>
                <a:gd name="connsiteX154" fmla="*/ 505015 w 1044701"/>
                <a:gd name="connsiteY154" fmla="*/ 145352 h 731424"/>
                <a:gd name="connsiteX155" fmla="*/ 498443 w 1044701"/>
                <a:gd name="connsiteY155" fmla="*/ 144494 h 731424"/>
                <a:gd name="connsiteX156" fmla="*/ 495300 w 1044701"/>
                <a:gd name="connsiteY156" fmla="*/ 144971 h 731424"/>
                <a:gd name="connsiteX157" fmla="*/ 493300 w 1044701"/>
                <a:gd name="connsiteY157" fmla="*/ 142018 h 731424"/>
                <a:gd name="connsiteX158" fmla="*/ 492347 w 1044701"/>
                <a:gd name="connsiteY158" fmla="*/ 134112 h 731424"/>
                <a:gd name="connsiteX159" fmla="*/ 486728 w 1044701"/>
                <a:gd name="connsiteY159" fmla="*/ 115538 h 731424"/>
                <a:gd name="connsiteX160" fmla="*/ 480250 w 1044701"/>
                <a:gd name="connsiteY160" fmla="*/ 114776 h 731424"/>
                <a:gd name="connsiteX161" fmla="*/ 449675 w 1044701"/>
                <a:gd name="connsiteY161" fmla="*/ 113824 h 731424"/>
                <a:gd name="connsiteX162" fmla="*/ 449580 w 1044701"/>
                <a:gd name="connsiteY162" fmla="*/ 88202 h 731424"/>
                <a:gd name="connsiteX163" fmla="*/ 448437 w 1044701"/>
                <a:gd name="connsiteY163" fmla="*/ 78772 h 731424"/>
                <a:gd name="connsiteX164" fmla="*/ 435197 w 1044701"/>
                <a:gd name="connsiteY164" fmla="*/ 75629 h 731424"/>
                <a:gd name="connsiteX165" fmla="*/ 435102 w 1044701"/>
                <a:gd name="connsiteY165" fmla="*/ 62770 h 731424"/>
                <a:gd name="connsiteX166" fmla="*/ 415957 w 1044701"/>
                <a:gd name="connsiteY166" fmla="*/ 63627 h 731424"/>
                <a:gd name="connsiteX167" fmla="*/ 410623 w 1044701"/>
                <a:gd name="connsiteY167" fmla="*/ 59531 h 731424"/>
                <a:gd name="connsiteX168" fmla="*/ 405955 w 1044701"/>
                <a:gd name="connsiteY168" fmla="*/ 60103 h 731424"/>
                <a:gd name="connsiteX169" fmla="*/ 405289 w 1044701"/>
                <a:gd name="connsiteY169" fmla="*/ 55340 h 731424"/>
                <a:gd name="connsiteX170" fmla="*/ 401193 w 1044701"/>
                <a:gd name="connsiteY170" fmla="*/ 60674 h 731424"/>
                <a:gd name="connsiteX171" fmla="*/ 388525 w 1044701"/>
                <a:gd name="connsiteY171" fmla="*/ 49530 h 731424"/>
                <a:gd name="connsiteX172" fmla="*/ 383572 w 1044701"/>
                <a:gd name="connsiteY172" fmla="*/ 48482 h 731424"/>
                <a:gd name="connsiteX173" fmla="*/ 384429 w 1044701"/>
                <a:gd name="connsiteY173" fmla="*/ 54864 h 731424"/>
                <a:gd name="connsiteX174" fmla="*/ 383000 w 1044701"/>
                <a:gd name="connsiteY174" fmla="*/ 56579 h 731424"/>
                <a:gd name="connsiteX175" fmla="*/ 362331 w 1044701"/>
                <a:gd name="connsiteY175" fmla="*/ 57626 h 731424"/>
                <a:gd name="connsiteX176" fmla="*/ 362903 w 1044701"/>
                <a:gd name="connsiteY176" fmla="*/ 75248 h 731424"/>
                <a:gd name="connsiteX177" fmla="*/ 351663 w 1044701"/>
                <a:gd name="connsiteY177" fmla="*/ 75057 h 731424"/>
                <a:gd name="connsiteX178" fmla="*/ 338899 w 1044701"/>
                <a:gd name="connsiteY178" fmla="*/ 75057 h 731424"/>
                <a:gd name="connsiteX179" fmla="*/ 338328 w 1044701"/>
                <a:gd name="connsiteY179" fmla="*/ 83153 h 731424"/>
                <a:gd name="connsiteX180" fmla="*/ 329470 w 1044701"/>
                <a:gd name="connsiteY180" fmla="*/ 89059 h 731424"/>
                <a:gd name="connsiteX181" fmla="*/ 329851 w 1044701"/>
                <a:gd name="connsiteY181" fmla="*/ 92297 h 731424"/>
                <a:gd name="connsiteX182" fmla="*/ 326898 w 1044701"/>
                <a:gd name="connsiteY182" fmla="*/ 94202 h 731424"/>
                <a:gd name="connsiteX183" fmla="*/ 326231 w 1044701"/>
                <a:gd name="connsiteY183" fmla="*/ 89535 h 731424"/>
                <a:gd name="connsiteX184" fmla="*/ 314992 w 1044701"/>
                <a:gd name="connsiteY184" fmla="*/ 89344 h 731424"/>
                <a:gd name="connsiteX185" fmla="*/ 313468 w 1044701"/>
                <a:gd name="connsiteY185" fmla="*/ 89535 h 731424"/>
                <a:gd name="connsiteX186" fmla="*/ 313087 w 1044701"/>
                <a:gd name="connsiteY186" fmla="*/ 86392 h 731424"/>
                <a:gd name="connsiteX187" fmla="*/ 306324 w 1044701"/>
                <a:gd name="connsiteY187" fmla="*/ 84011 h 731424"/>
                <a:gd name="connsiteX188" fmla="*/ 304133 w 1044701"/>
                <a:gd name="connsiteY188" fmla="*/ 79439 h 731424"/>
                <a:gd name="connsiteX189" fmla="*/ 304514 w 1044701"/>
                <a:gd name="connsiteY189" fmla="*/ 69818 h 731424"/>
                <a:gd name="connsiteX190" fmla="*/ 308229 w 1044701"/>
                <a:gd name="connsiteY190" fmla="*/ 61341 h 731424"/>
                <a:gd name="connsiteX191" fmla="*/ 303086 w 1044701"/>
                <a:gd name="connsiteY191" fmla="*/ 58769 h 731424"/>
                <a:gd name="connsiteX192" fmla="*/ 304324 w 1044701"/>
                <a:gd name="connsiteY192" fmla="*/ 55435 h 731424"/>
                <a:gd name="connsiteX193" fmla="*/ 303847 w 1044701"/>
                <a:gd name="connsiteY193" fmla="*/ 52292 h 731424"/>
                <a:gd name="connsiteX194" fmla="*/ 294227 w 1044701"/>
                <a:gd name="connsiteY194" fmla="*/ 51911 h 731424"/>
                <a:gd name="connsiteX195" fmla="*/ 290513 w 1044701"/>
                <a:gd name="connsiteY195" fmla="*/ 47530 h 731424"/>
                <a:gd name="connsiteX196" fmla="*/ 285083 w 1044701"/>
                <a:gd name="connsiteY196" fmla="*/ 43434 h 731424"/>
                <a:gd name="connsiteX197" fmla="*/ 280797 w 1044701"/>
                <a:gd name="connsiteY197" fmla="*/ 47149 h 731424"/>
                <a:gd name="connsiteX198" fmla="*/ 278416 w 1044701"/>
                <a:gd name="connsiteY198" fmla="*/ 53912 h 731424"/>
                <a:gd name="connsiteX199" fmla="*/ 270129 w 1044701"/>
                <a:gd name="connsiteY199" fmla="*/ 51721 h 731424"/>
                <a:gd name="connsiteX200" fmla="*/ 269177 w 1044701"/>
                <a:gd name="connsiteY200" fmla="*/ 56674 h 731424"/>
                <a:gd name="connsiteX201" fmla="*/ 264414 w 1044701"/>
                <a:gd name="connsiteY201" fmla="*/ 57245 h 731424"/>
                <a:gd name="connsiteX202" fmla="*/ 264605 w 1044701"/>
                <a:gd name="connsiteY202" fmla="*/ 58865 h 731424"/>
                <a:gd name="connsiteX203" fmla="*/ 260128 w 1044701"/>
                <a:gd name="connsiteY203" fmla="*/ 61055 h 731424"/>
                <a:gd name="connsiteX204" fmla="*/ 260890 w 1044701"/>
                <a:gd name="connsiteY204" fmla="*/ 67342 h 731424"/>
                <a:gd name="connsiteX205" fmla="*/ 262699 w 1044701"/>
                <a:gd name="connsiteY205" fmla="*/ 68771 h 731424"/>
                <a:gd name="connsiteX206" fmla="*/ 260985 w 1044701"/>
                <a:gd name="connsiteY206" fmla="*/ 80200 h 731424"/>
                <a:gd name="connsiteX207" fmla="*/ 259747 w 1044701"/>
                <a:gd name="connsiteY207" fmla="*/ 83534 h 731424"/>
                <a:gd name="connsiteX208" fmla="*/ 256604 w 1044701"/>
                <a:gd name="connsiteY208" fmla="*/ 83915 h 731424"/>
                <a:gd name="connsiteX209" fmla="*/ 256794 w 1044701"/>
                <a:gd name="connsiteY209" fmla="*/ 85535 h 731424"/>
                <a:gd name="connsiteX210" fmla="*/ 254794 w 1044701"/>
                <a:gd name="connsiteY210" fmla="*/ 82582 h 731424"/>
                <a:gd name="connsiteX211" fmla="*/ 251079 w 1044701"/>
                <a:gd name="connsiteY211" fmla="*/ 91059 h 731424"/>
                <a:gd name="connsiteX212" fmla="*/ 247364 w 1044701"/>
                <a:gd name="connsiteY212" fmla="*/ 86677 h 731424"/>
                <a:gd name="connsiteX213" fmla="*/ 242411 w 1044701"/>
                <a:gd name="connsiteY213" fmla="*/ 85725 h 731424"/>
                <a:gd name="connsiteX214" fmla="*/ 239458 w 1044701"/>
                <a:gd name="connsiteY214" fmla="*/ 87725 h 731424"/>
                <a:gd name="connsiteX215" fmla="*/ 239268 w 1044701"/>
                <a:gd name="connsiteY215" fmla="*/ 86106 h 731424"/>
                <a:gd name="connsiteX216" fmla="*/ 235934 w 1044701"/>
                <a:gd name="connsiteY216" fmla="*/ 84963 h 731424"/>
                <a:gd name="connsiteX217" fmla="*/ 234696 w 1044701"/>
                <a:gd name="connsiteY217" fmla="*/ 88297 h 731424"/>
                <a:gd name="connsiteX218" fmla="*/ 231553 w 1044701"/>
                <a:gd name="connsiteY218" fmla="*/ 88773 h 731424"/>
                <a:gd name="connsiteX219" fmla="*/ 228981 w 1044701"/>
                <a:gd name="connsiteY219" fmla="*/ 93917 h 731424"/>
                <a:gd name="connsiteX220" fmla="*/ 227457 w 1044701"/>
                <a:gd name="connsiteY220" fmla="*/ 94107 h 731424"/>
                <a:gd name="connsiteX221" fmla="*/ 227838 w 1044701"/>
                <a:gd name="connsiteY221" fmla="*/ 97250 h 731424"/>
                <a:gd name="connsiteX222" fmla="*/ 225076 w 1044701"/>
                <a:gd name="connsiteY222" fmla="*/ 100775 h 731424"/>
                <a:gd name="connsiteX223" fmla="*/ 221552 w 1044701"/>
                <a:gd name="connsiteY223" fmla="*/ 98012 h 731424"/>
                <a:gd name="connsiteX224" fmla="*/ 219932 w 1044701"/>
                <a:gd name="connsiteY224" fmla="*/ 98203 h 731424"/>
                <a:gd name="connsiteX225" fmla="*/ 218789 w 1044701"/>
                <a:gd name="connsiteY225" fmla="*/ 101632 h 731424"/>
                <a:gd name="connsiteX226" fmla="*/ 215170 w 1044701"/>
                <a:gd name="connsiteY226" fmla="*/ 98869 h 731424"/>
                <a:gd name="connsiteX227" fmla="*/ 214979 w 1044701"/>
                <a:gd name="connsiteY227" fmla="*/ 97250 h 731424"/>
                <a:gd name="connsiteX228" fmla="*/ 209836 w 1044701"/>
                <a:gd name="connsiteY228" fmla="*/ 94679 h 731424"/>
                <a:gd name="connsiteX229" fmla="*/ 209645 w 1044701"/>
                <a:gd name="connsiteY229" fmla="*/ 93154 h 731424"/>
                <a:gd name="connsiteX230" fmla="*/ 199358 w 1044701"/>
                <a:gd name="connsiteY230" fmla="*/ 88011 h 731424"/>
                <a:gd name="connsiteX231" fmla="*/ 197644 w 1044701"/>
                <a:gd name="connsiteY231" fmla="*/ 86677 h 731424"/>
                <a:gd name="connsiteX232" fmla="*/ 195834 w 1044701"/>
                <a:gd name="connsiteY232" fmla="*/ 85249 h 731424"/>
                <a:gd name="connsiteX233" fmla="*/ 195263 w 1044701"/>
                <a:gd name="connsiteY233" fmla="*/ 93345 h 731424"/>
                <a:gd name="connsiteX234" fmla="*/ 191738 w 1044701"/>
                <a:gd name="connsiteY234" fmla="*/ 90583 h 731424"/>
                <a:gd name="connsiteX235" fmla="*/ 191929 w 1044701"/>
                <a:gd name="connsiteY235" fmla="*/ 92202 h 731424"/>
                <a:gd name="connsiteX236" fmla="*/ 186785 w 1044701"/>
                <a:gd name="connsiteY236" fmla="*/ 89630 h 731424"/>
                <a:gd name="connsiteX237" fmla="*/ 182023 w 1044701"/>
                <a:gd name="connsiteY237" fmla="*/ 90202 h 731424"/>
                <a:gd name="connsiteX238" fmla="*/ 181832 w 1044701"/>
                <a:gd name="connsiteY238" fmla="*/ 88678 h 731424"/>
                <a:gd name="connsiteX239" fmla="*/ 183452 w 1044701"/>
                <a:gd name="connsiteY239" fmla="*/ 88487 h 731424"/>
                <a:gd name="connsiteX240" fmla="*/ 183261 w 1044701"/>
                <a:gd name="connsiteY240" fmla="*/ 86868 h 731424"/>
                <a:gd name="connsiteX241" fmla="*/ 181642 w 1044701"/>
                <a:gd name="connsiteY241" fmla="*/ 87058 h 731424"/>
                <a:gd name="connsiteX242" fmla="*/ 180213 w 1044701"/>
                <a:gd name="connsiteY242" fmla="*/ 88868 h 731424"/>
                <a:gd name="connsiteX243" fmla="*/ 175070 w 1044701"/>
                <a:gd name="connsiteY243" fmla="*/ 86296 h 731424"/>
                <a:gd name="connsiteX244" fmla="*/ 173736 w 1044701"/>
                <a:gd name="connsiteY244" fmla="*/ 88106 h 731424"/>
                <a:gd name="connsiteX245" fmla="*/ 175355 w 1044701"/>
                <a:gd name="connsiteY245" fmla="*/ 87916 h 731424"/>
                <a:gd name="connsiteX246" fmla="*/ 170783 w 1044701"/>
                <a:gd name="connsiteY246" fmla="*/ 90106 h 731424"/>
                <a:gd name="connsiteX247" fmla="*/ 168783 w 1044701"/>
                <a:gd name="connsiteY247" fmla="*/ 87154 h 731424"/>
                <a:gd name="connsiteX248" fmla="*/ 165640 w 1044701"/>
                <a:gd name="connsiteY248" fmla="*/ 87535 h 731424"/>
                <a:gd name="connsiteX249" fmla="*/ 163925 w 1044701"/>
                <a:gd name="connsiteY249" fmla="*/ 86106 h 731424"/>
                <a:gd name="connsiteX250" fmla="*/ 162496 w 1044701"/>
                <a:gd name="connsiteY250" fmla="*/ 87916 h 731424"/>
                <a:gd name="connsiteX251" fmla="*/ 162115 w 1044701"/>
                <a:gd name="connsiteY251" fmla="*/ 84773 h 731424"/>
                <a:gd name="connsiteX252" fmla="*/ 160496 w 1044701"/>
                <a:gd name="connsiteY252" fmla="*/ 84963 h 731424"/>
                <a:gd name="connsiteX253" fmla="*/ 161354 w 1044701"/>
                <a:gd name="connsiteY253" fmla="*/ 91250 h 731424"/>
                <a:gd name="connsiteX254" fmla="*/ 164497 w 1044701"/>
                <a:gd name="connsiteY254" fmla="*/ 90869 h 731424"/>
                <a:gd name="connsiteX255" fmla="*/ 163068 w 1044701"/>
                <a:gd name="connsiteY255" fmla="*/ 92678 h 731424"/>
                <a:gd name="connsiteX256" fmla="*/ 161354 w 1044701"/>
                <a:gd name="connsiteY256" fmla="*/ 91250 h 731424"/>
                <a:gd name="connsiteX257" fmla="*/ 157734 w 1044701"/>
                <a:gd name="connsiteY257" fmla="*/ 88487 h 731424"/>
                <a:gd name="connsiteX258" fmla="*/ 156400 w 1044701"/>
                <a:gd name="connsiteY258" fmla="*/ 90297 h 731424"/>
                <a:gd name="connsiteX259" fmla="*/ 156591 w 1044701"/>
                <a:gd name="connsiteY259" fmla="*/ 91916 h 731424"/>
                <a:gd name="connsiteX260" fmla="*/ 154972 w 1044701"/>
                <a:gd name="connsiteY260" fmla="*/ 92107 h 731424"/>
                <a:gd name="connsiteX261" fmla="*/ 153448 w 1044701"/>
                <a:gd name="connsiteY261" fmla="*/ 92297 h 731424"/>
                <a:gd name="connsiteX262" fmla="*/ 152781 w 1044701"/>
                <a:gd name="connsiteY262" fmla="*/ 87535 h 731424"/>
                <a:gd name="connsiteX263" fmla="*/ 149638 w 1044701"/>
                <a:gd name="connsiteY263" fmla="*/ 87916 h 731424"/>
                <a:gd name="connsiteX264" fmla="*/ 149828 w 1044701"/>
                <a:gd name="connsiteY264" fmla="*/ 76676 h 731424"/>
                <a:gd name="connsiteX265" fmla="*/ 142970 w 1044701"/>
                <a:gd name="connsiteY265" fmla="*/ 72771 h 731424"/>
                <a:gd name="connsiteX266" fmla="*/ 139732 w 1044701"/>
                <a:gd name="connsiteY266" fmla="*/ 73152 h 731424"/>
                <a:gd name="connsiteX267" fmla="*/ 138779 w 1044701"/>
                <a:gd name="connsiteY267" fmla="*/ 78105 h 731424"/>
                <a:gd name="connsiteX268" fmla="*/ 143923 w 1044701"/>
                <a:gd name="connsiteY268" fmla="*/ 80677 h 731424"/>
                <a:gd name="connsiteX269" fmla="*/ 137827 w 1044701"/>
                <a:gd name="connsiteY269" fmla="*/ 83058 h 731424"/>
                <a:gd name="connsiteX270" fmla="*/ 136017 w 1044701"/>
                <a:gd name="connsiteY270" fmla="*/ 81629 h 731424"/>
                <a:gd name="connsiteX271" fmla="*/ 134684 w 1044701"/>
                <a:gd name="connsiteY271" fmla="*/ 83439 h 731424"/>
                <a:gd name="connsiteX272" fmla="*/ 135255 w 1044701"/>
                <a:gd name="connsiteY272" fmla="*/ 88202 h 731424"/>
                <a:gd name="connsiteX273" fmla="*/ 130683 w 1044701"/>
                <a:gd name="connsiteY273" fmla="*/ 90392 h 731424"/>
                <a:gd name="connsiteX274" fmla="*/ 127349 w 1044701"/>
                <a:gd name="connsiteY274" fmla="*/ 89154 h 731424"/>
                <a:gd name="connsiteX275" fmla="*/ 126778 w 1044701"/>
                <a:gd name="connsiteY275" fmla="*/ 84487 h 731424"/>
                <a:gd name="connsiteX276" fmla="*/ 125349 w 1044701"/>
                <a:gd name="connsiteY276" fmla="*/ 86201 h 731424"/>
                <a:gd name="connsiteX277" fmla="*/ 123444 w 1044701"/>
                <a:gd name="connsiteY277" fmla="*/ 83248 h 731424"/>
                <a:gd name="connsiteX278" fmla="*/ 120301 w 1044701"/>
                <a:gd name="connsiteY278" fmla="*/ 83629 h 731424"/>
                <a:gd name="connsiteX279" fmla="*/ 109823 w 1044701"/>
                <a:gd name="connsiteY279" fmla="*/ 89821 h 731424"/>
                <a:gd name="connsiteX280" fmla="*/ 108394 w 1044701"/>
                <a:gd name="connsiteY280" fmla="*/ 91631 h 731424"/>
                <a:gd name="connsiteX281" fmla="*/ 107823 w 1044701"/>
                <a:gd name="connsiteY281" fmla="*/ 99727 h 731424"/>
                <a:gd name="connsiteX282" fmla="*/ 106680 w 1044701"/>
                <a:gd name="connsiteY282" fmla="*/ 103061 h 731424"/>
                <a:gd name="connsiteX283" fmla="*/ 108490 w 1044701"/>
                <a:gd name="connsiteY283" fmla="*/ 104394 h 731424"/>
                <a:gd name="connsiteX284" fmla="*/ 110680 w 1044701"/>
                <a:gd name="connsiteY284" fmla="*/ 108966 h 731424"/>
                <a:gd name="connsiteX285" fmla="*/ 109252 w 1044701"/>
                <a:gd name="connsiteY285" fmla="*/ 110776 h 731424"/>
                <a:gd name="connsiteX286" fmla="*/ 105727 w 1044701"/>
                <a:gd name="connsiteY286" fmla="*/ 108014 h 731424"/>
                <a:gd name="connsiteX287" fmla="*/ 102965 w 1044701"/>
                <a:gd name="connsiteY287" fmla="*/ 111538 h 731424"/>
                <a:gd name="connsiteX288" fmla="*/ 98393 w 1044701"/>
                <a:gd name="connsiteY288" fmla="*/ 113729 h 731424"/>
                <a:gd name="connsiteX289" fmla="*/ 98584 w 1044701"/>
                <a:gd name="connsiteY289" fmla="*/ 115252 h 731424"/>
                <a:gd name="connsiteX290" fmla="*/ 96869 w 1044701"/>
                <a:gd name="connsiteY290" fmla="*/ 113919 h 731424"/>
                <a:gd name="connsiteX291" fmla="*/ 85630 w 1044701"/>
                <a:gd name="connsiteY291" fmla="*/ 113729 h 731424"/>
                <a:gd name="connsiteX292" fmla="*/ 86201 w 1044701"/>
                <a:gd name="connsiteY292" fmla="*/ 118491 h 731424"/>
                <a:gd name="connsiteX293" fmla="*/ 90964 w 1044701"/>
                <a:gd name="connsiteY293" fmla="*/ 117919 h 731424"/>
                <a:gd name="connsiteX294" fmla="*/ 88011 w 1044701"/>
                <a:gd name="connsiteY294" fmla="*/ 119825 h 731424"/>
                <a:gd name="connsiteX295" fmla="*/ 83058 w 1044701"/>
                <a:gd name="connsiteY295" fmla="*/ 118872 h 731424"/>
                <a:gd name="connsiteX296" fmla="*/ 83248 w 1044701"/>
                <a:gd name="connsiteY296" fmla="*/ 120491 h 731424"/>
                <a:gd name="connsiteX297" fmla="*/ 78962 w 1044701"/>
                <a:gd name="connsiteY297" fmla="*/ 124206 h 731424"/>
                <a:gd name="connsiteX298" fmla="*/ 77343 w 1044701"/>
                <a:gd name="connsiteY298" fmla="*/ 124396 h 731424"/>
                <a:gd name="connsiteX299" fmla="*/ 73247 w 1044701"/>
                <a:gd name="connsiteY299" fmla="*/ 129731 h 731424"/>
                <a:gd name="connsiteX300" fmla="*/ 60960 w 1044701"/>
                <a:gd name="connsiteY300" fmla="*/ 134493 h 731424"/>
                <a:gd name="connsiteX301" fmla="*/ 50863 w 1044701"/>
                <a:gd name="connsiteY301" fmla="*/ 118205 h 731424"/>
                <a:gd name="connsiteX302" fmla="*/ 49054 w 1044701"/>
                <a:gd name="connsiteY302" fmla="*/ 116777 h 731424"/>
                <a:gd name="connsiteX303" fmla="*/ 47530 w 1044701"/>
                <a:gd name="connsiteY303" fmla="*/ 116967 h 731424"/>
                <a:gd name="connsiteX304" fmla="*/ 50292 w 1044701"/>
                <a:gd name="connsiteY304" fmla="*/ 126302 h 731424"/>
                <a:gd name="connsiteX305" fmla="*/ 44386 w 1044701"/>
                <a:gd name="connsiteY305" fmla="*/ 130207 h 731424"/>
                <a:gd name="connsiteX306" fmla="*/ 39243 w 1044701"/>
                <a:gd name="connsiteY306" fmla="*/ 127635 h 731424"/>
                <a:gd name="connsiteX307" fmla="*/ 38671 w 1044701"/>
                <a:gd name="connsiteY307" fmla="*/ 122968 h 731424"/>
                <a:gd name="connsiteX308" fmla="*/ 35147 w 1044701"/>
                <a:gd name="connsiteY308" fmla="*/ 120206 h 731424"/>
                <a:gd name="connsiteX309" fmla="*/ 29146 w 1044701"/>
                <a:gd name="connsiteY309" fmla="*/ 124111 h 731424"/>
                <a:gd name="connsiteX310" fmla="*/ 25622 w 1044701"/>
                <a:gd name="connsiteY310" fmla="*/ 134207 h 731424"/>
                <a:gd name="connsiteX311" fmla="*/ 32766 w 1044701"/>
                <a:gd name="connsiteY311" fmla="*/ 139732 h 731424"/>
                <a:gd name="connsiteX312" fmla="*/ 37147 w 1044701"/>
                <a:gd name="connsiteY312" fmla="*/ 135922 h 731424"/>
                <a:gd name="connsiteX313" fmla="*/ 41243 w 1044701"/>
                <a:gd name="connsiteY313" fmla="*/ 143446 h 731424"/>
                <a:gd name="connsiteX314" fmla="*/ 44386 w 1044701"/>
                <a:gd name="connsiteY314" fmla="*/ 143066 h 731424"/>
                <a:gd name="connsiteX315" fmla="*/ 39910 w 1044701"/>
                <a:gd name="connsiteY315" fmla="*/ 145256 h 731424"/>
                <a:gd name="connsiteX316" fmla="*/ 36100 w 1044701"/>
                <a:gd name="connsiteY316" fmla="*/ 140875 h 731424"/>
                <a:gd name="connsiteX317" fmla="*/ 33338 w 1044701"/>
                <a:gd name="connsiteY317" fmla="*/ 144494 h 731424"/>
                <a:gd name="connsiteX318" fmla="*/ 30194 w 1044701"/>
                <a:gd name="connsiteY318" fmla="*/ 144875 h 731424"/>
                <a:gd name="connsiteX319" fmla="*/ 28861 w 1044701"/>
                <a:gd name="connsiteY319" fmla="*/ 146685 h 731424"/>
                <a:gd name="connsiteX320" fmla="*/ 31432 w 1044701"/>
                <a:gd name="connsiteY320" fmla="*/ 154305 h 731424"/>
                <a:gd name="connsiteX321" fmla="*/ 33623 w 1044701"/>
                <a:gd name="connsiteY321" fmla="*/ 158877 h 731424"/>
                <a:gd name="connsiteX322" fmla="*/ 33814 w 1044701"/>
                <a:gd name="connsiteY322" fmla="*/ 173260 h 731424"/>
                <a:gd name="connsiteX323" fmla="*/ 27337 w 1044701"/>
                <a:gd name="connsiteY323" fmla="*/ 172498 h 731424"/>
                <a:gd name="connsiteX324" fmla="*/ 22765 w 1044701"/>
                <a:gd name="connsiteY324" fmla="*/ 174689 h 731424"/>
                <a:gd name="connsiteX325" fmla="*/ 21050 w 1044701"/>
                <a:gd name="connsiteY325" fmla="*/ 173260 h 731424"/>
                <a:gd name="connsiteX326" fmla="*/ 21431 w 1044701"/>
                <a:gd name="connsiteY326" fmla="*/ 176403 h 731424"/>
                <a:gd name="connsiteX327" fmla="*/ 18288 w 1044701"/>
                <a:gd name="connsiteY327" fmla="*/ 176879 h 731424"/>
                <a:gd name="connsiteX328" fmla="*/ 16478 w 1044701"/>
                <a:gd name="connsiteY328" fmla="*/ 175450 h 731424"/>
                <a:gd name="connsiteX329" fmla="*/ 13144 w 1044701"/>
                <a:gd name="connsiteY329" fmla="*/ 174308 h 731424"/>
                <a:gd name="connsiteX330" fmla="*/ 11906 w 1044701"/>
                <a:gd name="connsiteY330" fmla="*/ 177641 h 731424"/>
                <a:gd name="connsiteX331" fmla="*/ 8954 w 1044701"/>
                <a:gd name="connsiteY331" fmla="*/ 179642 h 731424"/>
                <a:gd name="connsiteX332" fmla="*/ 9239 w 1044701"/>
                <a:gd name="connsiteY332" fmla="*/ 181261 h 731424"/>
                <a:gd name="connsiteX333" fmla="*/ 12763 w 1044701"/>
                <a:gd name="connsiteY333" fmla="*/ 183928 h 731424"/>
                <a:gd name="connsiteX334" fmla="*/ 24003 w 1044701"/>
                <a:gd name="connsiteY334" fmla="*/ 184118 h 731424"/>
                <a:gd name="connsiteX335" fmla="*/ 22860 w 1044701"/>
                <a:gd name="connsiteY335" fmla="*/ 187547 h 731424"/>
                <a:gd name="connsiteX336" fmla="*/ 27337 w 1044701"/>
                <a:gd name="connsiteY336" fmla="*/ 185356 h 731424"/>
                <a:gd name="connsiteX337" fmla="*/ 28004 w 1044701"/>
                <a:gd name="connsiteY337" fmla="*/ 190024 h 731424"/>
                <a:gd name="connsiteX338" fmla="*/ 26575 w 1044701"/>
                <a:gd name="connsiteY338" fmla="*/ 191834 h 731424"/>
                <a:gd name="connsiteX339" fmla="*/ 24765 w 1044701"/>
                <a:gd name="connsiteY339" fmla="*/ 190500 h 731424"/>
                <a:gd name="connsiteX340" fmla="*/ 23431 w 1044701"/>
                <a:gd name="connsiteY340" fmla="*/ 192215 h 731424"/>
                <a:gd name="connsiteX341" fmla="*/ 18288 w 1044701"/>
                <a:gd name="connsiteY341" fmla="*/ 189643 h 731424"/>
                <a:gd name="connsiteX342" fmla="*/ 18479 w 1044701"/>
                <a:gd name="connsiteY342" fmla="*/ 191262 h 731424"/>
                <a:gd name="connsiteX343" fmla="*/ 21812 w 1044701"/>
                <a:gd name="connsiteY343" fmla="*/ 192405 h 731424"/>
                <a:gd name="connsiteX344" fmla="*/ 20288 w 1044701"/>
                <a:gd name="connsiteY344" fmla="*/ 192596 h 731424"/>
                <a:gd name="connsiteX345" fmla="*/ 15145 w 1044701"/>
                <a:gd name="connsiteY345" fmla="*/ 190119 h 731424"/>
                <a:gd name="connsiteX346" fmla="*/ 11811 w 1044701"/>
                <a:gd name="connsiteY346" fmla="*/ 188881 h 731424"/>
                <a:gd name="connsiteX347" fmla="*/ 6096 w 1044701"/>
                <a:gd name="connsiteY347" fmla="*/ 194405 h 731424"/>
                <a:gd name="connsiteX348" fmla="*/ 0 w 1044701"/>
                <a:gd name="connsiteY348" fmla="*/ 196787 h 731424"/>
                <a:gd name="connsiteX349" fmla="*/ 5334 w 1044701"/>
                <a:gd name="connsiteY349" fmla="*/ 200977 h 731424"/>
                <a:gd name="connsiteX350" fmla="*/ 5715 w 1044701"/>
                <a:gd name="connsiteY350" fmla="*/ 204121 h 731424"/>
                <a:gd name="connsiteX351" fmla="*/ 7239 w 1044701"/>
                <a:gd name="connsiteY351" fmla="*/ 203930 h 731424"/>
                <a:gd name="connsiteX352" fmla="*/ 8096 w 1044701"/>
                <a:gd name="connsiteY352" fmla="*/ 210217 h 731424"/>
                <a:gd name="connsiteX353" fmla="*/ 11621 w 1044701"/>
                <a:gd name="connsiteY353" fmla="*/ 212979 h 731424"/>
                <a:gd name="connsiteX354" fmla="*/ 13240 w 1044701"/>
                <a:gd name="connsiteY354" fmla="*/ 212789 h 731424"/>
                <a:gd name="connsiteX355" fmla="*/ 11811 w 1044701"/>
                <a:gd name="connsiteY355" fmla="*/ 214598 h 731424"/>
                <a:gd name="connsiteX356" fmla="*/ 14954 w 1044701"/>
                <a:gd name="connsiteY356" fmla="*/ 214122 h 731424"/>
                <a:gd name="connsiteX357" fmla="*/ 15430 w 1044701"/>
                <a:gd name="connsiteY357" fmla="*/ 217265 h 731424"/>
                <a:gd name="connsiteX358" fmla="*/ 20574 w 1044701"/>
                <a:gd name="connsiteY358" fmla="*/ 219837 h 731424"/>
                <a:gd name="connsiteX359" fmla="*/ 25717 w 1044701"/>
                <a:gd name="connsiteY359" fmla="*/ 222409 h 731424"/>
                <a:gd name="connsiteX360" fmla="*/ 27432 w 1044701"/>
                <a:gd name="connsiteY360" fmla="*/ 223838 h 731424"/>
                <a:gd name="connsiteX361" fmla="*/ 31623 w 1044701"/>
                <a:gd name="connsiteY361" fmla="*/ 218504 h 731424"/>
                <a:gd name="connsiteX362" fmla="*/ 39910 w 1044701"/>
                <a:gd name="connsiteY362" fmla="*/ 220599 h 731424"/>
                <a:gd name="connsiteX363" fmla="*/ 38481 w 1044701"/>
                <a:gd name="connsiteY363" fmla="*/ 222409 h 731424"/>
                <a:gd name="connsiteX364" fmla="*/ 36767 w 1044701"/>
                <a:gd name="connsiteY364" fmla="*/ 220980 h 731424"/>
                <a:gd name="connsiteX365" fmla="*/ 40481 w 1044701"/>
                <a:gd name="connsiteY365" fmla="*/ 225362 h 731424"/>
                <a:gd name="connsiteX366" fmla="*/ 43434 w 1044701"/>
                <a:gd name="connsiteY366" fmla="*/ 223361 h 731424"/>
                <a:gd name="connsiteX367" fmla="*/ 48577 w 1044701"/>
                <a:gd name="connsiteY367" fmla="*/ 225933 h 731424"/>
                <a:gd name="connsiteX368" fmla="*/ 44196 w 1044701"/>
                <a:gd name="connsiteY368" fmla="*/ 229648 h 731424"/>
                <a:gd name="connsiteX369" fmla="*/ 41053 w 1044701"/>
                <a:gd name="connsiteY369" fmla="*/ 230029 h 731424"/>
                <a:gd name="connsiteX370" fmla="*/ 43053 w 1044701"/>
                <a:gd name="connsiteY370" fmla="*/ 232981 h 731424"/>
                <a:gd name="connsiteX371" fmla="*/ 46387 w 1044701"/>
                <a:gd name="connsiteY371" fmla="*/ 234220 h 731424"/>
                <a:gd name="connsiteX372" fmla="*/ 49625 w 1044701"/>
                <a:gd name="connsiteY372" fmla="*/ 233839 h 731424"/>
                <a:gd name="connsiteX373" fmla="*/ 49816 w 1044701"/>
                <a:gd name="connsiteY373" fmla="*/ 235363 h 731424"/>
                <a:gd name="connsiteX374" fmla="*/ 51149 w 1044701"/>
                <a:gd name="connsiteY374" fmla="*/ 233648 h 731424"/>
                <a:gd name="connsiteX375" fmla="*/ 52959 w 1044701"/>
                <a:gd name="connsiteY375" fmla="*/ 234982 h 731424"/>
                <a:gd name="connsiteX376" fmla="*/ 58102 w 1044701"/>
                <a:gd name="connsiteY376" fmla="*/ 237554 h 731424"/>
                <a:gd name="connsiteX377" fmla="*/ 65342 w 1044701"/>
                <a:gd name="connsiteY377" fmla="*/ 231839 h 731424"/>
                <a:gd name="connsiteX378" fmla="*/ 67151 w 1044701"/>
                <a:gd name="connsiteY378" fmla="*/ 233172 h 731424"/>
                <a:gd name="connsiteX379" fmla="*/ 67532 w 1044701"/>
                <a:gd name="connsiteY379" fmla="*/ 236315 h 731424"/>
                <a:gd name="connsiteX380" fmla="*/ 69342 w 1044701"/>
                <a:gd name="connsiteY380" fmla="*/ 237744 h 731424"/>
                <a:gd name="connsiteX381" fmla="*/ 66389 w 1044701"/>
                <a:gd name="connsiteY381" fmla="*/ 239649 h 731424"/>
                <a:gd name="connsiteX382" fmla="*/ 67151 w 1044701"/>
                <a:gd name="connsiteY382" fmla="*/ 246031 h 731424"/>
                <a:gd name="connsiteX383" fmla="*/ 70294 w 1044701"/>
                <a:gd name="connsiteY383" fmla="*/ 245555 h 731424"/>
                <a:gd name="connsiteX384" fmla="*/ 73819 w 1044701"/>
                <a:gd name="connsiteY384" fmla="*/ 235553 h 731424"/>
                <a:gd name="connsiteX385" fmla="*/ 75819 w 1044701"/>
                <a:gd name="connsiteY385" fmla="*/ 238506 h 731424"/>
                <a:gd name="connsiteX386" fmla="*/ 74676 w 1044701"/>
                <a:gd name="connsiteY386" fmla="*/ 241840 h 731424"/>
                <a:gd name="connsiteX387" fmla="*/ 77819 w 1044701"/>
                <a:gd name="connsiteY387" fmla="*/ 241459 h 731424"/>
                <a:gd name="connsiteX388" fmla="*/ 76867 w 1044701"/>
                <a:gd name="connsiteY388" fmla="*/ 246412 h 731424"/>
                <a:gd name="connsiteX389" fmla="*/ 77438 w 1044701"/>
                <a:gd name="connsiteY389" fmla="*/ 251079 h 731424"/>
                <a:gd name="connsiteX390" fmla="*/ 76105 w 1044701"/>
                <a:gd name="connsiteY390" fmla="*/ 252889 h 731424"/>
                <a:gd name="connsiteX391" fmla="*/ 68580 w 1044701"/>
                <a:gd name="connsiteY391" fmla="*/ 257080 h 731424"/>
                <a:gd name="connsiteX392" fmla="*/ 68771 w 1044701"/>
                <a:gd name="connsiteY392" fmla="*/ 258604 h 731424"/>
                <a:gd name="connsiteX393" fmla="*/ 70771 w 1044701"/>
                <a:gd name="connsiteY393" fmla="*/ 261556 h 731424"/>
                <a:gd name="connsiteX394" fmla="*/ 79438 w 1044701"/>
                <a:gd name="connsiteY394" fmla="*/ 266890 h 731424"/>
                <a:gd name="connsiteX395" fmla="*/ 98774 w 1044701"/>
                <a:gd name="connsiteY395" fmla="*/ 280416 h 731424"/>
                <a:gd name="connsiteX396" fmla="*/ 100203 w 1044701"/>
                <a:gd name="connsiteY396" fmla="*/ 278702 h 731424"/>
                <a:gd name="connsiteX397" fmla="*/ 103346 w 1044701"/>
                <a:gd name="connsiteY397" fmla="*/ 278225 h 731424"/>
                <a:gd name="connsiteX398" fmla="*/ 105537 w 1044701"/>
                <a:gd name="connsiteY398" fmla="*/ 282797 h 731424"/>
                <a:gd name="connsiteX399" fmla="*/ 106871 w 1044701"/>
                <a:gd name="connsiteY399" fmla="*/ 280988 h 731424"/>
                <a:gd name="connsiteX400" fmla="*/ 108680 w 1044701"/>
                <a:gd name="connsiteY400" fmla="*/ 282416 h 731424"/>
                <a:gd name="connsiteX401" fmla="*/ 110490 w 1044701"/>
                <a:gd name="connsiteY401" fmla="*/ 283750 h 731424"/>
                <a:gd name="connsiteX402" fmla="*/ 109252 w 1044701"/>
                <a:gd name="connsiteY402" fmla="*/ 287179 h 731424"/>
                <a:gd name="connsiteX403" fmla="*/ 112681 w 1044701"/>
                <a:gd name="connsiteY403" fmla="*/ 288322 h 731424"/>
                <a:gd name="connsiteX404" fmla="*/ 115443 w 1044701"/>
                <a:gd name="connsiteY404" fmla="*/ 284798 h 731424"/>
                <a:gd name="connsiteX405" fmla="*/ 119348 w 1044701"/>
                <a:gd name="connsiteY405" fmla="*/ 290703 h 731424"/>
                <a:gd name="connsiteX406" fmla="*/ 116776 w 1044701"/>
                <a:gd name="connsiteY406" fmla="*/ 295847 h 731424"/>
                <a:gd name="connsiteX407" fmla="*/ 118586 w 1044701"/>
                <a:gd name="connsiteY407" fmla="*/ 297180 h 731424"/>
                <a:gd name="connsiteX408" fmla="*/ 117634 w 1044701"/>
                <a:gd name="connsiteY408" fmla="*/ 302133 h 731424"/>
                <a:gd name="connsiteX409" fmla="*/ 119634 w 1044701"/>
                <a:gd name="connsiteY409" fmla="*/ 305086 h 731424"/>
                <a:gd name="connsiteX410" fmla="*/ 116205 w 1044701"/>
                <a:gd name="connsiteY410" fmla="*/ 303943 h 731424"/>
                <a:gd name="connsiteX411" fmla="*/ 111728 w 1044701"/>
                <a:gd name="connsiteY411" fmla="*/ 306038 h 731424"/>
                <a:gd name="connsiteX412" fmla="*/ 107537 w 1044701"/>
                <a:gd name="connsiteY412" fmla="*/ 311372 h 731424"/>
                <a:gd name="connsiteX413" fmla="*/ 117062 w 1044701"/>
                <a:gd name="connsiteY413" fmla="*/ 322993 h 731424"/>
                <a:gd name="connsiteX414" fmla="*/ 118872 w 1044701"/>
                <a:gd name="connsiteY414" fmla="*/ 324422 h 731424"/>
                <a:gd name="connsiteX415" fmla="*/ 120682 w 1044701"/>
                <a:gd name="connsiteY415" fmla="*/ 325755 h 731424"/>
                <a:gd name="connsiteX416" fmla="*/ 121063 w 1044701"/>
                <a:gd name="connsiteY416" fmla="*/ 328898 h 731424"/>
                <a:gd name="connsiteX417" fmla="*/ 119825 w 1044701"/>
                <a:gd name="connsiteY417" fmla="*/ 332327 h 731424"/>
                <a:gd name="connsiteX418" fmla="*/ 118491 w 1044701"/>
                <a:gd name="connsiteY418" fmla="*/ 334042 h 731424"/>
                <a:gd name="connsiteX419" fmla="*/ 114967 w 1044701"/>
                <a:gd name="connsiteY419" fmla="*/ 331280 h 731424"/>
                <a:gd name="connsiteX420" fmla="*/ 115919 w 1044701"/>
                <a:gd name="connsiteY420" fmla="*/ 339185 h 731424"/>
                <a:gd name="connsiteX421" fmla="*/ 114395 w 1044701"/>
                <a:gd name="connsiteY421" fmla="*/ 339376 h 731424"/>
                <a:gd name="connsiteX422" fmla="*/ 113347 w 1044701"/>
                <a:gd name="connsiteY422" fmla="*/ 344329 h 731424"/>
                <a:gd name="connsiteX423" fmla="*/ 111823 w 1044701"/>
                <a:gd name="connsiteY423" fmla="*/ 344519 h 731424"/>
                <a:gd name="connsiteX424" fmla="*/ 112014 w 1044701"/>
                <a:gd name="connsiteY424" fmla="*/ 346139 h 731424"/>
                <a:gd name="connsiteX425" fmla="*/ 106680 w 1044701"/>
                <a:gd name="connsiteY425" fmla="*/ 354806 h 731424"/>
                <a:gd name="connsiteX426" fmla="*/ 110300 w 1044701"/>
                <a:gd name="connsiteY426" fmla="*/ 357569 h 731424"/>
                <a:gd name="connsiteX427" fmla="*/ 107251 w 1044701"/>
                <a:gd name="connsiteY427" fmla="*/ 359569 h 731424"/>
                <a:gd name="connsiteX428" fmla="*/ 98012 w 1044701"/>
                <a:gd name="connsiteY428" fmla="*/ 362331 h 731424"/>
                <a:gd name="connsiteX429" fmla="*/ 96488 w 1044701"/>
                <a:gd name="connsiteY429" fmla="*/ 362522 h 731424"/>
                <a:gd name="connsiteX430" fmla="*/ 96869 w 1044701"/>
                <a:gd name="connsiteY430" fmla="*/ 365665 h 731424"/>
                <a:gd name="connsiteX431" fmla="*/ 96869 w 1044701"/>
                <a:gd name="connsiteY431" fmla="*/ 365665 h 731424"/>
                <a:gd name="connsiteX432" fmla="*/ 95726 w 1044701"/>
                <a:gd name="connsiteY432" fmla="*/ 369094 h 731424"/>
                <a:gd name="connsiteX433" fmla="*/ 100775 w 1044701"/>
                <a:gd name="connsiteY433" fmla="*/ 371570 h 731424"/>
                <a:gd name="connsiteX434" fmla="*/ 100013 w 1044701"/>
                <a:gd name="connsiteY434" fmla="*/ 378143 h 731424"/>
                <a:gd name="connsiteX435" fmla="*/ 99060 w 1044701"/>
                <a:gd name="connsiteY435" fmla="*/ 383095 h 731424"/>
                <a:gd name="connsiteX436" fmla="*/ 100870 w 1044701"/>
                <a:gd name="connsiteY436" fmla="*/ 384429 h 731424"/>
                <a:gd name="connsiteX437" fmla="*/ 100108 w 1044701"/>
                <a:gd name="connsiteY437" fmla="*/ 390906 h 731424"/>
                <a:gd name="connsiteX438" fmla="*/ 98488 w 1044701"/>
                <a:gd name="connsiteY438" fmla="*/ 391192 h 731424"/>
                <a:gd name="connsiteX439" fmla="*/ 96488 w 1044701"/>
                <a:gd name="connsiteY439" fmla="*/ 388239 h 731424"/>
                <a:gd name="connsiteX440" fmla="*/ 93917 w 1044701"/>
                <a:gd name="connsiteY440" fmla="*/ 393287 h 731424"/>
                <a:gd name="connsiteX441" fmla="*/ 97536 w 1044701"/>
                <a:gd name="connsiteY441" fmla="*/ 396049 h 731424"/>
                <a:gd name="connsiteX442" fmla="*/ 98298 w 1044701"/>
                <a:gd name="connsiteY442" fmla="*/ 402431 h 731424"/>
                <a:gd name="connsiteX443" fmla="*/ 95155 w 1044701"/>
                <a:gd name="connsiteY443" fmla="*/ 402812 h 731424"/>
                <a:gd name="connsiteX444" fmla="*/ 105823 w 1044701"/>
                <a:gd name="connsiteY444" fmla="*/ 411099 h 731424"/>
                <a:gd name="connsiteX445" fmla="*/ 110966 w 1044701"/>
                <a:gd name="connsiteY445" fmla="*/ 413576 h 731424"/>
                <a:gd name="connsiteX446" fmla="*/ 114776 w 1044701"/>
                <a:gd name="connsiteY446" fmla="*/ 417957 h 731424"/>
                <a:gd name="connsiteX447" fmla="*/ 118491 w 1044701"/>
                <a:gd name="connsiteY447" fmla="*/ 422243 h 731424"/>
                <a:gd name="connsiteX448" fmla="*/ 122015 w 1044701"/>
                <a:gd name="connsiteY448" fmla="*/ 425006 h 731424"/>
                <a:gd name="connsiteX449" fmla="*/ 128588 w 1044701"/>
                <a:gd name="connsiteY449" fmla="*/ 425768 h 731424"/>
                <a:gd name="connsiteX450" fmla="*/ 137827 w 1044701"/>
                <a:gd name="connsiteY450" fmla="*/ 435864 h 731424"/>
                <a:gd name="connsiteX451" fmla="*/ 142589 w 1044701"/>
                <a:gd name="connsiteY451" fmla="*/ 435293 h 731424"/>
                <a:gd name="connsiteX452" fmla="*/ 142970 w 1044701"/>
                <a:gd name="connsiteY452" fmla="*/ 438436 h 731424"/>
                <a:gd name="connsiteX453" fmla="*/ 144971 w 1044701"/>
                <a:gd name="connsiteY453" fmla="*/ 441389 h 731424"/>
                <a:gd name="connsiteX454" fmla="*/ 151257 w 1044701"/>
                <a:gd name="connsiteY454" fmla="*/ 440531 h 731424"/>
                <a:gd name="connsiteX455" fmla="*/ 150304 w 1044701"/>
                <a:gd name="connsiteY455" fmla="*/ 445484 h 731424"/>
                <a:gd name="connsiteX456" fmla="*/ 150495 w 1044701"/>
                <a:gd name="connsiteY456" fmla="*/ 447103 h 731424"/>
                <a:gd name="connsiteX457" fmla="*/ 154305 w 1044701"/>
                <a:gd name="connsiteY457" fmla="*/ 451390 h 731424"/>
                <a:gd name="connsiteX458" fmla="*/ 157448 w 1044701"/>
                <a:gd name="connsiteY458" fmla="*/ 451009 h 731424"/>
                <a:gd name="connsiteX459" fmla="*/ 159258 w 1044701"/>
                <a:gd name="connsiteY459" fmla="*/ 452342 h 731424"/>
                <a:gd name="connsiteX460" fmla="*/ 162401 w 1044701"/>
                <a:gd name="connsiteY460" fmla="*/ 451961 h 731424"/>
                <a:gd name="connsiteX461" fmla="*/ 160972 w 1044701"/>
                <a:gd name="connsiteY461" fmla="*/ 453771 h 731424"/>
                <a:gd name="connsiteX462" fmla="*/ 163163 w 1044701"/>
                <a:gd name="connsiteY462" fmla="*/ 458248 h 731424"/>
                <a:gd name="connsiteX463" fmla="*/ 160401 w 1044701"/>
                <a:gd name="connsiteY463" fmla="*/ 461867 h 731424"/>
                <a:gd name="connsiteX464" fmla="*/ 162401 w 1044701"/>
                <a:gd name="connsiteY464" fmla="*/ 464820 h 731424"/>
                <a:gd name="connsiteX465" fmla="*/ 163354 w 1044701"/>
                <a:gd name="connsiteY465" fmla="*/ 459867 h 731424"/>
                <a:gd name="connsiteX466" fmla="*/ 163735 w 1044701"/>
                <a:gd name="connsiteY466" fmla="*/ 463010 h 731424"/>
                <a:gd name="connsiteX467" fmla="*/ 166497 w 1044701"/>
                <a:gd name="connsiteY467" fmla="*/ 459486 h 731424"/>
                <a:gd name="connsiteX468" fmla="*/ 168497 w 1044701"/>
                <a:gd name="connsiteY468" fmla="*/ 462439 h 731424"/>
                <a:gd name="connsiteX469" fmla="*/ 171450 w 1044701"/>
                <a:gd name="connsiteY469" fmla="*/ 460439 h 731424"/>
                <a:gd name="connsiteX470" fmla="*/ 174784 w 1044701"/>
                <a:gd name="connsiteY470" fmla="*/ 461582 h 731424"/>
                <a:gd name="connsiteX471" fmla="*/ 181165 w 1044701"/>
                <a:gd name="connsiteY471" fmla="*/ 460819 h 731424"/>
                <a:gd name="connsiteX472" fmla="*/ 181356 w 1044701"/>
                <a:gd name="connsiteY472" fmla="*/ 462344 h 731424"/>
                <a:gd name="connsiteX473" fmla="*/ 184499 w 1044701"/>
                <a:gd name="connsiteY473" fmla="*/ 461963 h 731424"/>
                <a:gd name="connsiteX474" fmla="*/ 184309 w 1044701"/>
                <a:gd name="connsiteY474" fmla="*/ 460439 h 731424"/>
                <a:gd name="connsiteX475" fmla="*/ 189071 w 1044701"/>
                <a:gd name="connsiteY475" fmla="*/ 459772 h 731424"/>
                <a:gd name="connsiteX476" fmla="*/ 188595 w 1044701"/>
                <a:gd name="connsiteY476" fmla="*/ 456628 h 731424"/>
                <a:gd name="connsiteX477" fmla="*/ 194977 w 1044701"/>
                <a:gd name="connsiteY477" fmla="*/ 455867 h 731424"/>
                <a:gd name="connsiteX478" fmla="*/ 193738 w 1044701"/>
                <a:gd name="connsiteY478" fmla="*/ 459200 h 731424"/>
                <a:gd name="connsiteX479" fmla="*/ 197929 w 1044701"/>
                <a:gd name="connsiteY479" fmla="*/ 466725 h 731424"/>
                <a:gd name="connsiteX480" fmla="*/ 199263 w 1044701"/>
                <a:gd name="connsiteY480" fmla="*/ 464915 h 731424"/>
                <a:gd name="connsiteX481" fmla="*/ 201073 w 1044701"/>
                <a:gd name="connsiteY481" fmla="*/ 466249 h 731424"/>
                <a:gd name="connsiteX482" fmla="*/ 207359 w 1044701"/>
                <a:gd name="connsiteY482" fmla="*/ 465487 h 731424"/>
                <a:gd name="connsiteX483" fmla="*/ 207931 w 1044701"/>
                <a:gd name="connsiteY483" fmla="*/ 457390 h 731424"/>
                <a:gd name="connsiteX484" fmla="*/ 210693 w 1044701"/>
                <a:gd name="connsiteY484" fmla="*/ 453866 h 731424"/>
                <a:gd name="connsiteX485" fmla="*/ 214694 w 1044701"/>
                <a:gd name="connsiteY485" fmla="*/ 459772 h 731424"/>
                <a:gd name="connsiteX486" fmla="*/ 216503 w 1044701"/>
                <a:gd name="connsiteY486" fmla="*/ 461105 h 731424"/>
                <a:gd name="connsiteX487" fmla="*/ 219646 w 1044701"/>
                <a:gd name="connsiteY487" fmla="*/ 460724 h 731424"/>
                <a:gd name="connsiteX488" fmla="*/ 219837 w 1044701"/>
                <a:gd name="connsiteY488" fmla="*/ 462344 h 731424"/>
                <a:gd name="connsiteX489" fmla="*/ 227743 w 1044701"/>
                <a:gd name="connsiteY489" fmla="*/ 461296 h 731424"/>
                <a:gd name="connsiteX490" fmla="*/ 229648 w 1044701"/>
                <a:gd name="connsiteY490" fmla="*/ 464248 h 731424"/>
                <a:gd name="connsiteX491" fmla="*/ 226504 w 1044701"/>
                <a:gd name="connsiteY491" fmla="*/ 464630 h 731424"/>
                <a:gd name="connsiteX492" fmla="*/ 226886 w 1044701"/>
                <a:gd name="connsiteY492" fmla="*/ 467773 h 731424"/>
                <a:gd name="connsiteX493" fmla="*/ 230696 w 1044701"/>
                <a:gd name="connsiteY493" fmla="*/ 472154 h 731424"/>
                <a:gd name="connsiteX494" fmla="*/ 235077 w 1044701"/>
                <a:gd name="connsiteY494" fmla="*/ 468344 h 731424"/>
                <a:gd name="connsiteX495" fmla="*/ 235648 w 1044701"/>
                <a:gd name="connsiteY495" fmla="*/ 473107 h 731424"/>
                <a:gd name="connsiteX496" fmla="*/ 240602 w 1044701"/>
                <a:gd name="connsiteY496" fmla="*/ 474059 h 731424"/>
                <a:gd name="connsiteX497" fmla="*/ 244697 w 1044701"/>
                <a:gd name="connsiteY497" fmla="*/ 468725 h 731424"/>
                <a:gd name="connsiteX498" fmla="*/ 243554 w 1044701"/>
                <a:gd name="connsiteY498" fmla="*/ 472059 h 731424"/>
                <a:gd name="connsiteX499" fmla="*/ 246888 w 1044701"/>
                <a:gd name="connsiteY499" fmla="*/ 473297 h 731424"/>
                <a:gd name="connsiteX500" fmla="*/ 247650 w 1044701"/>
                <a:gd name="connsiteY500" fmla="*/ 479584 h 731424"/>
                <a:gd name="connsiteX501" fmla="*/ 249269 w 1044701"/>
                <a:gd name="connsiteY501" fmla="*/ 479393 h 731424"/>
                <a:gd name="connsiteX502" fmla="*/ 251079 w 1044701"/>
                <a:gd name="connsiteY502" fmla="*/ 480727 h 731424"/>
                <a:gd name="connsiteX503" fmla="*/ 252603 w 1044701"/>
                <a:gd name="connsiteY503" fmla="*/ 480536 h 731424"/>
                <a:gd name="connsiteX504" fmla="*/ 251460 w 1044701"/>
                <a:gd name="connsiteY504" fmla="*/ 483965 h 731424"/>
                <a:gd name="connsiteX505" fmla="*/ 249841 w 1044701"/>
                <a:gd name="connsiteY505" fmla="*/ 484156 h 731424"/>
                <a:gd name="connsiteX506" fmla="*/ 251650 w 1044701"/>
                <a:gd name="connsiteY506" fmla="*/ 485489 h 731424"/>
                <a:gd name="connsiteX507" fmla="*/ 253174 w 1044701"/>
                <a:gd name="connsiteY507" fmla="*/ 485299 h 731424"/>
                <a:gd name="connsiteX508" fmla="*/ 253460 w 1044701"/>
                <a:gd name="connsiteY508" fmla="*/ 486918 h 731424"/>
                <a:gd name="connsiteX509" fmla="*/ 256413 w 1044701"/>
                <a:gd name="connsiteY509" fmla="*/ 484918 h 731424"/>
                <a:gd name="connsiteX510" fmla="*/ 258128 w 1044701"/>
                <a:gd name="connsiteY510" fmla="*/ 486251 h 731424"/>
                <a:gd name="connsiteX511" fmla="*/ 260318 w 1044701"/>
                <a:gd name="connsiteY511" fmla="*/ 490823 h 731424"/>
                <a:gd name="connsiteX512" fmla="*/ 258985 w 1044701"/>
                <a:gd name="connsiteY512" fmla="*/ 492633 h 731424"/>
                <a:gd name="connsiteX513" fmla="*/ 267462 w 1044701"/>
                <a:gd name="connsiteY513" fmla="*/ 496348 h 731424"/>
                <a:gd name="connsiteX514" fmla="*/ 267271 w 1044701"/>
                <a:gd name="connsiteY514" fmla="*/ 494728 h 731424"/>
                <a:gd name="connsiteX515" fmla="*/ 276701 w 1044701"/>
                <a:gd name="connsiteY515" fmla="*/ 493490 h 731424"/>
                <a:gd name="connsiteX516" fmla="*/ 282035 w 1044701"/>
                <a:gd name="connsiteY516" fmla="*/ 497681 h 731424"/>
                <a:gd name="connsiteX517" fmla="*/ 286798 w 1044701"/>
                <a:gd name="connsiteY517" fmla="*/ 497015 h 731424"/>
                <a:gd name="connsiteX518" fmla="*/ 291941 w 1044701"/>
                <a:gd name="connsiteY518" fmla="*/ 499586 h 731424"/>
                <a:gd name="connsiteX519" fmla="*/ 291560 w 1044701"/>
                <a:gd name="connsiteY519" fmla="*/ 496443 h 731424"/>
                <a:gd name="connsiteX520" fmla="*/ 296228 w 1044701"/>
                <a:gd name="connsiteY520" fmla="*/ 495872 h 731424"/>
                <a:gd name="connsiteX521" fmla="*/ 293941 w 1044701"/>
                <a:gd name="connsiteY521" fmla="*/ 502539 h 731424"/>
                <a:gd name="connsiteX522" fmla="*/ 290608 w 1044701"/>
                <a:gd name="connsiteY522" fmla="*/ 514255 h 731424"/>
                <a:gd name="connsiteX523" fmla="*/ 292132 w 1044701"/>
                <a:gd name="connsiteY523" fmla="*/ 514064 h 731424"/>
                <a:gd name="connsiteX524" fmla="*/ 291560 w 1044701"/>
                <a:gd name="connsiteY524" fmla="*/ 522065 h 731424"/>
                <a:gd name="connsiteX525" fmla="*/ 293561 w 1044701"/>
                <a:gd name="connsiteY525" fmla="*/ 525113 h 731424"/>
                <a:gd name="connsiteX526" fmla="*/ 296704 w 1044701"/>
                <a:gd name="connsiteY526" fmla="*/ 524637 h 731424"/>
                <a:gd name="connsiteX527" fmla="*/ 301085 w 1044701"/>
                <a:gd name="connsiteY527" fmla="*/ 520922 h 731424"/>
                <a:gd name="connsiteX528" fmla="*/ 302800 w 1044701"/>
                <a:gd name="connsiteY528" fmla="*/ 522256 h 731424"/>
                <a:gd name="connsiteX529" fmla="*/ 302609 w 1044701"/>
                <a:gd name="connsiteY529" fmla="*/ 520732 h 731424"/>
                <a:gd name="connsiteX530" fmla="*/ 305562 w 1044701"/>
                <a:gd name="connsiteY530" fmla="*/ 518732 h 731424"/>
                <a:gd name="connsiteX531" fmla="*/ 309372 w 1044701"/>
                <a:gd name="connsiteY531" fmla="*/ 523018 h 731424"/>
                <a:gd name="connsiteX532" fmla="*/ 313849 w 1044701"/>
                <a:gd name="connsiteY532" fmla="*/ 520827 h 731424"/>
                <a:gd name="connsiteX533" fmla="*/ 315849 w 1044701"/>
                <a:gd name="connsiteY533" fmla="*/ 523875 h 731424"/>
                <a:gd name="connsiteX534" fmla="*/ 320992 w 1044701"/>
                <a:gd name="connsiteY534" fmla="*/ 526352 h 731424"/>
                <a:gd name="connsiteX535" fmla="*/ 321183 w 1044701"/>
                <a:gd name="connsiteY535" fmla="*/ 527971 h 731424"/>
                <a:gd name="connsiteX536" fmla="*/ 324326 w 1044701"/>
                <a:gd name="connsiteY536" fmla="*/ 527590 h 731424"/>
                <a:gd name="connsiteX537" fmla="*/ 330708 w 1044701"/>
                <a:gd name="connsiteY537" fmla="*/ 539591 h 731424"/>
                <a:gd name="connsiteX538" fmla="*/ 342138 w 1044701"/>
                <a:gd name="connsiteY538" fmla="*/ 541306 h 731424"/>
                <a:gd name="connsiteX539" fmla="*/ 344329 w 1044701"/>
                <a:gd name="connsiteY539" fmla="*/ 545878 h 731424"/>
                <a:gd name="connsiteX540" fmla="*/ 350234 w 1044701"/>
                <a:gd name="connsiteY540" fmla="*/ 541877 h 731424"/>
                <a:gd name="connsiteX541" fmla="*/ 354521 w 1044701"/>
                <a:gd name="connsiteY541" fmla="*/ 538163 h 731424"/>
                <a:gd name="connsiteX542" fmla="*/ 354616 w 1044701"/>
                <a:gd name="connsiteY542" fmla="*/ 550926 h 731424"/>
                <a:gd name="connsiteX543" fmla="*/ 350044 w 1044701"/>
                <a:gd name="connsiteY543" fmla="*/ 553117 h 731424"/>
                <a:gd name="connsiteX544" fmla="*/ 343567 w 1044701"/>
                <a:gd name="connsiteY544" fmla="*/ 565214 h 731424"/>
                <a:gd name="connsiteX545" fmla="*/ 349282 w 1044701"/>
                <a:gd name="connsiteY545" fmla="*/ 572453 h 731424"/>
                <a:gd name="connsiteX546" fmla="*/ 348139 w 1044701"/>
                <a:gd name="connsiteY546" fmla="*/ 575882 h 731424"/>
                <a:gd name="connsiteX547" fmla="*/ 358807 w 1044701"/>
                <a:gd name="connsiteY547" fmla="*/ 584073 h 731424"/>
                <a:gd name="connsiteX548" fmla="*/ 366713 w 1044701"/>
                <a:gd name="connsiteY548" fmla="*/ 583120 h 731424"/>
                <a:gd name="connsiteX549" fmla="*/ 377190 w 1044701"/>
                <a:gd name="connsiteY549" fmla="*/ 589788 h 731424"/>
                <a:gd name="connsiteX550" fmla="*/ 382143 w 1044701"/>
                <a:gd name="connsiteY550" fmla="*/ 590740 h 731424"/>
                <a:gd name="connsiteX551" fmla="*/ 382333 w 1044701"/>
                <a:gd name="connsiteY551" fmla="*/ 592360 h 731424"/>
                <a:gd name="connsiteX552" fmla="*/ 384143 w 1044701"/>
                <a:gd name="connsiteY552" fmla="*/ 593693 h 731424"/>
                <a:gd name="connsiteX553" fmla="*/ 393382 w 1044701"/>
                <a:gd name="connsiteY553" fmla="*/ 603790 h 731424"/>
                <a:gd name="connsiteX554" fmla="*/ 396526 w 1044701"/>
                <a:gd name="connsiteY554" fmla="*/ 603314 h 731424"/>
                <a:gd name="connsiteX555" fmla="*/ 399479 w 1044701"/>
                <a:gd name="connsiteY555" fmla="*/ 601409 h 731424"/>
                <a:gd name="connsiteX556" fmla="*/ 404241 w 1044701"/>
                <a:gd name="connsiteY556" fmla="*/ 600742 h 731424"/>
                <a:gd name="connsiteX557" fmla="*/ 409384 w 1044701"/>
                <a:gd name="connsiteY557" fmla="*/ 603314 h 731424"/>
                <a:gd name="connsiteX558" fmla="*/ 414147 w 1044701"/>
                <a:gd name="connsiteY558" fmla="*/ 602742 h 731424"/>
                <a:gd name="connsiteX559" fmla="*/ 413956 w 1044701"/>
                <a:gd name="connsiteY559" fmla="*/ 601123 h 731424"/>
                <a:gd name="connsiteX560" fmla="*/ 421577 w 1044701"/>
                <a:gd name="connsiteY560" fmla="*/ 598551 h 731424"/>
                <a:gd name="connsiteX561" fmla="*/ 416623 w 1044701"/>
                <a:gd name="connsiteY561" fmla="*/ 584740 h 731424"/>
                <a:gd name="connsiteX562" fmla="*/ 428054 w 1044701"/>
                <a:gd name="connsiteY562" fmla="*/ 586549 h 731424"/>
                <a:gd name="connsiteX563" fmla="*/ 429482 w 1044701"/>
                <a:gd name="connsiteY563" fmla="*/ 584740 h 731424"/>
                <a:gd name="connsiteX564" fmla="*/ 431006 w 1044701"/>
                <a:gd name="connsiteY564" fmla="*/ 584549 h 731424"/>
                <a:gd name="connsiteX565" fmla="*/ 428244 w 1044701"/>
                <a:gd name="connsiteY565" fmla="*/ 575215 h 731424"/>
                <a:gd name="connsiteX566" fmla="*/ 430244 w 1044701"/>
                <a:gd name="connsiteY566" fmla="*/ 565404 h 731424"/>
                <a:gd name="connsiteX567" fmla="*/ 445961 w 1044701"/>
                <a:gd name="connsiteY567" fmla="*/ 550545 h 731424"/>
                <a:gd name="connsiteX568" fmla="*/ 446722 w 1044701"/>
                <a:gd name="connsiteY568" fmla="*/ 544068 h 731424"/>
                <a:gd name="connsiteX569" fmla="*/ 451485 w 1044701"/>
                <a:gd name="connsiteY569" fmla="*/ 543401 h 731424"/>
                <a:gd name="connsiteX570" fmla="*/ 453485 w 1044701"/>
                <a:gd name="connsiteY570" fmla="*/ 546354 h 731424"/>
                <a:gd name="connsiteX571" fmla="*/ 456438 w 1044701"/>
                <a:gd name="connsiteY571" fmla="*/ 544449 h 731424"/>
                <a:gd name="connsiteX572" fmla="*/ 455200 w 1044701"/>
                <a:gd name="connsiteY572" fmla="*/ 547783 h 731424"/>
                <a:gd name="connsiteX573" fmla="*/ 453866 w 1044701"/>
                <a:gd name="connsiteY573" fmla="*/ 549593 h 731424"/>
                <a:gd name="connsiteX574" fmla="*/ 456057 w 1044701"/>
                <a:gd name="connsiteY574" fmla="*/ 554069 h 731424"/>
                <a:gd name="connsiteX575" fmla="*/ 454438 w 1044701"/>
                <a:gd name="connsiteY575" fmla="*/ 554260 h 731424"/>
                <a:gd name="connsiteX576" fmla="*/ 455105 w 1044701"/>
                <a:gd name="connsiteY576" fmla="*/ 559022 h 731424"/>
                <a:gd name="connsiteX577" fmla="*/ 464153 w 1044701"/>
                <a:gd name="connsiteY577" fmla="*/ 567499 h 731424"/>
                <a:gd name="connsiteX578" fmla="*/ 469106 w 1044701"/>
                <a:gd name="connsiteY578" fmla="*/ 568452 h 731424"/>
                <a:gd name="connsiteX579" fmla="*/ 473773 w 1044701"/>
                <a:gd name="connsiteY579" fmla="*/ 567881 h 731424"/>
                <a:gd name="connsiteX580" fmla="*/ 475774 w 1044701"/>
                <a:gd name="connsiteY580" fmla="*/ 570833 h 731424"/>
                <a:gd name="connsiteX581" fmla="*/ 482537 w 1044701"/>
                <a:gd name="connsiteY581" fmla="*/ 573119 h 731424"/>
                <a:gd name="connsiteX582" fmla="*/ 484251 w 1044701"/>
                <a:gd name="connsiteY582" fmla="*/ 574548 h 731424"/>
                <a:gd name="connsiteX583" fmla="*/ 486823 w 1044701"/>
                <a:gd name="connsiteY583" fmla="*/ 569405 h 731424"/>
                <a:gd name="connsiteX584" fmla="*/ 490252 w 1044701"/>
                <a:gd name="connsiteY584" fmla="*/ 570548 h 731424"/>
                <a:gd name="connsiteX585" fmla="*/ 493395 w 1044701"/>
                <a:gd name="connsiteY585" fmla="*/ 570167 h 731424"/>
                <a:gd name="connsiteX586" fmla="*/ 498538 w 1044701"/>
                <a:gd name="connsiteY586" fmla="*/ 572738 h 731424"/>
                <a:gd name="connsiteX587" fmla="*/ 500063 w 1044701"/>
                <a:gd name="connsiteY587" fmla="*/ 572548 h 731424"/>
                <a:gd name="connsiteX588" fmla="*/ 503872 w 1044701"/>
                <a:gd name="connsiteY588" fmla="*/ 576834 h 731424"/>
                <a:gd name="connsiteX589" fmla="*/ 507397 w 1044701"/>
                <a:gd name="connsiteY589" fmla="*/ 579596 h 731424"/>
                <a:gd name="connsiteX590" fmla="*/ 507587 w 1044701"/>
                <a:gd name="connsiteY590" fmla="*/ 581215 h 731424"/>
                <a:gd name="connsiteX591" fmla="*/ 513112 w 1044701"/>
                <a:gd name="connsiteY591" fmla="*/ 586931 h 731424"/>
                <a:gd name="connsiteX592" fmla="*/ 516541 w 1044701"/>
                <a:gd name="connsiteY592" fmla="*/ 600932 h 731424"/>
                <a:gd name="connsiteX593" fmla="*/ 522065 w 1044701"/>
                <a:gd name="connsiteY593" fmla="*/ 606647 h 731424"/>
                <a:gd name="connsiteX594" fmla="*/ 526161 w 1044701"/>
                <a:gd name="connsiteY594" fmla="*/ 601313 h 731424"/>
                <a:gd name="connsiteX595" fmla="*/ 529590 w 1044701"/>
                <a:gd name="connsiteY595" fmla="*/ 602456 h 731424"/>
                <a:gd name="connsiteX596" fmla="*/ 529399 w 1044701"/>
                <a:gd name="connsiteY596" fmla="*/ 600837 h 731424"/>
                <a:gd name="connsiteX597" fmla="*/ 539210 w 1044701"/>
                <a:gd name="connsiteY597" fmla="*/ 602837 h 731424"/>
                <a:gd name="connsiteX598" fmla="*/ 548069 w 1044701"/>
                <a:gd name="connsiteY598" fmla="*/ 596836 h 731424"/>
                <a:gd name="connsiteX599" fmla="*/ 551879 w 1044701"/>
                <a:gd name="connsiteY599" fmla="*/ 601218 h 731424"/>
                <a:gd name="connsiteX600" fmla="*/ 555784 w 1044701"/>
                <a:gd name="connsiteY600" fmla="*/ 607124 h 731424"/>
                <a:gd name="connsiteX601" fmla="*/ 554641 w 1044701"/>
                <a:gd name="connsiteY601" fmla="*/ 610457 h 731424"/>
                <a:gd name="connsiteX602" fmla="*/ 557974 w 1044701"/>
                <a:gd name="connsiteY602" fmla="*/ 611695 h 731424"/>
                <a:gd name="connsiteX603" fmla="*/ 562356 w 1044701"/>
                <a:gd name="connsiteY603" fmla="*/ 607886 h 731424"/>
                <a:gd name="connsiteX604" fmla="*/ 568642 w 1044701"/>
                <a:gd name="connsiteY604" fmla="*/ 607124 h 731424"/>
                <a:gd name="connsiteX605" fmla="*/ 572357 w 1044701"/>
                <a:gd name="connsiteY605" fmla="*/ 611410 h 731424"/>
                <a:gd name="connsiteX606" fmla="*/ 579501 w 1044701"/>
                <a:gd name="connsiteY606" fmla="*/ 616934 h 731424"/>
                <a:gd name="connsiteX607" fmla="*/ 582644 w 1044701"/>
                <a:gd name="connsiteY607" fmla="*/ 616553 h 731424"/>
                <a:gd name="connsiteX608" fmla="*/ 583692 w 1044701"/>
                <a:gd name="connsiteY608" fmla="*/ 611600 h 731424"/>
                <a:gd name="connsiteX609" fmla="*/ 586835 w 1044701"/>
                <a:gd name="connsiteY609" fmla="*/ 611219 h 731424"/>
                <a:gd name="connsiteX610" fmla="*/ 589216 w 1044701"/>
                <a:gd name="connsiteY610" fmla="*/ 617315 h 731424"/>
                <a:gd name="connsiteX611" fmla="*/ 594550 w 1044701"/>
                <a:gd name="connsiteY611" fmla="*/ 621411 h 731424"/>
                <a:gd name="connsiteX612" fmla="*/ 594931 w 1044701"/>
                <a:gd name="connsiteY612" fmla="*/ 624554 h 731424"/>
                <a:gd name="connsiteX613" fmla="*/ 599694 w 1044701"/>
                <a:gd name="connsiteY613" fmla="*/ 623983 h 731424"/>
                <a:gd name="connsiteX614" fmla="*/ 601408 w 1044701"/>
                <a:gd name="connsiteY614" fmla="*/ 625316 h 731424"/>
                <a:gd name="connsiteX615" fmla="*/ 602837 w 1044701"/>
                <a:gd name="connsiteY615" fmla="*/ 623602 h 731424"/>
                <a:gd name="connsiteX616" fmla="*/ 609695 w 1044701"/>
                <a:gd name="connsiteY616" fmla="*/ 627507 h 731424"/>
                <a:gd name="connsiteX617" fmla="*/ 617982 w 1044701"/>
                <a:gd name="connsiteY617" fmla="*/ 629698 h 731424"/>
                <a:gd name="connsiteX618" fmla="*/ 621792 w 1044701"/>
                <a:gd name="connsiteY618" fmla="*/ 633984 h 731424"/>
                <a:gd name="connsiteX619" fmla="*/ 631507 w 1044701"/>
                <a:gd name="connsiteY619" fmla="*/ 647224 h 731424"/>
                <a:gd name="connsiteX620" fmla="*/ 637222 w 1044701"/>
                <a:gd name="connsiteY620" fmla="*/ 654463 h 731424"/>
                <a:gd name="connsiteX621" fmla="*/ 642366 w 1044701"/>
                <a:gd name="connsiteY621" fmla="*/ 657035 h 731424"/>
                <a:gd name="connsiteX622" fmla="*/ 640366 w 1044701"/>
                <a:gd name="connsiteY622" fmla="*/ 666940 h 731424"/>
                <a:gd name="connsiteX623" fmla="*/ 647129 w 1044701"/>
                <a:gd name="connsiteY623" fmla="*/ 669227 h 731424"/>
                <a:gd name="connsiteX624" fmla="*/ 650653 w 1044701"/>
                <a:gd name="connsiteY624" fmla="*/ 671989 h 731424"/>
                <a:gd name="connsiteX625" fmla="*/ 653034 w 1044701"/>
                <a:gd name="connsiteY625" fmla="*/ 678085 h 731424"/>
                <a:gd name="connsiteX626" fmla="*/ 657987 w 1044701"/>
                <a:gd name="connsiteY626" fmla="*/ 679132 h 731424"/>
                <a:gd name="connsiteX627" fmla="*/ 661130 w 1044701"/>
                <a:gd name="connsiteY627" fmla="*/ 678656 h 731424"/>
                <a:gd name="connsiteX628" fmla="*/ 663702 w 1044701"/>
                <a:gd name="connsiteY628" fmla="*/ 673513 h 731424"/>
                <a:gd name="connsiteX629" fmla="*/ 670846 w 1044701"/>
                <a:gd name="connsiteY629" fmla="*/ 679037 h 731424"/>
                <a:gd name="connsiteX630" fmla="*/ 673798 w 1044701"/>
                <a:gd name="connsiteY630" fmla="*/ 677037 h 731424"/>
                <a:gd name="connsiteX631" fmla="*/ 682657 w 1044701"/>
                <a:gd name="connsiteY631" fmla="*/ 683990 h 731424"/>
                <a:gd name="connsiteX632" fmla="*/ 688943 w 1044701"/>
                <a:gd name="connsiteY632" fmla="*/ 683133 h 731424"/>
                <a:gd name="connsiteX633" fmla="*/ 695706 w 1044701"/>
                <a:gd name="connsiteY633" fmla="*/ 685514 h 731424"/>
                <a:gd name="connsiteX634" fmla="*/ 698087 w 1044701"/>
                <a:gd name="connsiteY634" fmla="*/ 691610 h 731424"/>
                <a:gd name="connsiteX635" fmla="*/ 703802 w 1044701"/>
                <a:gd name="connsiteY635" fmla="*/ 698945 h 731424"/>
                <a:gd name="connsiteX636" fmla="*/ 710184 w 1044701"/>
                <a:gd name="connsiteY636" fmla="*/ 698087 h 731424"/>
                <a:gd name="connsiteX637" fmla="*/ 715708 w 1044701"/>
                <a:gd name="connsiteY637" fmla="*/ 703802 h 731424"/>
                <a:gd name="connsiteX638" fmla="*/ 716280 w 1044701"/>
                <a:gd name="connsiteY638" fmla="*/ 708565 h 731424"/>
                <a:gd name="connsiteX639" fmla="*/ 725996 w 1044701"/>
                <a:gd name="connsiteY639" fmla="*/ 721709 h 731424"/>
                <a:gd name="connsiteX640" fmla="*/ 729329 w 1044701"/>
                <a:gd name="connsiteY640" fmla="*/ 722948 h 731424"/>
                <a:gd name="connsiteX641" fmla="*/ 733330 w 1044701"/>
                <a:gd name="connsiteY641" fmla="*/ 728853 h 731424"/>
                <a:gd name="connsiteX642" fmla="*/ 738378 w 1044701"/>
                <a:gd name="connsiteY642" fmla="*/ 731425 h 731424"/>
                <a:gd name="connsiteX643" fmla="*/ 737616 w 1044701"/>
                <a:gd name="connsiteY643" fmla="*/ 725043 h 731424"/>
                <a:gd name="connsiteX644" fmla="*/ 746284 w 1044701"/>
                <a:gd name="connsiteY644" fmla="*/ 717518 h 731424"/>
                <a:gd name="connsiteX645" fmla="*/ 743712 w 1044701"/>
                <a:gd name="connsiteY645" fmla="*/ 709898 h 731424"/>
                <a:gd name="connsiteX646" fmla="*/ 744664 w 1044701"/>
                <a:gd name="connsiteY646" fmla="*/ 704945 h 731424"/>
                <a:gd name="connsiteX647" fmla="*/ 751427 w 1044701"/>
                <a:gd name="connsiteY647" fmla="*/ 707327 h 731424"/>
                <a:gd name="connsiteX648" fmla="*/ 755904 w 1044701"/>
                <a:gd name="connsiteY648" fmla="*/ 705136 h 731424"/>
                <a:gd name="connsiteX649" fmla="*/ 758476 w 1044701"/>
                <a:gd name="connsiteY649" fmla="*/ 699992 h 731424"/>
                <a:gd name="connsiteX650" fmla="*/ 760286 w 1044701"/>
                <a:gd name="connsiteY650" fmla="*/ 701326 h 731424"/>
                <a:gd name="connsiteX651" fmla="*/ 761809 w 1044701"/>
                <a:gd name="connsiteY651" fmla="*/ 701135 h 731424"/>
                <a:gd name="connsiteX652" fmla="*/ 766953 w 1044701"/>
                <a:gd name="connsiteY652" fmla="*/ 703707 h 731424"/>
                <a:gd name="connsiteX653" fmla="*/ 765048 w 1044701"/>
                <a:gd name="connsiteY653" fmla="*/ 713613 h 731424"/>
                <a:gd name="connsiteX654" fmla="*/ 768191 w 1044701"/>
                <a:gd name="connsiteY654" fmla="*/ 713137 h 731424"/>
                <a:gd name="connsiteX655" fmla="*/ 771144 w 1044701"/>
                <a:gd name="connsiteY655" fmla="*/ 711232 h 731424"/>
                <a:gd name="connsiteX656" fmla="*/ 774287 w 1044701"/>
                <a:gd name="connsiteY656" fmla="*/ 710756 h 731424"/>
                <a:gd name="connsiteX657" fmla="*/ 777240 w 1044701"/>
                <a:gd name="connsiteY657" fmla="*/ 708851 h 731424"/>
                <a:gd name="connsiteX658" fmla="*/ 783812 w 1044701"/>
                <a:gd name="connsiteY658" fmla="*/ 709613 h 731424"/>
                <a:gd name="connsiteX659" fmla="*/ 793813 w 1044701"/>
                <a:gd name="connsiteY659" fmla="*/ 700278 h 731424"/>
                <a:gd name="connsiteX660" fmla="*/ 796957 w 1044701"/>
                <a:gd name="connsiteY660" fmla="*/ 699897 h 731424"/>
                <a:gd name="connsiteX661" fmla="*/ 804481 w 1044701"/>
                <a:gd name="connsiteY661" fmla="*/ 708565 h 731424"/>
                <a:gd name="connsiteX662" fmla="*/ 806291 w 1044701"/>
                <a:gd name="connsiteY662" fmla="*/ 709898 h 731424"/>
                <a:gd name="connsiteX663" fmla="*/ 809244 w 1044701"/>
                <a:gd name="connsiteY663" fmla="*/ 707898 h 731424"/>
                <a:gd name="connsiteX664" fmla="*/ 810958 w 1044701"/>
                <a:gd name="connsiteY664" fmla="*/ 709327 h 731424"/>
                <a:gd name="connsiteX665" fmla="*/ 814388 w 1044701"/>
                <a:gd name="connsiteY665" fmla="*/ 710470 h 731424"/>
                <a:gd name="connsiteX666" fmla="*/ 813911 w 1044701"/>
                <a:gd name="connsiteY666" fmla="*/ 707327 h 731424"/>
                <a:gd name="connsiteX667" fmla="*/ 826961 w 1044701"/>
                <a:gd name="connsiteY667" fmla="*/ 708851 h 731424"/>
                <a:gd name="connsiteX668" fmla="*/ 829913 w 1044701"/>
                <a:gd name="connsiteY668" fmla="*/ 706945 h 731424"/>
                <a:gd name="connsiteX669" fmla="*/ 830294 w 1044701"/>
                <a:gd name="connsiteY669" fmla="*/ 710089 h 731424"/>
                <a:gd name="connsiteX670" fmla="*/ 833247 w 1044701"/>
                <a:gd name="connsiteY670" fmla="*/ 708089 h 731424"/>
                <a:gd name="connsiteX671" fmla="*/ 832866 w 1044701"/>
                <a:gd name="connsiteY671" fmla="*/ 704945 h 731424"/>
                <a:gd name="connsiteX672" fmla="*/ 830485 w 1044701"/>
                <a:gd name="connsiteY672" fmla="*/ 698849 h 731424"/>
                <a:gd name="connsiteX673" fmla="*/ 834390 w 1044701"/>
                <a:gd name="connsiteY673" fmla="*/ 691896 h 731424"/>
                <a:gd name="connsiteX674" fmla="*/ 834199 w 1044701"/>
                <a:gd name="connsiteY674" fmla="*/ 690277 h 731424"/>
                <a:gd name="connsiteX675" fmla="*/ 835628 w 1044701"/>
                <a:gd name="connsiteY675" fmla="*/ 688562 h 731424"/>
                <a:gd name="connsiteX676" fmla="*/ 834962 w 1044701"/>
                <a:gd name="connsiteY676" fmla="*/ 683800 h 731424"/>
                <a:gd name="connsiteX677" fmla="*/ 834009 w 1044701"/>
                <a:gd name="connsiteY677" fmla="*/ 675894 h 731424"/>
                <a:gd name="connsiteX678" fmla="*/ 838105 w 1044701"/>
                <a:gd name="connsiteY678" fmla="*/ 670560 h 731424"/>
                <a:gd name="connsiteX679" fmla="*/ 837724 w 1044701"/>
                <a:gd name="connsiteY679" fmla="*/ 667417 h 731424"/>
                <a:gd name="connsiteX680" fmla="*/ 840677 w 1044701"/>
                <a:gd name="connsiteY680" fmla="*/ 665417 h 731424"/>
                <a:gd name="connsiteX681" fmla="*/ 845439 w 1044701"/>
                <a:gd name="connsiteY681" fmla="*/ 664845 h 731424"/>
                <a:gd name="connsiteX682" fmla="*/ 848963 w 1044701"/>
                <a:gd name="connsiteY682" fmla="*/ 667607 h 731424"/>
                <a:gd name="connsiteX683" fmla="*/ 850582 w 1044701"/>
                <a:gd name="connsiteY683" fmla="*/ 667417 h 731424"/>
                <a:gd name="connsiteX684" fmla="*/ 854869 w 1044701"/>
                <a:gd name="connsiteY684" fmla="*/ 663607 h 731424"/>
                <a:gd name="connsiteX685" fmla="*/ 855536 w 1044701"/>
                <a:gd name="connsiteY685" fmla="*/ 668369 h 731424"/>
                <a:gd name="connsiteX686" fmla="*/ 862394 w 1044701"/>
                <a:gd name="connsiteY686" fmla="*/ 672274 h 731424"/>
                <a:gd name="connsiteX687" fmla="*/ 866775 w 1044701"/>
                <a:gd name="connsiteY687" fmla="*/ 668560 h 731424"/>
                <a:gd name="connsiteX688" fmla="*/ 871919 w 1044701"/>
                <a:gd name="connsiteY688" fmla="*/ 671132 h 731424"/>
                <a:gd name="connsiteX689" fmla="*/ 875252 w 1044701"/>
                <a:gd name="connsiteY689" fmla="*/ 672274 h 731424"/>
                <a:gd name="connsiteX690" fmla="*/ 875252 w 1044701"/>
                <a:gd name="connsiteY690" fmla="*/ 672274 h 731424"/>
                <a:gd name="connsiteX691" fmla="*/ 883158 w 1044701"/>
                <a:gd name="connsiteY691" fmla="*/ 671227 h 731424"/>
                <a:gd name="connsiteX692" fmla="*/ 882872 w 1044701"/>
                <a:gd name="connsiteY692" fmla="*/ 669703 h 731424"/>
                <a:gd name="connsiteX693" fmla="*/ 886111 w 1044701"/>
                <a:gd name="connsiteY693" fmla="*/ 669322 h 731424"/>
                <a:gd name="connsiteX694" fmla="*/ 884111 w 1044701"/>
                <a:gd name="connsiteY694" fmla="*/ 666369 h 731424"/>
                <a:gd name="connsiteX695" fmla="*/ 885063 w 1044701"/>
                <a:gd name="connsiteY695" fmla="*/ 661416 h 731424"/>
                <a:gd name="connsiteX696" fmla="*/ 886682 w 1044701"/>
                <a:gd name="connsiteY696" fmla="*/ 661226 h 731424"/>
                <a:gd name="connsiteX697" fmla="*/ 896683 w 1044701"/>
                <a:gd name="connsiteY697" fmla="*/ 664750 h 731424"/>
                <a:gd name="connsiteX698" fmla="*/ 909352 w 1044701"/>
                <a:gd name="connsiteY698" fmla="*/ 675894 h 731424"/>
                <a:gd name="connsiteX699" fmla="*/ 914876 w 1044701"/>
                <a:gd name="connsiteY699" fmla="*/ 668845 h 731424"/>
                <a:gd name="connsiteX700" fmla="*/ 921639 w 1044701"/>
                <a:gd name="connsiteY700" fmla="*/ 671132 h 731424"/>
                <a:gd name="connsiteX701" fmla="*/ 921163 w 1044701"/>
                <a:gd name="connsiteY701" fmla="*/ 667988 h 731424"/>
                <a:gd name="connsiteX702" fmla="*/ 917829 w 1044701"/>
                <a:gd name="connsiteY702" fmla="*/ 666845 h 731424"/>
                <a:gd name="connsiteX703" fmla="*/ 919258 w 1044701"/>
                <a:gd name="connsiteY703" fmla="*/ 665036 h 731424"/>
                <a:gd name="connsiteX704" fmla="*/ 927925 w 1044701"/>
                <a:gd name="connsiteY704" fmla="*/ 670370 h 731424"/>
                <a:gd name="connsiteX705" fmla="*/ 931259 w 1044701"/>
                <a:gd name="connsiteY705" fmla="*/ 671513 h 731424"/>
                <a:gd name="connsiteX706" fmla="*/ 932688 w 1044701"/>
                <a:gd name="connsiteY706" fmla="*/ 669798 h 731424"/>
                <a:gd name="connsiteX707" fmla="*/ 936022 w 1044701"/>
                <a:gd name="connsiteY707" fmla="*/ 670941 h 731424"/>
                <a:gd name="connsiteX708" fmla="*/ 941927 w 1044701"/>
                <a:gd name="connsiteY708" fmla="*/ 666940 h 731424"/>
                <a:gd name="connsiteX709" fmla="*/ 939165 w 1044701"/>
                <a:gd name="connsiteY709" fmla="*/ 670560 h 731424"/>
                <a:gd name="connsiteX710" fmla="*/ 953929 w 1044701"/>
                <a:gd name="connsiteY710" fmla="*/ 673418 h 731424"/>
                <a:gd name="connsiteX711" fmla="*/ 956310 w 1044701"/>
                <a:gd name="connsiteY711" fmla="*/ 679609 h 731424"/>
                <a:gd name="connsiteX712" fmla="*/ 959739 w 1044701"/>
                <a:gd name="connsiteY712" fmla="*/ 680752 h 731424"/>
                <a:gd name="connsiteX713" fmla="*/ 961263 w 1044701"/>
                <a:gd name="connsiteY713" fmla="*/ 680561 h 731424"/>
                <a:gd name="connsiteX714" fmla="*/ 980027 w 1044701"/>
                <a:gd name="connsiteY714" fmla="*/ 689420 h 731424"/>
                <a:gd name="connsiteX715" fmla="*/ 983361 w 1044701"/>
                <a:gd name="connsiteY715" fmla="*/ 690563 h 731424"/>
                <a:gd name="connsiteX716" fmla="*/ 995458 w 1044701"/>
                <a:gd name="connsiteY716" fmla="*/ 697040 h 731424"/>
                <a:gd name="connsiteX717" fmla="*/ 1002411 w 1044701"/>
                <a:gd name="connsiteY717" fmla="*/ 700945 h 731424"/>
                <a:gd name="connsiteX718" fmla="*/ 1016413 w 1044701"/>
                <a:gd name="connsiteY718" fmla="*/ 697611 h 731424"/>
                <a:gd name="connsiteX719" fmla="*/ 1014031 w 1044701"/>
                <a:gd name="connsiteY719" fmla="*/ 691515 h 731424"/>
                <a:gd name="connsiteX720" fmla="*/ 1016984 w 1044701"/>
                <a:gd name="connsiteY720" fmla="*/ 689515 h 731424"/>
                <a:gd name="connsiteX721" fmla="*/ 1018127 w 1044701"/>
                <a:gd name="connsiteY721" fmla="*/ 686086 h 731424"/>
                <a:gd name="connsiteX722" fmla="*/ 1014413 w 1044701"/>
                <a:gd name="connsiteY722" fmla="*/ 681799 h 731424"/>
                <a:gd name="connsiteX723" fmla="*/ 1018699 w 1044701"/>
                <a:gd name="connsiteY723" fmla="*/ 678085 h 731424"/>
                <a:gd name="connsiteX724" fmla="*/ 1019270 w 1044701"/>
                <a:gd name="connsiteY724" fmla="*/ 669989 h 731424"/>
                <a:gd name="connsiteX725" fmla="*/ 1020794 w 1044701"/>
                <a:gd name="connsiteY725" fmla="*/ 669798 h 731424"/>
                <a:gd name="connsiteX726" fmla="*/ 1022032 w 1044701"/>
                <a:gd name="connsiteY726" fmla="*/ 666369 h 731424"/>
                <a:gd name="connsiteX727" fmla="*/ 1021652 w 1044701"/>
                <a:gd name="connsiteY727" fmla="*/ 663226 h 731424"/>
                <a:gd name="connsiteX728" fmla="*/ 1023366 w 1044701"/>
                <a:gd name="connsiteY728" fmla="*/ 664655 h 731424"/>
                <a:gd name="connsiteX729" fmla="*/ 1023842 w 1044701"/>
                <a:gd name="connsiteY729" fmla="*/ 667798 h 731424"/>
                <a:gd name="connsiteX730" fmla="*/ 1027366 w 1044701"/>
                <a:gd name="connsiteY730" fmla="*/ 670560 h 731424"/>
                <a:gd name="connsiteX731" fmla="*/ 1028700 w 1044701"/>
                <a:gd name="connsiteY731" fmla="*/ 668750 h 731424"/>
                <a:gd name="connsiteX732" fmla="*/ 1021461 w 1044701"/>
                <a:gd name="connsiteY732" fmla="*/ 661702 h 731424"/>
                <a:gd name="connsiteX733" fmla="*/ 1015460 w 1044701"/>
                <a:gd name="connsiteY733" fmla="*/ 652844 h 731424"/>
                <a:gd name="connsiteX734" fmla="*/ 1014698 w 1044701"/>
                <a:gd name="connsiteY734" fmla="*/ 646462 h 731424"/>
                <a:gd name="connsiteX735" fmla="*/ 1016032 w 1044701"/>
                <a:gd name="connsiteY735" fmla="*/ 644747 h 731424"/>
                <a:gd name="connsiteX736" fmla="*/ 1014413 w 1044701"/>
                <a:gd name="connsiteY736" fmla="*/ 632079 h 731424"/>
                <a:gd name="connsiteX737" fmla="*/ 1019175 w 1044701"/>
                <a:gd name="connsiteY737" fmla="*/ 631507 h 731424"/>
                <a:gd name="connsiteX738" fmla="*/ 1018604 w 1044701"/>
                <a:gd name="connsiteY738" fmla="*/ 626745 h 731424"/>
                <a:gd name="connsiteX739" fmla="*/ 1022699 w 1044701"/>
                <a:gd name="connsiteY739" fmla="*/ 621411 h 731424"/>
                <a:gd name="connsiteX740" fmla="*/ 1029176 w 1044701"/>
                <a:gd name="connsiteY740" fmla="*/ 622173 h 731424"/>
                <a:gd name="connsiteX741" fmla="*/ 1030605 w 1044701"/>
                <a:gd name="connsiteY741" fmla="*/ 620363 h 731424"/>
                <a:gd name="connsiteX742" fmla="*/ 1031938 w 1044701"/>
                <a:gd name="connsiteY742" fmla="*/ 618649 h 731424"/>
                <a:gd name="connsiteX743" fmla="*/ 1029748 w 1044701"/>
                <a:gd name="connsiteY743" fmla="*/ 614077 h 731424"/>
                <a:gd name="connsiteX744" fmla="*/ 1035939 w 1044701"/>
                <a:gd name="connsiteY744" fmla="*/ 611695 h 731424"/>
                <a:gd name="connsiteX745" fmla="*/ 1039082 w 1044701"/>
                <a:gd name="connsiteY745" fmla="*/ 611315 h 731424"/>
                <a:gd name="connsiteX746" fmla="*/ 1044607 w 1044701"/>
                <a:gd name="connsiteY746" fmla="*/ 604171 h 731424"/>
                <a:gd name="connsiteX747" fmla="*/ 1042225 w 1044701"/>
                <a:gd name="connsiteY747" fmla="*/ 598075 h 731424"/>
                <a:gd name="connsiteX748" fmla="*/ 1044702 w 1044701"/>
                <a:gd name="connsiteY748" fmla="*/ 580073 h 731424"/>
                <a:gd name="connsiteX749" fmla="*/ 1044130 w 1044701"/>
                <a:gd name="connsiteY749" fmla="*/ 575405 h 731424"/>
                <a:gd name="connsiteX750" fmla="*/ 1041178 w 1044701"/>
                <a:gd name="connsiteY750" fmla="*/ 577310 h 731424"/>
                <a:gd name="connsiteX751" fmla="*/ 1040702 w 1044701"/>
                <a:gd name="connsiteY751" fmla="*/ 574167 h 731424"/>
                <a:gd name="connsiteX752" fmla="*/ 1038987 w 1044701"/>
                <a:gd name="connsiteY752" fmla="*/ 572834 h 731424"/>
                <a:gd name="connsiteX753" fmla="*/ 1042702 w 1044701"/>
                <a:gd name="connsiteY753" fmla="*/ 564356 h 731424"/>
                <a:gd name="connsiteX754" fmla="*/ 1043464 w 1044701"/>
                <a:gd name="connsiteY754" fmla="*/ 557784 h 731424"/>
                <a:gd name="connsiteX755" fmla="*/ 1036511 w 1044701"/>
                <a:gd name="connsiteY755" fmla="*/ 553879 h 731424"/>
                <a:gd name="connsiteX756" fmla="*/ 1032605 w 1044701"/>
                <a:gd name="connsiteY756" fmla="*/ 547973 h 731424"/>
                <a:gd name="connsiteX757" fmla="*/ 1026319 w 1044701"/>
                <a:gd name="connsiteY757" fmla="*/ 548735 h 731424"/>
                <a:gd name="connsiteX758" fmla="*/ 1021747 w 1044701"/>
                <a:gd name="connsiteY758" fmla="*/ 550926 h 731424"/>
                <a:gd name="connsiteX759" fmla="*/ 1019937 w 1044701"/>
                <a:gd name="connsiteY759" fmla="*/ 549593 h 731424"/>
                <a:gd name="connsiteX760" fmla="*/ 1019365 w 1044701"/>
                <a:gd name="connsiteY760" fmla="*/ 544830 h 731424"/>
                <a:gd name="connsiteX761" fmla="*/ 1014603 w 1044701"/>
                <a:gd name="connsiteY761" fmla="*/ 545497 h 731424"/>
                <a:gd name="connsiteX762" fmla="*/ 1013650 w 1044701"/>
                <a:gd name="connsiteY762" fmla="*/ 550355 h 731424"/>
                <a:gd name="connsiteX763" fmla="*/ 1008888 w 1044701"/>
                <a:gd name="connsiteY763" fmla="*/ 551021 h 731424"/>
                <a:gd name="connsiteX764" fmla="*/ 1005745 w 1044701"/>
                <a:gd name="connsiteY764" fmla="*/ 551402 h 731424"/>
                <a:gd name="connsiteX765" fmla="*/ 1003554 w 1044701"/>
                <a:gd name="connsiteY765" fmla="*/ 546830 h 731424"/>
                <a:gd name="connsiteX766" fmla="*/ 1007936 w 1044701"/>
                <a:gd name="connsiteY766" fmla="*/ 543115 h 731424"/>
                <a:gd name="connsiteX767" fmla="*/ 1011841 w 1044701"/>
                <a:gd name="connsiteY767" fmla="*/ 536162 h 731424"/>
                <a:gd name="connsiteX768" fmla="*/ 1014984 w 1044701"/>
                <a:gd name="connsiteY768" fmla="*/ 535781 h 731424"/>
                <a:gd name="connsiteX769" fmla="*/ 1018699 w 1044701"/>
                <a:gd name="connsiteY769" fmla="*/ 527304 h 731424"/>
                <a:gd name="connsiteX770" fmla="*/ 1013555 w 1044701"/>
                <a:gd name="connsiteY770" fmla="*/ 524732 h 731424"/>
                <a:gd name="connsiteX771" fmla="*/ 1004316 w 1044701"/>
                <a:gd name="connsiteY771" fmla="*/ 514731 h 731424"/>
                <a:gd name="connsiteX772" fmla="*/ 1004125 w 1044701"/>
                <a:gd name="connsiteY772" fmla="*/ 513112 h 731424"/>
                <a:gd name="connsiteX773" fmla="*/ 1008602 w 1044701"/>
                <a:gd name="connsiteY773" fmla="*/ 510921 h 731424"/>
                <a:gd name="connsiteX774" fmla="*/ 1008412 w 1044701"/>
                <a:gd name="connsiteY774" fmla="*/ 509397 h 731424"/>
                <a:gd name="connsiteX775" fmla="*/ 1008031 w 1044701"/>
                <a:gd name="connsiteY775" fmla="*/ 506159 h 731424"/>
                <a:gd name="connsiteX776" fmla="*/ 1010983 w 1044701"/>
                <a:gd name="connsiteY776" fmla="*/ 504253 h 731424"/>
                <a:gd name="connsiteX777" fmla="*/ 1006983 w 1044701"/>
                <a:gd name="connsiteY777" fmla="*/ 498348 h 731424"/>
                <a:gd name="connsiteX778" fmla="*/ 1002125 w 1044701"/>
                <a:gd name="connsiteY778" fmla="*/ 497300 h 731424"/>
                <a:gd name="connsiteX779" fmla="*/ 996791 w 1044701"/>
                <a:gd name="connsiteY779" fmla="*/ 493205 h 731424"/>
                <a:gd name="connsiteX780" fmla="*/ 985075 w 1044701"/>
                <a:gd name="connsiteY780" fmla="*/ 477012 h 731424"/>
                <a:gd name="connsiteX781" fmla="*/ 976979 w 1044701"/>
                <a:gd name="connsiteY781" fmla="*/ 463677 h 731424"/>
                <a:gd name="connsiteX782" fmla="*/ 979265 w 1044701"/>
                <a:gd name="connsiteY782" fmla="*/ 456914 h 731424"/>
                <a:gd name="connsiteX783" fmla="*/ 976884 w 1044701"/>
                <a:gd name="connsiteY783" fmla="*/ 450818 h 731424"/>
                <a:gd name="connsiteX784" fmla="*/ 979646 w 1044701"/>
                <a:gd name="connsiteY784" fmla="*/ 447294 h 731424"/>
                <a:gd name="connsiteX785" fmla="*/ 974503 w 1044701"/>
                <a:gd name="connsiteY785" fmla="*/ 444722 h 731424"/>
                <a:gd name="connsiteX786" fmla="*/ 972598 w 1044701"/>
                <a:gd name="connsiteY786" fmla="*/ 441769 h 731424"/>
                <a:gd name="connsiteX787" fmla="*/ 968978 w 1044701"/>
                <a:gd name="connsiteY787" fmla="*/ 439007 h 731424"/>
                <a:gd name="connsiteX788" fmla="*/ 968788 w 1044701"/>
                <a:gd name="connsiteY788" fmla="*/ 437388 h 731424"/>
                <a:gd name="connsiteX789" fmla="*/ 963835 w 1044701"/>
                <a:gd name="connsiteY789" fmla="*/ 436436 h 731424"/>
                <a:gd name="connsiteX790" fmla="*/ 961263 w 1044701"/>
                <a:gd name="connsiteY790" fmla="*/ 428720 h 731424"/>
                <a:gd name="connsiteX791" fmla="*/ 965168 w 1044701"/>
                <a:gd name="connsiteY791" fmla="*/ 421862 h 731424"/>
                <a:gd name="connsiteX792" fmla="*/ 961644 w 1044701"/>
                <a:gd name="connsiteY792" fmla="*/ 419100 h 731424"/>
                <a:gd name="connsiteX793" fmla="*/ 962406 w 1044701"/>
                <a:gd name="connsiteY793" fmla="*/ 412623 h 731424"/>
                <a:gd name="connsiteX794" fmla="*/ 962406 w 1044701"/>
                <a:gd name="connsiteY794" fmla="*/ 399764 h 731424"/>
                <a:gd name="connsiteX795" fmla="*/ 965168 w 1044701"/>
                <a:gd name="connsiteY795" fmla="*/ 396240 h 731424"/>
                <a:gd name="connsiteX796" fmla="*/ 971074 w 1044701"/>
                <a:gd name="connsiteY796" fmla="*/ 392240 h 731424"/>
                <a:gd name="connsiteX797" fmla="*/ 974217 w 1044701"/>
                <a:gd name="connsiteY797" fmla="*/ 391859 h 731424"/>
                <a:gd name="connsiteX798" fmla="*/ 983075 w 1044701"/>
                <a:gd name="connsiteY798" fmla="*/ 385858 h 731424"/>
                <a:gd name="connsiteX799" fmla="*/ 981265 w 1044701"/>
                <a:gd name="connsiteY799" fmla="*/ 384524 h 731424"/>
                <a:gd name="connsiteX800" fmla="*/ 984218 w 1044701"/>
                <a:gd name="connsiteY800" fmla="*/ 382524 h 731424"/>
                <a:gd name="connsiteX801" fmla="*/ 977551 w 1044701"/>
                <a:gd name="connsiteY801" fmla="*/ 380143 h 731424"/>
                <a:gd name="connsiteX802" fmla="*/ 976503 w 1044701"/>
                <a:gd name="connsiteY802" fmla="*/ 372332 h 731424"/>
                <a:gd name="connsiteX803" fmla="*/ 970216 w 1044701"/>
                <a:gd name="connsiteY803" fmla="*/ 360236 h 731424"/>
                <a:gd name="connsiteX804" fmla="*/ 974122 w 1044701"/>
                <a:gd name="connsiteY804" fmla="*/ 353378 h 731424"/>
                <a:gd name="connsiteX805" fmla="*/ 972122 w 1044701"/>
                <a:gd name="connsiteY805" fmla="*/ 350425 h 731424"/>
                <a:gd name="connsiteX806" fmla="*/ 971359 w 1044701"/>
                <a:gd name="connsiteY806" fmla="*/ 344043 h 731424"/>
                <a:gd name="connsiteX807" fmla="*/ 973931 w 1044701"/>
                <a:gd name="connsiteY807" fmla="*/ 338995 h 731424"/>
                <a:gd name="connsiteX808" fmla="*/ 971740 w 1044701"/>
                <a:gd name="connsiteY808" fmla="*/ 334423 h 731424"/>
                <a:gd name="connsiteX809" fmla="*/ 974217 w 1044701"/>
                <a:gd name="connsiteY809" fmla="*/ 329279 h 731424"/>
                <a:gd name="connsiteX810" fmla="*/ 965740 w 1044701"/>
                <a:gd name="connsiteY810" fmla="*/ 325565 h 731424"/>
                <a:gd name="connsiteX811" fmla="*/ 969455 w 1044701"/>
                <a:gd name="connsiteY811" fmla="*/ 317087 h 731424"/>
                <a:gd name="connsiteX812" fmla="*/ 962597 w 1044701"/>
                <a:gd name="connsiteY812" fmla="*/ 313087 h 731424"/>
                <a:gd name="connsiteX813" fmla="*/ 961168 w 1044701"/>
                <a:gd name="connsiteY813" fmla="*/ 302133 h 731424"/>
                <a:gd name="connsiteX814" fmla="*/ 956024 w 1044701"/>
                <a:gd name="connsiteY814" fmla="*/ 299561 h 731424"/>
                <a:gd name="connsiteX815" fmla="*/ 955453 w 1044701"/>
                <a:gd name="connsiteY815" fmla="*/ 294799 h 731424"/>
                <a:gd name="connsiteX816" fmla="*/ 955834 w 1044701"/>
                <a:gd name="connsiteY816" fmla="*/ 285083 h 731424"/>
                <a:gd name="connsiteX817" fmla="*/ 957929 w 1044701"/>
                <a:gd name="connsiteY817" fmla="*/ 276797 h 731424"/>
                <a:gd name="connsiteX818" fmla="*/ 952405 w 1044701"/>
                <a:gd name="connsiteY818" fmla="*/ 271082 h 731424"/>
                <a:gd name="connsiteX819" fmla="*/ 953357 w 1044701"/>
                <a:gd name="connsiteY819" fmla="*/ 266224 h 731424"/>
                <a:gd name="connsiteX820" fmla="*/ 949452 w 1044701"/>
                <a:gd name="connsiteY820" fmla="*/ 260318 h 731424"/>
                <a:gd name="connsiteX821" fmla="*/ 944118 w 1044701"/>
                <a:gd name="connsiteY821" fmla="*/ 256127 h 731424"/>
                <a:gd name="connsiteX822" fmla="*/ 940308 w 1044701"/>
                <a:gd name="connsiteY822" fmla="*/ 238982 h 731424"/>
                <a:gd name="connsiteX823" fmla="*/ 946404 w 1044701"/>
                <a:gd name="connsiteY823" fmla="*/ 236601 h 731424"/>
                <a:gd name="connsiteX824" fmla="*/ 959453 w 1044701"/>
                <a:gd name="connsiteY824" fmla="*/ 238125 h 731424"/>
                <a:gd name="connsiteX825" fmla="*/ 965168 w 1044701"/>
                <a:gd name="connsiteY825" fmla="*/ 245459 h 731424"/>
                <a:gd name="connsiteX826" fmla="*/ 969740 w 1044701"/>
                <a:gd name="connsiteY826" fmla="*/ 243269 h 731424"/>
                <a:gd name="connsiteX827" fmla="*/ 969550 w 1044701"/>
                <a:gd name="connsiteY827" fmla="*/ 241649 h 731424"/>
                <a:gd name="connsiteX828" fmla="*/ 973455 w 1044701"/>
                <a:gd name="connsiteY828" fmla="*/ 234791 h 731424"/>
                <a:gd name="connsiteX829" fmla="*/ 977741 w 1044701"/>
                <a:gd name="connsiteY829" fmla="*/ 230981 h 731424"/>
                <a:gd name="connsiteX830" fmla="*/ 978980 w 1044701"/>
                <a:gd name="connsiteY830" fmla="*/ 227648 h 731424"/>
                <a:gd name="connsiteX831" fmla="*/ 978122 w 1044701"/>
                <a:gd name="connsiteY831" fmla="*/ 221361 h 731424"/>
                <a:gd name="connsiteX832" fmla="*/ 979361 w 1044701"/>
                <a:gd name="connsiteY832" fmla="*/ 218027 h 731424"/>
                <a:gd name="connsiteX833" fmla="*/ 984218 w 1044701"/>
                <a:gd name="connsiteY833" fmla="*/ 218980 h 731424"/>
                <a:gd name="connsiteX834" fmla="*/ 986599 w 1044701"/>
                <a:gd name="connsiteY834" fmla="*/ 212217 h 731424"/>
                <a:gd name="connsiteX835" fmla="*/ 995648 w 1044701"/>
                <a:gd name="connsiteY835" fmla="*/ 207836 h 731424"/>
                <a:gd name="connsiteX836" fmla="*/ 996887 w 1044701"/>
                <a:gd name="connsiteY836" fmla="*/ 204502 h 731424"/>
                <a:gd name="connsiteX837" fmla="*/ 1004697 w 1044701"/>
                <a:gd name="connsiteY837" fmla="*/ 203549 h 731424"/>
                <a:gd name="connsiteX838" fmla="*/ 1005935 w 1044701"/>
                <a:gd name="connsiteY838" fmla="*/ 200120 h 731424"/>
                <a:gd name="connsiteX839" fmla="*/ 1005554 w 1044701"/>
                <a:gd name="connsiteY839" fmla="*/ 196977 h 731424"/>
                <a:gd name="connsiteX840" fmla="*/ 1006507 w 1044701"/>
                <a:gd name="connsiteY840" fmla="*/ 192024 h 731424"/>
                <a:gd name="connsiteX841" fmla="*/ 1012412 w 1044701"/>
                <a:gd name="connsiteY841" fmla="*/ 188119 h 731424"/>
                <a:gd name="connsiteX842" fmla="*/ 1004697 w 1044701"/>
                <a:gd name="connsiteY842" fmla="*/ 177832 h 731424"/>
                <a:gd name="connsiteX843" fmla="*/ 1008602 w 1044701"/>
                <a:gd name="connsiteY843" fmla="*/ 170974 h 731424"/>
                <a:gd name="connsiteX844" fmla="*/ 997744 w 1044701"/>
                <a:gd name="connsiteY844" fmla="*/ 161068 h 731424"/>
                <a:gd name="connsiteX845" fmla="*/ 1000315 w 1044701"/>
                <a:gd name="connsiteY845" fmla="*/ 155924 h 731424"/>
                <a:gd name="connsiteX846" fmla="*/ 1007173 w 1044701"/>
                <a:gd name="connsiteY846" fmla="*/ 147066 h 731424"/>
                <a:gd name="connsiteX847" fmla="*/ 1014508 w 1044701"/>
                <a:gd name="connsiteY847" fmla="*/ 141351 h 731424"/>
                <a:gd name="connsiteX848" fmla="*/ 1010698 w 1044701"/>
                <a:gd name="connsiteY848" fmla="*/ 136969 h 731424"/>
                <a:gd name="connsiteX849" fmla="*/ 1009936 w 1044701"/>
                <a:gd name="connsiteY849" fmla="*/ 130683 h 731424"/>
                <a:gd name="connsiteX850" fmla="*/ 1003363 w 1044701"/>
                <a:gd name="connsiteY850" fmla="*/ 117062 h 731424"/>
                <a:gd name="connsiteX851" fmla="*/ 1001363 w 1044701"/>
                <a:gd name="connsiteY851" fmla="*/ 114110 h 731424"/>
                <a:gd name="connsiteX852" fmla="*/ 1002792 w 1044701"/>
                <a:gd name="connsiteY852" fmla="*/ 112395 h 731424"/>
                <a:gd name="connsiteX853" fmla="*/ 1010603 w 1044701"/>
                <a:gd name="connsiteY853" fmla="*/ 111347 h 731424"/>
                <a:gd name="connsiteX854" fmla="*/ 1016317 w 1044701"/>
                <a:gd name="connsiteY854" fmla="*/ 105823 h 731424"/>
                <a:gd name="connsiteX855" fmla="*/ 1014508 w 1044701"/>
                <a:gd name="connsiteY855" fmla="*/ 91631 h 731424"/>
                <a:gd name="connsiteX856" fmla="*/ 1017651 w 1044701"/>
                <a:gd name="connsiteY856" fmla="*/ 91250 h 731424"/>
                <a:gd name="connsiteX857" fmla="*/ 1018318 w 1044701"/>
                <a:gd name="connsiteY857" fmla="*/ 95917 h 731424"/>
                <a:gd name="connsiteX858" fmla="*/ 1019842 w 1044701"/>
                <a:gd name="connsiteY858" fmla="*/ 95726 h 731424"/>
                <a:gd name="connsiteX859" fmla="*/ 1022223 w 1044701"/>
                <a:gd name="connsiteY859" fmla="*/ 89059 h 731424"/>
                <a:gd name="connsiteX860" fmla="*/ 1021461 w 1044701"/>
                <a:gd name="connsiteY860" fmla="*/ 82677 h 731424"/>
                <a:gd name="connsiteX861" fmla="*/ 1023366 w 1044701"/>
                <a:gd name="connsiteY861" fmla="*/ 72866 h 731424"/>
                <a:gd name="connsiteX862" fmla="*/ 1026128 w 1044701"/>
                <a:gd name="connsiteY862" fmla="*/ 69247 h 731424"/>
                <a:gd name="connsiteX863" fmla="*/ 1026700 w 1044701"/>
                <a:gd name="connsiteY863" fmla="*/ 61246 h 731424"/>
                <a:gd name="connsiteX864" fmla="*/ 1030414 w 1044701"/>
                <a:gd name="connsiteY864" fmla="*/ 52673 h 731424"/>
                <a:gd name="connsiteX865" fmla="*/ 1031177 w 1044701"/>
                <a:gd name="connsiteY865" fmla="*/ 46196 h 731424"/>
                <a:gd name="connsiteX866" fmla="*/ 1038511 w 1044701"/>
                <a:gd name="connsiteY866" fmla="*/ 40481 h 731424"/>
                <a:gd name="connsiteX867" fmla="*/ 1041082 w 1044701"/>
                <a:gd name="connsiteY867" fmla="*/ 35338 h 731424"/>
                <a:gd name="connsiteX868" fmla="*/ 1040035 w 1044701"/>
                <a:gd name="connsiteY868" fmla="*/ 27432 h 731424"/>
                <a:gd name="connsiteX869" fmla="*/ 1040987 w 1044701"/>
                <a:gd name="connsiteY869" fmla="*/ 22479 h 731424"/>
                <a:gd name="connsiteX870" fmla="*/ 1038797 w 1044701"/>
                <a:gd name="connsiteY870" fmla="*/ 17907 h 731424"/>
                <a:gd name="connsiteX871" fmla="*/ 1038797 w 1044701"/>
                <a:gd name="connsiteY871" fmla="*/ 17907 h 731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</a:cxnLst>
              <a:rect l="l" t="t" r="r" b="b"/>
              <a:pathLst>
                <a:path w="1044701" h="731424">
                  <a:moveTo>
                    <a:pt x="1038797" y="17907"/>
                  </a:moveTo>
                  <a:lnTo>
                    <a:pt x="1039558" y="11430"/>
                  </a:lnTo>
                  <a:lnTo>
                    <a:pt x="1037463" y="6953"/>
                  </a:lnTo>
                  <a:lnTo>
                    <a:pt x="1028509" y="0"/>
                  </a:lnTo>
                  <a:lnTo>
                    <a:pt x="1019651" y="6001"/>
                  </a:lnTo>
                  <a:lnTo>
                    <a:pt x="1018889" y="12478"/>
                  </a:lnTo>
                  <a:lnTo>
                    <a:pt x="1017270" y="12668"/>
                  </a:lnTo>
                  <a:lnTo>
                    <a:pt x="1012984" y="16478"/>
                  </a:lnTo>
                  <a:lnTo>
                    <a:pt x="1010412" y="21527"/>
                  </a:lnTo>
                  <a:lnTo>
                    <a:pt x="1006888" y="18860"/>
                  </a:lnTo>
                  <a:lnTo>
                    <a:pt x="1002316" y="20955"/>
                  </a:lnTo>
                  <a:lnTo>
                    <a:pt x="995839" y="33052"/>
                  </a:lnTo>
                  <a:lnTo>
                    <a:pt x="994696" y="49244"/>
                  </a:lnTo>
                  <a:lnTo>
                    <a:pt x="989362" y="57912"/>
                  </a:lnTo>
                  <a:lnTo>
                    <a:pt x="982313" y="65246"/>
                  </a:lnTo>
                  <a:lnTo>
                    <a:pt x="984504" y="69818"/>
                  </a:lnTo>
                  <a:lnTo>
                    <a:pt x="983361" y="73152"/>
                  </a:lnTo>
                  <a:lnTo>
                    <a:pt x="972883" y="79248"/>
                  </a:lnTo>
                  <a:lnTo>
                    <a:pt x="965549" y="85058"/>
                  </a:lnTo>
                  <a:lnTo>
                    <a:pt x="962215" y="83820"/>
                  </a:lnTo>
                  <a:lnTo>
                    <a:pt x="959263" y="85820"/>
                  </a:lnTo>
                  <a:lnTo>
                    <a:pt x="947452" y="106585"/>
                  </a:lnTo>
                  <a:lnTo>
                    <a:pt x="944308" y="119825"/>
                  </a:lnTo>
                  <a:lnTo>
                    <a:pt x="941641" y="123349"/>
                  </a:lnTo>
                  <a:lnTo>
                    <a:pt x="932783" y="129254"/>
                  </a:lnTo>
                  <a:lnTo>
                    <a:pt x="924401" y="127159"/>
                  </a:lnTo>
                  <a:lnTo>
                    <a:pt x="917734" y="124777"/>
                  </a:lnTo>
                  <a:lnTo>
                    <a:pt x="914209" y="122015"/>
                  </a:lnTo>
                  <a:lnTo>
                    <a:pt x="893826" y="113443"/>
                  </a:lnTo>
                  <a:lnTo>
                    <a:pt x="887349" y="112586"/>
                  </a:lnTo>
                  <a:lnTo>
                    <a:pt x="882396" y="111633"/>
                  </a:lnTo>
                  <a:lnTo>
                    <a:pt x="878205" y="104204"/>
                  </a:lnTo>
                  <a:lnTo>
                    <a:pt x="867537" y="95917"/>
                  </a:lnTo>
                  <a:lnTo>
                    <a:pt x="866775" y="89630"/>
                  </a:lnTo>
                  <a:lnTo>
                    <a:pt x="859822" y="85630"/>
                  </a:lnTo>
                  <a:lnTo>
                    <a:pt x="855821" y="79724"/>
                  </a:lnTo>
                  <a:lnTo>
                    <a:pt x="844391" y="78010"/>
                  </a:lnTo>
                  <a:lnTo>
                    <a:pt x="840105" y="81725"/>
                  </a:lnTo>
                  <a:lnTo>
                    <a:pt x="838295" y="80391"/>
                  </a:lnTo>
                  <a:lnTo>
                    <a:pt x="836962" y="82201"/>
                  </a:lnTo>
                  <a:lnTo>
                    <a:pt x="816197" y="70390"/>
                  </a:lnTo>
                  <a:lnTo>
                    <a:pt x="813245" y="72390"/>
                  </a:lnTo>
                  <a:lnTo>
                    <a:pt x="811435" y="70961"/>
                  </a:lnTo>
                  <a:lnTo>
                    <a:pt x="807720" y="66675"/>
                  </a:lnTo>
                  <a:lnTo>
                    <a:pt x="804767" y="68580"/>
                  </a:lnTo>
                  <a:lnTo>
                    <a:pt x="801719" y="57817"/>
                  </a:lnTo>
                  <a:lnTo>
                    <a:pt x="793242" y="54102"/>
                  </a:lnTo>
                  <a:lnTo>
                    <a:pt x="790099" y="54483"/>
                  </a:lnTo>
                  <a:lnTo>
                    <a:pt x="786384" y="50102"/>
                  </a:lnTo>
                  <a:lnTo>
                    <a:pt x="784955" y="51911"/>
                  </a:lnTo>
                  <a:lnTo>
                    <a:pt x="778478" y="51149"/>
                  </a:lnTo>
                  <a:lnTo>
                    <a:pt x="772763" y="56674"/>
                  </a:lnTo>
                  <a:lnTo>
                    <a:pt x="772382" y="79153"/>
                  </a:lnTo>
                  <a:lnTo>
                    <a:pt x="769811" y="84296"/>
                  </a:lnTo>
                  <a:lnTo>
                    <a:pt x="762190" y="86868"/>
                  </a:lnTo>
                  <a:lnTo>
                    <a:pt x="759428" y="90392"/>
                  </a:lnTo>
                  <a:lnTo>
                    <a:pt x="757809" y="90678"/>
                  </a:lnTo>
                  <a:lnTo>
                    <a:pt x="755237" y="95821"/>
                  </a:lnTo>
                  <a:lnTo>
                    <a:pt x="755047" y="94202"/>
                  </a:lnTo>
                  <a:lnTo>
                    <a:pt x="745617" y="95441"/>
                  </a:lnTo>
                  <a:lnTo>
                    <a:pt x="745236" y="92202"/>
                  </a:lnTo>
                  <a:lnTo>
                    <a:pt x="743617" y="92488"/>
                  </a:lnTo>
                  <a:lnTo>
                    <a:pt x="743998" y="95631"/>
                  </a:lnTo>
                  <a:lnTo>
                    <a:pt x="736378" y="98203"/>
                  </a:lnTo>
                  <a:lnTo>
                    <a:pt x="739712" y="99346"/>
                  </a:lnTo>
                  <a:lnTo>
                    <a:pt x="740092" y="102489"/>
                  </a:lnTo>
                  <a:lnTo>
                    <a:pt x="737330" y="106108"/>
                  </a:lnTo>
                  <a:lnTo>
                    <a:pt x="733615" y="101727"/>
                  </a:lnTo>
                  <a:lnTo>
                    <a:pt x="730663" y="103727"/>
                  </a:lnTo>
                  <a:lnTo>
                    <a:pt x="727424" y="104108"/>
                  </a:lnTo>
                  <a:lnTo>
                    <a:pt x="727900" y="107252"/>
                  </a:lnTo>
                  <a:lnTo>
                    <a:pt x="724757" y="107728"/>
                  </a:lnTo>
                  <a:lnTo>
                    <a:pt x="725138" y="110871"/>
                  </a:lnTo>
                  <a:lnTo>
                    <a:pt x="721805" y="109633"/>
                  </a:lnTo>
                  <a:lnTo>
                    <a:pt x="719995" y="108299"/>
                  </a:lnTo>
                  <a:lnTo>
                    <a:pt x="715232" y="108871"/>
                  </a:lnTo>
                  <a:lnTo>
                    <a:pt x="715423" y="110490"/>
                  </a:lnTo>
                  <a:lnTo>
                    <a:pt x="703040" y="126492"/>
                  </a:lnTo>
                  <a:lnTo>
                    <a:pt x="691801" y="126302"/>
                  </a:lnTo>
                  <a:lnTo>
                    <a:pt x="687038" y="126968"/>
                  </a:lnTo>
                  <a:lnTo>
                    <a:pt x="687705" y="131636"/>
                  </a:lnTo>
                  <a:lnTo>
                    <a:pt x="681514" y="134017"/>
                  </a:lnTo>
                  <a:lnTo>
                    <a:pt x="677608" y="140970"/>
                  </a:lnTo>
                  <a:lnTo>
                    <a:pt x="679990" y="147066"/>
                  </a:lnTo>
                  <a:lnTo>
                    <a:pt x="681419" y="145256"/>
                  </a:lnTo>
                  <a:lnTo>
                    <a:pt x="685133" y="149638"/>
                  </a:lnTo>
                  <a:lnTo>
                    <a:pt x="690467" y="153734"/>
                  </a:lnTo>
                  <a:lnTo>
                    <a:pt x="684562" y="157734"/>
                  </a:lnTo>
                  <a:lnTo>
                    <a:pt x="683419" y="161068"/>
                  </a:lnTo>
                  <a:lnTo>
                    <a:pt x="677132" y="161830"/>
                  </a:lnTo>
                  <a:lnTo>
                    <a:pt x="674561" y="166973"/>
                  </a:lnTo>
                  <a:lnTo>
                    <a:pt x="669227" y="162877"/>
                  </a:lnTo>
                  <a:lnTo>
                    <a:pt x="667798" y="164687"/>
                  </a:lnTo>
                  <a:lnTo>
                    <a:pt x="663035" y="165259"/>
                  </a:lnTo>
                  <a:lnTo>
                    <a:pt x="665226" y="169831"/>
                  </a:lnTo>
                  <a:lnTo>
                    <a:pt x="664083" y="173165"/>
                  </a:lnTo>
                  <a:lnTo>
                    <a:pt x="662273" y="171736"/>
                  </a:lnTo>
                  <a:lnTo>
                    <a:pt x="662940" y="176498"/>
                  </a:lnTo>
                  <a:lnTo>
                    <a:pt x="668083" y="179070"/>
                  </a:lnTo>
                  <a:lnTo>
                    <a:pt x="670465" y="185166"/>
                  </a:lnTo>
                  <a:lnTo>
                    <a:pt x="673798" y="186309"/>
                  </a:lnTo>
                  <a:lnTo>
                    <a:pt x="675227" y="197358"/>
                  </a:lnTo>
                  <a:lnTo>
                    <a:pt x="655034" y="190310"/>
                  </a:lnTo>
                  <a:lnTo>
                    <a:pt x="651700" y="189167"/>
                  </a:lnTo>
                  <a:lnTo>
                    <a:pt x="646366" y="185071"/>
                  </a:lnTo>
                  <a:lnTo>
                    <a:pt x="645033" y="186785"/>
                  </a:lnTo>
                  <a:lnTo>
                    <a:pt x="638270" y="184499"/>
                  </a:lnTo>
                  <a:lnTo>
                    <a:pt x="640080" y="185833"/>
                  </a:lnTo>
                  <a:lnTo>
                    <a:pt x="638842" y="189167"/>
                  </a:lnTo>
                  <a:lnTo>
                    <a:pt x="640652" y="190595"/>
                  </a:lnTo>
                  <a:lnTo>
                    <a:pt x="633984" y="188214"/>
                  </a:lnTo>
                  <a:lnTo>
                    <a:pt x="632555" y="190024"/>
                  </a:lnTo>
                  <a:lnTo>
                    <a:pt x="630936" y="190214"/>
                  </a:lnTo>
                  <a:lnTo>
                    <a:pt x="627793" y="190595"/>
                  </a:lnTo>
                  <a:lnTo>
                    <a:pt x="615410" y="193834"/>
                  </a:lnTo>
                  <a:lnTo>
                    <a:pt x="614839" y="189071"/>
                  </a:lnTo>
                  <a:lnTo>
                    <a:pt x="614648" y="187452"/>
                  </a:lnTo>
                  <a:lnTo>
                    <a:pt x="618744" y="182118"/>
                  </a:lnTo>
                  <a:lnTo>
                    <a:pt x="616934" y="180785"/>
                  </a:lnTo>
                  <a:lnTo>
                    <a:pt x="612267" y="181356"/>
                  </a:lnTo>
                  <a:lnTo>
                    <a:pt x="611981" y="179832"/>
                  </a:lnTo>
                  <a:lnTo>
                    <a:pt x="610457" y="180023"/>
                  </a:lnTo>
                  <a:lnTo>
                    <a:pt x="612457" y="182975"/>
                  </a:lnTo>
                  <a:lnTo>
                    <a:pt x="611219" y="186309"/>
                  </a:lnTo>
                  <a:lnTo>
                    <a:pt x="611410" y="187833"/>
                  </a:lnTo>
                  <a:lnTo>
                    <a:pt x="602552" y="193834"/>
                  </a:lnTo>
                  <a:lnTo>
                    <a:pt x="598837" y="189452"/>
                  </a:lnTo>
                  <a:lnTo>
                    <a:pt x="596074" y="193072"/>
                  </a:lnTo>
                  <a:lnTo>
                    <a:pt x="589597" y="192310"/>
                  </a:lnTo>
                  <a:lnTo>
                    <a:pt x="587026" y="197358"/>
                  </a:lnTo>
                  <a:lnTo>
                    <a:pt x="582073" y="196406"/>
                  </a:lnTo>
                  <a:lnTo>
                    <a:pt x="580644" y="198215"/>
                  </a:lnTo>
                  <a:lnTo>
                    <a:pt x="576929" y="193834"/>
                  </a:lnTo>
                  <a:lnTo>
                    <a:pt x="574929" y="190881"/>
                  </a:lnTo>
                  <a:lnTo>
                    <a:pt x="576167" y="187547"/>
                  </a:lnTo>
                  <a:lnTo>
                    <a:pt x="574548" y="187738"/>
                  </a:lnTo>
                  <a:lnTo>
                    <a:pt x="569405" y="185261"/>
                  </a:lnTo>
                  <a:lnTo>
                    <a:pt x="564832" y="174593"/>
                  </a:lnTo>
                  <a:lnTo>
                    <a:pt x="561689" y="174974"/>
                  </a:lnTo>
                  <a:lnTo>
                    <a:pt x="559880" y="173546"/>
                  </a:lnTo>
                  <a:lnTo>
                    <a:pt x="558546" y="175355"/>
                  </a:lnTo>
                  <a:lnTo>
                    <a:pt x="556736" y="174022"/>
                  </a:lnTo>
                  <a:lnTo>
                    <a:pt x="553593" y="174403"/>
                  </a:lnTo>
                  <a:lnTo>
                    <a:pt x="551974" y="174593"/>
                  </a:lnTo>
                  <a:lnTo>
                    <a:pt x="546068" y="165735"/>
                  </a:lnTo>
                  <a:lnTo>
                    <a:pt x="543115" y="167735"/>
                  </a:lnTo>
                  <a:lnTo>
                    <a:pt x="541972" y="171069"/>
                  </a:lnTo>
                  <a:lnTo>
                    <a:pt x="540353" y="171260"/>
                  </a:lnTo>
                  <a:lnTo>
                    <a:pt x="531495" y="164402"/>
                  </a:lnTo>
                  <a:lnTo>
                    <a:pt x="528447" y="153543"/>
                  </a:lnTo>
                  <a:lnTo>
                    <a:pt x="519589" y="146685"/>
                  </a:lnTo>
                  <a:lnTo>
                    <a:pt x="513493" y="149066"/>
                  </a:lnTo>
                  <a:lnTo>
                    <a:pt x="511683" y="147638"/>
                  </a:lnTo>
                  <a:lnTo>
                    <a:pt x="506921" y="148304"/>
                  </a:lnTo>
                  <a:lnTo>
                    <a:pt x="505015" y="145352"/>
                  </a:lnTo>
                  <a:lnTo>
                    <a:pt x="498443" y="144494"/>
                  </a:lnTo>
                  <a:lnTo>
                    <a:pt x="495300" y="144971"/>
                  </a:lnTo>
                  <a:lnTo>
                    <a:pt x="493300" y="142018"/>
                  </a:lnTo>
                  <a:lnTo>
                    <a:pt x="492347" y="134112"/>
                  </a:lnTo>
                  <a:lnTo>
                    <a:pt x="486728" y="115538"/>
                  </a:lnTo>
                  <a:lnTo>
                    <a:pt x="480250" y="114776"/>
                  </a:lnTo>
                  <a:lnTo>
                    <a:pt x="449675" y="113824"/>
                  </a:lnTo>
                  <a:lnTo>
                    <a:pt x="449580" y="88202"/>
                  </a:lnTo>
                  <a:lnTo>
                    <a:pt x="448437" y="78772"/>
                  </a:lnTo>
                  <a:lnTo>
                    <a:pt x="435197" y="75629"/>
                  </a:lnTo>
                  <a:lnTo>
                    <a:pt x="435102" y="62770"/>
                  </a:lnTo>
                  <a:lnTo>
                    <a:pt x="415957" y="63627"/>
                  </a:lnTo>
                  <a:lnTo>
                    <a:pt x="410623" y="59531"/>
                  </a:lnTo>
                  <a:lnTo>
                    <a:pt x="405955" y="60103"/>
                  </a:lnTo>
                  <a:lnTo>
                    <a:pt x="405289" y="55340"/>
                  </a:lnTo>
                  <a:lnTo>
                    <a:pt x="401193" y="60674"/>
                  </a:lnTo>
                  <a:lnTo>
                    <a:pt x="388525" y="49530"/>
                  </a:lnTo>
                  <a:lnTo>
                    <a:pt x="383572" y="48482"/>
                  </a:lnTo>
                  <a:lnTo>
                    <a:pt x="384429" y="54864"/>
                  </a:lnTo>
                  <a:lnTo>
                    <a:pt x="383000" y="56579"/>
                  </a:lnTo>
                  <a:lnTo>
                    <a:pt x="362331" y="57626"/>
                  </a:lnTo>
                  <a:lnTo>
                    <a:pt x="362903" y="75248"/>
                  </a:lnTo>
                  <a:lnTo>
                    <a:pt x="351663" y="75057"/>
                  </a:lnTo>
                  <a:lnTo>
                    <a:pt x="338899" y="75057"/>
                  </a:lnTo>
                  <a:lnTo>
                    <a:pt x="338328" y="83153"/>
                  </a:lnTo>
                  <a:lnTo>
                    <a:pt x="329470" y="89059"/>
                  </a:lnTo>
                  <a:lnTo>
                    <a:pt x="329851" y="92297"/>
                  </a:lnTo>
                  <a:lnTo>
                    <a:pt x="326898" y="94202"/>
                  </a:lnTo>
                  <a:lnTo>
                    <a:pt x="326231" y="89535"/>
                  </a:lnTo>
                  <a:lnTo>
                    <a:pt x="314992" y="89344"/>
                  </a:lnTo>
                  <a:lnTo>
                    <a:pt x="313468" y="89535"/>
                  </a:lnTo>
                  <a:lnTo>
                    <a:pt x="313087" y="86392"/>
                  </a:lnTo>
                  <a:lnTo>
                    <a:pt x="306324" y="84011"/>
                  </a:lnTo>
                  <a:lnTo>
                    <a:pt x="304133" y="79439"/>
                  </a:lnTo>
                  <a:lnTo>
                    <a:pt x="304514" y="69818"/>
                  </a:lnTo>
                  <a:lnTo>
                    <a:pt x="308229" y="61341"/>
                  </a:lnTo>
                  <a:lnTo>
                    <a:pt x="303086" y="58769"/>
                  </a:lnTo>
                  <a:lnTo>
                    <a:pt x="304324" y="55435"/>
                  </a:lnTo>
                  <a:lnTo>
                    <a:pt x="303847" y="52292"/>
                  </a:lnTo>
                  <a:lnTo>
                    <a:pt x="294227" y="51911"/>
                  </a:lnTo>
                  <a:lnTo>
                    <a:pt x="290513" y="47530"/>
                  </a:lnTo>
                  <a:lnTo>
                    <a:pt x="285083" y="43434"/>
                  </a:lnTo>
                  <a:lnTo>
                    <a:pt x="280797" y="47149"/>
                  </a:lnTo>
                  <a:lnTo>
                    <a:pt x="278416" y="53912"/>
                  </a:lnTo>
                  <a:lnTo>
                    <a:pt x="270129" y="51721"/>
                  </a:lnTo>
                  <a:lnTo>
                    <a:pt x="269177" y="56674"/>
                  </a:lnTo>
                  <a:lnTo>
                    <a:pt x="264414" y="57245"/>
                  </a:lnTo>
                  <a:lnTo>
                    <a:pt x="264605" y="58865"/>
                  </a:lnTo>
                  <a:lnTo>
                    <a:pt x="260128" y="61055"/>
                  </a:lnTo>
                  <a:lnTo>
                    <a:pt x="260890" y="67342"/>
                  </a:lnTo>
                  <a:lnTo>
                    <a:pt x="262699" y="68771"/>
                  </a:lnTo>
                  <a:lnTo>
                    <a:pt x="260985" y="80200"/>
                  </a:lnTo>
                  <a:lnTo>
                    <a:pt x="259747" y="83534"/>
                  </a:lnTo>
                  <a:lnTo>
                    <a:pt x="256604" y="83915"/>
                  </a:lnTo>
                  <a:lnTo>
                    <a:pt x="256794" y="85535"/>
                  </a:lnTo>
                  <a:lnTo>
                    <a:pt x="254794" y="82582"/>
                  </a:lnTo>
                  <a:lnTo>
                    <a:pt x="251079" y="91059"/>
                  </a:lnTo>
                  <a:lnTo>
                    <a:pt x="247364" y="86677"/>
                  </a:lnTo>
                  <a:lnTo>
                    <a:pt x="242411" y="85725"/>
                  </a:lnTo>
                  <a:lnTo>
                    <a:pt x="239458" y="87725"/>
                  </a:lnTo>
                  <a:lnTo>
                    <a:pt x="239268" y="86106"/>
                  </a:lnTo>
                  <a:lnTo>
                    <a:pt x="235934" y="84963"/>
                  </a:lnTo>
                  <a:lnTo>
                    <a:pt x="234696" y="88297"/>
                  </a:lnTo>
                  <a:lnTo>
                    <a:pt x="231553" y="88773"/>
                  </a:lnTo>
                  <a:lnTo>
                    <a:pt x="228981" y="93917"/>
                  </a:lnTo>
                  <a:lnTo>
                    <a:pt x="227457" y="94107"/>
                  </a:lnTo>
                  <a:lnTo>
                    <a:pt x="227838" y="97250"/>
                  </a:lnTo>
                  <a:lnTo>
                    <a:pt x="225076" y="100775"/>
                  </a:lnTo>
                  <a:lnTo>
                    <a:pt x="221552" y="98012"/>
                  </a:lnTo>
                  <a:lnTo>
                    <a:pt x="219932" y="98203"/>
                  </a:lnTo>
                  <a:lnTo>
                    <a:pt x="218789" y="101632"/>
                  </a:lnTo>
                  <a:lnTo>
                    <a:pt x="215170" y="98869"/>
                  </a:lnTo>
                  <a:lnTo>
                    <a:pt x="214979" y="97250"/>
                  </a:lnTo>
                  <a:lnTo>
                    <a:pt x="209836" y="94679"/>
                  </a:lnTo>
                  <a:lnTo>
                    <a:pt x="209645" y="93154"/>
                  </a:lnTo>
                  <a:lnTo>
                    <a:pt x="199358" y="88011"/>
                  </a:lnTo>
                  <a:lnTo>
                    <a:pt x="197644" y="86677"/>
                  </a:lnTo>
                  <a:lnTo>
                    <a:pt x="195834" y="85249"/>
                  </a:lnTo>
                  <a:lnTo>
                    <a:pt x="195263" y="93345"/>
                  </a:lnTo>
                  <a:lnTo>
                    <a:pt x="191738" y="90583"/>
                  </a:lnTo>
                  <a:lnTo>
                    <a:pt x="191929" y="92202"/>
                  </a:lnTo>
                  <a:lnTo>
                    <a:pt x="186785" y="89630"/>
                  </a:lnTo>
                  <a:lnTo>
                    <a:pt x="182023" y="90202"/>
                  </a:lnTo>
                  <a:lnTo>
                    <a:pt x="181832" y="88678"/>
                  </a:lnTo>
                  <a:lnTo>
                    <a:pt x="183452" y="88487"/>
                  </a:lnTo>
                  <a:lnTo>
                    <a:pt x="183261" y="86868"/>
                  </a:lnTo>
                  <a:lnTo>
                    <a:pt x="181642" y="87058"/>
                  </a:lnTo>
                  <a:lnTo>
                    <a:pt x="180213" y="88868"/>
                  </a:lnTo>
                  <a:lnTo>
                    <a:pt x="175070" y="86296"/>
                  </a:lnTo>
                  <a:lnTo>
                    <a:pt x="173736" y="88106"/>
                  </a:lnTo>
                  <a:lnTo>
                    <a:pt x="175355" y="87916"/>
                  </a:lnTo>
                  <a:lnTo>
                    <a:pt x="170783" y="90106"/>
                  </a:lnTo>
                  <a:lnTo>
                    <a:pt x="168783" y="87154"/>
                  </a:lnTo>
                  <a:lnTo>
                    <a:pt x="165640" y="87535"/>
                  </a:lnTo>
                  <a:lnTo>
                    <a:pt x="163925" y="86106"/>
                  </a:lnTo>
                  <a:lnTo>
                    <a:pt x="162496" y="87916"/>
                  </a:lnTo>
                  <a:lnTo>
                    <a:pt x="162115" y="84773"/>
                  </a:lnTo>
                  <a:lnTo>
                    <a:pt x="160496" y="84963"/>
                  </a:lnTo>
                  <a:lnTo>
                    <a:pt x="161354" y="91250"/>
                  </a:lnTo>
                  <a:lnTo>
                    <a:pt x="164497" y="90869"/>
                  </a:lnTo>
                  <a:lnTo>
                    <a:pt x="163068" y="92678"/>
                  </a:lnTo>
                  <a:lnTo>
                    <a:pt x="161354" y="91250"/>
                  </a:lnTo>
                  <a:lnTo>
                    <a:pt x="157734" y="88487"/>
                  </a:lnTo>
                  <a:lnTo>
                    <a:pt x="156400" y="90297"/>
                  </a:lnTo>
                  <a:lnTo>
                    <a:pt x="156591" y="91916"/>
                  </a:lnTo>
                  <a:lnTo>
                    <a:pt x="154972" y="92107"/>
                  </a:lnTo>
                  <a:lnTo>
                    <a:pt x="153448" y="92297"/>
                  </a:lnTo>
                  <a:lnTo>
                    <a:pt x="152781" y="87535"/>
                  </a:lnTo>
                  <a:lnTo>
                    <a:pt x="149638" y="87916"/>
                  </a:lnTo>
                  <a:lnTo>
                    <a:pt x="149828" y="76676"/>
                  </a:lnTo>
                  <a:lnTo>
                    <a:pt x="142970" y="72771"/>
                  </a:lnTo>
                  <a:lnTo>
                    <a:pt x="139732" y="73152"/>
                  </a:lnTo>
                  <a:lnTo>
                    <a:pt x="138779" y="78105"/>
                  </a:lnTo>
                  <a:lnTo>
                    <a:pt x="143923" y="80677"/>
                  </a:lnTo>
                  <a:lnTo>
                    <a:pt x="137827" y="83058"/>
                  </a:lnTo>
                  <a:lnTo>
                    <a:pt x="136017" y="81629"/>
                  </a:lnTo>
                  <a:lnTo>
                    <a:pt x="134684" y="83439"/>
                  </a:lnTo>
                  <a:lnTo>
                    <a:pt x="135255" y="88202"/>
                  </a:lnTo>
                  <a:lnTo>
                    <a:pt x="130683" y="90392"/>
                  </a:lnTo>
                  <a:lnTo>
                    <a:pt x="127349" y="89154"/>
                  </a:lnTo>
                  <a:lnTo>
                    <a:pt x="126778" y="84487"/>
                  </a:lnTo>
                  <a:lnTo>
                    <a:pt x="125349" y="86201"/>
                  </a:lnTo>
                  <a:lnTo>
                    <a:pt x="123444" y="83248"/>
                  </a:lnTo>
                  <a:lnTo>
                    <a:pt x="120301" y="83629"/>
                  </a:lnTo>
                  <a:lnTo>
                    <a:pt x="109823" y="89821"/>
                  </a:lnTo>
                  <a:lnTo>
                    <a:pt x="108394" y="91631"/>
                  </a:lnTo>
                  <a:lnTo>
                    <a:pt x="107823" y="99727"/>
                  </a:lnTo>
                  <a:lnTo>
                    <a:pt x="106680" y="103061"/>
                  </a:lnTo>
                  <a:lnTo>
                    <a:pt x="108490" y="104394"/>
                  </a:lnTo>
                  <a:lnTo>
                    <a:pt x="110680" y="108966"/>
                  </a:lnTo>
                  <a:lnTo>
                    <a:pt x="109252" y="110776"/>
                  </a:lnTo>
                  <a:lnTo>
                    <a:pt x="105727" y="108014"/>
                  </a:lnTo>
                  <a:lnTo>
                    <a:pt x="102965" y="111538"/>
                  </a:lnTo>
                  <a:lnTo>
                    <a:pt x="98393" y="113729"/>
                  </a:lnTo>
                  <a:lnTo>
                    <a:pt x="98584" y="115252"/>
                  </a:lnTo>
                  <a:lnTo>
                    <a:pt x="96869" y="113919"/>
                  </a:lnTo>
                  <a:lnTo>
                    <a:pt x="85630" y="113729"/>
                  </a:lnTo>
                  <a:lnTo>
                    <a:pt x="86201" y="118491"/>
                  </a:lnTo>
                  <a:lnTo>
                    <a:pt x="90964" y="117919"/>
                  </a:lnTo>
                  <a:lnTo>
                    <a:pt x="88011" y="119825"/>
                  </a:lnTo>
                  <a:lnTo>
                    <a:pt x="83058" y="118872"/>
                  </a:lnTo>
                  <a:lnTo>
                    <a:pt x="83248" y="120491"/>
                  </a:lnTo>
                  <a:lnTo>
                    <a:pt x="78962" y="124206"/>
                  </a:lnTo>
                  <a:lnTo>
                    <a:pt x="77343" y="124396"/>
                  </a:lnTo>
                  <a:lnTo>
                    <a:pt x="73247" y="129731"/>
                  </a:lnTo>
                  <a:lnTo>
                    <a:pt x="60960" y="134493"/>
                  </a:lnTo>
                  <a:lnTo>
                    <a:pt x="50863" y="118205"/>
                  </a:lnTo>
                  <a:lnTo>
                    <a:pt x="49054" y="116777"/>
                  </a:lnTo>
                  <a:lnTo>
                    <a:pt x="47530" y="116967"/>
                  </a:lnTo>
                  <a:lnTo>
                    <a:pt x="50292" y="126302"/>
                  </a:lnTo>
                  <a:lnTo>
                    <a:pt x="44386" y="130207"/>
                  </a:lnTo>
                  <a:lnTo>
                    <a:pt x="39243" y="127635"/>
                  </a:lnTo>
                  <a:lnTo>
                    <a:pt x="38671" y="122968"/>
                  </a:lnTo>
                  <a:lnTo>
                    <a:pt x="35147" y="120206"/>
                  </a:lnTo>
                  <a:lnTo>
                    <a:pt x="29146" y="124111"/>
                  </a:lnTo>
                  <a:lnTo>
                    <a:pt x="25622" y="134207"/>
                  </a:lnTo>
                  <a:lnTo>
                    <a:pt x="32766" y="139732"/>
                  </a:lnTo>
                  <a:lnTo>
                    <a:pt x="37147" y="135922"/>
                  </a:lnTo>
                  <a:lnTo>
                    <a:pt x="41243" y="143446"/>
                  </a:lnTo>
                  <a:lnTo>
                    <a:pt x="44386" y="143066"/>
                  </a:lnTo>
                  <a:lnTo>
                    <a:pt x="39910" y="145256"/>
                  </a:lnTo>
                  <a:lnTo>
                    <a:pt x="36100" y="140875"/>
                  </a:lnTo>
                  <a:lnTo>
                    <a:pt x="33338" y="144494"/>
                  </a:lnTo>
                  <a:lnTo>
                    <a:pt x="30194" y="144875"/>
                  </a:lnTo>
                  <a:lnTo>
                    <a:pt x="28861" y="146685"/>
                  </a:lnTo>
                  <a:lnTo>
                    <a:pt x="31432" y="154305"/>
                  </a:lnTo>
                  <a:lnTo>
                    <a:pt x="33623" y="158877"/>
                  </a:lnTo>
                  <a:lnTo>
                    <a:pt x="33814" y="173260"/>
                  </a:lnTo>
                  <a:lnTo>
                    <a:pt x="27337" y="172498"/>
                  </a:lnTo>
                  <a:lnTo>
                    <a:pt x="22765" y="174689"/>
                  </a:lnTo>
                  <a:lnTo>
                    <a:pt x="21050" y="173260"/>
                  </a:lnTo>
                  <a:lnTo>
                    <a:pt x="21431" y="176403"/>
                  </a:lnTo>
                  <a:lnTo>
                    <a:pt x="18288" y="176879"/>
                  </a:lnTo>
                  <a:lnTo>
                    <a:pt x="16478" y="175450"/>
                  </a:lnTo>
                  <a:lnTo>
                    <a:pt x="13144" y="174308"/>
                  </a:lnTo>
                  <a:lnTo>
                    <a:pt x="11906" y="177641"/>
                  </a:lnTo>
                  <a:lnTo>
                    <a:pt x="8954" y="179642"/>
                  </a:lnTo>
                  <a:lnTo>
                    <a:pt x="9239" y="181261"/>
                  </a:lnTo>
                  <a:lnTo>
                    <a:pt x="12763" y="183928"/>
                  </a:lnTo>
                  <a:lnTo>
                    <a:pt x="24003" y="184118"/>
                  </a:lnTo>
                  <a:lnTo>
                    <a:pt x="22860" y="187547"/>
                  </a:lnTo>
                  <a:lnTo>
                    <a:pt x="27337" y="185356"/>
                  </a:lnTo>
                  <a:lnTo>
                    <a:pt x="28004" y="190024"/>
                  </a:lnTo>
                  <a:lnTo>
                    <a:pt x="26575" y="191834"/>
                  </a:lnTo>
                  <a:lnTo>
                    <a:pt x="24765" y="190500"/>
                  </a:lnTo>
                  <a:lnTo>
                    <a:pt x="23431" y="192215"/>
                  </a:lnTo>
                  <a:lnTo>
                    <a:pt x="18288" y="189643"/>
                  </a:lnTo>
                  <a:lnTo>
                    <a:pt x="18479" y="191262"/>
                  </a:lnTo>
                  <a:lnTo>
                    <a:pt x="21812" y="192405"/>
                  </a:lnTo>
                  <a:lnTo>
                    <a:pt x="20288" y="192596"/>
                  </a:lnTo>
                  <a:lnTo>
                    <a:pt x="15145" y="190119"/>
                  </a:lnTo>
                  <a:lnTo>
                    <a:pt x="11811" y="188881"/>
                  </a:lnTo>
                  <a:lnTo>
                    <a:pt x="6096" y="194405"/>
                  </a:lnTo>
                  <a:lnTo>
                    <a:pt x="0" y="196787"/>
                  </a:lnTo>
                  <a:lnTo>
                    <a:pt x="5334" y="200977"/>
                  </a:lnTo>
                  <a:lnTo>
                    <a:pt x="5715" y="204121"/>
                  </a:lnTo>
                  <a:lnTo>
                    <a:pt x="7239" y="203930"/>
                  </a:lnTo>
                  <a:lnTo>
                    <a:pt x="8096" y="210217"/>
                  </a:lnTo>
                  <a:lnTo>
                    <a:pt x="11621" y="212979"/>
                  </a:lnTo>
                  <a:lnTo>
                    <a:pt x="13240" y="212789"/>
                  </a:lnTo>
                  <a:lnTo>
                    <a:pt x="11811" y="214598"/>
                  </a:lnTo>
                  <a:lnTo>
                    <a:pt x="14954" y="214122"/>
                  </a:lnTo>
                  <a:lnTo>
                    <a:pt x="15430" y="217265"/>
                  </a:lnTo>
                  <a:lnTo>
                    <a:pt x="20574" y="219837"/>
                  </a:lnTo>
                  <a:lnTo>
                    <a:pt x="25717" y="222409"/>
                  </a:lnTo>
                  <a:lnTo>
                    <a:pt x="27432" y="223838"/>
                  </a:lnTo>
                  <a:lnTo>
                    <a:pt x="31623" y="218504"/>
                  </a:lnTo>
                  <a:lnTo>
                    <a:pt x="39910" y="220599"/>
                  </a:lnTo>
                  <a:lnTo>
                    <a:pt x="38481" y="222409"/>
                  </a:lnTo>
                  <a:lnTo>
                    <a:pt x="36767" y="220980"/>
                  </a:lnTo>
                  <a:lnTo>
                    <a:pt x="40481" y="225362"/>
                  </a:lnTo>
                  <a:lnTo>
                    <a:pt x="43434" y="223361"/>
                  </a:lnTo>
                  <a:lnTo>
                    <a:pt x="48577" y="225933"/>
                  </a:lnTo>
                  <a:lnTo>
                    <a:pt x="44196" y="229648"/>
                  </a:lnTo>
                  <a:lnTo>
                    <a:pt x="41053" y="230029"/>
                  </a:lnTo>
                  <a:lnTo>
                    <a:pt x="43053" y="232981"/>
                  </a:lnTo>
                  <a:lnTo>
                    <a:pt x="46387" y="234220"/>
                  </a:lnTo>
                  <a:lnTo>
                    <a:pt x="49625" y="233839"/>
                  </a:lnTo>
                  <a:lnTo>
                    <a:pt x="49816" y="235363"/>
                  </a:lnTo>
                  <a:lnTo>
                    <a:pt x="51149" y="233648"/>
                  </a:lnTo>
                  <a:lnTo>
                    <a:pt x="52959" y="234982"/>
                  </a:lnTo>
                  <a:lnTo>
                    <a:pt x="58102" y="237554"/>
                  </a:lnTo>
                  <a:lnTo>
                    <a:pt x="65342" y="231839"/>
                  </a:lnTo>
                  <a:lnTo>
                    <a:pt x="67151" y="233172"/>
                  </a:lnTo>
                  <a:lnTo>
                    <a:pt x="67532" y="236315"/>
                  </a:lnTo>
                  <a:lnTo>
                    <a:pt x="69342" y="237744"/>
                  </a:lnTo>
                  <a:lnTo>
                    <a:pt x="66389" y="239649"/>
                  </a:lnTo>
                  <a:lnTo>
                    <a:pt x="67151" y="246031"/>
                  </a:lnTo>
                  <a:lnTo>
                    <a:pt x="70294" y="245555"/>
                  </a:lnTo>
                  <a:lnTo>
                    <a:pt x="73819" y="235553"/>
                  </a:lnTo>
                  <a:lnTo>
                    <a:pt x="75819" y="238506"/>
                  </a:lnTo>
                  <a:lnTo>
                    <a:pt x="74676" y="241840"/>
                  </a:lnTo>
                  <a:lnTo>
                    <a:pt x="77819" y="241459"/>
                  </a:lnTo>
                  <a:lnTo>
                    <a:pt x="76867" y="246412"/>
                  </a:lnTo>
                  <a:lnTo>
                    <a:pt x="77438" y="251079"/>
                  </a:lnTo>
                  <a:lnTo>
                    <a:pt x="76105" y="252889"/>
                  </a:lnTo>
                  <a:lnTo>
                    <a:pt x="68580" y="257080"/>
                  </a:lnTo>
                  <a:lnTo>
                    <a:pt x="68771" y="258604"/>
                  </a:lnTo>
                  <a:lnTo>
                    <a:pt x="70771" y="261556"/>
                  </a:lnTo>
                  <a:lnTo>
                    <a:pt x="79438" y="266890"/>
                  </a:lnTo>
                  <a:lnTo>
                    <a:pt x="98774" y="280416"/>
                  </a:lnTo>
                  <a:lnTo>
                    <a:pt x="100203" y="278702"/>
                  </a:lnTo>
                  <a:lnTo>
                    <a:pt x="103346" y="278225"/>
                  </a:lnTo>
                  <a:lnTo>
                    <a:pt x="105537" y="282797"/>
                  </a:lnTo>
                  <a:lnTo>
                    <a:pt x="106871" y="280988"/>
                  </a:lnTo>
                  <a:lnTo>
                    <a:pt x="108680" y="282416"/>
                  </a:lnTo>
                  <a:lnTo>
                    <a:pt x="110490" y="283750"/>
                  </a:lnTo>
                  <a:lnTo>
                    <a:pt x="109252" y="287179"/>
                  </a:lnTo>
                  <a:lnTo>
                    <a:pt x="112681" y="288322"/>
                  </a:lnTo>
                  <a:lnTo>
                    <a:pt x="115443" y="284798"/>
                  </a:lnTo>
                  <a:lnTo>
                    <a:pt x="119348" y="290703"/>
                  </a:lnTo>
                  <a:lnTo>
                    <a:pt x="116776" y="295847"/>
                  </a:lnTo>
                  <a:lnTo>
                    <a:pt x="118586" y="297180"/>
                  </a:lnTo>
                  <a:lnTo>
                    <a:pt x="117634" y="302133"/>
                  </a:lnTo>
                  <a:lnTo>
                    <a:pt x="119634" y="305086"/>
                  </a:lnTo>
                  <a:lnTo>
                    <a:pt x="116205" y="303943"/>
                  </a:lnTo>
                  <a:lnTo>
                    <a:pt x="111728" y="306038"/>
                  </a:lnTo>
                  <a:lnTo>
                    <a:pt x="107537" y="311372"/>
                  </a:lnTo>
                  <a:lnTo>
                    <a:pt x="117062" y="322993"/>
                  </a:lnTo>
                  <a:lnTo>
                    <a:pt x="118872" y="324422"/>
                  </a:lnTo>
                  <a:lnTo>
                    <a:pt x="120682" y="325755"/>
                  </a:lnTo>
                  <a:lnTo>
                    <a:pt x="121063" y="328898"/>
                  </a:lnTo>
                  <a:lnTo>
                    <a:pt x="119825" y="332327"/>
                  </a:lnTo>
                  <a:lnTo>
                    <a:pt x="118491" y="334042"/>
                  </a:lnTo>
                  <a:lnTo>
                    <a:pt x="114967" y="331280"/>
                  </a:lnTo>
                  <a:lnTo>
                    <a:pt x="115919" y="339185"/>
                  </a:lnTo>
                  <a:lnTo>
                    <a:pt x="114395" y="339376"/>
                  </a:lnTo>
                  <a:lnTo>
                    <a:pt x="113347" y="344329"/>
                  </a:lnTo>
                  <a:lnTo>
                    <a:pt x="111823" y="344519"/>
                  </a:lnTo>
                  <a:lnTo>
                    <a:pt x="112014" y="346139"/>
                  </a:lnTo>
                  <a:lnTo>
                    <a:pt x="106680" y="354806"/>
                  </a:lnTo>
                  <a:lnTo>
                    <a:pt x="110300" y="357569"/>
                  </a:lnTo>
                  <a:lnTo>
                    <a:pt x="107251" y="359569"/>
                  </a:lnTo>
                  <a:lnTo>
                    <a:pt x="98012" y="362331"/>
                  </a:lnTo>
                  <a:lnTo>
                    <a:pt x="96488" y="362522"/>
                  </a:lnTo>
                  <a:lnTo>
                    <a:pt x="96869" y="365665"/>
                  </a:lnTo>
                  <a:lnTo>
                    <a:pt x="96869" y="365665"/>
                  </a:lnTo>
                  <a:lnTo>
                    <a:pt x="95726" y="369094"/>
                  </a:lnTo>
                  <a:lnTo>
                    <a:pt x="100775" y="371570"/>
                  </a:lnTo>
                  <a:lnTo>
                    <a:pt x="100013" y="378143"/>
                  </a:lnTo>
                  <a:lnTo>
                    <a:pt x="99060" y="383095"/>
                  </a:lnTo>
                  <a:lnTo>
                    <a:pt x="100870" y="384429"/>
                  </a:lnTo>
                  <a:lnTo>
                    <a:pt x="100108" y="390906"/>
                  </a:lnTo>
                  <a:lnTo>
                    <a:pt x="98488" y="391192"/>
                  </a:lnTo>
                  <a:lnTo>
                    <a:pt x="96488" y="388239"/>
                  </a:lnTo>
                  <a:lnTo>
                    <a:pt x="93917" y="393287"/>
                  </a:lnTo>
                  <a:lnTo>
                    <a:pt x="97536" y="396049"/>
                  </a:lnTo>
                  <a:lnTo>
                    <a:pt x="98298" y="402431"/>
                  </a:lnTo>
                  <a:lnTo>
                    <a:pt x="95155" y="402812"/>
                  </a:lnTo>
                  <a:lnTo>
                    <a:pt x="105823" y="411099"/>
                  </a:lnTo>
                  <a:lnTo>
                    <a:pt x="110966" y="413576"/>
                  </a:lnTo>
                  <a:lnTo>
                    <a:pt x="114776" y="417957"/>
                  </a:lnTo>
                  <a:lnTo>
                    <a:pt x="118491" y="422243"/>
                  </a:lnTo>
                  <a:lnTo>
                    <a:pt x="122015" y="425006"/>
                  </a:lnTo>
                  <a:lnTo>
                    <a:pt x="128588" y="425768"/>
                  </a:lnTo>
                  <a:lnTo>
                    <a:pt x="137827" y="435864"/>
                  </a:lnTo>
                  <a:lnTo>
                    <a:pt x="142589" y="435293"/>
                  </a:lnTo>
                  <a:lnTo>
                    <a:pt x="142970" y="438436"/>
                  </a:lnTo>
                  <a:lnTo>
                    <a:pt x="144971" y="441389"/>
                  </a:lnTo>
                  <a:lnTo>
                    <a:pt x="151257" y="440531"/>
                  </a:lnTo>
                  <a:lnTo>
                    <a:pt x="150304" y="445484"/>
                  </a:lnTo>
                  <a:lnTo>
                    <a:pt x="150495" y="447103"/>
                  </a:lnTo>
                  <a:lnTo>
                    <a:pt x="154305" y="451390"/>
                  </a:lnTo>
                  <a:lnTo>
                    <a:pt x="157448" y="451009"/>
                  </a:lnTo>
                  <a:lnTo>
                    <a:pt x="159258" y="452342"/>
                  </a:lnTo>
                  <a:lnTo>
                    <a:pt x="162401" y="451961"/>
                  </a:lnTo>
                  <a:lnTo>
                    <a:pt x="160972" y="453771"/>
                  </a:lnTo>
                  <a:lnTo>
                    <a:pt x="163163" y="458248"/>
                  </a:lnTo>
                  <a:lnTo>
                    <a:pt x="160401" y="461867"/>
                  </a:lnTo>
                  <a:lnTo>
                    <a:pt x="162401" y="464820"/>
                  </a:lnTo>
                  <a:lnTo>
                    <a:pt x="163354" y="459867"/>
                  </a:lnTo>
                  <a:lnTo>
                    <a:pt x="163735" y="463010"/>
                  </a:lnTo>
                  <a:lnTo>
                    <a:pt x="166497" y="459486"/>
                  </a:lnTo>
                  <a:lnTo>
                    <a:pt x="168497" y="462439"/>
                  </a:lnTo>
                  <a:lnTo>
                    <a:pt x="171450" y="460439"/>
                  </a:lnTo>
                  <a:lnTo>
                    <a:pt x="174784" y="461582"/>
                  </a:lnTo>
                  <a:lnTo>
                    <a:pt x="181165" y="460819"/>
                  </a:lnTo>
                  <a:lnTo>
                    <a:pt x="181356" y="462344"/>
                  </a:lnTo>
                  <a:lnTo>
                    <a:pt x="184499" y="461963"/>
                  </a:lnTo>
                  <a:lnTo>
                    <a:pt x="184309" y="460439"/>
                  </a:lnTo>
                  <a:lnTo>
                    <a:pt x="189071" y="459772"/>
                  </a:lnTo>
                  <a:lnTo>
                    <a:pt x="188595" y="456628"/>
                  </a:lnTo>
                  <a:lnTo>
                    <a:pt x="194977" y="455867"/>
                  </a:lnTo>
                  <a:lnTo>
                    <a:pt x="193738" y="459200"/>
                  </a:lnTo>
                  <a:lnTo>
                    <a:pt x="197929" y="466725"/>
                  </a:lnTo>
                  <a:lnTo>
                    <a:pt x="199263" y="464915"/>
                  </a:lnTo>
                  <a:lnTo>
                    <a:pt x="201073" y="466249"/>
                  </a:lnTo>
                  <a:lnTo>
                    <a:pt x="207359" y="465487"/>
                  </a:lnTo>
                  <a:lnTo>
                    <a:pt x="207931" y="457390"/>
                  </a:lnTo>
                  <a:lnTo>
                    <a:pt x="210693" y="453866"/>
                  </a:lnTo>
                  <a:lnTo>
                    <a:pt x="214694" y="459772"/>
                  </a:lnTo>
                  <a:lnTo>
                    <a:pt x="216503" y="461105"/>
                  </a:lnTo>
                  <a:lnTo>
                    <a:pt x="219646" y="460724"/>
                  </a:lnTo>
                  <a:lnTo>
                    <a:pt x="219837" y="462344"/>
                  </a:lnTo>
                  <a:lnTo>
                    <a:pt x="227743" y="461296"/>
                  </a:lnTo>
                  <a:lnTo>
                    <a:pt x="229648" y="464248"/>
                  </a:lnTo>
                  <a:lnTo>
                    <a:pt x="226504" y="464630"/>
                  </a:lnTo>
                  <a:lnTo>
                    <a:pt x="226886" y="467773"/>
                  </a:lnTo>
                  <a:lnTo>
                    <a:pt x="230696" y="472154"/>
                  </a:lnTo>
                  <a:lnTo>
                    <a:pt x="235077" y="468344"/>
                  </a:lnTo>
                  <a:lnTo>
                    <a:pt x="235648" y="473107"/>
                  </a:lnTo>
                  <a:lnTo>
                    <a:pt x="240602" y="474059"/>
                  </a:lnTo>
                  <a:lnTo>
                    <a:pt x="244697" y="468725"/>
                  </a:lnTo>
                  <a:lnTo>
                    <a:pt x="243554" y="472059"/>
                  </a:lnTo>
                  <a:lnTo>
                    <a:pt x="246888" y="473297"/>
                  </a:lnTo>
                  <a:lnTo>
                    <a:pt x="247650" y="479584"/>
                  </a:lnTo>
                  <a:lnTo>
                    <a:pt x="249269" y="479393"/>
                  </a:lnTo>
                  <a:lnTo>
                    <a:pt x="251079" y="480727"/>
                  </a:lnTo>
                  <a:lnTo>
                    <a:pt x="252603" y="480536"/>
                  </a:lnTo>
                  <a:lnTo>
                    <a:pt x="251460" y="483965"/>
                  </a:lnTo>
                  <a:lnTo>
                    <a:pt x="249841" y="484156"/>
                  </a:lnTo>
                  <a:lnTo>
                    <a:pt x="251650" y="485489"/>
                  </a:lnTo>
                  <a:lnTo>
                    <a:pt x="253174" y="485299"/>
                  </a:lnTo>
                  <a:lnTo>
                    <a:pt x="253460" y="486918"/>
                  </a:lnTo>
                  <a:lnTo>
                    <a:pt x="256413" y="484918"/>
                  </a:lnTo>
                  <a:lnTo>
                    <a:pt x="258128" y="486251"/>
                  </a:lnTo>
                  <a:lnTo>
                    <a:pt x="260318" y="490823"/>
                  </a:lnTo>
                  <a:lnTo>
                    <a:pt x="258985" y="492633"/>
                  </a:lnTo>
                  <a:lnTo>
                    <a:pt x="267462" y="496348"/>
                  </a:lnTo>
                  <a:lnTo>
                    <a:pt x="267271" y="494728"/>
                  </a:lnTo>
                  <a:lnTo>
                    <a:pt x="276701" y="493490"/>
                  </a:lnTo>
                  <a:lnTo>
                    <a:pt x="282035" y="497681"/>
                  </a:lnTo>
                  <a:lnTo>
                    <a:pt x="286798" y="497015"/>
                  </a:lnTo>
                  <a:lnTo>
                    <a:pt x="291941" y="499586"/>
                  </a:lnTo>
                  <a:lnTo>
                    <a:pt x="291560" y="496443"/>
                  </a:lnTo>
                  <a:lnTo>
                    <a:pt x="296228" y="495872"/>
                  </a:lnTo>
                  <a:lnTo>
                    <a:pt x="293941" y="502539"/>
                  </a:lnTo>
                  <a:lnTo>
                    <a:pt x="290608" y="514255"/>
                  </a:lnTo>
                  <a:lnTo>
                    <a:pt x="292132" y="514064"/>
                  </a:lnTo>
                  <a:lnTo>
                    <a:pt x="291560" y="522065"/>
                  </a:lnTo>
                  <a:lnTo>
                    <a:pt x="293561" y="525113"/>
                  </a:lnTo>
                  <a:lnTo>
                    <a:pt x="296704" y="524637"/>
                  </a:lnTo>
                  <a:lnTo>
                    <a:pt x="301085" y="520922"/>
                  </a:lnTo>
                  <a:lnTo>
                    <a:pt x="302800" y="522256"/>
                  </a:lnTo>
                  <a:lnTo>
                    <a:pt x="302609" y="520732"/>
                  </a:lnTo>
                  <a:lnTo>
                    <a:pt x="305562" y="518732"/>
                  </a:lnTo>
                  <a:lnTo>
                    <a:pt x="309372" y="523018"/>
                  </a:lnTo>
                  <a:lnTo>
                    <a:pt x="313849" y="520827"/>
                  </a:lnTo>
                  <a:lnTo>
                    <a:pt x="315849" y="523875"/>
                  </a:lnTo>
                  <a:lnTo>
                    <a:pt x="320992" y="526352"/>
                  </a:lnTo>
                  <a:lnTo>
                    <a:pt x="321183" y="527971"/>
                  </a:lnTo>
                  <a:lnTo>
                    <a:pt x="324326" y="527590"/>
                  </a:lnTo>
                  <a:lnTo>
                    <a:pt x="330708" y="539591"/>
                  </a:lnTo>
                  <a:lnTo>
                    <a:pt x="342138" y="541306"/>
                  </a:lnTo>
                  <a:lnTo>
                    <a:pt x="344329" y="545878"/>
                  </a:lnTo>
                  <a:lnTo>
                    <a:pt x="350234" y="541877"/>
                  </a:lnTo>
                  <a:lnTo>
                    <a:pt x="354521" y="538163"/>
                  </a:lnTo>
                  <a:lnTo>
                    <a:pt x="354616" y="550926"/>
                  </a:lnTo>
                  <a:lnTo>
                    <a:pt x="350044" y="553117"/>
                  </a:lnTo>
                  <a:lnTo>
                    <a:pt x="343567" y="565214"/>
                  </a:lnTo>
                  <a:lnTo>
                    <a:pt x="349282" y="572453"/>
                  </a:lnTo>
                  <a:lnTo>
                    <a:pt x="348139" y="575882"/>
                  </a:lnTo>
                  <a:lnTo>
                    <a:pt x="358807" y="584073"/>
                  </a:lnTo>
                  <a:lnTo>
                    <a:pt x="366713" y="583120"/>
                  </a:lnTo>
                  <a:lnTo>
                    <a:pt x="377190" y="589788"/>
                  </a:lnTo>
                  <a:lnTo>
                    <a:pt x="382143" y="590740"/>
                  </a:lnTo>
                  <a:lnTo>
                    <a:pt x="382333" y="592360"/>
                  </a:lnTo>
                  <a:lnTo>
                    <a:pt x="384143" y="593693"/>
                  </a:lnTo>
                  <a:lnTo>
                    <a:pt x="393382" y="603790"/>
                  </a:lnTo>
                  <a:lnTo>
                    <a:pt x="396526" y="603314"/>
                  </a:lnTo>
                  <a:lnTo>
                    <a:pt x="399479" y="601409"/>
                  </a:lnTo>
                  <a:lnTo>
                    <a:pt x="404241" y="600742"/>
                  </a:lnTo>
                  <a:lnTo>
                    <a:pt x="409384" y="603314"/>
                  </a:lnTo>
                  <a:lnTo>
                    <a:pt x="414147" y="602742"/>
                  </a:lnTo>
                  <a:lnTo>
                    <a:pt x="413956" y="601123"/>
                  </a:lnTo>
                  <a:lnTo>
                    <a:pt x="421577" y="598551"/>
                  </a:lnTo>
                  <a:lnTo>
                    <a:pt x="416623" y="584740"/>
                  </a:lnTo>
                  <a:lnTo>
                    <a:pt x="428054" y="586549"/>
                  </a:lnTo>
                  <a:lnTo>
                    <a:pt x="429482" y="584740"/>
                  </a:lnTo>
                  <a:lnTo>
                    <a:pt x="431006" y="584549"/>
                  </a:lnTo>
                  <a:lnTo>
                    <a:pt x="428244" y="575215"/>
                  </a:lnTo>
                  <a:lnTo>
                    <a:pt x="430244" y="565404"/>
                  </a:lnTo>
                  <a:lnTo>
                    <a:pt x="445961" y="550545"/>
                  </a:lnTo>
                  <a:lnTo>
                    <a:pt x="446722" y="544068"/>
                  </a:lnTo>
                  <a:lnTo>
                    <a:pt x="451485" y="543401"/>
                  </a:lnTo>
                  <a:lnTo>
                    <a:pt x="453485" y="546354"/>
                  </a:lnTo>
                  <a:lnTo>
                    <a:pt x="456438" y="544449"/>
                  </a:lnTo>
                  <a:lnTo>
                    <a:pt x="455200" y="547783"/>
                  </a:lnTo>
                  <a:lnTo>
                    <a:pt x="453866" y="549593"/>
                  </a:lnTo>
                  <a:lnTo>
                    <a:pt x="456057" y="554069"/>
                  </a:lnTo>
                  <a:lnTo>
                    <a:pt x="454438" y="554260"/>
                  </a:lnTo>
                  <a:lnTo>
                    <a:pt x="455105" y="559022"/>
                  </a:lnTo>
                  <a:lnTo>
                    <a:pt x="464153" y="567499"/>
                  </a:lnTo>
                  <a:lnTo>
                    <a:pt x="469106" y="568452"/>
                  </a:lnTo>
                  <a:lnTo>
                    <a:pt x="473773" y="567881"/>
                  </a:lnTo>
                  <a:lnTo>
                    <a:pt x="475774" y="570833"/>
                  </a:lnTo>
                  <a:lnTo>
                    <a:pt x="482537" y="573119"/>
                  </a:lnTo>
                  <a:lnTo>
                    <a:pt x="484251" y="574548"/>
                  </a:lnTo>
                  <a:lnTo>
                    <a:pt x="486823" y="569405"/>
                  </a:lnTo>
                  <a:lnTo>
                    <a:pt x="490252" y="570548"/>
                  </a:lnTo>
                  <a:lnTo>
                    <a:pt x="493395" y="570167"/>
                  </a:lnTo>
                  <a:lnTo>
                    <a:pt x="498538" y="572738"/>
                  </a:lnTo>
                  <a:lnTo>
                    <a:pt x="500063" y="572548"/>
                  </a:lnTo>
                  <a:lnTo>
                    <a:pt x="503872" y="576834"/>
                  </a:lnTo>
                  <a:lnTo>
                    <a:pt x="507397" y="579596"/>
                  </a:lnTo>
                  <a:lnTo>
                    <a:pt x="507587" y="581215"/>
                  </a:lnTo>
                  <a:lnTo>
                    <a:pt x="513112" y="586931"/>
                  </a:lnTo>
                  <a:lnTo>
                    <a:pt x="516541" y="600932"/>
                  </a:lnTo>
                  <a:lnTo>
                    <a:pt x="522065" y="606647"/>
                  </a:lnTo>
                  <a:lnTo>
                    <a:pt x="526161" y="601313"/>
                  </a:lnTo>
                  <a:lnTo>
                    <a:pt x="529590" y="602456"/>
                  </a:lnTo>
                  <a:lnTo>
                    <a:pt x="529399" y="600837"/>
                  </a:lnTo>
                  <a:lnTo>
                    <a:pt x="539210" y="602837"/>
                  </a:lnTo>
                  <a:lnTo>
                    <a:pt x="548069" y="596836"/>
                  </a:lnTo>
                  <a:lnTo>
                    <a:pt x="551879" y="601218"/>
                  </a:lnTo>
                  <a:lnTo>
                    <a:pt x="555784" y="607124"/>
                  </a:lnTo>
                  <a:lnTo>
                    <a:pt x="554641" y="610457"/>
                  </a:lnTo>
                  <a:lnTo>
                    <a:pt x="557974" y="611695"/>
                  </a:lnTo>
                  <a:lnTo>
                    <a:pt x="562356" y="607886"/>
                  </a:lnTo>
                  <a:lnTo>
                    <a:pt x="568642" y="607124"/>
                  </a:lnTo>
                  <a:lnTo>
                    <a:pt x="572357" y="611410"/>
                  </a:lnTo>
                  <a:lnTo>
                    <a:pt x="579501" y="616934"/>
                  </a:lnTo>
                  <a:lnTo>
                    <a:pt x="582644" y="616553"/>
                  </a:lnTo>
                  <a:lnTo>
                    <a:pt x="583692" y="611600"/>
                  </a:lnTo>
                  <a:lnTo>
                    <a:pt x="586835" y="611219"/>
                  </a:lnTo>
                  <a:lnTo>
                    <a:pt x="589216" y="617315"/>
                  </a:lnTo>
                  <a:lnTo>
                    <a:pt x="594550" y="621411"/>
                  </a:lnTo>
                  <a:lnTo>
                    <a:pt x="594931" y="624554"/>
                  </a:lnTo>
                  <a:lnTo>
                    <a:pt x="599694" y="623983"/>
                  </a:lnTo>
                  <a:lnTo>
                    <a:pt x="601408" y="625316"/>
                  </a:lnTo>
                  <a:lnTo>
                    <a:pt x="602837" y="623602"/>
                  </a:lnTo>
                  <a:lnTo>
                    <a:pt x="609695" y="627507"/>
                  </a:lnTo>
                  <a:lnTo>
                    <a:pt x="617982" y="629698"/>
                  </a:lnTo>
                  <a:lnTo>
                    <a:pt x="621792" y="633984"/>
                  </a:lnTo>
                  <a:lnTo>
                    <a:pt x="631507" y="647224"/>
                  </a:lnTo>
                  <a:lnTo>
                    <a:pt x="637222" y="654463"/>
                  </a:lnTo>
                  <a:lnTo>
                    <a:pt x="642366" y="657035"/>
                  </a:lnTo>
                  <a:lnTo>
                    <a:pt x="640366" y="666940"/>
                  </a:lnTo>
                  <a:lnTo>
                    <a:pt x="647129" y="669227"/>
                  </a:lnTo>
                  <a:lnTo>
                    <a:pt x="650653" y="671989"/>
                  </a:lnTo>
                  <a:lnTo>
                    <a:pt x="653034" y="678085"/>
                  </a:lnTo>
                  <a:lnTo>
                    <a:pt x="657987" y="679132"/>
                  </a:lnTo>
                  <a:lnTo>
                    <a:pt x="661130" y="678656"/>
                  </a:lnTo>
                  <a:lnTo>
                    <a:pt x="663702" y="673513"/>
                  </a:lnTo>
                  <a:lnTo>
                    <a:pt x="670846" y="679037"/>
                  </a:lnTo>
                  <a:lnTo>
                    <a:pt x="673798" y="677037"/>
                  </a:lnTo>
                  <a:lnTo>
                    <a:pt x="682657" y="683990"/>
                  </a:lnTo>
                  <a:lnTo>
                    <a:pt x="688943" y="683133"/>
                  </a:lnTo>
                  <a:lnTo>
                    <a:pt x="695706" y="685514"/>
                  </a:lnTo>
                  <a:lnTo>
                    <a:pt x="698087" y="691610"/>
                  </a:lnTo>
                  <a:lnTo>
                    <a:pt x="703802" y="698945"/>
                  </a:lnTo>
                  <a:lnTo>
                    <a:pt x="710184" y="698087"/>
                  </a:lnTo>
                  <a:lnTo>
                    <a:pt x="715708" y="703802"/>
                  </a:lnTo>
                  <a:lnTo>
                    <a:pt x="716280" y="708565"/>
                  </a:lnTo>
                  <a:lnTo>
                    <a:pt x="725996" y="721709"/>
                  </a:lnTo>
                  <a:lnTo>
                    <a:pt x="729329" y="722948"/>
                  </a:lnTo>
                  <a:lnTo>
                    <a:pt x="733330" y="728853"/>
                  </a:lnTo>
                  <a:lnTo>
                    <a:pt x="738378" y="731425"/>
                  </a:lnTo>
                  <a:lnTo>
                    <a:pt x="737616" y="725043"/>
                  </a:lnTo>
                  <a:lnTo>
                    <a:pt x="746284" y="717518"/>
                  </a:lnTo>
                  <a:lnTo>
                    <a:pt x="743712" y="709898"/>
                  </a:lnTo>
                  <a:lnTo>
                    <a:pt x="744664" y="704945"/>
                  </a:lnTo>
                  <a:lnTo>
                    <a:pt x="751427" y="707327"/>
                  </a:lnTo>
                  <a:lnTo>
                    <a:pt x="755904" y="705136"/>
                  </a:lnTo>
                  <a:lnTo>
                    <a:pt x="758476" y="699992"/>
                  </a:lnTo>
                  <a:lnTo>
                    <a:pt x="760286" y="701326"/>
                  </a:lnTo>
                  <a:lnTo>
                    <a:pt x="761809" y="701135"/>
                  </a:lnTo>
                  <a:lnTo>
                    <a:pt x="766953" y="703707"/>
                  </a:lnTo>
                  <a:lnTo>
                    <a:pt x="765048" y="713613"/>
                  </a:lnTo>
                  <a:lnTo>
                    <a:pt x="768191" y="713137"/>
                  </a:lnTo>
                  <a:lnTo>
                    <a:pt x="771144" y="711232"/>
                  </a:lnTo>
                  <a:lnTo>
                    <a:pt x="774287" y="710756"/>
                  </a:lnTo>
                  <a:lnTo>
                    <a:pt x="777240" y="708851"/>
                  </a:lnTo>
                  <a:lnTo>
                    <a:pt x="783812" y="709613"/>
                  </a:lnTo>
                  <a:lnTo>
                    <a:pt x="793813" y="700278"/>
                  </a:lnTo>
                  <a:lnTo>
                    <a:pt x="796957" y="699897"/>
                  </a:lnTo>
                  <a:lnTo>
                    <a:pt x="804481" y="708565"/>
                  </a:lnTo>
                  <a:lnTo>
                    <a:pt x="806291" y="709898"/>
                  </a:lnTo>
                  <a:lnTo>
                    <a:pt x="809244" y="707898"/>
                  </a:lnTo>
                  <a:lnTo>
                    <a:pt x="810958" y="709327"/>
                  </a:lnTo>
                  <a:lnTo>
                    <a:pt x="814388" y="710470"/>
                  </a:lnTo>
                  <a:lnTo>
                    <a:pt x="813911" y="707327"/>
                  </a:lnTo>
                  <a:lnTo>
                    <a:pt x="826961" y="708851"/>
                  </a:lnTo>
                  <a:lnTo>
                    <a:pt x="829913" y="706945"/>
                  </a:lnTo>
                  <a:lnTo>
                    <a:pt x="830294" y="710089"/>
                  </a:lnTo>
                  <a:lnTo>
                    <a:pt x="833247" y="708089"/>
                  </a:lnTo>
                  <a:lnTo>
                    <a:pt x="832866" y="704945"/>
                  </a:lnTo>
                  <a:lnTo>
                    <a:pt x="830485" y="698849"/>
                  </a:lnTo>
                  <a:lnTo>
                    <a:pt x="834390" y="691896"/>
                  </a:lnTo>
                  <a:lnTo>
                    <a:pt x="834199" y="690277"/>
                  </a:lnTo>
                  <a:lnTo>
                    <a:pt x="835628" y="688562"/>
                  </a:lnTo>
                  <a:lnTo>
                    <a:pt x="834962" y="683800"/>
                  </a:lnTo>
                  <a:lnTo>
                    <a:pt x="834009" y="675894"/>
                  </a:lnTo>
                  <a:lnTo>
                    <a:pt x="838105" y="670560"/>
                  </a:lnTo>
                  <a:lnTo>
                    <a:pt x="837724" y="667417"/>
                  </a:lnTo>
                  <a:lnTo>
                    <a:pt x="840677" y="665417"/>
                  </a:lnTo>
                  <a:lnTo>
                    <a:pt x="845439" y="664845"/>
                  </a:lnTo>
                  <a:lnTo>
                    <a:pt x="848963" y="667607"/>
                  </a:lnTo>
                  <a:lnTo>
                    <a:pt x="850582" y="667417"/>
                  </a:lnTo>
                  <a:lnTo>
                    <a:pt x="854869" y="663607"/>
                  </a:lnTo>
                  <a:lnTo>
                    <a:pt x="855536" y="668369"/>
                  </a:lnTo>
                  <a:lnTo>
                    <a:pt x="862394" y="672274"/>
                  </a:lnTo>
                  <a:lnTo>
                    <a:pt x="866775" y="668560"/>
                  </a:lnTo>
                  <a:lnTo>
                    <a:pt x="871919" y="671132"/>
                  </a:lnTo>
                  <a:lnTo>
                    <a:pt x="875252" y="672274"/>
                  </a:lnTo>
                  <a:lnTo>
                    <a:pt x="875252" y="672274"/>
                  </a:lnTo>
                  <a:lnTo>
                    <a:pt x="883158" y="671227"/>
                  </a:lnTo>
                  <a:lnTo>
                    <a:pt x="882872" y="669703"/>
                  </a:lnTo>
                  <a:lnTo>
                    <a:pt x="886111" y="669322"/>
                  </a:lnTo>
                  <a:lnTo>
                    <a:pt x="884111" y="666369"/>
                  </a:lnTo>
                  <a:lnTo>
                    <a:pt x="885063" y="661416"/>
                  </a:lnTo>
                  <a:lnTo>
                    <a:pt x="886682" y="661226"/>
                  </a:lnTo>
                  <a:lnTo>
                    <a:pt x="896683" y="664750"/>
                  </a:lnTo>
                  <a:lnTo>
                    <a:pt x="909352" y="675894"/>
                  </a:lnTo>
                  <a:lnTo>
                    <a:pt x="914876" y="668845"/>
                  </a:lnTo>
                  <a:lnTo>
                    <a:pt x="921639" y="671132"/>
                  </a:lnTo>
                  <a:lnTo>
                    <a:pt x="921163" y="667988"/>
                  </a:lnTo>
                  <a:lnTo>
                    <a:pt x="917829" y="666845"/>
                  </a:lnTo>
                  <a:lnTo>
                    <a:pt x="919258" y="665036"/>
                  </a:lnTo>
                  <a:lnTo>
                    <a:pt x="927925" y="670370"/>
                  </a:lnTo>
                  <a:lnTo>
                    <a:pt x="931259" y="671513"/>
                  </a:lnTo>
                  <a:lnTo>
                    <a:pt x="932688" y="669798"/>
                  </a:lnTo>
                  <a:lnTo>
                    <a:pt x="936022" y="670941"/>
                  </a:lnTo>
                  <a:lnTo>
                    <a:pt x="941927" y="666940"/>
                  </a:lnTo>
                  <a:lnTo>
                    <a:pt x="939165" y="670560"/>
                  </a:lnTo>
                  <a:lnTo>
                    <a:pt x="953929" y="673418"/>
                  </a:lnTo>
                  <a:lnTo>
                    <a:pt x="956310" y="679609"/>
                  </a:lnTo>
                  <a:lnTo>
                    <a:pt x="959739" y="680752"/>
                  </a:lnTo>
                  <a:lnTo>
                    <a:pt x="961263" y="680561"/>
                  </a:lnTo>
                  <a:lnTo>
                    <a:pt x="980027" y="689420"/>
                  </a:lnTo>
                  <a:lnTo>
                    <a:pt x="983361" y="690563"/>
                  </a:lnTo>
                  <a:lnTo>
                    <a:pt x="995458" y="697040"/>
                  </a:lnTo>
                  <a:lnTo>
                    <a:pt x="1002411" y="700945"/>
                  </a:lnTo>
                  <a:lnTo>
                    <a:pt x="1016413" y="697611"/>
                  </a:lnTo>
                  <a:lnTo>
                    <a:pt x="1014031" y="691515"/>
                  </a:lnTo>
                  <a:lnTo>
                    <a:pt x="1016984" y="689515"/>
                  </a:lnTo>
                  <a:lnTo>
                    <a:pt x="1018127" y="686086"/>
                  </a:lnTo>
                  <a:lnTo>
                    <a:pt x="1014413" y="681799"/>
                  </a:lnTo>
                  <a:lnTo>
                    <a:pt x="1018699" y="678085"/>
                  </a:lnTo>
                  <a:lnTo>
                    <a:pt x="1019270" y="669989"/>
                  </a:lnTo>
                  <a:lnTo>
                    <a:pt x="1020794" y="669798"/>
                  </a:lnTo>
                  <a:lnTo>
                    <a:pt x="1022032" y="666369"/>
                  </a:lnTo>
                  <a:lnTo>
                    <a:pt x="1021652" y="663226"/>
                  </a:lnTo>
                  <a:lnTo>
                    <a:pt x="1023366" y="664655"/>
                  </a:lnTo>
                  <a:lnTo>
                    <a:pt x="1023842" y="667798"/>
                  </a:lnTo>
                  <a:lnTo>
                    <a:pt x="1027366" y="670560"/>
                  </a:lnTo>
                  <a:lnTo>
                    <a:pt x="1028700" y="668750"/>
                  </a:lnTo>
                  <a:lnTo>
                    <a:pt x="1021461" y="661702"/>
                  </a:lnTo>
                  <a:lnTo>
                    <a:pt x="1015460" y="652844"/>
                  </a:lnTo>
                  <a:lnTo>
                    <a:pt x="1014698" y="646462"/>
                  </a:lnTo>
                  <a:lnTo>
                    <a:pt x="1016032" y="644747"/>
                  </a:lnTo>
                  <a:lnTo>
                    <a:pt x="1014413" y="632079"/>
                  </a:lnTo>
                  <a:lnTo>
                    <a:pt x="1019175" y="631507"/>
                  </a:lnTo>
                  <a:lnTo>
                    <a:pt x="1018604" y="626745"/>
                  </a:lnTo>
                  <a:lnTo>
                    <a:pt x="1022699" y="621411"/>
                  </a:lnTo>
                  <a:lnTo>
                    <a:pt x="1029176" y="622173"/>
                  </a:lnTo>
                  <a:lnTo>
                    <a:pt x="1030605" y="620363"/>
                  </a:lnTo>
                  <a:lnTo>
                    <a:pt x="1031938" y="618649"/>
                  </a:lnTo>
                  <a:lnTo>
                    <a:pt x="1029748" y="614077"/>
                  </a:lnTo>
                  <a:lnTo>
                    <a:pt x="1035939" y="611695"/>
                  </a:lnTo>
                  <a:lnTo>
                    <a:pt x="1039082" y="611315"/>
                  </a:lnTo>
                  <a:lnTo>
                    <a:pt x="1044607" y="604171"/>
                  </a:lnTo>
                  <a:lnTo>
                    <a:pt x="1042225" y="598075"/>
                  </a:lnTo>
                  <a:lnTo>
                    <a:pt x="1044702" y="580073"/>
                  </a:lnTo>
                  <a:lnTo>
                    <a:pt x="1044130" y="575405"/>
                  </a:lnTo>
                  <a:lnTo>
                    <a:pt x="1041178" y="577310"/>
                  </a:lnTo>
                  <a:lnTo>
                    <a:pt x="1040702" y="574167"/>
                  </a:lnTo>
                  <a:lnTo>
                    <a:pt x="1038987" y="572834"/>
                  </a:lnTo>
                  <a:lnTo>
                    <a:pt x="1042702" y="564356"/>
                  </a:lnTo>
                  <a:lnTo>
                    <a:pt x="1043464" y="557784"/>
                  </a:lnTo>
                  <a:lnTo>
                    <a:pt x="1036511" y="553879"/>
                  </a:lnTo>
                  <a:lnTo>
                    <a:pt x="1032605" y="547973"/>
                  </a:lnTo>
                  <a:lnTo>
                    <a:pt x="1026319" y="548735"/>
                  </a:lnTo>
                  <a:lnTo>
                    <a:pt x="1021747" y="550926"/>
                  </a:lnTo>
                  <a:lnTo>
                    <a:pt x="1019937" y="549593"/>
                  </a:lnTo>
                  <a:lnTo>
                    <a:pt x="1019365" y="544830"/>
                  </a:lnTo>
                  <a:lnTo>
                    <a:pt x="1014603" y="545497"/>
                  </a:lnTo>
                  <a:lnTo>
                    <a:pt x="1013650" y="550355"/>
                  </a:lnTo>
                  <a:lnTo>
                    <a:pt x="1008888" y="551021"/>
                  </a:lnTo>
                  <a:lnTo>
                    <a:pt x="1005745" y="551402"/>
                  </a:lnTo>
                  <a:lnTo>
                    <a:pt x="1003554" y="546830"/>
                  </a:lnTo>
                  <a:lnTo>
                    <a:pt x="1007936" y="543115"/>
                  </a:lnTo>
                  <a:lnTo>
                    <a:pt x="1011841" y="536162"/>
                  </a:lnTo>
                  <a:lnTo>
                    <a:pt x="1014984" y="535781"/>
                  </a:lnTo>
                  <a:lnTo>
                    <a:pt x="1018699" y="527304"/>
                  </a:lnTo>
                  <a:lnTo>
                    <a:pt x="1013555" y="524732"/>
                  </a:lnTo>
                  <a:lnTo>
                    <a:pt x="1004316" y="514731"/>
                  </a:lnTo>
                  <a:lnTo>
                    <a:pt x="1004125" y="513112"/>
                  </a:lnTo>
                  <a:lnTo>
                    <a:pt x="1008602" y="510921"/>
                  </a:lnTo>
                  <a:lnTo>
                    <a:pt x="1008412" y="509397"/>
                  </a:lnTo>
                  <a:lnTo>
                    <a:pt x="1008031" y="506159"/>
                  </a:lnTo>
                  <a:lnTo>
                    <a:pt x="1010983" y="504253"/>
                  </a:lnTo>
                  <a:lnTo>
                    <a:pt x="1006983" y="498348"/>
                  </a:lnTo>
                  <a:lnTo>
                    <a:pt x="1002125" y="497300"/>
                  </a:lnTo>
                  <a:lnTo>
                    <a:pt x="996791" y="493205"/>
                  </a:lnTo>
                  <a:lnTo>
                    <a:pt x="985075" y="477012"/>
                  </a:lnTo>
                  <a:lnTo>
                    <a:pt x="976979" y="463677"/>
                  </a:lnTo>
                  <a:lnTo>
                    <a:pt x="979265" y="456914"/>
                  </a:lnTo>
                  <a:lnTo>
                    <a:pt x="976884" y="450818"/>
                  </a:lnTo>
                  <a:lnTo>
                    <a:pt x="979646" y="447294"/>
                  </a:lnTo>
                  <a:lnTo>
                    <a:pt x="974503" y="444722"/>
                  </a:lnTo>
                  <a:lnTo>
                    <a:pt x="972598" y="441769"/>
                  </a:lnTo>
                  <a:lnTo>
                    <a:pt x="968978" y="439007"/>
                  </a:lnTo>
                  <a:lnTo>
                    <a:pt x="968788" y="437388"/>
                  </a:lnTo>
                  <a:lnTo>
                    <a:pt x="963835" y="436436"/>
                  </a:lnTo>
                  <a:lnTo>
                    <a:pt x="961263" y="428720"/>
                  </a:lnTo>
                  <a:lnTo>
                    <a:pt x="965168" y="421862"/>
                  </a:lnTo>
                  <a:lnTo>
                    <a:pt x="961644" y="419100"/>
                  </a:lnTo>
                  <a:lnTo>
                    <a:pt x="962406" y="412623"/>
                  </a:lnTo>
                  <a:lnTo>
                    <a:pt x="962406" y="399764"/>
                  </a:lnTo>
                  <a:lnTo>
                    <a:pt x="965168" y="396240"/>
                  </a:lnTo>
                  <a:lnTo>
                    <a:pt x="971074" y="392240"/>
                  </a:lnTo>
                  <a:lnTo>
                    <a:pt x="974217" y="391859"/>
                  </a:lnTo>
                  <a:lnTo>
                    <a:pt x="983075" y="385858"/>
                  </a:lnTo>
                  <a:lnTo>
                    <a:pt x="981265" y="384524"/>
                  </a:lnTo>
                  <a:lnTo>
                    <a:pt x="984218" y="382524"/>
                  </a:lnTo>
                  <a:lnTo>
                    <a:pt x="977551" y="380143"/>
                  </a:lnTo>
                  <a:lnTo>
                    <a:pt x="976503" y="372332"/>
                  </a:lnTo>
                  <a:lnTo>
                    <a:pt x="970216" y="360236"/>
                  </a:lnTo>
                  <a:lnTo>
                    <a:pt x="974122" y="353378"/>
                  </a:lnTo>
                  <a:lnTo>
                    <a:pt x="972122" y="350425"/>
                  </a:lnTo>
                  <a:lnTo>
                    <a:pt x="971359" y="344043"/>
                  </a:lnTo>
                  <a:lnTo>
                    <a:pt x="973931" y="338995"/>
                  </a:lnTo>
                  <a:lnTo>
                    <a:pt x="971740" y="334423"/>
                  </a:lnTo>
                  <a:lnTo>
                    <a:pt x="974217" y="329279"/>
                  </a:lnTo>
                  <a:lnTo>
                    <a:pt x="965740" y="325565"/>
                  </a:lnTo>
                  <a:lnTo>
                    <a:pt x="969455" y="317087"/>
                  </a:lnTo>
                  <a:lnTo>
                    <a:pt x="962597" y="313087"/>
                  </a:lnTo>
                  <a:lnTo>
                    <a:pt x="961168" y="302133"/>
                  </a:lnTo>
                  <a:lnTo>
                    <a:pt x="956024" y="299561"/>
                  </a:lnTo>
                  <a:lnTo>
                    <a:pt x="955453" y="294799"/>
                  </a:lnTo>
                  <a:lnTo>
                    <a:pt x="955834" y="285083"/>
                  </a:lnTo>
                  <a:lnTo>
                    <a:pt x="957929" y="276797"/>
                  </a:lnTo>
                  <a:lnTo>
                    <a:pt x="952405" y="271082"/>
                  </a:lnTo>
                  <a:lnTo>
                    <a:pt x="953357" y="266224"/>
                  </a:lnTo>
                  <a:lnTo>
                    <a:pt x="949452" y="260318"/>
                  </a:lnTo>
                  <a:lnTo>
                    <a:pt x="944118" y="256127"/>
                  </a:lnTo>
                  <a:lnTo>
                    <a:pt x="940308" y="238982"/>
                  </a:lnTo>
                  <a:lnTo>
                    <a:pt x="946404" y="236601"/>
                  </a:lnTo>
                  <a:lnTo>
                    <a:pt x="959453" y="238125"/>
                  </a:lnTo>
                  <a:lnTo>
                    <a:pt x="965168" y="245459"/>
                  </a:lnTo>
                  <a:lnTo>
                    <a:pt x="969740" y="243269"/>
                  </a:lnTo>
                  <a:lnTo>
                    <a:pt x="969550" y="241649"/>
                  </a:lnTo>
                  <a:lnTo>
                    <a:pt x="973455" y="234791"/>
                  </a:lnTo>
                  <a:lnTo>
                    <a:pt x="977741" y="230981"/>
                  </a:lnTo>
                  <a:lnTo>
                    <a:pt x="978980" y="227648"/>
                  </a:lnTo>
                  <a:lnTo>
                    <a:pt x="978122" y="221361"/>
                  </a:lnTo>
                  <a:lnTo>
                    <a:pt x="979361" y="218027"/>
                  </a:lnTo>
                  <a:lnTo>
                    <a:pt x="984218" y="218980"/>
                  </a:lnTo>
                  <a:lnTo>
                    <a:pt x="986599" y="212217"/>
                  </a:lnTo>
                  <a:lnTo>
                    <a:pt x="995648" y="207836"/>
                  </a:lnTo>
                  <a:lnTo>
                    <a:pt x="996887" y="204502"/>
                  </a:lnTo>
                  <a:lnTo>
                    <a:pt x="1004697" y="203549"/>
                  </a:lnTo>
                  <a:lnTo>
                    <a:pt x="1005935" y="200120"/>
                  </a:lnTo>
                  <a:lnTo>
                    <a:pt x="1005554" y="196977"/>
                  </a:lnTo>
                  <a:lnTo>
                    <a:pt x="1006507" y="192024"/>
                  </a:lnTo>
                  <a:lnTo>
                    <a:pt x="1012412" y="188119"/>
                  </a:lnTo>
                  <a:lnTo>
                    <a:pt x="1004697" y="177832"/>
                  </a:lnTo>
                  <a:lnTo>
                    <a:pt x="1008602" y="170974"/>
                  </a:lnTo>
                  <a:lnTo>
                    <a:pt x="997744" y="161068"/>
                  </a:lnTo>
                  <a:lnTo>
                    <a:pt x="1000315" y="155924"/>
                  </a:lnTo>
                  <a:lnTo>
                    <a:pt x="1007173" y="147066"/>
                  </a:lnTo>
                  <a:lnTo>
                    <a:pt x="1014508" y="141351"/>
                  </a:lnTo>
                  <a:lnTo>
                    <a:pt x="1010698" y="136969"/>
                  </a:lnTo>
                  <a:lnTo>
                    <a:pt x="1009936" y="130683"/>
                  </a:lnTo>
                  <a:lnTo>
                    <a:pt x="1003363" y="117062"/>
                  </a:lnTo>
                  <a:lnTo>
                    <a:pt x="1001363" y="114110"/>
                  </a:lnTo>
                  <a:lnTo>
                    <a:pt x="1002792" y="112395"/>
                  </a:lnTo>
                  <a:lnTo>
                    <a:pt x="1010603" y="111347"/>
                  </a:lnTo>
                  <a:lnTo>
                    <a:pt x="1016317" y="105823"/>
                  </a:lnTo>
                  <a:lnTo>
                    <a:pt x="1014508" y="91631"/>
                  </a:lnTo>
                  <a:lnTo>
                    <a:pt x="1017651" y="91250"/>
                  </a:lnTo>
                  <a:lnTo>
                    <a:pt x="1018318" y="95917"/>
                  </a:lnTo>
                  <a:lnTo>
                    <a:pt x="1019842" y="95726"/>
                  </a:lnTo>
                  <a:lnTo>
                    <a:pt x="1022223" y="89059"/>
                  </a:lnTo>
                  <a:lnTo>
                    <a:pt x="1021461" y="82677"/>
                  </a:lnTo>
                  <a:lnTo>
                    <a:pt x="1023366" y="72866"/>
                  </a:lnTo>
                  <a:lnTo>
                    <a:pt x="1026128" y="69247"/>
                  </a:lnTo>
                  <a:lnTo>
                    <a:pt x="1026700" y="61246"/>
                  </a:lnTo>
                  <a:lnTo>
                    <a:pt x="1030414" y="52673"/>
                  </a:lnTo>
                  <a:lnTo>
                    <a:pt x="1031177" y="46196"/>
                  </a:lnTo>
                  <a:lnTo>
                    <a:pt x="1038511" y="40481"/>
                  </a:lnTo>
                  <a:lnTo>
                    <a:pt x="1041082" y="35338"/>
                  </a:lnTo>
                  <a:lnTo>
                    <a:pt x="1040035" y="27432"/>
                  </a:lnTo>
                  <a:lnTo>
                    <a:pt x="1040987" y="22479"/>
                  </a:lnTo>
                  <a:lnTo>
                    <a:pt x="1038797" y="17907"/>
                  </a:lnTo>
                  <a:lnTo>
                    <a:pt x="1038797" y="17907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8" name="Volný tvar: obrazec 27">
              <a:extLst>
                <a:ext uri="{FF2B5EF4-FFF2-40B4-BE49-F238E27FC236}">
                  <a16:creationId xmlns:a16="http://schemas.microsoft.com/office/drawing/2014/main" id="{A6E92542-F8EC-D18B-A503-67876A64BF2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243286" y="2823209"/>
              <a:ext cx="1216913" cy="1049655"/>
            </a:xfrm>
            <a:custGeom>
              <a:avLst/>
              <a:gdLst>
                <a:gd name="connsiteX0" fmla="*/ 1209770 w 1216913"/>
                <a:gd name="connsiteY0" fmla="*/ 853249 h 1049655"/>
                <a:gd name="connsiteX1" fmla="*/ 1205674 w 1216913"/>
                <a:gd name="connsiteY1" fmla="*/ 845725 h 1049655"/>
                <a:gd name="connsiteX2" fmla="*/ 1200912 w 1216913"/>
                <a:gd name="connsiteY2" fmla="*/ 846296 h 1049655"/>
                <a:gd name="connsiteX3" fmla="*/ 1200722 w 1216913"/>
                <a:gd name="connsiteY3" fmla="*/ 844772 h 1049655"/>
                <a:gd name="connsiteX4" fmla="*/ 1199674 w 1216913"/>
                <a:gd name="connsiteY4" fmla="*/ 836866 h 1049655"/>
                <a:gd name="connsiteX5" fmla="*/ 1195959 w 1216913"/>
                <a:gd name="connsiteY5" fmla="*/ 832580 h 1049655"/>
                <a:gd name="connsiteX6" fmla="*/ 1196911 w 1216913"/>
                <a:gd name="connsiteY6" fmla="*/ 827627 h 1049655"/>
                <a:gd name="connsiteX7" fmla="*/ 1194340 w 1216913"/>
                <a:gd name="connsiteY7" fmla="*/ 819912 h 1049655"/>
                <a:gd name="connsiteX8" fmla="*/ 1197292 w 1216913"/>
                <a:gd name="connsiteY8" fmla="*/ 817912 h 1049655"/>
                <a:gd name="connsiteX9" fmla="*/ 1199007 w 1216913"/>
                <a:gd name="connsiteY9" fmla="*/ 806482 h 1049655"/>
                <a:gd name="connsiteX10" fmla="*/ 1192721 w 1216913"/>
                <a:gd name="connsiteY10" fmla="*/ 807244 h 1049655"/>
                <a:gd name="connsiteX11" fmla="*/ 1190911 w 1216913"/>
                <a:gd name="connsiteY11" fmla="*/ 805910 h 1049655"/>
                <a:gd name="connsiteX12" fmla="*/ 1187958 w 1216913"/>
                <a:gd name="connsiteY12" fmla="*/ 795052 h 1049655"/>
                <a:gd name="connsiteX13" fmla="*/ 1188530 w 1216913"/>
                <a:gd name="connsiteY13" fmla="*/ 786956 h 1049655"/>
                <a:gd name="connsiteX14" fmla="*/ 1183005 w 1216913"/>
                <a:gd name="connsiteY14" fmla="*/ 781240 h 1049655"/>
                <a:gd name="connsiteX15" fmla="*/ 1185577 w 1216913"/>
                <a:gd name="connsiteY15" fmla="*/ 776097 h 1049655"/>
                <a:gd name="connsiteX16" fmla="*/ 1181005 w 1216913"/>
                <a:gd name="connsiteY16" fmla="*/ 765524 h 1049655"/>
                <a:gd name="connsiteX17" fmla="*/ 1179195 w 1216913"/>
                <a:gd name="connsiteY17" fmla="*/ 764095 h 1049655"/>
                <a:gd name="connsiteX18" fmla="*/ 1178433 w 1216913"/>
                <a:gd name="connsiteY18" fmla="*/ 757809 h 1049655"/>
                <a:gd name="connsiteX19" fmla="*/ 1173671 w 1216913"/>
                <a:gd name="connsiteY19" fmla="*/ 745617 h 1049655"/>
                <a:gd name="connsiteX20" fmla="*/ 1174432 w 1216913"/>
                <a:gd name="connsiteY20" fmla="*/ 739045 h 1049655"/>
                <a:gd name="connsiteX21" fmla="*/ 1173004 w 1216913"/>
                <a:gd name="connsiteY21" fmla="*/ 727996 h 1049655"/>
                <a:gd name="connsiteX22" fmla="*/ 1173766 w 1216913"/>
                <a:gd name="connsiteY22" fmla="*/ 721519 h 1049655"/>
                <a:gd name="connsiteX23" fmla="*/ 1171194 w 1216913"/>
                <a:gd name="connsiteY23" fmla="*/ 713803 h 1049655"/>
                <a:gd name="connsiteX24" fmla="*/ 1169384 w 1216913"/>
                <a:gd name="connsiteY24" fmla="*/ 712470 h 1049655"/>
                <a:gd name="connsiteX25" fmla="*/ 1163098 w 1216913"/>
                <a:gd name="connsiteY25" fmla="*/ 713232 h 1049655"/>
                <a:gd name="connsiteX26" fmla="*/ 1152620 w 1216913"/>
                <a:gd name="connsiteY26" fmla="*/ 706565 h 1049655"/>
                <a:gd name="connsiteX27" fmla="*/ 1143381 w 1216913"/>
                <a:gd name="connsiteY27" fmla="*/ 709327 h 1049655"/>
                <a:gd name="connsiteX28" fmla="*/ 1141571 w 1216913"/>
                <a:gd name="connsiteY28" fmla="*/ 707993 h 1049655"/>
                <a:gd name="connsiteX29" fmla="*/ 1131570 w 1216913"/>
                <a:gd name="connsiteY29" fmla="*/ 717232 h 1049655"/>
                <a:gd name="connsiteX30" fmla="*/ 1124998 w 1216913"/>
                <a:gd name="connsiteY30" fmla="*/ 716470 h 1049655"/>
                <a:gd name="connsiteX31" fmla="*/ 1122616 w 1216913"/>
                <a:gd name="connsiteY31" fmla="*/ 710374 h 1049655"/>
                <a:gd name="connsiteX32" fmla="*/ 1117473 w 1216913"/>
                <a:gd name="connsiteY32" fmla="*/ 707803 h 1049655"/>
                <a:gd name="connsiteX33" fmla="*/ 1112996 w 1216913"/>
                <a:gd name="connsiteY33" fmla="*/ 709994 h 1049655"/>
                <a:gd name="connsiteX34" fmla="*/ 1108043 w 1216913"/>
                <a:gd name="connsiteY34" fmla="*/ 709041 h 1049655"/>
                <a:gd name="connsiteX35" fmla="*/ 1108996 w 1216913"/>
                <a:gd name="connsiteY35" fmla="*/ 704088 h 1049655"/>
                <a:gd name="connsiteX36" fmla="*/ 1105472 w 1216913"/>
                <a:gd name="connsiteY36" fmla="*/ 701326 h 1049655"/>
                <a:gd name="connsiteX37" fmla="*/ 1106424 w 1216913"/>
                <a:gd name="connsiteY37" fmla="*/ 696373 h 1049655"/>
                <a:gd name="connsiteX38" fmla="*/ 1101661 w 1216913"/>
                <a:gd name="connsiteY38" fmla="*/ 697040 h 1049655"/>
                <a:gd name="connsiteX39" fmla="*/ 1102709 w 1216913"/>
                <a:gd name="connsiteY39" fmla="*/ 692086 h 1049655"/>
                <a:gd name="connsiteX40" fmla="*/ 1101852 w 1216913"/>
                <a:gd name="connsiteY40" fmla="*/ 685800 h 1049655"/>
                <a:gd name="connsiteX41" fmla="*/ 1090422 w 1216913"/>
                <a:gd name="connsiteY41" fmla="*/ 683990 h 1049655"/>
                <a:gd name="connsiteX42" fmla="*/ 1081183 w 1216913"/>
                <a:gd name="connsiteY42" fmla="*/ 686753 h 1049655"/>
                <a:gd name="connsiteX43" fmla="*/ 1077754 w 1216913"/>
                <a:gd name="connsiteY43" fmla="*/ 685610 h 1049655"/>
                <a:gd name="connsiteX44" fmla="*/ 1073467 w 1216913"/>
                <a:gd name="connsiteY44" fmla="*/ 689420 h 1049655"/>
                <a:gd name="connsiteX45" fmla="*/ 1072420 w 1216913"/>
                <a:gd name="connsiteY45" fmla="*/ 681514 h 1049655"/>
                <a:gd name="connsiteX46" fmla="*/ 1069086 w 1216913"/>
                <a:gd name="connsiteY46" fmla="*/ 680276 h 1049655"/>
                <a:gd name="connsiteX47" fmla="*/ 1065943 w 1216913"/>
                <a:gd name="connsiteY47" fmla="*/ 680752 h 1049655"/>
                <a:gd name="connsiteX48" fmla="*/ 1062990 w 1216913"/>
                <a:gd name="connsiteY48" fmla="*/ 682657 h 1049655"/>
                <a:gd name="connsiteX49" fmla="*/ 1062609 w 1216913"/>
                <a:gd name="connsiteY49" fmla="*/ 679514 h 1049655"/>
                <a:gd name="connsiteX50" fmla="*/ 1054513 w 1216913"/>
                <a:gd name="connsiteY50" fmla="*/ 678942 h 1049655"/>
                <a:gd name="connsiteX51" fmla="*/ 1050893 w 1216913"/>
                <a:gd name="connsiteY51" fmla="*/ 676180 h 1049655"/>
                <a:gd name="connsiteX52" fmla="*/ 1050512 w 1216913"/>
                <a:gd name="connsiteY52" fmla="*/ 673036 h 1049655"/>
                <a:gd name="connsiteX53" fmla="*/ 1048702 w 1216913"/>
                <a:gd name="connsiteY53" fmla="*/ 671703 h 1049655"/>
                <a:gd name="connsiteX54" fmla="*/ 1044988 w 1216913"/>
                <a:gd name="connsiteY54" fmla="*/ 667322 h 1049655"/>
                <a:gd name="connsiteX55" fmla="*/ 1041844 w 1216913"/>
                <a:gd name="connsiteY55" fmla="*/ 667703 h 1049655"/>
                <a:gd name="connsiteX56" fmla="*/ 1044607 w 1216913"/>
                <a:gd name="connsiteY56" fmla="*/ 664178 h 1049655"/>
                <a:gd name="connsiteX57" fmla="*/ 1042416 w 1216913"/>
                <a:gd name="connsiteY57" fmla="*/ 659606 h 1049655"/>
                <a:gd name="connsiteX58" fmla="*/ 1044702 w 1216913"/>
                <a:gd name="connsiteY58" fmla="*/ 640080 h 1049655"/>
                <a:gd name="connsiteX59" fmla="*/ 1040987 w 1216913"/>
                <a:gd name="connsiteY59" fmla="*/ 635794 h 1049655"/>
                <a:gd name="connsiteX60" fmla="*/ 1036034 w 1216913"/>
                <a:gd name="connsiteY60" fmla="*/ 634841 h 1049655"/>
                <a:gd name="connsiteX61" fmla="*/ 1032510 w 1216913"/>
                <a:gd name="connsiteY61" fmla="*/ 632079 h 1049655"/>
                <a:gd name="connsiteX62" fmla="*/ 1033272 w 1216913"/>
                <a:gd name="connsiteY62" fmla="*/ 625507 h 1049655"/>
                <a:gd name="connsiteX63" fmla="*/ 1030033 w 1216913"/>
                <a:gd name="connsiteY63" fmla="*/ 613124 h 1049655"/>
                <a:gd name="connsiteX64" fmla="*/ 1024890 w 1216913"/>
                <a:gd name="connsiteY64" fmla="*/ 610553 h 1049655"/>
                <a:gd name="connsiteX65" fmla="*/ 1023938 w 1216913"/>
                <a:gd name="connsiteY65" fmla="*/ 602647 h 1049655"/>
                <a:gd name="connsiteX66" fmla="*/ 1020127 w 1216913"/>
                <a:gd name="connsiteY66" fmla="*/ 598361 h 1049655"/>
                <a:gd name="connsiteX67" fmla="*/ 1020889 w 1216913"/>
                <a:gd name="connsiteY67" fmla="*/ 591788 h 1049655"/>
                <a:gd name="connsiteX68" fmla="*/ 1018699 w 1216913"/>
                <a:gd name="connsiteY68" fmla="*/ 587311 h 1049655"/>
                <a:gd name="connsiteX69" fmla="*/ 1016794 w 1216913"/>
                <a:gd name="connsiteY69" fmla="*/ 584359 h 1049655"/>
                <a:gd name="connsiteX70" fmla="*/ 1016127 w 1216913"/>
                <a:gd name="connsiteY70" fmla="*/ 579596 h 1049655"/>
                <a:gd name="connsiteX71" fmla="*/ 1009079 w 1216913"/>
                <a:gd name="connsiteY71" fmla="*/ 574072 h 1049655"/>
                <a:gd name="connsiteX72" fmla="*/ 1006221 w 1216913"/>
                <a:gd name="connsiteY72" fmla="*/ 564832 h 1049655"/>
                <a:gd name="connsiteX73" fmla="*/ 1007459 w 1216913"/>
                <a:gd name="connsiteY73" fmla="*/ 561499 h 1049655"/>
                <a:gd name="connsiteX74" fmla="*/ 1003840 w 1216913"/>
                <a:gd name="connsiteY74" fmla="*/ 558736 h 1049655"/>
                <a:gd name="connsiteX75" fmla="*/ 1003268 w 1216913"/>
                <a:gd name="connsiteY75" fmla="*/ 553974 h 1049655"/>
                <a:gd name="connsiteX76" fmla="*/ 999744 w 1216913"/>
                <a:gd name="connsiteY76" fmla="*/ 551212 h 1049655"/>
                <a:gd name="connsiteX77" fmla="*/ 996124 w 1216913"/>
                <a:gd name="connsiteY77" fmla="*/ 548449 h 1049655"/>
                <a:gd name="connsiteX78" fmla="*/ 996886 w 1216913"/>
                <a:gd name="connsiteY78" fmla="*/ 541973 h 1049655"/>
                <a:gd name="connsiteX79" fmla="*/ 1007173 w 1216913"/>
                <a:gd name="connsiteY79" fmla="*/ 534257 h 1049655"/>
                <a:gd name="connsiteX80" fmla="*/ 1011079 w 1216913"/>
                <a:gd name="connsiteY80" fmla="*/ 527304 h 1049655"/>
                <a:gd name="connsiteX81" fmla="*/ 1009364 w 1216913"/>
                <a:gd name="connsiteY81" fmla="*/ 525970 h 1049655"/>
                <a:gd name="connsiteX82" fmla="*/ 1007173 w 1216913"/>
                <a:gd name="connsiteY82" fmla="*/ 521398 h 1049655"/>
                <a:gd name="connsiteX83" fmla="*/ 1010317 w 1216913"/>
                <a:gd name="connsiteY83" fmla="*/ 521018 h 1049655"/>
                <a:gd name="connsiteX84" fmla="*/ 1011269 w 1216913"/>
                <a:gd name="connsiteY84" fmla="*/ 516065 h 1049655"/>
                <a:gd name="connsiteX85" fmla="*/ 1020794 w 1216913"/>
                <a:gd name="connsiteY85" fmla="*/ 514922 h 1049655"/>
                <a:gd name="connsiteX86" fmla="*/ 1021747 w 1216913"/>
                <a:gd name="connsiteY86" fmla="*/ 509969 h 1049655"/>
                <a:gd name="connsiteX87" fmla="*/ 1017937 w 1216913"/>
                <a:gd name="connsiteY87" fmla="*/ 505587 h 1049655"/>
                <a:gd name="connsiteX88" fmla="*/ 1009650 w 1216913"/>
                <a:gd name="connsiteY88" fmla="*/ 503491 h 1049655"/>
                <a:gd name="connsiteX89" fmla="*/ 1001744 w 1216913"/>
                <a:gd name="connsiteY89" fmla="*/ 504444 h 1049655"/>
                <a:gd name="connsiteX90" fmla="*/ 1001363 w 1216913"/>
                <a:gd name="connsiteY90" fmla="*/ 501301 h 1049655"/>
                <a:gd name="connsiteX91" fmla="*/ 996029 w 1216913"/>
                <a:gd name="connsiteY91" fmla="*/ 497205 h 1049655"/>
                <a:gd name="connsiteX92" fmla="*/ 995648 w 1216913"/>
                <a:gd name="connsiteY92" fmla="*/ 493966 h 1049655"/>
                <a:gd name="connsiteX93" fmla="*/ 991838 w 1216913"/>
                <a:gd name="connsiteY93" fmla="*/ 489680 h 1049655"/>
                <a:gd name="connsiteX94" fmla="*/ 991457 w 1216913"/>
                <a:gd name="connsiteY94" fmla="*/ 486537 h 1049655"/>
                <a:gd name="connsiteX95" fmla="*/ 995839 w 1216913"/>
                <a:gd name="connsiteY95" fmla="*/ 482727 h 1049655"/>
                <a:gd name="connsiteX96" fmla="*/ 996982 w 1216913"/>
                <a:gd name="connsiteY96" fmla="*/ 479393 h 1049655"/>
                <a:gd name="connsiteX97" fmla="*/ 994791 w 1216913"/>
                <a:gd name="connsiteY97" fmla="*/ 474916 h 1049655"/>
                <a:gd name="connsiteX98" fmla="*/ 997363 w 1216913"/>
                <a:gd name="connsiteY98" fmla="*/ 469773 h 1049655"/>
                <a:gd name="connsiteX99" fmla="*/ 1000887 w 1216913"/>
                <a:gd name="connsiteY99" fmla="*/ 459677 h 1049655"/>
                <a:gd name="connsiteX100" fmla="*/ 995743 w 1216913"/>
                <a:gd name="connsiteY100" fmla="*/ 457105 h 1049655"/>
                <a:gd name="connsiteX101" fmla="*/ 996886 w 1216913"/>
                <a:gd name="connsiteY101" fmla="*/ 453771 h 1049655"/>
                <a:gd name="connsiteX102" fmla="*/ 995172 w 1216913"/>
                <a:gd name="connsiteY102" fmla="*/ 452342 h 1049655"/>
                <a:gd name="connsiteX103" fmla="*/ 998315 w 1216913"/>
                <a:gd name="connsiteY103" fmla="*/ 451961 h 1049655"/>
                <a:gd name="connsiteX104" fmla="*/ 993743 w 1216913"/>
                <a:gd name="connsiteY104" fmla="*/ 441293 h 1049655"/>
                <a:gd name="connsiteX105" fmla="*/ 992124 w 1216913"/>
                <a:gd name="connsiteY105" fmla="*/ 441579 h 1049655"/>
                <a:gd name="connsiteX106" fmla="*/ 984694 w 1216913"/>
                <a:gd name="connsiteY106" fmla="*/ 445675 h 1049655"/>
                <a:gd name="connsiteX107" fmla="*/ 974026 w 1216913"/>
                <a:gd name="connsiteY107" fmla="*/ 437388 h 1049655"/>
                <a:gd name="connsiteX108" fmla="*/ 969264 w 1216913"/>
                <a:gd name="connsiteY108" fmla="*/ 438055 h 1049655"/>
                <a:gd name="connsiteX109" fmla="*/ 972979 w 1216913"/>
                <a:gd name="connsiteY109" fmla="*/ 442341 h 1049655"/>
                <a:gd name="connsiteX110" fmla="*/ 971264 w 1216913"/>
                <a:gd name="connsiteY110" fmla="*/ 453771 h 1049655"/>
                <a:gd name="connsiteX111" fmla="*/ 976408 w 1216913"/>
                <a:gd name="connsiteY111" fmla="*/ 456343 h 1049655"/>
                <a:gd name="connsiteX112" fmla="*/ 970883 w 1216913"/>
                <a:gd name="connsiteY112" fmla="*/ 463486 h 1049655"/>
                <a:gd name="connsiteX113" fmla="*/ 966597 w 1216913"/>
                <a:gd name="connsiteY113" fmla="*/ 467297 h 1049655"/>
                <a:gd name="connsiteX114" fmla="*/ 963454 w 1216913"/>
                <a:gd name="connsiteY114" fmla="*/ 467678 h 1049655"/>
                <a:gd name="connsiteX115" fmla="*/ 960215 w 1216913"/>
                <a:gd name="connsiteY115" fmla="*/ 468058 h 1049655"/>
                <a:gd name="connsiteX116" fmla="*/ 958310 w 1216913"/>
                <a:gd name="connsiteY116" fmla="*/ 465106 h 1049655"/>
                <a:gd name="connsiteX117" fmla="*/ 953929 w 1216913"/>
                <a:gd name="connsiteY117" fmla="*/ 468820 h 1049655"/>
                <a:gd name="connsiteX118" fmla="*/ 955357 w 1216913"/>
                <a:gd name="connsiteY118" fmla="*/ 467106 h 1049655"/>
                <a:gd name="connsiteX119" fmla="*/ 951738 w 1216913"/>
                <a:gd name="connsiteY119" fmla="*/ 464344 h 1049655"/>
                <a:gd name="connsiteX120" fmla="*/ 947261 w 1216913"/>
                <a:gd name="connsiteY120" fmla="*/ 466535 h 1049655"/>
                <a:gd name="connsiteX121" fmla="*/ 940117 w 1216913"/>
                <a:gd name="connsiteY121" fmla="*/ 461010 h 1049655"/>
                <a:gd name="connsiteX122" fmla="*/ 937546 w 1216913"/>
                <a:gd name="connsiteY122" fmla="*/ 466153 h 1049655"/>
                <a:gd name="connsiteX123" fmla="*/ 933831 w 1216913"/>
                <a:gd name="connsiteY123" fmla="*/ 461772 h 1049655"/>
                <a:gd name="connsiteX124" fmla="*/ 931640 w 1216913"/>
                <a:gd name="connsiteY124" fmla="*/ 457295 h 1049655"/>
                <a:gd name="connsiteX125" fmla="*/ 928021 w 1216913"/>
                <a:gd name="connsiteY125" fmla="*/ 454533 h 1049655"/>
                <a:gd name="connsiteX126" fmla="*/ 921163 w 1216913"/>
                <a:gd name="connsiteY126" fmla="*/ 450628 h 1049655"/>
                <a:gd name="connsiteX127" fmla="*/ 918591 w 1216913"/>
                <a:gd name="connsiteY127" fmla="*/ 442912 h 1049655"/>
                <a:gd name="connsiteX128" fmla="*/ 905732 w 1216913"/>
                <a:gd name="connsiteY128" fmla="*/ 442912 h 1049655"/>
                <a:gd name="connsiteX129" fmla="*/ 900398 w 1216913"/>
                <a:gd name="connsiteY129" fmla="*/ 438817 h 1049655"/>
                <a:gd name="connsiteX130" fmla="*/ 897064 w 1216913"/>
                <a:gd name="connsiteY130" fmla="*/ 437578 h 1049655"/>
                <a:gd name="connsiteX131" fmla="*/ 895636 w 1216913"/>
                <a:gd name="connsiteY131" fmla="*/ 426529 h 1049655"/>
                <a:gd name="connsiteX132" fmla="*/ 875157 w 1216913"/>
                <a:gd name="connsiteY132" fmla="*/ 429197 h 1049655"/>
                <a:gd name="connsiteX133" fmla="*/ 872204 w 1216913"/>
                <a:gd name="connsiteY133" fmla="*/ 431197 h 1049655"/>
                <a:gd name="connsiteX134" fmla="*/ 862489 w 1216913"/>
                <a:gd name="connsiteY134" fmla="*/ 430816 h 1049655"/>
                <a:gd name="connsiteX135" fmla="*/ 851249 w 1216913"/>
                <a:gd name="connsiteY135" fmla="*/ 430625 h 1049655"/>
                <a:gd name="connsiteX136" fmla="*/ 847439 w 1216913"/>
                <a:gd name="connsiteY136" fmla="*/ 426339 h 1049655"/>
                <a:gd name="connsiteX137" fmla="*/ 827151 w 1216913"/>
                <a:gd name="connsiteY137" fmla="*/ 417671 h 1049655"/>
                <a:gd name="connsiteX138" fmla="*/ 826770 w 1216913"/>
                <a:gd name="connsiteY138" fmla="*/ 427291 h 1049655"/>
                <a:gd name="connsiteX139" fmla="*/ 830104 w 1216913"/>
                <a:gd name="connsiteY139" fmla="*/ 428530 h 1049655"/>
                <a:gd name="connsiteX140" fmla="*/ 836676 w 1216913"/>
                <a:gd name="connsiteY140" fmla="*/ 429292 h 1049655"/>
                <a:gd name="connsiteX141" fmla="*/ 838581 w 1216913"/>
                <a:gd name="connsiteY141" fmla="*/ 432244 h 1049655"/>
                <a:gd name="connsiteX142" fmla="*/ 830961 w 1216913"/>
                <a:gd name="connsiteY142" fmla="*/ 434816 h 1049655"/>
                <a:gd name="connsiteX143" fmla="*/ 832961 w 1216913"/>
                <a:gd name="connsiteY143" fmla="*/ 437769 h 1049655"/>
                <a:gd name="connsiteX144" fmla="*/ 834676 w 1216913"/>
                <a:gd name="connsiteY144" fmla="*/ 439103 h 1049655"/>
                <a:gd name="connsiteX145" fmla="*/ 830389 w 1216913"/>
                <a:gd name="connsiteY145" fmla="*/ 442912 h 1049655"/>
                <a:gd name="connsiteX146" fmla="*/ 826770 w 1216913"/>
                <a:gd name="connsiteY146" fmla="*/ 440150 h 1049655"/>
                <a:gd name="connsiteX147" fmla="*/ 826389 w 1216913"/>
                <a:gd name="connsiteY147" fmla="*/ 437007 h 1049655"/>
                <a:gd name="connsiteX148" fmla="*/ 823246 w 1216913"/>
                <a:gd name="connsiteY148" fmla="*/ 437388 h 1049655"/>
                <a:gd name="connsiteX149" fmla="*/ 824198 w 1216913"/>
                <a:gd name="connsiteY149" fmla="*/ 445294 h 1049655"/>
                <a:gd name="connsiteX150" fmla="*/ 819150 w 1216913"/>
                <a:gd name="connsiteY150" fmla="*/ 455581 h 1049655"/>
                <a:gd name="connsiteX151" fmla="*/ 814197 w 1216913"/>
                <a:gd name="connsiteY151" fmla="*/ 454628 h 1049655"/>
                <a:gd name="connsiteX152" fmla="*/ 813816 w 1216913"/>
                <a:gd name="connsiteY152" fmla="*/ 451390 h 1049655"/>
                <a:gd name="connsiteX153" fmla="*/ 805148 w 1216913"/>
                <a:gd name="connsiteY153" fmla="*/ 446151 h 1049655"/>
                <a:gd name="connsiteX154" fmla="*/ 802767 w 1216913"/>
                <a:gd name="connsiteY154" fmla="*/ 440055 h 1049655"/>
                <a:gd name="connsiteX155" fmla="*/ 796385 w 1216913"/>
                <a:gd name="connsiteY155" fmla="*/ 440817 h 1049655"/>
                <a:gd name="connsiteX156" fmla="*/ 788289 w 1216913"/>
                <a:gd name="connsiteY156" fmla="*/ 427387 h 1049655"/>
                <a:gd name="connsiteX157" fmla="*/ 789813 w 1216913"/>
                <a:gd name="connsiteY157" fmla="*/ 414433 h 1049655"/>
                <a:gd name="connsiteX158" fmla="*/ 786860 w 1216913"/>
                <a:gd name="connsiteY158" fmla="*/ 403574 h 1049655"/>
                <a:gd name="connsiteX159" fmla="*/ 784860 w 1216913"/>
                <a:gd name="connsiteY159" fmla="*/ 400622 h 1049655"/>
                <a:gd name="connsiteX160" fmla="*/ 758380 w 1216913"/>
                <a:gd name="connsiteY160" fmla="*/ 394335 h 1049655"/>
                <a:gd name="connsiteX161" fmla="*/ 749141 w 1216913"/>
                <a:gd name="connsiteY161" fmla="*/ 397097 h 1049655"/>
                <a:gd name="connsiteX162" fmla="*/ 746188 w 1216913"/>
                <a:gd name="connsiteY162" fmla="*/ 399098 h 1049655"/>
                <a:gd name="connsiteX163" fmla="*/ 742188 w 1216913"/>
                <a:gd name="connsiteY163" fmla="*/ 393192 h 1049655"/>
                <a:gd name="connsiteX164" fmla="*/ 743236 w 1216913"/>
                <a:gd name="connsiteY164" fmla="*/ 388239 h 1049655"/>
                <a:gd name="connsiteX165" fmla="*/ 740378 w 1216913"/>
                <a:gd name="connsiteY165" fmla="*/ 379000 h 1049655"/>
                <a:gd name="connsiteX166" fmla="*/ 735235 w 1216913"/>
                <a:gd name="connsiteY166" fmla="*/ 363569 h 1049655"/>
                <a:gd name="connsiteX167" fmla="*/ 724567 w 1216913"/>
                <a:gd name="connsiteY167" fmla="*/ 368141 h 1049655"/>
                <a:gd name="connsiteX168" fmla="*/ 722471 w 1216913"/>
                <a:gd name="connsiteY168" fmla="*/ 363665 h 1049655"/>
                <a:gd name="connsiteX169" fmla="*/ 719233 w 1216913"/>
                <a:gd name="connsiteY169" fmla="*/ 364046 h 1049655"/>
                <a:gd name="connsiteX170" fmla="*/ 717518 w 1216913"/>
                <a:gd name="connsiteY170" fmla="*/ 362712 h 1049655"/>
                <a:gd name="connsiteX171" fmla="*/ 711232 w 1216913"/>
                <a:gd name="connsiteY171" fmla="*/ 363474 h 1049655"/>
                <a:gd name="connsiteX172" fmla="*/ 711422 w 1216913"/>
                <a:gd name="connsiteY172" fmla="*/ 365093 h 1049655"/>
                <a:gd name="connsiteX173" fmla="*/ 708184 w 1216913"/>
                <a:gd name="connsiteY173" fmla="*/ 365474 h 1049655"/>
                <a:gd name="connsiteX174" fmla="*/ 708469 w 1216913"/>
                <a:gd name="connsiteY174" fmla="*/ 366998 h 1049655"/>
                <a:gd name="connsiteX175" fmla="*/ 709231 w 1216913"/>
                <a:gd name="connsiteY175" fmla="*/ 373380 h 1049655"/>
                <a:gd name="connsiteX176" fmla="*/ 708279 w 1216913"/>
                <a:gd name="connsiteY176" fmla="*/ 378238 h 1049655"/>
                <a:gd name="connsiteX177" fmla="*/ 699421 w 1216913"/>
                <a:gd name="connsiteY177" fmla="*/ 384238 h 1049655"/>
                <a:gd name="connsiteX178" fmla="*/ 693230 w 1216913"/>
                <a:gd name="connsiteY178" fmla="*/ 373761 h 1049655"/>
                <a:gd name="connsiteX179" fmla="*/ 686372 w 1216913"/>
                <a:gd name="connsiteY179" fmla="*/ 369856 h 1049655"/>
                <a:gd name="connsiteX180" fmla="*/ 684371 w 1216913"/>
                <a:gd name="connsiteY180" fmla="*/ 366903 h 1049655"/>
                <a:gd name="connsiteX181" fmla="*/ 671893 w 1216913"/>
                <a:gd name="connsiteY181" fmla="*/ 370046 h 1049655"/>
                <a:gd name="connsiteX182" fmla="*/ 664845 w 1216913"/>
                <a:gd name="connsiteY182" fmla="*/ 364522 h 1049655"/>
                <a:gd name="connsiteX183" fmla="*/ 659035 w 1216913"/>
                <a:gd name="connsiteY183" fmla="*/ 357283 h 1049655"/>
                <a:gd name="connsiteX184" fmla="*/ 654748 w 1216913"/>
                <a:gd name="connsiteY184" fmla="*/ 348234 h 1049655"/>
                <a:gd name="connsiteX185" fmla="*/ 657701 w 1216913"/>
                <a:gd name="connsiteY185" fmla="*/ 346234 h 1049655"/>
                <a:gd name="connsiteX186" fmla="*/ 661606 w 1216913"/>
                <a:gd name="connsiteY186" fmla="*/ 339280 h 1049655"/>
                <a:gd name="connsiteX187" fmla="*/ 654463 w 1216913"/>
                <a:gd name="connsiteY187" fmla="*/ 333851 h 1049655"/>
                <a:gd name="connsiteX188" fmla="*/ 652272 w 1216913"/>
                <a:gd name="connsiteY188" fmla="*/ 329279 h 1049655"/>
                <a:gd name="connsiteX189" fmla="*/ 649129 w 1216913"/>
                <a:gd name="connsiteY189" fmla="*/ 329660 h 1049655"/>
                <a:gd name="connsiteX190" fmla="*/ 650462 w 1216913"/>
                <a:gd name="connsiteY190" fmla="*/ 315087 h 1049655"/>
                <a:gd name="connsiteX191" fmla="*/ 648748 w 1216913"/>
                <a:gd name="connsiteY191" fmla="*/ 313658 h 1049655"/>
                <a:gd name="connsiteX192" fmla="*/ 643985 w 1216913"/>
                <a:gd name="connsiteY192" fmla="*/ 314325 h 1049655"/>
                <a:gd name="connsiteX193" fmla="*/ 635508 w 1216913"/>
                <a:gd name="connsiteY193" fmla="*/ 310610 h 1049655"/>
                <a:gd name="connsiteX194" fmla="*/ 634841 w 1216913"/>
                <a:gd name="connsiteY194" fmla="*/ 305848 h 1049655"/>
                <a:gd name="connsiteX195" fmla="*/ 633127 w 1216913"/>
                <a:gd name="connsiteY195" fmla="*/ 304419 h 1049655"/>
                <a:gd name="connsiteX196" fmla="*/ 630746 w 1216913"/>
                <a:gd name="connsiteY196" fmla="*/ 298323 h 1049655"/>
                <a:gd name="connsiteX197" fmla="*/ 622840 w 1216913"/>
                <a:gd name="connsiteY197" fmla="*/ 299371 h 1049655"/>
                <a:gd name="connsiteX198" fmla="*/ 620649 w 1216913"/>
                <a:gd name="connsiteY198" fmla="*/ 294799 h 1049655"/>
                <a:gd name="connsiteX199" fmla="*/ 615696 w 1216913"/>
                <a:gd name="connsiteY199" fmla="*/ 293846 h 1049655"/>
                <a:gd name="connsiteX200" fmla="*/ 613886 w 1216913"/>
                <a:gd name="connsiteY200" fmla="*/ 292513 h 1049655"/>
                <a:gd name="connsiteX201" fmla="*/ 610552 w 1216913"/>
                <a:gd name="connsiteY201" fmla="*/ 291275 h 1049655"/>
                <a:gd name="connsiteX202" fmla="*/ 596170 w 1216913"/>
                <a:gd name="connsiteY202" fmla="*/ 304324 h 1049655"/>
                <a:gd name="connsiteX203" fmla="*/ 591693 w 1216913"/>
                <a:gd name="connsiteY203" fmla="*/ 306515 h 1049655"/>
                <a:gd name="connsiteX204" fmla="*/ 592646 w 1216913"/>
                <a:gd name="connsiteY204" fmla="*/ 314420 h 1049655"/>
                <a:gd name="connsiteX205" fmla="*/ 592264 w 1216913"/>
                <a:gd name="connsiteY205" fmla="*/ 324136 h 1049655"/>
                <a:gd name="connsiteX206" fmla="*/ 596646 w 1216913"/>
                <a:gd name="connsiteY206" fmla="*/ 333184 h 1049655"/>
                <a:gd name="connsiteX207" fmla="*/ 602932 w 1216913"/>
                <a:gd name="connsiteY207" fmla="*/ 332327 h 1049655"/>
                <a:gd name="connsiteX208" fmla="*/ 604933 w 1216913"/>
                <a:gd name="connsiteY208" fmla="*/ 322517 h 1049655"/>
                <a:gd name="connsiteX209" fmla="*/ 611410 w 1216913"/>
                <a:gd name="connsiteY209" fmla="*/ 323278 h 1049655"/>
                <a:gd name="connsiteX210" fmla="*/ 615029 w 1216913"/>
                <a:gd name="connsiteY210" fmla="*/ 326041 h 1049655"/>
                <a:gd name="connsiteX211" fmla="*/ 619697 w 1216913"/>
                <a:gd name="connsiteY211" fmla="*/ 325374 h 1049655"/>
                <a:gd name="connsiteX212" fmla="*/ 624078 w 1216913"/>
                <a:gd name="connsiteY212" fmla="*/ 334518 h 1049655"/>
                <a:gd name="connsiteX213" fmla="*/ 622744 w 1216913"/>
                <a:gd name="connsiteY213" fmla="*/ 336232 h 1049655"/>
                <a:gd name="connsiteX214" fmla="*/ 622935 w 1216913"/>
                <a:gd name="connsiteY214" fmla="*/ 337852 h 1049655"/>
                <a:gd name="connsiteX215" fmla="*/ 618554 w 1216913"/>
                <a:gd name="connsiteY215" fmla="*/ 341567 h 1049655"/>
                <a:gd name="connsiteX216" fmla="*/ 622173 w 1216913"/>
                <a:gd name="connsiteY216" fmla="*/ 344329 h 1049655"/>
                <a:gd name="connsiteX217" fmla="*/ 622744 w 1216913"/>
                <a:gd name="connsiteY217" fmla="*/ 349091 h 1049655"/>
                <a:gd name="connsiteX218" fmla="*/ 619601 w 1216913"/>
                <a:gd name="connsiteY218" fmla="*/ 349472 h 1049655"/>
                <a:gd name="connsiteX219" fmla="*/ 618172 w 1216913"/>
                <a:gd name="connsiteY219" fmla="*/ 351282 h 1049655"/>
                <a:gd name="connsiteX220" fmla="*/ 621982 w 1216913"/>
                <a:gd name="connsiteY220" fmla="*/ 355568 h 1049655"/>
                <a:gd name="connsiteX221" fmla="*/ 621030 w 1216913"/>
                <a:gd name="connsiteY221" fmla="*/ 360521 h 1049655"/>
                <a:gd name="connsiteX222" fmla="*/ 617410 w 1216913"/>
                <a:gd name="connsiteY222" fmla="*/ 357759 h 1049655"/>
                <a:gd name="connsiteX223" fmla="*/ 617220 w 1216913"/>
                <a:gd name="connsiteY223" fmla="*/ 356235 h 1049655"/>
                <a:gd name="connsiteX224" fmla="*/ 613696 w 1216913"/>
                <a:gd name="connsiteY224" fmla="*/ 353473 h 1049655"/>
                <a:gd name="connsiteX225" fmla="*/ 594741 w 1216913"/>
                <a:gd name="connsiteY225" fmla="*/ 355854 h 1049655"/>
                <a:gd name="connsiteX226" fmla="*/ 593503 w 1216913"/>
                <a:gd name="connsiteY226" fmla="*/ 346424 h 1049655"/>
                <a:gd name="connsiteX227" fmla="*/ 582930 w 1216913"/>
                <a:gd name="connsiteY227" fmla="*/ 350996 h 1049655"/>
                <a:gd name="connsiteX228" fmla="*/ 577786 w 1216913"/>
                <a:gd name="connsiteY228" fmla="*/ 361188 h 1049655"/>
                <a:gd name="connsiteX229" fmla="*/ 569309 w 1216913"/>
                <a:gd name="connsiteY229" fmla="*/ 357473 h 1049655"/>
                <a:gd name="connsiteX230" fmla="*/ 563404 w 1216913"/>
                <a:gd name="connsiteY230" fmla="*/ 361474 h 1049655"/>
                <a:gd name="connsiteX231" fmla="*/ 558641 w 1216913"/>
                <a:gd name="connsiteY231" fmla="*/ 362045 h 1049655"/>
                <a:gd name="connsiteX232" fmla="*/ 539591 w 1216913"/>
                <a:gd name="connsiteY232" fmla="*/ 388525 h 1049655"/>
                <a:gd name="connsiteX233" fmla="*/ 537019 w 1216913"/>
                <a:gd name="connsiteY233" fmla="*/ 393668 h 1049655"/>
                <a:gd name="connsiteX234" fmla="*/ 529304 w 1216913"/>
                <a:gd name="connsiteY234" fmla="*/ 396240 h 1049655"/>
                <a:gd name="connsiteX235" fmla="*/ 515874 w 1216913"/>
                <a:gd name="connsiteY235" fmla="*/ 391573 h 1049655"/>
                <a:gd name="connsiteX236" fmla="*/ 509778 w 1216913"/>
                <a:gd name="connsiteY236" fmla="*/ 393954 h 1049655"/>
                <a:gd name="connsiteX237" fmla="*/ 500920 w 1216913"/>
                <a:gd name="connsiteY237" fmla="*/ 399860 h 1049655"/>
                <a:gd name="connsiteX238" fmla="*/ 495205 w 1216913"/>
                <a:gd name="connsiteY238" fmla="*/ 392620 h 1049655"/>
                <a:gd name="connsiteX239" fmla="*/ 492061 w 1216913"/>
                <a:gd name="connsiteY239" fmla="*/ 393002 h 1049655"/>
                <a:gd name="connsiteX240" fmla="*/ 491395 w 1216913"/>
                <a:gd name="connsiteY240" fmla="*/ 388239 h 1049655"/>
                <a:gd name="connsiteX241" fmla="*/ 488251 w 1216913"/>
                <a:gd name="connsiteY241" fmla="*/ 388620 h 1049655"/>
                <a:gd name="connsiteX242" fmla="*/ 487871 w 1216913"/>
                <a:gd name="connsiteY242" fmla="*/ 385477 h 1049655"/>
                <a:gd name="connsiteX243" fmla="*/ 482917 w 1216913"/>
                <a:gd name="connsiteY243" fmla="*/ 384524 h 1049655"/>
                <a:gd name="connsiteX244" fmla="*/ 479012 w 1216913"/>
                <a:gd name="connsiteY244" fmla="*/ 378619 h 1049655"/>
                <a:gd name="connsiteX245" fmla="*/ 477393 w 1216913"/>
                <a:gd name="connsiteY245" fmla="*/ 378809 h 1049655"/>
                <a:gd name="connsiteX246" fmla="*/ 476059 w 1216913"/>
                <a:gd name="connsiteY246" fmla="*/ 380619 h 1049655"/>
                <a:gd name="connsiteX247" fmla="*/ 472249 w 1216913"/>
                <a:gd name="connsiteY247" fmla="*/ 376238 h 1049655"/>
                <a:gd name="connsiteX248" fmla="*/ 475964 w 1216913"/>
                <a:gd name="connsiteY248" fmla="*/ 367760 h 1049655"/>
                <a:gd name="connsiteX249" fmla="*/ 470059 w 1216913"/>
                <a:gd name="connsiteY249" fmla="*/ 358902 h 1049655"/>
                <a:gd name="connsiteX250" fmla="*/ 468249 w 1216913"/>
                <a:gd name="connsiteY250" fmla="*/ 357569 h 1049655"/>
                <a:gd name="connsiteX251" fmla="*/ 453866 w 1216913"/>
                <a:gd name="connsiteY251" fmla="*/ 357759 h 1049655"/>
                <a:gd name="connsiteX252" fmla="*/ 451866 w 1216913"/>
                <a:gd name="connsiteY252" fmla="*/ 354806 h 1049655"/>
                <a:gd name="connsiteX253" fmla="*/ 448723 w 1216913"/>
                <a:gd name="connsiteY253" fmla="*/ 355187 h 1049655"/>
                <a:gd name="connsiteX254" fmla="*/ 448342 w 1216913"/>
                <a:gd name="connsiteY254" fmla="*/ 352044 h 1049655"/>
                <a:gd name="connsiteX255" fmla="*/ 444532 w 1216913"/>
                <a:gd name="connsiteY255" fmla="*/ 347758 h 1049655"/>
                <a:gd name="connsiteX256" fmla="*/ 441579 w 1216913"/>
                <a:gd name="connsiteY256" fmla="*/ 349663 h 1049655"/>
                <a:gd name="connsiteX257" fmla="*/ 439864 w 1216913"/>
                <a:gd name="connsiteY257" fmla="*/ 348329 h 1049655"/>
                <a:gd name="connsiteX258" fmla="*/ 434911 w 1216913"/>
                <a:gd name="connsiteY258" fmla="*/ 347377 h 1049655"/>
                <a:gd name="connsiteX259" fmla="*/ 430911 w 1216913"/>
                <a:gd name="connsiteY259" fmla="*/ 341471 h 1049655"/>
                <a:gd name="connsiteX260" fmla="*/ 433673 w 1216913"/>
                <a:gd name="connsiteY260" fmla="*/ 337852 h 1049655"/>
                <a:gd name="connsiteX261" fmla="*/ 434816 w 1216913"/>
                <a:gd name="connsiteY261" fmla="*/ 334518 h 1049655"/>
                <a:gd name="connsiteX262" fmla="*/ 432721 w 1216913"/>
                <a:gd name="connsiteY262" fmla="*/ 330041 h 1049655"/>
                <a:gd name="connsiteX263" fmla="*/ 427958 w 1216913"/>
                <a:gd name="connsiteY263" fmla="*/ 330613 h 1049655"/>
                <a:gd name="connsiteX264" fmla="*/ 431863 w 1216913"/>
                <a:gd name="connsiteY264" fmla="*/ 323659 h 1049655"/>
                <a:gd name="connsiteX265" fmla="*/ 428339 w 1216913"/>
                <a:gd name="connsiteY265" fmla="*/ 320897 h 1049655"/>
                <a:gd name="connsiteX266" fmla="*/ 429673 w 1216913"/>
                <a:gd name="connsiteY266" fmla="*/ 319183 h 1049655"/>
                <a:gd name="connsiteX267" fmla="*/ 428911 w 1216913"/>
                <a:gd name="connsiteY267" fmla="*/ 312801 h 1049655"/>
                <a:gd name="connsiteX268" fmla="*/ 422148 w 1216913"/>
                <a:gd name="connsiteY268" fmla="*/ 310515 h 1049655"/>
                <a:gd name="connsiteX269" fmla="*/ 423386 w 1216913"/>
                <a:gd name="connsiteY269" fmla="*/ 307086 h 1049655"/>
                <a:gd name="connsiteX270" fmla="*/ 419386 w 1216913"/>
                <a:gd name="connsiteY270" fmla="*/ 301180 h 1049655"/>
                <a:gd name="connsiteX271" fmla="*/ 417862 w 1216913"/>
                <a:gd name="connsiteY271" fmla="*/ 301466 h 1049655"/>
                <a:gd name="connsiteX272" fmla="*/ 420814 w 1216913"/>
                <a:gd name="connsiteY272" fmla="*/ 299466 h 1049655"/>
                <a:gd name="connsiteX273" fmla="*/ 420529 w 1216913"/>
                <a:gd name="connsiteY273" fmla="*/ 297847 h 1049655"/>
                <a:gd name="connsiteX274" fmla="*/ 419005 w 1216913"/>
                <a:gd name="connsiteY274" fmla="*/ 298037 h 1049655"/>
                <a:gd name="connsiteX275" fmla="*/ 420148 w 1216913"/>
                <a:gd name="connsiteY275" fmla="*/ 294703 h 1049655"/>
                <a:gd name="connsiteX276" fmla="*/ 416623 w 1216913"/>
                <a:gd name="connsiteY276" fmla="*/ 291941 h 1049655"/>
                <a:gd name="connsiteX277" fmla="*/ 416052 w 1216913"/>
                <a:gd name="connsiteY277" fmla="*/ 287179 h 1049655"/>
                <a:gd name="connsiteX278" fmla="*/ 413861 w 1216913"/>
                <a:gd name="connsiteY278" fmla="*/ 282702 h 1049655"/>
                <a:gd name="connsiteX279" fmla="*/ 408527 w 1216913"/>
                <a:gd name="connsiteY279" fmla="*/ 278511 h 1049655"/>
                <a:gd name="connsiteX280" fmla="*/ 405289 w 1216913"/>
                <a:gd name="connsiteY280" fmla="*/ 278987 h 1049655"/>
                <a:gd name="connsiteX281" fmla="*/ 405098 w 1216913"/>
                <a:gd name="connsiteY281" fmla="*/ 277368 h 1049655"/>
                <a:gd name="connsiteX282" fmla="*/ 398050 w 1216913"/>
                <a:gd name="connsiteY282" fmla="*/ 271844 h 1049655"/>
                <a:gd name="connsiteX283" fmla="*/ 399955 w 1216913"/>
                <a:gd name="connsiteY283" fmla="*/ 262033 h 1049655"/>
                <a:gd name="connsiteX284" fmla="*/ 379952 w 1216913"/>
                <a:gd name="connsiteY284" fmla="*/ 243650 h 1049655"/>
                <a:gd name="connsiteX285" fmla="*/ 374618 w 1216913"/>
                <a:gd name="connsiteY285" fmla="*/ 239554 h 1049655"/>
                <a:gd name="connsiteX286" fmla="*/ 364998 w 1216913"/>
                <a:gd name="connsiteY286" fmla="*/ 239173 h 1049655"/>
                <a:gd name="connsiteX287" fmla="*/ 360712 w 1216913"/>
                <a:gd name="connsiteY287" fmla="*/ 255746 h 1049655"/>
                <a:gd name="connsiteX288" fmla="*/ 350234 w 1216913"/>
                <a:gd name="connsiteY288" fmla="*/ 249079 h 1049655"/>
                <a:gd name="connsiteX289" fmla="*/ 343471 w 1216913"/>
                <a:gd name="connsiteY289" fmla="*/ 246698 h 1049655"/>
                <a:gd name="connsiteX290" fmla="*/ 334327 w 1216913"/>
                <a:gd name="connsiteY290" fmla="*/ 225457 h 1049655"/>
                <a:gd name="connsiteX291" fmla="*/ 325660 w 1216913"/>
                <a:gd name="connsiteY291" fmla="*/ 220123 h 1049655"/>
                <a:gd name="connsiteX292" fmla="*/ 318706 w 1216913"/>
                <a:gd name="connsiteY292" fmla="*/ 216217 h 1049655"/>
                <a:gd name="connsiteX293" fmla="*/ 318516 w 1216913"/>
                <a:gd name="connsiteY293" fmla="*/ 214598 h 1049655"/>
                <a:gd name="connsiteX294" fmla="*/ 313658 w 1216913"/>
                <a:gd name="connsiteY294" fmla="*/ 213646 h 1049655"/>
                <a:gd name="connsiteX295" fmla="*/ 309086 w 1216913"/>
                <a:gd name="connsiteY295" fmla="*/ 202978 h 1049655"/>
                <a:gd name="connsiteX296" fmla="*/ 301085 w 1216913"/>
                <a:gd name="connsiteY296" fmla="*/ 191167 h 1049655"/>
                <a:gd name="connsiteX297" fmla="*/ 306229 w 1216913"/>
                <a:gd name="connsiteY297" fmla="*/ 180880 h 1049655"/>
                <a:gd name="connsiteX298" fmla="*/ 309181 w 1216913"/>
                <a:gd name="connsiteY298" fmla="*/ 178975 h 1049655"/>
                <a:gd name="connsiteX299" fmla="*/ 317278 w 1216913"/>
                <a:gd name="connsiteY299" fmla="*/ 179546 h 1049655"/>
                <a:gd name="connsiteX300" fmla="*/ 322421 w 1216913"/>
                <a:gd name="connsiteY300" fmla="*/ 182023 h 1049655"/>
                <a:gd name="connsiteX301" fmla="*/ 326517 w 1216913"/>
                <a:gd name="connsiteY301" fmla="*/ 176689 h 1049655"/>
                <a:gd name="connsiteX302" fmla="*/ 331089 w 1216913"/>
                <a:gd name="connsiteY302" fmla="*/ 174593 h 1049655"/>
                <a:gd name="connsiteX303" fmla="*/ 337185 w 1216913"/>
                <a:gd name="connsiteY303" fmla="*/ 172212 h 1049655"/>
                <a:gd name="connsiteX304" fmla="*/ 349853 w 1216913"/>
                <a:gd name="connsiteY304" fmla="*/ 170593 h 1049655"/>
                <a:gd name="connsiteX305" fmla="*/ 358711 w 1216913"/>
                <a:gd name="connsiteY305" fmla="*/ 164592 h 1049655"/>
                <a:gd name="connsiteX306" fmla="*/ 362045 w 1216913"/>
                <a:gd name="connsiteY306" fmla="*/ 165830 h 1049655"/>
                <a:gd name="connsiteX307" fmla="*/ 366617 w 1216913"/>
                <a:gd name="connsiteY307" fmla="*/ 163640 h 1049655"/>
                <a:gd name="connsiteX308" fmla="*/ 369951 w 1216913"/>
                <a:gd name="connsiteY308" fmla="*/ 164782 h 1049655"/>
                <a:gd name="connsiteX309" fmla="*/ 377380 w 1216913"/>
                <a:gd name="connsiteY309" fmla="*/ 160592 h 1049655"/>
                <a:gd name="connsiteX310" fmla="*/ 376809 w 1216913"/>
                <a:gd name="connsiteY310" fmla="*/ 155924 h 1049655"/>
                <a:gd name="connsiteX311" fmla="*/ 381381 w 1216913"/>
                <a:gd name="connsiteY311" fmla="*/ 153734 h 1049655"/>
                <a:gd name="connsiteX312" fmla="*/ 380333 w 1216913"/>
                <a:gd name="connsiteY312" fmla="*/ 145828 h 1049655"/>
                <a:gd name="connsiteX313" fmla="*/ 384715 w 1216913"/>
                <a:gd name="connsiteY313" fmla="*/ 142018 h 1049655"/>
                <a:gd name="connsiteX314" fmla="*/ 385858 w 1216913"/>
                <a:gd name="connsiteY314" fmla="*/ 138684 h 1049655"/>
                <a:gd name="connsiteX315" fmla="*/ 388810 w 1216913"/>
                <a:gd name="connsiteY315" fmla="*/ 136684 h 1049655"/>
                <a:gd name="connsiteX316" fmla="*/ 392335 w 1216913"/>
                <a:gd name="connsiteY316" fmla="*/ 139446 h 1049655"/>
                <a:gd name="connsiteX317" fmla="*/ 400621 w 1216913"/>
                <a:gd name="connsiteY317" fmla="*/ 141637 h 1049655"/>
                <a:gd name="connsiteX318" fmla="*/ 406527 w 1216913"/>
                <a:gd name="connsiteY318" fmla="*/ 137636 h 1049655"/>
                <a:gd name="connsiteX319" fmla="*/ 412909 w 1216913"/>
                <a:gd name="connsiteY319" fmla="*/ 136874 h 1049655"/>
                <a:gd name="connsiteX320" fmla="*/ 412051 w 1216913"/>
                <a:gd name="connsiteY320" fmla="*/ 130588 h 1049655"/>
                <a:gd name="connsiteX321" fmla="*/ 412813 w 1216913"/>
                <a:gd name="connsiteY321" fmla="*/ 124015 h 1049655"/>
                <a:gd name="connsiteX322" fmla="*/ 412051 w 1216913"/>
                <a:gd name="connsiteY322" fmla="*/ 117729 h 1049655"/>
                <a:gd name="connsiteX323" fmla="*/ 416528 w 1216913"/>
                <a:gd name="connsiteY323" fmla="*/ 102679 h 1049655"/>
                <a:gd name="connsiteX324" fmla="*/ 400336 w 1216913"/>
                <a:gd name="connsiteY324" fmla="*/ 88773 h 1049655"/>
                <a:gd name="connsiteX325" fmla="*/ 387858 w 1216913"/>
                <a:gd name="connsiteY325" fmla="*/ 79153 h 1049655"/>
                <a:gd name="connsiteX326" fmla="*/ 388620 w 1216913"/>
                <a:gd name="connsiteY326" fmla="*/ 72580 h 1049655"/>
                <a:gd name="connsiteX327" fmla="*/ 388620 w 1216913"/>
                <a:gd name="connsiteY327" fmla="*/ 59722 h 1049655"/>
                <a:gd name="connsiteX328" fmla="*/ 394335 w 1216913"/>
                <a:gd name="connsiteY328" fmla="*/ 54197 h 1049655"/>
                <a:gd name="connsiteX329" fmla="*/ 398812 w 1216913"/>
                <a:gd name="connsiteY329" fmla="*/ 39243 h 1049655"/>
                <a:gd name="connsiteX330" fmla="*/ 403193 w 1216913"/>
                <a:gd name="connsiteY330" fmla="*/ 35433 h 1049655"/>
                <a:gd name="connsiteX331" fmla="*/ 402812 w 1216913"/>
                <a:gd name="connsiteY331" fmla="*/ 32290 h 1049655"/>
                <a:gd name="connsiteX332" fmla="*/ 405765 w 1216913"/>
                <a:gd name="connsiteY332" fmla="*/ 30290 h 1049655"/>
                <a:gd name="connsiteX333" fmla="*/ 403765 w 1216913"/>
                <a:gd name="connsiteY333" fmla="*/ 27337 h 1049655"/>
                <a:gd name="connsiteX334" fmla="*/ 394240 w 1216913"/>
                <a:gd name="connsiteY334" fmla="*/ 28575 h 1049655"/>
                <a:gd name="connsiteX335" fmla="*/ 392335 w 1216913"/>
                <a:gd name="connsiteY335" fmla="*/ 25622 h 1049655"/>
                <a:gd name="connsiteX336" fmla="*/ 387382 w 1216913"/>
                <a:gd name="connsiteY336" fmla="*/ 24670 h 1049655"/>
                <a:gd name="connsiteX337" fmla="*/ 381952 w 1216913"/>
                <a:gd name="connsiteY337" fmla="*/ 7715 h 1049655"/>
                <a:gd name="connsiteX338" fmla="*/ 366617 w 1216913"/>
                <a:gd name="connsiteY338" fmla="*/ 0 h 1049655"/>
                <a:gd name="connsiteX339" fmla="*/ 358711 w 1216913"/>
                <a:gd name="connsiteY339" fmla="*/ 1048 h 1049655"/>
                <a:gd name="connsiteX340" fmla="*/ 360331 w 1216913"/>
                <a:gd name="connsiteY340" fmla="*/ 13621 h 1049655"/>
                <a:gd name="connsiteX341" fmla="*/ 358330 w 1216913"/>
                <a:gd name="connsiteY341" fmla="*/ 23527 h 1049655"/>
                <a:gd name="connsiteX342" fmla="*/ 360521 w 1216913"/>
                <a:gd name="connsiteY342" fmla="*/ 28099 h 1049655"/>
                <a:gd name="connsiteX343" fmla="*/ 360712 w 1216913"/>
                <a:gd name="connsiteY343" fmla="*/ 29623 h 1049655"/>
                <a:gd name="connsiteX344" fmla="*/ 359378 w 1216913"/>
                <a:gd name="connsiteY344" fmla="*/ 31432 h 1049655"/>
                <a:gd name="connsiteX345" fmla="*/ 340614 w 1216913"/>
                <a:gd name="connsiteY345" fmla="*/ 48196 h 1049655"/>
                <a:gd name="connsiteX346" fmla="*/ 335375 w 1216913"/>
                <a:gd name="connsiteY346" fmla="*/ 56959 h 1049655"/>
                <a:gd name="connsiteX347" fmla="*/ 323279 w 1216913"/>
                <a:gd name="connsiteY347" fmla="*/ 63246 h 1049655"/>
                <a:gd name="connsiteX348" fmla="*/ 312706 w 1216913"/>
                <a:gd name="connsiteY348" fmla="*/ 67818 h 1049655"/>
                <a:gd name="connsiteX349" fmla="*/ 309753 w 1216913"/>
                <a:gd name="connsiteY349" fmla="*/ 69818 h 1049655"/>
                <a:gd name="connsiteX350" fmla="*/ 303181 w 1216913"/>
                <a:gd name="connsiteY350" fmla="*/ 69056 h 1049655"/>
                <a:gd name="connsiteX351" fmla="*/ 302800 w 1216913"/>
                <a:gd name="connsiteY351" fmla="*/ 65913 h 1049655"/>
                <a:gd name="connsiteX352" fmla="*/ 299466 w 1216913"/>
                <a:gd name="connsiteY352" fmla="*/ 64675 h 1049655"/>
                <a:gd name="connsiteX353" fmla="*/ 298609 w 1216913"/>
                <a:gd name="connsiteY353" fmla="*/ 58388 h 1049655"/>
                <a:gd name="connsiteX354" fmla="*/ 295084 w 1216913"/>
                <a:gd name="connsiteY354" fmla="*/ 55626 h 1049655"/>
                <a:gd name="connsiteX355" fmla="*/ 287179 w 1216913"/>
                <a:gd name="connsiteY355" fmla="*/ 56674 h 1049655"/>
                <a:gd name="connsiteX356" fmla="*/ 285845 w 1216913"/>
                <a:gd name="connsiteY356" fmla="*/ 58388 h 1049655"/>
                <a:gd name="connsiteX357" fmla="*/ 279749 w 1216913"/>
                <a:gd name="connsiteY357" fmla="*/ 60865 h 1049655"/>
                <a:gd name="connsiteX358" fmla="*/ 275558 w 1216913"/>
                <a:gd name="connsiteY358" fmla="*/ 66199 h 1049655"/>
                <a:gd name="connsiteX359" fmla="*/ 272224 w 1216913"/>
                <a:gd name="connsiteY359" fmla="*/ 64960 h 1049655"/>
                <a:gd name="connsiteX360" fmla="*/ 266129 w 1216913"/>
                <a:gd name="connsiteY360" fmla="*/ 67342 h 1049655"/>
                <a:gd name="connsiteX361" fmla="*/ 261175 w 1216913"/>
                <a:gd name="connsiteY361" fmla="*/ 66389 h 1049655"/>
                <a:gd name="connsiteX362" fmla="*/ 256032 w 1216913"/>
                <a:gd name="connsiteY362" fmla="*/ 63817 h 1049655"/>
                <a:gd name="connsiteX363" fmla="*/ 251079 w 1216913"/>
                <a:gd name="connsiteY363" fmla="*/ 62865 h 1049655"/>
                <a:gd name="connsiteX364" fmla="*/ 249364 w 1216913"/>
                <a:gd name="connsiteY364" fmla="*/ 61436 h 1049655"/>
                <a:gd name="connsiteX365" fmla="*/ 244602 w 1216913"/>
                <a:gd name="connsiteY365" fmla="*/ 62103 h 1049655"/>
                <a:gd name="connsiteX366" fmla="*/ 228409 w 1216913"/>
                <a:gd name="connsiteY366" fmla="*/ 60960 h 1049655"/>
                <a:gd name="connsiteX367" fmla="*/ 214789 w 1216913"/>
                <a:gd name="connsiteY367" fmla="*/ 67437 h 1049655"/>
                <a:gd name="connsiteX368" fmla="*/ 211836 w 1216913"/>
                <a:gd name="connsiteY368" fmla="*/ 69437 h 1049655"/>
                <a:gd name="connsiteX369" fmla="*/ 210121 w 1216913"/>
                <a:gd name="connsiteY369" fmla="*/ 68104 h 1049655"/>
                <a:gd name="connsiteX370" fmla="*/ 205740 w 1216913"/>
                <a:gd name="connsiteY370" fmla="*/ 71819 h 1049655"/>
                <a:gd name="connsiteX371" fmla="*/ 202216 w 1216913"/>
                <a:gd name="connsiteY371" fmla="*/ 69056 h 1049655"/>
                <a:gd name="connsiteX372" fmla="*/ 200596 w 1216913"/>
                <a:gd name="connsiteY372" fmla="*/ 69247 h 1049655"/>
                <a:gd name="connsiteX373" fmla="*/ 202025 w 1216913"/>
                <a:gd name="connsiteY373" fmla="*/ 80296 h 1049655"/>
                <a:gd name="connsiteX374" fmla="*/ 200882 w 1216913"/>
                <a:gd name="connsiteY374" fmla="*/ 83725 h 1049655"/>
                <a:gd name="connsiteX375" fmla="*/ 196310 w 1216913"/>
                <a:gd name="connsiteY375" fmla="*/ 85915 h 1049655"/>
                <a:gd name="connsiteX376" fmla="*/ 190405 w 1216913"/>
                <a:gd name="connsiteY376" fmla="*/ 89821 h 1049655"/>
                <a:gd name="connsiteX377" fmla="*/ 183451 w 1216913"/>
                <a:gd name="connsiteY377" fmla="*/ 85915 h 1049655"/>
                <a:gd name="connsiteX378" fmla="*/ 181927 w 1216913"/>
                <a:gd name="connsiteY378" fmla="*/ 98965 h 1049655"/>
                <a:gd name="connsiteX379" fmla="*/ 179546 w 1216913"/>
                <a:gd name="connsiteY379" fmla="*/ 105632 h 1049655"/>
                <a:gd name="connsiteX380" fmla="*/ 182404 w 1216913"/>
                <a:gd name="connsiteY380" fmla="*/ 114967 h 1049655"/>
                <a:gd name="connsiteX381" fmla="*/ 181546 w 1216913"/>
                <a:gd name="connsiteY381" fmla="*/ 121444 h 1049655"/>
                <a:gd name="connsiteX382" fmla="*/ 182404 w 1216913"/>
                <a:gd name="connsiteY382" fmla="*/ 127730 h 1049655"/>
                <a:gd name="connsiteX383" fmla="*/ 179641 w 1216913"/>
                <a:gd name="connsiteY383" fmla="*/ 131350 h 1049655"/>
                <a:gd name="connsiteX384" fmla="*/ 180213 w 1216913"/>
                <a:gd name="connsiteY384" fmla="*/ 136017 h 1049655"/>
                <a:gd name="connsiteX385" fmla="*/ 174307 w 1216913"/>
                <a:gd name="connsiteY385" fmla="*/ 140017 h 1049655"/>
                <a:gd name="connsiteX386" fmla="*/ 166021 w 1216913"/>
                <a:gd name="connsiteY386" fmla="*/ 137827 h 1049655"/>
                <a:gd name="connsiteX387" fmla="*/ 163068 w 1216913"/>
                <a:gd name="connsiteY387" fmla="*/ 139827 h 1049655"/>
                <a:gd name="connsiteX388" fmla="*/ 157734 w 1216913"/>
                <a:gd name="connsiteY388" fmla="*/ 135731 h 1049655"/>
                <a:gd name="connsiteX389" fmla="*/ 150019 w 1216913"/>
                <a:gd name="connsiteY389" fmla="*/ 125444 h 1049655"/>
                <a:gd name="connsiteX390" fmla="*/ 148209 w 1216913"/>
                <a:gd name="connsiteY390" fmla="*/ 124111 h 1049655"/>
                <a:gd name="connsiteX391" fmla="*/ 144971 w 1216913"/>
                <a:gd name="connsiteY391" fmla="*/ 135731 h 1049655"/>
                <a:gd name="connsiteX392" fmla="*/ 136493 w 1216913"/>
                <a:gd name="connsiteY392" fmla="*/ 144780 h 1049655"/>
                <a:gd name="connsiteX393" fmla="*/ 129159 w 1216913"/>
                <a:gd name="connsiteY393" fmla="*/ 163354 h 1049655"/>
                <a:gd name="connsiteX394" fmla="*/ 121920 w 1216913"/>
                <a:gd name="connsiteY394" fmla="*/ 169164 h 1049655"/>
                <a:gd name="connsiteX395" fmla="*/ 108299 w 1216913"/>
                <a:gd name="connsiteY395" fmla="*/ 162877 h 1049655"/>
                <a:gd name="connsiteX396" fmla="*/ 102394 w 1216913"/>
                <a:gd name="connsiteY396" fmla="*/ 166783 h 1049655"/>
                <a:gd name="connsiteX397" fmla="*/ 98488 w 1216913"/>
                <a:gd name="connsiteY397" fmla="*/ 173736 h 1049655"/>
                <a:gd name="connsiteX398" fmla="*/ 99250 w 1216913"/>
                <a:gd name="connsiteY398" fmla="*/ 180023 h 1049655"/>
                <a:gd name="connsiteX399" fmla="*/ 94964 w 1216913"/>
                <a:gd name="connsiteY399" fmla="*/ 183832 h 1049655"/>
                <a:gd name="connsiteX400" fmla="*/ 91916 w 1216913"/>
                <a:gd name="connsiteY400" fmla="*/ 185738 h 1049655"/>
                <a:gd name="connsiteX401" fmla="*/ 86582 w 1216913"/>
                <a:gd name="connsiteY401" fmla="*/ 181642 h 1049655"/>
                <a:gd name="connsiteX402" fmla="*/ 81534 w 1216913"/>
                <a:gd name="connsiteY402" fmla="*/ 191929 h 1049655"/>
                <a:gd name="connsiteX403" fmla="*/ 77343 w 1216913"/>
                <a:gd name="connsiteY403" fmla="*/ 197263 h 1049655"/>
                <a:gd name="connsiteX404" fmla="*/ 69342 w 1216913"/>
                <a:gd name="connsiteY404" fmla="*/ 209550 h 1049655"/>
                <a:gd name="connsiteX405" fmla="*/ 66199 w 1216913"/>
                <a:gd name="connsiteY405" fmla="*/ 209931 h 1049655"/>
                <a:gd name="connsiteX406" fmla="*/ 55912 w 1216913"/>
                <a:gd name="connsiteY406" fmla="*/ 217646 h 1049655"/>
                <a:gd name="connsiteX407" fmla="*/ 58483 w 1216913"/>
                <a:gd name="connsiteY407" fmla="*/ 225361 h 1049655"/>
                <a:gd name="connsiteX408" fmla="*/ 59912 w 1216913"/>
                <a:gd name="connsiteY408" fmla="*/ 236411 h 1049655"/>
                <a:gd name="connsiteX409" fmla="*/ 63913 w 1216913"/>
                <a:gd name="connsiteY409" fmla="*/ 242316 h 1049655"/>
                <a:gd name="connsiteX410" fmla="*/ 59912 w 1216913"/>
                <a:gd name="connsiteY410" fmla="*/ 249174 h 1049655"/>
                <a:gd name="connsiteX411" fmla="*/ 44196 w 1216913"/>
                <a:gd name="connsiteY411" fmla="*/ 264033 h 1049655"/>
                <a:gd name="connsiteX412" fmla="*/ 51721 w 1216913"/>
                <a:gd name="connsiteY412" fmla="*/ 285559 h 1049655"/>
                <a:gd name="connsiteX413" fmla="*/ 51340 w 1216913"/>
                <a:gd name="connsiteY413" fmla="*/ 295180 h 1049655"/>
                <a:gd name="connsiteX414" fmla="*/ 53721 w 1216913"/>
                <a:gd name="connsiteY414" fmla="*/ 301276 h 1049655"/>
                <a:gd name="connsiteX415" fmla="*/ 54769 w 1216913"/>
                <a:gd name="connsiteY415" fmla="*/ 309182 h 1049655"/>
                <a:gd name="connsiteX416" fmla="*/ 47530 w 1216913"/>
                <a:gd name="connsiteY416" fmla="*/ 327755 h 1049655"/>
                <a:gd name="connsiteX417" fmla="*/ 39814 w 1216913"/>
                <a:gd name="connsiteY417" fmla="*/ 330327 h 1049655"/>
                <a:gd name="connsiteX418" fmla="*/ 37242 w 1216913"/>
                <a:gd name="connsiteY418" fmla="*/ 335471 h 1049655"/>
                <a:gd name="connsiteX419" fmla="*/ 31718 w 1216913"/>
                <a:gd name="connsiteY419" fmla="*/ 342614 h 1049655"/>
                <a:gd name="connsiteX420" fmla="*/ 24098 w 1216913"/>
                <a:gd name="connsiteY420" fmla="*/ 345186 h 1049655"/>
                <a:gd name="connsiteX421" fmla="*/ 19526 w 1216913"/>
                <a:gd name="connsiteY421" fmla="*/ 360140 h 1049655"/>
                <a:gd name="connsiteX422" fmla="*/ 11049 w 1216913"/>
                <a:gd name="connsiteY422" fmla="*/ 369284 h 1049655"/>
                <a:gd name="connsiteX423" fmla="*/ 12668 w 1216913"/>
                <a:gd name="connsiteY423" fmla="*/ 381857 h 1049655"/>
                <a:gd name="connsiteX424" fmla="*/ 15049 w 1216913"/>
                <a:gd name="connsiteY424" fmla="*/ 388048 h 1049655"/>
                <a:gd name="connsiteX425" fmla="*/ 14288 w 1216913"/>
                <a:gd name="connsiteY425" fmla="*/ 394526 h 1049655"/>
                <a:gd name="connsiteX426" fmla="*/ 5429 w 1216913"/>
                <a:gd name="connsiteY426" fmla="*/ 400431 h 1049655"/>
                <a:gd name="connsiteX427" fmla="*/ 3905 w 1216913"/>
                <a:gd name="connsiteY427" fmla="*/ 400622 h 1049655"/>
                <a:gd name="connsiteX428" fmla="*/ 6286 w 1216913"/>
                <a:gd name="connsiteY428" fmla="*/ 406813 h 1049655"/>
                <a:gd name="connsiteX429" fmla="*/ 14764 w 1216913"/>
                <a:gd name="connsiteY429" fmla="*/ 410528 h 1049655"/>
                <a:gd name="connsiteX430" fmla="*/ 29432 w 1216913"/>
                <a:gd name="connsiteY430" fmla="*/ 424720 h 1049655"/>
                <a:gd name="connsiteX431" fmla="*/ 33528 w 1216913"/>
                <a:gd name="connsiteY431" fmla="*/ 432149 h 1049655"/>
                <a:gd name="connsiteX432" fmla="*/ 33718 w 1216913"/>
                <a:gd name="connsiteY432" fmla="*/ 433769 h 1049655"/>
                <a:gd name="connsiteX433" fmla="*/ 36100 w 1216913"/>
                <a:gd name="connsiteY433" fmla="*/ 439865 h 1049655"/>
                <a:gd name="connsiteX434" fmla="*/ 33338 w 1216913"/>
                <a:gd name="connsiteY434" fmla="*/ 443389 h 1049655"/>
                <a:gd name="connsiteX435" fmla="*/ 35338 w 1216913"/>
                <a:gd name="connsiteY435" fmla="*/ 446341 h 1049655"/>
                <a:gd name="connsiteX436" fmla="*/ 32766 w 1216913"/>
                <a:gd name="connsiteY436" fmla="*/ 451485 h 1049655"/>
                <a:gd name="connsiteX437" fmla="*/ 31051 w 1216913"/>
                <a:gd name="connsiteY437" fmla="*/ 450152 h 1049655"/>
                <a:gd name="connsiteX438" fmla="*/ 28861 w 1216913"/>
                <a:gd name="connsiteY438" fmla="*/ 458438 h 1049655"/>
                <a:gd name="connsiteX439" fmla="*/ 22574 w 1216913"/>
                <a:gd name="connsiteY439" fmla="*/ 459200 h 1049655"/>
                <a:gd name="connsiteX440" fmla="*/ 21622 w 1216913"/>
                <a:gd name="connsiteY440" fmla="*/ 464153 h 1049655"/>
                <a:gd name="connsiteX441" fmla="*/ 17050 w 1216913"/>
                <a:gd name="connsiteY441" fmla="*/ 466344 h 1049655"/>
                <a:gd name="connsiteX442" fmla="*/ 17431 w 1216913"/>
                <a:gd name="connsiteY442" fmla="*/ 469487 h 1049655"/>
                <a:gd name="connsiteX443" fmla="*/ 9811 w 1216913"/>
                <a:gd name="connsiteY443" fmla="*/ 472059 h 1049655"/>
                <a:gd name="connsiteX444" fmla="*/ 12097 w 1216913"/>
                <a:gd name="connsiteY444" fmla="*/ 478155 h 1049655"/>
                <a:gd name="connsiteX445" fmla="*/ 10954 w 1216913"/>
                <a:gd name="connsiteY445" fmla="*/ 481584 h 1049655"/>
                <a:gd name="connsiteX446" fmla="*/ 19240 w 1216913"/>
                <a:gd name="connsiteY446" fmla="*/ 483679 h 1049655"/>
                <a:gd name="connsiteX447" fmla="*/ 16954 w 1216913"/>
                <a:gd name="connsiteY447" fmla="*/ 490442 h 1049655"/>
                <a:gd name="connsiteX448" fmla="*/ 17335 w 1216913"/>
                <a:gd name="connsiteY448" fmla="*/ 493586 h 1049655"/>
                <a:gd name="connsiteX449" fmla="*/ 15907 w 1216913"/>
                <a:gd name="connsiteY449" fmla="*/ 495395 h 1049655"/>
                <a:gd name="connsiteX450" fmla="*/ 14192 w 1216913"/>
                <a:gd name="connsiteY450" fmla="*/ 493966 h 1049655"/>
                <a:gd name="connsiteX451" fmla="*/ 13144 w 1216913"/>
                <a:gd name="connsiteY451" fmla="*/ 498919 h 1049655"/>
                <a:gd name="connsiteX452" fmla="*/ 13430 w 1216913"/>
                <a:gd name="connsiteY452" fmla="*/ 500539 h 1049655"/>
                <a:gd name="connsiteX453" fmla="*/ 7715 w 1216913"/>
                <a:gd name="connsiteY453" fmla="*/ 506063 h 1049655"/>
                <a:gd name="connsiteX454" fmla="*/ 6477 w 1216913"/>
                <a:gd name="connsiteY454" fmla="*/ 509397 h 1049655"/>
                <a:gd name="connsiteX455" fmla="*/ 1714 w 1216913"/>
                <a:gd name="connsiteY455" fmla="*/ 509969 h 1049655"/>
                <a:gd name="connsiteX456" fmla="*/ 4191 w 1216913"/>
                <a:gd name="connsiteY456" fmla="*/ 516065 h 1049655"/>
                <a:gd name="connsiteX457" fmla="*/ 952 w 1216913"/>
                <a:gd name="connsiteY457" fmla="*/ 516541 h 1049655"/>
                <a:gd name="connsiteX458" fmla="*/ 0 w 1216913"/>
                <a:gd name="connsiteY458" fmla="*/ 521398 h 1049655"/>
                <a:gd name="connsiteX459" fmla="*/ 8477 w 1216913"/>
                <a:gd name="connsiteY459" fmla="*/ 525208 h 1049655"/>
                <a:gd name="connsiteX460" fmla="*/ 10858 w 1216913"/>
                <a:gd name="connsiteY460" fmla="*/ 531304 h 1049655"/>
                <a:gd name="connsiteX461" fmla="*/ 10287 w 1216913"/>
                <a:gd name="connsiteY461" fmla="*/ 539401 h 1049655"/>
                <a:gd name="connsiteX462" fmla="*/ 12859 w 1216913"/>
                <a:gd name="connsiteY462" fmla="*/ 534257 h 1049655"/>
                <a:gd name="connsiteX463" fmla="*/ 16192 w 1216913"/>
                <a:gd name="connsiteY463" fmla="*/ 535400 h 1049655"/>
                <a:gd name="connsiteX464" fmla="*/ 18192 w 1216913"/>
                <a:gd name="connsiteY464" fmla="*/ 538353 h 1049655"/>
                <a:gd name="connsiteX465" fmla="*/ 19050 w 1216913"/>
                <a:gd name="connsiteY465" fmla="*/ 544640 h 1049655"/>
                <a:gd name="connsiteX466" fmla="*/ 23622 w 1216913"/>
                <a:gd name="connsiteY466" fmla="*/ 555307 h 1049655"/>
                <a:gd name="connsiteX467" fmla="*/ 26956 w 1216913"/>
                <a:gd name="connsiteY467" fmla="*/ 556546 h 1049655"/>
                <a:gd name="connsiteX468" fmla="*/ 29146 w 1216913"/>
                <a:gd name="connsiteY468" fmla="*/ 561023 h 1049655"/>
                <a:gd name="connsiteX469" fmla="*/ 36195 w 1216913"/>
                <a:gd name="connsiteY469" fmla="*/ 553688 h 1049655"/>
                <a:gd name="connsiteX470" fmla="*/ 39338 w 1216913"/>
                <a:gd name="connsiteY470" fmla="*/ 553307 h 1049655"/>
                <a:gd name="connsiteX471" fmla="*/ 44291 w 1216913"/>
                <a:gd name="connsiteY471" fmla="*/ 554260 h 1049655"/>
                <a:gd name="connsiteX472" fmla="*/ 43720 w 1216913"/>
                <a:gd name="connsiteY472" fmla="*/ 549593 h 1049655"/>
                <a:gd name="connsiteX473" fmla="*/ 45053 w 1216913"/>
                <a:gd name="connsiteY473" fmla="*/ 547783 h 1049655"/>
                <a:gd name="connsiteX474" fmla="*/ 50197 w 1216913"/>
                <a:gd name="connsiteY474" fmla="*/ 550354 h 1049655"/>
                <a:gd name="connsiteX475" fmla="*/ 53911 w 1216913"/>
                <a:gd name="connsiteY475" fmla="*/ 541877 h 1049655"/>
                <a:gd name="connsiteX476" fmla="*/ 57055 w 1216913"/>
                <a:gd name="connsiteY476" fmla="*/ 541401 h 1049655"/>
                <a:gd name="connsiteX477" fmla="*/ 54578 w 1216913"/>
                <a:gd name="connsiteY477" fmla="*/ 559403 h 1049655"/>
                <a:gd name="connsiteX478" fmla="*/ 48482 w 1216913"/>
                <a:gd name="connsiteY478" fmla="*/ 574643 h 1049655"/>
                <a:gd name="connsiteX479" fmla="*/ 46101 w 1216913"/>
                <a:gd name="connsiteY479" fmla="*/ 581311 h 1049655"/>
                <a:gd name="connsiteX480" fmla="*/ 49244 w 1216913"/>
                <a:gd name="connsiteY480" fmla="*/ 580930 h 1049655"/>
                <a:gd name="connsiteX481" fmla="*/ 49721 w 1216913"/>
                <a:gd name="connsiteY481" fmla="*/ 584073 h 1049655"/>
                <a:gd name="connsiteX482" fmla="*/ 51435 w 1216913"/>
                <a:gd name="connsiteY482" fmla="*/ 585407 h 1049655"/>
                <a:gd name="connsiteX483" fmla="*/ 51911 w 1216913"/>
                <a:gd name="connsiteY483" fmla="*/ 588645 h 1049655"/>
                <a:gd name="connsiteX484" fmla="*/ 53245 w 1216913"/>
                <a:gd name="connsiteY484" fmla="*/ 586835 h 1049655"/>
                <a:gd name="connsiteX485" fmla="*/ 56197 w 1216913"/>
                <a:gd name="connsiteY485" fmla="*/ 584835 h 1049655"/>
                <a:gd name="connsiteX486" fmla="*/ 58007 w 1216913"/>
                <a:gd name="connsiteY486" fmla="*/ 586264 h 1049655"/>
                <a:gd name="connsiteX487" fmla="*/ 59531 w 1216913"/>
                <a:gd name="connsiteY487" fmla="*/ 585978 h 1049655"/>
                <a:gd name="connsiteX488" fmla="*/ 59150 w 1216913"/>
                <a:gd name="connsiteY488" fmla="*/ 582835 h 1049655"/>
                <a:gd name="connsiteX489" fmla="*/ 62293 w 1216913"/>
                <a:gd name="connsiteY489" fmla="*/ 582454 h 1049655"/>
                <a:gd name="connsiteX490" fmla="*/ 63532 w 1216913"/>
                <a:gd name="connsiteY490" fmla="*/ 579120 h 1049655"/>
                <a:gd name="connsiteX491" fmla="*/ 65437 w 1216913"/>
                <a:gd name="connsiteY491" fmla="*/ 582073 h 1049655"/>
                <a:gd name="connsiteX492" fmla="*/ 70009 w 1216913"/>
                <a:gd name="connsiteY492" fmla="*/ 579882 h 1049655"/>
                <a:gd name="connsiteX493" fmla="*/ 73533 w 1216913"/>
                <a:gd name="connsiteY493" fmla="*/ 582644 h 1049655"/>
                <a:gd name="connsiteX494" fmla="*/ 76486 w 1216913"/>
                <a:gd name="connsiteY494" fmla="*/ 580644 h 1049655"/>
                <a:gd name="connsiteX495" fmla="*/ 78867 w 1216913"/>
                <a:gd name="connsiteY495" fmla="*/ 586740 h 1049655"/>
                <a:gd name="connsiteX496" fmla="*/ 85439 w 1216913"/>
                <a:gd name="connsiteY496" fmla="*/ 587502 h 1049655"/>
                <a:gd name="connsiteX497" fmla="*/ 88963 w 1216913"/>
                <a:gd name="connsiteY497" fmla="*/ 590264 h 1049655"/>
                <a:gd name="connsiteX498" fmla="*/ 93535 w 1216913"/>
                <a:gd name="connsiteY498" fmla="*/ 588074 h 1049655"/>
                <a:gd name="connsiteX499" fmla="*/ 95536 w 1216913"/>
                <a:gd name="connsiteY499" fmla="*/ 591026 h 1049655"/>
                <a:gd name="connsiteX500" fmla="*/ 96107 w 1216913"/>
                <a:gd name="connsiteY500" fmla="*/ 595789 h 1049655"/>
                <a:gd name="connsiteX501" fmla="*/ 97250 w 1216913"/>
                <a:gd name="connsiteY501" fmla="*/ 592455 h 1049655"/>
                <a:gd name="connsiteX502" fmla="*/ 98869 w 1216913"/>
                <a:gd name="connsiteY502" fmla="*/ 592265 h 1049655"/>
                <a:gd name="connsiteX503" fmla="*/ 104204 w 1216913"/>
                <a:gd name="connsiteY503" fmla="*/ 596360 h 1049655"/>
                <a:gd name="connsiteX504" fmla="*/ 104394 w 1216913"/>
                <a:gd name="connsiteY504" fmla="*/ 597979 h 1049655"/>
                <a:gd name="connsiteX505" fmla="*/ 104584 w 1216913"/>
                <a:gd name="connsiteY505" fmla="*/ 599503 h 1049655"/>
                <a:gd name="connsiteX506" fmla="*/ 109538 w 1216913"/>
                <a:gd name="connsiteY506" fmla="*/ 600551 h 1049655"/>
                <a:gd name="connsiteX507" fmla="*/ 115633 w 1216913"/>
                <a:gd name="connsiteY507" fmla="*/ 598075 h 1049655"/>
                <a:gd name="connsiteX508" fmla="*/ 127254 w 1216913"/>
                <a:gd name="connsiteY508" fmla="*/ 601408 h 1049655"/>
                <a:gd name="connsiteX509" fmla="*/ 126301 w 1216913"/>
                <a:gd name="connsiteY509" fmla="*/ 606361 h 1049655"/>
                <a:gd name="connsiteX510" fmla="*/ 128302 w 1216913"/>
                <a:gd name="connsiteY510" fmla="*/ 609314 h 1049655"/>
                <a:gd name="connsiteX511" fmla="*/ 130873 w 1216913"/>
                <a:gd name="connsiteY511" fmla="*/ 604171 h 1049655"/>
                <a:gd name="connsiteX512" fmla="*/ 133636 w 1216913"/>
                <a:gd name="connsiteY512" fmla="*/ 600647 h 1049655"/>
                <a:gd name="connsiteX513" fmla="*/ 143065 w 1216913"/>
                <a:gd name="connsiteY513" fmla="*/ 599408 h 1049655"/>
                <a:gd name="connsiteX514" fmla="*/ 150400 w 1216913"/>
                <a:gd name="connsiteY514" fmla="*/ 593693 h 1049655"/>
                <a:gd name="connsiteX515" fmla="*/ 157829 w 1216913"/>
                <a:gd name="connsiteY515" fmla="*/ 602361 h 1049655"/>
                <a:gd name="connsiteX516" fmla="*/ 159258 w 1216913"/>
                <a:gd name="connsiteY516" fmla="*/ 600551 h 1049655"/>
                <a:gd name="connsiteX517" fmla="*/ 161258 w 1216913"/>
                <a:gd name="connsiteY517" fmla="*/ 603504 h 1049655"/>
                <a:gd name="connsiteX518" fmla="*/ 172688 w 1216913"/>
                <a:gd name="connsiteY518" fmla="*/ 618077 h 1049655"/>
                <a:gd name="connsiteX519" fmla="*/ 174688 w 1216913"/>
                <a:gd name="connsiteY519" fmla="*/ 621030 h 1049655"/>
                <a:gd name="connsiteX520" fmla="*/ 177832 w 1216913"/>
                <a:gd name="connsiteY520" fmla="*/ 620649 h 1049655"/>
                <a:gd name="connsiteX521" fmla="*/ 180022 w 1216913"/>
                <a:gd name="connsiteY521" fmla="*/ 625221 h 1049655"/>
                <a:gd name="connsiteX522" fmla="*/ 186976 w 1216913"/>
                <a:gd name="connsiteY522" fmla="*/ 629126 h 1049655"/>
                <a:gd name="connsiteX523" fmla="*/ 189357 w 1216913"/>
                <a:gd name="connsiteY523" fmla="*/ 635222 h 1049655"/>
                <a:gd name="connsiteX524" fmla="*/ 186404 w 1216913"/>
                <a:gd name="connsiteY524" fmla="*/ 637223 h 1049655"/>
                <a:gd name="connsiteX525" fmla="*/ 186785 w 1216913"/>
                <a:gd name="connsiteY525" fmla="*/ 640366 h 1049655"/>
                <a:gd name="connsiteX526" fmla="*/ 193929 w 1216913"/>
                <a:gd name="connsiteY526" fmla="*/ 645890 h 1049655"/>
                <a:gd name="connsiteX527" fmla="*/ 195834 w 1216913"/>
                <a:gd name="connsiteY527" fmla="*/ 648843 h 1049655"/>
                <a:gd name="connsiteX528" fmla="*/ 189738 w 1216913"/>
                <a:gd name="connsiteY528" fmla="*/ 651224 h 1049655"/>
                <a:gd name="connsiteX529" fmla="*/ 196882 w 1216913"/>
                <a:gd name="connsiteY529" fmla="*/ 656749 h 1049655"/>
                <a:gd name="connsiteX530" fmla="*/ 199072 w 1216913"/>
                <a:gd name="connsiteY530" fmla="*/ 661226 h 1049655"/>
                <a:gd name="connsiteX531" fmla="*/ 198691 w 1216913"/>
                <a:gd name="connsiteY531" fmla="*/ 658082 h 1049655"/>
                <a:gd name="connsiteX532" fmla="*/ 203359 w 1216913"/>
                <a:gd name="connsiteY532" fmla="*/ 657511 h 1049655"/>
                <a:gd name="connsiteX533" fmla="*/ 207740 w 1216913"/>
                <a:gd name="connsiteY533" fmla="*/ 653701 h 1049655"/>
                <a:gd name="connsiteX534" fmla="*/ 215170 w 1216913"/>
                <a:gd name="connsiteY534" fmla="*/ 649605 h 1049655"/>
                <a:gd name="connsiteX535" fmla="*/ 230219 w 1216913"/>
                <a:gd name="connsiteY535" fmla="*/ 654082 h 1049655"/>
                <a:gd name="connsiteX536" fmla="*/ 235363 w 1216913"/>
                <a:gd name="connsiteY536" fmla="*/ 656653 h 1049655"/>
                <a:gd name="connsiteX537" fmla="*/ 238125 w 1216913"/>
                <a:gd name="connsiteY537" fmla="*/ 653034 h 1049655"/>
                <a:gd name="connsiteX538" fmla="*/ 241459 w 1216913"/>
                <a:gd name="connsiteY538" fmla="*/ 654272 h 1049655"/>
                <a:gd name="connsiteX539" fmla="*/ 249746 w 1216913"/>
                <a:gd name="connsiteY539" fmla="*/ 669227 h 1049655"/>
                <a:gd name="connsiteX540" fmla="*/ 253174 w 1216913"/>
                <a:gd name="connsiteY540" fmla="*/ 670370 h 1049655"/>
                <a:gd name="connsiteX541" fmla="*/ 266319 w 1216913"/>
                <a:gd name="connsiteY541" fmla="*/ 673513 h 1049655"/>
                <a:gd name="connsiteX542" fmla="*/ 274225 w 1216913"/>
                <a:gd name="connsiteY542" fmla="*/ 659702 h 1049655"/>
                <a:gd name="connsiteX543" fmla="*/ 272415 w 1216913"/>
                <a:gd name="connsiteY543" fmla="*/ 658368 h 1049655"/>
                <a:gd name="connsiteX544" fmla="*/ 273653 w 1216913"/>
                <a:gd name="connsiteY544" fmla="*/ 654939 h 1049655"/>
                <a:gd name="connsiteX545" fmla="*/ 276225 w 1216913"/>
                <a:gd name="connsiteY545" fmla="*/ 649795 h 1049655"/>
                <a:gd name="connsiteX546" fmla="*/ 279559 w 1216913"/>
                <a:gd name="connsiteY546" fmla="*/ 651034 h 1049655"/>
                <a:gd name="connsiteX547" fmla="*/ 281559 w 1216913"/>
                <a:gd name="connsiteY547" fmla="*/ 653986 h 1049655"/>
                <a:gd name="connsiteX548" fmla="*/ 289846 w 1216913"/>
                <a:gd name="connsiteY548" fmla="*/ 656082 h 1049655"/>
                <a:gd name="connsiteX549" fmla="*/ 298323 w 1216913"/>
                <a:gd name="connsiteY549" fmla="*/ 659797 h 1049655"/>
                <a:gd name="connsiteX550" fmla="*/ 310134 w 1216913"/>
                <a:gd name="connsiteY550" fmla="*/ 677608 h 1049655"/>
                <a:gd name="connsiteX551" fmla="*/ 316897 w 1216913"/>
                <a:gd name="connsiteY551" fmla="*/ 679895 h 1049655"/>
                <a:gd name="connsiteX552" fmla="*/ 329565 w 1216913"/>
                <a:gd name="connsiteY552" fmla="*/ 678275 h 1049655"/>
                <a:gd name="connsiteX553" fmla="*/ 330327 w 1216913"/>
                <a:gd name="connsiteY553" fmla="*/ 671798 h 1049655"/>
                <a:gd name="connsiteX554" fmla="*/ 336423 w 1216913"/>
                <a:gd name="connsiteY554" fmla="*/ 669417 h 1049655"/>
                <a:gd name="connsiteX555" fmla="*/ 340519 w 1216913"/>
                <a:gd name="connsiteY555" fmla="*/ 664083 h 1049655"/>
                <a:gd name="connsiteX556" fmla="*/ 343852 w 1216913"/>
                <a:gd name="connsiteY556" fmla="*/ 665226 h 1049655"/>
                <a:gd name="connsiteX557" fmla="*/ 346234 w 1216913"/>
                <a:gd name="connsiteY557" fmla="*/ 658558 h 1049655"/>
                <a:gd name="connsiteX558" fmla="*/ 354901 w 1216913"/>
                <a:gd name="connsiteY558" fmla="*/ 663893 h 1049655"/>
                <a:gd name="connsiteX559" fmla="*/ 359664 w 1216913"/>
                <a:gd name="connsiteY559" fmla="*/ 663226 h 1049655"/>
                <a:gd name="connsiteX560" fmla="*/ 365569 w 1216913"/>
                <a:gd name="connsiteY560" fmla="*/ 672084 h 1049655"/>
                <a:gd name="connsiteX561" fmla="*/ 371761 w 1216913"/>
                <a:gd name="connsiteY561" fmla="*/ 669703 h 1049655"/>
                <a:gd name="connsiteX562" fmla="*/ 375094 w 1216913"/>
                <a:gd name="connsiteY562" fmla="*/ 670941 h 1049655"/>
                <a:gd name="connsiteX563" fmla="*/ 378619 w 1216913"/>
                <a:gd name="connsiteY563" fmla="*/ 673703 h 1049655"/>
                <a:gd name="connsiteX564" fmla="*/ 376047 w 1216913"/>
                <a:gd name="connsiteY564" fmla="*/ 678847 h 1049655"/>
                <a:gd name="connsiteX565" fmla="*/ 379476 w 1216913"/>
                <a:gd name="connsiteY565" fmla="*/ 679990 h 1049655"/>
                <a:gd name="connsiteX566" fmla="*/ 381190 w 1216913"/>
                <a:gd name="connsiteY566" fmla="*/ 681323 h 1049655"/>
                <a:gd name="connsiteX567" fmla="*/ 384810 w 1216913"/>
                <a:gd name="connsiteY567" fmla="*/ 684086 h 1049655"/>
                <a:gd name="connsiteX568" fmla="*/ 387953 w 1216913"/>
                <a:gd name="connsiteY568" fmla="*/ 683704 h 1049655"/>
                <a:gd name="connsiteX569" fmla="*/ 390334 w 1216913"/>
                <a:gd name="connsiteY569" fmla="*/ 677037 h 1049655"/>
                <a:gd name="connsiteX570" fmla="*/ 391858 w 1216913"/>
                <a:gd name="connsiteY570" fmla="*/ 676751 h 1049655"/>
                <a:gd name="connsiteX571" fmla="*/ 391287 w 1216913"/>
                <a:gd name="connsiteY571" fmla="*/ 684848 h 1049655"/>
                <a:gd name="connsiteX572" fmla="*/ 393287 w 1216913"/>
                <a:gd name="connsiteY572" fmla="*/ 687800 h 1049655"/>
                <a:gd name="connsiteX573" fmla="*/ 391668 w 1216913"/>
                <a:gd name="connsiteY573" fmla="*/ 687991 h 1049655"/>
                <a:gd name="connsiteX574" fmla="*/ 390715 w 1216913"/>
                <a:gd name="connsiteY574" fmla="*/ 692944 h 1049655"/>
                <a:gd name="connsiteX575" fmla="*/ 389096 w 1216913"/>
                <a:gd name="connsiteY575" fmla="*/ 693134 h 1049655"/>
                <a:gd name="connsiteX576" fmla="*/ 382905 w 1216913"/>
                <a:gd name="connsiteY576" fmla="*/ 706755 h 1049655"/>
                <a:gd name="connsiteX577" fmla="*/ 381857 w 1216913"/>
                <a:gd name="connsiteY577" fmla="*/ 711708 h 1049655"/>
                <a:gd name="connsiteX578" fmla="*/ 385096 w 1216913"/>
                <a:gd name="connsiteY578" fmla="*/ 724186 h 1049655"/>
                <a:gd name="connsiteX579" fmla="*/ 386715 w 1216913"/>
                <a:gd name="connsiteY579" fmla="*/ 736759 h 1049655"/>
                <a:gd name="connsiteX580" fmla="*/ 389096 w 1216913"/>
                <a:gd name="connsiteY580" fmla="*/ 742855 h 1049655"/>
                <a:gd name="connsiteX581" fmla="*/ 409861 w 1216913"/>
                <a:gd name="connsiteY581" fmla="*/ 754666 h 1049655"/>
                <a:gd name="connsiteX582" fmla="*/ 410242 w 1216913"/>
                <a:gd name="connsiteY582" fmla="*/ 757809 h 1049655"/>
                <a:gd name="connsiteX583" fmla="*/ 411956 w 1216913"/>
                <a:gd name="connsiteY583" fmla="*/ 759238 h 1049655"/>
                <a:gd name="connsiteX584" fmla="*/ 414528 w 1216913"/>
                <a:gd name="connsiteY584" fmla="*/ 754094 h 1049655"/>
                <a:gd name="connsiteX585" fmla="*/ 416338 w 1216913"/>
                <a:gd name="connsiteY585" fmla="*/ 755428 h 1049655"/>
                <a:gd name="connsiteX586" fmla="*/ 417671 w 1216913"/>
                <a:gd name="connsiteY586" fmla="*/ 753713 h 1049655"/>
                <a:gd name="connsiteX587" fmla="*/ 419290 w 1216913"/>
                <a:gd name="connsiteY587" fmla="*/ 753523 h 1049655"/>
                <a:gd name="connsiteX588" fmla="*/ 419671 w 1216913"/>
                <a:gd name="connsiteY588" fmla="*/ 743807 h 1049655"/>
                <a:gd name="connsiteX589" fmla="*/ 422243 w 1216913"/>
                <a:gd name="connsiteY589" fmla="*/ 738664 h 1049655"/>
                <a:gd name="connsiteX590" fmla="*/ 422243 w 1216913"/>
                <a:gd name="connsiteY590" fmla="*/ 738664 h 1049655"/>
                <a:gd name="connsiteX591" fmla="*/ 429292 w 1216913"/>
                <a:gd name="connsiteY591" fmla="*/ 744188 h 1049655"/>
                <a:gd name="connsiteX592" fmla="*/ 437864 w 1216913"/>
                <a:gd name="connsiteY592" fmla="*/ 760762 h 1049655"/>
                <a:gd name="connsiteX593" fmla="*/ 448532 w 1216913"/>
                <a:gd name="connsiteY593" fmla="*/ 769049 h 1049655"/>
                <a:gd name="connsiteX594" fmla="*/ 444817 w 1216913"/>
                <a:gd name="connsiteY594" fmla="*/ 777526 h 1049655"/>
                <a:gd name="connsiteX595" fmla="*/ 450151 w 1216913"/>
                <a:gd name="connsiteY595" fmla="*/ 781622 h 1049655"/>
                <a:gd name="connsiteX596" fmla="*/ 451294 w 1216913"/>
                <a:gd name="connsiteY596" fmla="*/ 791051 h 1049655"/>
                <a:gd name="connsiteX597" fmla="*/ 453104 w 1216913"/>
                <a:gd name="connsiteY597" fmla="*/ 792480 h 1049655"/>
                <a:gd name="connsiteX598" fmla="*/ 455866 w 1216913"/>
                <a:gd name="connsiteY598" fmla="*/ 788956 h 1049655"/>
                <a:gd name="connsiteX599" fmla="*/ 459010 w 1216913"/>
                <a:gd name="connsiteY599" fmla="*/ 788479 h 1049655"/>
                <a:gd name="connsiteX600" fmla="*/ 464820 w 1216913"/>
                <a:gd name="connsiteY600" fmla="*/ 795814 h 1049655"/>
                <a:gd name="connsiteX601" fmla="*/ 473488 w 1216913"/>
                <a:gd name="connsiteY601" fmla="*/ 801148 h 1049655"/>
                <a:gd name="connsiteX602" fmla="*/ 479965 w 1216913"/>
                <a:gd name="connsiteY602" fmla="*/ 801910 h 1049655"/>
                <a:gd name="connsiteX603" fmla="*/ 484537 w 1216913"/>
                <a:gd name="connsiteY603" fmla="*/ 812482 h 1049655"/>
                <a:gd name="connsiteX604" fmla="*/ 490061 w 1216913"/>
                <a:gd name="connsiteY604" fmla="*/ 818198 h 1049655"/>
                <a:gd name="connsiteX605" fmla="*/ 493681 w 1216913"/>
                <a:gd name="connsiteY605" fmla="*/ 820960 h 1049655"/>
                <a:gd name="connsiteX606" fmla="*/ 495586 w 1216913"/>
                <a:gd name="connsiteY606" fmla="*/ 823912 h 1049655"/>
                <a:gd name="connsiteX607" fmla="*/ 497967 w 1216913"/>
                <a:gd name="connsiteY607" fmla="*/ 830008 h 1049655"/>
                <a:gd name="connsiteX608" fmla="*/ 501110 w 1216913"/>
                <a:gd name="connsiteY608" fmla="*/ 829628 h 1049655"/>
                <a:gd name="connsiteX609" fmla="*/ 501777 w 1216913"/>
                <a:gd name="connsiteY609" fmla="*/ 834390 h 1049655"/>
                <a:gd name="connsiteX610" fmla="*/ 503301 w 1216913"/>
                <a:gd name="connsiteY610" fmla="*/ 834199 h 1049655"/>
                <a:gd name="connsiteX611" fmla="*/ 501967 w 1216913"/>
                <a:gd name="connsiteY611" fmla="*/ 836009 h 1049655"/>
                <a:gd name="connsiteX612" fmla="*/ 504158 w 1216913"/>
                <a:gd name="connsiteY612" fmla="*/ 840486 h 1049655"/>
                <a:gd name="connsiteX613" fmla="*/ 507111 w 1216913"/>
                <a:gd name="connsiteY613" fmla="*/ 838486 h 1049655"/>
                <a:gd name="connsiteX614" fmla="*/ 508921 w 1216913"/>
                <a:gd name="connsiteY614" fmla="*/ 839915 h 1049655"/>
                <a:gd name="connsiteX615" fmla="*/ 508063 w 1216913"/>
                <a:gd name="connsiteY615" fmla="*/ 846391 h 1049655"/>
                <a:gd name="connsiteX616" fmla="*/ 513207 w 1216913"/>
                <a:gd name="connsiteY616" fmla="*/ 848963 h 1049655"/>
                <a:gd name="connsiteX617" fmla="*/ 516350 w 1216913"/>
                <a:gd name="connsiteY617" fmla="*/ 848582 h 1049655"/>
                <a:gd name="connsiteX618" fmla="*/ 513397 w 1216913"/>
                <a:gd name="connsiteY618" fmla="*/ 850582 h 1049655"/>
                <a:gd name="connsiteX619" fmla="*/ 515017 w 1216913"/>
                <a:gd name="connsiteY619" fmla="*/ 850297 h 1049655"/>
                <a:gd name="connsiteX620" fmla="*/ 513874 w 1216913"/>
                <a:gd name="connsiteY620" fmla="*/ 853726 h 1049655"/>
                <a:gd name="connsiteX621" fmla="*/ 517207 w 1216913"/>
                <a:gd name="connsiteY621" fmla="*/ 854869 h 1049655"/>
                <a:gd name="connsiteX622" fmla="*/ 513302 w 1216913"/>
                <a:gd name="connsiteY622" fmla="*/ 861822 h 1049655"/>
                <a:gd name="connsiteX623" fmla="*/ 508349 w 1216913"/>
                <a:gd name="connsiteY623" fmla="*/ 860774 h 1049655"/>
                <a:gd name="connsiteX624" fmla="*/ 501205 w 1216913"/>
                <a:gd name="connsiteY624" fmla="*/ 868108 h 1049655"/>
                <a:gd name="connsiteX625" fmla="*/ 501682 w 1216913"/>
                <a:gd name="connsiteY625" fmla="*/ 871252 h 1049655"/>
                <a:gd name="connsiteX626" fmla="*/ 504825 w 1216913"/>
                <a:gd name="connsiteY626" fmla="*/ 870871 h 1049655"/>
                <a:gd name="connsiteX627" fmla="*/ 508730 w 1216913"/>
                <a:gd name="connsiteY627" fmla="*/ 876776 h 1049655"/>
                <a:gd name="connsiteX628" fmla="*/ 509588 w 1216913"/>
                <a:gd name="connsiteY628" fmla="*/ 883063 h 1049655"/>
                <a:gd name="connsiteX629" fmla="*/ 516731 w 1216913"/>
                <a:gd name="connsiteY629" fmla="*/ 888587 h 1049655"/>
                <a:gd name="connsiteX630" fmla="*/ 521398 w 1216913"/>
                <a:gd name="connsiteY630" fmla="*/ 875157 h 1049655"/>
                <a:gd name="connsiteX631" fmla="*/ 522732 w 1216913"/>
                <a:gd name="connsiteY631" fmla="*/ 873443 h 1049655"/>
                <a:gd name="connsiteX632" fmla="*/ 527494 w 1216913"/>
                <a:gd name="connsiteY632" fmla="*/ 872776 h 1049655"/>
                <a:gd name="connsiteX633" fmla="*/ 526923 w 1216913"/>
                <a:gd name="connsiteY633" fmla="*/ 868108 h 1049655"/>
                <a:gd name="connsiteX634" fmla="*/ 529685 w 1216913"/>
                <a:gd name="connsiteY634" fmla="*/ 864489 h 1049655"/>
                <a:gd name="connsiteX635" fmla="*/ 539972 w 1216913"/>
                <a:gd name="connsiteY635" fmla="*/ 869632 h 1049655"/>
                <a:gd name="connsiteX636" fmla="*/ 540925 w 1216913"/>
                <a:gd name="connsiteY636" fmla="*/ 864679 h 1049655"/>
                <a:gd name="connsiteX637" fmla="*/ 544068 w 1216913"/>
                <a:gd name="connsiteY637" fmla="*/ 864299 h 1049655"/>
                <a:gd name="connsiteX638" fmla="*/ 544258 w 1216913"/>
                <a:gd name="connsiteY638" fmla="*/ 865823 h 1049655"/>
                <a:gd name="connsiteX639" fmla="*/ 541687 w 1216913"/>
                <a:gd name="connsiteY639" fmla="*/ 870966 h 1049655"/>
                <a:gd name="connsiteX640" fmla="*/ 548830 w 1216913"/>
                <a:gd name="connsiteY640" fmla="*/ 876490 h 1049655"/>
                <a:gd name="connsiteX641" fmla="*/ 546449 w 1216913"/>
                <a:gd name="connsiteY641" fmla="*/ 883253 h 1049655"/>
                <a:gd name="connsiteX642" fmla="*/ 548068 w 1216913"/>
                <a:gd name="connsiteY642" fmla="*/ 883063 h 1049655"/>
                <a:gd name="connsiteX643" fmla="*/ 548449 w 1216913"/>
                <a:gd name="connsiteY643" fmla="*/ 886206 h 1049655"/>
                <a:gd name="connsiteX644" fmla="*/ 550259 w 1216913"/>
                <a:gd name="connsiteY644" fmla="*/ 887540 h 1049655"/>
                <a:gd name="connsiteX645" fmla="*/ 549497 w 1216913"/>
                <a:gd name="connsiteY645" fmla="*/ 894016 h 1049655"/>
                <a:gd name="connsiteX646" fmla="*/ 554164 w 1216913"/>
                <a:gd name="connsiteY646" fmla="*/ 893445 h 1049655"/>
                <a:gd name="connsiteX647" fmla="*/ 554641 w 1216913"/>
                <a:gd name="connsiteY647" fmla="*/ 896588 h 1049655"/>
                <a:gd name="connsiteX648" fmla="*/ 576643 w 1216913"/>
                <a:gd name="connsiteY648" fmla="*/ 893826 h 1049655"/>
                <a:gd name="connsiteX649" fmla="*/ 583216 w 1216913"/>
                <a:gd name="connsiteY649" fmla="*/ 894588 h 1049655"/>
                <a:gd name="connsiteX650" fmla="*/ 590264 w 1216913"/>
                <a:gd name="connsiteY650" fmla="*/ 900112 h 1049655"/>
                <a:gd name="connsiteX651" fmla="*/ 591502 w 1216913"/>
                <a:gd name="connsiteY651" fmla="*/ 896683 h 1049655"/>
                <a:gd name="connsiteX652" fmla="*/ 594646 w 1216913"/>
                <a:gd name="connsiteY652" fmla="*/ 896303 h 1049655"/>
                <a:gd name="connsiteX653" fmla="*/ 600551 w 1216913"/>
                <a:gd name="connsiteY653" fmla="*/ 905161 h 1049655"/>
                <a:gd name="connsiteX654" fmla="*/ 607885 w 1216913"/>
                <a:gd name="connsiteY654" fmla="*/ 912304 h 1049655"/>
                <a:gd name="connsiteX655" fmla="*/ 609314 w 1216913"/>
                <a:gd name="connsiteY655" fmla="*/ 923353 h 1049655"/>
                <a:gd name="connsiteX656" fmla="*/ 608933 w 1216913"/>
                <a:gd name="connsiteY656" fmla="*/ 932974 h 1049655"/>
                <a:gd name="connsiteX657" fmla="*/ 615696 w 1216913"/>
                <a:gd name="connsiteY657" fmla="*/ 935355 h 1049655"/>
                <a:gd name="connsiteX658" fmla="*/ 617030 w 1216913"/>
                <a:gd name="connsiteY658" fmla="*/ 933545 h 1049655"/>
                <a:gd name="connsiteX659" fmla="*/ 623316 w 1216913"/>
                <a:gd name="connsiteY659" fmla="*/ 932783 h 1049655"/>
                <a:gd name="connsiteX660" fmla="*/ 638365 w 1216913"/>
                <a:gd name="connsiteY660" fmla="*/ 924401 h 1049655"/>
                <a:gd name="connsiteX661" fmla="*/ 652367 w 1216913"/>
                <a:gd name="connsiteY661" fmla="*/ 921068 h 1049655"/>
                <a:gd name="connsiteX662" fmla="*/ 659987 w 1216913"/>
                <a:gd name="connsiteY662" fmla="*/ 918496 h 1049655"/>
                <a:gd name="connsiteX663" fmla="*/ 668083 w 1216913"/>
                <a:gd name="connsiteY663" fmla="*/ 919067 h 1049655"/>
                <a:gd name="connsiteX664" fmla="*/ 669703 w 1216913"/>
                <a:gd name="connsiteY664" fmla="*/ 918877 h 1049655"/>
                <a:gd name="connsiteX665" fmla="*/ 673989 w 1216913"/>
                <a:gd name="connsiteY665" fmla="*/ 915067 h 1049655"/>
                <a:gd name="connsiteX666" fmla="*/ 682276 w 1216913"/>
                <a:gd name="connsiteY666" fmla="*/ 917257 h 1049655"/>
                <a:gd name="connsiteX667" fmla="*/ 685229 w 1216913"/>
                <a:gd name="connsiteY667" fmla="*/ 915257 h 1049655"/>
                <a:gd name="connsiteX668" fmla="*/ 691801 w 1216913"/>
                <a:gd name="connsiteY668" fmla="*/ 916019 h 1049655"/>
                <a:gd name="connsiteX669" fmla="*/ 702373 w 1216913"/>
                <a:gd name="connsiteY669" fmla="*/ 911447 h 1049655"/>
                <a:gd name="connsiteX670" fmla="*/ 710374 w 1216913"/>
                <a:gd name="connsiteY670" fmla="*/ 923258 h 1049655"/>
                <a:gd name="connsiteX671" fmla="*/ 725900 w 1216913"/>
                <a:gd name="connsiteY671" fmla="*/ 919734 h 1049655"/>
                <a:gd name="connsiteX672" fmla="*/ 730282 w 1216913"/>
                <a:gd name="connsiteY672" fmla="*/ 915924 h 1049655"/>
                <a:gd name="connsiteX673" fmla="*/ 733806 w 1216913"/>
                <a:gd name="connsiteY673" fmla="*/ 918686 h 1049655"/>
                <a:gd name="connsiteX674" fmla="*/ 738378 w 1216913"/>
                <a:gd name="connsiteY674" fmla="*/ 929354 h 1049655"/>
                <a:gd name="connsiteX675" fmla="*/ 749617 w 1216913"/>
                <a:gd name="connsiteY675" fmla="*/ 942308 h 1049655"/>
                <a:gd name="connsiteX676" fmla="*/ 758190 w 1216913"/>
                <a:gd name="connsiteY676" fmla="*/ 946023 h 1049655"/>
                <a:gd name="connsiteX677" fmla="*/ 767239 w 1216913"/>
                <a:gd name="connsiteY677" fmla="*/ 941641 h 1049655"/>
                <a:gd name="connsiteX678" fmla="*/ 770382 w 1216913"/>
                <a:gd name="connsiteY678" fmla="*/ 941261 h 1049655"/>
                <a:gd name="connsiteX679" fmla="*/ 774382 w 1216913"/>
                <a:gd name="connsiteY679" fmla="*/ 947166 h 1049655"/>
                <a:gd name="connsiteX680" fmla="*/ 794290 w 1216913"/>
                <a:gd name="connsiteY680" fmla="*/ 952690 h 1049655"/>
                <a:gd name="connsiteX681" fmla="*/ 798766 w 1216913"/>
                <a:gd name="connsiteY681" fmla="*/ 950500 h 1049655"/>
                <a:gd name="connsiteX682" fmla="*/ 803910 w 1216913"/>
                <a:gd name="connsiteY682" fmla="*/ 940213 h 1049655"/>
                <a:gd name="connsiteX683" fmla="*/ 808672 w 1216913"/>
                <a:gd name="connsiteY683" fmla="*/ 939641 h 1049655"/>
                <a:gd name="connsiteX684" fmla="*/ 820102 w 1216913"/>
                <a:gd name="connsiteY684" fmla="*/ 941356 h 1049655"/>
                <a:gd name="connsiteX685" fmla="*/ 826770 w 1216913"/>
                <a:gd name="connsiteY685" fmla="*/ 943737 h 1049655"/>
                <a:gd name="connsiteX686" fmla="*/ 830580 w 1216913"/>
                <a:gd name="connsiteY686" fmla="*/ 948023 h 1049655"/>
                <a:gd name="connsiteX687" fmla="*/ 833342 w 1216913"/>
                <a:gd name="connsiteY687" fmla="*/ 970121 h 1049655"/>
                <a:gd name="connsiteX688" fmla="*/ 838962 w 1216913"/>
                <a:gd name="connsiteY688" fmla="*/ 975836 h 1049655"/>
                <a:gd name="connsiteX689" fmla="*/ 845058 w 1216913"/>
                <a:gd name="connsiteY689" fmla="*/ 986314 h 1049655"/>
                <a:gd name="connsiteX690" fmla="*/ 850011 w 1216913"/>
                <a:gd name="connsiteY690" fmla="*/ 987266 h 1049655"/>
                <a:gd name="connsiteX691" fmla="*/ 858679 w 1216913"/>
                <a:gd name="connsiteY691" fmla="*/ 992600 h 1049655"/>
                <a:gd name="connsiteX692" fmla="*/ 864965 w 1216913"/>
                <a:gd name="connsiteY692" fmla="*/ 991743 h 1049655"/>
                <a:gd name="connsiteX693" fmla="*/ 869347 w 1216913"/>
                <a:gd name="connsiteY693" fmla="*/ 1000792 h 1049655"/>
                <a:gd name="connsiteX694" fmla="*/ 871347 w 1216913"/>
                <a:gd name="connsiteY694" fmla="*/ 1003840 h 1049655"/>
                <a:gd name="connsiteX695" fmla="*/ 869728 w 1216913"/>
                <a:gd name="connsiteY695" fmla="*/ 1004030 h 1049655"/>
                <a:gd name="connsiteX696" fmla="*/ 871728 w 1216913"/>
                <a:gd name="connsiteY696" fmla="*/ 1006983 h 1049655"/>
                <a:gd name="connsiteX697" fmla="*/ 876490 w 1216913"/>
                <a:gd name="connsiteY697" fmla="*/ 1006316 h 1049655"/>
                <a:gd name="connsiteX698" fmla="*/ 881253 w 1216913"/>
                <a:gd name="connsiteY698" fmla="*/ 1018603 h 1049655"/>
                <a:gd name="connsiteX699" fmla="*/ 876014 w 1216913"/>
                <a:gd name="connsiteY699" fmla="*/ 1040130 h 1049655"/>
                <a:gd name="connsiteX700" fmla="*/ 883825 w 1216913"/>
                <a:gd name="connsiteY700" fmla="*/ 1039082 h 1049655"/>
                <a:gd name="connsiteX701" fmla="*/ 888778 w 1216913"/>
                <a:gd name="connsiteY701" fmla="*/ 1040035 h 1049655"/>
                <a:gd name="connsiteX702" fmla="*/ 895922 w 1216913"/>
                <a:gd name="connsiteY702" fmla="*/ 1045559 h 1049655"/>
                <a:gd name="connsiteX703" fmla="*/ 900684 w 1216913"/>
                <a:gd name="connsiteY703" fmla="*/ 1044988 h 1049655"/>
                <a:gd name="connsiteX704" fmla="*/ 905827 w 1216913"/>
                <a:gd name="connsiteY704" fmla="*/ 1047560 h 1049655"/>
                <a:gd name="connsiteX705" fmla="*/ 910114 w 1216913"/>
                <a:gd name="connsiteY705" fmla="*/ 1043749 h 1049655"/>
                <a:gd name="connsiteX706" fmla="*/ 926878 w 1216913"/>
                <a:gd name="connsiteY706" fmla="*/ 1049655 h 1049655"/>
                <a:gd name="connsiteX707" fmla="*/ 936403 w 1216913"/>
                <a:gd name="connsiteY707" fmla="*/ 1048417 h 1049655"/>
                <a:gd name="connsiteX708" fmla="*/ 937355 w 1216913"/>
                <a:gd name="connsiteY708" fmla="*/ 1043464 h 1049655"/>
                <a:gd name="connsiteX709" fmla="*/ 940117 w 1216913"/>
                <a:gd name="connsiteY709" fmla="*/ 1039940 h 1049655"/>
                <a:gd name="connsiteX710" fmla="*/ 955072 w 1216913"/>
                <a:gd name="connsiteY710" fmla="*/ 1031653 h 1049655"/>
                <a:gd name="connsiteX711" fmla="*/ 956024 w 1216913"/>
                <a:gd name="connsiteY711" fmla="*/ 1026700 h 1049655"/>
                <a:gd name="connsiteX712" fmla="*/ 955262 w 1216913"/>
                <a:gd name="connsiteY712" fmla="*/ 1020413 h 1049655"/>
                <a:gd name="connsiteX713" fmla="*/ 958024 w 1216913"/>
                <a:gd name="connsiteY713" fmla="*/ 1016794 h 1049655"/>
                <a:gd name="connsiteX714" fmla="*/ 959167 w 1216913"/>
                <a:gd name="connsiteY714" fmla="*/ 1013460 h 1049655"/>
                <a:gd name="connsiteX715" fmla="*/ 968026 w 1216913"/>
                <a:gd name="connsiteY715" fmla="*/ 1007554 h 1049655"/>
                <a:gd name="connsiteX716" fmla="*/ 962692 w 1216913"/>
                <a:gd name="connsiteY716" fmla="*/ 1003364 h 1049655"/>
                <a:gd name="connsiteX717" fmla="*/ 967073 w 1216913"/>
                <a:gd name="connsiteY717" fmla="*/ 999649 h 1049655"/>
                <a:gd name="connsiteX718" fmla="*/ 971740 w 1216913"/>
                <a:gd name="connsiteY718" fmla="*/ 998982 h 1049655"/>
                <a:gd name="connsiteX719" fmla="*/ 972598 w 1216913"/>
                <a:gd name="connsiteY719" fmla="*/ 992505 h 1049655"/>
                <a:gd name="connsiteX720" fmla="*/ 984409 w 1216913"/>
                <a:gd name="connsiteY720" fmla="*/ 984599 h 1049655"/>
                <a:gd name="connsiteX721" fmla="*/ 987933 w 1216913"/>
                <a:gd name="connsiteY721" fmla="*/ 974503 h 1049655"/>
                <a:gd name="connsiteX722" fmla="*/ 990886 w 1216913"/>
                <a:gd name="connsiteY722" fmla="*/ 972503 h 1049655"/>
                <a:gd name="connsiteX723" fmla="*/ 993172 w 1216913"/>
                <a:gd name="connsiteY723" fmla="*/ 965835 h 1049655"/>
                <a:gd name="connsiteX724" fmla="*/ 999554 w 1216913"/>
                <a:gd name="connsiteY724" fmla="*/ 964978 h 1049655"/>
                <a:gd name="connsiteX725" fmla="*/ 1000887 w 1216913"/>
                <a:gd name="connsiteY725" fmla="*/ 963263 h 1049655"/>
                <a:gd name="connsiteX726" fmla="*/ 1002030 w 1216913"/>
                <a:gd name="connsiteY726" fmla="*/ 959834 h 1049655"/>
                <a:gd name="connsiteX727" fmla="*/ 998315 w 1216913"/>
                <a:gd name="connsiteY727" fmla="*/ 955548 h 1049655"/>
                <a:gd name="connsiteX728" fmla="*/ 997458 w 1216913"/>
                <a:gd name="connsiteY728" fmla="*/ 949261 h 1049655"/>
                <a:gd name="connsiteX729" fmla="*/ 993743 w 1216913"/>
                <a:gd name="connsiteY729" fmla="*/ 944880 h 1049655"/>
                <a:gd name="connsiteX730" fmla="*/ 991552 w 1216913"/>
                <a:gd name="connsiteY730" fmla="*/ 940403 h 1049655"/>
                <a:gd name="connsiteX731" fmla="*/ 992505 w 1216913"/>
                <a:gd name="connsiteY731" fmla="*/ 935450 h 1049655"/>
                <a:gd name="connsiteX732" fmla="*/ 997077 w 1216913"/>
                <a:gd name="connsiteY732" fmla="*/ 933260 h 1049655"/>
                <a:gd name="connsiteX733" fmla="*/ 996886 w 1216913"/>
                <a:gd name="connsiteY733" fmla="*/ 931640 h 1049655"/>
                <a:gd name="connsiteX734" fmla="*/ 997648 w 1216913"/>
                <a:gd name="connsiteY734" fmla="*/ 925163 h 1049655"/>
                <a:gd name="connsiteX735" fmla="*/ 1002221 w 1216913"/>
                <a:gd name="connsiteY735" fmla="*/ 922973 h 1049655"/>
                <a:gd name="connsiteX736" fmla="*/ 1003554 w 1216913"/>
                <a:gd name="connsiteY736" fmla="*/ 921163 h 1049655"/>
                <a:gd name="connsiteX737" fmla="*/ 1015555 w 1216913"/>
                <a:gd name="connsiteY737" fmla="*/ 914876 h 1049655"/>
                <a:gd name="connsiteX738" fmla="*/ 1023842 w 1216913"/>
                <a:gd name="connsiteY738" fmla="*/ 916972 h 1049655"/>
                <a:gd name="connsiteX739" fmla="*/ 1031367 w 1216913"/>
                <a:gd name="connsiteY739" fmla="*/ 912876 h 1049655"/>
                <a:gd name="connsiteX740" fmla="*/ 1034320 w 1216913"/>
                <a:gd name="connsiteY740" fmla="*/ 910876 h 1049655"/>
                <a:gd name="connsiteX741" fmla="*/ 1036130 w 1216913"/>
                <a:gd name="connsiteY741" fmla="*/ 912209 h 1049655"/>
                <a:gd name="connsiteX742" fmla="*/ 1038320 w 1216913"/>
                <a:gd name="connsiteY742" fmla="*/ 916781 h 1049655"/>
                <a:gd name="connsiteX743" fmla="*/ 1039463 w 1216913"/>
                <a:gd name="connsiteY743" fmla="*/ 926211 h 1049655"/>
                <a:gd name="connsiteX744" fmla="*/ 1049369 w 1216913"/>
                <a:gd name="connsiteY744" fmla="*/ 928211 h 1049655"/>
                <a:gd name="connsiteX745" fmla="*/ 1058418 w 1216913"/>
                <a:gd name="connsiteY745" fmla="*/ 923830 h 1049655"/>
                <a:gd name="connsiteX746" fmla="*/ 1065181 w 1216913"/>
                <a:gd name="connsiteY746" fmla="*/ 926211 h 1049655"/>
                <a:gd name="connsiteX747" fmla="*/ 1066133 w 1216913"/>
                <a:gd name="connsiteY747" fmla="*/ 921258 h 1049655"/>
                <a:gd name="connsiteX748" fmla="*/ 1074039 w 1216913"/>
                <a:gd name="connsiteY748" fmla="*/ 920210 h 1049655"/>
                <a:gd name="connsiteX749" fmla="*/ 1076992 w 1216913"/>
                <a:gd name="connsiteY749" fmla="*/ 918305 h 1049655"/>
                <a:gd name="connsiteX750" fmla="*/ 1081659 w 1216913"/>
                <a:gd name="connsiteY750" fmla="*/ 917639 h 1049655"/>
                <a:gd name="connsiteX751" fmla="*/ 1085850 w 1216913"/>
                <a:gd name="connsiteY751" fmla="*/ 912304 h 1049655"/>
                <a:gd name="connsiteX752" fmla="*/ 1087374 w 1216913"/>
                <a:gd name="connsiteY752" fmla="*/ 912114 h 1049655"/>
                <a:gd name="connsiteX753" fmla="*/ 1094137 w 1216913"/>
                <a:gd name="connsiteY753" fmla="*/ 914495 h 1049655"/>
                <a:gd name="connsiteX754" fmla="*/ 1094708 w 1216913"/>
                <a:gd name="connsiteY754" fmla="*/ 919162 h 1049655"/>
                <a:gd name="connsiteX755" fmla="*/ 1098042 w 1216913"/>
                <a:gd name="connsiteY755" fmla="*/ 920401 h 1049655"/>
                <a:gd name="connsiteX756" fmla="*/ 1102995 w 1216913"/>
                <a:gd name="connsiteY756" fmla="*/ 921353 h 1049655"/>
                <a:gd name="connsiteX757" fmla="*/ 1113663 w 1216913"/>
                <a:gd name="connsiteY757" fmla="*/ 916781 h 1049655"/>
                <a:gd name="connsiteX758" fmla="*/ 1120616 w 1216913"/>
                <a:gd name="connsiteY758" fmla="*/ 920686 h 1049655"/>
                <a:gd name="connsiteX759" fmla="*/ 1131475 w 1216913"/>
                <a:gd name="connsiteY759" fmla="*/ 930593 h 1049655"/>
                <a:gd name="connsiteX760" fmla="*/ 1139761 w 1216913"/>
                <a:gd name="connsiteY760" fmla="*/ 932688 h 1049655"/>
                <a:gd name="connsiteX761" fmla="*/ 1142524 w 1216913"/>
                <a:gd name="connsiteY761" fmla="*/ 929164 h 1049655"/>
                <a:gd name="connsiteX762" fmla="*/ 1145857 w 1216913"/>
                <a:gd name="connsiteY762" fmla="*/ 930307 h 1049655"/>
                <a:gd name="connsiteX763" fmla="*/ 1161383 w 1216913"/>
                <a:gd name="connsiteY763" fmla="*/ 913924 h 1049655"/>
                <a:gd name="connsiteX764" fmla="*/ 1168717 w 1216913"/>
                <a:gd name="connsiteY764" fmla="*/ 908209 h 1049655"/>
                <a:gd name="connsiteX765" fmla="*/ 1168908 w 1216913"/>
                <a:gd name="connsiteY765" fmla="*/ 909733 h 1049655"/>
                <a:gd name="connsiteX766" fmla="*/ 1176623 w 1216913"/>
                <a:gd name="connsiteY766" fmla="*/ 907161 h 1049655"/>
                <a:gd name="connsiteX767" fmla="*/ 1181862 w 1216913"/>
                <a:gd name="connsiteY767" fmla="*/ 898493 h 1049655"/>
                <a:gd name="connsiteX768" fmla="*/ 1189958 w 1216913"/>
                <a:gd name="connsiteY768" fmla="*/ 899065 h 1049655"/>
                <a:gd name="connsiteX769" fmla="*/ 1202817 w 1216913"/>
                <a:gd name="connsiteY769" fmla="*/ 898970 h 1049655"/>
                <a:gd name="connsiteX770" fmla="*/ 1212056 w 1216913"/>
                <a:gd name="connsiteY770" fmla="*/ 896207 h 1049655"/>
                <a:gd name="connsiteX771" fmla="*/ 1211866 w 1216913"/>
                <a:gd name="connsiteY771" fmla="*/ 894683 h 1049655"/>
                <a:gd name="connsiteX772" fmla="*/ 1205579 w 1216913"/>
                <a:gd name="connsiteY772" fmla="*/ 895445 h 1049655"/>
                <a:gd name="connsiteX773" fmla="*/ 1201579 w 1216913"/>
                <a:gd name="connsiteY773" fmla="*/ 889540 h 1049655"/>
                <a:gd name="connsiteX774" fmla="*/ 1205770 w 1216913"/>
                <a:gd name="connsiteY774" fmla="*/ 884206 h 1049655"/>
                <a:gd name="connsiteX775" fmla="*/ 1205103 w 1216913"/>
                <a:gd name="connsiteY775" fmla="*/ 879443 h 1049655"/>
                <a:gd name="connsiteX776" fmla="*/ 1204913 w 1216913"/>
                <a:gd name="connsiteY776" fmla="*/ 877919 h 1049655"/>
                <a:gd name="connsiteX777" fmla="*/ 1207865 w 1216913"/>
                <a:gd name="connsiteY777" fmla="*/ 875919 h 1049655"/>
                <a:gd name="connsiteX778" fmla="*/ 1209675 w 1216913"/>
                <a:gd name="connsiteY778" fmla="*/ 877253 h 1049655"/>
                <a:gd name="connsiteX779" fmla="*/ 1215390 w 1216913"/>
                <a:gd name="connsiteY779" fmla="*/ 871728 h 1049655"/>
                <a:gd name="connsiteX780" fmla="*/ 1216914 w 1216913"/>
                <a:gd name="connsiteY780" fmla="*/ 858774 h 1049655"/>
                <a:gd name="connsiteX781" fmla="*/ 1209770 w 1216913"/>
                <a:gd name="connsiteY781" fmla="*/ 853249 h 1049655"/>
                <a:gd name="connsiteX782" fmla="*/ 1209770 w 1216913"/>
                <a:gd name="connsiteY782" fmla="*/ 853249 h 1049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</a:cxnLst>
              <a:rect l="l" t="t" r="r" b="b"/>
              <a:pathLst>
                <a:path w="1216913" h="1049655">
                  <a:moveTo>
                    <a:pt x="1209770" y="853249"/>
                  </a:moveTo>
                  <a:lnTo>
                    <a:pt x="1205674" y="845725"/>
                  </a:lnTo>
                  <a:lnTo>
                    <a:pt x="1200912" y="846296"/>
                  </a:lnTo>
                  <a:lnTo>
                    <a:pt x="1200722" y="844772"/>
                  </a:lnTo>
                  <a:lnTo>
                    <a:pt x="1199674" y="836866"/>
                  </a:lnTo>
                  <a:lnTo>
                    <a:pt x="1195959" y="832580"/>
                  </a:lnTo>
                  <a:lnTo>
                    <a:pt x="1196911" y="827627"/>
                  </a:lnTo>
                  <a:lnTo>
                    <a:pt x="1194340" y="819912"/>
                  </a:lnTo>
                  <a:lnTo>
                    <a:pt x="1197292" y="817912"/>
                  </a:lnTo>
                  <a:lnTo>
                    <a:pt x="1199007" y="806482"/>
                  </a:lnTo>
                  <a:lnTo>
                    <a:pt x="1192721" y="807244"/>
                  </a:lnTo>
                  <a:lnTo>
                    <a:pt x="1190911" y="805910"/>
                  </a:lnTo>
                  <a:lnTo>
                    <a:pt x="1187958" y="795052"/>
                  </a:lnTo>
                  <a:lnTo>
                    <a:pt x="1188530" y="786956"/>
                  </a:lnTo>
                  <a:lnTo>
                    <a:pt x="1183005" y="781240"/>
                  </a:lnTo>
                  <a:lnTo>
                    <a:pt x="1185577" y="776097"/>
                  </a:lnTo>
                  <a:lnTo>
                    <a:pt x="1181005" y="765524"/>
                  </a:lnTo>
                  <a:lnTo>
                    <a:pt x="1179195" y="764095"/>
                  </a:lnTo>
                  <a:lnTo>
                    <a:pt x="1178433" y="757809"/>
                  </a:lnTo>
                  <a:lnTo>
                    <a:pt x="1173671" y="745617"/>
                  </a:lnTo>
                  <a:lnTo>
                    <a:pt x="1174432" y="739045"/>
                  </a:lnTo>
                  <a:lnTo>
                    <a:pt x="1173004" y="727996"/>
                  </a:lnTo>
                  <a:lnTo>
                    <a:pt x="1173766" y="721519"/>
                  </a:lnTo>
                  <a:lnTo>
                    <a:pt x="1171194" y="713803"/>
                  </a:lnTo>
                  <a:lnTo>
                    <a:pt x="1169384" y="712470"/>
                  </a:lnTo>
                  <a:lnTo>
                    <a:pt x="1163098" y="713232"/>
                  </a:lnTo>
                  <a:lnTo>
                    <a:pt x="1152620" y="706565"/>
                  </a:lnTo>
                  <a:lnTo>
                    <a:pt x="1143381" y="709327"/>
                  </a:lnTo>
                  <a:lnTo>
                    <a:pt x="1141571" y="707993"/>
                  </a:lnTo>
                  <a:lnTo>
                    <a:pt x="1131570" y="717232"/>
                  </a:lnTo>
                  <a:lnTo>
                    <a:pt x="1124998" y="716470"/>
                  </a:lnTo>
                  <a:lnTo>
                    <a:pt x="1122616" y="710374"/>
                  </a:lnTo>
                  <a:lnTo>
                    <a:pt x="1117473" y="707803"/>
                  </a:lnTo>
                  <a:lnTo>
                    <a:pt x="1112996" y="709994"/>
                  </a:lnTo>
                  <a:lnTo>
                    <a:pt x="1108043" y="709041"/>
                  </a:lnTo>
                  <a:lnTo>
                    <a:pt x="1108996" y="704088"/>
                  </a:lnTo>
                  <a:lnTo>
                    <a:pt x="1105472" y="701326"/>
                  </a:lnTo>
                  <a:lnTo>
                    <a:pt x="1106424" y="696373"/>
                  </a:lnTo>
                  <a:lnTo>
                    <a:pt x="1101661" y="697040"/>
                  </a:lnTo>
                  <a:lnTo>
                    <a:pt x="1102709" y="692086"/>
                  </a:lnTo>
                  <a:lnTo>
                    <a:pt x="1101852" y="685800"/>
                  </a:lnTo>
                  <a:lnTo>
                    <a:pt x="1090422" y="683990"/>
                  </a:lnTo>
                  <a:lnTo>
                    <a:pt x="1081183" y="686753"/>
                  </a:lnTo>
                  <a:lnTo>
                    <a:pt x="1077754" y="685610"/>
                  </a:lnTo>
                  <a:lnTo>
                    <a:pt x="1073467" y="689420"/>
                  </a:lnTo>
                  <a:lnTo>
                    <a:pt x="1072420" y="681514"/>
                  </a:lnTo>
                  <a:lnTo>
                    <a:pt x="1069086" y="680276"/>
                  </a:lnTo>
                  <a:lnTo>
                    <a:pt x="1065943" y="680752"/>
                  </a:lnTo>
                  <a:lnTo>
                    <a:pt x="1062990" y="682657"/>
                  </a:lnTo>
                  <a:lnTo>
                    <a:pt x="1062609" y="679514"/>
                  </a:lnTo>
                  <a:lnTo>
                    <a:pt x="1054513" y="678942"/>
                  </a:lnTo>
                  <a:lnTo>
                    <a:pt x="1050893" y="676180"/>
                  </a:lnTo>
                  <a:lnTo>
                    <a:pt x="1050512" y="673036"/>
                  </a:lnTo>
                  <a:lnTo>
                    <a:pt x="1048702" y="671703"/>
                  </a:lnTo>
                  <a:lnTo>
                    <a:pt x="1044988" y="667322"/>
                  </a:lnTo>
                  <a:lnTo>
                    <a:pt x="1041844" y="667703"/>
                  </a:lnTo>
                  <a:lnTo>
                    <a:pt x="1044607" y="664178"/>
                  </a:lnTo>
                  <a:lnTo>
                    <a:pt x="1042416" y="659606"/>
                  </a:lnTo>
                  <a:lnTo>
                    <a:pt x="1044702" y="640080"/>
                  </a:lnTo>
                  <a:lnTo>
                    <a:pt x="1040987" y="635794"/>
                  </a:lnTo>
                  <a:lnTo>
                    <a:pt x="1036034" y="634841"/>
                  </a:lnTo>
                  <a:lnTo>
                    <a:pt x="1032510" y="632079"/>
                  </a:lnTo>
                  <a:lnTo>
                    <a:pt x="1033272" y="625507"/>
                  </a:lnTo>
                  <a:lnTo>
                    <a:pt x="1030033" y="613124"/>
                  </a:lnTo>
                  <a:lnTo>
                    <a:pt x="1024890" y="610553"/>
                  </a:lnTo>
                  <a:lnTo>
                    <a:pt x="1023938" y="602647"/>
                  </a:lnTo>
                  <a:lnTo>
                    <a:pt x="1020127" y="598361"/>
                  </a:lnTo>
                  <a:lnTo>
                    <a:pt x="1020889" y="591788"/>
                  </a:lnTo>
                  <a:lnTo>
                    <a:pt x="1018699" y="587311"/>
                  </a:lnTo>
                  <a:lnTo>
                    <a:pt x="1016794" y="584359"/>
                  </a:lnTo>
                  <a:lnTo>
                    <a:pt x="1016127" y="579596"/>
                  </a:lnTo>
                  <a:lnTo>
                    <a:pt x="1009079" y="574072"/>
                  </a:lnTo>
                  <a:lnTo>
                    <a:pt x="1006221" y="564832"/>
                  </a:lnTo>
                  <a:lnTo>
                    <a:pt x="1007459" y="561499"/>
                  </a:lnTo>
                  <a:lnTo>
                    <a:pt x="1003840" y="558736"/>
                  </a:lnTo>
                  <a:lnTo>
                    <a:pt x="1003268" y="553974"/>
                  </a:lnTo>
                  <a:lnTo>
                    <a:pt x="999744" y="551212"/>
                  </a:lnTo>
                  <a:lnTo>
                    <a:pt x="996124" y="548449"/>
                  </a:lnTo>
                  <a:lnTo>
                    <a:pt x="996886" y="541973"/>
                  </a:lnTo>
                  <a:lnTo>
                    <a:pt x="1007173" y="534257"/>
                  </a:lnTo>
                  <a:lnTo>
                    <a:pt x="1011079" y="527304"/>
                  </a:lnTo>
                  <a:lnTo>
                    <a:pt x="1009364" y="525970"/>
                  </a:lnTo>
                  <a:lnTo>
                    <a:pt x="1007173" y="521398"/>
                  </a:lnTo>
                  <a:lnTo>
                    <a:pt x="1010317" y="521018"/>
                  </a:lnTo>
                  <a:lnTo>
                    <a:pt x="1011269" y="516065"/>
                  </a:lnTo>
                  <a:lnTo>
                    <a:pt x="1020794" y="514922"/>
                  </a:lnTo>
                  <a:lnTo>
                    <a:pt x="1021747" y="509969"/>
                  </a:lnTo>
                  <a:lnTo>
                    <a:pt x="1017937" y="505587"/>
                  </a:lnTo>
                  <a:lnTo>
                    <a:pt x="1009650" y="503491"/>
                  </a:lnTo>
                  <a:lnTo>
                    <a:pt x="1001744" y="504444"/>
                  </a:lnTo>
                  <a:lnTo>
                    <a:pt x="1001363" y="501301"/>
                  </a:lnTo>
                  <a:lnTo>
                    <a:pt x="996029" y="497205"/>
                  </a:lnTo>
                  <a:lnTo>
                    <a:pt x="995648" y="493966"/>
                  </a:lnTo>
                  <a:lnTo>
                    <a:pt x="991838" y="489680"/>
                  </a:lnTo>
                  <a:lnTo>
                    <a:pt x="991457" y="486537"/>
                  </a:lnTo>
                  <a:lnTo>
                    <a:pt x="995839" y="482727"/>
                  </a:lnTo>
                  <a:lnTo>
                    <a:pt x="996982" y="479393"/>
                  </a:lnTo>
                  <a:lnTo>
                    <a:pt x="994791" y="474916"/>
                  </a:lnTo>
                  <a:lnTo>
                    <a:pt x="997363" y="469773"/>
                  </a:lnTo>
                  <a:lnTo>
                    <a:pt x="1000887" y="459677"/>
                  </a:lnTo>
                  <a:lnTo>
                    <a:pt x="995743" y="457105"/>
                  </a:lnTo>
                  <a:lnTo>
                    <a:pt x="996886" y="453771"/>
                  </a:lnTo>
                  <a:lnTo>
                    <a:pt x="995172" y="452342"/>
                  </a:lnTo>
                  <a:lnTo>
                    <a:pt x="998315" y="451961"/>
                  </a:lnTo>
                  <a:lnTo>
                    <a:pt x="993743" y="441293"/>
                  </a:lnTo>
                  <a:lnTo>
                    <a:pt x="992124" y="441579"/>
                  </a:lnTo>
                  <a:lnTo>
                    <a:pt x="984694" y="445675"/>
                  </a:lnTo>
                  <a:lnTo>
                    <a:pt x="974026" y="437388"/>
                  </a:lnTo>
                  <a:lnTo>
                    <a:pt x="969264" y="438055"/>
                  </a:lnTo>
                  <a:lnTo>
                    <a:pt x="972979" y="442341"/>
                  </a:lnTo>
                  <a:lnTo>
                    <a:pt x="971264" y="453771"/>
                  </a:lnTo>
                  <a:lnTo>
                    <a:pt x="976408" y="456343"/>
                  </a:lnTo>
                  <a:lnTo>
                    <a:pt x="970883" y="463486"/>
                  </a:lnTo>
                  <a:lnTo>
                    <a:pt x="966597" y="467297"/>
                  </a:lnTo>
                  <a:lnTo>
                    <a:pt x="963454" y="467678"/>
                  </a:lnTo>
                  <a:lnTo>
                    <a:pt x="960215" y="468058"/>
                  </a:lnTo>
                  <a:lnTo>
                    <a:pt x="958310" y="465106"/>
                  </a:lnTo>
                  <a:lnTo>
                    <a:pt x="953929" y="468820"/>
                  </a:lnTo>
                  <a:lnTo>
                    <a:pt x="955357" y="467106"/>
                  </a:lnTo>
                  <a:lnTo>
                    <a:pt x="951738" y="464344"/>
                  </a:lnTo>
                  <a:lnTo>
                    <a:pt x="947261" y="466535"/>
                  </a:lnTo>
                  <a:lnTo>
                    <a:pt x="940117" y="461010"/>
                  </a:lnTo>
                  <a:lnTo>
                    <a:pt x="937546" y="466153"/>
                  </a:lnTo>
                  <a:lnTo>
                    <a:pt x="933831" y="461772"/>
                  </a:lnTo>
                  <a:lnTo>
                    <a:pt x="931640" y="457295"/>
                  </a:lnTo>
                  <a:lnTo>
                    <a:pt x="928021" y="454533"/>
                  </a:lnTo>
                  <a:lnTo>
                    <a:pt x="921163" y="450628"/>
                  </a:lnTo>
                  <a:lnTo>
                    <a:pt x="918591" y="442912"/>
                  </a:lnTo>
                  <a:lnTo>
                    <a:pt x="905732" y="442912"/>
                  </a:lnTo>
                  <a:lnTo>
                    <a:pt x="900398" y="438817"/>
                  </a:lnTo>
                  <a:lnTo>
                    <a:pt x="897064" y="437578"/>
                  </a:lnTo>
                  <a:lnTo>
                    <a:pt x="895636" y="426529"/>
                  </a:lnTo>
                  <a:lnTo>
                    <a:pt x="875157" y="429197"/>
                  </a:lnTo>
                  <a:lnTo>
                    <a:pt x="872204" y="431197"/>
                  </a:lnTo>
                  <a:lnTo>
                    <a:pt x="862489" y="430816"/>
                  </a:lnTo>
                  <a:lnTo>
                    <a:pt x="851249" y="430625"/>
                  </a:lnTo>
                  <a:lnTo>
                    <a:pt x="847439" y="426339"/>
                  </a:lnTo>
                  <a:lnTo>
                    <a:pt x="827151" y="417671"/>
                  </a:lnTo>
                  <a:lnTo>
                    <a:pt x="826770" y="427291"/>
                  </a:lnTo>
                  <a:lnTo>
                    <a:pt x="830104" y="428530"/>
                  </a:lnTo>
                  <a:lnTo>
                    <a:pt x="836676" y="429292"/>
                  </a:lnTo>
                  <a:lnTo>
                    <a:pt x="838581" y="432244"/>
                  </a:lnTo>
                  <a:lnTo>
                    <a:pt x="830961" y="434816"/>
                  </a:lnTo>
                  <a:lnTo>
                    <a:pt x="832961" y="437769"/>
                  </a:lnTo>
                  <a:lnTo>
                    <a:pt x="834676" y="439103"/>
                  </a:lnTo>
                  <a:lnTo>
                    <a:pt x="830389" y="442912"/>
                  </a:lnTo>
                  <a:lnTo>
                    <a:pt x="826770" y="440150"/>
                  </a:lnTo>
                  <a:lnTo>
                    <a:pt x="826389" y="437007"/>
                  </a:lnTo>
                  <a:lnTo>
                    <a:pt x="823246" y="437388"/>
                  </a:lnTo>
                  <a:lnTo>
                    <a:pt x="824198" y="445294"/>
                  </a:lnTo>
                  <a:lnTo>
                    <a:pt x="819150" y="455581"/>
                  </a:lnTo>
                  <a:lnTo>
                    <a:pt x="814197" y="454628"/>
                  </a:lnTo>
                  <a:lnTo>
                    <a:pt x="813816" y="451390"/>
                  </a:lnTo>
                  <a:lnTo>
                    <a:pt x="805148" y="446151"/>
                  </a:lnTo>
                  <a:lnTo>
                    <a:pt x="802767" y="440055"/>
                  </a:lnTo>
                  <a:lnTo>
                    <a:pt x="796385" y="440817"/>
                  </a:lnTo>
                  <a:lnTo>
                    <a:pt x="788289" y="427387"/>
                  </a:lnTo>
                  <a:lnTo>
                    <a:pt x="789813" y="414433"/>
                  </a:lnTo>
                  <a:lnTo>
                    <a:pt x="786860" y="403574"/>
                  </a:lnTo>
                  <a:lnTo>
                    <a:pt x="784860" y="400622"/>
                  </a:lnTo>
                  <a:lnTo>
                    <a:pt x="758380" y="394335"/>
                  </a:lnTo>
                  <a:lnTo>
                    <a:pt x="749141" y="397097"/>
                  </a:lnTo>
                  <a:lnTo>
                    <a:pt x="746188" y="399098"/>
                  </a:lnTo>
                  <a:lnTo>
                    <a:pt x="742188" y="393192"/>
                  </a:lnTo>
                  <a:lnTo>
                    <a:pt x="743236" y="388239"/>
                  </a:lnTo>
                  <a:lnTo>
                    <a:pt x="740378" y="379000"/>
                  </a:lnTo>
                  <a:lnTo>
                    <a:pt x="735235" y="363569"/>
                  </a:lnTo>
                  <a:lnTo>
                    <a:pt x="724567" y="368141"/>
                  </a:lnTo>
                  <a:lnTo>
                    <a:pt x="722471" y="363665"/>
                  </a:lnTo>
                  <a:lnTo>
                    <a:pt x="719233" y="364046"/>
                  </a:lnTo>
                  <a:lnTo>
                    <a:pt x="717518" y="362712"/>
                  </a:lnTo>
                  <a:lnTo>
                    <a:pt x="711232" y="363474"/>
                  </a:lnTo>
                  <a:lnTo>
                    <a:pt x="711422" y="365093"/>
                  </a:lnTo>
                  <a:lnTo>
                    <a:pt x="708184" y="365474"/>
                  </a:lnTo>
                  <a:lnTo>
                    <a:pt x="708469" y="366998"/>
                  </a:lnTo>
                  <a:lnTo>
                    <a:pt x="709231" y="373380"/>
                  </a:lnTo>
                  <a:lnTo>
                    <a:pt x="708279" y="378238"/>
                  </a:lnTo>
                  <a:lnTo>
                    <a:pt x="699421" y="384238"/>
                  </a:lnTo>
                  <a:lnTo>
                    <a:pt x="693230" y="373761"/>
                  </a:lnTo>
                  <a:lnTo>
                    <a:pt x="686372" y="369856"/>
                  </a:lnTo>
                  <a:lnTo>
                    <a:pt x="684371" y="366903"/>
                  </a:lnTo>
                  <a:lnTo>
                    <a:pt x="671893" y="370046"/>
                  </a:lnTo>
                  <a:lnTo>
                    <a:pt x="664845" y="364522"/>
                  </a:lnTo>
                  <a:lnTo>
                    <a:pt x="659035" y="357283"/>
                  </a:lnTo>
                  <a:lnTo>
                    <a:pt x="654748" y="348234"/>
                  </a:lnTo>
                  <a:lnTo>
                    <a:pt x="657701" y="346234"/>
                  </a:lnTo>
                  <a:lnTo>
                    <a:pt x="661606" y="339280"/>
                  </a:lnTo>
                  <a:lnTo>
                    <a:pt x="654463" y="333851"/>
                  </a:lnTo>
                  <a:lnTo>
                    <a:pt x="652272" y="329279"/>
                  </a:lnTo>
                  <a:lnTo>
                    <a:pt x="649129" y="329660"/>
                  </a:lnTo>
                  <a:lnTo>
                    <a:pt x="650462" y="315087"/>
                  </a:lnTo>
                  <a:lnTo>
                    <a:pt x="648748" y="313658"/>
                  </a:lnTo>
                  <a:lnTo>
                    <a:pt x="643985" y="314325"/>
                  </a:lnTo>
                  <a:lnTo>
                    <a:pt x="635508" y="310610"/>
                  </a:lnTo>
                  <a:lnTo>
                    <a:pt x="634841" y="305848"/>
                  </a:lnTo>
                  <a:lnTo>
                    <a:pt x="633127" y="304419"/>
                  </a:lnTo>
                  <a:lnTo>
                    <a:pt x="630746" y="298323"/>
                  </a:lnTo>
                  <a:lnTo>
                    <a:pt x="622840" y="299371"/>
                  </a:lnTo>
                  <a:lnTo>
                    <a:pt x="620649" y="294799"/>
                  </a:lnTo>
                  <a:lnTo>
                    <a:pt x="615696" y="293846"/>
                  </a:lnTo>
                  <a:lnTo>
                    <a:pt x="613886" y="292513"/>
                  </a:lnTo>
                  <a:lnTo>
                    <a:pt x="610552" y="291275"/>
                  </a:lnTo>
                  <a:lnTo>
                    <a:pt x="596170" y="304324"/>
                  </a:lnTo>
                  <a:lnTo>
                    <a:pt x="591693" y="306515"/>
                  </a:lnTo>
                  <a:lnTo>
                    <a:pt x="592646" y="314420"/>
                  </a:lnTo>
                  <a:lnTo>
                    <a:pt x="592264" y="324136"/>
                  </a:lnTo>
                  <a:lnTo>
                    <a:pt x="596646" y="333184"/>
                  </a:lnTo>
                  <a:lnTo>
                    <a:pt x="602932" y="332327"/>
                  </a:lnTo>
                  <a:lnTo>
                    <a:pt x="604933" y="322517"/>
                  </a:lnTo>
                  <a:lnTo>
                    <a:pt x="611410" y="323278"/>
                  </a:lnTo>
                  <a:lnTo>
                    <a:pt x="615029" y="326041"/>
                  </a:lnTo>
                  <a:lnTo>
                    <a:pt x="619697" y="325374"/>
                  </a:lnTo>
                  <a:lnTo>
                    <a:pt x="624078" y="334518"/>
                  </a:lnTo>
                  <a:lnTo>
                    <a:pt x="622744" y="336232"/>
                  </a:lnTo>
                  <a:lnTo>
                    <a:pt x="622935" y="337852"/>
                  </a:lnTo>
                  <a:lnTo>
                    <a:pt x="618554" y="341567"/>
                  </a:lnTo>
                  <a:lnTo>
                    <a:pt x="622173" y="344329"/>
                  </a:lnTo>
                  <a:lnTo>
                    <a:pt x="622744" y="349091"/>
                  </a:lnTo>
                  <a:lnTo>
                    <a:pt x="619601" y="349472"/>
                  </a:lnTo>
                  <a:lnTo>
                    <a:pt x="618172" y="351282"/>
                  </a:lnTo>
                  <a:lnTo>
                    <a:pt x="621982" y="355568"/>
                  </a:lnTo>
                  <a:lnTo>
                    <a:pt x="621030" y="360521"/>
                  </a:lnTo>
                  <a:lnTo>
                    <a:pt x="617410" y="357759"/>
                  </a:lnTo>
                  <a:lnTo>
                    <a:pt x="617220" y="356235"/>
                  </a:lnTo>
                  <a:lnTo>
                    <a:pt x="613696" y="353473"/>
                  </a:lnTo>
                  <a:lnTo>
                    <a:pt x="594741" y="355854"/>
                  </a:lnTo>
                  <a:lnTo>
                    <a:pt x="593503" y="346424"/>
                  </a:lnTo>
                  <a:lnTo>
                    <a:pt x="582930" y="350996"/>
                  </a:lnTo>
                  <a:lnTo>
                    <a:pt x="577786" y="361188"/>
                  </a:lnTo>
                  <a:lnTo>
                    <a:pt x="569309" y="357473"/>
                  </a:lnTo>
                  <a:lnTo>
                    <a:pt x="563404" y="361474"/>
                  </a:lnTo>
                  <a:lnTo>
                    <a:pt x="558641" y="362045"/>
                  </a:lnTo>
                  <a:lnTo>
                    <a:pt x="539591" y="388525"/>
                  </a:lnTo>
                  <a:lnTo>
                    <a:pt x="537019" y="393668"/>
                  </a:lnTo>
                  <a:lnTo>
                    <a:pt x="529304" y="396240"/>
                  </a:lnTo>
                  <a:lnTo>
                    <a:pt x="515874" y="391573"/>
                  </a:lnTo>
                  <a:lnTo>
                    <a:pt x="509778" y="393954"/>
                  </a:lnTo>
                  <a:lnTo>
                    <a:pt x="500920" y="399860"/>
                  </a:lnTo>
                  <a:lnTo>
                    <a:pt x="495205" y="392620"/>
                  </a:lnTo>
                  <a:lnTo>
                    <a:pt x="492061" y="393002"/>
                  </a:lnTo>
                  <a:lnTo>
                    <a:pt x="491395" y="388239"/>
                  </a:lnTo>
                  <a:lnTo>
                    <a:pt x="488251" y="388620"/>
                  </a:lnTo>
                  <a:lnTo>
                    <a:pt x="487871" y="385477"/>
                  </a:lnTo>
                  <a:lnTo>
                    <a:pt x="482917" y="384524"/>
                  </a:lnTo>
                  <a:lnTo>
                    <a:pt x="479012" y="378619"/>
                  </a:lnTo>
                  <a:lnTo>
                    <a:pt x="477393" y="378809"/>
                  </a:lnTo>
                  <a:lnTo>
                    <a:pt x="476059" y="380619"/>
                  </a:lnTo>
                  <a:lnTo>
                    <a:pt x="472249" y="376238"/>
                  </a:lnTo>
                  <a:lnTo>
                    <a:pt x="475964" y="367760"/>
                  </a:lnTo>
                  <a:lnTo>
                    <a:pt x="470059" y="358902"/>
                  </a:lnTo>
                  <a:lnTo>
                    <a:pt x="468249" y="357569"/>
                  </a:lnTo>
                  <a:lnTo>
                    <a:pt x="453866" y="357759"/>
                  </a:lnTo>
                  <a:lnTo>
                    <a:pt x="451866" y="354806"/>
                  </a:lnTo>
                  <a:lnTo>
                    <a:pt x="448723" y="355187"/>
                  </a:lnTo>
                  <a:lnTo>
                    <a:pt x="448342" y="352044"/>
                  </a:lnTo>
                  <a:lnTo>
                    <a:pt x="444532" y="347758"/>
                  </a:lnTo>
                  <a:lnTo>
                    <a:pt x="441579" y="349663"/>
                  </a:lnTo>
                  <a:lnTo>
                    <a:pt x="439864" y="348329"/>
                  </a:lnTo>
                  <a:lnTo>
                    <a:pt x="434911" y="347377"/>
                  </a:lnTo>
                  <a:lnTo>
                    <a:pt x="430911" y="341471"/>
                  </a:lnTo>
                  <a:lnTo>
                    <a:pt x="433673" y="337852"/>
                  </a:lnTo>
                  <a:lnTo>
                    <a:pt x="434816" y="334518"/>
                  </a:lnTo>
                  <a:lnTo>
                    <a:pt x="432721" y="330041"/>
                  </a:lnTo>
                  <a:lnTo>
                    <a:pt x="427958" y="330613"/>
                  </a:lnTo>
                  <a:lnTo>
                    <a:pt x="431863" y="323659"/>
                  </a:lnTo>
                  <a:lnTo>
                    <a:pt x="428339" y="320897"/>
                  </a:lnTo>
                  <a:lnTo>
                    <a:pt x="429673" y="319183"/>
                  </a:lnTo>
                  <a:lnTo>
                    <a:pt x="428911" y="312801"/>
                  </a:lnTo>
                  <a:lnTo>
                    <a:pt x="422148" y="310515"/>
                  </a:lnTo>
                  <a:lnTo>
                    <a:pt x="423386" y="307086"/>
                  </a:lnTo>
                  <a:lnTo>
                    <a:pt x="419386" y="301180"/>
                  </a:lnTo>
                  <a:lnTo>
                    <a:pt x="417862" y="301466"/>
                  </a:lnTo>
                  <a:lnTo>
                    <a:pt x="420814" y="299466"/>
                  </a:lnTo>
                  <a:lnTo>
                    <a:pt x="420529" y="297847"/>
                  </a:lnTo>
                  <a:lnTo>
                    <a:pt x="419005" y="298037"/>
                  </a:lnTo>
                  <a:lnTo>
                    <a:pt x="420148" y="294703"/>
                  </a:lnTo>
                  <a:lnTo>
                    <a:pt x="416623" y="291941"/>
                  </a:lnTo>
                  <a:lnTo>
                    <a:pt x="416052" y="287179"/>
                  </a:lnTo>
                  <a:lnTo>
                    <a:pt x="413861" y="282702"/>
                  </a:lnTo>
                  <a:lnTo>
                    <a:pt x="408527" y="278511"/>
                  </a:lnTo>
                  <a:lnTo>
                    <a:pt x="405289" y="278987"/>
                  </a:lnTo>
                  <a:lnTo>
                    <a:pt x="405098" y="277368"/>
                  </a:lnTo>
                  <a:lnTo>
                    <a:pt x="398050" y="271844"/>
                  </a:lnTo>
                  <a:lnTo>
                    <a:pt x="399955" y="262033"/>
                  </a:lnTo>
                  <a:lnTo>
                    <a:pt x="379952" y="243650"/>
                  </a:lnTo>
                  <a:lnTo>
                    <a:pt x="374618" y="239554"/>
                  </a:lnTo>
                  <a:lnTo>
                    <a:pt x="364998" y="239173"/>
                  </a:lnTo>
                  <a:lnTo>
                    <a:pt x="360712" y="255746"/>
                  </a:lnTo>
                  <a:lnTo>
                    <a:pt x="350234" y="249079"/>
                  </a:lnTo>
                  <a:lnTo>
                    <a:pt x="343471" y="246698"/>
                  </a:lnTo>
                  <a:lnTo>
                    <a:pt x="334327" y="225457"/>
                  </a:lnTo>
                  <a:lnTo>
                    <a:pt x="325660" y="220123"/>
                  </a:lnTo>
                  <a:lnTo>
                    <a:pt x="318706" y="216217"/>
                  </a:lnTo>
                  <a:lnTo>
                    <a:pt x="318516" y="214598"/>
                  </a:lnTo>
                  <a:lnTo>
                    <a:pt x="313658" y="213646"/>
                  </a:lnTo>
                  <a:lnTo>
                    <a:pt x="309086" y="202978"/>
                  </a:lnTo>
                  <a:lnTo>
                    <a:pt x="301085" y="191167"/>
                  </a:lnTo>
                  <a:lnTo>
                    <a:pt x="306229" y="180880"/>
                  </a:lnTo>
                  <a:lnTo>
                    <a:pt x="309181" y="178975"/>
                  </a:lnTo>
                  <a:lnTo>
                    <a:pt x="317278" y="179546"/>
                  </a:lnTo>
                  <a:lnTo>
                    <a:pt x="322421" y="182023"/>
                  </a:lnTo>
                  <a:lnTo>
                    <a:pt x="326517" y="176689"/>
                  </a:lnTo>
                  <a:lnTo>
                    <a:pt x="331089" y="174593"/>
                  </a:lnTo>
                  <a:lnTo>
                    <a:pt x="337185" y="172212"/>
                  </a:lnTo>
                  <a:lnTo>
                    <a:pt x="349853" y="170593"/>
                  </a:lnTo>
                  <a:lnTo>
                    <a:pt x="358711" y="164592"/>
                  </a:lnTo>
                  <a:lnTo>
                    <a:pt x="362045" y="165830"/>
                  </a:lnTo>
                  <a:lnTo>
                    <a:pt x="366617" y="163640"/>
                  </a:lnTo>
                  <a:lnTo>
                    <a:pt x="369951" y="164782"/>
                  </a:lnTo>
                  <a:lnTo>
                    <a:pt x="377380" y="160592"/>
                  </a:lnTo>
                  <a:lnTo>
                    <a:pt x="376809" y="155924"/>
                  </a:lnTo>
                  <a:lnTo>
                    <a:pt x="381381" y="153734"/>
                  </a:lnTo>
                  <a:lnTo>
                    <a:pt x="380333" y="145828"/>
                  </a:lnTo>
                  <a:lnTo>
                    <a:pt x="384715" y="142018"/>
                  </a:lnTo>
                  <a:lnTo>
                    <a:pt x="385858" y="138684"/>
                  </a:lnTo>
                  <a:lnTo>
                    <a:pt x="388810" y="136684"/>
                  </a:lnTo>
                  <a:lnTo>
                    <a:pt x="392335" y="139446"/>
                  </a:lnTo>
                  <a:lnTo>
                    <a:pt x="400621" y="141637"/>
                  </a:lnTo>
                  <a:lnTo>
                    <a:pt x="406527" y="137636"/>
                  </a:lnTo>
                  <a:lnTo>
                    <a:pt x="412909" y="136874"/>
                  </a:lnTo>
                  <a:lnTo>
                    <a:pt x="412051" y="130588"/>
                  </a:lnTo>
                  <a:lnTo>
                    <a:pt x="412813" y="124015"/>
                  </a:lnTo>
                  <a:lnTo>
                    <a:pt x="412051" y="117729"/>
                  </a:lnTo>
                  <a:lnTo>
                    <a:pt x="416528" y="102679"/>
                  </a:lnTo>
                  <a:lnTo>
                    <a:pt x="400336" y="88773"/>
                  </a:lnTo>
                  <a:lnTo>
                    <a:pt x="387858" y="79153"/>
                  </a:lnTo>
                  <a:lnTo>
                    <a:pt x="388620" y="72580"/>
                  </a:lnTo>
                  <a:lnTo>
                    <a:pt x="388620" y="59722"/>
                  </a:lnTo>
                  <a:lnTo>
                    <a:pt x="394335" y="54197"/>
                  </a:lnTo>
                  <a:lnTo>
                    <a:pt x="398812" y="39243"/>
                  </a:lnTo>
                  <a:lnTo>
                    <a:pt x="403193" y="35433"/>
                  </a:lnTo>
                  <a:lnTo>
                    <a:pt x="402812" y="32290"/>
                  </a:lnTo>
                  <a:lnTo>
                    <a:pt x="405765" y="30290"/>
                  </a:lnTo>
                  <a:lnTo>
                    <a:pt x="403765" y="27337"/>
                  </a:lnTo>
                  <a:lnTo>
                    <a:pt x="394240" y="28575"/>
                  </a:lnTo>
                  <a:lnTo>
                    <a:pt x="392335" y="25622"/>
                  </a:lnTo>
                  <a:lnTo>
                    <a:pt x="387382" y="24670"/>
                  </a:lnTo>
                  <a:lnTo>
                    <a:pt x="381952" y="7715"/>
                  </a:lnTo>
                  <a:lnTo>
                    <a:pt x="366617" y="0"/>
                  </a:lnTo>
                  <a:lnTo>
                    <a:pt x="358711" y="1048"/>
                  </a:lnTo>
                  <a:lnTo>
                    <a:pt x="360331" y="13621"/>
                  </a:lnTo>
                  <a:lnTo>
                    <a:pt x="358330" y="23527"/>
                  </a:lnTo>
                  <a:lnTo>
                    <a:pt x="360521" y="28099"/>
                  </a:lnTo>
                  <a:lnTo>
                    <a:pt x="360712" y="29623"/>
                  </a:lnTo>
                  <a:lnTo>
                    <a:pt x="359378" y="31432"/>
                  </a:lnTo>
                  <a:lnTo>
                    <a:pt x="340614" y="48196"/>
                  </a:lnTo>
                  <a:lnTo>
                    <a:pt x="335375" y="56959"/>
                  </a:lnTo>
                  <a:lnTo>
                    <a:pt x="323279" y="63246"/>
                  </a:lnTo>
                  <a:lnTo>
                    <a:pt x="312706" y="67818"/>
                  </a:lnTo>
                  <a:lnTo>
                    <a:pt x="309753" y="69818"/>
                  </a:lnTo>
                  <a:lnTo>
                    <a:pt x="303181" y="69056"/>
                  </a:lnTo>
                  <a:lnTo>
                    <a:pt x="302800" y="65913"/>
                  </a:lnTo>
                  <a:lnTo>
                    <a:pt x="299466" y="64675"/>
                  </a:lnTo>
                  <a:lnTo>
                    <a:pt x="298609" y="58388"/>
                  </a:lnTo>
                  <a:lnTo>
                    <a:pt x="295084" y="55626"/>
                  </a:lnTo>
                  <a:lnTo>
                    <a:pt x="287179" y="56674"/>
                  </a:lnTo>
                  <a:lnTo>
                    <a:pt x="285845" y="58388"/>
                  </a:lnTo>
                  <a:lnTo>
                    <a:pt x="279749" y="60865"/>
                  </a:lnTo>
                  <a:lnTo>
                    <a:pt x="275558" y="66199"/>
                  </a:lnTo>
                  <a:lnTo>
                    <a:pt x="272224" y="64960"/>
                  </a:lnTo>
                  <a:lnTo>
                    <a:pt x="266129" y="67342"/>
                  </a:lnTo>
                  <a:lnTo>
                    <a:pt x="261175" y="66389"/>
                  </a:lnTo>
                  <a:lnTo>
                    <a:pt x="256032" y="63817"/>
                  </a:lnTo>
                  <a:lnTo>
                    <a:pt x="251079" y="62865"/>
                  </a:lnTo>
                  <a:lnTo>
                    <a:pt x="249364" y="61436"/>
                  </a:lnTo>
                  <a:lnTo>
                    <a:pt x="244602" y="62103"/>
                  </a:lnTo>
                  <a:lnTo>
                    <a:pt x="228409" y="60960"/>
                  </a:lnTo>
                  <a:lnTo>
                    <a:pt x="214789" y="67437"/>
                  </a:lnTo>
                  <a:lnTo>
                    <a:pt x="211836" y="69437"/>
                  </a:lnTo>
                  <a:lnTo>
                    <a:pt x="210121" y="68104"/>
                  </a:lnTo>
                  <a:lnTo>
                    <a:pt x="205740" y="71819"/>
                  </a:lnTo>
                  <a:lnTo>
                    <a:pt x="202216" y="69056"/>
                  </a:lnTo>
                  <a:lnTo>
                    <a:pt x="200596" y="69247"/>
                  </a:lnTo>
                  <a:lnTo>
                    <a:pt x="202025" y="80296"/>
                  </a:lnTo>
                  <a:lnTo>
                    <a:pt x="200882" y="83725"/>
                  </a:lnTo>
                  <a:lnTo>
                    <a:pt x="196310" y="85915"/>
                  </a:lnTo>
                  <a:lnTo>
                    <a:pt x="190405" y="89821"/>
                  </a:lnTo>
                  <a:lnTo>
                    <a:pt x="183451" y="85915"/>
                  </a:lnTo>
                  <a:lnTo>
                    <a:pt x="181927" y="98965"/>
                  </a:lnTo>
                  <a:lnTo>
                    <a:pt x="179546" y="105632"/>
                  </a:lnTo>
                  <a:lnTo>
                    <a:pt x="182404" y="114967"/>
                  </a:lnTo>
                  <a:lnTo>
                    <a:pt x="181546" y="121444"/>
                  </a:lnTo>
                  <a:lnTo>
                    <a:pt x="182404" y="127730"/>
                  </a:lnTo>
                  <a:lnTo>
                    <a:pt x="179641" y="131350"/>
                  </a:lnTo>
                  <a:lnTo>
                    <a:pt x="180213" y="136017"/>
                  </a:lnTo>
                  <a:lnTo>
                    <a:pt x="174307" y="140017"/>
                  </a:lnTo>
                  <a:lnTo>
                    <a:pt x="166021" y="137827"/>
                  </a:lnTo>
                  <a:lnTo>
                    <a:pt x="163068" y="139827"/>
                  </a:lnTo>
                  <a:lnTo>
                    <a:pt x="157734" y="135731"/>
                  </a:lnTo>
                  <a:lnTo>
                    <a:pt x="150019" y="125444"/>
                  </a:lnTo>
                  <a:lnTo>
                    <a:pt x="148209" y="124111"/>
                  </a:lnTo>
                  <a:lnTo>
                    <a:pt x="144971" y="135731"/>
                  </a:lnTo>
                  <a:lnTo>
                    <a:pt x="136493" y="144780"/>
                  </a:lnTo>
                  <a:lnTo>
                    <a:pt x="129159" y="163354"/>
                  </a:lnTo>
                  <a:lnTo>
                    <a:pt x="121920" y="169164"/>
                  </a:lnTo>
                  <a:lnTo>
                    <a:pt x="108299" y="162877"/>
                  </a:lnTo>
                  <a:lnTo>
                    <a:pt x="102394" y="166783"/>
                  </a:lnTo>
                  <a:lnTo>
                    <a:pt x="98488" y="173736"/>
                  </a:lnTo>
                  <a:lnTo>
                    <a:pt x="99250" y="180023"/>
                  </a:lnTo>
                  <a:lnTo>
                    <a:pt x="94964" y="183832"/>
                  </a:lnTo>
                  <a:lnTo>
                    <a:pt x="91916" y="185738"/>
                  </a:lnTo>
                  <a:lnTo>
                    <a:pt x="86582" y="181642"/>
                  </a:lnTo>
                  <a:lnTo>
                    <a:pt x="81534" y="191929"/>
                  </a:lnTo>
                  <a:lnTo>
                    <a:pt x="77343" y="197263"/>
                  </a:lnTo>
                  <a:lnTo>
                    <a:pt x="69342" y="209550"/>
                  </a:lnTo>
                  <a:lnTo>
                    <a:pt x="66199" y="209931"/>
                  </a:lnTo>
                  <a:lnTo>
                    <a:pt x="55912" y="217646"/>
                  </a:lnTo>
                  <a:lnTo>
                    <a:pt x="58483" y="225361"/>
                  </a:lnTo>
                  <a:lnTo>
                    <a:pt x="59912" y="236411"/>
                  </a:lnTo>
                  <a:lnTo>
                    <a:pt x="63913" y="242316"/>
                  </a:lnTo>
                  <a:lnTo>
                    <a:pt x="59912" y="249174"/>
                  </a:lnTo>
                  <a:lnTo>
                    <a:pt x="44196" y="264033"/>
                  </a:lnTo>
                  <a:lnTo>
                    <a:pt x="51721" y="285559"/>
                  </a:lnTo>
                  <a:lnTo>
                    <a:pt x="51340" y="295180"/>
                  </a:lnTo>
                  <a:lnTo>
                    <a:pt x="53721" y="301276"/>
                  </a:lnTo>
                  <a:lnTo>
                    <a:pt x="54769" y="309182"/>
                  </a:lnTo>
                  <a:lnTo>
                    <a:pt x="47530" y="327755"/>
                  </a:lnTo>
                  <a:lnTo>
                    <a:pt x="39814" y="330327"/>
                  </a:lnTo>
                  <a:lnTo>
                    <a:pt x="37242" y="335471"/>
                  </a:lnTo>
                  <a:lnTo>
                    <a:pt x="31718" y="342614"/>
                  </a:lnTo>
                  <a:lnTo>
                    <a:pt x="24098" y="345186"/>
                  </a:lnTo>
                  <a:lnTo>
                    <a:pt x="19526" y="360140"/>
                  </a:lnTo>
                  <a:lnTo>
                    <a:pt x="11049" y="369284"/>
                  </a:lnTo>
                  <a:lnTo>
                    <a:pt x="12668" y="381857"/>
                  </a:lnTo>
                  <a:lnTo>
                    <a:pt x="15049" y="388048"/>
                  </a:lnTo>
                  <a:lnTo>
                    <a:pt x="14288" y="394526"/>
                  </a:lnTo>
                  <a:lnTo>
                    <a:pt x="5429" y="400431"/>
                  </a:lnTo>
                  <a:lnTo>
                    <a:pt x="3905" y="400622"/>
                  </a:lnTo>
                  <a:lnTo>
                    <a:pt x="6286" y="406813"/>
                  </a:lnTo>
                  <a:lnTo>
                    <a:pt x="14764" y="410528"/>
                  </a:lnTo>
                  <a:lnTo>
                    <a:pt x="29432" y="424720"/>
                  </a:lnTo>
                  <a:lnTo>
                    <a:pt x="33528" y="432149"/>
                  </a:lnTo>
                  <a:lnTo>
                    <a:pt x="33718" y="433769"/>
                  </a:lnTo>
                  <a:lnTo>
                    <a:pt x="36100" y="439865"/>
                  </a:lnTo>
                  <a:lnTo>
                    <a:pt x="33338" y="443389"/>
                  </a:lnTo>
                  <a:lnTo>
                    <a:pt x="35338" y="446341"/>
                  </a:lnTo>
                  <a:lnTo>
                    <a:pt x="32766" y="451485"/>
                  </a:lnTo>
                  <a:lnTo>
                    <a:pt x="31051" y="450152"/>
                  </a:lnTo>
                  <a:lnTo>
                    <a:pt x="28861" y="458438"/>
                  </a:lnTo>
                  <a:lnTo>
                    <a:pt x="22574" y="459200"/>
                  </a:lnTo>
                  <a:lnTo>
                    <a:pt x="21622" y="464153"/>
                  </a:lnTo>
                  <a:lnTo>
                    <a:pt x="17050" y="466344"/>
                  </a:lnTo>
                  <a:lnTo>
                    <a:pt x="17431" y="469487"/>
                  </a:lnTo>
                  <a:lnTo>
                    <a:pt x="9811" y="472059"/>
                  </a:lnTo>
                  <a:lnTo>
                    <a:pt x="12097" y="478155"/>
                  </a:lnTo>
                  <a:lnTo>
                    <a:pt x="10954" y="481584"/>
                  </a:lnTo>
                  <a:lnTo>
                    <a:pt x="19240" y="483679"/>
                  </a:lnTo>
                  <a:lnTo>
                    <a:pt x="16954" y="490442"/>
                  </a:lnTo>
                  <a:lnTo>
                    <a:pt x="17335" y="493586"/>
                  </a:lnTo>
                  <a:lnTo>
                    <a:pt x="15907" y="495395"/>
                  </a:lnTo>
                  <a:lnTo>
                    <a:pt x="14192" y="493966"/>
                  </a:lnTo>
                  <a:lnTo>
                    <a:pt x="13144" y="498919"/>
                  </a:lnTo>
                  <a:lnTo>
                    <a:pt x="13430" y="500539"/>
                  </a:lnTo>
                  <a:lnTo>
                    <a:pt x="7715" y="506063"/>
                  </a:lnTo>
                  <a:lnTo>
                    <a:pt x="6477" y="509397"/>
                  </a:lnTo>
                  <a:lnTo>
                    <a:pt x="1714" y="509969"/>
                  </a:lnTo>
                  <a:lnTo>
                    <a:pt x="4191" y="516065"/>
                  </a:lnTo>
                  <a:lnTo>
                    <a:pt x="952" y="516541"/>
                  </a:lnTo>
                  <a:lnTo>
                    <a:pt x="0" y="521398"/>
                  </a:lnTo>
                  <a:lnTo>
                    <a:pt x="8477" y="525208"/>
                  </a:lnTo>
                  <a:lnTo>
                    <a:pt x="10858" y="531304"/>
                  </a:lnTo>
                  <a:lnTo>
                    <a:pt x="10287" y="539401"/>
                  </a:lnTo>
                  <a:lnTo>
                    <a:pt x="12859" y="534257"/>
                  </a:lnTo>
                  <a:lnTo>
                    <a:pt x="16192" y="535400"/>
                  </a:lnTo>
                  <a:lnTo>
                    <a:pt x="18192" y="538353"/>
                  </a:lnTo>
                  <a:lnTo>
                    <a:pt x="19050" y="544640"/>
                  </a:lnTo>
                  <a:lnTo>
                    <a:pt x="23622" y="555307"/>
                  </a:lnTo>
                  <a:lnTo>
                    <a:pt x="26956" y="556546"/>
                  </a:lnTo>
                  <a:lnTo>
                    <a:pt x="29146" y="561023"/>
                  </a:lnTo>
                  <a:lnTo>
                    <a:pt x="36195" y="553688"/>
                  </a:lnTo>
                  <a:lnTo>
                    <a:pt x="39338" y="553307"/>
                  </a:lnTo>
                  <a:lnTo>
                    <a:pt x="44291" y="554260"/>
                  </a:lnTo>
                  <a:lnTo>
                    <a:pt x="43720" y="549593"/>
                  </a:lnTo>
                  <a:lnTo>
                    <a:pt x="45053" y="547783"/>
                  </a:lnTo>
                  <a:lnTo>
                    <a:pt x="50197" y="550354"/>
                  </a:lnTo>
                  <a:lnTo>
                    <a:pt x="53911" y="541877"/>
                  </a:lnTo>
                  <a:lnTo>
                    <a:pt x="57055" y="541401"/>
                  </a:lnTo>
                  <a:lnTo>
                    <a:pt x="54578" y="559403"/>
                  </a:lnTo>
                  <a:lnTo>
                    <a:pt x="48482" y="574643"/>
                  </a:lnTo>
                  <a:lnTo>
                    <a:pt x="46101" y="581311"/>
                  </a:lnTo>
                  <a:lnTo>
                    <a:pt x="49244" y="580930"/>
                  </a:lnTo>
                  <a:lnTo>
                    <a:pt x="49721" y="584073"/>
                  </a:lnTo>
                  <a:lnTo>
                    <a:pt x="51435" y="585407"/>
                  </a:lnTo>
                  <a:lnTo>
                    <a:pt x="51911" y="588645"/>
                  </a:lnTo>
                  <a:lnTo>
                    <a:pt x="53245" y="586835"/>
                  </a:lnTo>
                  <a:lnTo>
                    <a:pt x="56197" y="584835"/>
                  </a:lnTo>
                  <a:lnTo>
                    <a:pt x="58007" y="586264"/>
                  </a:lnTo>
                  <a:lnTo>
                    <a:pt x="59531" y="585978"/>
                  </a:lnTo>
                  <a:lnTo>
                    <a:pt x="59150" y="582835"/>
                  </a:lnTo>
                  <a:lnTo>
                    <a:pt x="62293" y="582454"/>
                  </a:lnTo>
                  <a:lnTo>
                    <a:pt x="63532" y="579120"/>
                  </a:lnTo>
                  <a:lnTo>
                    <a:pt x="65437" y="582073"/>
                  </a:lnTo>
                  <a:lnTo>
                    <a:pt x="70009" y="579882"/>
                  </a:lnTo>
                  <a:lnTo>
                    <a:pt x="73533" y="582644"/>
                  </a:lnTo>
                  <a:lnTo>
                    <a:pt x="76486" y="580644"/>
                  </a:lnTo>
                  <a:lnTo>
                    <a:pt x="78867" y="586740"/>
                  </a:lnTo>
                  <a:lnTo>
                    <a:pt x="85439" y="587502"/>
                  </a:lnTo>
                  <a:lnTo>
                    <a:pt x="88963" y="590264"/>
                  </a:lnTo>
                  <a:lnTo>
                    <a:pt x="93535" y="588074"/>
                  </a:lnTo>
                  <a:lnTo>
                    <a:pt x="95536" y="591026"/>
                  </a:lnTo>
                  <a:lnTo>
                    <a:pt x="96107" y="595789"/>
                  </a:lnTo>
                  <a:lnTo>
                    <a:pt x="97250" y="592455"/>
                  </a:lnTo>
                  <a:lnTo>
                    <a:pt x="98869" y="592265"/>
                  </a:lnTo>
                  <a:lnTo>
                    <a:pt x="104204" y="596360"/>
                  </a:lnTo>
                  <a:lnTo>
                    <a:pt x="104394" y="597979"/>
                  </a:lnTo>
                  <a:lnTo>
                    <a:pt x="104584" y="599503"/>
                  </a:lnTo>
                  <a:lnTo>
                    <a:pt x="109538" y="600551"/>
                  </a:lnTo>
                  <a:lnTo>
                    <a:pt x="115633" y="598075"/>
                  </a:lnTo>
                  <a:lnTo>
                    <a:pt x="127254" y="601408"/>
                  </a:lnTo>
                  <a:lnTo>
                    <a:pt x="126301" y="606361"/>
                  </a:lnTo>
                  <a:lnTo>
                    <a:pt x="128302" y="609314"/>
                  </a:lnTo>
                  <a:lnTo>
                    <a:pt x="130873" y="604171"/>
                  </a:lnTo>
                  <a:lnTo>
                    <a:pt x="133636" y="600647"/>
                  </a:lnTo>
                  <a:lnTo>
                    <a:pt x="143065" y="599408"/>
                  </a:lnTo>
                  <a:lnTo>
                    <a:pt x="150400" y="593693"/>
                  </a:lnTo>
                  <a:lnTo>
                    <a:pt x="157829" y="602361"/>
                  </a:lnTo>
                  <a:lnTo>
                    <a:pt x="159258" y="600551"/>
                  </a:lnTo>
                  <a:lnTo>
                    <a:pt x="161258" y="603504"/>
                  </a:lnTo>
                  <a:lnTo>
                    <a:pt x="172688" y="618077"/>
                  </a:lnTo>
                  <a:lnTo>
                    <a:pt x="174688" y="621030"/>
                  </a:lnTo>
                  <a:lnTo>
                    <a:pt x="177832" y="620649"/>
                  </a:lnTo>
                  <a:lnTo>
                    <a:pt x="180022" y="625221"/>
                  </a:lnTo>
                  <a:lnTo>
                    <a:pt x="186976" y="629126"/>
                  </a:lnTo>
                  <a:lnTo>
                    <a:pt x="189357" y="635222"/>
                  </a:lnTo>
                  <a:lnTo>
                    <a:pt x="186404" y="637223"/>
                  </a:lnTo>
                  <a:lnTo>
                    <a:pt x="186785" y="640366"/>
                  </a:lnTo>
                  <a:lnTo>
                    <a:pt x="193929" y="645890"/>
                  </a:lnTo>
                  <a:lnTo>
                    <a:pt x="195834" y="648843"/>
                  </a:lnTo>
                  <a:lnTo>
                    <a:pt x="189738" y="651224"/>
                  </a:lnTo>
                  <a:lnTo>
                    <a:pt x="196882" y="656749"/>
                  </a:lnTo>
                  <a:lnTo>
                    <a:pt x="199072" y="661226"/>
                  </a:lnTo>
                  <a:lnTo>
                    <a:pt x="198691" y="658082"/>
                  </a:lnTo>
                  <a:lnTo>
                    <a:pt x="203359" y="657511"/>
                  </a:lnTo>
                  <a:lnTo>
                    <a:pt x="207740" y="653701"/>
                  </a:lnTo>
                  <a:lnTo>
                    <a:pt x="215170" y="649605"/>
                  </a:lnTo>
                  <a:lnTo>
                    <a:pt x="230219" y="654082"/>
                  </a:lnTo>
                  <a:lnTo>
                    <a:pt x="235363" y="656653"/>
                  </a:lnTo>
                  <a:lnTo>
                    <a:pt x="238125" y="653034"/>
                  </a:lnTo>
                  <a:lnTo>
                    <a:pt x="241459" y="654272"/>
                  </a:lnTo>
                  <a:lnTo>
                    <a:pt x="249746" y="669227"/>
                  </a:lnTo>
                  <a:lnTo>
                    <a:pt x="253174" y="670370"/>
                  </a:lnTo>
                  <a:lnTo>
                    <a:pt x="266319" y="673513"/>
                  </a:lnTo>
                  <a:lnTo>
                    <a:pt x="274225" y="659702"/>
                  </a:lnTo>
                  <a:lnTo>
                    <a:pt x="272415" y="658368"/>
                  </a:lnTo>
                  <a:lnTo>
                    <a:pt x="273653" y="654939"/>
                  </a:lnTo>
                  <a:lnTo>
                    <a:pt x="276225" y="649795"/>
                  </a:lnTo>
                  <a:lnTo>
                    <a:pt x="279559" y="651034"/>
                  </a:lnTo>
                  <a:lnTo>
                    <a:pt x="281559" y="653986"/>
                  </a:lnTo>
                  <a:lnTo>
                    <a:pt x="289846" y="656082"/>
                  </a:lnTo>
                  <a:lnTo>
                    <a:pt x="298323" y="659797"/>
                  </a:lnTo>
                  <a:lnTo>
                    <a:pt x="310134" y="677608"/>
                  </a:lnTo>
                  <a:lnTo>
                    <a:pt x="316897" y="679895"/>
                  </a:lnTo>
                  <a:lnTo>
                    <a:pt x="329565" y="678275"/>
                  </a:lnTo>
                  <a:lnTo>
                    <a:pt x="330327" y="671798"/>
                  </a:lnTo>
                  <a:lnTo>
                    <a:pt x="336423" y="669417"/>
                  </a:lnTo>
                  <a:lnTo>
                    <a:pt x="340519" y="664083"/>
                  </a:lnTo>
                  <a:lnTo>
                    <a:pt x="343852" y="665226"/>
                  </a:lnTo>
                  <a:lnTo>
                    <a:pt x="346234" y="658558"/>
                  </a:lnTo>
                  <a:lnTo>
                    <a:pt x="354901" y="663893"/>
                  </a:lnTo>
                  <a:lnTo>
                    <a:pt x="359664" y="663226"/>
                  </a:lnTo>
                  <a:lnTo>
                    <a:pt x="365569" y="672084"/>
                  </a:lnTo>
                  <a:lnTo>
                    <a:pt x="371761" y="669703"/>
                  </a:lnTo>
                  <a:lnTo>
                    <a:pt x="375094" y="670941"/>
                  </a:lnTo>
                  <a:lnTo>
                    <a:pt x="378619" y="673703"/>
                  </a:lnTo>
                  <a:lnTo>
                    <a:pt x="376047" y="678847"/>
                  </a:lnTo>
                  <a:lnTo>
                    <a:pt x="379476" y="679990"/>
                  </a:lnTo>
                  <a:lnTo>
                    <a:pt x="381190" y="681323"/>
                  </a:lnTo>
                  <a:lnTo>
                    <a:pt x="384810" y="684086"/>
                  </a:lnTo>
                  <a:lnTo>
                    <a:pt x="387953" y="683704"/>
                  </a:lnTo>
                  <a:lnTo>
                    <a:pt x="390334" y="677037"/>
                  </a:lnTo>
                  <a:lnTo>
                    <a:pt x="391858" y="676751"/>
                  </a:lnTo>
                  <a:lnTo>
                    <a:pt x="391287" y="684848"/>
                  </a:lnTo>
                  <a:lnTo>
                    <a:pt x="393287" y="687800"/>
                  </a:lnTo>
                  <a:lnTo>
                    <a:pt x="391668" y="687991"/>
                  </a:lnTo>
                  <a:lnTo>
                    <a:pt x="390715" y="692944"/>
                  </a:lnTo>
                  <a:lnTo>
                    <a:pt x="389096" y="693134"/>
                  </a:lnTo>
                  <a:lnTo>
                    <a:pt x="382905" y="706755"/>
                  </a:lnTo>
                  <a:lnTo>
                    <a:pt x="381857" y="711708"/>
                  </a:lnTo>
                  <a:lnTo>
                    <a:pt x="385096" y="724186"/>
                  </a:lnTo>
                  <a:lnTo>
                    <a:pt x="386715" y="736759"/>
                  </a:lnTo>
                  <a:lnTo>
                    <a:pt x="389096" y="742855"/>
                  </a:lnTo>
                  <a:lnTo>
                    <a:pt x="409861" y="754666"/>
                  </a:lnTo>
                  <a:lnTo>
                    <a:pt x="410242" y="757809"/>
                  </a:lnTo>
                  <a:lnTo>
                    <a:pt x="411956" y="759238"/>
                  </a:lnTo>
                  <a:lnTo>
                    <a:pt x="414528" y="754094"/>
                  </a:lnTo>
                  <a:lnTo>
                    <a:pt x="416338" y="755428"/>
                  </a:lnTo>
                  <a:lnTo>
                    <a:pt x="417671" y="753713"/>
                  </a:lnTo>
                  <a:lnTo>
                    <a:pt x="419290" y="753523"/>
                  </a:lnTo>
                  <a:lnTo>
                    <a:pt x="419671" y="743807"/>
                  </a:lnTo>
                  <a:lnTo>
                    <a:pt x="422243" y="738664"/>
                  </a:lnTo>
                  <a:lnTo>
                    <a:pt x="422243" y="738664"/>
                  </a:lnTo>
                  <a:lnTo>
                    <a:pt x="429292" y="744188"/>
                  </a:lnTo>
                  <a:lnTo>
                    <a:pt x="437864" y="760762"/>
                  </a:lnTo>
                  <a:lnTo>
                    <a:pt x="448532" y="769049"/>
                  </a:lnTo>
                  <a:lnTo>
                    <a:pt x="444817" y="777526"/>
                  </a:lnTo>
                  <a:lnTo>
                    <a:pt x="450151" y="781622"/>
                  </a:lnTo>
                  <a:lnTo>
                    <a:pt x="451294" y="791051"/>
                  </a:lnTo>
                  <a:lnTo>
                    <a:pt x="453104" y="792480"/>
                  </a:lnTo>
                  <a:lnTo>
                    <a:pt x="455866" y="788956"/>
                  </a:lnTo>
                  <a:lnTo>
                    <a:pt x="459010" y="788479"/>
                  </a:lnTo>
                  <a:lnTo>
                    <a:pt x="464820" y="795814"/>
                  </a:lnTo>
                  <a:lnTo>
                    <a:pt x="473488" y="801148"/>
                  </a:lnTo>
                  <a:lnTo>
                    <a:pt x="479965" y="801910"/>
                  </a:lnTo>
                  <a:lnTo>
                    <a:pt x="484537" y="812482"/>
                  </a:lnTo>
                  <a:lnTo>
                    <a:pt x="490061" y="818198"/>
                  </a:lnTo>
                  <a:lnTo>
                    <a:pt x="493681" y="820960"/>
                  </a:lnTo>
                  <a:lnTo>
                    <a:pt x="495586" y="823912"/>
                  </a:lnTo>
                  <a:lnTo>
                    <a:pt x="497967" y="830008"/>
                  </a:lnTo>
                  <a:lnTo>
                    <a:pt x="501110" y="829628"/>
                  </a:lnTo>
                  <a:lnTo>
                    <a:pt x="501777" y="834390"/>
                  </a:lnTo>
                  <a:lnTo>
                    <a:pt x="503301" y="834199"/>
                  </a:lnTo>
                  <a:lnTo>
                    <a:pt x="501967" y="836009"/>
                  </a:lnTo>
                  <a:lnTo>
                    <a:pt x="504158" y="840486"/>
                  </a:lnTo>
                  <a:lnTo>
                    <a:pt x="507111" y="838486"/>
                  </a:lnTo>
                  <a:lnTo>
                    <a:pt x="508921" y="839915"/>
                  </a:lnTo>
                  <a:lnTo>
                    <a:pt x="508063" y="846391"/>
                  </a:lnTo>
                  <a:lnTo>
                    <a:pt x="513207" y="848963"/>
                  </a:lnTo>
                  <a:lnTo>
                    <a:pt x="516350" y="848582"/>
                  </a:lnTo>
                  <a:lnTo>
                    <a:pt x="513397" y="850582"/>
                  </a:lnTo>
                  <a:lnTo>
                    <a:pt x="515017" y="850297"/>
                  </a:lnTo>
                  <a:lnTo>
                    <a:pt x="513874" y="853726"/>
                  </a:lnTo>
                  <a:lnTo>
                    <a:pt x="517207" y="854869"/>
                  </a:lnTo>
                  <a:lnTo>
                    <a:pt x="513302" y="861822"/>
                  </a:lnTo>
                  <a:lnTo>
                    <a:pt x="508349" y="860774"/>
                  </a:lnTo>
                  <a:lnTo>
                    <a:pt x="501205" y="868108"/>
                  </a:lnTo>
                  <a:lnTo>
                    <a:pt x="501682" y="871252"/>
                  </a:lnTo>
                  <a:lnTo>
                    <a:pt x="504825" y="870871"/>
                  </a:lnTo>
                  <a:lnTo>
                    <a:pt x="508730" y="876776"/>
                  </a:lnTo>
                  <a:lnTo>
                    <a:pt x="509588" y="883063"/>
                  </a:lnTo>
                  <a:lnTo>
                    <a:pt x="516731" y="888587"/>
                  </a:lnTo>
                  <a:lnTo>
                    <a:pt x="521398" y="875157"/>
                  </a:lnTo>
                  <a:lnTo>
                    <a:pt x="522732" y="873443"/>
                  </a:lnTo>
                  <a:lnTo>
                    <a:pt x="527494" y="872776"/>
                  </a:lnTo>
                  <a:lnTo>
                    <a:pt x="526923" y="868108"/>
                  </a:lnTo>
                  <a:lnTo>
                    <a:pt x="529685" y="864489"/>
                  </a:lnTo>
                  <a:lnTo>
                    <a:pt x="539972" y="869632"/>
                  </a:lnTo>
                  <a:lnTo>
                    <a:pt x="540925" y="864679"/>
                  </a:lnTo>
                  <a:lnTo>
                    <a:pt x="544068" y="864299"/>
                  </a:lnTo>
                  <a:lnTo>
                    <a:pt x="544258" y="865823"/>
                  </a:lnTo>
                  <a:lnTo>
                    <a:pt x="541687" y="870966"/>
                  </a:lnTo>
                  <a:lnTo>
                    <a:pt x="548830" y="876490"/>
                  </a:lnTo>
                  <a:lnTo>
                    <a:pt x="546449" y="883253"/>
                  </a:lnTo>
                  <a:lnTo>
                    <a:pt x="548068" y="883063"/>
                  </a:lnTo>
                  <a:lnTo>
                    <a:pt x="548449" y="886206"/>
                  </a:lnTo>
                  <a:lnTo>
                    <a:pt x="550259" y="887540"/>
                  </a:lnTo>
                  <a:lnTo>
                    <a:pt x="549497" y="894016"/>
                  </a:lnTo>
                  <a:lnTo>
                    <a:pt x="554164" y="893445"/>
                  </a:lnTo>
                  <a:lnTo>
                    <a:pt x="554641" y="896588"/>
                  </a:lnTo>
                  <a:lnTo>
                    <a:pt x="576643" y="893826"/>
                  </a:lnTo>
                  <a:lnTo>
                    <a:pt x="583216" y="894588"/>
                  </a:lnTo>
                  <a:lnTo>
                    <a:pt x="590264" y="900112"/>
                  </a:lnTo>
                  <a:lnTo>
                    <a:pt x="591502" y="896683"/>
                  </a:lnTo>
                  <a:lnTo>
                    <a:pt x="594646" y="896303"/>
                  </a:lnTo>
                  <a:lnTo>
                    <a:pt x="600551" y="905161"/>
                  </a:lnTo>
                  <a:lnTo>
                    <a:pt x="607885" y="912304"/>
                  </a:lnTo>
                  <a:lnTo>
                    <a:pt x="609314" y="923353"/>
                  </a:lnTo>
                  <a:lnTo>
                    <a:pt x="608933" y="932974"/>
                  </a:lnTo>
                  <a:lnTo>
                    <a:pt x="615696" y="935355"/>
                  </a:lnTo>
                  <a:lnTo>
                    <a:pt x="617030" y="933545"/>
                  </a:lnTo>
                  <a:lnTo>
                    <a:pt x="623316" y="932783"/>
                  </a:lnTo>
                  <a:lnTo>
                    <a:pt x="638365" y="924401"/>
                  </a:lnTo>
                  <a:lnTo>
                    <a:pt x="652367" y="921068"/>
                  </a:lnTo>
                  <a:lnTo>
                    <a:pt x="659987" y="918496"/>
                  </a:lnTo>
                  <a:lnTo>
                    <a:pt x="668083" y="919067"/>
                  </a:lnTo>
                  <a:lnTo>
                    <a:pt x="669703" y="918877"/>
                  </a:lnTo>
                  <a:lnTo>
                    <a:pt x="673989" y="915067"/>
                  </a:lnTo>
                  <a:lnTo>
                    <a:pt x="682276" y="917257"/>
                  </a:lnTo>
                  <a:lnTo>
                    <a:pt x="685229" y="915257"/>
                  </a:lnTo>
                  <a:lnTo>
                    <a:pt x="691801" y="916019"/>
                  </a:lnTo>
                  <a:lnTo>
                    <a:pt x="702373" y="911447"/>
                  </a:lnTo>
                  <a:lnTo>
                    <a:pt x="710374" y="923258"/>
                  </a:lnTo>
                  <a:lnTo>
                    <a:pt x="725900" y="919734"/>
                  </a:lnTo>
                  <a:lnTo>
                    <a:pt x="730282" y="915924"/>
                  </a:lnTo>
                  <a:lnTo>
                    <a:pt x="733806" y="918686"/>
                  </a:lnTo>
                  <a:lnTo>
                    <a:pt x="738378" y="929354"/>
                  </a:lnTo>
                  <a:lnTo>
                    <a:pt x="749617" y="942308"/>
                  </a:lnTo>
                  <a:lnTo>
                    <a:pt x="758190" y="946023"/>
                  </a:lnTo>
                  <a:lnTo>
                    <a:pt x="767239" y="941641"/>
                  </a:lnTo>
                  <a:lnTo>
                    <a:pt x="770382" y="941261"/>
                  </a:lnTo>
                  <a:lnTo>
                    <a:pt x="774382" y="947166"/>
                  </a:lnTo>
                  <a:lnTo>
                    <a:pt x="794290" y="952690"/>
                  </a:lnTo>
                  <a:lnTo>
                    <a:pt x="798766" y="950500"/>
                  </a:lnTo>
                  <a:lnTo>
                    <a:pt x="803910" y="940213"/>
                  </a:lnTo>
                  <a:lnTo>
                    <a:pt x="808672" y="939641"/>
                  </a:lnTo>
                  <a:lnTo>
                    <a:pt x="820102" y="941356"/>
                  </a:lnTo>
                  <a:lnTo>
                    <a:pt x="826770" y="943737"/>
                  </a:lnTo>
                  <a:lnTo>
                    <a:pt x="830580" y="948023"/>
                  </a:lnTo>
                  <a:lnTo>
                    <a:pt x="833342" y="970121"/>
                  </a:lnTo>
                  <a:lnTo>
                    <a:pt x="838962" y="975836"/>
                  </a:lnTo>
                  <a:lnTo>
                    <a:pt x="845058" y="986314"/>
                  </a:lnTo>
                  <a:lnTo>
                    <a:pt x="850011" y="987266"/>
                  </a:lnTo>
                  <a:lnTo>
                    <a:pt x="858679" y="992600"/>
                  </a:lnTo>
                  <a:lnTo>
                    <a:pt x="864965" y="991743"/>
                  </a:lnTo>
                  <a:lnTo>
                    <a:pt x="869347" y="1000792"/>
                  </a:lnTo>
                  <a:lnTo>
                    <a:pt x="871347" y="1003840"/>
                  </a:lnTo>
                  <a:lnTo>
                    <a:pt x="869728" y="1004030"/>
                  </a:lnTo>
                  <a:lnTo>
                    <a:pt x="871728" y="1006983"/>
                  </a:lnTo>
                  <a:lnTo>
                    <a:pt x="876490" y="1006316"/>
                  </a:lnTo>
                  <a:lnTo>
                    <a:pt x="881253" y="1018603"/>
                  </a:lnTo>
                  <a:lnTo>
                    <a:pt x="876014" y="1040130"/>
                  </a:lnTo>
                  <a:lnTo>
                    <a:pt x="883825" y="1039082"/>
                  </a:lnTo>
                  <a:lnTo>
                    <a:pt x="888778" y="1040035"/>
                  </a:lnTo>
                  <a:lnTo>
                    <a:pt x="895922" y="1045559"/>
                  </a:lnTo>
                  <a:lnTo>
                    <a:pt x="900684" y="1044988"/>
                  </a:lnTo>
                  <a:lnTo>
                    <a:pt x="905827" y="1047560"/>
                  </a:lnTo>
                  <a:lnTo>
                    <a:pt x="910114" y="1043749"/>
                  </a:lnTo>
                  <a:lnTo>
                    <a:pt x="926878" y="1049655"/>
                  </a:lnTo>
                  <a:lnTo>
                    <a:pt x="936403" y="1048417"/>
                  </a:lnTo>
                  <a:lnTo>
                    <a:pt x="937355" y="1043464"/>
                  </a:lnTo>
                  <a:lnTo>
                    <a:pt x="940117" y="1039940"/>
                  </a:lnTo>
                  <a:lnTo>
                    <a:pt x="955072" y="1031653"/>
                  </a:lnTo>
                  <a:lnTo>
                    <a:pt x="956024" y="1026700"/>
                  </a:lnTo>
                  <a:lnTo>
                    <a:pt x="955262" y="1020413"/>
                  </a:lnTo>
                  <a:lnTo>
                    <a:pt x="958024" y="1016794"/>
                  </a:lnTo>
                  <a:lnTo>
                    <a:pt x="959167" y="1013460"/>
                  </a:lnTo>
                  <a:lnTo>
                    <a:pt x="968026" y="1007554"/>
                  </a:lnTo>
                  <a:lnTo>
                    <a:pt x="962692" y="1003364"/>
                  </a:lnTo>
                  <a:lnTo>
                    <a:pt x="967073" y="999649"/>
                  </a:lnTo>
                  <a:lnTo>
                    <a:pt x="971740" y="998982"/>
                  </a:lnTo>
                  <a:lnTo>
                    <a:pt x="972598" y="992505"/>
                  </a:lnTo>
                  <a:lnTo>
                    <a:pt x="984409" y="984599"/>
                  </a:lnTo>
                  <a:lnTo>
                    <a:pt x="987933" y="974503"/>
                  </a:lnTo>
                  <a:lnTo>
                    <a:pt x="990886" y="972503"/>
                  </a:lnTo>
                  <a:lnTo>
                    <a:pt x="993172" y="965835"/>
                  </a:lnTo>
                  <a:lnTo>
                    <a:pt x="999554" y="964978"/>
                  </a:lnTo>
                  <a:lnTo>
                    <a:pt x="1000887" y="963263"/>
                  </a:lnTo>
                  <a:lnTo>
                    <a:pt x="1002030" y="959834"/>
                  </a:lnTo>
                  <a:lnTo>
                    <a:pt x="998315" y="955548"/>
                  </a:lnTo>
                  <a:lnTo>
                    <a:pt x="997458" y="949261"/>
                  </a:lnTo>
                  <a:lnTo>
                    <a:pt x="993743" y="944880"/>
                  </a:lnTo>
                  <a:lnTo>
                    <a:pt x="991552" y="940403"/>
                  </a:lnTo>
                  <a:lnTo>
                    <a:pt x="992505" y="935450"/>
                  </a:lnTo>
                  <a:lnTo>
                    <a:pt x="997077" y="933260"/>
                  </a:lnTo>
                  <a:lnTo>
                    <a:pt x="996886" y="931640"/>
                  </a:lnTo>
                  <a:lnTo>
                    <a:pt x="997648" y="925163"/>
                  </a:lnTo>
                  <a:lnTo>
                    <a:pt x="1002221" y="922973"/>
                  </a:lnTo>
                  <a:lnTo>
                    <a:pt x="1003554" y="921163"/>
                  </a:lnTo>
                  <a:lnTo>
                    <a:pt x="1015555" y="914876"/>
                  </a:lnTo>
                  <a:lnTo>
                    <a:pt x="1023842" y="916972"/>
                  </a:lnTo>
                  <a:lnTo>
                    <a:pt x="1031367" y="912876"/>
                  </a:lnTo>
                  <a:lnTo>
                    <a:pt x="1034320" y="910876"/>
                  </a:lnTo>
                  <a:lnTo>
                    <a:pt x="1036130" y="912209"/>
                  </a:lnTo>
                  <a:lnTo>
                    <a:pt x="1038320" y="916781"/>
                  </a:lnTo>
                  <a:lnTo>
                    <a:pt x="1039463" y="926211"/>
                  </a:lnTo>
                  <a:lnTo>
                    <a:pt x="1049369" y="928211"/>
                  </a:lnTo>
                  <a:lnTo>
                    <a:pt x="1058418" y="923830"/>
                  </a:lnTo>
                  <a:lnTo>
                    <a:pt x="1065181" y="926211"/>
                  </a:lnTo>
                  <a:lnTo>
                    <a:pt x="1066133" y="921258"/>
                  </a:lnTo>
                  <a:lnTo>
                    <a:pt x="1074039" y="920210"/>
                  </a:lnTo>
                  <a:lnTo>
                    <a:pt x="1076992" y="918305"/>
                  </a:lnTo>
                  <a:lnTo>
                    <a:pt x="1081659" y="917639"/>
                  </a:lnTo>
                  <a:lnTo>
                    <a:pt x="1085850" y="912304"/>
                  </a:lnTo>
                  <a:lnTo>
                    <a:pt x="1087374" y="912114"/>
                  </a:lnTo>
                  <a:lnTo>
                    <a:pt x="1094137" y="914495"/>
                  </a:lnTo>
                  <a:lnTo>
                    <a:pt x="1094708" y="919162"/>
                  </a:lnTo>
                  <a:lnTo>
                    <a:pt x="1098042" y="920401"/>
                  </a:lnTo>
                  <a:lnTo>
                    <a:pt x="1102995" y="921353"/>
                  </a:lnTo>
                  <a:lnTo>
                    <a:pt x="1113663" y="916781"/>
                  </a:lnTo>
                  <a:lnTo>
                    <a:pt x="1120616" y="920686"/>
                  </a:lnTo>
                  <a:lnTo>
                    <a:pt x="1131475" y="930593"/>
                  </a:lnTo>
                  <a:lnTo>
                    <a:pt x="1139761" y="932688"/>
                  </a:lnTo>
                  <a:lnTo>
                    <a:pt x="1142524" y="929164"/>
                  </a:lnTo>
                  <a:lnTo>
                    <a:pt x="1145857" y="930307"/>
                  </a:lnTo>
                  <a:lnTo>
                    <a:pt x="1161383" y="913924"/>
                  </a:lnTo>
                  <a:lnTo>
                    <a:pt x="1168717" y="908209"/>
                  </a:lnTo>
                  <a:lnTo>
                    <a:pt x="1168908" y="909733"/>
                  </a:lnTo>
                  <a:lnTo>
                    <a:pt x="1176623" y="907161"/>
                  </a:lnTo>
                  <a:lnTo>
                    <a:pt x="1181862" y="898493"/>
                  </a:lnTo>
                  <a:lnTo>
                    <a:pt x="1189958" y="899065"/>
                  </a:lnTo>
                  <a:lnTo>
                    <a:pt x="1202817" y="898970"/>
                  </a:lnTo>
                  <a:lnTo>
                    <a:pt x="1212056" y="896207"/>
                  </a:lnTo>
                  <a:lnTo>
                    <a:pt x="1211866" y="894683"/>
                  </a:lnTo>
                  <a:lnTo>
                    <a:pt x="1205579" y="895445"/>
                  </a:lnTo>
                  <a:lnTo>
                    <a:pt x="1201579" y="889540"/>
                  </a:lnTo>
                  <a:lnTo>
                    <a:pt x="1205770" y="884206"/>
                  </a:lnTo>
                  <a:lnTo>
                    <a:pt x="1205103" y="879443"/>
                  </a:lnTo>
                  <a:lnTo>
                    <a:pt x="1204913" y="877919"/>
                  </a:lnTo>
                  <a:lnTo>
                    <a:pt x="1207865" y="875919"/>
                  </a:lnTo>
                  <a:lnTo>
                    <a:pt x="1209675" y="877253"/>
                  </a:lnTo>
                  <a:lnTo>
                    <a:pt x="1215390" y="871728"/>
                  </a:lnTo>
                  <a:lnTo>
                    <a:pt x="1216914" y="858774"/>
                  </a:lnTo>
                  <a:lnTo>
                    <a:pt x="1209770" y="853249"/>
                  </a:lnTo>
                  <a:lnTo>
                    <a:pt x="1209770" y="85324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1" name="Volný tvar: obrazec 30">
              <a:extLst>
                <a:ext uri="{FF2B5EF4-FFF2-40B4-BE49-F238E27FC236}">
                  <a16:creationId xmlns:a16="http://schemas.microsoft.com/office/drawing/2014/main" id="{07BC0644-A972-EAFF-AE26-66E2C69366FE}"/>
                </a:ext>
              </a:extLst>
            </p:cNvPr>
            <p:cNvSpPr>
              <a:spLocks noChangeAspect="1"/>
            </p:cNvSpPr>
            <p:nvPr userDrawn="1">
              <p:custDataLst>
                <p:tags r:id="rId4"/>
              </p:custDataLst>
            </p:nvPr>
          </p:nvSpPr>
          <p:spPr>
            <a:xfrm>
              <a:off x="5670423" y="3374230"/>
              <a:ext cx="1073848" cy="1057751"/>
            </a:xfrm>
            <a:custGeom>
              <a:avLst/>
              <a:gdLst>
                <a:gd name="connsiteX0" fmla="*/ 1072801 w 1073848"/>
                <a:gd name="connsiteY0" fmla="*/ 375761 h 1057751"/>
                <a:gd name="connsiteX1" fmla="*/ 1068705 w 1073848"/>
                <a:gd name="connsiteY1" fmla="*/ 368237 h 1057751"/>
                <a:gd name="connsiteX2" fmla="*/ 1057180 w 1073848"/>
                <a:gd name="connsiteY2" fmla="*/ 366522 h 1057751"/>
                <a:gd name="connsiteX3" fmla="*/ 1056989 w 1073848"/>
                <a:gd name="connsiteY3" fmla="*/ 364903 h 1057751"/>
                <a:gd name="connsiteX4" fmla="*/ 1052322 w 1073848"/>
                <a:gd name="connsiteY4" fmla="*/ 365474 h 1057751"/>
                <a:gd name="connsiteX5" fmla="*/ 1050322 w 1073848"/>
                <a:gd name="connsiteY5" fmla="*/ 362521 h 1057751"/>
                <a:gd name="connsiteX6" fmla="*/ 1048512 w 1073848"/>
                <a:gd name="connsiteY6" fmla="*/ 361188 h 1057751"/>
                <a:gd name="connsiteX7" fmla="*/ 1046797 w 1073848"/>
                <a:gd name="connsiteY7" fmla="*/ 359759 h 1057751"/>
                <a:gd name="connsiteX8" fmla="*/ 1045178 w 1073848"/>
                <a:gd name="connsiteY8" fmla="*/ 360045 h 1057751"/>
                <a:gd name="connsiteX9" fmla="*/ 1044607 w 1073848"/>
                <a:gd name="connsiteY9" fmla="*/ 355283 h 1057751"/>
                <a:gd name="connsiteX10" fmla="*/ 1041178 w 1073848"/>
                <a:gd name="connsiteY10" fmla="*/ 354139 h 1057751"/>
                <a:gd name="connsiteX11" fmla="*/ 1042416 w 1073848"/>
                <a:gd name="connsiteY11" fmla="*/ 350711 h 1057751"/>
                <a:gd name="connsiteX12" fmla="*/ 1048703 w 1073848"/>
                <a:gd name="connsiteY12" fmla="*/ 349949 h 1057751"/>
                <a:gd name="connsiteX13" fmla="*/ 1049846 w 1073848"/>
                <a:gd name="connsiteY13" fmla="*/ 346615 h 1057751"/>
                <a:gd name="connsiteX14" fmla="*/ 1053846 w 1073848"/>
                <a:gd name="connsiteY14" fmla="*/ 339662 h 1057751"/>
                <a:gd name="connsiteX15" fmla="*/ 1052989 w 1073848"/>
                <a:gd name="connsiteY15" fmla="*/ 333375 h 1057751"/>
                <a:gd name="connsiteX16" fmla="*/ 1054608 w 1073848"/>
                <a:gd name="connsiteY16" fmla="*/ 333184 h 1057751"/>
                <a:gd name="connsiteX17" fmla="*/ 1055941 w 1073848"/>
                <a:gd name="connsiteY17" fmla="*/ 331375 h 1057751"/>
                <a:gd name="connsiteX18" fmla="*/ 1054798 w 1073848"/>
                <a:gd name="connsiteY18" fmla="*/ 321850 h 1057751"/>
                <a:gd name="connsiteX19" fmla="*/ 1052798 w 1073848"/>
                <a:gd name="connsiteY19" fmla="*/ 318897 h 1057751"/>
                <a:gd name="connsiteX20" fmla="*/ 1043083 w 1073848"/>
                <a:gd name="connsiteY20" fmla="*/ 305753 h 1057751"/>
                <a:gd name="connsiteX21" fmla="*/ 1042511 w 1073848"/>
                <a:gd name="connsiteY21" fmla="*/ 300990 h 1057751"/>
                <a:gd name="connsiteX22" fmla="*/ 1036987 w 1073848"/>
                <a:gd name="connsiteY22" fmla="*/ 295275 h 1057751"/>
                <a:gd name="connsiteX23" fmla="*/ 1030605 w 1073848"/>
                <a:gd name="connsiteY23" fmla="*/ 296132 h 1057751"/>
                <a:gd name="connsiteX24" fmla="*/ 1024890 w 1073848"/>
                <a:gd name="connsiteY24" fmla="*/ 288798 h 1057751"/>
                <a:gd name="connsiteX25" fmla="*/ 1022509 w 1073848"/>
                <a:gd name="connsiteY25" fmla="*/ 282702 h 1057751"/>
                <a:gd name="connsiteX26" fmla="*/ 1015746 w 1073848"/>
                <a:gd name="connsiteY26" fmla="*/ 280321 h 1057751"/>
                <a:gd name="connsiteX27" fmla="*/ 1009459 w 1073848"/>
                <a:gd name="connsiteY27" fmla="*/ 281178 h 1057751"/>
                <a:gd name="connsiteX28" fmla="*/ 1000601 w 1073848"/>
                <a:gd name="connsiteY28" fmla="*/ 274225 h 1057751"/>
                <a:gd name="connsiteX29" fmla="*/ 997648 w 1073848"/>
                <a:gd name="connsiteY29" fmla="*/ 276225 h 1057751"/>
                <a:gd name="connsiteX30" fmla="*/ 990505 w 1073848"/>
                <a:gd name="connsiteY30" fmla="*/ 270700 h 1057751"/>
                <a:gd name="connsiteX31" fmla="*/ 987933 w 1073848"/>
                <a:gd name="connsiteY31" fmla="*/ 275844 h 1057751"/>
                <a:gd name="connsiteX32" fmla="*/ 984790 w 1073848"/>
                <a:gd name="connsiteY32" fmla="*/ 276320 h 1057751"/>
                <a:gd name="connsiteX33" fmla="*/ 979837 w 1073848"/>
                <a:gd name="connsiteY33" fmla="*/ 275272 h 1057751"/>
                <a:gd name="connsiteX34" fmla="*/ 977455 w 1073848"/>
                <a:gd name="connsiteY34" fmla="*/ 269176 h 1057751"/>
                <a:gd name="connsiteX35" fmla="*/ 973931 w 1073848"/>
                <a:gd name="connsiteY35" fmla="*/ 266414 h 1057751"/>
                <a:gd name="connsiteX36" fmla="*/ 967168 w 1073848"/>
                <a:gd name="connsiteY36" fmla="*/ 264128 h 1057751"/>
                <a:gd name="connsiteX37" fmla="*/ 969169 w 1073848"/>
                <a:gd name="connsiteY37" fmla="*/ 254222 h 1057751"/>
                <a:gd name="connsiteX38" fmla="*/ 964025 w 1073848"/>
                <a:gd name="connsiteY38" fmla="*/ 251650 h 1057751"/>
                <a:gd name="connsiteX39" fmla="*/ 958310 w 1073848"/>
                <a:gd name="connsiteY39" fmla="*/ 244412 h 1057751"/>
                <a:gd name="connsiteX40" fmla="*/ 948595 w 1073848"/>
                <a:gd name="connsiteY40" fmla="*/ 231172 h 1057751"/>
                <a:gd name="connsiteX41" fmla="*/ 944785 w 1073848"/>
                <a:gd name="connsiteY41" fmla="*/ 226886 h 1057751"/>
                <a:gd name="connsiteX42" fmla="*/ 936498 w 1073848"/>
                <a:gd name="connsiteY42" fmla="*/ 224695 h 1057751"/>
                <a:gd name="connsiteX43" fmla="*/ 929640 w 1073848"/>
                <a:gd name="connsiteY43" fmla="*/ 220789 h 1057751"/>
                <a:gd name="connsiteX44" fmla="*/ 928211 w 1073848"/>
                <a:gd name="connsiteY44" fmla="*/ 222504 h 1057751"/>
                <a:gd name="connsiteX45" fmla="*/ 926497 w 1073848"/>
                <a:gd name="connsiteY45" fmla="*/ 221171 h 1057751"/>
                <a:gd name="connsiteX46" fmla="*/ 921734 w 1073848"/>
                <a:gd name="connsiteY46" fmla="*/ 221742 h 1057751"/>
                <a:gd name="connsiteX47" fmla="*/ 921353 w 1073848"/>
                <a:gd name="connsiteY47" fmla="*/ 218599 h 1057751"/>
                <a:gd name="connsiteX48" fmla="*/ 916019 w 1073848"/>
                <a:gd name="connsiteY48" fmla="*/ 214503 h 1057751"/>
                <a:gd name="connsiteX49" fmla="*/ 913638 w 1073848"/>
                <a:gd name="connsiteY49" fmla="*/ 208407 h 1057751"/>
                <a:gd name="connsiteX50" fmla="*/ 910495 w 1073848"/>
                <a:gd name="connsiteY50" fmla="*/ 208788 h 1057751"/>
                <a:gd name="connsiteX51" fmla="*/ 909447 w 1073848"/>
                <a:gd name="connsiteY51" fmla="*/ 213741 h 1057751"/>
                <a:gd name="connsiteX52" fmla="*/ 906304 w 1073848"/>
                <a:gd name="connsiteY52" fmla="*/ 214122 h 1057751"/>
                <a:gd name="connsiteX53" fmla="*/ 899160 w 1073848"/>
                <a:gd name="connsiteY53" fmla="*/ 208597 h 1057751"/>
                <a:gd name="connsiteX54" fmla="*/ 895445 w 1073848"/>
                <a:gd name="connsiteY54" fmla="*/ 204311 h 1057751"/>
                <a:gd name="connsiteX55" fmla="*/ 889159 w 1073848"/>
                <a:gd name="connsiteY55" fmla="*/ 205073 h 1057751"/>
                <a:gd name="connsiteX56" fmla="*/ 884777 w 1073848"/>
                <a:gd name="connsiteY56" fmla="*/ 208883 h 1057751"/>
                <a:gd name="connsiteX57" fmla="*/ 881443 w 1073848"/>
                <a:gd name="connsiteY57" fmla="*/ 207645 h 1057751"/>
                <a:gd name="connsiteX58" fmla="*/ 882587 w 1073848"/>
                <a:gd name="connsiteY58" fmla="*/ 204311 h 1057751"/>
                <a:gd name="connsiteX59" fmla="*/ 878681 w 1073848"/>
                <a:gd name="connsiteY59" fmla="*/ 198406 h 1057751"/>
                <a:gd name="connsiteX60" fmla="*/ 874871 w 1073848"/>
                <a:gd name="connsiteY60" fmla="*/ 194024 h 1057751"/>
                <a:gd name="connsiteX61" fmla="*/ 866013 w 1073848"/>
                <a:gd name="connsiteY61" fmla="*/ 200025 h 1057751"/>
                <a:gd name="connsiteX62" fmla="*/ 856202 w 1073848"/>
                <a:gd name="connsiteY62" fmla="*/ 198025 h 1057751"/>
                <a:gd name="connsiteX63" fmla="*/ 856393 w 1073848"/>
                <a:gd name="connsiteY63" fmla="*/ 199644 h 1057751"/>
                <a:gd name="connsiteX64" fmla="*/ 852964 w 1073848"/>
                <a:gd name="connsiteY64" fmla="*/ 198501 h 1057751"/>
                <a:gd name="connsiteX65" fmla="*/ 848868 w 1073848"/>
                <a:gd name="connsiteY65" fmla="*/ 203835 h 1057751"/>
                <a:gd name="connsiteX66" fmla="*/ 843343 w 1073848"/>
                <a:gd name="connsiteY66" fmla="*/ 198120 h 1057751"/>
                <a:gd name="connsiteX67" fmla="*/ 839914 w 1073848"/>
                <a:gd name="connsiteY67" fmla="*/ 184118 h 1057751"/>
                <a:gd name="connsiteX68" fmla="*/ 834390 w 1073848"/>
                <a:gd name="connsiteY68" fmla="*/ 178403 h 1057751"/>
                <a:gd name="connsiteX69" fmla="*/ 834199 w 1073848"/>
                <a:gd name="connsiteY69" fmla="*/ 176784 h 1057751"/>
                <a:gd name="connsiteX70" fmla="*/ 830675 w 1073848"/>
                <a:gd name="connsiteY70" fmla="*/ 174022 h 1057751"/>
                <a:gd name="connsiteX71" fmla="*/ 826865 w 1073848"/>
                <a:gd name="connsiteY71" fmla="*/ 169736 h 1057751"/>
                <a:gd name="connsiteX72" fmla="*/ 825341 w 1073848"/>
                <a:gd name="connsiteY72" fmla="*/ 169926 h 1057751"/>
                <a:gd name="connsiteX73" fmla="*/ 820198 w 1073848"/>
                <a:gd name="connsiteY73" fmla="*/ 167354 h 1057751"/>
                <a:gd name="connsiteX74" fmla="*/ 817055 w 1073848"/>
                <a:gd name="connsiteY74" fmla="*/ 167735 h 1057751"/>
                <a:gd name="connsiteX75" fmla="*/ 813625 w 1073848"/>
                <a:gd name="connsiteY75" fmla="*/ 166592 h 1057751"/>
                <a:gd name="connsiteX76" fmla="*/ 811054 w 1073848"/>
                <a:gd name="connsiteY76" fmla="*/ 171736 h 1057751"/>
                <a:gd name="connsiteX77" fmla="*/ 809339 w 1073848"/>
                <a:gd name="connsiteY77" fmla="*/ 170307 h 1057751"/>
                <a:gd name="connsiteX78" fmla="*/ 802576 w 1073848"/>
                <a:gd name="connsiteY78" fmla="*/ 168021 h 1057751"/>
                <a:gd name="connsiteX79" fmla="*/ 800576 w 1073848"/>
                <a:gd name="connsiteY79" fmla="*/ 165068 h 1057751"/>
                <a:gd name="connsiteX80" fmla="*/ 795909 w 1073848"/>
                <a:gd name="connsiteY80" fmla="*/ 165640 h 1057751"/>
                <a:gd name="connsiteX81" fmla="*/ 790956 w 1073848"/>
                <a:gd name="connsiteY81" fmla="*/ 164687 h 1057751"/>
                <a:gd name="connsiteX82" fmla="*/ 781907 w 1073848"/>
                <a:gd name="connsiteY82" fmla="*/ 156210 h 1057751"/>
                <a:gd name="connsiteX83" fmla="*/ 781240 w 1073848"/>
                <a:gd name="connsiteY83" fmla="*/ 151447 h 1057751"/>
                <a:gd name="connsiteX84" fmla="*/ 782860 w 1073848"/>
                <a:gd name="connsiteY84" fmla="*/ 151257 h 1057751"/>
                <a:gd name="connsiteX85" fmla="*/ 780669 w 1073848"/>
                <a:gd name="connsiteY85" fmla="*/ 146780 h 1057751"/>
                <a:gd name="connsiteX86" fmla="*/ 782003 w 1073848"/>
                <a:gd name="connsiteY86" fmla="*/ 144971 h 1057751"/>
                <a:gd name="connsiteX87" fmla="*/ 783241 w 1073848"/>
                <a:gd name="connsiteY87" fmla="*/ 141637 h 1057751"/>
                <a:gd name="connsiteX88" fmla="*/ 780288 w 1073848"/>
                <a:gd name="connsiteY88" fmla="*/ 143542 h 1057751"/>
                <a:gd name="connsiteX89" fmla="*/ 778288 w 1073848"/>
                <a:gd name="connsiteY89" fmla="*/ 140589 h 1057751"/>
                <a:gd name="connsiteX90" fmla="*/ 773525 w 1073848"/>
                <a:gd name="connsiteY90" fmla="*/ 141256 h 1057751"/>
                <a:gd name="connsiteX91" fmla="*/ 772763 w 1073848"/>
                <a:gd name="connsiteY91" fmla="*/ 147733 h 1057751"/>
                <a:gd name="connsiteX92" fmla="*/ 757047 w 1073848"/>
                <a:gd name="connsiteY92" fmla="*/ 162592 h 1057751"/>
                <a:gd name="connsiteX93" fmla="*/ 755047 w 1073848"/>
                <a:gd name="connsiteY93" fmla="*/ 172403 h 1057751"/>
                <a:gd name="connsiteX94" fmla="*/ 757809 w 1073848"/>
                <a:gd name="connsiteY94" fmla="*/ 181737 h 1057751"/>
                <a:gd name="connsiteX95" fmla="*/ 756285 w 1073848"/>
                <a:gd name="connsiteY95" fmla="*/ 181928 h 1057751"/>
                <a:gd name="connsiteX96" fmla="*/ 754856 w 1073848"/>
                <a:gd name="connsiteY96" fmla="*/ 183737 h 1057751"/>
                <a:gd name="connsiteX97" fmla="*/ 743426 w 1073848"/>
                <a:gd name="connsiteY97" fmla="*/ 181928 h 1057751"/>
                <a:gd name="connsiteX98" fmla="*/ 748379 w 1073848"/>
                <a:gd name="connsiteY98" fmla="*/ 195739 h 1057751"/>
                <a:gd name="connsiteX99" fmla="*/ 740759 w 1073848"/>
                <a:gd name="connsiteY99" fmla="*/ 198311 h 1057751"/>
                <a:gd name="connsiteX100" fmla="*/ 740950 w 1073848"/>
                <a:gd name="connsiteY100" fmla="*/ 199930 h 1057751"/>
                <a:gd name="connsiteX101" fmla="*/ 736187 w 1073848"/>
                <a:gd name="connsiteY101" fmla="*/ 200501 h 1057751"/>
                <a:gd name="connsiteX102" fmla="*/ 731044 w 1073848"/>
                <a:gd name="connsiteY102" fmla="*/ 197929 h 1057751"/>
                <a:gd name="connsiteX103" fmla="*/ 726281 w 1073848"/>
                <a:gd name="connsiteY103" fmla="*/ 198596 h 1057751"/>
                <a:gd name="connsiteX104" fmla="*/ 723329 w 1073848"/>
                <a:gd name="connsiteY104" fmla="*/ 200501 h 1057751"/>
                <a:gd name="connsiteX105" fmla="*/ 720185 w 1073848"/>
                <a:gd name="connsiteY105" fmla="*/ 200978 h 1057751"/>
                <a:gd name="connsiteX106" fmla="*/ 710946 w 1073848"/>
                <a:gd name="connsiteY106" fmla="*/ 190881 h 1057751"/>
                <a:gd name="connsiteX107" fmla="*/ 709136 w 1073848"/>
                <a:gd name="connsiteY107" fmla="*/ 189547 h 1057751"/>
                <a:gd name="connsiteX108" fmla="*/ 708946 w 1073848"/>
                <a:gd name="connsiteY108" fmla="*/ 187928 h 1057751"/>
                <a:gd name="connsiteX109" fmla="*/ 703993 w 1073848"/>
                <a:gd name="connsiteY109" fmla="*/ 186976 h 1057751"/>
                <a:gd name="connsiteX110" fmla="*/ 693515 w 1073848"/>
                <a:gd name="connsiteY110" fmla="*/ 180308 h 1057751"/>
                <a:gd name="connsiteX111" fmla="*/ 685609 w 1073848"/>
                <a:gd name="connsiteY111" fmla="*/ 181261 h 1057751"/>
                <a:gd name="connsiteX112" fmla="*/ 674941 w 1073848"/>
                <a:gd name="connsiteY112" fmla="*/ 173069 h 1057751"/>
                <a:gd name="connsiteX113" fmla="*/ 676084 w 1073848"/>
                <a:gd name="connsiteY113" fmla="*/ 169640 h 1057751"/>
                <a:gd name="connsiteX114" fmla="*/ 670370 w 1073848"/>
                <a:gd name="connsiteY114" fmla="*/ 162401 h 1057751"/>
                <a:gd name="connsiteX115" fmla="*/ 676847 w 1073848"/>
                <a:gd name="connsiteY115" fmla="*/ 150304 h 1057751"/>
                <a:gd name="connsiteX116" fmla="*/ 681418 w 1073848"/>
                <a:gd name="connsiteY116" fmla="*/ 148114 h 1057751"/>
                <a:gd name="connsiteX117" fmla="*/ 681323 w 1073848"/>
                <a:gd name="connsiteY117" fmla="*/ 135350 h 1057751"/>
                <a:gd name="connsiteX118" fmla="*/ 677037 w 1073848"/>
                <a:gd name="connsiteY118" fmla="*/ 139065 h 1057751"/>
                <a:gd name="connsiteX119" fmla="*/ 671131 w 1073848"/>
                <a:gd name="connsiteY119" fmla="*/ 143066 h 1057751"/>
                <a:gd name="connsiteX120" fmla="*/ 668941 w 1073848"/>
                <a:gd name="connsiteY120" fmla="*/ 138493 h 1057751"/>
                <a:gd name="connsiteX121" fmla="*/ 657511 w 1073848"/>
                <a:gd name="connsiteY121" fmla="*/ 136779 h 1057751"/>
                <a:gd name="connsiteX122" fmla="*/ 651129 w 1073848"/>
                <a:gd name="connsiteY122" fmla="*/ 124778 h 1057751"/>
                <a:gd name="connsiteX123" fmla="*/ 647986 w 1073848"/>
                <a:gd name="connsiteY123" fmla="*/ 125158 h 1057751"/>
                <a:gd name="connsiteX124" fmla="*/ 647795 w 1073848"/>
                <a:gd name="connsiteY124" fmla="*/ 123539 h 1057751"/>
                <a:gd name="connsiteX125" fmla="*/ 642652 w 1073848"/>
                <a:gd name="connsiteY125" fmla="*/ 121063 h 1057751"/>
                <a:gd name="connsiteX126" fmla="*/ 640651 w 1073848"/>
                <a:gd name="connsiteY126" fmla="*/ 118015 h 1057751"/>
                <a:gd name="connsiteX127" fmla="*/ 636175 w 1073848"/>
                <a:gd name="connsiteY127" fmla="*/ 120205 h 1057751"/>
                <a:gd name="connsiteX128" fmla="*/ 632365 w 1073848"/>
                <a:gd name="connsiteY128" fmla="*/ 115919 h 1057751"/>
                <a:gd name="connsiteX129" fmla="*/ 629412 w 1073848"/>
                <a:gd name="connsiteY129" fmla="*/ 117920 h 1057751"/>
                <a:gd name="connsiteX130" fmla="*/ 629603 w 1073848"/>
                <a:gd name="connsiteY130" fmla="*/ 119443 h 1057751"/>
                <a:gd name="connsiteX131" fmla="*/ 627888 w 1073848"/>
                <a:gd name="connsiteY131" fmla="*/ 118110 h 1057751"/>
                <a:gd name="connsiteX132" fmla="*/ 623506 w 1073848"/>
                <a:gd name="connsiteY132" fmla="*/ 121825 h 1057751"/>
                <a:gd name="connsiteX133" fmla="*/ 620363 w 1073848"/>
                <a:gd name="connsiteY133" fmla="*/ 122301 h 1057751"/>
                <a:gd name="connsiteX134" fmla="*/ 618363 w 1073848"/>
                <a:gd name="connsiteY134" fmla="*/ 119253 h 1057751"/>
                <a:gd name="connsiteX135" fmla="*/ 618934 w 1073848"/>
                <a:gd name="connsiteY135" fmla="*/ 111252 h 1057751"/>
                <a:gd name="connsiteX136" fmla="*/ 617411 w 1073848"/>
                <a:gd name="connsiteY136" fmla="*/ 111442 h 1057751"/>
                <a:gd name="connsiteX137" fmla="*/ 620744 w 1073848"/>
                <a:gd name="connsiteY137" fmla="*/ 99727 h 1057751"/>
                <a:gd name="connsiteX138" fmla="*/ 623030 w 1073848"/>
                <a:gd name="connsiteY138" fmla="*/ 93059 h 1057751"/>
                <a:gd name="connsiteX139" fmla="*/ 618363 w 1073848"/>
                <a:gd name="connsiteY139" fmla="*/ 93631 h 1057751"/>
                <a:gd name="connsiteX140" fmla="*/ 618744 w 1073848"/>
                <a:gd name="connsiteY140" fmla="*/ 96774 h 1057751"/>
                <a:gd name="connsiteX141" fmla="*/ 613600 w 1073848"/>
                <a:gd name="connsiteY141" fmla="*/ 94202 h 1057751"/>
                <a:gd name="connsiteX142" fmla="*/ 608838 w 1073848"/>
                <a:gd name="connsiteY142" fmla="*/ 94869 h 1057751"/>
                <a:gd name="connsiteX143" fmla="*/ 603504 w 1073848"/>
                <a:gd name="connsiteY143" fmla="*/ 90678 h 1057751"/>
                <a:gd name="connsiteX144" fmla="*/ 594074 w 1073848"/>
                <a:gd name="connsiteY144" fmla="*/ 91916 h 1057751"/>
                <a:gd name="connsiteX145" fmla="*/ 594265 w 1073848"/>
                <a:gd name="connsiteY145" fmla="*/ 93536 h 1057751"/>
                <a:gd name="connsiteX146" fmla="*/ 585788 w 1073848"/>
                <a:gd name="connsiteY146" fmla="*/ 89821 h 1057751"/>
                <a:gd name="connsiteX147" fmla="*/ 587121 w 1073848"/>
                <a:gd name="connsiteY147" fmla="*/ 88011 h 1057751"/>
                <a:gd name="connsiteX148" fmla="*/ 584930 w 1073848"/>
                <a:gd name="connsiteY148" fmla="*/ 83439 h 1057751"/>
                <a:gd name="connsiteX149" fmla="*/ 583216 w 1073848"/>
                <a:gd name="connsiteY149" fmla="*/ 82105 h 1057751"/>
                <a:gd name="connsiteX150" fmla="*/ 580263 w 1073848"/>
                <a:gd name="connsiteY150" fmla="*/ 84106 h 1057751"/>
                <a:gd name="connsiteX151" fmla="*/ 579977 w 1073848"/>
                <a:gd name="connsiteY151" fmla="*/ 82487 h 1057751"/>
                <a:gd name="connsiteX152" fmla="*/ 578453 w 1073848"/>
                <a:gd name="connsiteY152" fmla="*/ 82677 h 1057751"/>
                <a:gd name="connsiteX153" fmla="*/ 576643 w 1073848"/>
                <a:gd name="connsiteY153" fmla="*/ 81343 h 1057751"/>
                <a:gd name="connsiteX154" fmla="*/ 578263 w 1073848"/>
                <a:gd name="connsiteY154" fmla="*/ 81153 h 1057751"/>
                <a:gd name="connsiteX155" fmla="*/ 579406 w 1073848"/>
                <a:gd name="connsiteY155" fmla="*/ 77724 h 1057751"/>
                <a:gd name="connsiteX156" fmla="*/ 577882 w 1073848"/>
                <a:gd name="connsiteY156" fmla="*/ 77914 h 1057751"/>
                <a:gd name="connsiteX157" fmla="*/ 576072 w 1073848"/>
                <a:gd name="connsiteY157" fmla="*/ 76581 h 1057751"/>
                <a:gd name="connsiteX158" fmla="*/ 574453 w 1073848"/>
                <a:gd name="connsiteY158" fmla="*/ 76771 h 1057751"/>
                <a:gd name="connsiteX159" fmla="*/ 573691 w 1073848"/>
                <a:gd name="connsiteY159" fmla="*/ 70485 h 1057751"/>
                <a:gd name="connsiteX160" fmla="*/ 570357 w 1073848"/>
                <a:gd name="connsiteY160" fmla="*/ 69247 h 1057751"/>
                <a:gd name="connsiteX161" fmla="*/ 571500 w 1073848"/>
                <a:gd name="connsiteY161" fmla="*/ 65913 h 1057751"/>
                <a:gd name="connsiteX162" fmla="*/ 567404 w 1073848"/>
                <a:gd name="connsiteY162" fmla="*/ 71247 h 1057751"/>
                <a:gd name="connsiteX163" fmla="*/ 562451 w 1073848"/>
                <a:gd name="connsiteY163" fmla="*/ 70295 h 1057751"/>
                <a:gd name="connsiteX164" fmla="*/ 561880 w 1073848"/>
                <a:gd name="connsiteY164" fmla="*/ 65532 h 1057751"/>
                <a:gd name="connsiteX165" fmla="*/ 557498 w 1073848"/>
                <a:gd name="connsiteY165" fmla="*/ 69342 h 1057751"/>
                <a:gd name="connsiteX166" fmla="*/ 553688 w 1073848"/>
                <a:gd name="connsiteY166" fmla="*/ 64961 h 1057751"/>
                <a:gd name="connsiteX167" fmla="*/ 553307 w 1073848"/>
                <a:gd name="connsiteY167" fmla="*/ 61817 h 1057751"/>
                <a:gd name="connsiteX168" fmla="*/ 556450 w 1073848"/>
                <a:gd name="connsiteY168" fmla="*/ 61436 h 1057751"/>
                <a:gd name="connsiteX169" fmla="*/ 554546 w 1073848"/>
                <a:gd name="connsiteY169" fmla="*/ 58483 h 1057751"/>
                <a:gd name="connsiteX170" fmla="*/ 546640 w 1073848"/>
                <a:gd name="connsiteY170" fmla="*/ 59531 h 1057751"/>
                <a:gd name="connsiteX171" fmla="*/ 546449 w 1073848"/>
                <a:gd name="connsiteY171" fmla="*/ 57912 h 1057751"/>
                <a:gd name="connsiteX172" fmla="*/ 543306 w 1073848"/>
                <a:gd name="connsiteY172" fmla="*/ 58293 h 1057751"/>
                <a:gd name="connsiteX173" fmla="*/ 541496 w 1073848"/>
                <a:gd name="connsiteY173" fmla="*/ 56959 h 1057751"/>
                <a:gd name="connsiteX174" fmla="*/ 537496 w 1073848"/>
                <a:gd name="connsiteY174" fmla="*/ 51054 h 1057751"/>
                <a:gd name="connsiteX175" fmla="*/ 534733 w 1073848"/>
                <a:gd name="connsiteY175" fmla="*/ 54578 h 1057751"/>
                <a:gd name="connsiteX176" fmla="*/ 534162 w 1073848"/>
                <a:gd name="connsiteY176" fmla="*/ 62675 h 1057751"/>
                <a:gd name="connsiteX177" fmla="*/ 527875 w 1073848"/>
                <a:gd name="connsiteY177" fmla="*/ 63437 h 1057751"/>
                <a:gd name="connsiteX178" fmla="*/ 526066 w 1073848"/>
                <a:gd name="connsiteY178" fmla="*/ 62103 h 1057751"/>
                <a:gd name="connsiteX179" fmla="*/ 524732 w 1073848"/>
                <a:gd name="connsiteY179" fmla="*/ 63913 h 1057751"/>
                <a:gd name="connsiteX180" fmla="*/ 520541 w 1073848"/>
                <a:gd name="connsiteY180" fmla="*/ 56388 h 1057751"/>
                <a:gd name="connsiteX181" fmla="*/ 521780 w 1073848"/>
                <a:gd name="connsiteY181" fmla="*/ 53054 h 1057751"/>
                <a:gd name="connsiteX182" fmla="*/ 515398 w 1073848"/>
                <a:gd name="connsiteY182" fmla="*/ 53816 h 1057751"/>
                <a:gd name="connsiteX183" fmla="*/ 515874 w 1073848"/>
                <a:gd name="connsiteY183" fmla="*/ 56959 h 1057751"/>
                <a:gd name="connsiteX184" fmla="*/ 511112 w 1073848"/>
                <a:gd name="connsiteY184" fmla="*/ 57626 h 1057751"/>
                <a:gd name="connsiteX185" fmla="*/ 511302 w 1073848"/>
                <a:gd name="connsiteY185" fmla="*/ 59150 h 1057751"/>
                <a:gd name="connsiteX186" fmla="*/ 508159 w 1073848"/>
                <a:gd name="connsiteY186" fmla="*/ 59531 h 1057751"/>
                <a:gd name="connsiteX187" fmla="*/ 507968 w 1073848"/>
                <a:gd name="connsiteY187" fmla="*/ 58007 h 1057751"/>
                <a:gd name="connsiteX188" fmla="*/ 501587 w 1073848"/>
                <a:gd name="connsiteY188" fmla="*/ 58769 h 1057751"/>
                <a:gd name="connsiteX189" fmla="*/ 498253 w 1073848"/>
                <a:gd name="connsiteY189" fmla="*/ 57626 h 1057751"/>
                <a:gd name="connsiteX190" fmla="*/ 495300 w 1073848"/>
                <a:gd name="connsiteY190" fmla="*/ 59626 h 1057751"/>
                <a:gd name="connsiteX191" fmla="*/ 493300 w 1073848"/>
                <a:gd name="connsiteY191" fmla="*/ 56674 h 1057751"/>
                <a:gd name="connsiteX192" fmla="*/ 490538 w 1073848"/>
                <a:gd name="connsiteY192" fmla="*/ 60198 h 1057751"/>
                <a:gd name="connsiteX193" fmla="*/ 490156 w 1073848"/>
                <a:gd name="connsiteY193" fmla="*/ 57055 h 1057751"/>
                <a:gd name="connsiteX194" fmla="*/ 489204 w 1073848"/>
                <a:gd name="connsiteY194" fmla="*/ 62008 h 1057751"/>
                <a:gd name="connsiteX195" fmla="*/ 487204 w 1073848"/>
                <a:gd name="connsiteY195" fmla="*/ 59055 h 1057751"/>
                <a:gd name="connsiteX196" fmla="*/ 489966 w 1073848"/>
                <a:gd name="connsiteY196" fmla="*/ 55436 h 1057751"/>
                <a:gd name="connsiteX197" fmla="*/ 487775 w 1073848"/>
                <a:gd name="connsiteY197" fmla="*/ 50959 h 1057751"/>
                <a:gd name="connsiteX198" fmla="*/ 489204 w 1073848"/>
                <a:gd name="connsiteY198" fmla="*/ 49149 h 1057751"/>
                <a:gd name="connsiteX199" fmla="*/ 486061 w 1073848"/>
                <a:gd name="connsiteY199" fmla="*/ 49530 h 1057751"/>
                <a:gd name="connsiteX200" fmla="*/ 484251 w 1073848"/>
                <a:gd name="connsiteY200" fmla="*/ 48196 h 1057751"/>
                <a:gd name="connsiteX201" fmla="*/ 481108 w 1073848"/>
                <a:gd name="connsiteY201" fmla="*/ 48578 h 1057751"/>
                <a:gd name="connsiteX202" fmla="*/ 477298 w 1073848"/>
                <a:gd name="connsiteY202" fmla="*/ 44291 h 1057751"/>
                <a:gd name="connsiteX203" fmla="*/ 477107 w 1073848"/>
                <a:gd name="connsiteY203" fmla="*/ 42672 h 1057751"/>
                <a:gd name="connsiteX204" fmla="*/ 478060 w 1073848"/>
                <a:gd name="connsiteY204" fmla="*/ 37719 h 1057751"/>
                <a:gd name="connsiteX205" fmla="*/ 471773 w 1073848"/>
                <a:gd name="connsiteY205" fmla="*/ 38576 h 1057751"/>
                <a:gd name="connsiteX206" fmla="*/ 469773 w 1073848"/>
                <a:gd name="connsiteY206" fmla="*/ 35624 h 1057751"/>
                <a:gd name="connsiteX207" fmla="*/ 469392 w 1073848"/>
                <a:gd name="connsiteY207" fmla="*/ 32480 h 1057751"/>
                <a:gd name="connsiteX208" fmla="*/ 464630 w 1073848"/>
                <a:gd name="connsiteY208" fmla="*/ 33052 h 1057751"/>
                <a:gd name="connsiteX209" fmla="*/ 455390 w 1073848"/>
                <a:gd name="connsiteY209" fmla="*/ 22955 h 1057751"/>
                <a:gd name="connsiteX210" fmla="*/ 448818 w 1073848"/>
                <a:gd name="connsiteY210" fmla="*/ 22193 h 1057751"/>
                <a:gd name="connsiteX211" fmla="*/ 445294 w 1073848"/>
                <a:gd name="connsiteY211" fmla="*/ 19431 h 1057751"/>
                <a:gd name="connsiteX212" fmla="*/ 441579 w 1073848"/>
                <a:gd name="connsiteY212" fmla="*/ 15145 h 1057751"/>
                <a:gd name="connsiteX213" fmla="*/ 437769 w 1073848"/>
                <a:gd name="connsiteY213" fmla="*/ 10763 h 1057751"/>
                <a:gd name="connsiteX214" fmla="*/ 432625 w 1073848"/>
                <a:gd name="connsiteY214" fmla="*/ 8287 h 1057751"/>
                <a:gd name="connsiteX215" fmla="*/ 421957 w 1073848"/>
                <a:gd name="connsiteY215" fmla="*/ 0 h 1057751"/>
                <a:gd name="connsiteX216" fmla="*/ 420624 w 1073848"/>
                <a:gd name="connsiteY216" fmla="*/ 1810 h 1057751"/>
                <a:gd name="connsiteX217" fmla="*/ 421386 w 1073848"/>
                <a:gd name="connsiteY217" fmla="*/ 8096 h 1057751"/>
                <a:gd name="connsiteX218" fmla="*/ 417290 w 1073848"/>
                <a:gd name="connsiteY218" fmla="*/ 13430 h 1057751"/>
                <a:gd name="connsiteX219" fmla="*/ 413480 w 1073848"/>
                <a:gd name="connsiteY219" fmla="*/ 9049 h 1057751"/>
                <a:gd name="connsiteX220" fmla="*/ 405860 w 1073848"/>
                <a:gd name="connsiteY220" fmla="*/ 11716 h 1057751"/>
                <a:gd name="connsiteX221" fmla="*/ 406051 w 1073848"/>
                <a:gd name="connsiteY221" fmla="*/ 13240 h 1057751"/>
                <a:gd name="connsiteX222" fmla="*/ 407765 w 1073848"/>
                <a:gd name="connsiteY222" fmla="*/ 14668 h 1057751"/>
                <a:gd name="connsiteX223" fmla="*/ 406241 w 1073848"/>
                <a:gd name="connsiteY223" fmla="*/ 14859 h 1057751"/>
                <a:gd name="connsiteX224" fmla="*/ 406813 w 1073848"/>
                <a:gd name="connsiteY224" fmla="*/ 19526 h 1057751"/>
                <a:gd name="connsiteX225" fmla="*/ 402336 w 1073848"/>
                <a:gd name="connsiteY225" fmla="*/ 21717 h 1057751"/>
                <a:gd name="connsiteX226" fmla="*/ 399097 w 1073848"/>
                <a:gd name="connsiteY226" fmla="*/ 22193 h 1057751"/>
                <a:gd name="connsiteX227" fmla="*/ 399574 w 1073848"/>
                <a:gd name="connsiteY227" fmla="*/ 25337 h 1057751"/>
                <a:gd name="connsiteX228" fmla="*/ 397955 w 1073848"/>
                <a:gd name="connsiteY228" fmla="*/ 25527 h 1057751"/>
                <a:gd name="connsiteX229" fmla="*/ 393954 w 1073848"/>
                <a:gd name="connsiteY229" fmla="*/ 19621 h 1057751"/>
                <a:gd name="connsiteX230" fmla="*/ 388906 w 1073848"/>
                <a:gd name="connsiteY230" fmla="*/ 17050 h 1057751"/>
                <a:gd name="connsiteX231" fmla="*/ 385953 w 1073848"/>
                <a:gd name="connsiteY231" fmla="*/ 19050 h 1057751"/>
                <a:gd name="connsiteX232" fmla="*/ 376047 w 1073848"/>
                <a:gd name="connsiteY232" fmla="*/ 29908 h 1057751"/>
                <a:gd name="connsiteX233" fmla="*/ 376428 w 1073848"/>
                <a:gd name="connsiteY233" fmla="*/ 33052 h 1057751"/>
                <a:gd name="connsiteX234" fmla="*/ 371570 w 1073848"/>
                <a:gd name="connsiteY234" fmla="*/ 32099 h 1057751"/>
                <a:gd name="connsiteX235" fmla="*/ 368998 w 1073848"/>
                <a:gd name="connsiteY235" fmla="*/ 37243 h 1057751"/>
                <a:gd name="connsiteX236" fmla="*/ 365093 w 1073848"/>
                <a:gd name="connsiteY236" fmla="*/ 44101 h 1057751"/>
                <a:gd name="connsiteX237" fmla="*/ 365665 w 1073848"/>
                <a:gd name="connsiteY237" fmla="*/ 48863 h 1057751"/>
                <a:gd name="connsiteX238" fmla="*/ 367665 w 1073848"/>
                <a:gd name="connsiteY238" fmla="*/ 51816 h 1057751"/>
                <a:gd name="connsiteX239" fmla="*/ 372332 w 1073848"/>
                <a:gd name="connsiteY239" fmla="*/ 51245 h 1057751"/>
                <a:gd name="connsiteX240" fmla="*/ 375475 w 1073848"/>
                <a:gd name="connsiteY240" fmla="*/ 50768 h 1057751"/>
                <a:gd name="connsiteX241" fmla="*/ 374523 w 1073848"/>
                <a:gd name="connsiteY241" fmla="*/ 55721 h 1057751"/>
                <a:gd name="connsiteX242" fmla="*/ 378142 w 1073848"/>
                <a:gd name="connsiteY242" fmla="*/ 58483 h 1057751"/>
                <a:gd name="connsiteX243" fmla="*/ 377095 w 1073848"/>
                <a:gd name="connsiteY243" fmla="*/ 63437 h 1057751"/>
                <a:gd name="connsiteX244" fmla="*/ 382238 w 1073848"/>
                <a:gd name="connsiteY244" fmla="*/ 66008 h 1057751"/>
                <a:gd name="connsiteX245" fmla="*/ 379285 w 1073848"/>
                <a:gd name="connsiteY245" fmla="*/ 68008 h 1057751"/>
                <a:gd name="connsiteX246" fmla="*/ 379762 w 1073848"/>
                <a:gd name="connsiteY246" fmla="*/ 71152 h 1057751"/>
                <a:gd name="connsiteX247" fmla="*/ 376999 w 1073848"/>
                <a:gd name="connsiteY247" fmla="*/ 74676 h 1057751"/>
                <a:gd name="connsiteX248" fmla="*/ 373761 w 1073848"/>
                <a:gd name="connsiteY248" fmla="*/ 75057 h 1057751"/>
                <a:gd name="connsiteX249" fmla="*/ 371094 w 1073848"/>
                <a:gd name="connsiteY249" fmla="*/ 78676 h 1057751"/>
                <a:gd name="connsiteX250" fmla="*/ 371284 w 1073848"/>
                <a:gd name="connsiteY250" fmla="*/ 80200 h 1057751"/>
                <a:gd name="connsiteX251" fmla="*/ 367665 w 1073848"/>
                <a:gd name="connsiteY251" fmla="*/ 77438 h 1057751"/>
                <a:gd name="connsiteX252" fmla="*/ 366141 w 1073848"/>
                <a:gd name="connsiteY252" fmla="*/ 77629 h 1057751"/>
                <a:gd name="connsiteX253" fmla="*/ 364331 w 1073848"/>
                <a:gd name="connsiteY253" fmla="*/ 76295 h 1057751"/>
                <a:gd name="connsiteX254" fmla="*/ 359759 w 1073848"/>
                <a:gd name="connsiteY254" fmla="*/ 78486 h 1057751"/>
                <a:gd name="connsiteX255" fmla="*/ 352711 w 1073848"/>
                <a:gd name="connsiteY255" fmla="*/ 72962 h 1057751"/>
                <a:gd name="connsiteX256" fmla="*/ 353282 w 1073848"/>
                <a:gd name="connsiteY256" fmla="*/ 77724 h 1057751"/>
                <a:gd name="connsiteX257" fmla="*/ 350139 w 1073848"/>
                <a:gd name="connsiteY257" fmla="*/ 78105 h 1057751"/>
                <a:gd name="connsiteX258" fmla="*/ 346615 w 1073848"/>
                <a:gd name="connsiteY258" fmla="*/ 75343 h 1057751"/>
                <a:gd name="connsiteX259" fmla="*/ 345757 w 1073848"/>
                <a:gd name="connsiteY259" fmla="*/ 69056 h 1057751"/>
                <a:gd name="connsiteX260" fmla="*/ 344424 w 1073848"/>
                <a:gd name="connsiteY260" fmla="*/ 70771 h 1057751"/>
                <a:gd name="connsiteX261" fmla="*/ 342614 w 1073848"/>
                <a:gd name="connsiteY261" fmla="*/ 69437 h 1057751"/>
                <a:gd name="connsiteX262" fmla="*/ 340233 w 1073848"/>
                <a:gd name="connsiteY262" fmla="*/ 76200 h 1057751"/>
                <a:gd name="connsiteX263" fmla="*/ 336137 w 1073848"/>
                <a:gd name="connsiteY263" fmla="*/ 81534 h 1057751"/>
                <a:gd name="connsiteX264" fmla="*/ 333756 w 1073848"/>
                <a:gd name="connsiteY264" fmla="*/ 88201 h 1057751"/>
                <a:gd name="connsiteX265" fmla="*/ 335566 w 1073848"/>
                <a:gd name="connsiteY265" fmla="*/ 89630 h 1057751"/>
                <a:gd name="connsiteX266" fmla="*/ 332803 w 1073848"/>
                <a:gd name="connsiteY266" fmla="*/ 93154 h 1057751"/>
                <a:gd name="connsiteX267" fmla="*/ 333565 w 1073848"/>
                <a:gd name="connsiteY267" fmla="*/ 99441 h 1057751"/>
                <a:gd name="connsiteX268" fmla="*/ 332041 w 1073848"/>
                <a:gd name="connsiteY268" fmla="*/ 99632 h 1057751"/>
                <a:gd name="connsiteX269" fmla="*/ 331470 w 1073848"/>
                <a:gd name="connsiteY269" fmla="*/ 94964 h 1057751"/>
                <a:gd name="connsiteX270" fmla="*/ 326517 w 1073848"/>
                <a:gd name="connsiteY270" fmla="*/ 93917 h 1057751"/>
                <a:gd name="connsiteX271" fmla="*/ 319564 w 1073848"/>
                <a:gd name="connsiteY271" fmla="*/ 102870 h 1057751"/>
                <a:gd name="connsiteX272" fmla="*/ 310896 w 1073848"/>
                <a:gd name="connsiteY272" fmla="*/ 97536 h 1057751"/>
                <a:gd name="connsiteX273" fmla="*/ 303466 w 1073848"/>
                <a:gd name="connsiteY273" fmla="*/ 101727 h 1057751"/>
                <a:gd name="connsiteX274" fmla="*/ 296323 w 1073848"/>
                <a:gd name="connsiteY274" fmla="*/ 109061 h 1057751"/>
                <a:gd name="connsiteX275" fmla="*/ 294513 w 1073848"/>
                <a:gd name="connsiteY275" fmla="*/ 107633 h 1057751"/>
                <a:gd name="connsiteX276" fmla="*/ 293180 w 1073848"/>
                <a:gd name="connsiteY276" fmla="*/ 109442 h 1057751"/>
                <a:gd name="connsiteX277" fmla="*/ 288226 w 1073848"/>
                <a:gd name="connsiteY277" fmla="*/ 108395 h 1057751"/>
                <a:gd name="connsiteX278" fmla="*/ 285083 w 1073848"/>
                <a:gd name="connsiteY278" fmla="*/ 108871 h 1057751"/>
                <a:gd name="connsiteX279" fmla="*/ 284702 w 1073848"/>
                <a:gd name="connsiteY279" fmla="*/ 105728 h 1057751"/>
                <a:gd name="connsiteX280" fmla="*/ 283750 w 1073848"/>
                <a:gd name="connsiteY280" fmla="*/ 110585 h 1057751"/>
                <a:gd name="connsiteX281" fmla="*/ 283559 w 1073848"/>
                <a:gd name="connsiteY281" fmla="*/ 109061 h 1057751"/>
                <a:gd name="connsiteX282" fmla="*/ 280321 w 1073848"/>
                <a:gd name="connsiteY282" fmla="*/ 109442 h 1057751"/>
                <a:gd name="connsiteX283" fmla="*/ 275653 w 1073848"/>
                <a:gd name="connsiteY283" fmla="*/ 110014 h 1057751"/>
                <a:gd name="connsiteX284" fmla="*/ 274891 w 1073848"/>
                <a:gd name="connsiteY284" fmla="*/ 116586 h 1057751"/>
                <a:gd name="connsiteX285" fmla="*/ 271272 w 1073848"/>
                <a:gd name="connsiteY285" fmla="*/ 113824 h 1057751"/>
                <a:gd name="connsiteX286" fmla="*/ 269938 w 1073848"/>
                <a:gd name="connsiteY286" fmla="*/ 115633 h 1057751"/>
                <a:gd name="connsiteX287" fmla="*/ 272129 w 1073848"/>
                <a:gd name="connsiteY287" fmla="*/ 120110 h 1057751"/>
                <a:gd name="connsiteX288" fmla="*/ 264414 w 1073848"/>
                <a:gd name="connsiteY288" fmla="*/ 122682 h 1057751"/>
                <a:gd name="connsiteX289" fmla="*/ 264223 w 1073848"/>
                <a:gd name="connsiteY289" fmla="*/ 121158 h 1057751"/>
                <a:gd name="connsiteX290" fmla="*/ 261461 w 1073848"/>
                <a:gd name="connsiteY290" fmla="*/ 124682 h 1057751"/>
                <a:gd name="connsiteX291" fmla="*/ 259461 w 1073848"/>
                <a:gd name="connsiteY291" fmla="*/ 121729 h 1057751"/>
                <a:gd name="connsiteX292" fmla="*/ 256508 w 1073848"/>
                <a:gd name="connsiteY292" fmla="*/ 123730 h 1057751"/>
                <a:gd name="connsiteX293" fmla="*/ 256318 w 1073848"/>
                <a:gd name="connsiteY293" fmla="*/ 122111 h 1057751"/>
                <a:gd name="connsiteX294" fmla="*/ 250031 w 1073848"/>
                <a:gd name="connsiteY294" fmla="*/ 122968 h 1057751"/>
                <a:gd name="connsiteX295" fmla="*/ 249841 w 1073848"/>
                <a:gd name="connsiteY295" fmla="*/ 121349 h 1057751"/>
                <a:gd name="connsiteX296" fmla="*/ 255270 w 1073848"/>
                <a:gd name="connsiteY296" fmla="*/ 114205 h 1057751"/>
                <a:gd name="connsiteX297" fmla="*/ 253365 w 1073848"/>
                <a:gd name="connsiteY297" fmla="*/ 111252 h 1057751"/>
                <a:gd name="connsiteX298" fmla="*/ 250126 w 1073848"/>
                <a:gd name="connsiteY298" fmla="*/ 111728 h 1057751"/>
                <a:gd name="connsiteX299" fmla="*/ 247459 w 1073848"/>
                <a:gd name="connsiteY299" fmla="*/ 115253 h 1057751"/>
                <a:gd name="connsiteX300" fmla="*/ 244030 w 1073848"/>
                <a:gd name="connsiteY300" fmla="*/ 114109 h 1057751"/>
                <a:gd name="connsiteX301" fmla="*/ 241459 w 1073848"/>
                <a:gd name="connsiteY301" fmla="*/ 119253 h 1057751"/>
                <a:gd name="connsiteX302" fmla="*/ 236791 w 1073848"/>
                <a:gd name="connsiteY302" fmla="*/ 119825 h 1057751"/>
                <a:gd name="connsiteX303" fmla="*/ 234982 w 1073848"/>
                <a:gd name="connsiteY303" fmla="*/ 118396 h 1057751"/>
                <a:gd name="connsiteX304" fmla="*/ 231076 w 1073848"/>
                <a:gd name="connsiteY304" fmla="*/ 125349 h 1057751"/>
                <a:gd name="connsiteX305" fmla="*/ 229457 w 1073848"/>
                <a:gd name="connsiteY305" fmla="*/ 125539 h 1057751"/>
                <a:gd name="connsiteX306" fmla="*/ 229934 w 1073848"/>
                <a:gd name="connsiteY306" fmla="*/ 128683 h 1057751"/>
                <a:gd name="connsiteX307" fmla="*/ 233267 w 1073848"/>
                <a:gd name="connsiteY307" fmla="*/ 129921 h 1057751"/>
                <a:gd name="connsiteX308" fmla="*/ 231838 w 1073848"/>
                <a:gd name="connsiteY308" fmla="*/ 131636 h 1057751"/>
                <a:gd name="connsiteX309" fmla="*/ 233839 w 1073848"/>
                <a:gd name="connsiteY309" fmla="*/ 134588 h 1057751"/>
                <a:gd name="connsiteX310" fmla="*/ 226314 w 1073848"/>
                <a:gd name="connsiteY310" fmla="*/ 138779 h 1057751"/>
                <a:gd name="connsiteX311" fmla="*/ 227552 w 1073848"/>
                <a:gd name="connsiteY311" fmla="*/ 148209 h 1057751"/>
                <a:gd name="connsiteX312" fmla="*/ 228409 w 1073848"/>
                <a:gd name="connsiteY312" fmla="*/ 154591 h 1057751"/>
                <a:gd name="connsiteX313" fmla="*/ 214598 w 1073848"/>
                <a:gd name="connsiteY313" fmla="*/ 159544 h 1057751"/>
                <a:gd name="connsiteX314" fmla="*/ 216503 w 1073848"/>
                <a:gd name="connsiteY314" fmla="*/ 162496 h 1057751"/>
                <a:gd name="connsiteX315" fmla="*/ 211264 w 1073848"/>
                <a:gd name="connsiteY315" fmla="*/ 171164 h 1057751"/>
                <a:gd name="connsiteX316" fmla="*/ 209645 w 1073848"/>
                <a:gd name="connsiteY316" fmla="*/ 171355 h 1057751"/>
                <a:gd name="connsiteX317" fmla="*/ 209264 w 1073848"/>
                <a:gd name="connsiteY317" fmla="*/ 168212 h 1057751"/>
                <a:gd name="connsiteX318" fmla="*/ 207931 w 1073848"/>
                <a:gd name="connsiteY318" fmla="*/ 170021 h 1057751"/>
                <a:gd name="connsiteX319" fmla="*/ 207931 w 1073848"/>
                <a:gd name="connsiteY319" fmla="*/ 170021 h 1057751"/>
                <a:gd name="connsiteX320" fmla="*/ 204692 w 1073848"/>
                <a:gd name="connsiteY320" fmla="*/ 170402 h 1057751"/>
                <a:gd name="connsiteX321" fmla="*/ 206502 w 1073848"/>
                <a:gd name="connsiteY321" fmla="*/ 171736 h 1057751"/>
                <a:gd name="connsiteX322" fmla="*/ 203359 w 1073848"/>
                <a:gd name="connsiteY322" fmla="*/ 172212 h 1057751"/>
                <a:gd name="connsiteX323" fmla="*/ 205359 w 1073848"/>
                <a:gd name="connsiteY323" fmla="*/ 175165 h 1057751"/>
                <a:gd name="connsiteX324" fmla="*/ 202597 w 1073848"/>
                <a:gd name="connsiteY324" fmla="*/ 178689 h 1057751"/>
                <a:gd name="connsiteX325" fmla="*/ 201644 w 1073848"/>
                <a:gd name="connsiteY325" fmla="*/ 183642 h 1057751"/>
                <a:gd name="connsiteX326" fmla="*/ 200406 w 1073848"/>
                <a:gd name="connsiteY326" fmla="*/ 186976 h 1057751"/>
                <a:gd name="connsiteX327" fmla="*/ 202597 w 1073848"/>
                <a:gd name="connsiteY327" fmla="*/ 191548 h 1057751"/>
                <a:gd name="connsiteX328" fmla="*/ 200692 w 1073848"/>
                <a:gd name="connsiteY328" fmla="*/ 201359 h 1057751"/>
                <a:gd name="connsiteX329" fmla="*/ 202882 w 1073848"/>
                <a:gd name="connsiteY329" fmla="*/ 205930 h 1057751"/>
                <a:gd name="connsiteX330" fmla="*/ 201835 w 1073848"/>
                <a:gd name="connsiteY330" fmla="*/ 210884 h 1057751"/>
                <a:gd name="connsiteX331" fmla="*/ 205454 w 1073848"/>
                <a:gd name="connsiteY331" fmla="*/ 213646 h 1057751"/>
                <a:gd name="connsiteX332" fmla="*/ 203835 w 1073848"/>
                <a:gd name="connsiteY332" fmla="*/ 213836 h 1057751"/>
                <a:gd name="connsiteX333" fmla="*/ 206407 w 1073848"/>
                <a:gd name="connsiteY333" fmla="*/ 221551 h 1057751"/>
                <a:gd name="connsiteX334" fmla="*/ 209550 w 1073848"/>
                <a:gd name="connsiteY334" fmla="*/ 221075 h 1057751"/>
                <a:gd name="connsiteX335" fmla="*/ 213550 w 1073848"/>
                <a:gd name="connsiteY335" fmla="*/ 214217 h 1057751"/>
                <a:gd name="connsiteX336" fmla="*/ 221456 w 1073848"/>
                <a:gd name="connsiteY336" fmla="*/ 226028 h 1057751"/>
                <a:gd name="connsiteX337" fmla="*/ 229171 w 1073848"/>
                <a:gd name="connsiteY337" fmla="*/ 223457 h 1057751"/>
                <a:gd name="connsiteX338" fmla="*/ 240411 w 1073848"/>
                <a:gd name="connsiteY338" fmla="*/ 223552 h 1057751"/>
                <a:gd name="connsiteX339" fmla="*/ 239363 w 1073848"/>
                <a:gd name="connsiteY339" fmla="*/ 228505 h 1057751"/>
                <a:gd name="connsiteX340" fmla="*/ 243745 w 1073848"/>
                <a:gd name="connsiteY340" fmla="*/ 237554 h 1057751"/>
                <a:gd name="connsiteX341" fmla="*/ 251460 w 1073848"/>
                <a:gd name="connsiteY341" fmla="*/ 247841 h 1057751"/>
                <a:gd name="connsiteX342" fmla="*/ 252127 w 1073848"/>
                <a:gd name="connsiteY342" fmla="*/ 252603 h 1057751"/>
                <a:gd name="connsiteX343" fmla="*/ 249174 w 1073848"/>
                <a:gd name="connsiteY343" fmla="*/ 254508 h 1057751"/>
                <a:gd name="connsiteX344" fmla="*/ 247936 w 1073848"/>
                <a:gd name="connsiteY344" fmla="*/ 257937 h 1057751"/>
                <a:gd name="connsiteX345" fmla="*/ 251746 w 1073848"/>
                <a:gd name="connsiteY345" fmla="*/ 262223 h 1057751"/>
                <a:gd name="connsiteX346" fmla="*/ 248031 w 1073848"/>
                <a:gd name="connsiteY346" fmla="*/ 270700 h 1057751"/>
                <a:gd name="connsiteX347" fmla="*/ 244411 w 1073848"/>
                <a:gd name="connsiteY347" fmla="*/ 267938 h 1057751"/>
                <a:gd name="connsiteX348" fmla="*/ 245078 w 1073848"/>
                <a:gd name="connsiteY348" fmla="*/ 272701 h 1057751"/>
                <a:gd name="connsiteX349" fmla="*/ 243268 w 1073848"/>
                <a:gd name="connsiteY349" fmla="*/ 271367 h 1057751"/>
                <a:gd name="connsiteX350" fmla="*/ 243459 w 1073848"/>
                <a:gd name="connsiteY350" fmla="*/ 272891 h 1057751"/>
                <a:gd name="connsiteX351" fmla="*/ 241840 w 1073848"/>
                <a:gd name="connsiteY351" fmla="*/ 273082 h 1057751"/>
                <a:gd name="connsiteX352" fmla="*/ 237553 w 1073848"/>
                <a:gd name="connsiteY352" fmla="*/ 276892 h 1057751"/>
                <a:gd name="connsiteX353" fmla="*/ 238125 w 1073848"/>
                <a:gd name="connsiteY353" fmla="*/ 281654 h 1057751"/>
                <a:gd name="connsiteX354" fmla="*/ 232029 w 1073848"/>
                <a:gd name="connsiteY354" fmla="*/ 284036 h 1057751"/>
                <a:gd name="connsiteX355" fmla="*/ 231838 w 1073848"/>
                <a:gd name="connsiteY355" fmla="*/ 282416 h 1057751"/>
                <a:gd name="connsiteX356" fmla="*/ 228695 w 1073848"/>
                <a:gd name="connsiteY356" fmla="*/ 282797 h 1057751"/>
                <a:gd name="connsiteX357" fmla="*/ 224123 w 1073848"/>
                <a:gd name="connsiteY357" fmla="*/ 284988 h 1057751"/>
                <a:gd name="connsiteX358" fmla="*/ 222123 w 1073848"/>
                <a:gd name="connsiteY358" fmla="*/ 282035 h 1057751"/>
                <a:gd name="connsiteX359" fmla="*/ 219456 w 1073848"/>
                <a:gd name="connsiteY359" fmla="*/ 285559 h 1057751"/>
                <a:gd name="connsiteX360" fmla="*/ 216979 w 1073848"/>
                <a:gd name="connsiteY360" fmla="*/ 279463 h 1057751"/>
                <a:gd name="connsiteX361" fmla="*/ 210121 w 1073848"/>
                <a:gd name="connsiteY361" fmla="*/ 275558 h 1057751"/>
                <a:gd name="connsiteX362" fmla="*/ 208978 w 1073848"/>
                <a:gd name="connsiteY362" fmla="*/ 278892 h 1057751"/>
                <a:gd name="connsiteX363" fmla="*/ 204025 w 1073848"/>
                <a:gd name="connsiteY363" fmla="*/ 277939 h 1057751"/>
                <a:gd name="connsiteX364" fmla="*/ 204978 w 1073848"/>
                <a:gd name="connsiteY364" fmla="*/ 285845 h 1057751"/>
                <a:gd name="connsiteX365" fmla="*/ 204978 w 1073848"/>
                <a:gd name="connsiteY365" fmla="*/ 285845 h 1057751"/>
                <a:gd name="connsiteX366" fmla="*/ 202025 w 1073848"/>
                <a:gd name="connsiteY366" fmla="*/ 287846 h 1057751"/>
                <a:gd name="connsiteX367" fmla="*/ 198501 w 1073848"/>
                <a:gd name="connsiteY367" fmla="*/ 285083 h 1057751"/>
                <a:gd name="connsiteX368" fmla="*/ 199644 w 1073848"/>
                <a:gd name="connsiteY368" fmla="*/ 281750 h 1057751"/>
                <a:gd name="connsiteX369" fmla="*/ 194977 w 1073848"/>
                <a:gd name="connsiteY369" fmla="*/ 282321 h 1057751"/>
                <a:gd name="connsiteX370" fmla="*/ 195358 w 1073848"/>
                <a:gd name="connsiteY370" fmla="*/ 285464 h 1057751"/>
                <a:gd name="connsiteX371" fmla="*/ 198882 w 1073848"/>
                <a:gd name="connsiteY371" fmla="*/ 288226 h 1057751"/>
                <a:gd name="connsiteX372" fmla="*/ 197929 w 1073848"/>
                <a:gd name="connsiteY372" fmla="*/ 293180 h 1057751"/>
                <a:gd name="connsiteX373" fmla="*/ 193167 w 1073848"/>
                <a:gd name="connsiteY373" fmla="*/ 293751 h 1057751"/>
                <a:gd name="connsiteX374" fmla="*/ 193548 w 1073848"/>
                <a:gd name="connsiteY374" fmla="*/ 296894 h 1057751"/>
                <a:gd name="connsiteX375" fmla="*/ 192214 w 1073848"/>
                <a:gd name="connsiteY375" fmla="*/ 298704 h 1057751"/>
                <a:gd name="connsiteX376" fmla="*/ 191071 w 1073848"/>
                <a:gd name="connsiteY376" fmla="*/ 302038 h 1057751"/>
                <a:gd name="connsiteX377" fmla="*/ 192976 w 1073848"/>
                <a:gd name="connsiteY377" fmla="*/ 304991 h 1057751"/>
                <a:gd name="connsiteX378" fmla="*/ 191643 w 1073848"/>
                <a:gd name="connsiteY378" fmla="*/ 306800 h 1057751"/>
                <a:gd name="connsiteX379" fmla="*/ 191834 w 1073848"/>
                <a:gd name="connsiteY379" fmla="*/ 308324 h 1057751"/>
                <a:gd name="connsiteX380" fmla="*/ 183737 w 1073848"/>
                <a:gd name="connsiteY380" fmla="*/ 307753 h 1057751"/>
                <a:gd name="connsiteX381" fmla="*/ 183166 w 1073848"/>
                <a:gd name="connsiteY381" fmla="*/ 303086 h 1057751"/>
                <a:gd name="connsiteX382" fmla="*/ 180784 w 1073848"/>
                <a:gd name="connsiteY382" fmla="*/ 296989 h 1057751"/>
                <a:gd name="connsiteX383" fmla="*/ 173831 w 1073848"/>
                <a:gd name="connsiteY383" fmla="*/ 292989 h 1057751"/>
                <a:gd name="connsiteX384" fmla="*/ 174212 w 1073848"/>
                <a:gd name="connsiteY384" fmla="*/ 296132 h 1057751"/>
                <a:gd name="connsiteX385" fmla="*/ 172498 w 1073848"/>
                <a:gd name="connsiteY385" fmla="*/ 294799 h 1057751"/>
                <a:gd name="connsiteX386" fmla="*/ 172688 w 1073848"/>
                <a:gd name="connsiteY386" fmla="*/ 296323 h 1057751"/>
                <a:gd name="connsiteX387" fmla="*/ 169545 w 1073848"/>
                <a:gd name="connsiteY387" fmla="*/ 296799 h 1057751"/>
                <a:gd name="connsiteX388" fmla="*/ 164782 w 1073848"/>
                <a:gd name="connsiteY388" fmla="*/ 297371 h 1057751"/>
                <a:gd name="connsiteX389" fmla="*/ 162973 w 1073848"/>
                <a:gd name="connsiteY389" fmla="*/ 296037 h 1057751"/>
                <a:gd name="connsiteX390" fmla="*/ 160972 w 1073848"/>
                <a:gd name="connsiteY390" fmla="*/ 293084 h 1057751"/>
                <a:gd name="connsiteX391" fmla="*/ 160782 w 1073848"/>
                <a:gd name="connsiteY391" fmla="*/ 291465 h 1057751"/>
                <a:gd name="connsiteX392" fmla="*/ 156115 w 1073848"/>
                <a:gd name="connsiteY392" fmla="*/ 292037 h 1057751"/>
                <a:gd name="connsiteX393" fmla="*/ 157067 w 1073848"/>
                <a:gd name="connsiteY393" fmla="*/ 287179 h 1057751"/>
                <a:gd name="connsiteX394" fmla="*/ 158591 w 1073848"/>
                <a:gd name="connsiteY394" fmla="*/ 286893 h 1057751"/>
                <a:gd name="connsiteX395" fmla="*/ 160020 w 1073848"/>
                <a:gd name="connsiteY395" fmla="*/ 285179 h 1057751"/>
                <a:gd name="connsiteX396" fmla="*/ 155257 w 1073848"/>
                <a:gd name="connsiteY396" fmla="*/ 285750 h 1057751"/>
                <a:gd name="connsiteX397" fmla="*/ 154114 w 1073848"/>
                <a:gd name="connsiteY397" fmla="*/ 289084 h 1057751"/>
                <a:gd name="connsiteX398" fmla="*/ 152305 w 1073848"/>
                <a:gd name="connsiteY398" fmla="*/ 287750 h 1057751"/>
                <a:gd name="connsiteX399" fmla="*/ 149161 w 1073848"/>
                <a:gd name="connsiteY399" fmla="*/ 288131 h 1057751"/>
                <a:gd name="connsiteX400" fmla="*/ 150209 w 1073848"/>
                <a:gd name="connsiteY400" fmla="*/ 296037 h 1057751"/>
                <a:gd name="connsiteX401" fmla="*/ 145066 w 1073848"/>
                <a:gd name="connsiteY401" fmla="*/ 293465 h 1057751"/>
                <a:gd name="connsiteX402" fmla="*/ 137350 w 1073848"/>
                <a:gd name="connsiteY402" fmla="*/ 296037 h 1057751"/>
                <a:gd name="connsiteX403" fmla="*/ 135731 w 1073848"/>
                <a:gd name="connsiteY403" fmla="*/ 296228 h 1057751"/>
                <a:gd name="connsiteX404" fmla="*/ 136207 w 1073848"/>
                <a:gd name="connsiteY404" fmla="*/ 299371 h 1057751"/>
                <a:gd name="connsiteX405" fmla="*/ 132969 w 1073848"/>
                <a:gd name="connsiteY405" fmla="*/ 299847 h 1057751"/>
                <a:gd name="connsiteX406" fmla="*/ 129445 w 1073848"/>
                <a:gd name="connsiteY406" fmla="*/ 297085 h 1057751"/>
                <a:gd name="connsiteX407" fmla="*/ 128302 w 1073848"/>
                <a:gd name="connsiteY407" fmla="*/ 300418 h 1057751"/>
                <a:gd name="connsiteX408" fmla="*/ 125158 w 1073848"/>
                <a:gd name="connsiteY408" fmla="*/ 300800 h 1057751"/>
                <a:gd name="connsiteX409" fmla="*/ 121729 w 1073848"/>
                <a:gd name="connsiteY409" fmla="*/ 299657 h 1057751"/>
                <a:gd name="connsiteX410" fmla="*/ 115824 w 1073848"/>
                <a:gd name="connsiteY410" fmla="*/ 303562 h 1057751"/>
                <a:gd name="connsiteX411" fmla="*/ 108585 w 1073848"/>
                <a:gd name="connsiteY411" fmla="*/ 296513 h 1057751"/>
                <a:gd name="connsiteX412" fmla="*/ 104013 w 1073848"/>
                <a:gd name="connsiteY412" fmla="*/ 298704 h 1057751"/>
                <a:gd name="connsiteX413" fmla="*/ 101822 w 1073848"/>
                <a:gd name="connsiteY413" fmla="*/ 294132 h 1057751"/>
                <a:gd name="connsiteX414" fmla="*/ 95726 w 1073848"/>
                <a:gd name="connsiteY414" fmla="*/ 296513 h 1057751"/>
                <a:gd name="connsiteX415" fmla="*/ 94488 w 1073848"/>
                <a:gd name="connsiteY415" fmla="*/ 299942 h 1057751"/>
                <a:gd name="connsiteX416" fmla="*/ 92773 w 1073848"/>
                <a:gd name="connsiteY416" fmla="*/ 298513 h 1057751"/>
                <a:gd name="connsiteX417" fmla="*/ 91345 w 1073848"/>
                <a:gd name="connsiteY417" fmla="*/ 300323 h 1057751"/>
                <a:gd name="connsiteX418" fmla="*/ 89154 w 1073848"/>
                <a:gd name="connsiteY418" fmla="*/ 295751 h 1057751"/>
                <a:gd name="connsiteX419" fmla="*/ 87630 w 1073848"/>
                <a:gd name="connsiteY419" fmla="*/ 295942 h 1057751"/>
                <a:gd name="connsiteX420" fmla="*/ 87820 w 1073848"/>
                <a:gd name="connsiteY420" fmla="*/ 297561 h 1057751"/>
                <a:gd name="connsiteX421" fmla="*/ 82677 w 1073848"/>
                <a:gd name="connsiteY421" fmla="*/ 294989 h 1057751"/>
                <a:gd name="connsiteX422" fmla="*/ 84106 w 1073848"/>
                <a:gd name="connsiteY422" fmla="*/ 293275 h 1057751"/>
                <a:gd name="connsiteX423" fmla="*/ 78772 w 1073848"/>
                <a:gd name="connsiteY423" fmla="*/ 289084 h 1057751"/>
                <a:gd name="connsiteX424" fmla="*/ 78486 w 1073848"/>
                <a:gd name="connsiteY424" fmla="*/ 287560 h 1057751"/>
                <a:gd name="connsiteX425" fmla="*/ 66103 w 1073848"/>
                <a:gd name="connsiteY425" fmla="*/ 290703 h 1057751"/>
                <a:gd name="connsiteX426" fmla="*/ 59817 w 1073848"/>
                <a:gd name="connsiteY426" fmla="*/ 291465 h 1057751"/>
                <a:gd name="connsiteX427" fmla="*/ 54673 w 1073848"/>
                <a:gd name="connsiteY427" fmla="*/ 301752 h 1057751"/>
                <a:gd name="connsiteX428" fmla="*/ 58198 w 1073848"/>
                <a:gd name="connsiteY428" fmla="*/ 304514 h 1057751"/>
                <a:gd name="connsiteX429" fmla="*/ 63151 w 1073848"/>
                <a:gd name="connsiteY429" fmla="*/ 305467 h 1057751"/>
                <a:gd name="connsiteX430" fmla="*/ 67151 w 1073848"/>
                <a:gd name="connsiteY430" fmla="*/ 311372 h 1057751"/>
                <a:gd name="connsiteX431" fmla="*/ 65722 w 1073848"/>
                <a:gd name="connsiteY431" fmla="*/ 313182 h 1057751"/>
                <a:gd name="connsiteX432" fmla="*/ 67913 w 1073848"/>
                <a:gd name="connsiteY432" fmla="*/ 317754 h 1057751"/>
                <a:gd name="connsiteX433" fmla="*/ 66580 w 1073848"/>
                <a:gd name="connsiteY433" fmla="*/ 319468 h 1057751"/>
                <a:gd name="connsiteX434" fmla="*/ 60484 w 1073848"/>
                <a:gd name="connsiteY434" fmla="*/ 321850 h 1057751"/>
                <a:gd name="connsiteX435" fmla="*/ 48958 w 1073848"/>
                <a:gd name="connsiteY435" fmla="*/ 320135 h 1057751"/>
                <a:gd name="connsiteX436" fmla="*/ 46482 w 1073848"/>
                <a:gd name="connsiteY436" fmla="*/ 325279 h 1057751"/>
                <a:gd name="connsiteX437" fmla="*/ 39338 w 1073848"/>
                <a:gd name="connsiteY437" fmla="*/ 319754 h 1057751"/>
                <a:gd name="connsiteX438" fmla="*/ 34576 w 1073848"/>
                <a:gd name="connsiteY438" fmla="*/ 320421 h 1057751"/>
                <a:gd name="connsiteX439" fmla="*/ 31813 w 1073848"/>
                <a:gd name="connsiteY439" fmla="*/ 323945 h 1057751"/>
                <a:gd name="connsiteX440" fmla="*/ 32671 w 1073848"/>
                <a:gd name="connsiteY440" fmla="*/ 330232 h 1057751"/>
                <a:gd name="connsiteX441" fmla="*/ 31242 w 1073848"/>
                <a:gd name="connsiteY441" fmla="*/ 332042 h 1057751"/>
                <a:gd name="connsiteX442" fmla="*/ 29908 w 1073848"/>
                <a:gd name="connsiteY442" fmla="*/ 333756 h 1057751"/>
                <a:gd name="connsiteX443" fmla="*/ 33433 w 1073848"/>
                <a:gd name="connsiteY443" fmla="*/ 336518 h 1057751"/>
                <a:gd name="connsiteX444" fmla="*/ 37624 w 1073848"/>
                <a:gd name="connsiteY444" fmla="*/ 344043 h 1057751"/>
                <a:gd name="connsiteX445" fmla="*/ 34480 w 1073848"/>
                <a:gd name="connsiteY445" fmla="*/ 344424 h 1057751"/>
                <a:gd name="connsiteX446" fmla="*/ 29718 w 1073848"/>
                <a:gd name="connsiteY446" fmla="*/ 345091 h 1057751"/>
                <a:gd name="connsiteX447" fmla="*/ 28384 w 1073848"/>
                <a:gd name="connsiteY447" fmla="*/ 346805 h 1057751"/>
                <a:gd name="connsiteX448" fmla="*/ 29146 w 1073848"/>
                <a:gd name="connsiteY448" fmla="*/ 353187 h 1057751"/>
                <a:gd name="connsiteX449" fmla="*/ 25241 w 1073848"/>
                <a:gd name="connsiteY449" fmla="*/ 360045 h 1057751"/>
                <a:gd name="connsiteX450" fmla="*/ 26956 w 1073848"/>
                <a:gd name="connsiteY450" fmla="*/ 361474 h 1057751"/>
                <a:gd name="connsiteX451" fmla="*/ 30956 w 1073848"/>
                <a:gd name="connsiteY451" fmla="*/ 367379 h 1057751"/>
                <a:gd name="connsiteX452" fmla="*/ 33718 w 1073848"/>
                <a:gd name="connsiteY452" fmla="*/ 376618 h 1057751"/>
                <a:gd name="connsiteX453" fmla="*/ 37338 w 1073848"/>
                <a:gd name="connsiteY453" fmla="*/ 379381 h 1057751"/>
                <a:gd name="connsiteX454" fmla="*/ 36100 w 1073848"/>
                <a:gd name="connsiteY454" fmla="*/ 382714 h 1057751"/>
                <a:gd name="connsiteX455" fmla="*/ 31813 w 1073848"/>
                <a:gd name="connsiteY455" fmla="*/ 386525 h 1057751"/>
                <a:gd name="connsiteX456" fmla="*/ 23527 w 1073848"/>
                <a:gd name="connsiteY456" fmla="*/ 384334 h 1057751"/>
                <a:gd name="connsiteX457" fmla="*/ 20383 w 1073848"/>
                <a:gd name="connsiteY457" fmla="*/ 384715 h 1057751"/>
                <a:gd name="connsiteX458" fmla="*/ 16764 w 1073848"/>
                <a:gd name="connsiteY458" fmla="*/ 381953 h 1057751"/>
                <a:gd name="connsiteX459" fmla="*/ 17145 w 1073848"/>
                <a:gd name="connsiteY459" fmla="*/ 385096 h 1057751"/>
                <a:gd name="connsiteX460" fmla="*/ 12097 w 1073848"/>
                <a:gd name="connsiteY460" fmla="*/ 382619 h 1057751"/>
                <a:gd name="connsiteX461" fmla="*/ 9715 w 1073848"/>
                <a:gd name="connsiteY461" fmla="*/ 389287 h 1057751"/>
                <a:gd name="connsiteX462" fmla="*/ 8763 w 1073848"/>
                <a:gd name="connsiteY462" fmla="*/ 394240 h 1057751"/>
                <a:gd name="connsiteX463" fmla="*/ 15430 w 1073848"/>
                <a:gd name="connsiteY463" fmla="*/ 396621 h 1057751"/>
                <a:gd name="connsiteX464" fmla="*/ 17240 w 1073848"/>
                <a:gd name="connsiteY464" fmla="*/ 397955 h 1057751"/>
                <a:gd name="connsiteX465" fmla="*/ 19240 w 1073848"/>
                <a:gd name="connsiteY465" fmla="*/ 400907 h 1057751"/>
                <a:gd name="connsiteX466" fmla="*/ 19621 w 1073848"/>
                <a:gd name="connsiteY466" fmla="*/ 404050 h 1057751"/>
                <a:gd name="connsiteX467" fmla="*/ 26956 w 1073848"/>
                <a:gd name="connsiteY467" fmla="*/ 411194 h 1057751"/>
                <a:gd name="connsiteX468" fmla="*/ 25336 w 1073848"/>
                <a:gd name="connsiteY468" fmla="*/ 411385 h 1057751"/>
                <a:gd name="connsiteX469" fmla="*/ 25717 w 1073848"/>
                <a:gd name="connsiteY469" fmla="*/ 414528 h 1057751"/>
                <a:gd name="connsiteX470" fmla="*/ 27527 w 1073848"/>
                <a:gd name="connsiteY470" fmla="*/ 415862 h 1057751"/>
                <a:gd name="connsiteX471" fmla="*/ 26956 w 1073848"/>
                <a:gd name="connsiteY471" fmla="*/ 423958 h 1057751"/>
                <a:gd name="connsiteX472" fmla="*/ 29146 w 1073848"/>
                <a:gd name="connsiteY472" fmla="*/ 428530 h 1057751"/>
                <a:gd name="connsiteX473" fmla="*/ 26194 w 1073848"/>
                <a:gd name="connsiteY473" fmla="*/ 430530 h 1057751"/>
                <a:gd name="connsiteX474" fmla="*/ 23813 w 1073848"/>
                <a:gd name="connsiteY474" fmla="*/ 437197 h 1057751"/>
                <a:gd name="connsiteX475" fmla="*/ 20860 w 1073848"/>
                <a:gd name="connsiteY475" fmla="*/ 439198 h 1057751"/>
                <a:gd name="connsiteX476" fmla="*/ 19336 w 1073848"/>
                <a:gd name="connsiteY476" fmla="*/ 439388 h 1057751"/>
                <a:gd name="connsiteX477" fmla="*/ 21431 w 1073848"/>
                <a:gd name="connsiteY477" fmla="*/ 443960 h 1057751"/>
                <a:gd name="connsiteX478" fmla="*/ 24860 w 1073848"/>
                <a:gd name="connsiteY478" fmla="*/ 445103 h 1057751"/>
                <a:gd name="connsiteX479" fmla="*/ 25241 w 1073848"/>
                <a:gd name="connsiteY479" fmla="*/ 448246 h 1057751"/>
                <a:gd name="connsiteX480" fmla="*/ 23146 w 1073848"/>
                <a:gd name="connsiteY480" fmla="*/ 469392 h 1057751"/>
                <a:gd name="connsiteX481" fmla="*/ 18383 w 1073848"/>
                <a:gd name="connsiteY481" fmla="*/ 469963 h 1057751"/>
                <a:gd name="connsiteX482" fmla="*/ 15811 w 1073848"/>
                <a:gd name="connsiteY482" fmla="*/ 475107 h 1057751"/>
                <a:gd name="connsiteX483" fmla="*/ 15621 w 1073848"/>
                <a:gd name="connsiteY483" fmla="*/ 486346 h 1057751"/>
                <a:gd name="connsiteX484" fmla="*/ 11716 w 1073848"/>
                <a:gd name="connsiteY484" fmla="*/ 493300 h 1057751"/>
                <a:gd name="connsiteX485" fmla="*/ 8572 w 1073848"/>
                <a:gd name="connsiteY485" fmla="*/ 493681 h 1057751"/>
                <a:gd name="connsiteX486" fmla="*/ 7429 w 1073848"/>
                <a:gd name="connsiteY486" fmla="*/ 497014 h 1057751"/>
                <a:gd name="connsiteX487" fmla="*/ 7810 w 1073848"/>
                <a:gd name="connsiteY487" fmla="*/ 500158 h 1057751"/>
                <a:gd name="connsiteX488" fmla="*/ 12287 w 1073848"/>
                <a:gd name="connsiteY488" fmla="*/ 498062 h 1057751"/>
                <a:gd name="connsiteX489" fmla="*/ 13716 w 1073848"/>
                <a:gd name="connsiteY489" fmla="*/ 496253 h 1057751"/>
                <a:gd name="connsiteX490" fmla="*/ 16859 w 1073848"/>
                <a:gd name="connsiteY490" fmla="*/ 495871 h 1057751"/>
                <a:gd name="connsiteX491" fmla="*/ 14478 w 1073848"/>
                <a:gd name="connsiteY491" fmla="*/ 502539 h 1057751"/>
                <a:gd name="connsiteX492" fmla="*/ 11525 w 1073848"/>
                <a:gd name="connsiteY492" fmla="*/ 504539 h 1057751"/>
                <a:gd name="connsiteX493" fmla="*/ 12192 w 1073848"/>
                <a:gd name="connsiteY493" fmla="*/ 509302 h 1057751"/>
                <a:gd name="connsiteX494" fmla="*/ 9239 w 1073848"/>
                <a:gd name="connsiteY494" fmla="*/ 511207 h 1057751"/>
                <a:gd name="connsiteX495" fmla="*/ 10192 w 1073848"/>
                <a:gd name="connsiteY495" fmla="*/ 519113 h 1057751"/>
                <a:gd name="connsiteX496" fmla="*/ 9049 w 1073848"/>
                <a:gd name="connsiteY496" fmla="*/ 522446 h 1057751"/>
                <a:gd name="connsiteX497" fmla="*/ 9430 w 1073848"/>
                <a:gd name="connsiteY497" fmla="*/ 525685 h 1057751"/>
                <a:gd name="connsiteX498" fmla="*/ 8477 w 1073848"/>
                <a:gd name="connsiteY498" fmla="*/ 530543 h 1057751"/>
                <a:gd name="connsiteX499" fmla="*/ 5524 w 1073848"/>
                <a:gd name="connsiteY499" fmla="*/ 532543 h 1057751"/>
                <a:gd name="connsiteX500" fmla="*/ 2191 w 1073848"/>
                <a:gd name="connsiteY500" fmla="*/ 531400 h 1057751"/>
                <a:gd name="connsiteX501" fmla="*/ 1143 w 1073848"/>
                <a:gd name="connsiteY501" fmla="*/ 536353 h 1057751"/>
                <a:gd name="connsiteX502" fmla="*/ 4572 w 1073848"/>
                <a:gd name="connsiteY502" fmla="*/ 537496 h 1057751"/>
                <a:gd name="connsiteX503" fmla="*/ 1619 w 1073848"/>
                <a:gd name="connsiteY503" fmla="*/ 539496 h 1057751"/>
                <a:gd name="connsiteX504" fmla="*/ 381 w 1073848"/>
                <a:gd name="connsiteY504" fmla="*/ 542830 h 1057751"/>
                <a:gd name="connsiteX505" fmla="*/ 2381 w 1073848"/>
                <a:gd name="connsiteY505" fmla="*/ 545783 h 1057751"/>
                <a:gd name="connsiteX506" fmla="*/ 2762 w 1073848"/>
                <a:gd name="connsiteY506" fmla="*/ 548926 h 1057751"/>
                <a:gd name="connsiteX507" fmla="*/ 0 w 1073848"/>
                <a:gd name="connsiteY507" fmla="*/ 552545 h 1057751"/>
                <a:gd name="connsiteX508" fmla="*/ 2000 w 1073848"/>
                <a:gd name="connsiteY508" fmla="*/ 555498 h 1057751"/>
                <a:gd name="connsiteX509" fmla="*/ 3619 w 1073848"/>
                <a:gd name="connsiteY509" fmla="*/ 555308 h 1057751"/>
                <a:gd name="connsiteX510" fmla="*/ 12287 w 1073848"/>
                <a:gd name="connsiteY510" fmla="*/ 560546 h 1057751"/>
                <a:gd name="connsiteX511" fmla="*/ 20383 w 1073848"/>
                <a:gd name="connsiteY511" fmla="*/ 561118 h 1057751"/>
                <a:gd name="connsiteX512" fmla="*/ 24289 w 1073848"/>
                <a:gd name="connsiteY512" fmla="*/ 567023 h 1057751"/>
                <a:gd name="connsiteX513" fmla="*/ 25717 w 1073848"/>
                <a:gd name="connsiteY513" fmla="*/ 578072 h 1057751"/>
                <a:gd name="connsiteX514" fmla="*/ 30289 w 1073848"/>
                <a:gd name="connsiteY514" fmla="*/ 575882 h 1057751"/>
                <a:gd name="connsiteX515" fmla="*/ 29337 w 1073848"/>
                <a:gd name="connsiteY515" fmla="*/ 580834 h 1057751"/>
                <a:gd name="connsiteX516" fmla="*/ 25908 w 1073848"/>
                <a:gd name="connsiteY516" fmla="*/ 579692 h 1057751"/>
                <a:gd name="connsiteX517" fmla="*/ 22955 w 1073848"/>
                <a:gd name="connsiteY517" fmla="*/ 581692 h 1057751"/>
                <a:gd name="connsiteX518" fmla="*/ 19050 w 1073848"/>
                <a:gd name="connsiteY518" fmla="*/ 588550 h 1057751"/>
                <a:gd name="connsiteX519" fmla="*/ 17240 w 1073848"/>
                <a:gd name="connsiteY519" fmla="*/ 587216 h 1057751"/>
                <a:gd name="connsiteX520" fmla="*/ 17907 w 1073848"/>
                <a:gd name="connsiteY520" fmla="*/ 591979 h 1057751"/>
                <a:gd name="connsiteX521" fmla="*/ 13144 w 1073848"/>
                <a:gd name="connsiteY521" fmla="*/ 592550 h 1057751"/>
                <a:gd name="connsiteX522" fmla="*/ 13716 w 1073848"/>
                <a:gd name="connsiteY522" fmla="*/ 597313 h 1057751"/>
                <a:gd name="connsiteX523" fmla="*/ 10763 w 1073848"/>
                <a:gd name="connsiteY523" fmla="*/ 599218 h 1057751"/>
                <a:gd name="connsiteX524" fmla="*/ 11239 w 1073848"/>
                <a:gd name="connsiteY524" fmla="*/ 602361 h 1057751"/>
                <a:gd name="connsiteX525" fmla="*/ 13335 w 1073848"/>
                <a:gd name="connsiteY525" fmla="*/ 606933 h 1057751"/>
                <a:gd name="connsiteX526" fmla="*/ 20669 w 1073848"/>
                <a:gd name="connsiteY526" fmla="*/ 613982 h 1057751"/>
                <a:gd name="connsiteX527" fmla="*/ 27432 w 1073848"/>
                <a:gd name="connsiteY527" fmla="*/ 616363 h 1057751"/>
                <a:gd name="connsiteX528" fmla="*/ 27813 w 1073848"/>
                <a:gd name="connsiteY528" fmla="*/ 619506 h 1057751"/>
                <a:gd name="connsiteX529" fmla="*/ 24098 w 1073848"/>
                <a:gd name="connsiteY529" fmla="*/ 627983 h 1057751"/>
                <a:gd name="connsiteX530" fmla="*/ 30766 w 1073848"/>
                <a:gd name="connsiteY530" fmla="*/ 630364 h 1057751"/>
                <a:gd name="connsiteX531" fmla="*/ 39052 w 1073848"/>
                <a:gd name="connsiteY531" fmla="*/ 632555 h 1057751"/>
                <a:gd name="connsiteX532" fmla="*/ 39529 w 1073848"/>
                <a:gd name="connsiteY532" fmla="*/ 635699 h 1057751"/>
                <a:gd name="connsiteX533" fmla="*/ 42863 w 1073848"/>
                <a:gd name="connsiteY533" fmla="*/ 636842 h 1057751"/>
                <a:gd name="connsiteX534" fmla="*/ 41910 w 1073848"/>
                <a:gd name="connsiteY534" fmla="*/ 641795 h 1057751"/>
                <a:gd name="connsiteX535" fmla="*/ 45815 w 1073848"/>
                <a:gd name="connsiteY535" fmla="*/ 647700 h 1057751"/>
                <a:gd name="connsiteX536" fmla="*/ 47625 w 1073848"/>
                <a:gd name="connsiteY536" fmla="*/ 649129 h 1057751"/>
                <a:gd name="connsiteX537" fmla="*/ 50578 w 1073848"/>
                <a:gd name="connsiteY537" fmla="*/ 647129 h 1057751"/>
                <a:gd name="connsiteX538" fmla="*/ 57912 w 1073848"/>
                <a:gd name="connsiteY538" fmla="*/ 654177 h 1057751"/>
                <a:gd name="connsiteX539" fmla="*/ 61817 w 1073848"/>
                <a:gd name="connsiteY539" fmla="*/ 660083 h 1057751"/>
                <a:gd name="connsiteX540" fmla="*/ 62484 w 1073848"/>
                <a:gd name="connsiteY540" fmla="*/ 664845 h 1057751"/>
                <a:gd name="connsiteX541" fmla="*/ 64008 w 1073848"/>
                <a:gd name="connsiteY541" fmla="*/ 664655 h 1057751"/>
                <a:gd name="connsiteX542" fmla="*/ 64198 w 1073848"/>
                <a:gd name="connsiteY542" fmla="*/ 666179 h 1057751"/>
                <a:gd name="connsiteX543" fmla="*/ 72485 w 1073848"/>
                <a:gd name="connsiteY543" fmla="*/ 668369 h 1057751"/>
                <a:gd name="connsiteX544" fmla="*/ 80581 w 1073848"/>
                <a:gd name="connsiteY544" fmla="*/ 656082 h 1057751"/>
                <a:gd name="connsiteX545" fmla="*/ 85153 w 1073848"/>
                <a:gd name="connsiteY545" fmla="*/ 653891 h 1057751"/>
                <a:gd name="connsiteX546" fmla="*/ 89440 w 1073848"/>
                <a:gd name="connsiteY546" fmla="*/ 650176 h 1057751"/>
                <a:gd name="connsiteX547" fmla="*/ 92583 w 1073848"/>
                <a:gd name="connsiteY547" fmla="*/ 649796 h 1057751"/>
                <a:gd name="connsiteX548" fmla="*/ 94012 w 1073848"/>
                <a:gd name="connsiteY548" fmla="*/ 647986 h 1057751"/>
                <a:gd name="connsiteX549" fmla="*/ 99917 w 1073848"/>
                <a:gd name="connsiteY549" fmla="*/ 643985 h 1057751"/>
                <a:gd name="connsiteX550" fmla="*/ 101917 w 1073848"/>
                <a:gd name="connsiteY550" fmla="*/ 646938 h 1057751"/>
                <a:gd name="connsiteX551" fmla="*/ 103251 w 1073848"/>
                <a:gd name="connsiteY551" fmla="*/ 645224 h 1057751"/>
                <a:gd name="connsiteX552" fmla="*/ 102298 w 1073848"/>
                <a:gd name="connsiteY552" fmla="*/ 650176 h 1057751"/>
                <a:gd name="connsiteX553" fmla="*/ 107251 w 1073848"/>
                <a:gd name="connsiteY553" fmla="*/ 651129 h 1057751"/>
                <a:gd name="connsiteX554" fmla="*/ 111538 w 1073848"/>
                <a:gd name="connsiteY554" fmla="*/ 660178 h 1057751"/>
                <a:gd name="connsiteX555" fmla="*/ 113728 w 1073848"/>
                <a:gd name="connsiteY555" fmla="*/ 664750 h 1057751"/>
                <a:gd name="connsiteX556" fmla="*/ 122491 w 1073848"/>
                <a:gd name="connsiteY556" fmla="*/ 669988 h 1057751"/>
                <a:gd name="connsiteX557" fmla="*/ 121063 w 1073848"/>
                <a:gd name="connsiteY557" fmla="*/ 671798 h 1057751"/>
                <a:gd name="connsiteX558" fmla="*/ 126016 w 1073848"/>
                <a:gd name="connsiteY558" fmla="*/ 672751 h 1057751"/>
                <a:gd name="connsiteX559" fmla="*/ 127159 w 1073848"/>
                <a:gd name="connsiteY559" fmla="*/ 669417 h 1057751"/>
                <a:gd name="connsiteX560" fmla="*/ 128968 w 1073848"/>
                <a:gd name="connsiteY560" fmla="*/ 670751 h 1057751"/>
                <a:gd name="connsiteX561" fmla="*/ 137255 w 1073848"/>
                <a:gd name="connsiteY561" fmla="*/ 672941 h 1057751"/>
                <a:gd name="connsiteX562" fmla="*/ 152019 w 1073848"/>
                <a:gd name="connsiteY562" fmla="*/ 675894 h 1057751"/>
                <a:gd name="connsiteX563" fmla="*/ 151447 w 1073848"/>
                <a:gd name="connsiteY563" fmla="*/ 683990 h 1057751"/>
                <a:gd name="connsiteX564" fmla="*/ 147161 w 1073848"/>
                <a:gd name="connsiteY564" fmla="*/ 687705 h 1057751"/>
                <a:gd name="connsiteX565" fmla="*/ 151162 w 1073848"/>
                <a:gd name="connsiteY565" fmla="*/ 693611 h 1057751"/>
                <a:gd name="connsiteX566" fmla="*/ 150114 w 1073848"/>
                <a:gd name="connsiteY566" fmla="*/ 698563 h 1057751"/>
                <a:gd name="connsiteX567" fmla="*/ 137160 w 1073848"/>
                <a:gd name="connsiteY567" fmla="*/ 697039 h 1057751"/>
                <a:gd name="connsiteX568" fmla="*/ 133731 w 1073848"/>
                <a:gd name="connsiteY568" fmla="*/ 695801 h 1057751"/>
                <a:gd name="connsiteX569" fmla="*/ 132207 w 1073848"/>
                <a:gd name="connsiteY569" fmla="*/ 696087 h 1057751"/>
                <a:gd name="connsiteX570" fmla="*/ 136112 w 1073848"/>
                <a:gd name="connsiteY570" fmla="*/ 701993 h 1057751"/>
                <a:gd name="connsiteX571" fmla="*/ 142684 w 1073848"/>
                <a:gd name="connsiteY571" fmla="*/ 702755 h 1057751"/>
                <a:gd name="connsiteX572" fmla="*/ 148209 w 1073848"/>
                <a:gd name="connsiteY572" fmla="*/ 708470 h 1057751"/>
                <a:gd name="connsiteX573" fmla="*/ 153734 w 1073848"/>
                <a:gd name="connsiteY573" fmla="*/ 701326 h 1057751"/>
                <a:gd name="connsiteX574" fmla="*/ 163163 w 1073848"/>
                <a:gd name="connsiteY574" fmla="*/ 700088 h 1057751"/>
                <a:gd name="connsiteX575" fmla="*/ 166497 w 1073848"/>
                <a:gd name="connsiteY575" fmla="*/ 701326 h 1057751"/>
                <a:gd name="connsiteX576" fmla="*/ 168688 w 1073848"/>
                <a:gd name="connsiteY576" fmla="*/ 705803 h 1057751"/>
                <a:gd name="connsiteX577" fmla="*/ 171831 w 1073848"/>
                <a:gd name="connsiteY577" fmla="*/ 705422 h 1057751"/>
                <a:gd name="connsiteX578" fmla="*/ 174403 w 1073848"/>
                <a:gd name="connsiteY578" fmla="*/ 713137 h 1057751"/>
                <a:gd name="connsiteX579" fmla="*/ 176213 w 1073848"/>
                <a:gd name="connsiteY579" fmla="*/ 714470 h 1057751"/>
                <a:gd name="connsiteX580" fmla="*/ 176403 w 1073848"/>
                <a:gd name="connsiteY580" fmla="*/ 716089 h 1057751"/>
                <a:gd name="connsiteX581" fmla="*/ 175069 w 1073848"/>
                <a:gd name="connsiteY581" fmla="*/ 717804 h 1057751"/>
                <a:gd name="connsiteX582" fmla="*/ 177832 w 1073848"/>
                <a:gd name="connsiteY582" fmla="*/ 727138 h 1057751"/>
                <a:gd name="connsiteX583" fmla="*/ 176689 w 1073848"/>
                <a:gd name="connsiteY583" fmla="*/ 730472 h 1057751"/>
                <a:gd name="connsiteX584" fmla="*/ 184975 w 1073848"/>
                <a:gd name="connsiteY584" fmla="*/ 732568 h 1057751"/>
                <a:gd name="connsiteX585" fmla="*/ 191643 w 1073848"/>
                <a:gd name="connsiteY585" fmla="*/ 734949 h 1057751"/>
                <a:gd name="connsiteX586" fmla="*/ 194977 w 1073848"/>
                <a:gd name="connsiteY586" fmla="*/ 736187 h 1057751"/>
                <a:gd name="connsiteX587" fmla="*/ 204121 w 1073848"/>
                <a:gd name="connsiteY587" fmla="*/ 731806 h 1057751"/>
                <a:gd name="connsiteX588" fmla="*/ 213741 w 1073848"/>
                <a:gd name="connsiteY588" fmla="*/ 719328 h 1057751"/>
                <a:gd name="connsiteX589" fmla="*/ 213169 w 1073848"/>
                <a:gd name="connsiteY589" fmla="*/ 714566 h 1057751"/>
                <a:gd name="connsiteX590" fmla="*/ 218027 w 1073848"/>
                <a:gd name="connsiteY590" fmla="*/ 715613 h 1057751"/>
                <a:gd name="connsiteX591" fmla="*/ 224409 w 1073848"/>
                <a:gd name="connsiteY591" fmla="*/ 727615 h 1057751"/>
                <a:gd name="connsiteX592" fmla="*/ 225552 w 1073848"/>
                <a:gd name="connsiteY592" fmla="*/ 724186 h 1057751"/>
                <a:gd name="connsiteX593" fmla="*/ 231934 w 1073848"/>
                <a:gd name="connsiteY593" fmla="*/ 723424 h 1057751"/>
                <a:gd name="connsiteX594" fmla="*/ 240601 w 1073848"/>
                <a:gd name="connsiteY594" fmla="*/ 728758 h 1057751"/>
                <a:gd name="connsiteX595" fmla="*/ 243745 w 1073848"/>
                <a:gd name="connsiteY595" fmla="*/ 728377 h 1057751"/>
                <a:gd name="connsiteX596" fmla="*/ 248888 w 1073848"/>
                <a:gd name="connsiteY596" fmla="*/ 730853 h 1057751"/>
                <a:gd name="connsiteX597" fmla="*/ 250222 w 1073848"/>
                <a:gd name="connsiteY597" fmla="*/ 729139 h 1057751"/>
                <a:gd name="connsiteX598" fmla="*/ 260890 w 1073848"/>
                <a:gd name="connsiteY598" fmla="*/ 737330 h 1057751"/>
                <a:gd name="connsiteX599" fmla="*/ 258223 w 1073848"/>
                <a:gd name="connsiteY599" fmla="*/ 740950 h 1057751"/>
                <a:gd name="connsiteX600" fmla="*/ 259937 w 1073848"/>
                <a:gd name="connsiteY600" fmla="*/ 742283 h 1057751"/>
                <a:gd name="connsiteX601" fmla="*/ 257651 w 1073848"/>
                <a:gd name="connsiteY601" fmla="*/ 749046 h 1057751"/>
                <a:gd name="connsiteX602" fmla="*/ 262128 w 1073848"/>
                <a:gd name="connsiteY602" fmla="*/ 746855 h 1057751"/>
                <a:gd name="connsiteX603" fmla="*/ 261747 w 1073848"/>
                <a:gd name="connsiteY603" fmla="*/ 743712 h 1057751"/>
                <a:gd name="connsiteX604" fmla="*/ 266033 w 1073848"/>
                <a:gd name="connsiteY604" fmla="*/ 739902 h 1057751"/>
                <a:gd name="connsiteX605" fmla="*/ 269462 w 1073848"/>
                <a:gd name="connsiteY605" fmla="*/ 741140 h 1057751"/>
                <a:gd name="connsiteX606" fmla="*/ 271367 w 1073848"/>
                <a:gd name="connsiteY606" fmla="*/ 744093 h 1057751"/>
                <a:gd name="connsiteX607" fmla="*/ 275939 w 1073848"/>
                <a:gd name="connsiteY607" fmla="*/ 741902 h 1057751"/>
                <a:gd name="connsiteX608" fmla="*/ 280035 w 1073848"/>
                <a:gd name="connsiteY608" fmla="*/ 736568 h 1057751"/>
                <a:gd name="connsiteX609" fmla="*/ 286417 w 1073848"/>
                <a:gd name="connsiteY609" fmla="*/ 735711 h 1057751"/>
                <a:gd name="connsiteX610" fmla="*/ 295084 w 1073848"/>
                <a:gd name="connsiteY610" fmla="*/ 741045 h 1057751"/>
                <a:gd name="connsiteX611" fmla="*/ 301180 w 1073848"/>
                <a:gd name="connsiteY611" fmla="*/ 738664 h 1057751"/>
                <a:gd name="connsiteX612" fmla="*/ 300609 w 1073848"/>
                <a:gd name="connsiteY612" fmla="*/ 733901 h 1057751"/>
                <a:gd name="connsiteX613" fmla="*/ 305276 w 1073848"/>
                <a:gd name="connsiteY613" fmla="*/ 733330 h 1057751"/>
                <a:gd name="connsiteX614" fmla="*/ 307276 w 1073848"/>
                <a:gd name="connsiteY614" fmla="*/ 736283 h 1057751"/>
                <a:gd name="connsiteX615" fmla="*/ 310420 w 1073848"/>
                <a:gd name="connsiteY615" fmla="*/ 735901 h 1057751"/>
                <a:gd name="connsiteX616" fmla="*/ 313372 w 1073848"/>
                <a:gd name="connsiteY616" fmla="*/ 733901 h 1057751"/>
                <a:gd name="connsiteX617" fmla="*/ 320135 w 1073848"/>
                <a:gd name="connsiteY617" fmla="*/ 736283 h 1057751"/>
                <a:gd name="connsiteX618" fmla="*/ 323659 w 1073848"/>
                <a:gd name="connsiteY618" fmla="*/ 739045 h 1057751"/>
                <a:gd name="connsiteX619" fmla="*/ 323088 w 1073848"/>
                <a:gd name="connsiteY619" fmla="*/ 747046 h 1057751"/>
                <a:gd name="connsiteX620" fmla="*/ 324326 w 1073848"/>
                <a:gd name="connsiteY620" fmla="*/ 756571 h 1057751"/>
                <a:gd name="connsiteX621" fmla="*/ 326517 w 1073848"/>
                <a:gd name="connsiteY621" fmla="*/ 761047 h 1057751"/>
                <a:gd name="connsiteX622" fmla="*/ 325088 w 1073848"/>
                <a:gd name="connsiteY622" fmla="*/ 762857 h 1057751"/>
                <a:gd name="connsiteX623" fmla="*/ 328517 w 1073848"/>
                <a:gd name="connsiteY623" fmla="*/ 764000 h 1057751"/>
                <a:gd name="connsiteX624" fmla="*/ 324517 w 1073848"/>
                <a:gd name="connsiteY624" fmla="*/ 770954 h 1057751"/>
                <a:gd name="connsiteX625" fmla="*/ 324993 w 1073848"/>
                <a:gd name="connsiteY625" fmla="*/ 774097 h 1057751"/>
                <a:gd name="connsiteX626" fmla="*/ 320992 w 1073848"/>
                <a:gd name="connsiteY626" fmla="*/ 781050 h 1057751"/>
                <a:gd name="connsiteX627" fmla="*/ 321850 w 1073848"/>
                <a:gd name="connsiteY627" fmla="*/ 787337 h 1057751"/>
                <a:gd name="connsiteX628" fmla="*/ 321850 w 1073848"/>
                <a:gd name="connsiteY628" fmla="*/ 787337 h 1057751"/>
                <a:gd name="connsiteX629" fmla="*/ 317849 w 1073848"/>
                <a:gd name="connsiteY629" fmla="*/ 794290 h 1057751"/>
                <a:gd name="connsiteX630" fmla="*/ 321088 w 1073848"/>
                <a:gd name="connsiteY630" fmla="*/ 793813 h 1057751"/>
                <a:gd name="connsiteX631" fmla="*/ 324421 w 1073848"/>
                <a:gd name="connsiteY631" fmla="*/ 795052 h 1057751"/>
                <a:gd name="connsiteX632" fmla="*/ 324993 w 1073848"/>
                <a:gd name="connsiteY632" fmla="*/ 799814 h 1057751"/>
                <a:gd name="connsiteX633" fmla="*/ 327565 w 1073848"/>
                <a:gd name="connsiteY633" fmla="*/ 807434 h 1057751"/>
                <a:gd name="connsiteX634" fmla="*/ 329565 w 1073848"/>
                <a:gd name="connsiteY634" fmla="*/ 810387 h 1057751"/>
                <a:gd name="connsiteX635" fmla="*/ 332708 w 1073848"/>
                <a:gd name="connsiteY635" fmla="*/ 810006 h 1057751"/>
                <a:gd name="connsiteX636" fmla="*/ 330517 w 1073848"/>
                <a:gd name="connsiteY636" fmla="*/ 805434 h 1057751"/>
                <a:gd name="connsiteX637" fmla="*/ 333946 w 1073848"/>
                <a:gd name="connsiteY637" fmla="*/ 806672 h 1057751"/>
                <a:gd name="connsiteX638" fmla="*/ 335470 w 1073848"/>
                <a:gd name="connsiteY638" fmla="*/ 806482 h 1057751"/>
                <a:gd name="connsiteX639" fmla="*/ 334518 w 1073848"/>
                <a:gd name="connsiteY639" fmla="*/ 811435 h 1057751"/>
                <a:gd name="connsiteX640" fmla="*/ 341471 w 1073848"/>
                <a:gd name="connsiteY640" fmla="*/ 815340 h 1057751"/>
                <a:gd name="connsiteX641" fmla="*/ 342614 w 1073848"/>
                <a:gd name="connsiteY641" fmla="*/ 812006 h 1057751"/>
                <a:gd name="connsiteX642" fmla="*/ 346329 w 1073848"/>
                <a:gd name="connsiteY642" fmla="*/ 816293 h 1057751"/>
                <a:gd name="connsiteX643" fmla="*/ 348710 w 1073848"/>
                <a:gd name="connsiteY643" fmla="*/ 822388 h 1057751"/>
                <a:gd name="connsiteX644" fmla="*/ 347758 w 1073848"/>
                <a:gd name="connsiteY644" fmla="*/ 827342 h 1057751"/>
                <a:gd name="connsiteX645" fmla="*/ 354711 w 1073848"/>
                <a:gd name="connsiteY645" fmla="*/ 831247 h 1057751"/>
                <a:gd name="connsiteX646" fmla="*/ 357854 w 1073848"/>
                <a:gd name="connsiteY646" fmla="*/ 830866 h 1057751"/>
                <a:gd name="connsiteX647" fmla="*/ 359378 w 1073848"/>
                <a:gd name="connsiteY647" fmla="*/ 830675 h 1057751"/>
                <a:gd name="connsiteX648" fmla="*/ 366331 w 1073848"/>
                <a:gd name="connsiteY648" fmla="*/ 834580 h 1057751"/>
                <a:gd name="connsiteX649" fmla="*/ 370046 w 1073848"/>
                <a:gd name="connsiteY649" fmla="*/ 838962 h 1057751"/>
                <a:gd name="connsiteX650" fmla="*/ 378619 w 1073848"/>
                <a:gd name="connsiteY650" fmla="*/ 842677 h 1057751"/>
                <a:gd name="connsiteX651" fmla="*/ 377857 w 1073848"/>
                <a:gd name="connsiteY651" fmla="*/ 849154 h 1057751"/>
                <a:gd name="connsiteX652" fmla="*/ 379571 w 1073848"/>
                <a:gd name="connsiteY652" fmla="*/ 850583 h 1057751"/>
                <a:gd name="connsiteX653" fmla="*/ 382143 w 1073848"/>
                <a:gd name="connsiteY653" fmla="*/ 845439 h 1057751"/>
                <a:gd name="connsiteX654" fmla="*/ 384334 w 1073848"/>
                <a:gd name="connsiteY654" fmla="*/ 837152 h 1057751"/>
                <a:gd name="connsiteX655" fmla="*/ 385858 w 1073848"/>
                <a:gd name="connsiteY655" fmla="*/ 836962 h 1057751"/>
                <a:gd name="connsiteX656" fmla="*/ 387286 w 1073848"/>
                <a:gd name="connsiteY656" fmla="*/ 835152 h 1057751"/>
                <a:gd name="connsiteX657" fmla="*/ 390239 w 1073848"/>
                <a:gd name="connsiteY657" fmla="*/ 833152 h 1057751"/>
                <a:gd name="connsiteX658" fmla="*/ 393382 w 1073848"/>
                <a:gd name="connsiteY658" fmla="*/ 832771 h 1057751"/>
                <a:gd name="connsiteX659" fmla="*/ 396907 w 1073848"/>
                <a:gd name="connsiteY659" fmla="*/ 835533 h 1057751"/>
                <a:gd name="connsiteX660" fmla="*/ 404622 w 1073848"/>
                <a:gd name="connsiteY660" fmla="*/ 845725 h 1057751"/>
                <a:gd name="connsiteX661" fmla="*/ 406241 w 1073848"/>
                <a:gd name="connsiteY661" fmla="*/ 845534 h 1057751"/>
                <a:gd name="connsiteX662" fmla="*/ 408241 w 1073848"/>
                <a:gd name="connsiteY662" fmla="*/ 848487 h 1057751"/>
                <a:gd name="connsiteX663" fmla="*/ 409575 w 1073848"/>
                <a:gd name="connsiteY663" fmla="*/ 846772 h 1057751"/>
                <a:gd name="connsiteX664" fmla="*/ 412909 w 1073848"/>
                <a:gd name="connsiteY664" fmla="*/ 847916 h 1057751"/>
                <a:gd name="connsiteX665" fmla="*/ 412528 w 1073848"/>
                <a:gd name="connsiteY665" fmla="*/ 844772 h 1057751"/>
                <a:gd name="connsiteX666" fmla="*/ 423958 w 1073848"/>
                <a:gd name="connsiteY666" fmla="*/ 846487 h 1057751"/>
                <a:gd name="connsiteX667" fmla="*/ 430530 w 1073848"/>
                <a:gd name="connsiteY667" fmla="*/ 847249 h 1057751"/>
                <a:gd name="connsiteX668" fmla="*/ 435388 w 1073848"/>
                <a:gd name="connsiteY668" fmla="*/ 848201 h 1057751"/>
                <a:gd name="connsiteX669" fmla="*/ 442150 w 1073848"/>
                <a:gd name="connsiteY669" fmla="*/ 837819 h 1057751"/>
                <a:gd name="connsiteX670" fmla="*/ 443484 w 1073848"/>
                <a:gd name="connsiteY670" fmla="*/ 836009 h 1057751"/>
                <a:gd name="connsiteX671" fmla="*/ 451580 w 1073848"/>
                <a:gd name="connsiteY671" fmla="*/ 836581 h 1057751"/>
                <a:gd name="connsiteX672" fmla="*/ 455295 w 1073848"/>
                <a:gd name="connsiteY672" fmla="*/ 840867 h 1057751"/>
                <a:gd name="connsiteX673" fmla="*/ 455581 w 1073848"/>
                <a:gd name="connsiteY673" fmla="*/ 842486 h 1057751"/>
                <a:gd name="connsiteX674" fmla="*/ 460438 w 1073848"/>
                <a:gd name="connsiteY674" fmla="*/ 843439 h 1057751"/>
                <a:gd name="connsiteX675" fmla="*/ 463201 w 1073848"/>
                <a:gd name="connsiteY675" fmla="*/ 839914 h 1057751"/>
                <a:gd name="connsiteX676" fmla="*/ 459486 w 1073848"/>
                <a:gd name="connsiteY676" fmla="*/ 835533 h 1057751"/>
                <a:gd name="connsiteX677" fmla="*/ 460438 w 1073848"/>
                <a:gd name="connsiteY677" fmla="*/ 830675 h 1057751"/>
                <a:gd name="connsiteX678" fmla="*/ 463772 w 1073848"/>
                <a:gd name="connsiteY678" fmla="*/ 831818 h 1057751"/>
                <a:gd name="connsiteX679" fmla="*/ 466725 w 1073848"/>
                <a:gd name="connsiteY679" fmla="*/ 829818 h 1057751"/>
                <a:gd name="connsiteX680" fmla="*/ 473869 w 1073848"/>
                <a:gd name="connsiteY680" fmla="*/ 835343 h 1057751"/>
                <a:gd name="connsiteX681" fmla="*/ 473107 w 1073848"/>
                <a:gd name="connsiteY681" fmla="*/ 841820 h 1057751"/>
                <a:gd name="connsiteX682" fmla="*/ 475488 w 1073848"/>
                <a:gd name="connsiteY682" fmla="*/ 835152 h 1057751"/>
                <a:gd name="connsiteX683" fmla="*/ 482155 w 1073848"/>
                <a:gd name="connsiteY683" fmla="*/ 837438 h 1057751"/>
                <a:gd name="connsiteX684" fmla="*/ 483394 w 1073848"/>
                <a:gd name="connsiteY684" fmla="*/ 846963 h 1057751"/>
                <a:gd name="connsiteX685" fmla="*/ 485775 w 1073848"/>
                <a:gd name="connsiteY685" fmla="*/ 853059 h 1057751"/>
                <a:gd name="connsiteX686" fmla="*/ 483965 w 1073848"/>
                <a:gd name="connsiteY686" fmla="*/ 851726 h 1057751"/>
                <a:gd name="connsiteX687" fmla="*/ 476059 w 1073848"/>
                <a:gd name="connsiteY687" fmla="*/ 852678 h 1057751"/>
                <a:gd name="connsiteX688" fmla="*/ 474726 w 1073848"/>
                <a:gd name="connsiteY688" fmla="*/ 854488 h 1057751"/>
                <a:gd name="connsiteX689" fmla="*/ 478250 w 1073848"/>
                <a:gd name="connsiteY689" fmla="*/ 857250 h 1057751"/>
                <a:gd name="connsiteX690" fmla="*/ 487585 w 1073848"/>
                <a:gd name="connsiteY690" fmla="*/ 867251 h 1057751"/>
                <a:gd name="connsiteX691" fmla="*/ 488918 w 1073848"/>
                <a:gd name="connsiteY691" fmla="*/ 865442 h 1057751"/>
                <a:gd name="connsiteX692" fmla="*/ 487204 w 1073848"/>
                <a:gd name="connsiteY692" fmla="*/ 864108 h 1057751"/>
                <a:gd name="connsiteX693" fmla="*/ 490156 w 1073848"/>
                <a:gd name="connsiteY693" fmla="*/ 862108 h 1057751"/>
                <a:gd name="connsiteX694" fmla="*/ 498443 w 1073848"/>
                <a:gd name="connsiteY694" fmla="*/ 864299 h 1057751"/>
                <a:gd name="connsiteX695" fmla="*/ 500348 w 1073848"/>
                <a:gd name="connsiteY695" fmla="*/ 867251 h 1057751"/>
                <a:gd name="connsiteX696" fmla="*/ 495681 w 1073848"/>
                <a:gd name="connsiteY696" fmla="*/ 867823 h 1057751"/>
                <a:gd name="connsiteX697" fmla="*/ 492919 w 1073848"/>
                <a:gd name="connsiteY697" fmla="*/ 871347 h 1057751"/>
                <a:gd name="connsiteX698" fmla="*/ 507778 w 1073848"/>
                <a:gd name="connsiteY698" fmla="*/ 887159 h 1057751"/>
                <a:gd name="connsiteX699" fmla="*/ 499872 w 1073848"/>
                <a:gd name="connsiteY699" fmla="*/ 888111 h 1057751"/>
                <a:gd name="connsiteX700" fmla="*/ 503777 w 1073848"/>
                <a:gd name="connsiteY700" fmla="*/ 894017 h 1057751"/>
                <a:gd name="connsiteX701" fmla="*/ 504444 w 1073848"/>
                <a:gd name="connsiteY701" fmla="*/ 898779 h 1057751"/>
                <a:gd name="connsiteX702" fmla="*/ 501682 w 1073848"/>
                <a:gd name="connsiteY702" fmla="*/ 902399 h 1057751"/>
                <a:gd name="connsiteX703" fmla="*/ 495395 w 1073848"/>
                <a:gd name="connsiteY703" fmla="*/ 903161 h 1057751"/>
                <a:gd name="connsiteX704" fmla="*/ 493586 w 1073848"/>
                <a:gd name="connsiteY704" fmla="*/ 901827 h 1057751"/>
                <a:gd name="connsiteX705" fmla="*/ 492157 w 1073848"/>
                <a:gd name="connsiteY705" fmla="*/ 903542 h 1057751"/>
                <a:gd name="connsiteX706" fmla="*/ 490442 w 1073848"/>
                <a:gd name="connsiteY706" fmla="*/ 902208 h 1057751"/>
                <a:gd name="connsiteX707" fmla="*/ 482536 w 1073848"/>
                <a:gd name="connsiteY707" fmla="*/ 903161 h 1057751"/>
                <a:gd name="connsiteX708" fmla="*/ 472249 w 1073848"/>
                <a:gd name="connsiteY708" fmla="*/ 898112 h 1057751"/>
                <a:gd name="connsiteX709" fmla="*/ 471297 w 1073848"/>
                <a:gd name="connsiteY709" fmla="*/ 902970 h 1057751"/>
                <a:gd name="connsiteX710" fmla="*/ 475202 w 1073848"/>
                <a:gd name="connsiteY710" fmla="*/ 908971 h 1057751"/>
                <a:gd name="connsiteX711" fmla="*/ 474631 w 1073848"/>
                <a:gd name="connsiteY711" fmla="*/ 916972 h 1057751"/>
                <a:gd name="connsiteX712" fmla="*/ 471106 w 1073848"/>
                <a:gd name="connsiteY712" fmla="*/ 914305 h 1057751"/>
                <a:gd name="connsiteX713" fmla="*/ 463391 w 1073848"/>
                <a:gd name="connsiteY713" fmla="*/ 916876 h 1057751"/>
                <a:gd name="connsiteX714" fmla="*/ 465201 w 1073848"/>
                <a:gd name="connsiteY714" fmla="*/ 918210 h 1057751"/>
                <a:gd name="connsiteX715" fmla="*/ 467011 w 1073848"/>
                <a:gd name="connsiteY715" fmla="*/ 919639 h 1057751"/>
                <a:gd name="connsiteX716" fmla="*/ 466153 w 1073848"/>
                <a:gd name="connsiteY716" fmla="*/ 926116 h 1057751"/>
                <a:gd name="connsiteX717" fmla="*/ 471297 w 1073848"/>
                <a:gd name="connsiteY717" fmla="*/ 928688 h 1057751"/>
                <a:gd name="connsiteX718" fmla="*/ 469201 w 1073848"/>
                <a:gd name="connsiteY718" fmla="*/ 936974 h 1057751"/>
                <a:gd name="connsiteX719" fmla="*/ 463105 w 1073848"/>
                <a:gd name="connsiteY719" fmla="*/ 939355 h 1057751"/>
                <a:gd name="connsiteX720" fmla="*/ 455200 w 1073848"/>
                <a:gd name="connsiteY720" fmla="*/ 940308 h 1057751"/>
                <a:gd name="connsiteX721" fmla="*/ 454057 w 1073848"/>
                <a:gd name="connsiteY721" fmla="*/ 943737 h 1057751"/>
                <a:gd name="connsiteX722" fmla="*/ 455962 w 1073848"/>
                <a:gd name="connsiteY722" fmla="*/ 946690 h 1057751"/>
                <a:gd name="connsiteX723" fmla="*/ 454628 w 1073848"/>
                <a:gd name="connsiteY723" fmla="*/ 948404 h 1057751"/>
                <a:gd name="connsiteX724" fmla="*/ 457962 w 1073848"/>
                <a:gd name="connsiteY724" fmla="*/ 949643 h 1057751"/>
                <a:gd name="connsiteX725" fmla="*/ 455390 w 1073848"/>
                <a:gd name="connsiteY725" fmla="*/ 954786 h 1057751"/>
                <a:gd name="connsiteX726" fmla="*/ 457200 w 1073848"/>
                <a:gd name="connsiteY726" fmla="*/ 956120 h 1057751"/>
                <a:gd name="connsiteX727" fmla="*/ 454247 w 1073848"/>
                <a:gd name="connsiteY727" fmla="*/ 958120 h 1057751"/>
                <a:gd name="connsiteX728" fmla="*/ 453104 w 1073848"/>
                <a:gd name="connsiteY728" fmla="*/ 961454 h 1057751"/>
                <a:gd name="connsiteX729" fmla="*/ 448151 w 1073848"/>
                <a:gd name="connsiteY729" fmla="*/ 960501 h 1057751"/>
                <a:gd name="connsiteX730" fmla="*/ 449104 w 1073848"/>
                <a:gd name="connsiteY730" fmla="*/ 968407 h 1057751"/>
                <a:gd name="connsiteX731" fmla="*/ 447389 w 1073848"/>
                <a:gd name="connsiteY731" fmla="*/ 966978 h 1057751"/>
                <a:gd name="connsiteX732" fmla="*/ 443960 w 1073848"/>
                <a:gd name="connsiteY732" fmla="*/ 965835 h 1057751"/>
                <a:gd name="connsiteX733" fmla="*/ 442436 w 1073848"/>
                <a:gd name="connsiteY733" fmla="*/ 966026 h 1057751"/>
                <a:gd name="connsiteX734" fmla="*/ 441484 w 1073848"/>
                <a:gd name="connsiteY734" fmla="*/ 970979 h 1057751"/>
                <a:gd name="connsiteX735" fmla="*/ 438912 w 1073848"/>
                <a:gd name="connsiteY735" fmla="*/ 976122 h 1057751"/>
                <a:gd name="connsiteX736" fmla="*/ 434149 w 1073848"/>
                <a:gd name="connsiteY736" fmla="*/ 976693 h 1057751"/>
                <a:gd name="connsiteX737" fmla="*/ 428053 w 1073848"/>
                <a:gd name="connsiteY737" fmla="*/ 979075 h 1057751"/>
                <a:gd name="connsiteX738" fmla="*/ 430435 w 1073848"/>
                <a:gd name="connsiteY738" fmla="*/ 985171 h 1057751"/>
                <a:gd name="connsiteX739" fmla="*/ 426053 w 1073848"/>
                <a:gd name="connsiteY739" fmla="*/ 988981 h 1057751"/>
                <a:gd name="connsiteX740" fmla="*/ 430435 w 1073848"/>
                <a:gd name="connsiteY740" fmla="*/ 998030 h 1057751"/>
                <a:gd name="connsiteX741" fmla="*/ 432054 w 1073848"/>
                <a:gd name="connsiteY741" fmla="*/ 997839 h 1057751"/>
                <a:gd name="connsiteX742" fmla="*/ 433197 w 1073848"/>
                <a:gd name="connsiteY742" fmla="*/ 994505 h 1057751"/>
                <a:gd name="connsiteX743" fmla="*/ 437959 w 1073848"/>
                <a:gd name="connsiteY743" fmla="*/ 993838 h 1057751"/>
                <a:gd name="connsiteX744" fmla="*/ 441865 w 1073848"/>
                <a:gd name="connsiteY744" fmla="*/ 986980 h 1057751"/>
                <a:gd name="connsiteX745" fmla="*/ 448627 w 1073848"/>
                <a:gd name="connsiteY745" fmla="*/ 989267 h 1057751"/>
                <a:gd name="connsiteX746" fmla="*/ 451961 w 1073848"/>
                <a:gd name="connsiteY746" fmla="*/ 990505 h 1057751"/>
                <a:gd name="connsiteX747" fmla="*/ 454342 w 1073848"/>
                <a:gd name="connsiteY747" fmla="*/ 996601 h 1057751"/>
                <a:gd name="connsiteX748" fmla="*/ 452914 w 1073848"/>
                <a:gd name="connsiteY748" fmla="*/ 998411 h 1057751"/>
                <a:gd name="connsiteX749" fmla="*/ 452152 w 1073848"/>
                <a:gd name="connsiteY749" fmla="*/ 1004888 h 1057751"/>
                <a:gd name="connsiteX750" fmla="*/ 451199 w 1073848"/>
                <a:gd name="connsiteY750" fmla="*/ 1009841 h 1057751"/>
                <a:gd name="connsiteX751" fmla="*/ 453199 w 1073848"/>
                <a:gd name="connsiteY751" fmla="*/ 1012793 h 1057751"/>
                <a:gd name="connsiteX752" fmla="*/ 456724 w 1073848"/>
                <a:gd name="connsiteY752" fmla="*/ 1015555 h 1057751"/>
                <a:gd name="connsiteX753" fmla="*/ 467963 w 1073848"/>
                <a:gd name="connsiteY753" fmla="*/ 1015651 h 1057751"/>
                <a:gd name="connsiteX754" fmla="*/ 471106 w 1073848"/>
                <a:gd name="connsiteY754" fmla="*/ 1015270 h 1057751"/>
                <a:gd name="connsiteX755" fmla="*/ 483013 w 1073848"/>
                <a:gd name="connsiteY755" fmla="*/ 1020223 h 1057751"/>
                <a:gd name="connsiteX756" fmla="*/ 493300 w 1073848"/>
                <a:gd name="connsiteY756" fmla="*/ 1025271 h 1057751"/>
                <a:gd name="connsiteX757" fmla="*/ 492061 w 1073848"/>
                <a:gd name="connsiteY757" fmla="*/ 1028700 h 1057751"/>
                <a:gd name="connsiteX758" fmla="*/ 492538 w 1073848"/>
                <a:gd name="connsiteY758" fmla="*/ 1031843 h 1057751"/>
                <a:gd name="connsiteX759" fmla="*/ 489585 w 1073848"/>
                <a:gd name="connsiteY759" fmla="*/ 1033748 h 1057751"/>
                <a:gd name="connsiteX760" fmla="*/ 488347 w 1073848"/>
                <a:gd name="connsiteY760" fmla="*/ 1037177 h 1057751"/>
                <a:gd name="connsiteX761" fmla="*/ 497300 w 1073848"/>
                <a:gd name="connsiteY761" fmla="*/ 1044035 h 1057751"/>
                <a:gd name="connsiteX762" fmla="*/ 503206 w 1073848"/>
                <a:gd name="connsiteY762" fmla="*/ 1040035 h 1057751"/>
                <a:gd name="connsiteX763" fmla="*/ 500063 w 1073848"/>
                <a:gd name="connsiteY763" fmla="*/ 1040511 h 1057751"/>
                <a:gd name="connsiteX764" fmla="*/ 499586 w 1073848"/>
                <a:gd name="connsiteY764" fmla="*/ 1037368 h 1057751"/>
                <a:gd name="connsiteX765" fmla="*/ 496443 w 1073848"/>
                <a:gd name="connsiteY765" fmla="*/ 1037749 h 1057751"/>
                <a:gd name="connsiteX766" fmla="*/ 493109 w 1073848"/>
                <a:gd name="connsiteY766" fmla="*/ 1036511 h 1057751"/>
                <a:gd name="connsiteX767" fmla="*/ 499396 w 1073848"/>
                <a:gd name="connsiteY767" fmla="*/ 1035749 h 1057751"/>
                <a:gd name="connsiteX768" fmla="*/ 511492 w 1073848"/>
                <a:gd name="connsiteY768" fmla="*/ 1042226 h 1057751"/>
                <a:gd name="connsiteX769" fmla="*/ 508921 w 1073848"/>
                <a:gd name="connsiteY769" fmla="*/ 1034510 h 1057751"/>
                <a:gd name="connsiteX770" fmla="*/ 515017 w 1073848"/>
                <a:gd name="connsiteY770" fmla="*/ 1032129 h 1057751"/>
                <a:gd name="connsiteX771" fmla="*/ 518541 w 1073848"/>
                <a:gd name="connsiteY771" fmla="*/ 1034891 h 1057751"/>
                <a:gd name="connsiteX772" fmla="*/ 520732 w 1073848"/>
                <a:gd name="connsiteY772" fmla="*/ 1039463 h 1057751"/>
                <a:gd name="connsiteX773" fmla="*/ 524065 w 1073848"/>
                <a:gd name="connsiteY773" fmla="*/ 1040606 h 1057751"/>
                <a:gd name="connsiteX774" fmla="*/ 521780 w 1073848"/>
                <a:gd name="connsiteY774" fmla="*/ 1047369 h 1057751"/>
                <a:gd name="connsiteX775" fmla="*/ 523684 w 1073848"/>
                <a:gd name="connsiteY775" fmla="*/ 1050322 h 1057751"/>
                <a:gd name="connsiteX776" fmla="*/ 528828 w 1073848"/>
                <a:gd name="connsiteY776" fmla="*/ 1052893 h 1057751"/>
                <a:gd name="connsiteX777" fmla="*/ 531971 w 1073848"/>
                <a:gd name="connsiteY777" fmla="*/ 1052417 h 1057751"/>
                <a:gd name="connsiteX778" fmla="*/ 534924 w 1073848"/>
                <a:gd name="connsiteY778" fmla="*/ 1050417 h 1057751"/>
                <a:gd name="connsiteX779" fmla="*/ 537305 w 1073848"/>
                <a:gd name="connsiteY779" fmla="*/ 1056608 h 1057751"/>
                <a:gd name="connsiteX780" fmla="*/ 540734 w 1073848"/>
                <a:gd name="connsiteY780" fmla="*/ 1057751 h 1057751"/>
                <a:gd name="connsiteX781" fmla="*/ 543211 w 1073848"/>
                <a:gd name="connsiteY781" fmla="*/ 1052608 h 1057751"/>
                <a:gd name="connsiteX782" fmla="*/ 544449 w 1073848"/>
                <a:gd name="connsiteY782" fmla="*/ 1049274 h 1057751"/>
                <a:gd name="connsiteX783" fmla="*/ 542449 w 1073848"/>
                <a:gd name="connsiteY783" fmla="*/ 1046321 h 1057751"/>
                <a:gd name="connsiteX784" fmla="*/ 548735 w 1073848"/>
                <a:gd name="connsiteY784" fmla="*/ 1045464 h 1057751"/>
                <a:gd name="connsiteX785" fmla="*/ 548164 w 1073848"/>
                <a:gd name="connsiteY785" fmla="*/ 1040797 h 1057751"/>
                <a:gd name="connsiteX786" fmla="*/ 552736 w 1073848"/>
                <a:gd name="connsiteY786" fmla="*/ 1038606 h 1057751"/>
                <a:gd name="connsiteX787" fmla="*/ 554069 w 1073848"/>
                <a:gd name="connsiteY787" fmla="*/ 1036796 h 1057751"/>
                <a:gd name="connsiteX788" fmla="*/ 549688 w 1073848"/>
                <a:gd name="connsiteY788" fmla="*/ 1027747 h 1057751"/>
                <a:gd name="connsiteX789" fmla="*/ 554260 w 1073848"/>
                <a:gd name="connsiteY789" fmla="*/ 1025557 h 1057751"/>
                <a:gd name="connsiteX790" fmla="*/ 557403 w 1073848"/>
                <a:gd name="connsiteY790" fmla="*/ 1025176 h 1057751"/>
                <a:gd name="connsiteX791" fmla="*/ 559403 w 1073848"/>
                <a:gd name="connsiteY791" fmla="*/ 1028129 h 1057751"/>
                <a:gd name="connsiteX792" fmla="*/ 564071 w 1073848"/>
                <a:gd name="connsiteY792" fmla="*/ 1027462 h 1057751"/>
                <a:gd name="connsiteX793" fmla="*/ 564547 w 1073848"/>
                <a:gd name="connsiteY793" fmla="*/ 1030700 h 1057751"/>
                <a:gd name="connsiteX794" fmla="*/ 567499 w 1073848"/>
                <a:gd name="connsiteY794" fmla="*/ 1028700 h 1057751"/>
                <a:gd name="connsiteX795" fmla="*/ 573214 w 1073848"/>
                <a:gd name="connsiteY795" fmla="*/ 1023176 h 1057751"/>
                <a:gd name="connsiteX796" fmla="*/ 582644 w 1073848"/>
                <a:gd name="connsiteY796" fmla="*/ 1021937 h 1057751"/>
                <a:gd name="connsiteX797" fmla="*/ 583025 w 1073848"/>
                <a:gd name="connsiteY797" fmla="*/ 1025080 h 1057751"/>
                <a:gd name="connsiteX798" fmla="*/ 590169 w 1073848"/>
                <a:gd name="connsiteY798" fmla="*/ 1030605 h 1057751"/>
                <a:gd name="connsiteX799" fmla="*/ 592550 w 1073848"/>
                <a:gd name="connsiteY799" fmla="*/ 1036701 h 1057751"/>
                <a:gd name="connsiteX800" fmla="*/ 597884 w 1073848"/>
                <a:gd name="connsiteY800" fmla="*/ 1040892 h 1057751"/>
                <a:gd name="connsiteX801" fmla="*/ 600075 w 1073848"/>
                <a:gd name="connsiteY801" fmla="*/ 1045369 h 1057751"/>
                <a:gd name="connsiteX802" fmla="*/ 602837 w 1073848"/>
                <a:gd name="connsiteY802" fmla="*/ 1041845 h 1057751"/>
                <a:gd name="connsiteX803" fmla="*/ 605980 w 1073848"/>
                <a:gd name="connsiteY803" fmla="*/ 1041463 h 1057751"/>
                <a:gd name="connsiteX804" fmla="*/ 605409 w 1073848"/>
                <a:gd name="connsiteY804" fmla="*/ 1036701 h 1057751"/>
                <a:gd name="connsiteX805" fmla="*/ 607886 w 1073848"/>
                <a:gd name="connsiteY805" fmla="*/ 1031558 h 1057751"/>
                <a:gd name="connsiteX806" fmla="*/ 606171 w 1073848"/>
                <a:gd name="connsiteY806" fmla="*/ 1030129 h 1057751"/>
                <a:gd name="connsiteX807" fmla="*/ 605980 w 1073848"/>
                <a:gd name="connsiteY807" fmla="*/ 1028605 h 1057751"/>
                <a:gd name="connsiteX808" fmla="*/ 604171 w 1073848"/>
                <a:gd name="connsiteY808" fmla="*/ 1027176 h 1057751"/>
                <a:gd name="connsiteX809" fmla="*/ 607505 w 1073848"/>
                <a:gd name="connsiteY809" fmla="*/ 1028414 h 1057751"/>
                <a:gd name="connsiteX810" fmla="*/ 611219 w 1073848"/>
                <a:gd name="connsiteY810" fmla="*/ 1019937 h 1057751"/>
                <a:gd name="connsiteX811" fmla="*/ 616553 w 1073848"/>
                <a:gd name="connsiteY811" fmla="*/ 1024033 h 1057751"/>
                <a:gd name="connsiteX812" fmla="*/ 619315 w 1073848"/>
                <a:gd name="connsiteY812" fmla="*/ 1020509 h 1057751"/>
                <a:gd name="connsiteX813" fmla="*/ 619125 w 1073848"/>
                <a:gd name="connsiteY813" fmla="*/ 1018889 h 1057751"/>
                <a:gd name="connsiteX814" fmla="*/ 619506 w 1073848"/>
                <a:gd name="connsiteY814" fmla="*/ 1009174 h 1057751"/>
                <a:gd name="connsiteX815" fmla="*/ 619315 w 1073848"/>
                <a:gd name="connsiteY815" fmla="*/ 1007650 h 1057751"/>
                <a:gd name="connsiteX816" fmla="*/ 622649 w 1073848"/>
                <a:gd name="connsiteY816" fmla="*/ 1008793 h 1057751"/>
                <a:gd name="connsiteX817" fmla="*/ 635508 w 1073848"/>
                <a:gd name="connsiteY817" fmla="*/ 1008793 h 1057751"/>
                <a:gd name="connsiteX818" fmla="*/ 643033 w 1073848"/>
                <a:gd name="connsiteY818" fmla="*/ 1004602 h 1057751"/>
                <a:gd name="connsiteX819" fmla="*/ 645128 w 1073848"/>
                <a:gd name="connsiteY819" fmla="*/ 996315 h 1057751"/>
                <a:gd name="connsiteX820" fmla="*/ 645128 w 1073848"/>
                <a:gd name="connsiteY820" fmla="*/ 996315 h 1057751"/>
                <a:gd name="connsiteX821" fmla="*/ 649891 w 1073848"/>
                <a:gd name="connsiteY821" fmla="*/ 995743 h 1057751"/>
                <a:gd name="connsiteX822" fmla="*/ 651034 w 1073848"/>
                <a:gd name="connsiteY822" fmla="*/ 992410 h 1057751"/>
                <a:gd name="connsiteX823" fmla="*/ 652653 w 1073848"/>
                <a:gd name="connsiteY823" fmla="*/ 992124 h 1057751"/>
                <a:gd name="connsiteX824" fmla="*/ 652463 w 1073848"/>
                <a:gd name="connsiteY824" fmla="*/ 990600 h 1057751"/>
                <a:gd name="connsiteX825" fmla="*/ 645890 w 1073848"/>
                <a:gd name="connsiteY825" fmla="*/ 989838 h 1057751"/>
                <a:gd name="connsiteX826" fmla="*/ 650081 w 1073848"/>
                <a:gd name="connsiteY826" fmla="*/ 984504 h 1057751"/>
                <a:gd name="connsiteX827" fmla="*/ 651605 w 1073848"/>
                <a:gd name="connsiteY827" fmla="*/ 984313 h 1057751"/>
                <a:gd name="connsiteX828" fmla="*/ 658939 w 1073848"/>
                <a:gd name="connsiteY828" fmla="*/ 978503 h 1057751"/>
                <a:gd name="connsiteX829" fmla="*/ 661511 w 1073848"/>
                <a:gd name="connsiteY829" fmla="*/ 973360 h 1057751"/>
                <a:gd name="connsiteX830" fmla="*/ 668369 w 1073848"/>
                <a:gd name="connsiteY830" fmla="*/ 977360 h 1057751"/>
                <a:gd name="connsiteX831" fmla="*/ 673894 w 1073848"/>
                <a:gd name="connsiteY831" fmla="*/ 970217 h 1057751"/>
                <a:gd name="connsiteX832" fmla="*/ 680847 w 1073848"/>
                <a:gd name="connsiteY832" fmla="*/ 974122 h 1057751"/>
                <a:gd name="connsiteX833" fmla="*/ 683323 w 1073848"/>
                <a:gd name="connsiteY833" fmla="*/ 968978 h 1057751"/>
                <a:gd name="connsiteX834" fmla="*/ 691896 w 1073848"/>
                <a:gd name="connsiteY834" fmla="*/ 972788 h 1057751"/>
                <a:gd name="connsiteX835" fmla="*/ 695039 w 1073848"/>
                <a:gd name="connsiteY835" fmla="*/ 972312 h 1057751"/>
                <a:gd name="connsiteX836" fmla="*/ 695801 w 1073848"/>
                <a:gd name="connsiteY836" fmla="*/ 978694 h 1057751"/>
                <a:gd name="connsiteX837" fmla="*/ 701897 w 1073848"/>
                <a:gd name="connsiteY837" fmla="*/ 976313 h 1057751"/>
                <a:gd name="connsiteX838" fmla="*/ 698373 w 1073848"/>
                <a:gd name="connsiteY838" fmla="*/ 973550 h 1057751"/>
                <a:gd name="connsiteX839" fmla="*/ 701135 w 1073848"/>
                <a:gd name="connsiteY839" fmla="*/ 969931 h 1057751"/>
                <a:gd name="connsiteX840" fmla="*/ 704279 w 1073848"/>
                <a:gd name="connsiteY840" fmla="*/ 969550 h 1057751"/>
                <a:gd name="connsiteX841" fmla="*/ 705898 w 1073848"/>
                <a:gd name="connsiteY841" fmla="*/ 969359 h 1057751"/>
                <a:gd name="connsiteX842" fmla="*/ 703707 w 1073848"/>
                <a:gd name="connsiteY842" fmla="*/ 964787 h 1057751"/>
                <a:gd name="connsiteX843" fmla="*/ 705231 w 1073848"/>
                <a:gd name="connsiteY843" fmla="*/ 964597 h 1057751"/>
                <a:gd name="connsiteX844" fmla="*/ 706660 w 1073848"/>
                <a:gd name="connsiteY844" fmla="*/ 962787 h 1057751"/>
                <a:gd name="connsiteX845" fmla="*/ 703231 w 1073848"/>
                <a:gd name="connsiteY845" fmla="*/ 961644 h 1057751"/>
                <a:gd name="connsiteX846" fmla="*/ 707231 w 1073848"/>
                <a:gd name="connsiteY846" fmla="*/ 954786 h 1057751"/>
                <a:gd name="connsiteX847" fmla="*/ 706564 w 1073848"/>
                <a:gd name="connsiteY847" fmla="*/ 950024 h 1057751"/>
                <a:gd name="connsiteX848" fmla="*/ 709327 w 1073848"/>
                <a:gd name="connsiteY848" fmla="*/ 946404 h 1057751"/>
                <a:gd name="connsiteX849" fmla="*/ 706946 w 1073848"/>
                <a:gd name="connsiteY849" fmla="*/ 940308 h 1057751"/>
                <a:gd name="connsiteX850" fmla="*/ 710374 w 1073848"/>
                <a:gd name="connsiteY850" fmla="*/ 941546 h 1057751"/>
                <a:gd name="connsiteX851" fmla="*/ 715042 w 1073848"/>
                <a:gd name="connsiteY851" fmla="*/ 940880 h 1057751"/>
                <a:gd name="connsiteX852" fmla="*/ 725519 w 1073848"/>
                <a:gd name="connsiteY852" fmla="*/ 947642 h 1057751"/>
                <a:gd name="connsiteX853" fmla="*/ 725710 w 1073848"/>
                <a:gd name="connsiteY853" fmla="*/ 949166 h 1057751"/>
                <a:gd name="connsiteX854" fmla="*/ 721042 w 1073848"/>
                <a:gd name="connsiteY854" fmla="*/ 949738 h 1057751"/>
                <a:gd name="connsiteX855" fmla="*/ 719614 w 1073848"/>
                <a:gd name="connsiteY855" fmla="*/ 951547 h 1057751"/>
                <a:gd name="connsiteX856" fmla="*/ 724567 w 1073848"/>
                <a:gd name="connsiteY856" fmla="*/ 952500 h 1057751"/>
                <a:gd name="connsiteX857" fmla="*/ 727520 w 1073848"/>
                <a:gd name="connsiteY857" fmla="*/ 950595 h 1057751"/>
                <a:gd name="connsiteX858" fmla="*/ 729520 w 1073848"/>
                <a:gd name="connsiteY858" fmla="*/ 953548 h 1057751"/>
                <a:gd name="connsiteX859" fmla="*/ 734949 w 1073848"/>
                <a:gd name="connsiteY859" fmla="*/ 946404 h 1057751"/>
                <a:gd name="connsiteX860" fmla="*/ 743903 w 1073848"/>
                <a:gd name="connsiteY860" fmla="*/ 940403 h 1057751"/>
                <a:gd name="connsiteX861" fmla="*/ 740473 w 1073848"/>
                <a:gd name="connsiteY861" fmla="*/ 939260 h 1057751"/>
                <a:gd name="connsiteX862" fmla="*/ 740473 w 1073848"/>
                <a:gd name="connsiteY862" fmla="*/ 926497 h 1057751"/>
                <a:gd name="connsiteX863" fmla="*/ 750951 w 1073848"/>
                <a:gd name="connsiteY863" fmla="*/ 933164 h 1057751"/>
                <a:gd name="connsiteX864" fmla="*/ 754856 w 1073848"/>
                <a:gd name="connsiteY864" fmla="*/ 926211 h 1057751"/>
                <a:gd name="connsiteX865" fmla="*/ 762190 w 1073848"/>
                <a:gd name="connsiteY865" fmla="*/ 920496 h 1057751"/>
                <a:gd name="connsiteX866" fmla="*/ 764191 w 1073848"/>
                <a:gd name="connsiteY866" fmla="*/ 923449 h 1057751"/>
                <a:gd name="connsiteX867" fmla="*/ 764572 w 1073848"/>
                <a:gd name="connsiteY867" fmla="*/ 926592 h 1057751"/>
                <a:gd name="connsiteX868" fmla="*/ 766763 w 1073848"/>
                <a:gd name="connsiteY868" fmla="*/ 931164 h 1057751"/>
                <a:gd name="connsiteX869" fmla="*/ 770096 w 1073848"/>
                <a:gd name="connsiteY869" fmla="*/ 932307 h 1057751"/>
                <a:gd name="connsiteX870" fmla="*/ 768953 w 1073848"/>
                <a:gd name="connsiteY870" fmla="*/ 935641 h 1057751"/>
                <a:gd name="connsiteX871" fmla="*/ 767524 w 1073848"/>
                <a:gd name="connsiteY871" fmla="*/ 937451 h 1057751"/>
                <a:gd name="connsiteX872" fmla="*/ 769525 w 1073848"/>
                <a:gd name="connsiteY872" fmla="*/ 940403 h 1057751"/>
                <a:gd name="connsiteX873" fmla="*/ 767715 w 1073848"/>
                <a:gd name="connsiteY873" fmla="*/ 938975 h 1057751"/>
                <a:gd name="connsiteX874" fmla="*/ 768096 w 1073848"/>
                <a:gd name="connsiteY874" fmla="*/ 942213 h 1057751"/>
                <a:gd name="connsiteX875" fmla="*/ 771334 w 1073848"/>
                <a:gd name="connsiteY875" fmla="*/ 941737 h 1057751"/>
                <a:gd name="connsiteX876" fmla="*/ 773239 w 1073848"/>
                <a:gd name="connsiteY876" fmla="*/ 944689 h 1057751"/>
                <a:gd name="connsiteX877" fmla="*/ 774668 w 1073848"/>
                <a:gd name="connsiteY877" fmla="*/ 942975 h 1057751"/>
                <a:gd name="connsiteX878" fmla="*/ 774287 w 1073848"/>
                <a:gd name="connsiteY878" fmla="*/ 939832 h 1057751"/>
                <a:gd name="connsiteX879" fmla="*/ 774478 w 1073848"/>
                <a:gd name="connsiteY879" fmla="*/ 941356 h 1057751"/>
                <a:gd name="connsiteX880" fmla="*/ 778002 w 1073848"/>
                <a:gd name="connsiteY880" fmla="*/ 944118 h 1057751"/>
                <a:gd name="connsiteX881" fmla="*/ 774859 w 1073848"/>
                <a:gd name="connsiteY881" fmla="*/ 944499 h 1057751"/>
                <a:gd name="connsiteX882" fmla="*/ 776859 w 1073848"/>
                <a:gd name="connsiteY882" fmla="*/ 947452 h 1057751"/>
                <a:gd name="connsiteX883" fmla="*/ 784003 w 1073848"/>
                <a:gd name="connsiteY883" fmla="*/ 952976 h 1057751"/>
                <a:gd name="connsiteX884" fmla="*/ 790480 w 1073848"/>
                <a:gd name="connsiteY884" fmla="*/ 953738 h 1057751"/>
                <a:gd name="connsiteX885" fmla="*/ 798576 w 1073848"/>
                <a:gd name="connsiteY885" fmla="*/ 954310 h 1057751"/>
                <a:gd name="connsiteX886" fmla="*/ 801529 w 1073848"/>
                <a:gd name="connsiteY886" fmla="*/ 952309 h 1057751"/>
                <a:gd name="connsiteX887" fmla="*/ 804672 w 1073848"/>
                <a:gd name="connsiteY887" fmla="*/ 951929 h 1057751"/>
                <a:gd name="connsiteX888" fmla="*/ 808577 w 1073848"/>
                <a:gd name="connsiteY888" fmla="*/ 945071 h 1057751"/>
                <a:gd name="connsiteX889" fmla="*/ 813340 w 1073848"/>
                <a:gd name="connsiteY889" fmla="*/ 944404 h 1057751"/>
                <a:gd name="connsiteX890" fmla="*/ 814102 w 1073848"/>
                <a:gd name="connsiteY890" fmla="*/ 937927 h 1057751"/>
                <a:gd name="connsiteX891" fmla="*/ 812101 w 1073848"/>
                <a:gd name="connsiteY891" fmla="*/ 934974 h 1057751"/>
                <a:gd name="connsiteX892" fmla="*/ 811721 w 1073848"/>
                <a:gd name="connsiteY892" fmla="*/ 931831 h 1057751"/>
                <a:gd name="connsiteX893" fmla="*/ 814864 w 1073848"/>
                <a:gd name="connsiteY893" fmla="*/ 931355 h 1057751"/>
                <a:gd name="connsiteX894" fmla="*/ 816673 w 1073848"/>
                <a:gd name="connsiteY894" fmla="*/ 932783 h 1057751"/>
                <a:gd name="connsiteX895" fmla="*/ 817245 w 1073848"/>
                <a:gd name="connsiteY895" fmla="*/ 937546 h 1057751"/>
                <a:gd name="connsiteX896" fmla="*/ 822007 w 1073848"/>
                <a:gd name="connsiteY896" fmla="*/ 936879 h 1057751"/>
                <a:gd name="connsiteX897" fmla="*/ 822198 w 1073848"/>
                <a:gd name="connsiteY897" fmla="*/ 938498 h 1057751"/>
                <a:gd name="connsiteX898" fmla="*/ 826961 w 1073848"/>
                <a:gd name="connsiteY898" fmla="*/ 937927 h 1057751"/>
                <a:gd name="connsiteX899" fmla="*/ 828484 w 1073848"/>
                <a:gd name="connsiteY899" fmla="*/ 937641 h 1057751"/>
                <a:gd name="connsiteX900" fmla="*/ 835628 w 1073848"/>
                <a:gd name="connsiteY900" fmla="*/ 943166 h 1057751"/>
                <a:gd name="connsiteX901" fmla="*/ 838962 w 1073848"/>
                <a:gd name="connsiteY901" fmla="*/ 944404 h 1057751"/>
                <a:gd name="connsiteX902" fmla="*/ 840200 w 1073848"/>
                <a:gd name="connsiteY902" fmla="*/ 940975 h 1057751"/>
                <a:gd name="connsiteX903" fmla="*/ 845058 w 1073848"/>
                <a:gd name="connsiteY903" fmla="*/ 942022 h 1057751"/>
                <a:gd name="connsiteX904" fmla="*/ 849058 w 1073848"/>
                <a:gd name="connsiteY904" fmla="*/ 947928 h 1057751"/>
                <a:gd name="connsiteX905" fmla="*/ 852583 w 1073848"/>
                <a:gd name="connsiteY905" fmla="*/ 950690 h 1057751"/>
                <a:gd name="connsiteX906" fmla="*/ 852392 w 1073848"/>
                <a:gd name="connsiteY906" fmla="*/ 949071 h 1057751"/>
                <a:gd name="connsiteX907" fmla="*/ 850011 w 1073848"/>
                <a:gd name="connsiteY907" fmla="*/ 942975 h 1057751"/>
                <a:gd name="connsiteX908" fmla="*/ 851440 w 1073848"/>
                <a:gd name="connsiteY908" fmla="*/ 941165 h 1057751"/>
                <a:gd name="connsiteX909" fmla="*/ 856107 w 1073848"/>
                <a:gd name="connsiteY909" fmla="*/ 940594 h 1057751"/>
                <a:gd name="connsiteX910" fmla="*/ 861250 w 1073848"/>
                <a:gd name="connsiteY910" fmla="*/ 943166 h 1057751"/>
                <a:gd name="connsiteX911" fmla="*/ 862489 w 1073848"/>
                <a:gd name="connsiteY911" fmla="*/ 939737 h 1057751"/>
                <a:gd name="connsiteX912" fmla="*/ 863822 w 1073848"/>
                <a:gd name="connsiteY912" fmla="*/ 938022 h 1057751"/>
                <a:gd name="connsiteX913" fmla="*/ 874109 w 1073848"/>
                <a:gd name="connsiteY913" fmla="*/ 943070 h 1057751"/>
                <a:gd name="connsiteX914" fmla="*/ 875443 w 1073848"/>
                <a:gd name="connsiteY914" fmla="*/ 941356 h 1057751"/>
                <a:gd name="connsiteX915" fmla="*/ 878396 w 1073848"/>
                <a:gd name="connsiteY915" fmla="*/ 939355 h 1057751"/>
                <a:gd name="connsiteX916" fmla="*/ 875062 w 1073848"/>
                <a:gd name="connsiteY916" fmla="*/ 938117 h 1057751"/>
                <a:gd name="connsiteX917" fmla="*/ 878014 w 1073848"/>
                <a:gd name="connsiteY917" fmla="*/ 936212 h 1057751"/>
                <a:gd name="connsiteX918" fmla="*/ 878967 w 1073848"/>
                <a:gd name="connsiteY918" fmla="*/ 931259 h 1057751"/>
                <a:gd name="connsiteX919" fmla="*/ 882205 w 1073848"/>
                <a:gd name="connsiteY919" fmla="*/ 930878 h 1057751"/>
                <a:gd name="connsiteX920" fmla="*/ 884396 w 1073848"/>
                <a:gd name="connsiteY920" fmla="*/ 935355 h 1057751"/>
                <a:gd name="connsiteX921" fmla="*/ 893445 w 1073848"/>
                <a:gd name="connsiteY921" fmla="*/ 930974 h 1057751"/>
                <a:gd name="connsiteX922" fmla="*/ 893064 w 1073848"/>
                <a:gd name="connsiteY922" fmla="*/ 927830 h 1057751"/>
                <a:gd name="connsiteX923" fmla="*/ 889635 w 1073848"/>
                <a:gd name="connsiteY923" fmla="*/ 926687 h 1057751"/>
                <a:gd name="connsiteX924" fmla="*/ 889063 w 1073848"/>
                <a:gd name="connsiteY924" fmla="*/ 921925 h 1057751"/>
                <a:gd name="connsiteX925" fmla="*/ 880586 w 1073848"/>
                <a:gd name="connsiteY925" fmla="*/ 918210 h 1057751"/>
                <a:gd name="connsiteX926" fmla="*/ 886015 w 1073848"/>
                <a:gd name="connsiteY926" fmla="*/ 911066 h 1057751"/>
                <a:gd name="connsiteX927" fmla="*/ 884301 w 1073848"/>
                <a:gd name="connsiteY927" fmla="*/ 909733 h 1057751"/>
                <a:gd name="connsiteX928" fmla="*/ 886015 w 1073848"/>
                <a:gd name="connsiteY928" fmla="*/ 911066 h 1057751"/>
                <a:gd name="connsiteX929" fmla="*/ 896493 w 1073848"/>
                <a:gd name="connsiteY929" fmla="*/ 904970 h 1057751"/>
                <a:gd name="connsiteX930" fmla="*/ 901255 w 1073848"/>
                <a:gd name="connsiteY930" fmla="*/ 904399 h 1057751"/>
                <a:gd name="connsiteX931" fmla="*/ 904018 w 1073848"/>
                <a:gd name="connsiteY931" fmla="*/ 900779 h 1057751"/>
                <a:gd name="connsiteX932" fmla="*/ 908780 w 1073848"/>
                <a:gd name="connsiteY932" fmla="*/ 900208 h 1057751"/>
                <a:gd name="connsiteX933" fmla="*/ 915638 w 1073848"/>
                <a:gd name="connsiteY933" fmla="*/ 904113 h 1057751"/>
                <a:gd name="connsiteX934" fmla="*/ 918400 w 1073848"/>
                <a:gd name="connsiteY934" fmla="*/ 900589 h 1057751"/>
                <a:gd name="connsiteX935" fmla="*/ 923544 w 1073848"/>
                <a:gd name="connsiteY935" fmla="*/ 903161 h 1057751"/>
                <a:gd name="connsiteX936" fmla="*/ 931069 w 1073848"/>
                <a:gd name="connsiteY936" fmla="*/ 898970 h 1057751"/>
                <a:gd name="connsiteX937" fmla="*/ 937927 w 1073848"/>
                <a:gd name="connsiteY937" fmla="*/ 902875 h 1057751"/>
                <a:gd name="connsiteX938" fmla="*/ 942118 w 1073848"/>
                <a:gd name="connsiteY938" fmla="*/ 897541 h 1057751"/>
                <a:gd name="connsiteX939" fmla="*/ 941641 w 1073848"/>
                <a:gd name="connsiteY939" fmla="*/ 894397 h 1057751"/>
                <a:gd name="connsiteX940" fmla="*/ 945832 w 1073848"/>
                <a:gd name="connsiteY940" fmla="*/ 889063 h 1057751"/>
                <a:gd name="connsiteX941" fmla="*/ 950500 w 1073848"/>
                <a:gd name="connsiteY941" fmla="*/ 888492 h 1057751"/>
                <a:gd name="connsiteX942" fmla="*/ 950119 w 1073848"/>
                <a:gd name="connsiteY942" fmla="*/ 885349 h 1057751"/>
                <a:gd name="connsiteX943" fmla="*/ 944213 w 1073848"/>
                <a:gd name="connsiteY943" fmla="*/ 876395 h 1057751"/>
                <a:gd name="connsiteX944" fmla="*/ 945166 w 1073848"/>
                <a:gd name="connsiteY944" fmla="*/ 871538 h 1057751"/>
                <a:gd name="connsiteX945" fmla="*/ 949928 w 1073848"/>
                <a:gd name="connsiteY945" fmla="*/ 870871 h 1057751"/>
                <a:gd name="connsiteX946" fmla="*/ 956405 w 1073848"/>
                <a:gd name="connsiteY946" fmla="*/ 871633 h 1057751"/>
                <a:gd name="connsiteX947" fmla="*/ 960977 w 1073848"/>
                <a:gd name="connsiteY947" fmla="*/ 869442 h 1057751"/>
                <a:gd name="connsiteX948" fmla="*/ 964121 w 1073848"/>
                <a:gd name="connsiteY948" fmla="*/ 869061 h 1057751"/>
                <a:gd name="connsiteX949" fmla="*/ 965263 w 1073848"/>
                <a:gd name="connsiteY949" fmla="*/ 865727 h 1057751"/>
                <a:gd name="connsiteX950" fmla="*/ 969836 w 1073848"/>
                <a:gd name="connsiteY950" fmla="*/ 863537 h 1057751"/>
                <a:gd name="connsiteX951" fmla="*/ 970979 w 1073848"/>
                <a:gd name="connsiteY951" fmla="*/ 860203 h 1057751"/>
                <a:gd name="connsiteX952" fmla="*/ 973741 w 1073848"/>
                <a:gd name="connsiteY952" fmla="*/ 856679 h 1057751"/>
                <a:gd name="connsiteX953" fmla="*/ 976313 w 1073848"/>
                <a:gd name="connsiteY953" fmla="*/ 851535 h 1057751"/>
                <a:gd name="connsiteX954" fmla="*/ 978122 w 1073848"/>
                <a:gd name="connsiteY954" fmla="*/ 852868 h 1057751"/>
                <a:gd name="connsiteX955" fmla="*/ 977837 w 1073848"/>
                <a:gd name="connsiteY955" fmla="*/ 851249 h 1057751"/>
                <a:gd name="connsiteX956" fmla="*/ 980599 w 1073848"/>
                <a:gd name="connsiteY956" fmla="*/ 834962 h 1057751"/>
                <a:gd name="connsiteX957" fmla="*/ 977455 w 1073848"/>
                <a:gd name="connsiteY957" fmla="*/ 835343 h 1057751"/>
                <a:gd name="connsiteX958" fmla="*/ 976884 w 1073848"/>
                <a:gd name="connsiteY958" fmla="*/ 830580 h 1057751"/>
                <a:gd name="connsiteX959" fmla="*/ 968788 w 1073848"/>
                <a:gd name="connsiteY959" fmla="*/ 830009 h 1057751"/>
                <a:gd name="connsiteX960" fmla="*/ 972503 w 1073848"/>
                <a:gd name="connsiteY960" fmla="*/ 821531 h 1057751"/>
                <a:gd name="connsiteX961" fmla="*/ 971836 w 1073848"/>
                <a:gd name="connsiteY961" fmla="*/ 816769 h 1057751"/>
                <a:gd name="connsiteX962" fmla="*/ 968502 w 1073848"/>
                <a:gd name="connsiteY962" fmla="*/ 815626 h 1057751"/>
                <a:gd name="connsiteX963" fmla="*/ 969073 w 1073848"/>
                <a:gd name="connsiteY963" fmla="*/ 820388 h 1057751"/>
                <a:gd name="connsiteX964" fmla="*/ 961834 w 1073848"/>
                <a:gd name="connsiteY964" fmla="*/ 826103 h 1057751"/>
                <a:gd name="connsiteX965" fmla="*/ 956881 w 1073848"/>
                <a:gd name="connsiteY965" fmla="*/ 825151 h 1057751"/>
                <a:gd name="connsiteX966" fmla="*/ 955738 w 1073848"/>
                <a:gd name="connsiteY966" fmla="*/ 828484 h 1057751"/>
                <a:gd name="connsiteX967" fmla="*/ 954119 w 1073848"/>
                <a:gd name="connsiteY967" fmla="*/ 828675 h 1057751"/>
                <a:gd name="connsiteX968" fmla="*/ 956691 w 1073848"/>
                <a:gd name="connsiteY968" fmla="*/ 823532 h 1057751"/>
                <a:gd name="connsiteX969" fmla="*/ 957643 w 1073848"/>
                <a:gd name="connsiteY969" fmla="*/ 818579 h 1057751"/>
                <a:gd name="connsiteX970" fmla="*/ 959453 w 1073848"/>
                <a:gd name="connsiteY970" fmla="*/ 820007 h 1057751"/>
                <a:gd name="connsiteX971" fmla="*/ 962215 w 1073848"/>
                <a:gd name="connsiteY971" fmla="*/ 816388 h 1057751"/>
                <a:gd name="connsiteX972" fmla="*/ 956691 w 1073848"/>
                <a:gd name="connsiteY972" fmla="*/ 810673 h 1057751"/>
                <a:gd name="connsiteX973" fmla="*/ 956024 w 1073848"/>
                <a:gd name="connsiteY973" fmla="*/ 806005 h 1057751"/>
                <a:gd name="connsiteX974" fmla="*/ 953929 w 1073848"/>
                <a:gd name="connsiteY974" fmla="*/ 801434 h 1057751"/>
                <a:gd name="connsiteX975" fmla="*/ 949357 w 1073848"/>
                <a:gd name="connsiteY975" fmla="*/ 803624 h 1057751"/>
                <a:gd name="connsiteX976" fmla="*/ 951929 w 1073848"/>
                <a:gd name="connsiteY976" fmla="*/ 798481 h 1057751"/>
                <a:gd name="connsiteX977" fmla="*/ 946975 w 1073848"/>
                <a:gd name="connsiteY977" fmla="*/ 797528 h 1057751"/>
                <a:gd name="connsiteX978" fmla="*/ 949738 w 1073848"/>
                <a:gd name="connsiteY978" fmla="*/ 793909 h 1057751"/>
                <a:gd name="connsiteX979" fmla="*/ 951643 w 1073848"/>
                <a:gd name="connsiteY979" fmla="*/ 784098 h 1057751"/>
                <a:gd name="connsiteX980" fmla="*/ 959548 w 1073848"/>
                <a:gd name="connsiteY980" fmla="*/ 783050 h 1057751"/>
                <a:gd name="connsiteX981" fmla="*/ 969455 w 1073848"/>
                <a:gd name="connsiteY981" fmla="*/ 785051 h 1057751"/>
                <a:gd name="connsiteX982" fmla="*/ 972217 w 1073848"/>
                <a:gd name="connsiteY982" fmla="*/ 781431 h 1057751"/>
                <a:gd name="connsiteX983" fmla="*/ 971740 w 1073848"/>
                <a:gd name="connsiteY983" fmla="*/ 778288 h 1057751"/>
                <a:gd name="connsiteX984" fmla="*/ 978694 w 1073848"/>
                <a:gd name="connsiteY984" fmla="*/ 782193 h 1057751"/>
                <a:gd name="connsiteX985" fmla="*/ 982408 w 1073848"/>
                <a:gd name="connsiteY985" fmla="*/ 773716 h 1057751"/>
                <a:gd name="connsiteX986" fmla="*/ 977455 w 1073848"/>
                <a:gd name="connsiteY986" fmla="*/ 772763 h 1057751"/>
                <a:gd name="connsiteX987" fmla="*/ 976122 w 1073848"/>
                <a:gd name="connsiteY987" fmla="*/ 761714 h 1057751"/>
                <a:gd name="connsiteX988" fmla="*/ 977265 w 1073848"/>
                <a:gd name="connsiteY988" fmla="*/ 758380 h 1057751"/>
                <a:gd name="connsiteX989" fmla="*/ 979075 w 1073848"/>
                <a:gd name="connsiteY989" fmla="*/ 759714 h 1057751"/>
                <a:gd name="connsiteX990" fmla="*/ 980027 w 1073848"/>
                <a:gd name="connsiteY990" fmla="*/ 754761 h 1057751"/>
                <a:gd name="connsiteX991" fmla="*/ 974503 w 1073848"/>
                <a:gd name="connsiteY991" fmla="*/ 749046 h 1057751"/>
                <a:gd name="connsiteX992" fmla="*/ 970693 w 1073848"/>
                <a:gd name="connsiteY992" fmla="*/ 744760 h 1057751"/>
                <a:gd name="connsiteX993" fmla="*/ 966025 w 1073848"/>
                <a:gd name="connsiteY993" fmla="*/ 745331 h 1057751"/>
                <a:gd name="connsiteX994" fmla="*/ 959263 w 1073848"/>
                <a:gd name="connsiteY994" fmla="*/ 743045 h 1057751"/>
                <a:gd name="connsiteX995" fmla="*/ 954500 w 1073848"/>
                <a:gd name="connsiteY995" fmla="*/ 743617 h 1057751"/>
                <a:gd name="connsiteX996" fmla="*/ 950976 w 1073848"/>
                <a:gd name="connsiteY996" fmla="*/ 740855 h 1057751"/>
                <a:gd name="connsiteX997" fmla="*/ 954691 w 1073848"/>
                <a:gd name="connsiteY997" fmla="*/ 732377 h 1057751"/>
                <a:gd name="connsiteX998" fmla="*/ 952309 w 1073848"/>
                <a:gd name="connsiteY998" fmla="*/ 726281 h 1057751"/>
                <a:gd name="connsiteX999" fmla="*/ 954881 w 1073848"/>
                <a:gd name="connsiteY999" fmla="*/ 721138 h 1057751"/>
                <a:gd name="connsiteX1000" fmla="*/ 959548 w 1073848"/>
                <a:gd name="connsiteY1000" fmla="*/ 707708 h 1057751"/>
                <a:gd name="connsiteX1001" fmla="*/ 963739 w 1073848"/>
                <a:gd name="connsiteY1001" fmla="*/ 702374 h 1057751"/>
                <a:gd name="connsiteX1002" fmla="*/ 963073 w 1073848"/>
                <a:gd name="connsiteY1002" fmla="*/ 697611 h 1057751"/>
                <a:gd name="connsiteX1003" fmla="*/ 965835 w 1073848"/>
                <a:gd name="connsiteY1003" fmla="*/ 694087 h 1057751"/>
                <a:gd name="connsiteX1004" fmla="*/ 967454 w 1073848"/>
                <a:gd name="connsiteY1004" fmla="*/ 693896 h 1057751"/>
                <a:gd name="connsiteX1005" fmla="*/ 973741 w 1073848"/>
                <a:gd name="connsiteY1005" fmla="*/ 693039 h 1057751"/>
                <a:gd name="connsiteX1006" fmla="*/ 975741 w 1073848"/>
                <a:gd name="connsiteY1006" fmla="*/ 695992 h 1057751"/>
                <a:gd name="connsiteX1007" fmla="*/ 978884 w 1073848"/>
                <a:gd name="connsiteY1007" fmla="*/ 695611 h 1057751"/>
                <a:gd name="connsiteX1008" fmla="*/ 980218 w 1073848"/>
                <a:gd name="connsiteY1008" fmla="*/ 693801 h 1057751"/>
                <a:gd name="connsiteX1009" fmla="*/ 984790 w 1073848"/>
                <a:gd name="connsiteY1009" fmla="*/ 691610 h 1057751"/>
                <a:gd name="connsiteX1010" fmla="*/ 986123 w 1073848"/>
                <a:gd name="connsiteY1010" fmla="*/ 689896 h 1057751"/>
                <a:gd name="connsiteX1011" fmla="*/ 989362 w 1073848"/>
                <a:gd name="connsiteY1011" fmla="*/ 689420 h 1057751"/>
                <a:gd name="connsiteX1012" fmla="*/ 988314 w 1073848"/>
                <a:gd name="connsiteY1012" fmla="*/ 681609 h 1057751"/>
                <a:gd name="connsiteX1013" fmla="*/ 981361 w 1073848"/>
                <a:gd name="connsiteY1013" fmla="*/ 677609 h 1057751"/>
                <a:gd name="connsiteX1014" fmla="*/ 982408 w 1073848"/>
                <a:gd name="connsiteY1014" fmla="*/ 672751 h 1057751"/>
                <a:gd name="connsiteX1015" fmla="*/ 979075 w 1073848"/>
                <a:gd name="connsiteY1015" fmla="*/ 671513 h 1057751"/>
                <a:gd name="connsiteX1016" fmla="*/ 978789 w 1073848"/>
                <a:gd name="connsiteY1016" fmla="*/ 669988 h 1057751"/>
                <a:gd name="connsiteX1017" fmla="*/ 969359 w 1073848"/>
                <a:gd name="connsiteY1017" fmla="*/ 671132 h 1057751"/>
                <a:gd name="connsiteX1018" fmla="*/ 967168 w 1073848"/>
                <a:gd name="connsiteY1018" fmla="*/ 666655 h 1057751"/>
                <a:gd name="connsiteX1019" fmla="*/ 966121 w 1073848"/>
                <a:gd name="connsiteY1019" fmla="*/ 658749 h 1057751"/>
                <a:gd name="connsiteX1020" fmla="*/ 968312 w 1073848"/>
                <a:gd name="connsiteY1020" fmla="*/ 650462 h 1057751"/>
                <a:gd name="connsiteX1021" fmla="*/ 969740 w 1073848"/>
                <a:gd name="connsiteY1021" fmla="*/ 648653 h 1057751"/>
                <a:gd name="connsiteX1022" fmla="*/ 971455 w 1073848"/>
                <a:gd name="connsiteY1022" fmla="*/ 650081 h 1057751"/>
                <a:gd name="connsiteX1023" fmla="*/ 979170 w 1073848"/>
                <a:gd name="connsiteY1023" fmla="*/ 647509 h 1057751"/>
                <a:gd name="connsiteX1024" fmla="*/ 978789 w 1073848"/>
                <a:gd name="connsiteY1024" fmla="*/ 644271 h 1057751"/>
                <a:gd name="connsiteX1025" fmla="*/ 983742 w 1073848"/>
                <a:gd name="connsiteY1025" fmla="*/ 645319 h 1057751"/>
                <a:gd name="connsiteX1026" fmla="*/ 983456 w 1073848"/>
                <a:gd name="connsiteY1026" fmla="*/ 643700 h 1057751"/>
                <a:gd name="connsiteX1027" fmla="*/ 979932 w 1073848"/>
                <a:gd name="connsiteY1027" fmla="*/ 640937 h 1057751"/>
                <a:gd name="connsiteX1028" fmla="*/ 982694 w 1073848"/>
                <a:gd name="connsiteY1028" fmla="*/ 637413 h 1057751"/>
                <a:gd name="connsiteX1029" fmla="*/ 987457 w 1073848"/>
                <a:gd name="connsiteY1029" fmla="*/ 636746 h 1057751"/>
                <a:gd name="connsiteX1030" fmla="*/ 990219 w 1073848"/>
                <a:gd name="connsiteY1030" fmla="*/ 633222 h 1057751"/>
                <a:gd name="connsiteX1031" fmla="*/ 989552 w 1073848"/>
                <a:gd name="connsiteY1031" fmla="*/ 628459 h 1057751"/>
                <a:gd name="connsiteX1032" fmla="*/ 992505 w 1073848"/>
                <a:gd name="connsiteY1032" fmla="*/ 626555 h 1057751"/>
                <a:gd name="connsiteX1033" fmla="*/ 988600 w 1073848"/>
                <a:gd name="connsiteY1033" fmla="*/ 620554 h 1057751"/>
                <a:gd name="connsiteX1034" fmla="*/ 989933 w 1073848"/>
                <a:gd name="connsiteY1034" fmla="*/ 618839 h 1057751"/>
                <a:gd name="connsiteX1035" fmla="*/ 989743 w 1073848"/>
                <a:gd name="connsiteY1035" fmla="*/ 617220 h 1057751"/>
                <a:gd name="connsiteX1036" fmla="*/ 989171 w 1073848"/>
                <a:gd name="connsiteY1036" fmla="*/ 612553 h 1057751"/>
                <a:gd name="connsiteX1037" fmla="*/ 990695 w 1073848"/>
                <a:gd name="connsiteY1037" fmla="*/ 612267 h 1057751"/>
                <a:gd name="connsiteX1038" fmla="*/ 998601 w 1073848"/>
                <a:gd name="connsiteY1038" fmla="*/ 611314 h 1057751"/>
                <a:gd name="connsiteX1039" fmla="*/ 1002982 w 1073848"/>
                <a:gd name="connsiteY1039" fmla="*/ 607505 h 1057751"/>
                <a:gd name="connsiteX1040" fmla="*/ 1006316 w 1073848"/>
                <a:gd name="connsiteY1040" fmla="*/ 608743 h 1057751"/>
                <a:gd name="connsiteX1041" fmla="*/ 1017937 w 1073848"/>
                <a:gd name="connsiteY1041" fmla="*/ 599218 h 1057751"/>
                <a:gd name="connsiteX1042" fmla="*/ 1020699 w 1073848"/>
                <a:gd name="connsiteY1042" fmla="*/ 595693 h 1057751"/>
                <a:gd name="connsiteX1043" fmla="*/ 1020032 w 1073848"/>
                <a:gd name="connsiteY1043" fmla="*/ 590931 h 1057751"/>
                <a:gd name="connsiteX1044" fmla="*/ 1021461 w 1073848"/>
                <a:gd name="connsiteY1044" fmla="*/ 589121 h 1057751"/>
                <a:gd name="connsiteX1045" fmla="*/ 1027747 w 1073848"/>
                <a:gd name="connsiteY1045" fmla="*/ 588359 h 1057751"/>
                <a:gd name="connsiteX1046" fmla="*/ 1028605 w 1073848"/>
                <a:gd name="connsiteY1046" fmla="*/ 594646 h 1057751"/>
                <a:gd name="connsiteX1047" fmla="*/ 1031938 w 1073848"/>
                <a:gd name="connsiteY1047" fmla="*/ 595789 h 1057751"/>
                <a:gd name="connsiteX1048" fmla="*/ 1031748 w 1073848"/>
                <a:gd name="connsiteY1048" fmla="*/ 594265 h 1057751"/>
                <a:gd name="connsiteX1049" fmla="*/ 1035844 w 1073848"/>
                <a:gd name="connsiteY1049" fmla="*/ 588931 h 1057751"/>
                <a:gd name="connsiteX1050" fmla="*/ 1035653 w 1073848"/>
                <a:gd name="connsiteY1050" fmla="*/ 587312 h 1057751"/>
                <a:gd name="connsiteX1051" fmla="*/ 1040416 w 1073848"/>
                <a:gd name="connsiteY1051" fmla="*/ 586740 h 1057751"/>
                <a:gd name="connsiteX1052" fmla="*/ 1047655 w 1073848"/>
                <a:gd name="connsiteY1052" fmla="*/ 581025 h 1057751"/>
                <a:gd name="connsiteX1053" fmla="*/ 1048893 w 1073848"/>
                <a:gd name="connsiteY1053" fmla="*/ 577691 h 1057751"/>
                <a:gd name="connsiteX1054" fmla="*/ 1055180 w 1073848"/>
                <a:gd name="connsiteY1054" fmla="*/ 576834 h 1057751"/>
                <a:gd name="connsiteX1055" fmla="*/ 1056132 w 1073848"/>
                <a:gd name="connsiteY1055" fmla="*/ 571881 h 1057751"/>
                <a:gd name="connsiteX1056" fmla="*/ 1052798 w 1073848"/>
                <a:gd name="connsiteY1056" fmla="*/ 570738 h 1057751"/>
                <a:gd name="connsiteX1057" fmla="*/ 1056132 w 1073848"/>
                <a:gd name="connsiteY1057" fmla="*/ 571881 h 1057751"/>
                <a:gd name="connsiteX1058" fmla="*/ 1052417 w 1073848"/>
                <a:gd name="connsiteY1058" fmla="*/ 567595 h 1057751"/>
                <a:gd name="connsiteX1059" fmla="*/ 1052227 w 1073848"/>
                <a:gd name="connsiteY1059" fmla="*/ 565976 h 1057751"/>
                <a:gd name="connsiteX1060" fmla="*/ 1046416 w 1073848"/>
                <a:gd name="connsiteY1060" fmla="*/ 558737 h 1057751"/>
                <a:gd name="connsiteX1061" fmla="*/ 1051941 w 1073848"/>
                <a:gd name="connsiteY1061" fmla="*/ 551593 h 1057751"/>
                <a:gd name="connsiteX1062" fmla="*/ 1048798 w 1073848"/>
                <a:gd name="connsiteY1062" fmla="*/ 551974 h 1057751"/>
                <a:gd name="connsiteX1063" fmla="*/ 1045845 w 1073848"/>
                <a:gd name="connsiteY1063" fmla="*/ 541115 h 1057751"/>
                <a:gd name="connsiteX1064" fmla="*/ 1045559 w 1073848"/>
                <a:gd name="connsiteY1064" fmla="*/ 539591 h 1057751"/>
                <a:gd name="connsiteX1065" fmla="*/ 1048988 w 1073848"/>
                <a:gd name="connsiteY1065" fmla="*/ 540734 h 1057751"/>
                <a:gd name="connsiteX1066" fmla="*/ 1048322 w 1073848"/>
                <a:gd name="connsiteY1066" fmla="*/ 535972 h 1057751"/>
                <a:gd name="connsiteX1067" fmla="*/ 1050512 w 1073848"/>
                <a:gd name="connsiteY1067" fmla="*/ 527685 h 1057751"/>
                <a:gd name="connsiteX1068" fmla="*/ 1049750 w 1073848"/>
                <a:gd name="connsiteY1068" fmla="*/ 521399 h 1057751"/>
                <a:gd name="connsiteX1069" fmla="*/ 1050893 w 1073848"/>
                <a:gd name="connsiteY1069" fmla="*/ 518065 h 1057751"/>
                <a:gd name="connsiteX1070" fmla="*/ 1053656 w 1073848"/>
                <a:gd name="connsiteY1070" fmla="*/ 514445 h 1057751"/>
                <a:gd name="connsiteX1071" fmla="*/ 1052798 w 1073848"/>
                <a:gd name="connsiteY1071" fmla="*/ 508159 h 1057751"/>
                <a:gd name="connsiteX1072" fmla="*/ 1046893 w 1073848"/>
                <a:gd name="connsiteY1072" fmla="*/ 512159 h 1057751"/>
                <a:gd name="connsiteX1073" fmla="*/ 1043559 w 1073848"/>
                <a:gd name="connsiteY1073" fmla="*/ 510921 h 1057751"/>
                <a:gd name="connsiteX1074" fmla="*/ 1041368 w 1073848"/>
                <a:gd name="connsiteY1074" fmla="*/ 506444 h 1057751"/>
                <a:gd name="connsiteX1075" fmla="*/ 1045750 w 1073848"/>
                <a:gd name="connsiteY1075" fmla="*/ 502634 h 1057751"/>
                <a:gd name="connsiteX1076" fmla="*/ 1042130 w 1073848"/>
                <a:gd name="connsiteY1076" fmla="*/ 499872 h 1057751"/>
                <a:gd name="connsiteX1077" fmla="*/ 1043368 w 1073848"/>
                <a:gd name="connsiteY1077" fmla="*/ 496538 h 1057751"/>
                <a:gd name="connsiteX1078" fmla="*/ 1046131 w 1073848"/>
                <a:gd name="connsiteY1078" fmla="*/ 493014 h 1057751"/>
                <a:gd name="connsiteX1079" fmla="*/ 1038415 w 1073848"/>
                <a:gd name="connsiteY1079" fmla="*/ 482727 h 1057751"/>
                <a:gd name="connsiteX1080" fmla="*/ 1039178 w 1073848"/>
                <a:gd name="connsiteY1080" fmla="*/ 476250 h 1057751"/>
                <a:gd name="connsiteX1081" fmla="*/ 1041654 w 1073848"/>
                <a:gd name="connsiteY1081" fmla="*/ 471107 h 1057751"/>
                <a:gd name="connsiteX1082" fmla="*/ 1047559 w 1073848"/>
                <a:gd name="connsiteY1082" fmla="*/ 467106 h 1057751"/>
                <a:gd name="connsiteX1083" fmla="*/ 1049941 w 1073848"/>
                <a:gd name="connsiteY1083" fmla="*/ 460438 h 1057751"/>
                <a:gd name="connsiteX1084" fmla="*/ 1044226 w 1073848"/>
                <a:gd name="connsiteY1084" fmla="*/ 453104 h 1057751"/>
                <a:gd name="connsiteX1085" fmla="*/ 1054703 w 1073848"/>
                <a:gd name="connsiteY1085" fmla="*/ 447008 h 1057751"/>
                <a:gd name="connsiteX1086" fmla="*/ 1055465 w 1073848"/>
                <a:gd name="connsiteY1086" fmla="*/ 440436 h 1057751"/>
                <a:gd name="connsiteX1087" fmla="*/ 1048893 w 1073848"/>
                <a:gd name="connsiteY1087" fmla="*/ 439674 h 1057751"/>
                <a:gd name="connsiteX1088" fmla="*/ 1046893 w 1073848"/>
                <a:gd name="connsiteY1088" fmla="*/ 436721 h 1057751"/>
                <a:gd name="connsiteX1089" fmla="*/ 1046512 w 1073848"/>
                <a:gd name="connsiteY1089" fmla="*/ 433578 h 1057751"/>
                <a:gd name="connsiteX1090" fmla="*/ 1050893 w 1073848"/>
                <a:gd name="connsiteY1090" fmla="*/ 429863 h 1057751"/>
                <a:gd name="connsiteX1091" fmla="*/ 1045940 w 1073848"/>
                <a:gd name="connsiteY1091" fmla="*/ 428911 h 1057751"/>
                <a:gd name="connsiteX1092" fmla="*/ 1044797 w 1073848"/>
                <a:gd name="connsiteY1092" fmla="*/ 432245 h 1057751"/>
                <a:gd name="connsiteX1093" fmla="*/ 1042988 w 1073848"/>
                <a:gd name="connsiteY1093" fmla="*/ 430816 h 1057751"/>
                <a:gd name="connsiteX1094" fmla="*/ 1036034 w 1073848"/>
                <a:gd name="connsiteY1094" fmla="*/ 426911 h 1057751"/>
                <a:gd name="connsiteX1095" fmla="*/ 1033843 w 1073848"/>
                <a:gd name="connsiteY1095" fmla="*/ 422338 h 1057751"/>
                <a:gd name="connsiteX1096" fmla="*/ 1035082 w 1073848"/>
                <a:gd name="connsiteY1096" fmla="*/ 419005 h 1057751"/>
                <a:gd name="connsiteX1097" fmla="*/ 1034891 w 1073848"/>
                <a:gd name="connsiteY1097" fmla="*/ 417481 h 1057751"/>
                <a:gd name="connsiteX1098" fmla="*/ 1029557 w 1073848"/>
                <a:gd name="connsiteY1098" fmla="*/ 413290 h 1057751"/>
                <a:gd name="connsiteX1099" fmla="*/ 1030891 w 1073848"/>
                <a:gd name="connsiteY1099" fmla="*/ 411575 h 1057751"/>
                <a:gd name="connsiteX1100" fmla="*/ 1037177 w 1073848"/>
                <a:gd name="connsiteY1100" fmla="*/ 410718 h 1057751"/>
                <a:gd name="connsiteX1101" fmla="*/ 1039178 w 1073848"/>
                <a:gd name="connsiteY1101" fmla="*/ 413671 h 1057751"/>
                <a:gd name="connsiteX1102" fmla="*/ 1043559 w 1073848"/>
                <a:gd name="connsiteY1102" fmla="*/ 422720 h 1057751"/>
                <a:gd name="connsiteX1103" fmla="*/ 1051274 w 1073848"/>
                <a:gd name="connsiteY1103" fmla="*/ 420148 h 1057751"/>
                <a:gd name="connsiteX1104" fmla="*/ 1054037 w 1073848"/>
                <a:gd name="connsiteY1104" fmla="*/ 416624 h 1057751"/>
                <a:gd name="connsiteX1105" fmla="*/ 1053560 w 1073848"/>
                <a:gd name="connsiteY1105" fmla="*/ 413480 h 1057751"/>
                <a:gd name="connsiteX1106" fmla="*/ 1059466 w 1073848"/>
                <a:gd name="connsiteY1106" fmla="*/ 409480 h 1057751"/>
                <a:gd name="connsiteX1107" fmla="*/ 1063276 w 1073848"/>
                <a:gd name="connsiteY1107" fmla="*/ 401003 h 1057751"/>
                <a:gd name="connsiteX1108" fmla="*/ 1067943 w 1073848"/>
                <a:gd name="connsiteY1108" fmla="*/ 400431 h 1057751"/>
                <a:gd name="connsiteX1109" fmla="*/ 1073848 w 1073848"/>
                <a:gd name="connsiteY1109" fmla="*/ 383572 h 1057751"/>
                <a:gd name="connsiteX1110" fmla="*/ 1072801 w 1073848"/>
                <a:gd name="connsiteY1110" fmla="*/ 375761 h 1057751"/>
                <a:gd name="connsiteX1111" fmla="*/ 1072801 w 1073848"/>
                <a:gd name="connsiteY1111" fmla="*/ 375761 h 1057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</a:cxnLst>
              <a:rect l="l" t="t" r="r" b="b"/>
              <a:pathLst>
                <a:path w="1073848" h="1057751">
                  <a:moveTo>
                    <a:pt x="1072801" y="375761"/>
                  </a:moveTo>
                  <a:lnTo>
                    <a:pt x="1068705" y="368237"/>
                  </a:lnTo>
                  <a:lnTo>
                    <a:pt x="1057180" y="366522"/>
                  </a:lnTo>
                  <a:lnTo>
                    <a:pt x="1056989" y="364903"/>
                  </a:lnTo>
                  <a:lnTo>
                    <a:pt x="1052322" y="365474"/>
                  </a:lnTo>
                  <a:lnTo>
                    <a:pt x="1050322" y="362521"/>
                  </a:lnTo>
                  <a:lnTo>
                    <a:pt x="1048512" y="361188"/>
                  </a:lnTo>
                  <a:lnTo>
                    <a:pt x="1046797" y="359759"/>
                  </a:lnTo>
                  <a:lnTo>
                    <a:pt x="1045178" y="360045"/>
                  </a:lnTo>
                  <a:lnTo>
                    <a:pt x="1044607" y="355283"/>
                  </a:lnTo>
                  <a:lnTo>
                    <a:pt x="1041178" y="354139"/>
                  </a:lnTo>
                  <a:lnTo>
                    <a:pt x="1042416" y="350711"/>
                  </a:lnTo>
                  <a:lnTo>
                    <a:pt x="1048703" y="349949"/>
                  </a:lnTo>
                  <a:lnTo>
                    <a:pt x="1049846" y="346615"/>
                  </a:lnTo>
                  <a:lnTo>
                    <a:pt x="1053846" y="339662"/>
                  </a:lnTo>
                  <a:lnTo>
                    <a:pt x="1052989" y="333375"/>
                  </a:lnTo>
                  <a:lnTo>
                    <a:pt x="1054608" y="333184"/>
                  </a:lnTo>
                  <a:lnTo>
                    <a:pt x="1055941" y="331375"/>
                  </a:lnTo>
                  <a:lnTo>
                    <a:pt x="1054798" y="321850"/>
                  </a:lnTo>
                  <a:lnTo>
                    <a:pt x="1052798" y="318897"/>
                  </a:lnTo>
                  <a:lnTo>
                    <a:pt x="1043083" y="305753"/>
                  </a:lnTo>
                  <a:lnTo>
                    <a:pt x="1042511" y="300990"/>
                  </a:lnTo>
                  <a:lnTo>
                    <a:pt x="1036987" y="295275"/>
                  </a:lnTo>
                  <a:lnTo>
                    <a:pt x="1030605" y="296132"/>
                  </a:lnTo>
                  <a:lnTo>
                    <a:pt x="1024890" y="288798"/>
                  </a:lnTo>
                  <a:lnTo>
                    <a:pt x="1022509" y="282702"/>
                  </a:lnTo>
                  <a:lnTo>
                    <a:pt x="1015746" y="280321"/>
                  </a:lnTo>
                  <a:lnTo>
                    <a:pt x="1009459" y="281178"/>
                  </a:lnTo>
                  <a:lnTo>
                    <a:pt x="1000601" y="274225"/>
                  </a:lnTo>
                  <a:lnTo>
                    <a:pt x="997648" y="276225"/>
                  </a:lnTo>
                  <a:lnTo>
                    <a:pt x="990505" y="270700"/>
                  </a:lnTo>
                  <a:lnTo>
                    <a:pt x="987933" y="275844"/>
                  </a:lnTo>
                  <a:lnTo>
                    <a:pt x="984790" y="276320"/>
                  </a:lnTo>
                  <a:lnTo>
                    <a:pt x="979837" y="275272"/>
                  </a:lnTo>
                  <a:lnTo>
                    <a:pt x="977455" y="269176"/>
                  </a:lnTo>
                  <a:lnTo>
                    <a:pt x="973931" y="266414"/>
                  </a:lnTo>
                  <a:lnTo>
                    <a:pt x="967168" y="264128"/>
                  </a:lnTo>
                  <a:lnTo>
                    <a:pt x="969169" y="254222"/>
                  </a:lnTo>
                  <a:lnTo>
                    <a:pt x="964025" y="251650"/>
                  </a:lnTo>
                  <a:lnTo>
                    <a:pt x="958310" y="244412"/>
                  </a:lnTo>
                  <a:lnTo>
                    <a:pt x="948595" y="231172"/>
                  </a:lnTo>
                  <a:lnTo>
                    <a:pt x="944785" y="226886"/>
                  </a:lnTo>
                  <a:lnTo>
                    <a:pt x="936498" y="224695"/>
                  </a:lnTo>
                  <a:lnTo>
                    <a:pt x="929640" y="220789"/>
                  </a:lnTo>
                  <a:lnTo>
                    <a:pt x="928211" y="222504"/>
                  </a:lnTo>
                  <a:lnTo>
                    <a:pt x="926497" y="221171"/>
                  </a:lnTo>
                  <a:lnTo>
                    <a:pt x="921734" y="221742"/>
                  </a:lnTo>
                  <a:lnTo>
                    <a:pt x="921353" y="218599"/>
                  </a:lnTo>
                  <a:lnTo>
                    <a:pt x="916019" y="214503"/>
                  </a:lnTo>
                  <a:lnTo>
                    <a:pt x="913638" y="208407"/>
                  </a:lnTo>
                  <a:lnTo>
                    <a:pt x="910495" y="208788"/>
                  </a:lnTo>
                  <a:lnTo>
                    <a:pt x="909447" y="213741"/>
                  </a:lnTo>
                  <a:lnTo>
                    <a:pt x="906304" y="214122"/>
                  </a:lnTo>
                  <a:lnTo>
                    <a:pt x="899160" y="208597"/>
                  </a:lnTo>
                  <a:lnTo>
                    <a:pt x="895445" y="204311"/>
                  </a:lnTo>
                  <a:lnTo>
                    <a:pt x="889159" y="205073"/>
                  </a:lnTo>
                  <a:lnTo>
                    <a:pt x="884777" y="208883"/>
                  </a:lnTo>
                  <a:lnTo>
                    <a:pt x="881443" y="207645"/>
                  </a:lnTo>
                  <a:lnTo>
                    <a:pt x="882587" y="204311"/>
                  </a:lnTo>
                  <a:lnTo>
                    <a:pt x="878681" y="198406"/>
                  </a:lnTo>
                  <a:lnTo>
                    <a:pt x="874871" y="194024"/>
                  </a:lnTo>
                  <a:lnTo>
                    <a:pt x="866013" y="200025"/>
                  </a:lnTo>
                  <a:lnTo>
                    <a:pt x="856202" y="198025"/>
                  </a:lnTo>
                  <a:lnTo>
                    <a:pt x="856393" y="199644"/>
                  </a:lnTo>
                  <a:lnTo>
                    <a:pt x="852964" y="198501"/>
                  </a:lnTo>
                  <a:lnTo>
                    <a:pt x="848868" y="203835"/>
                  </a:lnTo>
                  <a:lnTo>
                    <a:pt x="843343" y="198120"/>
                  </a:lnTo>
                  <a:lnTo>
                    <a:pt x="839914" y="184118"/>
                  </a:lnTo>
                  <a:lnTo>
                    <a:pt x="834390" y="178403"/>
                  </a:lnTo>
                  <a:lnTo>
                    <a:pt x="834199" y="176784"/>
                  </a:lnTo>
                  <a:lnTo>
                    <a:pt x="830675" y="174022"/>
                  </a:lnTo>
                  <a:lnTo>
                    <a:pt x="826865" y="169736"/>
                  </a:lnTo>
                  <a:lnTo>
                    <a:pt x="825341" y="169926"/>
                  </a:lnTo>
                  <a:lnTo>
                    <a:pt x="820198" y="167354"/>
                  </a:lnTo>
                  <a:lnTo>
                    <a:pt x="817055" y="167735"/>
                  </a:lnTo>
                  <a:lnTo>
                    <a:pt x="813625" y="166592"/>
                  </a:lnTo>
                  <a:lnTo>
                    <a:pt x="811054" y="171736"/>
                  </a:lnTo>
                  <a:lnTo>
                    <a:pt x="809339" y="170307"/>
                  </a:lnTo>
                  <a:lnTo>
                    <a:pt x="802576" y="168021"/>
                  </a:lnTo>
                  <a:lnTo>
                    <a:pt x="800576" y="165068"/>
                  </a:lnTo>
                  <a:lnTo>
                    <a:pt x="795909" y="165640"/>
                  </a:lnTo>
                  <a:lnTo>
                    <a:pt x="790956" y="164687"/>
                  </a:lnTo>
                  <a:lnTo>
                    <a:pt x="781907" y="156210"/>
                  </a:lnTo>
                  <a:lnTo>
                    <a:pt x="781240" y="151447"/>
                  </a:lnTo>
                  <a:lnTo>
                    <a:pt x="782860" y="151257"/>
                  </a:lnTo>
                  <a:lnTo>
                    <a:pt x="780669" y="146780"/>
                  </a:lnTo>
                  <a:lnTo>
                    <a:pt x="782003" y="144971"/>
                  </a:lnTo>
                  <a:lnTo>
                    <a:pt x="783241" y="141637"/>
                  </a:lnTo>
                  <a:lnTo>
                    <a:pt x="780288" y="143542"/>
                  </a:lnTo>
                  <a:lnTo>
                    <a:pt x="778288" y="140589"/>
                  </a:lnTo>
                  <a:lnTo>
                    <a:pt x="773525" y="141256"/>
                  </a:lnTo>
                  <a:lnTo>
                    <a:pt x="772763" y="147733"/>
                  </a:lnTo>
                  <a:lnTo>
                    <a:pt x="757047" y="162592"/>
                  </a:lnTo>
                  <a:lnTo>
                    <a:pt x="755047" y="172403"/>
                  </a:lnTo>
                  <a:lnTo>
                    <a:pt x="757809" y="181737"/>
                  </a:lnTo>
                  <a:lnTo>
                    <a:pt x="756285" y="181928"/>
                  </a:lnTo>
                  <a:lnTo>
                    <a:pt x="754856" y="183737"/>
                  </a:lnTo>
                  <a:lnTo>
                    <a:pt x="743426" y="181928"/>
                  </a:lnTo>
                  <a:lnTo>
                    <a:pt x="748379" y="195739"/>
                  </a:lnTo>
                  <a:lnTo>
                    <a:pt x="740759" y="198311"/>
                  </a:lnTo>
                  <a:lnTo>
                    <a:pt x="740950" y="199930"/>
                  </a:lnTo>
                  <a:lnTo>
                    <a:pt x="736187" y="200501"/>
                  </a:lnTo>
                  <a:lnTo>
                    <a:pt x="731044" y="197929"/>
                  </a:lnTo>
                  <a:lnTo>
                    <a:pt x="726281" y="198596"/>
                  </a:lnTo>
                  <a:lnTo>
                    <a:pt x="723329" y="200501"/>
                  </a:lnTo>
                  <a:lnTo>
                    <a:pt x="720185" y="200978"/>
                  </a:lnTo>
                  <a:lnTo>
                    <a:pt x="710946" y="190881"/>
                  </a:lnTo>
                  <a:lnTo>
                    <a:pt x="709136" y="189547"/>
                  </a:lnTo>
                  <a:lnTo>
                    <a:pt x="708946" y="187928"/>
                  </a:lnTo>
                  <a:lnTo>
                    <a:pt x="703993" y="186976"/>
                  </a:lnTo>
                  <a:lnTo>
                    <a:pt x="693515" y="180308"/>
                  </a:lnTo>
                  <a:lnTo>
                    <a:pt x="685609" y="181261"/>
                  </a:lnTo>
                  <a:lnTo>
                    <a:pt x="674941" y="173069"/>
                  </a:lnTo>
                  <a:lnTo>
                    <a:pt x="676084" y="169640"/>
                  </a:lnTo>
                  <a:lnTo>
                    <a:pt x="670370" y="162401"/>
                  </a:lnTo>
                  <a:lnTo>
                    <a:pt x="676847" y="150304"/>
                  </a:lnTo>
                  <a:lnTo>
                    <a:pt x="681418" y="148114"/>
                  </a:lnTo>
                  <a:lnTo>
                    <a:pt x="681323" y="135350"/>
                  </a:lnTo>
                  <a:lnTo>
                    <a:pt x="677037" y="139065"/>
                  </a:lnTo>
                  <a:lnTo>
                    <a:pt x="671131" y="143066"/>
                  </a:lnTo>
                  <a:lnTo>
                    <a:pt x="668941" y="138493"/>
                  </a:lnTo>
                  <a:lnTo>
                    <a:pt x="657511" y="136779"/>
                  </a:lnTo>
                  <a:lnTo>
                    <a:pt x="651129" y="124778"/>
                  </a:lnTo>
                  <a:lnTo>
                    <a:pt x="647986" y="125158"/>
                  </a:lnTo>
                  <a:lnTo>
                    <a:pt x="647795" y="123539"/>
                  </a:lnTo>
                  <a:lnTo>
                    <a:pt x="642652" y="121063"/>
                  </a:lnTo>
                  <a:lnTo>
                    <a:pt x="640651" y="118015"/>
                  </a:lnTo>
                  <a:lnTo>
                    <a:pt x="636175" y="120205"/>
                  </a:lnTo>
                  <a:lnTo>
                    <a:pt x="632365" y="115919"/>
                  </a:lnTo>
                  <a:lnTo>
                    <a:pt x="629412" y="117920"/>
                  </a:lnTo>
                  <a:lnTo>
                    <a:pt x="629603" y="119443"/>
                  </a:lnTo>
                  <a:lnTo>
                    <a:pt x="627888" y="118110"/>
                  </a:lnTo>
                  <a:lnTo>
                    <a:pt x="623506" y="121825"/>
                  </a:lnTo>
                  <a:lnTo>
                    <a:pt x="620363" y="122301"/>
                  </a:lnTo>
                  <a:lnTo>
                    <a:pt x="618363" y="119253"/>
                  </a:lnTo>
                  <a:lnTo>
                    <a:pt x="618934" y="111252"/>
                  </a:lnTo>
                  <a:lnTo>
                    <a:pt x="617411" y="111442"/>
                  </a:lnTo>
                  <a:lnTo>
                    <a:pt x="620744" y="99727"/>
                  </a:lnTo>
                  <a:lnTo>
                    <a:pt x="623030" y="93059"/>
                  </a:lnTo>
                  <a:lnTo>
                    <a:pt x="618363" y="93631"/>
                  </a:lnTo>
                  <a:lnTo>
                    <a:pt x="618744" y="96774"/>
                  </a:lnTo>
                  <a:lnTo>
                    <a:pt x="613600" y="94202"/>
                  </a:lnTo>
                  <a:lnTo>
                    <a:pt x="608838" y="94869"/>
                  </a:lnTo>
                  <a:lnTo>
                    <a:pt x="603504" y="90678"/>
                  </a:lnTo>
                  <a:lnTo>
                    <a:pt x="594074" y="91916"/>
                  </a:lnTo>
                  <a:lnTo>
                    <a:pt x="594265" y="93536"/>
                  </a:lnTo>
                  <a:lnTo>
                    <a:pt x="585788" y="89821"/>
                  </a:lnTo>
                  <a:lnTo>
                    <a:pt x="587121" y="88011"/>
                  </a:lnTo>
                  <a:lnTo>
                    <a:pt x="584930" y="83439"/>
                  </a:lnTo>
                  <a:lnTo>
                    <a:pt x="583216" y="82105"/>
                  </a:lnTo>
                  <a:lnTo>
                    <a:pt x="580263" y="84106"/>
                  </a:lnTo>
                  <a:lnTo>
                    <a:pt x="579977" y="82487"/>
                  </a:lnTo>
                  <a:lnTo>
                    <a:pt x="578453" y="82677"/>
                  </a:lnTo>
                  <a:lnTo>
                    <a:pt x="576643" y="81343"/>
                  </a:lnTo>
                  <a:lnTo>
                    <a:pt x="578263" y="81153"/>
                  </a:lnTo>
                  <a:lnTo>
                    <a:pt x="579406" y="77724"/>
                  </a:lnTo>
                  <a:lnTo>
                    <a:pt x="577882" y="77914"/>
                  </a:lnTo>
                  <a:lnTo>
                    <a:pt x="576072" y="76581"/>
                  </a:lnTo>
                  <a:lnTo>
                    <a:pt x="574453" y="76771"/>
                  </a:lnTo>
                  <a:lnTo>
                    <a:pt x="573691" y="70485"/>
                  </a:lnTo>
                  <a:lnTo>
                    <a:pt x="570357" y="69247"/>
                  </a:lnTo>
                  <a:lnTo>
                    <a:pt x="571500" y="65913"/>
                  </a:lnTo>
                  <a:lnTo>
                    <a:pt x="567404" y="71247"/>
                  </a:lnTo>
                  <a:lnTo>
                    <a:pt x="562451" y="70295"/>
                  </a:lnTo>
                  <a:lnTo>
                    <a:pt x="561880" y="65532"/>
                  </a:lnTo>
                  <a:lnTo>
                    <a:pt x="557498" y="69342"/>
                  </a:lnTo>
                  <a:lnTo>
                    <a:pt x="553688" y="64961"/>
                  </a:lnTo>
                  <a:lnTo>
                    <a:pt x="553307" y="61817"/>
                  </a:lnTo>
                  <a:lnTo>
                    <a:pt x="556450" y="61436"/>
                  </a:lnTo>
                  <a:lnTo>
                    <a:pt x="554546" y="58483"/>
                  </a:lnTo>
                  <a:lnTo>
                    <a:pt x="546640" y="59531"/>
                  </a:lnTo>
                  <a:lnTo>
                    <a:pt x="546449" y="57912"/>
                  </a:lnTo>
                  <a:lnTo>
                    <a:pt x="543306" y="58293"/>
                  </a:lnTo>
                  <a:lnTo>
                    <a:pt x="541496" y="56959"/>
                  </a:lnTo>
                  <a:lnTo>
                    <a:pt x="537496" y="51054"/>
                  </a:lnTo>
                  <a:lnTo>
                    <a:pt x="534733" y="54578"/>
                  </a:lnTo>
                  <a:lnTo>
                    <a:pt x="534162" y="62675"/>
                  </a:lnTo>
                  <a:lnTo>
                    <a:pt x="527875" y="63437"/>
                  </a:lnTo>
                  <a:lnTo>
                    <a:pt x="526066" y="62103"/>
                  </a:lnTo>
                  <a:lnTo>
                    <a:pt x="524732" y="63913"/>
                  </a:lnTo>
                  <a:lnTo>
                    <a:pt x="520541" y="56388"/>
                  </a:lnTo>
                  <a:lnTo>
                    <a:pt x="521780" y="53054"/>
                  </a:lnTo>
                  <a:lnTo>
                    <a:pt x="515398" y="53816"/>
                  </a:lnTo>
                  <a:lnTo>
                    <a:pt x="515874" y="56959"/>
                  </a:lnTo>
                  <a:lnTo>
                    <a:pt x="511112" y="57626"/>
                  </a:lnTo>
                  <a:lnTo>
                    <a:pt x="511302" y="59150"/>
                  </a:lnTo>
                  <a:lnTo>
                    <a:pt x="508159" y="59531"/>
                  </a:lnTo>
                  <a:lnTo>
                    <a:pt x="507968" y="58007"/>
                  </a:lnTo>
                  <a:lnTo>
                    <a:pt x="501587" y="58769"/>
                  </a:lnTo>
                  <a:lnTo>
                    <a:pt x="498253" y="57626"/>
                  </a:lnTo>
                  <a:lnTo>
                    <a:pt x="495300" y="59626"/>
                  </a:lnTo>
                  <a:lnTo>
                    <a:pt x="493300" y="56674"/>
                  </a:lnTo>
                  <a:lnTo>
                    <a:pt x="490538" y="60198"/>
                  </a:lnTo>
                  <a:lnTo>
                    <a:pt x="490156" y="57055"/>
                  </a:lnTo>
                  <a:lnTo>
                    <a:pt x="489204" y="62008"/>
                  </a:lnTo>
                  <a:lnTo>
                    <a:pt x="487204" y="59055"/>
                  </a:lnTo>
                  <a:lnTo>
                    <a:pt x="489966" y="55436"/>
                  </a:lnTo>
                  <a:lnTo>
                    <a:pt x="487775" y="50959"/>
                  </a:lnTo>
                  <a:lnTo>
                    <a:pt x="489204" y="49149"/>
                  </a:lnTo>
                  <a:lnTo>
                    <a:pt x="486061" y="49530"/>
                  </a:lnTo>
                  <a:lnTo>
                    <a:pt x="484251" y="48196"/>
                  </a:lnTo>
                  <a:lnTo>
                    <a:pt x="481108" y="48578"/>
                  </a:lnTo>
                  <a:lnTo>
                    <a:pt x="477298" y="44291"/>
                  </a:lnTo>
                  <a:lnTo>
                    <a:pt x="477107" y="42672"/>
                  </a:lnTo>
                  <a:lnTo>
                    <a:pt x="478060" y="37719"/>
                  </a:lnTo>
                  <a:lnTo>
                    <a:pt x="471773" y="38576"/>
                  </a:lnTo>
                  <a:lnTo>
                    <a:pt x="469773" y="35624"/>
                  </a:lnTo>
                  <a:lnTo>
                    <a:pt x="469392" y="32480"/>
                  </a:lnTo>
                  <a:lnTo>
                    <a:pt x="464630" y="33052"/>
                  </a:lnTo>
                  <a:lnTo>
                    <a:pt x="455390" y="22955"/>
                  </a:lnTo>
                  <a:lnTo>
                    <a:pt x="448818" y="22193"/>
                  </a:lnTo>
                  <a:lnTo>
                    <a:pt x="445294" y="19431"/>
                  </a:lnTo>
                  <a:lnTo>
                    <a:pt x="441579" y="15145"/>
                  </a:lnTo>
                  <a:lnTo>
                    <a:pt x="437769" y="10763"/>
                  </a:lnTo>
                  <a:lnTo>
                    <a:pt x="432625" y="8287"/>
                  </a:lnTo>
                  <a:lnTo>
                    <a:pt x="421957" y="0"/>
                  </a:lnTo>
                  <a:lnTo>
                    <a:pt x="420624" y="1810"/>
                  </a:lnTo>
                  <a:lnTo>
                    <a:pt x="421386" y="8096"/>
                  </a:lnTo>
                  <a:lnTo>
                    <a:pt x="417290" y="13430"/>
                  </a:lnTo>
                  <a:lnTo>
                    <a:pt x="413480" y="9049"/>
                  </a:lnTo>
                  <a:lnTo>
                    <a:pt x="405860" y="11716"/>
                  </a:lnTo>
                  <a:lnTo>
                    <a:pt x="406051" y="13240"/>
                  </a:lnTo>
                  <a:lnTo>
                    <a:pt x="407765" y="14668"/>
                  </a:lnTo>
                  <a:lnTo>
                    <a:pt x="406241" y="14859"/>
                  </a:lnTo>
                  <a:lnTo>
                    <a:pt x="406813" y="19526"/>
                  </a:lnTo>
                  <a:lnTo>
                    <a:pt x="402336" y="21717"/>
                  </a:lnTo>
                  <a:lnTo>
                    <a:pt x="399097" y="22193"/>
                  </a:lnTo>
                  <a:lnTo>
                    <a:pt x="399574" y="25337"/>
                  </a:lnTo>
                  <a:lnTo>
                    <a:pt x="397955" y="25527"/>
                  </a:lnTo>
                  <a:lnTo>
                    <a:pt x="393954" y="19621"/>
                  </a:lnTo>
                  <a:lnTo>
                    <a:pt x="388906" y="17050"/>
                  </a:lnTo>
                  <a:lnTo>
                    <a:pt x="385953" y="19050"/>
                  </a:lnTo>
                  <a:lnTo>
                    <a:pt x="376047" y="29908"/>
                  </a:lnTo>
                  <a:lnTo>
                    <a:pt x="376428" y="33052"/>
                  </a:lnTo>
                  <a:lnTo>
                    <a:pt x="371570" y="32099"/>
                  </a:lnTo>
                  <a:lnTo>
                    <a:pt x="368998" y="37243"/>
                  </a:lnTo>
                  <a:lnTo>
                    <a:pt x="365093" y="44101"/>
                  </a:lnTo>
                  <a:lnTo>
                    <a:pt x="365665" y="48863"/>
                  </a:lnTo>
                  <a:lnTo>
                    <a:pt x="367665" y="51816"/>
                  </a:lnTo>
                  <a:lnTo>
                    <a:pt x="372332" y="51245"/>
                  </a:lnTo>
                  <a:lnTo>
                    <a:pt x="375475" y="50768"/>
                  </a:lnTo>
                  <a:lnTo>
                    <a:pt x="374523" y="55721"/>
                  </a:lnTo>
                  <a:lnTo>
                    <a:pt x="378142" y="58483"/>
                  </a:lnTo>
                  <a:lnTo>
                    <a:pt x="377095" y="63437"/>
                  </a:lnTo>
                  <a:lnTo>
                    <a:pt x="382238" y="66008"/>
                  </a:lnTo>
                  <a:lnTo>
                    <a:pt x="379285" y="68008"/>
                  </a:lnTo>
                  <a:lnTo>
                    <a:pt x="379762" y="71152"/>
                  </a:lnTo>
                  <a:lnTo>
                    <a:pt x="376999" y="74676"/>
                  </a:lnTo>
                  <a:lnTo>
                    <a:pt x="373761" y="75057"/>
                  </a:lnTo>
                  <a:lnTo>
                    <a:pt x="371094" y="78676"/>
                  </a:lnTo>
                  <a:lnTo>
                    <a:pt x="371284" y="80200"/>
                  </a:lnTo>
                  <a:lnTo>
                    <a:pt x="367665" y="77438"/>
                  </a:lnTo>
                  <a:lnTo>
                    <a:pt x="366141" y="77629"/>
                  </a:lnTo>
                  <a:lnTo>
                    <a:pt x="364331" y="76295"/>
                  </a:lnTo>
                  <a:lnTo>
                    <a:pt x="359759" y="78486"/>
                  </a:lnTo>
                  <a:lnTo>
                    <a:pt x="352711" y="72962"/>
                  </a:lnTo>
                  <a:lnTo>
                    <a:pt x="353282" y="77724"/>
                  </a:lnTo>
                  <a:lnTo>
                    <a:pt x="350139" y="78105"/>
                  </a:lnTo>
                  <a:lnTo>
                    <a:pt x="346615" y="75343"/>
                  </a:lnTo>
                  <a:lnTo>
                    <a:pt x="345757" y="69056"/>
                  </a:lnTo>
                  <a:lnTo>
                    <a:pt x="344424" y="70771"/>
                  </a:lnTo>
                  <a:lnTo>
                    <a:pt x="342614" y="69437"/>
                  </a:lnTo>
                  <a:lnTo>
                    <a:pt x="340233" y="76200"/>
                  </a:lnTo>
                  <a:lnTo>
                    <a:pt x="336137" y="81534"/>
                  </a:lnTo>
                  <a:lnTo>
                    <a:pt x="333756" y="88201"/>
                  </a:lnTo>
                  <a:lnTo>
                    <a:pt x="335566" y="89630"/>
                  </a:lnTo>
                  <a:lnTo>
                    <a:pt x="332803" y="93154"/>
                  </a:lnTo>
                  <a:lnTo>
                    <a:pt x="333565" y="99441"/>
                  </a:lnTo>
                  <a:lnTo>
                    <a:pt x="332041" y="99632"/>
                  </a:lnTo>
                  <a:lnTo>
                    <a:pt x="331470" y="94964"/>
                  </a:lnTo>
                  <a:lnTo>
                    <a:pt x="326517" y="93917"/>
                  </a:lnTo>
                  <a:lnTo>
                    <a:pt x="319564" y="102870"/>
                  </a:lnTo>
                  <a:lnTo>
                    <a:pt x="310896" y="97536"/>
                  </a:lnTo>
                  <a:lnTo>
                    <a:pt x="303466" y="101727"/>
                  </a:lnTo>
                  <a:lnTo>
                    <a:pt x="296323" y="109061"/>
                  </a:lnTo>
                  <a:lnTo>
                    <a:pt x="294513" y="107633"/>
                  </a:lnTo>
                  <a:lnTo>
                    <a:pt x="293180" y="109442"/>
                  </a:lnTo>
                  <a:lnTo>
                    <a:pt x="288226" y="108395"/>
                  </a:lnTo>
                  <a:lnTo>
                    <a:pt x="285083" y="108871"/>
                  </a:lnTo>
                  <a:lnTo>
                    <a:pt x="284702" y="105728"/>
                  </a:lnTo>
                  <a:lnTo>
                    <a:pt x="283750" y="110585"/>
                  </a:lnTo>
                  <a:lnTo>
                    <a:pt x="283559" y="109061"/>
                  </a:lnTo>
                  <a:lnTo>
                    <a:pt x="280321" y="109442"/>
                  </a:lnTo>
                  <a:lnTo>
                    <a:pt x="275653" y="110014"/>
                  </a:lnTo>
                  <a:lnTo>
                    <a:pt x="274891" y="116586"/>
                  </a:lnTo>
                  <a:lnTo>
                    <a:pt x="271272" y="113824"/>
                  </a:lnTo>
                  <a:lnTo>
                    <a:pt x="269938" y="115633"/>
                  </a:lnTo>
                  <a:lnTo>
                    <a:pt x="272129" y="120110"/>
                  </a:lnTo>
                  <a:lnTo>
                    <a:pt x="264414" y="122682"/>
                  </a:lnTo>
                  <a:lnTo>
                    <a:pt x="264223" y="121158"/>
                  </a:lnTo>
                  <a:lnTo>
                    <a:pt x="261461" y="124682"/>
                  </a:lnTo>
                  <a:lnTo>
                    <a:pt x="259461" y="121729"/>
                  </a:lnTo>
                  <a:lnTo>
                    <a:pt x="256508" y="123730"/>
                  </a:lnTo>
                  <a:lnTo>
                    <a:pt x="256318" y="122111"/>
                  </a:lnTo>
                  <a:lnTo>
                    <a:pt x="250031" y="122968"/>
                  </a:lnTo>
                  <a:lnTo>
                    <a:pt x="249841" y="121349"/>
                  </a:lnTo>
                  <a:lnTo>
                    <a:pt x="255270" y="114205"/>
                  </a:lnTo>
                  <a:lnTo>
                    <a:pt x="253365" y="111252"/>
                  </a:lnTo>
                  <a:lnTo>
                    <a:pt x="250126" y="111728"/>
                  </a:lnTo>
                  <a:lnTo>
                    <a:pt x="247459" y="115253"/>
                  </a:lnTo>
                  <a:lnTo>
                    <a:pt x="244030" y="114109"/>
                  </a:lnTo>
                  <a:lnTo>
                    <a:pt x="241459" y="119253"/>
                  </a:lnTo>
                  <a:lnTo>
                    <a:pt x="236791" y="119825"/>
                  </a:lnTo>
                  <a:lnTo>
                    <a:pt x="234982" y="118396"/>
                  </a:lnTo>
                  <a:lnTo>
                    <a:pt x="231076" y="125349"/>
                  </a:lnTo>
                  <a:lnTo>
                    <a:pt x="229457" y="125539"/>
                  </a:lnTo>
                  <a:lnTo>
                    <a:pt x="229934" y="128683"/>
                  </a:lnTo>
                  <a:lnTo>
                    <a:pt x="233267" y="129921"/>
                  </a:lnTo>
                  <a:lnTo>
                    <a:pt x="231838" y="131636"/>
                  </a:lnTo>
                  <a:lnTo>
                    <a:pt x="233839" y="134588"/>
                  </a:lnTo>
                  <a:lnTo>
                    <a:pt x="226314" y="138779"/>
                  </a:lnTo>
                  <a:lnTo>
                    <a:pt x="227552" y="148209"/>
                  </a:lnTo>
                  <a:lnTo>
                    <a:pt x="228409" y="154591"/>
                  </a:lnTo>
                  <a:lnTo>
                    <a:pt x="214598" y="159544"/>
                  </a:lnTo>
                  <a:lnTo>
                    <a:pt x="216503" y="162496"/>
                  </a:lnTo>
                  <a:lnTo>
                    <a:pt x="211264" y="171164"/>
                  </a:lnTo>
                  <a:lnTo>
                    <a:pt x="209645" y="171355"/>
                  </a:lnTo>
                  <a:lnTo>
                    <a:pt x="209264" y="168212"/>
                  </a:lnTo>
                  <a:lnTo>
                    <a:pt x="207931" y="170021"/>
                  </a:lnTo>
                  <a:lnTo>
                    <a:pt x="207931" y="170021"/>
                  </a:lnTo>
                  <a:lnTo>
                    <a:pt x="204692" y="170402"/>
                  </a:lnTo>
                  <a:lnTo>
                    <a:pt x="206502" y="171736"/>
                  </a:lnTo>
                  <a:lnTo>
                    <a:pt x="203359" y="172212"/>
                  </a:lnTo>
                  <a:lnTo>
                    <a:pt x="205359" y="175165"/>
                  </a:lnTo>
                  <a:lnTo>
                    <a:pt x="202597" y="178689"/>
                  </a:lnTo>
                  <a:lnTo>
                    <a:pt x="201644" y="183642"/>
                  </a:lnTo>
                  <a:lnTo>
                    <a:pt x="200406" y="186976"/>
                  </a:lnTo>
                  <a:lnTo>
                    <a:pt x="202597" y="191548"/>
                  </a:lnTo>
                  <a:lnTo>
                    <a:pt x="200692" y="201359"/>
                  </a:lnTo>
                  <a:lnTo>
                    <a:pt x="202882" y="205930"/>
                  </a:lnTo>
                  <a:lnTo>
                    <a:pt x="201835" y="210884"/>
                  </a:lnTo>
                  <a:lnTo>
                    <a:pt x="205454" y="213646"/>
                  </a:lnTo>
                  <a:lnTo>
                    <a:pt x="203835" y="213836"/>
                  </a:lnTo>
                  <a:lnTo>
                    <a:pt x="206407" y="221551"/>
                  </a:lnTo>
                  <a:lnTo>
                    <a:pt x="209550" y="221075"/>
                  </a:lnTo>
                  <a:lnTo>
                    <a:pt x="213550" y="214217"/>
                  </a:lnTo>
                  <a:lnTo>
                    <a:pt x="221456" y="226028"/>
                  </a:lnTo>
                  <a:lnTo>
                    <a:pt x="229171" y="223457"/>
                  </a:lnTo>
                  <a:lnTo>
                    <a:pt x="240411" y="223552"/>
                  </a:lnTo>
                  <a:lnTo>
                    <a:pt x="239363" y="228505"/>
                  </a:lnTo>
                  <a:lnTo>
                    <a:pt x="243745" y="237554"/>
                  </a:lnTo>
                  <a:lnTo>
                    <a:pt x="251460" y="247841"/>
                  </a:lnTo>
                  <a:lnTo>
                    <a:pt x="252127" y="252603"/>
                  </a:lnTo>
                  <a:lnTo>
                    <a:pt x="249174" y="254508"/>
                  </a:lnTo>
                  <a:lnTo>
                    <a:pt x="247936" y="257937"/>
                  </a:lnTo>
                  <a:lnTo>
                    <a:pt x="251746" y="262223"/>
                  </a:lnTo>
                  <a:lnTo>
                    <a:pt x="248031" y="270700"/>
                  </a:lnTo>
                  <a:lnTo>
                    <a:pt x="244411" y="267938"/>
                  </a:lnTo>
                  <a:lnTo>
                    <a:pt x="245078" y="272701"/>
                  </a:lnTo>
                  <a:lnTo>
                    <a:pt x="243268" y="271367"/>
                  </a:lnTo>
                  <a:lnTo>
                    <a:pt x="243459" y="272891"/>
                  </a:lnTo>
                  <a:lnTo>
                    <a:pt x="241840" y="273082"/>
                  </a:lnTo>
                  <a:lnTo>
                    <a:pt x="237553" y="276892"/>
                  </a:lnTo>
                  <a:lnTo>
                    <a:pt x="238125" y="281654"/>
                  </a:lnTo>
                  <a:lnTo>
                    <a:pt x="232029" y="284036"/>
                  </a:lnTo>
                  <a:lnTo>
                    <a:pt x="231838" y="282416"/>
                  </a:lnTo>
                  <a:lnTo>
                    <a:pt x="228695" y="282797"/>
                  </a:lnTo>
                  <a:lnTo>
                    <a:pt x="224123" y="284988"/>
                  </a:lnTo>
                  <a:lnTo>
                    <a:pt x="222123" y="282035"/>
                  </a:lnTo>
                  <a:lnTo>
                    <a:pt x="219456" y="285559"/>
                  </a:lnTo>
                  <a:lnTo>
                    <a:pt x="216979" y="279463"/>
                  </a:lnTo>
                  <a:lnTo>
                    <a:pt x="210121" y="275558"/>
                  </a:lnTo>
                  <a:lnTo>
                    <a:pt x="208978" y="278892"/>
                  </a:lnTo>
                  <a:lnTo>
                    <a:pt x="204025" y="277939"/>
                  </a:lnTo>
                  <a:lnTo>
                    <a:pt x="204978" y="285845"/>
                  </a:lnTo>
                  <a:lnTo>
                    <a:pt x="204978" y="285845"/>
                  </a:lnTo>
                  <a:lnTo>
                    <a:pt x="202025" y="287846"/>
                  </a:lnTo>
                  <a:lnTo>
                    <a:pt x="198501" y="285083"/>
                  </a:lnTo>
                  <a:lnTo>
                    <a:pt x="199644" y="281750"/>
                  </a:lnTo>
                  <a:lnTo>
                    <a:pt x="194977" y="282321"/>
                  </a:lnTo>
                  <a:lnTo>
                    <a:pt x="195358" y="285464"/>
                  </a:lnTo>
                  <a:lnTo>
                    <a:pt x="198882" y="288226"/>
                  </a:lnTo>
                  <a:lnTo>
                    <a:pt x="197929" y="293180"/>
                  </a:lnTo>
                  <a:lnTo>
                    <a:pt x="193167" y="293751"/>
                  </a:lnTo>
                  <a:lnTo>
                    <a:pt x="193548" y="296894"/>
                  </a:lnTo>
                  <a:lnTo>
                    <a:pt x="192214" y="298704"/>
                  </a:lnTo>
                  <a:lnTo>
                    <a:pt x="191071" y="302038"/>
                  </a:lnTo>
                  <a:lnTo>
                    <a:pt x="192976" y="304991"/>
                  </a:lnTo>
                  <a:lnTo>
                    <a:pt x="191643" y="306800"/>
                  </a:lnTo>
                  <a:lnTo>
                    <a:pt x="191834" y="308324"/>
                  </a:lnTo>
                  <a:lnTo>
                    <a:pt x="183737" y="307753"/>
                  </a:lnTo>
                  <a:lnTo>
                    <a:pt x="183166" y="303086"/>
                  </a:lnTo>
                  <a:lnTo>
                    <a:pt x="180784" y="296989"/>
                  </a:lnTo>
                  <a:lnTo>
                    <a:pt x="173831" y="292989"/>
                  </a:lnTo>
                  <a:lnTo>
                    <a:pt x="174212" y="296132"/>
                  </a:lnTo>
                  <a:lnTo>
                    <a:pt x="172498" y="294799"/>
                  </a:lnTo>
                  <a:lnTo>
                    <a:pt x="172688" y="296323"/>
                  </a:lnTo>
                  <a:lnTo>
                    <a:pt x="169545" y="296799"/>
                  </a:lnTo>
                  <a:lnTo>
                    <a:pt x="164782" y="297371"/>
                  </a:lnTo>
                  <a:lnTo>
                    <a:pt x="162973" y="296037"/>
                  </a:lnTo>
                  <a:lnTo>
                    <a:pt x="160972" y="293084"/>
                  </a:lnTo>
                  <a:lnTo>
                    <a:pt x="160782" y="291465"/>
                  </a:lnTo>
                  <a:lnTo>
                    <a:pt x="156115" y="292037"/>
                  </a:lnTo>
                  <a:lnTo>
                    <a:pt x="157067" y="287179"/>
                  </a:lnTo>
                  <a:lnTo>
                    <a:pt x="158591" y="286893"/>
                  </a:lnTo>
                  <a:lnTo>
                    <a:pt x="160020" y="285179"/>
                  </a:lnTo>
                  <a:lnTo>
                    <a:pt x="155257" y="285750"/>
                  </a:lnTo>
                  <a:lnTo>
                    <a:pt x="154114" y="289084"/>
                  </a:lnTo>
                  <a:lnTo>
                    <a:pt x="152305" y="287750"/>
                  </a:lnTo>
                  <a:lnTo>
                    <a:pt x="149161" y="288131"/>
                  </a:lnTo>
                  <a:lnTo>
                    <a:pt x="150209" y="296037"/>
                  </a:lnTo>
                  <a:lnTo>
                    <a:pt x="145066" y="293465"/>
                  </a:lnTo>
                  <a:lnTo>
                    <a:pt x="137350" y="296037"/>
                  </a:lnTo>
                  <a:lnTo>
                    <a:pt x="135731" y="296228"/>
                  </a:lnTo>
                  <a:lnTo>
                    <a:pt x="136207" y="299371"/>
                  </a:lnTo>
                  <a:lnTo>
                    <a:pt x="132969" y="299847"/>
                  </a:lnTo>
                  <a:lnTo>
                    <a:pt x="129445" y="297085"/>
                  </a:lnTo>
                  <a:lnTo>
                    <a:pt x="128302" y="300418"/>
                  </a:lnTo>
                  <a:lnTo>
                    <a:pt x="125158" y="300800"/>
                  </a:lnTo>
                  <a:lnTo>
                    <a:pt x="121729" y="299657"/>
                  </a:lnTo>
                  <a:lnTo>
                    <a:pt x="115824" y="303562"/>
                  </a:lnTo>
                  <a:lnTo>
                    <a:pt x="108585" y="296513"/>
                  </a:lnTo>
                  <a:lnTo>
                    <a:pt x="104013" y="298704"/>
                  </a:lnTo>
                  <a:lnTo>
                    <a:pt x="101822" y="294132"/>
                  </a:lnTo>
                  <a:lnTo>
                    <a:pt x="95726" y="296513"/>
                  </a:lnTo>
                  <a:lnTo>
                    <a:pt x="94488" y="299942"/>
                  </a:lnTo>
                  <a:lnTo>
                    <a:pt x="92773" y="298513"/>
                  </a:lnTo>
                  <a:lnTo>
                    <a:pt x="91345" y="300323"/>
                  </a:lnTo>
                  <a:lnTo>
                    <a:pt x="89154" y="295751"/>
                  </a:lnTo>
                  <a:lnTo>
                    <a:pt x="87630" y="295942"/>
                  </a:lnTo>
                  <a:lnTo>
                    <a:pt x="87820" y="297561"/>
                  </a:lnTo>
                  <a:lnTo>
                    <a:pt x="82677" y="294989"/>
                  </a:lnTo>
                  <a:lnTo>
                    <a:pt x="84106" y="293275"/>
                  </a:lnTo>
                  <a:lnTo>
                    <a:pt x="78772" y="289084"/>
                  </a:lnTo>
                  <a:lnTo>
                    <a:pt x="78486" y="287560"/>
                  </a:lnTo>
                  <a:lnTo>
                    <a:pt x="66103" y="290703"/>
                  </a:lnTo>
                  <a:lnTo>
                    <a:pt x="59817" y="291465"/>
                  </a:lnTo>
                  <a:lnTo>
                    <a:pt x="54673" y="301752"/>
                  </a:lnTo>
                  <a:lnTo>
                    <a:pt x="58198" y="304514"/>
                  </a:lnTo>
                  <a:lnTo>
                    <a:pt x="63151" y="305467"/>
                  </a:lnTo>
                  <a:lnTo>
                    <a:pt x="67151" y="311372"/>
                  </a:lnTo>
                  <a:lnTo>
                    <a:pt x="65722" y="313182"/>
                  </a:lnTo>
                  <a:lnTo>
                    <a:pt x="67913" y="317754"/>
                  </a:lnTo>
                  <a:lnTo>
                    <a:pt x="66580" y="319468"/>
                  </a:lnTo>
                  <a:lnTo>
                    <a:pt x="60484" y="321850"/>
                  </a:lnTo>
                  <a:lnTo>
                    <a:pt x="48958" y="320135"/>
                  </a:lnTo>
                  <a:lnTo>
                    <a:pt x="46482" y="325279"/>
                  </a:lnTo>
                  <a:lnTo>
                    <a:pt x="39338" y="319754"/>
                  </a:lnTo>
                  <a:lnTo>
                    <a:pt x="34576" y="320421"/>
                  </a:lnTo>
                  <a:lnTo>
                    <a:pt x="31813" y="323945"/>
                  </a:lnTo>
                  <a:lnTo>
                    <a:pt x="32671" y="330232"/>
                  </a:lnTo>
                  <a:lnTo>
                    <a:pt x="31242" y="332042"/>
                  </a:lnTo>
                  <a:lnTo>
                    <a:pt x="29908" y="333756"/>
                  </a:lnTo>
                  <a:lnTo>
                    <a:pt x="33433" y="336518"/>
                  </a:lnTo>
                  <a:lnTo>
                    <a:pt x="37624" y="344043"/>
                  </a:lnTo>
                  <a:lnTo>
                    <a:pt x="34480" y="344424"/>
                  </a:lnTo>
                  <a:lnTo>
                    <a:pt x="29718" y="345091"/>
                  </a:lnTo>
                  <a:lnTo>
                    <a:pt x="28384" y="346805"/>
                  </a:lnTo>
                  <a:lnTo>
                    <a:pt x="29146" y="353187"/>
                  </a:lnTo>
                  <a:lnTo>
                    <a:pt x="25241" y="360045"/>
                  </a:lnTo>
                  <a:lnTo>
                    <a:pt x="26956" y="361474"/>
                  </a:lnTo>
                  <a:lnTo>
                    <a:pt x="30956" y="367379"/>
                  </a:lnTo>
                  <a:lnTo>
                    <a:pt x="33718" y="376618"/>
                  </a:lnTo>
                  <a:lnTo>
                    <a:pt x="37338" y="379381"/>
                  </a:lnTo>
                  <a:lnTo>
                    <a:pt x="36100" y="382714"/>
                  </a:lnTo>
                  <a:lnTo>
                    <a:pt x="31813" y="386525"/>
                  </a:lnTo>
                  <a:lnTo>
                    <a:pt x="23527" y="384334"/>
                  </a:lnTo>
                  <a:lnTo>
                    <a:pt x="20383" y="384715"/>
                  </a:lnTo>
                  <a:lnTo>
                    <a:pt x="16764" y="381953"/>
                  </a:lnTo>
                  <a:lnTo>
                    <a:pt x="17145" y="385096"/>
                  </a:lnTo>
                  <a:lnTo>
                    <a:pt x="12097" y="382619"/>
                  </a:lnTo>
                  <a:lnTo>
                    <a:pt x="9715" y="389287"/>
                  </a:lnTo>
                  <a:lnTo>
                    <a:pt x="8763" y="394240"/>
                  </a:lnTo>
                  <a:lnTo>
                    <a:pt x="15430" y="396621"/>
                  </a:lnTo>
                  <a:lnTo>
                    <a:pt x="17240" y="397955"/>
                  </a:lnTo>
                  <a:lnTo>
                    <a:pt x="19240" y="400907"/>
                  </a:lnTo>
                  <a:lnTo>
                    <a:pt x="19621" y="404050"/>
                  </a:lnTo>
                  <a:lnTo>
                    <a:pt x="26956" y="411194"/>
                  </a:lnTo>
                  <a:lnTo>
                    <a:pt x="25336" y="411385"/>
                  </a:lnTo>
                  <a:lnTo>
                    <a:pt x="25717" y="414528"/>
                  </a:lnTo>
                  <a:lnTo>
                    <a:pt x="27527" y="415862"/>
                  </a:lnTo>
                  <a:lnTo>
                    <a:pt x="26956" y="423958"/>
                  </a:lnTo>
                  <a:lnTo>
                    <a:pt x="29146" y="428530"/>
                  </a:lnTo>
                  <a:lnTo>
                    <a:pt x="26194" y="430530"/>
                  </a:lnTo>
                  <a:lnTo>
                    <a:pt x="23813" y="437197"/>
                  </a:lnTo>
                  <a:lnTo>
                    <a:pt x="20860" y="439198"/>
                  </a:lnTo>
                  <a:lnTo>
                    <a:pt x="19336" y="439388"/>
                  </a:lnTo>
                  <a:lnTo>
                    <a:pt x="21431" y="443960"/>
                  </a:lnTo>
                  <a:lnTo>
                    <a:pt x="24860" y="445103"/>
                  </a:lnTo>
                  <a:lnTo>
                    <a:pt x="25241" y="448246"/>
                  </a:lnTo>
                  <a:lnTo>
                    <a:pt x="23146" y="469392"/>
                  </a:lnTo>
                  <a:lnTo>
                    <a:pt x="18383" y="469963"/>
                  </a:lnTo>
                  <a:lnTo>
                    <a:pt x="15811" y="475107"/>
                  </a:lnTo>
                  <a:lnTo>
                    <a:pt x="15621" y="486346"/>
                  </a:lnTo>
                  <a:lnTo>
                    <a:pt x="11716" y="493300"/>
                  </a:lnTo>
                  <a:lnTo>
                    <a:pt x="8572" y="493681"/>
                  </a:lnTo>
                  <a:lnTo>
                    <a:pt x="7429" y="497014"/>
                  </a:lnTo>
                  <a:lnTo>
                    <a:pt x="7810" y="500158"/>
                  </a:lnTo>
                  <a:lnTo>
                    <a:pt x="12287" y="498062"/>
                  </a:lnTo>
                  <a:lnTo>
                    <a:pt x="13716" y="496253"/>
                  </a:lnTo>
                  <a:lnTo>
                    <a:pt x="16859" y="495871"/>
                  </a:lnTo>
                  <a:lnTo>
                    <a:pt x="14478" y="502539"/>
                  </a:lnTo>
                  <a:lnTo>
                    <a:pt x="11525" y="504539"/>
                  </a:lnTo>
                  <a:lnTo>
                    <a:pt x="12192" y="509302"/>
                  </a:lnTo>
                  <a:lnTo>
                    <a:pt x="9239" y="511207"/>
                  </a:lnTo>
                  <a:lnTo>
                    <a:pt x="10192" y="519113"/>
                  </a:lnTo>
                  <a:lnTo>
                    <a:pt x="9049" y="522446"/>
                  </a:lnTo>
                  <a:lnTo>
                    <a:pt x="9430" y="525685"/>
                  </a:lnTo>
                  <a:lnTo>
                    <a:pt x="8477" y="530543"/>
                  </a:lnTo>
                  <a:lnTo>
                    <a:pt x="5524" y="532543"/>
                  </a:lnTo>
                  <a:lnTo>
                    <a:pt x="2191" y="531400"/>
                  </a:lnTo>
                  <a:lnTo>
                    <a:pt x="1143" y="536353"/>
                  </a:lnTo>
                  <a:lnTo>
                    <a:pt x="4572" y="537496"/>
                  </a:lnTo>
                  <a:lnTo>
                    <a:pt x="1619" y="539496"/>
                  </a:lnTo>
                  <a:lnTo>
                    <a:pt x="381" y="542830"/>
                  </a:lnTo>
                  <a:lnTo>
                    <a:pt x="2381" y="545783"/>
                  </a:lnTo>
                  <a:lnTo>
                    <a:pt x="2762" y="548926"/>
                  </a:lnTo>
                  <a:lnTo>
                    <a:pt x="0" y="552545"/>
                  </a:lnTo>
                  <a:lnTo>
                    <a:pt x="2000" y="555498"/>
                  </a:lnTo>
                  <a:lnTo>
                    <a:pt x="3619" y="555308"/>
                  </a:lnTo>
                  <a:lnTo>
                    <a:pt x="12287" y="560546"/>
                  </a:lnTo>
                  <a:lnTo>
                    <a:pt x="20383" y="561118"/>
                  </a:lnTo>
                  <a:lnTo>
                    <a:pt x="24289" y="567023"/>
                  </a:lnTo>
                  <a:lnTo>
                    <a:pt x="25717" y="578072"/>
                  </a:lnTo>
                  <a:lnTo>
                    <a:pt x="30289" y="575882"/>
                  </a:lnTo>
                  <a:lnTo>
                    <a:pt x="29337" y="580834"/>
                  </a:lnTo>
                  <a:lnTo>
                    <a:pt x="25908" y="579692"/>
                  </a:lnTo>
                  <a:lnTo>
                    <a:pt x="22955" y="581692"/>
                  </a:lnTo>
                  <a:lnTo>
                    <a:pt x="19050" y="588550"/>
                  </a:lnTo>
                  <a:lnTo>
                    <a:pt x="17240" y="587216"/>
                  </a:lnTo>
                  <a:lnTo>
                    <a:pt x="17907" y="591979"/>
                  </a:lnTo>
                  <a:lnTo>
                    <a:pt x="13144" y="592550"/>
                  </a:lnTo>
                  <a:lnTo>
                    <a:pt x="13716" y="597313"/>
                  </a:lnTo>
                  <a:lnTo>
                    <a:pt x="10763" y="599218"/>
                  </a:lnTo>
                  <a:lnTo>
                    <a:pt x="11239" y="602361"/>
                  </a:lnTo>
                  <a:lnTo>
                    <a:pt x="13335" y="606933"/>
                  </a:lnTo>
                  <a:lnTo>
                    <a:pt x="20669" y="613982"/>
                  </a:lnTo>
                  <a:lnTo>
                    <a:pt x="27432" y="616363"/>
                  </a:lnTo>
                  <a:lnTo>
                    <a:pt x="27813" y="619506"/>
                  </a:lnTo>
                  <a:lnTo>
                    <a:pt x="24098" y="627983"/>
                  </a:lnTo>
                  <a:lnTo>
                    <a:pt x="30766" y="630364"/>
                  </a:lnTo>
                  <a:lnTo>
                    <a:pt x="39052" y="632555"/>
                  </a:lnTo>
                  <a:lnTo>
                    <a:pt x="39529" y="635699"/>
                  </a:lnTo>
                  <a:lnTo>
                    <a:pt x="42863" y="636842"/>
                  </a:lnTo>
                  <a:lnTo>
                    <a:pt x="41910" y="641795"/>
                  </a:lnTo>
                  <a:lnTo>
                    <a:pt x="45815" y="647700"/>
                  </a:lnTo>
                  <a:lnTo>
                    <a:pt x="47625" y="649129"/>
                  </a:lnTo>
                  <a:lnTo>
                    <a:pt x="50578" y="647129"/>
                  </a:lnTo>
                  <a:lnTo>
                    <a:pt x="57912" y="654177"/>
                  </a:lnTo>
                  <a:lnTo>
                    <a:pt x="61817" y="660083"/>
                  </a:lnTo>
                  <a:lnTo>
                    <a:pt x="62484" y="664845"/>
                  </a:lnTo>
                  <a:lnTo>
                    <a:pt x="64008" y="664655"/>
                  </a:lnTo>
                  <a:lnTo>
                    <a:pt x="64198" y="666179"/>
                  </a:lnTo>
                  <a:lnTo>
                    <a:pt x="72485" y="668369"/>
                  </a:lnTo>
                  <a:lnTo>
                    <a:pt x="80581" y="656082"/>
                  </a:lnTo>
                  <a:lnTo>
                    <a:pt x="85153" y="653891"/>
                  </a:lnTo>
                  <a:lnTo>
                    <a:pt x="89440" y="650176"/>
                  </a:lnTo>
                  <a:lnTo>
                    <a:pt x="92583" y="649796"/>
                  </a:lnTo>
                  <a:lnTo>
                    <a:pt x="94012" y="647986"/>
                  </a:lnTo>
                  <a:lnTo>
                    <a:pt x="99917" y="643985"/>
                  </a:lnTo>
                  <a:lnTo>
                    <a:pt x="101917" y="646938"/>
                  </a:lnTo>
                  <a:lnTo>
                    <a:pt x="103251" y="645224"/>
                  </a:lnTo>
                  <a:lnTo>
                    <a:pt x="102298" y="650176"/>
                  </a:lnTo>
                  <a:lnTo>
                    <a:pt x="107251" y="651129"/>
                  </a:lnTo>
                  <a:lnTo>
                    <a:pt x="111538" y="660178"/>
                  </a:lnTo>
                  <a:lnTo>
                    <a:pt x="113728" y="664750"/>
                  </a:lnTo>
                  <a:lnTo>
                    <a:pt x="122491" y="669988"/>
                  </a:lnTo>
                  <a:lnTo>
                    <a:pt x="121063" y="671798"/>
                  </a:lnTo>
                  <a:lnTo>
                    <a:pt x="126016" y="672751"/>
                  </a:lnTo>
                  <a:lnTo>
                    <a:pt x="127159" y="669417"/>
                  </a:lnTo>
                  <a:lnTo>
                    <a:pt x="128968" y="670751"/>
                  </a:lnTo>
                  <a:lnTo>
                    <a:pt x="137255" y="672941"/>
                  </a:lnTo>
                  <a:lnTo>
                    <a:pt x="152019" y="675894"/>
                  </a:lnTo>
                  <a:lnTo>
                    <a:pt x="151447" y="683990"/>
                  </a:lnTo>
                  <a:lnTo>
                    <a:pt x="147161" y="687705"/>
                  </a:lnTo>
                  <a:lnTo>
                    <a:pt x="151162" y="693611"/>
                  </a:lnTo>
                  <a:lnTo>
                    <a:pt x="150114" y="698563"/>
                  </a:lnTo>
                  <a:lnTo>
                    <a:pt x="137160" y="697039"/>
                  </a:lnTo>
                  <a:lnTo>
                    <a:pt x="133731" y="695801"/>
                  </a:lnTo>
                  <a:lnTo>
                    <a:pt x="132207" y="696087"/>
                  </a:lnTo>
                  <a:lnTo>
                    <a:pt x="136112" y="701993"/>
                  </a:lnTo>
                  <a:lnTo>
                    <a:pt x="142684" y="702755"/>
                  </a:lnTo>
                  <a:lnTo>
                    <a:pt x="148209" y="708470"/>
                  </a:lnTo>
                  <a:lnTo>
                    <a:pt x="153734" y="701326"/>
                  </a:lnTo>
                  <a:lnTo>
                    <a:pt x="163163" y="700088"/>
                  </a:lnTo>
                  <a:lnTo>
                    <a:pt x="166497" y="701326"/>
                  </a:lnTo>
                  <a:lnTo>
                    <a:pt x="168688" y="705803"/>
                  </a:lnTo>
                  <a:lnTo>
                    <a:pt x="171831" y="705422"/>
                  </a:lnTo>
                  <a:lnTo>
                    <a:pt x="174403" y="713137"/>
                  </a:lnTo>
                  <a:lnTo>
                    <a:pt x="176213" y="714470"/>
                  </a:lnTo>
                  <a:lnTo>
                    <a:pt x="176403" y="716089"/>
                  </a:lnTo>
                  <a:lnTo>
                    <a:pt x="175069" y="717804"/>
                  </a:lnTo>
                  <a:lnTo>
                    <a:pt x="177832" y="727138"/>
                  </a:lnTo>
                  <a:lnTo>
                    <a:pt x="176689" y="730472"/>
                  </a:lnTo>
                  <a:lnTo>
                    <a:pt x="184975" y="732568"/>
                  </a:lnTo>
                  <a:lnTo>
                    <a:pt x="191643" y="734949"/>
                  </a:lnTo>
                  <a:lnTo>
                    <a:pt x="194977" y="736187"/>
                  </a:lnTo>
                  <a:lnTo>
                    <a:pt x="204121" y="731806"/>
                  </a:lnTo>
                  <a:lnTo>
                    <a:pt x="213741" y="719328"/>
                  </a:lnTo>
                  <a:lnTo>
                    <a:pt x="213169" y="714566"/>
                  </a:lnTo>
                  <a:lnTo>
                    <a:pt x="218027" y="715613"/>
                  </a:lnTo>
                  <a:lnTo>
                    <a:pt x="224409" y="727615"/>
                  </a:lnTo>
                  <a:lnTo>
                    <a:pt x="225552" y="724186"/>
                  </a:lnTo>
                  <a:lnTo>
                    <a:pt x="231934" y="723424"/>
                  </a:lnTo>
                  <a:lnTo>
                    <a:pt x="240601" y="728758"/>
                  </a:lnTo>
                  <a:lnTo>
                    <a:pt x="243745" y="728377"/>
                  </a:lnTo>
                  <a:lnTo>
                    <a:pt x="248888" y="730853"/>
                  </a:lnTo>
                  <a:lnTo>
                    <a:pt x="250222" y="729139"/>
                  </a:lnTo>
                  <a:lnTo>
                    <a:pt x="260890" y="737330"/>
                  </a:lnTo>
                  <a:lnTo>
                    <a:pt x="258223" y="740950"/>
                  </a:lnTo>
                  <a:lnTo>
                    <a:pt x="259937" y="742283"/>
                  </a:lnTo>
                  <a:lnTo>
                    <a:pt x="257651" y="749046"/>
                  </a:lnTo>
                  <a:lnTo>
                    <a:pt x="262128" y="746855"/>
                  </a:lnTo>
                  <a:lnTo>
                    <a:pt x="261747" y="743712"/>
                  </a:lnTo>
                  <a:lnTo>
                    <a:pt x="266033" y="739902"/>
                  </a:lnTo>
                  <a:lnTo>
                    <a:pt x="269462" y="741140"/>
                  </a:lnTo>
                  <a:lnTo>
                    <a:pt x="271367" y="744093"/>
                  </a:lnTo>
                  <a:lnTo>
                    <a:pt x="275939" y="741902"/>
                  </a:lnTo>
                  <a:lnTo>
                    <a:pt x="280035" y="736568"/>
                  </a:lnTo>
                  <a:lnTo>
                    <a:pt x="286417" y="735711"/>
                  </a:lnTo>
                  <a:lnTo>
                    <a:pt x="295084" y="741045"/>
                  </a:lnTo>
                  <a:lnTo>
                    <a:pt x="301180" y="738664"/>
                  </a:lnTo>
                  <a:lnTo>
                    <a:pt x="300609" y="733901"/>
                  </a:lnTo>
                  <a:lnTo>
                    <a:pt x="305276" y="733330"/>
                  </a:lnTo>
                  <a:lnTo>
                    <a:pt x="307276" y="736283"/>
                  </a:lnTo>
                  <a:lnTo>
                    <a:pt x="310420" y="735901"/>
                  </a:lnTo>
                  <a:lnTo>
                    <a:pt x="313372" y="733901"/>
                  </a:lnTo>
                  <a:lnTo>
                    <a:pt x="320135" y="736283"/>
                  </a:lnTo>
                  <a:lnTo>
                    <a:pt x="323659" y="739045"/>
                  </a:lnTo>
                  <a:lnTo>
                    <a:pt x="323088" y="747046"/>
                  </a:lnTo>
                  <a:lnTo>
                    <a:pt x="324326" y="756571"/>
                  </a:lnTo>
                  <a:lnTo>
                    <a:pt x="326517" y="761047"/>
                  </a:lnTo>
                  <a:lnTo>
                    <a:pt x="325088" y="762857"/>
                  </a:lnTo>
                  <a:lnTo>
                    <a:pt x="328517" y="764000"/>
                  </a:lnTo>
                  <a:lnTo>
                    <a:pt x="324517" y="770954"/>
                  </a:lnTo>
                  <a:lnTo>
                    <a:pt x="324993" y="774097"/>
                  </a:lnTo>
                  <a:lnTo>
                    <a:pt x="320992" y="781050"/>
                  </a:lnTo>
                  <a:lnTo>
                    <a:pt x="321850" y="787337"/>
                  </a:lnTo>
                  <a:lnTo>
                    <a:pt x="321850" y="787337"/>
                  </a:lnTo>
                  <a:lnTo>
                    <a:pt x="317849" y="794290"/>
                  </a:lnTo>
                  <a:lnTo>
                    <a:pt x="321088" y="793813"/>
                  </a:lnTo>
                  <a:lnTo>
                    <a:pt x="324421" y="795052"/>
                  </a:lnTo>
                  <a:lnTo>
                    <a:pt x="324993" y="799814"/>
                  </a:lnTo>
                  <a:lnTo>
                    <a:pt x="327565" y="807434"/>
                  </a:lnTo>
                  <a:lnTo>
                    <a:pt x="329565" y="810387"/>
                  </a:lnTo>
                  <a:lnTo>
                    <a:pt x="332708" y="810006"/>
                  </a:lnTo>
                  <a:lnTo>
                    <a:pt x="330517" y="805434"/>
                  </a:lnTo>
                  <a:lnTo>
                    <a:pt x="333946" y="806672"/>
                  </a:lnTo>
                  <a:lnTo>
                    <a:pt x="335470" y="806482"/>
                  </a:lnTo>
                  <a:lnTo>
                    <a:pt x="334518" y="811435"/>
                  </a:lnTo>
                  <a:lnTo>
                    <a:pt x="341471" y="815340"/>
                  </a:lnTo>
                  <a:lnTo>
                    <a:pt x="342614" y="812006"/>
                  </a:lnTo>
                  <a:lnTo>
                    <a:pt x="346329" y="816293"/>
                  </a:lnTo>
                  <a:lnTo>
                    <a:pt x="348710" y="822388"/>
                  </a:lnTo>
                  <a:lnTo>
                    <a:pt x="347758" y="827342"/>
                  </a:lnTo>
                  <a:lnTo>
                    <a:pt x="354711" y="831247"/>
                  </a:lnTo>
                  <a:lnTo>
                    <a:pt x="357854" y="830866"/>
                  </a:lnTo>
                  <a:lnTo>
                    <a:pt x="359378" y="830675"/>
                  </a:lnTo>
                  <a:lnTo>
                    <a:pt x="366331" y="834580"/>
                  </a:lnTo>
                  <a:lnTo>
                    <a:pt x="370046" y="838962"/>
                  </a:lnTo>
                  <a:lnTo>
                    <a:pt x="378619" y="842677"/>
                  </a:lnTo>
                  <a:lnTo>
                    <a:pt x="377857" y="849154"/>
                  </a:lnTo>
                  <a:lnTo>
                    <a:pt x="379571" y="850583"/>
                  </a:lnTo>
                  <a:lnTo>
                    <a:pt x="382143" y="845439"/>
                  </a:lnTo>
                  <a:lnTo>
                    <a:pt x="384334" y="837152"/>
                  </a:lnTo>
                  <a:lnTo>
                    <a:pt x="385858" y="836962"/>
                  </a:lnTo>
                  <a:lnTo>
                    <a:pt x="387286" y="835152"/>
                  </a:lnTo>
                  <a:lnTo>
                    <a:pt x="390239" y="833152"/>
                  </a:lnTo>
                  <a:lnTo>
                    <a:pt x="393382" y="832771"/>
                  </a:lnTo>
                  <a:lnTo>
                    <a:pt x="396907" y="835533"/>
                  </a:lnTo>
                  <a:lnTo>
                    <a:pt x="404622" y="845725"/>
                  </a:lnTo>
                  <a:lnTo>
                    <a:pt x="406241" y="845534"/>
                  </a:lnTo>
                  <a:lnTo>
                    <a:pt x="408241" y="848487"/>
                  </a:lnTo>
                  <a:lnTo>
                    <a:pt x="409575" y="846772"/>
                  </a:lnTo>
                  <a:lnTo>
                    <a:pt x="412909" y="847916"/>
                  </a:lnTo>
                  <a:lnTo>
                    <a:pt x="412528" y="844772"/>
                  </a:lnTo>
                  <a:lnTo>
                    <a:pt x="423958" y="846487"/>
                  </a:lnTo>
                  <a:lnTo>
                    <a:pt x="430530" y="847249"/>
                  </a:lnTo>
                  <a:lnTo>
                    <a:pt x="435388" y="848201"/>
                  </a:lnTo>
                  <a:lnTo>
                    <a:pt x="442150" y="837819"/>
                  </a:lnTo>
                  <a:lnTo>
                    <a:pt x="443484" y="836009"/>
                  </a:lnTo>
                  <a:lnTo>
                    <a:pt x="451580" y="836581"/>
                  </a:lnTo>
                  <a:lnTo>
                    <a:pt x="455295" y="840867"/>
                  </a:lnTo>
                  <a:lnTo>
                    <a:pt x="455581" y="842486"/>
                  </a:lnTo>
                  <a:lnTo>
                    <a:pt x="460438" y="843439"/>
                  </a:lnTo>
                  <a:lnTo>
                    <a:pt x="463201" y="839914"/>
                  </a:lnTo>
                  <a:lnTo>
                    <a:pt x="459486" y="835533"/>
                  </a:lnTo>
                  <a:lnTo>
                    <a:pt x="460438" y="830675"/>
                  </a:lnTo>
                  <a:lnTo>
                    <a:pt x="463772" y="831818"/>
                  </a:lnTo>
                  <a:lnTo>
                    <a:pt x="466725" y="829818"/>
                  </a:lnTo>
                  <a:lnTo>
                    <a:pt x="473869" y="835343"/>
                  </a:lnTo>
                  <a:lnTo>
                    <a:pt x="473107" y="841820"/>
                  </a:lnTo>
                  <a:lnTo>
                    <a:pt x="475488" y="835152"/>
                  </a:lnTo>
                  <a:lnTo>
                    <a:pt x="482155" y="837438"/>
                  </a:lnTo>
                  <a:lnTo>
                    <a:pt x="483394" y="846963"/>
                  </a:lnTo>
                  <a:lnTo>
                    <a:pt x="485775" y="853059"/>
                  </a:lnTo>
                  <a:lnTo>
                    <a:pt x="483965" y="851726"/>
                  </a:lnTo>
                  <a:lnTo>
                    <a:pt x="476059" y="852678"/>
                  </a:lnTo>
                  <a:lnTo>
                    <a:pt x="474726" y="854488"/>
                  </a:lnTo>
                  <a:lnTo>
                    <a:pt x="478250" y="857250"/>
                  </a:lnTo>
                  <a:lnTo>
                    <a:pt x="487585" y="867251"/>
                  </a:lnTo>
                  <a:lnTo>
                    <a:pt x="488918" y="865442"/>
                  </a:lnTo>
                  <a:lnTo>
                    <a:pt x="487204" y="864108"/>
                  </a:lnTo>
                  <a:lnTo>
                    <a:pt x="490156" y="862108"/>
                  </a:lnTo>
                  <a:lnTo>
                    <a:pt x="498443" y="864299"/>
                  </a:lnTo>
                  <a:lnTo>
                    <a:pt x="500348" y="867251"/>
                  </a:lnTo>
                  <a:lnTo>
                    <a:pt x="495681" y="867823"/>
                  </a:lnTo>
                  <a:lnTo>
                    <a:pt x="492919" y="871347"/>
                  </a:lnTo>
                  <a:lnTo>
                    <a:pt x="507778" y="887159"/>
                  </a:lnTo>
                  <a:lnTo>
                    <a:pt x="499872" y="888111"/>
                  </a:lnTo>
                  <a:lnTo>
                    <a:pt x="503777" y="894017"/>
                  </a:lnTo>
                  <a:lnTo>
                    <a:pt x="504444" y="898779"/>
                  </a:lnTo>
                  <a:lnTo>
                    <a:pt x="501682" y="902399"/>
                  </a:lnTo>
                  <a:lnTo>
                    <a:pt x="495395" y="903161"/>
                  </a:lnTo>
                  <a:lnTo>
                    <a:pt x="493586" y="901827"/>
                  </a:lnTo>
                  <a:lnTo>
                    <a:pt x="492157" y="903542"/>
                  </a:lnTo>
                  <a:lnTo>
                    <a:pt x="490442" y="902208"/>
                  </a:lnTo>
                  <a:lnTo>
                    <a:pt x="482536" y="903161"/>
                  </a:lnTo>
                  <a:lnTo>
                    <a:pt x="472249" y="898112"/>
                  </a:lnTo>
                  <a:lnTo>
                    <a:pt x="471297" y="902970"/>
                  </a:lnTo>
                  <a:lnTo>
                    <a:pt x="475202" y="908971"/>
                  </a:lnTo>
                  <a:lnTo>
                    <a:pt x="474631" y="916972"/>
                  </a:lnTo>
                  <a:lnTo>
                    <a:pt x="471106" y="914305"/>
                  </a:lnTo>
                  <a:lnTo>
                    <a:pt x="463391" y="916876"/>
                  </a:lnTo>
                  <a:lnTo>
                    <a:pt x="465201" y="918210"/>
                  </a:lnTo>
                  <a:lnTo>
                    <a:pt x="467011" y="919639"/>
                  </a:lnTo>
                  <a:lnTo>
                    <a:pt x="466153" y="926116"/>
                  </a:lnTo>
                  <a:lnTo>
                    <a:pt x="471297" y="928688"/>
                  </a:lnTo>
                  <a:lnTo>
                    <a:pt x="469201" y="936974"/>
                  </a:lnTo>
                  <a:lnTo>
                    <a:pt x="463105" y="939355"/>
                  </a:lnTo>
                  <a:lnTo>
                    <a:pt x="455200" y="940308"/>
                  </a:lnTo>
                  <a:lnTo>
                    <a:pt x="454057" y="943737"/>
                  </a:lnTo>
                  <a:lnTo>
                    <a:pt x="455962" y="946690"/>
                  </a:lnTo>
                  <a:lnTo>
                    <a:pt x="454628" y="948404"/>
                  </a:lnTo>
                  <a:lnTo>
                    <a:pt x="457962" y="949643"/>
                  </a:lnTo>
                  <a:lnTo>
                    <a:pt x="455390" y="954786"/>
                  </a:lnTo>
                  <a:lnTo>
                    <a:pt x="457200" y="956120"/>
                  </a:lnTo>
                  <a:lnTo>
                    <a:pt x="454247" y="958120"/>
                  </a:lnTo>
                  <a:lnTo>
                    <a:pt x="453104" y="961454"/>
                  </a:lnTo>
                  <a:lnTo>
                    <a:pt x="448151" y="960501"/>
                  </a:lnTo>
                  <a:lnTo>
                    <a:pt x="449104" y="968407"/>
                  </a:lnTo>
                  <a:lnTo>
                    <a:pt x="447389" y="966978"/>
                  </a:lnTo>
                  <a:lnTo>
                    <a:pt x="443960" y="965835"/>
                  </a:lnTo>
                  <a:lnTo>
                    <a:pt x="442436" y="966026"/>
                  </a:lnTo>
                  <a:lnTo>
                    <a:pt x="441484" y="970979"/>
                  </a:lnTo>
                  <a:lnTo>
                    <a:pt x="438912" y="976122"/>
                  </a:lnTo>
                  <a:lnTo>
                    <a:pt x="434149" y="976693"/>
                  </a:lnTo>
                  <a:lnTo>
                    <a:pt x="428053" y="979075"/>
                  </a:lnTo>
                  <a:lnTo>
                    <a:pt x="430435" y="985171"/>
                  </a:lnTo>
                  <a:lnTo>
                    <a:pt x="426053" y="988981"/>
                  </a:lnTo>
                  <a:lnTo>
                    <a:pt x="430435" y="998030"/>
                  </a:lnTo>
                  <a:lnTo>
                    <a:pt x="432054" y="997839"/>
                  </a:lnTo>
                  <a:lnTo>
                    <a:pt x="433197" y="994505"/>
                  </a:lnTo>
                  <a:lnTo>
                    <a:pt x="437959" y="993838"/>
                  </a:lnTo>
                  <a:lnTo>
                    <a:pt x="441865" y="986980"/>
                  </a:lnTo>
                  <a:lnTo>
                    <a:pt x="448627" y="989267"/>
                  </a:lnTo>
                  <a:lnTo>
                    <a:pt x="451961" y="990505"/>
                  </a:lnTo>
                  <a:lnTo>
                    <a:pt x="454342" y="996601"/>
                  </a:lnTo>
                  <a:lnTo>
                    <a:pt x="452914" y="998411"/>
                  </a:lnTo>
                  <a:lnTo>
                    <a:pt x="452152" y="1004888"/>
                  </a:lnTo>
                  <a:lnTo>
                    <a:pt x="451199" y="1009841"/>
                  </a:lnTo>
                  <a:lnTo>
                    <a:pt x="453199" y="1012793"/>
                  </a:lnTo>
                  <a:lnTo>
                    <a:pt x="456724" y="1015555"/>
                  </a:lnTo>
                  <a:lnTo>
                    <a:pt x="467963" y="1015651"/>
                  </a:lnTo>
                  <a:lnTo>
                    <a:pt x="471106" y="1015270"/>
                  </a:lnTo>
                  <a:lnTo>
                    <a:pt x="483013" y="1020223"/>
                  </a:lnTo>
                  <a:lnTo>
                    <a:pt x="493300" y="1025271"/>
                  </a:lnTo>
                  <a:lnTo>
                    <a:pt x="492061" y="1028700"/>
                  </a:lnTo>
                  <a:lnTo>
                    <a:pt x="492538" y="1031843"/>
                  </a:lnTo>
                  <a:lnTo>
                    <a:pt x="489585" y="1033748"/>
                  </a:lnTo>
                  <a:lnTo>
                    <a:pt x="488347" y="1037177"/>
                  </a:lnTo>
                  <a:lnTo>
                    <a:pt x="497300" y="1044035"/>
                  </a:lnTo>
                  <a:lnTo>
                    <a:pt x="503206" y="1040035"/>
                  </a:lnTo>
                  <a:lnTo>
                    <a:pt x="500063" y="1040511"/>
                  </a:lnTo>
                  <a:lnTo>
                    <a:pt x="499586" y="1037368"/>
                  </a:lnTo>
                  <a:lnTo>
                    <a:pt x="496443" y="1037749"/>
                  </a:lnTo>
                  <a:lnTo>
                    <a:pt x="493109" y="1036511"/>
                  </a:lnTo>
                  <a:lnTo>
                    <a:pt x="499396" y="1035749"/>
                  </a:lnTo>
                  <a:lnTo>
                    <a:pt x="511492" y="1042226"/>
                  </a:lnTo>
                  <a:lnTo>
                    <a:pt x="508921" y="1034510"/>
                  </a:lnTo>
                  <a:lnTo>
                    <a:pt x="515017" y="1032129"/>
                  </a:lnTo>
                  <a:lnTo>
                    <a:pt x="518541" y="1034891"/>
                  </a:lnTo>
                  <a:lnTo>
                    <a:pt x="520732" y="1039463"/>
                  </a:lnTo>
                  <a:lnTo>
                    <a:pt x="524065" y="1040606"/>
                  </a:lnTo>
                  <a:lnTo>
                    <a:pt x="521780" y="1047369"/>
                  </a:lnTo>
                  <a:lnTo>
                    <a:pt x="523684" y="1050322"/>
                  </a:lnTo>
                  <a:lnTo>
                    <a:pt x="528828" y="1052893"/>
                  </a:lnTo>
                  <a:lnTo>
                    <a:pt x="531971" y="1052417"/>
                  </a:lnTo>
                  <a:lnTo>
                    <a:pt x="534924" y="1050417"/>
                  </a:lnTo>
                  <a:lnTo>
                    <a:pt x="537305" y="1056608"/>
                  </a:lnTo>
                  <a:lnTo>
                    <a:pt x="540734" y="1057751"/>
                  </a:lnTo>
                  <a:lnTo>
                    <a:pt x="543211" y="1052608"/>
                  </a:lnTo>
                  <a:lnTo>
                    <a:pt x="544449" y="1049274"/>
                  </a:lnTo>
                  <a:lnTo>
                    <a:pt x="542449" y="1046321"/>
                  </a:lnTo>
                  <a:lnTo>
                    <a:pt x="548735" y="1045464"/>
                  </a:lnTo>
                  <a:lnTo>
                    <a:pt x="548164" y="1040797"/>
                  </a:lnTo>
                  <a:lnTo>
                    <a:pt x="552736" y="1038606"/>
                  </a:lnTo>
                  <a:lnTo>
                    <a:pt x="554069" y="1036796"/>
                  </a:lnTo>
                  <a:lnTo>
                    <a:pt x="549688" y="1027747"/>
                  </a:lnTo>
                  <a:lnTo>
                    <a:pt x="554260" y="1025557"/>
                  </a:lnTo>
                  <a:lnTo>
                    <a:pt x="557403" y="1025176"/>
                  </a:lnTo>
                  <a:lnTo>
                    <a:pt x="559403" y="1028129"/>
                  </a:lnTo>
                  <a:lnTo>
                    <a:pt x="564071" y="1027462"/>
                  </a:lnTo>
                  <a:lnTo>
                    <a:pt x="564547" y="1030700"/>
                  </a:lnTo>
                  <a:lnTo>
                    <a:pt x="567499" y="1028700"/>
                  </a:lnTo>
                  <a:lnTo>
                    <a:pt x="573214" y="1023176"/>
                  </a:lnTo>
                  <a:lnTo>
                    <a:pt x="582644" y="1021937"/>
                  </a:lnTo>
                  <a:lnTo>
                    <a:pt x="583025" y="1025080"/>
                  </a:lnTo>
                  <a:lnTo>
                    <a:pt x="590169" y="1030605"/>
                  </a:lnTo>
                  <a:lnTo>
                    <a:pt x="592550" y="1036701"/>
                  </a:lnTo>
                  <a:lnTo>
                    <a:pt x="597884" y="1040892"/>
                  </a:lnTo>
                  <a:lnTo>
                    <a:pt x="600075" y="1045369"/>
                  </a:lnTo>
                  <a:lnTo>
                    <a:pt x="602837" y="1041845"/>
                  </a:lnTo>
                  <a:lnTo>
                    <a:pt x="605980" y="1041463"/>
                  </a:lnTo>
                  <a:lnTo>
                    <a:pt x="605409" y="1036701"/>
                  </a:lnTo>
                  <a:lnTo>
                    <a:pt x="607886" y="1031558"/>
                  </a:lnTo>
                  <a:lnTo>
                    <a:pt x="606171" y="1030129"/>
                  </a:lnTo>
                  <a:lnTo>
                    <a:pt x="605980" y="1028605"/>
                  </a:lnTo>
                  <a:lnTo>
                    <a:pt x="604171" y="1027176"/>
                  </a:lnTo>
                  <a:lnTo>
                    <a:pt x="607505" y="1028414"/>
                  </a:lnTo>
                  <a:lnTo>
                    <a:pt x="611219" y="1019937"/>
                  </a:lnTo>
                  <a:lnTo>
                    <a:pt x="616553" y="1024033"/>
                  </a:lnTo>
                  <a:lnTo>
                    <a:pt x="619315" y="1020509"/>
                  </a:lnTo>
                  <a:lnTo>
                    <a:pt x="619125" y="1018889"/>
                  </a:lnTo>
                  <a:lnTo>
                    <a:pt x="619506" y="1009174"/>
                  </a:lnTo>
                  <a:lnTo>
                    <a:pt x="619315" y="1007650"/>
                  </a:lnTo>
                  <a:lnTo>
                    <a:pt x="622649" y="1008793"/>
                  </a:lnTo>
                  <a:lnTo>
                    <a:pt x="635508" y="1008793"/>
                  </a:lnTo>
                  <a:lnTo>
                    <a:pt x="643033" y="1004602"/>
                  </a:lnTo>
                  <a:lnTo>
                    <a:pt x="645128" y="996315"/>
                  </a:lnTo>
                  <a:lnTo>
                    <a:pt x="645128" y="996315"/>
                  </a:lnTo>
                  <a:lnTo>
                    <a:pt x="649891" y="995743"/>
                  </a:lnTo>
                  <a:lnTo>
                    <a:pt x="651034" y="992410"/>
                  </a:lnTo>
                  <a:lnTo>
                    <a:pt x="652653" y="992124"/>
                  </a:lnTo>
                  <a:lnTo>
                    <a:pt x="652463" y="990600"/>
                  </a:lnTo>
                  <a:lnTo>
                    <a:pt x="645890" y="989838"/>
                  </a:lnTo>
                  <a:lnTo>
                    <a:pt x="650081" y="984504"/>
                  </a:lnTo>
                  <a:lnTo>
                    <a:pt x="651605" y="984313"/>
                  </a:lnTo>
                  <a:lnTo>
                    <a:pt x="658939" y="978503"/>
                  </a:lnTo>
                  <a:lnTo>
                    <a:pt x="661511" y="973360"/>
                  </a:lnTo>
                  <a:lnTo>
                    <a:pt x="668369" y="977360"/>
                  </a:lnTo>
                  <a:lnTo>
                    <a:pt x="673894" y="970217"/>
                  </a:lnTo>
                  <a:lnTo>
                    <a:pt x="680847" y="974122"/>
                  </a:lnTo>
                  <a:lnTo>
                    <a:pt x="683323" y="968978"/>
                  </a:lnTo>
                  <a:lnTo>
                    <a:pt x="691896" y="972788"/>
                  </a:lnTo>
                  <a:lnTo>
                    <a:pt x="695039" y="972312"/>
                  </a:lnTo>
                  <a:lnTo>
                    <a:pt x="695801" y="978694"/>
                  </a:lnTo>
                  <a:lnTo>
                    <a:pt x="701897" y="976313"/>
                  </a:lnTo>
                  <a:lnTo>
                    <a:pt x="698373" y="973550"/>
                  </a:lnTo>
                  <a:lnTo>
                    <a:pt x="701135" y="969931"/>
                  </a:lnTo>
                  <a:lnTo>
                    <a:pt x="704279" y="969550"/>
                  </a:lnTo>
                  <a:lnTo>
                    <a:pt x="705898" y="969359"/>
                  </a:lnTo>
                  <a:lnTo>
                    <a:pt x="703707" y="964787"/>
                  </a:lnTo>
                  <a:lnTo>
                    <a:pt x="705231" y="964597"/>
                  </a:lnTo>
                  <a:lnTo>
                    <a:pt x="706660" y="962787"/>
                  </a:lnTo>
                  <a:lnTo>
                    <a:pt x="703231" y="961644"/>
                  </a:lnTo>
                  <a:lnTo>
                    <a:pt x="707231" y="954786"/>
                  </a:lnTo>
                  <a:lnTo>
                    <a:pt x="706564" y="950024"/>
                  </a:lnTo>
                  <a:lnTo>
                    <a:pt x="709327" y="946404"/>
                  </a:lnTo>
                  <a:lnTo>
                    <a:pt x="706946" y="940308"/>
                  </a:lnTo>
                  <a:lnTo>
                    <a:pt x="710374" y="941546"/>
                  </a:lnTo>
                  <a:lnTo>
                    <a:pt x="715042" y="940880"/>
                  </a:lnTo>
                  <a:lnTo>
                    <a:pt x="725519" y="947642"/>
                  </a:lnTo>
                  <a:lnTo>
                    <a:pt x="725710" y="949166"/>
                  </a:lnTo>
                  <a:lnTo>
                    <a:pt x="721042" y="949738"/>
                  </a:lnTo>
                  <a:lnTo>
                    <a:pt x="719614" y="951547"/>
                  </a:lnTo>
                  <a:lnTo>
                    <a:pt x="724567" y="952500"/>
                  </a:lnTo>
                  <a:lnTo>
                    <a:pt x="727520" y="950595"/>
                  </a:lnTo>
                  <a:lnTo>
                    <a:pt x="729520" y="953548"/>
                  </a:lnTo>
                  <a:lnTo>
                    <a:pt x="734949" y="946404"/>
                  </a:lnTo>
                  <a:lnTo>
                    <a:pt x="743903" y="940403"/>
                  </a:lnTo>
                  <a:lnTo>
                    <a:pt x="740473" y="939260"/>
                  </a:lnTo>
                  <a:lnTo>
                    <a:pt x="740473" y="926497"/>
                  </a:lnTo>
                  <a:lnTo>
                    <a:pt x="750951" y="933164"/>
                  </a:lnTo>
                  <a:lnTo>
                    <a:pt x="754856" y="926211"/>
                  </a:lnTo>
                  <a:lnTo>
                    <a:pt x="762190" y="920496"/>
                  </a:lnTo>
                  <a:lnTo>
                    <a:pt x="764191" y="923449"/>
                  </a:lnTo>
                  <a:lnTo>
                    <a:pt x="764572" y="926592"/>
                  </a:lnTo>
                  <a:lnTo>
                    <a:pt x="766763" y="931164"/>
                  </a:lnTo>
                  <a:lnTo>
                    <a:pt x="770096" y="932307"/>
                  </a:lnTo>
                  <a:lnTo>
                    <a:pt x="768953" y="935641"/>
                  </a:lnTo>
                  <a:lnTo>
                    <a:pt x="767524" y="937451"/>
                  </a:lnTo>
                  <a:lnTo>
                    <a:pt x="769525" y="940403"/>
                  </a:lnTo>
                  <a:lnTo>
                    <a:pt x="767715" y="938975"/>
                  </a:lnTo>
                  <a:lnTo>
                    <a:pt x="768096" y="942213"/>
                  </a:lnTo>
                  <a:lnTo>
                    <a:pt x="771334" y="941737"/>
                  </a:lnTo>
                  <a:lnTo>
                    <a:pt x="773239" y="944689"/>
                  </a:lnTo>
                  <a:lnTo>
                    <a:pt x="774668" y="942975"/>
                  </a:lnTo>
                  <a:lnTo>
                    <a:pt x="774287" y="939832"/>
                  </a:lnTo>
                  <a:lnTo>
                    <a:pt x="774478" y="941356"/>
                  </a:lnTo>
                  <a:lnTo>
                    <a:pt x="778002" y="944118"/>
                  </a:lnTo>
                  <a:lnTo>
                    <a:pt x="774859" y="944499"/>
                  </a:lnTo>
                  <a:lnTo>
                    <a:pt x="776859" y="947452"/>
                  </a:lnTo>
                  <a:lnTo>
                    <a:pt x="784003" y="952976"/>
                  </a:lnTo>
                  <a:lnTo>
                    <a:pt x="790480" y="953738"/>
                  </a:lnTo>
                  <a:lnTo>
                    <a:pt x="798576" y="954310"/>
                  </a:lnTo>
                  <a:lnTo>
                    <a:pt x="801529" y="952309"/>
                  </a:lnTo>
                  <a:lnTo>
                    <a:pt x="804672" y="951929"/>
                  </a:lnTo>
                  <a:lnTo>
                    <a:pt x="808577" y="945071"/>
                  </a:lnTo>
                  <a:lnTo>
                    <a:pt x="813340" y="944404"/>
                  </a:lnTo>
                  <a:lnTo>
                    <a:pt x="814102" y="937927"/>
                  </a:lnTo>
                  <a:lnTo>
                    <a:pt x="812101" y="934974"/>
                  </a:lnTo>
                  <a:lnTo>
                    <a:pt x="811721" y="931831"/>
                  </a:lnTo>
                  <a:lnTo>
                    <a:pt x="814864" y="931355"/>
                  </a:lnTo>
                  <a:lnTo>
                    <a:pt x="816673" y="932783"/>
                  </a:lnTo>
                  <a:lnTo>
                    <a:pt x="817245" y="937546"/>
                  </a:lnTo>
                  <a:lnTo>
                    <a:pt x="822007" y="936879"/>
                  </a:lnTo>
                  <a:lnTo>
                    <a:pt x="822198" y="938498"/>
                  </a:lnTo>
                  <a:lnTo>
                    <a:pt x="826961" y="937927"/>
                  </a:lnTo>
                  <a:lnTo>
                    <a:pt x="828484" y="937641"/>
                  </a:lnTo>
                  <a:lnTo>
                    <a:pt x="835628" y="943166"/>
                  </a:lnTo>
                  <a:lnTo>
                    <a:pt x="838962" y="944404"/>
                  </a:lnTo>
                  <a:lnTo>
                    <a:pt x="840200" y="940975"/>
                  </a:lnTo>
                  <a:lnTo>
                    <a:pt x="845058" y="942022"/>
                  </a:lnTo>
                  <a:lnTo>
                    <a:pt x="849058" y="947928"/>
                  </a:lnTo>
                  <a:lnTo>
                    <a:pt x="852583" y="950690"/>
                  </a:lnTo>
                  <a:lnTo>
                    <a:pt x="852392" y="949071"/>
                  </a:lnTo>
                  <a:lnTo>
                    <a:pt x="850011" y="942975"/>
                  </a:lnTo>
                  <a:lnTo>
                    <a:pt x="851440" y="941165"/>
                  </a:lnTo>
                  <a:lnTo>
                    <a:pt x="856107" y="940594"/>
                  </a:lnTo>
                  <a:lnTo>
                    <a:pt x="861250" y="943166"/>
                  </a:lnTo>
                  <a:lnTo>
                    <a:pt x="862489" y="939737"/>
                  </a:lnTo>
                  <a:lnTo>
                    <a:pt x="863822" y="938022"/>
                  </a:lnTo>
                  <a:lnTo>
                    <a:pt x="874109" y="943070"/>
                  </a:lnTo>
                  <a:lnTo>
                    <a:pt x="875443" y="941356"/>
                  </a:lnTo>
                  <a:lnTo>
                    <a:pt x="878396" y="939355"/>
                  </a:lnTo>
                  <a:lnTo>
                    <a:pt x="875062" y="938117"/>
                  </a:lnTo>
                  <a:lnTo>
                    <a:pt x="878014" y="936212"/>
                  </a:lnTo>
                  <a:lnTo>
                    <a:pt x="878967" y="931259"/>
                  </a:lnTo>
                  <a:lnTo>
                    <a:pt x="882205" y="930878"/>
                  </a:lnTo>
                  <a:lnTo>
                    <a:pt x="884396" y="935355"/>
                  </a:lnTo>
                  <a:lnTo>
                    <a:pt x="893445" y="930974"/>
                  </a:lnTo>
                  <a:lnTo>
                    <a:pt x="893064" y="927830"/>
                  </a:lnTo>
                  <a:lnTo>
                    <a:pt x="889635" y="926687"/>
                  </a:lnTo>
                  <a:lnTo>
                    <a:pt x="889063" y="921925"/>
                  </a:lnTo>
                  <a:lnTo>
                    <a:pt x="880586" y="918210"/>
                  </a:lnTo>
                  <a:lnTo>
                    <a:pt x="886015" y="911066"/>
                  </a:lnTo>
                  <a:lnTo>
                    <a:pt x="884301" y="909733"/>
                  </a:lnTo>
                  <a:lnTo>
                    <a:pt x="886015" y="911066"/>
                  </a:lnTo>
                  <a:lnTo>
                    <a:pt x="896493" y="904970"/>
                  </a:lnTo>
                  <a:lnTo>
                    <a:pt x="901255" y="904399"/>
                  </a:lnTo>
                  <a:lnTo>
                    <a:pt x="904018" y="900779"/>
                  </a:lnTo>
                  <a:lnTo>
                    <a:pt x="908780" y="900208"/>
                  </a:lnTo>
                  <a:lnTo>
                    <a:pt x="915638" y="904113"/>
                  </a:lnTo>
                  <a:lnTo>
                    <a:pt x="918400" y="900589"/>
                  </a:lnTo>
                  <a:lnTo>
                    <a:pt x="923544" y="903161"/>
                  </a:lnTo>
                  <a:lnTo>
                    <a:pt x="931069" y="898970"/>
                  </a:lnTo>
                  <a:lnTo>
                    <a:pt x="937927" y="902875"/>
                  </a:lnTo>
                  <a:lnTo>
                    <a:pt x="942118" y="897541"/>
                  </a:lnTo>
                  <a:lnTo>
                    <a:pt x="941641" y="894397"/>
                  </a:lnTo>
                  <a:lnTo>
                    <a:pt x="945832" y="889063"/>
                  </a:lnTo>
                  <a:lnTo>
                    <a:pt x="950500" y="888492"/>
                  </a:lnTo>
                  <a:lnTo>
                    <a:pt x="950119" y="885349"/>
                  </a:lnTo>
                  <a:lnTo>
                    <a:pt x="944213" y="876395"/>
                  </a:lnTo>
                  <a:lnTo>
                    <a:pt x="945166" y="871538"/>
                  </a:lnTo>
                  <a:lnTo>
                    <a:pt x="949928" y="870871"/>
                  </a:lnTo>
                  <a:lnTo>
                    <a:pt x="956405" y="871633"/>
                  </a:lnTo>
                  <a:lnTo>
                    <a:pt x="960977" y="869442"/>
                  </a:lnTo>
                  <a:lnTo>
                    <a:pt x="964121" y="869061"/>
                  </a:lnTo>
                  <a:lnTo>
                    <a:pt x="965263" y="865727"/>
                  </a:lnTo>
                  <a:lnTo>
                    <a:pt x="969836" y="863537"/>
                  </a:lnTo>
                  <a:lnTo>
                    <a:pt x="970979" y="860203"/>
                  </a:lnTo>
                  <a:lnTo>
                    <a:pt x="973741" y="856679"/>
                  </a:lnTo>
                  <a:lnTo>
                    <a:pt x="976313" y="851535"/>
                  </a:lnTo>
                  <a:lnTo>
                    <a:pt x="978122" y="852868"/>
                  </a:lnTo>
                  <a:lnTo>
                    <a:pt x="977837" y="851249"/>
                  </a:lnTo>
                  <a:lnTo>
                    <a:pt x="980599" y="834962"/>
                  </a:lnTo>
                  <a:lnTo>
                    <a:pt x="977455" y="835343"/>
                  </a:lnTo>
                  <a:lnTo>
                    <a:pt x="976884" y="830580"/>
                  </a:lnTo>
                  <a:lnTo>
                    <a:pt x="968788" y="830009"/>
                  </a:lnTo>
                  <a:lnTo>
                    <a:pt x="972503" y="821531"/>
                  </a:lnTo>
                  <a:lnTo>
                    <a:pt x="971836" y="816769"/>
                  </a:lnTo>
                  <a:lnTo>
                    <a:pt x="968502" y="815626"/>
                  </a:lnTo>
                  <a:lnTo>
                    <a:pt x="969073" y="820388"/>
                  </a:lnTo>
                  <a:lnTo>
                    <a:pt x="961834" y="826103"/>
                  </a:lnTo>
                  <a:lnTo>
                    <a:pt x="956881" y="825151"/>
                  </a:lnTo>
                  <a:lnTo>
                    <a:pt x="955738" y="828484"/>
                  </a:lnTo>
                  <a:lnTo>
                    <a:pt x="954119" y="828675"/>
                  </a:lnTo>
                  <a:lnTo>
                    <a:pt x="956691" y="823532"/>
                  </a:lnTo>
                  <a:lnTo>
                    <a:pt x="957643" y="818579"/>
                  </a:lnTo>
                  <a:lnTo>
                    <a:pt x="959453" y="820007"/>
                  </a:lnTo>
                  <a:lnTo>
                    <a:pt x="962215" y="816388"/>
                  </a:lnTo>
                  <a:lnTo>
                    <a:pt x="956691" y="810673"/>
                  </a:lnTo>
                  <a:lnTo>
                    <a:pt x="956024" y="806005"/>
                  </a:lnTo>
                  <a:lnTo>
                    <a:pt x="953929" y="801434"/>
                  </a:lnTo>
                  <a:lnTo>
                    <a:pt x="949357" y="803624"/>
                  </a:lnTo>
                  <a:lnTo>
                    <a:pt x="951929" y="798481"/>
                  </a:lnTo>
                  <a:lnTo>
                    <a:pt x="946975" y="797528"/>
                  </a:lnTo>
                  <a:lnTo>
                    <a:pt x="949738" y="793909"/>
                  </a:lnTo>
                  <a:lnTo>
                    <a:pt x="951643" y="784098"/>
                  </a:lnTo>
                  <a:lnTo>
                    <a:pt x="959548" y="783050"/>
                  </a:lnTo>
                  <a:lnTo>
                    <a:pt x="969455" y="785051"/>
                  </a:lnTo>
                  <a:lnTo>
                    <a:pt x="972217" y="781431"/>
                  </a:lnTo>
                  <a:lnTo>
                    <a:pt x="971740" y="778288"/>
                  </a:lnTo>
                  <a:lnTo>
                    <a:pt x="978694" y="782193"/>
                  </a:lnTo>
                  <a:lnTo>
                    <a:pt x="982408" y="773716"/>
                  </a:lnTo>
                  <a:lnTo>
                    <a:pt x="977455" y="772763"/>
                  </a:lnTo>
                  <a:lnTo>
                    <a:pt x="976122" y="761714"/>
                  </a:lnTo>
                  <a:lnTo>
                    <a:pt x="977265" y="758380"/>
                  </a:lnTo>
                  <a:lnTo>
                    <a:pt x="979075" y="759714"/>
                  </a:lnTo>
                  <a:lnTo>
                    <a:pt x="980027" y="754761"/>
                  </a:lnTo>
                  <a:lnTo>
                    <a:pt x="974503" y="749046"/>
                  </a:lnTo>
                  <a:lnTo>
                    <a:pt x="970693" y="744760"/>
                  </a:lnTo>
                  <a:lnTo>
                    <a:pt x="966025" y="745331"/>
                  </a:lnTo>
                  <a:lnTo>
                    <a:pt x="959263" y="743045"/>
                  </a:lnTo>
                  <a:lnTo>
                    <a:pt x="954500" y="743617"/>
                  </a:lnTo>
                  <a:lnTo>
                    <a:pt x="950976" y="740855"/>
                  </a:lnTo>
                  <a:lnTo>
                    <a:pt x="954691" y="732377"/>
                  </a:lnTo>
                  <a:lnTo>
                    <a:pt x="952309" y="726281"/>
                  </a:lnTo>
                  <a:lnTo>
                    <a:pt x="954881" y="721138"/>
                  </a:lnTo>
                  <a:lnTo>
                    <a:pt x="959548" y="707708"/>
                  </a:lnTo>
                  <a:lnTo>
                    <a:pt x="963739" y="702374"/>
                  </a:lnTo>
                  <a:lnTo>
                    <a:pt x="963073" y="697611"/>
                  </a:lnTo>
                  <a:lnTo>
                    <a:pt x="965835" y="694087"/>
                  </a:lnTo>
                  <a:lnTo>
                    <a:pt x="967454" y="693896"/>
                  </a:lnTo>
                  <a:lnTo>
                    <a:pt x="973741" y="693039"/>
                  </a:lnTo>
                  <a:lnTo>
                    <a:pt x="975741" y="695992"/>
                  </a:lnTo>
                  <a:lnTo>
                    <a:pt x="978884" y="695611"/>
                  </a:lnTo>
                  <a:lnTo>
                    <a:pt x="980218" y="693801"/>
                  </a:lnTo>
                  <a:lnTo>
                    <a:pt x="984790" y="691610"/>
                  </a:lnTo>
                  <a:lnTo>
                    <a:pt x="986123" y="689896"/>
                  </a:lnTo>
                  <a:lnTo>
                    <a:pt x="989362" y="689420"/>
                  </a:lnTo>
                  <a:lnTo>
                    <a:pt x="988314" y="681609"/>
                  </a:lnTo>
                  <a:lnTo>
                    <a:pt x="981361" y="677609"/>
                  </a:lnTo>
                  <a:lnTo>
                    <a:pt x="982408" y="672751"/>
                  </a:lnTo>
                  <a:lnTo>
                    <a:pt x="979075" y="671513"/>
                  </a:lnTo>
                  <a:lnTo>
                    <a:pt x="978789" y="669988"/>
                  </a:lnTo>
                  <a:lnTo>
                    <a:pt x="969359" y="671132"/>
                  </a:lnTo>
                  <a:lnTo>
                    <a:pt x="967168" y="666655"/>
                  </a:lnTo>
                  <a:lnTo>
                    <a:pt x="966121" y="658749"/>
                  </a:lnTo>
                  <a:lnTo>
                    <a:pt x="968312" y="650462"/>
                  </a:lnTo>
                  <a:lnTo>
                    <a:pt x="969740" y="648653"/>
                  </a:lnTo>
                  <a:lnTo>
                    <a:pt x="971455" y="650081"/>
                  </a:lnTo>
                  <a:lnTo>
                    <a:pt x="979170" y="647509"/>
                  </a:lnTo>
                  <a:lnTo>
                    <a:pt x="978789" y="644271"/>
                  </a:lnTo>
                  <a:lnTo>
                    <a:pt x="983742" y="645319"/>
                  </a:lnTo>
                  <a:lnTo>
                    <a:pt x="983456" y="643700"/>
                  </a:lnTo>
                  <a:lnTo>
                    <a:pt x="979932" y="640937"/>
                  </a:lnTo>
                  <a:lnTo>
                    <a:pt x="982694" y="637413"/>
                  </a:lnTo>
                  <a:lnTo>
                    <a:pt x="987457" y="636746"/>
                  </a:lnTo>
                  <a:lnTo>
                    <a:pt x="990219" y="633222"/>
                  </a:lnTo>
                  <a:lnTo>
                    <a:pt x="989552" y="628459"/>
                  </a:lnTo>
                  <a:lnTo>
                    <a:pt x="992505" y="626555"/>
                  </a:lnTo>
                  <a:lnTo>
                    <a:pt x="988600" y="620554"/>
                  </a:lnTo>
                  <a:lnTo>
                    <a:pt x="989933" y="618839"/>
                  </a:lnTo>
                  <a:lnTo>
                    <a:pt x="989743" y="617220"/>
                  </a:lnTo>
                  <a:lnTo>
                    <a:pt x="989171" y="612553"/>
                  </a:lnTo>
                  <a:lnTo>
                    <a:pt x="990695" y="612267"/>
                  </a:lnTo>
                  <a:lnTo>
                    <a:pt x="998601" y="611314"/>
                  </a:lnTo>
                  <a:lnTo>
                    <a:pt x="1002982" y="607505"/>
                  </a:lnTo>
                  <a:lnTo>
                    <a:pt x="1006316" y="608743"/>
                  </a:lnTo>
                  <a:lnTo>
                    <a:pt x="1017937" y="599218"/>
                  </a:lnTo>
                  <a:lnTo>
                    <a:pt x="1020699" y="595693"/>
                  </a:lnTo>
                  <a:lnTo>
                    <a:pt x="1020032" y="590931"/>
                  </a:lnTo>
                  <a:lnTo>
                    <a:pt x="1021461" y="589121"/>
                  </a:lnTo>
                  <a:lnTo>
                    <a:pt x="1027747" y="588359"/>
                  </a:lnTo>
                  <a:lnTo>
                    <a:pt x="1028605" y="594646"/>
                  </a:lnTo>
                  <a:lnTo>
                    <a:pt x="1031938" y="595789"/>
                  </a:lnTo>
                  <a:lnTo>
                    <a:pt x="1031748" y="594265"/>
                  </a:lnTo>
                  <a:lnTo>
                    <a:pt x="1035844" y="588931"/>
                  </a:lnTo>
                  <a:lnTo>
                    <a:pt x="1035653" y="587312"/>
                  </a:lnTo>
                  <a:lnTo>
                    <a:pt x="1040416" y="586740"/>
                  </a:lnTo>
                  <a:lnTo>
                    <a:pt x="1047655" y="581025"/>
                  </a:lnTo>
                  <a:lnTo>
                    <a:pt x="1048893" y="577691"/>
                  </a:lnTo>
                  <a:lnTo>
                    <a:pt x="1055180" y="576834"/>
                  </a:lnTo>
                  <a:lnTo>
                    <a:pt x="1056132" y="571881"/>
                  </a:lnTo>
                  <a:lnTo>
                    <a:pt x="1052798" y="570738"/>
                  </a:lnTo>
                  <a:lnTo>
                    <a:pt x="1056132" y="571881"/>
                  </a:lnTo>
                  <a:lnTo>
                    <a:pt x="1052417" y="567595"/>
                  </a:lnTo>
                  <a:lnTo>
                    <a:pt x="1052227" y="565976"/>
                  </a:lnTo>
                  <a:lnTo>
                    <a:pt x="1046416" y="558737"/>
                  </a:lnTo>
                  <a:lnTo>
                    <a:pt x="1051941" y="551593"/>
                  </a:lnTo>
                  <a:lnTo>
                    <a:pt x="1048798" y="551974"/>
                  </a:lnTo>
                  <a:lnTo>
                    <a:pt x="1045845" y="541115"/>
                  </a:lnTo>
                  <a:lnTo>
                    <a:pt x="1045559" y="539591"/>
                  </a:lnTo>
                  <a:lnTo>
                    <a:pt x="1048988" y="540734"/>
                  </a:lnTo>
                  <a:lnTo>
                    <a:pt x="1048322" y="535972"/>
                  </a:lnTo>
                  <a:lnTo>
                    <a:pt x="1050512" y="527685"/>
                  </a:lnTo>
                  <a:lnTo>
                    <a:pt x="1049750" y="521399"/>
                  </a:lnTo>
                  <a:lnTo>
                    <a:pt x="1050893" y="518065"/>
                  </a:lnTo>
                  <a:lnTo>
                    <a:pt x="1053656" y="514445"/>
                  </a:lnTo>
                  <a:lnTo>
                    <a:pt x="1052798" y="508159"/>
                  </a:lnTo>
                  <a:lnTo>
                    <a:pt x="1046893" y="512159"/>
                  </a:lnTo>
                  <a:lnTo>
                    <a:pt x="1043559" y="510921"/>
                  </a:lnTo>
                  <a:lnTo>
                    <a:pt x="1041368" y="506444"/>
                  </a:lnTo>
                  <a:lnTo>
                    <a:pt x="1045750" y="502634"/>
                  </a:lnTo>
                  <a:lnTo>
                    <a:pt x="1042130" y="499872"/>
                  </a:lnTo>
                  <a:lnTo>
                    <a:pt x="1043368" y="496538"/>
                  </a:lnTo>
                  <a:lnTo>
                    <a:pt x="1046131" y="493014"/>
                  </a:lnTo>
                  <a:lnTo>
                    <a:pt x="1038415" y="482727"/>
                  </a:lnTo>
                  <a:lnTo>
                    <a:pt x="1039178" y="476250"/>
                  </a:lnTo>
                  <a:lnTo>
                    <a:pt x="1041654" y="471107"/>
                  </a:lnTo>
                  <a:lnTo>
                    <a:pt x="1047559" y="467106"/>
                  </a:lnTo>
                  <a:lnTo>
                    <a:pt x="1049941" y="460438"/>
                  </a:lnTo>
                  <a:lnTo>
                    <a:pt x="1044226" y="453104"/>
                  </a:lnTo>
                  <a:lnTo>
                    <a:pt x="1054703" y="447008"/>
                  </a:lnTo>
                  <a:lnTo>
                    <a:pt x="1055465" y="440436"/>
                  </a:lnTo>
                  <a:lnTo>
                    <a:pt x="1048893" y="439674"/>
                  </a:lnTo>
                  <a:lnTo>
                    <a:pt x="1046893" y="436721"/>
                  </a:lnTo>
                  <a:lnTo>
                    <a:pt x="1046512" y="433578"/>
                  </a:lnTo>
                  <a:lnTo>
                    <a:pt x="1050893" y="429863"/>
                  </a:lnTo>
                  <a:lnTo>
                    <a:pt x="1045940" y="428911"/>
                  </a:lnTo>
                  <a:lnTo>
                    <a:pt x="1044797" y="432245"/>
                  </a:lnTo>
                  <a:lnTo>
                    <a:pt x="1042988" y="430816"/>
                  </a:lnTo>
                  <a:lnTo>
                    <a:pt x="1036034" y="426911"/>
                  </a:lnTo>
                  <a:lnTo>
                    <a:pt x="1033843" y="422338"/>
                  </a:lnTo>
                  <a:lnTo>
                    <a:pt x="1035082" y="419005"/>
                  </a:lnTo>
                  <a:lnTo>
                    <a:pt x="1034891" y="417481"/>
                  </a:lnTo>
                  <a:lnTo>
                    <a:pt x="1029557" y="413290"/>
                  </a:lnTo>
                  <a:lnTo>
                    <a:pt x="1030891" y="411575"/>
                  </a:lnTo>
                  <a:lnTo>
                    <a:pt x="1037177" y="410718"/>
                  </a:lnTo>
                  <a:lnTo>
                    <a:pt x="1039178" y="413671"/>
                  </a:lnTo>
                  <a:lnTo>
                    <a:pt x="1043559" y="422720"/>
                  </a:lnTo>
                  <a:lnTo>
                    <a:pt x="1051274" y="420148"/>
                  </a:lnTo>
                  <a:lnTo>
                    <a:pt x="1054037" y="416624"/>
                  </a:lnTo>
                  <a:lnTo>
                    <a:pt x="1053560" y="413480"/>
                  </a:lnTo>
                  <a:lnTo>
                    <a:pt x="1059466" y="409480"/>
                  </a:lnTo>
                  <a:lnTo>
                    <a:pt x="1063276" y="401003"/>
                  </a:lnTo>
                  <a:lnTo>
                    <a:pt x="1067943" y="400431"/>
                  </a:lnTo>
                  <a:lnTo>
                    <a:pt x="1073848" y="383572"/>
                  </a:lnTo>
                  <a:lnTo>
                    <a:pt x="1072801" y="375761"/>
                  </a:lnTo>
                  <a:lnTo>
                    <a:pt x="1072801" y="375761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2" name="Volný tvar: obrazec 31">
              <a:extLst>
                <a:ext uri="{FF2B5EF4-FFF2-40B4-BE49-F238E27FC236}">
                  <a16:creationId xmlns:a16="http://schemas.microsoft.com/office/drawing/2014/main" id="{B579A35E-4B4C-FF39-71FD-5B55CEAFF22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247858" y="3717035"/>
              <a:ext cx="910018" cy="791432"/>
            </a:xfrm>
            <a:custGeom>
              <a:avLst/>
              <a:gdLst>
                <a:gd name="connsiteX0" fmla="*/ 910019 w 910018"/>
                <a:gd name="connsiteY0" fmla="*/ 184690 h 791432"/>
                <a:gd name="connsiteX1" fmla="*/ 904208 w 910018"/>
                <a:gd name="connsiteY1" fmla="*/ 164497 h 791432"/>
                <a:gd name="connsiteX2" fmla="*/ 903637 w 910018"/>
                <a:gd name="connsiteY2" fmla="*/ 159829 h 791432"/>
                <a:gd name="connsiteX3" fmla="*/ 901255 w 910018"/>
                <a:gd name="connsiteY3" fmla="*/ 153734 h 791432"/>
                <a:gd name="connsiteX4" fmla="*/ 896112 w 910018"/>
                <a:gd name="connsiteY4" fmla="*/ 151162 h 791432"/>
                <a:gd name="connsiteX5" fmla="*/ 891350 w 910018"/>
                <a:gd name="connsiteY5" fmla="*/ 151733 h 791432"/>
                <a:gd name="connsiteX6" fmla="*/ 884206 w 910018"/>
                <a:gd name="connsiteY6" fmla="*/ 146209 h 791432"/>
                <a:gd name="connsiteX7" fmla="*/ 879253 w 910018"/>
                <a:gd name="connsiteY7" fmla="*/ 145256 h 791432"/>
                <a:gd name="connsiteX8" fmla="*/ 871442 w 910018"/>
                <a:gd name="connsiteY8" fmla="*/ 146304 h 791432"/>
                <a:gd name="connsiteX9" fmla="*/ 876681 w 910018"/>
                <a:gd name="connsiteY9" fmla="*/ 124777 h 791432"/>
                <a:gd name="connsiteX10" fmla="*/ 871919 w 910018"/>
                <a:gd name="connsiteY10" fmla="*/ 112490 h 791432"/>
                <a:gd name="connsiteX11" fmla="*/ 867156 w 910018"/>
                <a:gd name="connsiteY11" fmla="*/ 113157 h 791432"/>
                <a:gd name="connsiteX12" fmla="*/ 865156 w 910018"/>
                <a:gd name="connsiteY12" fmla="*/ 110204 h 791432"/>
                <a:gd name="connsiteX13" fmla="*/ 866775 w 910018"/>
                <a:gd name="connsiteY13" fmla="*/ 110014 h 791432"/>
                <a:gd name="connsiteX14" fmla="*/ 864775 w 910018"/>
                <a:gd name="connsiteY14" fmla="*/ 106966 h 791432"/>
                <a:gd name="connsiteX15" fmla="*/ 860393 w 910018"/>
                <a:gd name="connsiteY15" fmla="*/ 97917 h 791432"/>
                <a:gd name="connsiteX16" fmla="*/ 854107 w 910018"/>
                <a:gd name="connsiteY16" fmla="*/ 98774 h 791432"/>
                <a:gd name="connsiteX17" fmla="*/ 845439 w 910018"/>
                <a:gd name="connsiteY17" fmla="*/ 93440 h 791432"/>
                <a:gd name="connsiteX18" fmla="*/ 840486 w 910018"/>
                <a:gd name="connsiteY18" fmla="*/ 92488 h 791432"/>
                <a:gd name="connsiteX19" fmla="*/ 834390 w 910018"/>
                <a:gd name="connsiteY19" fmla="*/ 82010 h 791432"/>
                <a:gd name="connsiteX20" fmla="*/ 828770 w 910018"/>
                <a:gd name="connsiteY20" fmla="*/ 76295 h 791432"/>
                <a:gd name="connsiteX21" fmla="*/ 826008 w 910018"/>
                <a:gd name="connsiteY21" fmla="*/ 54197 h 791432"/>
                <a:gd name="connsiteX22" fmla="*/ 822198 w 910018"/>
                <a:gd name="connsiteY22" fmla="*/ 49911 h 791432"/>
                <a:gd name="connsiteX23" fmla="*/ 815530 w 910018"/>
                <a:gd name="connsiteY23" fmla="*/ 47530 h 791432"/>
                <a:gd name="connsiteX24" fmla="*/ 804101 w 910018"/>
                <a:gd name="connsiteY24" fmla="*/ 45815 h 791432"/>
                <a:gd name="connsiteX25" fmla="*/ 799338 w 910018"/>
                <a:gd name="connsiteY25" fmla="*/ 46387 h 791432"/>
                <a:gd name="connsiteX26" fmla="*/ 794195 w 910018"/>
                <a:gd name="connsiteY26" fmla="*/ 56674 h 791432"/>
                <a:gd name="connsiteX27" fmla="*/ 789718 w 910018"/>
                <a:gd name="connsiteY27" fmla="*/ 58864 h 791432"/>
                <a:gd name="connsiteX28" fmla="*/ 769811 w 910018"/>
                <a:gd name="connsiteY28" fmla="*/ 53340 h 791432"/>
                <a:gd name="connsiteX29" fmla="*/ 765810 w 910018"/>
                <a:gd name="connsiteY29" fmla="*/ 47434 h 791432"/>
                <a:gd name="connsiteX30" fmla="*/ 762667 w 910018"/>
                <a:gd name="connsiteY30" fmla="*/ 47815 h 791432"/>
                <a:gd name="connsiteX31" fmla="*/ 753618 w 910018"/>
                <a:gd name="connsiteY31" fmla="*/ 52197 h 791432"/>
                <a:gd name="connsiteX32" fmla="*/ 745046 w 910018"/>
                <a:gd name="connsiteY32" fmla="*/ 48482 h 791432"/>
                <a:gd name="connsiteX33" fmla="*/ 733806 w 910018"/>
                <a:gd name="connsiteY33" fmla="*/ 35528 h 791432"/>
                <a:gd name="connsiteX34" fmla="*/ 729234 w 910018"/>
                <a:gd name="connsiteY34" fmla="*/ 24860 h 791432"/>
                <a:gd name="connsiteX35" fmla="*/ 725710 w 910018"/>
                <a:gd name="connsiteY35" fmla="*/ 22098 h 791432"/>
                <a:gd name="connsiteX36" fmla="*/ 721328 w 910018"/>
                <a:gd name="connsiteY36" fmla="*/ 25908 h 791432"/>
                <a:gd name="connsiteX37" fmla="*/ 705803 w 910018"/>
                <a:gd name="connsiteY37" fmla="*/ 29432 h 791432"/>
                <a:gd name="connsiteX38" fmla="*/ 697802 w 910018"/>
                <a:gd name="connsiteY38" fmla="*/ 17621 h 791432"/>
                <a:gd name="connsiteX39" fmla="*/ 687229 w 910018"/>
                <a:gd name="connsiteY39" fmla="*/ 22193 h 791432"/>
                <a:gd name="connsiteX40" fmla="*/ 680657 w 910018"/>
                <a:gd name="connsiteY40" fmla="*/ 21431 h 791432"/>
                <a:gd name="connsiteX41" fmla="*/ 677704 w 910018"/>
                <a:gd name="connsiteY41" fmla="*/ 23431 h 791432"/>
                <a:gd name="connsiteX42" fmla="*/ 669417 w 910018"/>
                <a:gd name="connsiteY42" fmla="*/ 21241 h 791432"/>
                <a:gd name="connsiteX43" fmla="*/ 665131 w 910018"/>
                <a:gd name="connsiteY43" fmla="*/ 25051 h 791432"/>
                <a:gd name="connsiteX44" fmla="*/ 663512 w 910018"/>
                <a:gd name="connsiteY44" fmla="*/ 25241 h 791432"/>
                <a:gd name="connsiteX45" fmla="*/ 655415 w 910018"/>
                <a:gd name="connsiteY45" fmla="*/ 24670 h 791432"/>
                <a:gd name="connsiteX46" fmla="*/ 647795 w 910018"/>
                <a:gd name="connsiteY46" fmla="*/ 27242 h 791432"/>
                <a:gd name="connsiteX47" fmla="*/ 633794 w 910018"/>
                <a:gd name="connsiteY47" fmla="*/ 30575 h 791432"/>
                <a:gd name="connsiteX48" fmla="*/ 618744 w 910018"/>
                <a:gd name="connsiteY48" fmla="*/ 38957 h 791432"/>
                <a:gd name="connsiteX49" fmla="*/ 612458 w 910018"/>
                <a:gd name="connsiteY49" fmla="*/ 39719 h 791432"/>
                <a:gd name="connsiteX50" fmla="*/ 611124 w 910018"/>
                <a:gd name="connsiteY50" fmla="*/ 41529 h 791432"/>
                <a:gd name="connsiteX51" fmla="*/ 604361 w 910018"/>
                <a:gd name="connsiteY51" fmla="*/ 39148 h 791432"/>
                <a:gd name="connsiteX52" fmla="*/ 604742 w 910018"/>
                <a:gd name="connsiteY52" fmla="*/ 29527 h 791432"/>
                <a:gd name="connsiteX53" fmla="*/ 603313 w 910018"/>
                <a:gd name="connsiteY53" fmla="*/ 18478 h 791432"/>
                <a:gd name="connsiteX54" fmla="*/ 595979 w 910018"/>
                <a:gd name="connsiteY54" fmla="*/ 11335 h 791432"/>
                <a:gd name="connsiteX55" fmla="*/ 590074 w 910018"/>
                <a:gd name="connsiteY55" fmla="*/ 2476 h 791432"/>
                <a:gd name="connsiteX56" fmla="*/ 586930 w 910018"/>
                <a:gd name="connsiteY56" fmla="*/ 2857 h 791432"/>
                <a:gd name="connsiteX57" fmla="*/ 585692 w 910018"/>
                <a:gd name="connsiteY57" fmla="*/ 6286 h 791432"/>
                <a:gd name="connsiteX58" fmla="*/ 578644 w 910018"/>
                <a:gd name="connsiteY58" fmla="*/ 762 h 791432"/>
                <a:gd name="connsiteX59" fmla="*/ 572072 w 910018"/>
                <a:gd name="connsiteY59" fmla="*/ 0 h 791432"/>
                <a:gd name="connsiteX60" fmla="*/ 550069 w 910018"/>
                <a:gd name="connsiteY60" fmla="*/ 2762 h 791432"/>
                <a:gd name="connsiteX61" fmla="*/ 547116 w 910018"/>
                <a:gd name="connsiteY61" fmla="*/ 17621 h 791432"/>
                <a:gd name="connsiteX62" fmla="*/ 538829 w 910018"/>
                <a:gd name="connsiteY62" fmla="*/ 28289 h 791432"/>
                <a:gd name="connsiteX63" fmla="*/ 539210 w 910018"/>
                <a:gd name="connsiteY63" fmla="*/ 31432 h 791432"/>
                <a:gd name="connsiteX64" fmla="*/ 539687 w 910018"/>
                <a:gd name="connsiteY64" fmla="*/ 34576 h 791432"/>
                <a:gd name="connsiteX65" fmla="*/ 530352 w 910018"/>
                <a:gd name="connsiteY65" fmla="*/ 37338 h 791432"/>
                <a:gd name="connsiteX66" fmla="*/ 524828 w 910018"/>
                <a:gd name="connsiteY66" fmla="*/ 31623 h 791432"/>
                <a:gd name="connsiteX67" fmla="*/ 520255 w 910018"/>
                <a:gd name="connsiteY67" fmla="*/ 33814 h 791432"/>
                <a:gd name="connsiteX68" fmla="*/ 518351 w 910018"/>
                <a:gd name="connsiteY68" fmla="*/ 30861 h 791432"/>
                <a:gd name="connsiteX69" fmla="*/ 515207 w 910018"/>
                <a:gd name="connsiteY69" fmla="*/ 31242 h 791432"/>
                <a:gd name="connsiteX70" fmla="*/ 513017 w 910018"/>
                <a:gd name="connsiteY70" fmla="*/ 26765 h 791432"/>
                <a:gd name="connsiteX71" fmla="*/ 505111 w 910018"/>
                <a:gd name="connsiteY71" fmla="*/ 27718 h 791432"/>
                <a:gd name="connsiteX72" fmla="*/ 503111 w 910018"/>
                <a:gd name="connsiteY72" fmla="*/ 24765 h 791432"/>
                <a:gd name="connsiteX73" fmla="*/ 499586 w 910018"/>
                <a:gd name="connsiteY73" fmla="*/ 22003 h 791432"/>
                <a:gd name="connsiteX74" fmla="*/ 496443 w 910018"/>
                <a:gd name="connsiteY74" fmla="*/ 22479 h 791432"/>
                <a:gd name="connsiteX75" fmla="*/ 498348 w 910018"/>
                <a:gd name="connsiteY75" fmla="*/ 25432 h 791432"/>
                <a:gd name="connsiteX76" fmla="*/ 498824 w 910018"/>
                <a:gd name="connsiteY76" fmla="*/ 28575 h 791432"/>
                <a:gd name="connsiteX77" fmla="*/ 497777 w 910018"/>
                <a:gd name="connsiteY77" fmla="*/ 33528 h 791432"/>
                <a:gd name="connsiteX78" fmla="*/ 498253 w 910018"/>
                <a:gd name="connsiteY78" fmla="*/ 36671 h 791432"/>
                <a:gd name="connsiteX79" fmla="*/ 496634 w 910018"/>
                <a:gd name="connsiteY79" fmla="*/ 36862 h 791432"/>
                <a:gd name="connsiteX80" fmla="*/ 497396 w 910018"/>
                <a:gd name="connsiteY80" fmla="*/ 43148 h 791432"/>
                <a:gd name="connsiteX81" fmla="*/ 483680 w 910018"/>
                <a:gd name="connsiteY81" fmla="*/ 48101 h 791432"/>
                <a:gd name="connsiteX82" fmla="*/ 480060 w 910018"/>
                <a:gd name="connsiteY82" fmla="*/ 45339 h 791432"/>
                <a:gd name="connsiteX83" fmla="*/ 477488 w 910018"/>
                <a:gd name="connsiteY83" fmla="*/ 50482 h 791432"/>
                <a:gd name="connsiteX84" fmla="*/ 478155 w 910018"/>
                <a:gd name="connsiteY84" fmla="*/ 55245 h 791432"/>
                <a:gd name="connsiteX85" fmla="*/ 476917 w 910018"/>
                <a:gd name="connsiteY85" fmla="*/ 58579 h 791432"/>
                <a:gd name="connsiteX86" fmla="*/ 467868 w 910018"/>
                <a:gd name="connsiteY86" fmla="*/ 62960 h 791432"/>
                <a:gd name="connsiteX87" fmla="*/ 464915 w 910018"/>
                <a:gd name="connsiteY87" fmla="*/ 64960 h 791432"/>
                <a:gd name="connsiteX88" fmla="*/ 461391 w 910018"/>
                <a:gd name="connsiteY88" fmla="*/ 62198 h 791432"/>
                <a:gd name="connsiteX89" fmla="*/ 461772 w 910018"/>
                <a:gd name="connsiteY89" fmla="*/ 65342 h 791432"/>
                <a:gd name="connsiteX90" fmla="*/ 467678 w 910018"/>
                <a:gd name="connsiteY90" fmla="*/ 74200 h 791432"/>
                <a:gd name="connsiteX91" fmla="*/ 470249 w 910018"/>
                <a:gd name="connsiteY91" fmla="*/ 81915 h 791432"/>
                <a:gd name="connsiteX92" fmla="*/ 465963 w 910018"/>
                <a:gd name="connsiteY92" fmla="*/ 85630 h 791432"/>
                <a:gd name="connsiteX93" fmla="*/ 467773 w 910018"/>
                <a:gd name="connsiteY93" fmla="*/ 87058 h 791432"/>
                <a:gd name="connsiteX94" fmla="*/ 464820 w 910018"/>
                <a:gd name="connsiteY94" fmla="*/ 89059 h 791432"/>
                <a:gd name="connsiteX95" fmla="*/ 463582 w 910018"/>
                <a:gd name="connsiteY95" fmla="*/ 92392 h 791432"/>
                <a:gd name="connsiteX96" fmla="*/ 456152 w 910018"/>
                <a:gd name="connsiteY96" fmla="*/ 96583 h 791432"/>
                <a:gd name="connsiteX97" fmla="*/ 456343 w 910018"/>
                <a:gd name="connsiteY97" fmla="*/ 98107 h 791432"/>
                <a:gd name="connsiteX98" fmla="*/ 460058 w 910018"/>
                <a:gd name="connsiteY98" fmla="*/ 102489 h 791432"/>
                <a:gd name="connsiteX99" fmla="*/ 456152 w 910018"/>
                <a:gd name="connsiteY99" fmla="*/ 109347 h 791432"/>
                <a:gd name="connsiteX100" fmla="*/ 456724 w 910018"/>
                <a:gd name="connsiteY100" fmla="*/ 114109 h 791432"/>
                <a:gd name="connsiteX101" fmla="*/ 457200 w 910018"/>
                <a:gd name="connsiteY101" fmla="*/ 117253 h 791432"/>
                <a:gd name="connsiteX102" fmla="*/ 455581 w 910018"/>
                <a:gd name="connsiteY102" fmla="*/ 117443 h 791432"/>
                <a:gd name="connsiteX103" fmla="*/ 455962 w 910018"/>
                <a:gd name="connsiteY103" fmla="*/ 120586 h 791432"/>
                <a:gd name="connsiteX104" fmla="*/ 452819 w 910018"/>
                <a:gd name="connsiteY104" fmla="*/ 121063 h 791432"/>
                <a:gd name="connsiteX105" fmla="*/ 451009 w 910018"/>
                <a:gd name="connsiteY105" fmla="*/ 119634 h 791432"/>
                <a:gd name="connsiteX106" fmla="*/ 447866 w 910018"/>
                <a:gd name="connsiteY106" fmla="*/ 120015 h 791432"/>
                <a:gd name="connsiteX107" fmla="*/ 447675 w 910018"/>
                <a:gd name="connsiteY107" fmla="*/ 118491 h 791432"/>
                <a:gd name="connsiteX108" fmla="*/ 444532 w 910018"/>
                <a:gd name="connsiteY108" fmla="*/ 118872 h 791432"/>
                <a:gd name="connsiteX109" fmla="*/ 430721 w 910018"/>
                <a:gd name="connsiteY109" fmla="*/ 123825 h 791432"/>
                <a:gd name="connsiteX110" fmla="*/ 429387 w 910018"/>
                <a:gd name="connsiteY110" fmla="*/ 125635 h 791432"/>
                <a:gd name="connsiteX111" fmla="*/ 426149 w 910018"/>
                <a:gd name="connsiteY111" fmla="*/ 126016 h 791432"/>
                <a:gd name="connsiteX112" fmla="*/ 419100 w 910018"/>
                <a:gd name="connsiteY112" fmla="*/ 120491 h 791432"/>
                <a:gd name="connsiteX113" fmla="*/ 414338 w 910018"/>
                <a:gd name="connsiteY113" fmla="*/ 121158 h 791432"/>
                <a:gd name="connsiteX114" fmla="*/ 415766 w 910018"/>
                <a:gd name="connsiteY114" fmla="*/ 119348 h 791432"/>
                <a:gd name="connsiteX115" fmla="*/ 408813 w 910018"/>
                <a:gd name="connsiteY115" fmla="*/ 115443 h 791432"/>
                <a:gd name="connsiteX116" fmla="*/ 408622 w 910018"/>
                <a:gd name="connsiteY116" fmla="*/ 113824 h 791432"/>
                <a:gd name="connsiteX117" fmla="*/ 411194 w 910018"/>
                <a:gd name="connsiteY117" fmla="*/ 108680 h 791432"/>
                <a:gd name="connsiteX118" fmla="*/ 407956 w 910018"/>
                <a:gd name="connsiteY118" fmla="*/ 109061 h 791432"/>
                <a:gd name="connsiteX119" fmla="*/ 405860 w 910018"/>
                <a:gd name="connsiteY119" fmla="*/ 104584 h 791432"/>
                <a:gd name="connsiteX120" fmla="*/ 398907 w 910018"/>
                <a:gd name="connsiteY120" fmla="*/ 100584 h 791432"/>
                <a:gd name="connsiteX121" fmla="*/ 396335 w 910018"/>
                <a:gd name="connsiteY121" fmla="*/ 92964 h 791432"/>
                <a:gd name="connsiteX122" fmla="*/ 392239 w 910018"/>
                <a:gd name="connsiteY122" fmla="*/ 98298 h 791432"/>
                <a:gd name="connsiteX123" fmla="*/ 386810 w 910018"/>
                <a:gd name="connsiteY123" fmla="*/ 94107 h 791432"/>
                <a:gd name="connsiteX124" fmla="*/ 382334 w 910018"/>
                <a:gd name="connsiteY124" fmla="*/ 96298 h 791432"/>
                <a:gd name="connsiteX125" fmla="*/ 382905 w 910018"/>
                <a:gd name="connsiteY125" fmla="*/ 101060 h 791432"/>
                <a:gd name="connsiteX126" fmla="*/ 379952 w 910018"/>
                <a:gd name="connsiteY126" fmla="*/ 103060 h 791432"/>
                <a:gd name="connsiteX127" fmla="*/ 380619 w 910018"/>
                <a:gd name="connsiteY127" fmla="*/ 107728 h 791432"/>
                <a:gd name="connsiteX128" fmla="*/ 379190 w 910018"/>
                <a:gd name="connsiteY128" fmla="*/ 109538 h 791432"/>
                <a:gd name="connsiteX129" fmla="*/ 381762 w 910018"/>
                <a:gd name="connsiteY129" fmla="*/ 117253 h 791432"/>
                <a:gd name="connsiteX130" fmla="*/ 377476 w 910018"/>
                <a:gd name="connsiteY130" fmla="*/ 120967 h 791432"/>
                <a:gd name="connsiteX131" fmla="*/ 372523 w 910018"/>
                <a:gd name="connsiteY131" fmla="*/ 120015 h 791432"/>
                <a:gd name="connsiteX132" fmla="*/ 366141 w 910018"/>
                <a:gd name="connsiteY132" fmla="*/ 108013 h 791432"/>
                <a:gd name="connsiteX133" fmla="*/ 358712 w 910018"/>
                <a:gd name="connsiteY133" fmla="*/ 112204 h 791432"/>
                <a:gd name="connsiteX134" fmla="*/ 358521 w 910018"/>
                <a:gd name="connsiteY134" fmla="*/ 110585 h 791432"/>
                <a:gd name="connsiteX135" fmla="*/ 353759 w 910018"/>
                <a:gd name="connsiteY135" fmla="*/ 111157 h 791432"/>
                <a:gd name="connsiteX136" fmla="*/ 352520 w 910018"/>
                <a:gd name="connsiteY136" fmla="*/ 114586 h 791432"/>
                <a:gd name="connsiteX137" fmla="*/ 348805 w 910018"/>
                <a:gd name="connsiteY137" fmla="*/ 110204 h 791432"/>
                <a:gd name="connsiteX138" fmla="*/ 346043 w 910018"/>
                <a:gd name="connsiteY138" fmla="*/ 113728 h 791432"/>
                <a:gd name="connsiteX139" fmla="*/ 349568 w 910018"/>
                <a:gd name="connsiteY139" fmla="*/ 116491 h 791432"/>
                <a:gd name="connsiteX140" fmla="*/ 348425 w 910018"/>
                <a:gd name="connsiteY140" fmla="*/ 119920 h 791432"/>
                <a:gd name="connsiteX141" fmla="*/ 357378 w 910018"/>
                <a:gd name="connsiteY141" fmla="*/ 126778 h 791432"/>
                <a:gd name="connsiteX142" fmla="*/ 357950 w 910018"/>
                <a:gd name="connsiteY142" fmla="*/ 131540 h 791432"/>
                <a:gd name="connsiteX143" fmla="*/ 358140 w 910018"/>
                <a:gd name="connsiteY143" fmla="*/ 133064 h 791432"/>
                <a:gd name="connsiteX144" fmla="*/ 361855 w 910018"/>
                <a:gd name="connsiteY144" fmla="*/ 137446 h 791432"/>
                <a:gd name="connsiteX145" fmla="*/ 367189 w 910018"/>
                <a:gd name="connsiteY145" fmla="*/ 141542 h 791432"/>
                <a:gd name="connsiteX146" fmla="*/ 364236 w 910018"/>
                <a:gd name="connsiteY146" fmla="*/ 143542 h 791432"/>
                <a:gd name="connsiteX147" fmla="*/ 368237 w 910018"/>
                <a:gd name="connsiteY147" fmla="*/ 149447 h 791432"/>
                <a:gd name="connsiteX148" fmla="*/ 361379 w 910018"/>
                <a:gd name="connsiteY148" fmla="*/ 158305 h 791432"/>
                <a:gd name="connsiteX149" fmla="*/ 356616 w 910018"/>
                <a:gd name="connsiteY149" fmla="*/ 158972 h 791432"/>
                <a:gd name="connsiteX150" fmla="*/ 355854 w 910018"/>
                <a:gd name="connsiteY150" fmla="*/ 165449 h 791432"/>
                <a:gd name="connsiteX151" fmla="*/ 348329 w 910018"/>
                <a:gd name="connsiteY151" fmla="*/ 169640 h 791432"/>
                <a:gd name="connsiteX152" fmla="*/ 343471 w 910018"/>
                <a:gd name="connsiteY152" fmla="*/ 168592 h 791432"/>
                <a:gd name="connsiteX153" fmla="*/ 342043 w 910018"/>
                <a:gd name="connsiteY153" fmla="*/ 170402 h 791432"/>
                <a:gd name="connsiteX154" fmla="*/ 341662 w 910018"/>
                <a:gd name="connsiteY154" fmla="*/ 167259 h 791432"/>
                <a:gd name="connsiteX155" fmla="*/ 340424 w 910018"/>
                <a:gd name="connsiteY155" fmla="*/ 170593 h 791432"/>
                <a:gd name="connsiteX156" fmla="*/ 335566 w 910018"/>
                <a:gd name="connsiteY156" fmla="*/ 169640 h 791432"/>
                <a:gd name="connsiteX157" fmla="*/ 333946 w 910018"/>
                <a:gd name="connsiteY157" fmla="*/ 169831 h 791432"/>
                <a:gd name="connsiteX158" fmla="*/ 333756 w 910018"/>
                <a:gd name="connsiteY158" fmla="*/ 168211 h 791432"/>
                <a:gd name="connsiteX159" fmla="*/ 331946 w 910018"/>
                <a:gd name="connsiteY159" fmla="*/ 166878 h 791432"/>
                <a:gd name="connsiteX160" fmla="*/ 327660 w 910018"/>
                <a:gd name="connsiteY160" fmla="*/ 170688 h 791432"/>
                <a:gd name="connsiteX161" fmla="*/ 328803 w 910018"/>
                <a:gd name="connsiteY161" fmla="*/ 167259 h 791432"/>
                <a:gd name="connsiteX162" fmla="*/ 328422 w 910018"/>
                <a:gd name="connsiteY162" fmla="*/ 164116 h 791432"/>
                <a:gd name="connsiteX163" fmla="*/ 323088 w 910018"/>
                <a:gd name="connsiteY163" fmla="*/ 160020 h 791432"/>
                <a:gd name="connsiteX164" fmla="*/ 319754 w 910018"/>
                <a:gd name="connsiteY164" fmla="*/ 158782 h 791432"/>
                <a:gd name="connsiteX165" fmla="*/ 316802 w 910018"/>
                <a:gd name="connsiteY165" fmla="*/ 160782 h 791432"/>
                <a:gd name="connsiteX166" fmla="*/ 312039 w 910018"/>
                <a:gd name="connsiteY166" fmla="*/ 161449 h 791432"/>
                <a:gd name="connsiteX167" fmla="*/ 310229 w 910018"/>
                <a:gd name="connsiteY167" fmla="*/ 160020 h 791432"/>
                <a:gd name="connsiteX168" fmla="*/ 296418 w 910018"/>
                <a:gd name="connsiteY168" fmla="*/ 164973 h 791432"/>
                <a:gd name="connsiteX169" fmla="*/ 294513 w 910018"/>
                <a:gd name="connsiteY169" fmla="*/ 162020 h 791432"/>
                <a:gd name="connsiteX170" fmla="*/ 290132 w 910018"/>
                <a:gd name="connsiteY170" fmla="*/ 165830 h 791432"/>
                <a:gd name="connsiteX171" fmla="*/ 286988 w 910018"/>
                <a:gd name="connsiteY171" fmla="*/ 166211 h 791432"/>
                <a:gd name="connsiteX172" fmla="*/ 283083 w 910018"/>
                <a:gd name="connsiteY172" fmla="*/ 173069 h 791432"/>
                <a:gd name="connsiteX173" fmla="*/ 279654 w 910018"/>
                <a:gd name="connsiteY173" fmla="*/ 171926 h 791432"/>
                <a:gd name="connsiteX174" fmla="*/ 279463 w 910018"/>
                <a:gd name="connsiteY174" fmla="*/ 170402 h 791432"/>
                <a:gd name="connsiteX175" fmla="*/ 277273 w 910018"/>
                <a:gd name="connsiteY175" fmla="*/ 165830 h 791432"/>
                <a:gd name="connsiteX176" fmla="*/ 274320 w 910018"/>
                <a:gd name="connsiteY176" fmla="*/ 167830 h 791432"/>
                <a:gd name="connsiteX177" fmla="*/ 274606 w 910018"/>
                <a:gd name="connsiteY177" fmla="*/ 169354 h 791432"/>
                <a:gd name="connsiteX178" fmla="*/ 266224 w 910018"/>
                <a:gd name="connsiteY178" fmla="*/ 167259 h 791432"/>
                <a:gd name="connsiteX179" fmla="*/ 273177 w 910018"/>
                <a:gd name="connsiteY179" fmla="*/ 171164 h 791432"/>
                <a:gd name="connsiteX180" fmla="*/ 269081 w 910018"/>
                <a:gd name="connsiteY180" fmla="*/ 176498 h 791432"/>
                <a:gd name="connsiteX181" fmla="*/ 272225 w 910018"/>
                <a:gd name="connsiteY181" fmla="*/ 176117 h 791432"/>
                <a:gd name="connsiteX182" fmla="*/ 274225 w 910018"/>
                <a:gd name="connsiteY182" fmla="*/ 179070 h 791432"/>
                <a:gd name="connsiteX183" fmla="*/ 274034 w 910018"/>
                <a:gd name="connsiteY183" fmla="*/ 190309 h 791432"/>
                <a:gd name="connsiteX184" fmla="*/ 271272 w 910018"/>
                <a:gd name="connsiteY184" fmla="*/ 193834 h 791432"/>
                <a:gd name="connsiteX185" fmla="*/ 269462 w 910018"/>
                <a:gd name="connsiteY185" fmla="*/ 192500 h 791432"/>
                <a:gd name="connsiteX186" fmla="*/ 266510 w 910018"/>
                <a:gd name="connsiteY186" fmla="*/ 194500 h 791432"/>
                <a:gd name="connsiteX187" fmla="*/ 261176 w 910018"/>
                <a:gd name="connsiteY187" fmla="*/ 203168 h 791432"/>
                <a:gd name="connsiteX188" fmla="*/ 245840 w 910018"/>
                <a:gd name="connsiteY188" fmla="*/ 221171 h 791432"/>
                <a:gd name="connsiteX189" fmla="*/ 245650 w 910018"/>
                <a:gd name="connsiteY189" fmla="*/ 219551 h 791432"/>
                <a:gd name="connsiteX190" fmla="*/ 244507 w 910018"/>
                <a:gd name="connsiteY190" fmla="*/ 210121 h 791432"/>
                <a:gd name="connsiteX191" fmla="*/ 238887 w 910018"/>
                <a:gd name="connsiteY191" fmla="*/ 204406 h 791432"/>
                <a:gd name="connsiteX192" fmla="*/ 238887 w 910018"/>
                <a:gd name="connsiteY192" fmla="*/ 204406 h 791432"/>
                <a:gd name="connsiteX193" fmla="*/ 233172 w 910018"/>
                <a:gd name="connsiteY193" fmla="*/ 197072 h 791432"/>
                <a:gd name="connsiteX194" fmla="*/ 226695 w 910018"/>
                <a:gd name="connsiteY194" fmla="*/ 196310 h 791432"/>
                <a:gd name="connsiteX195" fmla="*/ 227838 w 910018"/>
                <a:gd name="connsiteY195" fmla="*/ 192976 h 791432"/>
                <a:gd name="connsiteX196" fmla="*/ 221552 w 910018"/>
                <a:gd name="connsiteY196" fmla="*/ 193834 h 791432"/>
                <a:gd name="connsiteX197" fmla="*/ 218218 w 910018"/>
                <a:gd name="connsiteY197" fmla="*/ 192596 h 791432"/>
                <a:gd name="connsiteX198" fmla="*/ 218408 w 910018"/>
                <a:gd name="connsiteY198" fmla="*/ 194215 h 791432"/>
                <a:gd name="connsiteX199" fmla="*/ 213455 w 910018"/>
                <a:gd name="connsiteY199" fmla="*/ 193262 h 791432"/>
                <a:gd name="connsiteX200" fmla="*/ 215646 w 910018"/>
                <a:gd name="connsiteY200" fmla="*/ 197739 h 791432"/>
                <a:gd name="connsiteX201" fmla="*/ 214217 w 910018"/>
                <a:gd name="connsiteY201" fmla="*/ 199549 h 791432"/>
                <a:gd name="connsiteX202" fmla="*/ 212027 w 910018"/>
                <a:gd name="connsiteY202" fmla="*/ 194977 h 791432"/>
                <a:gd name="connsiteX203" fmla="*/ 202597 w 910018"/>
                <a:gd name="connsiteY203" fmla="*/ 196215 h 791432"/>
                <a:gd name="connsiteX204" fmla="*/ 203549 w 910018"/>
                <a:gd name="connsiteY204" fmla="*/ 191262 h 791432"/>
                <a:gd name="connsiteX205" fmla="*/ 199835 w 910018"/>
                <a:gd name="connsiteY205" fmla="*/ 186976 h 791432"/>
                <a:gd name="connsiteX206" fmla="*/ 196882 w 910018"/>
                <a:gd name="connsiteY206" fmla="*/ 188881 h 791432"/>
                <a:gd name="connsiteX207" fmla="*/ 184976 w 910018"/>
                <a:gd name="connsiteY207" fmla="*/ 184023 h 791432"/>
                <a:gd name="connsiteX208" fmla="*/ 186214 w 910018"/>
                <a:gd name="connsiteY208" fmla="*/ 193453 h 791432"/>
                <a:gd name="connsiteX209" fmla="*/ 182880 w 910018"/>
                <a:gd name="connsiteY209" fmla="*/ 192310 h 791432"/>
                <a:gd name="connsiteX210" fmla="*/ 174974 w 910018"/>
                <a:gd name="connsiteY210" fmla="*/ 193262 h 791432"/>
                <a:gd name="connsiteX211" fmla="*/ 174593 w 910018"/>
                <a:gd name="connsiteY211" fmla="*/ 190119 h 791432"/>
                <a:gd name="connsiteX212" fmla="*/ 175355 w 910018"/>
                <a:gd name="connsiteY212" fmla="*/ 183642 h 791432"/>
                <a:gd name="connsiteX213" fmla="*/ 175546 w 910018"/>
                <a:gd name="connsiteY213" fmla="*/ 172402 h 791432"/>
                <a:gd name="connsiteX214" fmla="*/ 181261 w 910018"/>
                <a:gd name="connsiteY214" fmla="*/ 166878 h 791432"/>
                <a:gd name="connsiteX215" fmla="*/ 180975 w 910018"/>
                <a:gd name="connsiteY215" fmla="*/ 165259 h 791432"/>
                <a:gd name="connsiteX216" fmla="*/ 177832 w 910018"/>
                <a:gd name="connsiteY216" fmla="*/ 165640 h 791432"/>
                <a:gd name="connsiteX217" fmla="*/ 170307 w 910018"/>
                <a:gd name="connsiteY217" fmla="*/ 156972 h 791432"/>
                <a:gd name="connsiteX218" fmla="*/ 170307 w 910018"/>
                <a:gd name="connsiteY218" fmla="*/ 156972 h 791432"/>
                <a:gd name="connsiteX219" fmla="*/ 170783 w 910018"/>
                <a:gd name="connsiteY219" fmla="*/ 160210 h 791432"/>
                <a:gd name="connsiteX220" fmla="*/ 166021 w 910018"/>
                <a:gd name="connsiteY220" fmla="*/ 160782 h 791432"/>
                <a:gd name="connsiteX221" fmla="*/ 166211 w 910018"/>
                <a:gd name="connsiteY221" fmla="*/ 162306 h 791432"/>
                <a:gd name="connsiteX222" fmla="*/ 159925 w 910018"/>
                <a:gd name="connsiteY222" fmla="*/ 163163 h 791432"/>
                <a:gd name="connsiteX223" fmla="*/ 159353 w 910018"/>
                <a:gd name="connsiteY223" fmla="*/ 171259 h 791432"/>
                <a:gd name="connsiteX224" fmla="*/ 156401 w 910018"/>
                <a:gd name="connsiteY224" fmla="*/ 173260 h 791432"/>
                <a:gd name="connsiteX225" fmla="*/ 157925 w 910018"/>
                <a:gd name="connsiteY225" fmla="*/ 172974 h 791432"/>
                <a:gd name="connsiteX226" fmla="*/ 156782 w 910018"/>
                <a:gd name="connsiteY226" fmla="*/ 176403 h 791432"/>
                <a:gd name="connsiteX227" fmla="*/ 154972 w 910018"/>
                <a:gd name="connsiteY227" fmla="*/ 174974 h 791432"/>
                <a:gd name="connsiteX228" fmla="*/ 152210 w 910018"/>
                <a:gd name="connsiteY228" fmla="*/ 178594 h 791432"/>
                <a:gd name="connsiteX229" fmla="*/ 152400 w 910018"/>
                <a:gd name="connsiteY229" fmla="*/ 180118 h 791432"/>
                <a:gd name="connsiteX230" fmla="*/ 151257 w 910018"/>
                <a:gd name="connsiteY230" fmla="*/ 183451 h 791432"/>
                <a:gd name="connsiteX231" fmla="*/ 146495 w 910018"/>
                <a:gd name="connsiteY231" fmla="*/ 184118 h 791432"/>
                <a:gd name="connsiteX232" fmla="*/ 147542 w 910018"/>
                <a:gd name="connsiteY232" fmla="*/ 192024 h 791432"/>
                <a:gd name="connsiteX233" fmla="*/ 145733 w 910018"/>
                <a:gd name="connsiteY233" fmla="*/ 190595 h 791432"/>
                <a:gd name="connsiteX234" fmla="*/ 146399 w 910018"/>
                <a:gd name="connsiteY234" fmla="*/ 195358 h 791432"/>
                <a:gd name="connsiteX235" fmla="*/ 146971 w 910018"/>
                <a:gd name="connsiteY235" fmla="*/ 200120 h 791432"/>
                <a:gd name="connsiteX236" fmla="*/ 149543 w 910018"/>
                <a:gd name="connsiteY236" fmla="*/ 207740 h 791432"/>
                <a:gd name="connsiteX237" fmla="*/ 153543 w 910018"/>
                <a:gd name="connsiteY237" fmla="*/ 213646 h 791432"/>
                <a:gd name="connsiteX238" fmla="*/ 152495 w 910018"/>
                <a:gd name="connsiteY238" fmla="*/ 218599 h 791432"/>
                <a:gd name="connsiteX239" fmla="*/ 159258 w 910018"/>
                <a:gd name="connsiteY239" fmla="*/ 220980 h 791432"/>
                <a:gd name="connsiteX240" fmla="*/ 159449 w 910018"/>
                <a:gd name="connsiteY240" fmla="*/ 222504 h 791432"/>
                <a:gd name="connsiteX241" fmla="*/ 162020 w 910018"/>
                <a:gd name="connsiteY241" fmla="*/ 230219 h 791432"/>
                <a:gd name="connsiteX242" fmla="*/ 160496 w 910018"/>
                <a:gd name="connsiteY242" fmla="*/ 230410 h 791432"/>
                <a:gd name="connsiteX243" fmla="*/ 163068 w 910018"/>
                <a:gd name="connsiteY243" fmla="*/ 238125 h 791432"/>
                <a:gd name="connsiteX244" fmla="*/ 156686 w 910018"/>
                <a:gd name="connsiteY244" fmla="*/ 238887 h 791432"/>
                <a:gd name="connsiteX245" fmla="*/ 155162 w 910018"/>
                <a:gd name="connsiteY245" fmla="*/ 239173 h 791432"/>
                <a:gd name="connsiteX246" fmla="*/ 152019 w 910018"/>
                <a:gd name="connsiteY246" fmla="*/ 239554 h 791432"/>
                <a:gd name="connsiteX247" fmla="*/ 148304 w 910018"/>
                <a:gd name="connsiteY247" fmla="*/ 248031 h 791432"/>
                <a:gd name="connsiteX248" fmla="*/ 143351 w 910018"/>
                <a:gd name="connsiteY248" fmla="*/ 247078 h 791432"/>
                <a:gd name="connsiteX249" fmla="*/ 143732 w 910018"/>
                <a:gd name="connsiteY249" fmla="*/ 250222 h 791432"/>
                <a:gd name="connsiteX250" fmla="*/ 137636 w 910018"/>
                <a:gd name="connsiteY250" fmla="*/ 252603 h 791432"/>
                <a:gd name="connsiteX251" fmla="*/ 135636 w 910018"/>
                <a:gd name="connsiteY251" fmla="*/ 249650 h 791432"/>
                <a:gd name="connsiteX252" fmla="*/ 132874 w 910018"/>
                <a:gd name="connsiteY252" fmla="*/ 266033 h 791432"/>
                <a:gd name="connsiteX253" fmla="*/ 131350 w 910018"/>
                <a:gd name="connsiteY253" fmla="*/ 266224 h 791432"/>
                <a:gd name="connsiteX254" fmla="*/ 130207 w 910018"/>
                <a:gd name="connsiteY254" fmla="*/ 269557 h 791432"/>
                <a:gd name="connsiteX255" fmla="*/ 126968 w 910018"/>
                <a:gd name="connsiteY255" fmla="*/ 269938 h 791432"/>
                <a:gd name="connsiteX256" fmla="*/ 128969 w 910018"/>
                <a:gd name="connsiteY256" fmla="*/ 272891 h 791432"/>
                <a:gd name="connsiteX257" fmla="*/ 125825 w 910018"/>
                <a:gd name="connsiteY257" fmla="*/ 273367 h 791432"/>
                <a:gd name="connsiteX258" fmla="*/ 124682 w 910018"/>
                <a:gd name="connsiteY258" fmla="*/ 276701 h 791432"/>
                <a:gd name="connsiteX259" fmla="*/ 120301 w 910018"/>
                <a:gd name="connsiteY259" fmla="*/ 280416 h 791432"/>
                <a:gd name="connsiteX260" fmla="*/ 119158 w 910018"/>
                <a:gd name="connsiteY260" fmla="*/ 283845 h 791432"/>
                <a:gd name="connsiteX261" fmla="*/ 120968 w 910018"/>
                <a:gd name="connsiteY261" fmla="*/ 285178 h 791432"/>
                <a:gd name="connsiteX262" fmla="*/ 119539 w 910018"/>
                <a:gd name="connsiteY262" fmla="*/ 286988 h 791432"/>
                <a:gd name="connsiteX263" fmla="*/ 110680 w 910018"/>
                <a:gd name="connsiteY263" fmla="*/ 292894 h 791432"/>
                <a:gd name="connsiteX264" fmla="*/ 107347 w 910018"/>
                <a:gd name="connsiteY264" fmla="*/ 291751 h 791432"/>
                <a:gd name="connsiteX265" fmla="*/ 106109 w 910018"/>
                <a:gd name="connsiteY265" fmla="*/ 295084 h 791432"/>
                <a:gd name="connsiteX266" fmla="*/ 97250 w 910018"/>
                <a:gd name="connsiteY266" fmla="*/ 288226 h 791432"/>
                <a:gd name="connsiteX267" fmla="*/ 95917 w 910018"/>
                <a:gd name="connsiteY267" fmla="*/ 289941 h 791432"/>
                <a:gd name="connsiteX268" fmla="*/ 93726 w 910018"/>
                <a:gd name="connsiteY268" fmla="*/ 285464 h 791432"/>
                <a:gd name="connsiteX269" fmla="*/ 92678 w 910018"/>
                <a:gd name="connsiteY269" fmla="*/ 290417 h 791432"/>
                <a:gd name="connsiteX270" fmla="*/ 88202 w 910018"/>
                <a:gd name="connsiteY270" fmla="*/ 292608 h 791432"/>
                <a:gd name="connsiteX271" fmla="*/ 85249 w 910018"/>
                <a:gd name="connsiteY271" fmla="*/ 294513 h 791432"/>
                <a:gd name="connsiteX272" fmla="*/ 76771 w 910018"/>
                <a:gd name="connsiteY272" fmla="*/ 290798 h 791432"/>
                <a:gd name="connsiteX273" fmla="*/ 75343 w 910018"/>
                <a:gd name="connsiteY273" fmla="*/ 292608 h 791432"/>
                <a:gd name="connsiteX274" fmla="*/ 70866 w 910018"/>
                <a:gd name="connsiteY274" fmla="*/ 294799 h 791432"/>
                <a:gd name="connsiteX275" fmla="*/ 66104 w 910018"/>
                <a:gd name="connsiteY275" fmla="*/ 295370 h 791432"/>
                <a:gd name="connsiteX276" fmla="*/ 65151 w 910018"/>
                <a:gd name="connsiteY276" fmla="*/ 300323 h 791432"/>
                <a:gd name="connsiteX277" fmla="*/ 63722 w 910018"/>
                <a:gd name="connsiteY277" fmla="*/ 302133 h 791432"/>
                <a:gd name="connsiteX278" fmla="*/ 56864 w 910018"/>
                <a:gd name="connsiteY278" fmla="*/ 298132 h 791432"/>
                <a:gd name="connsiteX279" fmla="*/ 54483 w 910018"/>
                <a:gd name="connsiteY279" fmla="*/ 292036 h 791432"/>
                <a:gd name="connsiteX280" fmla="*/ 51245 w 910018"/>
                <a:gd name="connsiteY280" fmla="*/ 292417 h 791432"/>
                <a:gd name="connsiteX281" fmla="*/ 48292 w 910018"/>
                <a:gd name="connsiteY281" fmla="*/ 294418 h 791432"/>
                <a:gd name="connsiteX282" fmla="*/ 53912 w 910018"/>
                <a:gd name="connsiteY282" fmla="*/ 300133 h 791432"/>
                <a:gd name="connsiteX283" fmla="*/ 49339 w 910018"/>
                <a:gd name="connsiteY283" fmla="*/ 302323 h 791432"/>
                <a:gd name="connsiteX284" fmla="*/ 44577 w 910018"/>
                <a:gd name="connsiteY284" fmla="*/ 302895 h 791432"/>
                <a:gd name="connsiteX285" fmla="*/ 40291 w 910018"/>
                <a:gd name="connsiteY285" fmla="*/ 306705 h 791432"/>
                <a:gd name="connsiteX286" fmla="*/ 41053 w 910018"/>
                <a:gd name="connsiteY286" fmla="*/ 312992 h 791432"/>
                <a:gd name="connsiteX287" fmla="*/ 42672 w 910018"/>
                <a:gd name="connsiteY287" fmla="*/ 312801 h 791432"/>
                <a:gd name="connsiteX288" fmla="*/ 42101 w 910018"/>
                <a:gd name="connsiteY288" fmla="*/ 320897 h 791432"/>
                <a:gd name="connsiteX289" fmla="*/ 39529 w 910018"/>
                <a:gd name="connsiteY289" fmla="*/ 326041 h 791432"/>
                <a:gd name="connsiteX290" fmla="*/ 39338 w 910018"/>
                <a:gd name="connsiteY290" fmla="*/ 324421 h 791432"/>
                <a:gd name="connsiteX291" fmla="*/ 37719 w 910018"/>
                <a:gd name="connsiteY291" fmla="*/ 324612 h 791432"/>
                <a:gd name="connsiteX292" fmla="*/ 37910 w 910018"/>
                <a:gd name="connsiteY292" fmla="*/ 326231 h 791432"/>
                <a:gd name="connsiteX293" fmla="*/ 36004 w 910018"/>
                <a:gd name="connsiteY293" fmla="*/ 323278 h 791432"/>
                <a:gd name="connsiteX294" fmla="*/ 32576 w 910018"/>
                <a:gd name="connsiteY294" fmla="*/ 322135 h 791432"/>
                <a:gd name="connsiteX295" fmla="*/ 30671 w 910018"/>
                <a:gd name="connsiteY295" fmla="*/ 319183 h 791432"/>
                <a:gd name="connsiteX296" fmla="*/ 27242 w 910018"/>
                <a:gd name="connsiteY296" fmla="*/ 317944 h 791432"/>
                <a:gd name="connsiteX297" fmla="*/ 23336 w 910018"/>
                <a:gd name="connsiteY297" fmla="*/ 324898 h 791432"/>
                <a:gd name="connsiteX298" fmla="*/ 23527 w 910018"/>
                <a:gd name="connsiteY298" fmla="*/ 326422 h 791432"/>
                <a:gd name="connsiteX299" fmla="*/ 21622 w 910018"/>
                <a:gd name="connsiteY299" fmla="*/ 336328 h 791432"/>
                <a:gd name="connsiteX300" fmla="*/ 17050 w 910018"/>
                <a:gd name="connsiteY300" fmla="*/ 338518 h 791432"/>
                <a:gd name="connsiteX301" fmla="*/ 14478 w 910018"/>
                <a:gd name="connsiteY301" fmla="*/ 343662 h 791432"/>
                <a:gd name="connsiteX302" fmla="*/ 8572 w 910018"/>
                <a:gd name="connsiteY302" fmla="*/ 347567 h 791432"/>
                <a:gd name="connsiteX303" fmla="*/ 7811 w 910018"/>
                <a:gd name="connsiteY303" fmla="*/ 354139 h 791432"/>
                <a:gd name="connsiteX304" fmla="*/ 12954 w 910018"/>
                <a:gd name="connsiteY304" fmla="*/ 356711 h 791432"/>
                <a:gd name="connsiteX305" fmla="*/ 15145 w 910018"/>
                <a:gd name="connsiteY305" fmla="*/ 361188 h 791432"/>
                <a:gd name="connsiteX306" fmla="*/ 18860 w 910018"/>
                <a:gd name="connsiteY306" fmla="*/ 365569 h 791432"/>
                <a:gd name="connsiteX307" fmla="*/ 19907 w 910018"/>
                <a:gd name="connsiteY307" fmla="*/ 373475 h 791432"/>
                <a:gd name="connsiteX308" fmla="*/ 13621 w 910018"/>
                <a:gd name="connsiteY308" fmla="*/ 387096 h 791432"/>
                <a:gd name="connsiteX309" fmla="*/ 18955 w 910018"/>
                <a:gd name="connsiteY309" fmla="*/ 391192 h 791432"/>
                <a:gd name="connsiteX310" fmla="*/ 23146 w 910018"/>
                <a:gd name="connsiteY310" fmla="*/ 398717 h 791432"/>
                <a:gd name="connsiteX311" fmla="*/ 26099 w 910018"/>
                <a:gd name="connsiteY311" fmla="*/ 409575 h 791432"/>
                <a:gd name="connsiteX312" fmla="*/ 29432 w 910018"/>
                <a:gd name="connsiteY312" fmla="*/ 410718 h 791432"/>
                <a:gd name="connsiteX313" fmla="*/ 31242 w 910018"/>
                <a:gd name="connsiteY313" fmla="*/ 412051 h 791432"/>
                <a:gd name="connsiteX314" fmla="*/ 32861 w 910018"/>
                <a:gd name="connsiteY314" fmla="*/ 411861 h 791432"/>
                <a:gd name="connsiteX315" fmla="*/ 35052 w 910018"/>
                <a:gd name="connsiteY315" fmla="*/ 416433 h 791432"/>
                <a:gd name="connsiteX316" fmla="*/ 29337 w 910018"/>
                <a:gd name="connsiteY316" fmla="*/ 421957 h 791432"/>
                <a:gd name="connsiteX317" fmla="*/ 27527 w 910018"/>
                <a:gd name="connsiteY317" fmla="*/ 420529 h 791432"/>
                <a:gd name="connsiteX318" fmla="*/ 26765 w 910018"/>
                <a:gd name="connsiteY318" fmla="*/ 427101 h 791432"/>
                <a:gd name="connsiteX319" fmla="*/ 22574 w 910018"/>
                <a:gd name="connsiteY319" fmla="*/ 432435 h 791432"/>
                <a:gd name="connsiteX320" fmla="*/ 27908 w 910018"/>
                <a:gd name="connsiteY320" fmla="*/ 436531 h 791432"/>
                <a:gd name="connsiteX321" fmla="*/ 27337 w 910018"/>
                <a:gd name="connsiteY321" fmla="*/ 431863 h 791432"/>
                <a:gd name="connsiteX322" fmla="*/ 38386 w 910018"/>
                <a:gd name="connsiteY322" fmla="*/ 430435 h 791432"/>
                <a:gd name="connsiteX323" fmla="*/ 40196 w 910018"/>
                <a:gd name="connsiteY323" fmla="*/ 431768 h 791432"/>
                <a:gd name="connsiteX324" fmla="*/ 43339 w 910018"/>
                <a:gd name="connsiteY324" fmla="*/ 431387 h 791432"/>
                <a:gd name="connsiteX325" fmla="*/ 46863 w 910018"/>
                <a:gd name="connsiteY325" fmla="*/ 434150 h 791432"/>
                <a:gd name="connsiteX326" fmla="*/ 51435 w 910018"/>
                <a:gd name="connsiteY326" fmla="*/ 431959 h 791432"/>
                <a:gd name="connsiteX327" fmla="*/ 56579 w 910018"/>
                <a:gd name="connsiteY327" fmla="*/ 421672 h 791432"/>
                <a:gd name="connsiteX328" fmla="*/ 58103 w 910018"/>
                <a:gd name="connsiteY328" fmla="*/ 421481 h 791432"/>
                <a:gd name="connsiteX329" fmla="*/ 62103 w 910018"/>
                <a:gd name="connsiteY329" fmla="*/ 427387 h 791432"/>
                <a:gd name="connsiteX330" fmla="*/ 58769 w 910018"/>
                <a:gd name="connsiteY330" fmla="*/ 439007 h 791432"/>
                <a:gd name="connsiteX331" fmla="*/ 57531 w 910018"/>
                <a:gd name="connsiteY331" fmla="*/ 442436 h 791432"/>
                <a:gd name="connsiteX332" fmla="*/ 59531 w 910018"/>
                <a:gd name="connsiteY332" fmla="*/ 445389 h 791432"/>
                <a:gd name="connsiteX333" fmla="*/ 58007 w 910018"/>
                <a:gd name="connsiteY333" fmla="*/ 445580 h 791432"/>
                <a:gd name="connsiteX334" fmla="*/ 59912 w 910018"/>
                <a:gd name="connsiteY334" fmla="*/ 448532 h 791432"/>
                <a:gd name="connsiteX335" fmla="*/ 55436 w 910018"/>
                <a:gd name="connsiteY335" fmla="*/ 450723 h 791432"/>
                <a:gd name="connsiteX336" fmla="*/ 51911 w 910018"/>
                <a:gd name="connsiteY336" fmla="*/ 473583 h 791432"/>
                <a:gd name="connsiteX337" fmla="*/ 46958 w 910018"/>
                <a:gd name="connsiteY337" fmla="*/ 472630 h 791432"/>
                <a:gd name="connsiteX338" fmla="*/ 45625 w 910018"/>
                <a:gd name="connsiteY338" fmla="*/ 474440 h 791432"/>
                <a:gd name="connsiteX339" fmla="*/ 42291 w 910018"/>
                <a:gd name="connsiteY339" fmla="*/ 473202 h 791432"/>
                <a:gd name="connsiteX340" fmla="*/ 41053 w 910018"/>
                <a:gd name="connsiteY340" fmla="*/ 476536 h 791432"/>
                <a:gd name="connsiteX341" fmla="*/ 39910 w 910018"/>
                <a:gd name="connsiteY341" fmla="*/ 479965 h 791432"/>
                <a:gd name="connsiteX342" fmla="*/ 36767 w 910018"/>
                <a:gd name="connsiteY342" fmla="*/ 480346 h 791432"/>
                <a:gd name="connsiteX343" fmla="*/ 34957 w 910018"/>
                <a:gd name="connsiteY343" fmla="*/ 478917 h 791432"/>
                <a:gd name="connsiteX344" fmla="*/ 28480 w 910018"/>
                <a:gd name="connsiteY344" fmla="*/ 478155 h 791432"/>
                <a:gd name="connsiteX345" fmla="*/ 23908 w 910018"/>
                <a:gd name="connsiteY345" fmla="*/ 480346 h 791432"/>
                <a:gd name="connsiteX346" fmla="*/ 23527 w 910018"/>
                <a:gd name="connsiteY346" fmla="*/ 490061 h 791432"/>
                <a:gd name="connsiteX347" fmla="*/ 20574 w 910018"/>
                <a:gd name="connsiteY347" fmla="*/ 504825 h 791432"/>
                <a:gd name="connsiteX348" fmla="*/ 19050 w 910018"/>
                <a:gd name="connsiteY348" fmla="*/ 505015 h 791432"/>
                <a:gd name="connsiteX349" fmla="*/ 20003 w 910018"/>
                <a:gd name="connsiteY349" fmla="*/ 512921 h 791432"/>
                <a:gd name="connsiteX350" fmla="*/ 15716 w 910018"/>
                <a:gd name="connsiteY350" fmla="*/ 516731 h 791432"/>
                <a:gd name="connsiteX351" fmla="*/ 12383 w 910018"/>
                <a:gd name="connsiteY351" fmla="*/ 515493 h 791432"/>
                <a:gd name="connsiteX352" fmla="*/ 857 w 910018"/>
                <a:gd name="connsiteY352" fmla="*/ 513778 h 791432"/>
                <a:gd name="connsiteX353" fmla="*/ 3143 w 910018"/>
                <a:gd name="connsiteY353" fmla="*/ 531114 h 791432"/>
                <a:gd name="connsiteX354" fmla="*/ 4477 w 910018"/>
                <a:gd name="connsiteY354" fmla="*/ 529400 h 791432"/>
                <a:gd name="connsiteX355" fmla="*/ 6668 w 910018"/>
                <a:gd name="connsiteY355" fmla="*/ 533876 h 791432"/>
                <a:gd name="connsiteX356" fmla="*/ 5905 w 910018"/>
                <a:gd name="connsiteY356" fmla="*/ 540353 h 791432"/>
                <a:gd name="connsiteX357" fmla="*/ 0 w 910018"/>
                <a:gd name="connsiteY357" fmla="*/ 544354 h 791432"/>
                <a:gd name="connsiteX358" fmla="*/ 16383 w 910018"/>
                <a:gd name="connsiteY358" fmla="*/ 547116 h 791432"/>
                <a:gd name="connsiteX359" fmla="*/ 20860 w 910018"/>
                <a:gd name="connsiteY359" fmla="*/ 544925 h 791432"/>
                <a:gd name="connsiteX360" fmla="*/ 24479 w 910018"/>
                <a:gd name="connsiteY360" fmla="*/ 547688 h 791432"/>
                <a:gd name="connsiteX361" fmla="*/ 28385 w 910018"/>
                <a:gd name="connsiteY361" fmla="*/ 540734 h 791432"/>
                <a:gd name="connsiteX362" fmla="*/ 31528 w 910018"/>
                <a:gd name="connsiteY362" fmla="*/ 540353 h 791432"/>
                <a:gd name="connsiteX363" fmla="*/ 34480 w 910018"/>
                <a:gd name="connsiteY363" fmla="*/ 538353 h 791432"/>
                <a:gd name="connsiteX364" fmla="*/ 37910 w 910018"/>
                <a:gd name="connsiteY364" fmla="*/ 539496 h 791432"/>
                <a:gd name="connsiteX365" fmla="*/ 42386 w 910018"/>
                <a:gd name="connsiteY365" fmla="*/ 537401 h 791432"/>
                <a:gd name="connsiteX366" fmla="*/ 53245 w 910018"/>
                <a:gd name="connsiteY366" fmla="*/ 534352 h 791432"/>
                <a:gd name="connsiteX367" fmla="*/ 63532 w 910018"/>
                <a:gd name="connsiteY367" fmla="*/ 526637 h 791432"/>
                <a:gd name="connsiteX368" fmla="*/ 71533 w 910018"/>
                <a:gd name="connsiteY368" fmla="*/ 527209 h 791432"/>
                <a:gd name="connsiteX369" fmla="*/ 73343 w 910018"/>
                <a:gd name="connsiteY369" fmla="*/ 528638 h 791432"/>
                <a:gd name="connsiteX370" fmla="*/ 76962 w 910018"/>
                <a:gd name="connsiteY370" fmla="*/ 544163 h 791432"/>
                <a:gd name="connsiteX371" fmla="*/ 81915 w 910018"/>
                <a:gd name="connsiteY371" fmla="*/ 545116 h 791432"/>
                <a:gd name="connsiteX372" fmla="*/ 83820 w 910018"/>
                <a:gd name="connsiteY372" fmla="*/ 548068 h 791432"/>
                <a:gd name="connsiteX373" fmla="*/ 84487 w 910018"/>
                <a:gd name="connsiteY373" fmla="*/ 552831 h 791432"/>
                <a:gd name="connsiteX374" fmla="*/ 86678 w 910018"/>
                <a:gd name="connsiteY374" fmla="*/ 557403 h 791432"/>
                <a:gd name="connsiteX375" fmla="*/ 86296 w 910018"/>
                <a:gd name="connsiteY375" fmla="*/ 567023 h 791432"/>
                <a:gd name="connsiteX376" fmla="*/ 85344 w 910018"/>
                <a:gd name="connsiteY376" fmla="*/ 571976 h 791432"/>
                <a:gd name="connsiteX377" fmla="*/ 81153 w 910018"/>
                <a:gd name="connsiteY377" fmla="*/ 577310 h 791432"/>
                <a:gd name="connsiteX378" fmla="*/ 81534 w 910018"/>
                <a:gd name="connsiteY378" fmla="*/ 580453 h 791432"/>
                <a:gd name="connsiteX379" fmla="*/ 79248 w 910018"/>
                <a:gd name="connsiteY379" fmla="*/ 587216 h 791432"/>
                <a:gd name="connsiteX380" fmla="*/ 78010 w 910018"/>
                <a:gd name="connsiteY380" fmla="*/ 590550 h 791432"/>
                <a:gd name="connsiteX381" fmla="*/ 80010 w 910018"/>
                <a:gd name="connsiteY381" fmla="*/ 593503 h 791432"/>
                <a:gd name="connsiteX382" fmla="*/ 82963 w 910018"/>
                <a:gd name="connsiteY382" fmla="*/ 591502 h 791432"/>
                <a:gd name="connsiteX383" fmla="*/ 85344 w 910018"/>
                <a:gd name="connsiteY383" fmla="*/ 584835 h 791432"/>
                <a:gd name="connsiteX384" fmla="*/ 101537 w 910018"/>
                <a:gd name="connsiteY384" fmla="*/ 585978 h 791432"/>
                <a:gd name="connsiteX385" fmla="*/ 102679 w 910018"/>
                <a:gd name="connsiteY385" fmla="*/ 595408 h 791432"/>
                <a:gd name="connsiteX386" fmla="*/ 104299 w 910018"/>
                <a:gd name="connsiteY386" fmla="*/ 595217 h 791432"/>
                <a:gd name="connsiteX387" fmla="*/ 108585 w 910018"/>
                <a:gd name="connsiteY387" fmla="*/ 591502 h 791432"/>
                <a:gd name="connsiteX388" fmla="*/ 113538 w 910018"/>
                <a:gd name="connsiteY388" fmla="*/ 592455 h 791432"/>
                <a:gd name="connsiteX389" fmla="*/ 115919 w 910018"/>
                <a:gd name="connsiteY389" fmla="*/ 598551 h 791432"/>
                <a:gd name="connsiteX390" fmla="*/ 119539 w 910018"/>
                <a:gd name="connsiteY390" fmla="*/ 601313 h 791432"/>
                <a:gd name="connsiteX391" fmla="*/ 119539 w 910018"/>
                <a:gd name="connsiteY391" fmla="*/ 614172 h 791432"/>
                <a:gd name="connsiteX392" fmla="*/ 124301 w 910018"/>
                <a:gd name="connsiteY392" fmla="*/ 613505 h 791432"/>
                <a:gd name="connsiteX393" fmla="*/ 127063 w 910018"/>
                <a:gd name="connsiteY393" fmla="*/ 609981 h 791432"/>
                <a:gd name="connsiteX394" fmla="*/ 130588 w 910018"/>
                <a:gd name="connsiteY394" fmla="*/ 612743 h 791432"/>
                <a:gd name="connsiteX395" fmla="*/ 130397 w 910018"/>
                <a:gd name="connsiteY395" fmla="*/ 611124 h 791432"/>
                <a:gd name="connsiteX396" fmla="*/ 136874 w 910018"/>
                <a:gd name="connsiteY396" fmla="*/ 611886 h 791432"/>
                <a:gd name="connsiteX397" fmla="*/ 138303 w 910018"/>
                <a:gd name="connsiteY397" fmla="*/ 610172 h 791432"/>
                <a:gd name="connsiteX398" fmla="*/ 139827 w 910018"/>
                <a:gd name="connsiteY398" fmla="*/ 609981 h 791432"/>
                <a:gd name="connsiteX399" fmla="*/ 143256 w 910018"/>
                <a:gd name="connsiteY399" fmla="*/ 611124 h 791432"/>
                <a:gd name="connsiteX400" fmla="*/ 145352 w 910018"/>
                <a:gd name="connsiteY400" fmla="*/ 615601 h 791432"/>
                <a:gd name="connsiteX401" fmla="*/ 151733 w 910018"/>
                <a:gd name="connsiteY401" fmla="*/ 614839 h 791432"/>
                <a:gd name="connsiteX402" fmla="*/ 155067 w 910018"/>
                <a:gd name="connsiteY402" fmla="*/ 615982 h 791432"/>
                <a:gd name="connsiteX403" fmla="*/ 162592 w 910018"/>
                <a:gd name="connsiteY403" fmla="*/ 611886 h 791432"/>
                <a:gd name="connsiteX404" fmla="*/ 167926 w 910018"/>
                <a:gd name="connsiteY404" fmla="*/ 615982 h 791432"/>
                <a:gd name="connsiteX405" fmla="*/ 166688 w 910018"/>
                <a:gd name="connsiteY405" fmla="*/ 619315 h 791432"/>
                <a:gd name="connsiteX406" fmla="*/ 173641 w 910018"/>
                <a:gd name="connsiteY406" fmla="*/ 623316 h 791432"/>
                <a:gd name="connsiteX407" fmla="*/ 174784 w 910018"/>
                <a:gd name="connsiteY407" fmla="*/ 619887 h 791432"/>
                <a:gd name="connsiteX408" fmla="*/ 180118 w 910018"/>
                <a:gd name="connsiteY408" fmla="*/ 624078 h 791432"/>
                <a:gd name="connsiteX409" fmla="*/ 178022 w 910018"/>
                <a:gd name="connsiteY409" fmla="*/ 632365 h 791432"/>
                <a:gd name="connsiteX410" fmla="*/ 179927 w 910018"/>
                <a:gd name="connsiteY410" fmla="*/ 635318 h 791432"/>
                <a:gd name="connsiteX411" fmla="*/ 178784 w 910018"/>
                <a:gd name="connsiteY411" fmla="*/ 638651 h 791432"/>
                <a:gd name="connsiteX412" fmla="*/ 179165 w 910018"/>
                <a:gd name="connsiteY412" fmla="*/ 641794 h 791432"/>
                <a:gd name="connsiteX413" fmla="*/ 175070 w 910018"/>
                <a:gd name="connsiteY413" fmla="*/ 647128 h 791432"/>
                <a:gd name="connsiteX414" fmla="*/ 176879 w 910018"/>
                <a:gd name="connsiteY414" fmla="*/ 648557 h 791432"/>
                <a:gd name="connsiteX415" fmla="*/ 175641 w 910018"/>
                <a:gd name="connsiteY415" fmla="*/ 651891 h 791432"/>
                <a:gd name="connsiteX416" fmla="*/ 175832 w 910018"/>
                <a:gd name="connsiteY416" fmla="*/ 653415 h 791432"/>
                <a:gd name="connsiteX417" fmla="*/ 177641 w 910018"/>
                <a:gd name="connsiteY417" fmla="*/ 654844 h 791432"/>
                <a:gd name="connsiteX418" fmla="*/ 184404 w 910018"/>
                <a:gd name="connsiteY418" fmla="*/ 657225 h 791432"/>
                <a:gd name="connsiteX419" fmla="*/ 185738 w 910018"/>
                <a:gd name="connsiteY419" fmla="*/ 655415 h 791432"/>
                <a:gd name="connsiteX420" fmla="*/ 189071 w 910018"/>
                <a:gd name="connsiteY420" fmla="*/ 656558 h 791432"/>
                <a:gd name="connsiteX421" fmla="*/ 190500 w 910018"/>
                <a:gd name="connsiteY421" fmla="*/ 654844 h 791432"/>
                <a:gd name="connsiteX422" fmla="*/ 192691 w 910018"/>
                <a:gd name="connsiteY422" fmla="*/ 659321 h 791432"/>
                <a:gd name="connsiteX423" fmla="*/ 194977 w 910018"/>
                <a:gd name="connsiteY423" fmla="*/ 652653 h 791432"/>
                <a:gd name="connsiteX424" fmla="*/ 205835 w 910018"/>
                <a:gd name="connsiteY424" fmla="*/ 649605 h 791432"/>
                <a:gd name="connsiteX425" fmla="*/ 207264 w 910018"/>
                <a:gd name="connsiteY425" fmla="*/ 660654 h 791432"/>
                <a:gd name="connsiteX426" fmla="*/ 214217 w 910018"/>
                <a:gd name="connsiteY426" fmla="*/ 664655 h 791432"/>
                <a:gd name="connsiteX427" fmla="*/ 223457 w 910018"/>
                <a:gd name="connsiteY427" fmla="*/ 674656 h 791432"/>
                <a:gd name="connsiteX428" fmla="*/ 225076 w 910018"/>
                <a:gd name="connsiteY428" fmla="*/ 674465 h 791432"/>
                <a:gd name="connsiteX429" fmla="*/ 234125 w 910018"/>
                <a:gd name="connsiteY429" fmla="*/ 682943 h 791432"/>
                <a:gd name="connsiteX430" fmla="*/ 245936 w 910018"/>
                <a:gd name="connsiteY430" fmla="*/ 675037 h 791432"/>
                <a:gd name="connsiteX431" fmla="*/ 247745 w 910018"/>
                <a:gd name="connsiteY431" fmla="*/ 676370 h 791432"/>
                <a:gd name="connsiteX432" fmla="*/ 250508 w 910018"/>
                <a:gd name="connsiteY432" fmla="*/ 672846 h 791432"/>
                <a:gd name="connsiteX433" fmla="*/ 252317 w 910018"/>
                <a:gd name="connsiteY433" fmla="*/ 674180 h 791432"/>
                <a:gd name="connsiteX434" fmla="*/ 258223 w 910018"/>
                <a:gd name="connsiteY434" fmla="*/ 670274 h 791432"/>
                <a:gd name="connsiteX435" fmla="*/ 258413 w 910018"/>
                <a:gd name="connsiteY435" fmla="*/ 671798 h 791432"/>
                <a:gd name="connsiteX436" fmla="*/ 261366 w 910018"/>
                <a:gd name="connsiteY436" fmla="*/ 669798 h 791432"/>
                <a:gd name="connsiteX437" fmla="*/ 267081 w 910018"/>
                <a:gd name="connsiteY437" fmla="*/ 677132 h 791432"/>
                <a:gd name="connsiteX438" fmla="*/ 280892 w 910018"/>
                <a:gd name="connsiteY438" fmla="*/ 672179 h 791432"/>
                <a:gd name="connsiteX439" fmla="*/ 279845 w 910018"/>
                <a:gd name="connsiteY439" fmla="*/ 664273 h 791432"/>
                <a:gd name="connsiteX440" fmla="*/ 286417 w 910018"/>
                <a:gd name="connsiteY440" fmla="*/ 677894 h 791432"/>
                <a:gd name="connsiteX441" fmla="*/ 288417 w 910018"/>
                <a:gd name="connsiteY441" fmla="*/ 680847 h 791432"/>
                <a:gd name="connsiteX442" fmla="*/ 297275 w 910018"/>
                <a:gd name="connsiteY442" fmla="*/ 674846 h 791432"/>
                <a:gd name="connsiteX443" fmla="*/ 311277 w 910018"/>
                <a:gd name="connsiteY443" fmla="*/ 684276 h 791432"/>
                <a:gd name="connsiteX444" fmla="*/ 320040 w 910018"/>
                <a:gd name="connsiteY444" fmla="*/ 689610 h 791432"/>
                <a:gd name="connsiteX445" fmla="*/ 317278 w 910018"/>
                <a:gd name="connsiteY445" fmla="*/ 693134 h 791432"/>
                <a:gd name="connsiteX446" fmla="*/ 317849 w 910018"/>
                <a:gd name="connsiteY446" fmla="*/ 697897 h 791432"/>
                <a:gd name="connsiteX447" fmla="*/ 310420 w 910018"/>
                <a:gd name="connsiteY447" fmla="*/ 714947 h 791432"/>
                <a:gd name="connsiteX448" fmla="*/ 319088 w 910018"/>
                <a:gd name="connsiteY448" fmla="*/ 720185 h 791432"/>
                <a:gd name="connsiteX449" fmla="*/ 323183 w 910018"/>
                <a:gd name="connsiteY449" fmla="*/ 714851 h 791432"/>
                <a:gd name="connsiteX450" fmla="*/ 327946 w 910018"/>
                <a:gd name="connsiteY450" fmla="*/ 714280 h 791432"/>
                <a:gd name="connsiteX451" fmla="*/ 344138 w 910018"/>
                <a:gd name="connsiteY451" fmla="*/ 728282 h 791432"/>
                <a:gd name="connsiteX452" fmla="*/ 355378 w 910018"/>
                <a:gd name="connsiteY452" fmla="*/ 728377 h 791432"/>
                <a:gd name="connsiteX453" fmla="*/ 367475 w 910018"/>
                <a:gd name="connsiteY453" fmla="*/ 747712 h 791432"/>
                <a:gd name="connsiteX454" fmla="*/ 373666 w 910018"/>
                <a:gd name="connsiteY454" fmla="*/ 758190 h 791432"/>
                <a:gd name="connsiteX455" fmla="*/ 372428 w 910018"/>
                <a:gd name="connsiteY455" fmla="*/ 761524 h 791432"/>
                <a:gd name="connsiteX456" fmla="*/ 376238 w 910018"/>
                <a:gd name="connsiteY456" fmla="*/ 765810 h 791432"/>
                <a:gd name="connsiteX457" fmla="*/ 383858 w 910018"/>
                <a:gd name="connsiteY457" fmla="*/ 763238 h 791432"/>
                <a:gd name="connsiteX458" fmla="*/ 381191 w 910018"/>
                <a:gd name="connsiteY458" fmla="*/ 766858 h 791432"/>
                <a:gd name="connsiteX459" fmla="*/ 382905 w 910018"/>
                <a:gd name="connsiteY459" fmla="*/ 768191 h 791432"/>
                <a:gd name="connsiteX460" fmla="*/ 381381 w 910018"/>
                <a:gd name="connsiteY460" fmla="*/ 768382 h 791432"/>
                <a:gd name="connsiteX461" fmla="*/ 381953 w 910018"/>
                <a:gd name="connsiteY461" fmla="*/ 773144 h 791432"/>
                <a:gd name="connsiteX462" fmla="*/ 389096 w 910018"/>
                <a:gd name="connsiteY462" fmla="*/ 791432 h 791432"/>
                <a:gd name="connsiteX463" fmla="*/ 396812 w 910018"/>
                <a:gd name="connsiteY463" fmla="*/ 788860 h 791432"/>
                <a:gd name="connsiteX464" fmla="*/ 403479 w 910018"/>
                <a:gd name="connsiteY464" fmla="*/ 791242 h 791432"/>
                <a:gd name="connsiteX465" fmla="*/ 409385 w 910018"/>
                <a:gd name="connsiteY465" fmla="*/ 787241 h 791432"/>
                <a:gd name="connsiteX466" fmla="*/ 412623 w 910018"/>
                <a:gd name="connsiteY466" fmla="*/ 786860 h 791432"/>
                <a:gd name="connsiteX467" fmla="*/ 416719 w 910018"/>
                <a:gd name="connsiteY467" fmla="*/ 781526 h 791432"/>
                <a:gd name="connsiteX468" fmla="*/ 419862 w 910018"/>
                <a:gd name="connsiteY468" fmla="*/ 781145 h 791432"/>
                <a:gd name="connsiteX469" fmla="*/ 431292 w 910018"/>
                <a:gd name="connsiteY469" fmla="*/ 782860 h 791432"/>
                <a:gd name="connsiteX470" fmla="*/ 438436 w 910018"/>
                <a:gd name="connsiteY470" fmla="*/ 775526 h 791432"/>
                <a:gd name="connsiteX471" fmla="*/ 440531 w 910018"/>
                <a:gd name="connsiteY471" fmla="*/ 767239 h 791432"/>
                <a:gd name="connsiteX472" fmla="*/ 450818 w 910018"/>
                <a:gd name="connsiteY472" fmla="*/ 759524 h 791432"/>
                <a:gd name="connsiteX473" fmla="*/ 454914 w 910018"/>
                <a:gd name="connsiteY473" fmla="*/ 754190 h 791432"/>
                <a:gd name="connsiteX474" fmla="*/ 456057 w 910018"/>
                <a:gd name="connsiteY474" fmla="*/ 750856 h 791432"/>
                <a:gd name="connsiteX475" fmla="*/ 460438 w 910018"/>
                <a:gd name="connsiteY475" fmla="*/ 747141 h 791432"/>
                <a:gd name="connsiteX476" fmla="*/ 460058 w 910018"/>
                <a:gd name="connsiteY476" fmla="*/ 743902 h 791432"/>
                <a:gd name="connsiteX477" fmla="*/ 465106 w 910018"/>
                <a:gd name="connsiteY477" fmla="*/ 733711 h 791432"/>
                <a:gd name="connsiteX478" fmla="*/ 476345 w 910018"/>
                <a:gd name="connsiteY478" fmla="*/ 721043 h 791432"/>
                <a:gd name="connsiteX479" fmla="*/ 479488 w 910018"/>
                <a:gd name="connsiteY479" fmla="*/ 720566 h 791432"/>
                <a:gd name="connsiteX480" fmla="*/ 484061 w 910018"/>
                <a:gd name="connsiteY480" fmla="*/ 718471 h 791432"/>
                <a:gd name="connsiteX481" fmla="*/ 482632 w 910018"/>
                <a:gd name="connsiteY481" fmla="*/ 707422 h 791432"/>
                <a:gd name="connsiteX482" fmla="*/ 504920 w 910018"/>
                <a:gd name="connsiteY482" fmla="*/ 706184 h 791432"/>
                <a:gd name="connsiteX483" fmla="*/ 508063 w 910018"/>
                <a:gd name="connsiteY483" fmla="*/ 705707 h 791432"/>
                <a:gd name="connsiteX484" fmla="*/ 509492 w 910018"/>
                <a:gd name="connsiteY484" fmla="*/ 703993 h 791432"/>
                <a:gd name="connsiteX485" fmla="*/ 523875 w 910018"/>
                <a:gd name="connsiteY485" fmla="*/ 703707 h 791432"/>
                <a:gd name="connsiteX486" fmla="*/ 533305 w 910018"/>
                <a:gd name="connsiteY486" fmla="*/ 702564 h 791432"/>
                <a:gd name="connsiteX487" fmla="*/ 545211 w 910018"/>
                <a:gd name="connsiteY487" fmla="*/ 707422 h 791432"/>
                <a:gd name="connsiteX488" fmla="*/ 557403 w 910018"/>
                <a:gd name="connsiteY488" fmla="*/ 702659 h 791432"/>
                <a:gd name="connsiteX489" fmla="*/ 557594 w 910018"/>
                <a:gd name="connsiteY489" fmla="*/ 691420 h 791432"/>
                <a:gd name="connsiteX490" fmla="*/ 563499 w 910018"/>
                <a:gd name="connsiteY490" fmla="*/ 674656 h 791432"/>
                <a:gd name="connsiteX491" fmla="*/ 565595 w 910018"/>
                <a:gd name="connsiteY491" fmla="*/ 666369 h 791432"/>
                <a:gd name="connsiteX492" fmla="*/ 566833 w 910018"/>
                <a:gd name="connsiteY492" fmla="*/ 662940 h 791432"/>
                <a:gd name="connsiteX493" fmla="*/ 563975 w 910018"/>
                <a:gd name="connsiteY493" fmla="*/ 653701 h 791432"/>
                <a:gd name="connsiteX494" fmla="*/ 564737 w 910018"/>
                <a:gd name="connsiteY494" fmla="*/ 647224 h 791432"/>
                <a:gd name="connsiteX495" fmla="*/ 568262 w 910018"/>
                <a:gd name="connsiteY495" fmla="*/ 637127 h 791432"/>
                <a:gd name="connsiteX496" fmla="*/ 572262 w 910018"/>
                <a:gd name="connsiteY496" fmla="*/ 630174 h 791432"/>
                <a:gd name="connsiteX497" fmla="*/ 574167 w 910018"/>
                <a:gd name="connsiteY497" fmla="*/ 620363 h 791432"/>
                <a:gd name="connsiteX498" fmla="*/ 571405 w 910018"/>
                <a:gd name="connsiteY498" fmla="*/ 611029 h 791432"/>
                <a:gd name="connsiteX499" fmla="*/ 572357 w 910018"/>
                <a:gd name="connsiteY499" fmla="*/ 606171 h 791432"/>
                <a:gd name="connsiteX500" fmla="*/ 576739 w 910018"/>
                <a:gd name="connsiteY500" fmla="*/ 602361 h 791432"/>
                <a:gd name="connsiteX501" fmla="*/ 579215 w 910018"/>
                <a:gd name="connsiteY501" fmla="*/ 597218 h 791432"/>
                <a:gd name="connsiteX502" fmla="*/ 585121 w 910018"/>
                <a:gd name="connsiteY502" fmla="*/ 593312 h 791432"/>
                <a:gd name="connsiteX503" fmla="*/ 596170 w 910018"/>
                <a:gd name="connsiteY503" fmla="*/ 591884 h 791432"/>
                <a:gd name="connsiteX504" fmla="*/ 599122 w 910018"/>
                <a:gd name="connsiteY504" fmla="*/ 589883 h 791432"/>
                <a:gd name="connsiteX505" fmla="*/ 615601 w 910018"/>
                <a:gd name="connsiteY505" fmla="*/ 592646 h 791432"/>
                <a:gd name="connsiteX506" fmla="*/ 619887 w 910018"/>
                <a:gd name="connsiteY506" fmla="*/ 588835 h 791432"/>
                <a:gd name="connsiteX507" fmla="*/ 622649 w 910018"/>
                <a:gd name="connsiteY507" fmla="*/ 585311 h 791432"/>
                <a:gd name="connsiteX508" fmla="*/ 628936 w 910018"/>
                <a:gd name="connsiteY508" fmla="*/ 584454 h 791432"/>
                <a:gd name="connsiteX509" fmla="*/ 637889 w 910018"/>
                <a:gd name="connsiteY509" fmla="*/ 591407 h 791432"/>
                <a:gd name="connsiteX510" fmla="*/ 649129 w 910018"/>
                <a:gd name="connsiteY510" fmla="*/ 591598 h 791432"/>
                <a:gd name="connsiteX511" fmla="*/ 652272 w 910018"/>
                <a:gd name="connsiteY511" fmla="*/ 591122 h 791432"/>
                <a:gd name="connsiteX512" fmla="*/ 654558 w 910018"/>
                <a:gd name="connsiteY512" fmla="*/ 584454 h 791432"/>
                <a:gd name="connsiteX513" fmla="*/ 662464 w 910018"/>
                <a:gd name="connsiteY513" fmla="*/ 583406 h 791432"/>
                <a:gd name="connsiteX514" fmla="*/ 680466 w 910018"/>
                <a:gd name="connsiteY514" fmla="*/ 573119 h 791432"/>
                <a:gd name="connsiteX515" fmla="*/ 684562 w 910018"/>
                <a:gd name="connsiteY515" fmla="*/ 567785 h 791432"/>
                <a:gd name="connsiteX516" fmla="*/ 690086 w 910018"/>
                <a:gd name="connsiteY516" fmla="*/ 560642 h 791432"/>
                <a:gd name="connsiteX517" fmla="*/ 690848 w 910018"/>
                <a:gd name="connsiteY517" fmla="*/ 554164 h 791432"/>
                <a:gd name="connsiteX518" fmla="*/ 699516 w 910018"/>
                <a:gd name="connsiteY518" fmla="*/ 546640 h 791432"/>
                <a:gd name="connsiteX519" fmla="*/ 697516 w 910018"/>
                <a:gd name="connsiteY519" fmla="*/ 543687 h 791432"/>
                <a:gd name="connsiteX520" fmla="*/ 698468 w 910018"/>
                <a:gd name="connsiteY520" fmla="*/ 538734 h 791432"/>
                <a:gd name="connsiteX521" fmla="*/ 705707 w 910018"/>
                <a:gd name="connsiteY521" fmla="*/ 520160 h 791432"/>
                <a:gd name="connsiteX522" fmla="*/ 712470 w 910018"/>
                <a:gd name="connsiteY522" fmla="*/ 509683 h 791432"/>
                <a:gd name="connsiteX523" fmla="*/ 707612 w 910018"/>
                <a:gd name="connsiteY523" fmla="*/ 484632 h 791432"/>
                <a:gd name="connsiteX524" fmla="*/ 709994 w 910018"/>
                <a:gd name="connsiteY524" fmla="*/ 477964 h 791432"/>
                <a:gd name="connsiteX525" fmla="*/ 711613 w 910018"/>
                <a:gd name="connsiteY525" fmla="*/ 477774 h 791432"/>
                <a:gd name="connsiteX526" fmla="*/ 713327 w 910018"/>
                <a:gd name="connsiteY526" fmla="*/ 479107 h 791432"/>
                <a:gd name="connsiteX527" fmla="*/ 714947 w 910018"/>
                <a:gd name="connsiteY527" fmla="*/ 478917 h 791432"/>
                <a:gd name="connsiteX528" fmla="*/ 712375 w 910018"/>
                <a:gd name="connsiteY528" fmla="*/ 471202 h 791432"/>
                <a:gd name="connsiteX529" fmla="*/ 705231 w 910018"/>
                <a:gd name="connsiteY529" fmla="*/ 465772 h 791432"/>
                <a:gd name="connsiteX530" fmla="*/ 704469 w 910018"/>
                <a:gd name="connsiteY530" fmla="*/ 459391 h 791432"/>
                <a:gd name="connsiteX531" fmla="*/ 706755 w 910018"/>
                <a:gd name="connsiteY531" fmla="*/ 452723 h 791432"/>
                <a:gd name="connsiteX532" fmla="*/ 711137 w 910018"/>
                <a:gd name="connsiteY532" fmla="*/ 448913 h 791432"/>
                <a:gd name="connsiteX533" fmla="*/ 710089 w 910018"/>
                <a:gd name="connsiteY533" fmla="*/ 441007 h 791432"/>
                <a:gd name="connsiteX534" fmla="*/ 711518 w 910018"/>
                <a:gd name="connsiteY534" fmla="*/ 439293 h 791432"/>
                <a:gd name="connsiteX535" fmla="*/ 724662 w 910018"/>
                <a:gd name="connsiteY535" fmla="*/ 429577 h 791432"/>
                <a:gd name="connsiteX536" fmla="*/ 718757 w 910018"/>
                <a:gd name="connsiteY536" fmla="*/ 420719 h 791432"/>
                <a:gd name="connsiteX537" fmla="*/ 718852 w 910018"/>
                <a:gd name="connsiteY537" fmla="*/ 396621 h 791432"/>
                <a:gd name="connsiteX538" fmla="*/ 724567 w 910018"/>
                <a:gd name="connsiteY538" fmla="*/ 391096 h 791432"/>
                <a:gd name="connsiteX539" fmla="*/ 727901 w 910018"/>
                <a:gd name="connsiteY539" fmla="*/ 379476 h 791432"/>
                <a:gd name="connsiteX540" fmla="*/ 729520 w 910018"/>
                <a:gd name="connsiteY540" fmla="*/ 379285 h 791432"/>
                <a:gd name="connsiteX541" fmla="*/ 727901 w 910018"/>
                <a:gd name="connsiteY541" fmla="*/ 366617 h 791432"/>
                <a:gd name="connsiteX542" fmla="*/ 732663 w 910018"/>
                <a:gd name="connsiteY542" fmla="*/ 366046 h 791432"/>
                <a:gd name="connsiteX543" fmla="*/ 731996 w 910018"/>
                <a:gd name="connsiteY543" fmla="*/ 361283 h 791432"/>
                <a:gd name="connsiteX544" fmla="*/ 733997 w 910018"/>
                <a:gd name="connsiteY544" fmla="*/ 351377 h 791432"/>
                <a:gd name="connsiteX545" fmla="*/ 726091 w 910018"/>
                <a:gd name="connsiteY545" fmla="*/ 352425 h 791432"/>
                <a:gd name="connsiteX546" fmla="*/ 727805 w 910018"/>
                <a:gd name="connsiteY546" fmla="*/ 340995 h 791432"/>
                <a:gd name="connsiteX547" fmla="*/ 726186 w 910018"/>
                <a:gd name="connsiteY547" fmla="*/ 328327 h 791432"/>
                <a:gd name="connsiteX548" fmla="*/ 736663 w 910018"/>
                <a:gd name="connsiteY548" fmla="*/ 322231 h 791432"/>
                <a:gd name="connsiteX549" fmla="*/ 737235 w 910018"/>
                <a:gd name="connsiteY549" fmla="*/ 314134 h 791432"/>
                <a:gd name="connsiteX550" fmla="*/ 751808 w 910018"/>
                <a:gd name="connsiteY550" fmla="*/ 302609 h 791432"/>
                <a:gd name="connsiteX551" fmla="*/ 751999 w 910018"/>
                <a:gd name="connsiteY551" fmla="*/ 291370 h 791432"/>
                <a:gd name="connsiteX552" fmla="*/ 751142 w 910018"/>
                <a:gd name="connsiteY552" fmla="*/ 285083 h 791432"/>
                <a:gd name="connsiteX553" fmla="*/ 750951 w 910018"/>
                <a:gd name="connsiteY553" fmla="*/ 283464 h 791432"/>
                <a:gd name="connsiteX554" fmla="*/ 755333 w 910018"/>
                <a:gd name="connsiteY554" fmla="*/ 279749 h 791432"/>
                <a:gd name="connsiteX555" fmla="*/ 758666 w 910018"/>
                <a:gd name="connsiteY555" fmla="*/ 280892 h 791432"/>
                <a:gd name="connsiteX556" fmla="*/ 762953 w 910018"/>
                <a:gd name="connsiteY556" fmla="*/ 277177 h 791432"/>
                <a:gd name="connsiteX557" fmla="*/ 767905 w 910018"/>
                <a:gd name="connsiteY557" fmla="*/ 278130 h 791432"/>
                <a:gd name="connsiteX558" fmla="*/ 770668 w 910018"/>
                <a:gd name="connsiteY558" fmla="*/ 274606 h 791432"/>
                <a:gd name="connsiteX559" fmla="*/ 774002 w 910018"/>
                <a:gd name="connsiteY559" fmla="*/ 275749 h 791432"/>
                <a:gd name="connsiteX560" fmla="*/ 776764 w 910018"/>
                <a:gd name="connsiteY560" fmla="*/ 272225 h 791432"/>
                <a:gd name="connsiteX561" fmla="*/ 792956 w 910018"/>
                <a:gd name="connsiteY561" fmla="*/ 273367 h 791432"/>
                <a:gd name="connsiteX562" fmla="*/ 797528 w 910018"/>
                <a:gd name="connsiteY562" fmla="*/ 271177 h 791432"/>
                <a:gd name="connsiteX563" fmla="*/ 806768 w 910018"/>
                <a:gd name="connsiteY563" fmla="*/ 268319 h 791432"/>
                <a:gd name="connsiteX564" fmla="*/ 811149 w 910018"/>
                <a:gd name="connsiteY564" fmla="*/ 264605 h 791432"/>
                <a:gd name="connsiteX565" fmla="*/ 817245 w 910018"/>
                <a:gd name="connsiteY565" fmla="*/ 262223 h 791432"/>
                <a:gd name="connsiteX566" fmla="*/ 831437 w 910018"/>
                <a:gd name="connsiteY566" fmla="*/ 260413 h 791432"/>
                <a:gd name="connsiteX567" fmla="*/ 832771 w 910018"/>
                <a:gd name="connsiteY567" fmla="*/ 258604 h 791432"/>
                <a:gd name="connsiteX568" fmla="*/ 832390 w 910018"/>
                <a:gd name="connsiteY568" fmla="*/ 255460 h 791432"/>
                <a:gd name="connsiteX569" fmla="*/ 844582 w 910018"/>
                <a:gd name="connsiteY569" fmla="*/ 250698 h 791432"/>
                <a:gd name="connsiteX570" fmla="*/ 851726 w 910018"/>
                <a:gd name="connsiteY570" fmla="*/ 243364 h 791432"/>
                <a:gd name="connsiteX571" fmla="*/ 855059 w 910018"/>
                <a:gd name="connsiteY571" fmla="*/ 244602 h 791432"/>
                <a:gd name="connsiteX572" fmla="*/ 875157 w 910018"/>
                <a:gd name="connsiteY572" fmla="*/ 238792 h 791432"/>
                <a:gd name="connsiteX573" fmla="*/ 885444 w 910018"/>
                <a:gd name="connsiteY573" fmla="*/ 231076 h 791432"/>
                <a:gd name="connsiteX574" fmla="*/ 892683 w 910018"/>
                <a:gd name="connsiteY574" fmla="*/ 212503 h 791432"/>
                <a:gd name="connsiteX575" fmla="*/ 896969 w 910018"/>
                <a:gd name="connsiteY575" fmla="*/ 208788 h 791432"/>
                <a:gd name="connsiteX576" fmla="*/ 903351 w 910018"/>
                <a:gd name="connsiteY576" fmla="*/ 207931 h 791432"/>
                <a:gd name="connsiteX577" fmla="*/ 899160 w 910018"/>
                <a:gd name="connsiteY577" fmla="*/ 200501 h 791432"/>
                <a:gd name="connsiteX578" fmla="*/ 906494 w 910018"/>
                <a:gd name="connsiteY578" fmla="*/ 194691 h 791432"/>
                <a:gd name="connsiteX579" fmla="*/ 910019 w 910018"/>
                <a:gd name="connsiteY579" fmla="*/ 184690 h 791432"/>
                <a:gd name="connsiteX580" fmla="*/ 910019 w 910018"/>
                <a:gd name="connsiteY580" fmla="*/ 184690 h 791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</a:cxnLst>
              <a:rect l="l" t="t" r="r" b="b"/>
              <a:pathLst>
                <a:path w="910018" h="791432">
                  <a:moveTo>
                    <a:pt x="910019" y="184690"/>
                  </a:moveTo>
                  <a:lnTo>
                    <a:pt x="904208" y="164497"/>
                  </a:lnTo>
                  <a:lnTo>
                    <a:pt x="903637" y="159829"/>
                  </a:lnTo>
                  <a:lnTo>
                    <a:pt x="901255" y="153734"/>
                  </a:lnTo>
                  <a:lnTo>
                    <a:pt x="896112" y="151162"/>
                  </a:lnTo>
                  <a:lnTo>
                    <a:pt x="891350" y="151733"/>
                  </a:lnTo>
                  <a:lnTo>
                    <a:pt x="884206" y="146209"/>
                  </a:lnTo>
                  <a:lnTo>
                    <a:pt x="879253" y="145256"/>
                  </a:lnTo>
                  <a:lnTo>
                    <a:pt x="871442" y="146304"/>
                  </a:lnTo>
                  <a:lnTo>
                    <a:pt x="876681" y="124777"/>
                  </a:lnTo>
                  <a:lnTo>
                    <a:pt x="871919" y="112490"/>
                  </a:lnTo>
                  <a:lnTo>
                    <a:pt x="867156" y="113157"/>
                  </a:lnTo>
                  <a:lnTo>
                    <a:pt x="865156" y="110204"/>
                  </a:lnTo>
                  <a:lnTo>
                    <a:pt x="866775" y="110014"/>
                  </a:lnTo>
                  <a:lnTo>
                    <a:pt x="864775" y="106966"/>
                  </a:lnTo>
                  <a:lnTo>
                    <a:pt x="860393" y="97917"/>
                  </a:lnTo>
                  <a:lnTo>
                    <a:pt x="854107" y="98774"/>
                  </a:lnTo>
                  <a:lnTo>
                    <a:pt x="845439" y="93440"/>
                  </a:lnTo>
                  <a:lnTo>
                    <a:pt x="840486" y="92488"/>
                  </a:lnTo>
                  <a:lnTo>
                    <a:pt x="834390" y="82010"/>
                  </a:lnTo>
                  <a:lnTo>
                    <a:pt x="828770" y="76295"/>
                  </a:lnTo>
                  <a:lnTo>
                    <a:pt x="826008" y="54197"/>
                  </a:lnTo>
                  <a:lnTo>
                    <a:pt x="822198" y="49911"/>
                  </a:lnTo>
                  <a:lnTo>
                    <a:pt x="815530" y="47530"/>
                  </a:lnTo>
                  <a:lnTo>
                    <a:pt x="804101" y="45815"/>
                  </a:lnTo>
                  <a:lnTo>
                    <a:pt x="799338" y="46387"/>
                  </a:lnTo>
                  <a:lnTo>
                    <a:pt x="794195" y="56674"/>
                  </a:lnTo>
                  <a:lnTo>
                    <a:pt x="789718" y="58864"/>
                  </a:lnTo>
                  <a:lnTo>
                    <a:pt x="769811" y="53340"/>
                  </a:lnTo>
                  <a:lnTo>
                    <a:pt x="765810" y="47434"/>
                  </a:lnTo>
                  <a:lnTo>
                    <a:pt x="762667" y="47815"/>
                  </a:lnTo>
                  <a:lnTo>
                    <a:pt x="753618" y="52197"/>
                  </a:lnTo>
                  <a:lnTo>
                    <a:pt x="745046" y="48482"/>
                  </a:lnTo>
                  <a:lnTo>
                    <a:pt x="733806" y="35528"/>
                  </a:lnTo>
                  <a:lnTo>
                    <a:pt x="729234" y="24860"/>
                  </a:lnTo>
                  <a:lnTo>
                    <a:pt x="725710" y="22098"/>
                  </a:lnTo>
                  <a:lnTo>
                    <a:pt x="721328" y="25908"/>
                  </a:lnTo>
                  <a:lnTo>
                    <a:pt x="705803" y="29432"/>
                  </a:lnTo>
                  <a:lnTo>
                    <a:pt x="697802" y="17621"/>
                  </a:lnTo>
                  <a:lnTo>
                    <a:pt x="687229" y="22193"/>
                  </a:lnTo>
                  <a:lnTo>
                    <a:pt x="680657" y="21431"/>
                  </a:lnTo>
                  <a:lnTo>
                    <a:pt x="677704" y="23431"/>
                  </a:lnTo>
                  <a:lnTo>
                    <a:pt x="669417" y="21241"/>
                  </a:lnTo>
                  <a:lnTo>
                    <a:pt x="665131" y="25051"/>
                  </a:lnTo>
                  <a:lnTo>
                    <a:pt x="663512" y="25241"/>
                  </a:lnTo>
                  <a:lnTo>
                    <a:pt x="655415" y="24670"/>
                  </a:lnTo>
                  <a:lnTo>
                    <a:pt x="647795" y="27242"/>
                  </a:lnTo>
                  <a:lnTo>
                    <a:pt x="633794" y="30575"/>
                  </a:lnTo>
                  <a:lnTo>
                    <a:pt x="618744" y="38957"/>
                  </a:lnTo>
                  <a:lnTo>
                    <a:pt x="612458" y="39719"/>
                  </a:lnTo>
                  <a:lnTo>
                    <a:pt x="611124" y="41529"/>
                  </a:lnTo>
                  <a:lnTo>
                    <a:pt x="604361" y="39148"/>
                  </a:lnTo>
                  <a:lnTo>
                    <a:pt x="604742" y="29527"/>
                  </a:lnTo>
                  <a:lnTo>
                    <a:pt x="603313" y="18478"/>
                  </a:lnTo>
                  <a:lnTo>
                    <a:pt x="595979" y="11335"/>
                  </a:lnTo>
                  <a:lnTo>
                    <a:pt x="590074" y="2476"/>
                  </a:lnTo>
                  <a:lnTo>
                    <a:pt x="586930" y="2857"/>
                  </a:lnTo>
                  <a:lnTo>
                    <a:pt x="585692" y="6286"/>
                  </a:lnTo>
                  <a:lnTo>
                    <a:pt x="578644" y="762"/>
                  </a:lnTo>
                  <a:lnTo>
                    <a:pt x="572072" y="0"/>
                  </a:lnTo>
                  <a:lnTo>
                    <a:pt x="550069" y="2762"/>
                  </a:lnTo>
                  <a:lnTo>
                    <a:pt x="547116" y="17621"/>
                  </a:lnTo>
                  <a:lnTo>
                    <a:pt x="538829" y="28289"/>
                  </a:lnTo>
                  <a:lnTo>
                    <a:pt x="539210" y="31432"/>
                  </a:lnTo>
                  <a:lnTo>
                    <a:pt x="539687" y="34576"/>
                  </a:lnTo>
                  <a:lnTo>
                    <a:pt x="530352" y="37338"/>
                  </a:lnTo>
                  <a:lnTo>
                    <a:pt x="524828" y="31623"/>
                  </a:lnTo>
                  <a:lnTo>
                    <a:pt x="520255" y="33814"/>
                  </a:lnTo>
                  <a:lnTo>
                    <a:pt x="518351" y="30861"/>
                  </a:lnTo>
                  <a:lnTo>
                    <a:pt x="515207" y="31242"/>
                  </a:lnTo>
                  <a:lnTo>
                    <a:pt x="513017" y="26765"/>
                  </a:lnTo>
                  <a:lnTo>
                    <a:pt x="505111" y="27718"/>
                  </a:lnTo>
                  <a:lnTo>
                    <a:pt x="503111" y="24765"/>
                  </a:lnTo>
                  <a:lnTo>
                    <a:pt x="499586" y="22003"/>
                  </a:lnTo>
                  <a:lnTo>
                    <a:pt x="496443" y="22479"/>
                  </a:lnTo>
                  <a:lnTo>
                    <a:pt x="498348" y="25432"/>
                  </a:lnTo>
                  <a:lnTo>
                    <a:pt x="498824" y="28575"/>
                  </a:lnTo>
                  <a:lnTo>
                    <a:pt x="497777" y="33528"/>
                  </a:lnTo>
                  <a:lnTo>
                    <a:pt x="498253" y="36671"/>
                  </a:lnTo>
                  <a:lnTo>
                    <a:pt x="496634" y="36862"/>
                  </a:lnTo>
                  <a:lnTo>
                    <a:pt x="497396" y="43148"/>
                  </a:lnTo>
                  <a:lnTo>
                    <a:pt x="483680" y="48101"/>
                  </a:lnTo>
                  <a:lnTo>
                    <a:pt x="480060" y="45339"/>
                  </a:lnTo>
                  <a:lnTo>
                    <a:pt x="477488" y="50482"/>
                  </a:lnTo>
                  <a:lnTo>
                    <a:pt x="478155" y="55245"/>
                  </a:lnTo>
                  <a:lnTo>
                    <a:pt x="476917" y="58579"/>
                  </a:lnTo>
                  <a:lnTo>
                    <a:pt x="467868" y="62960"/>
                  </a:lnTo>
                  <a:lnTo>
                    <a:pt x="464915" y="64960"/>
                  </a:lnTo>
                  <a:lnTo>
                    <a:pt x="461391" y="62198"/>
                  </a:lnTo>
                  <a:lnTo>
                    <a:pt x="461772" y="65342"/>
                  </a:lnTo>
                  <a:lnTo>
                    <a:pt x="467678" y="74200"/>
                  </a:lnTo>
                  <a:lnTo>
                    <a:pt x="470249" y="81915"/>
                  </a:lnTo>
                  <a:lnTo>
                    <a:pt x="465963" y="85630"/>
                  </a:lnTo>
                  <a:lnTo>
                    <a:pt x="467773" y="87058"/>
                  </a:lnTo>
                  <a:lnTo>
                    <a:pt x="464820" y="89059"/>
                  </a:lnTo>
                  <a:lnTo>
                    <a:pt x="463582" y="92392"/>
                  </a:lnTo>
                  <a:lnTo>
                    <a:pt x="456152" y="96583"/>
                  </a:lnTo>
                  <a:lnTo>
                    <a:pt x="456343" y="98107"/>
                  </a:lnTo>
                  <a:lnTo>
                    <a:pt x="460058" y="102489"/>
                  </a:lnTo>
                  <a:lnTo>
                    <a:pt x="456152" y="109347"/>
                  </a:lnTo>
                  <a:lnTo>
                    <a:pt x="456724" y="114109"/>
                  </a:lnTo>
                  <a:lnTo>
                    <a:pt x="457200" y="117253"/>
                  </a:lnTo>
                  <a:lnTo>
                    <a:pt x="455581" y="117443"/>
                  </a:lnTo>
                  <a:lnTo>
                    <a:pt x="455962" y="120586"/>
                  </a:lnTo>
                  <a:lnTo>
                    <a:pt x="452819" y="121063"/>
                  </a:lnTo>
                  <a:lnTo>
                    <a:pt x="451009" y="119634"/>
                  </a:lnTo>
                  <a:lnTo>
                    <a:pt x="447866" y="120015"/>
                  </a:lnTo>
                  <a:lnTo>
                    <a:pt x="447675" y="118491"/>
                  </a:lnTo>
                  <a:lnTo>
                    <a:pt x="444532" y="118872"/>
                  </a:lnTo>
                  <a:lnTo>
                    <a:pt x="430721" y="123825"/>
                  </a:lnTo>
                  <a:lnTo>
                    <a:pt x="429387" y="125635"/>
                  </a:lnTo>
                  <a:lnTo>
                    <a:pt x="426149" y="126016"/>
                  </a:lnTo>
                  <a:lnTo>
                    <a:pt x="419100" y="120491"/>
                  </a:lnTo>
                  <a:lnTo>
                    <a:pt x="414338" y="121158"/>
                  </a:lnTo>
                  <a:lnTo>
                    <a:pt x="415766" y="119348"/>
                  </a:lnTo>
                  <a:lnTo>
                    <a:pt x="408813" y="115443"/>
                  </a:lnTo>
                  <a:lnTo>
                    <a:pt x="408622" y="113824"/>
                  </a:lnTo>
                  <a:lnTo>
                    <a:pt x="411194" y="108680"/>
                  </a:lnTo>
                  <a:lnTo>
                    <a:pt x="407956" y="109061"/>
                  </a:lnTo>
                  <a:lnTo>
                    <a:pt x="405860" y="104584"/>
                  </a:lnTo>
                  <a:lnTo>
                    <a:pt x="398907" y="100584"/>
                  </a:lnTo>
                  <a:lnTo>
                    <a:pt x="396335" y="92964"/>
                  </a:lnTo>
                  <a:lnTo>
                    <a:pt x="392239" y="98298"/>
                  </a:lnTo>
                  <a:lnTo>
                    <a:pt x="386810" y="94107"/>
                  </a:lnTo>
                  <a:lnTo>
                    <a:pt x="382334" y="96298"/>
                  </a:lnTo>
                  <a:lnTo>
                    <a:pt x="382905" y="101060"/>
                  </a:lnTo>
                  <a:lnTo>
                    <a:pt x="379952" y="103060"/>
                  </a:lnTo>
                  <a:lnTo>
                    <a:pt x="380619" y="107728"/>
                  </a:lnTo>
                  <a:lnTo>
                    <a:pt x="379190" y="109538"/>
                  </a:lnTo>
                  <a:lnTo>
                    <a:pt x="381762" y="117253"/>
                  </a:lnTo>
                  <a:lnTo>
                    <a:pt x="377476" y="120967"/>
                  </a:lnTo>
                  <a:lnTo>
                    <a:pt x="372523" y="120015"/>
                  </a:lnTo>
                  <a:lnTo>
                    <a:pt x="366141" y="108013"/>
                  </a:lnTo>
                  <a:lnTo>
                    <a:pt x="358712" y="112204"/>
                  </a:lnTo>
                  <a:lnTo>
                    <a:pt x="358521" y="110585"/>
                  </a:lnTo>
                  <a:lnTo>
                    <a:pt x="353759" y="111157"/>
                  </a:lnTo>
                  <a:lnTo>
                    <a:pt x="352520" y="114586"/>
                  </a:lnTo>
                  <a:lnTo>
                    <a:pt x="348805" y="110204"/>
                  </a:lnTo>
                  <a:lnTo>
                    <a:pt x="346043" y="113728"/>
                  </a:lnTo>
                  <a:lnTo>
                    <a:pt x="349568" y="116491"/>
                  </a:lnTo>
                  <a:lnTo>
                    <a:pt x="348425" y="119920"/>
                  </a:lnTo>
                  <a:lnTo>
                    <a:pt x="357378" y="126778"/>
                  </a:lnTo>
                  <a:lnTo>
                    <a:pt x="357950" y="131540"/>
                  </a:lnTo>
                  <a:lnTo>
                    <a:pt x="358140" y="133064"/>
                  </a:lnTo>
                  <a:lnTo>
                    <a:pt x="361855" y="137446"/>
                  </a:lnTo>
                  <a:lnTo>
                    <a:pt x="367189" y="141542"/>
                  </a:lnTo>
                  <a:lnTo>
                    <a:pt x="364236" y="143542"/>
                  </a:lnTo>
                  <a:lnTo>
                    <a:pt x="368237" y="149447"/>
                  </a:lnTo>
                  <a:lnTo>
                    <a:pt x="361379" y="158305"/>
                  </a:lnTo>
                  <a:lnTo>
                    <a:pt x="356616" y="158972"/>
                  </a:lnTo>
                  <a:lnTo>
                    <a:pt x="355854" y="165449"/>
                  </a:lnTo>
                  <a:lnTo>
                    <a:pt x="348329" y="169640"/>
                  </a:lnTo>
                  <a:lnTo>
                    <a:pt x="343471" y="168592"/>
                  </a:lnTo>
                  <a:lnTo>
                    <a:pt x="342043" y="170402"/>
                  </a:lnTo>
                  <a:lnTo>
                    <a:pt x="341662" y="167259"/>
                  </a:lnTo>
                  <a:lnTo>
                    <a:pt x="340424" y="170593"/>
                  </a:lnTo>
                  <a:lnTo>
                    <a:pt x="335566" y="169640"/>
                  </a:lnTo>
                  <a:lnTo>
                    <a:pt x="333946" y="169831"/>
                  </a:lnTo>
                  <a:lnTo>
                    <a:pt x="333756" y="168211"/>
                  </a:lnTo>
                  <a:lnTo>
                    <a:pt x="331946" y="166878"/>
                  </a:lnTo>
                  <a:lnTo>
                    <a:pt x="327660" y="170688"/>
                  </a:lnTo>
                  <a:lnTo>
                    <a:pt x="328803" y="167259"/>
                  </a:lnTo>
                  <a:lnTo>
                    <a:pt x="328422" y="164116"/>
                  </a:lnTo>
                  <a:lnTo>
                    <a:pt x="323088" y="160020"/>
                  </a:lnTo>
                  <a:lnTo>
                    <a:pt x="319754" y="158782"/>
                  </a:lnTo>
                  <a:lnTo>
                    <a:pt x="316802" y="160782"/>
                  </a:lnTo>
                  <a:lnTo>
                    <a:pt x="312039" y="161449"/>
                  </a:lnTo>
                  <a:lnTo>
                    <a:pt x="310229" y="160020"/>
                  </a:lnTo>
                  <a:lnTo>
                    <a:pt x="296418" y="164973"/>
                  </a:lnTo>
                  <a:lnTo>
                    <a:pt x="294513" y="162020"/>
                  </a:lnTo>
                  <a:lnTo>
                    <a:pt x="290132" y="165830"/>
                  </a:lnTo>
                  <a:lnTo>
                    <a:pt x="286988" y="166211"/>
                  </a:lnTo>
                  <a:lnTo>
                    <a:pt x="283083" y="173069"/>
                  </a:lnTo>
                  <a:lnTo>
                    <a:pt x="279654" y="171926"/>
                  </a:lnTo>
                  <a:lnTo>
                    <a:pt x="279463" y="170402"/>
                  </a:lnTo>
                  <a:lnTo>
                    <a:pt x="277273" y="165830"/>
                  </a:lnTo>
                  <a:lnTo>
                    <a:pt x="274320" y="167830"/>
                  </a:lnTo>
                  <a:lnTo>
                    <a:pt x="274606" y="169354"/>
                  </a:lnTo>
                  <a:lnTo>
                    <a:pt x="266224" y="167259"/>
                  </a:lnTo>
                  <a:lnTo>
                    <a:pt x="273177" y="171164"/>
                  </a:lnTo>
                  <a:lnTo>
                    <a:pt x="269081" y="176498"/>
                  </a:lnTo>
                  <a:lnTo>
                    <a:pt x="272225" y="176117"/>
                  </a:lnTo>
                  <a:lnTo>
                    <a:pt x="274225" y="179070"/>
                  </a:lnTo>
                  <a:lnTo>
                    <a:pt x="274034" y="190309"/>
                  </a:lnTo>
                  <a:lnTo>
                    <a:pt x="271272" y="193834"/>
                  </a:lnTo>
                  <a:lnTo>
                    <a:pt x="269462" y="192500"/>
                  </a:lnTo>
                  <a:lnTo>
                    <a:pt x="266510" y="194500"/>
                  </a:lnTo>
                  <a:lnTo>
                    <a:pt x="261176" y="203168"/>
                  </a:lnTo>
                  <a:lnTo>
                    <a:pt x="245840" y="221171"/>
                  </a:lnTo>
                  <a:lnTo>
                    <a:pt x="245650" y="219551"/>
                  </a:lnTo>
                  <a:lnTo>
                    <a:pt x="244507" y="210121"/>
                  </a:lnTo>
                  <a:lnTo>
                    <a:pt x="238887" y="204406"/>
                  </a:lnTo>
                  <a:lnTo>
                    <a:pt x="238887" y="204406"/>
                  </a:lnTo>
                  <a:lnTo>
                    <a:pt x="233172" y="197072"/>
                  </a:lnTo>
                  <a:lnTo>
                    <a:pt x="226695" y="196310"/>
                  </a:lnTo>
                  <a:lnTo>
                    <a:pt x="227838" y="192976"/>
                  </a:lnTo>
                  <a:lnTo>
                    <a:pt x="221552" y="193834"/>
                  </a:lnTo>
                  <a:lnTo>
                    <a:pt x="218218" y="192596"/>
                  </a:lnTo>
                  <a:lnTo>
                    <a:pt x="218408" y="194215"/>
                  </a:lnTo>
                  <a:lnTo>
                    <a:pt x="213455" y="193262"/>
                  </a:lnTo>
                  <a:lnTo>
                    <a:pt x="215646" y="197739"/>
                  </a:lnTo>
                  <a:lnTo>
                    <a:pt x="214217" y="199549"/>
                  </a:lnTo>
                  <a:lnTo>
                    <a:pt x="212027" y="194977"/>
                  </a:lnTo>
                  <a:lnTo>
                    <a:pt x="202597" y="196215"/>
                  </a:lnTo>
                  <a:lnTo>
                    <a:pt x="203549" y="191262"/>
                  </a:lnTo>
                  <a:lnTo>
                    <a:pt x="199835" y="186976"/>
                  </a:lnTo>
                  <a:lnTo>
                    <a:pt x="196882" y="188881"/>
                  </a:lnTo>
                  <a:lnTo>
                    <a:pt x="184976" y="184023"/>
                  </a:lnTo>
                  <a:lnTo>
                    <a:pt x="186214" y="193453"/>
                  </a:lnTo>
                  <a:lnTo>
                    <a:pt x="182880" y="192310"/>
                  </a:lnTo>
                  <a:lnTo>
                    <a:pt x="174974" y="193262"/>
                  </a:lnTo>
                  <a:lnTo>
                    <a:pt x="174593" y="190119"/>
                  </a:lnTo>
                  <a:lnTo>
                    <a:pt x="175355" y="183642"/>
                  </a:lnTo>
                  <a:lnTo>
                    <a:pt x="175546" y="172402"/>
                  </a:lnTo>
                  <a:lnTo>
                    <a:pt x="181261" y="166878"/>
                  </a:lnTo>
                  <a:lnTo>
                    <a:pt x="180975" y="165259"/>
                  </a:lnTo>
                  <a:lnTo>
                    <a:pt x="177832" y="165640"/>
                  </a:lnTo>
                  <a:lnTo>
                    <a:pt x="170307" y="156972"/>
                  </a:lnTo>
                  <a:lnTo>
                    <a:pt x="170307" y="156972"/>
                  </a:lnTo>
                  <a:lnTo>
                    <a:pt x="170783" y="160210"/>
                  </a:lnTo>
                  <a:lnTo>
                    <a:pt x="166021" y="160782"/>
                  </a:lnTo>
                  <a:lnTo>
                    <a:pt x="166211" y="162306"/>
                  </a:lnTo>
                  <a:lnTo>
                    <a:pt x="159925" y="163163"/>
                  </a:lnTo>
                  <a:lnTo>
                    <a:pt x="159353" y="171259"/>
                  </a:lnTo>
                  <a:lnTo>
                    <a:pt x="156401" y="173260"/>
                  </a:lnTo>
                  <a:lnTo>
                    <a:pt x="157925" y="172974"/>
                  </a:lnTo>
                  <a:lnTo>
                    <a:pt x="156782" y="176403"/>
                  </a:lnTo>
                  <a:lnTo>
                    <a:pt x="154972" y="174974"/>
                  </a:lnTo>
                  <a:lnTo>
                    <a:pt x="152210" y="178594"/>
                  </a:lnTo>
                  <a:lnTo>
                    <a:pt x="152400" y="180118"/>
                  </a:lnTo>
                  <a:lnTo>
                    <a:pt x="151257" y="183451"/>
                  </a:lnTo>
                  <a:lnTo>
                    <a:pt x="146495" y="184118"/>
                  </a:lnTo>
                  <a:lnTo>
                    <a:pt x="147542" y="192024"/>
                  </a:lnTo>
                  <a:lnTo>
                    <a:pt x="145733" y="190595"/>
                  </a:lnTo>
                  <a:lnTo>
                    <a:pt x="146399" y="195358"/>
                  </a:lnTo>
                  <a:lnTo>
                    <a:pt x="146971" y="200120"/>
                  </a:lnTo>
                  <a:lnTo>
                    <a:pt x="149543" y="207740"/>
                  </a:lnTo>
                  <a:lnTo>
                    <a:pt x="153543" y="213646"/>
                  </a:lnTo>
                  <a:lnTo>
                    <a:pt x="152495" y="218599"/>
                  </a:lnTo>
                  <a:lnTo>
                    <a:pt x="159258" y="220980"/>
                  </a:lnTo>
                  <a:lnTo>
                    <a:pt x="159449" y="222504"/>
                  </a:lnTo>
                  <a:lnTo>
                    <a:pt x="162020" y="230219"/>
                  </a:lnTo>
                  <a:lnTo>
                    <a:pt x="160496" y="230410"/>
                  </a:lnTo>
                  <a:lnTo>
                    <a:pt x="163068" y="238125"/>
                  </a:lnTo>
                  <a:lnTo>
                    <a:pt x="156686" y="238887"/>
                  </a:lnTo>
                  <a:lnTo>
                    <a:pt x="155162" y="239173"/>
                  </a:lnTo>
                  <a:lnTo>
                    <a:pt x="152019" y="239554"/>
                  </a:lnTo>
                  <a:lnTo>
                    <a:pt x="148304" y="248031"/>
                  </a:lnTo>
                  <a:lnTo>
                    <a:pt x="143351" y="247078"/>
                  </a:lnTo>
                  <a:lnTo>
                    <a:pt x="143732" y="250222"/>
                  </a:lnTo>
                  <a:lnTo>
                    <a:pt x="137636" y="252603"/>
                  </a:lnTo>
                  <a:lnTo>
                    <a:pt x="135636" y="249650"/>
                  </a:lnTo>
                  <a:lnTo>
                    <a:pt x="132874" y="266033"/>
                  </a:lnTo>
                  <a:lnTo>
                    <a:pt x="131350" y="266224"/>
                  </a:lnTo>
                  <a:lnTo>
                    <a:pt x="130207" y="269557"/>
                  </a:lnTo>
                  <a:lnTo>
                    <a:pt x="126968" y="269938"/>
                  </a:lnTo>
                  <a:lnTo>
                    <a:pt x="128969" y="272891"/>
                  </a:lnTo>
                  <a:lnTo>
                    <a:pt x="125825" y="273367"/>
                  </a:lnTo>
                  <a:lnTo>
                    <a:pt x="124682" y="276701"/>
                  </a:lnTo>
                  <a:lnTo>
                    <a:pt x="120301" y="280416"/>
                  </a:lnTo>
                  <a:lnTo>
                    <a:pt x="119158" y="283845"/>
                  </a:lnTo>
                  <a:lnTo>
                    <a:pt x="120968" y="285178"/>
                  </a:lnTo>
                  <a:lnTo>
                    <a:pt x="119539" y="286988"/>
                  </a:lnTo>
                  <a:lnTo>
                    <a:pt x="110680" y="292894"/>
                  </a:lnTo>
                  <a:lnTo>
                    <a:pt x="107347" y="291751"/>
                  </a:lnTo>
                  <a:lnTo>
                    <a:pt x="106109" y="295084"/>
                  </a:lnTo>
                  <a:lnTo>
                    <a:pt x="97250" y="288226"/>
                  </a:lnTo>
                  <a:lnTo>
                    <a:pt x="95917" y="289941"/>
                  </a:lnTo>
                  <a:lnTo>
                    <a:pt x="93726" y="285464"/>
                  </a:lnTo>
                  <a:lnTo>
                    <a:pt x="92678" y="290417"/>
                  </a:lnTo>
                  <a:lnTo>
                    <a:pt x="88202" y="292608"/>
                  </a:lnTo>
                  <a:lnTo>
                    <a:pt x="85249" y="294513"/>
                  </a:lnTo>
                  <a:lnTo>
                    <a:pt x="76771" y="290798"/>
                  </a:lnTo>
                  <a:lnTo>
                    <a:pt x="75343" y="292608"/>
                  </a:lnTo>
                  <a:lnTo>
                    <a:pt x="70866" y="294799"/>
                  </a:lnTo>
                  <a:lnTo>
                    <a:pt x="66104" y="295370"/>
                  </a:lnTo>
                  <a:lnTo>
                    <a:pt x="65151" y="300323"/>
                  </a:lnTo>
                  <a:lnTo>
                    <a:pt x="63722" y="302133"/>
                  </a:lnTo>
                  <a:lnTo>
                    <a:pt x="56864" y="298132"/>
                  </a:lnTo>
                  <a:lnTo>
                    <a:pt x="54483" y="292036"/>
                  </a:lnTo>
                  <a:lnTo>
                    <a:pt x="51245" y="292417"/>
                  </a:lnTo>
                  <a:lnTo>
                    <a:pt x="48292" y="294418"/>
                  </a:lnTo>
                  <a:lnTo>
                    <a:pt x="53912" y="300133"/>
                  </a:lnTo>
                  <a:lnTo>
                    <a:pt x="49339" y="302323"/>
                  </a:lnTo>
                  <a:lnTo>
                    <a:pt x="44577" y="302895"/>
                  </a:lnTo>
                  <a:lnTo>
                    <a:pt x="40291" y="306705"/>
                  </a:lnTo>
                  <a:lnTo>
                    <a:pt x="41053" y="312992"/>
                  </a:lnTo>
                  <a:lnTo>
                    <a:pt x="42672" y="312801"/>
                  </a:lnTo>
                  <a:lnTo>
                    <a:pt x="42101" y="320897"/>
                  </a:lnTo>
                  <a:lnTo>
                    <a:pt x="39529" y="326041"/>
                  </a:lnTo>
                  <a:lnTo>
                    <a:pt x="39338" y="324421"/>
                  </a:lnTo>
                  <a:lnTo>
                    <a:pt x="37719" y="324612"/>
                  </a:lnTo>
                  <a:lnTo>
                    <a:pt x="37910" y="326231"/>
                  </a:lnTo>
                  <a:lnTo>
                    <a:pt x="36004" y="323278"/>
                  </a:lnTo>
                  <a:lnTo>
                    <a:pt x="32576" y="322135"/>
                  </a:lnTo>
                  <a:lnTo>
                    <a:pt x="30671" y="319183"/>
                  </a:lnTo>
                  <a:lnTo>
                    <a:pt x="27242" y="317944"/>
                  </a:lnTo>
                  <a:lnTo>
                    <a:pt x="23336" y="324898"/>
                  </a:lnTo>
                  <a:lnTo>
                    <a:pt x="23527" y="326422"/>
                  </a:lnTo>
                  <a:lnTo>
                    <a:pt x="21622" y="336328"/>
                  </a:lnTo>
                  <a:lnTo>
                    <a:pt x="17050" y="338518"/>
                  </a:lnTo>
                  <a:lnTo>
                    <a:pt x="14478" y="343662"/>
                  </a:lnTo>
                  <a:lnTo>
                    <a:pt x="8572" y="347567"/>
                  </a:lnTo>
                  <a:lnTo>
                    <a:pt x="7811" y="354139"/>
                  </a:lnTo>
                  <a:lnTo>
                    <a:pt x="12954" y="356711"/>
                  </a:lnTo>
                  <a:lnTo>
                    <a:pt x="15145" y="361188"/>
                  </a:lnTo>
                  <a:lnTo>
                    <a:pt x="18860" y="365569"/>
                  </a:lnTo>
                  <a:lnTo>
                    <a:pt x="19907" y="373475"/>
                  </a:lnTo>
                  <a:lnTo>
                    <a:pt x="13621" y="387096"/>
                  </a:lnTo>
                  <a:lnTo>
                    <a:pt x="18955" y="391192"/>
                  </a:lnTo>
                  <a:lnTo>
                    <a:pt x="23146" y="398717"/>
                  </a:lnTo>
                  <a:lnTo>
                    <a:pt x="26099" y="409575"/>
                  </a:lnTo>
                  <a:lnTo>
                    <a:pt x="29432" y="410718"/>
                  </a:lnTo>
                  <a:lnTo>
                    <a:pt x="31242" y="412051"/>
                  </a:lnTo>
                  <a:lnTo>
                    <a:pt x="32861" y="411861"/>
                  </a:lnTo>
                  <a:lnTo>
                    <a:pt x="35052" y="416433"/>
                  </a:lnTo>
                  <a:lnTo>
                    <a:pt x="29337" y="421957"/>
                  </a:lnTo>
                  <a:lnTo>
                    <a:pt x="27527" y="420529"/>
                  </a:lnTo>
                  <a:lnTo>
                    <a:pt x="26765" y="427101"/>
                  </a:lnTo>
                  <a:lnTo>
                    <a:pt x="22574" y="432435"/>
                  </a:lnTo>
                  <a:lnTo>
                    <a:pt x="27908" y="436531"/>
                  </a:lnTo>
                  <a:lnTo>
                    <a:pt x="27337" y="431863"/>
                  </a:lnTo>
                  <a:lnTo>
                    <a:pt x="38386" y="430435"/>
                  </a:lnTo>
                  <a:lnTo>
                    <a:pt x="40196" y="431768"/>
                  </a:lnTo>
                  <a:lnTo>
                    <a:pt x="43339" y="431387"/>
                  </a:lnTo>
                  <a:lnTo>
                    <a:pt x="46863" y="434150"/>
                  </a:lnTo>
                  <a:lnTo>
                    <a:pt x="51435" y="431959"/>
                  </a:lnTo>
                  <a:lnTo>
                    <a:pt x="56579" y="421672"/>
                  </a:lnTo>
                  <a:lnTo>
                    <a:pt x="58103" y="421481"/>
                  </a:lnTo>
                  <a:lnTo>
                    <a:pt x="62103" y="427387"/>
                  </a:lnTo>
                  <a:lnTo>
                    <a:pt x="58769" y="439007"/>
                  </a:lnTo>
                  <a:lnTo>
                    <a:pt x="57531" y="442436"/>
                  </a:lnTo>
                  <a:lnTo>
                    <a:pt x="59531" y="445389"/>
                  </a:lnTo>
                  <a:lnTo>
                    <a:pt x="58007" y="445580"/>
                  </a:lnTo>
                  <a:lnTo>
                    <a:pt x="59912" y="448532"/>
                  </a:lnTo>
                  <a:lnTo>
                    <a:pt x="55436" y="450723"/>
                  </a:lnTo>
                  <a:lnTo>
                    <a:pt x="51911" y="473583"/>
                  </a:lnTo>
                  <a:lnTo>
                    <a:pt x="46958" y="472630"/>
                  </a:lnTo>
                  <a:lnTo>
                    <a:pt x="45625" y="474440"/>
                  </a:lnTo>
                  <a:lnTo>
                    <a:pt x="42291" y="473202"/>
                  </a:lnTo>
                  <a:lnTo>
                    <a:pt x="41053" y="476536"/>
                  </a:lnTo>
                  <a:lnTo>
                    <a:pt x="39910" y="479965"/>
                  </a:lnTo>
                  <a:lnTo>
                    <a:pt x="36767" y="480346"/>
                  </a:lnTo>
                  <a:lnTo>
                    <a:pt x="34957" y="478917"/>
                  </a:lnTo>
                  <a:lnTo>
                    <a:pt x="28480" y="478155"/>
                  </a:lnTo>
                  <a:lnTo>
                    <a:pt x="23908" y="480346"/>
                  </a:lnTo>
                  <a:lnTo>
                    <a:pt x="23527" y="490061"/>
                  </a:lnTo>
                  <a:lnTo>
                    <a:pt x="20574" y="504825"/>
                  </a:lnTo>
                  <a:lnTo>
                    <a:pt x="19050" y="505015"/>
                  </a:lnTo>
                  <a:lnTo>
                    <a:pt x="20003" y="512921"/>
                  </a:lnTo>
                  <a:lnTo>
                    <a:pt x="15716" y="516731"/>
                  </a:lnTo>
                  <a:lnTo>
                    <a:pt x="12383" y="515493"/>
                  </a:lnTo>
                  <a:lnTo>
                    <a:pt x="857" y="513778"/>
                  </a:lnTo>
                  <a:lnTo>
                    <a:pt x="3143" y="531114"/>
                  </a:lnTo>
                  <a:lnTo>
                    <a:pt x="4477" y="529400"/>
                  </a:lnTo>
                  <a:lnTo>
                    <a:pt x="6668" y="533876"/>
                  </a:lnTo>
                  <a:lnTo>
                    <a:pt x="5905" y="540353"/>
                  </a:lnTo>
                  <a:lnTo>
                    <a:pt x="0" y="544354"/>
                  </a:lnTo>
                  <a:lnTo>
                    <a:pt x="16383" y="547116"/>
                  </a:lnTo>
                  <a:lnTo>
                    <a:pt x="20860" y="544925"/>
                  </a:lnTo>
                  <a:lnTo>
                    <a:pt x="24479" y="547688"/>
                  </a:lnTo>
                  <a:lnTo>
                    <a:pt x="28385" y="540734"/>
                  </a:lnTo>
                  <a:lnTo>
                    <a:pt x="31528" y="540353"/>
                  </a:lnTo>
                  <a:lnTo>
                    <a:pt x="34480" y="538353"/>
                  </a:lnTo>
                  <a:lnTo>
                    <a:pt x="37910" y="539496"/>
                  </a:lnTo>
                  <a:lnTo>
                    <a:pt x="42386" y="537401"/>
                  </a:lnTo>
                  <a:lnTo>
                    <a:pt x="53245" y="534352"/>
                  </a:lnTo>
                  <a:lnTo>
                    <a:pt x="63532" y="526637"/>
                  </a:lnTo>
                  <a:lnTo>
                    <a:pt x="71533" y="527209"/>
                  </a:lnTo>
                  <a:lnTo>
                    <a:pt x="73343" y="528638"/>
                  </a:lnTo>
                  <a:lnTo>
                    <a:pt x="76962" y="544163"/>
                  </a:lnTo>
                  <a:lnTo>
                    <a:pt x="81915" y="545116"/>
                  </a:lnTo>
                  <a:lnTo>
                    <a:pt x="83820" y="548068"/>
                  </a:lnTo>
                  <a:lnTo>
                    <a:pt x="84487" y="552831"/>
                  </a:lnTo>
                  <a:lnTo>
                    <a:pt x="86678" y="557403"/>
                  </a:lnTo>
                  <a:lnTo>
                    <a:pt x="86296" y="567023"/>
                  </a:lnTo>
                  <a:lnTo>
                    <a:pt x="85344" y="571976"/>
                  </a:lnTo>
                  <a:lnTo>
                    <a:pt x="81153" y="577310"/>
                  </a:lnTo>
                  <a:lnTo>
                    <a:pt x="81534" y="580453"/>
                  </a:lnTo>
                  <a:lnTo>
                    <a:pt x="79248" y="587216"/>
                  </a:lnTo>
                  <a:lnTo>
                    <a:pt x="78010" y="590550"/>
                  </a:lnTo>
                  <a:lnTo>
                    <a:pt x="80010" y="593503"/>
                  </a:lnTo>
                  <a:lnTo>
                    <a:pt x="82963" y="591502"/>
                  </a:lnTo>
                  <a:lnTo>
                    <a:pt x="85344" y="584835"/>
                  </a:lnTo>
                  <a:lnTo>
                    <a:pt x="101537" y="585978"/>
                  </a:lnTo>
                  <a:lnTo>
                    <a:pt x="102679" y="595408"/>
                  </a:lnTo>
                  <a:lnTo>
                    <a:pt x="104299" y="595217"/>
                  </a:lnTo>
                  <a:lnTo>
                    <a:pt x="108585" y="591502"/>
                  </a:lnTo>
                  <a:lnTo>
                    <a:pt x="113538" y="592455"/>
                  </a:lnTo>
                  <a:lnTo>
                    <a:pt x="115919" y="598551"/>
                  </a:lnTo>
                  <a:lnTo>
                    <a:pt x="119539" y="601313"/>
                  </a:lnTo>
                  <a:lnTo>
                    <a:pt x="119539" y="614172"/>
                  </a:lnTo>
                  <a:lnTo>
                    <a:pt x="124301" y="613505"/>
                  </a:lnTo>
                  <a:lnTo>
                    <a:pt x="127063" y="609981"/>
                  </a:lnTo>
                  <a:lnTo>
                    <a:pt x="130588" y="612743"/>
                  </a:lnTo>
                  <a:lnTo>
                    <a:pt x="130397" y="611124"/>
                  </a:lnTo>
                  <a:lnTo>
                    <a:pt x="136874" y="611886"/>
                  </a:lnTo>
                  <a:lnTo>
                    <a:pt x="138303" y="610172"/>
                  </a:lnTo>
                  <a:lnTo>
                    <a:pt x="139827" y="609981"/>
                  </a:lnTo>
                  <a:lnTo>
                    <a:pt x="143256" y="611124"/>
                  </a:lnTo>
                  <a:lnTo>
                    <a:pt x="145352" y="615601"/>
                  </a:lnTo>
                  <a:lnTo>
                    <a:pt x="151733" y="614839"/>
                  </a:lnTo>
                  <a:lnTo>
                    <a:pt x="155067" y="615982"/>
                  </a:lnTo>
                  <a:lnTo>
                    <a:pt x="162592" y="611886"/>
                  </a:lnTo>
                  <a:lnTo>
                    <a:pt x="167926" y="615982"/>
                  </a:lnTo>
                  <a:lnTo>
                    <a:pt x="166688" y="619315"/>
                  </a:lnTo>
                  <a:lnTo>
                    <a:pt x="173641" y="623316"/>
                  </a:lnTo>
                  <a:lnTo>
                    <a:pt x="174784" y="619887"/>
                  </a:lnTo>
                  <a:lnTo>
                    <a:pt x="180118" y="624078"/>
                  </a:lnTo>
                  <a:lnTo>
                    <a:pt x="178022" y="632365"/>
                  </a:lnTo>
                  <a:lnTo>
                    <a:pt x="179927" y="635318"/>
                  </a:lnTo>
                  <a:lnTo>
                    <a:pt x="178784" y="638651"/>
                  </a:lnTo>
                  <a:lnTo>
                    <a:pt x="179165" y="641794"/>
                  </a:lnTo>
                  <a:lnTo>
                    <a:pt x="175070" y="647128"/>
                  </a:lnTo>
                  <a:lnTo>
                    <a:pt x="176879" y="648557"/>
                  </a:lnTo>
                  <a:lnTo>
                    <a:pt x="175641" y="651891"/>
                  </a:lnTo>
                  <a:lnTo>
                    <a:pt x="175832" y="653415"/>
                  </a:lnTo>
                  <a:lnTo>
                    <a:pt x="177641" y="654844"/>
                  </a:lnTo>
                  <a:lnTo>
                    <a:pt x="184404" y="657225"/>
                  </a:lnTo>
                  <a:lnTo>
                    <a:pt x="185738" y="655415"/>
                  </a:lnTo>
                  <a:lnTo>
                    <a:pt x="189071" y="656558"/>
                  </a:lnTo>
                  <a:lnTo>
                    <a:pt x="190500" y="654844"/>
                  </a:lnTo>
                  <a:lnTo>
                    <a:pt x="192691" y="659321"/>
                  </a:lnTo>
                  <a:lnTo>
                    <a:pt x="194977" y="652653"/>
                  </a:lnTo>
                  <a:lnTo>
                    <a:pt x="205835" y="649605"/>
                  </a:lnTo>
                  <a:lnTo>
                    <a:pt x="207264" y="660654"/>
                  </a:lnTo>
                  <a:lnTo>
                    <a:pt x="214217" y="664655"/>
                  </a:lnTo>
                  <a:lnTo>
                    <a:pt x="223457" y="674656"/>
                  </a:lnTo>
                  <a:lnTo>
                    <a:pt x="225076" y="674465"/>
                  </a:lnTo>
                  <a:lnTo>
                    <a:pt x="234125" y="682943"/>
                  </a:lnTo>
                  <a:lnTo>
                    <a:pt x="245936" y="675037"/>
                  </a:lnTo>
                  <a:lnTo>
                    <a:pt x="247745" y="676370"/>
                  </a:lnTo>
                  <a:lnTo>
                    <a:pt x="250508" y="672846"/>
                  </a:lnTo>
                  <a:lnTo>
                    <a:pt x="252317" y="674180"/>
                  </a:lnTo>
                  <a:lnTo>
                    <a:pt x="258223" y="670274"/>
                  </a:lnTo>
                  <a:lnTo>
                    <a:pt x="258413" y="671798"/>
                  </a:lnTo>
                  <a:lnTo>
                    <a:pt x="261366" y="669798"/>
                  </a:lnTo>
                  <a:lnTo>
                    <a:pt x="267081" y="677132"/>
                  </a:lnTo>
                  <a:lnTo>
                    <a:pt x="280892" y="672179"/>
                  </a:lnTo>
                  <a:lnTo>
                    <a:pt x="279845" y="664273"/>
                  </a:lnTo>
                  <a:lnTo>
                    <a:pt x="286417" y="677894"/>
                  </a:lnTo>
                  <a:lnTo>
                    <a:pt x="288417" y="680847"/>
                  </a:lnTo>
                  <a:lnTo>
                    <a:pt x="297275" y="674846"/>
                  </a:lnTo>
                  <a:lnTo>
                    <a:pt x="311277" y="684276"/>
                  </a:lnTo>
                  <a:lnTo>
                    <a:pt x="320040" y="689610"/>
                  </a:lnTo>
                  <a:lnTo>
                    <a:pt x="317278" y="693134"/>
                  </a:lnTo>
                  <a:lnTo>
                    <a:pt x="317849" y="697897"/>
                  </a:lnTo>
                  <a:lnTo>
                    <a:pt x="310420" y="714947"/>
                  </a:lnTo>
                  <a:lnTo>
                    <a:pt x="319088" y="720185"/>
                  </a:lnTo>
                  <a:lnTo>
                    <a:pt x="323183" y="714851"/>
                  </a:lnTo>
                  <a:lnTo>
                    <a:pt x="327946" y="714280"/>
                  </a:lnTo>
                  <a:lnTo>
                    <a:pt x="344138" y="728282"/>
                  </a:lnTo>
                  <a:lnTo>
                    <a:pt x="355378" y="728377"/>
                  </a:lnTo>
                  <a:lnTo>
                    <a:pt x="367475" y="747712"/>
                  </a:lnTo>
                  <a:lnTo>
                    <a:pt x="373666" y="758190"/>
                  </a:lnTo>
                  <a:lnTo>
                    <a:pt x="372428" y="761524"/>
                  </a:lnTo>
                  <a:lnTo>
                    <a:pt x="376238" y="765810"/>
                  </a:lnTo>
                  <a:lnTo>
                    <a:pt x="383858" y="763238"/>
                  </a:lnTo>
                  <a:lnTo>
                    <a:pt x="381191" y="766858"/>
                  </a:lnTo>
                  <a:lnTo>
                    <a:pt x="382905" y="768191"/>
                  </a:lnTo>
                  <a:lnTo>
                    <a:pt x="381381" y="768382"/>
                  </a:lnTo>
                  <a:lnTo>
                    <a:pt x="381953" y="773144"/>
                  </a:lnTo>
                  <a:lnTo>
                    <a:pt x="389096" y="791432"/>
                  </a:lnTo>
                  <a:lnTo>
                    <a:pt x="396812" y="788860"/>
                  </a:lnTo>
                  <a:lnTo>
                    <a:pt x="403479" y="791242"/>
                  </a:lnTo>
                  <a:lnTo>
                    <a:pt x="409385" y="787241"/>
                  </a:lnTo>
                  <a:lnTo>
                    <a:pt x="412623" y="786860"/>
                  </a:lnTo>
                  <a:lnTo>
                    <a:pt x="416719" y="781526"/>
                  </a:lnTo>
                  <a:lnTo>
                    <a:pt x="419862" y="781145"/>
                  </a:lnTo>
                  <a:lnTo>
                    <a:pt x="431292" y="782860"/>
                  </a:lnTo>
                  <a:lnTo>
                    <a:pt x="438436" y="775526"/>
                  </a:lnTo>
                  <a:lnTo>
                    <a:pt x="440531" y="767239"/>
                  </a:lnTo>
                  <a:lnTo>
                    <a:pt x="450818" y="759524"/>
                  </a:lnTo>
                  <a:lnTo>
                    <a:pt x="454914" y="754190"/>
                  </a:lnTo>
                  <a:lnTo>
                    <a:pt x="456057" y="750856"/>
                  </a:lnTo>
                  <a:lnTo>
                    <a:pt x="460438" y="747141"/>
                  </a:lnTo>
                  <a:lnTo>
                    <a:pt x="460058" y="743902"/>
                  </a:lnTo>
                  <a:lnTo>
                    <a:pt x="465106" y="733711"/>
                  </a:lnTo>
                  <a:lnTo>
                    <a:pt x="476345" y="721043"/>
                  </a:lnTo>
                  <a:lnTo>
                    <a:pt x="479488" y="720566"/>
                  </a:lnTo>
                  <a:lnTo>
                    <a:pt x="484061" y="718471"/>
                  </a:lnTo>
                  <a:lnTo>
                    <a:pt x="482632" y="707422"/>
                  </a:lnTo>
                  <a:lnTo>
                    <a:pt x="504920" y="706184"/>
                  </a:lnTo>
                  <a:lnTo>
                    <a:pt x="508063" y="705707"/>
                  </a:lnTo>
                  <a:lnTo>
                    <a:pt x="509492" y="703993"/>
                  </a:lnTo>
                  <a:lnTo>
                    <a:pt x="523875" y="703707"/>
                  </a:lnTo>
                  <a:lnTo>
                    <a:pt x="533305" y="702564"/>
                  </a:lnTo>
                  <a:lnTo>
                    <a:pt x="545211" y="707422"/>
                  </a:lnTo>
                  <a:lnTo>
                    <a:pt x="557403" y="702659"/>
                  </a:lnTo>
                  <a:lnTo>
                    <a:pt x="557594" y="691420"/>
                  </a:lnTo>
                  <a:lnTo>
                    <a:pt x="563499" y="674656"/>
                  </a:lnTo>
                  <a:lnTo>
                    <a:pt x="565595" y="666369"/>
                  </a:lnTo>
                  <a:lnTo>
                    <a:pt x="566833" y="662940"/>
                  </a:lnTo>
                  <a:lnTo>
                    <a:pt x="563975" y="653701"/>
                  </a:lnTo>
                  <a:lnTo>
                    <a:pt x="564737" y="647224"/>
                  </a:lnTo>
                  <a:lnTo>
                    <a:pt x="568262" y="637127"/>
                  </a:lnTo>
                  <a:lnTo>
                    <a:pt x="572262" y="630174"/>
                  </a:lnTo>
                  <a:lnTo>
                    <a:pt x="574167" y="620363"/>
                  </a:lnTo>
                  <a:lnTo>
                    <a:pt x="571405" y="611029"/>
                  </a:lnTo>
                  <a:lnTo>
                    <a:pt x="572357" y="606171"/>
                  </a:lnTo>
                  <a:lnTo>
                    <a:pt x="576739" y="602361"/>
                  </a:lnTo>
                  <a:lnTo>
                    <a:pt x="579215" y="597218"/>
                  </a:lnTo>
                  <a:lnTo>
                    <a:pt x="585121" y="593312"/>
                  </a:lnTo>
                  <a:lnTo>
                    <a:pt x="596170" y="591884"/>
                  </a:lnTo>
                  <a:lnTo>
                    <a:pt x="599122" y="589883"/>
                  </a:lnTo>
                  <a:lnTo>
                    <a:pt x="615601" y="592646"/>
                  </a:lnTo>
                  <a:lnTo>
                    <a:pt x="619887" y="588835"/>
                  </a:lnTo>
                  <a:lnTo>
                    <a:pt x="622649" y="585311"/>
                  </a:lnTo>
                  <a:lnTo>
                    <a:pt x="628936" y="584454"/>
                  </a:lnTo>
                  <a:lnTo>
                    <a:pt x="637889" y="591407"/>
                  </a:lnTo>
                  <a:lnTo>
                    <a:pt x="649129" y="591598"/>
                  </a:lnTo>
                  <a:lnTo>
                    <a:pt x="652272" y="591122"/>
                  </a:lnTo>
                  <a:lnTo>
                    <a:pt x="654558" y="584454"/>
                  </a:lnTo>
                  <a:lnTo>
                    <a:pt x="662464" y="583406"/>
                  </a:lnTo>
                  <a:lnTo>
                    <a:pt x="680466" y="573119"/>
                  </a:lnTo>
                  <a:lnTo>
                    <a:pt x="684562" y="567785"/>
                  </a:lnTo>
                  <a:lnTo>
                    <a:pt x="690086" y="560642"/>
                  </a:lnTo>
                  <a:lnTo>
                    <a:pt x="690848" y="554164"/>
                  </a:lnTo>
                  <a:lnTo>
                    <a:pt x="699516" y="546640"/>
                  </a:lnTo>
                  <a:lnTo>
                    <a:pt x="697516" y="543687"/>
                  </a:lnTo>
                  <a:lnTo>
                    <a:pt x="698468" y="538734"/>
                  </a:lnTo>
                  <a:lnTo>
                    <a:pt x="705707" y="520160"/>
                  </a:lnTo>
                  <a:lnTo>
                    <a:pt x="712470" y="509683"/>
                  </a:lnTo>
                  <a:lnTo>
                    <a:pt x="707612" y="484632"/>
                  </a:lnTo>
                  <a:lnTo>
                    <a:pt x="709994" y="477964"/>
                  </a:lnTo>
                  <a:lnTo>
                    <a:pt x="711613" y="477774"/>
                  </a:lnTo>
                  <a:lnTo>
                    <a:pt x="713327" y="479107"/>
                  </a:lnTo>
                  <a:lnTo>
                    <a:pt x="714947" y="478917"/>
                  </a:lnTo>
                  <a:lnTo>
                    <a:pt x="712375" y="471202"/>
                  </a:lnTo>
                  <a:lnTo>
                    <a:pt x="705231" y="465772"/>
                  </a:lnTo>
                  <a:lnTo>
                    <a:pt x="704469" y="459391"/>
                  </a:lnTo>
                  <a:lnTo>
                    <a:pt x="706755" y="452723"/>
                  </a:lnTo>
                  <a:lnTo>
                    <a:pt x="711137" y="448913"/>
                  </a:lnTo>
                  <a:lnTo>
                    <a:pt x="710089" y="441007"/>
                  </a:lnTo>
                  <a:lnTo>
                    <a:pt x="711518" y="439293"/>
                  </a:lnTo>
                  <a:lnTo>
                    <a:pt x="724662" y="429577"/>
                  </a:lnTo>
                  <a:lnTo>
                    <a:pt x="718757" y="420719"/>
                  </a:lnTo>
                  <a:lnTo>
                    <a:pt x="718852" y="396621"/>
                  </a:lnTo>
                  <a:lnTo>
                    <a:pt x="724567" y="391096"/>
                  </a:lnTo>
                  <a:lnTo>
                    <a:pt x="727901" y="379476"/>
                  </a:lnTo>
                  <a:lnTo>
                    <a:pt x="729520" y="379285"/>
                  </a:lnTo>
                  <a:lnTo>
                    <a:pt x="727901" y="366617"/>
                  </a:lnTo>
                  <a:lnTo>
                    <a:pt x="732663" y="366046"/>
                  </a:lnTo>
                  <a:lnTo>
                    <a:pt x="731996" y="361283"/>
                  </a:lnTo>
                  <a:lnTo>
                    <a:pt x="733997" y="351377"/>
                  </a:lnTo>
                  <a:lnTo>
                    <a:pt x="726091" y="352425"/>
                  </a:lnTo>
                  <a:lnTo>
                    <a:pt x="727805" y="340995"/>
                  </a:lnTo>
                  <a:lnTo>
                    <a:pt x="726186" y="328327"/>
                  </a:lnTo>
                  <a:lnTo>
                    <a:pt x="736663" y="322231"/>
                  </a:lnTo>
                  <a:lnTo>
                    <a:pt x="737235" y="314134"/>
                  </a:lnTo>
                  <a:lnTo>
                    <a:pt x="751808" y="302609"/>
                  </a:lnTo>
                  <a:lnTo>
                    <a:pt x="751999" y="291370"/>
                  </a:lnTo>
                  <a:lnTo>
                    <a:pt x="751142" y="285083"/>
                  </a:lnTo>
                  <a:lnTo>
                    <a:pt x="750951" y="283464"/>
                  </a:lnTo>
                  <a:lnTo>
                    <a:pt x="755333" y="279749"/>
                  </a:lnTo>
                  <a:lnTo>
                    <a:pt x="758666" y="280892"/>
                  </a:lnTo>
                  <a:lnTo>
                    <a:pt x="762953" y="277177"/>
                  </a:lnTo>
                  <a:lnTo>
                    <a:pt x="767905" y="278130"/>
                  </a:lnTo>
                  <a:lnTo>
                    <a:pt x="770668" y="274606"/>
                  </a:lnTo>
                  <a:lnTo>
                    <a:pt x="774002" y="275749"/>
                  </a:lnTo>
                  <a:lnTo>
                    <a:pt x="776764" y="272225"/>
                  </a:lnTo>
                  <a:lnTo>
                    <a:pt x="792956" y="273367"/>
                  </a:lnTo>
                  <a:lnTo>
                    <a:pt x="797528" y="271177"/>
                  </a:lnTo>
                  <a:lnTo>
                    <a:pt x="806768" y="268319"/>
                  </a:lnTo>
                  <a:lnTo>
                    <a:pt x="811149" y="264605"/>
                  </a:lnTo>
                  <a:lnTo>
                    <a:pt x="817245" y="262223"/>
                  </a:lnTo>
                  <a:lnTo>
                    <a:pt x="831437" y="260413"/>
                  </a:lnTo>
                  <a:lnTo>
                    <a:pt x="832771" y="258604"/>
                  </a:lnTo>
                  <a:lnTo>
                    <a:pt x="832390" y="255460"/>
                  </a:lnTo>
                  <a:lnTo>
                    <a:pt x="844582" y="250698"/>
                  </a:lnTo>
                  <a:lnTo>
                    <a:pt x="851726" y="243364"/>
                  </a:lnTo>
                  <a:lnTo>
                    <a:pt x="855059" y="244602"/>
                  </a:lnTo>
                  <a:lnTo>
                    <a:pt x="875157" y="238792"/>
                  </a:lnTo>
                  <a:lnTo>
                    <a:pt x="885444" y="231076"/>
                  </a:lnTo>
                  <a:lnTo>
                    <a:pt x="892683" y="212503"/>
                  </a:lnTo>
                  <a:lnTo>
                    <a:pt x="896969" y="208788"/>
                  </a:lnTo>
                  <a:lnTo>
                    <a:pt x="903351" y="207931"/>
                  </a:lnTo>
                  <a:lnTo>
                    <a:pt x="899160" y="200501"/>
                  </a:lnTo>
                  <a:lnTo>
                    <a:pt x="906494" y="194691"/>
                  </a:lnTo>
                  <a:lnTo>
                    <a:pt x="910019" y="184690"/>
                  </a:lnTo>
                  <a:lnTo>
                    <a:pt x="910019" y="184690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3" name="Volný tvar: obrazec 32">
              <a:extLst>
                <a:ext uri="{FF2B5EF4-FFF2-40B4-BE49-F238E27FC236}">
                  <a16:creationId xmlns:a16="http://schemas.microsoft.com/office/drawing/2014/main" id="{6023EBE9-9C75-C316-CD8F-FC5634A25149}"/>
                </a:ext>
              </a:extLst>
            </p:cNvPr>
            <p:cNvSpPr>
              <a:spLocks noChangeAspect="1"/>
            </p:cNvSpPr>
            <p:nvPr userDrawn="1">
              <p:custDataLst>
                <p:tags r:id="rId5"/>
              </p:custDataLst>
            </p:nvPr>
          </p:nvSpPr>
          <p:spPr>
            <a:xfrm>
              <a:off x="4709541" y="3644550"/>
              <a:ext cx="1468659" cy="1218057"/>
            </a:xfrm>
            <a:custGeom>
              <a:avLst/>
              <a:gdLst>
                <a:gd name="connsiteX0" fmla="*/ 1468660 w 1468659"/>
                <a:gd name="connsiteY0" fmla="*/ 616839 h 1218057"/>
                <a:gd name="connsiteX1" fmla="*/ 1453801 w 1468659"/>
                <a:gd name="connsiteY1" fmla="*/ 601027 h 1218057"/>
                <a:gd name="connsiteX2" fmla="*/ 1456563 w 1468659"/>
                <a:gd name="connsiteY2" fmla="*/ 597503 h 1218057"/>
                <a:gd name="connsiteX3" fmla="*/ 1461230 w 1468659"/>
                <a:gd name="connsiteY3" fmla="*/ 596932 h 1218057"/>
                <a:gd name="connsiteX4" fmla="*/ 1459325 w 1468659"/>
                <a:gd name="connsiteY4" fmla="*/ 593979 h 1218057"/>
                <a:gd name="connsiteX5" fmla="*/ 1451039 w 1468659"/>
                <a:gd name="connsiteY5" fmla="*/ 591788 h 1218057"/>
                <a:gd name="connsiteX6" fmla="*/ 1448086 w 1468659"/>
                <a:gd name="connsiteY6" fmla="*/ 593788 h 1218057"/>
                <a:gd name="connsiteX7" fmla="*/ 1449800 w 1468659"/>
                <a:gd name="connsiteY7" fmla="*/ 595122 h 1218057"/>
                <a:gd name="connsiteX8" fmla="*/ 1448467 w 1468659"/>
                <a:gd name="connsiteY8" fmla="*/ 596932 h 1218057"/>
                <a:gd name="connsiteX9" fmla="*/ 1439132 w 1468659"/>
                <a:gd name="connsiteY9" fmla="*/ 586930 h 1218057"/>
                <a:gd name="connsiteX10" fmla="*/ 1435608 w 1468659"/>
                <a:gd name="connsiteY10" fmla="*/ 584168 h 1218057"/>
                <a:gd name="connsiteX11" fmla="*/ 1436942 w 1468659"/>
                <a:gd name="connsiteY11" fmla="*/ 582359 h 1218057"/>
                <a:gd name="connsiteX12" fmla="*/ 1444847 w 1468659"/>
                <a:gd name="connsiteY12" fmla="*/ 581406 h 1218057"/>
                <a:gd name="connsiteX13" fmla="*/ 1446657 w 1468659"/>
                <a:gd name="connsiteY13" fmla="*/ 582739 h 1218057"/>
                <a:gd name="connsiteX14" fmla="*/ 1444276 w 1468659"/>
                <a:gd name="connsiteY14" fmla="*/ 576643 h 1218057"/>
                <a:gd name="connsiteX15" fmla="*/ 1443038 w 1468659"/>
                <a:gd name="connsiteY15" fmla="*/ 567118 h 1218057"/>
                <a:gd name="connsiteX16" fmla="*/ 1436370 w 1468659"/>
                <a:gd name="connsiteY16" fmla="*/ 564832 h 1218057"/>
                <a:gd name="connsiteX17" fmla="*/ 1433989 w 1468659"/>
                <a:gd name="connsiteY17" fmla="*/ 571500 h 1218057"/>
                <a:gd name="connsiteX18" fmla="*/ 1434751 w 1468659"/>
                <a:gd name="connsiteY18" fmla="*/ 565023 h 1218057"/>
                <a:gd name="connsiteX19" fmla="*/ 1427607 w 1468659"/>
                <a:gd name="connsiteY19" fmla="*/ 559498 h 1218057"/>
                <a:gd name="connsiteX20" fmla="*/ 1424654 w 1468659"/>
                <a:gd name="connsiteY20" fmla="*/ 561499 h 1218057"/>
                <a:gd name="connsiteX21" fmla="*/ 1421321 w 1468659"/>
                <a:gd name="connsiteY21" fmla="*/ 560356 h 1218057"/>
                <a:gd name="connsiteX22" fmla="*/ 1420368 w 1468659"/>
                <a:gd name="connsiteY22" fmla="*/ 565213 h 1218057"/>
                <a:gd name="connsiteX23" fmla="*/ 1424083 w 1468659"/>
                <a:gd name="connsiteY23" fmla="*/ 569595 h 1218057"/>
                <a:gd name="connsiteX24" fmla="*/ 1421321 w 1468659"/>
                <a:gd name="connsiteY24" fmla="*/ 573119 h 1218057"/>
                <a:gd name="connsiteX25" fmla="*/ 1416463 w 1468659"/>
                <a:gd name="connsiteY25" fmla="*/ 572167 h 1218057"/>
                <a:gd name="connsiteX26" fmla="*/ 1416177 w 1468659"/>
                <a:gd name="connsiteY26" fmla="*/ 570547 h 1218057"/>
                <a:gd name="connsiteX27" fmla="*/ 1412462 w 1468659"/>
                <a:gd name="connsiteY27" fmla="*/ 566261 h 1218057"/>
                <a:gd name="connsiteX28" fmla="*/ 1404366 w 1468659"/>
                <a:gd name="connsiteY28" fmla="*/ 565690 h 1218057"/>
                <a:gd name="connsiteX29" fmla="*/ 1403033 w 1468659"/>
                <a:gd name="connsiteY29" fmla="*/ 567500 h 1218057"/>
                <a:gd name="connsiteX30" fmla="*/ 1396270 w 1468659"/>
                <a:gd name="connsiteY30" fmla="*/ 577882 h 1218057"/>
                <a:gd name="connsiteX31" fmla="*/ 1391412 w 1468659"/>
                <a:gd name="connsiteY31" fmla="*/ 576929 h 1218057"/>
                <a:gd name="connsiteX32" fmla="*/ 1384840 w 1468659"/>
                <a:gd name="connsiteY32" fmla="*/ 576167 h 1218057"/>
                <a:gd name="connsiteX33" fmla="*/ 1373410 w 1468659"/>
                <a:gd name="connsiteY33" fmla="*/ 574453 h 1218057"/>
                <a:gd name="connsiteX34" fmla="*/ 1373791 w 1468659"/>
                <a:gd name="connsiteY34" fmla="*/ 577596 h 1218057"/>
                <a:gd name="connsiteX35" fmla="*/ 1370457 w 1468659"/>
                <a:gd name="connsiteY35" fmla="*/ 576453 h 1218057"/>
                <a:gd name="connsiteX36" fmla="*/ 1369123 w 1468659"/>
                <a:gd name="connsiteY36" fmla="*/ 578168 h 1218057"/>
                <a:gd name="connsiteX37" fmla="*/ 1367123 w 1468659"/>
                <a:gd name="connsiteY37" fmla="*/ 575215 h 1218057"/>
                <a:gd name="connsiteX38" fmla="*/ 1365504 w 1468659"/>
                <a:gd name="connsiteY38" fmla="*/ 575405 h 1218057"/>
                <a:gd name="connsiteX39" fmla="*/ 1357789 w 1468659"/>
                <a:gd name="connsiteY39" fmla="*/ 565213 h 1218057"/>
                <a:gd name="connsiteX40" fmla="*/ 1354264 w 1468659"/>
                <a:gd name="connsiteY40" fmla="*/ 562451 h 1218057"/>
                <a:gd name="connsiteX41" fmla="*/ 1351121 w 1468659"/>
                <a:gd name="connsiteY41" fmla="*/ 562832 h 1218057"/>
                <a:gd name="connsiteX42" fmla="*/ 1348168 w 1468659"/>
                <a:gd name="connsiteY42" fmla="*/ 564832 h 1218057"/>
                <a:gd name="connsiteX43" fmla="*/ 1346740 w 1468659"/>
                <a:gd name="connsiteY43" fmla="*/ 566642 h 1218057"/>
                <a:gd name="connsiteX44" fmla="*/ 1345216 w 1468659"/>
                <a:gd name="connsiteY44" fmla="*/ 566833 h 1218057"/>
                <a:gd name="connsiteX45" fmla="*/ 1343025 w 1468659"/>
                <a:gd name="connsiteY45" fmla="*/ 575119 h 1218057"/>
                <a:gd name="connsiteX46" fmla="*/ 1340453 w 1468659"/>
                <a:gd name="connsiteY46" fmla="*/ 580263 h 1218057"/>
                <a:gd name="connsiteX47" fmla="*/ 1338739 w 1468659"/>
                <a:gd name="connsiteY47" fmla="*/ 578834 h 1218057"/>
                <a:gd name="connsiteX48" fmla="*/ 1339501 w 1468659"/>
                <a:gd name="connsiteY48" fmla="*/ 572357 h 1218057"/>
                <a:gd name="connsiteX49" fmla="*/ 1330928 w 1468659"/>
                <a:gd name="connsiteY49" fmla="*/ 568643 h 1218057"/>
                <a:gd name="connsiteX50" fmla="*/ 1327214 w 1468659"/>
                <a:gd name="connsiteY50" fmla="*/ 564261 h 1218057"/>
                <a:gd name="connsiteX51" fmla="*/ 1320260 w 1468659"/>
                <a:gd name="connsiteY51" fmla="*/ 560356 h 1218057"/>
                <a:gd name="connsiteX52" fmla="*/ 1318736 w 1468659"/>
                <a:gd name="connsiteY52" fmla="*/ 560546 h 1218057"/>
                <a:gd name="connsiteX53" fmla="*/ 1315593 w 1468659"/>
                <a:gd name="connsiteY53" fmla="*/ 560927 h 1218057"/>
                <a:gd name="connsiteX54" fmla="*/ 1308640 w 1468659"/>
                <a:gd name="connsiteY54" fmla="*/ 557022 h 1218057"/>
                <a:gd name="connsiteX55" fmla="*/ 1309592 w 1468659"/>
                <a:gd name="connsiteY55" fmla="*/ 552069 h 1218057"/>
                <a:gd name="connsiteX56" fmla="*/ 1307211 w 1468659"/>
                <a:gd name="connsiteY56" fmla="*/ 545973 h 1218057"/>
                <a:gd name="connsiteX57" fmla="*/ 1303496 w 1468659"/>
                <a:gd name="connsiteY57" fmla="*/ 541687 h 1218057"/>
                <a:gd name="connsiteX58" fmla="*/ 1302353 w 1468659"/>
                <a:gd name="connsiteY58" fmla="*/ 545021 h 1218057"/>
                <a:gd name="connsiteX59" fmla="*/ 1295400 w 1468659"/>
                <a:gd name="connsiteY59" fmla="*/ 541115 h 1218057"/>
                <a:gd name="connsiteX60" fmla="*/ 1296352 w 1468659"/>
                <a:gd name="connsiteY60" fmla="*/ 536162 h 1218057"/>
                <a:gd name="connsiteX61" fmla="*/ 1294829 w 1468659"/>
                <a:gd name="connsiteY61" fmla="*/ 536353 h 1218057"/>
                <a:gd name="connsiteX62" fmla="*/ 1291400 w 1468659"/>
                <a:gd name="connsiteY62" fmla="*/ 535114 h 1218057"/>
                <a:gd name="connsiteX63" fmla="*/ 1293590 w 1468659"/>
                <a:gd name="connsiteY63" fmla="*/ 539686 h 1218057"/>
                <a:gd name="connsiteX64" fmla="*/ 1290447 w 1468659"/>
                <a:gd name="connsiteY64" fmla="*/ 540068 h 1218057"/>
                <a:gd name="connsiteX65" fmla="*/ 1288447 w 1468659"/>
                <a:gd name="connsiteY65" fmla="*/ 537115 h 1218057"/>
                <a:gd name="connsiteX66" fmla="*/ 1285875 w 1468659"/>
                <a:gd name="connsiteY66" fmla="*/ 529495 h 1218057"/>
                <a:gd name="connsiteX67" fmla="*/ 1285304 w 1468659"/>
                <a:gd name="connsiteY67" fmla="*/ 524732 h 1218057"/>
                <a:gd name="connsiteX68" fmla="*/ 1281970 w 1468659"/>
                <a:gd name="connsiteY68" fmla="*/ 523494 h 1218057"/>
                <a:gd name="connsiteX69" fmla="*/ 1278731 w 1468659"/>
                <a:gd name="connsiteY69" fmla="*/ 523970 h 1218057"/>
                <a:gd name="connsiteX70" fmla="*/ 1282732 w 1468659"/>
                <a:gd name="connsiteY70" fmla="*/ 517017 h 1218057"/>
                <a:gd name="connsiteX71" fmla="*/ 1282732 w 1468659"/>
                <a:gd name="connsiteY71" fmla="*/ 517017 h 1218057"/>
                <a:gd name="connsiteX72" fmla="*/ 1281875 w 1468659"/>
                <a:gd name="connsiteY72" fmla="*/ 510730 h 1218057"/>
                <a:gd name="connsiteX73" fmla="*/ 1285875 w 1468659"/>
                <a:gd name="connsiteY73" fmla="*/ 503777 h 1218057"/>
                <a:gd name="connsiteX74" fmla="*/ 1285399 w 1468659"/>
                <a:gd name="connsiteY74" fmla="*/ 500634 h 1218057"/>
                <a:gd name="connsiteX75" fmla="*/ 1289399 w 1468659"/>
                <a:gd name="connsiteY75" fmla="*/ 493681 h 1218057"/>
                <a:gd name="connsiteX76" fmla="*/ 1285970 w 1468659"/>
                <a:gd name="connsiteY76" fmla="*/ 492538 h 1218057"/>
                <a:gd name="connsiteX77" fmla="*/ 1287399 w 1468659"/>
                <a:gd name="connsiteY77" fmla="*/ 490728 h 1218057"/>
                <a:gd name="connsiteX78" fmla="*/ 1285208 w 1468659"/>
                <a:gd name="connsiteY78" fmla="*/ 486251 h 1218057"/>
                <a:gd name="connsiteX79" fmla="*/ 1283970 w 1468659"/>
                <a:gd name="connsiteY79" fmla="*/ 476726 h 1218057"/>
                <a:gd name="connsiteX80" fmla="*/ 1284542 w 1468659"/>
                <a:gd name="connsiteY80" fmla="*/ 468725 h 1218057"/>
                <a:gd name="connsiteX81" fmla="*/ 1281017 w 1468659"/>
                <a:gd name="connsiteY81" fmla="*/ 465963 h 1218057"/>
                <a:gd name="connsiteX82" fmla="*/ 1274255 w 1468659"/>
                <a:gd name="connsiteY82" fmla="*/ 463582 h 1218057"/>
                <a:gd name="connsiteX83" fmla="*/ 1271302 w 1468659"/>
                <a:gd name="connsiteY83" fmla="*/ 465582 h 1218057"/>
                <a:gd name="connsiteX84" fmla="*/ 1268159 w 1468659"/>
                <a:gd name="connsiteY84" fmla="*/ 465963 h 1218057"/>
                <a:gd name="connsiteX85" fmla="*/ 1266158 w 1468659"/>
                <a:gd name="connsiteY85" fmla="*/ 463010 h 1218057"/>
                <a:gd name="connsiteX86" fmla="*/ 1261491 w 1468659"/>
                <a:gd name="connsiteY86" fmla="*/ 463582 h 1218057"/>
                <a:gd name="connsiteX87" fmla="*/ 1262063 w 1468659"/>
                <a:gd name="connsiteY87" fmla="*/ 468344 h 1218057"/>
                <a:gd name="connsiteX88" fmla="*/ 1255967 w 1468659"/>
                <a:gd name="connsiteY88" fmla="*/ 470725 h 1218057"/>
                <a:gd name="connsiteX89" fmla="*/ 1247299 w 1468659"/>
                <a:gd name="connsiteY89" fmla="*/ 465392 h 1218057"/>
                <a:gd name="connsiteX90" fmla="*/ 1240917 w 1468659"/>
                <a:gd name="connsiteY90" fmla="*/ 466249 h 1218057"/>
                <a:gd name="connsiteX91" fmla="*/ 1236821 w 1468659"/>
                <a:gd name="connsiteY91" fmla="*/ 471583 h 1218057"/>
                <a:gd name="connsiteX92" fmla="*/ 1232249 w 1468659"/>
                <a:gd name="connsiteY92" fmla="*/ 473773 h 1218057"/>
                <a:gd name="connsiteX93" fmla="*/ 1230344 w 1468659"/>
                <a:gd name="connsiteY93" fmla="*/ 470821 h 1218057"/>
                <a:gd name="connsiteX94" fmla="*/ 1226915 w 1468659"/>
                <a:gd name="connsiteY94" fmla="*/ 469582 h 1218057"/>
                <a:gd name="connsiteX95" fmla="*/ 1222629 w 1468659"/>
                <a:gd name="connsiteY95" fmla="*/ 473392 h 1218057"/>
                <a:gd name="connsiteX96" fmla="*/ 1223010 w 1468659"/>
                <a:gd name="connsiteY96" fmla="*/ 476536 h 1218057"/>
                <a:gd name="connsiteX97" fmla="*/ 1218533 w 1468659"/>
                <a:gd name="connsiteY97" fmla="*/ 478726 h 1218057"/>
                <a:gd name="connsiteX98" fmla="*/ 1220819 w 1468659"/>
                <a:gd name="connsiteY98" fmla="*/ 471964 h 1218057"/>
                <a:gd name="connsiteX99" fmla="*/ 1219105 w 1468659"/>
                <a:gd name="connsiteY99" fmla="*/ 470630 h 1218057"/>
                <a:gd name="connsiteX100" fmla="*/ 1221772 w 1468659"/>
                <a:gd name="connsiteY100" fmla="*/ 467011 h 1218057"/>
                <a:gd name="connsiteX101" fmla="*/ 1211104 w 1468659"/>
                <a:gd name="connsiteY101" fmla="*/ 458819 h 1218057"/>
                <a:gd name="connsiteX102" fmla="*/ 1209770 w 1468659"/>
                <a:gd name="connsiteY102" fmla="*/ 460534 h 1218057"/>
                <a:gd name="connsiteX103" fmla="*/ 1204627 w 1468659"/>
                <a:gd name="connsiteY103" fmla="*/ 458057 h 1218057"/>
                <a:gd name="connsiteX104" fmla="*/ 1201484 w 1468659"/>
                <a:gd name="connsiteY104" fmla="*/ 458438 h 1218057"/>
                <a:gd name="connsiteX105" fmla="*/ 1192816 w 1468659"/>
                <a:gd name="connsiteY105" fmla="*/ 453104 h 1218057"/>
                <a:gd name="connsiteX106" fmla="*/ 1186434 w 1468659"/>
                <a:gd name="connsiteY106" fmla="*/ 453866 h 1218057"/>
                <a:gd name="connsiteX107" fmla="*/ 1185291 w 1468659"/>
                <a:gd name="connsiteY107" fmla="*/ 457295 h 1218057"/>
                <a:gd name="connsiteX108" fmla="*/ 1178909 w 1468659"/>
                <a:gd name="connsiteY108" fmla="*/ 445294 h 1218057"/>
                <a:gd name="connsiteX109" fmla="*/ 1174052 w 1468659"/>
                <a:gd name="connsiteY109" fmla="*/ 444246 h 1218057"/>
                <a:gd name="connsiteX110" fmla="*/ 1174623 w 1468659"/>
                <a:gd name="connsiteY110" fmla="*/ 449009 h 1218057"/>
                <a:gd name="connsiteX111" fmla="*/ 1165003 w 1468659"/>
                <a:gd name="connsiteY111" fmla="*/ 461486 h 1218057"/>
                <a:gd name="connsiteX112" fmla="*/ 1155859 w 1468659"/>
                <a:gd name="connsiteY112" fmla="*/ 465868 h 1218057"/>
                <a:gd name="connsiteX113" fmla="*/ 1152525 w 1468659"/>
                <a:gd name="connsiteY113" fmla="*/ 464630 h 1218057"/>
                <a:gd name="connsiteX114" fmla="*/ 1145858 w 1468659"/>
                <a:gd name="connsiteY114" fmla="*/ 462248 h 1218057"/>
                <a:gd name="connsiteX115" fmla="*/ 1137571 w 1468659"/>
                <a:gd name="connsiteY115" fmla="*/ 460153 h 1218057"/>
                <a:gd name="connsiteX116" fmla="*/ 1138714 w 1468659"/>
                <a:gd name="connsiteY116" fmla="*/ 456819 h 1218057"/>
                <a:gd name="connsiteX117" fmla="*/ 1135952 w 1468659"/>
                <a:gd name="connsiteY117" fmla="*/ 447484 h 1218057"/>
                <a:gd name="connsiteX118" fmla="*/ 1137285 w 1468659"/>
                <a:gd name="connsiteY118" fmla="*/ 445770 h 1218057"/>
                <a:gd name="connsiteX119" fmla="*/ 1137095 w 1468659"/>
                <a:gd name="connsiteY119" fmla="*/ 444151 h 1218057"/>
                <a:gd name="connsiteX120" fmla="*/ 1135285 w 1468659"/>
                <a:gd name="connsiteY120" fmla="*/ 442817 h 1218057"/>
                <a:gd name="connsiteX121" fmla="*/ 1132713 w 1468659"/>
                <a:gd name="connsiteY121" fmla="*/ 435102 h 1218057"/>
                <a:gd name="connsiteX122" fmla="*/ 1129570 w 1468659"/>
                <a:gd name="connsiteY122" fmla="*/ 435483 h 1218057"/>
                <a:gd name="connsiteX123" fmla="*/ 1127379 w 1468659"/>
                <a:gd name="connsiteY123" fmla="*/ 431006 h 1218057"/>
                <a:gd name="connsiteX124" fmla="*/ 1124045 w 1468659"/>
                <a:gd name="connsiteY124" fmla="*/ 429768 h 1218057"/>
                <a:gd name="connsiteX125" fmla="*/ 1114616 w 1468659"/>
                <a:gd name="connsiteY125" fmla="*/ 431006 h 1218057"/>
                <a:gd name="connsiteX126" fmla="*/ 1109091 w 1468659"/>
                <a:gd name="connsiteY126" fmla="*/ 438150 h 1218057"/>
                <a:gd name="connsiteX127" fmla="*/ 1103567 w 1468659"/>
                <a:gd name="connsiteY127" fmla="*/ 432435 h 1218057"/>
                <a:gd name="connsiteX128" fmla="*/ 1096994 w 1468659"/>
                <a:gd name="connsiteY128" fmla="*/ 431673 h 1218057"/>
                <a:gd name="connsiteX129" fmla="*/ 1093089 w 1468659"/>
                <a:gd name="connsiteY129" fmla="*/ 425767 h 1218057"/>
                <a:gd name="connsiteX130" fmla="*/ 1094613 w 1468659"/>
                <a:gd name="connsiteY130" fmla="*/ 425482 h 1218057"/>
                <a:gd name="connsiteX131" fmla="*/ 1098042 w 1468659"/>
                <a:gd name="connsiteY131" fmla="*/ 426720 h 1218057"/>
                <a:gd name="connsiteX132" fmla="*/ 1110996 w 1468659"/>
                <a:gd name="connsiteY132" fmla="*/ 428244 h 1218057"/>
                <a:gd name="connsiteX133" fmla="*/ 1112044 w 1468659"/>
                <a:gd name="connsiteY133" fmla="*/ 423291 h 1218057"/>
                <a:gd name="connsiteX134" fmla="*/ 1108043 w 1468659"/>
                <a:gd name="connsiteY134" fmla="*/ 417385 h 1218057"/>
                <a:gd name="connsiteX135" fmla="*/ 1112330 w 1468659"/>
                <a:gd name="connsiteY135" fmla="*/ 413671 h 1218057"/>
                <a:gd name="connsiteX136" fmla="*/ 1112901 w 1468659"/>
                <a:gd name="connsiteY136" fmla="*/ 405575 h 1218057"/>
                <a:gd name="connsiteX137" fmla="*/ 1098137 w 1468659"/>
                <a:gd name="connsiteY137" fmla="*/ 402622 h 1218057"/>
                <a:gd name="connsiteX138" fmla="*/ 1089851 w 1468659"/>
                <a:gd name="connsiteY138" fmla="*/ 400431 h 1218057"/>
                <a:gd name="connsiteX139" fmla="*/ 1088041 w 1468659"/>
                <a:gd name="connsiteY139" fmla="*/ 399097 h 1218057"/>
                <a:gd name="connsiteX140" fmla="*/ 1086898 w 1468659"/>
                <a:gd name="connsiteY140" fmla="*/ 402431 h 1218057"/>
                <a:gd name="connsiteX141" fmla="*/ 1081945 w 1468659"/>
                <a:gd name="connsiteY141" fmla="*/ 401479 h 1218057"/>
                <a:gd name="connsiteX142" fmla="*/ 1083373 w 1468659"/>
                <a:gd name="connsiteY142" fmla="*/ 399669 h 1218057"/>
                <a:gd name="connsiteX143" fmla="*/ 1074610 w 1468659"/>
                <a:gd name="connsiteY143" fmla="*/ 394430 h 1218057"/>
                <a:gd name="connsiteX144" fmla="*/ 1072420 w 1468659"/>
                <a:gd name="connsiteY144" fmla="*/ 389858 h 1218057"/>
                <a:gd name="connsiteX145" fmla="*/ 1068134 w 1468659"/>
                <a:gd name="connsiteY145" fmla="*/ 380809 h 1218057"/>
                <a:gd name="connsiteX146" fmla="*/ 1063181 w 1468659"/>
                <a:gd name="connsiteY146" fmla="*/ 379857 h 1218057"/>
                <a:gd name="connsiteX147" fmla="*/ 1064133 w 1468659"/>
                <a:gd name="connsiteY147" fmla="*/ 374904 h 1218057"/>
                <a:gd name="connsiteX148" fmla="*/ 1062800 w 1468659"/>
                <a:gd name="connsiteY148" fmla="*/ 376618 h 1218057"/>
                <a:gd name="connsiteX149" fmla="*/ 1060799 w 1468659"/>
                <a:gd name="connsiteY149" fmla="*/ 373666 h 1218057"/>
                <a:gd name="connsiteX150" fmla="*/ 1054894 w 1468659"/>
                <a:gd name="connsiteY150" fmla="*/ 377666 h 1218057"/>
                <a:gd name="connsiteX151" fmla="*/ 1053465 w 1468659"/>
                <a:gd name="connsiteY151" fmla="*/ 379476 h 1218057"/>
                <a:gd name="connsiteX152" fmla="*/ 1050322 w 1468659"/>
                <a:gd name="connsiteY152" fmla="*/ 379857 h 1218057"/>
                <a:gd name="connsiteX153" fmla="*/ 1046035 w 1468659"/>
                <a:gd name="connsiteY153" fmla="*/ 383572 h 1218057"/>
                <a:gd name="connsiteX154" fmla="*/ 1041463 w 1468659"/>
                <a:gd name="connsiteY154" fmla="*/ 385763 h 1218057"/>
                <a:gd name="connsiteX155" fmla="*/ 1033367 w 1468659"/>
                <a:gd name="connsiteY155" fmla="*/ 398050 h 1218057"/>
                <a:gd name="connsiteX156" fmla="*/ 1025080 w 1468659"/>
                <a:gd name="connsiteY156" fmla="*/ 395859 h 1218057"/>
                <a:gd name="connsiteX157" fmla="*/ 1024890 w 1468659"/>
                <a:gd name="connsiteY157" fmla="*/ 394335 h 1218057"/>
                <a:gd name="connsiteX158" fmla="*/ 1023366 w 1468659"/>
                <a:gd name="connsiteY158" fmla="*/ 394525 h 1218057"/>
                <a:gd name="connsiteX159" fmla="*/ 1022699 w 1468659"/>
                <a:gd name="connsiteY159" fmla="*/ 389763 h 1218057"/>
                <a:gd name="connsiteX160" fmla="*/ 1018794 w 1468659"/>
                <a:gd name="connsiteY160" fmla="*/ 383857 h 1218057"/>
                <a:gd name="connsiteX161" fmla="*/ 1011460 w 1468659"/>
                <a:gd name="connsiteY161" fmla="*/ 376809 h 1218057"/>
                <a:gd name="connsiteX162" fmla="*/ 1008507 w 1468659"/>
                <a:gd name="connsiteY162" fmla="*/ 378809 h 1218057"/>
                <a:gd name="connsiteX163" fmla="*/ 1006697 w 1468659"/>
                <a:gd name="connsiteY163" fmla="*/ 377380 h 1218057"/>
                <a:gd name="connsiteX164" fmla="*/ 1002792 w 1468659"/>
                <a:gd name="connsiteY164" fmla="*/ 371475 h 1218057"/>
                <a:gd name="connsiteX165" fmla="*/ 1003745 w 1468659"/>
                <a:gd name="connsiteY165" fmla="*/ 366522 h 1218057"/>
                <a:gd name="connsiteX166" fmla="*/ 1000411 w 1468659"/>
                <a:gd name="connsiteY166" fmla="*/ 365379 h 1218057"/>
                <a:gd name="connsiteX167" fmla="*/ 999934 w 1468659"/>
                <a:gd name="connsiteY167" fmla="*/ 362236 h 1218057"/>
                <a:gd name="connsiteX168" fmla="*/ 991648 w 1468659"/>
                <a:gd name="connsiteY168" fmla="*/ 360045 h 1218057"/>
                <a:gd name="connsiteX169" fmla="*/ 984980 w 1468659"/>
                <a:gd name="connsiteY169" fmla="*/ 357664 h 1218057"/>
                <a:gd name="connsiteX170" fmla="*/ 988695 w 1468659"/>
                <a:gd name="connsiteY170" fmla="*/ 349186 h 1218057"/>
                <a:gd name="connsiteX171" fmla="*/ 988314 w 1468659"/>
                <a:gd name="connsiteY171" fmla="*/ 346043 h 1218057"/>
                <a:gd name="connsiteX172" fmla="*/ 981551 w 1468659"/>
                <a:gd name="connsiteY172" fmla="*/ 343662 h 1218057"/>
                <a:gd name="connsiteX173" fmla="*/ 974217 w 1468659"/>
                <a:gd name="connsiteY173" fmla="*/ 336613 h 1218057"/>
                <a:gd name="connsiteX174" fmla="*/ 972122 w 1468659"/>
                <a:gd name="connsiteY174" fmla="*/ 332042 h 1218057"/>
                <a:gd name="connsiteX175" fmla="*/ 971645 w 1468659"/>
                <a:gd name="connsiteY175" fmla="*/ 328898 h 1218057"/>
                <a:gd name="connsiteX176" fmla="*/ 974598 w 1468659"/>
                <a:gd name="connsiteY176" fmla="*/ 326993 h 1218057"/>
                <a:gd name="connsiteX177" fmla="*/ 974026 w 1468659"/>
                <a:gd name="connsiteY177" fmla="*/ 322231 h 1218057"/>
                <a:gd name="connsiteX178" fmla="*/ 978789 w 1468659"/>
                <a:gd name="connsiteY178" fmla="*/ 321659 h 1218057"/>
                <a:gd name="connsiteX179" fmla="*/ 978122 w 1468659"/>
                <a:gd name="connsiteY179" fmla="*/ 316897 h 1218057"/>
                <a:gd name="connsiteX180" fmla="*/ 979932 w 1468659"/>
                <a:gd name="connsiteY180" fmla="*/ 318230 h 1218057"/>
                <a:gd name="connsiteX181" fmla="*/ 983837 w 1468659"/>
                <a:gd name="connsiteY181" fmla="*/ 311372 h 1218057"/>
                <a:gd name="connsiteX182" fmla="*/ 986790 w 1468659"/>
                <a:gd name="connsiteY182" fmla="*/ 309372 h 1218057"/>
                <a:gd name="connsiteX183" fmla="*/ 990219 w 1468659"/>
                <a:gd name="connsiteY183" fmla="*/ 310515 h 1218057"/>
                <a:gd name="connsiteX184" fmla="*/ 991172 w 1468659"/>
                <a:gd name="connsiteY184" fmla="*/ 305562 h 1218057"/>
                <a:gd name="connsiteX185" fmla="*/ 986600 w 1468659"/>
                <a:gd name="connsiteY185" fmla="*/ 307753 h 1218057"/>
                <a:gd name="connsiteX186" fmla="*/ 985171 w 1468659"/>
                <a:gd name="connsiteY186" fmla="*/ 296704 h 1218057"/>
                <a:gd name="connsiteX187" fmla="*/ 981266 w 1468659"/>
                <a:gd name="connsiteY187" fmla="*/ 290798 h 1218057"/>
                <a:gd name="connsiteX188" fmla="*/ 973169 w 1468659"/>
                <a:gd name="connsiteY188" fmla="*/ 290227 h 1218057"/>
                <a:gd name="connsiteX189" fmla="*/ 964501 w 1468659"/>
                <a:gd name="connsiteY189" fmla="*/ 284988 h 1218057"/>
                <a:gd name="connsiteX190" fmla="*/ 962882 w 1468659"/>
                <a:gd name="connsiteY190" fmla="*/ 285179 h 1218057"/>
                <a:gd name="connsiteX191" fmla="*/ 960882 w 1468659"/>
                <a:gd name="connsiteY191" fmla="*/ 282226 h 1218057"/>
                <a:gd name="connsiteX192" fmla="*/ 963644 w 1468659"/>
                <a:gd name="connsiteY192" fmla="*/ 278606 h 1218057"/>
                <a:gd name="connsiteX193" fmla="*/ 963263 w 1468659"/>
                <a:gd name="connsiteY193" fmla="*/ 275463 h 1218057"/>
                <a:gd name="connsiteX194" fmla="*/ 961263 w 1468659"/>
                <a:gd name="connsiteY194" fmla="*/ 272510 h 1218057"/>
                <a:gd name="connsiteX195" fmla="*/ 962501 w 1468659"/>
                <a:gd name="connsiteY195" fmla="*/ 269176 h 1218057"/>
                <a:gd name="connsiteX196" fmla="*/ 965454 w 1468659"/>
                <a:gd name="connsiteY196" fmla="*/ 267176 h 1218057"/>
                <a:gd name="connsiteX197" fmla="*/ 962025 w 1468659"/>
                <a:gd name="connsiteY197" fmla="*/ 266033 h 1218057"/>
                <a:gd name="connsiteX198" fmla="*/ 963073 w 1468659"/>
                <a:gd name="connsiteY198" fmla="*/ 261080 h 1218057"/>
                <a:gd name="connsiteX199" fmla="*/ 966406 w 1468659"/>
                <a:gd name="connsiteY199" fmla="*/ 262223 h 1218057"/>
                <a:gd name="connsiteX200" fmla="*/ 969359 w 1468659"/>
                <a:gd name="connsiteY200" fmla="*/ 260223 h 1218057"/>
                <a:gd name="connsiteX201" fmla="*/ 970312 w 1468659"/>
                <a:gd name="connsiteY201" fmla="*/ 255365 h 1218057"/>
                <a:gd name="connsiteX202" fmla="*/ 969931 w 1468659"/>
                <a:gd name="connsiteY202" fmla="*/ 252127 h 1218057"/>
                <a:gd name="connsiteX203" fmla="*/ 971074 w 1468659"/>
                <a:gd name="connsiteY203" fmla="*/ 248793 h 1218057"/>
                <a:gd name="connsiteX204" fmla="*/ 970121 w 1468659"/>
                <a:gd name="connsiteY204" fmla="*/ 240887 h 1218057"/>
                <a:gd name="connsiteX205" fmla="*/ 973074 w 1468659"/>
                <a:gd name="connsiteY205" fmla="*/ 238982 h 1218057"/>
                <a:gd name="connsiteX206" fmla="*/ 972407 w 1468659"/>
                <a:gd name="connsiteY206" fmla="*/ 234220 h 1218057"/>
                <a:gd name="connsiteX207" fmla="*/ 975360 w 1468659"/>
                <a:gd name="connsiteY207" fmla="*/ 232219 h 1218057"/>
                <a:gd name="connsiteX208" fmla="*/ 977741 w 1468659"/>
                <a:gd name="connsiteY208" fmla="*/ 225552 h 1218057"/>
                <a:gd name="connsiteX209" fmla="*/ 974598 w 1468659"/>
                <a:gd name="connsiteY209" fmla="*/ 225933 h 1218057"/>
                <a:gd name="connsiteX210" fmla="*/ 973169 w 1468659"/>
                <a:gd name="connsiteY210" fmla="*/ 227743 h 1218057"/>
                <a:gd name="connsiteX211" fmla="*/ 968693 w 1468659"/>
                <a:gd name="connsiteY211" fmla="*/ 229838 h 1218057"/>
                <a:gd name="connsiteX212" fmla="*/ 968312 w 1468659"/>
                <a:gd name="connsiteY212" fmla="*/ 226695 h 1218057"/>
                <a:gd name="connsiteX213" fmla="*/ 969455 w 1468659"/>
                <a:gd name="connsiteY213" fmla="*/ 223361 h 1218057"/>
                <a:gd name="connsiteX214" fmla="*/ 972598 w 1468659"/>
                <a:gd name="connsiteY214" fmla="*/ 222980 h 1218057"/>
                <a:gd name="connsiteX215" fmla="*/ 976503 w 1468659"/>
                <a:gd name="connsiteY215" fmla="*/ 216027 h 1218057"/>
                <a:gd name="connsiteX216" fmla="*/ 976693 w 1468659"/>
                <a:gd name="connsiteY216" fmla="*/ 204788 h 1218057"/>
                <a:gd name="connsiteX217" fmla="*/ 979265 w 1468659"/>
                <a:gd name="connsiteY217" fmla="*/ 199644 h 1218057"/>
                <a:gd name="connsiteX218" fmla="*/ 984028 w 1468659"/>
                <a:gd name="connsiteY218" fmla="*/ 199072 h 1218057"/>
                <a:gd name="connsiteX219" fmla="*/ 986123 w 1468659"/>
                <a:gd name="connsiteY219" fmla="*/ 177927 h 1218057"/>
                <a:gd name="connsiteX220" fmla="*/ 985742 w 1468659"/>
                <a:gd name="connsiteY220" fmla="*/ 174784 h 1218057"/>
                <a:gd name="connsiteX221" fmla="*/ 982313 w 1468659"/>
                <a:gd name="connsiteY221" fmla="*/ 173641 h 1218057"/>
                <a:gd name="connsiteX222" fmla="*/ 980218 w 1468659"/>
                <a:gd name="connsiteY222" fmla="*/ 169069 h 1218057"/>
                <a:gd name="connsiteX223" fmla="*/ 981742 w 1468659"/>
                <a:gd name="connsiteY223" fmla="*/ 168878 h 1218057"/>
                <a:gd name="connsiteX224" fmla="*/ 984695 w 1468659"/>
                <a:gd name="connsiteY224" fmla="*/ 166878 h 1218057"/>
                <a:gd name="connsiteX225" fmla="*/ 987076 w 1468659"/>
                <a:gd name="connsiteY225" fmla="*/ 160210 h 1218057"/>
                <a:gd name="connsiteX226" fmla="*/ 990029 w 1468659"/>
                <a:gd name="connsiteY226" fmla="*/ 158210 h 1218057"/>
                <a:gd name="connsiteX227" fmla="*/ 987838 w 1468659"/>
                <a:gd name="connsiteY227" fmla="*/ 153638 h 1218057"/>
                <a:gd name="connsiteX228" fmla="*/ 988409 w 1468659"/>
                <a:gd name="connsiteY228" fmla="*/ 145542 h 1218057"/>
                <a:gd name="connsiteX229" fmla="*/ 986600 w 1468659"/>
                <a:gd name="connsiteY229" fmla="*/ 144209 h 1218057"/>
                <a:gd name="connsiteX230" fmla="*/ 986218 w 1468659"/>
                <a:gd name="connsiteY230" fmla="*/ 141065 h 1218057"/>
                <a:gd name="connsiteX231" fmla="*/ 987838 w 1468659"/>
                <a:gd name="connsiteY231" fmla="*/ 140875 h 1218057"/>
                <a:gd name="connsiteX232" fmla="*/ 980504 w 1468659"/>
                <a:gd name="connsiteY232" fmla="*/ 133731 h 1218057"/>
                <a:gd name="connsiteX233" fmla="*/ 980122 w 1468659"/>
                <a:gd name="connsiteY233" fmla="*/ 130588 h 1218057"/>
                <a:gd name="connsiteX234" fmla="*/ 978122 w 1468659"/>
                <a:gd name="connsiteY234" fmla="*/ 127635 h 1218057"/>
                <a:gd name="connsiteX235" fmla="*/ 976313 w 1468659"/>
                <a:gd name="connsiteY235" fmla="*/ 126301 h 1218057"/>
                <a:gd name="connsiteX236" fmla="*/ 969645 w 1468659"/>
                <a:gd name="connsiteY236" fmla="*/ 123920 h 1218057"/>
                <a:gd name="connsiteX237" fmla="*/ 970597 w 1468659"/>
                <a:gd name="connsiteY237" fmla="*/ 118967 h 1218057"/>
                <a:gd name="connsiteX238" fmla="*/ 972979 w 1468659"/>
                <a:gd name="connsiteY238" fmla="*/ 112300 h 1218057"/>
                <a:gd name="connsiteX239" fmla="*/ 978027 w 1468659"/>
                <a:gd name="connsiteY239" fmla="*/ 114776 h 1218057"/>
                <a:gd name="connsiteX240" fmla="*/ 977646 w 1468659"/>
                <a:gd name="connsiteY240" fmla="*/ 111633 h 1218057"/>
                <a:gd name="connsiteX241" fmla="*/ 981266 w 1468659"/>
                <a:gd name="connsiteY241" fmla="*/ 114395 h 1218057"/>
                <a:gd name="connsiteX242" fmla="*/ 984409 w 1468659"/>
                <a:gd name="connsiteY242" fmla="*/ 114014 h 1218057"/>
                <a:gd name="connsiteX243" fmla="*/ 992696 w 1468659"/>
                <a:gd name="connsiteY243" fmla="*/ 116205 h 1218057"/>
                <a:gd name="connsiteX244" fmla="*/ 996982 w 1468659"/>
                <a:gd name="connsiteY244" fmla="*/ 112395 h 1218057"/>
                <a:gd name="connsiteX245" fmla="*/ 998220 w 1468659"/>
                <a:gd name="connsiteY245" fmla="*/ 109061 h 1218057"/>
                <a:gd name="connsiteX246" fmla="*/ 994601 w 1468659"/>
                <a:gd name="connsiteY246" fmla="*/ 106299 h 1218057"/>
                <a:gd name="connsiteX247" fmla="*/ 991838 w 1468659"/>
                <a:gd name="connsiteY247" fmla="*/ 97060 h 1218057"/>
                <a:gd name="connsiteX248" fmla="*/ 987838 w 1468659"/>
                <a:gd name="connsiteY248" fmla="*/ 91154 h 1218057"/>
                <a:gd name="connsiteX249" fmla="*/ 986123 w 1468659"/>
                <a:gd name="connsiteY249" fmla="*/ 89725 h 1218057"/>
                <a:gd name="connsiteX250" fmla="*/ 990029 w 1468659"/>
                <a:gd name="connsiteY250" fmla="*/ 82867 h 1218057"/>
                <a:gd name="connsiteX251" fmla="*/ 985266 w 1468659"/>
                <a:gd name="connsiteY251" fmla="*/ 83439 h 1218057"/>
                <a:gd name="connsiteX252" fmla="*/ 984313 w 1468659"/>
                <a:gd name="connsiteY252" fmla="*/ 88392 h 1218057"/>
                <a:gd name="connsiteX253" fmla="*/ 982789 w 1468659"/>
                <a:gd name="connsiteY253" fmla="*/ 88582 h 1218057"/>
                <a:gd name="connsiteX254" fmla="*/ 977646 w 1468659"/>
                <a:gd name="connsiteY254" fmla="*/ 86011 h 1218057"/>
                <a:gd name="connsiteX255" fmla="*/ 975074 w 1468659"/>
                <a:gd name="connsiteY255" fmla="*/ 91154 h 1218057"/>
                <a:gd name="connsiteX256" fmla="*/ 970121 w 1468659"/>
                <a:gd name="connsiteY256" fmla="*/ 90202 h 1218057"/>
                <a:gd name="connsiteX257" fmla="*/ 967740 w 1468659"/>
                <a:gd name="connsiteY257" fmla="*/ 84106 h 1218057"/>
                <a:gd name="connsiteX258" fmla="*/ 960596 w 1468659"/>
                <a:gd name="connsiteY258" fmla="*/ 78581 h 1218057"/>
                <a:gd name="connsiteX259" fmla="*/ 964978 w 1468659"/>
                <a:gd name="connsiteY259" fmla="*/ 74771 h 1218057"/>
                <a:gd name="connsiteX260" fmla="*/ 959834 w 1468659"/>
                <a:gd name="connsiteY260" fmla="*/ 72200 h 1218057"/>
                <a:gd name="connsiteX261" fmla="*/ 957834 w 1468659"/>
                <a:gd name="connsiteY261" fmla="*/ 69247 h 1218057"/>
                <a:gd name="connsiteX262" fmla="*/ 959263 w 1468659"/>
                <a:gd name="connsiteY262" fmla="*/ 67532 h 1218057"/>
                <a:gd name="connsiteX263" fmla="*/ 957453 w 1468659"/>
                <a:gd name="connsiteY263" fmla="*/ 66104 h 1218057"/>
                <a:gd name="connsiteX264" fmla="*/ 955643 w 1468659"/>
                <a:gd name="connsiteY264" fmla="*/ 64770 h 1218057"/>
                <a:gd name="connsiteX265" fmla="*/ 954214 w 1468659"/>
                <a:gd name="connsiteY265" fmla="*/ 53721 h 1218057"/>
                <a:gd name="connsiteX266" fmla="*/ 949928 w 1468659"/>
                <a:gd name="connsiteY266" fmla="*/ 57436 h 1218057"/>
                <a:gd name="connsiteX267" fmla="*/ 951071 w 1468659"/>
                <a:gd name="connsiteY267" fmla="*/ 54102 h 1218057"/>
                <a:gd name="connsiteX268" fmla="*/ 950690 w 1468659"/>
                <a:gd name="connsiteY268" fmla="*/ 50959 h 1218057"/>
                <a:gd name="connsiteX269" fmla="*/ 949071 w 1468659"/>
                <a:gd name="connsiteY269" fmla="*/ 51149 h 1218057"/>
                <a:gd name="connsiteX270" fmla="*/ 950500 w 1468659"/>
                <a:gd name="connsiteY270" fmla="*/ 49339 h 1218057"/>
                <a:gd name="connsiteX271" fmla="*/ 949928 w 1468659"/>
                <a:gd name="connsiteY271" fmla="*/ 44672 h 1218057"/>
                <a:gd name="connsiteX272" fmla="*/ 944975 w 1468659"/>
                <a:gd name="connsiteY272" fmla="*/ 43625 h 1218057"/>
                <a:gd name="connsiteX273" fmla="*/ 948118 w 1468659"/>
                <a:gd name="connsiteY273" fmla="*/ 43243 h 1218057"/>
                <a:gd name="connsiteX274" fmla="*/ 951262 w 1468659"/>
                <a:gd name="connsiteY274" fmla="*/ 42863 h 1218057"/>
                <a:gd name="connsiteX275" fmla="*/ 951071 w 1468659"/>
                <a:gd name="connsiteY275" fmla="*/ 41243 h 1218057"/>
                <a:gd name="connsiteX276" fmla="*/ 944309 w 1468659"/>
                <a:gd name="connsiteY276" fmla="*/ 38957 h 1218057"/>
                <a:gd name="connsiteX277" fmla="*/ 943927 w 1468659"/>
                <a:gd name="connsiteY277" fmla="*/ 35814 h 1218057"/>
                <a:gd name="connsiteX278" fmla="*/ 942975 w 1468659"/>
                <a:gd name="connsiteY278" fmla="*/ 40672 h 1218057"/>
                <a:gd name="connsiteX279" fmla="*/ 939832 w 1468659"/>
                <a:gd name="connsiteY279" fmla="*/ 41148 h 1218057"/>
                <a:gd name="connsiteX280" fmla="*/ 937831 w 1468659"/>
                <a:gd name="connsiteY280" fmla="*/ 38195 h 1218057"/>
                <a:gd name="connsiteX281" fmla="*/ 934879 w 1468659"/>
                <a:gd name="connsiteY281" fmla="*/ 40100 h 1218057"/>
                <a:gd name="connsiteX282" fmla="*/ 931355 w 1468659"/>
                <a:gd name="connsiteY282" fmla="*/ 50197 h 1218057"/>
                <a:gd name="connsiteX283" fmla="*/ 933164 w 1468659"/>
                <a:gd name="connsiteY283" fmla="*/ 51625 h 1218057"/>
                <a:gd name="connsiteX284" fmla="*/ 931735 w 1468659"/>
                <a:gd name="connsiteY284" fmla="*/ 53340 h 1218057"/>
                <a:gd name="connsiteX285" fmla="*/ 928402 w 1468659"/>
                <a:gd name="connsiteY285" fmla="*/ 52197 h 1218057"/>
                <a:gd name="connsiteX286" fmla="*/ 927830 w 1468659"/>
                <a:gd name="connsiteY286" fmla="*/ 47434 h 1218057"/>
                <a:gd name="connsiteX287" fmla="*/ 924020 w 1468659"/>
                <a:gd name="connsiteY287" fmla="*/ 43148 h 1218057"/>
                <a:gd name="connsiteX288" fmla="*/ 922496 w 1468659"/>
                <a:gd name="connsiteY288" fmla="*/ 43339 h 1218057"/>
                <a:gd name="connsiteX289" fmla="*/ 917353 w 1468659"/>
                <a:gd name="connsiteY289" fmla="*/ 40767 h 1218057"/>
                <a:gd name="connsiteX290" fmla="*/ 911543 w 1468659"/>
                <a:gd name="connsiteY290" fmla="*/ 33528 h 1218057"/>
                <a:gd name="connsiteX291" fmla="*/ 906971 w 1468659"/>
                <a:gd name="connsiteY291" fmla="*/ 22860 h 1218057"/>
                <a:gd name="connsiteX292" fmla="*/ 900684 w 1468659"/>
                <a:gd name="connsiteY292" fmla="*/ 23622 h 1218057"/>
                <a:gd name="connsiteX293" fmla="*/ 884110 w 1468659"/>
                <a:gd name="connsiteY293" fmla="*/ 19336 h 1218057"/>
                <a:gd name="connsiteX294" fmla="*/ 881729 w 1468659"/>
                <a:gd name="connsiteY294" fmla="*/ 13240 h 1218057"/>
                <a:gd name="connsiteX295" fmla="*/ 872395 w 1468659"/>
                <a:gd name="connsiteY295" fmla="*/ 3143 h 1218057"/>
                <a:gd name="connsiteX296" fmla="*/ 873823 w 1468659"/>
                <a:gd name="connsiteY296" fmla="*/ 1429 h 1218057"/>
                <a:gd name="connsiteX297" fmla="*/ 872014 w 1468659"/>
                <a:gd name="connsiteY297" fmla="*/ 0 h 1218057"/>
                <a:gd name="connsiteX298" fmla="*/ 871252 w 1468659"/>
                <a:gd name="connsiteY298" fmla="*/ 6572 h 1218057"/>
                <a:gd name="connsiteX299" fmla="*/ 870490 w 1468659"/>
                <a:gd name="connsiteY299" fmla="*/ 13049 h 1218057"/>
                <a:gd name="connsiteX300" fmla="*/ 862584 w 1468659"/>
                <a:gd name="connsiteY300" fmla="*/ 14097 h 1218057"/>
                <a:gd name="connsiteX301" fmla="*/ 862775 w 1468659"/>
                <a:gd name="connsiteY301" fmla="*/ 15621 h 1218057"/>
                <a:gd name="connsiteX302" fmla="*/ 859822 w 1468659"/>
                <a:gd name="connsiteY302" fmla="*/ 17621 h 1218057"/>
                <a:gd name="connsiteX303" fmla="*/ 860012 w 1468659"/>
                <a:gd name="connsiteY303" fmla="*/ 19240 h 1218057"/>
                <a:gd name="connsiteX304" fmla="*/ 858298 w 1468659"/>
                <a:gd name="connsiteY304" fmla="*/ 17812 h 1218057"/>
                <a:gd name="connsiteX305" fmla="*/ 855535 w 1468659"/>
                <a:gd name="connsiteY305" fmla="*/ 21336 h 1218057"/>
                <a:gd name="connsiteX306" fmla="*/ 855726 w 1468659"/>
                <a:gd name="connsiteY306" fmla="*/ 22955 h 1218057"/>
                <a:gd name="connsiteX307" fmla="*/ 858869 w 1468659"/>
                <a:gd name="connsiteY307" fmla="*/ 22574 h 1218057"/>
                <a:gd name="connsiteX308" fmla="*/ 858298 w 1468659"/>
                <a:gd name="connsiteY308" fmla="*/ 30671 h 1218057"/>
                <a:gd name="connsiteX309" fmla="*/ 846677 w 1468659"/>
                <a:gd name="connsiteY309" fmla="*/ 27337 h 1218057"/>
                <a:gd name="connsiteX310" fmla="*/ 847058 w 1468659"/>
                <a:gd name="connsiteY310" fmla="*/ 30480 h 1218057"/>
                <a:gd name="connsiteX311" fmla="*/ 848868 w 1468659"/>
                <a:gd name="connsiteY311" fmla="*/ 31813 h 1218057"/>
                <a:gd name="connsiteX312" fmla="*/ 844105 w 1468659"/>
                <a:gd name="connsiteY312" fmla="*/ 32480 h 1218057"/>
                <a:gd name="connsiteX313" fmla="*/ 845630 w 1468659"/>
                <a:gd name="connsiteY313" fmla="*/ 32290 h 1218057"/>
                <a:gd name="connsiteX314" fmla="*/ 847630 w 1468659"/>
                <a:gd name="connsiteY314" fmla="*/ 35242 h 1218057"/>
                <a:gd name="connsiteX315" fmla="*/ 846296 w 1468659"/>
                <a:gd name="connsiteY315" fmla="*/ 36957 h 1218057"/>
                <a:gd name="connsiteX316" fmla="*/ 849630 w 1468659"/>
                <a:gd name="connsiteY316" fmla="*/ 38195 h 1218057"/>
                <a:gd name="connsiteX317" fmla="*/ 847058 w 1468659"/>
                <a:gd name="connsiteY317" fmla="*/ 43339 h 1218057"/>
                <a:gd name="connsiteX318" fmla="*/ 848868 w 1468659"/>
                <a:gd name="connsiteY318" fmla="*/ 44672 h 1218057"/>
                <a:gd name="connsiteX319" fmla="*/ 845725 w 1468659"/>
                <a:gd name="connsiteY319" fmla="*/ 45053 h 1218057"/>
                <a:gd name="connsiteX320" fmla="*/ 844487 w 1468659"/>
                <a:gd name="connsiteY320" fmla="*/ 48482 h 1218057"/>
                <a:gd name="connsiteX321" fmla="*/ 842963 w 1468659"/>
                <a:gd name="connsiteY321" fmla="*/ 48673 h 1218057"/>
                <a:gd name="connsiteX322" fmla="*/ 842201 w 1468659"/>
                <a:gd name="connsiteY322" fmla="*/ 55150 h 1218057"/>
                <a:gd name="connsiteX323" fmla="*/ 840581 w 1468659"/>
                <a:gd name="connsiteY323" fmla="*/ 55340 h 1218057"/>
                <a:gd name="connsiteX324" fmla="*/ 839438 w 1468659"/>
                <a:gd name="connsiteY324" fmla="*/ 58674 h 1218057"/>
                <a:gd name="connsiteX325" fmla="*/ 840962 w 1468659"/>
                <a:gd name="connsiteY325" fmla="*/ 58483 h 1218057"/>
                <a:gd name="connsiteX326" fmla="*/ 841438 w 1468659"/>
                <a:gd name="connsiteY326" fmla="*/ 61627 h 1218057"/>
                <a:gd name="connsiteX327" fmla="*/ 846296 w 1468659"/>
                <a:gd name="connsiteY327" fmla="*/ 62675 h 1218057"/>
                <a:gd name="connsiteX328" fmla="*/ 844010 w 1468659"/>
                <a:gd name="connsiteY328" fmla="*/ 69342 h 1218057"/>
                <a:gd name="connsiteX329" fmla="*/ 846010 w 1468659"/>
                <a:gd name="connsiteY329" fmla="*/ 72295 h 1218057"/>
                <a:gd name="connsiteX330" fmla="*/ 848963 w 1468659"/>
                <a:gd name="connsiteY330" fmla="*/ 70294 h 1218057"/>
                <a:gd name="connsiteX331" fmla="*/ 849344 w 1468659"/>
                <a:gd name="connsiteY331" fmla="*/ 73533 h 1218057"/>
                <a:gd name="connsiteX332" fmla="*/ 847725 w 1468659"/>
                <a:gd name="connsiteY332" fmla="*/ 73723 h 1218057"/>
                <a:gd name="connsiteX333" fmla="*/ 852868 w 1468659"/>
                <a:gd name="connsiteY333" fmla="*/ 76200 h 1218057"/>
                <a:gd name="connsiteX334" fmla="*/ 853250 w 1468659"/>
                <a:gd name="connsiteY334" fmla="*/ 79438 h 1218057"/>
                <a:gd name="connsiteX335" fmla="*/ 848773 w 1468659"/>
                <a:gd name="connsiteY335" fmla="*/ 81534 h 1218057"/>
                <a:gd name="connsiteX336" fmla="*/ 853440 w 1468659"/>
                <a:gd name="connsiteY336" fmla="*/ 80963 h 1218057"/>
                <a:gd name="connsiteX337" fmla="*/ 852106 w 1468659"/>
                <a:gd name="connsiteY337" fmla="*/ 82772 h 1218057"/>
                <a:gd name="connsiteX338" fmla="*/ 847534 w 1468659"/>
                <a:gd name="connsiteY338" fmla="*/ 84963 h 1218057"/>
                <a:gd name="connsiteX339" fmla="*/ 844201 w 1468659"/>
                <a:gd name="connsiteY339" fmla="*/ 83725 h 1218057"/>
                <a:gd name="connsiteX340" fmla="*/ 842867 w 1468659"/>
                <a:gd name="connsiteY340" fmla="*/ 85534 h 1218057"/>
                <a:gd name="connsiteX341" fmla="*/ 843058 w 1468659"/>
                <a:gd name="connsiteY341" fmla="*/ 87154 h 1218057"/>
                <a:gd name="connsiteX342" fmla="*/ 835343 w 1468659"/>
                <a:gd name="connsiteY342" fmla="*/ 89725 h 1218057"/>
                <a:gd name="connsiteX343" fmla="*/ 835533 w 1468659"/>
                <a:gd name="connsiteY343" fmla="*/ 91250 h 1218057"/>
                <a:gd name="connsiteX344" fmla="*/ 832390 w 1468659"/>
                <a:gd name="connsiteY344" fmla="*/ 91726 h 1218057"/>
                <a:gd name="connsiteX345" fmla="*/ 832009 w 1468659"/>
                <a:gd name="connsiteY345" fmla="*/ 88487 h 1218057"/>
                <a:gd name="connsiteX346" fmla="*/ 825722 w 1468659"/>
                <a:gd name="connsiteY346" fmla="*/ 89344 h 1218057"/>
                <a:gd name="connsiteX347" fmla="*/ 822293 w 1468659"/>
                <a:gd name="connsiteY347" fmla="*/ 88106 h 1218057"/>
                <a:gd name="connsiteX348" fmla="*/ 820960 w 1468659"/>
                <a:gd name="connsiteY348" fmla="*/ 89916 h 1218057"/>
                <a:gd name="connsiteX349" fmla="*/ 821341 w 1468659"/>
                <a:gd name="connsiteY349" fmla="*/ 93059 h 1218057"/>
                <a:gd name="connsiteX350" fmla="*/ 816578 w 1468659"/>
                <a:gd name="connsiteY350" fmla="*/ 93726 h 1218057"/>
                <a:gd name="connsiteX351" fmla="*/ 815054 w 1468659"/>
                <a:gd name="connsiteY351" fmla="*/ 93917 h 1218057"/>
                <a:gd name="connsiteX352" fmla="*/ 814102 w 1468659"/>
                <a:gd name="connsiteY352" fmla="*/ 98869 h 1218057"/>
                <a:gd name="connsiteX353" fmla="*/ 806958 w 1468659"/>
                <a:gd name="connsiteY353" fmla="*/ 106108 h 1218057"/>
                <a:gd name="connsiteX354" fmla="*/ 803624 w 1468659"/>
                <a:gd name="connsiteY354" fmla="*/ 104965 h 1218057"/>
                <a:gd name="connsiteX355" fmla="*/ 802481 w 1468659"/>
                <a:gd name="connsiteY355" fmla="*/ 108299 h 1218057"/>
                <a:gd name="connsiteX356" fmla="*/ 797528 w 1468659"/>
                <a:gd name="connsiteY356" fmla="*/ 107347 h 1218057"/>
                <a:gd name="connsiteX357" fmla="*/ 794766 w 1468659"/>
                <a:gd name="connsiteY357" fmla="*/ 110871 h 1218057"/>
                <a:gd name="connsiteX358" fmla="*/ 795147 w 1468659"/>
                <a:gd name="connsiteY358" fmla="*/ 114109 h 1218057"/>
                <a:gd name="connsiteX359" fmla="*/ 790384 w 1468659"/>
                <a:gd name="connsiteY359" fmla="*/ 114681 h 1218057"/>
                <a:gd name="connsiteX360" fmla="*/ 796195 w 1468659"/>
                <a:gd name="connsiteY360" fmla="*/ 121920 h 1218057"/>
                <a:gd name="connsiteX361" fmla="*/ 793433 w 1468659"/>
                <a:gd name="connsiteY361" fmla="*/ 125539 h 1218057"/>
                <a:gd name="connsiteX362" fmla="*/ 792671 w 1468659"/>
                <a:gd name="connsiteY362" fmla="*/ 132017 h 1218057"/>
                <a:gd name="connsiteX363" fmla="*/ 791242 w 1468659"/>
                <a:gd name="connsiteY363" fmla="*/ 133826 h 1218057"/>
                <a:gd name="connsiteX364" fmla="*/ 784765 w 1468659"/>
                <a:gd name="connsiteY364" fmla="*/ 133064 h 1218057"/>
                <a:gd name="connsiteX365" fmla="*/ 782764 w 1468659"/>
                <a:gd name="connsiteY365" fmla="*/ 130111 h 1218057"/>
                <a:gd name="connsiteX366" fmla="*/ 783908 w 1468659"/>
                <a:gd name="connsiteY366" fmla="*/ 126682 h 1218057"/>
                <a:gd name="connsiteX367" fmla="*/ 781145 w 1468659"/>
                <a:gd name="connsiteY367" fmla="*/ 117443 h 1218057"/>
                <a:gd name="connsiteX368" fmla="*/ 776192 w 1468659"/>
                <a:gd name="connsiteY368" fmla="*/ 116491 h 1218057"/>
                <a:gd name="connsiteX369" fmla="*/ 762572 w 1468659"/>
                <a:gd name="connsiteY369" fmla="*/ 110204 h 1218057"/>
                <a:gd name="connsiteX370" fmla="*/ 748760 w 1468659"/>
                <a:gd name="connsiteY370" fmla="*/ 115157 h 1218057"/>
                <a:gd name="connsiteX371" fmla="*/ 745617 w 1468659"/>
                <a:gd name="connsiteY371" fmla="*/ 115538 h 1218057"/>
                <a:gd name="connsiteX372" fmla="*/ 743426 w 1468659"/>
                <a:gd name="connsiteY372" fmla="*/ 111061 h 1218057"/>
                <a:gd name="connsiteX373" fmla="*/ 738759 w 1468659"/>
                <a:gd name="connsiteY373" fmla="*/ 111633 h 1218057"/>
                <a:gd name="connsiteX374" fmla="*/ 738283 w 1468659"/>
                <a:gd name="connsiteY374" fmla="*/ 108490 h 1218057"/>
                <a:gd name="connsiteX375" fmla="*/ 741235 w 1468659"/>
                <a:gd name="connsiteY375" fmla="*/ 106489 h 1218057"/>
                <a:gd name="connsiteX376" fmla="*/ 744379 w 1468659"/>
                <a:gd name="connsiteY376" fmla="*/ 106108 h 1218057"/>
                <a:gd name="connsiteX377" fmla="*/ 745426 w 1468659"/>
                <a:gd name="connsiteY377" fmla="*/ 101155 h 1218057"/>
                <a:gd name="connsiteX378" fmla="*/ 748189 w 1468659"/>
                <a:gd name="connsiteY378" fmla="*/ 97631 h 1218057"/>
                <a:gd name="connsiteX379" fmla="*/ 748760 w 1468659"/>
                <a:gd name="connsiteY379" fmla="*/ 89535 h 1218057"/>
                <a:gd name="connsiteX380" fmla="*/ 748284 w 1468659"/>
                <a:gd name="connsiteY380" fmla="*/ 86392 h 1218057"/>
                <a:gd name="connsiteX381" fmla="*/ 746760 w 1468659"/>
                <a:gd name="connsiteY381" fmla="*/ 86582 h 1218057"/>
                <a:gd name="connsiteX382" fmla="*/ 745331 w 1468659"/>
                <a:gd name="connsiteY382" fmla="*/ 88297 h 1218057"/>
                <a:gd name="connsiteX383" fmla="*/ 744379 w 1468659"/>
                <a:gd name="connsiteY383" fmla="*/ 93250 h 1218057"/>
                <a:gd name="connsiteX384" fmla="*/ 741426 w 1468659"/>
                <a:gd name="connsiteY384" fmla="*/ 95250 h 1218057"/>
                <a:gd name="connsiteX385" fmla="*/ 736473 w 1468659"/>
                <a:gd name="connsiteY385" fmla="*/ 94297 h 1218057"/>
                <a:gd name="connsiteX386" fmla="*/ 736949 w 1468659"/>
                <a:gd name="connsiteY386" fmla="*/ 97441 h 1218057"/>
                <a:gd name="connsiteX387" fmla="*/ 733711 w 1468659"/>
                <a:gd name="connsiteY387" fmla="*/ 97822 h 1218057"/>
                <a:gd name="connsiteX388" fmla="*/ 734568 w 1468659"/>
                <a:gd name="connsiteY388" fmla="*/ 91345 h 1218057"/>
                <a:gd name="connsiteX389" fmla="*/ 729425 w 1468659"/>
                <a:gd name="connsiteY389" fmla="*/ 101632 h 1218057"/>
                <a:gd name="connsiteX390" fmla="*/ 724472 w 1468659"/>
                <a:gd name="connsiteY390" fmla="*/ 100584 h 1218057"/>
                <a:gd name="connsiteX391" fmla="*/ 725900 w 1468659"/>
                <a:gd name="connsiteY391" fmla="*/ 98869 h 1218057"/>
                <a:gd name="connsiteX392" fmla="*/ 724281 w 1468659"/>
                <a:gd name="connsiteY392" fmla="*/ 99060 h 1218057"/>
                <a:gd name="connsiteX393" fmla="*/ 722947 w 1468659"/>
                <a:gd name="connsiteY393" fmla="*/ 100775 h 1218057"/>
                <a:gd name="connsiteX394" fmla="*/ 720947 w 1468659"/>
                <a:gd name="connsiteY394" fmla="*/ 97822 h 1218057"/>
                <a:gd name="connsiteX395" fmla="*/ 719518 w 1468659"/>
                <a:gd name="connsiteY395" fmla="*/ 99631 h 1218057"/>
                <a:gd name="connsiteX396" fmla="*/ 717804 w 1468659"/>
                <a:gd name="connsiteY396" fmla="*/ 98298 h 1218057"/>
                <a:gd name="connsiteX397" fmla="*/ 712851 w 1468659"/>
                <a:gd name="connsiteY397" fmla="*/ 97250 h 1218057"/>
                <a:gd name="connsiteX398" fmla="*/ 710851 w 1468659"/>
                <a:gd name="connsiteY398" fmla="*/ 94297 h 1218057"/>
                <a:gd name="connsiteX399" fmla="*/ 707898 w 1468659"/>
                <a:gd name="connsiteY399" fmla="*/ 96298 h 1218057"/>
                <a:gd name="connsiteX400" fmla="*/ 705136 w 1468659"/>
                <a:gd name="connsiteY400" fmla="*/ 99917 h 1218057"/>
                <a:gd name="connsiteX401" fmla="*/ 702945 w 1468659"/>
                <a:gd name="connsiteY401" fmla="*/ 95345 h 1218057"/>
                <a:gd name="connsiteX402" fmla="*/ 701612 w 1468659"/>
                <a:gd name="connsiteY402" fmla="*/ 97155 h 1218057"/>
                <a:gd name="connsiteX403" fmla="*/ 701135 w 1468659"/>
                <a:gd name="connsiteY403" fmla="*/ 94012 h 1218057"/>
                <a:gd name="connsiteX404" fmla="*/ 696659 w 1468659"/>
                <a:gd name="connsiteY404" fmla="*/ 96107 h 1218057"/>
                <a:gd name="connsiteX405" fmla="*/ 696468 w 1468659"/>
                <a:gd name="connsiteY405" fmla="*/ 94583 h 1218057"/>
                <a:gd name="connsiteX406" fmla="*/ 693134 w 1468659"/>
                <a:gd name="connsiteY406" fmla="*/ 93440 h 1218057"/>
                <a:gd name="connsiteX407" fmla="*/ 695420 w 1468659"/>
                <a:gd name="connsiteY407" fmla="*/ 86677 h 1218057"/>
                <a:gd name="connsiteX408" fmla="*/ 693706 w 1468659"/>
                <a:gd name="connsiteY408" fmla="*/ 85344 h 1218057"/>
                <a:gd name="connsiteX409" fmla="*/ 688943 w 1468659"/>
                <a:gd name="connsiteY409" fmla="*/ 85915 h 1218057"/>
                <a:gd name="connsiteX410" fmla="*/ 686181 w 1468659"/>
                <a:gd name="connsiteY410" fmla="*/ 89440 h 1218057"/>
                <a:gd name="connsiteX411" fmla="*/ 681228 w 1468659"/>
                <a:gd name="connsiteY411" fmla="*/ 88487 h 1218057"/>
                <a:gd name="connsiteX412" fmla="*/ 672560 w 1468659"/>
                <a:gd name="connsiteY412" fmla="*/ 83153 h 1218057"/>
                <a:gd name="connsiteX413" fmla="*/ 667798 w 1468659"/>
                <a:gd name="connsiteY413" fmla="*/ 83820 h 1218057"/>
                <a:gd name="connsiteX414" fmla="*/ 669608 w 1468659"/>
                <a:gd name="connsiteY414" fmla="*/ 85154 h 1218057"/>
                <a:gd name="connsiteX415" fmla="*/ 667226 w 1468659"/>
                <a:gd name="connsiteY415" fmla="*/ 91916 h 1218057"/>
                <a:gd name="connsiteX416" fmla="*/ 661130 w 1468659"/>
                <a:gd name="connsiteY416" fmla="*/ 94297 h 1218057"/>
                <a:gd name="connsiteX417" fmla="*/ 663130 w 1468659"/>
                <a:gd name="connsiteY417" fmla="*/ 97250 h 1218057"/>
                <a:gd name="connsiteX418" fmla="*/ 666274 w 1468659"/>
                <a:gd name="connsiteY418" fmla="*/ 96774 h 1218057"/>
                <a:gd name="connsiteX419" fmla="*/ 664845 w 1468659"/>
                <a:gd name="connsiteY419" fmla="*/ 98584 h 1218057"/>
                <a:gd name="connsiteX420" fmla="*/ 663321 w 1468659"/>
                <a:gd name="connsiteY420" fmla="*/ 98774 h 1218057"/>
                <a:gd name="connsiteX421" fmla="*/ 659511 w 1468659"/>
                <a:gd name="connsiteY421" fmla="*/ 94488 h 1218057"/>
                <a:gd name="connsiteX422" fmla="*/ 658368 w 1468659"/>
                <a:gd name="connsiteY422" fmla="*/ 97822 h 1218057"/>
                <a:gd name="connsiteX423" fmla="*/ 654844 w 1468659"/>
                <a:gd name="connsiteY423" fmla="*/ 95059 h 1218057"/>
                <a:gd name="connsiteX424" fmla="*/ 654368 w 1468659"/>
                <a:gd name="connsiteY424" fmla="*/ 91916 h 1218057"/>
                <a:gd name="connsiteX425" fmla="*/ 652843 w 1468659"/>
                <a:gd name="connsiteY425" fmla="*/ 92107 h 1218057"/>
                <a:gd name="connsiteX426" fmla="*/ 650653 w 1468659"/>
                <a:gd name="connsiteY426" fmla="*/ 87535 h 1218057"/>
                <a:gd name="connsiteX427" fmla="*/ 645890 w 1468659"/>
                <a:gd name="connsiteY427" fmla="*/ 88201 h 1218057"/>
                <a:gd name="connsiteX428" fmla="*/ 644938 w 1468659"/>
                <a:gd name="connsiteY428" fmla="*/ 80296 h 1218057"/>
                <a:gd name="connsiteX429" fmla="*/ 638556 w 1468659"/>
                <a:gd name="connsiteY429" fmla="*/ 81058 h 1218057"/>
                <a:gd name="connsiteX430" fmla="*/ 637413 w 1468659"/>
                <a:gd name="connsiteY430" fmla="*/ 84487 h 1218057"/>
                <a:gd name="connsiteX431" fmla="*/ 634270 w 1468659"/>
                <a:gd name="connsiteY431" fmla="*/ 84868 h 1218057"/>
                <a:gd name="connsiteX432" fmla="*/ 626173 w 1468659"/>
                <a:gd name="connsiteY432" fmla="*/ 71438 h 1218057"/>
                <a:gd name="connsiteX433" fmla="*/ 623030 w 1468659"/>
                <a:gd name="connsiteY433" fmla="*/ 71818 h 1218057"/>
                <a:gd name="connsiteX434" fmla="*/ 619220 w 1468659"/>
                <a:gd name="connsiteY434" fmla="*/ 67532 h 1218057"/>
                <a:gd name="connsiteX435" fmla="*/ 621601 w 1468659"/>
                <a:gd name="connsiteY435" fmla="*/ 73628 h 1218057"/>
                <a:gd name="connsiteX436" fmla="*/ 620077 w 1468659"/>
                <a:gd name="connsiteY436" fmla="*/ 73819 h 1218057"/>
                <a:gd name="connsiteX437" fmla="*/ 616458 w 1468659"/>
                <a:gd name="connsiteY437" fmla="*/ 71056 h 1218057"/>
                <a:gd name="connsiteX438" fmla="*/ 615125 w 1468659"/>
                <a:gd name="connsiteY438" fmla="*/ 72866 h 1218057"/>
                <a:gd name="connsiteX439" fmla="*/ 616648 w 1468659"/>
                <a:gd name="connsiteY439" fmla="*/ 72676 h 1218057"/>
                <a:gd name="connsiteX440" fmla="*/ 621030 w 1468659"/>
                <a:gd name="connsiteY440" fmla="*/ 81725 h 1218057"/>
                <a:gd name="connsiteX441" fmla="*/ 619697 w 1468659"/>
                <a:gd name="connsiteY441" fmla="*/ 83534 h 1218057"/>
                <a:gd name="connsiteX442" fmla="*/ 621411 w 1468659"/>
                <a:gd name="connsiteY442" fmla="*/ 84868 h 1218057"/>
                <a:gd name="connsiteX443" fmla="*/ 618649 w 1468659"/>
                <a:gd name="connsiteY443" fmla="*/ 88487 h 1218057"/>
                <a:gd name="connsiteX444" fmla="*/ 620649 w 1468659"/>
                <a:gd name="connsiteY444" fmla="*/ 91440 h 1218057"/>
                <a:gd name="connsiteX445" fmla="*/ 625412 w 1468659"/>
                <a:gd name="connsiteY445" fmla="*/ 90773 h 1218057"/>
                <a:gd name="connsiteX446" fmla="*/ 623983 w 1468659"/>
                <a:gd name="connsiteY446" fmla="*/ 92583 h 1218057"/>
                <a:gd name="connsiteX447" fmla="*/ 620649 w 1468659"/>
                <a:gd name="connsiteY447" fmla="*/ 91440 h 1218057"/>
                <a:gd name="connsiteX448" fmla="*/ 621030 w 1468659"/>
                <a:gd name="connsiteY448" fmla="*/ 94583 h 1218057"/>
                <a:gd name="connsiteX449" fmla="*/ 619506 w 1468659"/>
                <a:gd name="connsiteY449" fmla="*/ 94774 h 1218057"/>
                <a:gd name="connsiteX450" fmla="*/ 616934 w 1468659"/>
                <a:gd name="connsiteY450" fmla="*/ 87058 h 1218057"/>
                <a:gd name="connsiteX451" fmla="*/ 613791 w 1468659"/>
                <a:gd name="connsiteY451" fmla="*/ 87439 h 1218057"/>
                <a:gd name="connsiteX452" fmla="*/ 610172 w 1468659"/>
                <a:gd name="connsiteY452" fmla="*/ 84677 h 1218057"/>
                <a:gd name="connsiteX453" fmla="*/ 605504 w 1468659"/>
                <a:gd name="connsiteY453" fmla="*/ 85344 h 1218057"/>
                <a:gd name="connsiteX454" fmla="*/ 604266 w 1468659"/>
                <a:gd name="connsiteY454" fmla="*/ 88678 h 1218057"/>
                <a:gd name="connsiteX455" fmla="*/ 600932 w 1468659"/>
                <a:gd name="connsiteY455" fmla="*/ 87535 h 1218057"/>
                <a:gd name="connsiteX456" fmla="*/ 601123 w 1468659"/>
                <a:gd name="connsiteY456" fmla="*/ 89059 h 1218057"/>
                <a:gd name="connsiteX457" fmla="*/ 599504 w 1468659"/>
                <a:gd name="connsiteY457" fmla="*/ 89249 h 1218057"/>
                <a:gd name="connsiteX458" fmla="*/ 601504 w 1468659"/>
                <a:gd name="connsiteY458" fmla="*/ 92202 h 1218057"/>
                <a:gd name="connsiteX459" fmla="*/ 599980 w 1468659"/>
                <a:gd name="connsiteY459" fmla="*/ 92392 h 1218057"/>
                <a:gd name="connsiteX460" fmla="*/ 600170 w 1468659"/>
                <a:gd name="connsiteY460" fmla="*/ 94012 h 1218057"/>
                <a:gd name="connsiteX461" fmla="*/ 598360 w 1468659"/>
                <a:gd name="connsiteY461" fmla="*/ 92678 h 1218057"/>
                <a:gd name="connsiteX462" fmla="*/ 598551 w 1468659"/>
                <a:gd name="connsiteY462" fmla="*/ 94202 h 1218057"/>
                <a:gd name="connsiteX463" fmla="*/ 597218 w 1468659"/>
                <a:gd name="connsiteY463" fmla="*/ 96012 h 1218057"/>
                <a:gd name="connsiteX464" fmla="*/ 595217 w 1468659"/>
                <a:gd name="connsiteY464" fmla="*/ 93059 h 1218057"/>
                <a:gd name="connsiteX465" fmla="*/ 593884 w 1468659"/>
                <a:gd name="connsiteY465" fmla="*/ 94774 h 1218057"/>
                <a:gd name="connsiteX466" fmla="*/ 591502 w 1468659"/>
                <a:gd name="connsiteY466" fmla="*/ 101536 h 1218057"/>
                <a:gd name="connsiteX467" fmla="*/ 589883 w 1468659"/>
                <a:gd name="connsiteY467" fmla="*/ 101727 h 1218057"/>
                <a:gd name="connsiteX468" fmla="*/ 591122 w 1468659"/>
                <a:gd name="connsiteY468" fmla="*/ 98393 h 1218057"/>
                <a:gd name="connsiteX469" fmla="*/ 587693 w 1468659"/>
                <a:gd name="connsiteY469" fmla="*/ 97155 h 1218057"/>
                <a:gd name="connsiteX470" fmla="*/ 584930 w 1468659"/>
                <a:gd name="connsiteY470" fmla="*/ 100775 h 1218057"/>
                <a:gd name="connsiteX471" fmla="*/ 583978 w 1468659"/>
                <a:gd name="connsiteY471" fmla="*/ 105727 h 1218057"/>
                <a:gd name="connsiteX472" fmla="*/ 582454 w 1468659"/>
                <a:gd name="connsiteY472" fmla="*/ 105918 h 1218057"/>
                <a:gd name="connsiteX473" fmla="*/ 581787 w 1468659"/>
                <a:gd name="connsiteY473" fmla="*/ 101155 h 1218057"/>
                <a:gd name="connsiteX474" fmla="*/ 578644 w 1468659"/>
                <a:gd name="connsiteY474" fmla="*/ 101536 h 1218057"/>
                <a:gd name="connsiteX475" fmla="*/ 578263 w 1468659"/>
                <a:gd name="connsiteY475" fmla="*/ 98393 h 1218057"/>
                <a:gd name="connsiteX476" fmla="*/ 574929 w 1468659"/>
                <a:gd name="connsiteY476" fmla="*/ 97250 h 1218057"/>
                <a:gd name="connsiteX477" fmla="*/ 567595 w 1468659"/>
                <a:gd name="connsiteY477" fmla="*/ 102965 h 1218057"/>
                <a:gd name="connsiteX478" fmla="*/ 564261 w 1468659"/>
                <a:gd name="connsiteY478" fmla="*/ 101822 h 1218057"/>
                <a:gd name="connsiteX479" fmla="*/ 562451 w 1468659"/>
                <a:gd name="connsiteY479" fmla="*/ 100393 h 1218057"/>
                <a:gd name="connsiteX480" fmla="*/ 565595 w 1468659"/>
                <a:gd name="connsiteY480" fmla="*/ 100013 h 1218057"/>
                <a:gd name="connsiteX481" fmla="*/ 567023 w 1468659"/>
                <a:gd name="connsiteY481" fmla="*/ 98203 h 1218057"/>
                <a:gd name="connsiteX482" fmla="*/ 564833 w 1468659"/>
                <a:gd name="connsiteY482" fmla="*/ 93726 h 1218057"/>
                <a:gd name="connsiteX483" fmla="*/ 567595 w 1468659"/>
                <a:gd name="connsiteY483" fmla="*/ 90106 h 1218057"/>
                <a:gd name="connsiteX484" fmla="*/ 567214 w 1468659"/>
                <a:gd name="connsiteY484" fmla="*/ 86963 h 1218057"/>
                <a:gd name="connsiteX485" fmla="*/ 564071 w 1468659"/>
                <a:gd name="connsiteY485" fmla="*/ 87344 h 1218057"/>
                <a:gd name="connsiteX486" fmla="*/ 562261 w 1468659"/>
                <a:gd name="connsiteY486" fmla="*/ 86011 h 1218057"/>
                <a:gd name="connsiteX487" fmla="*/ 560451 w 1468659"/>
                <a:gd name="connsiteY487" fmla="*/ 84677 h 1218057"/>
                <a:gd name="connsiteX488" fmla="*/ 560451 w 1468659"/>
                <a:gd name="connsiteY488" fmla="*/ 84677 h 1218057"/>
                <a:gd name="connsiteX489" fmla="*/ 558260 w 1468659"/>
                <a:gd name="connsiteY489" fmla="*/ 80105 h 1218057"/>
                <a:gd name="connsiteX490" fmla="*/ 556927 w 1468659"/>
                <a:gd name="connsiteY490" fmla="*/ 81915 h 1218057"/>
                <a:gd name="connsiteX491" fmla="*/ 549783 w 1468659"/>
                <a:gd name="connsiteY491" fmla="*/ 76390 h 1218057"/>
                <a:gd name="connsiteX492" fmla="*/ 544068 w 1468659"/>
                <a:gd name="connsiteY492" fmla="*/ 81915 h 1218057"/>
                <a:gd name="connsiteX493" fmla="*/ 541877 w 1468659"/>
                <a:gd name="connsiteY493" fmla="*/ 77343 h 1218057"/>
                <a:gd name="connsiteX494" fmla="*/ 540544 w 1468659"/>
                <a:gd name="connsiteY494" fmla="*/ 79153 h 1218057"/>
                <a:gd name="connsiteX495" fmla="*/ 540353 w 1468659"/>
                <a:gd name="connsiteY495" fmla="*/ 77629 h 1218057"/>
                <a:gd name="connsiteX496" fmla="*/ 538543 w 1468659"/>
                <a:gd name="connsiteY496" fmla="*/ 76200 h 1218057"/>
                <a:gd name="connsiteX497" fmla="*/ 539115 w 1468659"/>
                <a:gd name="connsiteY497" fmla="*/ 68104 h 1218057"/>
                <a:gd name="connsiteX498" fmla="*/ 540448 w 1468659"/>
                <a:gd name="connsiteY498" fmla="*/ 66294 h 1218057"/>
                <a:gd name="connsiteX499" fmla="*/ 535114 w 1468659"/>
                <a:gd name="connsiteY499" fmla="*/ 62198 h 1218057"/>
                <a:gd name="connsiteX500" fmla="*/ 528638 w 1468659"/>
                <a:gd name="connsiteY500" fmla="*/ 61436 h 1218057"/>
                <a:gd name="connsiteX501" fmla="*/ 528256 w 1468659"/>
                <a:gd name="connsiteY501" fmla="*/ 58293 h 1218057"/>
                <a:gd name="connsiteX502" fmla="*/ 523684 w 1468659"/>
                <a:gd name="connsiteY502" fmla="*/ 60484 h 1218057"/>
                <a:gd name="connsiteX503" fmla="*/ 521303 w 1468659"/>
                <a:gd name="connsiteY503" fmla="*/ 54292 h 1218057"/>
                <a:gd name="connsiteX504" fmla="*/ 515588 w 1468659"/>
                <a:gd name="connsiteY504" fmla="*/ 59912 h 1218057"/>
                <a:gd name="connsiteX505" fmla="*/ 512445 w 1468659"/>
                <a:gd name="connsiteY505" fmla="*/ 60293 h 1218057"/>
                <a:gd name="connsiteX506" fmla="*/ 501587 w 1468659"/>
                <a:gd name="connsiteY506" fmla="*/ 63246 h 1218057"/>
                <a:gd name="connsiteX507" fmla="*/ 499396 w 1468659"/>
                <a:gd name="connsiteY507" fmla="*/ 58769 h 1218057"/>
                <a:gd name="connsiteX508" fmla="*/ 496634 w 1468659"/>
                <a:gd name="connsiteY508" fmla="*/ 62293 h 1218057"/>
                <a:gd name="connsiteX509" fmla="*/ 493490 w 1468659"/>
                <a:gd name="connsiteY509" fmla="*/ 62675 h 1218057"/>
                <a:gd name="connsiteX510" fmla="*/ 492157 w 1468659"/>
                <a:gd name="connsiteY510" fmla="*/ 64484 h 1218057"/>
                <a:gd name="connsiteX511" fmla="*/ 492538 w 1468659"/>
                <a:gd name="connsiteY511" fmla="*/ 67627 h 1218057"/>
                <a:gd name="connsiteX512" fmla="*/ 493585 w 1468659"/>
                <a:gd name="connsiteY512" fmla="*/ 75533 h 1218057"/>
                <a:gd name="connsiteX513" fmla="*/ 489013 w 1468659"/>
                <a:gd name="connsiteY513" fmla="*/ 77724 h 1218057"/>
                <a:gd name="connsiteX514" fmla="*/ 489395 w 1468659"/>
                <a:gd name="connsiteY514" fmla="*/ 80867 h 1218057"/>
                <a:gd name="connsiteX515" fmla="*/ 485108 w 1468659"/>
                <a:gd name="connsiteY515" fmla="*/ 84582 h 1218057"/>
                <a:gd name="connsiteX516" fmla="*/ 481965 w 1468659"/>
                <a:gd name="connsiteY516" fmla="*/ 85058 h 1218057"/>
                <a:gd name="connsiteX517" fmla="*/ 482346 w 1468659"/>
                <a:gd name="connsiteY517" fmla="*/ 88201 h 1218057"/>
                <a:gd name="connsiteX518" fmla="*/ 485299 w 1468659"/>
                <a:gd name="connsiteY518" fmla="*/ 86201 h 1218057"/>
                <a:gd name="connsiteX519" fmla="*/ 479584 w 1468659"/>
                <a:gd name="connsiteY519" fmla="*/ 91726 h 1218057"/>
                <a:gd name="connsiteX520" fmla="*/ 480155 w 1468659"/>
                <a:gd name="connsiteY520" fmla="*/ 96488 h 1218057"/>
                <a:gd name="connsiteX521" fmla="*/ 475297 w 1468659"/>
                <a:gd name="connsiteY521" fmla="*/ 95536 h 1218057"/>
                <a:gd name="connsiteX522" fmla="*/ 474821 w 1468659"/>
                <a:gd name="connsiteY522" fmla="*/ 92297 h 1218057"/>
                <a:gd name="connsiteX523" fmla="*/ 477774 w 1468659"/>
                <a:gd name="connsiteY523" fmla="*/ 90392 h 1218057"/>
                <a:gd name="connsiteX524" fmla="*/ 476059 w 1468659"/>
                <a:gd name="connsiteY524" fmla="*/ 88963 h 1218057"/>
                <a:gd name="connsiteX525" fmla="*/ 469868 w 1468659"/>
                <a:gd name="connsiteY525" fmla="*/ 91345 h 1218057"/>
                <a:gd name="connsiteX526" fmla="*/ 462058 w 1468659"/>
                <a:gd name="connsiteY526" fmla="*/ 92392 h 1218057"/>
                <a:gd name="connsiteX527" fmla="*/ 459105 w 1468659"/>
                <a:gd name="connsiteY527" fmla="*/ 94393 h 1218057"/>
                <a:gd name="connsiteX528" fmla="*/ 455676 w 1468659"/>
                <a:gd name="connsiteY528" fmla="*/ 93154 h 1218057"/>
                <a:gd name="connsiteX529" fmla="*/ 450818 w 1468659"/>
                <a:gd name="connsiteY529" fmla="*/ 92202 h 1218057"/>
                <a:gd name="connsiteX530" fmla="*/ 444437 w 1468659"/>
                <a:gd name="connsiteY530" fmla="*/ 92964 h 1218057"/>
                <a:gd name="connsiteX531" fmla="*/ 441293 w 1468659"/>
                <a:gd name="connsiteY531" fmla="*/ 93440 h 1218057"/>
                <a:gd name="connsiteX532" fmla="*/ 440150 w 1468659"/>
                <a:gd name="connsiteY532" fmla="*/ 96774 h 1218057"/>
                <a:gd name="connsiteX533" fmla="*/ 433006 w 1468659"/>
                <a:gd name="connsiteY533" fmla="*/ 91250 h 1218057"/>
                <a:gd name="connsiteX534" fmla="*/ 428244 w 1468659"/>
                <a:gd name="connsiteY534" fmla="*/ 91821 h 1218057"/>
                <a:gd name="connsiteX535" fmla="*/ 419957 w 1468659"/>
                <a:gd name="connsiteY535" fmla="*/ 89725 h 1218057"/>
                <a:gd name="connsiteX536" fmla="*/ 421196 w 1468659"/>
                <a:gd name="connsiteY536" fmla="*/ 99155 h 1218057"/>
                <a:gd name="connsiteX537" fmla="*/ 416052 w 1468659"/>
                <a:gd name="connsiteY537" fmla="*/ 96583 h 1218057"/>
                <a:gd name="connsiteX538" fmla="*/ 411480 w 1468659"/>
                <a:gd name="connsiteY538" fmla="*/ 98774 h 1218057"/>
                <a:gd name="connsiteX539" fmla="*/ 409766 w 1468659"/>
                <a:gd name="connsiteY539" fmla="*/ 97441 h 1218057"/>
                <a:gd name="connsiteX540" fmla="*/ 409384 w 1468659"/>
                <a:gd name="connsiteY540" fmla="*/ 94297 h 1218057"/>
                <a:gd name="connsiteX541" fmla="*/ 410527 w 1468659"/>
                <a:gd name="connsiteY541" fmla="*/ 90868 h 1218057"/>
                <a:gd name="connsiteX542" fmla="*/ 408527 w 1468659"/>
                <a:gd name="connsiteY542" fmla="*/ 87916 h 1218057"/>
                <a:gd name="connsiteX543" fmla="*/ 405384 w 1468659"/>
                <a:gd name="connsiteY543" fmla="*/ 88392 h 1218057"/>
                <a:gd name="connsiteX544" fmla="*/ 406146 w 1468659"/>
                <a:gd name="connsiteY544" fmla="*/ 94679 h 1218057"/>
                <a:gd name="connsiteX545" fmla="*/ 405003 w 1468659"/>
                <a:gd name="connsiteY545" fmla="*/ 98012 h 1218057"/>
                <a:gd name="connsiteX546" fmla="*/ 398526 w 1468659"/>
                <a:gd name="connsiteY546" fmla="*/ 97250 h 1218057"/>
                <a:gd name="connsiteX547" fmla="*/ 397097 w 1468659"/>
                <a:gd name="connsiteY547" fmla="*/ 99060 h 1218057"/>
                <a:gd name="connsiteX548" fmla="*/ 395097 w 1468659"/>
                <a:gd name="connsiteY548" fmla="*/ 96107 h 1218057"/>
                <a:gd name="connsiteX549" fmla="*/ 388810 w 1468659"/>
                <a:gd name="connsiteY549" fmla="*/ 96869 h 1218057"/>
                <a:gd name="connsiteX550" fmla="*/ 388620 w 1468659"/>
                <a:gd name="connsiteY550" fmla="*/ 95345 h 1218057"/>
                <a:gd name="connsiteX551" fmla="*/ 385667 w 1468659"/>
                <a:gd name="connsiteY551" fmla="*/ 97250 h 1218057"/>
                <a:gd name="connsiteX552" fmla="*/ 383667 w 1468659"/>
                <a:gd name="connsiteY552" fmla="*/ 94297 h 1218057"/>
                <a:gd name="connsiteX553" fmla="*/ 382143 w 1468659"/>
                <a:gd name="connsiteY553" fmla="*/ 94488 h 1218057"/>
                <a:gd name="connsiteX554" fmla="*/ 379762 w 1468659"/>
                <a:gd name="connsiteY554" fmla="*/ 88392 h 1218057"/>
                <a:gd name="connsiteX555" fmla="*/ 380714 w 1468659"/>
                <a:gd name="connsiteY555" fmla="*/ 83439 h 1218057"/>
                <a:gd name="connsiteX556" fmla="*/ 382048 w 1468659"/>
                <a:gd name="connsiteY556" fmla="*/ 81725 h 1218057"/>
                <a:gd name="connsiteX557" fmla="*/ 381286 w 1468659"/>
                <a:gd name="connsiteY557" fmla="*/ 75343 h 1218057"/>
                <a:gd name="connsiteX558" fmla="*/ 380905 w 1468659"/>
                <a:gd name="connsiteY558" fmla="*/ 72200 h 1218057"/>
                <a:gd name="connsiteX559" fmla="*/ 382238 w 1468659"/>
                <a:gd name="connsiteY559" fmla="*/ 70485 h 1218057"/>
                <a:gd name="connsiteX560" fmla="*/ 381857 w 1468659"/>
                <a:gd name="connsiteY560" fmla="*/ 67342 h 1218057"/>
                <a:gd name="connsiteX561" fmla="*/ 386620 w 1468659"/>
                <a:gd name="connsiteY561" fmla="*/ 66675 h 1218057"/>
                <a:gd name="connsiteX562" fmla="*/ 381667 w 1468659"/>
                <a:gd name="connsiteY562" fmla="*/ 65722 h 1218057"/>
                <a:gd name="connsiteX563" fmla="*/ 376142 w 1468659"/>
                <a:gd name="connsiteY563" fmla="*/ 60007 h 1218057"/>
                <a:gd name="connsiteX564" fmla="*/ 374713 w 1468659"/>
                <a:gd name="connsiteY564" fmla="*/ 61817 h 1218057"/>
                <a:gd name="connsiteX565" fmla="*/ 365284 w 1468659"/>
                <a:gd name="connsiteY565" fmla="*/ 62960 h 1218057"/>
                <a:gd name="connsiteX566" fmla="*/ 361950 w 1468659"/>
                <a:gd name="connsiteY566" fmla="*/ 61817 h 1218057"/>
                <a:gd name="connsiteX567" fmla="*/ 357950 w 1468659"/>
                <a:gd name="connsiteY567" fmla="*/ 68771 h 1218057"/>
                <a:gd name="connsiteX568" fmla="*/ 357759 w 1468659"/>
                <a:gd name="connsiteY568" fmla="*/ 67151 h 1218057"/>
                <a:gd name="connsiteX569" fmla="*/ 352044 w 1468659"/>
                <a:gd name="connsiteY569" fmla="*/ 72676 h 1218057"/>
                <a:gd name="connsiteX570" fmla="*/ 350330 w 1468659"/>
                <a:gd name="connsiteY570" fmla="*/ 71342 h 1218057"/>
                <a:gd name="connsiteX571" fmla="*/ 348901 w 1468659"/>
                <a:gd name="connsiteY571" fmla="*/ 73057 h 1218057"/>
                <a:gd name="connsiteX572" fmla="*/ 342233 w 1468659"/>
                <a:gd name="connsiteY572" fmla="*/ 70771 h 1218057"/>
                <a:gd name="connsiteX573" fmla="*/ 341471 w 1468659"/>
                <a:gd name="connsiteY573" fmla="*/ 77248 h 1218057"/>
                <a:gd name="connsiteX574" fmla="*/ 345376 w 1468659"/>
                <a:gd name="connsiteY574" fmla="*/ 83153 h 1218057"/>
                <a:gd name="connsiteX575" fmla="*/ 342614 w 1468659"/>
                <a:gd name="connsiteY575" fmla="*/ 86773 h 1218057"/>
                <a:gd name="connsiteX576" fmla="*/ 342233 w 1468659"/>
                <a:gd name="connsiteY576" fmla="*/ 83534 h 1218057"/>
                <a:gd name="connsiteX577" fmla="*/ 341471 w 1468659"/>
                <a:gd name="connsiteY577" fmla="*/ 90106 h 1218057"/>
                <a:gd name="connsiteX578" fmla="*/ 340042 w 1468659"/>
                <a:gd name="connsiteY578" fmla="*/ 91821 h 1218057"/>
                <a:gd name="connsiteX579" fmla="*/ 340519 w 1468659"/>
                <a:gd name="connsiteY579" fmla="*/ 95059 h 1218057"/>
                <a:gd name="connsiteX580" fmla="*/ 338900 w 1468659"/>
                <a:gd name="connsiteY580" fmla="*/ 95250 h 1218057"/>
                <a:gd name="connsiteX581" fmla="*/ 337566 w 1468659"/>
                <a:gd name="connsiteY581" fmla="*/ 96964 h 1218057"/>
                <a:gd name="connsiteX582" fmla="*/ 335566 w 1468659"/>
                <a:gd name="connsiteY582" fmla="*/ 94012 h 1218057"/>
                <a:gd name="connsiteX583" fmla="*/ 333946 w 1468659"/>
                <a:gd name="connsiteY583" fmla="*/ 94202 h 1218057"/>
                <a:gd name="connsiteX584" fmla="*/ 334327 w 1468659"/>
                <a:gd name="connsiteY584" fmla="*/ 97441 h 1218057"/>
                <a:gd name="connsiteX585" fmla="*/ 332804 w 1468659"/>
                <a:gd name="connsiteY585" fmla="*/ 97631 h 1218057"/>
                <a:gd name="connsiteX586" fmla="*/ 336709 w 1468659"/>
                <a:gd name="connsiteY586" fmla="*/ 103537 h 1218057"/>
                <a:gd name="connsiteX587" fmla="*/ 333566 w 1468659"/>
                <a:gd name="connsiteY587" fmla="*/ 103918 h 1218057"/>
                <a:gd name="connsiteX588" fmla="*/ 334042 w 1468659"/>
                <a:gd name="connsiteY588" fmla="*/ 107061 h 1218057"/>
                <a:gd name="connsiteX589" fmla="*/ 330803 w 1468659"/>
                <a:gd name="connsiteY589" fmla="*/ 107442 h 1218057"/>
                <a:gd name="connsiteX590" fmla="*/ 330041 w 1468659"/>
                <a:gd name="connsiteY590" fmla="*/ 101155 h 1218057"/>
                <a:gd name="connsiteX591" fmla="*/ 326898 w 1468659"/>
                <a:gd name="connsiteY591" fmla="*/ 101536 h 1218057"/>
                <a:gd name="connsiteX592" fmla="*/ 324707 w 1468659"/>
                <a:gd name="connsiteY592" fmla="*/ 97060 h 1218057"/>
                <a:gd name="connsiteX593" fmla="*/ 322135 w 1468659"/>
                <a:gd name="connsiteY593" fmla="*/ 102203 h 1218057"/>
                <a:gd name="connsiteX594" fmla="*/ 320612 w 1468659"/>
                <a:gd name="connsiteY594" fmla="*/ 102394 h 1218057"/>
                <a:gd name="connsiteX595" fmla="*/ 320992 w 1468659"/>
                <a:gd name="connsiteY595" fmla="*/ 105537 h 1218057"/>
                <a:gd name="connsiteX596" fmla="*/ 318230 w 1468659"/>
                <a:gd name="connsiteY596" fmla="*/ 109061 h 1218057"/>
                <a:gd name="connsiteX597" fmla="*/ 318611 w 1468659"/>
                <a:gd name="connsiteY597" fmla="*/ 112204 h 1218057"/>
                <a:gd name="connsiteX598" fmla="*/ 318992 w 1468659"/>
                <a:gd name="connsiteY598" fmla="*/ 115443 h 1218057"/>
                <a:gd name="connsiteX599" fmla="*/ 309372 w 1468659"/>
                <a:gd name="connsiteY599" fmla="*/ 115062 h 1218057"/>
                <a:gd name="connsiteX600" fmla="*/ 302609 w 1468659"/>
                <a:gd name="connsiteY600" fmla="*/ 112681 h 1218057"/>
                <a:gd name="connsiteX601" fmla="*/ 302038 w 1468659"/>
                <a:gd name="connsiteY601" fmla="*/ 107918 h 1218057"/>
                <a:gd name="connsiteX602" fmla="*/ 298704 w 1468659"/>
                <a:gd name="connsiteY602" fmla="*/ 106775 h 1218057"/>
                <a:gd name="connsiteX603" fmla="*/ 290036 w 1468659"/>
                <a:gd name="connsiteY603" fmla="*/ 114300 h 1218057"/>
                <a:gd name="connsiteX604" fmla="*/ 290989 w 1468659"/>
                <a:gd name="connsiteY604" fmla="*/ 122206 h 1218057"/>
                <a:gd name="connsiteX605" fmla="*/ 290989 w 1468659"/>
                <a:gd name="connsiteY605" fmla="*/ 122206 h 1218057"/>
                <a:gd name="connsiteX606" fmla="*/ 289465 w 1468659"/>
                <a:gd name="connsiteY606" fmla="*/ 122396 h 1218057"/>
                <a:gd name="connsiteX607" fmla="*/ 285083 w 1468659"/>
                <a:gd name="connsiteY607" fmla="*/ 126111 h 1218057"/>
                <a:gd name="connsiteX608" fmla="*/ 284702 w 1468659"/>
                <a:gd name="connsiteY608" fmla="*/ 122968 h 1218057"/>
                <a:gd name="connsiteX609" fmla="*/ 275463 w 1468659"/>
                <a:gd name="connsiteY609" fmla="*/ 125730 h 1218057"/>
                <a:gd name="connsiteX610" fmla="*/ 273463 w 1468659"/>
                <a:gd name="connsiteY610" fmla="*/ 122777 h 1218057"/>
                <a:gd name="connsiteX611" fmla="*/ 268700 w 1468659"/>
                <a:gd name="connsiteY611" fmla="*/ 123444 h 1218057"/>
                <a:gd name="connsiteX612" fmla="*/ 268129 w 1468659"/>
                <a:gd name="connsiteY612" fmla="*/ 118681 h 1218057"/>
                <a:gd name="connsiteX613" fmla="*/ 264605 w 1468659"/>
                <a:gd name="connsiteY613" fmla="*/ 115919 h 1218057"/>
                <a:gd name="connsiteX614" fmla="*/ 263366 w 1468659"/>
                <a:gd name="connsiteY614" fmla="*/ 119253 h 1218057"/>
                <a:gd name="connsiteX615" fmla="*/ 257080 w 1468659"/>
                <a:gd name="connsiteY615" fmla="*/ 120110 h 1218057"/>
                <a:gd name="connsiteX616" fmla="*/ 261366 w 1468659"/>
                <a:gd name="connsiteY616" fmla="*/ 116300 h 1218057"/>
                <a:gd name="connsiteX617" fmla="*/ 260985 w 1468659"/>
                <a:gd name="connsiteY617" fmla="*/ 113157 h 1218057"/>
                <a:gd name="connsiteX618" fmla="*/ 263938 w 1468659"/>
                <a:gd name="connsiteY618" fmla="*/ 111157 h 1218057"/>
                <a:gd name="connsiteX619" fmla="*/ 256032 w 1468659"/>
                <a:gd name="connsiteY619" fmla="*/ 112204 h 1218057"/>
                <a:gd name="connsiteX620" fmla="*/ 254698 w 1468659"/>
                <a:gd name="connsiteY620" fmla="*/ 114014 h 1218057"/>
                <a:gd name="connsiteX621" fmla="*/ 251174 w 1468659"/>
                <a:gd name="connsiteY621" fmla="*/ 111252 h 1218057"/>
                <a:gd name="connsiteX622" fmla="*/ 248984 w 1468659"/>
                <a:gd name="connsiteY622" fmla="*/ 106680 h 1218057"/>
                <a:gd name="connsiteX623" fmla="*/ 249746 w 1468659"/>
                <a:gd name="connsiteY623" fmla="*/ 100203 h 1218057"/>
                <a:gd name="connsiteX624" fmla="*/ 239649 w 1468659"/>
                <a:gd name="connsiteY624" fmla="*/ 96679 h 1218057"/>
                <a:gd name="connsiteX625" fmla="*/ 235077 w 1468659"/>
                <a:gd name="connsiteY625" fmla="*/ 98869 h 1218057"/>
                <a:gd name="connsiteX626" fmla="*/ 235363 w 1468659"/>
                <a:gd name="connsiteY626" fmla="*/ 100393 h 1218057"/>
                <a:gd name="connsiteX627" fmla="*/ 238696 w 1468659"/>
                <a:gd name="connsiteY627" fmla="*/ 101536 h 1218057"/>
                <a:gd name="connsiteX628" fmla="*/ 234125 w 1468659"/>
                <a:gd name="connsiteY628" fmla="*/ 103727 h 1218057"/>
                <a:gd name="connsiteX629" fmla="*/ 230410 w 1468659"/>
                <a:gd name="connsiteY629" fmla="*/ 112204 h 1218057"/>
                <a:gd name="connsiteX630" fmla="*/ 227076 w 1468659"/>
                <a:gd name="connsiteY630" fmla="*/ 111061 h 1218057"/>
                <a:gd name="connsiteX631" fmla="*/ 227267 w 1468659"/>
                <a:gd name="connsiteY631" fmla="*/ 112681 h 1218057"/>
                <a:gd name="connsiteX632" fmla="*/ 225457 w 1468659"/>
                <a:gd name="connsiteY632" fmla="*/ 111252 h 1218057"/>
                <a:gd name="connsiteX633" fmla="*/ 222694 w 1468659"/>
                <a:gd name="connsiteY633" fmla="*/ 114871 h 1218057"/>
                <a:gd name="connsiteX634" fmla="*/ 220790 w 1468659"/>
                <a:gd name="connsiteY634" fmla="*/ 111919 h 1218057"/>
                <a:gd name="connsiteX635" fmla="*/ 222123 w 1468659"/>
                <a:gd name="connsiteY635" fmla="*/ 110109 h 1218057"/>
                <a:gd name="connsiteX636" fmla="*/ 220504 w 1468659"/>
                <a:gd name="connsiteY636" fmla="*/ 110300 h 1218057"/>
                <a:gd name="connsiteX637" fmla="*/ 219170 w 1468659"/>
                <a:gd name="connsiteY637" fmla="*/ 112109 h 1218057"/>
                <a:gd name="connsiteX638" fmla="*/ 217742 w 1468659"/>
                <a:gd name="connsiteY638" fmla="*/ 113824 h 1218057"/>
                <a:gd name="connsiteX639" fmla="*/ 216408 w 1468659"/>
                <a:gd name="connsiteY639" fmla="*/ 102775 h 1218057"/>
                <a:gd name="connsiteX640" fmla="*/ 214979 w 1468659"/>
                <a:gd name="connsiteY640" fmla="*/ 104584 h 1218057"/>
                <a:gd name="connsiteX641" fmla="*/ 213265 w 1468659"/>
                <a:gd name="connsiteY641" fmla="*/ 103251 h 1218057"/>
                <a:gd name="connsiteX642" fmla="*/ 210407 w 1468659"/>
                <a:gd name="connsiteY642" fmla="*/ 93917 h 1218057"/>
                <a:gd name="connsiteX643" fmla="*/ 207264 w 1468659"/>
                <a:gd name="connsiteY643" fmla="*/ 94393 h 1218057"/>
                <a:gd name="connsiteX644" fmla="*/ 209264 w 1468659"/>
                <a:gd name="connsiteY644" fmla="*/ 97346 h 1218057"/>
                <a:gd name="connsiteX645" fmla="*/ 202978 w 1468659"/>
                <a:gd name="connsiteY645" fmla="*/ 98107 h 1218057"/>
                <a:gd name="connsiteX646" fmla="*/ 203740 w 1468659"/>
                <a:gd name="connsiteY646" fmla="*/ 104394 h 1218057"/>
                <a:gd name="connsiteX647" fmla="*/ 198977 w 1468659"/>
                <a:gd name="connsiteY647" fmla="*/ 105061 h 1218057"/>
                <a:gd name="connsiteX648" fmla="*/ 199453 w 1468659"/>
                <a:gd name="connsiteY648" fmla="*/ 108204 h 1218057"/>
                <a:gd name="connsiteX649" fmla="*/ 192500 w 1468659"/>
                <a:gd name="connsiteY649" fmla="*/ 104299 h 1218057"/>
                <a:gd name="connsiteX650" fmla="*/ 186023 w 1468659"/>
                <a:gd name="connsiteY650" fmla="*/ 103442 h 1218057"/>
                <a:gd name="connsiteX651" fmla="*/ 182499 w 1468659"/>
                <a:gd name="connsiteY651" fmla="*/ 113538 h 1218057"/>
                <a:gd name="connsiteX652" fmla="*/ 180880 w 1468659"/>
                <a:gd name="connsiteY652" fmla="*/ 113729 h 1218057"/>
                <a:gd name="connsiteX653" fmla="*/ 180880 w 1468659"/>
                <a:gd name="connsiteY653" fmla="*/ 113729 h 1218057"/>
                <a:gd name="connsiteX654" fmla="*/ 170974 w 1468659"/>
                <a:gd name="connsiteY654" fmla="*/ 111823 h 1218057"/>
                <a:gd name="connsiteX655" fmla="*/ 169259 w 1468659"/>
                <a:gd name="connsiteY655" fmla="*/ 110395 h 1218057"/>
                <a:gd name="connsiteX656" fmla="*/ 165925 w 1468659"/>
                <a:gd name="connsiteY656" fmla="*/ 109252 h 1218057"/>
                <a:gd name="connsiteX657" fmla="*/ 164687 w 1468659"/>
                <a:gd name="connsiteY657" fmla="*/ 112585 h 1218057"/>
                <a:gd name="connsiteX658" fmla="*/ 160401 w 1468659"/>
                <a:gd name="connsiteY658" fmla="*/ 116396 h 1218057"/>
                <a:gd name="connsiteX659" fmla="*/ 159163 w 1468659"/>
                <a:gd name="connsiteY659" fmla="*/ 119729 h 1218057"/>
                <a:gd name="connsiteX660" fmla="*/ 164306 w 1468659"/>
                <a:gd name="connsiteY660" fmla="*/ 122301 h 1218057"/>
                <a:gd name="connsiteX661" fmla="*/ 164782 w 1468659"/>
                <a:gd name="connsiteY661" fmla="*/ 125444 h 1218057"/>
                <a:gd name="connsiteX662" fmla="*/ 163544 w 1468659"/>
                <a:gd name="connsiteY662" fmla="*/ 128778 h 1218057"/>
                <a:gd name="connsiteX663" fmla="*/ 160211 w 1468659"/>
                <a:gd name="connsiteY663" fmla="*/ 127635 h 1218057"/>
                <a:gd name="connsiteX664" fmla="*/ 159067 w 1468659"/>
                <a:gd name="connsiteY664" fmla="*/ 130969 h 1218057"/>
                <a:gd name="connsiteX665" fmla="*/ 155829 w 1468659"/>
                <a:gd name="connsiteY665" fmla="*/ 131350 h 1218057"/>
                <a:gd name="connsiteX666" fmla="*/ 157829 w 1468659"/>
                <a:gd name="connsiteY666" fmla="*/ 134302 h 1218057"/>
                <a:gd name="connsiteX667" fmla="*/ 156496 w 1468659"/>
                <a:gd name="connsiteY667" fmla="*/ 136112 h 1218057"/>
                <a:gd name="connsiteX668" fmla="*/ 157258 w 1468659"/>
                <a:gd name="connsiteY668" fmla="*/ 142399 h 1218057"/>
                <a:gd name="connsiteX669" fmla="*/ 160592 w 1468659"/>
                <a:gd name="connsiteY669" fmla="*/ 143637 h 1218057"/>
                <a:gd name="connsiteX670" fmla="*/ 163830 w 1468659"/>
                <a:gd name="connsiteY670" fmla="*/ 143161 h 1218057"/>
                <a:gd name="connsiteX671" fmla="*/ 164021 w 1468659"/>
                <a:gd name="connsiteY671" fmla="*/ 144780 h 1218057"/>
                <a:gd name="connsiteX672" fmla="*/ 163830 w 1468659"/>
                <a:gd name="connsiteY672" fmla="*/ 143161 h 1218057"/>
                <a:gd name="connsiteX673" fmla="*/ 170307 w 1468659"/>
                <a:gd name="connsiteY673" fmla="*/ 144018 h 1218057"/>
                <a:gd name="connsiteX674" fmla="*/ 170497 w 1468659"/>
                <a:gd name="connsiteY674" fmla="*/ 145542 h 1218057"/>
                <a:gd name="connsiteX675" fmla="*/ 164021 w 1468659"/>
                <a:gd name="connsiteY675" fmla="*/ 144780 h 1218057"/>
                <a:gd name="connsiteX676" fmla="*/ 165925 w 1468659"/>
                <a:gd name="connsiteY676" fmla="*/ 147733 h 1218057"/>
                <a:gd name="connsiteX677" fmla="*/ 164782 w 1468659"/>
                <a:gd name="connsiteY677" fmla="*/ 151067 h 1218057"/>
                <a:gd name="connsiteX678" fmla="*/ 165925 w 1468659"/>
                <a:gd name="connsiteY678" fmla="*/ 147733 h 1218057"/>
                <a:gd name="connsiteX679" fmla="*/ 167545 w 1468659"/>
                <a:gd name="connsiteY679" fmla="*/ 147542 h 1218057"/>
                <a:gd name="connsiteX680" fmla="*/ 167926 w 1468659"/>
                <a:gd name="connsiteY680" fmla="*/ 150685 h 1218057"/>
                <a:gd name="connsiteX681" fmla="*/ 165163 w 1468659"/>
                <a:gd name="connsiteY681" fmla="*/ 154210 h 1218057"/>
                <a:gd name="connsiteX682" fmla="*/ 168402 w 1468659"/>
                <a:gd name="connsiteY682" fmla="*/ 153829 h 1218057"/>
                <a:gd name="connsiteX683" fmla="*/ 167164 w 1468659"/>
                <a:gd name="connsiteY683" fmla="*/ 157163 h 1218057"/>
                <a:gd name="connsiteX684" fmla="*/ 169545 w 1468659"/>
                <a:gd name="connsiteY684" fmla="*/ 163354 h 1218057"/>
                <a:gd name="connsiteX685" fmla="*/ 166592 w 1468659"/>
                <a:gd name="connsiteY685" fmla="*/ 165259 h 1218057"/>
                <a:gd name="connsiteX686" fmla="*/ 165640 w 1468659"/>
                <a:gd name="connsiteY686" fmla="*/ 170212 h 1218057"/>
                <a:gd name="connsiteX687" fmla="*/ 168973 w 1468659"/>
                <a:gd name="connsiteY687" fmla="*/ 171355 h 1218057"/>
                <a:gd name="connsiteX688" fmla="*/ 167640 w 1468659"/>
                <a:gd name="connsiteY688" fmla="*/ 173164 h 1218057"/>
                <a:gd name="connsiteX689" fmla="*/ 168021 w 1468659"/>
                <a:gd name="connsiteY689" fmla="*/ 176308 h 1218057"/>
                <a:gd name="connsiteX690" fmla="*/ 166878 w 1468659"/>
                <a:gd name="connsiteY690" fmla="*/ 179642 h 1218057"/>
                <a:gd name="connsiteX691" fmla="*/ 168592 w 1468659"/>
                <a:gd name="connsiteY691" fmla="*/ 181070 h 1218057"/>
                <a:gd name="connsiteX692" fmla="*/ 170783 w 1468659"/>
                <a:gd name="connsiteY692" fmla="*/ 185642 h 1218057"/>
                <a:gd name="connsiteX693" fmla="*/ 172402 w 1468659"/>
                <a:gd name="connsiteY693" fmla="*/ 185452 h 1218057"/>
                <a:gd name="connsiteX694" fmla="*/ 172784 w 1468659"/>
                <a:gd name="connsiteY694" fmla="*/ 188595 h 1218057"/>
                <a:gd name="connsiteX695" fmla="*/ 174593 w 1468659"/>
                <a:gd name="connsiteY695" fmla="*/ 189929 h 1218057"/>
                <a:gd name="connsiteX696" fmla="*/ 174974 w 1468659"/>
                <a:gd name="connsiteY696" fmla="*/ 193072 h 1218057"/>
                <a:gd name="connsiteX697" fmla="*/ 178117 w 1468659"/>
                <a:gd name="connsiteY697" fmla="*/ 192691 h 1218057"/>
                <a:gd name="connsiteX698" fmla="*/ 178308 w 1468659"/>
                <a:gd name="connsiteY698" fmla="*/ 194310 h 1218057"/>
                <a:gd name="connsiteX699" fmla="*/ 175165 w 1468659"/>
                <a:gd name="connsiteY699" fmla="*/ 194691 h 1218057"/>
                <a:gd name="connsiteX700" fmla="*/ 177165 w 1468659"/>
                <a:gd name="connsiteY700" fmla="*/ 197644 h 1218057"/>
                <a:gd name="connsiteX701" fmla="*/ 185261 w 1468659"/>
                <a:gd name="connsiteY701" fmla="*/ 198215 h 1218057"/>
                <a:gd name="connsiteX702" fmla="*/ 185452 w 1468659"/>
                <a:gd name="connsiteY702" fmla="*/ 199739 h 1218057"/>
                <a:gd name="connsiteX703" fmla="*/ 182309 w 1468659"/>
                <a:gd name="connsiteY703" fmla="*/ 200215 h 1218057"/>
                <a:gd name="connsiteX704" fmla="*/ 175736 w 1468659"/>
                <a:gd name="connsiteY704" fmla="*/ 199358 h 1218057"/>
                <a:gd name="connsiteX705" fmla="*/ 173165 w 1468659"/>
                <a:gd name="connsiteY705" fmla="*/ 204502 h 1218057"/>
                <a:gd name="connsiteX706" fmla="*/ 174974 w 1468659"/>
                <a:gd name="connsiteY706" fmla="*/ 205930 h 1218057"/>
                <a:gd name="connsiteX707" fmla="*/ 173450 w 1468659"/>
                <a:gd name="connsiteY707" fmla="*/ 206121 h 1218057"/>
                <a:gd name="connsiteX708" fmla="*/ 169450 w 1468659"/>
                <a:gd name="connsiteY708" fmla="*/ 213074 h 1218057"/>
                <a:gd name="connsiteX709" fmla="*/ 166306 w 1468659"/>
                <a:gd name="connsiteY709" fmla="*/ 213455 h 1218057"/>
                <a:gd name="connsiteX710" fmla="*/ 168116 w 1468659"/>
                <a:gd name="connsiteY710" fmla="*/ 214789 h 1218057"/>
                <a:gd name="connsiteX711" fmla="*/ 165544 w 1468659"/>
                <a:gd name="connsiteY711" fmla="*/ 219932 h 1218057"/>
                <a:gd name="connsiteX712" fmla="*/ 166402 w 1468659"/>
                <a:gd name="connsiteY712" fmla="*/ 226219 h 1218057"/>
                <a:gd name="connsiteX713" fmla="*/ 168116 w 1468659"/>
                <a:gd name="connsiteY713" fmla="*/ 227647 h 1218057"/>
                <a:gd name="connsiteX714" fmla="*/ 164211 w 1468659"/>
                <a:gd name="connsiteY714" fmla="*/ 234505 h 1218057"/>
                <a:gd name="connsiteX715" fmla="*/ 162592 w 1468659"/>
                <a:gd name="connsiteY715" fmla="*/ 234791 h 1218057"/>
                <a:gd name="connsiteX716" fmla="*/ 163068 w 1468659"/>
                <a:gd name="connsiteY716" fmla="*/ 237934 h 1218057"/>
                <a:gd name="connsiteX717" fmla="*/ 164592 w 1468659"/>
                <a:gd name="connsiteY717" fmla="*/ 237744 h 1218057"/>
                <a:gd name="connsiteX718" fmla="*/ 163259 w 1468659"/>
                <a:gd name="connsiteY718" fmla="*/ 239459 h 1218057"/>
                <a:gd name="connsiteX719" fmla="*/ 164782 w 1468659"/>
                <a:gd name="connsiteY719" fmla="*/ 239268 h 1218057"/>
                <a:gd name="connsiteX720" fmla="*/ 163449 w 1468659"/>
                <a:gd name="connsiteY720" fmla="*/ 241078 h 1218057"/>
                <a:gd name="connsiteX721" fmla="*/ 167354 w 1468659"/>
                <a:gd name="connsiteY721" fmla="*/ 246983 h 1218057"/>
                <a:gd name="connsiteX722" fmla="*/ 166402 w 1468659"/>
                <a:gd name="connsiteY722" fmla="*/ 251936 h 1218057"/>
                <a:gd name="connsiteX723" fmla="*/ 171926 w 1468659"/>
                <a:gd name="connsiteY723" fmla="*/ 257651 h 1218057"/>
                <a:gd name="connsiteX724" fmla="*/ 173926 w 1468659"/>
                <a:gd name="connsiteY724" fmla="*/ 260604 h 1218057"/>
                <a:gd name="connsiteX725" fmla="*/ 170974 w 1468659"/>
                <a:gd name="connsiteY725" fmla="*/ 262604 h 1218057"/>
                <a:gd name="connsiteX726" fmla="*/ 174307 w 1468659"/>
                <a:gd name="connsiteY726" fmla="*/ 263747 h 1218057"/>
                <a:gd name="connsiteX727" fmla="*/ 171164 w 1468659"/>
                <a:gd name="connsiteY727" fmla="*/ 264128 h 1218057"/>
                <a:gd name="connsiteX728" fmla="*/ 171355 w 1468659"/>
                <a:gd name="connsiteY728" fmla="*/ 265747 h 1218057"/>
                <a:gd name="connsiteX729" fmla="*/ 174498 w 1468659"/>
                <a:gd name="connsiteY729" fmla="*/ 265271 h 1218057"/>
                <a:gd name="connsiteX730" fmla="*/ 178308 w 1468659"/>
                <a:gd name="connsiteY730" fmla="*/ 269653 h 1218057"/>
                <a:gd name="connsiteX731" fmla="*/ 181261 w 1468659"/>
                <a:gd name="connsiteY731" fmla="*/ 267652 h 1218057"/>
                <a:gd name="connsiteX732" fmla="*/ 180118 w 1468659"/>
                <a:gd name="connsiteY732" fmla="*/ 270986 h 1218057"/>
                <a:gd name="connsiteX733" fmla="*/ 183451 w 1468659"/>
                <a:gd name="connsiteY733" fmla="*/ 272225 h 1218057"/>
                <a:gd name="connsiteX734" fmla="*/ 182690 w 1468659"/>
                <a:gd name="connsiteY734" fmla="*/ 278701 h 1218057"/>
                <a:gd name="connsiteX735" fmla="*/ 184594 w 1468659"/>
                <a:gd name="connsiteY735" fmla="*/ 281654 h 1218057"/>
                <a:gd name="connsiteX736" fmla="*/ 181261 w 1468659"/>
                <a:gd name="connsiteY736" fmla="*/ 280511 h 1218057"/>
                <a:gd name="connsiteX737" fmla="*/ 181642 w 1468659"/>
                <a:gd name="connsiteY737" fmla="*/ 283655 h 1218057"/>
                <a:gd name="connsiteX738" fmla="*/ 180118 w 1468659"/>
                <a:gd name="connsiteY738" fmla="*/ 283845 h 1218057"/>
                <a:gd name="connsiteX739" fmla="*/ 176022 w 1468659"/>
                <a:gd name="connsiteY739" fmla="*/ 289179 h 1218057"/>
                <a:gd name="connsiteX740" fmla="*/ 177736 w 1468659"/>
                <a:gd name="connsiteY740" fmla="*/ 290513 h 1218057"/>
                <a:gd name="connsiteX741" fmla="*/ 180308 w 1468659"/>
                <a:gd name="connsiteY741" fmla="*/ 285464 h 1218057"/>
                <a:gd name="connsiteX742" fmla="*/ 181356 w 1468659"/>
                <a:gd name="connsiteY742" fmla="*/ 293275 h 1218057"/>
                <a:gd name="connsiteX743" fmla="*/ 183071 w 1468659"/>
                <a:gd name="connsiteY743" fmla="*/ 294704 h 1218057"/>
                <a:gd name="connsiteX744" fmla="*/ 175165 w 1468659"/>
                <a:gd name="connsiteY744" fmla="*/ 295656 h 1218057"/>
                <a:gd name="connsiteX745" fmla="*/ 171450 w 1468659"/>
                <a:gd name="connsiteY745" fmla="*/ 304229 h 1218057"/>
                <a:gd name="connsiteX746" fmla="*/ 169164 w 1468659"/>
                <a:gd name="connsiteY746" fmla="*/ 310896 h 1218057"/>
                <a:gd name="connsiteX747" fmla="*/ 171069 w 1468659"/>
                <a:gd name="connsiteY747" fmla="*/ 313849 h 1218057"/>
                <a:gd name="connsiteX748" fmla="*/ 167926 w 1468659"/>
                <a:gd name="connsiteY748" fmla="*/ 314230 h 1218057"/>
                <a:gd name="connsiteX749" fmla="*/ 170497 w 1468659"/>
                <a:gd name="connsiteY749" fmla="*/ 321945 h 1218057"/>
                <a:gd name="connsiteX750" fmla="*/ 169354 w 1468659"/>
                <a:gd name="connsiteY750" fmla="*/ 325279 h 1218057"/>
                <a:gd name="connsiteX751" fmla="*/ 168021 w 1468659"/>
                <a:gd name="connsiteY751" fmla="*/ 327088 h 1218057"/>
                <a:gd name="connsiteX752" fmla="*/ 159639 w 1468659"/>
                <a:gd name="connsiteY752" fmla="*/ 324898 h 1218057"/>
                <a:gd name="connsiteX753" fmla="*/ 155162 w 1468659"/>
                <a:gd name="connsiteY753" fmla="*/ 327088 h 1218057"/>
                <a:gd name="connsiteX754" fmla="*/ 154210 w 1468659"/>
                <a:gd name="connsiteY754" fmla="*/ 332042 h 1218057"/>
                <a:gd name="connsiteX755" fmla="*/ 151067 w 1468659"/>
                <a:gd name="connsiteY755" fmla="*/ 332422 h 1218057"/>
                <a:gd name="connsiteX756" fmla="*/ 146494 w 1468659"/>
                <a:gd name="connsiteY756" fmla="*/ 334613 h 1218057"/>
                <a:gd name="connsiteX757" fmla="*/ 144494 w 1468659"/>
                <a:gd name="connsiteY757" fmla="*/ 344519 h 1218057"/>
                <a:gd name="connsiteX758" fmla="*/ 136017 w 1468659"/>
                <a:gd name="connsiteY758" fmla="*/ 340805 h 1218057"/>
                <a:gd name="connsiteX759" fmla="*/ 139065 w 1468659"/>
                <a:gd name="connsiteY759" fmla="*/ 351663 h 1218057"/>
                <a:gd name="connsiteX760" fmla="*/ 136112 w 1468659"/>
                <a:gd name="connsiteY760" fmla="*/ 353568 h 1218057"/>
                <a:gd name="connsiteX761" fmla="*/ 134493 w 1468659"/>
                <a:gd name="connsiteY761" fmla="*/ 353759 h 1218057"/>
                <a:gd name="connsiteX762" fmla="*/ 138684 w 1468659"/>
                <a:gd name="connsiteY762" fmla="*/ 361283 h 1218057"/>
                <a:gd name="connsiteX763" fmla="*/ 141827 w 1468659"/>
                <a:gd name="connsiteY763" fmla="*/ 360902 h 1218057"/>
                <a:gd name="connsiteX764" fmla="*/ 145161 w 1468659"/>
                <a:gd name="connsiteY764" fmla="*/ 362045 h 1218057"/>
                <a:gd name="connsiteX765" fmla="*/ 144399 w 1468659"/>
                <a:gd name="connsiteY765" fmla="*/ 368617 h 1218057"/>
                <a:gd name="connsiteX766" fmla="*/ 141446 w 1468659"/>
                <a:gd name="connsiteY766" fmla="*/ 370522 h 1218057"/>
                <a:gd name="connsiteX767" fmla="*/ 140684 w 1468659"/>
                <a:gd name="connsiteY767" fmla="*/ 377095 h 1218057"/>
                <a:gd name="connsiteX768" fmla="*/ 137541 w 1468659"/>
                <a:gd name="connsiteY768" fmla="*/ 377476 h 1218057"/>
                <a:gd name="connsiteX769" fmla="*/ 134398 w 1468659"/>
                <a:gd name="connsiteY769" fmla="*/ 377857 h 1218057"/>
                <a:gd name="connsiteX770" fmla="*/ 130588 w 1468659"/>
                <a:gd name="connsiteY770" fmla="*/ 373571 h 1218057"/>
                <a:gd name="connsiteX771" fmla="*/ 126111 w 1468659"/>
                <a:gd name="connsiteY771" fmla="*/ 375761 h 1218057"/>
                <a:gd name="connsiteX772" fmla="*/ 119539 w 1468659"/>
                <a:gd name="connsiteY772" fmla="*/ 374999 h 1218057"/>
                <a:gd name="connsiteX773" fmla="*/ 118205 w 1468659"/>
                <a:gd name="connsiteY773" fmla="*/ 376714 h 1218057"/>
                <a:gd name="connsiteX774" fmla="*/ 121729 w 1468659"/>
                <a:gd name="connsiteY774" fmla="*/ 379476 h 1218057"/>
                <a:gd name="connsiteX775" fmla="*/ 121348 w 1468659"/>
                <a:gd name="connsiteY775" fmla="*/ 389192 h 1218057"/>
                <a:gd name="connsiteX776" fmla="*/ 124301 w 1468659"/>
                <a:gd name="connsiteY776" fmla="*/ 400050 h 1218057"/>
                <a:gd name="connsiteX777" fmla="*/ 127540 w 1468659"/>
                <a:gd name="connsiteY777" fmla="*/ 399574 h 1218057"/>
                <a:gd name="connsiteX778" fmla="*/ 129254 w 1468659"/>
                <a:gd name="connsiteY778" fmla="*/ 401002 h 1218057"/>
                <a:gd name="connsiteX779" fmla="*/ 138970 w 1468659"/>
                <a:gd name="connsiteY779" fmla="*/ 401384 h 1218057"/>
                <a:gd name="connsiteX780" fmla="*/ 141922 w 1468659"/>
                <a:gd name="connsiteY780" fmla="*/ 399383 h 1218057"/>
                <a:gd name="connsiteX781" fmla="*/ 143923 w 1468659"/>
                <a:gd name="connsiteY781" fmla="*/ 402336 h 1218057"/>
                <a:gd name="connsiteX782" fmla="*/ 140684 w 1468659"/>
                <a:gd name="connsiteY782" fmla="*/ 402717 h 1218057"/>
                <a:gd name="connsiteX783" fmla="*/ 133636 w 1468659"/>
                <a:gd name="connsiteY783" fmla="*/ 410051 h 1218057"/>
                <a:gd name="connsiteX784" fmla="*/ 133826 w 1468659"/>
                <a:gd name="connsiteY784" fmla="*/ 411575 h 1218057"/>
                <a:gd name="connsiteX785" fmla="*/ 137827 w 1468659"/>
                <a:gd name="connsiteY785" fmla="*/ 417576 h 1218057"/>
                <a:gd name="connsiteX786" fmla="*/ 136207 w 1468659"/>
                <a:gd name="connsiteY786" fmla="*/ 417767 h 1218057"/>
                <a:gd name="connsiteX787" fmla="*/ 129730 w 1468659"/>
                <a:gd name="connsiteY787" fmla="*/ 417005 h 1218057"/>
                <a:gd name="connsiteX788" fmla="*/ 129540 w 1468659"/>
                <a:gd name="connsiteY788" fmla="*/ 415385 h 1218057"/>
                <a:gd name="connsiteX789" fmla="*/ 124396 w 1468659"/>
                <a:gd name="connsiteY789" fmla="*/ 412813 h 1218057"/>
                <a:gd name="connsiteX790" fmla="*/ 123444 w 1468659"/>
                <a:gd name="connsiteY790" fmla="*/ 417767 h 1218057"/>
                <a:gd name="connsiteX791" fmla="*/ 125158 w 1468659"/>
                <a:gd name="connsiteY791" fmla="*/ 419100 h 1218057"/>
                <a:gd name="connsiteX792" fmla="*/ 126016 w 1468659"/>
                <a:gd name="connsiteY792" fmla="*/ 425482 h 1218057"/>
                <a:gd name="connsiteX793" fmla="*/ 119253 w 1468659"/>
                <a:gd name="connsiteY793" fmla="*/ 423100 h 1218057"/>
                <a:gd name="connsiteX794" fmla="*/ 113538 w 1468659"/>
                <a:gd name="connsiteY794" fmla="*/ 428625 h 1218057"/>
                <a:gd name="connsiteX795" fmla="*/ 115348 w 1468659"/>
                <a:gd name="connsiteY795" fmla="*/ 430054 h 1218057"/>
                <a:gd name="connsiteX796" fmla="*/ 115729 w 1468659"/>
                <a:gd name="connsiteY796" fmla="*/ 433197 h 1218057"/>
                <a:gd name="connsiteX797" fmla="*/ 112395 w 1468659"/>
                <a:gd name="connsiteY797" fmla="*/ 431959 h 1218057"/>
                <a:gd name="connsiteX798" fmla="*/ 110966 w 1468659"/>
                <a:gd name="connsiteY798" fmla="*/ 433768 h 1218057"/>
                <a:gd name="connsiteX799" fmla="*/ 111633 w 1468659"/>
                <a:gd name="connsiteY799" fmla="*/ 438531 h 1218057"/>
                <a:gd name="connsiteX800" fmla="*/ 114776 w 1468659"/>
                <a:gd name="connsiteY800" fmla="*/ 438150 h 1218057"/>
                <a:gd name="connsiteX801" fmla="*/ 113157 w 1468659"/>
                <a:gd name="connsiteY801" fmla="*/ 438340 h 1218057"/>
                <a:gd name="connsiteX802" fmla="*/ 114014 w 1468659"/>
                <a:gd name="connsiteY802" fmla="*/ 444627 h 1218057"/>
                <a:gd name="connsiteX803" fmla="*/ 116776 w 1468659"/>
                <a:gd name="connsiteY803" fmla="*/ 441103 h 1218057"/>
                <a:gd name="connsiteX804" fmla="*/ 116396 w 1468659"/>
                <a:gd name="connsiteY804" fmla="*/ 450723 h 1218057"/>
                <a:gd name="connsiteX805" fmla="*/ 124682 w 1468659"/>
                <a:gd name="connsiteY805" fmla="*/ 452914 h 1218057"/>
                <a:gd name="connsiteX806" fmla="*/ 126206 w 1468659"/>
                <a:gd name="connsiteY806" fmla="*/ 452723 h 1218057"/>
                <a:gd name="connsiteX807" fmla="*/ 125063 w 1468659"/>
                <a:gd name="connsiteY807" fmla="*/ 456057 h 1218057"/>
                <a:gd name="connsiteX808" fmla="*/ 128397 w 1468659"/>
                <a:gd name="connsiteY808" fmla="*/ 457200 h 1218057"/>
                <a:gd name="connsiteX809" fmla="*/ 129445 w 1468659"/>
                <a:gd name="connsiteY809" fmla="*/ 465106 h 1218057"/>
                <a:gd name="connsiteX810" fmla="*/ 132017 w 1468659"/>
                <a:gd name="connsiteY810" fmla="*/ 472821 h 1218057"/>
                <a:gd name="connsiteX811" fmla="*/ 127730 w 1468659"/>
                <a:gd name="connsiteY811" fmla="*/ 476536 h 1218057"/>
                <a:gd name="connsiteX812" fmla="*/ 122587 w 1468659"/>
                <a:gd name="connsiteY812" fmla="*/ 473964 h 1218057"/>
                <a:gd name="connsiteX813" fmla="*/ 119348 w 1468659"/>
                <a:gd name="connsiteY813" fmla="*/ 474440 h 1218057"/>
                <a:gd name="connsiteX814" fmla="*/ 112490 w 1468659"/>
                <a:gd name="connsiteY814" fmla="*/ 483298 h 1218057"/>
                <a:gd name="connsiteX815" fmla="*/ 113157 w 1468659"/>
                <a:gd name="connsiteY815" fmla="*/ 500825 h 1218057"/>
                <a:gd name="connsiteX816" fmla="*/ 113347 w 1468659"/>
                <a:gd name="connsiteY816" fmla="*/ 502444 h 1218057"/>
                <a:gd name="connsiteX817" fmla="*/ 108775 w 1468659"/>
                <a:gd name="connsiteY817" fmla="*/ 504634 h 1218057"/>
                <a:gd name="connsiteX818" fmla="*/ 110776 w 1468659"/>
                <a:gd name="connsiteY818" fmla="*/ 507587 h 1218057"/>
                <a:gd name="connsiteX819" fmla="*/ 112204 w 1468659"/>
                <a:gd name="connsiteY819" fmla="*/ 505777 h 1218057"/>
                <a:gd name="connsiteX820" fmla="*/ 112395 w 1468659"/>
                <a:gd name="connsiteY820" fmla="*/ 507397 h 1218057"/>
                <a:gd name="connsiteX821" fmla="*/ 115348 w 1468659"/>
                <a:gd name="connsiteY821" fmla="*/ 505396 h 1218057"/>
                <a:gd name="connsiteX822" fmla="*/ 115538 w 1468659"/>
                <a:gd name="connsiteY822" fmla="*/ 507016 h 1218057"/>
                <a:gd name="connsiteX823" fmla="*/ 112776 w 1468659"/>
                <a:gd name="connsiteY823" fmla="*/ 510540 h 1218057"/>
                <a:gd name="connsiteX824" fmla="*/ 111633 w 1468659"/>
                <a:gd name="connsiteY824" fmla="*/ 513874 h 1218057"/>
                <a:gd name="connsiteX825" fmla="*/ 110966 w 1468659"/>
                <a:gd name="connsiteY825" fmla="*/ 509111 h 1218057"/>
                <a:gd name="connsiteX826" fmla="*/ 109442 w 1468659"/>
                <a:gd name="connsiteY826" fmla="*/ 509397 h 1218057"/>
                <a:gd name="connsiteX827" fmla="*/ 105823 w 1468659"/>
                <a:gd name="connsiteY827" fmla="*/ 506635 h 1218057"/>
                <a:gd name="connsiteX828" fmla="*/ 103061 w 1468659"/>
                <a:gd name="connsiteY828" fmla="*/ 510159 h 1218057"/>
                <a:gd name="connsiteX829" fmla="*/ 101346 w 1468659"/>
                <a:gd name="connsiteY829" fmla="*/ 508825 h 1218057"/>
                <a:gd name="connsiteX830" fmla="*/ 96965 w 1468659"/>
                <a:gd name="connsiteY830" fmla="*/ 512540 h 1218057"/>
                <a:gd name="connsiteX831" fmla="*/ 88868 w 1468659"/>
                <a:gd name="connsiteY831" fmla="*/ 511969 h 1218057"/>
                <a:gd name="connsiteX832" fmla="*/ 89535 w 1468659"/>
                <a:gd name="connsiteY832" fmla="*/ 516731 h 1218057"/>
                <a:gd name="connsiteX833" fmla="*/ 86582 w 1468659"/>
                <a:gd name="connsiteY833" fmla="*/ 518731 h 1218057"/>
                <a:gd name="connsiteX834" fmla="*/ 86963 w 1468659"/>
                <a:gd name="connsiteY834" fmla="*/ 521875 h 1218057"/>
                <a:gd name="connsiteX835" fmla="*/ 84011 w 1468659"/>
                <a:gd name="connsiteY835" fmla="*/ 523780 h 1218057"/>
                <a:gd name="connsiteX836" fmla="*/ 79057 w 1468659"/>
                <a:gd name="connsiteY836" fmla="*/ 522827 h 1218057"/>
                <a:gd name="connsiteX837" fmla="*/ 78105 w 1468659"/>
                <a:gd name="connsiteY837" fmla="*/ 527780 h 1218057"/>
                <a:gd name="connsiteX838" fmla="*/ 68008 w 1468659"/>
                <a:gd name="connsiteY838" fmla="*/ 537115 h 1218057"/>
                <a:gd name="connsiteX839" fmla="*/ 66103 w 1468659"/>
                <a:gd name="connsiteY839" fmla="*/ 534162 h 1218057"/>
                <a:gd name="connsiteX840" fmla="*/ 64103 w 1468659"/>
                <a:gd name="connsiteY840" fmla="*/ 531209 h 1218057"/>
                <a:gd name="connsiteX841" fmla="*/ 59341 w 1468659"/>
                <a:gd name="connsiteY841" fmla="*/ 531781 h 1218057"/>
                <a:gd name="connsiteX842" fmla="*/ 50863 w 1468659"/>
                <a:gd name="connsiteY842" fmla="*/ 528066 h 1218057"/>
                <a:gd name="connsiteX843" fmla="*/ 53816 w 1468659"/>
                <a:gd name="connsiteY843" fmla="*/ 526066 h 1218057"/>
                <a:gd name="connsiteX844" fmla="*/ 53626 w 1468659"/>
                <a:gd name="connsiteY844" fmla="*/ 524447 h 1218057"/>
                <a:gd name="connsiteX845" fmla="*/ 40576 w 1468659"/>
                <a:gd name="connsiteY845" fmla="*/ 522922 h 1218057"/>
                <a:gd name="connsiteX846" fmla="*/ 39243 w 1468659"/>
                <a:gd name="connsiteY846" fmla="*/ 524732 h 1218057"/>
                <a:gd name="connsiteX847" fmla="*/ 39433 w 1468659"/>
                <a:gd name="connsiteY847" fmla="*/ 526256 h 1218057"/>
                <a:gd name="connsiteX848" fmla="*/ 46101 w 1468659"/>
                <a:gd name="connsiteY848" fmla="*/ 528638 h 1218057"/>
                <a:gd name="connsiteX849" fmla="*/ 48101 w 1468659"/>
                <a:gd name="connsiteY849" fmla="*/ 531590 h 1218057"/>
                <a:gd name="connsiteX850" fmla="*/ 46768 w 1468659"/>
                <a:gd name="connsiteY850" fmla="*/ 533400 h 1218057"/>
                <a:gd name="connsiteX851" fmla="*/ 43720 w 1468659"/>
                <a:gd name="connsiteY851" fmla="*/ 535400 h 1218057"/>
                <a:gd name="connsiteX852" fmla="*/ 41434 w 1468659"/>
                <a:gd name="connsiteY852" fmla="*/ 542068 h 1218057"/>
                <a:gd name="connsiteX853" fmla="*/ 41624 w 1468659"/>
                <a:gd name="connsiteY853" fmla="*/ 543687 h 1218057"/>
                <a:gd name="connsiteX854" fmla="*/ 40481 w 1468659"/>
                <a:gd name="connsiteY854" fmla="*/ 547021 h 1218057"/>
                <a:gd name="connsiteX855" fmla="*/ 39433 w 1468659"/>
                <a:gd name="connsiteY855" fmla="*/ 551974 h 1218057"/>
                <a:gd name="connsiteX856" fmla="*/ 42863 w 1468659"/>
                <a:gd name="connsiteY856" fmla="*/ 553117 h 1218057"/>
                <a:gd name="connsiteX857" fmla="*/ 44386 w 1468659"/>
                <a:gd name="connsiteY857" fmla="*/ 565785 h 1218057"/>
                <a:gd name="connsiteX858" fmla="*/ 43244 w 1468659"/>
                <a:gd name="connsiteY858" fmla="*/ 569119 h 1218057"/>
                <a:gd name="connsiteX859" fmla="*/ 32385 w 1468659"/>
                <a:gd name="connsiteY859" fmla="*/ 572072 h 1218057"/>
                <a:gd name="connsiteX860" fmla="*/ 32575 w 1468659"/>
                <a:gd name="connsiteY860" fmla="*/ 573691 h 1218057"/>
                <a:gd name="connsiteX861" fmla="*/ 35433 w 1468659"/>
                <a:gd name="connsiteY861" fmla="*/ 582930 h 1218057"/>
                <a:gd name="connsiteX862" fmla="*/ 42481 w 1468659"/>
                <a:gd name="connsiteY862" fmla="*/ 588455 h 1218057"/>
                <a:gd name="connsiteX863" fmla="*/ 44482 w 1468659"/>
                <a:gd name="connsiteY863" fmla="*/ 591407 h 1218057"/>
                <a:gd name="connsiteX864" fmla="*/ 42386 w 1468659"/>
                <a:gd name="connsiteY864" fmla="*/ 599694 h 1218057"/>
                <a:gd name="connsiteX865" fmla="*/ 50292 w 1468659"/>
                <a:gd name="connsiteY865" fmla="*/ 611505 h 1218057"/>
                <a:gd name="connsiteX866" fmla="*/ 51054 w 1468659"/>
                <a:gd name="connsiteY866" fmla="*/ 617792 h 1218057"/>
                <a:gd name="connsiteX867" fmla="*/ 49911 w 1468659"/>
                <a:gd name="connsiteY867" fmla="*/ 621221 h 1218057"/>
                <a:gd name="connsiteX868" fmla="*/ 47720 w 1468659"/>
                <a:gd name="connsiteY868" fmla="*/ 629507 h 1218057"/>
                <a:gd name="connsiteX869" fmla="*/ 34957 w 1468659"/>
                <a:gd name="connsiteY869" fmla="*/ 642366 h 1218057"/>
                <a:gd name="connsiteX870" fmla="*/ 31147 w 1468659"/>
                <a:gd name="connsiteY870" fmla="*/ 637984 h 1218057"/>
                <a:gd name="connsiteX871" fmla="*/ 27813 w 1468659"/>
                <a:gd name="connsiteY871" fmla="*/ 636842 h 1218057"/>
                <a:gd name="connsiteX872" fmla="*/ 25813 w 1468659"/>
                <a:gd name="connsiteY872" fmla="*/ 633889 h 1218057"/>
                <a:gd name="connsiteX873" fmla="*/ 24289 w 1468659"/>
                <a:gd name="connsiteY873" fmla="*/ 634079 h 1218057"/>
                <a:gd name="connsiteX874" fmla="*/ 24670 w 1468659"/>
                <a:gd name="connsiteY874" fmla="*/ 637222 h 1218057"/>
                <a:gd name="connsiteX875" fmla="*/ 15049 w 1468659"/>
                <a:gd name="connsiteY875" fmla="*/ 649700 h 1218057"/>
                <a:gd name="connsiteX876" fmla="*/ 13240 w 1468659"/>
                <a:gd name="connsiteY876" fmla="*/ 661130 h 1218057"/>
                <a:gd name="connsiteX877" fmla="*/ 5048 w 1468659"/>
                <a:gd name="connsiteY877" fmla="*/ 671798 h 1218057"/>
                <a:gd name="connsiteX878" fmla="*/ 7048 w 1468659"/>
                <a:gd name="connsiteY878" fmla="*/ 674751 h 1218057"/>
                <a:gd name="connsiteX879" fmla="*/ 6191 w 1468659"/>
                <a:gd name="connsiteY879" fmla="*/ 681228 h 1218057"/>
                <a:gd name="connsiteX880" fmla="*/ 6858 w 1468659"/>
                <a:gd name="connsiteY880" fmla="*/ 685990 h 1218057"/>
                <a:gd name="connsiteX881" fmla="*/ 1524 w 1468659"/>
                <a:gd name="connsiteY881" fmla="*/ 694658 h 1218057"/>
                <a:gd name="connsiteX882" fmla="*/ 2096 w 1468659"/>
                <a:gd name="connsiteY882" fmla="*/ 699421 h 1218057"/>
                <a:gd name="connsiteX883" fmla="*/ 0 w 1468659"/>
                <a:gd name="connsiteY883" fmla="*/ 707707 h 1218057"/>
                <a:gd name="connsiteX884" fmla="*/ 3905 w 1468659"/>
                <a:gd name="connsiteY884" fmla="*/ 713613 h 1218057"/>
                <a:gd name="connsiteX885" fmla="*/ 10668 w 1468659"/>
                <a:gd name="connsiteY885" fmla="*/ 715994 h 1218057"/>
                <a:gd name="connsiteX886" fmla="*/ 9715 w 1468659"/>
                <a:gd name="connsiteY886" fmla="*/ 720947 h 1218057"/>
                <a:gd name="connsiteX887" fmla="*/ 10668 w 1468659"/>
                <a:gd name="connsiteY887" fmla="*/ 728853 h 1218057"/>
                <a:gd name="connsiteX888" fmla="*/ 15621 w 1468659"/>
                <a:gd name="connsiteY888" fmla="*/ 729805 h 1218057"/>
                <a:gd name="connsiteX889" fmla="*/ 18383 w 1468659"/>
                <a:gd name="connsiteY889" fmla="*/ 726186 h 1218057"/>
                <a:gd name="connsiteX890" fmla="*/ 25527 w 1468659"/>
                <a:gd name="connsiteY890" fmla="*/ 731710 h 1218057"/>
                <a:gd name="connsiteX891" fmla="*/ 28289 w 1468659"/>
                <a:gd name="connsiteY891" fmla="*/ 728186 h 1218057"/>
                <a:gd name="connsiteX892" fmla="*/ 31242 w 1468659"/>
                <a:gd name="connsiteY892" fmla="*/ 726186 h 1218057"/>
                <a:gd name="connsiteX893" fmla="*/ 38957 w 1468659"/>
                <a:gd name="connsiteY893" fmla="*/ 736473 h 1218057"/>
                <a:gd name="connsiteX894" fmla="*/ 36767 w 1468659"/>
                <a:gd name="connsiteY894" fmla="*/ 744760 h 1218057"/>
                <a:gd name="connsiteX895" fmla="*/ 40957 w 1468659"/>
                <a:gd name="connsiteY895" fmla="*/ 752189 h 1218057"/>
                <a:gd name="connsiteX896" fmla="*/ 52006 w 1468659"/>
                <a:gd name="connsiteY896" fmla="*/ 763619 h 1218057"/>
                <a:gd name="connsiteX897" fmla="*/ 51435 w 1468659"/>
                <a:gd name="connsiteY897" fmla="*/ 758952 h 1218057"/>
                <a:gd name="connsiteX898" fmla="*/ 54388 w 1468659"/>
                <a:gd name="connsiteY898" fmla="*/ 756952 h 1218057"/>
                <a:gd name="connsiteX899" fmla="*/ 58483 w 1468659"/>
                <a:gd name="connsiteY899" fmla="*/ 751618 h 1218057"/>
                <a:gd name="connsiteX900" fmla="*/ 64960 w 1468659"/>
                <a:gd name="connsiteY900" fmla="*/ 752380 h 1218057"/>
                <a:gd name="connsiteX901" fmla="*/ 66770 w 1468659"/>
                <a:gd name="connsiteY901" fmla="*/ 753713 h 1218057"/>
                <a:gd name="connsiteX902" fmla="*/ 61055 w 1468659"/>
                <a:gd name="connsiteY902" fmla="*/ 759238 h 1218057"/>
                <a:gd name="connsiteX903" fmla="*/ 59912 w 1468659"/>
                <a:gd name="connsiteY903" fmla="*/ 762667 h 1218057"/>
                <a:gd name="connsiteX904" fmla="*/ 69818 w 1468659"/>
                <a:gd name="connsiteY904" fmla="*/ 777430 h 1218057"/>
                <a:gd name="connsiteX905" fmla="*/ 71247 w 1468659"/>
                <a:gd name="connsiteY905" fmla="*/ 788480 h 1218057"/>
                <a:gd name="connsiteX906" fmla="*/ 72771 w 1468659"/>
                <a:gd name="connsiteY906" fmla="*/ 788289 h 1218057"/>
                <a:gd name="connsiteX907" fmla="*/ 74771 w 1468659"/>
                <a:gd name="connsiteY907" fmla="*/ 791242 h 1218057"/>
                <a:gd name="connsiteX908" fmla="*/ 82486 w 1468659"/>
                <a:gd name="connsiteY908" fmla="*/ 814292 h 1218057"/>
                <a:gd name="connsiteX909" fmla="*/ 87630 w 1468659"/>
                <a:gd name="connsiteY909" fmla="*/ 816864 h 1218057"/>
                <a:gd name="connsiteX910" fmla="*/ 92773 w 1468659"/>
                <a:gd name="connsiteY910" fmla="*/ 819340 h 1218057"/>
                <a:gd name="connsiteX911" fmla="*/ 91630 w 1468659"/>
                <a:gd name="connsiteY911" fmla="*/ 822770 h 1218057"/>
                <a:gd name="connsiteX912" fmla="*/ 94202 w 1468659"/>
                <a:gd name="connsiteY912" fmla="*/ 830389 h 1218057"/>
                <a:gd name="connsiteX913" fmla="*/ 97726 w 1468659"/>
                <a:gd name="connsiteY913" fmla="*/ 833152 h 1218057"/>
                <a:gd name="connsiteX914" fmla="*/ 104108 w 1468659"/>
                <a:gd name="connsiteY914" fmla="*/ 832390 h 1218057"/>
                <a:gd name="connsiteX915" fmla="*/ 105823 w 1468659"/>
                <a:gd name="connsiteY915" fmla="*/ 833723 h 1218057"/>
                <a:gd name="connsiteX916" fmla="*/ 114871 w 1468659"/>
                <a:gd name="connsiteY916" fmla="*/ 829437 h 1218057"/>
                <a:gd name="connsiteX917" fmla="*/ 126778 w 1468659"/>
                <a:gd name="connsiteY917" fmla="*/ 834295 h 1218057"/>
                <a:gd name="connsiteX918" fmla="*/ 132683 w 1468659"/>
                <a:gd name="connsiteY918" fmla="*/ 830294 h 1218057"/>
                <a:gd name="connsiteX919" fmla="*/ 136779 w 1468659"/>
                <a:gd name="connsiteY919" fmla="*/ 824960 h 1218057"/>
                <a:gd name="connsiteX920" fmla="*/ 141922 w 1468659"/>
                <a:gd name="connsiteY920" fmla="*/ 827532 h 1218057"/>
                <a:gd name="connsiteX921" fmla="*/ 142970 w 1468659"/>
                <a:gd name="connsiteY921" fmla="*/ 835438 h 1218057"/>
                <a:gd name="connsiteX922" fmla="*/ 151067 w 1468659"/>
                <a:gd name="connsiteY922" fmla="*/ 848868 h 1218057"/>
                <a:gd name="connsiteX923" fmla="*/ 148685 w 1468659"/>
                <a:gd name="connsiteY923" fmla="*/ 855536 h 1218057"/>
                <a:gd name="connsiteX924" fmla="*/ 160020 w 1468659"/>
                <a:gd name="connsiteY924" fmla="*/ 881348 h 1218057"/>
                <a:gd name="connsiteX925" fmla="*/ 160401 w 1468659"/>
                <a:gd name="connsiteY925" fmla="*/ 884491 h 1218057"/>
                <a:gd name="connsiteX926" fmla="*/ 164401 w 1468659"/>
                <a:gd name="connsiteY926" fmla="*/ 890492 h 1218057"/>
                <a:gd name="connsiteX927" fmla="*/ 170688 w 1468659"/>
                <a:gd name="connsiteY927" fmla="*/ 889635 h 1218057"/>
                <a:gd name="connsiteX928" fmla="*/ 180594 w 1468659"/>
                <a:gd name="connsiteY928" fmla="*/ 891635 h 1218057"/>
                <a:gd name="connsiteX929" fmla="*/ 176594 w 1468659"/>
                <a:gd name="connsiteY929" fmla="*/ 898493 h 1218057"/>
                <a:gd name="connsiteX930" fmla="*/ 183737 w 1468659"/>
                <a:gd name="connsiteY930" fmla="*/ 904018 h 1218057"/>
                <a:gd name="connsiteX931" fmla="*/ 182975 w 1468659"/>
                <a:gd name="connsiteY931" fmla="*/ 910495 h 1218057"/>
                <a:gd name="connsiteX932" fmla="*/ 194881 w 1468659"/>
                <a:gd name="connsiteY932" fmla="*/ 928306 h 1218057"/>
                <a:gd name="connsiteX933" fmla="*/ 190405 w 1468659"/>
                <a:gd name="connsiteY933" fmla="*/ 943261 h 1218057"/>
                <a:gd name="connsiteX934" fmla="*/ 187833 w 1468659"/>
                <a:gd name="connsiteY934" fmla="*/ 948404 h 1218057"/>
                <a:gd name="connsiteX935" fmla="*/ 193357 w 1468659"/>
                <a:gd name="connsiteY935" fmla="*/ 954119 h 1218057"/>
                <a:gd name="connsiteX936" fmla="*/ 208597 w 1468659"/>
                <a:gd name="connsiteY936" fmla="*/ 960215 h 1218057"/>
                <a:gd name="connsiteX937" fmla="*/ 216217 w 1468659"/>
                <a:gd name="connsiteY937" fmla="*/ 957644 h 1218057"/>
                <a:gd name="connsiteX938" fmla="*/ 218408 w 1468659"/>
                <a:gd name="connsiteY938" fmla="*/ 962120 h 1218057"/>
                <a:gd name="connsiteX939" fmla="*/ 224504 w 1468659"/>
                <a:gd name="connsiteY939" fmla="*/ 959739 h 1218057"/>
                <a:gd name="connsiteX940" fmla="*/ 236220 w 1468659"/>
                <a:gd name="connsiteY940" fmla="*/ 963073 h 1218057"/>
                <a:gd name="connsiteX941" fmla="*/ 247079 w 1468659"/>
                <a:gd name="connsiteY941" fmla="*/ 972979 h 1218057"/>
                <a:gd name="connsiteX942" fmla="*/ 253937 w 1468659"/>
                <a:gd name="connsiteY942" fmla="*/ 976884 h 1218057"/>
                <a:gd name="connsiteX943" fmla="*/ 265462 w 1468659"/>
                <a:gd name="connsiteY943" fmla="*/ 991457 h 1218057"/>
                <a:gd name="connsiteX944" fmla="*/ 270986 w 1468659"/>
                <a:gd name="connsiteY944" fmla="*/ 997172 h 1218057"/>
                <a:gd name="connsiteX945" fmla="*/ 271367 w 1468659"/>
                <a:gd name="connsiteY945" fmla="*/ 1000315 h 1218057"/>
                <a:gd name="connsiteX946" fmla="*/ 274796 w 1468659"/>
                <a:gd name="connsiteY946" fmla="*/ 1001458 h 1218057"/>
                <a:gd name="connsiteX947" fmla="*/ 275368 w 1468659"/>
                <a:gd name="connsiteY947" fmla="*/ 1006221 h 1218057"/>
                <a:gd name="connsiteX948" fmla="*/ 286417 w 1468659"/>
                <a:gd name="connsiteY948" fmla="*/ 1017651 h 1218057"/>
                <a:gd name="connsiteX949" fmla="*/ 289560 w 1468659"/>
                <a:gd name="connsiteY949" fmla="*/ 1017270 h 1218057"/>
                <a:gd name="connsiteX950" fmla="*/ 293180 w 1468659"/>
                <a:gd name="connsiteY950" fmla="*/ 1019937 h 1218057"/>
                <a:gd name="connsiteX951" fmla="*/ 297275 w 1468659"/>
                <a:gd name="connsiteY951" fmla="*/ 1027462 h 1218057"/>
                <a:gd name="connsiteX952" fmla="*/ 306991 w 1468659"/>
                <a:gd name="connsiteY952" fmla="*/ 1027843 h 1218057"/>
                <a:gd name="connsiteX953" fmla="*/ 312515 w 1468659"/>
                <a:gd name="connsiteY953" fmla="*/ 1033558 h 1218057"/>
                <a:gd name="connsiteX954" fmla="*/ 317278 w 1468659"/>
                <a:gd name="connsiteY954" fmla="*/ 1032986 h 1218057"/>
                <a:gd name="connsiteX955" fmla="*/ 330327 w 1468659"/>
                <a:gd name="connsiteY955" fmla="*/ 1034510 h 1218057"/>
                <a:gd name="connsiteX956" fmla="*/ 333851 w 1468659"/>
                <a:gd name="connsiteY956" fmla="*/ 1037272 h 1218057"/>
                <a:gd name="connsiteX957" fmla="*/ 334804 w 1468659"/>
                <a:gd name="connsiteY957" fmla="*/ 1045178 h 1218057"/>
                <a:gd name="connsiteX958" fmla="*/ 336423 w 1468659"/>
                <a:gd name="connsiteY958" fmla="*/ 1044988 h 1218057"/>
                <a:gd name="connsiteX959" fmla="*/ 333851 w 1468659"/>
                <a:gd name="connsiteY959" fmla="*/ 1050036 h 1218057"/>
                <a:gd name="connsiteX960" fmla="*/ 340138 w 1468659"/>
                <a:gd name="connsiteY960" fmla="*/ 1049274 h 1218057"/>
                <a:gd name="connsiteX961" fmla="*/ 338995 w 1468659"/>
                <a:gd name="connsiteY961" fmla="*/ 1052608 h 1218057"/>
                <a:gd name="connsiteX962" fmla="*/ 344329 w 1468659"/>
                <a:gd name="connsiteY962" fmla="*/ 1056799 h 1218057"/>
                <a:gd name="connsiteX963" fmla="*/ 346520 w 1468659"/>
                <a:gd name="connsiteY963" fmla="*/ 1061275 h 1218057"/>
                <a:gd name="connsiteX964" fmla="*/ 344900 w 1468659"/>
                <a:gd name="connsiteY964" fmla="*/ 1061466 h 1218057"/>
                <a:gd name="connsiteX965" fmla="*/ 343567 w 1468659"/>
                <a:gd name="connsiteY965" fmla="*/ 1063276 h 1218057"/>
                <a:gd name="connsiteX966" fmla="*/ 350710 w 1468659"/>
                <a:gd name="connsiteY966" fmla="*/ 1068800 h 1218057"/>
                <a:gd name="connsiteX967" fmla="*/ 351092 w 1468659"/>
                <a:gd name="connsiteY967" fmla="*/ 1071944 h 1218057"/>
                <a:gd name="connsiteX968" fmla="*/ 354425 w 1468659"/>
                <a:gd name="connsiteY968" fmla="*/ 1073087 h 1218057"/>
                <a:gd name="connsiteX969" fmla="*/ 358997 w 1468659"/>
                <a:gd name="connsiteY969" fmla="*/ 1070896 h 1218057"/>
                <a:gd name="connsiteX970" fmla="*/ 365855 w 1468659"/>
                <a:gd name="connsiteY970" fmla="*/ 1074896 h 1218057"/>
                <a:gd name="connsiteX971" fmla="*/ 369284 w 1468659"/>
                <a:gd name="connsiteY971" fmla="*/ 1076039 h 1218057"/>
                <a:gd name="connsiteX972" fmla="*/ 368903 w 1468659"/>
                <a:gd name="connsiteY972" fmla="*/ 1085659 h 1218057"/>
                <a:gd name="connsiteX973" fmla="*/ 368141 w 1468659"/>
                <a:gd name="connsiteY973" fmla="*/ 1092232 h 1218057"/>
                <a:gd name="connsiteX974" fmla="*/ 364141 w 1468659"/>
                <a:gd name="connsiteY974" fmla="*/ 1099185 h 1218057"/>
                <a:gd name="connsiteX975" fmla="*/ 355663 w 1468659"/>
                <a:gd name="connsiteY975" fmla="*/ 1095375 h 1218057"/>
                <a:gd name="connsiteX976" fmla="*/ 343281 w 1468659"/>
                <a:gd name="connsiteY976" fmla="*/ 1098614 h 1218057"/>
                <a:gd name="connsiteX977" fmla="*/ 342709 w 1468659"/>
                <a:gd name="connsiteY977" fmla="*/ 1106710 h 1218057"/>
                <a:gd name="connsiteX978" fmla="*/ 338138 w 1468659"/>
                <a:gd name="connsiteY978" fmla="*/ 1108900 h 1218057"/>
                <a:gd name="connsiteX979" fmla="*/ 335375 w 1468659"/>
                <a:gd name="connsiteY979" fmla="*/ 1112425 h 1218057"/>
                <a:gd name="connsiteX980" fmla="*/ 333851 w 1468659"/>
                <a:gd name="connsiteY980" fmla="*/ 1112615 h 1218057"/>
                <a:gd name="connsiteX981" fmla="*/ 342900 w 1468659"/>
                <a:gd name="connsiteY981" fmla="*/ 1121092 h 1218057"/>
                <a:gd name="connsiteX982" fmla="*/ 343091 w 1468659"/>
                <a:gd name="connsiteY982" fmla="*/ 1122712 h 1218057"/>
                <a:gd name="connsiteX983" fmla="*/ 348425 w 1468659"/>
                <a:gd name="connsiteY983" fmla="*/ 1126807 h 1218057"/>
                <a:gd name="connsiteX984" fmla="*/ 347091 w 1468659"/>
                <a:gd name="connsiteY984" fmla="*/ 1128617 h 1218057"/>
                <a:gd name="connsiteX985" fmla="*/ 356521 w 1468659"/>
                <a:gd name="connsiteY985" fmla="*/ 1127379 h 1218057"/>
                <a:gd name="connsiteX986" fmla="*/ 359950 w 1468659"/>
                <a:gd name="connsiteY986" fmla="*/ 1128522 h 1218057"/>
                <a:gd name="connsiteX987" fmla="*/ 359569 w 1468659"/>
                <a:gd name="connsiteY987" fmla="*/ 1138238 h 1218057"/>
                <a:gd name="connsiteX988" fmla="*/ 354806 w 1468659"/>
                <a:gd name="connsiteY988" fmla="*/ 1138809 h 1218057"/>
                <a:gd name="connsiteX989" fmla="*/ 356806 w 1468659"/>
                <a:gd name="connsiteY989" fmla="*/ 1141762 h 1218057"/>
                <a:gd name="connsiteX990" fmla="*/ 355568 w 1468659"/>
                <a:gd name="connsiteY990" fmla="*/ 1145096 h 1218057"/>
                <a:gd name="connsiteX991" fmla="*/ 362331 w 1468659"/>
                <a:gd name="connsiteY991" fmla="*/ 1147477 h 1218057"/>
                <a:gd name="connsiteX992" fmla="*/ 362712 w 1468659"/>
                <a:gd name="connsiteY992" fmla="*/ 1150620 h 1218057"/>
                <a:gd name="connsiteX993" fmla="*/ 364903 w 1468659"/>
                <a:gd name="connsiteY993" fmla="*/ 1155192 h 1218057"/>
                <a:gd name="connsiteX994" fmla="*/ 370808 w 1468659"/>
                <a:gd name="connsiteY994" fmla="*/ 1151191 h 1218057"/>
                <a:gd name="connsiteX995" fmla="*/ 375761 w 1468659"/>
                <a:gd name="connsiteY995" fmla="*/ 1152239 h 1218057"/>
                <a:gd name="connsiteX996" fmla="*/ 373189 w 1468659"/>
                <a:gd name="connsiteY996" fmla="*/ 1157288 h 1218057"/>
                <a:gd name="connsiteX997" fmla="*/ 374237 w 1468659"/>
                <a:gd name="connsiteY997" fmla="*/ 1165193 h 1218057"/>
                <a:gd name="connsiteX998" fmla="*/ 375761 w 1468659"/>
                <a:gd name="connsiteY998" fmla="*/ 1165003 h 1218057"/>
                <a:gd name="connsiteX999" fmla="*/ 378333 w 1468659"/>
                <a:gd name="connsiteY999" fmla="*/ 1159859 h 1218057"/>
                <a:gd name="connsiteX1000" fmla="*/ 394525 w 1468659"/>
                <a:gd name="connsiteY1000" fmla="*/ 1161002 h 1218057"/>
                <a:gd name="connsiteX1001" fmla="*/ 394525 w 1468659"/>
                <a:gd name="connsiteY1001" fmla="*/ 1161002 h 1218057"/>
                <a:gd name="connsiteX1002" fmla="*/ 396335 w 1468659"/>
                <a:gd name="connsiteY1002" fmla="*/ 1162431 h 1218057"/>
                <a:gd name="connsiteX1003" fmla="*/ 393954 w 1468659"/>
                <a:gd name="connsiteY1003" fmla="*/ 1169098 h 1218057"/>
                <a:gd name="connsiteX1004" fmla="*/ 400812 w 1468659"/>
                <a:gd name="connsiteY1004" fmla="*/ 1173004 h 1218057"/>
                <a:gd name="connsiteX1005" fmla="*/ 410337 w 1468659"/>
                <a:gd name="connsiteY1005" fmla="*/ 1171861 h 1218057"/>
                <a:gd name="connsiteX1006" fmla="*/ 420529 w 1468659"/>
                <a:gd name="connsiteY1006" fmla="*/ 1164146 h 1218057"/>
                <a:gd name="connsiteX1007" fmla="*/ 429101 w 1468659"/>
                <a:gd name="connsiteY1007" fmla="*/ 1167860 h 1218057"/>
                <a:gd name="connsiteX1008" fmla="*/ 435197 w 1468659"/>
                <a:gd name="connsiteY1008" fmla="*/ 1165479 h 1218057"/>
                <a:gd name="connsiteX1009" fmla="*/ 440531 w 1468659"/>
                <a:gd name="connsiteY1009" fmla="*/ 1169575 h 1218057"/>
                <a:gd name="connsiteX1010" fmla="*/ 442055 w 1468659"/>
                <a:gd name="connsiteY1010" fmla="*/ 1169384 h 1218057"/>
                <a:gd name="connsiteX1011" fmla="*/ 442722 w 1468659"/>
                <a:gd name="connsiteY1011" fmla="*/ 1174147 h 1218057"/>
                <a:gd name="connsiteX1012" fmla="*/ 451961 w 1468659"/>
                <a:gd name="connsiteY1012" fmla="*/ 1171384 h 1218057"/>
                <a:gd name="connsiteX1013" fmla="*/ 453580 w 1468659"/>
                <a:gd name="connsiteY1013" fmla="*/ 1171099 h 1218057"/>
                <a:gd name="connsiteX1014" fmla="*/ 453295 w 1468659"/>
                <a:gd name="connsiteY1014" fmla="*/ 1169575 h 1218057"/>
                <a:gd name="connsiteX1015" fmla="*/ 456533 w 1468659"/>
                <a:gd name="connsiteY1015" fmla="*/ 1169194 h 1218057"/>
                <a:gd name="connsiteX1016" fmla="*/ 459867 w 1468659"/>
                <a:gd name="connsiteY1016" fmla="*/ 1170337 h 1218057"/>
                <a:gd name="connsiteX1017" fmla="*/ 466344 w 1468659"/>
                <a:gd name="connsiteY1017" fmla="*/ 1171099 h 1218057"/>
                <a:gd name="connsiteX1018" fmla="*/ 479965 w 1468659"/>
                <a:gd name="connsiteY1018" fmla="*/ 1177385 h 1218057"/>
                <a:gd name="connsiteX1019" fmla="*/ 488251 w 1468659"/>
                <a:gd name="connsiteY1019" fmla="*/ 1179576 h 1218057"/>
                <a:gd name="connsiteX1020" fmla="*/ 496824 w 1468659"/>
                <a:gd name="connsiteY1020" fmla="*/ 1183291 h 1218057"/>
                <a:gd name="connsiteX1021" fmla="*/ 497396 w 1468659"/>
                <a:gd name="connsiteY1021" fmla="*/ 1188053 h 1218057"/>
                <a:gd name="connsiteX1022" fmla="*/ 511207 w 1468659"/>
                <a:gd name="connsiteY1022" fmla="*/ 1183005 h 1218057"/>
                <a:gd name="connsiteX1023" fmla="*/ 521017 w 1468659"/>
                <a:gd name="connsiteY1023" fmla="*/ 1185005 h 1218057"/>
                <a:gd name="connsiteX1024" fmla="*/ 527018 w 1468659"/>
                <a:gd name="connsiteY1024" fmla="*/ 1193864 h 1218057"/>
                <a:gd name="connsiteX1025" fmla="*/ 549307 w 1468659"/>
                <a:gd name="connsiteY1025" fmla="*/ 1205484 h 1218057"/>
                <a:gd name="connsiteX1026" fmla="*/ 555879 w 1468659"/>
                <a:gd name="connsiteY1026" fmla="*/ 1206246 h 1218057"/>
                <a:gd name="connsiteX1027" fmla="*/ 558832 w 1468659"/>
                <a:gd name="connsiteY1027" fmla="*/ 1204246 h 1218057"/>
                <a:gd name="connsiteX1028" fmla="*/ 560165 w 1468659"/>
                <a:gd name="connsiteY1028" fmla="*/ 1215295 h 1218057"/>
                <a:gd name="connsiteX1029" fmla="*/ 563785 w 1468659"/>
                <a:gd name="connsiteY1029" fmla="*/ 1218057 h 1218057"/>
                <a:gd name="connsiteX1030" fmla="*/ 571405 w 1468659"/>
                <a:gd name="connsiteY1030" fmla="*/ 1215485 h 1218057"/>
                <a:gd name="connsiteX1031" fmla="*/ 573786 w 1468659"/>
                <a:gd name="connsiteY1031" fmla="*/ 1208723 h 1218057"/>
                <a:gd name="connsiteX1032" fmla="*/ 579882 w 1468659"/>
                <a:gd name="connsiteY1032" fmla="*/ 1206341 h 1218057"/>
                <a:gd name="connsiteX1033" fmla="*/ 579120 w 1468659"/>
                <a:gd name="connsiteY1033" fmla="*/ 1200055 h 1218057"/>
                <a:gd name="connsiteX1034" fmla="*/ 583025 w 1468659"/>
                <a:gd name="connsiteY1034" fmla="*/ 1193102 h 1218057"/>
                <a:gd name="connsiteX1035" fmla="*/ 589312 w 1468659"/>
                <a:gd name="connsiteY1035" fmla="*/ 1192339 h 1218057"/>
                <a:gd name="connsiteX1036" fmla="*/ 591693 w 1468659"/>
                <a:gd name="connsiteY1036" fmla="*/ 1198436 h 1218057"/>
                <a:gd name="connsiteX1037" fmla="*/ 595122 w 1468659"/>
                <a:gd name="connsiteY1037" fmla="*/ 1199579 h 1218057"/>
                <a:gd name="connsiteX1038" fmla="*/ 599789 w 1468659"/>
                <a:gd name="connsiteY1038" fmla="*/ 1199007 h 1218057"/>
                <a:gd name="connsiteX1039" fmla="*/ 604361 w 1468659"/>
                <a:gd name="connsiteY1039" fmla="*/ 1196816 h 1218057"/>
                <a:gd name="connsiteX1040" fmla="*/ 608267 w 1468659"/>
                <a:gd name="connsiteY1040" fmla="*/ 1189958 h 1218057"/>
                <a:gd name="connsiteX1041" fmla="*/ 606076 w 1468659"/>
                <a:gd name="connsiteY1041" fmla="*/ 1185386 h 1218057"/>
                <a:gd name="connsiteX1042" fmla="*/ 604076 w 1468659"/>
                <a:gd name="connsiteY1042" fmla="*/ 1182433 h 1218057"/>
                <a:gd name="connsiteX1043" fmla="*/ 602933 w 1468659"/>
                <a:gd name="connsiteY1043" fmla="*/ 1173004 h 1218057"/>
                <a:gd name="connsiteX1044" fmla="*/ 605885 w 1468659"/>
                <a:gd name="connsiteY1044" fmla="*/ 1171004 h 1218057"/>
                <a:gd name="connsiteX1045" fmla="*/ 609409 w 1468659"/>
                <a:gd name="connsiteY1045" fmla="*/ 1173766 h 1218057"/>
                <a:gd name="connsiteX1046" fmla="*/ 615696 w 1468659"/>
                <a:gd name="connsiteY1046" fmla="*/ 1172908 h 1218057"/>
                <a:gd name="connsiteX1047" fmla="*/ 617315 w 1468659"/>
                <a:gd name="connsiteY1047" fmla="*/ 1172718 h 1218057"/>
                <a:gd name="connsiteX1048" fmla="*/ 623792 w 1468659"/>
                <a:gd name="connsiteY1048" fmla="*/ 1173480 h 1218057"/>
                <a:gd name="connsiteX1049" fmla="*/ 630746 w 1468659"/>
                <a:gd name="connsiteY1049" fmla="*/ 1177481 h 1218057"/>
                <a:gd name="connsiteX1050" fmla="*/ 635698 w 1468659"/>
                <a:gd name="connsiteY1050" fmla="*/ 1178433 h 1218057"/>
                <a:gd name="connsiteX1051" fmla="*/ 637604 w 1468659"/>
                <a:gd name="connsiteY1051" fmla="*/ 1168527 h 1218057"/>
                <a:gd name="connsiteX1052" fmla="*/ 643509 w 1468659"/>
                <a:gd name="connsiteY1052" fmla="*/ 1164527 h 1218057"/>
                <a:gd name="connsiteX1053" fmla="*/ 644271 w 1468659"/>
                <a:gd name="connsiteY1053" fmla="*/ 1158049 h 1218057"/>
                <a:gd name="connsiteX1054" fmla="*/ 648081 w 1468659"/>
                <a:gd name="connsiteY1054" fmla="*/ 1149572 h 1218057"/>
                <a:gd name="connsiteX1055" fmla="*/ 647033 w 1468659"/>
                <a:gd name="connsiteY1055" fmla="*/ 1141666 h 1218057"/>
                <a:gd name="connsiteX1056" fmla="*/ 651129 w 1468659"/>
                <a:gd name="connsiteY1056" fmla="*/ 1136332 h 1218057"/>
                <a:gd name="connsiteX1057" fmla="*/ 654558 w 1468659"/>
                <a:gd name="connsiteY1057" fmla="*/ 1137475 h 1218057"/>
                <a:gd name="connsiteX1058" fmla="*/ 651701 w 1468659"/>
                <a:gd name="connsiteY1058" fmla="*/ 1128236 h 1218057"/>
                <a:gd name="connsiteX1059" fmla="*/ 644462 w 1468659"/>
                <a:gd name="connsiteY1059" fmla="*/ 1121188 h 1218057"/>
                <a:gd name="connsiteX1060" fmla="*/ 643604 w 1468659"/>
                <a:gd name="connsiteY1060" fmla="*/ 1114806 h 1218057"/>
                <a:gd name="connsiteX1061" fmla="*/ 651510 w 1468659"/>
                <a:gd name="connsiteY1061" fmla="*/ 1113854 h 1218057"/>
                <a:gd name="connsiteX1062" fmla="*/ 654844 w 1468659"/>
                <a:gd name="connsiteY1062" fmla="*/ 1114997 h 1218057"/>
                <a:gd name="connsiteX1063" fmla="*/ 662559 w 1468659"/>
                <a:gd name="connsiteY1063" fmla="*/ 1112425 h 1218057"/>
                <a:gd name="connsiteX1064" fmla="*/ 662368 w 1468659"/>
                <a:gd name="connsiteY1064" fmla="*/ 1110901 h 1218057"/>
                <a:gd name="connsiteX1065" fmla="*/ 664559 w 1468659"/>
                <a:gd name="connsiteY1065" fmla="*/ 1115378 h 1218057"/>
                <a:gd name="connsiteX1066" fmla="*/ 668084 w 1468659"/>
                <a:gd name="connsiteY1066" fmla="*/ 1118140 h 1218057"/>
                <a:gd name="connsiteX1067" fmla="*/ 666559 w 1468659"/>
                <a:gd name="connsiteY1067" fmla="*/ 1118330 h 1218057"/>
                <a:gd name="connsiteX1068" fmla="*/ 666750 w 1468659"/>
                <a:gd name="connsiteY1068" fmla="*/ 1119949 h 1218057"/>
                <a:gd name="connsiteX1069" fmla="*/ 672275 w 1468659"/>
                <a:gd name="connsiteY1069" fmla="*/ 1125664 h 1218057"/>
                <a:gd name="connsiteX1070" fmla="*/ 679133 w 1468659"/>
                <a:gd name="connsiteY1070" fmla="*/ 1129570 h 1218057"/>
                <a:gd name="connsiteX1071" fmla="*/ 681514 w 1468659"/>
                <a:gd name="connsiteY1071" fmla="*/ 1135666 h 1218057"/>
                <a:gd name="connsiteX1072" fmla="*/ 680371 w 1468659"/>
                <a:gd name="connsiteY1072" fmla="*/ 1138999 h 1218057"/>
                <a:gd name="connsiteX1073" fmla="*/ 683895 w 1468659"/>
                <a:gd name="connsiteY1073" fmla="*/ 1141762 h 1218057"/>
                <a:gd name="connsiteX1074" fmla="*/ 687896 w 1468659"/>
                <a:gd name="connsiteY1074" fmla="*/ 1147667 h 1218057"/>
                <a:gd name="connsiteX1075" fmla="*/ 692277 w 1468659"/>
                <a:gd name="connsiteY1075" fmla="*/ 1143953 h 1218057"/>
                <a:gd name="connsiteX1076" fmla="*/ 698563 w 1468659"/>
                <a:gd name="connsiteY1076" fmla="*/ 1143095 h 1218057"/>
                <a:gd name="connsiteX1077" fmla="*/ 704088 w 1468659"/>
                <a:gd name="connsiteY1077" fmla="*/ 1148810 h 1218057"/>
                <a:gd name="connsiteX1078" fmla="*/ 718661 w 1468659"/>
                <a:gd name="connsiteY1078" fmla="*/ 1150144 h 1218057"/>
                <a:gd name="connsiteX1079" fmla="*/ 720662 w 1468659"/>
                <a:gd name="connsiteY1079" fmla="*/ 1153097 h 1218057"/>
                <a:gd name="connsiteX1080" fmla="*/ 723043 w 1468659"/>
                <a:gd name="connsiteY1080" fmla="*/ 1159288 h 1218057"/>
                <a:gd name="connsiteX1081" fmla="*/ 728377 w 1468659"/>
                <a:gd name="connsiteY1081" fmla="*/ 1163383 h 1218057"/>
                <a:gd name="connsiteX1082" fmla="*/ 731330 w 1468659"/>
                <a:gd name="connsiteY1082" fmla="*/ 1161383 h 1218057"/>
                <a:gd name="connsiteX1083" fmla="*/ 730758 w 1468659"/>
                <a:gd name="connsiteY1083" fmla="*/ 1156716 h 1218057"/>
                <a:gd name="connsiteX1084" fmla="*/ 733901 w 1468659"/>
                <a:gd name="connsiteY1084" fmla="*/ 1156240 h 1218057"/>
                <a:gd name="connsiteX1085" fmla="*/ 736854 w 1468659"/>
                <a:gd name="connsiteY1085" fmla="*/ 1154335 h 1218057"/>
                <a:gd name="connsiteX1086" fmla="*/ 739997 w 1468659"/>
                <a:gd name="connsiteY1086" fmla="*/ 1153858 h 1218057"/>
                <a:gd name="connsiteX1087" fmla="*/ 744093 w 1468659"/>
                <a:gd name="connsiteY1087" fmla="*/ 1148524 h 1218057"/>
                <a:gd name="connsiteX1088" fmla="*/ 750475 w 1468659"/>
                <a:gd name="connsiteY1088" fmla="*/ 1147763 h 1218057"/>
                <a:gd name="connsiteX1089" fmla="*/ 755713 w 1468659"/>
                <a:gd name="connsiteY1089" fmla="*/ 1139095 h 1218057"/>
                <a:gd name="connsiteX1090" fmla="*/ 758476 w 1468659"/>
                <a:gd name="connsiteY1090" fmla="*/ 1135475 h 1218057"/>
                <a:gd name="connsiteX1091" fmla="*/ 764858 w 1468659"/>
                <a:gd name="connsiteY1091" fmla="*/ 1134713 h 1218057"/>
                <a:gd name="connsiteX1092" fmla="*/ 769144 w 1468659"/>
                <a:gd name="connsiteY1092" fmla="*/ 1143762 h 1218057"/>
                <a:gd name="connsiteX1093" fmla="*/ 772954 w 1468659"/>
                <a:gd name="connsiteY1093" fmla="*/ 1160907 h 1218057"/>
                <a:gd name="connsiteX1094" fmla="*/ 776383 w 1468659"/>
                <a:gd name="connsiteY1094" fmla="*/ 1162050 h 1218057"/>
                <a:gd name="connsiteX1095" fmla="*/ 779717 w 1468659"/>
                <a:gd name="connsiteY1095" fmla="*/ 1163288 h 1218057"/>
                <a:gd name="connsiteX1096" fmla="*/ 790099 w 1468659"/>
                <a:gd name="connsiteY1096" fmla="*/ 1157097 h 1218057"/>
                <a:gd name="connsiteX1097" fmla="*/ 796671 w 1468659"/>
                <a:gd name="connsiteY1097" fmla="*/ 1170718 h 1218057"/>
                <a:gd name="connsiteX1098" fmla="*/ 802291 w 1468659"/>
                <a:gd name="connsiteY1098" fmla="*/ 1189291 h 1218057"/>
                <a:gd name="connsiteX1099" fmla="*/ 816483 w 1468659"/>
                <a:gd name="connsiteY1099" fmla="*/ 1187482 h 1218057"/>
                <a:gd name="connsiteX1100" fmla="*/ 820769 w 1468659"/>
                <a:gd name="connsiteY1100" fmla="*/ 1183672 h 1218057"/>
                <a:gd name="connsiteX1101" fmla="*/ 821150 w 1468659"/>
                <a:gd name="connsiteY1101" fmla="*/ 1186815 h 1218057"/>
                <a:gd name="connsiteX1102" fmla="*/ 824103 w 1468659"/>
                <a:gd name="connsiteY1102" fmla="*/ 1184910 h 1218057"/>
                <a:gd name="connsiteX1103" fmla="*/ 829437 w 1468659"/>
                <a:gd name="connsiteY1103" fmla="*/ 1189006 h 1218057"/>
                <a:gd name="connsiteX1104" fmla="*/ 833628 w 1468659"/>
                <a:gd name="connsiteY1104" fmla="*/ 1183672 h 1218057"/>
                <a:gd name="connsiteX1105" fmla="*/ 832771 w 1468659"/>
                <a:gd name="connsiteY1105" fmla="*/ 1177385 h 1218057"/>
                <a:gd name="connsiteX1106" fmla="*/ 837343 w 1468659"/>
                <a:gd name="connsiteY1106" fmla="*/ 1175195 h 1218057"/>
                <a:gd name="connsiteX1107" fmla="*/ 836962 w 1468659"/>
                <a:gd name="connsiteY1107" fmla="*/ 1172051 h 1218057"/>
                <a:gd name="connsiteX1108" fmla="*/ 844201 w 1468659"/>
                <a:gd name="connsiteY1108" fmla="*/ 1166241 h 1218057"/>
                <a:gd name="connsiteX1109" fmla="*/ 838676 w 1468659"/>
                <a:gd name="connsiteY1109" fmla="*/ 1147763 h 1218057"/>
                <a:gd name="connsiteX1110" fmla="*/ 845058 w 1468659"/>
                <a:gd name="connsiteY1110" fmla="*/ 1122902 h 1218057"/>
                <a:gd name="connsiteX1111" fmla="*/ 843534 w 1468659"/>
                <a:gd name="connsiteY1111" fmla="*/ 1123093 h 1218057"/>
                <a:gd name="connsiteX1112" fmla="*/ 841915 w 1468659"/>
                <a:gd name="connsiteY1112" fmla="*/ 1110424 h 1218057"/>
                <a:gd name="connsiteX1113" fmla="*/ 837152 w 1468659"/>
                <a:gd name="connsiteY1113" fmla="*/ 1110996 h 1218057"/>
                <a:gd name="connsiteX1114" fmla="*/ 844582 w 1468659"/>
                <a:gd name="connsiteY1114" fmla="*/ 1081183 h 1218057"/>
                <a:gd name="connsiteX1115" fmla="*/ 847344 w 1468659"/>
                <a:gd name="connsiteY1115" fmla="*/ 1077658 h 1218057"/>
                <a:gd name="connsiteX1116" fmla="*/ 847725 w 1468659"/>
                <a:gd name="connsiteY1116" fmla="*/ 1068038 h 1218057"/>
                <a:gd name="connsiteX1117" fmla="*/ 854202 w 1468659"/>
                <a:gd name="connsiteY1117" fmla="*/ 1055941 h 1218057"/>
                <a:gd name="connsiteX1118" fmla="*/ 856964 w 1468659"/>
                <a:gd name="connsiteY1118" fmla="*/ 1052417 h 1218057"/>
                <a:gd name="connsiteX1119" fmla="*/ 867823 w 1468659"/>
                <a:gd name="connsiteY1119" fmla="*/ 1049369 h 1218057"/>
                <a:gd name="connsiteX1120" fmla="*/ 870204 w 1468659"/>
                <a:gd name="connsiteY1120" fmla="*/ 1042702 h 1218057"/>
                <a:gd name="connsiteX1121" fmla="*/ 881253 w 1468659"/>
                <a:gd name="connsiteY1121" fmla="*/ 1041273 h 1218057"/>
                <a:gd name="connsiteX1122" fmla="*/ 889921 w 1468659"/>
                <a:gd name="connsiteY1122" fmla="*/ 1033748 h 1218057"/>
                <a:gd name="connsiteX1123" fmla="*/ 890873 w 1468659"/>
                <a:gd name="connsiteY1123" fmla="*/ 1028795 h 1218057"/>
                <a:gd name="connsiteX1124" fmla="*/ 893635 w 1468659"/>
                <a:gd name="connsiteY1124" fmla="*/ 1025271 h 1218057"/>
                <a:gd name="connsiteX1125" fmla="*/ 894588 w 1468659"/>
                <a:gd name="connsiteY1125" fmla="*/ 1020318 h 1218057"/>
                <a:gd name="connsiteX1126" fmla="*/ 899160 w 1468659"/>
                <a:gd name="connsiteY1126" fmla="*/ 1018127 h 1218057"/>
                <a:gd name="connsiteX1127" fmla="*/ 898874 w 1468659"/>
                <a:gd name="connsiteY1127" fmla="*/ 1016603 h 1218057"/>
                <a:gd name="connsiteX1128" fmla="*/ 900684 w 1468659"/>
                <a:gd name="connsiteY1128" fmla="*/ 1017937 h 1218057"/>
                <a:gd name="connsiteX1129" fmla="*/ 905256 w 1468659"/>
                <a:gd name="connsiteY1129" fmla="*/ 1015746 h 1218057"/>
                <a:gd name="connsiteX1130" fmla="*/ 900113 w 1468659"/>
                <a:gd name="connsiteY1130" fmla="*/ 1000411 h 1218057"/>
                <a:gd name="connsiteX1131" fmla="*/ 907733 w 1468659"/>
                <a:gd name="connsiteY1131" fmla="*/ 984980 h 1218057"/>
                <a:gd name="connsiteX1132" fmla="*/ 906875 w 1468659"/>
                <a:gd name="connsiteY1132" fmla="*/ 978694 h 1218057"/>
                <a:gd name="connsiteX1133" fmla="*/ 904494 w 1468659"/>
                <a:gd name="connsiteY1133" fmla="*/ 972598 h 1218057"/>
                <a:gd name="connsiteX1134" fmla="*/ 905923 w 1468659"/>
                <a:gd name="connsiteY1134" fmla="*/ 970788 h 1218057"/>
                <a:gd name="connsiteX1135" fmla="*/ 905066 w 1468659"/>
                <a:gd name="connsiteY1135" fmla="*/ 964502 h 1218057"/>
                <a:gd name="connsiteX1136" fmla="*/ 912781 w 1468659"/>
                <a:gd name="connsiteY1136" fmla="*/ 961834 h 1218057"/>
                <a:gd name="connsiteX1137" fmla="*/ 915734 w 1468659"/>
                <a:gd name="connsiteY1137" fmla="*/ 959930 h 1218057"/>
                <a:gd name="connsiteX1138" fmla="*/ 920877 w 1468659"/>
                <a:gd name="connsiteY1138" fmla="*/ 962406 h 1218057"/>
                <a:gd name="connsiteX1139" fmla="*/ 927163 w 1468659"/>
                <a:gd name="connsiteY1139" fmla="*/ 961644 h 1218057"/>
                <a:gd name="connsiteX1140" fmla="*/ 929926 w 1468659"/>
                <a:gd name="connsiteY1140" fmla="*/ 958120 h 1218057"/>
                <a:gd name="connsiteX1141" fmla="*/ 932307 w 1468659"/>
                <a:gd name="connsiteY1141" fmla="*/ 964216 h 1218057"/>
                <a:gd name="connsiteX1142" fmla="*/ 932307 w 1468659"/>
                <a:gd name="connsiteY1142" fmla="*/ 964216 h 1218057"/>
                <a:gd name="connsiteX1143" fmla="*/ 933736 w 1468659"/>
                <a:gd name="connsiteY1143" fmla="*/ 962406 h 1218057"/>
                <a:gd name="connsiteX1144" fmla="*/ 935736 w 1468659"/>
                <a:gd name="connsiteY1144" fmla="*/ 965359 h 1218057"/>
                <a:gd name="connsiteX1145" fmla="*/ 939260 w 1468659"/>
                <a:gd name="connsiteY1145" fmla="*/ 968121 h 1218057"/>
                <a:gd name="connsiteX1146" fmla="*/ 940594 w 1468659"/>
                <a:gd name="connsiteY1146" fmla="*/ 966311 h 1218057"/>
                <a:gd name="connsiteX1147" fmla="*/ 944023 w 1468659"/>
                <a:gd name="connsiteY1147" fmla="*/ 967549 h 1218057"/>
                <a:gd name="connsiteX1148" fmla="*/ 948118 w 1468659"/>
                <a:gd name="connsiteY1148" fmla="*/ 962215 h 1218057"/>
                <a:gd name="connsiteX1149" fmla="*/ 953072 w 1468659"/>
                <a:gd name="connsiteY1149" fmla="*/ 963168 h 1218057"/>
                <a:gd name="connsiteX1150" fmla="*/ 959930 w 1468659"/>
                <a:gd name="connsiteY1150" fmla="*/ 967073 h 1218057"/>
                <a:gd name="connsiteX1151" fmla="*/ 958977 w 1468659"/>
                <a:gd name="connsiteY1151" fmla="*/ 972026 h 1218057"/>
                <a:gd name="connsiteX1152" fmla="*/ 960787 w 1468659"/>
                <a:gd name="connsiteY1152" fmla="*/ 973455 h 1218057"/>
                <a:gd name="connsiteX1153" fmla="*/ 968693 w 1468659"/>
                <a:gd name="connsiteY1153" fmla="*/ 972407 h 1218057"/>
                <a:gd name="connsiteX1154" fmla="*/ 972217 w 1468659"/>
                <a:gd name="connsiteY1154" fmla="*/ 975170 h 1218057"/>
                <a:gd name="connsiteX1155" fmla="*/ 977360 w 1468659"/>
                <a:gd name="connsiteY1155" fmla="*/ 977741 h 1218057"/>
                <a:gd name="connsiteX1156" fmla="*/ 981932 w 1468659"/>
                <a:gd name="connsiteY1156" fmla="*/ 975550 h 1218057"/>
                <a:gd name="connsiteX1157" fmla="*/ 988790 w 1468659"/>
                <a:gd name="connsiteY1157" fmla="*/ 979456 h 1218057"/>
                <a:gd name="connsiteX1158" fmla="*/ 993743 w 1468659"/>
                <a:gd name="connsiteY1158" fmla="*/ 980408 h 1218057"/>
                <a:gd name="connsiteX1159" fmla="*/ 997458 w 1468659"/>
                <a:gd name="connsiteY1159" fmla="*/ 984790 h 1218057"/>
                <a:gd name="connsiteX1160" fmla="*/ 1002411 w 1468659"/>
                <a:gd name="connsiteY1160" fmla="*/ 985742 h 1218057"/>
                <a:gd name="connsiteX1161" fmla="*/ 1005364 w 1468659"/>
                <a:gd name="connsiteY1161" fmla="*/ 983742 h 1218057"/>
                <a:gd name="connsiteX1162" fmla="*/ 1012508 w 1468659"/>
                <a:gd name="connsiteY1162" fmla="*/ 989266 h 1218057"/>
                <a:gd name="connsiteX1163" fmla="*/ 1015079 w 1468659"/>
                <a:gd name="connsiteY1163" fmla="*/ 984123 h 1218057"/>
                <a:gd name="connsiteX1164" fmla="*/ 1018222 w 1468659"/>
                <a:gd name="connsiteY1164" fmla="*/ 983742 h 1218057"/>
                <a:gd name="connsiteX1165" fmla="*/ 1023938 w 1468659"/>
                <a:gd name="connsiteY1165" fmla="*/ 978217 h 1218057"/>
                <a:gd name="connsiteX1166" fmla="*/ 1027652 w 1468659"/>
                <a:gd name="connsiteY1166" fmla="*/ 969740 h 1218057"/>
                <a:gd name="connsiteX1167" fmla="*/ 1025843 w 1468659"/>
                <a:gd name="connsiteY1167" fmla="*/ 968312 h 1218057"/>
                <a:gd name="connsiteX1168" fmla="*/ 1027081 w 1468659"/>
                <a:gd name="connsiteY1168" fmla="*/ 964978 h 1218057"/>
                <a:gd name="connsiteX1169" fmla="*/ 1026890 w 1468659"/>
                <a:gd name="connsiteY1169" fmla="*/ 963358 h 1218057"/>
                <a:gd name="connsiteX1170" fmla="*/ 1011269 w 1468659"/>
                <a:gd name="connsiteY1170" fmla="*/ 954119 h 1218057"/>
                <a:gd name="connsiteX1171" fmla="*/ 1011079 w 1468659"/>
                <a:gd name="connsiteY1171" fmla="*/ 952595 h 1218057"/>
                <a:gd name="connsiteX1172" fmla="*/ 1010602 w 1468659"/>
                <a:gd name="connsiteY1172" fmla="*/ 949452 h 1218057"/>
                <a:gd name="connsiteX1173" fmla="*/ 1008697 w 1468659"/>
                <a:gd name="connsiteY1173" fmla="*/ 946499 h 1218057"/>
                <a:gd name="connsiteX1174" fmla="*/ 1013936 w 1468659"/>
                <a:gd name="connsiteY1174" fmla="*/ 937736 h 1218057"/>
                <a:gd name="connsiteX1175" fmla="*/ 1012603 w 1468659"/>
                <a:gd name="connsiteY1175" fmla="*/ 926687 h 1218057"/>
                <a:gd name="connsiteX1176" fmla="*/ 1020604 w 1468659"/>
                <a:gd name="connsiteY1176" fmla="*/ 914495 h 1218057"/>
                <a:gd name="connsiteX1177" fmla="*/ 1018604 w 1468659"/>
                <a:gd name="connsiteY1177" fmla="*/ 898684 h 1218057"/>
                <a:gd name="connsiteX1178" fmla="*/ 1022985 w 1468659"/>
                <a:gd name="connsiteY1178" fmla="*/ 894969 h 1218057"/>
                <a:gd name="connsiteX1179" fmla="*/ 1022699 w 1468659"/>
                <a:gd name="connsiteY1179" fmla="*/ 893350 h 1218057"/>
                <a:gd name="connsiteX1180" fmla="*/ 1030605 w 1468659"/>
                <a:gd name="connsiteY1180" fmla="*/ 892302 h 1218057"/>
                <a:gd name="connsiteX1181" fmla="*/ 1030034 w 1468659"/>
                <a:gd name="connsiteY1181" fmla="*/ 887635 h 1218057"/>
                <a:gd name="connsiteX1182" fmla="*/ 1026033 w 1468659"/>
                <a:gd name="connsiteY1182" fmla="*/ 881729 h 1218057"/>
                <a:gd name="connsiteX1183" fmla="*/ 1025843 w 1468659"/>
                <a:gd name="connsiteY1183" fmla="*/ 880110 h 1218057"/>
                <a:gd name="connsiteX1184" fmla="*/ 1022699 w 1468659"/>
                <a:gd name="connsiteY1184" fmla="*/ 880491 h 1218057"/>
                <a:gd name="connsiteX1185" fmla="*/ 1021747 w 1468659"/>
                <a:gd name="connsiteY1185" fmla="*/ 872585 h 1218057"/>
                <a:gd name="connsiteX1186" fmla="*/ 1022890 w 1468659"/>
                <a:gd name="connsiteY1186" fmla="*/ 856488 h 1218057"/>
                <a:gd name="connsiteX1187" fmla="*/ 1030700 w 1468659"/>
                <a:gd name="connsiteY1187" fmla="*/ 855440 h 1218057"/>
                <a:gd name="connsiteX1188" fmla="*/ 1029938 w 1468659"/>
                <a:gd name="connsiteY1188" fmla="*/ 836295 h 1218057"/>
                <a:gd name="connsiteX1189" fmla="*/ 1033272 w 1468659"/>
                <a:gd name="connsiteY1189" fmla="*/ 837438 h 1218057"/>
                <a:gd name="connsiteX1190" fmla="*/ 1034225 w 1468659"/>
                <a:gd name="connsiteY1190" fmla="*/ 832580 h 1218057"/>
                <a:gd name="connsiteX1191" fmla="*/ 1035368 w 1468659"/>
                <a:gd name="connsiteY1191" fmla="*/ 829151 h 1218057"/>
                <a:gd name="connsiteX1192" fmla="*/ 1036415 w 1468659"/>
                <a:gd name="connsiteY1192" fmla="*/ 824294 h 1218057"/>
                <a:gd name="connsiteX1193" fmla="*/ 1034415 w 1468659"/>
                <a:gd name="connsiteY1193" fmla="*/ 808482 h 1218057"/>
                <a:gd name="connsiteX1194" fmla="*/ 1030796 w 1468659"/>
                <a:gd name="connsiteY1194" fmla="*/ 805720 h 1218057"/>
                <a:gd name="connsiteX1195" fmla="*/ 1030034 w 1468659"/>
                <a:gd name="connsiteY1195" fmla="*/ 799433 h 1218057"/>
                <a:gd name="connsiteX1196" fmla="*/ 1026414 w 1468659"/>
                <a:gd name="connsiteY1196" fmla="*/ 796671 h 1218057"/>
                <a:gd name="connsiteX1197" fmla="*/ 1026033 w 1468659"/>
                <a:gd name="connsiteY1197" fmla="*/ 793528 h 1218057"/>
                <a:gd name="connsiteX1198" fmla="*/ 1030414 w 1468659"/>
                <a:gd name="connsiteY1198" fmla="*/ 789718 h 1218057"/>
                <a:gd name="connsiteX1199" fmla="*/ 1031558 w 1468659"/>
                <a:gd name="connsiteY1199" fmla="*/ 786384 h 1218057"/>
                <a:gd name="connsiteX1200" fmla="*/ 1030796 w 1468659"/>
                <a:gd name="connsiteY1200" fmla="*/ 780097 h 1218057"/>
                <a:gd name="connsiteX1201" fmla="*/ 1027176 w 1468659"/>
                <a:gd name="connsiteY1201" fmla="*/ 777335 h 1218057"/>
                <a:gd name="connsiteX1202" fmla="*/ 1023842 w 1468659"/>
                <a:gd name="connsiteY1202" fmla="*/ 763334 h 1218057"/>
                <a:gd name="connsiteX1203" fmla="*/ 1024604 w 1468659"/>
                <a:gd name="connsiteY1203" fmla="*/ 756761 h 1218057"/>
                <a:gd name="connsiteX1204" fmla="*/ 1024795 w 1468659"/>
                <a:gd name="connsiteY1204" fmla="*/ 745522 h 1218057"/>
                <a:gd name="connsiteX1205" fmla="*/ 1026700 w 1468659"/>
                <a:gd name="connsiteY1205" fmla="*/ 735711 h 1218057"/>
                <a:gd name="connsiteX1206" fmla="*/ 1026890 w 1468659"/>
                <a:gd name="connsiteY1206" fmla="*/ 737235 h 1218057"/>
                <a:gd name="connsiteX1207" fmla="*/ 1029081 w 1468659"/>
                <a:gd name="connsiteY1207" fmla="*/ 728948 h 1218057"/>
                <a:gd name="connsiteX1208" fmla="*/ 1036510 w 1468659"/>
                <a:gd name="connsiteY1208" fmla="*/ 724757 h 1218057"/>
                <a:gd name="connsiteX1209" fmla="*/ 1039273 w 1468659"/>
                <a:gd name="connsiteY1209" fmla="*/ 721233 h 1218057"/>
                <a:gd name="connsiteX1210" fmla="*/ 1037558 w 1468659"/>
                <a:gd name="connsiteY1210" fmla="*/ 719900 h 1218057"/>
                <a:gd name="connsiteX1211" fmla="*/ 1040892 w 1468659"/>
                <a:gd name="connsiteY1211" fmla="*/ 708184 h 1218057"/>
                <a:gd name="connsiteX1212" fmla="*/ 1035939 w 1468659"/>
                <a:gd name="connsiteY1212" fmla="*/ 707231 h 1218057"/>
                <a:gd name="connsiteX1213" fmla="*/ 1033748 w 1468659"/>
                <a:gd name="connsiteY1213" fmla="*/ 702659 h 1218057"/>
                <a:gd name="connsiteX1214" fmla="*/ 1037654 w 1468659"/>
                <a:gd name="connsiteY1214" fmla="*/ 695801 h 1218057"/>
                <a:gd name="connsiteX1215" fmla="*/ 1042797 w 1468659"/>
                <a:gd name="connsiteY1215" fmla="*/ 698373 h 1218057"/>
                <a:gd name="connsiteX1216" fmla="*/ 1048893 w 1468659"/>
                <a:gd name="connsiteY1216" fmla="*/ 695992 h 1218057"/>
                <a:gd name="connsiteX1217" fmla="*/ 1051465 w 1468659"/>
                <a:gd name="connsiteY1217" fmla="*/ 690848 h 1218057"/>
                <a:gd name="connsiteX1218" fmla="*/ 1056037 w 1468659"/>
                <a:gd name="connsiteY1218" fmla="*/ 688657 h 1218057"/>
                <a:gd name="connsiteX1219" fmla="*/ 1060133 w 1468659"/>
                <a:gd name="connsiteY1219" fmla="*/ 696087 h 1218057"/>
                <a:gd name="connsiteX1220" fmla="*/ 1068610 w 1468659"/>
                <a:gd name="connsiteY1220" fmla="*/ 699897 h 1218057"/>
                <a:gd name="connsiteX1221" fmla="*/ 1079278 w 1468659"/>
                <a:gd name="connsiteY1221" fmla="*/ 695325 h 1218057"/>
                <a:gd name="connsiteX1222" fmla="*/ 1086041 w 1468659"/>
                <a:gd name="connsiteY1222" fmla="*/ 697611 h 1218057"/>
                <a:gd name="connsiteX1223" fmla="*/ 1088612 w 1468659"/>
                <a:gd name="connsiteY1223" fmla="*/ 705326 h 1218057"/>
                <a:gd name="connsiteX1224" fmla="*/ 1085850 w 1468659"/>
                <a:gd name="connsiteY1224" fmla="*/ 708851 h 1218057"/>
                <a:gd name="connsiteX1225" fmla="*/ 1086231 w 1468659"/>
                <a:gd name="connsiteY1225" fmla="*/ 712089 h 1218057"/>
                <a:gd name="connsiteX1226" fmla="*/ 1088231 w 1468659"/>
                <a:gd name="connsiteY1226" fmla="*/ 715042 h 1218057"/>
                <a:gd name="connsiteX1227" fmla="*/ 1102805 w 1468659"/>
                <a:gd name="connsiteY1227" fmla="*/ 716375 h 1218057"/>
                <a:gd name="connsiteX1228" fmla="*/ 1112901 w 1468659"/>
                <a:gd name="connsiteY1228" fmla="*/ 719900 h 1218057"/>
                <a:gd name="connsiteX1229" fmla="*/ 1116997 w 1468659"/>
                <a:gd name="connsiteY1229" fmla="*/ 714565 h 1218057"/>
                <a:gd name="connsiteX1230" fmla="*/ 1121759 w 1468659"/>
                <a:gd name="connsiteY1230" fmla="*/ 713899 h 1218057"/>
                <a:gd name="connsiteX1231" fmla="*/ 1126903 w 1468659"/>
                <a:gd name="connsiteY1231" fmla="*/ 716471 h 1218057"/>
                <a:gd name="connsiteX1232" fmla="*/ 1128236 w 1468659"/>
                <a:gd name="connsiteY1232" fmla="*/ 714756 h 1218057"/>
                <a:gd name="connsiteX1233" fmla="*/ 1131665 w 1468659"/>
                <a:gd name="connsiteY1233" fmla="*/ 715899 h 1218057"/>
                <a:gd name="connsiteX1234" fmla="*/ 1136142 w 1468659"/>
                <a:gd name="connsiteY1234" fmla="*/ 713708 h 1218057"/>
                <a:gd name="connsiteX1235" fmla="*/ 1136618 w 1468659"/>
                <a:gd name="connsiteY1235" fmla="*/ 716851 h 1218057"/>
                <a:gd name="connsiteX1236" fmla="*/ 1149953 w 1468659"/>
                <a:gd name="connsiteY1236" fmla="*/ 721614 h 1218057"/>
                <a:gd name="connsiteX1237" fmla="*/ 1151763 w 1468659"/>
                <a:gd name="connsiteY1237" fmla="*/ 722947 h 1218057"/>
                <a:gd name="connsiteX1238" fmla="*/ 1152811 w 1468659"/>
                <a:gd name="connsiteY1238" fmla="*/ 730853 h 1218057"/>
                <a:gd name="connsiteX1239" fmla="*/ 1149382 w 1468659"/>
                <a:gd name="connsiteY1239" fmla="*/ 729615 h 1218057"/>
                <a:gd name="connsiteX1240" fmla="*/ 1146715 w 1468659"/>
                <a:gd name="connsiteY1240" fmla="*/ 733234 h 1218057"/>
                <a:gd name="connsiteX1241" fmla="*/ 1147096 w 1468659"/>
                <a:gd name="connsiteY1241" fmla="*/ 736378 h 1218057"/>
                <a:gd name="connsiteX1242" fmla="*/ 1155573 w 1468659"/>
                <a:gd name="connsiteY1242" fmla="*/ 740093 h 1218057"/>
                <a:gd name="connsiteX1243" fmla="*/ 1155764 w 1468659"/>
                <a:gd name="connsiteY1243" fmla="*/ 741712 h 1218057"/>
                <a:gd name="connsiteX1244" fmla="*/ 1153001 w 1468659"/>
                <a:gd name="connsiteY1244" fmla="*/ 745236 h 1218057"/>
                <a:gd name="connsiteX1245" fmla="*/ 1158335 w 1468659"/>
                <a:gd name="connsiteY1245" fmla="*/ 749332 h 1218057"/>
                <a:gd name="connsiteX1246" fmla="*/ 1160907 w 1468659"/>
                <a:gd name="connsiteY1246" fmla="*/ 757047 h 1218057"/>
                <a:gd name="connsiteX1247" fmla="*/ 1159573 w 1468659"/>
                <a:gd name="connsiteY1247" fmla="*/ 758857 h 1218057"/>
                <a:gd name="connsiteX1248" fmla="*/ 1156621 w 1468659"/>
                <a:gd name="connsiteY1248" fmla="*/ 760857 h 1218057"/>
                <a:gd name="connsiteX1249" fmla="*/ 1150334 w 1468659"/>
                <a:gd name="connsiteY1249" fmla="*/ 774478 h 1218057"/>
                <a:gd name="connsiteX1250" fmla="*/ 1155859 w 1468659"/>
                <a:gd name="connsiteY1250" fmla="*/ 780193 h 1218057"/>
                <a:gd name="connsiteX1251" fmla="*/ 1158812 w 1468659"/>
                <a:gd name="connsiteY1251" fmla="*/ 778193 h 1218057"/>
                <a:gd name="connsiteX1252" fmla="*/ 1160621 w 1468659"/>
                <a:gd name="connsiteY1252" fmla="*/ 779526 h 1218057"/>
                <a:gd name="connsiteX1253" fmla="*/ 1167860 w 1468659"/>
                <a:gd name="connsiteY1253" fmla="*/ 773811 h 1218057"/>
                <a:gd name="connsiteX1254" fmla="*/ 1175004 w 1468659"/>
                <a:gd name="connsiteY1254" fmla="*/ 779335 h 1218057"/>
                <a:gd name="connsiteX1255" fmla="*/ 1183291 w 1468659"/>
                <a:gd name="connsiteY1255" fmla="*/ 768668 h 1218057"/>
                <a:gd name="connsiteX1256" fmla="*/ 1187768 w 1468659"/>
                <a:gd name="connsiteY1256" fmla="*/ 766477 h 1218057"/>
                <a:gd name="connsiteX1257" fmla="*/ 1190530 w 1468659"/>
                <a:gd name="connsiteY1257" fmla="*/ 762952 h 1218057"/>
                <a:gd name="connsiteX1258" fmla="*/ 1195102 w 1468659"/>
                <a:gd name="connsiteY1258" fmla="*/ 760762 h 1218057"/>
                <a:gd name="connsiteX1259" fmla="*/ 1201388 w 1468659"/>
                <a:gd name="connsiteY1259" fmla="*/ 759905 h 1218057"/>
                <a:gd name="connsiteX1260" fmla="*/ 1211294 w 1468659"/>
                <a:gd name="connsiteY1260" fmla="*/ 761905 h 1218057"/>
                <a:gd name="connsiteX1261" fmla="*/ 1215962 w 1468659"/>
                <a:gd name="connsiteY1261" fmla="*/ 761238 h 1218057"/>
                <a:gd name="connsiteX1262" fmla="*/ 1226439 w 1468659"/>
                <a:gd name="connsiteY1262" fmla="*/ 768001 h 1218057"/>
                <a:gd name="connsiteX1263" fmla="*/ 1227487 w 1468659"/>
                <a:gd name="connsiteY1263" fmla="*/ 763048 h 1218057"/>
                <a:gd name="connsiteX1264" fmla="*/ 1232154 w 1468659"/>
                <a:gd name="connsiteY1264" fmla="*/ 762381 h 1218057"/>
                <a:gd name="connsiteX1265" fmla="*/ 1229582 w 1468659"/>
                <a:gd name="connsiteY1265" fmla="*/ 754761 h 1218057"/>
                <a:gd name="connsiteX1266" fmla="*/ 1231011 w 1468659"/>
                <a:gd name="connsiteY1266" fmla="*/ 752951 h 1218057"/>
                <a:gd name="connsiteX1267" fmla="*/ 1234345 w 1468659"/>
                <a:gd name="connsiteY1267" fmla="*/ 754094 h 1218057"/>
                <a:gd name="connsiteX1268" fmla="*/ 1240441 w 1468659"/>
                <a:gd name="connsiteY1268" fmla="*/ 738950 h 1218057"/>
                <a:gd name="connsiteX1269" fmla="*/ 1241774 w 1468659"/>
                <a:gd name="connsiteY1269" fmla="*/ 737140 h 1218057"/>
                <a:gd name="connsiteX1270" fmla="*/ 1236059 w 1468659"/>
                <a:gd name="connsiteY1270" fmla="*/ 729805 h 1218057"/>
                <a:gd name="connsiteX1271" fmla="*/ 1238250 w 1468659"/>
                <a:gd name="connsiteY1271" fmla="*/ 721519 h 1218057"/>
                <a:gd name="connsiteX1272" fmla="*/ 1246537 w 1468659"/>
                <a:gd name="connsiteY1272" fmla="*/ 723709 h 1218057"/>
                <a:gd name="connsiteX1273" fmla="*/ 1250061 w 1468659"/>
                <a:gd name="connsiteY1273" fmla="*/ 726472 h 1218057"/>
                <a:gd name="connsiteX1274" fmla="*/ 1247680 w 1468659"/>
                <a:gd name="connsiteY1274" fmla="*/ 733139 h 1218057"/>
                <a:gd name="connsiteX1275" fmla="*/ 1258157 w 1468659"/>
                <a:gd name="connsiteY1275" fmla="*/ 739902 h 1218057"/>
                <a:gd name="connsiteX1276" fmla="*/ 1262729 w 1468659"/>
                <a:gd name="connsiteY1276" fmla="*/ 737711 h 1218057"/>
                <a:gd name="connsiteX1277" fmla="*/ 1269587 w 1468659"/>
                <a:gd name="connsiteY1277" fmla="*/ 741617 h 1218057"/>
                <a:gd name="connsiteX1278" fmla="*/ 1273969 w 1468659"/>
                <a:gd name="connsiteY1278" fmla="*/ 737806 h 1218057"/>
                <a:gd name="connsiteX1279" fmla="*/ 1276541 w 1468659"/>
                <a:gd name="connsiteY1279" fmla="*/ 732758 h 1218057"/>
                <a:gd name="connsiteX1280" fmla="*/ 1281684 w 1468659"/>
                <a:gd name="connsiteY1280" fmla="*/ 735235 h 1218057"/>
                <a:gd name="connsiteX1281" fmla="*/ 1289304 w 1468659"/>
                <a:gd name="connsiteY1281" fmla="*/ 732663 h 1218057"/>
                <a:gd name="connsiteX1282" fmla="*/ 1301020 w 1468659"/>
                <a:gd name="connsiteY1282" fmla="*/ 735997 h 1218057"/>
                <a:gd name="connsiteX1283" fmla="*/ 1316831 w 1468659"/>
                <a:gd name="connsiteY1283" fmla="*/ 746855 h 1218057"/>
                <a:gd name="connsiteX1284" fmla="*/ 1321118 w 1468659"/>
                <a:gd name="connsiteY1284" fmla="*/ 755904 h 1218057"/>
                <a:gd name="connsiteX1285" fmla="*/ 1327690 w 1468659"/>
                <a:gd name="connsiteY1285" fmla="*/ 756666 h 1218057"/>
                <a:gd name="connsiteX1286" fmla="*/ 1335214 w 1468659"/>
                <a:gd name="connsiteY1286" fmla="*/ 765334 h 1218057"/>
                <a:gd name="connsiteX1287" fmla="*/ 1343882 w 1468659"/>
                <a:gd name="connsiteY1287" fmla="*/ 770668 h 1218057"/>
                <a:gd name="connsiteX1288" fmla="*/ 1350645 w 1468659"/>
                <a:gd name="connsiteY1288" fmla="*/ 772954 h 1218057"/>
                <a:gd name="connsiteX1289" fmla="*/ 1356931 w 1468659"/>
                <a:gd name="connsiteY1289" fmla="*/ 772192 h 1218057"/>
                <a:gd name="connsiteX1290" fmla="*/ 1361885 w 1468659"/>
                <a:gd name="connsiteY1290" fmla="*/ 773144 h 1218057"/>
                <a:gd name="connsiteX1291" fmla="*/ 1365599 w 1468659"/>
                <a:gd name="connsiteY1291" fmla="*/ 777526 h 1218057"/>
                <a:gd name="connsiteX1292" fmla="*/ 1374267 w 1468659"/>
                <a:gd name="connsiteY1292" fmla="*/ 770001 h 1218057"/>
                <a:gd name="connsiteX1293" fmla="*/ 1378268 w 1468659"/>
                <a:gd name="connsiteY1293" fmla="*/ 775906 h 1218057"/>
                <a:gd name="connsiteX1294" fmla="*/ 1381792 w 1468659"/>
                <a:gd name="connsiteY1294" fmla="*/ 778669 h 1218057"/>
                <a:gd name="connsiteX1295" fmla="*/ 1385126 w 1468659"/>
                <a:gd name="connsiteY1295" fmla="*/ 779812 h 1218057"/>
                <a:gd name="connsiteX1296" fmla="*/ 1398937 w 1468659"/>
                <a:gd name="connsiteY1296" fmla="*/ 787718 h 1218057"/>
                <a:gd name="connsiteX1297" fmla="*/ 1401032 w 1468659"/>
                <a:gd name="connsiteY1297" fmla="*/ 803434 h 1218057"/>
                <a:gd name="connsiteX1298" fmla="*/ 1406938 w 1468659"/>
                <a:gd name="connsiteY1298" fmla="*/ 812292 h 1218057"/>
                <a:gd name="connsiteX1299" fmla="*/ 1425512 w 1468659"/>
                <a:gd name="connsiteY1299" fmla="*/ 819531 h 1218057"/>
                <a:gd name="connsiteX1300" fmla="*/ 1432179 w 1468659"/>
                <a:gd name="connsiteY1300" fmla="*/ 809149 h 1218057"/>
                <a:gd name="connsiteX1301" fmla="*/ 1433798 w 1468659"/>
                <a:gd name="connsiteY1301" fmla="*/ 808863 h 1218057"/>
                <a:gd name="connsiteX1302" fmla="*/ 1432941 w 1468659"/>
                <a:gd name="connsiteY1302" fmla="*/ 802577 h 1218057"/>
                <a:gd name="connsiteX1303" fmla="*/ 1434370 w 1468659"/>
                <a:gd name="connsiteY1303" fmla="*/ 800767 h 1218057"/>
                <a:gd name="connsiteX1304" fmla="*/ 1439513 w 1468659"/>
                <a:gd name="connsiteY1304" fmla="*/ 803338 h 1218057"/>
                <a:gd name="connsiteX1305" fmla="*/ 1442180 w 1468659"/>
                <a:gd name="connsiteY1305" fmla="*/ 799814 h 1218057"/>
                <a:gd name="connsiteX1306" fmla="*/ 1446752 w 1468659"/>
                <a:gd name="connsiteY1306" fmla="*/ 797623 h 1218057"/>
                <a:gd name="connsiteX1307" fmla="*/ 1440275 w 1468659"/>
                <a:gd name="connsiteY1307" fmla="*/ 796862 h 1218057"/>
                <a:gd name="connsiteX1308" fmla="*/ 1438466 w 1468659"/>
                <a:gd name="connsiteY1308" fmla="*/ 795433 h 1218057"/>
                <a:gd name="connsiteX1309" fmla="*/ 1440085 w 1468659"/>
                <a:gd name="connsiteY1309" fmla="*/ 795242 h 1218057"/>
                <a:gd name="connsiteX1310" fmla="*/ 1442752 w 1468659"/>
                <a:gd name="connsiteY1310" fmla="*/ 791718 h 1218057"/>
                <a:gd name="connsiteX1311" fmla="*/ 1446181 w 1468659"/>
                <a:gd name="connsiteY1311" fmla="*/ 792861 h 1218057"/>
                <a:gd name="connsiteX1312" fmla="*/ 1447133 w 1468659"/>
                <a:gd name="connsiteY1312" fmla="*/ 788003 h 1218057"/>
                <a:gd name="connsiteX1313" fmla="*/ 1445323 w 1468659"/>
                <a:gd name="connsiteY1313" fmla="*/ 786575 h 1218057"/>
                <a:gd name="connsiteX1314" fmla="*/ 1441990 w 1468659"/>
                <a:gd name="connsiteY1314" fmla="*/ 785431 h 1218057"/>
                <a:gd name="connsiteX1315" fmla="*/ 1441799 w 1468659"/>
                <a:gd name="connsiteY1315" fmla="*/ 783812 h 1218057"/>
                <a:gd name="connsiteX1316" fmla="*/ 1440371 w 1468659"/>
                <a:gd name="connsiteY1316" fmla="*/ 785622 h 1218057"/>
                <a:gd name="connsiteX1317" fmla="*/ 1438466 w 1468659"/>
                <a:gd name="connsiteY1317" fmla="*/ 782669 h 1218057"/>
                <a:gd name="connsiteX1318" fmla="*/ 1439227 w 1468659"/>
                <a:gd name="connsiteY1318" fmla="*/ 776097 h 1218057"/>
                <a:gd name="connsiteX1319" fmla="*/ 1444181 w 1468659"/>
                <a:gd name="connsiteY1319" fmla="*/ 777145 h 1218057"/>
                <a:gd name="connsiteX1320" fmla="*/ 1444752 w 1468659"/>
                <a:gd name="connsiteY1320" fmla="*/ 781812 h 1218057"/>
                <a:gd name="connsiteX1321" fmla="*/ 1449705 w 1468659"/>
                <a:gd name="connsiteY1321" fmla="*/ 782860 h 1218057"/>
                <a:gd name="connsiteX1322" fmla="*/ 1452848 w 1468659"/>
                <a:gd name="connsiteY1322" fmla="*/ 782384 h 1218057"/>
                <a:gd name="connsiteX1323" fmla="*/ 1454182 w 1468659"/>
                <a:gd name="connsiteY1323" fmla="*/ 780669 h 1218057"/>
                <a:gd name="connsiteX1324" fmla="*/ 1455611 w 1468659"/>
                <a:gd name="connsiteY1324" fmla="*/ 778859 h 1218057"/>
                <a:gd name="connsiteX1325" fmla="*/ 1458182 w 1468659"/>
                <a:gd name="connsiteY1325" fmla="*/ 773716 h 1218057"/>
                <a:gd name="connsiteX1326" fmla="*/ 1449229 w 1468659"/>
                <a:gd name="connsiteY1326" fmla="*/ 766858 h 1218057"/>
                <a:gd name="connsiteX1327" fmla="*/ 1450467 w 1468659"/>
                <a:gd name="connsiteY1327" fmla="*/ 763429 h 1218057"/>
                <a:gd name="connsiteX1328" fmla="*/ 1453420 w 1468659"/>
                <a:gd name="connsiteY1328" fmla="*/ 761524 h 1218057"/>
                <a:gd name="connsiteX1329" fmla="*/ 1452943 w 1468659"/>
                <a:gd name="connsiteY1329" fmla="*/ 758380 h 1218057"/>
                <a:gd name="connsiteX1330" fmla="*/ 1454182 w 1468659"/>
                <a:gd name="connsiteY1330" fmla="*/ 754951 h 1218057"/>
                <a:gd name="connsiteX1331" fmla="*/ 1443895 w 1468659"/>
                <a:gd name="connsiteY1331" fmla="*/ 749903 h 1218057"/>
                <a:gd name="connsiteX1332" fmla="*/ 1431989 w 1468659"/>
                <a:gd name="connsiteY1332" fmla="*/ 744950 h 1218057"/>
                <a:gd name="connsiteX1333" fmla="*/ 1428845 w 1468659"/>
                <a:gd name="connsiteY1333" fmla="*/ 745331 h 1218057"/>
                <a:gd name="connsiteX1334" fmla="*/ 1417606 w 1468659"/>
                <a:gd name="connsiteY1334" fmla="*/ 745236 h 1218057"/>
                <a:gd name="connsiteX1335" fmla="*/ 1414081 w 1468659"/>
                <a:gd name="connsiteY1335" fmla="*/ 742474 h 1218057"/>
                <a:gd name="connsiteX1336" fmla="*/ 1412081 w 1468659"/>
                <a:gd name="connsiteY1336" fmla="*/ 739521 h 1218057"/>
                <a:gd name="connsiteX1337" fmla="*/ 1413034 w 1468659"/>
                <a:gd name="connsiteY1337" fmla="*/ 734568 h 1218057"/>
                <a:gd name="connsiteX1338" fmla="*/ 1413796 w 1468659"/>
                <a:gd name="connsiteY1338" fmla="*/ 728091 h 1218057"/>
                <a:gd name="connsiteX1339" fmla="*/ 1415225 w 1468659"/>
                <a:gd name="connsiteY1339" fmla="*/ 726281 h 1218057"/>
                <a:gd name="connsiteX1340" fmla="*/ 1412843 w 1468659"/>
                <a:gd name="connsiteY1340" fmla="*/ 720185 h 1218057"/>
                <a:gd name="connsiteX1341" fmla="*/ 1409510 w 1468659"/>
                <a:gd name="connsiteY1341" fmla="*/ 718947 h 1218057"/>
                <a:gd name="connsiteX1342" fmla="*/ 1402747 w 1468659"/>
                <a:gd name="connsiteY1342" fmla="*/ 716661 h 1218057"/>
                <a:gd name="connsiteX1343" fmla="*/ 1398842 w 1468659"/>
                <a:gd name="connsiteY1343" fmla="*/ 723519 h 1218057"/>
                <a:gd name="connsiteX1344" fmla="*/ 1394079 w 1468659"/>
                <a:gd name="connsiteY1344" fmla="*/ 724186 h 1218057"/>
                <a:gd name="connsiteX1345" fmla="*/ 1392936 w 1468659"/>
                <a:gd name="connsiteY1345" fmla="*/ 727519 h 1218057"/>
                <a:gd name="connsiteX1346" fmla="*/ 1391317 w 1468659"/>
                <a:gd name="connsiteY1346" fmla="*/ 727710 h 1218057"/>
                <a:gd name="connsiteX1347" fmla="*/ 1386935 w 1468659"/>
                <a:gd name="connsiteY1347" fmla="*/ 718661 h 1218057"/>
                <a:gd name="connsiteX1348" fmla="*/ 1391317 w 1468659"/>
                <a:gd name="connsiteY1348" fmla="*/ 714851 h 1218057"/>
                <a:gd name="connsiteX1349" fmla="*/ 1388935 w 1468659"/>
                <a:gd name="connsiteY1349" fmla="*/ 708755 h 1218057"/>
                <a:gd name="connsiteX1350" fmla="*/ 1395031 w 1468659"/>
                <a:gd name="connsiteY1350" fmla="*/ 706374 h 1218057"/>
                <a:gd name="connsiteX1351" fmla="*/ 1399794 w 1468659"/>
                <a:gd name="connsiteY1351" fmla="*/ 705802 h 1218057"/>
                <a:gd name="connsiteX1352" fmla="*/ 1402366 w 1468659"/>
                <a:gd name="connsiteY1352" fmla="*/ 700659 h 1218057"/>
                <a:gd name="connsiteX1353" fmla="*/ 1403318 w 1468659"/>
                <a:gd name="connsiteY1353" fmla="*/ 695706 h 1218057"/>
                <a:gd name="connsiteX1354" fmla="*/ 1404842 w 1468659"/>
                <a:gd name="connsiteY1354" fmla="*/ 695515 h 1218057"/>
                <a:gd name="connsiteX1355" fmla="*/ 1408271 w 1468659"/>
                <a:gd name="connsiteY1355" fmla="*/ 696659 h 1218057"/>
                <a:gd name="connsiteX1356" fmla="*/ 1409986 w 1468659"/>
                <a:gd name="connsiteY1356" fmla="*/ 698087 h 1218057"/>
                <a:gd name="connsiteX1357" fmla="*/ 1409033 w 1468659"/>
                <a:gd name="connsiteY1357" fmla="*/ 690181 h 1218057"/>
                <a:gd name="connsiteX1358" fmla="*/ 1413986 w 1468659"/>
                <a:gd name="connsiteY1358" fmla="*/ 691134 h 1218057"/>
                <a:gd name="connsiteX1359" fmla="*/ 1415129 w 1468659"/>
                <a:gd name="connsiteY1359" fmla="*/ 687800 h 1218057"/>
                <a:gd name="connsiteX1360" fmla="*/ 1418082 w 1468659"/>
                <a:gd name="connsiteY1360" fmla="*/ 685800 h 1218057"/>
                <a:gd name="connsiteX1361" fmla="*/ 1416272 w 1468659"/>
                <a:gd name="connsiteY1361" fmla="*/ 684467 h 1218057"/>
                <a:gd name="connsiteX1362" fmla="*/ 1418844 w 1468659"/>
                <a:gd name="connsiteY1362" fmla="*/ 679323 h 1218057"/>
                <a:gd name="connsiteX1363" fmla="*/ 1415510 w 1468659"/>
                <a:gd name="connsiteY1363" fmla="*/ 678085 h 1218057"/>
                <a:gd name="connsiteX1364" fmla="*/ 1416844 w 1468659"/>
                <a:gd name="connsiteY1364" fmla="*/ 676370 h 1218057"/>
                <a:gd name="connsiteX1365" fmla="*/ 1414939 w 1468659"/>
                <a:gd name="connsiteY1365" fmla="*/ 673418 h 1218057"/>
                <a:gd name="connsiteX1366" fmla="*/ 1416082 w 1468659"/>
                <a:gd name="connsiteY1366" fmla="*/ 669988 h 1218057"/>
                <a:gd name="connsiteX1367" fmla="*/ 1423988 w 1468659"/>
                <a:gd name="connsiteY1367" fmla="*/ 669036 h 1218057"/>
                <a:gd name="connsiteX1368" fmla="*/ 1430084 w 1468659"/>
                <a:gd name="connsiteY1368" fmla="*/ 666655 h 1218057"/>
                <a:gd name="connsiteX1369" fmla="*/ 1432179 w 1468659"/>
                <a:gd name="connsiteY1369" fmla="*/ 658368 h 1218057"/>
                <a:gd name="connsiteX1370" fmla="*/ 1427035 w 1468659"/>
                <a:gd name="connsiteY1370" fmla="*/ 655796 h 1218057"/>
                <a:gd name="connsiteX1371" fmla="*/ 1427893 w 1468659"/>
                <a:gd name="connsiteY1371" fmla="*/ 649319 h 1218057"/>
                <a:gd name="connsiteX1372" fmla="*/ 1426083 w 1468659"/>
                <a:gd name="connsiteY1372" fmla="*/ 647890 h 1218057"/>
                <a:gd name="connsiteX1373" fmla="*/ 1424273 w 1468659"/>
                <a:gd name="connsiteY1373" fmla="*/ 646557 h 1218057"/>
                <a:gd name="connsiteX1374" fmla="*/ 1431989 w 1468659"/>
                <a:gd name="connsiteY1374" fmla="*/ 643985 h 1218057"/>
                <a:gd name="connsiteX1375" fmla="*/ 1435513 w 1468659"/>
                <a:gd name="connsiteY1375" fmla="*/ 646652 h 1218057"/>
                <a:gd name="connsiteX1376" fmla="*/ 1436084 w 1468659"/>
                <a:gd name="connsiteY1376" fmla="*/ 638651 h 1218057"/>
                <a:gd name="connsiteX1377" fmla="*/ 1432179 w 1468659"/>
                <a:gd name="connsiteY1377" fmla="*/ 632651 h 1218057"/>
                <a:gd name="connsiteX1378" fmla="*/ 1433131 w 1468659"/>
                <a:gd name="connsiteY1378" fmla="*/ 627793 h 1218057"/>
                <a:gd name="connsiteX1379" fmla="*/ 1443418 w 1468659"/>
                <a:gd name="connsiteY1379" fmla="*/ 632841 h 1218057"/>
                <a:gd name="connsiteX1380" fmla="*/ 1451324 w 1468659"/>
                <a:gd name="connsiteY1380" fmla="*/ 631888 h 1218057"/>
                <a:gd name="connsiteX1381" fmla="*/ 1453039 w 1468659"/>
                <a:gd name="connsiteY1381" fmla="*/ 633222 h 1218057"/>
                <a:gd name="connsiteX1382" fmla="*/ 1454468 w 1468659"/>
                <a:gd name="connsiteY1382" fmla="*/ 631507 h 1218057"/>
                <a:gd name="connsiteX1383" fmla="*/ 1456277 w 1468659"/>
                <a:gd name="connsiteY1383" fmla="*/ 632841 h 1218057"/>
                <a:gd name="connsiteX1384" fmla="*/ 1462564 w 1468659"/>
                <a:gd name="connsiteY1384" fmla="*/ 632079 h 1218057"/>
                <a:gd name="connsiteX1385" fmla="*/ 1465326 w 1468659"/>
                <a:gd name="connsiteY1385" fmla="*/ 628459 h 1218057"/>
                <a:gd name="connsiteX1386" fmla="*/ 1464659 w 1468659"/>
                <a:gd name="connsiteY1386" fmla="*/ 623697 h 1218057"/>
                <a:gd name="connsiteX1387" fmla="*/ 1460754 w 1468659"/>
                <a:gd name="connsiteY1387" fmla="*/ 617792 h 1218057"/>
                <a:gd name="connsiteX1388" fmla="*/ 1468660 w 1468659"/>
                <a:gd name="connsiteY1388" fmla="*/ 616839 h 1218057"/>
                <a:gd name="connsiteX1389" fmla="*/ 1468660 w 1468659"/>
                <a:gd name="connsiteY1389" fmla="*/ 616839 h 1218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</a:cxnLst>
              <a:rect l="l" t="t" r="r" b="b"/>
              <a:pathLst>
                <a:path w="1468659" h="1218057">
                  <a:moveTo>
                    <a:pt x="1468660" y="616839"/>
                  </a:moveTo>
                  <a:lnTo>
                    <a:pt x="1453801" y="601027"/>
                  </a:lnTo>
                  <a:lnTo>
                    <a:pt x="1456563" y="597503"/>
                  </a:lnTo>
                  <a:lnTo>
                    <a:pt x="1461230" y="596932"/>
                  </a:lnTo>
                  <a:lnTo>
                    <a:pt x="1459325" y="593979"/>
                  </a:lnTo>
                  <a:lnTo>
                    <a:pt x="1451039" y="591788"/>
                  </a:lnTo>
                  <a:lnTo>
                    <a:pt x="1448086" y="593788"/>
                  </a:lnTo>
                  <a:lnTo>
                    <a:pt x="1449800" y="595122"/>
                  </a:lnTo>
                  <a:lnTo>
                    <a:pt x="1448467" y="596932"/>
                  </a:lnTo>
                  <a:lnTo>
                    <a:pt x="1439132" y="586930"/>
                  </a:lnTo>
                  <a:lnTo>
                    <a:pt x="1435608" y="584168"/>
                  </a:lnTo>
                  <a:lnTo>
                    <a:pt x="1436942" y="582359"/>
                  </a:lnTo>
                  <a:lnTo>
                    <a:pt x="1444847" y="581406"/>
                  </a:lnTo>
                  <a:lnTo>
                    <a:pt x="1446657" y="582739"/>
                  </a:lnTo>
                  <a:lnTo>
                    <a:pt x="1444276" y="576643"/>
                  </a:lnTo>
                  <a:lnTo>
                    <a:pt x="1443038" y="567118"/>
                  </a:lnTo>
                  <a:lnTo>
                    <a:pt x="1436370" y="564832"/>
                  </a:lnTo>
                  <a:lnTo>
                    <a:pt x="1433989" y="571500"/>
                  </a:lnTo>
                  <a:lnTo>
                    <a:pt x="1434751" y="565023"/>
                  </a:lnTo>
                  <a:lnTo>
                    <a:pt x="1427607" y="559498"/>
                  </a:lnTo>
                  <a:lnTo>
                    <a:pt x="1424654" y="561499"/>
                  </a:lnTo>
                  <a:lnTo>
                    <a:pt x="1421321" y="560356"/>
                  </a:lnTo>
                  <a:lnTo>
                    <a:pt x="1420368" y="565213"/>
                  </a:lnTo>
                  <a:lnTo>
                    <a:pt x="1424083" y="569595"/>
                  </a:lnTo>
                  <a:lnTo>
                    <a:pt x="1421321" y="573119"/>
                  </a:lnTo>
                  <a:lnTo>
                    <a:pt x="1416463" y="572167"/>
                  </a:lnTo>
                  <a:lnTo>
                    <a:pt x="1416177" y="570547"/>
                  </a:lnTo>
                  <a:lnTo>
                    <a:pt x="1412462" y="566261"/>
                  </a:lnTo>
                  <a:lnTo>
                    <a:pt x="1404366" y="565690"/>
                  </a:lnTo>
                  <a:lnTo>
                    <a:pt x="1403033" y="567500"/>
                  </a:lnTo>
                  <a:lnTo>
                    <a:pt x="1396270" y="577882"/>
                  </a:lnTo>
                  <a:lnTo>
                    <a:pt x="1391412" y="576929"/>
                  </a:lnTo>
                  <a:lnTo>
                    <a:pt x="1384840" y="576167"/>
                  </a:lnTo>
                  <a:lnTo>
                    <a:pt x="1373410" y="574453"/>
                  </a:lnTo>
                  <a:lnTo>
                    <a:pt x="1373791" y="577596"/>
                  </a:lnTo>
                  <a:lnTo>
                    <a:pt x="1370457" y="576453"/>
                  </a:lnTo>
                  <a:lnTo>
                    <a:pt x="1369123" y="578168"/>
                  </a:lnTo>
                  <a:lnTo>
                    <a:pt x="1367123" y="575215"/>
                  </a:lnTo>
                  <a:lnTo>
                    <a:pt x="1365504" y="575405"/>
                  </a:lnTo>
                  <a:lnTo>
                    <a:pt x="1357789" y="565213"/>
                  </a:lnTo>
                  <a:lnTo>
                    <a:pt x="1354264" y="562451"/>
                  </a:lnTo>
                  <a:lnTo>
                    <a:pt x="1351121" y="562832"/>
                  </a:lnTo>
                  <a:lnTo>
                    <a:pt x="1348168" y="564832"/>
                  </a:lnTo>
                  <a:lnTo>
                    <a:pt x="1346740" y="566642"/>
                  </a:lnTo>
                  <a:lnTo>
                    <a:pt x="1345216" y="566833"/>
                  </a:lnTo>
                  <a:lnTo>
                    <a:pt x="1343025" y="575119"/>
                  </a:lnTo>
                  <a:lnTo>
                    <a:pt x="1340453" y="580263"/>
                  </a:lnTo>
                  <a:lnTo>
                    <a:pt x="1338739" y="578834"/>
                  </a:lnTo>
                  <a:lnTo>
                    <a:pt x="1339501" y="572357"/>
                  </a:lnTo>
                  <a:lnTo>
                    <a:pt x="1330928" y="568643"/>
                  </a:lnTo>
                  <a:lnTo>
                    <a:pt x="1327214" y="564261"/>
                  </a:lnTo>
                  <a:lnTo>
                    <a:pt x="1320260" y="560356"/>
                  </a:lnTo>
                  <a:lnTo>
                    <a:pt x="1318736" y="560546"/>
                  </a:lnTo>
                  <a:lnTo>
                    <a:pt x="1315593" y="560927"/>
                  </a:lnTo>
                  <a:lnTo>
                    <a:pt x="1308640" y="557022"/>
                  </a:lnTo>
                  <a:lnTo>
                    <a:pt x="1309592" y="552069"/>
                  </a:lnTo>
                  <a:lnTo>
                    <a:pt x="1307211" y="545973"/>
                  </a:lnTo>
                  <a:lnTo>
                    <a:pt x="1303496" y="541687"/>
                  </a:lnTo>
                  <a:lnTo>
                    <a:pt x="1302353" y="545021"/>
                  </a:lnTo>
                  <a:lnTo>
                    <a:pt x="1295400" y="541115"/>
                  </a:lnTo>
                  <a:lnTo>
                    <a:pt x="1296352" y="536162"/>
                  </a:lnTo>
                  <a:lnTo>
                    <a:pt x="1294829" y="536353"/>
                  </a:lnTo>
                  <a:lnTo>
                    <a:pt x="1291400" y="535114"/>
                  </a:lnTo>
                  <a:lnTo>
                    <a:pt x="1293590" y="539686"/>
                  </a:lnTo>
                  <a:lnTo>
                    <a:pt x="1290447" y="540068"/>
                  </a:lnTo>
                  <a:lnTo>
                    <a:pt x="1288447" y="537115"/>
                  </a:lnTo>
                  <a:lnTo>
                    <a:pt x="1285875" y="529495"/>
                  </a:lnTo>
                  <a:lnTo>
                    <a:pt x="1285304" y="524732"/>
                  </a:lnTo>
                  <a:lnTo>
                    <a:pt x="1281970" y="523494"/>
                  </a:lnTo>
                  <a:lnTo>
                    <a:pt x="1278731" y="523970"/>
                  </a:lnTo>
                  <a:lnTo>
                    <a:pt x="1282732" y="517017"/>
                  </a:lnTo>
                  <a:lnTo>
                    <a:pt x="1282732" y="517017"/>
                  </a:lnTo>
                  <a:lnTo>
                    <a:pt x="1281875" y="510730"/>
                  </a:lnTo>
                  <a:lnTo>
                    <a:pt x="1285875" y="503777"/>
                  </a:lnTo>
                  <a:lnTo>
                    <a:pt x="1285399" y="500634"/>
                  </a:lnTo>
                  <a:lnTo>
                    <a:pt x="1289399" y="493681"/>
                  </a:lnTo>
                  <a:lnTo>
                    <a:pt x="1285970" y="492538"/>
                  </a:lnTo>
                  <a:lnTo>
                    <a:pt x="1287399" y="490728"/>
                  </a:lnTo>
                  <a:lnTo>
                    <a:pt x="1285208" y="486251"/>
                  </a:lnTo>
                  <a:lnTo>
                    <a:pt x="1283970" y="476726"/>
                  </a:lnTo>
                  <a:lnTo>
                    <a:pt x="1284542" y="468725"/>
                  </a:lnTo>
                  <a:lnTo>
                    <a:pt x="1281017" y="465963"/>
                  </a:lnTo>
                  <a:lnTo>
                    <a:pt x="1274255" y="463582"/>
                  </a:lnTo>
                  <a:lnTo>
                    <a:pt x="1271302" y="465582"/>
                  </a:lnTo>
                  <a:lnTo>
                    <a:pt x="1268159" y="465963"/>
                  </a:lnTo>
                  <a:lnTo>
                    <a:pt x="1266158" y="463010"/>
                  </a:lnTo>
                  <a:lnTo>
                    <a:pt x="1261491" y="463582"/>
                  </a:lnTo>
                  <a:lnTo>
                    <a:pt x="1262063" y="468344"/>
                  </a:lnTo>
                  <a:lnTo>
                    <a:pt x="1255967" y="470725"/>
                  </a:lnTo>
                  <a:lnTo>
                    <a:pt x="1247299" y="465392"/>
                  </a:lnTo>
                  <a:lnTo>
                    <a:pt x="1240917" y="466249"/>
                  </a:lnTo>
                  <a:lnTo>
                    <a:pt x="1236821" y="471583"/>
                  </a:lnTo>
                  <a:lnTo>
                    <a:pt x="1232249" y="473773"/>
                  </a:lnTo>
                  <a:lnTo>
                    <a:pt x="1230344" y="470821"/>
                  </a:lnTo>
                  <a:lnTo>
                    <a:pt x="1226915" y="469582"/>
                  </a:lnTo>
                  <a:lnTo>
                    <a:pt x="1222629" y="473392"/>
                  </a:lnTo>
                  <a:lnTo>
                    <a:pt x="1223010" y="476536"/>
                  </a:lnTo>
                  <a:lnTo>
                    <a:pt x="1218533" y="478726"/>
                  </a:lnTo>
                  <a:lnTo>
                    <a:pt x="1220819" y="471964"/>
                  </a:lnTo>
                  <a:lnTo>
                    <a:pt x="1219105" y="470630"/>
                  </a:lnTo>
                  <a:lnTo>
                    <a:pt x="1221772" y="467011"/>
                  </a:lnTo>
                  <a:lnTo>
                    <a:pt x="1211104" y="458819"/>
                  </a:lnTo>
                  <a:lnTo>
                    <a:pt x="1209770" y="460534"/>
                  </a:lnTo>
                  <a:lnTo>
                    <a:pt x="1204627" y="458057"/>
                  </a:lnTo>
                  <a:lnTo>
                    <a:pt x="1201484" y="458438"/>
                  </a:lnTo>
                  <a:lnTo>
                    <a:pt x="1192816" y="453104"/>
                  </a:lnTo>
                  <a:lnTo>
                    <a:pt x="1186434" y="453866"/>
                  </a:lnTo>
                  <a:lnTo>
                    <a:pt x="1185291" y="457295"/>
                  </a:lnTo>
                  <a:lnTo>
                    <a:pt x="1178909" y="445294"/>
                  </a:lnTo>
                  <a:lnTo>
                    <a:pt x="1174052" y="444246"/>
                  </a:lnTo>
                  <a:lnTo>
                    <a:pt x="1174623" y="449009"/>
                  </a:lnTo>
                  <a:lnTo>
                    <a:pt x="1165003" y="461486"/>
                  </a:lnTo>
                  <a:lnTo>
                    <a:pt x="1155859" y="465868"/>
                  </a:lnTo>
                  <a:lnTo>
                    <a:pt x="1152525" y="464630"/>
                  </a:lnTo>
                  <a:lnTo>
                    <a:pt x="1145858" y="462248"/>
                  </a:lnTo>
                  <a:lnTo>
                    <a:pt x="1137571" y="460153"/>
                  </a:lnTo>
                  <a:lnTo>
                    <a:pt x="1138714" y="456819"/>
                  </a:lnTo>
                  <a:lnTo>
                    <a:pt x="1135952" y="447484"/>
                  </a:lnTo>
                  <a:lnTo>
                    <a:pt x="1137285" y="445770"/>
                  </a:lnTo>
                  <a:lnTo>
                    <a:pt x="1137095" y="444151"/>
                  </a:lnTo>
                  <a:lnTo>
                    <a:pt x="1135285" y="442817"/>
                  </a:lnTo>
                  <a:lnTo>
                    <a:pt x="1132713" y="435102"/>
                  </a:lnTo>
                  <a:lnTo>
                    <a:pt x="1129570" y="435483"/>
                  </a:lnTo>
                  <a:lnTo>
                    <a:pt x="1127379" y="431006"/>
                  </a:lnTo>
                  <a:lnTo>
                    <a:pt x="1124045" y="429768"/>
                  </a:lnTo>
                  <a:lnTo>
                    <a:pt x="1114616" y="431006"/>
                  </a:lnTo>
                  <a:lnTo>
                    <a:pt x="1109091" y="438150"/>
                  </a:lnTo>
                  <a:lnTo>
                    <a:pt x="1103567" y="432435"/>
                  </a:lnTo>
                  <a:lnTo>
                    <a:pt x="1096994" y="431673"/>
                  </a:lnTo>
                  <a:lnTo>
                    <a:pt x="1093089" y="425767"/>
                  </a:lnTo>
                  <a:lnTo>
                    <a:pt x="1094613" y="425482"/>
                  </a:lnTo>
                  <a:lnTo>
                    <a:pt x="1098042" y="426720"/>
                  </a:lnTo>
                  <a:lnTo>
                    <a:pt x="1110996" y="428244"/>
                  </a:lnTo>
                  <a:lnTo>
                    <a:pt x="1112044" y="423291"/>
                  </a:lnTo>
                  <a:lnTo>
                    <a:pt x="1108043" y="417385"/>
                  </a:lnTo>
                  <a:lnTo>
                    <a:pt x="1112330" y="413671"/>
                  </a:lnTo>
                  <a:lnTo>
                    <a:pt x="1112901" y="405575"/>
                  </a:lnTo>
                  <a:lnTo>
                    <a:pt x="1098137" y="402622"/>
                  </a:lnTo>
                  <a:lnTo>
                    <a:pt x="1089851" y="400431"/>
                  </a:lnTo>
                  <a:lnTo>
                    <a:pt x="1088041" y="399097"/>
                  </a:lnTo>
                  <a:lnTo>
                    <a:pt x="1086898" y="402431"/>
                  </a:lnTo>
                  <a:lnTo>
                    <a:pt x="1081945" y="401479"/>
                  </a:lnTo>
                  <a:lnTo>
                    <a:pt x="1083373" y="399669"/>
                  </a:lnTo>
                  <a:lnTo>
                    <a:pt x="1074610" y="394430"/>
                  </a:lnTo>
                  <a:lnTo>
                    <a:pt x="1072420" y="389858"/>
                  </a:lnTo>
                  <a:lnTo>
                    <a:pt x="1068134" y="380809"/>
                  </a:lnTo>
                  <a:lnTo>
                    <a:pt x="1063181" y="379857"/>
                  </a:lnTo>
                  <a:lnTo>
                    <a:pt x="1064133" y="374904"/>
                  </a:lnTo>
                  <a:lnTo>
                    <a:pt x="1062800" y="376618"/>
                  </a:lnTo>
                  <a:lnTo>
                    <a:pt x="1060799" y="373666"/>
                  </a:lnTo>
                  <a:lnTo>
                    <a:pt x="1054894" y="377666"/>
                  </a:lnTo>
                  <a:lnTo>
                    <a:pt x="1053465" y="379476"/>
                  </a:lnTo>
                  <a:lnTo>
                    <a:pt x="1050322" y="379857"/>
                  </a:lnTo>
                  <a:lnTo>
                    <a:pt x="1046035" y="383572"/>
                  </a:lnTo>
                  <a:lnTo>
                    <a:pt x="1041463" y="385763"/>
                  </a:lnTo>
                  <a:lnTo>
                    <a:pt x="1033367" y="398050"/>
                  </a:lnTo>
                  <a:lnTo>
                    <a:pt x="1025080" y="395859"/>
                  </a:lnTo>
                  <a:lnTo>
                    <a:pt x="1024890" y="394335"/>
                  </a:lnTo>
                  <a:lnTo>
                    <a:pt x="1023366" y="394525"/>
                  </a:lnTo>
                  <a:lnTo>
                    <a:pt x="1022699" y="389763"/>
                  </a:lnTo>
                  <a:lnTo>
                    <a:pt x="1018794" y="383857"/>
                  </a:lnTo>
                  <a:lnTo>
                    <a:pt x="1011460" y="376809"/>
                  </a:lnTo>
                  <a:lnTo>
                    <a:pt x="1008507" y="378809"/>
                  </a:lnTo>
                  <a:lnTo>
                    <a:pt x="1006697" y="377380"/>
                  </a:lnTo>
                  <a:lnTo>
                    <a:pt x="1002792" y="371475"/>
                  </a:lnTo>
                  <a:lnTo>
                    <a:pt x="1003745" y="366522"/>
                  </a:lnTo>
                  <a:lnTo>
                    <a:pt x="1000411" y="365379"/>
                  </a:lnTo>
                  <a:lnTo>
                    <a:pt x="999934" y="362236"/>
                  </a:lnTo>
                  <a:lnTo>
                    <a:pt x="991648" y="360045"/>
                  </a:lnTo>
                  <a:lnTo>
                    <a:pt x="984980" y="357664"/>
                  </a:lnTo>
                  <a:lnTo>
                    <a:pt x="988695" y="349186"/>
                  </a:lnTo>
                  <a:lnTo>
                    <a:pt x="988314" y="346043"/>
                  </a:lnTo>
                  <a:lnTo>
                    <a:pt x="981551" y="343662"/>
                  </a:lnTo>
                  <a:lnTo>
                    <a:pt x="974217" y="336613"/>
                  </a:lnTo>
                  <a:lnTo>
                    <a:pt x="972122" y="332042"/>
                  </a:lnTo>
                  <a:lnTo>
                    <a:pt x="971645" y="328898"/>
                  </a:lnTo>
                  <a:lnTo>
                    <a:pt x="974598" y="326993"/>
                  </a:lnTo>
                  <a:lnTo>
                    <a:pt x="974026" y="322231"/>
                  </a:lnTo>
                  <a:lnTo>
                    <a:pt x="978789" y="321659"/>
                  </a:lnTo>
                  <a:lnTo>
                    <a:pt x="978122" y="316897"/>
                  </a:lnTo>
                  <a:lnTo>
                    <a:pt x="979932" y="318230"/>
                  </a:lnTo>
                  <a:lnTo>
                    <a:pt x="983837" y="311372"/>
                  </a:lnTo>
                  <a:lnTo>
                    <a:pt x="986790" y="309372"/>
                  </a:lnTo>
                  <a:lnTo>
                    <a:pt x="990219" y="310515"/>
                  </a:lnTo>
                  <a:lnTo>
                    <a:pt x="991172" y="305562"/>
                  </a:lnTo>
                  <a:lnTo>
                    <a:pt x="986600" y="307753"/>
                  </a:lnTo>
                  <a:lnTo>
                    <a:pt x="985171" y="296704"/>
                  </a:lnTo>
                  <a:lnTo>
                    <a:pt x="981266" y="290798"/>
                  </a:lnTo>
                  <a:lnTo>
                    <a:pt x="973169" y="290227"/>
                  </a:lnTo>
                  <a:lnTo>
                    <a:pt x="964501" y="284988"/>
                  </a:lnTo>
                  <a:lnTo>
                    <a:pt x="962882" y="285179"/>
                  </a:lnTo>
                  <a:lnTo>
                    <a:pt x="960882" y="282226"/>
                  </a:lnTo>
                  <a:lnTo>
                    <a:pt x="963644" y="278606"/>
                  </a:lnTo>
                  <a:lnTo>
                    <a:pt x="963263" y="275463"/>
                  </a:lnTo>
                  <a:lnTo>
                    <a:pt x="961263" y="272510"/>
                  </a:lnTo>
                  <a:lnTo>
                    <a:pt x="962501" y="269176"/>
                  </a:lnTo>
                  <a:lnTo>
                    <a:pt x="965454" y="267176"/>
                  </a:lnTo>
                  <a:lnTo>
                    <a:pt x="962025" y="266033"/>
                  </a:lnTo>
                  <a:lnTo>
                    <a:pt x="963073" y="261080"/>
                  </a:lnTo>
                  <a:lnTo>
                    <a:pt x="966406" y="262223"/>
                  </a:lnTo>
                  <a:lnTo>
                    <a:pt x="969359" y="260223"/>
                  </a:lnTo>
                  <a:lnTo>
                    <a:pt x="970312" y="255365"/>
                  </a:lnTo>
                  <a:lnTo>
                    <a:pt x="969931" y="252127"/>
                  </a:lnTo>
                  <a:lnTo>
                    <a:pt x="971074" y="248793"/>
                  </a:lnTo>
                  <a:lnTo>
                    <a:pt x="970121" y="240887"/>
                  </a:lnTo>
                  <a:lnTo>
                    <a:pt x="973074" y="238982"/>
                  </a:lnTo>
                  <a:lnTo>
                    <a:pt x="972407" y="234220"/>
                  </a:lnTo>
                  <a:lnTo>
                    <a:pt x="975360" y="232219"/>
                  </a:lnTo>
                  <a:lnTo>
                    <a:pt x="977741" y="225552"/>
                  </a:lnTo>
                  <a:lnTo>
                    <a:pt x="974598" y="225933"/>
                  </a:lnTo>
                  <a:lnTo>
                    <a:pt x="973169" y="227743"/>
                  </a:lnTo>
                  <a:lnTo>
                    <a:pt x="968693" y="229838"/>
                  </a:lnTo>
                  <a:lnTo>
                    <a:pt x="968312" y="226695"/>
                  </a:lnTo>
                  <a:lnTo>
                    <a:pt x="969455" y="223361"/>
                  </a:lnTo>
                  <a:lnTo>
                    <a:pt x="972598" y="222980"/>
                  </a:lnTo>
                  <a:lnTo>
                    <a:pt x="976503" y="216027"/>
                  </a:lnTo>
                  <a:lnTo>
                    <a:pt x="976693" y="204788"/>
                  </a:lnTo>
                  <a:lnTo>
                    <a:pt x="979265" y="199644"/>
                  </a:lnTo>
                  <a:lnTo>
                    <a:pt x="984028" y="199072"/>
                  </a:lnTo>
                  <a:lnTo>
                    <a:pt x="986123" y="177927"/>
                  </a:lnTo>
                  <a:lnTo>
                    <a:pt x="985742" y="174784"/>
                  </a:lnTo>
                  <a:lnTo>
                    <a:pt x="982313" y="173641"/>
                  </a:lnTo>
                  <a:lnTo>
                    <a:pt x="980218" y="169069"/>
                  </a:lnTo>
                  <a:lnTo>
                    <a:pt x="981742" y="168878"/>
                  </a:lnTo>
                  <a:lnTo>
                    <a:pt x="984695" y="166878"/>
                  </a:lnTo>
                  <a:lnTo>
                    <a:pt x="987076" y="160210"/>
                  </a:lnTo>
                  <a:lnTo>
                    <a:pt x="990029" y="158210"/>
                  </a:lnTo>
                  <a:lnTo>
                    <a:pt x="987838" y="153638"/>
                  </a:lnTo>
                  <a:lnTo>
                    <a:pt x="988409" y="145542"/>
                  </a:lnTo>
                  <a:lnTo>
                    <a:pt x="986600" y="144209"/>
                  </a:lnTo>
                  <a:lnTo>
                    <a:pt x="986218" y="141065"/>
                  </a:lnTo>
                  <a:lnTo>
                    <a:pt x="987838" y="140875"/>
                  </a:lnTo>
                  <a:lnTo>
                    <a:pt x="980504" y="133731"/>
                  </a:lnTo>
                  <a:lnTo>
                    <a:pt x="980122" y="130588"/>
                  </a:lnTo>
                  <a:lnTo>
                    <a:pt x="978122" y="127635"/>
                  </a:lnTo>
                  <a:lnTo>
                    <a:pt x="976313" y="126301"/>
                  </a:lnTo>
                  <a:lnTo>
                    <a:pt x="969645" y="123920"/>
                  </a:lnTo>
                  <a:lnTo>
                    <a:pt x="970597" y="118967"/>
                  </a:lnTo>
                  <a:lnTo>
                    <a:pt x="972979" y="112300"/>
                  </a:lnTo>
                  <a:lnTo>
                    <a:pt x="978027" y="114776"/>
                  </a:lnTo>
                  <a:lnTo>
                    <a:pt x="977646" y="111633"/>
                  </a:lnTo>
                  <a:lnTo>
                    <a:pt x="981266" y="114395"/>
                  </a:lnTo>
                  <a:lnTo>
                    <a:pt x="984409" y="114014"/>
                  </a:lnTo>
                  <a:lnTo>
                    <a:pt x="992696" y="116205"/>
                  </a:lnTo>
                  <a:lnTo>
                    <a:pt x="996982" y="112395"/>
                  </a:lnTo>
                  <a:lnTo>
                    <a:pt x="998220" y="109061"/>
                  </a:lnTo>
                  <a:lnTo>
                    <a:pt x="994601" y="106299"/>
                  </a:lnTo>
                  <a:lnTo>
                    <a:pt x="991838" y="97060"/>
                  </a:lnTo>
                  <a:lnTo>
                    <a:pt x="987838" y="91154"/>
                  </a:lnTo>
                  <a:lnTo>
                    <a:pt x="986123" y="89725"/>
                  </a:lnTo>
                  <a:lnTo>
                    <a:pt x="990029" y="82867"/>
                  </a:lnTo>
                  <a:lnTo>
                    <a:pt x="985266" y="83439"/>
                  </a:lnTo>
                  <a:lnTo>
                    <a:pt x="984313" y="88392"/>
                  </a:lnTo>
                  <a:lnTo>
                    <a:pt x="982789" y="88582"/>
                  </a:lnTo>
                  <a:lnTo>
                    <a:pt x="977646" y="86011"/>
                  </a:lnTo>
                  <a:lnTo>
                    <a:pt x="975074" y="91154"/>
                  </a:lnTo>
                  <a:lnTo>
                    <a:pt x="970121" y="90202"/>
                  </a:lnTo>
                  <a:lnTo>
                    <a:pt x="967740" y="84106"/>
                  </a:lnTo>
                  <a:lnTo>
                    <a:pt x="960596" y="78581"/>
                  </a:lnTo>
                  <a:lnTo>
                    <a:pt x="964978" y="74771"/>
                  </a:lnTo>
                  <a:lnTo>
                    <a:pt x="959834" y="72200"/>
                  </a:lnTo>
                  <a:lnTo>
                    <a:pt x="957834" y="69247"/>
                  </a:lnTo>
                  <a:lnTo>
                    <a:pt x="959263" y="67532"/>
                  </a:lnTo>
                  <a:lnTo>
                    <a:pt x="957453" y="66104"/>
                  </a:lnTo>
                  <a:lnTo>
                    <a:pt x="955643" y="64770"/>
                  </a:lnTo>
                  <a:lnTo>
                    <a:pt x="954214" y="53721"/>
                  </a:lnTo>
                  <a:lnTo>
                    <a:pt x="949928" y="57436"/>
                  </a:lnTo>
                  <a:lnTo>
                    <a:pt x="951071" y="54102"/>
                  </a:lnTo>
                  <a:lnTo>
                    <a:pt x="950690" y="50959"/>
                  </a:lnTo>
                  <a:lnTo>
                    <a:pt x="949071" y="51149"/>
                  </a:lnTo>
                  <a:lnTo>
                    <a:pt x="950500" y="49339"/>
                  </a:lnTo>
                  <a:lnTo>
                    <a:pt x="949928" y="44672"/>
                  </a:lnTo>
                  <a:lnTo>
                    <a:pt x="944975" y="43625"/>
                  </a:lnTo>
                  <a:lnTo>
                    <a:pt x="948118" y="43243"/>
                  </a:lnTo>
                  <a:lnTo>
                    <a:pt x="951262" y="42863"/>
                  </a:lnTo>
                  <a:lnTo>
                    <a:pt x="951071" y="41243"/>
                  </a:lnTo>
                  <a:lnTo>
                    <a:pt x="944309" y="38957"/>
                  </a:lnTo>
                  <a:lnTo>
                    <a:pt x="943927" y="35814"/>
                  </a:lnTo>
                  <a:lnTo>
                    <a:pt x="942975" y="40672"/>
                  </a:lnTo>
                  <a:lnTo>
                    <a:pt x="939832" y="41148"/>
                  </a:lnTo>
                  <a:lnTo>
                    <a:pt x="937831" y="38195"/>
                  </a:lnTo>
                  <a:lnTo>
                    <a:pt x="934879" y="40100"/>
                  </a:lnTo>
                  <a:lnTo>
                    <a:pt x="931355" y="50197"/>
                  </a:lnTo>
                  <a:lnTo>
                    <a:pt x="933164" y="51625"/>
                  </a:lnTo>
                  <a:lnTo>
                    <a:pt x="931735" y="53340"/>
                  </a:lnTo>
                  <a:lnTo>
                    <a:pt x="928402" y="52197"/>
                  </a:lnTo>
                  <a:lnTo>
                    <a:pt x="927830" y="47434"/>
                  </a:lnTo>
                  <a:lnTo>
                    <a:pt x="924020" y="43148"/>
                  </a:lnTo>
                  <a:lnTo>
                    <a:pt x="922496" y="43339"/>
                  </a:lnTo>
                  <a:lnTo>
                    <a:pt x="917353" y="40767"/>
                  </a:lnTo>
                  <a:lnTo>
                    <a:pt x="911543" y="33528"/>
                  </a:lnTo>
                  <a:lnTo>
                    <a:pt x="906971" y="22860"/>
                  </a:lnTo>
                  <a:lnTo>
                    <a:pt x="900684" y="23622"/>
                  </a:lnTo>
                  <a:lnTo>
                    <a:pt x="884110" y="19336"/>
                  </a:lnTo>
                  <a:lnTo>
                    <a:pt x="881729" y="13240"/>
                  </a:lnTo>
                  <a:lnTo>
                    <a:pt x="872395" y="3143"/>
                  </a:lnTo>
                  <a:lnTo>
                    <a:pt x="873823" y="1429"/>
                  </a:lnTo>
                  <a:lnTo>
                    <a:pt x="872014" y="0"/>
                  </a:lnTo>
                  <a:lnTo>
                    <a:pt x="871252" y="6572"/>
                  </a:lnTo>
                  <a:lnTo>
                    <a:pt x="870490" y="13049"/>
                  </a:lnTo>
                  <a:lnTo>
                    <a:pt x="862584" y="14097"/>
                  </a:lnTo>
                  <a:lnTo>
                    <a:pt x="862775" y="15621"/>
                  </a:lnTo>
                  <a:lnTo>
                    <a:pt x="859822" y="17621"/>
                  </a:lnTo>
                  <a:lnTo>
                    <a:pt x="860012" y="19240"/>
                  </a:lnTo>
                  <a:lnTo>
                    <a:pt x="858298" y="17812"/>
                  </a:lnTo>
                  <a:lnTo>
                    <a:pt x="855535" y="21336"/>
                  </a:lnTo>
                  <a:lnTo>
                    <a:pt x="855726" y="22955"/>
                  </a:lnTo>
                  <a:lnTo>
                    <a:pt x="858869" y="22574"/>
                  </a:lnTo>
                  <a:lnTo>
                    <a:pt x="858298" y="30671"/>
                  </a:lnTo>
                  <a:lnTo>
                    <a:pt x="846677" y="27337"/>
                  </a:lnTo>
                  <a:lnTo>
                    <a:pt x="847058" y="30480"/>
                  </a:lnTo>
                  <a:lnTo>
                    <a:pt x="848868" y="31813"/>
                  </a:lnTo>
                  <a:lnTo>
                    <a:pt x="844105" y="32480"/>
                  </a:lnTo>
                  <a:lnTo>
                    <a:pt x="845630" y="32290"/>
                  </a:lnTo>
                  <a:lnTo>
                    <a:pt x="847630" y="35242"/>
                  </a:lnTo>
                  <a:lnTo>
                    <a:pt x="846296" y="36957"/>
                  </a:lnTo>
                  <a:lnTo>
                    <a:pt x="849630" y="38195"/>
                  </a:lnTo>
                  <a:lnTo>
                    <a:pt x="847058" y="43339"/>
                  </a:lnTo>
                  <a:lnTo>
                    <a:pt x="848868" y="44672"/>
                  </a:lnTo>
                  <a:lnTo>
                    <a:pt x="845725" y="45053"/>
                  </a:lnTo>
                  <a:lnTo>
                    <a:pt x="844487" y="48482"/>
                  </a:lnTo>
                  <a:lnTo>
                    <a:pt x="842963" y="48673"/>
                  </a:lnTo>
                  <a:lnTo>
                    <a:pt x="842201" y="55150"/>
                  </a:lnTo>
                  <a:lnTo>
                    <a:pt x="840581" y="55340"/>
                  </a:lnTo>
                  <a:lnTo>
                    <a:pt x="839438" y="58674"/>
                  </a:lnTo>
                  <a:lnTo>
                    <a:pt x="840962" y="58483"/>
                  </a:lnTo>
                  <a:lnTo>
                    <a:pt x="841438" y="61627"/>
                  </a:lnTo>
                  <a:lnTo>
                    <a:pt x="846296" y="62675"/>
                  </a:lnTo>
                  <a:lnTo>
                    <a:pt x="844010" y="69342"/>
                  </a:lnTo>
                  <a:lnTo>
                    <a:pt x="846010" y="72295"/>
                  </a:lnTo>
                  <a:lnTo>
                    <a:pt x="848963" y="70294"/>
                  </a:lnTo>
                  <a:lnTo>
                    <a:pt x="849344" y="73533"/>
                  </a:lnTo>
                  <a:lnTo>
                    <a:pt x="847725" y="73723"/>
                  </a:lnTo>
                  <a:lnTo>
                    <a:pt x="852868" y="76200"/>
                  </a:lnTo>
                  <a:lnTo>
                    <a:pt x="853250" y="79438"/>
                  </a:lnTo>
                  <a:lnTo>
                    <a:pt x="848773" y="81534"/>
                  </a:lnTo>
                  <a:lnTo>
                    <a:pt x="853440" y="80963"/>
                  </a:lnTo>
                  <a:lnTo>
                    <a:pt x="852106" y="82772"/>
                  </a:lnTo>
                  <a:lnTo>
                    <a:pt x="847534" y="84963"/>
                  </a:lnTo>
                  <a:lnTo>
                    <a:pt x="844201" y="83725"/>
                  </a:lnTo>
                  <a:lnTo>
                    <a:pt x="842867" y="85534"/>
                  </a:lnTo>
                  <a:lnTo>
                    <a:pt x="843058" y="87154"/>
                  </a:lnTo>
                  <a:lnTo>
                    <a:pt x="835343" y="89725"/>
                  </a:lnTo>
                  <a:lnTo>
                    <a:pt x="835533" y="91250"/>
                  </a:lnTo>
                  <a:lnTo>
                    <a:pt x="832390" y="91726"/>
                  </a:lnTo>
                  <a:lnTo>
                    <a:pt x="832009" y="88487"/>
                  </a:lnTo>
                  <a:lnTo>
                    <a:pt x="825722" y="89344"/>
                  </a:lnTo>
                  <a:lnTo>
                    <a:pt x="822293" y="88106"/>
                  </a:lnTo>
                  <a:lnTo>
                    <a:pt x="820960" y="89916"/>
                  </a:lnTo>
                  <a:lnTo>
                    <a:pt x="821341" y="93059"/>
                  </a:lnTo>
                  <a:lnTo>
                    <a:pt x="816578" y="93726"/>
                  </a:lnTo>
                  <a:lnTo>
                    <a:pt x="815054" y="93917"/>
                  </a:lnTo>
                  <a:lnTo>
                    <a:pt x="814102" y="98869"/>
                  </a:lnTo>
                  <a:lnTo>
                    <a:pt x="806958" y="106108"/>
                  </a:lnTo>
                  <a:lnTo>
                    <a:pt x="803624" y="104965"/>
                  </a:lnTo>
                  <a:lnTo>
                    <a:pt x="802481" y="108299"/>
                  </a:lnTo>
                  <a:lnTo>
                    <a:pt x="797528" y="107347"/>
                  </a:lnTo>
                  <a:lnTo>
                    <a:pt x="794766" y="110871"/>
                  </a:lnTo>
                  <a:lnTo>
                    <a:pt x="795147" y="114109"/>
                  </a:lnTo>
                  <a:lnTo>
                    <a:pt x="790384" y="114681"/>
                  </a:lnTo>
                  <a:lnTo>
                    <a:pt x="796195" y="121920"/>
                  </a:lnTo>
                  <a:lnTo>
                    <a:pt x="793433" y="125539"/>
                  </a:lnTo>
                  <a:lnTo>
                    <a:pt x="792671" y="132017"/>
                  </a:lnTo>
                  <a:lnTo>
                    <a:pt x="791242" y="133826"/>
                  </a:lnTo>
                  <a:lnTo>
                    <a:pt x="784765" y="133064"/>
                  </a:lnTo>
                  <a:lnTo>
                    <a:pt x="782764" y="130111"/>
                  </a:lnTo>
                  <a:lnTo>
                    <a:pt x="783908" y="126682"/>
                  </a:lnTo>
                  <a:lnTo>
                    <a:pt x="781145" y="117443"/>
                  </a:lnTo>
                  <a:lnTo>
                    <a:pt x="776192" y="116491"/>
                  </a:lnTo>
                  <a:lnTo>
                    <a:pt x="762572" y="110204"/>
                  </a:lnTo>
                  <a:lnTo>
                    <a:pt x="748760" y="115157"/>
                  </a:lnTo>
                  <a:lnTo>
                    <a:pt x="745617" y="115538"/>
                  </a:lnTo>
                  <a:lnTo>
                    <a:pt x="743426" y="111061"/>
                  </a:lnTo>
                  <a:lnTo>
                    <a:pt x="738759" y="111633"/>
                  </a:lnTo>
                  <a:lnTo>
                    <a:pt x="738283" y="108490"/>
                  </a:lnTo>
                  <a:lnTo>
                    <a:pt x="741235" y="106489"/>
                  </a:lnTo>
                  <a:lnTo>
                    <a:pt x="744379" y="106108"/>
                  </a:lnTo>
                  <a:lnTo>
                    <a:pt x="745426" y="101155"/>
                  </a:lnTo>
                  <a:lnTo>
                    <a:pt x="748189" y="97631"/>
                  </a:lnTo>
                  <a:lnTo>
                    <a:pt x="748760" y="89535"/>
                  </a:lnTo>
                  <a:lnTo>
                    <a:pt x="748284" y="86392"/>
                  </a:lnTo>
                  <a:lnTo>
                    <a:pt x="746760" y="86582"/>
                  </a:lnTo>
                  <a:lnTo>
                    <a:pt x="745331" y="88297"/>
                  </a:lnTo>
                  <a:lnTo>
                    <a:pt x="744379" y="93250"/>
                  </a:lnTo>
                  <a:lnTo>
                    <a:pt x="741426" y="95250"/>
                  </a:lnTo>
                  <a:lnTo>
                    <a:pt x="736473" y="94297"/>
                  </a:lnTo>
                  <a:lnTo>
                    <a:pt x="736949" y="97441"/>
                  </a:lnTo>
                  <a:lnTo>
                    <a:pt x="733711" y="97822"/>
                  </a:lnTo>
                  <a:lnTo>
                    <a:pt x="734568" y="91345"/>
                  </a:lnTo>
                  <a:lnTo>
                    <a:pt x="729425" y="101632"/>
                  </a:lnTo>
                  <a:lnTo>
                    <a:pt x="724472" y="100584"/>
                  </a:lnTo>
                  <a:lnTo>
                    <a:pt x="725900" y="98869"/>
                  </a:lnTo>
                  <a:lnTo>
                    <a:pt x="724281" y="99060"/>
                  </a:lnTo>
                  <a:lnTo>
                    <a:pt x="722947" y="100775"/>
                  </a:lnTo>
                  <a:lnTo>
                    <a:pt x="720947" y="97822"/>
                  </a:lnTo>
                  <a:lnTo>
                    <a:pt x="719518" y="99631"/>
                  </a:lnTo>
                  <a:lnTo>
                    <a:pt x="717804" y="98298"/>
                  </a:lnTo>
                  <a:lnTo>
                    <a:pt x="712851" y="97250"/>
                  </a:lnTo>
                  <a:lnTo>
                    <a:pt x="710851" y="94297"/>
                  </a:lnTo>
                  <a:lnTo>
                    <a:pt x="707898" y="96298"/>
                  </a:lnTo>
                  <a:lnTo>
                    <a:pt x="705136" y="99917"/>
                  </a:lnTo>
                  <a:lnTo>
                    <a:pt x="702945" y="95345"/>
                  </a:lnTo>
                  <a:lnTo>
                    <a:pt x="701612" y="97155"/>
                  </a:lnTo>
                  <a:lnTo>
                    <a:pt x="701135" y="94012"/>
                  </a:lnTo>
                  <a:lnTo>
                    <a:pt x="696659" y="96107"/>
                  </a:lnTo>
                  <a:lnTo>
                    <a:pt x="696468" y="94583"/>
                  </a:lnTo>
                  <a:lnTo>
                    <a:pt x="693134" y="93440"/>
                  </a:lnTo>
                  <a:lnTo>
                    <a:pt x="695420" y="86677"/>
                  </a:lnTo>
                  <a:lnTo>
                    <a:pt x="693706" y="85344"/>
                  </a:lnTo>
                  <a:lnTo>
                    <a:pt x="688943" y="85915"/>
                  </a:lnTo>
                  <a:lnTo>
                    <a:pt x="686181" y="89440"/>
                  </a:lnTo>
                  <a:lnTo>
                    <a:pt x="681228" y="88487"/>
                  </a:lnTo>
                  <a:lnTo>
                    <a:pt x="672560" y="83153"/>
                  </a:lnTo>
                  <a:lnTo>
                    <a:pt x="667798" y="83820"/>
                  </a:lnTo>
                  <a:lnTo>
                    <a:pt x="669608" y="85154"/>
                  </a:lnTo>
                  <a:lnTo>
                    <a:pt x="667226" y="91916"/>
                  </a:lnTo>
                  <a:lnTo>
                    <a:pt x="661130" y="94297"/>
                  </a:lnTo>
                  <a:lnTo>
                    <a:pt x="663130" y="97250"/>
                  </a:lnTo>
                  <a:lnTo>
                    <a:pt x="666274" y="96774"/>
                  </a:lnTo>
                  <a:lnTo>
                    <a:pt x="664845" y="98584"/>
                  </a:lnTo>
                  <a:lnTo>
                    <a:pt x="663321" y="98774"/>
                  </a:lnTo>
                  <a:lnTo>
                    <a:pt x="659511" y="94488"/>
                  </a:lnTo>
                  <a:lnTo>
                    <a:pt x="658368" y="97822"/>
                  </a:lnTo>
                  <a:lnTo>
                    <a:pt x="654844" y="95059"/>
                  </a:lnTo>
                  <a:lnTo>
                    <a:pt x="654368" y="91916"/>
                  </a:lnTo>
                  <a:lnTo>
                    <a:pt x="652843" y="92107"/>
                  </a:lnTo>
                  <a:lnTo>
                    <a:pt x="650653" y="87535"/>
                  </a:lnTo>
                  <a:lnTo>
                    <a:pt x="645890" y="88201"/>
                  </a:lnTo>
                  <a:lnTo>
                    <a:pt x="644938" y="80296"/>
                  </a:lnTo>
                  <a:lnTo>
                    <a:pt x="638556" y="81058"/>
                  </a:lnTo>
                  <a:lnTo>
                    <a:pt x="637413" y="84487"/>
                  </a:lnTo>
                  <a:lnTo>
                    <a:pt x="634270" y="84868"/>
                  </a:lnTo>
                  <a:lnTo>
                    <a:pt x="626173" y="71438"/>
                  </a:lnTo>
                  <a:lnTo>
                    <a:pt x="623030" y="71818"/>
                  </a:lnTo>
                  <a:lnTo>
                    <a:pt x="619220" y="67532"/>
                  </a:lnTo>
                  <a:lnTo>
                    <a:pt x="621601" y="73628"/>
                  </a:lnTo>
                  <a:lnTo>
                    <a:pt x="620077" y="73819"/>
                  </a:lnTo>
                  <a:lnTo>
                    <a:pt x="616458" y="71056"/>
                  </a:lnTo>
                  <a:lnTo>
                    <a:pt x="615125" y="72866"/>
                  </a:lnTo>
                  <a:lnTo>
                    <a:pt x="616648" y="72676"/>
                  </a:lnTo>
                  <a:lnTo>
                    <a:pt x="621030" y="81725"/>
                  </a:lnTo>
                  <a:lnTo>
                    <a:pt x="619697" y="83534"/>
                  </a:lnTo>
                  <a:lnTo>
                    <a:pt x="621411" y="84868"/>
                  </a:lnTo>
                  <a:lnTo>
                    <a:pt x="618649" y="88487"/>
                  </a:lnTo>
                  <a:lnTo>
                    <a:pt x="620649" y="91440"/>
                  </a:lnTo>
                  <a:lnTo>
                    <a:pt x="625412" y="90773"/>
                  </a:lnTo>
                  <a:lnTo>
                    <a:pt x="623983" y="92583"/>
                  </a:lnTo>
                  <a:lnTo>
                    <a:pt x="620649" y="91440"/>
                  </a:lnTo>
                  <a:lnTo>
                    <a:pt x="621030" y="94583"/>
                  </a:lnTo>
                  <a:lnTo>
                    <a:pt x="619506" y="94774"/>
                  </a:lnTo>
                  <a:lnTo>
                    <a:pt x="616934" y="87058"/>
                  </a:lnTo>
                  <a:lnTo>
                    <a:pt x="613791" y="87439"/>
                  </a:lnTo>
                  <a:lnTo>
                    <a:pt x="610172" y="84677"/>
                  </a:lnTo>
                  <a:lnTo>
                    <a:pt x="605504" y="85344"/>
                  </a:lnTo>
                  <a:lnTo>
                    <a:pt x="604266" y="88678"/>
                  </a:lnTo>
                  <a:lnTo>
                    <a:pt x="600932" y="87535"/>
                  </a:lnTo>
                  <a:lnTo>
                    <a:pt x="601123" y="89059"/>
                  </a:lnTo>
                  <a:lnTo>
                    <a:pt x="599504" y="89249"/>
                  </a:lnTo>
                  <a:lnTo>
                    <a:pt x="601504" y="92202"/>
                  </a:lnTo>
                  <a:lnTo>
                    <a:pt x="599980" y="92392"/>
                  </a:lnTo>
                  <a:lnTo>
                    <a:pt x="600170" y="94012"/>
                  </a:lnTo>
                  <a:lnTo>
                    <a:pt x="598360" y="92678"/>
                  </a:lnTo>
                  <a:lnTo>
                    <a:pt x="598551" y="94202"/>
                  </a:lnTo>
                  <a:lnTo>
                    <a:pt x="597218" y="96012"/>
                  </a:lnTo>
                  <a:lnTo>
                    <a:pt x="595217" y="93059"/>
                  </a:lnTo>
                  <a:lnTo>
                    <a:pt x="593884" y="94774"/>
                  </a:lnTo>
                  <a:lnTo>
                    <a:pt x="591502" y="101536"/>
                  </a:lnTo>
                  <a:lnTo>
                    <a:pt x="589883" y="101727"/>
                  </a:lnTo>
                  <a:lnTo>
                    <a:pt x="591122" y="98393"/>
                  </a:lnTo>
                  <a:lnTo>
                    <a:pt x="587693" y="97155"/>
                  </a:lnTo>
                  <a:lnTo>
                    <a:pt x="584930" y="100775"/>
                  </a:lnTo>
                  <a:lnTo>
                    <a:pt x="583978" y="105727"/>
                  </a:lnTo>
                  <a:lnTo>
                    <a:pt x="582454" y="105918"/>
                  </a:lnTo>
                  <a:lnTo>
                    <a:pt x="581787" y="101155"/>
                  </a:lnTo>
                  <a:lnTo>
                    <a:pt x="578644" y="101536"/>
                  </a:lnTo>
                  <a:lnTo>
                    <a:pt x="578263" y="98393"/>
                  </a:lnTo>
                  <a:lnTo>
                    <a:pt x="574929" y="97250"/>
                  </a:lnTo>
                  <a:lnTo>
                    <a:pt x="567595" y="102965"/>
                  </a:lnTo>
                  <a:lnTo>
                    <a:pt x="564261" y="101822"/>
                  </a:lnTo>
                  <a:lnTo>
                    <a:pt x="562451" y="100393"/>
                  </a:lnTo>
                  <a:lnTo>
                    <a:pt x="565595" y="100013"/>
                  </a:lnTo>
                  <a:lnTo>
                    <a:pt x="567023" y="98203"/>
                  </a:lnTo>
                  <a:lnTo>
                    <a:pt x="564833" y="93726"/>
                  </a:lnTo>
                  <a:lnTo>
                    <a:pt x="567595" y="90106"/>
                  </a:lnTo>
                  <a:lnTo>
                    <a:pt x="567214" y="86963"/>
                  </a:lnTo>
                  <a:lnTo>
                    <a:pt x="564071" y="87344"/>
                  </a:lnTo>
                  <a:lnTo>
                    <a:pt x="562261" y="86011"/>
                  </a:lnTo>
                  <a:lnTo>
                    <a:pt x="560451" y="84677"/>
                  </a:lnTo>
                  <a:lnTo>
                    <a:pt x="560451" y="84677"/>
                  </a:lnTo>
                  <a:lnTo>
                    <a:pt x="558260" y="80105"/>
                  </a:lnTo>
                  <a:lnTo>
                    <a:pt x="556927" y="81915"/>
                  </a:lnTo>
                  <a:lnTo>
                    <a:pt x="549783" y="76390"/>
                  </a:lnTo>
                  <a:lnTo>
                    <a:pt x="544068" y="81915"/>
                  </a:lnTo>
                  <a:lnTo>
                    <a:pt x="541877" y="77343"/>
                  </a:lnTo>
                  <a:lnTo>
                    <a:pt x="540544" y="79153"/>
                  </a:lnTo>
                  <a:lnTo>
                    <a:pt x="540353" y="77629"/>
                  </a:lnTo>
                  <a:lnTo>
                    <a:pt x="538543" y="76200"/>
                  </a:lnTo>
                  <a:lnTo>
                    <a:pt x="539115" y="68104"/>
                  </a:lnTo>
                  <a:lnTo>
                    <a:pt x="540448" y="66294"/>
                  </a:lnTo>
                  <a:lnTo>
                    <a:pt x="535114" y="62198"/>
                  </a:lnTo>
                  <a:lnTo>
                    <a:pt x="528638" y="61436"/>
                  </a:lnTo>
                  <a:lnTo>
                    <a:pt x="528256" y="58293"/>
                  </a:lnTo>
                  <a:lnTo>
                    <a:pt x="523684" y="60484"/>
                  </a:lnTo>
                  <a:lnTo>
                    <a:pt x="521303" y="54292"/>
                  </a:lnTo>
                  <a:lnTo>
                    <a:pt x="515588" y="59912"/>
                  </a:lnTo>
                  <a:lnTo>
                    <a:pt x="512445" y="60293"/>
                  </a:lnTo>
                  <a:lnTo>
                    <a:pt x="501587" y="63246"/>
                  </a:lnTo>
                  <a:lnTo>
                    <a:pt x="499396" y="58769"/>
                  </a:lnTo>
                  <a:lnTo>
                    <a:pt x="496634" y="62293"/>
                  </a:lnTo>
                  <a:lnTo>
                    <a:pt x="493490" y="62675"/>
                  </a:lnTo>
                  <a:lnTo>
                    <a:pt x="492157" y="64484"/>
                  </a:lnTo>
                  <a:lnTo>
                    <a:pt x="492538" y="67627"/>
                  </a:lnTo>
                  <a:lnTo>
                    <a:pt x="493585" y="75533"/>
                  </a:lnTo>
                  <a:lnTo>
                    <a:pt x="489013" y="77724"/>
                  </a:lnTo>
                  <a:lnTo>
                    <a:pt x="489395" y="80867"/>
                  </a:lnTo>
                  <a:lnTo>
                    <a:pt x="485108" y="84582"/>
                  </a:lnTo>
                  <a:lnTo>
                    <a:pt x="481965" y="85058"/>
                  </a:lnTo>
                  <a:lnTo>
                    <a:pt x="482346" y="88201"/>
                  </a:lnTo>
                  <a:lnTo>
                    <a:pt x="485299" y="86201"/>
                  </a:lnTo>
                  <a:lnTo>
                    <a:pt x="479584" y="91726"/>
                  </a:lnTo>
                  <a:lnTo>
                    <a:pt x="480155" y="96488"/>
                  </a:lnTo>
                  <a:lnTo>
                    <a:pt x="475297" y="95536"/>
                  </a:lnTo>
                  <a:lnTo>
                    <a:pt x="474821" y="92297"/>
                  </a:lnTo>
                  <a:lnTo>
                    <a:pt x="477774" y="90392"/>
                  </a:lnTo>
                  <a:lnTo>
                    <a:pt x="476059" y="88963"/>
                  </a:lnTo>
                  <a:lnTo>
                    <a:pt x="469868" y="91345"/>
                  </a:lnTo>
                  <a:lnTo>
                    <a:pt x="462058" y="92392"/>
                  </a:lnTo>
                  <a:lnTo>
                    <a:pt x="459105" y="94393"/>
                  </a:lnTo>
                  <a:lnTo>
                    <a:pt x="455676" y="93154"/>
                  </a:lnTo>
                  <a:lnTo>
                    <a:pt x="450818" y="92202"/>
                  </a:lnTo>
                  <a:lnTo>
                    <a:pt x="444437" y="92964"/>
                  </a:lnTo>
                  <a:lnTo>
                    <a:pt x="441293" y="93440"/>
                  </a:lnTo>
                  <a:lnTo>
                    <a:pt x="440150" y="96774"/>
                  </a:lnTo>
                  <a:lnTo>
                    <a:pt x="433006" y="91250"/>
                  </a:lnTo>
                  <a:lnTo>
                    <a:pt x="428244" y="91821"/>
                  </a:lnTo>
                  <a:lnTo>
                    <a:pt x="419957" y="89725"/>
                  </a:lnTo>
                  <a:lnTo>
                    <a:pt x="421196" y="99155"/>
                  </a:lnTo>
                  <a:lnTo>
                    <a:pt x="416052" y="96583"/>
                  </a:lnTo>
                  <a:lnTo>
                    <a:pt x="411480" y="98774"/>
                  </a:lnTo>
                  <a:lnTo>
                    <a:pt x="409766" y="97441"/>
                  </a:lnTo>
                  <a:lnTo>
                    <a:pt x="409384" y="94297"/>
                  </a:lnTo>
                  <a:lnTo>
                    <a:pt x="410527" y="90868"/>
                  </a:lnTo>
                  <a:lnTo>
                    <a:pt x="408527" y="87916"/>
                  </a:lnTo>
                  <a:lnTo>
                    <a:pt x="405384" y="88392"/>
                  </a:lnTo>
                  <a:lnTo>
                    <a:pt x="406146" y="94679"/>
                  </a:lnTo>
                  <a:lnTo>
                    <a:pt x="405003" y="98012"/>
                  </a:lnTo>
                  <a:lnTo>
                    <a:pt x="398526" y="97250"/>
                  </a:lnTo>
                  <a:lnTo>
                    <a:pt x="397097" y="99060"/>
                  </a:lnTo>
                  <a:lnTo>
                    <a:pt x="395097" y="96107"/>
                  </a:lnTo>
                  <a:lnTo>
                    <a:pt x="388810" y="96869"/>
                  </a:lnTo>
                  <a:lnTo>
                    <a:pt x="388620" y="95345"/>
                  </a:lnTo>
                  <a:lnTo>
                    <a:pt x="385667" y="97250"/>
                  </a:lnTo>
                  <a:lnTo>
                    <a:pt x="383667" y="94297"/>
                  </a:lnTo>
                  <a:lnTo>
                    <a:pt x="382143" y="94488"/>
                  </a:lnTo>
                  <a:lnTo>
                    <a:pt x="379762" y="88392"/>
                  </a:lnTo>
                  <a:lnTo>
                    <a:pt x="380714" y="83439"/>
                  </a:lnTo>
                  <a:lnTo>
                    <a:pt x="382048" y="81725"/>
                  </a:lnTo>
                  <a:lnTo>
                    <a:pt x="381286" y="75343"/>
                  </a:lnTo>
                  <a:lnTo>
                    <a:pt x="380905" y="72200"/>
                  </a:lnTo>
                  <a:lnTo>
                    <a:pt x="382238" y="70485"/>
                  </a:lnTo>
                  <a:lnTo>
                    <a:pt x="381857" y="67342"/>
                  </a:lnTo>
                  <a:lnTo>
                    <a:pt x="386620" y="66675"/>
                  </a:lnTo>
                  <a:lnTo>
                    <a:pt x="381667" y="65722"/>
                  </a:lnTo>
                  <a:lnTo>
                    <a:pt x="376142" y="60007"/>
                  </a:lnTo>
                  <a:lnTo>
                    <a:pt x="374713" y="61817"/>
                  </a:lnTo>
                  <a:lnTo>
                    <a:pt x="365284" y="62960"/>
                  </a:lnTo>
                  <a:lnTo>
                    <a:pt x="361950" y="61817"/>
                  </a:lnTo>
                  <a:lnTo>
                    <a:pt x="357950" y="68771"/>
                  </a:lnTo>
                  <a:lnTo>
                    <a:pt x="357759" y="67151"/>
                  </a:lnTo>
                  <a:lnTo>
                    <a:pt x="352044" y="72676"/>
                  </a:lnTo>
                  <a:lnTo>
                    <a:pt x="350330" y="71342"/>
                  </a:lnTo>
                  <a:lnTo>
                    <a:pt x="348901" y="73057"/>
                  </a:lnTo>
                  <a:lnTo>
                    <a:pt x="342233" y="70771"/>
                  </a:lnTo>
                  <a:lnTo>
                    <a:pt x="341471" y="77248"/>
                  </a:lnTo>
                  <a:lnTo>
                    <a:pt x="345376" y="83153"/>
                  </a:lnTo>
                  <a:lnTo>
                    <a:pt x="342614" y="86773"/>
                  </a:lnTo>
                  <a:lnTo>
                    <a:pt x="342233" y="83534"/>
                  </a:lnTo>
                  <a:lnTo>
                    <a:pt x="341471" y="90106"/>
                  </a:lnTo>
                  <a:lnTo>
                    <a:pt x="340042" y="91821"/>
                  </a:lnTo>
                  <a:lnTo>
                    <a:pt x="340519" y="95059"/>
                  </a:lnTo>
                  <a:lnTo>
                    <a:pt x="338900" y="95250"/>
                  </a:lnTo>
                  <a:lnTo>
                    <a:pt x="337566" y="96964"/>
                  </a:lnTo>
                  <a:lnTo>
                    <a:pt x="335566" y="94012"/>
                  </a:lnTo>
                  <a:lnTo>
                    <a:pt x="333946" y="94202"/>
                  </a:lnTo>
                  <a:lnTo>
                    <a:pt x="334327" y="97441"/>
                  </a:lnTo>
                  <a:lnTo>
                    <a:pt x="332804" y="97631"/>
                  </a:lnTo>
                  <a:lnTo>
                    <a:pt x="336709" y="103537"/>
                  </a:lnTo>
                  <a:lnTo>
                    <a:pt x="333566" y="103918"/>
                  </a:lnTo>
                  <a:lnTo>
                    <a:pt x="334042" y="107061"/>
                  </a:lnTo>
                  <a:lnTo>
                    <a:pt x="330803" y="107442"/>
                  </a:lnTo>
                  <a:lnTo>
                    <a:pt x="330041" y="101155"/>
                  </a:lnTo>
                  <a:lnTo>
                    <a:pt x="326898" y="101536"/>
                  </a:lnTo>
                  <a:lnTo>
                    <a:pt x="324707" y="97060"/>
                  </a:lnTo>
                  <a:lnTo>
                    <a:pt x="322135" y="102203"/>
                  </a:lnTo>
                  <a:lnTo>
                    <a:pt x="320612" y="102394"/>
                  </a:lnTo>
                  <a:lnTo>
                    <a:pt x="320992" y="105537"/>
                  </a:lnTo>
                  <a:lnTo>
                    <a:pt x="318230" y="109061"/>
                  </a:lnTo>
                  <a:lnTo>
                    <a:pt x="318611" y="112204"/>
                  </a:lnTo>
                  <a:lnTo>
                    <a:pt x="318992" y="115443"/>
                  </a:lnTo>
                  <a:lnTo>
                    <a:pt x="309372" y="115062"/>
                  </a:lnTo>
                  <a:lnTo>
                    <a:pt x="302609" y="112681"/>
                  </a:lnTo>
                  <a:lnTo>
                    <a:pt x="302038" y="107918"/>
                  </a:lnTo>
                  <a:lnTo>
                    <a:pt x="298704" y="106775"/>
                  </a:lnTo>
                  <a:lnTo>
                    <a:pt x="290036" y="114300"/>
                  </a:lnTo>
                  <a:lnTo>
                    <a:pt x="290989" y="122206"/>
                  </a:lnTo>
                  <a:lnTo>
                    <a:pt x="290989" y="122206"/>
                  </a:lnTo>
                  <a:lnTo>
                    <a:pt x="289465" y="122396"/>
                  </a:lnTo>
                  <a:lnTo>
                    <a:pt x="285083" y="126111"/>
                  </a:lnTo>
                  <a:lnTo>
                    <a:pt x="284702" y="122968"/>
                  </a:lnTo>
                  <a:lnTo>
                    <a:pt x="275463" y="125730"/>
                  </a:lnTo>
                  <a:lnTo>
                    <a:pt x="273463" y="122777"/>
                  </a:lnTo>
                  <a:lnTo>
                    <a:pt x="268700" y="123444"/>
                  </a:lnTo>
                  <a:lnTo>
                    <a:pt x="268129" y="118681"/>
                  </a:lnTo>
                  <a:lnTo>
                    <a:pt x="264605" y="115919"/>
                  </a:lnTo>
                  <a:lnTo>
                    <a:pt x="263366" y="119253"/>
                  </a:lnTo>
                  <a:lnTo>
                    <a:pt x="257080" y="120110"/>
                  </a:lnTo>
                  <a:lnTo>
                    <a:pt x="261366" y="116300"/>
                  </a:lnTo>
                  <a:lnTo>
                    <a:pt x="260985" y="113157"/>
                  </a:lnTo>
                  <a:lnTo>
                    <a:pt x="263938" y="111157"/>
                  </a:lnTo>
                  <a:lnTo>
                    <a:pt x="256032" y="112204"/>
                  </a:lnTo>
                  <a:lnTo>
                    <a:pt x="254698" y="114014"/>
                  </a:lnTo>
                  <a:lnTo>
                    <a:pt x="251174" y="111252"/>
                  </a:lnTo>
                  <a:lnTo>
                    <a:pt x="248984" y="106680"/>
                  </a:lnTo>
                  <a:lnTo>
                    <a:pt x="249746" y="100203"/>
                  </a:lnTo>
                  <a:lnTo>
                    <a:pt x="239649" y="96679"/>
                  </a:lnTo>
                  <a:lnTo>
                    <a:pt x="235077" y="98869"/>
                  </a:lnTo>
                  <a:lnTo>
                    <a:pt x="235363" y="100393"/>
                  </a:lnTo>
                  <a:lnTo>
                    <a:pt x="238696" y="101536"/>
                  </a:lnTo>
                  <a:lnTo>
                    <a:pt x="234125" y="103727"/>
                  </a:lnTo>
                  <a:lnTo>
                    <a:pt x="230410" y="112204"/>
                  </a:lnTo>
                  <a:lnTo>
                    <a:pt x="227076" y="111061"/>
                  </a:lnTo>
                  <a:lnTo>
                    <a:pt x="227267" y="112681"/>
                  </a:lnTo>
                  <a:lnTo>
                    <a:pt x="225457" y="111252"/>
                  </a:lnTo>
                  <a:lnTo>
                    <a:pt x="222694" y="114871"/>
                  </a:lnTo>
                  <a:lnTo>
                    <a:pt x="220790" y="111919"/>
                  </a:lnTo>
                  <a:lnTo>
                    <a:pt x="222123" y="110109"/>
                  </a:lnTo>
                  <a:lnTo>
                    <a:pt x="220504" y="110300"/>
                  </a:lnTo>
                  <a:lnTo>
                    <a:pt x="219170" y="112109"/>
                  </a:lnTo>
                  <a:lnTo>
                    <a:pt x="217742" y="113824"/>
                  </a:lnTo>
                  <a:lnTo>
                    <a:pt x="216408" y="102775"/>
                  </a:lnTo>
                  <a:lnTo>
                    <a:pt x="214979" y="104584"/>
                  </a:lnTo>
                  <a:lnTo>
                    <a:pt x="213265" y="103251"/>
                  </a:lnTo>
                  <a:lnTo>
                    <a:pt x="210407" y="93917"/>
                  </a:lnTo>
                  <a:lnTo>
                    <a:pt x="207264" y="94393"/>
                  </a:lnTo>
                  <a:lnTo>
                    <a:pt x="209264" y="97346"/>
                  </a:lnTo>
                  <a:lnTo>
                    <a:pt x="202978" y="98107"/>
                  </a:lnTo>
                  <a:lnTo>
                    <a:pt x="203740" y="104394"/>
                  </a:lnTo>
                  <a:lnTo>
                    <a:pt x="198977" y="105061"/>
                  </a:lnTo>
                  <a:lnTo>
                    <a:pt x="199453" y="108204"/>
                  </a:lnTo>
                  <a:lnTo>
                    <a:pt x="192500" y="104299"/>
                  </a:lnTo>
                  <a:lnTo>
                    <a:pt x="186023" y="103442"/>
                  </a:lnTo>
                  <a:lnTo>
                    <a:pt x="182499" y="113538"/>
                  </a:lnTo>
                  <a:lnTo>
                    <a:pt x="180880" y="113729"/>
                  </a:lnTo>
                  <a:lnTo>
                    <a:pt x="180880" y="113729"/>
                  </a:lnTo>
                  <a:lnTo>
                    <a:pt x="170974" y="111823"/>
                  </a:lnTo>
                  <a:lnTo>
                    <a:pt x="169259" y="110395"/>
                  </a:lnTo>
                  <a:lnTo>
                    <a:pt x="165925" y="109252"/>
                  </a:lnTo>
                  <a:lnTo>
                    <a:pt x="164687" y="112585"/>
                  </a:lnTo>
                  <a:lnTo>
                    <a:pt x="160401" y="116396"/>
                  </a:lnTo>
                  <a:lnTo>
                    <a:pt x="159163" y="119729"/>
                  </a:lnTo>
                  <a:lnTo>
                    <a:pt x="164306" y="122301"/>
                  </a:lnTo>
                  <a:lnTo>
                    <a:pt x="164782" y="125444"/>
                  </a:lnTo>
                  <a:lnTo>
                    <a:pt x="163544" y="128778"/>
                  </a:lnTo>
                  <a:lnTo>
                    <a:pt x="160211" y="127635"/>
                  </a:lnTo>
                  <a:lnTo>
                    <a:pt x="159067" y="130969"/>
                  </a:lnTo>
                  <a:lnTo>
                    <a:pt x="155829" y="131350"/>
                  </a:lnTo>
                  <a:lnTo>
                    <a:pt x="157829" y="134302"/>
                  </a:lnTo>
                  <a:lnTo>
                    <a:pt x="156496" y="136112"/>
                  </a:lnTo>
                  <a:lnTo>
                    <a:pt x="157258" y="142399"/>
                  </a:lnTo>
                  <a:lnTo>
                    <a:pt x="160592" y="143637"/>
                  </a:lnTo>
                  <a:lnTo>
                    <a:pt x="163830" y="143161"/>
                  </a:lnTo>
                  <a:lnTo>
                    <a:pt x="164021" y="144780"/>
                  </a:lnTo>
                  <a:lnTo>
                    <a:pt x="163830" y="143161"/>
                  </a:lnTo>
                  <a:lnTo>
                    <a:pt x="170307" y="144018"/>
                  </a:lnTo>
                  <a:lnTo>
                    <a:pt x="170497" y="145542"/>
                  </a:lnTo>
                  <a:lnTo>
                    <a:pt x="164021" y="144780"/>
                  </a:lnTo>
                  <a:lnTo>
                    <a:pt x="165925" y="147733"/>
                  </a:lnTo>
                  <a:lnTo>
                    <a:pt x="164782" y="151067"/>
                  </a:lnTo>
                  <a:lnTo>
                    <a:pt x="165925" y="147733"/>
                  </a:lnTo>
                  <a:lnTo>
                    <a:pt x="167545" y="147542"/>
                  </a:lnTo>
                  <a:lnTo>
                    <a:pt x="167926" y="150685"/>
                  </a:lnTo>
                  <a:lnTo>
                    <a:pt x="165163" y="154210"/>
                  </a:lnTo>
                  <a:lnTo>
                    <a:pt x="168402" y="153829"/>
                  </a:lnTo>
                  <a:lnTo>
                    <a:pt x="167164" y="157163"/>
                  </a:lnTo>
                  <a:lnTo>
                    <a:pt x="169545" y="163354"/>
                  </a:lnTo>
                  <a:lnTo>
                    <a:pt x="166592" y="165259"/>
                  </a:lnTo>
                  <a:lnTo>
                    <a:pt x="165640" y="170212"/>
                  </a:lnTo>
                  <a:lnTo>
                    <a:pt x="168973" y="171355"/>
                  </a:lnTo>
                  <a:lnTo>
                    <a:pt x="167640" y="173164"/>
                  </a:lnTo>
                  <a:lnTo>
                    <a:pt x="168021" y="176308"/>
                  </a:lnTo>
                  <a:lnTo>
                    <a:pt x="166878" y="179642"/>
                  </a:lnTo>
                  <a:lnTo>
                    <a:pt x="168592" y="181070"/>
                  </a:lnTo>
                  <a:lnTo>
                    <a:pt x="170783" y="185642"/>
                  </a:lnTo>
                  <a:lnTo>
                    <a:pt x="172402" y="185452"/>
                  </a:lnTo>
                  <a:lnTo>
                    <a:pt x="172784" y="188595"/>
                  </a:lnTo>
                  <a:lnTo>
                    <a:pt x="174593" y="189929"/>
                  </a:lnTo>
                  <a:lnTo>
                    <a:pt x="174974" y="193072"/>
                  </a:lnTo>
                  <a:lnTo>
                    <a:pt x="178117" y="192691"/>
                  </a:lnTo>
                  <a:lnTo>
                    <a:pt x="178308" y="194310"/>
                  </a:lnTo>
                  <a:lnTo>
                    <a:pt x="175165" y="194691"/>
                  </a:lnTo>
                  <a:lnTo>
                    <a:pt x="177165" y="197644"/>
                  </a:lnTo>
                  <a:lnTo>
                    <a:pt x="185261" y="198215"/>
                  </a:lnTo>
                  <a:lnTo>
                    <a:pt x="185452" y="199739"/>
                  </a:lnTo>
                  <a:lnTo>
                    <a:pt x="182309" y="200215"/>
                  </a:lnTo>
                  <a:lnTo>
                    <a:pt x="175736" y="199358"/>
                  </a:lnTo>
                  <a:lnTo>
                    <a:pt x="173165" y="204502"/>
                  </a:lnTo>
                  <a:lnTo>
                    <a:pt x="174974" y="205930"/>
                  </a:lnTo>
                  <a:lnTo>
                    <a:pt x="173450" y="206121"/>
                  </a:lnTo>
                  <a:lnTo>
                    <a:pt x="169450" y="213074"/>
                  </a:lnTo>
                  <a:lnTo>
                    <a:pt x="166306" y="213455"/>
                  </a:lnTo>
                  <a:lnTo>
                    <a:pt x="168116" y="214789"/>
                  </a:lnTo>
                  <a:lnTo>
                    <a:pt x="165544" y="219932"/>
                  </a:lnTo>
                  <a:lnTo>
                    <a:pt x="166402" y="226219"/>
                  </a:lnTo>
                  <a:lnTo>
                    <a:pt x="168116" y="227647"/>
                  </a:lnTo>
                  <a:lnTo>
                    <a:pt x="164211" y="234505"/>
                  </a:lnTo>
                  <a:lnTo>
                    <a:pt x="162592" y="234791"/>
                  </a:lnTo>
                  <a:lnTo>
                    <a:pt x="163068" y="237934"/>
                  </a:lnTo>
                  <a:lnTo>
                    <a:pt x="164592" y="237744"/>
                  </a:lnTo>
                  <a:lnTo>
                    <a:pt x="163259" y="239459"/>
                  </a:lnTo>
                  <a:lnTo>
                    <a:pt x="164782" y="239268"/>
                  </a:lnTo>
                  <a:lnTo>
                    <a:pt x="163449" y="241078"/>
                  </a:lnTo>
                  <a:lnTo>
                    <a:pt x="167354" y="246983"/>
                  </a:lnTo>
                  <a:lnTo>
                    <a:pt x="166402" y="251936"/>
                  </a:lnTo>
                  <a:lnTo>
                    <a:pt x="171926" y="257651"/>
                  </a:lnTo>
                  <a:lnTo>
                    <a:pt x="173926" y="260604"/>
                  </a:lnTo>
                  <a:lnTo>
                    <a:pt x="170974" y="262604"/>
                  </a:lnTo>
                  <a:lnTo>
                    <a:pt x="174307" y="263747"/>
                  </a:lnTo>
                  <a:lnTo>
                    <a:pt x="171164" y="264128"/>
                  </a:lnTo>
                  <a:lnTo>
                    <a:pt x="171355" y="265747"/>
                  </a:lnTo>
                  <a:lnTo>
                    <a:pt x="174498" y="265271"/>
                  </a:lnTo>
                  <a:lnTo>
                    <a:pt x="178308" y="269653"/>
                  </a:lnTo>
                  <a:lnTo>
                    <a:pt x="181261" y="267652"/>
                  </a:lnTo>
                  <a:lnTo>
                    <a:pt x="180118" y="270986"/>
                  </a:lnTo>
                  <a:lnTo>
                    <a:pt x="183451" y="272225"/>
                  </a:lnTo>
                  <a:lnTo>
                    <a:pt x="182690" y="278701"/>
                  </a:lnTo>
                  <a:lnTo>
                    <a:pt x="184594" y="281654"/>
                  </a:lnTo>
                  <a:lnTo>
                    <a:pt x="181261" y="280511"/>
                  </a:lnTo>
                  <a:lnTo>
                    <a:pt x="181642" y="283655"/>
                  </a:lnTo>
                  <a:lnTo>
                    <a:pt x="180118" y="283845"/>
                  </a:lnTo>
                  <a:lnTo>
                    <a:pt x="176022" y="289179"/>
                  </a:lnTo>
                  <a:lnTo>
                    <a:pt x="177736" y="290513"/>
                  </a:lnTo>
                  <a:lnTo>
                    <a:pt x="180308" y="285464"/>
                  </a:lnTo>
                  <a:lnTo>
                    <a:pt x="181356" y="293275"/>
                  </a:lnTo>
                  <a:lnTo>
                    <a:pt x="183071" y="294704"/>
                  </a:lnTo>
                  <a:lnTo>
                    <a:pt x="175165" y="295656"/>
                  </a:lnTo>
                  <a:lnTo>
                    <a:pt x="171450" y="304229"/>
                  </a:lnTo>
                  <a:lnTo>
                    <a:pt x="169164" y="310896"/>
                  </a:lnTo>
                  <a:lnTo>
                    <a:pt x="171069" y="313849"/>
                  </a:lnTo>
                  <a:lnTo>
                    <a:pt x="167926" y="314230"/>
                  </a:lnTo>
                  <a:lnTo>
                    <a:pt x="170497" y="321945"/>
                  </a:lnTo>
                  <a:lnTo>
                    <a:pt x="169354" y="325279"/>
                  </a:lnTo>
                  <a:lnTo>
                    <a:pt x="168021" y="327088"/>
                  </a:lnTo>
                  <a:lnTo>
                    <a:pt x="159639" y="324898"/>
                  </a:lnTo>
                  <a:lnTo>
                    <a:pt x="155162" y="327088"/>
                  </a:lnTo>
                  <a:lnTo>
                    <a:pt x="154210" y="332042"/>
                  </a:lnTo>
                  <a:lnTo>
                    <a:pt x="151067" y="332422"/>
                  </a:lnTo>
                  <a:lnTo>
                    <a:pt x="146494" y="334613"/>
                  </a:lnTo>
                  <a:lnTo>
                    <a:pt x="144494" y="344519"/>
                  </a:lnTo>
                  <a:lnTo>
                    <a:pt x="136017" y="340805"/>
                  </a:lnTo>
                  <a:lnTo>
                    <a:pt x="139065" y="351663"/>
                  </a:lnTo>
                  <a:lnTo>
                    <a:pt x="136112" y="353568"/>
                  </a:lnTo>
                  <a:lnTo>
                    <a:pt x="134493" y="353759"/>
                  </a:lnTo>
                  <a:lnTo>
                    <a:pt x="138684" y="361283"/>
                  </a:lnTo>
                  <a:lnTo>
                    <a:pt x="141827" y="360902"/>
                  </a:lnTo>
                  <a:lnTo>
                    <a:pt x="145161" y="362045"/>
                  </a:lnTo>
                  <a:lnTo>
                    <a:pt x="144399" y="368617"/>
                  </a:lnTo>
                  <a:lnTo>
                    <a:pt x="141446" y="370522"/>
                  </a:lnTo>
                  <a:lnTo>
                    <a:pt x="140684" y="377095"/>
                  </a:lnTo>
                  <a:lnTo>
                    <a:pt x="137541" y="377476"/>
                  </a:lnTo>
                  <a:lnTo>
                    <a:pt x="134398" y="377857"/>
                  </a:lnTo>
                  <a:lnTo>
                    <a:pt x="130588" y="373571"/>
                  </a:lnTo>
                  <a:lnTo>
                    <a:pt x="126111" y="375761"/>
                  </a:lnTo>
                  <a:lnTo>
                    <a:pt x="119539" y="374999"/>
                  </a:lnTo>
                  <a:lnTo>
                    <a:pt x="118205" y="376714"/>
                  </a:lnTo>
                  <a:lnTo>
                    <a:pt x="121729" y="379476"/>
                  </a:lnTo>
                  <a:lnTo>
                    <a:pt x="121348" y="389192"/>
                  </a:lnTo>
                  <a:lnTo>
                    <a:pt x="124301" y="400050"/>
                  </a:lnTo>
                  <a:lnTo>
                    <a:pt x="127540" y="399574"/>
                  </a:lnTo>
                  <a:lnTo>
                    <a:pt x="129254" y="401002"/>
                  </a:lnTo>
                  <a:lnTo>
                    <a:pt x="138970" y="401384"/>
                  </a:lnTo>
                  <a:lnTo>
                    <a:pt x="141922" y="399383"/>
                  </a:lnTo>
                  <a:lnTo>
                    <a:pt x="143923" y="402336"/>
                  </a:lnTo>
                  <a:lnTo>
                    <a:pt x="140684" y="402717"/>
                  </a:lnTo>
                  <a:lnTo>
                    <a:pt x="133636" y="410051"/>
                  </a:lnTo>
                  <a:lnTo>
                    <a:pt x="133826" y="411575"/>
                  </a:lnTo>
                  <a:lnTo>
                    <a:pt x="137827" y="417576"/>
                  </a:lnTo>
                  <a:lnTo>
                    <a:pt x="136207" y="417767"/>
                  </a:lnTo>
                  <a:lnTo>
                    <a:pt x="129730" y="417005"/>
                  </a:lnTo>
                  <a:lnTo>
                    <a:pt x="129540" y="415385"/>
                  </a:lnTo>
                  <a:lnTo>
                    <a:pt x="124396" y="412813"/>
                  </a:lnTo>
                  <a:lnTo>
                    <a:pt x="123444" y="417767"/>
                  </a:lnTo>
                  <a:lnTo>
                    <a:pt x="125158" y="419100"/>
                  </a:lnTo>
                  <a:lnTo>
                    <a:pt x="126016" y="425482"/>
                  </a:lnTo>
                  <a:lnTo>
                    <a:pt x="119253" y="423100"/>
                  </a:lnTo>
                  <a:lnTo>
                    <a:pt x="113538" y="428625"/>
                  </a:lnTo>
                  <a:lnTo>
                    <a:pt x="115348" y="430054"/>
                  </a:lnTo>
                  <a:lnTo>
                    <a:pt x="115729" y="433197"/>
                  </a:lnTo>
                  <a:lnTo>
                    <a:pt x="112395" y="431959"/>
                  </a:lnTo>
                  <a:lnTo>
                    <a:pt x="110966" y="433768"/>
                  </a:lnTo>
                  <a:lnTo>
                    <a:pt x="111633" y="438531"/>
                  </a:lnTo>
                  <a:lnTo>
                    <a:pt x="114776" y="438150"/>
                  </a:lnTo>
                  <a:lnTo>
                    <a:pt x="113157" y="438340"/>
                  </a:lnTo>
                  <a:lnTo>
                    <a:pt x="114014" y="444627"/>
                  </a:lnTo>
                  <a:lnTo>
                    <a:pt x="116776" y="441103"/>
                  </a:lnTo>
                  <a:lnTo>
                    <a:pt x="116396" y="450723"/>
                  </a:lnTo>
                  <a:lnTo>
                    <a:pt x="124682" y="452914"/>
                  </a:lnTo>
                  <a:lnTo>
                    <a:pt x="126206" y="452723"/>
                  </a:lnTo>
                  <a:lnTo>
                    <a:pt x="125063" y="456057"/>
                  </a:lnTo>
                  <a:lnTo>
                    <a:pt x="128397" y="457200"/>
                  </a:lnTo>
                  <a:lnTo>
                    <a:pt x="129445" y="465106"/>
                  </a:lnTo>
                  <a:lnTo>
                    <a:pt x="132017" y="472821"/>
                  </a:lnTo>
                  <a:lnTo>
                    <a:pt x="127730" y="476536"/>
                  </a:lnTo>
                  <a:lnTo>
                    <a:pt x="122587" y="473964"/>
                  </a:lnTo>
                  <a:lnTo>
                    <a:pt x="119348" y="474440"/>
                  </a:lnTo>
                  <a:lnTo>
                    <a:pt x="112490" y="483298"/>
                  </a:lnTo>
                  <a:lnTo>
                    <a:pt x="113157" y="500825"/>
                  </a:lnTo>
                  <a:lnTo>
                    <a:pt x="113347" y="502444"/>
                  </a:lnTo>
                  <a:lnTo>
                    <a:pt x="108775" y="504634"/>
                  </a:lnTo>
                  <a:lnTo>
                    <a:pt x="110776" y="507587"/>
                  </a:lnTo>
                  <a:lnTo>
                    <a:pt x="112204" y="505777"/>
                  </a:lnTo>
                  <a:lnTo>
                    <a:pt x="112395" y="507397"/>
                  </a:lnTo>
                  <a:lnTo>
                    <a:pt x="115348" y="505396"/>
                  </a:lnTo>
                  <a:lnTo>
                    <a:pt x="115538" y="507016"/>
                  </a:lnTo>
                  <a:lnTo>
                    <a:pt x="112776" y="510540"/>
                  </a:lnTo>
                  <a:lnTo>
                    <a:pt x="111633" y="513874"/>
                  </a:lnTo>
                  <a:lnTo>
                    <a:pt x="110966" y="509111"/>
                  </a:lnTo>
                  <a:lnTo>
                    <a:pt x="109442" y="509397"/>
                  </a:lnTo>
                  <a:lnTo>
                    <a:pt x="105823" y="506635"/>
                  </a:lnTo>
                  <a:lnTo>
                    <a:pt x="103061" y="510159"/>
                  </a:lnTo>
                  <a:lnTo>
                    <a:pt x="101346" y="508825"/>
                  </a:lnTo>
                  <a:lnTo>
                    <a:pt x="96965" y="512540"/>
                  </a:lnTo>
                  <a:lnTo>
                    <a:pt x="88868" y="511969"/>
                  </a:lnTo>
                  <a:lnTo>
                    <a:pt x="89535" y="516731"/>
                  </a:lnTo>
                  <a:lnTo>
                    <a:pt x="86582" y="518731"/>
                  </a:lnTo>
                  <a:lnTo>
                    <a:pt x="86963" y="521875"/>
                  </a:lnTo>
                  <a:lnTo>
                    <a:pt x="84011" y="523780"/>
                  </a:lnTo>
                  <a:lnTo>
                    <a:pt x="79057" y="522827"/>
                  </a:lnTo>
                  <a:lnTo>
                    <a:pt x="78105" y="527780"/>
                  </a:lnTo>
                  <a:lnTo>
                    <a:pt x="68008" y="537115"/>
                  </a:lnTo>
                  <a:lnTo>
                    <a:pt x="66103" y="534162"/>
                  </a:lnTo>
                  <a:lnTo>
                    <a:pt x="64103" y="531209"/>
                  </a:lnTo>
                  <a:lnTo>
                    <a:pt x="59341" y="531781"/>
                  </a:lnTo>
                  <a:lnTo>
                    <a:pt x="50863" y="528066"/>
                  </a:lnTo>
                  <a:lnTo>
                    <a:pt x="53816" y="526066"/>
                  </a:lnTo>
                  <a:lnTo>
                    <a:pt x="53626" y="524447"/>
                  </a:lnTo>
                  <a:lnTo>
                    <a:pt x="40576" y="522922"/>
                  </a:lnTo>
                  <a:lnTo>
                    <a:pt x="39243" y="524732"/>
                  </a:lnTo>
                  <a:lnTo>
                    <a:pt x="39433" y="526256"/>
                  </a:lnTo>
                  <a:lnTo>
                    <a:pt x="46101" y="528638"/>
                  </a:lnTo>
                  <a:lnTo>
                    <a:pt x="48101" y="531590"/>
                  </a:lnTo>
                  <a:lnTo>
                    <a:pt x="46768" y="533400"/>
                  </a:lnTo>
                  <a:lnTo>
                    <a:pt x="43720" y="535400"/>
                  </a:lnTo>
                  <a:lnTo>
                    <a:pt x="41434" y="542068"/>
                  </a:lnTo>
                  <a:lnTo>
                    <a:pt x="41624" y="543687"/>
                  </a:lnTo>
                  <a:lnTo>
                    <a:pt x="40481" y="547021"/>
                  </a:lnTo>
                  <a:lnTo>
                    <a:pt x="39433" y="551974"/>
                  </a:lnTo>
                  <a:lnTo>
                    <a:pt x="42863" y="553117"/>
                  </a:lnTo>
                  <a:lnTo>
                    <a:pt x="44386" y="565785"/>
                  </a:lnTo>
                  <a:lnTo>
                    <a:pt x="43244" y="569119"/>
                  </a:lnTo>
                  <a:lnTo>
                    <a:pt x="32385" y="572072"/>
                  </a:lnTo>
                  <a:lnTo>
                    <a:pt x="32575" y="573691"/>
                  </a:lnTo>
                  <a:lnTo>
                    <a:pt x="35433" y="582930"/>
                  </a:lnTo>
                  <a:lnTo>
                    <a:pt x="42481" y="588455"/>
                  </a:lnTo>
                  <a:lnTo>
                    <a:pt x="44482" y="591407"/>
                  </a:lnTo>
                  <a:lnTo>
                    <a:pt x="42386" y="599694"/>
                  </a:lnTo>
                  <a:lnTo>
                    <a:pt x="50292" y="611505"/>
                  </a:lnTo>
                  <a:lnTo>
                    <a:pt x="51054" y="617792"/>
                  </a:lnTo>
                  <a:lnTo>
                    <a:pt x="49911" y="621221"/>
                  </a:lnTo>
                  <a:lnTo>
                    <a:pt x="47720" y="629507"/>
                  </a:lnTo>
                  <a:lnTo>
                    <a:pt x="34957" y="642366"/>
                  </a:lnTo>
                  <a:lnTo>
                    <a:pt x="31147" y="637984"/>
                  </a:lnTo>
                  <a:lnTo>
                    <a:pt x="27813" y="636842"/>
                  </a:lnTo>
                  <a:lnTo>
                    <a:pt x="25813" y="633889"/>
                  </a:lnTo>
                  <a:lnTo>
                    <a:pt x="24289" y="634079"/>
                  </a:lnTo>
                  <a:lnTo>
                    <a:pt x="24670" y="637222"/>
                  </a:lnTo>
                  <a:lnTo>
                    <a:pt x="15049" y="649700"/>
                  </a:lnTo>
                  <a:lnTo>
                    <a:pt x="13240" y="661130"/>
                  </a:lnTo>
                  <a:lnTo>
                    <a:pt x="5048" y="671798"/>
                  </a:lnTo>
                  <a:lnTo>
                    <a:pt x="7048" y="674751"/>
                  </a:lnTo>
                  <a:lnTo>
                    <a:pt x="6191" y="681228"/>
                  </a:lnTo>
                  <a:lnTo>
                    <a:pt x="6858" y="685990"/>
                  </a:lnTo>
                  <a:lnTo>
                    <a:pt x="1524" y="694658"/>
                  </a:lnTo>
                  <a:lnTo>
                    <a:pt x="2096" y="699421"/>
                  </a:lnTo>
                  <a:lnTo>
                    <a:pt x="0" y="707707"/>
                  </a:lnTo>
                  <a:lnTo>
                    <a:pt x="3905" y="713613"/>
                  </a:lnTo>
                  <a:lnTo>
                    <a:pt x="10668" y="715994"/>
                  </a:lnTo>
                  <a:lnTo>
                    <a:pt x="9715" y="720947"/>
                  </a:lnTo>
                  <a:lnTo>
                    <a:pt x="10668" y="728853"/>
                  </a:lnTo>
                  <a:lnTo>
                    <a:pt x="15621" y="729805"/>
                  </a:lnTo>
                  <a:lnTo>
                    <a:pt x="18383" y="726186"/>
                  </a:lnTo>
                  <a:lnTo>
                    <a:pt x="25527" y="731710"/>
                  </a:lnTo>
                  <a:lnTo>
                    <a:pt x="28289" y="728186"/>
                  </a:lnTo>
                  <a:lnTo>
                    <a:pt x="31242" y="726186"/>
                  </a:lnTo>
                  <a:lnTo>
                    <a:pt x="38957" y="736473"/>
                  </a:lnTo>
                  <a:lnTo>
                    <a:pt x="36767" y="744760"/>
                  </a:lnTo>
                  <a:lnTo>
                    <a:pt x="40957" y="752189"/>
                  </a:lnTo>
                  <a:lnTo>
                    <a:pt x="52006" y="763619"/>
                  </a:lnTo>
                  <a:lnTo>
                    <a:pt x="51435" y="758952"/>
                  </a:lnTo>
                  <a:lnTo>
                    <a:pt x="54388" y="756952"/>
                  </a:lnTo>
                  <a:lnTo>
                    <a:pt x="58483" y="751618"/>
                  </a:lnTo>
                  <a:lnTo>
                    <a:pt x="64960" y="752380"/>
                  </a:lnTo>
                  <a:lnTo>
                    <a:pt x="66770" y="753713"/>
                  </a:lnTo>
                  <a:lnTo>
                    <a:pt x="61055" y="759238"/>
                  </a:lnTo>
                  <a:lnTo>
                    <a:pt x="59912" y="762667"/>
                  </a:lnTo>
                  <a:lnTo>
                    <a:pt x="69818" y="777430"/>
                  </a:lnTo>
                  <a:lnTo>
                    <a:pt x="71247" y="788480"/>
                  </a:lnTo>
                  <a:lnTo>
                    <a:pt x="72771" y="788289"/>
                  </a:lnTo>
                  <a:lnTo>
                    <a:pt x="74771" y="791242"/>
                  </a:lnTo>
                  <a:lnTo>
                    <a:pt x="82486" y="814292"/>
                  </a:lnTo>
                  <a:lnTo>
                    <a:pt x="87630" y="816864"/>
                  </a:lnTo>
                  <a:lnTo>
                    <a:pt x="92773" y="819340"/>
                  </a:lnTo>
                  <a:lnTo>
                    <a:pt x="91630" y="822770"/>
                  </a:lnTo>
                  <a:lnTo>
                    <a:pt x="94202" y="830389"/>
                  </a:lnTo>
                  <a:lnTo>
                    <a:pt x="97726" y="833152"/>
                  </a:lnTo>
                  <a:lnTo>
                    <a:pt x="104108" y="832390"/>
                  </a:lnTo>
                  <a:lnTo>
                    <a:pt x="105823" y="833723"/>
                  </a:lnTo>
                  <a:lnTo>
                    <a:pt x="114871" y="829437"/>
                  </a:lnTo>
                  <a:lnTo>
                    <a:pt x="126778" y="834295"/>
                  </a:lnTo>
                  <a:lnTo>
                    <a:pt x="132683" y="830294"/>
                  </a:lnTo>
                  <a:lnTo>
                    <a:pt x="136779" y="824960"/>
                  </a:lnTo>
                  <a:lnTo>
                    <a:pt x="141922" y="827532"/>
                  </a:lnTo>
                  <a:lnTo>
                    <a:pt x="142970" y="835438"/>
                  </a:lnTo>
                  <a:lnTo>
                    <a:pt x="151067" y="848868"/>
                  </a:lnTo>
                  <a:lnTo>
                    <a:pt x="148685" y="855536"/>
                  </a:lnTo>
                  <a:lnTo>
                    <a:pt x="160020" y="881348"/>
                  </a:lnTo>
                  <a:lnTo>
                    <a:pt x="160401" y="884491"/>
                  </a:lnTo>
                  <a:lnTo>
                    <a:pt x="164401" y="890492"/>
                  </a:lnTo>
                  <a:lnTo>
                    <a:pt x="170688" y="889635"/>
                  </a:lnTo>
                  <a:lnTo>
                    <a:pt x="180594" y="891635"/>
                  </a:lnTo>
                  <a:lnTo>
                    <a:pt x="176594" y="898493"/>
                  </a:lnTo>
                  <a:lnTo>
                    <a:pt x="183737" y="904018"/>
                  </a:lnTo>
                  <a:lnTo>
                    <a:pt x="182975" y="910495"/>
                  </a:lnTo>
                  <a:lnTo>
                    <a:pt x="194881" y="928306"/>
                  </a:lnTo>
                  <a:lnTo>
                    <a:pt x="190405" y="943261"/>
                  </a:lnTo>
                  <a:lnTo>
                    <a:pt x="187833" y="948404"/>
                  </a:lnTo>
                  <a:lnTo>
                    <a:pt x="193357" y="954119"/>
                  </a:lnTo>
                  <a:lnTo>
                    <a:pt x="208597" y="960215"/>
                  </a:lnTo>
                  <a:lnTo>
                    <a:pt x="216217" y="957644"/>
                  </a:lnTo>
                  <a:lnTo>
                    <a:pt x="218408" y="962120"/>
                  </a:lnTo>
                  <a:lnTo>
                    <a:pt x="224504" y="959739"/>
                  </a:lnTo>
                  <a:lnTo>
                    <a:pt x="236220" y="963073"/>
                  </a:lnTo>
                  <a:lnTo>
                    <a:pt x="247079" y="972979"/>
                  </a:lnTo>
                  <a:lnTo>
                    <a:pt x="253937" y="976884"/>
                  </a:lnTo>
                  <a:lnTo>
                    <a:pt x="265462" y="991457"/>
                  </a:lnTo>
                  <a:lnTo>
                    <a:pt x="270986" y="997172"/>
                  </a:lnTo>
                  <a:lnTo>
                    <a:pt x="271367" y="1000315"/>
                  </a:lnTo>
                  <a:lnTo>
                    <a:pt x="274796" y="1001458"/>
                  </a:lnTo>
                  <a:lnTo>
                    <a:pt x="275368" y="1006221"/>
                  </a:lnTo>
                  <a:lnTo>
                    <a:pt x="286417" y="1017651"/>
                  </a:lnTo>
                  <a:lnTo>
                    <a:pt x="289560" y="1017270"/>
                  </a:lnTo>
                  <a:lnTo>
                    <a:pt x="293180" y="1019937"/>
                  </a:lnTo>
                  <a:lnTo>
                    <a:pt x="297275" y="1027462"/>
                  </a:lnTo>
                  <a:lnTo>
                    <a:pt x="306991" y="1027843"/>
                  </a:lnTo>
                  <a:lnTo>
                    <a:pt x="312515" y="1033558"/>
                  </a:lnTo>
                  <a:lnTo>
                    <a:pt x="317278" y="1032986"/>
                  </a:lnTo>
                  <a:lnTo>
                    <a:pt x="330327" y="1034510"/>
                  </a:lnTo>
                  <a:lnTo>
                    <a:pt x="333851" y="1037272"/>
                  </a:lnTo>
                  <a:lnTo>
                    <a:pt x="334804" y="1045178"/>
                  </a:lnTo>
                  <a:lnTo>
                    <a:pt x="336423" y="1044988"/>
                  </a:lnTo>
                  <a:lnTo>
                    <a:pt x="333851" y="1050036"/>
                  </a:lnTo>
                  <a:lnTo>
                    <a:pt x="340138" y="1049274"/>
                  </a:lnTo>
                  <a:lnTo>
                    <a:pt x="338995" y="1052608"/>
                  </a:lnTo>
                  <a:lnTo>
                    <a:pt x="344329" y="1056799"/>
                  </a:lnTo>
                  <a:lnTo>
                    <a:pt x="346520" y="1061275"/>
                  </a:lnTo>
                  <a:lnTo>
                    <a:pt x="344900" y="1061466"/>
                  </a:lnTo>
                  <a:lnTo>
                    <a:pt x="343567" y="1063276"/>
                  </a:lnTo>
                  <a:lnTo>
                    <a:pt x="350710" y="1068800"/>
                  </a:lnTo>
                  <a:lnTo>
                    <a:pt x="351092" y="1071944"/>
                  </a:lnTo>
                  <a:lnTo>
                    <a:pt x="354425" y="1073087"/>
                  </a:lnTo>
                  <a:lnTo>
                    <a:pt x="358997" y="1070896"/>
                  </a:lnTo>
                  <a:lnTo>
                    <a:pt x="365855" y="1074896"/>
                  </a:lnTo>
                  <a:lnTo>
                    <a:pt x="369284" y="1076039"/>
                  </a:lnTo>
                  <a:lnTo>
                    <a:pt x="368903" y="1085659"/>
                  </a:lnTo>
                  <a:lnTo>
                    <a:pt x="368141" y="1092232"/>
                  </a:lnTo>
                  <a:lnTo>
                    <a:pt x="364141" y="1099185"/>
                  </a:lnTo>
                  <a:lnTo>
                    <a:pt x="355663" y="1095375"/>
                  </a:lnTo>
                  <a:lnTo>
                    <a:pt x="343281" y="1098614"/>
                  </a:lnTo>
                  <a:lnTo>
                    <a:pt x="342709" y="1106710"/>
                  </a:lnTo>
                  <a:lnTo>
                    <a:pt x="338138" y="1108900"/>
                  </a:lnTo>
                  <a:lnTo>
                    <a:pt x="335375" y="1112425"/>
                  </a:lnTo>
                  <a:lnTo>
                    <a:pt x="333851" y="1112615"/>
                  </a:lnTo>
                  <a:lnTo>
                    <a:pt x="342900" y="1121092"/>
                  </a:lnTo>
                  <a:lnTo>
                    <a:pt x="343091" y="1122712"/>
                  </a:lnTo>
                  <a:lnTo>
                    <a:pt x="348425" y="1126807"/>
                  </a:lnTo>
                  <a:lnTo>
                    <a:pt x="347091" y="1128617"/>
                  </a:lnTo>
                  <a:lnTo>
                    <a:pt x="356521" y="1127379"/>
                  </a:lnTo>
                  <a:lnTo>
                    <a:pt x="359950" y="1128522"/>
                  </a:lnTo>
                  <a:lnTo>
                    <a:pt x="359569" y="1138238"/>
                  </a:lnTo>
                  <a:lnTo>
                    <a:pt x="354806" y="1138809"/>
                  </a:lnTo>
                  <a:lnTo>
                    <a:pt x="356806" y="1141762"/>
                  </a:lnTo>
                  <a:lnTo>
                    <a:pt x="355568" y="1145096"/>
                  </a:lnTo>
                  <a:lnTo>
                    <a:pt x="362331" y="1147477"/>
                  </a:lnTo>
                  <a:lnTo>
                    <a:pt x="362712" y="1150620"/>
                  </a:lnTo>
                  <a:lnTo>
                    <a:pt x="364903" y="1155192"/>
                  </a:lnTo>
                  <a:lnTo>
                    <a:pt x="370808" y="1151191"/>
                  </a:lnTo>
                  <a:lnTo>
                    <a:pt x="375761" y="1152239"/>
                  </a:lnTo>
                  <a:lnTo>
                    <a:pt x="373189" y="1157288"/>
                  </a:lnTo>
                  <a:lnTo>
                    <a:pt x="374237" y="1165193"/>
                  </a:lnTo>
                  <a:lnTo>
                    <a:pt x="375761" y="1165003"/>
                  </a:lnTo>
                  <a:lnTo>
                    <a:pt x="378333" y="1159859"/>
                  </a:lnTo>
                  <a:lnTo>
                    <a:pt x="394525" y="1161002"/>
                  </a:lnTo>
                  <a:lnTo>
                    <a:pt x="394525" y="1161002"/>
                  </a:lnTo>
                  <a:lnTo>
                    <a:pt x="396335" y="1162431"/>
                  </a:lnTo>
                  <a:lnTo>
                    <a:pt x="393954" y="1169098"/>
                  </a:lnTo>
                  <a:lnTo>
                    <a:pt x="400812" y="1173004"/>
                  </a:lnTo>
                  <a:lnTo>
                    <a:pt x="410337" y="1171861"/>
                  </a:lnTo>
                  <a:lnTo>
                    <a:pt x="420529" y="1164146"/>
                  </a:lnTo>
                  <a:lnTo>
                    <a:pt x="429101" y="1167860"/>
                  </a:lnTo>
                  <a:lnTo>
                    <a:pt x="435197" y="1165479"/>
                  </a:lnTo>
                  <a:lnTo>
                    <a:pt x="440531" y="1169575"/>
                  </a:lnTo>
                  <a:lnTo>
                    <a:pt x="442055" y="1169384"/>
                  </a:lnTo>
                  <a:lnTo>
                    <a:pt x="442722" y="1174147"/>
                  </a:lnTo>
                  <a:lnTo>
                    <a:pt x="451961" y="1171384"/>
                  </a:lnTo>
                  <a:lnTo>
                    <a:pt x="453580" y="1171099"/>
                  </a:lnTo>
                  <a:lnTo>
                    <a:pt x="453295" y="1169575"/>
                  </a:lnTo>
                  <a:lnTo>
                    <a:pt x="456533" y="1169194"/>
                  </a:lnTo>
                  <a:lnTo>
                    <a:pt x="459867" y="1170337"/>
                  </a:lnTo>
                  <a:lnTo>
                    <a:pt x="466344" y="1171099"/>
                  </a:lnTo>
                  <a:lnTo>
                    <a:pt x="479965" y="1177385"/>
                  </a:lnTo>
                  <a:lnTo>
                    <a:pt x="488251" y="1179576"/>
                  </a:lnTo>
                  <a:lnTo>
                    <a:pt x="496824" y="1183291"/>
                  </a:lnTo>
                  <a:lnTo>
                    <a:pt x="497396" y="1188053"/>
                  </a:lnTo>
                  <a:lnTo>
                    <a:pt x="511207" y="1183005"/>
                  </a:lnTo>
                  <a:lnTo>
                    <a:pt x="521017" y="1185005"/>
                  </a:lnTo>
                  <a:lnTo>
                    <a:pt x="527018" y="1193864"/>
                  </a:lnTo>
                  <a:lnTo>
                    <a:pt x="549307" y="1205484"/>
                  </a:lnTo>
                  <a:lnTo>
                    <a:pt x="555879" y="1206246"/>
                  </a:lnTo>
                  <a:lnTo>
                    <a:pt x="558832" y="1204246"/>
                  </a:lnTo>
                  <a:lnTo>
                    <a:pt x="560165" y="1215295"/>
                  </a:lnTo>
                  <a:lnTo>
                    <a:pt x="563785" y="1218057"/>
                  </a:lnTo>
                  <a:lnTo>
                    <a:pt x="571405" y="1215485"/>
                  </a:lnTo>
                  <a:lnTo>
                    <a:pt x="573786" y="1208723"/>
                  </a:lnTo>
                  <a:lnTo>
                    <a:pt x="579882" y="1206341"/>
                  </a:lnTo>
                  <a:lnTo>
                    <a:pt x="579120" y="1200055"/>
                  </a:lnTo>
                  <a:lnTo>
                    <a:pt x="583025" y="1193102"/>
                  </a:lnTo>
                  <a:lnTo>
                    <a:pt x="589312" y="1192339"/>
                  </a:lnTo>
                  <a:lnTo>
                    <a:pt x="591693" y="1198436"/>
                  </a:lnTo>
                  <a:lnTo>
                    <a:pt x="595122" y="1199579"/>
                  </a:lnTo>
                  <a:lnTo>
                    <a:pt x="599789" y="1199007"/>
                  </a:lnTo>
                  <a:lnTo>
                    <a:pt x="604361" y="1196816"/>
                  </a:lnTo>
                  <a:lnTo>
                    <a:pt x="608267" y="1189958"/>
                  </a:lnTo>
                  <a:lnTo>
                    <a:pt x="606076" y="1185386"/>
                  </a:lnTo>
                  <a:lnTo>
                    <a:pt x="604076" y="1182433"/>
                  </a:lnTo>
                  <a:lnTo>
                    <a:pt x="602933" y="1173004"/>
                  </a:lnTo>
                  <a:lnTo>
                    <a:pt x="605885" y="1171004"/>
                  </a:lnTo>
                  <a:lnTo>
                    <a:pt x="609409" y="1173766"/>
                  </a:lnTo>
                  <a:lnTo>
                    <a:pt x="615696" y="1172908"/>
                  </a:lnTo>
                  <a:lnTo>
                    <a:pt x="617315" y="1172718"/>
                  </a:lnTo>
                  <a:lnTo>
                    <a:pt x="623792" y="1173480"/>
                  </a:lnTo>
                  <a:lnTo>
                    <a:pt x="630746" y="1177481"/>
                  </a:lnTo>
                  <a:lnTo>
                    <a:pt x="635698" y="1178433"/>
                  </a:lnTo>
                  <a:lnTo>
                    <a:pt x="637604" y="1168527"/>
                  </a:lnTo>
                  <a:lnTo>
                    <a:pt x="643509" y="1164527"/>
                  </a:lnTo>
                  <a:lnTo>
                    <a:pt x="644271" y="1158049"/>
                  </a:lnTo>
                  <a:lnTo>
                    <a:pt x="648081" y="1149572"/>
                  </a:lnTo>
                  <a:lnTo>
                    <a:pt x="647033" y="1141666"/>
                  </a:lnTo>
                  <a:lnTo>
                    <a:pt x="651129" y="1136332"/>
                  </a:lnTo>
                  <a:lnTo>
                    <a:pt x="654558" y="1137475"/>
                  </a:lnTo>
                  <a:lnTo>
                    <a:pt x="651701" y="1128236"/>
                  </a:lnTo>
                  <a:lnTo>
                    <a:pt x="644462" y="1121188"/>
                  </a:lnTo>
                  <a:lnTo>
                    <a:pt x="643604" y="1114806"/>
                  </a:lnTo>
                  <a:lnTo>
                    <a:pt x="651510" y="1113854"/>
                  </a:lnTo>
                  <a:lnTo>
                    <a:pt x="654844" y="1114997"/>
                  </a:lnTo>
                  <a:lnTo>
                    <a:pt x="662559" y="1112425"/>
                  </a:lnTo>
                  <a:lnTo>
                    <a:pt x="662368" y="1110901"/>
                  </a:lnTo>
                  <a:lnTo>
                    <a:pt x="664559" y="1115378"/>
                  </a:lnTo>
                  <a:lnTo>
                    <a:pt x="668084" y="1118140"/>
                  </a:lnTo>
                  <a:lnTo>
                    <a:pt x="666559" y="1118330"/>
                  </a:lnTo>
                  <a:lnTo>
                    <a:pt x="666750" y="1119949"/>
                  </a:lnTo>
                  <a:lnTo>
                    <a:pt x="672275" y="1125664"/>
                  </a:lnTo>
                  <a:lnTo>
                    <a:pt x="679133" y="1129570"/>
                  </a:lnTo>
                  <a:lnTo>
                    <a:pt x="681514" y="1135666"/>
                  </a:lnTo>
                  <a:lnTo>
                    <a:pt x="680371" y="1138999"/>
                  </a:lnTo>
                  <a:lnTo>
                    <a:pt x="683895" y="1141762"/>
                  </a:lnTo>
                  <a:lnTo>
                    <a:pt x="687896" y="1147667"/>
                  </a:lnTo>
                  <a:lnTo>
                    <a:pt x="692277" y="1143953"/>
                  </a:lnTo>
                  <a:lnTo>
                    <a:pt x="698563" y="1143095"/>
                  </a:lnTo>
                  <a:lnTo>
                    <a:pt x="704088" y="1148810"/>
                  </a:lnTo>
                  <a:lnTo>
                    <a:pt x="718661" y="1150144"/>
                  </a:lnTo>
                  <a:lnTo>
                    <a:pt x="720662" y="1153097"/>
                  </a:lnTo>
                  <a:lnTo>
                    <a:pt x="723043" y="1159288"/>
                  </a:lnTo>
                  <a:lnTo>
                    <a:pt x="728377" y="1163383"/>
                  </a:lnTo>
                  <a:lnTo>
                    <a:pt x="731330" y="1161383"/>
                  </a:lnTo>
                  <a:lnTo>
                    <a:pt x="730758" y="1156716"/>
                  </a:lnTo>
                  <a:lnTo>
                    <a:pt x="733901" y="1156240"/>
                  </a:lnTo>
                  <a:lnTo>
                    <a:pt x="736854" y="1154335"/>
                  </a:lnTo>
                  <a:lnTo>
                    <a:pt x="739997" y="1153858"/>
                  </a:lnTo>
                  <a:lnTo>
                    <a:pt x="744093" y="1148524"/>
                  </a:lnTo>
                  <a:lnTo>
                    <a:pt x="750475" y="1147763"/>
                  </a:lnTo>
                  <a:lnTo>
                    <a:pt x="755713" y="1139095"/>
                  </a:lnTo>
                  <a:lnTo>
                    <a:pt x="758476" y="1135475"/>
                  </a:lnTo>
                  <a:lnTo>
                    <a:pt x="764858" y="1134713"/>
                  </a:lnTo>
                  <a:lnTo>
                    <a:pt x="769144" y="1143762"/>
                  </a:lnTo>
                  <a:lnTo>
                    <a:pt x="772954" y="1160907"/>
                  </a:lnTo>
                  <a:lnTo>
                    <a:pt x="776383" y="1162050"/>
                  </a:lnTo>
                  <a:lnTo>
                    <a:pt x="779717" y="1163288"/>
                  </a:lnTo>
                  <a:lnTo>
                    <a:pt x="790099" y="1157097"/>
                  </a:lnTo>
                  <a:lnTo>
                    <a:pt x="796671" y="1170718"/>
                  </a:lnTo>
                  <a:lnTo>
                    <a:pt x="802291" y="1189291"/>
                  </a:lnTo>
                  <a:lnTo>
                    <a:pt x="816483" y="1187482"/>
                  </a:lnTo>
                  <a:lnTo>
                    <a:pt x="820769" y="1183672"/>
                  </a:lnTo>
                  <a:lnTo>
                    <a:pt x="821150" y="1186815"/>
                  </a:lnTo>
                  <a:lnTo>
                    <a:pt x="824103" y="1184910"/>
                  </a:lnTo>
                  <a:lnTo>
                    <a:pt x="829437" y="1189006"/>
                  </a:lnTo>
                  <a:lnTo>
                    <a:pt x="833628" y="1183672"/>
                  </a:lnTo>
                  <a:lnTo>
                    <a:pt x="832771" y="1177385"/>
                  </a:lnTo>
                  <a:lnTo>
                    <a:pt x="837343" y="1175195"/>
                  </a:lnTo>
                  <a:lnTo>
                    <a:pt x="836962" y="1172051"/>
                  </a:lnTo>
                  <a:lnTo>
                    <a:pt x="844201" y="1166241"/>
                  </a:lnTo>
                  <a:lnTo>
                    <a:pt x="838676" y="1147763"/>
                  </a:lnTo>
                  <a:lnTo>
                    <a:pt x="845058" y="1122902"/>
                  </a:lnTo>
                  <a:lnTo>
                    <a:pt x="843534" y="1123093"/>
                  </a:lnTo>
                  <a:lnTo>
                    <a:pt x="841915" y="1110424"/>
                  </a:lnTo>
                  <a:lnTo>
                    <a:pt x="837152" y="1110996"/>
                  </a:lnTo>
                  <a:lnTo>
                    <a:pt x="844582" y="1081183"/>
                  </a:lnTo>
                  <a:lnTo>
                    <a:pt x="847344" y="1077658"/>
                  </a:lnTo>
                  <a:lnTo>
                    <a:pt x="847725" y="1068038"/>
                  </a:lnTo>
                  <a:lnTo>
                    <a:pt x="854202" y="1055941"/>
                  </a:lnTo>
                  <a:lnTo>
                    <a:pt x="856964" y="1052417"/>
                  </a:lnTo>
                  <a:lnTo>
                    <a:pt x="867823" y="1049369"/>
                  </a:lnTo>
                  <a:lnTo>
                    <a:pt x="870204" y="1042702"/>
                  </a:lnTo>
                  <a:lnTo>
                    <a:pt x="881253" y="1041273"/>
                  </a:lnTo>
                  <a:lnTo>
                    <a:pt x="889921" y="1033748"/>
                  </a:lnTo>
                  <a:lnTo>
                    <a:pt x="890873" y="1028795"/>
                  </a:lnTo>
                  <a:lnTo>
                    <a:pt x="893635" y="1025271"/>
                  </a:lnTo>
                  <a:lnTo>
                    <a:pt x="894588" y="1020318"/>
                  </a:lnTo>
                  <a:lnTo>
                    <a:pt x="899160" y="1018127"/>
                  </a:lnTo>
                  <a:lnTo>
                    <a:pt x="898874" y="1016603"/>
                  </a:lnTo>
                  <a:lnTo>
                    <a:pt x="900684" y="1017937"/>
                  </a:lnTo>
                  <a:lnTo>
                    <a:pt x="905256" y="1015746"/>
                  </a:lnTo>
                  <a:lnTo>
                    <a:pt x="900113" y="1000411"/>
                  </a:lnTo>
                  <a:lnTo>
                    <a:pt x="907733" y="984980"/>
                  </a:lnTo>
                  <a:lnTo>
                    <a:pt x="906875" y="978694"/>
                  </a:lnTo>
                  <a:lnTo>
                    <a:pt x="904494" y="972598"/>
                  </a:lnTo>
                  <a:lnTo>
                    <a:pt x="905923" y="970788"/>
                  </a:lnTo>
                  <a:lnTo>
                    <a:pt x="905066" y="964502"/>
                  </a:lnTo>
                  <a:lnTo>
                    <a:pt x="912781" y="961834"/>
                  </a:lnTo>
                  <a:lnTo>
                    <a:pt x="915734" y="959930"/>
                  </a:lnTo>
                  <a:lnTo>
                    <a:pt x="920877" y="962406"/>
                  </a:lnTo>
                  <a:lnTo>
                    <a:pt x="927163" y="961644"/>
                  </a:lnTo>
                  <a:lnTo>
                    <a:pt x="929926" y="958120"/>
                  </a:lnTo>
                  <a:lnTo>
                    <a:pt x="932307" y="964216"/>
                  </a:lnTo>
                  <a:lnTo>
                    <a:pt x="932307" y="964216"/>
                  </a:lnTo>
                  <a:lnTo>
                    <a:pt x="933736" y="962406"/>
                  </a:lnTo>
                  <a:lnTo>
                    <a:pt x="935736" y="965359"/>
                  </a:lnTo>
                  <a:lnTo>
                    <a:pt x="939260" y="968121"/>
                  </a:lnTo>
                  <a:lnTo>
                    <a:pt x="940594" y="966311"/>
                  </a:lnTo>
                  <a:lnTo>
                    <a:pt x="944023" y="967549"/>
                  </a:lnTo>
                  <a:lnTo>
                    <a:pt x="948118" y="962215"/>
                  </a:lnTo>
                  <a:lnTo>
                    <a:pt x="953072" y="963168"/>
                  </a:lnTo>
                  <a:lnTo>
                    <a:pt x="959930" y="967073"/>
                  </a:lnTo>
                  <a:lnTo>
                    <a:pt x="958977" y="972026"/>
                  </a:lnTo>
                  <a:lnTo>
                    <a:pt x="960787" y="973455"/>
                  </a:lnTo>
                  <a:lnTo>
                    <a:pt x="968693" y="972407"/>
                  </a:lnTo>
                  <a:lnTo>
                    <a:pt x="972217" y="975170"/>
                  </a:lnTo>
                  <a:lnTo>
                    <a:pt x="977360" y="977741"/>
                  </a:lnTo>
                  <a:lnTo>
                    <a:pt x="981932" y="975550"/>
                  </a:lnTo>
                  <a:lnTo>
                    <a:pt x="988790" y="979456"/>
                  </a:lnTo>
                  <a:lnTo>
                    <a:pt x="993743" y="980408"/>
                  </a:lnTo>
                  <a:lnTo>
                    <a:pt x="997458" y="984790"/>
                  </a:lnTo>
                  <a:lnTo>
                    <a:pt x="1002411" y="985742"/>
                  </a:lnTo>
                  <a:lnTo>
                    <a:pt x="1005364" y="983742"/>
                  </a:lnTo>
                  <a:lnTo>
                    <a:pt x="1012508" y="989266"/>
                  </a:lnTo>
                  <a:lnTo>
                    <a:pt x="1015079" y="984123"/>
                  </a:lnTo>
                  <a:lnTo>
                    <a:pt x="1018222" y="983742"/>
                  </a:lnTo>
                  <a:lnTo>
                    <a:pt x="1023938" y="978217"/>
                  </a:lnTo>
                  <a:lnTo>
                    <a:pt x="1027652" y="969740"/>
                  </a:lnTo>
                  <a:lnTo>
                    <a:pt x="1025843" y="968312"/>
                  </a:lnTo>
                  <a:lnTo>
                    <a:pt x="1027081" y="964978"/>
                  </a:lnTo>
                  <a:lnTo>
                    <a:pt x="1026890" y="963358"/>
                  </a:lnTo>
                  <a:lnTo>
                    <a:pt x="1011269" y="954119"/>
                  </a:lnTo>
                  <a:lnTo>
                    <a:pt x="1011079" y="952595"/>
                  </a:lnTo>
                  <a:lnTo>
                    <a:pt x="1010602" y="949452"/>
                  </a:lnTo>
                  <a:lnTo>
                    <a:pt x="1008697" y="946499"/>
                  </a:lnTo>
                  <a:lnTo>
                    <a:pt x="1013936" y="937736"/>
                  </a:lnTo>
                  <a:lnTo>
                    <a:pt x="1012603" y="926687"/>
                  </a:lnTo>
                  <a:lnTo>
                    <a:pt x="1020604" y="914495"/>
                  </a:lnTo>
                  <a:lnTo>
                    <a:pt x="1018604" y="898684"/>
                  </a:lnTo>
                  <a:lnTo>
                    <a:pt x="1022985" y="894969"/>
                  </a:lnTo>
                  <a:lnTo>
                    <a:pt x="1022699" y="893350"/>
                  </a:lnTo>
                  <a:lnTo>
                    <a:pt x="1030605" y="892302"/>
                  </a:lnTo>
                  <a:lnTo>
                    <a:pt x="1030034" y="887635"/>
                  </a:lnTo>
                  <a:lnTo>
                    <a:pt x="1026033" y="881729"/>
                  </a:lnTo>
                  <a:lnTo>
                    <a:pt x="1025843" y="880110"/>
                  </a:lnTo>
                  <a:lnTo>
                    <a:pt x="1022699" y="880491"/>
                  </a:lnTo>
                  <a:lnTo>
                    <a:pt x="1021747" y="872585"/>
                  </a:lnTo>
                  <a:lnTo>
                    <a:pt x="1022890" y="856488"/>
                  </a:lnTo>
                  <a:lnTo>
                    <a:pt x="1030700" y="855440"/>
                  </a:lnTo>
                  <a:lnTo>
                    <a:pt x="1029938" y="836295"/>
                  </a:lnTo>
                  <a:lnTo>
                    <a:pt x="1033272" y="837438"/>
                  </a:lnTo>
                  <a:lnTo>
                    <a:pt x="1034225" y="832580"/>
                  </a:lnTo>
                  <a:lnTo>
                    <a:pt x="1035368" y="829151"/>
                  </a:lnTo>
                  <a:lnTo>
                    <a:pt x="1036415" y="824294"/>
                  </a:lnTo>
                  <a:lnTo>
                    <a:pt x="1034415" y="808482"/>
                  </a:lnTo>
                  <a:lnTo>
                    <a:pt x="1030796" y="805720"/>
                  </a:lnTo>
                  <a:lnTo>
                    <a:pt x="1030034" y="799433"/>
                  </a:lnTo>
                  <a:lnTo>
                    <a:pt x="1026414" y="796671"/>
                  </a:lnTo>
                  <a:lnTo>
                    <a:pt x="1026033" y="793528"/>
                  </a:lnTo>
                  <a:lnTo>
                    <a:pt x="1030414" y="789718"/>
                  </a:lnTo>
                  <a:lnTo>
                    <a:pt x="1031558" y="786384"/>
                  </a:lnTo>
                  <a:lnTo>
                    <a:pt x="1030796" y="780097"/>
                  </a:lnTo>
                  <a:lnTo>
                    <a:pt x="1027176" y="777335"/>
                  </a:lnTo>
                  <a:lnTo>
                    <a:pt x="1023842" y="763334"/>
                  </a:lnTo>
                  <a:lnTo>
                    <a:pt x="1024604" y="756761"/>
                  </a:lnTo>
                  <a:lnTo>
                    <a:pt x="1024795" y="745522"/>
                  </a:lnTo>
                  <a:lnTo>
                    <a:pt x="1026700" y="735711"/>
                  </a:lnTo>
                  <a:lnTo>
                    <a:pt x="1026890" y="737235"/>
                  </a:lnTo>
                  <a:lnTo>
                    <a:pt x="1029081" y="728948"/>
                  </a:lnTo>
                  <a:lnTo>
                    <a:pt x="1036510" y="724757"/>
                  </a:lnTo>
                  <a:lnTo>
                    <a:pt x="1039273" y="721233"/>
                  </a:lnTo>
                  <a:lnTo>
                    <a:pt x="1037558" y="719900"/>
                  </a:lnTo>
                  <a:lnTo>
                    <a:pt x="1040892" y="708184"/>
                  </a:lnTo>
                  <a:lnTo>
                    <a:pt x="1035939" y="707231"/>
                  </a:lnTo>
                  <a:lnTo>
                    <a:pt x="1033748" y="702659"/>
                  </a:lnTo>
                  <a:lnTo>
                    <a:pt x="1037654" y="695801"/>
                  </a:lnTo>
                  <a:lnTo>
                    <a:pt x="1042797" y="698373"/>
                  </a:lnTo>
                  <a:lnTo>
                    <a:pt x="1048893" y="695992"/>
                  </a:lnTo>
                  <a:lnTo>
                    <a:pt x="1051465" y="690848"/>
                  </a:lnTo>
                  <a:lnTo>
                    <a:pt x="1056037" y="688657"/>
                  </a:lnTo>
                  <a:lnTo>
                    <a:pt x="1060133" y="696087"/>
                  </a:lnTo>
                  <a:lnTo>
                    <a:pt x="1068610" y="699897"/>
                  </a:lnTo>
                  <a:lnTo>
                    <a:pt x="1079278" y="695325"/>
                  </a:lnTo>
                  <a:lnTo>
                    <a:pt x="1086041" y="697611"/>
                  </a:lnTo>
                  <a:lnTo>
                    <a:pt x="1088612" y="705326"/>
                  </a:lnTo>
                  <a:lnTo>
                    <a:pt x="1085850" y="708851"/>
                  </a:lnTo>
                  <a:lnTo>
                    <a:pt x="1086231" y="712089"/>
                  </a:lnTo>
                  <a:lnTo>
                    <a:pt x="1088231" y="715042"/>
                  </a:lnTo>
                  <a:lnTo>
                    <a:pt x="1102805" y="716375"/>
                  </a:lnTo>
                  <a:lnTo>
                    <a:pt x="1112901" y="719900"/>
                  </a:lnTo>
                  <a:lnTo>
                    <a:pt x="1116997" y="714565"/>
                  </a:lnTo>
                  <a:lnTo>
                    <a:pt x="1121759" y="713899"/>
                  </a:lnTo>
                  <a:lnTo>
                    <a:pt x="1126903" y="716471"/>
                  </a:lnTo>
                  <a:lnTo>
                    <a:pt x="1128236" y="714756"/>
                  </a:lnTo>
                  <a:lnTo>
                    <a:pt x="1131665" y="715899"/>
                  </a:lnTo>
                  <a:lnTo>
                    <a:pt x="1136142" y="713708"/>
                  </a:lnTo>
                  <a:lnTo>
                    <a:pt x="1136618" y="716851"/>
                  </a:lnTo>
                  <a:lnTo>
                    <a:pt x="1149953" y="721614"/>
                  </a:lnTo>
                  <a:lnTo>
                    <a:pt x="1151763" y="722947"/>
                  </a:lnTo>
                  <a:lnTo>
                    <a:pt x="1152811" y="730853"/>
                  </a:lnTo>
                  <a:lnTo>
                    <a:pt x="1149382" y="729615"/>
                  </a:lnTo>
                  <a:lnTo>
                    <a:pt x="1146715" y="733234"/>
                  </a:lnTo>
                  <a:lnTo>
                    <a:pt x="1147096" y="736378"/>
                  </a:lnTo>
                  <a:lnTo>
                    <a:pt x="1155573" y="740093"/>
                  </a:lnTo>
                  <a:lnTo>
                    <a:pt x="1155764" y="741712"/>
                  </a:lnTo>
                  <a:lnTo>
                    <a:pt x="1153001" y="745236"/>
                  </a:lnTo>
                  <a:lnTo>
                    <a:pt x="1158335" y="749332"/>
                  </a:lnTo>
                  <a:lnTo>
                    <a:pt x="1160907" y="757047"/>
                  </a:lnTo>
                  <a:lnTo>
                    <a:pt x="1159573" y="758857"/>
                  </a:lnTo>
                  <a:lnTo>
                    <a:pt x="1156621" y="760857"/>
                  </a:lnTo>
                  <a:lnTo>
                    <a:pt x="1150334" y="774478"/>
                  </a:lnTo>
                  <a:lnTo>
                    <a:pt x="1155859" y="780193"/>
                  </a:lnTo>
                  <a:lnTo>
                    <a:pt x="1158812" y="778193"/>
                  </a:lnTo>
                  <a:lnTo>
                    <a:pt x="1160621" y="779526"/>
                  </a:lnTo>
                  <a:lnTo>
                    <a:pt x="1167860" y="773811"/>
                  </a:lnTo>
                  <a:lnTo>
                    <a:pt x="1175004" y="779335"/>
                  </a:lnTo>
                  <a:lnTo>
                    <a:pt x="1183291" y="768668"/>
                  </a:lnTo>
                  <a:lnTo>
                    <a:pt x="1187768" y="766477"/>
                  </a:lnTo>
                  <a:lnTo>
                    <a:pt x="1190530" y="762952"/>
                  </a:lnTo>
                  <a:lnTo>
                    <a:pt x="1195102" y="760762"/>
                  </a:lnTo>
                  <a:lnTo>
                    <a:pt x="1201388" y="759905"/>
                  </a:lnTo>
                  <a:lnTo>
                    <a:pt x="1211294" y="761905"/>
                  </a:lnTo>
                  <a:lnTo>
                    <a:pt x="1215962" y="761238"/>
                  </a:lnTo>
                  <a:lnTo>
                    <a:pt x="1226439" y="768001"/>
                  </a:lnTo>
                  <a:lnTo>
                    <a:pt x="1227487" y="763048"/>
                  </a:lnTo>
                  <a:lnTo>
                    <a:pt x="1232154" y="762381"/>
                  </a:lnTo>
                  <a:lnTo>
                    <a:pt x="1229582" y="754761"/>
                  </a:lnTo>
                  <a:lnTo>
                    <a:pt x="1231011" y="752951"/>
                  </a:lnTo>
                  <a:lnTo>
                    <a:pt x="1234345" y="754094"/>
                  </a:lnTo>
                  <a:lnTo>
                    <a:pt x="1240441" y="738950"/>
                  </a:lnTo>
                  <a:lnTo>
                    <a:pt x="1241774" y="737140"/>
                  </a:lnTo>
                  <a:lnTo>
                    <a:pt x="1236059" y="729805"/>
                  </a:lnTo>
                  <a:lnTo>
                    <a:pt x="1238250" y="721519"/>
                  </a:lnTo>
                  <a:lnTo>
                    <a:pt x="1246537" y="723709"/>
                  </a:lnTo>
                  <a:lnTo>
                    <a:pt x="1250061" y="726472"/>
                  </a:lnTo>
                  <a:lnTo>
                    <a:pt x="1247680" y="733139"/>
                  </a:lnTo>
                  <a:lnTo>
                    <a:pt x="1258157" y="739902"/>
                  </a:lnTo>
                  <a:lnTo>
                    <a:pt x="1262729" y="737711"/>
                  </a:lnTo>
                  <a:lnTo>
                    <a:pt x="1269587" y="741617"/>
                  </a:lnTo>
                  <a:lnTo>
                    <a:pt x="1273969" y="737806"/>
                  </a:lnTo>
                  <a:lnTo>
                    <a:pt x="1276541" y="732758"/>
                  </a:lnTo>
                  <a:lnTo>
                    <a:pt x="1281684" y="735235"/>
                  </a:lnTo>
                  <a:lnTo>
                    <a:pt x="1289304" y="732663"/>
                  </a:lnTo>
                  <a:lnTo>
                    <a:pt x="1301020" y="735997"/>
                  </a:lnTo>
                  <a:lnTo>
                    <a:pt x="1316831" y="746855"/>
                  </a:lnTo>
                  <a:lnTo>
                    <a:pt x="1321118" y="755904"/>
                  </a:lnTo>
                  <a:lnTo>
                    <a:pt x="1327690" y="756666"/>
                  </a:lnTo>
                  <a:lnTo>
                    <a:pt x="1335214" y="765334"/>
                  </a:lnTo>
                  <a:lnTo>
                    <a:pt x="1343882" y="770668"/>
                  </a:lnTo>
                  <a:lnTo>
                    <a:pt x="1350645" y="772954"/>
                  </a:lnTo>
                  <a:lnTo>
                    <a:pt x="1356931" y="772192"/>
                  </a:lnTo>
                  <a:lnTo>
                    <a:pt x="1361885" y="773144"/>
                  </a:lnTo>
                  <a:lnTo>
                    <a:pt x="1365599" y="777526"/>
                  </a:lnTo>
                  <a:lnTo>
                    <a:pt x="1374267" y="770001"/>
                  </a:lnTo>
                  <a:lnTo>
                    <a:pt x="1378268" y="775906"/>
                  </a:lnTo>
                  <a:lnTo>
                    <a:pt x="1381792" y="778669"/>
                  </a:lnTo>
                  <a:lnTo>
                    <a:pt x="1385126" y="779812"/>
                  </a:lnTo>
                  <a:lnTo>
                    <a:pt x="1398937" y="787718"/>
                  </a:lnTo>
                  <a:lnTo>
                    <a:pt x="1401032" y="803434"/>
                  </a:lnTo>
                  <a:lnTo>
                    <a:pt x="1406938" y="812292"/>
                  </a:lnTo>
                  <a:lnTo>
                    <a:pt x="1425512" y="819531"/>
                  </a:lnTo>
                  <a:lnTo>
                    <a:pt x="1432179" y="809149"/>
                  </a:lnTo>
                  <a:lnTo>
                    <a:pt x="1433798" y="808863"/>
                  </a:lnTo>
                  <a:lnTo>
                    <a:pt x="1432941" y="802577"/>
                  </a:lnTo>
                  <a:lnTo>
                    <a:pt x="1434370" y="800767"/>
                  </a:lnTo>
                  <a:lnTo>
                    <a:pt x="1439513" y="803338"/>
                  </a:lnTo>
                  <a:lnTo>
                    <a:pt x="1442180" y="799814"/>
                  </a:lnTo>
                  <a:lnTo>
                    <a:pt x="1446752" y="797623"/>
                  </a:lnTo>
                  <a:lnTo>
                    <a:pt x="1440275" y="796862"/>
                  </a:lnTo>
                  <a:lnTo>
                    <a:pt x="1438466" y="795433"/>
                  </a:lnTo>
                  <a:lnTo>
                    <a:pt x="1440085" y="795242"/>
                  </a:lnTo>
                  <a:lnTo>
                    <a:pt x="1442752" y="791718"/>
                  </a:lnTo>
                  <a:lnTo>
                    <a:pt x="1446181" y="792861"/>
                  </a:lnTo>
                  <a:lnTo>
                    <a:pt x="1447133" y="788003"/>
                  </a:lnTo>
                  <a:lnTo>
                    <a:pt x="1445323" y="786575"/>
                  </a:lnTo>
                  <a:lnTo>
                    <a:pt x="1441990" y="785431"/>
                  </a:lnTo>
                  <a:lnTo>
                    <a:pt x="1441799" y="783812"/>
                  </a:lnTo>
                  <a:lnTo>
                    <a:pt x="1440371" y="785622"/>
                  </a:lnTo>
                  <a:lnTo>
                    <a:pt x="1438466" y="782669"/>
                  </a:lnTo>
                  <a:lnTo>
                    <a:pt x="1439227" y="776097"/>
                  </a:lnTo>
                  <a:lnTo>
                    <a:pt x="1444181" y="777145"/>
                  </a:lnTo>
                  <a:lnTo>
                    <a:pt x="1444752" y="781812"/>
                  </a:lnTo>
                  <a:lnTo>
                    <a:pt x="1449705" y="782860"/>
                  </a:lnTo>
                  <a:lnTo>
                    <a:pt x="1452848" y="782384"/>
                  </a:lnTo>
                  <a:lnTo>
                    <a:pt x="1454182" y="780669"/>
                  </a:lnTo>
                  <a:lnTo>
                    <a:pt x="1455611" y="778859"/>
                  </a:lnTo>
                  <a:lnTo>
                    <a:pt x="1458182" y="773716"/>
                  </a:lnTo>
                  <a:lnTo>
                    <a:pt x="1449229" y="766858"/>
                  </a:lnTo>
                  <a:lnTo>
                    <a:pt x="1450467" y="763429"/>
                  </a:lnTo>
                  <a:lnTo>
                    <a:pt x="1453420" y="761524"/>
                  </a:lnTo>
                  <a:lnTo>
                    <a:pt x="1452943" y="758380"/>
                  </a:lnTo>
                  <a:lnTo>
                    <a:pt x="1454182" y="754951"/>
                  </a:lnTo>
                  <a:lnTo>
                    <a:pt x="1443895" y="749903"/>
                  </a:lnTo>
                  <a:lnTo>
                    <a:pt x="1431989" y="744950"/>
                  </a:lnTo>
                  <a:lnTo>
                    <a:pt x="1428845" y="745331"/>
                  </a:lnTo>
                  <a:lnTo>
                    <a:pt x="1417606" y="745236"/>
                  </a:lnTo>
                  <a:lnTo>
                    <a:pt x="1414081" y="742474"/>
                  </a:lnTo>
                  <a:lnTo>
                    <a:pt x="1412081" y="739521"/>
                  </a:lnTo>
                  <a:lnTo>
                    <a:pt x="1413034" y="734568"/>
                  </a:lnTo>
                  <a:lnTo>
                    <a:pt x="1413796" y="728091"/>
                  </a:lnTo>
                  <a:lnTo>
                    <a:pt x="1415225" y="726281"/>
                  </a:lnTo>
                  <a:lnTo>
                    <a:pt x="1412843" y="720185"/>
                  </a:lnTo>
                  <a:lnTo>
                    <a:pt x="1409510" y="718947"/>
                  </a:lnTo>
                  <a:lnTo>
                    <a:pt x="1402747" y="716661"/>
                  </a:lnTo>
                  <a:lnTo>
                    <a:pt x="1398842" y="723519"/>
                  </a:lnTo>
                  <a:lnTo>
                    <a:pt x="1394079" y="724186"/>
                  </a:lnTo>
                  <a:lnTo>
                    <a:pt x="1392936" y="727519"/>
                  </a:lnTo>
                  <a:lnTo>
                    <a:pt x="1391317" y="727710"/>
                  </a:lnTo>
                  <a:lnTo>
                    <a:pt x="1386935" y="718661"/>
                  </a:lnTo>
                  <a:lnTo>
                    <a:pt x="1391317" y="714851"/>
                  </a:lnTo>
                  <a:lnTo>
                    <a:pt x="1388935" y="708755"/>
                  </a:lnTo>
                  <a:lnTo>
                    <a:pt x="1395031" y="706374"/>
                  </a:lnTo>
                  <a:lnTo>
                    <a:pt x="1399794" y="705802"/>
                  </a:lnTo>
                  <a:lnTo>
                    <a:pt x="1402366" y="700659"/>
                  </a:lnTo>
                  <a:lnTo>
                    <a:pt x="1403318" y="695706"/>
                  </a:lnTo>
                  <a:lnTo>
                    <a:pt x="1404842" y="695515"/>
                  </a:lnTo>
                  <a:lnTo>
                    <a:pt x="1408271" y="696659"/>
                  </a:lnTo>
                  <a:lnTo>
                    <a:pt x="1409986" y="698087"/>
                  </a:lnTo>
                  <a:lnTo>
                    <a:pt x="1409033" y="690181"/>
                  </a:lnTo>
                  <a:lnTo>
                    <a:pt x="1413986" y="691134"/>
                  </a:lnTo>
                  <a:lnTo>
                    <a:pt x="1415129" y="687800"/>
                  </a:lnTo>
                  <a:lnTo>
                    <a:pt x="1418082" y="685800"/>
                  </a:lnTo>
                  <a:lnTo>
                    <a:pt x="1416272" y="684467"/>
                  </a:lnTo>
                  <a:lnTo>
                    <a:pt x="1418844" y="679323"/>
                  </a:lnTo>
                  <a:lnTo>
                    <a:pt x="1415510" y="678085"/>
                  </a:lnTo>
                  <a:lnTo>
                    <a:pt x="1416844" y="676370"/>
                  </a:lnTo>
                  <a:lnTo>
                    <a:pt x="1414939" y="673418"/>
                  </a:lnTo>
                  <a:lnTo>
                    <a:pt x="1416082" y="669988"/>
                  </a:lnTo>
                  <a:lnTo>
                    <a:pt x="1423988" y="669036"/>
                  </a:lnTo>
                  <a:lnTo>
                    <a:pt x="1430084" y="666655"/>
                  </a:lnTo>
                  <a:lnTo>
                    <a:pt x="1432179" y="658368"/>
                  </a:lnTo>
                  <a:lnTo>
                    <a:pt x="1427035" y="655796"/>
                  </a:lnTo>
                  <a:lnTo>
                    <a:pt x="1427893" y="649319"/>
                  </a:lnTo>
                  <a:lnTo>
                    <a:pt x="1426083" y="647890"/>
                  </a:lnTo>
                  <a:lnTo>
                    <a:pt x="1424273" y="646557"/>
                  </a:lnTo>
                  <a:lnTo>
                    <a:pt x="1431989" y="643985"/>
                  </a:lnTo>
                  <a:lnTo>
                    <a:pt x="1435513" y="646652"/>
                  </a:lnTo>
                  <a:lnTo>
                    <a:pt x="1436084" y="638651"/>
                  </a:lnTo>
                  <a:lnTo>
                    <a:pt x="1432179" y="632651"/>
                  </a:lnTo>
                  <a:lnTo>
                    <a:pt x="1433131" y="627793"/>
                  </a:lnTo>
                  <a:lnTo>
                    <a:pt x="1443418" y="632841"/>
                  </a:lnTo>
                  <a:lnTo>
                    <a:pt x="1451324" y="631888"/>
                  </a:lnTo>
                  <a:lnTo>
                    <a:pt x="1453039" y="633222"/>
                  </a:lnTo>
                  <a:lnTo>
                    <a:pt x="1454468" y="631507"/>
                  </a:lnTo>
                  <a:lnTo>
                    <a:pt x="1456277" y="632841"/>
                  </a:lnTo>
                  <a:lnTo>
                    <a:pt x="1462564" y="632079"/>
                  </a:lnTo>
                  <a:lnTo>
                    <a:pt x="1465326" y="628459"/>
                  </a:lnTo>
                  <a:lnTo>
                    <a:pt x="1464659" y="623697"/>
                  </a:lnTo>
                  <a:lnTo>
                    <a:pt x="1460754" y="617792"/>
                  </a:lnTo>
                  <a:lnTo>
                    <a:pt x="1468660" y="616839"/>
                  </a:lnTo>
                  <a:lnTo>
                    <a:pt x="1468660" y="616839"/>
                  </a:lnTo>
                  <a:close/>
                </a:path>
              </a:pathLst>
            </a:custGeom>
            <a:solidFill>
              <a:schemeClr val="bg1"/>
            </a:solidFill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 dirty="0"/>
            </a:p>
          </p:txBody>
        </p:sp>
        <p:sp>
          <p:nvSpPr>
            <p:cNvPr id="34" name="Volný tvar: obrazec 33">
              <a:extLst>
                <a:ext uri="{FF2B5EF4-FFF2-40B4-BE49-F238E27FC236}">
                  <a16:creationId xmlns:a16="http://schemas.microsoft.com/office/drawing/2014/main" id="{76DDDEC6-4717-3386-B44F-052148E5632E}"/>
                </a:ext>
              </a:extLst>
            </p:cNvPr>
            <p:cNvSpPr>
              <a:spLocks noChangeAspect="1"/>
            </p:cNvSpPr>
            <p:nvPr userDrawn="1">
              <p:custDataLst>
                <p:tags r:id="rId6"/>
              </p:custDataLst>
            </p:nvPr>
          </p:nvSpPr>
          <p:spPr>
            <a:xfrm>
              <a:off x="6140100" y="3632692"/>
              <a:ext cx="1502283" cy="1161573"/>
            </a:xfrm>
            <a:custGeom>
              <a:avLst/>
              <a:gdLst>
                <a:gd name="connsiteX0" fmla="*/ 1496282 w 1502283"/>
                <a:gd name="connsiteY0" fmla="*/ 857155 h 1161573"/>
                <a:gd name="connsiteX1" fmla="*/ 1495711 w 1502283"/>
                <a:gd name="connsiteY1" fmla="*/ 852392 h 1161573"/>
                <a:gd name="connsiteX2" fmla="*/ 1497330 w 1502283"/>
                <a:gd name="connsiteY2" fmla="*/ 852202 h 1161573"/>
                <a:gd name="connsiteX3" fmla="*/ 1495520 w 1502283"/>
                <a:gd name="connsiteY3" fmla="*/ 850868 h 1161573"/>
                <a:gd name="connsiteX4" fmla="*/ 1498282 w 1502283"/>
                <a:gd name="connsiteY4" fmla="*/ 847344 h 1161573"/>
                <a:gd name="connsiteX5" fmla="*/ 1490567 w 1502283"/>
                <a:gd name="connsiteY5" fmla="*/ 849916 h 1161573"/>
                <a:gd name="connsiteX6" fmla="*/ 1486853 w 1502283"/>
                <a:gd name="connsiteY6" fmla="*/ 845630 h 1161573"/>
                <a:gd name="connsiteX7" fmla="*/ 1487996 w 1502283"/>
                <a:gd name="connsiteY7" fmla="*/ 842296 h 1161573"/>
                <a:gd name="connsiteX8" fmla="*/ 1481899 w 1502283"/>
                <a:gd name="connsiteY8" fmla="*/ 831818 h 1161573"/>
                <a:gd name="connsiteX9" fmla="*/ 1469803 w 1502283"/>
                <a:gd name="connsiteY9" fmla="*/ 812483 h 1161573"/>
                <a:gd name="connsiteX10" fmla="*/ 1458563 w 1502283"/>
                <a:gd name="connsiteY10" fmla="*/ 812292 h 1161573"/>
                <a:gd name="connsiteX11" fmla="*/ 1442371 w 1502283"/>
                <a:gd name="connsiteY11" fmla="*/ 798290 h 1161573"/>
                <a:gd name="connsiteX12" fmla="*/ 1437608 w 1502283"/>
                <a:gd name="connsiteY12" fmla="*/ 798862 h 1161573"/>
                <a:gd name="connsiteX13" fmla="*/ 1433513 w 1502283"/>
                <a:gd name="connsiteY13" fmla="*/ 804196 h 1161573"/>
                <a:gd name="connsiteX14" fmla="*/ 1424845 w 1502283"/>
                <a:gd name="connsiteY14" fmla="*/ 798862 h 1161573"/>
                <a:gd name="connsiteX15" fmla="*/ 1432274 w 1502283"/>
                <a:gd name="connsiteY15" fmla="*/ 781907 h 1161573"/>
                <a:gd name="connsiteX16" fmla="*/ 1431703 w 1502283"/>
                <a:gd name="connsiteY16" fmla="*/ 777145 h 1161573"/>
                <a:gd name="connsiteX17" fmla="*/ 1434465 w 1502283"/>
                <a:gd name="connsiteY17" fmla="*/ 773621 h 1161573"/>
                <a:gd name="connsiteX18" fmla="*/ 1425797 w 1502283"/>
                <a:gd name="connsiteY18" fmla="*/ 768287 h 1161573"/>
                <a:gd name="connsiteX19" fmla="*/ 1411796 w 1502283"/>
                <a:gd name="connsiteY19" fmla="*/ 758857 h 1161573"/>
                <a:gd name="connsiteX20" fmla="*/ 1402937 w 1502283"/>
                <a:gd name="connsiteY20" fmla="*/ 764762 h 1161573"/>
                <a:gd name="connsiteX21" fmla="*/ 1400937 w 1502283"/>
                <a:gd name="connsiteY21" fmla="*/ 761809 h 1161573"/>
                <a:gd name="connsiteX22" fmla="*/ 1394365 w 1502283"/>
                <a:gd name="connsiteY22" fmla="*/ 748189 h 1161573"/>
                <a:gd name="connsiteX23" fmla="*/ 1395413 w 1502283"/>
                <a:gd name="connsiteY23" fmla="*/ 756095 h 1161573"/>
                <a:gd name="connsiteX24" fmla="*/ 1381601 w 1502283"/>
                <a:gd name="connsiteY24" fmla="*/ 761048 h 1161573"/>
                <a:gd name="connsiteX25" fmla="*/ 1375886 w 1502283"/>
                <a:gd name="connsiteY25" fmla="*/ 753809 h 1161573"/>
                <a:gd name="connsiteX26" fmla="*/ 1372933 w 1502283"/>
                <a:gd name="connsiteY26" fmla="*/ 755809 h 1161573"/>
                <a:gd name="connsiteX27" fmla="*/ 1372743 w 1502283"/>
                <a:gd name="connsiteY27" fmla="*/ 754190 h 1161573"/>
                <a:gd name="connsiteX28" fmla="*/ 1366838 w 1502283"/>
                <a:gd name="connsiteY28" fmla="*/ 758190 h 1161573"/>
                <a:gd name="connsiteX29" fmla="*/ 1365028 w 1502283"/>
                <a:gd name="connsiteY29" fmla="*/ 756857 h 1161573"/>
                <a:gd name="connsiteX30" fmla="*/ 1362265 w 1502283"/>
                <a:gd name="connsiteY30" fmla="*/ 760381 h 1161573"/>
                <a:gd name="connsiteX31" fmla="*/ 1360456 w 1502283"/>
                <a:gd name="connsiteY31" fmla="*/ 759047 h 1161573"/>
                <a:gd name="connsiteX32" fmla="*/ 1348645 w 1502283"/>
                <a:gd name="connsiteY32" fmla="*/ 766953 h 1161573"/>
                <a:gd name="connsiteX33" fmla="*/ 1339596 w 1502283"/>
                <a:gd name="connsiteY33" fmla="*/ 758476 h 1161573"/>
                <a:gd name="connsiteX34" fmla="*/ 1337977 w 1502283"/>
                <a:gd name="connsiteY34" fmla="*/ 758666 h 1161573"/>
                <a:gd name="connsiteX35" fmla="*/ 1328642 w 1502283"/>
                <a:gd name="connsiteY35" fmla="*/ 748665 h 1161573"/>
                <a:gd name="connsiteX36" fmla="*/ 1321689 w 1502283"/>
                <a:gd name="connsiteY36" fmla="*/ 744760 h 1161573"/>
                <a:gd name="connsiteX37" fmla="*/ 1320260 w 1502283"/>
                <a:gd name="connsiteY37" fmla="*/ 733711 h 1161573"/>
                <a:gd name="connsiteX38" fmla="*/ 1309402 w 1502283"/>
                <a:gd name="connsiteY38" fmla="*/ 736663 h 1161573"/>
                <a:gd name="connsiteX39" fmla="*/ 1307021 w 1502283"/>
                <a:gd name="connsiteY39" fmla="*/ 743331 h 1161573"/>
                <a:gd name="connsiteX40" fmla="*/ 1304830 w 1502283"/>
                <a:gd name="connsiteY40" fmla="*/ 738759 h 1161573"/>
                <a:gd name="connsiteX41" fmla="*/ 1303496 w 1502283"/>
                <a:gd name="connsiteY41" fmla="*/ 740569 h 1161573"/>
                <a:gd name="connsiteX42" fmla="*/ 1300163 w 1502283"/>
                <a:gd name="connsiteY42" fmla="*/ 739426 h 1161573"/>
                <a:gd name="connsiteX43" fmla="*/ 1298829 w 1502283"/>
                <a:gd name="connsiteY43" fmla="*/ 741236 h 1161573"/>
                <a:gd name="connsiteX44" fmla="*/ 1292162 w 1502283"/>
                <a:gd name="connsiteY44" fmla="*/ 738854 h 1161573"/>
                <a:gd name="connsiteX45" fmla="*/ 1290352 w 1502283"/>
                <a:gd name="connsiteY45" fmla="*/ 737521 h 1161573"/>
                <a:gd name="connsiteX46" fmla="*/ 1290161 w 1502283"/>
                <a:gd name="connsiteY46" fmla="*/ 735901 h 1161573"/>
                <a:gd name="connsiteX47" fmla="*/ 1291304 w 1502283"/>
                <a:gd name="connsiteY47" fmla="*/ 732568 h 1161573"/>
                <a:gd name="connsiteX48" fmla="*/ 1289495 w 1502283"/>
                <a:gd name="connsiteY48" fmla="*/ 731234 h 1161573"/>
                <a:gd name="connsiteX49" fmla="*/ 1293590 w 1502283"/>
                <a:gd name="connsiteY49" fmla="*/ 725900 h 1161573"/>
                <a:gd name="connsiteX50" fmla="*/ 1293209 w 1502283"/>
                <a:gd name="connsiteY50" fmla="*/ 722757 h 1161573"/>
                <a:gd name="connsiteX51" fmla="*/ 1294352 w 1502283"/>
                <a:gd name="connsiteY51" fmla="*/ 719423 h 1161573"/>
                <a:gd name="connsiteX52" fmla="*/ 1292352 w 1502283"/>
                <a:gd name="connsiteY52" fmla="*/ 716471 h 1161573"/>
                <a:gd name="connsiteX53" fmla="*/ 1294543 w 1502283"/>
                <a:gd name="connsiteY53" fmla="*/ 708184 h 1161573"/>
                <a:gd name="connsiteX54" fmla="*/ 1289209 w 1502283"/>
                <a:gd name="connsiteY54" fmla="*/ 704088 h 1161573"/>
                <a:gd name="connsiteX55" fmla="*/ 1288066 w 1502283"/>
                <a:gd name="connsiteY55" fmla="*/ 707422 h 1161573"/>
                <a:gd name="connsiteX56" fmla="*/ 1281113 w 1502283"/>
                <a:gd name="connsiteY56" fmla="*/ 703517 h 1161573"/>
                <a:gd name="connsiteX57" fmla="*/ 1282256 w 1502283"/>
                <a:gd name="connsiteY57" fmla="*/ 700183 h 1161573"/>
                <a:gd name="connsiteX58" fmla="*/ 1276922 w 1502283"/>
                <a:gd name="connsiteY58" fmla="*/ 696087 h 1161573"/>
                <a:gd name="connsiteX59" fmla="*/ 1269397 w 1502283"/>
                <a:gd name="connsiteY59" fmla="*/ 700278 h 1161573"/>
                <a:gd name="connsiteX60" fmla="*/ 1266063 w 1502283"/>
                <a:gd name="connsiteY60" fmla="*/ 699135 h 1161573"/>
                <a:gd name="connsiteX61" fmla="*/ 1259777 w 1502283"/>
                <a:gd name="connsiteY61" fmla="*/ 699897 h 1161573"/>
                <a:gd name="connsiteX62" fmla="*/ 1257586 w 1502283"/>
                <a:gd name="connsiteY62" fmla="*/ 695325 h 1161573"/>
                <a:gd name="connsiteX63" fmla="*/ 1254252 w 1502283"/>
                <a:gd name="connsiteY63" fmla="*/ 694182 h 1161573"/>
                <a:gd name="connsiteX64" fmla="*/ 1252633 w 1502283"/>
                <a:gd name="connsiteY64" fmla="*/ 694373 h 1161573"/>
                <a:gd name="connsiteX65" fmla="*/ 1251299 w 1502283"/>
                <a:gd name="connsiteY65" fmla="*/ 696182 h 1161573"/>
                <a:gd name="connsiteX66" fmla="*/ 1244822 w 1502283"/>
                <a:gd name="connsiteY66" fmla="*/ 695420 h 1161573"/>
                <a:gd name="connsiteX67" fmla="*/ 1245013 w 1502283"/>
                <a:gd name="connsiteY67" fmla="*/ 697040 h 1161573"/>
                <a:gd name="connsiteX68" fmla="*/ 1241489 w 1502283"/>
                <a:gd name="connsiteY68" fmla="*/ 694277 h 1161573"/>
                <a:gd name="connsiteX69" fmla="*/ 1238726 w 1502283"/>
                <a:gd name="connsiteY69" fmla="*/ 697801 h 1161573"/>
                <a:gd name="connsiteX70" fmla="*/ 1233964 w 1502283"/>
                <a:gd name="connsiteY70" fmla="*/ 698373 h 1161573"/>
                <a:gd name="connsiteX71" fmla="*/ 1233964 w 1502283"/>
                <a:gd name="connsiteY71" fmla="*/ 685514 h 1161573"/>
                <a:gd name="connsiteX72" fmla="*/ 1230344 w 1502283"/>
                <a:gd name="connsiteY72" fmla="*/ 682752 h 1161573"/>
                <a:gd name="connsiteX73" fmla="*/ 1227963 w 1502283"/>
                <a:gd name="connsiteY73" fmla="*/ 676656 h 1161573"/>
                <a:gd name="connsiteX74" fmla="*/ 1223010 w 1502283"/>
                <a:gd name="connsiteY74" fmla="*/ 675704 h 1161573"/>
                <a:gd name="connsiteX75" fmla="*/ 1218724 w 1502283"/>
                <a:gd name="connsiteY75" fmla="*/ 679418 h 1161573"/>
                <a:gd name="connsiteX76" fmla="*/ 1217105 w 1502283"/>
                <a:gd name="connsiteY76" fmla="*/ 679609 h 1161573"/>
                <a:gd name="connsiteX77" fmla="*/ 1215866 w 1502283"/>
                <a:gd name="connsiteY77" fmla="*/ 670179 h 1161573"/>
                <a:gd name="connsiteX78" fmla="*/ 1199674 w 1502283"/>
                <a:gd name="connsiteY78" fmla="*/ 669036 h 1161573"/>
                <a:gd name="connsiteX79" fmla="*/ 1197293 w 1502283"/>
                <a:gd name="connsiteY79" fmla="*/ 675704 h 1161573"/>
                <a:gd name="connsiteX80" fmla="*/ 1194340 w 1502283"/>
                <a:gd name="connsiteY80" fmla="*/ 677704 h 1161573"/>
                <a:gd name="connsiteX81" fmla="*/ 1192339 w 1502283"/>
                <a:gd name="connsiteY81" fmla="*/ 674751 h 1161573"/>
                <a:gd name="connsiteX82" fmla="*/ 1193482 w 1502283"/>
                <a:gd name="connsiteY82" fmla="*/ 671417 h 1161573"/>
                <a:gd name="connsiteX83" fmla="*/ 1195864 w 1502283"/>
                <a:gd name="connsiteY83" fmla="*/ 664750 h 1161573"/>
                <a:gd name="connsiteX84" fmla="*/ 1195483 w 1502283"/>
                <a:gd name="connsiteY84" fmla="*/ 661607 h 1161573"/>
                <a:gd name="connsiteX85" fmla="*/ 1199579 w 1502283"/>
                <a:gd name="connsiteY85" fmla="*/ 656273 h 1161573"/>
                <a:gd name="connsiteX86" fmla="*/ 1200531 w 1502283"/>
                <a:gd name="connsiteY86" fmla="*/ 651320 h 1161573"/>
                <a:gd name="connsiteX87" fmla="*/ 1200912 w 1502283"/>
                <a:gd name="connsiteY87" fmla="*/ 641604 h 1161573"/>
                <a:gd name="connsiteX88" fmla="*/ 1198721 w 1502283"/>
                <a:gd name="connsiteY88" fmla="*/ 637032 h 1161573"/>
                <a:gd name="connsiteX89" fmla="*/ 1198150 w 1502283"/>
                <a:gd name="connsiteY89" fmla="*/ 632270 h 1161573"/>
                <a:gd name="connsiteX90" fmla="*/ 1196149 w 1502283"/>
                <a:gd name="connsiteY90" fmla="*/ 629317 h 1161573"/>
                <a:gd name="connsiteX91" fmla="*/ 1191197 w 1502283"/>
                <a:gd name="connsiteY91" fmla="*/ 628364 h 1161573"/>
                <a:gd name="connsiteX92" fmla="*/ 1187577 w 1502283"/>
                <a:gd name="connsiteY92" fmla="*/ 612743 h 1161573"/>
                <a:gd name="connsiteX93" fmla="*/ 1185767 w 1502283"/>
                <a:gd name="connsiteY93" fmla="*/ 611410 h 1161573"/>
                <a:gd name="connsiteX94" fmla="*/ 1177671 w 1502283"/>
                <a:gd name="connsiteY94" fmla="*/ 610838 h 1161573"/>
                <a:gd name="connsiteX95" fmla="*/ 1167384 w 1502283"/>
                <a:gd name="connsiteY95" fmla="*/ 618554 h 1161573"/>
                <a:gd name="connsiteX96" fmla="*/ 1156525 w 1502283"/>
                <a:gd name="connsiteY96" fmla="*/ 621506 h 1161573"/>
                <a:gd name="connsiteX97" fmla="*/ 1151954 w 1502283"/>
                <a:gd name="connsiteY97" fmla="*/ 623697 h 1161573"/>
                <a:gd name="connsiteX98" fmla="*/ 1148620 w 1502283"/>
                <a:gd name="connsiteY98" fmla="*/ 622554 h 1161573"/>
                <a:gd name="connsiteX99" fmla="*/ 1145667 w 1502283"/>
                <a:gd name="connsiteY99" fmla="*/ 624554 h 1161573"/>
                <a:gd name="connsiteX100" fmla="*/ 1142524 w 1502283"/>
                <a:gd name="connsiteY100" fmla="*/ 624935 h 1161573"/>
                <a:gd name="connsiteX101" fmla="*/ 1138619 w 1502283"/>
                <a:gd name="connsiteY101" fmla="*/ 631888 h 1161573"/>
                <a:gd name="connsiteX102" fmla="*/ 1135094 w 1502283"/>
                <a:gd name="connsiteY102" fmla="*/ 629126 h 1161573"/>
                <a:gd name="connsiteX103" fmla="*/ 1130618 w 1502283"/>
                <a:gd name="connsiteY103" fmla="*/ 631317 h 1161573"/>
                <a:gd name="connsiteX104" fmla="*/ 1114235 w 1502283"/>
                <a:gd name="connsiteY104" fmla="*/ 628555 h 1161573"/>
                <a:gd name="connsiteX105" fmla="*/ 1120140 w 1502283"/>
                <a:gd name="connsiteY105" fmla="*/ 624554 h 1161573"/>
                <a:gd name="connsiteX106" fmla="*/ 1120902 w 1502283"/>
                <a:gd name="connsiteY106" fmla="*/ 618077 h 1161573"/>
                <a:gd name="connsiteX107" fmla="*/ 1118711 w 1502283"/>
                <a:gd name="connsiteY107" fmla="*/ 613505 h 1161573"/>
                <a:gd name="connsiteX108" fmla="*/ 1117282 w 1502283"/>
                <a:gd name="connsiteY108" fmla="*/ 615315 h 1161573"/>
                <a:gd name="connsiteX109" fmla="*/ 1115092 w 1502283"/>
                <a:gd name="connsiteY109" fmla="*/ 597980 h 1161573"/>
                <a:gd name="connsiteX110" fmla="*/ 1126522 w 1502283"/>
                <a:gd name="connsiteY110" fmla="*/ 599694 h 1161573"/>
                <a:gd name="connsiteX111" fmla="*/ 1129856 w 1502283"/>
                <a:gd name="connsiteY111" fmla="*/ 600837 h 1161573"/>
                <a:gd name="connsiteX112" fmla="*/ 1134142 w 1502283"/>
                <a:gd name="connsiteY112" fmla="*/ 597122 h 1161573"/>
                <a:gd name="connsiteX113" fmla="*/ 1133094 w 1502283"/>
                <a:gd name="connsiteY113" fmla="*/ 589217 h 1161573"/>
                <a:gd name="connsiteX114" fmla="*/ 1134713 w 1502283"/>
                <a:gd name="connsiteY114" fmla="*/ 589026 h 1161573"/>
                <a:gd name="connsiteX115" fmla="*/ 1137666 w 1502283"/>
                <a:gd name="connsiteY115" fmla="*/ 574262 h 1161573"/>
                <a:gd name="connsiteX116" fmla="*/ 1138047 w 1502283"/>
                <a:gd name="connsiteY116" fmla="*/ 564642 h 1161573"/>
                <a:gd name="connsiteX117" fmla="*/ 1142619 w 1502283"/>
                <a:gd name="connsiteY117" fmla="*/ 562451 h 1161573"/>
                <a:gd name="connsiteX118" fmla="*/ 1149096 w 1502283"/>
                <a:gd name="connsiteY118" fmla="*/ 563213 h 1161573"/>
                <a:gd name="connsiteX119" fmla="*/ 1150906 w 1502283"/>
                <a:gd name="connsiteY119" fmla="*/ 564547 h 1161573"/>
                <a:gd name="connsiteX120" fmla="*/ 1154049 w 1502283"/>
                <a:gd name="connsiteY120" fmla="*/ 564166 h 1161573"/>
                <a:gd name="connsiteX121" fmla="*/ 1155192 w 1502283"/>
                <a:gd name="connsiteY121" fmla="*/ 560832 h 1161573"/>
                <a:gd name="connsiteX122" fmla="*/ 1156335 w 1502283"/>
                <a:gd name="connsiteY122" fmla="*/ 557498 h 1161573"/>
                <a:gd name="connsiteX123" fmla="*/ 1159669 w 1502283"/>
                <a:gd name="connsiteY123" fmla="*/ 558641 h 1161573"/>
                <a:gd name="connsiteX124" fmla="*/ 1161002 w 1502283"/>
                <a:gd name="connsiteY124" fmla="*/ 556832 h 1161573"/>
                <a:gd name="connsiteX125" fmla="*/ 1165955 w 1502283"/>
                <a:gd name="connsiteY125" fmla="*/ 557784 h 1161573"/>
                <a:gd name="connsiteX126" fmla="*/ 1169480 w 1502283"/>
                <a:gd name="connsiteY126" fmla="*/ 534924 h 1161573"/>
                <a:gd name="connsiteX127" fmla="*/ 1174052 w 1502283"/>
                <a:gd name="connsiteY127" fmla="*/ 532733 h 1161573"/>
                <a:gd name="connsiteX128" fmla="*/ 1172051 w 1502283"/>
                <a:gd name="connsiteY128" fmla="*/ 529780 h 1161573"/>
                <a:gd name="connsiteX129" fmla="*/ 1173671 w 1502283"/>
                <a:gd name="connsiteY129" fmla="*/ 529590 h 1161573"/>
                <a:gd name="connsiteX130" fmla="*/ 1171670 w 1502283"/>
                <a:gd name="connsiteY130" fmla="*/ 526637 h 1161573"/>
                <a:gd name="connsiteX131" fmla="*/ 1172813 w 1502283"/>
                <a:gd name="connsiteY131" fmla="*/ 523304 h 1161573"/>
                <a:gd name="connsiteX132" fmla="*/ 1176147 w 1502283"/>
                <a:gd name="connsiteY132" fmla="*/ 511683 h 1161573"/>
                <a:gd name="connsiteX133" fmla="*/ 1172147 w 1502283"/>
                <a:gd name="connsiteY133" fmla="*/ 505778 h 1161573"/>
                <a:gd name="connsiteX134" fmla="*/ 1170623 w 1502283"/>
                <a:gd name="connsiteY134" fmla="*/ 505968 h 1161573"/>
                <a:gd name="connsiteX135" fmla="*/ 1165479 w 1502283"/>
                <a:gd name="connsiteY135" fmla="*/ 516255 h 1161573"/>
                <a:gd name="connsiteX136" fmla="*/ 1160907 w 1502283"/>
                <a:gd name="connsiteY136" fmla="*/ 518446 h 1161573"/>
                <a:gd name="connsiteX137" fmla="*/ 1157383 w 1502283"/>
                <a:gd name="connsiteY137" fmla="*/ 515684 h 1161573"/>
                <a:gd name="connsiteX138" fmla="*/ 1154239 w 1502283"/>
                <a:gd name="connsiteY138" fmla="*/ 516065 h 1161573"/>
                <a:gd name="connsiteX139" fmla="*/ 1152430 w 1502283"/>
                <a:gd name="connsiteY139" fmla="*/ 514731 h 1161573"/>
                <a:gd name="connsiteX140" fmla="*/ 1141381 w 1502283"/>
                <a:gd name="connsiteY140" fmla="*/ 516160 h 1161573"/>
                <a:gd name="connsiteX141" fmla="*/ 1141952 w 1502283"/>
                <a:gd name="connsiteY141" fmla="*/ 520922 h 1161573"/>
                <a:gd name="connsiteX142" fmla="*/ 1136618 w 1502283"/>
                <a:gd name="connsiteY142" fmla="*/ 516826 h 1161573"/>
                <a:gd name="connsiteX143" fmla="*/ 1140714 w 1502283"/>
                <a:gd name="connsiteY143" fmla="*/ 511492 h 1161573"/>
                <a:gd name="connsiteX144" fmla="*/ 1141476 w 1502283"/>
                <a:gd name="connsiteY144" fmla="*/ 505016 h 1161573"/>
                <a:gd name="connsiteX145" fmla="*/ 1143286 w 1502283"/>
                <a:gd name="connsiteY145" fmla="*/ 506349 h 1161573"/>
                <a:gd name="connsiteX146" fmla="*/ 1149001 w 1502283"/>
                <a:gd name="connsiteY146" fmla="*/ 500825 h 1161573"/>
                <a:gd name="connsiteX147" fmla="*/ 1146810 w 1502283"/>
                <a:gd name="connsiteY147" fmla="*/ 496253 h 1161573"/>
                <a:gd name="connsiteX148" fmla="*/ 1145191 w 1502283"/>
                <a:gd name="connsiteY148" fmla="*/ 496443 h 1161573"/>
                <a:gd name="connsiteX149" fmla="*/ 1143381 w 1502283"/>
                <a:gd name="connsiteY149" fmla="*/ 495109 h 1161573"/>
                <a:gd name="connsiteX150" fmla="*/ 1140047 w 1502283"/>
                <a:gd name="connsiteY150" fmla="*/ 493967 h 1161573"/>
                <a:gd name="connsiteX151" fmla="*/ 1137095 w 1502283"/>
                <a:gd name="connsiteY151" fmla="*/ 483108 h 1161573"/>
                <a:gd name="connsiteX152" fmla="*/ 1132904 w 1502283"/>
                <a:gd name="connsiteY152" fmla="*/ 475583 h 1161573"/>
                <a:gd name="connsiteX153" fmla="*/ 1127570 w 1502283"/>
                <a:gd name="connsiteY153" fmla="*/ 471488 h 1161573"/>
                <a:gd name="connsiteX154" fmla="*/ 1133856 w 1502283"/>
                <a:gd name="connsiteY154" fmla="*/ 457867 h 1161573"/>
                <a:gd name="connsiteX155" fmla="*/ 1132808 w 1502283"/>
                <a:gd name="connsiteY155" fmla="*/ 449961 h 1161573"/>
                <a:gd name="connsiteX156" fmla="*/ 1129094 w 1502283"/>
                <a:gd name="connsiteY156" fmla="*/ 445675 h 1161573"/>
                <a:gd name="connsiteX157" fmla="*/ 1126903 w 1502283"/>
                <a:gd name="connsiteY157" fmla="*/ 441103 h 1161573"/>
                <a:gd name="connsiteX158" fmla="*/ 1121759 w 1502283"/>
                <a:gd name="connsiteY158" fmla="*/ 438531 h 1161573"/>
                <a:gd name="connsiteX159" fmla="*/ 1122521 w 1502283"/>
                <a:gd name="connsiteY159" fmla="*/ 432054 h 1161573"/>
                <a:gd name="connsiteX160" fmla="*/ 1128427 w 1502283"/>
                <a:gd name="connsiteY160" fmla="*/ 428054 h 1161573"/>
                <a:gd name="connsiteX161" fmla="*/ 1130998 w 1502283"/>
                <a:gd name="connsiteY161" fmla="*/ 422910 h 1161573"/>
                <a:gd name="connsiteX162" fmla="*/ 1135571 w 1502283"/>
                <a:gd name="connsiteY162" fmla="*/ 420719 h 1161573"/>
                <a:gd name="connsiteX163" fmla="*/ 1137475 w 1502283"/>
                <a:gd name="connsiteY163" fmla="*/ 410813 h 1161573"/>
                <a:gd name="connsiteX164" fmla="*/ 1137285 w 1502283"/>
                <a:gd name="connsiteY164" fmla="*/ 409194 h 1161573"/>
                <a:gd name="connsiteX165" fmla="*/ 1141190 w 1502283"/>
                <a:gd name="connsiteY165" fmla="*/ 402241 h 1161573"/>
                <a:gd name="connsiteX166" fmla="*/ 1142810 w 1502283"/>
                <a:gd name="connsiteY166" fmla="*/ 402050 h 1161573"/>
                <a:gd name="connsiteX167" fmla="*/ 1142429 w 1502283"/>
                <a:gd name="connsiteY167" fmla="*/ 398907 h 1161573"/>
                <a:gd name="connsiteX168" fmla="*/ 1142238 w 1502283"/>
                <a:gd name="connsiteY168" fmla="*/ 397288 h 1161573"/>
                <a:gd name="connsiteX169" fmla="*/ 1139285 w 1502283"/>
                <a:gd name="connsiteY169" fmla="*/ 399288 h 1161573"/>
                <a:gd name="connsiteX170" fmla="*/ 1140428 w 1502283"/>
                <a:gd name="connsiteY170" fmla="*/ 395954 h 1161573"/>
                <a:gd name="connsiteX171" fmla="*/ 1138619 w 1502283"/>
                <a:gd name="connsiteY171" fmla="*/ 394621 h 1161573"/>
                <a:gd name="connsiteX172" fmla="*/ 1135856 w 1502283"/>
                <a:gd name="connsiteY172" fmla="*/ 385382 h 1161573"/>
                <a:gd name="connsiteX173" fmla="*/ 1135285 w 1502283"/>
                <a:gd name="connsiteY173" fmla="*/ 380619 h 1161573"/>
                <a:gd name="connsiteX174" fmla="*/ 1133475 w 1502283"/>
                <a:gd name="connsiteY174" fmla="*/ 379286 h 1161573"/>
                <a:gd name="connsiteX175" fmla="*/ 1132141 w 1502283"/>
                <a:gd name="connsiteY175" fmla="*/ 381095 h 1161573"/>
                <a:gd name="connsiteX176" fmla="*/ 1129951 w 1502283"/>
                <a:gd name="connsiteY176" fmla="*/ 376523 h 1161573"/>
                <a:gd name="connsiteX177" fmla="*/ 1129189 w 1502283"/>
                <a:gd name="connsiteY177" fmla="*/ 370237 h 1161573"/>
                <a:gd name="connsiteX178" fmla="*/ 1126617 w 1502283"/>
                <a:gd name="connsiteY178" fmla="*/ 362521 h 1161573"/>
                <a:gd name="connsiteX179" fmla="*/ 1122616 w 1502283"/>
                <a:gd name="connsiteY179" fmla="*/ 356616 h 1161573"/>
                <a:gd name="connsiteX180" fmla="*/ 1125569 w 1502283"/>
                <a:gd name="connsiteY180" fmla="*/ 354616 h 1161573"/>
                <a:gd name="connsiteX181" fmla="*/ 1125379 w 1502283"/>
                <a:gd name="connsiteY181" fmla="*/ 352996 h 1161573"/>
                <a:gd name="connsiteX182" fmla="*/ 1126522 w 1502283"/>
                <a:gd name="connsiteY182" fmla="*/ 349663 h 1161573"/>
                <a:gd name="connsiteX183" fmla="*/ 1125760 w 1502283"/>
                <a:gd name="connsiteY183" fmla="*/ 343376 h 1161573"/>
                <a:gd name="connsiteX184" fmla="*/ 1118045 w 1502283"/>
                <a:gd name="connsiteY184" fmla="*/ 345948 h 1161573"/>
                <a:gd name="connsiteX185" fmla="*/ 1112139 w 1502283"/>
                <a:gd name="connsiteY185" fmla="*/ 337090 h 1161573"/>
                <a:gd name="connsiteX186" fmla="*/ 1108424 w 1502283"/>
                <a:gd name="connsiteY186" fmla="*/ 332804 h 1161573"/>
                <a:gd name="connsiteX187" fmla="*/ 1109758 w 1502283"/>
                <a:gd name="connsiteY187" fmla="*/ 330994 h 1161573"/>
                <a:gd name="connsiteX188" fmla="*/ 1104805 w 1502283"/>
                <a:gd name="connsiteY188" fmla="*/ 330041 h 1161573"/>
                <a:gd name="connsiteX189" fmla="*/ 1096328 w 1502283"/>
                <a:gd name="connsiteY189" fmla="*/ 326326 h 1161573"/>
                <a:gd name="connsiteX190" fmla="*/ 1093184 w 1502283"/>
                <a:gd name="connsiteY190" fmla="*/ 326708 h 1161573"/>
                <a:gd name="connsiteX191" fmla="*/ 1091851 w 1502283"/>
                <a:gd name="connsiteY191" fmla="*/ 328517 h 1161573"/>
                <a:gd name="connsiteX192" fmla="*/ 1083183 w 1502283"/>
                <a:gd name="connsiteY192" fmla="*/ 323183 h 1161573"/>
                <a:gd name="connsiteX193" fmla="*/ 1080040 w 1502283"/>
                <a:gd name="connsiteY193" fmla="*/ 323564 h 1161573"/>
                <a:gd name="connsiteX194" fmla="*/ 1078516 w 1502283"/>
                <a:gd name="connsiteY194" fmla="*/ 323755 h 1161573"/>
                <a:gd name="connsiteX195" fmla="*/ 1078325 w 1502283"/>
                <a:gd name="connsiteY195" fmla="*/ 322136 h 1161573"/>
                <a:gd name="connsiteX196" fmla="*/ 1071563 w 1502283"/>
                <a:gd name="connsiteY196" fmla="*/ 319754 h 1161573"/>
                <a:gd name="connsiteX197" fmla="*/ 1069562 w 1502283"/>
                <a:gd name="connsiteY197" fmla="*/ 316801 h 1161573"/>
                <a:gd name="connsiteX198" fmla="*/ 1070896 w 1502283"/>
                <a:gd name="connsiteY198" fmla="*/ 314992 h 1161573"/>
                <a:gd name="connsiteX199" fmla="*/ 1060799 w 1502283"/>
                <a:gd name="connsiteY199" fmla="*/ 311467 h 1161573"/>
                <a:gd name="connsiteX200" fmla="*/ 1059466 w 1502283"/>
                <a:gd name="connsiteY200" fmla="*/ 313277 h 1161573"/>
                <a:gd name="connsiteX201" fmla="*/ 1055465 w 1502283"/>
                <a:gd name="connsiteY201" fmla="*/ 307372 h 1161573"/>
                <a:gd name="connsiteX202" fmla="*/ 1060037 w 1502283"/>
                <a:gd name="connsiteY202" fmla="*/ 305181 h 1161573"/>
                <a:gd name="connsiteX203" fmla="*/ 1060990 w 1502283"/>
                <a:gd name="connsiteY203" fmla="*/ 300228 h 1161573"/>
                <a:gd name="connsiteX204" fmla="*/ 1059180 w 1502283"/>
                <a:gd name="connsiteY204" fmla="*/ 298895 h 1161573"/>
                <a:gd name="connsiteX205" fmla="*/ 1059180 w 1502283"/>
                <a:gd name="connsiteY205" fmla="*/ 298895 h 1161573"/>
                <a:gd name="connsiteX206" fmla="*/ 1057180 w 1502283"/>
                <a:gd name="connsiteY206" fmla="*/ 295942 h 1161573"/>
                <a:gd name="connsiteX207" fmla="*/ 1062514 w 1502283"/>
                <a:gd name="connsiteY207" fmla="*/ 287274 h 1161573"/>
                <a:gd name="connsiteX208" fmla="*/ 1065276 w 1502283"/>
                <a:gd name="connsiteY208" fmla="*/ 283750 h 1161573"/>
                <a:gd name="connsiteX209" fmla="*/ 1063276 w 1502283"/>
                <a:gd name="connsiteY209" fmla="*/ 280797 h 1161573"/>
                <a:gd name="connsiteX210" fmla="*/ 1064228 w 1502283"/>
                <a:gd name="connsiteY210" fmla="*/ 275844 h 1161573"/>
                <a:gd name="connsiteX211" fmla="*/ 1068324 w 1502283"/>
                <a:gd name="connsiteY211" fmla="*/ 270510 h 1161573"/>
                <a:gd name="connsiteX212" fmla="*/ 1067562 w 1502283"/>
                <a:gd name="connsiteY212" fmla="*/ 264224 h 1161573"/>
                <a:gd name="connsiteX213" fmla="*/ 1063752 w 1502283"/>
                <a:gd name="connsiteY213" fmla="*/ 259937 h 1161573"/>
                <a:gd name="connsiteX214" fmla="*/ 1061371 w 1502283"/>
                <a:gd name="connsiteY214" fmla="*/ 253841 h 1161573"/>
                <a:gd name="connsiteX215" fmla="*/ 1059180 w 1502283"/>
                <a:gd name="connsiteY215" fmla="*/ 249269 h 1161573"/>
                <a:gd name="connsiteX216" fmla="*/ 1057561 w 1502283"/>
                <a:gd name="connsiteY216" fmla="*/ 249460 h 1161573"/>
                <a:gd name="connsiteX217" fmla="*/ 1059752 w 1502283"/>
                <a:gd name="connsiteY217" fmla="*/ 254032 h 1161573"/>
                <a:gd name="connsiteX218" fmla="*/ 1056989 w 1502283"/>
                <a:gd name="connsiteY218" fmla="*/ 257556 h 1161573"/>
                <a:gd name="connsiteX219" fmla="*/ 1057370 w 1502283"/>
                <a:gd name="connsiteY219" fmla="*/ 260699 h 1161573"/>
                <a:gd name="connsiteX220" fmla="*/ 1052608 w 1502283"/>
                <a:gd name="connsiteY220" fmla="*/ 261271 h 1161573"/>
                <a:gd name="connsiteX221" fmla="*/ 1055941 w 1502283"/>
                <a:gd name="connsiteY221" fmla="*/ 262414 h 1161573"/>
                <a:gd name="connsiteX222" fmla="*/ 1054989 w 1502283"/>
                <a:gd name="connsiteY222" fmla="*/ 267367 h 1161573"/>
                <a:gd name="connsiteX223" fmla="*/ 1056608 w 1502283"/>
                <a:gd name="connsiteY223" fmla="*/ 267176 h 1161573"/>
                <a:gd name="connsiteX224" fmla="*/ 1056989 w 1502283"/>
                <a:gd name="connsiteY224" fmla="*/ 270320 h 1161573"/>
                <a:gd name="connsiteX225" fmla="*/ 1058323 w 1502283"/>
                <a:gd name="connsiteY225" fmla="*/ 268510 h 1161573"/>
                <a:gd name="connsiteX226" fmla="*/ 1055561 w 1502283"/>
                <a:gd name="connsiteY226" fmla="*/ 272034 h 1161573"/>
                <a:gd name="connsiteX227" fmla="*/ 1055561 w 1502283"/>
                <a:gd name="connsiteY227" fmla="*/ 272034 h 1161573"/>
                <a:gd name="connsiteX228" fmla="*/ 1055751 w 1502283"/>
                <a:gd name="connsiteY228" fmla="*/ 273653 h 1161573"/>
                <a:gd name="connsiteX229" fmla="*/ 1050798 w 1502283"/>
                <a:gd name="connsiteY229" fmla="*/ 272701 h 1161573"/>
                <a:gd name="connsiteX230" fmla="*/ 1049179 w 1502283"/>
                <a:gd name="connsiteY230" fmla="*/ 272891 h 1161573"/>
                <a:gd name="connsiteX231" fmla="*/ 1049369 w 1502283"/>
                <a:gd name="connsiteY231" fmla="*/ 274511 h 1161573"/>
                <a:gd name="connsiteX232" fmla="*/ 1046226 w 1502283"/>
                <a:gd name="connsiteY232" fmla="*/ 274892 h 1161573"/>
                <a:gd name="connsiteX233" fmla="*/ 1045655 w 1502283"/>
                <a:gd name="connsiteY233" fmla="*/ 270129 h 1161573"/>
                <a:gd name="connsiteX234" fmla="*/ 1046797 w 1502283"/>
                <a:gd name="connsiteY234" fmla="*/ 266795 h 1161573"/>
                <a:gd name="connsiteX235" fmla="*/ 1043654 w 1502283"/>
                <a:gd name="connsiteY235" fmla="*/ 267176 h 1161573"/>
                <a:gd name="connsiteX236" fmla="*/ 1041273 w 1502283"/>
                <a:gd name="connsiteY236" fmla="*/ 261080 h 1161573"/>
                <a:gd name="connsiteX237" fmla="*/ 1039654 w 1502283"/>
                <a:gd name="connsiteY237" fmla="*/ 261271 h 1161573"/>
                <a:gd name="connsiteX238" fmla="*/ 1042225 w 1502283"/>
                <a:gd name="connsiteY238" fmla="*/ 256127 h 1161573"/>
                <a:gd name="connsiteX239" fmla="*/ 1032796 w 1502283"/>
                <a:gd name="connsiteY239" fmla="*/ 257366 h 1161573"/>
                <a:gd name="connsiteX240" fmla="*/ 1032224 w 1502283"/>
                <a:gd name="connsiteY240" fmla="*/ 252603 h 1161573"/>
                <a:gd name="connsiteX241" fmla="*/ 1035558 w 1502283"/>
                <a:gd name="connsiteY241" fmla="*/ 253746 h 1161573"/>
                <a:gd name="connsiteX242" fmla="*/ 1034987 w 1502283"/>
                <a:gd name="connsiteY242" fmla="*/ 248984 h 1161573"/>
                <a:gd name="connsiteX243" fmla="*/ 1033367 w 1502283"/>
                <a:gd name="connsiteY243" fmla="*/ 249174 h 1161573"/>
                <a:gd name="connsiteX244" fmla="*/ 1035748 w 1502283"/>
                <a:gd name="connsiteY244" fmla="*/ 242507 h 1161573"/>
                <a:gd name="connsiteX245" fmla="*/ 1035368 w 1502283"/>
                <a:gd name="connsiteY245" fmla="*/ 239363 h 1161573"/>
                <a:gd name="connsiteX246" fmla="*/ 1030605 w 1502283"/>
                <a:gd name="connsiteY246" fmla="*/ 239935 h 1161573"/>
                <a:gd name="connsiteX247" fmla="*/ 1030224 w 1502283"/>
                <a:gd name="connsiteY247" fmla="*/ 236792 h 1161573"/>
                <a:gd name="connsiteX248" fmla="*/ 1025652 w 1502283"/>
                <a:gd name="connsiteY248" fmla="*/ 238982 h 1161573"/>
                <a:gd name="connsiteX249" fmla="*/ 1020699 w 1502283"/>
                <a:gd name="connsiteY249" fmla="*/ 238030 h 1161573"/>
                <a:gd name="connsiteX250" fmla="*/ 1013555 w 1502283"/>
                <a:gd name="connsiteY250" fmla="*/ 232505 h 1161573"/>
                <a:gd name="connsiteX251" fmla="*/ 1014698 w 1502283"/>
                <a:gd name="connsiteY251" fmla="*/ 229171 h 1161573"/>
                <a:gd name="connsiteX252" fmla="*/ 1016508 w 1502283"/>
                <a:gd name="connsiteY252" fmla="*/ 230505 h 1161573"/>
                <a:gd name="connsiteX253" fmla="*/ 1017270 w 1502283"/>
                <a:gd name="connsiteY253" fmla="*/ 224028 h 1161573"/>
                <a:gd name="connsiteX254" fmla="*/ 1016698 w 1502283"/>
                <a:gd name="connsiteY254" fmla="*/ 219266 h 1161573"/>
                <a:gd name="connsiteX255" fmla="*/ 1012127 w 1502283"/>
                <a:gd name="connsiteY255" fmla="*/ 208598 h 1161573"/>
                <a:gd name="connsiteX256" fmla="*/ 1011936 w 1502283"/>
                <a:gd name="connsiteY256" fmla="*/ 206978 h 1161573"/>
                <a:gd name="connsiteX257" fmla="*/ 1013555 w 1502283"/>
                <a:gd name="connsiteY257" fmla="*/ 206788 h 1161573"/>
                <a:gd name="connsiteX258" fmla="*/ 1012507 w 1502283"/>
                <a:gd name="connsiteY258" fmla="*/ 198882 h 1161573"/>
                <a:gd name="connsiteX259" fmla="*/ 1010698 w 1502283"/>
                <a:gd name="connsiteY259" fmla="*/ 197453 h 1161573"/>
                <a:gd name="connsiteX260" fmla="*/ 1008697 w 1502283"/>
                <a:gd name="connsiteY260" fmla="*/ 194500 h 1161573"/>
                <a:gd name="connsiteX261" fmla="*/ 1005745 w 1502283"/>
                <a:gd name="connsiteY261" fmla="*/ 196501 h 1161573"/>
                <a:gd name="connsiteX262" fmla="*/ 1002221 w 1502283"/>
                <a:gd name="connsiteY262" fmla="*/ 193738 h 1161573"/>
                <a:gd name="connsiteX263" fmla="*/ 1000601 w 1502283"/>
                <a:gd name="connsiteY263" fmla="*/ 193929 h 1161573"/>
                <a:gd name="connsiteX264" fmla="*/ 1000220 w 1502283"/>
                <a:gd name="connsiteY264" fmla="*/ 190786 h 1161573"/>
                <a:gd name="connsiteX265" fmla="*/ 1004983 w 1502283"/>
                <a:gd name="connsiteY265" fmla="*/ 190214 h 1161573"/>
                <a:gd name="connsiteX266" fmla="*/ 1006316 w 1502283"/>
                <a:gd name="connsiteY266" fmla="*/ 188404 h 1161573"/>
                <a:gd name="connsiteX267" fmla="*/ 1004316 w 1502283"/>
                <a:gd name="connsiteY267" fmla="*/ 185452 h 1161573"/>
                <a:gd name="connsiteX268" fmla="*/ 992886 w 1502283"/>
                <a:gd name="connsiteY268" fmla="*/ 183737 h 1161573"/>
                <a:gd name="connsiteX269" fmla="*/ 992314 w 1502283"/>
                <a:gd name="connsiteY269" fmla="*/ 178975 h 1161573"/>
                <a:gd name="connsiteX270" fmla="*/ 989171 w 1502283"/>
                <a:gd name="connsiteY270" fmla="*/ 179356 h 1161573"/>
                <a:gd name="connsiteX271" fmla="*/ 987171 w 1502283"/>
                <a:gd name="connsiteY271" fmla="*/ 176403 h 1161573"/>
                <a:gd name="connsiteX272" fmla="*/ 993457 w 1502283"/>
                <a:gd name="connsiteY272" fmla="*/ 175641 h 1161573"/>
                <a:gd name="connsiteX273" fmla="*/ 992219 w 1502283"/>
                <a:gd name="connsiteY273" fmla="*/ 166211 h 1161573"/>
                <a:gd name="connsiteX274" fmla="*/ 985266 w 1502283"/>
                <a:gd name="connsiteY274" fmla="*/ 162306 h 1161573"/>
                <a:gd name="connsiteX275" fmla="*/ 983266 w 1502283"/>
                <a:gd name="connsiteY275" fmla="*/ 159353 h 1161573"/>
                <a:gd name="connsiteX276" fmla="*/ 984599 w 1502283"/>
                <a:gd name="connsiteY276" fmla="*/ 157544 h 1161573"/>
                <a:gd name="connsiteX277" fmla="*/ 981265 w 1502283"/>
                <a:gd name="connsiteY277" fmla="*/ 156400 h 1161573"/>
                <a:gd name="connsiteX278" fmla="*/ 981075 w 1502283"/>
                <a:gd name="connsiteY278" fmla="*/ 154781 h 1161573"/>
                <a:gd name="connsiteX279" fmla="*/ 977741 w 1502283"/>
                <a:gd name="connsiteY279" fmla="*/ 153638 h 1161573"/>
                <a:gd name="connsiteX280" fmla="*/ 973836 w 1502283"/>
                <a:gd name="connsiteY280" fmla="*/ 160592 h 1161573"/>
                <a:gd name="connsiteX281" fmla="*/ 962787 w 1502283"/>
                <a:gd name="connsiteY281" fmla="*/ 149162 h 1161573"/>
                <a:gd name="connsiteX282" fmla="*/ 960977 w 1502283"/>
                <a:gd name="connsiteY282" fmla="*/ 147828 h 1161573"/>
                <a:gd name="connsiteX283" fmla="*/ 958215 w 1502283"/>
                <a:gd name="connsiteY283" fmla="*/ 151352 h 1161573"/>
                <a:gd name="connsiteX284" fmla="*/ 954881 w 1502283"/>
                <a:gd name="connsiteY284" fmla="*/ 150209 h 1161573"/>
                <a:gd name="connsiteX285" fmla="*/ 940118 w 1502283"/>
                <a:gd name="connsiteY285" fmla="*/ 160115 h 1161573"/>
                <a:gd name="connsiteX286" fmla="*/ 935355 w 1502283"/>
                <a:gd name="connsiteY286" fmla="*/ 160687 h 1161573"/>
                <a:gd name="connsiteX287" fmla="*/ 932402 w 1502283"/>
                <a:gd name="connsiteY287" fmla="*/ 162687 h 1161573"/>
                <a:gd name="connsiteX288" fmla="*/ 934212 w 1502283"/>
                <a:gd name="connsiteY288" fmla="*/ 164021 h 1161573"/>
                <a:gd name="connsiteX289" fmla="*/ 935831 w 1502283"/>
                <a:gd name="connsiteY289" fmla="*/ 163830 h 1161573"/>
                <a:gd name="connsiteX290" fmla="*/ 937641 w 1502283"/>
                <a:gd name="connsiteY290" fmla="*/ 165163 h 1161573"/>
                <a:gd name="connsiteX291" fmla="*/ 934498 w 1502283"/>
                <a:gd name="connsiteY291" fmla="*/ 165545 h 1161573"/>
                <a:gd name="connsiteX292" fmla="*/ 933545 w 1502283"/>
                <a:gd name="connsiteY292" fmla="*/ 170498 h 1161573"/>
                <a:gd name="connsiteX293" fmla="*/ 930593 w 1502283"/>
                <a:gd name="connsiteY293" fmla="*/ 172498 h 1161573"/>
                <a:gd name="connsiteX294" fmla="*/ 925449 w 1502283"/>
                <a:gd name="connsiteY294" fmla="*/ 169926 h 1161573"/>
                <a:gd name="connsiteX295" fmla="*/ 921163 w 1502283"/>
                <a:gd name="connsiteY295" fmla="*/ 173641 h 1161573"/>
                <a:gd name="connsiteX296" fmla="*/ 927449 w 1502283"/>
                <a:gd name="connsiteY296" fmla="*/ 172879 h 1161573"/>
                <a:gd name="connsiteX297" fmla="*/ 931164 w 1502283"/>
                <a:gd name="connsiteY297" fmla="*/ 177165 h 1161573"/>
                <a:gd name="connsiteX298" fmla="*/ 928783 w 1502283"/>
                <a:gd name="connsiteY298" fmla="*/ 183833 h 1161573"/>
                <a:gd name="connsiteX299" fmla="*/ 930402 w 1502283"/>
                <a:gd name="connsiteY299" fmla="*/ 183642 h 1161573"/>
                <a:gd name="connsiteX300" fmla="*/ 933736 w 1502283"/>
                <a:gd name="connsiteY300" fmla="*/ 184785 h 1161573"/>
                <a:gd name="connsiteX301" fmla="*/ 936688 w 1502283"/>
                <a:gd name="connsiteY301" fmla="*/ 182785 h 1161573"/>
                <a:gd name="connsiteX302" fmla="*/ 936879 w 1502283"/>
                <a:gd name="connsiteY302" fmla="*/ 184404 h 1161573"/>
                <a:gd name="connsiteX303" fmla="*/ 938689 w 1502283"/>
                <a:gd name="connsiteY303" fmla="*/ 185738 h 1161573"/>
                <a:gd name="connsiteX304" fmla="*/ 941070 w 1502283"/>
                <a:gd name="connsiteY304" fmla="*/ 191834 h 1161573"/>
                <a:gd name="connsiteX305" fmla="*/ 942689 w 1502283"/>
                <a:gd name="connsiteY305" fmla="*/ 191643 h 1161573"/>
                <a:gd name="connsiteX306" fmla="*/ 943261 w 1502283"/>
                <a:gd name="connsiteY306" fmla="*/ 196405 h 1161573"/>
                <a:gd name="connsiteX307" fmla="*/ 944594 w 1502283"/>
                <a:gd name="connsiteY307" fmla="*/ 194596 h 1161573"/>
                <a:gd name="connsiteX308" fmla="*/ 949357 w 1502283"/>
                <a:gd name="connsiteY308" fmla="*/ 194024 h 1161573"/>
                <a:gd name="connsiteX309" fmla="*/ 949738 w 1502283"/>
                <a:gd name="connsiteY309" fmla="*/ 197167 h 1161573"/>
                <a:gd name="connsiteX310" fmla="*/ 953072 w 1502283"/>
                <a:gd name="connsiteY310" fmla="*/ 198311 h 1161573"/>
                <a:gd name="connsiteX311" fmla="*/ 951929 w 1502283"/>
                <a:gd name="connsiteY311" fmla="*/ 201644 h 1161573"/>
                <a:gd name="connsiteX312" fmla="*/ 952119 w 1502283"/>
                <a:gd name="connsiteY312" fmla="*/ 203263 h 1161573"/>
                <a:gd name="connsiteX313" fmla="*/ 947642 w 1502283"/>
                <a:gd name="connsiteY313" fmla="*/ 205454 h 1161573"/>
                <a:gd name="connsiteX314" fmla="*/ 946499 w 1502283"/>
                <a:gd name="connsiteY314" fmla="*/ 208788 h 1161573"/>
                <a:gd name="connsiteX315" fmla="*/ 948499 w 1502283"/>
                <a:gd name="connsiteY315" fmla="*/ 211741 h 1161573"/>
                <a:gd name="connsiteX316" fmla="*/ 956786 w 1502283"/>
                <a:gd name="connsiteY316" fmla="*/ 213932 h 1161573"/>
                <a:gd name="connsiteX317" fmla="*/ 958596 w 1502283"/>
                <a:gd name="connsiteY317" fmla="*/ 215265 h 1161573"/>
                <a:gd name="connsiteX318" fmla="*/ 957834 w 1502283"/>
                <a:gd name="connsiteY318" fmla="*/ 221742 h 1161573"/>
                <a:gd name="connsiteX319" fmla="*/ 965168 w 1502283"/>
                <a:gd name="connsiteY319" fmla="*/ 228791 h 1161573"/>
                <a:gd name="connsiteX320" fmla="*/ 959453 w 1502283"/>
                <a:gd name="connsiteY320" fmla="*/ 234315 h 1161573"/>
                <a:gd name="connsiteX321" fmla="*/ 956500 w 1502283"/>
                <a:gd name="connsiteY321" fmla="*/ 236315 h 1161573"/>
                <a:gd name="connsiteX322" fmla="*/ 952500 w 1502283"/>
                <a:gd name="connsiteY322" fmla="*/ 230410 h 1161573"/>
                <a:gd name="connsiteX323" fmla="*/ 949357 w 1502283"/>
                <a:gd name="connsiteY323" fmla="*/ 243650 h 1161573"/>
                <a:gd name="connsiteX324" fmla="*/ 947738 w 1502283"/>
                <a:gd name="connsiteY324" fmla="*/ 243840 h 1161573"/>
                <a:gd name="connsiteX325" fmla="*/ 948309 w 1502283"/>
                <a:gd name="connsiteY325" fmla="*/ 248603 h 1161573"/>
                <a:gd name="connsiteX326" fmla="*/ 948499 w 1502283"/>
                <a:gd name="connsiteY326" fmla="*/ 250222 h 1161573"/>
                <a:gd name="connsiteX327" fmla="*/ 947738 w 1502283"/>
                <a:gd name="connsiteY327" fmla="*/ 256699 h 1161573"/>
                <a:gd name="connsiteX328" fmla="*/ 951547 w 1502283"/>
                <a:gd name="connsiteY328" fmla="*/ 260985 h 1161573"/>
                <a:gd name="connsiteX329" fmla="*/ 948214 w 1502283"/>
                <a:gd name="connsiteY329" fmla="*/ 259842 h 1161573"/>
                <a:gd name="connsiteX330" fmla="*/ 943928 w 1502283"/>
                <a:gd name="connsiteY330" fmla="*/ 263557 h 1161573"/>
                <a:gd name="connsiteX331" fmla="*/ 939165 w 1502283"/>
                <a:gd name="connsiteY331" fmla="*/ 264128 h 1161573"/>
                <a:gd name="connsiteX332" fmla="*/ 933260 w 1502283"/>
                <a:gd name="connsiteY332" fmla="*/ 268129 h 1161573"/>
                <a:gd name="connsiteX333" fmla="*/ 928116 w 1502283"/>
                <a:gd name="connsiteY333" fmla="*/ 278416 h 1161573"/>
                <a:gd name="connsiteX334" fmla="*/ 928497 w 1502283"/>
                <a:gd name="connsiteY334" fmla="*/ 281559 h 1161573"/>
                <a:gd name="connsiteX335" fmla="*/ 925544 w 1502283"/>
                <a:gd name="connsiteY335" fmla="*/ 283559 h 1161573"/>
                <a:gd name="connsiteX336" fmla="*/ 921544 w 1502283"/>
                <a:gd name="connsiteY336" fmla="*/ 277654 h 1161573"/>
                <a:gd name="connsiteX337" fmla="*/ 911447 w 1502283"/>
                <a:gd name="connsiteY337" fmla="*/ 274130 h 1161573"/>
                <a:gd name="connsiteX338" fmla="*/ 903922 w 1502283"/>
                <a:gd name="connsiteY338" fmla="*/ 265462 h 1161573"/>
                <a:gd name="connsiteX339" fmla="*/ 886778 w 1502283"/>
                <a:gd name="connsiteY339" fmla="*/ 256413 h 1161573"/>
                <a:gd name="connsiteX340" fmla="*/ 889159 w 1502283"/>
                <a:gd name="connsiteY340" fmla="*/ 249746 h 1161573"/>
                <a:gd name="connsiteX341" fmla="*/ 884206 w 1502283"/>
                <a:gd name="connsiteY341" fmla="*/ 248793 h 1161573"/>
                <a:gd name="connsiteX342" fmla="*/ 883063 w 1502283"/>
                <a:gd name="connsiteY342" fmla="*/ 252127 h 1161573"/>
                <a:gd name="connsiteX343" fmla="*/ 879729 w 1502283"/>
                <a:gd name="connsiteY343" fmla="*/ 250984 h 1161573"/>
                <a:gd name="connsiteX344" fmla="*/ 878967 w 1502283"/>
                <a:gd name="connsiteY344" fmla="*/ 244697 h 1161573"/>
                <a:gd name="connsiteX345" fmla="*/ 881348 w 1502283"/>
                <a:gd name="connsiteY345" fmla="*/ 238030 h 1161573"/>
                <a:gd name="connsiteX346" fmla="*/ 880967 w 1502283"/>
                <a:gd name="connsiteY346" fmla="*/ 234887 h 1161573"/>
                <a:gd name="connsiteX347" fmla="*/ 883539 w 1502283"/>
                <a:gd name="connsiteY347" fmla="*/ 229743 h 1161573"/>
                <a:gd name="connsiteX348" fmla="*/ 890016 w 1502283"/>
                <a:gd name="connsiteY348" fmla="*/ 230505 h 1161573"/>
                <a:gd name="connsiteX349" fmla="*/ 891445 w 1502283"/>
                <a:gd name="connsiteY349" fmla="*/ 228695 h 1161573"/>
                <a:gd name="connsiteX350" fmla="*/ 897731 w 1502283"/>
                <a:gd name="connsiteY350" fmla="*/ 227933 h 1161573"/>
                <a:gd name="connsiteX351" fmla="*/ 899065 w 1502283"/>
                <a:gd name="connsiteY351" fmla="*/ 226124 h 1161573"/>
                <a:gd name="connsiteX352" fmla="*/ 900874 w 1502283"/>
                <a:gd name="connsiteY352" fmla="*/ 227457 h 1161573"/>
                <a:gd name="connsiteX353" fmla="*/ 901827 w 1502283"/>
                <a:gd name="connsiteY353" fmla="*/ 222504 h 1161573"/>
                <a:gd name="connsiteX354" fmla="*/ 901446 w 1502283"/>
                <a:gd name="connsiteY354" fmla="*/ 219361 h 1161573"/>
                <a:gd name="connsiteX355" fmla="*/ 896493 w 1502283"/>
                <a:gd name="connsiteY355" fmla="*/ 218408 h 1161573"/>
                <a:gd name="connsiteX356" fmla="*/ 897827 w 1502283"/>
                <a:gd name="connsiteY356" fmla="*/ 216599 h 1161573"/>
                <a:gd name="connsiteX357" fmla="*/ 895636 w 1502283"/>
                <a:gd name="connsiteY357" fmla="*/ 212026 h 1161573"/>
                <a:gd name="connsiteX358" fmla="*/ 892493 w 1502283"/>
                <a:gd name="connsiteY358" fmla="*/ 212408 h 1161573"/>
                <a:gd name="connsiteX359" fmla="*/ 894683 w 1502283"/>
                <a:gd name="connsiteY359" fmla="*/ 204121 h 1161573"/>
                <a:gd name="connsiteX360" fmla="*/ 892873 w 1502283"/>
                <a:gd name="connsiteY360" fmla="*/ 202787 h 1161573"/>
                <a:gd name="connsiteX361" fmla="*/ 886587 w 1502283"/>
                <a:gd name="connsiteY361" fmla="*/ 203549 h 1161573"/>
                <a:gd name="connsiteX362" fmla="*/ 884587 w 1502283"/>
                <a:gd name="connsiteY362" fmla="*/ 200596 h 1161573"/>
                <a:gd name="connsiteX363" fmla="*/ 879634 w 1502283"/>
                <a:gd name="connsiteY363" fmla="*/ 199644 h 1161573"/>
                <a:gd name="connsiteX364" fmla="*/ 880586 w 1502283"/>
                <a:gd name="connsiteY364" fmla="*/ 181928 h 1161573"/>
                <a:gd name="connsiteX365" fmla="*/ 877253 w 1502283"/>
                <a:gd name="connsiteY365" fmla="*/ 180784 h 1161573"/>
                <a:gd name="connsiteX366" fmla="*/ 880396 w 1502283"/>
                <a:gd name="connsiteY366" fmla="*/ 180404 h 1161573"/>
                <a:gd name="connsiteX367" fmla="*/ 880205 w 1502283"/>
                <a:gd name="connsiteY367" fmla="*/ 178784 h 1161573"/>
                <a:gd name="connsiteX368" fmla="*/ 876205 w 1502283"/>
                <a:gd name="connsiteY368" fmla="*/ 172879 h 1161573"/>
                <a:gd name="connsiteX369" fmla="*/ 875633 w 1502283"/>
                <a:gd name="connsiteY369" fmla="*/ 168116 h 1161573"/>
                <a:gd name="connsiteX370" fmla="*/ 873633 w 1502283"/>
                <a:gd name="connsiteY370" fmla="*/ 165163 h 1161573"/>
                <a:gd name="connsiteX371" fmla="*/ 872871 w 1502283"/>
                <a:gd name="connsiteY371" fmla="*/ 158877 h 1161573"/>
                <a:gd name="connsiteX372" fmla="*/ 869156 w 1502283"/>
                <a:gd name="connsiteY372" fmla="*/ 154496 h 1161573"/>
                <a:gd name="connsiteX373" fmla="*/ 872490 w 1502283"/>
                <a:gd name="connsiteY373" fmla="*/ 142875 h 1161573"/>
                <a:gd name="connsiteX374" fmla="*/ 870490 w 1502283"/>
                <a:gd name="connsiteY374" fmla="*/ 139922 h 1161573"/>
                <a:gd name="connsiteX375" fmla="*/ 876205 w 1502283"/>
                <a:gd name="connsiteY375" fmla="*/ 134398 h 1161573"/>
                <a:gd name="connsiteX376" fmla="*/ 879538 w 1502283"/>
                <a:gd name="connsiteY376" fmla="*/ 135541 h 1161573"/>
                <a:gd name="connsiteX377" fmla="*/ 882491 w 1502283"/>
                <a:gd name="connsiteY377" fmla="*/ 133541 h 1161573"/>
                <a:gd name="connsiteX378" fmla="*/ 883825 w 1502283"/>
                <a:gd name="connsiteY378" fmla="*/ 131731 h 1161573"/>
                <a:gd name="connsiteX379" fmla="*/ 882777 w 1502283"/>
                <a:gd name="connsiteY379" fmla="*/ 123825 h 1161573"/>
                <a:gd name="connsiteX380" fmla="*/ 880777 w 1502283"/>
                <a:gd name="connsiteY380" fmla="*/ 120872 h 1161573"/>
                <a:gd name="connsiteX381" fmla="*/ 884682 w 1502283"/>
                <a:gd name="connsiteY381" fmla="*/ 113919 h 1161573"/>
                <a:gd name="connsiteX382" fmla="*/ 889254 w 1502283"/>
                <a:gd name="connsiteY382" fmla="*/ 111728 h 1161573"/>
                <a:gd name="connsiteX383" fmla="*/ 894397 w 1502283"/>
                <a:gd name="connsiteY383" fmla="*/ 114300 h 1161573"/>
                <a:gd name="connsiteX384" fmla="*/ 900684 w 1502283"/>
                <a:gd name="connsiteY384" fmla="*/ 113538 h 1161573"/>
                <a:gd name="connsiteX385" fmla="*/ 902018 w 1502283"/>
                <a:gd name="connsiteY385" fmla="*/ 111728 h 1161573"/>
                <a:gd name="connsiteX386" fmla="*/ 900398 w 1502283"/>
                <a:gd name="connsiteY386" fmla="*/ 111919 h 1161573"/>
                <a:gd name="connsiteX387" fmla="*/ 898588 w 1502283"/>
                <a:gd name="connsiteY387" fmla="*/ 110585 h 1161573"/>
                <a:gd name="connsiteX388" fmla="*/ 895636 w 1502283"/>
                <a:gd name="connsiteY388" fmla="*/ 112586 h 1161573"/>
                <a:gd name="connsiteX389" fmla="*/ 895445 w 1502283"/>
                <a:gd name="connsiteY389" fmla="*/ 110966 h 1161573"/>
                <a:gd name="connsiteX390" fmla="*/ 890492 w 1502283"/>
                <a:gd name="connsiteY390" fmla="*/ 110014 h 1161573"/>
                <a:gd name="connsiteX391" fmla="*/ 888682 w 1502283"/>
                <a:gd name="connsiteY391" fmla="*/ 108680 h 1161573"/>
                <a:gd name="connsiteX392" fmla="*/ 887539 w 1502283"/>
                <a:gd name="connsiteY392" fmla="*/ 112014 h 1161573"/>
                <a:gd name="connsiteX393" fmla="*/ 887158 w 1502283"/>
                <a:gd name="connsiteY393" fmla="*/ 108871 h 1161573"/>
                <a:gd name="connsiteX394" fmla="*/ 888587 w 1502283"/>
                <a:gd name="connsiteY394" fmla="*/ 107061 h 1161573"/>
                <a:gd name="connsiteX395" fmla="*/ 884206 w 1502283"/>
                <a:gd name="connsiteY395" fmla="*/ 110776 h 1161573"/>
                <a:gd name="connsiteX396" fmla="*/ 876110 w 1502283"/>
                <a:gd name="connsiteY396" fmla="*/ 110204 h 1161573"/>
                <a:gd name="connsiteX397" fmla="*/ 867442 w 1502283"/>
                <a:gd name="connsiteY397" fmla="*/ 104870 h 1161573"/>
                <a:gd name="connsiteX398" fmla="*/ 865441 w 1502283"/>
                <a:gd name="connsiteY398" fmla="*/ 101917 h 1161573"/>
                <a:gd name="connsiteX399" fmla="*/ 858774 w 1502283"/>
                <a:gd name="connsiteY399" fmla="*/ 99536 h 1161573"/>
                <a:gd name="connsiteX400" fmla="*/ 855821 w 1502283"/>
                <a:gd name="connsiteY400" fmla="*/ 101537 h 1161573"/>
                <a:gd name="connsiteX401" fmla="*/ 850868 w 1502283"/>
                <a:gd name="connsiteY401" fmla="*/ 100584 h 1161573"/>
                <a:gd name="connsiteX402" fmla="*/ 847535 w 1502283"/>
                <a:gd name="connsiteY402" fmla="*/ 99441 h 1161573"/>
                <a:gd name="connsiteX403" fmla="*/ 841438 w 1502283"/>
                <a:gd name="connsiteY403" fmla="*/ 101822 h 1161573"/>
                <a:gd name="connsiteX404" fmla="*/ 834962 w 1502283"/>
                <a:gd name="connsiteY404" fmla="*/ 101060 h 1161573"/>
                <a:gd name="connsiteX405" fmla="*/ 837343 w 1502283"/>
                <a:gd name="connsiteY405" fmla="*/ 94393 h 1161573"/>
                <a:gd name="connsiteX406" fmla="*/ 840296 w 1502283"/>
                <a:gd name="connsiteY406" fmla="*/ 92392 h 1161573"/>
                <a:gd name="connsiteX407" fmla="*/ 842486 w 1502283"/>
                <a:gd name="connsiteY407" fmla="*/ 84106 h 1161573"/>
                <a:gd name="connsiteX408" fmla="*/ 845248 w 1502283"/>
                <a:gd name="connsiteY408" fmla="*/ 80582 h 1161573"/>
                <a:gd name="connsiteX409" fmla="*/ 845058 w 1502283"/>
                <a:gd name="connsiteY409" fmla="*/ 78962 h 1161573"/>
                <a:gd name="connsiteX410" fmla="*/ 844868 w 1502283"/>
                <a:gd name="connsiteY410" fmla="*/ 77343 h 1161573"/>
                <a:gd name="connsiteX411" fmla="*/ 841724 w 1502283"/>
                <a:gd name="connsiteY411" fmla="*/ 77724 h 1161573"/>
                <a:gd name="connsiteX412" fmla="*/ 839914 w 1502283"/>
                <a:gd name="connsiteY412" fmla="*/ 76391 h 1161573"/>
                <a:gd name="connsiteX413" fmla="*/ 840677 w 1502283"/>
                <a:gd name="connsiteY413" fmla="*/ 69913 h 1161573"/>
                <a:gd name="connsiteX414" fmla="*/ 838295 w 1502283"/>
                <a:gd name="connsiteY414" fmla="*/ 63817 h 1161573"/>
                <a:gd name="connsiteX415" fmla="*/ 838105 w 1502283"/>
                <a:gd name="connsiteY415" fmla="*/ 62198 h 1161573"/>
                <a:gd name="connsiteX416" fmla="*/ 841057 w 1502283"/>
                <a:gd name="connsiteY416" fmla="*/ 60198 h 1161573"/>
                <a:gd name="connsiteX417" fmla="*/ 838867 w 1502283"/>
                <a:gd name="connsiteY417" fmla="*/ 55626 h 1161573"/>
                <a:gd name="connsiteX418" fmla="*/ 842010 w 1502283"/>
                <a:gd name="connsiteY418" fmla="*/ 55245 h 1161573"/>
                <a:gd name="connsiteX419" fmla="*/ 838010 w 1502283"/>
                <a:gd name="connsiteY419" fmla="*/ 49340 h 1161573"/>
                <a:gd name="connsiteX420" fmla="*/ 843534 w 1502283"/>
                <a:gd name="connsiteY420" fmla="*/ 55054 h 1161573"/>
                <a:gd name="connsiteX421" fmla="*/ 850202 w 1502283"/>
                <a:gd name="connsiteY421" fmla="*/ 57436 h 1161573"/>
                <a:gd name="connsiteX422" fmla="*/ 852202 w 1502283"/>
                <a:gd name="connsiteY422" fmla="*/ 60388 h 1161573"/>
                <a:gd name="connsiteX423" fmla="*/ 853154 w 1502283"/>
                <a:gd name="connsiteY423" fmla="*/ 55436 h 1161573"/>
                <a:gd name="connsiteX424" fmla="*/ 855345 w 1502283"/>
                <a:gd name="connsiteY424" fmla="*/ 60008 h 1161573"/>
                <a:gd name="connsiteX425" fmla="*/ 858298 w 1502283"/>
                <a:gd name="connsiteY425" fmla="*/ 58007 h 1161573"/>
                <a:gd name="connsiteX426" fmla="*/ 861822 w 1502283"/>
                <a:gd name="connsiteY426" fmla="*/ 60770 h 1161573"/>
                <a:gd name="connsiteX427" fmla="*/ 864013 w 1502283"/>
                <a:gd name="connsiteY427" fmla="*/ 65342 h 1161573"/>
                <a:gd name="connsiteX428" fmla="*/ 865822 w 1502283"/>
                <a:gd name="connsiteY428" fmla="*/ 66675 h 1161573"/>
                <a:gd name="connsiteX429" fmla="*/ 873538 w 1502283"/>
                <a:gd name="connsiteY429" fmla="*/ 64103 h 1161573"/>
                <a:gd name="connsiteX430" fmla="*/ 878014 w 1502283"/>
                <a:gd name="connsiteY430" fmla="*/ 61913 h 1161573"/>
                <a:gd name="connsiteX431" fmla="*/ 879157 w 1502283"/>
                <a:gd name="connsiteY431" fmla="*/ 58579 h 1161573"/>
                <a:gd name="connsiteX432" fmla="*/ 875824 w 1502283"/>
                <a:gd name="connsiteY432" fmla="*/ 57436 h 1161573"/>
                <a:gd name="connsiteX433" fmla="*/ 873443 w 1502283"/>
                <a:gd name="connsiteY433" fmla="*/ 51340 h 1161573"/>
                <a:gd name="connsiteX434" fmla="*/ 868489 w 1502283"/>
                <a:gd name="connsiteY434" fmla="*/ 50387 h 1161573"/>
                <a:gd name="connsiteX435" fmla="*/ 869252 w 1502283"/>
                <a:gd name="connsiteY435" fmla="*/ 43910 h 1161573"/>
                <a:gd name="connsiteX436" fmla="*/ 871061 w 1502283"/>
                <a:gd name="connsiteY436" fmla="*/ 45244 h 1161573"/>
                <a:gd name="connsiteX437" fmla="*/ 875538 w 1502283"/>
                <a:gd name="connsiteY437" fmla="*/ 43053 h 1161573"/>
                <a:gd name="connsiteX438" fmla="*/ 875157 w 1502283"/>
                <a:gd name="connsiteY438" fmla="*/ 39910 h 1161573"/>
                <a:gd name="connsiteX439" fmla="*/ 881253 w 1502283"/>
                <a:gd name="connsiteY439" fmla="*/ 37529 h 1161573"/>
                <a:gd name="connsiteX440" fmla="*/ 879443 w 1502283"/>
                <a:gd name="connsiteY440" fmla="*/ 36195 h 1161573"/>
                <a:gd name="connsiteX441" fmla="*/ 865441 w 1502283"/>
                <a:gd name="connsiteY441" fmla="*/ 39624 h 1161573"/>
                <a:gd name="connsiteX442" fmla="*/ 858488 w 1502283"/>
                <a:gd name="connsiteY442" fmla="*/ 35719 h 1161573"/>
                <a:gd name="connsiteX443" fmla="*/ 846391 w 1502283"/>
                <a:gd name="connsiteY443" fmla="*/ 29242 h 1161573"/>
                <a:gd name="connsiteX444" fmla="*/ 843058 w 1502283"/>
                <a:gd name="connsiteY444" fmla="*/ 28099 h 1161573"/>
                <a:gd name="connsiteX445" fmla="*/ 824294 w 1502283"/>
                <a:gd name="connsiteY445" fmla="*/ 19241 h 1161573"/>
                <a:gd name="connsiteX446" fmla="*/ 822674 w 1502283"/>
                <a:gd name="connsiteY446" fmla="*/ 19431 h 1161573"/>
                <a:gd name="connsiteX447" fmla="*/ 819340 w 1502283"/>
                <a:gd name="connsiteY447" fmla="*/ 18288 h 1161573"/>
                <a:gd name="connsiteX448" fmla="*/ 816959 w 1502283"/>
                <a:gd name="connsiteY448" fmla="*/ 12192 h 1161573"/>
                <a:gd name="connsiteX449" fmla="*/ 802100 w 1502283"/>
                <a:gd name="connsiteY449" fmla="*/ 9239 h 1161573"/>
                <a:gd name="connsiteX450" fmla="*/ 804863 w 1502283"/>
                <a:gd name="connsiteY450" fmla="*/ 5715 h 1161573"/>
                <a:gd name="connsiteX451" fmla="*/ 798957 w 1502283"/>
                <a:gd name="connsiteY451" fmla="*/ 9716 h 1161573"/>
                <a:gd name="connsiteX452" fmla="*/ 795623 w 1502283"/>
                <a:gd name="connsiteY452" fmla="*/ 8573 h 1161573"/>
                <a:gd name="connsiteX453" fmla="*/ 794290 w 1502283"/>
                <a:gd name="connsiteY453" fmla="*/ 10382 h 1161573"/>
                <a:gd name="connsiteX454" fmla="*/ 790956 w 1502283"/>
                <a:gd name="connsiteY454" fmla="*/ 9239 h 1161573"/>
                <a:gd name="connsiteX455" fmla="*/ 782288 w 1502283"/>
                <a:gd name="connsiteY455" fmla="*/ 3905 h 1161573"/>
                <a:gd name="connsiteX456" fmla="*/ 780955 w 1502283"/>
                <a:gd name="connsiteY456" fmla="*/ 5715 h 1161573"/>
                <a:gd name="connsiteX457" fmla="*/ 784288 w 1502283"/>
                <a:gd name="connsiteY457" fmla="*/ 6858 h 1161573"/>
                <a:gd name="connsiteX458" fmla="*/ 784670 w 1502283"/>
                <a:gd name="connsiteY458" fmla="*/ 10001 h 1161573"/>
                <a:gd name="connsiteX459" fmla="*/ 778002 w 1502283"/>
                <a:gd name="connsiteY459" fmla="*/ 7620 h 1161573"/>
                <a:gd name="connsiteX460" fmla="*/ 772478 w 1502283"/>
                <a:gd name="connsiteY460" fmla="*/ 14764 h 1161573"/>
                <a:gd name="connsiteX461" fmla="*/ 759809 w 1502283"/>
                <a:gd name="connsiteY461" fmla="*/ 3524 h 1161573"/>
                <a:gd name="connsiteX462" fmla="*/ 749713 w 1502283"/>
                <a:gd name="connsiteY462" fmla="*/ 0 h 1161573"/>
                <a:gd name="connsiteX463" fmla="*/ 748094 w 1502283"/>
                <a:gd name="connsiteY463" fmla="*/ 191 h 1161573"/>
                <a:gd name="connsiteX464" fmla="*/ 747141 w 1502283"/>
                <a:gd name="connsiteY464" fmla="*/ 5144 h 1161573"/>
                <a:gd name="connsiteX465" fmla="*/ 749141 w 1502283"/>
                <a:gd name="connsiteY465" fmla="*/ 8096 h 1161573"/>
                <a:gd name="connsiteX466" fmla="*/ 745998 w 1502283"/>
                <a:gd name="connsiteY466" fmla="*/ 8477 h 1161573"/>
                <a:gd name="connsiteX467" fmla="*/ 746188 w 1502283"/>
                <a:gd name="connsiteY467" fmla="*/ 10096 h 1161573"/>
                <a:gd name="connsiteX468" fmla="*/ 738283 w 1502283"/>
                <a:gd name="connsiteY468" fmla="*/ 11144 h 1161573"/>
                <a:gd name="connsiteX469" fmla="*/ 738283 w 1502283"/>
                <a:gd name="connsiteY469" fmla="*/ 11144 h 1161573"/>
                <a:gd name="connsiteX470" fmla="*/ 734949 w 1502283"/>
                <a:gd name="connsiteY470" fmla="*/ 10001 h 1161573"/>
                <a:gd name="connsiteX471" fmla="*/ 729805 w 1502283"/>
                <a:gd name="connsiteY471" fmla="*/ 7429 h 1161573"/>
                <a:gd name="connsiteX472" fmla="*/ 725519 w 1502283"/>
                <a:gd name="connsiteY472" fmla="*/ 11144 h 1161573"/>
                <a:gd name="connsiteX473" fmla="*/ 718566 w 1502283"/>
                <a:gd name="connsiteY473" fmla="*/ 7239 h 1161573"/>
                <a:gd name="connsiteX474" fmla="*/ 717995 w 1502283"/>
                <a:gd name="connsiteY474" fmla="*/ 2476 h 1161573"/>
                <a:gd name="connsiteX475" fmla="*/ 713708 w 1502283"/>
                <a:gd name="connsiteY475" fmla="*/ 6287 h 1161573"/>
                <a:gd name="connsiteX476" fmla="*/ 712089 w 1502283"/>
                <a:gd name="connsiteY476" fmla="*/ 6477 h 1161573"/>
                <a:gd name="connsiteX477" fmla="*/ 708565 w 1502283"/>
                <a:gd name="connsiteY477" fmla="*/ 3715 h 1161573"/>
                <a:gd name="connsiteX478" fmla="*/ 703802 w 1502283"/>
                <a:gd name="connsiteY478" fmla="*/ 4286 h 1161573"/>
                <a:gd name="connsiteX479" fmla="*/ 700849 w 1502283"/>
                <a:gd name="connsiteY479" fmla="*/ 6287 h 1161573"/>
                <a:gd name="connsiteX480" fmla="*/ 701230 w 1502283"/>
                <a:gd name="connsiteY480" fmla="*/ 9430 h 1161573"/>
                <a:gd name="connsiteX481" fmla="*/ 697135 w 1502283"/>
                <a:gd name="connsiteY481" fmla="*/ 14764 h 1161573"/>
                <a:gd name="connsiteX482" fmla="*/ 698182 w 1502283"/>
                <a:gd name="connsiteY482" fmla="*/ 22670 h 1161573"/>
                <a:gd name="connsiteX483" fmla="*/ 698754 w 1502283"/>
                <a:gd name="connsiteY483" fmla="*/ 27432 h 1161573"/>
                <a:gd name="connsiteX484" fmla="*/ 697421 w 1502283"/>
                <a:gd name="connsiteY484" fmla="*/ 29242 h 1161573"/>
                <a:gd name="connsiteX485" fmla="*/ 697611 w 1502283"/>
                <a:gd name="connsiteY485" fmla="*/ 30861 h 1161573"/>
                <a:gd name="connsiteX486" fmla="*/ 693706 w 1502283"/>
                <a:gd name="connsiteY486" fmla="*/ 37814 h 1161573"/>
                <a:gd name="connsiteX487" fmla="*/ 696087 w 1502283"/>
                <a:gd name="connsiteY487" fmla="*/ 43910 h 1161573"/>
                <a:gd name="connsiteX488" fmla="*/ 696468 w 1502283"/>
                <a:gd name="connsiteY488" fmla="*/ 47054 h 1161573"/>
                <a:gd name="connsiteX489" fmla="*/ 693515 w 1502283"/>
                <a:gd name="connsiteY489" fmla="*/ 49054 h 1161573"/>
                <a:gd name="connsiteX490" fmla="*/ 693134 w 1502283"/>
                <a:gd name="connsiteY490" fmla="*/ 45911 h 1161573"/>
                <a:gd name="connsiteX491" fmla="*/ 690181 w 1502283"/>
                <a:gd name="connsiteY491" fmla="*/ 47911 h 1161573"/>
                <a:gd name="connsiteX492" fmla="*/ 677132 w 1502283"/>
                <a:gd name="connsiteY492" fmla="*/ 46387 h 1161573"/>
                <a:gd name="connsiteX493" fmla="*/ 677513 w 1502283"/>
                <a:gd name="connsiteY493" fmla="*/ 49530 h 1161573"/>
                <a:gd name="connsiteX494" fmla="*/ 674180 w 1502283"/>
                <a:gd name="connsiteY494" fmla="*/ 48387 h 1161573"/>
                <a:gd name="connsiteX495" fmla="*/ 672370 w 1502283"/>
                <a:gd name="connsiteY495" fmla="*/ 47054 h 1161573"/>
                <a:gd name="connsiteX496" fmla="*/ 669417 w 1502283"/>
                <a:gd name="connsiteY496" fmla="*/ 49054 h 1161573"/>
                <a:gd name="connsiteX497" fmla="*/ 667607 w 1502283"/>
                <a:gd name="connsiteY497" fmla="*/ 47720 h 1161573"/>
                <a:gd name="connsiteX498" fmla="*/ 660082 w 1502283"/>
                <a:gd name="connsiteY498" fmla="*/ 39053 h 1161573"/>
                <a:gd name="connsiteX499" fmla="*/ 656939 w 1502283"/>
                <a:gd name="connsiteY499" fmla="*/ 39433 h 1161573"/>
                <a:gd name="connsiteX500" fmla="*/ 646938 w 1502283"/>
                <a:gd name="connsiteY500" fmla="*/ 48768 h 1161573"/>
                <a:gd name="connsiteX501" fmla="*/ 640461 w 1502283"/>
                <a:gd name="connsiteY501" fmla="*/ 48006 h 1161573"/>
                <a:gd name="connsiteX502" fmla="*/ 637508 w 1502283"/>
                <a:gd name="connsiteY502" fmla="*/ 50006 h 1161573"/>
                <a:gd name="connsiteX503" fmla="*/ 634365 w 1502283"/>
                <a:gd name="connsiteY503" fmla="*/ 50387 h 1161573"/>
                <a:gd name="connsiteX504" fmla="*/ 631412 w 1502283"/>
                <a:gd name="connsiteY504" fmla="*/ 52388 h 1161573"/>
                <a:gd name="connsiteX505" fmla="*/ 628269 w 1502283"/>
                <a:gd name="connsiteY505" fmla="*/ 52769 h 1161573"/>
                <a:gd name="connsiteX506" fmla="*/ 630269 w 1502283"/>
                <a:gd name="connsiteY506" fmla="*/ 42863 h 1161573"/>
                <a:gd name="connsiteX507" fmla="*/ 625126 w 1502283"/>
                <a:gd name="connsiteY507" fmla="*/ 40291 h 1161573"/>
                <a:gd name="connsiteX508" fmla="*/ 623506 w 1502283"/>
                <a:gd name="connsiteY508" fmla="*/ 40481 h 1161573"/>
                <a:gd name="connsiteX509" fmla="*/ 621697 w 1502283"/>
                <a:gd name="connsiteY509" fmla="*/ 39148 h 1161573"/>
                <a:gd name="connsiteX510" fmla="*/ 619125 w 1502283"/>
                <a:gd name="connsiteY510" fmla="*/ 44291 h 1161573"/>
                <a:gd name="connsiteX511" fmla="*/ 614553 w 1502283"/>
                <a:gd name="connsiteY511" fmla="*/ 46482 h 1161573"/>
                <a:gd name="connsiteX512" fmla="*/ 607886 w 1502283"/>
                <a:gd name="connsiteY512" fmla="*/ 44101 h 1161573"/>
                <a:gd name="connsiteX513" fmla="*/ 606933 w 1502283"/>
                <a:gd name="connsiteY513" fmla="*/ 49054 h 1161573"/>
                <a:gd name="connsiteX514" fmla="*/ 609505 w 1502283"/>
                <a:gd name="connsiteY514" fmla="*/ 56769 h 1161573"/>
                <a:gd name="connsiteX515" fmla="*/ 600837 w 1502283"/>
                <a:gd name="connsiteY515" fmla="*/ 64294 h 1161573"/>
                <a:gd name="connsiteX516" fmla="*/ 601599 w 1502283"/>
                <a:gd name="connsiteY516" fmla="*/ 70580 h 1161573"/>
                <a:gd name="connsiteX517" fmla="*/ 596455 w 1502283"/>
                <a:gd name="connsiteY517" fmla="*/ 68008 h 1161573"/>
                <a:gd name="connsiteX518" fmla="*/ 592455 w 1502283"/>
                <a:gd name="connsiteY518" fmla="*/ 62103 h 1161573"/>
                <a:gd name="connsiteX519" fmla="*/ 589121 w 1502283"/>
                <a:gd name="connsiteY519" fmla="*/ 60960 h 1161573"/>
                <a:gd name="connsiteX520" fmla="*/ 591122 w 1502283"/>
                <a:gd name="connsiteY520" fmla="*/ 63913 h 1161573"/>
                <a:gd name="connsiteX521" fmla="*/ 592360 w 1502283"/>
                <a:gd name="connsiteY521" fmla="*/ 73342 h 1161573"/>
                <a:gd name="connsiteX522" fmla="*/ 591026 w 1502283"/>
                <a:gd name="connsiteY522" fmla="*/ 75152 h 1161573"/>
                <a:gd name="connsiteX523" fmla="*/ 589407 w 1502283"/>
                <a:gd name="connsiteY523" fmla="*/ 75343 h 1161573"/>
                <a:gd name="connsiteX524" fmla="*/ 590169 w 1502283"/>
                <a:gd name="connsiteY524" fmla="*/ 81629 h 1161573"/>
                <a:gd name="connsiteX525" fmla="*/ 586264 w 1502283"/>
                <a:gd name="connsiteY525" fmla="*/ 88583 h 1161573"/>
                <a:gd name="connsiteX526" fmla="*/ 585121 w 1502283"/>
                <a:gd name="connsiteY526" fmla="*/ 91916 h 1161573"/>
                <a:gd name="connsiteX527" fmla="*/ 578834 w 1502283"/>
                <a:gd name="connsiteY527" fmla="*/ 92678 h 1161573"/>
                <a:gd name="connsiteX528" fmla="*/ 577691 w 1502283"/>
                <a:gd name="connsiteY528" fmla="*/ 96012 h 1161573"/>
                <a:gd name="connsiteX529" fmla="*/ 581025 w 1502283"/>
                <a:gd name="connsiteY529" fmla="*/ 97155 h 1161573"/>
                <a:gd name="connsiteX530" fmla="*/ 581597 w 1502283"/>
                <a:gd name="connsiteY530" fmla="*/ 101917 h 1161573"/>
                <a:gd name="connsiteX531" fmla="*/ 583121 w 1502283"/>
                <a:gd name="connsiteY531" fmla="*/ 101727 h 1161573"/>
                <a:gd name="connsiteX532" fmla="*/ 584930 w 1502283"/>
                <a:gd name="connsiteY532" fmla="*/ 103061 h 1161573"/>
                <a:gd name="connsiteX533" fmla="*/ 586740 w 1502283"/>
                <a:gd name="connsiteY533" fmla="*/ 104394 h 1161573"/>
                <a:gd name="connsiteX534" fmla="*/ 588740 w 1502283"/>
                <a:gd name="connsiteY534" fmla="*/ 107347 h 1161573"/>
                <a:gd name="connsiteX535" fmla="*/ 593503 w 1502283"/>
                <a:gd name="connsiteY535" fmla="*/ 106775 h 1161573"/>
                <a:gd name="connsiteX536" fmla="*/ 593693 w 1502283"/>
                <a:gd name="connsiteY536" fmla="*/ 108395 h 1161573"/>
                <a:gd name="connsiteX537" fmla="*/ 605123 w 1502283"/>
                <a:gd name="connsiteY537" fmla="*/ 110109 h 1161573"/>
                <a:gd name="connsiteX538" fmla="*/ 609314 w 1502283"/>
                <a:gd name="connsiteY538" fmla="*/ 117634 h 1161573"/>
                <a:gd name="connsiteX539" fmla="*/ 610362 w 1502283"/>
                <a:gd name="connsiteY539" fmla="*/ 125540 h 1161573"/>
                <a:gd name="connsiteX540" fmla="*/ 604456 w 1502283"/>
                <a:gd name="connsiteY540" fmla="*/ 142304 h 1161573"/>
                <a:gd name="connsiteX541" fmla="*/ 599694 w 1502283"/>
                <a:gd name="connsiteY541" fmla="*/ 142875 h 1161573"/>
                <a:gd name="connsiteX542" fmla="*/ 595979 w 1502283"/>
                <a:gd name="connsiteY542" fmla="*/ 151352 h 1161573"/>
                <a:gd name="connsiteX543" fmla="*/ 590074 w 1502283"/>
                <a:gd name="connsiteY543" fmla="*/ 155353 h 1161573"/>
                <a:gd name="connsiteX544" fmla="*/ 590455 w 1502283"/>
                <a:gd name="connsiteY544" fmla="*/ 158496 h 1161573"/>
                <a:gd name="connsiteX545" fmla="*/ 587693 w 1502283"/>
                <a:gd name="connsiteY545" fmla="*/ 162020 h 1161573"/>
                <a:gd name="connsiteX546" fmla="*/ 579977 w 1502283"/>
                <a:gd name="connsiteY546" fmla="*/ 164592 h 1161573"/>
                <a:gd name="connsiteX547" fmla="*/ 575596 w 1502283"/>
                <a:gd name="connsiteY547" fmla="*/ 155543 h 1161573"/>
                <a:gd name="connsiteX548" fmla="*/ 573596 w 1502283"/>
                <a:gd name="connsiteY548" fmla="*/ 152591 h 1161573"/>
                <a:gd name="connsiteX549" fmla="*/ 567309 w 1502283"/>
                <a:gd name="connsiteY549" fmla="*/ 153353 h 1161573"/>
                <a:gd name="connsiteX550" fmla="*/ 565975 w 1502283"/>
                <a:gd name="connsiteY550" fmla="*/ 155162 h 1161573"/>
                <a:gd name="connsiteX551" fmla="*/ 571310 w 1502283"/>
                <a:gd name="connsiteY551" fmla="*/ 159258 h 1161573"/>
                <a:gd name="connsiteX552" fmla="*/ 571500 w 1502283"/>
                <a:gd name="connsiteY552" fmla="*/ 160877 h 1161573"/>
                <a:gd name="connsiteX553" fmla="*/ 570357 w 1502283"/>
                <a:gd name="connsiteY553" fmla="*/ 164211 h 1161573"/>
                <a:gd name="connsiteX554" fmla="*/ 572548 w 1502283"/>
                <a:gd name="connsiteY554" fmla="*/ 168783 h 1161573"/>
                <a:gd name="connsiteX555" fmla="*/ 579501 w 1502283"/>
                <a:gd name="connsiteY555" fmla="*/ 172688 h 1161573"/>
                <a:gd name="connsiteX556" fmla="*/ 581311 w 1502283"/>
                <a:gd name="connsiteY556" fmla="*/ 174022 h 1161573"/>
                <a:gd name="connsiteX557" fmla="*/ 582454 w 1502283"/>
                <a:gd name="connsiteY557" fmla="*/ 170688 h 1161573"/>
                <a:gd name="connsiteX558" fmla="*/ 587407 w 1502283"/>
                <a:gd name="connsiteY558" fmla="*/ 171641 h 1161573"/>
                <a:gd name="connsiteX559" fmla="*/ 583121 w 1502283"/>
                <a:gd name="connsiteY559" fmla="*/ 175355 h 1161573"/>
                <a:gd name="connsiteX560" fmla="*/ 583502 w 1502283"/>
                <a:gd name="connsiteY560" fmla="*/ 178499 h 1161573"/>
                <a:gd name="connsiteX561" fmla="*/ 585502 w 1502283"/>
                <a:gd name="connsiteY561" fmla="*/ 181451 h 1161573"/>
                <a:gd name="connsiteX562" fmla="*/ 591979 w 1502283"/>
                <a:gd name="connsiteY562" fmla="*/ 182213 h 1161573"/>
                <a:gd name="connsiteX563" fmla="*/ 591217 w 1502283"/>
                <a:gd name="connsiteY563" fmla="*/ 188690 h 1161573"/>
                <a:gd name="connsiteX564" fmla="*/ 580739 w 1502283"/>
                <a:gd name="connsiteY564" fmla="*/ 194786 h 1161573"/>
                <a:gd name="connsiteX565" fmla="*/ 586454 w 1502283"/>
                <a:gd name="connsiteY565" fmla="*/ 202121 h 1161573"/>
                <a:gd name="connsiteX566" fmla="*/ 584073 w 1502283"/>
                <a:gd name="connsiteY566" fmla="*/ 208788 h 1161573"/>
                <a:gd name="connsiteX567" fmla="*/ 578168 w 1502283"/>
                <a:gd name="connsiteY567" fmla="*/ 212788 h 1161573"/>
                <a:gd name="connsiteX568" fmla="*/ 575596 w 1502283"/>
                <a:gd name="connsiteY568" fmla="*/ 217932 h 1161573"/>
                <a:gd name="connsiteX569" fmla="*/ 574834 w 1502283"/>
                <a:gd name="connsiteY569" fmla="*/ 224409 h 1161573"/>
                <a:gd name="connsiteX570" fmla="*/ 582549 w 1502283"/>
                <a:gd name="connsiteY570" fmla="*/ 234696 h 1161573"/>
                <a:gd name="connsiteX571" fmla="*/ 579787 w 1502283"/>
                <a:gd name="connsiteY571" fmla="*/ 238220 h 1161573"/>
                <a:gd name="connsiteX572" fmla="*/ 578644 w 1502283"/>
                <a:gd name="connsiteY572" fmla="*/ 241554 h 1161573"/>
                <a:gd name="connsiteX573" fmla="*/ 582168 w 1502283"/>
                <a:gd name="connsiteY573" fmla="*/ 244316 h 1161573"/>
                <a:gd name="connsiteX574" fmla="*/ 577882 w 1502283"/>
                <a:gd name="connsiteY574" fmla="*/ 248031 h 1161573"/>
                <a:gd name="connsiteX575" fmla="*/ 580072 w 1502283"/>
                <a:gd name="connsiteY575" fmla="*/ 252603 h 1161573"/>
                <a:gd name="connsiteX576" fmla="*/ 583406 w 1502283"/>
                <a:gd name="connsiteY576" fmla="*/ 253746 h 1161573"/>
                <a:gd name="connsiteX577" fmla="*/ 589312 w 1502283"/>
                <a:gd name="connsiteY577" fmla="*/ 249746 h 1161573"/>
                <a:gd name="connsiteX578" fmla="*/ 590074 w 1502283"/>
                <a:gd name="connsiteY578" fmla="*/ 256032 h 1161573"/>
                <a:gd name="connsiteX579" fmla="*/ 587312 w 1502283"/>
                <a:gd name="connsiteY579" fmla="*/ 259556 h 1161573"/>
                <a:gd name="connsiteX580" fmla="*/ 586169 w 1502283"/>
                <a:gd name="connsiteY580" fmla="*/ 262890 h 1161573"/>
                <a:gd name="connsiteX581" fmla="*/ 586930 w 1502283"/>
                <a:gd name="connsiteY581" fmla="*/ 269176 h 1161573"/>
                <a:gd name="connsiteX582" fmla="*/ 584740 w 1502283"/>
                <a:gd name="connsiteY582" fmla="*/ 277463 h 1161573"/>
                <a:gd name="connsiteX583" fmla="*/ 585311 w 1502283"/>
                <a:gd name="connsiteY583" fmla="*/ 282226 h 1161573"/>
                <a:gd name="connsiteX584" fmla="*/ 581978 w 1502283"/>
                <a:gd name="connsiteY584" fmla="*/ 281083 h 1161573"/>
                <a:gd name="connsiteX585" fmla="*/ 582168 w 1502283"/>
                <a:gd name="connsiteY585" fmla="*/ 282702 h 1161573"/>
                <a:gd name="connsiteX586" fmla="*/ 585121 w 1502283"/>
                <a:gd name="connsiteY586" fmla="*/ 293561 h 1161573"/>
                <a:gd name="connsiteX587" fmla="*/ 588264 w 1502283"/>
                <a:gd name="connsiteY587" fmla="*/ 293180 h 1161573"/>
                <a:gd name="connsiteX588" fmla="*/ 582739 w 1502283"/>
                <a:gd name="connsiteY588" fmla="*/ 300323 h 1161573"/>
                <a:gd name="connsiteX589" fmla="*/ 588455 w 1502283"/>
                <a:gd name="connsiteY589" fmla="*/ 307562 h 1161573"/>
                <a:gd name="connsiteX590" fmla="*/ 588645 w 1502283"/>
                <a:gd name="connsiteY590" fmla="*/ 309182 h 1161573"/>
                <a:gd name="connsiteX591" fmla="*/ 592360 w 1502283"/>
                <a:gd name="connsiteY591" fmla="*/ 313563 h 1161573"/>
                <a:gd name="connsiteX592" fmla="*/ 589026 w 1502283"/>
                <a:gd name="connsiteY592" fmla="*/ 312420 h 1161573"/>
                <a:gd name="connsiteX593" fmla="*/ 592360 w 1502283"/>
                <a:gd name="connsiteY593" fmla="*/ 313563 h 1161573"/>
                <a:gd name="connsiteX594" fmla="*/ 591407 w 1502283"/>
                <a:gd name="connsiteY594" fmla="*/ 318516 h 1161573"/>
                <a:gd name="connsiteX595" fmla="*/ 585121 w 1502283"/>
                <a:gd name="connsiteY595" fmla="*/ 319278 h 1161573"/>
                <a:gd name="connsiteX596" fmla="*/ 583978 w 1502283"/>
                <a:gd name="connsiteY596" fmla="*/ 322612 h 1161573"/>
                <a:gd name="connsiteX597" fmla="*/ 576739 w 1502283"/>
                <a:gd name="connsiteY597" fmla="*/ 328327 h 1161573"/>
                <a:gd name="connsiteX598" fmla="*/ 571976 w 1502283"/>
                <a:gd name="connsiteY598" fmla="*/ 328898 h 1161573"/>
                <a:gd name="connsiteX599" fmla="*/ 572167 w 1502283"/>
                <a:gd name="connsiteY599" fmla="*/ 330517 h 1161573"/>
                <a:gd name="connsiteX600" fmla="*/ 568071 w 1502283"/>
                <a:gd name="connsiteY600" fmla="*/ 335851 h 1161573"/>
                <a:gd name="connsiteX601" fmla="*/ 568262 w 1502283"/>
                <a:gd name="connsiteY601" fmla="*/ 337471 h 1161573"/>
                <a:gd name="connsiteX602" fmla="*/ 564928 w 1502283"/>
                <a:gd name="connsiteY602" fmla="*/ 336328 h 1161573"/>
                <a:gd name="connsiteX603" fmla="*/ 564166 w 1502283"/>
                <a:gd name="connsiteY603" fmla="*/ 330041 h 1161573"/>
                <a:gd name="connsiteX604" fmla="*/ 557879 w 1502283"/>
                <a:gd name="connsiteY604" fmla="*/ 330803 h 1161573"/>
                <a:gd name="connsiteX605" fmla="*/ 556450 w 1502283"/>
                <a:gd name="connsiteY605" fmla="*/ 332613 h 1161573"/>
                <a:gd name="connsiteX606" fmla="*/ 557022 w 1502283"/>
                <a:gd name="connsiteY606" fmla="*/ 337375 h 1161573"/>
                <a:gd name="connsiteX607" fmla="*/ 554260 w 1502283"/>
                <a:gd name="connsiteY607" fmla="*/ 340900 h 1161573"/>
                <a:gd name="connsiteX608" fmla="*/ 542639 w 1502283"/>
                <a:gd name="connsiteY608" fmla="*/ 350425 h 1161573"/>
                <a:gd name="connsiteX609" fmla="*/ 539305 w 1502283"/>
                <a:gd name="connsiteY609" fmla="*/ 349282 h 1161573"/>
                <a:gd name="connsiteX610" fmla="*/ 535019 w 1502283"/>
                <a:gd name="connsiteY610" fmla="*/ 352996 h 1161573"/>
                <a:gd name="connsiteX611" fmla="*/ 527113 w 1502283"/>
                <a:gd name="connsiteY611" fmla="*/ 354044 h 1161573"/>
                <a:gd name="connsiteX612" fmla="*/ 525494 w 1502283"/>
                <a:gd name="connsiteY612" fmla="*/ 354235 h 1161573"/>
                <a:gd name="connsiteX613" fmla="*/ 526066 w 1502283"/>
                <a:gd name="connsiteY613" fmla="*/ 358997 h 1161573"/>
                <a:gd name="connsiteX614" fmla="*/ 526256 w 1502283"/>
                <a:gd name="connsiteY614" fmla="*/ 360617 h 1161573"/>
                <a:gd name="connsiteX615" fmla="*/ 524923 w 1502283"/>
                <a:gd name="connsiteY615" fmla="*/ 362426 h 1161573"/>
                <a:gd name="connsiteX616" fmla="*/ 528923 w 1502283"/>
                <a:gd name="connsiteY616" fmla="*/ 368332 h 1161573"/>
                <a:gd name="connsiteX617" fmla="*/ 525971 w 1502283"/>
                <a:gd name="connsiteY617" fmla="*/ 370332 h 1161573"/>
                <a:gd name="connsiteX618" fmla="*/ 526542 w 1502283"/>
                <a:gd name="connsiteY618" fmla="*/ 375095 h 1161573"/>
                <a:gd name="connsiteX619" fmla="*/ 523780 w 1502283"/>
                <a:gd name="connsiteY619" fmla="*/ 378619 h 1161573"/>
                <a:gd name="connsiteX620" fmla="*/ 519017 w 1502283"/>
                <a:gd name="connsiteY620" fmla="*/ 379190 h 1161573"/>
                <a:gd name="connsiteX621" fmla="*/ 516255 w 1502283"/>
                <a:gd name="connsiteY621" fmla="*/ 382715 h 1161573"/>
                <a:gd name="connsiteX622" fmla="*/ 519779 w 1502283"/>
                <a:gd name="connsiteY622" fmla="*/ 385477 h 1161573"/>
                <a:gd name="connsiteX623" fmla="*/ 519970 w 1502283"/>
                <a:gd name="connsiteY623" fmla="*/ 387096 h 1161573"/>
                <a:gd name="connsiteX624" fmla="*/ 515017 w 1502283"/>
                <a:gd name="connsiteY624" fmla="*/ 386144 h 1161573"/>
                <a:gd name="connsiteX625" fmla="*/ 515398 w 1502283"/>
                <a:gd name="connsiteY625" fmla="*/ 389287 h 1161573"/>
                <a:gd name="connsiteX626" fmla="*/ 507682 w 1502283"/>
                <a:gd name="connsiteY626" fmla="*/ 391859 h 1161573"/>
                <a:gd name="connsiteX627" fmla="*/ 505873 w 1502283"/>
                <a:gd name="connsiteY627" fmla="*/ 390525 h 1161573"/>
                <a:gd name="connsiteX628" fmla="*/ 504444 w 1502283"/>
                <a:gd name="connsiteY628" fmla="*/ 392335 h 1161573"/>
                <a:gd name="connsiteX629" fmla="*/ 502253 w 1502283"/>
                <a:gd name="connsiteY629" fmla="*/ 400621 h 1161573"/>
                <a:gd name="connsiteX630" fmla="*/ 503301 w 1502283"/>
                <a:gd name="connsiteY630" fmla="*/ 408527 h 1161573"/>
                <a:gd name="connsiteX631" fmla="*/ 505492 w 1502283"/>
                <a:gd name="connsiteY631" fmla="*/ 413099 h 1161573"/>
                <a:gd name="connsiteX632" fmla="*/ 514921 w 1502283"/>
                <a:gd name="connsiteY632" fmla="*/ 411861 h 1161573"/>
                <a:gd name="connsiteX633" fmla="*/ 515112 w 1502283"/>
                <a:gd name="connsiteY633" fmla="*/ 413480 h 1161573"/>
                <a:gd name="connsiteX634" fmla="*/ 518446 w 1502283"/>
                <a:gd name="connsiteY634" fmla="*/ 414623 h 1161573"/>
                <a:gd name="connsiteX635" fmla="*/ 517493 w 1502283"/>
                <a:gd name="connsiteY635" fmla="*/ 419576 h 1161573"/>
                <a:gd name="connsiteX636" fmla="*/ 524447 w 1502283"/>
                <a:gd name="connsiteY636" fmla="*/ 423482 h 1161573"/>
                <a:gd name="connsiteX637" fmla="*/ 525494 w 1502283"/>
                <a:gd name="connsiteY637" fmla="*/ 431387 h 1161573"/>
                <a:gd name="connsiteX638" fmla="*/ 522351 w 1502283"/>
                <a:gd name="connsiteY638" fmla="*/ 431768 h 1161573"/>
                <a:gd name="connsiteX639" fmla="*/ 521018 w 1502283"/>
                <a:gd name="connsiteY639" fmla="*/ 433578 h 1161573"/>
                <a:gd name="connsiteX640" fmla="*/ 516446 w 1502283"/>
                <a:gd name="connsiteY640" fmla="*/ 435769 h 1161573"/>
                <a:gd name="connsiteX641" fmla="*/ 515112 w 1502283"/>
                <a:gd name="connsiteY641" fmla="*/ 437579 h 1161573"/>
                <a:gd name="connsiteX642" fmla="*/ 511969 w 1502283"/>
                <a:gd name="connsiteY642" fmla="*/ 437959 h 1161573"/>
                <a:gd name="connsiteX643" fmla="*/ 509969 w 1502283"/>
                <a:gd name="connsiteY643" fmla="*/ 435007 h 1161573"/>
                <a:gd name="connsiteX644" fmla="*/ 503682 w 1502283"/>
                <a:gd name="connsiteY644" fmla="*/ 435769 h 1161573"/>
                <a:gd name="connsiteX645" fmla="*/ 502063 w 1502283"/>
                <a:gd name="connsiteY645" fmla="*/ 435959 h 1161573"/>
                <a:gd name="connsiteX646" fmla="*/ 499300 w 1502283"/>
                <a:gd name="connsiteY646" fmla="*/ 439484 h 1161573"/>
                <a:gd name="connsiteX647" fmla="*/ 499872 w 1502283"/>
                <a:gd name="connsiteY647" fmla="*/ 444246 h 1161573"/>
                <a:gd name="connsiteX648" fmla="*/ 495776 w 1502283"/>
                <a:gd name="connsiteY648" fmla="*/ 449580 h 1161573"/>
                <a:gd name="connsiteX649" fmla="*/ 491109 w 1502283"/>
                <a:gd name="connsiteY649" fmla="*/ 463010 h 1161573"/>
                <a:gd name="connsiteX650" fmla="*/ 488537 w 1502283"/>
                <a:gd name="connsiteY650" fmla="*/ 468154 h 1161573"/>
                <a:gd name="connsiteX651" fmla="*/ 490919 w 1502283"/>
                <a:gd name="connsiteY651" fmla="*/ 474250 h 1161573"/>
                <a:gd name="connsiteX652" fmla="*/ 487204 w 1502283"/>
                <a:gd name="connsiteY652" fmla="*/ 482727 h 1161573"/>
                <a:gd name="connsiteX653" fmla="*/ 490728 w 1502283"/>
                <a:gd name="connsiteY653" fmla="*/ 485489 h 1161573"/>
                <a:gd name="connsiteX654" fmla="*/ 495490 w 1502283"/>
                <a:gd name="connsiteY654" fmla="*/ 484918 h 1161573"/>
                <a:gd name="connsiteX655" fmla="*/ 502158 w 1502283"/>
                <a:gd name="connsiteY655" fmla="*/ 487299 h 1161573"/>
                <a:gd name="connsiteX656" fmla="*/ 506921 w 1502283"/>
                <a:gd name="connsiteY656" fmla="*/ 486728 h 1161573"/>
                <a:gd name="connsiteX657" fmla="*/ 510635 w 1502283"/>
                <a:gd name="connsiteY657" fmla="*/ 491014 h 1161573"/>
                <a:gd name="connsiteX658" fmla="*/ 516160 w 1502283"/>
                <a:gd name="connsiteY658" fmla="*/ 496729 h 1161573"/>
                <a:gd name="connsiteX659" fmla="*/ 515207 w 1502283"/>
                <a:gd name="connsiteY659" fmla="*/ 501682 h 1161573"/>
                <a:gd name="connsiteX660" fmla="*/ 513397 w 1502283"/>
                <a:gd name="connsiteY660" fmla="*/ 500348 h 1161573"/>
                <a:gd name="connsiteX661" fmla="*/ 512255 w 1502283"/>
                <a:gd name="connsiteY661" fmla="*/ 503682 h 1161573"/>
                <a:gd name="connsiteX662" fmla="*/ 513683 w 1502283"/>
                <a:gd name="connsiteY662" fmla="*/ 514731 h 1161573"/>
                <a:gd name="connsiteX663" fmla="*/ 518636 w 1502283"/>
                <a:gd name="connsiteY663" fmla="*/ 515684 h 1161573"/>
                <a:gd name="connsiteX664" fmla="*/ 514921 w 1502283"/>
                <a:gd name="connsiteY664" fmla="*/ 524161 h 1161573"/>
                <a:gd name="connsiteX665" fmla="*/ 507968 w 1502283"/>
                <a:gd name="connsiteY665" fmla="*/ 520255 h 1161573"/>
                <a:gd name="connsiteX666" fmla="*/ 508349 w 1502283"/>
                <a:gd name="connsiteY666" fmla="*/ 523399 h 1161573"/>
                <a:gd name="connsiteX667" fmla="*/ 505587 w 1502283"/>
                <a:gd name="connsiteY667" fmla="*/ 526923 h 1161573"/>
                <a:gd name="connsiteX668" fmla="*/ 495681 w 1502283"/>
                <a:gd name="connsiteY668" fmla="*/ 525018 h 1161573"/>
                <a:gd name="connsiteX669" fmla="*/ 487775 w 1502283"/>
                <a:gd name="connsiteY669" fmla="*/ 526066 h 1161573"/>
                <a:gd name="connsiteX670" fmla="*/ 485775 w 1502283"/>
                <a:gd name="connsiteY670" fmla="*/ 535972 h 1161573"/>
                <a:gd name="connsiteX671" fmla="*/ 483013 w 1502283"/>
                <a:gd name="connsiteY671" fmla="*/ 539496 h 1161573"/>
                <a:gd name="connsiteX672" fmla="*/ 487966 w 1502283"/>
                <a:gd name="connsiteY672" fmla="*/ 540449 h 1161573"/>
                <a:gd name="connsiteX673" fmla="*/ 485394 w 1502283"/>
                <a:gd name="connsiteY673" fmla="*/ 545592 h 1161573"/>
                <a:gd name="connsiteX674" fmla="*/ 489966 w 1502283"/>
                <a:gd name="connsiteY674" fmla="*/ 543401 h 1161573"/>
                <a:gd name="connsiteX675" fmla="*/ 492157 w 1502283"/>
                <a:gd name="connsiteY675" fmla="*/ 547973 h 1161573"/>
                <a:gd name="connsiteX676" fmla="*/ 492728 w 1502283"/>
                <a:gd name="connsiteY676" fmla="*/ 552736 h 1161573"/>
                <a:gd name="connsiteX677" fmla="*/ 498253 w 1502283"/>
                <a:gd name="connsiteY677" fmla="*/ 558451 h 1161573"/>
                <a:gd name="connsiteX678" fmla="*/ 495490 w 1502283"/>
                <a:gd name="connsiteY678" fmla="*/ 561975 h 1161573"/>
                <a:gd name="connsiteX679" fmla="*/ 493681 w 1502283"/>
                <a:gd name="connsiteY679" fmla="*/ 560642 h 1161573"/>
                <a:gd name="connsiteX680" fmla="*/ 492728 w 1502283"/>
                <a:gd name="connsiteY680" fmla="*/ 565595 h 1161573"/>
                <a:gd name="connsiteX681" fmla="*/ 490156 w 1502283"/>
                <a:gd name="connsiteY681" fmla="*/ 570738 h 1161573"/>
                <a:gd name="connsiteX682" fmla="*/ 491776 w 1502283"/>
                <a:gd name="connsiteY682" fmla="*/ 570548 h 1161573"/>
                <a:gd name="connsiteX683" fmla="*/ 492919 w 1502283"/>
                <a:gd name="connsiteY683" fmla="*/ 567214 h 1161573"/>
                <a:gd name="connsiteX684" fmla="*/ 497872 w 1502283"/>
                <a:gd name="connsiteY684" fmla="*/ 568166 h 1161573"/>
                <a:gd name="connsiteX685" fmla="*/ 505111 w 1502283"/>
                <a:gd name="connsiteY685" fmla="*/ 562451 h 1161573"/>
                <a:gd name="connsiteX686" fmla="*/ 504539 w 1502283"/>
                <a:gd name="connsiteY686" fmla="*/ 557689 h 1161573"/>
                <a:gd name="connsiteX687" fmla="*/ 507873 w 1502283"/>
                <a:gd name="connsiteY687" fmla="*/ 558832 h 1161573"/>
                <a:gd name="connsiteX688" fmla="*/ 508445 w 1502283"/>
                <a:gd name="connsiteY688" fmla="*/ 563594 h 1161573"/>
                <a:gd name="connsiteX689" fmla="*/ 504730 w 1502283"/>
                <a:gd name="connsiteY689" fmla="*/ 572072 h 1161573"/>
                <a:gd name="connsiteX690" fmla="*/ 512826 w 1502283"/>
                <a:gd name="connsiteY690" fmla="*/ 572643 h 1161573"/>
                <a:gd name="connsiteX691" fmla="*/ 513397 w 1502283"/>
                <a:gd name="connsiteY691" fmla="*/ 577405 h 1161573"/>
                <a:gd name="connsiteX692" fmla="*/ 516541 w 1502283"/>
                <a:gd name="connsiteY692" fmla="*/ 577025 h 1161573"/>
                <a:gd name="connsiteX693" fmla="*/ 513779 w 1502283"/>
                <a:gd name="connsiteY693" fmla="*/ 593408 h 1161573"/>
                <a:gd name="connsiteX694" fmla="*/ 513969 w 1502283"/>
                <a:gd name="connsiteY694" fmla="*/ 595027 h 1161573"/>
                <a:gd name="connsiteX695" fmla="*/ 512159 w 1502283"/>
                <a:gd name="connsiteY695" fmla="*/ 593693 h 1161573"/>
                <a:gd name="connsiteX696" fmla="*/ 509588 w 1502283"/>
                <a:gd name="connsiteY696" fmla="*/ 598837 h 1161573"/>
                <a:gd name="connsiteX697" fmla="*/ 506825 w 1502283"/>
                <a:gd name="connsiteY697" fmla="*/ 602361 h 1161573"/>
                <a:gd name="connsiteX698" fmla="*/ 505682 w 1502283"/>
                <a:gd name="connsiteY698" fmla="*/ 605695 h 1161573"/>
                <a:gd name="connsiteX699" fmla="*/ 501110 w 1502283"/>
                <a:gd name="connsiteY699" fmla="*/ 607886 h 1161573"/>
                <a:gd name="connsiteX700" fmla="*/ 499967 w 1502283"/>
                <a:gd name="connsiteY700" fmla="*/ 611219 h 1161573"/>
                <a:gd name="connsiteX701" fmla="*/ 496824 w 1502283"/>
                <a:gd name="connsiteY701" fmla="*/ 611600 h 1161573"/>
                <a:gd name="connsiteX702" fmla="*/ 492252 w 1502283"/>
                <a:gd name="connsiteY702" fmla="*/ 613791 h 1161573"/>
                <a:gd name="connsiteX703" fmla="*/ 485775 w 1502283"/>
                <a:gd name="connsiteY703" fmla="*/ 613029 h 1161573"/>
                <a:gd name="connsiteX704" fmla="*/ 481013 w 1502283"/>
                <a:gd name="connsiteY704" fmla="*/ 613601 h 1161573"/>
                <a:gd name="connsiteX705" fmla="*/ 480060 w 1502283"/>
                <a:gd name="connsiteY705" fmla="*/ 618554 h 1161573"/>
                <a:gd name="connsiteX706" fmla="*/ 485965 w 1502283"/>
                <a:gd name="connsiteY706" fmla="*/ 627412 h 1161573"/>
                <a:gd name="connsiteX707" fmla="*/ 486346 w 1502283"/>
                <a:gd name="connsiteY707" fmla="*/ 630555 h 1161573"/>
                <a:gd name="connsiteX708" fmla="*/ 481584 w 1502283"/>
                <a:gd name="connsiteY708" fmla="*/ 631126 h 1161573"/>
                <a:gd name="connsiteX709" fmla="*/ 477488 w 1502283"/>
                <a:gd name="connsiteY709" fmla="*/ 636461 h 1161573"/>
                <a:gd name="connsiteX710" fmla="*/ 477869 w 1502283"/>
                <a:gd name="connsiteY710" fmla="*/ 639604 h 1161573"/>
                <a:gd name="connsiteX711" fmla="*/ 473773 w 1502283"/>
                <a:gd name="connsiteY711" fmla="*/ 644938 h 1161573"/>
                <a:gd name="connsiteX712" fmla="*/ 466820 w 1502283"/>
                <a:gd name="connsiteY712" fmla="*/ 641033 h 1161573"/>
                <a:gd name="connsiteX713" fmla="*/ 459296 w 1502283"/>
                <a:gd name="connsiteY713" fmla="*/ 645224 h 1161573"/>
                <a:gd name="connsiteX714" fmla="*/ 454152 w 1502283"/>
                <a:gd name="connsiteY714" fmla="*/ 642652 h 1161573"/>
                <a:gd name="connsiteX715" fmla="*/ 451390 w 1502283"/>
                <a:gd name="connsiteY715" fmla="*/ 646176 h 1161573"/>
                <a:gd name="connsiteX716" fmla="*/ 444437 w 1502283"/>
                <a:gd name="connsiteY716" fmla="*/ 642271 h 1161573"/>
                <a:gd name="connsiteX717" fmla="*/ 439674 w 1502283"/>
                <a:gd name="connsiteY717" fmla="*/ 642842 h 1161573"/>
                <a:gd name="connsiteX718" fmla="*/ 436912 w 1502283"/>
                <a:gd name="connsiteY718" fmla="*/ 646367 h 1161573"/>
                <a:gd name="connsiteX719" fmla="*/ 432149 w 1502283"/>
                <a:gd name="connsiteY719" fmla="*/ 646938 h 1161573"/>
                <a:gd name="connsiteX720" fmla="*/ 421672 w 1502283"/>
                <a:gd name="connsiteY720" fmla="*/ 653034 h 1161573"/>
                <a:gd name="connsiteX721" fmla="*/ 419862 w 1502283"/>
                <a:gd name="connsiteY721" fmla="*/ 651701 h 1161573"/>
                <a:gd name="connsiteX722" fmla="*/ 421672 w 1502283"/>
                <a:gd name="connsiteY722" fmla="*/ 653034 h 1161573"/>
                <a:gd name="connsiteX723" fmla="*/ 416147 w 1502283"/>
                <a:gd name="connsiteY723" fmla="*/ 660178 h 1161573"/>
                <a:gd name="connsiteX724" fmla="*/ 424624 w 1502283"/>
                <a:gd name="connsiteY724" fmla="*/ 663893 h 1161573"/>
                <a:gd name="connsiteX725" fmla="*/ 425196 w 1502283"/>
                <a:gd name="connsiteY725" fmla="*/ 668655 h 1161573"/>
                <a:gd name="connsiteX726" fmla="*/ 428530 w 1502283"/>
                <a:gd name="connsiteY726" fmla="*/ 669798 h 1161573"/>
                <a:gd name="connsiteX727" fmla="*/ 428911 w 1502283"/>
                <a:gd name="connsiteY727" fmla="*/ 672941 h 1161573"/>
                <a:gd name="connsiteX728" fmla="*/ 419862 w 1502283"/>
                <a:gd name="connsiteY728" fmla="*/ 677323 h 1161573"/>
                <a:gd name="connsiteX729" fmla="*/ 417671 w 1502283"/>
                <a:gd name="connsiteY729" fmla="*/ 672751 h 1161573"/>
                <a:gd name="connsiteX730" fmla="*/ 414528 w 1502283"/>
                <a:gd name="connsiteY730" fmla="*/ 673132 h 1161573"/>
                <a:gd name="connsiteX731" fmla="*/ 413575 w 1502283"/>
                <a:gd name="connsiteY731" fmla="*/ 678085 h 1161573"/>
                <a:gd name="connsiteX732" fmla="*/ 410623 w 1502283"/>
                <a:gd name="connsiteY732" fmla="*/ 680085 h 1161573"/>
                <a:gd name="connsiteX733" fmla="*/ 413956 w 1502283"/>
                <a:gd name="connsiteY733" fmla="*/ 681228 h 1161573"/>
                <a:gd name="connsiteX734" fmla="*/ 411004 w 1502283"/>
                <a:gd name="connsiteY734" fmla="*/ 683228 h 1161573"/>
                <a:gd name="connsiteX735" fmla="*/ 409670 w 1502283"/>
                <a:gd name="connsiteY735" fmla="*/ 685038 h 1161573"/>
                <a:gd name="connsiteX736" fmla="*/ 399383 w 1502283"/>
                <a:gd name="connsiteY736" fmla="*/ 679895 h 1161573"/>
                <a:gd name="connsiteX737" fmla="*/ 398050 w 1502283"/>
                <a:gd name="connsiteY737" fmla="*/ 681704 h 1161573"/>
                <a:gd name="connsiteX738" fmla="*/ 396907 w 1502283"/>
                <a:gd name="connsiteY738" fmla="*/ 685038 h 1161573"/>
                <a:gd name="connsiteX739" fmla="*/ 391763 w 1502283"/>
                <a:gd name="connsiteY739" fmla="*/ 682466 h 1161573"/>
                <a:gd name="connsiteX740" fmla="*/ 387001 w 1502283"/>
                <a:gd name="connsiteY740" fmla="*/ 683038 h 1161573"/>
                <a:gd name="connsiteX741" fmla="*/ 385572 w 1502283"/>
                <a:gd name="connsiteY741" fmla="*/ 684848 h 1161573"/>
                <a:gd name="connsiteX742" fmla="*/ 387953 w 1502283"/>
                <a:gd name="connsiteY742" fmla="*/ 690944 h 1161573"/>
                <a:gd name="connsiteX743" fmla="*/ 388144 w 1502283"/>
                <a:gd name="connsiteY743" fmla="*/ 692563 h 1161573"/>
                <a:gd name="connsiteX744" fmla="*/ 384620 w 1502283"/>
                <a:gd name="connsiteY744" fmla="*/ 689801 h 1161573"/>
                <a:gd name="connsiteX745" fmla="*/ 380619 w 1502283"/>
                <a:gd name="connsiteY745" fmla="*/ 683895 h 1161573"/>
                <a:gd name="connsiteX746" fmla="*/ 375666 w 1502283"/>
                <a:gd name="connsiteY746" fmla="*/ 682943 h 1161573"/>
                <a:gd name="connsiteX747" fmla="*/ 374523 w 1502283"/>
                <a:gd name="connsiteY747" fmla="*/ 686276 h 1161573"/>
                <a:gd name="connsiteX748" fmla="*/ 371189 w 1502283"/>
                <a:gd name="connsiteY748" fmla="*/ 685133 h 1161573"/>
                <a:gd name="connsiteX749" fmla="*/ 364046 w 1502283"/>
                <a:gd name="connsiteY749" fmla="*/ 679609 h 1161573"/>
                <a:gd name="connsiteX750" fmla="*/ 362426 w 1502283"/>
                <a:gd name="connsiteY750" fmla="*/ 679799 h 1161573"/>
                <a:gd name="connsiteX751" fmla="*/ 357664 w 1502283"/>
                <a:gd name="connsiteY751" fmla="*/ 680371 h 1161573"/>
                <a:gd name="connsiteX752" fmla="*/ 357473 w 1502283"/>
                <a:gd name="connsiteY752" fmla="*/ 678751 h 1161573"/>
                <a:gd name="connsiteX753" fmla="*/ 352711 w 1502283"/>
                <a:gd name="connsiteY753" fmla="*/ 679323 h 1161573"/>
                <a:gd name="connsiteX754" fmla="*/ 352139 w 1502283"/>
                <a:gd name="connsiteY754" fmla="*/ 674561 h 1161573"/>
                <a:gd name="connsiteX755" fmla="*/ 350330 w 1502283"/>
                <a:gd name="connsiteY755" fmla="*/ 673227 h 1161573"/>
                <a:gd name="connsiteX756" fmla="*/ 347186 w 1502283"/>
                <a:gd name="connsiteY756" fmla="*/ 673608 h 1161573"/>
                <a:gd name="connsiteX757" fmla="*/ 347567 w 1502283"/>
                <a:gd name="connsiteY757" fmla="*/ 676751 h 1161573"/>
                <a:gd name="connsiteX758" fmla="*/ 349568 w 1502283"/>
                <a:gd name="connsiteY758" fmla="*/ 679704 h 1161573"/>
                <a:gd name="connsiteX759" fmla="*/ 348805 w 1502283"/>
                <a:gd name="connsiteY759" fmla="*/ 686181 h 1161573"/>
                <a:gd name="connsiteX760" fmla="*/ 344043 w 1502283"/>
                <a:gd name="connsiteY760" fmla="*/ 686753 h 1161573"/>
                <a:gd name="connsiteX761" fmla="*/ 340138 w 1502283"/>
                <a:gd name="connsiteY761" fmla="*/ 693706 h 1161573"/>
                <a:gd name="connsiteX762" fmla="*/ 336995 w 1502283"/>
                <a:gd name="connsiteY762" fmla="*/ 694087 h 1161573"/>
                <a:gd name="connsiteX763" fmla="*/ 334042 w 1502283"/>
                <a:gd name="connsiteY763" fmla="*/ 696087 h 1161573"/>
                <a:gd name="connsiteX764" fmla="*/ 325946 w 1502283"/>
                <a:gd name="connsiteY764" fmla="*/ 695516 h 1161573"/>
                <a:gd name="connsiteX765" fmla="*/ 319469 w 1502283"/>
                <a:gd name="connsiteY765" fmla="*/ 694754 h 1161573"/>
                <a:gd name="connsiteX766" fmla="*/ 312325 w 1502283"/>
                <a:gd name="connsiteY766" fmla="*/ 689229 h 1161573"/>
                <a:gd name="connsiteX767" fmla="*/ 310324 w 1502283"/>
                <a:gd name="connsiteY767" fmla="*/ 686276 h 1161573"/>
                <a:gd name="connsiteX768" fmla="*/ 313468 w 1502283"/>
                <a:gd name="connsiteY768" fmla="*/ 685895 h 1161573"/>
                <a:gd name="connsiteX769" fmla="*/ 309944 w 1502283"/>
                <a:gd name="connsiteY769" fmla="*/ 683133 h 1161573"/>
                <a:gd name="connsiteX770" fmla="*/ 309753 w 1502283"/>
                <a:gd name="connsiteY770" fmla="*/ 681514 h 1161573"/>
                <a:gd name="connsiteX771" fmla="*/ 310134 w 1502283"/>
                <a:gd name="connsiteY771" fmla="*/ 684657 h 1161573"/>
                <a:gd name="connsiteX772" fmla="*/ 308800 w 1502283"/>
                <a:gd name="connsiteY772" fmla="*/ 686467 h 1161573"/>
                <a:gd name="connsiteX773" fmla="*/ 306800 w 1502283"/>
                <a:gd name="connsiteY773" fmla="*/ 683514 h 1161573"/>
                <a:gd name="connsiteX774" fmla="*/ 303657 w 1502283"/>
                <a:gd name="connsiteY774" fmla="*/ 683895 h 1161573"/>
                <a:gd name="connsiteX775" fmla="*/ 303276 w 1502283"/>
                <a:gd name="connsiteY775" fmla="*/ 680752 h 1161573"/>
                <a:gd name="connsiteX776" fmla="*/ 305086 w 1502283"/>
                <a:gd name="connsiteY776" fmla="*/ 682085 h 1161573"/>
                <a:gd name="connsiteX777" fmla="*/ 303086 w 1502283"/>
                <a:gd name="connsiteY777" fmla="*/ 679133 h 1161573"/>
                <a:gd name="connsiteX778" fmla="*/ 304514 w 1502283"/>
                <a:gd name="connsiteY778" fmla="*/ 677323 h 1161573"/>
                <a:gd name="connsiteX779" fmla="*/ 305657 w 1502283"/>
                <a:gd name="connsiteY779" fmla="*/ 673989 h 1161573"/>
                <a:gd name="connsiteX780" fmla="*/ 302323 w 1502283"/>
                <a:gd name="connsiteY780" fmla="*/ 672846 h 1161573"/>
                <a:gd name="connsiteX781" fmla="*/ 300133 w 1502283"/>
                <a:gd name="connsiteY781" fmla="*/ 668274 h 1161573"/>
                <a:gd name="connsiteX782" fmla="*/ 299752 w 1502283"/>
                <a:gd name="connsiteY782" fmla="*/ 665131 h 1161573"/>
                <a:gd name="connsiteX783" fmla="*/ 297752 w 1502283"/>
                <a:gd name="connsiteY783" fmla="*/ 662178 h 1161573"/>
                <a:gd name="connsiteX784" fmla="*/ 290513 w 1502283"/>
                <a:gd name="connsiteY784" fmla="*/ 667893 h 1161573"/>
                <a:gd name="connsiteX785" fmla="*/ 286607 w 1502283"/>
                <a:gd name="connsiteY785" fmla="*/ 674846 h 1161573"/>
                <a:gd name="connsiteX786" fmla="*/ 276130 w 1502283"/>
                <a:gd name="connsiteY786" fmla="*/ 668179 h 1161573"/>
                <a:gd name="connsiteX787" fmla="*/ 276130 w 1502283"/>
                <a:gd name="connsiteY787" fmla="*/ 681038 h 1161573"/>
                <a:gd name="connsiteX788" fmla="*/ 279559 w 1502283"/>
                <a:gd name="connsiteY788" fmla="*/ 682180 h 1161573"/>
                <a:gd name="connsiteX789" fmla="*/ 270700 w 1502283"/>
                <a:gd name="connsiteY789" fmla="*/ 688086 h 1161573"/>
                <a:gd name="connsiteX790" fmla="*/ 265176 w 1502283"/>
                <a:gd name="connsiteY790" fmla="*/ 695230 h 1161573"/>
                <a:gd name="connsiteX791" fmla="*/ 263176 w 1502283"/>
                <a:gd name="connsiteY791" fmla="*/ 692277 h 1161573"/>
                <a:gd name="connsiteX792" fmla="*/ 260223 w 1502283"/>
                <a:gd name="connsiteY792" fmla="*/ 694277 h 1161573"/>
                <a:gd name="connsiteX793" fmla="*/ 255270 w 1502283"/>
                <a:gd name="connsiteY793" fmla="*/ 693325 h 1161573"/>
                <a:gd name="connsiteX794" fmla="*/ 256699 w 1502283"/>
                <a:gd name="connsiteY794" fmla="*/ 691515 h 1161573"/>
                <a:gd name="connsiteX795" fmla="*/ 261461 w 1502283"/>
                <a:gd name="connsiteY795" fmla="*/ 690944 h 1161573"/>
                <a:gd name="connsiteX796" fmla="*/ 261271 w 1502283"/>
                <a:gd name="connsiteY796" fmla="*/ 689324 h 1161573"/>
                <a:gd name="connsiteX797" fmla="*/ 250793 w 1502283"/>
                <a:gd name="connsiteY797" fmla="*/ 682657 h 1161573"/>
                <a:gd name="connsiteX798" fmla="*/ 246031 w 1502283"/>
                <a:gd name="connsiteY798" fmla="*/ 683228 h 1161573"/>
                <a:gd name="connsiteX799" fmla="*/ 242697 w 1502283"/>
                <a:gd name="connsiteY799" fmla="*/ 682085 h 1161573"/>
                <a:gd name="connsiteX800" fmla="*/ 245078 w 1502283"/>
                <a:gd name="connsiteY800" fmla="*/ 688181 h 1161573"/>
                <a:gd name="connsiteX801" fmla="*/ 242316 w 1502283"/>
                <a:gd name="connsiteY801" fmla="*/ 691705 h 1161573"/>
                <a:gd name="connsiteX802" fmla="*/ 242888 w 1502283"/>
                <a:gd name="connsiteY802" fmla="*/ 696468 h 1161573"/>
                <a:gd name="connsiteX803" fmla="*/ 238982 w 1502283"/>
                <a:gd name="connsiteY803" fmla="*/ 703421 h 1161573"/>
                <a:gd name="connsiteX804" fmla="*/ 242316 w 1502283"/>
                <a:gd name="connsiteY804" fmla="*/ 704564 h 1161573"/>
                <a:gd name="connsiteX805" fmla="*/ 240982 w 1502283"/>
                <a:gd name="connsiteY805" fmla="*/ 706374 h 1161573"/>
                <a:gd name="connsiteX806" fmla="*/ 239363 w 1502283"/>
                <a:gd name="connsiteY806" fmla="*/ 706565 h 1161573"/>
                <a:gd name="connsiteX807" fmla="*/ 241554 w 1502283"/>
                <a:gd name="connsiteY807" fmla="*/ 711137 h 1161573"/>
                <a:gd name="connsiteX808" fmla="*/ 239935 w 1502283"/>
                <a:gd name="connsiteY808" fmla="*/ 711327 h 1161573"/>
                <a:gd name="connsiteX809" fmla="*/ 236791 w 1502283"/>
                <a:gd name="connsiteY809" fmla="*/ 711708 h 1161573"/>
                <a:gd name="connsiteX810" fmla="*/ 234029 w 1502283"/>
                <a:gd name="connsiteY810" fmla="*/ 715232 h 1161573"/>
                <a:gd name="connsiteX811" fmla="*/ 237554 w 1502283"/>
                <a:gd name="connsiteY811" fmla="*/ 717995 h 1161573"/>
                <a:gd name="connsiteX812" fmla="*/ 231457 w 1502283"/>
                <a:gd name="connsiteY812" fmla="*/ 720376 h 1161573"/>
                <a:gd name="connsiteX813" fmla="*/ 230696 w 1502283"/>
                <a:gd name="connsiteY813" fmla="*/ 714089 h 1161573"/>
                <a:gd name="connsiteX814" fmla="*/ 227552 w 1502283"/>
                <a:gd name="connsiteY814" fmla="*/ 714470 h 1161573"/>
                <a:gd name="connsiteX815" fmla="*/ 219075 w 1502283"/>
                <a:gd name="connsiteY815" fmla="*/ 710755 h 1161573"/>
                <a:gd name="connsiteX816" fmla="*/ 216503 w 1502283"/>
                <a:gd name="connsiteY816" fmla="*/ 715899 h 1161573"/>
                <a:gd name="connsiteX817" fmla="*/ 209550 w 1502283"/>
                <a:gd name="connsiteY817" fmla="*/ 711994 h 1161573"/>
                <a:gd name="connsiteX818" fmla="*/ 204025 w 1502283"/>
                <a:gd name="connsiteY818" fmla="*/ 719138 h 1161573"/>
                <a:gd name="connsiteX819" fmla="*/ 197072 w 1502283"/>
                <a:gd name="connsiteY819" fmla="*/ 715232 h 1161573"/>
                <a:gd name="connsiteX820" fmla="*/ 194500 w 1502283"/>
                <a:gd name="connsiteY820" fmla="*/ 720376 h 1161573"/>
                <a:gd name="connsiteX821" fmla="*/ 187166 w 1502283"/>
                <a:gd name="connsiteY821" fmla="*/ 726091 h 1161573"/>
                <a:gd name="connsiteX822" fmla="*/ 185547 w 1502283"/>
                <a:gd name="connsiteY822" fmla="*/ 726281 h 1161573"/>
                <a:gd name="connsiteX823" fmla="*/ 181451 w 1502283"/>
                <a:gd name="connsiteY823" fmla="*/ 731615 h 1161573"/>
                <a:gd name="connsiteX824" fmla="*/ 187928 w 1502283"/>
                <a:gd name="connsiteY824" fmla="*/ 732377 h 1161573"/>
                <a:gd name="connsiteX825" fmla="*/ 188119 w 1502283"/>
                <a:gd name="connsiteY825" fmla="*/ 733997 h 1161573"/>
                <a:gd name="connsiteX826" fmla="*/ 186499 w 1502283"/>
                <a:gd name="connsiteY826" fmla="*/ 734187 h 1161573"/>
                <a:gd name="connsiteX827" fmla="*/ 185356 w 1502283"/>
                <a:gd name="connsiteY827" fmla="*/ 737521 h 1161573"/>
                <a:gd name="connsiteX828" fmla="*/ 180594 w 1502283"/>
                <a:gd name="connsiteY828" fmla="*/ 738092 h 1161573"/>
                <a:gd name="connsiteX829" fmla="*/ 180594 w 1502283"/>
                <a:gd name="connsiteY829" fmla="*/ 738092 h 1161573"/>
                <a:gd name="connsiteX830" fmla="*/ 178403 w 1502283"/>
                <a:gd name="connsiteY830" fmla="*/ 746379 h 1161573"/>
                <a:gd name="connsiteX831" fmla="*/ 170879 w 1502283"/>
                <a:gd name="connsiteY831" fmla="*/ 750570 h 1161573"/>
                <a:gd name="connsiteX832" fmla="*/ 158020 w 1502283"/>
                <a:gd name="connsiteY832" fmla="*/ 750570 h 1161573"/>
                <a:gd name="connsiteX833" fmla="*/ 154686 w 1502283"/>
                <a:gd name="connsiteY833" fmla="*/ 749427 h 1161573"/>
                <a:gd name="connsiteX834" fmla="*/ 154877 w 1502283"/>
                <a:gd name="connsiteY834" fmla="*/ 751046 h 1161573"/>
                <a:gd name="connsiteX835" fmla="*/ 154496 w 1502283"/>
                <a:gd name="connsiteY835" fmla="*/ 760762 h 1161573"/>
                <a:gd name="connsiteX836" fmla="*/ 154686 w 1502283"/>
                <a:gd name="connsiteY836" fmla="*/ 762381 h 1161573"/>
                <a:gd name="connsiteX837" fmla="*/ 151924 w 1502283"/>
                <a:gd name="connsiteY837" fmla="*/ 765905 h 1161573"/>
                <a:gd name="connsiteX838" fmla="*/ 146590 w 1502283"/>
                <a:gd name="connsiteY838" fmla="*/ 761809 h 1161573"/>
                <a:gd name="connsiteX839" fmla="*/ 142875 w 1502283"/>
                <a:gd name="connsiteY839" fmla="*/ 770287 h 1161573"/>
                <a:gd name="connsiteX840" fmla="*/ 139541 w 1502283"/>
                <a:gd name="connsiteY840" fmla="*/ 769144 h 1161573"/>
                <a:gd name="connsiteX841" fmla="*/ 141351 w 1502283"/>
                <a:gd name="connsiteY841" fmla="*/ 770477 h 1161573"/>
                <a:gd name="connsiteX842" fmla="*/ 141541 w 1502283"/>
                <a:gd name="connsiteY842" fmla="*/ 772097 h 1161573"/>
                <a:gd name="connsiteX843" fmla="*/ 143351 w 1502283"/>
                <a:gd name="connsiteY843" fmla="*/ 773430 h 1161573"/>
                <a:gd name="connsiteX844" fmla="*/ 140779 w 1502283"/>
                <a:gd name="connsiteY844" fmla="*/ 778574 h 1161573"/>
                <a:gd name="connsiteX845" fmla="*/ 141351 w 1502283"/>
                <a:gd name="connsiteY845" fmla="*/ 783336 h 1161573"/>
                <a:gd name="connsiteX846" fmla="*/ 138208 w 1502283"/>
                <a:gd name="connsiteY846" fmla="*/ 783717 h 1161573"/>
                <a:gd name="connsiteX847" fmla="*/ 135446 w 1502283"/>
                <a:gd name="connsiteY847" fmla="*/ 787241 h 1161573"/>
                <a:gd name="connsiteX848" fmla="*/ 133255 w 1502283"/>
                <a:gd name="connsiteY848" fmla="*/ 782669 h 1161573"/>
                <a:gd name="connsiteX849" fmla="*/ 127921 w 1502283"/>
                <a:gd name="connsiteY849" fmla="*/ 778574 h 1161573"/>
                <a:gd name="connsiteX850" fmla="*/ 125539 w 1502283"/>
                <a:gd name="connsiteY850" fmla="*/ 772478 h 1161573"/>
                <a:gd name="connsiteX851" fmla="*/ 118396 w 1502283"/>
                <a:gd name="connsiteY851" fmla="*/ 766953 h 1161573"/>
                <a:gd name="connsiteX852" fmla="*/ 118015 w 1502283"/>
                <a:gd name="connsiteY852" fmla="*/ 763810 h 1161573"/>
                <a:gd name="connsiteX853" fmla="*/ 108585 w 1502283"/>
                <a:gd name="connsiteY853" fmla="*/ 765048 h 1161573"/>
                <a:gd name="connsiteX854" fmla="*/ 102870 w 1502283"/>
                <a:gd name="connsiteY854" fmla="*/ 770573 h 1161573"/>
                <a:gd name="connsiteX855" fmla="*/ 99917 w 1502283"/>
                <a:gd name="connsiteY855" fmla="*/ 772573 h 1161573"/>
                <a:gd name="connsiteX856" fmla="*/ 99536 w 1502283"/>
                <a:gd name="connsiteY856" fmla="*/ 769430 h 1161573"/>
                <a:gd name="connsiteX857" fmla="*/ 94774 w 1502283"/>
                <a:gd name="connsiteY857" fmla="*/ 770001 h 1161573"/>
                <a:gd name="connsiteX858" fmla="*/ 92773 w 1502283"/>
                <a:gd name="connsiteY858" fmla="*/ 767048 h 1161573"/>
                <a:gd name="connsiteX859" fmla="*/ 89630 w 1502283"/>
                <a:gd name="connsiteY859" fmla="*/ 767429 h 1161573"/>
                <a:gd name="connsiteX860" fmla="*/ 85058 w 1502283"/>
                <a:gd name="connsiteY860" fmla="*/ 769620 h 1161573"/>
                <a:gd name="connsiteX861" fmla="*/ 89440 w 1502283"/>
                <a:gd name="connsiteY861" fmla="*/ 778669 h 1161573"/>
                <a:gd name="connsiteX862" fmla="*/ 88106 w 1502283"/>
                <a:gd name="connsiteY862" fmla="*/ 780479 h 1161573"/>
                <a:gd name="connsiteX863" fmla="*/ 83534 w 1502283"/>
                <a:gd name="connsiteY863" fmla="*/ 782669 h 1161573"/>
                <a:gd name="connsiteX864" fmla="*/ 84106 w 1502283"/>
                <a:gd name="connsiteY864" fmla="*/ 787432 h 1161573"/>
                <a:gd name="connsiteX865" fmla="*/ 77819 w 1502283"/>
                <a:gd name="connsiteY865" fmla="*/ 788194 h 1161573"/>
                <a:gd name="connsiteX866" fmla="*/ 79820 w 1502283"/>
                <a:gd name="connsiteY866" fmla="*/ 791147 h 1161573"/>
                <a:gd name="connsiteX867" fmla="*/ 78677 w 1502283"/>
                <a:gd name="connsiteY867" fmla="*/ 794480 h 1161573"/>
                <a:gd name="connsiteX868" fmla="*/ 76105 w 1502283"/>
                <a:gd name="connsiteY868" fmla="*/ 799624 h 1161573"/>
                <a:gd name="connsiteX869" fmla="*/ 72771 w 1502283"/>
                <a:gd name="connsiteY869" fmla="*/ 798481 h 1161573"/>
                <a:gd name="connsiteX870" fmla="*/ 70390 w 1502283"/>
                <a:gd name="connsiteY870" fmla="*/ 792385 h 1161573"/>
                <a:gd name="connsiteX871" fmla="*/ 67437 w 1502283"/>
                <a:gd name="connsiteY871" fmla="*/ 794385 h 1161573"/>
                <a:gd name="connsiteX872" fmla="*/ 64294 w 1502283"/>
                <a:gd name="connsiteY872" fmla="*/ 794766 h 1161573"/>
                <a:gd name="connsiteX873" fmla="*/ 59150 w 1502283"/>
                <a:gd name="connsiteY873" fmla="*/ 792194 h 1161573"/>
                <a:gd name="connsiteX874" fmla="*/ 57150 w 1502283"/>
                <a:gd name="connsiteY874" fmla="*/ 789242 h 1161573"/>
                <a:gd name="connsiteX875" fmla="*/ 59531 w 1502283"/>
                <a:gd name="connsiteY875" fmla="*/ 782479 h 1161573"/>
                <a:gd name="connsiteX876" fmla="*/ 56197 w 1502283"/>
                <a:gd name="connsiteY876" fmla="*/ 781336 h 1161573"/>
                <a:gd name="connsiteX877" fmla="*/ 54007 w 1502283"/>
                <a:gd name="connsiteY877" fmla="*/ 776764 h 1161573"/>
                <a:gd name="connsiteX878" fmla="*/ 50482 w 1502283"/>
                <a:gd name="connsiteY878" fmla="*/ 774001 h 1161573"/>
                <a:gd name="connsiteX879" fmla="*/ 44387 w 1502283"/>
                <a:gd name="connsiteY879" fmla="*/ 776383 h 1161573"/>
                <a:gd name="connsiteX880" fmla="*/ 46958 w 1502283"/>
                <a:gd name="connsiteY880" fmla="*/ 784098 h 1161573"/>
                <a:gd name="connsiteX881" fmla="*/ 34862 w 1502283"/>
                <a:gd name="connsiteY881" fmla="*/ 777621 h 1161573"/>
                <a:gd name="connsiteX882" fmla="*/ 28575 w 1502283"/>
                <a:gd name="connsiteY882" fmla="*/ 778383 h 1161573"/>
                <a:gd name="connsiteX883" fmla="*/ 31909 w 1502283"/>
                <a:gd name="connsiteY883" fmla="*/ 779526 h 1161573"/>
                <a:gd name="connsiteX884" fmla="*/ 35052 w 1502283"/>
                <a:gd name="connsiteY884" fmla="*/ 779145 h 1161573"/>
                <a:gd name="connsiteX885" fmla="*/ 35433 w 1502283"/>
                <a:gd name="connsiteY885" fmla="*/ 782288 h 1161573"/>
                <a:gd name="connsiteX886" fmla="*/ 38576 w 1502283"/>
                <a:gd name="connsiteY886" fmla="*/ 781907 h 1161573"/>
                <a:gd name="connsiteX887" fmla="*/ 32671 w 1502283"/>
                <a:gd name="connsiteY887" fmla="*/ 785908 h 1161573"/>
                <a:gd name="connsiteX888" fmla="*/ 30099 w 1502283"/>
                <a:gd name="connsiteY888" fmla="*/ 791051 h 1161573"/>
                <a:gd name="connsiteX889" fmla="*/ 28766 w 1502283"/>
                <a:gd name="connsiteY889" fmla="*/ 792861 h 1161573"/>
                <a:gd name="connsiteX890" fmla="*/ 27432 w 1502283"/>
                <a:gd name="connsiteY890" fmla="*/ 794671 h 1161573"/>
                <a:gd name="connsiteX891" fmla="*/ 24289 w 1502283"/>
                <a:gd name="connsiteY891" fmla="*/ 795052 h 1161573"/>
                <a:gd name="connsiteX892" fmla="*/ 19336 w 1502283"/>
                <a:gd name="connsiteY892" fmla="*/ 794099 h 1161573"/>
                <a:gd name="connsiteX893" fmla="*/ 18764 w 1502283"/>
                <a:gd name="connsiteY893" fmla="*/ 789337 h 1161573"/>
                <a:gd name="connsiteX894" fmla="*/ 13811 w 1502283"/>
                <a:gd name="connsiteY894" fmla="*/ 788384 h 1161573"/>
                <a:gd name="connsiteX895" fmla="*/ 13049 w 1502283"/>
                <a:gd name="connsiteY895" fmla="*/ 794861 h 1161573"/>
                <a:gd name="connsiteX896" fmla="*/ 15050 w 1502283"/>
                <a:gd name="connsiteY896" fmla="*/ 797814 h 1161573"/>
                <a:gd name="connsiteX897" fmla="*/ 16383 w 1502283"/>
                <a:gd name="connsiteY897" fmla="*/ 796004 h 1161573"/>
                <a:gd name="connsiteX898" fmla="*/ 16573 w 1502283"/>
                <a:gd name="connsiteY898" fmla="*/ 797624 h 1161573"/>
                <a:gd name="connsiteX899" fmla="*/ 19907 w 1502283"/>
                <a:gd name="connsiteY899" fmla="*/ 798767 h 1161573"/>
                <a:gd name="connsiteX900" fmla="*/ 21717 w 1502283"/>
                <a:gd name="connsiteY900" fmla="*/ 800100 h 1161573"/>
                <a:gd name="connsiteX901" fmla="*/ 20764 w 1502283"/>
                <a:gd name="connsiteY901" fmla="*/ 805053 h 1161573"/>
                <a:gd name="connsiteX902" fmla="*/ 17431 w 1502283"/>
                <a:gd name="connsiteY902" fmla="*/ 803910 h 1161573"/>
                <a:gd name="connsiteX903" fmla="*/ 14668 w 1502283"/>
                <a:gd name="connsiteY903" fmla="*/ 807434 h 1161573"/>
                <a:gd name="connsiteX904" fmla="*/ 13049 w 1502283"/>
                <a:gd name="connsiteY904" fmla="*/ 807625 h 1161573"/>
                <a:gd name="connsiteX905" fmla="*/ 14859 w 1502283"/>
                <a:gd name="connsiteY905" fmla="*/ 808958 h 1161573"/>
                <a:gd name="connsiteX906" fmla="*/ 21336 w 1502283"/>
                <a:gd name="connsiteY906" fmla="*/ 809720 h 1161573"/>
                <a:gd name="connsiteX907" fmla="*/ 16764 w 1502283"/>
                <a:gd name="connsiteY907" fmla="*/ 811911 h 1161573"/>
                <a:gd name="connsiteX908" fmla="*/ 14002 w 1502283"/>
                <a:gd name="connsiteY908" fmla="*/ 815435 h 1161573"/>
                <a:gd name="connsiteX909" fmla="*/ 8858 w 1502283"/>
                <a:gd name="connsiteY909" fmla="*/ 812864 h 1161573"/>
                <a:gd name="connsiteX910" fmla="*/ 7525 w 1502283"/>
                <a:gd name="connsiteY910" fmla="*/ 814673 h 1161573"/>
                <a:gd name="connsiteX911" fmla="*/ 8287 w 1502283"/>
                <a:gd name="connsiteY911" fmla="*/ 820960 h 1161573"/>
                <a:gd name="connsiteX912" fmla="*/ 6667 w 1502283"/>
                <a:gd name="connsiteY912" fmla="*/ 821150 h 1161573"/>
                <a:gd name="connsiteX913" fmla="*/ 0 w 1502283"/>
                <a:gd name="connsiteY913" fmla="*/ 831628 h 1161573"/>
                <a:gd name="connsiteX914" fmla="*/ 13430 w 1502283"/>
                <a:gd name="connsiteY914" fmla="*/ 836295 h 1161573"/>
                <a:gd name="connsiteX915" fmla="*/ 27432 w 1502283"/>
                <a:gd name="connsiteY915" fmla="*/ 845725 h 1161573"/>
                <a:gd name="connsiteX916" fmla="*/ 43434 w 1502283"/>
                <a:gd name="connsiteY916" fmla="*/ 845249 h 1161573"/>
                <a:gd name="connsiteX917" fmla="*/ 49911 w 1502283"/>
                <a:gd name="connsiteY917" fmla="*/ 846010 h 1161573"/>
                <a:gd name="connsiteX918" fmla="*/ 52864 w 1502283"/>
                <a:gd name="connsiteY918" fmla="*/ 844010 h 1161573"/>
                <a:gd name="connsiteX919" fmla="*/ 58198 w 1502283"/>
                <a:gd name="connsiteY919" fmla="*/ 848106 h 1161573"/>
                <a:gd name="connsiteX920" fmla="*/ 65913 w 1502283"/>
                <a:gd name="connsiteY920" fmla="*/ 858393 h 1161573"/>
                <a:gd name="connsiteX921" fmla="*/ 70675 w 1502283"/>
                <a:gd name="connsiteY921" fmla="*/ 857822 h 1161573"/>
                <a:gd name="connsiteX922" fmla="*/ 68866 w 1502283"/>
                <a:gd name="connsiteY922" fmla="*/ 856488 h 1161573"/>
                <a:gd name="connsiteX923" fmla="*/ 82487 w 1502283"/>
                <a:gd name="connsiteY923" fmla="*/ 862775 h 1161573"/>
                <a:gd name="connsiteX924" fmla="*/ 91821 w 1502283"/>
                <a:gd name="connsiteY924" fmla="*/ 872776 h 1161573"/>
                <a:gd name="connsiteX925" fmla="*/ 95821 w 1502283"/>
                <a:gd name="connsiteY925" fmla="*/ 878681 h 1161573"/>
                <a:gd name="connsiteX926" fmla="*/ 102965 w 1502283"/>
                <a:gd name="connsiteY926" fmla="*/ 884206 h 1161573"/>
                <a:gd name="connsiteX927" fmla="*/ 107156 w 1502283"/>
                <a:gd name="connsiteY927" fmla="*/ 891731 h 1161573"/>
                <a:gd name="connsiteX928" fmla="*/ 110490 w 1502283"/>
                <a:gd name="connsiteY928" fmla="*/ 892874 h 1161573"/>
                <a:gd name="connsiteX929" fmla="*/ 114776 w 1502283"/>
                <a:gd name="connsiteY929" fmla="*/ 889159 h 1161573"/>
                <a:gd name="connsiteX930" fmla="*/ 122682 w 1502283"/>
                <a:gd name="connsiteY930" fmla="*/ 888111 h 1161573"/>
                <a:gd name="connsiteX931" fmla="*/ 125825 w 1502283"/>
                <a:gd name="connsiteY931" fmla="*/ 887730 h 1161573"/>
                <a:gd name="connsiteX932" fmla="*/ 126016 w 1502283"/>
                <a:gd name="connsiteY932" fmla="*/ 889349 h 1161573"/>
                <a:gd name="connsiteX933" fmla="*/ 144208 w 1502283"/>
                <a:gd name="connsiteY933" fmla="*/ 893445 h 1161573"/>
                <a:gd name="connsiteX934" fmla="*/ 154305 w 1502283"/>
                <a:gd name="connsiteY934" fmla="*/ 896969 h 1161573"/>
                <a:gd name="connsiteX935" fmla="*/ 165545 w 1502283"/>
                <a:gd name="connsiteY935" fmla="*/ 884301 h 1161573"/>
                <a:gd name="connsiteX936" fmla="*/ 169259 w 1502283"/>
                <a:gd name="connsiteY936" fmla="*/ 875824 h 1161573"/>
                <a:gd name="connsiteX937" fmla="*/ 171831 w 1502283"/>
                <a:gd name="connsiteY937" fmla="*/ 870680 h 1161573"/>
                <a:gd name="connsiteX938" fmla="*/ 181546 w 1502283"/>
                <a:gd name="connsiteY938" fmla="*/ 871061 h 1161573"/>
                <a:gd name="connsiteX939" fmla="*/ 191643 w 1502283"/>
                <a:gd name="connsiteY939" fmla="*/ 874585 h 1161573"/>
                <a:gd name="connsiteX940" fmla="*/ 202692 w 1502283"/>
                <a:gd name="connsiteY940" fmla="*/ 873157 h 1161573"/>
                <a:gd name="connsiteX941" fmla="*/ 206026 w 1502283"/>
                <a:gd name="connsiteY941" fmla="*/ 874300 h 1161573"/>
                <a:gd name="connsiteX942" fmla="*/ 209169 w 1502283"/>
                <a:gd name="connsiteY942" fmla="*/ 873919 h 1161573"/>
                <a:gd name="connsiteX943" fmla="*/ 214694 w 1502283"/>
                <a:gd name="connsiteY943" fmla="*/ 866775 h 1161573"/>
                <a:gd name="connsiteX944" fmla="*/ 216884 w 1502283"/>
                <a:gd name="connsiteY944" fmla="*/ 871347 h 1161573"/>
                <a:gd name="connsiteX945" fmla="*/ 222599 w 1502283"/>
                <a:gd name="connsiteY945" fmla="*/ 878681 h 1161573"/>
                <a:gd name="connsiteX946" fmla="*/ 221456 w 1502283"/>
                <a:gd name="connsiteY946" fmla="*/ 882015 h 1161573"/>
                <a:gd name="connsiteX947" fmla="*/ 216884 w 1502283"/>
                <a:gd name="connsiteY947" fmla="*/ 884206 h 1161573"/>
                <a:gd name="connsiteX948" fmla="*/ 217456 w 1502283"/>
                <a:gd name="connsiteY948" fmla="*/ 888968 h 1161573"/>
                <a:gd name="connsiteX949" fmla="*/ 227362 w 1502283"/>
                <a:gd name="connsiteY949" fmla="*/ 890873 h 1161573"/>
                <a:gd name="connsiteX950" fmla="*/ 232886 w 1502283"/>
                <a:gd name="connsiteY950" fmla="*/ 896588 h 1161573"/>
                <a:gd name="connsiteX951" fmla="*/ 240602 w 1502283"/>
                <a:gd name="connsiteY951" fmla="*/ 894017 h 1161573"/>
                <a:gd name="connsiteX952" fmla="*/ 240030 w 1502283"/>
                <a:gd name="connsiteY952" fmla="*/ 889254 h 1161573"/>
                <a:gd name="connsiteX953" fmla="*/ 238220 w 1502283"/>
                <a:gd name="connsiteY953" fmla="*/ 887921 h 1161573"/>
                <a:gd name="connsiteX954" fmla="*/ 241363 w 1502283"/>
                <a:gd name="connsiteY954" fmla="*/ 887540 h 1161573"/>
                <a:gd name="connsiteX955" fmla="*/ 243364 w 1502283"/>
                <a:gd name="connsiteY955" fmla="*/ 890492 h 1161573"/>
                <a:gd name="connsiteX956" fmla="*/ 243554 w 1502283"/>
                <a:gd name="connsiteY956" fmla="*/ 892111 h 1161573"/>
                <a:gd name="connsiteX957" fmla="*/ 243364 w 1502283"/>
                <a:gd name="connsiteY957" fmla="*/ 903351 h 1161573"/>
                <a:gd name="connsiteX958" fmla="*/ 247079 w 1502283"/>
                <a:gd name="connsiteY958" fmla="*/ 907637 h 1161573"/>
                <a:gd name="connsiteX959" fmla="*/ 250222 w 1502283"/>
                <a:gd name="connsiteY959" fmla="*/ 907256 h 1161573"/>
                <a:gd name="connsiteX960" fmla="*/ 255746 w 1502283"/>
                <a:gd name="connsiteY960" fmla="*/ 900113 h 1161573"/>
                <a:gd name="connsiteX961" fmla="*/ 259937 w 1502283"/>
                <a:gd name="connsiteY961" fmla="*/ 907637 h 1161573"/>
                <a:gd name="connsiteX962" fmla="*/ 260509 w 1502283"/>
                <a:gd name="connsiteY962" fmla="*/ 912400 h 1161573"/>
                <a:gd name="connsiteX963" fmla="*/ 258889 w 1502283"/>
                <a:gd name="connsiteY963" fmla="*/ 912590 h 1161573"/>
                <a:gd name="connsiteX964" fmla="*/ 255556 w 1502283"/>
                <a:gd name="connsiteY964" fmla="*/ 911447 h 1161573"/>
                <a:gd name="connsiteX965" fmla="*/ 253174 w 1502283"/>
                <a:gd name="connsiteY965" fmla="*/ 905351 h 1161573"/>
                <a:gd name="connsiteX966" fmla="*/ 253365 w 1502283"/>
                <a:gd name="connsiteY966" fmla="*/ 906971 h 1161573"/>
                <a:gd name="connsiteX967" fmla="*/ 252413 w 1502283"/>
                <a:gd name="connsiteY967" fmla="*/ 911924 h 1161573"/>
                <a:gd name="connsiteX968" fmla="*/ 254603 w 1502283"/>
                <a:gd name="connsiteY968" fmla="*/ 916496 h 1161573"/>
                <a:gd name="connsiteX969" fmla="*/ 264033 w 1502283"/>
                <a:gd name="connsiteY969" fmla="*/ 915257 h 1161573"/>
                <a:gd name="connsiteX970" fmla="*/ 269938 w 1502283"/>
                <a:gd name="connsiteY970" fmla="*/ 911257 h 1161573"/>
                <a:gd name="connsiteX971" fmla="*/ 273653 w 1502283"/>
                <a:gd name="connsiteY971" fmla="*/ 915543 h 1161573"/>
                <a:gd name="connsiteX972" fmla="*/ 278606 w 1502283"/>
                <a:gd name="connsiteY972" fmla="*/ 916496 h 1161573"/>
                <a:gd name="connsiteX973" fmla="*/ 275272 w 1502283"/>
                <a:gd name="connsiteY973" fmla="*/ 928116 h 1161573"/>
                <a:gd name="connsiteX974" fmla="*/ 278797 w 1502283"/>
                <a:gd name="connsiteY974" fmla="*/ 930878 h 1161573"/>
                <a:gd name="connsiteX975" fmla="*/ 282512 w 1502283"/>
                <a:gd name="connsiteY975" fmla="*/ 935260 h 1161573"/>
                <a:gd name="connsiteX976" fmla="*/ 285655 w 1502283"/>
                <a:gd name="connsiteY976" fmla="*/ 934879 h 1161573"/>
                <a:gd name="connsiteX977" fmla="*/ 288607 w 1502283"/>
                <a:gd name="connsiteY977" fmla="*/ 932878 h 1161573"/>
                <a:gd name="connsiteX978" fmla="*/ 287560 w 1502283"/>
                <a:gd name="connsiteY978" fmla="*/ 924973 h 1161573"/>
                <a:gd name="connsiteX979" fmla="*/ 290703 w 1502283"/>
                <a:gd name="connsiteY979" fmla="*/ 924592 h 1161573"/>
                <a:gd name="connsiteX980" fmla="*/ 292513 w 1502283"/>
                <a:gd name="connsiteY980" fmla="*/ 925925 h 1161573"/>
                <a:gd name="connsiteX981" fmla="*/ 291560 w 1502283"/>
                <a:gd name="connsiteY981" fmla="*/ 930878 h 1161573"/>
                <a:gd name="connsiteX982" fmla="*/ 299466 w 1502283"/>
                <a:gd name="connsiteY982" fmla="*/ 929831 h 1161573"/>
                <a:gd name="connsiteX983" fmla="*/ 301466 w 1502283"/>
                <a:gd name="connsiteY983" fmla="*/ 932783 h 1161573"/>
                <a:gd name="connsiteX984" fmla="*/ 294418 w 1502283"/>
                <a:gd name="connsiteY984" fmla="*/ 940118 h 1161573"/>
                <a:gd name="connsiteX985" fmla="*/ 294227 w 1502283"/>
                <a:gd name="connsiteY985" fmla="*/ 951357 h 1161573"/>
                <a:gd name="connsiteX986" fmla="*/ 303086 w 1502283"/>
                <a:gd name="connsiteY986" fmla="*/ 958215 h 1161573"/>
                <a:gd name="connsiteX987" fmla="*/ 306229 w 1502283"/>
                <a:gd name="connsiteY987" fmla="*/ 957834 h 1161573"/>
                <a:gd name="connsiteX988" fmla="*/ 321088 w 1502283"/>
                <a:gd name="connsiteY988" fmla="*/ 973550 h 1161573"/>
                <a:gd name="connsiteX989" fmla="*/ 326612 w 1502283"/>
                <a:gd name="connsiteY989" fmla="*/ 979265 h 1161573"/>
                <a:gd name="connsiteX990" fmla="*/ 366141 w 1502283"/>
                <a:gd name="connsiteY990" fmla="*/ 999934 h 1161573"/>
                <a:gd name="connsiteX991" fmla="*/ 378428 w 1502283"/>
                <a:gd name="connsiteY991" fmla="*/ 1008031 h 1161573"/>
                <a:gd name="connsiteX992" fmla="*/ 388715 w 1502283"/>
                <a:gd name="connsiteY992" fmla="*/ 1013174 h 1161573"/>
                <a:gd name="connsiteX993" fmla="*/ 400526 w 1502283"/>
                <a:gd name="connsiteY993" fmla="*/ 1018032 h 1161573"/>
                <a:gd name="connsiteX994" fmla="*/ 408622 w 1502283"/>
                <a:gd name="connsiteY994" fmla="*/ 1018603 h 1161573"/>
                <a:gd name="connsiteX995" fmla="*/ 411766 w 1502283"/>
                <a:gd name="connsiteY995" fmla="*/ 1018223 h 1161573"/>
                <a:gd name="connsiteX996" fmla="*/ 411385 w 1502283"/>
                <a:gd name="connsiteY996" fmla="*/ 1015079 h 1161573"/>
                <a:gd name="connsiteX997" fmla="*/ 414719 w 1502283"/>
                <a:gd name="connsiteY997" fmla="*/ 1016222 h 1161573"/>
                <a:gd name="connsiteX998" fmla="*/ 416528 w 1502283"/>
                <a:gd name="connsiteY998" fmla="*/ 1017556 h 1161573"/>
                <a:gd name="connsiteX999" fmla="*/ 429768 w 1502283"/>
                <a:gd name="connsiteY999" fmla="*/ 1020699 h 1161573"/>
                <a:gd name="connsiteX1000" fmla="*/ 430911 w 1502283"/>
                <a:gd name="connsiteY1000" fmla="*/ 1017365 h 1161573"/>
                <a:gd name="connsiteX1001" fmla="*/ 435864 w 1502283"/>
                <a:gd name="connsiteY1001" fmla="*/ 1018318 h 1161573"/>
                <a:gd name="connsiteX1002" fmla="*/ 437674 w 1502283"/>
                <a:gd name="connsiteY1002" fmla="*/ 1019651 h 1161573"/>
                <a:gd name="connsiteX1003" fmla="*/ 440627 w 1502283"/>
                <a:gd name="connsiteY1003" fmla="*/ 1017651 h 1161573"/>
                <a:gd name="connsiteX1004" fmla="*/ 440246 w 1502283"/>
                <a:gd name="connsiteY1004" fmla="*/ 1014508 h 1161573"/>
                <a:gd name="connsiteX1005" fmla="*/ 469868 w 1502283"/>
                <a:gd name="connsiteY1005" fmla="*/ 1020318 h 1161573"/>
                <a:gd name="connsiteX1006" fmla="*/ 507206 w 1502283"/>
                <a:gd name="connsiteY1006" fmla="*/ 1023557 h 1161573"/>
                <a:gd name="connsiteX1007" fmla="*/ 517303 w 1502283"/>
                <a:gd name="connsiteY1007" fmla="*/ 1027081 h 1161573"/>
                <a:gd name="connsiteX1008" fmla="*/ 518922 w 1502283"/>
                <a:gd name="connsiteY1008" fmla="*/ 1026890 h 1161573"/>
                <a:gd name="connsiteX1009" fmla="*/ 521684 w 1502283"/>
                <a:gd name="connsiteY1009" fmla="*/ 1023366 h 1161573"/>
                <a:gd name="connsiteX1010" fmla="*/ 529590 w 1502283"/>
                <a:gd name="connsiteY1010" fmla="*/ 1022318 h 1161573"/>
                <a:gd name="connsiteX1011" fmla="*/ 542830 w 1502283"/>
                <a:gd name="connsiteY1011" fmla="*/ 1025461 h 1161573"/>
                <a:gd name="connsiteX1012" fmla="*/ 547306 w 1502283"/>
                <a:gd name="connsiteY1012" fmla="*/ 1023271 h 1161573"/>
                <a:gd name="connsiteX1013" fmla="*/ 554641 w 1502283"/>
                <a:gd name="connsiteY1013" fmla="*/ 1030319 h 1161573"/>
                <a:gd name="connsiteX1014" fmla="*/ 567880 w 1502283"/>
                <a:gd name="connsiteY1014" fmla="*/ 1033463 h 1161573"/>
                <a:gd name="connsiteX1015" fmla="*/ 573596 w 1502283"/>
                <a:gd name="connsiteY1015" fmla="*/ 1027938 h 1161573"/>
                <a:gd name="connsiteX1016" fmla="*/ 574357 w 1502283"/>
                <a:gd name="connsiteY1016" fmla="*/ 1021461 h 1161573"/>
                <a:gd name="connsiteX1017" fmla="*/ 575691 w 1502283"/>
                <a:gd name="connsiteY1017" fmla="*/ 1019651 h 1161573"/>
                <a:gd name="connsiteX1018" fmla="*/ 575310 w 1502283"/>
                <a:gd name="connsiteY1018" fmla="*/ 1016508 h 1161573"/>
                <a:gd name="connsiteX1019" fmla="*/ 577691 w 1502283"/>
                <a:gd name="connsiteY1019" fmla="*/ 1022604 h 1161573"/>
                <a:gd name="connsiteX1020" fmla="*/ 582263 w 1502283"/>
                <a:gd name="connsiteY1020" fmla="*/ 1020413 h 1161573"/>
                <a:gd name="connsiteX1021" fmla="*/ 584263 w 1502283"/>
                <a:gd name="connsiteY1021" fmla="*/ 1023366 h 1161573"/>
                <a:gd name="connsiteX1022" fmla="*/ 586264 w 1502283"/>
                <a:gd name="connsiteY1022" fmla="*/ 1026319 h 1161573"/>
                <a:gd name="connsiteX1023" fmla="*/ 583502 w 1502283"/>
                <a:gd name="connsiteY1023" fmla="*/ 1029843 h 1161573"/>
                <a:gd name="connsiteX1024" fmla="*/ 587216 w 1502283"/>
                <a:gd name="connsiteY1024" fmla="*/ 1034129 h 1161573"/>
                <a:gd name="connsiteX1025" fmla="*/ 588550 w 1502283"/>
                <a:gd name="connsiteY1025" fmla="*/ 1032319 h 1161573"/>
                <a:gd name="connsiteX1026" fmla="*/ 588931 w 1502283"/>
                <a:gd name="connsiteY1026" fmla="*/ 1035463 h 1161573"/>
                <a:gd name="connsiteX1027" fmla="*/ 599980 w 1502283"/>
                <a:gd name="connsiteY1027" fmla="*/ 1034034 h 1161573"/>
                <a:gd name="connsiteX1028" fmla="*/ 600170 w 1502283"/>
                <a:gd name="connsiteY1028" fmla="*/ 1035653 h 1161573"/>
                <a:gd name="connsiteX1029" fmla="*/ 603313 w 1502283"/>
                <a:gd name="connsiteY1029" fmla="*/ 1035272 h 1161573"/>
                <a:gd name="connsiteX1030" fmla="*/ 606266 w 1502283"/>
                <a:gd name="connsiteY1030" fmla="*/ 1033272 h 1161573"/>
                <a:gd name="connsiteX1031" fmla="*/ 607219 w 1502283"/>
                <a:gd name="connsiteY1031" fmla="*/ 1028319 h 1161573"/>
                <a:gd name="connsiteX1032" fmla="*/ 608647 w 1502283"/>
                <a:gd name="connsiteY1032" fmla="*/ 1026509 h 1161573"/>
                <a:gd name="connsiteX1033" fmla="*/ 609790 w 1502283"/>
                <a:gd name="connsiteY1033" fmla="*/ 1023176 h 1161573"/>
                <a:gd name="connsiteX1034" fmla="*/ 611410 w 1502283"/>
                <a:gd name="connsiteY1034" fmla="*/ 1022985 h 1161573"/>
                <a:gd name="connsiteX1035" fmla="*/ 613410 w 1502283"/>
                <a:gd name="connsiteY1035" fmla="*/ 1025938 h 1161573"/>
                <a:gd name="connsiteX1036" fmla="*/ 619125 w 1502283"/>
                <a:gd name="connsiteY1036" fmla="*/ 1020413 h 1161573"/>
                <a:gd name="connsiteX1037" fmla="*/ 620935 w 1502283"/>
                <a:gd name="connsiteY1037" fmla="*/ 1021747 h 1161573"/>
                <a:gd name="connsiteX1038" fmla="*/ 623888 w 1502283"/>
                <a:gd name="connsiteY1038" fmla="*/ 1019747 h 1161573"/>
                <a:gd name="connsiteX1039" fmla="*/ 626078 w 1502283"/>
                <a:gd name="connsiteY1039" fmla="*/ 1011460 h 1161573"/>
                <a:gd name="connsiteX1040" fmla="*/ 627412 w 1502283"/>
                <a:gd name="connsiteY1040" fmla="*/ 1009650 h 1161573"/>
                <a:gd name="connsiteX1041" fmla="*/ 628364 w 1502283"/>
                <a:gd name="connsiteY1041" fmla="*/ 1004697 h 1161573"/>
                <a:gd name="connsiteX1042" fmla="*/ 633889 w 1502283"/>
                <a:gd name="connsiteY1042" fmla="*/ 997553 h 1161573"/>
                <a:gd name="connsiteX1043" fmla="*/ 639985 w 1502283"/>
                <a:gd name="connsiteY1043" fmla="*/ 995172 h 1161573"/>
                <a:gd name="connsiteX1044" fmla="*/ 644366 w 1502283"/>
                <a:gd name="connsiteY1044" fmla="*/ 991457 h 1161573"/>
                <a:gd name="connsiteX1045" fmla="*/ 644938 w 1502283"/>
                <a:gd name="connsiteY1045" fmla="*/ 983361 h 1161573"/>
                <a:gd name="connsiteX1046" fmla="*/ 643128 w 1502283"/>
                <a:gd name="connsiteY1046" fmla="*/ 982027 h 1161573"/>
                <a:gd name="connsiteX1047" fmla="*/ 642938 w 1502283"/>
                <a:gd name="connsiteY1047" fmla="*/ 980408 h 1161573"/>
                <a:gd name="connsiteX1048" fmla="*/ 645128 w 1502283"/>
                <a:gd name="connsiteY1048" fmla="*/ 972122 h 1161573"/>
                <a:gd name="connsiteX1049" fmla="*/ 650462 w 1502283"/>
                <a:gd name="connsiteY1049" fmla="*/ 963454 h 1161573"/>
                <a:gd name="connsiteX1050" fmla="*/ 649700 w 1502283"/>
                <a:gd name="connsiteY1050" fmla="*/ 957167 h 1161573"/>
                <a:gd name="connsiteX1051" fmla="*/ 652463 w 1502283"/>
                <a:gd name="connsiteY1051" fmla="*/ 953643 h 1161573"/>
                <a:gd name="connsiteX1052" fmla="*/ 661130 w 1502283"/>
                <a:gd name="connsiteY1052" fmla="*/ 946118 h 1161573"/>
                <a:gd name="connsiteX1053" fmla="*/ 660940 w 1502283"/>
                <a:gd name="connsiteY1053" fmla="*/ 944499 h 1161573"/>
                <a:gd name="connsiteX1054" fmla="*/ 657606 w 1502283"/>
                <a:gd name="connsiteY1054" fmla="*/ 943356 h 1161573"/>
                <a:gd name="connsiteX1055" fmla="*/ 660749 w 1502283"/>
                <a:gd name="connsiteY1055" fmla="*/ 942975 h 1161573"/>
                <a:gd name="connsiteX1056" fmla="*/ 671417 w 1502283"/>
                <a:gd name="connsiteY1056" fmla="*/ 951262 h 1161573"/>
                <a:gd name="connsiteX1057" fmla="*/ 687610 w 1502283"/>
                <a:gd name="connsiteY1057" fmla="*/ 952405 h 1161573"/>
                <a:gd name="connsiteX1058" fmla="*/ 698468 w 1502283"/>
                <a:gd name="connsiteY1058" fmla="*/ 949452 h 1161573"/>
                <a:gd name="connsiteX1059" fmla="*/ 700659 w 1502283"/>
                <a:gd name="connsiteY1059" fmla="*/ 954024 h 1161573"/>
                <a:gd name="connsiteX1060" fmla="*/ 705231 w 1502283"/>
                <a:gd name="connsiteY1060" fmla="*/ 951833 h 1161573"/>
                <a:gd name="connsiteX1061" fmla="*/ 710565 w 1502283"/>
                <a:gd name="connsiteY1061" fmla="*/ 943166 h 1161573"/>
                <a:gd name="connsiteX1062" fmla="*/ 714661 w 1502283"/>
                <a:gd name="connsiteY1062" fmla="*/ 937832 h 1161573"/>
                <a:gd name="connsiteX1063" fmla="*/ 725519 w 1502283"/>
                <a:gd name="connsiteY1063" fmla="*/ 947642 h 1161573"/>
                <a:gd name="connsiteX1064" fmla="*/ 727520 w 1502283"/>
                <a:gd name="connsiteY1064" fmla="*/ 950595 h 1161573"/>
                <a:gd name="connsiteX1065" fmla="*/ 735044 w 1502283"/>
                <a:gd name="connsiteY1065" fmla="*/ 959263 h 1161573"/>
                <a:gd name="connsiteX1066" fmla="*/ 746474 w 1502283"/>
                <a:gd name="connsiteY1066" fmla="*/ 960977 h 1161573"/>
                <a:gd name="connsiteX1067" fmla="*/ 755142 w 1502283"/>
                <a:gd name="connsiteY1067" fmla="*/ 966311 h 1161573"/>
                <a:gd name="connsiteX1068" fmla="*/ 754380 w 1502283"/>
                <a:gd name="connsiteY1068" fmla="*/ 972788 h 1161573"/>
                <a:gd name="connsiteX1069" fmla="*/ 765810 w 1502283"/>
                <a:gd name="connsiteY1069" fmla="*/ 974503 h 1161573"/>
                <a:gd name="connsiteX1070" fmla="*/ 770572 w 1502283"/>
                <a:gd name="connsiteY1070" fmla="*/ 973931 h 1161573"/>
                <a:gd name="connsiteX1071" fmla="*/ 780193 w 1502283"/>
                <a:gd name="connsiteY1071" fmla="*/ 974312 h 1161573"/>
                <a:gd name="connsiteX1072" fmla="*/ 781812 w 1502283"/>
                <a:gd name="connsiteY1072" fmla="*/ 974122 h 1161573"/>
                <a:gd name="connsiteX1073" fmla="*/ 782764 w 1502283"/>
                <a:gd name="connsiteY1073" fmla="*/ 969169 h 1161573"/>
                <a:gd name="connsiteX1074" fmla="*/ 790480 w 1502283"/>
                <a:gd name="connsiteY1074" fmla="*/ 966597 h 1161573"/>
                <a:gd name="connsiteX1075" fmla="*/ 790670 w 1502283"/>
                <a:gd name="connsiteY1075" fmla="*/ 968216 h 1161573"/>
                <a:gd name="connsiteX1076" fmla="*/ 797338 w 1502283"/>
                <a:gd name="connsiteY1076" fmla="*/ 970598 h 1161573"/>
                <a:gd name="connsiteX1077" fmla="*/ 804005 w 1502283"/>
                <a:gd name="connsiteY1077" fmla="*/ 972979 h 1161573"/>
                <a:gd name="connsiteX1078" fmla="*/ 806387 w 1502283"/>
                <a:gd name="connsiteY1078" fmla="*/ 979075 h 1161573"/>
                <a:gd name="connsiteX1079" fmla="*/ 813721 w 1502283"/>
                <a:gd name="connsiteY1079" fmla="*/ 986123 h 1161573"/>
                <a:gd name="connsiteX1080" fmla="*/ 817150 w 1502283"/>
                <a:gd name="connsiteY1080" fmla="*/ 1000125 h 1161573"/>
                <a:gd name="connsiteX1081" fmla="*/ 818197 w 1502283"/>
                <a:gd name="connsiteY1081" fmla="*/ 1008031 h 1161573"/>
                <a:gd name="connsiteX1082" fmla="*/ 812863 w 1502283"/>
                <a:gd name="connsiteY1082" fmla="*/ 1016699 h 1161573"/>
                <a:gd name="connsiteX1083" fmla="*/ 813245 w 1502283"/>
                <a:gd name="connsiteY1083" fmla="*/ 1019842 h 1161573"/>
                <a:gd name="connsiteX1084" fmla="*/ 817436 w 1502283"/>
                <a:gd name="connsiteY1084" fmla="*/ 1027367 h 1161573"/>
                <a:gd name="connsiteX1085" fmla="*/ 819817 w 1502283"/>
                <a:gd name="connsiteY1085" fmla="*/ 1033463 h 1161573"/>
                <a:gd name="connsiteX1086" fmla="*/ 822960 w 1502283"/>
                <a:gd name="connsiteY1086" fmla="*/ 1033082 h 1161573"/>
                <a:gd name="connsiteX1087" fmla="*/ 833247 w 1502283"/>
                <a:gd name="connsiteY1087" fmla="*/ 1025366 h 1161573"/>
                <a:gd name="connsiteX1088" fmla="*/ 834771 w 1502283"/>
                <a:gd name="connsiteY1088" fmla="*/ 1025176 h 1161573"/>
                <a:gd name="connsiteX1089" fmla="*/ 836200 w 1502283"/>
                <a:gd name="connsiteY1089" fmla="*/ 1023366 h 1161573"/>
                <a:gd name="connsiteX1090" fmla="*/ 844105 w 1502283"/>
                <a:gd name="connsiteY1090" fmla="*/ 1022318 h 1161573"/>
                <a:gd name="connsiteX1091" fmla="*/ 849058 w 1502283"/>
                <a:gd name="connsiteY1091" fmla="*/ 1023271 h 1161573"/>
                <a:gd name="connsiteX1092" fmla="*/ 850868 w 1502283"/>
                <a:gd name="connsiteY1092" fmla="*/ 1024604 h 1161573"/>
                <a:gd name="connsiteX1093" fmla="*/ 854012 w 1502283"/>
                <a:gd name="connsiteY1093" fmla="*/ 1024223 h 1161573"/>
                <a:gd name="connsiteX1094" fmla="*/ 852678 w 1502283"/>
                <a:gd name="connsiteY1094" fmla="*/ 1026033 h 1161573"/>
                <a:gd name="connsiteX1095" fmla="*/ 852869 w 1502283"/>
                <a:gd name="connsiteY1095" fmla="*/ 1027652 h 1161573"/>
                <a:gd name="connsiteX1096" fmla="*/ 856012 w 1502283"/>
                <a:gd name="connsiteY1096" fmla="*/ 1027271 h 1161573"/>
                <a:gd name="connsiteX1097" fmla="*/ 857822 w 1502283"/>
                <a:gd name="connsiteY1097" fmla="*/ 1028605 h 1161573"/>
                <a:gd name="connsiteX1098" fmla="*/ 858203 w 1502283"/>
                <a:gd name="connsiteY1098" fmla="*/ 1031748 h 1161573"/>
                <a:gd name="connsiteX1099" fmla="*/ 865918 w 1502283"/>
                <a:gd name="connsiteY1099" fmla="*/ 1029176 h 1161573"/>
                <a:gd name="connsiteX1100" fmla="*/ 870109 w 1502283"/>
                <a:gd name="connsiteY1100" fmla="*/ 1036701 h 1161573"/>
                <a:gd name="connsiteX1101" fmla="*/ 870680 w 1502283"/>
                <a:gd name="connsiteY1101" fmla="*/ 1041464 h 1161573"/>
                <a:gd name="connsiteX1102" fmla="*/ 874205 w 1502283"/>
                <a:gd name="connsiteY1102" fmla="*/ 1044226 h 1161573"/>
                <a:gd name="connsiteX1103" fmla="*/ 874395 w 1502283"/>
                <a:gd name="connsiteY1103" fmla="*/ 1045845 h 1161573"/>
                <a:gd name="connsiteX1104" fmla="*/ 878967 w 1502283"/>
                <a:gd name="connsiteY1104" fmla="*/ 1043654 h 1161573"/>
                <a:gd name="connsiteX1105" fmla="*/ 884682 w 1502283"/>
                <a:gd name="connsiteY1105" fmla="*/ 1050893 h 1161573"/>
                <a:gd name="connsiteX1106" fmla="*/ 886301 w 1502283"/>
                <a:gd name="connsiteY1106" fmla="*/ 1050703 h 1161573"/>
                <a:gd name="connsiteX1107" fmla="*/ 889254 w 1502283"/>
                <a:gd name="connsiteY1107" fmla="*/ 1048702 h 1161573"/>
                <a:gd name="connsiteX1108" fmla="*/ 891064 w 1502283"/>
                <a:gd name="connsiteY1108" fmla="*/ 1050036 h 1161573"/>
                <a:gd name="connsiteX1109" fmla="*/ 895826 w 1502283"/>
                <a:gd name="connsiteY1109" fmla="*/ 1049465 h 1161573"/>
                <a:gd name="connsiteX1110" fmla="*/ 902780 w 1502283"/>
                <a:gd name="connsiteY1110" fmla="*/ 1053370 h 1161573"/>
                <a:gd name="connsiteX1111" fmla="*/ 904970 w 1502283"/>
                <a:gd name="connsiteY1111" fmla="*/ 1057942 h 1161573"/>
                <a:gd name="connsiteX1112" fmla="*/ 908875 w 1502283"/>
                <a:gd name="connsiteY1112" fmla="*/ 1050989 h 1161573"/>
                <a:gd name="connsiteX1113" fmla="*/ 913829 w 1502283"/>
                <a:gd name="connsiteY1113" fmla="*/ 1051941 h 1161573"/>
                <a:gd name="connsiteX1114" fmla="*/ 923449 w 1502283"/>
                <a:gd name="connsiteY1114" fmla="*/ 1052322 h 1161573"/>
                <a:gd name="connsiteX1115" fmla="*/ 928973 w 1502283"/>
                <a:gd name="connsiteY1115" fmla="*/ 1045178 h 1161573"/>
                <a:gd name="connsiteX1116" fmla="*/ 934498 w 1502283"/>
                <a:gd name="connsiteY1116" fmla="*/ 1050893 h 1161573"/>
                <a:gd name="connsiteX1117" fmla="*/ 953643 w 1502283"/>
                <a:gd name="connsiteY1117" fmla="*/ 1050036 h 1161573"/>
                <a:gd name="connsiteX1118" fmla="*/ 960120 w 1502283"/>
                <a:gd name="connsiteY1118" fmla="*/ 1037939 h 1161573"/>
                <a:gd name="connsiteX1119" fmla="*/ 964311 w 1502283"/>
                <a:gd name="connsiteY1119" fmla="*/ 1045464 h 1161573"/>
                <a:gd name="connsiteX1120" fmla="*/ 974027 w 1502283"/>
                <a:gd name="connsiteY1120" fmla="*/ 1045845 h 1161573"/>
                <a:gd name="connsiteX1121" fmla="*/ 976979 w 1502283"/>
                <a:gd name="connsiteY1121" fmla="*/ 1043845 h 1161573"/>
                <a:gd name="connsiteX1122" fmla="*/ 980504 w 1502283"/>
                <a:gd name="connsiteY1122" fmla="*/ 1046607 h 1161573"/>
                <a:gd name="connsiteX1123" fmla="*/ 977360 w 1502283"/>
                <a:gd name="connsiteY1123" fmla="*/ 1046988 h 1161573"/>
                <a:gd name="connsiteX1124" fmla="*/ 979551 w 1502283"/>
                <a:gd name="connsiteY1124" fmla="*/ 1051560 h 1161573"/>
                <a:gd name="connsiteX1125" fmla="*/ 983266 w 1502283"/>
                <a:gd name="connsiteY1125" fmla="*/ 1055846 h 1161573"/>
                <a:gd name="connsiteX1126" fmla="*/ 981932 w 1502283"/>
                <a:gd name="connsiteY1126" fmla="*/ 1057656 h 1161573"/>
                <a:gd name="connsiteX1127" fmla="*/ 987266 w 1502283"/>
                <a:gd name="connsiteY1127" fmla="*/ 1061752 h 1161573"/>
                <a:gd name="connsiteX1128" fmla="*/ 988028 w 1502283"/>
                <a:gd name="connsiteY1128" fmla="*/ 1068038 h 1161573"/>
                <a:gd name="connsiteX1129" fmla="*/ 988409 w 1502283"/>
                <a:gd name="connsiteY1129" fmla="*/ 1071182 h 1161573"/>
                <a:gd name="connsiteX1130" fmla="*/ 987266 w 1502283"/>
                <a:gd name="connsiteY1130" fmla="*/ 1074515 h 1161573"/>
                <a:gd name="connsiteX1131" fmla="*/ 989076 w 1502283"/>
                <a:gd name="connsiteY1131" fmla="*/ 1075849 h 1161573"/>
                <a:gd name="connsiteX1132" fmla="*/ 987743 w 1502283"/>
                <a:gd name="connsiteY1132" fmla="*/ 1077659 h 1161573"/>
                <a:gd name="connsiteX1133" fmla="*/ 988123 w 1502283"/>
                <a:gd name="connsiteY1133" fmla="*/ 1080802 h 1161573"/>
                <a:gd name="connsiteX1134" fmla="*/ 986504 w 1502283"/>
                <a:gd name="connsiteY1134" fmla="*/ 1080992 h 1161573"/>
                <a:gd name="connsiteX1135" fmla="*/ 986695 w 1502283"/>
                <a:gd name="connsiteY1135" fmla="*/ 1082611 h 1161573"/>
                <a:gd name="connsiteX1136" fmla="*/ 984123 w 1502283"/>
                <a:gd name="connsiteY1136" fmla="*/ 1087755 h 1161573"/>
                <a:gd name="connsiteX1137" fmla="*/ 984695 w 1502283"/>
                <a:gd name="connsiteY1137" fmla="*/ 1092518 h 1161573"/>
                <a:gd name="connsiteX1138" fmla="*/ 991362 w 1502283"/>
                <a:gd name="connsiteY1138" fmla="*/ 1094899 h 1161573"/>
                <a:gd name="connsiteX1139" fmla="*/ 993553 w 1502283"/>
                <a:gd name="connsiteY1139" fmla="*/ 1099471 h 1161573"/>
                <a:gd name="connsiteX1140" fmla="*/ 992219 w 1502283"/>
                <a:gd name="connsiteY1140" fmla="*/ 1101281 h 1161573"/>
                <a:gd name="connsiteX1141" fmla="*/ 994029 w 1502283"/>
                <a:gd name="connsiteY1141" fmla="*/ 1102614 h 1161573"/>
                <a:gd name="connsiteX1142" fmla="*/ 992696 w 1502283"/>
                <a:gd name="connsiteY1142" fmla="*/ 1104424 h 1161573"/>
                <a:gd name="connsiteX1143" fmla="*/ 994886 w 1502283"/>
                <a:gd name="connsiteY1143" fmla="*/ 1108996 h 1161573"/>
                <a:gd name="connsiteX1144" fmla="*/ 993934 w 1502283"/>
                <a:gd name="connsiteY1144" fmla="*/ 1113949 h 1161573"/>
                <a:gd name="connsiteX1145" fmla="*/ 990981 w 1502283"/>
                <a:gd name="connsiteY1145" fmla="*/ 1115949 h 1161573"/>
                <a:gd name="connsiteX1146" fmla="*/ 993362 w 1502283"/>
                <a:gd name="connsiteY1146" fmla="*/ 1122045 h 1161573"/>
                <a:gd name="connsiteX1147" fmla="*/ 992029 w 1502283"/>
                <a:gd name="connsiteY1147" fmla="*/ 1123855 h 1161573"/>
                <a:gd name="connsiteX1148" fmla="*/ 995744 w 1502283"/>
                <a:gd name="connsiteY1148" fmla="*/ 1128141 h 1161573"/>
                <a:gd name="connsiteX1149" fmla="*/ 997363 w 1502283"/>
                <a:gd name="connsiteY1149" fmla="*/ 1127951 h 1161573"/>
                <a:gd name="connsiteX1150" fmla="*/ 997934 w 1502283"/>
                <a:gd name="connsiteY1150" fmla="*/ 1132713 h 1161573"/>
                <a:gd name="connsiteX1151" fmla="*/ 996601 w 1502283"/>
                <a:gd name="connsiteY1151" fmla="*/ 1134523 h 1161573"/>
                <a:gd name="connsiteX1152" fmla="*/ 997363 w 1502283"/>
                <a:gd name="connsiteY1152" fmla="*/ 1140809 h 1161573"/>
                <a:gd name="connsiteX1153" fmla="*/ 993457 w 1502283"/>
                <a:gd name="connsiteY1153" fmla="*/ 1147763 h 1161573"/>
                <a:gd name="connsiteX1154" fmla="*/ 992505 w 1502283"/>
                <a:gd name="connsiteY1154" fmla="*/ 1152716 h 1161573"/>
                <a:gd name="connsiteX1155" fmla="*/ 999172 w 1502283"/>
                <a:gd name="connsiteY1155" fmla="*/ 1155097 h 1161573"/>
                <a:gd name="connsiteX1156" fmla="*/ 1007459 w 1502283"/>
                <a:gd name="connsiteY1156" fmla="*/ 1157288 h 1161573"/>
                <a:gd name="connsiteX1157" fmla="*/ 1011174 w 1502283"/>
                <a:gd name="connsiteY1157" fmla="*/ 1161574 h 1161573"/>
                <a:gd name="connsiteX1158" fmla="*/ 1010983 w 1502283"/>
                <a:gd name="connsiteY1158" fmla="*/ 1159955 h 1161573"/>
                <a:gd name="connsiteX1159" fmla="*/ 1010412 w 1502283"/>
                <a:gd name="connsiteY1159" fmla="*/ 1155192 h 1161573"/>
                <a:gd name="connsiteX1160" fmla="*/ 1015365 w 1502283"/>
                <a:gd name="connsiteY1160" fmla="*/ 1156144 h 1161573"/>
                <a:gd name="connsiteX1161" fmla="*/ 1016889 w 1502283"/>
                <a:gd name="connsiteY1161" fmla="*/ 1155954 h 1161573"/>
                <a:gd name="connsiteX1162" fmla="*/ 1015079 w 1502283"/>
                <a:gd name="connsiteY1162" fmla="*/ 1154621 h 1161573"/>
                <a:gd name="connsiteX1163" fmla="*/ 1014698 w 1502283"/>
                <a:gd name="connsiteY1163" fmla="*/ 1151477 h 1161573"/>
                <a:gd name="connsiteX1164" fmla="*/ 1017841 w 1502283"/>
                <a:gd name="connsiteY1164" fmla="*/ 1151096 h 1161573"/>
                <a:gd name="connsiteX1165" fmla="*/ 1017080 w 1502283"/>
                <a:gd name="connsiteY1165" fmla="*/ 1144810 h 1161573"/>
                <a:gd name="connsiteX1166" fmla="*/ 1018604 w 1502283"/>
                <a:gd name="connsiteY1166" fmla="*/ 1144619 h 1161573"/>
                <a:gd name="connsiteX1167" fmla="*/ 1020794 w 1502283"/>
                <a:gd name="connsiteY1167" fmla="*/ 1149191 h 1161573"/>
                <a:gd name="connsiteX1168" fmla="*/ 1020223 w 1502283"/>
                <a:gd name="connsiteY1168" fmla="*/ 1144429 h 1161573"/>
                <a:gd name="connsiteX1169" fmla="*/ 1025366 w 1502283"/>
                <a:gd name="connsiteY1169" fmla="*/ 1147001 h 1161573"/>
                <a:gd name="connsiteX1170" fmla="*/ 1026795 w 1502283"/>
                <a:gd name="connsiteY1170" fmla="*/ 1145191 h 1161573"/>
                <a:gd name="connsiteX1171" fmla="*/ 1023271 w 1502283"/>
                <a:gd name="connsiteY1171" fmla="*/ 1142428 h 1161573"/>
                <a:gd name="connsiteX1172" fmla="*/ 1026414 w 1502283"/>
                <a:gd name="connsiteY1172" fmla="*/ 1142048 h 1161573"/>
                <a:gd name="connsiteX1173" fmla="*/ 1020508 w 1502283"/>
                <a:gd name="connsiteY1173" fmla="*/ 1133189 h 1161573"/>
                <a:gd name="connsiteX1174" fmla="*/ 1021937 w 1502283"/>
                <a:gd name="connsiteY1174" fmla="*/ 1131380 h 1161573"/>
                <a:gd name="connsiteX1175" fmla="*/ 1027271 w 1502283"/>
                <a:gd name="connsiteY1175" fmla="*/ 1135475 h 1161573"/>
                <a:gd name="connsiteX1176" fmla="*/ 1025080 w 1502283"/>
                <a:gd name="connsiteY1176" fmla="*/ 1130903 h 1161573"/>
                <a:gd name="connsiteX1177" fmla="*/ 1029653 w 1502283"/>
                <a:gd name="connsiteY1177" fmla="*/ 1128713 h 1161573"/>
                <a:gd name="connsiteX1178" fmla="*/ 1024319 w 1502283"/>
                <a:gd name="connsiteY1178" fmla="*/ 1124617 h 1161573"/>
                <a:gd name="connsiteX1179" fmla="*/ 1032034 w 1502283"/>
                <a:gd name="connsiteY1179" fmla="*/ 1122045 h 1161573"/>
                <a:gd name="connsiteX1180" fmla="*/ 1026700 w 1502283"/>
                <a:gd name="connsiteY1180" fmla="*/ 1117949 h 1161573"/>
                <a:gd name="connsiteX1181" fmla="*/ 1026223 w 1502283"/>
                <a:gd name="connsiteY1181" fmla="*/ 1101947 h 1161573"/>
                <a:gd name="connsiteX1182" fmla="*/ 1030510 w 1502283"/>
                <a:gd name="connsiteY1182" fmla="*/ 1098233 h 1161573"/>
                <a:gd name="connsiteX1183" fmla="*/ 1026795 w 1502283"/>
                <a:gd name="connsiteY1183" fmla="*/ 1093946 h 1161573"/>
                <a:gd name="connsiteX1184" fmla="*/ 1028129 w 1502283"/>
                <a:gd name="connsiteY1184" fmla="*/ 1092136 h 1161573"/>
                <a:gd name="connsiteX1185" fmla="*/ 1030319 w 1502283"/>
                <a:gd name="connsiteY1185" fmla="*/ 1096709 h 1161573"/>
                <a:gd name="connsiteX1186" fmla="*/ 1031653 w 1502283"/>
                <a:gd name="connsiteY1186" fmla="*/ 1094899 h 1161573"/>
                <a:gd name="connsiteX1187" fmla="*/ 1030891 w 1502283"/>
                <a:gd name="connsiteY1187" fmla="*/ 1088612 h 1161573"/>
                <a:gd name="connsiteX1188" fmla="*/ 1032510 w 1502283"/>
                <a:gd name="connsiteY1188" fmla="*/ 1088422 h 1161573"/>
                <a:gd name="connsiteX1189" fmla="*/ 1031938 w 1502283"/>
                <a:gd name="connsiteY1189" fmla="*/ 1083659 h 1161573"/>
                <a:gd name="connsiteX1190" fmla="*/ 1034891 w 1502283"/>
                <a:gd name="connsiteY1190" fmla="*/ 1081659 h 1161573"/>
                <a:gd name="connsiteX1191" fmla="*/ 1034129 w 1502283"/>
                <a:gd name="connsiteY1191" fmla="*/ 1075373 h 1161573"/>
                <a:gd name="connsiteX1192" fmla="*/ 1035463 w 1502283"/>
                <a:gd name="connsiteY1192" fmla="*/ 1073563 h 1161573"/>
                <a:gd name="connsiteX1193" fmla="*/ 1038987 w 1502283"/>
                <a:gd name="connsiteY1193" fmla="*/ 1076325 h 1161573"/>
                <a:gd name="connsiteX1194" fmla="*/ 1042130 w 1502283"/>
                <a:gd name="connsiteY1194" fmla="*/ 1075944 h 1161573"/>
                <a:gd name="connsiteX1195" fmla="*/ 1041940 w 1502283"/>
                <a:gd name="connsiteY1195" fmla="*/ 1074325 h 1161573"/>
                <a:gd name="connsiteX1196" fmla="*/ 1043083 w 1502283"/>
                <a:gd name="connsiteY1196" fmla="*/ 1070991 h 1161573"/>
                <a:gd name="connsiteX1197" fmla="*/ 1046607 w 1502283"/>
                <a:gd name="connsiteY1197" fmla="*/ 1073753 h 1161573"/>
                <a:gd name="connsiteX1198" fmla="*/ 1049179 w 1502283"/>
                <a:gd name="connsiteY1198" fmla="*/ 1068610 h 1161573"/>
                <a:gd name="connsiteX1199" fmla="*/ 1044416 w 1502283"/>
                <a:gd name="connsiteY1199" fmla="*/ 1069181 h 1161573"/>
                <a:gd name="connsiteX1200" fmla="*/ 1045750 w 1502283"/>
                <a:gd name="connsiteY1200" fmla="*/ 1067372 h 1161573"/>
                <a:gd name="connsiteX1201" fmla="*/ 1042416 w 1502283"/>
                <a:gd name="connsiteY1201" fmla="*/ 1066228 h 1161573"/>
                <a:gd name="connsiteX1202" fmla="*/ 1043749 w 1502283"/>
                <a:gd name="connsiteY1202" fmla="*/ 1064419 h 1161573"/>
                <a:gd name="connsiteX1203" fmla="*/ 1053179 w 1502283"/>
                <a:gd name="connsiteY1203" fmla="*/ 1063181 h 1161573"/>
                <a:gd name="connsiteX1204" fmla="*/ 1048036 w 1502283"/>
                <a:gd name="connsiteY1204" fmla="*/ 1060609 h 1161573"/>
                <a:gd name="connsiteX1205" fmla="*/ 1049179 w 1502283"/>
                <a:gd name="connsiteY1205" fmla="*/ 1057275 h 1161573"/>
                <a:gd name="connsiteX1206" fmla="*/ 1047845 w 1502283"/>
                <a:gd name="connsiteY1206" fmla="*/ 1059085 h 1161573"/>
                <a:gd name="connsiteX1207" fmla="*/ 1046036 w 1502283"/>
                <a:gd name="connsiteY1207" fmla="*/ 1057751 h 1161573"/>
                <a:gd name="connsiteX1208" fmla="*/ 1047179 w 1502283"/>
                <a:gd name="connsiteY1208" fmla="*/ 1054418 h 1161573"/>
                <a:gd name="connsiteX1209" fmla="*/ 1048988 w 1502283"/>
                <a:gd name="connsiteY1209" fmla="*/ 1055751 h 1161573"/>
                <a:gd name="connsiteX1210" fmla="*/ 1047179 w 1502283"/>
                <a:gd name="connsiteY1210" fmla="*/ 1054418 h 1161573"/>
                <a:gd name="connsiteX1211" fmla="*/ 1048131 w 1502283"/>
                <a:gd name="connsiteY1211" fmla="*/ 1049465 h 1161573"/>
                <a:gd name="connsiteX1212" fmla="*/ 1049941 w 1502283"/>
                <a:gd name="connsiteY1212" fmla="*/ 1050798 h 1161573"/>
                <a:gd name="connsiteX1213" fmla="*/ 1051370 w 1502283"/>
                <a:gd name="connsiteY1213" fmla="*/ 1048988 h 1161573"/>
                <a:gd name="connsiteX1214" fmla="*/ 1049560 w 1502283"/>
                <a:gd name="connsiteY1214" fmla="*/ 1047655 h 1161573"/>
                <a:gd name="connsiteX1215" fmla="*/ 1048988 w 1502283"/>
                <a:gd name="connsiteY1215" fmla="*/ 1042892 h 1161573"/>
                <a:gd name="connsiteX1216" fmla="*/ 1051941 w 1502283"/>
                <a:gd name="connsiteY1216" fmla="*/ 1040892 h 1161573"/>
                <a:gd name="connsiteX1217" fmla="*/ 1048798 w 1502283"/>
                <a:gd name="connsiteY1217" fmla="*/ 1041273 h 1161573"/>
                <a:gd name="connsiteX1218" fmla="*/ 1048226 w 1502283"/>
                <a:gd name="connsiteY1218" fmla="*/ 1036510 h 1161573"/>
                <a:gd name="connsiteX1219" fmla="*/ 1046607 w 1502283"/>
                <a:gd name="connsiteY1219" fmla="*/ 1036701 h 1161573"/>
                <a:gd name="connsiteX1220" fmla="*/ 1044988 w 1502283"/>
                <a:gd name="connsiteY1220" fmla="*/ 1036892 h 1161573"/>
                <a:gd name="connsiteX1221" fmla="*/ 1049369 w 1502283"/>
                <a:gd name="connsiteY1221" fmla="*/ 1033177 h 1161573"/>
                <a:gd name="connsiteX1222" fmla="*/ 1052703 w 1502283"/>
                <a:gd name="connsiteY1222" fmla="*/ 1034320 h 1161573"/>
                <a:gd name="connsiteX1223" fmla="*/ 1052322 w 1502283"/>
                <a:gd name="connsiteY1223" fmla="*/ 1031176 h 1161573"/>
                <a:gd name="connsiteX1224" fmla="*/ 1055656 w 1502283"/>
                <a:gd name="connsiteY1224" fmla="*/ 1032319 h 1161573"/>
                <a:gd name="connsiteX1225" fmla="*/ 1056799 w 1502283"/>
                <a:gd name="connsiteY1225" fmla="*/ 1028986 h 1161573"/>
                <a:gd name="connsiteX1226" fmla="*/ 1057751 w 1502283"/>
                <a:gd name="connsiteY1226" fmla="*/ 1024033 h 1161573"/>
                <a:gd name="connsiteX1227" fmla="*/ 1059561 w 1502283"/>
                <a:gd name="connsiteY1227" fmla="*/ 1025366 h 1161573"/>
                <a:gd name="connsiteX1228" fmla="*/ 1058989 w 1502283"/>
                <a:gd name="connsiteY1228" fmla="*/ 1020604 h 1161573"/>
                <a:gd name="connsiteX1229" fmla="*/ 1065276 w 1502283"/>
                <a:gd name="connsiteY1229" fmla="*/ 1019842 h 1161573"/>
                <a:gd name="connsiteX1230" fmla="*/ 1064514 w 1502283"/>
                <a:gd name="connsiteY1230" fmla="*/ 1013555 h 1161573"/>
                <a:gd name="connsiteX1231" fmla="*/ 1066895 w 1502283"/>
                <a:gd name="connsiteY1231" fmla="*/ 1006793 h 1161573"/>
                <a:gd name="connsiteX1232" fmla="*/ 1072801 w 1502283"/>
                <a:gd name="connsiteY1232" fmla="*/ 1002792 h 1161573"/>
                <a:gd name="connsiteX1233" fmla="*/ 1075373 w 1502283"/>
                <a:gd name="connsiteY1233" fmla="*/ 997649 h 1161573"/>
                <a:gd name="connsiteX1234" fmla="*/ 1079659 w 1502283"/>
                <a:gd name="connsiteY1234" fmla="*/ 993934 h 1161573"/>
                <a:gd name="connsiteX1235" fmla="*/ 1079468 w 1502283"/>
                <a:gd name="connsiteY1235" fmla="*/ 992315 h 1161573"/>
                <a:gd name="connsiteX1236" fmla="*/ 1076706 w 1502283"/>
                <a:gd name="connsiteY1236" fmla="*/ 995839 h 1161573"/>
                <a:gd name="connsiteX1237" fmla="*/ 1074896 w 1502283"/>
                <a:gd name="connsiteY1237" fmla="*/ 994505 h 1161573"/>
                <a:gd name="connsiteX1238" fmla="*/ 1078230 w 1502283"/>
                <a:gd name="connsiteY1238" fmla="*/ 982885 h 1161573"/>
                <a:gd name="connsiteX1239" fmla="*/ 1078039 w 1502283"/>
                <a:gd name="connsiteY1239" fmla="*/ 981266 h 1161573"/>
                <a:gd name="connsiteX1240" fmla="*/ 1083183 w 1502283"/>
                <a:gd name="connsiteY1240" fmla="*/ 983837 h 1161573"/>
                <a:gd name="connsiteX1241" fmla="*/ 1084326 w 1502283"/>
                <a:gd name="connsiteY1241" fmla="*/ 980503 h 1161573"/>
                <a:gd name="connsiteX1242" fmla="*/ 1086136 w 1502283"/>
                <a:gd name="connsiteY1242" fmla="*/ 981837 h 1161573"/>
                <a:gd name="connsiteX1243" fmla="*/ 1087469 w 1502283"/>
                <a:gd name="connsiteY1243" fmla="*/ 980027 h 1161573"/>
                <a:gd name="connsiteX1244" fmla="*/ 1085660 w 1502283"/>
                <a:gd name="connsiteY1244" fmla="*/ 978694 h 1161573"/>
                <a:gd name="connsiteX1245" fmla="*/ 1090613 w 1502283"/>
                <a:gd name="connsiteY1245" fmla="*/ 979646 h 1161573"/>
                <a:gd name="connsiteX1246" fmla="*/ 1093565 w 1502283"/>
                <a:gd name="connsiteY1246" fmla="*/ 977646 h 1161573"/>
                <a:gd name="connsiteX1247" fmla="*/ 1088422 w 1502283"/>
                <a:gd name="connsiteY1247" fmla="*/ 975074 h 1161573"/>
                <a:gd name="connsiteX1248" fmla="*/ 1088231 w 1502283"/>
                <a:gd name="connsiteY1248" fmla="*/ 973455 h 1161573"/>
                <a:gd name="connsiteX1249" fmla="*/ 1090041 w 1502283"/>
                <a:gd name="connsiteY1249" fmla="*/ 974789 h 1161573"/>
                <a:gd name="connsiteX1250" fmla="*/ 1094804 w 1502283"/>
                <a:gd name="connsiteY1250" fmla="*/ 974217 h 1161573"/>
                <a:gd name="connsiteX1251" fmla="*/ 1094423 w 1502283"/>
                <a:gd name="connsiteY1251" fmla="*/ 971074 h 1161573"/>
                <a:gd name="connsiteX1252" fmla="*/ 1095756 w 1502283"/>
                <a:gd name="connsiteY1252" fmla="*/ 969264 h 1161573"/>
                <a:gd name="connsiteX1253" fmla="*/ 1097566 w 1502283"/>
                <a:gd name="connsiteY1253" fmla="*/ 970598 h 1161573"/>
                <a:gd name="connsiteX1254" fmla="*/ 1097185 w 1502283"/>
                <a:gd name="connsiteY1254" fmla="*/ 967454 h 1161573"/>
                <a:gd name="connsiteX1255" fmla="*/ 1098804 w 1502283"/>
                <a:gd name="connsiteY1255" fmla="*/ 967264 h 1161573"/>
                <a:gd name="connsiteX1256" fmla="*/ 1103186 w 1502283"/>
                <a:gd name="connsiteY1256" fmla="*/ 963549 h 1161573"/>
                <a:gd name="connsiteX1257" fmla="*/ 1105186 w 1502283"/>
                <a:gd name="connsiteY1257" fmla="*/ 966502 h 1161573"/>
                <a:gd name="connsiteX1258" fmla="*/ 1112044 w 1502283"/>
                <a:gd name="connsiteY1258" fmla="*/ 957643 h 1161573"/>
                <a:gd name="connsiteX1259" fmla="*/ 1108710 w 1502283"/>
                <a:gd name="connsiteY1259" fmla="*/ 956501 h 1161573"/>
                <a:gd name="connsiteX1260" fmla="*/ 1109472 w 1502283"/>
                <a:gd name="connsiteY1260" fmla="*/ 950024 h 1161573"/>
                <a:gd name="connsiteX1261" fmla="*/ 1112234 w 1502283"/>
                <a:gd name="connsiteY1261" fmla="*/ 946499 h 1161573"/>
                <a:gd name="connsiteX1262" fmla="*/ 1113854 w 1502283"/>
                <a:gd name="connsiteY1262" fmla="*/ 946309 h 1161573"/>
                <a:gd name="connsiteX1263" fmla="*/ 1111853 w 1502283"/>
                <a:gd name="connsiteY1263" fmla="*/ 943356 h 1161573"/>
                <a:gd name="connsiteX1264" fmla="*/ 1113473 w 1502283"/>
                <a:gd name="connsiteY1264" fmla="*/ 943166 h 1161573"/>
                <a:gd name="connsiteX1265" fmla="*/ 1114997 w 1502283"/>
                <a:gd name="connsiteY1265" fmla="*/ 942975 h 1161573"/>
                <a:gd name="connsiteX1266" fmla="*/ 1114615 w 1502283"/>
                <a:gd name="connsiteY1266" fmla="*/ 939832 h 1161573"/>
                <a:gd name="connsiteX1267" fmla="*/ 1117759 w 1502283"/>
                <a:gd name="connsiteY1267" fmla="*/ 939451 h 1161573"/>
                <a:gd name="connsiteX1268" fmla="*/ 1117378 w 1502283"/>
                <a:gd name="connsiteY1268" fmla="*/ 936308 h 1161573"/>
                <a:gd name="connsiteX1269" fmla="*/ 1120140 w 1502283"/>
                <a:gd name="connsiteY1269" fmla="*/ 932783 h 1161573"/>
                <a:gd name="connsiteX1270" fmla="*/ 1121093 w 1502283"/>
                <a:gd name="connsiteY1270" fmla="*/ 927830 h 1161573"/>
                <a:gd name="connsiteX1271" fmla="*/ 1118521 w 1502283"/>
                <a:gd name="connsiteY1271" fmla="*/ 920115 h 1161573"/>
                <a:gd name="connsiteX1272" fmla="*/ 1120712 w 1502283"/>
                <a:gd name="connsiteY1272" fmla="*/ 911828 h 1161573"/>
                <a:gd name="connsiteX1273" fmla="*/ 1118902 w 1502283"/>
                <a:gd name="connsiteY1273" fmla="*/ 910495 h 1161573"/>
                <a:gd name="connsiteX1274" fmla="*/ 1123188 w 1502283"/>
                <a:gd name="connsiteY1274" fmla="*/ 906780 h 1161573"/>
                <a:gd name="connsiteX1275" fmla="*/ 1121188 w 1502283"/>
                <a:gd name="connsiteY1275" fmla="*/ 903827 h 1161573"/>
                <a:gd name="connsiteX1276" fmla="*/ 1124331 w 1502283"/>
                <a:gd name="connsiteY1276" fmla="*/ 903446 h 1161573"/>
                <a:gd name="connsiteX1277" fmla="*/ 1126903 w 1502283"/>
                <a:gd name="connsiteY1277" fmla="*/ 898303 h 1161573"/>
                <a:gd name="connsiteX1278" fmla="*/ 1138714 w 1502283"/>
                <a:gd name="connsiteY1278" fmla="*/ 903160 h 1161573"/>
                <a:gd name="connsiteX1279" fmla="*/ 1146620 w 1502283"/>
                <a:gd name="connsiteY1279" fmla="*/ 902113 h 1161573"/>
                <a:gd name="connsiteX1280" fmla="*/ 1149763 w 1502283"/>
                <a:gd name="connsiteY1280" fmla="*/ 901732 h 1161573"/>
                <a:gd name="connsiteX1281" fmla="*/ 1150715 w 1502283"/>
                <a:gd name="connsiteY1281" fmla="*/ 896779 h 1161573"/>
                <a:gd name="connsiteX1282" fmla="*/ 1153668 w 1502283"/>
                <a:gd name="connsiteY1282" fmla="*/ 894778 h 1161573"/>
                <a:gd name="connsiteX1283" fmla="*/ 1153668 w 1502283"/>
                <a:gd name="connsiteY1283" fmla="*/ 894778 h 1161573"/>
                <a:gd name="connsiteX1284" fmla="*/ 1150525 w 1502283"/>
                <a:gd name="connsiteY1284" fmla="*/ 895159 h 1161573"/>
                <a:gd name="connsiteX1285" fmla="*/ 1151287 w 1502283"/>
                <a:gd name="connsiteY1285" fmla="*/ 888683 h 1161573"/>
                <a:gd name="connsiteX1286" fmla="*/ 1153287 w 1502283"/>
                <a:gd name="connsiteY1286" fmla="*/ 891635 h 1161573"/>
                <a:gd name="connsiteX1287" fmla="*/ 1157764 w 1502283"/>
                <a:gd name="connsiteY1287" fmla="*/ 889444 h 1161573"/>
                <a:gd name="connsiteX1288" fmla="*/ 1155764 w 1502283"/>
                <a:gd name="connsiteY1288" fmla="*/ 886492 h 1161573"/>
                <a:gd name="connsiteX1289" fmla="*/ 1160716 w 1502283"/>
                <a:gd name="connsiteY1289" fmla="*/ 887444 h 1161573"/>
                <a:gd name="connsiteX1290" fmla="*/ 1160526 w 1502283"/>
                <a:gd name="connsiteY1290" fmla="*/ 885825 h 1161573"/>
                <a:gd name="connsiteX1291" fmla="*/ 1158526 w 1502283"/>
                <a:gd name="connsiteY1291" fmla="*/ 882872 h 1161573"/>
                <a:gd name="connsiteX1292" fmla="*/ 1161669 w 1502283"/>
                <a:gd name="connsiteY1292" fmla="*/ 882491 h 1161573"/>
                <a:gd name="connsiteX1293" fmla="*/ 1164622 w 1502283"/>
                <a:gd name="connsiteY1293" fmla="*/ 880491 h 1161573"/>
                <a:gd name="connsiteX1294" fmla="*/ 1162622 w 1502283"/>
                <a:gd name="connsiteY1294" fmla="*/ 877538 h 1161573"/>
                <a:gd name="connsiteX1295" fmla="*/ 1165574 w 1502283"/>
                <a:gd name="connsiteY1295" fmla="*/ 875538 h 1161573"/>
                <a:gd name="connsiteX1296" fmla="*/ 1167194 w 1502283"/>
                <a:gd name="connsiteY1296" fmla="*/ 875348 h 1161573"/>
                <a:gd name="connsiteX1297" fmla="*/ 1166241 w 1502283"/>
                <a:gd name="connsiteY1297" fmla="*/ 880301 h 1161573"/>
                <a:gd name="connsiteX1298" fmla="*/ 1169384 w 1502283"/>
                <a:gd name="connsiteY1298" fmla="*/ 879919 h 1161573"/>
                <a:gd name="connsiteX1299" fmla="*/ 1169003 w 1502283"/>
                <a:gd name="connsiteY1299" fmla="*/ 876776 h 1161573"/>
                <a:gd name="connsiteX1300" fmla="*/ 1166813 w 1502283"/>
                <a:gd name="connsiteY1300" fmla="*/ 872204 h 1161573"/>
                <a:gd name="connsiteX1301" fmla="*/ 1166431 w 1502283"/>
                <a:gd name="connsiteY1301" fmla="*/ 869061 h 1161573"/>
                <a:gd name="connsiteX1302" fmla="*/ 1167765 w 1502283"/>
                <a:gd name="connsiteY1302" fmla="*/ 867251 h 1161573"/>
                <a:gd name="connsiteX1303" fmla="*/ 1174528 w 1502283"/>
                <a:gd name="connsiteY1303" fmla="*/ 869633 h 1161573"/>
                <a:gd name="connsiteX1304" fmla="*/ 1173956 w 1502283"/>
                <a:gd name="connsiteY1304" fmla="*/ 864870 h 1161573"/>
                <a:gd name="connsiteX1305" fmla="*/ 1179671 w 1502283"/>
                <a:gd name="connsiteY1305" fmla="*/ 859346 h 1161573"/>
                <a:gd name="connsiteX1306" fmla="*/ 1182814 w 1502283"/>
                <a:gd name="connsiteY1306" fmla="*/ 858965 h 1161573"/>
                <a:gd name="connsiteX1307" fmla="*/ 1182814 w 1502283"/>
                <a:gd name="connsiteY1307" fmla="*/ 858965 h 1161573"/>
                <a:gd name="connsiteX1308" fmla="*/ 1185958 w 1502283"/>
                <a:gd name="connsiteY1308" fmla="*/ 858584 h 1161573"/>
                <a:gd name="connsiteX1309" fmla="*/ 1187577 w 1502283"/>
                <a:gd name="connsiteY1309" fmla="*/ 858393 h 1161573"/>
                <a:gd name="connsiteX1310" fmla="*/ 1187768 w 1502283"/>
                <a:gd name="connsiteY1310" fmla="*/ 860012 h 1161573"/>
                <a:gd name="connsiteX1311" fmla="*/ 1189577 w 1502283"/>
                <a:gd name="connsiteY1311" fmla="*/ 861346 h 1161573"/>
                <a:gd name="connsiteX1312" fmla="*/ 1190911 w 1502283"/>
                <a:gd name="connsiteY1312" fmla="*/ 859536 h 1161573"/>
                <a:gd name="connsiteX1313" fmla="*/ 1196054 w 1502283"/>
                <a:gd name="connsiteY1313" fmla="*/ 862108 h 1161573"/>
                <a:gd name="connsiteX1314" fmla="*/ 1200340 w 1502283"/>
                <a:gd name="connsiteY1314" fmla="*/ 858393 h 1161573"/>
                <a:gd name="connsiteX1315" fmla="*/ 1202531 w 1502283"/>
                <a:gd name="connsiteY1315" fmla="*/ 862965 h 1161573"/>
                <a:gd name="connsiteX1316" fmla="*/ 1205865 w 1502283"/>
                <a:gd name="connsiteY1316" fmla="*/ 864108 h 1161573"/>
                <a:gd name="connsiteX1317" fmla="*/ 1209389 w 1502283"/>
                <a:gd name="connsiteY1317" fmla="*/ 866870 h 1161573"/>
                <a:gd name="connsiteX1318" fmla="*/ 1217295 w 1502283"/>
                <a:gd name="connsiteY1318" fmla="*/ 865823 h 1161573"/>
                <a:gd name="connsiteX1319" fmla="*/ 1221296 w 1502283"/>
                <a:gd name="connsiteY1319" fmla="*/ 871728 h 1161573"/>
                <a:gd name="connsiteX1320" fmla="*/ 1227963 w 1502283"/>
                <a:gd name="connsiteY1320" fmla="*/ 874109 h 1161573"/>
                <a:gd name="connsiteX1321" fmla="*/ 1234249 w 1502283"/>
                <a:gd name="connsiteY1321" fmla="*/ 873347 h 1161573"/>
                <a:gd name="connsiteX1322" fmla="*/ 1240727 w 1502283"/>
                <a:gd name="connsiteY1322" fmla="*/ 874109 h 1161573"/>
                <a:gd name="connsiteX1323" fmla="*/ 1243108 w 1502283"/>
                <a:gd name="connsiteY1323" fmla="*/ 880205 h 1161573"/>
                <a:gd name="connsiteX1324" fmla="*/ 1255205 w 1502283"/>
                <a:gd name="connsiteY1324" fmla="*/ 886682 h 1161573"/>
                <a:gd name="connsiteX1325" fmla="*/ 1259205 w 1502283"/>
                <a:gd name="connsiteY1325" fmla="*/ 892588 h 1161573"/>
                <a:gd name="connsiteX1326" fmla="*/ 1264158 w 1502283"/>
                <a:gd name="connsiteY1326" fmla="*/ 893540 h 1161573"/>
                <a:gd name="connsiteX1327" fmla="*/ 1270254 w 1502283"/>
                <a:gd name="connsiteY1327" fmla="*/ 891159 h 1161573"/>
                <a:gd name="connsiteX1328" fmla="*/ 1272064 w 1502283"/>
                <a:gd name="connsiteY1328" fmla="*/ 892493 h 1161573"/>
                <a:gd name="connsiteX1329" fmla="*/ 1274445 w 1502283"/>
                <a:gd name="connsiteY1329" fmla="*/ 898589 h 1161573"/>
                <a:gd name="connsiteX1330" fmla="*/ 1280160 w 1502283"/>
                <a:gd name="connsiteY1330" fmla="*/ 905827 h 1161573"/>
                <a:gd name="connsiteX1331" fmla="*/ 1290638 w 1502283"/>
                <a:gd name="connsiteY1331" fmla="*/ 912495 h 1161573"/>
                <a:gd name="connsiteX1332" fmla="*/ 1292828 w 1502283"/>
                <a:gd name="connsiteY1332" fmla="*/ 917067 h 1161573"/>
                <a:gd name="connsiteX1333" fmla="*/ 1295972 w 1502283"/>
                <a:gd name="connsiteY1333" fmla="*/ 916686 h 1161573"/>
                <a:gd name="connsiteX1334" fmla="*/ 1302068 w 1502283"/>
                <a:gd name="connsiteY1334" fmla="*/ 927164 h 1161573"/>
                <a:gd name="connsiteX1335" fmla="*/ 1314069 w 1502283"/>
                <a:gd name="connsiteY1335" fmla="*/ 920782 h 1161573"/>
                <a:gd name="connsiteX1336" fmla="*/ 1319213 w 1502283"/>
                <a:gd name="connsiteY1336" fmla="*/ 923353 h 1161573"/>
                <a:gd name="connsiteX1337" fmla="*/ 1322356 w 1502283"/>
                <a:gd name="connsiteY1337" fmla="*/ 922973 h 1161573"/>
                <a:gd name="connsiteX1338" fmla="*/ 1325880 w 1502283"/>
                <a:gd name="connsiteY1338" fmla="*/ 925735 h 1161573"/>
                <a:gd name="connsiteX1339" fmla="*/ 1331405 w 1502283"/>
                <a:gd name="connsiteY1339" fmla="*/ 918591 h 1161573"/>
                <a:gd name="connsiteX1340" fmla="*/ 1338644 w 1502283"/>
                <a:gd name="connsiteY1340" fmla="*/ 912876 h 1161573"/>
                <a:gd name="connsiteX1341" fmla="*/ 1341406 w 1502283"/>
                <a:gd name="connsiteY1341" fmla="*/ 909352 h 1161573"/>
                <a:gd name="connsiteX1342" fmla="*/ 1347883 w 1502283"/>
                <a:gd name="connsiteY1342" fmla="*/ 910114 h 1161573"/>
                <a:gd name="connsiteX1343" fmla="*/ 1350455 w 1502283"/>
                <a:gd name="connsiteY1343" fmla="*/ 904970 h 1161573"/>
                <a:gd name="connsiteX1344" fmla="*/ 1353979 w 1502283"/>
                <a:gd name="connsiteY1344" fmla="*/ 894874 h 1161573"/>
                <a:gd name="connsiteX1345" fmla="*/ 1359313 w 1502283"/>
                <a:gd name="connsiteY1345" fmla="*/ 898969 h 1161573"/>
                <a:gd name="connsiteX1346" fmla="*/ 1358741 w 1502283"/>
                <a:gd name="connsiteY1346" fmla="*/ 894207 h 1161573"/>
                <a:gd name="connsiteX1347" fmla="*/ 1364266 w 1502283"/>
                <a:gd name="connsiteY1347" fmla="*/ 887063 h 1161573"/>
                <a:gd name="connsiteX1348" fmla="*/ 1382649 w 1502283"/>
                <a:gd name="connsiteY1348" fmla="*/ 892778 h 1161573"/>
                <a:gd name="connsiteX1349" fmla="*/ 1387793 w 1502283"/>
                <a:gd name="connsiteY1349" fmla="*/ 895350 h 1161573"/>
                <a:gd name="connsiteX1350" fmla="*/ 1395698 w 1502283"/>
                <a:gd name="connsiteY1350" fmla="*/ 907161 h 1161573"/>
                <a:gd name="connsiteX1351" fmla="*/ 1406747 w 1502283"/>
                <a:gd name="connsiteY1351" fmla="*/ 918591 h 1161573"/>
                <a:gd name="connsiteX1352" fmla="*/ 1405128 w 1502283"/>
                <a:gd name="connsiteY1352" fmla="*/ 918782 h 1161573"/>
                <a:gd name="connsiteX1353" fmla="*/ 1406938 w 1502283"/>
                <a:gd name="connsiteY1353" fmla="*/ 920115 h 1161573"/>
                <a:gd name="connsiteX1354" fmla="*/ 1412462 w 1502283"/>
                <a:gd name="connsiteY1354" fmla="*/ 925830 h 1161573"/>
                <a:gd name="connsiteX1355" fmla="*/ 1420368 w 1502283"/>
                <a:gd name="connsiteY1355" fmla="*/ 924782 h 1161573"/>
                <a:gd name="connsiteX1356" fmla="*/ 1427416 w 1502283"/>
                <a:gd name="connsiteY1356" fmla="*/ 917448 h 1161573"/>
                <a:gd name="connsiteX1357" fmla="*/ 1435703 w 1502283"/>
                <a:gd name="connsiteY1357" fmla="*/ 919639 h 1161573"/>
                <a:gd name="connsiteX1358" fmla="*/ 1442371 w 1502283"/>
                <a:gd name="connsiteY1358" fmla="*/ 909161 h 1161573"/>
                <a:gd name="connsiteX1359" fmla="*/ 1450657 w 1502283"/>
                <a:gd name="connsiteY1359" fmla="*/ 911352 h 1161573"/>
                <a:gd name="connsiteX1360" fmla="*/ 1455230 w 1502283"/>
                <a:gd name="connsiteY1360" fmla="*/ 909161 h 1161573"/>
                <a:gd name="connsiteX1361" fmla="*/ 1463326 w 1502283"/>
                <a:gd name="connsiteY1361" fmla="*/ 909733 h 1161573"/>
                <a:gd name="connsiteX1362" fmla="*/ 1467612 w 1502283"/>
                <a:gd name="connsiteY1362" fmla="*/ 906018 h 1161573"/>
                <a:gd name="connsiteX1363" fmla="*/ 1469327 w 1502283"/>
                <a:gd name="connsiteY1363" fmla="*/ 894588 h 1161573"/>
                <a:gd name="connsiteX1364" fmla="*/ 1472089 w 1502283"/>
                <a:gd name="connsiteY1364" fmla="*/ 891064 h 1161573"/>
                <a:gd name="connsiteX1365" fmla="*/ 1484757 w 1502283"/>
                <a:gd name="connsiteY1365" fmla="*/ 889444 h 1161573"/>
                <a:gd name="connsiteX1366" fmla="*/ 1485519 w 1502283"/>
                <a:gd name="connsiteY1366" fmla="*/ 882968 h 1161573"/>
                <a:gd name="connsiteX1367" fmla="*/ 1491044 w 1502283"/>
                <a:gd name="connsiteY1367" fmla="*/ 875824 h 1161573"/>
                <a:gd name="connsiteX1368" fmla="*/ 1497330 w 1502283"/>
                <a:gd name="connsiteY1368" fmla="*/ 875062 h 1161573"/>
                <a:gd name="connsiteX1369" fmla="*/ 1502283 w 1502283"/>
                <a:gd name="connsiteY1369" fmla="*/ 876014 h 1161573"/>
                <a:gd name="connsiteX1370" fmla="*/ 1495139 w 1502283"/>
                <a:gd name="connsiteY1370" fmla="*/ 857726 h 1161573"/>
                <a:gd name="connsiteX1371" fmla="*/ 1495139 w 1502283"/>
                <a:gd name="connsiteY1371" fmla="*/ 857726 h 116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</a:cxnLst>
              <a:rect l="l" t="t" r="r" b="b"/>
              <a:pathLst>
                <a:path w="1502283" h="1161573">
                  <a:moveTo>
                    <a:pt x="1496282" y="857155"/>
                  </a:moveTo>
                  <a:lnTo>
                    <a:pt x="1495711" y="852392"/>
                  </a:lnTo>
                  <a:lnTo>
                    <a:pt x="1497330" y="852202"/>
                  </a:lnTo>
                  <a:lnTo>
                    <a:pt x="1495520" y="850868"/>
                  </a:lnTo>
                  <a:lnTo>
                    <a:pt x="1498282" y="847344"/>
                  </a:lnTo>
                  <a:lnTo>
                    <a:pt x="1490567" y="849916"/>
                  </a:lnTo>
                  <a:lnTo>
                    <a:pt x="1486853" y="845630"/>
                  </a:lnTo>
                  <a:lnTo>
                    <a:pt x="1487996" y="842296"/>
                  </a:lnTo>
                  <a:lnTo>
                    <a:pt x="1481899" y="831818"/>
                  </a:lnTo>
                  <a:lnTo>
                    <a:pt x="1469803" y="812483"/>
                  </a:lnTo>
                  <a:lnTo>
                    <a:pt x="1458563" y="812292"/>
                  </a:lnTo>
                  <a:lnTo>
                    <a:pt x="1442371" y="798290"/>
                  </a:lnTo>
                  <a:lnTo>
                    <a:pt x="1437608" y="798862"/>
                  </a:lnTo>
                  <a:lnTo>
                    <a:pt x="1433513" y="804196"/>
                  </a:lnTo>
                  <a:lnTo>
                    <a:pt x="1424845" y="798862"/>
                  </a:lnTo>
                  <a:lnTo>
                    <a:pt x="1432274" y="781907"/>
                  </a:lnTo>
                  <a:lnTo>
                    <a:pt x="1431703" y="777145"/>
                  </a:lnTo>
                  <a:lnTo>
                    <a:pt x="1434465" y="773621"/>
                  </a:lnTo>
                  <a:lnTo>
                    <a:pt x="1425797" y="768287"/>
                  </a:lnTo>
                  <a:lnTo>
                    <a:pt x="1411796" y="758857"/>
                  </a:lnTo>
                  <a:lnTo>
                    <a:pt x="1402937" y="764762"/>
                  </a:lnTo>
                  <a:lnTo>
                    <a:pt x="1400937" y="761809"/>
                  </a:lnTo>
                  <a:lnTo>
                    <a:pt x="1394365" y="748189"/>
                  </a:lnTo>
                  <a:lnTo>
                    <a:pt x="1395413" y="756095"/>
                  </a:lnTo>
                  <a:lnTo>
                    <a:pt x="1381601" y="761048"/>
                  </a:lnTo>
                  <a:lnTo>
                    <a:pt x="1375886" y="753809"/>
                  </a:lnTo>
                  <a:lnTo>
                    <a:pt x="1372933" y="755809"/>
                  </a:lnTo>
                  <a:lnTo>
                    <a:pt x="1372743" y="754190"/>
                  </a:lnTo>
                  <a:lnTo>
                    <a:pt x="1366838" y="758190"/>
                  </a:lnTo>
                  <a:lnTo>
                    <a:pt x="1365028" y="756857"/>
                  </a:lnTo>
                  <a:lnTo>
                    <a:pt x="1362265" y="760381"/>
                  </a:lnTo>
                  <a:lnTo>
                    <a:pt x="1360456" y="759047"/>
                  </a:lnTo>
                  <a:lnTo>
                    <a:pt x="1348645" y="766953"/>
                  </a:lnTo>
                  <a:lnTo>
                    <a:pt x="1339596" y="758476"/>
                  </a:lnTo>
                  <a:lnTo>
                    <a:pt x="1337977" y="758666"/>
                  </a:lnTo>
                  <a:lnTo>
                    <a:pt x="1328642" y="748665"/>
                  </a:lnTo>
                  <a:lnTo>
                    <a:pt x="1321689" y="744760"/>
                  </a:lnTo>
                  <a:lnTo>
                    <a:pt x="1320260" y="733711"/>
                  </a:lnTo>
                  <a:lnTo>
                    <a:pt x="1309402" y="736663"/>
                  </a:lnTo>
                  <a:lnTo>
                    <a:pt x="1307021" y="743331"/>
                  </a:lnTo>
                  <a:lnTo>
                    <a:pt x="1304830" y="738759"/>
                  </a:lnTo>
                  <a:lnTo>
                    <a:pt x="1303496" y="740569"/>
                  </a:lnTo>
                  <a:lnTo>
                    <a:pt x="1300163" y="739426"/>
                  </a:lnTo>
                  <a:lnTo>
                    <a:pt x="1298829" y="741236"/>
                  </a:lnTo>
                  <a:lnTo>
                    <a:pt x="1292162" y="738854"/>
                  </a:lnTo>
                  <a:lnTo>
                    <a:pt x="1290352" y="737521"/>
                  </a:lnTo>
                  <a:lnTo>
                    <a:pt x="1290161" y="735901"/>
                  </a:lnTo>
                  <a:lnTo>
                    <a:pt x="1291304" y="732568"/>
                  </a:lnTo>
                  <a:lnTo>
                    <a:pt x="1289495" y="731234"/>
                  </a:lnTo>
                  <a:lnTo>
                    <a:pt x="1293590" y="725900"/>
                  </a:lnTo>
                  <a:lnTo>
                    <a:pt x="1293209" y="722757"/>
                  </a:lnTo>
                  <a:lnTo>
                    <a:pt x="1294352" y="719423"/>
                  </a:lnTo>
                  <a:lnTo>
                    <a:pt x="1292352" y="716471"/>
                  </a:lnTo>
                  <a:lnTo>
                    <a:pt x="1294543" y="708184"/>
                  </a:lnTo>
                  <a:lnTo>
                    <a:pt x="1289209" y="704088"/>
                  </a:lnTo>
                  <a:lnTo>
                    <a:pt x="1288066" y="707422"/>
                  </a:lnTo>
                  <a:lnTo>
                    <a:pt x="1281113" y="703517"/>
                  </a:lnTo>
                  <a:lnTo>
                    <a:pt x="1282256" y="700183"/>
                  </a:lnTo>
                  <a:lnTo>
                    <a:pt x="1276922" y="696087"/>
                  </a:lnTo>
                  <a:lnTo>
                    <a:pt x="1269397" y="700278"/>
                  </a:lnTo>
                  <a:lnTo>
                    <a:pt x="1266063" y="699135"/>
                  </a:lnTo>
                  <a:lnTo>
                    <a:pt x="1259777" y="699897"/>
                  </a:lnTo>
                  <a:lnTo>
                    <a:pt x="1257586" y="695325"/>
                  </a:lnTo>
                  <a:lnTo>
                    <a:pt x="1254252" y="694182"/>
                  </a:lnTo>
                  <a:lnTo>
                    <a:pt x="1252633" y="694373"/>
                  </a:lnTo>
                  <a:lnTo>
                    <a:pt x="1251299" y="696182"/>
                  </a:lnTo>
                  <a:lnTo>
                    <a:pt x="1244822" y="695420"/>
                  </a:lnTo>
                  <a:lnTo>
                    <a:pt x="1245013" y="697040"/>
                  </a:lnTo>
                  <a:lnTo>
                    <a:pt x="1241489" y="694277"/>
                  </a:lnTo>
                  <a:lnTo>
                    <a:pt x="1238726" y="697801"/>
                  </a:lnTo>
                  <a:lnTo>
                    <a:pt x="1233964" y="698373"/>
                  </a:lnTo>
                  <a:lnTo>
                    <a:pt x="1233964" y="685514"/>
                  </a:lnTo>
                  <a:cubicBezTo>
                    <a:pt x="1233964" y="685514"/>
                    <a:pt x="1230344" y="682752"/>
                    <a:pt x="1230344" y="682752"/>
                  </a:cubicBezTo>
                  <a:lnTo>
                    <a:pt x="1227963" y="676656"/>
                  </a:lnTo>
                  <a:lnTo>
                    <a:pt x="1223010" y="675704"/>
                  </a:lnTo>
                  <a:lnTo>
                    <a:pt x="1218724" y="679418"/>
                  </a:lnTo>
                  <a:lnTo>
                    <a:pt x="1217105" y="679609"/>
                  </a:lnTo>
                  <a:lnTo>
                    <a:pt x="1215866" y="670179"/>
                  </a:lnTo>
                  <a:lnTo>
                    <a:pt x="1199674" y="669036"/>
                  </a:lnTo>
                  <a:lnTo>
                    <a:pt x="1197293" y="675704"/>
                  </a:lnTo>
                  <a:lnTo>
                    <a:pt x="1194340" y="677704"/>
                  </a:lnTo>
                  <a:lnTo>
                    <a:pt x="1192339" y="674751"/>
                  </a:lnTo>
                  <a:lnTo>
                    <a:pt x="1193482" y="671417"/>
                  </a:lnTo>
                  <a:lnTo>
                    <a:pt x="1195864" y="664750"/>
                  </a:lnTo>
                  <a:lnTo>
                    <a:pt x="1195483" y="661607"/>
                  </a:lnTo>
                  <a:lnTo>
                    <a:pt x="1199579" y="656273"/>
                  </a:lnTo>
                  <a:lnTo>
                    <a:pt x="1200531" y="651320"/>
                  </a:lnTo>
                  <a:lnTo>
                    <a:pt x="1200912" y="641604"/>
                  </a:lnTo>
                  <a:lnTo>
                    <a:pt x="1198721" y="637032"/>
                  </a:lnTo>
                  <a:lnTo>
                    <a:pt x="1198150" y="632270"/>
                  </a:lnTo>
                  <a:lnTo>
                    <a:pt x="1196149" y="629317"/>
                  </a:lnTo>
                  <a:lnTo>
                    <a:pt x="1191197" y="628364"/>
                  </a:lnTo>
                  <a:lnTo>
                    <a:pt x="1187577" y="612743"/>
                  </a:lnTo>
                  <a:lnTo>
                    <a:pt x="1185767" y="611410"/>
                  </a:lnTo>
                  <a:lnTo>
                    <a:pt x="1177671" y="610838"/>
                  </a:lnTo>
                  <a:lnTo>
                    <a:pt x="1167384" y="618554"/>
                  </a:lnTo>
                  <a:lnTo>
                    <a:pt x="1156525" y="621506"/>
                  </a:lnTo>
                  <a:lnTo>
                    <a:pt x="1151954" y="623697"/>
                  </a:lnTo>
                  <a:lnTo>
                    <a:pt x="1148620" y="622554"/>
                  </a:lnTo>
                  <a:lnTo>
                    <a:pt x="1145667" y="624554"/>
                  </a:lnTo>
                  <a:lnTo>
                    <a:pt x="1142524" y="624935"/>
                  </a:lnTo>
                  <a:lnTo>
                    <a:pt x="1138619" y="631888"/>
                  </a:lnTo>
                  <a:lnTo>
                    <a:pt x="1135094" y="629126"/>
                  </a:lnTo>
                  <a:lnTo>
                    <a:pt x="1130618" y="631317"/>
                  </a:lnTo>
                  <a:lnTo>
                    <a:pt x="1114235" y="628555"/>
                  </a:lnTo>
                  <a:lnTo>
                    <a:pt x="1120140" y="624554"/>
                  </a:lnTo>
                  <a:lnTo>
                    <a:pt x="1120902" y="618077"/>
                  </a:lnTo>
                  <a:lnTo>
                    <a:pt x="1118711" y="613505"/>
                  </a:lnTo>
                  <a:lnTo>
                    <a:pt x="1117282" y="615315"/>
                  </a:lnTo>
                  <a:lnTo>
                    <a:pt x="1115092" y="597980"/>
                  </a:lnTo>
                  <a:lnTo>
                    <a:pt x="1126522" y="599694"/>
                  </a:lnTo>
                  <a:lnTo>
                    <a:pt x="1129856" y="600837"/>
                  </a:lnTo>
                  <a:lnTo>
                    <a:pt x="1134142" y="597122"/>
                  </a:lnTo>
                  <a:lnTo>
                    <a:pt x="1133094" y="589217"/>
                  </a:lnTo>
                  <a:lnTo>
                    <a:pt x="1134713" y="589026"/>
                  </a:lnTo>
                  <a:lnTo>
                    <a:pt x="1137666" y="574262"/>
                  </a:lnTo>
                  <a:lnTo>
                    <a:pt x="1138047" y="564642"/>
                  </a:lnTo>
                  <a:lnTo>
                    <a:pt x="1142619" y="562451"/>
                  </a:lnTo>
                  <a:lnTo>
                    <a:pt x="1149096" y="563213"/>
                  </a:lnTo>
                  <a:lnTo>
                    <a:pt x="1150906" y="564547"/>
                  </a:lnTo>
                  <a:lnTo>
                    <a:pt x="1154049" y="564166"/>
                  </a:lnTo>
                  <a:lnTo>
                    <a:pt x="1155192" y="560832"/>
                  </a:lnTo>
                  <a:lnTo>
                    <a:pt x="1156335" y="557498"/>
                  </a:lnTo>
                  <a:lnTo>
                    <a:pt x="1159669" y="558641"/>
                  </a:lnTo>
                  <a:lnTo>
                    <a:pt x="1161002" y="556832"/>
                  </a:lnTo>
                  <a:lnTo>
                    <a:pt x="1165955" y="557784"/>
                  </a:lnTo>
                  <a:lnTo>
                    <a:pt x="1169480" y="534924"/>
                  </a:lnTo>
                  <a:lnTo>
                    <a:pt x="1174052" y="532733"/>
                  </a:lnTo>
                  <a:lnTo>
                    <a:pt x="1172051" y="529780"/>
                  </a:lnTo>
                  <a:lnTo>
                    <a:pt x="1173671" y="529590"/>
                  </a:lnTo>
                  <a:lnTo>
                    <a:pt x="1171670" y="526637"/>
                  </a:lnTo>
                  <a:lnTo>
                    <a:pt x="1172813" y="523304"/>
                  </a:lnTo>
                  <a:lnTo>
                    <a:pt x="1176147" y="511683"/>
                  </a:lnTo>
                  <a:lnTo>
                    <a:pt x="1172147" y="505778"/>
                  </a:lnTo>
                  <a:lnTo>
                    <a:pt x="1170623" y="505968"/>
                  </a:lnTo>
                  <a:lnTo>
                    <a:pt x="1165479" y="516255"/>
                  </a:lnTo>
                  <a:lnTo>
                    <a:pt x="1160907" y="518446"/>
                  </a:lnTo>
                  <a:lnTo>
                    <a:pt x="1157383" y="515684"/>
                  </a:lnTo>
                  <a:lnTo>
                    <a:pt x="1154239" y="516065"/>
                  </a:lnTo>
                  <a:lnTo>
                    <a:pt x="1152430" y="514731"/>
                  </a:lnTo>
                  <a:lnTo>
                    <a:pt x="1141381" y="516160"/>
                  </a:lnTo>
                  <a:lnTo>
                    <a:pt x="1141952" y="520922"/>
                  </a:lnTo>
                  <a:lnTo>
                    <a:pt x="1136618" y="516826"/>
                  </a:lnTo>
                  <a:lnTo>
                    <a:pt x="1140714" y="511492"/>
                  </a:lnTo>
                  <a:lnTo>
                    <a:pt x="1141476" y="505016"/>
                  </a:lnTo>
                  <a:lnTo>
                    <a:pt x="1143286" y="506349"/>
                  </a:lnTo>
                  <a:lnTo>
                    <a:pt x="1149001" y="500825"/>
                  </a:lnTo>
                  <a:lnTo>
                    <a:pt x="1146810" y="496253"/>
                  </a:lnTo>
                  <a:lnTo>
                    <a:pt x="1145191" y="496443"/>
                  </a:lnTo>
                  <a:lnTo>
                    <a:pt x="1143381" y="495109"/>
                  </a:lnTo>
                  <a:lnTo>
                    <a:pt x="1140047" y="493967"/>
                  </a:lnTo>
                  <a:lnTo>
                    <a:pt x="1137095" y="483108"/>
                  </a:lnTo>
                  <a:lnTo>
                    <a:pt x="1132904" y="475583"/>
                  </a:lnTo>
                  <a:lnTo>
                    <a:pt x="1127570" y="471488"/>
                  </a:lnTo>
                  <a:lnTo>
                    <a:pt x="1133856" y="457867"/>
                  </a:lnTo>
                  <a:lnTo>
                    <a:pt x="1132808" y="449961"/>
                  </a:lnTo>
                  <a:lnTo>
                    <a:pt x="1129094" y="445675"/>
                  </a:lnTo>
                  <a:lnTo>
                    <a:pt x="1126903" y="441103"/>
                  </a:lnTo>
                  <a:lnTo>
                    <a:pt x="1121759" y="438531"/>
                  </a:lnTo>
                  <a:lnTo>
                    <a:pt x="1122521" y="432054"/>
                  </a:lnTo>
                  <a:lnTo>
                    <a:pt x="1128427" y="428054"/>
                  </a:lnTo>
                  <a:lnTo>
                    <a:pt x="1130998" y="422910"/>
                  </a:lnTo>
                  <a:lnTo>
                    <a:pt x="1135571" y="420719"/>
                  </a:lnTo>
                  <a:lnTo>
                    <a:pt x="1137475" y="410813"/>
                  </a:lnTo>
                  <a:lnTo>
                    <a:pt x="1137285" y="409194"/>
                  </a:lnTo>
                  <a:lnTo>
                    <a:pt x="1141190" y="402241"/>
                  </a:lnTo>
                  <a:lnTo>
                    <a:pt x="1142810" y="402050"/>
                  </a:lnTo>
                  <a:lnTo>
                    <a:pt x="1142429" y="398907"/>
                  </a:lnTo>
                  <a:lnTo>
                    <a:pt x="1142238" y="397288"/>
                  </a:lnTo>
                  <a:lnTo>
                    <a:pt x="1139285" y="399288"/>
                  </a:lnTo>
                  <a:lnTo>
                    <a:pt x="1140428" y="395954"/>
                  </a:lnTo>
                  <a:lnTo>
                    <a:pt x="1138619" y="394621"/>
                  </a:lnTo>
                  <a:lnTo>
                    <a:pt x="1135856" y="385382"/>
                  </a:lnTo>
                  <a:lnTo>
                    <a:pt x="1135285" y="380619"/>
                  </a:lnTo>
                  <a:lnTo>
                    <a:pt x="1133475" y="379286"/>
                  </a:lnTo>
                  <a:lnTo>
                    <a:pt x="1132141" y="381095"/>
                  </a:lnTo>
                  <a:lnTo>
                    <a:pt x="1129951" y="376523"/>
                  </a:lnTo>
                  <a:lnTo>
                    <a:pt x="1129189" y="370237"/>
                  </a:lnTo>
                  <a:lnTo>
                    <a:pt x="1126617" y="362521"/>
                  </a:lnTo>
                  <a:lnTo>
                    <a:pt x="1122616" y="356616"/>
                  </a:lnTo>
                  <a:lnTo>
                    <a:pt x="1125569" y="354616"/>
                  </a:lnTo>
                  <a:lnTo>
                    <a:pt x="1125379" y="352996"/>
                  </a:lnTo>
                  <a:lnTo>
                    <a:pt x="1126522" y="349663"/>
                  </a:lnTo>
                  <a:lnTo>
                    <a:pt x="1125760" y="343376"/>
                  </a:lnTo>
                  <a:lnTo>
                    <a:pt x="1118045" y="345948"/>
                  </a:lnTo>
                  <a:lnTo>
                    <a:pt x="1112139" y="337090"/>
                  </a:lnTo>
                  <a:lnTo>
                    <a:pt x="1108424" y="332804"/>
                  </a:lnTo>
                  <a:lnTo>
                    <a:pt x="1109758" y="330994"/>
                  </a:lnTo>
                  <a:lnTo>
                    <a:pt x="1104805" y="330041"/>
                  </a:lnTo>
                  <a:lnTo>
                    <a:pt x="1096328" y="326326"/>
                  </a:lnTo>
                  <a:lnTo>
                    <a:pt x="1093184" y="326708"/>
                  </a:lnTo>
                  <a:lnTo>
                    <a:pt x="1091851" y="328517"/>
                  </a:lnTo>
                  <a:lnTo>
                    <a:pt x="1083183" y="323183"/>
                  </a:lnTo>
                  <a:lnTo>
                    <a:pt x="1080040" y="323564"/>
                  </a:lnTo>
                  <a:lnTo>
                    <a:pt x="1078516" y="323755"/>
                  </a:lnTo>
                  <a:lnTo>
                    <a:pt x="1078325" y="322136"/>
                  </a:lnTo>
                  <a:lnTo>
                    <a:pt x="1071563" y="319754"/>
                  </a:lnTo>
                  <a:lnTo>
                    <a:pt x="1069562" y="316801"/>
                  </a:lnTo>
                  <a:lnTo>
                    <a:pt x="1070896" y="314992"/>
                  </a:lnTo>
                  <a:lnTo>
                    <a:pt x="1060799" y="311467"/>
                  </a:lnTo>
                  <a:lnTo>
                    <a:pt x="1059466" y="313277"/>
                  </a:lnTo>
                  <a:lnTo>
                    <a:pt x="1055465" y="307372"/>
                  </a:lnTo>
                  <a:lnTo>
                    <a:pt x="1060037" y="305181"/>
                  </a:lnTo>
                  <a:lnTo>
                    <a:pt x="1060990" y="300228"/>
                  </a:lnTo>
                  <a:lnTo>
                    <a:pt x="1059180" y="298895"/>
                  </a:lnTo>
                  <a:lnTo>
                    <a:pt x="1059180" y="298895"/>
                  </a:lnTo>
                  <a:lnTo>
                    <a:pt x="1057180" y="295942"/>
                  </a:lnTo>
                  <a:lnTo>
                    <a:pt x="1062514" y="287274"/>
                  </a:lnTo>
                  <a:lnTo>
                    <a:pt x="1065276" y="283750"/>
                  </a:lnTo>
                  <a:lnTo>
                    <a:pt x="1063276" y="280797"/>
                  </a:lnTo>
                  <a:lnTo>
                    <a:pt x="1064228" y="275844"/>
                  </a:lnTo>
                  <a:lnTo>
                    <a:pt x="1068324" y="270510"/>
                  </a:lnTo>
                  <a:lnTo>
                    <a:pt x="1067562" y="264224"/>
                  </a:lnTo>
                  <a:lnTo>
                    <a:pt x="1063752" y="259937"/>
                  </a:lnTo>
                  <a:lnTo>
                    <a:pt x="1061371" y="253841"/>
                  </a:lnTo>
                  <a:lnTo>
                    <a:pt x="1059180" y="249269"/>
                  </a:lnTo>
                  <a:lnTo>
                    <a:pt x="1057561" y="249460"/>
                  </a:lnTo>
                  <a:lnTo>
                    <a:pt x="1059752" y="254032"/>
                  </a:lnTo>
                  <a:lnTo>
                    <a:pt x="1056989" y="257556"/>
                  </a:lnTo>
                  <a:lnTo>
                    <a:pt x="1057370" y="260699"/>
                  </a:lnTo>
                  <a:lnTo>
                    <a:pt x="1052608" y="261271"/>
                  </a:lnTo>
                  <a:lnTo>
                    <a:pt x="1055941" y="262414"/>
                  </a:lnTo>
                  <a:lnTo>
                    <a:pt x="1054989" y="267367"/>
                  </a:lnTo>
                  <a:lnTo>
                    <a:pt x="1056608" y="267176"/>
                  </a:lnTo>
                  <a:lnTo>
                    <a:pt x="1056989" y="270320"/>
                  </a:lnTo>
                  <a:lnTo>
                    <a:pt x="1058323" y="268510"/>
                  </a:lnTo>
                  <a:lnTo>
                    <a:pt x="1055561" y="272034"/>
                  </a:lnTo>
                  <a:lnTo>
                    <a:pt x="1055561" y="272034"/>
                  </a:lnTo>
                  <a:lnTo>
                    <a:pt x="1055751" y="273653"/>
                  </a:lnTo>
                  <a:lnTo>
                    <a:pt x="1050798" y="272701"/>
                  </a:lnTo>
                  <a:lnTo>
                    <a:pt x="1049179" y="272891"/>
                  </a:lnTo>
                  <a:lnTo>
                    <a:pt x="1049369" y="274511"/>
                  </a:lnTo>
                  <a:lnTo>
                    <a:pt x="1046226" y="274892"/>
                  </a:lnTo>
                  <a:lnTo>
                    <a:pt x="1045655" y="270129"/>
                  </a:lnTo>
                  <a:lnTo>
                    <a:pt x="1046797" y="266795"/>
                  </a:lnTo>
                  <a:lnTo>
                    <a:pt x="1043654" y="267176"/>
                  </a:lnTo>
                  <a:lnTo>
                    <a:pt x="1041273" y="261080"/>
                  </a:lnTo>
                  <a:lnTo>
                    <a:pt x="1039654" y="261271"/>
                  </a:lnTo>
                  <a:lnTo>
                    <a:pt x="1042225" y="256127"/>
                  </a:lnTo>
                  <a:lnTo>
                    <a:pt x="1032796" y="257366"/>
                  </a:lnTo>
                  <a:lnTo>
                    <a:pt x="1032224" y="252603"/>
                  </a:lnTo>
                  <a:lnTo>
                    <a:pt x="1035558" y="253746"/>
                  </a:lnTo>
                  <a:lnTo>
                    <a:pt x="1034987" y="248984"/>
                  </a:lnTo>
                  <a:lnTo>
                    <a:pt x="1033367" y="249174"/>
                  </a:lnTo>
                  <a:lnTo>
                    <a:pt x="1035748" y="242507"/>
                  </a:lnTo>
                  <a:lnTo>
                    <a:pt x="1035368" y="239363"/>
                  </a:lnTo>
                  <a:lnTo>
                    <a:pt x="1030605" y="239935"/>
                  </a:lnTo>
                  <a:lnTo>
                    <a:pt x="1030224" y="236792"/>
                  </a:lnTo>
                  <a:lnTo>
                    <a:pt x="1025652" y="238982"/>
                  </a:lnTo>
                  <a:lnTo>
                    <a:pt x="1020699" y="238030"/>
                  </a:lnTo>
                  <a:lnTo>
                    <a:pt x="1013555" y="232505"/>
                  </a:lnTo>
                  <a:lnTo>
                    <a:pt x="1014698" y="229171"/>
                  </a:lnTo>
                  <a:lnTo>
                    <a:pt x="1016508" y="230505"/>
                  </a:lnTo>
                  <a:lnTo>
                    <a:pt x="1017270" y="224028"/>
                  </a:lnTo>
                  <a:lnTo>
                    <a:pt x="1016698" y="219266"/>
                  </a:lnTo>
                  <a:lnTo>
                    <a:pt x="1012127" y="208598"/>
                  </a:lnTo>
                  <a:lnTo>
                    <a:pt x="1011936" y="206978"/>
                  </a:lnTo>
                  <a:lnTo>
                    <a:pt x="1013555" y="206788"/>
                  </a:lnTo>
                  <a:lnTo>
                    <a:pt x="1012507" y="198882"/>
                  </a:lnTo>
                  <a:lnTo>
                    <a:pt x="1010698" y="197453"/>
                  </a:lnTo>
                  <a:lnTo>
                    <a:pt x="1008697" y="194500"/>
                  </a:lnTo>
                  <a:lnTo>
                    <a:pt x="1005745" y="196501"/>
                  </a:lnTo>
                  <a:lnTo>
                    <a:pt x="1002221" y="193738"/>
                  </a:lnTo>
                  <a:lnTo>
                    <a:pt x="1000601" y="193929"/>
                  </a:lnTo>
                  <a:lnTo>
                    <a:pt x="1000220" y="190786"/>
                  </a:lnTo>
                  <a:lnTo>
                    <a:pt x="1004983" y="190214"/>
                  </a:lnTo>
                  <a:lnTo>
                    <a:pt x="1006316" y="188404"/>
                  </a:lnTo>
                  <a:lnTo>
                    <a:pt x="1004316" y="185452"/>
                  </a:lnTo>
                  <a:lnTo>
                    <a:pt x="992886" y="183737"/>
                  </a:lnTo>
                  <a:lnTo>
                    <a:pt x="992314" y="178975"/>
                  </a:lnTo>
                  <a:lnTo>
                    <a:pt x="989171" y="179356"/>
                  </a:lnTo>
                  <a:lnTo>
                    <a:pt x="987171" y="176403"/>
                  </a:lnTo>
                  <a:lnTo>
                    <a:pt x="993457" y="175641"/>
                  </a:lnTo>
                  <a:lnTo>
                    <a:pt x="992219" y="166211"/>
                  </a:lnTo>
                  <a:lnTo>
                    <a:pt x="985266" y="162306"/>
                  </a:lnTo>
                  <a:lnTo>
                    <a:pt x="983266" y="159353"/>
                  </a:lnTo>
                  <a:lnTo>
                    <a:pt x="984599" y="157544"/>
                  </a:lnTo>
                  <a:lnTo>
                    <a:pt x="981265" y="156400"/>
                  </a:lnTo>
                  <a:lnTo>
                    <a:pt x="981075" y="154781"/>
                  </a:lnTo>
                  <a:lnTo>
                    <a:pt x="977741" y="153638"/>
                  </a:lnTo>
                  <a:lnTo>
                    <a:pt x="973836" y="160592"/>
                  </a:lnTo>
                  <a:lnTo>
                    <a:pt x="962787" y="149162"/>
                  </a:lnTo>
                  <a:lnTo>
                    <a:pt x="960977" y="147828"/>
                  </a:lnTo>
                  <a:lnTo>
                    <a:pt x="958215" y="151352"/>
                  </a:lnTo>
                  <a:lnTo>
                    <a:pt x="954881" y="150209"/>
                  </a:lnTo>
                  <a:lnTo>
                    <a:pt x="940118" y="160115"/>
                  </a:lnTo>
                  <a:lnTo>
                    <a:pt x="935355" y="160687"/>
                  </a:lnTo>
                  <a:lnTo>
                    <a:pt x="932402" y="162687"/>
                  </a:lnTo>
                  <a:lnTo>
                    <a:pt x="934212" y="164021"/>
                  </a:lnTo>
                  <a:lnTo>
                    <a:pt x="935831" y="163830"/>
                  </a:lnTo>
                  <a:lnTo>
                    <a:pt x="937641" y="165163"/>
                  </a:lnTo>
                  <a:lnTo>
                    <a:pt x="934498" y="165545"/>
                  </a:lnTo>
                  <a:lnTo>
                    <a:pt x="933545" y="170498"/>
                  </a:lnTo>
                  <a:lnTo>
                    <a:pt x="930593" y="172498"/>
                  </a:lnTo>
                  <a:lnTo>
                    <a:pt x="925449" y="169926"/>
                  </a:lnTo>
                  <a:lnTo>
                    <a:pt x="921163" y="173641"/>
                  </a:lnTo>
                  <a:lnTo>
                    <a:pt x="927449" y="172879"/>
                  </a:lnTo>
                  <a:lnTo>
                    <a:pt x="931164" y="177165"/>
                  </a:lnTo>
                  <a:lnTo>
                    <a:pt x="928783" y="183833"/>
                  </a:lnTo>
                  <a:lnTo>
                    <a:pt x="930402" y="183642"/>
                  </a:lnTo>
                  <a:lnTo>
                    <a:pt x="933736" y="184785"/>
                  </a:lnTo>
                  <a:lnTo>
                    <a:pt x="936688" y="182785"/>
                  </a:lnTo>
                  <a:lnTo>
                    <a:pt x="936879" y="184404"/>
                  </a:lnTo>
                  <a:lnTo>
                    <a:pt x="938689" y="185738"/>
                  </a:lnTo>
                  <a:lnTo>
                    <a:pt x="941070" y="191834"/>
                  </a:lnTo>
                  <a:lnTo>
                    <a:pt x="942689" y="191643"/>
                  </a:lnTo>
                  <a:lnTo>
                    <a:pt x="943261" y="196405"/>
                  </a:lnTo>
                  <a:lnTo>
                    <a:pt x="944594" y="194596"/>
                  </a:lnTo>
                  <a:lnTo>
                    <a:pt x="949357" y="194024"/>
                  </a:lnTo>
                  <a:lnTo>
                    <a:pt x="949738" y="197167"/>
                  </a:lnTo>
                  <a:lnTo>
                    <a:pt x="953072" y="198311"/>
                  </a:lnTo>
                  <a:lnTo>
                    <a:pt x="951929" y="201644"/>
                  </a:lnTo>
                  <a:lnTo>
                    <a:pt x="952119" y="203263"/>
                  </a:lnTo>
                  <a:lnTo>
                    <a:pt x="947642" y="205454"/>
                  </a:lnTo>
                  <a:lnTo>
                    <a:pt x="946499" y="208788"/>
                  </a:lnTo>
                  <a:lnTo>
                    <a:pt x="948499" y="211741"/>
                  </a:lnTo>
                  <a:lnTo>
                    <a:pt x="956786" y="213932"/>
                  </a:lnTo>
                  <a:lnTo>
                    <a:pt x="958596" y="215265"/>
                  </a:lnTo>
                  <a:lnTo>
                    <a:pt x="957834" y="221742"/>
                  </a:lnTo>
                  <a:lnTo>
                    <a:pt x="965168" y="228791"/>
                  </a:lnTo>
                  <a:lnTo>
                    <a:pt x="959453" y="234315"/>
                  </a:lnTo>
                  <a:lnTo>
                    <a:pt x="956500" y="236315"/>
                  </a:lnTo>
                  <a:lnTo>
                    <a:pt x="952500" y="230410"/>
                  </a:lnTo>
                  <a:lnTo>
                    <a:pt x="949357" y="243650"/>
                  </a:lnTo>
                  <a:lnTo>
                    <a:pt x="947738" y="243840"/>
                  </a:lnTo>
                  <a:lnTo>
                    <a:pt x="948309" y="248603"/>
                  </a:lnTo>
                  <a:lnTo>
                    <a:pt x="948499" y="250222"/>
                  </a:lnTo>
                  <a:lnTo>
                    <a:pt x="947738" y="256699"/>
                  </a:lnTo>
                  <a:lnTo>
                    <a:pt x="951547" y="260985"/>
                  </a:lnTo>
                  <a:lnTo>
                    <a:pt x="948214" y="259842"/>
                  </a:lnTo>
                  <a:lnTo>
                    <a:pt x="943928" y="263557"/>
                  </a:lnTo>
                  <a:lnTo>
                    <a:pt x="939165" y="264128"/>
                  </a:lnTo>
                  <a:lnTo>
                    <a:pt x="933260" y="268129"/>
                  </a:lnTo>
                  <a:lnTo>
                    <a:pt x="928116" y="278416"/>
                  </a:lnTo>
                  <a:lnTo>
                    <a:pt x="928497" y="281559"/>
                  </a:lnTo>
                  <a:lnTo>
                    <a:pt x="925544" y="283559"/>
                  </a:lnTo>
                  <a:lnTo>
                    <a:pt x="921544" y="277654"/>
                  </a:lnTo>
                  <a:lnTo>
                    <a:pt x="911447" y="274130"/>
                  </a:lnTo>
                  <a:lnTo>
                    <a:pt x="903922" y="265462"/>
                  </a:lnTo>
                  <a:lnTo>
                    <a:pt x="886778" y="256413"/>
                  </a:lnTo>
                  <a:lnTo>
                    <a:pt x="889159" y="249746"/>
                  </a:lnTo>
                  <a:lnTo>
                    <a:pt x="884206" y="248793"/>
                  </a:lnTo>
                  <a:lnTo>
                    <a:pt x="883063" y="252127"/>
                  </a:lnTo>
                  <a:lnTo>
                    <a:pt x="879729" y="250984"/>
                  </a:lnTo>
                  <a:lnTo>
                    <a:pt x="878967" y="244697"/>
                  </a:lnTo>
                  <a:lnTo>
                    <a:pt x="881348" y="238030"/>
                  </a:lnTo>
                  <a:lnTo>
                    <a:pt x="880967" y="234887"/>
                  </a:lnTo>
                  <a:lnTo>
                    <a:pt x="883539" y="229743"/>
                  </a:lnTo>
                  <a:lnTo>
                    <a:pt x="890016" y="230505"/>
                  </a:lnTo>
                  <a:lnTo>
                    <a:pt x="891445" y="228695"/>
                  </a:lnTo>
                  <a:lnTo>
                    <a:pt x="897731" y="227933"/>
                  </a:lnTo>
                  <a:lnTo>
                    <a:pt x="899065" y="226124"/>
                  </a:lnTo>
                  <a:lnTo>
                    <a:pt x="900874" y="227457"/>
                  </a:lnTo>
                  <a:lnTo>
                    <a:pt x="901827" y="222504"/>
                  </a:lnTo>
                  <a:lnTo>
                    <a:pt x="901446" y="219361"/>
                  </a:lnTo>
                  <a:lnTo>
                    <a:pt x="896493" y="218408"/>
                  </a:lnTo>
                  <a:lnTo>
                    <a:pt x="897827" y="216599"/>
                  </a:lnTo>
                  <a:lnTo>
                    <a:pt x="895636" y="212026"/>
                  </a:lnTo>
                  <a:lnTo>
                    <a:pt x="892493" y="212408"/>
                  </a:lnTo>
                  <a:lnTo>
                    <a:pt x="894683" y="204121"/>
                  </a:lnTo>
                  <a:lnTo>
                    <a:pt x="892873" y="202787"/>
                  </a:lnTo>
                  <a:lnTo>
                    <a:pt x="886587" y="203549"/>
                  </a:lnTo>
                  <a:lnTo>
                    <a:pt x="884587" y="200596"/>
                  </a:lnTo>
                  <a:lnTo>
                    <a:pt x="879634" y="199644"/>
                  </a:lnTo>
                  <a:lnTo>
                    <a:pt x="880586" y="181928"/>
                  </a:lnTo>
                  <a:lnTo>
                    <a:pt x="877253" y="180784"/>
                  </a:lnTo>
                  <a:lnTo>
                    <a:pt x="880396" y="180404"/>
                  </a:lnTo>
                  <a:lnTo>
                    <a:pt x="880205" y="178784"/>
                  </a:lnTo>
                  <a:lnTo>
                    <a:pt x="876205" y="172879"/>
                  </a:lnTo>
                  <a:lnTo>
                    <a:pt x="875633" y="168116"/>
                  </a:lnTo>
                  <a:lnTo>
                    <a:pt x="873633" y="165163"/>
                  </a:lnTo>
                  <a:lnTo>
                    <a:pt x="872871" y="158877"/>
                  </a:lnTo>
                  <a:lnTo>
                    <a:pt x="869156" y="154496"/>
                  </a:lnTo>
                  <a:lnTo>
                    <a:pt x="872490" y="142875"/>
                  </a:lnTo>
                  <a:lnTo>
                    <a:pt x="870490" y="139922"/>
                  </a:lnTo>
                  <a:lnTo>
                    <a:pt x="876205" y="134398"/>
                  </a:lnTo>
                  <a:lnTo>
                    <a:pt x="879538" y="135541"/>
                  </a:lnTo>
                  <a:lnTo>
                    <a:pt x="882491" y="133541"/>
                  </a:lnTo>
                  <a:lnTo>
                    <a:pt x="883825" y="131731"/>
                  </a:lnTo>
                  <a:lnTo>
                    <a:pt x="882777" y="123825"/>
                  </a:lnTo>
                  <a:lnTo>
                    <a:pt x="880777" y="120872"/>
                  </a:lnTo>
                  <a:lnTo>
                    <a:pt x="884682" y="113919"/>
                  </a:lnTo>
                  <a:lnTo>
                    <a:pt x="889254" y="111728"/>
                  </a:lnTo>
                  <a:lnTo>
                    <a:pt x="894397" y="114300"/>
                  </a:lnTo>
                  <a:lnTo>
                    <a:pt x="900684" y="113538"/>
                  </a:lnTo>
                  <a:lnTo>
                    <a:pt x="902018" y="111728"/>
                  </a:lnTo>
                  <a:lnTo>
                    <a:pt x="900398" y="111919"/>
                  </a:lnTo>
                  <a:lnTo>
                    <a:pt x="898588" y="110585"/>
                  </a:lnTo>
                  <a:lnTo>
                    <a:pt x="895636" y="112586"/>
                  </a:lnTo>
                  <a:lnTo>
                    <a:pt x="895445" y="110966"/>
                  </a:lnTo>
                  <a:lnTo>
                    <a:pt x="890492" y="110014"/>
                  </a:lnTo>
                  <a:lnTo>
                    <a:pt x="888682" y="108680"/>
                  </a:lnTo>
                  <a:lnTo>
                    <a:pt x="887539" y="112014"/>
                  </a:lnTo>
                  <a:lnTo>
                    <a:pt x="887158" y="108871"/>
                  </a:lnTo>
                  <a:lnTo>
                    <a:pt x="888587" y="107061"/>
                  </a:lnTo>
                  <a:lnTo>
                    <a:pt x="884206" y="110776"/>
                  </a:lnTo>
                  <a:lnTo>
                    <a:pt x="876110" y="110204"/>
                  </a:lnTo>
                  <a:lnTo>
                    <a:pt x="867442" y="104870"/>
                  </a:lnTo>
                  <a:lnTo>
                    <a:pt x="865441" y="101917"/>
                  </a:lnTo>
                  <a:lnTo>
                    <a:pt x="858774" y="99536"/>
                  </a:lnTo>
                  <a:lnTo>
                    <a:pt x="855821" y="101537"/>
                  </a:lnTo>
                  <a:lnTo>
                    <a:pt x="850868" y="100584"/>
                  </a:lnTo>
                  <a:lnTo>
                    <a:pt x="847535" y="99441"/>
                  </a:lnTo>
                  <a:lnTo>
                    <a:pt x="841438" y="101822"/>
                  </a:lnTo>
                  <a:lnTo>
                    <a:pt x="834962" y="101060"/>
                  </a:lnTo>
                  <a:lnTo>
                    <a:pt x="837343" y="94393"/>
                  </a:lnTo>
                  <a:lnTo>
                    <a:pt x="840296" y="92392"/>
                  </a:lnTo>
                  <a:lnTo>
                    <a:pt x="842486" y="84106"/>
                  </a:lnTo>
                  <a:lnTo>
                    <a:pt x="845248" y="80582"/>
                  </a:lnTo>
                  <a:lnTo>
                    <a:pt x="845058" y="78962"/>
                  </a:lnTo>
                  <a:lnTo>
                    <a:pt x="844868" y="77343"/>
                  </a:lnTo>
                  <a:lnTo>
                    <a:pt x="841724" y="77724"/>
                  </a:lnTo>
                  <a:lnTo>
                    <a:pt x="839914" y="76391"/>
                  </a:lnTo>
                  <a:lnTo>
                    <a:pt x="840677" y="69913"/>
                  </a:lnTo>
                  <a:lnTo>
                    <a:pt x="838295" y="63817"/>
                  </a:lnTo>
                  <a:lnTo>
                    <a:pt x="838105" y="62198"/>
                  </a:lnTo>
                  <a:lnTo>
                    <a:pt x="841057" y="60198"/>
                  </a:lnTo>
                  <a:lnTo>
                    <a:pt x="838867" y="55626"/>
                  </a:lnTo>
                  <a:lnTo>
                    <a:pt x="842010" y="55245"/>
                  </a:lnTo>
                  <a:lnTo>
                    <a:pt x="838010" y="49340"/>
                  </a:lnTo>
                  <a:lnTo>
                    <a:pt x="843534" y="55054"/>
                  </a:lnTo>
                  <a:lnTo>
                    <a:pt x="850202" y="57436"/>
                  </a:lnTo>
                  <a:lnTo>
                    <a:pt x="852202" y="60388"/>
                  </a:lnTo>
                  <a:lnTo>
                    <a:pt x="853154" y="55436"/>
                  </a:lnTo>
                  <a:lnTo>
                    <a:pt x="855345" y="60008"/>
                  </a:lnTo>
                  <a:lnTo>
                    <a:pt x="858298" y="58007"/>
                  </a:lnTo>
                  <a:lnTo>
                    <a:pt x="861822" y="60770"/>
                  </a:lnTo>
                  <a:lnTo>
                    <a:pt x="864013" y="65342"/>
                  </a:lnTo>
                  <a:lnTo>
                    <a:pt x="865822" y="66675"/>
                  </a:lnTo>
                  <a:lnTo>
                    <a:pt x="873538" y="64103"/>
                  </a:lnTo>
                  <a:lnTo>
                    <a:pt x="878014" y="61913"/>
                  </a:lnTo>
                  <a:lnTo>
                    <a:pt x="879157" y="58579"/>
                  </a:lnTo>
                  <a:lnTo>
                    <a:pt x="875824" y="57436"/>
                  </a:lnTo>
                  <a:lnTo>
                    <a:pt x="873443" y="51340"/>
                  </a:lnTo>
                  <a:lnTo>
                    <a:pt x="868489" y="50387"/>
                  </a:lnTo>
                  <a:lnTo>
                    <a:pt x="869252" y="43910"/>
                  </a:lnTo>
                  <a:lnTo>
                    <a:pt x="871061" y="45244"/>
                  </a:lnTo>
                  <a:lnTo>
                    <a:pt x="875538" y="43053"/>
                  </a:lnTo>
                  <a:lnTo>
                    <a:pt x="875157" y="39910"/>
                  </a:lnTo>
                  <a:lnTo>
                    <a:pt x="881253" y="37529"/>
                  </a:lnTo>
                  <a:lnTo>
                    <a:pt x="879443" y="36195"/>
                  </a:lnTo>
                  <a:lnTo>
                    <a:pt x="865441" y="39624"/>
                  </a:lnTo>
                  <a:lnTo>
                    <a:pt x="858488" y="35719"/>
                  </a:lnTo>
                  <a:lnTo>
                    <a:pt x="846391" y="29242"/>
                  </a:lnTo>
                  <a:lnTo>
                    <a:pt x="843058" y="28099"/>
                  </a:lnTo>
                  <a:lnTo>
                    <a:pt x="824294" y="19241"/>
                  </a:lnTo>
                  <a:lnTo>
                    <a:pt x="822674" y="19431"/>
                  </a:lnTo>
                  <a:lnTo>
                    <a:pt x="819340" y="18288"/>
                  </a:lnTo>
                  <a:lnTo>
                    <a:pt x="816959" y="12192"/>
                  </a:lnTo>
                  <a:lnTo>
                    <a:pt x="802100" y="9239"/>
                  </a:lnTo>
                  <a:lnTo>
                    <a:pt x="804863" y="5715"/>
                  </a:lnTo>
                  <a:lnTo>
                    <a:pt x="798957" y="9716"/>
                  </a:lnTo>
                  <a:lnTo>
                    <a:pt x="795623" y="8573"/>
                  </a:lnTo>
                  <a:lnTo>
                    <a:pt x="794290" y="10382"/>
                  </a:lnTo>
                  <a:lnTo>
                    <a:pt x="790956" y="9239"/>
                  </a:lnTo>
                  <a:lnTo>
                    <a:pt x="782288" y="3905"/>
                  </a:lnTo>
                  <a:lnTo>
                    <a:pt x="780955" y="5715"/>
                  </a:lnTo>
                  <a:lnTo>
                    <a:pt x="784288" y="6858"/>
                  </a:lnTo>
                  <a:lnTo>
                    <a:pt x="784670" y="10001"/>
                  </a:lnTo>
                  <a:lnTo>
                    <a:pt x="778002" y="7620"/>
                  </a:lnTo>
                  <a:lnTo>
                    <a:pt x="772478" y="14764"/>
                  </a:lnTo>
                  <a:lnTo>
                    <a:pt x="759809" y="3524"/>
                  </a:lnTo>
                  <a:lnTo>
                    <a:pt x="749713" y="0"/>
                  </a:lnTo>
                  <a:lnTo>
                    <a:pt x="748094" y="191"/>
                  </a:lnTo>
                  <a:lnTo>
                    <a:pt x="747141" y="5144"/>
                  </a:lnTo>
                  <a:lnTo>
                    <a:pt x="749141" y="8096"/>
                  </a:lnTo>
                  <a:lnTo>
                    <a:pt x="745998" y="8477"/>
                  </a:lnTo>
                  <a:lnTo>
                    <a:pt x="746188" y="10096"/>
                  </a:lnTo>
                  <a:lnTo>
                    <a:pt x="738283" y="11144"/>
                  </a:lnTo>
                  <a:lnTo>
                    <a:pt x="738283" y="11144"/>
                  </a:lnTo>
                  <a:lnTo>
                    <a:pt x="734949" y="10001"/>
                  </a:lnTo>
                  <a:lnTo>
                    <a:pt x="729805" y="7429"/>
                  </a:lnTo>
                  <a:lnTo>
                    <a:pt x="725519" y="11144"/>
                  </a:lnTo>
                  <a:lnTo>
                    <a:pt x="718566" y="7239"/>
                  </a:lnTo>
                  <a:lnTo>
                    <a:pt x="717995" y="2476"/>
                  </a:lnTo>
                  <a:lnTo>
                    <a:pt x="713708" y="6287"/>
                  </a:lnTo>
                  <a:lnTo>
                    <a:pt x="712089" y="6477"/>
                  </a:lnTo>
                  <a:lnTo>
                    <a:pt x="708565" y="3715"/>
                  </a:lnTo>
                  <a:lnTo>
                    <a:pt x="703802" y="4286"/>
                  </a:lnTo>
                  <a:lnTo>
                    <a:pt x="700849" y="6287"/>
                  </a:lnTo>
                  <a:lnTo>
                    <a:pt x="701230" y="9430"/>
                  </a:lnTo>
                  <a:lnTo>
                    <a:pt x="697135" y="14764"/>
                  </a:lnTo>
                  <a:lnTo>
                    <a:pt x="698182" y="22670"/>
                  </a:lnTo>
                  <a:lnTo>
                    <a:pt x="698754" y="27432"/>
                  </a:lnTo>
                  <a:lnTo>
                    <a:pt x="697421" y="29242"/>
                  </a:lnTo>
                  <a:lnTo>
                    <a:pt x="697611" y="30861"/>
                  </a:lnTo>
                  <a:lnTo>
                    <a:pt x="693706" y="37814"/>
                  </a:lnTo>
                  <a:lnTo>
                    <a:pt x="696087" y="43910"/>
                  </a:lnTo>
                  <a:lnTo>
                    <a:pt x="696468" y="47054"/>
                  </a:lnTo>
                  <a:lnTo>
                    <a:pt x="693515" y="49054"/>
                  </a:lnTo>
                  <a:lnTo>
                    <a:pt x="693134" y="45911"/>
                  </a:lnTo>
                  <a:lnTo>
                    <a:pt x="690181" y="47911"/>
                  </a:lnTo>
                  <a:lnTo>
                    <a:pt x="677132" y="46387"/>
                  </a:lnTo>
                  <a:lnTo>
                    <a:pt x="677513" y="49530"/>
                  </a:lnTo>
                  <a:lnTo>
                    <a:pt x="674180" y="48387"/>
                  </a:lnTo>
                  <a:lnTo>
                    <a:pt x="672370" y="47054"/>
                  </a:lnTo>
                  <a:lnTo>
                    <a:pt x="669417" y="49054"/>
                  </a:lnTo>
                  <a:lnTo>
                    <a:pt x="667607" y="47720"/>
                  </a:lnTo>
                  <a:lnTo>
                    <a:pt x="660082" y="39053"/>
                  </a:lnTo>
                  <a:lnTo>
                    <a:pt x="656939" y="39433"/>
                  </a:lnTo>
                  <a:lnTo>
                    <a:pt x="646938" y="48768"/>
                  </a:lnTo>
                  <a:lnTo>
                    <a:pt x="640461" y="48006"/>
                  </a:lnTo>
                  <a:lnTo>
                    <a:pt x="637508" y="50006"/>
                  </a:lnTo>
                  <a:lnTo>
                    <a:pt x="634365" y="50387"/>
                  </a:lnTo>
                  <a:lnTo>
                    <a:pt x="631412" y="52388"/>
                  </a:lnTo>
                  <a:lnTo>
                    <a:pt x="628269" y="52769"/>
                  </a:lnTo>
                  <a:lnTo>
                    <a:pt x="630269" y="42863"/>
                  </a:lnTo>
                  <a:lnTo>
                    <a:pt x="625126" y="40291"/>
                  </a:lnTo>
                  <a:lnTo>
                    <a:pt x="623506" y="40481"/>
                  </a:lnTo>
                  <a:lnTo>
                    <a:pt x="621697" y="39148"/>
                  </a:lnTo>
                  <a:lnTo>
                    <a:pt x="619125" y="44291"/>
                  </a:lnTo>
                  <a:lnTo>
                    <a:pt x="614553" y="46482"/>
                  </a:lnTo>
                  <a:lnTo>
                    <a:pt x="607886" y="44101"/>
                  </a:lnTo>
                  <a:lnTo>
                    <a:pt x="606933" y="49054"/>
                  </a:lnTo>
                  <a:lnTo>
                    <a:pt x="609505" y="56769"/>
                  </a:lnTo>
                  <a:lnTo>
                    <a:pt x="600837" y="64294"/>
                  </a:lnTo>
                  <a:lnTo>
                    <a:pt x="601599" y="70580"/>
                  </a:lnTo>
                  <a:lnTo>
                    <a:pt x="596455" y="68008"/>
                  </a:lnTo>
                  <a:lnTo>
                    <a:pt x="592455" y="62103"/>
                  </a:lnTo>
                  <a:lnTo>
                    <a:pt x="589121" y="60960"/>
                  </a:lnTo>
                  <a:lnTo>
                    <a:pt x="591122" y="63913"/>
                  </a:lnTo>
                  <a:lnTo>
                    <a:pt x="592360" y="73342"/>
                  </a:lnTo>
                  <a:lnTo>
                    <a:pt x="591026" y="75152"/>
                  </a:lnTo>
                  <a:lnTo>
                    <a:pt x="589407" y="75343"/>
                  </a:lnTo>
                  <a:lnTo>
                    <a:pt x="590169" y="81629"/>
                  </a:lnTo>
                  <a:lnTo>
                    <a:pt x="586264" y="88583"/>
                  </a:lnTo>
                  <a:lnTo>
                    <a:pt x="585121" y="91916"/>
                  </a:lnTo>
                  <a:lnTo>
                    <a:pt x="578834" y="92678"/>
                  </a:lnTo>
                  <a:lnTo>
                    <a:pt x="577691" y="96012"/>
                  </a:lnTo>
                  <a:lnTo>
                    <a:pt x="581025" y="97155"/>
                  </a:lnTo>
                  <a:lnTo>
                    <a:pt x="581597" y="101917"/>
                  </a:lnTo>
                  <a:lnTo>
                    <a:pt x="583121" y="101727"/>
                  </a:lnTo>
                  <a:lnTo>
                    <a:pt x="584930" y="103061"/>
                  </a:lnTo>
                  <a:lnTo>
                    <a:pt x="586740" y="104394"/>
                  </a:lnTo>
                  <a:lnTo>
                    <a:pt x="588740" y="107347"/>
                  </a:lnTo>
                  <a:lnTo>
                    <a:pt x="593503" y="106775"/>
                  </a:lnTo>
                  <a:lnTo>
                    <a:pt x="593693" y="108395"/>
                  </a:lnTo>
                  <a:lnTo>
                    <a:pt x="605123" y="110109"/>
                  </a:lnTo>
                  <a:lnTo>
                    <a:pt x="609314" y="117634"/>
                  </a:lnTo>
                  <a:lnTo>
                    <a:pt x="610362" y="125540"/>
                  </a:lnTo>
                  <a:lnTo>
                    <a:pt x="604456" y="142304"/>
                  </a:lnTo>
                  <a:lnTo>
                    <a:pt x="599694" y="142875"/>
                  </a:lnTo>
                  <a:lnTo>
                    <a:pt x="595979" y="151352"/>
                  </a:lnTo>
                  <a:lnTo>
                    <a:pt x="590074" y="155353"/>
                  </a:lnTo>
                  <a:lnTo>
                    <a:pt x="590455" y="158496"/>
                  </a:lnTo>
                  <a:lnTo>
                    <a:pt x="587693" y="162020"/>
                  </a:lnTo>
                  <a:lnTo>
                    <a:pt x="579977" y="164592"/>
                  </a:lnTo>
                  <a:lnTo>
                    <a:pt x="575596" y="155543"/>
                  </a:lnTo>
                  <a:lnTo>
                    <a:pt x="573596" y="152591"/>
                  </a:lnTo>
                  <a:lnTo>
                    <a:pt x="567309" y="153353"/>
                  </a:lnTo>
                  <a:lnTo>
                    <a:pt x="565975" y="155162"/>
                  </a:lnTo>
                  <a:lnTo>
                    <a:pt x="571310" y="159258"/>
                  </a:lnTo>
                  <a:lnTo>
                    <a:pt x="571500" y="160877"/>
                  </a:lnTo>
                  <a:lnTo>
                    <a:pt x="570357" y="164211"/>
                  </a:lnTo>
                  <a:lnTo>
                    <a:pt x="572548" y="168783"/>
                  </a:lnTo>
                  <a:lnTo>
                    <a:pt x="579501" y="172688"/>
                  </a:lnTo>
                  <a:lnTo>
                    <a:pt x="581311" y="174022"/>
                  </a:lnTo>
                  <a:lnTo>
                    <a:pt x="582454" y="170688"/>
                  </a:lnTo>
                  <a:lnTo>
                    <a:pt x="587407" y="171641"/>
                  </a:lnTo>
                  <a:lnTo>
                    <a:pt x="583121" y="175355"/>
                  </a:lnTo>
                  <a:lnTo>
                    <a:pt x="583502" y="178499"/>
                  </a:lnTo>
                  <a:lnTo>
                    <a:pt x="585502" y="181451"/>
                  </a:lnTo>
                  <a:lnTo>
                    <a:pt x="591979" y="182213"/>
                  </a:lnTo>
                  <a:lnTo>
                    <a:pt x="591217" y="188690"/>
                  </a:lnTo>
                  <a:lnTo>
                    <a:pt x="580739" y="194786"/>
                  </a:lnTo>
                  <a:lnTo>
                    <a:pt x="586454" y="202121"/>
                  </a:lnTo>
                  <a:lnTo>
                    <a:pt x="584073" y="208788"/>
                  </a:lnTo>
                  <a:lnTo>
                    <a:pt x="578168" y="212788"/>
                  </a:lnTo>
                  <a:lnTo>
                    <a:pt x="575596" y="217932"/>
                  </a:lnTo>
                  <a:lnTo>
                    <a:pt x="574834" y="224409"/>
                  </a:lnTo>
                  <a:lnTo>
                    <a:pt x="582549" y="234696"/>
                  </a:lnTo>
                  <a:lnTo>
                    <a:pt x="579787" y="238220"/>
                  </a:lnTo>
                  <a:lnTo>
                    <a:pt x="578644" y="241554"/>
                  </a:lnTo>
                  <a:lnTo>
                    <a:pt x="582168" y="244316"/>
                  </a:lnTo>
                  <a:lnTo>
                    <a:pt x="577882" y="248031"/>
                  </a:lnTo>
                  <a:lnTo>
                    <a:pt x="580072" y="252603"/>
                  </a:lnTo>
                  <a:lnTo>
                    <a:pt x="583406" y="253746"/>
                  </a:lnTo>
                  <a:lnTo>
                    <a:pt x="589312" y="249746"/>
                  </a:lnTo>
                  <a:lnTo>
                    <a:pt x="590074" y="256032"/>
                  </a:lnTo>
                  <a:lnTo>
                    <a:pt x="587312" y="259556"/>
                  </a:lnTo>
                  <a:lnTo>
                    <a:pt x="586169" y="262890"/>
                  </a:lnTo>
                  <a:lnTo>
                    <a:pt x="586930" y="269176"/>
                  </a:lnTo>
                  <a:lnTo>
                    <a:pt x="584740" y="277463"/>
                  </a:lnTo>
                  <a:lnTo>
                    <a:pt x="585311" y="282226"/>
                  </a:lnTo>
                  <a:lnTo>
                    <a:pt x="581978" y="281083"/>
                  </a:lnTo>
                  <a:lnTo>
                    <a:pt x="582168" y="282702"/>
                  </a:lnTo>
                  <a:lnTo>
                    <a:pt x="585121" y="293561"/>
                  </a:lnTo>
                  <a:lnTo>
                    <a:pt x="588264" y="293180"/>
                  </a:lnTo>
                  <a:lnTo>
                    <a:pt x="582739" y="300323"/>
                  </a:lnTo>
                  <a:lnTo>
                    <a:pt x="588455" y="307562"/>
                  </a:lnTo>
                  <a:lnTo>
                    <a:pt x="588645" y="309182"/>
                  </a:lnTo>
                  <a:lnTo>
                    <a:pt x="592360" y="313563"/>
                  </a:lnTo>
                  <a:lnTo>
                    <a:pt x="589026" y="312420"/>
                  </a:lnTo>
                  <a:lnTo>
                    <a:pt x="592360" y="313563"/>
                  </a:lnTo>
                  <a:lnTo>
                    <a:pt x="591407" y="318516"/>
                  </a:lnTo>
                  <a:lnTo>
                    <a:pt x="585121" y="319278"/>
                  </a:lnTo>
                  <a:lnTo>
                    <a:pt x="583978" y="322612"/>
                  </a:lnTo>
                  <a:lnTo>
                    <a:pt x="576739" y="328327"/>
                  </a:lnTo>
                  <a:lnTo>
                    <a:pt x="571976" y="328898"/>
                  </a:lnTo>
                  <a:lnTo>
                    <a:pt x="572167" y="330517"/>
                  </a:lnTo>
                  <a:lnTo>
                    <a:pt x="568071" y="335851"/>
                  </a:lnTo>
                  <a:lnTo>
                    <a:pt x="568262" y="337471"/>
                  </a:lnTo>
                  <a:lnTo>
                    <a:pt x="564928" y="336328"/>
                  </a:lnTo>
                  <a:lnTo>
                    <a:pt x="564166" y="330041"/>
                  </a:lnTo>
                  <a:lnTo>
                    <a:pt x="557879" y="330803"/>
                  </a:lnTo>
                  <a:lnTo>
                    <a:pt x="556450" y="332613"/>
                  </a:lnTo>
                  <a:lnTo>
                    <a:pt x="557022" y="337375"/>
                  </a:lnTo>
                  <a:lnTo>
                    <a:pt x="554260" y="340900"/>
                  </a:lnTo>
                  <a:lnTo>
                    <a:pt x="542639" y="350425"/>
                  </a:lnTo>
                  <a:lnTo>
                    <a:pt x="539305" y="349282"/>
                  </a:lnTo>
                  <a:lnTo>
                    <a:pt x="535019" y="352996"/>
                  </a:lnTo>
                  <a:lnTo>
                    <a:pt x="527113" y="354044"/>
                  </a:lnTo>
                  <a:lnTo>
                    <a:pt x="525494" y="354235"/>
                  </a:lnTo>
                  <a:lnTo>
                    <a:pt x="526066" y="358997"/>
                  </a:lnTo>
                  <a:lnTo>
                    <a:pt x="526256" y="360617"/>
                  </a:lnTo>
                  <a:lnTo>
                    <a:pt x="524923" y="362426"/>
                  </a:lnTo>
                  <a:lnTo>
                    <a:pt x="528923" y="368332"/>
                  </a:lnTo>
                  <a:lnTo>
                    <a:pt x="525971" y="370332"/>
                  </a:lnTo>
                  <a:lnTo>
                    <a:pt x="526542" y="375095"/>
                  </a:lnTo>
                  <a:lnTo>
                    <a:pt x="523780" y="378619"/>
                  </a:lnTo>
                  <a:lnTo>
                    <a:pt x="519017" y="379190"/>
                  </a:lnTo>
                  <a:lnTo>
                    <a:pt x="516255" y="382715"/>
                  </a:lnTo>
                  <a:lnTo>
                    <a:pt x="519779" y="385477"/>
                  </a:lnTo>
                  <a:lnTo>
                    <a:pt x="519970" y="387096"/>
                  </a:lnTo>
                  <a:lnTo>
                    <a:pt x="515017" y="386144"/>
                  </a:lnTo>
                  <a:lnTo>
                    <a:pt x="515398" y="389287"/>
                  </a:lnTo>
                  <a:lnTo>
                    <a:pt x="507682" y="391859"/>
                  </a:lnTo>
                  <a:lnTo>
                    <a:pt x="505873" y="390525"/>
                  </a:lnTo>
                  <a:lnTo>
                    <a:pt x="504444" y="392335"/>
                  </a:lnTo>
                  <a:lnTo>
                    <a:pt x="502253" y="400621"/>
                  </a:lnTo>
                  <a:lnTo>
                    <a:pt x="503301" y="408527"/>
                  </a:lnTo>
                  <a:lnTo>
                    <a:pt x="505492" y="413099"/>
                  </a:lnTo>
                  <a:lnTo>
                    <a:pt x="514921" y="411861"/>
                  </a:lnTo>
                  <a:lnTo>
                    <a:pt x="515112" y="413480"/>
                  </a:lnTo>
                  <a:lnTo>
                    <a:pt x="518446" y="414623"/>
                  </a:lnTo>
                  <a:lnTo>
                    <a:pt x="517493" y="419576"/>
                  </a:lnTo>
                  <a:lnTo>
                    <a:pt x="524447" y="423482"/>
                  </a:lnTo>
                  <a:lnTo>
                    <a:pt x="525494" y="431387"/>
                  </a:lnTo>
                  <a:lnTo>
                    <a:pt x="522351" y="431768"/>
                  </a:lnTo>
                  <a:lnTo>
                    <a:pt x="521018" y="433578"/>
                  </a:lnTo>
                  <a:lnTo>
                    <a:pt x="516446" y="435769"/>
                  </a:lnTo>
                  <a:lnTo>
                    <a:pt x="515112" y="437579"/>
                  </a:lnTo>
                  <a:lnTo>
                    <a:pt x="511969" y="437959"/>
                  </a:lnTo>
                  <a:lnTo>
                    <a:pt x="509969" y="435007"/>
                  </a:lnTo>
                  <a:lnTo>
                    <a:pt x="503682" y="435769"/>
                  </a:lnTo>
                  <a:lnTo>
                    <a:pt x="502063" y="435959"/>
                  </a:lnTo>
                  <a:lnTo>
                    <a:pt x="499300" y="439484"/>
                  </a:lnTo>
                  <a:lnTo>
                    <a:pt x="499872" y="444246"/>
                  </a:lnTo>
                  <a:lnTo>
                    <a:pt x="495776" y="449580"/>
                  </a:lnTo>
                  <a:lnTo>
                    <a:pt x="491109" y="463010"/>
                  </a:lnTo>
                  <a:lnTo>
                    <a:pt x="488537" y="468154"/>
                  </a:lnTo>
                  <a:lnTo>
                    <a:pt x="490919" y="474250"/>
                  </a:lnTo>
                  <a:lnTo>
                    <a:pt x="487204" y="482727"/>
                  </a:lnTo>
                  <a:lnTo>
                    <a:pt x="490728" y="485489"/>
                  </a:lnTo>
                  <a:lnTo>
                    <a:pt x="495490" y="484918"/>
                  </a:lnTo>
                  <a:lnTo>
                    <a:pt x="502158" y="487299"/>
                  </a:lnTo>
                  <a:lnTo>
                    <a:pt x="506921" y="486728"/>
                  </a:lnTo>
                  <a:lnTo>
                    <a:pt x="510635" y="491014"/>
                  </a:lnTo>
                  <a:lnTo>
                    <a:pt x="516160" y="496729"/>
                  </a:lnTo>
                  <a:lnTo>
                    <a:pt x="515207" y="501682"/>
                  </a:lnTo>
                  <a:lnTo>
                    <a:pt x="513397" y="500348"/>
                  </a:lnTo>
                  <a:lnTo>
                    <a:pt x="512255" y="503682"/>
                  </a:lnTo>
                  <a:lnTo>
                    <a:pt x="513683" y="514731"/>
                  </a:lnTo>
                  <a:lnTo>
                    <a:pt x="518636" y="515684"/>
                  </a:lnTo>
                  <a:lnTo>
                    <a:pt x="514921" y="524161"/>
                  </a:lnTo>
                  <a:lnTo>
                    <a:pt x="507968" y="520255"/>
                  </a:lnTo>
                  <a:lnTo>
                    <a:pt x="508349" y="523399"/>
                  </a:lnTo>
                  <a:lnTo>
                    <a:pt x="505587" y="526923"/>
                  </a:lnTo>
                  <a:lnTo>
                    <a:pt x="495681" y="525018"/>
                  </a:lnTo>
                  <a:lnTo>
                    <a:pt x="487775" y="526066"/>
                  </a:lnTo>
                  <a:lnTo>
                    <a:pt x="485775" y="535972"/>
                  </a:lnTo>
                  <a:lnTo>
                    <a:pt x="483013" y="539496"/>
                  </a:lnTo>
                  <a:lnTo>
                    <a:pt x="487966" y="540449"/>
                  </a:lnTo>
                  <a:lnTo>
                    <a:pt x="485394" y="545592"/>
                  </a:lnTo>
                  <a:lnTo>
                    <a:pt x="489966" y="543401"/>
                  </a:lnTo>
                  <a:lnTo>
                    <a:pt x="492157" y="547973"/>
                  </a:lnTo>
                  <a:lnTo>
                    <a:pt x="492728" y="552736"/>
                  </a:lnTo>
                  <a:lnTo>
                    <a:pt x="498253" y="558451"/>
                  </a:lnTo>
                  <a:lnTo>
                    <a:pt x="495490" y="561975"/>
                  </a:lnTo>
                  <a:lnTo>
                    <a:pt x="493681" y="560642"/>
                  </a:lnTo>
                  <a:lnTo>
                    <a:pt x="492728" y="565595"/>
                  </a:lnTo>
                  <a:lnTo>
                    <a:pt x="490156" y="570738"/>
                  </a:lnTo>
                  <a:lnTo>
                    <a:pt x="491776" y="570548"/>
                  </a:lnTo>
                  <a:lnTo>
                    <a:pt x="492919" y="567214"/>
                  </a:lnTo>
                  <a:lnTo>
                    <a:pt x="497872" y="568166"/>
                  </a:lnTo>
                  <a:lnTo>
                    <a:pt x="505111" y="562451"/>
                  </a:lnTo>
                  <a:lnTo>
                    <a:pt x="504539" y="557689"/>
                  </a:lnTo>
                  <a:lnTo>
                    <a:pt x="507873" y="558832"/>
                  </a:lnTo>
                  <a:lnTo>
                    <a:pt x="508445" y="563594"/>
                  </a:lnTo>
                  <a:lnTo>
                    <a:pt x="504730" y="572072"/>
                  </a:lnTo>
                  <a:lnTo>
                    <a:pt x="512826" y="572643"/>
                  </a:lnTo>
                  <a:lnTo>
                    <a:pt x="513397" y="577405"/>
                  </a:lnTo>
                  <a:lnTo>
                    <a:pt x="516541" y="577025"/>
                  </a:lnTo>
                  <a:lnTo>
                    <a:pt x="513779" y="593408"/>
                  </a:lnTo>
                  <a:lnTo>
                    <a:pt x="513969" y="595027"/>
                  </a:lnTo>
                  <a:lnTo>
                    <a:pt x="512159" y="593693"/>
                  </a:lnTo>
                  <a:lnTo>
                    <a:pt x="509588" y="598837"/>
                  </a:lnTo>
                  <a:lnTo>
                    <a:pt x="506825" y="602361"/>
                  </a:lnTo>
                  <a:lnTo>
                    <a:pt x="505682" y="605695"/>
                  </a:lnTo>
                  <a:lnTo>
                    <a:pt x="501110" y="607886"/>
                  </a:lnTo>
                  <a:lnTo>
                    <a:pt x="499967" y="611219"/>
                  </a:lnTo>
                  <a:lnTo>
                    <a:pt x="496824" y="611600"/>
                  </a:lnTo>
                  <a:lnTo>
                    <a:pt x="492252" y="613791"/>
                  </a:lnTo>
                  <a:lnTo>
                    <a:pt x="485775" y="613029"/>
                  </a:lnTo>
                  <a:lnTo>
                    <a:pt x="481013" y="613601"/>
                  </a:lnTo>
                  <a:lnTo>
                    <a:pt x="480060" y="618554"/>
                  </a:lnTo>
                  <a:lnTo>
                    <a:pt x="485965" y="627412"/>
                  </a:lnTo>
                  <a:lnTo>
                    <a:pt x="486346" y="630555"/>
                  </a:lnTo>
                  <a:lnTo>
                    <a:pt x="481584" y="631126"/>
                  </a:lnTo>
                  <a:lnTo>
                    <a:pt x="477488" y="636461"/>
                  </a:lnTo>
                  <a:lnTo>
                    <a:pt x="477869" y="639604"/>
                  </a:lnTo>
                  <a:lnTo>
                    <a:pt x="473773" y="644938"/>
                  </a:lnTo>
                  <a:lnTo>
                    <a:pt x="466820" y="641033"/>
                  </a:lnTo>
                  <a:lnTo>
                    <a:pt x="459296" y="645224"/>
                  </a:lnTo>
                  <a:lnTo>
                    <a:pt x="454152" y="642652"/>
                  </a:lnTo>
                  <a:lnTo>
                    <a:pt x="451390" y="646176"/>
                  </a:lnTo>
                  <a:lnTo>
                    <a:pt x="444437" y="642271"/>
                  </a:lnTo>
                  <a:lnTo>
                    <a:pt x="439674" y="642842"/>
                  </a:lnTo>
                  <a:lnTo>
                    <a:pt x="436912" y="646367"/>
                  </a:lnTo>
                  <a:lnTo>
                    <a:pt x="432149" y="646938"/>
                  </a:lnTo>
                  <a:lnTo>
                    <a:pt x="421672" y="653034"/>
                  </a:lnTo>
                  <a:lnTo>
                    <a:pt x="419862" y="651701"/>
                  </a:lnTo>
                  <a:lnTo>
                    <a:pt x="421672" y="653034"/>
                  </a:lnTo>
                  <a:lnTo>
                    <a:pt x="416147" y="660178"/>
                  </a:lnTo>
                  <a:lnTo>
                    <a:pt x="424624" y="663893"/>
                  </a:lnTo>
                  <a:lnTo>
                    <a:pt x="425196" y="668655"/>
                  </a:lnTo>
                  <a:lnTo>
                    <a:pt x="428530" y="669798"/>
                  </a:lnTo>
                  <a:lnTo>
                    <a:pt x="428911" y="672941"/>
                  </a:lnTo>
                  <a:lnTo>
                    <a:pt x="419862" y="677323"/>
                  </a:lnTo>
                  <a:lnTo>
                    <a:pt x="417671" y="672751"/>
                  </a:lnTo>
                  <a:lnTo>
                    <a:pt x="414528" y="673132"/>
                  </a:lnTo>
                  <a:lnTo>
                    <a:pt x="413575" y="678085"/>
                  </a:lnTo>
                  <a:lnTo>
                    <a:pt x="410623" y="680085"/>
                  </a:lnTo>
                  <a:lnTo>
                    <a:pt x="413956" y="681228"/>
                  </a:lnTo>
                  <a:lnTo>
                    <a:pt x="411004" y="683228"/>
                  </a:lnTo>
                  <a:lnTo>
                    <a:pt x="409670" y="685038"/>
                  </a:lnTo>
                  <a:lnTo>
                    <a:pt x="399383" y="679895"/>
                  </a:lnTo>
                  <a:lnTo>
                    <a:pt x="398050" y="681704"/>
                  </a:lnTo>
                  <a:lnTo>
                    <a:pt x="396907" y="685038"/>
                  </a:lnTo>
                  <a:lnTo>
                    <a:pt x="391763" y="682466"/>
                  </a:lnTo>
                  <a:lnTo>
                    <a:pt x="387001" y="683038"/>
                  </a:lnTo>
                  <a:lnTo>
                    <a:pt x="385572" y="684848"/>
                  </a:lnTo>
                  <a:lnTo>
                    <a:pt x="387953" y="690944"/>
                  </a:lnTo>
                  <a:lnTo>
                    <a:pt x="388144" y="692563"/>
                  </a:lnTo>
                  <a:lnTo>
                    <a:pt x="384620" y="689801"/>
                  </a:lnTo>
                  <a:lnTo>
                    <a:pt x="380619" y="683895"/>
                  </a:lnTo>
                  <a:lnTo>
                    <a:pt x="375666" y="682943"/>
                  </a:lnTo>
                  <a:lnTo>
                    <a:pt x="374523" y="686276"/>
                  </a:lnTo>
                  <a:lnTo>
                    <a:pt x="371189" y="685133"/>
                  </a:lnTo>
                  <a:lnTo>
                    <a:pt x="364046" y="679609"/>
                  </a:lnTo>
                  <a:lnTo>
                    <a:pt x="362426" y="679799"/>
                  </a:lnTo>
                  <a:lnTo>
                    <a:pt x="357664" y="680371"/>
                  </a:lnTo>
                  <a:lnTo>
                    <a:pt x="357473" y="678751"/>
                  </a:lnTo>
                  <a:lnTo>
                    <a:pt x="352711" y="679323"/>
                  </a:lnTo>
                  <a:lnTo>
                    <a:pt x="352139" y="674561"/>
                  </a:lnTo>
                  <a:lnTo>
                    <a:pt x="350330" y="673227"/>
                  </a:lnTo>
                  <a:lnTo>
                    <a:pt x="347186" y="673608"/>
                  </a:lnTo>
                  <a:lnTo>
                    <a:pt x="347567" y="676751"/>
                  </a:lnTo>
                  <a:lnTo>
                    <a:pt x="349568" y="679704"/>
                  </a:lnTo>
                  <a:lnTo>
                    <a:pt x="348805" y="686181"/>
                  </a:lnTo>
                  <a:lnTo>
                    <a:pt x="344043" y="686753"/>
                  </a:lnTo>
                  <a:lnTo>
                    <a:pt x="340138" y="693706"/>
                  </a:lnTo>
                  <a:lnTo>
                    <a:pt x="336995" y="694087"/>
                  </a:lnTo>
                  <a:lnTo>
                    <a:pt x="334042" y="696087"/>
                  </a:lnTo>
                  <a:lnTo>
                    <a:pt x="325946" y="695516"/>
                  </a:lnTo>
                  <a:lnTo>
                    <a:pt x="319469" y="694754"/>
                  </a:lnTo>
                  <a:lnTo>
                    <a:pt x="312325" y="689229"/>
                  </a:lnTo>
                  <a:lnTo>
                    <a:pt x="310324" y="686276"/>
                  </a:lnTo>
                  <a:lnTo>
                    <a:pt x="313468" y="685895"/>
                  </a:lnTo>
                  <a:lnTo>
                    <a:pt x="309944" y="683133"/>
                  </a:lnTo>
                  <a:lnTo>
                    <a:pt x="309753" y="681514"/>
                  </a:lnTo>
                  <a:lnTo>
                    <a:pt x="310134" y="684657"/>
                  </a:lnTo>
                  <a:lnTo>
                    <a:pt x="308800" y="686467"/>
                  </a:lnTo>
                  <a:lnTo>
                    <a:pt x="306800" y="683514"/>
                  </a:lnTo>
                  <a:lnTo>
                    <a:pt x="303657" y="683895"/>
                  </a:lnTo>
                  <a:lnTo>
                    <a:pt x="303276" y="680752"/>
                  </a:lnTo>
                  <a:lnTo>
                    <a:pt x="305086" y="682085"/>
                  </a:lnTo>
                  <a:lnTo>
                    <a:pt x="303086" y="679133"/>
                  </a:lnTo>
                  <a:lnTo>
                    <a:pt x="304514" y="677323"/>
                  </a:lnTo>
                  <a:lnTo>
                    <a:pt x="305657" y="673989"/>
                  </a:lnTo>
                  <a:lnTo>
                    <a:pt x="302323" y="672846"/>
                  </a:lnTo>
                  <a:lnTo>
                    <a:pt x="300133" y="668274"/>
                  </a:lnTo>
                  <a:lnTo>
                    <a:pt x="299752" y="665131"/>
                  </a:lnTo>
                  <a:lnTo>
                    <a:pt x="297752" y="662178"/>
                  </a:lnTo>
                  <a:lnTo>
                    <a:pt x="290513" y="667893"/>
                  </a:lnTo>
                  <a:lnTo>
                    <a:pt x="286607" y="674846"/>
                  </a:lnTo>
                  <a:lnTo>
                    <a:pt x="276130" y="668179"/>
                  </a:lnTo>
                  <a:lnTo>
                    <a:pt x="276130" y="681038"/>
                  </a:lnTo>
                  <a:cubicBezTo>
                    <a:pt x="276130" y="681038"/>
                    <a:pt x="279559" y="682180"/>
                    <a:pt x="279559" y="682180"/>
                  </a:cubicBezTo>
                  <a:lnTo>
                    <a:pt x="270700" y="688086"/>
                  </a:lnTo>
                  <a:lnTo>
                    <a:pt x="265176" y="695230"/>
                  </a:lnTo>
                  <a:lnTo>
                    <a:pt x="263176" y="692277"/>
                  </a:lnTo>
                  <a:lnTo>
                    <a:pt x="260223" y="694277"/>
                  </a:lnTo>
                  <a:lnTo>
                    <a:pt x="255270" y="693325"/>
                  </a:lnTo>
                  <a:lnTo>
                    <a:pt x="256699" y="691515"/>
                  </a:lnTo>
                  <a:lnTo>
                    <a:pt x="261461" y="690944"/>
                  </a:lnTo>
                  <a:lnTo>
                    <a:pt x="261271" y="689324"/>
                  </a:lnTo>
                  <a:lnTo>
                    <a:pt x="250793" y="682657"/>
                  </a:lnTo>
                  <a:lnTo>
                    <a:pt x="246031" y="683228"/>
                  </a:lnTo>
                  <a:lnTo>
                    <a:pt x="242697" y="682085"/>
                  </a:lnTo>
                  <a:lnTo>
                    <a:pt x="245078" y="688181"/>
                  </a:lnTo>
                  <a:lnTo>
                    <a:pt x="242316" y="691705"/>
                  </a:lnTo>
                  <a:lnTo>
                    <a:pt x="242888" y="696468"/>
                  </a:lnTo>
                  <a:lnTo>
                    <a:pt x="238982" y="703421"/>
                  </a:lnTo>
                  <a:lnTo>
                    <a:pt x="242316" y="704564"/>
                  </a:lnTo>
                  <a:lnTo>
                    <a:pt x="240982" y="706374"/>
                  </a:lnTo>
                  <a:lnTo>
                    <a:pt x="239363" y="706565"/>
                  </a:lnTo>
                  <a:lnTo>
                    <a:pt x="241554" y="711137"/>
                  </a:lnTo>
                  <a:lnTo>
                    <a:pt x="239935" y="711327"/>
                  </a:lnTo>
                  <a:lnTo>
                    <a:pt x="236791" y="711708"/>
                  </a:lnTo>
                  <a:lnTo>
                    <a:pt x="234029" y="715232"/>
                  </a:lnTo>
                  <a:lnTo>
                    <a:pt x="237554" y="717995"/>
                  </a:lnTo>
                  <a:lnTo>
                    <a:pt x="231457" y="720376"/>
                  </a:lnTo>
                  <a:lnTo>
                    <a:pt x="230696" y="714089"/>
                  </a:lnTo>
                  <a:lnTo>
                    <a:pt x="227552" y="714470"/>
                  </a:lnTo>
                  <a:lnTo>
                    <a:pt x="219075" y="710755"/>
                  </a:lnTo>
                  <a:lnTo>
                    <a:pt x="216503" y="715899"/>
                  </a:lnTo>
                  <a:lnTo>
                    <a:pt x="209550" y="711994"/>
                  </a:lnTo>
                  <a:lnTo>
                    <a:pt x="204025" y="719138"/>
                  </a:lnTo>
                  <a:lnTo>
                    <a:pt x="197072" y="715232"/>
                  </a:lnTo>
                  <a:lnTo>
                    <a:pt x="194500" y="720376"/>
                  </a:lnTo>
                  <a:lnTo>
                    <a:pt x="187166" y="726091"/>
                  </a:lnTo>
                  <a:lnTo>
                    <a:pt x="185547" y="726281"/>
                  </a:lnTo>
                  <a:lnTo>
                    <a:pt x="181451" y="731615"/>
                  </a:lnTo>
                  <a:lnTo>
                    <a:pt x="187928" y="732377"/>
                  </a:lnTo>
                  <a:lnTo>
                    <a:pt x="188119" y="733997"/>
                  </a:lnTo>
                  <a:lnTo>
                    <a:pt x="186499" y="734187"/>
                  </a:lnTo>
                  <a:lnTo>
                    <a:pt x="185356" y="737521"/>
                  </a:lnTo>
                  <a:lnTo>
                    <a:pt x="180594" y="738092"/>
                  </a:lnTo>
                  <a:lnTo>
                    <a:pt x="180594" y="738092"/>
                  </a:lnTo>
                  <a:lnTo>
                    <a:pt x="178403" y="746379"/>
                  </a:lnTo>
                  <a:lnTo>
                    <a:pt x="170879" y="750570"/>
                  </a:lnTo>
                  <a:lnTo>
                    <a:pt x="158020" y="750570"/>
                  </a:lnTo>
                  <a:cubicBezTo>
                    <a:pt x="158020" y="750570"/>
                    <a:pt x="154686" y="749427"/>
                    <a:pt x="154686" y="749427"/>
                  </a:cubicBezTo>
                  <a:lnTo>
                    <a:pt x="154877" y="751046"/>
                  </a:lnTo>
                  <a:lnTo>
                    <a:pt x="154496" y="760762"/>
                  </a:lnTo>
                  <a:lnTo>
                    <a:pt x="154686" y="762381"/>
                  </a:lnTo>
                  <a:lnTo>
                    <a:pt x="151924" y="765905"/>
                  </a:lnTo>
                  <a:lnTo>
                    <a:pt x="146590" y="761809"/>
                  </a:lnTo>
                  <a:lnTo>
                    <a:pt x="142875" y="770287"/>
                  </a:lnTo>
                  <a:lnTo>
                    <a:pt x="139541" y="769144"/>
                  </a:lnTo>
                  <a:lnTo>
                    <a:pt x="141351" y="770477"/>
                  </a:lnTo>
                  <a:lnTo>
                    <a:pt x="141541" y="772097"/>
                  </a:lnTo>
                  <a:lnTo>
                    <a:pt x="143351" y="773430"/>
                  </a:lnTo>
                  <a:lnTo>
                    <a:pt x="140779" y="778574"/>
                  </a:lnTo>
                  <a:lnTo>
                    <a:pt x="141351" y="783336"/>
                  </a:lnTo>
                  <a:lnTo>
                    <a:pt x="138208" y="783717"/>
                  </a:lnTo>
                  <a:lnTo>
                    <a:pt x="135446" y="787241"/>
                  </a:lnTo>
                  <a:lnTo>
                    <a:pt x="133255" y="782669"/>
                  </a:lnTo>
                  <a:lnTo>
                    <a:pt x="127921" y="778574"/>
                  </a:lnTo>
                  <a:lnTo>
                    <a:pt x="125539" y="772478"/>
                  </a:lnTo>
                  <a:lnTo>
                    <a:pt x="118396" y="766953"/>
                  </a:lnTo>
                  <a:lnTo>
                    <a:pt x="118015" y="763810"/>
                  </a:lnTo>
                  <a:lnTo>
                    <a:pt x="108585" y="765048"/>
                  </a:lnTo>
                  <a:lnTo>
                    <a:pt x="102870" y="770573"/>
                  </a:lnTo>
                  <a:lnTo>
                    <a:pt x="99917" y="772573"/>
                  </a:lnTo>
                  <a:lnTo>
                    <a:pt x="99536" y="769430"/>
                  </a:lnTo>
                  <a:lnTo>
                    <a:pt x="94774" y="770001"/>
                  </a:lnTo>
                  <a:lnTo>
                    <a:pt x="92773" y="767048"/>
                  </a:lnTo>
                  <a:lnTo>
                    <a:pt x="89630" y="767429"/>
                  </a:lnTo>
                  <a:lnTo>
                    <a:pt x="85058" y="769620"/>
                  </a:lnTo>
                  <a:lnTo>
                    <a:pt x="89440" y="778669"/>
                  </a:lnTo>
                  <a:lnTo>
                    <a:pt x="88106" y="780479"/>
                  </a:lnTo>
                  <a:lnTo>
                    <a:pt x="83534" y="782669"/>
                  </a:lnTo>
                  <a:lnTo>
                    <a:pt x="84106" y="787432"/>
                  </a:lnTo>
                  <a:lnTo>
                    <a:pt x="77819" y="788194"/>
                  </a:lnTo>
                  <a:lnTo>
                    <a:pt x="79820" y="791147"/>
                  </a:lnTo>
                  <a:lnTo>
                    <a:pt x="78677" y="794480"/>
                  </a:lnTo>
                  <a:lnTo>
                    <a:pt x="76105" y="799624"/>
                  </a:lnTo>
                  <a:lnTo>
                    <a:pt x="72771" y="798481"/>
                  </a:lnTo>
                  <a:lnTo>
                    <a:pt x="70390" y="792385"/>
                  </a:lnTo>
                  <a:lnTo>
                    <a:pt x="67437" y="794385"/>
                  </a:lnTo>
                  <a:lnTo>
                    <a:pt x="64294" y="794766"/>
                  </a:lnTo>
                  <a:lnTo>
                    <a:pt x="59150" y="792194"/>
                  </a:lnTo>
                  <a:lnTo>
                    <a:pt x="57150" y="789242"/>
                  </a:lnTo>
                  <a:lnTo>
                    <a:pt x="59531" y="782479"/>
                  </a:lnTo>
                  <a:lnTo>
                    <a:pt x="56197" y="781336"/>
                  </a:lnTo>
                  <a:lnTo>
                    <a:pt x="54007" y="776764"/>
                  </a:lnTo>
                  <a:lnTo>
                    <a:pt x="50482" y="774001"/>
                  </a:lnTo>
                  <a:lnTo>
                    <a:pt x="44387" y="776383"/>
                  </a:lnTo>
                  <a:lnTo>
                    <a:pt x="46958" y="784098"/>
                  </a:lnTo>
                  <a:lnTo>
                    <a:pt x="34862" y="777621"/>
                  </a:lnTo>
                  <a:lnTo>
                    <a:pt x="28575" y="778383"/>
                  </a:lnTo>
                  <a:lnTo>
                    <a:pt x="31909" y="779526"/>
                  </a:lnTo>
                  <a:lnTo>
                    <a:pt x="35052" y="779145"/>
                  </a:lnTo>
                  <a:lnTo>
                    <a:pt x="35433" y="782288"/>
                  </a:lnTo>
                  <a:lnTo>
                    <a:pt x="38576" y="781907"/>
                  </a:lnTo>
                  <a:lnTo>
                    <a:pt x="32671" y="785908"/>
                  </a:lnTo>
                  <a:lnTo>
                    <a:pt x="30099" y="791051"/>
                  </a:lnTo>
                  <a:lnTo>
                    <a:pt x="28766" y="792861"/>
                  </a:lnTo>
                  <a:lnTo>
                    <a:pt x="27432" y="794671"/>
                  </a:lnTo>
                  <a:lnTo>
                    <a:pt x="24289" y="795052"/>
                  </a:lnTo>
                  <a:lnTo>
                    <a:pt x="19336" y="794099"/>
                  </a:lnTo>
                  <a:lnTo>
                    <a:pt x="18764" y="789337"/>
                  </a:lnTo>
                  <a:lnTo>
                    <a:pt x="13811" y="788384"/>
                  </a:lnTo>
                  <a:lnTo>
                    <a:pt x="13049" y="794861"/>
                  </a:lnTo>
                  <a:lnTo>
                    <a:pt x="15050" y="797814"/>
                  </a:lnTo>
                  <a:lnTo>
                    <a:pt x="16383" y="796004"/>
                  </a:lnTo>
                  <a:lnTo>
                    <a:pt x="16573" y="797624"/>
                  </a:lnTo>
                  <a:lnTo>
                    <a:pt x="19907" y="798767"/>
                  </a:lnTo>
                  <a:lnTo>
                    <a:pt x="21717" y="800100"/>
                  </a:lnTo>
                  <a:lnTo>
                    <a:pt x="20764" y="805053"/>
                  </a:lnTo>
                  <a:lnTo>
                    <a:pt x="17431" y="803910"/>
                  </a:lnTo>
                  <a:lnTo>
                    <a:pt x="14668" y="807434"/>
                  </a:lnTo>
                  <a:lnTo>
                    <a:pt x="13049" y="807625"/>
                  </a:lnTo>
                  <a:lnTo>
                    <a:pt x="14859" y="808958"/>
                  </a:lnTo>
                  <a:lnTo>
                    <a:pt x="21336" y="809720"/>
                  </a:lnTo>
                  <a:lnTo>
                    <a:pt x="16764" y="811911"/>
                  </a:lnTo>
                  <a:lnTo>
                    <a:pt x="14002" y="815435"/>
                  </a:lnTo>
                  <a:lnTo>
                    <a:pt x="8858" y="812864"/>
                  </a:lnTo>
                  <a:lnTo>
                    <a:pt x="7525" y="814673"/>
                  </a:lnTo>
                  <a:lnTo>
                    <a:pt x="8287" y="820960"/>
                  </a:lnTo>
                  <a:lnTo>
                    <a:pt x="6667" y="821150"/>
                  </a:lnTo>
                  <a:lnTo>
                    <a:pt x="0" y="831628"/>
                  </a:lnTo>
                  <a:lnTo>
                    <a:pt x="13430" y="836295"/>
                  </a:lnTo>
                  <a:lnTo>
                    <a:pt x="27432" y="845725"/>
                  </a:lnTo>
                  <a:lnTo>
                    <a:pt x="43434" y="845249"/>
                  </a:lnTo>
                  <a:lnTo>
                    <a:pt x="49911" y="846010"/>
                  </a:lnTo>
                  <a:lnTo>
                    <a:pt x="52864" y="844010"/>
                  </a:lnTo>
                  <a:lnTo>
                    <a:pt x="58198" y="848106"/>
                  </a:lnTo>
                  <a:lnTo>
                    <a:pt x="65913" y="858393"/>
                  </a:lnTo>
                  <a:lnTo>
                    <a:pt x="70675" y="857822"/>
                  </a:lnTo>
                  <a:lnTo>
                    <a:pt x="68866" y="856488"/>
                  </a:lnTo>
                  <a:lnTo>
                    <a:pt x="82487" y="862775"/>
                  </a:lnTo>
                  <a:lnTo>
                    <a:pt x="91821" y="872776"/>
                  </a:lnTo>
                  <a:lnTo>
                    <a:pt x="95821" y="878681"/>
                  </a:lnTo>
                  <a:lnTo>
                    <a:pt x="102965" y="884206"/>
                  </a:lnTo>
                  <a:lnTo>
                    <a:pt x="107156" y="891731"/>
                  </a:lnTo>
                  <a:lnTo>
                    <a:pt x="110490" y="892874"/>
                  </a:lnTo>
                  <a:lnTo>
                    <a:pt x="114776" y="889159"/>
                  </a:lnTo>
                  <a:lnTo>
                    <a:pt x="122682" y="888111"/>
                  </a:lnTo>
                  <a:lnTo>
                    <a:pt x="125825" y="887730"/>
                  </a:lnTo>
                  <a:lnTo>
                    <a:pt x="126016" y="889349"/>
                  </a:lnTo>
                  <a:lnTo>
                    <a:pt x="144208" y="893445"/>
                  </a:lnTo>
                  <a:lnTo>
                    <a:pt x="154305" y="896969"/>
                  </a:lnTo>
                  <a:lnTo>
                    <a:pt x="165545" y="884301"/>
                  </a:lnTo>
                  <a:lnTo>
                    <a:pt x="169259" y="875824"/>
                  </a:lnTo>
                  <a:lnTo>
                    <a:pt x="171831" y="870680"/>
                  </a:lnTo>
                  <a:lnTo>
                    <a:pt x="181546" y="871061"/>
                  </a:lnTo>
                  <a:lnTo>
                    <a:pt x="191643" y="874585"/>
                  </a:lnTo>
                  <a:lnTo>
                    <a:pt x="202692" y="873157"/>
                  </a:lnTo>
                  <a:lnTo>
                    <a:pt x="206026" y="874300"/>
                  </a:lnTo>
                  <a:lnTo>
                    <a:pt x="209169" y="873919"/>
                  </a:lnTo>
                  <a:lnTo>
                    <a:pt x="214694" y="866775"/>
                  </a:lnTo>
                  <a:lnTo>
                    <a:pt x="216884" y="871347"/>
                  </a:lnTo>
                  <a:lnTo>
                    <a:pt x="222599" y="878681"/>
                  </a:lnTo>
                  <a:lnTo>
                    <a:pt x="221456" y="882015"/>
                  </a:lnTo>
                  <a:lnTo>
                    <a:pt x="216884" y="884206"/>
                  </a:lnTo>
                  <a:lnTo>
                    <a:pt x="217456" y="888968"/>
                  </a:lnTo>
                  <a:lnTo>
                    <a:pt x="227362" y="890873"/>
                  </a:lnTo>
                  <a:lnTo>
                    <a:pt x="232886" y="896588"/>
                  </a:lnTo>
                  <a:lnTo>
                    <a:pt x="240602" y="894017"/>
                  </a:lnTo>
                  <a:lnTo>
                    <a:pt x="240030" y="889254"/>
                  </a:lnTo>
                  <a:lnTo>
                    <a:pt x="238220" y="887921"/>
                  </a:lnTo>
                  <a:lnTo>
                    <a:pt x="241363" y="887540"/>
                  </a:lnTo>
                  <a:lnTo>
                    <a:pt x="243364" y="890492"/>
                  </a:lnTo>
                  <a:lnTo>
                    <a:pt x="243554" y="892111"/>
                  </a:lnTo>
                  <a:lnTo>
                    <a:pt x="243364" y="903351"/>
                  </a:lnTo>
                  <a:lnTo>
                    <a:pt x="247079" y="907637"/>
                  </a:lnTo>
                  <a:lnTo>
                    <a:pt x="250222" y="907256"/>
                  </a:lnTo>
                  <a:lnTo>
                    <a:pt x="255746" y="900113"/>
                  </a:lnTo>
                  <a:lnTo>
                    <a:pt x="259937" y="907637"/>
                  </a:lnTo>
                  <a:lnTo>
                    <a:pt x="260509" y="912400"/>
                  </a:lnTo>
                  <a:lnTo>
                    <a:pt x="258889" y="912590"/>
                  </a:lnTo>
                  <a:lnTo>
                    <a:pt x="255556" y="911447"/>
                  </a:lnTo>
                  <a:lnTo>
                    <a:pt x="253174" y="905351"/>
                  </a:lnTo>
                  <a:lnTo>
                    <a:pt x="253365" y="906971"/>
                  </a:lnTo>
                  <a:lnTo>
                    <a:pt x="252413" y="911924"/>
                  </a:lnTo>
                  <a:lnTo>
                    <a:pt x="254603" y="916496"/>
                  </a:lnTo>
                  <a:lnTo>
                    <a:pt x="264033" y="915257"/>
                  </a:lnTo>
                  <a:lnTo>
                    <a:pt x="269938" y="911257"/>
                  </a:lnTo>
                  <a:lnTo>
                    <a:pt x="273653" y="915543"/>
                  </a:lnTo>
                  <a:lnTo>
                    <a:pt x="278606" y="916496"/>
                  </a:lnTo>
                  <a:lnTo>
                    <a:pt x="275272" y="928116"/>
                  </a:lnTo>
                  <a:lnTo>
                    <a:pt x="278797" y="930878"/>
                  </a:lnTo>
                  <a:lnTo>
                    <a:pt x="282512" y="935260"/>
                  </a:lnTo>
                  <a:lnTo>
                    <a:pt x="285655" y="934879"/>
                  </a:lnTo>
                  <a:lnTo>
                    <a:pt x="288607" y="932878"/>
                  </a:lnTo>
                  <a:lnTo>
                    <a:pt x="287560" y="924973"/>
                  </a:lnTo>
                  <a:lnTo>
                    <a:pt x="290703" y="924592"/>
                  </a:lnTo>
                  <a:lnTo>
                    <a:pt x="292513" y="925925"/>
                  </a:lnTo>
                  <a:lnTo>
                    <a:pt x="291560" y="930878"/>
                  </a:lnTo>
                  <a:lnTo>
                    <a:pt x="299466" y="929831"/>
                  </a:lnTo>
                  <a:lnTo>
                    <a:pt x="301466" y="932783"/>
                  </a:lnTo>
                  <a:lnTo>
                    <a:pt x="294418" y="940118"/>
                  </a:lnTo>
                  <a:lnTo>
                    <a:pt x="294227" y="951357"/>
                  </a:lnTo>
                  <a:lnTo>
                    <a:pt x="303086" y="958215"/>
                  </a:lnTo>
                  <a:lnTo>
                    <a:pt x="306229" y="957834"/>
                  </a:lnTo>
                  <a:lnTo>
                    <a:pt x="321088" y="973550"/>
                  </a:lnTo>
                  <a:lnTo>
                    <a:pt x="326612" y="979265"/>
                  </a:lnTo>
                  <a:lnTo>
                    <a:pt x="366141" y="999934"/>
                  </a:lnTo>
                  <a:lnTo>
                    <a:pt x="378428" y="1008031"/>
                  </a:lnTo>
                  <a:lnTo>
                    <a:pt x="388715" y="1013174"/>
                  </a:lnTo>
                  <a:lnTo>
                    <a:pt x="400526" y="1018032"/>
                  </a:lnTo>
                  <a:lnTo>
                    <a:pt x="408622" y="1018603"/>
                  </a:lnTo>
                  <a:lnTo>
                    <a:pt x="411766" y="1018223"/>
                  </a:lnTo>
                  <a:lnTo>
                    <a:pt x="411385" y="1015079"/>
                  </a:lnTo>
                  <a:lnTo>
                    <a:pt x="414719" y="1016222"/>
                  </a:lnTo>
                  <a:lnTo>
                    <a:pt x="416528" y="1017556"/>
                  </a:lnTo>
                  <a:lnTo>
                    <a:pt x="429768" y="1020699"/>
                  </a:lnTo>
                  <a:lnTo>
                    <a:pt x="430911" y="1017365"/>
                  </a:lnTo>
                  <a:lnTo>
                    <a:pt x="435864" y="1018318"/>
                  </a:lnTo>
                  <a:lnTo>
                    <a:pt x="437674" y="1019651"/>
                  </a:lnTo>
                  <a:lnTo>
                    <a:pt x="440627" y="1017651"/>
                  </a:lnTo>
                  <a:lnTo>
                    <a:pt x="440246" y="1014508"/>
                  </a:lnTo>
                  <a:lnTo>
                    <a:pt x="469868" y="1020318"/>
                  </a:lnTo>
                  <a:lnTo>
                    <a:pt x="507206" y="1023557"/>
                  </a:lnTo>
                  <a:lnTo>
                    <a:pt x="517303" y="1027081"/>
                  </a:lnTo>
                  <a:lnTo>
                    <a:pt x="518922" y="1026890"/>
                  </a:lnTo>
                  <a:lnTo>
                    <a:pt x="521684" y="1023366"/>
                  </a:lnTo>
                  <a:lnTo>
                    <a:pt x="529590" y="1022318"/>
                  </a:lnTo>
                  <a:lnTo>
                    <a:pt x="542830" y="1025461"/>
                  </a:lnTo>
                  <a:lnTo>
                    <a:pt x="547306" y="1023271"/>
                  </a:lnTo>
                  <a:lnTo>
                    <a:pt x="554641" y="1030319"/>
                  </a:lnTo>
                  <a:lnTo>
                    <a:pt x="567880" y="1033463"/>
                  </a:lnTo>
                  <a:lnTo>
                    <a:pt x="573596" y="1027938"/>
                  </a:lnTo>
                  <a:lnTo>
                    <a:pt x="574357" y="1021461"/>
                  </a:lnTo>
                  <a:lnTo>
                    <a:pt x="575691" y="1019651"/>
                  </a:lnTo>
                  <a:lnTo>
                    <a:pt x="575310" y="1016508"/>
                  </a:lnTo>
                  <a:lnTo>
                    <a:pt x="577691" y="1022604"/>
                  </a:lnTo>
                  <a:lnTo>
                    <a:pt x="582263" y="1020413"/>
                  </a:lnTo>
                  <a:lnTo>
                    <a:pt x="584263" y="1023366"/>
                  </a:lnTo>
                  <a:lnTo>
                    <a:pt x="586264" y="1026319"/>
                  </a:lnTo>
                  <a:lnTo>
                    <a:pt x="583502" y="1029843"/>
                  </a:lnTo>
                  <a:lnTo>
                    <a:pt x="587216" y="1034129"/>
                  </a:lnTo>
                  <a:lnTo>
                    <a:pt x="588550" y="1032319"/>
                  </a:lnTo>
                  <a:lnTo>
                    <a:pt x="588931" y="1035463"/>
                  </a:lnTo>
                  <a:lnTo>
                    <a:pt x="599980" y="1034034"/>
                  </a:lnTo>
                  <a:lnTo>
                    <a:pt x="600170" y="1035653"/>
                  </a:lnTo>
                  <a:lnTo>
                    <a:pt x="603313" y="1035272"/>
                  </a:lnTo>
                  <a:lnTo>
                    <a:pt x="606266" y="1033272"/>
                  </a:lnTo>
                  <a:lnTo>
                    <a:pt x="607219" y="1028319"/>
                  </a:lnTo>
                  <a:lnTo>
                    <a:pt x="608647" y="1026509"/>
                  </a:lnTo>
                  <a:lnTo>
                    <a:pt x="609790" y="1023176"/>
                  </a:lnTo>
                  <a:lnTo>
                    <a:pt x="611410" y="1022985"/>
                  </a:lnTo>
                  <a:lnTo>
                    <a:pt x="613410" y="1025938"/>
                  </a:lnTo>
                  <a:lnTo>
                    <a:pt x="619125" y="1020413"/>
                  </a:lnTo>
                  <a:lnTo>
                    <a:pt x="620935" y="1021747"/>
                  </a:lnTo>
                  <a:lnTo>
                    <a:pt x="623888" y="1019747"/>
                  </a:lnTo>
                  <a:lnTo>
                    <a:pt x="626078" y="1011460"/>
                  </a:lnTo>
                  <a:lnTo>
                    <a:pt x="627412" y="1009650"/>
                  </a:lnTo>
                  <a:lnTo>
                    <a:pt x="628364" y="1004697"/>
                  </a:lnTo>
                  <a:lnTo>
                    <a:pt x="633889" y="997553"/>
                  </a:lnTo>
                  <a:lnTo>
                    <a:pt x="639985" y="995172"/>
                  </a:lnTo>
                  <a:lnTo>
                    <a:pt x="644366" y="991457"/>
                  </a:lnTo>
                  <a:lnTo>
                    <a:pt x="644938" y="983361"/>
                  </a:lnTo>
                  <a:lnTo>
                    <a:pt x="643128" y="982027"/>
                  </a:lnTo>
                  <a:lnTo>
                    <a:pt x="642938" y="980408"/>
                  </a:lnTo>
                  <a:lnTo>
                    <a:pt x="645128" y="972122"/>
                  </a:lnTo>
                  <a:lnTo>
                    <a:pt x="650462" y="963454"/>
                  </a:lnTo>
                  <a:lnTo>
                    <a:pt x="649700" y="957167"/>
                  </a:lnTo>
                  <a:lnTo>
                    <a:pt x="652463" y="953643"/>
                  </a:lnTo>
                  <a:lnTo>
                    <a:pt x="661130" y="946118"/>
                  </a:lnTo>
                  <a:lnTo>
                    <a:pt x="660940" y="944499"/>
                  </a:lnTo>
                  <a:lnTo>
                    <a:pt x="657606" y="943356"/>
                  </a:lnTo>
                  <a:lnTo>
                    <a:pt x="660749" y="942975"/>
                  </a:lnTo>
                  <a:lnTo>
                    <a:pt x="671417" y="951262"/>
                  </a:lnTo>
                  <a:lnTo>
                    <a:pt x="687610" y="952405"/>
                  </a:lnTo>
                  <a:lnTo>
                    <a:pt x="698468" y="949452"/>
                  </a:lnTo>
                  <a:lnTo>
                    <a:pt x="700659" y="954024"/>
                  </a:lnTo>
                  <a:lnTo>
                    <a:pt x="705231" y="951833"/>
                  </a:lnTo>
                  <a:lnTo>
                    <a:pt x="710565" y="943166"/>
                  </a:lnTo>
                  <a:lnTo>
                    <a:pt x="714661" y="937832"/>
                  </a:lnTo>
                  <a:lnTo>
                    <a:pt x="725519" y="947642"/>
                  </a:lnTo>
                  <a:lnTo>
                    <a:pt x="727520" y="950595"/>
                  </a:lnTo>
                  <a:lnTo>
                    <a:pt x="735044" y="959263"/>
                  </a:lnTo>
                  <a:lnTo>
                    <a:pt x="746474" y="960977"/>
                  </a:lnTo>
                  <a:lnTo>
                    <a:pt x="755142" y="966311"/>
                  </a:lnTo>
                  <a:lnTo>
                    <a:pt x="754380" y="972788"/>
                  </a:lnTo>
                  <a:lnTo>
                    <a:pt x="765810" y="974503"/>
                  </a:lnTo>
                  <a:lnTo>
                    <a:pt x="770572" y="973931"/>
                  </a:lnTo>
                  <a:lnTo>
                    <a:pt x="780193" y="974312"/>
                  </a:lnTo>
                  <a:lnTo>
                    <a:pt x="781812" y="974122"/>
                  </a:lnTo>
                  <a:lnTo>
                    <a:pt x="782764" y="969169"/>
                  </a:lnTo>
                  <a:lnTo>
                    <a:pt x="790480" y="966597"/>
                  </a:lnTo>
                  <a:lnTo>
                    <a:pt x="790670" y="968216"/>
                  </a:lnTo>
                  <a:lnTo>
                    <a:pt x="797338" y="970598"/>
                  </a:lnTo>
                  <a:lnTo>
                    <a:pt x="804005" y="972979"/>
                  </a:lnTo>
                  <a:lnTo>
                    <a:pt x="806387" y="979075"/>
                  </a:lnTo>
                  <a:lnTo>
                    <a:pt x="813721" y="986123"/>
                  </a:lnTo>
                  <a:lnTo>
                    <a:pt x="817150" y="1000125"/>
                  </a:lnTo>
                  <a:lnTo>
                    <a:pt x="818197" y="1008031"/>
                  </a:lnTo>
                  <a:lnTo>
                    <a:pt x="812863" y="1016699"/>
                  </a:lnTo>
                  <a:lnTo>
                    <a:pt x="813245" y="1019842"/>
                  </a:lnTo>
                  <a:lnTo>
                    <a:pt x="817436" y="1027367"/>
                  </a:lnTo>
                  <a:lnTo>
                    <a:pt x="819817" y="1033463"/>
                  </a:lnTo>
                  <a:lnTo>
                    <a:pt x="822960" y="1033082"/>
                  </a:lnTo>
                  <a:lnTo>
                    <a:pt x="833247" y="1025366"/>
                  </a:lnTo>
                  <a:lnTo>
                    <a:pt x="834771" y="1025176"/>
                  </a:lnTo>
                  <a:lnTo>
                    <a:pt x="836200" y="1023366"/>
                  </a:lnTo>
                  <a:lnTo>
                    <a:pt x="844105" y="1022318"/>
                  </a:lnTo>
                  <a:lnTo>
                    <a:pt x="849058" y="1023271"/>
                  </a:lnTo>
                  <a:lnTo>
                    <a:pt x="850868" y="1024604"/>
                  </a:lnTo>
                  <a:lnTo>
                    <a:pt x="854012" y="1024223"/>
                  </a:lnTo>
                  <a:lnTo>
                    <a:pt x="852678" y="1026033"/>
                  </a:lnTo>
                  <a:lnTo>
                    <a:pt x="852869" y="1027652"/>
                  </a:lnTo>
                  <a:lnTo>
                    <a:pt x="856012" y="1027271"/>
                  </a:lnTo>
                  <a:lnTo>
                    <a:pt x="857822" y="1028605"/>
                  </a:lnTo>
                  <a:lnTo>
                    <a:pt x="858203" y="1031748"/>
                  </a:lnTo>
                  <a:lnTo>
                    <a:pt x="865918" y="1029176"/>
                  </a:lnTo>
                  <a:lnTo>
                    <a:pt x="870109" y="1036701"/>
                  </a:lnTo>
                  <a:lnTo>
                    <a:pt x="870680" y="1041464"/>
                  </a:lnTo>
                  <a:lnTo>
                    <a:pt x="874205" y="1044226"/>
                  </a:lnTo>
                  <a:lnTo>
                    <a:pt x="874395" y="1045845"/>
                  </a:lnTo>
                  <a:lnTo>
                    <a:pt x="878967" y="1043654"/>
                  </a:lnTo>
                  <a:lnTo>
                    <a:pt x="884682" y="1050893"/>
                  </a:lnTo>
                  <a:lnTo>
                    <a:pt x="886301" y="1050703"/>
                  </a:lnTo>
                  <a:lnTo>
                    <a:pt x="889254" y="1048702"/>
                  </a:lnTo>
                  <a:lnTo>
                    <a:pt x="891064" y="1050036"/>
                  </a:lnTo>
                  <a:lnTo>
                    <a:pt x="895826" y="1049465"/>
                  </a:lnTo>
                  <a:lnTo>
                    <a:pt x="902780" y="1053370"/>
                  </a:lnTo>
                  <a:lnTo>
                    <a:pt x="904970" y="1057942"/>
                  </a:lnTo>
                  <a:lnTo>
                    <a:pt x="908875" y="1050989"/>
                  </a:lnTo>
                  <a:lnTo>
                    <a:pt x="913829" y="1051941"/>
                  </a:lnTo>
                  <a:lnTo>
                    <a:pt x="923449" y="1052322"/>
                  </a:lnTo>
                  <a:lnTo>
                    <a:pt x="928973" y="1045178"/>
                  </a:lnTo>
                  <a:lnTo>
                    <a:pt x="934498" y="1050893"/>
                  </a:lnTo>
                  <a:lnTo>
                    <a:pt x="953643" y="1050036"/>
                  </a:lnTo>
                  <a:lnTo>
                    <a:pt x="960120" y="1037939"/>
                  </a:lnTo>
                  <a:lnTo>
                    <a:pt x="964311" y="1045464"/>
                  </a:lnTo>
                  <a:lnTo>
                    <a:pt x="974027" y="1045845"/>
                  </a:lnTo>
                  <a:lnTo>
                    <a:pt x="976979" y="1043845"/>
                  </a:lnTo>
                  <a:lnTo>
                    <a:pt x="980504" y="1046607"/>
                  </a:lnTo>
                  <a:lnTo>
                    <a:pt x="977360" y="1046988"/>
                  </a:lnTo>
                  <a:lnTo>
                    <a:pt x="979551" y="1051560"/>
                  </a:lnTo>
                  <a:lnTo>
                    <a:pt x="983266" y="1055846"/>
                  </a:lnTo>
                  <a:lnTo>
                    <a:pt x="981932" y="1057656"/>
                  </a:lnTo>
                  <a:lnTo>
                    <a:pt x="987266" y="1061752"/>
                  </a:lnTo>
                  <a:lnTo>
                    <a:pt x="988028" y="1068038"/>
                  </a:lnTo>
                  <a:lnTo>
                    <a:pt x="988409" y="1071182"/>
                  </a:lnTo>
                  <a:lnTo>
                    <a:pt x="987266" y="1074515"/>
                  </a:lnTo>
                  <a:lnTo>
                    <a:pt x="989076" y="1075849"/>
                  </a:lnTo>
                  <a:lnTo>
                    <a:pt x="987743" y="1077659"/>
                  </a:lnTo>
                  <a:lnTo>
                    <a:pt x="988123" y="1080802"/>
                  </a:lnTo>
                  <a:lnTo>
                    <a:pt x="986504" y="1080992"/>
                  </a:lnTo>
                  <a:lnTo>
                    <a:pt x="986695" y="1082611"/>
                  </a:lnTo>
                  <a:lnTo>
                    <a:pt x="984123" y="1087755"/>
                  </a:lnTo>
                  <a:lnTo>
                    <a:pt x="984695" y="1092518"/>
                  </a:lnTo>
                  <a:lnTo>
                    <a:pt x="991362" y="1094899"/>
                  </a:lnTo>
                  <a:lnTo>
                    <a:pt x="993553" y="1099471"/>
                  </a:lnTo>
                  <a:lnTo>
                    <a:pt x="992219" y="1101281"/>
                  </a:lnTo>
                  <a:lnTo>
                    <a:pt x="994029" y="1102614"/>
                  </a:lnTo>
                  <a:lnTo>
                    <a:pt x="992696" y="1104424"/>
                  </a:lnTo>
                  <a:lnTo>
                    <a:pt x="994886" y="1108996"/>
                  </a:lnTo>
                  <a:lnTo>
                    <a:pt x="993934" y="1113949"/>
                  </a:lnTo>
                  <a:lnTo>
                    <a:pt x="990981" y="1115949"/>
                  </a:lnTo>
                  <a:lnTo>
                    <a:pt x="993362" y="1122045"/>
                  </a:lnTo>
                  <a:lnTo>
                    <a:pt x="992029" y="1123855"/>
                  </a:lnTo>
                  <a:lnTo>
                    <a:pt x="995744" y="1128141"/>
                  </a:lnTo>
                  <a:lnTo>
                    <a:pt x="997363" y="1127951"/>
                  </a:lnTo>
                  <a:lnTo>
                    <a:pt x="997934" y="1132713"/>
                  </a:lnTo>
                  <a:lnTo>
                    <a:pt x="996601" y="1134523"/>
                  </a:lnTo>
                  <a:lnTo>
                    <a:pt x="997363" y="1140809"/>
                  </a:lnTo>
                  <a:lnTo>
                    <a:pt x="993457" y="1147763"/>
                  </a:lnTo>
                  <a:lnTo>
                    <a:pt x="992505" y="1152716"/>
                  </a:lnTo>
                  <a:lnTo>
                    <a:pt x="999172" y="1155097"/>
                  </a:lnTo>
                  <a:lnTo>
                    <a:pt x="1007459" y="1157288"/>
                  </a:lnTo>
                  <a:lnTo>
                    <a:pt x="1011174" y="1161574"/>
                  </a:lnTo>
                  <a:lnTo>
                    <a:pt x="1010983" y="1159955"/>
                  </a:lnTo>
                  <a:lnTo>
                    <a:pt x="1010412" y="1155192"/>
                  </a:lnTo>
                  <a:lnTo>
                    <a:pt x="1015365" y="1156144"/>
                  </a:lnTo>
                  <a:lnTo>
                    <a:pt x="1016889" y="1155954"/>
                  </a:lnTo>
                  <a:lnTo>
                    <a:pt x="1015079" y="1154621"/>
                  </a:lnTo>
                  <a:lnTo>
                    <a:pt x="1014698" y="1151477"/>
                  </a:lnTo>
                  <a:lnTo>
                    <a:pt x="1017841" y="1151096"/>
                  </a:lnTo>
                  <a:lnTo>
                    <a:pt x="1017080" y="1144810"/>
                  </a:lnTo>
                  <a:lnTo>
                    <a:pt x="1018604" y="1144619"/>
                  </a:lnTo>
                  <a:lnTo>
                    <a:pt x="1020794" y="1149191"/>
                  </a:lnTo>
                  <a:lnTo>
                    <a:pt x="1020223" y="1144429"/>
                  </a:lnTo>
                  <a:lnTo>
                    <a:pt x="1025366" y="1147001"/>
                  </a:lnTo>
                  <a:lnTo>
                    <a:pt x="1026795" y="1145191"/>
                  </a:lnTo>
                  <a:lnTo>
                    <a:pt x="1023271" y="1142428"/>
                  </a:lnTo>
                  <a:lnTo>
                    <a:pt x="1026414" y="1142048"/>
                  </a:lnTo>
                  <a:lnTo>
                    <a:pt x="1020508" y="1133189"/>
                  </a:lnTo>
                  <a:lnTo>
                    <a:pt x="1021937" y="1131380"/>
                  </a:lnTo>
                  <a:lnTo>
                    <a:pt x="1027271" y="1135475"/>
                  </a:lnTo>
                  <a:lnTo>
                    <a:pt x="1025080" y="1130903"/>
                  </a:lnTo>
                  <a:lnTo>
                    <a:pt x="1029653" y="1128713"/>
                  </a:lnTo>
                  <a:lnTo>
                    <a:pt x="1024319" y="1124617"/>
                  </a:lnTo>
                  <a:lnTo>
                    <a:pt x="1032034" y="1122045"/>
                  </a:lnTo>
                  <a:lnTo>
                    <a:pt x="1026700" y="1117949"/>
                  </a:lnTo>
                  <a:lnTo>
                    <a:pt x="1026223" y="1101947"/>
                  </a:lnTo>
                  <a:lnTo>
                    <a:pt x="1030510" y="1098233"/>
                  </a:lnTo>
                  <a:lnTo>
                    <a:pt x="1026795" y="1093946"/>
                  </a:lnTo>
                  <a:lnTo>
                    <a:pt x="1028129" y="1092136"/>
                  </a:lnTo>
                  <a:lnTo>
                    <a:pt x="1030319" y="1096709"/>
                  </a:lnTo>
                  <a:lnTo>
                    <a:pt x="1031653" y="1094899"/>
                  </a:lnTo>
                  <a:lnTo>
                    <a:pt x="1030891" y="1088612"/>
                  </a:lnTo>
                  <a:lnTo>
                    <a:pt x="1032510" y="1088422"/>
                  </a:lnTo>
                  <a:lnTo>
                    <a:pt x="1031938" y="1083659"/>
                  </a:lnTo>
                  <a:lnTo>
                    <a:pt x="1034891" y="1081659"/>
                  </a:lnTo>
                  <a:lnTo>
                    <a:pt x="1034129" y="1075373"/>
                  </a:lnTo>
                  <a:lnTo>
                    <a:pt x="1035463" y="1073563"/>
                  </a:lnTo>
                  <a:lnTo>
                    <a:pt x="1038987" y="1076325"/>
                  </a:lnTo>
                  <a:lnTo>
                    <a:pt x="1042130" y="1075944"/>
                  </a:lnTo>
                  <a:lnTo>
                    <a:pt x="1041940" y="1074325"/>
                  </a:lnTo>
                  <a:lnTo>
                    <a:pt x="1043083" y="1070991"/>
                  </a:lnTo>
                  <a:lnTo>
                    <a:pt x="1046607" y="1073753"/>
                  </a:lnTo>
                  <a:lnTo>
                    <a:pt x="1049179" y="1068610"/>
                  </a:lnTo>
                  <a:lnTo>
                    <a:pt x="1044416" y="1069181"/>
                  </a:lnTo>
                  <a:lnTo>
                    <a:pt x="1045750" y="1067372"/>
                  </a:lnTo>
                  <a:lnTo>
                    <a:pt x="1042416" y="1066228"/>
                  </a:lnTo>
                  <a:lnTo>
                    <a:pt x="1043749" y="1064419"/>
                  </a:lnTo>
                  <a:lnTo>
                    <a:pt x="1053179" y="1063181"/>
                  </a:lnTo>
                  <a:lnTo>
                    <a:pt x="1048036" y="1060609"/>
                  </a:lnTo>
                  <a:lnTo>
                    <a:pt x="1049179" y="1057275"/>
                  </a:lnTo>
                  <a:lnTo>
                    <a:pt x="1047845" y="1059085"/>
                  </a:lnTo>
                  <a:lnTo>
                    <a:pt x="1046036" y="1057751"/>
                  </a:lnTo>
                  <a:lnTo>
                    <a:pt x="1047179" y="1054418"/>
                  </a:lnTo>
                  <a:lnTo>
                    <a:pt x="1048988" y="1055751"/>
                  </a:lnTo>
                  <a:lnTo>
                    <a:pt x="1047179" y="1054418"/>
                  </a:lnTo>
                  <a:lnTo>
                    <a:pt x="1048131" y="1049465"/>
                  </a:lnTo>
                  <a:lnTo>
                    <a:pt x="1049941" y="1050798"/>
                  </a:lnTo>
                  <a:lnTo>
                    <a:pt x="1051370" y="1048988"/>
                  </a:lnTo>
                  <a:lnTo>
                    <a:pt x="1049560" y="1047655"/>
                  </a:lnTo>
                  <a:lnTo>
                    <a:pt x="1048988" y="1042892"/>
                  </a:lnTo>
                  <a:lnTo>
                    <a:pt x="1051941" y="1040892"/>
                  </a:lnTo>
                  <a:lnTo>
                    <a:pt x="1048798" y="1041273"/>
                  </a:lnTo>
                  <a:lnTo>
                    <a:pt x="1048226" y="1036510"/>
                  </a:lnTo>
                  <a:lnTo>
                    <a:pt x="1046607" y="1036701"/>
                  </a:lnTo>
                  <a:lnTo>
                    <a:pt x="1044988" y="1036892"/>
                  </a:lnTo>
                  <a:lnTo>
                    <a:pt x="1049369" y="1033177"/>
                  </a:lnTo>
                  <a:lnTo>
                    <a:pt x="1052703" y="1034320"/>
                  </a:lnTo>
                  <a:lnTo>
                    <a:pt x="1052322" y="1031176"/>
                  </a:lnTo>
                  <a:lnTo>
                    <a:pt x="1055656" y="1032319"/>
                  </a:lnTo>
                  <a:lnTo>
                    <a:pt x="1056799" y="1028986"/>
                  </a:lnTo>
                  <a:lnTo>
                    <a:pt x="1057751" y="1024033"/>
                  </a:lnTo>
                  <a:lnTo>
                    <a:pt x="1059561" y="1025366"/>
                  </a:lnTo>
                  <a:lnTo>
                    <a:pt x="1058989" y="1020604"/>
                  </a:lnTo>
                  <a:lnTo>
                    <a:pt x="1065276" y="1019842"/>
                  </a:lnTo>
                  <a:lnTo>
                    <a:pt x="1064514" y="1013555"/>
                  </a:lnTo>
                  <a:lnTo>
                    <a:pt x="1066895" y="1006793"/>
                  </a:lnTo>
                  <a:lnTo>
                    <a:pt x="1072801" y="1002792"/>
                  </a:lnTo>
                  <a:lnTo>
                    <a:pt x="1075373" y="997649"/>
                  </a:lnTo>
                  <a:lnTo>
                    <a:pt x="1079659" y="993934"/>
                  </a:lnTo>
                  <a:lnTo>
                    <a:pt x="1079468" y="992315"/>
                  </a:lnTo>
                  <a:lnTo>
                    <a:pt x="1076706" y="995839"/>
                  </a:lnTo>
                  <a:lnTo>
                    <a:pt x="1074896" y="994505"/>
                  </a:lnTo>
                  <a:lnTo>
                    <a:pt x="1078230" y="982885"/>
                  </a:lnTo>
                  <a:lnTo>
                    <a:pt x="1078039" y="981266"/>
                  </a:lnTo>
                  <a:lnTo>
                    <a:pt x="1083183" y="983837"/>
                  </a:lnTo>
                  <a:lnTo>
                    <a:pt x="1084326" y="980503"/>
                  </a:lnTo>
                  <a:lnTo>
                    <a:pt x="1086136" y="981837"/>
                  </a:lnTo>
                  <a:lnTo>
                    <a:pt x="1087469" y="980027"/>
                  </a:lnTo>
                  <a:lnTo>
                    <a:pt x="1085660" y="978694"/>
                  </a:lnTo>
                  <a:lnTo>
                    <a:pt x="1090613" y="979646"/>
                  </a:lnTo>
                  <a:lnTo>
                    <a:pt x="1093565" y="977646"/>
                  </a:lnTo>
                  <a:lnTo>
                    <a:pt x="1088422" y="975074"/>
                  </a:lnTo>
                  <a:lnTo>
                    <a:pt x="1088231" y="973455"/>
                  </a:lnTo>
                  <a:lnTo>
                    <a:pt x="1090041" y="974789"/>
                  </a:lnTo>
                  <a:lnTo>
                    <a:pt x="1094804" y="974217"/>
                  </a:lnTo>
                  <a:lnTo>
                    <a:pt x="1094423" y="971074"/>
                  </a:lnTo>
                  <a:lnTo>
                    <a:pt x="1095756" y="969264"/>
                  </a:lnTo>
                  <a:lnTo>
                    <a:pt x="1097566" y="970598"/>
                  </a:lnTo>
                  <a:lnTo>
                    <a:pt x="1097185" y="967454"/>
                  </a:lnTo>
                  <a:lnTo>
                    <a:pt x="1098804" y="967264"/>
                  </a:lnTo>
                  <a:lnTo>
                    <a:pt x="1103186" y="963549"/>
                  </a:lnTo>
                  <a:lnTo>
                    <a:pt x="1105186" y="966502"/>
                  </a:lnTo>
                  <a:lnTo>
                    <a:pt x="1112044" y="957643"/>
                  </a:lnTo>
                  <a:lnTo>
                    <a:pt x="1108710" y="956501"/>
                  </a:lnTo>
                  <a:lnTo>
                    <a:pt x="1109472" y="950024"/>
                  </a:lnTo>
                  <a:lnTo>
                    <a:pt x="1112234" y="946499"/>
                  </a:lnTo>
                  <a:lnTo>
                    <a:pt x="1113854" y="946309"/>
                  </a:lnTo>
                  <a:lnTo>
                    <a:pt x="1111853" y="943356"/>
                  </a:lnTo>
                  <a:lnTo>
                    <a:pt x="1113473" y="943166"/>
                  </a:lnTo>
                  <a:lnTo>
                    <a:pt x="1114997" y="942975"/>
                  </a:lnTo>
                  <a:lnTo>
                    <a:pt x="1114615" y="939832"/>
                  </a:lnTo>
                  <a:lnTo>
                    <a:pt x="1117759" y="939451"/>
                  </a:lnTo>
                  <a:lnTo>
                    <a:pt x="1117378" y="936308"/>
                  </a:lnTo>
                  <a:lnTo>
                    <a:pt x="1120140" y="932783"/>
                  </a:lnTo>
                  <a:lnTo>
                    <a:pt x="1121093" y="927830"/>
                  </a:lnTo>
                  <a:lnTo>
                    <a:pt x="1118521" y="920115"/>
                  </a:lnTo>
                  <a:lnTo>
                    <a:pt x="1120712" y="911828"/>
                  </a:lnTo>
                  <a:lnTo>
                    <a:pt x="1118902" y="910495"/>
                  </a:lnTo>
                  <a:lnTo>
                    <a:pt x="1123188" y="906780"/>
                  </a:lnTo>
                  <a:lnTo>
                    <a:pt x="1121188" y="903827"/>
                  </a:lnTo>
                  <a:lnTo>
                    <a:pt x="1124331" y="903446"/>
                  </a:lnTo>
                  <a:lnTo>
                    <a:pt x="1126903" y="898303"/>
                  </a:lnTo>
                  <a:lnTo>
                    <a:pt x="1138714" y="903160"/>
                  </a:lnTo>
                  <a:lnTo>
                    <a:pt x="1146620" y="902113"/>
                  </a:lnTo>
                  <a:lnTo>
                    <a:pt x="1149763" y="901732"/>
                  </a:lnTo>
                  <a:lnTo>
                    <a:pt x="1150715" y="896779"/>
                  </a:lnTo>
                  <a:lnTo>
                    <a:pt x="1153668" y="894778"/>
                  </a:lnTo>
                  <a:lnTo>
                    <a:pt x="1153668" y="894778"/>
                  </a:lnTo>
                  <a:lnTo>
                    <a:pt x="1150525" y="895159"/>
                  </a:lnTo>
                  <a:lnTo>
                    <a:pt x="1151287" y="888683"/>
                  </a:lnTo>
                  <a:lnTo>
                    <a:pt x="1153287" y="891635"/>
                  </a:lnTo>
                  <a:lnTo>
                    <a:pt x="1157764" y="889444"/>
                  </a:lnTo>
                  <a:lnTo>
                    <a:pt x="1155764" y="886492"/>
                  </a:lnTo>
                  <a:lnTo>
                    <a:pt x="1160716" y="887444"/>
                  </a:lnTo>
                  <a:lnTo>
                    <a:pt x="1160526" y="885825"/>
                  </a:lnTo>
                  <a:lnTo>
                    <a:pt x="1158526" y="882872"/>
                  </a:lnTo>
                  <a:lnTo>
                    <a:pt x="1161669" y="882491"/>
                  </a:lnTo>
                  <a:lnTo>
                    <a:pt x="1164622" y="880491"/>
                  </a:lnTo>
                  <a:lnTo>
                    <a:pt x="1162622" y="877538"/>
                  </a:lnTo>
                  <a:lnTo>
                    <a:pt x="1165574" y="875538"/>
                  </a:lnTo>
                  <a:lnTo>
                    <a:pt x="1167194" y="875348"/>
                  </a:lnTo>
                  <a:lnTo>
                    <a:pt x="1166241" y="880301"/>
                  </a:lnTo>
                  <a:lnTo>
                    <a:pt x="1169384" y="879919"/>
                  </a:lnTo>
                  <a:lnTo>
                    <a:pt x="1169003" y="876776"/>
                  </a:lnTo>
                  <a:lnTo>
                    <a:pt x="1166813" y="872204"/>
                  </a:lnTo>
                  <a:lnTo>
                    <a:pt x="1166431" y="869061"/>
                  </a:lnTo>
                  <a:lnTo>
                    <a:pt x="1167765" y="867251"/>
                  </a:lnTo>
                  <a:lnTo>
                    <a:pt x="1174528" y="869633"/>
                  </a:lnTo>
                  <a:lnTo>
                    <a:pt x="1173956" y="864870"/>
                  </a:lnTo>
                  <a:lnTo>
                    <a:pt x="1179671" y="859346"/>
                  </a:lnTo>
                  <a:lnTo>
                    <a:pt x="1182814" y="858965"/>
                  </a:lnTo>
                  <a:lnTo>
                    <a:pt x="1182814" y="858965"/>
                  </a:lnTo>
                  <a:lnTo>
                    <a:pt x="1185958" y="858584"/>
                  </a:lnTo>
                  <a:lnTo>
                    <a:pt x="1187577" y="858393"/>
                  </a:lnTo>
                  <a:lnTo>
                    <a:pt x="1187768" y="860012"/>
                  </a:lnTo>
                  <a:lnTo>
                    <a:pt x="1189577" y="861346"/>
                  </a:lnTo>
                  <a:lnTo>
                    <a:pt x="1190911" y="859536"/>
                  </a:lnTo>
                  <a:lnTo>
                    <a:pt x="1196054" y="862108"/>
                  </a:lnTo>
                  <a:lnTo>
                    <a:pt x="1200340" y="858393"/>
                  </a:lnTo>
                  <a:lnTo>
                    <a:pt x="1202531" y="862965"/>
                  </a:lnTo>
                  <a:lnTo>
                    <a:pt x="1205865" y="864108"/>
                  </a:lnTo>
                  <a:lnTo>
                    <a:pt x="1209389" y="866870"/>
                  </a:lnTo>
                  <a:lnTo>
                    <a:pt x="1217295" y="865823"/>
                  </a:lnTo>
                  <a:lnTo>
                    <a:pt x="1221296" y="871728"/>
                  </a:lnTo>
                  <a:lnTo>
                    <a:pt x="1227963" y="874109"/>
                  </a:lnTo>
                  <a:lnTo>
                    <a:pt x="1234249" y="873347"/>
                  </a:lnTo>
                  <a:lnTo>
                    <a:pt x="1240727" y="874109"/>
                  </a:lnTo>
                  <a:lnTo>
                    <a:pt x="1243108" y="880205"/>
                  </a:lnTo>
                  <a:lnTo>
                    <a:pt x="1255205" y="886682"/>
                  </a:lnTo>
                  <a:lnTo>
                    <a:pt x="1259205" y="892588"/>
                  </a:lnTo>
                  <a:lnTo>
                    <a:pt x="1264158" y="893540"/>
                  </a:lnTo>
                  <a:lnTo>
                    <a:pt x="1270254" y="891159"/>
                  </a:lnTo>
                  <a:lnTo>
                    <a:pt x="1272064" y="892493"/>
                  </a:lnTo>
                  <a:lnTo>
                    <a:pt x="1274445" y="898589"/>
                  </a:lnTo>
                  <a:lnTo>
                    <a:pt x="1280160" y="905827"/>
                  </a:lnTo>
                  <a:lnTo>
                    <a:pt x="1290638" y="912495"/>
                  </a:lnTo>
                  <a:lnTo>
                    <a:pt x="1292828" y="917067"/>
                  </a:lnTo>
                  <a:lnTo>
                    <a:pt x="1295972" y="916686"/>
                  </a:lnTo>
                  <a:lnTo>
                    <a:pt x="1302068" y="927164"/>
                  </a:lnTo>
                  <a:lnTo>
                    <a:pt x="1314069" y="920782"/>
                  </a:lnTo>
                  <a:lnTo>
                    <a:pt x="1319213" y="923353"/>
                  </a:lnTo>
                  <a:lnTo>
                    <a:pt x="1322356" y="922973"/>
                  </a:lnTo>
                  <a:lnTo>
                    <a:pt x="1325880" y="925735"/>
                  </a:lnTo>
                  <a:lnTo>
                    <a:pt x="1331405" y="918591"/>
                  </a:lnTo>
                  <a:lnTo>
                    <a:pt x="1338644" y="912876"/>
                  </a:lnTo>
                  <a:lnTo>
                    <a:pt x="1341406" y="909352"/>
                  </a:lnTo>
                  <a:lnTo>
                    <a:pt x="1347883" y="910114"/>
                  </a:lnTo>
                  <a:lnTo>
                    <a:pt x="1350455" y="904970"/>
                  </a:lnTo>
                  <a:lnTo>
                    <a:pt x="1353979" y="894874"/>
                  </a:lnTo>
                  <a:lnTo>
                    <a:pt x="1359313" y="898969"/>
                  </a:lnTo>
                  <a:lnTo>
                    <a:pt x="1358741" y="894207"/>
                  </a:lnTo>
                  <a:lnTo>
                    <a:pt x="1364266" y="887063"/>
                  </a:lnTo>
                  <a:lnTo>
                    <a:pt x="1382649" y="892778"/>
                  </a:lnTo>
                  <a:lnTo>
                    <a:pt x="1387793" y="895350"/>
                  </a:lnTo>
                  <a:lnTo>
                    <a:pt x="1395698" y="907161"/>
                  </a:lnTo>
                  <a:lnTo>
                    <a:pt x="1406747" y="918591"/>
                  </a:lnTo>
                  <a:lnTo>
                    <a:pt x="1405128" y="918782"/>
                  </a:lnTo>
                  <a:lnTo>
                    <a:pt x="1406938" y="920115"/>
                  </a:lnTo>
                  <a:lnTo>
                    <a:pt x="1412462" y="925830"/>
                  </a:lnTo>
                  <a:lnTo>
                    <a:pt x="1420368" y="924782"/>
                  </a:lnTo>
                  <a:lnTo>
                    <a:pt x="1427416" y="917448"/>
                  </a:lnTo>
                  <a:lnTo>
                    <a:pt x="1435703" y="919639"/>
                  </a:lnTo>
                  <a:lnTo>
                    <a:pt x="1442371" y="909161"/>
                  </a:lnTo>
                  <a:lnTo>
                    <a:pt x="1450657" y="911352"/>
                  </a:lnTo>
                  <a:lnTo>
                    <a:pt x="1455230" y="909161"/>
                  </a:lnTo>
                  <a:lnTo>
                    <a:pt x="1463326" y="909733"/>
                  </a:lnTo>
                  <a:lnTo>
                    <a:pt x="1467612" y="906018"/>
                  </a:lnTo>
                  <a:lnTo>
                    <a:pt x="1469327" y="894588"/>
                  </a:lnTo>
                  <a:lnTo>
                    <a:pt x="1472089" y="891064"/>
                  </a:lnTo>
                  <a:lnTo>
                    <a:pt x="1484757" y="889444"/>
                  </a:lnTo>
                  <a:lnTo>
                    <a:pt x="1485519" y="882968"/>
                  </a:lnTo>
                  <a:lnTo>
                    <a:pt x="1491044" y="875824"/>
                  </a:lnTo>
                  <a:lnTo>
                    <a:pt x="1497330" y="875062"/>
                  </a:lnTo>
                  <a:lnTo>
                    <a:pt x="1502283" y="876014"/>
                  </a:lnTo>
                  <a:lnTo>
                    <a:pt x="1495139" y="857726"/>
                  </a:lnTo>
                  <a:lnTo>
                    <a:pt x="1495139" y="857726"/>
                  </a:lnTo>
                  <a:close/>
                </a:path>
              </a:pathLst>
            </a:custGeom>
            <a:solidFill>
              <a:srgbClr val="D71440"/>
            </a:solidFill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5" name="Volný tvar: obrazec 34">
              <a:extLst>
                <a:ext uri="{FF2B5EF4-FFF2-40B4-BE49-F238E27FC236}">
                  <a16:creationId xmlns:a16="http://schemas.microsoft.com/office/drawing/2014/main" id="{7A1C3BBC-A7B8-7383-F39C-ABAC8308B8A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90470" y="2042826"/>
              <a:ext cx="887920" cy="627602"/>
            </a:xfrm>
            <a:custGeom>
              <a:avLst/>
              <a:gdLst>
                <a:gd name="connsiteX0" fmla="*/ 883920 w 887920"/>
                <a:gd name="connsiteY0" fmla="*/ 565595 h 627602"/>
                <a:gd name="connsiteX1" fmla="*/ 883158 w 887920"/>
                <a:gd name="connsiteY1" fmla="*/ 559308 h 627602"/>
                <a:gd name="connsiteX2" fmla="*/ 881634 w 887920"/>
                <a:gd name="connsiteY2" fmla="*/ 559499 h 627602"/>
                <a:gd name="connsiteX3" fmla="*/ 877443 w 887920"/>
                <a:gd name="connsiteY3" fmla="*/ 551974 h 627602"/>
                <a:gd name="connsiteX4" fmla="*/ 873824 w 887920"/>
                <a:gd name="connsiteY4" fmla="*/ 549212 h 627602"/>
                <a:gd name="connsiteX5" fmla="*/ 873443 w 887920"/>
                <a:gd name="connsiteY5" fmla="*/ 546068 h 627602"/>
                <a:gd name="connsiteX6" fmla="*/ 868109 w 887920"/>
                <a:gd name="connsiteY6" fmla="*/ 541973 h 627602"/>
                <a:gd name="connsiteX7" fmla="*/ 865727 w 887920"/>
                <a:gd name="connsiteY7" fmla="*/ 535877 h 627602"/>
                <a:gd name="connsiteX8" fmla="*/ 859250 w 887920"/>
                <a:gd name="connsiteY8" fmla="*/ 535019 h 627602"/>
                <a:gd name="connsiteX9" fmla="*/ 859060 w 887920"/>
                <a:gd name="connsiteY9" fmla="*/ 533495 h 627602"/>
                <a:gd name="connsiteX10" fmla="*/ 863918 w 887920"/>
                <a:gd name="connsiteY10" fmla="*/ 534448 h 627602"/>
                <a:gd name="connsiteX11" fmla="*/ 852869 w 887920"/>
                <a:gd name="connsiteY11" fmla="*/ 523018 h 627602"/>
                <a:gd name="connsiteX12" fmla="*/ 857441 w 887920"/>
                <a:gd name="connsiteY12" fmla="*/ 520827 h 627602"/>
                <a:gd name="connsiteX13" fmla="*/ 860012 w 887920"/>
                <a:gd name="connsiteY13" fmla="*/ 515684 h 627602"/>
                <a:gd name="connsiteX14" fmla="*/ 850297 w 887920"/>
                <a:gd name="connsiteY14" fmla="*/ 515303 h 627602"/>
                <a:gd name="connsiteX15" fmla="*/ 843153 w 887920"/>
                <a:gd name="connsiteY15" fmla="*/ 509873 h 627602"/>
                <a:gd name="connsiteX16" fmla="*/ 853631 w 887920"/>
                <a:gd name="connsiteY16" fmla="*/ 490919 h 627602"/>
                <a:gd name="connsiteX17" fmla="*/ 851440 w 887920"/>
                <a:gd name="connsiteY17" fmla="*/ 486347 h 627602"/>
                <a:gd name="connsiteX18" fmla="*/ 858107 w 887920"/>
                <a:gd name="connsiteY18" fmla="*/ 475869 h 627602"/>
                <a:gd name="connsiteX19" fmla="*/ 863822 w 887920"/>
                <a:gd name="connsiteY19" fmla="*/ 470345 h 627602"/>
                <a:gd name="connsiteX20" fmla="*/ 855155 w 887920"/>
                <a:gd name="connsiteY20" fmla="*/ 465011 h 627602"/>
                <a:gd name="connsiteX21" fmla="*/ 854297 w 887920"/>
                <a:gd name="connsiteY21" fmla="*/ 458724 h 627602"/>
                <a:gd name="connsiteX22" fmla="*/ 850106 w 887920"/>
                <a:gd name="connsiteY22" fmla="*/ 451199 h 627602"/>
                <a:gd name="connsiteX23" fmla="*/ 839629 w 887920"/>
                <a:gd name="connsiteY23" fmla="*/ 444532 h 627602"/>
                <a:gd name="connsiteX24" fmla="*/ 839438 w 887920"/>
                <a:gd name="connsiteY24" fmla="*/ 442913 h 627602"/>
                <a:gd name="connsiteX25" fmla="*/ 844582 w 887920"/>
                <a:gd name="connsiteY25" fmla="*/ 432721 h 627602"/>
                <a:gd name="connsiteX26" fmla="*/ 851630 w 887920"/>
                <a:gd name="connsiteY26" fmla="*/ 425387 h 627602"/>
                <a:gd name="connsiteX27" fmla="*/ 844582 w 887920"/>
                <a:gd name="connsiteY27" fmla="*/ 419862 h 627602"/>
                <a:gd name="connsiteX28" fmla="*/ 838200 w 887920"/>
                <a:gd name="connsiteY28" fmla="*/ 395002 h 627602"/>
                <a:gd name="connsiteX29" fmla="*/ 836390 w 887920"/>
                <a:gd name="connsiteY29" fmla="*/ 393668 h 627602"/>
                <a:gd name="connsiteX30" fmla="*/ 835819 w 887920"/>
                <a:gd name="connsiteY30" fmla="*/ 388906 h 627602"/>
                <a:gd name="connsiteX31" fmla="*/ 839343 w 887920"/>
                <a:gd name="connsiteY31" fmla="*/ 378809 h 627602"/>
                <a:gd name="connsiteX32" fmla="*/ 837343 w 887920"/>
                <a:gd name="connsiteY32" fmla="*/ 375857 h 627602"/>
                <a:gd name="connsiteX33" fmla="*/ 838867 w 887920"/>
                <a:gd name="connsiteY33" fmla="*/ 362807 h 627602"/>
                <a:gd name="connsiteX34" fmla="*/ 831723 w 887920"/>
                <a:gd name="connsiteY34" fmla="*/ 357378 h 627602"/>
                <a:gd name="connsiteX35" fmla="*/ 832961 w 887920"/>
                <a:gd name="connsiteY35" fmla="*/ 353949 h 627602"/>
                <a:gd name="connsiteX36" fmla="*/ 840772 w 887920"/>
                <a:gd name="connsiteY36" fmla="*/ 340138 h 627602"/>
                <a:gd name="connsiteX37" fmla="*/ 842963 w 887920"/>
                <a:gd name="connsiteY37" fmla="*/ 331851 h 627602"/>
                <a:gd name="connsiteX38" fmla="*/ 838391 w 887920"/>
                <a:gd name="connsiteY38" fmla="*/ 321183 h 627602"/>
                <a:gd name="connsiteX39" fmla="*/ 822579 w 887920"/>
                <a:gd name="connsiteY39" fmla="*/ 310420 h 627602"/>
                <a:gd name="connsiteX40" fmla="*/ 818579 w 887920"/>
                <a:gd name="connsiteY40" fmla="*/ 304514 h 627602"/>
                <a:gd name="connsiteX41" fmla="*/ 817626 w 887920"/>
                <a:gd name="connsiteY41" fmla="*/ 296609 h 627602"/>
                <a:gd name="connsiteX42" fmla="*/ 817340 w 887920"/>
                <a:gd name="connsiteY42" fmla="*/ 282226 h 627602"/>
                <a:gd name="connsiteX43" fmla="*/ 808101 w 887920"/>
                <a:gd name="connsiteY43" fmla="*/ 284988 h 627602"/>
                <a:gd name="connsiteX44" fmla="*/ 799624 w 887920"/>
                <a:gd name="connsiteY44" fmla="*/ 268415 h 627602"/>
                <a:gd name="connsiteX45" fmla="*/ 791909 w 887920"/>
                <a:gd name="connsiteY45" fmla="*/ 270986 h 627602"/>
                <a:gd name="connsiteX46" fmla="*/ 778669 w 887920"/>
                <a:gd name="connsiteY46" fmla="*/ 267843 h 627602"/>
                <a:gd name="connsiteX47" fmla="*/ 774764 w 887920"/>
                <a:gd name="connsiteY47" fmla="*/ 261938 h 627602"/>
                <a:gd name="connsiteX48" fmla="*/ 767620 w 887920"/>
                <a:gd name="connsiteY48" fmla="*/ 256508 h 627602"/>
                <a:gd name="connsiteX49" fmla="*/ 759333 w 887920"/>
                <a:gd name="connsiteY49" fmla="*/ 254318 h 627602"/>
                <a:gd name="connsiteX50" fmla="*/ 757142 w 887920"/>
                <a:gd name="connsiteY50" fmla="*/ 249746 h 627602"/>
                <a:gd name="connsiteX51" fmla="*/ 750380 w 887920"/>
                <a:gd name="connsiteY51" fmla="*/ 247460 h 627602"/>
                <a:gd name="connsiteX52" fmla="*/ 745712 w 887920"/>
                <a:gd name="connsiteY52" fmla="*/ 248031 h 627602"/>
                <a:gd name="connsiteX53" fmla="*/ 741140 w 887920"/>
                <a:gd name="connsiteY53" fmla="*/ 250222 h 627602"/>
                <a:gd name="connsiteX54" fmla="*/ 729520 w 887920"/>
                <a:gd name="connsiteY54" fmla="*/ 272510 h 627602"/>
                <a:gd name="connsiteX55" fmla="*/ 718376 w 887920"/>
                <a:gd name="connsiteY55" fmla="*/ 285179 h 627602"/>
                <a:gd name="connsiteX56" fmla="*/ 713613 w 887920"/>
                <a:gd name="connsiteY56" fmla="*/ 285750 h 627602"/>
                <a:gd name="connsiteX57" fmla="*/ 710089 w 887920"/>
                <a:gd name="connsiteY57" fmla="*/ 283083 h 627602"/>
                <a:gd name="connsiteX58" fmla="*/ 706850 w 887920"/>
                <a:gd name="connsiteY58" fmla="*/ 283464 h 627602"/>
                <a:gd name="connsiteX59" fmla="*/ 703136 w 887920"/>
                <a:gd name="connsiteY59" fmla="*/ 279083 h 627602"/>
                <a:gd name="connsiteX60" fmla="*/ 705898 w 887920"/>
                <a:gd name="connsiteY60" fmla="*/ 275558 h 627602"/>
                <a:gd name="connsiteX61" fmla="*/ 705517 w 887920"/>
                <a:gd name="connsiteY61" fmla="*/ 272415 h 627602"/>
                <a:gd name="connsiteX62" fmla="*/ 706660 w 887920"/>
                <a:gd name="connsiteY62" fmla="*/ 269081 h 627602"/>
                <a:gd name="connsiteX63" fmla="*/ 704660 w 887920"/>
                <a:gd name="connsiteY63" fmla="*/ 266129 h 627602"/>
                <a:gd name="connsiteX64" fmla="*/ 704279 w 887920"/>
                <a:gd name="connsiteY64" fmla="*/ 262890 h 627602"/>
                <a:gd name="connsiteX65" fmla="*/ 699897 w 887920"/>
                <a:gd name="connsiteY65" fmla="*/ 253841 h 627602"/>
                <a:gd name="connsiteX66" fmla="*/ 705803 w 887920"/>
                <a:gd name="connsiteY66" fmla="*/ 249936 h 627602"/>
                <a:gd name="connsiteX67" fmla="*/ 703802 w 887920"/>
                <a:gd name="connsiteY67" fmla="*/ 246983 h 627602"/>
                <a:gd name="connsiteX68" fmla="*/ 706565 w 887920"/>
                <a:gd name="connsiteY68" fmla="*/ 243364 h 627602"/>
                <a:gd name="connsiteX69" fmla="*/ 702850 w 887920"/>
                <a:gd name="connsiteY69" fmla="*/ 239078 h 627602"/>
                <a:gd name="connsiteX70" fmla="*/ 706755 w 887920"/>
                <a:gd name="connsiteY70" fmla="*/ 232124 h 627602"/>
                <a:gd name="connsiteX71" fmla="*/ 704945 w 887920"/>
                <a:gd name="connsiteY71" fmla="*/ 230791 h 627602"/>
                <a:gd name="connsiteX72" fmla="*/ 701231 w 887920"/>
                <a:gd name="connsiteY72" fmla="*/ 213646 h 627602"/>
                <a:gd name="connsiteX73" fmla="*/ 695420 w 887920"/>
                <a:gd name="connsiteY73" fmla="*/ 206312 h 627602"/>
                <a:gd name="connsiteX74" fmla="*/ 691134 w 887920"/>
                <a:gd name="connsiteY74" fmla="*/ 197263 h 627602"/>
                <a:gd name="connsiteX75" fmla="*/ 689515 w 887920"/>
                <a:gd name="connsiteY75" fmla="*/ 197453 h 627602"/>
                <a:gd name="connsiteX76" fmla="*/ 686181 w 887920"/>
                <a:gd name="connsiteY76" fmla="*/ 196310 h 627602"/>
                <a:gd name="connsiteX77" fmla="*/ 684562 w 887920"/>
                <a:gd name="connsiteY77" fmla="*/ 196501 h 627602"/>
                <a:gd name="connsiteX78" fmla="*/ 684181 w 887920"/>
                <a:gd name="connsiteY78" fmla="*/ 193358 h 627602"/>
                <a:gd name="connsiteX79" fmla="*/ 682847 w 887920"/>
                <a:gd name="connsiteY79" fmla="*/ 195072 h 627602"/>
                <a:gd name="connsiteX80" fmla="*/ 680847 w 887920"/>
                <a:gd name="connsiteY80" fmla="*/ 192119 h 627602"/>
                <a:gd name="connsiteX81" fmla="*/ 674465 w 887920"/>
                <a:gd name="connsiteY81" fmla="*/ 192977 h 627602"/>
                <a:gd name="connsiteX82" fmla="*/ 674084 w 887920"/>
                <a:gd name="connsiteY82" fmla="*/ 189833 h 627602"/>
                <a:gd name="connsiteX83" fmla="*/ 672560 w 887920"/>
                <a:gd name="connsiteY83" fmla="*/ 190024 h 627602"/>
                <a:gd name="connsiteX84" fmla="*/ 665798 w 887920"/>
                <a:gd name="connsiteY84" fmla="*/ 187643 h 627602"/>
                <a:gd name="connsiteX85" fmla="*/ 660654 w 887920"/>
                <a:gd name="connsiteY85" fmla="*/ 185071 h 627602"/>
                <a:gd name="connsiteX86" fmla="*/ 649224 w 887920"/>
                <a:gd name="connsiteY86" fmla="*/ 170498 h 627602"/>
                <a:gd name="connsiteX87" fmla="*/ 648367 w 887920"/>
                <a:gd name="connsiteY87" fmla="*/ 164211 h 627602"/>
                <a:gd name="connsiteX88" fmla="*/ 640842 w 887920"/>
                <a:gd name="connsiteY88" fmla="*/ 155543 h 627602"/>
                <a:gd name="connsiteX89" fmla="*/ 638651 w 887920"/>
                <a:gd name="connsiteY89" fmla="*/ 150971 h 627602"/>
                <a:gd name="connsiteX90" fmla="*/ 635318 w 887920"/>
                <a:gd name="connsiteY90" fmla="*/ 124206 h 627602"/>
                <a:gd name="connsiteX91" fmla="*/ 631508 w 887920"/>
                <a:gd name="connsiteY91" fmla="*/ 119824 h 627602"/>
                <a:gd name="connsiteX92" fmla="*/ 633698 w 887920"/>
                <a:gd name="connsiteY92" fmla="*/ 111538 h 627602"/>
                <a:gd name="connsiteX93" fmla="*/ 632841 w 887920"/>
                <a:gd name="connsiteY93" fmla="*/ 105251 h 627602"/>
                <a:gd name="connsiteX94" fmla="*/ 634079 w 887920"/>
                <a:gd name="connsiteY94" fmla="*/ 101918 h 627602"/>
                <a:gd name="connsiteX95" fmla="*/ 638366 w 887920"/>
                <a:gd name="connsiteY95" fmla="*/ 98108 h 627602"/>
                <a:gd name="connsiteX96" fmla="*/ 639509 w 887920"/>
                <a:gd name="connsiteY96" fmla="*/ 94774 h 627602"/>
                <a:gd name="connsiteX97" fmla="*/ 646843 w 887920"/>
                <a:gd name="connsiteY97" fmla="*/ 89059 h 627602"/>
                <a:gd name="connsiteX98" fmla="*/ 647605 w 887920"/>
                <a:gd name="connsiteY98" fmla="*/ 82487 h 627602"/>
                <a:gd name="connsiteX99" fmla="*/ 643223 w 887920"/>
                <a:gd name="connsiteY99" fmla="*/ 73438 h 627602"/>
                <a:gd name="connsiteX100" fmla="*/ 636556 w 887920"/>
                <a:gd name="connsiteY100" fmla="*/ 71057 h 627602"/>
                <a:gd name="connsiteX101" fmla="*/ 638270 w 887920"/>
                <a:gd name="connsiteY101" fmla="*/ 59626 h 627602"/>
                <a:gd name="connsiteX102" fmla="*/ 637318 w 887920"/>
                <a:gd name="connsiteY102" fmla="*/ 51721 h 627602"/>
                <a:gd name="connsiteX103" fmla="*/ 622459 w 887920"/>
                <a:gd name="connsiteY103" fmla="*/ 48863 h 627602"/>
                <a:gd name="connsiteX104" fmla="*/ 619316 w 887920"/>
                <a:gd name="connsiteY104" fmla="*/ 49244 h 627602"/>
                <a:gd name="connsiteX105" fmla="*/ 617982 w 887920"/>
                <a:gd name="connsiteY105" fmla="*/ 51054 h 627602"/>
                <a:gd name="connsiteX106" fmla="*/ 612172 w 887920"/>
                <a:gd name="connsiteY106" fmla="*/ 43720 h 627602"/>
                <a:gd name="connsiteX107" fmla="*/ 615125 w 887920"/>
                <a:gd name="connsiteY107" fmla="*/ 41720 h 627602"/>
                <a:gd name="connsiteX108" fmla="*/ 613124 w 887920"/>
                <a:gd name="connsiteY108" fmla="*/ 38767 h 627602"/>
                <a:gd name="connsiteX109" fmla="*/ 610743 w 887920"/>
                <a:gd name="connsiteY109" fmla="*/ 32671 h 627602"/>
                <a:gd name="connsiteX110" fmla="*/ 613696 w 887920"/>
                <a:gd name="connsiteY110" fmla="*/ 30670 h 627602"/>
                <a:gd name="connsiteX111" fmla="*/ 611981 w 887920"/>
                <a:gd name="connsiteY111" fmla="*/ 29337 h 627602"/>
                <a:gd name="connsiteX112" fmla="*/ 597980 w 887920"/>
                <a:gd name="connsiteY112" fmla="*/ 32671 h 627602"/>
                <a:gd name="connsiteX113" fmla="*/ 592074 w 887920"/>
                <a:gd name="connsiteY113" fmla="*/ 36671 h 627602"/>
                <a:gd name="connsiteX114" fmla="*/ 587121 w 887920"/>
                <a:gd name="connsiteY114" fmla="*/ 35719 h 627602"/>
                <a:gd name="connsiteX115" fmla="*/ 583025 w 887920"/>
                <a:gd name="connsiteY115" fmla="*/ 41053 h 627602"/>
                <a:gd name="connsiteX116" fmla="*/ 583787 w 887920"/>
                <a:gd name="connsiteY116" fmla="*/ 47339 h 627602"/>
                <a:gd name="connsiteX117" fmla="*/ 577691 w 887920"/>
                <a:gd name="connsiteY117" fmla="*/ 49720 h 627602"/>
                <a:gd name="connsiteX118" fmla="*/ 569024 w 887920"/>
                <a:gd name="connsiteY118" fmla="*/ 44387 h 627602"/>
                <a:gd name="connsiteX119" fmla="*/ 565595 w 887920"/>
                <a:gd name="connsiteY119" fmla="*/ 43244 h 627602"/>
                <a:gd name="connsiteX120" fmla="*/ 568547 w 887920"/>
                <a:gd name="connsiteY120" fmla="*/ 41243 h 627602"/>
                <a:gd name="connsiteX121" fmla="*/ 569309 w 887920"/>
                <a:gd name="connsiteY121" fmla="*/ 34766 h 627602"/>
                <a:gd name="connsiteX122" fmla="*/ 568928 w 887920"/>
                <a:gd name="connsiteY122" fmla="*/ 31623 h 627602"/>
                <a:gd name="connsiteX123" fmla="*/ 568547 w 887920"/>
                <a:gd name="connsiteY123" fmla="*/ 15621 h 627602"/>
                <a:gd name="connsiteX124" fmla="*/ 565499 w 887920"/>
                <a:gd name="connsiteY124" fmla="*/ 4763 h 627602"/>
                <a:gd name="connsiteX125" fmla="*/ 553498 w 887920"/>
                <a:gd name="connsiteY125" fmla="*/ 11144 h 627602"/>
                <a:gd name="connsiteX126" fmla="*/ 545592 w 887920"/>
                <a:gd name="connsiteY126" fmla="*/ 12097 h 627602"/>
                <a:gd name="connsiteX127" fmla="*/ 544830 w 887920"/>
                <a:gd name="connsiteY127" fmla="*/ 18669 h 627602"/>
                <a:gd name="connsiteX128" fmla="*/ 539591 w 887920"/>
                <a:gd name="connsiteY128" fmla="*/ 27337 h 627602"/>
                <a:gd name="connsiteX129" fmla="*/ 538734 w 887920"/>
                <a:gd name="connsiteY129" fmla="*/ 33814 h 627602"/>
                <a:gd name="connsiteX130" fmla="*/ 542163 w 887920"/>
                <a:gd name="connsiteY130" fmla="*/ 35052 h 627602"/>
                <a:gd name="connsiteX131" fmla="*/ 545687 w 887920"/>
                <a:gd name="connsiteY131" fmla="*/ 37814 h 627602"/>
                <a:gd name="connsiteX132" fmla="*/ 540734 w 887920"/>
                <a:gd name="connsiteY132" fmla="*/ 36767 h 627602"/>
                <a:gd name="connsiteX133" fmla="*/ 536258 w 887920"/>
                <a:gd name="connsiteY133" fmla="*/ 38957 h 627602"/>
                <a:gd name="connsiteX134" fmla="*/ 530924 w 887920"/>
                <a:gd name="connsiteY134" fmla="*/ 34862 h 627602"/>
                <a:gd name="connsiteX135" fmla="*/ 524542 w 887920"/>
                <a:gd name="connsiteY135" fmla="*/ 35624 h 627602"/>
                <a:gd name="connsiteX136" fmla="*/ 519875 w 887920"/>
                <a:gd name="connsiteY136" fmla="*/ 36290 h 627602"/>
                <a:gd name="connsiteX137" fmla="*/ 515684 w 887920"/>
                <a:gd name="connsiteY137" fmla="*/ 28766 h 627602"/>
                <a:gd name="connsiteX138" fmla="*/ 515112 w 887920"/>
                <a:gd name="connsiteY138" fmla="*/ 24003 h 627602"/>
                <a:gd name="connsiteX139" fmla="*/ 522161 w 887920"/>
                <a:gd name="connsiteY139" fmla="*/ 16669 h 627602"/>
                <a:gd name="connsiteX140" fmla="*/ 518351 w 887920"/>
                <a:gd name="connsiteY140" fmla="*/ 12383 h 627602"/>
                <a:gd name="connsiteX141" fmla="*/ 505397 w 887920"/>
                <a:gd name="connsiteY141" fmla="*/ 10859 h 627602"/>
                <a:gd name="connsiteX142" fmla="*/ 500634 w 887920"/>
                <a:gd name="connsiteY142" fmla="*/ 11430 h 627602"/>
                <a:gd name="connsiteX143" fmla="*/ 500063 w 887920"/>
                <a:gd name="connsiteY143" fmla="*/ 6668 h 627602"/>
                <a:gd name="connsiteX144" fmla="*/ 495110 w 887920"/>
                <a:gd name="connsiteY144" fmla="*/ 5715 h 627602"/>
                <a:gd name="connsiteX145" fmla="*/ 494729 w 887920"/>
                <a:gd name="connsiteY145" fmla="*/ 2572 h 627602"/>
                <a:gd name="connsiteX146" fmla="*/ 489585 w 887920"/>
                <a:gd name="connsiteY146" fmla="*/ 0 h 627602"/>
                <a:gd name="connsiteX147" fmla="*/ 487966 w 887920"/>
                <a:gd name="connsiteY147" fmla="*/ 190 h 627602"/>
                <a:gd name="connsiteX148" fmla="*/ 487775 w 887920"/>
                <a:gd name="connsiteY148" fmla="*/ 11430 h 627602"/>
                <a:gd name="connsiteX149" fmla="*/ 481679 w 887920"/>
                <a:gd name="connsiteY149" fmla="*/ 13811 h 627602"/>
                <a:gd name="connsiteX150" fmla="*/ 471869 w 887920"/>
                <a:gd name="connsiteY150" fmla="*/ 11906 h 627602"/>
                <a:gd name="connsiteX151" fmla="*/ 471392 w 887920"/>
                <a:gd name="connsiteY151" fmla="*/ 8763 h 627602"/>
                <a:gd name="connsiteX152" fmla="*/ 471202 w 887920"/>
                <a:gd name="connsiteY152" fmla="*/ 7144 h 627602"/>
                <a:gd name="connsiteX153" fmla="*/ 470630 w 887920"/>
                <a:gd name="connsiteY153" fmla="*/ 2477 h 627602"/>
                <a:gd name="connsiteX154" fmla="*/ 463868 w 887920"/>
                <a:gd name="connsiteY154" fmla="*/ 95 h 627602"/>
                <a:gd name="connsiteX155" fmla="*/ 459200 w 887920"/>
                <a:gd name="connsiteY155" fmla="*/ 667 h 627602"/>
                <a:gd name="connsiteX156" fmla="*/ 458438 w 887920"/>
                <a:gd name="connsiteY156" fmla="*/ 7239 h 627602"/>
                <a:gd name="connsiteX157" fmla="*/ 455200 w 887920"/>
                <a:gd name="connsiteY157" fmla="*/ 7620 h 627602"/>
                <a:gd name="connsiteX158" fmla="*/ 449485 w 887920"/>
                <a:gd name="connsiteY158" fmla="*/ 13145 h 627602"/>
                <a:gd name="connsiteX159" fmla="*/ 445008 w 887920"/>
                <a:gd name="connsiteY159" fmla="*/ 15335 h 627602"/>
                <a:gd name="connsiteX160" fmla="*/ 438436 w 887920"/>
                <a:gd name="connsiteY160" fmla="*/ 14573 h 627602"/>
                <a:gd name="connsiteX161" fmla="*/ 435959 w 887920"/>
                <a:gd name="connsiteY161" fmla="*/ 19717 h 627602"/>
                <a:gd name="connsiteX162" fmla="*/ 426911 w 887920"/>
                <a:gd name="connsiteY162" fmla="*/ 36862 h 627602"/>
                <a:gd name="connsiteX163" fmla="*/ 432245 w 887920"/>
                <a:gd name="connsiteY163" fmla="*/ 40958 h 627602"/>
                <a:gd name="connsiteX164" fmla="*/ 440150 w 887920"/>
                <a:gd name="connsiteY164" fmla="*/ 52864 h 627602"/>
                <a:gd name="connsiteX165" fmla="*/ 444246 w 887920"/>
                <a:gd name="connsiteY165" fmla="*/ 47435 h 627602"/>
                <a:gd name="connsiteX166" fmla="*/ 451771 w 887920"/>
                <a:gd name="connsiteY166" fmla="*/ 43339 h 627602"/>
                <a:gd name="connsiteX167" fmla="*/ 453581 w 887920"/>
                <a:gd name="connsiteY167" fmla="*/ 44672 h 627602"/>
                <a:gd name="connsiteX168" fmla="*/ 458534 w 887920"/>
                <a:gd name="connsiteY168" fmla="*/ 58484 h 627602"/>
                <a:gd name="connsiteX169" fmla="*/ 462725 w 887920"/>
                <a:gd name="connsiteY169" fmla="*/ 66008 h 627602"/>
                <a:gd name="connsiteX170" fmla="*/ 460915 w 887920"/>
                <a:gd name="connsiteY170" fmla="*/ 64580 h 627602"/>
                <a:gd name="connsiteX171" fmla="*/ 455200 w 887920"/>
                <a:gd name="connsiteY171" fmla="*/ 70104 h 627602"/>
                <a:gd name="connsiteX172" fmla="*/ 458534 w 887920"/>
                <a:gd name="connsiteY172" fmla="*/ 84106 h 627602"/>
                <a:gd name="connsiteX173" fmla="*/ 456248 w 887920"/>
                <a:gd name="connsiteY173" fmla="*/ 90869 h 627602"/>
                <a:gd name="connsiteX174" fmla="*/ 458248 w 887920"/>
                <a:gd name="connsiteY174" fmla="*/ 93821 h 627602"/>
                <a:gd name="connsiteX175" fmla="*/ 448723 w 887920"/>
                <a:gd name="connsiteY175" fmla="*/ 107823 h 627602"/>
                <a:gd name="connsiteX176" fmla="*/ 445770 w 887920"/>
                <a:gd name="connsiteY176" fmla="*/ 109823 h 627602"/>
                <a:gd name="connsiteX177" fmla="*/ 441674 w 887920"/>
                <a:gd name="connsiteY177" fmla="*/ 115157 h 627602"/>
                <a:gd name="connsiteX178" fmla="*/ 444056 w 887920"/>
                <a:gd name="connsiteY178" fmla="*/ 121253 h 627602"/>
                <a:gd name="connsiteX179" fmla="*/ 448056 w 887920"/>
                <a:gd name="connsiteY179" fmla="*/ 127159 h 627602"/>
                <a:gd name="connsiteX180" fmla="*/ 448818 w 887920"/>
                <a:gd name="connsiteY180" fmla="*/ 133541 h 627602"/>
                <a:gd name="connsiteX181" fmla="*/ 453581 w 887920"/>
                <a:gd name="connsiteY181" fmla="*/ 132874 h 627602"/>
                <a:gd name="connsiteX182" fmla="*/ 446437 w 887920"/>
                <a:gd name="connsiteY182" fmla="*/ 140208 h 627602"/>
                <a:gd name="connsiteX183" fmla="*/ 447294 w 887920"/>
                <a:gd name="connsiteY183" fmla="*/ 146495 h 627602"/>
                <a:gd name="connsiteX184" fmla="*/ 444532 w 887920"/>
                <a:gd name="connsiteY184" fmla="*/ 150114 h 627602"/>
                <a:gd name="connsiteX185" fmla="*/ 448056 w 887920"/>
                <a:gd name="connsiteY185" fmla="*/ 152876 h 627602"/>
                <a:gd name="connsiteX186" fmla="*/ 450056 w 887920"/>
                <a:gd name="connsiteY186" fmla="*/ 168593 h 627602"/>
                <a:gd name="connsiteX187" fmla="*/ 451104 w 887920"/>
                <a:gd name="connsiteY187" fmla="*/ 176498 h 627602"/>
                <a:gd name="connsiteX188" fmla="*/ 447961 w 887920"/>
                <a:gd name="connsiteY188" fmla="*/ 176879 h 627602"/>
                <a:gd name="connsiteX189" fmla="*/ 433578 w 887920"/>
                <a:gd name="connsiteY189" fmla="*/ 177165 h 627602"/>
                <a:gd name="connsiteX190" fmla="*/ 429387 w 887920"/>
                <a:gd name="connsiteY190" fmla="*/ 182499 h 627602"/>
                <a:gd name="connsiteX191" fmla="*/ 421481 w 887920"/>
                <a:gd name="connsiteY191" fmla="*/ 183452 h 627602"/>
                <a:gd name="connsiteX192" fmla="*/ 413195 w 887920"/>
                <a:gd name="connsiteY192" fmla="*/ 181356 h 627602"/>
                <a:gd name="connsiteX193" fmla="*/ 407670 w 887920"/>
                <a:gd name="connsiteY193" fmla="*/ 175641 h 627602"/>
                <a:gd name="connsiteX194" fmla="*/ 381000 w 887920"/>
                <a:gd name="connsiteY194" fmla="*/ 167831 h 627602"/>
                <a:gd name="connsiteX195" fmla="*/ 379095 w 887920"/>
                <a:gd name="connsiteY195" fmla="*/ 177641 h 627602"/>
                <a:gd name="connsiteX196" fmla="*/ 363093 w 887920"/>
                <a:gd name="connsiteY196" fmla="*/ 165259 h 627602"/>
                <a:gd name="connsiteX197" fmla="*/ 356711 w 887920"/>
                <a:gd name="connsiteY197" fmla="*/ 166116 h 627602"/>
                <a:gd name="connsiteX198" fmla="*/ 356140 w 887920"/>
                <a:gd name="connsiteY198" fmla="*/ 174212 h 627602"/>
                <a:gd name="connsiteX199" fmla="*/ 349853 w 887920"/>
                <a:gd name="connsiteY199" fmla="*/ 174974 h 627602"/>
                <a:gd name="connsiteX200" fmla="*/ 344900 w 887920"/>
                <a:gd name="connsiteY200" fmla="*/ 174022 h 627602"/>
                <a:gd name="connsiteX201" fmla="*/ 340233 w 887920"/>
                <a:gd name="connsiteY201" fmla="*/ 174593 h 627602"/>
                <a:gd name="connsiteX202" fmla="*/ 333280 w 887920"/>
                <a:gd name="connsiteY202" fmla="*/ 170688 h 627602"/>
                <a:gd name="connsiteX203" fmla="*/ 328803 w 887920"/>
                <a:gd name="connsiteY203" fmla="*/ 172879 h 627602"/>
                <a:gd name="connsiteX204" fmla="*/ 329184 w 887920"/>
                <a:gd name="connsiteY204" fmla="*/ 176022 h 627602"/>
                <a:gd name="connsiteX205" fmla="*/ 325660 w 887920"/>
                <a:gd name="connsiteY205" fmla="*/ 186119 h 627602"/>
                <a:gd name="connsiteX206" fmla="*/ 320326 w 887920"/>
                <a:gd name="connsiteY206" fmla="*/ 194786 h 627602"/>
                <a:gd name="connsiteX207" fmla="*/ 314420 w 887920"/>
                <a:gd name="connsiteY207" fmla="*/ 211550 h 627602"/>
                <a:gd name="connsiteX208" fmla="*/ 312896 w 887920"/>
                <a:gd name="connsiteY208" fmla="*/ 224600 h 627602"/>
                <a:gd name="connsiteX209" fmla="*/ 307181 w 887920"/>
                <a:gd name="connsiteY209" fmla="*/ 230124 h 627602"/>
                <a:gd name="connsiteX210" fmla="*/ 308324 w 887920"/>
                <a:gd name="connsiteY210" fmla="*/ 226790 h 627602"/>
                <a:gd name="connsiteX211" fmla="*/ 306610 w 887920"/>
                <a:gd name="connsiteY211" fmla="*/ 225362 h 627602"/>
                <a:gd name="connsiteX212" fmla="*/ 297752 w 887920"/>
                <a:gd name="connsiteY212" fmla="*/ 231362 h 627602"/>
                <a:gd name="connsiteX213" fmla="*/ 289655 w 887920"/>
                <a:gd name="connsiteY213" fmla="*/ 230791 h 627602"/>
                <a:gd name="connsiteX214" fmla="*/ 289179 w 887920"/>
                <a:gd name="connsiteY214" fmla="*/ 227648 h 627602"/>
                <a:gd name="connsiteX215" fmla="*/ 286036 w 887920"/>
                <a:gd name="connsiteY215" fmla="*/ 228029 h 627602"/>
                <a:gd name="connsiteX216" fmla="*/ 284131 w 887920"/>
                <a:gd name="connsiteY216" fmla="*/ 225076 h 627602"/>
                <a:gd name="connsiteX217" fmla="*/ 279178 w 887920"/>
                <a:gd name="connsiteY217" fmla="*/ 224123 h 627602"/>
                <a:gd name="connsiteX218" fmla="*/ 273844 w 887920"/>
                <a:gd name="connsiteY218" fmla="*/ 219932 h 627602"/>
                <a:gd name="connsiteX219" fmla="*/ 268891 w 887920"/>
                <a:gd name="connsiteY219" fmla="*/ 218980 h 627602"/>
                <a:gd name="connsiteX220" fmla="*/ 266319 w 887920"/>
                <a:gd name="connsiteY220" fmla="*/ 224123 h 627602"/>
                <a:gd name="connsiteX221" fmla="*/ 258604 w 887920"/>
                <a:gd name="connsiteY221" fmla="*/ 226695 h 627602"/>
                <a:gd name="connsiteX222" fmla="*/ 255270 w 887920"/>
                <a:gd name="connsiteY222" fmla="*/ 225552 h 627602"/>
                <a:gd name="connsiteX223" fmla="*/ 255080 w 887920"/>
                <a:gd name="connsiteY223" fmla="*/ 223933 h 627602"/>
                <a:gd name="connsiteX224" fmla="*/ 257270 w 887920"/>
                <a:gd name="connsiteY224" fmla="*/ 215646 h 627602"/>
                <a:gd name="connsiteX225" fmla="*/ 249746 w 887920"/>
                <a:gd name="connsiteY225" fmla="*/ 206978 h 627602"/>
                <a:gd name="connsiteX226" fmla="*/ 237077 w 887920"/>
                <a:gd name="connsiteY226" fmla="*/ 208598 h 627602"/>
                <a:gd name="connsiteX227" fmla="*/ 231743 w 887920"/>
                <a:gd name="connsiteY227" fmla="*/ 204502 h 627602"/>
                <a:gd name="connsiteX228" fmla="*/ 217742 w 887920"/>
                <a:gd name="connsiteY228" fmla="*/ 194977 h 627602"/>
                <a:gd name="connsiteX229" fmla="*/ 208407 w 887920"/>
                <a:gd name="connsiteY229" fmla="*/ 197834 h 627602"/>
                <a:gd name="connsiteX230" fmla="*/ 196215 w 887920"/>
                <a:gd name="connsiteY230" fmla="*/ 189738 h 627602"/>
                <a:gd name="connsiteX231" fmla="*/ 187738 w 887920"/>
                <a:gd name="connsiteY231" fmla="*/ 186023 h 627602"/>
                <a:gd name="connsiteX232" fmla="*/ 180213 w 887920"/>
                <a:gd name="connsiteY232" fmla="*/ 202978 h 627602"/>
                <a:gd name="connsiteX233" fmla="*/ 177260 w 887920"/>
                <a:gd name="connsiteY233" fmla="*/ 204978 h 627602"/>
                <a:gd name="connsiteX234" fmla="*/ 172593 w 887920"/>
                <a:gd name="connsiteY234" fmla="*/ 205550 h 627602"/>
                <a:gd name="connsiteX235" fmla="*/ 168212 w 887920"/>
                <a:gd name="connsiteY235" fmla="*/ 209360 h 627602"/>
                <a:gd name="connsiteX236" fmla="*/ 153448 w 887920"/>
                <a:gd name="connsiteY236" fmla="*/ 206407 h 627602"/>
                <a:gd name="connsiteX237" fmla="*/ 152210 w 887920"/>
                <a:gd name="connsiteY237" fmla="*/ 209741 h 627602"/>
                <a:gd name="connsiteX238" fmla="*/ 154781 w 887920"/>
                <a:gd name="connsiteY238" fmla="*/ 217456 h 627602"/>
                <a:gd name="connsiteX239" fmla="*/ 150495 w 887920"/>
                <a:gd name="connsiteY239" fmla="*/ 221266 h 627602"/>
                <a:gd name="connsiteX240" fmla="*/ 151448 w 887920"/>
                <a:gd name="connsiteY240" fmla="*/ 229076 h 627602"/>
                <a:gd name="connsiteX241" fmla="*/ 148971 w 887920"/>
                <a:gd name="connsiteY241" fmla="*/ 234220 h 627602"/>
                <a:gd name="connsiteX242" fmla="*/ 150114 w 887920"/>
                <a:gd name="connsiteY242" fmla="*/ 243745 h 627602"/>
                <a:gd name="connsiteX243" fmla="*/ 148019 w 887920"/>
                <a:gd name="connsiteY243" fmla="*/ 252032 h 627602"/>
                <a:gd name="connsiteX244" fmla="*/ 140303 w 887920"/>
                <a:gd name="connsiteY244" fmla="*/ 254603 h 627602"/>
                <a:gd name="connsiteX245" fmla="*/ 135541 w 887920"/>
                <a:gd name="connsiteY245" fmla="*/ 255175 h 627602"/>
                <a:gd name="connsiteX246" fmla="*/ 135350 w 887920"/>
                <a:gd name="connsiteY246" fmla="*/ 253651 h 627602"/>
                <a:gd name="connsiteX247" fmla="*/ 134398 w 887920"/>
                <a:gd name="connsiteY247" fmla="*/ 258604 h 627602"/>
                <a:gd name="connsiteX248" fmla="*/ 130683 w 887920"/>
                <a:gd name="connsiteY248" fmla="*/ 254222 h 627602"/>
                <a:gd name="connsiteX249" fmla="*/ 124301 w 887920"/>
                <a:gd name="connsiteY249" fmla="*/ 255080 h 627602"/>
                <a:gd name="connsiteX250" fmla="*/ 122301 w 887920"/>
                <a:gd name="connsiteY250" fmla="*/ 252127 h 627602"/>
                <a:gd name="connsiteX251" fmla="*/ 114014 w 887920"/>
                <a:gd name="connsiteY251" fmla="*/ 249936 h 627602"/>
                <a:gd name="connsiteX252" fmla="*/ 111633 w 887920"/>
                <a:gd name="connsiteY252" fmla="*/ 243840 h 627602"/>
                <a:gd name="connsiteX253" fmla="*/ 102965 w 887920"/>
                <a:gd name="connsiteY253" fmla="*/ 238506 h 627602"/>
                <a:gd name="connsiteX254" fmla="*/ 99822 w 887920"/>
                <a:gd name="connsiteY254" fmla="*/ 238887 h 627602"/>
                <a:gd name="connsiteX255" fmla="*/ 98393 w 887920"/>
                <a:gd name="connsiteY255" fmla="*/ 240697 h 627602"/>
                <a:gd name="connsiteX256" fmla="*/ 96679 w 887920"/>
                <a:gd name="connsiteY256" fmla="*/ 239268 h 627602"/>
                <a:gd name="connsiteX257" fmla="*/ 92107 w 887920"/>
                <a:gd name="connsiteY257" fmla="*/ 241459 h 627602"/>
                <a:gd name="connsiteX258" fmla="*/ 94869 w 887920"/>
                <a:gd name="connsiteY258" fmla="*/ 237935 h 627602"/>
                <a:gd name="connsiteX259" fmla="*/ 95822 w 887920"/>
                <a:gd name="connsiteY259" fmla="*/ 232982 h 627602"/>
                <a:gd name="connsiteX260" fmla="*/ 92678 w 887920"/>
                <a:gd name="connsiteY260" fmla="*/ 233363 h 627602"/>
                <a:gd name="connsiteX261" fmla="*/ 90964 w 887920"/>
                <a:gd name="connsiteY261" fmla="*/ 232029 h 627602"/>
                <a:gd name="connsiteX262" fmla="*/ 83249 w 887920"/>
                <a:gd name="connsiteY262" fmla="*/ 234601 h 627602"/>
                <a:gd name="connsiteX263" fmla="*/ 79058 w 887920"/>
                <a:gd name="connsiteY263" fmla="*/ 239935 h 627602"/>
                <a:gd name="connsiteX264" fmla="*/ 73533 w 887920"/>
                <a:gd name="connsiteY264" fmla="*/ 234220 h 627602"/>
                <a:gd name="connsiteX265" fmla="*/ 67437 w 887920"/>
                <a:gd name="connsiteY265" fmla="*/ 236601 h 627602"/>
                <a:gd name="connsiteX266" fmla="*/ 71247 w 887920"/>
                <a:gd name="connsiteY266" fmla="*/ 240983 h 627602"/>
                <a:gd name="connsiteX267" fmla="*/ 69818 w 887920"/>
                <a:gd name="connsiteY267" fmla="*/ 242697 h 627602"/>
                <a:gd name="connsiteX268" fmla="*/ 73152 w 887920"/>
                <a:gd name="connsiteY268" fmla="*/ 243935 h 627602"/>
                <a:gd name="connsiteX269" fmla="*/ 74581 w 887920"/>
                <a:gd name="connsiteY269" fmla="*/ 242126 h 627602"/>
                <a:gd name="connsiteX270" fmla="*/ 77915 w 887920"/>
                <a:gd name="connsiteY270" fmla="*/ 243269 h 627602"/>
                <a:gd name="connsiteX271" fmla="*/ 78296 w 887920"/>
                <a:gd name="connsiteY271" fmla="*/ 246507 h 627602"/>
                <a:gd name="connsiteX272" fmla="*/ 74771 w 887920"/>
                <a:gd name="connsiteY272" fmla="*/ 243745 h 627602"/>
                <a:gd name="connsiteX273" fmla="*/ 72200 w 887920"/>
                <a:gd name="connsiteY273" fmla="*/ 248888 h 627602"/>
                <a:gd name="connsiteX274" fmla="*/ 74009 w 887920"/>
                <a:gd name="connsiteY274" fmla="*/ 250222 h 627602"/>
                <a:gd name="connsiteX275" fmla="*/ 73057 w 887920"/>
                <a:gd name="connsiteY275" fmla="*/ 255175 h 627602"/>
                <a:gd name="connsiteX276" fmla="*/ 74771 w 887920"/>
                <a:gd name="connsiteY276" fmla="*/ 256508 h 627602"/>
                <a:gd name="connsiteX277" fmla="*/ 76391 w 887920"/>
                <a:gd name="connsiteY277" fmla="*/ 256318 h 627602"/>
                <a:gd name="connsiteX278" fmla="*/ 78200 w 887920"/>
                <a:gd name="connsiteY278" fmla="*/ 257746 h 627602"/>
                <a:gd name="connsiteX279" fmla="*/ 78391 w 887920"/>
                <a:gd name="connsiteY279" fmla="*/ 259270 h 627602"/>
                <a:gd name="connsiteX280" fmla="*/ 78581 w 887920"/>
                <a:gd name="connsiteY280" fmla="*/ 260890 h 627602"/>
                <a:gd name="connsiteX281" fmla="*/ 72676 w 887920"/>
                <a:gd name="connsiteY281" fmla="*/ 264795 h 627602"/>
                <a:gd name="connsiteX282" fmla="*/ 71438 w 887920"/>
                <a:gd name="connsiteY282" fmla="*/ 268224 h 627602"/>
                <a:gd name="connsiteX283" fmla="*/ 77057 w 887920"/>
                <a:gd name="connsiteY283" fmla="*/ 273844 h 627602"/>
                <a:gd name="connsiteX284" fmla="*/ 71723 w 887920"/>
                <a:gd name="connsiteY284" fmla="*/ 282607 h 627602"/>
                <a:gd name="connsiteX285" fmla="*/ 66580 w 887920"/>
                <a:gd name="connsiteY285" fmla="*/ 280035 h 627602"/>
                <a:gd name="connsiteX286" fmla="*/ 61817 w 887920"/>
                <a:gd name="connsiteY286" fmla="*/ 280607 h 627602"/>
                <a:gd name="connsiteX287" fmla="*/ 62008 w 887920"/>
                <a:gd name="connsiteY287" fmla="*/ 282226 h 627602"/>
                <a:gd name="connsiteX288" fmla="*/ 56483 w 887920"/>
                <a:gd name="connsiteY288" fmla="*/ 289370 h 627602"/>
                <a:gd name="connsiteX289" fmla="*/ 54959 w 887920"/>
                <a:gd name="connsiteY289" fmla="*/ 302324 h 627602"/>
                <a:gd name="connsiteX290" fmla="*/ 54007 w 887920"/>
                <a:gd name="connsiteY290" fmla="*/ 307277 h 627602"/>
                <a:gd name="connsiteX291" fmla="*/ 51054 w 887920"/>
                <a:gd name="connsiteY291" fmla="*/ 309277 h 627602"/>
                <a:gd name="connsiteX292" fmla="*/ 50292 w 887920"/>
                <a:gd name="connsiteY292" fmla="*/ 315754 h 627602"/>
                <a:gd name="connsiteX293" fmla="*/ 59150 w 887920"/>
                <a:gd name="connsiteY293" fmla="*/ 322707 h 627602"/>
                <a:gd name="connsiteX294" fmla="*/ 56388 w 887920"/>
                <a:gd name="connsiteY294" fmla="*/ 326231 h 627602"/>
                <a:gd name="connsiteX295" fmla="*/ 50102 w 887920"/>
                <a:gd name="connsiteY295" fmla="*/ 326993 h 627602"/>
                <a:gd name="connsiteX296" fmla="*/ 48482 w 887920"/>
                <a:gd name="connsiteY296" fmla="*/ 327279 h 627602"/>
                <a:gd name="connsiteX297" fmla="*/ 49721 w 887920"/>
                <a:gd name="connsiteY297" fmla="*/ 323850 h 627602"/>
                <a:gd name="connsiteX298" fmla="*/ 47339 w 887920"/>
                <a:gd name="connsiteY298" fmla="*/ 317754 h 627602"/>
                <a:gd name="connsiteX299" fmla="*/ 44768 w 887920"/>
                <a:gd name="connsiteY299" fmla="*/ 322898 h 627602"/>
                <a:gd name="connsiteX300" fmla="*/ 44958 w 887920"/>
                <a:gd name="connsiteY300" fmla="*/ 324517 h 627602"/>
                <a:gd name="connsiteX301" fmla="*/ 41243 w 887920"/>
                <a:gd name="connsiteY301" fmla="*/ 332994 h 627602"/>
                <a:gd name="connsiteX302" fmla="*/ 32195 w 887920"/>
                <a:gd name="connsiteY302" fmla="*/ 337376 h 627602"/>
                <a:gd name="connsiteX303" fmla="*/ 22860 w 887920"/>
                <a:gd name="connsiteY303" fmla="*/ 340138 h 627602"/>
                <a:gd name="connsiteX304" fmla="*/ 18955 w 887920"/>
                <a:gd name="connsiteY304" fmla="*/ 346996 h 627602"/>
                <a:gd name="connsiteX305" fmla="*/ 19812 w 887920"/>
                <a:gd name="connsiteY305" fmla="*/ 353378 h 627602"/>
                <a:gd name="connsiteX306" fmla="*/ 15621 w 887920"/>
                <a:gd name="connsiteY306" fmla="*/ 358712 h 627602"/>
                <a:gd name="connsiteX307" fmla="*/ 15050 w 887920"/>
                <a:gd name="connsiteY307" fmla="*/ 366808 h 627602"/>
                <a:gd name="connsiteX308" fmla="*/ 22003 w 887920"/>
                <a:gd name="connsiteY308" fmla="*/ 370713 h 627602"/>
                <a:gd name="connsiteX309" fmla="*/ 22574 w 887920"/>
                <a:gd name="connsiteY309" fmla="*/ 375476 h 627602"/>
                <a:gd name="connsiteX310" fmla="*/ 8192 w 887920"/>
                <a:gd name="connsiteY310" fmla="*/ 388525 h 627602"/>
                <a:gd name="connsiteX311" fmla="*/ 6477 w 887920"/>
                <a:gd name="connsiteY311" fmla="*/ 387096 h 627602"/>
                <a:gd name="connsiteX312" fmla="*/ 191 w 887920"/>
                <a:gd name="connsiteY312" fmla="*/ 400717 h 627602"/>
                <a:gd name="connsiteX313" fmla="*/ 0 w 887920"/>
                <a:gd name="connsiteY313" fmla="*/ 412052 h 627602"/>
                <a:gd name="connsiteX314" fmla="*/ 4953 w 887920"/>
                <a:gd name="connsiteY314" fmla="*/ 413004 h 627602"/>
                <a:gd name="connsiteX315" fmla="*/ 9620 w 887920"/>
                <a:gd name="connsiteY315" fmla="*/ 412337 h 627602"/>
                <a:gd name="connsiteX316" fmla="*/ 11240 w 887920"/>
                <a:gd name="connsiteY316" fmla="*/ 412147 h 627602"/>
                <a:gd name="connsiteX317" fmla="*/ 10478 w 887920"/>
                <a:gd name="connsiteY317" fmla="*/ 418719 h 627602"/>
                <a:gd name="connsiteX318" fmla="*/ 10859 w 887920"/>
                <a:gd name="connsiteY318" fmla="*/ 421862 h 627602"/>
                <a:gd name="connsiteX319" fmla="*/ 11049 w 887920"/>
                <a:gd name="connsiteY319" fmla="*/ 423386 h 627602"/>
                <a:gd name="connsiteX320" fmla="*/ 13811 w 887920"/>
                <a:gd name="connsiteY320" fmla="*/ 432721 h 627602"/>
                <a:gd name="connsiteX321" fmla="*/ 14288 w 887920"/>
                <a:gd name="connsiteY321" fmla="*/ 435864 h 627602"/>
                <a:gd name="connsiteX322" fmla="*/ 10763 w 887920"/>
                <a:gd name="connsiteY322" fmla="*/ 445961 h 627602"/>
                <a:gd name="connsiteX323" fmla="*/ 17812 w 887920"/>
                <a:gd name="connsiteY323" fmla="*/ 451390 h 627602"/>
                <a:gd name="connsiteX324" fmla="*/ 16478 w 887920"/>
                <a:gd name="connsiteY324" fmla="*/ 453200 h 627602"/>
                <a:gd name="connsiteX325" fmla="*/ 16859 w 887920"/>
                <a:gd name="connsiteY325" fmla="*/ 456343 h 627602"/>
                <a:gd name="connsiteX326" fmla="*/ 24003 w 887920"/>
                <a:gd name="connsiteY326" fmla="*/ 461867 h 627602"/>
                <a:gd name="connsiteX327" fmla="*/ 26956 w 887920"/>
                <a:gd name="connsiteY327" fmla="*/ 472726 h 627602"/>
                <a:gd name="connsiteX328" fmla="*/ 24384 w 887920"/>
                <a:gd name="connsiteY328" fmla="*/ 477869 h 627602"/>
                <a:gd name="connsiteX329" fmla="*/ 29337 w 887920"/>
                <a:gd name="connsiteY329" fmla="*/ 478822 h 627602"/>
                <a:gd name="connsiteX330" fmla="*/ 33338 w 887920"/>
                <a:gd name="connsiteY330" fmla="*/ 484727 h 627602"/>
                <a:gd name="connsiteX331" fmla="*/ 32099 w 887920"/>
                <a:gd name="connsiteY331" fmla="*/ 488061 h 627602"/>
                <a:gd name="connsiteX332" fmla="*/ 42196 w 887920"/>
                <a:gd name="connsiteY332" fmla="*/ 491585 h 627602"/>
                <a:gd name="connsiteX333" fmla="*/ 41434 w 887920"/>
                <a:gd name="connsiteY333" fmla="*/ 498158 h 627602"/>
                <a:gd name="connsiteX334" fmla="*/ 43053 w 887920"/>
                <a:gd name="connsiteY334" fmla="*/ 497967 h 627602"/>
                <a:gd name="connsiteX335" fmla="*/ 41624 w 887920"/>
                <a:gd name="connsiteY335" fmla="*/ 499682 h 627602"/>
                <a:gd name="connsiteX336" fmla="*/ 44768 w 887920"/>
                <a:gd name="connsiteY336" fmla="*/ 499301 h 627602"/>
                <a:gd name="connsiteX337" fmla="*/ 46006 w 887920"/>
                <a:gd name="connsiteY337" fmla="*/ 508826 h 627602"/>
                <a:gd name="connsiteX338" fmla="*/ 47625 w 887920"/>
                <a:gd name="connsiteY338" fmla="*/ 508540 h 627602"/>
                <a:gd name="connsiteX339" fmla="*/ 48006 w 887920"/>
                <a:gd name="connsiteY339" fmla="*/ 511778 h 627602"/>
                <a:gd name="connsiteX340" fmla="*/ 50006 w 887920"/>
                <a:gd name="connsiteY340" fmla="*/ 514731 h 627602"/>
                <a:gd name="connsiteX341" fmla="*/ 51149 w 887920"/>
                <a:gd name="connsiteY341" fmla="*/ 524161 h 627602"/>
                <a:gd name="connsiteX342" fmla="*/ 50006 w 887920"/>
                <a:gd name="connsiteY342" fmla="*/ 527495 h 627602"/>
                <a:gd name="connsiteX343" fmla="*/ 56864 w 887920"/>
                <a:gd name="connsiteY343" fmla="*/ 531400 h 627602"/>
                <a:gd name="connsiteX344" fmla="*/ 59531 w 887920"/>
                <a:gd name="connsiteY344" fmla="*/ 539115 h 627602"/>
                <a:gd name="connsiteX345" fmla="*/ 61055 w 887920"/>
                <a:gd name="connsiteY345" fmla="*/ 538925 h 627602"/>
                <a:gd name="connsiteX346" fmla="*/ 59722 w 887920"/>
                <a:gd name="connsiteY346" fmla="*/ 540734 h 627602"/>
                <a:gd name="connsiteX347" fmla="*/ 62865 w 887920"/>
                <a:gd name="connsiteY347" fmla="*/ 540353 h 627602"/>
                <a:gd name="connsiteX348" fmla="*/ 61627 w 887920"/>
                <a:gd name="connsiteY348" fmla="*/ 543687 h 627602"/>
                <a:gd name="connsiteX349" fmla="*/ 63437 w 887920"/>
                <a:gd name="connsiteY349" fmla="*/ 545021 h 627602"/>
                <a:gd name="connsiteX350" fmla="*/ 62103 w 887920"/>
                <a:gd name="connsiteY350" fmla="*/ 546830 h 627602"/>
                <a:gd name="connsiteX351" fmla="*/ 63627 w 887920"/>
                <a:gd name="connsiteY351" fmla="*/ 546640 h 627602"/>
                <a:gd name="connsiteX352" fmla="*/ 65246 w 887920"/>
                <a:gd name="connsiteY352" fmla="*/ 546449 h 627602"/>
                <a:gd name="connsiteX353" fmla="*/ 65437 w 887920"/>
                <a:gd name="connsiteY353" fmla="*/ 547973 h 627602"/>
                <a:gd name="connsiteX354" fmla="*/ 64484 w 887920"/>
                <a:gd name="connsiteY354" fmla="*/ 552926 h 627602"/>
                <a:gd name="connsiteX355" fmla="*/ 66389 w 887920"/>
                <a:gd name="connsiteY355" fmla="*/ 555879 h 627602"/>
                <a:gd name="connsiteX356" fmla="*/ 67818 w 887920"/>
                <a:gd name="connsiteY356" fmla="*/ 554069 h 627602"/>
                <a:gd name="connsiteX357" fmla="*/ 67056 w 887920"/>
                <a:gd name="connsiteY357" fmla="*/ 560642 h 627602"/>
                <a:gd name="connsiteX358" fmla="*/ 75343 w 887920"/>
                <a:gd name="connsiteY358" fmla="*/ 562737 h 627602"/>
                <a:gd name="connsiteX359" fmla="*/ 76676 w 887920"/>
                <a:gd name="connsiteY359" fmla="*/ 561023 h 627602"/>
                <a:gd name="connsiteX360" fmla="*/ 76867 w 887920"/>
                <a:gd name="connsiteY360" fmla="*/ 562547 h 627602"/>
                <a:gd name="connsiteX361" fmla="*/ 76867 w 887920"/>
                <a:gd name="connsiteY361" fmla="*/ 562547 h 627602"/>
                <a:gd name="connsiteX362" fmla="*/ 78677 w 887920"/>
                <a:gd name="connsiteY362" fmla="*/ 563975 h 627602"/>
                <a:gd name="connsiteX363" fmla="*/ 78486 w 887920"/>
                <a:gd name="connsiteY363" fmla="*/ 562356 h 627602"/>
                <a:gd name="connsiteX364" fmla="*/ 83439 w 887920"/>
                <a:gd name="connsiteY364" fmla="*/ 563309 h 627602"/>
                <a:gd name="connsiteX365" fmla="*/ 86582 w 887920"/>
                <a:gd name="connsiteY365" fmla="*/ 562928 h 627602"/>
                <a:gd name="connsiteX366" fmla="*/ 86773 w 887920"/>
                <a:gd name="connsiteY366" fmla="*/ 564547 h 627602"/>
                <a:gd name="connsiteX367" fmla="*/ 85439 w 887920"/>
                <a:gd name="connsiteY367" fmla="*/ 566261 h 627602"/>
                <a:gd name="connsiteX368" fmla="*/ 90297 w 887920"/>
                <a:gd name="connsiteY368" fmla="*/ 567309 h 627602"/>
                <a:gd name="connsiteX369" fmla="*/ 89726 w 887920"/>
                <a:gd name="connsiteY369" fmla="*/ 575405 h 627602"/>
                <a:gd name="connsiteX370" fmla="*/ 93155 w 887920"/>
                <a:gd name="connsiteY370" fmla="*/ 576548 h 627602"/>
                <a:gd name="connsiteX371" fmla="*/ 95345 w 887920"/>
                <a:gd name="connsiteY371" fmla="*/ 581120 h 627602"/>
                <a:gd name="connsiteX372" fmla="*/ 97917 w 887920"/>
                <a:gd name="connsiteY372" fmla="*/ 588740 h 627602"/>
                <a:gd name="connsiteX373" fmla="*/ 99441 w 887920"/>
                <a:gd name="connsiteY373" fmla="*/ 588550 h 627602"/>
                <a:gd name="connsiteX374" fmla="*/ 98679 w 887920"/>
                <a:gd name="connsiteY374" fmla="*/ 595122 h 627602"/>
                <a:gd name="connsiteX375" fmla="*/ 105251 w 887920"/>
                <a:gd name="connsiteY375" fmla="*/ 595884 h 627602"/>
                <a:gd name="connsiteX376" fmla="*/ 103823 w 887920"/>
                <a:gd name="connsiteY376" fmla="*/ 597599 h 627602"/>
                <a:gd name="connsiteX377" fmla="*/ 107633 w 887920"/>
                <a:gd name="connsiteY377" fmla="*/ 601980 h 627602"/>
                <a:gd name="connsiteX378" fmla="*/ 109919 w 887920"/>
                <a:gd name="connsiteY378" fmla="*/ 595217 h 627602"/>
                <a:gd name="connsiteX379" fmla="*/ 108204 w 887920"/>
                <a:gd name="connsiteY379" fmla="*/ 593884 h 627602"/>
                <a:gd name="connsiteX380" fmla="*/ 113252 w 887920"/>
                <a:gd name="connsiteY380" fmla="*/ 583597 h 627602"/>
                <a:gd name="connsiteX381" fmla="*/ 124301 w 887920"/>
                <a:gd name="connsiteY381" fmla="*/ 582168 h 627602"/>
                <a:gd name="connsiteX382" fmla="*/ 121349 w 887920"/>
                <a:gd name="connsiteY382" fmla="*/ 584168 h 627602"/>
                <a:gd name="connsiteX383" fmla="*/ 125159 w 887920"/>
                <a:gd name="connsiteY383" fmla="*/ 588550 h 627602"/>
                <a:gd name="connsiteX384" fmla="*/ 127730 w 887920"/>
                <a:gd name="connsiteY384" fmla="*/ 596170 h 627602"/>
                <a:gd name="connsiteX385" fmla="*/ 129445 w 887920"/>
                <a:gd name="connsiteY385" fmla="*/ 597599 h 627602"/>
                <a:gd name="connsiteX386" fmla="*/ 137732 w 887920"/>
                <a:gd name="connsiteY386" fmla="*/ 599694 h 627602"/>
                <a:gd name="connsiteX387" fmla="*/ 142494 w 887920"/>
                <a:gd name="connsiteY387" fmla="*/ 599123 h 627602"/>
                <a:gd name="connsiteX388" fmla="*/ 145256 w 887920"/>
                <a:gd name="connsiteY388" fmla="*/ 595598 h 627602"/>
                <a:gd name="connsiteX389" fmla="*/ 139732 w 887920"/>
                <a:gd name="connsiteY389" fmla="*/ 589883 h 627602"/>
                <a:gd name="connsiteX390" fmla="*/ 139541 w 887920"/>
                <a:gd name="connsiteY390" fmla="*/ 588264 h 627602"/>
                <a:gd name="connsiteX391" fmla="*/ 149162 w 887920"/>
                <a:gd name="connsiteY391" fmla="*/ 588645 h 627602"/>
                <a:gd name="connsiteX392" fmla="*/ 150590 w 887920"/>
                <a:gd name="connsiteY392" fmla="*/ 586835 h 627602"/>
                <a:gd name="connsiteX393" fmla="*/ 153162 w 887920"/>
                <a:gd name="connsiteY393" fmla="*/ 581692 h 627602"/>
                <a:gd name="connsiteX394" fmla="*/ 159639 w 887920"/>
                <a:gd name="connsiteY394" fmla="*/ 582549 h 627602"/>
                <a:gd name="connsiteX395" fmla="*/ 161258 w 887920"/>
                <a:gd name="connsiteY395" fmla="*/ 582263 h 627602"/>
                <a:gd name="connsiteX396" fmla="*/ 161449 w 887920"/>
                <a:gd name="connsiteY396" fmla="*/ 583883 h 627602"/>
                <a:gd name="connsiteX397" fmla="*/ 160020 w 887920"/>
                <a:gd name="connsiteY397" fmla="*/ 585692 h 627602"/>
                <a:gd name="connsiteX398" fmla="*/ 160687 w 887920"/>
                <a:gd name="connsiteY398" fmla="*/ 590360 h 627602"/>
                <a:gd name="connsiteX399" fmla="*/ 159258 w 887920"/>
                <a:gd name="connsiteY399" fmla="*/ 592169 h 627602"/>
                <a:gd name="connsiteX400" fmla="*/ 164783 w 887920"/>
                <a:gd name="connsiteY400" fmla="*/ 597884 h 627602"/>
                <a:gd name="connsiteX401" fmla="*/ 163068 w 887920"/>
                <a:gd name="connsiteY401" fmla="*/ 596551 h 627602"/>
                <a:gd name="connsiteX402" fmla="*/ 160306 w 887920"/>
                <a:gd name="connsiteY402" fmla="*/ 600075 h 627602"/>
                <a:gd name="connsiteX403" fmla="*/ 159258 w 887920"/>
                <a:gd name="connsiteY403" fmla="*/ 605028 h 627602"/>
                <a:gd name="connsiteX404" fmla="*/ 161068 w 887920"/>
                <a:gd name="connsiteY404" fmla="*/ 606362 h 627602"/>
                <a:gd name="connsiteX405" fmla="*/ 162497 w 887920"/>
                <a:gd name="connsiteY405" fmla="*/ 617411 h 627602"/>
                <a:gd name="connsiteX406" fmla="*/ 168021 w 887920"/>
                <a:gd name="connsiteY406" fmla="*/ 623126 h 627602"/>
                <a:gd name="connsiteX407" fmla="*/ 169640 w 887920"/>
                <a:gd name="connsiteY407" fmla="*/ 622935 h 627602"/>
                <a:gd name="connsiteX408" fmla="*/ 170593 w 887920"/>
                <a:gd name="connsiteY408" fmla="*/ 617982 h 627602"/>
                <a:gd name="connsiteX409" fmla="*/ 172593 w 887920"/>
                <a:gd name="connsiteY409" fmla="*/ 620935 h 627602"/>
                <a:gd name="connsiteX410" fmla="*/ 173927 w 887920"/>
                <a:gd name="connsiteY410" fmla="*/ 619220 h 627602"/>
                <a:gd name="connsiteX411" fmla="*/ 174117 w 887920"/>
                <a:gd name="connsiteY411" fmla="*/ 620744 h 627602"/>
                <a:gd name="connsiteX412" fmla="*/ 177260 w 887920"/>
                <a:gd name="connsiteY412" fmla="*/ 620363 h 627602"/>
                <a:gd name="connsiteX413" fmla="*/ 175927 w 887920"/>
                <a:gd name="connsiteY413" fmla="*/ 622173 h 627602"/>
                <a:gd name="connsiteX414" fmla="*/ 175927 w 887920"/>
                <a:gd name="connsiteY414" fmla="*/ 622173 h 627602"/>
                <a:gd name="connsiteX415" fmla="*/ 181070 w 887920"/>
                <a:gd name="connsiteY415" fmla="*/ 624650 h 627602"/>
                <a:gd name="connsiteX416" fmla="*/ 183071 w 887920"/>
                <a:gd name="connsiteY416" fmla="*/ 627602 h 627602"/>
                <a:gd name="connsiteX417" fmla="*/ 185738 w 887920"/>
                <a:gd name="connsiteY417" fmla="*/ 624078 h 627602"/>
                <a:gd name="connsiteX418" fmla="*/ 183642 w 887920"/>
                <a:gd name="connsiteY418" fmla="*/ 619506 h 627602"/>
                <a:gd name="connsiteX419" fmla="*/ 187738 w 887920"/>
                <a:gd name="connsiteY419" fmla="*/ 614172 h 627602"/>
                <a:gd name="connsiteX420" fmla="*/ 188119 w 887920"/>
                <a:gd name="connsiteY420" fmla="*/ 617411 h 627602"/>
                <a:gd name="connsiteX421" fmla="*/ 194691 w 887920"/>
                <a:gd name="connsiteY421" fmla="*/ 618173 h 627602"/>
                <a:gd name="connsiteX422" fmla="*/ 196215 w 887920"/>
                <a:gd name="connsiteY422" fmla="*/ 617982 h 627602"/>
                <a:gd name="connsiteX423" fmla="*/ 196977 w 887920"/>
                <a:gd name="connsiteY423" fmla="*/ 611410 h 627602"/>
                <a:gd name="connsiteX424" fmla="*/ 201930 w 887920"/>
                <a:gd name="connsiteY424" fmla="*/ 612362 h 627602"/>
                <a:gd name="connsiteX425" fmla="*/ 204121 w 887920"/>
                <a:gd name="connsiteY425" fmla="*/ 616934 h 627602"/>
                <a:gd name="connsiteX426" fmla="*/ 209074 w 887920"/>
                <a:gd name="connsiteY426" fmla="*/ 617887 h 627602"/>
                <a:gd name="connsiteX427" fmla="*/ 208407 w 887920"/>
                <a:gd name="connsiteY427" fmla="*/ 613220 h 627602"/>
                <a:gd name="connsiteX428" fmla="*/ 209836 w 887920"/>
                <a:gd name="connsiteY428" fmla="*/ 611410 h 627602"/>
                <a:gd name="connsiteX429" fmla="*/ 221266 w 887920"/>
                <a:gd name="connsiteY429" fmla="*/ 613124 h 627602"/>
                <a:gd name="connsiteX430" fmla="*/ 227552 w 887920"/>
                <a:gd name="connsiteY430" fmla="*/ 612362 h 627602"/>
                <a:gd name="connsiteX431" fmla="*/ 227362 w 887920"/>
                <a:gd name="connsiteY431" fmla="*/ 610743 h 627602"/>
                <a:gd name="connsiteX432" fmla="*/ 237839 w 887920"/>
                <a:gd name="connsiteY432" fmla="*/ 617411 h 627602"/>
                <a:gd name="connsiteX433" fmla="*/ 237839 w 887920"/>
                <a:gd name="connsiteY433" fmla="*/ 617411 h 627602"/>
                <a:gd name="connsiteX434" fmla="*/ 239268 w 887920"/>
                <a:gd name="connsiteY434" fmla="*/ 615696 h 627602"/>
                <a:gd name="connsiteX435" fmla="*/ 236220 w 887920"/>
                <a:gd name="connsiteY435" fmla="*/ 604838 h 627602"/>
                <a:gd name="connsiteX436" fmla="*/ 242316 w 887920"/>
                <a:gd name="connsiteY436" fmla="*/ 602456 h 627602"/>
                <a:gd name="connsiteX437" fmla="*/ 242126 w 887920"/>
                <a:gd name="connsiteY437" fmla="*/ 600837 h 627602"/>
                <a:gd name="connsiteX438" fmla="*/ 251841 w 887920"/>
                <a:gd name="connsiteY438" fmla="*/ 601218 h 627602"/>
                <a:gd name="connsiteX439" fmla="*/ 254603 w 887920"/>
                <a:gd name="connsiteY439" fmla="*/ 597694 h 627602"/>
                <a:gd name="connsiteX440" fmla="*/ 257937 w 887920"/>
                <a:gd name="connsiteY440" fmla="*/ 598837 h 627602"/>
                <a:gd name="connsiteX441" fmla="*/ 261652 w 887920"/>
                <a:gd name="connsiteY441" fmla="*/ 577501 h 627602"/>
                <a:gd name="connsiteX442" fmla="*/ 261271 w 887920"/>
                <a:gd name="connsiteY442" fmla="*/ 574358 h 627602"/>
                <a:gd name="connsiteX443" fmla="*/ 280988 w 887920"/>
                <a:gd name="connsiteY443" fmla="*/ 578263 h 627602"/>
                <a:gd name="connsiteX444" fmla="*/ 282131 w 887920"/>
                <a:gd name="connsiteY444" fmla="*/ 574929 h 627602"/>
                <a:gd name="connsiteX445" fmla="*/ 284131 w 887920"/>
                <a:gd name="connsiteY445" fmla="*/ 565023 h 627602"/>
                <a:gd name="connsiteX446" fmla="*/ 278130 w 887920"/>
                <a:gd name="connsiteY446" fmla="*/ 543401 h 627602"/>
                <a:gd name="connsiteX447" fmla="*/ 278321 w 887920"/>
                <a:gd name="connsiteY447" fmla="*/ 532067 h 627602"/>
                <a:gd name="connsiteX448" fmla="*/ 312896 w 887920"/>
                <a:gd name="connsiteY448" fmla="*/ 538925 h 627602"/>
                <a:gd name="connsiteX449" fmla="*/ 332232 w 887920"/>
                <a:gd name="connsiteY449" fmla="*/ 552450 h 627602"/>
                <a:gd name="connsiteX450" fmla="*/ 346424 w 887920"/>
                <a:gd name="connsiteY450" fmla="*/ 537877 h 627602"/>
                <a:gd name="connsiteX451" fmla="*/ 349568 w 887920"/>
                <a:gd name="connsiteY451" fmla="*/ 537496 h 627602"/>
                <a:gd name="connsiteX452" fmla="*/ 352330 w 887920"/>
                <a:gd name="connsiteY452" fmla="*/ 533876 h 627602"/>
                <a:gd name="connsiteX453" fmla="*/ 353473 w 887920"/>
                <a:gd name="connsiteY453" fmla="*/ 530543 h 627602"/>
                <a:gd name="connsiteX454" fmla="*/ 351473 w 887920"/>
                <a:gd name="connsiteY454" fmla="*/ 527590 h 627602"/>
                <a:gd name="connsiteX455" fmla="*/ 346139 w 887920"/>
                <a:gd name="connsiteY455" fmla="*/ 523494 h 627602"/>
                <a:gd name="connsiteX456" fmla="*/ 347091 w 887920"/>
                <a:gd name="connsiteY456" fmla="*/ 518541 h 627602"/>
                <a:gd name="connsiteX457" fmla="*/ 345186 w 887920"/>
                <a:gd name="connsiteY457" fmla="*/ 515588 h 627602"/>
                <a:gd name="connsiteX458" fmla="*/ 357569 w 887920"/>
                <a:gd name="connsiteY458" fmla="*/ 512350 h 627602"/>
                <a:gd name="connsiteX459" fmla="*/ 357378 w 887920"/>
                <a:gd name="connsiteY459" fmla="*/ 510826 h 627602"/>
                <a:gd name="connsiteX460" fmla="*/ 364903 w 887920"/>
                <a:gd name="connsiteY460" fmla="*/ 506635 h 627602"/>
                <a:gd name="connsiteX461" fmla="*/ 369570 w 887920"/>
                <a:gd name="connsiteY461" fmla="*/ 506063 h 627602"/>
                <a:gd name="connsiteX462" fmla="*/ 372713 w 887920"/>
                <a:gd name="connsiteY462" fmla="*/ 505587 h 627602"/>
                <a:gd name="connsiteX463" fmla="*/ 375476 w 887920"/>
                <a:gd name="connsiteY463" fmla="*/ 502063 h 627602"/>
                <a:gd name="connsiteX464" fmla="*/ 376142 w 887920"/>
                <a:gd name="connsiteY464" fmla="*/ 506825 h 627602"/>
                <a:gd name="connsiteX465" fmla="*/ 381857 w 887920"/>
                <a:gd name="connsiteY465" fmla="*/ 501301 h 627602"/>
                <a:gd name="connsiteX466" fmla="*/ 387953 w 887920"/>
                <a:gd name="connsiteY466" fmla="*/ 498920 h 627602"/>
                <a:gd name="connsiteX467" fmla="*/ 383572 w 887920"/>
                <a:gd name="connsiteY467" fmla="*/ 489871 h 627602"/>
                <a:gd name="connsiteX468" fmla="*/ 385191 w 887920"/>
                <a:gd name="connsiteY468" fmla="*/ 489585 h 627602"/>
                <a:gd name="connsiteX469" fmla="*/ 380810 w 887920"/>
                <a:gd name="connsiteY469" fmla="*/ 480536 h 627602"/>
                <a:gd name="connsiteX470" fmla="*/ 377666 w 887920"/>
                <a:gd name="connsiteY470" fmla="*/ 480917 h 627602"/>
                <a:gd name="connsiteX471" fmla="*/ 383762 w 887920"/>
                <a:gd name="connsiteY471" fmla="*/ 478536 h 627602"/>
                <a:gd name="connsiteX472" fmla="*/ 385096 w 887920"/>
                <a:gd name="connsiteY472" fmla="*/ 476822 h 627602"/>
                <a:gd name="connsiteX473" fmla="*/ 388430 w 887920"/>
                <a:gd name="connsiteY473" fmla="*/ 477965 h 627602"/>
                <a:gd name="connsiteX474" fmla="*/ 388239 w 887920"/>
                <a:gd name="connsiteY474" fmla="*/ 476441 h 627602"/>
                <a:gd name="connsiteX475" fmla="*/ 391478 w 887920"/>
                <a:gd name="connsiteY475" fmla="*/ 475964 h 627602"/>
                <a:gd name="connsiteX476" fmla="*/ 393192 w 887920"/>
                <a:gd name="connsiteY476" fmla="*/ 477393 h 627602"/>
                <a:gd name="connsiteX477" fmla="*/ 386620 w 887920"/>
                <a:gd name="connsiteY477" fmla="*/ 463772 h 627602"/>
                <a:gd name="connsiteX478" fmla="*/ 391192 w 887920"/>
                <a:gd name="connsiteY478" fmla="*/ 461582 h 627602"/>
                <a:gd name="connsiteX479" fmla="*/ 404241 w 887920"/>
                <a:gd name="connsiteY479" fmla="*/ 463106 h 627602"/>
                <a:gd name="connsiteX480" fmla="*/ 402812 w 887920"/>
                <a:gd name="connsiteY480" fmla="*/ 464915 h 627602"/>
                <a:gd name="connsiteX481" fmla="*/ 405194 w 887920"/>
                <a:gd name="connsiteY481" fmla="*/ 471011 h 627602"/>
                <a:gd name="connsiteX482" fmla="*/ 402241 w 887920"/>
                <a:gd name="connsiteY482" fmla="*/ 473012 h 627602"/>
                <a:gd name="connsiteX483" fmla="*/ 404241 w 887920"/>
                <a:gd name="connsiteY483" fmla="*/ 475964 h 627602"/>
                <a:gd name="connsiteX484" fmla="*/ 407384 w 887920"/>
                <a:gd name="connsiteY484" fmla="*/ 475583 h 627602"/>
                <a:gd name="connsiteX485" fmla="*/ 411004 w 887920"/>
                <a:gd name="connsiteY485" fmla="*/ 478346 h 627602"/>
                <a:gd name="connsiteX486" fmla="*/ 410528 w 887920"/>
                <a:gd name="connsiteY486" fmla="*/ 475202 h 627602"/>
                <a:gd name="connsiteX487" fmla="*/ 415481 w 887920"/>
                <a:gd name="connsiteY487" fmla="*/ 476155 h 627602"/>
                <a:gd name="connsiteX488" fmla="*/ 419862 w 887920"/>
                <a:gd name="connsiteY488" fmla="*/ 485204 h 627602"/>
                <a:gd name="connsiteX489" fmla="*/ 415100 w 887920"/>
                <a:gd name="connsiteY489" fmla="*/ 485775 h 627602"/>
                <a:gd name="connsiteX490" fmla="*/ 418529 w 887920"/>
                <a:gd name="connsiteY490" fmla="*/ 487013 h 627602"/>
                <a:gd name="connsiteX491" fmla="*/ 420434 w 887920"/>
                <a:gd name="connsiteY491" fmla="*/ 489966 h 627602"/>
                <a:gd name="connsiteX492" fmla="*/ 425196 w 887920"/>
                <a:gd name="connsiteY492" fmla="*/ 489299 h 627602"/>
                <a:gd name="connsiteX493" fmla="*/ 428720 w 887920"/>
                <a:gd name="connsiteY493" fmla="*/ 492062 h 627602"/>
                <a:gd name="connsiteX494" fmla="*/ 427958 w 887920"/>
                <a:gd name="connsiteY494" fmla="*/ 485775 h 627602"/>
                <a:gd name="connsiteX495" fmla="*/ 432721 w 887920"/>
                <a:gd name="connsiteY495" fmla="*/ 485204 h 627602"/>
                <a:gd name="connsiteX496" fmla="*/ 433483 w 887920"/>
                <a:gd name="connsiteY496" fmla="*/ 478631 h 627602"/>
                <a:gd name="connsiteX497" fmla="*/ 434816 w 887920"/>
                <a:gd name="connsiteY497" fmla="*/ 476917 h 627602"/>
                <a:gd name="connsiteX498" fmla="*/ 438245 w 887920"/>
                <a:gd name="connsiteY498" fmla="*/ 478060 h 627602"/>
                <a:gd name="connsiteX499" fmla="*/ 435293 w 887920"/>
                <a:gd name="connsiteY499" fmla="*/ 480060 h 627602"/>
                <a:gd name="connsiteX500" fmla="*/ 437007 w 887920"/>
                <a:gd name="connsiteY500" fmla="*/ 481394 h 627602"/>
                <a:gd name="connsiteX501" fmla="*/ 440150 w 887920"/>
                <a:gd name="connsiteY501" fmla="*/ 481013 h 627602"/>
                <a:gd name="connsiteX502" fmla="*/ 442151 w 887920"/>
                <a:gd name="connsiteY502" fmla="*/ 483965 h 627602"/>
                <a:gd name="connsiteX503" fmla="*/ 446913 w 887920"/>
                <a:gd name="connsiteY503" fmla="*/ 483394 h 627602"/>
                <a:gd name="connsiteX504" fmla="*/ 450056 w 887920"/>
                <a:gd name="connsiteY504" fmla="*/ 482918 h 627602"/>
                <a:gd name="connsiteX505" fmla="*/ 455962 w 887920"/>
                <a:gd name="connsiteY505" fmla="*/ 479012 h 627602"/>
                <a:gd name="connsiteX506" fmla="*/ 456343 w 887920"/>
                <a:gd name="connsiteY506" fmla="*/ 482156 h 627602"/>
                <a:gd name="connsiteX507" fmla="*/ 455200 w 887920"/>
                <a:gd name="connsiteY507" fmla="*/ 485489 h 627602"/>
                <a:gd name="connsiteX508" fmla="*/ 457010 w 887920"/>
                <a:gd name="connsiteY508" fmla="*/ 486918 h 627602"/>
                <a:gd name="connsiteX509" fmla="*/ 463487 w 887920"/>
                <a:gd name="connsiteY509" fmla="*/ 500444 h 627602"/>
                <a:gd name="connsiteX510" fmla="*/ 465106 w 887920"/>
                <a:gd name="connsiteY510" fmla="*/ 500253 h 627602"/>
                <a:gd name="connsiteX511" fmla="*/ 466630 w 887920"/>
                <a:gd name="connsiteY511" fmla="*/ 500063 h 627602"/>
                <a:gd name="connsiteX512" fmla="*/ 471773 w 887920"/>
                <a:gd name="connsiteY512" fmla="*/ 502634 h 627602"/>
                <a:gd name="connsiteX513" fmla="*/ 472631 w 887920"/>
                <a:gd name="connsiteY513" fmla="*/ 508921 h 627602"/>
                <a:gd name="connsiteX514" fmla="*/ 473964 w 887920"/>
                <a:gd name="connsiteY514" fmla="*/ 507206 h 627602"/>
                <a:gd name="connsiteX515" fmla="*/ 477107 w 887920"/>
                <a:gd name="connsiteY515" fmla="*/ 506730 h 627602"/>
                <a:gd name="connsiteX516" fmla="*/ 477298 w 887920"/>
                <a:gd name="connsiteY516" fmla="*/ 508349 h 627602"/>
                <a:gd name="connsiteX517" fmla="*/ 476345 w 887920"/>
                <a:gd name="connsiteY517" fmla="*/ 513302 h 627602"/>
                <a:gd name="connsiteX518" fmla="*/ 480155 w 887920"/>
                <a:gd name="connsiteY518" fmla="*/ 517589 h 627602"/>
                <a:gd name="connsiteX519" fmla="*/ 479108 w 887920"/>
                <a:gd name="connsiteY519" fmla="*/ 522542 h 627602"/>
                <a:gd name="connsiteX520" fmla="*/ 483489 w 887920"/>
                <a:gd name="connsiteY520" fmla="*/ 518827 h 627602"/>
                <a:gd name="connsiteX521" fmla="*/ 485299 w 887920"/>
                <a:gd name="connsiteY521" fmla="*/ 520160 h 627602"/>
                <a:gd name="connsiteX522" fmla="*/ 489776 w 887920"/>
                <a:gd name="connsiteY522" fmla="*/ 517970 h 627602"/>
                <a:gd name="connsiteX523" fmla="*/ 494538 w 887920"/>
                <a:gd name="connsiteY523" fmla="*/ 517398 h 627602"/>
                <a:gd name="connsiteX524" fmla="*/ 494538 w 887920"/>
                <a:gd name="connsiteY524" fmla="*/ 517398 h 627602"/>
                <a:gd name="connsiteX525" fmla="*/ 498729 w 887920"/>
                <a:gd name="connsiteY525" fmla="*/ 524828 h 627602"/>
                <a:gd name="connsiteX526" fmla="*/ 503873 w 887920"/>
                <a:gd name="connsiteY526" fmla="*/ 527399 h 627602"/>
                <a:gd name="connsiteX527" fmla="*/ 502634 w 887920"/>
                <a:gd name="connsiteY527" fmla="*/ 530828 h 627602"/>
                <a:gd name="connsiteX528" fmla="*/ 507397 w 887920"/>
                <a:gd name="connsiteY528" fmla="*/ 530162 h 627602"/>
                <a:gd name="connsiteX529" fmla="*/ 516255 w 887920"/>
                <a:gd name="connsiteY529" fmla="*/ 537020 h 627602"/>
                <a:gd name="connsiteX530" fmla="*/ 513493 w 887920"/>
                <a:gd name="connsiteY530" fmla="*/ 540639 h 627602"/>
                <a:gd name="connsiteX531" fmla="*/ 513683 w 887920"/>
                <a:gd name="connsiteY531" fmla="*/ 542163 h 627602"/>
                <a:gd name="connsiteX532" fmla="*/ 516731 w 887920"/>
                <a:gd name="connsiteY532" fmla="*/ 540258 h 627602"/>
                <a:gd name="connsiteX533" fmla="*/ 515684 w 887920"/>
                <a:gd name="connsiteY533" fmla="*/ 545116 h 627602"/>
                <a:gd name="connsiteX534" fmla="*/ 519113 w 887920"/>
                <a:gd name="connsiteY534" fmla="*/ 559118 h 627602"/>
                <a:gd name="connsiteX535" fmla="*/ 520922 w 887920"/>
                <a:gd name="connsiteY535" fmla="*/ 560546 h 627602"/>
                <a:gd name="connsiteX536" fmla="*/ 522827 w 887920"/>
                <a:gd name="connsiteY536" fmla="*/ 563499 h 627602"/>
                <a:gd name="connsiteX537" fmla="*/ 530543 w 887920"/>
                <a:gd name="connsiteY537" fmla="*/ 560927 h 627602"/>
                <a:gd name="connsiteX538" fmla="*/ 530924 w 887920"/>
                <a:gd name="connsiteY538" fmla="*/ 564071 h 627602"/>
                <a:gd name="connsiteX539" fmla="*/ 532543 w 887920"/>
                <a:gd name="connsiteY539" fmla="*/ 563880 h 627602"/>
                <a:gd name="connsiteX540" fmla="*/ 532733 w 887920"/>
                <a:gd name="connsiteY540" fmla="*/ 565404 h 627602"/>
                <a:gd name="connsiteX541" fmla="*/ 537305 w 887920"/>
                <a:gd name="connsiteY541" fmla="*/ 563309 h 627602"/>
                <a:gd name="connsiteX542" fmla="*/ 542163 w 887920"/>
                <a:gd name="connsiteY542" fmla="*/ 564261 h 627602"/>
                <a:gd name="connsiteX543" fmla="*/ 547497 w 887920"/>
                <a:gd name="connsiteY543" fmla="*/ 568357 h 627602"/>
                <a:gd name="connsiteX544" fmla="*/ 546164 w 887920"/>
                <a:gd name="connsiteY544" fmla="*/ 570167 h 627602"/>
                <a:gd name="connsiteX545" fmla="*/ 547783 w 887920"/>
                <a:gd name="connsiteY545" fmla="*/ 569976 h 627602"/>
                <a:gd name="connsiteX546" fmla="*/ 548164 w 887920"/>
                <a:gd name="connsiteY546" fmla="*/ 573119 h 627602"/>
                <a:gd name="connsiteX547" fmla="*/ 551307 w 887920"/>
                <a:gd name="connsiteY547" fmla="*/ 572738 h 627602"/>
                <a:gd name="connsiteX548" fmla="*/ 553307 w 887920"/>
                <a:gd name="connsiteY548" fmla="*/ 575691 h 627602"/>
                <a:gd name="connsiteX549" fmla="*/ 553879 w 887920"/>
                <a:gd name="connsiteY549" fmla="*/ 580358 h 627602"/>
                <a:gd name="connsiteX550" fmla="*/ 558832 w 887920"/>
                <a:gd name="connsiteY550" fmla="*/ 581406 h 627602"/>
                <a:gd name="connsiteX551" fmla="*/ 560165 w 887920"/>
                <a:gd name="connsiteY551" fmla="*/ 579596 h 627602"/>
                <a:gd name="connsiteX552" fmla="*/ 572262 w 887920"/>
                <a:gd name="connsiteY552" fmla="*/ 586073 h 627602"/>
                <a:gd name="connsiteX553" fmla="*/ 575786 w 887920"/>
                <a:gd name="connsiteY553" fmla="*/ 588836 h 627602"/>
                <a:gd name="connsiteX554" fmla="*/ 579596 w 887920"/>
                <a:gd name="connsiteY554" fmla="*/ 593122 h 627602"/>
                <a:gd name="connsiteX555" fmla="*/ 587883 w 887920"/>
                <a:gd name="connsiteY555" fmla="*/ 595313 h 627602"/>
                <a:gd name="connsiteX556" fmla="*/ 596360 w 887920"/>
                <a:gd name="connsiteY556" fmla="*/ 599027 h 627602"/>
                <a:gd name="connsiteX557" fmla="*/ 605409 w 887920"/>
                <a:gd name="connsiteY557" fmla="*/ 607505 h 627602"/>
                <a:gd name="connsiteX558" fmla="*/ 609981 w 887920"/>
                <a:gd name="connsiteY558" fmla="*/ 605314 h 627602"/>
                <a:gd name="connsiteX559" fmla="*/ 613124 w 887920"/>
                <a:gd name="connsiteY559" fmla="*/ 604933 h 627602"/>
                <a:gd name="connsiteX560" fmla="*/ 617887 w 887920"/>
                <a:gd name="connsiteY560" fmla="*/ 604266 h 627602"/>
                <a:gd name="connsiteX561" fmla="*/ 617506 w 887920"/>
                <a:gd name="connsiteY561" fmla="*/ 601123 h 627602"/>
                <a:gd name="connsiteX562" fmla="*/ 618268 w 887920"/>
                <a:gd name="connsiteY562" fmla="*/ 594646 h 627602"/>
                <a:gd name="connsiteX563" fmla="*/ 616268 w 887920"/>
                <a:gd name="connsiteY563" fmla="*/ 591693 h 627602"/>
                <a:gd name="connsiteX564" fmla="*/ 621221 w 887920"/>
                <a:gd name="connsiteY564" fmla="*/ 592646 h 627602"/>
                <a:gd name="connsiteX565" fmla="*/ 620363 w 887920"/>
                <a:gd name="connsiteY565" fmla="*/ 586359 h 627602"/>
                <a:gd name="connsiteX566" fmla="*/ 628079 w 887920"/>
                <a:gd name="connsiteY566" fmla="*/ 583787 h 627602"/>
                <a:gd name="connsiteX567" fmla="*/ 626269 w 887920"/>
                <a:gd name="connsiteY567" fmla="*/ 582359 h 627602"/>
                <a:gd name="connsiteX568" fmla="*/ 629031 w 887920"/>
                <a:gd name="connsiteY568" fmla="*/ 578834 h 627602"/>
                <a:gd name="connsiteX569" fmla="*/ 630650 w 887920"/>
                <a:gd name="connsiteY569" fmla="*/ 578644 h 627602"/>
                <a:gd name="connsiteX570" fmla="*/ 631793 w 887920"/>
                <a:gd name="connsiteY570" fmla="*/ 575310 h 627602"/>
                <a:gd name="connsiteX571" fmla="*/ 634937 w 887920"/>
                <a:gd name="connsiteY571" fmla="*/ 574834 h 627602"/>
                <a:gd name="connsiteX572" fmla="*/ 636175 w 887920"/>
                <a:gd name="connsiteY572" fmla="*/ 571500 h 627602"/>
                <a:gd name="connsiteX573" fmla="*/ 639890 w 887920"/>
                <a:gd name="connsiteY573" fmla="*/ 575882 h 627602"/>
                <a:gd name="connsiteX574" fmla="*/ 641318 w 887920"/>
                <a:gd name="connsiteY574" fmla="*/ 574072 h 627602"/>
                <a:gd name="connsiteX575" fmla="*/ 645986 w 887920"/>
                <a:gd name="connsiteY575" fmla="*/ 573500 h 627602"/>
                <a:gd name="connsiteX576" fmla="*/ 649605 w 887920"/>
                <a:gd name="connsiteY576" fmla="*/ 576167 h 627602"/>
                <a:gd name="connsiteX577" fmla="*/ 650939 w 887920"/>
                <a:gd name="connsiteY577" fmla="*/ 574453 h 627602"/>
                <a:gd name="connsiteX578" fmla="*/ 659606 w 887920"/>
                <a:gd name="connsiteY578" fmla="*/ 579692 h 627602"/>
                <a:gd name="connsiteX579" fmla="*/ 658463 w 887920"/>
                <a:gd name="connsiteY579" fmla="*/ 583121 h 627602"/>
                <a:gd name="connsiteX580" fmla="*/ 666750 w 887920"/>
                <a:gd name="connsiteY580" fmla="*/ 585216 h 627602"/>
                <a:gd name="connsiteX581" fmla="*/ 668750 w 887920"/>
                <a:gd name="connsiteY581" fmla="*/ 588169 h 627602"/>
                <a:gd name="connsiteX582" fmla="*/ 672846 w 887920"/>
                <a:gd name="connsiteY582" fmla="*/ 582835 h 627602"/>
                <a:gd name="connsiteX583" fmla="*/ 675037 w 887920"/>
                <a:gd name="connsiteY583" fmla="*/ 587407 h 627602"/>
                <a:gd name="connsiteX584" fmla="*/ 676656 w 887920"/>
                <a:gd name="connsiteY584" fmla="*/ 587216 h 627602"/>
                <a:gd name="connsiteX585" fmla="*/ 677799 w 887920"/>
                <a:gd name="connsiteY585" fmla="*/ 583883 h 627602"/>
                <a:gd name="connsiteX586" fmla="*/ 686086 w 887920"/>
                <a:gd name="connsiteY586" fmla="*/ 585978 h 627602"/>
                <a:gd name="connsiteX587" fmla="*/ 684943 w 887920"/>
                <a:gd name="connsiteY587" fmla="*/ 589312 h 627602"/>
                <a:gd name="connsiteX588" fmla="*/ 689039 w 887920"/>
                <a:gd name="connsiteY588" fmla="*/ 596837 h 627602"/>
                <a:gd name="connsiteX589" fmla="*/ 690658 w 887920"/>
                <a:gd name="connsiteY589" fmla="*/ 596646 h 627602"/>
                <a:gd name="connsiteX590" fmla="*/ 697421 w 887920"/>
                <a:gd name="connsiteY590" fmla="*/ 599027 h 627602"/>
                <a:gd name="connsiteX591" fmla="*/ 699516 w 887920"/>
                <a:gd name="connsiteY591" fmla="*/ 603504 h 627602"/>
                <a:gd name="connsiteX592" fmla="*/ 706469 w 887920"/>
                <a:gd name="connsiteY592" fmla="*/ 607409 h 627602"/>
                <a:gd name="connsiteX593" fmla="*/ 706660 w 887920"/>
                <a:gd name="connsiteY593" fmla="*/ 596170 h 627602"/>
                <a:gd name="connsiteX594" fmla="*/ 712565 w 887920"/>
                <a:gd name="connsiteY594" fmla="*/ 592265 h 627602"/>
                <a:gd name="connsiteX595" fmla="*/ 715899 w 887920"/>
                <a:gd name="connsiteY595" fmla="*/ 593408 h 627602"/>
                <a:gd name="connsiteX596" fmla="*/ 714756 w 887920"/>
                <a:gd name="connsiteY596" fmla="*/ 596741 h 627602"/>
                <a:gd name="connsiteX597" fmla="*/ 718852 w 887920"/>
                <a:gd name="connsiteY597" fmla="*/ 604266 h 627602"/>
                <a:gd name="connsiteX598" fmla="*/ 715709 w 887920"/>
                <a:gd name="connsiteY598" fmla="*/ 604647 h 627602"/>
                <a:gd name="connsiteX599" fmla="*/ 717899 w 887920"/>
                <a:gd name="connsiteY599" fmla="*/ 609219 h 627602"/>
                <a:gd name="connsiteX600" fmla="*/ 721233 w 887920"/>
                <a:gd name="connsiteY600" fmla="*/ 610362 h 627602"/>
                <a:gd name="connsiteX601" fmla="*/ 721519 w 887920"/>
                <a:gd name="connsiteY601" fmla="*/ 611981 h 627602"/>
                <a:gd name="connsiteX602" fmla="*/ 713423 w 887920"/>
                <a:gd name="connsiteY602" fmla="*/ 611410 h 627602"/>
                <a:gd name="connsiteX603" fmla="*/ 715328 w 887920"/>
                <a:gd name="connsiteY603" fmla="*/ 614363 h 627602"/>
                <a:gd name="connsiteX604" fmla="*/ 720090 w 887920"/>
                <a:gd name="connsiteY604" fmla="*/ 613696 h 627602"/>
                <a:gd name="connsiteX605" fmla="*/ 720471 w 887920"/>
                <a:gd name="connsiteY605" fmla="*/ 616934 h 627602"/>
                <a:gd name="connsiteX606" fmla="*/ 717328 w 887920"/>
                <a:gd name="connsiteY606" fmla="*/ 617315 h 627602"/>
                <a:gd name="connsiteX607" fmla="*/ 720662 w 887920"/>
                <a:gd name="connsiteY607" fmla="*/ 618458 h 627602"/>
                <a:gd name="connsiteX608" fmla="*/ 721328 w 887920"/>
                <a:gd name="connsiteY608" fmla="*/ 623221 h 627602"/>
                <a:gd name="connsiteX609" fmla="*/ 727805 w 887920"/>
                <a:gd name="connsiteY609" fmla="*/ 623983 h 627602"/>
                <a:gd name="connsiteX610" fmla="*/ 732377 w 887920"/>
                <a:gd name="connsiteY610" fmla="*/ 621792 h 627602"/>
                <a:gd name="connsiteX611" fmla="*/ 737330 w 887920"/>
                <a:gd name="connsiteY611" fmla="*/ 622745 h 627602"/>
                <a:gd name="connsiteX612" fmla="*/ 738473 w 887920"/>
                <a:gd name="connsiteY612" fmla="*/ 619411 h 627602"/>
                <a:gd name="connsiteX613" fmla="*/ 743617 w 887920"/>
                <a:gd name="connsiteY613" fmla="*/ 621983 h 627602"/>
                <a:gd name="connsiteX614" fmla="*/ 743426 w 887920"/>
                <a:gd name="connsiteY614" fmla="*/ 620363 h 627602"/>
                <a:gd name="connsiteX615" fmla="*/ 746760 w 887920"/>
                <a:gd name="connsiteY615" fmla="*/ 621602 h 627602"/>
                <a:gd name="connsiteX616" fmla="*/ 746570 w 887920"/>
                <a:gd name="connsiteY616" fmla="*/ 619982 h 627602"/>
                <a:gd name="connsiteX617" fmla="*/ 742760 w 887920"/>
                <a:gd name="connsiteY617" fmla="*/ 615696 h 627602"/>
                <a:gd name="connsiteX618" fmla="*/ 745522 w 887920"/>
                <a:gd name="connsiteY618" fmla="*/ 612077 h 627602"/>
                <a:gd name="connsiteX619" fmla="*/ 748475 w 887920"/>
                <a:gd name="connsiteY619" fmla="*/ 610076 h 627602"/>
                <a:gd name="connsiteX620" fmla="*/ 750856 w 887920"/>
                <a:gd name="connsiteY620" fmla="*/ 616268 h 627602"/>
                <a:gd name="connsiteX621" fmla="*/ 755809 w 887920"/>
                <a:gd name="connsiteY621" fmla="*/ 617220 h 627602"/>
                <a:gd name="connsiteX622" fmla="*/ 756761 w 887920"/>
                <a:gd name="connsiteY622" fmla="*/ 612267 h 627602"/>
                <a:gd name="connsiteX623" fmla="*/ 759524 w 887920"/>
                <a:gd name="connsiteY623" fmla="*/ 608743 h 627602"/>
                <a:gd name="connsiteX624" fmla="*/ 757619 w 887920"/>
                <a:gd name="connsiteY624" fmla="*/ 605790 h 627602"/>
                <a:gd name="connsiteX625" fmla="*/ 762286 w 887920"/>
                <a:gd name="connsiteY625" fmla="*/ 605123 h 627602"/>
                <a:gd name="connsiteX626" fmla="*/ 763334 w 887920"/>
                <a:gd name="connsiteY626" fmla="*/ 600170 h 627602"/>
                <a:gd name="connsiteX627" fmla="*/ 756380 w 887920"/>
                <a:gd name="connsiteY627" fmla="*/ 596265 h 627602"/>
                <a:gd name="connsiteX628" fmla="*/ 755142 w 887920"/>
                <a:gd name="connsiteY628" fmla="*/ 586835 h 627602"/>
                <a:gd name="connsiteX629" fmla="*/ 751427 w 887920"/>
                <a:gd name="connsiteY629" fmla="*/ 582454 h 627602"/>
                <a:gd name="connsiteX630" fmla="*/ 752761 w 887920"/>
                <a:gd name="connsiteY630" fmla="*/ 580739 h 627602"/>
                <a:gd name="connsiteX631" fmla="*/ 753713 w 887920"/>
                <a:gd name="connsiteY631" fmla="*/ 575786 h 627602"/>
                <a:gd name="connsiteX632" fmla="*/ 763048 w 887920"/>
                <a:gd name="connsiteY632" fmla="*/ 573024 h 627602"/>
                <a:gd name="connsiteX633" fmla="*/ 764762 w 887920"/>
                <a:gd name="connsiteY633" fmla="*/ 574358 h 627602"/>
                <a:gd name="connsiteX634" fmla="*/ 772478 w 887920"/>
                <a:gd name="connsiteY634" fmla="*/ 571786 h 627602"/>
                <a:gd name="connsiteX635" fmla="*/ 772668 w 887920"/>
                <a:gd name="connsiteY635" fmla="*/ 560546 h 627602"/>
                <a:gd name="connsiteX636" fmla="*/ 778002 w 887920"/>
                <a:gd name="connsiteY636" fmla="*/ 564642 h 627602"/>
                <a:gd name="connsiteX637" fmla="*/ 779336 w 887920"/>
                <a:gd name="connsiteY637" fmla="*/ 562832 h 627602"/>
                <a:gd name="connsiteX638" fmla="*/ 781145 w 887920"/>
                <a:gd name="connsiteY638" fmla="*/ 564261 h 627602"/>
                <a:gd name="connsiteX639" fmla="*/ 782098 w 887920"/>
                <a:gd name="connsiteY639" fmla="*/ 559308 h 627602"/>
                <a:gd name="connsiteX640" fmla="*/ 778383 w 887920"/>
                <a:gd name="connsiteY640" fmla="*/ 555022 h 627602"/>
                <a:gd name="connsiteX641" fmla="*/ 781145 w 887920"/>
                <a:gd name="connsiteY641" fmla="*/ 551402 h 627602"/>
                <a:gd name="connsiteX642" fmla="*/ 779526 w 887920"/>
                <a:gd name="connsiteY642" fmla="*/ 551593 h 627602"/>
                <a:gd name="connsiteX643" fmla="*/ 778955 w 887920"/>
                <a:gd name="connsiteY643" fmla="*/ 546926 h 627602"/>
                <a:gd name="connsiteX644" fmla="*/ 792385 w 887920"/>
                <a:gd name="connsiteY644" fmla="*/ 551593 h 627602"/>
                <a:gd name="connsiteX645" fmla="*/ 794385 w 887920"/>
                <a:gd name="connsiteY645" fmla="*/ 554546 h 627602"/>
                <a:gd name="connsiteX646" fmla="*/ 794766 w 887920"/>
                <a:gd name="connsiteY646" fmla="*/ 557689 h 627602"/>
                <a:gd name="connsiteX647" fmla="*/ 792956 w 887920"/>
                <a:gd name="connsiteY647" fmla="*/ 556355 h 627602"/>
                <a:gd name="connsiteX648" fmla="*/ 792194 w 887920"/>
                <a:gd name="connsiteY648" fmla="*/ 562832 h 627602"/>
                <a:gd name="connsiteX649" fmla="*/ 803243 w 887920"/>
                <a:gd name="connsiteY649" fmla="*/ 574262 h 627602"/>
                <a:gd name="connsiteX650" fmla="*/ 804101 w 887920"/>
                <a:gd name="connsiteY650" fmla="*/ 580549 h 627602"/>
                <a:gd name="connsiteX651" fmla="*/ 810387 w 887920"/>
                <a:gd name="connsiteY651" fmla="*/ 579787 h 627602"/>
                <a:gd name="connsiteX652" fmla="*/ 812387 w 887920"/>
                <a:gd name="connsiteY652" fmla="*/ 582740 h 627602"/>
                <a:gd name="connsiteX653" fmla="*/ 816864 w 887920"/>
                <a:gd name="connsiteY653" fmla="*/ 580549 h 627602"/>
                <a:gd name="connsiteX654" fmla="*/ 819055 w 887920"/>
                <a:gd name="connsiteY654" fmla="*/ 585121 h 627602"/>
                <a:gd name="connsiteX655" fmla="*/ 826961 w 887920"/>
                <a:gd name="connsiteY655" fmla="*/ 584073 h 627602"/>
                <a:gd name="connsiteX656" fmla="*/ 826008 w 887920"/>
                <a:gd name="connsiteY656" fmla="*/ 576167 h 627602"/>
                <a:gd name="connsiteX657" fmla="*/ 829342 w 887920"/>
                <a:gd name="connsiteY657" fmla="*/ 577310 h 627602"/>
                <a:gd name="connsiteX658" fmla="*/ 833914 w 887920"/>
                <a:gd name="connsiteY658" fmla="*/ 575215 h 627602"/>
                <a:gd name="connsiteX659" fmla="*/ 835438 w 887920"/>
                <a:gd name="connsiteY659" fmla="*/ 574929 h 627602"/>
                <a:gd name="connsiteX660" fmla="*/ 841343 w 887920"/>
                <a:gd name="connsiteY660" fmla="*/ 571024 h 627602"/>
                <a:gd name="connsiteX661" fmla="*/ 842963 w 887920"/>
                <a:gd name="connsiteY661" fmla="*/ 570833 h 627602"/>
                <a:gd name="connsiteX662" fmla="*/ 843344 w 887920"/>
                <a:gd name="connsiteY662" fmla="*/ 573977 h 627602"/>
                <a:gd name="connsiteX663" fmla="*/ 844677 w 887920"/>
                <a:gd name="connsiteY663" fmla="*/ 572167 h 627602"/>
                <a:gd name="connsiteX664" fmla="*/ 845153 w 887920"/>
                <a:gd name="connsiteY664" fmla="*/ 575310 h 627602"/>
                <a:gd name="connsiteX665" fmla="*/ 848487 w 887920"/>
                <a:gd name="connsiteY665" fmla="*/ 576548 h 627602"/>
                <a:gd name="connsiteX666" fmla="*/ 848297 w 887920"/>
                <a:gd name="connsiteY666" fmla="*/ 574929 h 627602"/>
                <a:gd name="connsiteX667" fmla="*/ 851440 w 887920"/>
                <a:gd name="connsiteY667" fmla="*/ 574548 h 627602"/>
                <a:gd name="connsiteX668" fmla="*/ 852678 w 887920"/>
                <a:gd name="connsiteY668" fmla="*/ 583978 h 627602"/>
                <a:gd name="connsiteX669" fmla="*/ 855821 w 887920"/>
                <a:gd name="connsiteY669" fmla="*/ 583597 h 627602"/>
                <a:gd name="connsiteX670" fmla="*/ 853821 w 887920"/>
                <a:gd name="connsiteY670" fmla="*/ 580644 h 627602"/>
                <a:gd name="connsiteX671" fmla="*/ 856583 w 887920"/>
                <a:gd name="connsiteY671" fmla="*/ 577120 h 627602"/>
                <a:gd name="connsiteX672" fmla="*/ 858774 w 887920"/>
                <a:gd name="connsiteY672" fmla="*/ 581597 h 627602"/>
                <a:gd name="connsiteX673" fmla="*/ 860108 w 887920"/>
                <a:gd name="connsiteY673" fmla="*/ 579882 h 627602"/>
                <a:gd name="connsiteX674" fmla="*/ 864680 w 887920"/>
                <a:gd name="connsiteY674" fmla="*/ 577691 h 627602"/>
                <a:gd name="connsiteX675" fmla="*/ 886778 w 887920"/>
                <a:gd name="connsiteY675" fmla="*/ 574834 h 627602"/>
                <a:gd name="connsiteX676" fmla="*/ 887921 w 887920"/>
                <a:gd name="connsiteY676" fmla="*/ 571500 h 627602"/>
                <a:gd name="connsiteX677" fmla="*/ 883920 w 887920"/>
                <a:gd name="connsiteY677" fmla="*/ 565595 h 627602"/>
                <a:gd name="connsiteX678" fmla="*/ 883920 w 887920"/>
                <a:gd name="connsiteY678" fmla="*/ 565595 h 627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</a:cxnLst>
              <a:rect l="l" t="t" r="r" b="b"/>
              <a:pathLst>
                <a:path w="887920" h="627602">
                  <a:moveTo>
                    <a:pt x="883920" y="565595"/>
                  </a:moveTo>
                  <a:lnTo>
                    <a:pt x="883158" y="559308"/>
                  </a:lnTo>
                  <a:lnTo>
                    <a:pt x="881634" y="559499"/>
                  </a:lnTo>
                  <a:lnTo>
                    <a:pt x="877443" y="551974"/>
                  </a:lnTo>
                  <a:lnTo>
                    <a:pt x="873824" y="549212"/>
                  </a:lnTo>
                  <a:lnTo>
                    <a:pt x="873443" y="546068"/>
                  </a:lnTo>
                  <a:lnTo>
                    <a:pt x="868109" y="541973"/>
                  </a:lnTo>
                  <a:lnTo>
                    <a:pt x="865727" y="535877"/>
                  </a:lnTo>
                  <a:lnTo>
                    <a:pt x="859250" y="535019"/>
                  </a:lnTo>
                  <a:lnTo>
                    <a:pt x="859060" y="533495"/>
                  </a:lnTo>
                  <a:lnTo>
                    <a:pt x="863918" y="534448"/>
                  </a:lnTo>
                  <a:lnTo>
                    <a:pt x="852869" y="523018"/>
                  </a:lnTo>
                  <a:lnTo>
                    <a:pt x="857441" y="520827"/>
                  </a:lnTo>
                  <a:lnTo>
                    <a:pt x="860012" y="515684"/>
                  </a:lnTo>
                  <a:lnTo>
                    <a:pt x="850297" y="515303"/>
                  </a:lnTo>
                  <a:lnTo>
                    <a:pt x="843153" y="509873"/>
                  </a:lnTo>
                  <a:lnTo>
                    <a:pt x="853631" y="490919"/>
                  </a:lnTo>
                  <a:lnTo>
                    <a:pt x="851440" y="486347"/>
                  </a:lnTo>
                  <a:lnTo>
                    <a:pt x="858107" y="475869"/>
                  </a:lnTo>
                  <a:lnTo>
                    <a:pt x="863822" y="470345"/>
                  </a:lnTo>
                  <a:lnTo>
                    <a:pt x="855155" y="465011"/>
                  </a:lnTo>
                  <a:lnTo>
                    <a:pt x="854297" y="458724"/>
                  </a:lnTo>
                  <a:lnTo>
                    <a:pt x="850106" y="451199"/>
                  </a:lnTo>
                  <a:lnTo>
                    <a:pt x="839629" y="444532"/>
                  </a:lnTo>
                  <a:lnTo>
                    <a:pt x="839438" y="442913"/>
                  </a:lnTo>
                  <a:lnTo>
                    <a:pt x="844582" y="432721"/>
                  </a:lnTo>
                  <a:lnTo>
                    <a:pt x="851630" y="425387"/>
                  </a:lnTo>
                  <a:lnTo>
                    <a:pt x="844582" y="419862"/>
                  </a:lnTo>
                  <a:lnTo>
                    <a:pt x="838200" y="395002"/>
                  </a:lnTo>
                  <a:lnTo>
                    <a:pt x="836390" y="393668"/>
                  </a:lnTo>
                  <a:lnTo>
                    <a:pt x="835819" y="388906"/>
                  </a:lnTo>
                  <a:lnTo>
                    <a:pt x="839343" y="378809"/>
                  </a:lnTo>
                  <a:lnTo>
                    <a:pt x="837343" y="375857"/>
                  </a:lnTo>
                  <a:lnTo>
                    <a:pt x="838867" y="362807"/>
                  </a:lnTo>
                  <a:lnTo>
                    <a:pt x="831723" y="357378"/>
                  </a:lnTo>
                  <a:lnTo>
                    <a:pt x="832961" y="353949"/>
                  </a:lnTo>
                  <a:lnTo>
                    <a:pt x="840772" y="340138"/>
                  </a:lnTo>
                  <a:lnTo>
                    <a:pt x="842963" y="331851"/>
                  </a:lnTo>
                  <a:lnTo>
                    <a:pt x="838391" y="321183"/>
                  </a:lnTo>
                  <a:lnTo>
                    <a:pt x="822579" y="310420"/>
                  </a:lnTo>
                  <a:lnTo>
                    <a:pt x="818579" y="304514"/>
                  </a:lnTo>
                  <a:lnTo>
                    <a:pt x="817626" y="296609"/>
                  </a:lnTo>
                  <a:lnTo>
                    <a:pt x="817340" y="282226"/>
                  </a:lnTo>
                  <a:lnTo>
                    <a:pt x="808101" y="284988"/>
                  </a:lnTo>
                  <a:lnTo>
                    <a:pt x="799624" y="268415"/>
                  </a:lnTo>
                  <a:lnTo>
                    <a:pt x="791909" y="270986"/>
                  </a:lnTo>
                  <a:lnTo>
                    <a:pt x="778669" y="267843"/>
                  </a:lnTo>
                  <a:lnTo>
                    <a:pt x="774764" y="261938"/>
                  </a:lnTo>
                  <a:lnTo>
                    <a:pt x="767620" y="256508"/>
                  </a:lnTo>
                  <a:lnTo>
                    <a:pt x="759333" y="254318"/>
                  </a:lnTo>
                  <a:lnTo>
                    <a:pt x="757142" y="249746"/>
                  </a:lnTo>
                  <a:lnTo>
                    <a:pt x="750380" y="247460"/>
                  </a:lnTo>
                  <a:lnTo>
                    <a:pt x="745712" y="248031"/>
                  </a:lnTo>
                  <a:lnTo>
                    <a:pt x="741140" y="250222"/>
                  </a:lnTo>
                  <a:lnTo>
                    <a:pt x="729520" y="272510"/>
                  </a:lnTo>
                  <a:lnTo>
                    <a:pt x="718376" y="285179"/>
                  </a:lnTo>
                  <a:lnTo>
                    <a:pt x="713613" y="285750"/>
                  </a:lnTo>
                  <a:lnTo>
                    <a:pt x="710089" y="283083"/>
                  </a:lnTo>
                  <a:lnTo>
                    <a:pt x="706850" y="283464"/>
                  </a:lnTo>
                  <a:lnTo>
                    <a:pt x="703136" y="279083"/>
                  </a:lnTo>
                  <a:lnTo>
                    <a:pt x="705898" y="275558"/>
                  </a:lnTo>
                  <a:lnTo>
                    <a:pt x="705517" y="272415"/>
                  </a:lnTo>
                  <a:lnTo>
                    <a:pt x="706660" y="269081"/>
                  </a:lnTo>
                  <a:lnTo>
                    <a:pt x="704660" y="266129"/>
                  </a:lnTo>
                  <a:lnTo>
                    <a:pt x="704279" y="262890"/>
                  </a:lnTo>
                  <a:lnTo>
                    <a:pt x="699897" y="253841"/>
                  </a:lnTo>
                  <a:lnTo>
                    <a:pt x="705803" y="249936"/>
                  </a:lnTo>
                  <a:lnTo>
                    <a:pt x="703802" y="246983"/>
                  </a:lnTo>
                  <a:lnTo>
                    <a:pt x="706565" y="243364"/>
                  </a:lnTo>
                  <a:lnTo>
                    <a:pt x="702850" y="239078"/>
                  </a:lnTo>
                  <a:lnTo>
                    <a:pt x="706755" y="232124"/>
                  </a:lnTo>
                  <a:lnTo>
                    <a:pt x="704945" y="230791"/>
                  </a:lnTo>
                  <a:lnTo>
                    <a:pt x="701231" y="213646"/>
                  </a:lnTo>
                  <a:lnTo>
                    <a:pt x="695420" y="206312"/>
                  </a:lnTo>
                  <a:lnTo>
                    <a:pt x="691134" y="197263"/>
                  </a:lnTo>
                  <a:lnTo>
                    <a:pt x="689515" y="197453"/>
                  </a:lnTo>
                  <a:lnTo>
                    <a:pt x="686181" y="196310"/>
                  </a:lnTo>
                  <a:lnTo>
                    <a:pt x="684562" y="196501"/>
                  </a:lnTo>
                  <a:lnTo>
                    <a:pt x="684181" y="193358"/>
                  </a:lnTo>
                  <a:lnTo>
                    <a:pt x="682847" y="195072"/>
                  </a:lnTo>
                  <a:lnTo>
                    <a:pt x="680847" y="192119"/>
                  </a:lnTo>
                  <a:lnTo>
                    <a:pt x="674465" y="192977"/>
                  </a:lnTo>
                  <a:lnTo>
                    <a:pt x="674084" y="189833"/>
                  </a:lnTo>
                  <a:lnTo>
                    <a:pt x="672560" y="190024"/>
                  </a:lnTo>
                  <a:lnTo>
                    <a:pt x="665798" y="187643"/>
                  </a:lnTo>
                  <a:lnTo>
                    <a:pt x="660654" y="185071"/>
                  </a:lnTo>
                  <a:lnTo>
                    <a:pt x="649224" y="170498"/>
                  </a:lnTo>
                  <a:lnTo>
                    <a:pt x="648367" y="164211"/>
                  </a:lnTo>
                  <a:lnTo>
                    <a:pt x="640842" y="155543"/>
                  </a:lnTo>
                  <a:lnTo>
                    <a:pt x="638651" y="150971"/>
                  </a:lnTo>
                  <a:lnTo>
                    <a:pt x="635318" y="124206"/>
                  </a:lnTo>
                  <a:lnTo>
                    <a:pt x="631508" y="119824"/>
                  </a:lnTo>
                  <a:lnTo>
                    <a:pt x="633698" y="111538"/>
                  </a:lnTo>
                  <a:lnTo>
                    <a:pt x="632841" y="105251"/>
                  </a:lnTo>
                  <a:lnTo>
                    <a:pt x="634079" y="101918"/>
                  </a:lnTo>
                  <a:lnTo>
                    <a:pt x="638366" y="98108"/>
                  </a:lnTo>
                  <a:lnTo>
                    <a:pt x="639509" y="94774"/>
                  </a:lnTo>
                  <a:lnTo>
                    <a:pt x="646843" y="89059"/>
                  </a:lnTo>
                  <a:lnTo>
                    <a:pt x="647605" y="82487"/>
                  </a:lnTo>
                  <a:lnTo>
                    <a:pt x="643223" y="73438"/>
                  </a:lnTo>
                  <a:lnTo>
                    <a:pt x="636556" y="71057"/>
                  </a:lnTo>
                  <a:lnTo>
                    <a:pt x="638270" y="59626"/>
                  </a:lnTo>
                  <a:lnTo>
                    <a:pt x="637318" y="51721"/>
                  </a:lnTo>
                  <a:lnTo>
                    <a:pt x="622459" y="48863"/>
                  </a:lnTo>
                  <a:lnTo>
                    <a:pt x="619316" y="49244"/>
                  </a:lnTo>
                  <a:lnTo>
                    <a:pt x="617982" y="51054"/>
                  </a:lnTo>
                  <a:lnTo>
                    <a:pt x="612172" y="43720"/>
                  </a:lnTo>
                  <a:lnTo>
                    <a:pt x="615125" y="41720"/>
                  </a:lnTo>
                  <a:lnTo>
                    <a:pt x="613124" y="38767"/>
                  </a:lnTo>
                  <a:lnTo>
                    <a:pt x="610743" y="32671"/>
                  </a:lnTo>
                  <a:lnTo>
                    <a:pt x="613696" y="30670"/>
                  </a:lnTo>
                  <a:lnTo>
                    <a:pt x="611981" y="29337"/>
                  </a:lnTo>
                  <a:lnTo>
                    <a:pt x="597980" y="32671"/>
                  </a:lnTo>
                  <a:lnTo>
                    <a:pt x="592074" y="36671"/>
                  </a:lnTo>
                  <a:lnTo>
                    <a:pt x="587121" y="35719"/>
                  </a:lnTo>
                  <a:lnTo>
                    <a:pt x="583025" y="41053"/>
                  </a:lnTo>
                  <a:lnTo>
                    <a:pt x="583787" y="47339"/>
                  </a:lnTo>
                  <a:lnTo>
                    <a:pt x="577691" y="49720"/>
                  </a:lnTo>
                  <a:lnTo>
                    <a:pt x="569024" y="44387"/>
                  </a:lnTo>
                  <a:lnTo>
                    <a:pt x="565595" y="43244"/>
                  </a:lnTo>
                  <a:lnTo>
                    <a:pt x="568547" y="41243"/>
                  </a:lnTo>
                  <a:lnTo>
                    <a:pt x="569309" y="34766"/>
                  </a:lnTo>
                  <a:lnTo>
                    <a:pt x="568928" y="31623"/>
                  </a:lnTo>
                  <a:lnTo>
                    <a:pt x="568547" y="15621"/>
                  </a:lnTo>
                  <a:lnTo>
                    <a:pt x="565499" y="4763"/>
                  </a:lnTo>
                  <a:lnTo>
                    <a:pt x="553498" y="11144"/>
                  </a:lnTo>
                  <a:lnTo>
                    <a:pt x="545592" y="12097"/>
                  </a:lnTo>
                  <a:lnTo>
                    <a:pt x="544830" y="18669"/>
                  </a:lnTo>
                  <a:lnTo>
                    <a:pt x="539591" y="27337"/>
                  </a:lnTo>
                  <a:lnTo>
                    <a:pt x="538734" y="33814"/>
                  </a:lnTo>
                  <a:lnTo>
                    <a:pt x="542163" y="35052"/>
                  </a:lnTo>
                  <a:lnTo>
                    <a:pt x="545687" y="37814"/>
                  </a:lnTo>
                  <a:lnTo>
                    <a:pt x="540734" y="36767"/>
                  </a:lnTo>
                  <a:lnTo>
                    <a:pt x="536258" y="38957"/>
                  </a:lnTo>
                  <a:lnTo>
                    <a:pt x="530924" y="34862"/>
                  </a:lnTo>
                  <a:lnTo>
                    <a:pt x="524542" y="35624"/>
                  </a:lnTo>
                  <a:lnTo>
                    <a:pt x="519875" y="36290"/>
                  </a:lnTo>
                  <a:lnTo>
                    <a:pt x="515684" y="28766"/>
                  </a:lnTo>
                  <a:lnTo>
                    <a:pt x="515112" y="24003"/>
                  </a:lnTo>
                  <a:lnTo>
                    <a:pt x="522161" y="16669"/>
                  </a:lnTo>
                  <a:lnTo>
                    <a:pt x="518351" y="12383"/>
                  </a:lnTo>
                  <a:lnTo>
                    <a:pt x="505397" y="10859"/>
                  </a:lnTo>
                  <a:lnTo>
                    <a:pt x="500634" y="11430"/>
                  </a:lnTo>
                  <a:lnTo>
                    <a:pt x="500063" y="6668"/>
                  </a:lnTo>
                  <a:lnTo>
                    <a:pt x="495110" y="5715"/>
                  </a:lnTo>
                  <a:lnTo>
                    <a:pt x="494729" y="2572"/>
                  </a:lnTo>
                  <a:lnTo>
                    <a:pt x="489585" y="0"/>
                  </a:lnTo>
                  <a:lnTo>
                    <a:pt x="487966" y="190"/>
                  </a:lnTo>
                  <a:lnTo>
                    <a:pt x="487775" y="11430"/>
                  </a:lnTo>
                  <a:lnTo>
                    <a:pt x="481679" y="13811"/>
                  </a:lnTo>
                  <a:lnTo>
                    <a:pt x="471869" y="11906"/>
                  </a:lnTo>
                  <a:lnTo>
                    <a:pt x="471392" y="8763"/>
                  </a:lnTo>
                  <a:lnTo>
                    <a:pt x="471202" y="7144"/>
                  </a:lnTo>
                  <a:lnTo>
                    <a:pt x="470630" y="2477"/>
                  </a:lnTo>
                  <a:lnTo>
                    <a:pt x="463868" y="95"/>
                  </a:lnTo>
                  <a:lnTo>
                    <a:pt x="459200" y="667"/>
                  </a:lnTo>
                  <a:lnTo>
                    <a:pt x="458438" y="7239"/>
                  </a:lnTo>
                  <a:lnTo>
                    <a:pt x="455200" y="7620"/>
                  </a:lnTo>
                  <a:lnTo>
                    <a:pt x="449485" y="13145"/>
                  </a:lnTo>
                  <a:lnTo>
                    <a:pt x="445008" y="15335"/>
                  </a:lnTo>
                  <a:lnTo>
                    <a:pt x="438436" y="14573"/>
                  </a:lnTo>
                  <a:lnTo>
                    <a:pt x="435959" y="19717"/>
                  </a:lnTo>
                  <a:lnTo>
                    <a:pt x="426911" y="36862"/>
                  </a:lnTo>
                  <a:lnTo>
                    <a:pt x="432245" y="40958"/>
                  </a:lnTo>
                  <a:lnTo>
                    <a:pt x="440150" y="52864"/>
                  </a:lnTo>
                  <a:lnTo>
                    <a:pt x="444246" y="47435"/>
                  </a:lnTo>
                  <a:lnTo>
                    <a:pt x="451771" y="43339"/>
                  </a:lnTo>
                  <a:lnTo>
                    <a:pt x="453581" y="44672"/>
                  </a:lnTo>
                  <a:lnTo>
                    <a:pt x="458534" y="58484"/>
                  </a:lnTo>
                  <a:lnTo>
                    <a:pt x="462725" y="66008"/>
                  </a:lnTo>
                  <a:lnTo>
                    <a:pt x="460915" y="64580"/>
                  </a:lnTo>
                  <a:lnTo>
                    <a:pt x="455200" y="70104"/>
                  </a:lnTo>
                  <a:lnTo>
                    <a:pt x="458534" y="84106"/>
                  </a:lnTo>
                  <a:lnTo>
                    <a:pt x="456248" y="90869"/>
                  </a:lnTo>
                  <a:lnTo>
                    <a:pt x="458248" y="93821"/>
                  </a:lnTo>
                  <a:lnTo>
                    <a:pt x="448723" y="107823"/>
                  </a:lnTo>
                  <a:lnTo>
                    <a:pt x="445770" y="109823"/>
                  </a:lnTo>
                  <a:lnTo>
                    <a:pt x="441674" y="115157"/>
                  </a:lnTo>
                  <a:lnTo>
                    <a:pt x="444056" y="121253"/>
                  </a:lnTo>
                  <a:lnTo>
                    <a:pt x="448056" y="127159"/>
                  </a:lnTo>
                  <a:lnTo>
                    <a:pt x="448818" y="133541"/>
                  </a:lnTo>
                  <a:lnTo>
                    <a:pt x="453581" y="132874"/>
                  </a:lnTo>
                  <a:lnTo>
                    <a:pt x="446437" y="140208"/>
                  </a:lnTo>
                  <a:lnTo>
                    <a:pt x="447294" y="146495"/>
                  </a:lnTo>
                  <a:lnTo>
                    <a:pt x="444532" y="150114"/>
                  </a:lnTo>
                  <a:lnTo>
                    <a:pt x="448056" y="152876"/>
                  </a:lnTo>
                  <a:lnTo>
                    <a:pt x="450056" y="168593"/>
                  </a:lnTo>
                  <a:lnTo>
                    <a:pt x="451104" y="176498"/>
                  </a:lnTo>
                  <a:lnTo>
                    <a:pt x="447961" y="176879"/>
                  </a:lnTo>
                  <a:lnTo>
                    <a:pt x="433578" y="177165"/>
                  </a:lnTo>
                  <a:lnTo>
                    <a:pt x="429387" y="182499"/>
                  </a:lnTo>
                  <a:lnTo>
                    <a:pt x="421481" y="183452"/>
                  </a:lnTo>
                  <a:lnTo>
                    <a:pt x="413195" y="181356"/>
                  </a:lnTo>
                  <a:lnTo>
                    <a:pt x="407670" y="175641"/>
                  </a:lnTo>
                  <a:lnTo>
                    <a:pt x="381000" y="167831"/>
                  </a:lnTo>
                  <a:lnTo>
                    <a:pt x="379095" y="177641"/>
                  </a:lnTo>
                  <a:lnTo>
                    <a:pt x="363093" y="165259"/>
                  </a:lnTo>
                  <a:lnTo>
                    <a:pt x="356711" y="166116"/>
                  </a:lnTo>
                  <a:lnTo>
                    <a:pt x="356140" y="174212"/>
                  </a:lnTo>
                  <a:lnTo>
                    <a:pt x="349853" y="174974"/>
                  </a:lnTo>
                  <a:lnTo>
                    <a:pt x="344900" y="174022"/>
                  </a:lnTo>
                  <a:lnTo>
                    <a:pt x="340233" y="174593"/>
                  </a:lnTo>
                  <a:lnTo>
                    <a:pt x="333280" y="170688"/>
                  </a:lnTo>
                  <a:lnTo>
                    <a:pt x="328803" y="172879"/>
                  </a:lnTo>
                  <a:lnTo>
                    <a:pt x="329184" y="176022"/>
                  </a:lnTo>
                  <a:lnTo>
                    <a:pt x="325660" y="186119"/>
                  </a:lnTo>
                  <a:lnTo>
                    <a:pt x="320326" y="194786"/>
                  </a:lnTo>
                  <a:lnTo>
                    <a:pt x="314420" y="211550"/>
                  </a:lnTo>
                  <a:lnTo>
                    <a:pt x="312896" y="224600"/>
                  </a:lnTo>
                  <a:lnTo>
                    <a:pt x="307181" y="230124"/>
                  </a:lnTo>
                  <a:lnTo>
                    <a:pt x="308324" y="226790"/>
                  </a:lnTo>
                  <a:lnTo>
                    <a:pt x="306610" y="225362"/>
                  </a:lnTo>
                  <a:lnTo>
                    <a:pt x="297752" y="231362"/>
                  </a:lnTo>
                  <a:lnTo>
                    <a:pt x="289655" y="230791"/>
                  </a:lnTo>
                  <a:lnTo>
                    <a:pt x="289179" y="227648"/>
                  </a:lnTo>
                  <a:lnTo>
                    <a:pt x="286036" y="228029"/>
                  </a:lnTo>
                  <a:lnTo>
                    <a:pt x="284131" y="225076"/>
                  </a:lnTo>
                  <a:lnTo>
                    <a:pt x="279178" y="224123"/>
                  </a:lnTo>
                  <a:lnTo>
                    <a:pt x="273844" y="219932"/>
                  </a:lnTo>
                  <a:lnTo>
                    <a:pt x="268891" y="218980"/>
                  </a:lnTo>
                  <a:lnTo>
                    <a:pt x="266319" y="224123"/>
                  </a:lnTo>
                  <a:lnTo>
                    <a:pt x="258604" y="226695"/>
                  </a:lnTo>
                  <a:lnTo>
                    <a:pt x="255270" y="225552"/>
                  </a:lnTo>
                  <a:lnTo>
                    <a:pt x="255080" y="223933"/>
                  </a:lnTo>
                  <a:lnTo>
                    <a:pt x="257270" y="215646"/>
                  </a:lnTo>
                  <a:lnTo>
                    <a:pt x="249746" y="206978"/>
                  </a:lnTo>
                  <a:lnTo>
                    <a:pt x="237077" y="208598"/>
                  </a:lnTo>
                  <a:lnTo>
                    <a:pt x="231743" y="204502"/>
                  </a:lnTo>
                  <a:lnTo>
                    <a:pt x="217742" y="194977"/>
                  </a:lnTo>
                  <a:lnTo>
                    <a:pt x="208407" y="197834"/>
                  </a:lnTo>
                  <a:lnTo>
                    <a:pt x="196215" y="189738"/>
                  </a:lnTo>
                  <a:lnTo>
                    <a:pt x="187738" y="186023"/>
                  </a:lnTo>
                  <a:lnTo>
                    <a:pt x="180213" y="202978"/>
                  </a:lnTo>
                  <a:lnTo>
                    <a:pt x="177260" y="204978"/>
                  </a:lnTo>
                  <a:lnTo>
                    <a:pt x="172593" y="205550"/>
                  </a:lnTo>
                  <a:lnTo>
                    <a:pt x="168212" y="209360"/>
                  </a:lnTo>
                  <a:lnTo>
                    <a:pt x="153448" y="206407"/>
                  </a:lnTo>
                  <a:lnTo>
                    <a:pt x="152210" y="209741"/>
                  </a:lnTo>
                  <a:lnTo>
                    <a:pt x="154781" y="217456"/>
                  </a:lnTo>
                  <a:lnTo>
                    <a:pt x="150495" y="221266"/>
                  </a:lnTo>
                  <a:lnTo>
                    <a:pt x="151448" y="229076"/>
                  </a:lnTo>
                  <a:lnTo>
                    <a:pt x="148971" y="234220"/>
                  </a:lnTo>
                  <a:lnTo>
                    <a:pt x="150114" y="243745"/>
                  </a:lnTo>
                  <a:lnTo>
                    <a:pt x="148019" y="252032"/>
                  </a:lnTo>
                  <a:lnTo>
                    <a:pt x="140303" y="254603"/>
                  </a:lnTo>
                  <a:lnTo>
                    <a:pt x="135541" y="255175"/>
                  </a:lnTo>
                  <a:lnTo>
                    <a:pt x="135350" y="253651"/>
                  </a:lnTo>
                  <a:lnTo>
                    <a:pt x="134398" y="258604"/>
                  </a:lnTo>
                  <a:lnTo>
                    <a:pt x="130683" y="254222"/>
                  </a:lnTo>
                  <a:lnTo>
                    <a:pt x="124301" y="255080"/>
                  </a:lnTo>
                  <a:lnTo>
                    <a:pt x="122301" y="252127"/>
                  </a:lnTo>
                  <a:lnTo>
                    <a:pt x="114014" y="249936"/>
                  </a:lnTo>
                  <a:lnTo>
                    <a:pt x="111633" y="243840"/>
                  </a:lnTo>
                  <a:lnTo>
                    <a:pt x="102965" y="238506"/>
                  </a:lnTo>
                  <a:lnTo>
                    <a:pt x="99822" y="238887"/>
                  </a:lnTo>
                  <a:lnTo>
                    <a:pt x="98393" y="240697"/>
                  </a:lnTo>
                  <a:lnTo>
                    <a:pt x="96679" y="239268"/>
                  </a:lnTo>
                  <a:lnTo>
                    <a:pt x="92107" y="241459"/>
                  </a:lnTo>
                  <a:lnTo>
                    <a:pt x="94869" y="237935"/>
                  </a:lnTo>
                  <a:lnTo>
                    <a:pt x="95822" y="232982"/>
                  </a:lnTo>
                  <a:lnTo>
                    <a:pt x="92678" y="233363"/>
                  </a:lnTo>
                  <a:lnTo>
                    <a:pt x="90964" y="232029"/>
                  </a:lnTo>
                  <a:lnTo>
                    <a:pt x="83249" y="234601"/>
                  </a:lnTo>
                  <a:lnTo>
                    <a:pt x="79058" y="239935"/>
                  </a:lnTo>
                  <a:lnTo>
                    <a:pt x="73533" y="234220"/>
                  </a:lnTo>
                  <a:lnTo>
                    <a:pt x="67437" y="236601"/>
                  </a:lnTo>
                  <a:lnTo>
                    <a:pt x="71247" y="240983"/>
                  </a:lnTo>
                  <a:lnTo>
                    <a:pt x="69818" y="242697"/>
                  </a:lnTo>
                  <a:lnTo>
                    <a:pt x="73152" y="243935"/>
                  </a:lnTo>
                  <a:lnTo>
                    <a:pt x="74581" y="242126"/>
                  </a:lnTo>
                  <a:lnTo>
                    <a:pt x="77915" y="243269"/>
                  </a:lnTo>
                  <a:lnTo>
                    <a:pt x="78296" y="246507"/>
                  </a:lnTo>
                  <a:lnTo>
                    <a:pt x="74771" y="243745"/>
                  </a:lnTo>
                  <a:lnTo>
                    <a:pt x="72200" y="248888"/>
                  </a:lnTo>
                  <a:lnTo>
                    <a:pt x="74009" y="250222"/>
                  </a:lnTo>
                  <a:lnTo>
                    <a:pt x="73057" y="255175"/>
                  </a:lnTo>
                  <a:lnTo>
                    <a:pt x="74771" y="256508"/>
                  </a:lnTo>
                  <a:lnTo>
                    <a:pt x="76391" y="256318"/>
                  </a:lnTo>
                  <a:lnTo>
                    <a:pt x="78200" y="257746"/>
                  </a:lnTo>
                  <a:lnTo>
                    <a:pt x="78391" y="259270"/>
                  </a:lnTo>
                  <a:lnTo>
                    <a:pt x="78581" y="260890"/>
                  </a:lnTo>
                  <a:lnTo>
                    <a:pt x="72676" y="264795"/>
                  </a:lnTo>
                  <a:lnTo>
                    <a:pt x="71438" y="268224"/>
                  </a:lnTo>
                  <a:lnTo>
                    <a:pt x="77057" y="273844"/>
                  </a:lnTo>
                  <a:lnTo>
                    <a:pt x="71723" y="282607"/>
                  </a:lnTo>
                  <a:lnTo>
                    <a:pt x="66580" y="280035"/>
                  </a:lnTo>
                  <a:lnTo>
                    <a:pt x="61817" y="280607"/>
                  </a:lnTo>
                  <a:lnTo>
                    <a:pt x="62008" y="282226"/>
                  </a:lnTo>
                  <a:lnTo>
                    <a:pt x="56483" y="289370"/>
                  </a:lnTo>
                  <a:lnTo>
                    <a:pt x="54959" y="302324"/>
                  </a:lnTo>
                  <a:lnTo>
                    <a:pt x="54007" y="307277"/>
                  </a:lnTo>
                  <a:lnTo>
                    <a:pt x="51054" y="309277"/>
                  </a:lnTo>
                  <a:lnTo>
                    <a:pt x="50292" y="315754"/>
                  </a:lnTo>
                  <a:lnTo>
                    <a:pt x="59150" y="322707"/>
                  </a:lnTo>
                  <a:lnTo>
                    <a:pt x="56388" y="326231"/>
                  </a:lnTo>
                  <a:lnTo>
                    <a:pt x="50102" y="326993"/>
                  </a:lnTo>
                  <a:lnTo>
                    <a:pt x="48482" y="327279"/>
                  </a:lnTo>
                  <a:lnTo>
                    <a:pt x="49721" y="323850"/>
                  </a:lnTo>
                  <a:lnTo>
                    <a:pt x="47339" y="317754"/>
                  </a:lnTo>
                  <a:lnTo>
                    <a:pt x="44768" y="322898"/>
                  </a:lnTo>
                  <a:lnTo>
                    <a:pt x="44958" y="324517"/>
                  </a:lnTo>
                  <a:lnTo>
                    <a:pt x="41243" y="332994"/>
                  </a:lnTo>
                  <a:lnTo>
                    <a:pt x="32195" y="337376"/>
                  </a:lnTo>
                  <a:lnTo>
                    <a:pt x="22860" y="340138"/>
                  </a:lnTo>
                  <a:lnTo>
                    <a:pt x="18955" y="346996"/>
                  </a:lnTo>
                  <a:lnTo>
                    <a:pt x="19812" y="353378"/>
                  </a:lnTo>
                  <a:lnTo>
                    <a:pt x="15621" y="358712"/>
                  </a:lnTo>
                  <a:lnTo>
                    <a:pt x="15050" y="366808"/>
                  </a:lnTo>
                  <a:lnTo>
                    <a:pt x="22003" y="370713"/>
                  </a:lnTo>
                  <a:lnTo>
                    <a:pt x="22574" y="375476"/>
                  </a:lnTo>
                  <a:lnTo>
                    <a:pt x="8192" y="388525"/>
                  </a:lnTo>
                  <a:lnTo>
                    <a:pt x="6477" y="387096"/>
                  </a:lnTo>
                  <a:lnTo>
                    <a:pt x="191" y="400717"/>
                  </a:lnTo>
                  <a:lnTo>
                    <a:pt x="0" y="412052"/>
                  </a:lnTo>
                  <a:lnTo>
                    <a:pt x="4953" y="413004"/>
                  </a:lnTo>
                  <a:lnTo>
                    <a:pt x="9620" y="412337"/>
                  </a:lnTo>
                  <a:lnTo>
                    <a:pt x="11240" y="412147"/>
                  </a:lnTo>
                  <a:lnTo>
                    <a:pt x="10478" y="418719"/>
                  </a:lnTo>
                  <a:lnTo>
                    <a:pt x="10859" y="421862"/>
                  </a:lnTo>
                  <a:lnTo>
                    <a:pt x="11049" y="423386"/>
                  </a:lnTo>
                  <a:lnTo>
                    <a:pt x="13811" y="432721"/>
                  </a:lnTo>
                  <a:lnTo>
                    <a:pt x="14288" y="435864"/>
                  </a:lnTo>
                  <a:lnTo>
                    <a:pt x="10763" y="445961"/>
                  </a:lnTo>
                  <a:lnTo>
                    <a:pt x="17812" y="451390"/>
                  </a:lnTo>
                  <a:lnTo>
                    <a:pt x="16478" y="453200"/>
                  </a:lnTo>
                  <a:lnTo>
                    <a:pt x="16859" y="456343"/>
                  </a:lnTo>
                  <a:lnTo>
                    <a:pt x="24003" y="461867"/>
                  </a:lnTo>
                  <a:lnTo>
                    <a:pt x="26956" y="472726"/>
                  </a:lnTo>
                  <a:lnTo>
                    <a:pt x="24384" y="477869"/>
                  </a:lnTo>
                  <a:lnTo>
                    <a:pt x="29337" y="478822"/>
                  </a:lnTo>
                  <a:lnTo>
                    <a:pt x="33338" y="484727"/>
                  </a:lnTo>
                  <a:lnTo>
                    <a:pt x="32099" y="488061"/>
                  </a:lnTo>
                  <a:lnTo>
                    <a:pt x="42196" y="491585"/>
                  </a:lnTo>
                  <a:lnTo>
                    <a:pt x="41434" y="498158"/>
                  </a:lnTo>
                  <a:lnTo>
                    <a:pt x="43053" y="497967"/>
                  </a:lnTo>
                  <a:lnTo>
                    <a:pt x="41624" y="499682"/>
                  </a:lnTo>
                  <a:lnTo>
                    <a:pt x="44768" y="499301"/>
                  </a:lnTo>
                  <a:lnTo>
                    <a:pt x="46006" y="508826"/>
                  </a:lnTo>
                  <a:lnTo>
                    <a:pt x="47625" y="508540"/>
                  </a:lnTo>
                  <a:lnTo>
                    <a:pt x="48006" y="511778"/>
                  </a:lnTo>
                  <a:lnTo>
                    <a:pt x="50006" y="514731"/>
                  </a:lnTo>
                  <a:lnTo>
                    <a:pt x="51149" y="524161"/>
                  </a:lnTo>
                  <a:lnTo>
                    <a:pt x="50006" y="527495"/>
                  </a:lnTo>
                  <a:lnTo>
                    <a:pt x="56864" y="531400"/>
                  </a:lnTo>
                  <a:lnTo>
                    <a:pt x="59531" y="539115"/>
                  </a:lnTo>
                  <a:lnTo>
                    <a:pt x="61055" y="538925"/>
                  </a:lnTo>
                  <a:lnTo>
                    <a:pt x="59722" y="540734"/>
                  </a:lnTo>
                  <a:lnTo>
                    <a:pt x="62865" y="540353"/>
                  </a:lnTo>
                  <a:lnTo>
                    <a:pt x="61627" y="543687"/>
                  </a:lnTo>
                  <a:lnTo>
                    <a:pt x="63437" y="545021"/>
                  </a:lnTo>
                  <a:lnTo>
                    <a:pt x="62103" y="546830"/>
                  </a:lnTo>
                  <a:lnTo>
                    <a:pt x="63627" y="546640"/>
                  </a:lnTo>
                  <a:lnTo>
                    <a:pt x="65246" y="546449"/>
                  </a:lnTo>
                  <a:lnTo>
                    <a:pt x="65437" y="547973"/>
                  </a:lnTo>
                  <a:lnTo>
                    <a:pt x="64484" y="552926"/>
                  </a:lnTo>
                  <a:lnTo>
                    <a:pt x="66389" y="555879"/>
                  </a:lnTo>
                  <a:lnTo>
                    <a:pt x="67818" y="554069"/>
                  </a:lnTo>
                  <a:lnTo>
                    <a:pt x="67056" y="560642"/>
                  </a:lnTo>
                  <a:lnTo>
                    <a:pt x="75343" y="562737"/>
                  </a:lnTo>
                  <a:lnTo>
                    <a:pt x="76676" y="561023"/>
                  </a:lnTo>
                  <a:lnTo>
                    <a:pt x="76867" y="562547"/>
                  </a:lnTo>
                  <a:lnTo>
                    <a:pt x="76867" y="562547"/>
                  </a:lnTo>
                  <a:lnTo>
                    <a:pt x="78677" y="563975"/>
                  </a:lnTo>
                  <a:lnTo>
                    <a:pt x="78486" y="562356"/>
                  </a:lnTo>
                  <a:lnTo>
                    <a:pt x="83439" y="563309"/>
                  </a:lnTo>
                  <a:lnTo>
                    <a:pt x="86582" y="562928"/>
                  </a:lnTo>
                  <a:lnTo>
                    <a:pt x="86773" y="564547"/>
                  </a:lnTo>
                  <a:lnTo>
                    <a:pt x="85439" y="566261"/>
                  </a:lnTo>
                  <a:lnTo>
                    <a:pt x="90297" y="567309"/>
                  </a:lnTo>
                  <a:lnTo>
                    <a:pt x="89726" y="575405"/>
                  </a:lnTo>
                  <a:lnTo>
                    <a:pt x="93155" y="576548"/>
                  </a:lnTo>
                  <a:lnTo>
                    <a:pt x="95345" y="581120"/>
                  </a:lnTo>
                  <a:lnTo>
                    <a:pt x="97917" y="588740"/>
                  </a:lnTo>
                  <a:lnTo>
                    <a:pt x="99441" y="588550"/>
                  </a:lnTo>
                  <a:lnTo>
                    <a:pt x="98679" y="595122"/>
                  </a:lnTo>
                  <a:lnTo>
                    <a:pt x="105251" y="595884"/>
                  </a:lnTo>
                  <a:lnTo>
                    <a:pt x="103823" y="597599"/>
                  </a:lnTo>
                  <a:lnTo>
                    <a:pt x="107633" y="601980"/>
                  </a:lnTo>
                  <a:lnTo>
                    <a:pt x="109919" y="595217"/>
                  </a:lnTo>
                  <a:lnTo>
                    <a:pt x="108204" y="593884"/>
                  </a:lnTo>
                  <a:lnTo>
                    <a:pt x="113252" y="583597"/>
                  </a:lnTo>
                  <a:lnTo>
                    <a:pt x="124301" y="582168"/>
                  </a:lnTo>
                  <a:lnTo>
                    <a:pt x="121349" y="584168"/>
                  </a:lnTo>
                  <a:lnTo>
                    <a:pt x="125159" y="588550"/>
                  </a:lnTo>
                  <a:lnTo>
                    <a:pt x="127730" y="596170"/>
                  </a:lnTo>
                  <a:lnTo>
                    <a:pt x="129445" y="597599"/>
                  </a:lnTo>
                  <a:lnTo>
                    <a:pt x="137732" y="599694"/>
                  </a:lnTo>
                  <a:lnTo>
                    <a:pt x="142494" y="599123"/>
                  </a:lnTo>
                  <a:lnTo>
                    <a:pt x="145256" y="595598"/>
                  </a:lnTo>
                  <a:lnTo>
                    <a:pt x="139732" y="589883"/>
                  </a:lnTo>
                  <a:lnTo>
                    <a:pt x="139541" y="588264"/>
                  </a:lnTo>
                  <a:lnTo>
                    <a:pt x="149162" y="588645"/>
                  </a:lnTo>
                  <a:lnTo>
                    <a:pt x="150590" y="586835"/>
                  </a:lnTo>
                  <a:lnTo>
                    <a:pt x="153162" y="581692"/>
                  </a:lnTo>
                  <a:lnTo>
                    <a:pt x="159639" y="582549"/>
                  </a:lnTo>
                  <a:lnTo>
                    <a:pt x="161258" y="582263"/>
                  </a:lnTo>
                  <a:lnTo>
                    <a:pt x="161449" y="583883"/>
                  </a:lnTo>
                  <a:lnTo>
                    <a:pt x="160020" y="585692"/>
                  </a:lnTo>
                  <a:lnTo>
                    <a:pt x="160687" y="590360"/>
                  </a:lnTo>
                  <a:lnTo>
                    <a:pt x="159258" y="592169"/>
                  </a:lnTo>
                  <a:lnTo>
                    <a:pt x="164783" y="597884"/>
                  </a:lnTo>
                  <a:lnTo>
                    <a:pt x="163068" y="596551"/>
                  </a:lnTo>
                  <a:lnTo>
                    <a:pt x="160306" y="600075"/>
                  </a:lnTo>
                  <a:lnTo>
                    <a:pt x="159258" y="605028"/>
                  </a:lnTo>
                  <a:lnTo>
                    <a:pt x="161068" y="606362"/>
                  </a:lnTo>
                  <a:lnTo>
                    <a:pt x="162497" y="617411"/>
                  </a:lnTo>
                  <a:lnTo>
                    <a:pt x="168021" y="623126"/>
                  </a:lnTo>
                  <a:lnTo>
                    <a:pt x="169640" y="622935"/>
                  </a:lnTo>
                  <a:lnTo>
                    <a:pt x="170593" y="617982"/>
                  </a:lnTo>
                  <a:lnTo>
                    <a:pt x="172593" y="620935"/>
                  </a:lnTo>
                  <a:lnTo>
                    <a:pt x="173927" y="619220"/>
                  </a:lnTo>
                  <a:lnTo>
                    <a:pt x="174117" y="620744"/>
                  </a:lnTo>
                  <a:lnTo>
                    <a:pt x="177260" y="620363"/>
                  </a:lnTo>
                  <a:lnTo>
                    <a:pt x="175927" y="622173"/>
                  </a:lnTo>
                  <a:lnTo>
                    <a:pt x="175927" y="622173"/>
                  </a:lnTo>
                  <a:lnTo>
                    <a:pt x="181070" y="624650"/>
                  </a:lnTo>
                  <a:lnTo>
                    <a:pt x="183071" y="627602"/>
                  </a:lnTo>
                  <a:lnTo>
                    <a:pt x="185738" y="624078"/>
                  </a:lnTo>
                  <a:lnTo>
                    <a:pt x="183642" y="619506"/>
                  </a:lnTo>
                  <a:lnTo>
                    <a:pt x="187738" y="614172"/>
                  </a:lnTo>
                  <a:lnTo>
                    <a:pt x="188119" y="617411"/>
                  </a:lnTo>
                  <a:lnTo>
                    <a:pt x="194691" y="618173"/>
                  </a:lnTo>
                  <a:lnTo>
                    <a:pt x="196215" y="617982"/>
                  </a:lnTo>
                  <a:lnTo>
                    <a:pt x="196977" y="611410"/>
                  </a:lnTo>
                  <a:lnTo>
                    <a:pt x="201930" y="612362"/>
                  </a:lnTo>
                  <a:lnTo>
                    <a:pt x="204121" y="616934"/>
                  </a:lnTo>
                  <a:lnTo>
                    <a:pt x="209074" y="617887"/>
                  </a:lnTo>
                  <a:lnTo>
                    <a:pt x="208407" y="613220"/>
                  </a:lnTo>
                  <a:lnTo>
                    <a:pt x="209836" y="611410"/>
                  </a:lnTo>
                  <a:lnTo>
                    <a:pt x="221266" y="613124"/>
                  </a:lnTo>
                  <a:lnTo>
                    <a:pt x="227552" y="612362"/>
                  </a:lnTo>
                  <a:lnTo>
                    <a:pt x="227362" y="610743"/>
                  </a:lnTo>
                  <a:lnTo>
                    <a:pt x="237839" y="617411"/>
                  </a:lnTo>
                  <a:lnTo>
                    <a:pt x="237839" y="617411"/>
                  </a:lnTo>
                  <a:lnTo>
                    <a:pt x="239268" y="615696"/>
                  </a:lnTo>
                  <a:lnTo>
                    <a:pt x="236220" y="604838"/>
                  </a:lnTo>
                  <a:lnTo>
                    <a:pt x="242316" y="602456"/>
                  </a:lnTo>
                  <a:lnTo>
                    <a:pt x="242126" y="600837"/>
                  </a:lnTo>
                  <a:lnTo>
                    <a:pt x="251841" y="601218"/>
                  </a:lnTo>
                  <a:lnTo>
                    <a:pt x="254603" y="597694"/>
                  </a:lnTo>
                  <a:lnTo>
                    <a:pt x="257937" y="598837"/>
                  </a:lnTo>
                  <a:lnTo>
                    <a:pt x="261652" y="577501"/>
                  </a:lnTo>
                  <a:lnTo>
                    <a:pt x="261271" y="574358"/>
                  </a:lnTo>
                  <a:lnTo>
                    <a:pt x="280988" y="578263"/>
                  </a:lnTo>
                  <a:lnTo>
                    <a:pt x="282131" y="574929"/>
                  </a:lnTo>
                  <a:lnTo>
                    <a:pt x="284131" y="565023"/>
                  </a:lnTo>
                  <a:lnTo>
                    <a:pt x="278130" y="543401"/>
                  </a:lnTo>
                  <a:lnTo>
                    <a:pt x="278321" y="532067"/>
                  </a:lnTo>
                  <a:lnTo>
                    <a:pt x="312896" y="538925"/>
                  </a:lnTo>
                  <a:lnTo>
                    <a:pt x="332232" y="552450"/>
                  </a:lnTo>
                  <a:lnTo>
                    <a:pt x="346424" y="537877"/>
                  </a:lnTo>
                  <a:lnTo>
                    <a:pt x="349568" y="537496"/>
                  </a:lnTo>
                  <a:lnTo>
                    <a:pt x="352330" y="533876"/>
                  </a:lnTo>
                  <a:lnTo>
                    <a:pt x="353473" y="530543"/>
                  </a:lnTo>
                  <a:lnTo>
                    <a:pt x="351473" y="527590"/>
                  </a:lnTo>
                  <a:lnTo>
                    <a:pt x="346139" y="523494"/>
                  </a:lnTo>
                  <a:lnTo>
                    <a:pt x="347091" y="518541"/>
                  </a:lnTo>
                  <a:lnTo>
                    <a:pt x="345186" y="515588"/>
                  </a:lnTo>
                  <a:lnTo>
                    <a:pt x="357569" y="512350"/>
                  </a:lnTo>
                  <a:lnTo>
                    <a:pt x="357378" y="510826"/>
                  </a:lnTo>
                  <a:lnTo>
                    <a:pt x="364903" y="506635"/>
                  </a:lnTo>
                  <a:lnTo>
                    <a:pt x="369570" y="506063"/>
                  </a:lnTo>
                  <a:lnTo>
                    <a:pt x="372713" y="505587"/>
                  </a:lnTo>
                  <a:lnTo>
                    <a:pt x="375476" y="502063"/>
                  </a:lnTo>
                  <a:lnTo>
                    <a:pt x="376142" y="506825"/>
                  </a:lnTo>
                  <a:lnTo>
                    <a:pt x="381857" y="501301"/>
                  </a:lnTo>
                  <a:lnTo>
                    <a:pt x="387953" y="498920"/>
                  </a:lnTo>
                  <a:lnTo>
                    <a:pt x="383572" y="489871"/>
                  </a:lnTo>
                  <a:lnTo>
                    <a:pt x="385191" y="489585"/>
                  </a:lnTo>
                  <a:lnTo>
                    <a:pt x="380810" y="480536"/>
                  </a:lnTo>
                  <a:lnTo>
                    <a:pt x="377666" y="480917"/>
                  </a:lnTo>
                  <a:lnTo>
                    <a:pt x="383762" y="478536"/>
                  </a:lnTo>
                  <a:lnTo>
                    <a:pt x="385096" y="476822"/>
                  </a:lnTo>
                  <a:lnTo>
                    <a:pt x="388430" y="477965"/>
                  </a:lnTo>
                  <a:lnTo>
                    <a:pt x="388239" y="476441"/>
                  </a:lnTo>
                  <a:lnTo>
                    <a:pt x="391478" y="475964"/>
                  </a:lnTo>
                  <a:lnTo>
                    <a:pt x="393192" y="477393"/>
                  </a:lnTo>
                  <a:lnTo>
                    <a:pt x="386620" y="463772"/>
                  </a:lnTo>
                  <a:lnTo>
                    <a:pt x="391192" y="461582"/>
                  </a:lnTo>
                  <a:lnTo>
                    <a:pt x="404241" y="463106"/>
                  </a:lnTo>
                  <a:lnTo>
                    <a:pt x="402812" y="464915"/>
                  </a:lnTo>
                  <a:lnTo>
                    <a:pt x="405194" y="471011"/>
                  </a:lnTo>
                  <a:lnTo>
                    <a:pt x="402241" y="473012"/>
                  </a:lnTo>
                  <a:lnTo>
                    <a:pt x="404241" y="475964"/>
                  </a:lnTo>
                  <a:lnTo>
                    <a:pt x="407384" y="475583"/>
                  </a:lnTo>
                  <a:lnTo>
                    <a:pt x="411004" y="478346"/>
                  </a:lnTo>
                  <a:lnTo>
                    <a:pt x="410528" y="475202"/>
                  </a:lnTo>
                  <a:lnTo>
                    <a:pt x="415481" y="476155"/>
                  </a:lnTo>
                  <a:lnTo>
                    <a:pt x="419862" y="485204"/>
                  </a:lnTo>
                  <a:lnTo>
                    <a:pt x="415100" y="485775"/>
                  </a:lnTo>
                  <a:lnTo>
                    <a:pt x="418529" y="487013"/>
                  </a:lnTo>
                  <a:lnTo>
                    <a:pt x="420434" y="489966"/>
                  </a:lnTo>
                  <a:lnTo>
                    <a:pt x="425196" y="489299"/>
                  </a:lnTo>
                  <a:lnTo>
                    <a:pt x="428720" y="492062"/>
                  </a:lnTo>
                  <a:lnTo>
                    <a:pt x="427958" y="485775"/>
                  </a:lnTo>
                  <a:lnTo>
                    <a:pt x="432721" y="485204"/>
                  </a:lnTo>
                  <a:lnTo>
                    <a:pt x="433483" y="478631"/>
                  </a:lnTo>
                  <a:lnTo>
                    <a:pt x="434816" y="476917"/>
                  </a:lnTo>
                  <a:lnTo>
                    <a:pt x="438245" y="478060"/>
                  </a:lnTo>
                  <a:lnTo>
                    <a:pt x="435293" y="480060"/>
                  </a:lnTo>
                  <a:lnTo>
                    <a:pt x="437007" y="481394"/>
                  </a:lnTo>
                  <a:lnTo>
                    <a:pt x="440150" y="481013"/>
                  </a:lnTo>
                  <a:lnTo>
                    <a:pt x="442151" y="483965"/>
                  </a:lnTo>
                  <a:lnTo>
                    <a:pt x="446913" y="483394"/>
                  </a:lnTo>
                  <a:lnTo>
                    <a:pt x="450056" y="482918"/>
                  </a:lnTo>
                  <a:lnTo>
                    <a:pt x="455962" y="479012"/>
                  </a:lnTo>
                  <a:lnTo>
                    <a:pt x="456343" y="482156"/>
                  </a:lnTo>
                  <a:lnTo>
                    <a:pt x="455200" y="485489"/>
                  </a:lnTo>
                  <a:lnTo>
                    <a:pt x="457010" y="486918"/>
                  </a:lnTo>
                  <a:lnTo>
                    <a:pt x="463487" y="500444"/>
                  </a:lnTo>
                  <a:lnTo>
                    <a:pt x="465106" y="500253"/>
                  </a:lnTo>
                  <a:lnTo>
                    <a:pt x="466630" y="500063"/>
                  </a:lnTo>
                  <a:lnTo>
                    <a:pt x="471773" y="502634"/>
                  </a:lnTo>
                  <a:lnTo>
                    <a:pt x="472631" y="508921"/>
                  </a:lnTo>
                  <a:lnTo>
                    <a:pt x="473964" y="507206"/>
                  </a:lnTo>
                  <a:lnTo>
                    <a:pt x="477107" y="506730"/>
                  </a:lnTo>
                  <a:lnTo>
                    <a:pt x="477298" y="508349"/>
                  </a:lnTo>
                  <a:lnTo>
                    <a:pt x="476345" y="513302"/>
                  </a:lnTo>
                  <a:lnTo>
                    <a:pt x="480155" y="517589"/>
                  </a:lnTo>
                  <a:lnTo>
                    <a:pt x="479108" y="522542"/>
                  </a:lnTo>
                  <a:lnTo>
                    <a:pt x="483489" y="518827"/>
                  </a:lnTo>
                  <a:lnTo>
                    <a:pt x="485299" y="520160"/>
                  </a:lnTo>
                  <a:lnTo>
                    <a:pt x="489776" y="517970"/>
                  </a:lnTo>
                  <a:lnTo>
                    <a:pt x="494538" y="517398"/>
                  </a:lnTo>
                  <a:lnTo>
                    <a:pt x="494538" y="517398"/>
                  </a:lnTo>
                  <a:lnTo>
                    <a:pt x="498729" y="524828"/>
                  </a:lnTo>
                  <a:lnTo>
                    <a:pt x="503873" y="527399"/>
                  </a:lnTo>
                  <a:lnTo>
                    <a:pt x="502634" y="530828"/>
                  </a:lnTo>
                  <a:lnTo>
                    <a:pt x="507397" y="530162"/>
                  </a:lnTo>
                  <a:lnTo>
                    <a:pt x="516255" y="537020"/>
                  </a:lnTo>
                  <a:lnTo>
                    <a:pt x="513493" y="540639"/>
                  </a:lnTo>
                  <a:lnTo>
                    <a:pt x="513683" y="542163"/>
                  </a:lnTo>
                  <a:lnTo>
                    <a:pt x="516731" y="540258"/>
                  </a:lnTo>
                  <a:lnTo>
                    <a:pt x="515684" y="545116"/>
                  </a:lnTo>
                  <a:lnTo>
                    <a:pt x="519113" y="559118"/>
                  </a:lnTo>
                  <a:lnTo>
                    <a:pt x="520922" y="560546"/>
                  </a:lnTo>
                  <a:lnTo>
                    <a:pt x="522827" y="563499"/>
                  </a:lnTo>
                  <a:lnTo>
                    <a:pt x="530543" y="560927"/>
                  </a:lnTo>
                  <a:lnTo>
                    <a:pt x="530924" y="564071"/>
                  </a:lnTo>
                  <a:lnTo>
                    <a:pt x="532543" y="563880"/>
                  </a:lnTo>
                  <a:lnTo>
                    <a:pt x="532733" y="565404"/>
                  </a:lnTo>
                  <a:lnTo>
                    <a:pt x="537305" y="563309"/>
                  </a:lnTo>
                  <a:lnTo>
                    <a:pt x="542163" y="564261"/>
                  </a:lnTo>
                  <a:lnTo>
                    <a:pt x="547497" y="568357"/>
                  </a:lnTo>
                  <a:lnTo>
                    <a:pt x="546164" y="570167"/>
                  </a:lnTo>
                  <a:lnTo>
                    <a:pt x="547783" y="569976"/>
                  </a:lnTo>
                  <a:lnTo>
                    <a:pt x="548164" y="573119"/>
                  </a:lnTo>
                  <a:lnTo>
                    <a:pt x="551307" y="572738"/>
                  </a:lnTo>
                  <a:lnTo>
                    <a:pt x="553307" y="575691"/>
                  </a:lnTo>
                  <a:lnTo>
                    <a:pt x="553879" y="580358"/>
                  </a:lnTo>
                  <a:lnTo>
                    <a:pt x="558832" y="581406"/>
                  </a:lnTo>
                  <a:lnTo>
                    <a:pt x="560165" y="579596"/>
                  </a:lnTo>
                  <a:lnTo>
                    <a:pt x="572262" y="586073"/>
                  </a:lnTo>
                  <a:lnTo>
                    <a:pt x="575786" y="588836"/>
                  </a:lnTo>
                  <a:lnTo>
                    <a:pt x="579596" y="593122"/>
                  </a:lnTo>
                  <a:lnTo>
                    <a:pt x="587883" y="595313"/>
                  </a:lnTo>
                  <a:lnTo>
                    <a:pt x="596360" y="599027"/>
                  </a:lnTo>
                  <a:lnTo>
                    <a:pt x="605409" y="607505"/>
                  </a:lnTo>
                  <a:lnTo>
                    <a:pt x="609981" y="605314"/>
                  </a:lnTo>
                  <a:lnTo>
                    <a:pt x="613124" y="604933"/>
                  </a:lnTo>
                  <a:lnTo>
                    <a:pt x="617887" y="604266"/>
                  </a:lnTo>
                  <a:lnTo>
                    <a:pt x="617506" y="601123"/>
                  </a:lnTo>
                  <a:lnTo>
                    <a:pt x="618268" y="594646"/>
                  </a:lnTo>
                  <a:lnTo>
                    <a:pt x="616268" y="591693"/>
                  </a:lnTo>
                  <a:lnTo>
                    <a:pt x="621221" y="592646"/>
                  </a:lnTo>
                  <a:lnTo>
                    <a:pt x="620363" y="586359"/>
                  </a:lnTo>
                  <a:lnTo>
                    <a:pt x="628079" y="583787"/>
                  </a:lnTo>
                  <a:lnTo>
                    <a:pt x="626269" y="582359"/>
                  </a:lnTo>
                  <a:lnTo>
                    <a:pt x="629031" y="578834"/>
                  </a:lnTo>
                  <a:lnTo>
                    <a:pt x="630650" y="578644"/>
                  </a:lnTo>
                  <a:lnTo>
                    <a:pt x="631793" y="575310"/>
                  </a:lnTo>
                  <a:lnTo>
                    <a:pt x="634937" y="574834"/>
                  </a:lnTo>
                  <a:lnTo>
                    <a:pt x="636175" y="571500"/>
                  </a:lnTo>
                  <a:lnTo>
                    <a:pt x="639890" y="575882"/>
                  </a:lnTo>
                  <a:lnTo>
                    <a:pt x="641318" y="574072"/>
                  </a:lnTo>
                  <a:lnTo>
                    <a:pt x="645986" y="573500"/>
                  </a:lnTo>
                  <a:lnTo>
                    <a:pt x="649605" y="576167"/>
                  </a:lnTo>
                  <a:lnTo>
                    <a:pt x="650939" y="574453"/>
                  </a:lnTo>
                  <a:lnTo>
                    <a:pt x="659606" y="579692"/>
                  </a:lnTo>
                  <a:lnTo>
                    <a:pt x="658463" y="583121"/>
                  </a:lnTo>
                  <a:lnTo>
                    <a:pt x="666750" y="585216"/>
                  </a:lnTo>
                  <a:lnTo>
                    <a:pt x="668750" y="588169"/>
                  </a:lnTo>
                  <a:lnTo>
                    <a:pt x="672846" y="582835"/>
                  </a:lnTo>
                  <a:lnTo>
                    <a:pt x="675037" y="587407"/>
                  </a:lnTo>
                  <a:lnTo>
                    <a:pt x="676656" y="587216"/>
                  </a:lnTo>
                  <a:lnTo>
                    <a:pt x="677799" y="583883"/>
                  </a:lnTo>
                  <a:lnTo>
                    <a:pt x="686086" y="585978"/>
                  </a:lnTo>
                  <a:lnTo>
                    <a:pt x="684943" y="589312"/>
                  </a:lnTo>
                  <a:lnTo>
                    <a:pt x="689039" y="596837"/>
                  </a:lnTo>
                  <a:lnTo>
                    <a:pt x="690658" y="596646"/>
                  </a:lnTo>
                  <a:lnTo>
                    <a:pt x="697421" y="599027"/>
                  </a:lnTo>
                  <a:lnTo>
                    <a:pt x="699516" y="603504"/>
                  </a:lnTo>
                  <a:lnTo>
                    <a:pt x="706469" y="607409"/>
                  </a:lnTo>
                  <a:lnTo>
                    <a:pt x="706660" y="596170"/>
                  </a:lnTo>
                  <a:lnTo>
                    <a:pt x="712565" y="592265"/>
                  </a:lnTo>
                  <a:lnTo>
                    <a:pt x="715899" y="593408"/>
                  </a:lnTo>
                  <a:lnTo>
                    <a:pt x="714756" y="596741"/>
                  </a:lnTo>
                  <a:lnTo>
                    <a:pt x="718852" y="604266"/>
                  </a:lnTo>
                  <a:lnTo>
                    <a:pt x="715709" y="604647"/>
                  </a:lnTo>
                  <a:lnTo>
                    <a:pt x="717899" y="609219"/>
                  </a:lnTo>
                  <a:lnTo>
                    <a:pt x="721233" y="610362"/>
                  </a:lnTo>
                  <a:lnTo>
                    <a:pt x="721519" y="611981"/>
                  </a:lnTo>
                  <a:lnTo>
                    <a:pt x="713423" y="611410"/>
                  </a:lnTo>
                  <a:lnTo>
                    <a:pt x="715328" y="614363"/>
                  </a:lnTo>
                  <a:lnTo>
                    <a:pt x="720090" y="613696"/>
                  </a:lnTo>
                  <a:lnTo>
                    <a:pt x="720471" y="616934"/>
                  </a:lnTo>
                  <a:lnTo>
                    <a:pt x="717328" y="617315"/>
                  </a:lnTo>
                  <a:lnTo>
                    <a:pt x="720662" y="618458"/>
                  </a:lnTo>
                  <a:lnTo>
                    <a:pt x="721328" y="623221"/>
                  </a:lnTo>
                  <a:lnTo>
                    <a:pt x="727805" y="623983"/>
                  </a:lnTo>
                  <a:lnTo>
                    <a:pt x="732377" y="621792"/>
                  </a:lnTo>
                  <a:lnTo>
                    <a:pt x="737330" y="622745"/>
                  </a:lnTo>
                  <a:lnTo>
                    <a:pt x="738473" y="619411"/>
                  </a:lnTo>
                  <a:lnTo>
                    <a:pt x="743617" y="621983"/>
                  </a:lnTo>
                  <a:lnTo>
                    <a:pt x="743426" y="620363"/>
                  </a:lnTo>
                  <a:lnTo>
                    <a:pt x="746760" y="621602"/>
                  </a:lnTo>
                  <a:lnTo>
                    <a:pt x="746570" y="619982"/>
                  </a:lnTo>
                  <a:lnTo>
                    <a:pt x="742760" y="615696"/>
                  </a:lnTo>
                  <a:lnTo>
                    <a:pt x="745522" y="612077"/>
                  </a:lnTo>
                  <a:lnTo>
                    <a:pt x="748475" y="610076"/>
                  </a:lnTo>
                  <a:lnTo>
                    <a:pt x="750856" y="616268"/>
                  </a:lnTo>
                  <a:lnTo>
                    <a:pt x="755809" y="617220"/>
                  </a:lnTo>
                  <a:lnTo>
                    <a:pt x="756761" y="612267"/>
                  </a:lnTo>
                  <a:lnTo>
                    <a:pt x="759524" y="608743"/>
                  </a:lnTo>
                  <a:lnTo>
                    <a:pt x="757619" y="605790"/>
                  </a:lnTo>
                  <a:lnTo>
                    <a:pt x="762286" y="605123"/>
                  </a:lnTo>
                  <a:lnTo>
                    <a:pt x="763334" y="600170"/>
                  </a:lnTo>
                  <a:lnTo>
                    <a:pt x="756380" y="596265"/>
                  </a:lnTo>
                  <a:lnTo>
                    <a:pt x="755142" y="586835"/>
                  </a:lnTo>
                  <a:lnTo>
                    <a:pt x="751427" y="582454"/>
                  </a:lnTo>
                  <a:lnTo>
                    <a:pt x="752761" y="580739"/>
                  </a:lnTo>
                  <a:lnTo>
                    <a:pt x="753713" y="575786"/>
                  </a:lnTo>
                  <a:lnTo>
                    <a:pt x="763048" y="573024"/>
                  </a:lnTo>
                  <a:lnTo>
                    <a:pt x="764762" y="574358"/>
                  </a:lnTo>
                  <a:lnTo>
                    <a:pt x="772478" y="571786"/>
                  </a:lnTo>
                  <a:lnTo>
                    <a:pt x="772668" y="560546"/>
                  </a:lnTo>
                  <a:lnTo>
                    <a:pt x="778002" y="564642"/>
                  </a:lnTo>
                  <a:lnTo>
                    <a:pt x="779336" y="562832"/>
                  </a:lnTo>
                  <a:lnTo>
                    <a:pt x="781145" y="564261"/>
                  </a:lnTo>
                  <a:lnTo>
                    <a:pt x="782098" y="559308"/>
                  </a:lnTo>
                  <a:lnTo>
                    <a:pt x="778383" y="555022"/>
                  </a:lnTo>
                  <a:lnTo>
                    <a:pt x="781145" y="551402"/>
                  </a:lnTo>
                  <a:lnTo>
                    <a:pt x="779526" y="551593"/>
                  </a:lnTo>
                  <a:lnTo>
                    <a:pt x="778955" y="546926"/>
                  </a:lnTo>
                  <a:lnTo>
                    <a:pt x="792385" y="551593"/>
                  </a:lnTo>
                  <a:lnTo>
                    <a:pt x="794385" y="554546"/>
                  </a:lnTo>
                  <a:lnTo>
                    <a:pt x="794766" y="557689"/>
                  </a:lnTo>
                  <a:lnTo>
                    <a:pt x="792956" y="556355"/>
                  </a:lnTo>
                  <a:lnTo>
                    <a:pt x="792194" y="562832"/>
                  </a:lnTo>
                  <a:lnTo>
                    <a:pt x="803243" y="574262"/>
                  </a:lnTo>
                  <a:lnTo>
                    <a:pt x="804101" y="580549"/>
                  </a:lnTo>
                  <a:lnTo>
                    <a:pt x="810387" y="579787"/>
                  </a:lnTo>
                  <a:lnTo>
                    <a:pt x="812387" y="582740"/>
                  </a:lnTo>
                  <a:lnTo>
                    <a:pt x="816864" y="580549"/>
                  </a:lnTo>
                  <a:lnTo>
                    <a:pt x="819055" y="585121"/>
                  </a:lnTo>
                  <a:lnTo>
                    <a:pt x="826961" y="584073"/>
                  </a:lnTo>
                  <a:lnTo>
                    <a:pt x="826008" y="576167"/>
                  </a:lnTo>
                  <a:lnTo>
                    <a:pt x="829342" y="577310"/>
                  </a:lnTo>
                  <a:lnTo>
                    <a:pt x="833914" y="575215"/>
                  </a:lnTo>
                  <a:lnTo>
                    <a:pt x="835438" y="574929"/>
                  </a:lnTo>
                  <a:lnTo>
                    <a:pt x="841343" y="571024"/>
                  </a:lnTo>
                  <a:lnTo>
                    <a:pt x="842963" y="570833"/>
                  </a:lnTo>
                  <a:lnTo>
                    <a:pt x="843344" y="573977"/>
                  </a:lnTo>
                  <a:lnTo>
                    <a:pt x="844677" y="572167"/>
                  </a:lnTo>
                  <a:lnTo>
                    <a:pt x="845153" y="575310"/>
                  </a:lnTo>
                  <a:lnTo>
                    <a:pt x="848487" y="576548"/>
                  </a:lnTo>
                  <a:lnTo>
                    <a:pt x="848297" y="574929"/>
                  </a:lnTo>
                  <a:lnTo>
                    <a:pt x="851440" y="574548"/>
                  </a:lnTo>
                  <a:lnTo>
                    <a:pt x="852678" y="583978"/>
                  </a:lnTo>
                  <a:lnTo>
                    <a:pt x="855821" y="583597"/>
                  </a:lnTo>
                  <a:lnTo>
                    <a:pt x="853821" y="580644"/>
                  </a:lnTo>
                  <a:lnTo>
                    <a:pt x="856583" y="577120"/>
                  </a:lnTo>
                  <a:lnTo>
                    <a:pt x="858774" y="581597"/>
                  </a:lnTo>
                  <a:lnTo>
                    <a:pt x="860108" y="579882"/>
                  </a:lnTo>
                  <a:lnTo>
                    <a:pt x="864680" y="577691"/>
                  </a:lnTo>
                  <a:lnTo>
                    <a:pt x="886778" y="574834"/>
                  </a:lnTo>
                  <a:lnTo>
                    <a:pt x="887921" y="571500"/>
                  </a:lnTo>
                  <a:lnTo>
                    <a:pt x="883920" y="565595"/>
                  </a:lnTo>
                  <a:lnTo>
                    <a:pt x="883920" y="565595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6" name="Volný tvar: obrazec 35">
              <a:extLst>
                <a:ext uri="{FF2B5EF4-FFF2-40B4-BE49-F238E27FC236}">
                  <a16:creationId xmlns:a16="http://schemas.microsoft.com/office/drawing/2014/main" id="{564403E3-AA92-CE9C-EB8E-AAF2CDED94C9}"/>
                </a:ext>
              </a:extLst>
            </p:cNvPr>
            <p:cNvSpPr>
              <a:spLocks noChangeAspect="1"/>
            </p:cNvSpPr>
            <p:nvPr userDrawn="1">
              <p:custDataLst>
                <p:tags r:id="rId7"/>
              </p:custDataLst>
            </p:nvPr>
          </p:nvSpPr>
          <p:spPr>
            <a:xfrm>
              <a:off x="4628292" y="2504407"/>
              <a:ext cx="1489995" cy="1273968"/>
            </a:xfrm>
            <a:custGeom>
              <a:avLst/>
              <a:gdLst>
                <a:gd name="connsiteX0" fmla="*/ 443198 w 1489995"/>
                <a:gd name="connsiteY0" fmla="*/ 1201960 h 1273968"/>
                <a:gd name="connsiteX1" fmla="*/ 439198 w 1489995"/>
                <a:gd name="connsiteY1" fmla="*/ 1208913 h 1273968"/>
                <a:gd name="connsiteX2" fmla="*/ 439007 w 1489995"/>
                <a:gd name="connsiteY2" fmla="*/ 1207294 h 1273968"/>
                <a:gd name="connsiteX3" fmla="*/ 433292 w 1489995"/>
                <a:gd name="connsiteY3" fmla="*/ 1212818 h 1273968"/>
                <a:gd name="connsiteX4" fmla="*/ 431578 w 1489995"/>
                <a:gd name="connsiteY4" fmla="*/ 1211485 h 1273968"/>
                <a:gd name="connsiteX5" fmla="*/ 430149 w 1489995"/>
                <a:gd name="connsiteY5" fmla="*/ 1213199 h 1273968"/>
                <a:gd name="connsiteX6" fmla="*/ 423481 w 1489995"/>
                <a:gd name="connsiteY6" fmla="*/ 1210913 h 1273968"/>
                <a:gd name="connsiteX7" fmla="*/ 422719 w 1489995"/>
                <a:gd name="connsiteY7" fmla="*/ 1217390 h 1273968"/>
                <a:gd name="connsiteX8" fmla="*/ 426625 w 1489995"/>
                <a:gd name="connsiteY8" fmla="*/ 1223296 h 1273968"/>
                <a:gd name="connsiteX9" fmla="*/ 423863 w 1489995"/>
                <a:gd name="connsiteY9" fmla="*/ 1226915 h 1273968"/>
                <a:gd name="connsiteX10" fmla="*/ 423481 w 1489995"/>
                <a:gd name="connsiteY10" fmla="*/ 1223677 h 1273968"/>
                <a:gd name="connsiteX11" fmla="*/ 422719 w 1489995"/>
                <a:gd name="connsiteY11" fmla="*/ 1230249 h 1273968"/>
                <a:gd name="connsiteX12" fmla="*/ 421291 w 1489995"/>
                <a:gd name="connsiteY12" fmla="*/ 1231964 h 1273968"/>
                <a:gd name="connsiteX13" fmla="*/ 421767 w 1489995"/>
                <a:gd name="connsiteY13" fmla="*/ 1235202 h 1273968"/>
                <a:gd name="connsiteX14" fmla="*/ 420148 w 1489995"/>
                <a:gd name="connsiteY14" fmla="*/ 1235393 h 1273968"/>
                <a:gd name="connsiteX15" fmla="*/ 418814 w 1489995"/>
                <a:gd name="connsiteY15" fmla="*/ 1237107 h 1273968"/>
                <a:gd name="connsiteX16" fmla="*/ 416814 w 1489995"/>
                <a:gd name="connsiteY16" fmla="*/ 1234154 h 1273968"/>
                <a:gd name="connsiteX17" fmla="*/ 415195 w 1489995"/>
                <a:gd name="connsiteY17" fmla="*/ 1234345 h 1273968"/>
                <a:gd name="connsiteX18" fmla="*/ 415576 w 1489995"/>
                <a:gd name="connsiteY18" fmla="*/ 1237583 h 1273968"/>
                <a:gd name="connsiteX19" fmla="*/ 414052 w 1489995"/>
                <a:gd name="connsiteY19" fmla="*/ 1237774 h 1273968"/>
                <a:gd name="connsiteX20" fmla="*/ 417957 w 1489995"/>
                <a:gd name="connsiteY20" fmla="*/ 1243679 h 1273968"/>
                <a:gd name="connsiteX21" fmla="*/ 414814 w 1489995"/>
                <a:gd name="connsiteY21" fmla="*/ 1244060 h 1273968"/>
                <a:gd name="connsiteX22" fmla="*/ 415290 w 1489995"/>
                <a:gd name="connsiteY22" fmla="*/ 1247204 h 1273968"/>
                <a:gd name="connsiteX23" fmla="*/ 412051 w 1489995"/>
                <a:gd name="connsiteY23" fmla="*/ 1247585 h 1273968"/>
                <a:gd name="connsiteX24" fmla="*/ 411289 w 1489995"/>
                <a:gd name="connsiteY24" fmla="*/ 1241298 h 1273968"/>
                <a:gd name="connsiteX25" fmla="*/ 408146 w 1489995"/>
                <a:gd name="connsiteY25" fmla="*/ 1241679 h 1273968"/>
                <a:gd name="connsiteX26" fmla="*/ 405955 w 1489995"/>
                <a:gd name="connsiteY26" fmla="*/ 1237202 h 1273968"/>
                <a:gd name="connsiteX27" fmla="*/ 403384 w 1489995"/>
                <a:gd name="connsiteY27" fmla="*/ 1242346 h 1273968"/>
                <a:gd name="connsiteX28" fmla="*/ 401860 w 1489995"/>
                <a:gd name="connsiteY28" fmla="*/ 1242536 h 1273968"/>
                <a:gd name="connsiteX29" fmla="*/ 402241 w 1489995"/>
                <a:gd name="connsiteY29" fmla="*/ 1245680 h 1273968"/>
                <a:gd name="connsiteX30" fmla="*/ 399479 w 1489995"/>
                <a:gd name="connsiteY30" fmla="*/ 1249204 h 1273968"/>
                <a:gd name="connsiteX31" fmla="*/ 399859 w 1489995"/>
                <a:gd name="connsiteY31" fmla="*/ 1252347 h 1273968"/>
                <a:gd name="connsiteX32" fmla="*/ 400240 w 1489995"/>
                <a:gd name="connsiteY32" fmla="*/ 1255586 h 1273968"/>
                <a:gd name="connsiteX33" fmla="*/ 390620 w 1489995"/>
                <a:gd name="connsiteY33" fmla="*/ 1255205 h 1273968"/>
                <a:gd name="connsiteX34" fmla="*/ 383858 w 1489995"/>
                <a:gd name="connsiteY34" fmla="*/ 1252823 h 1273968"/>
                <a:gd name="connsiteX35" fmla="*/ 383286 w 1489995"/>
                <a:gd name="connsiteY35" fmla="*/ 1248061 h 1273968"/>
                <a:gd name="connsiteX36" fmla="*/ 379952 w 1489995"/>
                <a:gd name="connsiteY36" fmla="*/ 1246918 h 1273968"/>
                <a:gd name="connsiteX37" fmla="*/ 371284 w 1489995"/>
                <a:gd name="connsiteY37" fmla="*/ 1254443 h 1273968"/>
                <a:gd name="connsiteX38" fmla="*/ 372237 w 1489995"/>
                <a:gd name="connsiteY38" fmla="*/ 1262348 h 1273968"/>
                <a:gd name="connsiteX39" fmla="*/ 372237 w 1489995"/>
                <a:gd name="connsiteY39" fmla="*/ 1262348 h 1273968"/>
                <a:gd name="connsiteX40" fmla="*/ 370713 w 1489995"/>
                <a:gd name="connsiteY40" fmla="*/ 1262539 h 1273968"/>
                <a:gd name="connsiteX41" fmla="*/ 366331 w 1489995"/>
                <a:gd name="connsiteY41" fmla="*/ 1266254 h 1273968"/>
                <a:gd name="connsiteX42" fmla="*/ 365950 w 1489995"/>
                <a:gd name="connsiteY42" fmla="*/ 1263110 h 1273968"/>
                <a:gd name="connsiteX43" fmla="*/ 356711 w 1489995"/>
                <a:gd name="connsiteY43" fmla="*/ 1265873 h 1273968"/>
                <a:gd name="connsiteX44" fmla="*/ 354711 w 1489995"/>
                <a:gd name="connsiteY44" fmla="*/ 1262920 h 1273968"/>
                <a:gd name="connsiteX45" fmla="*/ 349948 w 1489995"/>
                <a:gd name="connsiteY45" fmla="*/ 1263587 h 1273968"/>
                <a:gd name="connsiteX46" fmla="*/ 349377 w 1489995"/>
                <a:gd name="connsiteY46" fmla="*/ 1258824 h 1273968"/>
                <a:gd name="connsiteX47" fmla="*/ 345853 w 1489995"/>
                <a:gd name="connsiteY47" fmla="*/ 1256062 h 1273968"/>
                <a:gd name="connsiteX48" fmla="*/ 344614 w 1489995"/>
                <a:gd name="connsiteY48" fmla="*/ 1259396 h 1273968"/>
                <a:gd name="connsiteX49" fmla="*/ 338328 w 1489995"/>
                <a:gd name="connsiteY49" fmla="*/ 1260253 h 1273968"/>
                <a:gd name="connsiteX50" fmla="*/ 342614 w 1489995"/>
                <a:gd name="connsiteY50" fmla="*/ 1256443 h 1273968"/>
                <a:gd name="connsiteX51" fmla="*/ 342233 w 1489995"/>
                <a:gd name="connsiteY51" fmla="*/ 1253300 h 1273968"/>
                <a:gd name="connsiteX52" fmla="*/ 345186 w 1489995"/>
                <a:gd name="connsiteY52" fmla="*/ 1251299 h 1273968"/>
                <a:gd name="connsiteX53" fmla="*/ 337280 w 1489995"/>
                <a:gd name="connsiteY53" fmla="*/ 1252347 h 1273968"/>
                <a:gd name="connsiteX54" fmla="*/ 335947 w 1489995"/>
                <a:gd name="connsiteY54" fmla="*/ 1254157 h 1273968"/>
                <a:gd name="connsiteX55" fmla="*/ 332422 w 1489995"/>
                <a:gd name="connsiteY55" fmla="*/ 1251395 h 1273968"/>
                <a:gd name="connsiteX56" fmla="*/ 330232 w 1489995"/>
                <a:gd name="connsiteY56" fmla="*/ 1246823 h 1273968"/>
                <a:gd name="connsiteX57" fmla="*/ 330994 w 1489995"/>
                <a:gd name="connsiteY57" fmla="*/ 1240346 h 1273968"/>
                <a:gd name="connsiteX58" fmla="*/ 320897 w 1489995"/>
                <a:gd name="connsiteY58" fmla="*/ 1236821 h 1273968"/>
                <a:gd name="connsiteX59" fmla="*/ 316325 w 1489995"/>
                <a:gd name="connsiteY59" fmla="*/ 1239012 h 1273968"/>
                <a:gd name="connsiteX60" fmla="*/ 316611 w 1489995"/>
                <a:gd name="connsiteY60" fmla="*/ 1240536 h 1273968"/>
                <a:gd name="connsiteX61" fmla="*/ 319945 w 1489995"/>
                <a:gd name="connsiteY61" fmla="*/ 1241679 h 1273968"/>
                <a:gd name="connsiteX62" fmla="*/ 315373 w 1489995"/>
                <a:gd name="connsiteY62" fmla="*/ 1243870 h 1273968"/>
                <a:gd name="connsiteX63" fmla="*/ 311658 w 1489995"/>
                <a:gd name="connsiteY63" fmla="*/ 1252347 h 1273968"/>
                <a:gd name="connsiteX64" fmla="*/ 308324 w 1489995"/>
                <a:gd name="connsiteY64" fmla="*/ 1251204 h 1273968"/>
                <a:gd name="connsiteX65" fmla="*/ 308515 w 1489995"/>
                <a:gd name="connsiteY65" fmla="*/ 1252823 h 1273968"/>
                <a:gd name="connsiteX66" fmla="*/ 306705 w 1489995"/>
                <a:gd name="connsiteY66" fmla="*/ 1251395 h 1273968"/>
                <a:gd name="connsiteX67" fmla="*/ 303943 w 1489995"/>
                <a:gd name="connsiteY67" fmla="*/ 1255014 h 1273968"/>
                <a:gd name="connsiteX68" fmla="*/ 302038 w 1489995"/>
                <a:gd name="connsiteY68" fmla="*/ 1252061 h 1273968"/>
                <a:gd name="connsiteX69" fmla="*/ 303371 w 1489995"/>
                <a:gd name="connsiteY69" fmla="*/ 1250252 h 1273968"/>
                <a:gd name="connsiteX70" fmla="*/ 301752 w 1489995"/>
                <a:gd name="connsiteY70" fmla="*/ 1250442 h 1273968"/>
                <a:gd name="connsiteX71" fmla="*/ 300418 w 1489995"/>
                <a:gd name="connsiteY71" fmla="*/ 1252252 h 1273968"/>
                <a:gd name="connsiteX72" fmla="*/ 298990 w 1489995"/>
                <a:gd name="connsiteY72" fmla="*/ 1253966 h 1273968"/>
                <a:gd name="connsiteX73" fmla="*/ 297656 w 1489995"/>
                <a:gd name="connsiteY73" fmla="*/ 1242917 h 1273968"/>
                <a:gd name="connsiteX74" fmla="*/ 296228 w 1489995"/>
                <a:gd name="connsiteY74" fmla="*/ 1244727 h 1273968"/>
                <a:gd name="connsiteX75" fmla="*/ 294513 w 1489995"/>
                <a:gd name="connsiteY75" fmla="*/ 1243394 h 1273968"/>
                <a:gd name="connsiteX76" fmla="*/ 291655 w 1489995"/>
                <a:gd name="connsiteY76" fmla="*/ 1234059 h 1273968"/>
                <a:gd name="connsiteX77" fmla="*/ 288512 w 1489995"/>
                <a:gd name="connsiteY77" fmla="*/ 1234535 h 1273968"/>
                <a:gd name="connsiteX78" fmla="*/ 290513 w 1489995"/>
                <a:gd name="connsiteY78" fmla="*/ 1237488 h 1273968"/>
                <a:gd name="connsiteX79" fmla="*/ 284226 w 1489995"/>
                <a:gd name="connsiteY79" fmla="*/ 1238250 h 1273968"/>
                <a:gd name="connsiteX80" fmla="*/ 284988 w 1489995"/>
                <a:gd name="connsiteY80" fmla="*/ 1244537 h 1273968"/>
                <a:gd name="connsiteX81" fmla="*/ 280225 w 1489995"/>
                <a:gd name="connsiteY81" fmla="*/ 1245203 h 1273968"/>
                <a:gd name="connsiteX82" fmla="*/ 280702 w 1489995"/>
                <a:gd name="connsiteY82" fmla="*/ 1248347 h 1273968"/>
                <a:gd name="connsiteX83" fmla="*/ 273748 w 1489995"/>
                <a:gd name="connsiteY83" fmla="*/ 1244441 h 1273968"/>
                <a:gd name="connsiteX84" fmla="*/ 267271 w 1489995"/>
                <a:gd name="connsiteY84" fmla="*/ 1243584 h 1273968"/>
                <a:gd name="connsiteX85" fmla="*/ 263747 w 1489995"/>
                <a:gd name="connsiteY85" fmla="*/ 1253681 h 1273968"/>
                <a:gd name="connsiteX86" fmla="*/ 262128 w 1489995"/>
                <a:gd name="connsiteY86" fmla="*/ 1253871 h 1273968"/>
                <a:gd name="connsiteX87" fmla="*/ 262128 w 1489995"/>
                <a:gd name="connsiteY87" fmla="*/ 1253871 h 1273968"/>
                <a:gd name="connsiteX88" fmla="*/ 252222 w 1489995"/>
                <a:gd name="connsiteY88" fmla="*/ 1251966 h 1273968"/>
                <a:gd name="connsiteX89" fmla="*/ 250507 w 1489995"/>
                <a:gd name="connsiteY89" fmla="*/ 1250537 h 1273968"/>
                <a:gd name="connsiteX90" fmla="*/ 251269 w 1489995"/>
                <a:gd name="connsiteY90" fmla="*/ 1244060 h 1273968"/>
                <a:gd name="connsiteX91" fmla="*/ 252603 w 1489995"/>
                <a:gd name="connsiteY91" fmla="*/ 1242251 h 1273968"/>
                <a:gd name="connsiteX92" fmla="*/ 254413 w 1489995"/>
                <a:gd name="connsiteY92" fmla="*/ 1230821 h 1273968"/>
                <a:gd name="connsiteX93" fmla="*/ 254984 w 1489995"/>
                <a:gd name="connsiteY93" fmla="*/ 1222724 h 1273968"/>
                <a:gd name="connsiteX94" fmla="*/ 249841 w 1489995"/>
                <a:gd name="connsiteY94" fmla="*/ 1220153 h 1273968"/>
                <a:gd name="connsiteX95" fmla="*/ 250412 w 1489995"/>
                <a:gd name="connsiteY95" fmla="*/ 1212056 h 1273968"/>
                <a:gd name="connsiteX96" fmla="*/ 239935 w 1489995"/>
                <a:gd name="connsiteY96" fmla="*/ 1205389 h 1273968"/>
                <a:gd name="connsiteX97" fmla="*/ 236791 w 1489995"/>
                <a:gd name="connsiteY97" fmla="*/ 1205770 h 1273968"/>
                <a:gd name="connsiteX98" fmla="*/ 231457 w 1489995"/>
                <a:gd name="connsiteY98" fmla="*/ 1214533 h 1273968"/>
                <a:gd name="connsiteX99" fmla="*/ 229648 w 1489995"/>
                <a:gd name="connsiteY99" fmla="*/ 1213104 h 1273968"/>
                <a:gd name="connsiteX100" fmla="*/ 234029 w 1489995"/>
                <a:gd name="connsiteY100" fmla="*/ 1209389 h 1273968"/>
                <a:gd name="connsiteX101" fmla="*/ 235744 w 1489995"/>
                <a:gd name="connsiteY101" fmla="*/ 1197959 h 1273968"/>
                <a:gd name="connsiteX102" fmla="*/ 233743 w 1489995"/>
                <a:gd name="connsiteY102" fmla="*/ 1195007 h 1273968"/>
                <a:gd name="connsiteX103" fmla="*/ 232029 w 1489995"/>
                <a:gd name="connsiteY103" fmla="*/ 1193578 h 1273968"/>
                <a:gd name="connsiteX104" fmla="*/ 234696 w 1489995"/>
                <a:gd name="connsiteY104" fmla="*/ 1177195 h 1273968"/>
                <a:gd name="connsiteX105" fmla="*/ 231934 w 1489995"/>
                <a:gd name="connsiteY105" fmla="*/ 1167956 h 1273968"/>
                <a:gd name="connsiteX106" fmla="*/ 236029 w 1489995"/>
                <a:gd name="connsiteY106" fmla="*/ 1162622 h 1273968"/>
                <a:gd name="connsiteX107" fmla="*/ 240030 w 1489995"/>
                <a:gd name="connsiteY107" fmla="*/ 1155668 h 1273968"/>
                <a:gd name="connsiteX108" fmla="*/ 239554 w 1489995"/>
                <a:gd name="connsiteY108" fmla="*/ 1139666 h 1273968"/>
                <a:gd name="connsiteX109" fmla="*/ 242125 w 1489995"/>
                <a:gd name="connsiteY109" fmla="*/ 1134523 h 1273968"/>
                <a:gd name="connsiteX110" fmla="*/ 242888 w 1489995"/>
                <a:gd name="connsiteY110" fmla="*/ 1128046 h 1273968"/>
                <a:gd name="connsiteX111" fmla="*/ 239173 w 1489995"/>
                <a:gd name="connsiteY111" fmla="*/ 1123760 h 1273968"/>
                <a:gd name="connsiteX112" fmla="*/ 234601 w 1489995"/>
                <a:gd name="connsiteY112" fmla="*/ 1125855 h 1273968"/>
                <a:gd name="connsiteX113" fmla="*/ 227933 w 1489995"/>
                <a:gd name="connsiteY113" fmla="*/ 1123569 h 1273968"/>
                <a:gd name="connsiteX114" fmla="*/ 227266 w 1489995"/>
                <a:gd name="connsiteY114" fmla="*/ 1118807 h 1273968"/>
                <a:gd name="connsiteX115" fmla="*/ 223742 w 1489995"/>
                <a:gd name="connsiteY115" fmla="*/ 1116044 h 1273968"/>
                <a:gd name="connsiteX116" fmla="*/ 219361 w 1489995"/>
                <a:gd name="connsiteY116" fmla="*/ 1119854 h 1273968"/>
                <a:gd name="connsiteX117" fmla="*/ 217837 w 1489995"/>
                <a:gd name="connsiteY117" fmla="*/ 1120045 h 1273968"/>
                <a:gd name="connsiteX118" fmla="*/ 210884 w 1489995"/>
                <a:gd name="connsiteY118" fmla="*/ 1116044 h 1273968"/>
                <a:gd name="connsiteX119" fmla="*/ 210502 w 1489995"/>
                <a:gd name="connsiteY119" fmla="*/ 1112901 h 1273968"/>
                <a:gd name="connsiteX120" fmla="*/ 213646 w 1489995"/>
                <a:gd name="connsiteY120" fmla="*/ 1112520 h 1273968"/>
                <a:gd name="connsiteX121" fmla="*/ 214789 w 1489995"/>
                <a:gd name="connsiteY121" fmla="*/ 1109186 h 1273968"/>
                <a:gd name="connsiteX122" fmla="*/ 205168 w 1489995"/>
                <a:gd name="connsiteY122" fmla="*/ 1108805 h 1273968"/>
                <a:gd name="connsiteX123" fmla="*/ 204788 w 1489995"/>
                <a:gd name="connsiteY123" fmla="*/ 1105662 h 1273968"/>
                <a:gd name="connsiteX124" fmla="*/ 200025 w 1489995"/>
                <a:gd name="connsiteY124" fmla="*/ 1106234 h 1273968"/>
                <a:gd name="connsiteX125" fmla="*/ 196501 w 1489995"/>
                <a:gd name="connsiteY125" fmla="*/ 1103471 h 1273968"/>
                <a:gd name="connsiteX126" fmla="*/ 193357 w 1489995"/>
                <a:gd name="connsiteY126" fmla="*/ 1103948 h 1273968"/>
                <a:gd name="connsiteX127" fmla="*/ 190881 w 1489995"/>
                <a:gd name="connsiteY127" fmla="*/ 1097756 h 1273968"/>
                <a:gd name="connsiteX128" fmla="*/ 187547 w 1489995"/>
                <a:gd name="connsiteY128" fmla="*/ 1096613 h 1273968"/>
                <a:gd name="connsiteX129" fmla="*/ 195643 w 1489995"/>
                <a:gd name="connsiteY129" fmla="*/ 1097185 h 1273968"/>
                <a:gd name="connsiteX130" fmla="*/ 202787 w 1489995"/>
                <a:gd name="connsiteY130" fmla="*/ 1102709 h 1273968"/>
                <a:gd name="connsiteX131" fmla="*/ 210693 w 1489995"/>
                <a:gd name="connsiteY131" fmla="*/ 1101662 h 1273968"/>
                <a:gd name="connsiteX132" fmla="*/ 212026 w 1489995"/>
                <a:gd name="connsiteY132" fmla="*/ 1099947 h 1273968"/>
                <a:gd name="connsiteX133" fmla="*/ 216789 w 1489995"/>
                <a:gd name="connsiteY133" fmla="*/ 1099280 h 1273968"/>
                <a:gd name="connsiteX134" fmla="*/ 219742 w 1489995"/>
                <a:gd name="connsiteY134" fmla="*/ 1097280 h 1273968"/>
                <a:gd name="connsiteX135" fmla="*/ 216408 w 1489995"/>
                <a:gd name="connsiteY135" fmla="*/ 1096137 h 1273968"/>
                <a:gd name="connsiteX136" fmla="*/ 209836 w 1489995"/>
                <a:gd name="connsiteY136" fmla="*/ 1082516 h 1273968"/>
                <a:gd name="connsiteX137" fmla="*/ 200120 w 1489995"/>
                <a:gd name="connsiteY137" fmla="*/ 1082135 h 1273968"/>
                <a:gd name="connsiteX138" fmla="*/ 196405 w 1489995"/>
                <a:gd name="connsiteY138" fmla="*/ 1077849 h 1273968"/>
                <a:gd name="connsiteX139" fmla="*/ 198977 w 1489995"/>
                <a:gd name="connsiteY139" fmla="*/ 1072706 h 1273968"/>
                <a:gd name="connsiteX140" fmla="*/ 196977 w 1489995"/>
                <a:gd name="connsiteY140" fmla="*/ 1069753 h 1273968"/>
                <a:gd name="connsiteX141" fmla="*/ 198120 w 1489995"/>
                <a:gd name="connsiteY141" fmla="*/ 1066419 h 1273968"/>
                <a:gd name="connsiteX142" fmla="*/ 200120 w 1489995"/>
                <a:gd name="connsiteY142" fmla="*/ 1069372 h 1273968"/>
                <a:gd name="connsiteX143" fmla="*/ 200311 w 1489995"/>
                <a:gd name="connsiteY143" fmla="*/ 1070896 h 1273968"/>
                <a:gd name="connsiteX144" fmla="*/ 202120 w 1489995"/>
                <a:gd name="connsiteY144" fmla="*/ 1072325 h 1273968"/>
                <a:gd name="connsiteX145" fmla="*/ 204883 w 1489995"/>
                <a:gd name="connsiteY145" fmla="*/ 1068705 h 1273968"/>
                <a:gd name="connsiteX146" fmla="*/ 205073 w 1489995"/>
                <a:gd name="connsiteY146" fmla="*/ 1070324 h 1273968"/>
                <a:gd name="connsiteX147" fmla="*/ 206692 w 1489995"/>
                <a:gd name="connsiteY147" fmla="*/ 1070134 h 1273968"/>
                <a:gd name="connsiteX148" fmla="*/ 206692 w 1489995"/>
                <a:gd name="connsiteY148" fmla="*/ 1070134 h 1273968"/>
                <a:gd name="connsiteX149" fmla="*/ 208026 w 1489995"/>
                <a:gd name="connsiteY149" fmla="*/ 1068324 h 1273968"/>
                <a:gd name="connsiteX150" fmla="*/ 215741 w 1489995"/>
                <a:gd name="connsiteY150" fmla="*/ 1065752 h 1273968"/>
                <a:gd name="connsiteX151" fmla="*/ 219075 w 1489995"/>
                <a:gd name="connsiteY151" fmla="*/ 1066895 h 1273968"/>
                <a:gd name="connsiteX152" fmla="*/ 226123 w 1489995"/>
                <a:gd name="connsiteY152" fmla="*/ 1059656 h 1273968"/>
                <a:gd name="connsiteX153" fmla="*/ 221456 w 1489995"/>
                <a:gd name="connsiteY153" fmla="*/ 1060228 h 1273968"/>
                <a:gd name="connsiteX154" fmla="*/ 220789 w 1489995"/>
                <a:gd name="connsiteY154" fmla="*/ 1055465 h 1273968"/>
                <a:gd name="connsiteX155" fmla="*/ 216122 w 1489995"/>
                <a:gd name="connsiteY155" fmla="*/ 1056132 h 1273968"/>
                <a:gd name="connsiteX156" fmla="*/ 215932 w 1489995"/>
                <a:gd name="connsiteY156" fmla="*/ 1054513 h 1273968"/>
                <a:gd name="connsiteX157" fmla="*/ 212503 w 1489995"/>
                <a:gd name="connsiteY157" fmla="*/ 1053370 h 1273968"/>
                <a:gd name="connsiteX158" fmla="*/ 208026 w 1489995"/>
                <a:gd name="connsiteY158" fmla="*/ 1055561 h 1273968"/>
                <a:gd name="connsiteX159" fmla="*/ 210788 w 1489995"/>
                <a:gd name="connsiteY159" fmla="*/ 1051941 h 1273968"/>
                <a:gd name="connsiteX160" fmla="*/ 207359 w 1489995"/>
                <a:gd name="connsiteY160" fmla="*/ 1050798 h 1273968"/>
                <a:gd name="connsiteX161" fmla="*/ 203073 w 1489995"/>
                <a:gd name="connsiteY161" fmla="*/ 1054513 h 1273968"/>
                <a:gd name="connsiteX162" fmla="*/ 201073 w 1489995"/>
                <a:gd name="connsiteY162" fmla="*/ 1051560 h 1273968"/>
                <a:gd name="connsiteX163" fmla="*/ 198120 w 1489995"/>
                <a:gd name="connsiteY163" fmla="*/ 1053560 h 1273968"/>
                <a:gd name="connsiteX164" fmla="*/ 196977 w 1489995"/>
                <a:gd name="connsiteY164" fmla="*/ 1056894 h 1273968"/>
                <a:gd name="connsiteX165" fmla="*/ 194024 w 1489995"/>
                <a:gd name="connsiteY165" fmla="*/ 1058894 h 1273968"/>
                <a:gd name="connsiteX166" fmla="*/ 194405 w 1489995"/>
                <a:gd name="connsiteY166" fmla="*/ 1062037 h 1273968"/>
                <a:gd name="connsiteX167" fmla="*/ 189452 w 1489995"/>
                <a:gd name="connsiteY167" fmla="*/ 1061085 h 1273968"/>
                <a:gd name="connsiteX168" fmla="*/ 186690 w 1489995"/>
                <a:gd name="connsiteY168" fmla="*/ 1051846 h 1273968"/>
                <a:gd name="connsiteX169" fmla="*/ 190024 w 1489995"/>
                <a:gd name="connsiteY169" fmla="*/ 1052989 h 1273968"/>
                <a:gd name="connsiteX170" fmla="*/ 189833 w 1489995"/>
                <a:gd name="connsiteY170" fmla="*/ 1051465 h 1273968"/>
                <a:gd name="connsiteX171" fmla="*/ 186499 w 1489995"/>
                <a:gd name="connsiteY171" fmla="*/ 1050227 h 1273968"/>
                <a:gd name="connsiteX172" fmla="*/ 190595 w 1489995"/>
                <a:gd name="connsiteY172" fmla="*/ 1044893 h 1273968"/>
                <a:gd name="connsiteX173" fmla="*/ 186690 w 1489995"/>
                <a:gd name="connsiteY173" fmla="*/ 1038987 h 1273968"/>
                <a:gd name="connsiteX174" fmla="*/ 189166 w 1489995"/>
                <a:gd name="connsiteY174" fmla="*/ 1033844 h 1273968"/>
                <a:gd name="connsiteX175" fmla="*/ 198311 w 1489995"/>
                <a:gd name="connsiteY175" fmla="*/ 1029462 h 1273968"/>
                <a:gd name="connsiteX176" fmla="*/ 205740 w 1489995"/>
                <a:gd name="connsiteY176" fmla="*/ 1012507 h 1273968"/>
                <a:gd name="connsiteX177" fmla="*/ 228409 w 1489995"/>
                <a:gd name="connsiteY177" fmla="*/ 1001649 h 1273968"/>
                <a:gd name="connsiteX178" fmla="*/ 232886 w 1489995"/>
                <a:gd name="connsiteY178" fmla="*/ 999458 h 1273968"/>
                <a:gd name="connsiteX179" fmla="*/ 239268 w 1489995"/>
                <a:gd name="connsiteY179" fmla="*/ 998601 h 1273968"/>
                <a:gd name="connsiteX180" fmla="*/ 236125 w 1489995"/>
                <a:gd name="connsiteY180" fmla="*/ 998982 h 1273968"/>
                <a:gd name="connsiteX181" fmla="*/ 236887 w 1489995"/>
                <a:gd name="connsiteY181" fmla="*/ 1005364 h 1273968"/>
                <a:gd name="connsiteX182" fmla="*/ 238696 w 1489995"/>
                <a:gd name="connsiteY182" fmla="*/ 1006697 h 1273968"/>
                <a:gd name="connsiteX183" fmla="*/ 243554 w 1489995"/>
                <a:gd name="connsiteY183" fmla="*/ 1007650 h 1273968"/>
                <a:gd name="connsiteX184" fmla="*/ 245745 w 1489995"/>
                <a:gd name="connsiteY184" fmla="*/ 1012222 h 1273968"/>
                <a:gd name="connsiteX185" fmla="*/ 247364 w 1489995"/>
                <a:gd name="connsiteY185" fmla="*/ 1012031 h 1273968"/>
                <a:gd name="connsiteX186" fmla="*/ 247555 w 1489995"/>
                <a:gd name="connsiteY186" fmla="*/ 1013555 h 1273968"/>
                <a:gd name="connsiteX187" fmla="*/ 252317 w 1489995"/>
                <a:gd name="connsiteY187" fmla="*/ 1012984 h 1273968"/>
                <a:gd name="connsiteX188" fmla="*/ 254032 w 1489995"/>
                <a:gd name="connsiteY188" fmla="*/ 1014317 h 1273968"/>
                <a:gd name="connsiteX189" fmla="*/ 255079 w 1489995"/>
                <a:gd name="connsiteY189" fmla="*/ 1009460 h 1273968"/>
                <a:gd name="connsiteX190" fmla="*/ 256603 w 1489995"/>
                <a:gd name="connsiteY190" fmla="*/ 1009269 h 1273968"/>
                <a:gd name="connsiteX191" fmla="*/ 256222 w 1489995"/>
                <a:gd name="connsiteY191" fmla="*/ 1006031 h 1273968"/>
                <a:gd name="connsiteX192" fmla="*/ 257556 w 1489995"/>
                <a:gd name="connsiteY192" fmla="*/ 1004316 h 1273968"/>
                <a:gd name="connsiteX193" fmla="*/ 258413 w 1489995"/>
                <a:gd name="connsiteY193" fmla="*/ 997744 h 1273968"/>
                <a:gd name="connsiteX194" fmla="*/ 261366 w 1489995"/>
                <a:gd name="connsiteY194" fmla="*/ 995839 h 1273968"/>
                <a:gd name="connsiteX195" fmla="*/ 263652 w 1489995"/>
                <a:gd name="connsiteY195" fmla="*/ 989076 h 1273968"/>
                <a:gd name="connsiteX196" fmla="*/ 266795 w 1489995"/>
                <a:gd name="connsiteY196" fmla="*/ 988695 h 1273968"/>
                <a:gd name="connsiteX197" fmla="*/ 272986 w 1489995"/>
                <a:gd name="connsiteY197" fmla="*/ 986314 h 1273968"/>
                <a:gd name="connsiteX198" fmla="*/ 272510 w 1489995"/>
                <a:gd name="connsiteY198" fmla="*/ 983170 h 1273968"/>
                <a:gd name="connsiteX199" fmla="*/ 274320 w 1489995"/>
                <a:gd name="connsiteY199" fmla="*/ 984504 h 1273968"/>
                <a:gd name="connsiteX200" fmla="*/ 275749 w 1489995"/>
                <a:gd name="connsiteY200" fmla="*/ 982790 h 1273968"/>
                <a:gd name="connsiteX201" fmla="*/ 278892 w 1489995"/>
                <a:gd name="connsiteY201" fmla="*/ 982313 h 1273968"/>
                <a:gd name="connsiteX202" fmla="*/ 283178 w 1489995"/>
                <a:gd name="connsiteY202" fmla="*/ 978599 h 1273968"/>
                <a:gd name="connsiteX203" fmla="*/ 284988 w 1489995"/>
                <a:gd name="connsiteY203" fmla="*/ 979932 h 1273968"/>
                <a:gd name="connsiteX204" fmla="*/ 288893 w 1489995"/>
                <a:gd name="connsiteY204" fmla="*/ 973074 h 1273968"/>
                <a:gd name="connsiteX205" fmla="*/ 286703 w 1489995"/>
                <a:gd name="connsiteY205" fmla="*/ 968502 h 1273968"/>
                <a:gd name="connsiteX206" fmla="*/ 281559 w 1489995"/>
                <a:gd name="connsiteY206" fmla="*/ 965930 h 1273968"/>
                <a:gd name="connsiteX207" fmla="*/ 279559 w 1489995"/>
                <a:gd name="connsiteY207" fmla="*/ 962978 h 1273968"/>
                <a:gd name="connsiteX208" fmla="*/ 276225 w 1489995"/>
                <a:gd name="connsiteY208" fmla="*/ 961835 h 1273968"/>
                <a:gd name="connsiteX209" fmla="*/ 273272 w 1489995"/>
                <a:gd name="connsiteY209" fmla="*/ 963835 h 1273968"/>
                <a:gd name="connsiteX210" fmla="*/ 271939 w 1489995"/>
                <a:gd name="connsiteY210" fmla="*/ 965549 h 1273968"/>
                <a:gd name="connsiteX211" fmla="*/ 266033 w 1489995"/>
                <a:gd name="connsiteY211" fmla="*/ 969550 h 1273968"/>
                <a:gd name="connsiteX212" fmla="*/ 264223 w 1489995"/>
                <a:gd name="connsiteY212" fmla="*/ 968121 h 1273968"/>
                <a:gd name="connsiteX213" fmla="*/ 264795 w 1489995"/>
                <a:gd name="connsiteY213" fmla="*/ 960120 h 1273968"/>
                <a:gd name="connsiteX214" fmla="*/ 274034 w 1489995"/>
                <a:gd name="connsiteY214" fmla="*/ 957262 h 1273968"/>
                <a:gd name="connsiteX215" fmla="*/ 277178 w 1489995"/>
                <a:gd name="connsiteY215" fmla="*/ 944023 h 1273968"/>
                <a:gd name="connsiteX216" fmla="*/ 276415 w 1489995"/>
                <a:gd name="connsiteY216" fmla="*/ 937736 h 1273968"/>
                <a:gd name="connsiteX217" fmla="*/ 272605 w 1489995"/>
                <a:gd name="connsiteY217" fmla="*/ 933450 h 1273968"/>
                <a:gd name="connsiteX218" fmla="*/ 272224 w 1489995"/>
                <a:gd name="connsiteY218" fmla="*/ 930307 h 1273968"/>
                <a:gd name="connsiteX219" fmla="*/ 269843 w 1489995"/>
                <a:gd name="connsiteY219" fmla="*/ 924115 h 1273968"/>
                <a:gd name="connsiteX220" fmla="*/ 270796 w 1489995"/>
                <a:gd name="connsiteY220" fmla="*/ 919258 h 1273968"/>
                <a:gd name="connsiteX221" fmla="*/ 280321 w 1489995"/>
                <a:gd name="connsiteY221" fmla="*/ 918020 h 1273968"/>
                <a:gd name="connsiteX222" fmla="*/ 279463 w 1489995"/>
                <a:gd name="connsiteY222" fmla="*/ 911733 h 1273968"/>
                <a:gd name="connsiteX223" fmla="*/ 285369 w 1489995"/>
                <a:gd name="connsiteY223" fmla="*/ 907732 h 1273968"/>
                <a:gd name="connsiteX224" fmla="*/ 282226 w 1489995"/>
                <a:gd name="connsiteY224" fmla="*/ 908114 h 1273968"/>
                <a:gd name="connsiteX225" fmla="*/ 284416 w 1489995"/>
                <a:gd name="connsiteY225" fmla="*/ 899827 h 1273968"/>
                <a:gd name="connsiteX226" fmla="*/ 277463 w 1489995"/>
                <a:gd name="connsiteY226" fmla="*/ 895922 h 1273968"/>
                <a:gd name="connsiteX227" fmla="*/ 276415 w 1489995"/>
                <a:gd name="connsiteY227" fmla="*/ 888016 h 1273968"/>
                <a:gd name="connsiteX228" fmla="*/ 283369 w 1489995"/>
                <a:gd name="connsiteY228" fmla="*/ 879157 h 1273968"/>
                <a:gd name="connsiteX229" fmla="*/ 281368 w 1489995"/>
                <a:gd name="connsiteY229" fmla="*/ 876205 h 1273968"/>
                <a:gd name="connsiteX230" fmla="*/ 277654 w 1489995"/>
                <a:gd name="connsiteY230" fmla="*/ 871823 h 1273968"/>
                <a:gd name="connsiteX231" fmla="*/ 280321 w 1489995"/>
                <a:gd name="connsiteY231" fmla="*/ 868299 h 1273968"/>
                <a:gd name="connsiteX232" fmla="*/ 283750 w 1489995"/>
                <a:gd name="connsiteY232" fmla="*/ 869442 h 1273968"/>
                <a:gd name="connsiteX233" fmla="*/ 287464 w 1489995"/>
                <a:gd name="connsiteY233" fmla="*/ 860965 h 1273968"/>
                <a:gd name="connsiteX234" fmla="*/ 283464 w 1489995"/>
                <a:gd name="connsiteY234" fmla="*/ 855059 h 1273968"/>
                <a:gd name="connsiteX235" fmla="*/ 286607 w 1489995"/>
                <a:gd name="connsiteY235" fmla="*/ 854678 h 1273968"/>
                <a:gd name="connsiteX236" fmla="*/ 285464 w 1489995"/>
                <a:gd name="connsiteY236" fmla="*/ 845153 h 1273968"/>
                <a:gd name="connsiteX237" fmla="*/ 287179 w 1489995"/>
                <a:gd name="connsiteY237" fmla="*/ 846582 h 1273968"/>
                <a:gd name="connsiteX238" fmla="*/ 290417 w 1489995"/>
                <a:gd name="connsiteY238" fmla="*/ 846201 h 1273968"/>
                <a:gd name="connsiteX239" fmla="*/ 290132 w 1489995"/>
                <a:gd name="connsiteY239" fmla="*/ 844582 h 1273968"/>
                <a:gd name="connsiteX240" fmla="*/ 290417 w 1489995"/>
                <a:gd name="connsiteY240" fmla="*/ 846201 h 1273968"/>
                <a:gd name="connsiteX241" fmla="*/ 291941 w 1489995"/>
                <a:gd name="connsiteY241" fmla="*/ 845915 h 1273968"/>
                <a:gd name="connsiteX242" fmla="*/ 293370 w 1489995"/>
                <a:gd name="connsiteY242" fmla="*/ 844201 h 1273968"/>
                <a:gd name="connsiteX243" fmla="*/ 296704 w 1489995"/>
                <a:gd name="connsiteY243" fmla="*/ 845344 h 1273968"/>
                <a:gd name="connsiteX244" fmla="*/ 299657 w 1489995"/>
                <a:gd name="connsiteY244" fmla="*/ 843344 h 1273968"/>
                <a:gd name="connsiteX245" fmla="*/ 300228 w 1489995"/>
                <a:gd name="connsiteY245" fmla="*/ 848106 h 1273968"/>
                <a:gd name="connsiteX246" fmla="*/ 303181 w 1489995"/>
                <a:gd name="connsiteY246" fmla="*/ 846106 h 1273968"/>
                <a:gd name="connsiteX247" fmla="*/ 299657 w 1489995"/>
                <a:gd name="connsiteY247" fmla="*/ 830580 h 1273968"/>
                <a:gd name="connsiteX248" fmla="*/ 298037 w 1489995"/>
                <a:gd name="connsiteY248" fmla="*/ 817912 h 1273968"/>
                <a:gd name="connsiteX249" fmla="*/ 295656 w 1489995"/>
                <a:gd name="connsiteY249" fmla="*/ 811816 h 1273968"/>
                <a:gd name="connsiteX250" fmla="*/ 296609 w 1489995"/>
                <a:gd name="connsiteY250" fmla="*/ 806863 h 1273968"/>
                <a:gd name="connsiteX251" fmla="*/ 296228 w 1489995"/>
                <a:gd name="connsiteY251" fmla="*/ 803720 h 1273968"/>
                <a:gd name="connsiteX252" fmla="*/ 294418 w 1489995"/>
                <a:gd name="connsiteY252" fmla="*/ 802386 h 1273968"/>
                <a:gd name="connsiteX253" fmla="*/ 292417 w 1489995"/>
                <a:gd name="connsiteY253" fmla="*/ 799433 h 1273968"/>
                <a:gd name="connsiteX254" fmla="*/ 293656 w 1489995"/>
                <a:gd name="connsiteY254" fmla="*/ 796004 h 1273968"/>
                <a:gd name="connsiteX255" fmla="*/ 294799 w 1489995"/>
                <a:gd name="connsiteY255" fmla="*/ 792670 h 1273968"/>
                <a:gd name="connsiteX256" fmla="*/ 293941 w 1489995"/>
                <a:gd name="connsiteY256" fmla="*/ 786384 h 1273968"/>
                <a:gd name="connsiteX257" fmla="*/ 292227 w 1489995"/>
                <a:gd name="connsiteY257" fmla="*/ 784955 h 1273968"/>
                <a:gd name="connsiteX258" fmla="*/ 294799 w 1489995"/>
                <a:gd name="connsiteY258" fmla="*/ 779812 h 1273968"/>
                <a:gd name="connsiteX259" fmla="*/ 302419 w 1489995"/>
                <a:gd name="connsiteY259" fmla="*/ 777240 h 1273968"/>
                <a:gd name="connsiteX260" fmla="*/ 291370 w 1489995"/>
                <a:gd name="connsiteY260" fmla="*/ 778669 h 1273968"/>
                <a:gd name="connsiteX261" fmla="*/ 286226 w 1489995"/>
                <a:gd name="connsiteY261" fmla="*/ 776097 h 1273968"/>
                <a:gd name="connsiteX262" fmla="*/ 274034 w 1489995"/>
                <a:gd name="connsiteY262" fmla="*/ 768096 h 1273968"/>
                <a:gd name="connsiteX263" fmla="*/ 270034 w 1489995"/>
                <a:gd name="connsiteY263" fmla="*/ 762190 h 1273968"/>
                <a:gd name="connsiteX264" fmla="*/ 256984 w 1489995"/>
                <a:gd name="connsiteY264" fmla="*/ 760571 h 1273968"/>
                <a:gd name="connsiteX265" fmla="*/ 251841 w 1489995"/>
                <a:gd name="connsiteY265" fmla="*/ 758095 h 1273968"/>
                <a:gd name="connsiteX266" fmla="*/ 245936 w 1489995"/>
                <a:gd name="connsiteY266" fmla="*/ 762000 h 1273968"/>
                <a:gd name="connsiteX267" fmla="*/ 239459 w 1489995"/>
                <a:gd name="connsiteY267" fmla="*/ 761238 h 1273968"/>
                <a:gd name="connsiteX268" fmla="*/ 240792 w 1489995"/>
                <a:gd name="connsiteY268" fmla="*/ 759428 h 1273968"/>
                <a:gd name="connsiteX269" fmla="*/ 239077 w 1489995"/>
                <a:gd name="connsiteY269" fmla="*/ 758095 h 1273968"/>
                <a:gd name="connsiteX270" fmla="*/ 240411 w 1489995"/>
                <a:gd name="connsiteY270" fmla="*/ 756285 h 1273968"/>
                <a:gd name="connsiteX271" fmla="*/ 244030 w 1489995"/>
                <a:gd name="connsiteY271" fmla="*/ 759047 h 1273968"/>
                <a:gd name="connsiteX272" fmla="*/ 245554 w 1489995"/>
                <a:gd name="connsiteY272" fmla="*/ 758857 h 1273968"/>
                <a:gd name="connsiteX273" fmla="*/ 245745 w 1489995"/>
                <a:gd name="connsiteY273" fmla="*/ 747617 h 1273968"/>
                <a:gd name="connsiteX274" fmla="*/ 246507 w 1489995"/>
                <a:gd name="connsiteY274" fmla="*/ 741140 h 1273968"/>
                <a:gd name="connsiteX275" fmla="*/ 244697 w 1489995"/>
                <a:gd name="connsiteY275" fmla="*/ 739711 h 1273968"/>
                <a:gd name="connsiteX276" fmla="*/ 243745 w 1489995"/>
                <a:gd name="connsiteY276" fmla="*/ 731806 h 1273968"/>
                <a:gd name="connsiteX277" fmla="*/ 237649 w 1489995"/>
                <a:gd name="connsiteY277" fmla="*/ 734187 h 1273968"/>
                <a:gd name="connsiteX278" fmla="*/ 232505 w 1489995"/>
                <a:gd name="connsiteY278" fmla="*/ 731615 h 1273968"/>
                <a:gd name="connsiteX279" fmla="*/ 225742 w 1489995"/>
                <a:gd name="connsiteY279" fmla="*/ 729329 h 1273968"/>
                <a:gd name="connsiteX280" fmla="*/ 216503 w 1489995"/>
                <a:gd name="connsiteY280" fmla="*/ 732091 h 1273968"/>
                <a:gd name="connsiteX281" fmla="*/ 211931 w 1489995"/>
                <a:gd name="connsiteY281" fmla="*/ 734282 h 1273968"/>
                <a:gd name="connsiteX282" fmla="*/ 211931 w 1489995"/>
                <a:gd name="connsiteY282" fmla="*/ 734282 h 1273968"/>
                <a:gd name="connsiteX283" fmla="*/ 210407 w 1489995"/>
                <a:gd name="connsiteY283" fmla="*/ 734473 h 1273968"/>
                <a:gd name="connsiteX284" fmla="*/ 209359 w 1489995"/>
                <a:gd name="connsiteY284" fmla="*/ 726567 h 1273968"/>
                <a:gd name="connsiteX285" fmla="*/ 204978 w 1489995"/>
                <a:gd name="connsiteY285" fmla="*/ 717518 h 1273968"/>
                <a:gd name="connsiteX286" fmla="*/ 201644 w 1489995"/>
                <a:gd name="connsiteY286" fmla="*/ 716375 h 1273968"/>
                <a:gd name="connsiteX287" fmla="*/ 198691 w 1489995"/>
                <a:gd name="connsiteY287" fmla="*/ 718280 h 1273968"/>
                <a:gd name="connsiteX288" fmla="*/ 196977 w 1489995"/>
                <a:gd name="connsiteY288" fmla="*/ 716947 h 1273968"/>
                <a:gd name="connsiteX289" fmla="*/ 192976 w 1489995"/>
                <a:gd name="connsiteY289" fmla="*/ 711041 h 1273968"/>
                <a:gd name="connsiteX290" fmla="*/ 189833 w 1489995"/>
                <a:gd name="connsiteY290" fmla="*/ 711422 h 1273968"/>
                <a:gd name="connsiteX291" fmla="*/ 187833 w 1489995"/>
                <a:gd name="connsiteY291" fmla="*/ 695611 h 1273968"/>
                <a:gd name="connsiteX292" fmla="*/ 182880 w 1489995"/>
                <a:gd name="connsiteY292" fmla="*/ 694658 h 1273968"/>
                <a:gd name="connsiteX293" fmla="*/ 178879 w 1489995"/>
                <a:gd name="connsiteY293" fmla="*/ 688753 h 1273968"/>
                <a:gd name="connsiteX294" fmla="*/ 175736 w 1489995"/>
                <a:gd name="connsiteY294" fmla="*/ 689134 h 1273968"/>
                <a:gd name="connsiteX295" fmla="*/ 172402 w 1489995"/>
                <a:gd name="connsiteY295" fmla="*/ 687991 h 1273968"/>
                <a:gd name="connsiteX296" fmla="*/ 169640 w 1489995"/>
                <a:gd name="connsiteY296" fmla="*/ 691515 h 1273968"/>
                <a:gd name="connsiteX297" fmla="*/ 168021 w 1489995"/>
                <a:gd name="connsiteY297" fmla="*/ 691801 h 1273968"/>
                <a:gd name="connsiteX298" fmla="*/ 166497 w 1489995"/>
                <a:gd name="connsiteY298" fmla="*/ 691991 h 1273968"/>
                <a:gd name="connsiteX299" fmla="*/ 163163 w 1489995"/>
                <a:gd name="connsiteY299" fmla="*/ 690753 h 1273968"/>
                <a:gd name="connsiteX300" fmla="*/ 161734 w 1489995"/>
                <a:gd name="connsiteY300" fmla="*/ 692563 h 1273968"/>
                <a:gd name="connsiteX301" fmla="*/ 163925 w 1489995"/>
                <a:gd name="connsiteY301" fmla="*/ 697135 h 1273968"/>
                <a:gd name="connsiteX302" fmla="*/ 144970 w 1489995"/>
                <a:gd name="connsiteY302" fmla="*/ 699516 h 1273968"/>
                <a:gd name="connsiteX303" fmla="*/ 139827 w 1489995"/>
                <a:gd name="connsiteY303" fmla="*/ 696944 h 1273968"/>
                <a:gd name="connsiteX304" fmla="*/ 118777 w 1489995"/>
                <a:gd name="connsiteY304" fmla="*/ 694849 h 1273968"/>
                <a:gd name="connsiteX305" fmla="*/ 118300 w 1489995"/>
                <a:gd name="connsiteY305" fmla="*/ 691706 h 1273968"/>
                <a:gd name="connsiteX306" fmla="*/ 114967 w 1489995"/>
                <a:gd name="connsiteY306" fmla="*/ 690467 h 1273968"/>
                <a:gd name="connsiteX307" fmla="*/ 114586 w 1489995"/>
                <a:gd name="connsiteY307" fmla="*/ 687324 h 1273968"/>
                <a:gd name="connsiteX308" fmla="*/ 109252 w 1489995"/>
                <a:gd name="connsiteY308" fmla="*/ 683228 h 1273968"/>
                <a:gd name="connsiteX309" fmla="*/ 110585 w 1489995"/>
                <a:gd name="connsiteY309" fmla="*/ 681419 h 1273968"/>
                <a:gd name="connsiteX310" fmla="*/ 108680 w 1489995"/>
                <a:gd name="connsiteY310" fmla="*/ 678466 h 1273968"/>
                <a:gd name="connsiteX311" fmla="*/ 103537 w 1489995"/>
                <a:gd name="connsiteY311" fmla="*/ 675894 h 1273968"/>
                <a:gd name="connsiteX312" fmla="*/ 99917 w 1489995"/>
                <a:gd name="connsiteY312" fmla="*/ 673132 h 1273968"/>
                <a:gd name="connsiteX313" fmla="*/ 98393 w 1489995"/>
                <a:gd name="connsiteY313" fmla="*/ 673322 h 1273968"/>
                <a:gd name="connsiteX314" fmla="*/ 94774 w 1489995"/>
                <a:gd name="connsiteY314" fmla="*/ 670655 h 1273968"/>
                <a:gd name="connsiteX315" fmla="*/ 85534 w 1489995"/>
                <a:gd name="connsiteY315" fmla="*/ 673418 h 1273968"/>
                <a:gd name="connsiteX316" fmla="*/ 82772 w 1489995"/>
                <a:gd name="connsiteY316" fmla="*/ 664178 h 1273968"/>
                <a:gd name="connsiteX317" fmla="*/ 78010 w 1489995"/>
                <a:gd name="connsiteY317" fmla="*/ 664750 h 1273968"/>
                <a:gd name="connsiteX318" fmla="*/ 72866 w 1489995"/>
                <a:gd name="connsiteY318" fmla="*/ 662178 h 1273968"/>
                <a:gd name="connsiteX319" fmla="*/ 73438 w 1489995"/>
                <a:gd name="connsiteY319" fmla="*/ 654082 h 1273968"/>
                <a:gd name="connsiteX320" fmla="*/ 76771 w 1489995"/>
                <a:gd name="connsiteY320" fmla="*/ 655225 h 1273968"/>
                <a:gd name="connsiteX321" fmla="*/ 78010 w 1489995"/>
                <a:gd name="connsiteY321" fmla="*/ 651891 h 1273968"/>
                <a:gd name="connsiteX322" fmla="*/ 89249 w 1489995"/>
                <a:gd name="connsiteY322" fmla="*/ 652082 h 1273968"/>
                <a:gd name="connsiteX323" fmla="*/ 97726 w 1489995"/>
                <a:gd name="connsiteY323" fmla="*/ 655796 h 1273968"/>
                <a:gd name="connsiteX324" fmla="*/ 97345 w 1489995"/>
                <a:gd name="connsiteY324" fmla="*/ 652653 h 1273968"/>
                <a:gd name="connsiteX325" fmla="*/ 90583 w 1489995"/>
                <a:gd name="connsiteY325" fmla="*/ 650272 h 1273968"/>
                <a:gd name="connsiteX326" fmla="*/ 89059 w 1489995"/>
                <a:gd name="connsiteY326" fmla="*/ 650462 h 1273968"/>
                <a:gd name="connsiteX327" fmla="*/ 86296 w 1489995"/>
                <a:gd name="connsiteY327" fmla="*/ 641223 h 1273968"/>
                <a:gd name="connsiteX328" fmla="*/ 82867 w 1489995"/>
                <a:gd name="connsiteY328" fmla="*/ 640080 h 1273968"/>
                <a:gd name="connsiteX329" fmla="*/ 70294 w 1489995"/>
                <a:gd name="connsiteY329" fmla="*/ 641699 h 1273968"/>
                <a:gd name="connsiteX330" fmla="*/ 66294 w 1489995"/>
                <a:gd name="connsiteY330" fmla="*/ 648557 h 1273968"/>
                <a:gd name="connsiteX331" fmla="*/ 60007 w 1489995"/>
                <a:gd name="connsiteY331" fmla="*/ 649415 h 1273968"/>
                <a:gd name="connsiteX332" fmla="*/ 56483 w 1489995"/>
                <a:gd name="connsiteY332" fmla="*/ 646652 h 1273968"/>
                <a:gd name="connsiteX333" fmla="*/ 57626 w 1489995"/>
                <a:gd name="connsiteY333" fmla="*/ 643319 h 1273968"/>
                <a:gd name="connsiteX334" fmla="*/ 57245 w 1489995"/>
                <a:gd name="connsiteY334" fmla="*/ 640080 h 1273968"/>
                <a:gd name="connsiteX335" fmla="*/ 54292 w 1489995"/>
                <a:gd name="connsiteY335" fmla="*/ 642080 h 1273968"/>
                <a:gd name="connsiteX336" fmla="*/ 52102 w 1489995"/>
                <a:gd name="connsiteY336" fmla="*/ 637604 h 1273968"/>
                <a:gd name="connsiteX337" fmla="*/ 47815 w 1489995"/>
                <a:gd name="connsiteY337" fmla="*/ 641318 h 1273968"/>
                <a:gd name="connsiteX338" fmla="*/ 32956 w 1489995"/>
                <a:gd name="connsiteY338" fmla="*/ 638365 h 1273968"/>
                <a:gd name="connsiteX339" fmla="*/ 30861 w 1489995"/>
                <a:gd name="connsiteY339" fmla="*/ 646652 h 1273968"/>
                <a:gd name="connsiteX340" fmla="*/ 27622 w 1489995"/>
                <a:gd name="connsiteY340" fmla="*/ 647129 h 1273968"/>
                <a:gd name="connsiteX341" fmla="*/ 25336 w 1489995"/>
                <a:gd name="connsiteY341" fmla="*/ 653796 h 1273968"/>
                <a:gd name="connsiteX342" fmla="*/ 23717 w 1489995"/>
                <a:gd name="connsiteY342" fmla="*/ 653986 h 1273968"/>
                <a:gd name="connsiteX343" fmla="*/ 18764 w 1489995"/>
                <a:gd name="connsiteY343" fmla="*/ 653034 h 1273968"/>
                <a:gd name="connsiteX344" fmla="*/ 17812 w 1489995"/>
                <a:gd name="connsiteY344" fmla="*/ 645128 h 1273968"/>
                <a:gd name="connsiteX345" fmla="*/ 6763 w 1489995"/>
                <a:gd name="connsiteY345" fmla="*/ 646557 h 1273968"/>
                <a:gd name="connsiteX346" fmla="*/ 2191 w 1489995"/>
                <a:gd name="connsiteY346" fmla="*/ 648748 h 1273968"/>
                <a:gd name="connsiteX347" fmla="*/ 667 w 1489995"/>
                <a:gd name="connsiteY347" fmla="*/ 648938 h 1273968"/>
                <a:gd name="connsiteX348" fmla="*/ 0 w 1489995"/>
                <a:gd name="connsiteY348" fmla="*/ 644176 h 1273968"/>
                <a:gd name="connsiteX349" fmla="*/ 4191 w 1489995"/>
                <a:gd name="connsiteY349" fmla="*/ 638842 h 1273968"/>
                <a:gd name="connsiteX350" fmla="*/ 3524 w 1489995"/>
                <a:gd name="connsiteY350" fmla="*/ 634175 h 1273968"/>
                <a:gd name="connsiteX351" fmla="*/ 9430 w 1489995"/>
                <a:gd name="connsiteY351" fmla="*/ 630174 h 1273968"/>
                <a:gd name="connsiteX352" fmla="*/ 10858 w 1489995"/>
                <a:gd name="connsiteY352" fmla="*/ 628364 h 1273968"/>
                <a:gd name="connsiteX353" fmla="*/ 8858 w 1489995"/>
                <a:gd name="connsiteY353" fmla="*/ 625411 h 1273968"/>
                <a:gd name="connsiteX354" fmla="*/ 12954 w 1489995"/>
                <a:gd name="connsiteY354" fmla="*/ 620078 h 1273968"/>
                <a:gd name="connsiteX355" fmla="*/ 12382 w 1489995"/>
                <a:gd name="connsiteY355" fmla="*/ 615410 h 1273968"/>
                <a:gd name="connsiteX356" fmla="*/ 17335 w 1489995"/>
                <a:gd name="connsiteY356" fmla="*/ 616363 h 1273968"/>
                <a:gd name="connsiteX357" fmla="*/ 23622 w 1489995"/>
                <a:gd name="connsiteY357" fmla="*/ 615506 h 1273968"/>
                <a:gd name="connsiteX358" fmla="*/ 24003 w 1489995"/>
                <a:gd name="connsiteY358" fmla="*/ 605885 h 1273968"/>
                <a:gd name="connsiteX359" fmla="*/ 21622 w 1489995"/>
                <a:gd name="connsiteY359" fmla="*/ 599789 h 1273968"/>
                <a:gd name="connsiteX360" fmla="*/ 21431 w 1489995"/>
                <a:gd name="connsiteY360" fmla="*/ 598170 h 1273968"/>
                <a:gd name="connsiteX361" fmla="*/ 16478 w 1489995"/>
                <a:gd name="connsiteY361" fmla="*/ 597218 h 1273968"/>
                <a:gd name="connsiteX362" fmla="*/ 13906 w 1489995"/>
                <a:gd name="connsiteY362" fmla="*/ 589502 h 1273968"/>
                <a:gd name="connsiteX363" fmla="*/ 9811 w 1489995"/>
                <a:gd name="connsiteY363" fmla="*/ 594836 h 1273968"/>
                <a:gd name="connsiteX364" fmla="*/ 7810 w 1489995"/>
                <a:gd name="connsiteY364" fmla="*/ 591884 h 1273968"/>
                <a:gd name="connsiteX365" fmla="*/ 8382 w 1489995"/>
                <a:gd name="connsiteY365" fmla="*/ 583787 h 1273968"/>
                <a:gd name="connsiteX366" fmla="*/ 9144 w 1489995"/>
                <a:gd name="connsiteY366" fmla="*/ 577310 h 1273968"/>
                <a:gd name="connsiteX367" fmla="*/ 7144 w 1489995"/>
                <a:gd name="connsiteY367" fmla="*/ 574358 h 1273968"/>
                <a:gd name="connsiteX368" fmla="*/ 11525 w 1489995"/>
                <a:gd name="connsiteY368" fmla="*/ 570548 h 1273968"/>
                <a:gd name="connsiteX369" fmla="*/ 14859 w 1489995"/>
                <a:gd name="connsiteY369" fmla="*/ 571786 h 1273968"/>
                <a:gd name="connsiteX370" fmla="*/ 17621 w 1489995"/>
                <a:gd name="connsiteY370" fmla="*/ 568166 h 1273968"/>
                <a:gd name="connsiteX371" fmla="*/ 20764 w 1489995"/>
                <a:gd name="connsiteY371" fmla="*/ 567785 h 1273968"/>
                <a:gd name="connsiteX372" fmla="*/ 21526 w 1489995"/>
                <a:gd name="connsiteY372" fmla="*/ 561308 h 1273968"/>
                <a:gd name="connsiteX373" fmla="*/ 31242 w 1489995"/>
                <a:gd name="connsiteY373" fmla="*/ 561689 h 1273968"/>
                <a:gd name="connsiteX374" fmla="*/ 31242 w 1489995"/>
                <a:gd name="connsiteY374" fmla="*/ 561689 h 1273968"/>
                <a:gd name="connsiteX375" fmla="*/ 31432 w 1489995"/>
                <a:gd name="connsiteY375" fmla="*/ 563213 h 1273968"/>
                <a:gd name="connsiteX376" fmla="*/ 41434 w 1489995"/>
                <a:gd name="connsiteY376" fmla="*/ 566738 h 1273968"/>
                <a:gd name="connsiteX377" fmla="*/ 46196 w 1489995"/>
                <a:gd name="connsiteY377" fmla="*/ 566166 h 1273968"/>
                <a:gd name="connsiteX378" fmla="*/ 47149 w 1489995"/>
                <a:gd name="connsiteY378" fmla="*/ 561213 h 1273968"/>
                <a:gd name="connsiteX379" fmla="*/ 45434 w 1489995"/>
                <a:gd name="connsiteY379" fmla="*/ 559880 h 1273968"/>
                <a:gd name="connsiteX380" fmla="*/ 46577 w 1489995"/>
                <a:gd name="connsiteY380" fmla="*/ 556451 h 1273968"/>
                <a:gd name="connsiteX381" fmla="*/ 48387 w 1489995"/>
                <a:gd name="connsiteY381" fmla="*/ 557879 h 1273968"/>
                <a:gd name="connsiteX382" fmla="*/ 53054 w 1489995"/>
                <a:gd name="connsiteY382" fmla="*/ 557213 h 1273968"/>
                <a:gd name="connsiteX383" fmla="*/ 51911 w 1489995"/>
                <a:gd name="connsiteY383" fmla="*/ 547783 h 1273968"/>
                <a:gd name="connsiteX384" fmla="*/ 51721 w 1489995"/>
                <a:gd name="connsiteY384" fmla="*/ 546163 h 1273968"/>
                <a:gd name="connsiteX385" fmla="*/ 52102 w 1489995"/>
                <a:gd name="connsiteY385" fmla="*/ 536543 h 1273968"/>
                <a:gd name="connsiteX386" fmla="*/ 52483 w 1489995"/>
                <a:gd name="connsiteY386" fmla="*/ 539686 h 1273968"/>
                <a:gd name="connsiteX387" fmla="*/ 53816 w 1489995"/>
                <a:gd name="connsiteY387" fmla="*/ 537877 h 1273968"/>
                <a:gd name="connsiteX388" fmla="*/ 56007 w 1489995"/>
                <a:gd name="connsiteY388" fmla="*/ 542449 h 1273968"/>
                <a:gd name="connsiteX389" fmla="*/ 60960 w 1489995"/>
                <a:gd name="connsiteY389" fmla="*/ 543401 h 1273968"/>
                <a:gd name="connsiteX390" fmla="*/ 65913 w 1489995"/>
                <a:gd name="connsiteY390" fmla="*/ 544354 h 1273968"/>
                <a:gd name="connsiteX391" fmla="*/ 66865 w 1489995"/>
                <a:gd name="connsiteY391" fmla="*/ 539496 h 1273968"/>
                <a:gd name="connsiteX392" fmla="*/ 66103 w 1489995"/>
                <a:gd name="connsiteY392" fmla="*/ 533114 h 1273968"/>
                <a:gd name="connsiteX393" fmla="*/ 65246 w 1489995"/>
                <a:gd name="connsiteY393" fmla="*/ 526828 h 1273968"/>
                <a:gd name="connsiteX394" fmla="*/ 60103 w 1489995"/>
                <a:gd name="connsiteY394" fmla="*/ 524256 h 1273968"/>
                <a:gd name="connsiteX395" fmla="*/ 60103 w 1489995"/>
                <a:gd name="connsiteY395" fmla="*/ 524256 h 1273968"/>
                <a:gd name="connsiteX396" fmla="*/ 69628 w 1489995"/>
                <a:gd name="connsiteY396" fmla="*/ 523113 h 1273968"/>
                <a:gd name="connsiteX397" fmla="*/ 70580 w 1489995"/>
                <a:gd name="connsiteY397" fmla="*/ 518160 h 1273968"/>
                <a:gd name="connsiteX398" fmla="*/ 66008 w 1489995"/>
                <a:gd name="connsiteY398" fmla="*/ 507492 h 1273968"/>
                <a:gd name="connsiteX399" fmla="*/ 68770 w 1489995"/>
                <a:gd name="connsiteY399" fmla="*/ 503968 h 1273968"/>
                <a:gd name="connsiteX400" fmla="*/ 66199 w 1489995"/>
                <a:gd name="connsiteY400" fmla="*/ 496253 h 1273968"/>
                <a:gd name="connsiteX401" fmla="*/ 69913 w 1489995"/>
                <a:gd name="connsiteY401" fmla="*/ 500539 h 1273968"/>
                <a:gd name="connsiteX402" fmla="*/ 69723 w 1489995"/>
                <a:gd name="connsiteY402" fmla="*/ 499015 h 1273968"/>
                <a:gd name="connsiteX403" fmla="*/ 77629 w 1489995"/>
                <a:gd name="connsiteY403" fmla="*/ 497967 h 1273968"/>
                <a:gd name="connsiteX404" fmla="*/ 80581 w 1489995"/>
                <a:gd name="connsiteY404" fmla="*/ 496062 h 1273968"/>
                <a:gd name="connsiteX405" fmla="*/ 80391 w 1489995"/>
                <a:gd name="connsiteY405" fmla="*/ 494443 h 1273968"/>
                <a:gd name="connsiteX406" fmla="*/ 83534 w 1489995"/>
                <a:gd name="connsiteY406" fmla="*/ 494062 h 1273968"/>
                <a:gd name="connsiteX407" fmla="*/ 83534 w 1489995"/>
                <a:gd name="connsiteY407" fmla="*/ 494062 h 1273968"/>
                <a:gd name="connsiteX408" fmla="*/ 83153 w 1489995"/>
                <a:gd name="connsiteY408" fmla="*/ 490919 h 1273968"/>
                <a:gd name="connsiteX409" fmla="*/ 87820 w 1489995"/>
                <a:gd name="connsiteY409" fmla="*/ 490252 h 1273968"/>
                <a:gd name="connsiteX410" fmla="*/ 86106 w 1489995"/>
                <a:gd name="connsiteY410" fmla="*/ 488918 h 1273968"/>
                <a:gd name="connsiteX411" fmla="*/ 85249 w 1489995"/>
                <a:gd name="connsiteY411" fmla="*/ 482632 h 1273968"/>
                <a:gd name="connsiteX412" fmla="*/ 86868 w 1489995"/>
                <a:gd name="connsiteY412" fmla="*/ 482346 h 1273968"/>
                <a:gd name="connsiteX413" fmla="*/ 90202 w 1489995"/>
                <a:gd name="connsiteY413" fmla="*/ 483584 h 1273968"/>
                <a:gd name="connsiteX414" fmla="*/ 91345 w 1489995"/>
                <a:gd name="connsiteY414" fmla="*/ 480250 h 1273968"/>
                <a:gd name="connsiteX415" fmla="*/ 97726 w 1489995"/>
                <a:gd name="connsiteY415" fmla="*/ 479393 h 1273968"/>
                <a:gd name="connsiteX416" fmla="*/ 100013 w 1489995"/>
                <a:gd name="connsiteY416" fmla="*/ 472726 h 1273968"/>
                <a:gd name="connsiteX417" fmla="*/ 107728 w 1489995"/>
                <a:gd name="connsiteY417" fmla="*/ 470154 h 1273968"/>
                <a:gd name="connsiteX418" fmla="*/ 110871 w 1489995"/>
                <a:gd name="connsiteY418" fmla="*/ 469678 h 1273968"/>
                <a:gd name="connsiteX419" fmla="*/ 110680 w 1489995"/>
                <a:gd name="connsiteY419" fmla="*/ 468154 h 1273968"/>
                <a:gd name="connsiteX420" fmla="*/ 113633 w 1489995"/>
                <a:gd name="connsiteY420" fmla="*/ 466154 h 1273968"/>
                <a:gd name="connsiteX421" fmla="*/ 113633 w 1489995"/>
                <a:gd name="connsiteY421" fmla="*/ 466154 h 1273968"/>
                <a:gd name="connsiteX422" fmla="*/ 121348 w 1489995"/>
                <a:gd name="connsiteY422" fmla="*/ 476345 h 1273968"/>
                <a:gd name="connsiteX423" fmla="*/ 124777 w 1489995"/>
                <a:gd name="connsiteY423" fmla="*/ 477584 h 1273968"/>
                <a:gd name="connsiteX424" fmla="*/ 127730 w 1489995"/>
                <a:gd name="connsiteY424" fmla="*/ 475583 h 1273968"/>
                <a:gd name="connsiteX425" fmla="*/ 135541 w 1489995"/>
                <a:gd name="connsiteY425" fmla="*/ 474536 h 1273968"/>
                <a:gd name="connsiteX426" fmla="*/ 142684 w 1489995"/>
                <a:gd name="connsiteY426" fmla="*/ 467296 h 1273968"/>
                <a:gd name="connsiteX427" fmla="*/ 147828 w 1489995"/>
                <a:gd name="connsiteY427" fmla="*/ 469773 h 1273968"/>
                <a:gd name="connsiteX428" fmla="*/ 147352 w 1489995"/>
                <a:gd name="connsiteY428" fmla="*/ 466630 h 1273968"/>
                <a:gd name="connsiteX429" fmla="*/ 160782 w 1489995"/>
                <a:gd name="connsiteY429" fmla="*/ 458534 h 1273968"/>
                <a:gd name="connsiteX430" fmla="*/ 156591 w 1489995"/>
                <a:gd name="connsiteY430" fmla="*/ 451009 h 1273968"/>
                <a:gd name="connsiteX431" fmla="*/ 164973 w 1489995"/>
                <a:gd name="connsiteY431" fmla="*/ 453200 h 1273968"/>
                <a:gd name="connsiteX432" fmla="*/ 167926 w 1489995"/>
                <a:gd name="connsiteY432" fmla="*/ 451199 h 1273968"/>
                <a:gd name="connsiteX433" fmla="*/ 171640 w 1489995"/>
                <a:gd name="connsiteY433" fmla="*/ 442722 h 1273968"/>
                <a:gd name="connsiteX434" fmla="*/ 169831 w 1489995"/>
                <a:gd name="connsiteY434" fmla="*/ 441388 h 1273968"/>
                <a:gd name="connsiteX435" fmla="*/ 171164 w 1489995"/>
                <a:gd name="connsiteY435" fmla="*/ 439579 h 1273968"/>
                <a:gd name="connsiteX436" fmla="*/ 171450 w 1489995"/>
                <a:gd name="connsiteY436" fmla="*/ 441103 h 1273968"/>
                <a:gd name="connsiteX437" fmla="*/ 176117 w 1489995"/>
                <a:gd name="connsiteY437" fmla="*/ 440531 h 1273968"/>
                <a:gd name="connsiteX438" fmla="*/ 180308 w 1489995"/>
                <a:gd name="connsiteY438" fmla="*/ 435197 h 1273968"/>
                <a:gd name="connsiteX439" fmla="*/ 192691 w 1489995"/>
                <a:gd name="connsiteY439" fmla="*/ 419195 h 1273968"/>
                <a:gd name="connsiteX440" fmla="*/ 194691 w 1489995"/>
                <a:gd name="connsiteY440" fmla="*/ 422148 h 1273968"/>
                <a:gd name="connsiteX441" fmla="*/ 193262 w 1489995"/>
                <a:gd name="connsiteY441" fmla="*/ 423958 h 1273968"/>
                <a:gd name="connsiteX442" fmla="*/ 193262 w 1489995"/>
                <a:gd name="connsiteY442" fmla="*/ 436721 h 1273968"/>
                <a:gd name="connsiteX443" fmla="*/ 202597 w 1489995"/>
                <a:gd name="connsiteY443" fmla="*/ 433959 h 1273968"/>
                <a:gd name="connsiteX444" fmla="*/ 205930 w 1489995"/>
                <a:gd name="connsiteY444" fmla="*/ 435102 h 1273968"/>
                <a:gd name="connsiteX445" fmla="*/ 211264 w 1489995"/>
                <a:gd name="connsiteY445" fmla="*/ 439293 h 1273968"/>
                <a:gd name="connsiteX446" fmla="*/ 214408 w 1489995"/>
                <a:gd name="connsiteY446" fmla="*/ 438912 h 1273968"/>
                <a:gd name="connsiteX447" fmla="*/ 225076 w 1489995"/>
                <a:gd name="connsiteY447" fmla="*/ 434340 h 1273968"/>
                <a:gd name="connsiteX448" fmla="*/ 242792 w 1489995"/>
                <a:gd name="connsiteY448" fmla="*/ 435292 h 1273968"/>
                <a:gd name="connsiteX449" fmla="*/ 247936 w 1489995"/>
                <a:gd name="connsiteY449" fmla="*/ 437769 h 1273968"/>
                <a:gd name="connsiteX450" fmla="*/ 250317 w 1489995"/>
                <a:gd name="connsiteY450" fmla="*/ 431102 h 1273968"/>
                <a:gd name="connsiteX451" fmla="*/ 251079 w 1489995"/>
                <a:gd name="connsiteY451" fmla="*/ 424529 h 1273968"/>
                <a:gd name="connsiteX452" fmla="*/ 253079 w 1489995"/>
                <a:gd name="connsiteY452" fmla="*/ 427577 h 1273968"/>
                <a:gd name="connsiteX453" fmla="*/ 256794 w 1489995"/>
                <a:gd name="connsiteY453" fmla="*/ 419005 h 1273968"/>
                <a:gd name="connsiteX454" fmla="*/ 258794 w 1489995"/>
                <a:gd name="connsiteY454" fmla="*/ 421958 h 1273968"/>
                <a:gd name="connsiteX455" fmla="*/ 258032 w 1489995"/>
                <a:gd name="connsiteY455" fmla="*/ 428530 h 1273968"/>
                <a:gd name="connsiteX456" fmla="*/ 261175 w 1489995"/>
                <a:gd name="connsiteY456" fmla="*/ 428149 h 1273968"/>
                <a:gd name="connsiteX457" fmla="*/ 263747 w 1489995"/>
                <a:gd name="connsiteY457" fmla="*/ 423005 h 1273968"/>
                <a:gd name="connsiteX458" fmla="*/ 266890 w 1489995"/>
                <a:gd name="connsiteY458" fmla="*/ 422529 h 1273968"/>
                <a:gd name="connsiteX459" fmla="*/ 275177 w 1489995"/>
                <a:gd name="connsiteY459" fmla="*/ 411861 h 1273968"/>
                <a:gd name="connsiteX460" fmla="*/ 280607 w 1489995"/>
                <a:gd name="connsiteY460" fmla="*/ 404813 h 1273968"/>
                <a:gd name="connsiteX461" fmla="*/ 282988 w 1489995"/>
                <a:gd name="connsiteY461" fmla="*/ 398050 h 1273968"/>
                <a:gd name="connsiteX462" fmla="*/ 286131 w 1489995"/>
                <a:gd name="connsiteY462" fmla="*/ 397669 h 1273968"/>
                <a:gd name="connsiteX463" fmla="*/ 292036 w 1489995"/>
                <a:gd name="connsiteY463" fmla="*/ 393668 h 1273968"/>
                <a:gd name="connsiteX464" fmla="*/ 295180 w 1489995"/>
                <a:gd name="connsiteY464" fmla="*/ 393287 h 1273968"/>
                <a:gd name="connsiteX465" fmla="*/ 299180 w 1489995"/>
                <a:gd name="connsiteY465" fmla="*/ 399193 h 1273968"/>
                <a:gd name="connsiteX466" fmla="*/ 300323 w 1489995"/>
                <a:gd name="connsiteY466" fmla="*/ 395859 h 1273968"/>
                <a:gd name="connsiteX467" fmla="*/ 302133 w 1489995"/>
                <a:gd name="connsiteY467" fmla="*/ 397192 h 1273968"/>
                <a:gd name="connsiteX468" fmla="*/ 308705 w 1489995"/>
                <a:gd name="connsiteY468" fmla="*/ 410813 h 1273968"/>
                <a:gd name="connsiteX469" fmla="*/ 307943 w 1489995"/>
                <a:gd name="connsiteY469" fmla="*/ 417386 h 1273968"/>
                <a:gd name="connsiteX470" fmla="*/ 309848 w 1489995"/>
                <a:gd name="connsiteY470" fmla="*/ 420338 h 1273968"/>
                <a:gd name="connsiteX471" fmla="*/ 309848 w 1489995"/>
                <a:gd name="connsiteY471" fmla="*/ 420338 h 1273968"/>
                <a:gd name="connsiteX472" fmla="*/ 326993 w 1489995"/>
                <a:gd name="connsiteY472" fmla="*/ 416528 h 1273968"/>
                <a:gd name="connsiteX473" fmla="*/ 327374 w 1489995"/>
                <a:gd name="connsiteY473" fmla="*/ 406813 h 1273968"/>
                <a:gd name="connsiteX474" fmla="*/ 330327 w 1489995"/>
                <a:gd name="connsiteY474" fmla="*/ 404813 h 1273968"/>
                <a:gd name="connsiteX475" fmla="*/ 327946 w 1489995"/>
                <a:gd name="connsiteY475" fmla="*/ 398717 h 1273968"/>
                <a:gd name="connsiteX476" fmla="*/ 333661 w 1489995"/>
                <a:gd name="connsiteY476" fmla="*/ 393192 h 1273968"/>
                <a:gd name="connsiteX477" fmla="*/ 337661 w 1489995"/>
                <a:gd name="connsiteY477" fmla="*/ 386334 h 1273968"/>
                <a:gd name="connsiteX478" fmla="*/ 343948 w 1489995"/>
                <a:gd name="connsiteY478" fmla="*/ 385477 h 1273968"/>
                <a:gd name="connsiteX479" fmla="*/ 359473 w 1489995"/>
                <a:gd name="connsiteY479" fmla="*/ 381857 h 1273968"/>
                <a:gd name="connsiteX480" fmla="*/ 362712 w 1489995"/>
                <a:gd name="connsiteY480" fmla="*/ 381476 h 1273968"/>
                <a:gd name="connsiteX481" fmla="*/ 361474 w 1489995"/>
                <a:gd name="connsiteY481" fmla="*/ 384810 h 1273968"/>
                <a:gd name="connsiteX482" fmla="*/ 370522 w 1489995"/>
                <a:gd name="connsiteY482" fmla="*/ 380524 h 1273968"/>
                <a:gd name="connsiteX483" fmla="*/ 371761 w 1489995"/>
                <a:gd name="connsiteY483" fmla="*/ 377095 h 1273968"/>
                <a:gd name="connsiteX484" fmla="*/ 376428 w 1489995"/>
                <a:gd name="connsiteY484" fmla="*/ 376523 h 1273968"/>
                <a:gd name="connsiteX485" fmla="*/ 381000 w 1489995"/>
                <a:gd name="connsiteY485" fmla="*/ 374333 h 1273968"/>
                <a:gd name="connsiteX486" fmla="*/ 381762 w 1489995"/>
                <a:gd name="connsiteY486" fmla="*/ 367856 h 1273968"/>
                <a:gd name="connsiteX487" fmla="*/ 384905 w 1489995"/>
                <a:gd name="connsiteY487" fmla="*/ 367475 h 1273968"/>
                <a:gd name="connsiteX488" fmla="*/ 384715 w 1489995"/>
                <a:gd name="connsiteY488" fmla="*/ 365855 h 1273968"/>
                <a:gd name="connsiteX489" fmla="*/ 388048 w 1489995"/>
                <a:gd name="connsiteY489" fmla="*/ 366998 h 1273968"/>
                <a:gd name="connsiteX490" fmla="*/ 390811 w 1489995"/>
                <a:gd name="connsiteY490" fmla="*/ 363474 h 1273968"/>
                <a:gd name="connsiteX491" fmla="*/ 392049 w 1489995"/>
                <a:gd name="connsiteY491" fmla="*/ 360140 h 1273968"/>
                <a:gd name="connsiteX492" fmla="*/ 390811 w 1489995"/>
                <a:gd name="connsiteY492" fmla="*/ 350615 h 1273968"/>
                <a:gd name="connsiteX493" fmla="*/ 390430 w 1489995"/>
                <a:gd name="connsiteY493" fmla="*/ 347472 h 1273968"/>
                <a:gd name="connsiteX494" fmla="*/ 387287 w 1489995"/>
                <a:gd name="connsiteY494" fmla="*/ 347853 h 1273968"/>
                <a:gd name="connsiteX495" fmla="*/ 388810 w 1489995"/>
                <a:gd name="connsiteY495" fmla="*/ 347663 h 1273968"/>
                <a:gd name="connsiteX496" fmla="*/ 388620 w 1489995"/>
                <a:gd name="connsiteY496" fmla="*/ 346138 h 1273968"/>
                <a:gd name="connsiteX497" fmla="*/ 395192 w 1489995"/>
                <a:gd name="connsiteY497" fmla="*/ 346900 h 1273968"/>
                <a:gd name="connsiteX498" fmla="*/ 395383 w 1489995"/>
                <a:gd name="connsiteY498" fmla="*/ 348425 h 1273968"/>
                <a:gd name="connsiteX499" fmla="*/ 401669 w 1489995"/>
                <a:gd name="connsiteY499" fmla="*/ 347663 h 1273968"/>
                <a:gd name="connsiteX500" fmla="*/ 402050 w 1489995"/>
                <a:gd name="connsiteY500" fmla="*/ 350806 h 1273968"/>
                <a:gd name="connsiteX501" fmla="*/ 414909 w 1489995"/>
                <a:gd name="connsiteY501" fmla="*/ 350806 h 1273968"/>
                <a:gd name="connsiteX502" fmla="*/ 418052 w 1489995"/>
                <a:gd name="connsiteY502" fmla="*/ 350425 h 1273968"/>
                <a:gd name="connsiteX503" fmla="*/ 417862 w 1489995"/>
                <a:gd name="connsiteY503" fmla="*/ 348806 h 1273968"/>
                <a:gd name="connsiteX504" fmla="*/ 415862 w 1489995"/>
                <a:gd name="connsiteY504" fmla="*/ 345853 h 1273968"/>
                <a:gd name="connsiteX505" fmla="*/ 417481 w 1489995"/>
                <a:gd name="connsiteY505" fmla="*/ 345662 h 1273968"/>
                <a:gd name="connsiteX506" fmla="*/ 417195 w 1489995"/>
                <a:gd name="connsiteY506" fmla="*/ 344043 h 1273968"/>
                <a:gd name="connsiteX507" fmla="*/ 415480 w 1489995"/>
                <a:gd name="connsiteY507" fmla="*/ 342710 h 1273968"/>
                <a:gd name="connsiteX508" fmla="*/ 417767 w 1489995"/>
                <a:gd name="connsiteY508" fmla="*/ 335947 h 1273968"/>
                <a:gd name="connsiteX509" fmla="*/ 413861 w 1489995"/>
                <a:gd name="connsiteY509" fmla="*/ 330041 h 1273968"/>
                <a:gd name="connsiteX510" fmla="*/ 410718 w 1489995"/>
                <a:gd name="connsiteY510" fmla="*/ 330517 h 1273968"/>
                <a:gd name="connsiteX511" fmla="*/ 408908 w 1489995"/>
                <a:gd name="connsiteY511" fmla="*/ 316230 h 1273968"/>
                <a:gd name="connsiteX512" fmla="*/ 416623 w 1489995"/>
                <a:gd name="connsiteY512" fmla="*/ 313658 h 1273968"/>
                <a:gd name="connsiteX513" fmla="*/ 414814 w 1489995"/>
                <a:gd name="connsiteY513" fmla="*/ 312325 h 1273968"/>
                <a:gd name="connsiteX514" fmla="*/ 419576 w 1489995"/>
                <a:gd name="connsiteY514" fmla="*/ 311753 h 1273968"/>
                <a:gd name="connsiteX515" fmla="*/ 422053 w 1489995"/>
                <a:gd name="connsiteY515" fmla="*/ 306610 h 1273968"/>
                <a:gd name="connsiteX516" fmla="*/ 425196 w 1489995"/>
                <a:gd name="connsiteY516" fmla="*/ 306134 h 1273968"/>
                <a:gd name="connsiteX517" fmla="*/ 427958 w 1489995"/>
                <a:gd name="connsiteY517" fmla="*/ 302609 h 1273968"/>
                <a:gd name="connsiteX518" fmla="*/ 435673 w 1489995"/>
                <a:gd name="connsiteY518" fmla="*/ 300038 h 1273968"/>
                <a:gd name="connsiteX519" fmla="*/ 441388 w 1489995"/>
                <a:gd name="connsiteY519" fmla="*/ 307277 h 1273968"/>
                <a:gd name="connsiteX520" fmla="*/ 444817 w 1489995"/>
                <a:gd name="connsiteY520" fmla="*/ 308515 h 1273968"/>
                <a:gd name="connsiteX521" fmla="*/ 444151 w 1489995"/>
                <a:gd name="connsiteY521" fmla="*/ 303752 h 1273968"/>
                <a:gd name="connsiteX522" fmla="*/ 447294 w 1489995"/>
                <a:gd name="connsiteY522" fmla="*/ 303371 h 1273968"/>
                <a:gd name="connsiteX523" fmla="*/ 447104 w 1489995"/>
                <a:gd name="connsiteY523" fmla="*/ 301752 h 1273968"/>
                <a:gd name="connsiteX524" fmla="*/ 459200 w 1489995"/>
                <a:gd name="connsiteY524" fmla="*/ 308229 h 1273968"/>
                <a:gd name="connsiteX525" fmla="*/ 469011 w 1489995"/>
                <a:gd name="connsiteY525" fmla="*/ 310229 h 1273968"/>
                <a:gd name="connsiteX526" fmla="*/ 471011 w 1489995"/>
                <a:gd name="connsiteY526" fmla="*/ 313182 h 1273968"/>
                <a:gd name="connsiteX527" fmla="*/ 474155 w 1489995"/>
                <a:gd name="connsiteY527" fmla="*/ 312801 h 1273968"/>
                <a:gd name="connsiteX528" fmla="*/ 474631 w 1489995"/>
                <a:gd name="connsiteY528" fmla="*/ 315944 h 1273968"/>
                <a:gd name="connsiteX529" fmla="*/ 476155 w 1489995"/>
                <a:gd name="connsiteY529" fmla="*/ 315754 h 1273968"/>
                <a:gd name="connsiteX530" fmla="*/ 489013 w 1489995"/>
                <a:gd name="connsiteY530" fmla="*/ 315659 h 1273968"/>
                <a:gd name="connsiteX531" fmla="*/ 503396 w 1489995"/>
                <a:gd name="connsiteY531" fmla="*/ 315468 h 1273968"/>
                <a:gd name="connsiteX532" fmla="*/ 503777 w 1489995"/>
                <a:gd name="connsiteY532" fmla="*/ 318611 h 1273968"/>
                <a:gd name="connsiteX533" fmla="*/ 510350 w 1489995"/>
                <a:gd name="connsiteY533" fmla="*/ 319373 h 1273968"/>
                <a:gd name="connsiteX534" fmla="*/ 519970 w 1489995"/>
                <a:gd name="connsiteY534" fmla="*/ 319754 h 1273968"/>
                <a:gd name="connsiteX535" fmla="*/ 521780 w 1489995"/>
                <a:gd name="connsiteY535" fmla="*/ 321088 h 1273968"/>
                <a:gd name="connsiteX536" fmla="*/ 523113 w 1489995"/>
                <a:gd name="connsiteY536" fmla="*/ 319373 h 1273968"/>
                <a:gd name="connsiteX537" fmla="*/ 538925 w 1489995"/>
                <a:gd name="connsiteY537" fmla="*/ 317373 h 1273968"/>
                <a:gd name="connsiteX538" fmla="*/ 540258 w 1489995"/>
                <a:gd name="connsiteY538" fmla="*/ 315563 h 1273968"/>
                <a:gd name="connsiteX539" fmla="*/ 548640 w 1489995"/>
                <a:gd name="connsiteY539" fmla="*/ 317754 h 1273968"/>
                <a:gd name="connsiteX540" fmla="*/ 550926 w 1489995"/>
                <a:gd name="connsiteY540" fmla="*/ 310991 h 1273968"/>
                <a:gd name="connsiteX541" fmla="*/ 548735 w 1489995"/>
                <a:gd name="connsiteY541" fmla="*/ 306419 h 1273968"/>
                <a:gd name="connsiteX542" fmla="*/ 558832 w 1489995"/>
                <a:gd name="connsiteY542" fmla="*/ 310039 h 1273968"/>
                <a:gd name="connsiteX543" fmla="*/ 557498 w 1489995"/>
                <a:gd name="connsiteY543" fmla="*/ 311753 h 1273968"/>
                <a:gd name="connsiteX544" fmla="*/ 561404 w 1489995"/>
                <a:gd name="connsiteY544" fmla="*/ 317659 h 1273968"/>
                <a:gd name="connsiteX545" fmla="*/ 562642 w 1489995"/>
                <a:gd name="connsiteY545" fmla="*/ 314325 h 1273968"/>
                <a:gd name="connsiteX546" fmla="*/ 569500 w 1489995"/>
                <a:gd name="connsiteY546" fmla="*/ 318230 h 1273968"/>
                <a:gd name="connsiteX547" fmla="*/ 569119 w 1489995"/>
                <a:gd name="connsiteY547" fmla="*/ 315087 h 1273968"/>
                <a:gd name="connsiteX548" fmla="*/ 572452 w 1489995"/>
                <a:gd name="connsiteY548" fmla="*/ 316230 h 1273968"/>
                <a:gd name="connsiteX549" fmla="*/ 573405 w 1489995"/>
                <a:gd name="connsiteY549" fmla="*/ 311372 h 1273968"/>
                <a:gd name="connsiteX550" fmla="*/ 589026 w 1489995"/>
                <a:gd name="connsiteY550" fmla="*/ 320611 h 1273968"/>
                <a:gd name="connsiteX551" fmla="*/ 593979 w 1489995"/>
                <a:gd name="connsiteY551" fmla="*/ 321564 h 1273968"/>
                <a:gd name="connsiteX552" fmla="*/ 594360 w 1489995"/>
                <a:gd name="connsiteY552" fmla="*/ 324707 h 1273968"/>
                <a:gd name="connsiteX553" fmla="*/ 596170 w 1489995"/>
                <a:gd name="connsiteY553" fmla="*/ 326041 h 1273968"/>
                <a:gd name="connsiteX554" fmla="*/ 599694 w 1489995"/>
                <a:gd name="connsiteY554" fmla="*/ 316040 h 1273968"/>
                <a:gd name="connsiteX555" fmla="*/ 601313 w 1489995"/>
                <a:gd name="connsiteY555" fmla="*/ 315849 h 1273968"/>
                <a:gd name="connsiteX556" fmla="*/ 605600 w 1489995"/>
                <a:gd name="connsiteY556" fmla="*/ 312039 h 1273968"/>
                <a:gd name="connsiteX557" fmla="*/ 605218 w 1489995"/>
                <a:gd name="connsiteY557" fmla="*/ 308896 h 1273968"/>
                <a:gd name="connsiteX558" fmla="*/ 608933 w 1489995"/>
                <a:gd name="connsiteY558" fmla="*/ 300419 h 1273968"/>
                <a:gd name="connsiteX559" fmla="*/ 610743 w 1489995"/>
                <a:gd name="connsiteY559" fmla="*/ 301752 h 1273968"/>
                <a:gd name="connsiteX560" fmla="*/ 614839 w 1489995"/>
                <a:gd name="connsiteY560" fmla="*/ 296418 h 1273968"/>
                <a:gd name="connsiteX561" fmla="*/ 621983 w 1489995"/>
                <a:gd name="connsiteY561" fmla="*/ 301942 h 1273968"/>
                <a:gd name="connsiteX562" fmla="*/ 626935 w 1489995"/>
                <a:gd name="connsiteY562" fmla="*/ 302895 h 1273968"/>
                <a:gd name="connsiteX563" fmla="*/ 628269 w 1489995"/>
                <a:gd name="connsiteY563" fmla="*/ 301181 h 1273968"/>
                <a:gd name="connsiteX564" fmla="*/ 628079 w 1489995"/>
                <a:gd name="connsiteY564" fmla="*/ 299561 h 1273968"/>
                <a:gd name="connsiteX565" fmla="*/ 633222 w 1489995"/>
                <a:gd name="connsiteY565" fmla="*/ 302133 h 1273968"/>
                <a:gd name="connsiteX566" fmla="*/ 637984 w 1489995"/>
                <a:gd name="connsiteY566" fmla="*/ 301561 h 1273968"/>
                <a:gd name="connsiteX567" fmla="*/ 635794 w 1489995"/>
                <a:gd name="connsiteY567" fmla="*/ 296990 h 1273968"/>
                <a:gd name="connsiteX568" fmla="*/ 647224 w 1489995"/>
                <a:gd name="connsiteY568" fmla="*/ 298704 h 1273968"/>
                <a:gd name="connsiteX569" fmla="*/ 646652 w 1489995"/>
                <a:gd name="connsiteY569" fmla="*/ 294037 h 1273968"/>
                <a:gd name="connsiteX570" fmla="*/ 649986 w 1489995"/>
                <a:gd name="connsiteY570" fmla="*/ 295180 h 1273968"/>
                <a:gd name="connsiteX571" fmla="*/ 651319 w 1489995"/>
                <a:gd name="connsiteY571" fmla="*/ 293370 h 1273968"/>
                <a:gd name="connsiteX572" fmla="*/ 657892 w 1489995"/>
                <a:gd name="connsiteY572" fmla="*/ 294132 h 1273968"/>
                <a:gd name="connsiteX573" fmla="*/ 658082 w 1489995"/>
                <a:gd name="connsiteY573" fmla="*/ 295751 h 1273968"/>
                <a:gd name="connsiteX574" fmla="*/ 661416 w 1489995"/>
                <a:gd name="connsiteY574" fmla="*/ 296894 h 1273968"/>
                <a:gd name="connsiteX575" fmla="*/ 661606 w 1489995"/>
                <a:gd name="connsiteY575" fmla="*/ 298513 h 1273968"/>
                <a:gd name="connsiteX576" fmla="*/ 664940 w 1489995"/>
                <a:gd name="connsiteY576" fmla="*/ 299657 h 1273968"/>
                <a:gd name="connsiteX577" fmla="*/ 665607 w 1489995"/>
                <a:gd name="connsiteY577" fmla="*/ 304419 h 1273968"/>
                <a:gd name="connsiteX578" fmla="*/ 666750 w 1489995"/>
                <a:gd name="connsiteY578" fmla="*/ 301085 h 1273968"/>
                <a:gd name="connsiteX579" fmla="*/ 670084 w 1489995"/>
                <a:gd name="connsiteY579" fmla="*/ 302228 h 1273968"/>
                <a:gd name="connsiteX580" fmla="*/ 666559 w 1489995"/>
                <a:gd name="connsiteY580" fmla="*/ 299466 h 1273968"/>
                <a:gd name="connsiteX581" fmla="*/ 669703 w 1489995"/>
                <a:gd name="connsiteY581" fmla="*/ 299085 h 1273968"/>
                <a:gd name="connsiteX582" fmla="*/ 671513 w 1489995"/>
                <a:gd name="connsiteY582" fmla="*/ 300419 h 1273968"/>
                <a:gd name="connsiteX583" fmla="*/ 670084 w 1489995"/>
                <a:gd name="connsiteY583" fmla="*/ 302228 h 1273968"/>
                <a:gd name="connsiteX584" fmla="*/ 670274 w 1489995"/>
                <a:gd name="connsiteY584" fmla="*/ 303848 h 1273968"/>
                <a:gd name="connsiteX585" fmla="*/ 674656 w 1489995"/>
                <a:gd name="connsiteY585" fmla="*/ 300038 h 1273968"/>
                <a:gd name="connsiteX586" fmla="*/ 676180 w 1489995"/>
                <a:gd name="connsiteY586" fmla="*/ 299847 h 1273968"/>
                <a:gd name="connsiteX587" fmla="*/ 681323 w 1489995"/>
                <a:gd name="connsiteY587" fmla="*/ 289560 h 1273968"/>
                <a:gd name="connsiteX588" fmla="*/ 679704 w 1489995"/>
                <a:gd name="connsiteY588" fmla="*/ 289750 h 1273968"/>
                <a:gd name="connsiteX589" fmla="*/ 680752 w 1489995"/>
                <a:gd name="connsiteY589" fmla="*/ 284798 h 1273968"/>
                <a:gd name="connsiteX590" fmla="*/ 679133 w 1489995"/>
                <a:gd name="connsiteY590" fmla="*/ 285083 h 1273968"/>
                <a:gd name="connsiteX591" fmla="*/ 680561 w 1489995"/>
                <a:gd name="connsiteY591" fmla="*/ 283273 h 1273968"/>
                <a:gd name="connsiteX592" fmla="*/ 677132 w 1489995"/>
                <a:gd name="connsiteY592" fmla="*/ 282131 h 1273968"/>
                <a:gd name="connsiteX593" fmla="*/ 678561 w 1489995"/>
                <a:gd name="connsiteY593" fmla="*/ 280321 h 1273968"/>
                <a:gd name="connsiteX594" fmla="*/ 677323 w 1489995"/>
                <a:gd name="connsiteY594" fmla="*/ 270796 h 1273968"/>
                <a:gd name="connsiteX595" fmla="*/ 684085 w 1489995"/>
                <a:gd name="connsiteY595" fmla="*/ 273177 h 1273968"/>
                <a:gd name="connsiteX596" fmla="*/ 683800 w 1489995"/>
                <a:gd name="connsiteY596" fmla="*/ 258794 h 1273968"/>
                <a:gd name="connsiteX597" fmla="*/ 683228 w 1489995"/>
                <a:gd name="connsiteY597" fmla="*/ 254032 h 1273968"/>
                <a:gd name="connsiteX598" fmla="*/ 684752 w 1489995"/>
                <a:gd name="connsiteY598" fmla="*/ 253841 h 1273968"/>
                <a:gd name="connsiteX599" fmla="*/ 685990 w 1489995"/>
                <a:gd name="connsiteY599" fmla="*/ 250508 h 1273968"/>
                <a:gd name="connsiteX600" fmla="*/ 682371 w 1489995"/>
                <a:gd name="connsiteY600" fmla="*/ 247745 h 1273968"/>
                <a:gd name="connsiteX601" fmla="*/ 679037 w 1489995"/>
                <a:gd name="connsiteY601" fmla="*/ 246602 h 1273968"/>
                <a:gd name="connsiteX602" fmla="*/ 678466 w 1489995"/>
                <a:gd name="connsiteY602" fmla="*/ 241840 h 1273968"/>
                <a:gd name="connsiteX603" fmla="*/ 674942 w 1489995"/>
                <a:gd name="connsiteY603" fmla="*/ 239077 h 1273968"/>
                <a:gd name="connsiteX604" fmla="*/ 674465 w 1489995"/>
                <a:gd name="connsiteY604" fmla="*/ 235934 h 1273968"/>
                <a:gd name="connsiteX605" fmla="*/ 678847 w 1489995"/>
                <a:gd name="connsiteY605" fmla="*/ 232124 h 1273968"/>
                <a:gd name="connsiteX606" fmla="*/ 680847 w 1489995"/>
                <a:gd name="connsiteY606" fmla="*/ 235077 h 1273968"/>
                <a:gd name="connsiteX607" fmla="*/ 683800 w 1489995"/>
                <a:gd name="connsiteY607" fmla="*/ 233172 h 1273968"/>
                <a:gd name="connsiteX608" fmla="*/ 680180 w 1489995"/>
                <a:gd name="connsiteY608" fmla="*/ 230410 h 1273968"/>
                <a:gd name="connsiteX609" fmla="*/ 679799 w 1489995"/>
                <a:gd name="connsiteY609" fmla="*/ 227267 h 1273968"/>
                <a:gd name="connsiteX610" fmla="*/ 676275 w 1489995"/>
                <a:gd name="connsiteY610" fmla="*/ 224504 h 1273968"/>
                <a:gd name="connsiteX611" fmla="*/ 677418 w 1489995"/>
                <a:gd name="connsiteY611" fmla="*/ 221075 h 1273968"/>
                <a:gd name="connsiteX612" fmla="*/ 679228 w 1489995"/>
                <a:gd name="connsiteY612" fmla="*/ 222504 h 1273968"/>
                <a:gd name="connsiteX613" fmla="*/ 678751 w 1489995"/>
                <a:gd name="connsiteY613" fmla="*/ 219361 h 1273968"/>
                <a:gd name="connsiteX614" fmla="*/ 677037 w 1489995"/>
                <a:gd name="connsiteY614" fmla="*/ 217932 h 1273968"/>
                <a:gd name="connsiteX615" fmla="*/ 676847 w 1489995"/>
                <a:gd name="connsiteY615" fmla="*/ 216408 h 1273968"/>
                <a:gd name="connsiteX616" fmla="*/ 673227 w 1489995"/>
                <a:gd name="connsiteY616" fmla="*/ 213646 h 1273968"/>
                <a:gd name="connsiteX617" fmla="*/ 673037 w 1489995"/>
                <a:gd name="connsiteY617" fmla="*/ 212027 h 1273968"/>
                <a:gd name="connsiteX618" fmla="*/ 675989 w 1489995"/>
                <a:gd name="connsiteY618" fmla="*/ 210026 h 1273968"/>
                <a:gd name="connsiteX619" fmla="*/ 679133 w 1489995"/>
                <a:gd name="connsiteY619" fmla="*/ 209645 h 1273968"/>
                <a:gd name="connsiteX620" fmla="*/ 680371 w 1489995"/>
                <a:gd name="connsiteY620" fmla="*/ 206311 h 1273968"/>
                <a:gd name="connsiteX621" fmla="*/ 683323 w 1489995"/>
                <a:gd name="connsiteY621" fmla="*/ 204311 h 1273968"/>
                <a:gd name="connsiteX622" fmla="*/ 695992 w 1489995"/>
                <a:gd name="connsiteY622" fmla="*/ 215551 h 1273968"/>
                <a:gd name="connsiteX623" fmla="*/ 711137 w 1489995"/>
                <a:gd name="connsiteY623" fmla="*/ 221647 h 1273968"/>
                <a:gd name="connsiteX624" fmla="*/ 712375 w 1489995"/>
                <a:gd name="connsiteY624" fmla="*/ 218313 h 1273968"/>
                <a:gd name="connsiteX625" fmla="*/ 715709 w 1489995"/>
                <a:gd name="connsiteY625" fmla="*/ 219456 h 1273968"/>
                <a:gd name="connsiteX626" fmla="*/ 712089 w 1489995"/>
                <a:gd name="connsiteY626" fmla="*/ 216694 h 1273968"/>
                <a:gd name="connsiteX627" fmla="*/ 714851 w 1489995"/>
                <a:gd name="connsiteY627" fmla="*/ 213169 h 1273968"/>
                <a:gd name="connsiteX628" fmla="*/ 713137 w 1489995"/>
                <a:gd name="connsiteY628" fmla="*/ 211741 h 1273968"/>
                <a:gd name="connsiteX629" fmla="*/ 708374 w 1489995"/>
                <a:gd name="connsiteY629" fmla="*/ 212312 h 1273968"/>
                <a:gd name="connsiteX630" fmla="*/ 706564 w 1489995"/>
                <a:gd name="connsiteY630" fmla="*/ 210979 h 1273968"/>
                <a:gd name="connsiteX631" fmla="*/ 710755 w 1489995"/>
                <a:gd name="connsiteY631" fmla="*/ 205645 h 1273968"/>
                <a:gd name="connsiteX632" fmla="*/ 714280 w 1489995"/>
                <a:gd name="connsiteY632" fmla="*/ 208407 h 1273968"/>
                <a:gd name="connsiteX633" fmla="*/ 715423 w 1489995"/>
                <a:gd name="connsiteY633" fmla="*/ 205073 h 1273968"/>
                <a:gd name="connsiteX634" fmla="*/ 712089 w 1489995"/>
                <a:gd name="connsiteY634" fmla="*/ 203835 h 1273968"/>
                <a:gd name="connsiteX635" fmla="*/ 713708 w 1489995"/>
                <a:gd name="connsiteY635" fmla="*/ 203644 h 1273968"/>
                <a:gd name="connsiteX636" fmla="*/ 718185 w 1489995"/>
                <a:gd name="connsiteY636" fmla="*/ 201454 h 1273968"/>
                <a:gd name="connsiteX637" fmla="*/ 716185 w 1489995"/>
                <a:gd name="connsiteY637" fmla="*/ 185738 h 1273968"/>
                <a:gd name="connsiteX638" fmla="*/ 726853 w 1489995"/>
                <a:gd name="connsiteY638" fmla="*/ 193929 h 1273968"/>
                <a:gd name="connsiteX639" fmla="*/ 734759 w 1489995"/>
                <a:gd name="connsiteY639" fmla="*/ 192977 h 1273968"/>
                <a:gd name="connsiteX640" fmla="*/ 733806 w 1489995"/>
                <a:gd name="connsiteY640" fmla="*/ 185071 h 1273968"/>
                <a:gd name="connsiteX641" fmla="*/ 742474 w 1489995"/>
                <a:gd name="connsiteY641" fmla="*/ 190405 h 1273968"/>
                <a:gd name="connsiteX642" fmla="*/ 750570 w 1489995"/>
                <a:gd name="connsiteY642" fmla="*/ 190976 h 1273968"/>
                <a:gd name="connsiteX643" fmla="*/ 749141 w 1489995"/>
                <a:gd name="connsiteY643" fmla="*/ 179927 h 1273968"/>
                <a:gd name="connsiteX644" fmla="*/ 750284 w 1489995"/>
                <a:gd name="connsiteY644" fmla="*/ 176498 h 1273968"/>
                <a:gd name="connsiteX645" fmla="*/ 749713 w 1489995"/>
                <a:gd name="connsiteY645" fmla="*/ 171831 h 1273968"/>
                <a:gd name="connsiteX646" fmla="*/ 750856 w 1489995"/>
                <a:gd name="connsiteY646" fmla="*/ 168497 h 1273968"/>
                <a:gd name="connsiteX647" fmla="*/ 745998 w 1489995"/>
                <a:gd name="connsiteY647" fmla="*/ 167450 h 1273968"/>
                <a:gd name="connsiteX648" fmla="*/ 749141 w 1489995"/>
                <a:gd name="connsiteY648" fmla="*/ 167069 h 1273968"/>
                <a:gd name="connsiteX649" fmla="*/ 749522 w 1489995"/>
                <a:gd name="connsiteY649" fmla="*/ 157448 h 1273968"/>
                <a:gd name="connsiteX650" fmla="*/ 738759 w 1489995"/>
                <a:gd name="connsiteY650" fmla="*/ 136303 h 1273968"/>
                <a:gd name="connsiteX651" fmla="*/ 751237 w 1489995"/>
                <a:gd name="connsiteY651" fmla="*/ 133160 h 1273968"/>
                <a:gd name="connsiteX652" fmla="*/ 748189 w 1489995"/>
                <a:gd name="connsiteY652" fmla="*/ 122301 h 1273968"/>
                <a:gd name="connsiteX653" fmla="*/ 760095 w 1489995"/>
                <a:gd name="connsiteY653" fmla="*/ 127159 h 1273968"/>
                <a:gd name="connsiteX654" fmla="*/ 761619 w 1489995"/>
                <a:gd name="connsiteY654" fmla="*/ 126968 h 1273968"/>
                <a:gd name="connsiteX655" fmla="*/ 760857 w 1489995"/>
                <a:gd name="connsiteY655" fmla="*/ 133540 h 1273968"/>
                <a:gd name="connsiteX656" fmla="*/ 767429 w 1489995"/>
                <a:gd name="connsiteY656" fmla="*/ 134302 h 1273968"/>
                <a:gd name="connsiteX657" fmla="*/ 766001 w 1489995"/>
                <a:gd name="connsiteY657" fmla="*/ 136017 h 1273968"/>
                <a:gd name="connsiteX658" fmla="*/ 769810 w 1489995"/>
                <a:gd name="connsiteY658" fmla="*/ 140398 h 1273968"/>
                <a:gd name="connsiteX659" fmla="*/ 772097 w 1489995"/>
                <a:gd name="connsiteY659" fmla="*/ 133636 h 1273968"/>
                <a:gd name="connsiteX660" fmla="*/ 770382 w 1489995"/>
                <a:gd name="connsiteY660" fmla="*/ 132302 h 1273968"/>
                <a:gd name="connsiteX661" fmla="*/ 775430 w 1489995"/>
                <a:gd name="connsiteY661" fmla="*/ 122015 h 1273968"/>
                <a:gd name="connsiteX662" fmla="*/ 786479 w 1489995"/>
                <a:gd name="connsiteY662" fmla="*/ 120586 h 1273968"/>
                <a:gd name="connsiteX663" fmla="*/ 783526 w 1489995"/>
                <a:gd name="connsiteY663" fmla="*/ 122587 h 1273968"/>
                <a:gd name="connsiteX664" fmla="*/ 787337 w 1489995"/>
                <a:gd name="connsiteY664" fmla="*/ 126968 h 1273968"/>
                <a:gd name="connsiteX665" fmla="*/ 789908 w 1489995"/>
                <a:gd name="connsiteY665" fmla="*/ 134588 h 1273968"/>
                <a:gd name="connsiteX666" fmla="*/ 791623 w 1489995"/>
                <a:gd name="connsiteY666" fmla="*/ 136017 h 1273968"/>
                <a:gd name="connsiteX667" fmla="*/ 799909 w 1489995"/>
                <a:gd name="connsiteY667" fmla="*/ 138113 h 1273968"/>
                <a:gd name="connsiteX668" fmla="*/ 804672 w 1489995"/>
                <a:gd name="connsiteY668" fmla="*/ 137541 h 1273968"/>
                <a:gd name="connsiteX669" fmla="*/ 807434 w 1489995"/>
                <a:gd name="connsiteY669" fmla="*/ 134017 h 1273968"/>
                <a:gd name="connsiteX670" fmla="*/ 801910 w 1489995"/>
                <a:gd name="connsiteY670" fmla="*/ 128302 h 1273968"/>
                <a:gd name="connsiteX671" fmla="*/ 801719 w 1489995"/>
                <a:gd name="connsiteY671" fmla="*/ 126683 h 1273968"/>
                <a:gd name="connsiteX672" fmla="*/ 811339 w 1489995"/>
                <a:gd name="connsiteY672" fmla="*/ 127063 h 1273968"/>
                <a:gd name="connsiteX673" fmla="*/ 812768 w 1489995"/>
                <a:gd name="connsiteY673" fmla="*/ 125254 h 1273968"/>
                <a:gd name="connsiteX674" fmla="*/ 815340 w 1489995"/>
                <a:gd name="connsiteY674" fmla="*/ 120110 h 1273968"/>
                <a:gd name="connsiteX675" fmla="*/ 821817 w 1489995"/>
                <a:gd name="connsiteY675" fmla="*/ 120967 h 1273968"/>
                <a:gd name="connsiteX676" fmla="*/ 823436 w 1489995"/>
                <a:gd name="connsiteY676" fmla="*/ 120682 h 1273968"/>
                <a:gd name="connsiteX677" fmla="*/ 823627 w 1489995"/>
                <a:gd name="connsiteY677" fmla="*/ 122301 h 1273968"/>
                <a:gd name="connsiteX678" fmla="*/ 822198 w 1489995"/>
                <a:gd name="connsiteY678" fmla="*/ 124111 h 1273968"/>
                <a:gd name="connsiteX679" fmla="*/ 822865 w 1489995"/>
                <a:gd name="connsiteY679" fmla="*/ 128778 h 1273968"/>
                <a:gd name="connsiteX680" fmla="*/ 821436 w 1489995"/>
                <a:gd name="connsiteY680" fmla="*/ 130588 h 1273968"/>
                <a:gd name="connsiteX681" fmla="*/ 826960 w 1489995"/>
                <a:gd name="connsiteY681" fmla="*/ 136303 h 1273968"/>
                <a:gd name="connsiteX682" fmla="*/ 825246 w 1489995"/>
                <a:gd name="connsiteY682" fmla="*/ 134969 h 1273968"/>
                <a:gd name="connsiteX683" fmla="*/ 822484 w 1489995"/>
                <a:gd name="connsiteY683" fmla="*/ 138494 h 1273968"/>
                <a:gd name="connsiteX684" fmla="*/ 821436 w 1489995"/>
                <a:gd name="connsiteY684" fmla="*/ 143446 h 1273968"/>
                <a:gd name="connsiteX685" fmla="*/ 823246 w 1489995"/>
                <a:gd name="connsiteY685" fmla="*/ 144780 h 1273968"/>
                <a:gd name="connsiteX686" fmla="*/ 824675 w 1489995"/>
                <a:gd name="connsiteY686" fmla="*/ 155829 h 1273968"/>
                <a:gd name="connsiteX687" fmla="*/ 830199 w 1489995"/>
                <a:gd name="connsiteY687" fmla="*/ 161544 h 1273968"/>
                <a:gd name="connsiteX688" fmla="*/ 831818 w 1489995"/>
                <a:gd name="connsiteY688" fmla="*/ 161354 h 1273968"/>
                <a:gd name="connsiteX689" fmla="*/ 832771 w 1489995"/>
                <a:gd name="connsiteY689" fmla="*/ 156400 h 1273968"/>
                <a:gd name="connsiteX690" fmla="*/ 834771 w 1489995"/>
                <a:gd name="connsiteY690" fmla="*/ 159353 h 1273968"/>
                <a:gd name="connsiteX691" fmla="*/ 836105 w 1489995"/>
                <a:gd name="connsiteY691" fmla="*/ 157639 h 1273968"/>
                <a:gd name="connsiteX692" fmla="*/ 836295 w 1489995"/>
                <a:gd name="connsiteY692" fmla="*/ 159163 h 1273968"/>
                <a:gd name="connsiteX693" fmla="*/ 839438 w 1489995"/>
                <a:gd name="connsiteY693" fmla="*/ 158782 h 1273968"/>
                <a:gd name="connsiteX694" fmla="*/ 838105 w 1489995"/>
                <a:gd name="connsiteY694" fmla="*/ 160592 h 1273968"/>
                <a:gd name="connsiteX695" fmla="*/ 838105 w 1489995"/>
                <a:gd name="connsiteY695" fmla="*/ 160592 h 1273968"/>
                <a:gd name="connsiteX696" fmla="*/ 843248 w 1489995"/>
                <a:gd name="connsiteY696" fmla="*/ 163068 h 1273968"/>
                <a:gd name="connsiteX697" fmla="*/ 845248 w 1489995"/>
                <a:gd name="connsiteY697" fmla="*/ 166021 h 1273968"/>
                <a:gd name="connsiteX698" fmla="*/ 847915 w 1489995"/>
                <a:gd name="connsiteY698" fmla="*/ 162496 h 1273968"/>
                <a:gd name="connsiteX699" fmla="*/ 845820 w 1489995"/>
                <a:gd name="connsiteY699" fmla="*/ 157925 h 1273968"/>
                <a:gd name="connsiteX700" fmla="*/ 849916 w 1489995"/>
                <a:gd name="connsiteY700" fmla="*/ 152590 h 1273968"/>
                <a:gd name="connsiteX701" fmla="*/ 850297 w 1489995"/>
                <a:gd name="connsiteY701" fmla="*/ 155829 h 1273968"/>
                <a:gd name="connsiteX702" fmla="*/ 856869 w 1489995"/>
                <a:gd name="connsiteY702" fmla="*/ 156591 h 1273968"/>
                <a:gd name="connsiteX703" fmla="*/ 858393 w 1489995"/>
                <a:gd name="connsiteY703" fmla="*/ 156400 h 1273968"/>
                <a:gd name="connsiteX704" fmla="*/ 859155 w 1489995"/>
                <a:gd name="connsiteY704" fmla="*/ 149828 h 1273968"/>
                <a:gd name="connsiteX705" fmla="*/ 864108 w 1489995"/>
                <a:gd name="connsiteY705" fmla="*/ 150781 h 1273968"/>
                <a:gd name="connsiteX706" fmla="*/ 866299 w 1489995"/>
                <a:gd name="connsiteY706" fmla="*/ 155353 h 1273968"/>
                <a:gd name="connsiteX707" fmla="*/ 871252 w 1489995"/>
                <a:gd name="connsiteY707" fmla="*/ 156305 h 1273968"/>
                <a:gd name="connsiteX708" fmla="*/ 870585 w 1489995"/>
                <a:gd name="connsiteY708" fmla="*/ 151638 h 1273968"/>
                <a:gd name="connsiteX709" fmla="*/ 872014 w 1489995"/>
                <a:gd name="connsiteY709" fmla="*/ 149828 h 1273968"/>
                <a:gd name="connsiteX710" fmla="*/ 883444 w 1489995"/>
                <a:gd name="connsiteY710" fmla="*/ 151543 h 1273968"/>
                <a:gd name="connsiteX711" fmla="*/ 889730 w 1489995"/>
                <a:gd name="connsiteY711" fmla="*/ 150781 h 1273968"/>
                <a:gd name="connsiteX712" fmla="*/ 889540 w 1489995"/>
                <a:gd name="connsiteY712" fmla="*/ 149161 h 1273968"/>
                <a:gd name="connsiteX713" fmla="*/ 900017 w 1489995"/>
                <a:gd name="connsiteY713" fmla="*/ 155829 h 1273968"/>
                <a:gd name="connsiteX714" fmla="*/ 900017 w 1489995"/>
                <a:gd name="connsiteY714" fmla="*/ 155829 h 1273968"/>
                <a:gd name="connsiteX715" fmla="*/ 900779 w 1489995"/>
                <a:gd name="connsiteY715" fmla="*/ 155543 h 1273968"/>
                <a:gd name="connsiteX716" fmla="*/ 901446 w 1489995"/>
                <a:gd name="connsiteY716" fmla="*/ 154115 h 1273968"/>
                <a:gd name="connsiteX717" fmla="*/ 898398 w 1489995"/>
                <a:gd name="connsiteY717" fmla="*/ 143256 h 1273968"/>
                <a:gd name="connsiteX718" fmla="*/ 904494 w 1489995"/>
                <a:gd name="connsiteY718" fmla="*/ 140875 h 1273968"/>
                <a:gd name="connsiteX719" fmla="*/ 904304 w 1489995"/>
                <a:gd name="connsiteY719" fmla="*/ 139256 h 1273968"/>
                <a:gd name="connsiteX720" fmla="*/ 914019 w 1489995"/>
                <a:gd name="connsiteY720" fmla="*/ 139636 h 1273968"/>
                <a:gd name="connsiteX721" fmla="*/ 916781 w 1489995"/>
                <a:gd name="connsiteY721" fmla="*/ 136112 h 1273968"/>
                <a:gd name="connsiteX722" fmla="*/ 920115 w 1489995"/>
                <a:gd name="connsiteY722" fmla="*/ 137255 h 1273968"/>
                <a:gd name="connsiteX723" fmla="*/ 923830 w 1489995"/>
                <a:gd name="connsiteY723" fmla="*/ 115919 h 1273968"/>
                <a:gd name="connsiteX724" fmla="*/ 923449 w 1489995"/>
                <a:gd name="connsiteY724" fmla="*/ 112776 h 1273968"/>
                <a:gd name="connsiteX725" fmla="*/ 943165 w 1489995"/>
                <a:gd name="connsiteY725" fmla="*/ 116681 h 1273968"/>
                <a:gd name="connsiteX726" fmla="*/ 944309 w 1489995"/>
                <a:gd name="connsiteY726" fmla="*/ 113348 h 1273968"/>
                <a:gd name="connsiteX727" fmla="*/ 946309 w 1489995"/>
                <a:gd name="connsiteY727" fmla="*/ 103442 h 1273968"/>
                <a:gd name="connsiteX728" fmla="*/ 940308 w 1489995"/>
                <a:gd name="connsiteY728" fmla="*/ 81820 h 1273968"/>
                <a:gd name="connsiteX729" fmla="*/ 940498 w 1489995"/>
                <a:gd name="connsiteY729" fmla="*/ 70485 h 1273968"/>
                <a:gd name="connsiteX730" fmla="*/ 975074 w 1489995"/>
                <a:gd name="connsiteY730" fmla="*/ 77343 h 1273968"/>
                <a:gd name="connsiteX731" fmla="*/ 994410 w 1489995"/>
                <a:gd name="connsiteY731" fmla="*/ 90869 h 1273968"/>
                <a:gd name="connsiteX732" fmla="*/ 1008602 w 1489995"/>
                <a:gd name="connsiteY732" fmla="*/ 76295 h 1273968"/>
                <a:gd name="connsiteX733" fmla="*/ 1011746 w 1489995"/>
                <a:gd name="connsiteY733" fmla="*/ 75914 h 1273968"/>
                <a:gd name="connsiteX734" fmla="*/ 1014508 w 1489995"/>
                <a:gd name="connsiteY734" fmla="*/ 72295 h 1273968"/>
                <a:gd name="connsiteX735" fmla="*/ 1015651 w 1489995"/>
                <a:gd name="connsiteY735" fmla="*/ 68961 h 1273968"/>
                <a:gd name="connsiteX736" fmla="*/ 1013651 w 1489995"/>
                <a:gd name="connsiteY736" fmla="*/ 66008 h 1273968"/>
                <a:gd name="connsiteX737" fmla="*/ 1008317 w 1489995"/>
                <a:gd name="connsiteY737" fmla="*/ 61913 h 1273968"/>
                <a:gd name="connsiteX738" fmla="*/ 1009269 w 1489995"/>
                <a:gd name="connsiteY738" fmla="*/ 56959 h 1273968"/>
                <a:gd name="connsiteX739" fmla="*/ 1007364 w 1489995"/>
                <a:gd name="connsiteY739" fmla="*/ 54007 h 1273968"/>
                <a:gd name="connsiteX740" fmla="*/ 1019747 w 1489995"/>
                <a:gd name="connsiteY740" fmla="*/ 50768 h 1273968"/>
                <a:gd name="connsiteX741" fmla="*/ 1019556 w 1489995"/>
                <a:gd name="connsiteY741" fmla="*/ 49244 h 1273968"/>
                <a:gd name="connsiteX742" fmla="*/ 1027081 w 1489995"/>
                <a:gd name="connsiteY742" fmla="*/ 45053 h 1273968"/>
                <a:gd name="connsiteX743" fmla="*/ 1031748 w 1489995"/>
                <a:gd name="connsiteY743" fmla="*/ 44482 h 1273968"/>
                <a:gd name="connsiteX744" fmla="*/ 1034891 w 1489995"/>
                <a:gd name="connsiteY744" fmla="*/ 44005 h 1273968"/>
                <a:gd name="connsiteX745" fmla="*/ 1037654 w 1489995"/>
                <a:gd name="connsiteY745" fmla="*/ 40481 h 1273968"/>
                <a:gd name="connsiteX746" fmla="*/ 1038320 w 1489995"/>
                <a:gd name="connsiteY746" fmla="*/ 45244 h 1273968"/>
                <a:gd name="connsiteX747" fmla="*/ 1044035 w 1489995"/>
                <a:gd name="connsiteY747" fmla="*/ 39719 h 1273968"/>
                <a:gd name="connsiteX748" fmla="*/ 1050131 w 1489995"/>
                <a:gd name="connsiteY748" fmla="*/ 37338 h 1273968"/>
                <a:gd name="connsiteX749" fmla="*/ 1045750 w 1489995"/>
                <a:gd name="connsiteY749" fmla="*/ 28289 h 1273968"/>
                <a:gd name="connsiteX750" fmla="*/ 1047369 w 1489995"/>
                <a:gd name="connsiteY750" fmla="*/ 28003 h 1273968"/>
                <a:gd name="connsiteX751" fmla="*/ 1042988 w 1489995"/>
                <a:gd name="connsiteY751" fmla="*/ 18955 h 1273968"/>
                <a:gd name="connsiteX752" fmla="*/ 1039844 w 1489995"/>
                <a:gd name="connsiteY752" fmla="*/ 19336 h 1273968"/>
                <a:gd name="connsiteX753" fmla="*/ 1045940 w 1489995"/>
                <a:gd name="connsiteY753" fmla="*/ 16954 h 1273968"/>
                <a:gd name="connsiteX754" fmla="*/ 1047274 w 1489995"/>
                <a:gd name="connsiteY754" fmla="*/ 15240 h 1273968"/>
                <a:gd name="connsiteX755" fmla="*/ 1050608 w 1489995"/>
                <a:gd name="connsiteY755" fmla="*/ 16383 h 1273968"/>
                <a:gd name="connsiteX756" fmla="*/ 1050417 w 1489995"/>
                <a:gd name="connsiteY756" fmla="*/ 14859 h 1273968"/>
                <a:gd name="connsiteX757" fmla="*/ 1053656 w 1489995"/>
                <a:gd name="connsiteY757" fmla="*/ 14383 h 1273968"/>
                <a:gd name="connsiteX758" fmla="*/ 1055370 w 1489995"/>
                <a:gd name="connsiteY758" fmla="*/ 15811 h 1273968"/>
                <a:gd name="connsiteX759" fmla="*/ 1048798 w 1489995"/>
                <a:gd name="connsiteY759" fmla="*/ 2191 h 1273968"/>
                <a:gd name="connsiteX760" fmla="*/ 1053370 w 1489995"/>
                <a:gd name="connsiteY760" fmla="*/ 0 h 1273968"/>
                <a:gd name="connsiteX761" fmla="*/ 1066419 w 1489995"/>
                <a:gd name="connsiteY761" fmla="*/ 1524 h 1273968"/>
                <a:gd name="connsiteX762" fmla="*/ 1064990 w 1489995"/>
                <a:gd name="connsiteY762" fmla="*/ 3334 h 1273968"/>
                <a:gd name="connsiteX763" fmla="*/ 1067372 w 1489995"/>
                <a:gd name="connsiteY763" fmla="*/ 9430 h 1273968"/>
                <a:gd name="connsiteX764" fmla="*/ 1064419 w 1489995"/>
                <a:gd name="connsiteY764" fmla="*/ 11430 h 1273968"/>
                <a:gd name="connsiteX765" fmla="*/ 1066419 w 1489995"/>
                <a:gd name="connsiteY765" fmla="*/ 14383 h 1273968"/>
                <a:gd name="connsiteX766" fmla="*/ 1069562 w 1489995"/>
                <a:gd name="connsiteY766" fmla="*/ 14002 h 1273968"/>
                <a:gd name="connsiteX767" fmla="*/ 1073182 w 1489995"/>
                <a:gd name="connsiteY767" fmla="*/ 16764 h 1273968"/>
                <a:gd name="connsiteX768" fmla="*/ 1072706 w 1489995"/>
                <a:gd name="connsiteY768" fmla="*/ 13621 h 1273968"/>
                <a:gd name="connsiteX769" fmla="*/ 1077659 w 1489995"/>
                <a:gd name="connsiteY769" fmla="*/ 14573 h 1273968"/>
                <a:gd name="connsiteX770" fmla="*/ 1082040 w 1489995"/>
                <a:gd name="connsiteY770" fmla="*/ 23622 h 1273968"/>
                <a:gd name="connsiteX771" fmla="*/ 1077277 w 1489995"/>
                <a:gd name="connsiteY771" fmla="*/ 24194 h 1273968"/>
                <a:gd name="connsiteX772" fmla="*/ 1080706 w 1489995"/>
                <a:gd name="connsiteY772" fmla="*/ 25432 h 1273968"/>
                <a:gd name="connsiteX773" fmla="*/ 1082612 w 1489995"/>
                <a:gd name="connsiteY773" fmla="*/ 28384 h 1273968"/>
                <a:gd name="connsiteX774" fmla="*/ 1087374 w 1489995"/>
                <a:gd name="connsiteY774" fmla="*/ 27718 h 1273968"/>
                <a:gd name="connsiteX775" fmla="*/ 1090898 w 1489995"/>
                <a:gd name="connsiteY775" fmla="*/ 30480 h 1273968"/>
                <a:gd name="connsiteX776" fmla="*/ 1090136 w 1489995"/>
                <a:gd name="connsiteY776" fmla="*/ 24194 h 1273968"/>
                <a:gd name="connsiteX777" fmla="*/ 1094899 w 1489995"/>
                <a:gd name="connsiteY777" fmla="*/ 23622 h 1273968"/>
                <a:gd name="connsiteX778" fmla="*/ 1095661 w 1489995"/>
                <a:gd name="connsiteY778" fmla="*/ 17050 h 1273968"/>
                <a:gd name="connsiteX779" fmla="*/ 1096994 w 1489995"/>
                <a:gd name="connsiteY779" fmla="*/ 15335 h 1273968"/>
                <a:gd name="connsiteX780" fmla="*/ 1100423 w 1489995"/>
                <a:gd name="connsiteY780" fmla="*/ 16478 h 1273968"/>
                <a:gd name="connsiteX781" fmla="*/ 1097471 w 1489995"/>
                <a:gd name="connsiteY781" fmla="*/ 18478 h 1273968"/>
                <a:gd name="connsiteX782" fmla="*/ 1099185 w 1489995"/>
                <a:gd name="connsiteY782" fmla="*/ 19812 h 1273968"/>
                <a:gd name="connsiteX783" fmla="*/ 1102328 w 1489995"/>
                <a:gd name="connsiteY783" fmla="*/ 19431 h 1273968"/>
                <a:gd name="connsiteX784" fmla="*/ 1104329 w 1489995"/>
                <a:gd name="connsiteY784" fmla="*/ 22384 h 1273968"/>
                <a:gd name="connsiteX785" fmla="*/ 1109091 w 1489995"/>
                <a:gd name="connsiteY785" fmla="*/ 21812 h 1273968"/>
                <a:gd name="connsiteX786" fmla="*/ 1112234 w 1489995"/>
                <a:gd name="connsiteY786" fmla="*/ 21336 h 1273968"/>
                <a:gd name="connsiteX787" fmla="*/ 1118140 w 1489995"/>
                <a:gd name="connsiteY787" fmla="*/ 17431 h 1273968"/>
                <a:gd name="connsiteX788" fmla="*/ 1118521 w 1489995"/>
                <a:gd name="connsiteY788" fmla="*/ 20574 h 1273968"/>
                <a:gd name="connsiteX789" fmla="*/ 1117378 w 1489995"/>
                <a:gd name="connsiteY789" fmla="*/ 23908 h 1273968"/>
                <a:gd name="connsiteX790" fmla="*/ 1119188 w 1489995"/>
                <a:gd name="connsiteY790" fmla="*/ 25336 h 1273968"/>
                <a:gd name="connsiteX791" fmla="*/ 1125664 w 1489995"/>
                <a:gd name="connsiteY791" fmla="*/ 38862 h 1273968"/>
                <a:gd name="connsiteX792" fmla="*/ 1127284 w 1489995"/>
                <a:gd name="connsiteY792" fmla="*/ 38672 h 1273968"/>
                <a:gd name="connsiteX793" fmla="*/ 1128808 w 1489995"/>
                <a:gd name="connsiteY793" fmla="*/ 38481 h 1273968"/>
                <a:gd name="connsiteX794" fmla="*/ 1133951 w 1489995"/>
                <a:gd name="connsiteY794" fmla="*/ 41053 h 1273968"/>
                <a:gd name="connsiteX795" fmla="*/ 1134809 w 1489995"/>
                <a:gd name="connsiteY795" fmla="*/ 47339 h 1273968"/>
                <a:gd name="connsiteX796" fmla="*/ 1136142 w 1489995"/>
                <a:gd name="connsiteY796" fmla="*/ 45625 h 1273968"/>
                <a:gd name="connsiteX797" fmla="*/ 1139285 w 1489995"/>
                <a:gd name="connsiteY797" fmla="*/ 45148 h 1273968"/>
                <a:gd name="connsiteX798" fmla="*/ 1139476 w 1489995"/>
                <a:gd name="connsiteY798" fmla="*/ 46768 h 1273968"/>
                <a:gd name="connsiteX799" fmla="*/ 1138523 w 1489995"/>
                <a:gd name="connsiteY799" fmla="*/ 51721 h 1273968"/>
                <a:gd name="connsiteX800" fmla="*/ 1142333 w 1489995"/>
                <a:gd name="connsiteY800" fmla="*/ 56007 h 1273968"/>
                <a:gd name="connsiteX801" fmla="*/ 1141285 w 1489995"/>
                <a:gd name="connsiteY801" fmla="*/ 60960 h 1273968"/>
                <a:gd name="connsiteX802" fmla="*/ 1145667 w 1489995"/>
                <a:gd name="connsiteY802" fmla="*/ 57245 h 1273968"/>
                <a:gd name="connsiteX803" fmla="*/ 1147477 w 1489995"/>
                <a:gd name="connsiteY803" fmla="*/ 58579 h 1273968"/>
                <a:gd name="connsiteX804" fmla="*/ 1151954 w 1489995"/>
                <a:gd name="connsiteY804" fmla="*/ 56388 h 1273968"/>
                <a:gd name="connsiteX805" fmla="*/ 1156716 w 1489995"/>
                <a:gd name="connsiteY805" fmla="*/ 55817 h 1273968"/>
                <a:gd name="connsiteX806" fmla="*/ 1156716 w 1489995"/>
                <a:gd name="connsiteY806" fmla="*/ 55817 h 1273968"/>
                <a:gd name="connsiteX807" fmla="*/ 1160907 w 1489995"/>
                <a:gd name="connsiteY807" fmla="*/ 63246 h 1273968"/>
                <a:gd name="connsiteX808" fmla="*/ 1166051 w 1489995"/>
                <a:gd name="connsiteY808" fmla="*/ 65818 h 1273968"/>
                <a:gd name="connsiteX809" fmla="*/ 1164812 w 1489995"/>
                <a:gd name="connsiteY809" fmla="*/ 69247 h 1273968"/>
                <a:gd name="connsiteX810" fmla="*/ 1169575 w 1489995"/>
                <a:gd name="connsiteY810" fmla="*/ 68580 h 1273968"/>
                <a:gd name="connsiteX811" fmla="*/ 1178433 w 1489995"/>
                <a:gd name="connsiteY811" fmla="*/ 75438 h 1273968"/>
                <a:gd name="connsiteX812" fmla="*/ 1175671 w 1489995"/>
                <a:gd name="connsiteY812" fmla="*/ 79057 h 1273968"/>
                <a:gd name="connsiteX813" fmla="*/ 1175861 w 1489995"/>
                <a:gd name="connsiteY813" fmla="*/ 80581 h 1273968"/>
                <a:gd name="connsiteX814" fmla="*/ 1178909 w 1489995"/>
                <a:gd name="connsiteY814" fmla="*/ 78676 h 1273968"/>
                <a:gd name="connsiteX815" fmla="*/ 1177862 w 1489995"/>
                <a:gd name="connsiteY815" fmla="*/ 83534 h 1273968"/>
                <a:gd name="connsiteX816" fmla="*/ 1181290 w 1489995"/>
                <a:gd name="connsiteY816" fmla="*/ 97536 h 1273968"/>
                <a:gd name="connsiteX817" fmla="*/ 1183100 w 1489995"/>
                <a:gd name="connsiteY817" fmla="*/ 98965 h 1273968"/>
                <a:gd name="connsiteX818" fmla="*/ 1185005 w 1489995"/>
                <a:gd name="connsiteY818" fmla="*/ 101917 h 1273968"/>
                <a:gd name="connsiteX819" fmla="*/ 1192721 w 1489995"/>
                <a:gd name="connsiteY819" fmla="*/ 99346 h 1273968"/>
                <a:gd name="connsiteX820" fmla="*/ 1193102 w 1489995"/>
                <a:gd name="connsiteY820" fmla="*/ 102489 h 1273968"/>
                <a:gd name="connsiteX821" fmla="*/ 1194721 w 1489995"/>
                <a:gd name="connsiteY821" fmla="*/ 102298 h 1273968"/>
                <a:gd name="connsiteX822" fmla="*/ 1194911 w 1489995"/>
                <a:gd name="connsiteY822" fmla="*/ 103823 h 1273968"/>
                <a:gd name="connsiteX823" fmla="*/ 1199483 w 1489995"/>
                <a:gd name="connsiteY823" fmla="*/ 101727 h 1273968"/>
                <a:gd name="connsiteX824" fmla="*/ 1204341 w 1489995"/>
                <a:gd name="connsiteY824" fmla="*/ 102679 h 1273968"/>
                <a:gd name="connsiteX825" fmla="*/ 1209675 w 1489995"/>
                <a:gd name="connsiteY825" fmla="*/ 106775 h 1273968"/>
                <a:gd name="connsiteX826" fmla="*/ 1208342 w 1489995"/>
                <a:gd name="connsiteY826" fmla="*/ 108585 h 1273968"/>
                <a:gd name="connsiteX827" fmla="*/ 1209961 w 1489995"/>
                <a:gd name="connsiteY827" fmla="*/ 108394 h 1273968"/>
                <a:gd name="connsiteX828" fmla="*/ 1210342 w 1489995"/>
                <a:gd name="connsiteY828" fmla="*/ 111538 h 1273968"/>
                <a:gd name="connsiteX829" fmla="*/ 1213485 w 1489995"/>
                <a:gd name="connsiteY829" fmla="*/ 111157 h 1273968"/>
                <a:gd name="connsiteX830" fmla="*/ 1212342 w 1489995"/>
                <a:gd name="connsiteY830" fmla="*/ 114490 h 1273968"/>
                <a:gd name="connsiteX831" fmla="*/ 1210723 w 1489995"/>
                <a:gd name="connsiteY831" fmla="*/ 114681 h 1273968"/>
                <a:gd name="connsiteX832" fmla="*/ 1211104 w 1489995"/>
                <a:gd name="connsiteY832" fmla="*/ 117824 h 1273968"/>
                <a:gd name="connsiteX833" fmla="*/ 1209580 w 1489995"/>
                <a:gd name="connsiteY833" fmla="*/ 118015 h 1273968"/>
                <a:gd name="connsiteX834" fmla="*/ 1210151 w 1489995"/>
                <a:gd name="connsiteY834" fmla="*/ 122777 h 1273968"/>
                <a:gd name="connsiteX835" fmla="*/ 1203674 w 1489995"/>
                <a:gd name="connsiteY835" fmla="*/ 122015 h 1273968"/>
                <a:gd name="connsiteX836" fmla="*/ 1204055 w 1489995"/>
                <a:gd name="connsiteY836" fmla="*/ 125158 h 1273968"/>
                <a:gd name="connsiteX837" fmla="*/ 1196150 w 1489995"/>
                <a:gd name="connsiteY837" fmla="*/ 126111 h 1273968"/>
                <a:gd name="connsiteX838" fmla="*/ 1191768 w 1489995"/>
                <a:gd name="connsiteY838" fmla="*/ 129921 h 1273968"/>
                <a:gd name="connsiteX839" fmla="*/ 1192816 w 1489995"/>
                <a:gd name="connsiteY839" fmla="*/ 137827 h 1273968"/>
                <a:gd name="connsiteX840" fmla="*/ 1194816 w 1489995"/>
                <a:gd name="connsiteY840" fmla="*/ 140779 h 1273968"/>
                <a:gd name="connsiteX841" fmla="*/ 1198150 w 1489995"/>
                <a:gd name="connsiteY841" fmla="*/ 141923 h 1273968"/>
                <a:gd name="connsiteX842" fmla="*/ 1205675 w 1489995"/>
                <a:gd name="connsiteY842" fmla="*/ 150590 h 1273968"/>
                <a:gd name="connsiteX843" fmla="*/ 1206246 w 1489995"/>
                <a:gd name="connsiteY843" fmla="*/ 155353 h 1273968"/>
                <a:gd name="connsiteX844" fmla="*/ 1205103 w 1489995"/>
                <a:gd name="connsiteY844" fmla="*/ 158686 h 1273968"/>
                <a:gd name="connsiteX845" fmla="*/ 1203769 w 1489995"/>
                <a:gd name="connsiteY845" fmla="*/ 160496 h 1273968"/>
                <a:gd name="connsiteX846" fmla="*/ 1207103 w 1489995"/>
                <a:gd name="connsiteY846" fmla="*/ 161639 h 1273968"/>
                <a:gd name="connsiteX847" fmla="*/ 1212437 w 1489995"/>
                <a:gd name="connsiteY847" fmla="*/ 165735 h 1273968"/>
                <a:gd name="connsiteX848" fmla="*/ 1211009 w 1489995"/>
                <a:gd name="connsiteY848" fmla="*/ 167545 h 1273968"/>
                <a:gd name="connsiteX849" fmla="*/ 1211485 w 1489995"/>
                <a:gd name="connsiteY849" fmla="*/ 170688 h 1273968"/>
                <a:gd name="connsiteX850" fmla="*/ 1208056 w 1489995"/>
                <a:gd name="connsiteY850" fmla="*/ 169545 h 1273968"/>
                <a:gd name="connsiteX851" fmla="*/ 1206722 w 1489995"/>
                <a:gd name="connsiteY851" fmla="*/ 171355 h 1273968"/>
                <a:gd name="connsiteX852" fmla="*/ 1208246 w 1489995"/>
                <a:gd name="connsiteY852" fmla="*/ 171069 h 1273968"/>
                <a:gd name="connsiteX853" fmla="*/ 1208723 w 1489995"/>
                <a:gd name="connsiteY853" fmla="*/ 174308 h 1273968"/>
                <a:gd name="connsiteX854" fmla="*/ 1207484 w 1489995"/>
                <a:gd name="connsiteY854" fmla="*/ 177641 h 1273968"/>
                <a:gd name="connsiteX855" fmla="*/ 1209104 w 1489995"/>
                <a:gd name="connsiteY855" fmla="*/ 177451 h 1273968"/>
                <a:gd name="connsiteX856" fmla="*/ 1208342 w 1489995"/>
                <a:gd name="connsiteY856" fmla="*/ 183928 h 1273968"/>
                <a:gd name="connsiteX857" fmla="*/ 1206722 w 1489995"/>
                <a:gd name="connsiteY857" fmla="*/ 184118 h 1273968"/>
                <a:gd name="connsiteX858" fmla="*/ 1207389 w 1489995"/>
                <a:gd name="connsiteY858" fmla="*/ 188881 h 1273968"/>
                <a:gd name="connsiteX859" fmla="*/ 1203008 w 1489995"/>
                <a:gd name="connsiteY859" fmla="*/ 192596 h 1273968"/>
                <a:gd name="connsiteX860" fmla="*/ 1205389 w 1489995"/>
                <a:gd name="connsiteY860" fmla="*/ 198787 h 1273968"/>
                <a:gd name="connsiteX861" fmla="*/ 1209961 w 1489995"/>
                <a:gd name="connsiteY861" fmla="*/ 196596 h 1273968"/>
                <a:gd name="connsiteX862" fmla="*/ 1210342 w 1489995"/>
                <a:gd name="connsiteY862" fmla="*/ 199739 h 1273968"/>
                <a:gd name="connsiteX863" fmla="*/ 1213294 w 1489995"/>
                <a:gd name="connsiteY863" fmla="*/ 197739 h 1273968"/>
                <a:gd name="connsiteX864" fmla="*/ 1215104 w 1489995"/>
                <a:gd name="connsiteY864" fmla="*/ 199073 h 1273968"/>
                <a:gd name="connsiteX865" fmla="*/ 1221010 w 1489995"/>
                <a:gd name="connsiteY865" fmla="*/ 208026 h 1273968"/>
                <a:gd name="connsiteX866" fmla="*/ 1221391 w 1489995"/>
                <a:gd name="connsiteY866" fmla="*/ 211169 h 1273968"/>
                <a:gd name="connsiteX867" fmla="*/ 1216628 w 1489995"/>
                <a:gd name="connsiteY867" fmla="*/ 211741 h 1273968"/>
                <a:gd name="connsiteX868" fmla="*/ 1217295 w 1489995"/>
                <a:gd name="connsiteY868" fmla="*/ 216503 h 1273968"/>
                <a:gd name="connsiteX869" fmla="*/ 1220629 w 1489995"/>
                <a:gd name="connsiteY869" fmla="*/ 217646 h 1273968"/>
                <a:gd name="connsiteX870" fmla="*/ 1219486 w 1489995"/>
                <a:gd name="connsiteY870" fmla="*/ 220980 h 1273968"/>
                <a:gd name="connsiteX871" fmla="*/ 1226153 w 1489995"/>
                <a:gd name="connsiteY871" fmla="*/ 223361 h 1273968"/>
                <a:gd name="connsiteX872" fmla="*/ 1220914 w 1489995"/>
                <a:gd name="connsiteY872" fmla="*/ 244888 h 1273968"/>
                <a:gd name="connsiteX873" fmla="*/ 1219105 w 1489995"/>
                <a:gd name="connsiteY873" fmla="*/ 243459 h 1273968"/>
                <a:gd name="connsiteX874" fmla="*/ 1217962 w 1489995"/>
                <a:gd name="connsiteY874" fmla="*/ 246888 h 1273968"/>
                <a:gd name="connsiteX875" fmla="*/ 1215962 w 1489995"/>
                <a:gd name="connsiteY875" fmla="*/ 243935 h 1273968"/>
                <a:gd name="connsiteX876" fmla="*/ 1214818 w 1489995"/>
                <a:gd name="connsiteY876" fmla="*/ 247269 h 1273968"/>
                <a:gd name="connsiteX877" fmla="*/ 1208437 w 1489995"/>
                <a:gd name="connsiteY877" fmla="*/ 248031 h 1273968"/>
                <a:gd name="connsiteX878" fmla="*/ 1209294 w 1489995"/>
                <a:gd name="connsiteY878" fmla="*/ 254413 h 1273968"/>
                <a:gd name="connsiteX879" fmla="*/ 1210818 w 1489995"/>
                <a:gd name="connsiteY879" fmla="*/ 254222 h 1273968"/>
                <a:gd name="connsiteX880" fmla="*/ 1211294 w 1489995"/>
                <a:gd name="connsiteY880" fmla="*/ 257365 h 1273968"/>
                <a:gd name="connsiteX881" fmla="*/ 1208342 w 1489995"/>
                <a:gd name="connsiteY881" fmla="*/ 259271 h 1273968"/>
                <a:gd name="connsiteX882" fmla="*/ 1213676 w 1489995"/>
                <a:gd name="connsiteY882" fmla="*/ 263461 h 1273968"/>
                <a:gd name="connsiteX883" fmla="*/ 1212437 w 1489995"/>
                <a:gd name="connsiteY883" fmla="*/ 266795 h 1273968"/>
                <a:gd name="connsiteX884" fmla="*/ 1209294 w 1489995"/>
                <a:gd name="connsiteY884" fmla="*/ 267176 h 1273968"/>
                <a:gd name="connsiteX885" fmla="*/ 1207960 w 1489995"/>
                <a:gd name="connsiteY885" fmla="*/ 268986 h 1273968"/>
                <a:gd name="connsiteX886" fmla="*/ 1206341 w 1489995"/>
                <a:gd name="connsiteY886" fmla="*/ 269177 h 1273968"/>
                <a:gd name="connsiteX887" fmla="*/ 1207770 w 1489995"/>
                <a:gd name="connsiteY887" fmla="*/ 267367 h 1273968"/>
                <a:gd name="connsiteX888" fmla="*/ 1205960 w 1489995"/>
                <a:gd name="connsiteY888" fmla="*/ 266033 h 1273968"/>
                <a:gd name="connsiteX889" fmla="*/ 1204531 w 1489995"/>
                <a:gd name="connsiteY889" fmla="*/ 267843 h 1273968"/>
                <a:gd name="connsiteX890" fmla="*/ 1201198 w 1489995"/>
                <a:gd name="connsiteY890" fmla="*/ 266605 h 1273968"/>
                <a:gd name="connsiteX891" fmla="*/ 1199864 w 1489995"/>
                <a:gd name="connsiteY891" fmla="*/ 268415 h 1273968"/>
                <a:gd name="connsiteX892" fmla="*/ 1196245 w 1489995"/>
                <a:gd name="connsiteY892" fmla="*/ 265652 h 1273968"/>
                <a:gd name="connsiteX893" fmla="*/ 1193768 w 1489995"/>
                <a:gd name="connsiteY893" fmla="*/ 270796 h 1273968"/>
                <a:gd name="connsiteX894" fmla="*/ 1186815 w 1489995"/>
                <a:gd name="connsiteY894" fmla="*/ 279654 h 1273968"/>
                <a:gd name="connsiteX895" fmla="*/ 1192339 w 1489995"/>
                <a:gd name="connsiteY895" fmla="*/ 285369 h 1273968"/>
                <a:gd name="connsiteX896" fmla="*/ 1196340 w 1489995"/>
                <a:gd name="connsiteY896" fmla="*/ 291275 h 1273968"/>
                <a:gd name="connsiteX897" fmla="*/ 1199483 w 1489995"/>
                <a:gd name="connsiteY897" fmla="*/ 290894 h 1273968"/>
                <a:gd name="connsiteX898" fmla="*/ 1204817 w 1489995"/>
                <a:gd name="connsiteY898" fmla="*/ 295085 h 1273968"/>
                <a:gd name="connsiteX899" fmla="*/ 1203293 w 1489995"/>
                <a:gd name="connsiteY899" fmla="*/ 295275 h 1273968"/>
                <a:gd name="connsiteX900" fmla="*/ 1199102 w 1489995"/>
                <a:gd name="connsiteY900" fmla="*/ 300609 h 1273968"/>
                <a:gd name="connsiteX901" fmla="*/ 1201864 w 1489995"/>
                <a:gd name="connsiteY901" fmla="*/ 309848 h 1273968"/>
                <a:gd name="connsiteX902" fmla="*/ 1204055 w 1489995"/>
                <a:gd name="connsiteY902" fmla="*/ 314420 h 1273968"/>
                <a:gd name="connsiteX903" fmla="*/ 1207675 w 1489995"/>
                <a:gd name="connsiteY903" fmla="*/ 317087 h 1273968"/>
                <a:gd name="connsiteX904" fmla="*/ 1214533 w 1489995"/>
                <a:gd name="connsiteY904" fmla="*/ 321088 h 1273968"/>
                <a:gd name="connsiteX905" fmla="*/ 1221296 w 1489995"/>
                <a:gd name="connsiteY905" fmla="*/ 323374 h 1273968"/>
                <a:gd name="connsiteX906" fmla="*/ 1224248 w 1489995"/>
                <a:gd name="connsiteY906" fmla="*/ 321469 h 1273968"/>
                <a:gd name="connsiteX907" fmla="*/ 1229582 w 1489995"/>
                <a:gd name="connsiteY907" fmla="*/ 312706 h 1273968"/>
                <a:gd name="connsiteX908" fmla="*/ 1233488 w 1489995"/>
                <a:gd name="connsiteY908" fmla="*/ 318611 h 1273968"/>
                <a:gd name="connsiteX909" fmla="*/ 1241965 w 1489995"/>
                <a:gd name="connsiteY909" fmla="*/ 322326 h 1273968"/>
                <a:gd name="connsiteX910" fmla="*/ 1245394 w 1489995"/>
                <a:gd name="connsiteY910" fmla="*/ 323564 h 1273968"/>
                <a:gd name="connsiteX911" fmla="*/ 1243965 w 1489995"/>
                <a:gd name="connsiteY911" fmla="*/ 325374 h 1273968"/>
                <a:gd name="connsiteX912" fmla="*/ 1242631 w 1489995"/>
                <a:gd name="connsiteY912" fmla="*/ 327088 h 1273968"/>
                <a:gd name="connsiteX913" fmla="*/ 1241012 w 1489995"/>
                <a:gd name="connsiteY913" fmla="*/ 327279 h 1273968"/>
                <a:gd name="connsiteX914" fmla="*/ 1240441 w 1489995"/>
                <a:gd name="connsiteY914" fmla="*/ 335375 h 1273968"/>
                <a:gd name="connsiteX915" fmla="*/ 1243775 w 1489995"/>
                <a:gd name="connsiteY915" fmla="*/ 336613 h 1273968"/>
                <a:gd name="connsiteX916" fmla="*/ 1247965 w 1489995"/>
                <a:gd name="connsiteY916" fmla="*/ 331280 h 1273968"/>
                <a:gd name="connsiteX917" fmla="*/ 1249680 w 1489995"/>
                <a:gd name="connsiteY917" fmla="*/ 332613 h 1273968"/>
                <a:gd name="connsiteX918" fmla="*/ 1249871 w 1489995"/>
                <a:gd name="connsiteY918" fmla="*/ 334232 h 1273968"/>
                <a:gd name="connsiteX919" fmla="*/ 1253871 w 1489995"/>
                <a:gd name="connsiteY919" fmla="*/ 340138 h 1273968"/>
                <a:gd name="connsiteX920" fmla="*/ 1255490 w 1489995"/>
                <a:gd name="connsiteY920" fmla="*/ 339947 h 1273968"/>
                <a:gd name="connsiteX921" fmla="*/ 1257395 w 1489995"/>
                <a:gd name="connsiteY921" fmla="*/ 342900 h 1273968"/>
                <a:gd name="connsiteX922" fmla="*/ 1260634 w 1489995"/>
                <a:gd name="connsiteY922" fmla="*/ 342424 h 1273968"/>
                <a:gd name="connsiteX923" fmla="*/ 1264348 w 1489995"/>
                <a:gd name="connsiteY923" fmla="*/ 346805 h 1273968"/>
                <a:gd name="connsiteX924" fmla="*/ 1264920 w 1489995"/>
                <a:gd name="connsiteY924" fmla="*/ 351568 h 1273968"/>
                <a:gd name="connsiteX925" fmla="*/ 1261586 w 1489995"/>
                <a:gd name="connsiteY925" fmla="*/ 350330 h 1273968"/>
                <a:gd name="connsiteX926" fmla="*/ 1255681 w 1489995"/>
                <a:gd name="connsiteY926" fmla="*/ 354330 h 1273968"/>
                <a:gd name="connsiteX927" fmla="*/ 1256062 w 1489995"/>
                <a:gd name="connsiteY927" fmla="*/ 357473 h 1273968"/>
                <a:gd name="connsiteX928" fmla="*/ 1259681 w 1489995"/>
                <a:gd name="connsiteY928" fmla="*/ 360236 h 1273968"/>
                <a:gd name="connsiteX929" fmla="*/ 1260253 w 1489995"/>
                <a:gd name="connsiteY929" fmla="*/ 364998 h 1273968"/>
                <a:gd name="connsiteX930" fmla="*/ 1257681 w 1489995"/>
                <a:gd name="connsiteY930" fmla="*/ 370046 h 1273968"/>
                <a:gd name="connsiteX931" fmla="*/ 1261301 w 1489995"/>
                <a:gd name="connsiteY931" fmla="*/ 372809 h 1273968"/>
                <a:gd name="connsiteX932" fmla="*/ 1271492 w 1489995"/>
                <a:gd name="connsiteY932" fmla="*/ 377952 h 1273968"/>
                <a:gd name="connsiteX933" fmla="*/ 1271968 w 1489995"/>
                <a:gd name="connsiteY933" fmla="*/ 381095 h 1273968"/>
                <a:gd name="connsiteX934" fmla="*/ 1273683 w 1489995"/>
                <a:gd name="connsiteY934" fmla="*/ 382524 h 1273968"/>
                <a:gd name="connsiteX935" fmla="*/ 1274921 w 1489995"/>
                <a:gd name="connsiteY935" fmla="*/ 379095 h 1273968"/>
                <a:gd name="connsiteX936" fmla="*/ 1276445 w 1489995"/>
                <a:gd name="connsiteY936" fmla="*/ 378905 h 1273968"/>
                <a:gd name="connsiteX937" fmla="*/ 1276826 w 1489995"/>
                <a:gd name="connsiteY937" fmla="*/ 382048 h 1273968"/>
                <a:gd name="connsiteX938" fmla="*/ 1278636 w 1489995"/>
                <a:gd name="connsiteY938" fmla="*/ 383477 h 1273968"/>
                <a:gd name="connsiteX939" fmla="*/ 1280065 w 1489995"/>
                <a:gd name="connsiteY939" fmla="*/ 381667 h 1273968"/>
                <a:gd name="connsiteX940" fmla="*/ 1281589 w 1489995"/>
                <a:gd name="connsiteY940" fmla="*/ 381476 h 1273968"/>
                <a:gd name="connsiteX941" fmla="*/ 1281208 w 1489995"/>
                <a:gd name="connsiteY941" fmla="*/ 378333 h 1273968"/>
                <a:gd name="connsiteX942" fmla="*/ 1290828 w 1489995"/>
                <a:gd name="connsiteY942" fmla="*/ 378714 h 1273968"/>
                <a:gd name="connsiteX943" fmla="*/ 1295019 w 1489995"/>
                <a:gd name="connsiteY943" fmla="*/ 373380 h 1273968"/>
                <a:gd name="connsiteX944" fmla="*/ 1298162 w 1489995"/>
                <a:gd name="connsiteY944" fmla="*/ 372999 h 1273968"/>
                <a:gd name="connsiteX945" fmla="*/ 1299972 w 1489995"/>
                <a:gd name="connsiteY945" fmla="*/ 374333 h 1273968"/>
                <a:gd name="connsiteX946" fmla="*/ 1300163 w 1489995"/>
                <a:gd name="connsiteY946" fmla="*/ 375952 h 1273968"/>
                <a:gd name="connsiteX947" fmla="*/ 1303687 w 1489995"/>
                <a:gd name="connsiteY947" fmla="*/ 378714 h 1273968"/>
                <a:gd name="connsiteX948" fmla="*/ 1303877 w 1489995"/>
                <a:gd name="connsiteY948" fmla="*/ 380238 h 1273968"/>
                <a:gd name="connsiteX949" fmla="*/ 1306830 w 1489995"/>
                <a:gd name="connsiteY949" fmla="*/ 378238 h 1273968"/>
                <a:gd name="connsiteX950" fmla="*/ 1310450 w 1489995"/>
                <a:gd name="connsiteY950" fmla="*/ 381000 h 1273968"/>
                <a:gd name="connsiteX951" fmla="*/ 1311783 w 1489995"/>
                <a:gd name="connsiteY951" fmla="*/ 379286 h 1273968"/>
                <a:gd name="connsiteX952" fmla="*/ 1318546 w 1489995"/>
                <a:gd name="connsiteY952" fmla="*/ 381571 h 1273968"/>
                <a:gd name="connsiteX953" fmla="*/ 1325404 w 1489995"/>
                <a:gd name="connsiteY953" fmla="*/ 385477 h 1273968"/>
                <a:gd name="connsiteX954" fmla="*/ 1324070 w 1489995"/>
                <a:gd name="connsiteY954" fmla="*/ 387286 h 1273968"/>
                <a:gd name="connsiteX955" fmla="*/ 1327594 w 1489995"/>
                <a:gd name="connsiteY955" fmla="*/ 390049 h 1273968"/>
                <a:gd name="connsiteX956" fmla="*/ 1328928 w 1489995"/>
                <a:gd name="connsiteY956" fmla="*/ 388239 h 1273968"/>
                <a:gd name="connsiteX957" fmla="*/ 1333310 w 1489995"/>
                <a:gd name="connsiteY957" fmla="*/ 384524 h 1273968"/>
                <a:gd name="connsiteX958" fmla="*/ 1335691 w 1489995"/>
                <a:gd name="connsiteY958" fmla="*/ 377761 h 1273968"/>
                <a:gd name="connsiteX959" fmla="*/ 1342168 w 1489995"/>
                <a:gd name="connsiteY959" fmla="*/ 378619 h 1273968"/>
                <a:gd name="connsiteX960" fmla="*/ 1346549 w 1489995"/>
                <a:gd name="connsiteY960" fmla="*/ 374809 h 1273968"/>
                <a:gd name="connsiteX961" fmla="*/ 1351217 w 1489995"/>
                <a:gd name="connsiteY961" fmla="*/ 374237 h 1273968"/>
                <a:gd name="connsiteX962" fmla="*/ 1352645 w 1489995"/>
                <a:gd name="connsiteY962" fmla="*/ 372428 h 1273968"/>
                <a:gd name="connsiteX963" fmla="*/ 1357313 w 1489995"/>
                <a:gd name="connsiteY963" fmla="*/ 371856 h 1273968"/>
                <a:gd name="connsiteX964" fmla="*/ 1358551 w 1489995"/>
                <a:gd name="connsiteY964" fmla="*/ 368522 h 1273968"/>
                <a:gd name="connsiteX965" fmla="*/ 1358932 w 1489995"/>
                <a:gd name="connsiteY965" fmla="*/ 371665 h 1273968"/>
                <a:gd name="connsiteX966" fmla="*/ 1360551 w 1489995"/>
                <a:gd name="connsiteY966" fmla="*/ 371475 h 1273968"/>
                <a:gd name="connsiteX967" fmla="*/ 1361504 w 1489995"/>
                <a:gd name="connsiteY967" fmla="*/ 379286 h 1273968"/>
                <a:gd name="connsiteX968" fmla="*/ 1363123 w 1489995"/>
                <a:gd name="connsiteY968" fmla="*/ 379095 h 1273968"/>
                <a:gd name="connsiteX969" fmla="*/ 1363313 w 1489995"/>
                <a:gd name="connsiteY969" fmla="*/ 380714 h 1273968"/>
                <a:gd name="connsiteX970" fmla="*/ 1367981 w 1489995"/>
                <a:gd name="connsiteY970" fmla="*/ 380048 h 1273968"/>
                <a:gd name="connsiteX971" fmla="*/ 1371600 w 1489995"/>
                <a:gd name="connsiteY971" fmla="*/ 382810 h 1273968"/>
                <a:gd name="connsiteX972" fmla="*/ 1371790 w 1489995"/>
                <a:gd name="connsiteY972" fmla="*/ 384429 h 1273968"/>
                <a:gd name="connsiteX973" fmla="*/ 1376553 w 1489995"/>
                <a:gd name="connsiteY973" fmla="*/ 383858 h 1273968"/>
                <a:gd name="connsiteX974" fmla="*/ 1378744 w 1489995"/>
                <a:gd name="connsiteY974" fmla="*/ 388334 h 1273968"/>
                <a:gd name="connsiteX975" fmla="*/ 1374362 w 1489995"/>
                <a:gd name="connsiteY975" fmla="*/ 392144 h 1273968"/>
                <a:gd name="connsiteX976" fmla="*/ 1376553 w 1489995"/>
                <a:gd name="connsiteY976" fmla="*/ 396621 h 1273968"/>
                <a:gd name="connsiteX977" fmla="*/ 1376743 w 1489995"/>
                <a:gd name="connsiteY977" fmla="*/ 398240 h 1273968"/>
                <a:gd name="connsiteX978" fmla="*/ 1375219 w 1489995"/>
                <a:gd name="connsiteY978" fmla="*/ 398431 h 1273968"/>
                <a:gd name="connsiteX979" fmla="*/ 1377982 w 1489995"/>
                <a:gd name="connsiteY979" fmla="*/ 407670 h 1273968"/>
                <a:gd name="connsiteX980" fmla="*/ 1377029 w 1489995"/>
                <a:gd name="connsiteY980" fmla="*/ 412623 h 1273968"/>
                <a:gd name="connsiteX981" fmla="*/ 1378744 w 1489995"/>
                <a:gd name="connsiteY981" fmla="*/ 413957 h 1273968"/>
                <a:gd name="connsiteX982" fmla="*/ 1382744 w 1489995"/>
                <a:gd name="connsiteY982" fmla="*/ 419957 h 1273968"/>
                <a:gd name="connsiteX983" fmla="*/ 1378363 w 1489995"/>
                <a:gd name="connsiteY983" fmla="*/ 423672 h 1273968"/>
                <a:gd name="connsiteX984" fmla="*/ 1373696 w 1489995"/>
                <a:gd name="connsiteY984" fmla="*/ 424244 h 1273968"/>
                <a:gd name="connsiteX985" fmla="*/ 1370933 w 1489995"/>
                <a:gd name="connsiteY985" fmla="*/ 427863 h 1273968"/>
                <a:gd name="connsiteX986" fmla="*/ 1374267 w 1489995"/>
                <a:gd name="connsiteY986" fmla="*/ 429006 h 1273968"/>
                <a:gd name="connsiteX987" fmla="*/ 1376077 w 1489995"/>
                <a:gd name="connsiteY987" fmla="*/ 443198 h 1273968"/>
                <a:gd name="connsiteX988" fmla="*/ 1372362 w 1489995"/>
                <a:gd name="connsiteY988" fmla="*/ 451675 h 1273968"/>
                <a:gd name="connsiteX989" fmla="*/ 1378839 w 1489995"/>
                <a:gd name="connsiteY989" fmla="*/ 452438 h 1273968"/>
                <a:gd name="connsiteX990" fmla="*/ 1379696 w 1489995"/>
                <a:gd name="connsiteY990" fmla="*/ 458819 h 1273968"/>
                <a:gd name="connsiteX991" fmla="*/ 1381220 w 1489995"/>
                <a:gd name="connsiteY991" fmla="*/ 458629 h 1273968"/>
                <a:gd name="connsiteX992" fmla="*/ 1387983 w 1489995"/>
                <a:gd name="connsiteY992" fmla="*/ 460915 h 1273968"/>
                <a:gd name="connsiteX993" fmla="*/ 1385983 w 1489995"/>
                <a:gd name="connsiteY993" fmla="*/ 470821 h 1273968"/>
                <a:gd name="connsiteX994" fmla="*/ 1388745 w 1489995"/>
                <a:gd name="connsiteY994" fmla="*/ 467296 h 1273968"/>
                <a:gd name="connsiteX995" fmla="*/ 1389126 w 1489995"/>
                <a:gd name="connsiteY995" fmla="*/ 470440 h 1273968"/>
                <a:gd name="connsiteX996" fmla="*/ 1390936 w 1489995"/>
                <a:gd name="connsiteY996" fmla="*/ 471773 h 1273968"/>
                <a:gd name="connsiteX997" fmla="*/ 1388364 w 1489995"/>
                <a:gd name="connsiteY997" fmla="*/ 476917 h 1273968"/>
                <a:gd name="connsiteX998" fmla="*/ 1394269 w 1489995"/>
                <a:gd name="connsiteY998" fmla="*/ 472916 h 1273968"/>
                <a:gd name="connsiteX999" fmla="*/ 1390364 w 1489995"/>
                <a:gd name="connsiteY999" fmla="*/ 479869 h 1273968"/>
                <a:gd name="connsiteX1000" fmla="*/ 1391126 w 1489995"/>
                <a:gd name="connsiteY1000" fmla="*/ 486156 h 1273968"/>
                <a:gd name="connsiteX1001" fmla="*/ 1388650 w 1489995"/>
                <a:gd name="connsiteY1001" fmla="*/ 491300 h 1273968"/>
                <a:gd name="connsiteX1002" fmla="*/ 1386840 w 1489995"/>
                <a:gd name="connsiteY1002" fmla="*/ 489966 h 1273968"/>
                <a:gd name="connsiteX1003" fmla="*/ 1384078 w 1489995"/>
                <a:gd name="connsiteY1003" fmla="*/ 493490 h 1273968"/>
                <a:gd name="connsiteX1004" fmla="*/ 1385888 w 1489995"/>
                <a:gd name="connsiteY1004" fmla="*/ 494919 h 1273968"/>
                <a:gd name="connsiteX1005" fmla="*/ 1387888 w 1489995"/>
                <a:gd name="connsiteY1005" fmla="*/ 497872 h 1273968"/>
                <a:gd name="connsiteX1006" fmla="*/ 1386268 w 1489995"/>
                <a:gd name="connsiteY1006" fmla="*/ 498062 h 1273968"/>
                <a:gd name="connsiteX1007" fmla="*/ 1385316 w 1489995"/>
                <a:gd name="connsiteY1007" fmla="*/ 503015 h 1273968"/>
                <a:gd name="connsiteX1008" fmla="*/ 1383506 w 1489995"/>
                <a:gd name="connsiteY1008" fmla="*/ 501586 h 1273968"/>
                <a:gd name="connsiteX1009" fmla="*/ 1383887 w 1489995"/>
                <a:gd name="connsiteY1009" fmla="*/ 504730 h 1273968"/>
                <a:gd name="connsiteX1010" fmla="*/ 1379410 w 1489995"/>
                <a:gd name="connsiteY1010" fmla="*/ 506921 h 1273968"/>
                <a:gd name="connsiteX1011" fmla="*/ 1378363 w 1489995"/>
                <a:gd name="connsiteY1011" fmla="*/ 511873 h 1273968"/>
                <a:gd name="connsiteX1012" fmla="*/ 1373505 w 1489995"/>
                <a:gd name="connsiteY1012" fmla="*/ 510921 h 1273968"/>
                <a:gd name="connsiteX1013" fmla="*/ 1372648 w 1489995"/>
                <a:gd name="connsiteY1013" fmla="*/ 517398 h 1273968"/>
                <a:gd name="connsiteX1014" fmla="*/ 1370743 w 1489995"/>
                <a:gd name="connsiteY1014" fmla="*/ 514445 h 1273968"/>
                <a:gd name="connsiteX1015" fmla="*/ 1369314 w 1489995"/>
                <a:gd name="connsiteY1015" fmla="*/ 516255 h 1273968"/>
                <a:gd name="connsiteX1016" fmla="*/ 1369981 w 1489995"/>
                <a:gd name="connsiteY1016" fmla="*/ 521017 h 1273968"/>
                <a:gd name="connsiteX1017" fmla="*/ 1366742 w 1489995"/>
                <a:gd name="connsiteY1017" fmla="*/ 521398 h 1273968"/>
                <a:gd name="connsiteX1018" fmla="*/ 1365028 w 1489995"/>
                <a:gd name="connsiteY1018" fmla="*/ 519970 h 1273968"/>
                <a:gd name="connsiteX1019" fmla="*/ 1363409 w 1489995"/>
                <a:gd name="connsiteY1019" fmla="*/ 520160 h 1273968"/>
                <a:gd name="connsiteX1020" fmla="*/ 1362456 w 1489995"/>
                <a:gd name="connsiteY1020" fmla="*/ 525113 h 1273968"/>
                <a:gd name="connsiteX1021" fmla="*/ 1367218 w 1489995"/>
                <a:gd name="connsiteY1021" fmla="*/ 524542 h 1273968"/>
                <a:gd name="connsiteX1022" fmla="*/ 1375886 w 1489995"/>
                <a:gd name="connsiteY1022" fmla="*/ 529876 h 1273968"/>
                <a:gd name="connsiteX1023" fmla="*/ 1376077 w 1489995"/>
                <a:gd name="connsiteY1023" fmla="*/ 531400 h 1273968"/>
                <a:gd name="connsiteX1024" fmla="*/ 1366076 w 1489995"/>
                <a:gd name="connsiteY1024" fmla="*/ 540734 h 1273968"/>
                <a:gd name="connsiteX1025" fmla="*/ 1358360 w 1489995"/>
                <a:gd name="connsiteY1025" fmla="*/ 543306 h 1273968"/>
                <a:gd name="connsiteX1026" fmla="*/ 1358551 w 1489995"/>
                <a:gd name="connsiteY1026" fmla="*/ 544925 h 1273968"/>
                <a:gd name="connsiteX1027" fmla="*/ 1369981 w 1489995"/>
                <a:gd name="connsiteY1027" fmla="*/ 546640 h 1273968"/>
                <a:gd name="connsiteX1028" fmla="*/ 1379220 w 1489995"/>
                <a:gd name="connsiteY1028" fmla="*/ 543878 h 1273968"/>
                <a:gd name="connsiteX1029" fmla="*/ 1386554 w 1489995"/>
                <a:gd name="connsiteY1029" fmla="*/ 550926 h 1273968"/>
                <a:gd name="connsiteX1030" fmla="*/ 1388555 w 1489995"/>
                <a:gd name="connsiteY1030" fmla="*/ 553879 h 1273968"/>
                <a:gd name="connsiteX1031" fmla="*/ 1395317 w 1489995"/>
                <a:gd name="connsiteY1031" fmla="*/ 556260 h 1273968"/>
                <a:gd name="connsiteX1032" fmla="*/ 1396460 w 1489995"/>
                <a:gd name="connsiteY1032" fmla="*/ 552926 h 1273968"/>
                <a:gd name="connsiteX1033" fmla="*/ 1396079 w 1489995"/>
                <a:gd name="connsiteY1033" fmla="*/ 549688 h 1273968"/>
                <a:gd name="connsiteX1034" fmla="*/ 1399604 w 1489995"/>
                <a:gd name="connsiteY1034" fmla="*/ 552450 h 1273968"/>
                <a:gd name="connsiteX1035" fmla="*/ 1402747 w 1489995"/>
                <a:gd name="connsiteY1035" fmla="*/ 552069 h 1273968"/>
                <a:gd name="connsiteX1036" fmla="*/ 1401604 w 1489995"/>
                <a:gd name="connsiteY1036" fmla="*/ 555403 h 1273968"/>
                <a:gd name="connsiteX1037" fmla="*/ 1412272 w 1489995"/>
                <a:gd name="connsiteY1037" fmla="*/ 563690 h 1273968"/>
                <a:gd name="connsiteX1038" fmla="*/ 1418939 w 1489995"/>
                <a:gd name="connsiteY1038" fmla="*/ 566071 h 1273968"/>
                <a:gd name="connsiteX1039" fmla="*/ 1420368 w 1489995"/>
                <a:gd name="connsiteY1039" fmla="*/ 564261 h 1273968"/>
                <a:gd name="connsiteX1040" fmla="*/ 1422178 w 1489995"/>
                <a:gd name="connsiteY1040" fmla="*/ 565595 h 1273968"/>
                <a:gd name="connsiteX1041" fmla="*/ 1420559 w 1489995"/>
                <a:gd name="connsiteY1041" fmla="*/ 565880 h 1273968"/>
                <a:gd name="connsiteX1042" fmla="*/ 1427321 w 1489995"/>
                <a:gd name="connsiteY1042" fmla="*/ 568166 h 1273968"/>
                <a:gd name="connsiteX1043" fmla="*/ 1419035 w 1489995"/>
                <a:gd name="connsiteY1043" fmla="*/ 578834 h 1273968"/>
                <a:gd name="connsiteX1044" fmla="*/ 1419797 w 1489995"/>
                <a:gd name="connsiteY1044" fmla="*/ 585216 h 1273968"/>
                <a:gd name="connsiteX1045" fmla="*/ 1417987 w 1489995"/>
                <a:gd name="connsiteY1045" fmla="*/ 583787 h 1273968"/>
                <a:gd name="connsiteX1046" fmla="*/ 1416463 w 1489995"/>
                <a:gd name="connsiteY1046" fmla="*/ 583978 h 1273968"/>
                <a:gd name="connsiteX1047" fmla="*/ 1419225 w 1489995"/>
                <a:gd name="connsiteY1047" fmla="*/ 593312 h 1273968"/>
                <a:gd name="connsiteX1048" fmla="*/ 1413319 w 1489995"/>
                <a:gd name="connsiteY1048" fmla="*/ 597218 h 1273968"/>
                <a:gd name="connsiteX1049" fmla="*/ 1408176 w 1489995"/>
                <a:gd name="connsiteY1049" fmla="*/ 594646 h 1273968"/>
                <a:gd name="connsiteX1050" fmla="*/ 1407605 w 1489995"/>
                <a:gd name="connsiteY1050" fmla="*/ 589979 h 1273968"/>
                <a:gd name="connsiteX1051" fmla="*/ 1404080 w 1489995"/>
                <a:gd name="connsiteY1051" fmla="*/ 587216 h 1273968"/>
                <a:gd name="connsiteX1052" fmla="*/ 1398080 w 1489995"/>
                <a:gd name="connsiteY1052" fmla="*/ 591122 h 1273968"/>
                <a:gd name="connsiteX1053" fmla="*/ 1394555 w 1489995"/>
                <a:gd name="connsiteY1053" fmla="*/ 601218 h 1273968"/>
                <a:gd name="connsiteX1054" fmla="*/ 1401699 w 1489995"/>
                <a:gd name="connsiteY1054" fmla="*/ 606743 h 1273968"/>
                <a:gd name="connsiteX1055" fmla="*/ 1406081 w 1489995"/>
                <a:gd name="connsiteY1055" fmla="*/ 602933 h 1273968"/>
                <a:gd name="connsiteX1056" fmla="*/ 1410176 w 1489995"/>
                <a:gd name="connsiteY1056" fmla="*/ 610457 h 1273968"/>
                <a:gd name="connsiteX1057" fmla="*/ 1413319 w 1489995"/>
                <a:gd name="connsiteY1057" fmla="*/ 610076 h 1273968"/>
                <a:gd name="connsiteX1058" fmla="*/ 1408843 w 1489995"/>
                <a:gd name="connsiteY1058" fmla="*/ 612267 h 1273968"/>
                <a:gd name="connsiteX1059" fmla="*/ 1405033 w 1489995"/>
                <a:gd name="connsiteY1059" fmla="*/ 607886 h 1273968"/>
                <a:gd name="connsiteX1060" fmla="*/ 1402271 w 1489995"/>
                <a:gd name="connsiteY1060" fmla="*/ 611505 h 1273968"/>
                <a:gd name="connsiteX1061" fmla="*/ 1399127 w 1489995"/>
                <a:gd name="connsiteY1061" fmla="*/ 611886 h 1273968"/>
                <a:gd name="connsiteX1062" fmla="*/ 1397794 w 1489995"/>
                <a:gd name="connsiteY1062" fmla="*/ 613696 h 1273968"/>
                <a:gd name="connsiteX1063" fmla="*/ 1400365 w 1489995"/>
                <a:gd name="connsiteY1063" fmla="*/ 621316 h 1273968"/>
                <a:gd name="connsiteX1064" fmla="*/ 1402556 w 1489995"/>
                <a:gd name="connsiteY1064" fmla="*/ 625888 h 1273968"/>
                <a:gd name="connsiteX1065" fmla="*/ 1402747 w 1489995"/>
                <a:gd name="connsiteY1065" fmla="*/ 640271 h 1273968"/>
                <a:gd name="connsiteX1066" fmla="*/ 1396270 w 1489995"/>
                <a:gd name="connsiteY1066" fmla="*/ 639509 h 1273968"/>
                <a:gd name="connsiteX1067" fmla="*/ 1391698 w 1489995"/>
                <a:gd name="connsiteY1067" fmla="*/ 641699 h 1273968"/>
                <a:gd name="connsiteX1068" fmla="*/ 1389983 w 1489995"/>
                <a:gd name="connsiteY1068" fmla="*/ 640271 h 1273968"/>
                <a:gd name="connsiteX1069" fmla="*/ 1390364 w 1489995"/>
                <a:gd name="connsiteY1069" fmla="*/ 643414 h 1273968"/>
                <a:gd name="connsiteX1070" fmla="*/ 1387221 w 1489995"/>
                <a:gd name="connsiteY1070" fmla="*/ 643890 h 1273968"/>
                <a:gd name="connsiteX1071" fmla="*/ 1385411 w 1489995"/>
                <a:gd name="connsiteY1071" fmla="*/ 642461 h 1273968"/>
                <a:gd name="connsiteX1072" fmla="*/ 1382077 w 1489995"/>
                <a:gd name="connsiteY1072" fmla="*/ 641318 h 1273968"/>
                <a:gd name="connsiteX1073" fmla="*/ 1380839 w 1489995"/>
                <a:gd name="connsiteY1073" fmla="*/ 644652 h 1273968"/>
                <a:gd name="connsiteX1074" fmla="*/ 1377887 w 1489995"/>
                <a:gd name="connsiteY1074" fmla="*/ 646652 h 1273968"/>
                <a:gd name="connsiteX1075" fmla="*/ 1378172 w 1489995"/>
                <a:gd name="connsiteY1075" fmla="*/ 648272 h 1273968"/>
                <a:gd name="connsiteX1076" fmla="*/ 1381697 w 1489995"/>
                <a:gd name="connsiteY1076" fmla="*/ 650938 h 1273968"/>
                <a:gd name="connsiteX1077" fmla="*/ 1392936 w 1489995"/>
                <a:gd name="connsiteY1077" fmla="*/ 651129 h 1273968"/>
                <a:gd name="connsiteX1078" fmla="*/ 1391793 w 1489995"/>
                <a:gd name="connsiteY1078" fmla="*/ 654558 h 1273968"/>
                <a:gd name="connsiteX1079" fmla="*/ 1396270 w 1489995"/>
                <a:gd name="connsiteY1079" fmla="*/ 652367 h 1273968"/>
                <a:gd name="connsiteX1080" fmla="*/ 1396937 w 1489995"/>
                <a:gd name="connsiteY1080" fmla="*/ 657035 h 1273968"/>
                <a:gd name="connsiteX1081" fmla="*/ 1395508 w 1489995"/>
                <a:gd name="connsiteY1081" fmla="*/ 658844 h 1273968"/>
                <a:gd name="connsiteX1082" fmla="*/ 1393698 w 1489995"/>
                <a:gd name="connsiteY1082" fmla="*/ 657511 h 1273968"/>
                <a:gd name="connsiteX1083" fmla="*/ 1392364 w 1489995"/>
                <a:gd name="connsiteY1083" fmla="*/ 659225 h 1273968"/>
                <a:gd name="connsiteX1084" fmla="*/ 1387221 w 1489995"/>
                <a:gd name="connsiteY1084" fmla="*/ 656654 h 1273968"/>
                <a:gd name="connsiteX1085" fmla="*/ 1387412 w 1489995"/>
                <a:gd name="connsiteY1085" fmla="*/ 658273 h 1273968"/>
                <a:gd name="connsiteX1086" fmla="*/ 1390745 w 1489995"/>
                <a:gd name="connsiteY1086" fmla="*/ 659416 h 1273968"/>
                <a:gd name="connsiteX1087" fmla="*/ 1389221 w 1489995"/>
                <a:gd name="connsiteY1087" fmla="*/ 659606 h 1273968"/>
                <a:gd name="connsiteX1088" fmla="*/ 1384078 w 1489995"/>
                <a:gd name="connsiteY1088" fmla="*/ 657130 h 1273968"/>
                <a:gd name="connsiteX1089" fmla="*/ 1380744 w 1489995"/>
                <a:gd name="connsiteY1089" fmla="*/ 655892 h 1273968"/>
                <a:gd name="connsiteX1090" fmla="*/ 1375029 w 1489995"/>
                <a:gd name="connsiteY1090" fmla="*/ 661416 h 1273968"/>
                <a:gd name="connsiteX1091" fmla="*/ 1368933 w 1489995"/>
                <a:gd name="connsiteY1091" fmla="*/ 663797 h 1273968"/>
                <a:gd name="connsiteX1092" fmla="*/ 1374267 w 1489995"/>
                <a:gd name="connsiteY1092" fmla="*/ 667988 h 1273968"/>
                <a:gd name="connsiteX1093" fmla="*/ 1374648 w 1489995"/>
                <a:gd name="connsiteY1093" fmla="*/ 671132 h 1273968"/>
                <a:gd name="connsiteX1094" fmla="*/ 1376172 w 1489995"/>
                <a:gd name="connsiteY1094" fmla="*/ 670941 h 1273968"/>
                <a:gd name="connsiteX1095" fmla="*/ 1377029 w 1489995"/>
                <a:gd name="connsiteY1095" fmla="*/ 677228 h 1273968"/>
                <a:gd name="connsiteX1096" fmla="*/ 1380554 w 1489995"/>
                <a:gd name="connsiteY1096" fmla="*/ 679990 h 1273968"/>
                <a:gd name="connsiteX1097" fmla="*/ 1382173 w 1489995"/>
                <a:gd name="connsiteY1097" fmla="*/ 679799 h 1273968"/>
                <a:gd name="connsiteX1098" fmla="*/ 1380744 w 1489995"/>
                <a:gd name="connsiteY1098" fmla="*/ 681609 h 1273968"/>
                <a:gd name="connsiteX1099" fmla="*/ 1383887 w 1489995"/>
                <a:gd name="connsiteY1099" fmla="*/ 681133 h 1273968"/>
                <a:gd name="connsiteX1100" fmla="*/ 1384364 w 1489995"/>
                <a:gd name="connsiteY1100" fmla="*/ 684276 h 1273968"/>
                <a:gd name="connsiteX1101" fmla="*/ 1389507 w 1489995"/>
                <a:gd name="connsiteY1101" fmla="*/ 686848 h 1273968"/>
                <a:gd name="connsiteX1102" fmla="*/ 1394651 w 1489995"/>
                <a:gd name="connsiteY1102" fmla="*/ 689420 h 1273968"/>
                <a:gd name="connsiteX1103" fmla="*/ 1396365 w 1489995"/>
                <a:gd name="connsiteY1103" fmla="*/ 690848 h 1273968"/>
                <a:gd name="connsiteX1104" fmla="*/ 1400556 w 1489995"/>
                <a:gd name="connsiteY1104" fmla="*/ 685514 h 1273968"/>
                <a:gd name="connsiteX1105" fmla="*/ 1408843 w 1489995"/>
                <a:gd name="connsiteY1105" fmla="*/ 687610 h 1273968"/>
                <a:gd name="connsiteX1106" fmla="*/ 1407414 w 1489995"/>
                <a:gd name="connsiteY1106" fmla="*/ 689420 h 1273968"/>
                <a:gd name="connsiteX1107" fmla="*/ 1405700 w 1489995"/>
                <a:gd name="connsiteY1107" fmla="*/ 687991 h 1273968"/>
                <a:gd name="connsiteX1108" fmla="*/ 1409414 w 1489995"/>
                <a:gd name="connsiteY1108" fmla="*/ 692372 h 1273968"/>
                <a:gd name="connsiteX1109" fmla="*/ 1412367 w 1489995"/>
                <a:gd name="connsiteY1109" fmla="*/ 690372 h 1273968"/>
                <a:gd name="connsiteX1110" fmla="*/ 1417510 w 1489995"/>
                <a:gd name="connsiteY1110" fmla="*/ 692944 h 1273968"/>
                <a:gd name="connsiteX1111" fmla="*/ 1413129 w 1489995"/>
                <a:gd name="connsiteY1111" fmla="*/ 696659 h 1273968"/>
                <a:gd name="connsiteX1112" fmla="*/ 1409986 w 1489995"/>
                <a:gd name="connsiteY1112" fmla="*/ 697040 h 1273968"/>
                <a:gd name="connsiteX1113" fmla="*/ 1411986 w 1489995"/>
                <a:gd name="connsiteY1113" fmla="*/ 699992 h 1273968"/>
                <a:gd name="connsiteX1114" fmla="*/ 1415320 w 1489995"/>
                <a:gd name="connsiteY1114" fmla="*/ 701231 h 1273968"/>
                <a:gd name="connsiteX1115" fmla="*/ 1418558 w 1489995"/>
                <a:gd name="connsiteY1115" fmla="*/ 700850 h 1273968"/>
                <a:gd name="connsiteX1116" fmla="*/ 1418749 w 1489995"/>
                <a:gd name="connsiteY1116" fmla="*/ 702374 h 1273968"/>
                <a:gd name="connsiteX1117" fmla="*/ 1420082 w 1489995"/>
                <a:gd name="connsiteY1117" fmla="*/ 700659 h 1273968"/>
                <a:gd name="connsiteX1118" fmla="*/ 1421892 w 1489995"/>
                <a:gd name="connsiteY1118" fmla="*/ 701993 h 1273968"/>
                <a:gd name="connsiteX1119" fmla="*/ 1427035 w 1489995"/>
                <a:gd name="connsiteY1119" fmla="*/ 704564 h 1273968"/>
                <a:gd name="connsiteX1120" fmla="*/ 1434275 w 1489995"/>
                <a:gd name="connsiteY1120" fmla="*/ 698849 h 1273968"/>
                <a:gd name="connsiteX1121" fmla="*/ 1436084 w 1489995"/>
                <a:gd name="connsiteY1121" fmla="*/ 700183 h 1273968"/>
                <a:gd name="connsiteX1122" fmla="*/ 1436465 w 1489995"/>
                <a:gd name="connsiteY1122" fmla="*/ 703326 h 1273968"/>
                <a:gd name="connsiteX1123" fmla="*/ 1438275 w 1489995"/>
                <a:gd name="connsiteY1123" fmla="*/ 704755 h 1273968"/>
                <a:gd name="connsiteX1124" fmla="*/ 1435322 w 1489995"/>
                <a:gd name="connsiteY1124" fmla="*/ 706660 h 1273968"/>
                <a:gd name="connsiteX1125" fmla="*/ 1436084 w 1489995"/>
                <a:gd name="connsiteY1125" fmla="*/ 713041 h 1273968"/>
                <a:gd name="connsiteX1126" fmla="*/ 1439227 w 1489995"/>
                <a:gd name="connsiteY1126" fmla="*/ 712565 h 1273968"/>
                <a:gd name="connsiteX1127" fmla="*/ 1442752 w 1489995"/>
                <a:gd name="connsiteY1127" fmla="*/ 702564 h 1273968"/>
                <a:gd name="connsiteX1128" fmla="*/ 1444752 w 1489995"/>
                <a:gd name="connsiteY1128" fmla="*/ 705517 h 1273968"/>
                <a:gd name="connsiteX1129" fmla="*/ 1443609 w 1489995"/>
                <a:gd name="connsiteY1129" fmla="*/ 708851 h 1273968"/>
                <a:gd name="connsiteX1130" fmla="*/ 1446752 w 1489995"/>
                <a:gd name="connsiteY1130" fmla="*/ 708470 h 1273968"/>
                <a:gd name="connsiteX1131" fmla="*/ 1445800 w 1489995"/>
                <a:gd name="connsiteY1131" fmla="*/ 713423 h 1273968"/>
                <a:gd name="connsiteX1132" fmla="*/ 1446371 w 1489995"/>
                <a:gd name="connsiteY1132" fmla="*/ 718090 h 1273968"/>
                <a:gd name="connsiteX1133" fmla="*/ 1445038 w 1489995"/>
                <a:gd name="connsiteY1133" fmla="*/ 719899 h 1273968"/>
                <a:gd name="connsiteX1134" fmla="*/ 1437513 w 1489995"/>
                <a:gd name="connsiteY1134" fmla="*/ 724090 h 1273968"/>
                <a:gd name="connsiteX1135" fmla="*/ 1437704 w 1489995"/>
                <a:gd name="connsiteY1135" fmla="*/ 725615 h 1273968"/>
                <a:gd name="connsiteX1136" fmla="*/ 1439704 w 1489995"/>
                <a:gd name="connsiteY1136" fmla="*/ 728567 h 1273968"/>
                <a:gd name="connsiteX1137" fmla="*/ 1448372 w 1489995"/>
                <a:gd name="connsiteY1137" fmla="*/ 733901 h 1273968"/>
                <a:gd name="connsiteX1138" fmla="*/ 1467707 w 1489995"/>
                <a:gd name="connsiteY1138" fmla="*/ 747427 h 1273968"/>
                <a:gd name="connsiteX1139" fmla="*/ 1469136 w 1489995"/>
                <a:gd name="connsiteY1139" fmla="*/ 745712 h 1273968"/>
                <a:gd name="connsiteX1140" fmla="*/ 1472279 w 1489995"/>
                <a:gd name="connsiteY1140" fmla="*/ 745236 h 1273968"/>
                <a:gd name="connsiteX1141" fmla="*/ 1474470 w 1489995"/>
                <a:gd name="connsiteY1141" fmla="*/ 749808 h 1273968"/>
                <a:gd name="connsiteX1142" fmla="*/ 1475804 w 1489995"/>
                <a:gd name="connsiteY1142" fmla="*/ 747998 h 1273968"/>
                <a:gd name="connsiteX1143" fmla="*/ 1477613 w 1489995"/>
                <a:gd name="connsiteY1143" fmla="*/ 749427 h 1273968"/>
                <a:gd name="connsiteX1144" fmla="*/ 1479423 w 1489995"/>
                <a:gd name="connsiteY1144" fmla="*/ 750761 h 1273968"/>
                <a:gd name="connsiteX1145" fmla="*/ 1478185 w 1489995"/>
                <a:gd name="connsiteY1145" fmla="*/ 754190 h 1273968"/>
                <a:gd name="connsiteX1146" fmla="*/ 1481614 w 1489995"/>
                <a:gd name="connsiteY1146" fmla="*/ 755332 h 1273968"/>
                <a:gd name="connsiteX1147" fmla="*/ 1484376 w 1489995"/>
                <a:gd name="connsiteY1147" fmla="*/ 751808 h 1273968"/>
                <a:gd name="connsiteX1148" fmla="*/ 1488281 w 1489995"/>
                <a:gd name="connsiteY1148" fmla="*/ 757714 h 1273968"/>
                <a:gd name="connsiteX1149" fmla="*/ 1485710 w 1489995"/>
                <a:gd name="connsiteY1149" fmla="*/ 762857 h 1273968"/>
                <a:gd name="connsiteX1150" fmla="*/ 1487519 w 1489995"/>
                <a:gd name="connsiteY1150" fmla="*/ 764191 h 1273968"/>
                <a:gd name="connsiteX1151" fmla="*/ 1486567 w 1489995"/>
                <a:gd name="connsiteY1151" fmla="*/ 769144 h 1273968"/>
                <a:gd name="connsiteX1152" fmla="*/ 1488567 w 1489995"/>
                <a:gd name="connsiteY1152" fmla="*/ 772097 h 1273968"/>
                <a:gd name="connsiteX1153" fmla="*/ 1485138 w 1489995"/>
                <a:gd name="connsiteY1153" fmla="*/ 770953 h 1273968"/>
                <a:gd name="connsiteX1154" fmla="*/ 1480661 w 1489995"/>
                <a:gd name="connsiteY1154" fmla="*/ 773049 h 1273968"/>
                <a:gd name="connsiteX1155" fmla="*/ 1476470 w 1489995"/>
                <a:gd name="connsiteY1155" fmla="*/ 778383 h 1273968"/>
                <a:gd name="connsiteX1156" fmla="*/ 1485995 w 1489995"/>
                <a:gd name="connsiteY1156" fmla="*/ 790003 h 1273968"/>
                <a:gd name="connsiteX1157" fmla="*/ 1487805 w 1489995"/>
                <a:gd name="connsiteY1157" fmla="*/ 791432 h 1273968"/>
                <a:gd name="connsiteX1158" fmla="*/ 1489615 w 1489995"/>
                <a:gd name="connsiteY1158" fmla="*/ 792766 h 1273968"/>
                <a:gd name="connsiteX1159" fmla="*/ 1489996 w 1489995"/>
                <a:gd name="connsiteY1159" fmla="*/ 795909 h 1273968"/>
                <a:gd name="connsiteX1160" fmla="*/ 1488758 w 1489995"/>
                <a:gd name="connsiteY1160" fmla="*/ 799338 h 1273968"/>
                <a:gd name="connsiteX1161" fmla="*/ 1487424 w 1489995"/>
                <a:gd name="connsiteY1161" fmla="*/ 801053 h 1273968"/>
                <a:gd name="connsiteX1162" fmla="*/ 1483900 w 1489995"/>
                <a:gd name="connsiteY1162" fmla="*/ 798290 h 1273968"/>
                <a:gd name="connsiteX1163" fmla="*/ 1484852 w 1489995"/>
                <a:gd name="connsiteY1163" fmla="*/ 806196 h 1273968"/>
                <a:gd name="connsiteX1164" fmla="*/ 1483328 w 1489995"/>
                <a:gd name="connsiteY1164" fmla="*/ 806386 h 1273968"/>
                <a:gd name="connsiteX1165" fmla="*/ 1482281 w 1489995"/>
                <a:gd name="connsiteY1165" fmla="*/ 811340 h 1273968"/>
                <a:gd name="connsiteX1166" fmla="*/ 1480756 w 1489995"/>
                <a:gd name="connsiteY1166" fmla="*/ 811530 h 1273968"/>
                <a:gd name="connsiteX1167" fmla="*/ 1480947 w 1489995"/>
                <a:gd name="connsiteY1167" fmla="*/ 813149 h 1273968"/>
                <a:gd name="connsiteX1168" fmla="*/ 1475613 w 1489995"/>
                <a:gd name="connsiteY1168" fmla="*/ 821817 h 1273968"/>
                <a:gd name="connsiteX1169" fmla="*/ 1479233 w 1489995"/>
                <a:gd name="connsiteY1169" fmla="*/ 824579 h 1273968"/>
                <a:gd name="connsiteX1170" fmla="*/ 1476185 w 1489995"/>
                <a:gd name="connsiteY1170" fmla="*/ 826580 h 1273968"/>
                <a:gd name="connsiteX1171" fmla="*/ 1466945 w 1489995"/>
                <a:gd name="connsiteY1171" fmla="*/ 829342 h 1273968"/>
                <a:gd name="connsiteX1172" fmla="*/ 1465421 w 1489995"/>
                <a:gd name="connsiteY1172" fmla="*/ 829532 h 1273968"/>
                <a:gd name="connsiteX1173" fmla="*/ 1465802 w 1489995"/>
                <a:gd name="connsiteY1173" fmla="*/ 832676 h 1273968"/>
                <a:gd name="connsiteX1174" fmla="*/ 1465802 w 1489995"/>
                <a:gd name="connsiteY1174" fmla="*/ 832676 h 1273968"/>
                <a:gd name="connsiteX1175" fmla="*/ 1464659 w 1489995"/>
                <a:gd name="connsiteY1175" fmla="*/ 836105 h 1273968"/>
                <a:gd name="connsiteX1176" fmla="*/ 1469708 w 1489995"/>
                <a:gd name="connsiteY1176" fmla="*/ 838581 h 1273968"/>
                <a:gd name="connsiteX1177" fmla="*/ 1468946 w 1489995"/>
                <a:gd name="connsiteY1177" fmla="*/ 845153 h 1273968"/>
                <a:gd name="connsiteX1178" fmla="*/ 1467993 w 1489995"/>
                <a:gd name="connsiteY1178" fmla="*/ 850106 h 1273968"/>
                <a:gd name="connsiteX1179" fmla="*/ 1469803 w 1489995"/>
                <a:gd name="connsiteY1179" fmla="*/ 851440 h 1273968"/>
                <a:gd name="connsiteX1180" fmla="*/ 1469041 w 1489995"/>
                <a:gd name="connsiteY1180" fmla="*/ 857917 h 1273968"/>
                <a:gd name="connsiteX1181" fmla="*/ 1467422 w 1489995"/>
                <a:gd name="connsiteY1181" fmla="*/ 858203 h 1273968"/>
                <a:gd name="connsiteX1182" fmla="*/ 1465421 w 1489995"/>
                <a:gd name="connsiteY1182" fmla="*/ 855250 h 1273968"/>
                <a:gd name="connsiteX1183" fmla="*/ 1462850 w 1489995"/>
                <a:gd name="connsiteY1183" fmla="*/ 860298 h 1273968"/>
                <a:gd name="connsiteX1184" fmla="*/ 1466469 w 1489995"/>
                <a:gd name="connsiteY1184" fmla="*/ 863060 h 1273968"/>
                <a:gd name="connsiteX1185" fmla="*/ 1466660 w 1489995"/>
                <a:gd name="connsiteY1185" fmla="*/ 864680 h 1273968"/>
                <a:gd name="connsiteX1186" fmla="*/ 1467231 w 1489995"/>
                <a:gd name="connsiteY1186" fmla="*/ 869442 h 1273968"/>
                <a:gd name="connsiteX1187" fmla="*/ 1464088 w 1489995"/>
                <a:gd name="connsiteY1187" fmla="*/ 869823 h 1273968"/>
                <a:gd name="connsiteX1188" fmla="*/ 1462754 w 1489995"/>
                <a:gd name="connsiteY1188" fmla="*/ 871633 h 1273968"/>
                <a:gd name="connsiteX1189" fmla="*/ 1463326 w 1489995"/>
                <a:gd name="connsiteY1189" fmla="*/ 876300 h 1273968"/>
                <a:gd name="connsiteX1190" fmla="*/ 1463516 w 1489995"/>
                <a:gd name="connsiteY1190" fmla="*/ 877919 h 1273968"/>
                <a:gd name="connsiteX1191" fmla="*/ 1459421 w 1489995"/>
                <a:gd name="connsiteY1191" fmla="*/ 883253 h 1273968"/>
                <a:gd name="connsiteX1192" fmla="*/ 1455610 w 1489995"/>
                <a:gd name="connsiteY1192" fmla="*/ 878872 h 1273968"/>
                <a:gd name="connsiteX1193" fmla="*/ 1447990 w 1489995"/>
                <a:gd name="connsiteY1193" fmla="*/ 881539 h 1273968"/>
                <a:gd name="connsiteX1194" fmla="*/ 1448181 w 1489995"/>
                <a:gd name="connsiteY1194" fmla="*/ 883063 h 1273968"/>
                <a:gd name="connsiteX1195" fmla="*/ 1449896 w 1489995"/>
                <a:gd name="connsiteY1195" fmla="*/ 884491 h 1273968"/>
                <a:gd name="connsiteX1196" fmla="*/ 1448372 w 1489995"/>
                <a:gd name="connsiteY1196" fmla="*/ 884682 h 1273968"/>
                <a:gd name="connsiteX1197" fmla="*/ 1448943 w 1489995"/>
                <a:gd name="connsiteY1197" fmla="*/ 889349 h 1273968"/>
                <a:gd name="connsiteX1198" fmla="*/ 1444466 w 1489995"/>
                <a:gd name="connsiteY1198" fmla="*/ 891540 h 1273968"/>
                <a:gd name="connsiteX1199" fmla="*/ 1441228 w 1489995"/>
                <a:gd name="connsiteY1199" fmla="*/ 892016 h 1273968"/>
                <a:gd name="connsiteX1200" fmla="*/ 1441704 w 1489995"/>
                <a:gd name="connsiteY1200" fmla="*/ 895160 h 1273968"/>
                <a:gd name="connsiteX1201" fmla="*/ 1440085 w 1489995"/>
                <a:gd name="connsiteY1201" fmla="*/ 895350 h 1273968"/>
                <a:gd name="connsiteX1202" fmla="*/ 1436084 w 1489995"/>
                <a:gd name="connsiteY1202" fmla="*/ 889445 h 1273968"/>
                <a:gd name="connsiteX1203" fmla="*/ 1431036 w 1489995"/>
                <a:gd name="connsiteY1203" fmla="*/ 886873 h 1273968"/>
                <a:gd name="connsiteX1204" fmla="*/ 1428083 w 1489995"/>
                <a:gd name="connsiteY1204" fmla="*/ 888873 h 1273968"/>
                <a:gd name="connsiteX1205" fmla="*/ 1418177 w 1489995"/>
                <a:gd name="connsiteY1205" fmla="*/ 899732 h 1273968"/>
                <a:gd name="connsiteX1206" fmla="*/ 1418558 w 1489995"/>
                <a:gd name="connsiteY1206" fmla="*/ 902875 h 1273968"/>
                <a:gd name="connsiteX1207" fmla="*/ 1413701 w 1489995"/>
                <a:gd name="connsiteY1207" fmla="*/ 901922 h 1273968"/>
                <a:gd name="connsiteX1208" fmla="*/ 1411129 w 1489995"/>
                <a:gd name="connsiteY1208" fmla="*/ 907066 h 1273968"/>
                <a:gd name="connsiteX1209" fmla="*/ 1407223 w 1489995"/>
                <a:gd name="connsiteY1209" fmla="*/ 913924 h 1273968"/>
                <a:gd name="connsiteX1210" fmla="*/ 1407795 w 1489995"/>
                <a:gd name="connsiteY1210" fmla="*/ 918686 h 1273968"/>
                <a:gd name="connsiteX1211" fmla="*/ 1409795 w 1489995"/>
                <a:gd name="connsiteY1211" fmla="*/ 921639 h 1273968"/>
                <a:gd name="connsiteX1212" fmla="*/ 1414463 w 1489995"/>
                <a:gd name="connsiteY1212" fmla="*/ 921068 h 1273968"/>
                <a:gd name="connsiteX1213" fmla="*/ 1417606 w 1489995"/>
                <a:gd name="connsiteY1213" fmla="*/ 920591 h 1273968"/>
                <a:gd name="connsiteX1214" fmla="*/ 1416653 w 1489995"/>
                <a:gd name="connsiteY1214" fmla="*/ 925544 h 1273968"/>
                <a:gd name="connsiteX1215" fmla="*/ 1420273 w 1489995"/>
                <a:gd name="connsiteY1215" fmla="*/ 928307 h 1273968"/>
                <a:gd name="connsiteX1216" fmla="*/ 1419225 w 1489995"/>
                <a:gd name="connsiteY1216" fmla="*/ 933260 h 1273968"/>
                <a:gd name="connsiteX1217" fmla="*/ 1424368 w 1489995"/>
                <a:gd name="connsiteY1217" fmla="*/ 935831 h 1273968"/>
                <a:gd name="connsiteX1218" fmla="*/ 1421416 w 1489995"/>
                <a:gd name="connsiteY1218" fmla="*/ 937832 h 1273968"/>
                <a:gd name="connsiteX1219" fmla="*/ 1421892 w 1489995"/>
                <a:gd name="connsiteY1219" fmla="*/ 940975 h 1273968"/>
                <a:gd name="connsiteX1220" fmla="*/ 1419130 w 1489995"/>
                <a:gd name="connsiteY1220" fmla="*/ 944499 h 1273968"/>
                <a:gd name="connsiteX1221" fmla="*/ 1415891 w 1489995"/>
                <a:gd name="connsiteY1221" fmla="*/ 944880 h 1273968"/>
                <a:gd name="connsiteX1222" fmla="*/ 1413224 w 1489995"/>
                <a:gd name="connsiteY1222" fmla="*/ 948499 h 1273968"/>
                <a:gd name="connsiteX1223" fmla="*/ 1413415 w 1489995"/>
                <a:gd name="connsiteY1223" fmla="*/ 950024 h 1273968"/>
                <a:gd name="connsiteX1224" fmla="*/ 1409795 w 1489995"/>
                <a:gd name="connsiteY1224" fmla="*/ 947261 h 1273968"/>
                <a:gd name="connsiteX1225" fmla="*/ 1408271 w 1489995"/>
                <a:gd name="connsiteY1225" fmla="*/ 947452 h 1273968"/>
                <a:gd name="connsiteX1226" fmla="*/ 1406462 w 1489995"/>
                <a:gd name="connsiteY1226" fmla="*/ 946118 h 1273968"/>
                <a:gd name="connsiteX1227" fmla="*/ 1401889 w 1489995"/>
                <a:gd name="connsiteY1227" fmla="*/ 948309 h 1273968"/>
                <a:gd name="connsiteX1228" fmla="*/ 1394841 w 1489995"/>
                <a:gd name="connsiteY1228" fmla="*/ 942785 h 1273968"/>
                <a:gd name="connsiteX1229" fmla="*/ 1395413 w 1489995"/>
                <a:gd name="connsiteY1229" fmla="*/ 947547 h 1273968"/>
                <a:gd name="connsiteX1230" fmla="*/ 1392269 w 1489995"/>
                <a:gd name="connsiteY1230" fmla="*/ 947928 h 1273968"/>
                <a:gd name="connsiteX1231" fmla="*/ 1388745 w 1489995"/>
                <a:gd name="connsiteY1231" fmla="*/ 945166 h 1273968"/>
                <a:gd name="connsiteX1232" fmla="*/ 1387888 w 1489995"/>
                <a:gd name="connsiteY1232" fmla="*/ 938879 h 1273968"/>
                <a:gd name="connsiteX1233" fmla="*/ 1386554 w 1489995"/>
                <a:gd name="connsiteY1233" fmla="*/ 940594 h 1273968"/>
                <a:gd name="connsiteX1234" fmla="*/ 1384744 w 1489995"/>
                <a:gd name="connsiteY1234" fmla="*/ 939260 h 1273968"/>
                <a:gd name="connsiteX1235" fmla="*/ 1382363 w 1489995"/>
                <a:gd name="connsiteY1235" fmla="*/ 946023 h 1273968"/>
                <a:gd name="connsiteX1236" fmla="*/ 1378268 w 1489995"/>
                <a:gd name="connsiteY1236" fmla="*/ 951357 h 1273968"/>
                <a:gd name="connsiteX1237" fmla="*/ 1375886 w 1489995"/>
                <a:gd name="connsiteY1237" fmla="*/ 958024 h 1273968"/>
                <a:gd name="connsiteX1238" fmla="*/ 1377696 w 1489995"/>
                <a:gd name="connsiteY1238" fmla="*/ 959453 h 1273968"/>
                <a:gd name="connsiteX1239" fmla="*/ 1374934 w 1489995"/>
                <a:gd name="connsiteY1239" fmla="*/ 962978 h 1273968"/>
                <a:gd name="connsiteX1240" fmla="*/ 1375696 w 1489995"/>
                <a:gd name="connsiteY1240" fmla="*/ 969264 h 1273968"/>
                <a:gd name="connsiteX1241" fmla="*/ 1374172 w 1489995"/>
                <a:gd name="connsiteY1241" fmla="*/ 969455 h 1273968"/>
                <a:gd name="connsiteX1242" fmla="*/ 1373600 w 1489995"/>
                <a:gd name="connsiteY1242" fmla="*/ 964787 h 1273968"/>
                <a:gd name="connsiteX1243" fmla="*/ 1368647 w 1489995"/>
                <a:gd name="connsiteY1243" fmla="*/ 963740 h 1273968"/>
                <a:gd name="connsiteX1244" fmla="*/ 1361694 w 1489995"/>
                <a:gd name="connsiteY1244" fmla="*/ 972693 h 1273968"/>
                <a:gd name="connsiteX1245" fmla="*/ 1353026 w 1489995"/>
                <a:gd name="connsiteY1245" fmla="*/ 967359 h 1273968"/>
                <a:gd name="connsiteX1246" fmla="*/ 1345597 w 1489995"/>
                <a:gd name="connsiteY1246" fmla="*/ 971550 h 1273968"/>
                <a:gd name="connsiteX1247" fmla="*/ 1338453 w 1489995"/>
                <a:gd name="connsiteY1247" fmla="*/ 978884 h 1273968"/>
                <a:gd name="connsiteX1248" fmla="*/ 1336643 w 1489995"/>
                <a:gd name="connsiteY1248" fmla="*/ 977456 h 1273968"/>
                <a:gd name="connsiteX1249" fmla="*/ 1335310 w 1489995"/>
                <a:gd name="connsiteY1249" fmla="*/ 979265 h 1273968"/>
                <a:gd name="connsiteX1250" fmla="*/ 1330357 w 1489995"/>
                <a:gd name="connsiteY1250" fmla="*/ 978218 h 1273968"/>
                <a:gd name="connsiteX1251" fmla="*/ 1327214 w 1489995"/>
                <a:gd name="connsiteY1251" fmla="*/ 978694 h 1273968"/>
                <a:gd name="connsiteX1252" fmla="*/ 1326833 w 1489995"/>
                <a:gd name="connsiteY1252" fmla="*/ 975551 h 1273968"/>
                <a:gd name="connsiteX1253" fmla="*/ 1325880 w 1489995"/>
                <a:gd name="connsiteY1253" fmla="*/ 980408 h 1273968"/>
                <a:gd name="connsiteX1254" fmla="*/ 1325689 w 1489995"/>
                <a:gd name="connsiteY1254" fmla="*/ 978884 h 1273968"/>
                <a:gd name="connsiteX1255" fmla="*/ 1322451 w 1489995"/>
                <a:gd name="connsiteY1255" fmla="*/ 979265 h 1273968"/>
                <a:gd name="connsiteX1256" fmla="*/ 1317784 w 1489995"/>
                <a:gd name="connsiteY1256" fmla="*/ 979837 h 1273968"/>
                <a:gd name="connsiteX1257" fmla="*/ 1317022 w 1489995"/>
                <a:gd name="connsiteY1257" fmla="*/ 986409 h 1273968"/>
                <a:gd name="connsiteX1258" fmla="*/ 1313402 w 1489995"/>
                <a:gd name="connsiteY1258" fmla="*/ 983647 h 1273968"/>
                <a:gd name="connsiteX1259" fmla="*/ 1312069 w 1489995"/>
                <a:gd name="connsiteY1259" fmla="*/ 985457 h 1273968"/>
                <a:gd name="connsiteX1260" fmla="*/ 1314260 w 1489995"/>
                <a:gd name="connsiteY1260" fmla="*/ 989933 h 1273968"/>
                <a:gd name="connsiteX1261" fmla="*/ 1306544 w 1489995"/>
                <a:gd name="connsiteY1261" fmla="*/ 992505 h 1273968"/>
                <a:gd name="connsiteX1262" fmla="*/ 1306354 w 1489995"/>
                <a:gd name="connsiteY1262" fmla="*/ 990981 h 1273968"/>
                <a:gd name="connsiteX1263" fmla="*/ 1303592 w 1489995"/>
                <a:gd name="connsiteY1263" fmla="*/ 994505 h 1273968"/>
                <a:gd name="connsiteX1264" fmla="*/ 1301591 w 1489995"/>
                <a:gd name="connsiteY1264" fmla="*/ 991553 h 1273968"/>
                <a:gd name="connsiteX1265" fmla="*/ 1298639 w 1489995"/>
                <a:gd name="connsiteY1265" fmla="*/ 993553 h 1273968"/>
                <a:gd name="connsiteX1266" fmla="*/ 1298448 w 1489995"/>
                <a:gd name="connsiteY1266" fmla="*/ 991934 h 1273968"/>
                <a:gd name="connsiteX1267" fmla="*/ 1292162 w 1489995"/>
                <a:gd name="connsiteY1267" fmla="*/ 992791 h 1273968"/>
                <a:gd name="connsiteX1268" fmla="*/ 1291971 w 1489995"/>
                <a:gd name="connsiteY1268" fmla="*/ 991172 h 1273968"/>
                <a:gd name="connsiteX1269" fmla="*/ 1297400 w 1489995"/>
                <a:gd name="connsiteY1269" fmla="*/ 984028 h 1273968"/>
                <a:gd name="connsiteX1270" fmla="*/ 1295495 w 1489995"/>
                <a:gd name="connsiteY1270" fmla="*/ 981075 h 1273968"/>
                <a:gd name="connsiteX1271" fmla="*/ 1292257 w 1489995"/>
                <a:gd name="connsiteY1271" fmla="*/ 981551 h 1273968"/>
                <a:gd name="connsiteX1272" fmla="*/ 1289590 w 1489995"/>
                <a:gd name="connsiteY1272" fmla="*/ 985076 h 1273968"/>
                <a:gd name="connsiteX1273" fmla="*/ 1286161 w 1489995"/>
                <a:gd name="connsiteY1273" fmla="*/ 983932 h 1273968"/>
                <a:gd name="connsiteX1274" fmla="*/ 1283589 w 1489995"/>
                <a:gd name="connsiteY1274" fmla="*/ 989076 h 1273968"/>
                <a:gd name="connsiteX1275" fmla="*/ 1278922 w 1489995"/>
                <a:gd name="connsiteY1275" fmla="*/ 989648 h 1273968"/>
                <a:gd name="connsiteX1276" fmla="*/ 1277112 w 1489995"/>
                <a:gd name="connsiteY1276" fmla="*/ 988219 h 1273968"/>
                <a:gd name="connsiteX1277" fmla="*/ 1273207 w 1489995"/>
                <a:gd name="connsiteY1277" fmla="*/ 995172 h 1273968"/>
                <a:gd name="connsiteX1278" fmla="*/ 1271588 w 1489995"/>
                <a:gd name="connsiteY1278" fmla="*/ 995362 h 1273968"/>
                <a:gd name="connsiteX1279" fmla="*/ 1272064 w 1489995"/>
                <a:gd name="connsiteY1279" fmla="*/ 998506 h 1273968"/>
                <a:gd name="connsiteX1280" fmla="*/ 1275398 w 1489995"/>
                <a:gd name="connsiteY1280" fmla="*/ 999744 h 1273968"/>
                <a:gd name="connsiteX1281" fmla="*/ 1273969 w 1489995"/>
                <a:gd name="connsiteY1281" fmla="*/ 1001459 h 1273968"/>
                <a:gd name="connsiteX1282" fmla="*/ 1275969 w 1489995"/>
                <a:gd name="connsiteY1282" fmla="*/ 1004411 h 1273968"/>
                <a:gd name="connsiteX1283" fmla="*/ 1268444 w 1489995"/>
                <a:gd name="connsiteY1283" fmla="*/ 1008602 h 1273968"/>
                <a:gd name="connsiteX1284" fmla="*/ 1269683 w 1489995"/>
                <a:gd name="connsiteY1284" fmla="*/ 1018032 h 1273968"/>
                <a:gd name="connsiteX1285" fmla="*/ 1270540 w 1489995"/>
                <a:gd name="connsiteY1285" fmla="*/ 1024414 h 1273968"/>
                <a:gd name="connsiteX1286" fmla="*/ 1256729 w 1489995"/>
                <a:gd name="connsiteY1286" fmla="*/ 1029367 h 1273968"/>
                <a:gd name="connsiteX1287" fmla="*/ 1258634 w 1489995"/>
                <a:gd name="connsiteY1287" fmla="*/ 1032320 h 1273968"/>
                <a:gd name="connsiteX1288" fmla="*/ 1253395 w 1489995"/>
                <a:gd name="connsiteY1288" fmla="*/ 1040987 h 1273968"/>
                <a:gd name="connsiteX1289" fmla="*/ 1251776 w 1489995"/>
                <a:gd name="connsiteY1289" fmla="*/ 1041178 h 1273968"/>
                <a:gd name="connsiteX1290" fmla="*/ 1251394 w 1489995"/>
                <a:gd name="connsiteY1290" fmla="*/ 1038035 h 1273968"/>
                <a:gd name="connsiteX1291" fmla="*/ 1250061 w 1489995"/>
                <a:gd name="connsiteY1291" fmla="*/ 1039844 h 1273968"/>
                <a:gd name="connsiteX1292" fmla="*/ 1250061 w 1489995"/>
                <a:gd name="connsiteY1292" fmla="*/ 1039844 h 1273968"/>
                <a:gd name="connsiteX1293" fmla="*/ 1246823 w 1489995"/>
                <a:gd name="connsiteY1293" fmla="*/ 1040225 h 1273968"/>
                <a:gd name="connsiteX1294" fmla="*/ 1248632 w 1489995"/>
                <a:gd name="connsiteY1294" fmla="*/ 1041559 h 1273968"/>
                <a:gd name="connsiteX1295" fmla="*/ 1245489 w 1489995"/>
                <a:gd name="connsiteY1295" fmla="*/ 1042035 h 1273968"/>
                <a:gd name="connsiteX1296" fmla="*/ 1247489 w 1489995"/>
                <a:gd name="connsiteY1296" fmla="*/ 1044988 h 1273968"/>
                <a:gd name="connsiteX1297" fmla="*/ 1244727 w 1489995"/>
                <a:gd name="connsiteY1297" fmla="*/ 1048512 h 1273968"/>
                <a:gd name="connsiteX1298" fmla="*/ 1243775 w 1489995"/>
                <a:gd name="connsiteY1298" fmla="*/ 1053465 h 1273968"/>
                <a:gd name="connsiteX1299" fmla="*/ 1242536 w 1489995"/>
                <a:gd name="connsiteY1299" fmla="*/ 1056799 h 1273968"/>
                <a:gd name="connsiteX1300" fmla="*/ 1244727 w 1489995"/>
                <a:gd name="connsiteY1300" fmla="*/ 1061371 h 1273968"/>
                <a:gd name="connsiteX1301" fmla="*/ 1242822 w 1489995"/>
                <a:gd name="connsiteY1301" fmla="*/ 1071182 h 1273968"/>
                <a:gd name="connsiteX1302" fmla="*/ 1245013 w 1489995"/>
                <a:gd name="connsiteY1302" fmla="*/ 1075754 h 1273968"/>
                <a:gd name="connsiteX1303" fmla="*/ 1243965 w 1489995"/>
                <a:gd name="connsiteY1303" fmla="*/ 1080707 h 1273968"/>
                <a:gd name="connsiteX1304" fmla="*/ 1247585 w 1489995"/>
                <a:gd name="connsiteY1304" fmla="*/ 1083469 h 1273968"/>
                <a:gd name="connsiteX1305" fmla="*/ 1245965 w 1489995"/>
                <a:gd name="connsiteY1305" fmla="*/ 1083659 h 1273968"/>
                <a:gd name="connsiteX1306" fmla="*/ 1248537 w 1489995"/>
                <a:gd name="connsiteY1306" fmla="*/ 1091375 h 1273968"/>
                <a:gd name="connsiteX1307" fmla="*/ 1251680 w 1489995"/>
                <a:gd name="connsiteY1307" fmla="*/ 1090898 h 1273968"/>
                <a:gd name="connsiteX1308" fmla="*/ 1255681 w 1489995"/>
                <a:gd name="connsiteY1308" fmla="*/ 1084040 h 1273968"/>
                <a:gd name="connsiteX1309" fmla="*/ 1263587 w 1489995"/>
                <a:gd name="connsiteY1309" fmla="*/ 1095851 h 1273968"/>
                <a:gd name="connsiteX1310" fmla="*/ 1271302 w 1489995"/>
                <a:gd name="connsiteY1310" fmla="*/ 1093280 h 1273968"/>
                <a:gd name="connsiteX1311" fmla="*/ 1282541 w 1489995"/>
                <a:gd name="connsiteY1311" fmla="*/ 1093375 h 1273968"/>
                <a:gd name="connsiteX1312" fmla="*/ 1281493 w 1489995"/>
                <a:gd name="connsiteY1312" fmla="*/ 1098328 h 1273968"/>
                <a:gd name="connsiteX1313" fmla="*/ 1285875 w 1489995"/>
                <a:gd name="connsiteY1313" fmla="*/ 1107377 h 1273968"/>
                <a:gd name="connsiteX1314" fmla="*/ 1293590 w 1489995"/>
                <a:gd name="connsiteY1314" fmla="*/ 1117664 h 1273968"/>
                <a:gd name="connsiteX1315" fmla="*/ 1294257 w 1489995"/>
                <a:gd name="connsiteY1315" fmla="*/ 1122426 h 1273968"/>
                <a:gd name="connsiteX1316" fmla="*/ 1291304 w 1489995"/>
                <a:gd name="connsiteY1316" fmla="*/ 1124331 h 1273968"/>
                <a:gd name="connsiteX1317" fmla="*/ 1290066 w 1489995"/>
                <a:gd name="connsiteY1317" fmla="*/ 1127760 h 1273968"/>
                <a:gd name="connsiteX1318" fmla="*/ 1293876 w 1489995"/>
                <a:gd name="connsiteY1318" fmla="*/ 1132046 h 1273968"/>
                <a:gd name="connsiteX1319" fmla="*/ 1290161 w 1489995"/>
                <a:gd name="connsiteY1319" fmla="*/ 1140524 h 1273968"/>
                <a:gd name="connsiteX1320" fmla="*/ 1286542 w 1489995"/>
                <a:gd name="connsiteY1320" fmla="*/ 1137761 h 1273968"/>
                <a:gd name="connsiteX1321" fmla="*/ 1287209 w 1489995"/>
                <a:gd name="connsiteY1321" fmla="*/ 1142524 h 1273968"/>
                <a:gd name="connsiteX1322" fmla="*/ 1285399 w 1489995"/>
                <a:gd name="connsiteY1322" fmla="*/ 1141190 h 1273968"/>
                <a:gd name="connsiteX1323" fmla="*/ 1285589 w 1489995"/>
                <a:gd name="connsiteY1323" fmla="*/ 1142714 h 1273968"/>
                <a:gd name="connsiteX1324" fmla="*/ 1283970 w 1489995"/>
                <a:gd name="connsiteY1324" fmla="*/ 1142905 h 1273968"/>
                <a:gd name="connsiteX1325" fmla="*/ 1279684 w 1489995"/>
                <a:gd name="connsiteY1325" fmla="*/ 1146715 h 1273968"/>
                <a:gd name="connsiteX1326" fmla="*/ 1280255 w 1489995"/>
                <a:gd name="connsiteY1326" fmla="*/ 1151477 h 1273968"/>
                <a:gd name="connsiteX1327" fmla="*/ 1274159 w 1489995"/>
                <a:gd name="connsiteY1327" fmla="*/ 1153859 h 1273968"/>
                <a:gd name="connsiteX1328" fmla="*/ 1273969 w 1489995"/>
                <a:gd name="connsiteY1328" fmla="*/ 1152239 h 1273968"/>
                <a:gd name="connsiteX1329" fmla="*/ 1270826 w 1489995"/>
                <a:gd name="connsiteY1329" fmla="*/ 1152620 h 1273968"/>
                <a:gd name="connsiteX1330" fmla="*/ 1266254 w 1489995"/>
                <a:gd name="connsiteY1330" fmla="*/ 1154811 h 1273968"/>
                <a:gd name="connsiteX1331" fmla="*/ 1264253 w 1489995"/>
                <a:gd name="connsiteY1331" fmla="*/ 1151858 h 1273968"/>
                <a:gd name="connsiteX1332" fmla="*/ 1261586 w 1489995"/>
                <a:gd name="connsiteY1332" fmla="*/ 1155383 h 1273968"/>
                <a:gd name="connsiteX1333" fmla="*/ 1259110 w 1489995"/>
                <a:gd name="connsiteY1333" fmla="*/ 1149287 h 1273968"/>
                <a:gd name="connsiteX1334" fmla="*/ 1252252 w 1489995"/>
                <a:gd name="connsiteY1334" fmla="*/ 1145381 h 1273968"/>
                <a:gd name="connsiteX1335" fmla="*/ 1251109 w 1489995"/>
                <a:gd name="connsiteY1335" fmla="*/ 1148715 h 1273968"/>
                <a:gd name="connsiteX1336" fmla="*/ 1246156 w 1489995"/>
                <a:gd name="connsiteY1336" fmla="*/ 1147762 h 1273968"/>
                <a:gd name="connsiteX1337" fmla="*/ 1247108 w 1489995"/>
                <a:gd name="connsiteY1337" fmla="*/ 1155668 h 1273968"/>
                <a:gd name="connsiteX1338" fmla="*/ 1247108 w 1489995"/>
                <a:gd name="connsiteY1338" fmla="*/ 1155668 h 1273968"/>
                <a:gd name="connsiteX1339" fmla="*/ 1244156 w 1489995"/>
                <a:gd name="connsiteY1339" fmla="*/ 1157669 h 1273968"/>
                <a:gd name="connsiteX1340" fmla="*/ 1240631 w 1489995"/>
                <a:gd name="connsiteY1340" fmla="*/ 1154906 h 1273968"/>
                <a:gd name="connsiteX1341" fmla="*/ 1241774 w 1489995"/>
                <a:gd name="connsiteY1341" fmla="*/ 1151573 h 1273968"/>
                <a:gd name="connsiteX1342" fmla="*/ 1237107 w 1489995"/>
                <a:gd name="connsiteY1342" fmla="*/ 1152144 h 1273968"/>
                <a:gd name="connsiteX1343" fmla="*/ 1237488 w 1489995"/>
                <a:gd name="connsiteY1343" fmla="*/ 1155287 h 1273968"/>
                <a:gd name="connsiteX1344" fmla="*/ 1241012 w 1489995"/>
                <a:gd name="connsiteY1344" fmla="*/ 1158050 h 1273968"/>
                <a:gd name="connsiteX1345" fmla="*/ 1240060 w 1489995"/>
                <a:gd name="connsiteY1345" fmla="*/ 1163003 h 1273968"/>
                <a:gd name="connsiteX1346" fmla="*/ 1235297 w 1489995"/>
                <a:gd name="connsiteY1346" fmla="*/ 1163574 h 1273968"/>
                <a:gd name="connsiteX1347" fmla="*/ 1235678 w 1489995"/>
                <a:gd name="connsiteY1347" fmla="*/ 1166717 h 1273968"/>
                <a:gd name="connsiteX1348" fmla="*/ 1234345 w 1489995"/>
                <a:gd name="connsiteY1348" fmla="*/ 1168527 h 1273968"/>
                <a:gd name="connsiteX1349" fmla="*/ 1233202 w 1489995"/>
                <a:gd name="connsiteY1349" fmla="*/ 1171861 h 1273968"/>
                <a:gd name="connsiteX1350" fmla="*/ 1235107 w 1489995"/>
                <a:gd name="connsiteY1350" fmla="*/ 1174814 h 1273968"/>
                <a:gd name="connsiteX1351" fmla="*/ 1233773 w 1489995"/>
                <a:gd name="connsiteY1351" fmla="*/ 1176623 h 1273968"/>
                <a:gd name="connsiteX1352" fmla="*/ 1233964 w 1489995"/>
                <a:gd name="connsiteY1352" fmla="*/ 1178147 h 1273968"/>
                <a:gd name="connsiteX1353" fmla="*/ 1225868 w 1489995"/>
                <a:gd name="connsiteY1353" fmla="*/ 1177576 h 1273968"/>
                <a:gd name="connsiteX1354" fmla="*/ 1225296 w 1489995"/>
                <a:gd name="connsiteY1354" fmla="*/ 1172909 h 1273968"/>
                <a:gd name="connsiteX1355" fmla="*/ 1222915 w 1489995"/>
                <a:gd name="connsiteY1355" fmla="*/ 1166812 h 1273968"/>
                <a:gd name="connsiteX1356" fmla="*/ 1215962 w 1489995"/>
                <a:gd name="connsiteY1356" fmla="*/ 1162812 h 1273968"/>
                <a:gd name="connsiteX1357" fmla="*/ 1216343 w 1489995"/>
                <a:gd name="connsiteY1357" fmla="*/ 1165955 h 1273968"/>
                <a:gd name="connsiteX1358" fmla="*/ 1214628 w 1489995"/>
                <a:gd name="connsiteY1358" fmla="*/ 1164622 h 1273968"/>
                <a:gd name="connsiteX1359" fmla="*/ 1214818 w 1489995"/>
                <a:gd name="connsiteY1359" fmla="*/ 1166146 h 1273968"/>
                <a:gd name="connsiteX1360" fmla="*/ 1211675 w 1489995"/>
                <a:gd name="connsiteY1360" fmla="*/ 1166622 h 1273968"/>
                <a:gd name="connsiteX1361" fmla="*/ 1206913 w 1489995"/>
                <a:gd name="connsiteY1361" fmla="*/ 1167194 h 1273968"/>
                <a:gd name="connsiteX1362" fmla="*/ 1205103 w 1489995"/>
                <a:gd name="connsiteY1362" fmla="*/ 1165860 h 1273968"/>
                <a:gd name="connsiteX1363" fmla="*/ 1203103 w 1489995"/>
                <a:gd name="connsiteY1363" fmla="*/ 1162907 h 1273968"/>
                <a:gd name="connsiteX1364" fmla="*/ 1202912 w 1489995"/>
                <a:gd name="connsiteY1364" fmla="*/ 1161288 h 1273968"/>
                <a:gd name="connsiteX1365" fmla="*/ 1198245 w 1489995"/>
                <a:gd name="connsiteY1365" fmla="*/ 1161860 h 1273968"/>
                <a:gd name="connsiteX1366" fmla="*/ 1199198 w 1489995"/>
                <a:gd name="connsiteY1366" fmla="*/ 1157002 h 1273968"/>
                <a:gd name="connsiteX1367" fmla="*/ 1200722 w 1489995"/>
                <a:gd name="connsiteY1367" fmla="*/ 1156716 h 1273968"/>
                <a:gd name="connsiteX1368" fmla="*/ 1202150 w 1489995"/>
                <a:gd name="connsiteY1368" fmla="*/ 1155002 h 1273968"/>
                <a:gd name="connsiteX1369" fmla="*/ 1197388 w 1489995"/>
                <a:gd name="connsiteY1369" fmla="*/ 1155573 h 1273968"/>
                <a:gd name="connsiteX1370" fmla="*/ 1196245 w 1489995"/>
                <a:gd name="connsiteY1370" fmla="*/ 1158907 h 1273968"/>
                <a:gd name="connsiteX1371" fmla="*/ 1194435 w 1489995"/>
                <a:gd name="connsiteY1371" fmla="*/ 1157573 h 1273968"/>
                <a:gd name="connsiteX1372" fmla="*/ 1191292 w 1489995"/>
                <a:gd name="connsiteY1372" fmla="*/ 1157954 h 1273968"/>
                <a:gd name="connsiteX1373" fmla="*/ 1192339 w 1489995"/>
                <a:gd name="connsiteY1373" fmla="*/ 1165860 h 1273968"/>
                <a:gd name="connsiteX1374" fmla="*/ 1187196 w 1489995"/>
                <a:gd name="connsiteY1374" fmla="*/ 1163288 h 1273968"/>
                <a:gd name="connsiteX1375" fmla="*/ 1179481 w 1489995"/>
                <a:gd name="connsiteY1375" fmla="*/ 1165860 h 1273968"/>
                <a:gd name="connsiteX1376" fmla="*/ 1177862 w 1489995"/>
                <a:gd name="connsiteY1376" fmla="*/ 1166051 h 1273968"/>
                <a:gd name="connsiteX1377" fmla="*/ 1178338 w 1489995"/>
                <a:gd name="connsiteY1377" fmla="*/ 1169194 h 1273968"/>
                <a:gd name="connsiteX1378" fmla="*/ 1175099 w 1489995"/>
                <a:gd name="connsiteY1378" fmla="*/ 1169670 h 1273968"/>
                <a:gd name="connsiteX1379" fmla="*/ 1171575 w 1489995"/>
                <a:gd name="connsiteY1379" fmla="*/ 1166908 h 1273968"/>
                <a:gd name="connsiteX1380" fmla="*/ 1170432 w 1489995"/>
                <a:gd name="connsiteY1380" fmla="*/ 1170241 h 1273968"/>
                <a:gd name="connsiteX1381" fmla="*/ 1167289 w 1489995"/>
                <a:gd name="connsiteY1381" fmla="*/ 1170623 h 1273968"/>
                <a:gd name="connsiteX1382" fmla="*/ 1163860 w 1489995"/>
                <a:gd name="connsiteY1382" fmla="*/ 1169480 h 1273968"/>
                <a:gd name="connsiteX1383" fmla="*/ 1157954 w 1489995"/>
                <a:gd name="connsiteY1383" fmla="*/ 1173385 h 1273968"/>
                <a:gd name="connsiteX1384" fmla="*/ 1150715 w 1489995"/>
                <a:gd name="connsiteY1384" fmla="*/ 1166336 h 1273968"/>
                <a:gd name="connsiteX1385" fmla="*/ 1146143 w 1489995"/>
                <a:gd name="connsiteY1385" fmla="*/ 1168527 h 1273968"/>
                <a:gd name="connsiteX1386" fmla="*/ 1143952 w 1489995"/>
                <a:gd name="connsiteY1386" fmla="*/ 1163955 h 1273968"/>
                <a:gd name="connsiteX1387" fmla="*/ 1137856 w 1489995"/>
                <a:gd name="connsiteY1387" fmla="*/ 1166336 h 1273968"/>
                <a:gd name="connsiteX1388" fmla="*/ 1136618 w 1489995"/>
                <a:gd name="connsiteY1388" fmla="*/ 1169765 h 1273968"/>
                <a:gd name="connsiteX1389" fmla="*/ 1134904 w 1489995"/>
                <a:gd name="connsiteY1389" fmla="*/ 1168337 h 1273968"/>
                <a:gd name="connsiteX1390" fmla="*/ 1133475 w 1489995"/>
                <a:gd name="connsiteY1390" fmla="*/ 1170146 h 1273968"/>
                <a:gd name="connsiteX1391" fmla="*/ 1131284 w 1489995"/>
                <a:gd name="connsiteY1391" fmla="*/ 1165574 h 1273968"/>
                <a:gd name="connsiteX1392" fmla="*/ 1129760 w 1489995"/>
                <a:gd name="connsiteY1392" fmla="*/ 1165765 h 1273968"/>
                <a:gd name="connsiteX1393" fmla="*/ 1129951 w 1489995"/>
                <a:gd name="connsiteY1393" fmla="*/ 1167384 h 1273968"/>
                <a:gd name="connsiteX1394" fmla="*/ 1124807 w 1489995"/>
                <a:gd name="connsiteY1394" fmla="*/ 1164812 h 1273968"/>
                <a:gd name="connsiteX1395" fmla="*/ 1126236 w 1489995"/>
                <a:gd name="connsiteY1395" fmla="*/ 1163098 h 1273968"/>
                <a:gd name="connsiteX1396" fmla="*/ 1120902 w 1489995"/>
                <a:gd name="connsiteY1396" fmla="*/ 1158907 h 1273968"/>
                <a:gd name="connsiteX1397" fmla="*/ 1120616 w 1489995"/>
                <a:gd name="connsiteY1397" fmla="*/ 1157383 h 1273968"/>
                <a:gd name="connsiteX1398" fmla="*/ 1108234 w 1489995"/>
                <a:gd name="connsiteY1398" fmla="*/ 1160526 h 1273968"/>
                <a:gd name="connsiteX1399" fmla="*/ 1101947 w 1489995"/>
                <a:gd name="connsiteY1399" fmla="*/ 1161288 h 1273968"/>
                <a:gd name="connsiteX1400" fmla="*/ 1096804 w 1489995"/>
                <a:gd name="connsiteY1400" fmla="*/ 1171575 h 1273968"/>
                <a:gd name="connsiteX1401" fmla="*/ 1100328 w 1489995"/>
                <a:gd name="connsiteY1401" fmla="*/ 1174337 h 1273968"/>
                <a:gd name="connsiteX1402" fmla="*/ 1105281 w 1489995"/>
                <a:gd name="connsiteY1402" fmla="*/ 1175290 h 1273968"/>
                <a:gd name="connsiteX1403" fmla="*/ 1109281 w 1489995"/>
                <a:gd name="connsiteY1403" fmla="*/ 1181195 h 1273968"/>
                <a:gd name="connsiteX1404" fmla="*/ 1107853 w 1489995"/>
                <a:gd name="connsiteY1404" fmla="*/ 1183005 h 1273968"/>
                <a:gd name="connsiteX1405" fmla="*/ 1110043 w 1489995"/>
                <a:gd name="connsiteY1405" fmla="*/ 1187577 h 1273968"/>
                <a:gd name="connsiteX1406" fmla="*/ 1108710 w 1489995"/>
                <a:gd name="connsiteY1406" fmla="*/ 1189291 h 1273968"/>
                <a:gd name="connsiteX1407" fmla="*/ 1102614 w 1489995"/>
                <a:gd name="connsiteY1407" fmla="*/ 1191673 h 1273968"/>
                <a:gd name="connsiteX1408" fmla="*/ 1091089 w 1489995"/>
                <a:gd name="connsiteY1408" fmla="*/ 1189958 h 1273968"/>
                <a:gd name="connsiteX1409" fmla="*/ 1088612 w 1489995"/>
                <a:gd name="connsiteY1409" fmla="*/ 1195102 h 1273968"/>
                <a:gd name="connsiteX1410" fmla="*/ 1081468 w 1489995"/>
                <a:gd name="connsiteY1410" fmla="*/ 1189577 h 1273968"/>
                <a:gd name="connsiteX1411" fmla="*/ 1076706 w 1489995"/>
                <a:gd name="connsiteY1411" fmla="*/ 1190244 h 1273968"/>
                <a:gd name="connsiteX1412" fmla="*/ 1073944 w 1489995"/>
                <a:gd name="connsiteY1412" fmla="*/ 1193768 h 1273968"/>
                <a:gd name="connsiteX1413" fmla="*/ 1074801 w 1489995"/>
                <a:gd name="connsiteY1413" fmla="*/ 1200055 h 1273968"/>
                <a:gd name="connsiteX1414" fmla="*/ 1073372 w 1489995"/>
                <a:gd name="connsiteY1414" fmla="*/ 1201865 h 1273968"/>
                <a:gd name="connsiteX1415" fmla="*/ 1072039 w 1489995"/>
                <a:gd name="connsiteY1415" fmla="*/ 1203579 h 1273968"/>
                <a:gd name="connsiteX1416" fmla="*/ 1075563 w 1489995"/>
                <a:gd name="connsiteY1416" fmla="*/ 1206341 h 1273968"/>
                <a:gd name="connsiteX1417" fmla="*/ 1079754 w 1489995"/>
                <a:gd name="connsiteY1417" fmla="*/ 1213866 h 1273968"/>
                <a:gd name="connsiteX1418" fmla="*/ 1076611 w 1489995"/>
                <a:gd name="connsiteY1418" fmla="*/ 1214247 h 1273968"/>
                <a:gd name="connsiteX1419" fmla="*/ 1071848 w 1489995"/>
                <a:gd name="connsiteY1419" fmla="*/ 1214914 h 1273968"/>
                <a:gd name="connsiteX1420" fmla="*/ 1070515 w 1489995"/>
                <a:gd name="connsiteY1420" fmla="*/ 1216628 h 1273968"/>
                <a:gd name="connsiteX1421" fmla="*/ 1071277 w 1489995"/>
                <a:gd name="connsiteY1421" fmla="*/ 1223010 h 1273968"/>
                <a:gd name="connsiteX1422" fmla="*/ 1066514 w 1489995"/>
                <a:gd name="connsiteY1422" fmla="*/ 1223582 h 1273968"/>
                <a:gd name="connsiteX1423" fmla="*/ 1065562 w 1489995"/>
                <a:gd name="connsiteY1423" fmla="*/ 1228535 h 1273968"/>
                <a:gd name="connsiteX1424" fmla="*/ 1064038 w 1489995"/>
                <a:gd name="connsiteY1424" fmla="*/ 1228725 h 1273968"/>
                <a:gd name="connsiteX1425" fmla="*/ 1058894 w 1489995"/>
                <a:gd name="connsiteY1425" fmla="*/ 1226153 h 1273968"/>
                <a:gd name="connsiteX1426" fmla="*/ 1056323 w 1489995"/>
                <a:gd name="connsiteY1426" fmla="*/ 1231297 h 1273968"/>
                <a:gd name="connsiteX1427" fmla="*/ 1051369 w 1489995"/>
                <a:gd name="connsiteY1427" fmla="*/ 1230344 h 1273968"/>
                <a:gd name="connsiteX1428" fmla="*/ 1048988 w 1489995"/>
                <a:gd name="connsiteY1428" fmla="*/ 1224248 h 1273968"/>
                <a:gd name="connsiteX1429" fmla="*/ 1041844 w 1489995"/>
                <a:gd name="connsiteY1429" fmla="*/ 1218724 h 1273968"/>
                <a:gd name="connsiteX1430" fmla="*/ 1046226 w 1489995"/>
                <a:gd name="connsiteY1430" fmla="*/ 1214914 h 1273968"/>
                <a:gd name="connsiteX1431" fmla="*/ 1041083 w 1489995"/>
                <a:gd name="connsiteY1431" fmla="*/ 1212342 h 1273968"/>
                <a:gd name="connsiteX1432" fmla="*/ 1039082 w 1489995"/>
                <a:gd name="connsiteY1432" fmla="*/ 1209389 h 1273968"/>
                <a:gd name="connsiteX1433" fmla="*/ 1040511 w 1489995"/>
                <a:gd name="connsiteY1433" fmla="*/ 1207675 h 1273968"/>
                <a:gd name="connsiteX1434" fmla="*/ 1038701 w 1489995"/>
                <a:gd name="connsiteY1434" fmla="*/ 1206246 h 1273968"/>
                <a:gd name="connsiteX1435" fmla="*/ 1036892 w 1489995"/>
                <a:gd name="connsiteY1435" fmla="*/ 1204912 h 1273968"/>
                <a:gd name="connsiteX1436" fmla="*/ 1035463 w 1489995"/>
                <a:gd name="connsiteY1436" fmla="*/ 1193864 h 1273968"/>
                <a:gd name="connsiteX1437" fmla="*/ 1031176 w 1489995"/>
                <a:gd name="connsiteY1437" fmla="*/ 1197578 h 1273968"/>
                <a:gd name="connsiteX1438" fmla="*/ 1032319 w 1489995"/>
                <a:gd name="connsiteY1438" fmla="*/ 1194245 h 1273968"/>
                <a:gd name="connsiteX1439" fmla="*/ 1031938 w 1489995"/>
                <a:gd name="connsiteY1439" fmla="*/ 1191101 h 1273968"/>
                <a:gd name="connsiteX1440" fmla="*/ 1030319 w 1489995"/>
                <a:gd name="connsiteY1440" fmla="*/ 1191292 h 1273968"/>
                <a:gd name="connsiteX1441" fmla="*/ 1031748 w 1489995"/>
                <a:gd name="connsiteY1441" fmla="*/ 1189482 h 1273968"/>
                <a:gd name="connsiteX1442" fmla="*/ 1031176 w 1489995"/>
                <a:gd name="connsiteY1442" fmla="*/ 1184815 h 1273968"/>
                <a:gd name="connsiteX1443" fmla="*/ 1026223 w 1489995"/>
                <a:gd name="connsiteY1443" fmla="*/ 1183767 h 1273968"/>
                <a:gd name="connsiteX1444" fmla="*/ 1029367 w 1489995"/>
                <a:gd name="connsiteY1444" fmla="*/ 1183386 h 1273968"/>
                <a:gd name="connsiteX1445" fmla="*/ 1032510 w 1489995"/>
                <a:gd name="connsiteY1445" fmla="*/ 1183005 h 1273968"/>
                <a:gd name="connsiteX1446" fmla="*/ 1032319 w 1489995"/>
                <a:gd name="connsiteY1446" fmla="*/ 1181386 h 1273968"/>
                <a:gd name="connsiteX1447" fmla="*/ 1025557 w 1489995"/>
                <a:gd name="connsiteY1447" fmla="*/ 1179100 h 1273968"/>
                <a:gd name="connsiteX1448" fmla="*/ 1025176 w 1489995"/>
                <a:gd name="connsiteY1448" fmla="*/ 1175957 h 1273968"/>
                <a:gd name="connsiteX1449" fmla="*/ 1024223 w 1489995"/>
                <a:gd name="connsiteY1449" fmla="*/ 1180814 h 1273968"/>
                <a:gd name="connsiteX1450" fmla="*/ 1021080 w 1489995"/>
                <a:gd name="connsiteY1450" fmla="*/ 1181291 h 1273968"/>
                <a:gd name="connsiteX1451" fmla="*/ 1019080 w 1489995"/>
                <a:gd name="connsiteY1451" fmla="*/ 1178338 h 1273968"/>
                <a:gd name="connsiteX1452" fmla="*/ 1016127 w 1489995"/>
                <a:gd name="connsiteY1452" fmla="*/ 1180243 h 1273968"/>
                <a:gd name="connsiteX1453" fmla="*/ 1012603 w 1489995"/>
                <a:gd name="connsiteY1453" fmla="*/ 1190339 h 1273968"/>
                <a:gd name="connsiteX1454" fmla="*/ 1014413 w 1489995"/>
                <a:gd name="connsiteY1454" fmla="*/ 1191768 h 1273968"/>
                <a:gd name="connsiteX1455" fmla="*/ 1012984 w 1489995"/>
                <a:gd name="connsiteY1455" fmla="*/ 1193483 h 1273968"/>
                <a:gd name="connsiteX1456" fmla="*/ 1009650 w 1489995"/>
                <a:gd name="connsiteY1456" fmla="*/ 1192340 h 1273968"/>
                <a:gd name="connsiteX1457" fmla="*/ 1009079 w 1489995"/>
                <a:gd name="connsiteY1457" fmla="*/ 1187577 h 1273968"/>
                <a:gd name="connsiteX1458" fmla="*/ 1005268 w 1489995"/>
                <a:gd name="connsiteY1458" fmla="*/ 1183291 h 1273968"/>
                <a:gd name="connsiteX1459" fmla="*/ 1003744 w 1489995"/>
                <a:gd name="connsiteY1459" fmla="*/ 1183481 h 1273968"/>
                <a:gd name="connsiteX1460" fmla="*/ 998601 w 1489995"/>
                <a:gd name="connsiteY1460" fmla="*/ 1180910 h 1273968"/>
                <a:gd name="connsiteX1461" fmla="*/ 992791 w 1489995"/>
                <a:gd name="connsiteY1461" fmla="*/ 1173671 h 1273968"/>
                <a:gd name="connsiteX1462" fmla="*/ 988219 w 1489995"/>
                <a:gd name="connsiteY1462" fmla="*/ 1163003 h 1273968"/>
                <a:gd name="connsiteX1463" fmla="*/ 985076 w 1489995"/>
                <a:gd name="connsiteY1463" fmla="*/ 1163384 h 1273968"/>
                <a:gd name="connsiteX1464" fmla="*/ 981932 w 1489995"/>
                <a:gd name="connsiteY1464" fmla="*/ 1163765 h 1273968"/>
                <a:gd name="connsiteX1465" fmla="*/ 965359 w 1489995"/>
                <a:gd name="connsiteY1465" fmla="*/ 1159478 h 1273968"/>
                <a:gd name="connsiteX1466" fmla="*/ 962977 w 1489995"/>
                <a:gd name="connsiteY1466" fmla="*/ 1153382 h 1273968"/>
                <a:gd name="connsiteX1467" fmla="*/ 953643 w 1489995"/>
                <a:gd name="connsiteY1467" fmla="*/ 1143286 h 1273968"/>
                <a:gd name="connsiteX1468" fmla="*/ 955072 w 1489995"/>
                <a:gd name="connsiteY1468" fmla="*/ 1141571 h 1273968"/>
                <a:gd name="connsiteX1469" fmla="*/ 953262 w 1489995"/>
                <a:gd name="connsiteY1469" fmla="*/ 1140143 h 1273968"/>
                <a:gd name="connsiteX1470" fmla="*/ 952500 w 1489995"/>
                <a:gd name="connsiteY1470" fmla="*/ 1146715 h 1273968"/>
                <a:gd name="connsiteX1471" fmla="*/ 951738 w 1489995"/>
                <a:gd name="connsiteY1471" fmla="*/ 1153192 h 1273968"/>
                <a:gd name="connsiteX1472" fmla="*/ 943832 w 1489995"/>
                <a:gd name="connsiteY1472" fmla="*/ 1154240 h 1273968"/>
                <a:gd name="connsiteX1473" fmla="*/ 944023 w 1489995"/>
                <a:gd name="connsiteY1473" fmla="*/ 1155764 h 1273968"/>
                <a:gd name="connsiteX1474" fmla="*/ 941070 w 1489995"/>
                <a:gd name="connsiteY1474" fmla="*/ 1157764 h 1273968"/>
                <a:gd name="connsiteX1475" fmla="*/ 941260 w 1489995"/>
                <a:gd name="connsiteY1475" fmla="*/ 1159383 h 1273968"/>
                <a:gd name="connsiteX1476" fmla="*/ 939546 w 1489995"/>
                <a:gd name="connsiteY1476" fmla="*/ 1157954 h 1273968"/>
                <a:gd name="connsiteX1477" fmla="*/ 936784 w 1489995"/>
                <a:gd name="connsiteY1477" fmla="*/ 1161479 h 1273968"/>
                <a:gd name="connsiteX1478" fmla="*/ 936974 w 1489995"/>
                <a:gd name="connsiteY1478" fmla="*/ 1163098 h 1273968"/>
                <a:gd name="connsiteX1479" fmla="*/ 940118 w 1489995"/>
                <a:gd name="connsiteY1479" fmla="*/ 1162717 h 1273968"/>
                <a:gd name="connsiteX1480" fmla="*/ 939546 w 1489995"/>
                <a:gd name="connsiteY1480" fmla="*/ 1170813 h 1273968"/>
                <a:gd name="connsiteX1481" fmla="*/ 927926 w 1489995"/>
                <a:gd name="connsiteY1481" fmla="*/ 1167479 h 1273968"/>
                <a:gd name="connsiteX1482" fmla="*/ 928306 w 1489995"/>
                <a:gd name="connsiteY1482" fmla="*/ 1170623 h 1273968"/>
                <a:gd name="connsiteX1483" fmla="*/ 930116 w 1489995"/>
                <a:gd name="connsiteY1483" fmla="*/ 1171956 h 1273968"/>
                <a:gd name="connsiteX1484" fmla="*/ 925354 w 1489995"/>
                <a:gd name="connsiteY1484" fmla="*/ 1172623 h 1273968"/>
                <a:gd name="connsiteX1485" fmla="*/ 926878 w 1489995"/>
                <a:gd name="connsiteY1485" fmla="*/ 1172432 h 1273968"/>
                <a:gd name="connsiteX1486" fmla="*/ 928878 w 1489995"/>
                <a:gd name="connsiteY1486" fmla="*/ 1175385 h 1273968"/>
                <a:gd name="connsiteX1487" fmla="*/ 927544 w 1489995"/>
                <a:gd name="connsiteY1487" fmla="*/ 1177100 h 1273968"/>
                <a:gd name="connsiteX1488" fmla="*/ 930878 w 1489995"/>
                <a:gd name="connsiteY1488" fmla="*/ 1178338 h 1273968"/>
                <a:gd name="connsiteX1489" fmla="*/ 928306 w 1489995"/>
                <a:gd name="connsiteY1489" fmla="*/ 1183481 h 1273968"/>
                <a:gd name="connsiteX1490" fmla="*/ 930116 w 1489995"/>
                <a:gd name="connsiteY1490" fmla="*/ 1184815 h 1273968"/>
                <a:gd name="connsiteX1491" fmla="*/ 926973 w 1489995"/>
                <a:gd name="connsiteY1491" fmla="*/ 1185196 h 1273968"/>
                <a:gd name="connsiteX1492" fmla="*/ 925735 w 1489995"/>
                <a:gd name="connsiteY1492" fmla="*/ 1188625 h 1273968"/>
                <a:gd name="connsiteX1493" fmla="*/ 924211 w 1489995"/>
                <a:gd name="connsiteY1493" fmla="*/ 1188815 h 1273968"/>
                <a:gd name="connsiteX1494" fmla="*/ 923449 w 1489995"/>
                <a:gd name="connsiteY1494" fmla="*/ 1195292 h 1273968"/>
                <a:gd name="connsiteX1495" fmla="*/ 921830 w 1489995"/>
                <a:gd name="connsiteY1495" fmla="*/ 1195483 h 1273968"/>
                <a:gd name="connsiteX1496" fmla="*/ 920687 w 1489995"/>
                <a:gd name="connsiteY1496" fmla="*/ 1198816 h 1273968"/>
                <a:gd name="connsiteX1497" fmla="*/ 922210 w 1489995"/>
                <a:gd name="connsiteY1497" fmla="*/ 1198626 h 1273968"/>
                <a:gd name="connsiteX1498" fmla="*/ 922687 w 1489995"/>
                <a:gd name="connsiteY1498" fmla="*/ 1201769 h 1273968"/>
                <a:gd name="connsiteX1499" fmla="*/ 927544 w 1489995"/>
                <a:gd name="connsiteY1499" fmla="*/ 1202817 h 1273968"/>
                <a:gd name="connsiteX1500" fmla="*/ 925259 w 1489995"/>
                <a:gd name="connsiteY1500" fmla="*/ 1209485 h 1273968"/>
                <a:gd name="connsiteX1501" fmla="*/ 927259 w 1489995"/>
                <a:gd name="connsiteY1501" fmla="*/ 1212437 h 1273968"/>
                <a:gd name="connsiteX1502" fmla="*/ 930212 w 1489995"/>
                <a:gd name="connsiteY1502" fmla="*/ 1210437 h 1273968"/>
                <a:gd name="connsiteX1503" fmla="*/ 930593 w 1489995"/>
                <a:gd name="connsiteY1503" fmla="*/ 1213676 h 1273968"/>
                <a:gd name="connsiteX1504" fmla="*/ 928973 w 1489995"/>
                <a:gd name="connsiteY1504" fmla="*/ 1213866 h 1273968"/>
                <a:gd name="connsiteX1505" fmla="*/ 934117 w 1489995"/>
                <a:gd name="connsiteY1505" fmla="*/ 1216343 h 1273968"/>
                <a:gd name="connsiteX1506" fmla="*/ 934498 w 1489995"/>
                <a:gd name="connsiteY1506" fmla="*/ 1219581 h 1273968"/>
                <a:gd name="connsiteX1507" fmla="*/ 930021 w 1489995"/>
                <a:gd name="connsiteY1507" fmla="*/ 1221677 h 1273968"/>
                <a:gd name="connsiteX1508" fmla="*/ 934688 w 1489995"/>
                <a:gd name="connsiteY1508" fmla="*/ 1221105 h 1273968"/>
                <a:gd name="connsiteX1509" fmla="*/ 933355 w 1489995"/>
                <a:gd name="connsiteY1509" fmla="*/ 1222915 h 1273968"/>
                <a:gd name="connsiteX1510" fmla="*/ 928783 w 1489995"/>
                <a:gd name="connsiteY1510" fmla="*/ 1225106 h 1273968"/>
                <a:gd name="connsiteX1511" fmla="*/ 925449 w 1489995"/>
                <a:gd name="connsiteY1511" fmla="*/ 1223867 h 1273968"/>
                <a:gd name="connsiteX1512" fmla="*/ 924115 w 1489995"/>
                <a:gd name="connsiteY1512" fmla="*/ 1225677 h 1273968"/>
                <a:gd name="connsiteX1513" fmla="*/ 924306 w 1489995"/>
                <a:gd name="connsiteY1513" fmla="*/ 1227296 h 1273968"/>
                <a:gd name="connsiteX1514" fmla="*/ 916591 w 1489995"/>
                <a:gd name="connsiteY1514" fmla="*/ 1229868 h 1273968"/>
                <a:gd name="connsiteX1515" fmla="*/ 916781 w 1489995"/>
                <a:gd name="connsiteY1515" fmla="*/ 1231392 h 1273968"/>
                <a:gd name="connsiteX1516" fmla="*/ 913638 w 1489995"/>
                <a:gd name="connsiteY1516" fmla="*/ 1231868 h 1273968"/>
                <a:gd name="connsiteX1517" fmla="*/ 913257 w 1489995"/>
                <a:gd name="connsiteY1517" fmla="*/ 1228630 h 1273968"/>
                <a:gd name="connsiteX1518" fmla="*/ 906971 w 1489995"/>
                <a:gd name="connsiteY1518" fmla="*/ 1229487 h 1273968"/>
                <a:gd name="connsiteX1519" fmla="*/ 903542 w 1489995"/>
                <a:gd name="connsiteY1519" fmla="*/ 1228249 h 1273968"/>
                <a:gd name="connsiteX1520" fmla="*/ 902208 w 1489995"/>
                <a:gd name="connsiteY1520" fmla="*/ 1230059 h 1273968"/>
                <a:gd name="connsiteX1521" fmla="*/ 902589 w 1489995"/>
                <a:gd name="connsiteY1521" fmla="*/ 1233202 h 1273968"/>
                <a:gd name="connsiteX1522" fmla="*/ 897826 w 1489995"/>
                <a:gd name="connsiteY1522" fmla="*/ 1233869 h 1273968"/>
                <a:gd name="connsiteX1523" fmla="*/ 896302 w 1489995"/>
                <a:gd name="connsiteY1523" fmla="*/ 1234059 h 1273968"/>
                <a:gd name="connsiteX1524" fmla="*/ 895350 w 1489995"/>
                <a:gd name="connsiteY1524" fmla="*/ 1239012 h 1273968"/>
                <a:gd name="connsiteX1525" fmla="*/ 888206 w 1489995"/>
                <a:gd name="connsiteY1525" fmla="*/ 1246251 h 1273968"/>
                <a:gd name="connsiteX1526" fmla="*/ 884872 w 1489995"/>
                <a:gd name="connsiteY1526" fmla="*/ 1245108 h 1273968"/>
                <a:gd name="connsiteX1527" fmla="*/ 883730 w 1489995"/>
                <a:gd name="connsiteY1527" fmla="*/ 1248442 h 1273968"/>
                <a:gd name="connsiteX1528" fmla="*/ 878776 w 1489995"/>
                <a:gd name="connsiteY1528" fmla="*/ 1247489 h 1273968"/>
                <a:gd name="connsiteX1529" fmla="*/ 876014 w 1489995"/>
                <a:gd name="connsiteY1529" fmla="*/ 1251014 h 1273968"/>
                <a:gd name="connsiteX1530" fmla="*/ 876395 w 1489995"/>
                <a:gd name="connsiteY1530" fmla="*/ 1254252 h 1273968"/>
                <a:gd name="connsiteX1531" fmla="*/ 871633 w 1489995"/>
                <a:gd name="connsiteY1531" fmla="*/ 1254824 h 1273968"/>
                <a:gd name="connsiteX1532" fmla="*/ 877443 w 1489995"/>
                <a:gd name="connsiteY1532" fmla="*/ 1262062 h 1273968"/>
                <a:gd name="connsiteX1533" fmla="*/ 874681 w 1489995"/>
                <a:gd name="connsiteY1533" fmla="*/ 1265682 h 1273968"/>
                <a:gd name="connsiteX1534" fmla="*/ 873919 w 1489995"/>
                <a:gd name="connsiteY1534" fmla="*/ 1272159 h 1273968"/>
                <a:gd name="connsiteX1535" fmla="*/ 872490 w 1489995"/>
                <a:gd name="connsiteY1535" fmla="*/ 1273969 h 1273968"/>
                <a:gd name="connsiteX1536" fmla="*/ 866013 w 1489995"/>
                <a:gd name="connsiteY1536" fmla="*/ 1273207 h 1273968"/>
                <a:gd name="connsiteX1537" fmla="*/ 864013 w 1489995"/>
                <a:gd name="connsiteY1537" fmla="*/ 1270254 h 1273968"/>
                <a:gd name="connsiteX1538" fmla="*/ 865156 w 1489995"/>
                <a:gd name="connsiteY1538" fmla="*/ 1266825 h 1273968"/>
                <a:gd name="connsiteX1539" fmla="*/ 862393 w 1489995"/>
                <a:gd name="connsiteY1539" fmla="*/ 1257586 h 1273968"/>
                <a:gd name="connsiteX1540" fmla="*/ 857440 w 1489995"/>
                <a:gd name="connsiteY1540" fmla="*/ 1256633 h 1273968"/>
                <a:gd name="connsiteX1541" fmla="*/ 843820 w 1489995"/>
                <a:gd name="connsiteY1541" fmla="*/ 1250347 h 1273968"/>
                <a:gd name="connsiteX1542" fmla="*/ 830009 w 1489995"/>
                <a:gd name="connsiteY1542" fmla="*/ 1255300 h 1273968"/>
                <a:gd name="connsiteX1543" fmla="*/ 826865 w 1489995"/>
                <a:gd name="connsiteY1543" fmla="*/ 1255681 h 1273968"/>
                <a:gd name="connsiteX1544" fmla="*/ 824675 w 1489995"/>
                <a:gd name="connsiteY1544" fmla="*/ 1251204 h 1273968"/>
                <a:gd name="connsiteX1545" fmla="*/ 820007 w 1489995"/>
                <a:gd name="connsiteY1545" fmla="*/ 1251776 h 1273968"/>
                <a:gd name="connsiteX1546" fmla="*/ 819531 w 1489995"/>
                <a:gd name="connsiteY1546" fmla="*/ 1248632 h 1273968"/>
                <a:gd name="connsiteX1547" fmla="*/ 822484 w 1489995"/>
                <a:gd name="connsiteY1547" fmla="*/ 1246632 h 1273968"/>
                <a:gd name="connsiteX1548" fmla="*/ 825627 w 1489995"/>
                <a:gd name="connsiteY1548" fmla="*/ 1246251 h 1273968"/>
                <a:gd name="connsiteX1549" fmla="*/ 826675 w 1489995"/>
                <a:gd name="connsiteY1549" fmla="*/ 1241298 h 1273968"/>
                <a:gd name="connsiteX1550" fmla="*/ 829437 w 1489995"/>
                <a:gd name="connsiteY1550" fmla="*/ 1237774 h 1273968"/>
                <a:gd name="connsiteX1551" fmla="*/ 830009 w 1489995"/>
                <a:gd name="connsiteY1551" fmla="*/ 1229678 h 1273968"/>
                <a:gd name="connsiteX1552" fmla="*/ 829532 w 1489995"/>
                <a:gd name="connsiteY1552" fmla="*/ 1226534 h 1273968"/>
                <a:gd name="connsiteX1553" fmla="*/ 828008 w 1489995"/>
                <a:gd name="connsiteY1553" fmla="*/ 1226725 h 1273968"/>
                <a:gd name="connsiteX1554" fmla="*/ 826580 w 1489995"/>
                <a:gd name="connsiteY1554" fmla="*/ 1228439 h 1273968"/>
                <a:gd name="connsiteX1555" fmla="*/ 825627 w 1489995"/>
                <a:gd name="connsiteY1555" fmla="*/ 1233392 h 1273968"/>
                <a:gd name="connsiteX1556" fmla="*/ 822674 w 1489995"/>
                <a:gd name="connsiteY1556" fmla="*/ 1235393 h 1273968"/>
                <a:gd name="connsiteX1557" fmla="*/ 817721 w 1489995"/>
                <a:gd name="connsiteY1557" fmla="*/ 1234440 h 1273968"/>
                <a:gd name="connsiteX1558" fmla="*/ 818197 w 1489995"/>
                <a:gd name="connsiteY1558" fmla="*/ 1237583 h 1273968"/>
                <a:gd name="connsiteX1559" fmla="*/ 814959 w 1489995"/>
                <a:gd name="connsiteY1559" fmla="*/ 1237964 h 1273968"/>
                <a:gd name="connsiteX1560" fmla="*/ 815816 w 1489995"/>
                <a:gd name="connsiteY1560" fmla="*/ 1231487 h 1273968"/>
                <a:gd name="connsiteX1561" fmla="*/ 810673 w 1489995"/>
                <a:gd name="connsiteY1561" fmla="*/ 1241774 h 1273968"/>
                <a:gd name="connsiteX1562" fmla="*/ 805720 w 1489995"/>
                <a:gd name="connsiteY1562" fmla="*/ 1240727 h 1273968"/>
                <a:gd name="connsiteX1563" fmla="*/ 807148 w 1489995"/>
                <a:gd name="connsiteY1563" fmla="*/ 1239012 h 1273968"/>
                <a:gd name="connsiteX1564" fmla="*/ 805529 w 1489995"/>
                <a:gd name="connsiteY1564" fmla="*/ 1239203 h 1273968"/>
                <a:gd name="connsiteX1565" fmla="*/ 804196 w 1489995"/>
                <a:gd name="connsiteY1565" fmla="*/ 1240917 h 1273968"/>
                <a:gd name="connsiteX1566" fmla="*/ 802196 w 1489995"/>
                <a:gd name="connsiteY1566" fmla="*/ 1237964 h 1273968"/>
                <a:gd name="connsiteX1567" fmla="*/ 800767 w 1489995"/>
                <a:gd name="connsiteY1567" fmla="*/ 1239774 h 1273968"/>
                <a:gd name="connsiteX1568" fmla="*/ 799052 w 1489995"/>
                <a:gd name="connsiteY1568" fmla="*/ 1238441 h 1273968"/>
                <a:gd name="connsiteX1569" fmla="*/ 794099 w 1489995"/>
                <a:gd name="connsiteY1569" fmla="*/ 1237393 h 1273968"/>
                <a:gd name="connsiteX1570" fmla="*/ 792099 w 1489995"/>
                <a:gd name="connsiteY1570" fmla="*/ 1234440 h 1273968"/>
                <a:gd name="connsiteX1571" fmla="*/ 789146 w 1489995"/>
                <a:gd name="connsiteY1571" fmla="*/ 1236440 h 1273968"/>
                <a:gd name="connsiteX1572" fmla="*/ 786384 w 1489995"/>
                <a:gd name="connsiteY1572" fmla="*/ 1240060 h 1273968"/>
                <a:gd name="connsiteX1573" fmla="*/ 784193 w 1489995"/>
                <a:gd name="connsiteY1573" fmla="*/ 1235488 h 1273968"/>
                <a:gd name="connsiteX1574" fmla="*/ 782860 w 1489995"/>
                <a:gd name="connsiteY1574" fmla="*/ 1237298 h 1273968"/>
                <a:gd name="connsiteX1575" fmla="*/ 782384 w 1489995"/>
                <a:gd name="connsiteY1575" fmla="*/ 1234154 h 1273968"/>
                <a:gd name="connsiteX1576" fmla="*/ 777907 w 1489995"/>
                <a:gd name="connsiteY1576" fmla="*/ 1236250 h 1273968"/>
                <a:gd name="connsiteX1577" fmla="*/ 777716 w 1489995"/>
                <a:gd name="connsiteY1577" fmla="*/ 1234726 h 1273968"/>
                <a:gd name="connsiteX1578" fmla="*/ 774383 w 1489995"/>
                <a:gd name="connsiteY1578" fmla="*/ 1233583 h 1273968"/>
                <a:gd name="connsiteX1579" fmla="*/ 776668 w 1489995"/>
                <a:gd name="connsiteY1579" fmla="*/ 1226820 h 1273968"/>
                <a:gd name="connsiteX1580" fmla="*/ 774954 w 1489995"/>
                <a:gd name="connsiteY1580" fmla="*/ 1225487 h 1273968"/>
                <a:gd name="connsiteX1581" fmla="*/ 770192 w 1489995"/>
                <a:gd name="connsiteY1581" fmla="*/ 1226058 h 1273968"/>
                <a:gd name="connsiteX1582" fmla="*/ 767429 w 1489995"/>
                <a:gd name="connsiteY1582" fmla="*/ 1229582 h 1273968"/>
                <a:gd name="connsiteX1583" fmla="*/ 762476 w 1489995"/>
                <a:gd name="connsiteY1583" fmla="*/ 1228630 h 1273968"/>
                <a:gd name="connsiteX1584" fmla="*/ 753809 w 1489995"/>
                <a:gd name="connsiteY1584" fmla="*/ 1223296 h 1273968"/>
                <a:gd name="connsiteX1585" fmla="*/ 749046 w 1489995"/>
                <a:gd name="connsiteY1585" fmla="*/ 1223962 h 1273968"/>
                <a:gd name="connsiteX1586" fmla="*/ 750856 w 1489995"/>
                <a:gd name="connsiteY1586" fmla="*/ 1225296 h 1273968"/>
                <a:gd name="connsiteX1587" fmla="*/ 748475 w 1489995"/>
                <a:gd name="connsiteY1587" fmla="*/ 1232059 h 1273968"/>
                <a:gd name="connsiteX1588" fmla="*/ 742379 w 1489995"/>
                <a:gd name="connsiteY1588" fmla="*/ 1234440 h 1273968"/>
                <a:gd name="connsiteX1589" fmla="*/ 744379 w 1489995"/>
                <a:gd name="connsiteY1589" fmla="*/ 1237393 h 1273968"/>
                <a:gd name="connsiteX1590" fmla="*/ 747522 w 1489995"/>
                <a:gd name="connsiteY1590" fmla="*/ 1236916 h 1273968"/>
                <a:gd name="connsiteX1591" fmla="*/ 746093 w 1489995"/>
                <a:gd name="connsiteY1591" fmla="*/ 1238726 h 1273968"/>
                <a:gd name="connsiteX1592" fmla="*/ 744569 w 1489995"/>
                <a:gd name="connsiteY1592" fmla="*/ 1238917 h 1273968"/>
                <a:gd name="connsiteX1593" fmla="*/ 740759 w 1489995"/>
                <a:gd name="connsiteY1593" fmla="*/ 1234631 h 1273968"/>
                <a:gd name="connsiteX1594" fmla="*/ 739616 w 1489995"/>
                <a:gd name="connsiteY1594" fmla="*/ 1237964 h 1273968"/>
                <a:gd name="connsiteX1595" fmla="*/ 736092 w 1489995"/>
                <a:gd name="connsiteY1595" fmla="*/ 1235202 h 1273968"/>
                <a:gd name="connsiteX1596" fmla="*/ 735616 w 1489995"/>
                <a:gd name="connsiteY1596" fmla="*/ 1232059 h 1273968"/>
                <a:gd name="connsiteX1597" fmla="*/ 734092 w 1489995"/>
                <a:gd name="connsiteY1597" fmla="*/ 1232249 h 1273968"/>
                <a:gd name="connsiteX1598" fmla="*/ 731901 w 1489995"/>
                <a:gd name="connsiteY1598" fmla="*/ 1227677 h 1273968"/>
                <a:gd name="connsiteX1599" fmla="*/ 727138 w 1489995"/>
                <a:gd name="connsiteY1599" fmla="*/ 1228344 h 1273968"/>
                <a:gd name="connsiteX1600" fmla="*/ 726186 w 1489995"/>
                <a:gd name="connsiteY1600" fmla="*/ 1220438 h 1273968"/>
                <a:gd name="connsiteX1601" fmla="*/ 719804 w 1489995"/>
                <a:gd name="connsiteY1601" fmla="*/ 1221200 h 1273968"/>
                <a:gd name="connsiteX1602" fmla="*/ 718661 w 1489995"/>
                <a:gd name="connsiteY1602" fmla="*/ 1224629 h 1273968"/>
                <a:gd name="connsiteX1603" fmla="*/ 715518 w 1489995"/>
                <a:gd name="connsiteY1603" fmla="*/ 1225010 h 1273968"/>
                <a:gd name="connsiteX1604" fmla="*/ 707422 w 1489995"/>
                <a:gd name="connsiteY1604" fmla="*/ 1211580 h 1273968"/>
                <a:gd name="connsiteX1605" fmla="*/ 704279 w 1489995"/>
                <a:gd name="connsiteY1605" fmla="*/ 1211961 h 1273968"/>
                <a:gd name="connsiteX1606" fmla="*/ 700468 w 1489995"/>
                <a:gd name="connsiteY1606" fmla="*/ 1207675 h 1273968"/>
                <a:gd name="connsiteX1607" fmla="*/ 702850 w 1489995"/>
                <a:gd name="connsiteY1607" fmla="*/ 1213771 h 1273968"/>
                <a:gd name="connsiteX1608" fmla="*/ 701326 w 1489995"/>
                <a:gd name="connsiteY1608" fmla="*/ 1213961 h 1273968"/>
                <a:gd name="connsiteX1609" fmla="*/ 697706 w 1489995"/>
                <a:gd name="connsiteY1609" fmla="*/ 1211199 h 1273968"/>
                <a:gd name="connsiteX1610" fmla="*/ 696373 w 1489995"/>
                <a:gd name="connsiteY1610" fmla="*/ 1213009 h 1273968"/>
                <a:gd name="connsiteX1611" fmla="*/ 697897 w 1489995"/>
                <a:gd name="connsiteY1611" fmla="*/ 1212818 h 1273968"/>
                <a:gd name="connsiteX1612" fmla="*/ 702278 w 1489995"/>
                <a:gd name="connsiteY1612" fmla="*/ 1221867 h 1273968"/>
                <a:gd name="connsiteX1613" fmla="*/ 700945 w 1489995"/>
                <a:gd name="connsiteY1613" fmla="*/ 1223677 h 1273968"/>
                <a:gd name="connsiteX1614" fmla="*/ 702659 w 1489995"/>
                <a:gd name="connsiteY1614" fmla="*/ 1225010 h 1273968"/>
                <a:gd name="connsiteX1615" fmla="*/ 699897 w 1489995"/>
                <a:gd name="connsiteY1615" fmla="*/ 1228630 h 1273968"/>
                <a:gd name="connsiteX1616" fmla="*/ 701897 w 1489995"/>
                <a:gd name="connsiteY1616" fmla="*/ 1231583 h 1273968"/>
                <a:gd name="connsiteX1617" fmla="*/ 706660 w 1489995"/>
                <a:gd name="connsiteY1617" fmla="*/ 1230916 h 1273968"/>
                <a:gd name="connsiteX1618" fmla="*/ 705231 w 1489995"/>
                <a:gd name="connsiteY1618" fmla="*/ 1232726 h 1273968"/>
                <a:gd name="connsiteX1619" fmla="*/ 701897 w 1489995"/>
                <a:gd name="connsiteY1619" fmla="*/ 1231583 h 1273968"/>
                <a:gd name="connsiteX1620" fmla="*/ 702278 w 1489995"/>
                <a:gd name="connsiteY1620" fmla="*/ 1234726 h 1273968"/>
                <a:gd name="connsiteX1621" fmla="*/ 700754 w 1489995"/>
                <a:gd name="connsiteY1621" fmla="*/ 1234916 h 1273968"/>
                <a:gd name="connsiteX1622" fmla="*/ 698183 w 1489995"/>
                <a:gd name="connsiteY1622" fmla="*/ 1227201 h 1273968"/>
                <a:gd name="connsiteX1623" fmla="*/ 695039 w 1489995"/>
                <a:gd name="connsiteY1623" fmla="*/ 1227582 h 1273968"/>
                <a:gd name="connsiteX1624" fmla="*/ 691420 w 1489995"/>
                <a:gd name="connsiteY1624" fmla="*/ 1224820 h 1273968"/>
                <a:gd name="connsiteX1625" fmla="*/ 686752 w 1489995"/>
                <a:gd name="connsiteY1625" fmla="*/ 1225487 h 1273968"/>
                <a:gd name="connsiteX1626" fmla="*/ 685514 w 1489995"/>
                <a:gd name="connsiteY1626" fmla="*/ 1228820 h 1273968"/>
                <a:gd name="connsiteX1627" fmla="*/ 682180 w 1489995"/>
                <a:gd name="connsiteY1627" fmla="*/ 1227677 h 1273968"/>
                <a:gd name="connsiteX1628" fmla="*/ 682371 w 1489995"/>
                <a:gd name="connsiteY1628" fmla="*/ 1229201 h 1273968"/>
                <a:gd name="connsiteX1629" fmla="*/ 680752 w 1489995"/>
                <a:gd name="connsiteY1629" fmla="*/ 1229392 h 1273968"/>
                <a:gd name="connsiteX1630" fmla="*/ 682752 w 1489995"/>
                <a:gd name="connsiteY1630" fmla="*/ 1232345 h 1273968"/>
                <a:gd name="connsiteX1631" fmla="*/ 681228 w 1489995"/>
                <a:gd name="connsiteY1631" fmla="*/ 1232535 h 1273968"/>
                <a:gd name="connsiteX1632" fmla="*/ 681418 w 1489995"/>
                <a:gd name="connsiteY1632" fmla="*/ 1234154 h 1273968"/>
                <a:gd name="connsiteX1633" fmla="*/ 679609 w 1489995"/>
                <a:gd name="connsiteY1633" fmla="*/ 1232821 h 1273968"/>
                <a:gd name="connsiteX1634" fmla="*/ 679799 w 1489995"/>
                <a:gd name="connsiteY1634" fmla="*/ 1234345 h 1273968"/>
                <a:gd name="connsiteX1635" fmla="*/ 678466 w 1489995"/>
                <a:gd name="connsiteY1635" fmla="*/ 1236155 h 1273968"/>
                <a:gd name="connsiteX1636" fmla="*/ 676465 w 1489995"/>
                <a:gd name="connsiteY1636" fmla="*/ 1233202 h 1273968"/>
                <a:gd name="connsiteX1637" fmla="*/ 675132 w 1489995"/>
                <a:gd name="connsiteY1637" fmla="*/ 1234916 h 1273968"/>
                <a:gd name="connsiteX1638" fmla="*/ 672751 w 1489995"/>
                <a:gd name="connsiteY1638" fmla="*/ 1241679 h 1273968"/>
                <a:gd name="connsiteX1639" fmla="*/ 671131 w 1489995"/>
                <a:gd name="connsiteY1639" fmla="*/ 1241870 h 1273968"/>
                <a:gd name="connsiteX1640" fmla="*/ 672370 w 1489995"/>
                <a:gd name="connsiteY1640" fmla="*/ 1238536 h 1273968"/>
                <a:gd name="connsiteX1641" fmla="*/ 668941 w 1489995"/>
                <a:gd name="connsiteY1641" fmla="*/ 1237298 h 1273968"/>
                <a:gd name="connsiteX1642" fmla="*/ 666179 w 1489995"/>
                <a:gd name="connsiteY1642" fmla="*/ 1240917 h 1273968"/>
                <a:gd name="connsiteX1643" fmla="*/ 665226 w 1489995"/>
                <a:gd name="connsiteY1643" fmla="*/ 1245870 h 1273968"/>
                <a:gd name="connsiteX1644" fmla="*/ 663702 w 1489995"/>
                <a:gd name="connsiteY1644" fmla="*/ 1246061 h 1273968"/>
                <a:gd name="connsiteX1645" fmla="*/ 663035 w 1489995"/>
                <a:gd name="connsiteY1645" fmla="*/ 1241298 h 1273968"/>
                <a:gd name="connsiteX1646" fmla="*/ 659892 w 1489995"/>
                <a:gd name="connsiteY1646" fmla="*/ 1241679 h 1273968"/>
                <a:gd name="connsiteX1647" fmla="*/ 659511 w 1489995"/>
                <a:gd name="connsiteY1647" fmla="*/ 1238536 h 1273968"/>
                <a:gd name="connsiteX1648" fmla="*/ 656177 w 1489995"/>
                <a:gd name="connsiteY1648" fmla="*/ 1237393 h 1273968"/>
                <a:gd name="connsiteX1649" fmla="*/ 648843 w 1489995"/>
                <a:gd name="connsiteY1649" fmla="*/ 1243108 h 1273968"/>
                <a:gd name="connsiteX1650" fmla="*/ 645509 w 1489995"/>
                <a:gd name="connsiteY1650" fmla="*/ 1241965 h 1273968"/>
                <a:gd name="connsiteX1651" fmla="*/ 643700 w 1489995"/>
                <a:gd name="connsiteY1651" fmla="*/ 1240536 h 1273968"/>
                <a:gd name="connsiteX1652" fmla="*/ 646843 w 1489995"/>
                <a:gd name="connsiteY1652" fmla="*/ 1240155 h 1273968"/>
                <a:gd name="connsiteX1653" fmla="*/ 648272 w 1489995"/>
                <a:gd name="connsiteY1653" fmla="*/ 1238345 h 1273968"/>
                <a:gd name="connsiteX1654" fmla="*/ 646081 w 1489995"/>
                <a:gd name="connsiteY1654" fmla="*/ 1233869 h 1273968"/>
                <a:gd name="connsiteX1655" fmla="*/ 648843 w 1489995"/>
                <a:gd name="connsiteY1655" fmla="*/ 1230249 h 1273968"/>
                <a:gd name="connsiteX1656" fmla="*/ 648462 w 1489995"/>
                <a:gd name="connsiteY1656" fmla="*/ 1227106 h 1273968"/>
                <a:gd name="connsiteX1657" fmla="*/ 645319 w 1489995"/>
                <a:gd name="connsiteY1657" fmla="*/ 1227487 h 1273968"/>
                <a:gd name="connsiteX1658" fmla="*/ 643509 w 1489995"/>
                <a:gd name="connsiteY1658" fmla="*/ 1226153 h 1273968"/>
                <a:gd name="connsiteX1659" fmla="*/ 641699 w 1489995"/>
                <a:gd name="connsiteY1659" fmla="*/ 1224820 h 1273968"/>
                <a:gd name="connsiteX1660" fmla="*/ 641699 w 1489995"/>
                <a:gd name="connsiteY1660" fmla="*/ 1224820 h 1273968"/>
                <a:gd name="connsiteX1661" fmla="*/ 639509 w 1489995"/>
                <a:gd name="connsiteY1661" fmla="*/ 1220248 h 1273968"/>
                <a:gd name="connsiteX1662" fmla="*/ 638175 w 1489995"/>
                <a:gd name="connsiteY1662" fmla="*/ 1222058 h 1273968"/>
                <a:gd name="connsiteX1663" fmla="*/ 631031 w 1489995"/>
                <a:gd name="connsiteY1663" fmla="*/ 1216533 h 1273968"/>
                <a:gd name="connsiteX1664" fmla="*/ 625316 w 1489995"/>
                <a:gd name="connsiteY1664" fmla="*/ 1222058 h 1273968"/>
                <a:gd name="connsiteX1665" fmla="*/ 623126 w 1489995"/>
                <a:gd name="connsiteY1665" fmla="*/ 1217486 h 1273968"/>
                <a:gd name="connsiteX1666" fmla="*/ 621792 w 1489995"/>
                <a:gd name="connsiteY1666" fmla="*/ 1219295 h 1273968"/>
                <a:gd name="connsiteX1667" fmla="*/ 621601 w 1489995"/>
                <a:gd name="connsiteY1667" fmla="*/ 1217771 h 1273968"/>
                <a:gd name="connsiteX1668" fmla="*/ 619792 w 1489995"/>
                <a:gd name="connsiteY1668" fmla="*/ 1216343 h 1273968"/>
                <a:gd name="connsiteX1669" fmla="*/ 620363 w 1489995"/>
                <a:gd name="connsiteY1669" fmla="*/ 1208246 h 1273968"/>
                <a:gd name="connsiteX1670" fmla="*/ 621697 w 1489995"/>
                <a:gd name="connsiteY1670" fmla="*/ 1206437 h 1273968"/>
                <a:gd name="connsiteX1671" fmla="*/ 616363 w 1489995"/>
                <a:gd name="connsiteY1671" fmla="*/ 1202341 h 1273968"/>
                <a:gd name="connsiteX1672" fmla="*/ 609886 w 1489995"/>
                <a:gd name="connsiteY1672" fmla="*/ 1201579 h 1273968"/>
                <a:gd name="connsiteX1673" fmla="*/ 609505 w 1489995"/>
                <a:gd name="connsiteY1673" fmla="*/ 1198436 h 1273968"/>
                <a:gd name="connsiteX1674" fmla="*/ 604933 w 1489995"/>
                <a:gd name="connsiteY1674" fmla="*/ 1200626 h 1273968"/>
                <a:gd name="connsiteX1675" fmla="*/ 602551 w 1489995"/>
                <a:gd name="connsiteY1675" fmla="*/ 1194435 h 1273968"/>
                <a:gd name="connsiteX1676" fmla="*/ 596837 w 1489995"/>
                <a:gd name="connsiteY1676" fmla="*/ 1200055 h 1273968"/>
                <a:gd name="connsiteX1677" fmla="*/ 593693 w 1489995"/>
                <a:gd name="connsiteY1677" fmla="*/ 1200436 h 1273968"/>
                <a:gd name="connsiteX1678" fmla="*/ 582835 w 1489995"/>
                <a:gd name="connsiteY1678" fmla="*/ 1203389 h 1273968"/>
                <a:gd name="connsiteX1679" fmla="*/ 580644 w 1489995"/>
                <a:gd name="connsiteY1679" fmla="*/ 1198912 h 1273968"/>
                <a:gd name="connsiteX1680" fmla="*/ 577882 w 1489995"/>
                <a:gd name="connsiteY1680" fmla="*/ 1202436 h 1273968"/>
                <a:gd name="connsiteX1681" fmla="*/ 574738 w 1489995"/>
                <a:gd name="connsiteY1681" fmla="*/ 1202817 h 1273968"/>
                <a:gd name="connsiteX1682" fmla="*/ 573405 w 1489995"/>
                <a:gd name="connsiteY1682" fmla="*/ 1204627 h 1273968"/>
                <a:gd name="connsiteX1683" fmla="*/ 573786 w 1489995"/>
                <a:gd name="connsiteY1683" fmla="*/ 1207770 h 1273968"/>
                <a:gd name="connsiteX1684" fmla="*/ 574834 w 1489995"/>
                <a:gd name="connsiteY1684" fmla="*/ 1215676 h 1273968"/>
                <a:gd name="connsiteX1685" fmla="*/ 570262 w 1489995"/>
                <a:gd name="connsiteY1685" fmla="*/ 1217866 h 1273968"/>
                <a:gd name="connsiteX1686" fmla="*/ 570643 w 1489995"/>
                <a:gd name="connsiteY1686" fmla="*/ 1221010 h 1273968"/>
                <a:gd name="connsiteX1687" fmla="*/ 566356 w 1489995"/>
                <a:gd name="connsiteY1687" fmla="*/ 1224725 h 1273968"/>
                <a:gd name="connsiteX1688" fmla="*/ 563213 w 1489995"/>
                <a:gd name="connsiteY1688" fmla="*/ 1225201 h 1273968"/>
                <a:gd name="connsiteX1689" fmla="*/ 563594 w 1489995"/>
                <a:gd name="connsiteY1689" fmla="*/ 1228344 h 1273968"/>
                <a:gd name="connsiteX1690" fmla="*/ 566547 w 1489995"/>
                <a:gd name="connsiteY1690" fmla="*/ 1226344 h 1273968"/>
                <a:gd name="connsiteX1691" fmla="*/ 560832 w 1489995"/>
                <a:gd name="connsiteY1691" fmla="*/ 1231868 h 1273968"/>
                <a:gd name="connsiteX1692" fmla="*/ 561404 w 1489995"/>
                <a:gd name="connsiteY1692" fmla="*/ 1236631 h 1273968"/>
                <a:gd name="connsiteX1693" fmla="*/ 556546 w 1489995"/>
                <a:gd name="connsiteY1693" fmla="*/ 1235678 h 1273968"/>
                <a:gd name="connsiteX1694" fmla="*/ 556069 w 1489995"/>
                <a:gd name="connsiteY1694" fmla="*/ 1232440 h 1273968"/>
                <a:gd name="connsiteX1695" fmla="*/ 559022 w 1489995"/>
                <a:gd name="connsiteY1695" fmla="*/ 1230535 h 1273968"/>
                <a:gd name="connsiteX1696" fmla="*/ 557308 w 1489995"/>
                <a:gd name="connsiteY1696" fmla="*/ 1229106 h 1273968"/>
                <a:gd name="connsiteX1697" fmla="*/ 551117 w 1489995"/>
                <a:gd name="connsiteY1697" fmla="*/ 1231487 h 1273968"/>
                <a:gd name="connsiteX1698" fmla="*/ 543306 w 1489995"/>
                <a:gd name="connsiteY1698" fmla="*/ 1232535 h 1273968"/>
                <a:gd name="connsiteX1699" fmla="*/ 540353 w 1489995"/>
                <a:gd name="connsiteY1699" fmla="*/ 1234535 h 1273968"/>
                <a:gd name="connsiteX1700" fmla="*/ 536924 w 1489995"/>
                <a:gd name="connsiteY1700" fmla="*/ 1233297 h 1273968"/>
                <a:gd name="connsiteX1701" fmla="*/ 532067 w 1489995"/>
                <a:gd name="connsiteY1701" fmla="*/ 1232345 h 1273968"/>
                <a:gd name="connsiteX1702" fmla="*/ 525685 w 1489995"/>
                <a:gd name="connsiteY1702" fmla="*/ 1233107 h 1273968"/>
                <a:gd name="connsiteX1703" fmla="*/ 522542 w 1489995"/>
                <a:gd name="connsiteY1703" fmla="*/ 1233583 h 1273968"/>
                <a:gd name="connsiteX1704" fmla="*/ 521398 w 1489995"/>
                <a:gd name="connsiteY1704" fmla="*/ 1236916 h 1273968"/>
                <a:gd name="connsiteX1705" fmla="*/ 514255 w 1489995"/>
                <a:gd name="connsiteY1705" fmla="*/ 1231392 h 1273968"/>
                <a:gd name="connsiteX1706" fmla="*/ 509492 w 1489995"/>
                <a:gd name="connsiteY1706" fmla="*/ 1231964 h 1273968"/>
                <a:gd name="connsiteX1707" fmla="*/ 501205 w 1489995"/>
                <a:gd name="connsiteY1707" fmla="*/ 1229868 h 1273968"/>
                <a:gd name="connsiteX1708" fmla="*/ 502444 w 1489995"/>
                <a:gd name="connsiteY1708" fmla="*/ 1239298 h 1273968"/>
                <a:gd name="connsiteX1709" fmla="*/ 497300 w 1489995"/>
                <a:gd name="connsiteY1709" fmla="*/ 1236726 h 1273968"/>
                <a:gd name="connsiteX1710" fmla="*/ 492728 w 1489995"/>
                <a:gd name="connsiteY1710" fmla="*/ 1238917 h 1273968"/>
                <a:gd name="connsiteX1711" fmla="*/ 491014 w 1489995"/>
                <a:gd name="connsiteY1711" fmla="*/ 1237583 h 1273968"/>
                <a:gd name="connsiteX1712" fmla="*/ 490633 w 1489995"/>
                <a:gd name="connsiteY1712" fmla="*/ 1234440 h 1273968"/>
                <a:gd name="connsiteX1713" fmla="*/ 491776 w 1489995"/>
                <a:gd name="connsiteY1713" fmla="*/ 1231011 h 1273968"/>
                <a:gd name="connsiteX1714" fmla="*/ 489775 w 1489995"/>
                <a:gd name="connsiteY1714" fmla="*/ 1228058 h 1273968"/>
                <a:gd name="connsiteX1715" fmla="*/ 486632 w 1489995"/>
                <a:gd name="connsiteY1715" fmla="*/ 1228535 h 1273968"/>
                <a:gd name="connsiteX1716" fmla="*/ 487394 w 1489995"/>
                <a:gd name="connsiteY1716" fmla="*/ 1234821 h 1273968"/>
                <a:gd name="connsiteX1717" fmla="*/ 486251 w 1489995"/>
                <a:gd name="connsiteY1717" fmla="*/ 1238155 h 1273968"/>
                <a:gd name="connsiteX1718" fmla="*/ 479774 w 1489995"/>
                <a:gd name="connsiteY1718" fmla="*/ 1237393 h 1273968"/>
                <a:gd name="connsiteX1719" fmla="*/ 478346 w 1489995"/>
                <a:gd name="connsiteY1719" fmla="*/ 1239203 h 1273968"/>
                <a:gd name="connsiteX1720" fmla="*/ 476345 w 1489995"/>
                <a:gd name="connsiteY1720" fmla="*/ 1236250 h 1273968"/>
                <a:gd name="connsiteX1721" fmla="*/ 470059 w 1489995"/>
                <a:gd name="connsiteY1721" fmla="*/ 1237012 h 1273968"/>
                <a:gd name="connsiteX1722" fmla="*/ 469868 w 1489995"/>
                <a:gd name="connsiteY1722" fmla="*/ 1235488 h 1273968"/>
                <a:gd name="connsiteX1723" fmla="*/ 466915 w 1489995"/>
                <a:gd name="connsiteY1723" fmla="*/ 1237393 h 1273968"/>
                <a:gd name="connsiteX1724" fmla="*/ 464915 w 1489995"/>
                <a:gd name="connsiteY1724" fmla="*/ 1234440 h 1273968"/>
                <a:gd name="connsiteX1725" fmla="*/ 463391 w 1489995"/>
                <a:gd name="connsiteY1725" fmla="*/ 1234631 h 1273968"/>
                <a:gd name="connsiteX1726" fmla="*/ 461010 w 1489995"/>
                <a:gd name="connsiteY1726" fmla="*/ 1228535 h 1273968"/>
                <a:gd name="connsiteX1727" fmla="*/ 461963 w 1489995"/>
                <a:gd name="connsiteY1727" fmla="*/ 1223582 h 1273968"/>
                <a:gd name="connsiteX1728" fmla="*/ 463296 w 1489995"/>
                <a:gd name="connsiteY1728" fmla="*/ 1221867 h 1273968"/>
                <a:gd name="connsiteX1729" fmla="*/ 462534 w 1489995"/>
                <a:gd name="connsiteY1729" fmla="*/ 1215485 h 1273968"/>
                <a:gd name="connsiteX1730" fmla="*/ 462153 w 1489995"/>
                <a:gd name="connsiteY1730" fmla="*/ 1212342 h 1273968"/>
                <a:gd name="connsiteX1731" fmla="*/ 463487 w 1489995"/>
                <a:gd name="connsiteY1731" fmla="*/ 1210628 h 1273968"/>
                <a:gd name="connsiteX1732" fmla="*/ 463105 w 1489995"/>
                <a:gd name="connsiteY1732" fmla="*/ 1207484 h 1273968"/>
                <a:gd name="connsiteX1733" fmla="*/ 467868 w 1489995"/>
                <a:gd name="connsiteY1733" fmla="*/ 1206818 h 1273968"/>
                <a:gd name="connsiteX1734" fmla="*/ 462915 w 1489995"/>
                <a:gd name="connsiteY1734" fmla="*/ 1205865 h 1273968"/>
                <a:gd name="connsiteX1735" fmla="*/ 457390 w 1489995"/>
                <a:gd name="connsiteY1735" fmla="*/ 1200150 h 1273968"/>
                <a:gd name="connsiteX1736" fmla="*/ 455962 w 1489995"/>
                <a:gd name="connsiteY1736" fmla="*/ 1201960 h 1273968"/>
                <a:gd name="connsiteX1737" fmla="*/ 446532 w 1489995"/>
                <a:gd name="connsiteY1737" fmla="*/ 1203103 h 1273968"/>
                <a:gd name="connsiteX1738" fmla="*/ 443198 w 1489995"/>
                <a:gd name="connsiteY1738" fmla="*/ 1201960 h 127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</a:cxnLst>
              <a:rect l="l" t="t" r="r" b="b"/>
              <a:pathLst>
                <a:path w="1489995" h="1273968">
                  <a:moveTo>
                    <a:pt x="443198" y="1201960"/>
                  </a:moveTo>
                  <a:lnTo>
                    <a:pt x="439198" y="1208913"/>
                  </a:lnTo>
                  <a:lnTo>
                    <a:pt x="439007" y="1207294"/>
                  </a:lnTo>
                  <a:lnTo>
                    <a:pt x="433292" y="1212818"/>
                  </a:lnTo>
                  <a:lnTo>
                    <a:pt x="431578" y="1211485"/>
                  </a:lnTo>
                  <a:lnTo>
                    <a:pt x="430149" y="1213199"/>
                  </a:lnTo>
                  <a:lnTo>
                    <a:pt x="423481" y="1210913"/>
                  </a:lnTo>
                  <a:lnTo>
                    <a:pt x="422719" y="1217390"/>
                  </a:lnTo>
                  <a:lnTo>
                    <a:pt x="426625" y="1223296"/>
                  </a:lnTo>
                  <a:lnTo>
                    <a:pt x="423863" y="1226915"/>
                  </a:lnTo>
                  <a:lnTo>
                    <a:pt x="423481" y="1223677"/>
                  </a:lnTo>
                  <a:lnTo>
                    <a:pt x="422719" y="1230249"/>
                  </a:lnTo>
                  <a:lnTo>
                    <a:pt x="421291" y="1231964"/>
                  </a:lnTo>
                  <a:lnTo>
                    <a:pt x="421767" y="1235202"/>
                  </a:lnTo>
                  <a:lnTo>
                    <a:pt x="420148" y="1235393"/>
                  </a:lnTo>
                  <a:lnTo>
                    <a:pt x="418814" y="1237107"/>
                  </a:lnTo>
                  <a:lnTo>
                    <a:pt x="416814" y="1234154"/>
                  </a:lnTo>
                  <a:lnTo>
                    <a:pt x="415195" y="1234345"/>
                  </a:lnTo>
                  <a:lnTo>
                    <a:pt x="415576" y="1237583"/>
                  </a:lnTo>
                  <a:lnTo>
                    <a:pt x="414052" y="1237774"/>
                  </a:lnTo>
                  <a:lnTo>
                    <a:pt x="417957" y="1243679"/>
                  </a:lnTo>
                  <a:lnTo>
                    <a:pt x="414814" y="1244060"/>
                  </a:lnTo>
                  <a:lnTo>
                    <a:pt x="415290" y="1247204"/>
                  </a:lnTo>
                  <a:lnTo>
                    <a:pt x="412051" y="1247585"/>
                  </a:lnTo>
                  <a:lnTo>
                    <a:pt x="411289" y="1241298"/>
                  </a:lnTo>
                  <a:lnTo>
                    <a:pt x="408146" y="1241679"/>
                  </a:lnTo>
                  <a:lnTo>
                    <a:pt x="405955" y="1237202"/>
                  </a:lnTo>
                  <a:lnTo>
                    <a:pt x="403384" y="1242346"/>
                  </a:lnTo>
                  <a:lnTo>
                    <a:pt x="401860" y="1242536"/>
                  </a:lnTo>
                  <a:lnTo>
                    <a:pt x="402241" y="1245680"/>
                  </a:lnTo>
                  <a:lnTo>
                    <a:pt x="399479" y="1249204"/>
                  </a:lnTo>
                  <a:lnTo>
                    <a:pt x="399859" y="1252347"/>
                  </a:lnTo>
                  <a:lnTo>
                    <a:pt x="400240" y="1255586"/>
                  </a:lnTo>
                  <a:lnTo>
                    <a:pt x="390620" y="1255205"/>
                  </a:lnTo>
                  <a:lnTo>
                    <a:pt x="383858" y="1252823"/>
                  </a:lnTo>
                  <a:lnTo>
                    <a:pt x="383286" y="1248061"/>
                  </a:lnTo>
                  <a:lnTo>
                    <a:pt x="379952" y="1246918"/>
                  </a:lnTo>
                  <a:lnTo>
                    <a:pt x="371284" y="1254443"/>
                  </a:lnTo>
                  <a:lnTo>
                    <a:pt x="372237" y="1262348"/>
                  </a:lnTo>
                  <a:lnTo>
                    <a:pt x="372237" y="1262348"/>
                  </a:lnTo>
                  <a:lnTo>
                    <a:pt x="370713" y="1262539"/>
                  </a:lnTo>
                  <a:lnTo>
                    <a:pt x="366331" y="1266254"/>
                  </a:lnTo>
                  <a:lnTo>
                    <a:pt x="365950" y="1263110"/>
                  </a:lnTo>
                  <a:lnTo>
                    <a:pt x="356711" y="1265873"/>
                  </a:lnTo>
                  <a:lnTo>
                    <a:pt x="354711" y="1262920"/>
                  </a:lnTo>
                  <a:lnTo>
                    <a:pt x="349948" y="1263587"/>
                  </a:lnTo>
                  <a:lnTo>
                    <a:pt x="349377" y="1258824"/>
                  </a:lnTo>
                  <a:lnTo>
                    <a:pt x="345853" y="1256062"/>
                  </a:lnTo>
                  <a:lnTo>
                    <a:pt x="344614" y="1259396"/>
                  </a:lnTo>
                  <a:lnTo>
                    <a:pt x="338328" y="1260253"/>
                  </a:lnTo>
                  <a:lnTo>
                    <a:pt x="342614" y="1256443"/>
                  </a:lnTo>
                  <a:lnTo>
                    <a:pt x="342233" y="1253300"/>
                  </a:lnTo>
                  <a:lnTo>
                    <a:pt x="345186" y="1251299"/>
                  </a:lnTo>
                  <a:lnTo>
                    <a:pt x="337280" y="1252347"/>
                  </a:lnTo>
                  <a:lnTo>
                    <a:pt x="335947" y="1254157"/>
                  </a:lnTo>
                  <a:lnTo>
                    <a:pt x="332422" y="1251395"/>
                  </a:lnTo>
                  <a:lnTo>
                    <a:pt x="330232" y="1246823"/>
                  </a:lnTo>
                  <a:lnTo>
                    <a:pt x="330994" y="1240346"/>
                  </a:lnTo>
                  <a:lnTo>
                    <a:pt x="320897" y="1236821"/>
                  </a:lnTo>
                  <a:lnTo>
                    <a:pt x="316325" y="1239012"/>
                  </a:lnTo>
                  <a:lnTo>
                    <a:pt x="316611" y="1240536"/>
                  </a:lnTo>
                  <a:lnTo>
                    <a:pt x="319945" y="1241679"/>
                  </a:lnTo>
                  <a:lnTo>
                    <a:pt x="315373" y="1243870"/>
                  </a:lnTo>
                  <a:lnTo>
                    <a:pt x="311658" y="1252347"/>
                  </a:lnTo>
                  <a:lnTo>
                    <a:pt x="308324" y="1251204"/>
                  </a:lnTo>
                  <a:lnTo>
                    <a:pt x="308515" y="1252823"/>
                  </a:lnTo>
                  <a:lnTo>
                    <a:pt x="306705" y="1251395"/>
                  </a:lnTo>
                  <a:lnTo>
                    <a:pt x="303943" y="1255014"/>
                  </a:lnTo>
                  <a:lnTo>
                    <a:pt x="302038" y="1252061"/>
                  </a:lnTo>
                  <a:lnTo>
                    <a:pt x="303371" y="1250252"/>
                  </a:lnTo>
                  <a:lnTo>
                    <a:pt x="301752" y="1250442"/>
                  </a:lnTo>
                  <a:lnTo>
                    <a:pt x="300418" y="1252252"/>
                  </a:lnTo>
                  <a:lnTo>
                    <a:pt x="298990" y="1253966"/>
                  </a:lnTo>
                  <a:lnTo>
                    <a:pt x="297656" y="1242917"/>
                  </a:lnTo>
                  <a:lnTo>
                    <a:pt x="296228" y="1244727"/>
                  </a:lnTo>
                  <a:lnTo>
                    <a:pt x="294513" y="1243394"/>
                  </a:lnTo>
                  <a:lnTo>
                    <a:pt x="291655" y="1234059"/>
                  </a:lnTo>
                  <a:lnTo>
                    <a:pt x="288512" y="1234535"/>
                  </a:lnTo>
                  <a:lnTo>
                    <a:pt x="290513" y="1237488"/>
                  </a:lnTo>
                  <a:lnTo>
                    <a:pt x="284226" y="1238250"/>
                  </a:lnTo>
                  <a:lnTo>
                    <a:pt x="284988" y="1244537"/>
                  </a:lnTo>
                  <a:lnTo>
                    <a:pt x="280225" y="1245203"/>
                  </a:lnTo>
                  <a:lnTo>
                    <a:pt x="280702" y="1248347"/>
                  </a:lnTo>
                  <a:lnTo>
                    <a:pt x="273748" y="1244441"/>
                  </a:lnTo>
                  <a:lnTo>
                    <a:pt x="267271" y="1243584"/>
                  </a:lnTo>
                  <a:lnTo>
                    <a:pt x="263747" y="1253681"/>
                  </a:lnTo>
                  <a:lnTo>
                    <a:pt x="262128" y="1253871"/>
                  </a:lnTo>
                  <a:lnTo>
                    <a:pt x="262128" y="1253871"/>
                  </a:lnTo>
                  <a:lnTo>
                    <a:pt x="252222" y="1251966"/>
                  </a:lnTo>
                  <a:lnTo>
                    <a:pt x="250507" y="1250537"/>
                  </a:lnTo>
                  <a:lnTo>
                    <a:pt x="251269" y="1244060"/>
                  </a:lnTo>
                  <a:lnTo>
                    <a:pt x="252603" y="1242251"/>
                  </a:lnTo>
                  <a:lnTo>
                    <a:pt x="254413" y="1230821"/>
                  </a:lnTo>
                  <a:lnTo>
                    <a:pt x="254984" y="1222724"/>
                  </a:lnTo>
                  <a:lnTo>
                    <a:pt x="249841" y="1220153"/>
                  </a:lnTo>
                  <a:lnTo>
                    <a:pt x="250412" y="1212056"/>
                  </a:lnTo>
                  <a:lnTo>
                    <a:pt x="239935" y="1205389"/>
                  </a:lnTo>
                  <a:lnTo>
                    <a:pt x="236791" y="1205770"/>
                  </a:lnTo>
                  <a:lnTo>
                    <a:pt x="231457" y="1214533"/>
                  </a:lnTo>
                  <a:lnTo>
                    <a:pt x="229648" y="1213104"/>
                  </a:lnTo>
                  <a:lnTo>
                    <a:pt x="234029" y="1209389"/>
                  </a:lnTo>
                  <a:lnTo>
                    <a:pt x="235744" y="1197959"/>
                  </a:lnTo>
                  <a:lnTo>
                    <a:pt x="233743" y="1195007"/>
                  </a:lnTo>
                  <a:lnTo>
                    <a:pt x="232029" y="1193578"/>
                  </a:lnTo>
                  <a:lnTo>
                    <a:pt x="234696" y="1177195"/>
                  </a:lnTo>
                  <a:lnTo>
                    <a:pt x="231934" y="1167956"/>
                  </a:lnTo>
                  <a:lnTo>
                    <a:pt x="236029" y="1162622"/>
                  </a:lnTo>
                  <a:lnTo>
                    <a:pt x="240030" y="1155668"/>
                  </a:lnTo>
                  <a:lnTo>
                    <a:pt x="239554" y="1139666"/>
                  </a:lnTo>
                  <a:lnTo>
                    <a:pt x="242125" y="1134523"/>
                  </a:lnTo>
                  <a:lnTo>
                    <a:pt x="242888" y="1128046"/>
                  </a:lnTo>
                  <a:lnTo>
                    <a:pt x="239173" y="1123760"/>
                  </a:lnTo>
                  <a:lnTo>
                    <a:pt x="234601" y="1125855"/>
                  </a:lnTo>
                  <a:lnTo>
                    <a:pt x="227933" y="1123569"/>
                  </a:lnTo>
                  <a:lnTo>
                    <a:pt x="227266" y="1118807"/>
                  </a:lnTo>
                  <a:lnTo>
                    <a:pt x="223742" y="1116044"/>
                  </a:lnTo>
                  <a:lnTo>
                    <a:pt x="219361" y="1119854"/>
                  </a:lnTo>
                  <a:lnTo>
                    <a:pt x="217837" y="1120045"/>
                  </a:lnTo>
                  <a:lnTo>
                    <a:pt x="210884" y="1116044"/>
                  </a:lnTo>
                  <a:lnTo>
                    <a:pt x="210502" y="1112901"/>
                  </a:lnTo>
                  <a:lnTo>
                    <a:pt x="213646" y="1112520"/>
                  </a:lnTo>
                  <a:lnTo>
                    <a:pt x="214789" y="1109186"/>
                  </a:lnTo>
                  <a:lnTo>
                    <a:pt x="205168" y="1108805"/>
                  </a:lnTo>
                  <a:lnTo>
                    <a:pt x="204788" y="1105662"/>
                  </a:lnTo>
                  <a:lnTo>
                    <a:pt x="200025" y="1106234"/>
                  </a:lnTo>
                  <a:lnTo>
                    <a:pt x="196501" y="1103471"/>
                  </a:lnTo>
                  <a:lnTo>
                    <a:pt x="193357" y="1103948"/>
                  </a:lnTo>
                  <a:lnTo>
                    <a:pt x="190881" y="1097756"/>
                  </a:lnTo>
                  <a:lnTo>
                    <a:pt x="187547" y="1096613"/>
                  </a:lnTo>
                  <a:lnTo>
                    <a:pt x="195643" y="1097185"/>
                  </a:lnTo>
                  <a:lnTo>
                    <a:pt x="202787" y="1102709"/>
                  </a:lnTo>
                  <a:lnTo>
                    <a:pt x="210693" y="1101662"/>
                  </a:lnTo>
                  <a:lnTo>
                    <a:pt x="212026" y="1099947"/>
                  </a:lnTo>
                  <a:lnTo>
                    <a:pt x="216789" y="1099280"/>
                  </a:lnTo>
                  <a:lnTo>
                    <a:pt x="219742" y="1097280"/>
                  </a:lnTo>
                  <a:lnTo>
                    <a:pt x="216408" y="1096137"/>
                  </a:lnTo>
                  <a:lnTo>
                    <a:pt x="209836" y="1082516"/>
                  </a:lnTo>
                  <a:lnTo>
                    <a:pt x="200120" y="1082135"/>
                  </a:lnTo>
                  <a:lnTo>
                    <a:pt x="196405" y="1077849"/>
                  </a:lnTo>
                  <a:lnTo>
                    <a:pt x="198977" y="1072706"/>
                  </a:lnTo>
                  <a:lnTo>
                    <a:pt x="196977" y="1069753"/>
                  </a:lnTo>
                  <a:lnTo>
                    <a:pt x="198120" y="1066419"/>
                  </a:lnTo>
                  <a:lnTo>
                    <a:pt x="200120" y="1069372"/>
                  </a:lnTo>
                  <a:lnTo>
                    <a:pt x="200311" y="1070896"/>
                  </a:lnTo>
                  <a:lnTo>
                    <a:pt x="202120" y="1072325"/>
                  </a:lnTo>
                  <a:lnTo>
                    <a:pt x="204883" y="1068705"/>
                  </a:lnTo>
                  <a:lnTo>
                    <a:pt x="205073" y="1070324"/>
                  </a:lnTo>
                  <a:lnTo>
                    <a:pt x="206692" y="1070134"/>
                  </a:lnTo>
                  <a:lnTo>
                    <a:pt x="206692" y="1070134"/>
                  </a:lnTo>
                  <a:lnTo>
                    <a:pt x="208026" y="1068324"/>
                  </a:lnTo>
                  <a:lnTo>
                    <a:pt x="215741" y="1065752"/>
                  </a:lnTo>
                  <a:lnTo>
                    <a:pt x="219075" y="1066895"/>
                  </a:lnTo>
                  <a:lnTo>
                    <a:pt x="226123" y="1059656"/>
                  </a:lnTo>
                  <a:lnTo>
                    <a:pt x="221456" y="1060228"/>
                  </a:lnTo>
                  <a:lnTo>
                    <a:pt x="220789" y="1055465"/>
                  </a:lnTo>
                  <a:lnTo>
                    <a:pt x="216122" y="1056132"/>
                  </a:lnTo>
                  <a:lnTo>
                    <a:pt x="215932" y="1054513"/>
                  </a:lnTo>
                  <a:lnTo>
                    <a:pt x="212503" y="1053370"/>
                  </a:lnTo>
                  <a:lnTo>
                    <a:pt x="208026" y="1055561"/>
                  </a:lnTo>
                  <a:lnTo>
                    <a:pt x="210788" y="1051941"/>
                  </a:lnTo>
                  <a:lnTo>
                    <a:pt x="207359" y="1050798"/>
                  </a:lnTo>
                  <a:lnTo>
                    <a:pt x="203073" y="1054513"/>
                  </a:lnTo>
                  <a:lnTo>
                    <a:pt x="201073" y="1051560"/>
                  </a:lnTo>
                  <a:lnTo>
                    <a:pt x="198120" y="1053560"/>
                  </a:lnTo>
                  <a:lnTo>
                    <a:pt x="196977" y="1056894"/>
                  </a:lnTo>
                  <a:lnTo>
                    <a:pt x="194024" y="1058894"/>
                  </a:lnTo>
                  <a:lnTo>
                    <a:pt x="194405" y="1062037"/>
                  </a:lnTo>
                  <a:lnTo>
                    <a:pt x="189452" y="1061085"/>
                  </a:lnTo>
                  <a:lnTo>
                    <a:pt x="186690" y="1051846"/>
                  </a:lnTo>
                  <a:lnTo>
                    <a:pt x="190024" y="1052989"/>
                  </a:lnTo>
                  <a:lnTo>
                    <a:pt x="189833" y="1051465"/>
                  </a:lnTo>
                  <a:lnTo>
                    <a:pt x="186499" y="1050227"/>
                  </a:lnTo>
                  <a:lnTo>
                    <a:pt x="190595" y="1044893"/>
                  </a:lnTo>
                  <a:lnTo>
                    <a:pt x="186690" y="1038987"/>
                  </a:lnTo>
                  <a:lnTo>
                    <a:pt x="189166" y="1033844"/>
                  </a:lnTo>
                  <a:lnTo>
                    <a:pt x="198311" y="1029462"/>
                  </a:lnTo>
                  <a:lnTo>
                    <a:pt x="205740" y="1012507"/>
                  </a:lnTo>
                  <a:lnTo>
                    <a:pt x="228409" y="1001649"/>
                  </a:lnTo>
                  <a:lnTo>
                    <a:pt x="232886" y="999458"/>
                  </a:lnTo>
                  <a:lnTo>
                    <a:pt x="239268" y="998601"/>
                  </a:lnTo>
                  <a:lnTo>
                    <a:pt x="236125" y="998982"/>
                  </a:lnTo>
                  <a:lnTo>
                    <a:pt x="236887" y="1005364"/>
                  </a:lnTo>
                  <a:lnTo>
                    <a:pt x="238696" y="1006697"/>
                  </a:lnTo>
                  <a:lnTo>
                    <a:pt x="243554" y="1007650"/>
                  </a:lnTo>
                  <a:lnTo>
                    <a:pt x="245745" y="1012222"/>
                  </a:lnTo>
                  <a:lnTo>
                    <a:pt x="247364" y="1012031"/>
                  </a:lnTo>
                  <a:lnTo>
                    <a:pt x="247555" y="1013555"/>
                  </a:lnTo>
                  <a:lnTo>
                    <a:pt x="252317" y="1012984"/>
                  </a:lnTo>
                  <a:lnTo>
                    <a:pt x="254032" y="1014317"/>
                  </a:lnTo>
                  <a:lnTo>
                    <a:pt x="255079" y="1009460"/>
                  </a:lnTo>
                  <a:lnTo>
                    <a:pt x="256603" y="1009269"/>
                  </a:lnTo>
                  <a:lnTo>
                    <a:pt x="256222" y="1006031"/>
                  </a:lnTo>
                  <a:lnTo>
                    <a:pt x="257556" y="1004316"/>
                  </a:lnTo>
                  <a:lnTo>
                    <a:pt x="258413" y="997744"/>
                  </a:lnTo>
                  <a:lnTo>
                    <a:pt x="261366" y="995839"/>
                  </a:lnTo>
                  <a:lnTo>
                    <a:pt x="263652" y="989076"/>
                  </a:lnTo>
                  <a:lnTo>
                    <a:pt x="266795" y="988695"/>
                  </a:lnTo>
                  <a:lnTo>
                    <a:pt x="272986" y="986314"/>
                  </a:lnTo>
                  <a:lnTo>
                    <a:pt x="272510" y="983170"/>
                  </a:lnTo>
                  <a:lnTo>
                    <a:pt x="274320" y="984504"/>
                  </a:lnTo>
                  <a:lnTo>
                    <a:pt x="275749" y="982790"/>
                  </a:lnTo>
                  <a:lnTo>
                    <a:pt x="278892" y="982313"/>
                  </a:lnTo>
                  <a:lnTo>
                    <a:pt x="283178" y="978599"/>
                  </a:lnTo>
                  <a:lnTo>
                    <a:pt x="284988" y="979932"/>
                  </a:lnTo>
                  <a:lnTo>
                    <a:pt x="288893" y="973074"/>
                  </a:lnTo>
                  <a:lnTo>
                    <a:pt x="286703" y="968502"/>
                  </a:lnTo>
                  <a:lnTo>
                    <a:pt x="281559" y="965930"/>
                  </a:lnTo>
                  <a:lnTo>
                    <a:pt x="279559" y="962978"/>
                  </a:lnTo>
                  <a:lnTo>
                    <a:pt x="276225" y="961835"/>
                  </a:lnTo>
                  <a:lnTo>
                    <a:pt x="273272" y="963835"/>
                  </a:lnTo>
                  <a:lnTo>
                    <a:pt x="271939" y="965549"/>
                  </a:lnTo>
                  <a:lnTo>
                    <a:pt x="266033" y="969550"/>
                  </a:lnTo>
                  <a:lnTo>
                    <a:pt x="264223" y="968121"/>
                  </a:lnTo>
                  <a:lnTo>
                    <a:pt x="264795" y="960120"/>
                  </a:lnTo>
                  <a:lnTo>
                    <a:pt x="274034" y="957262"/>
                  </a:lnTo>
                  <a:lnTo>
                    <a:pt x="277178" y="944023"/>
                  </a:lnTo>
                  <a:lnTo>
                    <a:pt x="276415" y="937736"/>
                  </a:lnTo>
                  <a:lnTo>
                    <a:pt x="272605" y="933450"/>
                  </a:lnTo>
                  <a:lnTo>
                    <a:pt x="272224" y="930307"/>
                  </a:lnTo>
                  <a:lnTo>
                    <a:pt x="269843" y="924115"/>
                  </a:lnTo>
                  <a:lnTo>
                    <a:pt x="270796" y="919258"/>
                  </a:lnTo>
                  <a:lnTo>
                    <a:pt x="280321" y="918020"/>
                  </a:lnTo>
                  <a:lnTo>
                    <a:pt x="279463" y="911733"/>
                  </a:lnTo>
                  <a:lnTo>
                    <a:pt x="285369" y="907732"/>
                  </a:lnTo>
                  <a:lnTo>
                    <a:pt x="282226" y="908114"/>
                  </a:lnTo>
                  <a:lnTo>
                    <a:pt x="284416" y="899827"/>
                  </a:lnTo>
                  <a:lnTo>
                    <a:pt x="277463" y="895922"/>
                  </a:lnTo>
                  <a:lnTo>
                    <a:pt x="276415" y="888016"/>
                  </a:lnTo>
                  <a:lnTo>
                    <a:pt x="283369" y="879157"/>
                  </a:lnTo>
                  <a:lnTo>
                    <a:pt x="281368" y="876205"/>
                  </a:lnTo>
                  <a:lnTo>
                    <a:pt x="277654" y="871823"/>
                  </a:lnTo>
                  <a:lnTo>
                    <a:pt x="280321" y="868299"/>
                  </a:lnTo>
                  <a:lnTo>
                    <a:pt x="283750" y="869442"/>
                  </a:lnTo>
                  <a:lnTo>
                    <a:pt x="287464" y="860965"/>
                  </a:lnTo>
                  <a:lnTo>
                    <a:pt x="283464" y="855059"/>
                  </a:lnTo>
                  <a:lnTo>
                    <a:pt x="286607" y="854678"/>
                  </a:lnTo>
                  <a:lnTo>
                    <a:pt x="285464" y="845153"/>
                  </a:lnTo>
                  <a:lnTo>
                    <a:pt x="287179" y="846582"/>
                  </a:lnTo>
                  <a:lnTo>
                    <a:pt x="290417" y="846201"/>
                  </a:lnTo>
                  <a:lnTo>
                    <a:pt x="290132" y="844582"/>
                  </a:lnTo>
                  <a:lnTo>
                    <a:pt x="290417" y="846201"/>
                  </a:lnTo>
                  <a:lnTo>
                    <a:pt x="291941" y="845915"/>
                  </a:lnTo>
                  <a:lnTo>
                    <a:pt x="293370" y="844201"/>
                  </a:lnTo>
                  <a:lnTo>
                    <a:pt x="296704" y="845344"/>
                  </a:lnTo>
                  <a:lnTo>
                    <a:pt x="299657" y="843344"/>
                  </a:lnTo>
                  <a:lnTo>
                    <a:pt x="300228" y="848106"/>
                  </a:lnTo>
                  <a:lnTo>
                    <a:pt x="303181" y="846106"/>
                  </a:lnTo>
                  <a:lnTo>
                    <a:pt x="299657" y="830580"/>
                  </a:lnTo>
                  <a:lnTo>
                    <a:pt x="298037" y="817912"/>
                  </a:lnTo>
                  <a:lnTo>
                    <a:pt x="295656" y="811816"/>
                  </a:lnTo>
                  <a:lnTo>
                    <a:pt x="296609" y="806863"/>
                  </a:lnTo>
                  <a:lnTo>
                    <a:pt x="296228" y="803720"/>
                  </a:lnTo>
                  <a:lnTo>
                    <a:pt x="294418" y="802386"/>
                  </a:lnTo>
                  <a:lnTo>
                    <a:pt x="292417" y="799433"/>
                  </a:lnTo>
                  <a:lnTo>
                    <a:pt x="293656" y="796004"/>
                  </a:lnTo>
                  <a:lnTo>
                    <a:pt x="294799" y="792670"/>
                  </a:lnTo>
                  <a:lnTo>
                    <a:pt x="293941" y="786384"/>
                  </a:lnTo>
                  <a:lnTo>
                    <a:pt x="292227" y="784955"/>
                  </a:lnTo>
                  <a:lnTo>
                    <a:pt x="294799" y="779812"/>
                  </a:lnTo>
                  <a:lnTo>
                    <a:pt x="302419" y="777240"/>
                  </a:lnTo>
                  <a:lnTo>
                    <a:pt x="291370" y="778669"/>
                  </a:lnTo>
                  <a:lnTo>
                    <a:pt x="286226" y="776097"/>
                  </a:lnTo>
                  <a:lnTo>
                    <a:pt x="274034" y="768096"/>
                  </a:lnTo>
                  <a:lnTo>
                    <a:pt x="270034" y="762190"/>
                  </a:lnTo>
                  <a:lnTo>
                    <a:pt x="256984" y="760571"/>
                  </a:lnTo>
                  <a:lnTo>
                    <a:pt x="251841" y="758095"/>
                  </a:lnTo>
                  <a:lnTo>
                    <a:pt x="245936" y="762000"/>
                  </a:lnTo>
                  <a:lnTo>
                    <a:pt x="239459" y="761238"/>
                  </a:lnTo>
                  <a:lnTo>
                    <a:pt x="240792" y="759428"/>
                  </a:lnTo>
                  <a:lnTo>
                    <a:pt x="239077" y="758095"/>
                  </a:lnTo>
                  <a:lnTo>
                    <a:pt x="240411" y="756285"/>
                  </a:lnTo>
                  <a:lnTo>
                    <a:pt x="244030" y="759047"/>
                  </a:lnTo>
                  <a:lnTo>
                    <a:pt x="245554" y="758857"/>
                  </a:lnTo>
                  <a:lnTo>
                    <a:pt x="245745" y="747617"/>
                  </a:lnTo>
                  <a:lnTo>
                    <a:pt x="246507" y="741140"/>
                  </a:lnTo>
                  <a:lnTo>
                    <a:pt x="244697" y="739711"/>
                  </a:lnTo>
                  <a:lnTo>
                    <a:pt x="243745" y="731806"/>
                  </a:lnTo>
                  <a:lnTo>
                    <a:pt x="237649" y="734187"/>
                  </a:lnTo>
                  <a:lnTo>
                    <a:pt x="232505" y="731615"/>
                  </a:lnTo>
                  <a:lnTo>
                    <a:pt x="225742" y="729329"/>
                  </a:lnTo>
                  <a:lnTo>
                    <a:pt x="216503" y="732091"/>
                  </a:lnTo>
                  <a:lnTo>
                    <a:pt x="211931" y="734282"/>
                  </a:lnTo>
                  <a:lnTo>
                    <a:pt x="211931" y="734282"/>
                  </a:lnTo>
                  <a:lnTo>
                    <a:pt x="210407" y="734473"/>
                  </a:lnTo>
                  <a:lnTo>
                    <a:pt x="209359" y="726567"/>
                  </a:lnTo>
                  <a:lnTo>
                    <a:pt x="204978" y="717518"/>
                  </a:lnTo>
                  <a:lnTo>
                    <a:pt x="201644" y="716375"/>
                  </a:lnTo>
                  <a:lnTo>
                    <a:pt x="198691" y="718280"/>
                  </a:lnTo>
                  <a:lnTo>
                    <a:pt x="196977" y="716947"/>
                  </a:lnTo>
                  <a:lnTo>
                    <a:pt x="192976" y="711041"/>
                  </a:lnTo>
                  <a:lnTo>
                    <a:pt x="189833" y="711422"/>
                  </a:lnTo>
                  <a:lnTo>
                    <a:pt x="187833" y="695611"/>
                  </a:lnTo>
                  <a:lnTo>
                    <a:pt x="182880" y="694658"/>
                  </a:lnTo>
                  <a:lnTo>
                    <a:pt x="178879" y="688753"/>
                  </a:lnTo>
                  <a:lnTo>
                    <a:pt x="175736" y="689134"/>
                  </a:lnTo>
                  <a:lnTo>
                    <a:pt x="172402" y="687991"/>
                  </a:lnTo>
                  <a:lnTo>
                    <a:pt x="169640" y="691515"/>
                  </a:lnTo>
                  <a:lnTo>
                    <a:pt x="168021" y="691801"/>
                  </a:lnTo>
                  <a:lnTo>
                    <a:pt x="166497" y="691991"/>
                  </a:lnTo>
                  <a:lnTo>
                    <a:pt x="163163" y="690753"/>
                  </a:lnTo>
                  <a:lnTo>
                    <a:pt x="161734" y="692563"/>
                  </a:lnTo>
                  <a:lnTo>
                    <a:pt x="163925" y="697135"/>
                  </a:lnTo>
                  <a:lnTo>
                    <a:pt x="144970" y="699516"/>
                  </a:lnTo>
                  <a:lnTo>
                    <a:pt x="139827" y="696944"/>
                  </a:lnTo>
                  <a:lnTo>
                    <a:pt x="118777" y="694849"/>
                  </a:lnTo>
                  <a:lnTo>
                    <a:pt x="118300" y="691706"/>
                  </a:lnTo>
                  <a:lnTo>
                    <a:pt x="114967" y="690467"/>
                  </a:lnTo>
                  <a:lnTo>
                    <a:pt x="114586" y="687324"/>
                  </a:lnTo>
                  <a:lnTo>
                    <a:pt x="109252" y="683228"/>
                  </a:lnTo>
                  <a:lnTo>
                    <a:pt x="110585" y="681419"/>
                  </a:lnTo>
                  <a:lnTo>
                    <a:pt x="108680" y="678466"/>
                  </a:lnTo>
                  <a:lnTo>
                    <a:pt x="103537" y="675894"/>
                  </a:lnTo>
                  <a:lnTo>
                    <a:pt x="99917" y="673132"/>
                  </a:lnTo>
                  <a:lnTo>
                    <a:pt x="98393" y="673322"/>
                  </a:lnTo>
                  <a:lnTo>
                    <a:pt x="94774" y="670655"/>
                  </a:lnTo>
                  <a:lnTo>
                    <a:pt x="85534" y="673418"/>
                  </a:lnTo>
                  <a:lnTo>
                    <a:pt x="82772" y="664178"/>
                  </a:lnTo>
                  <a:lnTo>
                    <a:pt x="78010" y="664750"/>
                  </a:lnTo>
                  <a:lnTo>
                    <a:pt x="72866" y="662178"/>
                  </a:lnTo>
                  <a:lnTo>
                    <a:pt x="73438" y="654082"/>
                  </a:lnTo>
                  <a:lnTo>
                    <a:pt x="76771" y="655225"/>
                  </a:lnTo>
                  <a:lnTo>
                    <a:pt x="78010" y="651891"/>
                  </a:lnTo>
                  <a:lnTo>
                    <a:pt x="89249" y="652082"/>
                  </a:lnTo>
                  <a:lnTo>
                    <a:pt x="97726" y="655796"/>
                  </a:lnTo>
                  <a:lnTo>
                    <a:pt x="97345" y="652653"/>
                  </a:lnTo>
                  <a:lnTo>
                    <a:pt x="90583" y="650272"/>
                  </a:lnTo>
                  <a:lnTo>
                    <a:pt x="89059" y="650462"/>
                  </a:lnTo>
                  <a:lnTo>
                    <a:pt x="86296" y="641223"/>
                  </a:lnTo>
                  <a:lnTo>
                    <a:pt x="82867" y="640080"/>
                  </a:lnTo>
                  <a:lnTo>
                    <a:pt x="70294" y="641699"/>
                  </a:lnTo>
                  <a:lnTo>
                    <a:pt x="66294" y="648557"/>
                  </a:lnTo>
                  <a:lnTo>
                    <a:pt x="60007" y="649415"/>
                  </a:lnTo>
                  <a:lnTo>
                    <a:pt x="56483" y="646652"/>
                  </a:lnTo>
                  <a:lnTo>
                    <a:pt x="57626" y="643319"/>
                  </a:lnTo>
                  <a:lnTo>
                    <a:pt x="57245" y="640080"/>
                  </a:lnTo>
                  <a:lnTo>
                    <a:pt x="54292" y="642080"/>
                  </a:lnTo>
                  <a:lnTo>
                    <a:pt x="52102" y="637604"/>
                  </a:lnTo>
                  <a:lnTo>
                    <a:pt x="47815" y="641318"/>
                  </a:lnTo>
                  <a:lnTo>
                    <a:pt x="32956" y="638365"/>
                  </a:lnTo>
                  <a:lnTo>
                    <a:pt x="30861" y="646652"/>
                  </a:lnTo>
                  <a:lnTo>
                    <a:pt x="27622" y="647129"/>
                  </a:lnTo>
                  <a:lnTo>
                    <a:pt x="25336" y="653796"/>
                  </a:lnTo>
                  <a:lnTo>
                    <a:pt x="23717" y="653986"/>
                  </a:lnTo>
                  <a:lnTo>
                    <a:pt x="18764" y="653034"/>
                  </a:lnTo>
                  <a:lnTo>
                    <a:pt x="17812" y="645128"/>
                  </a:lnTo>
                  <a:lnTo>
                    <a:pt x="6763" y="646557"/>
                  </a:lnTo>
                  <a:lnTo>
                    <a:pt x="2191" y="648748"/>
                  </a:lnTo>
                  <a:lnTo>
                    <a:pt x="667" y="648938"/>
                  </a:lnTo>
                  <a:lnTo>
                    <a:pt x="0" y="644176"/>
                  </a:lnTo>
                  <a:lnTo>
                    <a:pt x="4191" y="638842"/>
                  </a:lnTo>
                  <a:lnTo>
                    <a:pt x="3524" y="634175"/>
                  </a:lnTo>
                  <a:lnTo>
                    <a:pt x="9430" y="630174"/>
                  </a:lnTo>
                  <a:lnTo>
                    <a:pt x="10858" y="628364"/>
                  </a:lnTo>
                  <a:lnTo>
                    <a:pt x="8858" y="625411"/>
                  </a:lnTo>
                  <a:lnTo>
                    <a:pt x="12954" y="620078"/>
                  </a:lnTo>
                  <a:lnTo>
                    <a:pt x="12382" y="615410"/>
                  </a:lnTo>
                  <a:lnTo>
                    <a:pt x="17335" y="616363"/>
                  </a:lnTo>
                  <a:lnTo>
                    <a:pt x="23622" y="615506"/>
                  </a:lnTo>
                  <a:lnTo>
                    <a:pt x="24003" y="605885"/>
                  </a:lnTo>
                  <a:lnTo>
                    <a:pt x="21622" y="599789"/>
                  </a:lnTo>
                  <a:lnTo>
                    <a:pt x="21431" y="598170"/>
                  </a:lnTo>
                  <a:lnTo>
                    <a:pt x="16478" y="597218"/>
                  </a:lnTo>
                  <a:lnTo>
                    <a:pt x="13906" y="589502"/>
                  </a:lnTo>
                  <a:lnTo>
                    <a:pt x="9811" y="594836"/>
                  </a:lnTo>
                  <a:lnTo>
                    <a:pt x="7810" y="591884"/>
                  </a:lnTo>
                  <a:lnTo>
                    <a:pt x="8382" y="583787"/>
                  </a:lnTo>
                  <a:lnTo>
                    <a:pt x="9144" y="577310"/>
                  </a:lnTo>
                  <a:lnTo>
                    <a:pt x="7144" y="574358"/>
                  </a:lnTo>
                  <a:lnTo>
                    <a:pt x="11525" y="570548"/>
                  </a:lnTo>
                  <a:lnTo>
                    <a:pt x="14859" y="571786"/>
                  </a:lnTo>
                  <a:lnTo>
                    <a:pt x="17621" y="568166"/>
                  </a:lnTo>
                  <a:lnTo>
                    <a:pt x="20764" y="567785"/>
                  </a:lnTo>
                  <a:lnTo>
                    <a:pt x="21526" y="561308"/>
                  </a:lnTo>
                  <a:lnTo>
                    <a:pt x="31242" y="561689"/>
                  </a:lnTo>
                  <a:lnTo>
                    <a:pt x="31242" y="561689"/>
                  </a:lnTo>
                  <a:lnTo>
                    <a:pt x="31432" y="563213"/>
                  </a:lnTo>
                  <a:lnTo>
                    <a:pt x="41434" y="566738"/>
                  </a:lnTo>
                  <a:lnTo>
                    <a:pt x="46196" y="566166"/>
                  </a:lnTo>
                  <a:lnTo>
                    <a:pt x="47149" y="561213"/>
                  </a:lnTo>
                  <a:lnTo>
                    <a:pt x="45434" y="559880"/>
                  </a:lnTo>
                  <a:lnTo>
                    <a:pt x="46577" y="556451"/>
                  </a:lnTo>
                  <a:lnTo>
                    <a:pt x="48387" y="557879"/>
                  </a:lnTo>
                  <a:lnTo>
                    <a:pt x="53054" y="557213"/>
                  </a:lnTo>
                  <a:lnTo>
                    <a:pt x="51911" y="547783"/>
                  </a:lnTo>
                  <a:lnTo>
                    <a:pt x="51721" y="546163"/>
                  </a:lnTo>
                  <a:lnTo>
                    <a:pt x="52102" y="536543"/>
                  </a:lnTo>
                  <a:lnTo>
                    <a:pt x="52483" y="539686"/>
                  </a:lnTo>
                  <a:lnTo>
                    <a:pt x="53816" y="537877"/>
                  </a:lnTo>
                  <a:lnTo>
                    <a:pt x="56007" y="542449"/>
                  </a:lnTo>
                  <a:lnTo>
                    <a:pt x="60960" y="543401"/>
                  </a:lnTo>
                  <a:lnTo>
                    <a:pt x="65913" y="544354"/>
                  </a:lnTo>
                  <a:lnTo>
                    <a:pt x="66865" y="539496"/>
                  </a:lnTo>
                  <a:lnTo>
                    <a:pt x="66103" y="533114"/>
                  </a:lnTo>
                  <a:lnTo>
                    <a:pt x="65246" y="526828"/>
                  </a:lnTo>
                  <a:lnTo>
                    <a:pt x="60103" y="524256"/>
                  </a:lnTo>
                  <a:lnTo>
                    <a:pt x="60103" y="524256"/>
                  </a:lnTo>
                  <a:lnTo>
                    <a:pt x="69628" y="523113"/>
                  </a:lnTo>
                  <a:lnTo>
                    <a:pt x="70580" y="518160"/>
                  </a:lnTo>
                  <a:lnTo>
                    <a:pt x="66008" y="507492"/>
                  </a:lnTo>
                  <a:lnTo>
                    <a:pt x="68770" y="503968"/>
                  </a:lnTo>
                  <a:lnTo>
                    <a:pt x="66199" y="496253"/>
                  </a:lnTo>
                  <a:lnTo>
                    <a:pt x="69913" y="500539"/>
                  </a:lnTo>
                  <a:lnTo>
                    <a:pt x="69723" y="499015"/>
                  </a:lnTo>
                  <a:lnTo>
                    <a:pt x="77629" y="497967"/>
                  </a:lnTo>
                  <a:lnTo>
                    <a:pt x="80581" y="496062"/>
                  </a:lnTo>
                  <a:lnTo>
                    <a:pt x="80391" y="494443"/>
                  </a:lnTo>
                  <a:lnTo>
                    <a:pt x="83534" y="494062"/>
                  </a:lnTo>
                  <a:lnTo>
                    <a:pt x="83534" y="494062"/>
                  </a:lnTo>
                  <a:lnTo>
                    <a:pt x="83153" y="490919"/>
                  </a:lnTo>
                  <a:lnTo>
                    <a:pt x="87820" y="490252"/>
                  </a:lnTo>
                  <a:lnTo>
                    <a:pt x="86106" y="488918"/>
                  </a:lnTo>
                  <a:lnTo>
                    <a:pt x="85249" y="482632"/>
                  </a:lnTo>
                  <a:lnTo>
                    <a:pt x="86868" y="482346"/>
                  </a:lnTo>
                  <a:lnTo>
                    <a:pt x="90202" y="483584"/>
                  </a:lnTo>
                  <a:lnTo>
                    <a:pt x="91345" y="480250"/>
                  </a:lnTo>
                  <a:lnTo>
                    <a:pt x="97726" y="479393"/>
                  </a:lnTo>
                  <a:lnTo>
                    <a:pt x="100013" y="472726"/>
                  </a:lnTo>
                  <a:lnTo>
                    <a:pt x="107728" y="470154"/>
                  </a:lnTo>
                  <a:lnTo>
                    <a:pt x="110871" y="469678"/>
                  </a:lnTo>
                  <a:lnTo>
                    <a:pt x="110680" y="468154"/>
                  </a:lnTo>
                  <a:lnTo>
                    <a:pt x="113633" y="466154"/>
                  </a:lnTo>
                  <a:lnTo>
                    <a:pt x="113633" y="466154"/>
                  </a:lnTo>
                  <a:lnTo>
                    <a:pt x="121348" y="476345"/>
                  </a:lnTo>
                  <a:lnTo>
                    <a:pt x="124777" y="477584"/>
                  </a:lnTo>
                  <a:lnTo>
                    <a:pt x="127730" y="475583"/>
                  </a:lnTo>
                  <a:lnTo>
                    <a:pt x="135541" y="474536"/>
                  </a:lnTo>
                  <a:lnTo>
                    <a:pt x="142684" y="467296"/>
                  </a:lnTo>
                  <a:lnTo>
                    <a:pt x="147828" y="469773"/>
                  </a:lnTo>
                  <a:lnTo>
                    <a:pt x="147352" y="466630"/>
                  </a:lnTo>
                  <a:lnTo>
                    <a:pt x="160782" y="458534"/>
                  </a:lnTo>
                  <a:lnTo>
                    <a:pt x="156591" y="451009"/>
                  </a:lnTo>
                  <a:lnTo>
                    <a:pt x="164973" y="453200"/>
                  </a:lnTo>
                  <a:lnTo>
                    <a:pt x="167926" y="451199"/>
                  </a:lnTo>
                  <a:lnTo>
                    <a:pt x="171640" y="442722"/>
                  </a:lnTo>
                  <a:lnTo>
                    <a:pt x="169831" y="441388"/>
                  </a:lnTo>
                  <a:lnTo>
                    <a:pt x="171164" y="439579"/>
                  </a:lnTo>
                  <a:lnTo>
                    <a:pt x="171450" y="441103"/>
                  </a:lnTo>
                  <a:lnTo>
                    <a:pt x="176117" y="440531"/>
                  </a:lnTo>
                  <a:lnTo>
                    <a:pt x="180308" y="435197"/>
                  </a:lnTo>
                  <a:lnTo>
                    <a:pt x="192691" y="419195"/>
                  </a:lnTo>
                  <a:lnTo>
                    <a:pt x="194691" y="422148"/>
                  </a:lnTo>
                  <a:lnTo>
                    <a:pt x="193262" y="423958"/>
                  </a:lnTo>
                  <a:lnTo>
                    <a:pt x="193262" y="436721"/>
                  </a:lnTo>
                  <a:lnTo>
                    <a:pt x="202597" y="433959"/>
                  </a:lnTo>
                  <a:lnTo>
                    <a:pt x="205930" y="435102"/>
                  </a:lnTo>
                  <a:lnTo>
                    <a:pt x="211264" y="439293"/>
                  </a:lnTo>
                  <a:lnTo>
                    <a:pt x="214408" y="438912"/>
                  </a:lnTo>
                  <a:lnTo>
                    <a:pt x="225076" y="434340"/>
                  </a:lnTo>
                  <a:lnTo>
                    <a:pt x="242792" y="435292"/>
                  </a:lnTo>
                  <a:lnTo>
                    <a:pt x="247936" y="437769"/>
                  </a:lnTo>
                  <a:lnTo>
                    <a:pt x="250317" y="431102"/>
                  </a:lnTo>
                  <a:lnTo>
                    <a:pt x="251079" y="424529"/>
                  </a:lnTo>
                  <a:lnTo>
                    <a:pt x="253079" y="427577"/>
                  </a:lnTo>
                  <a:lnTo>
                    <a:pt x="256794" y="419005"/>
                  </a:lnTo>
                  <a:lnTo>
                    <a:pt x="258794" y="421958"/>
                  </a:lnTo>
                  <a:lnTo>
                    <a:pt x="258032" y="428530"/>
                  </a:lnTo>
                  <a:lnTo>
                    <a:pt x="261175" y="428149"/>
                  </a:lnTo>
                  <a:lnTo>
                    <a:pt x="263747" y="423005"/>
                  </a:lnTo>
                  <a:lnTo>
                    <a:pt x="266890" y="422529"/>
                  </a:lnTo>
                  <a:lnTo>
                    <a:pt x="275177" y="411861"/>
                  </a:lnTo>
                  <a:lnTo>
                    <a:pt x="280607" y="404813"/>
                  </a:lnTo>
                  <a:lnTo>
                    <a:pt x="282988" y="398050"/>
                  </a:lnTo>
                  <a:lnTo>
                    <a:pt x="286131" y="397669"/>
                  </a:lnTo>
                  <a:lnTo>
                    <a:pt x="292036" y="393668"/>
                  </a:lnTo>
                  <a:lnTo>
                    <a:pt x="295180" y="393287"/>
                  </a:lnTo>
                  <a:lnTo>
                    <a:pt x="299180" y="399193"/>
                  </a:lnTo>
                  <a:lnTo>
                    <a:pt x="300323" y="395859"/>
                  </a:lnTo>
                  <a:lnTo>
                    <a:pt x="302133" y="397192"/>
                  </a:lnTo>
                  <a:lnTo>
                    <a:pt x="308705" y="410813"/>
                  </a:lnTo>
                  <a:lnTo>
                    <a:pt x="307943" y="417386"/>
                  </a:lnTo>
                  <a:lnTo>
                    <a:pt x="309848" y="420338"/>
                  </a:lnTo>
                  <a:lnTo>
                    <a:pt x="309848" y="420338"/>
                  </a:lnTo>
                  <a:lnTo>
                    <a:pt x="326993" y="416528"/>
                  </a:lnTo>
                  <a:lnTo>
                    <a:pt x="327374" y="406813"/>
                  </a:lnTo>
                  <a:lnTo>
                    <a:pt x="330327" y="404813"/>
                  </a:lnTo>
                  <a:lnTo>
                    <a:pt x="327946" y="398717"/>
                  </a:lnTo>
                  <a:lnTo>
                    <a:pt x="333661" y="393192"/>
                  </a:lnTo>
                  <a:lnTo>
                    <a:pt x="337661" y="386334"/>
                  </a:lnTo>
                  <a:lnTo>
                    <a:pt x="343948" y="385477"/>
                  </a:lnTo>
                  <a:lnTo>
                    <a:pt x="359473" y="381857"/>
                  </a:lnTo>
                  <a:lnTo>
                    <a:pt x="362712" y="381476"/>
                  </a:lnTo>
                  <a:lnTo>
                    <a:pt x="361474" y="384810"/>
                  </a:lnTo>
                  <a:lnTo>
                    <a:pt x="370522" y="380524"/>
                  </a:lnTo>
                  <a:lnTo>
                    <a:pt x="371761" y="377095"/>
                  </a:lnTo>
                  <a:lnTo>
                    <a:pt x="376428" y="376523"/>
                  </a:lnTo>
                  <a:lnTo>
                    <a:pt x="381000" y="374333"/>
                  </a:lnTo>
                  <a:lnTo>
                    <a:pt x="381762" y="367856"/>
                  </a:lnTo>
                  <a:lnTo>
                    <a:pt x="384905" y="367475"/>
                  </a:lnTo>
                  <a:lnTo>
                    <a:pt x="384715" y="365855"/>
                  </a:lnTo>
                  <a:lnTo>
                    <a:pt x="388048" y="366998"/>
                  </a:lnTo>
                  <a:lnTo>
                    <a:pt x="390811" y="363474"/>
                  </a:lnTo>
                  <a:lnTo>
                    <a:pt x="392049" y="360140"/>
                  </a:lnTo>
                  <a:lnTo>
                    <a:pt x="390811" y="350615"/>
                  </a:lnTo>
                  <a:lnTo>
                    <a:pt x="390430" y="347472"/>
                  </a:lnTo>
                  <a:lnTo>
                    <a:pt x="387287" y="347853"/>
                  </a:lnTo>
                  <a:lnTo>
                    <a:pt x="388810" y="347663"/>
                  </a:lnTo>
                  <a:lnTo>
                    <a:pt x="388620" y="346138"/>
                  </a:lnTo>
                  <a:lnTo>
                    <a:pt x="395192" y="346900"/>
                  </a:lnTo>
                  <a:lnTo>
                    <a:pt x="395383" y="348425"/>
                  </a:lnTo>
                  <a:lnTo>
                    <a:pt x="401669" y="347663"/>
                  </a:lnTo>
                  <a:lnTo>
                    <a:pt x="402050" y="350806"/>
                  </a:lnTo>
                  <a:lnTo>
                    <a:pt x="414909" y="350806"/>
                  </a:lnTo>
                  <a:lnTo>
                    <a:pt x="418052" y="350425"/>
                  </a:lnTo>
                  <a:lnTo>
                    <a:pt x="417862" y="348806"/>
                  </a:lnTo>
                  <a:lnTo>
                    <a:pt x="415862" y="345853"/>
                  </a:lnTo>
                  <a:lnTo>
                    <a:pt x="417481" y="345662"/>
                  </a:lnTo>
                  <a:lnTo>
                    <a:pt x="417195" y="344043"/>
                  </a:lnTo>
                  <a:lnTo>
                    <a:pt x="415480" y="342710"/>
                  </a:lnTo>
                  <a:lnTo>
                    <a:pt x="417767" y="335947"/>
                  </a:lnTo>
                  <a:lnTo>
                    <a:pt x="413861" y="330041"/>
                  </a:lnTo>
                  <a:lnTo>
                    <a:pt x="410718" y="330517"/>
                  </a:lnTo>
                  <a:lnTo>
                    <a:pt x="408908" y="316230"/>
                  </a:lnTo>
                  <a:lnTo>
                    <a:pt x="416623" y="313658"/>
                  </a:lnTo>
                  <a:lnTo>
                    <a:pt x="414814" y="312325"/>
                  </a:lnTo>
                  <a:lnTo>
                    <a:pt x="419576" y="311753"/>
                  </a:lnTo>
                  <a:lnTo>
                    <a:pt x="422053" y="306610"/>
                  </a:lnTo>
                  <a:lnTo>
                    <a:pt x="425196" y="306134"/>
                  </a:lnTo>
                  <a:lnTo>
                    <a:pt x="427958" y="302609"/>
                  </a:lnTo>
                  <a:lnTo>
                    <a:pt x="435673" y="300038"/>
                  </a:lnTo>
                  <a:lnTo>
                    <a:pt x="441388" y="307277"/>
                  </a:lnTo>
                  <a:lnTo>
                    <a:pt x="444817" y="308515"/>
                  </a:lnTo>
                  <a:lnTo>
                    <a:pt x="444151" y="303752"/>
                  </a:lnTo>
                  <a:lnTo>
                    <a:pt x="447294" y="303371"/>
                  </a:lnTo>
                  <a:lnTo>
                    <a:pt x="447104" y="301752"/>
                  </a:lnTo>
                  <a:lnTo>
                    <a:pt x="459200" y="308229"/>
                  </a:lnTo>
                  <a:lnTo>
                    <a:pt x="469011" y="310229"/>
                  </a:lnTo>
                  <a:lnTo>
                    <a:pt x="471011" y="313182"/>
                  </a:lnTo>
                  <a:lnTo>
                    <a:pt x="474155" y="312801"/>
                  </a:lnTo>
                  <a:lnTo>
                    <a:pt x="474631" y="315944"/>
                  </a:lnTo>
                  <a:lnTo>
                    <a:pt x="476155" y="315754"/>
                  </a:lnTo>
                  <a:lnTo>
                    <a:pt x="489013" y="315659"/>
                  </a:lnTo>
                  <a:lnTo>
                    <a:pt x="503396" y="315468"/>
                  </a:lnTo>
                  <a:lnTo>
                    <a:pt x="503777" y="318611"/>
                  </a:lnTo>
                  <a:lnTo>
                    <a:pt x="510350" y="319373"/>
                  </a:lnTo>
                  <a:lnTo>
                    <a:pt x="519970" y="319754"/>
                  </a:lnTo>
                  <a:lnTo>
                    <a:pt x="521780" y="321088"/>
                  </a:lnTo>
                  <a:lnTo>
                    <a:pt x="523113" y="319373"/>
                  </a:lnTo>
                  <a:lnTo>
                    <a:pt x="538925" y="317373"/>
                  </a:lnTo>
                  <a:lnTo>
                    <a:pt x="540258" y="315563"/>
                  </a:lnTo>
                  <a:lnTo>
                    <a:pt x="548640" y="317754"/>
                  </a:lnTo>
                  <a:lnTo>
                    <a:pt x="550926" y="310991"/>
                  </a:lnTo>
                  <a:lnTo>
                    <a:pt x="548735" y="306419"/>
                  </a:lnTo>
                  <a:lnTo>
                    <a:pt x="558832" y="310039"/>
                  </a:lnTo>
                  <a:lnTo>
                    <a:pt x="557498" y="311753"/>
                  </a:lnTo>
                  <a:lnTo>
                    <a:pt x="561404" y="317659"/>
                  </a:lnTo>
                  <a:lnTo>
                    <a:pt x="562642" y="314325"/>
                  </a:lnTo>
                  <a:lnTo>
                    <a:pt x="569500" y="318230"/>
                  </a:lnTo>
                  <a:lnTo>
                    <a:pt x="569119" y="315087"/>
                  </a:lnTo>
                  <a:lnTo>
                    <a:pt x="572452" y="316230"/>
                  </a:lnTo>
                  <a:lnTo>
                    <a:pt x="573405" y="311372"/>
                  </a:lnTo>
                  <a:lnTo>
                    <a:pt x="589026" y="320611"/>
                  </a:lnTo>
                  <a:lnTo>
                    <a:pt x="593979" y="321564"/>
                  </a:lnTo>
                  <a:lnTo>
                    <a:pt x="594360" y="324707"/>
                  </a:lnTo>
                  <a:lnTo>
                    <a:pt x="596170" y="326041"/>
                  </a:lnTo>
                  <a:lnTo>
                    <a:pt x="599694" y="316040"/>
                  </a:lnTo>
                  <a:lnTo>
                    <a:pt x="601313" y="315849"/>
                  </a:lnTo>
                  <a:lnTo>
                    <a:pt x="605600" y="312039"/>
                  </a:lnTo>
                  <a:lnTo>
                    <a:pt x="605218" y="308896"/>
                  </a:lnTo>
                  <a:lnTo>
                    <a:pt x="608933" y="300419"/>
                  </a:lnTo>
                  <a:lnTo>
                    <a:pt x="610743" y="301752"/>
                  </a:lnTo>
                  <a:lnTo>
                    <a:pt x="614839" y="296418"/>
                  </a:lnTo>
                  <a:lnTo>
                    <a:pt x="621983" y="301942"/>
                  </a:lnTo>
                  <a:lnTo>
                    <a:pt x="626935" y="302895"/>
                  </a:lnTo>
                  <a:lnTo>
                    <a:pt x="628269" y="301181"/>
                  </a:lnTo>
                  <a:lnTo>
                    <a:pt x="628079" y="299561"/>
                  </a:lnTo>
                  <a:lnTo>
                    <a:pt x="633222" y="302133"/>
                  </a:lnTo>
                  <a:lnTo>
                    <a:pt x="637984" y="301561"/>
                  </a:lnTo>
                  <a:lnTo>
                    <a:pt x="635794" y="296990"/>
                  </a:lnTo>
                  <a:lnTo>
                    <a:pt x="647224" y="298704"/>
                  </a:lnTo>
                  <a:lnTo>
                    <a:pt x="646652" y="294037"/>
                  </a:lnTo>
                  <a:lnTo>
                    <a:pt x="649986" y="295180"/>
                  </a:lnTo>
                  <a:lnTo>
                    <a:pt x="651319" y="293370"/>
                  </a:lnTo>
                  <a:lnTo>
                    <a:pt x="657892" y="294132"/>
                  </a:lnTo>
                  <a:lnTo>
                    <a:pt x="658082" y="295751"/>
                  </a:lnTo>
                  <a:lnTo>
                    <a:pt x="661416" y="296894"/>
                  </a:lnTo>
                  <a:lnTo>
                    <a:pt x="661606" y="298513"/>
                  </a:lnTo>
                  <a:lnTo>
                    <a:pt x="664940" y="299657"/>
                  </a:lnTo>
                  <a:lnTo>
                    <a:pt x="665607" y="304419"/>
                  </a:lnTo>
                  <a:lnTo>
                    <a:pt x="666750" y="301085"/>
                  </a:lnTo>
                  <a:lnTo>
                    <a:pt x="670084" y="302228"/>
                  </a:lnTo>
                  <a:lnTo>
                    <a:pt x="666559" y="299466"/>
                  </a:lnTo>
                  <a:lnTo>
                    <a:pt x="669703" y="299085"/>
                  </a:lnTo>
                  <a:lnTo>
                    <a:pt x="671513" y="300419"/>
                  </a:lnTo>
                  <a:lnTo>
                    <a:pt x="670084" y="302228"/>
                  </a:lnTo>
                  <a:lnTo>
                    <a:pt x="670274" y="303848"/>
                  </a:lnTo>
                  <a:lnTo>
                    <a:pt x="674656" y="300038"/>
                  </a:lnTo>
                  <a:lnTo>
                    <a:pt x="676180" y="299847"/>
                  </a:lnTo>
                  <a:lnTo>
                    <a:pt x="681323" y="289560"/>
                  </a:lnTo>
                  <a:lnTo>
                    <a:pt x="679704" y="289750"/>
                  </a:lnTo>
                  <a:lnTo>
                    <a:pt x="680752" y="284798"/>
                  </a:lnTo>
                  <a:lnTo>
                    <a:pt x="679133" y="285083"/>
                  </a:lnTo>
                  <a:lnTo>
                    <a:pt x="680561" y="283273"/>
                  </a:lnTo>
                  <a:lnTo>
                    <a:pt x="677132" y="282131"/>
                  </a:lnTo>
                  <a:lnTo>
                    <a:pt x="678561" y="280321"/>
                  </a:lnTo>
                  <a:lnTo>
                    <a:pt x="677323" y="270796"/>
                  </a:lnTo>
                  <a:lnTo>
                    <a:pt x="684085" y="273177"/>
                  </a:lnTo>
                  <a:lnTo>
                    <a:pt x="683800" y="258794"/>
                  </a:lnTo>
                  <a:lnTo>
                    <a:pt x="683228" y="254032"/>
                  </a:lnTo>
                  <a:lnTo>
                    <a:pt x="684752" y="253841"/>
                  </a:lnTo>
                  <a:lnTo>
                    <a:pt x="685990" y="250508"/>
                  </a:lnTo>
                  <a:lnTo>
                    <a:pt x="682371" y="247745"/>
                  </a:lnTo>
                  <a:lnTo>
                    <a:pt x="679037" y="246602"/>
                  </a:lnTo>
                  <a:lnTo>
                    <a:pt x="678466" y="241840"/>
                  </a:lnTo>
                  <a:lnTo>
                    <a:pt x="674942" y="239077"/>
                  </a:lnTo>
                  <a:lnTo>
                    <a:pt x="674465" y="235934"/>
                  </a:lnTo>
                  <a:lnTo>
                    <a:pt x="678847" y="232124"/>
                  </a:lnTo>
                  <a:lnTo>
                    <a:pt x="680847" y="235077"/>
                  </a:lnTo>
                  <a:lnTo>
                    <a:pt x="683800" y="233172"/>
                  </a:lnTo>
                  <a:lnTo>
                    <a:pt x="680180" y="230410"/>
                  </a:lnTo>
                  <a:lnTo>
                    <a:pt x="679799" y="227267"/>
                  </a:lnTo>
                  <a:lnTo>
                    <a:pt x="676275" y="224504"/>
                  </a:lnTo>
                  <a:lnTo>
                    <a:pt x="677418" y="221075"/>
                  </a:lnTo>
                  <a:lnTo>
                    <a:pt x="679228" y="222504"/>
                  </a:lnTo>
                  <a:lnTo>
                    <a:pt x="678751" y="219361"/>
                  </a:lnTo>
                  <a:lnTo>
                    <a:pt x="677037" y="217932"/>
                  </a:lnTo>
                  <a:lnTo>
                    <a:pt x="676847" y="216408"/>
                  </a:lnTo>
                  <a:lnTo>
                    <a:pt x="673227" y="213646"/>
                  </a:lnTo>
                  <a:lnTo>
                    <a:pt x="673037" y="212027"/>
                  </a:lnTo>
                  <a:lnTo>
                    <a:pt x="675989" y="210026"/>
                  </a:lnTo>
                  <a:lnTo>
                    <a:pt x="679133" y="209645"/>
                  </a:lnTo>
                  <a:lnTo>
                    <a:pt x="680371" y="206311"/>
                  </a:lnTo>
                  <a:lnTo>
                    <a:pt x="683323" y="204311"/>
                  </a:lnTo>
                  <a:lnTo>
                    <a:pt x="695992" y="215551"/>
                  </a:lnTo>
                  <a:lnTo>
                    <a:pt x="711137" y="221647"/>
                  </a:lnTo>
                  <a:lnTo>
                    <a:pt x="712375" y="218313"/>
                  </a:lnTo>
                  <a:lnTo>
                    <a:pt x="715709" y="219456"/>
                  </a:lnTo>
                  <a:lnTo>
                    <a:pt x="712089" y="216694"/>
                  </a:lnTo>
                  <a:lnTo>
                    <a:pt x="714851" y="213169"/>
                  </a:lnTo>
                  <a:lnTo>
                    <a:pt x="713137" y="211741"/>
                  </a:lnTo>
                  <a:lnTo>
                    <a:pt x="708374" y="212312"/>
                  </a:lnTo>
                  <a:lnTo>
                    <a:pt x="706564" y="210979"/>
                  </a:lnTo>
                  <a:lnTo>
                    <a:pt x="710755" y="205645"/>
                  </a:lnTo>
                  <a:lnTo>
                    <a:pt x="714280" y="208407"/>
                  </a:lnTo>
                  <a:lnTo>
                    <a:pt x="715423" y="205073"/>
                  </a:lnTo>
                  <a:lnTo>
                    <a:pt x="712089" y="203835"/>
                  </a:lnTo>
                  <a:lnTo>
                    <a:pt x="713708" y="203644"/>
                  </a:lnTo>
                  <a:lnTo>
                    <a:pt x="718185" y="201454"/>
                  </a:lnTo>
                  <a:lnTo>
                    <a:pt x="716185" y="185738"/>
                  </a:lnTo>
                  <a:lnTo>
                    <a:pt x="726853" y="193929"/>
                  </a:lnTo>
                  <a:lnTo>
                    <a:pt x="734759" y="192977"/>
                  </a:lnTo>
                  <a:lnTo>
                    <a:pt x="733806" y="185071"/>
                  </a:lnTo>
                  <a:lnTo>
                    <a:pt x="742474" y="190405"/>
                  </a:lnTo>
                  <a:lnTo>
                    <a:pt x="750570" y="190976"/>
                  </a:lnTo>
                  <a:lnTo>
                    <a:pt x="749141" y="179927"/>
                  </a:lnTo>
                  <a:lnTo>
                    <a:pt x="750284" y="176498"/>
                  </a:lnTo>
                  <a:lnTo>
                    <a:pt x="749713" y="171831"/>
                  </a:lnTo>
                  <a:lnTo>
                    <a:pt x="750856" y="168497"/>
                  </a:lnTo>
                  <a:lnTo>
                    <a:pt x="745998" y="167450"/>
                  </a:lnTo>
                  <a:lnTo>
                    <a:pt x="749141" y="167069"/>
                  </a:lnTo>
                  <a:lnTo>
                    <a:pt x="749522" y="157448"/>
                  </a:lnTo>
                  <a:lnTo>
                    <a:pt x="738759" y="136303"/>
                  </a:lnTo>
                  <a:lnTo>
                    <a:pt x="751237" y="133160"/>
                  </a:lnTo>
                  <a:lnTo>
                    <a:pt x="748189" y="122301"/>
                  </a:lnTo>
                  <a:lnTo>
                    <a:pt x="760095" y="127159"/>
                  </a:lnTo>
                  <a:lnTo>
                    <a:pt x="761619" y="126968"/>
                  </a:lnTo>
                  <a:lnTo>
                    <a:pt x="760857" y="133540"/>
                  </a:lnTo>
                  <a:lnTo>
                    <a:pt x="767429" y="134302"/>
                  </a:lnTo>
                  <a:lnTo>
                    <a:pt x="766001" y="136017"/>
                  </a:lnTo>
                  <a:lnTo>
                    <a:pt x="769810" y="140398"/>
                  </a:lnTo>
                  <a:lnTo>
                    <a:pt x="772097" y="133636"/>
                  </a:lnTo>
                  <a:lnTo>
                    <a:pt x="770382" y="132302"/>
                  </a:lnTo>
                  <a:lnTo>
                    <a:pt x="775430" y="122015"/>
                  </a:lnTo>
                  <a:lnTo>
                    <a:pt x="786479" y="120586"/>
                  </a:lnTo>
                  <a:lnTo>
                    <a:pt x="783526" y="122587"/>
                  </a:lnTo>
                  <a:lnTo>
                    <a:pt x="787337" y="126968"/>
                  </a:lnTo>
                  <a:lnTo>
                    <a:pt x="789908" y="134588"/>
                  </a:lnTo>
                  <a:lnTo>
                    <a:pt x="791623" y="136017"/>
                  </a:lnTo>
                  <a:lnTo>
                    <a:pt x="799909" y="138113"/>
                  </a:lnTo>
                  <a:lnTo>
                    <a:pt x="804672" y="137541"/>
                  </a:lnTo>
                  <a:lnTo>
                    <a:pt x="807434" y="134017"/>
                  </a:lnTo>
                  <a:lnTo>
                    <a:pt x="801910" y="128302"/>
                  </a:lnTo>
                  <a:lnTo>
                    <a:pt x="801719" y="126683"/>
                  </a:lnTo>
                  <a:lnTo>
                    <a:pt x="811339" y="127063"/>
                  </a:lnTo>
                  <a:lnTo>
                    <a:pt x="812768" y="125254"/>
                  </a:lnTo>
                  <a:lnTo>
                    <a:pt x="815340" y="120110"/>
                  </a:lnTo>
                  <a:lnTo>
                    <a:pt x="821817" y="120967"/>
                  </a:lnTo>
                  <a:lnTo>
                    <a:pt x="823436" y="120682"/>
                  </a:lnTo>
                  <a:lnTo>
                    <a:pt x="823627" y="122301"/>
                  </a:lnTo>
                  <a:lnTo>
                    <a:pt x="822198" y="124111"/>
                  </a:lnTo>
                  <a:lnTo>
                    <a:pt x="822865" y="128778"/>
                  </a:lnTo>
                  <a:lnTo>
                    <a:pt x="821436" y="130588"/>
                  </a:lnTo>
                  <a:lnTo>
                    <a:pt x="826960" y="136303"/>
                  </a:lnTo>
                  <a:lnTo>
                    <a:pt x="825246" y="134969"/>
                  </a:lnTo>
                  <a:lnTo>
                    <a:pt x="822484" y="138494"/>
                  </a:lnTo>
                  <a:lnTo>
                    <a:pt x="821436" y="143446"/>
                  </a:lnTo>
                  <a:lnTo>
                    <a:pt x="823246" y="144780"/>
                  </a:lnTo>
                  <a:lnTo>
                    <a:pt x="824675" y="155829"/>
                  </a:lnTo>
                  <a:lnTo>
                    <a:pt x="830199" y="161544"/>
                  </a:lnTo>
                  <a:lnTo>
                    <a:pt x="831818" y="161354"/>
                  </a:lnTo>
                  <a:lnTo>
                    <a:pt x="832771" y="156400"/>
                  </a:lnTo>
                  <a:lnTo>
                    <a:pt x="834771" y="159353"/>
                  </a:lnTo>
                  <a:lnTo>
                    <a:pt x="836105" y="157639"/>
                  </a:lnTo>
                  <a:lnTo>
                    <a:pt x="836295" y="159163"/>
                  </a:lnTo>
                  <a:lnTo>
                    <a:pt x="839438" y="158782"/>
                  </a:lnTo>
                  <a:lnTo>
                    <a:pt x="838105" y="160592"/>
                  </a:lnTo>
                  <a:lnTo>
                    <a:pt x="838105" y="160592"/>
                  </a:lnTo>
                  <a:lnTo>
                    <a:pt x="843248" y="163068"/>
                  </a:lnTo>
                  <a:lnTo>
                    <a:pt x="845248" y="166021"/>
                  </a:lnTo>
                  <a:lnTo>
                    <a:pt x="847915" y="162496"/>
                  </a:lnTo>
                  <a:lnTo>
                    <a:pt x="845820" y="157925"/>
                  </a:lnTo>
                  <a:lnTo>
                    <a:pt x="849916" y="152590"/>
                  </a:lnTo>
                  <a:lnTo>
                    <a:pt x="850297" y="155829"/>
                  </a:lnTo>
                  <a:lnTo>
                    <a:pt x="856869" y="156591"/>
                  </a:lnTo>
                  <a:lnTo>
                    <a:pt x="858393" y="156400"/>
                  </a:lnTo>
                  <a:lnTo>
                    <a:pt x="859155" y="149828"/>
                  </a:lnTo>
                  <a:lnTo>
                    <a:pt x="864108" y="150781"/>
                  </a:lnTo>
                  <a:lnTo>
                    <a:pt x="866299" y="155353"/>
                  </a:lnTo>
                  <a:lnTo>
                    <a:pt x="871252" y="156305"/>
                  </a:lnTo>
                  <a:lnTo>
                    <a:pt x="870585" y="151638"/>
                  </a:lnTo>
                  <a:lnTo>
                    <a:pt x="872014" y="149828"/>
                  </a:lnTo>
                  <a:lnTo>
                    <a:pt x="883444" y="151543"/>
                  </a:lnTo>
                  <a:lnTo>
                    <a:pt x="889730" y="150781"/>
                  </a:lnTo>
                  <a:lnTo>
                    <a:pt x="889540" y="149161"/>
                  </a:lnTo>
                  <a:lnTo>
                    <a:pt x="900017" y="155829"/>
                  </a:lnTo>
                  <a:lnTo>
                    <a:pt x="900017" y="155829"/>
                  </a:lnTo>
                  <a:lnTo>
                    <a:pt x="900779" y="155543"/>
                  </a:lnTo>
                  <a:lnTo>
                    <a:pt x="901446" y="154115"/>
                  </a:lnTo>
                  <a:lnTo>
                    <a:pt x="898398" y="143256"/>
                  </a:lnTo>
                  <a:lnTo>
                    <a:pt x="904494" y="140875"/>
                  </a:lnTo>
                  <a:lnTo>
                    <a:pt x="904304" y="139256"/>
                  </a:lnTo>
                  <a:lnTo>
                    <a:pt x="914019" y="139636"/>
                  </a:lnTo>
                  <a:lnTo>
                    <a:pt x="916781" y="136112"/>
                  </a:lnTo>
                  <a:lnTo>
                    <a:pt x="920115" y="137255"/>
                  </a:lnTo>
                  <a:lnTo>
                    <a:pt x="923830" y="115919"/>
                  </a:lnTo>
                  <a:lnTo>
                    <a:pt x="923449" y="112776"/>
                  </a:lnTo>
                  <a:lnTo>
                    <a:pt x="943165" y="116681"/>
                  </a:lnTo>
                  <a:lnTo>
                    <a:pt x="944309" y="113348"/>
                  </a:lnTo>
                  <a:lnTo>
                    <a:pt x="946309" y="103442"/>
                  </a:lnTo>
                  <a:lnTo>
                    <a:pt x="940308" y="81820"/>
                  </a:lnTo>
                  <a:lnTo>
                    <a:pt x="940498" y="70485"/>
                  </a:lnTo>
                  <a:lnTo>
                    <a:pt x="975074" y="77343"/>
                  </a:lnTo>
                  <a:lnTo>
                    <a:pt x="994410" y="90869"/>
                  </a:lnTo>
                  <a:lnTo>
                    <a:pt x="1008602" y="76295"/>
                  </a:lnTo>
                  <a:lnTo>
                    <a:pt x="1011746" y="75914"/>
                  </a:lnTo>
                  <a:lnTo>
                    <a:pt x="1014508" y="72295"/>
                  </a:lnTo>
                  <a:lnTo>
                    <a:pt x="1015651" y="68961"/>
                  </a:lnTo>
                  <a:lnTo>
                    <a:pt x="1013651" y="66008"/>
                  </a:lnTo>
                  <a:lnTo>
                    <a:pt x="1008317" y="61913"/>
                  </a:lnTo>
                  <a:lnTo>
                    <a:pt x="1009269" y="56959"/>
                  </a:lnTo>
                  <a:lnTo>
                    <a:pt x="1007364" y="54007"/>
                  </a:lnTo>
                  <a:lnTo>
                    <a:pt x="1019747" y="50768"/>
                  </a:lnTo>
                  <a:lnTo>
                    <a:pt x="1019556" y="49244"/>
                  </a:lnTo>
                  <a:lnTo>
                    <a:pt x="1027081" y="45053"/>
                  </a:lnTo>
                  <a:lnTo>
                    <a:pt x="1031748" y="44482"/>
                  </a:lnTo>
                  <a:lnTo>
                    <a:pt x="1034891" y="44005"/>
                  </a:lnTo>
                  <a:lnTo>
                    <a:pt x="1037654" y="40481"/>
                  </a:lnTo>
                  <a:lnTo>
                    <a:pt x="1038320" y="45244"/>
                  </a:lnTo>
                  <a:lnTo>
                    <a:pt x="1044035" y="39719"/>
                  </a:lnTo>
                  <a:lnTo>
                    <a:pt x="1050131" y="37338"/>
                  </a:lnTo>
                  <a:lnTo>
                    <a:pt x="1045750" y="28289"/>
                  </a:lnTo>
                  <a:lnTo>
                    <a:pt x="1047369" y="28003"/>
                  </a:lnTo>
                  <a:lnTo>
                    <a:pt x="1042988" y="18955"/>
                  </a:lnTo>
                  <a:lnTo>
                    <a:pt x="1039844" y="19336"/>
                  </a:lnTo>
                  <a:lnTo>
                    <a:pt x="1045940" y="16954"/>
                  </a:lnTo>
                  <a:lnTo>
                    <a:pt x="1047274" y="15240"/>
                  </a:lnTo>
                  <a:lnTo>
                    <a:pt x="1050608" y="16383"/>
                  </a:lnTo>
                  <a:lnTo>
                    <a:pt x="1050417" y="14859"/>
                  </a:lnTo>
                  <a:lnTo>
                    <a:pt x="1053656" y="14383"/>
                  </a:lnTo>
                  <a:lnTo>
                    <a:pt x="1055370" y="15811"/>
                  </a:lnTo>
                  <a:lnTo>
                    <a:pt x="1048798" y="2191"/>
                  </a:lnTo>
                  <a:lnTo>
                    <a:pt x="1053370" y="0"/>
                  </a:lnTo>
                  <a:lnTo>
                    <a:pt x="1066419" y="1524"/>
                  </a:lnTo>
                  <a:lnTo>
                    <a:pt x="1064990" y="3334"/>
                  </a:lnTo>
                  <a:lnTo>
                    <a:pt x="1067372" y="9430"/>
                  </a:lnTo>
                  <a:lnTo>
                    <a:pt x="1064419" y="11430"/>
                  </a:lnTo>
                  <a:lnTo>
                    <a:pt x="1066419" y="14383"/>
                  </a:lnTo>
                  <a:lnTo>
                    <a:pt x="1069562" y="14002"/>
                  </a:lnTo>
                  <a:lnTo>
                    <a:pt x="1073182" y="16764"/>
                  </a:lnTo>
                  <a:lnTo>
                    <a:pt x="1072706" y="13621"/>
                  </a:lnTo>
                  <a:lnTo>
                    <a:pt x="1077659" y="14573"/>
                  </a:lnTo>
                  <a:lnTo>
                    <a:pt x="1082040" y="23622"/>
                  </a:lnTo>
                  <a:lnTo>
                    <a:pt x="1077277" y="24194"/>
                  </a:lnTo>
                  <a:lnTo>
                    <a:pt x="1080706" y="25432"/>
                  </a:lnTo>
                  <a:lnTo>
                    <a:pt x="1082612" y="28384"/>
                  </a:lnTo>
                  <a:lnTo>
                    <a:pt x="1087374" y="27718"/>
                  </a:lnTo>
                  <a:lnTo>
                    <a:pt x="1090898" y="30480"/>
                  </a:lnTo>
                  <a:lnTo>
                    <a:pt x="1090136" y="24194"/>
                  </a:lnTo>
                  <a:lnTo>
                    <a:pt x="1094899" y="23622"/>
                  </a:lnTo>
                  <a:lnTo>
                    <a:pt x="1095661" y="17050"/>
                  </a:lnTo>
                  <a:lnTo>
                    <a:pt x="1096994" y="15335"/>
                  </a:lnTo>
                  <a:lnTo>
                    <a:pt x="1100423" y="16478"/>
                  </a:lnTo>
                  <a:lnTo>
                    <a:pt x="1097471" y="18478"/>
                  </a:lnTo>
                  <a:lnTo>
                    <a:pt x="1099185" y="19812"/>
                  </a:lnTo>
                  <a:lnTo>
                    <a:pt x="1102328" y="19431"/>
                  </a:lnTo>
                  <a:lnTo>
                    <a:pt x="1104329" y="22384"/>
                  </a:lnTo>
                  <a:lnTo>
                    <a:pt x="1109091" y="21812"/>
                  </a:lnTo>
                  <a:lnTo>
                    <a:pt x="1112234" y="21336"/>
                  </a:lnTo>
                  <a:lnTo>
                    <a:pt x="1118140" y="17431"/>
                  </a:lnTo>
                  <a:lnTo>
                    <a:pt x="1118521" y="20574"/>
                  </a:lnTo>
                  <a:lnTo>
                    <a:pt x="1117378" y="23908"/>
                  </a:lnTo>
                  <a:lnTo>
                    <a:pt x="1119188" y="25336"/>
                  </a:lnTo>
                  <a:lnTo>
                    <a:pt x="1125664" y="38862"/>
                  </a:lnTo>
                  <a:lnTo>
                    <a:pt x="1127284" y="38672"/>
                  </a:lnTo>
                  <a:lnTo>
                    <a:pt x="1128808" y="38481"/>
                  </a:lnTo>
                  <a:lnTo>
                    <a:pt x="1133951" y="41053"/>
                  </a:lnTo>
                  <a:lnTo>
                    <a:pt x="1134809" y="47339"/>
                  </a:lnTo>
                  <a:lnTo>
                    <a:pt x="1136142" y="45625"/>
                  </a:lnTo>
                  <a:lnTo>
                    <a:pt x="1139285" y="45148"/>
                  </a:lnTo>
                  <a:lnTo>
                    <a:pt x="1139476" y="46768"/>
                  </a:lnTo>
                  <a:lnTo>
                    <a:pt x="1138523" y="51721"/>
                  </a:lnTo>
                  <a:lnTo>
                    <a:pt x="1142333" y="56007"/>
                  </a:lnTo>
                  <a:lnTo>
                    <a:pt x="1141285" y="60960"/>
                  </a:lnTo>
                  <a:lnTo>
                    <a:pt x="1145667" y="57245"/>
                  </a:lnTo>
                  <a:lnTo>
                    <a:pt x="1147477" y="58579"/>
                  </a:lnTo>
                  <a:lnTo>
                    <a:pt x="1151954" y="56388"/>
                  </a:lnTo>
                  <a:lnTo>
                    <a:pt x="1156716" y="55817"/>
                  </a:lnTo>
                  <a:lnTo>
                    <a:pt x="1156716" y="55817"/>
                  </a:lnTo>
                  <a:lnTo>
                    <a:pt x="1160907" y="63246"/>
                  </a:lnTo>
                  <a:lnTo>
                    <a:pt x="1166051" y="65818"/>
                  </a:lnTo>
                  <a:lnTo>
                    <a:pt x="1164812" y="69247"/>
                  </a:lnTo>
                  <a:lnTo>
                    <a:pt x="1169575" y="68580"/>
                  </a:lnTo>
                  <a:lnTo>
                    <a:pt x="1178433" y="75438"/>
                  </a:lnTo>
                  <a:lnTo>
                    <a:pt x="1175671" y="79057"/>
                  </a:lnTo>
                  <a:lnTo>
                    <a:pt x="1175861" y="80581"/>
                  </a:lnTo>
                  <a:lnTo>
                    <a:pt x="1178909" y="78676"/>
                  </a:lnTo>
                  <a:lnTo>
                    <a:pt x="1177862" y="83534"/>
                  </a:lnTo>
                  <a:lnTo>
                    <a:pt x="1181290" y="97536"/>
                  </a:lnTo>
                  <a:lnTo>
                    <a:pt x="1183100" y="98965"/>
                  </a:lnTo>
                  <a:lnTo>
                    <a:pt x="1185005" y="101917"/>
                  </a:lnTo>
                  <a:lnTo>
                    <a:pt x="1192721" y="99346"/>
                  </a:lnTo>
                  <a:lnTo>
                    <a:pt x="1193102" y="102489"/>
                  </a:lnTo>
                  <a:lnTo>
                    <a:pt x="1194721" y="102298"/>
                  </a:lnTo>
                  <a:lnTo>
                    <a:pt x="1194911" y="103823"/>
                  </a:lnTo>
                  <a:lnTo>
                    <a:pt x="1199483" y="101727"/>
                  </a:lnTo>
                  <a:lnTo>
                    <a:pt x="1204341" y="102679"/>
                  </a:lnTo>
                  <a:lnTo>
                    <a:pt x="1209675" y="106775"/>
                  </a:lnTo>
                  <a:lnTo>
                    <a:pt x="1208342" y="108585"/>
                  </a:lnTo>
                  <a:lnTo>
                    <a:pt x="1209961" y="108394"/>
                  </a:lnTo>
                  <a:lnTo>
                    <a:pt x="1210342" y="111538"/>
                  </a:lnTo>
                  <a:lnTo>
                    <a:pt x="1213485" y="111157"/>
                  </a:lnTo>
                  <a:lnTo>
                    <a:pt x="1212342" y="114490"/>
                  </a:lnTo>
                  <a:lnTo>
                    <a:pt x="1210723" y="114681"/>
                  </a:lnTo>
                  <a:lnTo>
                    <a:pt x="1211104" y="117824"/>
                  </a:lnTo>
                  <a:lnTo>
                    <a:pt x="1209580" y="118015"/>
                  </a:lnTo>
                  <a:lnTo>
                    <a:pt x="1210151" y="122777"/>
                  </a:lnTo>
                  <a:lnTo>
                    <a:pt x="1203674" y="122015"/>
                  </a:lnTo>
                  <a:lnTo>
                    <a:pt x="1204055" y="125158"/>
                  </a:lnTo>
                  <a:lnTo>
                    <a:pt x="1196150" y="126111"/>
                  </a:lnTo>
                  <a:lnTo>
                    <a:pt x="1191768" y="129921"/>
                  </a:lnTo>
                  <a:lnTo>
                    <a:pt x="1192816" y="137827"/>
                  </a:lnTo>
                  <a:lnTo>
                    <a:pt x="1194816" y="140779"/>
                  </a:lnTo>
                  <a:lnTo>
                    <a:pt x="1198150" y="141923"/>
                  </a:lnTo>
                  <a:lnTo>
                    <a:pt x="1205675" y="150590"/>
                  </a:lnTo>
                  <a:lnTo>
                    <a:pt x="1206246" y="155353"/>
                  </a:lnTo>
                  <a:lnTo>
                    <a:pt x="1205103" y="158686"/>
                  </a:lnTo>
                  <a:lnTo>
                    <a:pt x="1203769" y="160496"/>
                  </a:lnTo>
                  <a:lnTo>
                    <a:pt x="1207103" y="161639"/>
                  </a:lnTo>
                  <a:lnTo>
                    <a:pt x="1212437" y="165735"/>
                  </a:lnTo>
                  <a:lnTo>
                    <a:pt x="1211009" y="167545"/>
                  </a:lnTo>
                  <a:lnTo>
                    <a:pt x="1211485" y="170688"/>
                  </a:lnTo>
                  <a:lnTo>
                    <a:pt x="1208056" y="169545"/>
                  </a:lnTo>
                  <a:lnTo>
                    <a:pt x="1206722" y="171355"/>
                  </a:lnTo>
                  <a:lnTo>
                    <a:pt x="1208246" y="171069"/>
                  </a:lnTo>
                  <a:lnTo>
                    <a:pt x="1208723" y="174308"/>
                  </a:lnTo>
                  <a:lnTo>
                    <a:pt x="1207484" y="177641"/>
                  </a:lnTo>
                  <a:lnTo>
                    <a:pt x="1209104" y="177451"/>
                  </a:lnTo>
                  <a:lnTo>
                    <a:pt x="1208342" y="183928"/>
                  </a:lnTo>
                  <a:lnTo>
                    <a:pt x="1206722" y="184118"/>
                  </a:lnTo>
                  <a:lnTo>
                    <a:pt x="1207389" y="188881"/>
                  </a:lnTo>
                  <a:lnTo>
                    <a:pt x="1203008" y="192596"/>
                  </a:lnTo>
                  <a:lnTo>
                    <a:pt x="1205389" y="198787"/>
                  </a:lnTo>
                  <a:lnTo>
                    <a:pt x="1209961" y="196596"/>
                  </a:lnTo>
                  <a:lnTo>
                    <a:pt x="1210342" y="199739"/>
                  </a:lnTo>
                  <a:lnTo>
                    <a:pt x="1213294" y="197739"/>
                  </a:lnTo>
                  <a:lnTo>
                    <a:pt x="1215104" y="199073"/>
                  </a:lnTo>
                  <a:lnTo>
                    <a:pt x="1221010" y="208026"/>
                  </a:lnTo>
                  <a:lnTo>
                    <a:pt x="1221391" y="211169"/>
                  </a:lnTo>
                  <a:lnTo>
                    <a:pt x="1216628" y="211741"/>
                  </a:lnTo>
                  <a:lnTo>
                    <a:pt x="1217295" y="216503"/>
                  </a:lnTo>
                  <a:lnTo>
                    <a:pt x="1220629" y="217646"/>
                  </a:lnTo>
                  <a:lnTo>
                    <a:pt x="1219486" y="220980"/>
                  </a:lnTo>
                  <a:lnTo>
                    <a:pt x="1226153" y="223361"/>
                  </a:lnTo>
                  <a:lnTo>
                    <a:pt x="1220914" y="244888"/>
                  </a:lnTo>
                  <a:lnTo>
                    <a:pt x="1219105" y="243459"/>
                  </a:lnTo>
                  <a:lnTo>
                    <a:pt x="1217962" y="246888"/>
                  </a:lnTo>
                  <a:lnTo>
                    <a:pt x="1215962" y="243935"/>
                  </a:lnTo>
                  <a:lnTo>
                    <a:pt x="1214818" y="247269"/>
                  </a:lnTo>
                  <a:lnTo>
                    <a:pt x="1208437" y="248031"/>
                  </a:lnTo>
                  <a:lnTo>
                    <a:pt x="1209294" y="254413"/>
                  </a:lnTo>
                  <a:lnTo>
                    <a:pt x="1210818" y="254222"/>
                  </a:lnTo>
                  <a:lnTo>
                    <a:pt x="1211294" y="257365"/>
                  </a:lnTo>
                  <a:lnTo>
                    <a:pt x="1208342" y="259271"/>
                  </a:lnTo>
                  <a:lnTo>
                    <a:pt x="1213676" y="263461"/>
                  </a:lnTo>
                  <a:lnTo>
                    <a:pt x="1212437" y="266795"/>
                  </a:lnTo>
                  <a:lnTo>
                    <a:pt x="1209294" y="267176"/>
                  </a:lnTo>
                  <a:lnTo>
                    <a:pt x="1207960" y="268986"/>
                  </a:lnTo>
                  <a:lnTo>
                    <a:pt x="1206341" y="269177"/>
                  </a:lnTo>
                  <a:lnTo>
                    <a:pt x="1207770" y="267367"/>
                  </a:lnTo>
                  <a:lnTo>
                    <a:pt x="1205960" y="266033"/>
                  </a:lnTo>
                  <a:lnTo>
                    <a:pt x="1204531" y="267843"/>
                  </a:lnTo>
                  <a:lnTo>
                    <a:pt x="1201198" y="266605"/>
                  </a:lnTo>
                  <a:lnTo>
                    <a:pt x="1199864" y="268415"/>
                  </a:lnTo>
                  <a:lnTo>
                    <a:pt x="1196245" y="265652"/>
                  </a:lnTo>
                  <a:lnTo>
                    <a:pt x="1193768" y="270796"/>
                  </a:lnTo>
                  <a:lnTo>
                    <a:pt x="1186815" y="279654"/>
                  </a:lnTo>
                  <a:lnTo>
                    <a:pt x="1192339" y="285369"/>
                  </a:lnTo>
                  <a:lnTo>
                    <a:pt x="1196340" y="291275"/>
                  </a:lnTo>
                  <a:lnTo>
                    <a:pt x="1199483" y="290894"/>
                  </a:lnTo>
                  <a:lnTo>
                    <a:pt x="1204817" y="295085"/>
                  </a:lnTo>
                  <a:lnTo>
                    <a:pt x="1203293" y="295275"/>
                  </a:lnTo>
                  <a:lnTo>
                    <a:pt x="1199102" y="300609"/>
                  </a:lnTo>
                  <a:lnTo>
                    <a:pt x="1201864" y="309848"/>
                  </a:lnTo>
                  <a:lnTo>
                    <a:pt x="1204055" y="314420"/>
                  </a:lnTo>
                  <a:lnTo>
                    <a:pt x="1207675" y="317087"/>
                  </a:lnTo>
                  <a:lnTo>
                    <a:pt x="1214533" y="321088"/>
                  </a:lnTo>
                  <a:lnTo>
                    <a:pt x="1221296" y="323374"/>
                  </a:lnTo>
                  <a:lnTo>
                    <a:pt x="1224248" y="321469"/>
                  </a:lnTo>
                  <a:lnTo>
                    <a:pt x="1229582" y="312706"/>
                  </a:lnTo>
                  <a:lnTo>
                    <a:pt x="1233488" y="318611"/>
                  </a:lnTo>
                  <a:lnTo>
                    <a:pt x="1241965" y="322326"/>
                  </a:lnTo>
                  <a:lnTo>
                    <a:pt x="1245394" y="323564"/>
                  </a:lnTo>
                  <a:lnTo>
                    <a:pt x="1243965" y="325374"/>
                  </a:lnTo>
                  <a:lnTo>
                    <a:pt x="1242631" y="327088"/>
                  </a:lnTo>
                  <a:lnTo>
                    <a:pt x="1241012" y="327279"/>
                  </a:lnTo>
                  <a:lnTo>
                    <a:pt x="1240441" y="335375"/>
                  </a:lnTo>
                  <a:lnTo>
                    <a:pt x="1243775" y="336613"/>
                  </a:lnTo>
                  <a:lnTo>
                    <a:pt x="1247965" y="331280"/>
                  </a:lnTo>
                  <a:lnTo>
                    <a:pt x="1249680" y="332613"/>
                  </a:lnTo>
                  <a:lnTo>
                    <a:pt x="1249871" y="334232"/>
                  </a:lnTo>
                  <a:lnTo>
                    <a:pt x="1253871" y="340138"/>
                  </a:lnTo>
                  <a:lnTo>
                    <a:pt x="1255490" y="339947"/>
                  </a:lnTo>
                  <a:lnTo>
                    <a:pt x="1257395" y="342900"/>
                  </a:lnTo>
                  <a:lnTo>
                    <a:pt x="1260634" y="342424"/>
                  </a:lnTo>
                  <a:lnTo>
                    <a:pt x="1264348" y="346805"/>
                  </a:lnTo>
                  <a:lnTo>
                    <a:pt x="1264920" y="351568"/>
                  </a:lnTo>
                  <a:lnTo>
                    <a:pt x="1261586" y="350330"/>
                  </a:lnTo>
                  <a:lnTo>
                    <a:pt x="1255681" y="354330"/>
                  </a:lnTo>
                  <a:lnTo>
                    <a:pt x="1256062" y="357473"/>
                  </a:lnTo>
                  <a:lnTo>
                    <a:pt x="1259681" y="360236"/>
                  </a:lnTo>
                  <a:lnTo>
                    <a:pt x="1260253" y="364998"/>
                  </a:lnTo>
                  <a:lnTo>
                    <a:pt x="1257681" y="370046"/>
                  </a:lnTo>
                  <a:lnTo>
                    <a:pt x="1261301" y="372809"/>
                  </a:lnTo>
                  <a:lnTo>
                    <a:pt x="1271492" y="377952"/>
                  </a:lnTo>
                  <a:lnTo>
                    <a:pt x="1271968" y="381095"/>
                  </a:lnTo>
                  <a:lnTo>
                    <a:pt x="1273683" y="382524"/>
                  </a:lnTo>
                  <a:lnTo>
                    <a:pt x="1274921" y="379095"/>
                  </a:lnTo>
                  <a:lnTo>
                    <a:pt x="1276445" y="378905"/>
                  </a:lnTo>
                  <a:lnTo>
                    <a:pt x="1276826" y="382048"/>
                  </a:lnTo>
                  <a:lnTo>
                    <a:pt x="1278636" y="383477"/>
                  </a:lnTo>
                  <a:lnTo>
                    <a:pt x="1280065" y="381667"/>
                  </a:lnTo>
                  <a:lnTo>
                    <a:pt x="1281589" y="381476"/>
                  </a:lnTo>
                  <a:lnTo>
                    <a:pt x="1281208" y="378333"/>
                  </a:lnTo>
                  <a:lnTo>
                    <a:pt x="1290828" y="378714"/>
                  </a:lnTo>
                  <a:lnTo>
                    <a:pt x="1295019" y="373380"/>
                  </a:lnTo>
                  <a:lnTo>
                    <a:pt x="1298162" y="372999"/>
                  </a:lnTo>
                  <a:lnTo>
                    <a:pt x="1299972" y="374333"/>
                  </a:lnTo>
                  <a:lnTo>
                    <a:pt x="1300163" y="375952"/>
                  </a:lnTo>
                  <a:lnTo>
                    <a:pt x="1303687" y="378714"/>
                  </a:lnTo>
                  <a:lnTo>
                    <a:pt x="1303877" y="380238"/>
                  </a:lnTo>
                  <a:lnTo>
                    <a:pt x="1306830" y="378238"/>
                  </a:lnTo>
                  <a:lnTo>
                    <a:pt x="1310450" y="381000"/>
                  </a:lnTo>
                  <a:lnTo>
                    <a:pt x="1311783" y="379286"/>
                  </a:lnTo>
                  <a:lnTo>
                    <a:pt x="1318546" y="381571"/>
                  </a:lnTo>
                  <a:lnTo>
                    <a:pt x="1325404" y="385477"/>
                  </a:lnTo>
                  <a:lnTo>
                    <a:pt x="1324070" y="387286"/>
                  </a:lnTo>
                  <a:lnTo>
                    <a:pt x="1327594" y="390049"/>
                  </a:lnTo>
                  <a:lnTo>
                    <a:pt x="1328928" y="388239"/>
                  </a:lnTo>
                  <a:lnTo>
                    <a:pt x="1333310" y="384524"/>
                  </a:lnTo>
                  <a:lnTo>
                    <a:pt x="1335691" y="377761"/>
                  </a:lnTo>
                  <a:lnTo>
                    <a:pt x="1342168" y="378619"/>
                  </a:lnTo>
                  <a:lnTo>
                    <a:pt x="1346549" y="374809"/>
                  </a:lnTo>
                  <a:lnTo>
                    <a:pt x="1351217" y="374237"/>
                  </a:lnTo>
                  <a:lnTo>
                    <a:pt x="1352645" y="372428"/>
                  </a:lnTo>
                  <a:lnTo>
                    <a:pt x="1357313" y="371856"/>
                  </a:lnTo>
                  <a:lnTo>
                    <a:pt x="1358551" y="368522"/>
                  </a:lnTo>
                  <a:lnTo>
                    <a:pt x="1358932" y="371665"/>
                  </a:lnTo>
                  <a:lnTo>
                    <a:pt x="1360551" y="371475"/>
                  </a:lnTo>
                  <a:lnTo>
                    <a:pt x="1361504" y="379286"/>
                  </a:lnTo>
                  <a:lnTo>
                    <a:pt x="1363123" y="379095"/>
                  </a:lnTo>
                  <a:lnTo>
                    <a:pt x="1363313" y="380714"/>
                  </a:lnTo>
                  <a:lnTo>
                    <a:pt x="1367981" y="380048"/>
                  </a:lnTo>
                  <a:lnTo>
                    <a:pt x="1371600" y="382810"/>
                  </a:lnTo>
                  <a:lnTo>
                    <a:pt x="1371790" y="384429"/>
                  </a:lnTo>
                  <a:lnTo>
                    <a:pt x="1376553" y="383858"/>
                  </a:lnTo>
                  <a:lnTo>
                    <a:pt x="1378744" y="388334"/>
                  </a:lnTo>
                  <a:lnTo>
                    <a:pt x="1374362" y="392144"/>
                  </a:lnTo>
                  <a:lnTo>
                    <a:pt x="1376553" y="396621"/>
                  </a:lnTo>
                  <a:lnTo>
                    <a:pt x="1376743" y="398240"/>
                  </a:lnTo>
                  <a:lnTo>
                    <a:pt x="1375219" y="398431"/>
                  </a:lnTo>
                  <a:lnTo>
                    <a:pt x="1377982" y="407670"/>
                  </a:lnTo>
                  <a:lnTo>
                    <a:pt x="1377029" y="412623"/>
                  </a:lnTo>
                  <a:lnTo>
                    <a:pt x="1378744" y="413957"/>
                  </a:lnTo>
                  <a:lnTo>
                    <a:pt x="1382744" y="419957"/>
                  </a:lnTo>
                  <a:lnTo>
                    <a:pt x="1378363" y="423672"/>
                  </a:lnTo>
                  <a:lnTo>
                    <a:pt x="1373696" y="424244"/>
                  </a:lnTo>
                  <a:lnTo>
                    <a:pt x="1370933" y="427863"/>
                  </a:lnTo>
                  <a:lnTo>
                    <a:pt x="1374267" y="429006"/>
                  </a:lnTo>
                  <a:lnTo>
                    <a:pt x="1376077" y="443198"/>
                  </a:lnTo>
                  <a:lnTo>
                    <a:pt x="1372362" y="451675"/>
                  </a:lnTo>
                  <a:lnTo>
                    <a:pt x="1378839" y="452438"/>
                  </a:lnTo>
                  <a:lnTo>
                    <a:pt x="1379696" y="458819"/>
                  </a:lnTo>
                  <a:lnTo>
                    <a:pt x="1381220" y="458629"/>
                  </a:lnTo>
                  <a:lnTo>
                    <a:pt x="1387983" y="460915"/>
                  </a:lnTo>
                  <a:lnTo>
                    <a:pt x="1385983" y="470821"/>
                  </a:lnTo>
                  <a:lnTo>
                    <a:pt x="1388745" y="467296"/>
                  </a:lnTo>
                  <a:lnTo>
                    <a:pt x="1389126" y="470440"/>
                  </a:lnTo>
                  <a:lnTo>
                    <a:pt x="1390936" y="471773"/>
                  </a:lnTo>
                  <a:lnTo>
                    <a:pt x="1388364" y="476917"/>
                  </a:lnTo>
                  <a:lnTo>
                    <a:pt x="1394269" y="472916"/>
                  </a:lnTo>
                  <a:lnTo>
                    <a:pt x="1390364" y="479869"/>
                  </a:lnTo>
                  <a:lnTo>
                    <a:pt x="1391126" y="486156"/>
                  </a:lnTo>
                  <a:lnTo>
                    <a:pt x="1388650" y="491300"/>
                  </a:lnTo>
                  <a:lnTo>
                    <a:pt x="1386840" y="489966"/>
                  </a:lnTo>
                  <a:lnTo>
                    <a:pt x="1384078" y="493490"/>
                  </a:lnTo>
                  <a:lnTo>
                    <a:pt x="1385888" y="494919"/>
                  </a:lnTo>
                  <a:lnTo>
                    <a:pt x="1387888" y="497872"/>
                  </a:lnTo>
                  <a:lnTo>
                    <a:pt x="1386268" y="498062"/>
                  </a:lnTo>
                  <a:lnTo>
                    <a:pt x="1385316" y="503015"/>
                  </a:lnTo>
                  <a:lnTo>
                    <a:pt x="1383506" y="501586"/>
                  </a:lnTo>
                  <a:lnTo>
                    <a:pt x="1383887" y="504730"/>
                  </a:lnTo>
                  <a:lnTo>
                    <a:pt x="1379410" y="506921"/>
                  </a:lnTo>
                  <a:lnTo>
                    <a:pt x="1378363" y="511873"/>
                  </a:lnTo>
                  <a:lnTo>
                    <a:pt x="1373505" y="510921"/>
                  </a:lnTo>
                  <a:lnTo>
                    <a:pt x="1372648" y="517398"/>
                  </a:lnTo>
                  <a:lnTo>
                    <a:pt x="1370743" y="514445"/>
                  </a:lnTo>
                  <a:lnTo>
                    <a:pt x="1369314" y="516255"/>
                  </a:lnTo>
                  <a:lnTo>
                    <a:pt x="1369981" y="521017"/>
                  </a:lnTo>
                  <a:lnTo>
                    <a:pt x="1366742" y="521398"/>
                  </a:lnTo>
                  <a:lnTo>
                    <a:pt x="1365028" y="519970"/>
                  </a:lnTo>
                  <a:lnTo>
                    <a:pt x="1363409" y="520160"/>
                  </a:lnTo>
                  <a:lnTo>
                    <a:pt x="1362456" y="525113"/>
                  </a:lnTo>
                  <a:lnTo>
                    <a:pt x="1367218" y="524542"/>
                  </a:lnTo>
                  <a:lnTo>
                    <a:pt x="1375886" y="529876"/>
                  </a:lnTo>
                  <a:lnTo>
                    <a:pt x="1376077" y="531400"/>
                  </a:lnTo>
                  <a:lnTo>
                    <a:pt x="1366076" y="540734"/>
                  </a:lnTo>
                  <a:lnTo>
                    <a:pt x="1358360" y="543306"/>
                  </a:lnTo>
                  <a:lnTo>
                    <a:pt x="1358551" y="544925"/>
                  </a:lnTo>
                  <a:lnTo>
                    <a:pt x="1369981" y="546640"/>
                  </a:lnTo>
                  <a:lnTo>
                    <a:pt x="1379220" y="543878"/>
                  </a:lnTo>
                  <a:lnTo>
                    <a:pt x="1386554" y="550926"/>
                  </a:lnTo>
                  <a:lnTo>
                    <a:pt x="1388555" y="553879"/>
                  </a:lnTo>
                  <a:lnTo>
                    <a:pt x="1395317" y="556260"/>
                  </a:lnTo>
                  <a:lnTo>
                    <a:pt x="1396460" y="552926"/>
                  </a:lnTo>
                  <a:lnTo>
                    <a:pt x="1396079" y="549688"/>
                  </a:lnTo>
                  <a:lnTo>
                    <a:pt x="1399604" y="552450"/>
                  </a:lnTo>
                  <a:lnTo>
                    <a:pt x="1402747" y="552069"/>
                  </a:lnTo>
                  <a:lnTo>
                    <a:pt x="1401604" y="555403"/>
                  </a:lnTo>
                  <a:lnTo>
                    <a:pt x="1412272" y="563690"/>
                  </a:lnTo>
                  <a:lnTo>
                    <a:pt x="1418939" y="566071"/>
                  </a:lnTo>
                  <a:lnTo>
                    <a:pt x="1420368" y="564261"/>
                  </a:lnTo>
                  <a:lnTo>
                    <a:pt x="1422178" y="565595"/>
                  </a:lnTo>
                  <a:lnTo>
                    <a:pt x="1420559" y="565880"/>
                  </a:lnTo>
                  <a:lnTo>
                    <a:pt x="1427321" y="568166"/>
                  </a:lnTo>
                  <a:lnTo>
                    <a:pt x="1419035" y="578834"/>
                  </a:lnTo>
                  <a:lnTo>
                    <a:pt x="1419797" y="585216"/>
                  </a:lnTo>
                  <a:lnTo>
                    <a:pt x="1417987" y="583787"/>
                  </a:lnTo>
                  <a:lnTo>
                    <a:pt x="1416463" y="583978"/>
                  </a:lnTo>
                  <a:lnTo>
                    <a:pt x="1419225" y="593312"/>
                  </a:lnTo>
                  <a:lnTo>
                    <a:pt x="1413319" y="597218"/>
                  </a:lnTo>
                  <a:lnTo>
                    <a:pt x="1408176" y="594646"/>
                  </a:lnTo>
                  <a:lnTo>
                    <a:pt x="1407605" y="589979"/>
                  </a:lnTo>
                  <a:lnTo>
                    <a:pt x="1404080" y="587216"/>
                  </a:lnTo>
                  <a:lnTo>
                    <a:pt x="1398080" y="591122"/>
                  </a:lnTo>
                  <a:lnTo>
                    <a:pt x="1394555" y="601218"/>
                  </a:lnTo>
                  <a:lnTo>
                    <a:pt x="1401699" y="606743"/>
                  </a:lnTo>
                  <a:lnTo>
                    <a:pt x="1406081" y="602933"/>
                  </a:lnTo>
                  <a:lnTo>
                    <a:pt x="1410176" y="610457"/>
                  </a:lnTo>
                  <a:lnTo>
                    <a:pt x="1413319" y="610076"/>
                  </a:lnTo>
                  <a:lnTo>
                    <a:pt x="1408843" y="612267"/>
                  </a:lnTo>
                  <a:lnTo>
                    <a:pt x="1405033" y="607886"/>
                  </a:lnTo>
                  <a:lnTo>
                    <a:pt x="1402271" y="611505"/>
                  </a:lnTo>
                  <a:lnTo>
                    <a:pt x="1399127" y="611886"/>
                  </a:lnTo>
                  <a:lnTo>
                    <a:pt x="1397794" y="613696"/>
                  </a:lnTo>
                  <a:lnTo>
                    <a:pt x="1400365" y="621316"/>
                  </a:lnTo>
                  <a:lnTo>
                    <a:pt x="1402556" y="625888"/>
                  </a:lnTo>
                  <a:lnTo>
                    <a:pt x="1402747" y="640271"/>
                  </a:lnTo>
                  <a:lnTo>
                    <a:pt x="1396270" y="639509"/>
                  </a:lnTo>
                  <a:lnTo>
                    <a:pt x="1391698" y="641699"/>
                  </a:lnTo>
                  <a:lnTo>
                    <a:pt x="1389983" y="640271"/>
                  </a:lnTo>
                  <a:lnTo>
                    <a:pt x="1390364" y="643414"/>
                  </a:lnTo>
                  <a:lnTo>
                    <a:pt x="1387221" y="643890"/>
                  </a:lnTo>
                  <a:lnTo>
                    <a:pt x="1385411" y="642461"/>
                  </a:lnTo>
                  <a:lnTo>
                    <a:pt x="1382077" y="641318"/>
                  </a:lnTo>
                  <a:lnTo>
                    <a:pt x="1380839" y="644652"/>
                  </a:lnTo>
                  <a:lnTo>
                    <a:pt x="1377887" y="646652"/>
                  </a:lnTo>
                  <a:lnTo>
                    <a:pt x="1378172" y="648272"/>
                  </a:lnTo>
                  <a:lnTo>
                    <a:pt x="1381697" y="650938"/>
                  </a:lnTo>
                  <a:lnTo>
                    <a:pt x="1392936" y="651129"/>
                  </a:lnTo>
                  <a:lnTo>
                    <a:pt x="1391793" y="654558"/>
                  </a:lnTo>
                  <a:lnTo>
                    <a:pt x="1396270" y="652367"/>
                  </a:lnTo>
                  <a:lnTo>
                    <a:pt x="1396937" y="657035"/>
                  </a:lnTo>
                  <a:lnTo>
                    <a:pt x="1395508" y="658844"/>
                  </a:lnTo>
                  <a:lnTo>
                    <a:pt x="1393698" y="657511"/>
                  </a:lnTo>
                  <a:lnTo>
                    <a:pt x="1392364" y="659225"/>
                  </a:lnTo>
                  <a:lnTo>
                    <a:pt x="1387221" y="656654"/>
                  </a:lnTo>
                  <a:lnTo>
                    <a:pt x="1387412" y="658273"/>
                  </a:lnTo>
                  <a:lnTo>
                    <a:pt x="1390745" y="659416"/>
                  </a:lnTo>
                  <a:lnTo>
                    <a:pt x="1389221" y="659606"/>
                  </a:lnTo>
                  <a:lnTo>
                    <a:pt x="1384078" y="657130"/>
                  </a:lnTo>
                  <a:lnTo>
                    <a:pt x="1380744" y="655892"/>
                  </a:lnTo>
                  <a:lnTo>
                    <a:pt x="1375029" y="661416"/>
                  </a:lnTo>
                  <a:lnTo>
                    <a:pt x="1368933" y="663797"/>
                  </a:lnTo>
                  <a:lnTo>
                    <a:pt x="1374267" y="667988"/>
                  </a:lnTo>
                  <a:lnTo>
                    <a:pt x="1374648" y="671132"/>
                  </a:lnTo>
                  <a:lnTo>
                    <a:pt x="1376172" y="670941"/>
                  </a:lnTo>
                  <a:lnTo>
                    <a:pt x="1377029" y="677228"/>
                  </a:lnTo>
                  <a:lnTo>
                    <a:pt x="1380554" y="679990"/>
                  </a:lnTo>
                  <a:lnTo>
                    <a:pt x="1382173" y="679799"/>
                  </a:lnTo>
                  <a:lnTo>
                    <a:pt x="1380744" y="681609"/>
                  </a:lnTo>
                  <a:lnTo>
                    <a:pt x="1383887" y="681133"/>
                  </a:lnTo>
                  <a:lnTo>
                    <a:pt x="1384364" y="684276"/>
                  </a:lnTo>
                  <a:lnTo>
                    <a:pt x="1389507" y="686848"/>
                  </a:lnTo>
                  <a:lnTo>
                    <a:pt x="1394651" y="689420"/>
                  </a:lnTo>
                  <a:lnTo>
                    <a:pt x="1396365" y="690848"/>
                  </a:lnTo>
                  <a:lnTo>
                    <a:pt x="1400556" y="685514"/>
                  </a:lnTo>
                  <a:lnTo>
                    <a:pt x="1408843" y="687610"/>
                  </a:lnTo>
                  <a:lnTo>
                    <a:pt x="1407414" y="689420"/>
                  </a:lnTo>
                  <a:lnTo>
                    <a:pt x="1405700" y="687991"/>
                  </a:lnTo>
                  <a:lnTo>
                    <a:pt x="1409414" y="692372"/>
                  </a:lnTo>
                  <a:lnTo>
                    <a:pt x="1412367" y="690372"/>
                  </a:lnTo>
                  <a:lnTo>
                    <a:pt x="1417510" y="692944"/>
                  </a:lnTo>
                  <a:lnTo>
                    <a:pt x="1413129" y="696659"/>
                  </a:lnTo>
                  <a:lnTo>
                    <a:pt x="1409986" y="697040"/>
                  </a:lnTo>
                  <a:lnTo>
                    <a:pt x="1411986" y="699992"/>
                  </a:lnTo>
                  <a:lnTo>
                    <a:pt x="1415320" y="701231"/>
                  </a:lnTo>
                  <a:lnTo>
                    <a:pt x="1418558" y="700850"/>
                  </a:lnTo>
                  <a:lnTo>
                    <a:pt x="1418749" y="702374"/>
                  </a:lnTo>
                  <a:lnTo>
                    <a:pt x="1420082" y="700659"/>
                  </a:lnTo>
                  <a:lnTo>
                    <a:pt x="1421892" y="701993"/>
                  </a:lnTo>
                  <a:lnTo>
                    <a:pt x="1427035" y="704564"/>
                  </a:lnTo>
                  <a:lnTo>
                    <a:pt x="1434275" y="698849"/>
                  </a:lnTo>
                  <a:lnTo>
                    <a:pt x="1436084" y="700183"/>
                  </a:lnTo>
                  <a:lnTo>
                    <a:pt x="1436465" y="703326"/>
                  </a:lnTo>
                  <a:lnTo>
                    <a:pt x="1438275" y="704755"/>
                  </a:lnTo>
                  <a:lnTo>
                    <a:pt x="1435322" y="706660"/>
                  </a:lnTo>
                  <a:lnTo>
                    <a:pt x="1436084" y="713041"/>
                  </a:lnTo>
                  <a:lnTo>
                    <a:pt x="1439227" y="712565"/>
                  </a:lnTo>
                  <a:lnTo>
                    <a:pt x="1442752" y="702564"/>
                  </a:lnTo>
                  <a:lnTo>
                    <a:pt x="1444752" y="705517"/>
                  </a:lnTo>
                  <a:lnTo>
                    <a:pt x="1443609" y="708851"/>
                  </a:lnTo>
                  <a:lnTo>
                    <a:pt x="1446752" y="708470"/>
                  </a:lnTo>
                  <a:lnTo>
                    <a:pt x="1445800" y="713423"/>
                  </a:lnTo>
                  <a:lnTo>
                    <a:pt x="1446371" y="718090"/>
                  </a:lnTo>
                  <a:lnTo>
                    <a:pt x="1445038" y="719899"/>
                  </a:lnTo>
                  <a:lnTo>
                    <a:pt x="1437513" y="724090"/>
                  </a:lnTo>
                  <a:lnTo>
                    <a:pt x="1437704" y="725615"/>
                  </a:lnTo>
                  <a:lnTo>
                    <a:pt x="1439704" y="728567"/>
                  </a:lnTo>
                  <a:lnTo>
                    <a:pt x="1448372" y="733901"/>
                  </a:lnTo>
                  <a:lnTo>
                    <a:pt x="1467707" y="747427"/>
                  </a:lnTo>
                  <a:lnTo>
                    <a:pt x="1469136" y="745712"/>
                  </a:lnTo>
                  <a:lnTo>
                    <a:pt x="1472279" y="745236"/>
                  </a:lnTo>
                  <a:lnTo>
                    <a:pt x="1474470" y="749808"/>
                  </a:lnTo>
                  <a:lnTo>
                    <a:pt x="1475804" y="747998"/>
                  </a:lnTo>
                  <a:lnTo>
                    <a:pt x="1477613" y="749427"/>
                  </a:lnTo>
                  <a:lnTo>
                    <a:pt x="1479423" y="750761"/>
                  </a:lnTo>
                  <a:lnTo>
                    <a:pt x="1478185" y="754190"/>
                  </a:lnTo>
                  <a:lnTo>
                    <a:pt x="1481614" y="755332"/>
                  </a:lnTo>
                  <a:lnTo>
                    <a:pt x="1484376" y="751808"/>
                  </a:lnTo>
                  <a:lnTo>
                    <a:pt x="1488281" y="757714"/>
                  </a:lnTo>
                  <a:lnTo>
                    <a:pt x="1485710" y="762857"/>
                  </a:lnTo>
                  <a:lnTo>
                    <a:pt x="1487519" y="764191"/>
                  </a:lnTo>
                  <a:lnTo>
                    <a:pt x="1486567" y="769144"/>
                  </a:lnTo>
                  <a:lnTo>
                    <a:pt x="1488567" y="772097"/>
                  </a:lnTo>
                  <a:lnTo>
                    <a:pt x="1485138" y="770953"/>
                  </a:lnTo>
                  <a:lnTo>
                    <a:pt x="1480661" y="773049"/>
                  </a:lnTo>
                  <a:lnTo>
                    <a:pt x="1476470" y="778383"/>
                  </a:lnTo>
                  <a:lnTo>
                    <a:pt x="1485995" y="790003"/>
                  </a:lnTo>
                  <a:lnTo>
                    <a:pt x="1487805" y="791432"/>
                  </a:lnTo>
                  <a:lnTo>
                    <a:pt x="1489615" y="792766"/>
                  </a:lnTo>
                  <a:lnTo>
                    <a:pt x="1489996" y="795909"/>
                  </a:lnTo>
                  <a:lnTo>
                    <a:pt x="1488758" y="799338"/>
                  </a:lnTo>
                  <a:lnTo>
                    <a:pt x="1487424" y="801053"/>
                  </a:lnTo>
                  <a:lnTo>
                    <a:pt x="1483900" y="798290"/>
                  </a:lnTo>
                  <a:lnTo>
                    <a:pt x="1484852" y="806196"/>
                  </a:lnTo>
                  <a:lnTo>
                    <a:pt x="1483328" y="806386"/>
                  </a:lnTo>
                  <a:lnTo>
                    <a:pt x="1482281" y="811340"/>
                  </a:lnTo>
                  <a:lnTo>
                    <a:pt x="1480756" y="811530"/>
                  </a:lnTo>
                  <a:lnTo>
                    <a:pt x="1480947" y="813149"/>
                  </a:lnTo>
                  <a:lnTo>
                    <a:pt x="1475613" y="821817"/>
                  </a:lnTo>
                  <a:lnTo>
                    <a:pt x="1479233" y="824579"/>
                  </a:lnTo>
                  <a:lnTo>
                    <a:pt x="1476185" y="826580"/>
                  </a:lnTo>
                  <a:lnTo>
                    <a:pt x="1466945" y="829342"/>
                  </a:lnTo>
                  <a:lnTo>
                    <a:pt x="1465421" y="829532"/>
                  </a:lnTo>
                  <a:lnTo>
                    <a:pt x="1465802" y="832676"/>
                  </a:lnTo>
                  <a:lnTo>
                    <a:pt x="1465802" y="832676"/>
                  </a:lnTo>
                  <a:lnTo>
                    <a:pt x="1464659" y="836105"/>
                  </a:lnTo>
                  <a:lnTo>
                    <a:pt x="1469708" y="838581"/>
                  </a:lnTo>
                  <a:lnTo>
                    <a:pt x="1468946" y="845153"/>
                  </a:lnTo>
                  <a:lnTo>
                    <a:pt x="1467993" y="850106"/>
                  </a:lnTo>
                  <a:lnTo>
                    <a:pt x="1469803" y="851440"/>
                  </a:lnTo>
                  <a:lnTo>
                    <a:pt x="1469041" y="857917"/>
                  </a:lnTo>
                  <a:lnTo>
                    <a:pt x="1467422" y="858203"/>
                  </a:lnTo>
                  <a:lnTo>
                    <a:pt x="1465421" y="855250"/>
                  </a:lnTo>
                  <a:lnTo>
                    <a:pt x="1462850" y="860298"/>
                  </a:lnTo>
                  <a:lnTo>
                    <a:pt x="1466469" y="863060"/>
                  </a:lnTo>
                  <a:lnTo>
                    <a:pt x="1466660" y="864680"/>
                  </a:lnTo>
                  <a:lnTo>
                    <a:pt x="1467231" y="869442"/>
                  </a:lnTo>
                  <a:lnTo>
                    <a:pt x="1464088" y="869823"/>
                  </a:lnTo>
                  <a:lnTo>
                    <a:pt x="1462754" y="871633"/>
                  </a:lnTo>
                  <a:lnTo>
                    <a:pt x="1463326" y="876300"/>
                  </a:lnTo>
                  <a:lnTo>
                    <a:pt x="1463516" y="877919"/>
                  </a:lnTo>
                  <a:lnTo>
                    <a:pt x="1459421" y="883253"/>
                  </a:lnTo>
                  <a:lnTo>
                    <a:pt x="1455610" y="878872"/>
                  </a:lnTo>
                  <a:lnTo>
                    <a:pt x="1447990" y="881539"/>
                  </a:lnTo>
                  <a:lnTo>
                    <a:pt x="1448181" y="883063"/>
                  </a:lnTo>
                  <a:lnTo>
                    <a:pt x="1449896" y="884491"/>
                  </a:lnTo>
                  <a:lnTo>
                    <a:pt x="1448372" y="884682"/>
                  </a:lnTo>
                  <a:lnTo>
                    <a:pt x="1448943" y="889349"/>
                  </a:lnTo>
                  <a:lnTo>
                    <a:pt x="1444466" y="891540"/>
                  </a:lnTo>
                  <a:lnTo>
                    <a:pt x="1441228" y="892016"/>
                  </a:lnTo>
                  <a:lnTo>
                    <a:pt x="1441704" y="895160"/>
                  </a:lnTo>
                  <a:lnTo>
                    <a:pt x="1440085" y="895350"/>
                  </a:lnTo>
                  <a:lnTo>
                    <a:pt x="1436084" y="889445"/>
                  </a:lnTo>
                  <a:lnTo>
                    <a:pt x="1431036" y="886873"/>
                  </a:lnTo>
                  <a:lnTo>
                    <a:pt x="1428083" y="888873"/>
                  </a:lnTo>
                  <a:lnTo>
                    <a:pt x="1418177" y="899732"/>
                  </a:lnTo>
                  <a:lnTo>
                    <a:pt x="1418558" y="902875"/>
                  </a:lnTo>
                  <a:lnTo>
                    <a:pt x="1413701" y="901922"/>
                  </a:lnTo>
                  <a:lnTo>
                    <a:pt x="1411129" y="907066"/>
                  </a:lnTo>
                  <a:lnTo>
                    <a:pt x="1407223" y="913924"/>
                  </a:lnTo>
                  <a:lnTo>
                    <a:pt x="1407795" y="918686"/>
                  </a:lnTo>
                  <a:lnTo>
                    <a:pt x="1409795" y="921639"/>
                  </a:lnTo>
                  <a:lnTo>
                    <a:pt x="1414463" y="921068"/>
                  </a:lnTo>
                  <a:lnTo>
                    <a:pt x="1417606" y="920591"/>
                  </a:lnTo>
                  <a:lnTo>
                    <a:pt x="1416653" y="925544"/>
                  </a:lnTo>
                  <a:lnTo>
                    <a:pt x="1420273" y="928307"/>
                  </a:lnTo>
                  <a:lnTo>
                    <a:pt x="1419225" y="933260"/>
                  </a:lnTo>
                  <a:lnTo>
                    <a:pt x="1424368" y="935831"/>
                  </a:lnTo>
                  <a:lnTo>
                    <a:pt x="1421416" y="937832"/>
                  </a:lnTo>
                  <a:lnTo>
                    <a:pt x="1421892" y="940975"/>
                  </a:lnTo>
                  <a:lnTo>
                    <a:pt x="1419130" y="944499"/>
                  </a:lnTo>
                  <a:lnTo>
                    <a:pt x="1415891" y="944880"/>
                  </a:lnTo>
                  <a:lnTo>
                    <a:pt x="1413224" y="948499"/>
                  </a:lnTo>
                  <a:lnTo>
                    <a:pt x="1413415" y="950024"/>
                  </a:lnTo>
                  <a:lnTo>
                    <a:pt x="1409795" y="947261"/>
                  </a:lnTo>
                  <a:lnTo>
                    <a:pt x="1408271" y="947452"/>
                  </a:lnTo>
                  <a:lnTo>
                    <a:pt x="1406462" y="946118"/>
                  </a:lnTo>
                  <a:lnTo>
                    <a:pt x="1401889" y="948309"/>
                  </a:lnTo>
                  <a:lnTo>
                    <a:pt x="1394841" y="942785"/>
                  </a:lnTo>
                  <a:lnTo>
                    <a:pt x="1395413" y="947547"/>
                  </a:lnTo>
                  <a:lnTo>
                    <a:pt x="1392269" y="947928"/>
                  </a:lnTo>
                  <a:lnTo>
                    <a:pt x="1388745" y="945166"/>
                  </a:lnTo>
                  <a:lnTo>
                    <a:pt x="1387888" y="938879"/>
                  </a:lnTo>
                  <a:lnTo>
                    <a:pt x="1386554" y="940594"/>
                  </a:lnTo>
                  <a:lnTo>
                    <a:pt x="1384744" y="939260"/>
                  </a:lnTo>
                  <a:lnTo>
                    <a:pt x="1382363" y="946023"/>
                  </a:lnTo>
                  <a:lnTo>
                    <a:pt x="1378268" y="951357"/>
                  </a:lnTo>
                  <a:lnTo>
                    <a:pt x="1375886" y="958024"/>
                  </a:lnTo>
                  <a:lnTo>
                    <a:pt x="1377696" y="959453"/>
                  </a:lnTo>
                  <a:lnTo>
                    <a:pt x="1374934" y="962978"/>
                  </a:lnTo>
                  <a:lnTo>
                    <a:pt x="1375696" y="969264"/>
                  </a:lnTo>
                  <a:lnTo>
                    <a:pt x="1374172" y="969455"/>
                  </a:lnTo>
                  <a:lnTo>
                    <a:pt x="1373600" y="964787"/>
                  </a:lnTo>
                  <a:lnTo>
                    <a:pt x="1368647" y="963740"/>
                  </a:lnTo>
                  <a:lnTo>
                    <a:pt x="1361694" y="972693"/>
                  </a:lnTo>
                  <a:lnTo>
                    <a:pt x="1353026" y="967359"/>
                  </a:lnTo>
                  <a:lnTo>
                    <a:pt x="1345597" y="971550"/>
                  </a:lnTo>
                  <a:lnTo>
                    <a:pt x="1338453" y="978884"/>
                  </a:lnTo>
                  <a:lnTo>
                    <a:pt x="1336643" y="977456"/>
                  </a:lnTo>
                  <a:lnTo>
                    <a:pt x="1335310" y="979265"/>
                  </a:lnTo>
                  <a:lnTo>
                    <a:pt x="1330357" y="978218"/>
                  </a:lnTo>
                  <a:lnTo>
                    <a:pt x="1327214" y="978694"/>
                  </a:lnTo>
                  <a:lnTo>
                    <a:pt x="1326833" y="975551"/>
                  </a:lnTo>
                  <a:lnTo>
                    <a:pt x="1325880" y="980408"/>
                  </a:lnTo>
                  <a:lnTo>
                    <a:pt x="1325689" y="978884"/>
                  </a:lnTo>
                  <a:lnTo>
                    <a:pt x="1322451" y="979265"/>
                  </a:lnTo>
                  <a:lnTo>
                    <a:pt x="1317784" y="979837"/>
                  </a:lnTo>
                  <a:lnTo>
                    <a:pt x="1317022" y="986409"/>
                  </a:lnTo>
                  <a:lnTo>
                    <a:pt x="1313402" y="983647"/>
                  </a:lnTo>
                  <a:lnTo>
                    <a:pt x="1312069" y="985457"/>
                  </a:lnTo>
                  <a:lnTo>
                    <a:pt x="1314260" y="989933"/>
                  </a:lnTo>
                  <a:lnTo>
                    <a:pt x="1306544" y="992505"/>
                  </a:lnTo>
                  <a:lnTo>
                    <a:pt x="1306354" y="990981"/>
                  </a:lnTo>
                  <a:lnTo>
                    <a:pt x="1303592" y="994505"/>
                  </a:lnTo>
                  <a:lnTo>
                    <a:pt x="1301591" y="991553"/>
                  </a:lnTo>
                  <a:lnTo>
                    <a:pt x="1298639" y="993553"/>
                  </a:lnTo>
                  <a:lnTo>
                    <a:pt x="1298448" y="991934"/>
                  </a:lnTo>
                  <a:lnTo>
                    <a:pt x="1292162" y="992791"/>
                  </a:lnTo>
                  <a:lnTo>
                    <a:pt x="1291971" y="991172"/>
                  </a:lnTo>
                  <a:lnTo>
                    <a:pt x="1297400" y="984028"/>
                  </a:lnTo>
                  <a:lnTo>
                    <a:pt x="1295495" y="981075"/>
                  </a:lnTo>
                  <a:lnTo>
                    <a:pt x="1292257" y="981551"/>
                  </a:lnTo>
                  <a:lnTo>
                    <a:pt x="1289590" y="985076"/>
                  </a:lnTo>
                  <a:lnTo>
                    <a:pt x="1286161" y="983932"/>
                  </a:lnTo>
                  <a:lnTo>
                    <a:pt x="1283589" y="989076"/>
                  </a:lnTo>
                  <a:lnTo>
                    <a:pt x="1278922" y="989648"/>
                  </a:lnTo>
                  <a:lnTo>
                    <a:pt x="1277112" y="988219"/>
                  </a:lnTo>
                  <a:lnTo>
                    <a:pt x="1273207" y="995172"/>
                  </a:lnTo>
                  <a:lnTo>
                    <a:pt x="1271588" y="995362"/>
                  </a:lnTo>
                  <a:lnTo>
                    <a:pt x="1272064" y="998506"/>
                  </a:lnTo>
                  <a:lnTo>
                    <a:pt x="1275398" y="999744"/>
                  </a:lnTo>
                  <a:lnTo>
                    <a:pt x="1273969" y="1001459"/>
                  </a:lnTo>
                  <a:lnTo>
                    <a:pt x="1275969" y="1004411"/>
                  </a:lnTo>
                  <a:lnTo>
                    <a:pt x="1268444" y="1008602"/>
                  </a:lnTo>
                  <a:lnTo>
                    <a:pt x="1269683" y="1018032"/>
                  </a:lnTo>
                  <a:lnTo>
                    <a:pt x="1270540" y="1024414"/>
                  </a:lnTo>
                  <a:lnTo>
                    <a:pt x="1256729" y="1029367"/>
                  </a:lnTo>
                  <a:lnTo>
                    <a:pt x="1258634" y="1032320"/>
                  </a:lnTo>
                  <a:lnTo>
                    <a:pt x="1253395" y="1040987"/>
                  </a:lnTo>
                  <a:lnTo>
                    <a:pt x="1251776" y="1041178"/>
                  </a:lnTo>
                  <a:lnTo>
                    <a:pt x="1251394" y="1038035"/>
                  </a:lnTo>
                  <a:lnTo>
                    <a:pt x="1250061" y="1039844"/>
                  </a:lnTo>
                  <a:lnTo>
                    <a:pt x="1250061" y="1039844"/>
                  </a:lnTo>
                  <a:lnTo>
                    <a:pt x="1246823" y="1040225"/>
                  </a:lnTo>
                  <a:lnTo>
                    <a:pt x="1248632" y="1041559"/>
                  </a:lnTo>
                  <a:lnTo>
                    <a:pt x="1245489" y="1042035"/>
                  </a:lnTo>
                  <a:lnTo>
                    <a:pt x="1247489" y="1044988"/>
                  </a:lnTo>
                  <a:lnTo>
                    <a:pt x="1244727" y="1048512"/>
                  </a:lnTo>
                  <a:lnTo>
                    <a:pt x="1243775" y="1053465"/>
                  </a:lnTo>
                  <a:lnTo>
                    <a:pt x="1242536" y="1056799"/>
                  </a:lnTo>
                  <a:lnTo>
                    <a:pt x="1244727" y="1061371"/>
                  </a:lnTo>
                  <a:lnTo>
                    <a:pt x="1242822" y="1071182"/>
                  </a:lnTo>
                  <a:lnTo>
                    <a:pt x="1245013" y="1075754"/>
                  </a:lnTo>
                  <a:lnTo>
                    <a:pt x="1243965" y="1080707"/>
                  </a:lnTo>
                  <a:lnTo>
                    <a:pt x="1247585" y="1083469"/>
                  </a:lnTo>
                  <a:lnTo>
                    <a:pt x="1245965" y="1083659"/>
                  </a:lnTo>
                  <a:lnTo>
                    <a:pt x="1248537" y="1091375"/>
                  </a:lnTo>
                  <a:lnTo>
                    <a:pt x="1251680" y="1090898"/>
                  </a:lnTo>
                  <a:lnTo>
                    <a:pt x="1255681" y="1084040"/>
                  </a:lnTo>
                  <a:lnTo>
                    <a:pt x="1263587" y="1095851"/>
                  </a:lnTo>
                  <a:lnTo>
                    <a:pt x="1271302" y="1093280"/>
                  </a:lnTo>
                  <a:lnTo>
                    <a:pt x="1282541" y="1093375"/>
                  </a:lnTo>
                  <a:lnTo>
                    <a:pt x="1281493" y="1098328"/>
                  </a:lnTo>
                  <a:lnTo>
                    <a:pt x="1285875" y="1107377"/>
                  </a:lnTo>
                  <a:lnTo>
                    <a:pt x="1293590" y="1117664"/>
                  </a:lnTo>
                  <a:lnTo>
                    <a:pt x="1294257" y="1122426"/>
                  </a:lnTo>
                  <a:lnTo>
                    <a:pt x="1291304" y="1124331"/>
                  </a:lnTo>
                  <a:lnTo>
                    <a:pt x="1290066" y="1127760"/>
                  </a:lnTo>
                  <a:lnTo>
                    <a:pt x="1293876" y="1132046"/>
                  </a:lnTo>
                  <a:lnTo>
                    <a:pt x="1290161" y="1140524"/>
                  </a:lnTo>
                  <a:lnTo>
                    <a:pt x="1286542" y="1137761"/>
                  </a:lnTo>
                  <a:lnTo>
                    <a:pt x="1287209" y="1142524"/>
                  </a:lnTo>
                  <a:lnTo>
                    <a:pt x="1285399" y="1141190"/>
                  </a:lnTo>
                  <a:lnTo>
                    <a:pt x="1285589" y="1142714"/>
                  </a:lnTo>
                  <a:lnTo>
                    <a:pt x="1283970" y="1142905"/>
                  </a:lnTo>
                  <a:lnTo>
                    <a:pt x="1279684" y="1146715"/>
                  </a:lnTo>
                  <a:lnTo>
                    <a:pt x="1280255" y="1151477"/>
                  </a:lnTo>
                  <a:lnTo>
                    <a:pt x="1274159" y="1153859"/>
                  </a:lnTo>
                  <a:lnTo>
                    <a:pt x="1273969" y="1152239"/>
                  </a:lnTo>
                  <a:lnTo>
                    <a:pt x="1270826" y="1152620"/>
                  </a:lnTo>
                  <a:lnTo>
                    <a:pt x="1266254" y="1154811"/>
                  </a:lnTo>
                  <a:lnTo>
                    <a:pt x="1264253" y="1151858"/>
                  </a:lnTo>
                  <a:lnTo>
                    <a:pt x="1261586" y="1155383"/>
                  </a:lnTo>
                  <a:lnTo>
                    <a:pt x="1259110" y="1149287"/>
                  </a:lnTo>
                  <a:lnTo>
                    <a:pt x="1252252" y="1145381"/>
                  </a:lnTo>
                  <a:lnTo>
                    <a:pt x="1251109" y="1148715"/>
                  </a:lnTo>
                  <a:lnTo>
                    <a:pt x="1246156" y="1147762"/>
                  </a:lnTo>
                  <a:lnTo>
                    <a:pt x="1247108" y="1155668"/>
                  </a:lnTo>
                  <a:lnTo>
                    <a:pt x="1247108" y="1155668"/>
                  </a:lnTo>
                  <a:lnTo>
                    <a:pt x="1244156" y="1157669"/>
                  </a:lnTo>
                  <a:lnTo>
                    <a:pt x="1240631" y="1154906"/>
                  </a:lnTo>
                  <a:lnTo>
                    <a:pt x="1241774" y="1151573"/>
                  </a:lnTo>
                  <a:lnTo>
                    <a:pt x="1237107" y="1152144"/>
                  </a:lnTo>
                  <a:lnTo>
                    <a:pt x="1237488" y="1155287"/>
                  </a:lnTo>
                  <a:lnTo>
                    <a:pt x="1241012" y="1158050"/>
                  </a:lnTo>
                  <a:lnTo>
                    <a:pt x="1240060" y="1163003"/>
                  </a:lnTo>
                  <a:lnTo>
                    <a:pt x="1235297" y="1163574"/>
                  </a:lnTo>
                  <a:lnTo>
                    <a:pt x="1235678" y="1166717"/>
                  </a:lnTo>
                  <a:lnTo>
                    <a:pt x="1234345" y="1168527"/>
                  </a:lnTo>
                  <a:lnTo>
                    <a:pt x="1233202" y="1171861"/>
                  </a:lnTo>
                  <a:lnTo>
                    <a:pt x="1235107" y="1174814"/>
                  </a:lnTo>
                  <a:lnTo>
                    <a:pt x="1233773" y="1176623"/>
                  </a:lnTo>
                  <a:lnTo>
                    <a:pt x="1233964" y="1178147"/>
                  </a:lnTo>
                  <a:lnTo>
                    <a:pt x="1225868" y="1177576"/>
                  </a:lnTo>
                  <a:lnTo>
                    <a:pt x="1225296" y="1172909"/>
                  </a:lnTo>
                  <a:lnTo>
                    <a:pt x="1222915" y="1166812"/>
                  </a:lnTo>
                  <a:lnTo>
                    <a:pt x="1215962" y="1162812"/>
                  </a:lnTo>
                  <a:lnTo>
                    <a:pt x="1216343" y="1165955"/>
                  </a:lnTo>
                  <a:lnTo>
                    <a:pt x="1214628" y="1164622"/>
                  </a:lnTo>
                  <a:lnTo>
                    <a:pt x="1214818" y="1166146"/>
                  </a:lnTo>
                  <a:lnTo>
                    <a:pt x="1211675" y="1166622"/>
                  </a:lnTo>
                  <a:lnTo>
                    <a:pt x="1206913" y="1167194"/>
                  </a:lnTo>
                  <a:lnTo>
                    <a:pt x="1205103" y="1165860"/>
                  </a:lnTo>
                  <a:lnTo>
                    <a:pt x="1203103" y="1162907"/>
                  </a:lnTo>
                  <a:lnTo>
                    <a:pt x="1202912" y="1161288"/>
                  </a:lnTo>
                  <a:lnTo>
                    <a:pt x="1198245" y="1161860"/>
                  </a:lnTo>
                  <a:lnTo>
                    <a:pt x="1199198" y="1157002"/>
                  </a:lnTo>
                  <a:lnTo>
                    <a:pt x="1200722" y="1156716"/>
                  </a:lnTo>
                  <a:lnTo>
                    <a:pt x="1202150" y="1155002"/>
                  </a:lnTo>
                  <a:lnTo>
                    <a:pt x="1197388" y="1155573"/>
                  </a:lnTo>
                  <a:lnTo>
                    <a:pt x="1196245" y="1158907"/>
                  </a:lnTo>
                  <a:lnTo>
                    <a:pt x="1194435" y="1157573"/>
                  </a:lnTo>
                  <a:lnTo>
                    <a:pt x="1191292" y="1157954"/>
                  </a:lnTo>
                  <a:lnTo>
                    <a:pt x="1192339" y="1165860"/>
                  </a:lnTo>
                  <a:lnTo>
                    <a:pt x="1187196" y="1163288"/>
                  </a:lnTo>
                  <a:lnTo>
                    <a:pt x="1179481" y="1165860"/>
                  </a:lnTo>
                  <a:lnTo>
                    <a:pt x="1177862" y="1166051"/>
                  </a:lnTo>
                  <a:lnTo>
                    <a:pt x="1178338" y="1169194"/>
                  </a:lnTo>
                  <a:lnTo>
                    <a:pt x="1175099" y="1169670"/>
                  </a:lnTo>
                  <a:lnTo>
                    <a:pt x="1171575" y="1166908"/>
                  </a:lnTo>
                  <a:lnTo>
                    <a:pt x="1170432" y="1170241"/>
                  </a:lnTo>
                  <a:lnTo>
                    <a:pt x="1167289" y="1170623"/>
                  </a:lnTo>
                  <a:lnTo>
                    <a:pt x="1163860" y="1169480"/>
                  </a:lnTo>
                  <a:lnTo>
                    <a:pt x="1157954" y="1173385"/>
                  </a:lnTo>
                  <a:lnTo>
                    <a:pt x="1150715" y="1166336"/>
                  </a:lnTo>
                  <a:lnTo>
                    <a:pt x="1146143" y="1168527"/>
                  </a:lnTo>
                  <a:lnTo>
                    <a:pt x="1143952" y="1163955"/>
                  </a:lnTo>
                  <a:lnTo>
                    <a:pt x="1137856" y="1166336"/>
                  </a:lnTo>
                  <a:lnTo>
                    <a:pt x="1136618" y="1169765"/>
                  </a:lnTo>
                  <a:lnTo>
                    <a:pt x="1134904" y="1168337"/>
                  </a:lnTo>
                  <a:lnTo>
                    <a:pt x="1133475" y="1170146"/>
                  </a:lnTo>
                  <a:lnTo>
                    <a:pt x="1131284" y="1165574"/>
                  </a:lnTo>
                  <a:lnTo>
                    <a:pt x="1129760" y="1165765"/>
                  </a:lnTo>
                  <a:lnTo>
                    <a:pt x="1129951" y="1167384"/>
                  </a:lnTo>
                  <a:lnTo>
                    <a:pt x="1124807" y="1164812"/>
                  </a:lnTo>
                  <a:lnTo>
                    <a:pt x="1126236" y="1163098"/>
                  </a:lnTo>
                  <a:lnTo>
                    <a:pt x="1120902" y="1158907"/>
                  </a:lnTo>
                  <a:lnTo>
                    <a:pt x="1120616" y="1157383"/>
                  </a:lnTo>
                  <a:lnTo>
                    <a:pt x="1108234" y="1160526"/>
                  </a:lnTo>
                  <a:lnTo>
                    <a:pt x="1101947" y="1161288"/>
                  </a:lnTo>
                  <a:lnTo>
                    <a:pt x="1096804" y="1171575"/>
                  </a:lnTo>
                  <a:lnTo>
                    <a:pt x="1100328" y="1174337"/>
                  </a:lnTo>
                  <a:lnTo>
                    <a:pt x="1105281" y="1175290"/>
                  </a:lnTo>
                  <a:lnTo>
                    <a:pt x="1109281" y="1181195"/>
                  </a:lnTo>
                  <a:lnTo>
                    <a:pt x="1107853" y="1183005"/>
                  </a:lnTo>
                  <a:lnTo>
                    <a:pt x="1110043" y="1187577"/>
                  </a:lnTo>
                  <a:lnTo>
                    <a:pt x="1108710" y="1189291"/>
                  </a:lnTo>
                  <a:lnTo>
                    <a:pt x="1102614" y="1191673"/>
                  </a:lnTo>
                  <a:lnTo>
                    <a:pt x="1091089" y="1189958"/>
                  </a:lnTo>
                  <a:lnTo>
                    <a:pt x="1088612" y="1195102"/>
                  </a:lnTo>
                  <a:lnTo>
                    <a:pt x="1081468" y="1189577"/>
                  </a:lnTo>
                  <a:lnTo>
                    <a:pt x="1076706" y="1190244"/>
                  </a:lnTo>
                  <a:lnTo>
                    <a:pt x="1073944" y="1193768"/>
                  </a:lnTo>
                  <a:lnTo>
                    <a:pt x="1074801" y="1200055"/>
                  </a:lnTo>
                  <a:lnTo>
                    <a:pt x="1073372" y="1201865"/>
                  </a:lnTo>
                  <a:lnTo>
                    <a:pt x="1072039" y="1203579"/>
                  </a:lnTo>
                  <a:lnTo>
                    <a:pt x="1075563" y="1206341"/>
                  </a:lnTo>
                  <a:lnTo>
                    <a:pt x="1079754" y="1213866"/>
                  </a:lnTo>
                  <a:lnTo>
                    <a:pt x="1076611" y="1214247"/>
                  </a:lnTo>
                  <a:lnTo>
                    <a:pt x="1071848" y="1214914"/>
                  </a:lnTo>
                  <a:lnTo>
                    <a:pt x="1070515" y="1216628"/>
                  </a:lnTo>
                  <a:lnTo>
                    <a:pt x="1071277" y="1223010"/>
                  </a:lnTo>
                  <a:lnTo>
                    <a:pt x="1066514" y="1223582"/>
                  </a:lnTo>
                  <a:lnTo>
                    <a:pt x="1065562" y="1228535"/>
                  </a:lnTo>
                  <a:lnTo>
                    <a:pt x="1064038" y="1228725"/>
                  </a:lnTo>
                  <a:lnTo>
                    <a:pt x="1058894" y="1226153"/>
                  </a:lnTo>
                  <a:lnTo>
                    <a:pt x="1056323" y="1231297"/>
                  </a:lnTo>
                  <a:lnTo>
                    <a:pt x="1051369" y="1230344"/>
                  </a:lnTo>
                  <a:lnTo>
                    <a:pt x="1048988" y="1224248"/>
                  </a:lnTo>
                  <a:lnTo>
                    <a:pt x="1041844" y="1218724"/>
                  </a:lnTo>
                  <a:lnTo>
                    <a:pt x="1046226" y="1214914"/>
                  </a:lnTo>
                  <a:lnTo>
                    <a:pt x="1041083" y="1212342"/>
                  </a:lnTo>
                  <a:lnTo>
                    <a:pt x="1039082" y="1209389"/>
                  </a:lnTo>
                  <a:lnTo>
                    <a:pt x="1040511" y="1207675"/>
                  </a:lnTo>
                  <a:lnTo>
                    <a:pt x="1038701" y="1206246"/>
                  </a:lnTo>
                  <a:lnTo>
                    <a:pt x="1036892" y="1204912"/>
                  </a:lnTo>
                  <a:lnTo>
                    <a:pt x="1035463" y="1193864"/>
                  </a:lnTo>
                  <a:lnTo>
                    <a:pt x="1031176" y="1197578"/>
                  </a:lnTo>
                  <a:lnTo>
                    <a:pt x="1032319" y="1194245"/>
                  </a:lnTo>
                  <a:lnTo>
                    <a:pt x="1031938" y="1191101"/>
                  </a:lnTo>
                  <a:lnTo>
                    <a:pt x="1030319" y="1191292"/>
                  </a:lnTo>
                  <a:lnTo>
                    <a:pt x="1031748" y="1189482"/>
                  </a:lnTo>
                  <a:lnTo>
                    <a:pt x="1031176" y="1184815"/>
                  </a:lnTo>
                  <a:lnTo>
                    <a:pt x="1026223" y="1183767"/>
                  </a:lnTo>
                  <a:lnTo>
                    <a:pt x="1029367" y="1183386"/>
                  </a:lnTo>
                  <a:lnTo>
                    <a:pt x="1032510" y="1183005"/>
                  </a:lnTo>
                  <a:lnTo>
                    <a:pt x="1032319" y="1181386"/>
                  </a:lnTo>
                  <a:lnTo>
                    <a:pt x="1025557" y="1179100"/>
                  </a:lnTo>
                  <a:lnTo>
                    <a:pt x="1025176" y="1175957"/>
                  </a:lnTo>
                  <a:lnTo>
                    <a:pt x="1024223" y="1180814"/>
                  </a:lnTo>
                  <a:lnTo>
                    <a:pt x="1021080" y="1181291"/>
                  </a:lnTo>
                  <a:lnTo>
                    <a:pt x="1019080" y="1178338"/>
                  </a:lnTo>
                  <a:lnTo>
                    <a:pt x="1016127" y="1180243"/>
                  </a:lnTo>
                  <a:lnTo>
                    <a:pt x="1012603" y="1190339"/>
                  </a:lnTo>
                  <a:lnTo>
                    <a:pt x="1014413" y="1191768"/>
                  </a:lnTo>
                  <a:lnTo>
                    <a:pt x="1012984" y="1193483"/>
                  </a:lnTo>
                  <a:lnTo>
                    <a:pt x="1009650" y="1192340"/>
                  </a:lnTo>
                  <a:lnTo>
                    <a:pt x="1009079" y="1187577"/>
                  </a:lnTo>
                  <a:lnTo>
                    <a:pt x="1005268" y="1183291"/>
                  </a:lnTo>
                  <a:lnTo>
                    <a:pt x="1003744" y="1183481"/>
                  </a:lnTo>
                  <a:lnTo>
                    <a:pt x="998601" y="1180910"/>
                  </a:lnTo>
                  <a:lnTo>
                    <a:pt x="992791" y="1173671"/>
                  </a:lnTo>
                  <a:lnTo>
                    <a:pt x="988219" y="1163003"/>
                  </a:lnTo>
                  <a:lnTo>
                    <a:pt x="985076" y="1163384"/>
                  </a:lnTo>
                  <a:lnTo>
                    <a:pt x="981932" y="1163765"/>
                  </a:lnTo>
                  <a:lnTo>
                    <a:pt x="965359" y="1159478"/>
                  </a:lnTo>
                  <a:lnTo>
                    <a:pt x="962977" y="1153382"/>
                  </a:lnTo>
                  <a:lnTo>
                    <a:pt x="953643" y="1143286"/>
                  </a:lnTo>
                  <a:lnTo>
                    <a:pt x="955072" y="1141571"/>
                  </a:lnTo>
                  <a:lnTo>
                    <a:pt x="953262" y="1140143"/>
                  </a:lnTo>
                  <a:lnTo>
                    <a:pt x="952500" y="1146715"/>
                  </a:lnTo>
                  <a:lnTo>
                    <a:pt x="951738" y="1153192"/>
                  </a:lnTo>
                  <a:lnTo>
                    <a:pt x="943832" y="1154240"/>
                  </a:lnTo>
                  <a:lnTo>
                    <a:pt x="944023" y="1155764"/>
                  </a:lnTo>
                  <a:lnTo>
                    <a:pt x="941070" y="1157764"/>
                  </a:lnTo>
                  <a:lnTo>
                    <a:pt x="941260" y="1159383"/>
                  </a:lnTo>
                  <a:lnTo>
                    <a:pt x="939546" y="1157954"/>
                  </a:lnTo>
                  <a:lnTo>
                    <a:pt x="936784" y="1161479"/>
                  </a:lnTo>
                  <a:lnTo>
                    <a:pt x="936974" y="1163098"/>
                  </a:lnTo>
                  <a:lnTo>
                    <a:pt x="940118" y="1162717"/>
                  </a:lnTo>
                  <a:lnTo>
                    <a:pt x="939546" y="1170813"/>
                  </a:lnTo>
                  <a:lnTo>
                    <a:pt x="927926" y="1167479"/>
                  </a:lnTo>
                  <a:lnTo>
                    <a:pt x="928306" y="1170623"/>
                  </a:lnTo>
                  <a:lnTo>
                    <a:pt x="930116" y="1171956"/>
                  </a:lnTo>
                  <a:lnTo>
                    <a:pt x="925354" y="1172623"/>
                  </a:lnTo>
                  <a:lnTo>
                    <a:pt x="926878" y="1172432"/>
                  </a:lnTo>
                  <a:lnTo>
                    <a:pt x="928878" y="1175385"/>
                  </a:lnTo>
                  <a:lnTo>
                    <a:pt x="927544" y="1177100"/>
                  </a:lnTo>
                  <a:lnTo>
                    <a:pt x="930878" y="1178338"/>
                  </a:lnTo>
                  <a:lnTo>
                    <a:pt x="928306" y="1183481"/>
                  </a:lnTo>
                  <a:lnTo>
                    <a:pt x="930116" y="1184815"/>
                  </a:lnTo>
                  <a:lnTo>
                    <a:pt x="926973" y="1185196"/>
                  </a:lnTo>
                  <a:lnTo>
                    <a:pt x="925735" y="1188625"/>
                  </a:lnTo>
                  <a:lnTo>
                    <a:pt x="924211" y="1188815"/>
                  </a:lnTo>
                  <a:lnTo>
                    <a:pt x="923449" y="1195292"/>
                  </a:lnTo>
                  <a:lnTo>
                    <a:pt x="921830" y="1195483"/>
                  </a:lnTo>
                  <a:lnTo>
                    <a:pt x="920687" y="1198816"/>
                  </a:lnTo>
                  <a:lnTo>
                    <a:pt x="922210" y="1198626"/>
                  </a:lnTo>
                  <a:lnTo>
                    <a:pt x="922687" y="1201769"/>
                  </a:lnTo>
                  <a:lnTo>
                    <a:pt x="927544" y="1202817"/>
                  </a:lnTo>
                  <a:lnTo>
                    <a:pt x="925259" y="1209485"/>
                  </a:lnTo>
                  <a:lnTo>
                    <a:pt x="927259" y="1212437"/>
                  </a:lnTo>
                  <a:lnTo>
                    <a:pt x="930212" y="1210437"/>
                  </a:lnTo>
                  <a:lnTo>
                    <a:pt x="930593" y="1213676"/>
                  </a:lnTo>
                  <a:lnTo>
                    <a:pt x="928973" y="1213866"/>
                  </a:lnTo>
                  <a:lnTo>
                    <a:pt x="934117" y="1216343"/>
                  </a:lnTo>
                  <a:lnTo>
                    <a:pt x="934498" y="1219581"/>
                  </a:lnTo>
                  <a:lnTo>
                    <a:pt x="930021" y="1221677"/>
                  </a:lnTo>
                  <a:lnTo>
                    <a:pt x="934688" y="1221105"/>
                  </a:lnTo>
                  <a:lnTo>
                    <a:pt x="933355" y="1222915"/>
                  </a:lnTo>
                  <a:lnTo>
                    <a:pt x="928783" y="1225106"/>
                  </a:lnTo>
                  <a:lnTo>
                    <a:pt x="925449" y="1223867"/>
                  </a:lnTo>
                  <a:lnTo>
                    <a:pt x="924115" y="1225677"/>
                  </a:lnTo>
                  <a:lnTo>
                    <a:pt x="924306" y="1227296"/>
                  </a:lnTo>
                  <a:lnTo>
                    <a:pt x="916591" y="1229868"/>
                  </a:lnTo>
                  <a:lnTo>
                    <a:pt x="916781" y="1231392"/>
                  </a:lnTo>
                  <a:lnTo>
                    <a:pt x="913638" y="1231868"/>
                  </a:lnTo>
                  <a:lnTo>
                    <a:pt x="913257" y="1228630"/>
                  </a:lnTo>
                  <a:lnTo>
                    <a:pt x="906971" y="1229487"/>
                  </a:lnTo>
                  <a:lnTo>
                    <a:pt x="903542" y="1228249"/>
                  </a:lnTo>
                  <a:lnTo>
                    <a:pt x="902208" y="1230059"/>
                  </a:lnTo>
                  <a:lnTo>
                    <a:pt x="902589" y="1233202"/>
                  </a:lnTo>
                  <a:lnTo>
                    <a:pt x="897826" y="1233869"/>
                  </a:lnTo>
                  <a:lnTo>
                    <a:pt x="896302" y="1234059"/>
                  </a:lnTo>
                  <a:lnTo>
                    <a:pt x="895350" y="1239012"/>
                  </a:lnTo>
                  <a:lnTo>
                    <a:pt x="888206" y="1246251"/>
                  </a:lnTo>
                  <a:lnTo>
                    <a:pt x="884872" y="1245108"/>
                  </a:lnTo>
                  <a:lnTo>
                    <a:pt x="883730" y="1248442"/>
                  </a:lnTo>
                  <a:lnTo>
                    <a:pt x="878776" y="1247489"/>
                  </a:lnTo>
                  <a:lnTo>
                    <a:pt x="876014" y="1251014"/>
                  </a:lnTo>
                  <a:lnTo>
                    <a:pt x="876395" y="1254252"/>
                  </a:lnTo>
                  <a:lnTo>
                    <a:pt x="871633" y="1254824"/>
                  </a:lnTo>
                  <a:lnTo>
                    <a:pt x="877443" y="1262062"/>
                  </a:lnTo>
                  <a:lnTo>
                    <a:pt x="874681" y="1265682"/>
                  </a:lnTo>
                  <a:lnTo>
                    <a:pt x="873919" y="1272159"/>
                  </a:lnTo>
                  <a:lnTo>
                    <a:pt x="872490" y="1273969"/>
                  </a:lnTo>
                  <a:lnTo>
                    <a:pt x="866013" y="1273207"/>
                  </a:lnTo>
                  <a:lnTo>
                    <a:pt x="864013" y="1270254"/>
                  </a:lnTo>
                  <a:lnTo>
                    <a:pt x="865156" y="1266825"/>
                  </a:lnTo>
                  <a:lnTo>
                    <a:pt x="862393" y="1257586"/>
                  </a:lnTo>
                  <a:lnTo>
                    <a:pt x="857440" y="1256633"/>
                  </a:lnTo>
                  <a:lnTo>
                    <a:pt x="843820" y="1250347"/>
                  </a:lnTo>
                  <a:lnTo>
                    <a:pt x="830009" y="1255300"/>
                  </a:lnTo>
                  <a:lnTo>
                    <a:pt x="826865" y="1255681"/>
                  </a:lnTo>
                  <a:lnTo>
                    <a:pt x="824675" y="1251204"/>
                  </a:lnTo>
                  <a:lnTo>
                    <a:pt x="820007" y="1251776"/>
                  </a:lnTo>
                  <a:lnTo>
                    <a:pt x="819531" y="1248632"/>
                  </a:lnTo>
                  <a:lnTo>
                    <a:pt x="822484" y="1246632"/>
                  </a:lnTo>
                  <a:lnTo>
                    <a:pt x="825627" y="1246251"/>
                  </a:lnTo>
                  <a:lnTo>
                    <a:pt x="826675" y="1241298"/>
                  </a:lnTo>
                  <a:lnTo>
                    <a:pt x="829437" y="1237774"/>
                  </a:lnTo>
                  <a:lnTo>
                    <a:pt x="830009" y="1229678"/>
                  </a:lnTo>
                  <a:lnTo>
                    <a:pt x="829532" y="1226534"/>
                  </a:lnTo>
                  <a:lnTo>
                    <a:pt x="828008" y="1226725"/>
                  </a:lnTo>
                  <a:lnTo>
                    <a:pt x="826580" y="1228439"/>
                  </a:lnTo>
                  <a:lnTo>
                    <a:pt x="825627" y="1233392"/>
                  </a:lnTo>
                  <a:lnTo>
                    <a:pt x="822674" y="1235393"/>
                  </a:lnTo>
                  <a:lnTo>
                    <a:pt x="817721" y="1234440"/>
                  </a:lnTo>
                  <a:lnTo>
                    <a:pt x="818197" y="1237583"/>
                  </a:lnTo>
                  <a:lnTo>
                    <a:pt x="814959" y="1237964"/>
                  </a:lnTo>
                  <a:lnTo>
                    <a:pt x="815816" y="1231487"/>
                  </a:lnTo>
                  <a:lnTo>
                    <a:pt x="810673" y="1241774"/>
                  </a:lnTo>
                  <a:lnTo>
                    <a:pt x="805720" y="1240727"/>
                  </a:lnTo>
                  <a:lnTo>
                    <a:pt x="807148" y="1239012"/>
                  </a:lnTo>
                  <a:lnTo>
                    <a:pt x="805529" y="1239203"/>
                  </a:lnTo>
                  <a:lnTo>
                    <a:pt x="804196" y="1240917"/>
                  </a:lnTo>
                  <a:lnTo>
                    <a:pt x="802196" y="1237964"/>
                  </a:lnTo>
                  <a:lnTo>
                    <a:pt x="800767" y="1239774"/>
                  </a:lnTo>
                  <a:lnTo>
                    <a:pt x="799052" y="1238441"/>
                  </a:lnTo>
                  <a:lnTo>
                    <a:pt x="794099" y="1237393"/>
                  </a:lnTo>
                  <a:lnTo>
                    <a:pt x="792099" y="1234440"/>
                  </a:lnTo>
                  <a:lnTo>
                    <a:pt x="789146" y="1236440"/>
                  </a:lnTo>
                  <a:lnTo>
                    <a:pt x="786384" y="1240060"/>
                  </a:lnTo>
                  <a:lnTo>
                    <a:pt x="784193" y="1235488"/>
                  </a:lnTo>
                  <a:lnTo>
                    <a:pt x="782860" y="1237298"/>
                  </a:lnTo>
                  <a:lnTo>
                    <a:pt x="782384" y="1234154"/>
                  </a:lnTo>
                  <a:lnTo>
                    <a:pt x="777907" y="1236250"/>
                  </a:lnTo>
                  <a:lnTo>
                    <a:pt x="777716" y="1234726"/>
                  </a:lnTo>
                  <a:lnTo>
                    <a:pt x="774383" y="1233583"/>
                  </a:lnTo>
                  <a:lnTo>
                    <a:pt x="776668" y="1226820"/>
                  </a:lnTo>
                  <a:lnTo>
                    <a:pt x="774954" y="1225487"/>
                  </a:lnTo>
                  <a:lnTo>
                    <a:pt x="770192" y="1226058"/>
                  </a:lnTo>
                  <a:lnTo>
                    <a:pt x="767429" y="1229582"/>
                  </a:lnTo>
                  <a:lnTo>
                    <a:pt x="762476" y="1228630"/>
                  </a:lnTo>
                  <a:lnTo>
                    <a:pt x="753809" y="1223296"/>
                  </a:lnTo>
                  <a:lnTo>
                    <a:pt x="749046" y="1223962"/>
                  </a:lnTo>
                  <a:lnTo>
                    <a:pt x="750856" y="1225296"/>
                  </a:lnTo>
                  <a:lnTo>
                    <a:pt x="748475" y="1232059"/>
                  </a:lnTo>
                  <a:lnTo>
                    <a:pt x="742379" y="1234440"/>
                  </a:lnTo>
                  <a:lnTo>
                    <a:pt x="744379" y="1237393"/>
                  </a:lnTo>
                  <a:lnTo>
                    <a:pt x="747522" y="1236916"/>
                  </a:lnTo>
                  <a:lnTo>
                    <a:pt x="746093" y="1238726"/>
                  </a:lnTo>
                  <a:lnTo>
                    <a:pt x="744569" y="1238917"/>
                  </a:lnTo>
                  <a:lnTo>
                    <a:pt x="740759" y="1234631"/>
                  </a:lnTo>
                  <a:lnTo>
                    <a:pt x="739616" y="1237964"/>
                  </a:lnTo>
                  <a:lnTo>
                    <a:pt x="736092" y="1235202"/>
                  </a:lnTo>
                  <a:lnTo>
                    <a:pt x="735616" y="1232059"/>
                  </a:lnTo>
                  <a:lnTo>
                    <a:pt x="734092" y="1232249"/>
                  </a:lnTo>
                  <a:lnTo>
                    <a:pt x="731901" y="1227677"/>
                  </a:lnTo>
                  <a:lnTo>
                    <a:pt x="727138" y="1228344"/>
                  </a:lnTo>
                  <a:lnTo>
                    <a:pt x="726186" y="1220438"/>
                  </a:lnTo>
                  <a:lnTo>
                    <a:pt x="719804" y="1221200"/>
                  </a:lnTo>
                  <a:lnTo>
                    <a:pt x="718661" y="1224629"/>
                  </a:lnTo>
                  <a:lnTo>
                    <a:pt x="715518" y="1225010"/>
                  </a:lnTo>
                  <a:lnTo>
                    <a:pt x="707422" y="1211580"/>
                  </a:lnTo>
                  <a:lnTo>
                    <a:pt x="704279" y="1211961"/>
                  </a:lnTo>
                  <a:lnTo>
                    <a:pt x="700468" y="1207675"/>
                  </a:lnTo>
                  <a:lnTo>
                    <a:pt x="702850" y="1213771"/>
                  </a:lnTo>
                  <a:lnTo>
                    <a:pt x="701326" y="1213961"/>
                  </a:lnTo>
                  <a:lnTo>
                    <a:pt x="697706" y="1211199"/>
                  </a:lnTo>
                  <a:lnTo>
                    <a:pt x="696373" y="1213009"/>
                  </a:lnTo>
                  <a:lnTo>
                    <a:pt x="697897" y="1212818"/>
                  </a:lnTo>
                  <a:lnTo>
                    <a:pt x="702278" y="1221867"/>
                  </a:lnTo>
                  <a:lnTo>
                    <a:pt x="700945" y="1223677"/>
                  </a:lnTo>
                  <a:lnTo>
                    <a:pt x="702659" y="1225010"/>
                  </a:lnTo>
                  <a:lnTo>
                    <a:pt x="699897" y="1228630"/>
                  </a:lnTo>
                  <a:lnTo>
                    <a:pt x="701897" y="1231583"/>
                  </a:lnTo>
                  <a:lnTo>
                    <a:pt x="706660" y="1230916"/>
                  </a:lnTo>
                  <a:lnTo>
                    <a:pt x="705231" y="1232726"/>
                  </a:lnTo>
                  <a:lnTo>
                    <a:pt x="701897" y="1231583"/>
                  </a:lnTo>
                  <a:lnTo>
                    <a:pt x="702278" y="1234726"/>
                  </a:lnTo>
                  <a:lnTo>
                    <a:pt x="700754" y="1234916"/>
                  </a:lnTo>
                  <a:lnTo>
                    <a:pt x="698183" y="1227201"/>
                  </a:lnTo>
                  <a:lnTo>
                    <a:pt x="695039" y="1227582"/>
                  </a:lnTo>
                  <a:lnTo>
                    <a:pt x="691420" y="1224820"/>
                  </a:lnTo>
                  <a:lnTo>
                    <a:pt x="686752" y="1225487"/>
                  </a:lnTo>
                  <a:lnTo>
                    <a:pt x="685514" y="1228820"/>
                  </a:lnTo>
                  <a:lnTo>
                    <a:pt x="682180" y="1227677"/>
                  </a:lnTo>
                  <a:lnTo>
                    <a:pt x="682371" y="1229201"/>
                  </a:lnTo>
                  <a:lnTo>
                    <a:pt x="680752" y="1229392"/>
                  </a:lnTo>
                  <a:lnTo>
                    <a:pt x="682752" y="1232345"/>
                  </a:lnTo>
                  <a:lnTo>
                    <a:pt x="681228" y="1232535"/>
                  </a:lnTo>
                  <a:lnTo>
                    <a:pt x="681418" y="1234154"/>
                  </a:lnTo>
                  <a:lnTo>
                    <a:pt x="679609" y="1232821"/>
                  </a:lnTo>
                  <a:lnTo>
                    <a:pt x="679799" y="1234345"/>
                  </a:lnTo>
                  <a:lnTo>
                    <a:pt x="678466" y="1236155"/>
                  </a:lnTo>
                  <a:lnTo>
                    <a:pt x="676465" y="1233202"/>
                  </a:lnTo>
                  <a:lnTo>
                    <a:pt x="675132" y="1234916"/>
                  </a:lnTo>
                  <a:lnTo>
                    <a:pt x="672751" y="1241679"/>
                  </a:lnTo>
                  <a:lnTo>
                    <a:pt x="671131" y="1241870"/>
                  </a:lnTo>
                  <a:lnTo>
                    <a:pt x="672370" y="1238536"/>
                  </a:lnTo>
                  <a:lnTo>
                    <a:pt x="668941" y="1237298"/>
                  </a:lnTo>
                  <a:lnTo>
                    <a:pt x="666179" y="1240917"/>
                  </a:lnTo>
                  <a:lnTo>
                    <a:pt x="665226" y="1245870"/>
                  </a:lnTo>
                  <a:lnTo>
                    <a:pt x="663702" y="1246061"/>
                  </a:lnTo>
                  <a:lnTo>
                    <a:pt x="663035" y="1241298"/>
                  </a:lnTo>
                  <a:lnTo>
                    <a:pt x="659892" y="1241679"/>
                  </a:lnTo>
                  <a:lnTo>
                    <a:pt x="659511" y="1238536"/>
                  </a:lnTo>
                  <a:lnTo>
                    <a:pt x="656177" y="1237393"/>
                  </a:lnTo>
                  <a:lnTo>
                    <a:pt x="648843" y="1243108"/>
                  </a:lnTo>
                  <a:lnTo>
                    <a:pt x="645509" y="1241965"/>
                  </a:lnTo>
                  <a:lnTo>
                    <a:pt x="643700" y="1240536"/>
                  </a:lnTo>
                  <a:lnTo>
                    <a:pt x="646843" y="1240155"/>
                  </a:lnTo>
                  <a:lnTo>
                    <a:pt x="648272" y="1238345"/>
                  </a:lnTo>
                  <a:lnTo>
                    <a:pt x="646081" y="1233869"/>
                  </a:lnTo>
                  <a:lnTo>
                    <a:pt x="648843" y="1230249"/>
                  </a:lnTo>
                  <a:lnTo>
                    <a:pt x="648462" y="1227106"/>
                  </a:lnTo>
                  <a:lnTo>
                    <a:pt x="645319" y="1227487"/>
                  </a:lnTo>
                  <a:lnTo>
                    <a:pt x="643509" y="1226153"/>
                  </a:lnTo>
                  <a:lnTo>
                    <a:pt x="641699" y="1224820"/>
                  </a:lnTo>
                  <a:lnTo>
                    <a:pt x="641699" y="1224820"/>
                  </a:lnTo>
                  <a:lnTo>
                    <a:pt x="639509" y="1220248"/>
                  </a:lnTo>
                  <a:lnTo>
                    <a:pt x="638175" y="1222058"/>
                  </a:lnTo>
                  <a:lnTo>
                    <a:pt x="631031" y="1216533"/>
                  </a:lnTo>
                  <a:lnTo>
                    <a:pt x="625316" y="1222058"/>
                  </a:lnTo>
                  <a:lnTo>
                    <a:pt x="623126" y="1217486"/>
                  </a:lnTo>
                  <a:lnTo>
                    <a:pt x="621792" y="1219295"/>
                  </a:lnTo>
                  <a:lnTo>
                    <a:pt x="621601" y="1217771"/>
                  </a:lnTo>
                  <a:lnTo>
                    <a:pt x="619792" y="1216343"/>
                  </a:lnTo>
                  <a:lnTo>
                    <a:pt x="620363" y="1208246"/>
                  </a:lnTo>
                  <a:lnTo>
                    <a:pt x="621697" y="1206437"/>
                  </a:lnTo>
                  <a:lnTo>
                    <a:pt x="616363" y="1202341"/>
                  </a:lnTo>
                  <a:lnTo>
                    <a:pt x="609886" y="1201579"/>
                  </a:lnTo>
                  <a:lnTo>
                    <a:pt x="609505" y="1198436"/>
                  </a:lnTo>
                  <a:lnTo>
                    <a:pt x="604933" y="1200626"/>
                  </a:lnTo>
                  <a:lnTo>
                    <a:pt x="602551" y="1194435"/>
                  </a:lnTo>
                  <a:lnTo>
                    <a:pt x="596837" y="1200055"/>
                  </a:lnTo>
                  <a:lnTo>
                    <a:pt x="593693" y="1200436"/>
                  </a:lnTo>
                  <a:lnTo>
                    <a:pt x="582835" y="1203389"/>
                  </a:lnTo>
                  <a:lnTo>
                    <a:pt x="580644" y="1198912"/>
                  </a:lnTo>
                  <a:lnTo>
                    <a:pt x="577882" y="1202436"/>
                  </a:lnTo>
                  <a:lnTo>
                    <a:pt x="574738" y="1202817"/>
                  </a:lnTo>
                  <a:lnTo>
                    <a:pt x="573405" y="1204627"/>
                  </a:lnTo>
                  <a:lnTo>
                    <a:pt x="573786" y="1207770"/>
                  </a:lnTo>
                  <a:lnTo>
                    <a:pt x="574834" y="1215676"/>
                  </a:lnTo>
                  <a:lnTo>
                    <a:pt x="570262" y="1217866"/>
                  </a:lnTo>
                  <a:lnTo>
                    <a:pt x="570643" y="1221010"/>
                  </a:lnTo>
                  <a:lnTo>
                    <a:pt x="566356" y="1224725"/>
                  </a:lnTo>
                  <a:lnTo>
                    <a:pt x="563213" y="1225201"/>
                  </a:lnTo>
                  <a:lnTo>
                    <a:pt x="563594" y="1228344"/>
                  </a:lnTo>
                  <a:lnTo>
                    <a:pt x="566547" y="1226344"/>
                  </a:lnTo>
                  <a:lnTo>
                    <a:pt x="560832" y="1231868"/>
                  </a:lnTo>
                  <a:lnTo>
                    <a:pt x="561404" y="1236631"/>
                  </a:lnTo>
                  <a:lnTo>
                    <a:pt x="556546" y="1235678"/>
                  </a:lnTo>
                  <a:lnTo>
                    <a:pt x="556069" y="1232440"/>
                  </a:lnTo>
                  <a:lnTo>
                    <a:pt x="559022" y="1230535"/>
                  </a:lnTo>
                  <a:lnTo>
                    <a:pt x="557308" y="1229106"/>
                  </a:lnTo>
                  <a:lnTo>
                    <a:pt x="551117" y="1231487"/>
                  </a:lnTo>
                  <a:lnTo>
                    <a:pt x="543306" y="1232535"/>
                  </a:lnTo>
                  <a:lnTo>
                    <a:pt x="540353" y="1234535"/>
                  </a:lnTo>
                  <a:lnTo>
                    <a:pt x="536924" y="1233297"/>
                  </a:lnTo>
                  <a:lnTo>
                    <a:pt x="532067" y="1232345"/>
                  </a:lnTo>
                  <a:lnTo>
                    <a:pt x="525685" y="1233107"/>
                  </a:lnTo>
                  <a:lnTo>
                    <a:pt x="522542" y="1233583"/>
                  </a:lnTo>
                  <a:lnTo>
                    <a:pt x="521398" y="1236916"/>
                  </a:lnTo>
                  <a:lnTo>
                    <a:pt x="514255" y="1231392"/>
                  </a:lnTo>
                  <a:lnTo>
                    <a:pt x="509492" y="1231964"/>
                  </a:lnTo>
                  <a:lnTo>
                    <a:pt x="501205" y="1229868"/>
                  </a:lnTo>
                  <a:lnTo>
                    <a:pt x="502444" y="1239298"/>
                  </a:lnTo>
                  <a:lnTo>
                    <a:pt x="497300" y="1236726"/>
                  </a:lnTo>
                  <a:lnTo>
                    <a:pt x="492728" y="1238917"/>
                  </a:lnTo>
                  <a:lnTo>
                    <a:pt x="491014" y="1237583"/>
                  </a:lnTo>
                  <a:lnTo>
                    <a:pt x="490633" y="1234440"/>
                  </a:lnTo>
                  <a:lnTo>
                    <a:pt x="491776" y="1231011"/>
                  </a:lnTo>
                  <a:lnTo>
                    <a:pt x="489775" y="1228058"/>
                  </a:lnTo>
                  <a:lnTo>
                    <a:pt x="486632" y="1228535"/>
                  </a:lnTo>
                  <a:lnTo>
                    <a:pt x="487394" y="1234821"/>
                  </a:lnTo>
                  <a:lnTo>
                    <a:pt x="486251" y="1238155"/>
                  </a:lnTo>
                  <a:lnTo>
                    <a:pt x="479774" y="1237393"/>
                  </a:lnTo>
                  <a:lnTo>
                    <a:pt x="478346" y="1239203"/>
                  </a:lnTo>
                  <a:lnTo>
                    <a:pt x="476345" y="1236250"/>
                  </a:lnTo>
                  <a:lnTo>
                    <a:pt x="470059" y="1237012"/>
                  </a:lnTo>
                  <a:lnTo>
                    <a:pt x="469868" y="1235488"/>
                  </a:lnTo>
                  <a:lnTo>
                    <a:pt x="466915" y="1237393"/>
                  </a:lnTo>
                  <a:lnTo>
                    <a:pt x="464915" y="1234440"/>
                  </a:lnTo>
                  <a:lnTo>
                    <a:pt x="463391" y="1234631"/>
                  </a:lnTo>
                  <a:lnTo>
                    <a:pt x="461010" y="1228535"/>
                  </a:lnTo>
                  <a:lnTo>
                    <a:pt x="461963" y="1223582"/>
                  </a:lnTo>
                  <a:lnTo>
                    <a:pt x="463296" y="1221867"/>
                  </a:lnTo>
                  <a:lnTo>
                    <a:pt x="462534" y="1215485"/>
                  </a:lnTo>
                  <a:lnTo>
                    <a:pt x="462153" y="1212342"/>
                  </a:lnTo>
                  <a:lnTo>
                    <a:pt x="463487" y="1210628"/>
                  </a:lnTo>
                  <a:lnTo>
                    <a:pt x="463105" y="1207484"/>
                  </a:lnTo>
                  <a:lnTo>
                    <a:pt x="467868" y="1206818"/>
                  </a:lnTo>
                  <a:lnTo>
                    <a:pt x="462915" y="1205865"/>
                  </a:lnTo>
                  <a:lnTo>
                    <a:pt x="457390" y="1200150"/>
                  </a:lnTo>
                  <a:lnTo>
                    <a:pt x="455962" y="1201960"/>
                  </a:lnTo>
                  <a:lnTo>
                    <a:pt x="446532" y="1203103"/>
                  </a:lnTo>
                  <a:lnTo>
                    <a:pt x="443198" y="1201960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7" name="Volný tvar: obrazec 36">
              <a:extLst>
                <a:ext uri="{FF2B5EF4-FFF2-40B4-BE49-F238E27FC236}">
                  <a16:creationId xmlns:a16="http://schemas.microsoft.com/office/drawing/2014/main" id="{0659051C-D7EF-9CA4-575F-8528903006A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37533" y="2694717"/>
              <a:ext cx="860393" cy="1348549"/>
            </a:xfrm>
            <a:custGeom>
              <a:avLst/>
              <a:gdLst>
                <a:gd name="connsiteX0" fmla="*/ 855250 w 860393"/>
                <a:gd name="connsiteY0" fmla="*/ 1022509 h 1348549"/>
                <a:gd name="connsiteX1" fmla="*/ 856012 w 860393"/>
                <a:gd name="connsiteY1" fmla="*/ 1016032 h 1348549"/>
                <a:gd name="connsiteX2" fmla="*/ 854202 w 860393"/>
                <a:gd name="connsiteY2" fmla="*/ 1014698 h 1348549"/>
                <a:gd name="connsiteX3" fmla="*/ 853821 w 860393"/>
                <a:gd name="connsiteY3" fmla="*/ 1011555 h 1348549"/>
                <a:gd name="connsiteX4" fmla="*/ 852202 w 860393"/>
                <a:gd name="connsiteY4" fmla="*/ 1011746 h 1348549"/>
                <a:gd name="connsiteX5" fmla="*/ 854583 w 860393"/>
                <a:gd name="connsiteY5" fmla="*/ 1004983 h 1348549"/>
                <a:gd name="connsiteX6" fmla="*/ 847439 w 860393"/>
                <a:gd name="connsiteY6" fmla="*/ 999458 h 1348549"/>
                <a:gd name="connsiteX7" fmla="*/ 850011 w 860393"/>
                <a:gd name="connsiteY7" fmla="*/ 994315 h 1348549"/>
                <a:gd name="connsiteX8" fmla="*/ 849821 w 860393"/>
                <a:gd name="connsiteY8" fmla="*/ 992791 h 1348549"/>
                <a:gd name="connsiteX9" fmla="*/ 846677 w 860393"/>
                <a:gd name="connsiteY9" fmla="*/ 993172 h 1348549"/>
                <a:gd name="connsiteX10" fmla="*/ 845725 w 860393"/>
                <a:gd name="connsiteY10" fmla="*/ 998125 h 1348549"/>
                <a:gd name="connsiteX11" fmla="*/ 835438 w 860393"/>
                <a:gd name="connsiteY11" fmla="*/ 992981 h 1348549"/>
                <a:gd name="connsiteX12" fmla="*/ 832675 w 860393"/>
                <a:gd name="connsiteY12" fmla="*/ 996601 h 1348549"/>
                <a:gd name="connsiteX13" fmla="*/ 833247 w 860393"/>
                <a:gd name="connsiteY13" fmla="*/ 1001268 h 1348549"/>
                <a:gd name="connsiteX14" fmla="*/ 828484 w 860393"/>
                <a:gd name="connsiteY14" fmla="*/ 1001935 h 1348549"/>
                <a:gd name="connsiteX15" fmla="*/ 827151 w 860393"/>
                <a:gd name="connsiteY15" fmla="*/ 1003649 h 1348549"/>
                <a:gd name="connsiteX16" fmla="*/ 822484 w 860393"/>
                <a:gd name="connsiteY16" fmla="*/ 1017080 h 1348549"/>
                <a:gd name="connsiteX17" fmla="*/ 815340 w 860393"/>
                <a:gd name="connsiteY17" fmla="*/ 1011555 h 1348549"/>
                <a:gd name="connsiteX18" fmla="*/ 814483 w 860393"/>
                <a:gd name="connsiteY18" fmla="*/ 1005268 h 1348549"/>
                <a:gd name="connsiteX19" fmla="*/ 810578 w 860393"/>
                <a:gd name="connsiteY19" fmla="*/ 999363 h 1348549"/>
                <a:gd name="connsiteX20" fmla="*/ 807434 w 860393"/>
                <a:gd name="connsiteY20" fmla="*/ 999744 h 1348549"/>
                <a:gd name="connsiteX21" fmla="*/ 806958 w 860393"/>
                <a:gd name="connsiteY21" fmla="*/ 996601 h 1348549"/>
                <a:gd name="connsiteX22" fmla="*/ 814102 w 860393"/>
                <a:gd name="connsiteY22" fmla="*/ 989267 h 1348549"/>
                <a:gd name="connsiteX23" fmla="*/ 819055 w 860393"/>
                <a:gd name="connsiteY23" fmla="*/ 990314 h 1348549"/>
                <a:gd name="connsiteX24" fmla="*/ 822960 w 860393"/>
                <a:gd name="connsiteY24" fmla="*/ 983361 h 1348549"/>
                <a:gd name="connsiteX25" fmla="*/ 819626 w 860393"/>
                <a:gd name="connsiteY25" fmla="*/ 982218 h 1348549"/>
                <a:gd name="connsiteX26" fmla="*/ 820769 w 860393"/>
                <a:gd name="connsiteY26" fmla="*/ 978789 h 1348549"/>
                <a:gd name="connsiteX27" fmla="*/ 819150 w 860393"/>
                <a:gd name="connsiteY27" fmla="*/ 979075 h 1348549"/>
                <a:gd name="connsiteX28" fmla="*/ 822103 w 860393"/>
                <a:gd name="connsiteY28" fmla="*/ 977075 h 1348549"/>
                <a:gd name="connsiteX29" fmla="*/ 818959 w 860393"/>
                <a:gd name="connsiteY29" fmla="*/ 977455 h 1348549"/>
                <a:gd name="connsiteX30" fmla="*/ 813816 w 860393"/>
                <a:gd name="connsiteY30" fmla="*/ 974884 h 1348549"/>
                <a:gd name="connsiteX31" fmla="*/ 814673 w 860393"/>
                <a:gd name="connsiteY31" fmla="*/ 968407 h 1348549"/>
                <a:gd name="connsiteX32" fmla="*/ 812863 w 860393"/>
                <a:gd name="connsiteY32" fmla="*/ 966978 h 1348549"/>
                <a:gd name="connsiteX33" fmla="*/ 809911 w 860393"/>
                <a:gd name="connsiteY33" fmla="*/ 968978 h 1348549"/>
                <a:gd name="connsiteX34" fmla="*/ 807720 w 860393"/>
                <a:gd name="connsiteY34" fmla="*/ 964501 h 1348549"/>
                <a:gd name="connsiteX35" fmla="*/ 809054 w 860393"/>
                <a:gd name="connsiteY35" fmla="*/ 962692 h 1348549"/>
                <a:gd name="connsiteX36" fmla="*/ 807530 w 860393"/>
                <a:gd name="connsiteY36" fmla="*/ 962882 h 1348549"/>
                <a:gd name="connsiteX37" fmla="*/ 806863 w 860393"/>
                <a:gd name="connsiteY37" fmla="*/ 958120 h 1348549"/>
                <a:gd name="connsiteX38" fmla="*/ 803720 w 860393"/>
                <a:gd name="connsiteY38" fmla="*/ 958501 h 1348549"/>
                <a:gd name="connsiteX39" fmla="*/ 801338 w 860393"/>
                <a:gd name="connsiteY39" fmla="*/ 952405 h 1348549"/>
                <a:gd name="connsiteX40" fmla="*/ 799433 w 860393"/>
                <a:gd name="connsiteY40" fmla="*/ 949452 h 1348549"/>
                <a:gd name="connsiteX41" fmla="*/ 795814 w 860393"/>
                <a:gd name="connsiteY41" fmla="*/ 946690 h 1348549"/>
                <a:gd name="connsiteX42" fmla="*/ 790289 w 860393"/>
                <a:gd name="connsiteY42" fmla="*/ 940975 h 1348549"/>
                <a:gd name="connsiteX43" fmla="*/ 785717 w 860393"/>
                <a:gd name="connsiteY43" fmla="*/ 930402 h 1348549"/>
                <a:gd name="connsiteX44" fmla="*/ 779240 w 860393"/>
                <a:gd name="connsiteY44" fmla="*/ 929640 h 1348549"/>
                <a:gd name="connsiteX45" fmla="*/ 770572 w 860393"/>
                <a:gd name="connsiteY45" fmla="*/ 924306 h 1348549"/>
                <a:gd name="connsiteX46" fmla="*/ 764762 w 860393"/>
                <a:gd name="connsiteY46" fmla="*/ 916972 h 1348549"/>
                <a:gd name="connsiteX47" fmla="*/ 761619 w 860393"/>
                <a:gd name="connsiteY47" fmla="*/ 917448 h 1348549"/>
                <a:gd name="connsiteX48" fmla="*/ 758857 w 860393"/>
                <a:gd name="connsiteY48" fmla="*/ 920972 h 1348549"/>
                <a:gd name="connsiteX49" fmla="*/ 757047 w 860393"/>
                <a:gd name="connsiteY49" fmla="*/ 919543 h 1348549"/>
                <a:gd name="connsiteX50" fmla="*/ 755904 w 860393"/>
                <a:gd name="connsiteY50" fmla="*/ 910114 h 1348549"/>
                <a:gd name="connsiteX51" fmla="*/ 750570 w 860393"/>
                <a:gd name="connsiteY51" fmla="*/ 906018 h 1348549"/>
                <a:gd name="connsiteX52" fmla="*/ 754285 w 860393"/>
                <a:gd name="connsiteY52" fmla="*/ 897541 h 1348549"/>
                <a:gd name="connsiteX53" fmla="*/ 743617 w 860393"/>
                <a:gd name="connsiteY53" fmla="*/ 889254 h 1348549"/>
                <a:gd name="connsiteX54" fmla="*/ 735044 w 860393"/>
                <a:gd name="connsiteY54" fmla="*/ 872680 h 1348549"/>
                <a:gd name="connsiteX55" fmla="*/ 727996 w 860393"/>
                <a:gd name="connsiteY55" fmla="*/ 867156 h 1348549"/>
                <a:gd name="connsiteX56" fmla="*/ 727996 w 860393"/>
                <a:gd name="connsiteY56" fmla="*/ 867156 h 1348549"/>
                <a:gd name="connsiteX57" fmla="*/ 725424 w 860393"/>
                <a:gd name="connsiteY57" fmla="*/ 872300 h 1348549"/>
                <a:gd name="connsiteX58" fmla="*/ 725043 w 860393"/>
                <a:gd name="connsiteY58" fmla="*/ 882015 h 1348549"/>
                <a:gd name="connsiteX59" fmla="*/ 723424 w 860393"/>
                <a:gd name="connsiteY59" fmla="*/ 882205 h 1348549"/>
                <a:gd name="connsiteX60" fmla="*/ 722090 w 860393"/>
                <a:gd name="connsiteY60" fmla="*/ 883920 h 1348549"/>
                <a:gd name="connsiteX61" fmla="*/ 720280 w 860393"/>
                <a:gd name="connsiteY61" fmla="*/ 882587 h 1348549"/>
                <a:gd name="connsiteX62" fmla="*/ 717709 w 860393"/>
                <a:gd name="connsiteY62" fmla="*/ 887730 h 1348549"/>
                <a:gd name="connsiteX63" fmla="*/ 715994 w 860393"/>
                <a:gd name="connsiteY63" fmla="*/ 886301 h 1348549"/>
                <a:gd name="connsiteX64" fmla="*/ 715613 w 860393"/>
                <a:gd name="connsiteY64" fmla="*/ 883158 h 1348549"/>
                <a:gd name="connsiteX65" fmla="*/ 694849 w 860393"/>
                <a:gd name="connsiteY65" fmla="*/ 871347 h 1348549"/>
                <a:gd name="connsiteX66" fmla="*/ 692467 w 860393"/>
                <a:gd name="connsiteY66" fmla="*/ 865251 h 1348549"/>
                <a:gd name="connsiteX67" fmla="*/ 690848 w 860393"/>
                <a:gd name="connsiteY67" fmla="*/ 852678 h 1348549"/>
                <a:gd name="connsiteX68" fmla="*/ 687610 w 860393"/>
                <a:gd name="connsiteY68" fmla="*/ 840200 h 1348549"/>
                <a:gd name="connsiteX69" fmla="*/ 688657 w 860393"/>
                <a:gd name="connsiteY69" fmla="*/ 835247 h 1348549"/>
                <a:gd name="connsiteX70" fmla="*/ 694849 w 860393"/>
                <a:gd name="connsiteY70" fmla="*/ 821626 h 1348549"/>
                <a:gd name="connsiteX71" fmla="*/ 696468 w 860393"/>
                <a:gd name="connsiteY71" fmla="*/ 821436 h 1348549"/>
                <a:gd name="connsiteX72" fmla="*/ 697421 w 860393"/>
                <a:gd name="connsiteY72" fmla="*/ 816483 h 1348549"/>
                <a:gd name="connsiteX73" fmla="*/ 699040 w 860393"/>
                <a:gd name="connsiteY73" fmla="*/ 816293 h 1348549"/>
                <a:gd name="connsiteX74" fmla="*/ 697039 w 860393"/>
                <a:gd name="connsiteY74" fmla="*/ 813340 h 1348549"/>
                <a:gd name="connsiteX75" fmla="*/ 697611 w 860393"/>
                <a:gd name="connsiteY75" fmla="*/ 805243 h 1348549"/>
                <a:gd name="connsiteX76" fmla="*/ 696087 w 860393"/>
                <a:gd name="connsiteY76" fmla="*/ 805529 h 1348549"/>
                <a:gd name="connsiteX77" fmla="*/ 693706 w 860393"/>
                <a:gd name="connsiteY77" fmla="*/ 812197 h 1348549"/>
                <a:gd name="connsiteX78" fmla="*/ 690563 w 860393"/>
                <a:gd name="connsiteY78" fmla="*/ 812578 h 1348549"/>
                <a:gd name="connsiteX79" fmla="*/ 686943 w 860393"/>
                <a:gd name="connsiteY79" fmla="*/ 809815 h 1348549"/>
                <a:gd name="connsiteX80" fmla="*/ 685229 w 860393"/>
                <a:gd name="connsiteY80" fmla="*/ 808482 h 1348549"/>
                <a:gd name="connsiteX81" fmla="*/ 681799 w 860393"/>
                <a:gd name="connsiteY81" fmla="*/ 807339 h 1348549"/>
                <a:gd name="connsiteX82" fmla="*/ 684371 w 860393"/>
                <a:gd name="connsiteY82" fmla="*/ 802196 h 1348549"/>
                <a:gd name="connsiteX83" fmla="*/ 680847 w 860393"/>
                <a:gd name="connsiteY83" fmla="*/ 799433 h 1348549"/>
                <a:gd name="connsiteX84" fmla="*/ 677513 w 860393"/>
                <a:gd name="connsiteY84" fmla="*/ 798195 h 1348549"/>
                <a:gd name="connsiteX85" fmla="*/ 671322 w 860393"/>
                <a:gd name="connsiteY85" fmla="*/ 800576 h 1348549"/>
                <a:gd name="connsiteX86" fmla="*/ 665416 w 860393"/>
                <a:gd name="connsiteY86" fmla="*/ 791718 h 1348549"/>
                <a:gd name="connsiteX87" fmla="*/ 660654 w 860393"/>
                <a:gd name="connsiteY87" fmla="*/ 792385 h 1348549"/>
                <a:gd name="connsiteX88" fmla="*/ 651986 w 860393"/>
                <a:gd name="connsiteY88" fmla="*/ 787051 h 1348549"/>
                <a:gd name="connsiteX89" fmla="*/ 649605 w 860393"/>
                <a:gd name="connsiteY89" fmla="*/ 793718 h 1348549"/>
                <a:gd name="connsiteX90" fmla="*/ 646271 w 860393"/>
                <a:gd name="connsiteY90" fmla="*/ 792575 h 1348549"/>
                <a:gd name="connsiteX91" fmla="*/ 642175 w 860393"/>
                <a:gd name="connsiteY91" fmla="*/ 797909 h 1348549"/>
                <a:gd name="connsiteX92" fmla="*/ 636080 w 860393"/>
                <a:gd name="connsiteY92" fmla="*/ 800290 h 1348549"/>
                <a:gd name="connsiteX93" fmla="*/ 635317 w 860393"/>
                <a:gd name="connsiteY93" fmla="*/ 806768 h 1348549"/>
                <a:gd name="connsiteX94" fmla="*/ 622649 w 860393"/>
                <a:gd name="connsiteY94" fmla="*/ 808387 h 1348549"/>
                <a:gd name="connsiteX95" fmla="*/ 615887 w 860393"/>
                <a:gd name="connsiteY95" fmla="*/ 806101 h 1348549"/>
                <a:gd name="connsiteX96" fmla="*/ 604075 w 860393"/>
                <a:gd name="connsiteY96" fmla="*/ 788289 h 1348549"/>
                <a:gd name="connsiteX97" fmla="*/ 595598 w 860393"/>
                <a:gd name="connsiteY97" fmla="*/ 784574 h 1348549"/>
                <a:gd name="connsiteX98" fmla="*/ 587312 w 860393"/>
                <a:gd name="connsiteY98" fmla="*/ 782479 h 1348549"/>
                <a:gd name="connsiteX99" fmla="*/ 585311 w 860393"/>
                <a:gd name="connsiteY99" fmla="*/ 779526 h 1348549"/>
                <a:gd name="connsiteX100" fmla="*/ 581978 w 860393"/>
                <a:gd name="connsiteY100" fmla="*/ 778288 h 1348549"/>
                <a:gd name="connsiteX101" fmla="*/ 579406 w 860393"/>
                <a:gd name="connsiteY101" fmla="*/ 783431 h 1348549"/>
                <a:gd name="connsiteX102" fmla="*/ 578167 w 860393"/>
                <a:gd name="connsiteY102" fmla="*/ 786860 h 1348549"/>
                <a:gd name="connsiteX103" fmla="*/ 579977 w 860393"/>
                <a:gd name="connsiteY103" fmla="*/ 788194 h 1348549"/>
                <a:gd name="connsiteX104" fmla="*/ 572072 w 860393"/>
                <a:gd name="connsiteY104" fmla="*/ 802005 h 1348549"/>
                <a:gd name="connsiteX105" fmla="*/ 558927 w 860393"/>
                <a:gd name="connsiteY105" fmla="*/ 798862 h 1348549"/>
                <a:gd name="connsiteX106" fmla="*/ 555498 w 860393"/>
                <a:gd name="connsiteY106" fmla="*/ 797719 h 1348549"/>
                <a:gd name="connsiteX107" fmla="*/ 547211 w 860393"/>
                <a:gd name="connsiteY107" fmla="*/ 782764 h 1348549"/>
                <a:gd name="connsiteX108" fmla="*/ 543878 w 860393"/>
                <a:gd name="connsiteY108" fmla="*/ 781526 h 1348549"/>
                <a:gd name="connsiteX109" fmla="*/ 541115 w 860393"/>
                <a:gd name="connsiteY109" fmla="*/ 785146 h 1348549"/>
                <a:gd name="connsiteX110" fmla="*/ 535972 w 860393"/>
                <a:gd name="connsiteY110" fmla="*/ 782574 h 1348549"/>
                <a:gd name="connsiteX111" fmla="*/ 520922 w 860393"/>
                <a:gd name="connsiteY111" fmla="*/ 778097 h 1348549"/>
                <a:gd name="connsiteX112" fmla="*/ 513493 w 860393"/>
                <a:gd name="connsiteY112" fmla="*/ 782193 h 1348549"/>
                <a:gd name="connsiteX113" fmla="*/ 509111 w 860393"/>
                <a:gd name="connsiteY113" fmla="*/ 786003 h 1348549"/>
                <a:gd name="connsiteX114" fmla="*/ 504444 w 860393"/>
                <a:gd name="connsiteY114" fmla="*/ 786575 h 1348549"/>
                <a:gd name="connsiteX115" fmla="*/ 504825 w 860393"/>
                <a:gd name="connsiteY115" fmla="*/ 789718 h 1348549"/>
                <a:gd name="connsiteX116" fmla="*/ 502634 w 860393"/>
                <a:gd name="connsiteY116" fmla="*/ 785241 h 1348549"/>
                <a:gd name="connsiteX117" fmla="*/ 495490 w 860393"/>
                <a:gd name="connsiteY117" fmla="*/ 779717 h 1348549"/>
                <a:gd name="connsiteX118" fmla="*/ 501587 w 860393"/>
                <a:gd name="connsiteY118" fmla="*/ 777335 h 1348549"/>
                <a:gd name="connsiteX119" fmla="*/ 499681 w 860393"/>
                <a:gd name="connsiteY119" fmla="*/ 774383 h 1348549"/>
                <a:gd name="connsiteX120" fmla="*/ 492538 w 860393"/>
                <a:gd name="connsiteY120" fmla="*/ 768858 h 1348549"/>
                <a:gd name="connsiteX121" fmla="*/ 492157 w 860393"/>
                <a:gd name="connsiteY121" fmla="*/ 765715 h 1348549"/>
                <a:gd name="connsiteX122" fmla="*/ 495109 w 860393"/>
                <a:gd name="connsiteY122" fmla="*/ 763714 h 1348549"/>
                <a:gd name="connsiteX123" fmla="*/ 492728 w 860393"/>
                <a:gd name="connsiteY123" fmla="*/ 757618 h 1348549"/>
                <a:gd name="connsiteX124" fmla="*/ 485775 w 860393"/>
                <a:gd name="connsiteY124" fmla="*/ 753713 h 1348549"/>
                <a:gd name="connsiteX125" fmla="*/ 483584 w 860393"/>
                <a:gd name="connsiteY125" fmla="*/ 749141 h 1348549"/>
                <a:gd name="connsiteX126" fmla="*/ 480441 w 860393"/>
                <a:gd name="connsiteY126" fmla="*/ 749522 h 1348549"/>
                <a:gd name="connsiteX127" fmla="*/ 478441 w 860393"/>
                <a:gd name="connsiteY127" fmla="*/ 746569 h 1348549"/>
                <a:gd name="connsiteX128" fmla="*/ 467011 w 860393"/>
                <a:gd name="connsiteY128" fmla="*/ 731996 h 1348549"/>
                <a:gd name="connsiteX129" fmla="*/ 465011 w 860393"/>
                <a:gd name="connsiteY129" fmla="*/ 729043 h 1348549"/>
                <a:gd name="connsiteX130" fmla="*/ 463582 w 860393"/>
                <a:gd name="connsiteY130" fmla="*/ 730853 h 1348549"/>
                <a:gd name="connsiteX131" fmla="*/ 456152 w 860393"/>
                <a:gd name="connsiteY131" fmla="*/ 722185 h 1348549"/>
                <a:gd name="connsiteX132" fmla="*/ 448818 w 860393"/>
                <a:gd name="connsiteY132" fmla="*/ 727901 h 1348549"/>
                <a:gd name="connsiteX133" fmla="*/ 439388 w 860393"/>
                <a:gd name="connsiteY133" fmla="*/ 729139 h 1348549"/>
                <a:gd name="connsiteX134" fmla="*/ 436626 w 860393"/>
                <a:gd name="connsiteY134" fmla="*/ 732663 h 1348549"/>
                <a:gd name="connsiteX135" fmla="*/ 434054 w 860393"/>
                <a:gd name="connsiteY135" fmla="*/ 737806 h 1348549"/>
                <a:gd name="connsiteX136" fmla="*/ 432054 w 860393"/>
                <a:gd name="connsiteY136" fmla="*/ 734854 h 1348549"/>
                <a:gd name="connsiteX137" fmla="*/ 433006 w 860393"/>
                <a:gd name="connsiteY137" fmla="*/ 729901 h 1348549"/>
                <a:gd name="connsiteX138" fmla="*/ 421386 w 860393"/>
                <a:gd name="connsiteY138" fmla="*/ 726567 h 1348549"/>
                <a:gd name="connsiteX139" fmla="*/ 415290 w 860393"/>
                <a:gd name="connsiteY139" fmla="*/ 729043 h 1348549"/>
                <a:gd name="connsiteX140" fmla="*/ 410337 w 860393"/>
                <a:gd name="connsiteY140" fmla="*/ 727996 h 1348549"/>
                <a:gd name="connsiteX141" fmla="*/ 410146 w 860393"/>
                <a:gd name="connsiteY141" fmla="*/ 726472 h 1348549"/>
                <a:gd name="connsiteX142" fmla="*/ 409956 w 860393"/>
                <a:gd name="connsiteY142" fmla="*/ 724852 h 1348549"/>
                <a:gd name="connsiteX143" fmla="*/ 404622 w 860393"/>
                <a:gd name="connsiteY143" fmla="*/ 720757 h 1348549"/>
                <a:gd name="connsiteX144" fmla="*/ 403003 w 860393"/>
                <a:gd name="connsiteY144" fmla="*/ 720947 h 1348549"/>
                <a:gd name="connsiteX145" fmla="*/ 401860 w 860393"/>
                <a:gd name="connsiteY145" fmla="*/ 724281 h 1348549"/>
                <a:gd name="connsiteX146" fmla="*/ 401288 w 860393"/>
                <a:gd name="connsiteY146" fmla="*/ 719518 h 1348549"/>
                <a:gd name="connsiteX147" fmla="*/ 399288 w 860393"/>
                <a:gd name="connsiteY147" fmla="*/ 716566 h 1348549"/>
                <a:gd name="connsiteX148" fmla="*/ 394716 w 860393"/>
                <a:gd name="connsiteY148" fmla="*/ 718756 h 1348549"/>
                <a:gd name="connsiteX149" fmla="*/ 391192 w 860393"/>
                <a:gd name="connsiteY149" fmla="*/ 715994 h 1348549"/>
                <a:gd name="connsiteX150" fmla="*/ 384620 w 860393"/>
                <a:gd name="connsiteY150" fmla="*/ 715232 h 1348549"/>
                <a:gd name="connsiteX151" fmla="*/ 382238 w 860393"/>
                <a:gd name="connsiteY151" fmla="*/ 709136 h 1348549"/>
                <a:gd name="connsiteX152" fmla="*/ 379286 w 860393"/>
                <a:gd name="connsiteY152" fmla="*/ 711137 h 1348549"/>
                <a:gd name="connsiteX153" fmla="*/ 375761 w 860393"/>
                <a:gd name="connsiteY153" fmla="*/ 708374 h 1348549"/>
                <a:gd name="connsiteX154" fmla="*/ 371189 w 860393"/>
                <a:gd name="connsiteY154" fmla="*/ 710565 h 1348549"/>
                <a:gd name="connsiteX155" fmla="*/ 369284 w 860393"/>
                <a:gd name="connsiteY155" fmla="*/ 707612 h 1348549"/>
                <a:gd name="connsiteX156" fmla="*/ 368046 w 860393"/>
                <a:gd name="connsiteY156" fmla="*/ 710946 h 1348549"/>
                <a:gd name="connsiteX157" fmla="*/ 364903 w 860393"/>
                <a:gd name="connsiteY157" fmla="*/ 711327 h 1348549"/>
                <a:gd name="connsiteX158" fmla="*/ 365284 w 860393"/>
                <a:gd name="connsiteY158" fmla="*/ 714470 h 1348549"/>
                <a:gd name="connsiteX159" fmla="*/ 363760 w 860393"/>
                <a:gd name="connsiteY159" fmla="*/ 714756 h 1348549"/>
                <a:gd name="connsiteX160" fmla="*/ 361950 w 860393"/>
                <a:gd name="connsiteY160" fmla="*/ 713327 h 1348549"/>
                <a:gd name="connsiteX161" fmla="*/ 358997 w 860393"/>
                <a:gd name="connsiteY161" fmla="*/ 715327 h 1348549"/>
                <a:gd name="connsiteX162" fmla="*/ 357664 w 860393"/>
                <a:gd name="connsiteY162" fmla="*/ 717137 h 1348549"/>
                <a:gd name="connsiteX163" fmla="*/ 357188 w 860393"/>
                <a:gd name="connsiteY163" fmla="*/ 713899 h 1348549"/>
                <a:gd name="connsiteX164" fmla="*/ 355473 w 860393"/>
                <a:gd name="connsiteY164" fmla="*/ 712565 h 1348549"/>
                <a:gd name="connsiteX165" fmla="*/ 354997 w 860393"/>
                <a:gd name="connsiteY165" fmla="*/ 709422 h 1348549"/>
                <a:gd name="connsiteX166" fmla="*/ 351854 w 860393"/>
                <a:gd name="connsiteY166" fmla="*/ 709803 h 1348549"/>
                <a:gd name="connsiteX167" fmla="*/ 354235 w 860393"/>
                <a:gd name="connsiteY167" fmla="*/ 703135 h 1348549"/>
                <a:gd name="connsiteX168" fmla="*/ 360331 w 860393"/>
                <a:gd name="connsiteY168" fmla="*/ 687896 h 1348549"/>
                <a:gd name="connsiteX169" fmla="*/ 362807 w 860393"/>
                <a:gd name="connsiteY169" fmla="*/ 669893 h 1348549"/>
                <a:gd name="connsiteX170" fmla="*/ 359664 w 860393"/>
                <a:gd name="connsiteY170" fmla="*/ 670369 h 1348549"/>
                <a:gd name="connsiteX171" fmla="*/ 355949 w 860393"/>
                <a:gd name="connsiteY171" fmla="*/ 678847 h 1348549"/>
                <a:gd name="connsiteX172" fmla="*/ 350806 w 860393"/>
                <a:gd name="connsiteY172" fmla="*/ 676275 h 1348549"/>
                <a:gd name="connsiteX173" fmla="*/ 349472 w 860393"/>
                <a:gd name="connsiteY173" fmla="*/ 678085 h 1348549"/>
                <a:gd name="connsiteX174" fmla="*/ 350044 w 860393"/>
                <a:gd name="connsiteY174" fmla="*/ 682752 h 1348549"/>
                <a:gd name="connsiteX175" fmla="*/ 345091 w 860393"/>
                <a:gd name="connsiteY175" fmla="*/ 681800 h 1348549"/>
                <a:gd name="connsiteX176" fmla="*/ 341947 w 860393"/>
                <a:gd name="connsiteY176" fmla="*/ 682180 h 1348549"/>
                <a:gd name="connsiteX177" fmla="*/ 334899 w 860393"/>
                <a:gd name="connsiteY177" fmla="*/ 689515 h 1348549"/>
                <a:gd name="connsiteX178" fmla="*/ 332708 w 860393"/>
                <a:gd name="connsiteY178" fmla="*/ 685038 h 1348549"/>
                <a:gd name="connsiteX179" fmla="*/ 329374 w 860393"/>
                <a:gd name="connsiteY179" fmla="*/ 683800 h 1348549"/>
                <a:gd name="connsiteX180" fmla="*/ 324803 w 860393"/>
                <a:gd name="connsiteY180" fmla="*/ 673132 h 1348549"/>
                <a:gd name="connsiteX181" fmla="*/ 323945 w 860393"/>
                <a:gd name="connsiteY181" fmla="*/ 666845 h 1348549"/>
                <a:gd name="connsiteX182" fmla="*/ 321945 w 860393"/>
                <a:gd name="connsiteY182" fmla="*/ 663893 h 1348549"/>
                <a:gd name="connsiteX183" fmla="*/ 318611 w 860393"/>
                <a:gd name="connsiteY183" fmla="*/ 662750 h 1348549"/>
                <a:gd name="connsiteX184" fmla="*/ 316039 w 860393"/>
                <a:gd name="connsiteY184" fmla="*/ 667893 h 1348549"/>
                <a:gd name="connsiteX185" fmla="*/ 316611 w 860393"/>
                <a:gd name="connsiteY185" fmla="*/ 659797 h 1348549"/>
                <a:gd name="connsiteX186" fmla="*/ 314230 w 860393"/>
                <a:gd name="connsiteY186" fmla="*/ 653701 h 1348549"/>
                <a:gd name="connsiteX187" fmla="*/ 305753 w 860393"/>
                <a:gd name="connsiteY187" fmla="*/ 649891 h 1348549"/>
                <a:gd name="connsiteX188" fmla="*/ 306705 w 860393"/>
                <a:gd name="connsiteY188" fmla="*/ 645033 h 1348549"/>
                <a:gd name="connsiteX189" fmla="*/ 309944 w 860393"/>
                <a:gd name="connsiteY189" fmla="*/ 644557 h 1348549"/>
                <a:gd name="connsiteX190" fmla="*/ 307467 w 860393"/>
                <a:gd name="connsiteY190" fmla="*/ 638461 h 1348549"/>
                <a:gd name="connsiteX191" fmla="*/ 312230 w 860393"/>
                <a:gd name="connsiteY191" fmla="*/ 637889 h 1348549"/>
                <a:gd name="connsiteX192" fmla="*/ 313468 w 860393"/>
                <a:gd name="connsiteY192" fmla="*/ 634555 h 1348549"/>
                <a:gd name="connsiteX193" fmla="*/ 319183 w 860393"/>
                <a:gd name="connsiteY193" fmla="*/ 629031 h 1348549"/>
                <a:gd name="connsiteX194" fmla="*/ 318897 w 860393"/>
                <a:gd name="connsiteY194" fmla="*/ 627412 h 1348549"/>
                <a:gd name="connsiteX195" fmla="*/ 319945 w 860393"/>
                <a:gd name="connsiteY195" fmla="*/ 622459 h 1348549"/>
                <a:gd name="connsiteX196" fmla="*/ 321659 w 860393"/>
                <a:gd name="connsiteY196" fmla="*/ 623888 h 1348549"/>
                <a:gd name="connsiteX197" fmla="*/ 323088 w 860393"/>
                <a:gd name="connsiteY197" fmla="*/ 622078 h 1348549"/>
                <a:gd name="connsiteX198" fmla="*/ 322707 w 860393"/>
                <a:gd name="connsiteY198" fmla="*/ 618934 h 1348549"/>
                <a:gd name="connsiteX199" fmla="*/ 324993 w 860393"/>
                <a:gd name="connsiteY199" fmla="*/ 612172 h 1348549"/>
                <a:gd name="connsiteX200" fmla="*/ 316706 w 860393"/>
                <a:gd name="connsiteY200" fmla="*/ 610076 h 1348549"/>
                <a:gd name="connsiteX201" fmla="*/ 317849 w 860393"/>
                <a:gd name="connsiteY201" fmla="*/ 606647 h 1348549"/>
                <a:gd name="connsiteX202" fmla="*/ 315563 w 860393"/>
                <a:gd name="connsiteY202" fmla="*/ 600551 h 1348549"/>
                <a:gd name="connsiteX203" fmla="*/ 323183 w 860393"/>
                <a:gd name="connsiteY203" fmla="*/ 597980 h 1348549"/>
                <a:gd name="connsiteX204" fmla="*/ 322802 w 860393"/>
                <a:gd name="connsiteY204" fmla="*/ 594836 h 1348549"/>
                <a:gd name="connsiteX205" fmla="*/ 327374 w 860393"/>
                <a:gd name="connsiteY205" fmla="*/ 592646 h 1348549"/>
                <a:gd name="connsiteX206" fmla="*/ 328327 w 860393"/>
                <a:gd name="connsiteY206" fmla="*/ 587693 h 1348549"/>
                <a:gd name="connsiteX207" fmla="*/ 334613 w 860393"/>
                <a:gd name="connsiteY207" fmla="*/ 586930 h 1348549"/>
                <a:gd name="connsiteX208" fmla="*/ 336804 w 860393"/>
                <a:gd name="connsiteY208" fmla="*/ 578644 h 1348549"/>
                <a:gd name="connsiteX209" fmla="*/ 338519 w 860393"/>
                <a:gd name="connsiteY209" fmla="*/ 579977 h 1348549"/>
                <a:gd name="connsiteX210" fmla="*/ 341090 w 860393"/>
                <a:gd name="connsiteY210" fmla="*/ 574834 h 1348549"/>
                <a:gd name="connsiteX211" fmla="*/ 339090 w 860393"/>
                <a:gd name="connsiteY211" fmla="*/ 571881 h 1348549"/>
                <a:gd name="connsiteX212" fmla="*/ 341852 w 860393"/>
                <a:gd name="connsiteY212" fmla="*/ 568357 h 1348549"/>
                <a:gd name="connsiteX213" fmla="*/ 339471 w 860393"/>
                <a:gd name="connsiteY213" fmla="*/ 562261 h 1348549"/>
                <a:gd name="connsiteX214" fmla="*/ 339280 w 860393"/>
                <a:gd name="connsiteY214" fmla="*/ 560642 h 1348549"/>
                <a:gd name="connsiteX215" fmla="*/ 335185 w 860393"/>
                <a:gd name="connsiteY215" fmla="*/ 553212 h 1348549"/>
                <a:gd name="connsiteX216" fmla="*/ 320516 w 860393"/>
                <a:gd name="connsiteY216" fmla="*/ 539020 h 1348549"/>
                <a:gd name="connsiteX217" fmla="*/ 312039 w 860393"/>
                <a:gd name="connsiteY217" fmla="*/ 535305 h 1348549"/>
                <a:gd name="connsiteX218" fmla="*/ 309658 w 860393"/>
                <a:gd name="connsiteY218" fmla="*/ 529114 h 1348549"/>
                <a:gd name="connsiteX219" fmla="*/ 311182 w 860393"/>
                <a:gd name="connsiteY219" fmla="*/ 528923 h 1348549"/>
                <a:gd name="connsiteX220" fmla="*/ 320040 w 860393"/>
                <a:gd name="connsiteY220" fmla="*/ 523018 h 1348549"/>
                <a:gd name="connsiteX221" fmla="*/ 320802 w 860393"/>
                <a:gd name="connsiteY221" fmla="*/ 516541 h 1348549"/>
                <a:gd name="connsiteX222" fmla="*/ 318421 w 860393"/>
                <a:gd name="connsiteY222" fmla="*/ 510349 h 1348549"/>
                <a:gd name="connsiteX223" fmla="*/ 316801 w 860393"/>
                <a:gd name="connsiteY223" fmla="*/ 497776 h 1348549"/>
                <a:gd name="connsiteX224" fmla="*/ 325279 w 860393"/>
                <a:gd name="connsiteY224" fmla="*/ 488632 h 1348549"/>
                <a:gd name="connsiteX225" fmla="*/ 329851 w 860393"/>
                <a:gd name="connsiteY225" fmla="*/ 473678 h 1348549"/>
                <a:gd name="connsiteX226" fmla="*/ 337471 w 860393"/>
                <a:gd name="connsiteY226" fmla="*/ 471107 h 1348549"/>
                <a:gd name="connsiteX227" fmla="*/ 342995 w 860393"/>
                <a:gd name="connsiteY227" fmla="*/ 463963 h 1348549"/>
                <a:gd name="connsiteX228" fmla="*/ 345567 w 860393"/>
                <a:gd name="connsiteY228" fmla="*/ 458819 h 1348549"/>
                <a:gd name="connsiteX229" fmla="*/ 353282 w 860393"/>
                <a:gd name="connsiteY229" fmla="*/ 456247 h 1348549"/>
                <a:gd name="connsiteX230" fmla="*/ 360521 w 860393"/>
                <a:gd name="connsiteY230" fmla="*/ 437674 h 1348549"/>
                <a:gd name="connsiteX231" fmla="*/ 359473 w 860393"/>
                <a:gd name="connsiteY231" fmla="*/ 429768 h 1348549"/>
                <a:gd name="connsiteX232" fmla="*/ 357092 w 860393"/>
                <a:gd name="connsiteY232" fmla="*/ 423672 h 1348549"/>
                <a:gd name="connsiteX233" fmla="*/ 357473 w 860393"/>
                <a:gd name="connsiteY233" fmla="*/ 414052 h 1348549"/>
                <a:gd name="connsiteX234" fmla="*/ 349948 w 860393"/>
                <a:gd name="connsiteY234" fmla="*/ 392525 h 1348549"/>
                <a:gd name="connsiteX235" fmla="*/ 365665 w 860393"/>
                <a:gd name="connsiteY235" fmla="*/ 377666 h 1348549"/>
                <a:gd name="connsiteX236" fmla="*/ 369665 w 860393"/>
                <a:gd name="connsiteY236" fmla="*/ 370808 h 1348549"/>
                <a:gd name="connsiteX237" fmla="*/ 365665 w 860393"/>
                <a:gd name="connsiteY237" fmla="*/ 364903 h 1348549"/>
                <a:gd name="connsiteX238" fmla="*/ 364236 w 860393"/>
                <a:gd name="connsiteY238" fmla="*/ 353854 h 1348549"/>
                <a:gd name="connsiteX239" fmla="*/ 361664 w 860393"/>
                <a:gd name="connsiteY239" fmla="*/ 346138 h 1348549"/>
                <a:gd name="connsiteX240" fmla="*/ 371951 w 860393"/>
                <a:gd name="connsiteY240" fmla="*/ 338423 h 1348549"/>
                <a:gd name="connsiteX241" fmla="*/ 375095 w 860393"/>
                <a:gd name="connsiteY241" fmla="*/ 338042 h 1348549"/>
                <a:gd name="connsiteX242" fmla="*/ 383096 w 860393"/>
                <a:gd name="connsiteY242" fmla="*/ 325755 h 1348549"/>
                <a:gd name="connsiteX243" fmla="*/ 387287 w 860393"/>
                <a:gd name="connsiteY243" fmla="*/ 320421 h 1348549"/>
                <a:gd name="connsiteX244" fmla="*/ 392335 w 860393"/>
                <a:gd name="connsiteY244" fmla="*/ 310134 h 1348549"/>
                <a:gd name="connsiteX245" fmla="*/ 397669 w 860393"/>
                <a:gd name="connsiteY245" fmla="*/ 314230 h 1348549"/>
                <a:gd name="connsiteX246" fmla="*/ 400717 w 860393"/>
                <a:gd name="connsiteY246" fmla="*/ 312325 h 1348549"/>
                <a:gd name="connsiteX247" fmla="*/ 405003 w 860393"/>
                <a:gd name="connsiteY247" fmla="*/ 308515 h 1348549"/>
                <a:gd name="connsiteX248" fmla="*/ 404241 w 860393"/>
                <a:gd name="connsiteY248" fmla="*/ 302228 h 1348549"/>
                <a:gd name="connsiteX249" fmla="*/ 408146 w 860393"/>
                <a:gd name="connsiteY249" fmla="*/ 295275 h 1348549"/>
                <a:gd name="connsiteX250" fmla="*/ 414052 w 860393"/>
                <a:gd name="connsiteY250" fmla="*/ 291370 h 1348549"/>
                <a:gd name="connsiteX251" fmla="*/ 427672 w 860393"/>
                <a:gd name="connsiteY251" fmla="*/ 297656 h 1348549"/>
                <a:gd name="connsiteX252" fmla="*/ 434912 w 860393"/>
                <a:gd name="connsiteY252" fmla="*/ 291846 h 1348549"/>
                <a:gd name="connsiteX253" fmla="*/ 442246 w 860393"/>
                <a:gd name="connsiteY253" fmla="*/ 273272 h 1348549"/>
                <a:gd name="connsiteX254" fmla="*/ 450723 w 860393"/>
                <a:gd name="connsiteY254" fmla="*/ 264223 h 1348549"/>
                <a:gd name="connsiteX255" fmla="*/ 453962 w 860393"/>
                <a:gd name="connsiteY255" fmla="*/ 252603 h 1348549"/>
                <a:gd name="connsiteX256" fmla="*/ 455771 w 860393"/>
                <a:gd name="connsiteY256" fmla="*/ 253936 h 1348549"/>
                <a:gd name="connsiteX257" fmla="*/ 463487 w 860393"/>
                <a:gd name="connsiteY257" fmla="*/ 264223 h 1348549"/>
                <a:gd name="connsiteX258" fmla="*/ 468821 w 860393"/>
                <a:gd name="connsiteY258" fmla="*/ 268319 h 1348549"/>
                <a:gd name="connsiteX259" fmla="*/ 471773 w 860393"/>
                <a:gd name="connsiteY259" fmla="*/ 266319 h 1348549"/>
                <a:gd name="connsiteX260" fmla="*/ 480060 w 860393"/>
                <a:gd name="connsiteY260" fmla="*/ 268510 h 1348549"/>
                <a:gd name="connsiteX261" fmla="*/ 485965 w 860393"/>
                <a:gd name="connsiteY261" fmla="*/ 264509 h 1348549"/>
                <a:gd name="connsiteX262" fmla="*/ 485394 w 860393"/>
                <a:gd name="connsiteY262" fmla="*/ 259842 h 1348549"/>
                <a:gd name="connsiteX263" fmla="*/ 488156 w 860393"/>
                <a:gd name="connsiteY263" fmla="*/ 256222 h 1348549"/>
                <a:gd name="connsiteX264" fmla="*/ 487299 w 860393"/>
                <a:gd name="connsiteY264" fmla="*/ 249936 h 1348549"/>
                <a:gd name="connsiteX265" fmla="*/ 488156 w 860393"/>
                <a:gd name="connsiteY265" fmla="*/ 243459 h 1348549"/>
                <a:gd name="connsiteX266" fmla="*/ 485299 w 860393"/>
                <a:gd name="connsiteY266" fmla="*/ 234124 h 1348549"/>
                <a:gd name="connsiteX267" fmla="*/ 487680 w 860393"/>
                <a:gd name="connsiteY267" fmla="*/ 227457 h 1348549"/>
                <a:gd name="connsiteX268" fmla="*/ 489204 w 860393"/>
                <a:gd name="connsiteY268" fmla="*/ 214408 h 1348549"/>
                <a:gd name="connsiteX269" fmla="*/ 487013 w 860393"/>
                <a:gd name="connsiteY269" fmla="*/ 209836 h 1348549"/>
                <a:gd name="connsiteX270" fmla="*/ 489775 w 860393"/>
                <a:gd name="connsiteY270" fmla="*/ 206311 h 1348549"/>
                <a:gd name="connsiteX271" fmla="*/ 481108 w 860393"/>
                <a:gd name="connsiteY271" fmla="*/ 188214 h 1348549"/>
                <a:gd name="connsiteX272" fmla="*/ 472249 w 860393"/>
                <a:gd name="connsiteY272" fmla="*/ 194119 h 1348549"/>
                <a:gd name="connsiteX273" fmla="*/ 469582 w 860393"/>
                <a:gd name="connsiteY273" fmla="*/ 186404 h 1348549"/>
                <a:gd name="connsiteX274" fmla="*/ 459581 w 860393"/>
                <a:gd name="connsiteY274" fmla="*/ 182880 h 1348549"/>
                <a:gd name="connsiteX275" fmla="*/ 445389 w 860393"/>
                <a:gd name="connsiteY275" fmla="*/ 184690 h 1348549"/>
                <a:gd name="connsiteX276" fmla="*/ 442436 w 860393"/>
                <a:gd name="connsiteY276" fmla="*/ 186690 h 1348549"/>
                <a:gd name="connsiteX277" fmla="*/ 441484 w 860393"/>
                <a:gd name="connsiteY277" fmla="*/ 204406 h 1348549"/>
                <a:gd name="connsiteX278" fmla="*/ 435102 w 860393"/>
                <a:gd name="connsiteY278" fmla="*/ 205264 h 1348549"/>
                <a:gd name="connsiteX279" fmla="*/ 431578 w 860393"/>
                <a:gd name="connsiteY279" fmla="*/ 202501 h 1348549"/>
                <a:gd name="connsiteX280" fmla="*/ 428149 w 860393"/>
                <a:gd name="connsiteY280" fmla="*/ 188500 h 1348549"/>
                <a:gd name="connsiteX281" fmla="*/ 424244 w 860393"/>
                <a:gd name="connsiteY281" fmla="*/ 182594 h 1348549"/>
                <a:gd name="connsiteX282" fmla="*/ 431959 w 860393"/>
                <a:gd name="connsiteY282" fmla="*/ 180022 h 1348549"/>
                <a:gd name="connsiteX283" fmla="*/ 429768 w 860393"/>
                <a:gd name="connsiteY283" fmla="*/ 175450 h 1348549"/>
                <a:gd name="connsiteX284" fmla="*/ 430339 w 860393"/>
                <a:gd name="connsiteY284" fmla="*/ 167354 h 1348549"/>
                <a:gd name="connsiteX285" fmla="*/ 435197 w 860393"/>
                <a:gd name="connsiteY285" fmla="*/ 155543 h 1348549"/>
                <a:gd name="connsiteX286" fmla="*/ 429673 w 860393"/>
                <a:gd name="connsiteY286" fmla="*/ 149828 h 1348549"/>
                <a:gd name="connsiteX287" fmla="*/ 426530 w 860393"/>
                <a:gd name="connsiteY287" fmla="*/ 150209 h 1348549"/>
                <a:gd name="connsiteX288" fmla="*/ 423196 w 860393"/>
                <a:gd name="connsiteY288" fmla="*/ 149066 h 1348549"/>
                <a:gd name="connsiteX289" fmla="*/ 425101 w 860393"/>
                <a:gd name="connsiteY289" fmla="*/ 139160 h 1348549"/>
                <a:gd name="connsiteX290" fmla="*/ 430054 w 860393"/>
                <a:gd name="connsiteY290" fmla="*/ 140113 h 1348549"/>
                <a:gd name="connsiteX291" fmla="*/ 432625 w 860393"/>
                <a:gd name="connsiteY291" fmla="*/ 135064 h 1348549"/>
                <a:gd name="connsiteX292" fmla="*/ 430435 w 860393"/>
                <a:gd name="connsiteY292" fmla="*/ 130492 h 1348549"/>
                <a:gd name="connsiteX293" fmla="*/ 414814 w 860393"/>
                <a:gd name="connsiteY293" fmla="*/ 134112 h 1348549"/>
                <a:gd name="connsiteX294" fmla="*/ 406146 w 860393"/>
                <a:gd name="connsiteY294" fmla="*/ 141637 h 1348549"/>
                <a:gd name="connsiteX295" fmla="*/ 398336 w 860393"/>
                <a:gd name="connsiteY295" fmla="*/ 142589 h 1348549"/>
                <a:gd name="connsiteX296" fmla="*/ 389001 w 860393"/>
                <a:gd name="connsiteY296" fmla="*/ 145351 h 1348549"/>
                <a:gd name="connsiteX297" fmla="*/ 378714 w 860393"/>
                <a:gd name="connsiteY297" fmla="*/ 140303 h 1348549"/>
                <a:gd name="connsiteX298" fmla="*/ 371665 w 860393"/>
                <a:gd name="connsiteY298" fmla="*/ 134779 h 1348549"/>
                <a:gd name="connsiteX299" fmla="*/ 359759 w 860393"/>
                <a:gd name="connsiteY299" fmla="*/ 129826 h 1348549"/>
                <a:gd name="connsiteX300" fmla="*/ 357378 w 860393"/>
                <a:gd name="connsiteY300" fmla="*/ 123730 h 1348549"/>
                <a:gd name="connsiteX301" fmla="*/ 350330 w 860393"/>
                <a:gd name="connsiteY301" fmla="*/ 118205 h 1348549"/>
                <a:gd name="connsiteX302" fmla="*/ 343376 w 860393"/>
                <a:gd name="connsiteY302" fmla="*/ 114300 h 1348549"/>
                <a:gd name="connsiteX303" fmla="*/ 335471 w 860393"/>
                <a:gd name="connsiteY303" fmla="*/ 102489 h 1348549"/>
                <a:gd name="connsiteX304" fmla="*/ 326136 w 860393"/>
                <a:gd name="connsiteY304" fmla="*/ 92488 h 1348549"/>
                <a:gd name="connsiteX305" fmla="*/ 324517 w 860393"/>
                <a:gd name="connsiteY305" fmla="*/ 79819 h 1348549"/>
                <a:gd name="connsiteX306" fmla="*/ 328041 w 860393"/>
                <a:gd name="connsiteY306" fmla="*/ 69723 h 1348549"/>
                <a:gd name="connsiteX307" fmla="*/ 321183 w 860393"/>
                <a:gd name="connsiteY307" fmla="*/ 65818 h 1348549"/>
                <a:gd name="connsiteX308" fmla="*/ 314611 w 860393"/>
                <a:gd name="connsiteY308" fmla="*/ 65056 h 1348549"/>
                <a:gd name="connsiteX309" fmla="*/ 310324 w 860393"/>
                <a:gd name="connsiteY309" fmla="*/ 68770 h 1348549"/>
                <a:gd name="connsiteX310" fmla="*/ 299466 w 860393"/>
                <a:gd name="connsiteY310" fmla="*/ 71818 h 1348549"/>
                <a:gd name="connsiteX311" fmla="*/ 295084 w 860393"/>
                <a:gd name="connsiteY311" fmla="*/ 75533 h 1348549"/>
                <a:gd name="connsiteX312" fmla="*/ 293370 w 860393"/>
                <a:gd name="connsiteY312" fmla="*/ 74200 h 1348549"/>
                <a:gd name="connsiteX313" fmla="*/ 285464 w 860393"/>
                <a:gd name="connsiteY313" fmla="*/ 75152 h 1348549"/>
                <a:gd name="connsiteX314" fmla="*/ 272224 w 860393"/>
                <a:gd name="connsiteY314" fmla="*/ 59245 h 1348549"/>
                <a:gd name="connsiteX315" fmla="*/ 264319 w 860393"/>
                <a:gd name="connsiteY315" fmla="*/ 60198 h 1348549"/>
                <a:gd name="connsiteX316" fmla="*/ 262699 w 860393"/>
                <a:gd name="connsiteY316" fmla="*/ 47625 h 1348549"/>
                <a:gd name="connsiteX317" fmla="*/ 257746 w 860393"/>
                <a:gd name="connsiteY317" fmla="*/ 46672 h 1348549"/>
                <a:gd name="connsiteX318" fmla="*/ 245173 w 860393"/>
                <a:gd name="connsiteY318" fmla="*/ 48292 h 1348549"/>
                <a:gd name="connsiteX319" fmla="*/ 243935 w 860393"/>
                <a:gd name="connsiteY319" fmla="*/ 51625 h 1348549"/>
                <a:gd name="connsiteX320" fmla="*/ 222409 w 860393"/>
                <a:gd name="connsiteY320" fmla="*/ 46291 h 1348549"/>
                <a:gd name="connsiteX321" fmla="*/ 211550 w 860393"/>
                <a:gd name="connsiteY321" fmla="*/ 36481 h 1348549"/>
                <a:gd name="connsiteX322" fmla="*/ 206883 w 860393"/>
                <a:gd name="connsiteY322" fmla="*/ 37052 h 1348549"/>
                <a:gd name="connsiteX323" fmla="*/ 202692 w 860393"/>
                <a:gd name="connsiteY323" fmla="*/ 29623 h 1348549"/>
                <a:gd name="connsiteX324" fmla="*/ 199549 w 860393"/>
                <a:gd name="connsiteY324" fmla="*/ 30004 h 1348549"/>
                <a:gd name="connsiteX325" fmla="*/ 195167 w 860393"/>
                <a:gd name="connsiteY325" fmla="*/ 33814 h 1348549"/>
                <a:gd name="connsiteX326" fmla="*/ 189452 w 860393"/>
                <a:gd name="connsiteY326" fmla="*/ 26479 h 1348549"/>
                <a:gd name="connsiteX327" fmla="*/ 184309 w 860393"/>
                <a:gd name="connsiteY327" fmla="*/ 23908 h 1348549"/>
                <a:gd name="connsiteX328" fmla="*/ 175831 w 860393"/>
                <a:gd name="connsiteY328" fmla="*/ 33052 h 1348549"/>
                <a:gd name="connsiteX329" fmla="*/ 167926 w 860393"/>
                <a:gd name="connsiteY329" fmla="*/ 34004 h 1348549"/>
                <a:gd name="connsiteX330" fmla="*/ 165735 w 860393"/>
                <a:gd name="connsiteY330" fmla="*/ 29527 h 1348549"/>
                <a:gd name="connsiteX331" fmla="*/ 151543 w 860393"/>
                <a:gd name="connsiteY331" fmla="*/ 18478 h 1348549"/>
                <a:gd name="connsiteX332" fmla="*/ 134588 w 860393"/>
                <a:gd name="connsiteY332" fmla="*/ 11049 h 1348549"/>
                <a:gd name="connsiteX333" fmla="*/ 120301 w 860393"/>
                <a:gd name="connsiteY333" fmla="*/ 0 h 1348549"/>
                <a:gd name="connsiteX334" fmla="*/ 118967 w 860393"/>
                <a:gd name="connsiteY334" fmla="*/ 1810 h 1348549"/>
                <a:gd name="connsiteX335" fmla="*/ 115538 w 860393"/>
                <a:gd name="connsiteY335" fmla="*/ 571 h 1348549"/>
                <a:gd name="connsiteX336" fmla="*/ 111633 w 860393"/>
                <a:gd name="connsiteY336" fmla="*/ 7525 h 1348549"/>
                <a:gd name="connsiteX337" fmla="*/ 106680 w 860393"/>
                <a:gd name="connsiteY337" fmla="*/ 6572 h 1348549"/>
                <a:gd name="connsiteX338" fmla="*/ 103727 w 860393"/>
                <a:gd name="connsiteY338" fmla="*/ 8572 h 1348549"/>
                <a:gd name="connsiteX339" fmla="*/ 102965 w 860393"/>
                <a:gd name="connsiteY339" fmla="*/ 15049 h 1348549"/>
                <a:gd name="connsiteX340" fmla="*/ 98679 w 860393"/>
                <a:gd name="connsiteY340" fmla="*/ 18764 h 1348549"/>
                <a:gd name="connsiteX341" fmla="*/ 99441 w 860393"/>
                <a:gd name="connsiteY341" fmla="*/ 25146 h 1348549"/>
                <a:gd name="connsiteX342" fmla="*/ 95536 w 860393"/>
                <a:gd name="connsiteY342" fmla="*/ 32004 h 1348549"/>
                <a:gd name="connsiteX343" fmla="*/ 96298 w 860393"/>
                <a:gd name="connsiteY343" fmla="*/ 38290 h 1348549"/>
                <a:gd name="connsiteX344" fmla="*/ 90678 w 860393"/>
                <a:gd name="connsiteY344" fmla="*/ 43910 h 1348549"/>
                <a:gd name="connsiteX345" fmla="*/ 89630 w 860393"/>
                <a:gd name="connsiteY345" fmla="*/ 48768 h 1348549"/>
                <a:gd name="connsiteX346" fmla="*/ 92773 w 860393"/>
                <a:gd name="connsiteY346" fmla="*/ 48387 h 1348549"/>
                <a:gd name="connsiteX347" fmla="*/ 100108 w 860393"/>
                <a:gd name="connsiteY347" fmla="*/ 55531 h 1348549"/>
                <a:gd name="connsiteX348" fmla="*/ 107061 w 860393"/>
                <a:gd name="connsiteY348" fmla="*/ 59436 h 1348549"/>
                <a:gd name="connsiteX349" fmla="*/ 112204 w 860393"/>
                <a:gd name="connsiteY349" fmla="*/ 62008 h 1348549"/>
                <a:gd name="connsiteX350" fmla="*/ 116300 w 860393"/>
                <a:gd name="connsiteY350" fmla="*/ 69437 h 1348549"/>
                <a:gd name="connsiteX351" fmla="*/ 122491 w 860393"/>
                <a:gd name="connsiteY351" fmla="*/ 67056 h 1348549"/>
                <a:gd name="connsiteX352" fmla="*/ 124396 w 860393"/>
                <a:gd name="connsiteY352" fmla="*/ 70009 h 1348549"/>
                <a:gd name="connsiteX353" fmla="*/ 124873 w 860393"/>
                <a:gd name="connsiteY353" fmla="*/ 73152 h 1348549"/>
                <a:gd name="connsiteX354" fmla="*/ 127063 w 860393"/>
                <a:gd name="connsiteY354" fmla="*/ 77724 h 1348549"/>
                <a:gd name="connsiteX355" fmla="*/ 130397 w 860393"/>
                <a:gd name="connsiteY355" fmla="*/ 91726 h 1348549"/>
                <a:gd name="connsiteX356" fmla="*/ 128016 w 860393"/>
                <a:gd name="connsiteY356" fmla="*/ 98488 h 1348549"/>
                <a:gd name="connsiteX357" fmla="*/ 136588 w 860393"/>
                <a:gd name="connsiteY357" fmla="*/ 114967 h 1348549"/>
                <a:gd name="connsiteX358" fmla="*/ 143923 w 860393"/>
                <a:gd name="connsiteY358" fmla="*/ 122111 h 1348549"/>
                <a:gd name="connsiteX359" fmla="*/ 145256 w 860393"/>
                <a:gd name="connsiteY359" fmla="*/ 133159 h 1348549"/>
                <a:gd name="connsiteX360" fmla="*/ 142589 w 860393"/>
                <a:gd name="connsiteY360" fmla="*/ 136684 h 1348549"/>
                <a:gd name="connsiteX361" fmla="*/ 147066 w 860393"/>
                <a:gd name="connsiteY361" fmla="*/ 147352 h 1348549"/>
                <a:gd name="connsiteX362" fmla="*/ 156210 w 860393"/>
                <a:gd name="connsiteY362" fmla="*/ 155829 h 1348549"/>
                <a:gd name="connsiteX363" fmla="*/ 161163 w 860393"/>
                <a:gd name="connsiteY363" fmla="*/ 156781 h 1348549"/>
                <a:gd name="connsiteX364" fmla="*/ 164116 w 860393"/>
                <a:gd name="connsiteY364" fmla="*/ 154781 h 1348549"/>
                <a:gd name="connsiteX365" fmla="*/ 167259 w 860393"/>
                <a:gd name="connsiteY365" fmla="*/ 154400 h 1348549"/>
                <a:gd name="connsiteX366" fmla="*/ 169640 w 860393"/>
                <a:gd name="connsiteY366" fmla="*/ 160496 h 1348549"/>
                <a:gd name="connsiteX367" fmla="*/ 186595 w 860393"/>
                <a:gd name="connsiteY367" fmla="*/ 167926 h 1348549"/>
                <a:gd name="connsiteX368" fmla="*/ 189547 w 860393"/>
                <a:gd name="connsiteY368" fmla="*/ 166021 h 1348549"/>
                <a:gd name="connsiteX369" fmla="*/ 191357 w 860393"/>
                <a:gd name="connsiteY369" fmla="*/ 167354 h 1348549"/>
                <a:gd name="connsiteX370" fmla="*/ 192214 w 860393"/>
                <a:gd name="connsiteY370" fmla="*/ 173641 h 1348549"/>
                <a:gd name="connsiteX371" fmla="*/ 195739 w 860393"/>
                <a:gd name="connsiteY371" fmla="*/ 176403 h 1348549"/>
                <a:gd name="connsiteX372" fmla="*/ 204406 w 860393"/>
                <a:gd name="connsiteY372" fmla="*/ 194596 h 1348549"/>
                <a:gd name="connsiteX373" fmla="*/ 202882 w 860393"/>
                <a:gd name="connsiteY373" fmla="*/ 207550 h 1348549"/>
                <a:gd name="connsiteX374" fmla="*/ 198977 w 860393"/>
                <a:gd name="connsiteY374" fmla="*/ 214503 h 1348549"/>
                <a:gd name="connsiteX375" fmla="*/ 193072 w 860393"/>
                <a:gd name="connsiteY375" fmla="*/ 218503 h 1348549"/>
                <a:gd name="connsiteX376" fmla="*/ 191929 w 860393"/>
                <a:gd name="connsiteY376" fmla="*/ 221837 h 1348549"/>
                <a:gd name="connsiteX377" fmla="*/ 199168 w 860393"/>
                <a:gd name="connsiteY377" fmla="*/ 228886 h 1348549"/>
                <a:gd name="connsiteX378" fmla="*/ 198596 w 860393"/>
                <a:gd name="connsiteY378" fmla="*/ 236982 h 1348549"/>
                <a:gd name="connsiteX379" fmla="*/ 211455 w 860393"/>
                <a:gd name="connsiteY379" fmla="*/ 249745 h 1348549"/>
                <a:gd name="connsiteX380" fmla="*/ 207169 w 860393"/>
                <a:gd name="connsiteY380" fmla="*/ 253555 h 1348549"/>
                <a:gd name="connsiteX381" fmla="*/ 203454 w 860393"/>
                <a:gd name="connsiteY381" fmla="*/ 262033 h 1348549"/>
                <a:gd name="connsiteX382" fmla="*/ 192596 w 860393"/>
                <a:gd name="connsiteY382" fmla="*/ 265081 h 1348549"/>
                <a:gd name="connsiteX383" fmla="*/ 190976 w 860393"/>
                <a:gd name="connsiteY383" fmla="*/ 265271 h 1348549"/>
                <a:gd name="connsiteX384" fmla="*/ 186214 w 860393"/>
                <a:gd name="connsiteY384" fmla="*/ 252984 h 1348549"/>
                <a:gd name="connsiteX385" fmla="*/ 180499 w 860393"/>
                <a:gd name="connsiteY385" fmla="*/ 245745 h 1348549"/>
                <a:gd name="connsiteX386" fmla="*/ 179261 w 860393"/>
                <a:gd name="connsiteY386" fmla="*/ 236220 h 1348549"/>
                <a:gd name="connsiteX387" fmla="*/ 174117 w 860393"/>
                <a:gd name="connsiteY387" fmla="*/ 233743 h 1348549"/>
                <a:gd name="connsiteX388" fmla="*/ 165449 w 860393"/>
                <a:gd name="connsiteY388" fmla="*/ 241173 h 1348549"/>
                <a:gd name="connsiteX389" fmla="*/ 166116 w 860393"/>
                <a:gd name="connsiteY389" fmla="*/ 245936 h 1348549"/>
                <a:gd name="connsiteX390" fmla="*/ 168116 w 860393"/>
                <a:gd name="connsiteY390" fmla="*/ 248888 h 1348549"/>
                <a:gd name="connsiteX391" fmla="*/ 163925 w 860393"/>
                <a:gd name="connsiteY391" fmla="*/ 254222 h 1348549"/>
                <a:gd name="connsiteX392" fmla="*/ 162782 w 860393"/>
                <a:gd name="connsiteY392" fmla="*/ 257556 h 1348549"/>
                <a:gd name="connsiteX393" fmla="*/ 158210 w 860393"/>
                <a:gd name="connsiteY393" fmla="*/ 259747 h 1348549"/>
                <a:gd name="connsiteX394" fmla="*/ 154686 w 860393"/>
                <a:gd name="connsiteY394" fmla="*/ 256984 h 1348549"/>
                <a:gd name="connsiteX395" fmla="*/ 142018 w 860393"/>
                <a:gd name="connsiteY395" fmla="*/ 258604 h 1348549"/>
                <a:gd name="connsiteX396" fmla="*/ 140113 w 860393"/>
                <a:gd name="connsiteY396" fmla="*/ 255651 h 1348549"/>
                <a:gd name="connsiteX397" fmla="*/ 135160 w 860393"/>
                <a:gd name="connsiteY397" fmla="*/ 254698 h 1348549"/>
                <a:gd name="connsiteX398" fmla="*/ 122872 w 860393"/>
                <a:gd name="connsiteY398" fmla="*/ 259461 h 1348549"/>
                <a:gd name="connsiteX399" fmla="*/ 121920 w 860393"/>
                <a:gd name="connsiteY399" fmla="*/ 264414 h 1348549"/>
                <a:gd name="connsiteX400" fmla="*/ 115824 w 860393"/>
                <a:gd name="connsiteY400" fmla="*/ 266795 h 1348549"/>
                <a:gd name="connsiteX401" fmla="*/ 111728 w 860393"/>
                <a:gd name="connsiteY401" fmla="*/ 272129 h 1348549"/>
                <a:gd name="connsiteX402" fmla="*/ 112871 w 860393"/>
                <a:gd name="connsiteY402" fmla="*/ 281559 h 1348549"/>
                <a:gd name="connsiteX403" fmla="*/ 111919 w 860393"/>
                <a:gd name="connsiteY403" fmla="*/ 286512 h 1348549"/>
                <a:gd name="connsiteX404" fmla="*/ 105823 w 860393"/>
                <a:gd name="connsiteY404" fmla="*/ 288893 h 1348549"/>
                <a:gd name="connsiteX405" fmla="*/ 99250 w 860393"/>
                <a:gd name="connsiteY405" fmla="*/ 288131 h 1348549"/>
                <a:gd name="connsiteX406" fmla="*/ 98488 w 860393"/>
                <a:gd name="connsiteY406" fmla="*/ 294608 h 1348549"/>
                <a:gd name="connsiteX407" fmla="*/ 100679 w 860393"/>
                <a:gd name="connsiteY407" fmla="*/ 299180 h 1348549"/>
                <a:gd name="connsiteX408" fmla="*/ 99727 w 860393"/>
                <a:gd name="connsiteY408" fmla="*/ 304133 h 1348549"/>
                <a:gd name="connsiteX409" fmla="*/ 100774 w 860393"/>
                <a:gd name="connsiteY409" fmla="*/ 312039 h 1348549"/>
                <a:gd name="connsiteX410" fmla="*/ 98203 w 860393"/>
                <a:gd name="connsiteY410" fmla="*/ 317182 h 1348549"/>
                <a:gd name="connsiteX411" fmla="*/ 90869 w 860393"/>
                <a:gd name="connsiteY411" fmla="*/ 322897 h 1348549"/>
                <a:gd name="connsiteX412" fmla="*/ 90106 w 860393"/>
                <a:gd name="connsiteY412" fmla="*/ 329374 h 1348549"/>
                <a:gd name="connsiteX413" fmla="*/ 86392 w 860393"/>
                <a:gd name="connsiteY413" fmla="*/ 337947 h 1348549"/>
                <a:gd name="connsiteX414" fmla="*/ 85820 w 860393"/>
                <a:gd name="connsiteY414" fmla="*/ 345948 h 1348549"/>
                <a:gd name="connsiteX415" fmla="*/ 83058 w 860393"/>
                <a:gd name="connsiteY415" fmla="*/ 349567 h 1348549"/>
                <a:gd name="connsiteX416" fmla="*/ 81153 w 860393"/>
                <a:gd name="connsiteY416" fmla="*/ 359378 h 1348549"/>
                <a:gd name="connsiteX417" fmla="*/ 81915 w 860393"/>
                <a:gd name="connsiteY417" fmla="*/ 365760 h 1348549"/>
                <a:gd name="connsiteX418" fmla="*/ 79534 w 860393"/>
                <a:gd name="connsiteY418" fmla="*/ 372428 h 1348549"/>
                <a:gd name="connsiteX419" fmla="*/ 78010 w 860393"/>
                <a:gd name="connsiteY419" fmla="*/ 372618 h 1348549"/>
                <a:gd name="connsiteX420" fmla="*/ 77343 w 860393"/>
                <a:gd name="connsiteY420" fmla="*/ 367951 h 1348549"/>
                <a:gd name="connsiteX421" fmla="*/ 74200 w 860393"/>
                <a:gd name="connsiteY421" fmla="*/ 368332 h 1348549"/>
                <a:gd name="connsiteX422" fmla="*/ 76009 w 860393"/>
                <a:gd name="connsiteY422" fmla="*/ 382524 h 1348549"/>
                <a:gd name="connsiteX423" fmla="*/ 70295 w 860393"/>
                <a:gd name="connsiteY423" fmla="*/ 388048 h 1348549"/>
                <a:gd name="connsiteX424" fmla="*/ 62484 w 860393"/>
                <a:gd name="connsiteY424" fmla="*/ 389096 h 1348549"/>
                <a:gd name="connsiteX425" fmla="*/ 61055 w 860393"/>
                <a:gd name="connsiteY425" fmla="*/ 390811 h 1348549"/>
                <a:gd name="connsiteX426" fmla="*/ 63055 w 860393"/>
                <a:gd name="connsiteY426" fmla="*/ 393763 h 1348549"/>
                <a:gd name="connsiteX427" fmla="*/ 69628 w 860393"/>
                <a:gd name="connsiteY427" fmla="*/ 407384 h 1348549"/>
                <a:gd name="connsiteX428" fmla="*/ 70390 w 860393"/>
                <a:gd name="connsiteY428" fmla="*/ 413671 h 1348549"/>
                <a:gd name="connsiteX429" fmla="*/ 74200 w 860393"/>
                <a:gd name="connsiteY429" fmla="*/ 418052 h 1348549"/>
                <a:gd name="connsiteX430" fmla="*/ 66865 w 860393"/>
                <a:gd name="connsiteY430" fmla="*/ 423767 h 1348549"/>
                <a:gd name="connsiteX431" fmla="*/ 60007 w 860393"/>
                <a:gd name="connsiteY431" fmla="*/ 432625 h 1348549"/>
                <a:gd name="connsiteX432" fmla="*/ 57436 w 860393"/>
                <a:gd name="connsiteY432" fmla="*/ 437769 h 1348549"/>
                <a:gd name="connsiteX433" fmla="*/ 68294 w 860393"/>
                <a:gd name="connsiteY433" fmla="*/ 447675 h 1348549"/>
                <a:gd name="connsiteX434" fmla="*/ 64389 w 860393"/>
                <a:gd name="connsiteY434" fmla="*/ 454533 h 1348549"/>
                <a:gd name="connsiteX435" fmla="*/ 72104 w 860393"/>
                <a:gd name="connsiteY435" fmla="*/ 464820 h 1348549"/>
                <a:gd name="connsiteX436" fmla="*/ 66199 w 860393"/>
                <a:gd name="connsiteY436" fmla="*/ 468725 h 1348549"/>
                <a:gd name="connsiteX437" fmla="*/ 65246 w 860393"/>
                <a:gd name="connsiteY437" fmla="*/ 473678 h 1348549"/>
                <a:gd name="connsiteX438" fmla="*/ 65627 w 860393"/>
                <a:gd name="connsiteY438" fmla="*/ 476821 h 1348549"/>
                <a:gd name="connsiteX439" fmla="*/ 64389 w 860393"/>
                <a:gd name="connsiteY439" fmla="*/ 480250 h 1348549"/>
                <a:gd name="connsiteX440" fmla="*/ 56579 w 860393"/>
                <a:gd name="connsiteY440" fmla="*/ 481203 h 1348549"/>
                <a:gd name="connsiteX441" fmla="*/ 55340 w 860393"/>
                <a:gd name="connsiteY441" fmla="*/ 484537 h 1348549"/>
                <a:gd name="connsiteX442" fmla="*/ 46291 w 860393"/>
                <a:gd name="connsiteY442" fmla="*/ 488918 h 1348549"/>
                <a:gd name="connsiteX443" fmla="*/ 43910 w 860393"/>
                <a:gd name="connsiteY443" fmla="*/ 495681 h 1348549"/>
                <a:gd name="connsiteX444" fmla="*/ 39053 w 860393"/>
                <a:gd name="connsiteY444" fmla="*/ 494728 h 1348549"/>
                <a:gd name="connsiteX445" fmla="*/ 37814 w 860393"/>
                <a:gd name="connsiteY445" fmla="*/ 498062 h 1348549"/>
                <a:gd name="connsiteX446" fmla="*/ 38671 w 860393"/>
                <a:gd name="connsiteY446" fmla="*/ 504349 h 1348549"/>
                <a:gd name="connsiteX447" fmla="*/ 37433 w 860393"/>
                <a:gd name="connsiteY447" fmla="*/ 507682 h 1348549"/>
                <a:gd name="connsiteX448" fmla="*/ 33147 w 860393"/>
                <a:gd name="connsiteY448" fmla="*/ 511492 h 1348549"/>
                <a:gd name="connsiteX449" fmla="*/ 29242 w 860393"/>
                <a:gd name="connsiteY449" fmla="*/ 518350 h 1348549"/>
                <a:gd name="connsiteX450" fmla="*/ 29432 w 860393"/>
                <a:gd name="connsiteY450" fmla="*/ 519970 h 1348549"/>
                <a:gd name="connsiteX451" fmla="*/ 24860 w 860393"/>
                <a:gd name="connsiteY451" fmla="*/ 522160 h 1348549"/>
                <a:gd name="connsiteX452" fmla="*/ 19145 w 860393"/>
                <a:gd name="connsiteY452" fmla="*/ 514826 h 1348549"/>
                <a:gd name="connsiteX453" fmla="*/ 6096 w 860393"/>
                <a:gd name="connsiteY453" fmla="*/ 513302 h 1348549"/>
                <a:gd name="connsiteX454" fmla="*/ 0 w 860393"/>
                <a:gd name="connsiteY454" fmla="*/ 515684 h 1348549"/>
                <a:gd name="connsiteX455" fmla="*/ 3810 w 860393"/>
                <a:gd name="connsiteY455" fmla="*/ 532829 h 1348549"/>
                <a:gd name="connsiteX456" fmla="*/ 9144 w 860393"/>
                <a:gd name="connsiteY456" fmla="*/ 537019 h 1348549"/>
                <a:gd name="connsiteX457" fmla="*/ 13049 w 860393"/>
                <a:gd name="connsiteY457" fmla="*/ 542925 h 1348549"/>
                <a:gd name="connsiteX458" fmla="*/ 12097 w 860393"/>
                <a:gd name="connsiteY458" fmla="*/ 547783 h 1348549"/>
                <a:gd name="connsiteX459" fmla="*/ 17621 w 860393"/>
                <a:gd name="connsiteY459" fmla="*/ 553498 h 1348549"/>
                <a:gd name="connsiteX460" fmla="*/ 15526 w 860393"/>
                <a:gd name="connsiteY460" fmla="*/ 561784 h 1348549"/>
                <a:gd name="connsiteX461" fmla="*/ 15145 w 860393"/>
                <a:gd name="connsiteY461" fmla="*/ 571500 h 1348549"/>
                <a:gd name="connsiteX462" fmla="*/ 15716 w 860393"/>
                <a:gd name="connsiteY462" fmla="*/ 576263 h 1348549"/>
                <a:gd name="connsiteX463" fmla="*/ 20860 w 860393"/>
                <a:gd name="connsiteY463" fmla="*/ 578834 h 1348549"/>
                <a:gd name="connsiteX464" fmla="*/ 22288 w 860393"/>
                <a:gd name="connsiteY464" fmla="*/ 589788 h 1348549"/>
                <a:gd name="connsiteX465" fmla="*/ 29146 w 860393"/>
                <a:gd name="connsiteY465" fmla="*/ 593788 h 1348549"/>
                <a:gd name="connsiteX466" fmla="*/ 25432 w 860393"/>
                <a:gd name="connsiteY466" fmla="*/ 602266 h 1348549"/>
                <a:gd name="connsiteX467" fmla="*/ 33909 w 860393"/>
                <a:gd name="connsiteY467" fmla="*/ 605980 h 1348549"/>
                <a:gd name="connsiteX468" fmla="*/ 31432 w 860393"/>
                <a:gd name="connsiteY468" fmla="*/ 611124 h 1348549"/>
                <a:gd name="connsiteX469" fmla="*/ 33623 w 860393"/>
                <a:gd name="connsiteY469" fmla="*/ 615696 h 1348549"/>
                <a:gd name="connsiteX470" fmla="*/ 31051 w 860393"/>
                <a:gd name="connsiteY470" fmla="*/ 620744 h 1348549"/>
                <a:gd name="connsiteX471" fmla="*/ 31813 w 860393"/>
                <a:gd name="connsiteY471" fmla="*/ 627126 h 1348549"/>
                <a:gd name="connsiteX472" fmla="*/ 33814 w 860393"/>
                <a:gd name="connsiteY472" fmla="*/ 630079 h 1348549"/>
                <a:gd name="connsiteX473" fmla="*/ 29908 w 860393"/>
                <a:gd name="connsiteY473" fmla="*/ 636937 h 1348549"/>
                <a:gd name="connsiteX474" fmla="*/ 36195 w 860393"/>
                <a:gd name="connsiteY474" fmla="*/ 649034 h 1348549"/>
                <a:gd name="connsiteX475" fmla="*/ 37243 w 860393"/>
                <a:gd name="connsiteY475" fmla="*/ 656844 h 1348549"/>
                <a:gd name="connsiteX476" fmla="*/ 43910 w 860393"/>
                <a:gd name="connsiteY476" fmla="*/ 659225 h 1348549"/>
                <a:gd name="connsiteX477" fmla="*/ 40957 w 860393"/>
                <a:gd name="connsiteY477" fmla="*/ 661226 h 1348549"/>
                <a:gd name="connsiteX478" fmla="*/ 42767 w 860393"/>
                <a:gd name="connsiteY478" fmla="*/ 662559 h 1348549"/>
                <a:gd name="connsiteX479" fmla="*/ 33909 w 860393"/>
                <a:gd name="connsiteY479" fmla="*/ 668560 h 1348549"/>
                <a:gd name="connsiteX480" fmla="*/ 30766 w 860393"/>
                <a:gd name="connsiteY480" fmla="*/ 668941 h 1348549"/>
                <a:gd name="connsiteX481" fmla="*/ 24860 w 860393"/>
                <a:gd name="connsiteY481" fmla="*/ 672941 h 1348549"/>
                <a:gd name="connsiteX482" fmla="*/ 22098 w 860393"/>
                <a:gd name="connsiteY482" fmla="*/ 676465 h 1348549"/>
                <a:gd name="connsiteX483" fmla="*/ 22098 w 860393"/>
                <a:gd name="connsiteY483" fmla="*/ 689324 h 1348549"/>
                <a:gd name="connsiteX484" fmla="*/ 21336 w 860393"/>
                <a:gd name="connsiteY484" fmla="*/ 695801 h 1348549"/>
                <a:gd name="connsiteX485" fmla="*/ 24860 w 860393"/>
                <a:gd name="connsiteY485" fmla="*/ 698563 h 1348549"/>
                <a:gd name="connsiteX486" fmla="*/ 20955 w 860393"/>
                <a:gd name="connsiteY486" fmla="*/ 705422 h 1348549"/>
                <a:gd name="connsiteX487" fmla="*/ 23527 w 860393"/>
                <a:gd name="connsiteY487" fmla="*/ 713137 h 1348549"/>
                <a:gd name="connsiteX488" fmla="*/ 28480 w 860393"/>
                <a:gd name="connsiteY488" fmla="*/ 714089 h 1348549"/>
                <a:gd name="connsiteX489" fmla="*/ 28670 w 860393"/>
                <a:gd name="connsiteY489" fmla="*/ 715709 h 1348549"/>
                <a:gd name="connsiteX490" fmla="*/ 32290 w 860393"/>
                <a:gd name="connsiteY490" fmla="*/ 718471 h 1348549"/>
                <a:gd name="connsiteX491" fmla="*/ 34195 w 860393"/>
                <a:gd name="connsiteY491" fmla="*/ 721423 h 1348549"/>
                <a:gd name="connsiteX492" fmla="*/ 39338 w 860393"/>
                <a:gd name="connsiteY492" fmla="*/ 723995 h 1348549"/>
                <a:gd name="connsiteX493" fmla="*/ 36576 w 860393"/>
                <a:gd name="connsiteY493" fmla="*/ 727519 h 1348549"/>
                <a:gd name="connsiteX494" fmla="*/ 38957 w 860393"/>
                <a:gd name="connsiteY494" fmla="*/ 733615 h 1348549"/>
                <a:gd name="connsiteX495" fmla="*/ 36671 w 860393"/>
                <a:gd name="connsiteY495" fmla="*/ 740378 h 1348549"/>
                <a:gd name="connsiteX496" fmla="*/ 44767 w 860393"/>
                <a:gd name="connsiteY496" fmla="*/ 753713 h 1348549"/>
                <a:gd name="connsiteX497" fmla="*/ 56483 w 860393"/>
                <a:gd name="connsiteY497" fmla="*/ 769906 h 1348549"/>
                <a:gd name="connsiteX498" fmla="*/ 61817 w 860393"/>
                <a:gd name="connsiteY498" fmla="*/ 774001 h 1348549"/>
                <a:gd name="connsiteX499" fmla="*/ 66675 w 860393"/>
                <a:gd name="connsiteY499" fmla="*/ 775049 h 1348549"/>
                <a:gd name="connsiteX500" fmla="*/ 70675 w 860393"/>
                <a:gd name="connsiteY500" fmla="*/ 780955 h 1348549"/>
                <a:gd name="connsiteX501" fmla="*/ 67723 w 860393"/>
                <a:gd name="connsiteY501" fmla="*/ 782860 h 1348549"/>
                <a:gd name="connsiteX502" fmla="*/ 68104 w 860393"/>
                <a:gd name="connsiteY502" fmla="*/ 786098 h 1348549"/>
                <a:gd name="connsiteX503" fmla="*/ 68294 w 860393"/>
                <a:gd name="connsiteY503" fmla="*/ 787622 h 1348549"/>
                <a:gd name="connsiteX504" fmla="*/ 63817 w 860393"/>
                <a:gd name="connsiteY504" fmla="*/ 789813 h 1348549"/>
                <a:gd name="connsiteX505" fmla="*/ 64008 w 860393"/>
                <a:gd name="connsiteY505" fmla="*/ 791432 h 1348549"/>
                <a:gd name="connsiteX506" fmla="*/ 73247 w 860393"/>
                <a:gd name="connsiteY506" fmla="*/ 801434 h 1348549"/>
                <a:gd name="connsiteX507" fmla="*/ 78391 w 860393"/>
                <a:gd name="connsiteY507" fmla="*/ 804005 h 1348549"/>
                <a:gd name="connsiteX508" fmla="*/ 74676 w 860393"/>
                <a:gd name="connsiteY508" fmla="*/ 812483 h 1348549"/>
                <a:gd name="connsiteX509" fmla="*/ 71533 w 860393"/>
                <a:gd name="connsiteY509" fmla="*/ 812863 h 1348549"/>
                <a:gd name="connsiteX510" fmla="*/ 67628 w 860393"/>
                <a:gd name="connsiteY510" fmla="*/ 819817 h 1348549"/>
                <a:gd name="connsiteX511" fmla="*/ 63246 w 860393"/>
                <a:gd name="connsiteY511" fmla="*/ 823531 h 1348549"/>
                <a:gd name="connsiteX512" fmla="*/ 65437 w 860393"/>
                <a:gd name="connsiteY512" fmla="*/ 828104 h 1348549"/>
                <a:gd name="connsiteX513" fmla="*/ 68580 w 860393"/>
                <a:gd name="connsiteY513" fmla="*/ 827722 h 1348549"/>
                <a:gd name="connsiteX514" fmla="*/ 73342 w 860393"/>
                <a:gd name="connsiteY514" fmla="*/ 827056 h 1348549"/>
                <a:gd name="connsiteX515" fmla="*/ 74295 w 860393"/>
                <a:gd name="connsiteY515" fmla="*/ 822198 h 1348549"/>
                <a:gd name="connsiteX516" fmla="*/ 79057 w 860393"/>
                <a:gd name="connsiteY516" fmla="*/ 821531 h 1348549"/>
                <a:gd name="connsiteX517" fmla="*/ 79629 w 860393"/>
                <a:gd name="connsiteY517" fmla="*/ 826294 h 1348549"/>
                <a:gd name="connsiteX518" fmla="*/ 81439 w 860393"/>
                <a:gd name="connsiteY518" fmla="*/ 827627 h 1348549"/>
                <a:gd name="connsiteX519" fmla="*/ 86011 w 860393"/>
                <a:gd name="connsiteY519" fmla="*/ 825437 h 1348549"/>
                <a:gd name="connsiteX520" fmla="*/ 92297 w 860393"/>
                <a:gd name="connsiteY520" fmla="*/ 824675 h 1348549"/>
                <a:gd name="connsiteX521" fmla="*/ 96203 w 860393"/>
                <a:gd name="connsiteY521" fmla="*/ 830580 h 1348549"/>
                <a:gd name="connsiteX522" fmla="*/ 103156 w 860393"/>
                <a:gd name="connsiteY522" fmla="*/ 834485 h 1348549"/>
                <a:gd name="connsiteX523" fmla="*/ 102394 w 860393"/>
                <a:gd name="connsiteY523" fmla="*/ 841058 h 1348549"/>
                <a:gd name="connsiteX524" fmla="*/ 98679 w 860393"/>
                <a:gd name="connsiteY524" fmla="*/ 849535 h 1348549"/>
                <a:gd name="connsiteX525" fmla="*/ 100394 w 860393"/>
                <a:gd name="connsiteY525" fmla="*/ 850868 h 1348549"/>
                <a:gd name="connsiteX526" fmla="*/ 100870 w 860393"/>
                <a:gd name="connsiteY526" fmla="*/ 854012 h 1348549"/>
                <a:gd name="connsiteX527" fmla="*/ 103822 w 860393"/>
                <a:gd name="connsiteY527" fmla="*/ 852106 h 1348549"/>
                <a:gd name="connsiteX528" fmla="*/ 104394 w 860393"/>
                <a:gd name="connsiteY528" fmla="*/ 856774 h 1348549"/>
                <a:gd name="connsiteX529" fmla="*/ 101917 w 860393"/>
                <a:gd name="connsiteY529" fmla="*/ 874776 h 1348549"/>
                <a:gd name="connsiteX530" fmla="*/ 104299 w 860393"/>
                <a:gd name="connsiteY530" fmla="*/ 880872 h 1348549"/>
                <a:gd name="connsiteX531" fmla="*/ 98774 w 860393"/>
                <a:gd name="connsiteY531" fmla="*/ 888016 h 1348549"/>
                <a:gd name="connsiteX532" fmla="*/ 95631 w 860393"/>
                <a:gd name="connsiteY532" fmla="*/ 888397 h 1348549"/>
                <a:gd name="connsiteX533" fmla="*/ 89440 w 860393"/>
                <a:gd name="connsiteY533" fmla="*/ 890778 h 1348549"/>
                <a:gd name="connsiteX534" fmla="*/ 91630 w 860393"/>
                <a:gd name="connsiteY534" fmla="*/ 895350 h 1348549"/>
                <a:gd name="connsiteX535" fmla="*/ 90297 w 860393"/>
                <a:gd name="connsiteY535" fmla="*/ 897064 h 1348549"/>
                <a:gd name="connsiteX536" fmla="*/ 88868 w 860393"/>
                <a:gd name="connsiteY536" fmla="*/ 898874 h 1348549"/>
                <a:gd name="connsiteX537" fmla="*/ 82391 w 860393"/>
                <a:gd name="connsiteY537" fmla="*/ 898112 h 1348549"/>
                <a:gd name="connsiteX538" fmla="*/ 78296 w 860393"/>
                <a:gd name="connsiteY538" fmla="*/ 903446 h 1348549"/>
                <a:gd name="connsiteX539" fmla="*/ 78867 w 860393"/>
                <a:gd name="connsiteY539" fmla="*/ 908209 h 1348549"/>
                <a:gd name="connsiteX540" fmla="*/ 74104 w 860393"/>
                <a:gd name="connsiteY540" fmla="*/ 908780 h 1348549"/>
                <a:gd name="connsiteX541" fmla="*/ 75724 w 860393"/>
                <a:gd name="connsiteY541" fmla="*/ 921448 h 1348549"/>
                <a:gd name="connsiteX542" fmla="*/ 74390 w 860393"/>
                <a:gd name="connsiteY542" fmla="*/ 923163 h 1348549"/>
                <a:gd name="connsiteX543" fmla="*/ 75152 w 860393"/>
                <a:gd name="connsiteY543" fmla="*/ 929545 h 1348549"/>
                <a:gd name="connsiteX544" fmla="*/ 81153 w 860393"/>
                <a:gd name="connsiteY544" fmla="*/ 938403 h 1348549"/>
                <a:gd name="connsiteX545" fmla="*/ 88392 w 860393"/>
                <a:gd name="connsiteY545" fmla="*/ 945451 h 1348549"/>
                <a:gd name="connsiteX546" fmla="*/ 87058 w 860393"/>
                <a:gd name="connsiteY546" fmla="*/ 947261 h 1348549"/>
                <a:gd name="connsiteX547" fmla="*/ 83534 w 860393"/>
                <a:gd name="connsiteY547" fmla="*/ 944499 h 1348549"/>
                <a:gd name="connsiteX548" fmla="*/ 83058 w 860393"/>
                <a:gd name="connsiteY548" fmla="*/ 941356 h 1348549"/>
                <a:gd name="connsiteX549" fmla="*/ 81344 w 860393"/>
                <a:gd name="connsiteY549" fmla="*/ 939927 h 1348549"/>
                <a:gd name="connsiteX550" fmla="*/ 81724 w 860393"/>
                <a:gd name="connsiteY550" fmla="*/ 943070 h 1348549"/>
                <a:gd name="connsiteX551" fmla="*/ 80486 w 860393"/>
                <a:gd name="connsiteY551" fmla="*/ 946499 h 1348549"/>
                <a:gd name="connsiteX552" fmla="*/ 78962 w 860393"/>
                <a:gd name="connsiteY552" fmla="*/ 946690 h 1348549"/>
                <a:gd name="connsiteX553" fmla="*/ 78391 w 860393"/>
                <a:gd name="connsiteY553" fmla="*/ 954786 h 1348549"/>
                <a:gd name="connsiteX554" fmla="*/ 74104 w 860393"/>
                <a:gd name="connsiteY554" fmla="*/ 958501 h 1348549"/>
                <a:gd name="connsiteX555" fmla="*/ 77819 w 860393"/>
                <a:gd name="connsiteY555" fmla="*/ 962787 h 1348549"/>
                <a:gd name="connsiteX556" fmla="*/ 76676 w 860393"/>
                <a:gd name="connsiteY556" fmla="*/ 966216 h 1348549"/>
                <a:gd name="connsiteX557" fmla="*/ 73723 w 860393"/>
                <a:gd name="connsiteY557" fmla="*/ 968216 h 1348549"/>
                <a:gd name="connsiteX558" fmla="*/ 76105 w 860393"/>
                <a:gd name="connsiteY558" fmla="*/ 974312 h 1348549"/>
                <a:gd name="connsiteX559" fmla="*/ 77819 w 860393"/>
                <a:gd name="connsiteY559" fmla="*/ 975646 h 1348549"/>
                <a:gd name="connsiteX560" fmla="*/ 71723 w 860393"/>
                <a:gd name="connsiteY560" fmla="*/ 978027 h 1348549"/>
                <a:gd name="connsiteX561" fmla="*/ 72104 w 860393"/>
                <a:gd name="connsiteY561" fmla="*/ 981170 h 1348549"/>
                <a:gd name="connsiteX562" fmla="*/ 67628 w 860393"/>
                <a:gd name="connsiteY562" fmla="*/ 983361 h 1348549"/>
                <a:gd name="connsiteX563" fmla="*/ 65818 w 860393"/>
                <a:gd name="connsiteY563" fmla="*/ 982027 h 1348549"/>
                <a:gd name="connsiteX564" fmla="*/ 65056 w 860393"/>
                <a:gd name="connsiteY564" fmla="*/ 988505 h 1348549"/>
                <a:gd name="connsiteX565" fmla="*/ 70009 w 860393"/>
                <a:gd name="connsiteY565" fmla="*/ 989457 h 1348549"/>
                <a:gd name="connsiteX566" fmla="*/ 72390 w 860393"/>
                <a:gd name="connsiteY566" fmla="*/ 995648 h 1348549"/>
                <a:gd name="connsiteX567" fmla="*/ 75724 w 860393"/>
                <a:gd name="connsiteY567" fmla="*/ 996791 h 1348549"/>
                <a:gd name="connsiteX568" fmla="*/ 74581 w 860393"/>
                <a:gd name="connsiteY568" fmla="*/ 1000125 h 1348549"/>
                <a:gd name="connsiteX569" fmla="*/ 70009 w 860393"/>
                <a:gd name="connsiteY569" fmla="*/ 1002316 h 1348549"/>
                <a:gd name="connsiteX570" fmla="*/ 62294 w 860393"/>
                <a:gd name="connsiteY570" fmla="*/ 1004888 h 1348549"/>
                <a:gd name="connsiteX571" fmla="*/ 60579 w 860393"/>
                <a:gd name="connsiteY571" fmla="*/ 1003554 h 1348549"/>
                <a:gd name="connsiteX572" fmla="*/ 58388 w 860393"/>
                <a:gd name="connsiteY572" fmla="*/ 998982 h 1348549"/>
                <a:gd name="connsiteX573" fmla="*/ 54769 w 860393"/>
                <a:gd name="connsiteY573" fmla="*/ 996220 h 1348549"/>
                <a:gd name="connsiteX574" fmla="*/ 51816 w 860393"/>
                <a:gd name="connsiteY574" fmla="*/ 998220 h 1348549"/>
                <a:gd name="connsiteX575" fmla="*/ 49625 w 860393"/>
                <a:gd name="connsiteY575" fmla="*/ 993648 h 1348549"/>
                <a:gd name="connsiteX576" fmla="*/ 48673 w 860393"/>
                <a:gd name="connsiteY576" fmla="*/ 998601 h 1348549"/>
                <a:gd name="connsiteX577" fmla="*/ 46672 w 860393"/>
                <a:gd name="connsiteY577" fmla="*/ 995648 h 1348549"/>
                <a:gd name="connsiteX578" fmla="*/ 40005 w 860393"/>
                <a:gd name="connsiteY578" fmla="*/ 993362 h 1348549"/>
                <a:gd name="connsiteX579" fmla="*/ 34480 w 860393"/>
                <a:gd name="connsiteY579" fmla="*/ 987647 h 1348549"/>
                <a:gd name="connsiteX580" fmla="*/ 38386 w 860393"/>
                <a:gd name="connsiteY580" fmla="*/ 993553 h 1348549"/>
                <a:gd name="connsiteX581" fmla="*/ 35242 w 860393"/>
                <a:gd name="connsiteY581" fmla="*/ 993934 h 1348549"/>
                <a:gd name="connsiteX582" fmla="*/ 37433 w 860393"/>
                <a:gd name="connsiteY582" fmla="*/ 998410 h 1348549"/>
                <a:gd name="connsiteX583" fmla="*/ 34480 w 860393"/>
                <a:gd name="connsiteY583" fmla="*/ 1000411 h 1348549"/>
                <a:gd name="connsiteX584" fmla="*/ 34671 w 860393"/>
                <a:gd name="connsiteY584" fmla="*/ 1002030 h 1348549"/>
                <a:gd name="connsiteX585" fmla="*/ 37052 w 860393"/>
                <a:gd name="connsiteY585" fmla="*/ 1008126 h 1348549"/>
                <a:gd name="connsiteX586" fmla="*/ 36290 w 860393"/>
                <a:gd name="connsiteY586" fmla="*/ 1014603 h 1348549"/>
                <a:gd name="connsiteX587" fmla="*/ 38100 w 860393"/>
                <a:gd name="connsiteY587" fmla="*/ 1016032 h 1348549"/>
                <a:gd name="connsiteX588" fmla="*/ 41243 w 860393"/>
                <a:gd name="connsiteY588" fmla="*/ 1015651 h 1348549"/>
                <a:gd name="connsiteX589" fmla="*/ 41434 w 860393"/>
                <a:gd name="connsiteY589" fmla="*/ 1017175 h 1348549"/>
                <a:gd name="connsiteX590" fmla="*/ 41624 w 860393"/>
                <a:gd name="connsiteY590" fmla="*/ 1018794 h 1348549"/>
                <a:gd name="connsiteX591" fmla="*/ 38862 w 860393"/>
                <a:gd name="connsiteY591" fmla="*/ 1022318 h 1348549"/>
                <a:gd name="connsiteX592" fmla="*/ 36766 w 860393"/>
                <a:gd name="connsiteY592" fmla="*/ 1030605 h 1348549"/>
                <a:gd name="connsiteX593" fmla="*/ 33814 w 860393"/>
                <a:gd name="connsiteY593" fmla="*/ 1032605 h 1348549"/>
                <a:gd name="connsiteX594" fmla="*/ 31432 w 860393"/>
                <a:gd name="connsiteY594" fmla="*/ 1039273 h 1348549"/>
                <a:gd name="connsiteX595" fmla="*/ 37909 w 860393"/>
                <a:gd name="connsiteY595" fmla="*/ 1040035 h 1348549"/>
                <a:gd name="connsiteX596" fmla="*/ 44101 w 860393"/>
                <a:gd name="connsiteY596" fmla="*/ 1037654 h 1348549"/>
                <a:gd name="connsiteX597" fmla="*/ 47434 w 860393"/>
                <a:gd name="connsiteY597" fmla="*/ 1038892 h 1348549"/>
                <a:gd name="connsiteX598" fmla="*/ 52388 w 860393"/>
                <a:gd name="connsiteY598" fmla="*/ 1039844 h 1348549"/>
                <a:gd name="connsiteX599" fmla="*/ 55340 w 860393"/>
                <a:gd name="connsiteY599" fmla="*/ 1037844 h 1348549"/>
                <a:gd name="connsiteX600" fmla="*/ 62008 w 860393"/>
                <a:gd name="connsiteY600" fmla="*/ 1040225 h 1348549"/>
                <a:gd name="connsiteX601" fmla="*/ 64008 w 860393"/>
                <a:gd name="connsiteY601" fmla="*/ 1043178 h 1348549"/>
                <a:gd name="connsiteX602" fmla="*/ 72676 w 860393"/>
                <a:gd name="connsiteY602" fmla="*/ 1048512 h 1348549"/>
                <a:gd name="connsiteX603" fmla="*/ 80772 w 860393"/>
                <a:gd name="connsiteY603" fmla="*/ 1049084 h 1348549"/>
                <a:gd name="connsiteX604" fmla="*/ 85154 w 860393"/>
                <a:gd name="connsiteY604" fmla="*/ 1045273 h 1348549"/>
                <a:gd name="connsiteX605" fmla="*/ 83725 w 860393"/>
                <a:gd name="connsiteY605" fmla="*/ 1047083 h 1348549"/>
                <a:gd name="connsiteX606" fmla="*/ 84106 w 860393"/>
                <a:gd name="connsiteY606" fmla="*/ 1050227 h 1348549"/>
                <a:gd name="connsiteX607" fmla="*/ 85344 w 860393"/>
                <a:gd name="connsiteY607" fmla="*/ 1046893 h 1348549"/>
                <a:gd name="connsiteX608" fmla="*/ 87058 w 860393"/>
                <a:gd name="connsiteY608" fmla="*/ 1048226 h 1348549"/>
                <a:gd name="connsiteX609" fmla="*/ 92012 w 860393"/>
                <a:gd name="connsiteY609" fmla="*/ 1049274 h 1348549"/>
                <a:gd name="connsiteX610" fmla="*/ 92202 w 860393"/>
                <a:gd name="connsiteY610" fmla="*/ 1050798 h 1348549"/>
                <a:gd name="connsiteX611" fmla="*/ 95155 w 860393"/>
                <a:gd name="connsiteY611" fmla="*/ 1048798 h 1348549"/>
                <a:gd name="connsiteX612" fmla="*/ 96964 w 860393"/>
                <a:gd name="connsiteY612" fmla="*/ 1050227 h 1348549"/>
                <a:gd name="connsiteX613" fmla="*/ 98584 w 860393"/>
                <a:gd name="connsiteY613" fmla="*/ 1050036 h 1348549"/>
                <a:gd name="connsiteX614" fmla="*/ 97155 w 860393"/>
                <a:gd name="connsiteY614" fmla="*/ 1051751 h 1348549"/>
                <a:gd name="connsiteX615" fmla="*/ 90869 w 860393"/>
                <a:gd name="connsiteY615" fmla="*/ 1052608 h 1348549"/>
                <a:gd name="connsiteX616" fmla="*/ 85725 w 860393"/>
                <a:gd name="connsiteY616" fmla="*/ 1050036 h 1348549"/>
                <a:gd name="connsiteX617" fmla="*/ 81153 w 860393"/>
                <a:gd name="connsiteY617" fmla="*/ 1052227 h 1348549"/>
                <a:gd name="connsiteX618" fmla="*/ 77248 w 860393"/>
                <a:gd name="connsiteY618" fmla="*/ 1059085 h 1348549"/>
                <a:gd name="connsiteX619" fmla="*/ 79248 w 860393"/>
                <a:gd name="connsiteY619" fmla="*/ 1062133 h 1348549"/>
                <a:gd name="connsiteX620" fmla="*/ 80200 w 860393"/>
                <a:gd name="connsiteY620" fmla="*/ 1069943 h 1348549"/>
                <a:gd name="connsiteX621" fmla="*/ 78867 w 860393"/>
                <a:gd name="connsiteY621" fmla="*/ 1071753 h 1348549"/>
                <a:gd name="connsiteX622" fmla="*/ 75914 w 860393"/>
                <a:gd name="connsiteY622" fmla="*/ 1073753 h 1348549"/>
                <a:gd name="connsiteX623" fmla="*/ 72580 w 860393"/>
                <a:gd name="connsiteY623" fmla="*/ 1072515 h 1348549"/>
                <a:gd name="connsiteX624" fmla="*/ 66865 w 860393"/>
                <a:gd name="connsiteY624" fmla="*/ 1078135 h 1348549"/>
                <a:gd name="connsiteX625" fmla="*/ 68866 w 860393"/>
                <a:gd name="connsiteY625" fmla="*/ 1081088 h 1348549"/>
                <a:gd name="connsiteX626" fmla="*/ 65532 w 860393"/>
                <a:gd name="connsiteY626" fmla="*/ 1092708 h 1348549"/>
                <a:gd name="connsiteX627" fmla="*/ 69247 w 860393"/>
                <a:gd name="connsiteY627" fmla="*/ 1096994 h 1348549"/>
                <a:gd name="connsiteX628" fmla="*/ 70104 w 860393"/>
                <a:gd name="connsiteY628" fmla="*/ 1103376 h 1348549"/>
                <a:gd name="connsiteX629" fmla="*/ 72009 w 860393"/>
                <a:gd name="connsiteY629" fmla="*/ 1106329 h 1348549"/>
                <a:gd name="connsiteX630" fmla="*/ 72676 w 860393"/>
                <a:gd name="connsiteY630" fmla="*/ 1110996 h 1348549"/>
                <a:gd name="connsiteX631" fmla="*/ 76581 w 860393"/>
                <a:gd name="connsiteY631" fmla="*/ 1116902 h 1348549"/>
                <a:gd name="connsiteX632" fmla="*/ 76771 w 860393"/>
                <a:gd name="connsiteY632" fmla="*/ 1118521 h 1348549"/>
                <a:gd name="connsiteX633" fmla="*/ 73628 w 860393"/>
                <a:gd name="connsiteY633" fmla="*/ 1118902 h 1348549"/>
                <a:gd name="connsiteX634" fmla="*/ 76962 w 860393"/>
                <a:gd name="connsiteY634" fmla="*/ 1120140 h 1348549"/>
                <a:gd name="connsiteX635" fmla="*/ 76105 w 860393"/>
                <a:gd name="connsiteY635" fmla="*/ 1137856 h 1348549"/>
                <a:gd name="connsiteX636" fmla="*/ 80963 w 860393"/>
                <a:gd name="connsiteY636" fmla="*/ 1138809 h 1348549"/>
                <a:gd name="connsiteX637" fmla="*/ 82963 w 860393"/>
                <a:gd name="connsiteY637" fmla="*/ 1141762 h 1348549"/>
                <a:gd name="connsiteX638" fmla="*/ 89249 w 860393"/>
                <a:gd name="connsiteY638" fmla="*/ 1141000 h 1348549"/>
                <a:gd name="connsiteX639" fmla="*/ 91059 w 860393"/>
                <a:gd name="connsiteY639" fmla="*/ 1142333 h 1348549"/>
                <a:gd name="connsiteX640" fmla="*/ 88963 w 860393"/>
                <a:gd name="connsiteY640" fmla="*/ 1150620 h 1348549"/>
                <a:gd name="connsiteX641" fmla="*/ 92107 w 860393"/>
                <a:gd name="connsiteY641" fmla="*/ 1150239 h 1348549"/>
                <a:gd name="connsiteX642" fmla="*/ 94297 w 860393"/>
                <a:gd name="connsiteY642" fmla="*/ 1154811 h 1348549"/>
                <a:gd name="connsiteX643" fmla="*/ 92869 w 860393"/>
                <a:gd name="connsiteY643" fmla="*/ 1156526 h 1348549"/>
                <a:gd name="connsiteX644" fmla="*/ 97822 w 860393"/>
                <a:gd name="connsiteY644" fmla="*/ 1157573 h 1348549"/>
                <a:gd name="connsiteX645" fmla="*/ 98203 w 860393"/>
                <a:gd name="connsiteY645" fmla="*/ 1160717 h 1348549"/>
                <a:gd name="connsiteX646" fmla="*/ 97250 w 860393"/>
                <a:gd name="connsiteY646" fmla="*/ 1165669 h 1348549"/>
                <a:gd name="connsiteX647" fmla="*/ 95440 w 860393"/>
                <a:gd name="connsiteY647" fmla="*/ 1164241 h 1348549"/>
                <a:gd name="connsiteX648" fmla="*/ 94107 w 860393"/>
                <a:gd name="connsiteY648" fmla="*/ 1166051 h 1348549"/>
                <a:gd name="connsiteX649" fmla="*/ 87821 w 860393"/>
                <a:gd name="connsiteY649" fmla="*/ 1166813 h 1348549"/>
                <a:gd name="connsiteX650" fmla="*/ 86392 w 860393"/>
                <a:gd name="connsiteY650" fmla="*/ 1168622 h 1348549"/>
                <a:gd name="connsiteX651" fmla="*/ 79915 w 860393"/>
                <a:gd name="connsiteY651" fmla="*/ 1167860 h 1348549"/>
                <a:gd name="connsiteX652" fmla="*/ 77343 w 860393"/>
                <a:gd name="connsiteY652" fmla="*/ 1173004 h 1348549"/>
                <a:gd name="connsiteX653" fmla="*/ 77724 w 860393"/>
                <a:gd name="connsiteY653" fmla="*/ 1176147 h 1348549"/>
                <a:gd name="connsiteX654" fmla="*/ 75343 w 860393"/>
                <a:gd name="connsiteY654" fmla="*/ 1182814 h 1348549"/>
                <a:gd name="connsiteX655" fmla="*/ 76200 w 860393"/>
                <a:gd name="connsiteY655" fmla="*/ 1189196 h 1348549"/>
                <a:gd name="connsiteX656" fmla="*/ 79534 w 860393"/>
                <a:gd name="connsiteY656" fmla="*/ 1190339 h 1348549"/>
                <a:gd name="connsiteX657" fmla="*/ 80677 w 860393"/>
                <a:gd name="connsiteY657" fmla="*/ 1187006 h 1348549"/>
                <a:gd name="connsiteX658" fmla="*/ 85630 w 860393"/>
                <a:gd name="connsiteY658" fmla="*/ 1187958 h 1348549"/>
                <a:gd name="connsiteX659" fmla="*/ 83344 w 860393"/>
                <a:gd name="connsiteY659" fmla="*/ 1194721 h 1348549"/>
                <a:gd name="connsiteX660" fmla="*/ 100489 w 860393"/>
                <a:gd name="connsiteY660" fmla="*/ 1203674 h 1348549"/>
                <a:gd name="connsiteX661" fmla="*/ 108013 w 860393"/>
                <a:gd name="connsiteY661" fmla="*/ 1212342 h 1348549"/>
                <a:gd name="connsiteX662" fmla="*/ 118110 w 860393"/>
                <a:gd name="connsiteY662" fmla="*/ 1215866 h 1348549"/>
                <a:gd name="connsiteX663" fmla="*/ 122015 w 860393"/>
                <a:gd name="connsiteY663" fmla="*/ 1221772 h 1348549"/>
                <a:gd name="connsiteX664" fmla="*/ 124968 w 860393"/>
                <a:gd name="connsiteY664" fmla="*/ 1219867 h 1348549"/>
                <a:gd name="connsiteX665" fmla="*/ 124587 w 860393"/>
                <a:gd name="connsiteY665" fmla="*/ 1216723 h 1348549"/>
                <a:gd name="connsiteX666" fmla="*/ 129730 w 860393"/>
                <a:gd name="connsiteY666" fmla="*/ 1206437 h 1348549"/>
                <a:gd name="connsiteX667" fmla="*/ 135636 w 860393"/>
                <a:gd name="connsiteY667" fmla="*/ 1202436 h 1348549"/>
                <a:gd name="connsiteX668" fmla="*/ 140303 w 860393"/>
                <a:gd name="connsiteY668" fmla="*/ 1201864 h 1348549"/>
                <a:gd name="connsiteX669" fmla="*/ 144685 w 860393"/>
                <a:gd name="connsiteY669" fmla="*/ 1198055 h 1348549"/>
                <a:gd name="connsiteX670" fmla="*/ 148019 w 860393"/>
                <a:gd name="connsiteY670" fmla="*/ 1199293 h 1348549"/>
                <a:gd name="connsiteX671" fmla="*/ 144304 w 860393"/>
                <a:gd name="connsiteY671" fmla="*/ 1194911 h 1348549"/>
                <a:gd name="connsiteX672" fmla="*/ 145066 w 860393"/>
                <a:gd name="connsiteY672" fmla="*/ 1188434 h 1348549"/>
                <a:gd name="connsiteX673" fmla="*/ 144875 w 860393"/>
                <a:gd name="connsiteY673" fmla="*/ 1186815 h 1348549"/>
                <a:gd name="connsiteX674" fmla="*/ 144208 w 860393"/>
                <a:gd name="connsiteY674" fmla="*/ 1182052 h 1348549"/>
                <a:gd name="connsiteX675" fmla="*/ 145828 w 860393"/>
                <a:gd name="connsiteY675" fmla="*/ 1181862 h 1348549"/>
                <a:gd name="connsiteX676" fmla="*/ 148971 w 860393"/>
                <a:gd name="connsiteY676" fmla="*/ 1168718 h 1348549"/>
                <a:gd name="connsiteX677" fmla="*/ 152876 w 860393"/>
                <a:gd name="connsiteY677" fmla="*/ 1174623 h 1348549"/>
                <a:gd name="connsiteX678" fmla="*/ 155829 w 860393"/>
                <a:gd name="connsiteY678" fmla="*/ 1172623 h 1348549"/>
                <a:gd name="connsiteX679" fmla="*/ 161544 w 860393"/>
                <a:gd name="connsiteY679" fmla="*/ 1167098 h 1348549"/>
                <a:gd name="connsiteX680" fmla="*/ 154210 w 860393"/>
                <a:gd name="connsiteY680" fmla="*/ 1159955 h 1348549"/>
                <a:gd name="connsiteX681" fmla="*/ 155067 w 860393"/>
                <a:gd name="connsiteY681" fmla="*/ 1153477 h 1348549"/>
                <a:gd name="connsiteX682" fmla="*/ 153257 w 860393"/>
                <a:gd name="connsiteY682" fmla="*/ 1152049 h 1348549"/>
                <a:gd name="connsiteX683" fmla="*/ 144971 w 860393"/>
                <a:gd name="connsiteY683" fmla="*/ 1149953 h 1348549"/>
                <a:gd name="connsiteX684" fmla="*/ 142970 w 860393"/>
                <a:gd name="connsiteY684" fmla="*/ 1147001 h 1348549"/>
                <a:gd name="connsiteX685" fmla="*/ 144113 w 860393"/>
                <a:gd name="connsiteY685" fmla="*/ 1143572 h 1348549"/>
                <a:gd name="connsiteX686" fmla="*/ 148685 w 860393"/>
                <a:gd name="connsiteY686" fmla="*/ 1141476 h 1348549"/>
                <a:gd name="connsiteX687" fmla="*/ 148495 w 860393"/>
                <a:gd name="connsiteY687" fmla="*/ 1139857 h 1348549"/>
                <a:gd name="connsiteX688" fmla="*/ 149638 w 860393"/>
                <a:gd name="connsiteY688" fmla="*/ 1136523 h 1348549"/>
                <a:gd name="connsiteX689" fmla="*/ 146304 w 860393"/>
                <a:gd name="connsiteY689" fmla="*/ 1135285 h 1348549"/>
                <a:gd name="connsiteX690" fmla="*/ 145923 w 860393"/>
                <a:gd name="connsiteY690" fmla="*/ 1132142 h 1348549"/>
                <a:gd name="connsiteX691" fmla="*/ 141161 w 860393"/>
                <a:gd name="connsiteY691" fmla="*/ 1132808 h 1348549"/>
                <a:gd name="connsiteX692" fmla="*/ 139827 w 860393"/>
                <a:gd name="connsiteY692" fmla="*/ 1134523 h 1348549"/>
                <a:gd name="connsiteX693" fmla="*/ 139160 w 860393"/>
                <a:gd name="connsiteY693" fmla="*/ 1129856 h 1348549"/>
                <a:gd name="connsiteX694" fmla="*/ 137636 w 860393"/>
                <a:gd name="connsiteY694" fmla="*/ 1130046 h 1348549"/>
                <a:gd name="connsiteX695" fmla="*/ 135255 w 860393"/>
                <a:gd name="connsiteY695" fmla="*/ 1123950 h 1348549"/>
                <a:gd name="connsiteX696" fmla="*/ 133445 w 860393"/>
                <a:gd name="connsiteY696" fmla="*/ 1122521 h 1348549"/>
                <a:gd name="connsiteX697" fmla="*/ 133255 w 860393"/>
                <a:gd name="connsiteY697" fmla="*/ 1120997 h 1348549"/>
                <a:gd name="connsiteX698" fmla="*/ 130302 w 860393"/>
                <a:gd name="connsiteY698" fmla="*/ 1122902 h 1348549"/>
                <a:gd name="connsiteX699" fmla="*/ 126968 w 860393"/>
                <a:gd name="connsiteY699" fmla="*/ 1121759 h 1348549"/>
                <a:gd name="connsiteX700" fmla="*/ 125349 w 860393"/>
                <a:gd name="connsiteY700" fmla="*/ 1121950 h 1348549"/>
                <a:gd name="connsiteX701" fmla="*/ 127730 w 860393"/>
                <a:gd name="connsiteY701" fmla="*/ 1115282 h 1348549"/>
                <a:gd name="connsiteX702" fmla="*/ 123920 w 860393"/>
                <a:gd name="connsiteY702" fmla="*/ 1110901 h 1348549"/>
                <a:gd name="connsiteX703" fmla="*/ 117634 w 860393"/>
                <a:gd name="connsiteY703" fmla="*/ 1111758 h 1348549"/>
                <a:gd name="connsiteX704" fmla="*/ 121920 w 860393"/>
                <a:gd name="connsiteY704" fmla="*/ 1107948 h 1348549"/>
                <a:gd name="connsiteX705" fmla="*/ 127063 w 860393"/>
                <a:gd name="connsiteY705" fmla="*/ 1110520 h 1348549"/>
                <a:gd name="connsiteX706" fmla="*/ 130016 w 860393"/>
                <a:gd name="connsiteY706" fmla="*/ 1108519 h 1348549"/>
                <a:gd name="connsiteX707" fmla="*/ 131064 w 860393"/>
                <a:gd name="connsiteY707" fmla="*/ 1103567 h 1348549"/>
                <a:gd name="connsiteX708" fmla="*/ 134207 w 860393"/>
                <a:gd name="connsiteY708" fmla="*/ 1103185 h 1348549"/>
                <a:gd name="connsiteX709" fmla="*/ 132397 w 860393"/>
                <a:gd name="connsiteY709" fmla="*/ 1101852 h 1348549"/>
                <a:gd name="connsiteX710" fmla="*/ 130873 w 860393"/>
                <a:gd name="connsiteY710" fmla="*/ 1102043 h 1348549"/>
                <a:gd name="connsiteX711" fmla="*/ 129064 w 860393"/>
                <a:gd name="connsiteY711" fmla="*/ 1100614 h 1348549"/>
                <a:gd name="connsiteX712" fmla="*/ 132016 w 860393"/>
                <a:gd name="connsiteY712" fmla="*/ 1098709 h 1348549"/>
                <a:gd name="connsiteX713" fmla="*/ 136779 w 860393"/>
                <a:gd name="connsiteY713" fmla="*/ 1098042 h 1348549"/>
                <a:gd name="connsiteX714" fmla="*/ 151543 w 860393"/>
                <a:gd name="connsiteY714" fmla="*/ 1088136 h 1348549"/>
                <a:gd name="connsiteX715" fmla="*/ 154876 w 860393"/>
                <a:gd name="connsiteY715" fmla="*/ 1089374 h 1348549"/>
                <a:gd name="connsiteX716" fmla="*/ 157639 w 860393"/>
                <a:gd name="connsiteY716" fmla="*/ 1085755 h 1348549"/>
                <a:gd name="connsiteX717" fmla="*/ 159448 w 860393"/>
                <a:gd name="connsiteY717" fmla="*/ 1087184 h 1348549"/>
                <a:gd name="connsiteX718" fmla="*/ 170497 w 860393"/>
                <a:gd name="connsiteY718" fmla="*/ 1098614 h 1348549"/>
                <a:gd name="connsiteX719" fmla="*/ 174403 w 860393"/>
                <a:gd name="connsiteY719" fmla="*/ 1091660 h 1348549"/>
                <a:gd name="connsiteX720" fmla="*/ 177737 w 860393"/>
                <a:gd name="connsiteY720" fmla="*/ 1092803 h 1348549"/>
                <a:gd name="connsiteX721" fmla="*/ 177927 w 860393"/>
                <a:gd name="connsiteY721" fmla="*/ 1094423 h 1348549"/>
                <a:gd name="connsiteX722" fmla="*/ 181356 w 860393"/>
                <a:gd name="connsiteY722" fmla="*/ 1095565 h 1348549"/>
                <a:gd name="connsiteX723" fmla="*/ 179927 w 860393"/>
                <a:gd name="connsiteY723" fmla="*/ 1097375 h 1348549"/>
                <a:gd name="connsiteX724" fmla="*/ 181928 w 860393"/>
                <a:gd name="connsiteY724" fmla="*/ 1100328 h 1348549"/>
                <a:gd name="connsiteX725" fmla="*/ 188881 w 860393"/>
                <a:gd name="connsiteY725" fmla="*/ 1104233 h 1348549"/>
                <a:gd name="connsiteX726" fmla="*/ 190024 w 860393"/>
                <a:gd name="connsiteY726" fmla="*/ 1113758 h 1348549"/>
                <a:gd name="connsiteX727" fmla="*/ 183737 w 860393"/>
                <a:gd name="connsiteY727" fmla="*/ 1114520 h 1348549"/>
                <a:gd name="connsiteX728" fmla="*/ 185738 w 860393"/>
                <a:gd name="connsiteY728" fmla="*/ 1117473 h 1348549"/>
                <a:gd name="connsiteX729" fmla="*/ 188881 w 860393"/>
                <a:gd name="connsiteY729" fmla="*/ 1117092 h 1348549"/>
                <a:gd name="connsiteX730" fmla="*/ 189452 w 860393"/>
                <a:gd name="connsiteY730" fmla="*/ 1121759 h 1348549"/>
                <a:gd name="connsiteX731" fmla="*/ 200978 w 860393"/>
                <a:gd name="connsiteY731" fmla="*/ 1123569 h 1348549"/>
                <a:gd name="connsiteX732" fmla="*/ 202882 w 860393"/>
                <a:gd name="connsiteY732" fmla="*/ 1126522 h 1348549"/>
                <a:gd name="connsiteX733" fmla="*/ 201549 w 860393"/>
                <a:gd name="connsiteY733" fmla="*/ 1128331 h 1348549"/>
                <a:gd name="connsiteX734" fmla="*/ 196787 w 860393"/>
                <a:gd name="connsiteY734" fmla="*/ 1128903 h 1348549"/>
                <a:gd name="connsiteX735" fmla="*/ 197167 w 860393"/>
                <a:gd name="connsiteY735" fmla="*/ 1132046 h 1348549"/>
                <a:gd name="connsiteX736" fmla="*/ 198787 w 860393"/>
                <a:gd name="connsiteY736" fmla="*/ 1131856 h 1348549"/>
                <a:gd name="connsiteX737" fmla="*/ 202311 w 860393"/>
                <a:gd name="connsiteY737" fmla="*/ 1134618 h 1348549"/>
                <a:gd name="connsiteX738" fmla="*/ 205264 w 860393"/>
                <a:gd name="connsiteY738" fmla="*/ 1132618 h 1348549"/>
                <a:gd name="connsiteX739" fmla="*/ 207264 w 860393"/>
                <a:gd name="connsiteY739" fmla="*/ 1135571 h 1348549"/>
                <a:gd name="connsiteX740" fmla="*/ 209074 w 860393"/>
                <a:gd name="connsiteY740" fmla="*/ 1136999 h 1348549"/>
                <a:gd name="connsiteX741" fmla="*/ 210026 w 860393"/>
                <a:gd name="connsiteY741" fmla="*/ 1144810 h 1348549"/>
                <a:gd name="connsiteX742" fmla="*/ 208502 w 860393"/>
                <a:gd name="connsiteY742" fmla="*/ 1145096 h 1348549"/>
                <a:gd name="connsiteX743" fmla="*/ 208693 w 860393"/>
                <a:gd name="connsiteY743" fmla="*/ 1146619 h 1348549"/>
                <a:gd name="connsiteX744" fmla="*/ 213265 w 860393"/>
                <a:gd name="connsiteY744" fmla="*/ 1157288 h 1348549"/>
                <a:gd name="connsiteX745" fmla="*/ 213836 w 860393"/>
                <a:gd name="connsiteY745" fmla="*/ 1162050 h 1348549"/>
                <a:gd name="connsiteX746" fmla="*/ 213074 w 860393"/>
                <a:gd name="connsiteY746" fmla="*/ 1168527 h 1348549"/>
                <a:gd name="connsiteX747" fmla="*/ 211264 w 860393"/>
                <a:gd name="connsiteY747" fmla="*/ 1167098 h 1348549"/>
                <a:gd name="connsiteX748" fmla="*/ 210121 w 860393"/>
                <a:gd name="connsiteY748" fmla="*/ 1170527 h 1348549"/>
                <a:gd name="connsiteX749" fmla="*/ 217265 w 860393"/>
                <a:gd name="connsiteY749" fmla="*/ 1175956 h 1348549"/>
                <a:gd name="connsiteX750" fmla="*/ 222123 w 860393"/>
                <a:gd name="connsiteY750" fmla="*/ 1177004 h 1348549"/>
                <a:gd name="connsiteX751" fmla="*/ 226695 w 860393"/>
                <a:gd name="connsiteY751" fmla="*/ 1174814 h 1348549"/>
                <a:gd name="connsiteX752" fmla="*/ 227076 w 860393"/>
                <a:gd name="connsiteY752" fmla="*/ 1177957 h 1348549"/>
                <a:gd name="connsiteX753" fmla="*/ 231838 w 860393"/>
                <a:gd name="connsiteY753" fmla="*/ 1177385 h 1348549"/>
                <a:gd name="connsiteX754" fmla="*/ 232220 w 860393"/>
                <a:gd name="connsiteY754" fmla="*/ 1180529 h 1348549"/>
                <a:gd name="connsiteX755" fmla="*/ 229838 w 860393"/>
                <a:gd name="connsiteY755" fmla="*/ 1187196 h 1348549"/>
                <a:gd name="connsiteX756" fmla="*/ 231457 w 860393"/>
                <a:gd name="connsiteY756" fmla="*/ 1187006 h 1348549"/>
                <a:gd name="connsiteX757" fmla="*/ 232029 w 860393"/>
                <a:gd name="connsiteY757" fmla="*/ 1191768 h 1348549"/>
                <a:gd name="connsiteX758" fmla="*/ 228695 w 860393"/>
                <a:gd name="connsiteY758" fmla="*/ 1190530 h 1348549"/>
                <a:gd name="connsiteX759" fmla="*/ 229362 w 860393"/>
                <a:gd name="connsiteY759" fmla="*/ 1195292 h 1348549"/>
                <a:gd name="connsiteX760" fmla="*/ 238792 w 860393"/>
                <a:gd name="connsiteY760" fmla="*/ 1194149 h 1348549"/>
                <a:gd name="connsiteX761" fmla="*/ 236220 w 860393"/>
                <a:gd name="connsiteY761" fmla="*/ 1199293 h 1348549"/>
                <a:gd name="connsiteX762" fmla="*/ 237839 w 860393"/>
                <a:gd name="connsiteY762" fmla="*/ 1199007 h 1348549"/>
                <a:gd name="connsiteX763" fmla="*/ 240221 w 860393"/>
                <a:gd name="connsiteY763" fmla="*/ 1205198 h 1348549"/>
                <a:gd name="connsiteX764" fmla="*/ 243364 w 860393"/>
                <a:gd name="connsiteY764" fmla="*/ 1204722 h 1348549"/>
                <a:gd name="connsiteX765" fmla="*/ 242221 w 860393"/>
                <a:gd name="connsiteY765" fmla="*/ 1208151 h 1348549"/>
                <a:gd name="connsiteX766" fmla="*/ 242792 w 860393"/>
                <a:gd name="connsiteY766" fmla="*/ 1212818 h 1348549"/>
                <a:gd name="connsiteX767" fmla="*/ 245936 w 860393"/>
                <a:gd name="connsiteY767" fmla="*/ 1212437 h 1348549"/>
                <a:gd name="connsiteX768" fmla="*/ 245745 w 860393"/>
                <a:gd name="connsiteY768" fmla="*/ 1210913 h 1348549"/>
                <a:gd name="connsiteX769" fmla="*/ 247269 w 860393"/>
                <a:gd name="connsiteY769" fmla="*/ 1210627 h 1348549"/>
                <a:gd name="connsiteX770" fmla="*/ 252222 w 860393"/>
                <a:gd name="connsiteY770" fmla="*/ 1211675 h 1348549"/>
                <a:gd name="connsiteX771" fmla="*/ 252031 w 860393"/>
                <a:gd name="connsiteY771" fmla="*/ 1210056 h 1348549"/>
                <a:gd name="connsiteX772" fmla="*/ 252031 w 860393"/>
                <a:gd name="connsiteY772" fmla="*/ 1210056 h 1348549"/>
                <a:gd name="connsiteX773" fmla="*/ 254794 w 860393"/>
                <a:gd name="connsiteY773" fmla="*/ 1206532 h 1348549"/>
                <a:gd name="connsiteX774" fmla="*/ 253460 w 860393"/>
                <a:gd name="connsiteY774" fmla="*/ 1208246 h 1348549"/>
                <a:gd name="connsiteX775" fmla="*/ 252984 w 860393"/>
                <a:gd name="connsiteY775" fmla="*/ 1205103 h 1348549"/>
                <a:gd name="connsiteX776" fmla="*/ 251460 w 860393"/>
                <a:gd name="connsiteY776" fmla="*/ 1205293 h 1348549"/>
                <a:gd name="connsiteX777" fmla="*/ 252413 w 860393"/>
                <a:gd name="connsiteY777" fmla="*/ 1200436 h 1348549"/>
                <a:gd name="connsiteX778" fmla="*/ 249079 w 860393"/>
                <a:gd name="connsiteY778" fmla="*/ 1199198 h 1348549"/>
                <a:gd name="connsiteX779" fmla="*/ 253841 w 860393"/>
                <a:gd name="connsiteY779" fmla="*/ 1198626 h 1348549"/>
                <a:gd name="connsiteX780" fmla="*/ 253365 w 860393"/>
                <a:gd name="connsiteY780" fmla="*/ 1195483 h 1348549"/>
                <a:gd name="connsiteX781" fmla="*/ 256127 w 860393"/>
                <a:gd name="connsiteY781" fmla="*/ 1191863 h 1348549"/>
                <a:gd name="connsiteX782" fmla="*/ 253937 w 860393"/>
                <a:gd name="connsiteY782" fmla="*/ 1187387 h 1348549"/>
                <a:gd name="connsiteX783" fmla="*/ 255556 w 860393"/>
                <a:gd name="connsiteY783" fmla="*/ 1187196 h 1348549"/>
                <a:gd name="connsiteX784" fmla="*/ 257746 w 860393"/>
                <a:gd name="connsiteY784" fmla="*/ 1191673 h 1348549"/>
                <a:gd name="connsiteX785" fmla="*/ 260128 w 860393"/>
                <a:gd name="connsiteY785" fmla="*/ 1197769 h 1348549"/>
                <a:gd name="connsiteX786" fmla="*/ 263842 w 860393"/>
                <a:gd name="connsiteY786" fmla="*/ 1202150 h 1348549"/>
                <a:gd name="connsiteX787" fmla="*/ 264700 w 860393"/>
                <a:gd name="connsiteY787" fmla="*/ 1208437 h 1348549"/>
                <a:gd name="connsiteX788" fmla="*/ 260509 w 860393"/>
                <a:gd name="connsiteY788" fmla="*/ 1213771 h 1348549"/>
                <a:gd name="connsiteX789" fmla="*/ 259556 w 860393"/>
                <a:gd name="connsiteY789" fmla="*/ 1218724 h 1348549"/>
                <a:gd name="connsiteX790" fmla="*/ 261556 w 860393"/>
                <a:gd name="connsiteY790" fmla="*/ 1221677 h 1348549"/>
                <a:gd name="connsiteX791" fmla="*/ 258794 w 860393"/>
                <a:gd name="connsiteY791" fmla="*/ 1225201 h 1348549"/>
                <a:gd name="connsiteX792" fmla="*/ 253460 w 860393"/>
                <a:gd name="connsiteY792" fmla="*/ 1233964 h 1348549"/>
                <a:gd name="connsiteX793" fmla="*/ 255461 w 860393"/>
                <a:gd name="connsiteY793" fmla="*/ 1236917 h 1348549"/>
                <a:gd name="connsiteX794" fmla="*/ 255461 w 860393"/>
                <a:gd name="connsiteY794" fmla="*/ 1236917 h 1348549"/>
                <a:gd name="connsiteX795" fmla="*/ 257270 w 860393"/>
                <a:gd name="connsiteY795" fmla="*/ 1238250 h 1348549"/>
                <a:gd name="connsiteX796" fmla="*/ 256222 w 860393"/>
                <a:gd name="connsiteY796" fmla="*/ 1243203 h 1348549"/>
                <a:gd name="connsiteX797" fmla="*/ 251746 w 860393"/>
                <a:gd name="connsiteY797" fmla="*/ 1245394 h 1348549"/>
                <a:gd name="connsiteX798" fmla="*/ 255651 w 860393"/>
                <a:gd name="connsiteY798" fmla="*/ 1251299 h 1348549"/>
                <a:gd name="connsiteX799" fmla="*/ 257080 w 860393"/>
                <a:gd name="connsiteY799" fmla="*/ 1249489 h 1348549"/>
                <a:gd name="connsiteX800" fmla="*/ 267176 w 860393"/>
                <a:gd name="connsiteY800" fmla="*/ 1253014 h 1348549"/>
                <a:gd name="connsiteX801" fmla="*/ 265747 w 860393"/>
                <a:gd name="connsiteY801" fmla="*/ 1254823 h 1348549"/>
                <a:gd name="connsiteX802" fmla="*/ 267748 w 860393"/>
                <a:gd name="connsiteY802" fmla="*/ 1257776 h 1348549"/>
                <a:gd name="connsiteX803" fmla="*/ 274511 w 860393"/>
                <a:gd name="connsiteY803" fmla="*/ 1260158 h 1348549"/>
                <a:gd name="connsiteX804" fmla="*/ 274701 w 860393"/>
                <a:gd name="connsiteY804" fmla="*/ 1261681 h 1348549"/>
                <a:gd name="connsiteX805" fmla="*/ 276225 w 860393"/>
                <a:gd name="connsiteY805" fmla="*/ 1261491 h 1348549"/>
                <a:gd name="connsiteX806" fmla="*/ 279368 w 860393"/>
                <a:gd name="connsiteY806" fmla="*/ 1261110 h 1348549"/>
                <a:gd name="connsiteX807" fmla="*/ 288131 w 860393"/>
                <a:gd name="connsiteY807" fmla="*/ 1266444 h 1348549"/>
                <a:gd name="connsiteX808" fmla="*/ 289465 w 860393"/>
                <a:gd name="connsiteY808" fmla="*/ 1264634 h 1348549"/>
                <a:gd name="connsiteX809" fmla="*/ 292608 w 860393"/>
                <a:gd name="connsiteY809" fmla="*/ 1264253 h 1348549"/>
                <a:gd name="connsiteX810" fmla="*/ 301085 w 860393"/>
                <a:gd name="connsiteY810" fmla="*/ 1267968 h 1348549"/>
                <a:gd name="connsiteX811" fmla="*/ 306038 w 860393"/>
                <a:gd name="connsiteY811" fmla="*/ 1268921 h 1348549"/>
                <a:gd name="connsiteX812" fmla="*/ 304705 w 860393"/>
                <a:gd name="connsiteY812" fmla="*/ 1270730 h 1348549"/>
                <a:gd name="connsiteX813" fmla="*/ 308420 w 860393"/>
                <a:gd name="connsiteY813" fmla="*/ 1275017 h 1348549"/>
                <a:gd name="connsiteX814" fmla="*/ 314420 w 860393"/>
                <a:gd name="connsiteY814" fmla="*/ 1283875 h 1348549"/>
                <a:gd name="connsiteX815" fmla="*/ 322040 w 860393"/>
                <a:gd name="connsiteY815" fmla="*/ 1281303 h 1348549"/>
                <a:gd name="connsiteX816" fmla="*/ 322897 w 860393"/>
                <a:gd name="connsiteY816" fmla="*/ 1287589 h 1348549"/>
                <a:gd name="connsiteX817" fmla="*/ 321659 w 860393"/>
                <a:gd name="connsiteY817" fmla="*/ 1291018 h 1348549"/>
                <a:gd name="connsiteX818" fmla="*/ 321850 w 860393"/>
                <a:gd name="connsiteY818" fmla="*/ 1292543 h 1348549"/>
                <a:gd name="connsiteX819" fmla="*/ 318897 w 860393"/>
                <a:gd name="connsiteY819" fmla="*/ 1294543 h 1348549"/>
                <a:gd name="connsiteX820" fmla="*/ 322897 w 860393"/>
                <a:gd name="connsiteY820" fmla="*/ 1300448 h 1348549"/>
                <a:gd name="connsiteX821" fmla="*/ 325469 w 860393"/>
                <a:gd name="connsiteY821" fmla="*/ 1308164 h 1348549"/>
                <a:gd name="connsiteX822" fmla="*/ 326326 w 860393"/>
                <a:gd name="connsiteY822" fmla="*/ 1314450 h 1348549"/>
                <a:gd name="connsiteX823" fmla="*/ 328517 w 860393"/>
                <a:gd name="connsiteY823" fmla="*/ 1319022 h 1348549"/>
                <a:gd name="connsiteX824" fmla="*/ 329851 w 860393"/>
                <a:gd name="connsiteY824" fmla="*/ 1317212 h 1348549"/>
                <a:gd name="connsiteX825" fmla="*/ 331661 w 860393"/>
                <a:gd name="connsiteY825" fmla="*/ 1318641 h 1348549"/>
                <a:gd name="connsiteX826" fmla="*/ 332232 w 860393"/>
                <a:gd name="connsiteY826" fmla="*/ 1323308 h 1348549"/>
                <a:gd name="connsiteX827" fmla="*/ 334994 w 860393"/>
                <a:gd name="connsiteY827" fmla="*/ 1332643 h 1348549"/>
                <a:gd name="connsiteX828" fmla="*/ 336804 w 860393"/>
                <a:gd name="connsiteY828" fmla="*/ 1333976 h 1348549"/>
                <a:gd name="connsiteX829" fmla="*/ 335661 w 860393"/>
                <a:gd name="connsiteY829" fmla="*/ 1337310 h 1348549"/>
                <a:gd name="connsiteX830" fmla="*/ 338614 w 860393"/>
                <a:gd name="connsiteY830" fmla="*/ 1335310 h 1348549"/>
                <a:gd name="connsiteX831" fmla="*/ 338804 w 860393"/>
                <a:gd name="connsiteY831" fmla="*/ 1336929 h 1348549"/>
                <a:gd name="connsiteX832" fmla="*/ 339185 w 860393"/>
                <a:gd name="connsiteY832" fmla="*/ 1340072 h 1348549"/>
                <a:gd name="connsiteX833" fmla="*/ 337566 w 860393"/>
                <a:gd name="connsiteY833" fmla="*/ 1340263 h 1348549"/>
                <a:gd name="connsiteX834" fmla="*/ 340995 w 860393"/>
                <a:gd name="connsiteY834" fmla="*/ 1341501 h 1348549"/>
                <a:gd name="connsiteX835" fmla="*/ 342900 w 860393"/>
                <a:gd name="connsiteY835" fmla="*/ 1344454 h 1348549"/>
                <a:gd name="connsiteX836" fmla="*/ 346329 w 860393"/>
                <a:gd name="connsiteY836" fmla="*/ 1345597 h 1348549"/>
                <a:gd name="connsiteX837" fmla="*/ 348234 w 860393"/>
                <a:gd name="connsiteY837" fmla="*/ 1348550 h 1348549"/>
                <a:gd name="connsiteX838" fmla="*/ 348044 w 860393"/>
                <a:gd name="connsiteY838" fmla="*/ 1346930 h 1348549"/>
                <a:gd name="connsiteX839" fmla="*/ 349663 w 860393"/>
                <a:gd name="connsiteY839" fmla="*/ 1346740 h 1348549"/>
                <a:gd name="connsiteX840" fmla="*/ 349853 w 860393"/>
                <a:gd name="connsiteY840" fmla="*/ 1348359 h 1348549"/>
                <a:gd name="connsiteX841" fmla="*/ 352425 w 860393"/>
                <a:gd name="connsiteY841" fmla="*/ 1343215 h 1348549"/>
                <a:gd name="connsiteX842" fmla="*/ 352996 w 860393"/>
                <a:gd name="connsiteY842" fmla="*/ 1335119 h 1348549"/>
                <a:gd name="connsiteX843" fmla="*/ 351377 w 860393"/>
                <a:gd name="connsiteY843" fmla="*/ 1335310 h 1348549"/>
                <a:gd name="connsiteX844" fmla="*/ 350615 w 860393"/>
                <a:gd name="connsiteY844" fmla="*/ 1329023 h 1348549"/>
                <a:gd name="connsiteX845" fmla="*/ 354901 w 860393"/>
                <a:gd name="connsiteY845" fmla="*/ 1325213 h 1348549"/>
                <a:gd name="connsiteX846" fmla="*/ 359664 w 860393"/>
                <a:gd name="connsiteY846" fmla="*/ 1324642 h 1348549"/>
                <a:gd name="connsiteX847" fmla="*/ 364236 w 860393"/>
                <a:gd name="connsiteY847" fmla="*/ 1322451 h 1348549"/>
                <a:gd name="connsiteX848" fmla="*/ 358616 w 860393"/>
                <a:gd name="connsiteY848" fmla="*/ 1316736 h 1348549"/>
                <a:gd name="connsiteX849" fmla="*/ 361569 w 860393"/>
                <a:gd name="connsiteY849" fmla="*/ 1314736 h 1348549"/>
                <a:gd name="connsiteX850" fmla="*/ 364807 w 860393"/>
                <a:gd name="connsiteY850" fmla="*/ 1314355 h 1348549"/>
                <a:gd name="connsiteX851" fmla="*/ 367189 w 860393"/>
                <a:gd name="connsiteY851" fmla="*/ 1320451 h 1348549"/>
                <a:gd name="connsiteX852" fmla="*/ 374047 w 860393"/>
                <a:gd name="connsiteY852" fmla="*/ 1324451 h 1348549"/>
                <a:gd name="connsiteX853" fmla="*/ 375475 w 860393"/>
                <a:gd name="connsiteY853" fmla="*/ 1322642 h 1348549"/>
                <a:gd name="connsiteX854" fmla="*/ 376428 w 860393"/>
                <a:gd name="connsiteY854" fmla="*/ 1317689 h 1348549"/>
                <a:gd name="connsiteX855" fmla="*/ 381190 w 860393"/>
                <a:gd name="connsiteY855" fmla="*/ 1317117 h 1348549"/>
                <a:gd name="connsiteX856" fmla="*/ 385667 w 860393"/>
                <a:gd name="connsiteY856" fmla="*/ 1314926 h 1348549"/>
                <a:gd name="connsiteX857" fmla="*/ 387096 w 860393"/>
                <a:gd name="connsiteY857" fmla="*/ 1313117 h 1348549"/>
                <a:gd name="connsiteX858" fmla="*/ 395573 w 860393"/>
                <a:gd name="connsiteY858" fmla="*/ 1316831 h 1348549"/>
                <a:gd name="connsiteX859" fmla="*/ 398526 w 860393"/>
                <a:gd name="connsiteY859" fmla="*/ 1314926 h 1348549"/>
                <a:gd name="connsiteX860" fmla="*/ 403003 w 860393"/>
                <a:gd name="connsiteY860" fmla="*/ 1312735 h 1348549"/>
                <a:gd name="connsiteX861" fmla="*/ 404050 w 860393"/>
                <a:gd name="connsiteY861" fmla="*/ 1307783 h 1348549"/>
                <a:gd name="connsiteX862" fmla="*/ 406241 w 860393"/>
                <a:gd name="connsiteY862" fmla="*/ 1312259 h 1348549"/>
                <a:gd name="connsiteX863" fmla="*/ 407575 w 860393"/>
                <a:gd name="connsiteY863" fmla="*/ 1310545 h 1348549"/>
                <a:gd name="connsiteX864" fmla="*/ 416433 w 860393"/>
                <a:gd name="connsiteY864" fmla="*/ 1317403 h 1348549"/>
                <a:gd name="connsiteX865" fmla="*/ 417671 w 860393"/>
                <a:gd name="connsiteY865" fmla="*/ 1314069 h 1348549"/>
                <a:gd name="connsiteX866" fmla="*/ 421005 w 860393"/>
                <a:gd name="connsiteY866" fmla="*/ 1315212 h 1348549"/>
                <a:gd name="connsiteX867" fmla="*/ 429863 w 860393"/>
                <a:gd name="connsiteY867" fmla="*/ 1309306 h 1348549"/>
                <a:gd name="connsiteX868" fmla="*/ 431292 w 860393"/>
                <a:gd name="connsiteY868" fmla="*/ 1307497 h 1348549"/>
                <a:gd name="connsiteX869" fmla="*/ 429482 w 860393"/>
                <a:gd name="connsiteY869" fmla="*/ 1306163 h 1348549"/>
                <a:gd name="connsiteX870" fmla="*/ 430625 w 860393"/>
                <a:gd name="connsiteY870" fmla="*/ 1302734 h 1348549"/>
                <a:gd name="connsiteX871" fmla="*/ 435007 w 860393"/>
                <a:gd name="connsiteY871" fmla="*/ 1299019 h 1348549"/>
                <a:gd name="connsiteX872" fmla="*/ 436150 w 860393"/>
                <a:gd name="connsiteY872" fmla="*/ 1295686 h 1348549"/>
                <a:gd name="connsiteX873" fmla="*/ 439293 w 860393"/>
                <a:gd name="connsiteY873" fmla="*/ 1295210 h 1348549"/>
                <a:gd name="connsiteX874" fmla="*/ 437293 w 860393"/>
                <a:gd name="connsiteY874" fmla="*/ 1292257 h 1348549"/>
                <a:gd name="connsiteX875" fmla="*/ 440531 w 860393"/>
                <a:gd name="connsiteY875" fmla="*/ 1291876 h 1348549"/>
                <a:gd name="connsiteX876" fmla="*/ 441674 w 860393"/>
                <a:gd name="connsiteY876" fmla="*/ 1288542 h 1348549"/>
                <a:gd name="connsiteX877" fmla="*/ 443198 w 860393"/>
                <a:gd name="connsiteY877" fmla="*/ 1288352 h 1348549"/>
                <a:gd name="connsiteX878" fmla="*/ 445961 w 860393"/>
                <a:gd name="connsiteY878" fmla="*/ 1271968 h 1348549"/>
                <a:gd name="connsiteX879" fmla="*/ 447961 w 860393"/>
                <a:gd name="connsiteY879" fmla="*/ 1274921 h 1348549"/>
                <a:gd name="connsiteX880" fmla="*/ 454057 w 860393"/>
                <a:gd name="connsiteY880" fmla="*/ 1272540 h 1348549"/>
                <a:gd name="connsiteX881" fmla="*/ 453676 w 860393"/>
                <a:gd name="connsiteY881" fmla="*/ 1269397 h 1348549"/>
                <a:gd name="connsiteX882" fmla="*/ 458629 w 860393"/>
                <a:gd name="connsiteY882" fmla="*/ 1270349 h 1348549"/>
                <a:gd name="connsiteX883" fmla="*/ 462344 w 860393"/>
                <a:gd name="connsiteY883" fmla="*/ 1261872 h 1348549"/>
                <a:gd name="connsiteX884" fmla="*/ 465487 w 860393"/>
                <a:gd name="connsiteY884" fmla="*/ 1261491 h 1348549"/>
                <a:gd name="connsiteX885" fmla="*/ 467011 w 860393"/>
                <a:gd name="connsiteY885" fmla="*/ 1261205 h 1348549"/>
                <a:gd name="connsiteX886" fmla="*/ 473392 w 860393"/>
                <a:gd name="connsiteY886" fmla="*/ 1260443 h 1348549"/>
                <a:gd name="connsiteX887" fmla="*/ 470821 w 860393"/>
                <a:gd name="connsiteY887" fmla="*/ 1252728 h 1348549"/>
                <a:gd name="connsiteX888" fmla="*/ 472345 w 860393"/>
                <a:gd name="connsiteY888" fmla="*/ 1252538 h 1348549"/>
                <a:gd name="connsiteX889" fmla="*/ 469773 w 860393"/>
                <a:gd name="connsiteY889" fmla="*/ 1244822 h 1348549"/>
                <a:gd name="connsiteX890" fmla="*/ 469582 w 860393"/>
                <a:gd name="connsiteY890" fmla="*/ 1243298 h 1348549"/>
                <a:gd name="connsiteX891" fmla="*/ 462820 w 860393"/>
                <a:gd name="connsiteY891" fmla="*/ 1240917 h 1348549"/>
                <a:gd name="connsiteX892" fmla="*/ 463867 w 860393"/>
                <a:gd name="connsiteY892" fmla="*/ 1235964 h 1348549"/>
                <a:gd name="connsiteX893" fmla="*/ 459867 w 860393"/>
                <a:gd name="connsiteY893" fmla="*/ 1230059 h 1348549"/>
                <a:gd name="connsiteX894" fmla="*/ 457295 w 860393"/>
                <a:gd name="connsiteY894" fmla="*/ 1222439 h 1348549"/>
                <a:gd name="connsiteX895" fmla="*/ 456724 w 860393"/>
                <a:gd name="connsiteY895" fmla="*/ 1217676 h 1348549"/>
                <a:gd name="connsiteX896" fmla="*/ 456057 w 860393"/>
                <a:gd name="connsiteY896" fmla="*/ 1212914 h 1348549"/>
                <a:gd name="connsiteX897" fmla="*/ 457867 w 860393"/>
                <a:gd name="connsiteY897" fmla="*/ 1214342 h 1348549"/>
                <a:gd name="connsiteX898" fmla="*/ 456819 w 860393"/>
                <a:gd name="connsiteY898" fmla="*/ 1206437 h 1348549"/>
                <a:gd name="connsiteX899" fmla="*/ 461581 w 860393"/>
                <a:gd name="connsiteY899" fmla="*/ 1205770 h 1348549"/>
                <a:gd name="connsiteX900" fmla="*/ 462724 w 860393"/>
                <a:gd name="connsiteY900" fmla="*/ 1202436 h 1348549"/>
                <a:gd name="connsiteX901" fmla="*/ 462534 w 860393"/>
                <a:gd name="connsiteY901" fmla="*/ 1200912 h 1348549"/>
                <a:gd name="connsiteX902" fmla="*/ 465296 w 860393"/>
                <a:gd name="connsiteY902" fmla="*/ 1197293 h 1348549"/>
                <a:gd name="connsiteX903" fmla="*/ 467106 w 860393"/>
                <a:gd name="connsiteY903" fmla="*/ 1198721 h 1348549"/>
                <a:gd name="connsiteX904" fmla="*/ 468249 w 860393"/>
                <a:gd name="connsiteY904" fmla="*/ 1195292 h 1348549"/>
                <a:gd name="connsiteX905" fmla="*/ 466725 w 860393"/>
                <a:gd name="connsiteY905" fmla="*/ 1195578 h 1348549"/>
                <a:gd name="connsiteX906" fmla="*/ 469678 w 860393"/>
                <a:gd name="connsiteY906" fmla="*/ 1193578 h 1348549"/>
                <a:gd name="connsiteX907" fmla="*/ 470249 w 860393"/>
                <a:gd name="connsiteY907" fmla="*/ 1185481 h 1348549"/>
                <a:gd name="connsiteX908" fmla="*/ 476536 w 860393"/>
                <a:gd name="connsiteY908" fmla="*/ 1184624 h 1348549"/>
                <a:gd name="connsiteX909" fmla="*/ 476345 w 860393"/>
                <a:gd name="connsiteY909" fmla="*/ 1183100 h 1348549"/>
                <a:gd name="connsiteX910" fmla="*/ 481108 w 860393"/>
                <a:gd name="connsiteY910" fmla="*/ 1182529 h 1348549"/>
                <a:gd name="connsiteX911" fmla="*/ 480631 w 860393"/>
                <a:gd name="connsiteY911" fmla="*/ 1179290 h 1348549"/>
                <a:gd name="connsiteX912" fmla="*/ 480631 w 860393"/>
                <a:gd name="connsiteY912" fmla="*/ 1179290 h 1348549"/>
                <a:gd name="connsiteX913" fmla="*/ 488156 w 860393"/>
                <a:gd name="connsiteY913" fmla="*/ 1187958 h 1348549"/>
                <a:gd name="connsiteX914" fmla="*/ 491299 w 860393"/>
                <a:gd name="connsiteY914" fmla="*/ 1187577 h 1348549"/>
                <a:gd name="connsiteX915" fmla="*/ 491585 w 860393"/>
                <a:gd name="connsiteY915" fmla="*/ 1189196 h 1348549"/>
                <a:gd name="connsiteX916" fmla="*/ 485870 w 860393"/>
                <a:gd name="connsiteY916" fmla="*/ 1194721 h 1348549"/>
                <a:gd name="connsiteX917" fmla="*/ 485680 w 860393"/>
                <a:gd name="connsiteY917" fmla="*/ 1205960 h 1348549"/>
                <a:gd name="connsiteX918" fmla="*/ 484918 w 860393"/>
                <a:gd name="connsiteY918" fmla="*/ 1212437 h 1348549"/>
                <a:gd name="connsiteX919" fmla="*/ 485299 w 860393"/>
                <a:gd name="connsiteY919" fmla="*/ 1215581 h 1348549"/>
                <a:gd name="connsiteX920" fmla="*/ 493205 w 860393"/>
                <a:gd name="connsiteY920" fmla="*/ 1214628 h 1348549"/>
                <a:gd name="connsiteX921" fmla="*/ 496538 w 860393"/>
                <a:gd name="connsiteY921" fmla="*/ 1215771 h 1348549"/>
                <a:gd name="connsiteX922" fmla="*/ 495300 w 860393"/>
                <a:gd name="connsiteY922" fmla="*/ 1206341 h 1348549"/>
                <a:gd name="connsiteX923" fmla="*/ 507206 w 860393"/>
                <a:gd name="connsiteY923" fmla="*/ 1211199 h 1348549"/>
                <a:gd name="connsiteX924" fmla="*/ 510159 w 860393"/>
                <a:gd name="connsiteY924" fmla="*/ 1209294 h 1348549"/>
                <a:gd name="connsiteX925" fmla="*/ 513874 w 860393"/>
                <a:gd name="connsiteY925" fmla="*/ 1213580 h 1348549"/>
                <a:gd name="connsiteX926" fmla="*/ 512921 w 860393"/>
                <a:gd name="connsiteY926" fmla="*/ 1218533 h 1348549"/>
                <a:gd name="connsiteX927" fmla="*/ 522351 w 860393"/>
                <a:gd name="connsiteY927" fmla="*/ 1217295 h 1348549"/>
                <a:gd name="connsiteX928" fmla="*/ 524542 w 860393"/>
                <a:gd name="connsiteY928" fmla="*/ 1221867 h 1348549"/>
                <a:gd name="connsiteX929" fmla="*/ 525971 w 860393"/>
                <a:gd name="connsiteY929" fmla="*/ 1220057 h 1348549"/>
                <a:gd name="connsiteX930" fmla="*/ 523780 w 860393"/>
                <a:gd name="connsiteY930" fmla="*/ 1215581 h 1348549"/>
                <a:gd name="connsiteX931" fmla="*/ 528733 w 860393"/>
                <a:gd name="connsiteY931" fmla="*/ 1216533 h 1348549"/>
                <a:gd name="connsiteX932" fmla="*/ 528542 w 860393"/>
                <a:gd name="connsiteY932" fmla="*/ 1214914 h 1348549"/>
                <a:gd name="connsiteX933" fmla="*/ 531876 w 860393"/>
                <a:gd name="connsiteY933" fmla="*/ 1216152 h 1348549"/>
                <a:gd name="connsiteX934" fmla="*/ 538163 w 860393"/>
                <a:gd name="connsiteY934" fmla="*/ 1215295 h 1348549"/>
                <a:gd name="connsiteX935" fmla="*/ 537020 w 860393"/>
                <a:gd name="connsiteY935" fmla="*/ 1218629 h 1348549"/>
                <a:gd name="connsiteX936" fmla="*/ 543497 w 860393"/>
                <a:gd name="connsiteY936" fmla="*/ 1219390 h 1348549"/>
                <a:gd name="connsiteX937" fmla="*/ 549212 w 860393"/>
                <a:gd name="connsiteY937" fmla="*/ 1226725 h 1348549"/>
                <a:gd name="connsiteX938" fmla="*/ 549212 w 860393"/>
                <a:gd name="connsiteY938" fmla="*/ 1226725 h 1348549"/>
                <a:gd name="connsiteX939" fmla="*/ 554831 w 860393"/>
                <a:gd name="connsiteY939" fmla="*/ 1232440 h 1348549"/>
                <a:gd name="connsiteX940" fmla="*/ 555974 w 860393"/>
                <a:gd name="connsiteY940" fmla="*/ 1241869 h 1348549"/>
                <a:gd name="connsiteX941" fmla="*/ 556165 w 860393"/>
                <a:gd name="connsiteY941" fmla="*/ 1243489 h 1348549"/>
                <a:gd name="connsiteX942" fmla="*/ 571500 w 860393"/>
                <a:gd name="connsiteY942" fmla="*/ 1225487 h 1348549"/>
                <a:gd name="connsiteX943" fmla="*/ 576834 w 860393"/>
                <a:gd name="connsiteY943" fmla="*/ 1216819 h 1348549"/>
                <a:gd name="connsiteX944" fmla="*/ 579787 w 860393"/>
                <a:gd name="connsiteY944" fmla="*/ 1214818 h 1348549"/>
                <a:gd name="connsiteX945" fmla="*/ 581597 w 860393"/>
                <a:gd name="connsiteY945" fmla="*/ 1216152 h 1348549"/>
                <a:gd name="connsiteX946" fmla="*/ 584359 w 860393"/>
                <a:gd name="connsiteY946" fmla="*/ 1212628 h 1348549"/>
                <a:gd name="connsiteX947" fmla="*/ 584549 w 860393"/>
                <a:gd name="connsiteY947" fmla="*/ 1201388 h 1348549"/>
                <a:gd name="connsiteX948" fmla="*/ 582549 w 860393"/>
                <a:gd name="connsiteY948" fmla="*/ 1198435 h 1348549"/>
                <a:gd name="connsiteX949" fmla="*/ 579406 w 860393"/>
                <a:gd name="connsiteY949" fmla="*/ 1198817 h 1348549"/>
                <a:gd name="connsiteX950" fmla="*/ 583501 w 860393"/>
                <a:gd name="connsiteY950" fmla="*/ 1193483 h 1348549"/>
                <a:gd name="connsiteX951" fmla="*/ 576548 w 860393"/>
                <a:gd name="connsiteY951" fmla="*/ 1189577 h 1348549"/>
                <a:gd name="connsiteX952" fmla="*/ 584930 w 860393"/>
                <a:gd name="connsiteY952" fmla="*/ 1191673 h 1348549"/>
                <a:gd name="connsiteX953" fmla="*/ 584645 w 860393"/>
                <a:gd name="connsiteY953" fmla="*/ 1190149 h 1348549"/>
                <a:gd name="connsiteX954" fmla="*/ 587597 w 860393"/>
                <a:gd name="connsiteY954" fmla="*/ 1188148 h 1348549"/>
                <a:gd name="connsiteX955" fmla="*/ 589788 w 860393"/>
                <a:gd name="connsiteY955" fmla="*/ 1192721 h 1348549"/>
                <a:gd name="connsiteX956" fmla="*/ 589979 w 860393"/>
                <a:gd name="connsiteY956" fmla="*/ 1194244 h 1348549"/>
                <a:gd name="connsiteX957" fmla="*/ 593407 w 860393"/>
                <a:gd name="connsiteY957" fmla="*/ 1195388 h 1348549"/>
                <a:gd name="connsiteX958" fmla="*/ 597313 w 860393"/>
                <a:gd name="connsiteY958" fmla="*/ 1188530 h 1348549"/>
                <a:gd name="connsiteX959" fmla="*/ 600456 w 860393"/>
                <a:gd name="connsiteY959" fmla="*/ 1188148 h 1348549"/>
                <a:gd name="connsiteX960" fmla="*/ 604838 w 860393"/>
                <a:gd name="connsiteY960" fmla="*/ 1184339 h 1348549"/>
                <a:gd name="connsiteX961" fmla="*/ 606742 w 860393"/>
                <a:gd name="connsiteY961" fmla="*/ 1187291 h 1348549"/>
                <a:gd name="connsiteX962" fmla="*/ 620554 w 860393"/>
                <a:gd name="connsiteY962" fmla="*/ 1182338 h 1348549"/>
                <a:gd name="connsiteX963" fmla="*/ 622363 w 860393"/>
                <a:gd name="connsiteY963" fmla="*/ 1183767 h 1348549"/>
                <a:gd name="connsiteX964" fmla="*/ 627126 w 860393"/>
                <a:gd name="connsiteY964" fmla="*/ 1183100 h 1348549"/>
                <a:gd name="connsiteX965" fmla="*/ 630079 w 860393"/>
                <a:gd name="connsiteY965" fmla="*/ 1181100 h 1348549"/>
                <a:gd name="connsiteX966" fmla="*/ 633413 w 860393"/>
                <a:gd name="connsiteY966" fmla="*/ 1182338 h 1348549"/>
                <a:gd name="connsiteX967" fmla="*/ 638747 w 860393"/>
                <a:gd name="connsiteY967" fmla="*/ 1186434 h 1348549"/>
                <a:gd name="connsiteX968" fmla="*/ 639128 w 860393"/>
                <a:gd name="connsiteY968" fmla="*/ 1189577 h 1348549"/>
                <a:gd name="connsiteX969" fmla="*/ 637984 w 860393"/>
                <a:gd name="connsiteY969" fmla="*/ 1193006 h 1348549"/>
                <a:gd name="connsiteX970" fmla="*/ 642271 w 860393"/>
                <a:gd name="connsiteY970" fmla="*/ 1189196 h 1348549"/>
                <a:gd name="connsiteX971" fmla="*/ 644080 w 860393"/>
                <a:gd name="connsiteY971" fmla="*/ 1190530 h 1348549"/>
                <a:gd name="connsiteX972" fmla="*/ 644271 w 860393"/>
                <a:gd name="connsiteY972" fmla="*/ 1192149 h 1348549"/>
                <a:gd name="connsiteX973" fmla="*/ 645890 w 860393"/>
                <a:gd name="connsiteY973" fmla="*/ 1191959 h 1348549"/>
                <a:gd name="connsiteX974" fmla="*/ 650748 w 860393"/>
                <a:gd name="connsiteY974" fmla="*/ 1192911 h 1348549"/>
                <a:gd name="connsiteX975" fmla="*/ 651986 w 860393"/>
                <a:gd name="connsiteY975" fmla="*/ 1189577 h 1348549"/>
                <a:gd name="connsiteX976" fmla="*/ 652367 w 860393"/>
                <a:gd name="connsiteY976" fmla="*/ 1192721 h 1348549"/>
                <a:gd name="connsiteX977" fmla="*/ 653796 w 860393"/>
                <a:gd name="connsiteY977" fmla="*/ 1190911 h 1348549"/>
                <a:gd name="connsiteX978" fmla="*/ 658654 w 860393"/>
                <a:gd name="connsiteY978" fmla="*/ 1191959 h 1348549"/>
                <a:gd name="connsiteX979" fmla="*/ 666179 w 860393"/>
                <a:gd name="connsiteY979" fmla="*/ 1187768 h 1348549"/>
                <a:gd name="connsiteX980" fmla="*/ 666940 w 860393"/>
                <a:gd name="connsiteY980" fmla="*/ 1181290 h 1348549"/>
                <a:gd name="connsiteX981" fmla="*/ 671703 w 860393"/>
                <a:gd name="connsiteY981" fmla="*/ 1180624 h 1348549"/>
                <a:gd name="connsiteX982" fmla="*/ 678561 w 860393"/>
                <a:gd name="connsiteY982" fmla="*/ 1171765 h 1348549"/>
                <a:gd name="connsiteX983" fmla="*/ 674561 w 860393"/>
                <a:gd name="connsiteY983" fmla="*/ 1165860 h 1348549"/>
                <a:gd name="connsiteX984" fmla="*/ 677513 w 860393"/>
                <a:gd name="connsiteY984" fmla="*/ 1163860 h 1348549"/>
                <a:gd name="connsiteX985" fmla="*/ 672179 w 860393"/>
                <a:gd name="connsiteY985" fmla="*/ 1159764 h 1348549"/>
                <a:gd name="connsiteX986" fmla="*/ 668464 w 860393"/>
                <a:gd name="connsiteY986" fmla="*/ 1155383 h 1348549"/>
                <a:gd name="connsiteX987" fmla="*/ 668274 w 860393"/>
                <a:gd name="connsiteY987" fmla="*/ 1153859 h 1348549"/>
                <a:gd name="connsiteX988" fmla="*/ 667703 w 860393"/>
                <a:gd name="connsiteY988" fmla="*/ 1149096 h 1348549"/>
                <a:gd name="connsiteX989" fmla="*/ 658749 w 860393"/>
                <a:gd name="connsiteY989" fmla="*/ 1142238 h 1348549"/>
                <a:gd name="connsiteX990" fmla="*/ 659892 w 860393"/>
                <a:gd name="connsiteY990" fmla="*/ 1138809 h 1348549"/>
                <a:gd name="connsiteX991" fmla="*/ 656368 w 860393"/>
                <a:gd name="connsiteY991" fmla="*/ 1136047 h 1348549"/>
                <a:gd name="connsiteX992" fmla="*/ 659130 w 860393"/>
                <a:gd name="connsiteY992" fmla="*/ 1132523 h 1348549"/>
                <a:gd name="connsiteX993" fmla="*/ 662845 w 860393"/>
                <a:gd name="connsiteY993" fmla="*/ 1136904 h 1348549"/>
                <a:gd name="connsiteX994" fmla="*/ 664083 w 860393"/>
                <a:gd name="connsiteY994" fmla="*/ 1133475 h 1348549"/>
                <a:gd name="connsiteX995" fmla="*/ 668846 w 860393"/>
                <a:gd name="connsiteY995" fmla="*/ 1132904 h 1348549"/>
                <a:gd name="connsiteX996" fmla="*/ 669036 w 860393"/>
                <a:gd name="connsiteY996" fmla="*/ 1134523 h 1348549"/>
                <a:gd name="connsiteX997" fmla="*/ 676465 w 860393"/>
                <a:gd name="connsiteY997" fmla="*/ 1130332 h 1348549"/>
                <a:gd name="connsiteX998" fmla="*/ 682847 w 860393"/>
                <a:gd name="connsiteY998" fmla="*/ 1142333 h 1348549"/>
                <a:gd name="connsiteX999" fmla="*/ 687800 w 860393"/>
                <a:gd name="connsiteY999" fmla="*/ 1143286 h 1348549"/>
                <a:gd name="connsiteX1000" fmla="*/ 692087 w 860393"/>
                <a:gd name="connsiteY1000" fmla="*/ 1139571 h 1348549"/>
                <a:gd name="connsiteX1001" fmla="*/ 689515 w 860393"/>
                <a:gd name="connsiteY1001" fmla="*/ 1131856 h 1348549"/>
                <a:gd name="connsiteX1002" fmla="*/ 690944 w 860393"/>
                <a:gd name="connsiteY1002" fmla="*/ 1130046 h 1348549"/>
                <a:gd name="connsiteX1003" fmla="*/ 690277 w 860393"/>
                <a:gd name="connsiteY1003" fmla="*/ 1125379 h 1348549"/>
                <a:gd name="connsiteX1004" fmla="*/ 693230 w 860393"/>
                <a:gd name="connsiteY1004" fmla="*/ 1123379 h 1348549"/>
                <a:gd name="connsiteX1005" fmla="*/ 692658 w 860393"/>
                <a:gd name="connsiteY1005" fmla="*/ 1118616 h 1348549"/>
                <a:gd name="connsiteX1006" fmla="*/ 697135 w 860393"/>
                <a:gd name="connsiteY1006" fmla="*/ 1116425 h 1348549"/>
                <a:gd name="connsiteX1007" fmla="*/ 702564 w 860393"/>
                <a:gd name="connsiteY1007" fmla="*/ 1120616 h 1348549"/>
                <a:gd name="connsiteX1008" fmla="*/ 706660 w 860393"/>
                <a:gd name="connsiteY1008" fmla="*/ 1115282 h 1348549"/>
                <a:gd name="connsiteX1009" fmla="*/ 709231 w 860393"/>
                <a:gd name="connsiteY1009" fmla="*/ 1122902 h 1348549"/>
                <a:gd name="connsiteX1010" fmla="*/ 716185 w 860393"/>
                <a:gd name="connsiteY1010" fmla="*/ 1126903 h 1348549"/>
                <a:gd name="connsiteX1011" fmla="*/ 718280 w 860393"/>
                <a:gd name="connsiteY1011" fmla="*/ 1131380 h 1348549"/>
                <a:gd name="connsiteX1012" fmla="*/ 721519 w 860393"/>
                <a:gd name="connsiteY1012" fmla="*/ 1130998 h 1348549"/>
                <a:gd name="connsiteX1013" fmla="*/ 718947 w 860393"/>
                <a:gd name="connsiteY1013" fmla="*/ 1136142 h 1348549"/>
                <a:gd name="connsiteX1014" fmla="*/ 719138 w 860393"/>
                <a:gd name="connsiteY1014" fmla="*/ 1137761 h 1348549"/>
                <a:gd name="connsiteX1015" fmla="*/ 726091 w 860393"/>
                <a:gd name="connsiteY1015" fmla="*/ 1141667 h 1348549"/>
                <a:gd name="connsiteX1016" fmla="*/ 724662 w 860393"/>
                <a:gd name="connsiteY1016" fmla="*/ 1143476 h 1348549"/>
                <a:gd name="connsiteX1017" fmla="*/ 729424 w 860393"/>
                <a:gd name="connsiteY1017" fmla="*/ 1142810 h 1348549"/>
                <a:gd name="connsiteX1018" fmla="*/ 736473 w 860393"/>
                <a:gd name="connsiteY1018" fmla="*/ 1148334 h 1348549"/>
                <a:gd name="connsiteX1019" fmla="*/ 739712 w 860393"/>
                <a:gd name="connsiteY1019" fmla="*/ 1147953 h 1348549"/>
                <a:gd name="connsiteX1020" fmla="*/ 741045 w 860393"/>
                <a:gd name="connsiteY1020" fmla="*/ 1146143 h 1348549"/>
                <a:gd name="connsiteX1021" fmla="*/ 754856 w 860393"/>
                <a:gd name="connsiteY1021" fmla="*/ 1141190 h 1348549"/>
                <a:gd name="connsiteX1022" fmla="*/ 757999 w 860393"/>
                <a:gd name="connsiteY1022" fmla="*/ 1140809 h 1348549"/>
                <a:gd name="connsiteX1023" fmla="*/ 758190 w 860393"/>
                <a:gd name="connsiteY1023" fmla="*/ 1142333 h 1348549"/>
                <a:gd name="connsiteX1024" fmla="*/ 761333 w 860393"/>
                <a:gd name="connsiteY1024" fmla="*/ 1141952 h 1348549"/>
                <a:gd name="connsiteX1025" fmla="*/ 763143 w 860393"/>
                <a:gd name="connsiteY1025" fmla="*/ 1143381 h 1348549"/>
                <a:gd name="connsiteX1026" fmla="*/ 766286 w 860393"/>
                <a:gd name="connsiteY1026" fmla="*/ 1142905 h 1348549"/>
                <a:gd name="connsiteX1027" fmla="*/ 765905 w 860393"/>
                <a:gd name="connsiteY1027" fmla="*/ 1139762 h 1348549"/>
                <a:gd name="connsiteX1028" fmla="*/ 767524 w 860393"/>
                <a:gd name="connsiteY1028" fmla="*/ 1139571 h 1348549"/>
                <a:gd name="connsiteX1029" fmla="*/ 767048 w 860393"/>
                <a:gd name="connsiteY1029" fmla="*/ 1136428 h 1348549"/>
                <a:gd name="connsiteX1030" fmla="*/ 766477 w 860393"/>
                <a:gd name="connsiteY1030" fmla="*/ 1131665 h 1348549"/>
                <a:gd name="connsiteX1031" fmla="*/ 770382 w 860393"/>
                <a:gd name="connsiteY1031" fmla="*/ 1124807 h 1348549"/>
                <a:gd name="connsiteX1032" fmla="*/ 766667 w 860393"/>
                <a:gd name="connsiteY1032" fmla="*/ 1120426 h 1348549"/>
                <a:gd name="connsiteX1033" fmla="*/ 766477 w 860393"/>
                <a:gd name="connsiteY1033" fmla="*/ 1118902 h 1348549"/>
                <a:gd name="connsiteX1034" fmla="*/ 773906 w 860393"/>
                <a:gd name="connsiteY1034" fmla="*/ 1114711 h 1348549"/>
                <a:gd name="connsiteX1035" fmla="*/ 775145 w 860393"/>
                <a:gd name="connsiteY1035" fmla="*/ 1111377 h 1348549"/>
                <a:gd name="connsiteX1036" fmla="*/ 778097 w 860393"/>
                <a:gd name="connsiteY1036" fmla="*/ 1109377 h 1348549"/>
                <a:gd name="connsiteX1037" fmla="*/ 776288 w 860393"/>
                <a:gd name="connsiteY1037" fmla="*/ 1107948 h 1348549"/>
                <a:gd name="connsiteX1038" fmla="*/ 780574 w 860393"/>
                <a:gd name="connsiteY1038" fmla="*/ 1104233 h 1348549"/>
                <a:gd name="connsiteX1039" fmla="*/ 778002 w 860393"/>
                <a:gd name="connsiteY1039" fmla="*/ 1096518 h 1348549"/>
                <a:gd name="connsiteX1040" fmla="*/ 772097 w 860393"/>
                <a:gd name="connsiteY1040" fmla="*/ 1087660 h 1348549"/>
                <a:gd name="connsiteX1041" fmla="*/ 771715 w 860393"/>
                <a:gd name="connsiteY1041" fmla="*/ 1084517 h 1348549"/>
                <a:gd name="connsiteX1042" fmla="*/ 775240 w 860393"/>
                <a:gd name="connsiteY1042" fmla="*/ 1087279 h 1348549"/>
                <a:gd name="connsiteX1043" fmla="*/ 778192 w 860393"/>
                <a:gd name="connsiteY1043" fmla="*/ 1085279 h 1348549"/>
                <a:gd name="connsiteX1044" fmla="*/ 787241 w 860393"/>
                <a:gd name="connsiteY1044" fmla="*/ 1080897 h 1348549"/>
                <a:gd name="connsiteX1045" fmla="*/ 788480 w 860393"/>
                <a:gd name="connsiteY1045" fmla="*/ 1077563 h 1348549"/>
                <a:gd name="connsiteX1046" fmla="*/ 787813 w 860393"/>
                <a:gd name="connsiteY1046" fmla="*/ 1072801 h 1348549"/>
                <a:gd name="connsiteX1047" fmla="*/ 790384 w 860393"/>
                <a:gd name="connsiteY1047" fmla="*/ 1067657 h 1348549"/>
                <a:gd name="connsiteX1048" fmla="*/ 794004 w 860393"/>
                <a:gd name="connsiteY1048" fmla="*/ 1070419 h 1348549"/>
                <a:gd name="connsiteX1049" fmla="*/ 807720 w 860393"/>
                <a:gd name="connsiteY1049" fmla="*/ 1065467 h 1348549"/>
                <a:gd name="connsiteX1050" fmla="*/ 806958 w 860393"/>
                <a:gd name="connsiteY1050" fmla="*/ 1059180 h 1348549"/>
                <a:gd name="connsiteX1051" fmla="*/ 808577 w 860393"/>
                <a:gd name="connsiteY1051" fmla="*/ 1058989 h 1348549"/>
                <a:gd name="connsiteX1052" fmla="*/ 808101 w 860393"/>
                <a:gd name="connsiteY1052" fmla="*/ 1055846 h 1348549"/>
                <a:gd name="connsiteX1053" fmla="*/ 809149 w 860393"/>
                <a:gd name="connsiteY1053" fmla="*/ 1050893 h 1348549"/>
                <a:gd name="connsiteX1054" fmla="*/ 808672 w 860393"/>
                <a:gd name="connsiteY1054" fmla="*/ 1047750 h 1348549"/>
                <a:gd name="connsiteX1055" fmla="*/ 806767 w 860393"/>
                <a:gd name="connsiteY1055" fmla="*/ 1044797 h 1348549"/>
                <a:gd name="connsiteX1056" fmla="*/ 809911 w 860393"/>
                <a:gd name="connsiteY1056" fmla="*/ 1044321 h 1348549"/>
                <a:gd name="connsiteX1057" fmla="*/ 813435 w 860393"/>
                <a:gd name="connsiteY1057" fmla="*/ 1047083 h 1348549"/>
                <a:gd name="connsiteX1058" fmla="*/ 815435 w 860393"/>
                <a:gd name="connsiteY1058" fmla="*/ 1050036 h 1348549"/>
                <a:gd name="connsiteX1059" fmla="*/ 823341 w 860393"/>
                <a:gd name="connsiteY1059" fmla="*/ 1049084 h 1348549"/>
                <a:gd name="connsiteX1060" fmla="*/ 825532 w 860393"/>
                <a:gd name="connsiteY1060" fmla="*/ 1053560 h 1348549"/>
                <a:gd name="connsiteX1061" fmla="*/ 828675 w 860393"/>
                <a:gd name="connsiteY1061" fmla="*/ 1053179 h 1348549"/>
                <a:gd name="connsiteX1062" fmla="*/ 830580 w 860393"/>
                <a:gd name="connsiteY1062" fmla="*/ 1056132 h 1348549"/>
                <a:gd name="connsiteX1063" fmla="*/ 835152 w 860393"/>
                <a:gd name="connsiteY1063" fmla="*/ 1053941 h 1348549"/>
                <a:gd name="connsiteX1064" fmla="*/ 840676 w 860393"/>
                <a:gd name="connsiteY1064" fmla="*/ 1059656 h 1348549"/>
                <a:gd name="connsiteX1065" fmla="*/ 850011 w 860393"/>
                <a:gd name="connsiteY1065" fmla="*/ 1056894 h 1348549"/>
                <a:gd name="connsiteX1066" fmla="*/ 849535 w 860393"/>
                <a:gd name="connsiteY1066" fmla="*/ 1053751 h 1348549"/>
                <a:gd name="connsiteX1067" fmla="*/ 849154 w 860393"/>
                <a:gd name="connsiteY1067" fmla="*/ 1050608 h 1348549"/>
                <a:gd name="connsiteX1068" fmla="*/ 857440 w 860393"/>
                <a:gd name="connsiteY1068" fmla="*/ 1039939 h 1348549"/>
                <a:gd name="connsiteX1069" fmla="*/ 860393 w 860393"/>
                <a:gd name="connsiteY1069" fmla="*/ 1025080 h 1348549"/>
                <a:gd name="connsiteX1070" fmla="*/ 859917 w 860393"/>
                <a:gd name="connsiteY1070" fmla="*/ 1021937 h 1348549"/>
                <a:gd name="connsiteX1071" fmla="*/ 855250 w 860393"/>
                <a:gd name="connsiteY1071" fmla="*/ 1022509 h 1348549"/>
                <a:gd name="connsiteX1072" fmla="*/ 855250 w 860393"/>
                <a:gd name="connsiteY1072" fmla="*/ 1022509 h 1348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</a:cxnLst>
              <a:rect l="l" t="t" r="r" b="b"/>
              <a:pathLst>
                <a:path w="860393" h="1348549">
                  <a:moveTo>
                    <a:pt x="855250" y="1022509"/>
                  </a:moveTo>
                  <a:lnTo>
                    <a:pt x="856012" y="1016032"/>
                  </a:lnTo>
                  <a:lnTo>
                    <a:pt x="854202" y="1014698"/>
                  </a:lnTo>
                  <a:lnTo>
                    <a:pt x="853821" y="1011555"/>
                  </a:lnTo>
                  <a:lnTo>
                    <a:pt x="852202" y="1011746"/>
                  </a:lnTo>
                  <a:lnTo>
                    <a:pt x="854583" y="1004983"/>
                  </a:lnTo>
                  <a:lnTo>
                    <a:pt x="847439" y="999458"/>
                  </a:lnTo>
                  <a:lnTo>
                    <a:pt x="850011" y="994315"/>
                  </a:lnTo>
                  <a:lnTo>
                    <a:pt x="849821" y="992791"/>
                  </a:lnTo>
                  <a:lnTo>
                    <a:pt x="846677" y="993172"/>
                  </a:lnTo>
                  <a:lnTo>
                    <a:pt x="845725" y="998125"/>
                  </a:lnTo>
                  <a:lnTo>
                    <a:pt x="835438" y="992981"/>
                  </a:lnTo>
                  <a:lnTo>
                    <a:pt x="832675" y="996601"/>
                  </a:lnTo>
                  <a:lnTo>
                    <a:pt x="833247" y="1001268"/>
                  </a:lnTo>
                  <a:lnTo>
                    <a:pt x="828484" y="1001935"/>
                  </a:lnTo>
                  <a:lnTo>
                    <a:pt x="827151" y="1003649"/>
                  </a:lnTo>
                  <a:lnTo>
                    <a:pt x="822484" y="1017080"/>
                  </a:lnTo>
                  <a:lnTo>
                    <a:pt x="815340" y="1011555"/>
                  </a:lnTo>
                  <a:lnTo>
                    <a:pt x="814483" y="1005268"/>
                  </a:lnTo>
                  <a:lnTo>
                    <a:pt x="810578" y="999363"/>
                  </a:lnTo>
                  <a:lnTo>
                    <a:pt x="807434" y="999744"/>
                  </a:lnTo>
                  <a:lnTo>
                    <a:pt x="806958" y="996601"/>
                  </a:lnTo>
                  <a:lnTo>
                    <a:pt x="814102" y="989267"/>
                  </a:lnTo>
                  <a:lnTo>
                    <a:pt x="819055" y="990314"/>
                  </a:lnTo>
                  <a:lnTo>
                    <a:pt x="822960" y="983361"/>
                  </a:lnTo>
                  <a:lnTo>
                    <a:pt x="819626" y="982218"/>
                  </a:lnTo>
                  <a:lnTo>
                    <a:pt x="820769" y="978789"/>
                  </a:lnTo>
                  <a:lnTo>
                    <a:pt x="819150" y="979075"/>
                  </a:lnTo>
                  <a:lnTo>
                    <a:pt x="822103" y="977075"/>
                  </a:lnTo>
                  <a:lnTo>
                    <a:pt x="818959" y="977455"/>
                  </a:lnTo>
                  <a:lnTo>
                    <a:pt x="813816" y="974884"/>
                  </a:lnTo>
                  <a:lnTo>
                    <a:pt x="814673" y="968407"/>
                  </a:lnTo>
                  <a:lnTo>
                    <a:pt x="812863" y="966978"/>
                  </a:lnTo>
                  <a:lnTo>
                    <a:pt x="809911" y="968978"/>
                  </a:lnTo>
                  <a:lnTo>
                    <a:pt x="807720" y="964501"/>
                  </a:lnTo>
                  <a:lnTo>
                    <a:pt x="809054" y="962692"/>
                  </a:lnTo>
                  <a:lnTo>
                    <a:pt x="807530" y="962882"/>
                  </a:lnTo>
                  <a:lnTo>
                    <a:pt x="806863" y="958120"/>
                  </a:lnTo>
                  <a:lnTo>
                    <a:pt x="803720" y="958501"/>
                  </a:lnTo>
                  <a:lnTo>
                    <a:pt x="801338" y="952405"/>
                  </a:lnTo>
                  <a:lnTo>
                    <a:pt x="799433" y="949452"/>
                  </a:lnTo>
                  <a:lnTo>
                    <a:pt x="795814" y="946690"/>
                  </a:lnTo>
                  <a:lnTo>
                    <a:pt x="790289" y="940975"/>
                  </a:lnTo>
                  <a:lnTo>
                    <a:pt x="785717" y="930402"/>
                  </a:lnTo>
                  <a:lnTo>
                    <a:pt x="779240" y="929640"/>
                  </a:lnTo>
                  <a:lnTo>
                    <a:pt x="770572" y="924306"/>
                  </a:lnTo>
                  <a:lnTo>
                    <a:pt x="764762" y="916972"/>
                  </a:lnTo>
                  <a:lnTo>
                    <a:pt x="761619" y="917448"/>
                  </a:lnTo>
                  <a:lnTo>
                    <a:pt x="758857" y="920972"/>
                  </a:lnTo>
                  <a:lnTo>
                    <a:pt x="757047" y="919543"/>
                  </a:lnTo>
                  <a:lnTo>
                    <a:pt x="755904" y="910114"/>
                  </a:lnTo>
                  <a:lnTo>
                    <a:pt x="750570" y="906018"/>
                  </a:lnTo>
                  <a:lnTo>
                    <a:pt x="754285" y="897541"/>
                  </a:lnTo>
                  <a:lnTo>
                    <a:pt x="743617" y="889254"/>
                  </a:lnTo>
                  <a:lnTo>
                    <a:pt x="735044" y="872680"/>
                  </a:lnTo>
                  <a:lnTo>
                    <a:pt x="727996" y="867156"/>
                  </a:lnTo>
                  <a:lnTo>
                    <a:pt x="727996" y="867156"/>
                  </a:lnTo>
                  <a:lnTo>
                    <a:pt x="725424" y="872300"/>
                  </a:lnTo>
                  <a:lnTo>
                    <a:pt x="725043" y="882015"/>
                  </a:lnTo>
                  <a:lnTo>
                    <a:pt x="723424" y="882205"/>
                  </a:lnTo>
                  <a:lnTo>
                    <a:pt x="722090" y="883920"/>
                  </a:lnTo>
                  <a:lnTo>
                    <a:pt x="720280" y="882587"/>
                  </a:lnTo>
                  <a:lnTo>
                    <a:pt x="717709" y="887730"/>
                  </a:lnTo>
                  <a:lnTo>
                    <a:pt x="715994" y="886301"/>
                  </a:lnTo>
                  <a:lnTo>
                    <a:pt x="715613" y="883158"/>
                  </a:lnTo>
                  <a:lnTo>
                    <a:pt x="694849" y="871347"/>
                  </a:lnTo>
                  <a:lnTo>
                    <a:pt x="692467" y="865251"/>
                  </a:lnTo>
                  <a:lnTo>
                    <a:pt x="690848" y="852678"/>
                  </a:lnTo>
                  <a:lnTo>
                    <a:pt x="687610" y="840200"/>
                  </a:lnTo>
                  <a:lnTo>
                    <a:pt x="688657" y="835247"/>
                  </a:lnTo>
                  <a:lnTo>
                    <a:pt x="694849" y="821626"/>
                  </a:lnTo>
                  <a:lnTo>
                    <a:pt x="696468" y="821436"/>
                  </a:lnTo>
                  <a:lnTo>
                    <a:pt x="697421" y="816483"/>
                  </a:lnTo>
                  <a:lnTo>
                    <a:pt x="699040" y="816293"/>
                  </a:lnTo>
                  <a:lnTo>
                    <a:pt x="697039" y="813340"/>
                  </a:lnTo>
                  <a:lnTo>
                    <a:pt x="697611" y="805243"/>
                  </a:lnTo>
                  <a:lnTo>
                    <a:pt x="696087" y="805529"/>
                  </a:lnTo>
                  <a:lnTo>
                    <a:pt x="693706" y="812197"/>
                  </a:lnTo>
                  <a:lnTo>
                    <a:pt x="690563" y="812578"/>
                  </a:lnTo>
                  <a:lnTo>
                    <a:pt x="686943" y="809815"/>
                  </a:lnTo>
                  <a:lnTo>
                    <a:pt x="685229" y="808482"/>
                  </a:lnTo>
                  <a:lnTo>
                    <a:pt x="681799" y="807339"/>
                  </a:lnTo>
                  <a:lnTo>
                    <a:pt x="684371" y="802196"/>
                  </a:lnTo>
                  <a:lnTo>
                    <a:pt x="680847" y="799433"/>
                  </a:lnTo>
                  <a:lnTo>
                    <a:pt x="677513" y="798195"/>
                  </a:lnTo>
                  <a:lnTo>
                    <a:pt x="671322" y="800576"/>
                  </a:lnTo>
                  <a:lnTo>
                    <a:pt x="665416" y="791718"/>
                  </a:lnTo>
                  <a:lnTo>
                    <a:pt x="660654" y="792385"/>
                  </a:lnTo>
                  <a:lnTo>
                    <a:pt x="651986" y="787051"/>
                  </a:lnTo>
                  <a:lnTo>
                    <a:pt x="649605" y="793718"/>
                  </a:lnTo>
                  <a:lnTo>
                    <a:pt x="646271" y="792575"/>
                  </a:lnTo>
                  <a:lnTo>
                    <a:pt x="642175" y="797909"/>
                  </a:lnTo>
                  <a:lnTo>
                    <a:pt x="636080" y="800290"/>
                  </a:lnTo>
                  <a:lnTo>
                    <a:pt x="635317" y="806768"/>
                  </a:lnTo>
                  <a:lnTo>
                    <a:pt x="622649" y="808387"/>
                  </a:lnTo>
                  <a:lnTo>
                    <a:pt x="615887" y="806101"/>
                  </a:lnTo>
                  <a:lnTo>
                    <a:pt x="604075" y="788289"/>
                  </a:lnTo>
                  <a:lnTo>
                    <a:pt x="595598" y="784574"/>
                  </a:lnTo>
                  <a:lnTo>
                    <a:pt x="587312" y="782479"/>
                  </a:lnTo>
                  <a:lnTo>
                    <a:pt x="585311" y="779526"/>
                  </a:lnTo>
                  <a:lnTo>
                    <a:pt x="581978" y="778288"/>
                  </a:lnTo>
                  <a:lnTo>
                    <a:pt x="579406" y="783431"/>
                  </a:lnTo>
                  <a:lnTo>
                    <a:pt x="578167" y="786860"/>
                  </a:lnTo>
                  <a:lnTo>
                    <a:pt x="579977" y="788194"/>
                  </a:lnTo>
                  <a:lnTo>
                    <a:pt x="572072" y="802005"/>
                  </a:lnTo>
                  <a:lnTo>
                    <a:pt x="558927" y="798862"/>
                  </a:lnTo>
                  <a:lnTo>
                    <a:pt x="555498" y="797719"/>
                  </a:lnTo>
                  <a:lnTo>
                    <a:pt x="547211" y="782764"/>
                  </a:lnTo>
                  <a:lnTo>
                    <a:pt x="543878" y="781526"/>
                  </a:lnTo>
                  <a:lnTo>
                    <a:pt x="541115" y="785146"/>
                  </a:lnTo>
                  <a:lnTo>
                    <a:pt x="535972" y="782574"/>
                  </a:lnTo>
                  <a:lnTo>
                    <a:pt x="520922" y="778097"/>
                  </a:lnTo>
                  <a:lnTo>
                    <a:pt x="513493" y="782193"/>
                  </a:lnTo>
                  <a:lnTo>
                    <a:pt x="509111" y="786003"/>
                  </a:lnTo>
                  <a:lnTo>
                    <a:pt x="504444" y="786575"/>
                  </a:lnTo>
                  <a:lnTo>
                    <a:pt x="504825" y="789718"/>
                  </a:lnTo>
                  <a:lnTo>
                    <a:pt x="502634" y="785241"/>
                  </a:lnTo>
                  <a:lnTo>
                    <a:pt x="495490" y="779717"/>
                  </a:lnTo>
                  <a:lnTo>
                    <a:pt x="501587" y="777335"/>
                  </a:lnTo>
                  <a:lnTo>
                    <a:pt x="499681" y="774383"/>
                  </a:lnTo>
                  <a:lnTo>
                    <a:pt x="492538" y="768858"/>
                  </a:lnTo>
                  <a:lnTo>
                    <a:pt x="492157" y="765715"/>
                  </a:lnTo>
                  <a:lnTo>
                    <a:pt x="495109" y="763714"/>
                  </a:lnTo>
                  <a:lnTo>
                    <a:pt x="492728" y="757618"/>
                  </a:lnTo>
                  <a:lnTo>
                    <a:pt x="485775" y="753713"/>
                  </a:lnTo>
                  <a:lnTo>
                    <a:pt x="483584" y="749141"/>
                  </a:lnTo>
                  <a:lnTo>
                    <a:pt x="480441" y="749522"/>
                  </a:lnTo>
                  <a:lnTo>
                    <a:pt x="478441" y="746569"/>
                  </a:lnTo>
                  <a:lnTo>
                    <a:pt x="467011" y="731996"/>
                  </a:lnTo>
                  <a:lnTo>
                    <a:pt x="465011" y="729043"/>
                  </a:lnTo>
                  <a:lnTo>
                    <a:pt x="463582" y="730853"/>
                  </a:lnTo>
                  <a:lnTo>
                    <a:pt x="456152" y="722185"/>
                  </a:lnTo>
                  <a:lnTo>
                    <a:pt x="448818" y="727901"/>
                  </a:lnTo>
                  <a:lnTo>
                    <a:pt x="439388" y="729139"/>
                  </a:lnTo>
                  <a:lnTo>
                    <a:pt x="436626" y="732663"/>
                  </a:lnTo>
                  <a:lnTo>
                    <a:pt x="434054" y="737806"/>
                  </a:lnTo>
                  <a:lnTo>
                    <a:pt x="432054" y="734854"/>
                  </a:lnTo>
                  <a:lnTo>
                    <a:pt x="433006" y="729901"/>
                  </a:lnTo>
                  <a:lnTo>
                    <a:pt x="421386" y="726567"/>
                  </a:lnTo>
                  <a:lnTo>
                    <a:pt x="415290" y="729043"/>
                  </a:lnTo>
                  <a:lnTo>
                    <a:pt x="410337" y="727996"/>
                  </a:lnTo>
                  <a:lnTo>
                    <a:pt x="410146" y="726472"/>
                  </a:lnTo>
                  <a:lnTo>
                    <a:pt x="409956" y="724852"/>
                  </a:lnTo>
                  <a:lnTo>
                    <a:pt x="404622" y="720757"/>
                  </a:lnTo>
                  <a:lnTo>
                    <a:pt x="403003" y="720947"/>
                  </a:lnTo>
                  <a:lnTo>
                    <a:pt x="401860" y="724281"/>
                  </a:lnTo>
                  <a:lnTo>
                    <a:pt x="401288" y="719518"/>
                  </a:lnTo>
                  <a:lnTo>
                    <a:pt x="399288" y="716566"/>
                  </a:lnTo>
                  <a:lnTo>
                    <a:pt x="394716" y="718756"/>
                  </a:lnTo>
                  <a:lnTo>
                    <a:pt x="391192" y="715994"/>
                  </a:lnTo>
                  <a:lnTo>
                    <a:pt x="384620" y="715232"/>
                  </a:lnTo>
                  <a:lnTo>
                    <a:pt x="382238" y="709136"/>
                  </a:lnTo>
                  <a:lnTo>
                    <a:pt x="379286" y="711137"/>
                  </a:lnTo>
                  <a:lnTo>
                    <a:pt x="375761" y="708374"/>
                  </a:lnTo>
                  <a:lnTo>
                    <a:pt x="371189" y="710565"/>
                  </a:lnTo>
                  <a:lnTo>
                    <a:pt x="369284" y="707612"/>
                  </a:lnTo>
                  <a:lnTo>
                    <a:pt x="368046" y="710946"/>
                  </a:lnTo>
                  <a:lnTo>
                    <a:pt x="364903" y="711327"/>
                  </a:lnTo>
                  <a:lnTo>
                    <a:pt x="365284" y="714470"/>
                  </a:lnTo>
                  <a:lnTo>
                    <a:pt x="363760" y="714756"/>
                  </a:lnTo>
                  <a:lnTo>
                    <a:pt x="361950" y="713327"/>
                  </a:lnTo>
                  <a:lnTo>
                    <a:pt x="358997" y="715327"/>
                  </a:lnTo>
                  <a:lnTo>
                    <a:pt x="357664" y="717137"/>
                  </a:lnTo>
                  <a:lnTo>
                    <a:pt x="357188" y="713899"/>
                  </a:lnTo>
                  <a:lnTo>
                    <a:pt x="355473" y="712565"/>
                  </a:lnTo>
                  <a:lnTo>
                    <a:pt x="354997" y="709422"/>
                  </a:lnTo>
                  <a:lnTo>
                    <a:pt x="351854" y="709803"/>
                  </a:lnTo>
                  <a:lnTo>
                    <a:pt x="354235" y="703135"/>
                  </a:lnTo>
                  <a:lnTo>
                    <a:pt x="360331" y="687896"/>
                  </a:lnTo>
                  <a:lnTo>
                    <a:pt x="362807" y="669893"/>
                  </a:lnTo>
                  <a:lnTo>
                    <a:pt x="359664" y="670369"/>
                  </a:lnTo>
                  <a:lnTo>
                    <a:pt x="355949" y="678847"/>
                  </a:lnTo>
                  <a:lnTo>
                    <a:pt x="350806" y="676275"/>
                  </a:lnTo>
                  <a:lnTo>
                    <a:pt x="349472" y="678085"/>
                  </a:lnTo>
                  <a:lnTo>
                    <a:pt x="350044" y="682752"/>
                  </a:lnTo>
                  <a:lnTo>
                    <a:pt x="345091" y="681800"/>
                  </a:lnTo>
                  <a:lnTo>
                    <a:pt x="341947" y="682180"/>
                  </a:lnTo>
                  <a:lnTo>
                    <a:pt x="334899" y="689515"/>
                  </a:lnTo>
                  <a:lnTo>
                    <a:pt x="332708" y="685038"/>
                  </a:lnTo>
                  <a:lnTo>
                    <a:pt x="329374" y="683800"/>
                  </a:lnTo>
                  <a:lnTo>
                    <a:pt x="324803" y="673132"/>
                  </a:lnTo>
                  <a:lnTo>
                    <a:pt x="323945" y="666845"/>
                  </a:lnTo>
                  <a:lnTo>
                    <a:pt x="321945" y="663893"/>
                  </a:lnTo>
                  <a:lnTo>
                    <a:pt x="318611" y="662750"/>
                  </a:lnTo>
                  <a:lnTo>
                    <a:pt x="316039" y="667893"/>
                  </a:lnTo>
                  <a:lnTo>
                    <a:pt x="316611" y="659797"/>
                  </a:lnTo>
                  <a:lnTo>
                    <a:pt x="314230" y="653701"/>
                  </a:lnTo>
                  <a:lnTo>
                    <a:pt x="305753" y="649891"/>
                  </a:lnTo>
                  <a:lnTo>
                    <a:pt x="306705" y="645033"/>
                  </a:lnTo>
                  <a:lnTo>
                    <a:pt x="309944" y="644557"/>
                  </a:lnTo>
                  <a:lnTo>
                    <a:pt x="307467" y="638461"/>
                  </a:lnTo>
                  <a:lnTo>
                    <a:pt x="312230" y="637889"/>
                  </a:lnTo>
                  <a:lnTo>
                    <a:pt x="313468" y="634555"/>
                  </a:lnTo>
                  <a:lnTo>
                    <a:pt x="319183" y="629031"/>
                  </a:lnTo>
                  <a:lnTo>
                    <a:pt x="318897" y="627412"/>
                  </a:lnTo>
                  <a:lnTo>
                    <a:pt x="319945" y="622459"/>
                  </a:lnTo>
                  <a:lnTo>
                    <a:pt x="321659" y="623888"/>
                  </a:lnTo>
                  <a:lnTo>
                    <a:pt x="323088" y="622078"/>
                  </a:lnTo>
                  <a:lnTo>
                    <a:pt x="322707" y="618934"/>
                  </a:lnTo>
                  <a:lnTo>
                    <a:pt x="324993" y="612172"/>
                  </a:lnTo>
                  <a:lnTo>
                    <a:pt x="316706" y="610076"/>
                  </a:lnTo>
                  <a:lnTo>
                    <a:pt x="317849" y="606647"/>
                  </a:lnTo>
                  <a:lnTo>
                    <a:pt x="315563" y="600551"/>
                  </a:lnTo>
                  <a:lnTo>
                    <a:pt x="323183" y="597980"/>
                  </a:lnTo>
                  <a:lnTo>
                    <a:pt x="322802" y="594836"/>
                  </a:lnTo>
                  <a:lnTo>
                    <a:pt x="327374" y="592646"/>
                  </a:lnTo>
                  <a:lnTo>
                    <a:pt x="328327" y="587693"/>
                  </a:lnTo>
                  <a:lnTo>
                    <a:pt x="334613" y="586930"/>
                  </a:lnTo>
                  <a:lnTo>
                    <a:pt x="336804" y="578644"/>
                  </a:lnTo>
                  <a:lnTo>
                    <a:pt x="338519" y="579977"/>
                  </a:lnTo>
                  <a:lnTo>
                    <a:pt x="341090" y="574834"/>
                  </a:lnTo>
                  <a:lnTo>
                    <a:pt x="339090" y="571881"/>
                  </a:lnTo>
                  <a:lnTo>
                    <a:pt x="341852" y="568357"/>
                  </a:lnTo>
                  <a:lnTo>
                    <a:pt x="339471" y="562261"/>
                  </a:lnTo>
                  <a:lnTo>
                    <a:pt x="339280" y="560642"/>
                  </a:lnTo>
                  <a:lnTo>
                    <a:pt x="335185" y="553212"/>
                  </a:lnTo>
                  <a:lnTo>
                    <a:pt x="320516" y="539020"/>
                  </a:lnTo>
                  <a:lnTo>
                    <a:pt x="312039" y="535305"/>
                  </a:lnTo>
                  <a:lnTo>
                    <a:pt x="309658" y="529114"/>
                  </a:lnTo>
                  <a:lnTo>
                    <a:pt x="311182" y="528923"/>
                  </a:lnTo>
                  <a:lnTo>
                    <a:pt x="320040" y="523018"/>
                  </a:lnTo>
                  <a:lnTo>
                    <a:pt x="320802" y="516541"/>
                  </a:lnTo>
                  <a:lnTo>
                    <a:pt x="318421" y="510349"/>
                  </a:lnTo>
                  <a:lnTo>
                    <a:pt x="316801" y="497776"/>
                  </a:lnTo>
                  <a:lnTo>
                    <a:pt x="325279" y="488632"/>
                  </a:lnTo>
                  <a:lnTo>
                    <a:pt x="329851" y="473678"/>
                  </a:lnTo>
                  <a:lnTo>
                    <a:pt x="337471" y="471107"/>
                  </a:lnTo>
                  <a:lnTo>
                    <a:pt x="342995" y="463963"/>
                  </a:lnTo>
                  <a:lnTo>
                    <a:pt x="345567" y="458819"/>
                  </a:lnTo>
                  <a:lnTo>
                    <a:pt x="353282" y="456247"/>
                  </a:lnTo>
                  <a:lnTo>
                    <a:pt x="360521" y="437674"/>
                  </a:lnTo>
                  <a:lnTo>
                    <a:pt x="359473" y="429768"/>
                  </a:lnTo>
                  <a:lnTo>
                    <a:pt x="357092" y="423672"/>
                  </a:lnTo>
                  <a:lnTo>
                    <a:pt x="357473" y="414052"/>
                  </a:lnTo>
                  <a:lnTo>
                    <a:pt x="349948" y="392525"/>
                  </a:lnTo>
                  <a:lnTo>
                    <a:pt x="365665" y="377666"/>
                  </a:lnTo>
                  <a:lnTo>
                    <a:pt x="369665" y="370808"/>
                  </a:lnTo>
                  <a:lnTo>
                    <a:pt x="365665" y="364903"/>
                  </a:lnTo>
                  <a:lnTo>
                    <a:pt x="364236" y="353854"/>
                  </a:lnTo>
                  <a:lnTo>
                    <a:pt x="361664" y="346138"/>
                  </a:lnTo>
                  <a:lnTo>
                    <a:pt x="371951" y="338423"/>
                  </a:lnTo>
                  <a:lnTo>
                    <a:pt x="375095" y="338042"/>
                  </a:lnTo>
                  <a:lnTo>
                    <a:pt x="383096" y="325755"/>
                  </a:lnTo>
                  <a:lnTo>
                    <a:pt x="387287" y="320421"/>
                  </a:lnTo>
                  <a:lnTo>
                    <a:pt x="392335" y="310134"/>
                  </a:lnTo>
                  <a:lnTo>
                    <a:pt x="397669" y="314230"/>
                  </a:lnTo>
                  <a:lnTo>
                    <a:pt x="400717" y="312325"/>
                  </a:lnTo>
                  <a:lnTo>
                    <a:pt x="405003" y="308515"/>
                  </a:lnTo>
                  <a:lnTo>
                    <a:pt x="404241" y="302228"/>
                  </a:lnTo>
                  <a:lnTo>
                    <a:pt x="408146" y="295275"/>
                  </a:lnTo>
                  <a:lnTo>
                    <a:pt x="414052" y="291370"/>
                  </a:lnTo>
                  <a:lnTo>
                    <a:pt x="427672" y="297656"/>
                  </a:lnTo>
                  <a:lnTo>
                    <a:pt x="434912" y="291846"/>
                  </a:lnTo>
                  <a:lnTo>
                    <a:pt x="442246" y="273272"/>
                  </a:lnTo>
                  <a:lnTo>
                    <a:pt x="450723" y="264223"/>
                  </a:lnTo>
                  <a:lnTo>
                    <a:pt x="453962" y="252603"/>
                  </a:lnTo>
                  <a:lnTo>
                    <a:pt x="455771" y="253936"/>
                  </a:lnTo>
                  <a:lnTo>
                    <a:pt x="463487" y="264223"/>
                  </a:lnTo>
                  <a:lnTo>
                    <a:pt x="468821" y="268319"/>
                  </a:lnTo>
                  <a:lnTo>
                    <a:pt x="471773" y="266319"/>
                  </a:lnTo>
                  <a:lnTo>
                    <a:pt x="480060" y="268510"/>
                  </a:lnTo>
                  <a:lnTo>
                    <a:pt x="485965" y="264509"/>
                  </a:lnTo>
                  <a:lnTo>
                    <a:pt x="485394" y="259842"/>
                  </a:lnTo>
                  <a:lnTo>
                    <a:pt x="488156" y="256222"/>
                  </a:lnTo>
                  <a:lnTo>
                    <a:pt x="487299" y="249936"/>
                  </a:lnTo>
                  <a:lnTo>
                    <a:pt x="488156" y="243459"/>
                  </a:lnTo>
                  <a:lnTo>
                    <a:pt x="485299" y="234124"/>
                  </a:lnTo>
                  <a:lnTo>
                    <a:pt x="487680" y="227457"/>
                  </a:lnTo>
                  <a:lnTo>
                    <a:pt x="489204" y="214408"/>
                  </a:lnTo>
                  <a:lnTo>
                    <a:pt x="487013" y="209836"/>
                  </a:lnTo>
                  <a:lnTo>
                    <a:pt x="489775" y="206311"/>
                  </a:lnTo>
                  <a:lnTo>
                    <a:pt x="481108" y="188214"/>
                  </a:lnTo>
                  <a:lnTo>
                    <a:pt x="472249" y="194119"/>
                  </a:lnTo>
                  <a:lnTo>
                    <a:pt x="469582" y="186404"/>
                  </a:lnTo>
                  <a:lnTo>
                    <a:pt x="459581" y="182880"/>
                  </a:lnTo>
                  <a:lnTo>
                    <a:pt x="445389" y="184690"/>
                  </a:lnTo>
                  <a:lnTo>
                    <a:pt x="442436" y="186690"/>
                  </a:lnTo>
                  <a:lnTo>
                    <a:pt x="441484" y="204406"/>
                  </a:lnTo>
                  <a:lnTo>
                    <a:pt x="435102" y="205264"/>
                  </a:lnTo>
                  <a:lnTo>
                    <a:pt x="431578" y="202501"/>
                  </a:lnTo>
                  <a:lnTo>
                    <a:pt x="428149" y="188500"/>
                  </a:lnTo>
                  <a:lnTo>
                    <a:pt x="424244" y="182594"/>
                  </a:lnTo>
                  <a:lnTo>
                    <a:pt x="431959" y="180022"/>
                  </a:lnTo>
                  <a:lnTo>
                    <a:pt x="429768" y="175450"/>
                  </a:lnTo>
                  <a:lnTo>
                    <a:pt x="430339" y="167354"/>
                  </a:lnTo>
                  <a:lnTo>
                    <a:pt x="435197" y="155543"/>
                  </a:lnTo>
                  <a:lnTo>
                    <a:pt x="429673" y="149828"/>
                  </a:lnTo>
                  <a:lnTo>
                    <a:pt x="426530" y="150209"/>
                  </a:lnTo>
                  <a:lnTo>
                    <a:pt x="423196" y="149066"/>
                  </a:lnTo>
                  <a:lnTo>
                    <a:pt x="425101" y="139160"/>
                  </a:lnTo>
                  <a:lnTo>
                    <a:pt x="430054" y="140113"/>
                  </a:lnTo>
                  <a:lnTo>
                    <a:pt x="432625" y="135064"/>
                  </a:lnTo>
                  <a:lnTo>
                    <a:pt x="430435" y="130492"/>
                  </a:lnTo>
                  <a:lnTo>
                    <a:pt x="414814" y="134112"/>
                  </a:lnTo>
                  <a:lnTo>
                    <a:pt x="406146" y="141637"/>
                  </a:lnTo>
                  <a:lnTo>
                    <a:pt x="398336" y="142589"/>
                  </a:lnTo>
                  <a:lnTo>
                    <a:pt x="389001" y="145351"/>
                  </a:lnTo>
                  <a:lnTo>
                    <a:pt x="378714" y="140303"/>
                  </a:lnTo>
                  <a:lnTo>
                    <a:pt x="371665" y="134779"/>
                  </a:lnTo>
                  <a:lnTo>
                    <a:pt x="359759" y="129826"/>
                  </a:lnTo>
                  <a:lnTo>
                    <a:pt x="357378" y="123730"/>
                  </a:lnTo>
                  <a:lnTo>
                    <a:pt x="350330" y="118205"/>
                  </a:lnTo>
                  <a:lnTo>
                    <a:pt x="343376" y="114300"/>
                  </a:lnTo>
                  <a:lnTo>
                    <a:pt x="335471" y="102489"/>
                  </a:lnTo>
                  <a:lnTo>
                    <a:pt x="326136" y="92488"/>
                  </a:lnTo>
                  <a:lnTo>
                    <a:pt x="324517" y="79819"/>
                  </a:lnTo>
                  <a:lnTo>
                    <a:pt x="328041" y="69723"/>
                  </a:lnTo>
                  <a:lnTo>
                    <a:pt x="321183" y="65818"/>
                  </a:lnTo>
                  <a:lnTo>
                    <a:pt x="314611" y="65056"/>
                  </a:lnTo>
                  <a:lnTo>
                    <a:pt x="310324" y="68770"/>
                  </a:lnTo>
                  <a:lnTo>
                    <a:pt x="299466" y="71818"/>
                  </a:lnTo>
                  <a:lnTo>
                    <a:pt x="295084" y="75533"/>
                  </a:lnTo>
                  <a:lnTo>
                    <a:pt x="293370" y="74200"/>
                  </a:lnTo>
                  <a:lnTo>
                    <a:pt x="285464" y="75152"/>
                  </a:lnTo>
                  <a:lnTo>
                    <a:pt x="272224" y="59245"/>
                  </a:lnTo>
                  <a:lnTo>
                    <a:pt x="264319" y="60198"/>
                  </a:lnTo>
                  <a:lnTo>
                    <a:pt x="262699" y="47625"/>
                  </a:lnTo>
                  <a:lnTo>
                    <a:pt x="257746" y="46672"/>
                  </a:lnTo>
                  <a:lnTo>
                    <a:pt x="245173" y="48292"/>
                  </a:lnTo>
                  <a:lnTo>
                    <a:pt x="243935" y="51625"/>
                  </a:lnTo>
                  <a:lnTo>
                    <a:pt x="222409" y="46291"/>
                  </a:lnTo>
                  <a:lnTo>
                    <a:pt x="211550" y="36481"/>
                  </a:lnTo>
                  <a:lnTo>
                    <a:pt x="206883" y="37052"/>
                  </a:lnTo>
                  <a:lnTo>
                    <a:pt x="202692" y="29623"/>
                  </a:lnTo>
                  <a:lnTo>
                    <a:pt x="199549" y="30004"/>
                  </a:lnTo>
                  <a:lnTo>
                    <a:pt x="195167" y="33814"/>
                  </a:lnTo>
                  <a:lnTo>
                    <a:pt x="189452" y="26479"/>
                  </a:lnTo>
                  <a:lnTo>
                    <a:pt x="184309" y="23908"/>
                  </a:lnTo>
                  <a:lnTo>
                    <a:pt x="175831" y="33052"/>
                  </a:lnTo>
                  <a:lnTo>
                    <a:pt x="167926" y="34004"/>
                  </a:lnTo>
                  <a:lnTo>
                    <a:pt x="165735" y="29527"/>
                  </a:lnTo>
                  <a:lnTo>
                    <a:pt x="151543" y="18478"/>
                  </a:lnTo>
                  <a:lnTo>
                    <a:pt x="134588" y="11049"/>
                  </a:lnTo>
                  <a:lnTo>
                    <a:pt x="120301" y="0"/>
                  </a:lnTo>
                  <a:lnTo>
                    <a:pt x="118967" y="1810"/>
                  </a:lnTo>
                  <a:lnTo>
                    <a:pt x="115538" y="571"/>
                  </a:lnTo>
                  <a:lnTo>
                    <a:pt x="111633" y="7525"/>
                  </a:lnTo>
                  <a:lnTo>
                    <a:pt x="106680" y="6572"/>
                  </a:lnTo>
                  <a:lnTo>
                    <a:pt x="103727" y="8572"/>
                  </a:lnTo>
                  <a:lnTo>
                    <a:pt x="102965" y="15049"/>
                  </a:lnTo>
                  <a:lnTo>
                    <a:pt x="98679" y="18764"/>
                  </a:lnTo>
                  <a:lnTo>
                    <a:pt x="99441" y="25146"/>
                  </a:lnTo>
                  <a:lnTo>
                    <a:pt x="95536" y="32004"/>
                  </a:lnTo>
                  <a:lnTo>
                    <a:pt x="96298" y="38290"/>
                  </a:lnTo>
                  <a:lnTo>
                    <a:pt x="90678" y="43910"/>
                  </a:lnTo>
                  <a:lnTo>
                    <a:pt x="89630" y="48768"/>
                  </a:lnTo>
                  <a:lnTo>
                    <a:pt x="92773" y="48387"/>
                  </a:lnTo>
                  <a:lnTo>
                    <a:pt x="100108" y="55531"/>
                  </a:lnTo>
                  <a:lnTo>
                    <a:pt x="107061" y="59436"/>
                  </a:lnTo>
                  <a:lnTo>
                    <a:pt x="112204" y="62008"/>
                  </a:lnTo>
                  <a:lnTo>
                    <a:pt x="116300" y="69437"/>
                  </a:lnTo>
                  <a:lnTo>
                    <a:pt x="122491" y="67056"/>
                  </a:lnTo>
                  <a:lnTo>
                    <a:pt x="124396" y="70009"/>
                  </a:lnTo>
                  <a:lnTo>
                    <a:pt x="124873" y="73152"/>
                  </a:lnTo>
                  <a:lnTo>
                    <a:pt x="127063" y="77724"/>
                  </a:lnTo>
                  <a:lnTo>
                    <a:pt x="130397" y="91726"/>
                  </a:lnTo>
                  <a:lnTo>
                    <a:pt x="128016" y="98488"/>
                  </a:lnTo>
                  <a:lnTo>
                    <a:pt x="136588" y="114967"/>
                  </a:lnTo>
                  <a:lnTo>
                    <a:pt x="143923" y="122111"/>
                  </a:lnTo>
                  <a:lnTo>
                    <a:pt x="145256" y="133159"/>
                  </a:lnTo>
                  <a:lnTo>
                    <a:pt x="142589" y="136684"/>
                  </a:lnTo>
                  <a:lnTo>
                    <a:pt x="147066" y="147352"/>
                  </a:lnTo>
                  <a:lnTo>
                    <a:pt x="156210" y="155829"/>
                  </a:lnTo>
                  <a:lnTo>
                    <a:pt x="161163" y="156781"/>
                  </a:lnTo>
                  <a:lnTo>
                    <a:pt x="164116" y="154781"/>
                  </a:lnTo>
                  <a:lnTo>
                    <a:pt x="167259" y="154400"/>
                  </a:lnTo>
                  <a:lnTo>
                    <a:pt x="169640" y="160496"/>
                  </a:lnTo>
                  <a:lnTo>
                    <a:pt x="186595" y="167926"/>
                  </a:lnTo>
                  <a:lnTo>
                    <a:pt x="189547" y="166021"/>
                  </a:lnTo>
                  <a:lnTo>
                    <a:pt x="191357" y="167354"/>
                  </a:lnTo>
                  <a:lnTo>
                    <a:pt x="192214" y="173641"/>
                  </a:lnTo>
                  <a:lnTo>
                    <a:pt x="195739" y="176403"/>
                  </a:lnTo>
                  <a:lnTo>
                    <a:pt x="204406" y="194596"/>
                  </a:lnTo>
                  <a:lnTo>
                    <a:pt x="202882" y="207550"/>
                  </a:lnTo>
                  <a:lnTo>
                    <a:pt x="198977" y="214503"/>
                  </a:lnTo>
                  <a:lnTo>
                    <a:pt x="193072" y="218503"/>
                  </a:lnTo>
                  <a:lnTo>
                    <a:pt x="191929" y="221837"/>
                  </a:lnTo>
                  <a:lnTo>
                    <a:pt x="199168" y="228886"/>
                  </a:lnTo>
                  <a:lnTo>
                    <a:pt x="198596" y="236982"/>
                  </a:lnTo>
                  <a:lnTo>
                    <a:pt x="211455" y="249745"/>
                  </a:lnTo>
                  <a:lnTo>
                    <a:pt x="207169" y="253555"/>
                  </a:lnTo>
                  <a:lnTo>
                    <a:pt x="203454" y="262033"/>
                  </a:lnTo>
                  <a:lnTo>
                    <a:pt x="192596" y="265081"/>
                  </a:lnTo>
                  <a:lnTo>
                    <a:pt x="190976" y="265271"/>
                  </a:lnTo>
                  <a:lnTo>
                    <a:pt x="186214" y="252984"/>
                  </a:lnTo>
                  <a:lnTo>
                    <a:pt x="180499" y="245745"/>
                  </a:lnTo>
                  <a:lnTo>
                    <a:pt x="179261" y="236220"/>
                  </a:lnTo>
                  <a:lnTo>
                    <a:pt x="174117" y="233743"/>
                  </a:lnTo>
                  <a:lnTo>
                    <a:pt x="165449" y="241173"/>
                  </a:lnTo>
                  <a:lnTo>
                    <a:pt x="166116" y="245936"/>
                  </a:lnTo>
                  <a:lnTo>
                    <a:pt x="168116" y="248888"/>
                  </a:lnTo>
                  <a:lnTo>
                    <a:pt x="163925" y="254222"/>
                  </a:lnTo>
                  <a:lnTo>
                    <a:pt x="162782" y="257556"/>
                  </a:lnTo>
                  <a:lnTo>
                    <a:pt x="158210" y="259747"/>
                  </a:lnTo>
                  <a:lnTo>
                    <a:pt x="154686" y="256984"/>
                  </a:lnTo>
                  <a:lnTo>
                    <a:pt x="142018" y="258604"/>
                  </a:lnTo>
                  <a:lnTo>
                    <a:pt x="140113" y="255651"/>
                  </a:lnTo>
                  <a:lnTo>
                    <a:pt x="135160" y="254698"/>
                  </a:lnTo>
                  <a:lnTo>
                    <a:pt x="122872" y="259461"/>
                  </a:lnTo>
                  <a:lnTo>
                    <a:pt x="121920" y="264414"/>
                  </a:lnTo>
                  <a:lnTo>
                    <a:pt x="115824" y="266795"/>
                  </a:lnTo>
                  <a:lnTo>
                    <a:pt x="111728" y="272129"/>
                  </a:lnTo>
                  <a:lnTo>
                    <a:pt x="112871" y="281559"/>
                  </a:lnTo>
                  <a:lnTo>
                    <a:pt x="111919" y="286512"/>
                  </a:lnTo>
                  <a:lnTo>
                    <a:pt x="105823" y="288893"/>
                  </a:lnTo>
                  <a:lnTo>
                    <a:pt x="99250" y="288131"/>
                  </a:lnTo>
                  <a:lnTo>
                    <a:pt x="98488" y="294608"/>
                  </a:lnTo>
                  <a:lnTo>
                    <a:pt x="100679" y="299180"/>
                  </a:lnTo>
                  <a:lnTo>
                    <a:pt x="99727" y="304133"/>
                  </a:lnTo>
                  <a:lnTo>
                    <a:pt x="100774" y="312039"/>
                  </a:lnTo>
                  <a:lnTo>
                    <a:pt x="98203" y="317182"/>
                  </a:lnTo>
                  <a:lnTo>
                    <a:pt x="90869" y="322897"/>
                  </a:lnTo>
                  <a:lnTo>
                    <a:pt x="90106" y="329374"/>
                  </a:lnTo>
                  <a:lnTo>
                    <a:pt x="86392" y="337947"/>
                  </a:lnTo>
                  <a:lnTo>
                    <a:pt x="85820" y="345948"/>
                  </a:lnTo>
                  <a:lnTo>
                    <a:pt x="83058" y="349567"/>
                  </a:lnTo>
                  <a:lnTo>
                    <a:pt x="81153" y="359378"/>
                  </a:lnTo>
                  <a:lnTo>
                    <a:pt x="81915" y="365760"/>
                  </a:lnTo>
                  <a:lnTo>
                    <a:pt x="79534" y="372428"/>
                  </a:lnTo>
                  <a:lnTo>
                    <a:pt x="78010" y="372618"/>
                  </a:lnTo>
                  <a:lnTo>
                    <a:pt x="77343" y="367951"/>
                  </a:lnTo>
                  <a:lnTo>
                    <a:pt x="74200" y="368332"/>
                  </a:lnTo>
                  <a:lnTo>
                    <a:pt x="76009" y="382524"/>
                  </a:lnTo>
                  <a:lnTo>
                    <a:pt x="70295" y="388048"/>
                  </a:lnTo>
                  <a:lnTo>
                    <a:pt x="62484" y="389096"/>
                  </a:lnTo>
                  <a:lnTo>
                    <a:pt x="61055" y="390811"/>
                  </a:lnTo>
                  <a:lnTo>
                    <a:pt x="63055" y="393763"/>
                  </a:lnTo>
                  <a:lnTo>
                    <a:pt x="69628" y="407384"/>
                  </a:lnTo>
                  <a:lnTo>
                    <a:pt x="70390" y="413671"/>
                  </a:lnTo>
                  <a:lnTo>
                    <a:pt x="74200" y="418052"/>
                  </a:lnTo>
                  <a:lnTo>
                    <a:pt x="66865" y="423767"/>
                  </a:lnTo>
                  <a:lnTo>
                    <a:pt x="60007" y="432625"/>
                  </a:lnTo>
                  <a:lnTo>
                    <a:pt x="57436" y="437769"/>
                  </a:lnTo>
                  <a:lnTo>
                    <a:pt x="68294" y="447675"/>
                  </a:lnTo>
                  <a:lnTo>
                    <a:pt x="64389" y="454533"/>
                  </a:lnTo>
                  <a:lnTo>
                    <a:pt x="72104" y="464820"/>
                  </a:lnTo>
                  <a:lnTo>
                    <a:pt x="66199" y="468725"/>
                  </a:lnTo>
                  <a:lnTo>
                    <a:pt x="65246" y="473678"/>
                  </a:lnTo>
                  <a:lnTo>
                    <a:pt x="65627" y="476821"/>
                  </a:lnTo>
                  <a:lnTo>
                    <a:pt x="64389" y="480250"/>
                  </a:lnTo>
                  <a:lnTo>
                    <a:pt x="56579" y="481203"/>
                  </a:lnTo>
                  <a:lnTo>
                    <a:pt x="55340" y="484537"/>
                  </a:lnTo>
                  <a:lnTo>
                    <a:pt x="46291" y="488918"/>
                  </a:lnTo>
                  <a:lnTo>
                    <a:pt x="43910" y="495681"/>
                  </a:lnTo>
                  <a:lnTo>
                    <a:pt x="39053" y="494728"/>
                  </a:lnTo>
                  <a:lnTo>
                    <a:pt x="37814" y="498062"/>
                  </a:lnTo>
                  <a:lnTo>
                    <a:pt x="38671" y="504349"/>
                  </a:lnTo>
                  <a:lnTo>
                    <a:pt x="37433" y="507682"/>
                  </a:lnTo>
                  <a:lnTo>
                    <a:pt x="33147" y="511492"/>
                  </a:lnTo>
                  <a:lnTo>
                    <a:pt x="29242" y="518350"/>
                  </a:lnTo>
                  <a:lnTo>
                    <a:pt x="29432" y="519970"/>
                  </a:lnTo>
                  <a:lnTo>
                    <a:pt x="24860" y="522160"/>
                  </a:lnTo>
                  <a:lnTo>
                    <a:pt x="19145" y="514826"/>
                  </a:lnTo>
                  <a:lnTo>
                    <a:pt x="6096" y="513302"/>
                  </a:lnTo>
                  <a:lnTo>
                    <a:pt x="0" y="515684"/>
                  </a:lnTo>
                  <a:lnTo>
                    <a:pt x="3810" y="532829"/>
                  </a:lnTo>
                  <a:lnTo>
                    <a:pt x="9144" y="537019"/>
                  </a:lnTo>
                  <a:lnTo>
                    <a:pt x="13049" y="542925"/>
                  </a:lnTo>
                  <a:lnTo>
                    <a:pt x="12097" y="547783"/>
                  </a:lnTo>
                  <a:lnTo>
                    <a:pt x="17621" y="553498"/>
                  </a:lnTo>
                  <a:lnTo>
                    <a:pt x="15526" y="561784"/>
                  </a:lnTo>
                  <a:lnTo>
                    <a:pt x="15145" y="571500"/>
                  </a:lnTo>
                  <a:lnTo>
                    <a:pt x="15716" y="576263"/>
                  </a:lnTo>
                  <a:lnTo>
                    <a:pt x="20860" y="578834"/>
                  </a:lnTo>
                  <a:lnTo>
                    <a:pt x="22288" y="589788"/>
                  </a:lnTo>
                  <a:lnTo>
                    <a:pt x="29146" y="593788"/>
                  </a:lnTo>
                  <a:lnTo>
                    <a:pt x="25432" y="602266"/>
                  </a:lnTo>
                  <a:lnTo>
                    <a:pt x="33909" y="605980"/>
                  </a:lnTo>
                  <a:lnTo>
                    <a:pt x="31432" y="611124"/>
                  </a:lnTo>
                  <a:lnTo>
                    <a:pt x="33623" y="615696"/>
                  </a:lnTo>
                  <a:lnTo>
                    <a:pt x="31051" y="620744"/>
                  </a:lnTo>
                  <a:lnTo>
                    <a:pt x="31813" y="627126"/>
                  </a:lnTo>
                  <a:lnTo>
                    <a:pt x="33814" y="630079"/>
                  </a:lnTo>
                  <a:lnTo>
                    <a:pt x="29908" y="636937"/>
                  </a:lnTo>
                  <a:lnTo>
                    <a:pt x="36195" y="649034"/>
                  </a:lnTo>
                  <a:lnTo>
                    <a:pt x="37243" y="656844"/>
                  </a:lnTo>
                  <a:lnTo>
                    <a:pt x="43910" y="659225"/>
                  </a:lnTo>
                  <a:lnTo>
                    <a:pt x="40957" y="661226"/>
                  </a:lnTo>
                  <a:lnTo>
                    <a:pt x="42767" y="662559"/>
                  </a:lnTo>
                  <a:lnTo>
                    <a:pt x="33909" y="668560"/>
                  </a:lnTo>
                  <a:lnTo>
                    <a:pt x="30766" y="668941"/>
                  </a:lnTo>
                  <a:lnTo>
                    <a:pt x="24860" y="672941"/>
                  </a:lnTo>
                  <a:lnTo>
                    <a:pt x="22098" y="676465"/>
                  </a:lnTo>
                  <a:lnTo>
                    <a:pt x="22098" y="689324"/>
                  </a:lnTo>
                  <a:lnTo>
                    <a:pt x="21336" y="695801"/>
                  </a:lnTo>
                  <a:lnTo>
                    <a:pt x="24860" y="698563"/>
                  </a:lnTo>
                  <a:lnTo>
                    <a:pt x="20955" y="705422"/>
                  </a:lnTo>
                  <a:lnTo>
                    <a:pt x="23527" y="713137"/>
                  </a:lnTo>
                  <a:lnTo>
                    <a:pt x="28480" y="714089"/>
                  </a:lnTo>
                  <a:lnTo>
                    <a:pt x="28670" y="715709"/>
                  </a:lnTo>
                  <a:lnTo>
                    <a:pt x="32290" y="718471"/>
                  </a:lnTo>
                  <a:lnTo>
                    <a:pt x="34195" y="721423"/>
                  </a:lnTo>
                  <a:lnTo>
                    <a:pt x="39338" y="723995"/>
                  </a:lnTo>
                  <a:lnTo>
                    <a:pt x="36576" y="727519"/>
                  </a:lnTo>
                  <a:lnTo>
                    <a:pt x="38957" y="733615"/>
                  </a:lnTo>
                  <a:lnTo>
                    <a:pt x="36671" y="740378"/>
                  </a:lnTo>
                  <a:lnTo>
                    <a:pt x="44767" y="753713"/>
                  </a:lnTo>
                  <a:lnTo>
                    <a:pt x="56483" y="769906"/>
                  </a:lnTo>
                  <a:lnTo>
                    <a:pt x="61817" y="774001"/>
                  </a:lnTo>
                  <a:lnTo>
                    <a:pt x="66675" y="775049"/>
                  </a:lnTo>
                  <a:lnTo>
                    <a:pt x="70675" y="780955"/>
                  </a:lnTo>
                  <a:lnTo>
                    <a:pt x="67723" y="782860"/>
                  </a:lnTo>
                  <a:lnTo>
                    <a:pt x="68104" y="786098"/>
                  </a:lnTo>
                  <a:lnTo>
                    <a:pt x="68294" y="787622"/>
                  </a:lnTo>
                  <a:lnTo>
                    <a:pt x="63817" y="789813"/>
                  </a:lnTo>
                  <a:lnTo>
                    <a:pt x="64008" y="791432"/>
                  </a:lnTo>
                  <a:lnTo>
                    <a:pt x="73247" y="801434"/>
                  </a:lnTo>
                  <a:lnTo>
                    <a:pt x="78391" y="804005"/>
                  </a:lnTo>
                  <a:lnTo>
                    <a:pt x="74676" y="812483"/>
                  </a:lnTo>
                  <a:lnTo>
                    <a:pt x="71533" y="812863"/>
                  </a:lnTo>
                  <a:lnTo>
                    <a:pt x="67628" y="819817"/>
                  </a:lnTo>
                  <a:lnTo>
                    <a:pt x="63246" y="823531"/>
                  </a:lnTo>
                  <a:lnTo>
                    <a:pt x="65437" y="828104"/>
                  </a:lnTo>
                  <a:lnTo>
                    <a:pt x="68580" y="827722"/>
                  </a:lnTo>
                  <a:lnTo>
                    <a:pt x="73342" y="827056"/>
                  </a:lnTo>
                  <a:lnTo>
                    <a:pt x="74295" y="822198"/>
                  </a:lnTo>
                  <a:lnTo>
                    <a:pt x="79057" y="821531"/>
                  </a:lnTo>
                  <a:lnTo>
                    <a:pt x="79629" y="826294"/>
                  </a:lnTo>
                  <a:lnTo>
                    <a:pt x="81439" y="827627"/>
                  </a:lnTo>
                  <a:lnTo>
                    <a:pt x="86011" y="825437"/>
                  </a:lnTo>
                  <a:lnTo>
                    <a:pt x="92297" y="824675"/>
                  </a:lnTo>
                  <a:lnTo>
                    <a:pt x="96203" y="830580"/>
                  </a:lnTo>
                  <a:lnTo>
                    <a:pt x="103156" y="834485"/>
                  </a:lnTo>
                  <a:lnTo>
                    <a:pt x="102394" y="841058"/>
                  </a:lnTo>
                  <a:lnTo>
                    <a:pt x="98679" y="849535"/>
                  </a:lnTo>
                  <a:lnTo>
                    <a:pt x="100394" y="850868"/>
                  </a:lnTo>
                  <a:lnTo>
                    <a:pt x="100870" y="854012"/>
                  </a:lnTo>
                  <a:lnTo>
                    <a:pt x="103822" y="852106"/>
                  </a:lnTo>
                  <a:lnTo>
                    <a:pt x="104394" y="856774"/>
                  </a:lnTo>
                  <a:lnTo>
                    <a:pt x="101917" y="874776"/>
                  </a:lnTo>
                  <a:lnTo>
                    <a:pt x="104299" y="880872"/>
                  </a:lnTo>
                  <a:lnTo>
                    <a:pt x="98774" y="888016"/>
                  </a:lnTo>
                  <a:lnTo>
                    <a:pt x="95631" y="888397"/>
                  </a:lnTo>
                  <a:lnTo>
                    <a:pt x="89440" y="890778"/>
                  </a:lnTo>
                  <a:lnTo>
                    <a:pt x="91630" y="895350"/>
                  </a:lnTo>
                  <a:lnTo>
                    <a:pt x="90297" y="897064"/>
                  </a:lnTo>
                  <a:lnTo>
                    <a:pt x="88868" y="898874"/>
                  </a:lnTo>
                  <a:lnTo>
                    <a:pt x="82391" y="898112"/>
                  </a:lnTo>
                  <a:lnTo>
                    <a:pt x="78296" y="903446"/>
                  </a:lnTo>
                  <a:lnTo>
                    <a:pt x="78867" y="908209"/>
                  </a:lnTo>
                  <a:lnTo>
                    <a:pt x="74104" y="908780"/>
                  </a:lnTo>
                  <a:lnTo>
                    <a:pt x="75724" y="921448"/>
                  </a:lnTo>
                  <a:lnTo>
                    <a:pt x="74390" y="923163"/>
                  </a:lnTo>
                  <a:lnTo>
                    <a:pt x="75152" y="929545"/>
                  </a:lnTo>
                  <a:lnTo>
                    <a:pt x="81153" y="938403"/>
                  </a:lnTo>
                  <a:lnTo>
                    <a:pt x="88392" y="945451"/>
                  </a:lnTo>
                  <a:lnTo>
                    <a:pt x="87058" y="947261"/>
                  </a:lnTo>
                  <a:lnTo>
                    <a:pt x="83534" y="944499"/>
                  </a:lnTo>
                  <a:lnTo>
                    <a:pt x="83058" y="941356"/>
                  </a:lnTo>
                  <a:lnTo>
                    <a:pt x="81344" y="939927"/>
                  </a:lnTo>
                  <a:lnTo>
                    <a:pt x="81724" y="943070"/>
                  </a:lnTo>
                  <a:lnTo>
                    <a:pt x="80486" y="946499"/>
                  </a:lnTo>
                  <a:lnTo>
                    <a:pt x="78962" y="946690"/>
                  </a:lnTo>
                  <a:lnTo>
                    <a:pt x="78391" y="954786"/>
                  </a:lnTo>
                  <a:lnTo>
                    <a:pt x="74104" y="958501"/>
                  </a:lnTo>
                  <a:lnTo>
                    <a:pt x="77819" y="962787"/>
                  </a:lnTo>
                  <a:lnTo>
                    <a:pt x="76676" y="966216"/>
                  </a:lnTo>
                  <a:lnTo>
                    <a:pt x="73723" y="968216"/>
                  </a:lnTo>
                  <a:lnTo>
                    <a:pt x="76105" y="974312"/>
                  </a:lnTo>
                  <a:lnTo>
                    <a:pt x="77819" y="975646"/>
                  </a:lnTo>
                  <a:lnTo>
                    <a:pt x="71723" y="978027"/>
                  </a:lnTo>
                  <a:lnTo>
                    <a:pt x="72104" y="981170"/>
                  </a:lnTo>
                  <a:lnTo>
                    <a:pt x="67628" y="983361"/>
                  </a:lnTo>
                  <a:lnTo>
                    <a:pt x="65818" y="982027"/>
                  </a:lnTo>
                  <a:lnTo>
                    <a:pt x="65056" y="988505"/>
                  </a:lnTo>
                  <a:lnTo>
                    <a:pt x="70009" y="989457"/>
                  </a:lnTo>
                  <a:lnTo>
                    <a:pt x="72390" y="995648"/>
                  </a:lnTo>
                  <a:lnTo>
                    <a:pt x="75724" y="996791"/>
                  </a:lnTo>
                  <a:lnTo>
                    <a:pt x="74581" y="1000125"/>
                  </a:lnTo>
                  <a:lnTo>
                    <a:pt x="70009" y="1002316"/>
                  </a:lnTo>
                  <a:lnTo>
                    <a:pt x="62294" y="1004888"/>
                  </a:lnTo>
                  <a:lnTo>
                    <a:pt x="60579" y="1003554"/>
                  </a:lnTo>
                  <a:lnTo>
                    <a:pt x="58388" y="998982"/>
                  </a:lnTo>
                  <a:lnTo>
                    <a:pt x="54769" y="996220"/>
                  </a:lnTo>
                  <a:lnTo>
                    <a:pt x="51816" y="998220"/>
                  </a:lnTo>
                  <a:lnTo>
                    <a:pt x="49625" y="993648"/>
                  </a:lnTo>
                  <a:lnTo>
                    <a:pt x="48673" y="998601"/>
                  </a:lnTo>
                  <a:lnTo>
                    <a:pt x="46672" y="995648"/>
                  </a:lnTo>
                  <a:lnTo>
                    <a:pt x="40005" y="993362"/>
                  </a:lnTo>
                  <a:lnTo>
                    <a:pt x="34480" y="987647"/>
                  </a:lnTo>
                  <a:lnTo>
                    <a:pt x="38386" y="993553"/>
                  </a:lnTo>
                  <a:lnTo>
                    <a:pt x="35242" y="993934"/>
                  </a:lnTo>
                  <a:lnTo>
                    <a:pt x="37433" y="998410"/>
                  </a:lnTo>
                  <a:lnTo>
                    <a:pt x="34480" y="1000411"/>
                  </a:lnTo>
                  <a:lnTo>
                    <a:pt x="34671" y="1002030"/>
                  </a:lnTo>
                  <a:lnTo>
                    <a:pt x="37052" y="1008126"/>
                  </a:lnTo>
                  <a:lnTo>
                    <a:pt x="36290" y="1014603"/>
                  </a:lnTo>
                  <a:lnTo>
                    <a:pt x="38100" y="1016032"/>
                  </a:lnTo>
                  <a:lnTo>
                    <a:pt x="41243" y="1015651"/>
                  </a:lnTo>
                  <a:lnTo>
                    <a:pt x="41434" y="1017175"/>
                  </a:lnTo>
                  <a:lnTo>
                    <a:pt x="41624" y="1018794"/>
                  </a:lnTo>
                  <a:lnTo>
                    <a:pt x="38862" y="1022318"/>
                  </a:lnTo>
                  <a:lnTo>
                    <a:pt x="36766" y="1030605"/>
                  </a:lnTo>
                  <a:lnTo>
                    <a:pt x="33814" y="1032605"/>
                  </a:lnTo>
                  <a:lnTo>
                    <a:pt x="31432" y="1039273"/>
                  </a:lnTo>
                  <a:lnTo>
                    <a:pt x="37909" y="1040035"/>
                  </a:lnTo>
                  <a:lnTo>
                    <a:pt x="44101" y="1037654"/>
                  </a:lnTo>
                  <a:lnTo>
                    <a:pt x="47434" y="1038892"/>
                  </a:lnTo>
                  <a:lnTo>
                    <a:pt x="52388" y="1039844"/>
                  </a:lnTo>
                  <a:lnTo>
                    <a:pt x="55340" y="1037844"/>
                  </a:lnTo>
                  <a:lnTo>
                    <a:pt x="62008" y="1040225"/>
                  </a:lnTo>
                  <a:lnTo>
                    <a:pt x="64008" y="1043178"/>
                  </a:lnTo>
                  <a:lnTo>
                    <a:pt x="72676" y="1048512"/>
                  </a:lnTo>
                  <a:lnTo>
                    <a:pt x="80772" y="1049084"/>
                  </a:lnTo>
                  <a:lnTo>
                    <a:pt x="85154" y="1045273"/>
                  </a:lnTo>
                  <a:lnTo>
                    <a:pt x="83725" y="1047083"/>
                  </a:lnTo>
                  <a:lnTo>
                    <a:pt x="84106" y="1050227"/>
                  </a:lnTo>
                  <a:lnTo>
                    <a:pt x="85344" y="1046893"/>
                  </a:lnTo>
                  <a:lnTo>
                    <a:pt x="87058" y="1048226"/>
                  </a:lnTo>
                  <a:lnTo>
                    <a:pt x="92012" y="1049274"/>
                  </a:lnTo>
                  <a:lnTo>
                    <a:pt x="92202" y="1050798"/>
                  </a:lnTo>
                  <a:lnTo>
                    <a:pt x="95155" y="1048798"/>
                  </a:lnTo>
                  <a:lnTo>
                    <a:pt x="96964" y="1050227"/>
                  </a:lnTo>
                  <a:lnTo>
                    <a:pt x="98584" y="1050036"/>
                  </a:lnTo>
                  <a:lnTo>
                    <a:pt x="97155" y="1051751"/>
                  </a:lnTo>
                  <a:lnTo>
                    <a:pt x="90869" y="1052608"/>
                  </a:lnTo>
                  <a:lnTo>
                    <a:pt x="85725" y="1050036"/>
                  </a:lnTo>
                  <a:lnTo>
                    <a:pt x="81153" y="1052227"/>
                  </a:lnTo>
                  <a:lnTo>
                    <a:pt x="77248" y="1059085"/>
                  </a:lnTo>
                  <a:lnTo>
                    <a:pt x="79248" y="1062133"/>
                  </a:lnTo>
                  <a:lnTo>
                    <a:pt x="80200" y="1069943"/>
                  </a:lnTo>
                  <a:lnTo>
                    <a:pt x="78867" y="1071753"/>
                  </a:lnTo>
                  <a:lnTo>
                    <a:pt x="75914" y="1073753"/>
                  </a:lnTo>
                  <a:lnTo>
                    <a:pt x="72580" y="1072515"/>
                  </a:lnTo>
                  <a:lnTo>
                    <a:pt x="66865" y="1078135"/>
                  </a:lnTo>
                  <a:lnTo>
                    <a:pt x="68866" y="1081088"/>
                  </a:lnTo>
                  <a:lnTo>
                    <a:pt x="65532" y="1092708"/>
                  </a:lnTo>
                  <a:lnTo>
                    <a:pt x="69247" y="1096994"/>
                  </a:lnTo>
                  <a:lnTo>
                    <a:pt x="70104" y="1103376"/>
                  </a:lnTo>
                  <a:lnTo>
                    <a:pt x="72009" y="1106329"/>
                  </a:lnTo>
                  <a:lnTo>
                    <a:pt x="72676" y="1110996"/>
                  </a:lnTo>
                  <a:lnTo>
                    <a:pt x="76581" y="1116902"/>
                  </a:lnTo>
                  <a:lnTo>
                    <a:pt x="76771" y="1118521"/>
                  </a:lnTo>
                  <a:lnTo>
                    <a:pt x="73628" y="1118902"/>
                  </a:lnTo>
                  <a:lnTo>
                    <a:pt x="76962" y="1120140"/>
                  </a:lnTo>
                  <a:lnTo>
                    <a:pt x="76105" y="1137856"/>
                  </a:lnTo>
                  <a:lnTo>
                    <a:pt x="80963" y="1138809"/>
                  </a:lnTo>
                  <a:lnTo>
                    <a:pt x="82963" y="1141762"/>
                  </a:lnTo>
                  <a:lnTo>
                    <a:pt x="89249" y="1141000"/>
                  </a:lnTo>
                  <a:lnTo>
                    <a:pt x="91059" y="1142333"/>
                  </a:lnTo>
                  <a:lnTo>
                    <a:pt x="88963" y="1150620"/>
                  </a:lnTo>
                  <a:lnTo>
                    <a:pt x="92107" y="1150239"/>
                  </a:lnTo>
                  <a:lnTo>
                    <a:pt x="94297" y="1154811"/>
                  </a:lnTo>
                  <a:lnTo>
                    <a:pt x="92869" y="1156526"/>
                  </a:lnTo>
                  <a:lnTo>
                    <a:pt x="97822" y="1157573"/>
                  </a:lnTo>
                  <a:lnTo>
                    <a:pt x="98203" y="1160717"/>
                  </a:lnTo>
                  <a:lnTo>
                    <a:pt x="97250" y="1165669"/>
                  </a:lnTo>
                  <a:lnTo>
                    <a:pt x="95440" y="1164241"/>
                  </a:lnTo>
                  <a:lnTo>
                    <a:pt x="94107" y="1166051"/>
                  </a:lnTo>
                  <a:lnTo>
                    <a:pt x="87821" y="1166813"/>
                  </a:lnTo>
                  <a:lnTo>
                    <a:pt x="86392" y="1168622"/>
                  </a:lnTo>
                  <a:lnTo>
                    <a:pt x="79915" y="1167860"/>
                  </a:lnTo>
                  <a:lnTo>
                    <a:pt x="77343" y="1173004"/>
                  </a:lnTo>
                  <a:lnTo>
                    <a:pt x="77724" y="1176147"/>
                  </a:lnTo>
                  <a:lnTo>
                    <a:pt x="75343" y="1182814"/>
                  </a:lnTo>
                  <a:lnTo>
                    <a:pt x="76200" y="1189196"/>
                  </a:lnTo>
                  <a:lnTo>
                    <a:pt x="79534" y="1190339"/>
                  </a:lnTo>
                  <a:lnTo>
                    <a:pt x="80677" y="1187006"/>
                  </a:lnTo>
                  <a:lnTo>
                    <a:pt x="85630" y="1187958"/>
                  </a:lnTo>
                  <a:lnTo>
                    <a:pt x="83344" y="1194721"/>
                  </a:lnTo>
                  <a:lnTo>
                    <a:pt x="100489" y="1203674"/>
                  </a:lnTo>
                  <a:lnTo>
                    <a:pt x="108013" y="1212342"/>
                  </a:lnTo>
                  <a:lnTo>
                    <a:pt x="118110" y="1215866"/>
                  </a:lnTo>
                  <a:lnTo>
                    <a:pt x="122015" y="1221772"/>
                  </a:lnTo>
                  <a:lnTo>
                    <a:pt x="124968" y="1219867"/>
                  </a:lnTo>
                  <a:lnTo>
                    <a:pt x="124587" y="1216723"/>
                  </a:lnTo>
                  <a:lnTo>
                    <a:pt x="129730" y="1206437"/>
                  </a:lnTo>
                  <a:lnTo>
                    <a:pt x="135636" y="1202436"/>
                  </a:lnTo>
                  <a:lnTo>
                    <a:pt x="140303" y="1201864"/>
                  </a:lnTo>
                  <a:lnTo>
                    <a:pt x="144685" y="1198055"/>
                  </a:lnTo>
                  <a:lnTo>
                    <a:pt x="148019" y="1199293"/>
                  </a:lnTo>
                  <a:lnTo>
                    <a:pt x="144304" y="1194911"/>
                  </a:lnTo>
                  <a:lnTo>
                    <a:pt x="145066" y="1188434"/>
                  </a:lnTo>
                  <a:lnTo>
                    <a:pt x="144875" y="1186815"/>
                  </a:lnTo>
                  <a:lnTo>
                    <a:pt x="144208" y="1182052"/>
                  </a:lnTo>
                  <a:lnTo>
                    <a:pt x="145828" y="1181862"/>
                  </a:lnTo>
                  <a:lnTo>
                    <a:pt x="148971" y="1168718"/>
                  </a:lnTo>
                  <a:lnTo>
                    <a:pt x="152876" y="1174623"/>
                  </a:lnTo>
                  <a:lnTo>
                    <a:pt x="155829" y="1172623"/>
                  </a:lnTo>
                  <a:lnTo>
                    <a:pt x="161544" y="1167098"/>
                  </a:lnTo>
                  <a:lnTo>
                    <a:pt x="154210" y="1159955"/>
                  </a:lnTo>
                  <a:lnTo>
                    <a:pt x="155067" y="1153477"/>
                  </a:lnTo>
                  <a:lnTo>
                    <a:pt x="153257" y="1152049"/>
                  </a:lnTo>
                  <a:lnTo>
                    <a:pt x="144971" y="1149953"/>
                  </a:lnTo>
                  <a:lnTo>
                    <a:pt x="142970" y="1147001"/>
                  </a:lnTo>
                  <a:lnTo>
                    <a:pt x="144113" y="1143572"/>
                  </a:lnTo>
                  <a:lnTo>
                    <a:pt x="148685" y="1141476"/>
                  </a:lnTo>
                  <a:lnTo>
                    <a:pt x="148495" y="1139857"/>
                  </a:lnTo>
                  <a:lnTo>
                    <a:pt x="149638" y="1136523"/>
                  </a:lnTo>
                  <a:lnTo>
                    <a:pt x="146304" y="1135285"/>
                  </a:lnTo>
                  <a:lnTo>
                    <a:pt x="145923" y="1132142"/>
                  </a:lnTo>
                  <a:lnTo>
                    <a:pt x="141161" y="1132808"/>
                  </a:lnTo>
                  <a:lnTo>
                    <a:pt x="139827" y="1134523"/>
                  </a:lnTo>
                  <a:lnTo>
                    <a:pt x="139160" y="1129856"/>
                  </a:lnTo>
                  <a:lnTo>
                    <a:pt x="137636" y="1130046"/>
                  </a:lnTo>
                  <a:lnTo>
                    <a:pt x="135255" y="1123950"/>
                  </a:lnTo>
                  <a:lnTo>
                    <a:pt x="133445" y="1122521"/>
                  </a:lnTo>
                  <a:lnTo>
                    <a:pt x="133255" y="1120997"/>
                  </a:lnTo>
                  <a:lnTo>
                    <a:pt x="130302" y="1122902"/>
                  </a:lnTo>
                  <a:lnTo>
                    <a:pt x="126968" y="1121759"/>
                  </a:lnTo>
                  <a:lnTo>
                    <a:pt x="125349" y="1121950"/>
                  </a:lnTo>
                  <a:lnTo>
                    <a:pt x="127730" y="1115282"/>
                  </a:lnTo>
                  <a:lnTo>
                    <a:pt x="123920" y="1110901"/>
                  </a:lnTo>
                  <a:lnTo>
                    <a:pt x="117634" y="1111758"/>
                  </a:lnTo>
                  <a:lnTo>
                    <a:pt x="121920" y="1107948"/>
                  </a:lnTo>
                  <a:lnTo>
                    <a:pt x="127063" y="1110520"/>
                  </a:lnTo>
                  <a:lnTo>
                    <a:pt x="130016" y="1108519"/>
                  </a:lnTo>
                  <a:lnTo>
                    <a:pt x="131064" y="1103567"/>
                  </a:lnTo>
                  <a:lnTo>
                    <a:pt x="134207" y="1103185"/>
                  </a:lnTo>
                  <a:lnTo>
                    <a:pt x="132397" y="1101852"/>
                  </a:lnTo>
                  <a:lnTo>
                    <a:pt x="130873" y="1102043"/>
                  </a:lnTo>
                  <a:lnTo>
                    <a:pt x="129064" y="1100614"/>
                  </a:lnTo>
                  <a:lnTo>
                    <a:pt x="132016" y="1098709"/>
                  </a:lnTo>
                  <a:lnTo>
                    <a:pt x="136779" y="1098042"/>
                  </a:lnTo>
                  <a:lnTo>
                    <a:pt x="151543" y="1088136"/>
                  </a:lnTo>
                  <a:lnTo>
                    <a:pt x="154876" y="1089374"/>
                  </a:lnTo>
                  <a:lnTo>
                    <a:pt x="157639" y="1085755"/>
                  </a:lnTo>
                  <a:lnTo>
                    <a:pt x="159448" y="1087184"/>
                  </a:lnTo>
                  <a:lnTo>
                    <a:pt x="170497" y="1098614"/>
                  </a:lnTo>
                  <a:lnTo>
                    <a:pt x="174403" y="1091660"/>
                  </a:lnTo>
                  <a:lnTo>
                    <a:pt x="177737" y="1092803"/>
                  </a:lnTo>
                  <a:lnTo>
                    <a:pt x="177927" y="1094423"/>
                  </a:lnTo>
                  <a:lnTo>
                    <a:pt x="181356" y="1095565"/>
                  </a:lnTo>
                  <a:lnTo>
                    <a:pt x="179927" y="1097375"/>
                  </a:lnTo>
                  <a:lnTo>
                    <a:pt x="181928" y="1100328"/>
                  </a:lnTo>
                  <a:lnTo>
                    <a:pt x="188881" y="1104233"/>
                  </a:lnTo>
                  <a:lnTo>
                    <a:pt x="190024" y="1113758"/>
                  </a:lnTo>
                  <a:lnTo>
                    <a:pt x="183737" y="1114520"/>
                  </a:lnTo>
                  <a:lnTo>
                    <a:pt x="185738" y="1117473"/>
                  </a:lnTo>
                  <a:lnTo>
                    <a:pt x="188881" y="1117092"/>
                  </a:lnTo>
                  <a:lnTo>
                    <a:pt x="189452" y="1121759"/>
                  </a:lnTo>
                  <a:lnTo>
                    <a:pt x="200978" y="1123569"/>
                  </a:lnTo>
                  <a:lnTo>
                    <a:pt x="202882" y="1126522"/>
                  </a:lnTo>
                  <a:lnTo>
                    <a:pt x="201549" y="1128331"/>
                  </a:lnTo>
                  <a:lnTo>
                    <a:pt x="196787" y="1128903"/>
                  </a:lnTo>
                  <a:lnTo>
                    <a:pt x="197167" y="1132046"/>
                  </a:lnTo>
                  <a:lnTo>
                    <a:pt x="198787" y="1131856"/>
                  </a:lnTo>
                  <a:lnTo>
                    <a:pt x="202311" y="1134618"/>
                  </a:lnTo>
                  <a:lnTo>
                    <a:pt x="205264" y="1132618"/>
                  </a:lnTo>
                  <a:lnTo>
                    <a:pt x="207264" y="1135571"/>
                  </a:lnTo>
                  <a:lnTo>
                    <a:pt x="209074" y="1136999"/>
                  </a:lnTo>
                  <a:lnTo>
                    <a:pt x="210026" y="1144810"/>
                  </a:lnTo>
                  <a:lnTo>
                    <a:pt x="208502" y="1145096"/>
                  </a:lnTo>
                  <a:lnTo>
                    <a:pt x="208693" y="1146619"/>
                  </a:lnTo>
                  <a:lnTo>
                    <a:pt x="213265" y="1157288"/>
                  </a:lnTo>
                  <a:lnTo>
                    <a:pt x="213836" y="1162050"/>
                  </a:lnTo>
                  <a:lnTo>
                    <a:pt x="213074" y="1168527"/>
                  </a:lnTo>
                  <a:lnTo>
                    <a:pt x="211264" y="1167098"/>
                  </a:lnTo>
                  <a:lnTo>
                    <a:pt x="210121" y="1170527"/>
                  </a:lnTo>
                  <a:lnTo>
                    <a:pt x="217265" y="1175956"/>
                  </a:lnTo>
                  <a:lnTo>
                    <a:pt x="222123" y="1177004"/>
                  </a:lnTo>
                  <a:lnTo>
                    <a:pt x="226695" y="1174814"/>
                  </a:lnTo>
                  <a:lnTo>
                    <a:pt x="227076" y="1177957"/>
                  </a:lnTo>
                  <a:lnTo>
                    <a:pt x="231838" y="1177385"/>
                  </a:lnTo>
                  <a:lnTo>
                    <a:pt x="232220" y="1180529"/>
                  </a:lnTo>
                  <a:lnTo>
                    <a:pt x="229838" y="1187196"/>
                  </a:lnTo>
                  <a:lnTo>
                    <a:pt x="231457" y="1187006"/>
                  </a:lnTo>
                  <a:lnTo>
                    <a:pt x="232029" y="1191768"/>
                  </a:lnTo>
                  <a:lnTo>
                    <a:pt x="228695" y="1190530"/>
                  </a:lnTo>
                  <a:lnTo>
                    <a:pt x="229362" y="1195292"/>
                  </a:lnTo>
                  <a:lnTo>
                    <a:pt x="238792" y="1194149"/>
                  </a:lnTo>
                  <a:lnTo>
                    <a:pt x="236220" y="1199293"/>
                  </a:lnTo>
                  <a:lnTo>
                    <a:pt x="237839" y="1199007"/>
                  </a:lnTo>
                  <a:lnTo>
                    <a:pt x="240221" y="1205198"/>
                  </a:lnTo>
                  <a:lnTo>
                    <a:pt x="243364" y="1204722"/>
                  </a:lnTo>
                  <a:lnTo>
                    <a:pt x="242221" y="1208151"/>
                  </a:lnTo>
                  <a:lnTo>
                    <a:pt x="242792" y="1212818"/>
                  </a:lnTo>
                  <a:lnTo>
                    <a:pt x="245936" y="1212437"/>
                  </a:lnTo>
                  <a:lnTo>
                    <a:pt x="245745" y="1210913"/>
                  </a:lnTo>
                  <a:lnTo>
                    <a:pt x="247269" y="1210627"/>
                  </a:lnTo>
                  <a:lnTo>
                    <a:pt x="252222" y="1211675"/>
                  </a:lnTo>
                  <a:lnTo>
                    <a:pt x="252031" y="1210056"/>
                  </a:lnTo>
                  <a:lnTo>
                    <a:pt x="252031" y="1210056"/>
                  </a:lnTo>
                  <a:lnTo>
                    <a:pt x="254794" y="1206532"/>
                  </a:lnTo>
                  <a:lnTo>
                    <a:pt x="253460" y="1208246"/>
                  </a:lnTo>
                  <a:lnTo>
                    <a:pt x="252984" y="1205103"/>
                  </a:lnTo>
                  <a:lnTo>
                    <a:pt x="251460" y="1205293"/>
                  </a:lnTo>
                  <a:lnTo>
                    <a:pt x="252413" y="1200436"/>
                  </a:lnTo>
                  <a:lnTo>
                    <a:pt x="249079" y="1199198"/>
                  </a:lnTo>
                  <a:lnTo>
                    <a:pt x="253841" y="1198626"/>
                  </a:lnTo>
                  <a:lnTo>
                    <a:pt x="253365" y="1195483"/>
                  </a:lnTo>
                  <a:lnTo>
                    <a:pt x="256127" y="1191863"/>
                  </a:lnTo>
                  <a:lnTo>
                    <a:pt x="253937" y="1187387"/>
                  </a:lnTo>
                  <a:lnTo>
                    <a:pt x="255556" y="1187196"/>
                  </a:lnTo>
                  <a:lnTo>
                    <a:pt x="257746" y="1191673"/>
                  </a:lnTo>
                  <a:lnTo>
                    <a:pt x="260128" y="1197769"/>
                  </a:lnTo>
                  <a:lnTo>
                    <a:pt x="263842" y="1202150"/>
                  </a:lnTo>
                  <a:lnTo>
                    <a:pt x="264700" y="1208437"/>
                  </a:lnTo>
                  <a:lnTo>
                    <a:pt x="260509" y="1213771"/>
                  </a:lnTo>
                  <a:lnTo>
                    <a:pt x="259556" y="1218724"/>
                  </a:lnTo>
                  <a:lnTo>
                    <a:pt x="261556" y="1221677"/>
                  </a:lnTo>
                  <a:lnTo>
                    <a:pt x="258794" y="1225201"/>
                  </a:lnTo>
                  <a:lnTo>
                    <a:pt x="253460" y="1233964"/>
                  </a:lnTo>
                  <a:lnTo>
                    <a:pt x="255461" y="1236917"/>
                  </a:lnTo>
                  <a:lnTo>
                    <a:pt x="255461" y="1236917"/>
                  </a:lnTo>
                  <a:lnTo>
                    <a:pt x="257270" y="1238250"/>
                  </a:lnTo>
                  <a:lnTo>
                    <a:pt x="256222" y="1243203"/>
                  </a:lnTo>
                  <a:lnTo>
                    <a:pt x="251746" y="1245394"/>
                  </a:lnTo>
                  <a:lnTo>
                    <a:pt x="255651" y="1251299"/>
                  </a:lnTo>
                  <a:lnTo>
                    <a:pt x="257080" y="1249489"/>
                  </a:lnTo>
                  <a:lnTo>
                    <a:pt x="267176" y="1253014"/>
                  </a:lnTo>
                  <a:lnTo>
                    <a:pt x="265747" y="1254823"/>
                  </a:lnTo>
                  <a:lnTo>
                    <a:pt x="267748" y="1257776"/>
                  </a:lnTo>
                  <a:lnTo>
                    <a:pt x="274511" y="1260158"/>
                  </a:lnTo>
                  <a:lnTo>
                    <a:pt x="274701" y="1261681"/>
                  </a:lnTo>
                  <a:lnTo>
                    <a:pt x="276225" y="1261491"/>
                  </a:lnTo>
                  <a:lnTo>
                    <a:pt x="279368" y="1261110"/>
                  </a:lnTo>
                  <a:lnTo>
                    <a:pt x="288131" y="1266444"/>
                  </a:lnTo>
                  <a:lnTo>
                    <a:pt x="289465" y="1264634"/>
                  </a:lnTo>
                  <a:lnTo>
                    <a:pt x="292608" y="1264253"/>
                  </a:lnTo>
                  <a:lnTo>
                    <a:pt x="301085" y="1267968"/>
                  </a:lnTo>
                  <a:lnTo>
                    <a:pt x="306038" y="1268921"/>
                  </a:lnTo>
                  <a:lnTo>
                    <a:pt x="304705" y="1270730"/>
                  </a:lnTo>
                  <a:lnTo>
                    <a:pt x="308420" y="1275017"/>
                  </a:lnTo>
                  <a:lnTo>
                    <a:pt x="314420" y="1283875"/>
                  </a:lnTo>
                  <a:lnTo>
                    <a:pt x="322040" y="1281303"/>
                  </a:lnTo>
                  <a:lnTo>
                    <a:pt x="322897" y="1287589"/>
                  </a:lnTo>
                  <a:lnTo>
                    <a:pt x="321659" y="1291018"/>
                  </a:lnTo>
                  <a:lnTo>
                    <a:pt x="321850" y="1292543"/>
                  </a:lnTo>
                  <a:lnTo>
                    <a:pt x="318897" y="1294543"/>
                  </a:lnTo>
                  <a:lnTo>
                    <a:pt x="322897" y="1300448"/>
                  </a:lnTo>
                  <a:lnTo>
                    <a:pt x="325469" y="1308164"/>
                  </a:lnTo>
                  <a:lnTo>
                    <a:pt x="326326" y="1314450"/>
                  </a:lnTo>
                  <a:lnTo>
                    <a:pt x="328517" y="1319022"/>
                  </a:lnTo>
                  <a:lnTo>
                    <a:pt x="329851" y="1317212"/>
                  </a:lnTo>
                  <a:lnTo>
                    <a:pt x="331661" y="1318641"/>
                  </a:lnTo>
                  <a:lnTo>
                    <a:pt x="332232" y="1323308"/>
                  </a:lnTo>
                  <a:lnTo>
                    <a:pt x="334994" y="1332643"/>
                  </a:lnTo>
                  <a:lnTo>
                    <a:pt x="336804" y="1333976"/>
                  </a:lnTo>
                  <a:lnTo>
                    <a:pt x="335661" y="1337310"/>
                  </a:lnTo>
                  <a:lnTo>
                    <a:pt x="338614" y="1335310"/>
                  </a:lnTo>
                  <a:lnTo>
                    <a:pt x="338804" y="1336929"/>
                  </a:lnTo>
                  <a:lnTo>
                    <a:pt x="339185" y="1340072"/>
                  </a:lnTo>
                  <a:lnTo>
                    <a:pt x="337566" y="1340263"/>
                  </a:lnTo>
                  <a:lnTo>
                    <a:pt x="340995" y="1341501"/>
                  </a:lnTo>
                  <a:lnTo>
                    <a:pt x="342900" y="1344454"/>
                  </a:lnTo>
                  <a:lnTo>
                    <a:pt x="346329" y="1345597"/>
                  </a:lnTo>
                  <a:lnTo>
                    <a:pt x="348234" y="1348550"/>
                  </a:lnTo>
                  <a:lnTo>
                    <a:pt x="348044" y="1346930"/>
                  </a:lnTo>
                  <a:lnTo>
                    <a:pt x="349663" y="1346740"/>
                  </a:lnTo>
                  <a:lnTo>
                    <a:pt x="349853" y="1348359"/>
                  </a:lnTo>
                  <a:lnTo>
                    <a:pt x="352425" y="1343215"/>
                  </a:lnTo>
                  <a:lnTo>
                    <a:pt x="352996" y="1335119"/>
                  </a:lnTo>
                  <a:lnTo>
                    <a:pt x="351377" y="1335310"/>
                  </a:lnTo>
                  <a:lnTo>
                    <a:pt x="350615" y="1329023"/>
                  </a:lnTo>
                  <a:lnTo>
                    <a:pt x="354901" y="1325213"/>
                  </a:lnTo>
                  <a:lnTo>
                    <a:pt x="359664" y="1324642"/>
                  </a:lnTo>
                  <a:lnTo>
                    <a:pt x="364236" y="1322451"/>
                  </a:lnTo>
                  <a:lnTo>
                    <a:pt x="358616" y="1316736"/>
                  </a:lnTo>
                  <a:lnTo>
                    <a:pt x="361569" y="1314736"/>
                  </a:lnTo>
                  <a:lnTo>
                    <a:pt x="364807" y="1314355"/>
                  </a:lnTo>
                  <a:lnTo>
                    <a:pt x="367189" y="1320451"/>
                  </a:lnTo>
                  <a:lnTo>
                    <a:pt x="374047" y="1324451"/>
                  </a:lnTo>
                  <a:lnTo>
                    <a:pt x="375475" y="1322642"/>
                  </a:lnTo>
                  <a:lnTo>
                    <a:pt x="376428" y="1317689"/>
                  </a:lnTo>
                  <a:lnTo>
                    <a:pt x="381190" y="1317117"/>
                  </a:lnTo>
                  <a:lnTo>
                    <a:pt x="385667" y="1314926"/>
                  </a:lnTo>
                  <a:lnTo>
                    <a:pt x="387096" y="1313117"/>
                  </a:lnTo>
                  <a:lnTo>
                    <a:pt x="395573" y="1316831"/>
                  </a:lnTo>
                  <a:lnTo>
                    <a:pt x="398526" y="1314926"/>
                  </a:lnTo>
                  <a:lnTo>
                    <a:pt x="403003" y="1312735"/>
                  </a:lnTo>
                  <a:lnTo>
                    <a:pt x="404050" y="1307783"/>
                  </a:lnTo>
                  <a:lnTo>
                    <a:pt x="406241" y="1312259"/>
                  </a:lnTo>
                  <a:lnTo>
                    <a:pt x="407575" y="1310545"/>
                  </a:lnTo>
                  <a:lnTo>
                    <a:pt x="416433" y="1317403"/>
                  </a:lnTo>
                  <a:lnTo>
                    <a:pt x="417671" y="1314069"/>
                  </a:lnTo>
                  <a:lnTo>
                    <a:pt x="421005" y="1315212"/>
                  </a:lnTo>
                  <a:lnTo>
                    <a:pt x="429863" y="1309306"/>
                  </a:lnTo>
                  <a:lnTo>
                    <a:pt x="431292" y="1307497"/>
                  </a:lnTo>
                  <a:lnTo>
                    <a:pt x="429482" y="1306163"/>
                  </a:lnTo>
                  <a:lnTo>
                    <a:pt x="430625" y="1302734"/>
                  </a:lnTo>
                  <a:lnTo>
                    <a:pt x="435007" y="1299019"/>
                  </a:lnTo>
                  <a:lnTo>
                    <a:pt x="436150" y="1295686"/>
                  </a:lnTo>
                  <a:lnTo>
                    <a:pt x="439293" y="1295210"/>
                  </a:lnTo>
                  <a:lnTo>
                    <a:pt x="437293" y="1292257"/>
                  </a:lnTo>
                  <a:lnTo>
                    <a:pt x="440531" y="1291876"/>
                  </a:lnTo>
                  <a:lnTo>
                    <a:pt x="441674" y="1288542"/>
                  </a:lnTo>
                  <a:lnTo>
                    <a:pt x="443198" y="1288352"/>
                  </a:lnTo>
                  <a:lnTo>
                    <a:pt x="445961" y="1271968"/>
                  </a:lnTo>
                  <a:lnTo>
                    <a:pt x="447961" y="1274921"/>
                  </a:lnTo>
                  <a:lnTo>
                    <a:pt x="454057" y="1272540"/>
                  </a:lnTo>
                  <a:lnTo>
                    <a:pt x="453676" y="1269397"/>
                  </a:lnTo>
                  <a:lnTo>
                    <a:pt x="458629" y="1270349"/>
                  </a:lnTo>
                  <a:lnTo>
                    <a:pt x="462344" y="1261872"/>
                  </a:lnTo>
                  <a:lnTo>
                    <a:pt x="465487" y="1261491"/>
                  </a:lnTo>
                  <a:lnTo>
                    <a:pt x="467011" y="1261205"/>
                  </a:lnTo>
                  <a:lnTo>
                    <a:pt x="473392" y="1260443"/>
                  </a:lnTo>
                  <a:lnTo>
                    <a:pt x="470821" y="1252728"/>
                  </a:lnTo>
                  <a:lnTo>
                    <a:pt x="472345" y="1252538"/>
                  </a:lnTo>
                  <a:lnTo>
                    <a:pt x="469773" y="1244822"/>
                  </a:lnTo>
                  <a:lnTo>
                    <a:pt x="469582" y="1243298"/>
                  </a:lnTo>
                  <a:lnTo>
                    <a:pt x="462820" y="1240917"/>
                  </a:lnTo>
                  <a:lnTo>
                    <a:pt x="463867" y="1235964"/>
                  </a:lnTo>
                  <a:lnTo>
                    <a:pt x="459867" y="1230059"/>
                  </a:lnTo>
                  <a:lnTo>
                    <a:pt x="457295" y="1222439"/>
                  </a:lnTo>
                  <a:lnTo>
                    <a:pt x="456724" y="1217676"/>
                  </a:lnTo>
                  <a:lnTo>
                    <a:pt x="456057" y="1212914"/>
                  </a:lnTo>
                  <a:lnTo>
                    <a:pt x="457867" y="1214342"/>
                  </a:lnTo>
                  <a:lnTo>
                    <a:pt x="456819" y="1206437"/>
                  </a:lnTo>
                  <a:lnTo>
                    <a:pt x="461581" y="1205770"/>
                  </a:lnTo>
                  <a:lnTo>
                    <a:pt x="462724" y="1202436"/>
                  </a:lnTo>
                  <a:lnTo>
                    <a:pt x="462534" y="1200912"/>
                  </a:lnTo>
                  <a:lnTo>
                    <a:pt x="465296" y="1197293"/>
                  </a:lnTo>
                  <a:lnTo>
                    <a:pt x="467106" y="1198721"/>
                  </a:lnTo>
                  <a:lnTo>
                    <a:pt x="468249" y="1195292"/>
                  </a:lnTo>
                  <a:lnTo>
                    <a:pt x="466725" y="1195578"/>
                  </a:lnTo>
                  <a:lnTo>
                    <a:pt x="469678" y="1193578"/>
                  </a:lnTo>
                  <a:lnTo>
                    <a:pt x="470249" y="1185481"/>
                  </a:lnTo>
                  <a:lnTo>
                    <a:pt x="476536" y="1184624"/>
                  </a:lnTo>
                  <a:lnTo>
                    <a:pt x="476345" y="1183100"/>
                  </a:lnTo>
                  <a:lnTo>
                    <a:pt x="481108" y="1182529"/>
                  </a:lnTo>
                  <a:lnTo>
                    <a:pt x="480631" y="1179290"/>
                  </a:lnTo>
                  <a:lnTo>
                    <a:pt x="480631" y="1179290"/>
                  </a:lnTo>
                  <a:lnTo>
                    <a:pt x="488156" y="1187958"/>
                  </a:lnTo>
                  <a:lnTo>
                    <a:pt x="491299" y="1187577"/>
                  </a:lnTo>
                  <a:lnTo>
                    <a:pt x="491585" y="1189196"/>
                  </a:lnTo>
                  <a:lnTo>
                    <a:pt x="485870" y="1194721"/>
                  </a:lnTo>
                  <a:lnTo>
                    <a:pt x="485680" y="1205960"/>
                  </a:lnTo>
                  <a:lnTo>
                    <a:pt x="484918" y="1212437"/>
                  </a:lnTo>
                  <a:lnTo>
                    <a:pt x="485299" y="1215581"/>
                  </a:lnTo>
                  <a:lnTo>
                    <a:pt x="493205" y="1214628"/>
                  </a:lnTo>
                  <a:lnTo>
                    <a:pt x="496538" y="1215771"/>
                  </a:lnTo>
                  <a:lnTo>
                    <a:pt x="495300" y="1206341"/>
                  </a:lnTo>
                  <a:lnTo>
                    <a:pt x="507206" y="1211199"/>
                  </a:lnTo>
                  <a:lnTo>
                    <a:pt x="510159" y="1209294"/>
                  </a:lnTo>
                  <a:lnTo>
                    <a:pt x="513874" y="1213580"/>
                  </a:lnTo>
                  <a:lnTo>
                    <a:pt x="512921" y="1218533"/>
                  </a:lnTo>
                  <a:lnTo>
                    <a:pt x="522351" y="1217295"/>
                  </a:lnTo>
                  <a:lnTo>
                    <a:pt x="524542" y="1221867"/>
                  </a:lnTo>
                  <a:lnTo>
                    <a:pt x="525971" y="1220057"/>
                  </a:lnTo>
                  <a:lnTo>
                    <a:pt x="523780" y="1215581"/>
                  </a:lnTo>
                  <a:lnTo>
                    <a:pt x="528733" y="1216533"/>
                  </a:lnTo>
                  <a:lnTo>
                    <a:pt x="528542" y="1214914"/>
                  </a:lnTo>
                  <a:lnTo>
                    <a:pt x="531876" y="1216152"/>
                  </a:lnTo>
                  <a:lnTo>
                    <a:pt x="538163" y="1215295"/>
                  </a:lnTo>
                  <a:lnTo>
                    <a:pt x="537020" y="1218629"/>
                  </a:lnTo>
                  <a:lnTo>
                    <a:pt x="543497" y="1219390"/>
                  </a:lnTo>
                  <a:lnTo>
                    <a:pt x="549212" y="1226725"/>
                  </a:lnTo>
                  <a:lnTo>
                    <a:pt x="549212" y="1226725"/>
                  </a:lnTo>
                  <a:lnTo>
                    <a:pt x="554831" y="1232440"/>
                  </a:lnTo>
                  <a:lnTo>
                    <a:pt x="555974" y="1241869"/>
                  </a:lnTo>
                  <a:lnTo>
                    <a:pt x="556165" y="1243489"/>
                  </a:lnTo>
                  <a:lnTo>
                    <a:pt x="571500" y="1225487"/>
                  </a:lnTo>
                  <a:lnTo>
                    <a:pt x="576834" y="1216819"/>
                  </a:lnTo>
                  <a:lnTo>
                    <a:pt x="579787" y="1214818"/>
                  </a:lnTo>
                  <a:lnTo>
                    <a:pt x="581597" y="1216152"/>
                  </a:lnTo>
                  <a:lnTo>
                    <a:pt x="584359" y="1212628"/>
                  </a:lnTo>
                  <a:lnTo>
                    <a:pt x="584549" y="1201388"/>
                  </a:lnTo>
                  <a:lnTo>
                    <a:pt x="582549" y="1198435"/>
                  </a:lnTo>
                  <a:lnTo>
                    <a:pt x="579406" y="1198817"/>
                  </a:lnTo>
                  <a:lnTo>
                    <a:pt x="583501" y="1193483"/>
                  </a:lnTo>
                  <a:lnTo>
                    <a:pt x="576548" y="1189577"/>
                  </a:lnTo>
                  <a:lnTo>
                    <a:pt x="584930" y="1191673"/>
                  </a:lnTo>
                  <a:lnTo>
                    <a:pt x="584645" y="1190149"/>
                  </a:lnTo>
                  <a:lnTo>
                    <a:pt x="587597" y="1188148"/>
                  </a:lnTo>
                  <a:lnTo>
                    <a:pt x="589788" y="1192721"/>
                  </a:lnTo>
                  <a:lnTo>
                    <a:pt x="589979" y="1194244"/>
                  </a:lnTo>
                  <a:lnTo>
                    <a:pt x="593407" y="1195388"/>
                  </a:lnTo>
                  <a:lnTo>
                    <a:pt x="597313" y="1188530"/>
                  </a:lnTo>
                  <a:lnTo>
                    <a:pt x="600456" y="1188148"/>
                  </a:lnTo>
                  <a:lnTo>
                    <a:pt x="604838" y="1184339"/>
                  </a:lnTo>
                  <a:lnTo>
                    <a:pt x="606742" y="1187291"/>
                  </a:lnTo>
                  <a:lnTo>
                    <a:pt x="620554" y="1182338"/>
                  </a:lnTo>
                  <a:lnTo>
                    <a:pt x="622363" y="1183767"/>
                  </a:lnTo>
                  <a:lnTo>
                    <a:pt x="627126" y="1183100"/>
                  </a:lnTo>
                  <a:lnTo>
                    <a:pt x="630079" y="1181100"/>
                  </a:lnTo>
                  <a:lnTo>
                    <a:pt x="633413" y="1182338"/>
                  </a:lnTo>
                  <a:lnTo>
                    <a:pt x="638747" y="1186434"/>
                  </a:lnTo>
                  <a:lnTo>
                    <a:pt x="639128" y="1189577"/>
                  </a:lnTo>
                  <a:lnTo>
                    <a:pt x="637984" y="1193006"/>
                  </a:lnTo>
                  <a:lnTo>
                    <a:pt x="642271" y="1189196"/>
                  </a:lnTo>
                  <a:lnTo>
                    <a:pt x="644080" y="1190530"/>
                  </a:lnTo>
                  <a:lnTo>
                    <a:pt x="644271" y="1192149"/>
                  </a:lnTo>
                  <a:lnTo>
                    <a:pt x="645890" y="1191959"/>
                  </a:lnTo>
                  <a:lnTo>
                    <a:pt x="650748" y="1192911"/>
                  </a:lnTo>
                  <a:lnTo>
                    <a:pt x="651986" y="1189577"/>
                  </a:lnTo>
                  <a:lnTo>
                    <a:pt x="652367" y="1192721"/>
                  </a:lnTo>
                  <a:lnTo>
                    <a:pt x="653796" y="1190911"/>
                  </a:lnTo>
                  <a:lnTo>
                    <a:pt x="658654" y="1191959"/>
                  </a:lnTo>
                  <a:lnTo>
                    <a:pt x="666179" y="1187768"/>
                  </a:lnTo>
                  <a:lnTo>
                    <a:pt x="666940" y="1181290"/>
                  </a:lnTo>
                  <a:lnTo>
                    <a:pt x="671703" y="1180624"/>
                  </a:lnTo>
                  <a:lnTo>
                    <a:pt x="678561" y="1171765"/>
                  </a:lnTo>
                  <a:lnTo>
                    <a:pt x="674561" y="1165860"/>
                  </a:lnTo>
                  <a:lnTo>
                    <a:pt x="677513" y="1163860"/>
                  </a:lnTo>
                  <a:lnTo>
                    <a:pt x="672179" y="1159764"/>
                  </a:lnTo>
                  <a:lnTo>
                    <a:pt x="668464" y="1155383"/>
                  </a:lnTo>
                  <a:lnTo>
                    <a:pt x="668274" y="1153859"/>
                  </a:lnTo>
                  <a:lnTo>
                    <a:pt x="667703" y="1149096"/>
                  </a:lnTo>
                  <a:lnTo>
                    <a:pt x="658749" y="1142238"/>
                  </a:lnTo>
                  <a:lnTo>
                    <a:pt x="659892" y="1138809"/>
                  </a:lnTo>
                  <a:lnTo>
                    <a:pt x="656368" y="1136047"/>
                  </a:lnTo>
                  <a:lnTo>
                    <a:pt x="659130" y="1132523"/>
                  </a:lnTo>
                  <a:lnTo>
                    <a:pt x="662845" y="1136904"/>
                  </a:lnTo>
                  <a:lnTo>
                    <a:pt x="664083" y="1133475"/>
                  </a:lnTo>
                  <a:lnTo>
                    <a:pt x="668846" y="1132904"/>
                  </a:lnTo>
                  <a:lnTo>
                    <a:pt x="669036" y="1134523"/>
                  </a:lnTo>
                  <a:lnTo>
                    <a:pt x="676465" y="1130332"/>
                  </a:lnTo>
                  <a:lnTo>
                    <a:pt x="682847" y="1142333"/>
                  </a:lnTo>
                  <a:lnTo>
                    <a:pt x="687800" y="1143286"/>
                  </a:lnTo>
                  <a:lnTo>
                    <a:pt x="692087" y="1139571"/>
                  </a:lnTo>
                  <a:lnTo>
                    <a:pt x="689515" y="1131856"/>
                  </a:lnTo>
                  <a:lnTo>
                    <a:pt x="690944" y="1130046"/>
                  </a:lnTo>
                  <a:lnTo>
                    <a:pt x="690277" y="1125379"/>
                  </a:lnTo>
                  <a:lnTo>
                    <a:pt x="693230" y="1123379"/>
                  </a:lnTo>
                  <a:lnTo>
                    <a:pt x="692658" y="1118616"/>
                  </a:lnTo>
                  <a:lnTo>
                    <a:pt x="697135" y="1116425"/>
                  </a:lnTo>
                  <a:lnTo>
                    <a:pt x="702564" y="1120616"/>
                  </a:lnTo>
                  <a:lnTo>
                    <a:pt x="706660" y="1115282"/>
                  </a:lnTo>
                  <a:lnTo>
                    <a:pt x="709231" y="1122902"/>
                  </a:lnTo>
                  <a:lnTo>
                    <a:pt x="716185" y="1126903"/>
                  </a:lnTo>
                  <a:lnTo>
                    <a:pt x="718280" y="1131380"/>
                  </a:lnTo>
                  <a:lnTo>
                    <a:pt x="721519" y="1130998"/>
                  </a:lnTo>
                  <a:lnTo>
                    <a:pt x="718947" y="1136142"/>
                  </a:lnTo>
                  <a:lnTo>
                    <a:pt x="719138" y="1137761"/>
                  </a:lnTo>
                  <a:lnTo>
                    <a:pt x="726091" y="1141667"/>
                  </a:lnTo>
                  <a:lnTo>
                    <a:pt x="724662" y="1143476"/>
                  </a:lnTo>
                  <a:lnTo>
                    <a:pt x="729424" y="1142810"/>
                  </a:lnTo>
                  <a:lnTo>
                    <a:pt x="736473" y="1148334"/>
                  </a:lnTo>
                  <a:lnTo>
                    <a:pt x="739712" y="1147953"/>
                  </a:lnTo>
                  <a:lnTo>
                    <a:pt x="741045" y="1146143"/>
                  </a:lnTo>
                  <a:lnTo>
                    <a:pt x="754856" y="1141190"/>
                  </a:lnTo>
                  <a:lnTo>
                    <a:pt x="757999" y="1140809"/>
                  </a:lnTo>
                  <a:lnTo>
                    <a:pt x="758190" y="1142333"/>
                  </a:lnTo>
                  <a:lnTo>
                    <a:pt x="761333" y="1141952"/>
                  </a:lnTo>
                  <a:lnTo>
                    <a:pt x="763143" y="1143381"/>
                  </a:lnTo>
                  <a:lnTo>
                    <a:pt x="766286" y="1142905"/>
                  </a:lnTo>
                  <a:lnTo>
                    <a:pt x="765905" y="1139762"/>
                  </a:lnTo>
                  <a:lnTo>
                    <a:pt x="767524" y="1139571"/>
                  </a:lnTo>
                  <a:lnTo>
                    <a:pt x="767048" y="1136428"/>
                  </a:lnTo>
                  <a:lnTo>
                    <a:pt x="766477" y="1131665"/>
                  </a:lnTo>
                  <a:lnTo>
                    <a:pt x="770382" y="1124807"/>
                  </a:lnTo>
                  <a:lnTo>
                    <a:pt x="766667" y="1120426"/>
                  </a:lnTo>
                  <a:lnTo>
                    <a:pt x="766477" y="1118902"/>
                  </a:lnTo>
                  <a:lnTo>
                    <a:pt x="773906" y="1114711"/>
                  </a:lnTo>
                  <a:lnTo>
                    <a:pt x="775145" y="1111377"/>
                  </a:lnTo>
                  <a:lnTo>
                    <a:pt x="778097" y="1109377"/>
                  </a:lnTo>
                  <a:lnTo>
                    <a:pt x="776288" y="1107948"/>
                  </a:lnTo>
                  <a:lnTo>
                    <a:pt x="780574" y="1104233"/>
                  </a:lnTo>
                  <a:lnTo>
                    <a:pt x="778002" y="1096518"/>
                  </a:lnTo>
                  <a:lnTo>
                    <a:pt x="772097" y="1087660"/>
                  </a:lnTo>
                  <a:lnTo>
                    <a:pt x="771715" y="1084517"/>
                  </a:lnTo>
                  <a:lnTo>
                    <a:pt x="775240" y="1087279"/>
                  </a:lnTo>
                  <a:lnTo>
                    <a:pt x="778192" y="1085279"/>
                  </a:lnTo>
                  <a:lnTo>
                    <a:pt x="787241" y="1080897"/>
                  </a:lnTo>
                  <a:lnTo>
                    <a:pt x="788480" y="1077563"/>
                  </a:lnTo>
                  <a:lnTo>
                    <a:pt x="787813" y="1072801"/>
                  </a:lnTo>
                  <a:lnTo>
                    <a:pt x="790384" y="1067657"/>
                  </a:lnTo>
                  <a:lnTo>
                    <a:pt x="794004" y="1070419"/>
                  </a:lnTo>
                  <a:lnTo>
                    <a:pt x="807720" y="1065467"/>
                  </a:lnTo>
                  <a:lnTo>
                    <a:pt x="806958" y="1059180"/>
                  </a:lnTo>
                  <a:lnTo>
                    <a:pt x="808577" y="1058989"/>
                  </a:lnTo>
                  <a:lnTo>
                    <a:pt x="808101" y="1055846"/>
                  </a:lnTo>
                  <a:lnTo>
                    <a:pt x="809149" y="1050893"/>
                  </a:lnTo>
                  <a:lnTo>
                    <a:pt x="808672" y="1047750"/>
                  </a:lnTo>
                  <a:lnTo>
                    <a:pt x="806767" y="1044797"/>
                  </a:lnTo>
                  <a:lnTo>
                    <a:pt x="809911" y="1044321"/>
                  </a:lnTo>
                  <a:lnTo>
                    <a:pt x="813435" y="1047083"/>
                  </a:lnTo>
                  <a:lnTo>
                    <a:pt x="815435" y="1050036"/>
                  </a:lnTo>
                  <a:lnTo>
                    <a:pt x="823341" y="1049084"/>
                  </a:lnTo>
                  <a:lnTo>
                    <a:pt x="825532" y="1053560"/>
                  </a:lnTo>
                  <a:lnTo>
                    <a:pt x="828675" y="1053179"/>
                  </a:lnTo>
                  <a:lnTo>
                    <a:pt x="830580" y="1056132"/>
                  </a:lnTo>
                  <a:lnTo>
                    <a:pt x="835152" y="1053941"/>
                  </a:lnTo>
                  <a:lnTo>
                    <a:pt x="840676" y="1059656"/>
                  </a:lnTo>
                  <a:lnTo>
                    <a:pt x="850011" y="1056894"/>
                  </a:lnTo>
                  <a:lnTo>
                    <a:pt x="849535" y="1053751"/>
                  </a:lnTo>
                  <a:lnTo>
                    <a:pt x="849154" y="1050608"/>
                  </a:lnTo>
                  <a:lnTo>
                    <a:pt x="857440" y="1039939"/>
                  </a:lnTo>
                  <a:lnTo>
                    <a:pt x="860393" y="1025080"/>
                  </a:lnTo>
                  <a:lnTo>
                    <a:pt x="859917" y="1021937"/>
                  </a:lnTo>
                  <a:lnTo>
                    <a:pt x="855250" y="1022509"/>
                  </a:lnTo>
                  <a:lnTo>
                    <a:pt x="855250" y="102250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8" name="Volný tvar: obrazec 37">
              <a:extLst>
                <a:ext uri="{FF2B5EF4-FFF2-40B4-BE49-F238E27FC236}">
                  <a16:creationId xmlns:a16="http://schemas.microsoft.com/office/drawing/2014/main" id="{3F32326D-2E96-13FE-D6D5-C38611B3667D}"/>
                </a:ext>
              </a:extLst>
            </p:cNvPr>
            <p:cNvSpPr>
              <a:spLocks noChangeAspect="1"/>
            </p:cNvSpPr>
            <p:nvPr userDrawn="1">
              <p:custDataLst>
                <p:tags r:id="rId8"/>
              </p:custDataLst>
            </p:nvPr>
          </p:nvSpPr>
          <p:spPr>
            <a:xfrm>
              <a:off x="3727418" y="2648330"/>
              <a:ext cx="835437" cy="647509"/>
            </a:xfrm>
            <a:custGeom>
              <a:avLst/>
              <a:gdLst>
                <a:gd name="connsiteX0" fmla="*/ 833057 w 835437"/>
                <a:gd name="connsiteY0" fmla="*/ 420719 h 647509"/>
                <a:gd name="connsiteX1" fmla="*/ 831437 w 835437"/>
                <a:gd name="connsiteY1" fmla="*/ 408146 h 647509"/>
                <a:gd name="connsiteX2" fmla="*/ 829628 w 835437"/>
                <a:gd name="connsiteY2" fmla="*/ 406717 h 647509"/>
                <a:gd name="connsiteX3" fmla="*/ 821722 w 835437"/>
                <a:gd name="connsiteY3" fmla="*/ 407765 h 647509"/>
                <a:gd name="connsiteX4" fmla="*/ 823151 w 835437"/>
                <a:gd name="connsiteY4" fmla="*/ 405956 h 647509"/>
                <a:gd name="connsiteX5" fmla="*/ 827627 w 835437"/>
                <a:gd name="connsiteY5" fmla="*/ 403765 h 647509"/>
                <a:gd name="connsiteX6" fmla="*/ 820769 w 835437"/>
                <a:gd name="connsiteY6" fmla="*/ 399859 h 647509"/>
                <a:gd name="connsiteX7" fmla="*/ 820579 w 835437"/>
                <a:gd name="connsiteY7" fmla="*/ 398240 h 647509"/>
                <a:gd name="connsiteX8" fmla="*/ 818198 w 835437"/>
                <a:gd name="connsiteY8" fmla="*/ 392144 h 647509"/>
                <a:gd name="connsiteX9" fmla="*/ 813245 w 835437"/>
                <a:gd name="connsiteY9" fmla="*/ 391192 h 647509"/>
                <a:gd name="connsiteX10" fmla="*/ 805529 w 835437"/>
                <a:gd name="connsiteY10" fmla="*/ 393763 h 647509"/>
                <a:gd name="connsiteX11" fmla="*/ 800195 w 835437"/>
                <a:gd name="connsiteY11" fmla="*/ 389668 h 647509"/>
                <a:gd name="connsiteX12" fmla="*/ 797624 w 835437"/>
                <a:gd name="connsiteY12" fmla="*/ 394716 h 647509"/>
                <a:gd name="connsiteX13" fmla="*/ 791909 w 835437"/>
                <a:gd name="connsiteY13" fmla="*/ 387477 h 647509"/>
                <a:gd name="connsiteX14" fmla="*/ 788765 w 835437"/>
                <a:gd name="connsiteY14" fmla="*/ 387858 h 647509"/>
                <a:gd name="connsiteX15" fmla="*/ 785146 w 835437"/>
                <a:gd name="connsiteY15" fmla="*/ 385096 h 647509"/>
                <a:gd name="connsiteX16" fmla="*/ 793051 w 835437"/>
                <a:gd name="connsiteY16" fmla="*/ 384143 h 647509"/>
                <a:gd name="connsiteX17" fmla="*/ 794290 w 835437"/>
                <a:gd name="connsiteY17" fmla="*/ 380714 h 647509"/>
                <a:gd name="connsiteX18" fmla="*/ 790861 w 835437"/>
                <a:gd name="connsiteY18" fmla="*/ 379571 h 647509"/>
                <a:gd name="connsiteX19" fmla="*/ 792099 w 835437"/>
                <a:gd name="connsiteY19" fmla="*/ 376238 h 647509"/>
                <a:gd name="connsiteX20" fmla="*/ 799814 w 835437"/>
                <a:gd name="connsiteY20" fmla="*/ 373666 h 647509"/>
                <a:gd name="connsiteX21" fmla="*/ 800005 w 835437"/>
                <a:gd name="connsiteY21" fmla="*/ 375190 h 647509"/>
                <a:gd name="connsiteX22" fmla="*/ 801148 w 835437"/>
                <a:gd name="connsiteY22" fmla="*/ 371856 h 647509"/>
                <a:gd name="connsiteX23" fmla="*/ 809625 w 835437"/>
                <a:gd name="connsiteY23" fmla="*/ 375571 h 647509"/>
                <a:gd name="connsiteX24" fmla="*/ 809435 w 835437"/>
                <a:gd name="connsiteY24" fmla="*/ 374047 h 647509"/>
                <a:gd name="connsiteX25" fmla="*/ 811244 w 835437"/>
                <a:gd name="connsiteY25" fmla="*/ 375380 h 647509"/>
                <a:gd name="connsiteX26" fmla="*/ 812578 w 835437"/>
                <a:gd name="connsiteY26" fmla="*/ 373571 h 647509"/>
                <a:gd name="connsiteX27" fmla="*/ 815912 w 835437"/>
                <a:gd name="connsiteY27" fmla="*/ 374809 h 647509"/>
                <a:gd name="connsiteX28" fmla="*/ 812959 w 835437"/>
                <a:gd name="connsiteY28" fmla="*/ 376809 h 647509"/>
                <a:gd name="connsiteX29" fmla="*/ 821722 w 835437"/>
                <a:gd name="connsiteY29" fmla="*/ 382048 h 647509"/>
                <a:gd name="connsiteX30" fmla="*/ 824865 w 835437"/>
                <a:gd name="connsiteY30" fmla="*/ 381667 h 647509"/>
                <a:gd name="connsiteX31" fmla="*/ 822484 w 835437"/>
                <a:gd name="connsiteY31" fmla="*/ 375571 h 647509"/>
                <a:gd name="connsiteX32" fmla="*/ 825437 w 835437"/>
                <a:gd name="connsiteY32" fmla="*/ 373571 h 647509"/>
                <a:gd name="connsiteX33" fmla="*/ 820293 w 835437"/>
                <a:gd name="connsiteY33" fmla="*/ 370999 h 647509"/>
                <a:gd name="connsiteX34" fmla="*/ 821817 w 835437"/>
                <a:gd name="connsiteY34" fmla="*/ 370808 h 647509"/>
                <a:gd name="connsiteX35" fmla="*/ 821436 w 835437"/>
                <a:gd name="connsiteY35" fmla="*/ 367665 h 647509"/>
                <a:gd name="connsiteX36" fmla="*/ 812959 w 835437"/>
                <a:gd name="connsiteY36" fmla="*/ 363950 h 647509"/>
                <a:gd name="connsiteX37" fmla="*/ 813911 w 835437"/>
                <a:gd name="connsiteY37" fmla="*/ 358997 h 647509"/>
                <a:gd name="connsiteX38" fmla="*/ 812387 w 835437"/>
                <a:gd name="connsiteY38" fmla="*/ 359188 h 647509"/>
                <a:gd name="connsiteX39" fmla="*/ 815340 w 835437"/>
                <a:gd name="connsiteY39" fmla="*/ 357188 h 647509"/>
                <a:gd name="connsiteX40" fmla="*/ 825151 w 835437"/>
                <a:gd name="connsiteY40" fmla="*/ 359188 h 647509"/>
                <a:gd name="connsiteX41" fmla="*/ 828294 w 835437"/>
                <a:gd name="connsiteY41" fmla="*/ 345948 h 647509"/>
                <a:gd name="connsiteX42" fmla="*/ 818674 w 835437"/>
                <a:gd name="connsiteY42" fmla="*/ 345567 h 647509"/>
                <a:gd name="connsiteX43" fmla="*/ 821436 w 835437"/>
                <a:gd name="connsiteY43" fmla="*/ 342043 h 647509"/>
                <a:gd name="connsiteX44" fmla="*/ 822198 w 835437"/>
                <a:gd name="connsiteY44" fmla="*/ 335471 h 647509"/>
                <a:gd name="connsiteX45" fmla="*/ 820388 w 835437"/>
                <a:gd name="connsiteY45" fmla="*/ 334137 h 647509"/>
                <a:gd name="connsiteX46" fmla="*/ 819436 w 835437"/>
                <a:gd name="connsiteY46" fmla="*/ 326231 h 647509"/>
                <a:gd name="connsiteX47" fmla="*/ 813816 w 835437"/>
                <a:gd name="connsiteY47" fmla="*/ 320516 h 647509"/>
                <a:gd name="connsiteX48" fmla="*/ 813816 w 835437"/>
                <a:gd name="connsiteY48" fmla="*/ 320516 h 647509"/>
                <a:gd name="connsiteX49" fmla="*/ 816388 w 835437"/>
                <a:gd name="connsiteY49" fmla="*/ 315373 h 647509"/>
                <a:gd name="connsiteX50" fmla="*/ 809244 w 835437"/>
                <a:gd name="connsiteY50" fmla="*/ 309848 h 647509"/>
                <a:gd name="connsiteX51" fmla="*/ 807720 w 835437"/>
                <a:gd name="connsiteY51" fmla="*/ 310134 h 647509"/>
                <a:gd name="connsiteX52" fmla="*/ 804386 w 835437"/>
                <a:gd name="connsiteY52" fmla="*/ 308896 h 647509"/>
                <a:gd name="connsiteX53" fmla="*/ 808482 w 835437"/>
                <a:gd name="connsiteY53" fmla="*/ 303562 h 647509"/>
                <a:gd name="connsiteX54" fmla="*/ 808292 w 835437"/>
                <a:gd name="connsiteY54" fmla="*/ 302038 h 647509"/>
                <a:gd name="connsiteX55" fmla="*/ 805148 w 835437"/>
                <a:gd name="connsiteY55" fmla="*/ 302419 h 647509"/>
                <a:gd name="connsiteX56" fmla="*/ 796862 w 835437"/>
                <a:gd name="connsiteY56" fmla="*/ 300228 h 647509"/>
                <a:gd name="connsiteX57" fmla="*/ 796004 w 835437"/>
                <a:gd name="connsiteY57" fmla="*/ 293942 h 647509"/>
                <a:gd name="connsiteX58" fmla="*/ 802386 w 835437"/>
                <a:gd name="connsiteY58" fmla="*/ 293180 h 647509"/>
                <a:gd name="connsiteX59" fmla="*/ 801529 w 835437"/>
                <a:gd name="connsiteY59" fmla="*/ 286798 h 647509"/>
                <a:gd name="connsiteX60" fmla="*/ 802958 w 835437"/>
                <a:gd name="connsiteY60" fmla="*/ 284988 h 647509"/>
                <a:gd name="connsiteX61" fmla="*/ 804291 w 835437"/>
                <a:gd name="connsiteY61" fmla="*/ 283273 h 647509"/>
                <a:gd name="connsiteX62" fmla="*/ 802291 w 835437"/>
                <a:gd name="connsiteY62" fmla="*/ 280321 h 647509"/>
                <a:gd name="connsiteX63" fmla="*/ 805244 w 835437"/>
                <a:gd name="connsiteY63" fmla="*/ 278321 h 647509"/>
                <a:gd name="connsiteX64" fmla="*/ 806672 w 835437"/>
                <a:gd name="connsiteY64" fmla="*/ 276511 h 647509"/>
                <a:gd name="connsiteX65" fmla="*/ 799910 w 835437"/>
                <a:gd name="connsiteY65" fmla="*/ 274225 h 647509"/>
                <a:gd name="connsiteX66" fmla="*/ 799528 w 835437"/>
                <a:gd name="connsiteY66" fmla="*/ 270986 h 647509"/>
                <a:gd name="connsiteX67" fmla="*/ 797909 w 835437"/>
                <a:gd name="connsiteY67" fmla="*/ 271272 h 647509"/>
                <a:gd name="connsiteX68" fmla="*/ 791813 w 835437"/>
                <a:gd name="connsiteY68" fmla="*/ 273653 h 647509"/>
                <a:gd name="connsiteX69" fmla="*/ 788480 w 835437"/>
                <a:gd name="connsiteY69" fmla="*/ 272415 h 647509"/>
                <a:gd name="connsiteX70" fmla="*/ 784098 w 835437"/>
                <a:gd name="connsiteY70" fmla="*/ 263366 h 647509"/>
                <a:gd name="connsiteX71" fmla="*/ 785527 w 835437"/>
                <a:gd name="connsiteY71" fmla="*/ 261556 h 647509"/>
                <a:gd name="connsiteX72" fmla="*/ 783717 w 835437"/>
                <a:gd name="connsiteY72" fmla="*/ 260223 h 647509"/>
                <a:gd name="connsiteX73" fmla="*/ 786479 w 835437"/>
                <a:gd name="connsiteY73" fmla="*/ 256699 h 647509"/>
                <a:gd name="connsiteX74" fmla="*/ 791242 w 835437"/>
                <a:gd name="connsiteY74" fmla="*/ 256032 h 647509"/>
                <a:gd name="connsiteX75" fmla="*/ 794195 w 835437"/>
                <a:gd name="connsiteY75" fmla="*/ 254032 h 647509"/>
                <a:gd name="connsiteX76" fmla="*/ 793147 w 835437"/>
                <a:gd name="connsiteY76" fmla="*/ 246221 h 647509"/>
                <a:gd name="connsiteX77" fmla="*/ 791909 w 835437"/>
                <a:gd name="connsiteY77" fmla="*/ 236696 h 647509"/>
                <a:gd name="connsiteX78" fmla="*/ 788575 w 835437"/>
                <a:gd name="connsiteY78" fmla="*/ 235553 h 647509"/>
                <a:gd name="connsiteX79" fmla="*/ 789527 w 835437"/>
                <a:gd name="connsiteY79" fmla="*/ 230600 h 647509"/>
                <a:gd name="connsiteX80" fmla="*/ 792099 w 835437"/>
                <a:gd name="connsiteY80" fmla="*/ 225457 h 647509"/>
                <a:gd name="connsiteX81" fmla="*/ 782288 w 835437"/>
                <a:gd name="connsiteY81" fmla="*/ 223552 h 647509"/>
                <a:gd name="connsiteX82" fmla="*/ 779050 w 835437"/>
                <a:gd name="connsiteY82" fmla="*/ 223933 h 647509"/>
                <a:gd name="connsiteX83" fmla="*/ 778859 w 835437"/>
                <a:gd name="connsiteY83" fmla="*/ 222313 h 647509"/>
                <a:gd name="connsiteX84" fmla="*/ 782003 w 835437"/>
                <a:gd name="connsiteY84" fmla="*/ 221932 h 647509"/>
                <a:gd name="connsiteX85" fmla="*/ 784003 w 835437"/>
                <a:gd name="connsiteY85" fmla="*/ 212027 h 647509"/>
                <a:gd name="connsiteX86" fmla="*/ 782193 w 835437"/>
                <a:gd name="connsiteY86" fmla="*/ 210693 h 647509"/>
                <a:gd name="connsiteX87" fmla="*/ 785336 w 835437"/>
                <a:gd name="connsiteY87" fmla="*/ 210312 h 647509"/>
                <a:gd name="connsiteX88" fmla="*/ 787908 w 835437"/>
                <a:gd name="connsiteY88" fmla="*/ 205169 h 647509"/>
                <a:gd name="connsiteX89" fmla="*/ 786384 w 835437"/>
                <a:gd name="connsiteY89" fmla="*/ 205359 h 647509"/>
                <a:gd name="connsiteX90" fmla="*/ 785717 w 835437"/>
                <a:gd name="connsiteY90" fmla="*/ 200596 h 647509"/>
                <a:gd name="connsiteX91" fmla="*/ 790289 w 835437"/>
                <a:gd name="connsiteY91" fmla="*/ 198406 h 647509"/>
                <a:gd name="connsiteX92" fmla="*/ 791813 w 835437"/>
                <a:gd name="connsiteY92" fmla="*/ 198215 h 647509"/>
                <a:gd name="connsiteX93" fmla="*/ 792671 w 835437"/>
                <a:gd name="connsiteY93" fmla="*/ 191738 h 647509"/>
                <a:gd name="connsiteX94" fmla="*/ 787718 w 835437"/>
                <a:gd name="connsiteY94" fmla="*/ 190786 h 647509"/>
                <a:gd name="connsiteX95" fmla="*/ 788670 w 835437"/>
                <a:gd name="connsiteY95" fmla="*/ 185833 h 647509"/>
                <a:gd name="connsiteX96" fmla="*/ 785527 w 835437"/>
                <a:gd name="connsiteY96" fmla="*/ 186214 h 647509"/>
                <a:gd name="connsiteX97" fmla="*/ 786670 w 835437"/>
                <a:gd name="connsiteY97" fmla="*/ 182880 h 647509"/>
                <a:gd name="connsiteX98" fmla="*/ 784670 w 835437"/>
                <a:gd name="connsiteY98" fmla="*/ 179927 h 647509"/>
                <a:gd name="connsiteX99" fmla="*/ 784289 w 835437"/>
                <a:gd name="connsiteY99" fmla="*/ 176784 h 647509"/>
                <a:gd name="connsiteX100" fmla="*/ 787051 w 835437"/>
                <a:gd name="connsiteY100" fmla="*/ 173165 h 647509"/>
                <a:gd name="connsiteX101" fmla="*/ 787051 w 835437"/>
                <a:gd name="connsiteY101" fmla="*/ 173165 h 647509"/>
                <a:gd name="connsiteX102" fmla="*/ 790003 w 835437"/>
                <a:gd name="connsiteY102" fmla="*/ 171164 h 647509"/>
                <a:gd name="connsiteX103" fmla="*/ 794576 w 835437"/>
                <a:gd name="connsiteY103" fmla="*/ 169069 h 647509"/>
                <a:gd name="connsiteX104" fmla="*/ 794099 w 835437"/>
                <a:gd name="connsiteY104" fmla="*/ 165830 h 647509"/>
                <a:gd name="connsiteX105" fmla="*/ 795528 w 835437"/>
                <a:gd name="connsiteY105" fmla="*/ 164116 h 647509"/>
                <a:gd name="connsiteX106" fmla="*/ 792956 w 835437"/>
                <a:gd name="connsiteY106" fmla="*/ 156400 h 647509"/>
                <a:gd name="connsiteX107" fmla="*/ 795719 w 835437"/>
                <a:gd name="connsiteY107" fmla="*/ 152876 h 647509"/>
                <a:gd name="connsiteX108" fmla="*/ 788765 w 835437"/>
                <a:gd name="connsiteY108" fmla="*/ 148876 h 647509"/>
                <a:gd name="connsiteX109" fmla="*/ 785622 w 835437"/>
                <a:gd name="connsiteY109" fmla="*/ 136493 h 647509"/>
                <a:gd name="connsiteX110" fmla="*/ 775335 w 835437"/>
                <a:gd name="connsiteY110" fmla="*/ 131350 h 647509"/>
                <a:gd name="connsiteX111" fmla="*/ 777907 w 835437"/>
                <a:gd name="connsiteY111" fmla="*/ 126302 h 647509"/>
                <a:gd name="connsiteX112" fmla="*/ 777716 w 835437"/>
                <a:gd name="connsiteY112" fmla="*/ 124682 h 647509"/>
                <a:gd name="connsiteX113" fmla="*/ 771525 w 835437"/>
                <a:gd name="connsiteY113" fmla="*/ 127063 h 647509"/>
                <a:gd name="connsiteX114" fmla="*/ 767429 w 835437"/>
                <a:gd name="connsiteY114" fmla="*/ 132398 h 647509"/>
                <a:gd name="connsiteX115" fmla="*/ 762476 w 835437"/>
                <a:gd name="connsiteY115" fmla="*/ 131445 h 647509"/>
                <a:gd name="connsiteX116" fmla="*/ 759905 w 835437"/>
                <a:gd name="connsiteY116" fmla="*/ 136588 h 647509"/>
                <a:gd name="connsiteX117" fmla="*/ 759333 w 835437"/>
                <a:gd name="connsiteY117" fmla="*/ 131826 h 647509"/>
                <a:gd name="connsiteX118" fmla="*/ 749903 w 835437"/>
                <a:gd name="connsiteY118" fmla="*/ 133064 h 647509"/>
                <a:gd name="connsiteX119" fmla="*/ 746474 w 835437"/>
                <a:gd name="connsiteY119" fmla="*/ 131826 h 647509"/>
                <a:gd name="connsiteX120" fmla="*/ 741807 w 835437"/>
                <a:gd name="connsiteY120" fmla="*/ 132493 h 647509"/>
                <a:gd name="connsiteX121" fmla="*/ 739997 w 835437"/>
                <a:gd name="connsiteY121" fmla="*/ 131064 h 647509"/>
                <a:gd name="connsiteX122" fmla="*/ 738378 w 835437"/>
                <a:gd name="connsiteY122" fmla="*/ 131254 h 647509"/>
                <a:gd name="connsiteX123" fmla="*/ 736283 w 835437"/>
                <a:gd name="connsiteY123" fmla="*/ 126778 h 647509"/>
                <a:gd name="connsiteX124" fmla="*/ 728186 w 835437"/>
                <a:gd name="connsiteY124" fmla="*/ 126206 h 647509"/>
                <a:gd name="connsiteX125" fmla="*/ 723233 w 835437"/>
                <a:gd name="connsiteY125" fmla="*/ 125158 h 647509"/>
                <a:gd name="connsiteX126" fmla="*/ 717328 w 835437"/>
                <a:gd name="connsiteY126" fmla="*/ 129159 h 647509"/>
                <a:gd name="connsiteX127" fmla="*/ 715709 w 835437"/>
                <a:gd name="connsiteY127" fmla="*/ 129350 h 647509"/>
                <a:gd name="connsiteX128" fmla="*/ 717899 w 835437"/>
                <a:gd name="connsiteY128" fmla="*/ 133921 h 647509"/>
                <a:gd name="connsiteX129" fmla="*/ 714756 w 835437"/>
                <a:gd name="connsiteY129" fmla="*/ 134302 h 647509"/>
                <a:gd name="connsiteX130" fmla="*/ 713327 w 835437"/>
                <a:gd name="connsiteY130" fmla="*/ 136112 h 647509"/>
                <a:gd name="connsiteX131" fmla="*/ 708279 w 835437"/>
                <a:gd name="connsiteY131" fmla="*/ 133540 h 647509"/>
                <a:gd name="connsiteX132" fmla="*/ 709613 w 835437"/>
                <a:gd name="connsiteY132" fmla="*/ 131731 h 647509"/>
                <a:gd name="connsiteX133" fmla="*/ 707803 w 835437"/>
                <a:gd name="connsiteY133" fmla="*/ 130397 h 647509"/>
                <a:gd name="connsiteX134" fmla="*/ 703136 w 835437"/>
                <a:gd name="connsiteY134" fmla="*/ 130969 h 647509"/>
                <a:gd name="connsiteX135" fmla="*/ 699326 w 835437"/>
                <a:gd name="connsiteY135" fmla="*/ 126587 h 647509"/>
                <a:gd name="connsiteX136" fmla="*/ 696373 w 835437"/>
                <a:gd name="connsiteY136" fmla="*/ 128588 h 647509"/>
                <a:gd name="connsiteX137" fmla="*/ 696373 w 835437"/>
                <a:gd name="connsiteY137" fmla="*/ 128588 h 647509"/>
                <a:gd name="connsiteX138" fmla="*/ 695801 w 835437"/>
                <a:gd name="connsiteY138" fmla="*/ 123920 h 647509"/>
                <a:gd name="connsiteX139" fmla="*/ 700278 w 835437"/>
                <a:gd name="connsiteY139" fmla="*/ 121729 h 647509"/>
                <a:gd name="connsiteX140" fmla="*/ 702278 w 835437"/>
                <a:gd name="connsiteY140" fmla="*/ 111823 h 647509"/>
                <a:gd name="connsiteX141" fmla="*/ 708565 w 835437"/>
                <a:gd name="connsiteY141" fmla="*/ 111061 h 647509"/>
                <a:gd name="connsiteX142" fmla="*/ 708374 w 835437"/>
                <a:gd name="connsiteY142" fmla="*/ 109442 h 647509"/>
                <a:gd name="connsiteX143" fmla="*/ 700469 w 835437"/>
                <a:gd name="connsiteY143" fmla="*/ 97631 h 647509"/>
                <a:gd name="connsiteX144" fmla="*/ 698659 w 835437"/>
                <a:gd name="connsiteY144" fmla="*/ 96298 h 647509"/>
                <a:gd name="connsiteX145" fmla="*/ 695706 w 835437"/>
                <a:gd name="connsiteY145" fmla="*/ 98203 h 647509"/>
                <a:gd name="connsiteX146" fmla="*/ 689229 w 835437"/>
                <a:gd name="connsiteY146" fmla="*/ 97441 h 647509"/>
                <a:gd name="connsiteX147" fmla="*/ 679895 w 835437"/>
                <a:gd name="connsiteY147" fmla="*/ 87440 h 647509"/>
                <a:gd name="connsiteX148" fmla="*/ 680276 w 835437"/>
                <a:gd name="connsiteY148" fmla="*/ 90583 h 647509"/>
                <a:gd name="connsiteX149" fmla="*/ 665702 w 835437"/>
                <a:gd name="connsiteY149" fmla="*/ 89249 h 647509"/>
                <a:gd name="connsiteX150" fmla="*/ 664750 w 835437"/>
                <a:gd name="connsiteY150" fmla="*/ 94202 h 647509"/>
                <a:gd name="connsiteX151" fmla="*/ 650939 w 835437"/>
                <a:gd name="connsiteY151" fmla="*/ 86296 h 647509"/>
                <a:gd name="connsiteX152" fmla="*/ 648272 w 835437"/>
                <a:gd name="connsiteY152" fmla="*/ 78581 h 647509"/>
                <a:gd name="connsiteX153" fmla="*/ 640651 w 835437"/>
                <a:gd name="connsiteY153" fmla="*/ 81153 h 647509"/>
                <a:gd name="connsiteX154" fmla="*/ 631793 w 835437"/>
                <a:gd name="connsiteY154" fmla="*/ 87154 h 647509"/>
                <a:gd name="connsiteX155" fmla="*/ 629984 w 835437"/>
                <a:gd name="connsiteY155" fmla="*/ 85725 h 647509"/>
                <a:gd name="connsiteX156" fmla="*/ 631126 w 835437"/>
                <a:gd name="connsiteY156" fmla="*/ 82391 h 647509"/>
                <a:gd name="connsiteX157" fmla="*/ 628174 w 835437"/>
                <a:gd name="connsiteY157" fmla="*/ 84392 h 647509"/>
                <a:gd name="connsiteX158" fmla="*/ 626174 w 835437"/>
                <a:gd name="connsiteY158" fmla="*/ 81439 h 647509"/>
                <a:gd name="connsiteX159" fmla="*/ 615410 w 835437"/>
                <a:gd name="connsiteY159" fmla="*/ 84392 h 647509"/>
                <a:gd name="connsiteX160" fmla="*/ 613029 w 835437"/>
                <a:gd name="connsiteY160" fmla="*/ 78296 h 647509"/>
                <a:gd name="connsiteX161" fmla="*/ 609028 w 835437"/>
                <a:gd name="connsiteY161" fmla="*/ 72390 h 647509"/>
                <a:gd name="connsiteX162" fmla="*/ 597218 w 835437"/>
                <a:gd name="connsiteY162" fmla="*/ 67437 h 647509"/>
                <a:gd name="connsiteX163" fmla="*/ 590455 w 835437"/>
                <a:gd name="connsiteY163" fmla="*/ 65151 h 647509"/>
                <a:gd name="connsiteX164" fmla="*/ 589693 w 835437"/>
                <a:gd name="connsiteY164" fmla="*/ 58865 h 647509"/>
                <a:gd name="connsiteX165" fmla="*/ 575215 w 835437"/>
                <a:gd name="connsiteY165" fmla="*/ 46196 h 647509"/>
                <a:gd name="connsiteX166" fmla="*/ 571881 w 835437"/>
                <a:gd name="connsiteY166" fmla="*/ 45053 h 647509"/>
                <a:gd name="connsiteX167" fmla="*/ 568738 w 835437"/>
                <a:gd name="connsiteY167" fmla="*/ 45434 h 647509"/>
                <a:gd name="connsiteX168" fmla="*/ 561404 w 835437"/>
                <a:gd name="connsiteY168" fmla="*/ 38386 h 647509"/>
                <a:gd name="connsiteX169" fmla="*/ 531305 w 835437"/>
                <a:gd name="connsiteY169" fmla="*/ 16573 h 647509"/>
                <a:gd name="connsiteX170" fmla="*/ 524066 w 835437"/>
                <a:gd name="connsiteY170" fmla="*/ 9430 h 647509"/>
                <a:gd name="connsiteX171" fmla="*/ 509969 w 835437"/>
                <a:gd name="connsiteY171" fmla="*/ 0 h 647509"/>
                <a:gd name="connsiteX172" fmla="*/ 508254 w 835437"/>
                <a:gd name="connsiteY172" fmla="*/ 11430 h 647509"/>
                <a:gd name="connsiteX173" fmla="*/ 501206 w 835437"/>
                <a:gd name="connsiteY173" fmla="*/ 18764 h 647509"/>
                <a:gd name="connsiteX174" fmla="*/ 501777 w 835437"/>
                <a:gd name="connsiteY174" fmla="*/ 23527 h 647509"/>
                <a:gd name="connsiteX175" fmla="*/ 503968 w 835437"/>
                <a:gd name="connsiteY175" fmla="*/ 28004 h 647509"/>
                <a:gd name="connsiteX176" fmla="*/ 503015 w 835437"/>
                <a:gd name="connsiteY176" fmla="*/ 32956 h 647509"/>
                <a:gd name="connsiteX177" fmla="*/ 498634 w 835437"/>
                <a:gd name="connsiteY177" fmla="*/ 23908 h 647509"/>
                <a:gd name="connsiteX178" fmla="*/ 493871 w 835437"/>
                <a:gd name="connsiteY178" fmla="*/ 11716 h 647509"/>
                <a:gd name="connsiteX179" fmla="*/ 451295 w 835437"/>
                <a:gd name="connsiteY179" fmla="*/ 29908 h 647509"/>
                <a:gd name="connsiteX180" fmla="*/ 446342 w 835437"/>
                <a:gd name="connsiteY180" fmla="*/ 41815 h 647509"/>
                <a:gd name="connsiteX181" fmla="*/ 440436 w 835437"/>
                <a:gd name="connsiteY181" fmla="*/ 45720 h 647509"/>
                <a:gd name="connsiteX182" fmla="*/ 432149 w 835437"/>
                <a:gd name="connsiteY182" fmla="*/ 56388 h 647509"/>
                <a:gd name="connsiteX183" fmla="*/ 429673 w 835437"/>
                <a:gd name="connsiteY183" fmla="*/ 61531 h 647509"/>
                <a:gd name="connsiteX184" fmla="*/ 431578 w 835437"/>
                <a:gd name="connsiteY184" fmla="*/ 64484 h 647509"/>
                <a:gd name="connsiteX185" fmla="*/ 430625 w 835437"/>
                <a:gd name="connsiteY185" fmla="*/ 69437 h 647509"/>
                <a:gd name="connsiteX186" fmla="*/ 423482 w 835437"/>
                <a:gd name="connsiteY186" fmla="*/ 63913 h 647509"/>
                <a:gd name="connsiteX187" fmla="*/ 421577 w 835437"/>
                <a:gd name="connsiteY187" fmla="*/ 60960 h 647509"/>
                <a:gd name="connsiteX188" fmla="*/ 414242 w 835437"/>
                <a:gd name="connsiteY188" fmla="*/ 53911 h 647509"/>
                <a:gd name="connsiteX189" fmla="*/ 408337 w 835437"/>
                <a:gd name="connsiteY189" fmla="*/ 45053 h 647509"/>
                <a:gd name="connsiteX190" fmla="*/ 396240 w 835437"/>
                <a:gd name="connsiteY190" fmla="*/ 51340 h 647509"/>
                <a:gd name="connsiteX191" fmla="*/ 388334 w 835437"/>
                <a:gd name="connsiteY191" fmla="*/ 52388 h 647509"/>
                <a:gd name="connsiteX192" fmla="*/ 384810 w 835437"/>
                <a:gd name="connsiteY192" fmla="*/ 49625 h 647509"/>
                <a:gd name="connsiteX193" fmla="*/ 376142 w 835437"/>
                <a:gd name="connsiteY193" fmla="*/ 44291 h 647509"/>
                <a:gd name="connsiteX194" fmla="*/ 368237 w 835437"/>
                <a:gd name="connsiteY194" fmla="*/ 45339 h 647509"/>
                <a:gd name="connsiteX195" fmla="*/ 368427 w 835437"/>
                <a:gd name="connsiteY195" fmla="*/ 46958 h 647509"/>
                <a:gd name="connsiteX196" fmla="*/ 358426 w 835437"/>
                <a:gd name="connsiteY196" fmla="*/ 56198 h 647509"/>
                <a:gd name="connsiteX197" fmla="*/ 355283 w 835437"/>
                <a:gd name="connsiteY197" fmla="*/ 56579 h 647509"/>
                <a:gd name="connsiteX198" fmla="*/ 353282 w 835437"/>
                <a:gd name="connsiteY198" fmla="*/ 53626 h 647509"/>
                <a:gd name="connsiteX199" fmla="*/ 348520 w 835437"/>
                <a:gd name="connsiteY199" fmla="*/ 54292 h 647509"/>
                <a:gd name="connsiteX200" fmla="*/ 343567 w 835437"/>
                <a:gd name="connsiteY200" fmla="*/ 53245 h 647509"/>
                <a:gd name="connsiteX201" fmla="*/ 339471 w 835437"/>
                <a:gd name="connsiteY201" fmla="*/ 58579 h 647509"/>
                <a:gd name="connsiteX202" fmla="*/ 326993 w 835437"/>
                <a:gd name="connsiteY202" fmla="*/ 61817 h 647509"/>
                <a:gd name="connsiteX203" fmla="*/ 323850 w 835437"/>
                <a:gd name="connsiteY203" fmla="*/ 62198 h 647509"/>
                <a:gd name="connsiteX204" fmla="*/ 320516 w 835437"/>
                <a:gd name="connsiteY204" fmla="*/ 61055 h 647509"/>
                <a:gd name="connsiteX205" fmla="*/ 317563 w 835437"/>
                <a:gd name="connsiteY205" fmla="*/ 63056 h 647509"/>
                <a:gd name="connsiteX206" fmla="*/ 310896 w 835437"/>
                <a:gd name="connsiteY206" fmla="*/ 60674 h 647509"/>
                <a:gd name="connsiteX207" fmla="*/ 306514 w 835437"/>
                <a:gd name="connsiteY207" fmla="*/ 64389 h 647509"/>
                <a:gd name="connsiteX208" fmla="*/ 298418 w 835437"/>
                <a:gd name="connsiteY208" fmla="*/ 63817 h 647509"/>
                <a:gd name="connsiteX209" fmla="*/ 295085 w 835437"/>
                <a:gd name="connsiteY209" fmla="*/ 62675 h 647509"/>
                <a:gd name="connsiteX210" fmla="*/ 294513 w 835437"/>
                <a:gd name="connsiteY210" fmla="*/ 70771 h 647509"/>
                <a:gd name="connsiteX211" fmla="*/ 288608 w 835437"/>
                <a:gd name="connsiteY211" fmla="*/ 74771 h 647509"/>
                <a:gd name="connsiteX212" fmla="*/ 284893 w 835437"/>
                <a:gd name="connsiteY212" fmla="*/ 83248 h 647509"/>
                <a:gd name="connsiteX213" fmla="*/ 279178 w 835437"/>
                <a:gd name="connsiteY213" fmla="*/ 88773 h 647509"/>
                <a:gd name="connsiteX214" fmla="*/ 278130 w 835437"/>
                <a:gd name="connsiteY214" fmla="*/ 93726 h 647509"/>
                <a:gd name="connsiteX215" fmla="*/ 281750 w 835437"/>
                <a:gd name="connsiteY215" fmla="*/ 109252 h 647509"/>
                <a:gd name="connsiteX216" fmla="*/ 279368 w 835437"/>
                <a:gd name="connsiteY216" fmla="*/ 116015 h 647509"/>
                <a:gd name="connsiteX217" fmla="*/ 275082 w 835437"/>
                <a:gd name="connsiteY217" fmla="*/ 119729 h 647509"/>
                <a:gd name="connsiteX218" fmla="*/ 264224 w 835437"/>
                <a:gd name="connsiteY218" fmla="*/ 109919 h 647509"/>
                <a:gd name="connsiteX219" fmla="*/ 258318 w 835437"/>
                <a:gd name="connsiteY219" fmla="*/ 113824 h 647509"/>
                <a:gd name="connsiteX220" fmla="*/ 257080 w 835437"/>
                <a:gd name="connsiteY220" fmla="*/ 117253 h 647509"/>
                <a:gd name="connsiteX221" fmla="*/ 249650 w 835437"/>
                <a:gd name="connsiteY221" fmla="*/ 121348 h 647509"/>
                <a:gd name="connsiteX222" fmla="*/ 245269 w 835437"/>
                <a:gd name="connsiteY222" fmla="*/ 125158 h 647509"/>
                <a:gd name="connsiteX223" fmla="*/ 244316 w 835437"/>
                <a:gd name="connsiteY223" fmla="*/ 130111 h 647509"/>
                <a:gd name="connsiteX224" fmla="*/ 240030 w 835437"/>
                <a:gd name="connsiteY224" fmla="*/ 133826 h 647509"/>
                <a:gd name="connsiteX225" fmla="*/ 242126 w 835437"/>
                <a:gd name="connsiteY225" fmla="*/ 138398 h 647509"/>
                <a:gd name="connsiteX226" fmla="*/ 238220 w 835437"/>
                <a:gd name="connsiteY226" fmla="*/ 145256 h 647509"/>
                <a:gd name="connsiteX227" fmla="*/ 234887 w 835437"/>
                <a:gd name="connsiteY227" fmla="*/ 144113 h 647509"/>
                <a:gd name="connsiteX228" fmla="*/ 231934 w 835437"/>
                <a:gd name="connsiteY228" fmla="*/ 146113 h 647509"/>
                <a:gd name="connsiteX229" fmla="*/ 228410 w 835437"/>
                <a:gd name="connsiteY229" fmla="*/ 143351 h 647509"/>
                <a:gd name="connsiteX230" fmla="*/ 218885 w 835437"/>
                <a:gd name="connsiteY230" fmla="*/ 144590 h 647509"/>
                <a:gd name="connsiteX231" fmla="*/ 214408 w 835437"/>
                <a:gd name="connsiteY231" fmla="*/ 146780 h 647509"/>
                <a:gd name="connsiteX232" fmla="*/ 216503 w 835437"/>
                <a:gd name="connsiteY232" fmla="*/ 151257 h 647509"/>
                <a:gd name="connsiteX233" fmla="*/ 214598 w 835437"/>
                <a:gd name="connsiteY233" fmla="*/ 161163 h 647509"/>
                <a:gd name="connsiteX234" fmla="*/ 216980 w 835437"/>
                <a:gd name="connsiteY234" fmla="*/ 167259 h 647509"/>
                <a:gd name="connsiteX235" fmla="*/ 215075 w 835437"/>
                <a:gd name="connsiteY235" fmla="*/ 177070 h 647509"/>
                <a:gd name="connsiteX236" fmla="*/ 210884 w 835437"/>
                <a:gd name="connsiteY236" fmla="*/ 182499 h 647509"/>
                <a:gd name="connsiteX237" fmla="*/ 202978 w 835437"/>
                <a:gd name="connsiteY237" fmla="*/ 183452 h 647509"/>
                <a:gd name="connsiteX238" fmla="*/ 193739 w 835437"/>
                <a:gd name="connsiteY238" fmla="*/ 186214 h 647509"/>
                <a:gd name="connsiteX239" fmla="*/ 194119 w 835437"/>
                <a:gd name="connsiteY239" fmla="*/ 189357 h 647509"/>
                <a:gd name="connsiteX240" fmla="*/ 191357 w 835437"/>
                <a:gd name="connsiteY240" fmla="*/ 192977 h 647509"/>
                <a:gd name="connsiteX241" fmla="*/ 187071 w 835437"/>
                <a:gd name="connsiteY241" fmla="*/ 196691 h 647509"/>
                <a:gd name="connsiteX242" fmla="*/ 188024 w 835437"/>
                <a:gd name="connsiteY242" fmla="*/ 204597 h 647509"/>
                <a:gd name="connsiteX243" fmla="*/ 180975 w 835437"/>
                <a:gd name="connsiteY243" fmla="*/ 211931 h 647509"/>
                <a:gd name="connsiteX244" fmla="*/ 179261 w 835437"/>
                <a:gd name="connsiteY244" fmla="*/ 223361 h 647509"/>
                <a:gd name="connsiteX245" fmla="*/ 183356 w 835437"/>
                <a:gd name="connsiteY245" fmla="*/ 230886 h 647509"/>
                <a:gd name="connsiteX246" fmla="*/ 185547 w 835437"/>
                <a:gd name="connsiteY246" fmla="*/ 235363 h 647509"/>
                <a:gd name="connsiteX247" fmla="*/ 179451 w 835437"/>
                <a:gd name="connsiteY247" fmla="*/ 237744 h 647509"/>
                <a:gd name="connsiteX248" fmla="*/ 182975 w 835437"/>
                <a:gd name="connsiteY248" fmla="*/ 240506 h 647509"/>
                <a:gd name="connsiteX249" fmla="*/ 178308 w 835437"/>
                <a:gd name="connsiteY249" fmla="*/ 241173 h 647509"/>
                <a:gd name="connsiteX250" fmla="*/ 178499 w 835437"/>
                <a:gd name="connsiteY250" fmla="*/ 242697 h 647509"/>
                <a:gd name="connsiteX251" fmla="*/ 172784 w 835437"/>
                <a:gd name="connsiteY251" fmla="*/ 235458 h 647509"/>
                <a:gd name="connsiteX252" fmla="*/ 166021 w 835437"/>
                <a:gd name="connsiteY252" fmla="*/ 233077 h 647509"/>
                <a:gd name="connsiteX253" fmla="*/ 166592 w 835437"/>
                <a:gd name="connsiteY253" fmla="*/ 237839 h 647509"/>
                <a:gd name="connsiteX254" fmla="*/ 164116 w 835437"/>
                <a:gd name="connsiteY254" fmla="*/ 242983 h 647509"/>
                <a:gd name="connsiteX255" fmla="*/ 165830 w 835437"/>
                <a:gd name="connsiteY255" fmla="*/ 244316 h 647509"/>
                <a:gd name="connsiteX256" fmla="*/ 165449 w 835437"/>
                <a:gd name="connsiteY256" fmla="*/ 254032 h 647509"/>
                <a:gd name="connsiteX257" fmla="*/ 167640 w 835437"/>
                <a:gd name="connsiteY257" fmla="*/ 258509 h 647509"/>
                <a:gd name="connsiteX258" fmla="*/ 168307 w 835437"/>
                <a:gd name="connsiteY258" fmla="*/ 263271 h 647509"/>
                <a:gd name="connsiteX259" fmla="*/ 161544 w 835437"/>
                <a:gd name="connsiteY259" fmla="*/ 260890 h 647509"/>
                <a:gd name="connsiteX260" fmla="*/ 162782 w 835437"/>
                <a:gd name="connsiteY260" fmla="*/ 270415 h 647509"/>
                <a:gd name="connsiteX261" fmla="*/ 160211 w 835437"/>
                <a:gd name="connsiteY261" fmla="*/ 275558 h 647509"/>
                <a:gd name="connsiteX262" fmla="*/ 162592 w 835437"/>
                <a:gd name="connsiteY262" fmla="*/ 281654 h 647509"/>
                <a:gd name="connsiteX263" fmla="*/ 165926 w 835437"/>
                <a:gd name="connsiteY263" fmla="*/ 282797 h 647509"/>
                <a:gd name="connsiteX264" fmla="*/ 164973 w 835437"/>
                <a:gd name="connsiteY264" fmla="*/ 287750 h 647509"/>
                <a:gd name="connsiteX265" fmla="*/ 168497 w 835437"/>
                <a:gd name="connsiteY265" fmla="*/ 290513 h 647509"/>
                <a:gd name="connsiteX266" fmla="*/ 168688 w 835437"/>
                <a:gd name="connsiteY266" fmla="*/ 292036 h 647509"/>
                <a:gd name="connsiteX267" fmla="*/ 167545 w 835437"/>
                <a:gd name="connsiteY267" fmla="*/ 295465 h 647509"/>
                <a:gd name="connsiteX268" fmla="*/ 163068 w 835437"/>
                <a:gd name="connsiteY268" fmla="*/ 297561 h 647509"/>
                <a:gd name="connsiteX269" fmla="*/ 162020 w 835437"/>
                <a:gd name="connsiteY269" fmla="*/ 302514 h 647509"/>
                <a:gd name="connsiteX270" fmla="*/ 158877 w 835437"/>
                <a:gd name="connsiteY270" fmla="*/ 302895 h 647509"/>
                <a:gd name="connsiteX271" fmla="*/ 160877 w 835437"/>
                <a:gd name="connsiteY271" fmla="*/ 305943 h 647509"/>
                <a:gd name="connsiteX272" fmla="*/ 161449 w 835437"/>
                <a:gd name="connsiteY272" fmla="*/ 310610 h 647509"/>
                <a:gd name="connsiteX273" fmla="*/ 168212 w 835437"/>
                <a:gd name="connsiteY273" fmla="*/ 312992 h 647509"/>
                <a:gd name="connsiteX274" fmla="*/ 165259 w 835437"/>
                <a:gd name="connsiteY274" fmla="*/ 314992 h 647509"/>
                <a:gd name="connsiteX275" fmla="*/ 152210 w 835437"/>
                <a:gd name="connsiteY275" fmla="*/ 313373 h 647509"/>
                <a:gd name="connsiteX276" fmla="*/ 143732 w 835437"/>
                <a:gd name="connsiteY276" fmla="*/ 309658 h 647509"/>
                <a:gd name="connsiteX277" fmla="*/ 138970 w 835437"/>
                <a:gd name="connsiteY277" fmla="*/ 310325 h 647509"/>
                <a:gd name="connsiteX278" fmla="*/ 135446 w 835437"/>
                <a:gd name="connsiteY278" fmla="*/ 307562 h 647509"/>
                <a:gd name="connsiteX279" fmla="*/ 137732 w 835437"/>
                <a:gd name="connsiteY279" fmla="*/ 300800 h 647509"/>
                <a:gd name="connsiteX280" fmla="*/ 135636 w 835437"/>
                <a:gd name="connsiteY280" fmla="*/ 296323 h 647509"/>
                <a:gd name="connsiteX281" fmla="*/ 132683 w 835437"/>
                <a:gd name="connsiteY281" fmla="*/ 298228 h 647509"/>
                <a:gd name="connsiteX282" fmla="*/ 131826 w 835437"/>
                <a:gd name="connsiteY282" fmla="*/ 291941 h 647509"/>
                <a:gd name="connsiteX283" fmla="*/ 128873 w 835437"/>
                <a:gd name="connsiteY283" fmla="*/ 293942 h 647509"/>
                <a:gd name="connsiteX284" fmla="*/ 126683 w 835437"/>
                <a:gd name="connsiteY284" fmla="*/ 289369 h 647509"/>
                <a:gd name="connsiteX285" fmla="*/ 126111 w 835437"/>
                <a:gd name="connsiteY285" fmla="*/ 284702 h 647509"/>
                <a:gd name="connsiteX286" fmla="*/ 127254 w 835437"/>
                <a:gd name="connsiteY286" fmla="*/ 281273 h 647509"/>
                <a:gd name="connsiteX287" fmla="*/ 134969 w 835437"/>
                <a:gd name="connsiteY287" fmla="*/ 278702 h 647509"/>
                <a:gd name="connsiteX288" fmla="*/ 136112 w 835437"/>
                <a:gd name="connsiteY288" fmla="*/ 275368 h 647509"/>
                <a:gd name="connsiteX289" fmla="*/ 132779 w 835437"/>
                <a:gd name="connsiteY289" fmla="*/ 274225 h 647509"/>
                <a:gd name="connsiteX290" fmla="*/ 135541 w 835437"/>
                <a:gd name="connsiteY290" fmla="*/ 270605 h 647509"/>
                <a:gd name="connsiteX291" fmla="*/ 130969 w 835437"/>
                <a:gd name="connsiteY291" fmla="*/ 272796 h 647509"/>
                <a:gd name="connsiteX292" fmla="*/ 131731 w 835437"/>
                <a:gd name="connsiteY292" fmla="*/ 266319 h 647509"/>
                <a:gd name="connsiteX293" fmla="*/ 138875 w 835437"/>
                <a:gd name="connsiteY293" fmla="*/ 258985 h 647509"/>
                <a:gd name="connsiteX294" fmla="*/ 133541 w 835437"/>
                <a:gd name="connsiteY294" fmla="*/ 254889 h 647509"/>
                <a:gd name="connsiteX295" fmla="*/ 128778 w 835437"/>
                <a:gd name="connsiteY295" fmla="*/ 255461 h 647509"/>
                <a:gd name="connsiteX296" fmla="*/ 131731 w 835437"/>
                <a:gd name="connsiteY296" fmla="*/ 253460 h 647509"/>
                <a:gd name="connsiteX297" fmla="*/ 130207 w 835437"/>
                <a:gd name="connsiteY297" fmla="*/ 253651 h 647509"/>
                <a:gd name="connsiteX298" fmla="*/ 134874 w 835437"/>
                <a:gd name="connsiteY298" fmla="*/ 253079 h 647509"/>
                <a:gd name="connsiteX299" fmla="*/ 127159 w 835437"/>
                <a:gd name="connsiteY299" fmla="*/ 242792 h 647509"/>
                <a:gd name="connsiteX300" fmla="*/ 121063 w 835437"/>
                <a:gd name="connsiteY300" fmla="*/ 245173 h 647509"/>
                <a:gd name="connsiteX301" fmla="*/ 118872 w 835437"/>
                <a:gd name="connsiteY301" fmla="*/ 240697 h 647509"/>
                <a:gd name="connsiteX302" fmla="*/ 112014 w 835437"/>
                <a:gd name="connsiteY302" fmla="*/ 236792 h 647509"/>
                <a:gd name="connsiteX303" fmla="*/ 111347 w 835437"/>
                <a:gd name="connsiteY303" fmla="*/ 232029 h 647509"/>
                <a:gd name="connsiteX304" fmla="*/ 102680 w 835437"/>
                <a:gd name="connsiteY304" fmla="*/ 226695 h 647509"/>
                <a:gd name="connsiteX305" fmla="*/ 105442 w 835437"/>
                <a:gd name="connsiteY305" fmla="*/ 223171 h 647509"/>
                <a:gd name="connsiteX306" fmla="*/ 109538 w 835437"/>
                <a:gd name="connsiteY306" fmla="*/ 217837 h 647509"/>
                <a:gd name="connsiteX307" fmla="*/ 107347 w 835437"/>
                <a:gd name="connsiteY307" fmla="*/ 213265 h 647509"/>
                <a:gd name="connsiteX308" fmla="*/ 111157 w 835437"/>
                <a:gd name="connsiteY308" fmla="*/ 217646 h 647509"/>
                <a:gd name="connsiteX309" fmla="*/ 114872 w 835437"/>
                <a:gd name="connsiteY309" fmla="*/ 221932 h 647509"/>
                <a:gd name="connsiteX310" fmla="*/ 116491 w 835437"/>
                <a:gd name="connsiteY310" fmla="*/ 221742 h 647509"/>
                <a:gd name="connsiteX311" fmla="*/ 121634 w 835437"/>
                <a:gd name="connsiteY311" fmla="*/ 224314 h 647509"/>
                <a:gd name="connsiteX312" fmla="*/ 119444 w 835437"/>
                <a:gd name="connsiteY312" fmla="*/ 219742 h 647509"/>
                <a:gd name="connsiteX313" fmla="*/ 120206 w 835437"/>
                <a:gd name="connsiteY313" fmla="*/ 213265 h 647509"/>
                <a:gd name="connsiteX314" fmla="*/ 118205 w 835437"/>
                <a:gd name="connsiteY314" fmla="*/ 210312 h 647509"/>
                <a:gd name="connsiteX315" fmla="*/ 113633 w 835437"/>
                <a:gd name="connsiteY315" fmla="*/ 199644 h 647509"/>
                <a:gd name="connsiteX316" fmla="*/ 109157 w 835437"/>
                <a:gd name="connsiteY316" fmla="*/ 201835 h 647509"/>
                <a:gd name="connsiteX317" fmla="*/ 101060 w 835437"/>
                <a:gd name="connsiteY317" fmla="*/ 201263 h 647509"/>
                <a:gd name="connsiteX318" fmla="*/ 97441 w 835437"/>
                <a:gd name="connsiteY318" fmla="*/ 198501 h 647509"/>
                <a:gd name="connsiteX319" fmla="*/ 86392 w 835437"/>
                <a:gd name="connsiteY319" fmla="*/ 199930 h 647509"/>
                <a:gd name="connsiteX320" fmla="*/ 77724 w 835437"/>
                <a:gd name="connsiteY320" fmla="*/ 194596 h 647509"/>
                <a:gd name="connsiteX321" fmla="*/ 78867 w 835437"/>
                <a:gd name="connsiteY321" fmla="*/ 191262 h 647509"/>
                <a:gd name="connsiteX322" fmla="*/ 78677 w 835437"/>
                <a:gd name="connsiteY322" fmla="*/ 176879 h 647509"/>
                <a:gd name="connsiteX323" fmla="*/ 74962 w 835437"/>
                <a:gd name="connsiteY323" fmla="*/ 172498 h 647509"/>
                <a:gd name="connsiteX324" fmla="*/ 78867 w 835437"/>
                <a:gd name="connsiteY324" fmla="*/ 152781 h 647509"/>
                <a:gd name="connsiteX325" fmla="*/ 76105 w 835437"/>
                <a:gd name="connsiteY325" fmla="*/ 156305 h 647509"/>
                <a:gd name="connsiteX326" fmla="*/ 73914 w 835437"/>
                <a:gd name="connsiteY326" fmla="*/ 151829 h 647509"/>
                <a:gd name="connsiteX327" fmla="*/ 68771 w 835437"/>
                <a:gd name="connsiteY327" fmla="*/ 149257 h 647509"/>
                <a:gd name="connsiteX328" fmla="*/ 66580 w 835437"/>
                <a:gd name="connsiteY328" fmla="*/ 144685 h 647509"/>
                <a:gd name="connsiteX329" fmla="*/ 67342 w 835437"/>
                <a:gd name="connsiteY329" fmla="*/ 138208 h 647509"/>
                <a:gd name="connsiteX330" fmla="*/ 52959 w 835437"/>
                <a:gd name="connsiteY330" fmla="*/ 138398 h 647509"/>
                <a:gd name="connsiteX331" fmla="*/ 41529 w 835437"/>
                <a:gd name="connsiteY331" fmla="*/ 136684 h 647509"/>
                <a:gd name="connsiteX332" fmla="*/ 29051 w 835437"/>
                <a:gd name="connsiteY332" fmla="*/ 139827 h 647509"/>
                <a:gd name="connsiteX333" fmla="*/ 26289 w 835437"/>
                <a:gd name="connsiteY333" fmla="*/ 143446 h 647509"/>
                <a:gd name="connsiteX334" fmla="*/ 18193 w 835437"/>
                <a:gd name="connsiteY334" fmla="*/ 142875 h 647509"/>
                <a:gd name="connsiteX335" fmla="*/ 19240 w 835437"/>
                <a:gd name="connsiteY335" fmla="*/ 137922 h 647509"/>
                <a:gd name="connsiteX336" fmla="*/ 16002 w 835437"/>
                <a:gd name="connsiteY336" fmla="*/ 138303 h 647509"/>
                <a:gd name="connsiteX337" fmla="*/ 14097 w 835437"/>
                <a:gd name="connsiteY337" fmla="*/ 135350 h 647509"/>
                <a:gd name="connsiteX338" fmla="*/ 8382 w 835437"/>
                <a:gd name="connsiteY338" fmla="*/ 140875 h 647509"/>
                <a:gd name="connsiteX339" fmla="*/ 12097 w 835437"/>
                <a:gd name="connsiteY339" fmla="*/ 145256 h 647509"/>
                <a:gd name="connsiteX340" fmla="*/ 18669 w 835437"/>
                <a:gd name="connsiteY340" fmla="*/ 146018 h 647509"/>
                <a:gd name="connsiteX341" fmla="*/ 25908 w 835437"/>
                <a:gd name="connsiteY341" fmla="*/ 153067 h 647509"/>
                <a:gd name="connsiteX342" fmla="*/ 26384 w 835437"/>
                <a:gd name="connsiteY342" fmla="*/ 156305 h 647509"/>
                <a:gd name="connsiteX343" fmla="*/ 22193 w 835437"/>
                <a:gd name="connsiteY343" fmla="*/ 161639 h 647509"/>
                <a:gd name="connsiteX344" fmla="*/ 23432 w 835437"/>
                <a:gd name="connsiteY344" fmla="*/ 171069 h 647509"/>
                <a:gd name="connsiteX345" fmla="*/ 32671 w 835437"/>
                <a:gd name="connsiteY345" fmla="*/ 181070 h 647509"/>
                <a:gd name="connsiteX346" fmla="*/ 33147 w 835437"/>
                <a:gd name="connsiteY346" fmla="*/ 184213 h 647509"/>
                <a:gd name="connsiteX347" fmla="*/ 35052 w 835437"/>
                <a:gd name="connsiteY347" fmla="*/ 187166 h 647509"/>
                <a:gd name="connsiteX348" fmla="*/ 33909 w 835437"/>
                <a:gd name="connsiteY348" fmla="*/ 190595 h 647509"/>
                <a:gd name="connsiteX349" fmla="*/ 25051 w 835437"/>
                <a:gd name="connsiteY349" fmla="*/ 196501 h 647509"/>
                <a:gd name="connsiteX350" fmla="*/ 21908 w 835437"/>
                <a:gd name="connsiteY350" fmla="*/ 196882 h 647509"/>
                <a:gd name="connsiteX351" fmla="*/ 20479 w 835437"/>
                <a:gd name="connsiteY351" fmla="*/ 198692 h 647509"/>
                <a:gd name="connsiteX352" fmla="*/ 15621 w 835437"/>
                <a:gd name="connsiteY352" fmla="*/ 197739 h 647509"/>
                <a:gd name="connsiteX353" fmla="*/ 11240 w 835437"/>
                <a:gd name="connsiteY353" fmla="*/ 201454 h 647509"/>
                <a:gd name="connsiteX354" fmla="*/ 5144 w 835437"/>
                <a:gd name="connsiteY354" fmla="*/ 203835 h 647509"/>
                <a:gd name="connsiteX355" fmla="*/ 8858 w 835437"/>
                <a:gd name="connsiteY355" fmla="*/ 208217 h 647509"/>
                <a:gd name="connsiteX356" fmla="*/ 7715 w 835437"/>
                <a:gd name="connsiteY356" fmla="*/ 211550 h 647509"/>
                <a:gd name="connsiteX357" fmla="*/ 6382 w 835437"/>
                <a:gd name="connsiteY357" fmla="*/ 213360 h 647509"/>
                <a:gd name="connsiteX358" fmla="*/ 0 w 835437"/>
                <a:gd name="connsiteY358" fmla="*/ 214122 h 647509"/>
                <a:gd name="connsiteX359" fmla="*/ 476 w 835437"/>
                <a:gd name="connsiteY359" fmla="*/ 217265 h 647509"/>
                <a:gd name="connsiteX360" fmla="*/ 6001 w 835437"/>
                <a:gd name="connsiteY360" fmla="*/ 222980 h 647509"/>
                <a:gd name="connsiteX361" fmla="*/ 10668 w 835437"/>
                <a:gd name="connsiteY361" fmla="*/ 222409 h 647509"/>
                <a:gd name="connsiteX362" fmla="*/ 11906 w 835437"/>
                <a:gd name="connsiteY362" fmla="*/ 231838 h 647509"/>
                <a:gd name="connsiteX363" fmla="*/ 24003 w 835437"/>
                <a:gd name="connsiteY363" fmla="*/ 238315 h 647509"/>
                <a:gd name="connsiteX364" fmla="*/ 34004 w 835437"/>
                <a:gd name="connsiteY364" fmla="*/ 241840 h 647509"/>
                <a:gd name="connsiteX365" fmla="*/ 35243 w 835437"/>
                <a:gd name="connsiteY365" fmla="*/ 238506 h 647509"/>
                <a:gd name="connsiteX366" fmla="*/ 41339 w 835437"/>
                <a:gd name="connsiteY366" fmla="*/ 236125 h 647509"/>
                <a:gd name="connsiteX367" fmla="*/ 41529 w 835437"/>
                <a:gd name="connsiteY367" fmla="*/ 237744 h 647509"/>
                <a:gd name="connsiteX368" fmla="*/ 35624 w 835437"/>
                <a:gd name="connsiteY368" fmla="*/ 241649 h 647509"/>
                <a:gd name="connsiteX369" fmla="*/ 42291 w 835437"/>
                <a:gd name="connsiteY369" fmla="*/ 244031 h 647509"/>
                <a:gd name="connsiteX370" fmla="*/ 45911 w 835437"/>
                <a:gd name="connsiteY370" fmla="*/ 246793 h 647509"/>
                <a:gd name="connsiteX371" fmla="*/ 45911 w 835437"/>
                <a:gd name="connsiteY371" fmla="*/ 246793 h 647509"/>
                <a:gd name="connsiteX372" fmla="*/ 44672 w 835437"/>
                <a:gd name="connsiteY372" fmla="*/ 250127 h 647509"/>
                <a:gd name="connsiteX373" fmla="*/ 47911 w 835437"/>
                <a:gd name="connsiteY373" fmla="*/ 249746 h 647509"/>
                <a:gd name="connsiteX374" fmla="*/ 46863 w 835437"/>
                <a:gd name="connsiteY374" fmla="*/ 254698 h 647509"/>
                <a:gd name="connsiteX375" fmla="*/ 48673 w 835437"/>
                <a:gd name="connsiteY375" fmla="*/ 256032 h 647509"/>
                <a:gd name="connsiteX376" fmla="*/ 44577 w 835437"/>
                <a:gd name="connsiteY376" fmla="*/ 261366 h 647509"/>
                <a:gd name="connsiteX377" fmla="*/ 46482 w 835437"/>
                <a:gd name="connsiteY377" fmla="*/ 264319 h 647509"/>
                <a:gd name="connsiteX378" fmla="*/ 49435 w 835437"/>
                <a:gd name="connsiteY378" fmla="*/ 262319 h 647509"/>
                <a:gd name="connsiteX379" fmla="*/ 57531 w 835437"/>
                <a:gd name="connsiteY379" fmla="*/ 262890 h 647509"/>
                <a:gd name="connsiteX380" fmla="*/ 58769 w 835437"/>
                <a:gd name="connsiteY380" fmla="*/ 272415 h 647509"/>
                <a:gd name="connsiteX381" fmla="*/ 61913 w 835437"/>
                <a:gd name="connsiteY381" fmla="*/ 272034 h 647509"/>
                <a:gd name="connsiteX382" fmla="*/ 62103 w 835437"/>
                <a:gd name="connsiteY382" fmla="*/ 273558 h 647509"/>
                <a:gd name="connsiteX383" fmla="*/ 63913 w 835437"/>
                <a:gd name="connsiteY383" fmla="*/ 274987 h 647509"/>
                <a:gd name="connsiteX384" fmla="*/ 60960 w 835437"/>
                <a:gd name="connsiteY384" fmla="*/ 276892 h 647509"/>
                <a:gd name="connsiteX385" fmla="*/ 61151 w 835437"/>
                <a:gd name="connsiteY385" fmla="*/ 278511 h 647509"/>
                <a:gd name="connsiteX386" fmla="*/ 65913 w 835437"/>
                <a:gd name="connsiteY386" fmla="*/ 277940 h 647509"/>
                <a:gd name="connsiteX387" fmla="*/ 67913 w 835437"/>
                <a:gd name="connsiteY387" fmla="*/ 280892 h 647509"/>
                <a:gd name="connsiteX388" fmla="*/ 71057 w 835437"/>
                <a:gd name="connsiteY388" fmla="*/ 280511 h 647509"/>
                <a:gd name="connsiteX389" fmla="*/ 66294 w 835437"/>
                <a:gd name="connsiteY389" fmla="*/ 281083 h 647509"/>
                <a:gd name="connsiteX390" fmla="*/ 65151 w 835437"/>
                <a:gd name="connsiteY390" fmla="*/ 284417 h 647509"/>
                <a:gd name="connsiteX391" fmla="*/ 74200 w 835437"/>
                <a:gd name="connsiteY391" fmla="*/ 292894 h 647509"/>
                <a:gd name="connsiteX392" fmla="*/ 75438 w 835437"/>
                <a:gd name="connsiteY392" fmla="*/ 302323 h 647509"/>
                <a:gd name="connsiteX393" fmla="*/ 77819 w 835437"/>
                <a:gd name="connsiteY393" fmla="*/ 308419 h 647509"/>
                <a:gd name="connsiteX394" fmla="*/ 78200 w 835437"/>
                <a:gd name="connsiteY394" fmla="*/ 311658 h 647509"/>
                <a:gd name="connsiteX395" fmla="*/ 76867 w 835437"/>
                <a:gd name="connsiteY395" fmla="*/ 313373 h 647509"/>
                <a:gd name="connsiteX396" fmla="*/ 83534 w 835437"/>
                <a:gd name="connsiteY396" fmla="*/ 315754 h 647509"/>
                <a:gd name="connsiteX397" fmla="*/ 79820 w 835437"/>
                <a:gd name="connsiteY397" fmla="*/ 324231 h 647509"/>
                <a:gd name="connsiteX398" fmla="*/ 71342 w 835437"/>
                <a:gd name="connsiteY398" fmla="*/ 333375 h 647509"/>
                <a:gd name="connsiteX399" fmla="*/ 73152 w 835437"/>
                <a:gd name="connsiteY399" fmla="*/ 334709 h 647509"/>
                <a:gd name="connsiteX400" fmla="*/ 73724 w 835437"/>
                <a:gd name="connsiteY400" fmla="*/ 339471 h 647509"/>
                <a:gd name="connsiteX401" fmla="*/ 67628 w 835437"/>
                <a:gd name="connsiteY401" fmla="*/ 341852 h 647509"/>
                <a:gd name="connsiteX402" fmla="*/ 66675 w 835437"/>
                <a:gd name="connsiteY402" fmla="*/ 346805 h 647509"/>
                <a:gd name="connsiteX403" fmla="*/ 68866 w 835437"/>
                <a:gd name="connsiteY403" fmla="*/ 351282 h 647509"/>
                <a:gd name="connsiteX404" fmla="*/ 69247 w 835437"/>
                <a:gd name="connsiteY404" fmla="*/ 367284 h 647509"/>
                <a:gd name="connsiteX405" fmla="*/ 71819 w 835437"/>
                <a:gd name="connsiteY405" fmla="*/ 374999 h 647509"/>
                <a:gd name="connsiteX406" fmla="*/ 70866 w 835437"/>
                <a:gd name="connsiteY406" fmla="*/ 379952 h 647509"/>
                <a:gd name="connsiteX407" fmla="*/ 74866 w 835437"/>
                <a:gd name="connsiteY407" fmla="*/ 385858 h 647509"/>
                <a:gd name="connsiteX408" fmla="*/ 77248 w 835437"/>
                <a:gd name="connsiteY408" fmla="*/ 391954 h 647509"/>
                <a:gd name="connsiteX409" fmla="*/ 85154 w 835437"/>
                <a:gd name="connsiteY409" fmla="*/ 390906 h 647509"/>
                <a:gd name="connsiteX410" fmla="*/ 90011 w 835437"/>
                <a:gd name="connsiteY410" fmla="*/ 391954 h 647509"/>
                <a:gd name="connsiteX411" fmla="*/ 87535 w 835437"/>
                <a:gd name="connsiteY411" fmla="*/ 397002 h 647509"/>
                <a:gd name="connsiteX412" fmla="*/ 91250 w 835437"/>
                <a:gd name="connsiteY412" fmla="*/ 401384 h 647509"/>
                <a:gd name="connsiteX413" fmla="*/ 97346 w 835437"/>
                <a:gd name="connsiteY413" fmla="*/ 399002 h 647509"/>
                <a:gd name="connsiteX414" fmla="*/ 100489 w 835437"/>
                <a:gd name="connsiteY414" fmla="*/ 398621 h 647509"/>
                <a:gd name="connsiteX415" fmla="*/ 100965 w 835437"/>
                <a:gd name="connsiteY415" fmla="*/ 401765 h 647509"/>
                <a:gd name="connsiteX416" fmla="*/ 101346 w 835437"/>
                <a:gd name="connsiteY416" fmla="*/ 404908 h 647509"/>
                <a:gd name="connsiteX417" fmla="*/ 106299 w 835437"/>
                <a:gd name="connsiteY417" fmla="*/ 405860 h 647509"/>
                <a:gd name="connsiteX418" fmla="*/ 106871 w 835437"/>
                <a:gd name="connsiteY418" fmla="*/ 410623 h 647509"/>
                <a:gd name="connsiteX419" fmla="*/ 110395 w 835437"/>
                <a:gd name="connsiteY419" fmla="*/ 413385 h 647509"/>
                <a:gd name="connsiteX420" fmla="*/ 114395 w 835437"/>
                <a:gd name="connsiteY420" fmla="*/ 419290 h 647509"/>
                <a:gd name="connsiteX421" fmla="*/ 121253 w 835437"/>
                <a:gd name="connsiteY421" fmla="*/ 423196 h 647509"/>
                <a:gd name="connsiteX422" fmla="*/ 110300 w 835437"/>
                <a:gd name="connsiteY422" fmla="*/ 437388 h 647509"/>
                <a:gd name="connsiteX423" fmla="*/ 111062 w 835437"/>
                <a:gd name="connsiteY423" fmla="*/ 443770 h 647509"/>
                <a:gd name="connsiteX424" fmla="*/ 116967 w 835437"/>
                <a:gd name="connsiteY424" fmla="*/ 439769 h 647509"/>
                <a:gd name="connsiteX425" fmla="*/ 122777 w 835437"/>
                <a:gd name="connsiteY425" fmla="*/ 447104 h 647509"/>
                <a:gd name="connsiteX426" fmla="*/ 136779 w 835437"/>
                <a:gd name="connsiteY426" fmla="*/ 443675 h 647509"/>
                <a:gd name="connsiteX427" fmla="*/ 146780 w 835437"/>
                <a:gd name="connsiteY427" fmla="*/ 447199 h 647509"/>
                <a:gd name="connsiteX428" fmla="*/ 148971 w 835437"/>
                <a:gd name="connsiteY428" fmla="*/ 451771 h 647509"/>
                <a:gd name="connsiteX429" fmla="*/ 150590 w 835437"/>
                <a:gd name="connsiteY429" fmla="*/ 451580 h 647509"/>
                <a:gd name="connsiteX430" fmla="*/ 150971 w 835437"/>
                <a:gd name="connsiteY430" fmla="*/ 454723 h 647509"/>
                <a:gd name="connsiteX431" fmla="*/ 149828 w 835437"/>
                <a:gd name="connsiteY431" fmla="*/ 458057 h 647509"/>
                <a:gd name="connsiteX432" fmla="*/ 154115 w 835437"/>
                <a:gd name="connsiteY432" fmla="*/ 467106 h 647509"/>
                <a:gd name="connsiteX433" fmla="*/ 154972 w 835437"/>
                <a:gd name="connsiteY433" fmla="*/ 473392 h 647509"/>
                <a:gd name="connsiteX434" fmla="*/ 158306 w 835437"/>
                <a:gd name="connsiteY434" fmla="*/ 474631 h 647509"/>
                <a:gd name="connsiteX435" fmla="*/ 163830 w 835437"/>
                <a:gd name="connsiteY435" fmla="*/ 467487 h 647509"/>
                <a:gd name="connsiteX436" fmla="*/ 168783 w 835437"/>
                <a:gd name="connsiteY436" fmla="*/ 468440 h 647509"/>
                <a:gd name="connsiteX437" fmla="*/ 170783 w 835437"/>
                <a:gd name="connsiteY437" fmla="*/ 471392 h 647509"/>
                <a:gd name="connsiteX438" fmla="*/ 171355 w 835437"/>
                <a:gd name="connsiteY438" fmla="*/ 476155 h 647509"/>
                <a:gd name="connsiteX439" fmla="*/ 182404 w 835437"/>
                <a:gd name="connsiteY439" fmla="*/ 487585 h 647509"/>
                <a:gd name="connsiteX440" fmla="*/ 184785 w 835437"/>
                <a:gd name="connsiteY440" fmla="*/ 493681 h 647509"/>
                <a:gd name="connsiteX441" fmla="*/ 190881 w 835437"/>
                <a:gd name="connsiteY441" fmla="*/ 491300 h 647509"/>
                <a:gd name="connsiteX442" fmla="*/ 191548 w 835437"/>
                <a:gd name="connsiteY442" fmla="*/ 496062 h 647509"/>
                <a:gd name="connsiteX443" fmla="*/ 196691 w 835437"/>
                <a:gd name="connsiteY443" fmla="*/ 498634 h 647509"/>
                <a:gd name="connsiteX444" fmla="*/ 207740 w 835437"/>
                <a:gd name="connsiteY444" fmla="*/ 497205 h 647509"/>
                <a:gd name="connsiteX445" fmla="*/ 207931 w 835437"/>
                <a:gd name="connsiteY445" fmla="*/ 498729 h 647509"/>
                <a:gd name="connsiteX446" fmla="*/ 203740 w 835437"/>
                <a:gd name="connsiteY446" fmla="*/ 504063 h 647509"/>
                <a:gd name="connsiteX447" fmla="*/ 208693 w 835437"/>
                <a:gd name="connsiteY447" fmla="*/ 505111 h 647509"/>
                <a:gd name="connsiteX448" fmla="*/ 207550 w 835437"/>
                <a:gd name="connsiteY448" fmla="*/ 508444 h 647509"/>
                <a:gd name="connsiteX449" fmla="*/ 218789 w 835437"/>
                <a:gd name="connsiteY449" fmla="*/ 508635 h 647509"/>
                <a:gd name="connsiteX450" fmla="*/ 222504 w 835437"/>
                <a:gd name="connsiteY450" fmla="*/ 512921 h 647509"/>
                <a:gd name="connsiteX451" fmla="*/ 227267 w 835437"/>
                <a:gd name="connsiteY451" fmla="*/ 512350 h 647509"/>
                <a:gd name="connsiteX452" fmla="*/ 231077 w 835437"/>
                <a:gd name="connsiteY452" fmla="*/ 516636 h 647509"/>
                <a:gd name="connsiteX453" fmla="*/ 230029 w 835437"/>
                <a:gd name="connsiteY453" fmla="*/ 521589 h 647509"/>
                <a:gd name="connsiteX454" fmla="*/ 224123 w 835437"/>
                <a:gd name="connsiteY454" fmla="*/ 525590 h 647509"/>
                <a:gd name="connsiteX455" fmla="*/ 227743 w 835437"/>
                <a:gd name="connsiteY455" fmla="*/ 528352 h 647509"/>
                <a:gd name="connsiteX456" fmla="*/ 226695 w 835437"/>
                <a:gd name="connsiteY456" fmla="*/ 533209 h 647509"/>
                <a:gd name="connsiteX457" fmla="*/ 234410 w 835437"/>
                <a:gd name="connsiteY457" fmla="*/ 530638 h 647509"/>
                <a:gd name="connsiteX458" fmla="*/ 237173 w 835437"/>
                <a:gd name="connsiteY458" fmla="*/ 527113 h 647509"/>
                <a:gd name="connsiteX459" fmla="*/ 243269 w 835437"/>
                <a:gd name="connsiteY459" fmla="*/ 524732 h 647509"/>
                <a:gd name="connsiteX460" fmla="*/ 244697 w 835437"/>
                <a:gd name="connsiteY460" fmla="*/ 522923 h 647509"/>
                <a:gd name="connsiteX461" fmla="*/ 247841 w 835437"/>
                <a:gd name="connsiteY461" fmla="*/ 522542 h 647509"/>
                <a:gd name="connsiteX462" fmla="*/ 254699 w 835437"/>
                <a:gd name="connsiteY462" fmla="*/ 526447 h 647509"/>
                <a:gd name="connsiteX463" fmla="*/ 253556 w 835437"/>
                <a:gd name="connsiteY463" fmla="*/ 529876 h 647509"/>
                <a:gd name="connsiteX464" fmla="*/ 259271 w 835437"/>
                <a:gd name="connsiteY464" fmla="*/ 537115 h 647509"/>
                <a:gd name="connsiteX465" fmla="*/ 267557 w 835437"/>
                <a:gd name="connsiteY465" fmla="*/ 539306 h 647509"/>
                <a:gd name="connsiteX466" fmla="*/ 273558 w 835437"/>
                <a:gd name="connsiteY466" fmla="*/ 548164 h 647509"/>
                <a:gd name="connsiteX467" fmla="*/ 270796 w 835437"/>
                <a:gd name="connsiteY467" fmla="*/ 551688 h 647509"/>
                <a:gd name="connsiteX468" fmla="*/ 267462 w 835437"/>
                <a:gd name="connsiteY468" fmla="*/ 563309 h 647509"/>
                <a:gd name="connsiteX469" fmla="*/ 261176 w 835437"/>
                <a:gd name="connsiteY469" fmla="*/ 564166 h 647509"/>
                <a:gd name="connsiteX470" fmla="*/ 259747 w 835437"/>
                <a:gd name="connsiteY470" fmla="*/ 565976 h 647509"/>
                <a:gd name="connsiteX471" fmla="*/ 252889 w 835437"/>
                <a:gd name="connsiteY471" fmla="*/ 574834 h 647509"/>
                <a:gd name="connsiteX472" fmla="*/ 253460 w 835437"/>
                <a:gd name="connsiteY472" fmla="*/ 579596 h 647509"/>
                <a:gd name="connsiteX473" fmla="*/ 258032 w 835437"/>
                <a:gd name="connsiteY473" fmla="*/ 590169 h 647509"/>
                <a:gd name="connsiteX474" fmla="*/ 269272 w 835437"/>
                <a:gd name="connsiteY474" fmla="*/ 590360 h 647509"/>
                <a:gd name="connsiteX475" fmla="*/ 268129 w 835437"/>
                <a:gd name="connsiteY475" fmla="*/ 593693 h 647509"/>
                <a:gd name="connsiteX476" fmla="*/ 271272 w 835437"/>
                <a:gd name="connsiteY476" fmla="*/ 593312 h 647509"/>
                <a:gd name="connsiteX477" fmla="*/ 274987 w 835437"/>
                <a:gd name="connsiteY477" fmla="*/ 597694 h 647509"/>
                <a:gd name="connsiteX478" fmla="*/ 281940 w 835437"/>
                <a:gd name="connsiteY478" fmla="*/ 601599 h 647509"/>
                <a:gd name="connsiteX479" fmla="*/ 289846 w 835437"/>
                <a:gd name="connsiteY479" fmla="*/ 600551 h 647509"/>
                <a:gd name="connsiteX480" fmla="*/ 296704 w 835437"/>
                <a:gd name="connsiteY480" fmla="*/ 604552 h 647509"/>
                <a:gd name="connsiteX481" fmla="*/ 303467 w 835437"/>
                <a:gd name="connsiteY481" fmla="*/ 606838 h 647509"/>
                <a:gd name="connsiteX482" fmla="*/ 305467 w 835437"/>
                <a:gd name="connsiteY482" fmla="*/ 609790 h 647509"/>
                <a:gd name="connsiteX483" fmla="*/ 307658 w 835437"/>
                <a:gd name="connsiteY483" fmla="*/ 627221 h 647509"/>
                <a:gd name="connsiteX484" fmla="*/ 317754 w 835437"/>
                <a:gd name="connsiteY484" fmla="*/ 630745 h 647509"/>
                <a:gd name="connsiteX485" fmla="*/ 328803 w 835437"/>
                <a:gd name="connsiteY485" fmla="*/ 629317 h 647509"/>
                <a:gd name="connsiteX486" fmla="*/ 335852 w 835437"/>
                <a:gd name="connsiteY486" fmla="*/ 634841 h 647509"/>
                <a:gd name="connsiteX487" fmla="*/ 338519 w 835437"/>
                <a:gd name="connsiteY487" fmla="*/ 642461 h 647509"/>
                <a:gd name="connsiteX488" fmla="*/ 342424 w 835437"/>
                <a:gd name="connsiteY488" fmla="*/ 635603 h 647509"/>
                <a:gd name="connsiteX489" fmla="*/ 349091 w 835437"/>
                <a:gd name="connsiteY489" fmla="*/ 637889 h 647509"/>
                <a:gd name="connsiteX490" fmla="*/ 349282 w 835437"/>
                <a:gd name="connsiteY490" fmla="*/ 626650 h 647509"/>
                <a:gd name="connsiteX491" fmla="*/ 352235 w 835437"/>
                <a:gd name="connsiteY491" fmla="*/ 624745 h 647509"/>
                <a:gd name="connsiteX492" fmla="*/ 356997 w 835437"/>
                <a:gd name="connsiteY492" fmla="*/ 624078 h 647509"/>
                <a:gd name="connsiteX493" fmla="*/ 356616 w 835437"/>
                <a:gd name="connsiteY493" fmla="*/ 620935 h 647509"/>
                <a:gd name="connsiteX494" fmla="*/ 359950 w 835437"/>
                <a:gd name="connsiteY494" fmla="*/ 622173 h 647509"/>
                <a:gd name="connsiteX495" fmla="*/ 359569 w 835437"/>
                <a:gd name="connsiteY495" fmla="*/ 618935 h 647509"/>
                <a:gd name="connsiteX496" fmla="*/ 373761 w 835437"/>
                <a:gd name="connsiteY496" fmla="*/ 617125 h 647509"/>
                <a:gd name="connsiteX497" fmla="*/ 383762 w 835437"/>
                <a:gd name="connsiteY497" fmla="*/ 620649 h 647509"/>
                <a:gd name="connsiteX498" fmla="*/ 389382 w 835437"/>
                <a:gd name="connsiteY498" fmla="*/ 626364 h 647509"/>
                <a:gd name="connsiteX499" fmla="*/ 391192 w 835437"/>
                <a:gd name="connsiteY499" fmla="*/ 640652 h 647509"/>
                <a:gd name="connsiteX500" fmla="*/ 393097 w 835437"/>
                <a:gd name="connsiteY500" fmla="*/ 643604 h 647509"/>
                <a:gd name="connsiteX501" fmla="*/ 391763 w 835437"/>
                <a:gd name="connsiteY501" fmla="*/ 645319 h 647509"/>
                <a:gd name="connsiteX502" fmla="*/ 400050 w 835437"/>
                <a:gd name="connsiteY502" fmla="*/ 647510 h 647509"/>
                <a:gd name="connsiteX503" fmla="*/ 399479 w 835437"/>
                <a:gd name="connsiteY503" fmla="*/ 642747 h 647509"/>
                <a:gd name="connsiteX504" fmla="*/ 398050 w 835437"/>
                <a:gd name="connsiteY504" fmla="*/ 631698 h 647509"/>
                <a:gd name="connsiteX505" fmla="*/ 394526 w 835437"/>
                <a:gd name="connsiteY505" fmla="*/ 628936 h 647509"/>
                <a:gd name="connsiteX506" fmla="*/ 394240 w 835437"/>
                <a:gd name="connsiteY506" fmla="*/ 627412 h 647509"/>
                <a:gd name="connsiteX507" fmla="*/ 406718 w 835437"/>
                <a:gd name="connsiteY507" fmla="*/ 624173 h 647509"/>
                <a:gd name="connsiteX508" fmla="*/ 421100 w 835437"/>
                <a:gd name="connsiteY508" fmla="*/ 623983 h 647509"/>
                <a:gd name="connsiteX509" fmla="*/ 419862 w 835437"/>
                <a:gd name="connsiteY509" fmla="*/ 614458 h 647509"/>
                <a:gd name="connsiteX510" fmla="*/ 414338 w 835437"/>
                <a:gd name="connsiteY510" fmla="*/ 608743 h 647509"/>
                <a:gd name="connsiteX511" fmla="*/ 415766 w 835437"/>
                <a:gd name="connsiteY511" fmla="*/ 607028 h 647509"/>
                <a:gd name="connsiteX512" fmla="*/ 422434 w 835437"/>
                <a:gd name="connsiteY512" fmla="*/ 609314 h 647509"/>
                <a:gd name="connsiteX513" fmla="*/ 429387 w 835437"/>
                <a:gd name="connsiteY513" fmla="*/ 613315 h 647509"/>
                <a:gd name="connsiteX514" fmla="*/ 434150 w 835437"/>
                <a:gd name="connsiteY514" fmla="*/ 612648 h 647509"/>
                <a:gd name="connsiteX515" fmla="*/ 442532 w 835437"/>
                <a:gd name="connsiteY515" fmla="*/ 603599 h 647509"/>
                <a:gd name="connsiteX516" fmla="*/ 443770 w 835437"/>
                <a:gd name="connsiteY516" fmla="*/ 600265 h 647509"/>
                <a:gd name="connsiteX517" fmla="*/ 449104 w 835437"/>
                <a:gd name="connsiteY517" fmla="*/ 604361 h 647509"/>
                <a:gd name="connsiteX518" fmla="*/ 455200 w 835437"/>
                <a:gd name="connsiteY518" fmla="*/ 601980 h 647509"/>
                <a:gd name="connsiteX519" fmla="*/ 456533 w 835437"/>
                <a:gd name="connsiteY519" fmla="*/ 600170 h 647509"/>
                <a:gd name="connsiteX520" fmla="*/ 457962 w 835437"/>
                <a:gd name="connsiteY520" fmla="*/ 598456 h 647509"/>
                <a:gd name="connsiteX521" fmla="*/ 459962 w 835437"/>
                <a:gd name="connsiteY521" fmla="*/ 601408 h 647509"/>
                <a:gd name="connsiteX522" fmla="*/ 463677 w 835437"/>
                <a:gd name="connsiteY522" fmla="*/ 605695 h 647509"/>
                <a:gd name="connsiteX523" fmla="*/ 469392 w 835437"/>
                <a:gd name="connsiteY523" fmla="*/ 600170 h 647509"/>
                <a:gd name="connsiteX524" fmla="*/ 473964 w 835437"/>
                <a:gd name="connsiteY524" fmla="*/ 597980 h 647509"/>
                <a:gd name="connsiteX525" fmla="*/ 474917 w 835437"/>
                <a:gd name="connsiteY525" fmla="*/ 593027 h 647509"/>
                <a:gd name="connsiteX526" fmla="*/ 479870 w 835437"/>
                <a:gd name="connsiteY526" fmla="*/ 593979 h 647509"/>
                <a:gd name="connsiteX527" fmla="*/ 483394 w 835437"/>
                <a:gd name="connsiteY527" fmla="*/ 596741 h 647509"/>
                <a:gd name="connsiteX528" fmla="*/ 489680 w 835437"/>
                <a:gd name="connsiteY528" fmla="*/ 595979 h 647509"/>
                <a:gd name="connsiteX529" fmla="*/ 493109 w 835437"/>
                <a:gd name="connsiteY529" fmla="*/ 597122 h 647509"/>
                <a:gd name="connsiteX530" fmla="*/ 492062 w 835437"/>
                <a:gd name="connsiteY530" fmla="*/ 602075 h 647509"/>
                <a:gd name="connsiteX531" fmla="*/ 495014 w 835437"/>
                <a:gd name="connsiteY531" fmla="*/ 600075 h 647509"/>
                <a:gd name="connsiteX532" fmla="*/ 493871 w 835437"/>
                <a:gd name="connsiteY532" fmla="*/ 603504 h 647509"/>
                <a:gd name="connsiteX533" fmla="*/ 495872 w 835437"/>
                <a:gd name="connsiteY533" fmla="*/ 606457 h 647509"/>
                <a:gd name="connsiteX534" fmla="*/ 499015 w 835437"/>
                <a:gd name="connsiteY534" fmla="*/ 605981 h 647509"/>
                <a:gd name="connsiteX535" fmla="*/ 498634 w 835437"/>
                <a:gd name="connsiteY535" fmla="*/ 602837 h 647509"/>
                <a:gd name="connsiteX536" fmla="*/ 503777 w 835437"/>
                <a:gd name="connsiteY536" fmla="*/ 605409 h 647509"/>
                <a:gd name="connsiteX537" fmla="*/ 509683 w 835437"/>
                <a:gd name="connsiteY537" fmla="*/ 601408 h 647509"/>
                <a:gd name="connsiteX538" fmla="*/ 516731 w 835437"/>
                <a:gd name="connsiteY538" fmla="*/ 606933 h 647509"/>
                <a:gd name="connsiteX539" fmla="*/ 517779 w 835437"/>
                <a:gd name="connsiteY539" fmla="*/ 614839 h 647509"/>
                <a:gd name="connsiteX540" fmla="*/ 520732 w 835437"/>
                <a:gd name="connsiteY540" fmla="*/ 612839 h 647509"/>
                <a:gd name="connsiteX541" fmla="*/ 527018 w 835437"/>
                <a:gd name="connsiteY541" fmla="*/ 612077 h 647509"/>
                <a:gd name="connsiteX542" fmla="*/ 536924 w 835437"/>
                <a:gd name="connsiteY542" fmla="*/ 613982 h 647509"/>
                <a:gd name="connsiteX543" fmla="*/ 543592 w 835437"/>
                <a:gd name="connsiteY543" fmla="*/ 603504 h 647509"/>
                <a:gd name="connsiteX544" fmla="*/ 550069 w 835437"/>
                <a:gd name="connsiteY544" fmla="*/ 604266 h 647509"/>
                <a:gd name="connsiteX545" fmla="*/ 555212 w 835437"/>
                <a:gd name="connsiteY545" fmla="*/ 606838 h 647509"/>
                <a:gd name="connsiteX546" fmla="*/ 555689 w 835437"/>
                <a:gd name="connsiteY546" fmla="*/ 609981 h 647509"/>
                <a:gd name="connsiteX547" fmla="*/ 559403 w 835437"/>
                <a:gd name="connsiteY547" fmla="*/ 614362 h 647509"/>
                <a:gd name="connsiteX548" fmla="*/ 568071 w 835437"/>
                <a:gd name="connsiteY548" fmla="*/ 619697 h 647509"/>
                <a:gd name="connsiteX549" fmla="*/ 571500 w 835437"/>
                <a:gd name="connsiteY549" fmla="*/ 620840 h 647509"/>
                <a:gd name="connsiteX550" fmla="*/ 571310 w 835437"/>
                <a:gd name="connsiteY550" fmla="*/ 619220 h 647509"/>
                <a:gd name="connsiteX551" fmla="*/ 570452 w 835437"/>
                <a:gd name="connsiteY551" fmla="*/ 612934 h 647509"/>
                <a:gd name="connsiteX552" fmla="*/ 577215 w 835437"/>
                <a:gd name="connsiteY552" fmla="*/ 615315 h 647509"/>
                <a:gd name="connsiteX553" fmla="*/ 576929 w 835437"/>
                <a:gd name="connsiteY553" fmla="*/ 613696 h 647509"/>
                <a:gd name="connsiteX554" fmla="*/ 576739 w 835437"/>
                <a:gd name="connsiteY554" fmla="*/ 612172 h 647509"/>
                <a:gd name="connsiteX555" fmla="*/ 579882 w 835437"/>
                <a:gd name="connsiteY555" fmla="*/ 611791 h 647509"/>
                <a:gd name="connsiteX556" fmla="*/ 584073 w 835437"/>
                <a:gd name="connsiteY556" fmla="*/ 606361 h 647509"/>
                <a:gd name="connsiteX557" fmla="*/ 587026 w 835437"/>
                <a:gd name="connsiteY557" fmla="*/ 604457 h 647509"/>
                <a:gd name="connsiteX558" fmla="*/ 589788 w 835437"/>
                <a:gd name="connsiteY558" fmla="*/ 600837 h 647509"/>
                <a:gd name="connsiteX559" fmla="*/ 593122 w 835437"/>
                <a:gd name="connsiteY559" fmla="*/ 602075 h 647509"/>
                <a:gd name="connsiteX560" fmla="*/ 594455 w 835437"/>
                <a:gd name="connsiteY560" fmla="*/ 600265 h 647509"/>
                <a:gd name="connsiteX561" fmla="*/ 598646 w 835437"/>
                <a:gd name="connsiteY561" fmla="*/ 594932 h 647509"/>
                <a:gd name="connsiteX562" fmla="*/ 598075 w 835437"/>
                <a:gd name="connsiteY562" fmla="*/ 590169 h 647509"/>
                <a:gd name="connsiteX563" fmla="*/ 592931 w 835437"/>
                <a:gd name="connsiteY563" fmla="*/ 587597 h 647509"/>
                <a:gd name="connsiteX564" fmla="*/ 597408 w 835437"/>
                <a:gd name="connsiteY564" fmla="*/ 585407 h 647509"/>
                <a:gd name="connsiteX565" fmla="*/ 594074 w 835437"/>
                <a:gd name="connsiteY565" fmla="*/ 584264 h 647509"/>
                <a:gd name="connsiteX566" fmla="*/ 597027 w 835437"/>
                <a:gd name="connsiteY566" fmla="*/ 582263 h 647509"/>
                <a:gd name="connsiteX567" fmla="*/ 600361 w 835437"/>
                <a:gd name="connsiteY567" fmla="*/ 583502 h 647509"/>
                <a:gd name="connsiteX568" fmla="*/ 599980 w 835437"/>
                <a:gd name="connsiteY568" fmla="*/ 580358 h 647509"/>
                <a:gd name="connsiteX569" fmla="*/ 599980 w 835437"/>
                <a:gd name="connsiteY569" fmla="*/ 580358 h 647509"/>
                <a:gd name="connsiteX570" fmla="*/ 592074 w 835437"/>
                <a:gd name="connsiteY570" fmla="*/ 568452 h 647509"/>
                <a:gd name="connsiteX571" fmla="*/ 592646 w 835437"/>
                <a:gd name="connsiteY571" fmla="*/ 560451 h 647509"/>
                <a:gd name="connsiteX572" fmla="*/ 596932 w 835437"/>
                <a:gd name="connsiteY572" fmla="*/ 556641 h 647509"/>
                <a:gd name="connsiteX573" fmla="*/ 604838 w 835437"/>
                <a:gd name="connsiteY573" fmla="*/ 555688 h 647509"/>
                <a:gd name="connsiteX574" fmla="*/ 614934 w 835437"/>
                <a:gd name="connsiteY574" fmla="*/ 559213 h 647509"/>
                <a:gd name="connsiteX575" fmla="*/ 617315 w 835437"/>
                <a:gd name="connsiteY575" fmla="*/ 552450 h 647509"/>
                <a:gd name="connsiteX576" fmla="*/ 622459 w 835437"/>
                <a:gd name="connsiteY576" fmla="*/ 555022 h 647509"/>
                <a:gd name="connsiteX577" fmla="*/ 621030 w 835437"/>
                <a:gd name="connsiteY577" fmla="*/ 556832 h 647509"/>
                <a:gd name="connsiteX578" fmla="*/ 624173 w 835437"/>
                <a:gd name="connsiteY578" fmla="*/ 556355 h 647509"/>
                <a:gd name="connsiteX579" fmla="*/ 622554 w 835437"/>
                <a:gd name="connsiteY579" fmla="*/ 543782 h 647509"/>
                <a:gd name="connsiteX580" fmla="*/ 632079 w 835437"/>
                <a:gd name="connsiteY580" fmla="*/ 542544 h 647509"/>
                <a:gd name="connsiteX581" fmla="*/ 635794 w 835437"/>
                <a:gd name="connsiteY581" fmla="*/ 546926 h 647509"/>
                <a:gd name="connsiteX582" fmla="*/ 638556 w 835437"/>
                <a:gd name="connsiteY582" fmla="*/ 543306 h 647509"/>
                <a:gd name="connsiteX583" fmla="*/ 638175 w 835437"/>
                <a:gd name="connsiteY583" fmla="*/ 540163 h 647509"/>
                <a:gd name="connsiteX584" fmla="*/ 642652 w 835437"/>
                <a:gd name="connsiteY584" fmla="*/ 537972 h 647509"/>
                <a:gd name="connsiteX585" fmla="*/ 642461 w 835437"/>
                <a:gd name="connsiteY585" fmla="*/ 536448 h 647509"/>
                <a:gd name="connsiteX586" fmla="*/ 647414 w 835437"/>
                <a:gd name="connsiteY586" fmla="*/ 537401 h 647509"/>
                <a:gd name="connsiteX587" fmla="*/ 650176 w 835437"/>
                <a:gd name="connsiteY587" fmla="*/ 533781 h 647509"/>
                <a:gd name="connsiteX588" fmla="*/ 649605 w 835437"/>
                <a:gd name="connsiteY588" fmla="*/ 529114 h 647509"/>
                <a:gd name="connsiteX589" fmla="*/ 656082 w 835437"/>
                <a:gd name="connsiteY589" fmla="*/ 529876 h 647509"/>
                <a:gd name="connsiteX590" fmla="*/ 659035 w 835437"/>
                <a:gd name="connsiteY590" fmla="*/ 527876 h 647509"/>
                <a:gd name="connsiteX591" fmla="*/ 659987 w 835437"/>
                <a:gd name="connsiteY591" fmla="*/ 522923 h 647509"/>
                <a:gd name="connsiteX592" fmla="*/ 662940 w 835437"/>
                <a:gd name="connsiteY592" fmla="*/ 521017 h 647509"/>
                <a:gd name="connsiteX593" fmla="*/ 671227 w 835437"/>
                <a:gd name="connsiteY593" fmla="*/ 523113 h 647509"/>
                <a:gd name="connsiteX594" fmla="*/ 675418 w 835437"/>
                <a:gd name="connsiteY594" fmla="*/ 517779 h 647509"/>
                <a:gd name="connsiteX595" fmla="*/ 675227 w 835437"/>
                <a:gd name="connsiteY595" fmla="*/ 516160 h 647509"/>
                <a:gd name="connsiteX596" fmla="*/ 672084 w 835437"/>
                <a:gd name="connsiteY596" fmla="*/ 516636 h 647509"/>
                <a:gd name="connsiteX597" fmla="*/ 670274 w 835437"/>
                <a:gd name="connsiteY597" fmla="*/ 515207 h 647509"/>
                <a:gd name="connsiteX598" fmla="*/ 672846 w 835437"/>
                <a:gd name="connsiteY598" fmla="*/ 510064 h 647509"/>
                <a:gd name="connsiteX599" fmla="*/ 677990 w 835437"/>
                <a:gd name="connsiteY599" fmla="*/ 512636 h 647509"/>
                <a:gd name="connsiteX600" fmla="*/ 682657 w 835437"/>
                <a:gd name="connsiteY600" fmla="*/ 512064 h 647509"/>
                <a:gd name="connsiteX601" fmla="*/ 681514 w 835437"/>
                <a:gd name="connsiteY601" fmla="*/ 502539 h 647509"/>
                <a:gd name="connsiteX602" fmla="*/ 682847 w 835437"/>
                <a:gd name="connsiteY602" fmla="*/ 500825 h 647509"/>
                <a:gd name="connsiteX603" fmla="*/ 683038 w 835437"/>
                <a:gd name="connsiteY603" fmla="*/ 502348 h 647509"/>
                <a:gd name="connsiteX604" fmla="*/ 685991 w 835437"/>
                <a:gd name="connsiteY604" fmla="*/ 500444 h 647509"/>
                <a:gd name="connsiteX605" fmla="*/ 687419 w 835437"/>
                <a:gd name="connsiteY605" fmla="*/ 498634 h 647509"/>
                <a:gd name="connsiteX606" fmla="*/ 693134 w 835437"/>
                <a:gd name="connsiteY606" fmla="*/ 493109 h 647509"/>
                <a:gd name="connsiteX607" fmla="*/ 693896 w 835437"/>
                <a:gd name="connsiteY607" fmla="*/ 499396 h 647509"/>
                <a:gd name="connsiteX608" fmla="*/ 695325 w 835437"/>
                <a:gd name="connsiteY608" fmla="*/ 497586 h 647509"/>
                <a:gd name="connsiteX609" fmla="*/ 696087 w 835437"/>
                <a:gd name="connsiteY609" fmla="*/ 503968 h 647509"/>
                <a:gd name="connsiteX610" fmla="*/ 699611 w 835437"/>
                <a:gd name="connsiteY610" fmla="*/ 506635 h 647509"/>
                <a:gd name="connsiteX611" fmla="*/ 702374 w 835437"/>
                <a:gd name="connsiteY611" fmla="*/ 503111 h 647509"/>
                <a:gd name="connsiteX612" fmla="*/ 707898 w 835437"/>
                <a:gd name="connsiteY612" fmla="*/ 508825 h 647509"/>
                <a:gd name="connsiteX613" fmla="*/ 712089 w 835437"/>
                <a:gd name="connsiteY613" fmla="*/ 503492 h 647509"/>
                <a:gd name="connsiteX614" fmla="*/ 715804 w 835437"/>
                <a:gd name="connsiteY614" fmla="*/ 507778 h 647509"/>
                <a:gd name="connsiteX615" fmla="*/ 715613 w 835437"/>
                <a:gd name="connsiteY615" fmla="*/ 506254 h 647509"/>
                <a:gd name="connsiteX616" fmla="*/ 720566 w 835437"/>
                <a:gd name="connsiteY616" fmla="*/ 507206 h 647509"/>
                <a:gd name="connsiteX617" fmla="*/ 728091 w 835437"/>
                <a:gd name="connsiteY617" fmla="*/ 503015 h 647509"/>
                <a:gd name="connsiteX618" fmla="*/ 728472 w 835437"/>
                <a:gd name="connsiteY618" fmla="*/ 506254 h 647509"/>
                <a:gd name="connsiteX619" fmla="*/ 726853 w 835437"/>
                <a:gd name="connsiteY619" fmla="*/ 506444 h 647509"/>
                <a:gd name="connsiteX620" fmla="*/ 733616 w 835437"/>
                <a:gd name="connsiteY620" fmla="*/ 508730 h 647509"/>
                <a:gd name="connsiteX621" fmla="*/ 734949 w 835437"/>
                <a:gd name="connsiteY621" fmla="*/ 507016 h 647509"/>
                <a:gd name="connsiteX622" fmla="*/ 736568 w 835437"/>
                <a:gd name="connsiteY622" fmla="*/ 506825 h 647509"/>
                <a:gd name="connsiteX623" fmla="*/ 737330 w 835437"/>
                <a:gd name="connsiteY623" fmla="*/ 513112 h 647509"/>
                <a:gd name="connsiteX624" fmla="*/ 738950 w 835437"/>
                <a:gd name="connsiteY624" fmla="*/ 512921 h 647509"/>
                <a:gd name="connsiteX625" fmla="*/ 738759 w 835437"/>
                <a:gd name="connsiteY625" fmla="*/ 511302 h 647509"/>
                <a:gd name="connsiteX626" fmla="*/ 742283 w 835437"/>
                <a:gd name="connsiteY626" fmla="*/ 514064 h 647509"/>
                <a:gd name="connsiteX627" fmla="*/ 743903 w 835437"/>
                <a:gd name="connsiteY627" fmla="*/ 513874 h 647509"/>
                <a:gd name="connsiteX628" fmla="*/ 745808 w 835437"/>
                <a:gd name="connsiteY628" fmla="*/ 516827 h 647509"/>
                <a:gd name="connsiteX629" fmla="*/ 747427 w 835437"/>
                <a:gd name="connsiteY629" fmla="*/ 516636 h 647509"/>
                <a:gd name="connsiteX630" fmla="*/ 749237 w 835437"/>
                <a:gd name="connsiteY630" fmla="*/ 517969 h 647509"/>
                <a:gd name="connsiteX631" fmla="*/ 749999 w 835437"/>
                <a:gd name="connsiteY631" fmla="*/ 524351 h 647509"/>
                <a:gd name="connsiteX632" fmla="*/ 751808 w 835437"/>
                <a:gd name="connsiteY632" fmla="*/ 525685 h 647509"/>
                <a:gd name="connsiteX633" fmla="*/ 752189 w 835437"/>
                <a:gd name="connsiteY633" fmla="*/ 516065 h 647509"/>
                <a:gd name="connsiteX634" fmla="*/ 753713 w 835437"/>
                <a:gd name="connsiteY634" fmla="*/ 515779 h 647509"/>
                <a:gd name="connsiteX635" fmla="*/ 752761 w 835437"/>
                <a:gd name="connsiteY635" fmla="*/ 520732 h 647509"/>
                <a:gd name="connsiteX636" fmla="*/ 754761 w 835437"/>
                <a:gd name="connsiteY636" fmla="*/ 523684 h 647509"/>
                <a:gd name="connsiteX637" fmla="*/ 760095 w 835437"/>
                <a:gd name="connsiteY637" fmla="*/ 527876 h 647509"/>
                <a:gd name="connsiteX638" fmla="*/ 769334 w 835437"/>
                <a:gd name="connsiteY638" fmla="*/ 537877 h 647509"/>
                <a:gd name="connsiteX639" fmla="*/ 781241 w 835437"/>
                <a:gd name="connsiteY639" fmla="*/ 542830 h 647509"/>
                <a:gd name="connsiteX640" fmla="*/ 785717 w 835437"/>
                <a:gd name="connsiteY640" fmla="*/ 540639 h 647509"/>
                <a:gd name="connsiteX641" fmla="*/ 788765 w 835437"/>
                <a:gd name="connsiteY641" fmla="*/ 538639 h 647509"/>
                <a:gd name="connsiteX642" fmla="*/ 784574 w 835437"/>
                <a:gd name="connsiteY642" fmla="*/ 531114 h 647509"/>
                <a:gd name="connsiteX643" fmla="*/ 783336 w 835437"/>
                <a:gd name="connsiteY643" fmla="*/ 521684 h 647509"/>
                <a:gd name="connsiteX644" fmla="*/ 788480 w 835437"/>
                <a:gd name="connsiteY644" fmla="*/ 511397 h 647509"/>
                <a:gd name="connsiteX645" fmla="*/ 793147 w 835437"/>
                <a:gd name="connsiteY645" fmla="*/ 510826 h 647509"/>
                <a:gd name="connsiteX646" fmla="*/ 792766 w 835437"/>
                <a:gd name="connsiteY646" fmla="*/ 507682 h 647509"/>
                <a:gd name="connsiteX647" fmla="*/ 787813 w 835437"/>
                <a:gd name="connsiteY647" fmla="*/ 493871 h 647509"/>
                <a:gd name="connsiteX648" fmla="*/ 790956 w 835437"/>
                <a:gd name="connsiteY648" fmla="*/ 493395 h 647509"/>
                <a:gd name="connsiteX649" fmla="*/ 787432 w 835437"/>
                <a:gd name="connsiteY649" fmla="*/ 490728 h 647509"/>
                <a:gd name="connsiteX650" fmla="*/ 784098 w 835437"/>
                <a:gd name="connsiteY650" fmla="*/ 489490 h 647509"/>
                <a:gd name="connsiteX651" fmla="*/ 785241 w 835437"/>
                <a:gd name="connsiteY651" fmla="*/ 486156 h 647509"/>
                <a:gd name="connsiteX652" fmla="*/ 788194 w 835437"/>
                <a:gd name="connsiteY652" fmla="*/ 484156 h 647509"/>
                <a:gd name="connsiteX653" fmla="*/ 784670 w 835437"/>
                <a:gd name="connsiteY653" fmla="*/ 481394 h 647509"/>
                <a:gd name="connsiteX654" fmla="*/ 790956 w 835437"/>
                <a:gd name="connsiteY654" fmla="*/ 480632 h 647509"/>
                <a:gd name="connsiteX655" fmla="*/ 792956 w 835437"/>
                <a:gd name="connsiteY655" fmla="*/ 483584 h 647509"/>
                <a:gd name="connsiteX656" fmla="*/ 796290 w 835437"/>
                <a:gd name="connsiteY656" fmla="*/ 484727 h 647509"/>
                <a:gd name="connsiteX657" fmla="*/ 797243 w 835437"/>
                <a:gd name="connsiteY657" fmla="*/ 479774 h 647509"/>
                <a:gd name="connsiteX658" fmla="*/ 798100 w 835437"/>
                <a:gd name="connsiteY658" fmla="*/ 486156 h 647509"/>
                <a:gd name="connsiteX659" fmla="*/ 802767 w 835437"/>
                <a:gd name="connsiteY659" fmla="*/ 485489 h 647509"/>
                <a:gd name="connsiteX660" fmla="*/ 802005 w 835437"/>
                <a:gd name="connsiteY660" fmla="*/ 479203 h 647509"/>
                <a:gd name="connsiteX661" fmla="*/ 803529 w 835437"/>
                <a:gd name="connsiteY661" fmla="*/ 479012 h 647509"/>
                <a:gd name="connsiteX662" fmla="*/ 810101 w 835437"/>
                <a:gd name="connsiteY662" fmla="*/ 479774 h 647509"/>
                <a:gd name="connsiteX663" fmla="*/ 814578 w 835437"/>
                <a:gd name="connsiteY663" fmla="*/ 477584 h 647509"/>
                <a:gd name="connsiteX664" fmla="*/ 819531 w 835437"/>
                <a:gd name="connsiteY664" fmla="*/ 478536 h 647509"/>
                <a:gd name="connsiteX665" fmla="*/ 820960 w 835437"/>
                <a:gd name="connsiteY665" fmla="*/ 476821 h 647509"/>
                <a:gd name="connsiteX666" fmla="*/ 816578 w 835437"/>
                <a:gd name="connsiteY666" fmla="*/ 467773 h 647509"/>
                <a:gd name="connsiteX667" fmla="*/ 818388 w 835437"/>
                <a:gd name="connsiteY667" fmla="*/ 469106 h 647509"/>
                <a:gd name="connsiteX668" fmla="*/ 822103 w 835437"/>
                <a:gd name="connsiteY668" fmla="*/ 473392 h 647509"/>
                <a:gd name="connsiteX669" fmla="*/ 823436 w 835437"/>
                <a:gd name="connsiteY669" fmla="*/ 471678 h 647509"/>
                <a:gd name="connsiteX670" fmla="*/ 829628 w 835437"/>
                <a:gd name="connsiteY670" fmla="*/ 469297 h 647509"/>
                <a:gd name="connsiteX671" fmla="*/ 830390 w 835437"/>
                <a:gd name="connsiteY671" fmla="*/ 462725 h 647509"/>
                <a:gd name="connsiteX672" fmla="*/ 833152 w 835437"/>
                <a:gd name="connsiteY672" fmla="*/ 459200 h 647509"/>
                <a:gd name="connsiteX673" fmla="*/ 832485 w 835437"/>
                <a:gd name="connsiteY673" fmla="*/ 454438 h 647509"/>
                <a:gd name="connsiteX674" fmla="*/ 830771 w 835437"/>
                <a:gd name="connsiteY674" fmla="*/ 453104 h 647509"/>
                <a:gd name="connsiteX675" fmla="*/ 830294 w 835437"/>
                <a:gd name="connsiteY675" fmla="*/ 449961 h 647509"/>
                <a:gd name="connsiteX676" fmla="*/ 822674 w 835437"/>
                <a:gd name="connsiteY676" fmla="*/ 452533 h 647509"/>
                <a:gd name="connsiteX677" fmla="*/ 819055 w 835437"/>
                <a:gd name="connsiteY677" fmla="*/ 449771 h 647509"/>
                <a:gd name="connsiteX678" fmla="*/ 827913 w 835437"/>
                <a:gd name="connsiteY678" fmla="*/ 431006 h 647509"/>
                <a:gd name="connsiteX679" fmla="*/ 825913 w 835437"/>
                <a:gd name="connsiteY679" fmla="*/ 428054 h 647509"/>
                <a:gd name="connsiteX680" fmla="*/ 822579 w 835437"/>
                <a:gd name="connsiteY680" fmla="*/ 426911 h 647509"/>
                <a:gd name="connsiteX681" fmla="*/ 822389 w 835437"/>
                <a:gd name="connsiteY681" fmla="*/ 425291 h 647509"/>
                <a:gd name="connsiteX682" fmla="*/ 827151 w 835437"/>
                <a:gd name="connsiteY682" fmla="*/ 424720 h 647509"/>
                <a:gd name="connsiteX683" fmla="*/ 829056 w 835437"/>
                <a:gd name="connsiteY683" fmla="*/ 427673 h 647509"/>
                <a:gd name="connsiteX684" fmla="*/ 832485 w 835437"/>
                <a:gd name="connsiteY684" fmla="*/ 428815 h 647509"/>
                <a:gd name="connsiteX685" fmla="*/ 835438 w 835437"/>
                <a:gd name="connsiteY685" fmla="*/ 426815 h 647509"/>
                <a:gd name="connsiteX686" fmla="*/ 835247 w 835437"/>
                <a:gd name="connsiteY686" fmla="*/ 425291 h 647509"/>
                <a:gd name="connsiteX687" fmla="*/ 831818 w 835437"/>
                <a:gd name="connsiteY687" fmla="*/ 424053 h 647509"/>
                <a:gd name="connsiteX688" fmla="*/ 833057 w 835437"/>
                <a:gd name="connsiteY688" fmla="*/ 420719 h 647509"/>
                <a:gd name="connsiteX689" fmla="*/ 833057 w 835437"/>
                <a:gd name="connsiteY689" fmla="*/ 420719 h 647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</a:cxnLst>
              <a:rect l="l" t="t" r="r" b="b"/>
              <a:pathLst>
                <a:path w="835437" h="647509">
                  <a:moveTo>
                    <a:pt x="833057" y="420719"/>
                  </a:moveTo>
                  <a:lnTo>
                    <a:pt x="831437" y="408146"/>
                  </a:lnTo>
                  <a:lnTo>
                    <a:pt x="829628" y="406717"/>
                  </a:lnTo>
                  <a:lnTo>
                    <a:pt x="821722" y="407765"/>
                  </a:lnTo>
                  <a:lnTo>
                    <a:pt x="823151" y="405956"/>
                  </a:lnTo>
                  <a:lnTo>
                    <a:pt x="827627" y="403765"/>
                  </a:lnTo>
                  <a:lnTo>
                    <a:pt x="820769" y="399859"/>
                  </a:lnTo>
                  <a:lnTo>
                    <a:pt x="820579" y="398240"/>
                  </a:lnTo>
                  <a:lnTo>
                    <a:pt x="818198" y="392144"/>
                  </a:lnTo>
                  <a:lnTo>
                    <a:pt x="813245" y="391192"/>
                  </a:lnTo>
                  <a:lnTo>
                    <a:pt x="805529" y="393763"/>
                  </a:lnTo>
                  <a:lnTo>
                    <a:pt x="800195" y="389668"/>
                  </a:lnTo>
                  <a:lnTo>
                    <a:pt x="797624" y="394716"/>
                  </a:lnTo>
                  <a:lnTo>
                    <a:pt x="791909" y="387477"/>
                  </a:lnTo>
                  <a:lnTo>
                    <a:pt x="788765" y="387858"/>
                  </a:lnTo>
                  <a:lnTo>
                    <a:pt x="785146" y="385096"/>
                  </a:lnTo>
                  <a:lnTo>
                    <a:pt x="793051" y="384143"/>
                  </a:lnTo>
                  <a:lnTo>
                    <a:pt x="794290" y="380714"/>
                  </a:lnTo>
                  <a:lnTo>
                    <a:pt x="790861" y="379571"/>
                  </a:lnTo>
                  <a:lnTo>
                    <a:pt x="792099" y="376238"/>
                  </a:lnTo>
                  <a:lnTo>
                    <a:pt x="799814" y="373666"/>
                  </a:lnTo>
                  <a:lnTo>
                    <a:pt x="800005" y="375190"/>
                  </a:lnTo>
                  <a:lnTo>
                    <a:pt x="801148" y="371856"/>
                  </a:lnTo>
                  <a:lnTo>
                    <a:pt x="809625" y="375571"/>
                  </a:lnTo>
                  <a:lnTo>
                    <a:pt x="809435" y="374047"/>
                  </a:lnTo>
                  <a:lnTo>
                    <a:pt x="811244" y="375380"/>
                  </a:lnTo>
                  <a:lnTo>
                    <a:pt x="812578" y="373571"/>
                  </a:lnTo>
                  <a:lnTo>
                    <a:pt x="815912" y="374809"/>
                  </a:lnTo>
                  <a:lnTo>
                    <a:pt x="812959" y="376809"/>
                  </a:lnTo>
                  <a:lnTo>
                    <a:pt x="821722" y="382048"/>
                  </a:lnTo>
                  <a:lnTo>
                    <a:pt x="824865" y="381667"/>
                  </a:lnTo>
                  <a:lnTo>
                    <a:pt x="822484" y="375571"/>
                  </a:lnTo>
                  <a:lnTo>
                    <a:pt x="825437" y="373571"/>
                  </a:lnTo>
                  <a:lnTo>
                    <a:pt x="820293" y="370999"/>
                  </a:lnTo>
                  <a:lnTo>
                    <a:pt x="821817" y="370808"/>
                  </a:lnTo>
                  <a:lnTo>
                    <a:pt x="821436" y="367665"/>
                  </a:lnTo>
                  <a:lnTo>
                    <a:pt x="812959" y="363950"/>
                  </a:lnTo>
                  <a:lnTo>
                    <a:pt x="813911" y="358997"/>
                  </a:lnTo>
                  <a:lnTo>
                    <a:pt x="812387" y="359188"/>
                  </a:lnTo>
                  <a:lnTo>
                    <a:pt x="815340" y="357188"/>
                  </a:lnTo>
                  <a:lnTo>
                    <a:pt x="825151" y="359188"/>
                  </a:lnTo>
                  <a:lnTo>
                    <a:pt x="828294" y="345948"/>
                  </a:lnTo>
                  <a:lnTo>
                    <a:pt x="818674" y="345567"/>
                  </a:lnTo>
                  <a:lnTo>
                    <a:pt x="821436" y="342043"/>
                  </a:lnTo>
                  <a:lnTo>
                    <a:pt x="822198" y="335471"/>
                  </a:lnTo>
                  <a:lnTo>
                    <a:pt x="820388" y="334137"/>
                  </a:lnTo>
                  <a:lnTo>
                    <a:pt x="819436" y="326231"/>
                  </a:lnTo>
                  <a:lnTo>
                    <a:pt x="813816" y="320516"/>
                  </a:lnTo>
                  <a:lnTo>
                    <a:pt x="813816" y="320516"/>
                  </a:lnTo>
                  <a:lnTo>
                    <a:pt x="816388" y="315373"/>
                  </a:lnTo>
                  <a:lnTo>
                    <a:pt x="809244" y="309848"/>
                  </a:lnTo>
                  <a:lnTo>
                    <a:pt x="807720" y="310134"/>
                  </a:lnTo>
                  <a:lnTo>
                    <a:pt x="804386" y="308896"/>
                  </a:lnTo>
                  <a:lnTo>
                    <a:pt x="808482" y="303562"/>
                  </a:lnTo>
                  <a:lnTo>
                    <a:pt x="808292" y="302038"/>
                  </a:lnTo>
                  <a:lnTo>
                    <a:pt x="805148" y="302419"/>
                  </a:lnTo>
                  <a:lnTo>
                    <a:pt x="796862" y="300228"/>
                  </a:lnTo>
                  <a:lnTo>
                    <a:pt x="796004" y="293942"/>
                  </a:lnTo>
                  <a:lnTo>
                    <a:pt x="802386" y="293180"/>
                  </a:lnTo>
                  <a:lnTo>
                    <a:pt x="801529" y="286798"/>
                  </a:lnTo>
                  <a:lnTo>
                    <a:pt x="802958" y="284988"/>
                  </a:lnTo>
                  <a:lnTo>
                    <a:pt x="804291" y="283273"/>
                  </a:lnTo>
                  <a:lnTo>
                    <a:pt x="802291" y="280321"/>
                  </a:lnTo>
                  <a:lnTo>
                    <a:pt x="805244" y="278321"/>
                  </a:lnTo>
                  <a:lnTo>
                    <a:pt x="806672" y="276511"/>
                  </a:lnTo>
                  <a:lnTo>
                    <a:pt x="799910" y="274225"/>
                  </a:lnTo>
                  <a:lnTo>
                    <a:pt x="799528" y="270986"/>
                  </a:lnTo>
                  <a:lnTo>
                    <a:pt x="797909" y="271272"/>
                  </a:lnTo>
                  <a:lnTo>
                    <a:pt x="791813" y="273653"/>
                  </a:lnTo>
                  <a:lnTo>
                    <a:pt x="788480" y="272415"/>
                  </a:lnTo>
                  <a:lnTo>
                    <a:pt x="784098" y="263366"/>
                  </a:lnTo>
                  <a:lnTo>
                    <a:pt x="785527" y="261556"/>
                  </a:lnTo>
                  <a:lnTo>
                    <a:pt x="783717" y="260223"/>
                  </a:lnTo>
                  <a:lnTo>
                    <a:pt x="786479" y="256699"/>
                  </a:lnTo>
                  <a:lnTo>
                    <a:pt x="791242" y="256032"/>
                  </a:lnTo>
                  <a:lnTo>
                    <a:pt x="794195" y="254032"/>
                  </a:lnTo>
                  <a:lnTo>
                    <a:pt x="793147" y="246221"/>
                  </a:lnTo>
                  <a:lnTo>
                    <a:pt x="791909" y="236696"/>
                  </a:lnTo>
                  <a:lnTo>
                    <a:pt x="788575" y="235553"/>
                  </a:lnTo>
                  <a:lnTo>
                    <a:pt x="789527" y="230600"/>
                  </a:lnTo>
                  <a:lnTo>
                    <a:pt x="792099" y="225457"/>
                  </a:lnTo>
                  <a:lnTo>
                    <a:pt x="782288" y="223552"/>
                  </a:lnTo>
                  <a:lnTo>
                    <a:pt x="779050" y="223933"/>
                  </a:lnTo>
                  <a:lnTo>
                    <a:pt x="778859" y="222313"/>
                  </a:lnTo>
                  <a:lnTo>
                    <a:pt x="782003" y="221932"/>
                  </a:lnTo>
                  <a:lnTo>
                    <a:pt x="784003" y="212027"/>
                  </a:lnTo>
                  <a:lnTo>
                    <a:pt x="782193" y="210693"/>
                  </a:lnTo>
                  <a:lnTo>
                    <a:pt x="785336" y="210312"/>
                  </a:lnTo>
                  <a:lnTo>
                    <a:pt x="787908" y="205169"/>
                  </a:lnTo>
                  <a:lnTo>
                    <a:pt x="786384" y="205359"/>
                  </a:lnTo>
                  <a:lnTo>
                    <a:pt x="785717" y="200596"/>
                  </a:lnTo>
                  <a:lnTo>
                    <a:pt x="790289" y="198406"/>
                  </a:lnTo>
                  <a:lnTo>
                    <a:pt x="791813" y="198215"/>
                  </a:lnTo>
                  <a:lnTo>
                    <a:pt x="792671" y="191738"/>
                  </a:lnTo>
                  <a:lnTo>
                    <a:pt x="787718" y="190786"/>
                  </a:lnTo>
                  <a:lnTo>
                    <a:pt x="788670" y="185833"/>
                  </a:lnTo>
                  <a:lnTo>
                    <a:pt x="785527" y="186214"/>
                  </a:lnTo>
                  <a:lnTo>
                    <a:pt x="786670" y="182880"/>
                  </a:lnTo>
                  <a:lnTo>
                    <a:pt x="784670" y="179927"/>
                  </a:lnTo>
                  <a:lnTo>
                    <a:pt x="784289" y="176784"/>
                  </a:lnTo>
                  <a:lnTo>
                    <a:pt x="787051" y="173165"/>
                  </a:lnTo>
                  <a:lnTo>
                    <a:pt x="787051" y="173165"/>
                  </a:lnTo>
                  <a:lnTo>
                    <a:pt x="790003" y="171164"/>
                  </a:lnTo>
                  <a:lnTo>
                    <a:pt x="794576" y="169069"/>
                  </a:lnTo>
                  <a:lnTo>
                    <a:pt x="794099" y="165830"/>
                  </a:lnTo>
                  <a:lnTo>
                    <a:pt x="795528" y="164116"/>
                  </a:lnTo>
                  <a:lnTo>
                    <a:pt x="792956" y="156400"/>
                  </a:lnTo>
                  <a:lnTo>
                    <a:pt x="795719" y="152876"/>
                  </a:lnTo>
                  <a:lnTo>
                    <a:pt x="788765" y="148876"/>
                  </a:lnTo>
                  <a:lnTo>
                    <a:pt x="785622" y="136493"/>
                  </a:lnTo>
                  <a:lnTo>
                    <a:pt x="775335" y="131350"/>
                  </a:lnTo>
                  <a:lnTo>
                    <a:pt x="777907" y="126302"/>
                  </a:lnTo>
                  <a:lnTo>
                    <a:pt x="777716" y="124682"/>
                  </a:lnTo>
                  <a:lnTo>
                    <a:pt x="771525" y="127063"/>
                  </a:lnTo>
                  <a:lnTo>
                    <a:pt x="767429" y="132398"/>
                  </a:lnTo>
                  <a:lnTo>
                    <a:pt x="762476" y="131445"/>
                  </a:lnTo>
                  <a:lnTo>
                    <a:pt x="759905" y="136588"/>
                  </a:lnTo>
                  <a:lnTo>
                    <a:pt x="759333" y="131826"/>
                  </a:lnTo>
                  <a:lnTo>
                    <a:pt x="749903" y="133064"/>
                  </a:lnTo>
                  <a:lnTo>
                    <a:pt x="746474" y="131826"/>
                  </a:lnTo>
                  <a:lnTo>
                    <a:pt x="741807" y="132493"/>
                  </a:lnTo>
                  <a:lnTo>
                    <a:pt x="739997" y="131064"/>
                  </a:lnTo>
                  <a:lnTo>
                    <a:pt x="738378" y="131254"/>
                  </a:lnTo>
                  <a:lnTo>
                    <a:pt x="736283" y="126778"/>
                  </a:lnTo>
                  <a:lnTo>
                    <a:pt x="728186" y="126206"/>
                  </a:lnTo>
                  <a:lnTo>
                    <a:pt x="723233" y="125158"/>
                  </a:lnTo>
                  <a:lnTo>
                    <a:pt x="717328" y="129159"/>
                  </a:lnTo>
                  <a:lnTo>
                    <a:pt x="715709" y="129350"/>
                  </a:lnTo>
                  <a:lnTo>
                    <a:pt x="717899" y="133921"/>
                  </a:lnTo>
                  <a:lnTo>
                    <a:pt x="714756" y="134302"/>
                  </a:lnTo>
                  <a:lnTo>
                    <a:pt x="713327" y="136112"/>
                  </a:lnTo>
                  <a:lnTo>
                    <a:pt x="708279" y="133540"/>
                  </a:lnTo>
                  <a:lnTo>
                    <a:pt x="709613" y="131731"/>
                  </a:lnTo>
                  <a:lnTo>
                    <a:pt x="707803" y="130397"/>
                  </a:lnTo>
                  <a:lnTo>
                    <a:pt x="703136" y="130969"/>
                  </a:lnTo>
                  <a:lnTo>
                    <a:pt x="699326" y="126587"/>
                  </a:lnTo>
                  <a:lnTo>
                    <a:pt x="696373" y="128588"/>
                  </a:lnTo>
                  <a:lnTo>
                    <a:pt x="696373" y="128588"/>
                  </a:lnTo>
                  <a:lnTo>
                    <a:pt x="695801" y="123920"/>
                  </a:lnTo>
                  <a:lnTo>
                    <a:pt x="700278" y="121729"/>
                  </a:lnTo>
                  <a:lnTo>
                    <a:pt x="702278" y="111823"/>
                  </a:lnTo>
                  <a:lnTo>
                    <a:pt x="708565" y="111061"/>
                  </a:lnTo>
                  <a:lnTo>
                    <a:pt x="708374" y="109442"/>
                  </a:lnTo>
                  <a:lnTo>
                    <a:pt x="700469" y="97631"/>
                  </a:lnTo>
                  <a:lnTo>
                    <a:pt x="698659" y="96298"/>
                  </a:lnTo>
                  <a:lnTo>
                    <a:pt x="695706" y="98203"/>
                  </a:lnTo>
                  <a:lnTo>
                    <a:pt x="689229" y="97441"/>
                  </a:lnTo>
                  <a:lnTo>
                    <a:pt x="679895" y="87440"/>
                  </a:lnTo>
                  <a:lnTo>
                    <a:pt x="680276" y="90583"/>
                  </a:lnTo>
                  <a:lnTo>
                    <a:pt x="665702" y="89249"/>
                  </a:lnTo>
                  <a:lnTo>
                    <a:pt x="664750" y="94202"/>
                  </a:lnTo>
                  <a:lnTo>
                    <a:pt x="650939" y="86296"/>
                  </a:lnTo>
                  <a:lnTo>
                    <a:pt x="648272" y="78581"/>
                  </a:lnTo>
                  <a:lnTo>
                    <a:pt x="640651" y="81153"/>
                  </a:lnTo>
                  <a:lnTo>
                    <a:pt x="631793" y="87154"/>
                  </a:lnTo>
                  <a:lnTo>
                    <a:pt x="629984" y="85725"/>
                  </a:lnTo>
                  <a:lnTo>
                    <a:pt x="631126" y="82391"/>
                  </a:lnTo>
                  <a:lnTo>
                    <a:pt x="628174" y="84392"/>
                  </a:lnTo>
                  <a:lnTo>
                    <a:pt x="626174" y="81439"/>
                  </a:lnTo>
                  <a:lnTo>
                    <a:pt x="615410" y="84392"/>
                  </a:lnTo>
                  <a:lnTo>
                    <a:pt x="613029" y="78296"/>
                  </a:lnTo>
                  <a:lnTo>
                    <a:pt x="609028" y="72390"/>
                  </a:lnTo>
                  <a:lnTo>
                    <a:pt x="597218" y="67437"/>
                  </a:lnTo>
                  <a:lnTo>
                    <a:pt x="590455" y="65151"/>
                  </a:lnTo>
                  <a:lnTo>
                    <a:pt x="589693" y="58865"/>
                  </a:lnTo>
                  <a:lnTo>
                    <a:pt x="575215" y="46196"/>
                  </a:lnTo>
                  <a:lnTo>
                    <a:pt x="571881" y="45053"/>
                  </a:lnTo>
                  <a:lnTo>
                    <a:pt x="568738" y="45434"/>
                  </a:lnTo>
                  <a:lnTo>
                    <a:pt x="561404" y="38386"/>
                  </a:lnTo>
                  <a:lnTo>
                    <a:pt x="531305" y="16573"/>
                  </a:lnTo>
                  <a:lnTo>
                    <a:pt x="524066" y="9430"/>
                  </a:lnTo>
                  <a:lnTo>
                    <a:pt x="509969" y="0"/>
                  </a:lnTo>
                  <a:lnTo>
                    <a:pt x="508254" y="11430"/>
                  </a:lnTo>
                  <a:lnTo>
                    <a:pt x="501206" y="18764"/>
                  </a:lnTo>
                  <a:lnTo>
                    <a:pt x="501777" y="23527"/>
                  </a:lnTo>
                  <a:lnTo>
                    <a:pt x="503968" y="28004"/>
                  </a:lnTo>
                  <a:lnTo>
                    <a:pt x="503015" y="32956"/>
                  </a:lnTo>
                  <a:lnTo>
                    <a:pt x="498634" y="23908"/>
                  </a:lnTo>
                  <a:lnTo>
                    <a:pt x="493871" y="11716"/>
                  </a:lnTo>
                  <a:lnTo>
                    <a:pt x="451295" y="29908"/>
                  </a:lnTo>
                  <a:lnTo>
                    <a:pt x="446342" y="41815"/>
                  </a:lnTo>
                  <a:lnTo>
                    <a:pt x="440436" y="45720"/>
                  </a:lnTo>
                  <a:lnTo>
                    <a:pt x="432149" y="56388"/>
                  </a:lnTo>
                  <a:lnTo>
                    <a:pt x="429673" y="61531"/>
                  </a:lnTo>
                  <a:lnTo>
                    <a:pt x="431578" y="64484"/>
                  </a:lnTo>
                  <a:lnTo>
                    <a:pt x="430625" y="69437"/>
                  </a:lnTo>
                  <a:lnTo>
                    <a:pt x="423482" y="63913"/>
                  </a:lnTo>
                  <a:lnTo>
                    <a:pt x="421577" y="60960"/>
                  </a:lnTo>
                  <a:lnTo>
                    <a:pt x="414242" y="53911"/>
                  </a:lnTo>
                  <a:lnTo>
                    <a:pt x="408337" y="45053"/>
                  </a:lnTo>
                  <a:lnTo>
                    <a:pt x="396240" y="51340"/>
                  </a:lnTo>
                  <a:lnTo>
                    <a:pt x="388334" y="52388"/>
                  </a:lnTo>
                  <a:lnTo>
                    <a:pt x="384810" y="49625"/>
                  </a:lnTo>
                  <a:lnTo>
                    <a:pt x="376142" y="44291"/>
                  </a:lnTo>
                  <a:lnTo>
                    <a:pt x="368237" y="45339"/>
                  </a:lnTo>
                  <a:lnTo>
                    <a:pt x="368427" y="46958"/>
                  </a:lnTo>
                  <a:lnTo>
                    <a:pt x="358426" y="56198"/>
                  </a:lnTo>
                  <a:lnTo>
                    <a:pt x="355283" y="56579"/>
                  </a:lnTo>
                  <a:lnTo>
                    <a:pt x="353282" y="53626"/>
                  </a:lnTo>
                  <a:lnTo>
                    <a:pt x="348520" y="54292"/>
                  </a:lnTo>
                  <a:lnTo>
                    <a:pt x="343567" y="53245"/>
                  </a:lnTo>
                  <a:lnTo>
                    <a:pt x="339471" y="58579"/>
                  </a:lnTo>
                  <a:lnTo>
                    <a:pt x="326993" y="61817"/>
                  </a:lnTo>
                  <a:lnTo>
                    <a:pt x="323850" y="62198"/>
                  </a:lnTo>
                  <a:lnTo>
                    <a:pt x="320516" y="61055"/>
                  </a:lnTo>
                  <a:lnTo>
                    <a:pt x="317563" y="63056"/>
                  </a:lnTo>
                  <a:lnTo>
                    <a:pt x="310896" y="60674"/>
                  </a:lnTo>
                  <a:lnTo>
                    <a:pt x="306514" y="64389"/>
                  </a:lnTo>
                  <a:lnTo>
                    <a:pt x="298418" y="63817"/>
                  </a:lnTo>
                  <a:lnTo>
                    <a:pt x="295085" y="62675"/>
                  </a:lnTo>
                  <a:lnTo>
                    <a:pt x="294513" y="70771"/>
                  </a:lnTo>
                  <a:lnTo>
                    <a:pt x="288608" y="74771"/>
                  </a:lnTo>
                  <a:lnTo>
                    <a:pt x="284893" y="83248"/>
                  </a:lnTo>
                  <a:lnTo>
                    <a:pt x="279178" y="88773"/>
                  </a:lnTo>
                  <a:lnTo>
                    <a:pt x="278130" y="93726"/>
                  </a:lnTo>
                  <a:lnTo>
                    <a:pt x="281750" y="109252"/>
                  </a:lnTo>
                  <a:lnTo>
                    <a:pt x="279368" y="116015"/>
                  </a:lnTo>
                  <a:lnTo>
                    <a:pt x="275082" y="119729"/>
                  </a:lnTo>
                  <a:lnTo>
                    <a:pt x="264224" y="109919"/>
                  </a:lnTo>
                  <a:lnTo>
                    <a:pt x="258318" y="113824"/>
                  </a:lnTo>
                  <a:lnTo>
                    <a:pt x="257080" y="117253"/>
                  </a:lnTo>
                  <a:lnTo>
                    <a:pt x="249650" y="121348"/>
                  </a:lnTo>
                  <a:lnTo>
                    <a:pt x="245269" y="125158"/>
                  </a:lnTo>
                  <a:lnTo>
                    <a:pt x="244316" y="130111"/>
                  </a:lnTo>
                  <a:lnTo>
                    <a:pt x="240030" y="133826"/>
                  </a:lnTo>
                  <a:lnTo>
                    <a:pt x="242126" y="138398"/>
                  </a:lnTo>
                  <a:lnTo>
                    <a:pt x="238220" y="145256"/>
                  </a:lnTo>
                  <a:lnTo>
                    <a:pt x="234887" y="144113"/>
                  </a:lnTo>
                  <a:lnTo>
                    <a:pt x="231934" y="146113"/>
                  </a:lnTo>
                  <a:lnTo>
                    <a:pt x="228410" y="143351"/>
                  </a:lnTo>
                  <a:lnTo>
                    <a:pt x="218885" y="144590"/>
                  </a:lnTo>
                  <a:lnTo>
                    <a:pt x="214408" y="146780"/>
                  </a:lnTo>
                  <a:lnTo>
                    <a:pt x="216503" y="151257"/>
                  </a:lnTo>
                  <a:lnTo>
                    <a:pt x="214598" y="161163"/>
                  </a:lnTo>
                  <a:lnTo>
                    <a:pt x="216980" y="167259"/>
                  </a:lnTo>
                  <a:lnTo>
                    <a:pt x="215075" y="177070"/>
                  </a:lnTo>
                  <a:lnTo>
                    <a:pt x="210884" y="182499"/>
                  </a:lnTo>
                  <a:lnTo>
                    <a:pt x="202978" y="183452"/>
                  </a:lnTo>
                  <a:lnTo>
                    <a:pt x="193739" y="186214"/>
                  </a:lnTo>
                  <a:lnTo>
                    <a:pt x="194119" y="189357"/>
                  </a:lnTo>
                  <a:lnTo>
                    <a:pt x="191357" y="192977"/>
                  </a:lnTo>
                  <a:lnTo>
                    <a:pt x="187071" y="196691"/>
                  </a:lnTo>
                  <a:lnTo>
                    <a:pt x="188024" y="204597"/>
                  </a:lnTo>
                  <a:lnTo>
                    <a:pt x="180975" y="211931"/>
                  </a:lnTo>
                  <a:lnTo>
                    <a:pt x="179261" y="223361"/>
                  </a:lnTo>
                  <a:lnTo>
                    <a:pt x="183356" y="230886"/>
                  </a:lnTo>
                  <a:lnTo>
                    <a:pt x="185547" y="235363"/>
                  </a:lnTo>
                  <a:lnTo>
                    <a:pt x="179451" y="237744"/>
                  </a:lnTo>
                  <a:lnTo>
                    <a:pt x="182975" y="240506"/>
                  </a:lnTo>
                  <a:lnTo>
                    <a:pt x="178308" y="241173"/>
                  </a:lnTo>
                  <a:lnTo>
                    <a:pt x="178499" y="242697"/>
                  </a:lnTo>
                  <a:lnTo>
                    <a:pt x="172784" y="235458"/>
                  </a:lnTo>
                  <a:lnTo>
                    <a:pt x="166021" y="233077"/>
                  </a:lnTo>
                  <a:lnTo>
                    <a:pt x="166592" y="237839"/>
                  </a:lnTo>
                  <a:lnTo>
                    <a:pt x="164116" y="242983"/>
                  </a:lnTo>
                  <a:lnTo>
                    <a:pt x="165830" y="244316"/>
                  </a:lnTo>
                  <a:lnTo>
                    <a:pt x="165449" y="254032"/>
                  </a:lnTo>
                  <a:lnTo>
                    <a:pt x="167640" y="258509"/>
                  </a:lnTo>
                  <a:lnTo>
                    <a:pt x="168307" y="263271"/>
                  </a:lnTo>
                  <a:lnTo>
                    <a:pt x="161544" y="260890"/>
                  </a:lnTo>
                  <a:lnTo>
                    <a:pt x="162782" y="270415"/>
                  </a:lnTo>
                  <a:lnTo>
                    <a:pt x="160211" y="275558"/>
                  </a:lnTo>
                  <a:lnTo>
                    <a:pt x="162592" y="281654"/>
                  </a:lnTo>
                  <a:lnTo>
                    <a:pt x="165926" y="282797"/>
                  </a:lnTo>
                  <a:lnTo>
                    <a:pt x="164973" y="287750"/>
                  </a:lnTo>
                  <a:lnTo>
                    <a:pt x="168497" y="290513"/>
                  </a:lnTo>
                  <a:lnTo>
                    <a:pt x="168688" y="292036"/>
                  </a:lnTo>
                  <a:lnTo>
                    <a:pt x="167545" y="295465"/>
                  </a:lnTo>
                  <a:lnTo>
                    <a:pt x="163068" y="297561"/>
                  </a:lnTo>
                  <a:lnTo>
                    <a:pt x="162020" y="302514"/>
                  </a:lnTo>
                  <a:lnTo>
                    <a:pt x="158877" y="302895"/>
                  </a:lnTo>
                  <a:lnTo>
                    <a:pt x="160877" y="305943"/>
                  </a:lnTo>
                  <a:lnTo>
                    <a:pt x="161449" y="310610"/>
                  </a:lnTo>
                  <a:lnTo>
                    <a:pt x="168212" y="312992"/>
                  </a:lnTo>
                  <a:lnTo>
                    <a:pt x="165259" y="314992"/>
                  </a:lnTo>
                  <a:lnTo>
                    <a:pt x="152210" y="313373"/>
                  </a:lnTo>
                  <a:lnTo>
                    <a:pt x="143732" y="309658"/>
                  </a:lnTo>
                  <a:lnTo>
                    <a:pt x="138970" y="310325"/>
                  </a:lnTo>
                  <a:lnTo>
                    <a:pt x="135446" y="307562"/>
                  </a:lnTo>
                  <a:lnTo>
                    <a:pt x="137732" y="300800"/>
                  </a:lnTo>
                  <a:lnTo>
                    <a:pt x="135636" y="296323"/>
                  </a:lnTo>
                  <a:lnTo>
                    <a:pt x="132683" y="298228"/>
                  </a:lnTo>
                  <a:lnTo>
                    <a:pt x="131826" y="291941"/>
                  </a:lnTo>
                  <a:lnTo>
                    <a:pt x="128873" y="293942"/>
                  </a:lnTo>
                  <a:lnTo>
                    <a:pt x="126683" y="289369"/>
                  </a:lnTo>
                  <a:lnTo>
                    <a:pt x="126111" y="284702"/>
                  </a:lnTo>
                  <a:lnTo>
                    <a:pt x="127254" y="281273"/>
                  </a:lnTo>
                  <a:lnTo>
                    <a:pt x="134969" y="278702"/>
                  </a:lnTo>
                  <a:lnTo>
                    <a:pt x="136112" y="275368"/>
                  </a:lnTo>
                  <a:lnTo>
                    <a:pt x="132779" y="274225"/>
                  </a:lnTo>
                  <a:lnTo>
                    <a:pt x="135541" y="270605"/>
                  </a:lnTo>
                  <a:lnTo>
                    <a:pt x="130969" y="272796"/>
                  </a:lnTo>
                  <a:lnTo>
                    <a:pt x="131731" y="266319"/>
                  </a:lnTo>
                  <a:lnTo>
                    <a:pt x="138875" y="258985"/>
                  </a:lnTo>
                  <a:lnTo>
                    <a:pt x="133541" y="254889"/>
                  </a:lnTo>
                  <a:lnTo>
                    <a:pt x="128778" y="255461"/>
                  </a:lnTo>
                  <a:lnTo>
                    <a:pt x="131731" y="253460"/>
                  </a:lnTo>
                  <a:lnTo>
                    <a:pt x="130207" y="253651"/>
                  </a:lnTo>
                  <a:lnTo>
                    <a:pt x="134874" y="253079"/>
                  </a:lnTo>
                  <a:lnTo>
                    <a:pt x="127159" y="242792"/>
                  </a:lnTo>
                  <a:lnTo>
                    <a:pt x="121063" y="245173"/>
                  </a:lnTo>
                  <a:lnTo>
                    <a:pt x="118872" y="240697"/>
                  </a:lnTo>
                  <a:lnTo>
                    <a:pt x="112014" y="236792"/>
                  </a:lnTo>
                  <a:lnTo>
                    <a:pt x="111347" y="232029"/>
                  </a:lnTo>
                  <a:lnTo>
                    <a:pt x="102680" y="226695"/>
                  </a:lnTo>
                  <a:lnTo>
                    <a:pt x="105442" y="223171"/>
                  </a:lnTo>
                  <a:lnTo>
                    <a:pt x="109538" y="217837"/>
                  </a:lnTo>
                  <a:lnTo>
                    <a:pt x="107347" y="213265"/>
                  </a:lnTo>
                  <a:lnTo>
                    <a:pt x="111157" y="217646"/>
                  </a:lnTo>
                  <a:lnTo>
                    <a:pt x="114872" y="221932"/>
                  </a:lnTo>
                  <a:lnTo>
                    <a:pt x="116491" y="221742"/>
                  </a:lnTo>
                  <a:lnTo>
                    <a:pt x="121634" y="224314"/>
                  </a:lnTo>
                  <a:lnTo>
                    <a:pt x="119444" y="219742"/>
                  </a:lnTo>
                  <a:lnTo>
                    <a:pt x="120206" y="213265"/>
                  </a:lnTo>
                  <a:lnTo>
                    <a:pt x="118205" y="210312"/>
                  </a:lnTo>
                  <a:lnTo>
                    <a:pt x="113633" y="199644"/>
                  </a:lnTo>
                  <a:lnTo>
                    <a:pt x="109157" y="201835"/>
                  </a:lnTo>
                  <a:lnTo>
                    <a:pt x="101060" y="201263"/>
                  </a:lnTo>
                  <a:lnTo>
                    <a:pt x="97441" y="198501"/>
                  </a:lnTo>
                  <a:lnTo>
                    <a:pt x="86392" y="199930"/>
                  </a:lnTo>
                  <a:lnTo>
                    <a:pt x="77724" y="194596"/>
                  </a:lnTo>
                  <a:lnTo>
                    <a:pt x="78867" y="191262"/>
                  </a:lnTo>
                  <a:lnTo>
                    <a:pt x="78677" y="176879"/>
                  </a:lnTo>
                  <a:lnTo>
                    <a:pt x="74962" y="172498"/>
                  </a:lnTo>
                  <a:lnTo>
                    <a:pt x="78867" y="152781"/>
                  </a:lnTo>
                  <a:lnTo>
                    <a:pt x="76105" y="156305"/>
                  </a:lnTo>
                  <a:lnTo>
                    <a:pt x="73914" y="151829"/>
                  </a:lnTo>
                  <a:lnTo>
                    <a:pt x="68771" y="149257"/>
                  </a:lnTo>
                  <a:lnTo>
                    <a:pt x="66580" y="144685"/>
                  </a:lnTo>
                  <a:lnTo>
                    <a:pt x="67342" y="138208"/>
                  </a:lnTo>
                  <a:lnTo>
                    <a:pt x="52959" y="138398"/>
                  </a:lnTo>
                  <a:lnTo>
                    <a:pt x="41529" y="136684"/>
                  </a:lnTo>
                  <a:lnTo>
                    <a:pt x="29051" y="139827"/>
                  </a:lnTo>
                  <a:lnTo>
                    <a:pt x="26289" y="143446"/>
                  </a:lnTo>
                  <a:lnTo>
                    <a:pt x="18193" y="142875"/>
                  </a:lnTo>
                  <a:lnTo>
                    <a:pt x="19240" y="137922"/>
                  </a:lnTo>
                  <a:lnTo>
                    <a:pt x="16002" y="138303"/>
                  </a:lnTo>
                  <a:lnTo>
                    <a:pt x="14097" y="135350"/>
                  </a:lnTo>
                  <a:lnTo>
                    <a:pt x="8382" y="140875"/>
                  </a:lnTo>
                  <a:lnTo>
                    <a:pt x="12097" y="145256"/>
                  </a:lnTo>
                  <a:lnTo>
                    <a:pt x="18669" y="146018"/>
                  </a:lnTo>
                  <a:lnTo>
                    <a:pt x="25908" y="153067"/>
                  </a:lnTo>
                  <a:lnTo>
                    <a:pt x="26384" y="156305"/>
                  </a:lnTo>
                  <a:lnTo>
                    <a:pt x="22193" y="161639"/>
                  </a:lnTo>
                  <a:lnTo>
                    <a:pt x="23432" y="171069"/>
                  </a:lnTo>
                  <a:lnTo>
                    <a:pt x="32671" y="181070"/>
                  </a:lnTo>
                  <a:lnTo>
                    <a:pt x="33147" y="184213"/>
                  </a:lnTo>
                  <a:lnTo>
                    <a:pt x="35052" y="187166"/>
                  </a:lnTo>
                  <a:lnTo>
                    <a:pt x="33909" y="190595"/>
                  </a:lnTo>
                  <a:lnTo>
                    <a:pt x="25051" y="196501"/>
                  </a:lnTo>
                  <a:lnTo>
                    <a:pt x="21908" y="196882"/>
                  </a:lnTo>
                  <a:lnTo>
                    <a:pt x="20479" y="198692"/>
                  </a:lnTo>
                  <a:lnTo>
                    <a:pt x="15621" y="197739"/>
                  </a:lnTo>
                  <a:lnTo>
                    <a:pt x="11240" y="201454"/>
                  </a:lnTo>
                  <a:lnTo>
                    <a:pt x="5144" y="203835"/>
                  </a:lnTo>
                  <a:lnTo>
                    <a:pt x="8858" y="208217"/>
                  </a:lnTo>
                  <a:lnTo>
                    <a:pt x="7715" y="211550"/>
                  </a:lnTo>
                  <a:lnTo>
                    <a:pt x="6382" y="213360"/>
                  </a:lnTo>
                  <a:lnTo>
                    <a:pt x="0" y="214122"/>
                  </a:lnTo>
                  <a:lnTo>
                    <a:pt x="476" y="217265"/>
                  </a:lnTo>
                  <a:lnTo>
                    <a:pt x="6001" y="222980"/>
                  </a:lnTo>
                  <a:lnTo>
                    <a:pt x="10668" y="222409"/>
                  </a:lnTo>
                  <a:lnTo>
                    <a:pt x="11906" y="231838"/>
                  </a:lnTo>
                  <a:lnTo>
                    <a:pt x="24003" y="238315"/>
                  </a:lnTo>
                  <a:lnTo>
                    <a:pt x="34004" y="241840"/>
                  </a:lnTo>
                  <a:lnTo>
                    <a:pt x="35243" y="238506"/>
                  </a:lnTo>
                  <a:lnTo>
                    <a:pt x="41339" y="236125"/>
                  </a:lnTo>
                  <a:lnTo>
                    <a:pt x="41529" y="237744"/>
                  </a:lnTo>
                  <a:lnTo>
                    <a:pt x="35624" y="241649"/>
                  </a:lnTo>
                  <a:lnTo>
                    <a:pt x="42291" y="244031"/>
                  </a:lnTo>
                  <a:lnTo>
                    <a:pt x="45911" y="246793"/>
                  </a:lnTo>
                  <a:lnTo>
                    <a:pt x="45911" y="246793"/>
                  </a:lnTo>
                  <a:lnTo>
                    <a:pt x="44672" y="250127"/>
                  </a:lnTo>
                  <a:lnTo>
                    <a:pt x="47911" y="249746"/>
                  </a:lnTo>
                  <a:lnTo>
                    <a:pt x="46863" y="254698"/>
                  </a:lnTo>
                  <a:lnTo>
                    <a:pt x="48673" y="256032"/>
                  </a:lnTo>
                  <a:lnTo>
                    <a:pt x="44577" y="261366"/>
                  </a:lnTo>
                  <a:lnTo>
                    <a:pt x="46482" y="264319"/>
                  </a:lnTo>
                  <a:lnTo>
                    <a:pt x="49435" y="262319"/>
                  </a:lnTo>
                  <a:lnTo>
                    <a:pt x="57531" y="262890"/>
                  </a:lnTo>
                  <a:lnTo>
                    <a:pt x="58769" y="272415"/>
                  </a:lnTo>
                  <a:lnTo>
                    <a:pt x="61913" y="272034"/>
                  </a:lnTo>
                  <a:lnTo>
                    <a:pt x="62103" y="273558"/>
                  </a:lnTo>
                  <a:lnTo>
                    <a:pt x="63913" y="274987"/>
                  </a:lnTo>
                  <a:lnTo>
                    <a:pt x="60960" y="276892"/>
                  </a:lnTo>
                  <a:lnTo>
                    <a:pt x="61151" y="278511"/>
                  </a:lnTo>
                  <a:lnTo>
                    <a:pt x="65913" y="277940"/>
                  </a:lnTo>
                  <a:lnTo>
                    <a:pt x="67913" y="280892"/>
                  </a:lnTo>
                  <a:lnTo>
                    <a:pt x="71057" y="280511"/>
                  </a:lnTo>
                  <a:lnTo>
                    <a:pt x="66294" y="281083"/>
                  </a:lnTo>
                  <a:lnTo>
                    <a:pt x="65151" y="284417"/>
                  </a:lnTo>
                  <a:lnTo>
                    <a:pt x="74200" y="292894"/>
                  </a:lnTo>
                  <a:lnTo>
                    <a:pt x="75438" y="302323"/>
                  </a:lnTo>
                  <a:lnTo>
                    <a:pt x="77819" y="308419"/>
                  </a:lnTo>
                  <a:lnTo>
                    <a:pt x="78200" y="311658"/>
                  </a:lnTo>
                  <a:lnTo>
                    <a:pt x="76867" y="313373"/>
                  </a:lnTo>
                  <a:lnTo>
                    <a:pt x="83534" y="315754"/>
                  </a:lnTo>
                  <a:lnTo>
                    <a:pt x="79820" y="324231"/>
                  </a:lnTo>
                  <a:lnTo>
                    <a:pt x="71342" y="333375"/>
                  </a:lnTo>
                  <a:lnTo>
                    <a:pt x="73152" y="334709"/>
                  </a:lnTo>
                  <a:lnTo>
                    <a:pt x="73724" y="339471"/>
                  </a:lnTo>
                  <a:lnTo>
                    <a:pt x="67628" y="341852"/>
                  </a:lnTo>
                  <a:lnTo>
                    <a:pt x="66675" y="346805"/>
                  </a:lnTo>
                  <a:lnTo>
                    <a:pt x="68866" y="351282"/>
                  </a:lnTo>
                  <a:lnTo>
                    <a:pt x="69247" y="367284"/>
                  </a:lnTo>
                  <a:lnTo>
                    <a:pt x="71819" y="374999"/>
                  </a:lnTo>
                  <a:lnTo>
                    <a:pt x="70866" y="379952"/>
                  </a:lnTo>
                  <a:lnTo>
                    <a:pt x="74866" y="385858"/>
                  </a:lnTo>
                  <a:lnTo>
                    <a:pt x="77248" y="391954"/>
                  </a:lnTo>
                  <a:lnTo>
                    <a:pt x="85154" y="390906"/>
                  </a:lnTo>
                  <a:lnTo>
                    <a:pt x="90011" y="391954"/>
                  </a:lnTo>
                  <a:lnTo>
                    <a:pt x="87535" y="397002"/>
                  </a:lnTo>
                  <a:lnTo>
                    <a:pt x="91250" y="401384"/>
                  </a:lnTo>
                  <a:lnTo>
                    <a:pt x="97346" y="399002"/>
                  </a:lnTo>
                  <a:lnTo>
                    <a:pt x="100489" y="398621"/>
                  </a:lnTo>
                  <a:lnTo>
                    <a:pt x="100965" y="401765"/>
                  </a:lnTo>
                  <a:lnTo>
                    <a:pt x="101346" y="404908"/>
                  </a:lnTo>
                  <a:lnTo>
                    <a:pt x="106299" y="405860"/>
                  </a:lnTo>
                  <a:lnTo>
                    <a:pt x="106871" y="410623"/>
                  </a:lnTo>
                  <a:lnTo>
                    <a:pt x="110395" y="413385"/>
                  </a:lnTo>
                  <a:lnTo>
                    <a:pt x="114395" y="419290"/>
                  </a:lnTo>
                  <a:lnTo>
                    <a:pt x="121253" y="423196"/>
                  </a:lnTo>
                  <a:lnTo>
                    <a:pt x="110300" y="437388"/>
                  </a:lnTo>
                  <a:lnTo>
                    <a:pt x="111062" y="443770"/>
                  </a:lnTo>
                  <a:lnTo>
                    <a:pt x="116967" y="439769"/>
                  </a:lnTo>
                  <a:lnTo>
                    <a:pt x="122777" y="447104"/>
                  </a:lnTo>
                  <a:lnTo>
                    <a:pt x="136779" y="443675"/>
                  </a:lnTo>
                  <a:lnTo>
                    <a:pt x="146780" y="447199"/>
                  </a:lnTo>
                  <a:lnTo>
                    <a:pt x="148971" y="451771"/>
                  </a:lnTo>
                  <a:lnTo>
                    <a:pt x="150590" y="451580"/>
                  </a:lnTo>
                  <a:lnTo>
                    <a:pt x="150971" y="454723"/>
                  </a:lnTo>
                  <a:lnTo>
                    <a:pt x="149828" y="458057"/>
                  </a:lnTo>
                  <a:lnTo>
                    <a:pt x="154115" y="467106"/>
                  </a:lnTo>
                  <a:lnTo>
                    <a:pt x="154972" y="473392"/>
                  </a:lnTo>
                  <a:lnTo>
                    <a:pt x="158306" y="474631"/>
                  </a:lnTo>
                  <a:lnTo>
                    <a:pt x="163830" y="467487"/>
                  </a:lnTo>
                  <a:lnTo>
                    <a:pt x="168783" y="468440"/>
                  </a:lnTo>
                  <a:lnTo>
                    <a:pt x="170783" y="471392"/>
                  </a:lnTo>
                  <a:lnTo>
                    <a:pt x="171355" y="476155"/>
                  </a:lnTo>
                  <a:lnTo>
                    <a:pt x="182404" y="487585"/>
                  </a:lnTo>
                  <a:lnTo>
                    <a:pt x="184785" y="493681"/>
                  </a:lnTo>
                  <a:lnTo>
                    <a:pt x="190881" y="491300"/>
                  </a:lnTo>
                  <a:lnTo>
                    <a:pt x="191548" y="496062"/>
                  </a:lnTo>
                  <a:lnTo>
                    <a:pt x="196691" y="498634"/>
                  </a:lnTo>
                  <a:lnTo>
                    <a:pt x="207740" y="497205"/>
                  </a:lnTo>
                  <a:lnTo>
                    <a:pt x="207931" y="498729"/>
                  </a:lnTo>
                  <a:lnTo>
                    <a:pt x="203740" y="504063"/>
                  </a:lnTo>
                  <a:lnTo>
                    <a:pt x="208693" y="505111"/>
                  </a:lnTo>
                  <a:lnTo>
                    <a:pt x="207550" y="508444"/>
                  </a:lnTo>
                  <a:lnTo>
                    <a:pt x="218789" y="508635"/>
                  </a:lnTo>
                  <a:lnTo>
                    <a:pt x="222504" y="512921"/>
                  </a:lnTo>
                  <a:lnTo>
                    <a:pt x="227267" y="512350"/>
                  </a:lnTo>
                  <a:lnTo>
                    <a:pt x="231077" y="516636"/>
                  </a:lnTo>
                  <a:lnTo>
                    <a:pt x="230029" y="521589"/>
                  </a:lnTo>
                  <a:lnTo>
                    <a:pt x="224123" y="525590"/>
                  </a:lnTo>
                  <a:lnTo>
                    <a:pt x="227743" y="528352"/>
                  </a:lnTo>
                  <a:lnTo>
                    <a:pt x="226695" y="533209"/>
                  </a:lnTo>
                  <a:lnTo>
                    <a:pt x="234410" y="530638"/>
                  </a:lnTo>
                  <a:lnTo>
                    <a:pt x="237173" y="527113"/>
                  </a:lnTo>
                  <a:lnTo>
                    <a:pt x="243269" y="524732"/>
                  </a:lnTo>
                  <a:lnTo>
                    <a:pt x="244697" y="522923"/>
                  </a:lnTo>
                  <a:lnTo>
                    <a:pt x="247841" y="522542"/>
                  </a:lnTo>
                  <a:lnTo>
                    <a:pt x="254699" y="526447"/>
                  </a:lnTo>
                  <a:lnTo>
                    <a:pt x="253556" y="529876"/>
                  </a:lnTo>
                  <a:lnTo>
                    <a:pt x="259271" y="537115"/>
                  </a:lnTo>
                  <a:lnTo>
                    <a:pt x="267557" y="539306"/>
                  </a:lnTo>
                  <a:lnTo>
                    <a:pt x="273558" y="548164"/>
                  </a:lnTo>
                  <a:lnTo>
                    <a:pt x="270796" y="551688"/>
                  </a:lnTo>
                  <a:lnTo>
                    <a:pt x="267462" y="563309"/>
                  </a:lnTo>
                  <a:lnTo>
                    <a:pt x="261176" y="564166"/>
                  </a:lnTo>
                  <a:lnTo>
                    <a:pt x="259747" y="565976"/>
                  </a:lnTo>
                  <a:lnTo>
                    <a:pt x="252889" y="574834"/>
                  </a:lnTo>
                  <a:lnTo>
                    <a:pt x="253460" y="579596"/>
                  </a:lnTo>
                  <a:lnTo>
                    <a:pt x="258032" y="590169"/>
                  </a:lnTo>
                  <a:lnTo>
                    <a:pt x="269272" y="590360"/>
                  </a:lnTo>
                  <a:lnTo>
                    <a:pt x="268129" y="593693"/>
                  </a:lnTo>
                  <a:lnTo>
                    <a:pt x="271272" y="593312"/>
                  </a:lnTo>
                  <a:lnTo>
                    <a:pt x="274987" y="597694"/>
                  </a:lnTo>
                  <a:lnTo>
                    <a:pt x="281940" y="601599"/>
                  </a:lnTo>
                  <a:lnTo>
                    <a:pt x="289846" y="600551"/>
                  </a:lnTo>
                  <a:lnTo>
                    <a:pt x="296704" y="604552"/>
                  </a:lnTo>
                  <a:lnTo>
                    <a:pt x="303467" y="606838"/>
                  </a:lnTo>
                  <a:lnTo>
                    <a:pt x="305467" y="609790"/>
                  </a:lnTo>
                  <a:lnTo>
                    <a:pt x="307658" y="627221"/>
                  </a:lnTo>
                  <a:lnTo>
                    <a:pt x="317754" y="630745"/>
                  </a:lnTo>
                  <a:lnTo>
                    <a:pt x="328803" y="629317"/>
                  </a:lnTo>
                  <a:lnTo>
                    <a:pt x="335852" y="634841"/>
                  </a:lnTo>
                  <a:lnTo>
                    <a:pt x="338519" y="642461"/>
                  </a:lnTo>
                  <a:lnTo>
                    <a:pt x="342424" y="635603"/>
                  </a:lnTo>
                  <a:lnTo>
                    <a:pt x="349091" y="637889"/>
                  </a:lnTo>
                  <a:lnTo>
                    <a:pt x="349282" y="626650"/>
                  </a:lnTo>
                  <a:lnTo>
                    <a:pt x="352235" y="624745"/>
                  </a:lnTo>
                  <a:lnTo>
                    <a:pt x="356997" y="624078"/>
                  </a:lnTo>
                  <a:lnTo>
                    <a:pt x="356616" y="620935"/>
                  </a:lnTo>
                  <a:lnTo>
                    <a:pt x="359950" y="622173"/>
                  </a:lnTo>
                  <a:lnTo>
                    <a:pt x="359569" y="618935"/>
                  </a:lnTo>
                  <a:lnTo>
                    <a:pt x="373761" y="617125"/>
                  </a:lnTo>
                  <a:lnTo>
                    <a:pt x="383762" y="620649"/>
                  </a:lnTo>
                  <a:lnTo>
                    <a:pt x="389382" y="626364"/>
                  </a:lnTo>
                  <a:lnTo>
                    <a:pt x="391192" y="640652"/>
                  </a:lnTo>
                  <a:lnTo>
                    <a:pt x="393097" y="643604"/>
                  </a:lnTo>
                  <a:lnTo>
                    <a:pt x="391763" y="645319"/>
                  </a:lnTo>
                  <a:lnTo>
                    <a:pt x="400050" y="647510"/>
                  </a:lnTo>
                  <a:lnTo>
                    <a:pt x="399479" y="642747"/>
                  </a:lnTo>
                  <a:lnTo>
                    <a:pt x="398050" y="631698"/>
                  </a:lnTo>
                  <a:lnTo>
                    <a:pt x="394526" y="628936"/>
                  </a:lnTo>
                  <a:lnTo>
                    <a:pt x="394240" y="627412"/>
                  </a:lnTo>
                  <a:lnTo>
                    <a:pt x="406718" y="624173"/>
                  </a:lnTo>
                  <a:lnTo>
                    <a:pt x="421100" y="623983"/>
                  </a:lnTo>
                  <a:lnTo>
                    <a:pt x="419862" y="614458"/>
                  </a:lnTo>
                  <a:lnTo>
                    <a:pt x="414338" y="608743"/>
                  </a:lnTo>
                  <a:lnTo>
                    <a:pt x="415766" y="607028"/>
                  </a:lnTo>
                  <a:lnTo>
                    <a:pt x="422434" y="609314"/>
                  </a:lnTo>
                  <a:lnTo>
                    <a:pt x="429387" y="613315"/>
                  </a:lnTo>
                  <a:lnTo>
                    <a:pt x="434150" y="612648"/>
                  </a:lnTo>
                  <a:lnTo>
                    <a:pt x="442532" y="603599"/>
                  </a:lnTo>
                  <a:lnTo>
                    <a:pt x="443770" y="600265"/>
                  </a:lnTo>
                  <a:lnTo>
                    <a:pt x="449104" y="604361"/>
                  </a:lnTo>
                  <a:lnTo>
                    <a:pt x="455200" y="601980"/>
                  </a:lnTo>
                  <a:lnTo>
                    <a:pt x="456533" y="600170"/>
                  </a:lnTo>
                  <a:lnTo>
                    <a:pt x="457962" y="598456"/>
                  </a:lnTo>
                  <a:lnTo>
                    <a:pt x="459962" y="601408"/>
                  </a:lnTo>
                  <a:lnTo>
                    <a:pt x="463677" y="605695"/>
                  </a:lnTo>
                  <a:lnTo>
                    <a:pt x="469392" y="600170"/>
                  </a:lnTo>
                  <a:lnTo>
                    <a:pt x="473964" y="597980"/>
                  </a:lnTo>
                  <a:lnTo>
                    <a:pt x="474917" y="593027"/>
                  </a:lnTo>
                  <a:lnTo>
                    <a:pt x="479870" y="593979"/>
                  </a:lnTo>
                  <a:lnTo>
                    <a:pt x="483394" y="596741"/>
                  </a:lnTo>
                  <a:lnTo>
                    <a:pt x="489680" y="595979"/>
                  </a:lnTo>
                  <a:lnTo>
                    <a:pt x="493109" y="597122"/>
                  </a:lnTo>
                  <a:lnTo>
                    <a:pt x="492062" y="602075"/>
                  </a:lnTo>
                  <a:lnTo>
                    <a:pt x="495014" y="600075"/>
                  </a:lnTo>
                  <a:lnTo>
                    <a:pt x="493871" y="603504"/>
                  </a:lnTo>
                  <a:lnTo>
                    <a:pt x="495872" y="606457"/>
                  </a:lnTo>
                  <a:lnTo>
                    <a:pt x="499015" y="605981"/>
                  </a:lnTo>
                  <a:lnTo>
                    <a:pt x="498634" y="602837"/>
                  </a:lnTo>
                  <a:lnTo>
                    <a:pt x="503777" y="605409"/>
                  </a:lnTo>
                  <a:lnTo>
                    <a:pt x="509683" y="601408"/>
                  </a:lnTo>
                  <a:lnTo>
                    <a:pt x="516731" y="606933"/>
                  </a:lnTo>
                  <a:lnTo>
                    <a:pt x="517779" y="614839"/>
                  </a:lnTo>
                  <a:lnTo>
                    <a:pt x="520732" y="612839"/>
                  </a:lnTo>
                  <a:lnTo>
                    <a:pt x="527018" y="612077"/>
                  </a:lnTo>
                  <a:lnTo>
                    <a:pt x="536924" y="613982"/>
                  </a:lnTo>
                  <a:lnTo>
                    <a:pt x="543592" y="603504"/>
                  </a:lnTo>
                  <a:lnTo>
                    <a:pt x="550069" y="604266"/>
                  </a:lnTo>
                  <a:lnTo>
                    <a:pt x="555212" y="606838"/>
                  </a:lnTo>
                  <a:lnTo>
                    <a:pt x="555689" y="609981"/>
                  </a:lnTo>
                  <a:lnTo>
                    <a:pt x="559403" y="614362"/>
                  </a:lnTo>
                  <a:lnTo>
                    <a:pt x="568071" y="619697"/>
                  </a:lnTo>
                  <a:lnTo>
                    <a:pt x="571500" y="620840"/>
                  </a:lnTo>
                  <a:lnTo>
                    <a:pt x="571310" y="619220"/>
                  </a:lnTo>
                  <a:lnTo>
                    <a:pt x="570452" y="612934"/>
                  </a:lnTo>
                  <a:lnTo>
                    <a:pt x="577215" y="615315"/>
                  </a:lnTo>
                  <a:lnTo>
                    <a:pt x="576929" y="613696"/>
                  </a:lnTo>
                  <a:lnTo>
                    <a:pt x="576739" y="612172"/>
                  </a:lnTo>
                  <a:lnTo>
                    <a:pt x="579882" y="611791"/>
                  </a:lnTo>
                  <a:lnTo>
                    <a:pt x="584073" y="606361"/>
                  </a:lnTo>
                  <a:lnTo>
                    <a:pt x="587026" y="604457"/>
                  </a:lnTo>
                  <a:lnTo>
                    <a:pt x="589788" y="600837"/>
                  </a:lnTo>
                  <a:lnTo>
                    <a:pt x="593122" y="602075"/>
                  </a:lnTo>
                  <a:lnTo>
                    <a:pt x="594455" y="600265"/>
                  </a:lnTo>
                  <a:lnTo>
                    <a:pt x="598646" y="594932"/>
                  </a:lnTo>
                  <a:lnTo>
                    <a:pt x="598075" y="590169"/>
                  </a:lnTo>
                  <a:lnTo>
                    <a:pt x="592931" y="587597"/>
                  </a:lnTo>
                  <a:lnTo>
                    <a:pt x="597408" y="585407"/>
                  </a:lnTo>
                  <a:lnTo>
                    <a:pt x="594074" y="584264"/>
                  </a:lnTo>
                  <a:lnTo>
                    <a:pt x="597027" y="582263"/>
                  </a:lnTo>
                  <a:lnTo>
                    <a:pt x="600361" y="583502"/>
                  </a:lnTo>
                  <a:lnTo>
                    <a:pt x="599980" y="580358"/>
                  </a:lnTo>
                  <a:lnTo>
                    <a:pt x="599980" y="580358"/>
                  </a:lnTo>
                  <a:lnTo>
                    <a:pt x="592074" y="568452"/>
                  </a:lnTo>
                  <a:lnTo>
                    <a:pt x="592646" y="560451"/>
                  </a:lnTo>
                  <a:lnTo>
                    <a:pt x="596932" y="556641"/>
                  </a:lnTo>
                  <a:lnTo>
                    <a:pt x="604838" y="555688"/>
                  </a:lnTo>
                  <a:lnTo>
                    <a:pt x="614934" y="559213"/>
                  </a:lnTo>
                  <a:lnTo>
                    <a:pt x="617315" y="552450"/>
                  </a:lnTo>
                  <a:lnTo>
                    <a:pt x="622459" y="555022"/>
                  </a:lnTo>
                  <a:lnTo>
                    <a:pt x="621030" y="556832"/>
                  </a:lnTo>
                  <a:lnTo>
                    <a:pt x="624173" y="556355"/>
                  </a:lnTo>
                  <a:lnTo>
                    <a:pt x="622554" y="543782"/>
                  </a:lnTo>
                  <a:lnTo>
                    <a:pt x="632079" y="542544"/>
                  </a:lnTo>
                  <a:lnTo>
                    <a:pt x="635794" y="546926"/>
                  </a:lnTo>
                  <a:lnTo>
                    <a:pt x="638556" y="543306"/>
                  </a:lnTo>
                  <a:lnTo>
                    <a:pt x="638175" y="540163"/>
                  </a:lnTo>
                  <a:lnTo>
                    <a:pt x="642652" y="537972"/>
                  </a:lnTo>
                  <a:lnTo>
                    <a:pt x="642461" y="536448"/>
                  </a:lnTo>
                  <a:lnTo>
                    <a:pt x="647414" y="537401"/>
                  </a:lnTo>
                  <a:lnTo>
                    <a:pt x="650176" y="533781"/>
                  </a:lnTo>
                  <a:lnTo>
                    <a:pt x="649605" y="529114"/>
                  </a:lnTo>
                  <a:lnTo>
                    <a:pt x="656082" y="529876"/>
                  </a:lnTo>
                  <a:lnTo>
                    <a:pt x="659035" y="527876"/>
                  </a:lnTo>
                  <a:lnTo>
                    <a:pt x="659987" y="522923"/>
                  </a:lnTo>
                  <a:lnTo>
                    <a:pt x="662940" y="521017"/>
                  </a:lnTo>
                  <a:lnTo>
                    <a:pt x="671227" y="523113"/>
                  </a:lnTo>
                  <a:lnTo>
                    <a:pt x="675418" y="517779"/>
                  </a:lnTo>
                  <a:lnTo>
                    <a:pt x="675227" y="516160"/>
                  </a:lnTo>
                  <a:lnTo>
                    <a:pt x="672084" y="516636"/>
                  </a:lnTo>
                  <a:lnTo>
                    <a:pt x="670274" y="515207"/>
                  </a:lnTo>
                  <a:lnTo>
                    <a:pt x="672846" y="510064"/>
                  </a:lnTo>
                  <a:lnTo>
                    <a:pt x="677990" y="512636"/>
                  </a:lnTo>
                  <a:lnTo>
                    <a:pt x="682657" y="512064"/>
                  </a:lnTo>
                  <a:lnTo>
                    <a:pt x="681514" y="502539"/>
                  </a:lnTo>
                  <a:lnTo>
                    <a:pt x="682847" y="500825"/>
                  </a:lnTo>
                  <a:lnTo>
                    <a:pt x="683038" y="502348"/>
                  </a:lnTo>
                  <a:lnTo>
                    <a:pt x="685991" y="500444"/>
                  </a:lnTo>
                  <a:lnTo>
                    <a:pt x="687419" y="498634"/>
                  </a:lnTo>
                  <a:lnTo>
                    <a:pt x="693134" y="493109"/>
                  </a:lnTo>
                  <a:lnTo>
                    <a:pt x="693896" y="499396"/>
                  </a:lnTo>
                  <a:lnTo>
                    <a:pt x="695325" y="497586"/>
                  </a:lnTo>
                  <a:lnTo>
                    <a:pt x="696087" y="503968"/>
                  </a:lnTo>
                  <a:lnTo>
                    <a:pt x="699611" y="506635"/>
                  </a:lnTo>
                  <a:lnTo>
                    <a:pt x="702374" y="503111"/>
                  </a:lnTo>
                  <a:lnTo>
                    <a:pt x="707898" y="508825"/>
                  </a:lnTo>
                  <a:lnTo>
                    <a:pt x="712089" y="503492"/>
                  </a:lnTo>
                  <a:lnTo>
                    <a:pt x="715804" y="507778"/>
                  </a:lnTo>
                  <a:lnTo>
                    <a:pt x="715613" y="506254"/>
                  </a:lnTo>
                  <a:lnTo>
                    <a:pt x="720566" y="507206"/>
                  </a:lnTo>
                  <a:lnTo>
                    <a:pt x="728091" y="503015"/>
                  </a:lnTo>
                  <a:lnTo>
                    <a:pt x="728472" y="506254"/>
                  </a:lnTo>
                  <a:lnTo>
                    <a:pt x="726853" y="506444"/>
                  </a:lnTo>
                  <a:lnTo>
                    <a:pt x="733616" y="508730"/>
                  </a:lnTo>
                  <a:lnTo>
                    <a:pt x="734949" y="507016"/>
                  </a:lnTo>
                  <a:lnTo>
                    <a:pt x="736568" y="506825"/>
                  </a:lnTo>
                  <a:lnTo>
                    <a:pt x="737330" y="513112"/>
                  </a:lnTo>
                  <a:lnTo>
                    <a:pt x="738950" y="512921"/>
                  </a:lnTo>
                  <a:lnTo>
                    <a:pt x="738759" y="511302"/>
                  </a:lnTo>
                  <a:lnTo>
                    <a:pt x="742283" y="514064"/>
                  </a:lnTo>
                  <a:lnTo>
                    <a:pt x="743903" y="513874"/>
                  </a:lnTo>
                  <a:lnTo>
                    <a:pt x="745808" y="516827"/>
                  </a:lnTo>
                  <a:lnTo>
                    <a:pt x="747427" y="516636"/>
                  </a:lnTo>
                  <a:lnTo>
                    <a:pt x="749237" y="517969"/>
                  </a:lnTo>
                  <a:lnTo>
                    <a:pt x="749999" y="524351"/>
                  </a:lnTo>
                  <a:lnTo>
                    <a:pt x="751808" y="525685"/>
                  </a:lnTo>
                  <a:lnTo>
                    <a:pt x="752189" y="516065"/>
                  </a:lnTo>
                  <a:lnTo>
                    <a:pt x="753713" y="515779"/>
                  </a:lnTo>
                  <a:lnTo>
                    <a:pt x="752761" y="520732"/>
                  </a:lnTo>
                  <a:lnTo>
                    <a:pt x="754761" y="523684"/>
                  </a:lnTo>
                  <a:lnTo>
                    <a:pt x="760095" y="527876"/>
                  </a:lnTo>
                  <a:lnTo>
                    <a:pt x="769334" y="537877"/>
                  </a:lnTo>
                  <a:lnTo>
                    <a:pt x="781241" y="542830"/>
                  </a:lnTo>
                  <a:lnTo>
                    <a:pt x="785717" y="540639"/>
                  </a:lnTo>
                  <a:lnTo>
                    <a:pt x="788765" y="538639"/>
                  </a:lnTo>
                  <a:lnTo>
                    <a:pt x="784574" y="531114"/>
                  </a:lnTo>
                  <a:lnTo>
                    <a:pt x="783336" y="521684"/>
                  </a:lnTo>
                  <a:lnTo>
                    <a:pt x="788480" y="511397"/>
                  </a:lnTo>
                  <a:lnTo>
                    <a:pt x="793147" y="510826"/>
                  </a:lnTo>
                  <a:lnTo>
                    <a:pt x="792766" y="507682"/>
                  </a:lnTo>
                  <a:lnTo>
                    <a:pt x="787813" y="493871"/>
                  </a:lnTo>
                  <a:lnTo>
                    <a:pt x="790956" y="493395"/>
                  </a:lnTo>
                  <a:lnTo>
                    <a:pt x="787432" y="490728"/>
                  </a:lnTo>
                  <a:lnTo>
                    <a:pt x="784098" y="489490"/>
                  </a:lnTo>
                  <a:lnTo>
                    <a:pt x="785241" y="486156"/>
                  </a:lnTo>
                  <a:lnTo>
                    <a:pt x="788194" y="484156"/>
                  </a:lnTo>
                  <a:lnTo>
                    <a:pt x="784670" y="481394"/>
                  </a:lnTo>
                  <a:lnTo>
                    <a:pt x="790956" y="480632"/>
                  </a:lnTo>
                  <a:lnTo>
                    <a:pt x="792956" y="483584"/>
                  </a:lnTo>
                  <a:lnTo>
                    <a:pt x="796290" y="484727"/>
                  </a:lnTo>
                  <a:lnTo>
                    <a:pt x="797243" y="479774"/>
                  </a:lnTo>
                  <a:lnTo>
                    <a:pt x="798100" y="486156"/>
                  </a:lnTo>
                  <a:lnTo>
                    <a:pt x="802767" y="485489"/>
                  </a:lnTo>
                  <a:lnTo>
                    <a:pt x="802005" y="479203"/>
                  </a:lnTo>
                  <a:lnTo>
                    <a:pt x="803529" y="479012"/>
                  </a:lnTo>
                  <a:lnTo>
                    <a:pt x="810101" y="479774"/>
                  </a:lnTo>
                  <a:lnTo>
                    <a:pt x="814578" y="477584"/>
                  </a:lnTo>
                  <a:lnTo>
                    <a:pt x="819531" y="478536"/>
                  </a:lnTo>
                  <a:lnTo>
                    <a:pt x="820960" y="476821"/>
                  </a:lnTo>
                  <a:lnTo>
                    <a:pt x="816578" y="467773"/>
                  </a:lnTo>
                  <a:lnTo>
                    <a:pt x="818388" y="469106"/>
                  </a:lnTo>
                  <a:lnTo>
                    <a:pt x="822103" y="473392"/>
                  </a:lnTo>
                  <a:lnTo>
                    <a:pt x="823436" y="471678"/>
                  </a:lnTo>
                  <a:lnTo>
                    <a:pt x="829628" y="469297"/>
                  </a:lnTo>
                  <a:lnTo>
                    <a:pt x="830390" y="462725"/>
                  </a:lnTo>
                  <a:lnTo>
                    <a:pt x="833152" y="459200"/>
                  </a:lnTo>
                  <a:lnTo>
                    <a:pt x="832485" y="454438"/>
                  </a:lnTo>
                  <a:lnTo>
                    <a:pt x="830771" y="453104"/>
                  </a:lnTo>
                  <a:lnTo>
                    <a:pt x="830294" y="449961"/>
                  </a:lnTo>
                  <a:lnTo>
                    <a:pt x="822674" y="452533"/>
                  </a:lnTo>
                  <a:lnTo>
                    <a:pt x="819055" y="449771"/>
                  </a:lnTo>
                  <a:lnTo>
                    <a:pt x="827913" y="431006"/>
                  </a:lnTo>
                  <a:lnTo>
                    <a:pt x="825913" y="428054"/>
                  </a:lnTo>
                  <a:lnTo>
                    <a:pt x="822579" y="426911"/>
                  </a:lnTo>
                  <a:lnTo>
                    <a:pt x="822389" y="425291"/>
                  </a:lnTo>
                  <a:lnTo>
                    <a:pt x="827151" y="424720"/>
                  </a:lnTo>
                  <a:lnTo>
                    <a:pt x="829056" y="427673"/>
                  </a:lnTo>
                  <a:lnTo>
                    <a:pt x="832485" y="428815"/>
                  </a:lnTo>
                  <a:lnTo>
                    <a:pt x="835438" y="426815"/>
                  </a:lnTo>
                  <a:lnTo>
                    <a:pt x="835247" y="425291"/>
                  </a:lnTo>
                  <a:lnTo>
                    <a:pt x="831818" y="424053"/>
                  </a:lnTo>
                  <a:lnTo>
                    <a:pt x="833057" y="420719"/>
                  </a:lnTo>
                  <a:lnTo>
                    <a:pt x="833057" y="42071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9" name="Volný tvar: obrazec 38">
              <a:extLst>
                <a:ext uri="{FF2B5EF4-FFF2-40B4-BE49-F238E27FC236}">
                  <a16:creationId xmlns:a16="http://schemas.microsoft.com/office/drawing/2014/main" id="{C794D5CC-4D6D-5A7F-1BE0-FF055D23544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05698" y="3006661"/>
              <a:ext cx="335184" cy="266604"/>
            </a:xfrm>
            <a:custGeom>
              <a:avLst/>
              <a:gdLst>
                <a:gd name="connsiteX0" fmla="*/ 306896 w 335184"/>
                <a:gd name="connsiteY0" fmla="*/ 184880 h 266604"/>
                <a:gd name="connsiteX1" fmla="*/ 307372 w 335184"/>
                <a:gd name="connsiteY1" fmla="*/ 188023 h 266604"/>
                <a:gd name="connsiteX2" fmla="*/ 302609 w 335184"/>
                <a:gd name="connsiteY2" fmla="*/ 188595 h 266604"/>
                <a:gd name="connsiteX3" fmla="*/ 303371 w 335184"/>
                <a:gd name="connsiteY3" fmla="*/ 194881 h 266604"/>
                <a:gd name="connsiteX4" fmla="*/ 300609 w 335184"/>
                <a:gd name="connsiteY4" fmla="*/ 198501 h 266604"/>
                <a:gd name="connsiteX5" fmla="*/ 295084 w 335184"/>
                <a:gd name="connsiteY5" fmla="*/ 192786 h 266604"/>
                <a:gd name="connsiteX6" fmla="*/ 293751 w 335184"/>
                <a:gd name="connsiteY6" fmla="*/ 194500 h 266604"/>
                <a:gd name="connsiteX7" fmla="*/ 292703 w 335184"/>
                <a:gd name="connsiteY7" fmla="*/ 199453 h 266604"/>
                <a:gd name="connsiteX8" fmla="*/ 290798 w 335184"/>
                <a:gd name="connsiteY8" fmla="*/ 196501 h 266604"/>
                <a:gd name="connsiteX9" fmla="*/ 289179 w 335184"/>
                <a:gd name="connsiteY9" fmla="*/ 196691 h 266604"/>
                <a:gd name="connsiteX10" fmla="*/ 293370 w 335184"/>
                <a:gd name="connsiteY10" fmla="*/ 204216 h 266604"/>
                <a:gd name="connsiteX11" fmla="*/ 289179 w 335184"/>
                <a:gd name="connsiteY11" fmla="*/ 209550 h 266604"/>
                <a:gd name="connsiteX12" fmla="*/ 284131 w 335184"/>
                <a:gd name="connsiteY12" fmla="*/ 206978 h 266604"/>
                <a:gd name="connsiteX13" fmla="*/ 279368 w 335184"/>
                <a:gd name="connsiteY13" fmla="*/ 207550 h 266604"/>
                <a:gd name="connsiteX14" fmla="*/ 274225 w 335184"/>
                <a:gd name="connsiteY14" fmla="*/ 205073 h 266604"/>
                <a:gd name="connsiteX15" fmla="*/ 274415 w 335184"/>
                <a:gd name="connsiteY15" fmla="*/ 206597 h 266604"/>
                <a:gd name="connsiteX16" fmla="*/ 272605 w 335184"/>
                <a:gd name="connsiteY16" fmla="*/ 205264 h 266604"/>
                <a:gd name="connsiteX17" fmla="*/ 271272 w 335184"/>
                <a:gd name="connsiteY17" fmla="*/ 206978 h 266604"/>
                <a:gd name="connsiteX18" fmla="*/ 269081 w 335184"/>
                <a:gd name="connsiteY18" fmla="*/ 202501 h 266604"/>
                <a:gd name="connsiteX19" fmla="*/ 269462 w 335184"/>
                <a:gd name="connsiteY19" fmla="*/ 205645 h 266604"/>
                <a:gd name="connsiteX20" fmla="*/ 265938 w 335184"/>
                <a:gd name="connsiteY20" fmla="*/ 202882 h 266604"/>
                <a:gd name="connsiteX21" fmla="*/ 265557 w 335184"/>
                <a:gd name="connsiteY21" fmla="*/ 199739 h 266604"/>
                <a:gd name="connsiteX22" fmla="*/ 264128 w 335184"/>
                <a:gd name="connsiteY22" fmla="*/ 201549 h 266604"/>
                <a:gd name="connsiteX23" fmla="*/ 261366 w 335184"/>
                <a:gd name="connsiteY23" fmla="*/ 192214 h 266604"/>
                <a:gd name="connsiteX24" fmla="*/ 256794 w 335184"/>
                <a:gd name="connsiteY24" fmla="*/ 194405 h 266604"/>
                <a:gd name="connsiteX25" fmla="*/ 256604 w 335184"/>
                <a:gd name="connsiteY25" fmla="*/ 192881 h 266604"/>
                <a:gd name="connsiteX26" fmla="*/ 254889 w 335184"/>
                <a:gd name="connsiteY26" fmla="*/ 191452 h 266604"/>
                <a:gd name="connsiteX27" fmla="*/ 251936 w 335184"/>
                <a:gd name="connsiteY27" fmla="*/ 193453 h 266604"/>
                <a:gd name="connsiteX28" fmla="*/ 251460 w 335184"/>
                <a:gd name="connsiteY28" fmla="*/ 190309 h 266604"/>
                <a:gd name="connsiteX29" fmla="*/ 251270 w 335184"/>
                <a:gd name="connsiteY29" fmla="*/ 188690 h 266604"/>
                <a:gd name="connsiteX30" fmla="*/ 248317 w 335184"/>
                <a:gd name="connsiteY30" fmla="*/ 190690 h 266604"/>
                <a:gd name="connsiteX31" fmla="*/ 249079 w 335184"/>
                <a:gd name="connsiteY31" fmla="*/ 184213 h 266604"/>
                <a:gd name="connsiteX32" fmla="*/ 244602 w 335184"/>
                <a:gd name="connsiteY32" fmla="*/ 186404 h 266604"/>
                <a:gd name="connsiteX33" fmla="*/ 243364 w 335184"/>
                <a:gd name="connsiteY33" fmla="*/ 189738 h 266604"/>
                <a:gd name="connsiteX34" fmla="*/ 243364 w 335184"/>
                <a:gd name="connsiteY34" fmla="*/ 189738 h 266604"/>
                <a:gd name="connsiteX35" fmla="*/ 240411 w 335184"/>
                <a:gd name="connsiteY35" fmla="*/ 191738 h 266604"/>
                <a:gd name="connsiteX36" fmla="*/ 237458 w 335184"/>
                <a:gd name="connsiteY36" fmla="*/ 193643 h 266604"/>
                <a:gd name="connsiteX37" fmla="*/ 238887 w 335184"/>
                <a:gd name="connsiteY37" fmla="*/ 191929 h 266604"/>
                <a:gd name="connsiteX38" fmla="*/ 235744 w 335184"/>
                <a:gd name="connsiteY38" fmla="*/ 192310 h 266604"/>
                <a:gd name="connsiteX39" fmla="*/ 235267 w 335184"/>
                <a:gd name="connsiteY39" fmla="*/ 189166 h 266604"/>
                <a:gd name="connsiteX40" fmla="*/ 233744 w 335184"/>
                <a:gd name="connsiteY40" fmla="*/ 189357 h 266604"/>
                <a:gd name="connsiteX41" fmla="*/ 228791 w 335184"/>
                <a:gd name="connsiteY41" fmla="*/ 188404 h 266604"/>
                <a:gd name="connsiteX42" fmla="*/ 228981 w 335184"/>
                <a:gd name="connsiteY42" fmla="*/ 189928 h 266604"/>
                <a:gd name="connsiteX43" fmla="*/ 226219 w 335184"/>
                <a:gd name="connsiteY43" fmla="*/ 193548 h 266604"/>
                <a:gd name="connsiteX44" fmla="*/ 221551 w 335184"/>
                <a:gd name="connsiteY44" fmla="*/ 194119 h 266604"/>
                <a:gd name="connsiteX45" fmla="*/ 214408 w 335184"/>
                <a:gd name="connsiteY45" fmla="*/ 188595 h 266604"/>
                <a:gd name="connsiteX46" fmla="*/ 211455 w 335184"/>
                <a:gd name="connsiteY46" fmla="*/ 190595 h 266604"/>
                <a:gd name="connsiteX47" fmla="*/ 205359 w 335184"/>
                <a:gd name="connsiteY47" fmla="*/ 192976 h 266604"/>
                <a:gd name="connsiteX48" fmla="*/ 211265 w 335184"/>
                <a:gd name="connsiteY48" fmla="*/ 201835 h 266604"/>
                <a:gd name="connsiteX49" fmla="*/ 203740 w 335184"/>
                <a:gd name="connsiteY49" fmla="*/ 206026 h 266604"/>
                <a:gd name="connsiteX50" fmla="*/ 204216 w 335184"/>
                <a:gd name="connsiteY50" fmla="*/ 209169 h 266604"/>
                <a:gd name="connsiteX51" fmla="*/ 202406 w 335184"/>
                <a:gd name="connsiteY51" fmla="*/ 207740 h 266604"/>
                <a:gd name="connsiteX52" fmla="*/ 200978 w 335184"/>
                <a:gd name="connsiteY52" fmla="*/ 209550 h 266604"/>
                <a:gd name="connsiteX53" fmla="*/ 199644 w 335184"/>
                <a:gd name="connsiteY53" fmla="*/ 211360 h 266604"/>
                <a:gd name="connsiteX54" fmla="*/ 196501 w 335184"/>
                <a:gd name="connsiteY54" fmla="*/ 211741 h 266604"/>
                <a:gd name="connsiteX55" fmla="*/ 195644 w 335184"/>
                <a:gd name="connsiteY55" fmla="*/ 205454 h 266604"/>
                <a:gd name="connsiteX56" fmla="*/ 180308 w 335184"/>
                <a:gd name="connsiteY56" fmla="*/ 210598 h 266604"/>
                <a:gd name="connsiteX57" fmla="*/ 181070 w 335184"/>
                <a:gd name="connsiteY57" fmla="*/ 216884 h 266604"/>
                <a:gd name="connsiteX58" fmla="*/ 182690 w 335184"/>
                <a:gd name="connsiteY58" fmla="*/ 216694 h 266604"/>
                <a:gd name="connsiteX59" fmla="*/ 182880 w 335184"/>
                <a:gd name="connsiteY59" fmla="*/ 218313 h 266604"/>
                <a:gd name="connsiteX60" fmla="*/ 171831 w 335184"/>
                <a:gd name="connsiteY60" fmla="*/ 219646 h 266604"/>
                <a:gd name="connsiteX61" fmla="*/ 172403 w 335184"/>
                <a:gd name="connsiteY61" fmla="*/ 224409 h 266604"/>
                <a:gd name="connsiteX62" fmla="*/ 167354 w 335184"/>
                <a:gd name="connsiteY62" fmla="*/ 221837 h 266604"/>
                <a:gd name="connsiteX63" fmla="*/ 166973 w 335184"/>
                <a:gd name="connsiteY63" fmla="*/ 231553 h 266604"/>
                <a:gd name="connsiteX64" fmla="*/ 164211 w 335184"/>
                <a:gd name="connsiteY64" fmla="*/ 235077 h 266604"/>
                <a:gd name="connsiteX65" fmla="*/ 159258 w 335184"/>
                <a:gd name="connsiteY65" fmla="*/ 234125 h 266604"/>
                <a:gd name="connsiteX66" fmla="*/ 155924 w 335184"/>
                <a:gd name="connsiteY66" fmla="*/ 232981 h 266604"/>
                <a:gd name="connsiteX67" fmla="*/ 152495 w 335184"/>
                <a:gd name="connsiteY67" fmla="*/ 231743 h 266604"/>
                <a:gd name="connsiteX68" fmla="*/ 148400 w 335184"/>
                <a:gd name="connsiteY68" fmla="*/ 237077 h 266604"/>
                <a:gd name="connsiteX69" fmla="*/ 137732 w 335184"/>
                <a:gd name="connsiteY69" fmla="*/ 241649 h 266604"/>
                <a:gd name="connsiteX70" fmla="*/ 133064 w 335184"/>
                <a:gd name="connsiteY70" fmla="*/ 242316 h 266604"/>
                <a:gd name="connsiteX71" fmla="*/ 122111 w 335184"/>
                <a:gd name="connsiteY71" fmla="*/ 232410 h 266604"/>
                <a:gd name="connsiteX72" fmla="*/ 120777 w 335184"/>
                <a:gd name="connsiteY72" fmla="*/ 234220 h 266604"/>
                <a:gd name="connsiteX73" fmla="*/ 116872 w 335184"/>
                <a:gd name="connsiteY73" fmla="*/ 253937 h 266604"/>
                <a:gd name="connsiteX74" fmla="*/ 117634 w 335184"/>
                <a:gd name="connsiteY74" fmla="*/ 260223 h 266604"/>
                <a:gd name="connsiteX75" fmla="*/ 118110 w 335184"/>
                <a:gd name="connsiteY75" fmla="*/ 263462 h 266604"/>
                <a:gd name="connsiteX76" fmla="*/ 118491 w 335184"/>
                <a:gd name="connsiteY76" fmla="*/ 266605 h 266604"/>
                <a:gd name="connsiteX77" fmla="*/ 115157 w 335184"/>
                <a:gd name="connsiteY77" fmla="*/ 265367 h 266604"/>
                <a:gd name="connsiteX78" fmla="*/ 112776 w 335184"/>
                <a:gd name="connsiteY78" fmla="*/ 259271 h 266604"/>
                <a:gd name="connsiteX79" fmla="*/ 107823 w 335184"/>
                <a:gd name="connsiteY79" fmla="*/ 258318 h 266604"/>
                <a:gd name="connsiteX80" fmla="*/ 101917 w 335184"/>
                <a:gd name="connsiteY80" fmla="*/ 262318 h 266604"/>
                <a:gd name="connsiteX81" fmla="*/ 101727 w 335184"/>
                <a:gd name="connsiteY81" fmla="*/ 260699 h 266604"/>
                <a:gd name="connsiteX82" fmla="*/ 101251 w 335184"/>
                <a:gd name="connsiteY82" fmla="*/ 257556 h 266604"/>
                <a:gd name="connsiteX83" fmla="*/ 97917 w 335184"/>
                <a:gd name="connsiteY83" fmla="*/ 256413 h 266604"/>
                <a:gd name="connsiteX84" fmla="*/ 92012 w 335184"/>
                <a:gd name="connsiteY84" fmla="*/ 260318 h 266604"/>
                <a:gd name="connsiteX85" fmla="*/ 91821 w 335184"/>
                <a:gd name="connsiteY85" fmla="*/ 258794 h 266604"/>
                <a:gd name="connsiteX86" fmla="*/ 77438 w 335184"/>
                <a:gd name="connsiteY86" fmla="*/ 258985 h 266604"/>
                <a:gd name="connsiteX87" fmla="*/ 75247 w 335184"/>
                <a:gd name="connsiteY87" fmla="*/ 254413 h 266604"/>
                <a:gd name="connsiteX88" fmla="*/ 69913 w 335184"/>
                <a:gd name="connsiteY88" fmla="*/ 250317 h 266604"/>
                <a:gd name="connsiteX89" fmla="*/ 67913 w 335184"/>
                <a:gd name="connsiteY89" fmla="*/ 247364 h 266604"/>
                <a:gd name="connsiteX90" fmla="*/ 71628 w 335184"/>
                <a:gd name="connsiteY90" fmla="*/ 238887 h 266604"/>
                <a:gd name="connsiteX91" fmla="*/ 74581 w 335184"/>
                <a:gd name="connsiteY91" fmla="*/ 236887 h 266604"/>
                <a:gd name="connsiteX92" fmla="*/ 79724 w 335184"/>
                <a:gd name="connsiteY92" fmla="*/ 239459 h 266604"/>
                <a:gd name="connsiteX93" fmla="*/ 83629 w 335184"/>
                <a:gd name="connsiteY93" fmla="*/ 232505 h 266604"/>
                <a:gd name="connsiteX94" fmla="*/ 83439 w 335184"/>
                <a:gd name="connsiteY94" fmla="*/ 230981 h 266604"/>
                <a:gd name="connsiteX95" fmla="*/ 81725 w 335184"/>
                <a:gd name="connsiteY95" fmla="*/ 229552 h 266604"/>
                <a:gd name="connsiteX96" fmla="*/ 72390 w 335184"/>
                <a:gd name="connsiteY96" fmla="*/ 232315 h 266604"/>
                <a:gd name="connsiteX97" fmla="*/ 70866 w 335184"/>
                <a:gd name="connsiteY97" fmla="*/ 232600 h 266604"/>
                <a:gd name="connsiteX98" fmla="*/ 70675 w 335184"/>
                <a:gd name="connsiteY98" fmla="*/ 230981 h 266604"/>
                <a:gd name="connsiteX99" fmla="*/ 79153 w 335184"/>
                <a:gd name="connsiteY99" fmla="*/ 221837 h 266604"/>
                <a:gd name="connsiteX100" fmla="*/ 78486 w 335184"/>
                <a:gd name="connsiteY100" fmla="*/ 217170 h 266604"/>
                <a:gd name="connsiteX101" fmla="*/ 74962 w 335184"/>
                <a:gd name="connsiteY101" fmla="*/ 214408 h 266604"/>
                <a:gd name="connsiteX102" fmla="*/ 81058 w 335184"/>
                <a:gd name="connsiteY102" fmla="*/ 212026 h 266604"/>
                <a:gd name="connsiteX103" fmla="*/ 75724 w 335184"/>
                <a:gd name="connsiteY103" fmla="*/ 207836 h 266604"/>
                <a:gd name="connsiteX104" fmla="*/ 74104 w 335184"/>
                <a:gd name="connsiteY104" fmla="*/ 208121 h 266604"/>
                <a:gd name="connsiteX105" fmla="*/ 63532 w 335184"/>
                <a:gd name="connsiteY105" fmla="*/ 212693 h 266604"/>
                <a:gd name="connsiteX106" fmla="*/ 61150 w 335184"/>
                <a:gd name="connsiteY106" fmla="*/ 206502 h 266604"/>
                <a:gd name="connsiteX107" fmla="*/ 57912 w 335184"/>
                <a:gd name="connsiteY107" fmla="*/ 206978 h 266604"/>
                <a:gd name="connsiteX108" fmla="*/ 56007 w 335184"/>
                <a:gd name="connsiteY108" fmla="*/ 204025 h 266604"/>
                <a:gd name="connsiteX109" fmla="*/ 52578 w 335184"/>
                <a:gd name="connsiteY109" fmla="*/ 202787 h 266604"/>
                <a:gd name="connsiteX110" fmla="*/ 52388 w 335184"/>
                <a:gd name="connsiteY110" fmla="*/ 201263 h 266604"/>
                <a:gd name="connsiteX111" fmla="*/ 48673 w 335184"/>
                <a:gd name="connsiteY111" fmla="*/ 196882 h 266604"/>
                <a:gd name="connsiteX112" fmla="*/ 51625 w 335184"/>
                <a:gd name="connsiteY112" fmla="*/ 194881 h 266604"/>
                <a:gd name="connsiteX113" fmla="*/ 52007 w 335184"/>
                <a:gd name="connsiteY113" fmla="*/ 185261 h 266604"/>
                <a:gd name="connsiteX114" fmla="*/ 59055 w 335184"/>
                <a:gd name="connsiteY114" fmla="*/ 190786 h 266604"/>
                <a:gd name="connsiteX115" fmla="*/ 63437 w 335184"/>
                <a:gd name="connsiteY115" fmla="*/ 174212 h 266604"/>
                <a:gd name="connsiteX116" fmla="*/ 63246 w 335184"/>
                <a:gd name="connsiteY116" fmla="*/ 172593 h 266604"/>
                <a:gd name="connsiteX117" fmla="*/ 50387 w 335184"/>
                <a:gd name="connsiteY117" fmla="*/ 172593 h 266604"/>
                <a:gd name="connsiteX118" fmla="*/ 43244 w 335184"/>
                <a:gd name="connsiteY118" fmla="*/ 167068 h 266604"/>
                <a:gd name="connsiteX119" fmla="*/ 39719 w 335184"/>
                <a:gd name="connsiteY119" fmla="*/ 164401 h 266604"/>
                <a:gd name="connsiteX120" fmla="*/ 30194 w 335184"/>
                <a:gd name="connsiteY120" fmla="*/ 152781 h 266604"/>
                <a:gd name="connsiteX121" fmla="*/ 30004 w 335184"/>
                <a:gd name="connsiteY121" fmla="*/ 151162 h 266604"/>
                <a:gd name="connsiteX122" fmla="*/ 30766 w 335184"/>
                <a:gd name="connsiteY122" fmla="*/ 144685 h 266604"/>
                <a:gd name="connsiteX123" fmla="*/ 29242 w 335184"/>
                <a:gd name="connsiteY123" fmla="*/ 144875 h 266604"/>
                <a:gd name="connsiteX124" fmla="*/ 31909 w 335184"/>
                <a:gd name="connsiteY124" fmla="*/ 141256 h 266604"/>
                <a:gd name="connsiteX125" fmla="*/ 31528 w 335184"/>
                <a:gd name="connsiteY125" fmla="*/ 138113 h 266604"/>
                <a:gd name="connsiteX126" fmla="*/ 26765 w 335184"/>
                <a:gd name="connsiteY126" fmla="*/ 138779 h 266604"/>
                <a:gd name="connsiteX127" fmla="*/ 26384 w 335184"/>
                <a:gd name="connsiteY127" fmla="*/ 135541 h 266604"/>
                <a:gd name="connsiteX128" fmla="*/ 23241 w 335184"/>
                <a:gd name="connsiteY128" fmla="*/ 136017 h 266604"/>
                <a:gd name="connsiteX129" fmla="*/ 21241 w 335184"/>
                <a:gd name="connsiteY129" fmla="*/ 133064 h 266604"/>
                <a:gd name="connsiteX130" fmla="*/ 16383 w 335184"/>
                <a:gd name="connsiteY130" fmla="*/ 132016 h 266604"/>
                <a:gd name="connsiteX131" fmla="*/ 15716 w 335184"/>
                <a:gd name="connsiteY131" fmla="*/ 127349 h 266604"/>
                <a:gd name="connsiteX132" fmla="*/ 18859 w 335184"/>
                <a:gd name="connsiteY132" fmla="*/ 126873 h 266604"/>
                <a:gd name="connsiteX133" fmla="*/ 23432 w 335184"/>
                <a:gd name="connsiteY133" fmla="*/ 124777 h 266604"/>
                <a:gd name="connsiteX134" fmla="*/ 22384 w 335184"/>
                <a:gd name="connsiteY134" fmla="*/ 116872 h 266604"/>
                <a:gd name="connsiteX135" fmla="*/ 33433 w 335184"/>
                <a:gd name="connsiteY135" fmla="*/ 115443 h 266604"/>
                <a:gd name="connsiteX136" fmla="*/ 37052 w 335184"/>
                <a:gd name="connsiteY136" fmla="*/ 118205 h 266604"/>
                <a:gd name="connsiteX137" fmla="*/ 38195 w 335184"/>
                <a:gd name="connsiteY137" fmla="*/ 114871 h 266604"/>
                <a:gd name="connsiteX138" fmla="*/ 44672 w 335184"/>
                <a:gd name="connsiteY138" fmla="*/ 115633 h 266604"/>
                <a:gd name="connsiteX139" fmla="*/ 44482 w 335184"/>
                <a:gd name="connsiteY139" fmla="*/ 114014 h 266604"/>
                <a:gd name="connsiteX140" fmla="*/ 44291 w 335184"/>
                <a:gd name="connsiteY140" fmla="*/ 112490 h 266604"/>
                <a:gd name="connsiteX141" fmla="*/ 44101 w 335184"/>
                <a:gd name="connsiteY141" fmla="*/ 110871 h 266604"/>
                <a:gd name="connsiteX142" fmla="*/ 40767 w 335184"/>
                <a:gd name="connsiteY142" fmla="*/ 109728 h 266604"/>
                <a:gd name="connsiteX143" fmla="*/ 41910 w 335184"/>
                <a:gd name="connsiteY143" fmla="*/ 106299 h 266604"/>
                <a:gd name="connsiteX144" fmla="*/ 34004 w 335184"/>
                <a:gd name="connsiteY144" fmla="*/ 107347 h 266604"/>
                <a:gd name="connsiteX145" fmla="*/ 33052 w 335184"/>
                <a:gd name="connsiteY145" fmla="*/ 99441 h 266604"/>
                <a:gd name="connsiteX146" fmla="*/ 30099 w 335184"/>
                <a:gd name="connsiteY146" fmla="*/ 101441 h 266604"/>
                <a:gd name="connsiteX147" fmla="*/ 24955 w 335184"/>
                <a:gd name="connsiteY147" fmla="*/ 98869 h 266604"/>
                <a:gd name="connsiteX148" fmla="*/ 23717 w 335184"/>
                <a:gd name="connsiteY148" fmla="*/ 89440 h 266604"/>
                <a:gd name="connsiteX149" fmla="*/ 20193 w 335184"/>
                <a:gd name="connsiteY149" fmla="*/ 86677 h 266604"/>
                <a:gd name="connsiteX150" fmla="*/ 23146 w 335184"/>
                <a:gd name="connsiteY150" fmla="*/ 84677 h 266604"/>
                <a:gd name="connsiteX151" fmla="*/ 19145 w 335184"/>
                <a:gd name="connsiteY151" fmla="*/ 78772 h 266604"/>
                <a:gd name="connsiteX152" fmla="*/ 13049 w 335184"/>
                <a:gd name="connsiteY152" fmla="*/ 81153 h 266604"/>
                <a:gd name="connsiteX153" fmla="*/ 8572 w 335184"/>
                <a:gd name="connsiteY153" fmla="*/ 83344 h 266604"/>
                <a:gd name="connsiteX154" fmla="*/ 4953 w 335184"/>
                <a:gd name="connsiteY154" fmla="*/ 80581 h 266604"/>
                <a:gd name="connsiteX155" fmla="*/ 667 w 335184"/>
                <a:gd name="connsiteY155" fmla="*/ 84296 h 266604"/>
                <a:gd name="connsiteX156" fmla="*/ 191 w 335184"/>
                <a:gd name="connsiteY156" fmla="*/ 81153 h 266604"/>
                <a:gd name="connsiteX157" fmla="*/ 0 w 335184"/>
                <a:gd name="connsiteY157" fmla="*/ 79629 h 266604"/>
                <a:gd name="connsiteX158" fmla="*/ 9334 w 335184"/>
                <a:gd name="connsiteY158" fmla="*/ 76771 h 266604"/>
                <a:gd name="connsiteX159" fmla="*/ 8668 w 335184"/>
                <a:gd name="connsiteY159" fmla="*/ 72104 h 266604"/>
                <a:gd name="connsiteX160" fmla="*/ 10096 w 335184"/>
                <a:gd name="connsiteY160" fmla="*/ 70294 h 266604"/>
                <a:gd name="connsiteX161" fmla="*/ 11811 w 335184"/>
                <a:gd name="connsiteY161" fmla="*/ 71723 h 266604"/>
                <a:gd name="connsiteX162" fmla="*/ 13621 w 335184"/>
                <a:gd name="connsiteY162" fmla="*/ 73057 h 266604"/>
                <a:gd name="connsiteX163" fmla="*/ 21336 w 335184"/>
                <a:gd name="connsiteY163" fmla="*/ 70485 h 266604"/>
                <a:gd name="connsiteX164" fmla="*/ 21146 w 335184"/>
                <a:gd name="connsiteY164" fmla="*/ 68866 h 266604"/>
                <a:gd name="connsiteX165" fmla="*/ 22479 w 335184"/>
                <a:gd name="connsiteY165" fmla="*/ 67151 h 266604"/>
                <a:gd name="connsiteX166" fmla="*/ 22670 w 335184"/>
                <a:gd name="connsiteY166" fmla="*/ 68675 h 266604"/>
                <a:gd name="connsiteX167" fmla="*/ 31813 w 335184"/>
                <a:gd name="connsiteY167" fmla="*/ 64294 h 266604"/>
                <a:gd name="connsiteX168" fmla="*/ 37909 w 335184"/>
                <a:gd name="connsiteY168" fmla="*/ 61913 h 266604"/>
                <a:gd name="connsiteX169" fmla="*/ 41815 w 335184"/>
                <a:gd name="connsiteY169" fmla="*/ 67818 h 266604"/>
                <a:gd name="connsiteX170" fmla="*/ 43244 w 335184"/>
                <a:gd name="connsiteY170" fmla="*/ 66103 h 266604"/>
                <a:gd name="connsiteX171" fmla="*/ 50483 w 335184"/>
                <a:gd name="connsiteY171" fmla="*/ 60388 h 266604"/>
                <a:gd name="connsiteX172" fmla="*/ 48292 w 335184"/>
                <a:gd name="connsiteY172" fmla="*/ 55816 h 266604"/>
                <a:gd name="connsiteX173" fmla="*/ 52864 w 335184"/>
                <a:gd name="connsiteY173" fmla="*/ 53626 h 266604"/>
                <a:gd name="connsiteX174" fmla="*/ 52483 w 335184"/>
                <a:gd name="connsiteY174" fmla="*/ 50482 h 266604"/>
                <a:gd name="connsiteX175" fmla="*/ 57436 w 335184"/>
                <a:gd name="connsiteY175" fmla="*/ 51435 h 266604"/>
                <a:gd name="connsiteX176" fmla="*/ 59150 w 335184"/>
                <a:gd name="connsiteY176" fmla="*/ 52864 h 266604"/>
                <a:gd name="connsiteX177" fmla="*/ 62294 w 335184"/>
                <a:gd name="connsiteY177" fmla="*/ 52388 h 266604"/>
                <a:gd name="connsiteX178" fmla="*/ 62960 w 335184"/>
                <a:gd name="connsiteY178" fmla="*/ 57150 h 266604"/>
                <a:gd name="connsiteX179" fmla="*/ 65342 w 335184"/>
                <a:gd name="connsiteY179" fmla="*/ 63246 h 266604"/>
                <a:gd name="connsiteX180" fmla="*/ 65913 w 335184"/>
                <a:gd name="connsiteY180" fmla="*/ 68008 h 266604"/>
                <a:gd name="connsiteX181" fmla="*/ 72009 w 335184"/>
                <a:gd name="connsiteY181" fmla="*/ 65627 h 266604"/>
                <a:gd name="connsiteX182" fmla="*/ 90011 w 335184"/>
                <a:gd name="connsiteY182" fmla="*/ 68104 h 266604"/>
                <a:gd name="connsiteX183" fmla="*/ 94679 w 335184"/>
                <a:gd name="connsiteY183" fmla="*/ 67532 h 266604"/>
                <a:gd name="connsiteX184" fmla="*/ 90392 w 335184"/>
                <a:gd name="connsiteY184" fmla="*/ 58483 h 266604"/>
                <a:gd name="connsiteX185" fmla="*/ 92678 w 335184"/>
                <a:gd name="connsiteY185" fmla="*/ 51721 h 266604"/>
                <a:gd name="connsiteX186" fmla="*/ 91154 w 335184"/>
                <a:gd name="connsiteY186" fmla="*/ 51911 h 266604"/>
                <a:gd name="connsiteX187" fmla="*/ 90964 w 335184"/>
                <a:gd name="connsiteY187" fmla="*/ 50387 h 266604"/>
                <a:gd name="connsiteX188" fmla="*/ 90107 w 335184"/>
                <a:gd name="connsiteY188" fmla="*/ 44101 h 266604"/>
                <a:gd name="connsiteX189" fmla="*/ 91535 w 335184"/>
                <a:gd name="connsiteY189" fmla="*/ 42291 h 266604"/>
                <a:gd name="connsiteX190" fmla="*/ 91059 w 335184"/>
                <a:gd name="connsiteY190" fmla="*/ 39148 h 266604"/>
                <a:gd name="connsiteX191" fmla="*/ 96393 w 335184"/>
                <a:gd name="connsiteY191" fmla="*/ 30480 h 266604"/>
                <a:gd name="connsiteX192" fmla="*/ 102965 w 335184"/>
                <a:gd name="connsiteY192" fmla="*/ 31242 h 266604"/>
                <a:gd name="connsiteX193" fmla="*/ 108013 w 335184"/>
                <a:gd name="connsiteY193" fmla="*/ 33814 h 266604"/>
                <a:gd name="connsiteX194" fmla="*/ 111252 w 335184"/>
                <a:gd name="connsiteY194" fmla="*/ 33338 h 266604"/>
                <a:gd name="connsiteX195" fmla="*/ 116776 w 335184"/>
                <a:gd name="connsiteY195" fmla="*/ 39052 h 266604"/>
                <a:gd name="connsiteX196" fmla="*/ 121253 w 335184"/>
                <a:gd name="connsiteY196" fmla="*/ 36862 h 266604"/>
                <a:gd name="connsiteX197" fmla="*/ 122301 w 335184"/>
                <a:gd name="connsiteY197" fmla="*/ 32004 h 266604"/>
                <a:gd name="connsiteX198" fmla="*/ 125635 w 335184"/>
                <a:gd name="connsiteY198" fmla="*/ 33147 h 266604"/>
                <a:gd name="connsiteX199" fmla="*/ 136493 w 335184"/>
                <a:gd name="connsiteY199" fmla="*/ 30194 h 266604"/>
                <a:gd name="connsiteX200" fmla="*/ 136493 w 335184"/>
                <a:gd name="connsiteY200" fmla="*/ 30194 h 266604"/>
                <a:gd name="connsiteX201" fmla="*/ 135826 w 335184"/>
                <a:gd name="connsiteY201" fmla="*/ 25432 h 266604"/>
                <a:gd name="connsiteX202" fmla="*/ 140779 w 335184"/>
                <a:gd name="connsiteY202" fmla="*/ 26384 h 266604"/>
                <a:gd name="connsiteX203" fmla="*/ 140017 w 335184"/>
                <a:gd name="connsiteY203" fmla="*/ 20098 h 266604"/>
                <a:gd name="connsiteX204" fmla="*/ 149828 w 335184"/>
                <a:gd name="connsiteY204" fmla="*/ 22003 h 266604"/>
                <a:gd name="connsiteX205" fmla="*/ 162496 w 335184"/>
                <a:gd name="connsiteY205" fmla="*/ 20383 h 266604"/>
                <a:gd name="connsiteX206" fmla="*/ 167259 w 335184"/>
                <a:gd name="connsiteY206" fmla="*/ 19812 h 266604"/>
                <a:gd name="connsiteX207" fmla="*/ 166402 w 335184"/>
                <a:gd name="connsiteY207" fmla="*/ 13525 h 266604"/>
                <a:gd name="connsiteX208" fmla="*/ 168021 w 335184"/>
                <a:gd name="connsiteY208" fmla="*/ 13335 h 266604"/>
                <a:gd name="connsiteX209" fmla="*/ 167354 w 335184"/>
                <a:gd name="connsiteY209" fmla="*/ 8572 h 266604"/>
                <a:gd name="connsiteX210" fmla="*/ 176879 w 335184"/>
                <a:gd name="connsiteY210" fmla="*/ 7334 h 266604"/>
                <a:gd name="connsiteX211" fmla="*/ 176498 w 335184"/>
                <a:gd name="connsiteY211" fmla="*/ 4191 h 266604"/>
                <a:gd name="connsiteX212" fmla="*/ 189452 w 335184"/>
                <a:gd name="connsiteY212" fmla="*/ 5715 h 266604"/>
                <a:gd name="connsiteX213" fmla="*/ 196025 w 335184"/>
                <a:gd name="connsiteY213" fmla="*/ 6572 h 266604"/>
                <a:gd name="connsiteX214" fmla="*/ 197167 w 335184"/>
                <a:gd name="connsiteY214" fmla="*/ 3143 h 266604"/>
                <a:gd name="connsiteX215" fmla="*/ 203645 w 335184"/>
                <a:gd name="connsiteY215" fmla="*/ 3905 h 266604"/>
                <a:gd name="connsiteX216" fmla="*/ 209645 w 335184"/>
                <a:gd name="connsiteY216" fmla="*/ 0 h 266604"/>
                <a:gd name="connsiteX217" fmla="*/ 214503 w 335184"/>
                <a:gd name="connsiteY217" fmla="*/ 952 h 266604"/>
                <a:gd name="connsiteX218" fmla="*/ 214408 w 335184"/>
                <a:gd name="connsiteY218" fmla="*/ 12192 h 266604"/>
                <a:gd name="connsiteX219" fmla="*/ 212788 w 335184"/>
                <a:gd name="connsiteY219" fmla="*/ 12382 h 266604"/>
                <a:gd name="connsiteX220" fmla="*/ 213550 w 335184"/>
                <a:gd name="connsiteY220" fmla="*/ 18764 h 266604"/>
                <a:gd name="connsiteX221" fmla="*/ 217932 w 335184"/>
                <a:gd name="connsiteY221" fmla="*/ 14954 h 266604"/>
                <a:gd name="connsiteX222" fmla="*/ 219932 w 335184"/>
                <a:gd name="connsiteY222" fmla="*/ 17907 h 266604"/>
                <a:gd name="connsiteX223" fmla="*/ 222885 w 335184"/>
                <a:gd name="connsiteY223" fmla="*/ 15907 h 266604"/>
                <a:gd name="connsiteX224" fmla="*/ 224028 w 335184"/>
                <a:gd name="connsiteY224" fmla="*/ 12573 h 266604"/>
                <a:gd name="connsiteX225" fmla="*/ 227838 w 335184"/>
                <a:gd name="connsiteY225" fmla="*/ 16954 h 266604"/>
                <a:gd name="connsiteX226" fmla="*/ 232696 w 335184"/>
                <a:gd name="connsiteY226" fmla="*/ 17907 h 266604"/>
                <a:gd name="connsiteX227" fmla="*/ 235077 w 335184"/>
                <a:gd name="connsiteY227" fmla="*/ 24003 h 266604"/>
                <a:gd name="connsiteX228" fmla="*/ 233744 w 335184"/>
                <a:gd name="connsiteY228" fmla="*/ 25813 h 266604"/>
                <a:gd name="connsiteX229" fmla="*/ 234505 w 335184"/>
                <a:gd name="connsiteY229" fmla="*/ 32099 h 266604"/>
                <a:gd name="connsiteX230" fmla="*/ 237458 w 335184"/>
                <a:gd name="connsiteY230" fmla="*/ 30099 h 266604"/>
                <a:gd name="connsiteX231" fmla="*/ 239268 w 335184"/>
                <a:gd name="connsiteY231" fmla="*/ 31432 h 266604"/>
                <a:gd name="connsiteX232" fmla="*/ 245745 w 335184"/>
                <a:gd name="connsiteY232" fmla="*/ 32290 h 266604"/>
                <a:gd name="connsiteX233" fmla="*/ 249936 w 335184"/>
                <a:gd name="connsiteY233" fmla="*/ 26956 h 266604"/>
                <a:gd name="connsiteX234" fmla="*/ 253079 w 335184"/>
                <a:gd name="connsiteY234" fmla="*/ 26479 h 266604"/>
                <a:gd name="connsiteX235" fmla="*/ 259556 w 335184"/>
                <a:gd name="connsiteY235" fmla="*/ 27241 h 266604"/>
                <a:gd name="connsiteX236" fmla="*/ 255651 w 335184"/>
                <a:gd name="connsiteY236" fmla="*/ 34195 h 266604"/>
                <a:gd name="connsiteX237" fmla="*/ 251079 w 335184"/>
                <a:gd name="connsiteY237" fmla="*/ 36385 h 266604"/>
                <a:gd name="connsiteX238" fmla="*/ 253270 w 335184"/>
                <a:gd name="connsiteY238" fmla="*/ 40957 h 266604"/>
                <a:gd name="connsiteX239" fmla="*/ 253460 w 335184"/>
                <a:gd name="connsiteY239" fmla="*/ 42481 h 266604"/>
                <a:gd name="connsiteX240" fmla="*/ 255937 w 335184"/>
                <a:gd name="connsiteY240" fmla="*/ 48577 h 266604"/>
                <a:gd name="connsiteX241" fmla="*/ 261461 w 335184"/>
                <a:gd name="connsiteY241" fmla="*/ 54292 h 266604"/>
                <a:gd name="connsiteX242" fmla="*/ 261461 w 335184"/>
                <a:gd name="connsiteY242" fmla="*/ 54292 h 266604"/>
                <a:gd name="connsiteX243" fmla="*/ 263366 w 335184"/>
                <a:gd name="connsiteY243" fmla="*/ 57245 h 266604"/>
                <a:gd name="connsiteX244" fmla="*/ 266795 w 335184"/>
                <a:gd name="connsiteY244" fmla="*/ 58483 h 266604"/>
                <a:gd name="connsiteX245" fmla="*/ 274415 w 335184"/>
                <a:gd name="connsiteY245" fmla="*/ 55912 h 266604"/>
                <a:gd name="connsiteX246" fmla="*/ 276225 w 335184"/>
                <a:gd name="connsiteY246" fmla="*/ 57245 h 266604"/>
                <a:gd name="connsiteX247" fmla="*/ 283940 w 335184"/>
                <a:gd name="connsiteY247" fmla="*/ 54673 h 266604"/>
                <a:gd name="connsiteX248" fmla="*/ 284702 w 335184"/>
                <a:gd name="connsiteY248" fmla="*/ 60960 h 266604"/>
                <a:gd name="connsiteX249" fmla="*/ 301085 w 335184"/>
                <a:gd name="connsiteY249" fmla="*/ 63722 h 266604"/>
                <a:gd name="connsiteX250" fmla="*/ 300133 w 335184"/>
                <a:gd name="connsiteY250" fmla="*/ 81439 h 266604"/>
                <a:gd name="connsiteX251" fmla="*/ 305467 w 335184"/>
                <a:gd name="connsiteY251" fmla="*/ 85630 h 266604"/>
                <a:gd name="connsiteX252" fmla="*/ 308420 w 335184"/>
                <a:gd name="connsiteY252" fmla="*/ 83629 h 266604"/>
                <a:gd name="connsiteX253" fmla="*/ 313563 w 335184"/>
                <a:gd name="connsiteY253" fmla="*/ 86201 h 266604"/>
                <a:gd name="connsiteX254" fmla="*/ 323659 w 335184"/>
                <a:gd name="connsiteY254" fmla="*/ 89725 h 266604"/>
                <a:gd name="connsiteX255" fmla="*/ 322326 w 335184"/>
                <a:gd name="connsiteY255" fmla="*/ 91440 h 266604"/>
                <a:gd name="connsiteX256" fmla="*/ 322707 w 335184"/>
                <a:gd name="connsiteY256" fmla="*/ 94583 h 266604"/>
                <a:gd name="connsiteX257" fmla="*/ 322707 w 335184"/>
                <a:gd name="connsiteY257" fmla="*/ 94583 h 266604"/>
                <a:gd name="connsiteX258" fmla="*/ 332804 w 335184"/>
                <a:gd name="connsiteY258" fmla="*/ 98203 h 266604"/>
                <a:gd name="connsiteX259" fmla="*/ 335185 w 335184"/>
                <a:gd name="connsiteY259" fmla="*/ 104299 h 266604"/>
                <a:gd name="connsiteX260" fmla="*/ 329279 w 335184"/>
                <a:gd name="connsiteY260" fmla="*/ 121063 h 266604"/>
                <a:gd name="connsiteX261" fmla="*/ 321374 w 335184"/>
                <a:gd name="connsiteY261" fmla="*/ 122015 h 266604"/>
                <a:gd name="connsiteX262" fmla="*/ 321564 w 335184"/>
                <a:gd name="connsiteY262" fmla="*/ 123634 h 266604"/>
                <a:gd name="connsiteX263" fmla="*/ 309563 w 335184"/>
                <a:gd name="connsiteY263" fmla="*/ 130016 h 266604"/>
                <a:gd name="connsiteX264" fmla="*/ 301657 w 335184"/>
                <a:gd name="connsiteY264" fmla="*/ 130969 h 266604"/>
                <a:gd name="connsiteX265" fmla="*/ 300323 w 335184"/>
                <a:gd name="connsiteY265" fmla="*/ 132778 h 266604"/>
                <a:gd name="connsiteX266" fmla="*/ 300323 w 335184"/>
                <a:gd name="connsiteY266" fmla="*/ 132778 h 266604"/>
                <a:gd name="connsiteX267" fmla="*/ 295561 w 335184"/>
                <a:gd name="connsiteY267" fmla="*/ 133350 h 266604"/>
                <a:gd name="connsiteX268" fmla="*/ 295751 w 335184"/>
                <a:gd name="connsiteY268" fmla="*/ 134969 h 266604"/>
                <a:gd name="connsiteX269" fmla="*/ 290798 w 335184"/>
                <a:gd name="connsiteY269" fmla="*/ 133921 h 266604"/>
                <a:gd name="connsiteX270" fmla="*/ 292799 w 335184"/>
                <a:gd name="connsiteY270" fmla="*/ 136874 h 266604"/>
                <a:gd name="connsiteX271" fmla="*/ 289846 w 335184"/>
                <a:gd name="connsiteY271" fmla="*/ 138874 h 266604"/>
                <a:gd name="connsiteX272" fmla="*/ 288226 w 335184"/>
                <a:gd name="connsiteY272" fmla="*/ 139065 h 266604"/>
                <a:gd name="connsiteX273" fmla="*/ 287655 w 335184"/>
                <a:gd name="connsiteY273" fmla="*/ 147161 h 266604"/>
                <a:gd name="connsiteX274" fmla="*/ 290513 w 335184"/>
                <a:gd name="connsiteY274" fmla="*/ 156496 h 266604"/>
                <a:gd name="connsiteX275" fmla="*/ 294989 w 335184"/>
                <a:gd name="connsiteY275" fmla="*/ 154305 h 266604"/>
                <a:gd name="connsiteX276" fmla="*/ 297371 w 335184"/>
                <a:gd name="connsiteY276" fmla="*/ 147542 h 266604"/>
                <a:gd name="connsiteX277" fmla="*/ 302705 w 335184"/>
                <a:gd name="connsiteY277" fmla="*/ 151733 h 266604"/>
                <a:gd name="connsiteX278" fmla="*/ 306896 w 335184"/>
                <a:gd name="connsiteY278" fmla="*/ 159163 h 266604"/>
                <a:gd name="connsiteX279" fmla="*/ 300514 w 335184"/>
                <a:gd name="connsiteY279" fmla="*/ 160020 h 266604"/>
                <a:gd name="connsiteX280" fmla="*/ 299752 w 335184"/>
                <a:gd name="connsiteY280" fmla="*/ 166497 h 266604"/>
                <a:gd name="connsiteX281" fmla="*/ 303943 w 335184"/>
                <a:gd name="connsiteY281" fmla="*/ 174022 h 266604"/>
                <a:gd name="connsiteX282" fmla="*/ 308134 w 335184"/>
                <a:gd name="connsiteY282" fmla="*/ 181451 h 266604"/>
                <a:gd name="connsiteX283" fmla="*/ 306896 w 335184"/>
                <a:gd name="connsiteY283" fmla="*/ 184880 h 266604"/>
                <a:gd name="connsiteX284" fmla="*/ 306896 w 335184"/>
                <a:gd name="connsiteY284" fmla="*/ 184880 h 266604"/>
                <a:gd name="connsiteX285" fmla="*/ 306896 w 335184"/>
                <a:gd name="connsiteY285" fmla="*/ 184880 h 26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</a:cxnLst>
              <a:rect l="l" t="t" r="r" b="b"/>
              <a:pathLst>
                <a:path w="335184" h="266604">
                  <a:moveTo>
                    <a:pt x="306896" y="184880"/>
                  </a:moveTo>
                  <a:lnTo>
                    <a:pt x="307372" y="188023"/>
                  </a:lnTo>
                  <a:lnTo>
                    <a:pt x="302609" y="188595"/>
                  </a:lnTo>
                  <a:lnTo>
                    <a:pt x="303371" y="194881"/>
                  </a:lnTo>
                  <a:lnTo>
                    <a:pt x="300609" y="198501"/>
                  </a:lnTo>
                  <a:lnTo>
                    <a:pt x="295084" y="192786"/>
                  </a:lnTo>
                  <a:lnTo>
                    <a:pt x="293751" y="194500"/>
                  </a:lnTo>
                  <a:lnTo>
                    <a:pt x="292703" y="199453"/>
                  </a:lnTo>
                  <a:lnTo>
                    <a:pt x="290798" y="196501"/>
                  </a:lnTo>
                  <a:lnTo>
                    <a:pt x="289179" y="196691"/>
                  </a:lnTo>
                  <a:lnTo>
                    <a:pt x="293370" y="204216"/>
                  </a:lnTo>
                  <a:lnTo>
                    <a:pt x="289179" y="209550"/>
                  </a:lnTo>
                  <a:lnTo>
                    <a:pt x="284131" y="206978"/>
                  </a:lnTo>
                  <a:lnTo>
                    <a:pt x="279368" y="207550"/>
                  </a:lnTo>
                  <a:lnTo>
                    <a:pt x="274225" y="205073"/>
                  </a:lnTo>
                  <a:lnTo>
                    <a:pt x="274415" y="206597"/>
                  </a:lnTo>
                  <a:lnTo>
                    <a:pt x="272605" y="205264"/>
                  </a:lnTo>
                  <a:lnTo>
                    <a:pt x="271272" y="206978"/>
                  </a:lnTo>
                  <a:lnTo>
                    <a:pt x="269081" y="202501"/>
                  </a:lnTo>
                  <a:lnTo>
                    <a:pt x="269462" y="205645"/>
                  </a:lnTo>
                  <a:lnTo>
                    <a:pt x="265938" y="202882"/>
                  </a:lnTo>
                  <a:lnTo>
                    <a:pt x="265557" y="199739"/>
                  </a:lnTo>
                  <a:lnTo>
                    <a:pt x="264128" y="201549"/>
                  </a:lnTo>
                  <a:lnTo>
                    <a:pt x="261366" y="192214"/>
                  </a:lnTo>
                  <a:lnTo>
                    <a:pt x="256794" y="194405"/>
                  </a:lnTo>
                  <a:lnTo>
                    <a:pt x="256604" y="192881"/>
                  </a:lnTo>
                  <a:lnTo>
                    <a:pt x="254889" y="191452"/>
                  </a:lnTo>
                  <a:lnTo>
                    <a:pt x="251936" y="193453"/>
                  </a:lnTo>
                  <a:lnTo>
                    <a:pt x="251460" y="190309"/>
                  </a:lnTo>
                  <a:lnTo>
                    <a:pt x="251270" y="188690"/>
                  </a:lnTo>
                  <a:lnTo>
                    <a:pt x="248317" y="190690"/>
                  </a:lnTo>
                  <a:lnTo>
                    <a:pt x="249079" y="184213"/>
                  </a:lnTo>
                  <a:lnTo>
                    <a:pt x="244602" y="186404"/>
                  </a:lnTo>
                  <a:lnTo>
                    <a:pt x="243364" y="189738"/>
                  </a:lnTo>
                  <a:lnTo>
                    <a:pt x="243364" y="189738"/>
                  </a:lnTo>
                  <a:lnTo>
                    <a:pt x="240411" y="191738"/>
                  </a:lnTo>
                  <a:lnTo>
                    <a:pt x="237458" y="193643"/>
                  </a:lnTo>
                  <a:lnTo>
                    <a:pt x="238887" y="191929"/>
                  </a:lnTo>
                  <a:lnTo>
                    <a:pt x="235744" y="192310"/>
                  </a:lnTo>
                  <a:lnTo>
                    <a:pt x="235267" y="189166"/>
                  </a:lnTo>
                  <a:lnTo>
                    <a:pt x="233744" y="189357"/>
                  </a:lnTo>
                  <a:lnTo>
                    <a:pt x="228791" y="188404"/>
                  </a:lnTo>
                  <a:lnTo>
                    <a:pt x="228981" y="189928"/>
                  </a:lnTo>
                  <a:lnTo>
                    <a:pt x="226219" y="193548"/>
                  </a:lnTo>
                  <a:lnTo>
                    <a:pt x="221551" y="194119"/>
                  </a:lnTo>
                  <a:lnTo>
                    <a:pt x="214408" y="188595"/>
                  </a:lnTo>
                  <a:lnTo>
                    <a:pt x="211455" y="190595"/>
                  </a:lnTo>
                  <a:lnTo>
                    <a:pt x="205359" y="192976"/>
                  </a:lnTo>
                  <a:lnTo>
                    <a:pt x="211265" y="201835"/>
                  </a:lnTo>
                  <a:lnTo>
                    <a:pt x="203740" y="206026"/>
                  </a:lnTo>
                  <a:lnTo>
                    <a:pt x="204216" y="209169"/>
                  </a:lnTo>
                  <a:lnTo>
                    <a:pt x="202406" y="207740"/>
                  </a:lnTo>
                  <a:lnTo>
                    <a:pt x="200978" y="209550"/>
                  </a:lnTo>
                  <a:lnTo>
                    <a:pt x="199644" y="211360"/>
                  </a:lnTo>
                  <a:lnTo>
                    <a:pt x="196501" y="211741"/>
                  </a:lnTo>
                  <a:lnTo>
                    <a:pt x="195644" y="205454"/>
                  </a:lnTo>
                  <a:lnTo>
                    <a:pt x="180308" y="210598"/>
                  </a:lnTo>
                  <a:lnTo>
                    <a:pt x="181070" y="216884"/>
                  </a:lnTo>
                  <a:lnTo>
                    <a:pt x="182690" y="216694"/>
                  </a:lnTo>
                  <a:lnTo>
                    <a:pt x="182880" y="218313"/>
                  </a:lnTo>
                  <a:lnTo>
                    <a:pt x="171831" y="219646"/>
                  </a:lnTo>
                  <a:lnTo>
                    <a:pt x="172403" y="224409"/>
                  </a:lnTo>
                  <a:lnTo>
                    <a:pt x="167354" y="221837"/>
                  </a:lnTo>
                  <a:lnTo>
                    <a:pt x="166973" y="231553"/>
                  </a:lnTo>
                  <a:lnTo>
                    <a:pt x="164211" y="235077"/>
                  </a:lnTo>
                  <a:lnTo>
                    <a:pt x="159258" y="234125"/>
                  </a:lnTo>
                  <a:lnTo>
                    <a:pt x="155924" y="232981"/>
                  </a:lnTo>
                  <a:lnTo>
                    <a:pt x="152495" y="231743"/>
                  </a:lnTo>
                  <a:lnTo>
                    <a:pt x="148400" y="237077"/>
                  </a:lnTo>
                  <a:lnTo>
                    <a:pt x="137732" y="241649"/>
                  </a:lnTo>
                  <a:lnTo>
                    <a:pt x="133064" y="242316"/>
                  </a:lnTo>
                  <a:lnTo>
                    <a:pt x="122111" y="232410"/>
                  </a:lnTo>
                  <a:lnTo>
                    <a:pt x="120777" y="234220"/>
                  </a:lnTo>
                  <a:lnTo>
                    <a:pt x="116872" y="253937"/>
                  </a:lnTo>
                  <a:lnTo>
                    <a:pt x="117634" y="260223"/>
                  </a:lnTo>
                  <a:lnTo>
                    <a:pt x="118110" y="263462"/>
                  </a:lnTo>
                  <a:lnTo>
                    <a:pt x="118491" y="266605"/>
                  </a:lnTo>
                  <a:lnTo>
                    <a:pt x="115157" y="265367"/>
                  </a:lnTo>
                  <a:lnTo>
                    <a:pt x="112776" y="259271"/>
                  </a:lnTo>
                  <a:lnTo>
                    <a:pt x="107823" y="258318"/>
                  </a:lnTo>
                  <a:lnTo>
                    <a:pt x="101917" y="262318"/>
                  </a:lnTo>
                  <a:lnTo>
                    <a:pt x="101727" y="260699"/>
                  </a:lnTo>
                  <a:lnTo>
                    <a:pt x="101251" y="257556"/>
                  </a:lnTo>
                  <a:lnTo>
                    <a:pt x="97917" y="256413"/>
                  </a:lnTo>
                  <a:lnTo>
                    <a:pt x="92012" y="260318"/>
                  </a:lnTo>
                  <a:lnTo>
                    <a:pt x="91821" y="258794"/>
                  </a:lnTo>
                  <a:lnTo>
                    <a:pt x="77438" y="258985"/>
                  </a:lnTo>
                  <a:lnTo>
                    <a:pt x="75247" y="254413"/>
                  </a:lnTo>
                  <a:lnTo>
                    <a:pt x="69913" y="250317"/>
                  </a:lnTo>
                  <a:lnTo>
                    <a:pt x="67913" y="247364"/>
                  </a:lnTo>
                  <a:lnTo>
                    <a:pt x="71628" y="238887"/>
                  </a:lnTo>
                  <a:lnTo>
                    <a:pt x="74581" y="236887"/>
                  </a:lnTo>
                  <a:lnTo>
                    <a:pt x="79724" y="239459"/>
                  </a:lnTo>
                  <a:lnTo>
                    <a:pt x="83629" y="232505"/>
                  </a:lnTo>
                  <a:lnTo>
                    <a:pt x="83439" y="230981"/>
                  </a:lnTo>
                  <a:lnTo>
                    <a:pt x="81725" y="229552"/>
                  </a:lnTo>
                  <a:lnTo>
                    <a:pt x="72390" y="232315"/>
                  </a:lnTo>
                  <a:lnTo>
                    <a:pt x="70866" y="232600"/>
                  </a:lnTo>
                  <a:lnTo>
                    <a:pt x="70675" y="230981"/>
                  </a:lnTo>
                  <a:lnTo>
                    <a:pt x="79153" y="221837"/>
                  </a:lnTo>
                  <a:lnTo>
                    <a:pt x="78486" y="217170"/>
                  </a:lnTo>
                  <a:lnTo>
                    <a:pt x="74962" y="214408"/>
                  </a:lnTo>
                  <a:lnTo>
                    <a:pt x="81058" y="212026"/>
                  </a:lnTo>
                  <a:lnTo>
                    <a:pt x="75724" y="207836"/>
                  </a:lnTo>
                  <a:lnTo>
                    <a:pt x="74104" y="208121"/>
                  </a:lnTo>
                  <a:lnTo>
                    <a:pt x="63532" y="212693"/>
                  </a:lnTo>
                  <a:lnTo>
                    <a:pt x="61150" y="206502"/>
                  </a:lnTo>
                  <a:lnTo>
                    <a:pt x="57912" y="206978"/>
                  </a:lnTo>
                  <a:lnTo>
                    <a:pt x="56007" y="204025"/>
                  </a:lnTo>
                  <a:lnTo>
                    <a:pt x="52578" y="202787"/>
                  </a:lnTo>
                  <a:lnTo>
                    <a:pt x="52388" y="201263"/>
                  </a:lnTo>
                  <a:lnTo>
                    <a:pt x="48673" y="196882"/>
                  </a:lnTo>
                  <a:lnTo>
                    <a:pt x="51625" y="194881"/>
                  </a:lnTo>
                  <a:lnTo>
                    <a:pt x="52007" y="185261"/>
                  </a:lnTo>
                  <a:lnTo>
                    <a:pt x="59055" y="190786"/>
                  </a:lnTo>
                  <a:lnTo>
                    <a:pt x="63437" y="174212"/>
                  </a:lnTo>
                  <a:lnTo>
                    <a:pt x="63246" y="172593"/>
                  </a:lnTo>
                  <a:lnTo>
                    <a:pt x="50387" y="172593"/>
                  </a:lnTo>
                  <a:lnTo>
                    <a:pt x="43244" y="167068"/>
                  </a:lnTo>
                  <a:lnTo>
                    <a:pt x="39719" y="164401"/>
                  </a:lnTo>
                  <a:lnTo>
                    <a:pt x="30194" y="152781"/>
                  </a:lnTo>
                  <a:lnTo>
                    <a:pt x="30004" y="151162"/>
                  </a:lnTo>
                  <a:lnTo>
                    <a:pt x="30766" y="144685"/>
                  </a:lnTo>
                  <a:lnTo>
                    <a:pt x="29242" y="144875"/>
                  </a:lnTo>
                  <a:lnTo>
                    <a:pt x="31909" y="141256"/>
                  </a:lnTo>
                  <a:lnTo>
                    <a:pt x="31528" y="138113"/>
                  </a:lnTo>
                  <a:lnTo>
                    <a:pt x="26765" y="138779"/>
                  </a:lnTo>
                  <a:lnTo>
                    <a:pt x="26384" y="135541"/>
                  </a:lnTo>
                  <a:lnTo>
                    <a:pt x="23241" y="136017"/>
                  </a:lnTo>
                  <a:lnTo>
                    <a:pt x="21241" y="133064"/>
                  </a:lnTo>
                  <a:lnTo>
                    <a:pt x="16383" y="132016"/>
                  </a:lnTo>
                  <a:lnTo>
                    <a:pt x="15716" y="127349"/>
                  </a:lnTo>
                  <a:lnTo>
                    <a:pt x="18859" y="126873"/>
                  </a:lnTo>
                  <a:lnTo>
                    <a:pt x="23432" y="124777"/>
                  </a:lnTo>
                  <a:lnTo>
                    <a:pt x="22384" y="116872"/>
                  </a:lnTo>
                  <a:lnTo>
                    <a:pt x="33433" y="115443"/>
                  </a:lnTo>
                  <a:lnTo>
                    <a:pt x="37052" y="118205"/>
                  </a:lnTo>
                  <a:lnTo>
                    <a:pt x="38195" y="114871"/>
                  </a:lnTo>
                  <a:lnTo>
                    <a:pt x="44672" y="115633"/>
                  </a:lnTo>
                  <a:lnTo>
                    <a:pt x="44482" y="114014"/>
                  </a:lnTo>
                  <a:lnTo>
                    <a:pt x="44291" y="112490"/>
                  </a:lnTo>
                  <a:lnTo>
                    <a:pt x="44101" y="110871"/>
                  </a:lnTo>
                  <a:lnTo>
                    <a:pt x="40767" y="109728"/>
                  </a:lnTo>
                  <a:lnTo>
                    <a:pt x="41910" y="106299"/>
                  </a:lnTo>
                  <a:lnTo>
                    <a:pt x="34004" y="107347"/>
                  </a:lnTo>
                  <a:lnTo>
                    <a:pt x="33052" y="99441"/>
                  </a:lnTo>
                  <a:lnTo>
                    <a:pt x="30099" y="101441"/>
                  </a:lnTo>
                  <a:lnTo>
                    <a:pt x="24955" y="98869"/>
                  </a:lnTo>
                  <a:lnTo>
                    <a:pt x="23717" y="89440"/>
                  </a:lnTo>
                  <a:lnTo>
                    <a:pt x="20193" y="86677"/>
                  </a:lnTo>
                  <a:lnTo>
                    <a:pt x="23146" y="84677"/>
                  </a:lnTo>
                  <a:lnTo>
                    <a:pt x="19145" y="78772"/>
                  </a:lnTo>
                  <a:lnTo>
                    <a:pt x="13049" y="81153"/>
                  </a:lnTo>
                  <a:lnTo>
                    <a:pt x="8572" y="83344"/>
                  </a:lnTo>
                  <a:lnTo>
                    <a:pt x="4953" y="80581"/>
                  </a:lnTo>
                  <a:lnTo>
                    <a:pt x="667" y="84296"/>
                  </a:lnTo>
                  <a:lnTo>
                    <a:pt x="191" y="81153"/>
                  </a:lnTo>
                  <a:lnTo>
                    <a:pt x="0" y="79629"/>
                  </a:lnTo>
                  <a:lnTo>
                    <a:pt x="9334" y="76771"/>
                  </a:lnTo>
                  <a:lnTo>
                    <a:pt x="8668" y="72104"/>
                  </a:lnTo>
                  <a:lnTo>
                    <a:pt x="10096" y="70294"/>
                  </a:lnTo>
                  <a:lnTo>
                    <a:pt x="11811" y="71723"/>
                  </a:lnTo>
                  <a:lnTo>
                    <a:pt x="13621" y="73057"/>
                  </a:lnTo>
                  <a:lnTo>
                    <a:pt x="21336" y="70485"/>
                  </a:lnTo>
                  <a:lnTo>
                    <a:pt x="21146" y="68866"/>
                  </a:lnTo>
                  <a:lnTo>
                    <a:pt x="22479" y="67151"/>
                  </a:lnTo>
                  <a:lnTo>
                    <a:pt x="22670" y="68675"/>
                  </a:lnTo>
                  <a:lnTo>
                    <a:pt x="31813" y="64294"/>
                  </a:lnTo>
                  <a:lnTo>
                    <a:pt x="37909" y="61913"/>
                  </a:lnTo>
                  <a:lnTo>
                    <a:pt x="41815" y="67818"/>
                  </a:lnTo>
                  <a:lnTo>
                    <a:pt x="43244" y="66103"/>
                  </a:lnTo>
                  <a:lnTo>
                    <a:pt x="50483" y="60388"/>
                  </a:lnTo>
                  <a:lnTo>
                    <a:pt x="48292" y="55816"/>
                  </a:lnTo>
                  <a:lnTo>
                    <a:pt x="52864" y="53626"/>
                  </a:lnTo>
                  <a:lnTo>
                    <a:pt x="52483" y="50482"/>
                  </a:lnTo>
                  <a:lnTo>
                    <a:pt x="57436" y="51435"/>
                  </a:lnTo>
                  <a:lnTo>
                    <a:pt x="59150" y="52864"/>
                  </a:lnTo>
                  <a:lnTo>
                    <a:pt x="62294" y="52388"/>
                  </a:lnTo>
                  <a:lnTo>
                    <a:pt x="62960" y="57150"/>
                  </a:lnTo>
                  <a:lnTo>
                    <a:pt x="65342" y="63246"/>
                  </a:lnTo>
                  <a:lnTo>
                    <a:pt x="65913" y="68008"/>
                  </a:lnTo>
                  <a:lnTo>
                    <a:pt x="72009" y="65627"/>
                  </a:lnTo>
                  <a:lnTo>
                    <a:pt x="90011" y="68104"/>
                  </a:lnTo>
                  <a:lnTo>
                    <a:pt x="94679" y="67532"/>
                  </a:lnTo>
                  <a:lnTo>
                    <a:pt x="90392" y="58483"/>
                  </a:lnTo>
                  <a:lnTo>
                    <a:pt x="92678" y="51721"/>
                  </a:lnTo>
                  <a:lnTo>
                    <a:pt x="91154" y="51911"/>
                  </a:lnTo>
                  <a:lnTo>
                    <a:pt x="90964" y="50387"/>
                  </a:lnTo>
                  <a:lnTo>
                    <a:pt x="90107" y="44101"/>
                  </a:lnTo>
                  <a:lnTo>
                    <a:pt x="91535" y="42291"/>
                  </a:lnTo>
                  <a:lnTo>
                    <a:pt x="91059" y="39148"/>
                  </a:lnTo>
                  <a:lnTo>
                    <a:pt x="96393" y="30480"/>
                  </a:lnTo>
                  <a:lnTo>
                    <a:pt x="102965" y="31242"/>
                  </a:lnTo>
                  <a:lnTo>
                    <a:pt x="108013" y="33814"/>
                  </a:lnTo>
                  <a:lnTo>
                    <a:pt x="111252" y="33338"/>
                  </a:lnTo>
                  <a:lnTo>
                    <a:pt x="116776" y="39052"/>
                  </a:lnTo>
                  <a:lnTo>
                    <a:pt x="121253" y="36862"/>
                  </a:lnTo>
                  <a:lnTo>
                    <a:pt x="122301" y="32004"/>
                  </a:lnTo>
                  <a:lnTo>
                    <a:pt x="125635" y="33147"/>
                  </a:lnTo>
                  <a:lnTo>
                    <a:pt x="136493" y="30194"/>
                  </a:lnTo>
                  <a:lnTo>
                    <a:pt x="136493" y="30194"/>
                  </a:lnTo>
                  <a:lnTo>
                    <a:pt x="135826" y="25432"/>
                  </a:lnTo>
                  <a:lnTo>
                    <a:pt x="140779" y="26384"/>
                  </a:lnTo>
                  <a:lnTo>
                    <a:pt x="140017" y="20098"/>
                  </a:lnTo>
                  <a:lnTo>
                    <a:pt x="149828" y="22003"/>
                  </a:lnTo>
                  <a:lnTo>
                    <a:pt x="162496" y="20383"/>
                  </a:lnTo>
                  <a:lnTo>
                    <a:pt x="167259" y="19812"/>
                  </a:lnTo>
                  <a:lnTo>
                    <a:pt x="166402" y="13525"/>
                  </a:lnTo>
                  <a:lnTo>
                    <a:pt x="168021" y="13335"/>
                  </a:lnTo>
                  <a:lnTo>
                    <a:pt x="167354" y="8572"/>
                  </a:lnTo>
                  <a:lnTo>
                    <a:pt x="176879" y="7334"/>
                  </a:lnTo>
                  <a:lnTo>
                    <a:pt x="176498" y="4191"/>
                  </a:lnTo>
                  <a:lnTo>
                    <a:pt x="189452" y="5715"/>
                  </a:lnTo>
                  <a:lnTo>
                    <a:pt x="196025" y="6572"/>
                  </a:lnTo>
                  <a:lnTo>
                    <a:pt x="197167" y="3143"/>
                  </a:lnTo>
                  <a:lnTo>
                    <a:pt x="203645" y="3905"/>
                  </a:lnTo>
                  <a:lnTo>
                    <a:pt x="209645" y="0"/>
                  </a:lnTo>
                  <a:lnTo>
                    <a:pt x="214503" y="952"/>
                  </a:lnTo>
                  <a:lnTo>
                    <a:pt x="214408" y="12192"/>
                  </a:lnTo>
                  <a:lnTo>
                    <a:pt x="212788" y="12382"/>
                  </a:lnTo>
                  <a:lnTo>
                    <a:pt x="213550" y="18764"/>
                  </a:lnTo>
                  <a:lnTo>
                    <a:pt x="217932" y="14954"/>
                  </a:lnTo>
                  <a:lnTo>
                    <a:pt x="219932" y="17907"/>
                  </a:lnTo>
                  <a:lnTo>
                    <a:pt x="222885" y="15907"/>
                  </a:lnTo>
                  <a:lnTo>
                    <a:pt x="224028" y="12573"/>
                  </a:lnTo>
                  <a:lnTo>
                    <a:pt x="227838" y="16954"/>
                  </a:lnTo>
                  <a:lnTo>
                    <a:pt x="232696" y="17907"/>
                  </a:lnTo>
                  <a:lnTo>
                    <a:pt x="235077" y="24003"/>
                  </a:lnTo>
                  <a:lnTo>
                    <a:pt x="233744" y="25813"/>
                  </a:lnTo>
                  <a:lnTo>
                    <a:pt x="234505" y="32099"/>
                  </a:lnTo>
                  <a:lnTo>
                    <a:pt x="237458" y="30099"/>
                  </a:lnTo>
                  <a:lnTo>
                    <a:pt x="239268" y="31432"/>
                  </a:lnTo>
                  <a:lnTo>
                    <a:pt x="245745" y="32290"/>
                  </a:lnTo>
                  <a:lnTo>
                    <a:pt x="249936" y="26956"/>
                  </a:lnTo>
                  <a:lnTo>
                    <a:pt x="253079" y="26479"/>
                  </a:lnTo>
                  <a:lnTo>
                    <a:pt x="259556" y="27241"/>
                  </a:lnTo>
                  <a:lnTo>
                    <a:pt x="255651" y="34195"/>
                  </a:lnTo>
                  <a:lnTo>
                    <a:pt x="251079" y="36385"/>
                  </a:lnTo>
                  <a:lnTo>
                    <a:pt x="253270" y="40957"/>
                  </a:lnTo>
                  <a:lnTo>
                    <a:pt x="253460" y="42481"/>
                  </a:lnTo>
                  <a:lnTo>
                    <a:pt x="255937" y="48577"/>
                  </a:lnTo>
                  <a:lnTo>
                    <a:pt x="261461" y="54292"/>
                  </a:lnTo>
                  <a:lnTo>
                    <a:pt x="261461" y="54292"/>
                  </a:lnTo>
                  <a:lnTo>
                    <a:pt x="263366" y="57245"/>
                  </a:lnTo>
                  <a:lnTo>
                    <a:pt x="266795" y="58483"/>
                  </a:lnTo>
                  <a:lnTo>
                    <a:pt x="274415" y="55912"/>
                  </a:lnTo>
                  <a:lnTo>
                    <a:pt x="276225" y="57245"/>
                  </a:lnTo>
                  <a:lnTo>
                    <a:pt x="283940" y="54673"/>
                  </a:lnTo>
                  <a:lnTo>
                    <a:pt x="284702" y="60960"/>
                  </a:lnTo>
                  <a:lnTo>
                    <a:pt x="301085" y="63722"/>
                  </a:lnTo>
                  <a:lnTo>
                    <a:pt x="300133" y="81439"/>
                  </a:lnTo>
                  <a:lnTo>
                    <a:pt x="305467" y="85630"/>
                  </a:lnTo>
                  <a:lnTo>
                    <a:pt x="308420" y="83629"/>
                  </a:lnTo>
                  <a:lnTo>
                    <a:pt x="313563" y="86201"/>
                  </a:lnTo>
                  <a:lnTo>
                    <a:pt x="323659" y="89725"/>
                  </a:lnTo>
                  <a:lnTo>
                    <a:pt x="322326" y="91440"/>
                  </a:lnTo>
                  <a:lnTo>
                    <a:pt x="322707" y="94583"/>
                  </a:lnTo>
                  <a:lnTo>
                    <a:pt x="322707" y="94583"/>
                  </a:lnTo>
                  <a:lnTo>
                    <a:pt x="332804" y="98203"/>
                  </a:lnTo>
                  <a:lnTo>
                    <a:pt x="335185" y="104299"/>
                  </a:lnTo>
                  <a:lnTo>
                    <a:pt x="329279" y="121063"/>
                  </a:lnTo>
                  <a:lnTo>
                    <a:pt x="321374" y="122015"/>
                  </a:lnTo>
                  <a:lnTo>
                    <a:pt x="321564" y="123634"/>
                  </a:lnTo>
                  <a:lnTo>
                    <a:pt x="309563" y="130016"/>
                  </a:lnTo>
                  <a:lnTo>
                    <a:pt x="301657" y="130969"/>
                  </a:lnTo>
                  <a:lnTo>
                    <a:pt x="300323" y="132778"/>
                  </a:lnTo>
                  <a:lnTo>
                    <a:pt x="300323" y="132778"/>
                  </a:lnTo>
                  <a:lnTo>
                    <a:pt x="295561" y="133350"/>
                  </a:lnTo>
                  <a:lnTo>
                    <a:pt x="295751" y="134969"/>
                  </a:lnTo>
                  <a:lnTo>
                    <a:pt x="290798" y="133921"/>
                  </a:lnTo>
                  <a:lnTo>
                    <a:pt x="292799" y="136874"/>
                  </a:lnTo>
                  <a:lnTo>
                    <a:pt x="289846" y="138874"/>
                  </a:lnTo>
                  <a:lnTo>
                    <a:pt x="288226" y="139065"/>
                  </a:lnTo>
                  <a:lnTo>
                    <a:pt x="287655" y="147161"/>
                  </a:lnTo>
                  <a:lnTo>
                    <a:pt x="290513" y="156496"/>
                  </a:lnTo>
                  <a:lnTo>
                    <a:pt x="294989" y="154305"/>
                  </a:lnTo>
                  <a:lnTo>
                    <a:pt x="297371" y="147542"/>
                  </a:lnTo>
                  <a:lnTo>
                    <a:pt x="302705" y="151733"/>
                  </a:lnTo>
                  <a:lnTo>
                    <a:pt x="306896" y="159163"/>
                  </a:lnTo>
                  <a:lnTo>
                    <a:pt x="300514" y="160020"/>
                  </a:lnTo>
                  <a:lnTo>
                    <a:pt x="299752" y="166497"/>
                  </a:lnTo>
                  <a:lnTo>
                    <a:pt x="303943" y="174022"/>
                  </a:lnTo>
                  <a:lnTo>
                    <a:pt x="308134" y="181451"/>
                  </a:lnTo>
                  <a:lnTo>
                    <a:pt x="306896" y="184880"/>
                  </a:lnTo>
                  <a:lnTo>
                    <a:pt x="306896" y="184880"/>
                  </a:lnTo>
                  <a:lnTo>
                    <a:pt x="306896" y="184880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18835978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FBAE40"/>
          </p15:clr>
        </p15:guide>
        <p15:guide id="2" pos="7605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zadi seda">
            <a:extLst>
              <a:ext uri="{FF2B5EF4-FFF2-40B4-BE49-F238E27FC236}">
                <a16:creationId xmlns:a16="http://schemas.microsoft.com/office/drawing/2014/main" id="{C6DB6EA3-D18B-4247-B7E0-D3F0ED4ABC66}"/>
              </a:ext>
            </a:extLst>
          </p:cNvPr>
          <p:cNvSpPr/>
          <p:nvPr userDrawn="1"/>
        </p:nvSpPr>
        <p:spPr bwMode="gray">
          <a:xfrm>
            <a:off x="0" y="1899462"/>
            <a:ext cx="12192000" cy="4028858"/>
          </a:xfrm>
          <a:prstGeom prst="rect">
            <a:avLst/>
          </a:prstGeom>
          <a:solidFill>
            <a:schemeClr val="bg1">
              <a:lumMod val="95000"/>
              <a:alpha val="6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2" name="Linka cervena">
            <a:extLst>
              <a:ext uri="{FF2B5EF4-FFF2-40B4-BE49-F238E27FC236}">
                <a16:creationId xmlns:a16="http://schemas.microsoft.com/office/drawing/2014/main" id="{B9205121-7638-4ABD-95F5-177B33D17428}"/>
              </a:ext>
            </a:extLst>
          </p:cNvPr>
          <p:cNvSpPr/>
          <p:nvPr userDrawn="1"/>
        </p:nvSpPr>
        <p:spPr>
          <a:xfrm flipV="1">
            <a:off x="5552" y="5881971"/>
            <a:ext cx="12173011" cy="36000"/>
          </a:xfrm>
          <a:prstGeom prst="rect">
            <a:avLst/>
          </a:prstGeom>
          <a:solidFill>
            <a:srgbClr val="D71440"/>
          </a:solidFill>
          <a:ln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8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805" y="6275298"/>
            <a:ext cx="3763463" cy="324000"/>
          </a:xfrm>
          <a:prstGeom prst="rect">
            <a:avLst/>
          </a:prstGeom>
        </p:spPr>
      </p:pic>
      <p:pic>
        <p:nvPicPr>
          <p:cNvPr id="6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9537" y="6124324"/>
            <a:ext cx="822458" cy="540000"/>
          </a:xfrm>
          <a:prstGeom prst="rect">
            <a:avLst/>
          </a:prstGeom>
        </p:spPr>
      </p:pic>
      <p:pic>
        <p:nvPicPr>
          <p:cNvPr id="11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113" y="2607870"/>
            <a:ext cx="5715760" cy="2224771"/>
          </a:xfrm>
          <a:prstGeom prst="rect">
            <a:avLst/>
          </a:prstGeom>
        </p:spPr>
      </p:pic>
      <p:pic>
        <p:nvPicPr>
          <p:cNvPr id="61" name="Ikona 7">
            <a:extLst>
              <a:ext uri="{FF2B5EF4-FFF2-40B4-BE49-F238E27FC236}">
                <a16:creationId xmlns:a16="http://schemas.microsoft.com/office/drawing/2014/main" id="{1E522FD7-51BC-4B8E-A68D-8A0B5E4169E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5605" y="3727037"/>
            <a:ext cx="791389" cy="792000"/>
          </a:xfrm>
          <a:prstGeom prst="rect">
            <a:avLst/>
          </a:prstGeom>
        </p:spPr>
      </p:pic>
      <p:pic>
        <p:nvPicPr>
          <p:cNvPr id="62" name="Ikona 6">
            <a:extLst>
              <a:ext uri="{FF2B5EF4-FFF2-40B4-BE49-F238E27FC236}">
                <a16:creationId xmlns:a16="http://schemas.microsoft.com/office/drawing/2014/main" id="{E01AA11B-D042-44CE-8E91-BAD234FB490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5916" y="2819547"/>
            <a:ext cx="791389" cy="792000"/>
          </a:xfrm>
          <a:prstGeom prst="rect">
            <a:avLst/>
          </a:prstGeom>
        </p:spPr>
      </p:pic>
      <p:pic>
        <p:nvPicPr>
          <p:cNvPr id="63" name="Ikona 5">
            <a:extLst>
              <a:ext uri="{FF2B5EF4-FFF2-40B4-BE49-F238E27FC236}">
                <a16:creationId xmlns:a16="http://schemas.microsoft.com/office/drawing/2014/main" id="{6E1D9AE5-9B01-4D1E-A130-EA1856689D6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4327" y="2821182"/>
            <a:ext cx="791389" cy="792000"/>
          </a:xfrm>
          <a:prstGeom prst="rect">
            <a:avLst/>
          </a:prstGeom>
        </p:spPr>
      </p:pic>
      <p:pic>
        <p:nvPicPr>
          <p:cNvPr id="64" name="Ikona 4">
            <a:extLst>
              <a:ext uri="{FF2B5EF4-FFF2-40B4-BE49-F238E27FC236}">
                <a16:creationId xmlns:a16="http://schemas.microsoft.com/office/drawing/2014/main" id="{78221017-9FB8-4EF8-A88B-38444E30A279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4197" y="2826357"/>
            <a:ext cx="788298" cy="792000"/>
          </a:xfrm>
          <a:prstGeom prst="rect">
            <a:avLst/>
          </a:prstGeom>
        </p:spPr>
      </p:pic>
      <p:pic>
        <p:nvPicPr>
          <p:cNvPr id="65" name="Ikona 3">
            <a:extLst>
              <a:ext uri="{FF2B5EF4-FFF2-40B4-BE49-F238E27FC236}">
                <a16:creationId xmlns:a16="http://schemas.microsoft.com/office/drawing/2014/main" id="{D435ECA9-9699-4A70-9ABD-16C688E3468C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1468" y="2827327"/>
            <a:ext cx="788298" cy="792000"/>
          </a:xfrm>
          <a:prstGeom prst="rect">
            <a:avLst/>
          </a:prstGeom>
        </p:spPr>
      </p:pic>
      <p:pic>
        <p:nvPicPr>
          <p:cNvPr id="66" name="Ikona 2">
            <a:extLst>
              <a:ext uri="{FF2B5EF4-FFF2-40B4-BE49-F238E27FC236}">
                <a16:creationId xmlns:a16="http://schemas.microsoft.com/office/drawing/2014/main" id="{06B998D0-4DD3-4617-8B85-7A97769C7BF7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1592" y="3720280"/>
            <a:ext cx="791389" cy="792000"/>
          </a:xfrm>
          <a:prstGeom prst="rect">
            <a:avLst/>
          </a:prstGeom>
        </p:spPr>
      </p:pic>
      <p:pic>
        <p:nvPicPr>
          <p:cNvPr id="67" name="Ikona 1">
            <a:extLst>
              <a:ext uri="{FF2B5EF4-FFF2-40B4-BE49-F238E27FC236}">
                <a16:creationId xmlns:a16="http://schemas.microsoft.com/office/drawing/2014/main" id="{CDFE4053-986D-4CF5-BB65-55DDA986CB79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5004" y="3714480"/>
            <a:ext cx="794492" cy="792000"/>
          </a:xfrm>
          <a:prstGeom prst="rect">
            <a:avLst/>
          </a:prstGeom>
        </p:spPr>
      </p:pic>
      <p:pic>
        <p:nvPicPr>
          <p:cNvPr id="9" name="Vlajka CR">
            <a:extLst>
              <a:ext uri="{FF2B5EF4-FFF2-40B4-BE49-F238E27FC236}">
                <a16:creationId xmlns:a16="http://schemas.microsoft.com/office/drawing/2014/main" id="{471DD38C-87B2-4EF0-9C4F-92FAABA3B665}"/>
              </a:ext>
            </a:extLst>
          </p:cNvPr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525177" y="249066"/>
            <a:ext cx="540000" cy="36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" name="Vlajka EU">
            <a:extLst>
              <a:ext uri="{FF2B5EF4-FFF2-40B4-BE49-F238E27FC236}">
                <a16:creationId xmlns:a16="http://schemas.microsoft.com/office/drawing/2014/main" id="{F0605D3E-9EE4-4CE0-8944-A11CBF44BE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118"/>
          <a:stretch/>
        </p:blipFill>
        <p:spPr>
          <a:xfrm>
            <a:off x="10876478" y="245794"/>
            <a:ext cx="538775" cy="360000"/>
          </a:xfrm>
          <a:prstGeom prst="rect">
            <a:avLst/>
          </a:prstGeom>
        </p:spPr>
      </p:pic>
      <p:sp>
        <p:nvSpPr>
          <p:cNvPr id="41" name="Podnadpis">
            <a:extLst>
              <a:ext uri="{FF2B5EF4-FFF2-40B4-BE49-F238E27FC236}">
                <a16:creationId xmlns:a16="http://schemas.microsoft.com/office/drawing/2014/main" id="{A48B58A5-C806-4673-B1BA-E9829457EA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0806" y="5471177"/>
            <a:ext cx="8608732" cy="468000"/>
          </a:xfrm>
          <a:noFill/>
        </p:spPr>
        <p:txBody>
          <a:bodyPr anchor="ctr"/>
          <a:lstStyle>
            <a:lvl1pPr marL="0" indent="0">
              <a:buNone/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cs-CZ" dirty="0"/>
              <a:t>Vložte podnadpis</a:t>
            </a:r>
          </a:p>
        </p:txBody>
      </p:sp>
      <p:sp>
        <p:nvSpPr>
          <p:cNvPr id="13" name="Nadpis">
            <a:extLst>
              <a:ext uri="{FF2B5EF4-FFF2-40B4-BE49-F238E27FC236}">
                <a16:creationId xmlns:a16="http://schemas.microsoft.com/office/drawing/2014/main" id="{99BDED9C-93B2-4C0D-BE31-6A2F4570EB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391" y="240974"/>
            <a:ext cx="8648147" cy="1598025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defRPr lang="cs-CZ" sz="3600" b="1" kern="1200">
                <a:solidFill>
                  <a:srgbClr val="2E598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29" name="Ovál 29">
            <a:extLst>
              <a:ext uri="{FF2B5EF4-FFF2-40B4-BE49-F238E27FC236}">
                <a16:creationId xmlns:a16="http://schemas.microsoft.com/office/drawing/2014/main" id="{E411B488-D6A9-4125-9226-91E8FF7C26F2}"/>
              </a:ext>
            </a:extLst>
          </p:cNvPr>
          <p:cNvSpPr/>
          <p:nvPr userDrawn="1"/>
        </p:nvSpPr>
        <p:spPr>
          <a:xfrm>
            <a:off x="8139289" y="752121"/>
            <a:ext cx="1747911" cy="1747911"/>
          </a:xfrm>
          <a:prstGeom prst="ellipse">
            <a:avLst/>
          </a:prstGeom>
          <a:solidFill>
            <a:schemeClr val="bg1"/>
          </a:solidFill>
          <a:ln w="19050"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Ovál 30">
            <a:extLst>
              <a:ext uri="{FF2B5EF4-FFF2-40B4-BE49-F238E27FC236}">
                <a16:creationId xmlns:a16="http://schemas.microsoft.com/office/drawing/2014/main" id="{822DE0E7-21EC-4CAD-9CAC-791515B7EB64}"/>
              </a:ext>
            </a:extLst>
          </p:cNvPr>
          <p:cNvSpPr/>
          <p:nvPr userDrawn="1"/>
        </p:nvSpPr>
        <p:spPr>
          <a:xfrm>
            <a:off x="8256659" y="869491"/>
            <a:ext cx="1513171" cy="1513171"/>
          </a:xfrm>
          <a:prstGeom prst="ellipse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pSp>
        <p:nvGrpSpPr>
          <p:cNvPr id="42" name="Skupina 41">
            <a:extLst>
              <a:ext uri="{FF2B5EF4-FFF2-40B4-BE49-F238E27FC236}">
                <a16:creationId xmlns:a16="http://schemas.microsoft.com/office/drawing/2014/main" id="{FEB1E23A-0024-B587-0B72-158528B13B0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294400" y="1162800"/>
            <a:ext cx="1457522" cy="882000"/>
            <a:chOff x="3727418" y="1998630"/>
            <a:chExt cx="4732781" cy="2863977"/>
          </a:xfrm>
        </p:grpSpPr>
        <p:sp>
          <p:nvSpPr>
            <p:cNvPr id="43" name="Volný tvar: obrazec 42">
              <a:extLst>
                <a:ext uri="{FF2B5EF4-FFF2-40B4-BE49-F238E27FC236}">
                  <a16:creationId xmlns:a16="http://schemas.microsoft.com/office/drawing/2014/main" id="{81A9FEB9-7433-7819-BE4D-325CF621721B}"/>
                </a:ext>
              </a:extLst>
            </p:cNvPr>
            <p:cNvSpPr>
              <a:spLocks noChangeAspect="1"/>
            </p:cNvSpPr>
            <p:nvPr userDrawn="1">
              <p:custDataLst>
                <p:tags r:id="rId2"/>
              </p:custDataLst>
            </p:nvPr>
          </p:nvSpPr>
          <p:spPr>
            <a:xfrm>
              <a:off x="4319492" y="1998630"/>
              <a:ext cx="1182528" cy="1101852"/>
            </a:xfrm>
            <a:custGeom>
              <a:avLst/>
              <a:gdLst>
                <a:gd name="connsiteX0" fmla="*/ 1180148 w 1182528"/>
                <a:gd name="connsiteY0" fmla="*/ 147257 h 1101852"/>
                <a:gd name="connsiteX1" fmla="*/ 1175290 w 1182528"/>
                <a:gd name="connsiteY1" fmla="*/ 146304 h 1101852"/>
                <a:gd name="connsiteX2" fmla="*/ 1165003 w 1182528"/>
                <a:gd name="connsiteY2" fmla="*/ 154019 h 1101852"/>
                <a:gd name="connsiteX3" fmla="*/ 1158526 w 1182528"/>
                <a:gd name="connsiteY3" fmla="*/ 153257 h 1101852"/>
                <a:gd name="connsiteX4" fmla="*/ 1154144 w 1182528"/>
                <a:gd name="connsiteY4" fmla="*/ 156972 h 1101852"/>
                <a:gd name="connsiteX5" fmla="*/ 1146239 w 1182528"/>
                <a:gd name="connsiteY5" fmla="*/ 158020 h 1101852"/>
                <a:gd name="connsiteX6" fmla="*/ 1134428 w 1182528"/>
                <a:gd name="connsiteY6" fmla="*/ 165926 h 1101852"/>
                <a:gd name="connsiteX7" fmla="*/ 1130903 w 1182528"/>
                <a:gd name="connsiteY7" fmla="*/ 163163 h 1101852"/>
                <a:gd name="connsiteX8" fmla="*/ 1122617 w 1182528"/>
                <a:gd name="connsiteY8" fmla="*/ 161068 h 1101852"/>
                <a:gd name="connsiteX9" fmla="*/ 1120045 w 1182528"/>
                <a:gd name="connsiteY9" fmla="*/ 153353 h 1101852"/>
                <a:gd name="connsiteX10" fmla="*/ 1126331 w 1182528"/>
                <a:gd name="connsiteY10" fmla="*/ 139732 h 1101852"/>
                <a:gd name="connsiteX11" fmla="*/ 1134809 w 1182528"/>
                <a:gd name="connsiteY11" fmla="*/ 130588 h 1101852"/>
                <a:gd name="connsiteX12" fmla="*/ 1135571 w 1182528"/>
                <a:gd name="connsiteY12" fmla="*/ 124111 h 1101852"/>
                <a:gd name="connsiteX13" fmla="*/ 1143381 w 1182528"/>
                <a:gd name="connsiteY13" fmla="*/ 110300 h 1101852"/>
                <a:gd name="connsiteX14" fmla="*/ 1141190 w 1182528"/>
                <a:gd name="connsiteY14" fmla="*/ 105728 h 1101852"/>
                <a:gd name="connsiteX15" fmla="*/ 1143953 w 1182528"/>
                <a:gd name="connsiteY15" fmla="*/ 102203 h 1101852"/>
                <a:gd name="connsiteX16" fmla="*/ 1143381 w 1182528"/>
                <a:gd name="connsiteY16" fmla="*/ 97441 h 1101852"/>
                <a:gd name="connsiteX17" fmla="*/ 1145953 w 1182528"/>
                <a:gd name="connsiteY17" fmla="*/ 92297 h 1101852"/>
                <a:gd name="connsiteX18" fmla="*/ 1146048 w 1182528"/>
                <a:gd name="connsiteY18" fmla="*/ 81058 h 1101852"/>
                <a:gd name="connsiteX19" fmla="*/ 1142905 w 1182528"/>
                <a:gd name="connsiteY19" fmla="*/ 81439 h 1101852"/>
                <a:gd name="connsiteX20" fmla="*/ 1135571 w 1182528"/>
                <a:gd name="connsiteY20" fmla="*/ 74390 h 1101852"/>
                <a:gd name="connsiteX21" fmla="*/ 1133189 w 1182528"/>
                <a:gd name="connsiteY21" fmla="*/ 68294 h 1101852"/>
                <a:gd name="connsiteX22" fmla="*/ 1124140 w 1182528"/>
                <a:gd name="connsiteY22" fmla="*/ 59817 h 1101852"/>
                <a:gd name="connsiteX23" fmla="*/ 1122140 w 1182528"/>
                <a:gd name="connsiteY23" fmla="*/ 56864 h 1101852"/>
                <a:gd name="connsiteX24" fmla="*/ 1119188 w 1182528"/>
                <a:gd name="connsiteY24" fmla="*/ 58865 h 1101852"/>
                <a:gd name="connsiteX25" fmla="*/ 1103662 w 1182528"/>
                <a:gd name="connsiteY25" fmla="*/ 62389 h 1101852"/>
                <a:gd name="connsiteX26" fmla="*/ 1101852 w 1182528"/>
                <a:gd name="connsiteY26" fmla="*/ 61055 h 1101852"/>
                <a:gd name="connsiteX27" fmla="*/ 1101661 w 1182528"/>
                <a:gd name="connsiteY27" fmla="*/ 59436 h 1101852"/>
                <a:gd name="connsiteX28" fmla="*/ 1102805 w 1182528"/>
                <a:gd name="connsiteY28" fmla="*/ 56102 h 1101852"/>
                <a:gd name="connsiteX29" fmla="*/ 1105757 w 1182528"/>
                <a:gd name="connsiteY29" fmla="*/ 54102 h 1101852"/>
                <a:gd name="connsiteX30" fmla="*/ 1105567 w 1182528"/>
                <a:gd name="connsiteY30" fmla="*/ 52578 h 1101852"/>
                <a:gd name="connsiteX31" fmla="*/ 1100042 w 1182528"/>
                <a:gd name="connsiteY31" fmla="*/ 46863 h 1101852"/>
                <a:gd name="connsiteX32" fmla="*/ 1078516 w 1182528"/>
                <a:gd name="connsiteY32" fmla="*/ 41529 h 1101852"/>
                <a:gd name="connsiteX33" fmla="*/ 1078706 w 1182528"/>
                <a:gd name="connsiteY33" fmla="*/ 30290 h 1101852"/>
                <a:gd name="connsiteX34" fmla="*/ 1083564 w 1182528"/>
                <a:gd name="connsiteY34" fmla="*/ 18479 h 1101852"/>
                <a:gd name="connsiteX35" fmla="*/ 1079659 w 1182528"/>
                <a:gd name="connsiteY35" fmla="*/ 12573 h 1101852"/>
                <a:gd name="connsiteX36" fmla="*/ 1072134 w 1182528"/>
                <a:gd name="connsiteY36" fmla="*/ 16764 h 1101852"/>
                <a:gd name="connsiteX37" fmla="*/ 1074896 w 1182528"/>
                <a:gd name="connsiteY37" fmla="*/ 26003 h 1101852"/>
                <a:gd name="connsiteX38" fmla="*/ 1073372 w 1182528"/>
                <a:gd name="connsiteY38" fmla="*/ 39053 h 1101852"/>
                <a:gd name="connsiteX39" fmla="*/ 1061942 w 1182528"/>
                <a:gd name="connsiteY39" fmla="*/ 37243 h 1101852"/>
                <a:gd name="connsiteX40" fmla="*/ 1061276 w 1182528"/>
                <a:gd name="connsiteY40" fmla="*/ 32576 h 1101852"/>
                <a:gd name="connsiteX41" fmla="*/ 1059561 w 1182528"/>
                <a:gd name="connsiteY41" fmla="*/ 31147 h 1101852"/>
                <a:gd name="connsiteX42" fmla="*/ 1054036 w 1182528"/>
                <a:gd name="connsiteY42" fmla="*/ 25432 h 1101852"/>
                <a:gd name="connsiteX43" fmla="*/ 1047464 w 1182528"/>
                <a:gd name="connsiteY43" fmla="*/ 24670 h 1101852"/>
                <a:gd name="connsiteX44" fmla="*/ 1032891 w 1182528"/>
                <a:gd name="connsiteY44" fmla="*/ 36195 h 1101852"/>
                <a:gd name="connsiteX45" fmla="*/ 1031557 w 1182528"/>
                <a:gd name="connsiteY45" fmla="*/ 37910 h 1101852"/>
                <a:gd name="connsiteX46" fmla="*/ 1024223 w 1182528"/>
                <a:gd name="connsiteY46" fmla="*/ 43625 h 1101852"/>
                <a:gd name="connsiteX47" fmla="*/ 1017746 w 1182528"/>
                <a:gd name="connsiteY47" fmla="*/ 42863 h 1101852"/>
                <a:gd name="connsiteX48" fmla="*/ 1009269 w 1182528"/>
                <a:gd name="connsiteY48" fmla="*/ 39148 h 1101852"/>
                <a:gd name="connsiteX49" fmla="*/ 1004126 w 1182528"/>
                <a:gd name="connsiteY49" fmla="*/ 36576 h 1101852"/>
                <a:gd name="connsiteX50" fmla="*/ 998982 w 1182528"/>
                <a:gd name="connsiteY50" fmla="*/ 34100 h 1101852"/>
                <a:gd name="connsiteX51" fmla="*/ 997363 w 1182528"/>
                <a:gd name="connsiteY51" fmla="*/ 21431 h 1101852"/>
                <a:gd name="connsiteX52" fmla="*/ 992410 w 1182528"/>
                <a:gd name="connsiteY52" fmla="*/ 20479 h 1101852"/>
                <a:gd name="connsiteX53" fmla="*/ 985076 w 1182528"/>
                <a:gd name="connsiteY53" fmla="*/ 13335 h 1101852"/>
                <a:gd name="connsiteX54" fmla="*/ 974217 w 1182528"/>
                <a:gd name="connsiteY54" fmla="*/ 16383 h 1101852"/>
                <a:gd name="connsiteX55" fmla="*/ 972884 w 1182528"/>
                <a:gd name="connsiteY55" fmla="*/ 18098 h 1101852"/>
                <a:gd name="connsiteX56" fmla="*/ 966597 w 1182528"/>
                <a:gd name="connsiteY56" fmla="*/ 18955 h 1101852"/>
                <a:gd name="connsiteX57" fmla="*/ 960406 w 1182528"/>
                <a:gd name="connsiteY57" fmla="*/ 8477 h 1101852"/>
                <a:gd name="connsiteX58" fmla="*/ 951357 w 1182528"/>
                <a:gd name="connsiteY58" fmla="*/ 0 h 1101852"/>
                <a:gd name="connsiteX59" fmla="*/ 943451 w 1182528"/>
                <a:gd name="connsiteY59" fmla="*/ 1048 h 1101852"/>
                <a:gd name="connsiteX60" fmla="*/ 939356 w 1182528"/>
                <a:gd name="connsiteY60" fmla="*/ 6382 h 1101852"/>
                <a:gd name="connsiteX61" fmla="*/ 934402 w 1182528"/>
                <a:gd name="connsiteY61" fmla="*/ 18193 h 1101852"/>
                <a:gd name="connsiteX62" fmla="*/ 924497 w 1182528"/>
                <a:gd name="connsiteY62" fmla="*/ 16288 h 1101852"/>
                <a:gd name="connsiteX63" fmla="*/ 925163 w 1182528"/>
                <a:gd name="connsiteY63" fmla="*/ 21050 h 1101852"/>
                <a:gd name="connsiteX64" fmla="*/ 928497 w 1182528"/>
                <a:gd name="connsiteY64" fmla="*/ 22193 h 1101852"/>
                <a:gd name="connsiteX65" fmla="*/ 932498 w 1182528"/>
                <a:gd name="connsiteY65" fmla="*/ 28099 h 1101852"/>
                <a:gd name="connsiteX66" fmla="*/ 931735 w 1182528"/>
                <a:gd name="connsiteY66" fmla="*/ 34576 h 1101852"/>
                <a:gd name="connsiteX67" fmla="*/ 927735 w 1182528"/>
                <a:gd name="connsiteY67" fmla="*/ 41529 h 1101852"/>
                <a:gd name="connsiteX68" fmla="*/ 929735 w 1182528"/>
                <a:gd name="connsiteY68" fmla="*/ 44482 h 1101852"/>
                <a:gd name="connsiteX69" fmla="*/ 919448 w 1182528"/>
                <a:gd name="connsiteY69" fmla="*/ 52197 h 1101852"/>
                <a:gd name="connsiteX70" fmla="*/ 916114 w 1182528"/>
                <a:gd name="connsiteY70" fmla="*/ 51054 h 1101852"/>
                <a:gd name="connsiteX71" fmla="*/ 915352 w 1182528"/>
                <a:gd name="connsiteY71" fmla="*/ 57531 h 1101852"/>
                <a:gd name="connsiteX72" fmla="*/ 920877 w 1182528"/>
                <a:gd name="connsiteY72" fmla="*/ 63246 h 1101852"/>
                <a:gd name="connsiteX73" fmla="*/ 914019 w 1182528"/>
                <a:gd name="connsiteY73" fmla="*/ 72104 h 1101852"/>
                <a:gd name="connsiteX74" fmla="*/ 913067 w 1182528"/>
                <a:gd name="connsiteY74" fmla="*/ 77057 h 1101852"/>
                <a:gd name="connsiteX75" fmla="*/ 916781 w 1182528"/>
                <a:gd name="connsiteY75" fmla="*/ 81439 h 1101852"/>
                <a:gd name="connsiteX76" fmla="*/ 924877 w 1182528"/>
                <a:gd name="connsiteY76" fmla="*/ 82010 h 1101852"/>
                <a:gd name="connsiteX77" fmla="*/ 932212 w 1182528"/>
                <a:gd name="connsiteY77" fmla="*/ 89059 h 1101852"/>
                <a:gd name="connsiteX78" fmla="*/ 935355 w 1182528"/>
                <a:gd name="connsiteY78" fmla="*/ 88678 h 1101852"/>
                <a:gd name="connsiteX79" fmla="*/ 940118 w 1182528"/>
                <a:gd name="connsiteY79" fmla="*/ 88106 h 1101852"/>
                <a:gd name="connsiteX80" fmla="*/ 948976 w 1182528"/>
                <a:gd name="connsiteY80" fmla="*/ 82106 h 1101852"/>
                <a:gd name="connsiteX81" fmla="*/ 956881 w 1182528"/>
                <a:gd name="connsiteY81" fmla="*/ 81153 h 1101852"/>
                <a:gd name="connsiteX82" fmla="*/ 960596 w 1182528"/>
                <a:gd name="connsiteY82" fmla="*/ 85439 h 1101852"/>
                <a:gd name="connsiteX83" fmla="*/ 959453 w 1182528"/>
                <a:gd name="connsiteY83" fmla="*/ 88773 h 1101852"/>
                <a:gd name="connsiteX84" fmla="*/ 960215 w 1182528"/>
                <a:gd name="connsiteY84" fmla="*/ 95155 h 1101852"/>
                <a:gd name="connsiteX85" fmla="*/ 955548 w 1182528"/>
                <a:gd name="connsiteY85" fmla="*/ 95726 h 1101852"/>
                <a:gd name="connsiteX86" fmla="*/ 952119 w 1182528"/>
                <a:gd name="connsiteY86" fmla="*/ 94583 h 1101852"/>
                <a:gd name="connsiteX87" fmla="*/ 942118 w 1182528"/>
                <a:gd name="connsiteY87" fmla="*/ 103822 h 1101852"/>
                <a:gd name="connsiteX88" fmla="*/ 954119 w 1182528"/>
                <a:gd name="connsiteY88" fmla="*/ 110300 h 1101852"/>
                <a:gd name="connsiteX89" fmla="*/ 954405 w 1182528"/>
                <a:gd name="connsiteY89" fmla="*/ 111919 h 1101852"/>
                <a:gd name="connsiteX90" fmla="*/ 950023 w 1182528"/>
                <a:gd name="connsiteY90" fmla="*/ 115634 h 1101852"/>
                <a:gd name="connsiteX91" fmla="*/ 958882 w 1182528"/>
                <a:gd name="connsiteY91" fmla="*/ 122587 h 1101852"/>
                <a:gd name="connsiteX92" fmla="*/ 971740 w 1182528"/>
                <a:gd name="connsiteY92" fmla="*/ 122491 h 1101852"/>
                <a:gd name="connsiteX93" fmla="*/ 975551 w 1182528"/>
                <a:gd name="connsiteY93" fmla="*/ 126873 h 1101852"/>
                <a:gd name="connsiteX94" fmla="*/ 978884 w 1182528"/>
                <a:gd name="connsiteY94" fmla="*/ 128016 h 1101852"/>
                <a:gd name="connsiteX95" fmla="*/ 984218 w 1182528"/>
                <a:gd name="connsiteY95" fmla="*/ 132207 h 1101852"/>
                <a:gd name="connsiteX96" fmla="*/ 988695 w 1182528"/>
                <a:gd name="connsiteY96" fmla="*/ 130016 h 1101852"/>
                <a:gd name="connsiteX97" fmla="*/ 989362 w 1182528"/>
                <a:gd name="connsiteY97" fmla="*/ 134684 h 1101852"/>
                <a:gd name="connsiteX98" fmla="*/ 992696 w 1182528"/>
                <a:gd name="connsiteY98" fmla="*/ 135922 h 1101852"/>
                <a:gd name="connsiteX99" fmla="*/ 1001744 w 1182528"/>
                <a:gd name="connsiteY99" fmla="*/ 131540 h 1101852"/>
                <a:gd name="connsiteX100" fmla="*/ 1007269 w 1182528"/>
                <a:gd name="connsiteY100" fmla="*/ 137255 h 1101852"/>
                <a:gd name="connsiteX101" fmla="*/ 1011079 w 1182528"/>
                <a:gd name="connsiteY101" fmla="*/ 141542 h 1101852"/>
                <a:gd name="connsiteX102" fmla="*/ 1009936 w 1182528"/>
                <a:gd name="connsiteY102" fmla="*/ 144971 h 1101852"/>
                <a:gd name="connsiteX103" fmla="*/ 1010888 w 1182528"/>
                <a:gd name="connsiteY103" fmla="*/ 152781 h 1101852"/>
                <a:gd name="connsiteX104" fmla="*/ 1003173 w 1182528"/>
                <a:gd name="connsiteY104" fmla="*/ 155448 h 1101852"/>
                <a:gd name="connsiteX105" fmla="*/ 1006602 w 1182528"/>
                <a:gd name="connsiteY105" fmla="*/ 156591 h 1101852"/>
                <a:gd name="connsiteX106" fmla="*/ 1005364 w 1182528"/>
                <a:gd name="connsiteY106" fmla="*/ 159925 h 1101852"/>
                <a:gd name="connsiteX107" fmla="*/ 1002030 w 1182528"/>
                <a:gd name="connsiteY107" fmla="*/ 158782 h 1101852"/>
                <a:gd name="connsiteX108" fmla="*/ 1002221 w 1182528"/>
                <a:gd name="connsiteY108" fmla="*/ 160306 h 1101852"/>
                <a:gd name="connsiteX109" fmla="*/ 1000697 w 1182528"/>
                <a:gd name="connsiteY109" fmla="*/ 160496 h 1101852"/>
                <a:gd name="connsiteX110" fmla="*/ 1001839 w 1182528"/>
                <a:gd name="connsiteY110" fmla="*/ 170021 h 1101852"/>
                <a:gd name="connsiteX111" fmla="*/ 1001459 w 1182528"/>
                <a:gd name="connsiteY111" fmla="*/ 179642 h 1101852"/>
                <a:gd name="connsiteX112" fmla="*/ 1000125 w 1182528"/>
                <a:gd name="connsiteY112" fmla="*/ 181451 h 1101852"/>
                <a:gd name="connsiteX113" fmla="*/ 992219 w 1182528"/>
                <a:gd name="connsiteY113" fmla="*/ 182499 h 1101852"/>
                <a:gd name="connsiteX114" fmla="*/ 980599 w 1182528"/>
                <a:gd name="connsiteY114" fmla="*/ 179165 h 1101852"/>
                <a:gd name="connsiteX115" fmla="*/ 979170 w 1182528"/>
                <a:gd name="connsiteY115" fmla="*/ 180880 h 1101852"/>
                <a:gd name="connsiteX116" fmla="*/ 975646 w 1182528"/>
                <a:gd name="connsiteY116" fmla="*/ 178118 h 1101852"/>
                <a:gd name="connsiteX117" fmla="*/ 976408 w 1182528"/>
                <a:gd name="connsiteY117" fmla="*/ 184499 h 1101852"/>
                <a:gd name="connsiteX118" fmla="*/ 973646 w 1182528"/>
                <a:gd name="connsiteY118" fmla="*/ 188024 h 1101852"/>
                <a:gd name="connsiteX119" fmla="*/ 959644 w 1182528"/>
                <a:gd name="connsiteY119" fmla="*/ 191453 h 1101852"/>
                <a:gd name="connsiteX120" fmla="*/ 956310 w 1182528"/>
                <a:gd name="connsiteY120" fmla="*/ 190214 h 1101852"/>
                <a:gd name="connsiteX121" fmla="*/ 944309 w 1182528"/>
                <a:gd name="connsiteY121" fmla="*/ 196596 h 1101852"/>
                <a:gd name="connsiteX122" fmla="*/ 936022 w 1182528"/>
                <a:gd name="connsiteY122" fmla="*/ 194405 h 1101852"/>
                <a:gd name="connsiteX123" fmla="*/ 930307 w 1182528"/>
                <a:gd name="connsiteY123" fmla="*/ 187166 h 1101852"/>
                <a:gd name="connsiteX124" fmla="*/ 920210 w 1182528"/>
                <a:gd name="connsiteY124" fmla="*/ 183642 h 1101852"/>
                <a:gd name="connsiteX125" fmla="*/ 908399 w 1182528"/>
                <a:gd name="connsiteY125" fmla="*/ 191548 h 1101852"/>
                <a:gd name="connsiteX126" fmla="*/ 903827 w 1182528"/>
                <a:gd name="connsiteY126" fmla="*/ 193739 h 1101852"/>
                <a:gd name="connsiteX127" fmla="*/ 895540 w 1182528"/>
                <a:gd name="connsiteY127" fmla="*/ 191548 h 1101852"/>
                <a:gd name="connsiteX128" fmla="*/ 896969 w 1182528"/>
                <a:gd name="connsiteY128" fmla="*/ 202597 h 1101852"/>
                <a:gd name="connsiteX129" fmla="*/ 888302 w 1182528"/>
                <a:gd name="connsiteY129" fmla="*/ 222980 h 1101852"/>
                <a:gd name="connsiteX130" fmla="*/ 884968 w 1182528"/>
                <a:gd name="connsiteY130" fmla="*/ 221742 h 1101852"/>
                <a:gd name="connsiteX131" fmla="*/ 873347 w 1182528"/>
                <a:gd name="connsiteY131" fmla="*/ 231267 h 1101852"/>
                <a:gd name="connsiteX132" fmla="*/ 870204 w 1182528"/>
                <a:gd name="connsiteY132" fmla="*/ 231648 h 1101852"/>
                <a:gd name="connsiteX133" fmla="*/ 865823 w 1182528"/>
                <a:gd name="connsiteY133" fmla="*/ 235458 h 1101852"/>
                <a:gd name="connsiteX134" fmla="*/ 846773 w 1182528"/>
                <a:gd name="connsiteY134" fmla="*/ 236315 h 1101852"/>
                <a:gd name="connsiteX135" fmla="*/ 826198 w 1182528"/>
                <a:gd name="connsiteY135" fmla="*/ 251746 h 1101852"/>
                <a:gd name="connsiteX136" fmla="*/ 821341 w 1182528"/>
                <a:gd name="connsiteY136" fmla="*/ 250793 h 1101852"/>
                <a:gd name="connsiteX137" fmla="*/ 814006 w 1182528"/>
                <a:gd name="connsiteY137" fmla="*/ 256508 h 1101852"/>
                <a:gd name="connsiteX138" fmla="*/ 807720 w 1182528"/>
                <a:gd name="connsiteY138" fmla="*/ 257270 h 1101852"/>
                <a:gd name="connsiteX139" fmla="*/ 803148 w 1182528"/>
                <a:gd name="connsiteY139" fmla="*/ 259461 h 1101852"/>
                <a:gd name="connsiteX140" fmla="*/ 796861 w 1182528"/>
                <a:gd name="connsiteY140" fmla="*/ 260318 h 1101852"/>
                <a:gd name="connsiteX141" fmla="*/ 790003 w 1182528"/>
                <a:gd name="connsiteY141" fmla="*/ 269177 h 1101852"/>
                <a:gd name="connsiteX142" fmla="*/ 788956 w 1182528"/>
                <a:gd name="connsiteY142" fmla="*/ 274130 h 1101852"/>
                <a:gd name="connsiteX143" fmla="*/ 784669 w 1182528"/>
                <a:gd name="connsiteY143" fmla="*/ 277844 h 1101852"/>
                <a:gd name="connsiteX144" fmla="*/ 778383 w 1182528"/>
                <a:gd name="connsiteY144" fmla="*/ 278702 h 1101852"/>
                <a:gd name="connsiteX145" fmla="*/ 774764 w 1182528"/>
                <a:gd name="connsiteY145" fmla="*/ 275939 h 1101852"/>
                <a:gd name="connsiteX146" fmla="*/ 768477 w 1182528"/>
                <a:gd name="connsiteY146" fmla="*/ 276701 h 1101852"/>
                <a:gd name="connsiteX147" fmla="*/ 762190 w 1182528"/>
                <a:gd name="connsiteY147" fmla="*/ 277559 h 1101852"/>
                <a:gd name="connsiteX148" fmla="*/ 758285 w 1182528"/>
                <a:gd name="connsiteY148" fmla="*/ 284417 h 1101852"/>
                <a:gd name="connsiteX149" fmla="*/ 747522 w 1182528"/>
                <a:gd name="connsiteY149" fmla="*/ 276225 h 1101852"/>
                <a:gd name="connsiteX150" fmla="*/ 737902 w 1182528"/>
                <a:gd name="connsiteY150" fmla="*/ 275844 h 1101852"/>
                <a:gd name="connsiteX151" fmla="*/ 737330 w 1182528"/>
                <a:gd name="connsiteY151" fmla="*/ 271082 h 1101852"/>
                <a:gd name="connsiteX152" fmla="*/ 728567 w 1182528"/>
                <a:gd name="connsiteY152" fmla="*/ 265748 h 1101852"/>
                <a:gd name="connsiteX153" fmla="*/ 724281 w 1182528"/>
                <a:gd name="connsiteY153" fmla="*/ 269558 h 1101852"/>
                <a:gd name="connsiteX154" fmla="*/ 715423 w 1182528"/>
                <a:gd name="connsiteY154" fmla="*/ 275463 h 1101852"/>
                <a:gd name="connsiteX155" fmla="*/ 705898 w 1182528"/>
                <a:gd name="connsiteY155" fmla="*/ 276701 h 1101852"/>
                <a:gd name="connsiteX156" fmla="*/ 702945 w 1182528"/>
                <a:gd name="connsiteY156" fmla="*/ 278606 h 1101852"/>
                <a:gd name="connsiteX157" fmla="*/ 703993 w 1182528"/>
                <a:gd name="connsiteY157" fmla="*/ 286512 h 1101852"/>
                <a:gd name="connsiteX158" fmla="*/ 699611 w 1182528"/>
                <a:gd name="connsiteY158" fmla="*/ 290322 h 1101852"/>
                <a:gd name="connsiteX159" fmla="*/ 696944 w 1182528"/>
                <a:gd name="connsiteY159" fmla="*/ 293846 h 1101852"/>
                <a:gd name="connsiteX160" fmla="*/ 692753 w 1182528"/>
                <a:gd name="connsiteY160" fmla="*/ 299180 h 1101852"/>
                <a:gd name="connsiteX161" fmla="*/ 678180 w 1182528"/>
                <a:gd name="connsiteY161" fmla="*/ 297847 h 1101852"/>
                <a:gd name="connsiteX162" fmla="*/ 669512 w 1182528"/>
                <a:gd name="connsiteY162" fmla="*/ 292513 h 1101852"/>
                <a:gd name="connsiteX163" fmla="*/ 665131 w 1182528"/>
                <a:gd name="connsiteY163" fmla="*/ 296323 h 1101852"/>
                <a:gd name="connsiteX164" fmla="*/ 664178 w 1182528"/>
                <a:gd name="connsiteY164" fmla="*/ 301276 h 1101852"/>
                <a:gd name="connsiteX165" fmla="*/ 665988 w 1182528"/>
                <a:gd name="connsiteY165" fmla="*/ 302609 h 1101852"/>
                <a:gd name="connsiteX166" fmla="*/ 661988 w 1182528"/>
                <a:gd name="connsiteY166" fmla="*/ 309563 h 1101852"/>
                <a:gd name="connsiteX167" fmla="*/ 661226 w 1182528"/>
                <a:gd name="connsiteY167" fmla="*/ 316039 h 1101852"/>
                <a:gd name="connsiteX168" fmla="*/ 657130 w 1182528"/>
                <a:gd name="connsiteY168" fmla="*/ 321374 h 1101852"/>
                <a:gd name="connsiteX169" fmla="*/ 659702 w 1182528"/>
                <a:gd name="connsiteY169" fmla="*/ 329089 h 1101852"/>
                <a:gd name="connsiteX170" fmla="*/ 667417 w 1182528"/>
                <a:gd name="connsiteY170" fmla="*/ 339281 h 1101852"/>
                <a:gd name="connsiteX171" fmla="*/ 663893 w 1182528"/>
                <a:gd name="connsiteY171" fmla="*/ 349377 h 1101852"/>
                <a:gd name="connsiteX172" fmla="*/ 655034 w 1182528"/>
                <a:gd name="connsiteY172" fmla="*/ 355378 h 1101852"/>
                <a:gd name="connsiteX173" fmla="*/ 652081 w 1182528"/>
                <a:gd name="connsiteY173" fmla="*/ 357283 h 1101852"/>
                <a:gd name="connsiteX174" fmla="*/ 644747 w 1182528"/>
                <a:gd name="connsiteY174" fmla="*/ 350234 h 1101852"/>
                <a:gd name="connsiteX175" fmla="*/ 639985 w 1182528"/>
                <a:gd name="connsiteY175" fmla="*/ 350806 h 1101852"/>
                <a:gd name="connsiteX176" fmla="*/ 639413 w 1182528"/>
                <a:gd name="connsiteY176" fmla="*/ 358902 h 1101852"/>
                <a:gd name="connsiteX177" fmla="*/ 635889 w 1182528"/>
                <a:gd name="connsiteY177" fmla="*/ 368999 h 1101852"/>
                <a:gd name="connsiteX178" fmla="*/ 628174 w 1182528"/>
                <a:gd name="connsiteY178" fmla="*/ 371570 h 1101852"/>
                <a:gd name="connsiteX179" fmla="*/ 621316 w 1182528"/>
                <a:gd name="connsiteY179" fmla="*/ 367665 h 1101852"/>
                <a:gd name="connsiteX180" fmla="*/ 618554 w 1182528"/>
                <a:gd name="connsiteY180" fmla="*/ 371189 h 1101852"/>
                <a:gd name="connsiteX181" fmla="*/ 615410 w 1182528"/>
                <a:gd name="connsiteY181" fmla="*/ 371570 h 1101852"/>
                <a:gd name="connsiteX182" fmla="*/ 606266 w 1182528"/>
                <a:gd name="connsiteY182" fmla="*/ 363188 h 1101852"/>
                <a:gd name="connsiteX183" fmla="*/ 602742 w 1182528"/>
                <a:gd name="connsiteY183" fmla="*/ 360426 h 1101852"/>
                <a:gd name="connsiteX184" fmla="*/ 596265 w 1182528"/>
                <a:gd name="connsiteY184" fmla="*/ 359569 h 1101852"/>
                <a:gd name="connsiteX185" fmla="*/ 591693 w 1182528"/>
                <a:gd name="connsiteY185" fmla="*/ 361760 h 1101852"/>
                <a:gd name="connsiteX186" fmla="*/ 589502 w 1182528"/>
                <a:gd name="connsiteY186" fmla="*/ 357283 h 1101852"/>
                <a:gd name="connsiteX187" fmla="*/ 586740 w 1182528"/>
                <a:gd name="connsiteY187" fmla="*/ 360807 h 1101852"/>
                <a:gd name="connsiteX188" fmla="*/ 583025 w 1182528"/>
                <a:gd name="connsiteY188" fmla="*/ 356521 h 1101852"/>
                <a:gd name="connsiteX189" fmla="*/ 578644 w 1182528"/>
                <a:gd name="connsiteY189" fmla="*/ 360236 h 1101852"/>
                <a:gd name="connsiteX190" fmla="*/ 573500 w 1182528"/>
                <a:gd name="connsiteY190" fmla="*/ 357664 h 1101852"/>
                <a:gd name="connsiteX191" fmla="*/ 568833 w 1182528"/>
                <a:gd name="connsiteY191" fmla="*/ 358331 h 1101852"/>
                <a:gd name="connsiteX192" fmla="*/ 564642 w 1182528"/>
                <a:gd name="connsiteY192" fmla="*/ 363664 h 1101852"/>
                <a:gd name="connsiteX193" fmla="*/ 561689 w 1182528"/>
                <a:gd name="connsiteY193" fmla="*/ 365570 h 1101852"/>
                <a:gd name="connsiteX194" fmla="*/ 555403 w 1182528"/>
                <a:gd name="connsiteY194" fmla="*/ 366427 h 1101852"/>
                <a:gd name="connsiteX195" fmla="*/ 547878 w 1182528"/>
                <a:gd name="connsiteY195" fmla="*/ 357759 h 1101852"/>
                <a:gd name="connsiteX196" fmla="*/ 539591 w 1182528"/>
                <a:gd name="connsiteY196" fmla="*/ 368427 h 1101852"/>
                <a:gd name="connsiteX197" fmla="*/ 534924 w 1182528"/>
                <a:gd name="connsiteY197" fmla="*/ 368999 h 1101852"/>
                <a:gd name="connsiteX198" fmla="*/ 537305 w 1182528"/>
                <a:gd name="connsiteY198" fmla="*/ 375190 h 1101852"/>
                <a:gd name="connsiteX199" fmla="*/ 534543 w 1182528"/>
                <a:gd name="connsiteY199" fmla="*/ 378714 h 1101852"/>
                <a:gd name="connsiteX200" fmla="*/ 522827 w 1182528"/>
                <a:gd name="connsiteY200" fmla="*/ 375380 h 1101852"/>
                <a:gd name="connsiteX201" fmla="*/ 517112 w 1182528"/>
                <a:gd name="connsiteY201" fmla="*/ 368046 h 1101852"/>
                <a:gd name="connsiteX202" fmla="*/ 504825 w 1182528"/>
                <a:gd name="connsiteY202" fmla="*/ 360045 h 1101852"/>
                <a:gd name="connsiteX203" fmla="*/ 490633 w 1182528"/>
                <a:gd name="connsiteY203" fmla="*/ 361855 h 1101852"/>
                <a:gd name="connsiteX204" fmla="*/ 484727 w 1182528"/>
                <a:gd name="connsiteY204" fmla="*/ 365760 h 1101852"/>
                <a:gd name="connsiteX205" fmla="*/ 477298 w 1182528"/>
                <a:gd name="connsiteY205" fmla="*/ 369951 h 1101852"/>
                <a:gd name="connsiteX206" fmla="*/ 478250 w 1182528"/>
                <a:gd name="connsiteY206" fmla="*/ 377857 h 1101852"/>
                <a:gd name="connsiteX207" fmla="*/ 467201 w 1182528"/>
                <a:gd name="connsiteY207" fmla="*/ 379286 h 1101852"/>
                <a:gd name="connsiteX208" fmla="*/ 461296 w 1182528"/>
                <a:gd name="connsiteY208" fmla="*/ 383191 h 1101852"/>
                <a:gd name="connsiteX209" fmla="*/ 451199 w 1182528"/>
                <a:gd name="connsiteY209" fmla="*/ 379667 h 1101852"/>
                <a:gd name="connsiteX210" fmla="*/ 441389 w 1182528"/>
                <a:gd name="connsiteY210" fmla="*/ 377762 h 1101852"/>
                <a:gd name="connsiteX211" fmla="*/ 438436 w 1182528"/>
                <a:gd name="connsiteY211" fmla="*/ 379762 h 1101852"/>
                <a:gd name="connsiteX212" fmla="*/ 433292 w 1182528"/>
                <a:gd name="connsiteY212" fmla="*/ 377190 h 1101852"/>
                <a:gd name="connsiteX213" fmla="*/ 428530 w 1182528"/>
                <a:gd name="connsiteY213" fmla="*/ 377762 h 1101852"/>
                <a:gd name="connsiteX214" fmla="*/ 422434 w 1182528"/>
                <a:gd name="connsiteY214" fmla="*/ 380143 h 1101852"/>
                <a:gd name="connsiteX215" fmla="*/ 416909 w 1182528"/>
                <a:gd name="connsiteY215" fmla="*/ 387287 h 1101852"/>
                <a:gd name="connsiteX216" fmla="*/ 408813 w 1182528"/>
                <a:gd name="connsiteY216" fmla="*/ 386715 h 1101852"/>
                <a:gd name="connsiteX217" fmla="*/ 409861 w 1182528"/>
                <a:gd name="connsiteY217" fmla="*/ 394621 h 1101852"/>
                <a:gd name="connsiteX218" fmla="*/ 417576 w 1182528"/>
                <a:gd name="connsiteY218" fmla="*/ 404813 h 1101852"/>
                <a:gd name="connsiteX219" fmla="*/ 419767 w 1182528"/>
                <a:gd name="connsiteY219" fmla="*/ 409385 h 1101852"/>
                <a:gd name="connsiteX220" fmla="*/ 420910 w 1182528"/>
                <a:gd name="connsiteY220" fmla="*/ 418814 h 1101852"/>
                <a:gd name="connsiteX221" fmla="*/ 418147 w 1182528"/>
                <a:gd name="connsiteY221" fmla="*/ 422434 h 1101852"/>
                <a:gd name="connsiteX222" fmla="*/ 419005 w 1182528"/>
                <a:gd name="connsiteY222" fmla="*/ 428720 h 1101852"/>
                <a:gd name="connsiteX223" fmla="*/ 417576 w 1182528"/>
                <a:gd name="connsiteY223" fmla="*/ 430435 h 1101852"/>
                <a:gd name="connsiteX224" fmla="*/ 412718 w 1182528"/>
                <a:gd name="connsiteY224" fmla="*/ 429482 h 1101852"/>
                <a:gd name="connsiteX225" fmla="*/ 398716 w 1182528"/>
                <a:gd name="connsiteY225" fmla="*/ 445675 h 1101852"/>
                <a:gd name="connsiteX226" fmla="*/ 401288 w 1182528"/>
                <a:gd name="connsiteY226" fmla="*/ 453390 h 1101852"/>
                <a:gd name="connsiteX227" fmla="*/ 407575 w 1182528"/>
                <a:gd name="connsiteY227" fmla="*/ 452628 h 1101852"/>
                <a:gd name="connsiteX228" fmla="*/ 407194 w 1182528"/>
                <a:gd name="connsiteY228" fmla="*/ 462248 h 1101852"/>
                <a:gd name="connsiteX229" fmla="*/ 402908 w 1182528"/>
                <a:gd name="connsiteY229" fmla="*/ 466058 h 1101852"/>
                <a:gd name="connsiteX230" fmla="*/ 391858 w 1182528"/>
                <a:gd name="connsiteY230" fmla="*/ 467487 h 1101852"/>
                <a:gd name="connsiteX231" fmla="*/ 387477 w 1182528"/>
                <a:gd name="connsiteY231" fmla="*/ 471202 h 1101852"/>
                <a:gd name="connsiteX232" fmla="*/ 386906 w 1182528"/>
                <a:gd name="connsiteY232" fmla="*/ 479298 h 1101852"/>
                <a:gd name="connsiteX233" fmla="*/ 373761 w 1182528"/>
                <a:gd name="connsiteY233" fmla="*/ 489013 h 1101852"/>
                <a:gd name="connsiteX234" fmla="*/ 374142 w 1182528"/>
                <a:gd name="connsiteY234" fmla="*/ 492157 h 1101852"/>
                <a:gd name="connsiteX235" fmla="*/ 369856 w 1182528"/>
                <a:gd name="connsiteY235" fmla="*/ 495872 h 1101852"/>
                <a:gd name="connsiteX236" fmla="*/ 364331 w 1182528"/>
                <a:gd name="connsiteY236" fmla="*/ 503015 h 1101852"/>
                <a:gd name="connsiteX237" fmla="*/ 350329 w 1182528"/>
                <a:gd name="connsiteY237" fmla="*/ 493586 h 1101852"/>
                <a:gd name="connsiteX238" fmla="*/ 342233 w 1182528"/>
                <a:gd name="connsiteY238" fmla="*/ 493014 h 1101852"/>
                <a:gd name="connsiteX239" fmla="*/ 338614 w 1182528"/>
                <a:gd name="connsiteY239" fmla="*/ 490252 h 1101852"/>
                <a:gd name="connsiteX240" fmla="*/ 340233 w 1182528"/>
                <a:gd name="connsiteY240" fmla="*/ 490061 h 1101852"/>
                <a:gd name="connsiteX241" fmla="*/ 338233 w 1182528"/>
                <a:gd name="connsiteY241" fmla="*/ 487109 h 1101852"/>
                <a:gd name="connsiteX242" fmla="*/ 331756 w 1182528"/>
                <a:gd name="connsiteY242" fmla="*/ 486347 h 1101852"/>
                <a:gd name="connsiteX243" fmla="*/ 329946 w 1182528"/>
                <a:gd name="connsiteY243" fmla="*/ 484918 h 1101852"/>
                <a:gd name="connsiteX244" fmla="*/ 330899 w 1182528"/>
                <a:gd name="connsiteY244" fmla="*/ 480060 h 1101852"/>
                <a:gd name="connsiteX245" fmla="*/ 324326 w 1182528"/>
                <a:gd name="connsiteY245" fmla="*/ 466439 h 1101852"/>
                <a:gd name="connsiteX246" fmla="*/ 316611 w 1182528"/>
                <a:gd name="connsiteY246" fmla="*/ 456152 h 1101852"/>
                <a:gd name="connsiteX247" fmla="*/ 316039 w 1182528"/>
                <a:gd name="connsiteY247" fmla="*/ 451485 h 1101852"/>
                <a:gd name="connsiteX248" fmla="*/ 311087 w 1182528"/>
                <a:gd name="connsiteY248" fmla="*/ 450437 h 1101852"/>
                <a:gd name="connsiteX249" fmla="*/ 309753 w 1182528"/>
                <a:gd name="connsiteY249" fmla="*/ 452247 h 1101852"/>
                <a:gd name="connsiteX250" fmla="*/ 305943 w 1182528"/>
                <a:gd name="connsiteY250" fmla="*/ 447961 h 1101852"/>
                <a:gd name="connsiteX251" fmla="*/ 300799 w 1182528"/>
                <a:gd name="connsiteY251" fmla="*/ 445389 h 1101852"/>
                <a:gd name="connsiteX252" fmla="*/ 303657 w 1182528"/>
                <a:gd name="connsiteY252" fmla="*/ 467487 h 1101852"/>
                <a:gd name="connsiteX253" fmla="*/ 305848 w 1182528"/>
                <a:gd name="connsiteY253" fmla="*/ 471964 h 1101852"/>
                <a:gd name="connsiteX254" fmla="*/ 301466 w 1182528"/>
                <a:gd name="connsiteY254" fmla="*/ 475774 h 1101852"/>
                <a:gd name="connsiteX255" fmla="*/ 300514 w 1182528"/>
                <a:gd name="connsiteY255" fmla="*/ 480727 h 1101852"/>
                <a:gd name="connsiteX256" fmla="*/ 297561 w 1182528"/>
                <a:gd name="connsiteY256" fmla="*/ 482632 h 1101852"/>
                <a:gd name="connsiteX257" fmla="*/ 294418 w 1182528"/>
                <a:gd name="connsiteY257" fmla="*/ 483108 h 1101852"/>
                <a:gd name="connsiteX258" fmla="*/ 293084 w 1182528"/>
                <a:gd name="connsiteY258" fmla="*/ 484823 h 1101852"/>
                <a:gd name="connsiteX259" fmla="*/ 277463 w 1182528"/>
                <a:gd name="connsiteY259" fmla="*/ 488442 h 1101852"/>
                <a:gd name="connsiteX260" fmla="*/ 279464 w 1182528"/>
                <a:gd name="connsiteY260" fmla="*/ 491395 h 1101852"/>
                <a:gd name="connsiteX261" fmla="*/ 276701 w 1182528"/>
                <a:gd name="connsiteY261" fmla="*/ 494919 h 1101852"/>
                <a:gd name="connsiteX262" fmla="*/ 268605 w 1182528"/>
                <a:gd name="connsiteY262" fmla="*/ 494348 h 1101852"/>
                <a:gd name="connsiteX263" fmla="*/ 268986 w 1182528"/>
                <a:gd name="connsiteY263" fmla="*/ 497491 h 1101852"/>
                <a:gd name="connsiteX264" fmla="*/ 266224 w 1182528"/>
                <a:gd name="connsiteY264" fmla="*/ 501110 h 1101852"/>
                <a:gd name="connsiteX265" fmla="*/ 267081 w 1182528"/>
                <a:gd name="connsiteY265" fmla="*/ 507397 h 1101852"/>
                <a:gd name="connsiteX266" fmla="*/ 266510 w 1182528"/>
                <a:gd name="connsiteY266" fmla="*/ 515493 h 1101852"/>
                <a:gd name="connsiteX267" fmla="*/ 268224 w 1182528"/>
                <a:gd name="connsiteY267" fmla="*/ 516827 h 1101852"/>
                <a:gd name="connsiteX268" fmla="*/ 267652 w 1182528"/>
                <a:gd name="connsiteY268" fmla="*/ 524923 h 1101852"/>
                <a:gd name="connsiteX269" fmla="*/ 258413 w 1182528"/>
                <a:gd name="connsiteY269" fmla="*/ 527780 h 1101852"/>
                <a:gd name="connsiteX270" fmla="*/ 250317 w 1182528"/>
                <a:gd name="connsiteY270" fmla="*/ 527209 h 1101852"/>
                <a:gd name="connsiteX271" fmla="*/ 246031 w 1182528"/>
                <a:gd name="connsiteY271" fmla="*/ 530924 h 1101852"/>
                <a:gd name="connsiteX272" fmla="*/ 241268 w 1182528"/>
                <a:gd name="connsiteY272" fmla="*/ 518732 h 1101852"/>
                <a:gd name="connsiteX273" fmla="*/ 240792 w 1182528"/>
                <a:gd name="connsiteY273" fmla="*/ 515588 h 1101852"/>
                <a:gd name="connsiteX274" fmla="*/ 237077 w 1182528"/>
                <a:gd name="connsiteY274" fmla="*/ 511207 h 1101852"/>
                <a:gd name="connsiteX275" fmla="*/ 225838 w 1182528"/>
                <a:gd name="connsiteY275" fmla="*/ 511016 h 1101852"/>
                <a:gd name="connsiteX276" fmla="*/ 220504 w 1182528"/>
                <a:gd name="connsiteY276" fmla="*/ 506921 h 1101852"/>
                <a:gd name="connsiteX277" fmla="*/ 214789 w 1182528"/>
                <a:gd name="connsiteY277" fmla="*/ 512445 h 1101852"/>
                <a:gd name="connsiteX278" fmla="*/ 215360 w 1182528"/>
                <a:gd name="connsiteY278" fmla="*/ 517208 h 1101852"/>
                <a:gd name="connsiteX279" fmla="*/ 210883 w 1182528"/>
                <a:gd name="connsiteY279" fmla="*/ 519398 h 1101852"/>
                <a:gd name="connsiteX280" fmla="*/ 206693 w 1182528"/>
                <a:gd name="connsiteY280" fmla="*/ 524732 h 1101852"/>
                <a:gd name="connsiteX281" fmla="*/ 205359 w 1182528"/>
                <a:gd name="connsiteY281" fmla="*/ 526447 h 1101852"/>
                <a:gd name="connsiteX282" fmla="*/ 206312 w 1182528"/>
                <a:gd name="connsiteY282" fmla="*/ 534353 h 1101852"/>
                <a:gd name="connsiteX283" fmla="*/ 197834 w 1182528"/>
                <a:gd name="connsiteY283" fmla="*/ 543497 h 1101852"/>
                <a:gd name="connsiteX284" fmla="*/ 198501 w 1182528"/>
                <a:gd name="connsiteY284" fmla="*/ 548259 h 1101852"/>
                <a:gd name="connsiteX285" fmla="*/ 200692 w 1182528"/>
                <a:gd name="connsiteY285" fmla="*/ 552736 h 1101852"/>
                <a:gd name="connsiteX286" fmla="*/ 201454 w 1182528"/>
                <a:gd name="connsiteY286" fmla="*/ 559022 h 1101852"/>
                <a:gd name="connsiteX287" fmla="*/ 197168 w 1182528"/>
                <a:gd name="connsiteY287" fmla="*/ 562832 h 1101852"/>
                <a:gd name="connsiteX288" fmla="*/ 196120 w 1182528"/>
                <a:gd name="connsiteY288" fmla="*/ 567785 h 1101852"/>
                <a:gd name="connsiteX289" fmla="*/ 188309 w 1182528"/>
                <a:gd name="connsiteY289" fmla="*/ 581597 h 1101852"/>
                <a:gd name="connsiteX290" fmla="*/ 187738 w 1182528"/>
                <a:gd name="connsiteY290" fmla="*/ 589693 h 1101852"/>
                <a:gd name="connsiteX291" fmla="*/ 177260 w 1182528"/>
                <a:gd name="connsiteY291" fmla="*/ 595789 h 1101852"/>
                <a:gd name="connsiteX292" fmla="*/ 178879 w 1182528"/>
                <a:gd name="connsiteY292" fmla="*/ 608457 h 1101852"/>
                <a:gd name="connsiteX293" fmla="*/ 177546 w 1182528"/>
                <a:gd name="connsiteY293" fmla="*/ 610267 h 1101852"/>
                <a:gd name="connsiteX294" fmla="*/ 172593 w 1182528"/>
                <a:gd name="connsiteY294" fmla="*/ 609219 h 1101852"/>
                <a:gd name="connsiteX295" fmla="*/ 164497 w 1182528"/>
                <a:gd name="connsiteY295" fmla="*/ 608648 h 1101852"/>
                <a:gd name="connsiteX296" fmla="*/ 149257 w 1182528"/>
                <a:gd name="connsiteY296" fmla="*/ 602552 h 1101852"/>
                <a:gd name="connsiteX297" fmla="*/ 143351 w 1182528"/>
                <a:gd name="connsiteY297" fmla="*/ 606552 h 1101852"/>
                <a:gd name="connsiteX298" fmla="*/ 138398 w 1182528"/>
                <a:gd name="connsiteY298" fmla="*/ 605600 h 1101852"/>
                <a:gd name="connsiteX299" fmla="*/ 140779 w 1182528"/>
                <a:gd name="connsiteY299" fmla="*/ 598837 h 1101852"/>
                <a:gd name="connsiteX300" fmla="*/ 137255 w 1182528"/>
                <a:gd name="connsiteY300" fmla="*/ 596075 h 1101852"/>
                <a:gd name="connsiteX301" fmla="*/ 134874 w 1182528"/>
                <a:gd name="connsiteY301" fmla="*/ 589979 h 1101852"/>
                <a:gd name="connsiteX302" fmla="*/ 126016 w 1182528"/>
                <a:gd name="connsiteY302" fmla="*/ 595979 h 1101852"/>
                <a:gd name="connsiteX303" fmla="*/ 114586 w 1182528"/>
                <a:gd name="connsiteY303" fmla="*/ 607028 h 1101852"/>
                <a:gd name="connsiteX304" fmla="*/ 106680 w 1182528"/>
                <a:gd name="connsiteY304" fmla="*/ 607981 h 1101852"/>
                <a:gd name="connsiteX305" fmla="*/ 102299 w 1182528"/>
                <a:gd name="connsiteY305" fmla="*/ 611791 h 1101852"/>
                <a:gd name="connsiteX306" fmla="*/ 82772 w 1182528"/>
                <a:gd name="connsiteY306" fmla="*/ 609505 h 1101852"/>
                <a:gd name="connsiteX307" fmla="*/ 79057 w 1182528"/>
                <a:gd name="connsiteY307" fmla="*/ 605123 h 1101852"/>
                <a:gd name="connsiteX308" fmla="*/ 74866 w 1182528"/>
                <a:gd name="connsiteY308" fmla="*/ 597599 h 1101852"/>
                <a:gd name="connsiteX309" fmla="*/ 70295 w 1182528"/>
                <a:gd name="connsiteY309" fmla="*/ 599789 h 1101852"/>
                <a:gd name="connsiteX310" fmla="*/ 65437 w 1182528"/>
                <a:gd name="connsiteY310" fmla="*/ 598837 h 1101852"/>
                <a:gd name="connsiteX311" fmla="*/ 65246 w 1182528"/>
                <a:gd name="connsiteY311" fmla="*/ 610076 h 1101852"/>
                <a:gd name="connsiteX312" fmla="*/ 59150 w 1182528"/>
                <a:gd name="connsiteY312" fmla="*/ 625316 h 1101852"/>
                <a:gd name="connsiteX313" fmla="*/ 56864 w 1182528"/>
                <a:gd name="connsiteY313" fmla="*/ 644843 h 1101852"/>
                <a:gd name="connsiteX314" fmla="*/ 54864 w 1182528"/>
                <a:gd name="connsiteY314" fmla="*/ 654749 h 1101852"/>
                <a:gd name="connsiteX315" fmla="*/ 57626 w 1182528"/>
                <a:gd name="connsiteY315" fmla="*/ 663988 h 1101852"/>
                <a:gd name="connsiteX316" fmla="*/ 54102 w 1182528"/>
                <a:gd name="connsiteY316" fmla="*/ 674084 h 1101852"/>
                <a:gd name="connsiteX317" fmla="*/ 40957 w 1182528"/>
                <a:gd name="connsiteY317" fmla="*/ 683800 h 1101852"/>
                <a:gd name="connsiteX318" fmla="*/ 36766 w 1182528"/>
                <a:gd name="connsiteY318" fmla="*/ 689134 h 1101852"/>
                <a:gd name="connsiteX319" fmla="*/ 33242 w 1182528"/>
                <a:gd name="connsiteY319" fmla="*/ 699135 h 1101852"/>
                <a:gd name="connsiteX320" fmla="*/ 30289 w 1182528"/>
                <a:gd name="connsiteY320" fmla="*/ 701135 h 1101852"/>
                <a:gd name="connsiteX321" fmla="*/ 16574 w 1182528"/>
                <a:gd name="connsiteY321" fmla="*/ 706088 h 1101852"/>
                <a:gd name="connsiteX322" fmla="*/ 5524 w 1182528"/>
                <a:gd name="connsiteY322" fmla="*/ 707517 h 1101852"/>
                <a:gd name="connsiteX323" fmla="*/ 952 w 1182528"/>
                <a:gd name="connsiteY323" fmla="*/ 709708 h 1101852"/>
                <a:gd name="connsiteX324" fmla="*/ 0 w 1182528"/>
                <a:gd name="connsiteY324" fmla="*/ 714661 h 1101852"/>
                <a:gd name="connsiteX325" fmla="*/ 4858 w 1182528"/>
                <a:gd name="connsiteY325" fmla="*/ 715613 h 1101852"/>
                <a:gd name="connsiteX326" fmla="*/ 5143 w 1182528"/>
                <a:gd name="connsiteY326" fmla="*/ 717137 h 1101852"/>
                <a:gd name="connsiteX327" fmla="*/ 16954 w 1182528"/>
                <a:gd name="connsiteY327" fmla="*/ 722090 h 1101852"/>
                <a:gd name="connsiteX328" fmla="*/ 20955 w 1182528"/>
                <a:gd name="connsiteY328" fmla="*/ 727996 h 1101852"/>
                <a:gd name="connsiteX329" fmla="*/ 23336 w 1182528"/>
                <a:gd name="connsiteY329" fmla="*/ 734092 h 1101852"/>
                <a:gd name="connsiteX330" fmla="*/ 34099 w 1182528"/>
                <a:gd name="connsiteY330" fmla="*/ 731139 h 1101852"/>
                <a:gd name="connsiteX331" fmla="*/ 36100 w 1182528"/>
                <a:gd name="connsiteY331" fmla="*/ 734092 h 1101852"/>
                <a:gd name="connsiteX332" fmla="*/ 39052 w 1182528"/>
                <a:gd name="connsiteY332" fmla="*/ 732092 h 1101852"/>
                <a:gd name="connsiteX333" fmla="*/ 37909 w 1182528"/>
                <a:gd name="connsiteY333" fmla="*/ 735425 h 1101852"/>
                <a:gd name="connsiteX334" fmla="*/ 39719 w 1182528"/>
                <a:gd name="connsiteY334" fmla="*/ 736854 h 1101852"/>
                <a:gd name="connsiteX335" fmla="*/ 48577 w 1182528"/>
                <a:gd name="connsiteY335" fmla="*/ 730853 h 1101852"/>
                <a:gd name="connsiteX336" fmla="*/ 56197 w 1182528"/>
                <a:gd name="connsiteY336" fmla="*/ 728282 h 1101852"/>
                <a:gd name="connsiteX337" fmla="*/ 58864 w 1182528"/>
                <a:gd name="connsiteY337" fmla="*/ 735997 h 1101852"/>
                <a:gd name="connsiteX338" fmla="*/ 72676 w 1182528"/>
                <a:gd name="connsiteY338" fmla="*/ 743903 h 1101852"/>
                <a:gd name="connsiteX339" fmla="*/ 73628 w 1182528"/>
                <a:gd name="connsiteY339" fmla="*/ 738950 h 1101852"/>
                <a:gd name="connsiteX340" fmla="*/ 88201 w 1182528"/>
                <a:gd name="connsiteY340" fmla="*/ 740283 h 1101852"/>
                <a:gd name="connsiteX341" fmla="*/ 87820 w 1182528"/>
                <a:gd name="connsiteY341" fmla="*/ 737140 h 1101852"/>
                <a:gd name="connsiteX342" fmla="*/ 97155 w 1182528"/>
                <a:gd name="connsiteY342" fmla="*/ 747141 h 1101852"/>
                <a:gd name="connsiteX343" fmla="*/ 103632 w 1182528"/>
                <a:gd name="connsiteY343" fmla="*/ 747903 h 1101852"/>
                <a:gd name="connsiteX344" fmla="*/ 106585 w 1182528"/>
                <a:gd name="connsiteY344" fmla="*/ 745998 h 1101852"/>
                <a:gd name="connsiteX345" fmla="*/ 108395 w 1182528"/>
                <a:gd name="connsiteY345" fmla="*/ 747332 h 1101852"/>
                <a:gd name="connsiteX346" fmla="*/ 116300 w 1182528"/>
                <a:gd name="connsiteY346" fmla="*/ 759143 h 1101852"/>
                <a:gd name="connsiteX347" fmla="*/ 116491 w 1182528"/>
                <a:gd name="connsiteY347" fmla="*/ 760762 h 1101852"/>
                <a:gd name="connsiteX348" fmla="*/ 110204 w 1182528"/>
                <a:gd name="connsiteY348" fmla="*/ 761524 h 1101852"/>
                <a:gd name="connsiteX349" fmla="*/ 108204 w 1182528"/>
                <a:gd name="connsiteY349" fmla="*/ 771430 h 1101852"/>
                <a:gd name="connsiteX350" fmla="*/ 103727 w 1182528"/>
                <a:gd name="connsiteY350" fmla="*/ 773621 h 1101852"/>
                <a:gd name="connsiteX351" fmla="*/ 104299 w 1182528"/>
                <a:gd name="connsiteY351" fmla="*/ 778288 h 1101852"/>
                <a:gd name="connsiteX352" fmla="*/ 104299 w 1182528"/>
                <a:gd name="connsiteY352" fmla="*/ 778288 h 1101852"/>
                <a:gd name="connsiteX353" fmla="*/ 107251 w 1182528"/>
                <a:gd name="connsiteY353" fmla="*/ 776288 h 1101852"/>
                <a:gd name="connsiteX354" fmla="*/ 111062 w 1182528"/>
                <a:gd name="connsiteY354" fmla="*/ 780669 h 1101852"/>
                <a:gd name="connsiteX355" fmla="*/ 115729 w 1182528"/>
                <a:gd name="connsiteY355" fmla="*/ 780098 h 1101852"/>
                <a:gd name="connsiteX356" fmla="*/ 117539 w 1182528"/>
                <a:gd name="connsiteY356" fmla="*/ 781431 h 1101852"/>
                <a:gd name="connsiteX357" fmla="*/ 116205 w 1182528"/>
                <a:gd name="connsiteY357" fmla="*/ 783241 h 1101852"/>
                <a:gd name="connsiteX358" fmla="*/ 121253 w 1182528"/>
                <a:gd name="connsiteY358" fmla="*/ 785813 h 1101852"/>
                <a:gd name="connsiteX359" fmla="*/ 122682 w 1182528"/>
                <a:gd name="connsiteY359" fmla="*/ 784003 h 1101852"/>
                <a:gd name="connsiteX360" fmla="*/ 125825 w 1182528"/>
                <a:gd name="connsiteY360" fmla="*/ 783622 h 1101852"/>
                <a:gd name="connsiteX361" fmla="*/ 123634 w 1182528"/>
                <a:gd name="connsiteY361" fmla="*/ 779050 h 1101852"/>
                <a:gd name="connsiteX362" fmla="*/ 125254 w 1182528"/>
                <a:gd name="connsiteY362" fmla="*/ 778859 h 1101852"/>
                <a:gd name="connsiteX363" fmla="*/ 131159 w 1182528"/>
                <a:gd name="connsiteY363" fmla="*/ 774859 h 1101852"/>
                <a:gd name="connsiteX364" fmla="*/ 136112 w 1182528"/>
                <a:gd name="connsiteY364" fmla="*/ 775907 h 1101852"/>
                <a:gd name="connsiteX365" fmla="*/ 144208 w 1182528"/>
                <a:gd name="connsiteY365" fmla="*/ 776478 h 1101852"/>
                <a:gd name="connsiteX366" fmla="*/ 146304 w 1182528"/>
                <a:gd name="connsiteY366" fmla="*/ 780955 h 1101852"/>
                <a:gd name="connsiteX367" fmla="*/ 147923 w 1182528"/>
                <a:gd name="connsiteY367" fmla="*/ 780764 h 1101852"/>
                <a:gd name="connsiteX368" fmla="*/ 149733 w 1182528"/>
                <a:gd name="connsiteY368" fmla="*/ 782193 h 1101852"/>
                <a:gd name="connsiteX369" fmla="*/ 154400 w 1182528"/>
                <a:gd name="connsiteY369" fmla="*/ 781526 h 1101852"/>
                <a:gd name="connsiteX370" fmla="*/ 157829 w 1182528"/>
                <a:gd name="connsiteY370" fmla="*/ 782765 h 1101852"/>
                <a:gd name="connsiteX371" fmla="*/ 167259 w 1182528"/>
                <a:gd name="connsiteY371" fmla="*/ 781526 h 1101852"/>
                <a:gd name="connsiteX372" fmla="*/ 167830 w 1182528"/>
                <a:gd name="connsiteY372" fmla="*/ 786289 h 1101852"/>
                <a:gd name="connsiteX373" fmla="*/ 170402 w 1182528"/>
                <a:gd name="connsiteY373" fmla="*/ 781145 h 1101852"/>
                <a:gd name="connsiteX374" fmla="*/ 175355 w 1182528"/>
                <a:gd name="connsiteY374" fmla="*/ 782098 h 1101852"/>
                <a:gd name="connsiteX375" fmla="*/ 179451 w 1182528"/>
                <a:gd name="connsiteY375" fmla="*/ 776764 h 1101852"/>
                <a:gd name="connsiteX376" fmla="*/ 185642 w 1182528"/>
                <a:gd name="connsiteY376" fmla="*/ 774383 h 1101852"/>
                <a:gd name="connsiteX377" fmla="*/ 185833 w 1182528"/>
                <a:gd name="connsiteY377" fmla="*/ 776002 h 1101852"/>
                <a:gd name="connsiteX378" fmla="*/ 183261 w 1182528"/>
                <a:gd name="connsiteY378" fmla="*/ 781050 h 1101852"/>
                <a:gd name="connsiteX379" fmla="*/ 193548 w 1182528"/>
                <a:gd name="connsiteY379" fmla="*/ 786194 h 1101852"/>
                <a:gd name="connsiteX380" fmla="*/ 196691 w 1182528"/>
                <a:gd name="connsiteY380" fmla="*/ 798576 h 1101852"/>
                <a:gd name="connsiteX381" fmla="*/ 203645 w 1182528"/>
                <a:gd name="connsiteY381" fmla="*/ 802576 h 1101852"/>
                <a:gd name="connsiteX382" fmla="*/ 200882 w 1182528"/>
                <a:gd name="connsiteY382" fmla="*/ 806101 h 1101852"/>
                <a:gd name="connsiteX383" fmla="*/ 203454 w 1182528"/>
                <a:gd name="connsiteY383" fmla="*/ 813816 h 1101852"/>
                <a:gd name="connsiteX384" fmla="*/ 202025 w 1182528"/>
                <a:gd name="connsiteY384" fmla="*/ 815531 h 1101852"/>
                <a:gd name="connsiteX385" fmla="*/ 202501 w 1182528"/>
                <a:gd name="connsiteY385" fmla="*/ 818769 h 1101852"/>
                <a:gd name="connsiteX386" fmla="*/ 197929 w 1182528"/>
                <a:gd name="connsiteY386" fmla="*/ 820865 h 1101852"/>
                <a:gd name="connsiteX387" fmla="*/ 194977 w 1182528"/>
                <a:gd name="connsiteY387" fmla="*/ 822865 h 1101852"/>
                <a:gd name="connsiteX388" fmla="*/ 194977 w 1182528"/>
                <a:gd name="connsiteY388" fmla="*/ 822865 h 1101852"/>
                <a:gd name="connsiteX389" fmla="*/ 192214 w 1182528"/>
                <a:gd name="connsiteY389" fmla="*/ 826484 h 1101852"/>
                <a:gd name="connsiteX390" fmla="*/ 192595 w 1182528"/>
                <a:gd name="connsiteY390" fmla="*/ 829628 h 1101852"/>
                <a:gd name="connsiteX391" fmla="*/ 194596 w 1182528"/>
                <a:gd name="connsiteY391" fmla="*/ 832580 h 1101852"/>
                <a:gd name="connsiteX392" fmla="*/ 193453 w 1182528"/>
                <a:gd name="connsiteY392" fmla="*/ 835914 h 1101852"/>
                <a:gd name="connsiteX393" fmla="*/ 196596 w 1182528"/>
                <a:gd name="connsiteY393" fmla="*/ 835533 h 1101852"/>
                <a:gd name="connsiteX394" fmla="*/ 195643 w 1182528"/>
                <a:gd name="connsiteY394" fmla="*/ 840486 h 1101852"/>
                <a:gd name="connsiteX395" fmla="*/ 200597 w 1182528"/>
                <a:gd name="connsiteY395" fmla="*/ 841439 h 1101852"/>
                <a:gd name="connsiteX396" fmla="*/ 199739 w 1182528"/>
                <a:gd name="connsiteY396" fmla="*/ 847916 h 1101852"/>
                <a:gd name="connsiteX397" fmla="*/ 198215 w 1182528"/>
                <a:gd name="connsiteY397" fmla="*/ 848106 h 1101852"/>
                <a:gd name="connsiteX398" fmla="*/ 193643 w 1182528"/>
                <a:gd name="connsiteY398" fmla="*/ 850297 h 1101852"/>
                <a:gd name="connsiteX399" fmla="*/ 194310 w 1182528"/>
                <a:gd name="connsiteY399" fmla="*/ 855059 h 1101852"/>
                <a:gd name="connsiteX400" fmla="*/ 195834 w 1182528"/>
                <a:gd name="connsiteY400" fmla="*/ 854869 h 1101852"/>
                <a:gd name="connsiteX401" fmla="*/ 193262 w 1182528"/>
                <a:gd name="connsiteY401" fmla="*/ 860012 h 1101852"/>
                <a:gd name="connsiteX402" fmla="*/ 190119 w 1182528"/>
                <a:gd name="connsiteY402" fmla="*/ 860393 h 1101852"/>
                <a:gd name="connsiteX403" fmla="*/ 191929 w 1182528"/>
                <a:gd name="connsiteY403" fmla="*/ 861727 h 1101852"/>
                <a:gd name="connsiteX404" fmla="*/ 189928 w 1182528"/>
                <a:gd name="connsiteY404" fmla="*/ 871633 h 1101852"/>
                <a:gd name="connsiteX405" fmla="*/ 186785 w 1182528"/>
                <a:gd name="connsiteY405" fmla="*/ 872014 h 1101852"/>
                <a:gd name="connsiteX406" fmla="*/ 186976 w 1182528"/>
                <a:gd name="connsiteY406" fmla="*/ 873633 h 1101852"/>
                <a:gd name="connsiteX407" fmla="*/ 190214 w 1182528"/>
                <a:gd name="connsiteY407" fmla="*/ 873252 h 1101852"/>
                <a:gd name="connsiteX408" fmla="*/ 200025 w 1182528"/>
                <a:gd name="connsiteY408" fmla="*/ 875157 h 1101852"/>
                <a:gd name="connsiteX409" fmla="*/ 197453 w 1182528"/>
                <a:gd name="connsiteY409" fmla="*/ 880301 h 1101852"/>
                <a:gd name="connsiteX410" fmla="*/ 196501 w 1182528"/>
                <a:gd name="connsiteY410" fmla="*/ 885253 h 1101852"/>
                <a:gd name="connsiteX411" fmla="*/ 199835 w 1182528"/>
                <a:gd name="connsiteY411" fmla="*/ 886397 h 1101852"/>
                <a:gd name="connsiteX412" fmla="*/ 201073 w 1182528"/>
                <a:gd name="connsiteY412" fmla="*/ 895922 h 1101852"/>
                <a:gd name="connsiteX413" fmla="*/ 202120 w 1182528"/>
                <a:gd name="connsiteY413" fmla="*/ 903732 h 1101852"/>
                <a:gd name="connsiteX414" fmla="*/ 199168 w 1182528"/>
                <a:gd name="connsiteY414" fmla="*/ 905732 h 1101852"/>
                <a:gd name="connsiteX415" fmla="*/ 194405 w 1182528"/>
                <a:gd name="connsiteY415" fmla="*/ 906399 h 1101852"/>
                <a:gd name="connsiteX416" fmla="*/ 191643 w 1182528"/>
                <a:gd name="connsiteY416" fmla="*/ 909923 h 1101852"/>
                <a:gd name="connsiteX417" fmla="*/ 193453 w 1182528"/>
                <a:gd name="connsiteY417" fmla="*/ 911257 h 1101852"/>
                <a:gd name="connsiteX418" fmla="*/ 192024 w 1182528"/>
                <a:gd name="connsiteY418" fmla="*/ 913067 h 1101852"/>
                <a:gd name="connsiteX419" fmla="*/ 196405 w 1182528"/>
                <a:gd name="connsiteY419" fmla="*/ 922115 h 1101852"/>
                <a:gd name="connsiteX420" fmla="*/ 199739 w 1182528"/>
                <a:gd name="connsiteY420" fmla="*/ 923353 h 1101852"/>
                <a:gd name="connsiteX421" fmla="*/ 205835 w 1182528"/>
                <a:gd name="connsiteY421" fmla="*/ 920972 h 1101852"/>
                <a:gd name="connsiteX422" fmla="*/ 207454 w 1182528"/>
                <a:gd name="connsiteY422" fmla="*/ 920687 h 1101852"/>
                <a:gd name="connsiteX423" fmla="*/ 207835 w 1182528"/>
                <a:gd name="connsiteY423" fmla="*/ 923925 h 1101852"/>
                <a:gd name="connsiteX424" fmla="*/ 214598 w 1182528"/>
                <a:gd name="connsiteY424" fmla="*/ 926211 h 1101852"/>
                <a:gd name="connsiteX425" fmla="*/ 213170 w 1182528"/>
                <a:gd name="connsiteY425" fmla="*/ 928021 h 1101852"/>
                <a:gd name="connsiteX426" fmla="*/ 210217 w 1182528"/>
                <a:gd name="connsiteY426" fmla="*/ 930021 h 1101852"/>
                <a:gd name="connsiteX427" fmla="*/ 212217 w 1182528"/>
                <a:gd name="connsiteY427" fmla="*/ 932974 h 1101852"/>
                <a:gd name="connsiteX428" fmla="*/ 210883 w 1182528"/>
                <a:gd name="connsiteY428" fmla="*/ 934688 h 1101852"/>
                <a:gd name="connsiteX429" fmla="*/ 209455 w 1182528"/>
                <a:gd name="connsiteY429" fmla="*/ 936498 h 1101852"/>
                <a:gd name="connsiteX430" fmla="*/ 210312 w 1182528"/>
                <a:gd name="connsiteY430" fmla="*/ 942880 h 1101852"/>
                <a:gd name="connsiteX431" fmla="*/ 203930 w 1182528"/>
                <a:gd name="connsiteY431" fmla="*/ 943642 h 1101852"/>
                <a:gd name="connsiteX432" fmla="*/ 204787 w 1182528"/>
                <a:gd name="connsiteY432" fmla="*/ 949928 h 1101852"/>
                <a:gd name="connsiteX433" fmla="*/ 213074 w 1182528"/>
                <a:gd name="connsiteY433" fmla="*/ 952119 h 1101852"/>
                <a:gd name="connsiteX434" fmla="*/ 216218 w 1182528"/>
                <a:gd name="connsiteY434" fmla="*/ 951738 h 1101852"/>
                <a:gd name="connsiteX435" fmla="*/ 216408 w 1182528"/>
                <a:gd name="connsiteY435" fmla="*/ 953262 h 1101852"/>
                <a:gd name="connsiteX436" fmla="*/ 212312 w 1182528"/>
                <a:gd name="connsiteY436" fmla="*/ 958596 h 1101852"/>
                <a:gd name="connsiteX437" fmla="*/ 215646 w 1182528"/>
                <a:gd name="connsiteY437" fmla="*/ 959834 h 1101852"/>
                <a:gd name="connsiteX438" fmla="*/ 217170 w 1182528"/>
                <a:gd name="connsiteY438" fmla="*/ 959549 h 1101852"/>
                <a:gd name="connsiteX439" fmla="*/ 224314 w 1182528"/>
                <a:gd name="connsiteY439" fmla="*/ 965073 h 1101852"/>
                <a:gd name="connsiteX440" fmla="*/ 221742 w 1182528"/>
                <a:gd name="connsiteY440" fmla="*/ 970217 h 1101852"/>
                <a:gd name="connsiteX441" fmla="*/ 221742 w 1182528"/>
                <a:gd name="connsiteY441" fmla="*/ 970217 h 1101852"/>
                <a:gd name="connsiteX442" fmla="*/ 227362 w 1182528"/>
                <a:gd name="connsiteY442" fmla="*/ 975932 h 1101852"/>
                <a:gd name="connsiteX443" fmla="*/ 228314 w 1182528"/>
                <a:gd name="connsiteY443" fmla="*/ 983837 h 1101852"/>
                <a:gd name="connsiteX444" fmla="*/ 230124 w 1182528"/>
                <a:gd name="connsiteY444" fmla="*/ 985171 h 1101852"/>
                <a:gd name="connsiteX445" fmla="*/ 229362 w 1182528"/>
                <a:gd name="connsiteY445" fmla="*/ 991743 h 1101852"/>
                <a:gd name="connsiteX446" fmla="*/ 226600 w 1182528"/>
                <a:gd name="connsiteY446" fmla="*/ 995267 h 1101852"/>
                <a:gd name="connsiteX447" fmla="*/ 236220 w 1182528"/>
                <a:gd name="connsiteY447" fmla="*/ 995648 h 1101852"/>
                <a:gd name="connsiteX448" fmla="*/ 233077 w 1182528"/>
                <a:gd name="connsiteY448" fmla="*/ 1008888 h 1101852"/>
                <a:gd name="connsiteX449" fmla="*/ 224790 w 1182528"/>
                <a:gd name="connsiteY449" fmla="*/ 1006697 h 1101852"/>
                <a:gd name="connsiteX450" fmla="*/ 220313 w 1182528"/>
                <a:gd name="connsiteY450" fmla="*/ 1008888 h 1101852"/>
                <a:gd name="connsiteX451" fmla="*/ 221837 w 1182528"/>
                <a:gd name="connsiteY451" fmla="*/ 1008698 h 1101852"/>
                <a:gd name="connsiteX452" fmla="*/ 220885 w 1182528"/>
                <a:gd name="connsiteY452" fmla="*/ 1013651 h 1101852"/>
                <a:gd name="connsiteX453" fmla="*/ 229362 w 1182528"/>
                <a:gd name="connsiteY453" fmla="*/ 1017365 h 1101852"/>
                <a:gd name="connsiteX454" fmla="*/ 229743 w 1182528"/>
                <a:gd name="connsiteY454" fmla="*/ 1020509 h 1101852"/>
                <a:gd name="connsiteX455" fmla="*/ 228219 w 1182528"/>
                <a:gd name="connsiteY455" fmla="*/ 1020699 h 1101852"/>
                <a:gd name="connsiteX456" fmla="*/ 233362 w 1182528"/>
                <a:gd name="connsiteY456" fmla="*/ 1023271 h 1101852"/>
                <a:gd name="connsiteX457" fmla="*/ 230410 w 1182528"/>
                <a:gd name="connsiteY457" fmla="*/ 1025271 h 1101852"/>
                <a:gd name="connsiteX458" fmla="*/ 232791 w 1182528"/>
                <a:gd name="connsiteY458" fmla="*/ 1031367 h 1101852"/>
                <a:gd name="connsiteX459" fmla="*/ 229648 w 1182528"/>
                <a:gd name="connsiteY459" fmla="*/ 1031748 h 1101852"/>
                <a:gd name="connsiteX460" fmla="*/ 220885 w 1182528"/>
                <a:gd name="connsiteY460" fmla="*/ 1026509 h 1101852"/>
                <a:gd name="connsiteX461" fmla="*/ 223837 w 1182528"/>
                <a:gd name="connsiteY461" fmla="*/ 1024509 h 1101852"/>
                <a:gd name="connsiteX462" fmla="*/ 220504 w 1182528"/>
                <a:gd name="connsiteY462" fmla="*/ 1023271 h 1101852"/>
                <a:gd name="connsiteX463" fmla="*/ 219170 w 1182528"/>
                <a:gd name="connsiteY463" fmla="*/ 1025081 h 1101852"/>
                <a:gd name="connsiteX464" fmla="*/ 217360 w 1182528"/>
                <a:gd name="connsiteY464" fmla="*/ 1023747 h 1101852"/>
                <a:gd name="connsiteX465" fmla="*/ 217551 w 1182528"/>
                <a:gd name="connsiteY465" fmla="*/ 1025271 h 1101852"/>
                <a:gd name="connsiteX466" fmla="*/ 209074 w 1182528"/>
                <a:gd name="connsiteY466" fmla="*/ 1021556 h 1101852"/>
                <a:gd name="connsiteX467" fmla="*/ 207931 w 1182528"/>
                <a:gd name="connsiteY467" fmla="*/ 1024890 h 1101852"/>
                <a:gd name="connsiteX468" fmla="*/ 207740 w 1182528"/>
                <a:gd name="connsiteY468" fmla="*/ 1023366 h 1101852"/>
                <a:gd name="connsiteX469" fmla="*/ 200025 w 1182528"/>
                <a:gd name="connsiteY469" fmla="*/ 1025938 h 1101852"/>
                <a:gd name="connsiteX470" fmla="*/ 198787 w 1182528"/>
                <a:gd name="connsiteY470" fmla="*/ 1029272 h 1101852"/>
                <a:gd name="connsiteX471" fmla="*/ 202216 w 1182528"/>
                <a:gd name="connsiteY471" fmla="*/ 1030415 h 1101852"/>
                <a:gd name="connsiteX472" fmla="*/ 200977 w 1182528"/>
                <a:gd name="connsiteY472" fmla="*/ 1033844 h 1101852"/>
                <a:gd name="connsiteX473" fmla="*/ 193072 w 1182528"/>
                <a:gd name="connsiteY473" fmla="*/ 1034796 h 1101852"/>
                <a:gd name="connsiteX474" fmla="*/ 196691 w 1182528"/>
                <a:gd name="connsiteY474" fmla="*/ 1037558 h 1101852"/>
                <a:gd name="connsiteX475" fmla="*/ 199835 w 1182528"/>
                <a:gd name="connsiteY475" fmla="*/ 1037177 h 1101852"/>
                <a:gd name="connsiteX476" fmla="*/ 205549 w 1182528"/>
                <a:gd name="connsiteY476" fmla="*/ 1044416 h 1101852"/>
                <a:gd name="connsiteX477" fmla="*/ 208121 w 1182528"/>
                <a:gd name="connsiteY477" fmla="*/ 1039368 h 1101852"/>
                <a:gd name="connsiteX478" fmla="*/ 213455 w 1182528"/>
                <a:gd name="connsiteY478" fmla="*/ 1043464 h 1101852"/>
                <a:gd name="connsiteX479" fmla="*/ 221170 w 1182528"/>
                <a:gd name="connsiteY479" fmla="*/ 1040892 h 1101852"/>
                <a:gd name="connsiteX480" fmla="*/ 226124 w 1182528"/>
                <a:gd name="connsiteY480" fmla="*/ 1041845 h 1101852"/>
                <a:gd name="connsiteX481" fmla="*/ 228505 w 1182528"/>
                <a:gd name="connsiteY481" fmla="*/ 1047941 h 1101852"/>
                <a:gd name="connsiteX482" fmla="*/ 228695 w 1182528"/>
                <a:gd name="connsiteY482" fmla="*/ 1049560 h 1101852"/>
                <a:gd name="connsiteX483" fmla="*/ 235553 w 1182528"/>
                <a:gd name="connsiteY483" fmla="*/ 1053465 h 1101852"/>
                <a:gd name="connsiteX484" fmla="*/ 231076 w 1182528"/>
                <a:gd name="connsiteY484" fmla="*/ 1055656 h 1101852"/>
                <a:gd name="connsiteX485" fmla="*/ 229648 w 1182528"/>
                <a:gd name="connsiteY485" fmla="*/ 1057466 h 1101852"/>
                <a:gd name="connsiteX486" fmla="*/ 237553 w 1182528"/>
                <a:gd name="connsiteY486" fmla="*/ 1056418 h 1101852"/>
                <a:gd name="connsiteX487" fmla="*/ 239363 w 1182528"/>
                <a:gd name="connsiteY487" fmla="*/ 1057847 h 1101852"/>
                <a:gd name="connsiteX488" fmla="*/ 240983 w 1182528"/>
                <a:gd name="connsiteY488" fmla="*/ 1070420 h 1101852"/>
                <a:gd name="connsiteX489" fmla="*/ 239744 w 1182528"/>
                <a:gd name="connsiteY489" fmla="*/ 1073753 h 1101852"/>
                <a:gd name="connsiteX490" fmla="*/ 243173 w 1182528"/>
                <a:gd name="connsiteY490" fmla="*/ 1074992 h 1101852"/>
                <a:gd name="connsiteX491" fmla="*/ 246126 w 1182528"/>
                <a:gd name="connsiteY491" fmla="*/ 1072991 h 1101852"/>
                <a:gd name="connsiteX492" fmla="*/ 259080 w 1182528"/>
                <a:gd name="connsiteY492" fmla="*/ 1074515 h 1101852"/>
                <a:gd name="connsiteX493" fmla="*/ 258699 w 1182528"/>
                <a:gd name="connsiteY493" fmla="*/ 1071372 h 1101852"/>
                <a:gd name="connsiteX494" fmla="*/ 260318 w 1182528"/>
                <a:gd name="connsiteY494" fmla="*/ 1071182 h 1101852"/>
                <a:gd name="connsiteX495" fmla="*/ 261461 w 1182528"/>
                <a:gd name="connsiteY495" fmla="*/ 1080611 h 1101852"/>
                <a:gd name="connsiteX496" fmla="*/ 259366 w 1182528"/>
                <a:gd name="connsiteY496" fmla="*/ 1088898 h 1101852"/>
                <a:gd name="connsiteX497" fmla="*/ 265843 w 1182528"/>
                <a:gd name="connsiteY497" fmla="*/ 1089660 h 1101852"/>
                <a:gd name="connsiteX498" fmla="*/ 268414 w 1182528"/>
                <a:gd name="connsiteY498" fmla="*/ 1084517 h 1101852"/>
                <a:gd name="connsiteX499" fmla="*/ 271558 w 1182528"/>
                <a:gd name="connsiteY499" fmla="*/ 1084136 h 1101852"/>
                <a:gd name="connsiteX500" fmla="*/ 272510 w 1182528"/>
                <a:gd name="connsiteY500" fmla="*/ 1079183 h 1101852"/>
                <a:gd name="connsiteX501" fmla="*/ 273749 w 1182528"/>
                <a:gd name="connsiteY501" fmla="*/ 1075849 h 1101852"/>
                <a:gd name="connsiteX502" fmla="*/ 276892 w 1182528"/>
                <a:gd name="connsiteY502" fmla="*/ 1075468 h 1101852"/>
                <a:gd name="connsiteX503" fmla="*/ 281178 w 1182528"/>
                <a:gd name="connsiteY503" fmla="*/ 1071753 h 1101852"/>
                <a:gd name="connsiteX504" fmla="*/ 283178 w 1182528"/>
                <a:gd name="connsiteY504" fmla="*/ 1074706 h 1101852"/>
                <a:gd name="connsiteX505" fmla="*/ 280035 w 1182528"/>
                <a:gd name="connsiteY505" fmla="*/ 1075087 h 1101852"/>
                <a:gd name="connsiteX506" fmla="*/ 278701 w 1182528"/>
                <a:gd name="connsiteY506" fmla="*/ 1076801 h 1101852"/>
                <a:gd name="connsiteX507" fmla="*/ 283750 w 1182528"/>
                <a:gd name="connsiteY507" fmla="*/ 1079373 h 1101852"/>
                <a:gd name="connsiteX508" fmla="*/ 282988 w 1182528"/>
                <a:gd name="connsiteY508" fmla="*/ 1085945 h 1101852"/>
                <a:gd name="connsiteX509" fmla="*/ 286226 w 1182528"/>
                <a:gd name="connsiteY509" fmla="*/ 1085469 h 1101852"/>
                <a:gd name="connsiteX510" fmla="*/ 287941 w 1182528"/>
                <a:gd name="connsiteY510" fmla="*/ 1086898 h 1101852"/>
                <a:gd name="connsiteX511" fmla="*/ 291084 w 1182528"/>
                <a:gd name="connsiteY511" fmla="*/ 1086517 h 1101852"/>
                <a:gd name="connsiteX512" fmla="*/ 291179 w 1182528"/>
                <a:gd name="connsiteY512" fmla="*/ 1099280 h 1101852"/>
                <a:gd name="connsiteX513" fmla="*/ 296323 w 1182528"/>
                <a:gd name="connsiteY513" fmla="*/ 1101852 h 1101852"/>
                <a:gd name="connsiteX514" fmla="*/ 302228 w 1182528"/>
                <a:gd name="connsiteY514" fmla="*/ 1097852 h 1101852"/>
                <a:gd name="connsiteX515" fmla="*/ 305372 w 1182528"/>
                <a:gd name="connsiteY515" fmla="*/ 1097471 h 1101852"/>
                <a:gd name="connsiteX516" fmla="*/ 308705 w 1182528"/>
                <a:gd name="connsiteY516" fmla="*/ 1098709 h 1101852"/>
                <a:gd name="connsiteX517" fmla="*/ 308515 w 1182528"/>
                <a:gd name="connsiteY517" fmla="*/ 1097090 h 1101852"/>
                <a:gd name="connsiteX518" fmla="*/ 314611 w 1182528"/>
                <a:gd name="connsiteY518" fmla="*/ 1094708 h 1101852"/>
                <a:gd name="connsiteX519" fmla="*/ 315373 w 1182528"/>
                <a:gd name="connsiteY519" fmla="*/ 1088231 h 1101852"/>
                <a:gd name="connsiteX520" fmla="*/ 317183 w 1182528"/>
                <a:gd name="connsiteY520" fmla="*/ 1089565 h 1101852"/>
                <a:gd name="connsiteX521" fmla="*/ 317945 w 1182528"/>
                <a:gd name="connsiteY521" fmla="*/ 1083088 h 1101852"/>
                <a:gd name="connsiteX522" fmla="*/ 315944 w 1182528"/>
                <a:gd name="connsiteY522" fmla="*/ 1080135 h 1101852"/>
                <a:gd name="connsiteX523" fmla="*/ 320326 w 1182528"/>
                <a:gd name="connsiteY523" fmla="*/ 1076325 h 1101852"/>
                <a:gd name="connsiteX524" fmla="*/ 323660 w 1182528"/>
                <a:gd name="connsiteY524" fmla="*/ 1077563 h 1101852"/>
                <a:gd name="connsiteX525" fmla="*/ 326422 w 1182528"/>
                <a:gd name="connsiteY525" fmla="*/ 1073944 h 1101852"/>
                <a:gd name="connsiteX526" fmla="*/ 329565 w 1182528"/>
                <a:gd name="connsiteY526" fmla="*/ 1073563 h 1101852"/>
                <a:gd name="connsiteX527" fmla="*/ 330327 w 1182528"/>
                <a:gd name="connsiteY527" fmla="*/ 1067086 h 1101852"/>
                <a:gd name="connsiteX528" fmla="*/ 340043 w 1182528"/>
                <a:gd name="connsiteY528" fmla="*/ 1067467 h 1101852"/>
                <a:gd name="connsiteX529" fmla="*/ 340043 w 1182528"/>
                <a:gd name="connsiteY529" fmla="*/ 1067467 h 1101852"/>
                <a:gd name="connsiteX530" fmla="*/ 340233 w 1182528"/>
                <a:gd name="connsiteY530" fmla="*/ 1068991 h 1101852"/>
                <a:gd name="connsiteX531" fmla="*/ 350234 w 1182528"/>
                <a:gd name="connsiteY531" fmla="*/ 1072515 h 1101852"/>
                <a:gd name="connsiteX532" fmla="*/ 354997 w 1182528"/>
                <a:gd name="connsiteY532" fmla="*/ 1071944 h 1101852"/>
                <a:gd name="connsiteX533" fmla="*/ 355949 w 1182528"/>
                <a:gd name="connsiteY533" fmla="*/ 1066991 h 1101852"/>
                <a:gd name="connsiteX534" fmla="*/ 354235 w 1182528"/>
                <a:gd name="connsiteY534" fmla="*/ 1065657 h 1101852"/>
                <a:gd name="connsiteX535" fmla="*/ 355378 w 1182528"/>
                <a:gd name="connsiteY535" fmla="*/ 1062228 h 1101852"/>
                <a:gd name="connsiteX536" fmla="*/ 357187 w 1182528"/>
                <a:gd name="connsiteY536" fmla="*/ 1063657 h 1101852"/>
                <a:gd name="connsiteX537" fmla="*/ 361855 w 1182528"/>
                <a:gd name="connsiteY537" fmla="*/ 1062990 h 1101852"/>
                <a:gd name="connsiteX538" fmla="*/ 360712 w 1182528"/>
                <a:gd name="connsiteY538" fmla="*/ 1053560 h 1101852"/>
                <a:gd name="connsiteX539" fmla="*/ 360521 w 1182528"/>
                <a:gd name="connsiteY539" fmla="*/ 1051941 h 1101852"/>
                <a:gd name="connsiteX540" fmla="*/ 360902 w 1182528"/>
                <a:gd name="connsiteY540" fmla="*/ 1042321 h 1101852"/>
                <a:gd name="connsiteX541" fmla="*/ 361283 w 1182528"/>
                <a:gd name="connsiteY541" fmla="*/ 1045464 h 1101852"/>
                <a:gd name="connsiteX542" fmla="*/ 362617 w 1182528"/>
                <a:gd name="connsiteY542" fmla="*/ 1043654 h 1101852"/>
                <a:gd name="connsiteX543" fmla="*/ 364808 w 1182528"/>
                <a:gd name="connsiteY543" fmla="*/ 1048226 h 1101852"/>
                <a:gd name="connsiteX544" fmla="*/ 369760 w 1182528"/>
                <a:gd name="connsiteY544" fmla="*/ 1049179 h 1101852"/>
                <a:gd name="connsiteX545" fmla="*/ 374714 w 1182528"/>
                <a:gd name="connsiteY545" fmla="*/ 1050131 h 1101852"/>
                <a:gd name="connsiteX546" fmla="*/ 375666 w 1182528"/>
                <a:gd name="connsiteY546" fmla="*/ 1045274 h 1101852"/>
                <a:gd name="connsiteX547" fmla="*/ 374904 w 1182528"/>
                <a:gd name="connsiteY547" fmla="*/ 1038892 h 1101852"/>
                <a:gd name="connsiteX548" fmla="*/ 374047 w 1182528"/>
                <a:gd name="connsiteY548" fmla="*/ 1032605 h 1101852"/>
                <a:gd name="connsiteX549" fmla="*/ 368903 w 1182528"/>
                <a:gd name="connsiteY549" fmla="*/ 1030034 h 1101852"/>
                <a:gd name="connsiteX550" fmla="*/ 368903 w 1182528"/>
                <a:gd name="connsiteY550" fmla="*/ 1030034 h 1101852"/>
                <a:gd name="connsiteX551" fmla="*/ 378428 w 1182528"/>
                <a:gd name="connsiteY551" fmla="*/ 1028891 h 1101852"/>
                <a:gd name="connsiteX552" fmla="*/ 379381 w 1182528"/>
                <a:gd name="connsiteY552" fmla="*/ 1023938 h 1101852"/>
                <a:gd name="connsiteX553" fmla="*/ 374809 w 1182528"/>
                <a:gd name="connsiteY553" fmla="*/ 1013270 h 1101852"/>
                <a:gd name="connsiteX554" fmla="*/ 377571 w 1182528"/>
                <a:gd name="connsiteY554" fmla="*/ 1009745 h 1101852"/>
                <a:gd name="connsiteX555" fmla="*/ 374999 w 1182528"/>
                <a:gd name="connsiteY555" fmla="*/ 1002030 h 1101852"/>
                <a:gd name="connsiteX556" fmla="*/ 378714 w 1182528"/>
                <a:gd name="connsiteY556" fmla="*/ 1006316 h 1101852"/>
                <a:gd name="connsiteX557" fmla="*/ 378524 w 1182528"/>
                <a:gd name="connsiteY557" fmla="*/ 1004792 h 1101852"/>
                <a:gd name="connsiteX558" fmla="*/ 386429 w 1182528"/>
                <a:gd name="connsiteY558" fmla="*/ 1003745 h 1101852"/>
                <a:gd name="connsiteX559" fmla="*/ 389382 w 1182528"/>
                <a:gd name="connsiteY559" fmla="*/ 1001840 h 1101852"/>
                <a:gd name="connsiteX560" fmla="*/ 389191 w 1182528"/>
                <a:gd name="connsiteY560" fmla="*/ 1000220 h 1101852"/>
                <a:gd name="connsiteX561" fmla="*/ 392335 w 1182528"/>
                <a:gd name="connsiteY561" fmla="*/ 999839 h 1101852"/>
                <a:gd name="connsiteX562" fmla="*/ 392335 w 1182528"/>
                <a:gd name="connsiteY562" fmla="*/ 999839 h 1101852"/>
                <a:gd name="connsiteX563" fmla="*/ 391954 w 1182528"/>
                <a:gd name="connsiteY563" fmla="*/ 996696 h 1101852"/>
                <a:gd name="connsiteX564" fmla="*/ 396621 w 1182528"/>
                <a:gd name="connsiteY564" fmla="*/ 996029 h 1101852"/>
                <a:gd name="connsiteX565" fmla="*/ 394906 w 1182528"/>
                <a:gd name="connsiteY565" fmla="*/ 994696 h 1101852"/>
                <a:gd name="connsiteX566" fmla="*/ 394049 w 1182528"/>
                <a:gd name="connsiteY566" fmla="*/ 988409 h 1101852"/>
                <a:gd name="connsiteX567" fmla="*/ 395668 w 1182528"/>
                <a:gd name="connsiteY567" fmla="*/ 988124 h 1101852"/>
                <a:gd name="connsiteX568" fmla="*/ 399002 w 1182528"/>
                <a:gd name="connsiteY568" fmla="*/ 989362 h 1101852"/>
                <a:gd name="connsiteX569" fmla="*/ 400145 w 1182528"/>
                <a:gd name="connsiteY569" fmla="*/ 986028 h 1101852"/>
                <a:gd name="connsiteX570" fmla="*/ 406527 w 1182528"/>
                <a:gd name="connsiteY570" fmla="*/ 985171 h 1101852"/>
                <a:gd name="connsiteX571" fmla="*/ 408813 w 1182528"/>
                <a:gd name="connsiteY571" fmla="*/ 978503 h 1101852"/>
                <a:gd name="connsiteX572" fmla="*/ 416528 w 1182528"/>
                <a:gd name="connsiteY572" fmla="*/ 975932 h 1101852"/>
                <a:gd name="connsiteX573" fmla="*/ 419672 w 1182528"/>
                <a:gd name="connsiteY573" fmla="*/ 975455 h 1101852"/>
                <a:gd name="connsiteX574" fmla="*/ 419481 w 1182528"/>
                <a:gd name="connsiteY574" fmla="*/ 973931 h 1101852"/>
                <a:gd name="connsiteX575" fmla="*/ 422434 w 1182528"/>
                <a:gd name="connsiteY575" fmla="*/ 971931 h 1101852"/>
                <a:gd name="connsiteX576" fmla="*/ 422434 w 1182528"/>
                <a:gd name="connsiteY576" fmla="*/ 971931 h 1101852"/>
                <a:gd name="connsiteX577" fmla="*/ 430149 w 1182528"/>
                <a:gd name="connsiteY577" fmla="*/ 982123 h 1101852"/>
                <a:gd name="connsiteX578" fmla="*/ 433578 w 1182528"/>
                <a:gd name="connsiteY578" fmla="*/ 983361 h 1101852"/>
                <a:gd name="connsiteX579" fmla="*/ 436531 w 1182528"/>
                <a:gd name="connsiteY579" fmla="*/ 981361 h 1101852"/>
                <a:gd name="connsiteX580" fmla="*/ 444341 w 1182528"/>
                <a:gd name="connsiteY580" fmla="*/ 980313 h 1101852"/>
                <a:gd name="connsiteX581" fmla="*/ 451485 w 1182528"/>
                <a:gd name="connsiteY581" fmla="*/ 973074 h 1101852"/>
                <a:gd name="connsiteX582" fmla="*/ 456629 w 1182528"/>
                <a:gd name="connsiteY582" fmla="*/ 975551 h 1101852"/>
                <a:gd name="connsiteX583" fmla="*/ 456152 w 1182528"/>
                <a:gd name="connsiteY583" fmla="*/ 972407 h 1101852"/>
                <a:gd name="connsiteX584" fmla="*/ 469583 w 1182528"/>
                <a:gd name="connsiteY584" fmla="*/ 964311 h 1101852"/>
                <a:gd name="connsiteX585" fmla="*/ 465391 w 1182528"/>
                <a:gd name="connsiteY585" fmla="*/ 956786 h 1101852"/>
                <a:gd name="connsiteX586" fmla="*/ 473774 w 1182528"/>
                <a:gd name="connsiteY586" fmla="*/ 958977 h 1101852"/>
                <a:gd name="connsiteX587" fmla="*/ 476726 w 1182528"/>
                <a:gd name="connsiteY587" fmla="*/ 956977 h 1101852"/>
                <a:gd name="connsiteX588" fmla="*/ 480441 w 1182528"/>
                <a:gd name="connsiteY588" fmla="*/ 948500 h 1101852"/>
                <a:gd name="connsiteX589" fmla="*/ 478631 w 1182528"/>
                <a:gd name="connsiteY589" fmla="*/ 947166 h 1101852"/>
                <a:gd name="connsiteX590" fmla="*/ 479965 w 1182528"/>
                <a:gd name="connsiteY590" fmla="*/ 945356 h 1101852"/>
                <a:gd name="connsiteX591" fmla="*/ 480251 w 1182528"/>
                <a:gd name="connsiteY591" fmla="*/ 946880 h 1101852"/>
                <a:gd name="connsiteX592" fmla="*/ 484918 w 1182528"/>
                <a:gd name="connsiteY592" fmla="*/ 946309 h 1101852"/>
                <a:gd name="connsiteX593" fmla="*/ 489109 w 1182528"/>
                <a:gd name="connsiteY593" fmla="*/ 940975 h 1101852"/>
                <a:gd name="connsiteX594" fmla="*/ 501491 w 1182528"/>
                <a:gd name="connsiteY594" fmla="*/ 924973 h 1101852"/>
                <a:gd name="connsiteX595" fmla="*/ 503491 w 1182528"/>
                <a:gd name="connsiteY595" fmla="*/ 927926 h 1101852"/>
                <a:gd name="connsiteX596" fmla="*/ 502063 w 1182528"/>
                <a:gd name="connsiteY596" fmla="*/ 929735 h 1101852"/>
                <a:gd name="connsiteX597" fmla="*/ 502063 w 1182528"/>
                <a:gd name="connsiteY597" fmla="*/ 942499 h 1101852"/>
                <a:gd name="connsiteX598" fmla="*/ 511397 w 1182528"/>
                <a:gd name="connsiteY598" fmla="*/ 939737 h 1101852"/>
                <a:gd name="connsiteX599" fmla="*/ 514731 w 1182528"/>
                <a:gd name="connsiteY599" fmla="*/ 940880 h 1101852"/>
                <a:gd name="connsiteX600" fmla="*/ 520065 w 1182528"/>
                <a:gd name="connsiteY600" fmla="*/ 945071 h 1101852"/>
                <a:gd name="connsiteX601" fmla="*/ 523208 w 1182528"/>
                <a:gd name="connsiteY601" fmla="*/ 944690 h 1101852"/>
                <a:gd name="connsiteX602" fmla="*/ 533876 w 1182528"/>
                <a:gd name="connsiteY602" fmla="*/ 940118 h 1101852"/>
                <a:gd name="connsiteX603" fmla="*/ 551593 w 1182528"/>
                <a:gd name="connsiteY603" fmla="*/ 941070 h 1101852"/>
                <a:gd name="connsiteX604" fmla="*/ 556736 w 1182528"/>
                <a:gd name="connsiteY604" fmla="*/ 943547 h 1101852"/>
                <a:gd name="connsiteX605" fmla="*/ 559118 w 1182528"/>
                <a:gd name="connsiteY605" fmla="*/ 936879 h 1101852"/>
                <a:gd name="connsiteX606" fmla="*/ 559879 w 1182528"/>
                <a:gd name="connsiteY606" fmla="*/ 930307 h 1101852"/>
                <a:gd name="connsiteX607" fmla="*/ 561880 w 1182528"/>
                <a:gd name="connsiteY607" fmla="*/ 933355 h 1101852"/>
                <a:gd name="connsiteX608" fmla="*/ 565595 w 1182528"/>
                <a:gd name="connsiteY608" fmla="*/ 924782 h 1101852"/>
                <a:gd name="connsiteX609" fmla="*/ 567595 w 1182528"/>
                <a:gd name="connsiteY609" fmla="*/ 927735 h 1101852"/>
                <a:gd name="connsiteX610" fmla="*/ 566833 w 1182528"/>
                <a:gd name="connsiteY610" fmla="*/ 934307 h 1101852"/>
                <a:gd name="connsiteX611" fmla="*/ 569976 w 1182528"/>
                <a:gd name="connsiteY611" fmla="*/ 933926 h 1101852"/>
                <a:gd name="connsiteX612" fmla="*/ 572548 w 1182528"/>
                <a:gd name="connsiteY612" fmla="*/ 928783 h 1101852"/>
                <a:gd name="connsiteX613" fmla="*/ 575691 w 1182528"/>
                <a:gd name="connsiteY613" fmla="*/ 928307 h 1101852"/>
                <a:gd name="connsiteX614" fmla="*/ 583978 w 1182528"/>
                <a:gd name="connsiteY614" fmla="*/ 917639 h 1101852"/>
                <a:gd name="connsiteX615" fmla="*/ 589407 w 1182528"/>
                <a:gd name="connsiteY615" fmla="*/ 910590 h 1101852"/>
                <a:gd name="connsiteX616" fmla="*/ 591788 w 1182528"/>
                <a:gd name="connsiteY616" fmla="*/ 903827 h 1101852"/>
                <a:gd name="connsiteX617" fmla="*/ 594931 w 1182528"/>
                <a:gd name="connsiteY617" fmla="*/ 903446 h 1101852"/>
                <a:gd name="connsiteX618" fmla="*/ 600837 w 1182528"/>
                <a:gd name="connsiteY618" fmla="*/ 899446 h 1101852"/>
                <a:gd name="connsiteX619" fmla="*/ 603980 w 1182528"/>
                <a:gd name="connsiteY619" fmla="*/ 899065 h 1101852"/>
                <a:gd name="connsiteX620" fmla="*/ 607981 w 1182528"/>
                <a:gd name="connsiteY620" fmla="*/ 904970 h 1101852"/>
                <a:gd name="connsiteX621" fmla="*/ 609124 w 1182528"/>
                <a:gd name="connsiteY621" fmla="*/ 901637 h 1101852"/>
                <a:gd name="connsiteX622" fmla="*/ 610933 w 1182528"/>
                <a:gd name="connsiteY622" fmla="*/ 902970 h 1101852"/>
                <a:gd name="connsiteX623" fmla="*/ 617506 w 1182528"/>
                <a:gd name="connsiteY623" fmla="*/ 916591 h 1101852"/>
                <a:gd name="connsiteX624" fmla="*/ 616744 w 1182528"/>
                <a:gd name="connsiteY624" fmla="*/ 923163 h 1101852"/>
                <a:gd name="connsiteX625" fmla="*/ 618649 w 1182528"/>
                <a:gd name="connsiteY625" fmla="*/ 926116 h 1101852"/>
                <a:gd name="connsiteX626" fmla="*/ 618649 w 1182528"/>
                <a:gd name="connsiteY626" fmla="*/ 926116 h 1101852"/>
                <a:gd name="connsiteX627" fmla="*/ 635794 w 1182528"/>
                <a:gd name="connsiteY627" fmla="*/ 922306 h 1101852"/>
                <a:gd name="connsiteX628" fmla="*/ 636175 w 1182528"/>
                <a:gd name="connsiteY628" fmla="*/ 912590 h 1101852"/>
                <a:gd name="connsiteX629" fmla="*/ 639127 w 1182528"/>
                <a:gd name="connsiteY629" fmla="*/ 910590 h 1101852"/>
                <a:gd name="connsiteX630" fmla="*/ 636746 w 1182528"/>
                <a:gd name="connsiteY630" fmla="*/ 904494 h 1101852"/>
                <a:gd name="connsiteX631" fmla="*/ 642461 w 1182528"/>
                <a:gd name="connsiteY631" fmla="*/ 898970 h 1101852"/>
                <a:gd name="connsiteX632" fmla="*/ 646462 w 1182528"/>
                <a:gd name="connsiteY632" fmla="*/ 892112 h 1101852"/>
                <a:gd name="connsiteX633" fmla="*/ 652748 w 1182528"/>
                <a:gd name="connsiteY633" fmla="*/ 891254 h 1101852"/>
                <a:gd name="connsiteX634" fmla="*/ 668274 w 1182528"/>
                <a:gd name="connsiteY634" fmla="*/ 887635 h 1101852"/>
                <a:gd name="connsiteX635" fmla="*/ 671513 w 1182528"/>
                <a:gd name="connsiteY635" fmla="*/ 887254 h 1101852"/>
                <a:gd name="connsiteX636" fmla="*/ 670274 w 1182528"/>
                <a:gd name="connsiteY636" fmla="*/ 890588 h 1101852"/>
                <a:gd name="connsiteX637" fmla="*/ 679323 w 1182528"/>
                <a:gd name="connsiteY637" fmla="*/ 886301 h 1101852"/>
                <a:gd name="connsiteX638" fmla="*/ 680561 w 1182528"/>
                <a:gd name="connsiteY638" fmla="*/ 882872 h 1101852"/>
                <a:gd name="connsiteX639" fmla="*/ 685228 w 1182528"/>
                <a:gd name="connsiteY639" fmla="*/ 882301 h 1101852"/>
                <a:gd name="connsiteX640" fmla="*/ 689801 w 1182528"/>
                <a:gd name="connsiteY640" fmla="*/ 880110 h 1101852"/>
                <a:gd name="connsiteX641" fmla="*/ 690563 w 1182528"/>
                <a:gd name="connsiteY641" fmla="*/ 873633 h 1101852"/>
                <a:gd name="connsiteX642" fmla="*/ 693706 w 1182528"/>
                <a:gd name="connsiteY642" fmla="*/ 873252 h 1101852"/>
                <a:gd name="connsiteX643" fmla="*/ 693515 w 1182528"/>
                <a:gd name="connsiteY643" fmla="*/ 871633 h 1101852"/>
                <a:gd name="connsiteX644" fmla="*/ 696849 w 1182528"/>
                <a:gd name="connsiteY644" fmla="*/ 872776 h 1101852"/>
                <a:gd name="connsiteX645" fmla="*/ 699611 w 1182528"/>
                <a:gd name="connsiteY645" fmla="*/ 869251 h 1101852"/>
                <a:gd name="connsiteX646" fmla="*/ 700850 w 1182528"/>
                <a:gd name="connsiteY646" fmla="*/ 865918 h 1101852"/>
                <a:gd name="connsiteX647" fmla="*/ 699230 w 1182528"/>
                <a:gd name="connsiteY647" fmla="*/ 853250 h 1101852"/>
                <a:gd name="connsiteX648" fmla="*/ 696087 w 1182528"/>
                <a:gd name="connsiteY648" fmla="*/ 853631 h 1101852"/>
                <a:gd name="connsiteX649" fmla="*/ 697611 w 1182528"/>
                <a:gd name="connsiteY649" fmla="*/ 853440 h 1101852"/>
                <a:gd name="connsiteX650" fmla="*/ 697421 w 1182528"/>
                <a:gd name="connsiteY650" fmla="*/ 851916 h 1101852"/>
                <a:gd name="connsiteX651" fmla="*/ 703993 w 1182528"/>
                <a:gd name="connsiteY651" fmla="*/ 852678 h 1101852"/>
                <a:gd name="connsiteX652" fmla="*/ 704183 w 1182528"/>
                <a:gd name="connsiteY652" fmla="*/ 854202 h 1101852"/>
                <a:gd name="connsiteX653" fmla="*/ 710470 w 1182528"/>
                <a:gd name="connsiteY653" fmla="*/ 853440 h 1101852"/>
                <a:gd name="connsiteX654" fmla="*/ 710851 w 1182528"/>
                <a:gd name="connsiteY654" fmla="*/ 856583 h 1101852"/>
                <a:gd name="connsiteX655" fmla="*/ 723710 w 1182528"/>
                <a:gd name="connsiteY655" fmla="*/ 856583 h 1101852"/>
                <a:gd name="connsiteX656" fmla="*/ 726853 w 1182528"/>
                <a:gd name="connsiteY656" fmla="*/ 856202 h 1101852"/>
                <a:gd name="connsiteX657" fmla="*/ 726662 w 1182528"/>
                <a:gd name="connsiteY657" fmla="*/ 854583 h 1101852"/>
                <a:gd name="connsiteX658" fmla="*/ 724662 w 1182528"/>
                <a:gd name="connsiteY658" fmla="*/ 851630 h 1101852"/>
                <a:gd name="connsiteX659" fmla="*/ 726281 w 1182528"/>
                <a:gd name="connsiteY659" fmla="*/ 851440 h 1101852"/>
                <a:gd name="connsiteX660" fmla="*/ 725996 w 1182528"/>
                <a:gd name="connsiteY660" fmla="*/ 849821 h 1101852"/>
                <a:gd name="connsiteX661" fmla="*/ 724281 w 1182528"/>
                <a:gd name="connsiteY661" fmla="*/ 848487 h 1101852"/>
                <a:gd name="connsiteX662" fmla="*/ 726567 w 1182528"/>
                <a:gd name="connsiteY662" fmla="*/ 841724 h 1101852"/>
                <a:gd name="connsiteX663" fmla="*/ 722662 w 1182528"/>
                <a:gd name="connsiteY663" fmla="*/ 835819 h 1101852"/>
                <a:gd name="connsiteX664" fmla="*/ 719519 w 1182528"/>
                <a:gd name="connsiteY664" fmla="*/ 836295 h 1101852"/>
                <a:gd name="connsiteX665" fmla="*/ 717709 w 1182528"/>
                <a:gd name="connsiteY665" fmla="*/ 822008 h 1101852"/>
                <a:gd name="connsiteX666" fmla="*/ 725424 w 1182528"/>
                <a:gd name="connsiteY666" fmla="*/ 819436 h 1101852"/>
                <a:gd name="connsiteX667" fmla="*/ 723614 w 1182528"/>
                <a:gd name="connsiteY667" fmla="*/ 818102 h 1101852"/>
                <a:gd name="connsiteX668" fmla="*/ 728377 w 1182528"/>
                <a:gd name="connsiteY668" fmla="*/ 817531 h 1101852"/>
                <a:gd name="connsiteX669" fmla="*/ 730853 w 1182528"/>
                <a:gd name="connsiteY669" fmla="*/ 812387 h 1101852"/>
                <a:gd name="connsiteX670" fmla="*/ 733997 w 1182528"/>
                <a:gd name="connsiteY670" fmla="*/ 811911 h 1101852"/>
                <a:gd name="connsiteX671" fmla="*/ 736759 w 1182528"/>
                <a:gd name="connsiteY671" fmla="*/ 808387 h 1101852"/>
                <a:gd name="connsiteX672" fmla="*/ 744474 w 1182528"/>
                <a:gd name="connsiteY672" fmla="*/ 805815 h 1101852"/>
                <a:gd name="connsiteX673" fmla="*/ 750189 w 1182528"/>
                <a:gd name="connsiteY673" fmla="*/ 813054 h 1101852"/>
                <a:gd name="connsiteX674" fmla="*/ 753618 w 1182528"/>
                <a:gd name="connsiteY674" fmla="*/ 814292 h 1101852"/>
                <a:gd name="connsiteX675" fmla="*/ 752951 w 1182528"/>
                <a:gd name="connsiteY675" fmla="*/ 809530 h 1101852"/>
                <a:gd name="connsiteX676" fmla="*/ 756094 w 1182528"/>
                <a:gd name="connsiteY676" fmla="*/ 809149 h 1101852"/>
                <a:gd name="connsiteX677" fmla="*/ 755904 w 1182528"/>
                <a:gd name="connsiteY677" fmla="*/ 807530 h 1101852"/>
                <a:gd name="connsiteX678" fmla="*/ 768001 w 1182528"/>
                <a:gd name="connsiteY678" fmla="*/ 814007 h 1101852"/>
                <a:gd name="connsiteX679" fmla="*/ 777811 w 1182528"/>
                <a:gd name="connsiteY679" fmla="*/ 816007 h 1101852"/>
                <a:gd name="connsiteX680" fmla="*/ 779812 w 1182528"/>
                <a:gd name="connsiteY680" fmla="*/ 818960 h 1101852"/>
                <a:gd name="connsiteX681" fmla="*/ 782955 w 1182528"/>
                <a:gd name="connsiteY681" fmla="*/ 818578 h 1101852"/>
                <a:gd name="connsiteX682" fmla="*/ 783431 w 1182528"/>
                <a:gd name="connsiteY682" fmla="*/ 821722 h 1101852"/>
                <a:gd name="connsiteX683" fmla="*/ 784955 w 1182528"/>
                <a:gd name="connsiteY683" fmla="*/ 821531 h 1101852"/>
                <a:gd name="connsiteX684" fmla="*/ 797814 w 1182528"/>
                <a:gd name="connsiteY684" fmla="*/ 821436 h 1101852"/>
                <a:gd name="connsiteX685" fmla="*/ 812197 w 1182528"/>
                <a:gd name="connsiteY685" fmla="*/ 821246 h 1101852"/>
                <a:gd name="connsiteX686" fmla="*/ 812578 w 1182528"/>
                <a:gd name="connsiteY686" fmla="*/ 824389 h 1101852"/>
                <a:gd name="connsiteX687" fmla="*/ 819150 w 1182528"/>
                <a:gd name="connsiteY687" fmla="*/ 825151 h 1101852"/>
                <a:gd name="connsiteX688" fmla="*/ 828770 w 1182528"/>
                <a:gd name="connsiteY688" fmla="*/ 825532 h 1101852"/>
                <a:gd name="connsiteX689" fmla="*/ 830580 w 1182528"/>
                <a:gd name="connsiteY689" fmla="*/ 826865 h 1101852"/>
                <a:gd name="connsiteX690" fmla="*/ 831914 w 1182528"/>
                <a:gd name="connsiteY690" fmla="*/ 825151 h 1101852"/>
                <a:gd name="connsiteX691" fmla="*/ 847725 w 1182528"/>
                <a:gd name="connsiteY691" fmla="*/ 823151 h 1101852"/>
                <a:gd name="connsiteX692" fmla="*/ 849059 w 1182528"/>
                <a:gd name="connsiteY692" fmla="*/ 821341 h 1101852"/>
                <a:gd name="connsiteX693" fmla="*/ 857440 w 1182528"/>
                <a:gd name="connsiteY693" fmla="*/ 823532 h 1101852"/>
                <a:gd name="connsiteX694" fmla="*/ 859727 w 1182528"/>
                <a:gd name="connsiteY694" fmla="*/ 816769 h 1101852"/>
                <a:gd name="connsiteX695" fmla="*/ 857536 w 1182528"/>
                <a:gd name="connsiteY695" fmla="*/ 812197 h 1101852"/>
                <a:gd name="connsiteX696" fmla="*/ 867632 w 1182528"/>
                <a:gd name="connsiteY696" fmla="*/ 815816 h 1101852"/>
                <a:gd name="connsiteX697" fmla="*/ 866299 w 1182528"/>
                <a:gd name="connsiteY697" fmla="*/ 817531 h 1101852"/>
                <a:gd name="connsiteX698" fmla="*/ 870204 w 1182528"/>
                <a:gd name="connsiteY698" fmla="*/ 823436 h 1101852"/>
                <a:gd name="connsiteX699" fmla="*/ 871442 w 1182528"/>
                <a:gd name="connsiteY699" fmla="*/ 820103 h 1101852"/>
                <a:gd name="connsiteX700" fmla="*/ 878300 w 1182528"/>
                <a:gd name="connsiteY700" fmla="*/ 824008 h 1101852"/>
                <a:gd name="connsiteX701" fmla="*/ 877919 w 1182528"/>
                <a:gd name="connsiteY701" fmla="*/ 820865 h 1101852"/>
                <a:gd name="connsiteX702" fmla="*/ 881253 w 1182528"/>
                <a:gd name="connsiteY702" fmla="*/ 822008 h 1101852"/>
                <a:gd name="connsiteX703" fmla="*/ 882206 w 1182528"/>
                <a:gd name="connsiteY703" fmla="*/ 817150 h 1101852"/>
                <a:gd name="connsiteX704" fmla="*/ 897827 w 1182528"/>
                <a:gd name="connsiteY704" fmla="*/ 826389 h 1101852"/>
                <a:gd name="connsiteX705" fmla="*/ 902780 w 1182528"/>
                <a:gd name="connsiteY705" fmla="*/ 827342 h 1101852"/>
                <a:gd name="connsiteX706" fmla="*/ 903160 w 1182528"/>
                <a:gd name="connsiteY706" fmla="*/ 830485 h 1101852"/>
                <a:gd name="connsiteX707" fmla="*/ 904970 w 1182528"/>
                <a:gd name="connsiteY707" fmla="*/ 831818 h 1101852"/>
                <a:gd name="connsiteX708" fmla="*/ 908494 w 1182528"/>
                <a:gd name="connsiteY708" fmla="*/ 821817 h 1101852"/>
                <a:gd name="connsiteX709" fmla="*/ 910114 w 1182528"/>
                <a:gd name="connsiteY709" fmla="*/ 821626 h 1101852"/>
                <a:gd name="connsiteX710" fmla="*/ 914400 w 1182528"/>
                <a:gd name="connsiteY710" fmla="*/ 817817 h 1101852"/>
                <a:gd name="connsiteX711" fmla="*/ 914019 w 1182528"/>
                <a:gd name="connsiteY711" fmla="*/ 814673 h 1101852"/>
                <a:gd name="connsiteX712" fmla="*/ 917734 w 1182528"/>
                <a:gd name="connsiteY712" fmla="*/ 806196 h 1101852"/>
                <a:gd name="connsiteX713" fmla="*/ 919544 w 1182528"/>
                <a:gd name="connsiteY713" fmla="*/ 807530 h 1101852"/>
                <a:gd name="connsiteX714" fmla="*/ 923639 w 1182528"/>
                <a:gd name="connsiteY714" fmla="*/ 802196 h 1101852"/>
                <a:gd name="connsiteX715" fmla="*/ 930783 w 1182528"/>
                <a:gd name="connsiteY715" fmla="*/ 807720 h 1101852"/>
                <a:gd name="connsiteX716" fmla="*/ 935736 w 1182528"/>
                <a:gd name="connsiteY716" fmla="*/ 808673 h 1101852"/>
                <a:gd name="connsiteX717" fmla="*/ 937069 w 1182528"/>
                <a:gd name="connsiteY717" fmla="*/ 806958 h 1101852"/>
                <a:gd name="connsiteX718" fmla="*/ 936879 w 1182528"/>
                <a:gd name="connsiteY718" fmla="*/ 805339 h 1101852"/>
                <a:gd name="connsiteX719" fmla="*/ 942023 w 1182528"/>
                <a:gd name="connsiteY719" fmla="*/ 807911 h 1101852"/>
                <a:gd name="connsiteX720" fmla="*/ 946785 w 1182528"/>
                <a:gd name="connsiteY720" fmla="*/ 807339 h 1101852"/>
                <a:gd name="connsiteX721" fmla="*/ 944594 w 1182528"/>
                <a:gd name="connsiteY721" fmla="*/ 802767 h 1101852"/>
                <a:gd name="connsiteX722" fmla="*/ 956024 w 1182528"/>
                <a:gd name="connsiteY722" fmla="*/ 804482 h 1101852"/>
                <a:gd name="connsiteX723" fmla="*/ 955453 w 1182528"/>
                <a:gd name="connsiteY723" fmla="*/ 799814 h 1101852"/>
                <a:gd name="connsiteX724" fmla="*/ 958786 w 1182528"/>
                <a:gd name="connsiteY724" fmla="*/ 800957 h 1101852"/>
                <a:gd name="connsiteX725" fmla="*/ 960120 w 1182528"/>
                <a:gd name="connsiteY725" fmla="*/ 799148 h 1101852"/>
                <a:gd name="connsiteX726" fmla="*/ 966692 w 1182528"/>
                <a:gd name="connsiteY726" fmla="*/ 799910 h 1101852"/>
                <a:gd name="connsiteX727" fmla="*/ 966883 w 1182528"/>
                <a:gd name="connsiteY727" fmla="*/ 801529 h 1101852"/>
                <a:gd name="connsiteX728" fmla="*/ 970217 w 1182528"/>
                <a:gd name="connsiteY728" fmla="*/ 802672 h 1101852"/>
                <a:gd name="connsiteX729" fmla="*/ 970407 w 1182528"/>
                <a:gd name="connsiteY729" fmla="*/ 804291 h 1101852"/>
                <a:gd name="connsiteX730" fmla="*/ 973741 w 1182528"/>
                <a:gd name="connsiteY730" fmla="*/ 805434 h 1101852"/>
                <a:gd name="connsiteX731" fmla="*/ 974407 w 1182528"/>
                <a:gd name="connsiteY731" fmla="*/ 810197 h 1101852"/>
                <a:gd name="connsiteX732" fmla="*/ 975551 w 1182528"/>
                <a:gd name="connsiteY732" fmla="*/ 806863 h 1101852"/>
                <a:gd name="connsiteX733" fmla="*/ 978884 w 1182528"/>
                <a:gd name="connsiteY733" fmla="*/ 808006 h 1101852"/>
                <a:gd name="connsiteX734" fmla="*/ 975360 w 1182528"/>
                <a:gd name="connsiteY734" fmla="*/ 805244 h 1101852"/>
                <a:gd name="connsiteX735" fmla="*/ 978503 w 1182528"/>
                <a:gd name="connsiteY735" fmla="*/ 804863 h 1101852"/>
                <a:gd name="connsiteX736" fmla="*/ 980313 w 1182528"/>
                <a:gd name="connsiteY736" fmla="*/ 806196 h 1101852"/>
                <a:gd name="connsiteX737" fmla="*/ 978884 w 1182528"/>
                <a:gd name="connsiteY737" fmla="*/ 808006 h 1101852"/>
                <a:gd name="connsiteX738" fmla="*/ 979075 w 1182528"/>
                <a:gd name="connsiteY738" fmla="*/ 809625 h 1101852"/>
                <a:gd name="connsiteX739" fmla="*/ 983456 w 1182528"/>
                <a:gd name="connsiteY739" fmla="*/ 805815 h 1101852"/>
                <a:gd name="connsiteX740" fmla="*/ 984980 w 1182528"/>
                <a:gd name="connsiteY740" fmla="*/ 805625 h 1101852"/>
                <a:gd name="connsiteX741" fmla="*/ 990124 w 1182528"/>
                <a:gd name="connsiteY741" fmla="*/ 795338 h 1101852"/>
                <a:gd name="connsiteX742" fmla="*/ 988505 w 1182528"/>
                <a:gd name="connsiteY742" fmla="*/ 795528 h 1101852"/>
                <a:gd name="connsiteX743" fmla="*/ 989552 w 1182528"/>
                <a:gd name="connsiteY743" fmla="*/ 790575 h 1101852"/>
                <a:gd name="connsiteX744" fmla="*/ 987933 w 1182528"/>
                <a:gd name="connsiteY744" fmla="*/ 790861 h 1101852"/>
                <a:gd name="connsiteX745" fmla="*/ 989362 w 1182528"/>
                <a:gd name="connsiteY745" fmla="*/ 789051 h 1101852"/>
                <a:gd name="connsiteX746" fmla="*/ 985933 w 1182528"/>
                <a:gd name="connsiteY746" fmla="*/ 787908 h 1101852"/>
                <a:gd name="connsiteX747" fmla="*/ 987361 w 1182528"/>
                <a:gd name="connsiteY747" fmla="*/ 786098 h 1101852"/>
                <a:gd name="connsiteX748" fmla="*/ 986123 w 1182528"/>
                <a:gd name="connsiteY748" fmla="*/ 776573 h 1101852"/>
                <a:gd name="connsiteX749" fmla="*/ 992886 w 1182528"/>
                <a:gd name="connsiteY749" fmla="*/ 778955 h 1101852"/>
                <a:gd name="connsiteX750" fmla="*/ 992600 w 1182528"/>
                <a:gd name="connsiteY750" fmla="*/ 764572 h 1101852"/>
                <a:gd name="connsiteX751" fmla="*/ 992029 w 1182528"/>
                <a:gd name="connsiteY751" fmla="*/ 759809 h 1101852"/>
                <a:gd name="connsiteX752" fmla="*/ 993553 w 1182528"/>
                <a:gd name="connsiteY752" fmla="*/ 759619 h 1101852"/>
                <a:gd name="connsiteX753" fmla="*/ 994791 w 1182528"/>
                <a:gd name="connsiteY753" fmla="*/ 756285 h 1101852"/>
                <a:gd name="connsiteX754" fmla="*/ 991172 w 1182528"/>
                <a:gd name="connsiteY754" fmla="*/ 753523 h 1101852"/>
                <a:gd name="connsiteX755" fmla="*/ 987838 w 1182528"/>
                <a:gd name="connsiteY755" fmla="*/ 752380 h 1101852"/>
                <a:gd name="connsiteX756" fmla="*/ 987266 w 1182528"/>
                <a:gd name="connsiteY756" fmla="*/ 747617 h 1101852"/>
                <a:gd name="connsiteX757" fmla="*/ 983742 w 1182528"/>
                <a:gd name="connsiteY757" fmla="*/ 744855 h 1101852"/>
                <a:gd name="connsiteX758" fmla="*/ 983266 w 1182528"/>
                <a:gd name="connsiteY758" fmla="*/ 741712 h 1101852"/>
                <a:gd name="connsiteX759" fmla="*/ 987647 w 1182528"/>
                <a:gd name="connsiteY759" fmla="*/ 737902 h 1101852"/>
                <a:gd name="connsiteX760" fmla="*/ 989648 w 1182528"/>
                <a:gd name="connsiteY760" fmla="*/ 740855 h 1101852"/>
                <a:gd name="connsiteX761" fmla="*/ 992600 w 1182528"/>
                <a:gd name="connsiteY761" fmla="*/ 738950 h 1101852"/>
                <a:gd name="connsiteX762" fmla="*/ 988981 w 1182528"/>
                <a:gd name="connsiteY762" fmla="*/ 736187 h 1101852"/>
                <a:gd name="connsiteX763" fmla="*/ 988600 w 1182528"/>
                <a:gd name="connsiteY763" fmla="*/ 733044 h 1101852"/>
                <a:gd name="connsiteX764" fmla="*/ 985076 w 1182528"/>
                <a:gd name="connsiteY764" fmla="*/ 730282 h 1101852"/>
                <a:gd name="connsiteX765" fmla="*/ 986219 w 1182528"/>
                <a:gd name="connsiteY765" fmla="*/ 726853 h 1101852"/>
                <a:gd name="connsiteX766" fmla="*/ 988028 w 1182528"/>
                <a:gd name="connsiteY766" fmla="*/ 728282 h 1101852"/>
                <a:gd name="connsiteX767" fmla="*/ 987552 w 1182528"/>
                <a:gd name="connsiteY767" fmla="*/ 725138 h 1101852"/>
                <a:gd name="connsiteX768" fmla="*/ 985838 w 1182528"/>
                <a:gd name="connsiteY768" fmla="*/ 723710 h 1101852"/>
                <a:gd name="connsiteX769" fmla="*/ 985647 w 1182528"/>
                <a:gd name="connsiteY769" fmla="*/ 722186 h 1101852"/>
                <a:gd name="connsiteX770" fmla="*/ 982027 w 1182528"/>
                <a:gd name="connsiteY770" fmla="*/ 719423 h 1101852"/>
                <a:gd name="connsiteX771" fmla="*/ 981837 w 1182528"/>
                <a:gd name="connsiteY771" fmla="*/ 717804 h 1101852"/>
                <a:gd name="connsiteX772" fmla="*/ 984790 w 1182528"/>
                <a:gd name="connsiteY772" fmla="*/ 715804 h 1101852"/>
                <a:gd name="connsiteX773" fmla="*/ 987933 w 1182528"/>
                <a:gd name="connsiteY773" fmla="*/ 715423 h 1101852"/>
                <a:gd name="connsiteX774" fmla="*/ 989171 w 1182528"/>
                <a:gd name="connsiteY774" fmla="*/ 712089 h 1101852"/>
                <a:gd name="connsiteX775" fmla="*/ 992124 w 1182528"/>
                <a:gd name="connsiteY775" fmla="*/ 710089 h 1101852"/>
                <a:gd name="connsiteX776" fmla="*/ 1004792 w 1182528"/>
                <a:gd name="connsiteY776" fmla="*/ 721328 h 1101852"/>
                <a:gd name="connsiteX777" fmla="*/ 1019937 w 1182528"/>
                <a:gd name="connsiteY777" fmla="*/ 727424 h 1101852"/>
                <a:gd name="connsiteX778" fmla="*/ 1021175 w 1182528"/>
                <a:gd name="connsiteY778" fmla="*/ 724091 h 1101852"/>
                <a:gd name="connsiteX779" fmla="*/ 1024509 w 1182528"/>
                <a:gd name="connsiteY779" fmla="*/ 725234 h 1101852"/>
                <a:gd name="connsiteX780" fmla="*/ 1020889 w 1182528"/>
                <a:gd name="connsiteY780" fmla="*/ 722471 h 1101852"/>
                <a:gd name="connsiteX781" fmla="*/ 1023652 w 1182528"/>
                <a:gd name="connsiteY781" fmla="*/ 718947 h 1101852"/>
                <a:gd name="connsiteX782" fmla="*/ 1021937 w 1182528"/>
                <a:gd name="connsiteY782" fmla="*/ 717518 h 1101852"/>
                <a:gd name="connsiteX783" fmla="*/ 1017175 w 1182528"/>
                <a:gd name="connsiteY783" fmla="*/ 718090 h 1101852"/>
                <a:gd name="connsiteX784" fmla="*/ 1015365 w 1182528"/>
                <a:gd name="connsiteY784" fmla="*/ 716756 h 1101852"/>
                <a:gd name="connsiteX785" fmla="*/ 1019556 w 1182528"/>
                <a:gd name="connsiteY785" fmla="*/ 711422 h 1101852"/>
                <a:gd name="connsiteX786" fmla="*/ 1023080 w 1182528"/>
                <a:gd name="connsiteY786" fmla="*/ 714185 h 1101852"/>
                <a:gd name="connsiteX787" fmla="*/ 1024223 w 1182528"/>
                <a:gd name="connsiteY787" fmla="*/ 710851 h 1101852"/>
                <a:gd name="connsiteX788" fmla="*/ 1020889 w 1182528"/>
                <a:gd name="connsiteY788" fmla="*/ 709613 h 1101852"/>
                <a:gd name="connsiteX789" fmla="*/ 1022509 w 1182528"/>
                <a:gd name="connsiteY789" fmla="*/ 709422 h 1101852"/>
                <a:gd name="connsiteX790" fmla="*/ 1026985 w 1182528"/>
                <a:gd name="connsiteY790" fmla="*/ 707231 h 1101852"/>
                <a:gd name="connsiteX791" fmla="*/ 1024985 w 1182528"/>
                <a:gd name="connsiteY791" fmla="*/ 691515 h 1101852"/>
                <a:gd name="connsiteX792" fmla="*/ 1035653 w 1182528"/>
                <a:gd name="connsiteY792" fmla="*/ 699707 h 1101852"/>
                <a:gd name="connsiteX793" fmla="*/ 1043559 w 1182528"/>
                <a:gd name="connsiteY793" fmla="*/ 698754 h 1101852"/>
                <a:gd name="connsiteX794" fmla="*/ 1042606 w 1182528"/>
                <a:gd name="connsiteY794" fmla="*/ 690848 h 1101852"/>
                <a:gd name="connsiteX795" fmla="*/ 1051274 w 1182528"/>
                <a:gd name="connsiteY795" fmla="*/ 696182 h 1101852"/>
                <a:gd name="connsiteX796" fmla="*/ 1059371 w 1182528"/>
                <a:gd name="connsiteY796" fmla="*/ 696754 h 1101852"/>
                <a:gd name="connsiteX797" fmla="*/ 1057942 w 1182528"/>
                <a:gd name="connsiteY797" fmla="*/ 685705 h 1101852"/>
                <a:gd name="connsiteX798" fmla="*/ 1059085 w 1182528"/>
                <a:gd name="connsiteY798" fmla="*/ 682276 h 1101852"/>
                <a:gd name="connsiteX799" fmla="*/ 1058513 w 1182528"/>
                <a:gd name="connsiteY799" fmla="*/ 677609 h 1101852"/>
                <a:gd name="connsiteX800" fmla="*/ 1059656 w 1182528"/>
                <a:gd name="connsiteY800" fmla="*/ 674275 h 1101852"/>
                <a:gd name="connsiteX801" fmla="*/ 1054799 w 1182528"/>
                <a:gd name="connsiteY801" fmla="*/ 673227 h 1101852"/>
                <a:gd name="connsiteX802" fmla="*/ 1057942 w 1182528"/>
                <a:gd name="connsiteY802" fmla="*/ 672846 h 1101852"/>
                <a:gd name="connsiteX803" fmla="*/ 1058323 w 1182528"/>
                <a:gd name="connsiteY803" fmla="*/ 663226 h 1101852"/>
                <a:gd name="connsiteX804" fmla="*/ 1047560 w 1182528"/>
                <a:gd name="connsiteY804" fmla="*/ 642080 h 1101852"/>
                <a:gd name="connsiteX805" fmla="*/ 1060037 w 1182528"/>
                <a:gd name="connsiteY805" fmla="*/ 638937 h 1101852"/>
                <a:gd name="connsiteX806" fmla="*/ 1056989 w 1182528"/>
                <a:gd name="connsiteY806" fmla="*/ 628078 h 1101852"/>
                <a:gd name="connsiteX807" fmla="*/ 1068896 w 1182528"/>
                <a:gd name="connsiteY807" fmla="*/ 632936 h 1101852"/>
                <a:gd name="connsiteX808" fmla="*/ 1066324 w 1182528"/>
                <a:gd name="connsiteY808" fmla="*/ 625316 h 1101852"/>
                <a:gd name="connsiteX809" fmla="*/ 1064133 w 1182528"/>
                <a:gd name="connsiteY809" fmla="*/ 620744 h 1101852"/>
                <a:gd name="connsiteX810" fmla="*/ 1060704 w 1182528"/>
                <a:gd name="connsiteY810" fmla="*/ 619601 h 1101852"/>
                <a:gd name="connsiteX811" fmla="*/ 1061276 w 1182528"/>
                <a:gd name="connsiteY811" fmla="*/ 611505 h 1101852"/>
                <a:gd name="connsiteX812" fmla="*/ 1056418 w 1182528"/>
                <a:gd name="connsiteY812" fmla="*/ 610457 h 1101852"/>
                <a:gd name="connsiteX813" fmla="*/ 1057751 w 1182528"/>
                <a:gd name="connsiteY813" fmla="*/ 608743 h 1101852"/>
                <a:gd name="connsiteX814" fmla="*/ 1057561 w 1182528"/>
                <a:gd name="connsiteY814" fmla="*/ 607124 h 1101852"/>
                <a:gd name="connsiteX815" fmla="*/ 1054418 w 1182528"/>
                <a:gd name="connsiteY815" fmla="*/ 607505 h 1101852"/>
                <a:gd name="connsiteX816" fmla="*/ 1049465 w 1182528"/>
                <a:gd name="connsiteY816" fmla="*/ 606552 h 1101852"/>
                <a:gd name="connsiteX817" fmla="*/ 1049655 w 1182528"/>
                <a:gd name="connsiteY817" fmla="*/ 608171 h 1101852"/>
                <a:gd name="connsiteX818" fmla="*/ 1047845 w 1182528"/>
                <a:gd name="connsiteY818" fmla="*/ 606743 h 1101852"/>
                <a:gd name="connsiteX819" fmla="*/ 1047845 w 1182528"/>
                <a:gd name="connsiteY819" fmla="*/ 606743 h 1101852"/>
                <a:gd name="connsiteX820" fmla="*/ 1047655 w 1182528"/>
                <a:gd name="connsiteY820" fmla="*/ 605219 h 1101852"/>
                <a:gd name="connsiteX821" fmla="*/ 1046321 w 1182528"/>
                <a:gd name="connsiteY821" fmla="*/ 606933 h 1101852"/>
                <a:gd name="connsiteX822" fmla="*/ 1038035 w 1182528"/>
                <a:gd name="connsiteY822" fmla="*/ 604838 h 1101852"/>
                <a:gd name="connsiteX823" fmla="*/ 1038797 w 1182528"/>
                <a:gd name="connsiteY823" fmla="*/ 598265 h 1101852"/>
                <a:gd name="connsiteX824" fmla="*/ 1037368 w 1182528"/>
                <a:gd name="connsiteY824" fmla="*/ 600075 h 1101852"/>
                <a:gd name="connsiteX825" fmla="*/ 1035463 w 1182528"/>
                <a:gd name="connsiteY825" fmla="*/ 597122 h 1101852"/>
                <a:gd name="connsiteX826" fmla="*/ 1036415 w 1182528"/>
                <a:gd name="connsiteY826" fmla="*/ 592169 h 1101852"/>
                <a:gd name="connsiteX827" fmla="*/ 1036225 w 1182528"/>
                <a:gd name="connsiteY827" fmla="*/ 590645 h 1101852"/>
                <a:gd name="connsiteX828" fmla="*/ 1034606 w 1182528"/>
                <a:gd name="connsiteY828" fmla="*/ 590836 h 1101852"/>
                <a:gd name="connsiteX829" fmla="*/ 1033081 w 1182528"/>
                <a:gd name="connsiteY829" fmla="*/ 591026 h 1101852"/>
                <a:gd name="connsiteX830" fmla="*/ 1034415 w 1182528"/>
                <a:gd name="connsiteY830" fmla="*/ 589217 h 1101852"/>
                <a:gd name="connsiteX831" fmla="*/ 1032605 w 1182528"/>
                <a:gd name="connsiteY831" fmla="*/ 587883 h 1101852"/>
                <a:gd name="connsiteX832" fmla="*/ 1033844 w 1182528"/>
                <a:gd name="connsiteY832" fmla="*/ 584549 h 1101852"/>
                <a:gd name="connsiteX833" fmla="*/ 1030700 w 1182528"/>
                <a:gd name="connsiteY833" fmla="*/ 584930 h 1101852"/>
                <a:gd name="connsiteX834" fmla="*/ 1032034 w 1182528"/>
                <a:gd name="connsiteY834" fmla="*/ 583121 h 1101852"/>
                <a:gd name="connsiteX835" fmla="*/ 1030510 w 1182528"/>
                <a:gd name="connsiteY835" fmla="*/ 583311 h 1101852"/>
                <a:gd name="connsiteX836" fmla="*/ 1027843 w 1182528"/>
                <a:gd name="connsiteY836" fmla="*/ 575596 h 1101852"/>
                <a:gd name="connsiteX837" fmla="*/ 1020985 w 1182528"/>
                <a:gd name="connsiteY837" fmla="*/ 571691 h 1101852"/>
                <a:gd name="connsiteX838" fmla="*/ 1022128 w 1182528"/>
                <a:gd name="connsiteY838" fmla="*/ 568357 h 1101852"/>
                <a:gd name="connsiteX839" fmla="*/ 1020985 w 1182528"/>
                <a:gd name="connsiteY839" fmla="*/ 558927 h 1101852"/>
                <a:gd name="connsiteX840" fmla="*/ 1018985 w 1182528"/>
                <a:gd name="connsiteY840" fmla="*/ 555974 h 1101852"/>
                <a:gd name="connsiteX841" fmla="*/ 1018603 w 1182528"/>
                <a:gd name="connsiteY841" fmla="*/ 552736 h 1101852"/>
                <a:gd name="connsiteX842" fmla="*/ 1016984 w 1182528"/>
                <a:gd name="connsiteY842" fmla="*/ 553022 h 1101852"/>
                <a:gd name="connsiteX843" fmla="*/ 1015746 w 1182528"/>
                <a:gd name="connsiteY843" fmla="*/ 543497 h 1101852"/>
                <a:gd name="connsiteX844" fmla="*/ 1012603 w 1182528"/>
                <a:gd name="connsiteY844" fmla="*/ 543878 h 1101852"/>
                <a:gd name="connsiteX845" fmla="*/ 1014031 w 1182528"/>
                <a:gd name="connsiteY845" fmla="*/ 542163 h 1101852"/>
                <a:gd name="connsiteX846" fmla="*/ 1012412 w 1182528"/>
                <a:gd name="connsiteY846" fmla="*/ 542354 h 1101852"/>
                <a:gd name="connsiteX847" fmla="*/ 1013174 w 1182528"/>
                <a:gd name="connsiteY847" fmla="*/ 535781 h 1101852"/>
                <a:gd name="connsiteX848" fmla="*/ 1003078 w 1182528"/>
                <a:gd name="connsiteY848" fmla="*/ 532257 h 1101852"/>
                <a:gd name="connsiteX849" fmla="*/ 1004316 w 1182528"/>
                <a:gd name="connsiteY849" fmla="*/ 528923 h 1101852"/>
                <a:gd name="connsiteX850" fmla="*/ 1000315 w 1182528"/>
                <a:gd name="connsiteY850" fmla="*/ 523018 h 1101852"/>
                <a:gd name="connsiteX851" fmla="*/ 995363 w 1182528"/>
                <a:gd name="connsiteY851" fmla="*/ 522065 h 1101852"/>
                <a:gd name="connsiteX852" fmla="*/ 997934 w 1182528"/>
                <a:gd name="connsiteY852" fmla="*/ 516922 h 1101852"/>
                <a:gd name="connsiteX853" fmla="*/ 994981 w 1182528"/>
                <a:gd name="connsiteY853" fmla="*/ 506063 h 1101852"/>
                <a:gd name="connsiteX854" fmla="*/ 987838 w 1182528"/>
                <a:gd name="connsiteY854" fmla="*/ 500539 h 1101852"/>
                <a:gd name="connsiteX855" fmla="*/ 987457 w 1182528"/>
                <a:gd name="connsiteY855" fmla="*/ 497396 h 1101852"/>
                <a:gd name="connsiteX856" fmla="*/ 988790 w 1182528"/>
                <a:gd name="connsiteY856" fmla="*/ 495586 h 1101852"/>
                <a:gd name="connsiteX857" fmla="*/ 981742 w 1182528"/>
                <a:gd name="connsiteY857" fmla="*/ 490157 h 1101852"/>
                <a:gd name="connsiteX858" fmla="*/ 985266 w 1182528"/>
                <a:gd name="connsiteY858" fmla="*/ 480060 h 1101852"/>
                <a:gd name="connsiteX859" fmla="*/ 984790 w 1182528"/>
                <a:gd name="connsiteY859" fmla="*/ 476917 h 1101852"/>
                <a:gd name="connsiteX860" fmla="*/ 982027 w 1182528"/>
                <a:gd name="connsiteY860" fmla="*/ 467582 h 1101852"/>
                <a:gd name="connsiteX861" fmla="*/ 981837 w 1182528"/>
                <a:gd name="connsiteY861" fmla="*/ 466058 h 1101852"/>
                <a:gd name="connsiteX862" fmla="*/ 981456 w 1182528"/>
                <a:gd name="connsiteY862" fmla="*/ 462915 h 1101852"/>
                <a:gd name="connsiteX863" fmla="*/ 982218 w 1182528"/>
                <a:gd name="connsiteY863" fmla="*/ 456343 h 1101852"/>
                <a:gd name="connsiteX864" fmla="*/ 980599 w 1182528"/>
                <a:gd name="connsiteY864" fmla="*/ 456533 h 1101852"/>
                <a:gd name="connsiteX865" fmla="*/ 975931 w 1182528"/>
                <a:gd name="connsiteY865" fmla="*/ 457200 h 1101852"/>
                <a:gd name="connsiteX866" fmla="*/ 970978 w 1182528"/>
                <a:gd name="connsiteY866" fmla="*/ 456248 h 1101852"/>
                <a:gd name="connsiteX867" fmla="*/ 971169 w 1182528"/>
                <a:gd name="connsiteY867" fmla="*/ 444913 h 1101852"/>
                <a:gd name="connsiteX868" fmla="*/ 977456 w 1182528"/>
                <a:gd name="connsiteY868" fmla="*/ 431292 h 1101852"/>
                <a:gd name="connsiteX869" fmla="*/ 979170 w 1182528"/>
                <a:gd name="connsiteY869" fmla="*/ 432721 h 1101852"/>
                <a:gd name="connsiteX870" fmla="*/ 993553 w 1182528"/>
                <a:gd name="connsiteY870" fmla="*/ 419672 h 1101852"/>
                <a:gd name="connsiteX871" fmla="*/ 992981 w 1182528"/>
                <a:gd name="connsiteY871" fmla="*/ 414909 h 1101852"/>
                <a:gd name="connsiteX872" fmla="*/ 986028 w 1182528"/>
                <a:gd name="connsiteY872" fmla="*/ 411004 h 1101852"/>
                <a:gd name="connsiteX873" fmla="*/ 986600 w 1182528"/>
                <a:gd name="connsiteY873" fmla="*/ 402908 h 1101852"/>
                <a:gd name="connsiteX874" fmla="*/ 990790 w 1182528"/>
                <a:gd name="connsiteY874" fmla="*/ 397574 h 1101852"/>
                <a:gd name="connsiteX875" fmla="*/ 989933 w 1182528"/>
                <a:gd name="connsiteY875" fmla="*/ 391192 h 1101852"/>
                <a:gd name="connsiteX876" fmla="*/ 993839 w 1182528"/>
                <a:gd name="connsiteY876" fmla="*/ 384334 h 1101852"/>
                <a:gd name="connsiteX877" fmla="*/ 1003173 w 1182528"/>
                <a:gd name="connsiteY877" fmla="*/ 381572 h 1101852"/>
                <a:gd name="connsiteX878" fmla="*/ 1012222 w 1182528"/>
                <a:gd name="connsiteY878" fmla="*/ 377190 h 1101852"/>
                <a:gd name="connsiteX879" fmla="*/ 1015936 w 1182528"/>
                <a:gd name="connsiteY879" fmla="*/ 368713 h 1101852"/>
                <a:gd name="connsiteX880" fmla="*/ 1015746 w 1182528"/>
                <a:gd name="connsiteY880" fmla="*/ 367094 h 1101852"/>
                <a:gd name="connsiteX881" fmla="*/ 1018318 w 1182528"/>
                <a:gd name="connsiteY881" fmla="*/ 361950 h 1101852"/>
                <a:gd name="connsiteX882" fmla="*/ 1020699 w 1182528"/>
                <a:gd name="connsiteY882" fmla="*/ 368046 h 1101852"/>
                <a:gd name="connsiteX883" fmla="*/ 1019461 w 1182528"/>
                <a:gd name="connsiteY883" fmla="*/ 371475 h 1101852"/>
                <a:gd name="connsiteX884" fmla="*/ 1021080 w 1182528"/>
                <a:gd name="connsiteY884" fmla="*/ 371189 h 1101852"/>
                <a:gd name="connsiteX885" fmla="*/ 1027367 w 1182528"/>
                <a:gd name="connsiteY885" fmla="*/ 370427 h 1101852"/>
                <a:gd name="connsiteX886" fmla="*/ 1030129 w 1182528"/>
                <a:gd name="connsiteY886" fmla="*/ 366903 h 1101852"/>
                <a:gd name="connsiteX887" fmla="*/ 1021271 w 1182528"/>
                <a:gd name="connsiteY887" fmla="*/ 359950 h 1101852"/>
                <a:gd name="connsiteX888" fmla="*/ 1022032 w 1182528"/>
                <a:gd name="connsiteY888" fmla="*/ 353473 h 1101852"/>
                <a:gd name="connsiteX889" fmla="*/ 1024985 w 1182528"/>
                <a:gd name="connsiteY889" fmla="*/ 351473 h 1101852"/>
                <a:gd name="connsiteX890" fmla="*/ 1025938 w 1182528"/>
                <a:gd name="connsiteY890" fmla="*/ 346520 h 1101852"/>
                <a:gd name="connsiteX891" fmla="*/ 1027462 w 1182528"/>
                <a:gd name="connsiteY891" fmla="*/ 333566 h 1101852"/>
                <a:gd name="connsiteX892" fmla="*/ 1032986 w 1182528"/>
                <a:gd name="connsiteY892" fmla="*/ 326422 h 1101852"/>
                <a:gd name="connsiteX893" fmla="*/ 1032796 w 1182528"/>
                <a:gd name="connsiteY893" fmla="*/ 324803 h 1101852"/>
                <a:gd name="connsiteX894" fmla="*/ 1037558 w 1182528"/>
                <a:gd name="connsiteY894" fmla="*/ 324231 h 1101852"/>
                <a:gd name="connsiteX895" fmla="*/ 1042702 w 1182528"/>
                <a:gd name="connsiteY895" fmla="*/ 326803 h 1101852"/>
                <a:gd name="connsiteX896" fmla="*/ 1048036 w 1182528"/>
                <a:gd name="connsiteY896" fmla="*/ 318040 h 1101852"/>
                <a:gd name="connsiteX897" fmla="*/ 1042416 w 1182528"/>
                <a:gd name="connsiteY897" fmla="*/ 312420 h 1101852"/>
                <a:gd name="connsiteX898" fmla="*/ 1043654 w 1182528"/>
                <a:gd name="connsiteY898" fmla="*/ 308991 h 1101852"/>
                <a:gd name="connsiteX899" fmla="*/ 1049560 w 1182528"/>
                <a:gd name="connsiteY899" fmla="*/ 305086 h 1101852"/>
                <a:gd name="connsiteX900" fmla="*/ 1049369 w 1182528"/>
                <a:gd name="connsiteY900" fmla="*/ 303467 h 1101852"/>
                <a:gd name="connsiteX901" fmla="*/ 1049179 w 1182528"/>
                <a:gd name="connsiteY901" fmla="*/ 301943 h 1101852"/>
                <a:gd name="connsiteX902" fmla="*/ 1047369 w 1182528"/>
                <a:gd name="connsiteY902" fmla="*/ 300514 h 1101852"/>
                <a:gd name="connsiteX903" fmla="*/ 1045750 w 1182528"/>
                <a:gd name="connsiteY903" fmla="*/ 300704 h 1101852"/>
                <a:gd name="connsiteX904" fmla="*/ 1044035 w 1182528"/>
                <a:gd name="connsiteY904" fmla="*/ 299371 h 1101852"/>
                <a:gd name="connsiteX905" fmla="*/ 1044988 w 1182528"/>
                <a:gd name="connsiteY905" fmla="*/ 294418 h 1101852"/>
                <a:gd name="connsiteX906" fmla="*/ 1043178 w 1182528"/>
                <a:gd name="connsiteY906" fmla="*/ 293084 h 1101852"/>
                <a:gd name="connsiteX907" fmla="*/ 1045750 w 1182528"/>
                <a:gd name="connsiteY907" fmla="*/ 287941 h 1101852"/>
                <a:gd name="connsiteX908" fmla="*/ 1049274 w 1182528"/>
                <a:gd name="connsiteY908" fmla="*/ 290703 h 1101852"/>
                <a:gd name="connsiteX909" fmla="*/ 1048893 w 1182528"/>
                <a:gd name="connsiteY909" fmla="*/ 287465 h 1101852"/>
                <a:gd name="connsiteX910" fmla="*/ 1045559 w 1182528"/>
                <a:gd name="connsiteY910" fmla="*/ 286322 h 1101852"/>
                <a:gd name="connsiteX911" fmla="*/ 1044131 w 1182528"/>
                <a:gd name="connsiteY911" fmla="*/ 288131 h 1101852"/>
                <a:gd name="connsiteX912" fmla="*/ 1040797 w 1182528"/>
                <a:gd name="connsiteY912" fmla="*/ 286893 h 1101852"/>
                <a:gd name="connsiteX913" fmla="*/ 1042226 w 1182528"/>
                <a:gd name="connsiteY913" fmla="*/ 285179 h 1101852"/>
                <a:gd name="connsiteX914" fmla="*/ 1038415 w 1182528"/>
                <a:gd name="connsiteY914" fmla="*/ 280797 h 1101852"/>
                <a:gd name="connsiteX915" fmla="*/ 1044511 w 1182528"/>
                <a:gd name="connsiteY915" fmla="*/ 278416 h 1101852"/>
                <a:gd name="connsiteX916" fmla="*/ 1050036 w 1182528"/>
                <a:gd name="connsiteY916" fmla="*/ 284131 h 1101852"/>
                <a:gd name="connsiteX917" fmla="*/ 1054227 w 1182528"/>
                <a:gd name="connsiteY917" fmla="*/ 278797 h 1101852"/>
                <a:gd name="connsiteX918" fmla="*/ 1061942 w 1182528"/>
                <a:gd name="connsiteY918" fmla="*/ 276225 h 1101852"/>
                <a:gd name="connsiteX919" fmla="*/ 1063657 w 1182528"/>
                <a:gd name="connsiteY919" fmla="*/ 277559 h 1101852"/>
                <a:gd name="connsiteX920" fmla="*/ 1066800 w 1182528"/>
                <a:gd name="connsiteY920" fmla="*/ 277178 h 1101852"/>
                <a:gd name="connsiteX921" fmla="*/ 1065848 w 1182528"/>
                <a:gd name="connsiteY921" fmla="*/ 282131 h 1101852"/>
                <a:gd name="connsiteX922" fmla="*/ 1063085 w 1182528"/>
                <a:gd name="connsiteY922" fmla="*/ 285655 h 1101852"/>
                <a:gd name="connsiteX923" fmla="*/ 1067657 w 1182528"/>
                <a:gd name="connsiteY923" fmla="*/ 283464 h 1101852"/>
                <a:gd name="connsiteX924" fmla="*/ 1069372 w 1182528"/>
                <a:gd name="connsiteY924" fmla="*/ 284893 h 1101852"/>
                <a:gd name="connsiteX925" fmla="*/ 1070801 w 1182528"/>
                <a:gd name="connsiteY925" fmla="*/ 283083 h 1101852"/>
                <a:gd name="connsiteX926" fmla="*/ 1073944 w 1182528"/>
                <a:gd name="connsiteY926" fmla="*/ 282702 h 1101852"/>
                <a:gd name="connsiteX927" fmla="*/ 1082611 w 1182528"/>
                <a:gd name="connsiteY927" fmla="*/ 288036 h 1101852"/>
                <a:gd name="connsiteX928" fmla="*/ 1084993 w 1182528"/>
                <a:gd name="connsiteY928" fmla="*/ 294132 h 1101852"/>
                <a:gd name="connsiteX929" fmla="*/ 1093280 w 1182528"/>
                <a:gd name="connsiteY929" fmla="*/ 296323 h 1101852"/>
                <a:gd name="connsiteX930" fmla="*/ 1095280 w 1182528"/>
                <a:gd name="connsiteY930" fmla="*/ 299276 h 1101852"/>
                <a:gd name="connsiteX931" fmla="*/ 1101661 w 1182528"/>
                <a:gd name="connsiteY931" fmla="*/ 298418 h 1101852"/>
                <a:gd name="connsiteX932" fmla="*/ 1105376 w 1182528"/>
                <a:gd name="connsiteY932" fmla="*/ 302800 h 1101852"/>
                <a:gd name="connsiteX933" fmla="*/ 1106329 w 1182528"/>
                <a:gd name="connsiteY933" fmla="*/ 297847 h 1101852"/>
                <a:gd name="connsiteX934" fmla="*/ 1106519 w 1182528"/>
                <a:gd name="connsiteY934" fmla="*/ 299371 h 1101852"/>
                <a:gd name="connsiteX935" fmla="*/ 1111282 w 1182528"/>
                <a:gd name="connsiteY935" fmla="*/ 298799 h 1101852"/>
                <a:gd name="connsiteX936" fmla="*/ 1118997 w 1182528"/>
                <a:gd name="connsiteY936" fmla="*/ 296228 h 1101852"/>
                <a:gd name="connsiteX937" fmla="*/ 1121093 w 1182528"/>
                <a:gd name="connsiteY937" fmla="*/ 287941 h 1101852"/>
                <a:gd name="connsiteX938" fmla="*/ 1119950 w 1182528"/>
                <a:gd name="connsiteY938" fmla="*/ 278416 h 1101852"/>
                <a:gd name="connsiteX939" fmla="*/ 1122426 w 1182528"/>
                <a:gd name="connsiteY939" fmla="*/ 273272 h 1101852"/>
                <a:gd name="connsiteX940" fmla="*/ 1121474 w 1182528"/>
                <a:gd name="connsiteY940" fmla="*/ 265462 h 1101852"/>
                <a:gd name="connsiteX941" fmla="*/ 1125760 w 1182528"/>
                <a:gd name="connsiteY941" fmla="*/ 261652 h 1101852"/>
                <a:gd name="connsiteX942" fmla="*/ 1123188 w 1182528"/>
                <a:gd name="connsiteY942" fmla="*/ 253937 h 1101852"/>
                <a:gd name="connsiteX943" fmla="*/ 1124426 w 1182528"/>
                <a:gd name="connsiteY943" fmla="*/ 250603 h 1101852"/>
                <a:gd name="connsiteX944" fmla="*/ 1139190 w 1182528"/>
                <a:gd name="connsiteY944" fmla="*/ 253556 h 1101852"/>
                <a:gd name="connsiteX945" fmla="*/ 1143572 w 1182528"/>
                <a:gd name="connsiteY945" fmla="*/ 249746 h 1101852"/>
                <a:gd name="connsiteX946" fmla="*/ 1148239 w 1182528"/>
                <a:gd name="connsiteY946" fmla="*/ 249174 h 1101852"/>
                <a:gd name="connsiteX947" fmla="*/ 1151192 w 1182528"/>
                <a:gd name="connsiteY947" fmla="*/ 247174 h 1101852"/>
                <a:gd name="connsiteX948" fmla="*/ 1158716 w 1182528"/>
                <a:gd name="connsiteY948" fmla="*/ 230219 h 1101852"/>
                <a:gd name="connsiteX949" fmla="*/ 1159288 w 1182528"/>
                <a:gd name="connsiteY949" fmla="*/ 222123 h 1101852"/>
                <a:gd name="connsiteX950" fmla="*/ 1162050 w 1182528"/>
                <a:gd name="connsiteY950" fmla="*/ 218599 h 1101852"/>
                <a:gd name="connsiteX951" fmla="*/ 1168813 w 1182528"/>
                <a:gd name="connsiteY951" fmla="*/ 196882 h 1101852"/>
                <a:gd name="connsiteX952" fmla="*/ 1171956 w 1182528"/>
                <a:gd name="connsiteY952" fmla="*/ 183642 h 1101852"/>
                <a:gd name="connsiteX953" fmla="*/ 1182243 w 1182528"/>
                <a:gd name="connsiteY953" fmla="*/ 175927 h 1101852"/>
                <a:gd name="connsiteX954" fmla="*/ 1182529 w 1182528"/>
                <a:gd name="connsiteY954" fmla="*/ 153353 h 1101852"/>
                <a:gd name="connsiteX955" fmla="*/ 1180148 w 1182528"/>
                <a:gd name="connsiteY955" fmla="*/ 147257 h 1101852"/>
                <a:gd name="connsiteX956" fmla="*/ 1180148 w 1182528"/>
                <a:gd name="connsiteY956" fmla="*/ 147257 h 1101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</a:cxnLst>
              <a:rect l="l" t="t" r="r" b="b"/>
              <a:pathLst>
                <a:path w="1182528" h="1101852">
                  <a:moveTo>
                    <a:pt x="1180148" y="147257"/>
                  </a:moveTo>
                  <a:lnTo>
                    <a:pt x="1175290" y="146304"/>
                  </a:lnTo>
                  <a:lnTo>
                    <a:pt x="1165003" y="154019"/>
                  </a:lnTo>
                  <a:lnTo>
                    <a:pt x="1158526" y="153257"/>
                  </a:lnTo>
                  <a:lnTo>
                    <a:pt x="1154144" y="156972"/>
                  </a:lnTo>
                  <a:lnTo>
                    <a:pt x="1146239" y="158020"/>
                  </a:lnTo>
                  <a:lnTo>
                    <a:pt x="1134428" y="165926"/>
                  </a:lnTo>
                  <a:lnTo>
                    <a:pt x="1130903" y="163163"/>
                  </a:lnTo>
                  <a:lnTo>
                    <a:pt x="1122617" y="161068"/>
                  </a:lnTo>
                  <a:lnTo>
                    <a:pt x="1120045" y="153353"/>
                  </a:lnTo>
                  <a:lnTo>
                    <a:pt x="1126331" y="139732"/>
                  </a:lnTo>
                  <a:lnTo>
                    <a:pt x="1134809" y="130588"/>
                  </a:lnTo>
                  <a:lnTo>
                    <a:pt x="1135571" y="124111"/>
                  </a:lnTo>
                  <a:lnTo>
                    <a:pt x="1143381" y="110300"/>
                  </a:lnTo>
                  <a:lnTo>
                    <a:pt x="1141190" y="105728"/>
                  </a:lnTo>
                  <a:lnTo>
                    <a:pt x="1143953" y="102203"/>
                  </a:lnTo>
                  <a:lnTo>
                    <a:pt x="1143381" y="97441"/>
                  </a:lnTo>
                  <a:lnTo>
                    <a:pt x="1145953" y="92297"/>
                  </a:lnTo>
                  <a:lnTo>
                    <a:pt x="1146048" y="81058"/>
                  </a:lnTo>
                  <a:lnTo>
                    <a:pt x="1142905" y="81439"/>
                  </a:lnTo>
                  <a:lnTo>
                    <a:pt x="1135571" y="74390"/>
                  </a:lnTo>
                  <a:lnTo>
                    <a:pt x="1133189" y="68294"/>
                  </a:lnTo>
                  <a:lnTo>
                    <a:pt x="1124140" y="59817"/>
                  </a:lnTo>
                  <a:lnTo>
                    <a:pt x="1122140" y="56864"/>
                  </a:lnTo>
                  <a:lnTo>
                    <a:pt x="1119188" y="58865"/>
                  </a:lnTo>
                  <a:lnTo>
                    <a:pt x="1103662" y="62389"/>
                  </a:lnTo>
                  <a:lnTo>
                    <a:pt x="1101852" y="61055"/>
                  </a:lnTo>
                  <a:lnTo>
                    <a:pt x="1101661" y="59436"/>
                  </a:lnTo>
                  <a:lnTo>
                    <a:pt x="1102805" y="56102"/>
                  </a:lnTo>
                  <a:lnTo>
                    <a:pt x="1105757" y="54102"/>
                  </a:lnTo>
                  <a:lnTo>
                    <a:pt x="1105567" y="52578"/>
                  </a:lnTo>
                  <a:lnTo>
                    <a:pt x="1100042" y="46863"/>
                  </a:lnTo>
                  <a:lnTo>
                    <a:pt x="1078516" y="41529"/>
                  </a:lnTo>
                  <a:lnTo>
                    <a:pt x="1078706" y="30290"/>
                  </a:lnTo>
                  <a:lnTo>
                    <a:pt x="1083564" y="18479"/>
                  </a:lnTo>
                  <a:lnTo>
                    <a:pt x="1079659" y="12573"/>
                  </a:lnTo>
                  <a:lnTo>
                    <a:pt x="1072134" y="16764"/>
                  </a:lnTo>
                  <a:lnTo>
                    <a:pt x="1074896" y="26003"/>
                  </a:lnTo>
                  <a:lnTo>
                    <a:pt x="1073372" y="39053"/>
                  </a:lnTo>
                  <a:lnTo>
                    <a:pt x="1061942" y="37243"/>
                  </a:lnTo>
                  <a:lnTo>
                    <a:pt x="1061276" y="32576"/>
                  </a:lnTo>
                  <a:lnTo>
                    <a:pt x="1059561" y="31147"/>
                  </a:lnTo>
                  <a:lnTo>
                    <a:pt x="1054036" y="25432"/>
                  </a:lnTo>
                  <a:lnTo>
                    <a:pt x="1047464" y="24670"/>
                  </a:lnTo>
                  <a:lnTo>
                    <a:pt x="1032891" y="36195"/>
                  </a:lnTo>
                  <a:lnTo>
                    <a:pt x="1031557" y="37910"/>
                  </a:lnTo>
                  <a:lnTo>
                    <a:pt x="1024223" y="43625"/>
                  </a:lnTo>
                  <a:lnTo>
                    <a:pt x="1017746" y="42863"/>
                  </a:lnTo>
                  <a:lnTo>
                    <a:pt x="1009269" y="39148"/>
                  </a:lnTo>
                  <a:lnTo>
                    <a:pt x="1004126" y="36576"/>
                  </a:lnTo>
                  <a:lnTo>
                    <a:pt x="998982" y="34100"/>
                  </a:lnTo>
                  <a:lnTo>
                    <a:pt x="997363" y="21431"/>
                  </a:lnTo>
                  <a:lnTo>
                    <a:pt x="992410" y="20479"/>
                  </a:lnTo>
                  <a:lnTo>
                    <a:pt x="985076" y="13335"/>
                  </a:lnTo>
                  <a:lnTo>
                    <a:pt x="974217" y="16383"/>
                  </a:lnTo>
                  <a:lnTo>
                    <a:pt x="972884" y="18098"/>
                  </a:lnTo>
                  <a:lnTo>
                    <a:pt x="966597" y="18955"/>
                  </a:lnTo>
                  <a:lnTo>
                    <a:pt x="960406" y="8477"/>
                  </a:lnTo>
                  <a:lnTo>
                    <a:pt x="951357" y="0"/>
                  </a:lnTo>
                  <a:lnTo>
                    <a:pt x="943451" y="1048"/>
                  </a:lnTo>
                  <a:lnTo>
                    <a:pt x="939356" y="6382"/>
                  </a:lnTo>
                  <a:lnTo>
                    <a:pt x="934402" y="18193"/>
                  </a:lnTo>
                  <a:lnTo>
                    <a:pt x="924497" y="16288"/>
                  </a:lnTo>
                  <a:lnTo>
                    <a:pt x="925163" y="21050"/>
                  </a:lnTo>
                  <a:lnTo>
                    <a:pt x="928497" y="22193"/>
                  </a:lnTo>
                  <a:lnTo>
                    <a:pt x="932498" y="28099"/>
                  </a:lnTo>
                  <a:lnTo>
                    <a:pt x="931735" y="34576"/>
                  </a:lnTo>
                  <a:lnTo>
                    <a:pt x="927735" y="41529"/>
                  </a:lnTo>
                  <a:lnTo>
                    <a:pt x="929735" y="44482"/>
                  </a:lnTo>
                  <a:lnTo>
                    <a:pt x="919448" y="52197"/>
                  </a:lnTo>
                  <a:lnTo>
                    <a:pt x="916114" y="51054"/>
                  </a:lnTo>
                  <a:lnTo>
                    <a:pt x="915352" y="57531"/>
                  </a:lnTo>
                  <a:lnTo>
                    <a:pt x="920877" y="63246"/>
                  </a:lnTo>
                  <a:lnTo>
                    <a:pt x="914019" y="72104"/>
                  </a:lnTo>
                  <a:lnTo>
                    <a:pt x="913067" y="77057"/>
                  </a:lnTo>
                  <a:lnTo>
                    <a:pt x="916781" y="81439"/>
                  </a:lnTo>
                  <a:lnTo>
                    <a:pt x="924877" y="82010"/>
                  </a:lnTo>
                  <a:lnTo>
                    <a:pt x="932212" y="89059"/>
                  </a:lnTo>
                  <a:lnTo>
                    <a:pt x="935355" y="88678"/>
                  </a:lnTo>
                  <a:lnTo>
                    <a:pt x="940118" y="88106"/>
                  </a:lnTo>
                  <a:lnTo>
                    <a:pt x="948976" y="82106"/>
                  </a:lnTo>
                  <a:lnTo>
                    <a:pt x="956881" y="81153"/>
                  </a:lnTo>
                  <a:lnTo>
                    <a:pt x="960596" y="85439"/>
                  </a:lnTo>
                  <a:lnTo>
                    <a:pt x="959453" y="88773"/>
                  </a:lnTo>
                  <a:lnTo>
                    <a:pt x="960215" y="95155"/>
                  </a:lnTo>
                  <a:lnTo>
                    <a:pt x="955548" y="95726"/>
                  </a:lnTo>
                  <a:lnTo>
                    <a:pt x="952119" y="94583"/>
                  </a:lnTo>
                  <a:lnTo>
                    <a:pt x="942118" y="103822"/>
                  </a:lnTo>
                  <a:lnTo>
                    <a:pt x="954119" y="110300"/>
                  </a:lnTo>
                  <a:lnTo>
                    <a:pt x="954405" y="111919"/>
                  </a:lnTo>
                  <a:lnTo>
                    <a:pt x="950023" y="115634"/>
                  </a:lnTo>
                  <a:lnTo>
                    <a:pt x="958882" y="122587"/>
                  </a:lnTo>
                  <a:lnTo>
                    <a:pt x="971740" y="122491"/>
                  </a:lnTo>
                  <a:lnTo>
                    <a:pt x="975551" y="126873"/>
                  </a:lnTo>
                  <a:lnTo>
                    <a:pt x="978884" y="128016"/>
                  </a:lnTo>
                  <a:lnTo>
                    <a:pt x="984218" y="132207"/>
                  </a:lnTo>
                  <a:lnTo>
                    <a:pt x="988695" y="130016"/>
                  </a:lnTo>
                  <a:lnTo>
                    <a:pt x="989362" y="134684"/>
                  </a:lnTo>
                  <a:lnTo>
                    <a:pt x="992696" y="135922"/>
                  </a:lnTo>
                  <a:lnTo>
                    <a:pt x="1001744" y="131540"/>
                  </a:lnTo>
                  <a:lnTo>
                    <a:pt x="1007269" y="137255"/>
                  </a:lnTo>
                  <a:lnTo>
                    <a:pt x="1011079" y="141542"/>
                  </a:lnTo>
                  <a:lnTo>
                    <a:pt x="1009936" y="144971"/>
                  </a:lnTo>
                  <a:lnTo>
                    <a:pt x="1010888" y="152781"/>
                  </a:lnTo>
                  <a:lnTo>
                    <a:pt x="1003173" y="155448"/>
                  </a:lnTo>
                  <a:lnTo>
                    <a:pt x="1006602" y="156591"/>
                  </a:lnTo>
                  <a:lnTo>
                    <a:pt x="1005364" y="159925"/>
                  </a:lnTo>
                  <a:lnTo>
                    <a:pt x="1002030" y="158782"/>
                  </a:lnTo>
                  <a:lnTo>
                    <a:pt x="1002221" y="160306"/>
                  </a:lnTo>
                  <a:lnTo>
                    <a:pt x="1000697" y="160496"/>
                  </a:lnTo>
                  <a:lnTo>
                    <a:pt x="1001839" y="170021"/>
                  </a:lnTo>
                  <a:lnTo>
                    <a:pt x="1001459" y="179642"/>
                  </a:lnTo>
                  <a:lnTo>
                    <a:pt x="1000125" y="181451"/>
                  </a:lnTo>
                  <a:lnTo>
                    <a:pt x="992219" y="182499"/>
                  </a:lnTo>
                  <a:lnTo>
                    <a:pt x="980599" y="179165"/>
                  </a:lnTo>
                  <a:lnTo>
                    <a:pt x="979170" y="180880"/>
                  </a:lnTo>
                  <a:lnTo>
                    <a:pt x="975646" y="178118"/>
                  </a:lnTo>
                  <a:lnTo>
                    <a:pt x="976408" y="184499"/>
                  </a:lnTo>
                  <a:lnTo>
                    <a:pt x="973646" y="188024"/>
                  </a:lnTo>
                  <a:lnTo>
                    <a:pt x="959644" y="191453"/>
                  </a:lnTo>
                  <a:lnTo>
                    <a:pt x="956310" y="190214"/>
                  </a:lnTo>
                  <a:lnTo>
                    <a:pt x="944309" y="196596"/>
                  </a:lnTo>
                  <a:lnTo>
                    <a:pt x="936022" y="194405"/>
                  </a:lnTo>
                  <a:lnTo>
                    <a:pt x="930307" y="187166"/>
                  </a:lnTo>
                  <a:lnTo>
                    <a:pt x="920210" y="183642"/>
                  </a:lnTo>
                  <a:lnTo>
                    <a:pt x="908399" y="191548"/>
                  </a:lnTo>
                  <a:lnTo>
                    <a:pt x="903827" y="193739"/>
                  </a:lnTo>
                  <a:lnTo>
                    <a:pt x="895540" y="191548"/>
                  </a:lnTo>
                  <a:lnTo>
                    <a:pt x="896969" y="202597"/>
                  </a:lnTo>
                  <a:lnTo>
                    <a:pt x="888302" y="222980"/>
                  </a:lnTo>
                  <a:lnTo>
                    <a:pt x="884968" y="221742"/>
                  </a:lnTo>
                  <a:lnTo>
                    <a:pt x="873347" y="231267"/>
                  </a:lnTo>
                  <a:lnTo>
                    <a:pt x="870204" y="231648"/>
                  </a:lnTo>
                  <a:lnTo>
                    <a:pt x="865823" y="235458"/>
                  </a:lnTo>
                  <a:lnTo>
                    <a:pt x="846773" y="236315"/>
                  </a:lnTo>
                  <a:lnTo>
                    <a:pt x="826198" y="251746"/>
                  </a:lnTo>
                  <a:lnTo>
                    <a:pt x="821341" y="250793"/>
                  </a:lnTo>
                  <a:lnTo>
                    <a:pt x="814006" y="256508"/>
                  </a:lnTo>
                  <a:lnTo>
                    <a:pt x="807720" y="257270"/>
                  </a:lnTo>
                  <a:lnTo>
                    <a:pt x="803148" y="259461"/>
                  </a:lnTo>
                  <a:lnTo>
                    <a:pt x="796861" y="260318"/>
                  </a:lnTo>
                  <a:lnTo>
                    <a:pt x="790003" y="269177"/>
                  </a:lnTo>
                  <a:lnTo>
                    <a:pt x="788956" y="274130"/>
                  </a:lnTo>
                  <a:lnTo>
                    <a:pt x="784669" y="277844"/>
                  </a:lnTo>
                  <a:lnTo>
                    <a:pt x="778383" y="278702"/>
                  </a:lnTo>
                  <a:lnTo>
                    <a:pt x="774764" y="275939"/>
                  </a:lnTo>
                  <a:lnTo>
                    <a:pt x="768477" y="276701"/>
                  </a:lnTo>
                  <a:lnTo>
                    <a:pt x="762190" y="277559"/>
                  </a:lnTo>
                  <a:lnTo>
                    <a:pt x="758285" y="284417"/>
                  </a:lnTo>
                  <a:lnTo>
                    <a:pt x="747522" y="276225"/>
                  </a:lnTo>
                  <a:lnTo>
                    <a:pt x="737902" y="275844"/>
                  </a:lnTo>
                  <a:lnTo>
                    <a:pt x="737330" y="271082"/>
                  </a:lnTo>
                  <a:lnTo>
                    <a:pt x="728567" y="265748"/>
                  </a:lnTo>
                  <a:lnTo>
                    <a:pt x="724281" y="269558"/>
                  </a:lnTo>
                  <a:lnTo>
                    <a:pt x="715423" y="275463"/>
                  </a:lnTo>
                  <a:lnTo>
                    <a:pt x="705898" y="276701"/>
                  </a:lnTo>
                  <a:lnTo>
                    <a:pt x="702945" y="278606"/>
                  </a:lnTo>
                  <a:lnTo>
                    <a:pt x="703993" y="286512"/>
                  </a:lnTo>
                  <a:lnTo>
                    <a:pt x="699611" y="290322"/>
                  </a:lnTo>
                  <a:lnTo>
                    <a:pt x="696944" y="293846"/>
                  </a:lnTo>
                  <a:lnTo>
                    <a:pt x="692753" y="299180"/>
                  </a:lnTo>
                  <a:lnTo>
                    <a:pt x="678180" y="297847"/>
                  </a:lnTo>
                  <a:lnTo>
                    <a:pt x="669512" y="292513"/>
                  </a:lnTo>
                  <a:lnTo>
                    <a:pt x="665131" y="296323"/>
                  </a:lnTo>
                  <a:lnTo>
                    <a:pt x="664178" y="301276"/>
                  </a:lnTo>
                  <a:lnTo>
                    <a:pt x="665988" y="302609"/>
                  </a:lnTo>
                  <a:lnTo>
                    <a:pt x="661988" y="309563"/>
                  </a:lnTo>
                  <a:lnTo>
                    <a:pt x="661226" y="316039"/>
                  </a:lnTo>
                  <a:lnTo>
                    <a:pt x="657130" y="321374"/>
                  </a:lnTo>
                  <a:lnTo>
                    <a:pt x="659702" y="329089"/>
                  </a:lnTo>
                  <a:lnTo>
                    <a:pt x="667417" y="339281"/>
                  </a:lnTo>
                  <a:lnTo>
                    <a:pt x="663893" y="349377"/>
                  </a:lnTo>
                  <a:lnTo>
                    <a:pt x="655034" y="355378"/>
                  </a:lnTo>
                  <a:lnTo>
                    <a:pt x="652081" y="357283"/>
                  </a:lnTo>
                  <a:lnTo>
                    <a:pt x="644747" y="350234"/>
                  </a:lnTo>
                  <a:lnTo>
                    <a:pt x="639985" y="350806"/>
                  </a:lnTo>
                  <a:lnTo>
                    <a:pt x="639413" y="358902"/>
                  </a:lnTo>
                  <a:lnTo>
                    <a:pt x="635889" y="368999"/>
                  </a:lnTo>
                  <a:lnTo>
                    <a:pt x="628174" y="371570"/>
                  </a:lnTo>
                  <a:lnTo>
                    <a:pt x="621316" y="367665"/>
                  </a:lnTo>
                  <a:lnTo>
                    <a:pt x="618554" y="371189"/>
                  </a:lnTo>
                  <a:lnTo>
                    <a:pt x="615410" y="371570"/>
                  </a:lnTo>
                  <a:lnTo>
                    <a:pt x="606266" y="363188"/>
                  </a:lnTo>
                  <a:lnTo>
                    <a:pt x="602742" y="360426"/>
                  </a:lnTo>
                  <a:lnTo>
                    <a:pt x="596265" y="359569"/>
                  </a:lnTo>
                  <a:lnTo>
                    <a:pt x="591693" y="361760"/>
                  </a:lnTo>
                  <a:lnTo>
                    <a:pt x="589502" y="357283"/>
                  </a:lnTo>
                  <a:lnTo>
                    <a:pt x="586740" y="360807"/>
                  </a:lnTo>
                  <a:lnTo>
                    <a:pt x="583025" y="356521"/>
                  </a:lnTo>
                  <a:lnTo>
                    <a:pt x="578644" y="360236"/>
                  </a:lnTo>
                  <a:lnTo>
                    <a:pt x="573500" y="357664"/>
                  </a:lnTo>
                  <a:lnTo>
                    <a:pt x="568833" y="358331"/>
                  </a:lnTo>
                  <a:lnTo>
                    <a:pt x="564642" y="363664"/>
                  </a:lnTo>
                  <a:lnTo>
                    <a:pt x="561689" y="365570"/>
                  </a:lnTo>
                  <a:lnTo>
                    <a:pt x="555403" y="366427"/>
                  </a:lnTo>
                  <a:lnTo>
                    <a:pt x="547878" y="357759"/>
                  </a:lnTo>
                  <a:lnTo>
                    <a:pt x="539591" y="368427"/>
                  </a:lnTo>
                  <a:lnTo>
                    <a:pt x="534924" y="368999"/>
                  </a:lnTo>
                  <a:lnTo>
                    <a:pt x="537305" y="375190"/>
                  </a:lnTo>
                  <a:lnTo>
                    <a:pt x="534543" y="378714"/>
                  </a:lnTo>
                  <a:lnTo>
                    <a:pt x="522827" y="375380"/>
                  </a:lnTo>
                  <a:lnTo>
                    <a:pt x="517112" y="368046"/>
                  </a:lnTo>
                  <a:lnTo>
                    <a:pt x="504825" y="360045"/>
                  </a:lnTo>
                  <a:lnTo>
                    <a:pt x="490633" y="361855"/>
                  </a:lnTo>
                  <a:lnTo>
                    <a:pt x="484727" y="365760"/>
                  </a:lnTo>
                  <a:lnTo>
                    <a:pt x="477298" y="369951"/>
                  </a:lnTo>
                  <a:lnTo>
                    <a:pt x="478250" y="377857"/>
                  </a:lnTo>
                  <a:lnTo>
                    <a:pt x="467201" y="379286"/>
                  </a:lnTo>
                  <a:lnTo>
                    <a:pt x="461296" y="383191"/>
                  </a:lnTo>
                  <a:lnTo>
                    <a:pt x="451199" y="379667"/>
                  </a:lnTo>
                  <a:lnTo>
                    <a:pt x="441389" y="377762"/>
                  </a:lnTo>
                  <a:lnTo>
                    <a:pt x="438436" y="379762"/>
                  </a:lnTo>
                  <a:lnTo>
                    <a:pt x="433292" y="377190"/>
                  </a:lnTo>
                  <a:lnTo>
                    <a:pt x="428530" y="377762"/>
                  </a:lnTo>
                  <a:lnTo>
                    <a:pt x="422434" y="380143"/>
                  </a:lnTo>
                  <a:lnTo>
                    <a:pt x="416909" y="387287"/>
                  </a:lnTo>
                  <a:lnTo>
                    <a:pt x="408813" y="386715"/>
                  </a:lnTo>
                  <a:lnTo>
                    <a:pt x="409861" y="394621"/>
                  </a:lnTo>
                  <a:lnTo>
                    <a:pt x="417576" y="404813"/>
                  </a:lnTo>
                  <a:lnTo>
                    <a:pt x="419767" y="409385"/>
                  </a:lnTo>
                  <a:lnTo>
                    <a:pt x="420910" y="418814"/>
                  </a:lnTo>
                  <a:lnTo>
                    <a:pt x="418147" y="422434"/>
                  </a:lnTo>
                  <a:lnTo>
                    <a:pt x="419005" y="428720"/>
                  </a:lnTo>
                  <a:lnTo>
                    <a:pt x="417576" y="430435"/>
                  </a:lnTo>
                  <a:lnTo>
                    <a:pt x="412718" y="429482"/>
                  </a:lnTo>
                  <a:lnTo>
                    <a:pt x="398716" y="445675"/>
                  </a:lnTo>
                  <a:lnTo>
                    <a:pt x="401288" y="453390"/>
                  </a:lnTo>
                  <a:lnTo>
                    <a:pt x="407575" y="452628"/>
                  </a:lnTo>
                  <a:lnTo>
                    <a:pt x="407194" y="462248"/>
                  </a:lnTo>
                  <a:lnTo>
                    <a:pt x="402908" y="466058"/>
                  </a:lnTo>
                  <a:lnTo>
                    <a:pt x="391858" y="467487"/>
                  </a:lnTo>
                  <a:lnTo>
                    <a:pt x="387477" y="471202"/>
                  </a:lnTo>
                  <a:lnTo>
                    <a:pt x="386906" y="479298"/>
                  </a:lnTo>
                  <a:lnTo>
                    <a:pt x="373761" y="489013"/>
                  </a:lnTo>
                  <a:lnTo>
                    <a:pt x="374142" y="492157"/>
                  </a:lnTo>
                  <a:lnTo>
                    <a:pt x="369856" y="495872"/>
                  </a:lnTo>
                  <a:lnTo>
                    <a:pt x="364331" y="503015"/>
                  </a:lnTo>
                  <a:lnTo>
                    <a:pt x="350329" y="493586"/>
                  </a:lnTo>
                  <a:lnTo>
                    <a:pt x="342233" y="493014"/>
                  </a:lnTo>
                  <a:lnTo>
                    <a:pt x="338614" y="490252"/>
                  </a:lnTo>
                  <a:lnTo>
                    <a:pt x="340233" y="490061"/>
                  </a:lnTo>
                  <a:lnTo>
                    <a:pt x="338233" y="487109"/>
                  </a:lnTo>
                  <a:lnTo>
                    <a:pt x="331756" y="486347"/>
                  </a:lnTo>
                  <a:lnTo>
                    <a:pt x="329946" y="484918"/>
                  </a:lnTo>
                  <a:lnTo>
                    <a:pt x="330899" y="480060"/>
                  </a:lnTo>
                  <a:lnTo>
                    <a:pt x="324326" y="466439"/>
                  </a:lnTo>
                  <a:lnTo>
                    <a:pt x="316611" y="456152"/>
                  </a:lnTo>
                  <a:lnTo>
                    <a:pt x="316039" y="451485"/>
                  </a:lnTo>
                  <a:lnTo>
                    <a:pt x="311087" y="450437"/>
                  </a:lnTo>
                  <a:lnTo>
                    <a:pt x="309753" y="452247"/>
                  </a:lnTo>
                  <a:lnTo>
                    <a:pt x="305943" y="447961"/>
                  </a:lnTo>
                  <a:lnTo>
                    <a:pt x="300799" y="445389"/>
                  </a:lnTo>
                  <a:lnTo>
                    <a:pt x="303657" y="467487"/>
                  </a:lnTo>
                  <a:lnTo>
                    <a:pt x="305848" y="471964"/>
                  </a:lnTo>
                  <a:lnTo>
                    <a:pt x="301466" y="475774"/>
                  </a:lnTo>
                  <a:lnTo>
                    <a:pt x="300514" y="480727"/>
                  </a:lnTo>
                  <a:lnTo>
                    <a:pt x="297561" y="482632"/>
                  </a:lnTo>
                  <a:lnTo>
                    <a:pt x="294418" y="483108"/>
                  </a:lnTo>
                  <a:lnTo>
                    <a:pt x="293084" y="484823"/>
                  </a:lnTo>
                  <a:lnTo>
                    <a:pt x="277463" y="488442"/>
                  </a:lnTo>
                  <a:lnTo>
                    <a:pt x="279464" y="491395"/>
                  </a:lnTo>
                  <a:lnTo>
                    <a:pt x="276701" y="494919"/>
                  </a:lnTo>
                  <a:lnTo>
                    <a:pt x="268605" y="494348"/>
                  </a:lnTo>
                  <a:lnTo>
                    <a:pt x="268986" y="497491"/>
                  </a:lnTo>
                  <a:lnTo>
                    <a:pt x="266224" y="501110"/>
                  </a:lnTo>
                  <a:lnTo>
                    <a:pt x="267081" y="507397"/>
                  </a:lnTo>
                  <a:lnTo>
                    <a:pt x="266510" y="515493"/>
                  </a:lnTo>
                  <a:lnTo>
                    <a:pt x="268224" y="516827"/>
                  </a:lnTo>
                  <a:lnTo>
                    <a:pt x="267652" y="524923"/>
                  </a:lnTo>
                  <a:lnTo>
                    <a:pt x="258413" y="527780"/>
                  </a:lnTo>
                  <a:lnTo>
                    <a:pt x="250317" y="527209"/>
                  </a:lnTo>
                  <a:lnTo>
                    <a:pt x="246031" y="530924"/>
                  </a:lnTo>
                  <a:lnTo>
                    <a:pt x="241268" y="518732"/>
                  </a:lnTo>
                  <a:lnTo>
                    <a:pt x="240792" y="515588"/>
                  </a:lnTo>
                  <a:lnTo>
                    <a:pt x="237077" y="511207"/>
                  </a:lnTo>
                  <a:lnTo>
                    <a:pt x="225838" y="511016"/>
                  </a:lnTo>
                  <a:lnTo>
                    <a:pt x="220504" y="506921"/>
                  </a:lnTo>
                  <a:lnTo>
                    <a:pt x="214789" y="512445"/>
                  </a:lnTo>
                  <a:lnTo>
                    <a:pt x="215360" y="517208"/>
                  </a:lnTo>
                  <a:lnTo>
                    <a:pt x="210883" y="519398"/>
                  </a:lnTo>
                  <a:lnTo>
                    <a:pt x="206693" y="524732"/>
                  </a:lnTo>
                  <a:lnTo>
                    <a:pt x="205359" y="526447"/>
                  </a:lnTo>
                  <a:lnTo>
                    <a:pt x="206312" y="534353"/>
                  </a:lnTo>
                  <a:lnTo>
                    <a:pt x="197834" y="543497"/>
                  </a:lnTo>
                  <a:lnTo>
                    <a:pt x="198501" y="548259"/>
                  </a:lnTo>
                  <a:lnTo>
                    <a:pt x="200692" y="552736"/>
                  </a:lnTo>
                  <a:lnTo>
                    <a:pt x="201454" y="559022"/>
                  </a:lnTo>
                  <a:lnTo>
                    <a:pt x="197168" y="562832"/>
                  </a:lnTo>
                  <a:lnTo>
                    <a:pt x="196120" y="567785"/>
                  </a:lnTo>
                  <a:lnTo>
                    <a:pt x="188309" y="581597"/>
                  </a:lnTo>
                  <a:lnTo>
                    <a:pt x="187738" y="589693"/>
                  </a:lnTo>
                  <a:lnTo>
                    <a:pt x="177260" y="595789"/>
                  </a:lnTo>
                  <a:lnTo>
                    <a:pt x="178879" y="608457"/>
                  </a:lnTo>
                  <a:lnTo>
                    <a:pt x="177546" y="610267"/>
                  </a:lnTo>
                  <a:lnTo>
                    <a:pt x="172593" y="609219"/>
                  </a:lnTo>
                  <a:lnTo>
                    <a:pt x="164497" y="608648"/>
                  </a:lnTo>
                  <a:lnTo>
                    <a:pt x="149257" y="602552"/>
                  </a:lnTo>
                  <a:lnTo>
                    <a:pt x="143351" y="606552"/>
                  </a:lnTo>
                  <a:lnTo>
                    <a:pt x="138398" y="605600"/>
                  </a:lnTo>
                  <a:lnTo>
                    <a:pt x="140779" y="598837"/>
                  </a:lnTo>
                  <a:lnTo>
                    <a:pt x="137255" y="596075"/>
                  </a:lnTo>
                  <a:lnTo>
                    <a:pt x="134874" y="589979"/>
                  </a:lnTo>
                  <a:lnTo>
                    <a:pt x="126016" y="595979"/>
                  </a:lnTo>
                  <a:lnTo>
                    <a:pt x="114586" y="607028"/>
                  </a:lnTo>
                  <a:lnTo>
                    <a:pt x="106680" y="607981"/>
                  </a:lnTo>
                  <a:lnTo>
                    <a:pt x="102299" y="611791"/>
                  </a:lnTo>
                  <a:lnTo>
                    <a:pt x="82772" y="609505"/>
                  </a:lnTo>
                  <a:lnTo>
                    <a:pt x="79057" y="605123"/>
                  </a:lnTo>
                  <a:lnTo>
                    <a:pt x="74866" y="597599"/>
                  </a:lnTo>
                  <a:lnTo>
                    <a:pt x="70295" y="599789"/>
                  </a:lnTo>
                  <a:lnTo>
                    <a:pt x="65437" y="598837"/>
                  </a:lnTo>
                  <a:lnTo>
                    <a:pt x="65246" y="610076"/>
                  </a:lnTo>
                  <a:lnTo>
                    <a:pt x="59150" y="625316"/>
                  </a:lnTo>
                  <a:lnTo>
                    <a:pt x="56864" y="644843"/>
                  </a:lnTo>
                  <a:lnTo>
                    <a:pt x="54864" y="654749"/>
                  </a:lnTo>
                  <a:lnTo>
                    <a:pt x="57626" y="663988"/>
                  </a:lnTo>
                  <a:lnTo>
                    <a:pt x="54102" y="674084"/>
                  </a:lnTo>
                  <a:lnTo>
                    <a:pt x="40957" y="683800"/>
                  </a:lnTo>
                  <a:lnTo>
                    <a:pt x="36766" y="689134"/>
                  </a:lnTo>
                  <a:lnTo>
                    <a:pt x="33242" y="699135"/>
                  </a:lnTo>
                  <a:lnTo>
                    <a:pt x="30289" y="701135"/>
                  </a:lnTo>
                  <a:lnTo>
                    <a:pt x="16574" y="706088"/>
                  </a:lnTo>
                  <a:lnTo>
                    <a:pt x="5524" y="707517"/>
                  </a:lnTo>
                  <a:lnTo>
                    <a:pt x="952" y="709708"/>
                  </a:lnTo>
                  <a:lnTo>
                    <a:pt x="0" y="714661"/>
                  </a:lnTo>
                  <a:lnTo>
                    <a:pt x="4858" y="715613"/>
                  </a:lnTo>
                  <a:lnTo>
                    <a:pt x="5143" y="717137"/>
                  </a:lnTo>
                  <a:lnTo>
                    <a:pt x="16954" y="722090"/>
                  </a:lnTo>
                  <a:lnTo>
                    <a:pt x="20955" y="727996"/>
                  </a:lnTo>
                  <a:lnTo>
                    <a:pt x="23336" y="734092"/>
                  </a:lnTo>
                  <a:lnTo>
                    <a:pt x="34099" y="731139"/>
                  </a:lnTo>
                  <a:lnTo>
                    <a:pt x="36100" y="734092"/>
                  </a:lnTo>
                  <a:lnTo>
                    <a:pt x="39052" y="732092"/>
                  </a:lnTo>
                  <a:lnTo>
                    <a:pt x="37909" y="735425"/>
                  </a:lnTo>
                  <a:lnTo>
                    <a:pt x="39719" y="736854"/>
                  </a:lnTo>
                  <a:lnTo>
                    <a:pt x="48577" y="730853"/>
                  </a:lnTo>
                  <a:lnTo>
                    <a:pt x="56197" y="728282"/>
                  </a:lnTo>
                  <a:lnTo>
                    <a:pt x="58864" y="735997"/>
                  </a:lnTo>
                  <a:lnTo>
                    <a:pt x="72676" y="743903"/>
                  </a:lnTo>
                  <a:lnTo>
                    <a:pt x="73628" y="738950"/>
                  </a:lnTo>
                  <a:lnTo>
                    <a:pt x="88201" y="740283"/>
                  </a:lnTo>
                  <a:lnTo>
                    <a:pt x="87820" y="737140"/>
                  </a:lnTo>
                  <a:lnTo>
                    <a:pt x="97155" y="747141"/>
                  </a:lnTo>
                  <a:lnTo>
                    <a:pt x="103632" y="747903"/>
                  </a:lnTo>
                  <a:lnTo>
                    <a:pt x="106585" y="745998"/>
                  </a:lnTo>
                  <a:lnTo>
                    <a:pt x="108395" y="747332"/>
                  </a:lnTo>
                  <a:lnTo>
                    <a:pt x="116300" y="759143"/>
                  </a:lnTo>
                  <a:lnTo>
                    <a:pt x="116491" y="760762"/>
                  </a:lnTo>
                  <a:lnTo>
                    <a:pt x="110204" y="761524"/>
                  </a:lnTo>
                  <a:lnTo>
                    <a:pt x="108204" y="771430"/>
                  </a:lnTo>
                  <a:lnTo>
                    <a:pt x="103727" y="773621"/>
                  </a:lnTo>
                  <a:lnTo>
                    <a:pt x="104299" y="778288"/>
                  </a:lnTo>
                  <a:lnTo>
                    <a:pt x="104299" y="778288"/>
                  </a:lnTo>
                  <a:lnTo>
                    <a:pt x="107251" y="776288"/>
                  </a:lnTo>
                  <a:lnTo>
                    <a:pt x="111062" y="780669"/>
                  </a:lnTo>
                  <a:lnTo>
                    <a:pt x="115729" y="780098"/>
                  </a:lnTo>
                  <a:lnTo>
                    <a:pt x="117539" y="781431"/>
                  </a:lnTo>
                  <a:lnTo>
                    <a:pt x="116205" y="783241"/>
                  </a:lnTo>
                  <a:lnTo>
                    <a:pt x="121253" y="785813"/>
                  </a:lnTo>
                  <a:lnTo>
                    <a:pt x="122682" y="784003"/>
                  </a:lnTo>
                  <a:lnTo>
                    <a:pt x="125825" y="783622"/>
                  </a:lnTo>
                  <a:lnTo>
                    <a:pt x="123634" y="779050"/>
                  </a:lnTo>
                  <a:lnTo>
                    <a:pt x="125254" y="778859"/>
                  </a:lnTo>
                  <a:lnTo>
                    <a:pt x="131159" y="774859"/>
                  </a:lnTo>
                  <a:lnTo>
                    <a:pt x="136112" y="775907"/>
                  </a:lnTo>
                  <a:lnTo>
                    <a:pt x="144208" y="776478"/>
                  </a:lnTo>
                  <a:lnTo>
                    <a:pt x="146304" y="780955"/>
                  </a:lnTo>
                  <a:lnTo>
                    <a:pt x="147923" y="780764"/>
                  </a:lnTo>
                  <a:lnTo>
                    <a:pt x="149733" y="782193"/>
                  </a:lnTo>
                  <a:lnTo>
                    <a:pt x="154400" y="781526"/>
                  </a:lnTo>
                  <a:lnTo>
                    <a:pt x="157829" y="782765"/>
                  </a:lnTo>
                  <a:lnTo>
                    <a:pt x="167259" y="781526"/>
                  </a:lnTo>
                  <a:lnTo>
                    <a:pt x="167830" y="786289"/>
                  </a:lnTo>
                  <a:lnTo>
                    <a:pt x="170402" y="781145"/>
                  </a:lnTo>
                  <a:lnTo>
                    <a:pt x="175355" y="782098"/>
                  </a:lnTo>
                  <a:lnTo>
                    <a:pt x="179451" y="776764"/>
                  </a:lnTo>
                  <a:lnTo>
                    <a:pt x="185642" y="774383"/>
                  </a:lnTo>
                  <a:lnTo>
                    <a:pt x="185833" y="776002"/>
                  </a:lnTo>
                  <a:lnTo>
                    <a:pt x="183261" y="781050"/>
                  </a:lnTo>
                  <a:lnTo>
                    <a:pt x="193548" y="786194"/>
                  </a:lnTo>
                  <a:lnTo>
                    <a:pt x="196691" y="798576"/>
                  </a:lnTo>
                  <a:lnTo>
                    <a:pt x="203645" y="802576"/>
                  </a:lnTo>
                  <a:lnTo>
                    <a:pt x="200882" y="806101"/>
                  </a:lnTo>
                  <a:lnTo>
                    <a:pt x="203454" y="813816"/>
                  </a:lnTo>
                  <a:lnTo>
                    <a:pt x="202025" y="815531"/>
                  </a:lnTo>
                  <a:lnTo>
                    <a:pt x="202501" y="818769"/>
                  </a:lnTo>
                  <a:lnTo>
                    <a:pt x="197929" y="820865"/>
                  </a:lnTo>
                  <a:lnTo>
                    <a:pt x="194977" y="822865"/>
                  </a:lnTo>
                  <a:lnTo>
                    <a:pt x="194977" y="822865"/>
                  </a:lnTo>
                  <a:lnTo>
                    <a:pt x="192214" y="826484"/>
                  </a:lnTo>
                  <a:lnTo>
                    <a:pt x="192595" y="829628"/>
                  </a:lnTo>
                  <a:lnTo>
                    <a:pt x="194596" y="832580"/>
                  </a:lnTo>
                  <a:lnTo>
                    <a:pt x="193453" y="835914"/>
                  </a:lnTo>
                  <a:lnTo>
                    <a:pt x="196596" y="835533"/>
                  </a:lnTo>
                  <a:lnTo>
                    <a:pt x="195643" y="840486"/>
                  </a:lnTo>
                  <a:lnTo>
                    <a:pt x="200597" y="841439"/>
                  </a:lnTo>
                  <a:lnTo>
                    <a:pt x="199739" y="847916"/>
                  </a:lnTo>
                  <a:lnTo>
                    <a:pt x="198215" y="848106"/>
                  </a:lnTo>
                  <a:lnTo>
                    <a:pt x="193643" y="850297"/>
                  </a:lnTo>
                  <a:lnTo>
                    <a:pt x="194310" y="855059"/>
                  </a:lnTo>
                  <a:lnTo>
                    <a:pt x="195834" y="854869"/>
                  </a:lnTo>
                  <a:lnTo>
                    <a:pt x="193262" y="860012"/>
                  </a:lnTo>
                  <a:lnTo>
                    <a:pt x="190119" y="860393"/>
                  </a:lnTo>
                  <a:lnTo>
                    <a:pt x="191929" y="861727"/>
                  </a:lnTo>
                  <a:lnTo>
                    <a:pt x="189928" y="871633"/>
                  </a:lnTo>
                  <a:lnTo>
                    <a:pt x="186785" y="872014"/>
                  </a:lnTo>
                  <a:lnTo>
                    <a:pt x="186976" y="873633"/>
                  </a:lnTo>
                  <a:lnTo>
                    <a:pt x="190214" y="873252"/>
                  </a:lnTo>
                  <a:lnTo>
                    <a:pt x="200025" y="875157"/>
                  </a:lnTo>
                  <a:lnTo>
                    <a:pt x="197453" y="880301"/>
                  </a:lnTo>
                  <a:lnTo>
                    <a:pt x="196501" y="885253"/>
                  </a:lnTo>
                  <a:lnTo>
                    <a:pt x="199835" y="886397"/>
                  </a:lnTo>
                  <a:lnTo>
                    <a:pt x="201073" y="895922"/>
                  </a:lnTo>
                  <a:lnTo>
                    <a:pt x="202120" y="903732"/>
                  </a:lnTo>
                  <a:lnTo>
                    <a:pt x="199168" y="905732"/>
                  </a:lnTo>
                  <a:lnTo>
                    <a:pt x="194405" y="906399"/>
                  </a:lnTo>
                  <a:lnTo>
                    <a:pt x="191643" y="909923"/>
                  </a:lnTo>
                  <a:lnTo>
                    <a:pt x="193453" y="911257"/>
                  </a:lnTo>
                  <a:lnTo>
                    <a:pt x="192024" y="913067"/>
                  </a:lnTo>
                  <a:lnTo>
                    <a:pt x="196405" y="922115"/>
                  </a:lnTo>
                  <a:lnTo>
                    <a:pt x="199739" y="923353"/>
                  </a:lnTo>
                  <a:lnTo>
                    <a:pt x="205835" y="920972"/>
                  </a:lnTo>
                  <a:lnTo>
                    <a:pt x="207454" y="920687"/>
                  </a:lnTo>
                  <a:lnTo>
                    <a:pt x="207835" y="923925"/>
                  </a:lnTo>
                  <a:lnTo>
                    <a:pt x="214598" y="926211"/>
                  </a:lnTo>
                  <a:lnTo>
                    <a:pt x="213170" y="928021"/>
                  </a:lnTo>
                  <a:lnTo>
                    <a:pt x="210217" y="930021"/>
                  </a:lnTo>
                  <a:lnTo>
                    <a:pt x="212217" y="932974"/>
                  </a:lnTo>
                  <a:lnTo>
                    <a:pt x="210883" y="934688"/>
                  </a:lnTo>
                  <a:lnTo>
                    <a:pt x="209455" y="936498"/>
                  </a:lnTo>
                  <a:lnTo>
                    <a:pt x="210312" y="942880"/>
                  </a:lnTo>
                  <a:lnTo>
                    <a:pt x="203930" y="943642"/>
                  </a:lnTo>
                  <a:lnTo>
                    <a:pt x="204787" y="949928"/>
                  </a:lnTo>
                  <a:lnTo>
                    <a:pt x="213074" y="952119"/>
                  </a:lnTo>
                  <a:lnTo>
                    <a:pt x="216218" y="951738"/>
                  </a:lnTo>
                  <a:lnTo>
                    <a:pt x="216408" y="953262"/>
                  </a:lnTo>
                  <a:lnTo>
                    <a:pt x="212312" y="958596"/>
                  </a:lnTo>
                  <a:lnTo>
                    <a:pt x="215646" y="959834"/>
                  </a:lnTo>
                  <a:lnTo>
                    <a:pt x="217170" y="959549"/>
                  </a:lnTo>
                  <a:lnTo>
                    <a:pt x="224314" y="965073"/>
                  </a:lnTo>
                  <a:lnTo>
                    <a:pt x="221742" y="970217"/>
                  </a:lnTo>
                  <a:lnTo>
                    <a:pt x="221742" y="970217"/>
                  </a:lnTo>
                  <a:lnTo>
                    <a:pt x="227362" y="975932"/>
                  </a:lnTo>
                  <a:lnTo>
                    <a:pt x="228314" y="983837"/>
                  </a:lnTo>
                  <a:lnTo>
                    <a:pt x="230124" y="985171"/>
                  </a:lnTo>
                  <a:lnTo>
                    <a:pt x="229362" y="991743"/>
                  </a:lnTo>
                  <a:lnTo>
                    <a:pt x="226600" y="995267"/>
                  </a:lnTo>
                  <a:lnTo>
                    <a:pt x="236220" y="995648"/>
                  </a:lnTo>
                  <a:lnTo>
                    <a:pt x="233077" y="1008888"/>
                  </a:lnTo>
                  <a:lnTo>
                    <a:pt x="224790" y="1006697"/>
                  </a:lnTo>
                  <a:lnTo>
                    <a:pt x="220313" y="1008888"/>
                  </a:lnTo>
                  <a:lnTo>
                    <a:pt x="221837" y="1008698"/>
                  </a:lnTo>
                  <a:lnTo>
                    <a:pt x="220885" y="1013651"/>
                  </a:lnTo>
                  <a:lnTo>
                    <a:pt x="229362" y="1017365"/>
                  </a:lnTo>
                  <a:lnTo>
                    <a:pt x="229743" y="1020509"/>
                  </a:lnTo>
                  <a:lnTo>
                    <a:pt x="228219" y="1020699"/>
                  </a:lnTo>
                  <a:lnTo>
                    <a:pt x="233362" y="1023271"/>
                  </a:lnTo>
                  <a:lnTo>
                    <a:pt x="230410" y="1025271"/>
                  </a:lnTo>
                  <a:lnTo>
                    <a:pt x="232791" y="1031367"/>
                  </a:lnTo>
                  <a:lnTo>
                    <a:pt x="229648" y="1031748"/>
                  </a:lnTo>
                  <a:lnTo>
                    <a:pt x="220885" y="1026509"/>
                  </a:lnTo>
                  <a:lnTo>
                    <a:pt x="223837" y="1024509"/>
                  </a:lnTo>
                  <a:lnTo>
                    <a:pt x="220504" y="1023271"/>
                  </a:lnTo>
                  <a:lnTo>
                    <a:pt x="219170" y="1025081"/>
                  </a:lnTo>
                  <a:lnTo>
                    <a:pt x="217360" y="1023747"/>
                  </a:lnTo>
                  <a:lnTo>
                    <a:pt x="217551" y="1025271"/>
                  </a:lnTo>
                  <a:lnTo>
                    <a:pt x="209074" y="1021556"/>
                  </a:lnTo>
                  <a:lnTo>
                    <a:pt x="207931" y="1024890"/>
                  </a:lnTo>
                  <a:lnTo>
                    <a:pt x="207740" y="1023366"/>
                  </a:lnTo>
                  <a:lnTo>
                    <a:pt x="200025" y="1025938"/>
                  </a:lnTo>
                  <a:lnTo>
                    <a:pt x="198787" y="1029272"/>
                  </a:lnTo>
                  <a:lnTo>
                    <a:pt x="202216" y="1030415"/>
                  </a:lnTo>
                  <a:lnTo>
                    <a:pt x="200977" y="1033844"/>
                  </a:lnTo>
                  <a:lnTo>
                    <a:pt x="193072" y="1034796"/>
                  </a:lnTo>
                  <a:lnTo>
                    <a:pt x="196691" y="1037558"/>
                  </a:lnTo>
                  <a:lnTo>
                    <a:pt x="199835" y="1037177"/>
                  </a:lnTo>
                  <a:lnTo>
                    <a:pt x="205549" y="1044416"/>
                  </a:lnTo>
                  <a:lnTo>
                    <a:pt x="208121" y="1039368"/>
                  </a:lnTo>
                  <a:lnTo>
                    <a:pt x="213455" y="1043464"/>
                  </a:lnTo>
                  <a:lnTo>
                    <a:pt x="221170" y="1040892"/>
                  </a:lnTo>
                  <a:lnTo>
                    <a:pt x="226124" y="1041845"/>
                  </a:lnTo>
                  <a:lnTo>
                    <a:pt x="228505" y="1047941"/>
                  </a:lnTo>
                  <a:lnTo>
                    <a:pt x="228695" y="1049560"/>
                  </a:lnTo>
                  <a:lnTo>
                    <a:pt x="235553" y="1053465"/>
                  </a:lnTo>
                  <a:lnTo>
                    <a:pt x="231076" y="1055656"/>
                  </a:lnTo>
                  <a:lnTo>
                    <a:pt x="229648" y="1057466"/>
                  </a:lnTo>
                  <a:lnTo>
                    <a:pt x="237553" y="1056418"/>
                  </a:lnTo>
                  <a:lnTo>
                    <a:pt x="239363" y="1057847"/>
                  </a:lnTo>
                  <a:lnTo>
                    <a:pt x="240983" y="1070420"/>
                  </a:lnTo>
                  <a:lnTo>
                    <a:pt x="239744" y="1073753"/>
                  </a:lnTo>
                  <a:lnTo>
                    <a:pt x="243173" y="1074992"/>
                  </a:lnTo>
                  <a:lnTo>
                    <a:pt x="246126" y="1072991"/>
                  </a:lnTo>
                  <a:lnTo>
                    <a:pt x="259080" y="1074515"/>
                  </a:lnTo>
                  <a:lnTo>
                    <a:pt x="258699" y="1071372"/>
                  </a:lnTo>
                  <a:lnTo>
                    <a:pt x="260318" y="1071182"/>
                  </a:lnTo>
                  <a:lnTo>
                    <a:pt x="261461" y="1080611"/>
                  </a:lnTo>
                  <a:lnTo>
                    <a:pt x="259366" y="1088898"/>
                  </a:lnTo>
                  <a:lnTo>
                    <a:pt x="265843" y="1089660"/>
                  </a:lnTo>
                  <a:lnTo>
                    <a:pt x="268414" y="1084517"/>
                  </a:lnTo>
                  <a:lnTo>
                    <a:pt x="271558" y="1084136"/>
                  </a:lnTo>
                  <a:lnTo>
                    <a:pt x="272510" y="1079183"/>
                  </a:lnTo>
                  <a:lnTo>
                    <a:pt x="273749" y="1075849"/>
                  </a:lnTo>
                  <a:lnTo>
                    <a:pt x="276892" y="1075468"/>
                  </a:lnTo>
                  <a:lnTo>
                    <a:pt x="281178" y="1071753"/>
                  </a:lnTo>
                  <a:lnTo>
                    <a:pt x="283178" y="1074706"/>
                  </a:lnTo>
                  <a:lnTo>
                    <a:pt x="280035" y="1075087"/>
                  </a:lnTo>
                  <a:lnTo>
                    <a:pt x="278701" y="1076801"/>
                  </a:lnTo>
                  <a:lnTo>
                    <a:pt x="283750" y="1079373"/>
                  </a:lnTo>
                  <a:lnTo>
                    <a:pt x="282988" y="1085945"/>
                  </a:lnTo>
                  <a:lnTo>
                    <a:pt x="286226" y="1085469"/>
                  </a:lnTo>
                  <a:lnTo>
                    <a:pt x="287941" y="1086898"/>
                  </a:lnTo>
                  <a:lnTo>
                    <a:pt x="291084" y="1086517"/>
                  </a:lnTo>
                  <a:lnTo>
                    <a:pt x="291179" y="1099280"/>
                  </a:lnTo>
                  <a:lnTo>
                    <a:pt x="296323" y="1101852"/>
                  </a:lnTo>
                  <a:lnTo>
                    <a:pt x="302228" y="1097852"/>
                  </a:lnTo>
                  <a:lnTo>
                    <a:pt x="305372" y="1097471"/>
                  </a:lnTo>
                  <a:lnTo>
                    <a:pt x="308705" y="1098709"/>
                  </a:lnTo>
                  <a:lnTo>
                    <a:pt x="308515" y="1097090"/>
                  </a:lnTo>
                  <a:lnTo>
                    <a:pt x="314611" y="1094708"/>
                  </a:lnTo>
                  <a:lnTo>
                    <a:pt x="315373" y="1088231"/>
                  </a:lnTo>
                  <a:lnTo>
                    <a:pt x="317183" y="1089565"/>
                  </a:lnTo>
                  <a:lnTo>
                    <a:pt x="317945" y="1083088"/>
                  </a:lnTo>
                  <a:lnTo>
                    <a:pt x="315944" y="1080135"/>
                  </a:lnTo>
                  <a:lnTo>
                    <a:pt x="320326" y="1076325"/>
                  </a:lnTo>
                  <a:lnTo>
                    <a:pt x="323660" y="1077563"/>
                  </a:lnTo>
                  <a:lnTo>
                    <a:pt x="326422" y="1073944"/>
                  </a:lnTo>
                  <a:lnTo>
                    <a:pt x="329565" y="1073563"/>
                  </a:lnTo>
                  <a:lnTo>
                    <a:pt x="330327" y="1067086"/>
                  </a:lnTo>
                  <a:lnTo>
                    <a:pt x="340043" y="1067467"/>
                  </a:lnTo>
                  <a:lnTo>
                    <a:pt x="340043" y="1067467"/>
                  </a:lnTo>
                  <a:lnTo>
                    <a:pt x="340233" y="1068991"/>
                  </a:lnTo>
                  <a:lnTo>
                    <a:pt x="350234" y="1072515"/>
                  </a:lnTo>
                  <a:lnTo>
                    <a:pt x="354997" y="1071944"/>
                  </a:lnTo>
                  <a:lnTo>
                    <a:pt x="355949" y="1066991"/>
                  </a:lnTo>
                  <a:lnTo>
                    <a:pt x="354235" y="1065657"/>
                  </a:lnTo>
                  <a:lnTo>
                    <a:pt x="355378" y="1062228"/>
                  </a:lnTo>
                  <a:lnTo>
                    <a:pt x="357187" y="1063657"/>
                  </a:lnTo>
                  <a:lnTo>
                    <a:pt x="361855" y="1062990"/>
                  </a:lnTo>
                  <a:lnTo>
                    <a:pt x="360712" y="1053560"/>
                  </a:lnTo>
                  <a:lnTo>
                    <a:pt x="360521" y="1051941"/>
                  </a:lnTo>
                  <a:lnTo>
                    <a:pt x="360902" y="1042321"/>
                  </a:lnTo>
                  <a:lnTo>
                    <a:pt x="361283" y="1045464"/>
                  </a:lnTo>
                  <a:lnTo>
                    <a:pt x="362617" y="1043654"/>
                  </a:lnTo>
                  <a:lnTo>
                    <a:pt x="364808" y="1048226"/>
                  </a:lnTo>
                  <a:lnTo>
                    <a:pt x="369760" y="1049179"/>
                  </a:lnTo>
                  <a:lnTo>
                    <a:pt x="374714" y="1050131"/>
                  </a:lnTo>
                  <a:lnTo>
                    <a:pt x="375666" y="1045274"/>
                  </a:lnTo>
                  <a:lnTo>
                    <a:pt x="374904" y="1038892"/>
                  </a:lnTo>
                  <a:lnTo>
                    <a:pt x="374047" y="1032605"/>
                  </a:lnTo>
                  <a:lnTo>
                    <a:pt x="368903" y="1030034"/>
                  </a:lnTo>
                  <a:lnTo>
                    <a:pt x="368903" y="1030034"/>
                  </a:lnTo>
                  <a:lnTo>
                    <a:pt x="378428" y="1028891"/>
                  </a:lnTo>
                  <a:lnTo>
                    <a:pt x="379381" y="1023938"/>
                  </a:lnTo>
                  <a:lnTo>
                    <a:pt x="374809" y="1013270"/>
                  </a:lnTo>
                  <a:lnTo>
                    <a:pt x="377571" y="1009745"/>
                  </a:lnTo>
                  <a:lnTo>
                    <a:pt x="374999" y="1002030"/>
                  </a:lnTo>
                  <a:lnTo>
                    <a:pt x="378714" y="1006316"/>
                  </a:lnTo>
                  <a:lnTo>
                    <a:pt x="378524" y="1004792"/>
                  </a:lnTo>
                  <a:lnTo>
                    <a:pt x="386429" y="1003745"/>
                  </a:lnTo>
                  <a:lnTo>
                    <a:pt x="389382" y="1001840"/>
                  </a:lnTo>
                  <a:lnTo>
                    <a:pt x="389191" y="1000220"/>
                  </a:lnTo>
                  <a:lnTo>
                    <a:pt x="392335" y="999839"/>
                  </a:lnTo>
                  <a:lnTo>
                    <a:pt x="392335" y="999839"/>
                  </a:lnTo>
                  <a:lnTo>
                    <a:pt x="391954" y="996696"/>
                  </a:lnTo>
                  <a:lnTo>
                    <a:pt x="396621" y="996029"/>
                  </a:lnTo>
                  <a:lnTo>
                    <a:pt x="394906" y="994696"/>
                  </a:lnTo>
                  <a:lnTo>
                    <a:pt x="394049" y="988409"/>
                  </a:lnTo>
                  <a:lnTo>
                    <a:pt x="395668" y="988124"/>
                  </a:lnTo>
                  <a:lnTo>
                    <a:pt x="399002" y="989362"/>
                  </a:lnTo>
                  <a:lnTo>
                    <a:pt x="400145" y="986028"/>
                  </a:lnTo>
                  <a:lnTo>
                    <a:pt x="406527" y="985171"/>
                  </a:lnTo>
                  <a:lnTo>
                    <a:pt x="408813" y="978503"/>
                  </a:lnTo>
                  <a:lnTo>
                    <a:pt x="416528" y="975932"/>
                  </a:lnTo>
                  <a:lnTo>
                    <a:pt x="419672" y="975455"/>
                  </a:lnTo>
                  <a:lnTo>
                    <a:pt x="419481" y="973931"/>
                  </a:lnTo>
                  <a:lnTo>
                    <a:pt x="422434" y="971931"/>
                  </a:lnTo>
                  <a:lnTo>
                    <a:pt x="422434" y="971931"/>
                  </a:lnTo>
                  <a:lnTo>
                    <a:pt x="430149" y="982123"/>
                  </a:lnTo>
                  <a:lnTo>
                    <a:pt x="433578" y="983361"/>
                  </a:lnTo>
                  <a:lnTo>
                    <a:pt x="436531" y="981361"/>
                  </a:lnTo>
                  <a:lnTo>
                    <a:pt x="444341" y="980313"/>
                  </a:lnTo>
                  <a:lnTo>
                    <a:pt x="451485" y="973074"/>
                  </a:lnTo>
                  <a:lnTo>
                    <a:pt x="456629" y="975551"/>
                  </a:lnTo>
                  <a:lnTo>
                    <a:pt x="456152" y="972407"/>
                  </a:lnTo>
                  <a:lnTo>
                    <a:pt x="469583" y="964311"/>
                  </a:lnTo>
                  <a:lnTo>
                    <a:pt x="465391" y="956786"/>
                  </a:lnTo>
                  <a:lnTo>
                    <a:pt x="473774" y="958977"/>
                  </a:lnTo>
                  <a:lnTo>
                    <a:pt x="476726" y="956977"/>
                  </a:lnTo>
                  <a:lnTo>
                    <a:pt x="480441" y="948500"/>
                  </a:lnTo>
                  <a:lnTo>
                    <a:pt x="478631" y="947166"/>
                  </a:lnTo>
                  <a:lnTo>
                    <a:pt x="479965" y="945356"/>
                  </a:lnTo>
                  <a:lnTo>
                    <a:pt x="480251" y="946880"/>
                  </a:lnTo>
                  <a:lnTo>
                    <a:pt x="484918" y="946309"/>
                  </a:lnTo>
                  <a:lnTo>
                    <a:pt x="489109" y="940975"/>
                  </a:lnTo>
                  <a:lnTo>
                    <a:pt x="501491" y="924973"/>
                  </a:lnTo>
                  <a:lnTo>
                    <a:pt x="503491" y="927926"/>
                  </a:lnTo>
                  <a:lnTo>
                    <a:pt x="502063" y="929735"/>
                  </a:lnTo>
                  <a:lnTo>
                    <a:pt x="502063" y="942499"/>
                  </a:lnTo>
                  <a:lnTo>
                    <a:pt x="511397" y="939737"/>
                  </a:lnTo>
                  <a:lnTo>
                    <a:pt x="514731" y="940880"/>
                  </a:lnTo>
                  <a:lnTo>
                    <a:pt x="520065" y="945071"/>
                  </a:lnTo>
                  <a:lnTo>
                    <a:pt x="523208" y="944690"/>
                  </a:lnTo>
                  <a:lnTo>
                    <a:pt x="533876" y="940118"/>
                  </a:lnTo>
                  <a:lnTo>
                    <a:pt x="551593" y="941070"/>
                  </a:lnTo>
                  <a:lnTo>
                    <a:pt x="556736" y="943547"/>
                  </a:lnTo>
                  <a:lnTo>
                    <a:pt x="559118" y="936879"/>
                  </a:lnTo>
                  <a:lnTo>
                    <a:pt x="559879" y="930307"/>
                  </a:lnTo>
                  <a:lnTo>
                    <a:pt x="561880" y="933355"/>
                  </a:lnTo>
                  <a:lnTo>
                    <a:pt x="565595" y="924782"/>
                  </a:lnTo>
                  <a:lnTo>
                    <a:pt x="567595" y="927735"/>
                  </a:lnTo>
                  <a:lnTo>
                    <a:pt x="566833" y="934307"/>
                  </a:lnTo>
                  <a:lnTo>
                    <a:pt x="569976" y="933926"/>
                  </a:lnTo>
                  <a:lnTo>
                    <a:pt x="572548" y="928783"/>
                  </a:lnTo>
                  <a:lnTo>
                    <a:pt x="575691" y="928307"/>
                  </a:lnTo>
                  <a:lnTo>
                    <a:pt x="583978" y="917639"/>
                  </a:lnTo>
                  <a:lnTo>
                    <a:pt x="589407" y="910590"/>
                  </a:lnTo>
                  <a:lnTo>
                    <a:pt x="591788" y="903827"/>
                  </a:lnTo>
                  <a:lnTo>
                    <a:pt x="594931" y="903446"/>
                  </a:lnTo>
                  <a:lnTo>
                    <a:pt x="600837" y="899446"/>
                  </a:lnTo>
                  <a:lnTo>
                    <a:pt x="603980" y="899065"/>
                  </a:lnTo>
                  <a:lnTo>
                    <a:pt x="607981" y="904970"/>
                  </a:lnTo>
                  <a:lnTo>
                    <a:pt x="609124" y="901637"/>
                  </a:lnTo>
                  <a:lnTo>
                    <a:pt x="610933" y="902970"/>
                  </a:lnTo>
                  <a:lnTo>
                    <a:pt x="617506" y="916591"/>
                  </a:lnTo>
                  <a:lnTo>
                    <a:pt x="616744" y="923163"/>
                  </a:lnTo>
                  <a:lnTo>
                    <a:pt x="618649" y="926116"/>
                  </a:lnTo>
                  <a:lnTo>
                    <a:pt x="618649" y="926116"/>
                  </a:lnTo>
                  <a:lnTo>
                    <a:pt x="635794" y="922306"/>
                  </a:lnTo>
                  <a:lnTo>
                    <a:pt x="636175" y="912590"/>
                  </a:lnTo>
                  <a:lnTo>
                    <a:pt x="639127" y="910590"/>
                  </a:lnTo>
                  <a:lnTo>
                    <a:pt x="636746" y="904494"/>
                  </a:lnTo>
                  <a:lnTo>
                    <a:pt x="642461" y="898970"/>
                  </a:lnTo>
                  <a:lnTo>
                    <a:pt x="646462" y="892112"/>
                  </a:lnTo>
                  <a:lnTo>
                    <a:pt x="652748" y="891254"/>
                  </a:lnTo>
                  <a:lnTo>
                    <a:pt x="668274" y="887635"/>
                  </a:lnTo>
                  <a:lnTo>
                    <a:pt x="671513" y="887254"/>
                  </a:lnTo>
                  <a:lnTo>
                    <a:pt x="670274" y="890588"/>
                  </a:lnTo>
                  <a:lnTo>
                    <a:pt x="679323" y="886301"/>
                  </a:lnTo>
                  <a:lnTo>
                    <a:pt x="680561" y="882872"/>
                  </a:lnTo>
                  <a:lnTo>
                    <a:pt x="685228" y="882301"/>
                  </a:lnTo>
                  <a:lnTo>
                    <a:pt x="689801" y="880110"/>
                  </a:lnTo>
                  <a:lnTo>
                    <a:pt x="690563" y="873633"/>
                  </a:lnTo>
                  <a:lnTo>
                    <a:pt x="693706" y="873252"/>
                  </a:lnTo>
                  <a:lnTo>
                    <a:pt x="693515" y="871633"/>
                  </a:lnTo>
                  <a:lnTo>
                    <a:pt x="696849" y="872776"/>
                  </a:lnTo>
                  <a:lnTo>
                    <a:pt x="699611" y="869251"/>
                  </a:lnTo>
                  <a:lnTo>
                    <a:pt x="700850" y="865918"/>
                  </a:lnTo>
                  <a:lnTo>
                    <a:pt x="699230" y="853250"/>
                  </a:lnTo>
                  <a:lnTo>
                    <a:pt x="696087" y="853631"/>
                  </a:lnTo>
                  <a:lnTo>
                    <a:pt x="697611" y="853440"/>
                  </a:lnTo>
                  <a:lnTo>
                    <a:pt x="697421" y="851916"/>
                  </a:lnTo>
                  <a:lnTo>
                    <a:pt x="703993" y="852678"/>
                  </a:lnTo>
                  <a:lnTo>
                    <a:pt x="704183" y="854202"/>
                  </a:lnTo>
                  <a:lnTo>
                    <a:pt x="710470" y="853440"/>
                  </a:lnTo>
                  <a:lnTo>
                    <a:pt x="710851" y="856583"/>
                  </a:lnTo>
                  <a:lnTo>
                    <a:pt x="723710" y="856583"/>
                  </a:lnTo>
                  <a:lnTo>
                    <a:pt x="726853" y="856202"/>
                  </a:lnTo>
                  <a:lnTo>
                    <a:pt x="726662" y="854583"/>
                  </a:lnTo>
                  <a:lnTo>
                    <a:pt x="724662" y="851630"/>
                  </a:lnTo>
                  <a:lnTo>
                    <a:pt x="726281" y="851440"/>
                  </a:lnTo>
                  <a:lnTo>
                    <a:pt x="725996" y="849821"/>
                  </a:lnTo>
                  <a:lnTo>
                    <a:pt x="724281" y="848487"/>
                  </a:lnTo>
                  <a:lnTo>
                    <a:pt x="726567" y="841724"/>
                  </a:lnTo>
                  <a:lnTo>
                    <a:pt x="722662" y="835819"/>
                  </a:lnTo>
                  <a:lnTo>
                    <a:pt x="719519" y="836295"/>
                  </a:lnTo>
                  <a:lnTo>
                    <a:pt x="717709" y="822008"/>
                  </a:lnTo>
                  <a:lnTo>
                    <a:pt x="725424" y="819436"/>
                  </a:lnTo>
                  <a:lnTo>
                    <a:pt x="723614" y="818102"/>
                  </a:lnTo>
                  <a:lnTo>
                    <a:pt x="728377" y="817531"/>
                  </a:lnTo>
                  <a:lnTo>
                    <a:pt x="730853" y="812387"/>
                  </a:lnTo>
                  <a:lnTo>
                    <a:pt x="733997" y="811911"/>
                  </a:lnTo>
                  <a:lnTo>
                    <a:pt x="736759" y="808387"/>
                  </a:lnTo>
                  <a:lnTo>
                    <a:pt x="744474" y="805815"/>
                  </a:lnTo>
                  <a:lnTo>
                    <a:pt x="750189" y="813054"/>
                  </a:lnTo>
                  <a:lnTo>
                    <a:pt x="753618" y="814292"/>
                  </a:lnTo>
                  <a:lnTo>
                    <a:pt x="752951" y="809530"/>
                  </a:lnTo>
                  <a:lnTo>
                    <a:pt x="756094" y="809149"/>
                  </a:lnTo>
                  <a:lnTo>
                    <a:pt x="755904" y="807530"/>
                  </a:lnTo>
                  <a:lnTo>
                    <a:pt x="768001" y="814007"/>
                  </a:lnTo>
                  <a:lnTo>
                    <a:pt x="777811" y="816007"/>
                  </a:lnTo>
                  <a:lnTo>
                    <a:pt x="779812" y="818960"/>
                  </a:lnTo>
                  <a:lnTo>
                    <a:pt x="782955" y="818578"/>
                  </a:lnTo>
                  <a:lnTo>
                    <a:pt x="783431" y="821722"/>
                  </a:lnTo>
                  <a:lnTo>
                    <a:pt x="784955" y="821531"/>
                  </a:lnTo>
                  <a:lnTo>
                    <a:pt x="797814" y="821436"/>
                  </a:lnTo>
                  <a:lnTo>
                    <a:pt x="812197" y="821246"/>
                  </a:lnTo>
                  <a:lnTo>
                    <a:pt x="812578" y="824389"/>
                  </a:lnTo>
                  <a:lnTo>
                    <a:pt x="819150" y="825151"/>
                  </a:lnTo>
                  <a:lnTo>
                    <a:pt x="828770" y="825532"/>
                  </a:lnTo>
                  <a:lnTo>
                    <a:pt x="830580" y="826865"/>
                  </a:lnTo>
                  <a:lnTo>
                    <a:pt x="831914" y="825151"/>
                  </a:lnTo>
                  <a:lnTo>
                    <a:pt x="847725" y="823151"/>
                  </a:lnTo>
                  <a:lnTo>
                    <a:pt x="849059" y="821341"/>
                  </a:lnTo>
                  <a:lnTo>
                    <a:pt x="857440" y="823532"/>
                  </a:lnTo>
                  <a:lnTo>
                    <a:pt x="859727" y="816769"/>
                  </a:lnTo>
                  <a:lnTo>
                    <a:pt x="857536" y="812197"/>
                  </a:lnTo>
                  <a:lnTo>
                    <a:pt x="867632" y="815816"/>
                  </a:lnTo>
                  <a:lnTo>
                    <a:pt x="866299" y="817531"/>
                  </a:lnTo>
                  <a:lnTo>
                    <a:pt x="870204" y="823436"/>
                  </a:lnTo>
                  <a:lnTo>
                    <a:pt x="871442" y="820103"/>
                  </a:lnTo>
                  <a:lnTo>
                    <a:pt x="878300" y="824008"/>
                  </a:lnTo>
                  <a:lnTo>
                    <a:pt x="877919" y="820865"/>
                  </a:lnTo>
                  <a:lnTo>
                    <a:pt x="881253" y="822008"/>
                  </a:lnTo>
                  <a:lnTo>
                    <a:pt x="882206" y="817150"/>
                  </a:lnTo>
                  <a:lnTo>
                    <a:pt x="897827" y="826389"/>
                  </a:lnTo>
                  <a:lnTo>
                    <a:pt x="902780" y="827342"/>
                  </a:lnTo>
                  <a:lnTo>
                    <a:pt x="903160" y="830485"/>
                  </a:lnTo>
                  <a:lnTo>
                    <a:pt x="904970" y="831818"/>
                  </a:lnTo>
                  <a:lnTo>
                    <a:pt x="908494" y="821817"/>
                  </a:lnTo>
                  <a:lnTo>
                    <a:pt x="910114" y="821626"/>
                  </a:lnTo>
                  <a:lnTo>
                    <a:pt x="914400" y="817817"/>
                  </a:lnTo>
                  <a:lnTo>
                    <a:pt x="914019" y="814673"/>
                  </a:lnTo>
                  <a:lnTo>
                    <a:pt x="917734" y="806196"/>
                  </a:lnTo>
                  <a:lnTo>
                    <a:pt x="919544" y="807530"/>
                  </a:lnTo>
                  <a:lnTo>
                    <a:pt x="923639" y="802196"/>
                  </a:lnTo>
                  <a:lnTo>
                    <a:pt x="930783" y="807720"/>
                  </a:lnTo>
                  <a:lnTo>
                    <a:pt x="935736" y="808673"/>
                  </a:lnTo>
                  <a:lnTo>
                    <a:pt x="937069" y="806958"/>
                  </a:lnTo>
                  <a:lnTo>
                    <a:pt x="936879" y="805339"/>
                  </a:lnTo>
                  <a:lnTo>
                    <a:pt x="942023" y="807911"/>
                  </a:lnTo>
                  <a:lnTo>
                    <a:pt x="946785" y="807339"/>
                  </a:lnTo>
                  <a:lnTo>
                    <a:pt x="944594" y="802767"/>
                  </a:lnTo>
                  <a:lnTo>
                    <a:pt x="956024" y="804482"/>
                  </a:lnTo>
                  <a:lnTo>
                    <a:pt x="955453" y="799814"/>
                  </a:lnTo>
                  <a:lnTo>
                    <a:pt x="958786" y="800957"/>
                  </a:lnTo>
                  <a:lnTo>
                    <a:pt x="960120" y="799148"/>
                  </a:lnTo>
                  <a:lnTo>
                    <a:pt x="966692" y="799910"/>
                  </a:lnTo>
                  <a:lnTo>
                    <a:pt x="966883" y="801529"/>
                  </a:lnTo>
                  <a:lnTo>
                    <a:pt x="970217" y="802672"/>
                  </a:lnTo>
                  <a:lnTo>
                    <a:pt x="970407" y="804291"/>
                  </a:lnTo>
                  <a:lnTo>
                    <a:pt x="973741" y="805434"/>
                  </a:lnTo>
                  <a:lnTo>
                    <a:pt x="974407" y="810197"/>
                  </a:lnTo>
                  <a:lnTo>
                    <a:pt x="975551" y="806863"/>
                  </a:lnTo>
                  <a:lnTo>
                    <a:pt x="978884" y="808006"/>
                  </a:lnTo>
                  <a:lnTo>
                    <a:pt x="975360" y="805244"/>
                  </a:lnTo>
                  <a:lnTo>
                    <a:pt x="978503" y="804863"/>
                  </a:lnTo>
                  <a:lnTo>
                    <a:pt x="980313" y="806196"/>
                  </a:lnTo>
                  <a:lnTo>
                    <a:pt x="978884" y="808006"/>
                  </a:lnTo>
                  <a:lnTo>
                    <a:pt x="979075" y="809625"/>
                  </a:lnTo>
                  <a:lnTo>
                    <a:pt x="983456" y="805815"/>
                  </a:lnTo>
                  <a:lnTo>
                    <a:pt x="984980" y="805625"/>
                  </a:lnTo>
                  <a:lnTo>
                    <a:pt x="990124" y="795338"/>
                  </a:lnTo>
                  <a:lnTo>
                    <a:pt x="988505" y="795528"/>
                  </a:lnTo>
                  <a:lnTo>
                    <a:pt x="989552" y="790575"/>
                  </a:lnTo>
                  <a:lnTo>
                    <a:pt x="987933" y="790861"/>
                  </a:lnTo>
                  <a:lnTo>
                    <a:pt x="989362" y="789051"/>
                  </a:lnTo>
                  <a:lnTo>
                    <a:pt x="985933" y="787908"/>
                  </a:lnTo>
                  <a:lnTo>
                    <a:pt x="987361" y="786098"/>
                  </a:lnTo>
                  <a:lnTo>
                    <a:pt x="986123" y="776573"/>
                  </a:lnTo>
                  <a:lnTo>
                    <a:pt x="992886" y="778955"/>
                  </a:lnTo>
                  <a:lnTo>
                    <a:pt x="992600" y="764572"/>
                  </a:lnTo>
                  <a:lnTo>
                    <a:pt x="992029" y="759809"/>
                  </a:lnTo>
                  <a:lnTo>
                    <a:pt x="993553" y="759619"/>
                  </a:lnTo>
                  <a:lnTo>
                    <a:pt x="994791" y="756285"/>
                  </a:lnTo>
                  <a:lnTo>
                    <a:pt x="991172" y="753523"/>
                  </a:lnTo>
                  <a:lnTo>
                    <a:pt x="987838" y="752380"/>
                  </a:lnTo>
                  <a:lnTo>
                    <a:pt x="987266" y="747617"/>
                  </a:lnTo>
                  <a:lnTo>
                    <a:pt x="983742" y="744855"/>
                  </a:lnTo>
                  <a:lnTo>
                    <a:pt x="983266" y="741712"/>
                  </a:lnTo>
                  <a:lnTo>
                    <a:pt x="987647" y="737902"/>
                  </a:lnTo>
                  <a:lnTo>
                    <a:pt x="989648" y="740855"/>
                  </a:lnTo>
                  <a:lnTo>
                    <a:pt x="992600" y="738950"/>
                  </a:lnTo>
                  <a:lnTo>
                    <a:pt x="988981" y="736187"/>
                  </a:lnTo>
                  <a:lnTo>
                    <a:pt x="988600" y="733044"/>
                  </a:lnTo>
                  <a:lnTo>
                    <a:pt x="985076" y="730282"/>
                  </a:lnTo>
                  <a:lnTo>
                    <a:pt x="986219" y="726853"/>
                  </a:lnTo>
                  <a:lnTo>
                    <a:pt x="988028" y="728282"/>
                  </a:lnTo>
                  <a:lnTo>
                    <a:pt x="987552" y="725138"/>
                  </a:lnTo>
                  <a:lnTo>
                    <a:pt x="985838" y="723710"/>
                  </a:lnTo>
                  <a:lnTo>
                    <a:pt x="985647" y="722186"/>
                  </a:lnTo>
                  <a:lnTo>
                    <a:pt x="982027" y="719423"/>
                  </a:lnTo>
                  <a:lnTo>
                    <a:pt x="981837" y="717804"/>
                  </a:lnTo>
                  <a:lnTo>
                    <a:pt x="984790" y="715804"/>
                  </a:lnTo>
                  <a:lnTo>
                    <a:pt x="987933" y="715423"/>
                  </a:lnTo>
                  <a:lnTo>
                    <a:pt x="989171" y="712089"/>
                  </a:lnTo>
                  <a:lnTo>
                    <a:pt x="992124" y="710089"/>
                  </a:lnTo>
                  <a:lnTo>
                    <a:pt x="1004792" y="721328"/>
                  </a:lnTo>
                  <a:lnTo>
                    <a:pt x="1019937" y="727424"/>
                  </a:lnTo>
                  <a:lnTo>
                    <a:pt x="1021175" y="724091"/>
                  </a:lnTo>
                  <a:lnTo>
                    <a:pt x="1024509" y="725234"/>
                  </a:lnTo>
                  <a:lnTo>
                    <a:pt x="1020889" y="722471"/>
                  </a:lnTo>
                  <a:lnTo>
                    <a:pt x="1023652" y="718947"/>
                  </a:lnTo>
                  <a:lnTo>
                    <a:pt x="1021937" y="717518"/>
                  </a:lnTo>
                  <a:lnTo>
                    <a:pt x="1017175" y="718090"/>
                  </a:lnTo>
                  <a:lnTo>
                    <a:pt x="1015365" y="716756"/>
                  </a:lnTo>
                  <a:lnTo>
                    <a:pt x="1019556" y="711422"/>
                  </a:lnTo>
                  <a:lnTo>
                    <a:pt x="1023080" y="714185"/>
                  </a:lnTo>
                  <a:lnTo>
                    <a:pt x="1024223" y="710851"/>
                  </a:lnTo>
                  <a:lnTo>
                    <a:pt x="1020889" y="709613"/>
                  </a:lnTo>
                  <a:lnTo>
                    <a:pt x="1022509" y="709422"/>
                  </a:lnTo>
                  <a:lnTo>
                    <a:pt x="1026985" y="707231"/>
                  </a:lnTo>
                  <a:lnTo>
                    <a:pt x="1024985" y="691515"/>
                  </a:lnTo>
                  <a:lnTo>
                    <a:pt x="1035653" y="699707"/>
                  </a:lnTo>
                  <a:lnTo>
                    <a:pt x="1043559" y="698754"/>
                  </a:lnTo>
                  <a:lnTo>
                    <a:pt x="1042606" y="690848"/>
                  </a:lnTo>
                  <a:lnTo>
                    <a:pt x="1051274" y="696182"/>
                  </a:lnTo>
                  <a:lnTo>
                    <a:pt x="1059371" y="696754"/>
                  </a:lnTo>
                  <a:lnTo>
                    <a:pt x="1057942" y="685705"/>
                  </a:lnTo>
                  <a:lnTo>
                    <a:pt x="1059085" y="682276"/>
                  </a:lnTo>
                  <a:lnTo>
                    <a:pt x="1058513" y="677609"/>
                  </a:lnTo>
                  <a:lnTo>
                    <a:pt x="1059656" y="674275"/>
                  </a:lnTo>
                  <a:lnTo>
                    <a:pt x="1054799" y="673227"/>
                  </a:lnTo>
                  <a:lnTo>
                    <a:pt x="1057942" y="672846"/>
                  </a:lnTo>
                  <a:lnTo>
                    <a:pt x="1058323" y="663226"/>
                  </a:lnTo>
                  <a:lnTo>
                    <a:pt x="1047560" y="642080"/>
                  </a:lnTo>
                  <a:lnTo>
                    <a:pt x="1060037" y="638937"/>
                  </a:lnTo>
                  <a:lnTo>
                    <a:pt x="1056989" y="628078"/>
                  </a:lnTo>
                  <a:lnTo>
                    <a:pt x="1068896" y="632936"/>
                  </a:lnTo>
                  <a:lnTo>
                    <a:pt x="1066324" y="625316"/>
                  </a:lnTo>
                  <a:lnTo>
                    <a:pt x="1064133" y="620744"/>
                  </a:lnTo>
                  <a:lnTo>
                    <a:pt x="1060704" y="619601"/>
                  </a:lnTo>
                  <a:lnTo>
                    <a:pt x="1061276" y="611505"/>
                  </a:lnTo>
                  <a:lnTo>
                    <a:pt x="1056418" y="610457"/>
                  </a:lnTo>
                  <a:lnTo>
                    <a:pt x="1057751" y="608743"/>
                  </a:lnTo>
                  <a:lnTo>
                    <a:pt x="1057561" y="607124"/>
                  </a:lnTo>
                  <a:lnTo>
                    <a:pt x="1054418" y="607505"/>
                  </a:lnTo>
                  <a:lnTo>
                    <a:pt x="1049465" y="606552"/>
                  </a:lnTo>
                  <a:lnTo>
                    <a:pt x="1049655" y="608171"/>
                  </a:lnTo>
                  <a:lnTo>
                    <a:pt x="1047845" y="606743"/>
                  </a:lnTo>
                  <a:lnTo>
                    <a:pt x="1047845" y="606743"/>
                  </a:lnTo>
                  <a:lnTo>
                    <a:pt x="1047655" y="605219"/>
                  </a:lnTo>
                  <a:lnTo>
                    <a:pt x="1046321" y="606933"/>
                  </a:lnTo>
                  <a:lnTo>
                    <a:pt x="1038035" y="604838"/>
                  </a:lnTo>
                  <a:lnTo>
                    <a:pt x="1038797" y="598265"/>
                  </a:lnTo>
                  <a:lnTo>
                    <a:pt x="1037368" y="600075"/>
                  </a:lnTo>
                  <a:lnTo>
                    <a:pt x="1035463" y="597122"/>
                  </a:lnTo>
                  <a:lnTo>
                    <a:pt x="1036415" y="592169"/>
                  </a:lnTo>
                  <a:lnTo>
                    <a:pt x="1036225" y="590645"/>
                  </a:lnTo>
                  <a:lnTo>
                    <a:pt x="1034606" y="590836"/>
                  </a:lnTo>
                  <a:lnTo>
                    <a:pt x="1033081" y="591026"/>
                  </a:lnTo>
                  <a:lnTo>
                    <a:pt x="1034415" y="589217"/>
                  </a:lnTo>
                  <a:lnTo>
                    <a:pt x="1032605" y="587883"/>
                  </a:lnTo>
                  <a:lnTo>
                    <a:pt x="1033844" y="584549"/>
                  </a:lnTo>
                  <a:lnTo>
                    <a:pt x="1030700" y="584930"/>
                  </a:lnTo>
                  <a:lnTo>
                    <a:pt x="1032034" y="583121"/>
                  </a:lnTo>
                  <a:lnTo>
                    <a:pt x="1030510" y="583311"/>
                  </a:lnTo>
                  <a:lnTo>
                    <a:pt x="1027843" y="575596"/>
                  </a:lnTo>
                  <a:lnTo>
                    <a:pt x="1020985" y="571691"/>
                  </a:lnTo>
                  <a:lnTo>
                    <a:pt x="1022128" y="568357"/>
                  </a:lnTo>
                  <a:lnTo>
                    <a:pt x="1020985" y="558927"/>
                  </a:lnTo>
                  <a:lnTo>
                    <a:pt x="1018985" y="555974"/>
                  </a:lnTo>
                  <a:lnTo>
                    <a:pt x="1018603" y="552736"/>
                  </a:lnTo>
                  <a:lnTo>
                    <a:pt x="1016984" y="553022"/>
                  </a:lnTo>
                  <a:lnTo>
                    <a:pt x="1015746" y="543497"/>
                  </a:lnTo>
                  <a:lnTo>
                    <a:pt x="1012603" y="543878"/>
                  </a:lnTo>
                  <a:lnTo>
                    <a:pt x="1014031" y="542163"/>
                  </a:lnTo>
                  <a:lnTo>
                    <a:pt x="1012412" y="542354"/>
                  </a:lnTo>
                  <a:lnTo>
                    <a:pt x="1013174" y="535781"/>
                  </a:lnTo>
                  <a:lnTo>
                    <a:pt x="1003078" y="532257"/>
                  </a:lnTo>
                  <a:lnTo>
                    <a:pt x="1004316" y="528923"/>
                  </a:lnTo>
                  <a:lnTo>
                    <a:pt x="1000315" y="523018"/>
                  </a:lnTo>
                  <a:lnTo>
                    <a:pt x="995363" y="522065"/>
                  </a:lnTo>
                  <a:lnTo>
                    <a:pt x="997934" y="516922"/>
                  </a:lnTo>
                  <a:lnTo>
                    <a:pt x="994981" y="506063"/>
                  </a:lnTo>
                  <a:lnTo>
                    <a:pt x="987838" y="500539"/>
                  </a:lnTo>
                  <a:lnTo>
                    <a:pt x="987457" y="497396"/>
                  </a:lnTo>
                  <a:lnTo>
                    <a:pt x="988790" y="495586"/>
                  </a:lnTo>
                  <a:lnTo>
                    <a:pt x="981742" y="490157"/>
                  </a:lnTo>
                  <a:lnTo>
                    <a:pt x="985266" y="480060"/>
                  </a:lnTo>
                  <a:lnTo>
                    <a:pt x="984790" y="476917"/>
                  </a:lnTo>
                  <a:lnTo>
                    <a:pt x="982027" y="467582"/>
                  </a:lnTo>
                  <a:lnTo>
                    <a:pt x="981837" y="466058"/>
                  </a:lnTo>
                  <a:lnTo>
                    <a:pt x="981456" y="462915"/>
                  </a:lnTo>
                  <a:lnTo>
                    <a:pt x="982218" y="456343"/>
                  </a:lnTo>
                  <a:lnTo>
                    <a:pt x="980599" y="456533"/>
                  </a:lnTo>
                  <a:lnTo>
                    <a:pt x="975931" y="457200"/>
                  </a:lnTo>
                  <a:lnTo>
                    <a:pt x="970978" y="456248"/>
                  </a:lnTo>
                  <a:lnTo>
                    <a:pt x="971169" y="444913"/>
                  </a:lnTo>
                  <a:lnTo>
                    <a:pt x="977456" y="431292"/>
                  </a:lnTo>
                  <a:lnTo>
                    <a:pt x="979170" y="432721"/>
                  </a:lnTo>
                  <a:lnTo>
                    <a:pt x="993553" y="419672"/>
                  </a:lnTo>
                  <a:lnTo>
                    <a:pt x="992981" y="414909"/>
                  </a:lnTo>
                  <a:lnTo>
                    <a:pt x="986028" y="411004"/>
                  </a:lnTo>
                  <a:lnTo>
                    <a:pt x="986600" y="402908"/>
                  </a:lnTo>
                  <a:lnTo>
                    <a:pt x="990790" y="397574"/>
                  </a:lnTo>
                  <a:lnTo>
                    <a:pt x="989933" y="391192"/>
                  </a:lnTo>
                  <a:lnTo>
                    <a:pt x="993839" y="384334"/>
                  </a:lnTo>
                  <a:lnTo>
                    <a:pt x="1003173" y="381572"/>
                  </a:lnTo>
                  <a:lnTo>
                    <a:pt x="1012222" y="377190"/>
                  </a:lnTo>
                  <a:lnTo>
                    <a:pt x="1015936" y="368713"/>
                  </a:lnTo>
                  <a:lnTo>
                    <a:pt x="1015746" y="367094"/>
                  </a:lnTo>
                  <a:lnTo>
                    <a:pt x="1018318" y="361950"/>
                  </a:lnTo>
                  <a:lnTo>
                    <a:pt x="1020699" y="368046"/>
                  </a:lnTo>
                  <a:lnTo>
                    <a:pt x="1019461" y="371475"/>
                  </a:lnTo>
                  <a:lnTo>
                    <a:pt x="1021080" y="371189"/>
                  </a:lnTo>
                  <a:lnTo>
                    <a:pt x="1027367" y="370427"/>
                  </a:lnTo>
                  <a:lnTo>
                    <a:pt x="1030129" y="366903"/>
                  </a:lnTo>
                  <a:lnTo>
                    <a:pt x="1021271" y="359950"/>
                  </a:lnTo>
                  <a:lnTo>
                    <a:pt x="1022032" y="353473"/>
                  </a:lnTo>
                  <a:lnTo>
                    <a:pt x="1024985" y="351473"/>
                  </a:lnTo>
                  <a:lnTo>
                    <a:pt x="1025938" y="346520"/>
                  </a:lnTo>
                  <a:lnTo>
                    <a:pt x="1027462" y="333566"/>
                  </a:lnTo>
                  <a:lnTo>
                    <a:pt x="1032986" y="326422"/>
                  </a:lnTo>
                  <a:lnTo>
                    <a:pt x="1032796" y="324803"/>
                  </a:lnTo>
                  <a:lnTo>
                    <a:pt x="1037558" y="324231"/>
                  </a:lnTo>
                  <a:lnTo>
                    <a:pt x="1042702" y="326803"/>
                  </a:lnTo>
                  <a:lnTo>
                    <a:pt x="1048036" y="318040"/>
                  </a:lnTo>
                  <a:lnTo>
                    <a:pt x="1042416" y="312420"/>
                  </a:lnTo>
                  <a:lnTo>
                    <a:pt x="1043654" y="308991"/>
                  </a:lnTo>
                  <a:lnTo>
                    <a:pt x="1049560" y="305086"/>
                  </a:lnTo>
                  <a:lnTo>
                    <a:pt x="1049369" y="303467"/>
                  </a:lnTo>
                  <a:lnTo>
                    <a:pt x="1049179" y="301943"/>
                  </a:lnTo>
                  <a:lnTo>
                    <a:pt x="1047369" y="300514"/>
                  </a:lnTo>
                  <a:lnTo>
                    <a:pt x="1045750" y="300704"/>
                  </a:lnTo>
                  <a:lnTo>
                    <a:pt x="1044035" y="299371"/>
                  </a:lnTo>
                  <a:lnTo>
                    <a:pt x="1044988" y="294418"/>
                  </a:lnTo>
                  <a:lnTo>
                    <a:pt x="1043178" y="293084"/>
                  </a:lnTo>
                  <a:lnTo>
                    <a:pt x="1045750" y="287941"/>
                  </a:lnTo>
                  <a:lnTo>
                    <a:pt x="1049274" y="290703"/>
                  </a:lnTo>
                  <a:lnTo>
                    <a:pt x="1048893" y="287465"/>
                  </a:lnTo>
                  <a:lnTo>
                    <a:pt x="1045559" y="286322"/>
                  </a:lnTo>
                  <a:lnTo>
                    <a:pt x="1044131" y="288131"/>
                  </a:lnTo>
                  <a:lnTo>
                    <a:pt x="1040797" y="286893"/>
                  </a:lnTo>
                  <a:lnTo>
                    <a:pt x="1042226" y="285179"/>
                  </a:lnTo>
                  <a:lnTo>
                    <a:pt x="1038415" y="280797"/>
                  </a:lnTo>
                  <a:lnTo>
                    <a:pt x="1044511" y="278416"/>
                  </a:lnTo>
                  <a:lnTo>
                    <a:pt x="1050036" y="284131"/>
                  </a:lnTo>
                  <a:lnTo>
                    <a:pt x="1054227" y="278797"/>
                  </a:lnTo>
                  <a:lnTo>
                    <a:pt x="1061942" y="276225"/>
                  </a:lnTo>
                  <a:lnTo>
                    <a:pt x="1063657" y="277559"/>
                  </a:lnTo>
                  <a:lnTo>
                    <a:pt x="1066800" y="277178"/>
                  </a:lnTo>
                  <a:lnTo>
                    <a:pt x="1065848" y="282131"/>
                  </a:lnTo>
                  <a:lnTo>
                    <a:pt x="1063085" y="285655"/>
                  </a:lnTo>
                  <a:lnTo>
                    <a:pt x="1067657" y="283464"/>
                  </a:lnTo>
                  <a:lnTo>
                    <a:pt x="1069372" y="284893"/>
                  </a:lnTo>
                  <a:lnTo>
                    <a:pt x="1070801" y="283083"/>
                  </a:lnTo>
                  <a:lnTo>
                    <a:pt x="1073944" y="282702"/>
                  </a:lnTo>
                  <a:lnTo>
                    <a:pt x="1082611" y="288036"/>
                  </a:lnTo>
                  <a:lnTo>
                    <a:pt x="1084993" y="294132"/>
                  </a:lnTo>
                  <a:lnTo>
                    <a:pt x="1093280" y="296323"/>
                  </a:lnTo>
                  <a:lnTo>
                    <a:pt x="1095280" y="299276"/>
                  </a:lnTo>
                  <a:lnTo>
                    <a:pt x="1101661" y="298418"/>
                  </a:lnTo>
                  <a:lnTo>
                    <a:pt x="1105376" y="302800"/>
                  </a:lnTo>
                  <a:lnTo>
                    <a:pt x="1106329" y="297847"/>
                  </a:lnTo>
                  <a:lnTo>
                    <a:pt x="1106519" y="299371"/>
                  </a:lnTo>
                  <a:lnTo>
                    <a:pt x="1111282" y="298799"/>
                  </a:lnTo>
                  <a:lnTo>
                    <a:pt x="1118997" y="296228"/>
                  </a:lnTo>
                  <a:lnTo>
                    <a:pt x="1121093" y="287941"/>
                  </a:lnTo>
                  <a:lnTo>
                    <a:pt x="1119950" y="278416"/>
                  </a:lnTo>
                  <a:lnTo>
                    <a:pt x="1122426" y="273272"/>
                  </a:lnTo>
                  <a:lnTo>
                    <a:pt x="1121474" y="265462"/>
                  </a:lnTo>
                  <a:lnTo>
                    <a:pt x="1125760" y="261652"/>
                  </a:lnTo>
                  <a:lnTo>
                    <a:pt x="1123188" y="253937"/>
                  </a:lnTo>
                  <a:lnTo>
                    <a:pt x="1124426" y="250603"/>
                  </a:lnTo>
                  <a:lnTo>
                    <a:pt x="1139190" y="253556"/>
                  </a:lnTo>
                  <a:lnTo>
                    <a:pt x="1143572" y="249746"/>
                  </a:lnTo>
                  <a:lnTo>
                    <a:pt x="1148239" y="249174"/>
                  </a:lnTo>
                  <a:lnTo>
                    <a:pt x="1151192" y="247174"/>
                  </a:lnTo>
                  <a:lnTo>
                    <a:pt x="1158716" y="230219"/>
                  </a:lnTo>
                  <a:lnTo>
                    <a:pt x="1159288" y="222123"/>
                  </a:lnTo>
                  <a:lnTo>
                    <a:pt x="1162050" y="218599"/>
                  </a:lnTo>
                  <a:lnTo>
                    <a:pt x="1168813" y="196882"/>
                  </a:lnTo>
                  <a:lnTo>
                    <a:pt x="1171956" y="183642"/>
                  </a:lnTo>
                  <a:lnTo>
                    <a:pt x="1182243" y="175927"/>
                  </a:lnTo>
                  <a:lnTo>
                    <a:pt x="1182529" y="153353"/>
                  </a:lnTo>
                  <a:lnTo>
                    <a:pt x="1180148" y="147257"/>
                  </a:lnTo>
                  <a:lnTo>
                    <a:pt x="1180148" y="147257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44" name="Volný tvar: obrazec 43">
              <a:extLst>
                <a:ext uri="{FF2B5EF4-FFF2-40B4-BE49-F238E27FC236}">
                  <a16:creationId xmlns:a16="http://schemas.microsoft.com/office/drawing/2014/main" id="{8F8D1EFC-2C1B-CEB1-69FB-2BC52EF0CCC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15107" y="2323813"/>
              <a:ext cx="1029843" cy="845819"/>
            </a:xfrm>
            <a:custGeom>
              <a:avLst/>
              <a:gdLst>
                <a:gd name="connsiteX0" fmla="*/ 1029843 w 1029843"/>
                <a:gd name="connsiteY0" fmla="*/ 713994 h 845819"/>
                <a:gd name="connsiteX1" fmla="*/ 1026319 w 1029843"/>
                <a:gd name="connsiteY1" fmla="*/ 711232 h 845819"/>
                <a:gd name="connsiteX2" fmla="*/ 1024128 w 1029843"/>
                <a:gd name="connsiteY2" fmla="*/ 706660 h 845819"/>
                <a:gd name="connsiteX3" fmla="*/ 1013651 w 1029843"/>
                <a:gd name="connsiteY3" fmla="*/ 699992 h 845819"/>
                <a:gd name="connsiteX4" fmla="*/ 1011079 w 1029843"/>
                <a:gd name="connsiteY4" fmla="*/ 692277 h 845819"/>
                <a:gd name="connsiteX5" fmla="*/ 1010888 w 1029843"/>
                <a:gd name="connsiteY5" fmla="*/ 690753 h 845819"/>
                <a:gd name="connsiteX6" fmla="*/ 1014603 w 1029843"/>
                <a:gd name="connsiteY6" fmla="*/ 682276 h 845819"/>
                <a:gd name="connsiteX7" fmla="*/ 1012412 w 1029843"/>
                <a:gd name="connsiteY7" fmla="*/ 677704 h 845819"/>
                <a:gd name="connsiteX8" fmla="*/ 1009079 w 1029843"/>
                <a:gd name="connsiteY8" fmla="*/ 676561 h 845819"/>
                <a:gd name="connsiteX9" fmla="*/ 1010222 w 1029843"/>
                <a:gd name="connsiteY9" fmla="*/ 673132 h 845819"/>
                <a:gd name="connsiteX10" fmla="*/ 1007650 w 1029843"/>
                <a:gd name="connsiteY10" fmla="*/ 665512 h 845819"/>
                <a:gd name="connsiteX11" fmla="*/ 1008602 w 1029843"/>
                <a:gd name="connsiteY11" fmla="*/ 660559 h 845819"/>
                <a:gd name="connsiteX12" fmla="*/ 1008031 w 1029843"/>
                <a:gd name="connsiteY12" fmla="*/ 655796 h 845819"/>
                <a:gd name="connsiteX13" fmla="*/ 1010984 w 1029843"/>
                <a:gd name="connsiteY13" fmla="*/ 653796 h 845819"/>
                <a:gd name="connsiteX14" fmla="*/ 1012126 w 1029843"/>
                <a:gd name="connsiteY14" fmla="*/ 650462 h 845819"/>
                <a:gd name="connsiteX15" fmla="*/ 1009555 w 1029843"/>
                <a:gd name="connsiteY15" fmla="*/ 642747 h 845819"/>
                <a:gd name="connsiteX16" fmla="*/ 1006412 w 1029843"/>
                <a:gd name="connsiteY16" fmla="*/ 643223 h 845819"/>
                <a:gd name="connsiteX17" fmla="*/ 1008793 w 1029843"/>
                <a:gd name="connsiteY17" fmla="*/ 636461 h 845819"/>
                <a:gd name="connsiteX18" fmla="*/ 1003649 w 1029843"/>
                <a:gd name="connsiteY18" fmla="*/ 633889 h 845819"/>
                <a:gd name="connsiteX19" fmla="*/ 1002601 w 1029843"/>
                <a:gd name="connsiteY19" fmla="*/ 625983 h 845819"/>
                <a:gd name="connsiteX20" fmla="*/ 995458 w 1029843"/>
                <a:gd name="connsiteY20" fmla="*/ 620554 h 845819"/>
                <a:gd name="connsiteX21" fmla="*/ 994886 w 1029843"/>
                <a:gd name="connsiteY21" fmla="*/ 615791 h 845819"/>
                <a:gd name="connsiteX22" fmla="*/ 988600 w 1029843"/>
                <a:gd name="connsiteY22" fmla="*/ 616553 h 845819"/>
                <a:gd name="connsiteX23" fmla="*/ 983647 w 1029843"/>
                <a:gd name="connsiteY23" fmla="*/ 615601 h 845819"/>
                <a:gd name="connsiteX24" fmla="*/ 977551 w 1029843"/>
                <a:gd name="connsiteY24" fmla="*/ 605123 h 845819"/>
                <a:gd name="connsiteX25" fmla="*/ 978503 w 1029843"/>
                <a:gd name="connsiteY25" fmla="*/ 600265 h 845819"/>
                <a:gd name="connsiteX26" fmla="*/ 973550 w 1029843"/>
                <a:gd name="connsiteY26" fmla="*/ 599218 h 845819"/>
                <a:gd name="connsiteX27" fmla="*/ 972502 w 1029843"/>
                <a:gd name="connsiteY27" fmla="*/ 591407 h 845819"/>
                <a:gd name="connsiteX28" fmla="*/ 969169 w 1029843"/>
                <a:gd name="connsiteY28" fmla="*/ 590169 h 845819"/>
                <a:gd name="connsiteX29" fmla="*/ 964406 w 1029843"/>
                <a:gd name="connsiteY29" fmla="*/ 590836 h 845819"/>
                <a:gd name="connsiteX30" fmla="*/ 962501 w 1029843"/>
                <a:gd name="connsiteY30" fmla="*/ 587788 h 845819"/>
                <a:gd name="connsiteX31" fmla="*/ 960692 w 1029843"/>
                <a:gd name="connsiteY31" fmla="*/ 586454 h 845819"/>
                <a:gd name="connsiteX32" fmla="*/ 960120 w 1029843"/>
                <a:gd name="connsiteY32" fmla="*/ 581692 h 845819"/>
                <a:gd name="connsiteX33" fmla="*/ 953167 w 1029843"/>
                <a:gd name="connsiteY33" fmla="*/ 577786 h 845819"/>
                <a:gd name="connsiteX34" fmla="*/ 952595 w 1029843"/>
                <a:gd name="connsiteY34" fmla="*/ 573024 h 845819"/>
                <a:gd name="connsiteX35" fmla="*/ 943070 w 1029843"/>
                <a:gd name="connsiteY35" fmla="*/ 561404 h 845819"/>
                <a:gd name="connsiteX36" fmla="*/ 944213 w 1029843"/>
                <a:gd name="connsiteY36" fmla="*/ 558070 h 845819"/>
                <a:gd name="connsiteX37" fmla="*/ 942023 w 1029843"/>
                <a:gd name="connsiteY37" fmla="*/ 553593 h 845819"/>
                <a:gd name="connsiteX38" fmla="*/ 941642 w 1029843"/>
                <a:gd name="connsiteY38" fmla="*/ 550355 h 845819"/>
                <a:gd name="connsiteX39" fmla="*/ 930783 w 1029843"/>
                <a:gd name="connsiteY39" fmla="*/ 540544 h 845819"/>
                <a:gd name="connsiteX40" fmla="*/ 926401 w 1029843"/>
                <a:gd name="connsiteY40" fmla="*/ 531495 h 845819"/>
                <a:gd name="connsiteX41" fmla="*/ 922687 w 1029843"/>
                <a:gd name="connsiteY41" fmla="*/ 527113 h 845819"/>
                <a:gd name="connsiteX42" fmla="*/ 922020 w 1029843"/>
                <a:gd name="connsiteY42" fmla="*/ 522446 h 845819"/>
                <a:gd name="connsiteX43" fmla="*/ 918305 w 1029843"/>
                <a:gd name="connsiteY43" fmla="*/ 518065 h 845819"/>
                <a:gd name="connsiteX44" fmla="*/ 907256 w 1029843"/>
                <a:gd name="connsiteY44" fmla="*/ 519494 h 845819"/>
                <a:gd name="connsiteX45" fmla="*/ 903923 w 1029843"/>
                <a:gd name="connsiteY45" fmla="*/ 518350 h 845819"/>
                <a:gd name="connsiteX46" fmla="*/ 900970 w 1029843"/>
                <a:gd name="connsiteY46" fmla="*/ 520255 h 845819"/>
                <a:gd name="connsiteX47" fmla="*/ 899732 w 1029843"/>
                <a:gd name="connsiteY47" fmla="*/ 523684 h 845819"/>
                <a:gd name="connsiteX48" fmla="*/ 896588 w 1029843"/>
                <a:gd name="connsiteY48" fmla="*/ 524065 h 845819"/>
                <a:gd name="connsiteX49" fmla="*/ 885730 w 1029843"/>
                <a:gd name="connsiteY49" fmla="*/ 514255 h 845819"/>
                <a:gd name="connsiteX50" fmla="*/ 878776 w 1029843"/>
                <a:gd name="connsiteY50" fmla="*/ 497491 h 845819"/>
                <a:gd name="connsiteX51" fmla="*/ 869728 w 1029843"/>
                <a:gd name="connsiteY51" fmla="*/ 489013 h 845819"/>
                <a:gd name="connsiteX52" fmla="*/ 869251 w 1029843"/>
                <a:gd name="connsiteY52" fmla="*/ 485870 h 845819"/>
                <a:gd name="connsiteX53" fmla="*/ 873443 w 1029843"/>
                <a:gd name="connsiteY53" fmla="*/ 480536 h 845819"/>
                <a:gd name="connsiteX54" fmla="*/ 871061 w 1029843"/>
                <a:gd name="connsiteY54" fmla="*/ 474440 h 845819"/>
                <a:gd name="connsiteX55" fmla="*/ 873824 w 1029843"/>
                <a:gd name="connsiteY55" fmla="*/ 470821 h 845819"/>
                <a:gd name="connsiteX56" fmla="*/ 869823 w 1029843"/>
                <a:gd name="connsiteY56" fmla="*/ 464915 h 845819"/>
                <a:gd name="connsiteX57" fmla="*/ 869061 w 1029843"/>
                <a:gd name="connsiteY57" fmla="*/ 458629 h 845819"/>
                <a:gd name="connsiteX58" fmla="*/ 867061 w 1029843"/>
                <a:gd name="connsiteY58" fmla="*/ 455676 h 845819"/>
                <a:gd name="connsiteX59" fmla="*/ 862489 w 1029843"/>
                <a:gd name="connsiteY59" fmla="*/ 457867 h 845819"/>
                <a:gd name="connsiteX60" fmla="*/ 858965 w 1029843"/>
                <a:gd name="connsiteY60" fmla="*/ 455105 h 845819"/>
                <a:gd name="connsiteX61" fmla="*/ 852868 w 1029843"/>
                <a:gd name="connsiteY61" fmla="*/ 457486 h 845819"/>
                <a:gd name="connsiteX62" fmla="*/ 844391 w 1029843"/>
                <a:gd name="connsiteY62" fmla="*/ 453771 h 845819"/>
                <a:gd name="connsiteX63" fmla="*/ 838200 w 1029843"/>
                <a:gd name="connsiteY63" fmla="*/ 456152 h 845819"/>
                <a:gd name="connsiteX64" fmla="*/ 831342 w 1029843"/>
                <a:gd name="connsiteY64" fmla="*/ 452152 h 845819"/>
                <a:gd name="connsiteX65" fmla="*/ 829723 w 1029843"/>
                <a:gd name="connsiteY65" fmla="*/ 452438 h 845819"/>
                <a:gd name="connsiteX66" fmla="*/ 825246 w 1029843"/>
                <a:gd name="connsiteY66" fmla="*/ 454533 h 845819"/>
                <a:gd name="connsiteX67" fmla="*/ 821531 w 1029843"/>
                <a:gd name="connsiteY67" fmla="*/ 463105 h 845819"/>
                <a:gd name="connsiteX68" fmla="*/ 821912 w 1029843"/>
                <a:gd name="connsiteY68" fmla="*/ 466249 h 845819"/>
                <a:gd name="connsiteX69" fmla="*/ 816007 w 1029843"/>
                <a:gd name="connsiteY69" fmla="*/ 470154 h 845819"/>
                <a:gd name="connsiteX70" fmla="*/ 811244 w 1029843"/>
                <a:gd name="connsiteY70" fmla="*/ 470821 h 845819"/>
                <a:gd name="connsiteX71" fmla="*/ 809816 w 1029843"/>
                <a:gd name="connsiteY71" fmla="*/ 459772 h 845819"/>
                <a:gd name="connsiteX72" fmla="*/ 802672 w 1029843"/>
                <a:gd name="connsiteY72" fmla="*/ 454247 h 845819"/>
                <a:gd name="connsiteX73" fmla="*/ 803720 w 1029843"/>
                <a:gd name="connsiteY73" fmla="*/ 449294 h 845819"/>
                <a:gd name="connsiteX74" fmla="*/ 801148 w 1029843"/>
                <a:gd name="connsiteY74" fmla="*/ 441579 h 845819"/>
                <a:gd name="connsiteX75" fmla="*/ 799148 w 1029843"/>
                <a:gd name="connsiteY75" fmla="*/ 438626 h 845819"/>
                <a:gd name="connsiteX76" fmla="*/ 789623 w 1029843"/>
                <a:gd name="connsiteY76" fmla="*/ 439865 h 845819"/>
                <a:gd name="connsiteX77" fmla="*/ 789242 w 1029843"/>
                <a:gd name="connsiteY77" fmla="*/ 436721 h 845819"/>
                <a:gd name="connsiteX78" fmla="*/ 792956 w 1029843"/>
                <a:gd name="connsiteY78" fmla="*/ 428244 h 845819"/>
                <a:gd name="connsiteX79" fmla="*/ 791242 w 1029843"/>
                <a:gd name="connsiteY79" fmla="*/ 426815 h 845819"/>
                <a:gd name="connsiteX80" fmla="*/ 784289 w 1029843"/>
                <a:gd name="connsiteY80" fmla="*/ 422910 h 845819"/>
                <a:gd name="connsiteX81" fmla="*/ 783717 w 1029843"/>
                <a:gd name="connsiteY81" fmla="*/ 418148 h 845819"/>
                <a:gd name="connsiteX82" fmla="*/ 778764 w 1029843"/>
                <a:gd name="connsiteY82" fmla="*/ 417195 h 845819"/>
                <a:gd name="connsiteX83" fmla="*/ 771620 w 1029843"/>
                <a:gd name="connsiteY83" fmla="*/ 424529 h 845819"/>
                <a:gd name="connsiteX84" fmla="*/ 763143 w 1029843"/>
                <a:gd name="connsiteY84" fmla="*/ 420815 h 845819"/>
                <a:gd name="connsiteX85" fmla="*/ 765715 w 1029843"/>
                <a:gd name="connsiteY85" fmla="*/ 415671 h 845819"/>
                <a:gd name="connsiteX86" fmla="*/ 760762 w 1029843"/>
                <a:gd name="connsiteY86" fmla="*/ 401860 h 845819"/>
                <a:gd name="connsiteX87" fmla="*/ 757238 w 1029843"/>
                <a:gd name="connsiteY87" fmla="*/ 399098 h 845819"/>
                <a:gd name="connsiteX88" fmla="*/ 752475 w 1029843"/>
                <a:gd name="connsiteY88" fmla="*/ 399669 h 845819"/>
                <a:gd name="connsiteX89" fmla="*/ 751904 w 1029843"/>
                <a:gd name="connsiteY89" fmla="*/ 395002 h 845819"/>
                <a:gd name="connsiteX90" fmla="*/ 753237 w 1029843"/>
                <a:gd name="connsiteY90" fmla="*/ 393192 h 845819"/>
                <a:gd name="connsiteX91" fmla="*/ 755618 w 1029843"/>
                <a:gd name="connsiteY91" fmla="*/ 386429 h 845819"/>
                <a:gd name="connsiteX92" fmla="*/ 759524 w 1029843"/>
                <a:gd name="connsiteY92" fmla="*/ 379571 h 845819"/>
                <a:gd name="connsiteX93" fmla="*/ 762286 w 1029843"/>
                <a:gd name="connsiteY93" fmla="*/ 375952 h 845819"/>
                <a:gd name="connsiteX94" fmla="*/ 763619 w 1029843"/>
                <a:gd name="connsiteY94" fmla="*/ 374237 h 845819"/>
                <a:gd name="connsiteX95" fmla="*/ 768382 w 1029843"/>
                <a:gd name="connsiteY95" fmla="*/ 373571 h 845819"/>
                <a:gd name="connsiteX96" fmla="*/ 768953 w 1029843"/>
                <a:gd name="connsiteY96" fmla="*/ 378333 h 845819"/>
                <a:gd name="connsiteX97" fmla="*/ 771334 w 1029843"/>
                <a:gd name="connsiteY97" fmla="*/ 384429 h 845819"/>
                <a:gd name="connsiteX98" fmla="*/ 777716 w 1029843"/>
                <a:gd name="connsiteY98" fmla="*/ 383667 h 845819"/>
                <a:gd name="connsiteX99" fmla="*/ 778478 w 1029843"/>
                <a:gd name="connsiteY99" fmla="*/ 377095 h 845819"/>
                <a:gd name="connsiteX100" fmla="*/ 776097 w 1029843"/>
                <a:gd name="connsiteY100" fmla="*/ 370999 h 845819"/>
                <a:gd name="connsiteX101" fmla="*/ 772477 w 1029843"/>
                <a:gd name="connsiteY101" fmla="*/ 368236 h 845819"/>
                <a:gd name="connsiteX102" fmla="*/ 769144 w 1029843"/>
                <a:gd name="connsiteY102" fmla="*/ 367094 h 845819"/>
                <a:gd name="connsiteX103" fmla="*/ 772097 w 1029843"/>
                <a:gd name="connsiteY103" fmla="*/ 365093 h 845819"/>
                <a:gd name="connsiteX104" fmla="*/ 780002 w 1029843"/>
                <a:gd name="connsiteY104" fmla="*/ 364141 h 845819"/>
                <a:gd name="connsiteX105" fmla="*/ 777621 w 1029843"/>
                <a:gd name="connsiteY105" fmla="*/ 358045 h 845819"/>
                <a:gd name="connsiteX106" fmla="*/ 785908 w 1029843"/>
                <a:gd name="connsiteY106" fmla="*/ 360140 h 845819"/>
                <a:gd name="connsiteX107" fmla="*/ 793433 w 1029843"/>
                <a:gd name="connsiteY107" fmla="*/ 355949 h 845819"/>
                <a:gd name="connsiteX108" fmla="*/ 789242 w 1029843"/>
                <a:gd name="connsiteY108" fmla="*/ 348520 h 845819"/>
                <a:gd name="connsiteX109" fmla="*/ 796576 w 1029843"/>
                <a:gd name="connsiteY109" fmla="*/ 342805 h 845819"/>
                <a:gd name="connsiteX110" fmla="*/ 799719 w 1029843"/>
                <a:gd name="connsiteY110" fmla="*/ 342329 h 845819"/>
                <a:gd name="connsiteX111" fmla="*/ 803243 w 1029843"/>
                <a:gd name="connsiteY111" fmla="*/ 345091 h 845819"/>
                <a:gd name="connsiteX112" fmla="*/ 806387 w 1029843"/>
                <a:gd name="connsiteY112" fmla="*/ 344710 h 845819"/>
                <a:gd name="connsiteX113" fmla="*/ 802481 w 1029843"/>
                <a:gd name="connsiteY113" fmla="*/ 338804 h 845819"/>
                <a:gd name="connsiteX114" fmla="*/ 803815 w 1029843"/>
                <a:gd name="connsiteY114" fmla="*/ 336994 h 845819"/>
                <a:gd name="connsiteX115" fmla="*/ 805815 w 1029843"/>
                <a:gd name="connsiteY115" fmla="*/ 339947 h 845819"/>
                <a:gd name="connsiteX116" fmla="*/ 812483 w 1029843"/>
                <a:gd name="connsiteY116" fmla="*/ 342329 h 845819"/>
                <a:gd name="connsiteX117" fmla="*/ 815435 w 1029843"/>
                <a:gd name="connsiteY117" fmla="*/ 340328 h 845819"/>
                <a:gd name="connsiteX118" fmla="*/ 819055 w 1029843"/>
                <a:gd name="connsiteY118" fmla="*/ 343090 h 845819"/>
                <a:gd name="connsiteX119" fmla="*/ 824293 w 1029843"/>
                <a:gd name="connsiteY119" fmla="*/ 334423 h 845819"/>
                <a:gd name="connsiteX120" fmla="*/ 823722 w 1029843"/>
                <a:gd name="connsiteY120" fmla="*/ 329660 h 845819"/>
                <a:gd name="connsiteX121" fmla="*/ 829818 w 1029843"/>
                <a:gd name="connsiteY121" fmla="*/ 327279 h 845819"/>
                <a:gd name="connsiteX122" fmla="*/ 831247 w 1029843"/>
                <a:gd name="connsiteY122" fmla="*/ 325469 h 845819"/>
                <a:gd name="connsiteX123" fmla="*/ 828389 w 1029843"/>
                <a:gd name="connsiteY123" fmla="*/ 316230 h 845819"/>
                <a:gd name="connsiteX124" fmla="*/ 829627 w 1029843"/>
                <a:gd name="connsiteY124" fmla="*/ 312896 h 845819"/>
                <a:gd name="connsiteX125" fmla="*/ 835724 w 1029843"/>
                <a:gd name="connsiteY125" fmla="*/ 310515 h 845819"/>
                <a:gd name="connsiteX126" fmla="*/ 837343 w 1029843"/>
                <a:gd name="connsiteY126" fmla="*/ 310325 h 845819"/>
                <a:gd name="connsiteX127" fmla="*/ 844201 w 1029843"/>
                <a:gd name="connsiteY127" fmla="*/ 314230 h 845819"/>
                <a:gd name="connsiteX128" fmla="*/ 846201 w 1029843"/>
                <a:gd name="connsiteY128" fmla="*/ 317182 h 845819"/>
                <a:gd name="connsiteX129" fmla="*/ 853345 w 1029843"/>
                <a:gd name="connsiteY129" fmla="*/ 322707 h 845819"/>
                <a:gd name="connsiteX130" fmla="*/ 863727 w 1029843"/>
                <a:gd name="connsiteY130" fmla="*/ 316516 h 845819"/>
                <a:gd name="connsiteX131" fmla="*/ 872776 w 1029843"/>
                <a:gd name="connsiteY131" fmla="*/ 299371 h 845819"/>
                <a:gd name="connsiteX132" fmla="*/ 881825 w 1029843"/>
                <a:gd name="connsiteY132" fmla="*/ 294989 h 845819"/>
                <a:gd name="connsiteX133" fmla="*/ 891921 w 1029843"/>
                <a:gd name="connsiteY133" fmla="*/ 285750 h 845819"/>
                <a:gd name="connsiteX134" fmla="*/ 891540 w 1029843"/>
                <a:gd name="connsiteY134" fmla="*/ 282511 h 845819"/>
                <a:gd name="connsiteX135" fmla="*/ 889540 w 1029843"/>
                <a:gd name="connsiteY135" fmla="*/ 279559 h 845819"/>
                <a:gd name="connsiteX136" fmla="*/ 891064 w 1029843"/>
                <a:gd name="connsiteY136" fmla="*/ 279368 h 845819"/>
                <a:gd name="connsiteX137" fmla="*/ 881825 w 1029843"/>
                <a:gd name="connsiteY137" fmla="*/ 269367 h 845819"/>
                <a:gd name="connsiteX138" fmla="*/ 888111 w 1029843"/>
                <a:gd name="connsiteY138" fmla="*/ 268510 h 845819"/>
                <a:gd name="connsiteX139" fmla="*/ 898589 w 1029843"/>
                <a:gd name="connsiteY139" fmla="*/ 262414 h 845819"/>
                <a:gd name="connsiteX140" fmla="*/ 898970 w 1029843"/>
                <a:gd name="connsiteY140" fmla="*/ 252698 h 845819"/>
                <a:gd name="connsiteX141" fmla="*/ 892778 w 1029843"/>
                <a:gd name="connsiteY141" fmla="*/ 242316 h 845819"/>
                <a:gd name="connsiteX142" fmla="*/ 893921 w 1029843"/>
                <a:gd name="connsiteY142" fmla="*/ 238982 h 845819"/>
                <a:gd name="connsiteX143" fmla="*/ 903637 w 1029843"/>
                <a:gd name="connsiteY143" fmla="*/ 239268 h 845819"/>
                <a:gd name="connsiteX144" fmla="*/ 908209 w 1029843"/>
                <a:gd name="connsiteY144" fmla="*/ 237172 h 845819"/>
                <a:gd name="connsiteX145" fmla="*/ 921163 w 1029843"/>
                <a:gd name="connsiteY145" fmla="*/ 225838 h 845819"/>
                <a:gd name="connsiteX146" fmla="*/ 920401 w 1029843"/>
                <a:gd name="connsiteY146" fmla="*/ 219551 h 845819"/>
                <a:gd name="connsiteX147" fmla="*/ 917734 w 1029843"/>
                <a:gd name="connsiteY147" fmla="*/ 211836 h 845819"/>
                <a:gd name="connsiteX148" fmla="*/ 908685 w 1029843"/>
                <a:gd name="connsiteY148" fmla="*/ 203359 h 845819"/>
                <a:gd name="connsiteX149" fmla="*/ 906113 w 1029843"/>
                <a:gd name="connsiteY149" fmla="*/ 195739 h 845819"/>
                <a:gd name="connsiteX150" fmla="*/ 897446 w 1029843"/>
                <a:gd name="connsiteY150" fmla="*/ 190405 h 845819"/>
                <a:gd name="connsiteX151" fmla="*/ 893445 w 1029843"/>
                <a:gd name="connsiteY151" fmla="*/ 184499 h 845819"/>
                <a:gd name="connsiteX152" fmla="*/ 885158 w 1029843"/>
                <a:gd name="connsiteY152" fmla="*/ 182309 h 845819"/>
                <a:gd name="connsiteX153" fmla="*/ 875252 w 1029843"/>
                <a:gd name="connsiteY153" fmla="*/ 167545 h 845819"/>
                <a:gd name="connsiteX154" fmla="*/ 874395 w 1029843"/>
                <a:gd name="connsiteY154" fmla="*/ 161258 h 845819"/>
                <a:gd name="connsiteX155" fmla="*/ 872871 w 1029843"/>
                <a:gd name="connsiteY155" fmla="*/ 161449 h 845819"/>
                <a:gd name="connsiteX156" fmla="*/ 869728 w 1029843"/>
                <a:gd name="connsiteY156" fmla="*/ 161830 h 845819"/>
                <a:gd name="connsiteX157" fmla="*/ 867727 w 1029843"/>
                <a:gd name="connsiteY157" fmla="*/ 158877 h 845819"/>
                <a:gd name="connsiteX158" fmla="*/ 863156 w 1029843"/>
                <a:gd name="connsiteY158" fmla="*/ 148209 h 845819"/>
                <a:gd name="connsiteX159" fmla="*/ 855250 w 1029843"/>
                <a:gd name="connsiteY159" fmla="*/ 149257 h 845819"/>
                <a:gd name="connsiteX160" fmla="*/ 854678 w 1029843"/>
                <a:gd name="connsiteY160" fmla="*/ 144494 h 845819"/>
                <a:gd name="connsiteX161" fmla="*/ 848297 w 1029843"/>
                <a:gd name="connsiteY161" fmla="*/ 132493 h 845819"/>
                <a:gd name="connsiteX162" fmla="*/ 834866 w 1029843"/>
                <a:gd name="connsiteY162" fmla="*/ 127825 h 845819"/>
                <a:gd name="connsiteX163" fmla="*/ 828580 w 1029843"/>
                <a:gd name="connsiteY163" fmla="*/ 128588 h 845819"/>
                <a:gd name="connsiteX164" fmla="*/ 824675 w 1029843"/>
                <a:gd name="connsiteY164" fmla="*/ 135541 h 845819"/>
                <a:gd name="connsiteX165" fmla="*/ 818102 w 1029843"/>
                <a:gd name="connsiteY165" fmla="*/ 134779 h 845819"/>
                <a:gd name="connsiteX166" fmla="*/ 806863 w 1029843"/>
                <a:gd name="connsiteY166" fmla="*/ 134588 h 845819"/>
                <a:gd name="connsiteX167" fmla="*/ 805720 w 1029843"/>
                <a:gd name="connsiteY167" fmla="*/ 125063 h 845819"/>
                <a:gd name="connsiteX168" fmla="*/ 804101 w 1029843"/>
                <a:gd name="connsiteY168" fmla="*/ 125254 h 845819"/>
                <a:gd name="connsiteX169" fmla="*/ 800957 w 1029843"/>
                <a:gd name="connsiteY169" fmla="*/ 125730 h 845819"/>
                <a:gd name="connsiteX170" fmla="*/ 792861 w 1029843"/>
                <a:gd name="connsiteY170" fmla="*/ 125158 h 845819"/>
                <a:gd name="connsiteX171" fmla="*/ 789908 w 1029843"/>
                <a:gd name="connsiteY171" fmla="*/ 127064 h 845819"/>
                <a:gd name="connsiteX172" fmla="*/ 774859 w 1029843"/>
                <a:gd name="connsiteY172" fmla="*/ 122587 h 845819"/>
                <a:gd name="connsiteX173" fmla="*/ 771716 w 1029843"/>
                <a:gd name="connsiteY173" fmla="*/ 122968 h 845819"/>
                <a:gd name="connsiteX174" fmla="*/ 763524 w 1029843"/>
                <a:gd name="connsiteY174" fmla="*/ 146494 h 845819"/>
                <a:gd name="connsiteX175" fmla="*/ 765143 w 1029843"/>
                <a:gd name="connsiteY175" fmla="*/ 159163 h 845819"/>
                <a:gd name="connsiteX176" fmla="*/ 763524 w 1029843"/>
                <a:gd name="connsiteY176" fmla="*/ 159353 h 845819"/>
                <a:gd name="connsiteX177" fmla="*/ 765524 w 1029843"/>
                <a:gd name="connsiteY177" fmla="*/ 162306 h 845819"/>
                <a:gd name="connsiteX178" fmla="*/ 762952 w 1029843"/>
                <a:gd name="connsiteY178" fmla="*/ 167449 h 845819"/>
                <a:gd name="connsiteX179" fmla="*/ 747141 w 1029843"/>
                <a:gd name="connsiteY179" fmla="*/ 169450 h 845819"/>
                <a:gd name="connsiteX180" fmla="*/ 741235 w 1029843"/>
                <a:gd name="connsiteY180" fmla="*/ 173355 h 845819"/>
                <a:gd name="connsiteX181" fmla="*/ 736092 w 1029843"/>
                <a:gd name="connsiteY181" fmla="*/ 170878 h 845819"/>
                <a:gd name="connsiteX182" fmla="*/ 737711 w 1029843"/>
                <a:gd name="connsiteY182" fmla="*/ 170593 h 845819"/>
                <a:gd name="connsiteX183" fmla="*/ 734759 w 1029843"/>
                <a:gd name="connsiteY183" fmla="*/ 159829 h 845819"/>
                <a:gd name="connsiteX184" fmla="*/ 730568 w 1029843"/>
                <a:gd name="connsiteY184" fmla="*/ 152305 h 845819"/>
                <a:gd name="connsiteX185" fmla="*/ 714947 w 1029843"/>
                <a:gd name="connsiteY185" fmla="*/ 143066 h 845819"/>
                <a:gd name="connsiteX186" fmla="*/ 707231 w 1029843"/>
                <a:gd name="connsiteY186" fmla="*/ 145637 h 845819"/>
                <a:gd name="connsiteX187" fmla="*/ 704850 w 1029843"/>
                <a:gd name="connsiteY187" fmla="*/ 139541 h 845819"/>
                <a:gd name="connsiteX188" fmla="*/ 701516 w 1029843"/>
                <a:gd name="connsiteY188" fmla="*/ 138398 h 845819"/>
                <a:gd name="connsiteX189" fmla="*/ 699516 w 1029843"/>
                <a:gd name="connsiteY189" fmla="*/ 135445 h 845819"/>
                <a:gd name="connsiteX190" fmla="*/ 691706 w 1029843"/>
                <a:gd name="connsiteY190" fmla="*/ 136398 h 845819"/>
                <a:gd name="connsiteX191" fmla="*/ 688086 w 1029843"/>
                <a:gd name="connsiteY191" fmla="*/ 133636 h 845819"/>
                <a:gd name="connsiteX192" fmla="*/ 681800 w 1029843"/>
                <a:gd name="connsiteY192" fmla="*/ 134493 h 845819"/>
                <a:gd name="connsiteX193" fmla="*/ 679609 w 1029843"/>
                <a:gd name="connsiteY193" fmla="*/ 142780 h 845819"/>
                <a:gd name="connsiteX194" fmla="*/ 676656 w 1029843"/>
                <a:gd name="connsiteY194" fmla="*/ 144780 h 845819"/>
                <a:gd name="connsiteX195" fmla="*/ 673513 w 1029843"/>
                <a:gd name="connsiteY195" fmla="*/ 145161 h 845819"/>
                <a:gd name="connsiteX196" fmla="*/ 672560 w 1029843"/>
                <a:gd name="connsiteY196" fmla="*/ 150114 h 845819"/>
                <a:gd name="connsiteX197" fmla="*/ 664083 w 1029843"/>
                <a:gd name="connsiteY197" fmla="*/ 159163 h 845819"/>
                <a:gd name="connsiteX198" fmla="*/ 659321 w 1029843"/>
                <a:gd name="connsiteY198" fmla="*/ 159734 h 845819"/>
                <a:gd name="connsiteX199" fmla="*/ 659797 w 1029843"/>
                <a:gd name="connsiteY199" fmla="*/ 162973 h 845819"/>
                <a:gd name="connsiteX200" fmla="*/ 655606 w 1029843"/>
                <a:gd name="connsiteY200" fmla="*/ 168307 h 845819"/>
                <a:gd name="connsiteX201" fmla="*/ 653129 w 1029843"/>
                <a:gd name="connsiteY201" fmla="*/ 186214 h 845819"/>
                <a:gd name="connsiteX202" fmla="*/ 653510 w 1029843"/>
                <a:gd name="connsiteY202" fmla="*/ 189357 h 845819"/>
                <a:gd name="connsiteX203" fmla="*/ 652367 w 1029843"/>
                <a:gd name="connsiteY203" fmla="*/ 192786 h 845819"/>
                <a:gd name="connsiteX204" fmla="*/ 642271 w 1029843"/>
                <a:gd name="connsiteY204" fmla="*/ 189167 h 845819"/>
                <a:gd name="connsiteX205" fmla="*/ 631603 w 1029843"/>
                <a:gd name="connsiteY205" fmla="*/ 206597 h 845819"/>
                <a:gd name="connsiteX206" fmla="*/ 626269 w 1029843"/>
                <a:gd name="connsiteY206" fmla="*/ 202501 h 845819"/>
                <a:gd name="connsiteX207" fmla="*/ 624364 w 1029843"/>
                <a:gd name="connsiteY207" fmla="*/ 199549 h 845819"/>
                <a:gd name="connsiteX208" fmla="*/ 619411 w 1029843"/>
                <a:gd name="connsiteY208" fmla="*/ 198596 h 845819"/>
                <a:gd name="connsiteX209" fmla="*/ 609124 w 1029843"/>
                <a:gd name="connsiteY209" fmla="*/ 193453 h 845819"/>
                <a:gd name="connsiteX210" fmla="*/ 605600 w 1029843"/>
                <a:gd name="connsiteY210" fmla="*/ 190691 h 845819"/>
                <a:gd name="connsiteX211" fmla="*/ 605123 w 1029843"/>
                <a:gd name="connsiteY211" fmla="*/ 187547 h 845819"/>
                <a:gd name="connsiteX212" fmla="*/ 610648 w 1029843"/>
                <a:gd name="connsiteY212" fmla="*/ 180403 h 845819"/>
                <a:gd name="connsiteX213" fmla="*/ 618363 w 1029843"/>
                <a:gd name="connsiteY213" fmla="*/ 177832 h 845819"/>
                <a:gd name="connsiteX214" fmla="*/ 628555 w 1029843"/>
                <a:gd name="connsiteY214" fmla="*/ 170117 h 845819"/>
                <a:gd name="connsiteX215" fmla="*/ 626650 w 1029843"/>
                <a:gd name="connsiteY215" fmla="*/ 167164 h 845819"/>
                <a:gd name="connsiteX216" fmla="*/ 618363 w 1029843"/>
                <a:gd name="connsiteY216" fmla="*/ 164973 h 845819"/>
                <a:gd name="connsiteX217" fmla="*/ 617125 w 1029843"/>
                <a:gd name="connsiteY217" fmla="*/ 155543 h 845819"/>
                <a:gd name="connsiteX218" fmla="*/ 613791 w 1029843"/>
                <a:gd name="connsiteY218" fmla="*/ 154400 h 845819"/>
                <a:gd name="connsiteX219" fmla="*/ 616268 w 1029843"/>
                <a:gd name="connsiteY219" fmla="*/ 149257 h 845819"/>
                <a:gd name="connsiteX220" fmla="*/ 614743 w 1029843"/>
                <a:gd name="connsiteY220" fmla="*/ 136589 h 845819"/>
                <a:gd name="connsiteX221" fmla="*/ 612076 w 1029843"/>
                <a:gd name="connsiteY221" fmla="*/ 128873 h 845819"/>
                <a:gd name="connsiteX222" fmla="*/ 612934 w 1029843"/>
                <a:gd name="connsiteY222" fmla="*/ 122396 h 845819"/>
                <a:gd name="connsiteX223" fmla="*/ 609505 w 1029843"/>
                <a:gd name="connsiteY223" fmla="*/ 121253 h 845819"/>
                <a:gd name="connsiteX224" fmla="*/ 605600 w 1029843"/>
                <a:gd name="connsiteY224" fmla="*/ 115348 h 845819"/>
                <a:gd name="connsiteX225" fmla="*/ 606552 w 1029843"/>
                <a:gd name="connsiteY225" fmla="*/ 110395 h 845819"/>
                <a:gd name="connsiteX226" fmla="*/ 606171 w 1029843"/>
                <a:gd name="connsiteY226" fmla="*/ 107251 h 845819"/>
                <a:gd name="connsiteX227" fmla="*/ 587597 w 1029843"/>
                <a:gd name="connsiteY227" fmla="*/ 99917 h 845819"/>
                <a:gd name="connsiteX228" fmla="*/ 578072 w 1029843"/>
                <a:gd name="connsiteY228" fmla="*/ 101155 h 845819"/>
                <a:gd name="connsiteX229" fmla="*/ 576739 w 1029843"/>
                <a:gd name="connsiteY229" fmla="*/ 102965 h 845819"/>
                <a:gd name="connsiteX230" fmla="*/ 572452 w 1029843"/>
                <a:gd name="connsiteY230" fmla="*/ 106680 h 845819"/>
                <a:gd name="connsiteX231" fmla="*/ 565880 w 1029843"/>
                <a:gd name="connsiteY231" fmla="*/ 105918 h 845819"/>
                <a:gd name="connsiteX232" fmla="*/ 563309 w 1029843"/>
                <a:gd name="connsiteY232" fmla="*/ 111062 h 845819"/>
                <a:gd name="connsiteX233" fmla="*/ 556641 w 1029843"/>
                <a:gd name="connsiteY233" fmla="*/ 108680 h 845819"/>
                <a:gd name="connsiteX234" fmla="*/ 549116 w 1029843"/>
                <a:gd name="connsiteY234" fmla="*/ 112871 h 845819"/>
                <a:gd name="connsiteX235" fmla="*/ 533972 w 1029843"/>
                <a:gd name="connsiteY235" fmla="*/ 119634 h 845819"/>
                <a:gd name="connsiteX236" fmla="*/ 533019 w 1029843"/>
                <a:gd name="connsiteY236" fmla="*/ 124587 h 845819"/>
                <a:gd name="connsiteX237" fmla="*/ 517970 w 1029843"/>
                <a:gd name="connsiteY237" fmla="*/ 120015 h 845819"/>
                <a:gd name="connsiteX238" fmla="*/ 518732 w 1029843"/>
                <a:gd name="connsiteY238" fmla="*/ 113538 h 845819"/>
                <a:gd name="connsiteX239" fmla="*/ 518160 w 1029843"/>
                <a:gd name="connsiteY239" fmla="*/ 108775 h 845819"/>
                <a:gd name="connsiteX240" fmla="*/ 514731 w 1029843"/>
                <a:gd name="connsiteY240" fmla="*/ 94774 h 845819"/>
                <a:gd name="connsiteX241" fmla="*/ 511016 w 1029843"/>
                <a:gd name="connsiteY241" fmla="*/ 90488 h 845819"/>
                <a:gd name="connsiteX242" fmla="*/ 509778 w 1029843"/>
                <a:gd name="connsiteY242" fmla="*/ 80963 h 845819"/>
                <a:gd name="connsiteX243" fmla="*/ 506444 w 1029843"/>
                <a:gd name="connsiteY243" fmla="*/ 79819 h 845819"/>
                <a:gd name="connsiteX244" fmla="*/ 498539 w 1029843"/>
                <a:gd name="connsiteY244" fmla="*/ 68008 h 845819"/>
                <a:gd name="connsiteX245" fmla="*/ 494538 w 1029843"/>
                <a:gd name="connsiteY245" fmla="*/ 62103 h 845819"/>
                <a:gd name="connsiteX246" fmla="*/ 496634 w 1029843"/>
                <a:gd name="connsiteY246" fmla="*/ 40957 h 845819"/>
                <a:gd name="connsiteX247" fmla="*/ 487966 w 1029843"/>
                <a:gd name="connsiteY247" fmla="*/ 35623 h 845819"/>
                <a:gd name="connsiteX248" fmla="*/ 485394 w 1029843"/>
                <a:gd name="connsiteY248" fmla="*/ 28003 h 845819"/>
                <a:gd name="connsiteX249" fmla="*/ 466630 w 1029843"/>
                <a:gd name="connsiteY249" fmla="*/ 32004 h 845819"/>
                <a:gd name="connsiteX250" fmla="*/ 465677 w 1029843"/>
                <a:gd name="connsiteY250" fmla="*/ 36862 h 845819"/>
                <a:gd name="connsiteX251" fmla="*/ 459962 w 1029843"/>
                <a:gd name="connsiteY251" fmla="*/ 42481 h 845819"/>
                <a:gd name="connsiteX252" fmla="*/ 446913 w 1029843"/>
                <a:gd name="connsiteY252" fmla="*/ 40862 h 845819"/>
                <a:gd name="connsiteX253" fmla="*/ 436340 w 1029843"/>
                <a:gd name="connsiteY253" fmla="*/ 45434 h 845819"/>
                <a:gd name="connsiteX254" fmla="*/ 431959 w 1029843"/>
                <a:gd name="connsiteY254" fmla="*/ 49244 h 845819"/>
                <a:gd name="connsiteX255" fmla="*/ 430435 w 1029843"/>
                <a:gd name="connsiteY255" fmla="*/ 49435 h 845819"/>
                <a:gd name="connsiteX256" fmla="*/ 420148 w 1029843"/>
                <a:gd name="connsiteY256" fmla="*/ 44291 h 845819"/>
                <a:gd name="connsiteX257" fmla="*/ 409289 w 1029843"/>
                <a:gd name="connsiteY257" fmla="*/ 47339 h 845819"/>
                <a:gd name="connsiteX258" fmla="*/ 404336 w 1029843"/>
                <a:gd name="connsiteY258" fmla="*/ 46292 h 845819"/>
                <a:gd name="connsiteX259" fmla="*/ 397383 w 1029843"/>
                <a:gd name="connsiteY259" fmla="*/ 42386 h 845819"/>
                <a:gd name="connsiteX260" fmla="*/ 394621 w 1029843"/>
                <a:gd name="connsiteY260" fmla="*/ 33147 h 845819"/>
                <a:gd name="connsiteX261" fmla="*/ 390906 w 1029843"/>
                <a:gd name="connsiteY261" fmla="*/ 28766 h 845819"/>
                <a:gd name="connsiteX262" fmla="*/ 382619 w 1029843"/>
                <a:gd name="connsiteY262" fmla="*/ 26670 h 845819"/>
                <a:gd name="connsiteX263" fmla="*/ 377285 w 1029843"/>
                <a:gd name="connsiteY263" fmla="*/ 22479 h 845819"/>
                <a:gd name="connsiteX264" fmla="*/ 369189 w 1029843"/>
                <a:gd name="connsiteY264" fmla="*/ 21907 h 845819"/>
                <a:gd name="connsiteX265" fmla="*/ 350996 w 1029843"/>
                <a:gd name="connsiteY265" fmla="*/ 17812 h 845819"/>
                <a:gd name="connsiteX266" fmla="*/ 348043 w 1029843"/>
                <a:gd name="connsiteY266" fmla="*/ 6953 h 845819"/>
                <a:gd name="connsiteX267" fmla="*/ 337947 w 1029843"/>
                <a:gd name="connsiteY267" fmla="*/ 3429 h 845819"/>
                <a:gd name="connsiteX268" fmla="*/ 321564 w 1029843"/>
                <a:gd name="connsiteY268" fmla="*/ 762 h 845819"/>
                <a:gd name="connsiteX269" fmla="*/ 309372 w 1029843"/>
                <a:gd name="connsiteY269" fmla="*/ 5524 h 845819"/>
                <a:gd name="connsiteX270" fmla="*/ 302228 w 1029843"/>
                <a:gd name="connsiteY270" fmla="*/ 0 h 845819"/>
                <a:gd name="connsiteX271" fmla="*/ 292703 w 1029843"/>
                <a:gd name="connsiteY271" fmla="*/ 1238 h 845819"/>
                <a:gd name="connsiteX272" fmla="*/ 292989 w 1029843"/>
                <a:gd name="connsiteY272" fmla="*/ 15621 h 845819"/>
                <a:gd name="connsiteX273" fmla="*/ 293942 w 1029843"/>
                <a:gd name="connsiteY273" fmla="*/ 23527 h 845819"/>
                <a:gd name="connsiteX274" fmla="*/ 297942 w 1029843"/>
                <a:gd name="connsiteY274" fmla="*/ 29432 h 845819"/>
                <a:gd name="connsiteX275" fmla="*/ 313754 w 1029843"/>
                <a:gd name="connsiteY275" fmla="*/ 40195 h 845819"/>
                <a:gd name="connsiteX276" fmla="*/ 318325 w 1029843"/>
                <a:gd name="connsiteY276" fmla="*/ 50864 h 845819"/>
                <a:gd name="connsiteX277" fmla="*/ 316135 w 1029843"/>
                <a:gd name="connsiteY277" fmla="*/ 59150 h 845819"/>
                <a:gd name="connsiteX278" fmla="*/ 308324 w 1029843"/>
                <a:gd name="connsiteY278" fmla="*/ 72962 h 845819"/>
                <a:gd name="connsiteX279" fmla="*/ 307086 w 1029843"/>
                <a:gd name="connsiteY279" fmla="*/ 76391 h 845819"/>
                <a:gd name="connsiteX280" fmla="*/ 314230 w 1029843"/>
                <a:gd name="connsiteY280" fmla="*/ 81820 h 845819"/>
                <a:gd name="connsiteX281" fmla="*/ 312706 w 1029843"/>
                <a:gd name="connsiteY281" fmla="*/ 94869 h 845819"/>
                <a:gd name="connsiteX282" fmla="*/ 314706 w 1029843"/>
                <a:gd name="connsiteY282" fmla="*/ 97822 h 845819"/>
                <a:gd name="connsiteX283" fmla="*/ 311182 w 1029843"/>
                <a:gd name="connsiteY283" fmla="*/ 107918 h 845819"/>
                <a:gd name="connsiteX284" fmla="*/ 311753 w 1029843"/>
                <a:gd name="connsiteY284" fmla="*/ 112681 h 845819"/>
                <a:gd name="connsiteX285" fmla="*/ 313563 w 1029843"/>
                <a:gd name="connsiteY285" fmla="*/ 114014 h 845819"/>
                <a:gd name="connsiteX286" fmla="*/ 319945 w 1029843"/>
                <a:gd name="connsiteY286" fmla="*/ 138874 h 845819"/>
                <a:gd name="connsiteX287" fmla="*/ 326993 w 1029843"/>
                <a:gd name="connsiteY287" fmla="*/ 144399 h 845819"/>
                <a:gd name="connsiteX288" fmla="*/ 319945 w 1029843"/>
                <a:gd name="connsiteY288" fmla="*/ 151733 h 845819"/>
                <a:gd name="connsiteX289" fmla="*/ 314801 w 1029843"/>
                <a:gd name="connsiteY289" fmla="*/ 161925 h 845819"/>
                <a:gd name="connsiteX290" fmla="*/ 314992 w 1029843"/>
                <a:gd name="connsiteY290" fmla="*/ 163544 h 845819"/>
                <a:gd name="connsiteX291" fmla="*/ 325469 w 1029843"/>
                <a:gd name="connsiteY291" fmla="*/ 170212 h 845819"/>
                <a:gd name="connsiteX292" fmla="*/ 329660 w 1029843"/>
                <a:gd name="connsiteY292" fmla="*/ 177737 h 845819"/>
                <a:gd name="connsiteX293" fmla="*/ 330518 w 1029843"/>
                <a:gd name="connsiteY293" fmla="*/ 184023 h 845819"/>
                <a:gd name="connsiteX294" fmla="*/ 339185 w 1029843"/>
                <a:gd name="connsiteY294" fmla="*/ 189357 h 845819"/>
                <a:gd name="connsiteX295" fmla="*/ 333470 w 1029843"/>
                <a:gd name="connsiteY295" fmla="*/ 194881 h 845819"/>
                <a:gd name="connsiteX296" fmla="*/ 326803 w 1029843"/>
                <a:gd name="connsiteY296" fmla="*/ 205359 h 845819"/>
                <a:gd name="connsiteX297" fmla="*/ 328994 w 1029843"/>
                <a:gd name="connsiteY297" fmla="*/ 209931 h 845819"/>
                <a:gd name="connsiteX298" fmla="*/ 318516 w 1029843"/>
                <a:gd name="connsiteY298" fmla="*/ 228886 h 845819"/>
                <a:gd name="connsiteX299" fmla="*/ 325660 w 1029843"/>
                <a:gd name="connsiteY299" fmla="*/ 234315 h 845819"/>
                <a:gd name="connsiteX300" fmla="*/ 335375 w 1029843"/>
                <a:gd name="connsiteY300" fmla="*/ 234696 h 845819"/>
                <a:gd name="connsiteX301" fmla="*/ 332804 w 1029843"/>
                <a:gd name="connsiteY301" fmla="*/ 239840 h 845819"/>
                <a:gd name="connsiteX302" fmla="*/ 328232 w 1029843"/>
                <a:gd name="connsiteY302" fmla="*/ 242030 h 845819"/>
                <a:gd name="connsiteX303" fmla="*/ 339281 w 1029843"/>
                <a:gd name="connsiteY303" fmla="*/ 253460 h 845819"/>
                <a:gd name="connsiteX304" fmla="*/ 334423 w 1029843"/>
                <a:gd name="connsiteY304" fmla="*/ 252508 h 845819"/>
                <a:gd name="connsiteX305" fmla="*/ 334613 w 1029843"/>
                <a:gd name="connsiteY305" fmla="*/ 254032 h 845819"/>
                <a:gd name="connsiteX306" fmla="*/ 341090 w 1029843"/>
                <a:gd name="connsiteY306" fmla="*/ 254889 h 845819"/>
                <a:gd name="connsiteX307" fmla="*/ 343472 w 1029843"/>
                <a:gd name="connsiteY307" fmla="*/ 260985 h 845819"/>
                <a:gd name="connsiteX308" fmla="*/ 348806 w 1029843"/>
                <a:gd name="connsiteY308" fmla="*/ 265081 h 845819"/>
                <a:gd name="connsiteX309" fmla="*/ 349187 w 1029843"/>
                <a:gd name="connsiteY309" fmla="*/ 268224 h 845819"/>
                <a:gd name="connsiteX310" fmla="*/ 352806 w 1029843"/>
                <a:gd name="connsiteY310" fmla="*/ 270986 h 845819"/>
                <a:gd name="connsiteX311" fmla="*/ 356997 w 1029843"/>
                <a:gd name="connsiteY311" fmla="*/ 278511 h 845819"/>
                <a:gd name="connsiteX312" fmla="*/ 358521 w 1029843"/>
                <a:gd name="connsiteY312" fmla="*/ 278320 h 845819"/>
                <a:gd name="connsiteX313" fmla="*/ 359283 w 1029843"/>
                <a:gd name="connsiteY313" fmla="*/ 284607 h 845819"/>
                <a:gd name="connsiteX314" fmla="*/ 363284 w 1029843"/>
                <a:gd name="connsiteY314" fmla="*/ 290513 h 845819"/>
                <a:gd name="connsiteX315" fmla="*/ 362141 w 1029843"/>
                <a:gd name="connsiteY315" fmla="*/ 293846 h 845819"/>
                <a:gd name="connsiteX316" fmla="*/ 340043 w 1029843"/>
                <a:gd name="connsiteY316" fmla="*/ 296704 h 845819"/>
                <a:gd name="connsiteX317" fmla="*/ 335471 w 1029843"/>
                <a:gd name="connsiteY317" fmla="*/ 298894 h 845819"/>
                <a:gd name="connsiteX318" fmla="*/ 334137 w 1029843"/>
                <a:gd name="connsiteY318" fmla="*/ 300609 h 845819"/>
                <a:gd name="connsiteX319" fmla="*/ 331946 w 1029843"/>
                <a:gd name="connsiteY319" fmla="*/ 296132 h 845819"/>
                <a:gd name="connsiteX320" fmla="*/ 329184 w 1029843"/>
                <a:gd name="connsiteY320" fmla="*/ 299657 h 845819"/>
                <a:gd name="connsiteX321" fmla="*/ 331184 w 1029843"/>
                <a:gd name="connsiteY321" fmla="*/ 302609 h 845819"/>
                <a:gd name="connsiteX322" fmla="*/ 328041 w 1029843"/>
                <a:gd name="connsiteY322" fmla="*/ 302990 h 845819"/>
                <a:gd name="connsiteX323" fmla="*/ 326803 w 1029843"/>
                <a:gd name="connsiteY323" fmla="*/ 293561 h 845819"/>
                <a:gd name="connsiteX324" fmla="*/ 323660 w 1029843"/>
                <a:gd name="connsiteY324" fmla="*/ 293942 h 845819"/>
                <a:gd name="connsiteX325" fmla="*/ 323850 w 1029843"/>
                <a:gd name="connsiteY325" fmla="*/ 295561 h 845819"/>
                <a:gd name="connsiteX326" fmla="*/ 320516 w 1029843"/>
                <a:gd name="connsiteY326" fmla="*/ 294323 h 845819"/>
                <a:gd name="connsiteX327" fmla="*/ 320040 w 1029843"/>
                <a:gd name="connsiteY327" fmla="*/ 291179 h 845819"/>
                <a:gd name="connsiteX328" fmla="*/ 318707 w 1029843"/>
                <a:gd name="connsiteY328" fmla="*/ 292989 h 845819"/>
                <a:gd name="connsiteX329" fmla="*/ 318325 w 1029843"/>
                <a:gd name="connsiteY329" fmla="*/ 289846 h 845819"/>
                <a:gd name="connsiteX330" fmla="*/ 316706 w 1029843"/>
                <a:gd name="connsiteY330" fmla="*/ 290036 h 845819"/>
                <a:gd name="connsiteX331" fmla="*/ 310801 w 1029843"/>
                <a:gd name="connsiteY331" fmla="*/ 293942 h 845819"/>
                <a:gd name="connsiteX332" fmla="*/ 309277 w 1029843"/>
                <a:gd name="connsiteY332" fmla="*/ 294227 h 845819"/>
                <a:gd name="connsiteX333" fmla="*/ 304705 w 1029843"/>
                <a:gd name="connsiteY333" fmla="*/ 296323 h 845819"/>
                <a:gd name="connsiteX334" fmla="*/ 301371 w 1029843"/>
                <a:gd name="connsiteY334" fmla="*/ 295180 h 845819"/>
                <a:gd name="connsiteX335" fmla="*/ 302324 w 1029843"/>
                <a:gd name="connsiteY335" fmla="*/ 303086 h 845819"/>
                <a:gd name="connsiteX336" fmla="*/ 294418 w 1029843"/>
                <a:gd name="connsiteY336" fmla="*/ 304133 h 845819"/>
                <a:gd name="connsiteX337" fmla="*/ 292227 w 1029843"/>
                <a:gd name="connsiteY337" fmla="*/ 299561 h 845819"/>
                <a:gd name="connsiteX338" fmla="*/ 287750 w 1029843"/>
                <a:gd name="connsiteY338" fmla="*/ 301752 h 845819"/>
                <a:gd name="connsiteX339" fmla="*/ 285750 w 1029843"/>
                <a:gd name="connsiteY339" fmla="*/ 298799 h 845819"/>
                <a:gd name="connsiteX340" fmla="*/ 279464 w 1029843"/>
                <a:gd name="connsiteY340" fmla="*/ 299561 h 845819"/>
                <a:gd name="connsiteX341" fmla="*/ 278606 w 1029843"/>
                <a:gd name="connsiteY341" fmla="*/ 293275 h 845819"/>
                <a:gd name="connsiteX342" fmla="*/ 267557 w 1029843"/>
                <a:gd name="connsiteY342" fmla="*/ 281845 h 845819"/>
                <a:gd name="connsiteX343" fmla="*/ 268319 w 1029843"/>
                <a:gd name="connsiteY343" fmla="*/ 275368 h 845819"/>
                <a:gd name="connsiteX344" fmla="*/ 270129 w 1029843"/>
                <a:gd name="connsiteY344" fmla="*/ 276701 h 845819"/>
                <a:gd name="connsiteX345" fmla="*/ 269748 w 1029843"/>
                <a:gd name="connsiteY345" fmla="*/ 273558 h 845819"/>
                <a:gd name="connsiteX346" fmla="*/ 267748 w 1029843"/>
                <a:gd name="connsiteY346" fmla="*/ 270605 h 845819"/>
                <a:gd name="connsiteX347" fmla="*/ 254318 w 1029843"/>
                <a:gd name="connsiteY347" fmla="*/ 265938 h 845819"/>
                <a:gd name="connsiteX348" fmla="*/ 254889 w 1029843"/>
                <a:gd name="connsiteY348" fmla="*/ 270605 h 845819"/>
                <a:gd name="connsiteX349" fmla="*/ 256508 w 1029843"/>
                <a:gd name="connsiteY349" fmla="*/ 270415 h 845819"/>
                <a:gd name="connsiteX350" fmla="*/ 253746 w 1029843"/>
                <a:gd name="connsiteY350" fmla="*/ 274034 h 845819"/>
                <a:gd name="connsiteX351" fmla="*/ 257461 w 1029843"/>
                <a:gd name="connsiteY351" fmla="*/ 278320 h 845819"/>
                <a:gd name="connsiteX352" fmla="*/ 256508 w 1029843"/>
                <a:gd name="connsiteY352" fmla="*/ 283273 h 845819"/>
                <a:gd name="connsiteX353" fmla="*/ 254699 w 1029843"/>
                <a:gd name="connsiteY353" fmla="*/ 281845 h 845819"/>
                <a:gd name="connsiteX354" fmla="*/ 253365 w 1029843"/>
                <a:gd name="connsiteY354" fmla="*/ 283655 h 845819"/>
                <a:gd name="connsiteX355" fmla="*/ 248031 w 1029843"/>
                <a:gd name="connsiteY355" fmla="*/ 279559 h 845819"/>
                <a:gd name="connsiteX356" fmla="*/ 247841 w 1029843"/>
                <a:gd name="connsiteY356" fmla="*/ 290798 h 845819"/>
                <a:gd name="connsiteX357" fmla="*/ 240125 w 1029843"/>
                <a:gd name="connsiteY357" fmla="*/ 293370 h 845819"/>
                <a:gd name="connsiteX358" fmla="*/ 238411 w 1029843"/>
                <a:gd name="connsiteY358" fmla="*/ 292036 h 845819"/>
                <a:gd name="connsiteX359" fmla="*/ 229076 w 1029843"/>
                <a:gd name="connsiteY359" fmla="*/ 294799 h 845819"/>
                <a:gd name="connsiteX360" fmla="*/ 228124 w 1029843"/>
                <a:gd name="connsiteY360" fmla="*/ 299752 h 845819"/>
                <a:gd name="connsiteX361" fmla="*/ 226790 w 1029843"/>
                <a:gd name="connsiteY361" fmla="*/ 301466 h 845819"/>
                <a:gd name="connsiteX362" fmla="*/ 230505 w 1029843"/>
                <a:gd name="connsiteY362" fmla="*/ 305848 h 845819"/>
                <a:gd name="connsiteX363" fmla="*/ 231743 w 1029843"/>
                <a:gd name="connsiteY363" fmla="*/ 315278 h 845819"/>
                <a:gd name="connsiteX364" fmla="*/ 238697 w 1029843"/>
                <a:gd name="connsiteY364" fmla="*/ 319183 h 845819"/>
                <a:gd name="connsiteX365" fmla="*/ 237649 w 1029843"/>
                <a:gd name="connsiteY365" fmla="*/ 324136 h 845819"/>
                <a:gd name="connsiteX366" fmla="*/ 232982 w 1029843"/>
                <a:gd name="connsiteY366" fmla="*/ 324803 h 845819"/>
                <a:gd name="connsiteX367" fmla="*/ 234887 w 1029843"/>
                <a:gd name="connsiteY367" fmla="*/ 327755 h 845819"/>
                <a:gd name="connsiteX368" fmla="*/ 232124 w 1029843"/>
                <a:gd name="connsiteY368" fmla="*/ 331280 h 845819"/>
                <a:gd name="connsiteX369" fmla="*/ 231172 w 1029843"/>
                <a:gd name="connsiteY369" fmla="*/ 336232 h 845819"/>
                <a:gd name="connsiteX370" fmla="*/ 226219 w 1029843"/>
                <a:gd name="connsiteY370" fmla="*/ 335280 h 845819"/>
                <a:gd name="connsiteX371" fmla="*/ 223838 w 1029843"/>
                <a:gd name="connsiteY371" fmla="*/ 329089 h 845819"/>
                <a:gd name="connsiteX372" fmla="*/ 220885 w 1029843"/>
                <a:gd name="connsiteY372" fmla="*/ 331089 h 845819"/>
                <a:gd name="connsiteX373" fmla="*/ 218123 w 1029843"/>
                <a:gd name="connsiteY373" fmla="*/ 334709 h 845819"/>
                <a:gd name="connsiteX374" fmla="*/ 221933 w 1029843"/>
                <a:gd name="connsiteY374" fmla="*/ 338995 h 845819"/>
                <a:gd name="connsiteX375" fmla="*/ 222123 w 1029843"/>
                <a:gd name="connsiteY375" fmla="*/ 340614 h 845819"/>
                <a:gd name="connsiteX376" fmla="*/ 218789 w 1029843"/>
                <a:gd name="connsiteY376" fmla="*/ 339376 h 845819"/>
                <a:gd name="connsiteX377" fmla="*/ 218980 w 1029843"/>
                <a:gd name="connsiteY377" fmla="*/ 340995 h 845819"/>
                <a:gd name="connsiteX378" fmla="*/ 213836 w 1029843"/>
                <a:gd name="connsiteY378" fmla="*/ 338423 h 845819"/>
                <a:gd name="connsiteX379" fmla="*/ 212693 w 1029843"/>
                <a:gd name="connsiteY379" fmla="*/ 341757 h 845819"/>
                <a:gd name="connsiteX380" fmla="*/ 207740 w 1029843"/>
                <a:gd name="connsiteY380" fmla="*/ 340805 h 845819"/>
                <a:gd name="connsiteX381" fmla="*/ 203168 w 1029843"/>
                <a:gd name="connsiteY381" fmla="*/ 342995 h 845819"/>
                <a:gd name="connsiteX382" fmla="*/ 196691 w 1029843"/>
                <a:gd name="connsiteY382" fmla="*/ 342233 h 845819"/>
                <a:gd name="connsiteX383" fmla="*/ 196025 w 1029843"/>
                <a:gd name="connsiteY383" fmla="*/ 337471 h 845819"/>
                <a:gd name="connsiteX384" fmla="*/ 192691 w 1029843"/>
                <a:gd name="connsiteY384" fmla="*/ 336328 h 845819"/>
                <a:gd name="connsiteX385" fmla="*/ 195834 w 1029843"/>
                <a:gd name="connsiteY385" fmla="*/ 335947 h 845819"/>
                <a:gd name="connsiteX386" fmla="*/ 195453 w 1029843"/>
                <a:gd name="connsiteY386" fmla="*/ 332708 h 845819"/>
                <a:gd name="connsiteX387" fmla="*/ 190691 w 1029843"/>
                <a:gd name="connsiteY387" fmla="*/ 333375 h 845819"/>
                <a:gd name="connsiteX388" fmla="*/ 188786 w 1029843"/>
                <a:gd name="connsiteY388" fmla="*/ 330422 h 845819"/>
                <a:gd name="connsiteX389" fmla="*/ 196882 w 1029843"/>
                <a:gd name="connsiteY389" fmla="*/ 330994 h 845819"/>
                <a:gd name="connsiteX390" fmla="*/ 196596 w 1029843"/>
                <a:gd name="connsiteY390" fmla="*/ 329375 h 845819"/>
                <a:gd name="connsiteX391" fmla="*/ 193262 w 1029843"/>
                <a:gd name="connsiteY391" fmla="*/ 328232 h 845819"/>
                <a:gd name="connsiteX392" fmla="*/ 191072 w 1029843"/>
                <a:gd name="connsiteY392" fmla="*/ 323659 h 845819"/>
                <a:gd name="connsiteX393" fmla="*/ 194215 w 1029843"/>
                <a:gd name="connsiteY393" fmla="*/ 323279 h 845819"/>
                <a:gd name="connsiteX394" fmla="*/ 190119 w 1029843"/>
                <a:gd name="connsiteY394" fmla="*/ 315754 h 845819"/>
                <a:gd name="connsiteX395" fmla="*/ 191262 w 1029843"/>
                <a:gd name="connsiteY395" fmla="*/ 312420 h 845819"/>
                <a:gd name="connsiteX396" fmla="*/ 187928 w 1029843"/>
                <a:gd name="connsiteY396" fmla="*/ 311277 h 845819"/>
                <a:gd name="connsiteX397" fmla="*/ 182023 w 1029843"/>
                <a:gd name="connsiteY397" fmla="*/ 315182 h 845819"/>
                <a:gd name="connsiteX398" fmla="*/ 181832 w 1029843"/>
                <a:gd name="connsiteY398" fmla="*/ 326422 h 845819"/>
                <a:gd name="connsiteX399" fmla="*/ 174879 w 1029843"/>
                <a:gd name="connsiteY399" fmla="*/ 322517 h 845819"/>
                <a:gd name="connsiteX400" fmla="*/ 172784 w 1029843"/>
                <a:gd name="connsiteY400" fmla="*/ 318040 h 845819"/>
                <a:gd name="connsiteX401" fmla="*/ 166021 w 1029843"/>
                <a:gd name="connsiteY401" fmla="*/ 315659 h 845819"/>
                <a:gd name="connsiteX402" fmla="*/ 164402 w 1029843"/>
                <a:gd name="connsiteY402" fmla="*/ 315849 h 845819"/>
                <a:gd name="connsiteX403" fmla="*/ 160306 w 1029843"/>
                <a:gd name="connsiteY403" fmla="*/ 308324 h 845819"/>
                <a:gd name="connsiteX404" fmla="*/ 161449 w 1029843"/>
                <a:gd name="connsiteY404" fmla="*/ 304990 h 845819"/>
                <a:gd name="connsiteX405" fmla="*/ 153162 w 1029843"/>
                <a:gd name="connsiteY405" fmla="*/ 302895 h 845819"/>
                <a:gd name="connsiteX406" fmla="*/ 152019 w 1029843"/>
                <a:gd name="connsiteY406" fmla="*/ 306229 h 845819"/>
                <a:gd name="connsiteX407" fmla="*/ 150400 w 1029843"/>
                <a:gd name="connsiteY407" fmla="*/ 306419 h 845819"/>
                <a:gd name="connsiteX408" fmla="*/ 148209 w 1029843"/>
                <a:gd name="connsiteY408" fmla="*/ 301847 h 845819"/>
                <a:gd name="connsiteX409" fmla="*/ 144113 w 1029843"/>
                <a:gd name="connsiteY409" fmla="*/ 307181 h 845819"/>
                <a:gd name="connsiteX410" fmla="*/ 142113 w 1029843"/>
                <a:gd name="connsiteY410" fmla="*/ 304229 h 845819"/>
                <a:gd name="connsiteX411" fmla="*/ 133826 w 1029843"/>
                <a:gd name="connsiteY411" fmla="*/ 302133 h 845819"/>
                <a:gd name="connsiteX412" fmla="*/ 134969 w 1029843"/>
                <a:gd name="connsiteY412" fmla="*/ 298704 h 845819"/>
                <a:gd name="connsiteX413" fmla="*/ 126302 w 1029843"/>
                <a:gd name="connsiteY413" fmla="*/ 293465 h 845819"/>
                <a:gd name="connsiteX414" fmla="*/ 124968 w 1029843"/>
                <a:gd name="connsiteY414" fmla="*/ 295180 h 845819"/>
                <a:gd name="connsiteX415" fmla="*/ 121349 w 1029843"/>
                <a:gd name="connsiteY415" fmla="*/ 292513 h 845819"/>
                <a:gd name="connsiteX416" fmla="*/ 116681 w 1029843"/>
                <a:gd name="connsiteY416" fmla="*/ 293084 h 845819"/>
                <a:gd name="connsiteX417" fmla="*/ 115253 w 1029843"/>
                <a:gd name="connsiteY417" fmla="*/ 294894 h 845819"/>
                <a:gd name="connsiteX418" fmla="*/ 111538 w 1029843"/>
                <a:gd name="connsiteY418" fmla="*/ 290513 h 845819"/>
                <a:gd name="connsiteX419" fmla="*/ 110300 w 1029843"/>
                <a:gd name="connsiteY419" fmla="*/ 293846 h 845819"/>
                <a:gd name="connsiteX420" fmla="*/ 107156 w 1029843"/>
                <a:gd name="connsiteY420" fmla="*/ 294323 h 845819"/>
                <a:gd name="connsiteX421" fmla="*/ 106013 w 1029843"/>
                <a:gd name="connsiteY421" fmla="*/ 297656 h 845819"/>
                <a:gd name="connsiteX422" fmla="*/ 104394 w 1029843"/>
                <a:gd name="connsiteY422" fmla="*/ 297847 h 845819"/>
                <a:gd name="connsiteX423" fmla="*/ 101632 w 1029843"/>
                <a:gd name="connsiteY423" fmla="*/ 301371 h 845819"/>
                <a:gd name="connsiteX424" fmla="*/ 103442 w 1029843"/>
                <a:gd name="connsiteY424" fmla="*/ 302800 h 845819"/>
                <a:gd name="connsiteX425" fmla="*/ 95726 w 1029843"/>
                <a:gd name="connsiteY425" fmla="*/ 305371 h 845819"/>
                <a:gd name="connsiteX426" fmla="*/ 96583 w 1029843"/>
                <a:gd name="connsiteY426" fmla="*/ 311658 h 845819"/>
                <a:gd name="connsiteX427" fmla="*/ 91631 w 1029843"/>
                <a:gd name="connsiteY427" fmla="*/ 310705 h 845819"/>
                <a:gd name="connsiteX428" fmla="*/ 93631 w 1029843"/>
                <a:gd name="connsiteY428" fmla="*/ 313658 h 845819"/>
                <a:gd name="connsiteX429" fmla="*/ 92869 w 1029843"/>
                <a:gd name="connsiteY429" fmla="*/ 320135 h 845819"/>
                <a:gd name="connsiteX430" fmla="*/ 93250 w 1029843"/>
                <a:gd name="connsiteY430" fmla="*/ 323279 h 845819"/>
                <a:gd name="connsiteX431" fmla="*/ 88487 w 1029843"/>
                <a:gd name="connsiteY431" fmla="*/ 323945 h 845819"/>
                <a:gd name="connsiteX432" fmla="*/ 85344 w 1029843"/>
                <a:gd name="connsiteY432" fmla="*/ 324326 h 845819"/>
                <a:gd name="connsiteX433" fmla="*/ 80772 w 1029843"/>
                <a:gd name="connsiteY433" fmla="*/ 326517 h 845819"/>
                <a:gd name="connsiteX434" fmla="*/ 71723 w 1029843"/>
                <a:gd name="connsiteY434" fmla="*/ 318040 h 845819"/>
                <a:gd name="connsiteX435" fmla="*/ 63246 w 1029843"/>
                <a:gd name="connsiteY435" fmla="*/ 314325 h 845819"/>
                <a:gd name="connsiteX436" fmla="*/ 54959 w 1029843"/>
                <a:gd name="connsiteY436" fmla="*/ 312134 h 845819"/>
                <a:gd name="connsiteX437" fmla="*/ 51149 w 1029843"/>
                <a:gd name="connsiteY437" fmla="*/ 307848 h 845819"/>
                <a:gd name="connsiteX438" fmla="*/ 47625 w 1029843"/>
                <a:gd name="connsiteY438" fmla="*/ 305086 h 845819"/>
                <a:gd name="connsiteX439" fmla="*/ 35528 w 1029843"/>
                <a:gd name="connsiteY439" fmla="*/ 298609 h 845819"/>
                <a:gd name="connsiteX440" fmla="*/ 34195 w 1029843"/>
                <a:gd name="connsiteY440" fmla="*/ 300419 h 845819"/>
                <a:gd name="connsiteX441" fmla="*/ 29242 w 1029843"/>
                <a:gd name="connsiteY441" fmla="*/ 299371 h 845819"/>
                <a:gd name="connsiteX442" fmla="*/ 28670 w 1029843"/>
                <a:gd name="connsiteY442" fmla="*/ 294704 h 845819"/>
                <a:gd name="connsiteX443" fmla="*/ 26670 w 1029843"/>
                <a:gd name="connsiteY443" fmla="*/ 291751 h 845819"/>
                <a:gd name="connsiteX444" fmla="*/ 25527 w 1029843"/>
                <a:gd name="connsiteY444" fmla="*/ 295084 h 845819"/>
                <a:gd name="connsiteX445" fmla="*/ 23908 w 1029843"/>
                <a:gd name="connsiteY445" fmla="*/ 295275 h 845819"/>
                <a:gd name="connsiteX446" fmla="*/ 24289 w 1029843"/>
                <a:gd name="connsiteY446" fmla="*/ 298418 h 845819"/>
                <a:gd name="connsiteX447" fmla="*/ 22765 w 1029843"/>
                <a:gd name="connsiteY447" fmla="*/ 298609 h 845819"/>
                <a:gd name="connsiteX448" fmla="*/ 23336 w 1029843"/>
                <a:gd name="connsiteY448" fmla="*/ 303371 h 845819"/>
                <a:gd name="connsiteX449" fmla="*/ 16859 w 1029843"/>
                <a:gd name="connsiteY449" fmla="*/ 302609 h 845819"/>
                <a:gd name="connsiteX450" fmla="*/ 17240 w 1029843"/>
                <a:gd name="connsiteY450" fmla="*/ 305753 h 845819"/>
                <a:gd name="connsiteX451" fmla="*/ 9335 w 1029843"/>
                <a:gd name="connsiteY451" fmla="*/ 306705 h 845819"/>
                <a:gd name="connsiteX452" fmla="*/ 4953 w 1029843"/>
                <a:gd name="connsiteY452" fmla="*/ 310515 h 845819"/>
                <a:gd name="connsiteX453" fmla="*/ 6001 w 1029843"/>
                <a:gd name="connsiteY453" fmla="*/ 318421 h 845819"/>
                <a:gd name="connsiteX454" fmla="*/ 8001 w 1029843"/>
                <a:gd name="connsiteY454" fmla="*/ 321373 h 845819"/>
                <a:gd name="connsiteX455" fmla="*/ 11335 w 1029843"/>
                <a:gd name="connsiteY455" fmla="*/ 322517 h 845819"/>
                <a:gd name="connsiteX456" fmla="*/ 18860 w 1029843"/>
                <a:gd name="connsiteY456" fmla="*/ 331184 h 845819"/>
                <a:gd name="connsiteX457" fmla="*/ 19431 w 1029843"/>
                <a:gd name="connsiteY457" fmla="*/ 335947 h 845819"/>
                <a:gd name="connsiteX458" fmla="*/ 18288 w 1029843"/>
                <a:gd name="connsiteY458" fmla="*/ 339280 h 845819"/>
                <a:gd name="connsiteX459" fmla="*/ 16954 w 1029843"/>
                <a:gd name="connsiteY459" fmla="*/ 341090 h 845819"/>
                <a:gd name="connsiteX460" fmla="*/ 20288 w 1029843"/>
                <a:gd name="connsiteY460" fmla="*/ 342233 h 845819"/>
                <a:gd name="connsiteX461" fmla="*/ 25622 w 1029843"/>
                <a:gd name="connsiteY461" fmla="*/ 346329 h 845819"/>
                <a:gd name="connsiteX462" fmla="*/ 24194 w 1029843"/>
                <a:gd name="connsiteY462" fmla="*/ 348139 h 845819"/>
                <a:gd name="connsiteX463" fmla="*/ 24670 w 1029843"/>
                <a:gd name="connsiteY463" fmla="*/ 351282 h 845819"/>
                <a:gd name="connsiteX464" fmla="*/ 21241 w 1029843"/>
                <a:gd name="connsiteY464" fmla="*/ 350139 h 845819"/>
                <a:gd name="connsiteX465" fmla="*/ 19907 w 1029843"/>
                <a:gd name="connsiteY465" fmla="*/ 351949 h 845819"/>
                <a:gd name="connsiteX466" fmla="*/ 21431 w 1029843"/>
                <a:gd name="connsiteY466" fmla="*/ 351663 h 845819"/>
                <a:gd name="connsiteX467" fmla="*/ 21908 w 1029843"/>
                <a:gd name="connsiteY467" fmla="*/ 354902 h 845819"/>
                <a:gd name="connsiteX468" fmla="*/ 20669 w 1029843"/>
                <a:gd name="connsiteY468" fmla="*/ 358235 h 845819"/>
                <a:gd name="connsiteX469" fmla="*/ 22289 w 1029843"/>
                <a:gd name="connsiteY469" fmla="*/ 358045 h 845819"/>
                <a:gd name="connsiteX470" fmla="*/ 21527 w 1029843"/>
                <a:gd name="connsiteY470" fmla="*/ 364522 h 845819"/>
                <a:gd name="connsiteX471" fmla="*/ 19907 w 1029843"/>
                <a:gd name="connsiteY471" fmla="*/ 364712 h 845819"/>
                <a:gd name="connsiteX472" fmla="*/ 20574 w 1029843"/>
                <a:gd name="connsiteY472" fmla="*/ 369475 h 845819"/>
                <a:gd name="connsiteX473" fmla="*/ 16193 w 1029843"/>
                <a:gd name="connsiteY473" fmla="*/ 373190 h 845819"/>
                <a:gd name="connsiteX474" fmla="*/ 18574 w 1029843"/>
                <a:gd name="connsiteY474" fmla="*/ 379381 h 845819"/>
                <a:gd name="connsiteX475" fmla="*/ 23146 w 1029843"/>
                <a:gd name="connsiteY475" fmla="*/ 377190 h 845819"/>
                <a:gd name="connsiteX476" fmla="*/ 23527 w 1029843"/>
                <a:gd name="connsiteY476" fmla="*/ 380333 h 845819"/>
                <a:gd name="connsiteX477" fmla="*/ 26479 w 1029843"/>
                <a:gd name="connsiteY477" fmla="*/ 378333 h 845819"/>
                <a:gd name="connsiteX478" fmla="*/ 28289 w 1029843"/>
                <a:gd name="connsiteY478" fmla="*/ 379667 h 845819"/>
                <a:gd name="connsiteX479" fmla="*/ 34195 w 1029843"/>
                <a:gd name="connsiteY479" fmla="*/ 388620 h 845819"/>
                <a:gd name="connsiteX480" fmla="*/ 34576 w 1029843"/>
                <a:gd name="connsiteY480" fmla="*/ 391763 h 845819"/>
                <a:gd name="connsiteX481" fmla="*/ 29813 w 1029843"/>
                <a:gd name="connsiteY481" fmla="*/ 392335 h 845819"/>
                <a:gd name="connsiteX482" fmla="*/ 30480 w 1029843"/>
                <a:gd name="connsiteY482" fmla="*/ 397097 h 845819"/>
                <a:gd name="connsiteX483" fmla="*/ 33814 w 1029843"/>
                <a:gd name="connsiteY483" fmla="*/ 398240 h 845819"/>
                <a:gd name="connsiteX484" fmla="*/ 32671 w 1029843"/>
                <a:gd name="connsiteY484" fmla="*/ 401574 h 845819"/>
                <a:gd name="connsiteX485" fmla="*/ 39338 w 1029843"/>
                <a:gd name="connsiteY485" fmla="*/ 403955 h 845819"/>
                <a:gd name="connsiteX486" fmla="*/ 34100 w 1029843"/>
                <a:gd name="connsiteY486" fmla="*/ 425482 h 845819"/>
                <a:gd name="connsiteX487" fmla="*/ 32290 w 1029843"/>
                <a:gd name="connsiteY487" fmla="*/ 424053 h 845819"/>
                <a:gd name="connsiteX488" fmla="*/ 31147 w 1029843"/>
                <a:gd name="connsiteY488" fmla="*/ 427482 h 845819"/>
                <a:gd name="connsiteX489" fmla="*/ 29147 w 1029843"/>
                <a:gd name="connsiteY489" fmla="*/ 424529 h 845819"/>
                <a:gd name="connsiteX490" fmla="*/ 28004 w 1029843"/>
                <a:gd name="connsiteY490" fmla="*/ 427863 h 845819"/>
                <a:gd name="connsiteX491" fmla="*/ 21622 w 1029843"/>
                <a:gd name="connsiteY491" fmla="*/ 428625 h 845819"/>
                <a:gd name="connsiteX492" fmla="*/ 22479 w 1029843"/>
                <a:gd name="connsiteY492" fmla="*/ 435007 h 845819"/>
                <a:gd name="connsiteX493" fmla="*/ 24003 w 1029843"/>
                <a:gd name="connsiteY493" fmla="*/ 434816 h 845819"/>
                <a:gd name="connsiteX494" fmla="*/ 24479 w 1029843"/>
                <a:gd name="connsiteY494" fmla="*/ 437959 h 845819"/>
                <a:gd name="connsiteX495" fmla="*/ 21527 w 1029843"/>
                <a:gd name="connsiteY495" fmla="*/ 439865 h 845819"/>
                <a:gd name="connsiteX496" fmla="*/ 26861 w 1029843"/>
                <a:gd name="connsiteY496" fmla="*/ 444055 h 845819"/>
                <a:gd name="connsiteX497" fmla="*/ 25622 w 1029843"/>
                <a:gd name="connsiteY497" fmla="*/ 447389 h 845819"/>
                <a:gd name="connsiteX498" fmla="*/ 22479 w 1029843"/>
                <a:gd name="connsiteY498" fmla="*/ 447770 h 845819"/>
                <a:gd name="connsiteX499" fmla="*/ 21146 w 1029843"/>
                <a:gd name="connsiteY499" fmla="*/ 449580 h 845819"/>
                <a:gd name="connsiteX500" fmla="*/ 19526 w 1029843"/>
                <a:gd name="connsiteY500" fmla="*/ 449771 h 845819"/>
                <a:gd name="connsiteX501" fmla="*/ 20955 w 1029843"/>
                <a:gd name="connsiteY501" fmla="*/ 447961 h 845819"/>
                <a:gd name="connsiteX502" fmla="*/ 19145 w 1029843"/>
                <a:gd name="connsiteY502" fmla="*/ 446627 h 845819"/>
                <a:gd name="connsiteX503" fmla="*/ 17717 w 1029843"/>
                <a:gd name="connsiteY503" fmla="*/ 448437 h 845819"/>
                <a:gd name="connsiteX504" fmla="*/ 14383 w 1029843"/>
                <a:gd name="connsiteY504" fmla="*/ 447199 h 845819"/>
                <a:gd name="connsiteX505" fmla="*/ 13049 w 1029843"/>
                <a:gd name="connsiteY505" fmla="*/ 449009 h 845819"/>
                <a:gd name="connsiteX506" fmla="*/ 9430 w 1029843"/>
                <a:gd name="connsiteY506" fmla="*/ 446246 h 845819"/>
                <a:gd name="connsiteX507" fmla="*/ 6953 w 1029843"/>
                <a:gd name="connsiteY507" fmla="*/ 451390 h 845819"/>
                <a:gd name="connsiteX508" fmla="*/ 0 w 1029843"/>
                <a:gd name="connsiteY508" fmla="*/ 460248 h 845819"/>
                <a:gd name="connsiteX509" fmla="*/ 5525 w 1029843"/>
                <a:gd name="connsiteY509" fmla="*/ 465963 h 845819"/>
                <a:gd name="connsiteX510" fmla="*/ 9525 w 1029843"/>
                <a:gd name="connsiteY510" fmla="*/ 471869 h 845819"/>
                <a:gd name="connsiteX511" fmla="*/ 12668 w 1029843"/>
                <a:gd name="connsiteY511" fmla="*/ 471488 h 845819"/>
                <a:gd name="connsiteX512" fmla="*/ 18002 w 1029843"/>
                <a:gd name="connsiteY512" fmla="*/ 475679 h 845819"/>
                <a:gd name="connsiteX513" fmla="*/ 16478 w 1029843"/>
                <a:gd name="connsiteY513" fmla="*/ 475869 h 845819"/>
                <a:gd name="connsiteX514" fmla="*/ 12287 w 1029843"/>
                <a:gd name="connsiteY514" fmla="*/ 481203 h 845819"/>
                <a:gd name="connsiteX515" fmla="*/ 15050 w 1029843"/>
                <a:gd name="connsiteY515" fmla="*/ 490442 h 845819"/>
                <a:gd name="connsiteX516" fmla="*/ 17240 w 1029843"/>
                <a:gd name="connsiteY516" fmla="*/ 495014 h 845819"/>
                <a:gd name="connsiteX517" fmla="*/ 20860 w 1029843"/>
                <a:gd name="connsiteY517" fmla="*/ 497681 h 845819"/>
                <a:gd name="connsiteX518" fmla="*/ 27718 w 1029843"/>
                <a:gd name="connsiteY518" fmla="*/ 501682 h 845819"/>
                <a:gd name="connsiteX519" fmla="*/ 34481 w 1029843"/>
                <a:gd name="connsiteY519" fmla="*/ 503968 h 845819"/>
                <a:gd name="connsiteX520" fmla="*/ 37433 w 1029843"/>
                <a:gd name="connsiteY520" fmla="*/ 502063 h 845819"/>
                <a:gd name="connsiteX521" fmla="*/ 42767 w 1029843"/>
                <a:gd name="connsiteY521" fmla="*/ 493300 h 845819"/>
                <a:gd name="connsiteX522" fmla="*/ 46673 w 1029843"/>
                <a:gd name="connsiteY522" fmla="*/ 499205 h 845819"/>
                <a:gd name="connsiteX523" fmla="*/ 55150 w 1029843"/>
                <a:gd name="connsiteY523" fmla="*/ 502920 h 845819"/>
                <a:gd name="connsiteX524" fmla="*/ 58579 w 1029843"/>
                <a:gd name="connsiteY524" fmla="*/ 504158 h 845819"/>
                <a:gd name="connsiteX525" fmla="*/ 57150 w 1029843"/>
                <a:gd name="connsiteY525" fmla="*/ 505968 h 845819"/>
                <a:gd name="connsiteX526" fmla="*/ 55817 w 1029843"/>
                <a:gd name="connsiteY526" fmla="*/ 507682 h 845819"/>
                <a:gd name="connsiteX527" fmla="*/ 54197 w 1029843"/>
                <a:gd name="connsiteY527" fmla="*/ 507873 h 845819"/>
                <a:gd name="connsiteX528" fmla="*/ 53626 w 1029843"/>
                <a:gd name="connsiteY528" fmla="*/ 515969 h 845819"/>
                <a:gd name="connsiteX529" fmla="*/ 56960 w 1029843"/>
                <a:gd name="connsiteY529" fmla="*/ 517207 h 845819"/>
                <a:gd name="connsiteX530" fmla="*/ 61150 w 1029843"/>
                <a:gd name="connsiteY530" fmla="*/ 511873 h 845819"/>
                <a:gd name="connsiteX531" fmla="*/ 62865 w 1029843"/>
                <a:gd name="connsiteY531" fmla="*/ 513207 h 845819"/>
                <a:gd name="connsiteX532" fmla="*/ 63056 w 1029843"/>
                <a:gd name="connsiteY532" fmla="*/ 514826 h 845819"/>
                <a:gd name="connsiteX533" fmla="*/ 67056 w 1029843"/>
                <a:gd name="connsiteY533" fmla="*/ 520732 h 845819"/>
                <a:gd name="connsiteX534" fmla="*/ 68675 w 1029843"/>
                <a:gd name="connsiteY534" fmla="*/ 520541 h 845819"/>
                <a:gd name="connsiteX535" fmla="*/ 70580 w 1029843"/>
                <a:gd name="connsiteY535" fmla="*/ 523494 h 845819"/>
                <a:gd name="connsiteX536" fmla="*/ 73819 w 1029843"/>
                <a:gd name="connsiteY536" fmla="*/ 523018 h 845819"/>
                <a:gd name="connsiteX537" fmla="*/ 77533 w 1029843"/>
                <a:gd name="connsiteY537" fmla="*/ 527399 h 845819"/>
                <a:gd name="connsiteX538" fmla="*/ 78105 w 1029843"/>
                <a:gd name="connsiteY538" fmla="*/ 532162 h 845819"/>
                <a:gd name="connsiteX539" fmla="*/ 74771 w 1029843"/>
                <a:gd name="connsiteY539" fmla="*/ 530924 h 845819"/>
                <a:gd name="connsiteX540" fmla="*/ 68866 w 1029843"/>
                <a:gd name="connsiteY540" fmla="*/ 534924 h 845819"/>
                <a:gd name="connsiteX541" fmla="*/ 69247 w 1029843"/>
                <a:gd name="connsiteY541" fmla="*/ 538067 h 845819"/>
                <a:gd name="connsiteX542" fmla="*/ 72866 w 1029843"/>
                <a:gd name="connsiteY542" fmla="*/ 540830 h 845819"/>
                <a:gd name="connsiteX543" fmla="*/ 73438 w 1029843"/>
                <a:gd name="connsiteY543" fmla="*/ 545592 h 845819"/>
                <a:gd name="connsiteX544" fmla="*/ 70866 w 1029843"/>
                <a:gd name="connsiteY544" fmla="*/ 550640 h 845819"/>
                <a:gd name="connsiteX545" fmla="*/ 74486 w 1029843"/>
                <a:gd name="connsiteY545" fmla="*/ 553403 h 845819"/>
                <a:gd name="connsiteX546" fmla="*/ 84677 w 1029843"/>
                <a:gd name="connsiteY546" fmla="*/ 558546 h 845819"/>
                <a:gd name="connsiteX547" fmla="*/ 85154 w 1029843"/>
                <a:gd name="connsiteY547" fmla="*/ 561689 h 845819"/>
                <a:gd name="connsiteX548" fmla="*/ 86868 w 1029843"/>
                <a:gd name="connsiteY548" fmla="*/ 563118 h 845819"/>
                <a:gd name="connsiteX549" fmla="*/ 88106 w 1029843"/>
                <a:gd name="connsiteY549" fmla="*/ 559689 h 845819"/>
                <a:gd name="connsiteX550" fmla="*/ 89630 w 1029843"/>
                <a:gd name="connsiteY550" fmla="*/ 559499 h 845819"/>
                <a:gd name="connsiteX551" fmla="*/ 90011 w 1029843"/>
                <a:gd name="connsiteY551" fmla="*/ 562642 h 845819"/>
                <a:gd name="connsiteX552" fmla="*/ 91821 w 1029843"/>
                <a:gd name="connsiteY552" fmla="*/ 564071 h 845819"/>
                <a:gd name="connsiteX553" fmla="*/ 93250 w 1029843"/>
                <a:gd name="connsiteY553" fmla="*/ 562261 h 845819"/>
                <a:gd name="connsiteX554" fmla="*/ 94774 w 1029843"/>
                <a:gd name="connsiteY554" fmla="*/ 562070 h 845819"/>
                <a:gd name="connsiteX555" fmla="*/ 94393 w 1029843"/>
                <a:gd name="connsiteY555" fmla="*/ 558927 h 845819"/>
                <a:gd name="connsiteX556" fmla="*/ 104013 w 1029843"/>
                <a:gd name="connsiteY556" fmla="*/ 559308 h 845819"/>
                <a:gd name="connsiteX557" fmla="*/ 108204 w 1029843"/>
                <a:gd name="connsiteY557" fmla="*/ 553974 h 845819"/>
                <a:gd name="connsiteX558" fmla="*/ 111347 w 1029843"/>
                <a:gd name="connsiteY558" fmla="*/ 553593 h 845819"/>
                <a:gd name="connsiteX559" fmla="*/ 113157 w 1029843"/>
                <a:gd name="connsiteY559" fmla="*/ 554927 h 845819"/>
                <a:gd name="connsiteX560" fmla="*/ 113348 w 1029843"/>
                <a:gd name="connsiteY560" fmla="*/ 556546 h 845819"/>
                <a:gd name="connsiteX561" fmla="*/ 116872 w 1029843"/>
                <a:gd name="connsiteY561" fmla="*/ 559308 h 845819"/>
                <a:gd name="connsiteX562" fmla="*/ 117062 w 1029843"/>
                <a:gd name="connsiteY562" fmla="*/ 560832 h 845819"/>
                <a:gd name="connsiteX563" fmla="*/ 120015 w 1029843"/>
                <a:gd name="connsiteY563" fmla="*/ 558832 h 845819"/>
                <a:gd name="connsiteX564" fmla="*/ 123635 w 1029843"/>
                <a:gd name="connsiteY564" fmla="*/ 561594 h 845819"/>
                <a:gd name="connsiteX565" fmla="*/ 124968 w 1029843"/>
                <a:gd name="connsiteY565" fmla="*/ 559880 h 845819"/>
                <a:gd name="connsiteX566" fmla="*/ 131731 w 1029843"/>
                <a:gd name="connsiteY566" fmla="*/ 562165 h 845819"/>
                <a:gd name="connsiteX567" fmla="*/ 138589 w 1029843"/>
                <a:gd name="connsiteY567" fmla="*/ 566071 h 845819"/>
                <a:gd name="connsiteX568" fmla="*/ 137255 w 1029843"/>
                <a:gd name="connsiteY568" fmla="*/ 567880 h 845819"/>
                <a:gd name="connsiteX569" fmla="*/ 140779 w 1029843"/>
                <a:gd name="connsiteY569" fmla="*/ 570643 h 845819"/>
                <a:gd name="connsiteX570" fmla="*/ 142113 w 1029843"/>
                <a:gd name="connsiteY570" fmla="*/ 568833 h 845819"/>
                <a:gd name="connsiteX571" fmla="*/ 146495 w 1029843"/>
                <a:gd name="connsiteY571" fmla="*/ 565118 h 845819"/>
                <a:gd name="connsiteX572" fmla="*/ 148876 w 1029843"/>
                <a:gd name="connsiteY572" fmla="*/ 558355 h 845819"/>
                <a:gd name="connsiteX573" fmla="*/ 155353 w 1029843"/>
                <a:gd name="connsiteY573" fmla="*/ 559213 h 845819"/>
                <a:gd name="connsiteX574" fmla="*/ 159734 w 1029843"/>
                <a:gd name="connsiteY574" fmla="*/ 555403 h 845819"/>
                <a:gd name="connsiteX575" fmla="*/ 164402 w 1029843"/>
                <a:gd name="connsiteY575" fmla="*/ 554831 h 845819"/>
                <a:gd name="connsiteX576" fmla="*/ 165830 w 1029843"/>
                <a:gd name="connsiteY576" fmla="*/ 553022 h 845819"/>
                <a:gd name="connsiteX577" fmla="*/ 170498 w 1029843"/>
                <a:gd name="connsiteY577" fmla="*/ 552450 h 845819"/>
                <a:gd name="connsiteX578" fmla="*/ 171736 w 1029843"/>
                <a:gd name="connsiteY578" fmla="*/ 549116 h 845819"/>
                <a:gd name="connsiteX579" fmla="*/ 172117 w 1029843"/>
                <a:gd name="connsiteY579" fmla="*/ 552259 h 845819"/>
                <a:gd name="connsiteX580" fmla="*/ 173736 w 1029843"/>
                <a:gd name="connsiteY580" fmla="*/ 552069 h 845819"/>
                <a:gd name="connsiteX581" fmla="*/ 174689 w 1029843"/>
                <a:gd name="connsiteY581" fmla="*/ 559880 h 845819"/>
                <a:gd name="connsiteX582" fmla="*/ 176308 w 1029843"/>
                <a:gd name="connsiteY582" fmla="*/ 559689 h 845819"/>
                <a:gd name="connsiteX583" fmla="*/ 176498 w 1029843"/>
                <a:gd name="connsiteY583" fmla="*/ 561308 h 845819"/>
                <a:gd name="connsiteX584" fmla="*/ 181166 w 1029843"/>
                <a:gd name="connsiteY584" fmla="*/ 560642 h 845819"/>
                <a:gd name="connsiteX585" fmla="*/ 184785 w 1029843"/>
                <a:gd name="connsiteY585" fmla="*/ 563404 h 845819"/>
                <a:gd name="connsiteX586" fmla="*/ 184975 w 1029843"/>
                <a:gd name="connsiteY586" fmla="*/ 565023 h 845819"/>
                <a:gd name="connsiteX587" fmla="*/ 189738 w 1029843"/>
                <a:gd name="connsiteY587" fmla="*/ 564452 h 845819"/>
                <a:gd name="connsiteX588" fmla="*/ 191929 w 1029843"/>
                <a:gd name="connsiteY588" fmla="*/ 568928 h 845819"/>
                <a:gd name="connsiteX589" fmla="*/ 187547 w 1029843"/>
                <a:gd name="connsiteY589" fmla="*/ 572738 h 845819"/>
                <a:gd name="connsiteX590" fmla="*/ 189738 w 1029843"/>
                <a:gd name="connsiteY590" fmla="*/ 577215 h 845819"/>
                <a:gd name="connsiteX591" fmla="*/ 189929 w 1029843"/>
                <a:gd name="connsiteY591" fmla="*/ 578834 h 845819"/>
                <a:gd name="connsiteX592" fmla="*/ 188404 w 1029843"/>
                <a:gd name="connsiteY592" fmla="*/ 579025 h 845819"/>
                <a:gd name="connsiteX593" fmla="*/ 191167 w 1029843"/>
                <a:gd name="connsiteY593" fmla="*/ 588264 h 845819"/>
                <a:gd name="connsiteX594" fmla="*/ 190214 w 1029843"/>
                <a:gd name="connsiteY594" fmla="*/ 593217 h 845819"/>
                <a:gd name="connsiteX595" fmla="*/ 191929 w 1029843"/>
                <a:gd name="connsiteY595" fmla="*/ 594551 h 845819"/>
                <a:gd name="connsiteX596" fmla="*/ 195929 w 1029843"/>
                <a:gd name="connsiteY596" fmla="*/ 600551 h 845819"/>
                <a:gd name="connsiteX597" fmla="*/ 191548 w 1029843"/>
                <a:gd name="connsiteY597" fmla="*/ 604266 h 845819"/>
                <a:gd name="connsiteX598" fmla="*/ 186881 w 1029843"/>
                <a:gd name="connsiteY598" fmla="*/ 604838 h 845819"/>
                <a:gd name="connsiteX599" fmla="*/ 184118 w 1029843"/>
                <a:gd name="connsiteY599" fmla="*/ 608457 h 845819"/>
                <a:gd name="connsiteX600" fmla="*/ 187452 w 1029843"/>
                <a:gd name="connsiteY600" fmla="*/ 609600 h 845819"/>
                <a:gd name="connsiteX601" fmla="*/ 189262 w 1029843"/>
                <a:gd name="connsiteY601" fmla="*/ 623792 h 845819"/>
                <a:gd name="connsiteX602" fmla="*/ 185547 w 1029843"/>
                <a:gd name="connsiteY602" fmla="*/ 632270 h 845819"/>
                <a:gd name="connsiteX603" fmla="*/ 192024 w 1029843"/>
                <a:gd name="connsiteY603" fmla="*/ 633032 h 845819"/>
                <a:gd name="connsiteX604" fmla="*/ 192881 w 1029843"/>
                <a:gd name="connsiteY604" fmla="*/ 639413 h 845819"/>
                <a:gd name="connsiteX605" fmla="*/ 194405 w 1029843"/>
                <a:gd name="connsiteY605" fmla="*/ 639223 h 845819"/>
                <a:gd name="connsiteX606" fmla="*/ 201168 w 1029843"/>
                <a:gd name="connsiteY606" fmla="*/ 641509 h 845819"/>
                <a:gd name="connsiteX607" fmla="*/ 199168 w 1029843"/>
                <a:gd name="connsiteY607" fmla="*/ 651415 h 845819"/>
                <a:gd name="connsiteX608" fmla="*/ 201930 w 1029843"/>
                <a:gd name="connsiteY608" fmla="*/ 647890 h 845819"/>
                <a:gd name="connsiteX609" fmla="*/ 202311 w 1029843"/>
                <a:gd name="connsiteY609" fmla="*/ 651034 h 845819"/>
                <a:gd name="connsiteX610" fmla="*/ 204121 w 1029843"/>
                <a:gd name="connsiteY610" fmla="*/ 652367 h 845819"/>
                <a:gd name="connsiteX611" fmla="*/ 201549 w 1029843"/>
                <a:gd name="connsiteY611" fmla="*/ 657511 h 845819"/>
                <a:gd name="connsiteX612" fmla="*/ 207454 w 1029843"/>
                <a:gd name="connsiteY612" fmla="*/ 653510 h 845819"/>
                <a:gd name="connsiteX613" fmla="*/ 203549 w 1029843"/>
                <a:gd name="connsiteY613" fmla="*/ 660463 h 845819"/>
                <a:gd name="connsiteX614" fmla="*/ 204311 w 1029843"/>
                <a:gd name="connsiteY614" fmla="*/ 666750 h 845819"/>
                <a:gd name="connsiteX615" fmla="*/ 201835 w 1029843"/>
                <a:gd name="connsiteY615" fmla="*/ 671894 h 845819"/>
                <a:gd name="connsiteX616" fmla="*/ 200025 w 1029843"/>
                <a:gd name="connsiteY616" fmla="*/ 670560 h 845819"/>
                <a:gd name="connsiteX617" fmla="*/ 197263 w 1029843"/>
                <a:gd name="connsiteY617" fmla="*/ 674084 h 845819"/>
                <a:gd name="connsiteX618" fmla="*/ 199073 w 1029843"/>
                <a:gd name="connsiteY618" fmla="*/ 675513 h 845819"/>
                <a:gd name="connsiteX619" fmla="*/ 201073 w 1029843"/>
                <a:gd name="connsiteY619" fmla="*/ 678466 h 845819"/>
                <a:gd name="connsiteX620" fmla="*/ 199454 w 1029843"/>
                <a:gd name="connsiteY620" fmla="*/ 678656 h 845819"/>
                <a:gd name="connsiteX621" fmla="*/ 198501 w 1029843"/>
                <a:gd name="connsiteY621" fmla="*/ 683609 h 845819"/>
                <a:gd name="connsiteX622" fmla="*/ 196691 w 1029843"/>
                <a:gd name="connsiteY622" fmla="*/ 682180 h 845819"/>
                <a:gd name="connsiteX623" fmla="*/ 197072 w 1029843"/>
                <a:gd name="connsiteY623" fmla="*/ 685324 h 845819"/>
                <a:gd name="connsiteX624" fmla="*/ 192596 w 1029843"/>
                <a:gd name="connsiteY624" fmla="*/ 687515 h 845819"/>
                <a:gd name="connsiteX625" fmla="*/ 191548 w 1029843"/>
                <a:gd name="connsiteY625" fmla="*/ 692468 h 845819"/>
                <a:gd name="connsiteX626" fmla="*/ 186690 w 1029843"/>
                <a:gd name="connsiteY626" fmla="*/ 691515 h 845819"/>
                <a:gd name="connsiteX627" fmla="*/ 185833 w 1029843"/>
                <a:gd name="connsiteY627" fmla="*/ 697992 h 845819"/>
                <a:gd name="connsiteX628" fmla="*/ 183928 w 1029843"/>
                <a:gd name="connsiteY628" fmla="*/ 695039 h 845819"/>
                <a:gd name="connsiteX629" fmla="*/ 182499 w 1029843"/>
                <a:gd name="connsiteY629" fmla="*/ 696849 h 845819"/>
                <a:gd name="connsiteX630" fmla="*/ 183166 w 1029843"/>
                <a:gd name="connsiteY630" fmla="*/ 701611 h 845819"/>
                <a:gd name="connsiteX631" fmla="*/ 179927 w 1029843"/>
                <a:gd name="connsiteY631" fmla="*/ 701993 h 845819"/>
                <a:gd name="connsiteX632" fmla="*/ 178213 w 1029843"/>
                <a:gd name="connsiteY632" fmla="*/ 700564 h 845819"/>
                <a:gd name="connsiteX633" fmla="*/ 176594 w 1029843"/>
                <a:gd name="connsiteY633" fmla="*/ 700754 h 845819"/>
                <a:gd name="connsiteX634" fmla="*/ 175641 w 1029843"/>
                <a:gd name="connsiteY634" fmla="*/ 705707 h 845819"/>
                <a:gd name="connsiteX635" fmla="*/ 180404 w 1029843"/>
                <a:gd name="connsiteY635" fmla="*/ 705136 h 845819"/>
                <a:gd name="connsiteX636" fmla="*/ 189071 w 1029843"/>
                <a:gd name="connsiteY636" fmla="*/ 710470 h 845819"/>
                <a:gd name="connsiteX637" fmla="*/ 189262 w 1029843"/>
                <a:gd name="connsiteY637" fmla="*/ 711994 h 845819"/>
                <a:gd name="connsiteX638" fmla="*/ 179261 w 1029843"/>
                <a:gd name="connsiteY638" fmla="*/ 721328 h 845819"/>
                <a:gd name="connsiteX639" fmla="*/ 171545 w 1029843"/>
                <a:gd name="connsiteY639" fmla="*/ 723900 h 845819"/>
                <a:gd name="connsiteX640" fmla="*/ 171736 w 1029843"/>
                <a:gd name="connsiteY640" fmla="*/ 725519 h 845819"/>
                <a:gd name="connsiteX641" fmla="*/ 183166 w 1029843"/>
                <a:gd name="connsiteY641" fmla="*/ 727234 h 845819"/>
                <a:gd name="connsiteX642" fmla="*/ 192405 w 1029843"/>
                <a:gd name="connsiteY642" fmla="*/ 724472 h 845819"/>
                <a:gd name="connsiteX643" fmla="*/ 199739 w 1029843"/>
                <a:gd name="connsiteY643" fmla="*/ 731520 h 845819"/>
                <a:gd name="connsiteX644" fmla="*/ 201740 w 1029843"/>
                <a:gd name="connsiteY644" fmla="*/ 734473 h 845819"/>
                <a:gd name="connsiteX645" fmla="*/ 208502 w 1029843"/>
                <a:gd name="connsiteY645" fmla="*/ 736854 h 845819"/>
                <a:gd name="connsiteX646" fmla="*/ 209645 w 1029843"/>
                <a:gd name="connsiteY646" fmla="*/ 733520 h 845819"/>
                <a:gd name="connsiteX647" fmla="*/ 209264 w 1029843"/>
                <a:gd name="connsiteY647" fmla="*/ 730282 h 845819"/>
                <a:gd name="connsiteX648" fmla="*/ 212789 w 1029843"/>
                <a:gd name="connsiteY648" fmla="*/ 733044 h 845819"/>
                <a:gd name="connsiteX649" fmla="*/ 215932 w 1029843"/>
                <a:gd name="connsiteY649" fmla="*/ 732663 h 845819"/>
                <a:gd name="connsiteX650" fmla="*/ 214789 w 1029843"/>
                <a:gd name="connsiteY650" fmla="*/ 735997 h 845819"/>
                <a:gd name="connsiteX651" fmla="*/ 225457 w 1029843"/>
                <a:gd name="connsiteY651" fmla="*/ 744284 h 845819"/>
                <a:gd name="connsiteX652" fmla="*/ 232124 w 1029843"/>
                <a:gd name="connsiteY652" fmla="*/ 746665 h 845819"/>
                <a:gd name="connsiteX653" fmla="*/ 233553 w 1029843"/>
                <a:gd name="connsiteY653" fmla="*/ 744855 h 845819"/>
                <a:gd name="connsiteX654" fmla="*/ 235363 w 1029843"/>
                <a:gd name="connsiteY654" fmla="*/ 746188 h 845819"/>
                <a:gd name="connsiteX655" fmla="*/ 233744 w 1029843"/>
                <a:gd name="connsiteY655" fmla="*/ 746474 h 845819"/>
                <a:gd name="connsiteX656" fmla="*/ 240506 w 1029843"/>
                <a:gd name="connsiteY656" fmla="*/ 748760 h 845819"/>
                <a:gd name="connsiteX657" fmla="*/ 232220 w 1029843"/>
                <a:gd name="connsiteY657" fmla="*/ 759428 h 845819"/>
                <a:gd name="connsiteX658" fmla="*/ 232982 w 1029843"/>
                <a:gd name="connsiteY658" fmla="*/ 765810 h 845819"/>
                <a:gd name="connsiteX659" fmla="*/ 243078 w 1029843"/>
                <a:gd name="connsiteY659" fmla="*/ 782098 h 845819"/>
                <a:gd name="connsiteX660" fmla="*/ 255365 w 1029843"/>
                <a:gd name="connsiteY660" fmla="*/ 777335 h 845819"/>
                <a:gd name="connsiteX661" fmla="*/ 259461 w 1029843"/>
                <a:gd name="connsiteY661" fmla="*/ 772001 h 845819"/>
                <a:gd name="connsiteX662" fmla="*/ 261080 w 1029843"/>
                <a:gd name="connsiteY662" fmla="*/ 771811 h 845819"/>
                <a:gd name="connsiteX663" fmla="*/ 265367 w 1029843"/>
                <a:gd name="connsiteY663" fmla="*/ 768096 h 845819"/>
                <a:gd name="connsiteX664" fmla="*/ 265176 w 1029843"/>
                <a:gd name="connsiteY664" fmla="*/ 766477 h 845819"/>
                <a:gd name="connsiteX665" fmla="*/ 270129 w 1029843"/>
                <a:gd name="connsiteY665" fmla="*/ 767429 h 845819"/>
                <a:gd name="connsiteX666" fmla="*/ 273082 w 1029843"/>
                <a:gd name="connsiteY666" fmla="*/ 765524 h 845819"/>
                <a:gd name="connsiteX667" fmla="*/ 268319 w 1029843"/>
                <a:gd name="connsiteY667" fmla="*/ 766096 h 845819"/>
                <a:gd name="connsiteX668" fmla="*/ 267748 w 1029843"/>
                <a:gd name="connsiteY668" fmla="*/ 761333 h 845819"/>
                <a:gd name="connsiteX669" fmla="*/ 278987 w 1029843"/>
                <a:gd name="connsiteY669" fmla="*/ 761524 h 845819"/>
                <a:gd name="connsiteX670" fmla="*/ 280702 w 1029843"/>
                <a:gd name="connsiteY670" fmla="*/ 762857 h 845819"/>
                <a:gd name="connsiteX671" fmla="*/ 280511 w 1029843"/>
                <a:gd name="connsiteY671" fmla="*/ 761333 h 845819"/>
                <a:gd name="connsiteX672" fmla="*/ 285083 w 1029843"/>
                <a:gd name="connsiteY672" fmla="*/ 759143 h 845819"/>
                <a:gd name="connsiteX673" fmla="*/ 287846 w 1029843"/>
                <a:gd name="connsiteY673" fmla="*/ 755618 h 845819"/>
                <a:gd name="connsiteX674" fmla="*/ 291370 w 1029843"/>
                <a:gd name="connsiteY674" fmla="*/ 758380 h 845819"/>
                <a:gd name="connsiteX675" fmla="*/ 292799 w 1029843"/>
                <a:gd name="connsiteY675" fmla="*/ 756571 h 845819"/>
                <a:gd name="connsiteX676" fmla="*/ 290608 w 1029843"/>
                <a:gd name="connsiteY676" fmla="*/ 751999 h 845819"/>
                <a:gd name="connsiteX677" fmla="*/ 288798 w 1029843"/>
                <a:gd name="connsiteY677" fmla="*/ 750665 h 845819"/>
                <a:gd name="connsiteX678" fmla="*/ 289941 w 1029843"/>
                <a:gd name="connsiteY678" fmla="*/ 747332 h 845819"/>
                <a:gd name="connsiteX679" fmla="*/ 290513 w 1029843"/>
                <a:gd name="connsiteY679" fmla="*/ 739235 h 845819"/>
                <a:gd name="connsiteX680" fmla="*/ 291941 w 1029843"/>
                <a:gd name="connsiteY680" fmla="*/ 737426 h 845819"/>
                <a:gd name="connsiteX681" fmla="*/ 302419 w 1029843"/>
                <a:gd name="connsiteY681" fmla="*/ 731234 h 845819"/>
                <a:gd name="connsiteX682" fmla="*/ 305562 w 1029843"/>
                <a:gd name="connsiteY682" fmla="*/ 730853 h 845819"/>
                <a:gd name="connsiteX683" fmla="*/ 307467 w 1029843"/>
                <a:gd name="connsiteY683" fmla="*/ 733806 h 845819"/>
                <a:gd name="connsiteX684" fmla="*/ 308896 w 1029843"/>
                <a:gd name="connsiteY684" fmla="*/ 732092 h 845819"/>
                <a:gd name="connsiteX685" fmla="*/ 309467 w 1029843"/>
                <a:gd name="connsiteY685" fmla="*/ 736759 h 845819"/>
                <a:gd name="connsiteX686" fmla="*/ 312801 w 1029843"/>
                <a:gd name="connsiteY686" fmla="*/ 737997 h 845819"/>
                <a:gd name="connsiteX687" fmla="*/ 317373 w 1029843"/>
                <a:gd name="connsiteY687" fmla="*/ 735806 h 845819"/>
                <a:gd name="connsiteX688" fmla="*/ 316802 w 1029843"/>
                <a:gd name="connsiteY688" fmla="*/ 731044 h 845819"/>
                <a:gd name="connsiteX689" fmla="*/ 318135 w 1029843"/>
                <a:gd name="connsiteY689" fmla="*/ 729234 h 845819"/>
                <a:gd name="connsiteX690" fmla="*/ 319945 w 1029843"/>
                <a:gd name="connsiteY690" fmla="*/ 730663 h 845819"/>
                <a:gd name="connsiteX691" fmla="*/ 326041 w 1029843"/>
                <a:gd name="connsiteY691" fmla="*/ 728282 h 845819"/>
                <a:gd name="connsiteX692" fmla="*/ 320897 w 1029843"/>
                <a:gd name="connsiteY692" fmla="*/ 725710 h 845819"/>
                <a:gd name="connsiteX693" fmla="*/ 321850 w 1029843"/>
                <a:gd name="connsiteY693" fmla="*/ 720757 h 845819"/>
                <a:gd name="connsiteX694" fmla="*/ 325088 w 1029843"/>
                <a:gd name="connsiteY694" fmla="*/ 720376 h 845819"/>
                <a:gd name="connsiteX695" fmla="*/ 331946 w 1029843"/>
                <a:gd name="connsiteY695" fmla="*/ 724281 h 845819"/>
                <a:gd name="connsiteX696" fmla="*/ 331756 w 1029843"/>
                <a:gd name="connsiteY696" fmla="*/ 735521 h 845819"/>
                <a:gd name="connsiteX697" fmla="*/ 334899 w 1029843"/>
                <a:gd name="connsiteY697" fmla="*/ 735140 h 845819"/>
                <a:gd name="connsiteX698" fmla="*/ 335566 w 1029843"/>
                <a:gd name="connsiteY698" fmla="*/ 739902 h 845819"/>
                <a:gd name="connsiteX699" fmla="*/ 337090 w 1029843"/>
                <a:gd name="connsiteY699" fmla="*/ 739711 h 845819"/>
                <a:gd name="connsiteX700" fmla="*/ 338709 w 1029843"/>
                <a:gd name="connsiteY700" fmla="*/ 739521 h 845819"/>
                <a:gd name="connsiteX701" fmla="*/ 338519 w 1029843"/>
                <a:gd name="connsiteY701" fmla="*/ 737902 h 845819"/>
                <a:gd name="connsiteX702" fmla="*/ 339852 w 1029843"/>
                <a:gd name="connsiteY702" fmla="*/ 736092 h 845819"/>
                <a:gd name="connsiteX703" fmla="*/ 343472 w 1029843"/>
                <a:gd name="connsiteY703" fmla="*/ 738854 h 845819"/>
                <a:gd name="connsiteX704" fmla="*/ 345186 w 1029843"/>
                <a:gd name="connsiteY704" fmla="*/ 740283 h 845819"/>
                <a:gd name="connsiteX705" fmla="*/ 346615 w 1029843"/>
                <a:gd name="connsiteY705" fmla="*/ 738473 h 845819"/>
                <a:gd name="connsiteX706" fmla="*/ 343472 w 1029843"/>
                <a:gd name="connsiteY706" fmla="*/ 738854 h 845819"/>
                <a:gd name="connsiteX707" fmla="*/ 342614 w 1029843"/>
                <a:gd name="connsiteY707" fmla="*/ 732568 h 845819"/>
                <a:gd name="connsiteX708" fmla="*/ 344234 w 1029843"/>
                <a:gd name="connsiteY708" fmla="*/ 732377 h 845819"/>
                <a:gd name="connsiteX709" fmla="*/ 344615 w 1029843"/>
                <a:gd name="connsiteY709" fmla="*/ 735521 h 845819"/>
                <a:gd name="connsiteX710" fmla="*/ 346043 w 1029843"/>
                <a:gd name="connsiteY710" fmla="*/ 733711 h 845819"/>
                <a:gd name="connsiteX711" fmla="*/ 347758 w 1029843"/>
                <a:gd name="connsiteY711" fmla="*/ 735140 h 845819"/>
                <a:gd name="connsiteX712" fmla="*/ 350901 w 1029843"/>
                <a:gd name="connsiteY712" fmla="*/ 734759 h 845819"/>
                <a:gd name="connsiteX713" fmla="*/ 352901 w 1029843"/>
                <a:gd name="connsiteY713" fmla="*/ 737711 h 845819"/>
                <a:gd name="connsiteX714" fmla="*/ 357473 w 1029843"/>
                <a:gd name="connsiteY714" fmla="*/ 735521 h 845819"/>
                <a:gd name="connsiteX715" fmla="*/ 355854 w 1029843"/>
                <a:gd name="connsiteY715" fmla="*/ 735711 h 845819"/>
                <a:gd name="connsiteX716" fmla="*/ 357188 w 1029843"/>
                <a:gd name="connsiteY716" fmla="*/ 733901 h 845819"/>
                <a:gd name="connsiteX717" fmla="*/ 362331 w 1029843"/>
                <a:gd name="connsiteY717" fmla="*/ 736473 h 845819"/>
                <a:gd name="connsiteX718" fmla="*/ 363760 w 1029843"/>
                <a:gd name="connsiteY718" fmla="*/ 734663 h 845819"/>
                <a:gd name="connsiteX719" fmla="*/ 365379 w 1029843"/>
                <a:gd name="connsiteY719" fmla="*/ 734473 h 845819"/>
                <a:gd name="connsiteX720" fmla="*/ 365570 w 1029843"/>
                <a:gd name="connsiteY720" fmla="*/ 736092 h 845819"/>
                <a:gd name="connsiteX721" fmla="*/ 363950 w 1029843"/>
                <a:gd name="connsiteY721" fmla="*/ 736282 h 845819"/>
                <a:gd name="connsiteX722" fmla="*/ 364141 w 1029843"/>
                <a:gd name="connsiteY722" fmla="*/ 737807 h 845819"/>
                <a:gd name="connsiteX723" fmla="*/ 368903 w 1029843"/>
                <a:gd name="connsiteY723" fmla="*/ 737235 h 845819"/>
                <a:gd name="connsiteX724" fmla="*/ 374047 w 1029843"/>
                <a:gd name="connsiteY724" fmla="*/ 739807 h 845819"/>
                <a:gd name="connsiteX725" fmla="*/ 373856 w 1029843"/>
                <a:gd name="connsiteY725" fmla="*/ 738188 h 845819"/>
                <a:gd name="connsiteX726" fmla="*/ 377381 w 1029843"/>
                <a:gd name="connsiteY726" fmla="*/ 740950 h 845819"/>
                <a:gd name="connsiteX727" fmla="*/ 377952 w 1029843"/>
                <a:gd name="connsiteY727" fmla="*/ 732854 h 845819"/>
                <a:gd name="connsiteX728" fmla="*/ 379762 w 1029843"/>
                <a:gd name="connsiteY728" fmla="*/ 734282 h 845819"/>
                <a:gd name="connsiteX729" fmla="*/ 381476 w 1029843"/>
                <a:gd name="connsiteY729" fmla="*/ 735616 h 845819"/>
                <a:gd name="connsiteX730" fmla="*/ 391763 w 1029843"/>
                <a:gd name="connsiteY730" fmla="*/ 740759 h 845819"/>
                <a:gd name="connsiteX731" fmla="*/ 391954 w 1029843"/>
                <a:gd name="connsiteY731" fmla="*/ 742283 h 845819"/>
                <a:gd name="connsiteX732" fmla="*/ 397097 w 1029843"/>
                <a:gd name="connsiteY732" fmla="*/ 744855 h 845819"/>
                <a:gd name="connsiteX733" fmla="*/ 397288 w 1029843"/>
                <a:gd name="connsiteY733" fmla="*/ 746474 h 845819"/>
                <a:gd name="connsiteX734" fmla="*/ 400907 w 1029843"/>
                <a:gd name="connsiteY734" fmla="*/ 749236 h 845819"/>
                <a:gd name="connsiteX735" fmla="*/ 402050 w 1029843"/>
                <a:gd name="connsiteY735" fmla="*/ 745807 h 845819"/>
                <a:gd name="connsiteX736" fmla="*/ 403670 w 1029843"/>
                <a:gd name="connsiteY736" fmla="*/ 745617 h 845819"/>
                <a:gd name="connsiteX737" fmla="*/ 407194 w 1029843"/>
                <a:gd name="connsiteY737" fmla="*/ 748379 h 845819"/>
                <a:gd name="connsiteX738" fmla="*/ 409956 w 1029843"/>
                <a:gd name="connsiteY738" fmla="*/ 744855 h 845819"/>
                <a:gd name="connsiteX739" fmla="*/ 409575 w 1029843"/>
                <a:gd name="connsiteY739" fmla="*/ 741712 h 845819"/>
                <a:gd name="connsiteX740" fmla="*/ 411099 w 1029843"/>
                <a:gd name="connsiteY740" fmla="*/ 741521 h 845819"/>
                <a:gd name="connsiteX741" fmla="*/ 413671 w 1029843"/>
                <a:gd name="connsiteY741" fmla="*/ 736378 h 845819"/>
                <a:gd name="connsiteX742" fmla="*/ 416814 w 1029843"/>
                <a:gd name="connsiteY742" fmla="*/ 735902 h 845819"/>
                <a:gd name="connsiteX743" fmla="*/ 418052 w 1029843"/>
                <a:gd name="connsiteY743" fmla="*/ 732568 h 845819"/>
                <a:gd name="connsiteX744" fmla="*/ 421386 w 1029843"/>
                <a:gd name="connsiteY744" fmla="*/ 733711 h 845819"/>
                <a:gd name="connsiteX745" fmla="*/ 421576 w 1029843"/>
                <a:gd name="connsiteY745" fmla="*/ 735330 h 845819"/>
                <a:gd name="connsiteX746" fmla="*/ 424529 w 1029843"/>
                <a:gd name="connsiteY746" fmla="*/ 733330 h 845819"/>
                <a:gd name="connsiteX747" fmla="*/ 429482 w 1029843"/>
                <a:gd name="connsiteY747" fmla="*/ 734282 h 845819"/>
                <a:gd name="connsiteX748" fmla="*/ 433197 w 1029843"/>
                <a:gd name="connsiteY748" fmla="*/ 738664 h 845819"/>
                <a:gd name="connsiteX749" fmla="*/ 436912 w 1029843"/>
                <a:gd name="connsiteY749" fmla="*/ 730186 h 845819"/>
                <a:gd name="connsiteX750" fmla="*/ 438912 w 1029843"/>
                <a:gd name="connsiteY750" fmla="*/ 733139 h 845819"/>
                <a:gd name="connsiteX751" fmla="*/ 438722 w 1029843"/>
                <a:gd name="connsiteY751" fmla="*/ 731520 h 845819"/>
                <a:gd name="connsiteX752" fmla="*/ 441865 w 1029843"/>
                <a:gd name="connsiteY752" fmla="*/ 731139 h 845819"/>
                <a:gd name="connsiteX753" fmla="*/ 443103 w 1029843"/>
                <a:gd name="connsiteY753" fmla="*/ 727805 h 845819"/>
                <a:gd name="connsiteX754" fmla="*/ 444817 w 1029843"/>
                <a:gd name="connsiteY754" fmla="*/ 716375 h 845819"/>
                <a:gd name="connsiteX755" fmla="*/ 443008 w 1029843"/>
                <a:gd name="connsiteY755" fmla="*/ 714947 h 845819"/>
                <a:gd name="connsiteX756" fmla="*/ 442246 w 1029843"/>
                <a:gd name="connsiteY756" fmla="*/ 708660 h 845819"/>
                <a:gd name="connsiteX757" fmla="*/ 446723 w 1029843"/>
                <a:gd name="connsiteY757" fmla="*/ 706469 h 845819"/>
                <a:gd name="connsiteX758" fmla="*/ 446532 w 1029843"/>
                <a:gd name="connsiteY758" fmla="*/ 704850 h 845819"/>
                <a:gd name="connsiteX759" fmla="*/ 451295 w 1029843"/>
                <a:gd name="connsiteY759" fmla="*/ 704279 h 845819"/>
                <a:gd name="connsiteX760" fmla="*/ 452247 w 1029843"/>
                <a:gd name="connsiteY760" fmla="*/ 699326 h 845819"/>
                <a:gd name="connsiteX761" fmla="*/ 460534 w 1029843"/>
                <a:gd name="connsiteY761" fmla="*/ 701516 h 845819"/>
                <a:gd name="connsiteX762" fmla="*/ 462915 w 1029843"/>
                <a:gd name="connsiteY762" fmla="*/ 694754 h 845819"/>
                <a:gd name="connsiteX763" fmla="*/ 467201 w 1029843"/>
                <a:gd name="connsiteY763" fmla="*/ 691039 h 845819"/>
                <a:gd name="connsiteX764" fmla="*/ 472631 w 1029843"/>
                <a:gd name="connsiteY764" fmla="*/ 695134 h 845819"/>
                <a:gd name="connsiteX765" fmla="*/ 476345 w 1029843"/>
                <a:gd name="connsiteY765" fmla="*/ 699516 h 845819"/>
                <a:gd name="connsiteX766" fmla="*/ 485966 w 1029843"/>
                <a:gd name="connsiteY766" fmla="*/ 699897 h 845819"/>
                <a:gd name="connsiteX767" fmla="*/ 486442 w 1029843"/>
                <a:gd name="connsiteY767" fmla="*/ 703040 h 845819"/>
                <a:gd name="connsiteX768" fmla="*/ 485204 w 1029843"/>
                <a:gd name="connsiteY768" fmla="*/ 706374 h 845819"/>
                <a:gd name="connsiteX769" fmla="*/ 490347 w 1029843"/>
                <a:gd name="connsiteY769" fmla="*/ 708946 h 845819"/>
                <a:gd name="connsiteX770" fmla="*/ 486632 w 1029843"/>
                <a:gd name="connsiteY770" fmla="*/ 717423 h 845819"/>
                <a:gd name="connsiteX771" fmla="*/ 486251 w 1029843"/>
                <a:gd name="connsiteY771" fmla="*/ 727043 h 845819"/>
                <a:gd name="connsiteX772" fmla="*/ 488442 w 1029843"/>
                <a:gd name="connsiteY772" fmla="*/ 731615 h 845819"/>
                <a:gd name="connsiteX773" fmla="*/ 495205 w 1029843"/>
                <a:gd name="connsiteY773" fmla="*/ 733997 h 845819"/>
                <a:gd name="connsiteX774" fmla="*/ 495586 w 1029843"/>
                <a:gd name="connsiteY774" fmla="*/ 737140 h 845819"/>
                <a:gd name="connsiteX775" fmla="*/ 497110 w 1029843"/>
                <a:gd name="connsiteY775" fmla="*/ 736949 h 845819"/>
                <a:gd name="connsiteX776" fmla="*/ 508349 w 1029843"/>
                <a:gd name="connsiteY776" fmla="*/ 737140 h 845819"/>
                <a:gd name="connsiteX777" fmla="*/ 509016 w 1029843"/>
                <a:gd name="connsiteY777" fmla="*/ 741807 h 845819"/>
                <a:gd name="connsiteX778" fmla="*/ 511969 w 1029843"/>
                <a:gd name="connsiteY778" fmla="*/ 739902 h 845819"/>
                <a:gd name="connsiteX779" fmla="*/ 511588 w 1029843"/>
                <a:gd name="connsiteY779" fmla="*/ 736663 h 845819"/>
                <a:gd name="connsiteX780" fmla="*/ 520446 w 1029843"/>
                <a:gd name="connsiteY780" fmla="*/ 730758 h 845819"/>
                <a:gd name="connsiteX781" fmla="*/ 521017 w 1029843"/>
                <a:gd name="connsiteY781" fmla="*/ 722662 h 845819"/>
                <a:gd name="connsiteX782" fmla="*/ 533781 w 1029843"/>
                <a:gd name="connsiteY782" fmla="*/ 722662 h 845819"/>
                <a:gd name="connsiteX783" fmla="*/ 545021 w 1029843"/>
                <a:gd name="connsiteY783" fmla="*/ 722852 h 845819"/>
                <a:gd name="connsiteX784" fmla="*/ 544449 w 1029843"/>
                <a:gd name="connsiteY784" fmla="*/ 705231 h 845819"/>
                <a:gd name="connsiteX785" fmla="*/ 565118 w 1029843"/>
                <a:gd name="connsiteY785" fmla="*/ 704183 h 845819"/>
                <a:gd name="connsiteX786" fmla="*/ 566547 w 1029843"/>
                <a:gd name="connsiteY786" fmla="*/ 702469 h 845819"/>
                <a:gd name="connsiteX787" fmla="*/ 565690 w 1029843"/>
                <a:gd name="connsiteY787" fmla="*/ 696087 h 845819"/>
                <a:gd name="connsiteX788" fmla="*/ 570643 w 1029843"/>
                <a:gd name="connsiteY788" fmla="*/ 697135 h 845819"/>
                <a:gd name="connsiteX789" fmla="*/ 583311 w 1029843"/>
                <a:gd name="connsiteY789" fmla="*/ 708279 h 845819"/>
                <a:gd name="connsiteX790" fmla="*/ 587407 w 1029843"/>
                <a:gd name="connsiteY790" fmla="*/ 702945 h 845819"/>
                <a:gd name="connsiteX791" fmla="*/ 588074 w 1029843"/>
                <a:gd name="connsiteY791" fmla="*/ 707707 h 845819"/>
                <a:gd name="connsiteX792" fmla="*/ 592741 w 1029843"/>
                <a:gd name="connsiteY792" fmla="*/ 707136 h 845819"/>
                <a:gd name="connsiteX793" fmla="*/ 598075 w 1029843"/>
                <a:gd name="connsiteY793" fmla="*/ 711232 h 845819"/>
                <a:gd name="connsiteX794" fmla="*/ 617220 w 1029843"/>
                <a:gd name="connsiteY794" fmla="*/ 710375 h 845819"/>
                <a:gd name="connsiteX795" fmla="*/ 617315 w 1029843"/>
                <a:gd name="connsiteY795" fmla="*/ 723233 h 845819"/>
                <a:gd name="connsiteX796" fmla="*/ 630555 w 1029843"/>
                <a:gd name="connsiteY796" fmla="*/ 726377 h 845819"/>
                <a:gd name="connsiteX797" fmla="*/ 631698 w 1029843"/>
                <a:gd name="connsiteY797" fmla="*/ 735806 h 845819"/>
                <a:gd name="connsiteX798" fmla="*/ 631793 w 1029843"/>
                <a:gd name="connsiteY798" fmla="*/ 761429 h 845819"/>
                <a:gd name="connsiteX799" fmla="*/ 662368 w 1029843"/>
                <a:gd name="connsiteY799" fmla="*/ 762381 h 845819"/>
                <a:gd name="connsiteX800" fmla="*/ 668846 w 1029843"/>
                <a:gd name="connsiteY800" fmla="*/ 763143 h 845819"/>
                <a:gd name="connsiteX801" fmla="*/ 674465 w 1029843"/>
                <a:gd name="connsiteY801" fmla="*/ 781717 h 845819"/>
                <a:gd name="connsiteX802" fmla="*/ 675418 w 1029843"/>
                <a:gd name="connsiteY802" fmla="*/ 789623 h 845819"/>
                <a:gd name="connsiteX803" fmla="*/ 677418 w 1029843"/>
                <a:gd name="connsiteY803" fmla="*/ 792575 h 845819"/>
                <a:gd name="connsiteX804" fmla="*/ 680561 w 1029843"/>
                <a:gd name="connsiteY804" fmla="*/ 792099 h 845819"/>
                <a:gd name="connsiteX805" fmla="*/ 687134 w 1029843"/>
                <a:gd name="connsiteY805" fmla="*/ 792956 h 845819"/>
                <a:gd name="connsiteX806" fmla="*/ 689039 w 1029843"/>
                <a:gd name="connsiteY806" fmla="*/ 795909 h 845819"/>
                <a:gd name="connsiteX807" fmla="*/ 693801 w 1029843"/>
                <a:gd name="connsiteY807" fmla="*/ 795242 h 845819"/>
                <a:gd name="connsiteX808" fmla="*/ 695611 w 1029843"/>
                <a:gd name="connsiteY808" fmla="*/ 796671 h 845819"/>
                <a:gd name="connsiteX809" fmla="*/ 701707 w 1029843"/>
                <a:gd name="connsiteY809" fmla="*/ 794290 h 845819"/>
                <a:gd name="connsiteX810" fmla="*/ 710565 w 1029843"/>
                <a:gd name="connsiteY810" fmla="*/ 801148 h 845819"/>
                <a:gd name="connsiteX811" fmla="*/ 713613 w 1029843"/>
                <a:gd name="connsiteY811" fmla="*/ 812006 h 845819"/>
                <a:gd name="connsiteX812" fmla="*/ 722471 w 1029843"/>
                <a:gd name="connsiteY812" fmla="*/ 818864 h 845819"/>
                <a:gd name="connsiteX813" fmla="*/ 724091 w 1029843"/>
                <a:gd name="connsiteY813" fmla="*/ 818674 h 845819"/>
                <a:gd name="connsiteX814" fmla="*/ 725234 w 1029843"/>
                <a:gd name="connsiteY814" fmla="*/ 815340 h 845819"/>
                <a:gd name="connsiteX815" fmla="*/ 728186 w 1029843"/>
                <a:gd name="connsiteY815" fmla="*/ 813340 h 845819"/>
                <a:gd name="connsiteX816" fmla="*/ 734092 w 1029843"/>
                <a:gd name="connsiteY816" fmla="*/ 822198 h 845819"/>
                <a:gd name="connsiteX817" fmla="*/ 735711 w 1029843"/>
                <a:gd name="connsiteY817" fmla="*/ 822007 h 845819"/>
                <a:gd name="connsiteX818" fmla="*/ 738854 w 1029843"/>
                <a:gd name="connsiteY818" fmla="*/ 821627 h 845819"/>
                <a:gd name="connsiteX819" fmla="*/ 740664 w 1029843"/>
                <a:gd name="connsiteY819" fmla="*/ 822960 h 845819"/>
                <a:gd name="connsiteX820" fmla="*/ 741998 w 1029843"/>
                <a:gd name="connsiteY820" fmla="*/ 821150 h 845819"/>
                <a:gd name="connsiteX821" fmla="*/ 743807 w 1029843"/>
                <a:gd name="connsiteY821" fmla="*/ 822579 h 845819"/>
                <a:gd name="connsiteX822" fmla="*/ 746951 w 1029843"/>
                <a:gd name="connsiteY822" fmla="*/ 822198 h 845819"/>
                <a:gd name="connsiteX823" fmla="*/ 751523 w 1029843"/>
                <a:gd name="connsiteY823" fmla="*/ 832866 h 845819"/>
                <a:gd name="connsiteX824" fmla="*/ 756666 w 1029843"/>
                <a:gd name="connsiteY824" fmla="*/ 835343 h 845819"/>
                <a:gd name="connsiteX825" fmla="*/ 758285 w 1029843"/>
                <a:gd name="connsiteY825" fmla="*/ 835152 h 845819"/>
                <a:gd name="connsiteX826" fmla="*/ 757047 w 1029843"/>
                <a:gd name="connsiteY826" fmla="*/ 838486 h 845819"/>
                <a:gd name="connsiteX827" fmla="*/ 759047 w 1029843"/>
                <a:gd name="connsiteY827" fmla="*/ 841438 h 845819"/>
                <a:gd name="connsiteX828" fmla="*/ 762762 w 1029843"/>
                <a:gd name="connsiteY828" fmla="*/ 845820 h 845819"/>
                <a:gd name="connsiteX829" fmla="*/ 764191 w 1029843"/>
                <a:gd name="connsiteY829" fmla="*/ 844010 h 845819"/>
                <a:gd name="connsiteX830" fmla="*/ 769144 w 1029843"/>
                <a:gd name="connsiteY830" fmla="*/ 844963 h 845819"/>
                <a:gd name="connsiteX831" fmla="*/ 771716 w 1029843"/>
                <a:gd name="connsiteY831" fmla="*/ 839915 h 845819"/>
                <a:gd name="connsiteX832" fmla="*/ 778193 w 1029843"/>
                <a:gd name="connsiteY832" fmla="*/ 840677 h 845819"/>
                <a:gd name="connsiteX833" fmla="*/ 780955 w 1029843"/>
                <a:gd name="connsiteY833" fmla="*/ 837057 h 845819"/>
                <a:gd name="connsiteX834" fmla="*/ 784670 w 1029843"/>
                <a:gd name="connsiteY834" fmla="*/ 841438 h 845819"/>
                <a:gd name="connsiteX835" fmla="*/ 793528 w 1029843"/>
                <a:gd name="connsiteY835" fmla="*/ 835438 h 845819"/>
                <a:gd name="connsiteX836" fmla="*/ 793337 w 1029843"/>
                <a:gd name="connsiteY836" fmla="*/ 833914 h 845819"/>
                <a:gd name="connsiteX837" fmla="*/ 794576 w 1029843"/>
                <a:gd name="connsiteY837" fmla="*/ 830580 h 845819"/>
                <a:gd name="connsiteX838" fmla="*/ 792575 w 1029843"/>
                <a:gd name="connsiteY838" fmla="*/ 827627 h 845819"/>
                <a:gd name="connsiteX839" fmla="*/ 794099 w 1029843"/>
                <a:gd name="connsiteY839" fmla="*/ 827437 h 845819"/>
                <a:gd name="connsiteX840" fmla="*/ 794385 w 1029843"/>
                <a:gd name="connsiteY840" fmla="*/ 828961 h 845819"/>
                <a:gd name="connsiteX841" fmla="*/ 799052 w 1029843"/>
                <a:gd name="connsiteY841" fmla="*/ 828389 h 845819"/>
                <a:gd name="connsiteX842" fmla="*/ 800862 w 1029843"/>
                <a:gd name="connsiteY842" fmla="*/ 829723 h 845819"/>
                <a:gd name="connsiteX843" fmla="*/ 796766 w 1029843"/>
                <a:gd name="connsiteY843" fmla="*/ 835057 h 845819"/>
                <a:gd name="connsiteX844" fmla="*/ 796957 w 1029843"/>
                <a:gd name="connsiteY844" fmla="*/ 836676 h 845819"/>
                <a:gd name="connsiteX845" fmla="*/ 797528 w 1029843"/>
                <a:gd name="connsiteY845" fmla="*/ 841438 h 845819"/>
                <a:gd name="connsiteX846" fmla="*/ 809911 w 1029843"/>
                <a:gd name="connsiteY846" fmla="*/ 838200 h 845819"/>
                <a:gd name="connsiteX847" fmla="*/ 813054 w 1029843"/>
                <a:gd name="connsiteY847" fmla="*/ 837819 h 845819"/>
                <a:gd name="connsiteX848" fmla="*/ 814673 w 1029843"/>
                <a:gd name="connsiteY848" fmla="*/ 837629 h 845819"/>
                <a:gd name="connsiteX849" fmla="*/ 816102 w 1029843"/>
                <a:gd name="connsiteY849" fmla="*/ 835819 h 845819"/>
                <a:gd name="connsiteX850" fmla="*/ 822770 w 1029843"/>
                <a:gd name="connsiteY850" fmla="*/ 838200 h 845819"/>
                <a:gd name="connsiteX851" fmla="*/ 820960 w 1029843"/>
                <a:gd name="connsiteY851" fmla="*/ 836771 h 845819"/>
                <a:gd name="connsiteX852" fmla="*/ 822198 w 1029843"/>
                <a:gd name="connsiteY852" fmla="*/ 833438 h 845819"/>
                <a:gd name="connsiteX853" fmla="*/ 820388 w 1029843"/>
                <a:gd name="connsiteY853" fmla="*/ 832104 h 845819"/>
                <a:gd name="connsiteX854" fmla="*/ 827151 w 1029843"/>
                <a:gd name="connsiteY854" fmla="*/ 834390 h 845819"/>
                <a:gd name="connsiteX855" fmla="*/ 828484 w 1029843"/>
                <a:gd name="connsiteY855" fmla="*/ 832676 h 845819"/>
                <a:gd name="connsiteX856" fmla="*/ 833818 w 1029843"/>
                <a:gd name="connsiteY856" fmla="*/ 836771 h 845819"/>
                <a:gd name="connsiteX857" fmla="*/ 837152 w 1029843"/>
                <a:gd name="connsiteY857" fmla="*/ 837914 h 845819"/>
                <a:gd name="connsiteX858" fmla="*/ 857345 w 1029843"/>
                <a:gd name="connsiteY858" fmla="*/ 844963 h 845819"/>
                <a:gd name="connsiteX859" fmla="*/ 855917 w 1029843"/>
                <a:gd name="connsiteY859" fmla="*/ 833914 h 845819"/>
                <a:gd name="connsiteX860" fmla="*/ 852583 w 1029843"/>
                <a:gd name="connsiteY860" fmla="*/ 832771 h 845819"/>
                <a:gd name="connsiteX861" fmla="*/ 850201 w 1029843"/>
                <a:gd name="connsiteY861" fmla="*/ 826675 h 845819"/>
                <a:gd name="connsiteX862" fmla="*/ 845058 w 1029843"/>
                <a:gd name="connsiteY862" fmla="*/ 824103 h 845819"/>
                <a:gd name="connsiteX863" fmla="*/ 844391 w 1029843"/>
                <a:gd name="connsiteY863" fmla="*/ 819340 h 845819"/>
                <a:gd name="connsiteX864" fmla="*/ 846201 w 1029843"/>
                <a:gd name="connsiteY864" fmla="*/ 820769 h 845819"/>
                <a:gd name="connsiteX865" fmla="*/ 847344 w 1029843"/>
                <a:gd name="connsiteY865" fmla="*/ 817436 h 845819"/>
                <a:gd name="connsiteX866" fmla="*/ 845153 w 1029843"/>
                <a:gd name="connsiteY866" fmla="*/ 812863 h 845819"/>
                <a:gd name="connsiteX867" fmla="*/ 849916 w 1029843"/>
                <a:gd name="connsiteY867" fmla="*/ 812292 h 845819"/>
                <a:gd name="connsiteX868" fmla="*/ 851345 w 1029843"/>
                <a:gd name="connsiteY868" fmla="*/ 810482 h 845819"/>
                <a:gd name="connsiteX869" fmla="*/ 856679 w 1029843"/>
                <a:gd name="connsiteY869" fmla="*/ 814578 h 845819"/>
                <a:gd name="connsiteX870" fmla="*/ 859250 w 1029843"/>
                <a:gd name="connsiteY870" fmla="*/ 809434 h 845819"/>
                <a:gd name="connsiteX871" fmla="*/ 865537 w 1029843"/>
                <a:gd name="connsiteY871" fmla="*/ 808673 h 845819"/>
                <a:gd name="connsiteX872" fmla="*/ 866680 w 1029843"/>
                <a:gd name="connsiteY872" fmla="*/ 805339 h 845819"/>
                <a:gd name="connsiteX873" fmla="*/ 872585 w 1029843"/>
                <a:gd name="connsiteY873" fmla="*/ 801338 h 845819"/>
                <a:gd name="connsiteX874" fmla="*/ 867251 w 1029843"/>
                <a:gd name="connsiteY874" fmla="*/ 797243 h 845819"/>
                <a:gd name="connsiteX875" fmla="*/ 863537 w 1029843"/>
                <a:gd name="connsiteY875" fmla="*/ 792861 h 845819"/>
                <a:gd name="connsiteX876" fmla="*/ 862108 w 1029843"/>
                <a:gd name="connsiteY876" fmla="*/ 794671 h 845819"/>
                <a:gd name="connsiteX877" fmla="*/ 859726 w 1029843"/>
                <a:gd name="connsiteY877" fmla="*/ 788575 h 845819"/>
                <a:gd name="connsiteX878" fmla="*/ 863632 w 1029843"/>
                <a:gd name="connsiteY878" fmla="*/ 781622 h 845819"/>
                <a:gd name="connsiteX879" fmla="*/ 869823 w 1029843"/>
                <a:gd name="connsiteY879" fmla="*/ 779240 h 845819"/>
                <a:gd name="connsiteX880" fmla="*/ 869156 w 1029843"/>
                <a:gd name="connsiteY880" fmla="*/ 774573 h 845819"/>
                <a:gd name="connsiteX881" fmla="*/ 873919 w 1029843"/>
                <a:gd name="connsiteY881" fmla="*/ 773906 h 845819"/>
                <a:gd name="connsiteX882" fmla="*/ 885158 w 1029843"/>
                <a:gd name="connsiteY882" fmla="*/ 774097 h 845819"/>
                <a:gd name="connsiteX883" fmla="*/ 897541 w 1029843"/>
                <a:gd name="connsiteY883" fmla="*/ 758095 h 845819"/>
                <a:gd name="connsiteX884" fmla="*/ 897350 w 1029843"/>
                <a:gd name="connsiteY884" fmla="*/ 756476 h 845819"/>
                <a:gd name="connsiteX885" fmla="*/ 902113 w 1029843"/>
                <a:gd name="connsiteY885" fmla="*/ 755904 h 845819"/>
                <a:gd name="connsiteX886" fmla="*/ 903923 w 1029843"/>
                <a:gd name="connsiteY886" fmla="*/ 757238 h 845819"/>
                <a:gd name="connsiteX887" fmla="*/ 907256 w 1029843"/>
                <a:gd name="connsiteY887" fmla="*/ 758476 h 845819"/>
                <a:gd name="connsiteX888" fmla="*/ 906875 w 1029843"/>
                <a:gd name="connsiteY888" fmla="*/ 755332 h 845819"/>
                <a:gd name="connsiteX889" fmla="*/ 910018 w 1029843"/>
                <a:gd name="connsiteY889" fmla="*/ 754856 h 845819"/>
                <a:gd name="connsiteX890" fmla="*/ 909542 w 1029843"/>
                <a:gd name="connsiteY890" fmla="*/ 751713 h 845819"/>
                <a:gd name="connsiteX891" fmla="*/ 912781 w 1029843"/>
                <a:gd name="connsiteY891" fmla="*/ 751332 h 845819"/>
                <a:gd name="connsiteX892" fmla="*/ 915734 w 1029843"/>
                <a:gd name="connsiteY892" fmla="*/ 749332 h 845819"/>
                <a:gd name="connsiteX893" fmla="*/ 919448 w 1029843"/>
                <a:gd name="connsiteY893" fmla="*/ 753713 h 845819"/>
                <a:gd name="connsiteX894" fmla="*/ 922210 w 1029843"/>
                <a:gd name="connsiteY894" fmla="*/ 750094 h 845819"/>
                <a:gd name="connsiteX895" fmla="*/ 921830 w 1029843"/>
                <a:gd name="connsiteY895" fmla="*/ 746951 h 845819"/>
                <a:gd name="connsiteX896" fmla="*/ 918496 w 1029843"/>
                <a:gd name="connsiteY896" fmla="*/ 745807 h 845819"/>
                <a:gd name="connsiteX897" fmla="*/ 926116 w 1029843"/>
                <a:gd name="connsiteY897" fmla="*/ 743236 h 845819"/>
                <a:gd name="connsiteX898" fmla="*/ 925735 w 1029843"/>
                <a:gd name="connsiteY898" fmla="*/ 740093 h 845819"/>
                <a:gd name="connsiteX899" fmla="*/ 927354 w 1029843"/>
                <a:gd name="connsiteY899" fmla="*/ 739807 h 845819"/>
                <a:gd name="connsiteX900" fmla="*/ 927735 w 1029843"/>
                <a:gd name="connsiteY900" fmla="*/ 743045 h 845819"/>
                <a:gd name="connsiteX901" fmla="*/ 937165 w 1029843"/>
                <a:gd name="connsiteY901" fmla="*/ 741807 h 845819"/>
                <a:gd name="connsiteX902" fmla="*/ 937355 w 1029843"/>
                <a:gd name="connsiteY902" fmla="*/ 743426 h 845819"/>
                <a:gd name="connsiteX903" fmla="*/ 939927 w 1029843"/>
                <a:gd name="connsiteY903" fmla="*/ 738283 h 845819"/>
                <a:gd name="connsiteX904" fmla="*/ 941546 w 1029843"/>
                <a:gd name="connsiteY904" fmla="*/ 737997 h 845819"/>
                <a:gd name="connsiteX905" fmla="*/ 944309 w 1029843"/>
                <a:gd name="connsiteY905" fmla="*/ 734473 h 845819"/>
                <a:gd name="connsiteX906" fmla="*/ 951929 w 1029843"/>
                <a:gd name="connsiteY906" fmla="*/ 731901 h 845819"/>
                <a:gd name="connsiteX907" fmla="*/ 954500 w 1029843"/>
                <a:gd name="connsiteY907" fmla="*/ 726757 h 845819"/>
                <a:gd name="connsiteX908" fmla="*/ 954881 w 1029843"/>
                <a:gd name="connsiteY908" fmla="*/ 704279 h 845819"/>
                <a:gd name="connsiteX909" fmla="*/ 960596 w 1029843"/>
                <a:gd name="connsiteY909" fmla="*/ 698754 h 845819"/>
                <a:gd name="connsiteX910" fmla="*/ 967073 w 1029843"/>
                <a:gd name="connsiteY910" fmla="*/ 699516 h 845819"/>
                <a:gd name="connsiteX911" fmla="*/ 968502 w 1029843"/>
                <a:gd name="connsiteY911" fmla="*/ 697706 h 845819"/>
                <a:gd name="connsiteX912" fmla="*/ 972217 w 1029843"/>
                <a:gd name="connsiteY912" fmla="*/ 702088 h 845819"/>
                <a:gd name="connsiteX913" fmla="*/ 975360 w 1029843"/>
                <a:gd name="connsiteY913" fmla="*/ 701707 h 845819"/>
                <a:gd name="connsiteX914" fmla="*/ 983837 w 1029843"/>
                <a:gd name="connsiteY914" fmla="*/ 705422 h 845819"/>
                <a:gd name="connsiteX915" fmla="*/ 986885 w 1029843"/>
                <a:gd name="connsiteY915" fmla="*/ 716185 h 845819"/>
                <a:gd name="connsiteX916" fmla="*/ 989838 w 1029843"/>
                <a:gd name="connsiteY916" fmla="*/ 714280 h 845819"/>
                <a:gd name="connsiteX917" fmla="*/ 993553 w 1029843"/>
                <a:gd name="connsiteY917" fmla="*/ 718566 h 845819"/>
                <a:gd name="connsiteX918" fmla="*/ 995363 w 1029843"/>
                <a:gd name="connsiteY918" fmla="*/ 719995 h 845819"/>
                <a:gd name="connsiteX919" fmla="*/ 998315 w 1029843"/>
                <a:gd name="connsiteY919" fmla="*/ 717995 h 845819"/>
                <a:gd name="connsiteX920" fmla="*/ 1019080 w 1029843"/>
                <a:gd name="connsiteY920" fmla="*/ 729805 h 845819"/>
                <a:gd name="connsiteX921" fmla="*/ 1020413 w 1029843"/>
                <a:gd name="connsiteY921" fmla="*/ 727996 h 845819"/>
                <a:gd name="connsiteX922" fmla="*/ 1022223 w 1029843"/>
                <a:gd name="connsiteY922" fmla="*/ 729329 h 845819"/>
                <a:gd name="connsiteX923" fmla="*/ 1026509 w 1029843"/>
                <a:gd name="connsiteY923" fmla="*/ 725615 h 845819"/>
                <a:gd name="connsiteX924" fmla="*/ 1029272 w 1029843"/>
                <a:gd name="connsiteY924" fmla="*/ 722090 h 845819"/>
                <a:gd name="connsiteX925" fmla="*/ 1027081 w 1029843"/>
                <a:gd name="connsiteY925" fmla="*/ 717518 h 845819"/>
                <a:gd name="connsiteX926" fmla="*/ 1029843 w 1029843"/>
                <a:gd name="connsiteY926" fmla="*/ 713994 h 845819"/>
                <a:gd name="connsiteX927" fmla="*/ 1029843 w 1029843"/>
                <a:gd name="connsiteY927" fmla="*/ 713994 h 845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</a:cxnLst>
              <a:rect l="l" t="t" r="r" b="b"/>
              <a:pathLst>
                <a:path w="1029843" h="845819">
                  <a:moveTo>
                    <a:pt x="1029843" y="713994"/>
                  </a:moveTo>
                  <a:lnTo>
                    <a:pt x="1026319" y="711232"/>
                  </a:lnTo>
                  <a:lnTo>
                    <a:pt x="1024128" y="706660"/>
                  </a:lnTo>
                  <a:lnTo>
                    <a:pt x="1013651" y="699992"/>
                  </a:lnTo>
                  <a:lnTo>
                    <a:pt x="1011079" y="692277"/>
                  </a:lnTo>
                  <a:lnTo>
                    <a:pt x="1010888" y="690753"/>
                  </a:lnTo>
                  <a:lnTo>
                    <a:pt x="1014603" y="682276"/>
                  </a:lnTo>
                  <a:lnTo>
                    <a:pt x="1012412" y="677704"/>
                  </a:lnTo>
                  <a:lnTo>
                    <a:pt x="1009079" y="676561"/>
                  </a:lnTo>
                  <a:lnTo>
                    <a:pt x="1010222" y="673132"/>
                  </a:lnTo>
                  <a:lnTo>
                    <a:pt x="1007650" y="665512"/>
                  </a:lnTo>
                  <a:lnTo>
                    <a:pt x="1008602" y="660559"/>
                  </a:lnTo>
                  <a:lnTo>
                    <a:pt x="1008031" y="655796"/>
                  </a:lnTo>
                  <a:lnTo>
                    <a:pt x="1010984" y="653796"/>
                  </a:lnTo>
                  <a:lnTo>
                    <a:pt x="1012126" y="650462"/>
                  </a:lnTo>
                  <a:lnTo>
                    <a:pt x="1009555" y="642747"/>
                  </a:lnTo>
                  <a:lnTo>
                    <a:pt x="1006412" y="643223"/>
                  </a:lnTo>
                  <a:lnTo>
                    <a:pt x="1008793" y="636461"/>
                  </a:lnTo>
                  <a:lnTo>
                    <a:pt x="1003649" y="633889"/>
                  </a:lnTo>
                  <a:lnTo>
                    <a:pt x="1002601" y="625983"/>
                  </a:lnTo>
                  <a:lnTo>
                    <a:pt x="995458" y="620554"/>
                  </a:lnTo>
                  <a:lnTo>
                    <a:pt x="994886" y="615791"/>
                  </a:lnTo>
                  <a:lnTo>
                    <a:pt x="988600" y="616553"/>
                  </a:lnTo>
                  <a:lnTo>
                    <a:pt x="983647" y="615601"/>
                  </a:lnTo>
                  <a:lnTo>
                    <a:pt x="977551" y="605123"/>
                  </a:lnTo>
                  <a:lnTo>
                    <a:pt x="978503" y="600265"/>
                  </a:lnTo>
                  <a:lnTo>
                    <a:pt x="973550" y="599218"/>
                  </a:lnTo>
                  <a:lnTo>
                    <a:pt x="972502" y="591407"/>
                  </a:lnTo>
                  <a:lnTo>
                    <a:pt x="969169" y="590169"/>
                  </a:lnTo>
                  <a:lnTo>
                    <a:pt x="964406" y="590836"/>
                  </a:lnTo>
                  <a:lnTo>
                    <a:pt x="962501" y="587788"/>
                  </a:lnTo>
                  <a:lnTo>
                    <a:pt x="960692" y="586454"/>
                  </a:lnTo>
                  <a:lnTo>
                    <a:pt x="960120" y="581692"/>
                  </a:lnTo>
                  <a:lnTo>
                    <a:pt x="953167" y="577786"/>
                  </a:lnTo>
                  <a:lnTo>
                    <a:pt x="952595" y="573024"/>
                  </a:lnTo>
                  <a:lnTo>
                    <a:pt x="943070" y="561404"/>
                  </a:lnTo>
                  <a:lnTo>
                    <a:pt x="944213" y="558070"/>
                  </a:lnTo>
                  <a:lnTo>
                    <a:pt x="942023" y="553593"/>
                  </a:lnTo>
                  <a:lnTo>
                    <a:pt x="941642" y="550355"/>
                  </a:lnTo>
                  <a:lnTo>
                    <a:pt x="930783" y="540544"/>
                  </a:lnTo>
                  <a:lnTo>
                    <a:pt x="926401" y="531495"/>
                  </a:lnTo>
                  <a:lnTo>
                    <a:pt x="922687" y="527113"/>
                  </a:lnTo>
                  <a:lnTo>
                    <a:pt x="922020" y="522446"/>
                  </a:lnTo>
                  <a:lnTo>
                    <a:pt x="918305" y="518065"/>
                  </a:lnTo>
                  <a:lnTo>
                    <a:pt x="907256" y="519494"/>
                  </a:lnTo>
                  <a:lnTo>
                    <a:pt x="903923" y="518350"/>
                  </a:lnTo>
                  <a:lnTo>
                    <a:pt x="900970" y="520255"/>
                  </a:lnTo>
                  <a:lnTo>
                    <a:pt x="899732" y="523684"/>
                  </a:lnTo>
                  <a:lnTo>
                    <a:pt x="896588" y="524065"/>
                  </a:lnTo>
                  <a:lnTo>
                    <a:pt x="885730" y="514255"/>
                  </a:lnTo>
                  <a:lnTo>
                    <a:pt x="878776" y="497491"/>
                  </a:lnTo>
                  <a:lnTo>
                    <a:pt x="869728" y="489013"/>
                  </a:lnTo>
                  <a:lnTo>
                    <a:pt x="869251" y="485870"/>
                  </a:lnTo>
                  <a:lnTo>
                    <a:pt x="873443" y="480536"/>
                  </a:lnTo>
                  <a:lnTo>
                    <a:pt x="871061" y="474440"/>
                  </a:lnTo>
                  <a:lnTo>
                    <a:pt x="873824" y="470821"/>
                  </a:lnTo>
                  <a:lnTo>
                    <a:pt x="869823" y="464915"/>
                  </a:lnTo>
                  <a:lnTo>
                    <a:pt x="869061" y="458629"/>
                  </a:lnTo>
                  <a:lnTo>
                    <a:pt x="867061" y="455676"/>
                  </a:lnTo>
                  <a:lnTo>
                    <a:pt x="862489" y="457867"/>
                  </a:lnTo>
                  <a:lnTo>
                    <a:pt x="858965" y="455105"/>
                  </a:lnTo>
                  <a:lnTo>
                    <a:pt x="852868" y="457486"/>
                  </a:lnTo>
                  <a:lnTo>
                    <a:pt x="844391" y="453771"/>
                  </a:lnTo>
                  <a:lnTo>
                    <a:pt x="838200" y="456152"/>
                  </a:lnTo>
                  <a:lnTo>
                    <a:pt x="831342" y="452152"/>
                  </a:lnTo>
                  <a:lnTo>
                    <a:pt x="829723" y="452438"/>
                  </a:lnTo>
                  <a:lnTo>
                    <a:pt x="825246" y="454533"/>
                  </a:lnTo>
                  <a:lnTo>
                    <a:pt x="821531" y="463105"/>
                  </a:lnTo>
                  <a:lnTo>
                    <a:pt x="821912" y="466249"/>
                  </a:lnTo>
                  <a:lnTo>
                    <a:pt x="816007" y="470154"/>
                  </a:lnTo>
                  <a:lnTo>
                    <a:pt x="811244" y="470821"/>
                  </a:lnTo>
                  <a:lnTo>
                    <a:pt x="809816" y="459772"/>
                  </a:lnTo>
                  <a:lnTo>
                    <a:pt x="802672" y="454247"/>
                  </a:lnTo>
                  <a:lnTo>
                    <a:pt x="803720" y="449294"/>
                  </a:lnTo>
                  <a:lnTo>
                    <a:pt x="801148" y="441579"/>
                  </a:lnTo>
                  <a:lnTo>
                    <a:pt x="799148" y="438626"/>
                  </a:lnTo>
                  <a:lnTo>
                    <a:pt x="789623" y="439865"/>
                  </a:lnTo>
                  <a:lnTo>
                    <a:pt x="789242" y="436721"/>
                  </a:lnTo>
                  <a:lnTo>
                    <a:pt x="792956" y="428244"/>
                  </a:lnTo>
                  <a:lnTo>
                    <a:pt x="791242" y="426815"/>
                  </a:lnTo>
                  <a:lnTo>
                    <a:pt x="784289" y="422910"/>
                  </a:lnTo>
                  <a:lnTo>
                    <a:pt x="783717" y="418148"/>
                  </a:lnTo>
                  <a:lnTo>
                    <a:pt x="778764" y="417195"/>
                  </a:lnTo>
                  <a:lnTo>
                    <a:pt x="771620" y="424529"/>
                  </a:lnTo>
                  <a:lnTo>
                    <a:pt x="763143" y="420815"/>
                  </a:lnTo>
                  <a:lnTo>
                    <a:pt x="765715" y="415671"/>
                  </a:lnTo>
                  <a:lnTo>
                    <a:pt x="760762" y="401860"/>
                  </a:lnTo>
                  <a:lnTo>
                    <a:pt x="757238" y="399098"/>
                  </a:lnTo>
                  <a:lnTo>
                    <a:pt x="752475" y="399669"/>
                  </a:lnTo>
                  <a:lnTo>
                    <a:pt x="751904" y="395002"/>
                  </a:lnTo>
                  <a:lnTo>
                    <a:pt x="753237" y="393192"/>
                  </a:lnTo>
                  <a:lnTo>
                    <a:pt x="755618" y="386429"/>
                  </a:lnTo>
                  <a:lnTo>
                    <a:pt x="759524" y="379571"/>
                  </a:lnTo>
                  <a:lnTo>
                    <a:pt x="762286" y="375952"/>
                  </a:lnTo>
                  <a:lnTo>
                    <a:pt x="763619" y="374237"/>
                  </a:lnTo>
                  <a:lnTo>
                    <a:pt x="768382" y="373571"/>
                  </a:lnTo>
                  <a:lnTo>
                    <a:pt x="768953" y="378333"/>
                  </a:lnTo>
                  <a:lnTo>
                    <a:pt x="771334" y="384429"/>
                  </a:lnTo>
                  <a:lnTo>
                    <a:pt x="777716" y="383667"/>
                  </a:lnTo>
                  <a:lnTo>
                    <a:pt x="778478" y="377095"/>
                  </a:lnTo>
                  <a:lnTo>
                    <a:pt x="776097" y="370999"/>
                  </a:lnTo>
                  <a:lnTo>
                    <a:pt x="772477" y="368236"/>
                  </a:lnTo>
                  <a:lnTo>
                    <a:pt x="769144" y="367094"/>
                  </a:lnTo>
                  <a:lnTo>
                    <a:pt x="772097" y="365093"/>
                  </a:lnTo>
                  <a:lnTo>
                    <a:pt x="780002" y="364141"/>
                  </a:lnTo>
                  <a:lnTo>
                    <a:pt x="777621" y="358045"/>
                  </a:lnTo>
                  <a:lnTo>
                    <a:pt x="785908" y="360140"/>
                  </a:lnTo>
                  <a:lnTo>
                    <a:pt x="793433" y="355949"/>
                  </a:lnTo>
                  <a:lnTo>
                    <a:pt x="789242" y="348520"/>
                  </a:lnTo>
                  <a:lnTo>
                    <a:pt x="796576" y="342805"/>
                  </a:lnTo>
                  <a:lnTo>
                    <a:pt x="799719" y="342329"/>
                  </a:lnTo>
                  <a:lnTo>
                    <a:pt x="803243" y="345091"/>
                  </a:lnTo>
                  <a:lnTo>
                    <a:pt x="806387" y="344710"/>
                  </a:lnTo>
                  <a:lnTo>
                    <a:pt x="802481" y="338804"/>
                  </a:lnTo>
                  <a:lnTo>
                    <a:pt x="803815" y="336994"/>
                  </a:lnTo>
                  <a:lnTo>
                    <a:pt x="805815" y="339947"/>
                  </a:lnTo>
                  <a:lnTo>
                    <a:pt x="812483" y="342329"/>
                  </a:lnTo>
                  <a:lnTo>
                    <a:pt x="815435" y="340328"/>
                  </a:lnTo>
                  <a:lnTo>
                    <a:pt x="819055" y="343090"/>
                  </a:lnTo>
                  <a:lnTo>
                    <a:pt x="824293" y="334423"/>
                  </a:lnTo>
                  <a:lnTo>
                    <a:pt x="823722" y="329660"/>
                  </a:lnTo>
                  <a:lnTo>
                    <a:pt x="829818" y="327279"/>
                  </a:lnTo>
                  <a:lnTo>
                    <a:pt x="831247" y="325469"/>
                  </a:lnTo>
                  <a:lnTo>
                    <a:pt x="828389" y="316230"/>
                  </a:lnTo>
                  <a:lnTo>
                    <a:pt x="829627" y="312896"/>
                  </a:lnTo>
                  <a:lnTo>
                    <a:pt x="835724" y="310515"/>
                  </a:lnTo>
                  <a:lnTo>
                    <a:pt x="837343" y="310325"/>
                  </a:lnTo>
                  <a:lnTo>
                    <a:pt x="844201" y="314230"/>
                  </a:lnTo>
                  <a:lnTo>
                    <a:pt x="846201" y="317182"/>
                  </a:lnTo>
                  <a:lnTo>
                    <a:pt x="853345" y="322707"/>
                  </a:lnTo>
                  <a:lnTo>
                    <a:pt x="863727" y="316516"/>
                  </a:lnTo>
                  <a:lnTo>
                    <a:pt x="872776" y="299371"/>
                  </a:lnTo>
                  <a:lnTo>
                    <a:pt x="881825" y="294989"/>
                  </a:lnTo>
                  <a:lnTo>
                    <a:pt x="891921" y="285750"/>
                  </a:lnTo>
                  <a:lnTo>
                    <a:pt x="891540" y="282511"/>
                  </a:lnTo>
                  <a:lnTo>
                    <a:pt x="889540" y="279559"/>
                  </a:lnTo>
                  <a:lnTo>
                    <a:pt x="891064" y="279368"/>
                  </a:lnTo>
                  <a:lnTo>
                    <a:pt x="881825" y="269367"/>
                  </a:lnTo>
                  <a:lnTo>
                    <a:pt x="888111" y="268510"/>
                  </a:lnTo>
                  <a:lnTo>
                    <a:pt x="898589" y="262414"/>
                  </a:lnTo>
                  <a:lnTo>
                    <a:pt x="898970" y="252698"/>
                  </a:lnTo>
                  <a:lnTo>
                    <a:pt x="892778" y="242316"/>
                  </a:lnTo>
                  <a:lnTo>
                    <a:pt x="893921" y="238982"/>
                  </a:lnTo>
                  <a:lnTo>
                    <a:pt x="903637" y="239268"/>
                  </a:lnTo>
                  <a:lnTo>
                    <a:pt x="908209" y="237172"/>
                  </a:lnTo>
                  <a:lnTo>
                    <a:pt x="921163" y="225838"/>
                  </a:lnTo>
                  <a:lnTo>
                    <a:pt x="920401" y="219551"/>
                  </a:lnTo>
                  <a:lnTo>
                    <a:pt x="917734" y="211836"/>
                  </a:lnTo>
                  <a:lnTo>
                    <a:pt x="908685" y="203359"/>
                  </a:lnTo>
                  <a:lnTo>
                    <a:pt x="906113" y="195739"/>
                  </a:lnTo>
                  <a:lnTo>
                    <a:pt x="897446" y="190405"/>
                  </a:lnTo>
                  <a:lnTo>
                    <a:pt x="893445" y="184499"/>
                  </a:lnTo>
                  <a:lnTo>
                    <a:pt x="885158" y="182309"/>
                  </a:lnTo>
                  <a:lnTo>
                    <a:pt x="875252" y="167545"/>
                  </a:lnTo>
                  <a:lnTo>
                    <a:pt x="874395" y="161258"/>
                  </a:lnTo>
                  <a:lnTo>
                    <a:pt x="872871" y="161449"/>
                  </a:lnTo>
                  <a:lnTo>
                    <a:pt x="869728" y="161830"/>
                  </a:lnTo>
                  <a:lnTo>
                    <a:pt x="867727" y="158877"/>
                  </a:lnTo>
                  <a:lnTo>
                    <a:pt x="863156" y="148209"/>
                  </a:lnTo>
                  <a:lnTo>
                    <a:pt x="855250" y="149257"/>
                  </a:lnTo>
                  <a:lnTo>
                    <a:pt x="854678" y="144494"/>
                  </a:lnTo>
                  <a:lnTo>
                    <a:pt x="848297" y="132493"/>
                  </a:lnTo>
                  <a:lnTo>
                    <a:pt x="834866" y="127825"/>
                  </a:lnTo>
                  <a:lnTo>
                    <a:pt x="828580" y="128588"/>
                  </a:lnTo>
                  <a:lnTo>
                    <a:pt x="824675" y="135541"/>
                  </a:lnTo>
                  <a:lnTo>
                    <a:pt x="818102" y="134779"/>
                  </a:lnTo>
                  <a:lnTo>
                    <a:pt x="806863" y="134588"/>
                  </a:lnTo>
                  <a:lnTo>
                    <a:pt x="805720" y="125063"/>
                  </a:lnTo>
                  <a:lnTo>
                    <a:pt x="804101" y="125254"/>
                  </a:lnTo>
                  <a:lnTo>
                    <a:pt x="800957" y="125730"/>
                  </a:lnTo>
                  <a:lnTo>
                    <a:pt x="792861" y="125158"/>
                  </a:lnTo>
                  <a:lnTo>
                    <a:pt x="789908" y="127064"/>
                  </a:lnTo>
                  <a:lnTo>
                    <a:pt x="774859" y="122587"/>
                  </a:lnTo>
                  <a:lnTo>
                    <a:pt x="771716" y="122968"/>
                  </a:lnTo>
                  <a:lnTo>
                    <a:pt x="763524" y="146494"/>
                  </a:lnTo>
                  <a:lnTo>
                    <a:pt x="765143" y="159163"/>
                  </a:lnTo>
                  <a:lnTo>
                    <a:pt x="763524" y="159353"/>
                  </a:lnTo>
                  <a:lnTo>
                    <a:pt x="765524" y="162306"/>
                  </a:lnTo>
                  <a:lnTo>
                    <a:pt x="762952" y="167449"/>
                  </a:lnTo>
                  <a:lnTo>
                    <a:pt x="747141" y="169450"/>
                  </a:lnTo>
                  <a:lnTo>
                    <a:pt x="741235" y="173355"/>
                  </a:lnTo>
                  <a:lnTo>
                    <a:pt x="736092" y="170878"/>
                  </a:lnTo>
                  <a:lnTo>
                    <a:pt x="737711" y="170593"/>
                  </a:lnTo>
                  <a:lnTo>
                    <a:pt x="734759" y="159829"/>
                  </a:lnTo>
                  <a:lnTo>
                    <a:pt x="730568" y="152305"/>
                  </a:lnTo>
                  <a:lnTo>
                    <a:pt x="714947" y="143066"/>
                  </a:lnTo>
                  <a:lnTo>
                    <a:pt x="707231" y="145637"/>
                  </a:lnTo>
                  <a:lnTo>
                    <a:pt x="704850" y="139541"/>
                  </a:lnTo>
                  <a:lnTo>
                    <a:pt x="701516" y="138398"/>
                  </a:lnTo>
                  <a:lnTo>
                    <a:pt x="699516" y="135445"/>
                  </a:lnTo>
                  <a:lnTo>
                    <a:pt x="691706" y="136398"/>
                  </a:lnTo>
                  <a:lnTo>
                    <a:pt x="688086" y="133636"/>
                  </a:lnTo>
                  <a:lnTo>
                    <a:pt x="681800" y="134493"/>
                  </a:lnTo>
                  <a:lnTo>
                    <a:pt x="679609" y="142780"/>
                  </a:lnTo>
                  <a:lnTo>
                    <a:pt x="676656" y="144780"/>
                  </a:lnTo>
                  <a:lnTo>
                    <a:pt x="673513" y="145161"/>
                  </a:lnTo>
                  <a:lnTo>
                    <a:pt x="672560" y="150114"/>
                  </a:lnTo>
                  <a:lnTo>
                    <a:pt x="664083" y="159163"/>
                  </a:lnTo>
                  <a:lnTo>
                    <a:pt x="659321" y="159734"/>
                  </a:lnTo>
                  <a:lnTo>
                    <a:pt x="659797" y="162973"/>
                  </a:lnTo>
                  <a:lnTo>
                    <a:pt x="655606" y="168307"/>
                  </a:lnTo>
                  <a:lnTo>
                    <a:pt x="653129" y="186214"/>
                  </a:lnTo>
                  <a:lnTo>
                    <a:pt x="653510" y="189357"/>
                  </a:lnTo>
                  <a:lnTo>
                    <a:pt x="652367" y="192786"/>
                  </a:lnTo>
                  <a:lnTo>
                    <a:pt x="642271" y="189167"/>
                  </a:lnTo>
                  <a:lnTo>
                    <a:pt x="631603" y="206597"/>
                  </a:lnTo>
                  <a:lnTo>
                    <a:pt x="626269" y="202501"/>
                  </a:lnTo>
                  <a:lnTo>
                    <a:pt x="624364" y="199549"/>
                  </a:lnTo>
                  <a:lnTo>
                    <a:pt x="619411" y="198596"/>
                  </a:lnTo>
                  <a:lnTo>
                    <a:pt x="609124" y="193453"/>
                  </a:lnTo>
                  <a:lnTo>
                    <a:pt x="605600" y="190691"/>
                  </a:lnTo>
                  <a:lnTo>
                    <a:pt x="605123" y="187547"/>
                  </a:lnTo>
                  <a:lnTo>
                    <a:pt x="610648" y="180403"/>
                  </a:lnTo>
                  <a:lnTo>
                    <a:pt x="618363" y="177832"/>
                  </a:lnTo>
                  <a:lnTo>
                    <a:pt x="628555" y="170117"/>
                  </a:lnTo>
                  <a:lnTo>
                    <a:pt x="626650" y="167164"/>
                  </a:lnTo>
                  <a:lnTo>
                    <a:pt x="618363" y="164973"/>
                  </a:lnTo>
                  <a:lnTo>
                    <a:pt x="617125" y="155543"/>
                  </a:lnTo>
                  <a:lnTo>
                    <a:pt x="613791" y="154400"/>
                  </a:lnTo>
                  <a:lnTo>
                    <a:pt x="616268" y="149257"/>
                  </a:lnTo>
                  <a:lnTo>
                    <a:pt x="614743" y="136589"/>
                  </a:lnTo>
                  <a:lnTo>
                    <a:pt x="612076" y="128873"/>
                  </a:lnTo>
                  <a:lnTo>
                    <a:pt x="612934" y="122396"/>
                  </a:lnTo>
                  <a:lnTo>
                    <a:pt x="609505" y="121253"/>
                  </a:lnTo>
                  <a:lnTo>
                    <a:pt x="605600" y="115348"/>
                  </a:lnTo>
                  <a:lnTo>
                    <a:pt x="606552" y="110395"/>
                  </a:lnTo>
                  <a:lnTo>
                    <a:pt x="606171" y="107251"/>
                  </a:lnTo>
                  <a:lnTo>
                    <a:pt x="587597" y="99917"/>
                  </a:lnTo>
                  <a:lnTo>
                    <a:pt x="578072" y="101155"/>
                  </a:lnTo>
                  <a:lnTo>
                    <a:pt x="576739" y="102965"/>
                  </a:lnTo>
                  <a:lnTo>
                    <a:pt x="572452" y="106680"/>
                  </a:lnTo>
                  <a:lnTo>
                    <a:pt x="565880" y="105918"/>
                  </a:lnTo>
                  <a:lnTo>
                    <a:pt x="563309" y="111062"/>
                  </a:lnTo>
                  <a:lnTo>
                    <a:pt x="556641" y="108680"/>
                  </a:lnTo>
                  <a:lnTo>
                    <a:pt x="549116" y="112871"/>
                  </a:lnTo>
                  <a:lnTo>
                    <a:pt x="533972" y="119634"/>
                  </a:lnTo>
                  <a:lnTo>
                    <a:pt x="533019" y="124587"/>
                  </a:lnTo>
                  <a:lnTo>
                    <a:pt x="517970" y="120015"/>
                  </a:lnTo>
                  <a:lnTo>
                    <a:pt x="518732" y="113538"/>
                  </a:lnTo>
                  <a:lnTo>
                    <a:pt x="518160" y="108775"/>
                  </a:lnTo>
                  <a:lnTo>
                    <a:pt x="514731" y="94774"/>
                  </a:lnTo>
                  <a:lnTo>
                    <a:pt x="511016" y="90488"/>
                  </a:lnTo>
                  <a:lnTo>
                    <a:pt x="509778" y="80963"/>
                  </a:lnTo>
                  <a:lnTo>
                    <a:pt x="506444" y="79819"/>
                  </a:lnTo>
                  <a:lnTo>
                    <a:pt x="498539" y="68008"/>
                  </a:lnTo>
                  <a:lnTo>
                    <a:pt x="494538" y="62103"/>
                  </a:lnTo>
                  <a:lnTo>
                    <a:pt x="496634" y="40957"/>
                  </a:lnTo>
                  <a:lnTo>
                    <a:pt x="487966" y="35623"/>
                  </a:lnTo>
                  <a:lnTo>
                    <a:pt x="485394" y="28003"/>
                  </a:lnTo>
                  <a:lnTo>
                    <a:pt x="466630" y="32004"/>
                  </a:lnTo>
                  <a:lnTo>
                    <a:pt x="465677" y="36862"/>
                  </a:lnTo>
                  <a:lnTo>
                    <a:pt x="459962" y="42481"/>
                  </a:lnTo>
                  <a:lnTo>
                    <a:pt x="446913" y="40862"/>
                  </a:lnTo>
                  <a:lnTo>
                    <a:pt x="436340" y="45434"/>
                  </a:lnTo>
                  <a:lnTo>
                    <a:pt x="431959" y="49244"/>
                  </a:lnTo>
                  <a:lnTo>
                    <a:pt x="430435" y="49435"/>
                  </a:lnTo>
                  <a:lnTo>
                    <a:pt x="420148" y="44291"/>
                  </a:lnTo>
                  <a:lnTo>
                    <a:pt x="409289" y="47339"/>
                  </a:lnTo>
                  <a:lnTo>
                    <a:pt x="404336" y="46292"/>
                  </a:lnTo>
                  <a:lnTo>
                    <a:pt x="397383" y="42386"/>
                  </a:lnTo>
                  <a:lnTo>
                    <a:pt x="394621" y="33147"/>
                  </a:lnTo>
                  <a:lnTo>
                    <a:pt x="390906" y="28766"/>
                  </a:lnTo>
                  <a:lnTo>
                    <a:pt x="382619" y="26670"/>
                  </a:lnTo>
                  <a:lnTo>
                    <a:pt x="377285" y="22479"/>
                  </a:lnTo>
                  <a:lnTo>
                    <a:pt x="369189" y="21907"/>
                  </a:lnTo>
                  <a:lnTo>
                    <a:pt x="350996" y="17812"/>
                  </a:lnTo>
                  <a:lnTo>
                    <a:pt x="348043" y="6953"/>
                  </a:lnTo>
                  <a:lnTo>
                    <a:pt x="337947" y="3429"/>
                  </a:lnTo>
                  <a:lnTo>
                    <a:pt x="321564" y="762"/>
                  </a:lnTo>
                  <a:lnTo>
                    <a:pt x="309372" y="5524"/>
                  </a:lnTo>
                  <a:lnTo>
                    <a:pt x="302228" y="0"/>
                  </a:lnTo>
                  <a:lnTo>
                    <a:pt x="292703" y="1238"/>
                  </a:lnTo>
                  <a:lnTo>
                    <a:pt x="292989" y="15621"/>
                  </a:lnTo>
                  <a:lnTo>
                    <a:pt x="293942" y="23527"/>
                  </a:lnTo>
                  <a:lnTo>
                    <a:pt x="297942" y="29432"/>
                  </a:lnTo>
                  <a:lnTo>
                    <a:pt x="313754" y="40195"/>
                  </a:lnTo>
                  <a:lnTo>
                    <a:pt x="318325" y="50864"/>
                  </a:lnTo>
                  <a:lnTo>
                    <a:pt x="316135" y="59150"/>
                  </a:lnTo>
                  <a:lnTo>
                    <a:pt x="308324" y="72962"/>
                  </a:lnTo>
                  <a:lnTo>
                    <a:pt x="307086" y="76391"/>
                  </a:lnTo>
                  <a:lnTo>
                    <a:pt x="314230" y="81820"/>
                  </a:lnTo>
                  <a:lnTo>
                    <a:pt x="312706" y="94869"/>
                  </a:lnTo>
                  <a:lnTo>
                    <a:pt x="314706" y="97822"/>
                  </a:lnTo>
                  <a:lnTo>
                    <a:pt x="311182" y="107918"/>
                  </a:lnTo>
                  <a:lnTo>
                    <a:pt x="311753" y="112681"/>
                  </a:lnTo>
                  <a:lnTo>
                    <a:pt x="313563" y="114014"/>
                  </a:lnTo>
                  <a:lnTo>
                    <a:pt x="319945" y="138874"/>
                  </a:lnTo>
                  <a:lnTo>
                    <a:pt x="326993" y="144399"/>
                  </a:lnTo>
                  <a:lnTo>
                    <a:pt x="319945" y="151733"/>
                  </a:lnTo>
                  <a:lnTo>
                    <a:pt x="314801" y="161925"/>
                  </a:lnTo>
                  <a:lnTo>
                    <a:pt x="314992" y="163544"/>
                  </a:lnTo>
                  <a:lnTo>
                    <a:pt x="325469" y="170212"/>
                  </a:lnTo>
                  <a:lnTo>
                    <a:pt x="329660" y="177737"/>
                  </a:lnTo>
                  <a:lnTo>
                    <a:pt x="330518" y="184023"/>
                  </a:lnTo>
                  <a:lnTo>
                    <a:pt x="339185" y="189357"/>
                  </a:lnTo>
                  <a:lnTo>
                    <a:pt x="333470" y="194881"/>
                  </a:lnTo>
                  <a:lnTo>
                    <a:pt x="326803" y="205359"/>
                  </a:lnTo>
                  <a:lnTo>
                    <a:pt x="328994" y="209931"/>
                  </a:lnTo>
                  <a:lnTo>
                    <a:pt x="318516" y="228886"/>
                  </a:lnTo>
                  <a:lnTo>
                    <a:pt x="325660" y="234315"/>
                  </a:lnTo>
                  <a:lnTo>
                    <a:pt x="335375" y="234696"/>
                  </a:lnTo>
                  <a:lnTo>
                    <a:pt x="332804" y="239840"/>
                  </a:lnTo>
                  <a:lnTo>
                    <a:pt x="328232" y="242030"/>
                  </a:lnTo>
                  <a:lnTo>
                    <a:pt x="339281" y="253460"/>
                  </a:lnTo>
                  <a:lnTo>
                    <a:pt x="334423" y="252508"/>
                  </a:lnTo>
                  <a:lnTo>
                    <a:pt x="334613" y="254032"/>
                  </a:lnTo>
                  <a:lnTo>
                    <a:pt x="341090" y="254889"/>
                  </a:lnTo>
                  <a:lnTo>
                    <a:pt x="343472" y="260985"/>
                  </a:lnTo>
                  <a:lnTo>
                    <a:pt x="348806" y="265081"/>
                  </a:lnTo>
                  <a:lnTo>
                    <a:pt x="349187" y="268224"/>
                  </a:lnTo>
                  <a:lnTo>
                    <a:pt x="352806" y="270986"/>
                  </a:lnTo>
                  <a:lnTo>
                    <a:pt x="356997" y="278511"/>
                  </a:lnTo>
                  <a:lnTo>
                    <a:pt x="358521" y="278320"/>
                  </a:lnTo>
                  <a:lnTo>
                    <a:pt x="359283" y="284607"/>
                  </a:lnTo>
                  <a:lnTo>
                    <a:pt x="363284" y="290513"/>
                  </a:lnTo>
                  <a:lnTo>
                    <a:pt x="362141" y="293846"/>
                  </a:lnTo>
                  <a:lnTo>
                    <a:pt x="340043" y="296704"/>
                  </a:lnTo>
                  <a:lnTo>
                    <a:pt x="335471" y="298894"/>
                  </a:lnTo>
                  <a:lnTo>
                    <a:pt x="334137" y="300609"/>
                  </a:lnTo>
                  <a:lnTo>
                    <a:pt x="331946" y="296132"/>
                  </a:lnTo>
                  <a:lnTo>
                    <a:pt x="329184" y="299657"/>
                  </a:lnTo>
                  <a:lnTo>
                    <a:pt x="331184" y="302609"/>
                  </a:lnTo>
                  <a:lnTo>
                    <a:pt x="328041" y="302990"/>
                  </a:lnTo>
                  <a:lnTo>
                    <a:pt x="326803" y="293561"/>
                  </a:lnTo>
                  <a:lnTo>
                    <a:pt x="323660" y="293942"/>
                  </a:lnTo>
                  <a:lnTo>
                    <a:pt x="323850" y="295561"/>
                  </a:lnTo>
                  <a:lnTo>
                    <a:pt x="320516" y="294323"/>
                  </a:lnTo>
                  <a:lnTo>
                    <a:pt x="320040" y="291179"/>
                  </a:lnTo>
                  <a:lnTo>
                    <a:pt x="318707" y="292989"/>
                  </a:lnTo>
                  <a:lnTo>
                    <a:pt x="318325" y="289846"/>
                  </a:lnTo>
                  <a:lnTo>
                    <a:pt x="316706" y="290036"/>
                  </a:lnTo>
                  <a:lnTo>
                    <a:pt x="310801" y="293942"/>
                  </a:lnTo>
                  <a:lnTo>
                    <a:pt x="309277" y="294227"/>
                  </a:lnTo>
                  <a:lnTo>
                    <a:pt x="304705" y="296323"/>
                  </a:lnTo>
                  <a:lnTo>
                    <a:pt x="301371" y="295180"/>
                  </a:lnTo>
                  <a:lnTo>
                    <a:pt x="302324" y="303086"/>
                  </a:lnTo>
                  <a:lnTo>
                    <a:pt x="294418" y="304133"/>
                  </a:lnTo>
                  <a:lnTo>
                    <a:pt x="292227" y="299561"/>
                  </a:lnTo>
                  <a:lnTo>
                    <a:pt x="287750" y="301752"/>
                  </a:lnTo>
                  <a:lnTo>
                    <a:pt x="285750" y="298799"/>
                  </a:lnTo>
                  <a:lnTo>
                    <a:pt x="279464" y="299561"/>
                  </a:lnTo>
                  <a:lnTo>
                    <a:pt x="278606" y="293275"/>
                  </a:lnTo>
                  <a:lnTo>
                    <a:pt x="267557" y="281845"/>
                  </a:lnTo>
                  <a:lnTo>
                    <a:pt x="268319" y="275368"/>
                  </a:lnTo>
                  <a:lnTo>
                    <a:pt x="270129" y="276701"/>
                  </a:lnTo>
                  <a:lnTo>
                    <a:pt x="269748" y="273558"/>
                  </a:lnTo>
                  <a:lnTo>
                    <a:pt x="267748" y="270605"/>
                  </a:lnTo>
                  <a:lnTo>
                    <a:pt x="254318" y="265938"/>
                  </a:lnTo>
                  <a:lnTo>
                    <a:pt x="254889" y="270605"/>
                  </a:lnTo>
                  <a:lnTo>
                    <a:pt x="256508" y="270415"/>
                  </a:lnTo>
                  <a:lnTo>
                    <a:pt x="253746" y="274034"/>
                  </a:lnTo>
                  <a:lnTo>
                    <a:pt x="257461" y="278320"/>
                  </a:lnTo>
                  <a:lnTo>
                    <a:pt x="256508" y="283273"/>
                  </a:lnTo>
                  <a:lnTo>
                    <a:pt x="254699" y="281845"/>
                  </a:lnTo>
                  <a:lnTo>
                    <a:pt x="253365" y="283655"/>
                  </a:lnTo>
                  <a:lnTo>
                    <a:pt x="248031" y="279559"/>
                  </a:lnTo>
                  <a:lnTo>
                    <a:pt x="247841" y="290798"/>
                  </a:lnTo>
                  <a:lnTo>
                    <a:pt x="240125" y="293370"/>
                  </a:lnTo>
                  <a:lnTo>
                    <a:pt x="238411" y="292036"/>
                  </a:lnTo>
                  <a:lnTo>
                    <a:pt x="229076" y="294799"/>
                  </a:lnTo>
                  <a:lnTo>
                    <a:pt x="228124" y="299752"/>
                  </a:lnTo>
                  <a:lnTo>
                    <a:pt x="226790" y="301466"/>
                  </a:lnTo>
                  <a:lnTo>
                    <a:pt x="230505" y="305848"/>
                  </a:lnTo>
                  <a:lnTo>
                    <a:pt x="231743" y="315278"/>
                  </a:lnTo>
                  <a:lnTo>
                    <a:pt x="238697" y="319183"/>
                  </a:lnTo>
                  <a:lnTo>
                    <a:pt x="237649" y="324136"/>
                  </a:lnTo>
                  <a:lnTo>
                    <a:pt x="232982" y="324803"/>
                  </a:lnTo>
                  <a:lnTo>
                    <a:pt x="234887" y="327755"/>
                  </a:lnTo>
                  <a:lnTo>
                    <a:pt x="232124" y="331280"/>
                  </a:lnTo>
                  <a:lnTo>
                    <a:pt x="231172" y="336232"/>
                  </a:lnTo>
                  <a:lnTo>
                    <a:pt x="226219" y="335280"/>
                  </a:lnTo>
                  <a:lnTo>
                    <a:pt x="223838" y="329089"/>
                  </a:lnTo>
                  <a:lnTo>
                    <a:pt x="220885" y="331089"/>
                  </a:lnTo>
                  <a:lnTo>
                    <a:pt x="218123" y="334709"/>
                  </a:lnTo>
                  <a:lnTo>
                    <a:pt x="221933" y="338995"/>
                  </a:lnTo>
                  <a:lnTo>
                    <a:pt x="222123" y="340614"/>
                  </a:lnTo>
                  <a:lnTo>
                    <a:pt x="218789" y="339376"/>
                  </a:lnTo>
                  <a:lnTo>
                    <a:pt x="218980" y="340995"/>
                  </a:lnTo>
                  <a:lnTo>
                    <a:pt x="213836" y="338423"/>
                  </a:lnTo>
                  <a:lnTo>
                    <a:pt x="212693" y="341757"/>
                  </a:lnTo>
                  <a:lnTo>
                    <a:pt x="207740" y="340805"/>
                  </a:lnTo>
                  <a:lnTo>
                    <a:pt x="203168" y="342995"/>
                  </a:lnTo>
                  <a:lnTo>
                    <a:pt x="196691" y="342233"/>
                  </a:lnTo>
                  <a:lnTo>
                    <a:pt x="196025" y="337471"/>
                  </a:lnTo>
                  <a:lnTo>
                    <a:pt x="192691" y="336328"/>
                  </a:lnTo>
                  <a:lnTo>
                    <a:pt x="195834" y="335947"/>
                  </a:lnTo>
                  <a:lnTo>
                    <a:pt x="195453" y="332708"/>
                  </a:lnTo>
                  <a:lnTo>
                    <a:pt x="190691" y="333375"/>
                  </a:lnTo>
                  <a:lnTo>
                    <a:pt x="188786" y="330422"/>
                  </a:lnTo>
                  <a:lnTo>
                    <a:pt x="196882" y="330994"/>
                  </a:lnTo>
                  <a:lnTo>
                    <a:pt x="196596" y="329375"/>
                  </a:lnTo>
                  <a:lnTo>
                    <a:pt x="193262" y="328232"/>
                  </a:lnTo>
                  <a:lnTo>
                    <a:pt x="191072" y="323659"/>
                  </a:lnTo>
                  <a:lnTo>
                    <a:pt x="194215" y="323279"/>
                  </a:lnTo>
                  <a:lnTo>
                    <a:pt x="190119" y="315754"/>
                  </a:lnTo>
                  <a:lnTo>
                    <a:pt x="191262" y="312420"/>
                  </a:lnTo>
                  <a:lnTo>
                    <a:pt x="187928" y="311277"/>
                  </a:lnTo>
                  <a:lnTo>
                    <a:pt x="182023" y="315182"/>
                  </a:lnTo>
                  <a:lnTo>
                    <a:pt x="181832" y="326422"/>
                  </a:lnTo>
                  <a:lnTo>
                    <a:pt x="174879" y="322517"/>
                  </a:lnTo>
                  <a:lnTo>
                    <a:pt x="172784" y="318040"/>
                  </a:lnTo>
                  <a:lnTo>
                    <a:pt x="166021" y="315659"/>
                  </a:lnTo>
                  <a:lnTo>
                    <a:pt x="164402" y="315849"/>
                  </a:lnTo>
                  <a:lnTo>
                    <a:pt x="160306" y="308324"/>
                  </a:lnTo>
                  <a:lnTo>
                    <a:pt x="161449" y="304990"/>
                  </a:lnTo>
                  <a:lnTo>
                    <a:pt x="153162" y="302895"/>
                  </a:lnTo>
                  <a:lnTo>
                    <a:pt x="152019" y="306229"/>
                  </a:lnTo>
                  <a:lnTo>
                    <a:pt x="150400" y="306419"/>
                  </a:lnTo>
                  <a:lnTo>
                    <a:pt x="148209" y="301847"/>
                  </a:lnTo>
                  <a:lnTo>
                    <a:pt x="144113" y="307181"/>
                  </a:lnTo>
                  <a:lnTo>
                    <a:pt x="142113" y="304229"/>
                  </a:lnTo>
                  <a:lnTo>
                    <a:pt x="133826" y="302133"/>
                  </a:lnTo>
                  <a:lnTo>
                    <a:pt x="134969" y="298704"/>
                  </a:lnTo>
                  <a:lnTo>
                    <a:pt x="126302" y="293465"/>
                  </a:lnTo>
                  <a:lnTo>
                    <a:pt x="124968" y="295180"/>
                  </a:lnTo>
                  <a:lnTo>
                    <a:pt x="121349" y="292513"/>
                  </a:lnTo>
                  <a:lnTo>
                    <a:pt x="116681" y="293084"/>
                  </a:lnTo>
                  <a:lnTo>
                    <a:pt x="115253" y="294894"/>
                  </a:lnTo>
                  <a:lnTo>
                    <a:pt x="111538" y="290513"/>
                  </a:lnTo>
                  <a:lnTo>
                    <a:pt x="110300" y="293846"/>
                  </a:lnTo>
                  <a:lnTo>
                    <a:pt x="107156" y="294323"/>
                  </a:lnTo>
                  <a:lnTo>
                    <a:pt x="106013" y="297656"/>
                  </a:lnTo>
                  <a:lnTo>
                    <a:pt x="104394" y="297847"/>
                  </a:lnTo>
                  <a:lnTo>
                    <a:pt x="101632" y="301371"/>
                  </a:lnTo>
                  <a:lnTo>
                    <a:pt x="103442" y="302800"/>
                  </a:lnTo>
                  <a:lnTo>
                    <a:pt x="95726" y="305371"/>
                  </a:lnTo>
                  <a:lnTo>
                    <a:pt x="96583" y="311658"/>
                  </a:lnTo>
                  <a:lnTo>
                    <a:pt x="91631" y="310705"/>
                  </a:lnTo>
                  <a:lnTo>
                    <a:pt x="93631" y="313658"/>
                  </a:lnTo>
                  <a:lnTo>
                    <a:pt x="92869" y="320135"/>
                  </a:lnTo>
                  <a:lnTo>
                    <a:pt x="93250" y="323279"/>
                  </a:lnTo>
                  <a:lnTo>
                    <a:pt x="88487" y="323945"/>
                  </a:lnTo>
                  <a:lnTo>
                    <a:pt x="85344" y="324326"/>
                  </a:lnTo>
                  <a:lnTo>
                    <a:pt x="80772" y="326517"/>
                  </a:lnTo>
                  <a:lnTo>
                    <a:pt x="71723" y="318040"/>
                  </a:lnTo>
                  <a:lnTo>
                    <a:pt x="63246" y="314325"/>
                  </a:lnTo>
                  <a:lnTo>
                    <a:pt x="54959" y="312134"/>
                  </a:lnTo>
                  <a:lnTo>
                    <a:pt x="51149" y="307848"/>
                  </a:lnTo>
                  <a:lnTo>
                    <a:pt x="47625" y="305086"/>
                  </a:lnTo>
                  <a:lnTo>
                    <a:pt x="35528" y="298609"/>
                  </a:lnTo>
                  <a:lnTo>
                    <a:pt x="34195" y="300419"/>
                  </a:lnTo>
                  <a:lnTo>
                    <a:pt x="29242" y="299371"/>
                  </a:lnTo>
                  <a:lnTo>
                    <a:pt x="28670" y="294704"/>
                  </a:lnTo>
                  <a:lnTo>
                    <a:pt x="26670" y="291751"/>
                  </a:lnTo>
                  <a:lnTo>
                    <a:pt x="25527" y="295084"/>
                  </a:lnTo>
                  <a:lnTo>
                    <a:pt x="23908" y="295275"/>
                  </a:lnTo>
                  <a:lnTo>
                    <a:pt x="24289" y="298418"/>
                  </a:lnTo>
                  <a:lnTo>
                    <a:pt x="22765" y="298609"/>
                  </a:lnTo>
                  <a:lnTo>
                    <a:pt x="23336" y="303371"/>
                  </a:lnTo>
                  <a:lnTo>
                    <a:pt x="16859" y="302609"/>
                  </a:lnTo>
                  <a:lnTo>
                    <a:pt x="17240" y="305753"/>
                  </a:lnTo>
                  <a:lnTo>
                    <a:pt x="9335" y="306705"/>
                  </a:lnTo>
                  <a:lnTo>
                    <a:pt x="4953" y="310515"/>
                  </a:lnTo>
                  <a:lnTo>
                    <a:pt x="6001" y="318421"/>
                  </a:lnTo>
                  <a:lnTo>
                    <a:pt x="8001" y="321373"/>
                  </a:lnTo>
                  <a:lnTo>
                    <a:pt x="11335" y="322517"/>
                  </a:lnTo>
                  <a:lnTo>
                    <a:pt x="18860" y="331184"/>
                  </a:lnTo>
                  <a:lnTo>
                    <a:pt x="19431" y="335947"/>
                  </a:lnTo>
                  <a:lnTo>
                    <a:pt x="18288" y="339280"/>
                  </a:lnTo>
                  <a:lnTo>
                    <a:pt x="16954" y="341090"/>
                  </a:lnTo>
                  <a:lnTo>
                    <a:pt x="20288" y="342233"/>
                  </a:lnTo>
                  <a:lnTo>
                    <a:pt x="25622" y="346329"/>
                  </a:lnTo>
                  <a:lnTo>
                    <a:pt x="24194" y="348139"/>
                  </a:lnTo>
                  <a:lnTo>
                    <a:pt x="24670" y="351282"/>
                  </a:lnTo>
                  <a:lnTo>
                    <a:pt x="21241" y="350139"/>
                  </a:lnTo>
                  <a:lnTo>
                    <a:pt x="19907" y="351949"/>
                  </a:lnTo>
                  <a:lnTo>
                    <a:pt x="21431" y="351663"/>
                  </a:lnTo>
                  <a:lnTo>
                    <a:pt x="21908" y="354902"/>
                  </a:lnTo>
                  <a:lnTo>
                    <a:pt x="20669" y="358235"/>
                  </a:lnTo>
                  <a:lnTo>
                    <a:pt x="22289" y="358045"/>
                  </a:lnTo>
                  <a:lnTo>
                    <a:pt x="21527" y="364522"/>
                  </a:lnTo>
                  <a:lnTo>
                    <a:pt x="19907" y="364712"/>
                  </a:lnTo>
                  <a:lnTo>
                    <a:pt x="20574" y="369475"/>
                  </a:lnTo>
                  <a:lnTo>
                    <a:pt x="16193" y="373190"/>
                  </a:lnTo>
                  <a:lnTo>
                    <a:pt x="18574" y="379381"/>
                  </a:lnTo>
                  <a:lnTo>
                    <a:pt x="23146" y="377190"/>
                  </a:lnTo>
                  <a:lnTo>
                    <a:pt x="23527" y="380333"/>
                  </a:lnTo>
                  <a:lnTo>
                    <a:pt x="26479" y="378333"/>
                  </a:lnTo>
                  <a:lnTo>
                    <a:pt x="28289" y="379667"/>
                  </a:lnTo>
                  <a:lnTo>
                    <a:pt x="34195" y="388620"/>
                  </a:lnTo>
                  <a:lnTo>
                    <a:pt x="34576" y="391763"/>
                  </a:lnTo>
                  <a:lnTo>
                    <a:pt x="29813" y="392335"/>
                  </a:lnTo>
                  <a:lnTo>
                    <a:pt x="30480" y="397097"/>
                  </a:lnTo>
                  <a:lnTo>
                    <a:pt x="33814" y="398240"/>
                  </a:lnTo>
                  <a:lnTo>
                    <a:pt x="32671" y="401574"/>
                  </a:lnTo>
                  <a:lnTo>
                    <a:pt x="39338" y="403955"/>
                  </a:lnTo>
                  <a:lnTo>
                    <a:pt x="34100" y="425482"/>
                  </a:lnTo>
                  <a:lnTo>
                    <a:pt x="32290" y="424053"/>
                  </a:lnTo>
                  <a:lnTo>
                    <a:pt x="31147" y="427482"/>
                  </a:lnTo>
                  <a:lnTo>
                    <a:pt x="29147" y="424529"/>
                  </a:lnTo>
                  <a:lnTo>
                    <a:pt x="28004" y="427863"/>
                  </a:lnTo>
                  <a:lnTo>
                    <a:pt x="21622" y="428625"/>
                  </a:lnTo>
                  <a:lnTo>
                    <a:pt x="22479" y="435007"/>
                  </a:lnTo>
                  <a:lnTo>
                    <a:pt x="24003" y="434816"/>
                  </a:lnTo>
                  <a:lnTo>
                    <a:pt x="24479" y="437959"/>
                  </a:lnTo>
                  <a:lnTo>
                    <a:pt x="21527" y="439865"/>
                  </a:lnTo>
                  <a:lnTo>
                    <a:pt x="26861" y="444055"/>
                  </a:lnTo>
                  <a:lnTo>
                    <a:pt x="25622" y="447389"/>
                  </a:lnTo>
                  <a:lnTo>
                    <a:pt x="22479" y="447770"/>
                  </a:lnTo>
                  <a:lnTo>
                    <a:pt x="21146" y="449580"/>
                  </a:lnTo>
                  <a:lnTo>
                    <a:pt x="19526" y="449771"/>
                  </a:lnTo>
                  <a:lnTo>
                    <a:pt x="20955" y="447961"/>
                  </a:lnTo>
                  <a:lnTo>
                    <a:pt x="19145" y="446627"/>
                  </a:lnTo>
                  <a:lnTo>
                    <a:pt x="17717" y="448437"/>
                  </a:lnTo>
                  <a:lnTo>
                    <a:pt x="14383" y="447199"/>
                  </a:lnTo>
                  <a:lnTo>
                    <a:pt x="13049" y="449009"/>
                  </a:lnTo>
                  <a:lnTo>
                    <a:pt x="9430" y="446246"/>
                  </a:lnTo>
                  <a:lnTo>
                    <a:pt x="6953" y="451390"/>
                  </a:lnTo>
                  <a:lnTo>
                    <a:pt x="0" y="460248"/>
                  </a:lnTo>
                  <a:lnTo>
                    <a:pt x="5525" y="465963"/>
                  </a:lnTo>
                  <a:lnTo>
                    <a:pt x="9525" y="471869"/>
                  </a:lnTo>
                  <a:lnTo>
                    <a:pt x="12668" y="471488"/>
                  </a:lnTo>
                  <a:lnTo>
                    <a:pt x="18002" y="475679"/>
                  </a:lnTo>
                  <a:lnTo>
                    <a:pt x="16478" y="475869"/>
                  </a:lnTo>
                  <a:lnTo>
                    <a:pt x="12287" y="481203"/>
                  </a:lnTo>
                  <a:lnTo>
                    <a:pt x="15050" y="490442"/>
                  </a:lnTo>
                  <a:lnTo>
                    <a:pt x="17240" y="495014"/>
                  </a:lnTo>
                  <a:lnTo>
                    <a:pt x="20860" y="497681"/>
                  </a:lnTo>
                  <a:lnTo>
                    <a:pt x="27718" y="501682"/>
                  </a:lnTo>
                  <a:lnTo>
                    <a:pt x="34481" y="503968"/>
                  </a:lnTo>
                  <a:lnTo>
                    <a:pt x="37433" y="502063"/>
                  </a:lnTo>
                  <a:lnTo>
                    <a:pt x="42767" y="493300"/>
                  </a:lnTo>
                  <a:lnTo>
                    <a:pt x="46673" y="499205"/>
                  </a:lnTo>
                  <a:lnTo>
                    <a:pt x="55150" y="502920"/>
                  </a:lnTo>
                  <a:lnTo>
                    <a:pt x="58579" y="504158"/>
                  </a:lnTo>
                  <a:lnTo>
                    <a:pt x="57150" y="505968"/>
                  </a:lnTo>
                  <a:lnTo>
                    <a:pt x="55817" y="507682"/>
                  </a:lnTo>
                  <a:lnTo>
                    <a:pt x="54197" y="507873"/>
                  </a:lnTo>
                  <a:lnTo>
                    <a:pt x="53626" y="515969"/>
                  </a:lnTo>
                  <a:lnTo>
                    <a:pt x="56960" y="517207"/>
                  </a:lnTo>
                  <a:lnTo>
                    <a:pt x="61150" y="511873"/>
                  </a:lnTo>
                  <a:lnTo>
                    <a:pt x="62865" y="513207"/>
                  </a:lnTo>
                  <a:lnTo>
                    <a:pt x="63056" y="514826"/>
                  </a:lnTo>
                  <a:lnTo>
                    <a:pt x="67056" y="520732"/>
                  </a:lnTo>
                  <a:lnTo>
                    <a:pt x="68675" y="520541"/>
                  </a:lnTo>
                  <a:lnTo>
                    <a:pt x="70580" y="523494"/>
                  </a:lnTo>
                  <a:lnTo>
                    <a:pt x="73819" y="523018"/>
                  </a:lnTo>
                  <a:lnTo>
                    <a:pt x="77533" y="527399"/>
                  </a:lnTo>
                  <a:lnTo>
                    <a:pt x="78105" y="532162"/>
                  </a:lnTo>
                  <a:lnTo>
                    <a:pt x="74771" y="530924"/>
                  </a:lnTo>
                  <a:lnTo>
                    <a:pt x="68866" y="534924"/>
                  </a:lnTo>
                  <a:lnTo>
                    <a:pt x="69247" y="538067"/>
                  </a:lnTo>
                  <a:lnTo>
                    <a:pt x="72866" y="540830"/>
                  </a:lnTo>
                  <a:lnTo>
                    <a:pt x="73438" y="545592"/>
                  </a:lnTo>
                  <a:lnTo>
                    <a:pt x="70866" y="550640"/>
                  </a:lnTo>
                  <a:lnTo>
                    <a:pt x="74486" y="553403"/>
                  </a:lnTo>
                  <a:lnTo>
                    <a:pt x="84677" y="558546"/>
                  </a:lnTo>
                  <a:lnTo>
                    <a:pt x="85154" y="561689"/>
                  </a:lnTo>
                  <a:lnTo>
                    <a:pt x="86868" y="563118"/>
                  </a:lnTo>
                  <a:lnTo>
                    <a:pt x="88106" y="559689"/>
                  </a:lnTo>
                  <a:lnTo>
                    <a:pt x="89630" y="559499"/>
                  </a:lnTo>
                  <a:lnTo>
                    <a:pt x="90011" y="562642"/>
                  </a:lnTo>
                  <a:lnTo>
                    <a:pt x="91821" y="564071"/>
                  </a:lnTo>
                  <a:lnTo>
                    <a:pt x="93250" y="562261"/>
                  </a:lnTo>
                  <a:lnTo>
                    <a:pt x="94774" y="562070"/>
                  </a:lnTo>
                  <a:lnTo>
                    <a:pt x="94393" y="558927"/>
                  </a:lnTo>
                  <a:lnTo>
                    <a:pt x="104013" y="559308"/>
                  </a:lnTo>
                  <a:lnTo>
                    <a:pt x="108204" y="553974"/>
                  </a:lnTo>
                  <a:lnTo>
                    <a:pt x="111347" y="553593"/>
                  </a:lnTo>
                  <a:lnTo>
                    <a:pt x="113157" y="554927"/>
                  </a:lnTo>
                  <a:lnTo>
                    <a:pt x="113348" y="556546"/>
                  </a:lnTo>
                  <a:lnTo>
                    <a:pt x="116872" y="559308"/>
                  </a:lnTo>
                  <a:lnTo>
                    <a:pt x="117062" y="560832"/>
                  </a:lnTo>
                  <a:lnTo>
                    <a:pt x="120015" y="558832"/>
                  </a:lnTo>
                  <a:lnTo>
                    <a:pt x="123635" y="561594"/>
                  </a:lnTo>
                  <a:lnTo>
                    <a:pt x="124968" y="559880"/>
                  </a:lnTo>
                  <a:lnTo>
                    <a:pt x="131731" y="562165"/>
                  </a:lnTo>
                  <a:lnTo>
                    <a:pt x="138589" y="566071"/>
                  </a:lnTo>
                  <a:lnTo>
                    <a:pt x="137255" y="567880"/>
                  </a:lnTo>
                  <a:lnTo>
                    <a:pt x="140779" y="570643"/>
                  </a:lnTo>
                  <a:lnTo>
                    <a:pt x="142113" y="568833"/>
                  </a:lnTo>
                  <a:lnTo>
                    <a:pt x="146495" y="565118"/>
                  </a:lnTo>
                  <a:lnTo>
                    <a:pt x="148876" y="558355"/>
                  </a:lnTo>
                  <a:lnTo>
                    <a:pt x="155353" y="559213"/>
                  </a:lnTo>
                  <a:lnTo>
                    <a:pt x="159734" y="555403"/>
                  </a:lnTo>
                  <a:lnTo>
                    <a:pt x="164402" y="554831"/>
                  </a:lnTo>
                  <a:lnTo>
                    <a:pt x="165830" y="553022"/>
                  </a:lnTo>
                  <a:lnTo>
                    <a:pt x="170498" y="552450"/>
                  </a:lnTo>
                  <a:lnTo>
                    <a:pt x="171736" y="549116"/>
                  </a:lnTo>
                  <a:lnTo>
                    <a:pt x="172117" y="552259"/>
                  </a:lnTo>
                  <a:lnTo>
                    <a:pt x="173736" y="552069"/>
                  </a:lnTo>
                  <a:lnTo>
                    <a:pt x="174689" y="559880"/>
                  </a:lnTo>
                  <a:lnTo>
                    <a:pt x="176308" y="559689"/>
                  </a:lnTo>
                  <a:lnTo>
                    <a:pt x="176498" y="561308"/>
                  </a:lnTo>
                  <a:lnTo>
                    <a:pt x="181166" y="560642"/>
                  </a:lnTo>
                  <a:lnTo>
                    <a:pt x="184785" y="563404"/>
                  </a:lnTo>
                  <a:lnTo>
                    <a:pt x="184975" y="565023"/>
                  </a:lnTo>
                  <a:lnTo>
                    <a:pt x="189738" y="564452"/>
                  </a:lnTo>
                  <a:lnTo>
                    <a:pt x="191929" y="568928"/>
                  </a:lnTo>
                  <a:lnTo>
                    <a:pt x="187547" y="572738"/>
                  </a:lnTo>
                  <a:lnTo>
                    <a:pt x="189738" y="577215"/>
                  </a:lnTo>
                  <a:lnTo>
                    <a:pt x="189929" y="578834"/>
                  </a:lnTo>
                  <a:lnTo>
                    <a:pt x="188404" y="579025"/>
                  </a:lnTo>
                  <a:lnTo>
                    <a:pt x="191167" y="588264"/>
                  </a:lnTo>
                  <a:lnTo>
                    <a:pt x="190214" y="593217"/>
                  </a:lnTo>
                  <a:lnTo>
                    <a:pt x="191929" y="594551"/>
                  </a:lnTo>
                  <a:lnTo>
                    <a:pt x="195929" y="600551"/>
                  </a:lnTo>
                  <a:lnTo>
                    <a:pt x="191548" y="604266"/>
                  </a:lnTo>
                  <a:lnTo>
                    <a:pt x="186881" y="604838"/>
                  </a:lnTo>
                  <a:lnTo>
                    <a:pt x="184118" y="608457"/>
                  </a:lnTo>
                  <a:lnTo>
                    <a:pt x="187452" y="609600"/>
                  </a:lnTo>
                  <a:lnTo>
                    <a:pt x="189262" y="623792"/>
                  </a:lnTo>
                  <a:lnTo>
                    <a:pt x="185547" y="632270"/>
                  </a:lnTo>
                  <a:lnTo>
                    <a:pt x="192024" y="633032"/>
                  </a:lnTo>
                  <a:lnTo>
                    <a:pt x="192881" y="639413"/>
                  </a:lnTo>
                  <a:lnTo>
                    <a:pt x="194405" y="639223"/>
                  </a:lnTo>
                  <a:lnTo>
                    <a:pt x="201168" y="641509"/>
                  </a:lnTo>
                  <a:lnTo>
                    <a:pt x="199168" y="651415"/>
                  </a:lnTo>
                  <a:lnTo>
                    <a:pt x="201930" y="647890"/>
                  </a:lnTo>
                  <a:lnTo>
                    <a:pt x="202311" y="651034"/>
                  </a:lnTo>
                  <a:lnTo>
                    <a:pt x="204121" y="652367"/>
                  </a:lnTo>
                  <a:lnTo>
                    <a:pt x="201549" y="657511"/>
                  </a:lnTo>
                  <a:lnTo>
                    <a:pt x="207454" y="653510"/>
                  </a:lnTo>
                  <a:lnTo>
                    <a:pt x="203549" y="660463"/>
                  </a:lnTo>
                  <a:lnTo>
                    <a:pt x="204311" y="666750"/>
                  </a:lnTo>
                  <a:lnTo>
                    <a:pt x="201835" y="671894"/>
                  </a:lnTo>
                  <a:lnTo>
                    <a:pt x="200025" y="670560"/>
                  </a:lnTo>
                  <a:lnTo>
                    <a:pt x="197263" y="674084"/>
                  </a:lnTo>
                  <a:lnTo>
                    <a:pt x="199073" y="675513"/>
                  </a:lnTo>
                  <a:lnTo>
                    <a:pt x="201073" y="678466"/>
                  </a:lnTo>
                  <a:lnTo>
                    <a:pt x="199454" y="678656"/>
                  </a:lnTo>
                  <a:lnTo>
                    <a:pt x="198501" y="683609"/>
                  </a:lnTo>
                  <a:lnTo>
                    <a:pt x="196691" y="682180"/>
                  </a:lnTo>
                  <a:lnTo>
                    <a:pt x="197072" y="685324"/>
                  </a:lnTo>
                  <a:lnTo>
                    <a:pt x="192596" y="687515"/>
                  </a:lnTo>
                  <a:lnTo>
                    <a:pt x="191548" y="692468"/>
                  </a:lnTo>
                  <a:lnTo>
                    <a:pt x="186690" y="691515"/>
                  </a:lnTo>
                  <a:lnTo>
                    <a:pt x="185833" y="697992"/>
                  </a:lnTo>
                  <a:lnTo>
                    <a:pt x="183928" y="695039"/>
                  </a:lnTo>
                  <a:lnTo>
                    <a:pt x="182499" y="696849"/>
                  </a:lnTo>
                  <a:lnTo>
                    <a:pt x="183166" y="701611"/>
                  </a:lnTo>
                  <a:lnTo>
                    <a:pt x="179927" y="701993"/>
                  </a:lnTo>
                  <a:lnTo>
                    <a:pt x="178213" y="700564"/>
                  </a:lnTo>
                  <a:lnTo>
                    <a:pt x="176594" y="700754"/>
                  </a:lnTo>
                  <a:lnTo>
                    <a:pt x="175641" y="705707"/>
                  </a:lnTo>
                  <a:lnTo>
                    <a:pt x="180404" y="705136"/>
                  </a:lnTo>
                  <a:lnTo>
                    <a:pt x="189071" y="710470"/>
                  </a:lnTo>
                  <a:lnTo>
                    <a:pt x="189262" y="711994"/>
                  </a:lnTo>
                  <a:lnTo>
                    <a:pt x="179261" y="721328"/>
                  </a:lnTo>
                  <a:lnTo>
                    <a:pt x="171545" y="723900"/>
                  </a:lnTo>
                  <a:lnTo>
                    <a:pt x="171736" y="725519"/>
                  </a:lnTo>
                  <a:lnTo>
                    <a:pt x="183166" y="727234"/>
                  </a:lnTo>
                  <a:lnTo>
                    <a:pt x="192405" y="724472"/>
                  </a:lnTo>
                  <a:lnTo>
                    <a:pt x="199739" y="731520"/>
                  </a:lnTo>
                  <a:lnTo>
                    <a:pt x="201740" y="734473"/>
                  </a:lnTo>
                  <a:lnTo>
                    <a:pt x="208502" y="736854"/>
                  </a:lnTo>
                  <a:lnTo>
                    <a:pt x="209645" y="733520"/>
                  </a:lnTo>
                  <a:lnTo>
                    <a:pt x="209264" y="730282"/>
                  </a:lnTo>
                  <a:lnTo>
                    <a:pt x="212789" y="733044"/>
                  </a:lnTo>
                  <a:lnTo>
                    <a:pt x="215932" y="732663"/>
                  </a:lnTo>
                  <a:lnTo>
                    <a:pt x="214789" y="735997"/>
                  </a:lnTo>
                  <a:lnTo>
                    <a:pt x="225457" y="744284"/>
                  </a:lnTo>
                  <a:lnTo>
                    <a:pt x="232124" y="746665"/>
                  </a:lnTo>
                  <a:lnTo>
                    <a:pt x="233553" y="744855"/>
                  </a:lnTo>
                  <a:lnTo>
                    <a:pt x="235363" y="746188"/>
                  </a:lnTo>
                  <a:lnTo>
                    <a:pt x="233744" y="746474"/>
                  </a:lnTo>
                  <a:lnTo>
                    <a:pt x="240506" y="748760"/>
                  </a:lnTo>
                  <a:lnTo>
                    <a:pt x="232220" y="759428"/>
                  </a:lnTo>
                  <a:lnTo>
                    <a:pt x="232982" y="765810"/>
                  </a:lnTo>
                  <a:lnTo>
                    <a:pt x="243078" y="782098"/>
                  </a:lnTo>
                  <a:lnTo>
                    <a:pt x="255365" y="777335"/>
                  </a:lnTo>
                  <a:lnTo>
                    <a:pt x="259461" y="772001"/>
                  </a:lnTo>
                  <a:lnTo>
                    <a:pt x="261080" y="771811"/>
                  </a:lnTo>
                  <a:lnTo>
                    <a:pt x="265367" y="768096"/>
                  </a:lnTo>
                  <a:lnTo>
                    <a:pt x="265176" y="766477"/>
                  </a:lnTo>
                  <a:lnTo>
                    <a:pt x="270129" y="767429"/>
                  </a:lnTo>
                  <a:lnTo>
                    <a:pt x="273082" y="765524"/>
                  </a:lnTo>
                  <a:lnTo>
                    <a:pt x="268319" y="766096"/>
                  </a:lnTo>
                  <a:lnTo>
                    <a:pt x="267748" y="761333"/>
                  </a:lnTo>
                  <a:lnTo>
                    <a:pt x="278987" y="761524"/>
                  </a:lnTo>
                  <a:lnTo>
                    <a:pt x="280702" y="762857"/>
                  </a:lnTo>
                  <a:lnTo>
                    <a:pt x="280511" y="761333"/>
                  </a:lnTo>
                  <a:lnTo>
                    <a:pt x="285083" y="759143"/>
                  </a:lnTo>
                  <a:lnTo>
                    <a:pt x="287846" y="755618"/>
                  </a:lnTo>
                  <a:lnTo>
                    <a:pt x="291370" y="758380"/>
                  </a:lnTo>
                  <a:lnTo>
                    <a:pt x="292799" y="756571"/>
                  </a:lnTo>
                  <a:lnTo>
                    <a:pt x="290608" y="751999"/>
                  </a:lnTo>
                  <a:lnTo>
                    <a:pt x="288798" y="750665"/>
                  </a:lnTo>
                  <a:lnTo>
                    <a:pt x="289941" y="747332"/>
                  </a:lnTo>
                  <a:lnTo>
                    <a:pt x="290513" y="739235"/>
                  </a:lnTo>
                  <a:lnTo>
                    <a:pt x="291941" y="737426"/>
                  </a:lnTo>
                  <a:lnTo>
                    <a:pt x="302419" y="731234"/>
                  </a:lnTo>
                  <a:lnTo>
                    <a:pt x="305562" y="730853"/>
                  </a:lnTo>
                  <a:lnTo>
                    <a:pt x="307467" y="733806"/>
                  </a:lnTo>
                  <a:lnTo>
                    <a:pt x="308896" y="732092"/>
                  </a:lnTo>
                  <a:lnTo>
                    <a:pt x="309467" y="736759"/>
                  </a:lnTo>
                  <a:lnTo>
                    <a:pt x="312801" y="737997"/>
                  </a:lnTo>
                  <a:lnTo>
                    <a:pt x="317373" y="735806"/>
                  </a:lnTo>
                  <a:lnTo>
                    <a:pt x="316802" y="731044"/>
                  </a:lnTo>
                  <a:lnTo>
                    <a:pt x="318135" y="729234"/>
                  </a:lnTo>
                  <a:lnTo>
                    <a:pt x="319945" y="730663"/>
                  </a:lnTo>
                  <a:lnTo>
                    <a:pt x="326041" y="728282"/>
                  </a:lnTo>
                  <a:lnTo>
                    <a:pt x="320897" y="725710"/>
                  </a:lnTo>
                  <a:lnTo>
                    <a:pt x="321850" y="720757"/>
                  </a:lnTo>
                  <a:lnTo>
                    <a:pt x="325088" y="720376"/>
                  </a:lnTo>
                  <a:lnTo>
                    <a:pt x="331946" y="724281"/>
                  </a:lnTo>
                  <a:lnTo>
                    <a:pt x="331756" y="735521"/>
                  </a:lnTo>
                  <a:lnTo>
                    <a:pt x="334899" y="735140"/>
                  </a:lnTo>
                  <a:lnTo>
                    <a:pt x="335566" y="739902"/>
                  </a:lnTo>
                  <a:lnTo>
                    <a:pt x="337090" y="739711"/>
                  </a:lnTo>
                  <a:lnTo>
                    <a:pt x="338709" y="739521"/>
                  </a:lnTo>
                  <a:lnTo>
                    <a:pt x="338519" y="737902"/>
                  </a:lnTo>
                  <a:lnTo>
                    <a:pt x="339852" y="736092"/>
                  </a:lnTo>
                  <a:lnTo>
                    <a:pt x="343472" y="738854"/>
                  </a:lnTo>
                  <a:lnTo>
                    <a:pt x="345186" y="740283"/>
                  </a:lnTo>
                  <a:lnTo>
                    <a:pt x="346615" y="738473"/>
                  </a:lnTo>
                  <a:lnTo>
                    <a:pt x="343472" y="738854"/>
                  </a:lnTo>
                  <a:lnTo>
                    <a:pt x="342614" y="732568"/>
                  </a:lnTo>
                  <a:lnTo>
                    <a:pt x="344234" y="732377"/>
                  </a:lnTo>
                  <a:lnTo>
                    <a:pt x="344615" y="735521"/>
                  </a:lnTo>
                  <a:lnTo>
                    <a:pt x="346043" y="733711"/>
                  </a:lnTo>
                  <a:lnTo>
                    <a:pt x="347758" y="735140"/>
                  </a:lnTo>
                  <a:lnTo>
                    <a:pt x="350901" y="734759"/>
                  </a:lnTo>
                  <a:lnTo>
                    <a:pt x="352901" y="737711"/>
                  </a:lnTo>
                  <a:lnTo>
                    <a:pt x="357473" y="735521"/>
                  </a:lnTo>
                  <a:lnTo>
                    <a:pt x="355854" y="735711"/>
                  </a:lnTo>
                  <a:lnTo>
                    <a:pt x="357188" y="733901"/>
                  </a:lnTo>
                  <a:lnTo>
                    <a:pt x="362331" y="736473"/>
                  </a:lnTo>
                  <a:lnTo>
                    <a:pt x="363760" y="734663"/>
                  </a:lnTo>
                  <a:lnTo>
                    <a:pt x="365379" y="734473"/>
                  </a:lnTo>
                  <a:lnTo>
                    <a:pt x="365570" y="736092"/>
                  </a:lnTo>
                  <a:lnTo>
                    <a:pt x="363950" y="736282"/>
                  </a:lnTo>
                  <a:lnTo>
                    <a:pt x="364141" y="737807"/>
                  </a:lnTo>
                  <a:lnTo>
                    <a:pt x="368903" y="737235"/>
                  </a:lnTo>
                  <a:lnTo>
                    <a:pt x="374047" y="739807"/>
                  </a:lnTo>
                  <a:lnTo>
                    <a:pt x="373856" y="738188"/>
                  </a:lnTo>
                  <a:lnTo>
                    <a:pt x="377381" y="740950"/>
                  </a:lnTo>
                  <a:lnTo>
                    <a:pt x="377952" y="732854"/>
                  </a:lnTo>
                  <a:lnTo>
                    <a:pt x="379762" y="734282"/>
                  </a:lnTo>
                  <a:lnTo>
                    <a:pt x="381476" y="735616"/>
                  </a:lnTo>
                  <a:lnTo>
                    <a:pt x="391763" y="740759"/>
                  </a:lnTo>
                  <a:lnTo>
                    <a:pt x="391954" y="742283"/>
                  </a:lnTo>
                  <a:lnTo>
                    <a:pt x="397097" y="744855"/>
                  </a:lnTo>
                  <a:lnTo>
                    <a:pt x="397288" y="746474"/>
                  </a:lnTo>
                  <a:lnTo>
                    <a:pt x="400907" y="749236"/>
                  </a:lnTo>
                  <a:lnTo>
                    <a:pt x="402050" y="745807"/>
                  </a:lnTo>
                  <a:lnTo>
                    <a:pt x="403670" y="745617"/>
                  </a:lnTo>
                  <a:lnTo>
                    <a:pt x="407194" y="748379"/>
                  </a:lnTo>
                  <a:lnTo>
                    <a:pt x="409956" y="744855"/>
                  </a:lnTo>
                  <a:lnTo>
                    <a:pt x="409575" y="741712"/>
                  </a:lnTo>
                  <a:lnTo>
                    <a:pt x="411099" y="741521"/>
                  </a:lnTo>
                  <a:lnTo>
                    <a:pt x="413671" y="736378"/>
                  </a:lnTo>
                  <a:lnTo>
                    <a:pt x="416814" y="735902"/>
                  </a:lnTo>
                  <a:lnTo>
                    <a:pt x="418052" y="732568"/>
                  </a:lnTo>
                  <a:lnTo>
                    <a:pt x="421386" y="733711"/>
                  </a:lnTo>
                  <a:lnTo>
                    <a:pt x="421576" y="735330"/>
                  </a:lnTo>
                  <a:lnTo>
                    <a:pt x="424529" y="733330"/>
                  </a:lnTo>
                  <a:lnTo>
                    <a:pt x="429482" y="734282"/>
                  </a:lnTo>
                  <a:lnTo>
                    <a:pt x="433197" y="738664"/>
                  </a:lnTo>
                  <a:lnTo>
                    <a:pt x="436912" y="730186"/>
                  </a:lnTo>
                  <a:lnTo>
                    <a:pt x="438912" y="733139"/>
                  </a:lnTo>
                  <a:lnTo>
                    <a:pt x="438722" y="731520"/>
                  </a:lnTo>
                  <a:lnTo>
                    <a:pt x="441865" y="731139"/>
                  </a:lnTo>
                  <a:lnTo>
                    <a:pt x="443103" y="727805"/>
                  </a:lnTo>
                  <a:lnTo>
                    <a:pt x="444817" y="716375"/>
                  </a:lnTo>
                  <a:lnTo>
                    <a:pt x="443008" y="714947"/>
                  </a:lnTo>
                  <a:lnTo>
                    <a:pt x="442246" y="708660"/>
                  </a:lnTo>
                  <a:lnTo>
                    <a:pt x="446723" y="706469"/>
                  </a:lnTo>
                  <a:lnTo>
                    <a:pt x="446532" y="704850"/>
                  </a:lnTo>
                  <a:lnTo>
                    <a:pt x="451295" y="704279"/>
                  </a:lnTo>
                  <a:lnTo>
                    <a:pt x="452247" y="699326"/>
                  </a:lnTo>
                  <a:lnTo>
                    <a:pt x="460534" y="701516"/>
                  </a:lnTo>
                  <a:lnTo>
                    <a:pt x="462915" y="694754"/>
                  </a:lnTo>
                  <a:lnTo>
                    <a:pt x="467201" y="691039"/>
                  </a:lnTo>
                  <a:lnTo>
                    <a:pt x="472631" y="695134"/>
                  </a:lnTo>
                  <a:lnTo>
                    <a:pt x="476345" y="699516"/>
                  </a:lnTo>
                  <a:lnTo>
                    <a:pt x="485966" y="699897"/>
                  </a:lnTo>
                  <a:lnTo>
                    <a:pt x="486442" y="703040"/>
                  </a:lnTo>
                  <a:lnTo>
                    <a:pt x="485204" y="706374"/>
                  </a:lnTo>
                  <a:lnTo>
                    <a:pt x="490347" y="708946"/>
                  </a:lnTo>
                  <a:lnTo>
                    <a:pt x="486632" y="717423"/>
                  </a:lnTo>
                  <a:lnTo>
                    <a:pt x="486251" y="727043"/>
                  </a:lnTo>
                  <a:lnTo>
                    <a:pt x="488442" y="731615"/>
                  </a:lnTo>
                  <a:lnTo>
                    <a:pt x="495205" y="733997"/>
                  </a:lnTo>
                  <a:lnTo>
                    <a:pt x="495586" y="737140"/>
                  </a:lnTo>
                  <a:lnTo>
                    <a:pt x="497110" y="736949"/>
                  </a:lnTo>
                  <a:lnTo>
                    <a:pt x="508349" y="737140"/>
                  </a:lnTo>
                  <a:lnTo>
                    <a:pt x="509016" y="741807"/>
                  </a:lnTo>
                  <a:lnTo>
                    <a:pt x="511969" y="739902"/>
                  </a:lnTo>
                  <a:lnTo>
                    <a:pt x="511588" y="736663"/>
                  </a:lnTo>
                  <a:lnTo>
                    <a:pt x="520446" y="730758"/>
                  </a:lnTo>
                  <a:lnTo>
                    <a:pt x="521017" y="722662"/>
                  </a:lnTo>
                  <a:lnTo>
                    <a:pt x="533781" y="722662"/>
                  </a:lnTo>
                  <a:lnTo>
                    <a:pt x="545021" y="722852"/>
                  </a:lnTo>
                  <a:lnTo>
                    <a:pt x="544449" y="705231"/>
                  </a:lnTo>
                  <a:lnTo>
                    <a:pt x="565118" y="704183"/>
                  </a:lnTo>
                  <a:lnTo>
                    <a:pt x="566547" y="702469"/>
                  </a:lnTo>
                  <a:lnTo>
                    <a:pt x="565690" y="696087"/>
                  </a:lnTo>
                  <a:lnTo>
                    <a:pt x="570643" y="697135"/>
                  </a:lnTo>
                  <a:lnTo>
                    <a:pt x="583311" y="708279"/>
                  </a:lnTo>
                  <a:lnTo>
                    <a:pt x="587407" y="702945"/>
                  </a:lnTo>
                  <a:lnTo>
                    <a:pt x="588074" y="707707"/>
                  </a:lnTo>
                  <a:lnTo>
                    <a:pt x="592741" y="707136"/>
                  </a:lnTo>
                  <a:lnTo>
                    <a:pt x="598075" y="711232"/>
                  </a:lnTo>
                  <a:lnTo>
                    <a:pt x="617220" y="710375"/>
                  </a:lnTo>
                  <a:lnTo>
                    <a:pt x="617315" y="723233"/>
                  </a:lnTo>
                  <a:lnTo>
                    <a:pt x="630555" y="726377"/>
                  </a:lnTo>
                  <a:lnTo>
                    <a:pt x="631698" y="735806"/>
                  </a:lnTo>
                  <a:lnTo>
                    <a:pt x="631793" y="761429"/>
                  </a:lnTo>
                  <a:lnTo>
                    <a:pt x="662368" y="762381"/>
                  </a:lnTo>
                  <a:lnTo>
                    <a:pt x="668846" y="763143"/>
                  </a:lnTo>
                  <a:lnTo>
                    <a:pt x="674465" y="781717"/>
                  </a:lnTo>
                  <a:lnTo>
                    <a:pt x="675418" y="789623"/>
                  </a:lnTo>
                  <a:lnTo>
                    <a:pt x="677418" y="792575"/>
                  </a:lnTo>
                  <a:lnTo>
                    <a:pt x="680561" y="792099"/>
                  </a:lnTo>
                  <a:lnTo>
                    <a:pt x="687134" y="792956"/>
                  </a:lnTo>
                  <a:lnTo>
                    <a:pt x="689039" y="795909"/>
                  </a:lnTo>
                  <a:lnTo>
                    <a:pt x="693801" y="795242"/>
                  </a:lnTo>
                  <a:lnTo>
                    <a:pt x="695611" y="796671"/>
                  </a:lnTo>
                  <a:lnTo>
                    <a:pt x="701707" y="794290"/>
                  </a:lnTo>
                  <a:lnTo>
                    <a:pt x="710565" y="801148"/>
                  </a:lnTo>
                  <a:lnTo>
                    <a:pt x="713613" y="812006"/>
                  </a:lnTo>
                  <a:lnTo>
                    <a:pt x="722471" y="818864"/>
                  </a:lnTo>
                  <a:lnTo>
                    <a:pt x="724091" y="818674"/>
                  </a:lnTo>
                  <a:lnTo>
                    <a:pt x="725234" y="815340"/>
                  </a:lnTo>
                  <a:lnTo>
                    <a:pt x="728186" y="813340"/>
                  </a:lnTo>
                  <a:lnTo>
                    <a:pt x="734092" y="822198"/>
                  </a:lnTo>
                  <a:lnTo>
                    <a:pt x="735711" y="822007"/>
                  </a:lnTo>
                  <a:lnTo>
                    <a:pt x="738854" y="821627"/>
                  </a:lnTo>
                  <a:lnTo>
                    <a:pt x="740664" y="822960"/>
                  </a:lnTo>
                  <a:lnTo>
                    <a:pt x="741998" y="821150"/>
                  </a:lnTo>
                  <a:lnTo>
                    <a:pt x="743807" y="822579"/>
                  </a:lnTo>
                  <a:lnTo>
                    <a:pt x="746951" y="822198"/>
                  </a:lnTo>
                  <a:lnTo>
                    <a:pt x="751523" y="832866"/>
                  </a:lnTo>
                  <a:lnTo>
                    <a:pt x="756666" y="835343"/>
                  </a:lnTo>
                  <a:lnTo>
                    <a:pt x="758285" y="835152"/>
                  </a:lnTo>
                  <a:lnTo>
                    <a:pt x="757047" y="838486"/>
                  </a:lnTo>
                  <a:lnTo>
                    <a:pt x="759047" y="841438"/>
                  </a:lnTo>
                  <a:lnTo>
                    <a:pt x="762762" y="845820"/>
                  </a:lnTo>
                  <a:lnTo>
                    <a:pt x="764191" y="844010"/>
                  </a:lnTo>
                  <a:lnTo>
                    <a:pt x="769144" y="844963"/>
                  </a:lnTo>
                  <a:lnTo>
                    <a:pt x="771716" y="839915"/>
                  </a:lnTo>
                  <a:lnTo>
                    <a:pt x="778193" y="840677"/>
                  </a:lnTo>
                  <a:lnTo>
                    <a:pt x="780955" y="837057"/>
                  </a:lnTo>
                  <a:lnTo>
                    <a:pt x="784670" y="841438"/>
                  </a:lnTo>
                  <a:lnTo>
                    <a:pt x="793528" y="835438"/>
                  </a:lnTo>
                  <a:lnTo>
                    <a:pt x="793337" y="833914"/>
                  </a:lnTo>
                  <a:lnTo>
                    <a:pt x="794576" y="830580"/>
                  </a:lnTo>
                  <a:lnTo>
                    <a:pt x="792575" y="827627"/>
                  </a:lnTo>
                  <a:lnTo>
                    <a:pt x="794099" y="827437"/>
                  </a:lnTo>
                  <a:lnTo>
                    <a:pt x="794385" y="828961"/>
                  </a:lnTo>
                  <a:lnTo>
                    <a:pt x="799052" y="828389"/>
                  </a:lnTo>
                  <a:lnTo>
                    <a:pt x="800862" y="829723"/>
                  </a:lnTo>
                  <a:lnTo>
                    <a:pt x="796766" y="835057"/>
                  </a:lnTo>
                  <a:lnTo>
                    <a:pt x="796957" y="836676"/>
                  </a:lnTo>
                  <a:lnTo>
                    <a:pt x="797528" y="841438"/>
                  </a:lnTo>
                  <a:lnTo>
                    <a:pt x="809911" y="838200"/>
                  </a:lnTo>
                  <a:lnTo>
                    <a:pt x="813054" y="837819"/>
                  </a:lnTo>
                  <a:lnTo>
                    <a:pt x="814673" y="837629"/>
                  </a:lnTo>
                  <a:lnTo>
                    <a:pt x="816102" y="835819"/>
                  </a:lnTo>
                  <a:lnTo>
                    <a:pt x="822770" y="838200"/>
                  </a:lnTo>
                  <a:lnTo>
                    <a:pt x="820960" y="836771"/>
                  </a:lnTo>
                  <a:lnTo>
                    <a:pt x="822198" y="833438"/>
                  </a:lnTo>
                  <a:lnTo>
                    <a:pt x="820388" y="832104"/>
                  </a:lnTo>
                  <a:lnTo>
                    <a:pt x="827151" y="834390"/>
                  </a:lnTo>
                  <a:lnTo>
                    <a:pt x="828484" y="832676"/>
                  </a:lnTo>
                  <a:lnTo>
                    <a:pt x="833818" y="836771"/>
                  </a:lnTo>
                  <a:lnTo>
                    <a:pt x="837152" y="837914"/>
                  </a:lnTo>
                  <a:lnTo>
                    <a:pt x="857345" y="844963"/>
                  </a:lnTo>
                  <a:lnTo>
                    <a:pt x="855917" y="833914"/>
                  </a:lnTo>
                  <a:lnTo>
                    <a:pt x="852583" y="832771"/>
                  </a:lnTo>
                  <a:lnTo>
                    <a:pt x="850201" y="826675"/>
                  </a:lnTo>
                  <a:lnTo>
                    <a:pt x="845058" y="824103"/>
                  </a:lnTo>
                  <a:lnTo>
                    <a:pt x="844391" y="819340"/>
                  </a:lnTo>
                  <a:lnTo>
                    <a:pt x="846201" y="820769"/>
                  </a:lnTo>
                  <a:lnTo>
                    <a:pt x="847344" y="817436"/>
                  </a:lnTo>
                  <a:lnTo>
                    <a:pt x="845153" y="812863"/>
                  </a:lnTo>
                  <a:lnTo>
                    <a:pt x="849916" y="812292"/>
                  </a:lnTo>
                  <a:lnTo>
                    <a:pt x="851345" y="810482"/>
                  </a:lnTo>
                  <a:lnTo>
                    <a:pt x="856679" y="814578"/>
                  </a:lnTo>
                  <a:lnTo>
                    <a:pt x="859250" y="809434"/>
                  </a:lnTo>
                  <a:lnTo>
                    <a:pt x="865537" y="808673"/>
                  </a:lnTo>
                  <a:lnTo>
                    <a:pt x="866680" y="805339"/>
                  </a:lnTo>
                  <a:lnTo>
                    <a:pt x="872585" y="801338"/>
                  </a:lnTo>
                  <a:lnTo>
                    <a:pt x="867251" y="797243"/>
                  </a:lnTo>
                  <a:lnTo>
                    <a:pt x="863537" y="792861"/>
                  </a:lnTo>
                  <a:lnTo>
                    <a:pt x="862108" y="794671"/>
                  </a:lnTo>
                  <a:lnTo>
                    <a:pt x="859726" y="788575"/>
                  </a:lnTo>
                  <a:lnTo>
                    <a:pt x="863632" y="781622"/>
                  </a:lnTo>
                  <a:lnTo>
                    <a:pt x="869823" y="779240"/>
                  </a:lnTo>
                  <a:lnTo>
                    <a:pt x="869156" y="774573"/>
                  </a:lnTo>
                  <a:lnTo>
                    <a:pt x="873919" y="773906"/>
                  </a:lnTo>
                  <a:lnTo>
                    <a:pt x="885158" y="774097"/>
                  </a:lnTo>
                  <a:lnTo>
                    <a:pt x="897541" y="758095"/>
                  </a:lnTo>
                  <a:lnTo>
                    <a:pt x="897350" y="756476"/>
                  </a:lnTo>
                  <a:lnTo>
                    <a:pt x="902113" y="755904"/>
                  </a:lnTo>
                  <a:lnTo>
                    <a:pt x="903923" y="757238"/>
                  </a:lnTo>
                  <a:lnTo>
                    <a:pt x="907256" y="758476"/>
                  </a:lnTo>
                  <a:lnTo>
                    <a:pt x="906875" y="755332"/>
                  </a:lnTo>
                  <a:lnTo>
                    <a:pt x="910018" y="754856"/>
                  </a:lnTo>
                  <a:lnTo>
                    <a:pt x="909542" y="751713"/>
                  </a:lnTo>
                  <a:lnTo>
                    <a:pt x="912781" y="751332"/>
                  </a:lnTo>
                  <a:lnTo>
                    <a:pt x="915734" y="749332"/>
                  </a:lnTo>
                  <a:lnTo>
                    <a:pt x="919448" y="753713"/>
                  </a:lnTo>
                  <a:lnTo>
                    <a:pt x="922210" y="750094"/>
                  </a:lnTo>
                  <a:lnTo>
                    <a:pt x="921830" y="746951"/>
                  </a:lnTo>
                  <a:lnTo>
                    <a:pt x="918496" y="745807"/>
                  </a:lnTo>
                  <a:lnTo>
                    <a:pt x="926116" y="743236"/>
                  </a:lnTo>
                  <a:lnTo>
                    <a:pt x="925735" y="740093"/>
                  </a:lnTo>
                  <a:lnTo>
                    <a:pt x="927354" y="739807"/>
                  </a:lnTo>
                  <a:lnTo>
                    <a:pt x="927735" y="743045"/>
                  </a:lnTo>
                  <a:lnTo>
                    <a:pt x="937165" y="741807"/>
                  </a:lnTo>
                  <a:lnTo>
                    <a:pt x="937355" y="743426"/>
                  </a:lnTo>
                  <a:lnTo>
                    <a:pt x="939927" y="738283"/>
                  </a:lnTo>
                  <a:lnTo>
                    <a:pt x="941546" y="737997"/>
                  </a:lnTo>
                  <a:lnTo>
                    <a:pt x="944309" y="734473"/>
                  </a:lnTo>
                  <a:lnTo>
                    <a:pt x="951929" y="731901"/>
                  </a:lnTo>
                  <a:lnTo>
                    <a:pt x="954500" y="726757"/>
                  </a:lnTo>
                  <a:lnTo>
                    <a:pt x="954881" y="704279"/>
                  </a:lnTo>
                  <a:lnTo>
                    <a:pt x="960596" y="698754"/>
                  </a:lnTo>
                  <a:lnTo>
                    <a:pt x="967073" y="699516"/>
                  </a:lnTo>
                  <a:lnTo>
                    <a:pt x="968502" y="697706"/>
                  </a:lnTo>
                  <a:lnTo>
                    <a:pt x="972217" y="702088"/>
                  </a:lnTo>
                  <a:lnTo>
                    <a:pt x="975360" y="701707"/>
                  </a:lnTo>
                  <a:lnTo>
                    <a:pt x="983837" y="705422"/>
                  </a:lnTo>
                  <a:lnTo>
                    <a:pt x="986885" y="716185"/>
                  </a:lnTo>
                  <a:lnTo>
                    <a:pt x="989838" y="714280"/>
                  </a:lnTo>
                  <a:lnTo>
                    <a:pt x="993553" y="718566"/>
                  </a:lnTo>
                  <a:lnTo>
                    <a:pt x="995363" y="719995"/>
                  </a:lnTo>
                  <a:lnTo>
                    <a:pt x="998315" y="717995"/>
                  </a:lnTo>
                  <a:lnTo>
                    <a:pt x="1019080" y="729805"/>
                  </a:lnTo>
                  <a:lnTo>
                    <a:pt x="1020413" y="727996"/>
                  </a:lnTo>
                  <a:lnTo>
                    <a:pt x="1022223" y="729329"/>
                  </a:lnTo>
                  <a:lnTo>
                    <a:pt x="1026509" y="725615"/>
                  </a:lnTo>
                  <a:lnTo>
                    <a:pt x="1029272" y="722090"/>
                  </a:lnTo>
                  <a:lnTo>
                    <a:pt x="1027081" y="717518"/>
                  </a:lnTo>
                  <a:lnTo>
                    <a:pt x="1029843" y="713994"/>
                  </a:lnTo>
                  <a:lnTo>
                    <a:pt x="1029843" y="713994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45" name="Volný tvar: obrazec 44">
              <a:extLst>
                <a:ext uri="{FF2B5EF4-FFF2-40B4-BE49-F238E27FC236}">
                  <a16:creationId xmlns:a16="http://schemas.microsoft.com/office/drawing/2014/main" id="{3B20F967-A941-F7BE-6772-68455EE7CF32}"/>
                </a:ext>
              </a:extLst>
            </p:cNvPr>
            <p:cNvSpPr>
              <a:spLocks noChangeAspect="1"/>
            </p:cNvSpPr>
            <p:nvPr userDrawn="1">
              <p:custDataLst>
                <p:tags r:id="rId3"/>
              </p:custDataLst>
            </p:nvPr>
          </p:nvSpPr>
          <p:spPr>
            <a:xfrm>
              <a:off x="3926585" y="3069811"/>
              <a:ext cx="1004887" cy="1332642"/>
            </a:xfrm>
            <a:custGeom>
              <a:avLst/>
              <a:gdLst>
                <a:gd name="connsiteX0" fmla="*/ 999744 w 1004887"/>
                <a:gd name="connsiteY0" fmla="*/ 252508 h 1332642"/>
                <a:gd name="connsiteX1" fmla="*/ 997363 w 1004887"/>
                <a:gd name="connsiteY1" fmla="*/ 246412 h 1332642"/>
                <a:gd name="connsiteX2" fmla="*/ 998315 w 1004887"/>
                <a:gd name="connsiteY2" fmla="*/ 241459 h 1332642"/>
                <a:gd name="connsiteX3" fmla="*/ 997934 w 1004887"/>
                <a:gd name="connsiteY3" fmla="*/ 238315 h 1332642"/>
                <a:gd name="connsiteX4" fmla="*/ 996125 w 1004887"/>
                <a:gd name="connsiteY4" fmla="*/ 236982 h 1332642"/>
                <a:gd name="connsiteX5" fmla="*/ 994124 w 1004887"/>
                <a:gd name="connsiteY5" fmla="*/ 234029 h 1332642"/>
                <a:gd name="connsiteX6" fmla="*/ 995363 w 1004887"/>
                <a:gd name="connsiteY6" fmla="*/ 230600 h 1332642"/>
                <a:gd name="connsiteX7" fmla="*/ 996506 w 1004887"/>
                <a:gd name="connsiteY7" fmla="*/ 227266 h 1332642"/>
                <a:gd name="connsiteX8" fmla="*/ 995648 w 1004887"/>
                <a:gd name="connsiteY8" fmla="*/ 220980 h 1332642"/>
                <a:gd name="connsiteX9" fmla="*/ 993934 w 1004887"/>
                <a:gd name="connsiteY9" fmla="*/ 219551 h 1332642"/>
                <a:gd name="connsiteX10" fmla="*/ 996506 w 1004887"/>
                <a:gd name="connsiteY10" fmla="*/ 214408 h 1332642"/>
                <a:gd name="connsiteX11" fmla="*/ 1004126 w 1004887"/>
                <a:gd name="connsiteY11" fmla="*/ 211836 h 1332642"/>
                <a:gd name="connsiteX12" fmla="*/ 993077 w 1004887"/>
                <a:gd name="connsiteY12" fmla="*/ 213265 h 1332642"/>
                <a:gd name="connsiteX13" fmla="*/ 987933 w 1004887"/>
                <a:gd name="connsiteY13" fmla="*/ 210693 h 1332642"/>
                <a:gd name="connsiteX14" fmla="*/ 975741 w 1004887"/>
                <a:gd name="connsiteY14" fmla="*/ 202692 h 1332642"/>
                <a:gd name="connsiteX15" fmla="*/ 971741 w 1004887"/>
                <a:gd name="connsiteY15" fmla="*/ 196786 h 1332642"/>
                <a:gd name="connsiteX16" fmla="*/ 958691 w 1004887"/>
                <a:gd name="connsiteY16" fmla="*/ 195167 h 1332642"/>
                <a:gd name="connsiteX17" fmla="*/ 953548 w 1004887"/>
                <a:gd name="connsiteY17" fmla="*/ 192691 h 1332642"/>
                <a:gd name="connsiteX18" fmla="*/ 947642 w 1004887"/>
                <a:gd name="connsiteY18" fmla="*/ 196596 h 1332642"/>
                <a:gd name="connsiteX19" fmla="*/ 941165 w 1004887"/>
                <a:gd name="connsiteY19" fmla="*/ 195834 h 1332642"/>
                <a:gd name="connsiteX20" fmla="*/ 942499 w 1004887"/>
                <a:gd name="connsiteY20" fmla="*/ 194024 h 1332642"/>
                <a:gd name="connsiteX21" fmla="*/ 940784 w 1004887"/>
                <a:gd name="connsiteY21" fmla="*/ 192691 h 1332642"/>
                <a:gd name="connsiteX22" fmla="*/ 942118 w 1004887"/>
                <a:gd name="connsiteY22" fmla="*/ 190881 h 1332642"/>
                <a:gd name="connsiteX23" fmla="*/ 945737 w 1004887"/>
                <a:gd name="connsiteY23" fmla="*/ 193643 h 1332642"/>
                <a:gd name="connsiteX24" fmla="*/ 947261 w 1004887"/>
                <a:gd name="connsiteY24" fmla="*/ 193453 h 1332642"/>
                <a:gd name="connsiteX25" fmla="*/ 947452 w 1004887"/>
                <a:gd name="connsiteY25" fmla="*/ 182213 h 1332642"/>
                <a:gd name="connsiteX26" fmla="*/ 948214 w 1004887"/>
                <a:gd name="connsiteY26" fmla="*/ 175736 h 1332642"/>
                <a:gd name="connsiteX27" fmla="*/ 946404 w 1004887"/>
                <a:gd name="connsiteY27" fmla="*/ 174307 h 1332642"/>
                <a:gd name="connsiteX28" fmla="*/ 945452 w 1004887"/>
                <a:gd name="connsiteY28" fmla="*/ 166402 h 1332642"/>
                <a:gd name="connsiteX29" fmla="*/ 939356 w 1004887"/>
                <a:gd name="connsiteY29" fmla="*/ 168783 h 1332642"/>
                <a:gd name="connsiteX30" fmla="*/ 934212 w 1004887"/>
                <a:gd name="connsiteY30" fmla="*/ 166211 h 1332642"/>
                <a:gd name="connsiteX31" fmla="*/ 927449 w 1004887"/>
                <a:gd name="connsiteY31" fmla="*/ 163925 h 1332642"/>
                <a:gd name="connsiteX32" fmla="*/ 918210 w 1004887"/>
                <a:gd name="connsiteY32" fmla="*/ 166687 h 1332642"/>
                <a:gd name="connsiteX33" fmla="*/ 913638 w 1004887"/>
                <a:gd name="connsiteY33" fmla="*/ 168878 h 1332642"/>
                <a:gd name="connsiteX34" fmla="*/ 913638 w 1004887"/>
                <a:gd name="connsiteY34" fmla="*/ 168878 h 1332642"/>
                <a:gd name="connsiteX35" fmla="*/ 912114 w 1004887"/>
                <a:gd name="connsiteY35" fmla="*/ 169069 h 1332642"/>
                <a:gd name="connsiteX36" fmla="*/ 911066 w 1004887"/>
                <a:gd name="connsiteY36" fmla="*/ 161163 h 1332642"/>
                <a:gd name="connsiteX37" fmla="*/ 906685 w 1004887"/>
                <a:gd name="connsiteY37" fmla="*/ 152114 h 1332642"/>
                <a:gd name="connsiteX38" fmla="*/ 903351 w 1004887"/>
                <a:gd name="connsiteY38" fmla="*/ 150971 h 1332642"/>
                <a:gd name="connsiteX39" fmla="*/ 900398 w 1004887"/>
                <a:gd name="connsiteY39" fmla="*/ 152876 h 1332642"/>
                <a:gd name="connsiteX40" fmla="*/ 898684 w 1004887"/>
                <a:gd name="connsiteY40" fmla="*/ 151543 h 1332642"/>
                <a:gd name="connsiteX41" fmla="*/ 894683 w 1004887"/>
                <a:gd name="connsiteY41" fmla="*/ 145637 h 1332642"/>
                <a:gd name="connsiteX42" fmla="*/ 891540 w 1004887"/>
                <a:gd name="connsiteY42" fmla="*/ 146018 h 1332642"/>
                <a:gd name="connsiteX43" fmla="*/ 889540 w 1004887"/>
                <a:gd name="connsiteY43" fmla="*/ 130207 h 1332642"/>
                <a:gd name="connsiteX44" fmla="*/ 884587 w 1004887"/>
                <a:gd name="connsiteY44" fmla="*/ 129254 h 1332642"/>
                <a:gd name="connsiteX45" fmla="*/ 880586 w 1004887"/>
                <a:gd name="connsiteY45" fmla="*/ 123349 h 1332642"/>
                <a:gd name="connsiteX46" fmla="*/ 877443 w 1004887"/>
                <a:gd name="connsiteY46" fmla="*/ 123730 h 1332642"/>
                <a:gd name="connsiteX47" fmla="*/ 874109 w 1004887"/>
                <a:gd name="connsiteY47" fmla="*/ 122587 h 1332642"/>
                <a:gd name="connsiteX48" fmla="*/ 871347 w 1004887"/>
                <a:gd name="connsiteY48" fmla="*/ 126111 h 1332642"/>
                <a:gd name="connsiteX49" fmla="*/ 868204 w 1004887"/>
                <a:gd name="connsiteY49" fmla="*/ 126587 h 1332642"/>
                <a:gd name="connsiteX50" fmla="*/ 864870 w 1004887"/>
                <a:gd name="connsiteY50" fmla="*/ 125349 h 1332642"/>
                <a:gd name="connsiteX51" fmla="*/ 863441 w 1004887"/>
                <a:gd name="connsiteY51" fmla="*/ 127159 h 1332642"/>
                <a:gd name="connsiteX52" fmla="*/ 865632 w 1004887"/>
                <a:gd name="connsiteY52" fmla="*/ 131731 h 1332642"/>
                <a:gd name="connsiteX53" fmla="*/ 846677 w 1004887"/>
                <a:gd name="connsiteY53" fmla="*/ 134112 h 1332642"/>
                <a:gd name="connsiteX54" fmla="*/ 841534 w 1004887"/>
                <a:gd name="connsiteY54" fmla="*/ 131540 h 1332642"/>
                <a:gd name="connsiteX55" fmla="*/ 820484 w 1004887"/>
                <a:gd name="connsiteY55" fmla="*/ 129445 h 1332642"/>
                <a:gd name="connsiteX56" fmla="*/ 820007 w 1004887"/>
                <a:gd name="connsiteY56" fmla="*/ 126302 h 1332642"/>
                <a:gd name="connsiteX57" fmla="*/ 816674 w 1004887"/>
                <a:gd name="connsiteY57" fmla="*/ 125063 h 1332642"/>
                <a:gd name="connsiteX58" fmla="*/ 816293 w 1004887"/>
                <a:gd name="connsiteY58" fmla="*/ 121920 h 1332642"/>
                <a:gd name="connsiteX59" fmla="*/ 810959 w 1004887"/>
                <a:gd name="connsiteY59" fmla="*/ 117824 h 1332642"/>
                <a:gd name="connsiteX60" fmla="*/ 812292 w 1004887"/>
                <a:gd name="connsiteY60" fmla="*/ 116015 h 1332642"/>
                <a:gd name="connsiteX61" fmla="*/ 810387 w 1004887"/>
                <a:gd name="connsiteY61" fmla="*/ 113062 h 1332642"/>
                <a:gd name="connsiteX62" fmla="*/ 805244 w 1004887"/>
                <a:gd name="connsiteY62" fmla="*/ 110490 h 1332642"/>
                <a:gd name="connsiteX63" fmla="*/ 801624 w 1004887"/>
                <a:gd name="connsiteY63" fmla="*/ 107728 h 1332642"/>
                <a:gd name="connsiteX64" fmla="*/ 800100 w 1004887"/>
                <a:gd name="connsiteY64" fmla="*/ 107918 h 1332642"/>
                <a:gd name="connsiteX65" fmla="*/ 796481 w 1004887"/>
                <a:gd name="connsiteY65" fmla="*/ 105251 h 1332642"/>
                <a:gd name="connsiteX66" fmla="*/ 787241 w 1004887"/>
                <a:gd name="connsiteY66" fmla="*/ 108013 h 1332642"/>
                <a:gd name="connsiteX67" fmla="*/ 784479 w 1004887"/>
                <a:gd name="connsiteY67" fmla="*/ 98774 h 1332642"/>
                <a:gd name="connsiteX68" fmla="*/ 779717 w 1004887"/>
                <a:gd name="connsiteY68" fmla="*/ 99346 h 1332642"/>
                <a:gd name="connsiteX69" fmla="*/ 774573 w 1004887"/>
                <a:gd name="connsiteY69" fmla="*/ 96774 h 1332642"/>
                <a:gd name="connsiteX70" fmla="*/ 775145 w 1004887"/>
                <a:gd name="connsiteY70" fmla="*/ 88678 h 1332642"/>
                <a:gd name="connsiteX71" fmla="*/ 778478 w 1004887"/>
                <a:gd name="connsiteY71" fmla="*/ 89821 h 1332642"/>
                <a:gd name="connsiteX72" fmla="*/ 779717 w 1004887"/>
                <a:gd name="connsiteY72" fmla="*/ 86487 h 1332642"/>
                <a:gd name="connsiteX73" fmla="*/ 790956 w 1004887"/>
                <a:gd name="connsiteY73" fmla="*/ 86677 h 1332642"/>
                <a:gd name="connsiteX74" fmla="*/ 799433 w 1004887"/>
                <a:gd name="connsiteY74" fmla="*/ 90392 h 1332642"/>
                <a:gd name="connsiteX75" fmla="*/ 799052 w 1004887"/>
                <a:gd name="connsiteY75" fmla="*/ 87249 h 1332642"/>
                <a:gd name="connsiteX76" fmla="*/ 792290 w 1004887"/>
                <a:gd name="connsiteY76" fmla="*/ 84868 h 1332642"/>
                <a:gd name="connsiteX77" fmla="*/ 790766 w 1004887"/>
                <a:gd name="connsiteY77" fmla="*/ 85058 h 1332642"/>
                <a:gd name="connsiteX78" fmla="*/ 788003 w 1004887"/>
                <a:gd name="connsiteY78" fmla="*/ 75819 h 1332642"/>
                <a:gd name="connsiteX79" fmla="*/ 784574 w 1004887"/>
                <a:gd name="connsiteY79" fmla="*/ 74676 h 1332642"/>
                <a:gd name="connsiteX80" fmla="*/ 772001 w 1004887"/>
                <a:gd name="connsiteY80" fmla="*/ 76295 h 1332642"/>
                <a:gd name="connsiteX81" fmla="*/ 768001 w 1004887"/>
                <a:gd name="connsiteY81" fmla="*/ 83153 h 1332642"/>
                <a:gd name="connsiteX82" fmla="*/ 761714 w 1004887"/>
                <a:gd name="connsiteY82" fmla="*/ 84011 h 1332642"/>
                <a:gd name="connsiteX83" fmla="*/ 758190 w 1004887"/>
                <a:gd name="connsiteY83" fmla="*/ 81248 h 1332642"/>
                <a:gd name="connsiteX84" fmla="*/ 759333 w 1004887"/>
                <a:gd name="connsiteY84" fmla="*/ 77915 h 1332642"/>
                <a:gd name="connsiteX85" fmla="*/ 758952 w 1004887"/>
                <a:gd name="connsiteY85" fmla="*/ 74676 h 1332642"/>
                <a:gd name="connsiteX86" fmla="*/ 755999 w 1004887"/>
                <a:gd name="connsiteY86" fmla="*/ 76676 h 1332642"/>
                <a:gd name="connsiteX87" fmla="*/ 753809 w 1004887"/>
                <a:gd name="connsiteY87" fmla="*/ 72200 h 1332642"/>
                <a:gd name="connsiteX88" fmla="*/ 749522 w 1004887"/>
                <a:gd name="connsiteY88" fmla="*/ 75914 h 1332642"/>
                <a:gd name="connsiteX89" fmla="*/ 734663 w 1004887"/>
                <a:gd name="connsiteY89" fmla="*/ 72961 h 1332642"/>
                <a:gd name="connsiteX90" fmla="*/ 732568 w 1004887"/>
                <a:gd name="connsiteY90" fmla="*/ 81248 h 1332642"/>
                <a:gd name="connsiteX91" fmla="*/ 729329 w 1004887"/>
                <a:gd name="connsiteY91" fmla="*/ 81725 h 1332642"/>
                <a:gd name="connsiteX92" fmla="*/ 727043 w 1004887"/>
                <a:gd name="connsiteY92" fmla="*/ 88392 h 1332642"/>
                <a:gd name="connsiteX93" fmla="*/ 725424 w 1004887"/>
                <a:gd name="connsiteY93" fmla="*/ 88582 h 1332642"/>
                <a:gd name="connsiteX94" fmla="*/ 720471 w 1004887"/>
                <a:gd name="connsiteY94" fmla="*/ 87630 h 1332642"/>
                <a:gd name="connsiteX95" fmla="*/ 719519 w 1004887"/>
                <a:gd name="connsiteY95" fmla="*/ 79724 h 1332642"/>
                <a:gd name="connsiteX96" fmla="*/ 708470 w 1004887"/>
                <a:gd name="connsiteY96" fmla="*/ 81153 h 1332642"/>
                <a:gd name="connsiteX97" fmla="*/ 703898 w 1004887"/>
                <a:gd name="connsiteY97" fmla="*/ 83344 h 1332642"/>
                <a:gd name="connsiteX98" fmla="*/ 702374 w 1004887"/>
                <a:gd name="connsiteY98" fmla="*/ 83534 h 1332642"/>
                <a:gd name="connsiteX99" fmla="*/ 701707 w 1004887"/>
                <a:gd name="connsiteY99" fmla="*/ 78772 h 1332642"/>
                <a:gd name="connsiteX100" fmla="*/ 705898 w 1004887"/>
                <a:gd name="connsiteY100" fmla="*/ 73438 h 1332642"/>
                <a:gd name="connsiteX101" fmla="*/ 705231 w 1004887"/>
                <a:gd name="connsiteY101" fmla="*/ 68771 h 1332642"/>
                <a:gd name="connsiteX102" fmla="*/ 711137 w 1004887"/>
                <a:gd name="connsiteY102" fmla="*/ 64770 h 1332642"/>
                <a:gd name="connsiteX103" fmla="*/ 712565 w 1004887"/>
                <a:gd name="connsiteY103" fmla="*/ 62960 h 1332642"/>
                <a:gd name="connsiteX104" fmla="*/ 710565 w 1004887"/>
                <a:gd name="connsiteY104" fmla="*/ 60007 h 1332642"/>
                <a:gd name="connsiteX105" fmla="*/ 714661 w 1004887"/>
                <a:gd name="connsiteY105" fmla="*/ 54673 h 1332642"/>
                <a:gd name="connsiteX106" fmla="*/ 714089 w 1004887"/>
                <a:gd name="connsiteY106" fmla="*/ 50006 h 1332642"/>
                <a:gd name="connsiteX107" fmla="*/ 719042 w 1004887"/>
                <a:gd name="connsiteY107" fmla="*/ 50959 h 1332642"/>
                <a:gd name="connsiteX108" fmla="*/ 725329 w 1004887"/>
                <a:gd name="connsiteY108" fmla="*/ 50102 h 1332642"/>
                <a:gd name="connsiteX109" fmla="*/ 725710 w 1004887"/>
                <a:gd name="connsiteY109" fmla="*/ 40481 h 1332642"/>
                <a:gd name="connsiteX110" fmla="*/ 723329 w 1004887"/>
                <a:gd name="connsiteY110" fmla="*/ 34385 h 1332642"/>
                <a:gd name="connsiteX111" fmla="*/ 723138 w 1004887"/>
                <a:gd name="connsiteY111" fmla="*/ 32766 h 1332642"/>
                <a:gd name="connsiteX112" fmla="*/ 718185 w 1004887"/>
                <a:gd name="connsiteY112" fmla="*/ 31813 h 1332642"/>
                <a:gd name="connsiteX113" fmla="*/ 715613 w 1004887"/>
                <a:gd name="connsiteY113" fmla="*/ 24098 h 1332642"/>
                <a:gd name="connsiteX114" fmla="*/ 711518 w 1004887"/>
                <a:gd name="connsiteY114" fmla="*/ 29432 h 1332642"/>
                <a:gd name="connsiteX115" fmla="*/ 709517 w 1004887"/>
                <a:gd name="connsiteY115" fmla="*/ 26479 h 1332642"/>
                <a:gd name="connsiteX116" fmla="*/ 710089 w 1004887"/>
                <a:gd name="connsiteY116" fmla="*/ 18383 h 1332642"/>
                <a:gd name="connsiteX117" fmla="*/ 708279 w 1004887"/>
                <a:gd name="connsiteY117" fmla="*/ 17050 h 1332642"/>
                <a:gd name="connsiteX118" fmla="*/ 707517 w 1004887"/>
                <a:gd name="connsiteY118" fmla="*/ 23527 h 1332642"/>
                <a:gd name="connsiteX119" fmla="*/ 701421 w 1004887"/>
                <a:gd name="connsiteY119" fmla="*/ 25908 h 1332642"/>
                <a:gd name="connsiteX120" fmla="*/ 701612 w 1004887"/>
                <a:gd name="connsiteY120" fmla="*/ 27527 h 1332642"/>
                <a:gd name="connsiteX121" fmla="*/ 698278 w 1004887"/>
                <a:gd name="connsiteY121" fmla="*/ 26289 h 1332642"/>
                <a:gd name="connsiteX122" fmla="*/ 695135 w 1004887"/>
                <a:gd name="connsiteY122" fmla="*/ 26670 h 1332642"/>
                <a:gd name="connsiteX123" fmla="*/ 689229 w 1004887"/>
                <a:gd name="connsiteY123" fmla="*/ 30671 h 1332642"/>
                <a:gd name="connsiteX124" fmla="*/ 684086 w 1004887"/>
                <a:gd name="connsiteY124" fmla="*/ 28099 h 1332642"/>
                <a:gd name="connsiteX125" fmla="*/ 683990 w 1004887"/>
                <a:gd name="connsiteY125" fmla="*/ 15335 h 1332642"/>
                <a:gd name="connsiteX126" fmla="*/ 680847 w 1004887"/>
                <a:gd name="connsiteY126" fmla="*/ 15716 h 1332642"/>
                <a:gd name="connsiteX127" fmla="*/ 679133 w 1004887"/>
                <a:gd name="connsiteY127" fmla="*/ 14288 h 1332642"/>
                <a:gd name="connsiteX128" fmla="*/ 675894 w 1004887"/>
                <a:gd name="connsiteY128" fmla="*/ 14764 h 1332642"/>
                <a:gd name="connsiteX129" fmla="*/ 676656 w 1004887"/>
                <a:gd name="connsiteY129" fmla="*/ 8192 h 1332642"/>
                <a:gd name="connsiteX130" fmla="*/ 671608 w 1004887"/>
                <a:gd name="connsiteY130" fmla="*/ 5620 h 1332642"/>
                <a:gd name="connsiteX131" fmla="*/ 672941 w 1004887"/>
                <a:gd name="connsiteY131" fmla="*/ 3905 h 1332642"/>
                <a:gd name="connsiteX132" fmla="*/ 676085 w 1004887"/>
                <a:gd name="connsiteY132" fmla="*/ 3524 h 1332642"/>
                <a:gd name="connsiteX133" fmla="*/ 674084 w 1004887"/>
                <a:gd name="connsiteY133" fmla="*/ 571 h 1332642"/>
                <a:gd name="connsiteX134" fmla="*/ 669798 w 1004887"/>
                <a:gd name="connsiteY134" fmla="*/ 4286 h 1332642"/>
                <a:gd name="connsiteX135" fmla="*/ 666655 w 1004887"/>
                <a:gd name="connsiteY135" fmla="*/ 4667 h 1332642"/>
                <a:gd name="connsiteX136" fmla="*/ 665417 w 1004887"/>
                <a:gd name="connsiteY136" fmla="*/ 8001 h 1332642"/>
                <a:gd name="connsiteX137" fmla="*/ 664464 w 1004887"/>
                <a:gd name="connsiteY137" fmla="*/ 12954 h 1332642"/>
                <a:gd name="connsiteX138" fmla="*/ 661321 w 1004887"/>
                <a:gd name="connsiteY138" fmla="*/ 13335 h 1332642"/>
                <a:gd name="connsiteX139" fmla="*/ 658749 w 1004887"/>
                <a:gd name="connsiteY139" fmla="*/ 18479 h 1332642"/>
                <a:gd name="connsiteX140" fmla="*/ 652272 w 1004887"/>
                <a:gd name="connsiteY140" fmla="*/ 17717 h 1332642"/>
                <a:gd name="connsiteX141" fmla="*/ 654368 w 1004887"/>
                <a:gd name="connsiteY141" fmla="*/ 9430 h 1332642"/>
                <a:gd name="connsiteX142" fmla="*/ 653225 w 1004887"/>
                <a:gd name="connsiteY142" fmla="*/ 0 h 1332642"/>
                <a:gd name="connsiteX143" fmla="*/ 651605 w 1004887"/>
                <a:gd name="connsiteY143" fmla="*/ 190 h 1332642"/>
                <a:gd name="connsiteX144" fmla="*/ 651986 w 1004887"/>
                <a:gd name="connsiteY144" fmla="*/ 3334 h 1332642"/>
                <a:gd name="connsiteX145" fmla="*/ 639032 w 1004887"/>
                <a:gd name="connsiteY145" fmla="*/ 1810 h 1332642"/>
                <a:gd name="connsiteX146" fmla="*/ 636080 w 1004887"/>
                <a:gd name="connsiteY146" fmla="*/ 3810 h 1332642"/>
                <a:gd name="connsiteX147" fmla="*/ 636270 w 1004887"/>
                <a:gd name="connsiteY147" fmla="*/ 5334 h 1332642"/>
                <a:gd name="connsiteX148" fmla="*/ 633317 w 1004887"/>
                <a:gd name="connsiteY148" fmla="*/ 7334 h 1332642"/>
                <a:gd name="connsiteX149" fmla="*/ 629888 w 1004887"/>
                <a:gd name="connsiteY149" fmla="*/ 6191 h 1332642"/>
                <a:gd name="connsiteX150" fmla="*/ 627983 w 1004887"/>
                <a:gd name="connsiteY150" fmla="*/ 3238 h 1332642"/>
                <a:gd name="connsiteX151" fmla="*/ 623221 w 1004887"/>
                <a:gd name="connsiteY151" fmla="*/ 3810 h 1332642"/>
                <a:gd name="connsiteX152" fmla="*/ 623411 w 1004887"/>
                <a:gd name="connsiteY152" fmla="*/ 5429 h 1332642"/>
                <a:gd name="connsiteX153" fmla="*/ 626745 w 1004887"/>
                <a:gd name="connsiteY153" fmla="*/ 6572 h 1332642"/>
                <a:gd name="connsiteX154" fmla="*/ 628745 w 1004887"/>
                <a:gd name="connsiteY154" fmla="*/ 9525 h 1332642"/>
                <a:gd name="connsiteX155" fmla="*/ 619887 w 1004887"/>
                <a:gd name="connsiteY155" fmla="*/ 28289 h 1332642"/>
                <a:gd name="connsiteX156" fmla="*/ 623507 w 1004887"/>
                <a:gd name="connsiteY156" fmla="*/ 31052 h 1332642"/>
                <a:gd name="connsiteX157" fmla="*/ 631127 w 1004887"/>
                <a:gd name="connsiteY157" fmla="*/ 28480 h 1332642"/>
                <a:gd name="connsiteX158" fmla="*/ 631603 w 1004887"/>
                <a:gd name="connsiteY158" fmla="*/ 31623 h 1332642"/>
                <a:gd name="connsiteX159" fmla="*/ 633317 w 1004887"/>
                <a:gd name="connsiteY159" fmla="*/ 32956 h 1332642"/>
                <a:gd name="connsiteX160" fmla="*/ 633984 w 1004887"/>
                <a:gd name="connsiteY160" fmla="*/ 37719 h 1332642"/>
                <a:gd name="connsiteX161" fmla="*/ 631222 w 1004887"/>
                <a:gd name="connsiteY161" fmla="*/ 41243 h 1332642"/>
                <a:gd name="connsiteX162" fmla="*/ 630460 w 1004887"/>
                <a:gd name="connsiteY162" fmla="*/ 47815 h 1332642"/>
                <a:gd name="connsiteX163" fmla="*/ 624269 w 1004887"/>
                <a:gd name="connsiteY163" fmla="*/ 50197 h 1332642"/>
                <a:gd name="connsiteX164" fmla="*/ 622935 w 1004887"/>
                <a:gd name="connsiteY164" fmla="*/ 51911 h 1332642"/>
                <a:gd name="connsiteX165" fmla="*/ 619220 w 1004887"/>
                <a:gd name="connsiteY165" fmla="*/ 47625 h 1332642"/>
                <a:gd name="connsiteX166" fmla="*/ 617411 w 1004887"/>
                <a:gd name="connsiteY166" fmla="*/ 46292 h 1332642"/>
                <a:gd name="connsiteX167" fmla="*/ 621792 w 1004887"/>
                <a:gd name="connsiteY167" fmla="*/ 55340 h 1332642"/>
                <a:gd name="connsiteX168" fmla="*/ 620363 w 1004887"/>
                <a:gd name="connsiteY168" fmla="*/ 57055 h 1332642"/>
                <a:gd name="connsiteX169" fmla="*/ 615410 w 1004887"/>
                <a:gd name="connsiteY169" fmla="*/ 56102 h 1332642"/>
                <a:gd name="connsiteX170" fmla="*/ 610934 w 1004887"/>
                <a:gd name="connsiteY170" fmla="*/ 58293 h 1332642"/>
                <a:gd name="connsiteX171" fmla="*/ 604361 w 1004887"/>
                <a:gd name="connsiteY171" fmla="*/ 57531 h 1332642"/>
                <a:gd name="connsiteX172" fmla="*/ 602837 w 1004887"/>
                <a:gd name="connsiteY172" fmla="*/ 57721 h 1332642"/>
                <a:gd name="connsiteX173" fmla="*/ 603599 w 1004887"/>
                <a:gd name="connsiteY173" fmla="*/ 64008 h 1332642"/>
                <a:gd name="connsiteX174" fmla="*/ 598932 w 1004887"/>
                <a:gd name="connsiteY174" fmla="*/ 64675 h 1332642"/>
                <a:gd name="connsiteX175" fmla="*/ 598075 w 1004887"/>
                <a:gd name="connsiteY175" fmla="*/ 58293 h 1332642"/>
                <a:gd name="connsiteX176" fmla="*/ 597122 w 1004887"/>
                <a:gd name="connsiteY176" fmla="*/ 63246 h 1332642"/>
                <a:gd name="connsiteX177" fmla="*/ 593789 w 1004887"/>
                <a:gd name="connsiteY177" fmla="*/ 62103 h 1332642"/>
                <a:gd name="connsiteX178" fmla="*/ 591788 w 1004887"/>
                <a:gd name="connsiteY178" fmla="*/ 59150 h 1332642"/>
                <a:gd name="connsiteX179" fmla="*/ 585502 w 1004887"/>
                <a:gd name="connsiteY179" fmla="*/ 59912 h 1332642"/>
                <a:gd name="connsiteX180" fmla="*/ 589026 w 1004887"/>
                <a:gd name="connsiteY180" fmla="*/ 62675 h 1332642"/>
                <a:gd name="connsiteX181" fmla="*/ 586073 w 1004887"/>
                <a:gd name="connsiteY181" fmla="*/ 64675 h 1332642"/>
                <a:gd name="connsiteX182" fmla="*/ 584930 w 1004887"/>
                <a:gd name="connsiteY182" fmla="*/ 68008 h 1332642"/>
                <a:gd name="connsiteX183" fmla="*/ 588264 w 1004887"/>
                <a:gd name="connsiteY183" fmla="*/ 69247 h 1332642"/>
                <a:gd name="connsiteX184" fmla="*/ 591788 w 1004887"/>
                <a:gd name="connsiteY184" fmla="*/ 71914 h 1332642"/>
                <a:gd name="connsiteX185" fmla="*/ 588645 w 1004887"/>
                <a:gd name="connsiteY185" fmla="*/ 72390 h 1332642"/>
                <a:gd name="connsiteX186" fmla="*/ 593598 w 1004887"/>
                <a:gd name="connsiteY186" fmla="*/ 86201 h 1332642"/>
                <a:gd name="connsiteX187" fmla="*/ 593979 w 1004887"/>
                <a:gd name="connsiteY187" fmla="*/ 89344 h 1332642"/>
                <a:gd name="connsiteX188" fmla="*/ 589312 w 1004887"/>
                <a:gd name="connsiteY188" fmla="*/ 89916 h 1332642"/>
                <a:gd name="connsiteX189" fmla="*/ 584168 w 1004887"/>
                <a:gd name="connsiteY189" fmla="*/ 100203 h 1332642"/>
                <a:gd name="connsiteX190" fmla="*/ 585407 w 1004887"/>
                <a:gd name="connsiteY190" fmla="*/ 109633 h 1332642"/>
                <a:gd name="connsiteX191" fmla="*/ 589598 w 1004887"/>
                <a:gd name="connsiteY191" fmla="*/ 117157 h 1332642"/>
                <a:gd name="connsiteX192" fmla="*/ 586550 w 1004887"/>
                <a:gd name="connsiteY192" fmla="*/ 119158 h 1332642"/>
                <a:gd name="connsiteX193" fmla="*/ 582073 w 1004887"/>
                <a:gd name="connsiteY193" fmla="*/ 121348 h 1332642"/>
                <a:gd name="connsiteX194" fmla="*/ 570167 w 1004887"/>
                <a:gd name="connsiteY194" fmla="*/ 116396 h 1332642"/>
                <a:gd name="connsiteX195" fmla="*/ 560927 w 1004887"/>
                <a:gd name="connsiteY195" fmla="*/ 106394 h 1332642"/>
                <a:gd name="connsiteX196" fmla="*/ 555593 w 1004887"/>
                <a:gd name="connsiteY196" fmla="*/ 102203 h 1332642"/>
                <a:gd name="connsiteX197" fmla="*/ 553593 w 1004887"/>
                <a:gd name="connsiteY197" fmla="*/ 99250 h 1332642"/>
                <a:gd name="connsiteX198" fmla="*/ 554546 w 1004887"/>
                <a:gd name="connsiteY198" fmla="*/ 94298 h 1332642"/>
                <a:gd name="connsiteX199" fmla="*/ 553022 w 1004887"/>
                <a:gd name="connsiteY199" fmla="*/ 94583 h 1332642"/>
                <a:gd name="connsiteX200" fmla="*/ 552641 w 1004887"/>
                <a:gd name="connsiteY200" fmla="*/ 104204 h 1332642"/>
                <a:gd name="connsiteX201" fmla="*/ 550831 w 1004887"/>
                <a:gd name="connsiteY201" fmla="*/ 102870 h 1332642"/>
                <a:gd name="connsiteX202" fmla="*/ 550069 w 1004887"/>
                <a:gd name="connsiteY202" fmla="*/ 96488 h 1332642"/>
                <a:gd name="connsiteX203" fmla="*/ 548259 w 1004887"/>
                <a:gd name="connsiteY203" fmla="*/ 95155 h 1332642"/>
                <a:gd name="connsiteX204" fmla="*/ 546640 w 1004887"/>
                <a:gd name="connsiteY204" fmla="*/ 95345 h 1332642"/>
                <a:gd name="connsiteX205" fmla="*/ 544735 w 1004887"/>
                <a:gd name="connsiteY205" fmla="*/ 92392 h 1332642"/>
                <a:gd name="connsiteX206" fmla="*/ 543116 w 1004887"/>
                <a:gd name="connsiteY206" fmla="*/ 92583 h 1332642"/>
                <a:gd name="connsiteX207" fmla="*/ 539591 w 1004887"/>
                <a:gd name="connsiteY207" fmla="*/ 89821 h 1332642"/>
                <a:gd name="connsiteX208" fmla="*/ 539782 w 1004887"/>
                <a:gd name="connsiteY208" fmla="*/ 91440 h 1332642"/>
                <a:gd name="connsiteX209" fmla="*/ 538163 w 1004887"/>
                <a:gd name="connsiteY209" fmla="*/ 91631 h 1332642"/>
                <a:gd name="connsiteX210" fmla="*/ 537401 w 1004887"/>
                <a:gd name="connsiteY210" fmla="*/ 85344 h 1332642"/>
                <a:gd name="connsiteX211" fmla="*/ 535781 w 1004887"/>
                <a:gd name="connsiteY211" fmla="*/ 85534 h 1332642"/>
                <a:gd name="connsiteX212" fmla="*/ 534448 w 1004887"/>
                <a:gd name="connsiteY212" fmla="*/ 87249 h 1332642"/>
                <a:gd name="connsiteX213" fmla="*/ 527685 w 1004887"/>
                <a:gd name="connsiteY213" fmla="*/ 84963 h 1332642"/>
                <a:gd name="connsiteX214" fmla="*/ 529304 w 1004887"/>
                <a:gd name="connsiteY214" fmla="*/ 84773 h 1332642"/>
                <a:gd name="connsiteX215" fmla="*/ 528923 w 1004887"/>
                <a:gd name="connsiteY215" fmla="*/ 81534 h 1332642"/>
                <a:gd name="connsiteX216" fmla="*/ 521399 w 1004887"/>
                <a:gd name="connsiteY216" fmla="*/ 85725 h 1332642"/>
                <a:gd name="connsiteX217" fmla="*/ 516446 w 1004887"/>
                <a:gd name="connsiteY217" fmla="*/ 84773 h 1332642"/>
                <a:gd name="connsiteX218" fmla="*/ 516636 w 1004887"/>
                <a:gd name="connsiteY218" fmla="*/ 86296 h 1332642"/>
                <a:gd name="connsiteX219" fmla="*/ 512921 w 1004887"/>
                <a:gd name="connsiteY219" fmla="*/ 82010 h 1332642"/>
                <a:gd name="connsiteX220" fmla="*/ 508730 w 1004887"/>
                <a:gd name="connsiteY220" fmla="*/ 87344 h 1332642"/>
                <a:gd name="connsiteX221" fmla="*/ 503206 w 1004887"/>
                <a:gd name="connsiteY221" fmla="*/ 81629 h 1332642"/>
                <a:gd name="connsiteX222" fmla="*/ 500444 w 1004887"/>
                <a:gd name="connsiteY222" fmla="*/ 85154 h 1332642"/>
                <a:gd name="connsiteX223" fmla="*/ 496919 w 1004887"/>
                <a:gd name="connsiteY223" fmla="*/ 82486 h 1332642"/>
                <a:gd name="connsiteX224" fmla="*/ 496157 w 1004887"/>
                <a:gd name="connsiteY224" fmla="*/ 76105 h 1332642"/>
                <a:gd name="connsiteX225" fmla="*/ 494729 w 1004887"/>
                <a:gd name="connsiteY225" fmla="*/ 77915 h 1332642"/>
                <a:gd name="connsiteX226" fmla="*/ 493967 w 1004887"/>
                <a:gd name="connsiteY226" fmla="*/ 71628 h 1332642"/>
                <a:gd name="connsiteX227" fmla="*/ 488252 w 1004887"/>
                <a:gd name="connsiteY227" fmla="*/ 77152 h 1332642"/>
                <a:gd name="connsiteX228" fmla="*/ 486823 w 1004887"/>
                <a:gd name="connsiteY228" fmla="*/ 78962 h 1332642"/>
                <a:gd name="connsiteX229" fmla="*/ 483870 w 1004887"/>
                <a:gd name="connsiteY229" fmla="*/ 80867 h 1332642"/>
                <a:gd name="connsiteX230" fmla="*/ 483679 w 1004887"/>
                <a:gd name="connsiteY230" fmla="*/ 79343 h 1332642"/>
                <a:gd name="connsiteX231" fmla="*/ 482346 w 1004887"/>
                <a:gd name="connsiteY231" fmla="*/ 81058 h 1332642"/>
                <a:gd name="connsiteX232" fmla="*/ 483489 w 1004887"/>
                <a:gd name="connsiteY232" fmla="*/ 90583 h 1332642"/>
                <a:gd name="connsiteX233" fmla="*/ 478822 w 1004887"/>
                <a:gd name="connsiteY233" fmla="*/ 91154 h 1332642"/>
                <a:gd name="connsiteX234" fmla="*/ 473678 w 1004887"/>
                <a:gd name="connsiteY234" fmla="*/ 88582 h 1332642"/>
                <a:gd name="connsiteX235" fmla="*/ 471106 w 1004887"/>
                <a:gd name="connsiteY235" fmla="*/ 93726 h 1332642"/>
                <a:gd name="connsiteX236" fmla="*/ 472916 w 1004887"/>
                <a:gd name="connsiteY236" fmla="*/ 95155 h 1332642"/>
                <a:gd name="connsiteX237" fmla="*/ 476060 w 1004887"/>
                <a:gd name="connsiteY237" fmla="*/ 94679 h 1332642"/>
                <a:gd name="connsiteX238" fmla="*/ 476250 w 1004887"/>
                <a:gd name="connsiteY238" fmla="*/ 96298 h 1332642"/>
                <a:gd name="connsiteX239" fmla="*/ 472059 w 1004887"/>
                <a:gd name="connsiteY239" fmla="*/ 101632 h 1332642"/>
                <a:gd name="connsiteX240" fmla="*/ 463772 w 1004887"/>
                <a:gd name="connsiteY240" fmla="*/ 99536 h 1332642"/>
                <a:gd name="connsiteX241" fmla="*/ 460820 w 1004887"/>
                <a:gd name="connsiteY241" fmla="*/ 101441 h 1332642"/>
                <a:gd name="connsiteX242" fmla="*/ 459867 w 1004887"/>
                <a:gd name="connsiteY242" fmla="*/ 106394 h 1332642"/>
                <a:gd name="connsiteX243" fmla="*/ 456914 w 1004887"/>
                <a:gd name="connsiteY243" fmla="*/ 108394 h 1332642"/>
                <a:gd name="connsiteX244" fmla="*/ 450437 w 1004887"/>
                <a:gd name="connsiteY244" fmla="*/ 107632 h 1332642"/>
                <a:gd name="connsiteX245" fmla="*/ 451009 w 1004887"/>
                <a:gd name="connsiteY245" fmla="*/ 112300 h 1332642"/>
                <a:gd name="connsiteX246" fmla="*/ 448247 w 1004887"/>
                <a:gd name="connsiteY246" fmla="*/ 115919 h 1332642"/>
                <a:gd name="connsiteX247" fmla="*/ 443294 w 1004887"/>
                <a:gd name="connsiteY247" fmla="*/ 114967 h 1332642"/>
                <a:gd name="connsiteX248" fmla="*/ 443484 w 1004887"/>
                <a:gd name="connsiteY248" fmla="*/ 116491 h 1332642"/>
                <a:gd name="connsiteX249" fmla="*/ 439007 w 1004887"/>
                <a:gd name="connsiteY249" fmla="*/ 118681 h 1332642"/>
                <a:gd name="connsiteX250" fmla="*/ 439388 w 1004887"/>
                <a:gd name="connsiteY250" fmla="*/ 121825 h 1332642"/>
                <a:gd name="connsiteX251" fmla="*/ 436626 w 1004887"/>
                <a:gd name="connsiteY251" fmla="*/ 125444 h 1332642"/>
                <a:gd name="connsiteX252" fmla="*/ 432911 w 1004887"/>
                <a:gd name="connsiteY252" fmla="*/ 121063 h 1332642"/>
                <a:gd name="connsiteX253" fmla="*/ 423386 w 1004887"/>
                <a:gd name="connsiteY253" fmla="*/ 122301 h 1332642"/>
                <a:gd name="connsiteX254" fmla="*/ 425006 w 1004887"/>
                <a:gd name="connsiteY254" fmla="*/ 134874 h 1332642"/>
                <a:gd name="connsiteX255" fmla="*/ 421862 w 1004887"/>
                <a:gd name="connsiteY255" fmla="*/ 135350 h 1332642"/>
                <a:gd name="connsiteX256" fmla="*/ 423291 w 1004887"/>
                <a:gd name="connsiteY256" fmla="*/ 133540 h 1332642"/>
                <a:gd name="connsiteX257" fmla="*/ 418148 w 1004887"/>
                <a:gd name="connsiteY257" fmla="*/ 130969 h 1332642"/>
                <a:gd name="connsiteX258" fmla="*/ 415766 w 1004887"/>
                <a:gd name="connsiteY258" fmla="*/ 137731 h 1332642"/>
                <a:gd name="connsiteX259" fmla="*/ 405670 w 1004887"/>
                <a:gd name="connsiteY259" fmla="*/ 134207 h 1332642"/>
                <a:gd name="connsiteX260" fmla="*/ 397764 w 1004887"/>
                <a:gd name="connsiteY260" fmla="*/ 135160 h 1332642"/>
                <a:gd name="connsiteX261" fmla="*/ 393478 w 1004887"/>
                <a:gd name="connsiteY261" fmla="*/ 138970 h 1332642"/>
                <a:gd name="connsiteX262" fmla="*/ 392906 w 1004887"/>
                <a:gd name="connsiteY262" fmla="*/ 146971 h 1332642"/>
                <a:gd name="connsiteX263" fmla="*/ 400812 w 1004887"/>
                <a:gd name="connsiteY263" fmla="*/ 158877 h 1332642"/>
                <a:gd name="connsiteX264" fmla="*/ 400812 w 1004887"/>
                <a:gd name="connsiteY264" fmla="*/ 158877 h 1332642"/>
                <a:gd name="connsiteX265" fmla="*/ 401193 w 1004887"/>
                <a:gd name="connsiteY265" fmla="*/ 162020 h 1332642"/>
                <a:gd name="connsiteX266" fmla="*/ 397859 w 1004887"/>
                <a:gd name="connsiteY266" fmla="*/ 160782 h 1332642"/>
                <a:gd name="connsiteX267" fmla="*/ 394907 w 1004887"/>
                <a:gd name="connsiteY267" fmla="*/ 162782 h 1332642"/>
                <a:gd name="connsiteX268" fmla="*/ 398240 w 1004887"/>
                <a:gd name="connsiteY268" fmla="*/ 163925 h 1332642"/>
                <a:gd name="connsiteX269" fmla="*/ 393764 w 1004887"/>
                <a:gd name="connsiteY269" fmla="*/ 166116 h 1332642"/>
                <a:gd name="connsiteX270" fmla="*/ 398907 w 1004887"/>
                <a:gd name="connsiteY270" fmla="*/ 168688 h 1332642"/>
                <a:gd name="connsiteX271" fmla="*/ 399479 w 1004887"/>
                <a:gd name="connsiteY271" fmla="*/ 173450 h 1332642"/>
                <a:gd name="connsiteX272" fmla="*/ 395288 w 1004887"/>
                <a:gd name="connsiteY272" fmla="*/ 178784 h 1332642"/>
                <a:gd name="connsiteX273" fmla="*/ 393954 w 1004887"/>
                <a:gd name="connsiteY273" fmla="*/ 180594 h 1332642"/>
                <a:gd name="connsiteX274" fmla="*/ 390620 w 1004887"/>
                <a:gd name="connsiteY274" fmla="*/ 179356 h 1332642"/>
                <a:gd name="connsiteX275" fmla="*/ 387858 w 1004887"/>
                <a:gd name="connsiteY275" fmla="*/ 182975 h 1332642"/>
                <a:gd name="connsiteX276" fmla="*/ 384905 w 1004887"/>
                <a:gd name="connsiteY276" fmla="*/ 184880 h 1332642"/>
                <a:gd name="connsiteX277" fmla="*/ 380714 w 1004887"/>
                <a:gd name="connsiteY277" fmla="*/ 190310 h 1332642"/>
                <a:gd name="connsiteX278" fmla="*/ 377571 w 1004887"/>
                <a:gd name="connsiteY278" fmla="*/ 190690 h 1332642"/>
                <a:gd name="connsiteX279" fmla="*/ 377762 w 1004887"/>
                <a:gd name="connsiteY279" fmla="*/ 192215 h 1332642"/>
                <a:gd name="connsiteX280" fmla="*/ 378047 w 1004887"/>
                <a:gd name="connsiteY280" fmla="*/ 193834 h 1332642"/>
                <a:gd name="connsiteX281" fmla="*/ 371285 w 1004887"/>
                <a:gd name="connsiteY281" fmla="*/ 191452 h 1332642"/>
                <a:gd name="connsiteX282" fmla="*/ 372142 w 1004887"/>
                <a:gd name="connsiteY282" fmla="*/ 197739 h 1332642"/>
                <a:gd name="connsiteX283" fmla="*/ 372332 w 1004887"/>
                <a:gd name="connsiteY283" fmla="*/ 199358 h 1332642"/>
                <a:gd name="connsiteX284" fmla="*/ 368903 w 1004887"/>
                <a:gd name="connsiteY284" fmla="*/ 198215 h 1332642"/>
                <a:gd name="connsiteX285" fmla="*/ 360236 w 1004887"/>
                <a:gd name="connsiteY285" fmla="*/ 192881 h 1332642"/>
                <a:gd name="connsiteX286" fmla="*/ 356521 w 1004887"/>
                <a:gd name="connsiteY286" fmla="*/ 188500 h 1332642"/>
                <a:gd name="connsiteX287" fmla="*/ 356045 w 1004887"/>
                <a:gd name="connsiteY287" fmla="*/ 185356 h 1332642"/>
                <a:gd name="connsiteX288" fmla="*/ 350901 w 1004887"/>
                <a:gd name="connsiteY288" fmla="*/ 182785 h 1332642"/>
                <a:gd name="connsiteX289" fmla="*/ 344424 w 1004887"/>
                <a:gd name="connsiteY289" fmla="*/ 182023 h 1332642"/>
                <a:gd name="connsiteX290" fmla="*/ 337757 w 1004887"/>
                <a:gd name="connsiteY290" fmla="*/ 192500 h 1332642"/>
                <a:gd name="connsiteX291" fmla="*/ 327851 w 1004887"/>
                <a:gd name="connsiteY291" fmla="*/ 190595 h 1332642"/>
                <a:gd name="connsiteX292" fmla="*/ 321564 w 1004887"/>
                <a:gd name="connsiteY292" fmla="*/ 191357 h 1332642"/>
                <a:gd name="connsiteX293" fmla="*/ 318611 w 1004887"/>
                <a:gd name="connsiteY293" fmla="*/ 193357 h 1332642"/>
                <a:gd name="connsiteX294" fmla="*/ 317564 w 1004887"/>
                <a:gd name="connsiteY294" fmla="*/ 185452 h 1332642"/>
                <a:gd name="connsiteX295" fmla="*/ 310515 w 1004887"/>
                <a:gd name="connsiteY295" fmla="*/ 179927 h 1332642"/>
                <a:gd name="connsiteX296" fmla="*/ 304610 w 1004887"/>
                <a:gd name="connsiteY296" fmla="*/ 183928 h 1332642"/>
                <a:gd name="connsiteX297" fmla="*/ 299466 w 1004887"/>
                <a:gd name="connsiteY297" fmla="*/ 181356 h 1332642"/>
                <a:gd name="connsiteX298" fmla="*/ 299847 w 1004887"/>
                <a:gd name="connsiteY298" fmla="*/ 184499 h 1332642"/>
                <a:gd name="connsiteX299" fmla="*/ 296704 w 1004887"/>
                <a:gd name="connsiteY299" fmla="*/ 184976 h 1332642"/>
                <a:gd name="connsiteX300" fmla="*/ 294704 w 1004887"/>
                <a:gd name="connsiteY300" fmla="*/ 182023 h 1332642"/>
                <a:gd name="connsiteX301" fmla="*/ 295847 w 1004887"/>
                <a:gd name="connsiteY301" fmla="*/ 178594 h 1332642"/>
                <a:gd name="connsiteX302" fmla="*/ 292894 w 1004887"/>
                <a:gd name="connsiteY302" fmla="*/ 180594 h 1332642"/>
                <a:gd name="connsiteX303" fmla="*/ 293942 w 1004887"/>
                <a:gd name="connsiteY303" fmla="*/ 175641 h 1332642"/>
                <a:gd name="connsiteX304" fmla="*/ 290513 w 1004887"/>
                <a:gd name="connsiteY304" fmla="*/ 174498 h 1332642"/>
                <a:gd name="connsiteX305" fmla="*/ 284226 w 1004887"/>
                <a:gd name="connsiteY305" fmla="*/ 175260 h 1332642"/>
                <a:gd name="connsiteX306" fmla="*/ 280702 w 1004887"/>
                <a:gd name="connsiteY306" fmla="*/ 172498 h 1332642"/>
                <a:gd name="connsiteX307" fmla="*/ 275749 w 1004887"/>
                <a:gd name="connsiteY307" fmla="*/ 171545 h 1332642"/>
                <a:gd name="connsiteX308" fmla="*/ 274796 w 1004887"/>
                <a:gd name="connsiteY308" fmla="*/ 176498 h 1332642"/>
                <a:gd name="connsiteX309" fmla="*/ 270224 w 1004887"/>
                <a:gd name="connsiteY309" fmla="*/ 178689 h 1332642"/>
                <a:gd name="connsiteX310" fmla="*/ 264509 w 1004887"/>
                <a:gd name="connsiteY310" fmla="*/ 184214 h 1332642"/>
                <a:gd name="connsiteX311" fmla="*/ 260794 w 1004887"/>
                <a:gd name="connsiteY311" fmla="*/ 179927 h 1332642"/>
                <a:gd name="connsiteX312" fmla="*/ 258794 w 1004887"/>
                <a:gd name="connsiteY312" fmla="*/ 176974 h 1332642"/>
                <a:gd name="connsiteX313" fmla="*/ 257365 w 1004887"/>
                <a:gd name="connsiteY313" fmla="*/ 178689 h 1332642"/>
                <a:gd name="connsiteX314" fmla="*/ 256032 w 1004887"/>
                <a:gd name="connsiteY314" fmla="*/ 180499 h 1332642"/>
                <a:gd name="connsiteX315" fmla="*/ 249936 w 1004887"/>
                <a:gd name="connsiteY315" fmla="*/ 182880 h 1332642"/>
                <a:gd name="connsiteX316" fmla="*/ 244602 w 1004887"/>
                <a:gd name="connsiteY316" fmla="*/ 178784 h 1332642"/>
                <a:gd name="connsiteX317" fmla="*/ 243364 w 1004887"/>
                <a:gd name="connsiteY317" fmla="*/ 182118 h 1332642"/>
                <a:gd name="connsiteX318" fmla="*/ 234982 w 1004887"/>
                <a:gd name="connsiteY318" fmla="*/ 191167 h 1332642"/>
                <a:gd name="connsiteX319" fmla="*/ 230219 w 1004887"/>
                <a:gd name="connsiteY319" fmla="*/ 191833 h 1332642"/>
                <a:gd name="connsiteX320" fmla="*/ 223266 w 1004887"/>
                <a:gd name="connsiteY320" fmla="*/ 187833 h 1332642"/>
                <a:gd name="connsiteX321" fmla="*/ 216599 w 1004887"/>
                <a:gd name="connsiteY321" fmla="*/ 185547 h 1332642"/>
                <a:gd name="connsiteX322" fmla="*/ 215170 w 1004887"/>
                <a:gd name="connsiteY322" fmla="*/ 187261 h 1332642"/>
                <a:gd name="connsiteX323" fmla="*/ 220694 w 1004887"/>
                <a:gd name="connsiteY323" fmla="*/ 192977 h 1332642"/>
                <a:gd name="connsiteX324" fmla="*/ 221933 w 1004887"/>
                <a:gd name="connsiteY324" fmla="*/ 202502 h 1332642"/>
                <a:gd name="connsiteX325" fmla="*/ 207550 w 1004887"/>
                <a:gd name="connsiteY325" fmla="*/ 202692 h 1332642"/>
                <a:gd name="connsiteX326" fmla="*/ 195072 w 1004887"/>
                <a:gd name="connsiteY326" fmla="*/ 205931 h 1332642"/>
                <a:gd name="connsiteX327" fmla="*/ 195358 w 1004887"/>
                <a:gd name="connsiteY327" fmla="*/ 207455 h 1332642"/>
                <a:gd name="connsiteX328" fmla="*/ 198882 w 1004887"/>
                <a:gd name="connsiteY328" fmla="*/ 210217 h 1332642"/>
                <a:gd name="connsiteX329" fmla="*/ 200311 w 1004887"/>
                <a:gd name="connsiteY329" fmla="*/ 221266 h 1332642"/>
                <a:gd name="connsiteX330" fmla="*/ 200882 w 1004887"/>
                <a:gd name="connsiteY330" fmla="*/ 226028 h 1332642"/>
                <a:gd name="connsiteX331" fmla="*/ 192596 w 1004887"/>
                <a:gd name="connsiteY331" fmla="*/ 223837 h 1332642"/>
                <a:gd name="connsiteX332" fmla="*/ 193929 w 1004887"/>
                <a:gd name="connsiteY332" fmla="*/ 222123 h 1332642"/>
                <a:gd name="connsiteX333" fmla="*/ 192024 w 1004887"/>
                <a:gd name="connsiteY333" fmla="*/ 219170 h 1332642"/>
                <a:gd name="connsiteX334" fmla="*/ 190214 w 1004887"/>
                <a:gd name="connsiteY334" fmla="*/ 204883 h 1332642"/>
                <a:gd name="connsiteX335" fmla="*/ 184594 w 1004887"/>
                <a:gd name="connsiteY335" fmla="*/ 199168 h 1332642"/>
                <a:gd name="connsiteX336" fmla="*/ 174593 w 1004887"/>
                <a:gd name="connsiteY336" fmla="*/ 195644 h 1332642"/>
                <a:gd name="connsiteX337" fmla="*/ 160401 w 1004887"/>
                <a:gd name="connsiteY337" fmla="*/ 197453 h 1332642"/>
                <a:gd name="connsiteX338" fmla="*/ 160782 w 1004887"/>
                <a:gd name="connsiteY338" fmla="*/ 200692 h 1332642"/>
                <a:gd name="connsiteX339" fmla="*/ 157448 w 1004887"/>
                <a:gd name="connsiteY339" fmla="*/ 199453 h 1332642"/>
                <a:gd name="connsiteX340" fmla="*/ 157829 w 1004887"/>
                <a:gd name="connsiteY340" fmla="*/ 202597 h 1332642"/>
                <a:gd name="connsiteX341" fmla="*/ 153067 w 1004887"/>
                <a:gd name="connsiteY341" fmla="*/ 203264 h 1332642"/>
                <a:gd name="connsiteX342" fmla="*/ 150114 w 1004887"/>
                <a:gd name="connsiteY342" fmla="*/ 205169 h 1332642"/>
                <a:gd name="connsiteX343" fmla="*/ 149924 w 1004887"/>
                <a:gd name="connsiteY343" fmla="*/ 216408 h 1332642"/>
                <a:gd name="connsiteX344" fmla="*/ 143256 w 1004887"/>
                <a:gd name="connsiteY344" fmla="*/ 214122 h 1332642"/>
                <a:gd name="connsiteX345" fmla="*/ 139351 w 1004887"/>
                <a:gd name="connsiteY345" fmla="*/ 220980 h 1332642"/>
                <a:gd name="connsiteX346" fmla="*/ 136684 w 1004887"/>
                <a:gd name="connsiteY346" fmla="*/ 213360 h 1332642"/>
                <a:gd name="connsiteX347" fmla="*/ 129635 w 1004887"/>
                <a:gd name="connsiteY347" fmla="*/ 207836 h 1332642"/>
                <a:gd name="connsiteX348" fmla="*/ 118586 w 1004887"/>
                <a:gd name="connsiteY348" fmla="*/ 209264 h 1332642"/>
                <a:gd name="connsiteX349" fmla="*/ 108490 w 1004887"/>
                <a:gd name="connsiteY349" fmla="*/ 205740 h 1332642"/>
                <a:gd name="connsiteX350" fmla="*/ 106299 w 1004887"/>
                <a:gd name="connsiteY350" fmla="*/ 214027 h 1332642"/>
                <a:gd name="connsiteX351" fmla="*/ 100870 w 1004887"/>
                <a:gd name="connsiteY351" fmla="*/ 221075 h 1332642"/>
                <a:gd name="connsiteX352" fmla="*/ 97631 w 1004887"/>
                <a:gd name="connsiteY352" fmla="*/ 221552 h 1332642"/>
                <a:gd name="connsiteX353" fmla="*/ 87630 w 1004887"/>
                <a:gd name="connsiteY353" fmla="*/ 230791 h 1332642"/>
                <a:gd name="connsiteX354" fmla="*/ 85058 w 1004887"/>
                <a:gd name="connsiteY354" fmla="*/ 235934 h 1332642"/>
                <a:gd name="connsiteX355" fmla="*/ 86106 w 1004887"/>
                <a:gd name="connsiteY355" fmla="*/ 243840 h 1332642"/>
                <a:gd name="connsiteX356" fmla="*/ 82201 w 1004887"/>
                <a:gd name="connsiteY356" fmla="*/ 250793 h 1332642"/>
                <a:gd name="connsiteX357" fmla="*/ 79820 w 1004887"/>
                <a:gd name="connsiteY357" fmla="*/ 257461 h 1332642"/>
                <a:gd name="connsiteX358" fmla="*/ 70295 w 1004887"/>
                <a:gd name="connsiteY358" fmla="*/ 258699 h 1332642"/>
                <a:gd name="connsiteX359" fmla="*/ 70009 w 1004887"/>
                <a:gd name="connsiteY359" fmla="*/ 281178 h 1332642"/>
                <a:gd name="connsiteX360" fmla="*/ 68199 w 1004887"/>
                <a:gd name="connsiteY360" fmla="*/ 279749 h 1332642"/>
                <a:gd name="connsiteX361" fmla="*/ 64865 w 1004887"/>
                <a:gd name="connsiteY361" fmla="*/ 278606 h 1332642"/>
                <a:gd name="connsiteX362" fmla="*/ 62865 w 1004887"/>
                <a:gd name="connsiteY362" fmla="*/ 275653 h 1332642"/>
                <a:gd name="connsiteX363" fmla="*/ 59722 w 1004887"/>
                <a:gd name="connsiteY363" fmla="*/ 276035 h 1332642"/>
                <a:gd name="connsiteX364" fmla="*/ 55626 w 1004887"/>
                <a:gd name="connsiteY364" fmla="*/ 281369 h 1332642"/>
                <a:gd name="connsiteX365" fmla="*/ 51435 w 1004887"/>
                <a:gd name="connsiteY365" fmla="*/ 286703 h 1332642"/>
                <a:gd name="connsiteX366" fmla="*/ 54007 w 1004887"/>
                <a:gd name="connsiteY366" fmla="*/ 294418 h 1332642"/>
                <a:gd name="connsiteX367" fmla="*/ 53245 w 1004887"/>
                <a:gd name="connsiteY367" fmla="*/ 300990 h 1332642"/>
                <a:gd name="connsiteX368" fmla="*/ 50959 w 1004887"/>
                <a:gd name="connsiteY368" fmla="*/ 307657 h 1332642"/>
                <a:gd name="connsiteX369" fmla="*/ 46387 w 1004887"/>
                <a:gd name="connsiteY369" fmla="*/ 309848 h 1332642"/>
                <a:gd name="connsiteX370" fmla="*/ 45053 w 1004887"/>
                <a:gd name="connsiteY370" fmla="*/ 311658 h 1332642"/>
                <a:gd name="connsiteX371" fmla="*/ 49816 w 1004887"/>
                <a:gd name="connsiteY371" fmla="*/ 323850 h 1332642"/>
                <a:gd name="connsiteX372" fmla="*/ 45625 w 1004887"/>
                <a:gd name="connsiteY372" fmla="*/ 329184 h 1332642"/>
                <a:gd name="connsiteX373" fmla="*/ 52578 w 1004887"/>
                <a:gd name="connsiteY373" fmla="*/ 333089 h 1332642"/>
                <a:gd name="connsiteX374" fmla="*/ 51340 w 1004887"/>
                <a:gd name="connsiteY374" fmla="*/ 336423 h 1332642"/>
                <a:gd name="connsiteX375" fmla="*/ 50197 w 1004887"/>
                <a:gd name="connsiteY375" fmla="*/ 339852 h 1332642"/>
                <a:gd name="connsiteX376" fmla="*/ 48196 w 1004887"/>
                <a:gd name="connsiteY376" fmla="*/ 336899 h 1332642"/>
                <a:gd name="connsiteX377" fmla="*/ 3524 w 1004887"/>
                <a:gd name="connsiteY377" fmla="*/ 363379 h 1332642"/>
                <a:gd name="connsiteX378" fmla="*/ 0 w 1004887"/>
                <a:gd name="connsiteY378" fmla="*/ 373475 h 1332642"/>
                <a:gd name="connsiteX379" fmla="*/ 2381 w 1004887"/>
                <a:gd name="connsiteY379" fmla="*/ 379571 h 1332642"/>
                <a:gd name="connsiteX380" fmla="*/ 1333 w 1004887"/>
                <a:gd name="connsiteY380" fmla="*/ 384524 h 1332642"/>
                <a:gd name="connsiteX381" fmla="*/ 3715 w 1004887"/>
                <a:gd name="connsiteY381" fmla="*/ 390620 h 1332642"/>
                <a:gd name="connsiteX382" fmla="*/ 7525 w 1004887"/>
                <a:gd name="connsiteY382" fmla="*/ 395002 h 1332642"/>
                <a:gd name="connsiteX383" fmla="*/ 6382 w 1004887"/>
                <a:gd name="connsiteY383" fmla="*/ 398336 h 1332642"/>
                <a:gd name="connsiteX384" fmla="*/ 14669 w 1004887"/>
                <a:gd name="connsiteY384" fmla="*/ 400526 h 1332642"/>
                <a:gd name="connsiteX385" fmla="*/ 16573 w 1004887"/>
                <a:gd name="connsiteY385" fmla="*/ 403479 h 1332642"/>
                <a:gd name="connsiteX386" fmla="*/ 17621 w 1004887"/>
                <a:gd name="connsiteY386" fmla="*/ 411290 h 1332642"/>
                <a:gd name="connsiteX387" fmla="*/ 24765 w 1004887"/>
                <a:gd name="connsiteY387" fmla="*/ 429673 h 1332642"/>
                <a:gd name="connsiteX388" fmla="*/ 30099 w 1004887"/>
                <a:gd name="connsiteY388" fmla="*/ 433769 h 1332642"/>
                <a:gd name="connsiteX389" fmla="*/ 38195 w 1004887"/>
                <a:gd name="connsiteY389" fmla="*/ 434340 h 1332642"/>
                <a:gd name="connsiteX390" fmla="*/ 55626 w 1004887"/>
                <a:gd name="connsiteY390" fmla="*/ 445008 h 1332642"/>
                <a:gd name="connsiteX391" fmla="*/ 56388 w 1004887"/>
                <a:gd name="connsiteY391" fmla="*/ 451294 h 1332642"/>
                <a:gd name="connsiteX392" fmla="*/ 63341 w 1004887"/>
                <a:gd name="connsiteY392" fmla="*/ 455200 h 1332642"/>
                <a:gd name="connsiteX393" fmla="*/ 68008 w 1004887"/>
                <a:gd name="connsiteY393" fmla="*/ 454628 h 1332642"/>
                <a:gd name="connsiteX394" fmla="*/ 69818 w 1004887"/>
                <a:gd name="connsiteY394" fmla="*/ 455962 h 1332642"/>
                <a:gd name="connsiteX395" fmla="*/ 77533 w 1004887"/>
                <a:gd name="connsiteY395" fmla="*/ 453390 h 1332642"/>
                <a:gd name="connsiteX396" fmla="*/ 82487 w 1004887"/>
                <a:gd name="connsiteY396" fmla="*/ 454343 h 1332642"/>
                <a:gd name="connsiteX397" fmla="*/ 82106 w 1004887"/>
                <a:gd name="connsiteY397" fmla="*/ 464058 h 1332642"/>
                <a:gd name="connsiteX398" fmla="*/ 87058 w 1004887"/>
                <a:gd name="connsiteY398" fmla="*/ 477869 h 1332642"/>
                <a:gd name="connsiteX399" fmla="*/ 81534 w 1004887"/>
                <a:gd name="connsiteY399" fmla="*/ 485013 h 1332642"/>
                <a:gd name="connsiteX400" fmla="*/ 84106 w 1004887"/>
                <a:gd name="connsiteY400" fmla="*/ 492633 h 1332642"/>
                <a:gd name="connsiteX401" fmla="*/ 78391 w 1004887"/>
                <a:gd name="connsiteY401" fmla="*/ 498253 h 1332642"/>
                <a:gd name="connsiteX402" fmla="*/ 77248 w 1004887"/>
                <a:gd name="connsiteY402" fmla="*/ 501586 h 1332642"/>
                <a:gd name="connsiteX403" fmla="*/ 79248 w 1004887"/>
                <a:gd name="connsiteY403" fmla="*/ 504539 h 1332642"/>
                <a:gd name="connsiteX404" fmla="*/ 84106 w 1004887"/>
                <a:gd name="connsiteY404" fmla="*/ 505492 h 1332642"/>
                <a:gd name="connsiteX405" fmla="*/ 85916 w 1004887"/>
                <a:gd name="connsiteY405" fmla="*/ 506825 h 1332642"/>
                <a:gd name="connsiteX406" fmla="*/ 84773 w 1004887"/>
                <a:gd name="connsiteY406" fmla="*/ 510254 h 1332642"/>
                <a:gd name="connsiteX407" fmla="*/ 80582 w 1004887"/>
                <a:gd name="connsiteY407" fmla="*/ 515588 h 1332642"/>
                <a:gd name="connsiteX408" fmla="*/ 81439 w 1004887"/>
                <a:gd name="connsiteY408" fmla="*/ 521875 h 1332642"/>
                <a:gd name="connsiteX409" fmla="*/ 89726 w 1004887"/>
                <a:gd name="connsiteY409" fmla="*/ 524065 h 1332642"/>
                <a:gd name="connsiteX410" fmla="*/ 88297 w 1004887"/>
                <a:gd name="connsiteY410" fmla="*/ 525780 h 1332642"/>
                <a:gd name="connsiteX411" fmla="*/ 83820 w 1004887"/>
                <a:gd name="connsiteY411" fmla="*/ 527971 h 1332642"/>
                <a:gd name="connsiteX412" fmla="*/ 84392 w 1004887"/>
                <a:gd name="connsiteY412" fmla="*/ 532733 h 1332642"/>
                <a:gd name="connsiteX413" fmla="*/ 90964 w 1004887"/>
                <a:gd name="connsiteY413" fmla="*/ 533495 h 1332642"/>
                <a:gd name="connsiteX414" fmla="*/ 96869 w 1004887"/>
                <a:gd name="connsiteY414" fmla="*/ 529495 h 1332642"/>
                <a:gd name="connsiteX415" fmla="*/ 104965 w 1004887"/>
                <a:gd name="connsiteY415" fmla="*/ 530066 h 1332642"/>
                <a:gd name="connsiteX416" fmla="*/ 106870 w 1004887"/>
                <a:gd name="connsiteY416" fmla="*/ 533114 h 1332642"/>
                <a:gd name="connsiteX417" fmla="*/ 105537 w 1004887"/>
                <a:gd name="connsiteY417" fmla="*/ 534829 h 1332642"/>
                <a:gd name="connsiteX418" fmla="*/ 104108 w 1004887"/>
                <a:gd name="connsiteY418" fmla="*/ 536639 h 1332642"/>
                <a:gd name="connsiteX419" fmla="*/ 108299 w 1004887"/>
                <a:gd name="connsiteY419" fmla="*/ 544068 h 1332642"/>
                <a:gd name="connsiteX420" fmla="*/ 108585 w 1004887"/>
                <a:gd name="connsiteY420" fmla="*/ 558546 h 1332642"/>
                <a:gd name="connsiteX421" fmla="*/ 118205 w 1004887"/>
                <a:gd name="connsiteY421" fmla="*/ 571690 h 1332642"/>
                <a:gd name="connsiteX422" fmla="*/ 114110 w 1004887"/>
                <a:gd name="connsiteY422" fmla="*/ 589883 h 1332642"/>
                <a:gd name="connsiteX423" fmla="*/ 115729 w 1004887"/>
                <a:gd name="connsiteY423" fmla="*/ 602456 h 1332642"/>
                <a:gd name="connsiteX424" fmla="*/ 119348 w 1004887"/>
                <a:gd name="connsiteY424" fmla="*/ 605219 h 1332642"/>
                <a:gd name="connsiteX425" fmla="*/ 121920 w 1004887"/>
                <a:gd name="connsiteY425" fmla="*/ 612934 h 1332642"/>
                <a:gd name="connsiteX426" fmla="*/ 126016 w 1004887"/>
                <a:gd name="connsiteY426" fmla="*/ 620458 h 1332642"/>
                <a:gd name="connsiteX427" fmla="*/ 129445 w 1004887"/>
                <a:gd name="connsiteY427" fmla="*/ 621602 h 1332642"/>
                <a:gd name="connsiteX428" fmla="*/ 125254 w 1004887"/>
                <a:gd name="connsiteY428" fmla="*/ 626936 h 1332642"/>
                <a:gd name="connsiteX429" fmla="*/ 135922 w 1004887"/>
                <a:gd name="connsiteY429" fmla="*/ 635222 h 1332642"/>
                <a:gd name="connsiteX430" fmla="*/ 140875 w 1004887"/>
                <a:gd name="connsiteY430" fmla="*/ 636175 h 1332642"/>
                <a:gd name="connsiteX431" fmla="*/ 142875 w 1004887"/>
                <a:gd name="connsiteY431" fmla="*/ 639128 h 1332642"/>
                <a:gd name="connsiteX432" fmla="*/ 145828 w 1004887"/>
                <a:gd name="connsiteY432" fmla="*/ 637127 h 1332642"/>
                <a:gd name="connsiteX433" fmla="*/ 147828 w 1004887"/>
                <a:gd name="connsiteY433" fmla="*/ 640080 h 1332642"/>
                <a:gd name="connsiteX434" fmla="*/ 152495 w 1004887"/>
                <a:gd name="connsiteY434" fmla="*/ 639508 h 1332642"/>
                <a:gd name="connsiteX435" fmla="*/ 153734 w 1004887"/>
                <a:gd name="connsiteY435" fmla="*/ 636175 h 1332642"/>
                <a:gd name="connsiteX436" fmla="*/ 158210 w 1004887"/>
                <a:gd name="connsiteY436" fmla="*/ 633984 h 1332642"/>
                <a:gd name="connsiteX437" fmla="*/ 162973 w 1004887"/>
                <a:gd name="connsiteY437" fmla="*/ 646176 h 1332642"/>
                <a:gd name="connsiteX438" fmla="*/ 162020 w 1004887"/>
                <a:gd name="connsiteY438" fmla="*/ 651129 h 1332642"/>
                <a:gd name="connsiteX439" fmla="*/ 161639 w 1004887"/>
                <a:gd name="connsiteY439" fmla="*/ 660845 h 1332642"/>
                <a:gd name="connsiteX440" fmla="*/ 159544 w 1004887"/>
                <a:gd name="connsiteY440" fmla="*/ 669131 h 1332642"/>
                <a:gd name="connsiteX441" fmla="*/ 162306 w 1004887"/>
                <a:gd name="connsiteY441" fmla="*/ 678370 h 1332642"/>
                <a:gd name="connsiteX442" fmla="*/ 161735 w 1004887"/>
                <a:gd name="connsiteY442" fmla="*/ 686467 h 1332642"/>
                <a:gd name="connsiteX443" fmla="*/ 153638 w 1004887"/>
                <a:gd name="connsiteY443" fmla="*/ 698754 h 1332642"/>
                <a:gd name="connsiteX444" fmla="*/ 156782 w 1004887"/>
                <a:gd name="connsiteY444" fmla="*/ 698278 h 1332642"/>
                <a:gd name="connsiteX445" fmla="*/ 161163 w 1004887"/>
                <a:gd name="connsiteY445" fmla="*/ 707327 h 1332642"/>
                <a:gd name="connsiteX446" fmla="*/ 164497 w 1004887"/>
                <a:gd name="connsiteY446" fmla="*/ 708565 h 1332642"/>
                <a:gd name="connsiteX447" fmla="*/ 170116 w 1004887"/>
                <a:gd name="connsiteY447" fmla="*/ 727043 h 1332642"/>
                <a:gd name="connsiteX448" fmla="*/ 168974 w 1004887"/>
                <a:gd name="connsiteY448" fmla="*/ 730472 h 1332642"/>
                <a:gd name="connsiteX449" fmla="*/ 170307 w 1004887"/>
                <a:gd name="connsiteY449" fmla="*/ 741521 h 1332642"/>
                <a:gd name="connsiteX450" fmla="*/ 167831 w 1004887"/>
                <a:gd name="connsiteY450" fmla="*/ 746665 h 1332642"/>
                <a:gd name="connsiteX451" fmla="*/ 185166 w 1004887"/>
                <a:gd name="connsiteY451" fmla="*/ 757237 h 1332642"/>
                <a:gd name="connsiteX452" fmla="*/ 206312 w 1004887"/>
                <a:gd name="connsiteY452" fmla="*/ 759333 h 1332642"/>
                <a:gd name="connsiteX453" fmla="*/ 209455 w 1004887"/>
                <a:gd name="connsiteY453" fmla="*/ 771811 h 1332642"/>
                <a:gd name="connsiteX454" fmla="*/ 222885 w 1004887"/>
                <a:gd name="connsiteY454" fmla="*/ 776478 h 1332642"/>
                <a:gd name="connsiteX455" fmla="*/ 239744 w 1004887"/>
                <a:gd name="connsiteY455" fmla="*/ 795147 h 1332642"/>
                <a:gd name="connsiteX456" fmla="*/ 241554 w 1004887"/>
                <a:gd name="connsiteY456" fmla="*/ 809435 h 1332642"/>
                <a:gd name="connsiteX457" fmla="*/ 239363 w 1004887"/>
                <a:gd name="connsiteY457" fmla="*/ 817721 h 1332642"/>
                <a:gd name="connsiteX458" fmla="*/ 245745 w 1004887"/>
                <a:gd name="connsiteY458" fmla="*/ 829723 h 1332642"/>
                <a:gd name="connsiteX459" fmla="*/ 252413 w 1004887"/>
                <a:gd name="connsiteY459" fmla="*/ 832009 h 1332642"/>
                <a:gd name="connsiteX460" fmla="*/ 254603 w 1004887"/>
                <a:gd name="connsiteY460" fmla="*/ 836581 h 1332642"/>
                <a:gd name="connsiteX461" fmla="*/ 252698 w 1004887"/>
                <a:gd name="connsiteY461" fmla="*/ 846487 h 1332642"/>
                <a:gd name="connsiteX462" fmla="*/ 253079 w 1004887"/>
                <a:gd name="connsiteY462" fmla="*/ 849630 h 1332642"/>
                <a:gd name="connsiteX463" fmla="*/ 256413 w 1004887"/>
                <a:gd name="connsiteY463" fmla="*/ 850773 h 1332642"/>
                <a:gd name="connsiteX464" fmla="*/ 266700 w 1004887"/>
                <a:gd name="connsiteY464" fmla="*/ 855916 h 1332642"/>
                <a:gd name="connsiteX465" fmla="*/ 276797 w 1004887"/>
                <a:gd name="connsiteY465" fmla="*/ 859441 h 1332642"/>
                <a:gd name="connsiteX466" fmla="*/ 294323 w 1004887"/>
                <a:gd name="connsiteY466" fmla="*/ 858774 h 1332642"/>
                <a:gd name="connsiteX467" fmla="*/ 299085 w 1004887"/>
                <a:gd name="connsiteY467" fmla="*/ 858203 h 1332642"/>
                <a:gd name="connsiteX468" fmla="*/ 300419 w 1004887"/>
                <a:gd name="connsiteY468" fmla="*/ 856393 h 1332642"/>
                <a:gd name="connsiteX469" fmla="*/ 302038 w 1004887"/>
                <a:gd name="connsiteY469" fmla="*/ 856202 h 1332642"/>
                <a:gd name="connsiteX470" fmla="*/ 306229 w 1004887"/>
                <a:gd name="connsiteY470" fmla="*/ 863727 h 1332642"/>
                <a:gd name="connsiteX471" fmla="*/ 310706 w 1004887"/>
                <a:gd name="connsiteY471" fmla="*/ 861536 h 1332642"/>
                <a:gd name="connsiteX472" fmla="*/ 321374 w 1004887"/>
                <a:gd name="connsiteY472" fmla="*/ 869823 h 1332642"/>
                <a:gd name="connsiteX473" fmla="*/ 329660 w 1004887"/>
                <a:gd name="connsiteY473" fmla="*/ 871919 h 1332642"/>
                <a:gd name="connsiteX474" fmla="*/ 328517 w 1004887"/>
                <a:gd name="connsiteY474" fmla="*/ 862489 h 1332642"/>
                <a:gd name="connsiteX475" fmla="*/ 326136 w 1004887"/>
                <a:gd name="connsiteY475" fmla="*/ 856393 h 1332642"/>
                <a:gd name="connsiteX476" fmla="*/ 325279 w 1004887"/>
                <a:gd name="connsiteY476" fmla="*/ 850011 h 1332642"/>
                <a:gd name="connsiteX477" fmla="*/ 341662 w 1004887"/>
                <a:gd name="connsiteY477" fmla="*/ 852773 h 1332642"/>
                <a:gd name="connsiteX478" fmla="*/ 348615 w 1004887"/>
                <a:gd name="connsiteY478" fmla="*/ 856678 h 1332642"/>
                <a:gd name="connsiteX479" fmla="*/ 352139 w 1004887"/>
                <a:gd name="connsiteY479" fmla="*/ 859441 h 1332642"/>
                <a:gd name="connsiteX480" fmla="*/ 359855 w 1004887"/>
                <a:gd name="connsiteY480" fmla="*/ 856869 h 1332642"/>
                <a:gd name="connsiteX481" fmla="*/ 366808 w 1004887"/>
                <a:gd name="connsiteY481" fmla="*/ 860774 h 1332642"/>
                <a:gd name="connsiteX482" fmla="*/ 371475 w 1004887"/>
                <a:gd name="connsiteY482" fmla="*/ 860203 h 1332642"/>
                <a:gd name="connsiteX483" fmla="*/ 374809 w 1004887"/>
                <a:gd name="connsiteY483" fmla="*/ 861346 h 1332642"/>
                <a:gd name="connsiteX484" fmla="*/ 380429 w 1004887"/>
                <a:gd name="connsiteY484" fmla="*/ 867061 h 1332642"/>
                <a:gd name="connsiteX485" fmla="*/ 383572 w 1004887"/>
                <a:gd name="connsiteY485" fmla="*/ 866680 h 1332642"/>
                <a:gd name="connsiteX486" fmla="*/ 390430 w 1004887"/>
                <a:gd name="connsiteY486" fmla="*/ 870585 h 1332642"/>
                <a:gd name="connsiteX487" fmla="*/ 400145 w 1004887"/>
                <a:gd name="connsiteY487" fmla="*/ 883825 h 1332642"/>
                <a:gd name="connsiteX488" fmla="*/ 404336 w 1004887"/>
                <a:gd name="connsiteY488" fmla="*/ 891254 h 1332642"/>
                <a:gd name="connsiteX489" fmla="*/ 411671 w 1004887"/>
                <a:gd name="connsiteY489" fmla="*/ 898398 h 1332642"/>
                <a:gd name="connsiteX490" fmla="*/ 414052 w 1004887"/>
                <a:gd name="connsiteY490" fmla="*/ 904494 h 1332642"/>
                <a:gd name="connsiteX491" fmla="*/ 428816 w 1004887"/>
                <a:gd name="connsiteY491" fmla="*/ 907447 h 1332642"/>
                <a:gd name="connsiteX492" fmla="*/ 429673 w 1004887"/>
                <a:gd name="connsiteY492" fmla="*/ 926592 h 1332642"/>
                <a:gd name="connsiteX493" fmla="*/ 428339 w 1004887"/>
                <a:gd name="connsiteY493" fmla="*/ 928307 h 1332642"/>
                <a:gd name="connsiteX494" fmla="*/ 425958 w 1004887"/>
                <a:gd name="connsiteY494" fmla="*/ 935069 h 1332642"/>
                <a:gd name="connsiteX495" fmla="*/ 431292 w 1004887"/>
                <a:gd name="connsiteY495" fmla="*/ 952024 h 1332642"/>
                <a:gd name="connsiteX496" fmla="*/ 445960 w 1004887"/>
                <a:gd name="connsiteY496" fmla="*/ 953357 h 1332642"/>
                <a:gd name="connsiteX497" fmla="*/ 447866 w 1004887"/>
                <a:gd name="connsiteY497" fmla="*/ 956310 h 1332642"/>
                <a:gd name="connsiteX498" fmla="*/ 446913 w 1004887"/>
                <a:gd name="connsiteY498" fmla="*/ 961263 h 1332642"/>
                <a:gd name="connsiteX499" fmla="*/ 449294 w 1004887"/>
                <a:gd name="connsiteY499" fmla="*/ 967359 h 1332642"/>
                <a:gd name="connsiteX500" fmla="*/ 454438 w 1004887"/>
                <a:gd name="connsiteY500" fmla="*/ 969931 h 1332642"/>
                <a:gd name="connsiteX501" fmla="*/ 458152 w 1004887"/>
                <a:gd name="connsiteY501" fmla="*/ 974217 h 1332642"/>
                <a:gd name="connsiteX502" fmla="*/ 464534 w 1004887"/>
                <a:gd name="connsiteY502" fmla="*/ 973455 h 1332642"/>
                <a:gd name="connsiteX503" fmla="*/ 466725 w 1004887"/>
                <a:gd name="connsiteY503" fmla="*/ 977932 h 1332642"/>
                <a:gd name="connsiteX504" fmla="*/ 469106 w 1004887"/>
                <a:gd name="connsiteY504" fmla="*/ 984028 h 1332642"/>
                <a:gd name="connsiteX505" fmla="*/ 467106 w 1004887"/>
                <a:gd name="connsiteY505" fmla="*/ 993934 h 1332642"/>
                <a:gd name="connsiteX506" fmla="*/ 486537 w 1004887"/>
                <a:gd name="connsiteY506" fmla="*/ 1007555 h 1332642"/>
                <a:gd name="connsiteX507" fmla="*/ 485966 w 1004887"/>
                <a:gd name="connsiteY507" fmla="*/ 1015651 h 1332642"/>
                <a:gd name="connsiteX508" fmla="*/ 483394 w 1004887"/>
                <a:gd name="connsiteY508" fmla="*/ 1020699 h 1332642"/>
                <a:gd name="connsiteX509" fmla="*/ 483775 w 1004887"/>
                <a:gd name="connsiteY509" fmla="*/ 1023937 h 1332642"/>
                <a:gd name="connsiteX510" fmla="*/ 492824 w 1004887"/>
                <a:gd name="connsiteY510" fmla="*/ 1032320 h 1332642"/>
                <a:gd name="connsiteX511" fmla="*/ 497586 w 1004887"/>
                <a:gd name="connsiteY511" fmla="*/ 1031748 h 1332642"/>
                <a:gd name="connsiteX512" fmla="*/ 503301 w 1004887"/>
                <a:gd name="connsiteY512" fmla="*/ 1039082 h 1332642"/>
                <a:gd name="connsiteX513" fmla="*/ 505111 w 1004887"/>
                <a:gd name="connsiteY513" fmla="*/ 1040416 h 1332642"/>
                <a:gd name="connsiteX514" fmla="*/ 509302 w 1004887"/>
                <a:gd name="connsiteY514" fmla="*/ 1047940 h 1332642"/>
                <a:gd name="connsiteX515" fmla="*/ 520351 w 1004887"/>
                <a:gd name="connsiteY515" fmla="*/ 1059371 h 1332642"/>
                <a:gd name="connsiteX516" fmla="*/ 526828 w 1004887"/>
                <a:gd name="connsiteY516" fmla="*/ 1060133 h 1332642"/>
                <a:gd name="connsiteX517" fmla="*/ 528828 w 1004887"/>
                <a:gd name="connsiteY517" fmla="*/ 1063085 h 1332642"/>
                <a:gd name="connsiteX518" fmla="*/ 530066 w 1004887"/>
                <a:gd name="connsiteY518" fmla="*/ 1072515 h 1332642"/>
                <a:gd name="connsiteX519" fmla="*/ 524732 w 1004887"/>
                <a:gd name="connsiteY519" fmla="*/ 1094041 h 1332642"/>
                <a:gd name="connsiteX520" fmla="*/ 534257 w 1004887"/>
                <a:gd name="connsiteY520" fmla="*/ 1105662 h 1332642"/>
                <a:gd name="connsiteX521" fmla="*/ 550450 w 1004887"/>
                <a:gd name="connsiteY521" fmla="*/ 1119664 h 1332642"/>
                <a:gd name="connsiteX522" fmla="*/ 571024 w 1004887"/>
                <a:gd name="connsiteY522" fmla="*/ 1129856 h 1332642"/>
                <a:gd name="connsiteX523" fmla="*/ 587978 w 1004887"/>
                <a:gd name="connsiteY523" fmla="*/ 1124522 h 1332642"/>
                <a:gd name="connsiteX524" fmla="*/ 603790 w 1004887"/>
                <a:gd name="connsiteY524" fmla="*/ 1122426 h 1332642"/>
                <a:gd name="connsiteX525" fmla="*/ 608933 w 1004887"/>
                <a:gd name="connsiteY525" fmla="*/ 1124998 h 1332642"/>
                <a:gd name="connsiteX526" fmla="*/ 623792 w 1004887"/>
                <a:gd name="connsiteY526" fmla="*/ 1140809 h 1332642"/>
                <a:gd name="connsiteX527" fmla="*/ 628841 w 1004887"/>
                <a:gd name="connsiteY527" fmla="*/ 1143286 h 1332642"/>
                <a:gd name="connsiteX528" fmla="*/ 634270 w 1004887"/>
                <a:gd name="connsiteY528" fmla="*/ 1147477 h 1332642"/>
                <a:gd name="connsiteX529" fmla="*/ 634841 w 1004887"/>
                <a:gd name="connsiteY529" fmla="*/ 1152239 h 1332642"/>
                <a:gd name="connsiteX530" fmla="*/ 641509 w 1004887"/>
                <a:gd name="connsiteY530" fmla="*/ 1154525 h 1332642"/>
                <a:gd name="connsiteX531" fmla="*/ 647319 w 1004887"/>
                <a:gd name="connsiteY531" fmla="*/ 1161860 h 1332642"/>
                <a:gd name="connsiteX532" fmla="*/ 649891 w 1004887"/>
                <a:gd name="connsiteY532" fmla="*/ 1169480 h 1332642"/>
                <a:gd name="connsiteX533" fmla="*/ 655225 w 1004887"/>
                <a:gd name="connsiteY533" fmla="*/ 1173671 h 1332642"/>
                <a:gd name="connsiteX534" fmla="*/ 661130 w 1004887"/>
                <a:gd name="connsiteY534" fmla="*/ 1182529 h 1332642"/>
                <a:gd name="connsiteX535" fmla="*/ 662940 w 1004887"/>
                <a:gd name="connsiteY535" fmla="*/ 1183862 h 1332642"/>
                <a:gd name="connsiteX536" fmla="*/ 666464 w 1004887"/>
                <a:gd name="connsiteY536" fmla="*/ 1186625 h 1332642"/>
                <a:gd name="connsiteX537" fmla="*/ 671227 w 1004887"/>
                <a:gd name="connsiteY537" fmla="*/ 1198912 h 1332642"/>
                <a:gd name="connsiteX538" fmla="*/ 675989 w 1004887"/>
                <a:gd name="connsiteY538" fmla="*/ 1198245 h 1332642"/>
                <a:gd name="connsiteX539" fmla="*/ 676561 w 1004887"/>
                <a:gd name="connsiteY539" fmla="*/ 1203008 h 1332642"/>
                <a:gd name="connsiteX540" fmla="*/ 681323 w 1004887"/>
                <a:gd name="connsiteY540" fmla="*/ 1202436 h 1332642"/>
                <a:gd name="connsiteX541" fmla="*/ 684848 w 1004887"/>
                <a:gd name="connsiteY541" fmla="*/ 1205198 h 1332642"/>
                <a:gd name="connsiteX542" fmla="*/ 684086 w 1004887"/>
                <a:gd name="connsiteY542" fmla="*/ 1211675 h 1332642"/>
                <a:gd name="connsiteX543" fmla="*/ 681323 w 1004887"/>
                <a:gd name="connsiteY543" fmla="*/ 1215200 h 1332642"/>
                <a:gd name="connsiteX544" fmla="*/ 681323 w 1004887"/>
                <a:gd name="connsiteY544" fmla="*/ 1215200 h 1332642"/>
                <a:gd name="connsiteX545" fmla="*/ 685324 w 1004887"/>
                <a:gd name="connsiteY545" fmla="*/ 1221105 h 1332642"/>
                <a:gd name="connsiteX546" fmla="*/ 690467 w 1004887"/>
                <a:gd name="connsiteY546" fmla="*/ 1236536 h 1332642"/>
                <a:gd name="connsiteX547" fmla="*/ 687705 w 1004887"/>
                <a:gd name="connsiteY547" fmla="*/ 1240060 h 1332642"/>
                <a:gd name="connsiteX548" fmla="*/ 685610 w 1004887"/>
                <a:gd name="connsiteY548" fmla="*/ 1248347 h 1332642"/>
                <a:gd name="connsiteX549" fmla="*/ 691706 w 1004887"/>
                <a:gd name="connsiteY549" fmla="*/ 1258824 h 1332642"/>
                <a:gd name="connsiteX550" fmla="*/ 691896 w 1004887"/>
                <a:gd name="connsiteY550" fmla="*/ 1260348 h 1332642"/>
                <a:gd name="connsiteX551" fmla="*/ 688181 w 1004887"/>
                <a:gd name="connsiteY551" fmla="*/ 1268921 h 1332642"/>
                <a:gd name="connsiteX552" fmla="*/ 686276 w 1004887"/>
                <a:gd name="connsiteY552" fmla="*/ 1278731 h 1332642"/>
                <a:gd name="connsiteX553" fmla="*/ 703802 w 1004887"/>
                <a:gd name="connsiteY553" fmla="*/ 1290923 h 1332642"/>
                <a:gd name="connsiteX554" fmla="*/ 704469 w 1004887"/>
                <a:gd name="connsiteY554" fmla="*/ 1295686 h 1332642"/>
                <a:gd name="connsiteX555" fmla="*/ 709327 w 1004887"/>
                <a:gd name="connsiteY555" fmla="*/ 1296638 h 1332642"/>
                <a:gd name="connsiteX556" fmla="*/ 716661 w 1004887"/>
                <a:gd name="connsiteY556" fmla="*/ 1303687 h 1332642"/>
                <a:gd name="connsiteX557" fmla="*/ 728567 w 1004887"/>
                <a:gd name="connsiteY557" fmla="*/ 1308640 h 1332642"/>
                <a:gd name="connsiteX558" fmla="*/ 734282 w 1004887"/>
                <a:gd name="connsiteY558" fmla="*/ 1315974 h 1332642"/>
                <a:gd name="connsiteX559" fmla="*/ 744569 w 1004887"/>
                <a:gd name="connsiteY559" fmla="*/ 1321022 h 1332642"/>
                <a:gd name="connsiteX560" fmla="*/ 745141 w 1004887"/>
                <a:gd name="connsiteY560" fmla="*/ 1325785 h 1332642"/>
                <a:gd name="connsiteX561" fmla="*/ 753999 w 1004887"/>
                <a:gd name="connsiteY561" fmla="*/ 1332643 h 1332642"/>
                <a:gd name="connsiteX562" fmla="*/ 761905 w 1004887"/>
                <a:gd name="connsiteY562" fmla="*/ 1331690 h 1332642"/>
                <a:gd name="connsiteX563" fmla="*/ 760857 w 1004887"/>
                <a:gd name="connsiteY563" fmla="*/ 1310926 h 1332642"/>
                <a:gd name="connsiteX564" fmla="*/ 762857 w 1004887"/>
                <a:gd name="connsiteY564" fmla="*/ 1301020 h 1332642"/>
                <a:gd name="connsiteX565" fmla="*/ 767810 w 1004887"/>
                <a:gd name="connsiteY565" fmla="*/ 1302068 h 1332642"/>
                <a:gd name="connsiteX566" fmla="*/ 775049 w 1004887"/>
                <a:gd name="connsiteY566" fmla="*/ 1296257 h 1332642"/>
                <a:gd name="connsiteX567" fmla="*/ 779812 w 1004887"/>
                <a:gd name="connsiteY567" fmla="*/ 1295686 h 1332642"/>
                <a:gd name="connsiteX568" fmla="*/ 788861 w 1004887"/>
                <a:gd name="connsiteY568" fmla="*/ 1304163 h 1332642"/>
                <a:gd name="connsiteX569" fmla="*/ 793623 w 1004887"/>
                <a:gd name="connsiteY569" fmla="*/ 1303591 h 1332642"/>
                <a:gd name="connsiteX570" fmla="*/ 792671 w 1004887"/>
                <a:gd name="connsiteY570" fmla="*/ 1295686 h 1332642"/>
                <a:gd name="connsiteX571" fmla="*/ 793623 w 1004887"/>
                <a:gd name="connsiteY571" fmla="*/ 1290733 h 1332642"/>
                <a:gd name="connsiteX572" fmla="*/ 786860 w 1004887"/>
                <a:gd name="connsiteY572" fmla="*/ 1288352 h 1332642"/>
                <a:gd name="connsiteX573" fmla="*/ 782955 w 1004887"/>
                <a:gd name="connsiteY573" fmla="*/ 1282446 h 1332642"/>
                <a:gd name="connsiteX574" fmla="*/ 785051 w 1004887"/>
                <a:gd name="connsiteY574" fmla="*/ 1274159 h 1332642"/>
                <a:gd name="connsiteX575" fmla="*/ 784479 w 1004887"/>
                <a:gd name="connsiteY575" fmla="*/ 1269397 h 1332642"/>
                <a:gd name="connsiteX576" fmla="*/ 789813 w 1004887"/>
                <a:gd name="connsiteY576" fmla="*/ 1260729 h 1332642"/>
                <a:gd name="connsiteX577" fmla="*/ 789146 w 1004887"/>
                <a:gd name="connsiteY577" fmla="*/ 1255966 h 1332642"/>
                <a:gd name="connsiteX578" fmla="*/ 790004 w 1004887"/>
                <a:gd name="connsiteY578" fmla="*/ 1249490 h 1332642"/>
                <a:gd name="connsiteX579" fmla="*/ 788003 w 1004887"/>
                <a:gd name="connsiteY579" fmla="*/ 1246537 h 1332642"/>
                <a:gd name="connsiteX580" fmla="*/ 796195 w 1004887"/>
                <a:gd name="connsiteY580" fmla="*/ 1235869 h 1332642"/>
                <a:gd name="connsiteX581" fmla="*/ 798005 w 1004887"/>
                <a:gd name="connsiteY581" fmla="*/ 1224439 h 1332642"/>
                <a:gd name="connsiteX582" fmla="*/ 807625 w 1004887"/>
                <a:gd name="connsiteY582" fmla="*/ 1211961 h 1332642"/>
                <a:gd name="connsiteX583" fmla="*/ 807244 w 1004887"/>
                <a:gd name="connsiteY583" fmla="*/ 1208818 h 1332642"/>
                <a:gd name="connsiteX584" fmla="*/ 808768 w 1004887"/>
                <a:gd name="connsiteY584" fmla="*/ 1208627 h 1332642"/>
                <a:gd name="connsiteX585" fmla="*/ 810768 w 1004887"/>
                <a:gd name="connsiteY585" fmla="*/ 1211580 h 1332642"/>
                <a:gd name="connsiteX586" fmla="*/ 814102 w 1004887"/>
                <a:gd name="connsiteY586" fmla="*/ 1212723 h 1332642"/>
                <a:gd name="connsiteX587" fmla="*/ 817912 w 1004887"/>
                <a:gd name="connsiteY587" fmla="*/ 1217105 h 1332642"/>
                <a:gd name="connsiteX588" fmla="*/ 830675 w 1004887"/>
                <a:gd name="connsiteY588" fmla="*/ 1204246 h 1332642"/>
                <a:gd name="connsiteX589" fmla="*/ 832866 w 1004887"/>
                <a:gd name="connsiteY589" fmla="*/ 1195959 h 1332642"/>
                <a:gd name="connsiteX590" fmla="*/ 834009 w 1004887"/>
                <a:gd name="connsiteY590" fmla="*/ 1192530 h 1332642"/>
                <a:gd name="connsiteX591" fmla="*/ 833247 w 1004887"/>
                <a:gd name="connsiteY591" fmla="*/ 1186244 h 1332642"/>
                <a:gd name="connsiteX592" fmla="*/ 825341 w 1004887"/>
                <a:gd name="connsiteY592" fmla="*/ 1174433 h 1332642"/>
                <a:gd name="connsiteX593" fmla="*/ 827437 w 1004887"/>
                <a:gd name="connsiteY593" fmla="*/ 1166146 h 1332642"/>
                <a:gd name="connsiteX594" fmla="*/ 825437 w 1004887"/>
                <a:gd name="connsiteY594" fmla="*/ 1163193 h 1332642"/>
                <a:gd name="connsiteX595" fmla="*/ 818388 w 1004887"/>
                <a:gd name="connsiteY595" fmla="*/ 1157669 h 1332642"/>
                <a:gd name="connsiteX596" fmla="*/ 815531 w 1004887"/>
                <a:gd name="connsiteY596" fmla="*/ 1148429 h 1332642"/>
                <a:gd name="connsiteX597" fmla="*/ 815340 w 1004887"/>
                <a:gd name="connsiteY597" fmla="*/ 1146810 h 1332642"/>
                <a:gd name="connsiteX598" fmla="*/ 826199 w 1004887"/>
                <a:gd name="connsiteY598" fmla="*/ 1143857 h 1332642"/>
                <a:gd name="connsiteX599" fmla="*/ 827342 w 1004887"/>
                <a:gd name="connsiteY599" fmla="*/ 1140524 h 1332642"/>
                <a:gd name="connsiteX600" fmla="*/ 825818 w 1004887"/>
                <a:gd name="connsiteY600" fmla="*/ 1127855 h 1332642"/>
                <a:gd name="connsiteX601" fmla="*/ 822389 w 1004887"/>
                <a:gd name="connsiteY601" fmla="*/ 1126712 h 1332642"/>
                <a:gd name="connsiteX602" fmla="*/ 823436 w 1004887"/>
                <a:gd name="connsiteY602" fmla="*/ 1121759 h 1332642"/>
                <a:gd name="connsiteX603" fmla="*/ 824579 w 1004887"/>
                <a:gd name="connsiteY603" fmla="*/ 1118426 h 1332642"/>
                <a:gd name="connsiteX604" fmla="*/ 824389 w 1004887"/>
                <a:gd name="connsiteY604" fmla="*/ 1116806 h 1332642"/>
                <a:gd name="connsiteX605" fmla="*/ 826675 w 1004887"/>
                <a:gd name="connsiteY605" fmla="*/ 1110139 h 1332642"/>
                <a:gd name="connsiteX606" fmla="*/ 829723 w 1004887"/>
                <a:gd name="connsiteY606" fmla="*/ 1108139 h 1332642"/>
                <a:gd name="connsiteX607" fmla="*/ 831056 w 1004887"/>
                <a:gd name="connsiteY607" fmla="*/ 1106329 h 1332642"/>
                <a:gd name="connsiteX608" fmla="*/ 829056 w 1004887"/>
                <a:gd name="connsiteY608" fmla="*/ 1103376 h 1332642"/>
                <a:gd name="connsiteX609" fmla="*/ 822389 w 1004887"/>
                <a:gd name="connsiteY609" fmla="*/ 1100995 h 1332642"/>
                <a:gd name="connsiteX610" fmla="*/ 822198 w 1004887"/>
                <a:gd name="connsiteY610" fmla="*/ 1099471 h 1332642"/>
                <a:gd name="connsiteX611" fmla="*/ 823532 w 1004887"/>
                <a:gd name="connsiteY611" fmla="*/ 1097661 h 1332642"/>
                <a:gd name="connsiteX612" fmla="*/ 836581 w 1004887"/>
                <a:gd name="connsiteY612" fmla="*/ 1099185 h 1332642"/>
                <a:gd name="connsiteX613" fmla="*/ 836771 w 1004887"/>
                <a:gd name="connsiteY613" fmla="*/ 1100804 h 1332642"/>
                <a:gd name="connsiteX614" fmla="*/ 833819 w 1004887"/>
                <a:gd name="connsiteY614" fmla="*/ 1102805 h 1332642"/>
                <a:gd name="connsiteX615" fmla="*/ 842296 w 1004887"/>
                <a:gd name="connsiteY615" fmla="*/ 1106519 h 1332642"/>
                <a:gd name="connsiteX616" fmla="*/ 847058 w 1004887"/>
                <a:gd name="connsiteY616" fmla="*/ 1105948 h 1332642"/>
                <a:gd name="connsiteX617" fmla="*/ 849059 w 1004887"/>
                <a:gd name="connsiteY617" fmla="*/ 1108901 h 1332642"/>
                <a:gd name="connsiteX618" fmla="*/ 850964 w 1004887"/>
                <a:gd name="connsiteY618" fmla="*/ 1111853 h 1332642"/>
                <a:gd name="connsiteX619" fmla="*/ 861060 w 1004887"/>
                <a:gd name="connsiteY619" fmla="*/ 1102519 h 1332642"/>
                <a:gd name="connsiteX620" fmla="*/ 862013 w 1004887"/>
                <a:gd name="connsiteY620" fmla="*/ 1097566 h 1332642"/>
                <a:gd name="connsiteX621" fmla="*/ 866966 w 1004887"/>
                <a:gd name="connsiteY621" fmla="*/ 1098518 h 1332642"/>
                <a:gd name="connsiteX622" fmla="*/ 869918 w 1004887"/>
                <a:gd name="connsiteY622" fmla="*/ 1096613 h 1332642"/>
                <a:gd name="connsiteX623" fmla="*/ 869537 w 1004887"/>
                <a:gd name="connsiteY623" fmla="*/ 1093470 h 1332642"/>
                <a:gd name="connsiteX624" fmla="*/ 872490 w 1004887"/>
                <a:gd name="connsiteY624" fmla="*/ 1091470 h 1332642"/>
                <a:gd name="connsiteX625" fmla="*/ 871823 w 1004887"/>
                <a:gd name="connsiteY625" fmla="*/ 1086707 h 1332642"/>
                <a:gd name="connsiteX626" fmla="*/ 879920 w 1004887"/>
                <a:gd name="connsiteY626" fmla="*/ 1087279 h 1332642"/>
                <a:gd name="connsiteX627" fmla="*/ 884301 w 1004887"/>
                <a:gd name="connsiteY627" fmla="*/ 1083564 h 1332642"/>
                <a:gd name="connsiteX628" fmla="*/ 886016 w 1004887"/>
                <a:gd name="connsiteY628" fmla="*/ 1084898 h 1332642"/>
                <a:gd name="connsiteX629" fmla="*/ 888778 w 1004887"/>
                <a:gd name="connsiteY629" fmla="*/ 1081373 h 1332642"/>
                <a:gd name="connsiteX630" fmla="*/ 892397 w 1004887"/>
                <a:gd name="connsiteY630" fmla="*/ 1084136 h 1332642"/>
                <a:gd name="connsiteX631" fmla="*/ 893921 w 1004887"/>
                <a:gd name="connsiteY631" fmla="*/ 1083850 h 1332642"/>
                <a:gd name="connsiteX632" fmla="*/ 894588 w 1004887"/>
                <a:gd name="connsiteY632" fmla="*/ 1088612 h 1332642"/>
                <a:gd name="connsiteX633" fmla="*/ 895731 w 1004887"/>
                <a:gd name="connsiteY633" fmla="*/ 1085279 h 1332642"/>
                <a:gd name="connsiteX634" fmla="*/ 898493 w 1004887"/>
                <a:gd name="connsiteY634" fmla="*/ 1081754 h 1332642"/>
                <a:gd name="connsiteX635" fmla="*/ 898303 w 1004887"/>
                <a:gd name="connsiteY635" fmla="*/ 1080135 h 1332642"/>
                <a:gd name="connsiteX636" fmla="*/ 895350 w 1004887"/>
                <a:gd name="connsiteY636" fmla="*/ 1082135 h 1332642"/>
                <a:gd name="connsiteX637" fmla="*/ 895160 w 1004887"/>
                <a:gd name="connsiteY637" fmla="*/ 1080516 h 1332642"/>
                <a:gd name="connsiteX638" fmla="*/ 893731 w 1004887"/>
                <a:gd name="connsiteY638" fmla="*/ 1082326 h 1332642"/>
                <a:gd name="connsiteX639" fmla="*/ 891731 w 1004887"/>
                <a:gd name="connsiteY639" fmla="*/ 1079373 h 1332642"/>
                <a:gd name="connsiteX640" fmla="*/ 896302 w 1004887"/>
                <a:gd name="connsiteY640" fmla="*/ 1077182 h 1332642"/>
                <a:gd name="connsiteX641" fmla="*/ 896112 w 1004887"/>
                <a:gd name="connsiteY641" fmla="*/ 1075563 h 1332642"/>
                <a:gd name="connsiteX642" fmla="*/ 895445 w 1004887"/>
                <a:gd name="connsiteY642" fmla="*/ 1058037 h 1332642"/>
                <a:gd name="connsiteX643" fmla="*/ 902303 w 1004887"/>
                <a:gd name="connsiteY643" fmla="*/ 1049179 h 1332642"/>
                <a:gd name="connsiteX644" fmla="*/ 905542 w 1004887"/>
                <a:gd name="connsiteY644" fmla="*/ 1048703 h 1332642"/>
                <a:gd name="connsiteX645" fmla="*/ 910685 w 1004887"/>
                <a:gd name="connsiteY645" fmla="*/ 1051274 h 1332642"/>
                <a:gd name="connsiteX646" fmla="*/ 914972 w 1004887"/>
                <a:gd name="connsiteY646" fmla="*/ 1047560 h 1332642"/>
                <a:gd name="connsiteX647" fmla="*/ 912400 w 1004887"/>
                <a:gd name="connsiteY647" fmla="*/ 1039844 h 1332642"/>
                <a:gd name="connsiteX648" fmla="*/ 911352 w 1004887"/>
                <a:gd name="connsiteY648" fmla="*/ 1031939 h 1332642"/>
                <a:gd name="connsiteX649" fmla="*/ 908018 w 1004887"/>
                <a:gd name="connsiteY649" fmla="*/ 1030795 h 1332642"/>
                <a:gd name="connsiteX650" fmla="*/ 909161 w 1004887"/>
                <a:gd name="connsiteY650" fmla="*/ 1027462 h 1332642"/>
                <a:gd name="connsiteX651" fmla="*/ 907637 w 1004887"/>
                <a:gd name="connsiteY651" fmla="*/ 1027652 h 1332642"/>
                <a:gd name="connsiteX652" fmla="*/ 899351 w 1004887"/>
                <a:gd name="connsiteY652" fmla="*/ 1025461 h 1332642"/>
                <a:gd name="connsiteX653" fmla="*/ 899732 w 1004887"/>
                <a:gd name="connsiteY653" fmla="*/ 1015841 h 1332642"/>
                <a:gd name="connsiteX654" fmla="*/ 896969 w 1004887"/>
                <a:gd name="connsiteY654" fmla="*/ 1019365 h 1332642"/>
                <a:gd name="connsiteX655" fmla="*/ 896112 w 1004887"/>
                <a:gd name="connsiteY655" fmla="*/ 1013079 h 1332642"/>
                <a:gd name="connsiteX656" fmla="*/ 897731 w 1004887"/>
                <a:gd name="connsiteY656" fmla="*/ 1012889 h 1332642"/>
                <a:gd name="connsiteX657" fmla="*/ 894588 w 1004887"/>
                <a:gd name="connsiteY657" fmla="*/ 1013270 h 1332642"/>
                <a:gd name="connsiteX658" fmla="*/ 893921 w 1004887"/>
                <a:gd name="connsiteY658" fmla="*/ 1008507 h 1332642"/>
                <a:gd name="connsiteX659" fmla="*/ 895350 w 1004887"/>
                <a:gd name="connsiteY659" fmla="*/ 1006697 h 1332642"/>
                <a:gd name="connsiteX660" fmla="*/ 898684 w 1004887"/>
                <a:gd name="connsiteY660" fmla="*/ 1007936 h 1332642"/>
                <a:gd name="connsiteX661" fmla="*/ 898303 w 1004887"/>
                <a:gd name="connsiteY661" fmla="*/ 1004792 h 1332642"/>
                <a:gd name="connsiteX662" fmla="*/ 896493 w 1004887"/>
                <a:gd name="connsiteY662" fmla="*/ 1003364 h 1332642"/>
                <a:gd name="connsiteX663" fmla="*/ 902208 w 1004887"/>
                <a:gd name="connsiteY663" fmla="*/ 997839 h 1332642"/>
                <a:gd name="connsiteX664" fmla="*/ 908971 w 1004887"/>
                <a:gd name="connsiteY664" fmla="*/ 1000220 h 1332642"/>
                <a:gd name="connsiteX665" fmla="*/ 908114 w 1004887"/>
                <a:gd name="connsiteY665" fmla="*/ 993839 h 1332642"/>
                <a:gd name="connsiteX666" fmla="*/ 906399 w 1004887"/>
                <a:gd name="connsiteY666" fmla="*/ 992505 h 1332642"/>
                <a:gd name="connsiteX667" fmla="*/ 907352 w 1004887"/>
                <a:gd name="connsiteY667" fmla="*/ 987552 h 1332642"/>
                <a:gd name="connsiteX668" fmla="*/ 912495 w 1004887"/>
                <a:gd name="connsiteY668" fmla="*/ 990124 h 1332642"/>
                <a:gd name="connsiteX669" fmla="*/ 912686 w 1004887"/>
                <a:gd name="connsiteY669" fmla="*/ 991743 h 1332642"/>
                <a:gd name="connsiteX670" fmla="*/ 919163 w 1004887"/>
                <a:gd name="connsiteY670" fmla="*/ 992505 h 1332642"/>
                <a:gd name="connsiteX671" fmla="*/ 920782 w 1004887"/>
                <a:gd name="connsiteY671" fmla="*/ 992315 h 1332642"/>
                <a:gd name="connsiteX672" fmla="*/ 916781 w 1004887"/>
                <a:gd name="connsiteY672" fmla="*/ 986314 h 1332642"/>
                <a:gd name="connsiteX673" fmla="*/ 916591 w 1004887"/>
                <a:gd name="connsiteY673" fmla="*/ 984790 h 1332642"/>
                <a:gd name="connsiteX674" fmla="*/ 923639 w 1004887"/>
                <a:gd name="connsiteY674" fmla="*/ 977456 h 1332642"/>
                <a:gd name="connsiteX675" fmla="*/ 926878 w 1004887"/>
                <a:gd name="connsiteY675" fmla="*/ 977074 h 1332642"/>
                <a:gd name="connsiteX676" fmla="*/ 924877 w 1004887"/>
                <a:gd name="connsiteY676" fmla="*/ 974122 h 1332642"/>
                <a:gd name="connsiteX677" fmla="*/ 921925 w 1004887"/>
                <a:gd name="connsiteY677" fmla="*/ 976122 h 1332642"/>
                <a:gd name="connsiteX678" fmla="*/ 912209 w 1004887"/>
                <a:gd name="connsiteY678" fmla="*/ 975741 h 1332642"/>
                <a:gd name="connsiteX679" fmla="*/ 910495 w 1004887"/>
                <a:gd name="connsiteY679" fmla="*/ 974312 h 1332642"/>
                <a:gd name="connsiteX680" fmla="*/ 907256 w 1004887"/>
                <a:gd name="connsiteY680" fmla="*/ 974789 h 1332642"/>
                <a:gd name="connsiteX681" fmla="*/ 904304 w 1004887"/>
                <a:gd name="connsiteY681" fmla="*/ 963930 h 1332642"/>
                <a:gd name="connsiteX682" fmla="*/ 904685 w 1004887"/>
                <a:gd name="connsiteY682" fmla="*/ 954215 h 1332642"/>
                <a:gd name="connsiteX683" fmla="*/ 901160 w 1004887"/>
                <a:gd name="connsiteY683" fmla="*/ 951452 h 1332642"/>
                <a:gd name="connsiteX684" fmla="*/ 902494 w 1004887"/>
                <a:gd name="connsiteY684" fmla="*/ 949738 h 1332642"/>
                <a:gd name="connsiteX685" fmla="*/ 909066 w 1004887"/>
                <a:gd name="connsiteY685" fmla="*/ 950500 h 1332642"/>
                <a:gd name="connsiteX686" fmla="*/ 913543 w 1004887"/>
                <a:gd name="connsiteY686" fmla="*/ 948309 h 1332642"/>
                <a:gd name="connsiteX687" fmla="*/ 917353 w 1004887"/>
                <a:gd name="connsiteY687" fmla="*/ 952595 h 1332642"/>
                <a:gd name="connsiteX688" fmla="*/ 920496 w 1004887"/>
                <a:gd name="connsiteY688" fmla="*/ 952214 h 1332642"/>
                <a:gd name="connsiteX689" fmla="*/ 923639 w 1004887"/>
                <a:gd name="connsiteY689" fmla="*/ 951833 h 1332642"/>
                <a:gd name="connsiteX690" fmla="*/ 924401 w 1004887"/>
                <a:gd name="connsiteY690" fmla="*/ 945261 h 1332642"/>
                <a:gd name="connsiteX691" fmla="*/ 927354 w 1004887"/>
                <a:gd name="connsiteY691" fmla="*/ 943356 h 1332642"/>
                <a:gd name="connsiteX692" fmla="*/ 928116 w 1004887"/>
                <a:gd name="connsiteY692" fmla="*/ 936784 h 1332642"/>
                <a:gd name="connsiteX693" fmla="*/ 924782 w 1004887"/>
                <a:gd name="connsiteY693" fmla="*/ 935641 h 1332642"/>
                <a:gd name="connsiteX694" fmla="*/ 921639 w 1004887"/>
                <a:gd name="connsiteY694" fmla="*/ 936022 h 1332642"/>
                <a:gd name="connsiteX695" fmla="*/ 917448 w 1004887"/>
                <a:gd name="connsiteY695" fmla="*/ 928497 h 1332642"/>
                <a:gd name="connsiteX696" fmla="*/ 919067 w 1004887"/>
                <a:gd name="connsiteY696" fmla="*/ 928307 h 1332642"/>
                <a:gd name="connsiteX697" fmla="*/ 922020 w 1004887"/>
                <a:gd name="connsiteY697" fmla="*/ 926402 h 1332642"/>
                <a:gd name="connsiteX698" fmla="*/ 918972 w 1004887"/>
                <a:gd name="connsiteY698" fmla="*/ 915543 h 1332642"/>
                <a:gd name="connsiteX699" fmla="*/ 927449 w 1004887"/>
                <a:gd name="connsiteY699" fmla="*/ 919258 h 1332642"/>
                <a:gd name="connsiteX700" fmla="*/ 929450 w 1004887"/>
                <a:gd name="connsiteY700" fmla="*/ 909352 h 1332642"/>
                <a:gd name="connsiteX701" fmla="*/ 934022 w 1004887"/>
                <a:gd name="connsiteY701" fmla="*/ 907161 h 1332642"/>
                <a:gd name="connsiteX702" fmla="*/ 937165 w 1004887"/>
                <a:gd name="connsiteY702" fmla="*/ 906780 h 1332642"/>
                <a:gd name="connsiteX703" fmla="*/ 938117 w 1004887"/>
                <a:gd name="connsiteY703" fmla="*/ 901827 h 1332642"/>
                <a:gd name="connsiteX704" fmla="*/ 942594 w 1004887"/>
                <a:gd name="connsiteY704" fmla="*/ 899636 h 1332642"/>
                <a:gd name="connsiteX705" fmla="*/ 950976 w 1004887"/>
                <a:gd name="connsiteY705" fmla="*/ 901827 h 1332642"/>
                <a:gd name="connsiteX706" fmla="*/ 952310 w 1004887"/>
                <a:gd name="connsiteY706" fmla="*/ 900017 h 1332642"/>
                <a:gd name="connsiteX707" fmla="*/ 953452 w 1004887"/>
                <a:gd name="connsiteY707" fmla="*/ 896683 h 1332642"/>
                <a:gd name="connsiteX708" fmla="*/ 950881 w 1004887"/>
                <a:gd name="connsiteY708" fmla="*/ 888968 h 1332642"/>
                <a:gd name="connsiteX709" fmla="*/ 954024 w 1004887"/>
                <a:gd name="connsiteY709" fmla="*/ 888587 h 1332642"/>
                <a:gd name="connsiteX710" fmla="*/ 952119 w 1004887"/>
                <a:gd name="connsiteY710" fmla="*/ 885635 h 1332642"/>
                <a:gd name="connsiteX711" fmla="*/ 954405 w 1004887"/>
                <a:gd name="connsiteY711" fmla="*/ 878967 h 1332642"/>
                <a:gd name="connsiteX712" fmla="*/ 958120 w 1004887"/>
                <a:gd name="connsiteY712" fmla="*/ 870395 h 1332642"/>
                <a:gd name="connsiteX713" fmla="*/ 966026 w 1004887"/>
                <a:gd name="connsiteY713" fmla="*/ 869442 h 1332642"/>
                <a:gd name="connsiteX714" fmla="*/ 964311 w 1004887"/>
                <a:gd name="connsiteY714" fmla="*/ 868013 h 1332642"/>
                <a:gd name="connsiteX715" fmla="*/ 963263 w 1004887"/>
                <a:gd name="connsiteY715" fmla="*/ 860203 h 1332642"/>
                <a:gd name="connsiteX716" fmla="*/ 960692 w 1004887"/>
                <a:gd name="connsiteY716" fmla="*/ 865251 h 1332642"/>
                <a:gd name="connsiteX717" fmla="*/ 958977 w 1004887"/>
                <a:gd name="connsiteY717" fmla="*/ 863918 h 1332642"/>
                <a:gd name="connsiteX718" fmla="*/ 963073 w 1004887"/>
                <a:gd name="connsiteY718" fmla="*/ 858583 h 1332642"/>
                <a:gd name="connsiteX719" fmla="*/ 964597 w 1004887"/>
                <a:gd name="connsiteY719" fmla="*/ 858393 h 1332642"/>
                <a:gd name="connsiteX720" fmla="*/ 964216 w 1004887"/>
                <a:gd name="connsiteY720" fmla="*/ 855250 h 1332642"/>
                <a:gd name="connsiteX721" fmla="*/ 967550 w 1004887"/>
                <a:gd name="connsiteY721" fmla="*/ 856393 h 1332642"/>
                <a:gd name="connsiteX722" fmla="*/ 965645 w 1004887"/>
                <a:gd name="connsiteY722" fmla="*/ 853440 h 1332642"/>
                <a:gd name="connsiteX723" fmla="*/ 966407 w 1004887"/>
                <a:gd name="connsiteY723" fmla="*/ 846963 h 1332642"/>
                <a:gd name="connsiteX724" fmla="*/ 963073 w 1004887"/>
                <a:gd name="connsiteY724" fmla="*/ 845725 h 1332642"/>
                <a:gd name="connsiteX725" fmla="*/ 964216 w 1004887"/>
                <a:gd name="connsiteY725" fmla="*/ 842391 h 1332642"/>
                <a:gd name="connsiteX726" fmla="*/ 961263 w 1004887"/>
                <a:gd name="connsiteY726" fmla="*/ 844391 h 1332642"/>
                <a:gd name="connsiteX727" fmla="*/ 957453 w 1004887"/>
                <a:gd name="connsiteY727" fmla="*/ 840010 h 1332642"/>
                <a:gd name="connsiteX728" fmla="*/ 954310 w 1004887"/>
                <a:gd name="connsiteY728" fmla="*/ 840486 h 1332642"/>
                <a:gd name="connsiteX729" fmla="*/ 954119 w 1004887"/>
                <a:gd name="connsiteY729" fmla="*/ 838867 h 1332642"/>
                <a:gd name="connsiteX730" fmla="*/ 957263 w 1004887"/>
                <a:gd name="connsiteY730" fmla="*/ 838486 h 1332642"/>
                <a:gd name="connsiteX731" fmla="*/ 953929 w 1004887"/>
                <a:gd name="connsiteY731" fmla="*/ 837343 h 1332642"/>
                <a:gd name="connsiteX732" fmla="*/ 956882 w 1004887"/>
                <a:gd name="connsiteY732" fmla="*/ 835343 h 1332642"/>
                <a:gd name="connsiteX733" fmla="*/ 954881 w 1004887"/>
                <a:gd name="connsiteY733" fmla="*/ 832390 h 1332642"/>
                <a:gd name="connsiteX734" fmla="*/ 949357 w 1004887"/>
                <a:gd name="connsiteY734" fmla="*/ 826675 h 1332642"/>
                <a:gd name="connsiteX735" fmla="*/ 950309 w 1004887"/>
                <a:gd name="connsiteY735" fmla="*/ 821722 h 1332642"/>
                <a:gd name="connsiteX736" fmla="*/ 946404 w 1004887"/>
                <a:gd name="connsiteY736" fmla="*/ 815816 h 1332642"/>
                <a:gd name="connsiteX737" fmla="*/ 947738 w 1004887"/>
                <a:gd name="connsiteY737" fmla="*/ 814007 h 1332642"/>
                <a:gd name="connsiteX738" fmla="*/ 946214 w 1004887"/>
                <a:gd name="connsiteY738" fmla="*/ 814197 h 1332642"/>
                <a:gd name="connsiteX739" fmla="*/ 947547 w 1004887"/>
                <a:gd name="connsiteY739" fmla="*/ 812482 h 1332642"/>
                <a:gd name="connsiteX740" fmla="*/ 946023 w 1004887"/>
                <a:gd name="connsiteY740" fmla="*/ 812673 h 1332642"/>
                <a:gd name="connsiteX741" fmla="*/ 945547 w 1004887"/>
                <a:gd name="connsiteY741" fmla="*/ 809530 h 1332642"/>
                <a:gd name="connsiteX742" fmla="*/ 947166 w 1004887"/>
                <a:gd name="connsiteY742" fmla="*/ 809244 h 1332642"/>
                <a:gd name="connsiteX743" fmla="*/ 951071 w 1004887"/>
                <a:gd name="connsiteY743" fmla="*/ 802386 h 1332642"/>
                <a:gd name="connsiteX744" fmla="*/ 949357 w 1004887"/>
                <a:gd name="connsiteY744" fmla="*/ 800957 h 1332642"/>
                <a:gd name="connsiteX745" fmla="*/ 948500 w 1004887"/>
                <a:gd name="connsiteY745" fmla="*/ 794671 h 1332642"/>
                <a:gd name="connsiteX746" fmla="*/ 951071 w 1004887"/>
                <a:gd name="connsiteY746" fmla="*/ 789527 h 1332642"/>
                <a:gd name="connsiteX747" fmla="*/ 949262 w 1004887"/>
                <a:gd name="connsiteY747" fmla="*/ 788194 h 1332642"/>
                <a:gd name="connsiteX748" fmla="*/ 952405 w 1004887"/>
                <a:gd name="connsiteY748" fmla="*/ 787813 h 1332642"/>
                <a:gd name="connsiteX749" fmla="*/ 956405 w 1004887"/>
                <a:gd name="connsiteY749" fmla="*/ 780860 h 1332642"/>
                <a:gd name="connsiteX750" fmla="*/ 957929 w 1004887"/>
                <a:gd name="connsiteY750" fmla="*/ 780669 h 1332642"/>
                <a:gd name="connsiteX751" fmla="*/ 956120 w 1004887"/>
                <a:gd name="connsiteY751" fmla="*/ 779240 h 1332642"/>
                <a:gd name="connsiteX752" fmla="*/ 958691 w 1004887"/>
                <a:gd name="connsiteY752" fmla="*/ 774097 h 1332642"/>
                <a:gd name="connsiteX753" fmla="*/ 965264 w 1004887"/>
                <a:gd name="connsiteY753" fmla="*/ 774954 h 1332642"/>
                <a:gd name="connsiteX754" fmla="*/ 968407 w 1004887"/>
                <a:gd name="connsiteY754" fmla="*/ 774478 h 1332642"/>
                <a:gd name="connsiteX755" fmla="*/ 968216 w 1004887"/>
                <a:gd name="connsiteY755" fmla="*/ 772954 h 1332642"/>
                <a:gd name="connsiteX756" fmla="*/ 960120 w 1004887"/>
                <a:gd name="connsiteY756" fmla="*/ 772382 h 1332642"/>
                <a:gd name="connsiteX757" fmla="*/ 958120 w 1004887"/>
                <a:gd name="connsiteY757" fmla="*/ 769430 h 1332642"/>
                <a:gd name="connsiteX758" fmla="*/ 961263 w 1004887"/>
                <a:gd name="connsiteY758" fmla="*/ 769049 h 1332642"/>
                <a:gd name="connsiteX759" fmla="*/ 961073 w 1004887"/>
                <a:gd name="connsiteY759" fmla="*/ 767429 h 1332642"/>
                <a:gd name="connsiteX760" fmla="*/ 957929 w 1004887"/>
                <a:gd name="connsiteY760" fmla="*/ 767810 h 1332642"/>
                <a:gd name="connsiteX761" fmla="*/ 957548 w 1004887"/>
                <a:gd name="connsiteY761" fmla="*/ 764667 h 1332642"/>
                <a:gd name="connsiteX762" fmla="*/ 955739 w 1004887"/>
                <a:gd name="connsiteY762" fmla="*/ 763333 h 1332642"/>
                <a:gd name="connsiteX763" fmla="*/ 955358 w 1004887"/>
                <a:gd name="connsiteY763" fmla="*/ 760190 h 1332642"/>
                <a:gd name="connsiteX764" fmla="*/ 953738 w 1004887"/>
                <a:gd name="connsiteY764" fmla="*/ 760381 h 1332642"/>
                <a:gd name="connsiteX765" fmla="*/ 951548 w 1004887"/>
                <a:gd name="connsiteY765" fmla="*/ 755809 h 1332642"/>
                <a:gd name="connsiteX766" fmla="*/ 949833 w 1004887"/>
                <a:gd name="connsiteY766" fmla="*/ 754380 h 1332642"/>
                <a:gd name="connsiteX767" fmla="*/ 950976 w 1004887"/>
                <a:gd name="connsiteY767" fmla="*/ 751046 h 1332642"/>
                <a:gd name="connsiteX768" fmla="*/ 950595 w 1004887"/>
                <a:gd name="connsiteY768" fmla="*/ 747903 h 1332642"/>
                <a:gd name="connsiteX769" fmla="*/ 951929 w 1004887"/>
                <a:gd name="connsiteY769" fmla="*/ 746093 h 1332642"/>
                <a:gd name="connsiteX770" fmla="*/ 948595 w 1004887"/>
                <a:gd name="connsiteY770" fmla="*/ 744950 h 1332642"/>
                <a:gd name="connsiteX771" fmla="*/ 949547 w 1004887"/>
                <a:gd name="connsiteY771" fmla="*/ 739997 h 1332642"/>
                <a:gd name="connsiteX772" fmla="*/ 952500 w 1004887"/>
                <a:gd name="connsiteY772" fmla="*/ 738092 h 1332642"/>
                <a:gd name="connsiteX773" fmla="*/ 950119 w 1004887"/>
                <a:gd name="connsiteY773" fmla="*/ 731901 h 1332642"/>
                <a:gd name="connsiteX774" fmla="*/ 951357 w 1004887"/>
                <a:gd name="connsiteY774" fmla="*/ 728567 h 1332642"/>
                <a:gd name="connsiteX775" fmla="*/ 948119 w 1004887"/>
                <a:gd name="connsiteY775" fmla="*/ 728948 h 1332642"/>
                <a:gd name="connsiteX776" fmla="*/ 950881 w 1004887"/>
                <a:gd name="connsiteY776" fmla="*/ 725424 h 1332642"/>
                <a:gd name="connsiteX777" fmla="*/ 950500 w 1004887"/>
                <a:gd name="connsiteY777" fmla="*/ 722281 h 1332642"/>
                <a:gd name="connsiteX778" fmla="*/ 948881 w 1004887"/>
                <a:gd name="connsiteY778" fmla="*/ 722471 h 1332642"/>
                <a:gd name="connsiteX779" fmla="*/ 947738 w 1004887"/>
                <a:gd name="connsiteY779" fmla="*/ 725805 h 1332642"/>
                <a:gd name="connsiteX780" fmla="*/ 948881 w 1004887"/>
                <a:gd name="connsiteY780" fmla="*/ 722471 h 1332642"/>
                <a:gd name="connsiteX781" fmla="*/ 946976 w 1004887"/>
                <a:gd name="connsiteY781" fmla="*/ 719519 h 1332642"/>
                <a:gd name="connsiteX782" fmla="*/ 953452 w 1004887"/>
                <a:gd name="connsiteY782" fmla="*/ 720281 h 1332642"/>
                <a:gd name="connsiteX783" fmla="*/ 953262 w 1004887"/>
                <a:gd name="connsiteY783" fmla="*/ 718757 h 1332642"/>
                <a:gd name="connsiteX784" fmla="*/ 946785 w 1004887"/>
                <a:gd name="connsiteY784" fmla="*/ 717899 h 1332642"/>
                <a:gd name="connsiteX785" fmla="*/ 946976 w 1004887"/>
                <a:gd name="connsiteY785" fmla="*/ 719519 h 1332642"/>
                <a:gd name="connsiteX786" fmla="*/ 946785 w 1004887"/>
                <a:gd name="connsiteY786" fmla="*/ 717899 h 1332642"/>
                <a:gd name="connsiteX787" fmla="*/ 943547 w 1004887"/>
                <a:gd name="connsiteY787" fmla="*/ 718376 h 1332642"/>
                <a:gd name="connsiteX788" fmla="*/ 940213 w 1004887"/>
                <a:gd name="connsiteY788" fmla="*/ 717137 h 1332642"/>
                <a:gd name="connsiteX789" fmla="*/ 939451 w 1004887"/>
                <a:gd name="connsiteY789" fmla="*/ 710851 h 1332642"/>
                <a:gd name="connsiteX790" fmla="*/ 940784 w 1004887"/>
                <a:gd name="connsiteY790" fmla="*/ 709041 h 1332642"/>
                <a:gd name="connsiteX791" fmla="*/ 938784 w 1004887"/>
                <a:gd name="connsiteY791" fmla="*/ 706088 h 1332642"/>
                <a:gd name="connsiteX792" fmla="*/ 942023 w 1004887"/>
                <a:gd name="connsiteY792" fmla="*/ 705707 h 1332642"/>
                <a:gd name="connsiteX793" fmla="*/ 943166 w 1004887"/>
                <a:gd name="connsiteY793" fmla="*/ 702374 h 1332642"/>
                <a:gd name="connsiteX794" fmla="*/ 946499 w 1004887"/>
                <a:gd name="connsiteY794" fmla="*/ 703516 h 1332642"/>
                <a:gd name="connsiteX795" fmla="*/ 947738 w 1004887"/>
                <a:gd name="connsiteY795" fmla="*/ 700183 h 1332642"/>
                <a:gd name="connsiteX796" fmla="*/ 947261 w 1004887"/>
                <a:gd name="connsiteY796" fmla="*/ 697040 h 1332642"/>
                <a:gd name="connsiteX797" fmla="*/ 942118 w 1004887"/>
                <a:gd name="connsiteY797" fmla="*/ 694468 h 1332642"/>
                <a:gd name="connsiteX798" fmla="*/ 943356 w 1004887"/>
                <a:gd name="connsiteY798" fmla="*/ 691134 h 1332642"/>
                <a:gd name="connsiteX799" fmla="*/ 947642 w 1004887"/>
                <a:gd name="connsiteY799" fmla="*/ 687324 h 1332642"/>
                <a:gd name="connsiteX800" fmla="*/ 948881 w 1004887"/>
                <a:gd name="connsiteY800" fmla="*/ 683990 h 1332642"/>
                <a:gd name="connsiteX801" fmla="*/ 952214 w 1004887"/>
                <a:gd name="connsiteY801" fmla="*/ 685133 h 1332642"/>
                <a:gd name="connsiteX802" fmla="*/ 952976 w 1004887"/>
                <a:gd name="connsiteY802" fmla="*/ 678656 h 1332642"/>
                <a:gd name="connsiteX803" fmla="*/ 954310 w 1004887"/>
                <a:gd name="connsiteY803" fmla="*/ 676847 h 1332642"/>
                <a:gd name="connsiteX804" fmla="*/ 956120 w 1004887"/>
                <a:gd name="connsiteY804" fmla="*/ 665416 h 1332642"/>
                <a:gd name="connsiteX805" fmla="*/ 956691 w 1004887"/>
                <a:gd name="connsiteY805" fmla="*/ 657320 h 1332642"/>
                <a:gd name="connsiteX806" fmla="*/ 951548 w 1004887"/>
                <a:gd name="connsiteY806" fmla="*/ 654749 h 1332642"/>
                <a:gd name="connsiteX807" fmla="*/ 952119 w 1004887"/>
                <a:gd name="connsiteY807" fmla="*/ 646652 h 1332642"/>
                <a:gd name="connsiteX808" fmla="*/ 941642 w 1004887"/>
                <a:gd name="connsiteY808" fmla="*/ 639985 h 1332642"/>
                <a:gd name="connsiteX809" fmla="*/ 938498 w 1004887"/>
                <a:gd name="connsiteY809" fmla="*/ 640366 h 1332642"/>
                <a:gd name="connsiteX810" fmla="*/ 933164 w 1004887"/>
                <a:gd name="connsiteY810" fmla="*/ 649129 h 1332642"/>
                <a:gd name="connsiteX811" fmla="*/ 931355 w 1004887"/>
                <a:gd name="connsiteY811" fmla="*/ 647700 h 1332642"/>
                <a:gd name="connsiteX812" fmla="*/ 935736 w 1004887"/>
                <a:gd name="connsiteY812" fmla="*/ 643985 h 1332642"/>
                <a:gd name="connsiteX813" fmla="*/ 937451 w 1004887"/>
                <a:gd name="connsiteY813" fmla="*/ 632555 h 1332642"/>
                <a:gd name="connsiteX814" fmla="*/ 935450 w 1004887"/>
                <a:gd name="connsiteY814" fmla="*/ 629603 h 1332642"/>
                <a:gd name="connsiteX815" fmla="*/ 933736 w 1004887"/>
                <a:gd name="connsiteY815" fmla="*/ 628174 h 1332642"/>
                <a:gd name="connsiteX816" fmla="*/ 936403 w 1004887"/>
                <a:gd name="connsiteY816" fmla="*/ 611791 h 1332642"/>
                <a:gd name="connsiteX817" fmla="*/ 933641 w 1004887"/>
                <a:gd name="connsiteY817" fmla="*/ 602552 h 1332642"/>
                <a:gd name="connsiteX818" fmla="*/ 937736 w 1004887"/>
                <a:gd name="connsiteY818" fmla="*/ 597218 h 1332642"/>
                <a:gd name="connsiteX819" fmla="*/ 941737 w 1004887"/>
                <a:gd name="connsiteY819" fmla="*/ 590264 h 1332642"/>
                <a:gd name="connsiteX820" fmla="*/ 941261 w 1004887"/>
                <a:gd name="connsiteY820" fmla="*/ 574262 h 1332642"/>
                <a:gd name="connsiteX821" fmla="*/ 943832 w 1004887"/>
                <a:gd name="connsiteY821" fmla="*/ 569119 h 1332642"/>
                <a:gd name="connsiteX822" fmla="*/ 944594 w 1004887"/>
                <a:gd name="connsiteY822" fmla="*/ 562642 h 1332642"/>
                <a:gd name="connsiteX823" fmla="*/ 940880 w 1004887"/>
                <a:gd name="connsiteY823" fmla="*/ 558356 h 1332642"/>
                <a:gd name="connsiteX824" fmla="*/ 936308 w 1004887"/>
                <a:gd name="connsiteY824" fmla="*/ 560451 h 1332642"/>
                <a:gd name="connsiteX825" fmla="*/ 929640 w 1004887"/>
                <a:gd name="connsiteY825" fmla="*/ 558165 h 1332642"/>
                <a:gd name="connsiteX826" fmla="*/ 928973 w 1004887"/>
                <a:gd name="connsiteY826" fmla="*/ 553403 h 1332642"/>
                <a:gd name="connsiteX827" fmla="*/ 925449 w 1004887"/>
                <a:gd name="connsiteY827" fmla="*/ 550640 h 1332642"/>
                <a:gd name="connsiteX828" fmla="*/ 921068 w 1004887"/>
                <a:gd name="connsiteY828" fmla="*/ 554450 h 1332642"/>
                <a:gd name="connsiteX829" fmla="*/ 919544 w 1004887"/>
                <a:gd name="connsiteY829" fmla="*/ 554641 h 1332642"/>
                <a:gd name="connsiteX830" fmla="*/ 912590 w 1004887"/>
                <a:gd name="connsiteY830" fmla="*/ 550640 h 1332642"/>
                <a:gd name="connsiteX831" fmla="*/ 912209 w 1004887"/>
                <a:gd name="connsiteY831" fmla="*/ 547497 h 1332642"/>
                <a:gd name="connsiteX832" fmla="*/ 915352 w 1004887"/>
                <a:gd name="connsiteY832" fmla="*/ 547116 h 1332642"/>
                <a:gd name="connsiteX833" fmla="*/ 916496 w 1004887"/>
                <a:gd name="connsiteY833" fmla="*/ 543782 h 1332642"/>
                <a:gd name="connsiteX834" fmla="*/ 906875 w 1004887"/>
                <a:gd name="connsiteY834" fmla="*/ 543401 h 1332642"/>
                <a:gd name="connsiteX835" fmla="*/ 906494 w 1004887"/>
                <a:gd name="connsiteY835" fmla="*/ 540258 h 1332642"/>
                <a:gd name="connsiteX836" fmla="*/ 901732 w 1004887"/>
                <a:gd name="connsiteY836" fmla="*/ 540830 h 1332642"/>
                <a:gd name="connsiteX837" fmla="*/ 898208 w 1004887"/>
                <a:gd name="connsiteY837" fmla="*/ 538067 h 1332642"/>
                <a:gd name="connsiteX838" fmla="*/ 895064 w 1004887"/>
                <a:gd name="connsiteY838" fmla="*/ 538544 h 1332642"/>
                <a:gd name="connsiteX839" fmla="*/ 892588 w 1004887"/>
                <a:gd name="connsiteY839" fmla="*/ 532352 h 1332642"/>
                <a:gd name="connsiteX840" fmla="*/ 889254 w 1004887"/>
                <a:gd name="connsiteY840" fmla="*/ 531209 h 1332642"/>
                <a:gd name="connsiteX841" fmla="*/ 897350 w 1004887"/>
                <a:gd name="connsiteY841" fmla="*/ 531781 h 1332642"/>
                <a:gd name="connsiteX842" fmla="*/ 904494 w 1004887"/>
                <a:gd name="connsiteY842" fmla="*/ 537305 h 1332642"/>
                <a:gd name="connsiteX843" fmla="*/ 912400 w 1004887"/>
                <a:gd name="connsiteY843" fmla="*/ 536257 h 1332642"/>
                <a:gd name="connsiteX844" fmla="*/ 913733 w 1004887"/>
                <a:gd name="connsiteY844" fmla="*/ 534543 h 1332642"/>
                <a:gd name="connsiteX845" fmla="*/ 918496 w 1004887"/>
                <a:gd name="connsiteY845" fmla="*/ 533876 h 1332642"/>
                <a:gd name="connsiteX846" fmla="*/ 921449 w 1004887"/>
                <a:gd name="connsiteY846" fmla="*/ 531876 h 1332642"/>
                <a:gd name="connsiteX847" fmla="*/ 918115 w 1004887"/>
                <a:gd name="connsiteY847" fmla="*/ 530733 h 1332642"/>
                <a:gd name="connsiteX848" fmla="*/ 911543 w 1004887"/>
                <a:gd name="connsiteY848" fmla="*/ 517112 h 1332642"/>
                <a:gd name="connsiteX849" fmla="*/ 901827 w 1004887"/>
                <a:gd name="connsiteY849" fmla="*/ 516731 h 1332642"/>
                <a:gd name="connsiteX850" fmla="*/ 898112 w 1004887"/>
                <a:gd name="connsiteY850" fmla="*/ 512445 h 1332642"/>
                <a:gd name="connsiteX851" fmla="*/ 900684 w 1004887"/>
                <a:gd name="connsiteY851" fmla="*/ 507302 h 1332642"/>
                <a:gd name="connsiteX852" fmla="*/ 898684 w 1004887"/>
                <a:gd name="connsiteY852" fmla="*/ 504349 h 1332642"/>
                <a:gd name="connsiteX853" fmla="*/ 899827 w 1004887"/>
                <a:gd name="connsiteY853" fmla="*/ 501015 h 1332642"/>
                <a:gd name="connsiteX854" fmla="*/ 901827 w 1004887"/>
                <a:gd name="connsiteY854" fmla="*/ 503968 h 1332642"/>
                <a:gd name="connsiteX855" fmla="*/ 902018 w 1004887"/>
                <a:gd name="connsiteY855" fmla="*/ 505492 h 1332642"/>
                <a:gd name="connsiteX856" fmla="*/ 903827 w 1004887"/>
                <a:gd name="connsiteY856" fmla="*/ 506920 h 1332642"/>
                <a:gd name="connsiteX857" fmla="*/ 906590 w 1004887"/>
                <a:gd name="connsiteY857" fmla="*/ 503301 h 1332642"/>
                <a:gd name="connsiteX858" fmla="*/ 906780 w 1004887"/>
                <a:gd name="connsiteY858" fmla="*/ 504920 h 1332642"/>
                <a:gd name="connsiteX859" fmla="*/ 908399 w 1004887"/>
                <a:gd name="connsiteY859" fmla="*/ 504730 h 1332642"/>
                <a:gd name="connsiteX860" fmla="*/ 908399 w 1004887"/>
                <a:gd name="connsiteY860" fmla="*/ 504730 h 1332642"/>
                <a:gd name="connsiteX861" fmla="*/ 909733 w 1004887"/>
                <a:gd name="connsiteY861" fmla="*/ 502920 h 1332642"/>
                <a:gd name="connsiteX862" fmla="*/ 917448 w 1004887"/>
                <a:gd name="connsiteY862" fmla="*/ 500348 h 1332642"/>
                <a:gd name="connsiteX863" fmla="*/ 920782 w 1004887"/>
                <a:gd name="connsiteY863" fmla="*/ 501491 h 1332642"/>
                <a:gd name="connsiteX864" fmla="*/ 927830 w 1004887"/>
                <a:gd name="connsiteY864" fmla="*/ 494252 h 1332642"/>
                <a:gd name="connsiteX865" fmla="*/ 923163 w 1004887"/>
                <a:gd name="connsiteY865" fmla="*/ 494824 h 1332642"/>
                <a:gd name="connsiteX866" fmla="*/ 922496 w 1004887"/>
                <a:gd name="connsiteY866" fmla="*/ 490061 h 1332642"/>
                <a:gd name="connsiteX867" fmla="*/ 917829 w 1004887"/>
                <a:gd name="connsiteY867" fmla="*/ 490728 h 1332642"/>
                <a:gd name="connsiteX868" fmla="*/ 917639 w 1004887"/>
                <a:gd name="connsiteY868" fmla="*/ 489109 h 1332642"/>
                <a:gd name="connsiteX869" fmla="*/ 914210 w 1004887"/>
                <a:gd name="connsiteY869" fmla="*/ 487966 h 1332642"/>
                <a:gd name="connsiteX870" fmla="*/ 909733 w 1004887"/>
                <a:gd name="connsiteY870" fmla="*/ 490157 h 1332642"/>
                <a:gd name="connsiteX871" fmla="*/ 912495 w 1004887"/>
                <a:gd name="connsiteY871" fmla="*/ 486537 h 1332642"/>
                <a:gd name="connsiteX872" fmla="*/ 909066 w 1004887"/>
                <a:gd name="connsiteY872" fmla="*/ 485394 h 1332642"/>
                <a:gd name="connsiteX873" fmla="*/ 904780 w 1004887"/>
                <a:gd name="connsiteY873" fmla="*/ 489109 h 1332642"/>
                <a:gd name="connsiteX874" fmla="*/ 902780 w 1004887"/>
                <a:gd name="connsiteY874" fmla="*/ 486156 h 1332642"/>
                <a:gd name="connsiteX875" fmla="*/ 899827 w 1004887"/>
                <a:gd name="connsiteY875" fmla="*/ 488156 h 1332642"/>
                <a:gd name="connsiteX876" fmla="*/ 898684 w 1004887"/>
                <a:gd name="connsiteY876" fmla="*/ 491490 h 1332642"/>
                <a:gd name="connsiteX877" fmla="*/ 895731 w 1004887"/>
                <a:gd name="connsiteY877" fmla="*/ 493490 h 1332642"/>
                <a:gd name="connsiteX878" fmla="*/ 896112 w 1004887"/>
                <a:gd name="connsiteY878" fmla="*/ 496633 h 1332642"/>
                <a:gd name="connsiteX879" fmla="*/ 891159 w 1004887"/>
                <a:gd name="connsiteY879" fmla="*/ 495681 h 1332642"/>
                <a:gd name="connsiteX880" fmla="*/ 888397 w 1004887"/>
                <a:gd name="connsiteY880" fmla="*/ 486442 h 1332642"/>
                <a:gd name="connsiteX881" fmla="*/ 891731 w 1004887"/>
                <a:gd name="connsiteY881" fmla="*/ 487585 h 1332642"/>
                <a:gd name="connsiteX882" fmla="*/ 891540 w 1004887"/>
                <a:gd name="connsiteY882" fmla="*/ 486061 h 1332642"/>
                <a:gd name="connsiteX883" fmla="*/ 888206 w 1004887"/>
                <a:gd name="connsiteY883" fmla="*/ 484823 h 1332642"/>
                <a:gd name="connsiteX884" fmla="*/ 892302 w 1004887"/>
                <a:gd name="connsiteY884" fmla="*/ 479489 h 1332642"/>
                <a:gd name="connsiteX885" fmla="*/ 888397 w 1004887"/>
                <a:gd name="connsiteY885" fmla="*/ 473583 h 1332642"/>
                <a:gd name="connsiteX886" fmla="*/ 890873 w 1004887"/>
                <a:gd name="connsiteY886" fmla="*/ 468440 h 1332642"/>
                <a:gd name="connsiteX887" fmla="*/ 900017 w 1004887"/>
                <a:gd name="connsiteY887" fmla="*/ 464058 h 1332642"/>
                <a:gd name="connsiteX888" fmla="*/ 907447 w 1004887"/>
                <a:gd name="connsiteY888" fmla="*/ 447103 h 1332642"/>
                <a:gd name="connsiteX889" fmla="*/ 930116 w 1004887"/>
                <a:gd name="connsiteY889" fmla="*/ 436245 h 1332642"/>
                <a:gd name="connsiteX890" fmla="*/ 934593 w 1004887"/>
                <a:gd name="connsiteY890" fmla="*/ 434054 h 1332642"/>
                <a:gd name="connsiteX891" fmla="*/ 940975 w 1004887"/>
                <a:gd name="connsiteY891" fmla="*/ 433197 h 1332642"/>
                <a:gd name="connsiteX892" fmla="*/ 937832 w 1004887"/>
                <a:gd name="connsiteY892" fmla="*/ 433578 h 1332642"/>
                <a:gd name="connsiteX893" fmla="*/ 938594 w 1004887"/>
                <a:gd name="connsiteY893" fmla="*/ 439960 h 1332642"/>
                <a:gd name="connsiteX894" fmla="*/ 940403 w 1004887"/>
                <a:gd name="connsiteY894" fmla="*/ 441293 h 1332642"/>
                <a:gd name="connsiteX895" fmla="*/ 945261 w 1004887"/>
                <a:gd name="connsiteY895" fmla="*/ 442246 h 1332642"/>
                <a:gd name="connsiteX896" fmla="*/ 947452 w 1004887"/>
                <a:gd name="connsiteY896" fmla="*/ 446818 h 1332642"/>
                <a:gd name="connsiteX897" fmla="*/ 949071 w 1004887"/>
                <a:gd name="connsiteY897" fmla="*/ 446627 h 1332642"/>
                <a:gd name="connsiteX898" fmla="*/ 949262 w 1004887"/>
                <a:gd name="connsiteY898" fmla="*/ 448151 h 1332642"/>
                <a:gd name="connsiteX899" fmla="*/ 954024 w 1004887"/>
                <a:gd name="connsiteY899" fmla="*/ 447580 h 1332642"/>
                <a:gd name="connsiteX900" fmla="*/ 955739 w 1004887"/>
                <a:gd name="connsiteY900" fmla="*/ 448913 h 1332642"/>
                <a:gd name="connsiteX901" fmla="*/ 956786 w 1004887"/>
                <a:gd name="connsiteY901" fmla="*/ 444056 h 1332642"/>
                <a:gd name="connsiteX902" fmla="*/ 958310 w 1004887"/>
                <a:gd name="connsiteY902" fmla="*/ 443865 h 1332642"/>
                <a:gd name="connsiteX903" fmla="*/ 957929 w 1004887"/>
                <a:gd name="connsiteY903" fmla="*/ 440627 h 1332642"/>
                <a:gd name="connsiteX904" fmla="*/ 959263 w 1004887"/>
                <a:gd name="connsiteY904" fmla="*/ 438912 h 1332642"/>
                <a:gd name="connsiteX905" fmla="*/ 960120 w 1004887"/>
                <a:gd name="connsiteY905" fmla="*/ 432340 h 1332642"/>
                <a:gd name="connsiteX906" fmla="*/ 963073 w 1004887"/>
                <a:gd name="connsiteY906" fmla="*/ 430435 h 1332642"/>
                <a:gd name="connsiteX907" fmla="*/ 965359 w 1004887"/>
                <a:gd name="connsiteY907" fmla="*/ 423672 h 1332642"/>
                <a:gd name="connsiteX908" fmla="*/ 968502 w 1004887"/>
                <a:gd name="connsiteY908" fmla="*/ 423291 h 1332642"/>
                <a:gd name="connsiteX909" fmla="*/ 974693 w 1004887"/>
                <a:gd name="connsiteY909" fmla="*/ 420910 h 1332642"/>
                <a:gd name="connsiteX910" fmla="*/ 974217 w 1004887"/>
                <a:gd name="connsiteY910" fmla="*/ 417766 h 1332642"/>
                <a:gd name="connsiteX911" fmla="*/ 976027 w 1004887"/>
                <a:gd name="connsiteY911" fmla="*/ 419100 h 1332642"/>
                <a:gd name="connsiteX912" fmla="*/ 977456 w 1004887"/>
                <a:gd name="connsiteY912" fmla="*/ 417386 h 1332642"/>
                <a:gd name="connsiteX913" fmla="*/ 980599 w 1004887"/>
                <a:gd name="connsiteY913" fmla="*/ 416909 h 1332642"/>
                <a:gd name="connsiteX914" fmla="*/ 984885 w 1004887"/>
                <a:gd name="connsiteY914" fmla="*/ 413194 h 1332642"/>
                <a:gd name="connsiteX915" fmla="*/ 986695 w 1004887"/>
                <a:gd name="connsiteY915" fmla="*/ 414528 h 1332642"/>
                <a:gd name="connsiteX916" fmla="*/ 990600 w 1004887"/>
                <a:gd name="connsiteY916" fmla="*/ 407670 h 1332642"/>
                <a:gd name="connsiteX917" fmla="*/ 988409 w 1004887"/>
                <a:gd name="connsiteY917" fmla="*/ 403098 h 1332642"/>
                <a:gd name="connsiteX918" fmla="*/ 983266 w 1004887"/>
                <a:gd name="connsiteY918" fmla="*/ 400526 h 1332642"/>
                <a:gd name="connsiteX919" fmla="*/ 981266 w 1004887"/>
                <a:gd name="connsiteY919" fmla="*/ 397573 h 1332642"/>
                <a:gd name="connsiteX920" fmla="*/ 977932 w 1004887"/>
                <a:gd name="connsiteY920" fmla="*/ 396431 h 1332642"/>
                <a:gd name="connsiteX921" fmla="*/ 974979 w 1004887"/>
                <a:gd name="connsiteY921" fmla="*/ 398431 h 1332642"/>
                <a:gd name="connsiteX922" fmla="*/ 973646 w 1004887"/>
                <a:gd name="connsiteY922" fmla="*/ 400145 h 1332642"/>
                <a:gd name="connsiteX923" fmla="*/ 967740 w 1004887"/>
                <a:gd name="connsiteY923" fmla="*/ 404146 h 1332642"/>
                <a:gd name="connsiteX924" fmla="*/ 965930 w 1004887"/>
                <a:gd name="connsiteY924" fmla="*/ 402717 h 1332642"/>
                <a:gd name="connsiteX925" fmla="*/ 966502 w 1004887"/>
                <a:gd name="connsiteY925" fmla="*/ 394716 h 1332642"/>
                <a:gd name="connsiteX926" fmla="*/ 975741 w 1004887"/>
                <a:gd name="connsiteY926" fmla="*/ 391858 h 1332642"/>
                <a:gd name="connsiteX927" fmla="*/ 978884 w 1004887"/>
                <a:gd name="connsiteY927" fmla="*/ 378619 h 1332642"/>
                <a:gd name="connsiteX928" fmla="*/ 978122 w 1004887"/>
                <a:gd name="connsiteY928" fmla="*/ 372332 h 1332642"/>
                <a:gd name="connsiteX929" fmla="*/ 974312 w 1004887"/>
                <a:gd name="connsiteY929" fmla="*/ 368046 h 1332642"/>
                <a:gd name="connsiteX930" fmla="*/ 973931 w 1004887"/>
                <a:gd name="connsiteY930" fmla="*/ 364903 h 1332642"/>
                <a:gd name="connsiteX931" fmla="*/ 971550 w 1004887"/>
                <a:gd name="connsiteY931" fmla="*/ 358711 h 1332642"/>
                <a:gd name="connsiteX932" fmla="*/ 972502 w 1004887"/>
                <a:gd name="connsiteY932" fmla="*/ 353854 h 1332642"/>
                <a:gd name="connsiteX933" fmla="*/ 982027 w 1004887"/>
                <a:gd name="connsiteY933" fmla="*/ 352615 h 1332642"/>
                <a:gd name="connsiteX934" fmla="*/ 981170 w 1004887"/>
                <a:gd name="connsiteY934" fmla="*/ 346329 h 1332642"/>
                <a:gd name="connsiteX935" fmla="*/ 987076 w 1004887"/>
                <a:gd name="connsiteY935" fmla="*/ 342328 h 1332642"/>
                <a:gd name="connsiteX936" fmla="*/ 983933 w 1004887"/>
                <a:gd name="connsiteY936" fmla="*/ 342710 h 1332642"/>
                <a:gd name="connsiteX937" fmla="*/ 986123 w 1004887"/>
                <a:gd name="connsiteY937" fmla="*/ 334423 h 1332642"/>
                <a:gd name="connsiteX938" fmla="*/ 979170 w 1004887"/>
                <a:gd name="connsiteY938" fmla="*/ 330518 h 1332642"/>
                <a:gd name="connsiteX939" fmla="*/ 978122 w 1004887"/>
                <a:gd name="connsiteY939" fmla="*/ 322612 h 1332642"/>
                <a:gd name="connsiteX940" fmla="*/ 985076 w 1004887"/>
                <a:gd name="connsiteY940" fmla="*/ 313753 h 1332642"/>
                <a:gd name="connsiteX941" fmla="*/ 983075 w 1004887"/>
                <a:gd name="connsiteY941" fmla="*/ 310801 h 1332642"/>
                <a:gd name="connsiteX942" fmla="*/ 979361 w 1004887"/>
                <a:gd name="connsiteY942" fmla="*/ 306419 h 1332642"/>
                <a:gd name="connsiteX943" fmla="*/ 982027 w 1004887"/>
                <a:gd name="connsiteY943" fmla="*/ 302895 h 1332642"/>
                <a:gd name="connsiteX944" fmla="*/ 985457 w 1004887"/>
                <a:gd name="connsiteY944" fmla="*/ 304038 h 1332642"/>
                <a:gd name="connsiteX945" fmla="*/ 989171 w 1004887"/>
                <a:gd name="connsiteY945" fmla="*/ 295561 h 1332642"/>
                <a:gd name="connsiteX946" fmla="*/ 985171 w 1004887"/>
                <a:gd name="connsiteY946" fmla="*/ 289655 h 1332642"/>
                <a:gd name="connsiteX947" fmla="*/ 988314 w 1004887"/>
                <a:gd name="connsiteY947" fmla="*/ 289274 h 1332642"/>
                <a:gd name="connsiteX948" fmla="*/ 987171 w 1004887"/>
                <a:gd name="connsiteY948" fmla="*/ 279749 h 1332642"/>
                <a:gd name="connsiteX949" fmla="*/ 988886 w 1004887"/>
                <a:gd name="connsiteY949" fmla="*/ 281178 h 1332642"/>
                <a:gd name="connsiteX950" fmla="*/ 992124 w 1004887"/>
                <a:gd name="connsiteY950" fmla="*/ 280797 h 1332642"/>
                <a:gd name="connsiteX951" fmla="*/ 991838 w 1004887"/>
                <a:gd name="connsiteY951" fmla="*/ 279178 h 1332642"/>
                <a:gd name="connsiteX952" fmla="*/ 992124 w 1004887"/>
                <a:gd name="connsiteY952" fmla="*/ 280797 h 1332642"/>
                <a:gd name="connsiteX953" fmla="*/ 993648 w 1004887"/>
                <a:gd name="connsiteY953" fmla="*/ 280511 h 1332642"/>
                <a:gd name="connsiteX954" fmla="*/ 995077 w 1004887"/>
                <a:gd name="connsiteY954" fmla="*/ 278797 h 1332642"/>
                <a:gd name="connsiteX955" fmla="*/ 998411 w 1004887"/>
                <a:gd name="connsiteY955" fmla="*/ 279940 h 1332642"/>
                <a:gd name="connsiteX956" fmla="*/ 1001363 w 1004887"/>
                <a:gd name="connsiteY956" fmla="*/ 277940 h 1332642"/>
                <a:gd name="connsiteX957" fmla="*/ 1001935 w 1004887"/>
                <a:gd name="connsiteY957" fmla="*/ 282702 h 1332642"/>
                <a:gd name="connsiteX958" fmla="*/ 1004888 w 1004887"/>
                <a:gd name="connsiteY958" fmla="*/ 280702 h 1332642"/>
                <a:gd name="connsiteX959" fmla="*/ 1001363 w 1004887"/>
                <a:gd name="connsiteY959" fmla="*/ 265176 h 1332642"/>
                <a:gd name="connsiteX960" fmla="*/ 999744 w 1004887"/>
                <a:gd name="connsiteY960" fmla="*/ 252508 h 1332642"/>
                <a:gd name="connsiteX961" fmla="*/ 999744 w 1004887"/>
                <a:gd name="connsiteY961" fmla="*/ 252508 h 133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</a:cxnLst>
              <a:rect l="l" t="t" r="r" b="b"/>
              <a:pathLst>
                <a:path w="1004887" h="1332642">
                  <a:moveTo>
                    <a:pt x="999744" y="252508"/>
                  </a:moveTo>
                  <a:lnTo>
                    <a:pt x="997363" y="246412"/>
                  </a:lnTo>
                  <a:lnTo>
                    <a:pt x="998315" y="241459"/>
                  </a:lnTo>
                  <a:lnTo>
                    <a:pt x="997934" y="238315"/>
                  </a:lnTo>
                  <a:lnTo>
                    <a:pt x="996125" y="236982"/>
                  </a:lnTo>
                  <a:lnTo>
                    <a:pt x="994124" y="234029"/>
                  </a:lnTo>
                  <a:lnTo>
                    <a:pt x="995363" y="230600"/>
                  </a:lnTo>
                  <a:lnTo>
                    <a:pt x="996506" y="227266"/>
                  </a:lnTo>
                  <a:lnTo>
                    <a:pt x="995648" y="220980"/>
                  </a:lnTo>
                  <a:lnTo>
                    <a:pt x="993934" y="219551"/>
                  </a:lnTo>
                  <a:lnTo>
                    <a:pt x="996506" y="214408"/>
                  </a:lnTo>
                  <a:lnTo>
                    <a:pt x="1004126" y="211836"/>
                  </a:lnTo>
                  <a:lnTo>
                    <a:pt x="993077" y="213265"/>
                  </a:lnTo>
                  <a:lnTo>
                    <a:pt x="987933" y="210693"/>
                  </a:lnTo>
                  <a:lnTo>
                    <a:pt x="975741" y="202692"/>
                  </a:lnTo>
                  <a:lnTo>
                    <a:pt x="971741" y="196786"/>
                  </a:lnTo>
                  <a:lnTo>
                    <a:pt x="958691" y="195167"/>
                  </a:lnTo>
                  <a:lnTo>
                    <a:pt x="953548" y="192691"/>
                  </a:lnTo>
                  <a:lnTo>
                    <a:pt x="947642" y="196596"/>
                  </a:lnTo>
                  <a:lnTo>
                    <a:pt x="941165" y="195834"/>
                  </a:lnTo>
                  <a:lnTo>
                    <a:pt x="942499" y="194024"/>
                  </a:lnTo>
                  <a:lnTo>
                    <a:pt x="940784" y="192691"/>
                  </a:lnTo>
                  <a:lnTo>
                    <a:pt x="942118" y="190881"/>
                  </a:lnTo>
                  <a:lnTo>
                    <a:pt x="945737" y="193643"/>
                  </a:lnTo>
                  <a:lnTo>
                    <a:pt x="947261" y="193453"/>
                  </a:lnTo>
                  <a:lnTo>
                    <a:pt x="947452" y="182213"/>
                  </a:lnTo>
                  <a:lnTo>
                    <a:pt x="948214" y="175736"/>
                  </a:lnTo>
                  <a:lnTo>
                    <a:pt x="946404" y="174307"/>
                  </a:lnTo>
                  <a:lnTo>
                    <a:pt x="945452" y="166402"/>
                  </a:lnTo>
                  <a:lnTo>
                    <a:pt x="939356" y="168783"/>
                  </a:lnTo>
                  <a:lnTo>
                    <a:pt x="934212" y="166211"/>
                  </a:lnTo>
                  <a:lnTo>
                    <a:pt x="927449" y="163925"/>
                  </a:lnTo>
                  <a:lnTo>
                    <a:pt x="918210" y="166687"/>
                  </a:lnTo>
                  <a:lnTo>
                    <a:pt x="913638" y="168878"/>
                  </a:lnTo>
                  <a:lnTo>
                    <a:pt x="913638" y="168878"/>
                  </a:lnTo>
                  <a:lnTo>
                    <a:pt x="912114" y="169069"/>
                  </a:lnTo>
                  <a:lnTo>
                    <a:pt x="911066" y="161163"/>
                  </a:lnTo>
                  <a:lnTo>
                    <a:pt x="906685" y="152114"/>
                  </a:lnTo>
                  <a:lnTo>
                    <a:pt x="903351" y="150971"/>
                  </a:lnTo>
                  <a:lnTo>
                    <a:pt x="900398" y="152876"/>
                  </a:lnTo>
                  <a:lnTo>
                    <a:pt x="898684" y="151543"/>
                  </a:lnTo>
                  <a:lnTo>
                    <a:pt x="894683" y="145637"/>
                  </a:lnTo>
                  <a:lnTo>
                    <a:pt x="891540" y="146018"/>
                  </a:lnTo>
                  <a:lnTo>
                    <a:pt x="889540" y="130207"/>
                  </a:lnTo>
                  <a:lnTo>
                    <a:pt x="884587" y="129254"/>
                  </a:lnTo>
                  <a:lnTo>
                    <a:pt x="880586" y="123349"/>
                  </a:lnTo>
                  <a:lnTo>
                    <a:pt x="877443" y="123730"/>
                  </a:lnTo>
                  <a:lnTo>
                    <a:pt x="874109" y="122587"/>
                  </a:lnTo>
                  <a:lnTo>
                    <a:pt x="871347" y="126111"/>
                  </a:lnTo>
                  <a:lnTo>
                    <a:pt x="868204" y="126587"/>
                  </a:lnTo>
                  <a:lnTo>
                    <a:pt x="864870" y="125349"/>
                  </a:lnTo>
                  <a:lnTo>
                    <a:pt x="863441" y="127159"/>
                  </a:lnTo>
                  <a:lnTo>
                    <a:pt x="865632" y="131731"/>
                  </a:lnTo>
                  <a:lnTo>
                    <a:pt x="846677" y="134112"/>
                  </a:lnTo>
                  <a:lnTo>
                    <a:pt x="841534" y="131540"/>
                  </a:lnTo>
                  <a:lnTo>
                    <a:pt x="820484" y="129445"/>
                  </a:lnTo>
                  <a:lnTo>
                    <a:pt x="820007" y="126302"/>
                  </a:lnTo>
                  <a:lnTo>
                    <a:pt x="816674" y="125063"/>
                  </a:lnTo>
                  <a:lnTo>
                    <a:pt x="816293" y="121920"/>
                  </a:lnTo>
                  <a:lnTo>
                    <a:pt x="810959" y="117824"/>
                  </a:lnTo>
                  <a:lnTo>
                    <a:pt x="812292" y="116015"/>
                  </a:lnTo>
                  <a:lnTo>
                    <a:pt x="810387" y="113062"/>
                  </a:lnTo>
                  <a:lnTo>
                    <a:pt x="805244" y="110490"/>
                  </a:lnTo>
                  <a:lnTo>
                    <a:pt x="801624" y="107728"/>
                  </a:lnTo>
                  <a:lnTo>
                    <a:pt x="800100" y="107918"/>
                  </a:lnTo>
                  <a:lnTo>
                    <a:pt x="796481" y="105251"/>
                  </a:lnTo>
                  <a:lnTo>
                    <a:pt x="787241" y="108013"/>
                  </a:lnTo>
                  <a:lnTo>
                    <a:pt x="784479" y="98774"/>
                  </a:lnTo>
                  <a:lnTo>
                    <a:pt x="779717" y="99346"/>
                  </a:lnTo>
                  <a:lnTo>
                    <a:pt x="774573" y="96774"/>
                  </a:lnTo>
                  <a:lnTo>
                    <a:pt x="775145" y="88678"/>
                  </a:lnTo>
                  <a:lnTo>
                    <a:pt x="778478" y="89821"/>
                  </a:lnTo>
                  <a:lnTo>
                    <a:pt x="779717" y="86487"/>
                  </a:lnTo>
                  <a:lnTo>
                    <a:pt x="790956" y="86677"/>
                  </a:lnTo>
                  <a:lnTo>
                    <a:pt x="799433" y="90392"/>
                  </a:lnTo>
                  <a:lnTo>
                    <a:pt x="799052" y="87249"/>
                  </a:lnTo>
                  <a:lnTo>
                    <a:pt x="792290" y="84868"/>
                  </a:lnTo>
                  <a:lnTo>
                    <a:pt x="790766" y="85058"/>
                  </a:lnTo>
                  <a:lnTo>
                    <a:pt x="788003" y="75819"/>
                  </a:lnTo>
                  <a:lnTo>
                    <a:pt x="784574" y="74676"/>
                  </a:lnTo>
                  <a:lnTo>
                    <a:pt x="772001" y="76295"/>
                  </a:lnTo>
                  <a:lnTo>
                    <a:pt x="768001" y="83153"/>
                  </a:lnTo>
                  <a:lnTo>
                    <a:pt x="761714" y="84011"/>
                  </a:lnTo>
                  <a:lnTo>
                    <a:pt x="758190" y="81248"/>
                  </a:lnTo>
                  <a:lnTo>
                    <a:pt x="759333" y="77915"/>
                  </a:lnTo>
                  <a:lnTo>
                    <a:pt x="758952" y="74676"/>
                  </a:lnTo>
                  <a:lnTo>
                    <a:pt x="755999" y="76676"/>
                  </a:lnTo>
                  <a:lnTo>
                    <a:pt x="753809" y="72200"/>
                  </a:lnTo>
                  <a:lnTo>
                    <a:pt x="749522" y="75914"/>
                  </a:lnTo>
                  <a:lnTo>
                    <a:pt x="734663" y="72961"/>
                  </a:lnTo>
                  <a:lnTo>
                    <a:pt x="732568" y="81248"/>
                  </a:lnTo>
                  <a:lnTo>
                    <a:pt x="729329" y="81725"/>
                  </a:lnTo>
                  <a:lnTo>
                    <a:pt x="727043" y="88392"/>
                  </a:lnTo>
                  <a:lnTo>
                    <a:pt x="725424" y="88582"/>
                  </a:lnTo>
                  <a:lnTo>
                    <a:pt x="720471" y="87630"/>
                  </a:lnTo>
                  <a:lnTo>
                    <a:pt x="719519" y="79724"/>
                  </a:lnTo>
                  <a:lnTo>
                    <a:pt x="708470" y="81153"/>
                  </a:lnTo>
                  <a:lnTo>
                    <a:pt x="703898" y="83344"/>
                  </a:lnTo>
                  <a:lnTo>
                    <a:pt x="702374" y="83534"/>
                  </a:lnTo>
                  <a:lnTo>
                    <a:pt x="701707" y="78772"/>
                  </a:lnTo>
                  <a:lnTo>
                    <a:pt x="705898" y="73438"/>
                  </a:lnTo>
                  <a:lnTo>
                    <a:pt x="705231" y="68771"/>
                  </a:lnTo>
                  <a:lnTo>
                    <a:pt x="711137" y="64770"/>
                  </a:lnTo>
                  <a:lnTo>
                    <a:pt x="712565" y="62960"/>
                  </a:lnTo>
                  <a:lnTo>
                    <a:pt x="710565" y="60007"/>
                  </a:lnTo>
                  <a:lnTo>
                    <a:pt x="714661" y="54673"/>
                  </a:lnTo>
                  <a:lnTo>
                    <a:pt x="714089" y="50006"/>
                  </a:lnTo>
                  <a:lnTo>
                    <a:pt x="719042" y="50959"/>
                  </a:lnTo>
                  <a:lnTo>
                    <a:pt x="725329" y="50102"/>
                  </a:lnTo>
                  <a:lnTo>
                    <a:pt x="725710" y="40481"/>
                  </a:lnTo>
                  <a:lnTo>
                    <a:pt x="723329" y="34385"/>
                  </a:lnTo>
                  <a:lnTo>
                    <a:pt x="723138" y="32766"/>
                  </a:lnTo>
                  <a:lnTo>
                    <a:pt x="718185" y="31813"/>
                  </a:lnTo>
                  <a:lnTo>
                    <a:pt x="715613" y="24098"/>
                  </a:lnTo>
                  <a:lnTo>
                    <a:pt x="711518" y="29432"/>
                  </a:lnTo>
                  <a:lnTo>
                    <a:pt x="709517" y="26479"/>
                  </a:lnTo>
                  <a:lnTo>
                    <a:pt x="710089" y="18383"/>
                  </a:lnTo>
                  <a:lnTo>
                    <a:pt x="708279" y="17050"/>
                  </a:lnTo>
                  <a:lnTo>
                    <a:pt x="707517" y="23527"/>
                  </a:lnTo>
                  <a:lnTo>
                    <a:pt x="701421" y="25908"/>
                  </a:lnTo>
                  <a:lnTo>
                    <a:pt x="701612" y="27527"/>
                  </a:lnTo>
                  <a:lnTo>
                    <a:pt x="698278" y="26289"/>
                  </a:lnTo>
                  <a:lnTo>
                    <a:pt x="695135" y="26670"/>
                  </a:lnTo>
                  <a:lnTo>
                    <a:pt x="689229" y="30671"/>
                  </a:lnTo>
                  <a:lnTo>
                    <a:pt x="684086" y="28099"/>
                  </a:lnTo>
                  <a:lnTo>
                    <a:pt x="683990" y="15335"/>
                  </a:lnTo>
                  <a:lnTo>
                    <a:pt x="680847" y="15716"/>
                  </a:lnTo>
                  <a:lnTo>
                    <a:pt x="679133" y="14288"/>
                  </a:lnTo>
                  <a:lnTo>
                    <a:pt x="675894" y="14764"/>
                  </a:lnTo>
                  <a:lnTo>
                    <a:pt x="676656" y="8192"/>
                  </a:lnTo>
                  <a:lnTo>
                    <a:pt x="671608" y="5620"/>
                  </a:lnTo>
                  <a:lnTo>
                    <a:pt x="672941" y="3905"/>
                  </a:lnTo>
                  <a:lnTo>
                    <a:pt x="676085" y="3524"/>
                  </a:lnTo>
                  <a:lnTo>
                    <a:pt x="674084" y="571"/>
                  </a:lnTo>
                  <a:lnTo>
                    <a:pt x="669798" y="4286"/>
                  </a:lnTo>
                  <a:lnTo>
                    <a:pt x="666655" y="4667"/>
                  </a:lnTo>
                  <a:lnTo>
                    <a:pt x="665417" y="8001"/>
                  </a:lnTo>
                  <a:lnTo>
                    <a:pt x="664464" y="12954"/>
                  </a:lnTo>
                  <a:lnTo>
                    <a:pt x="661321" y="13335"/>
                  </a:lnTo>
                  <a:lnTo>
                    <a:pt x="658749" y="18479"/>
                  </a:lnTo>
                  <a:lnTo>
                    <a:pt x="652272" y="17717"/>
                  </a:lnTo>
                  <a:lnTo>
                    <a:pt x="654368" y="9430"/>
                  </a:lnTo>
                  <a:lnTo>
                    <a:pt x="653225" y="0"/>
                  </a:lnTo>
                  <a:lnTo>
                    <a:pt x="651605" y="190"/>
                  </a:lnTo>
                  <a:lnTo>
                    <a:pt x="651986" y="3334"/>
                  </a:lnTo>
                  <a:lnTo>
                    <a:pt x="639032" y="1810"/>
                  </a:lnTo>
                  <a:lnTo>
                    <a:pt x="636080" y="3810"/>
                  </a:lnTo>
                  <a:lnTo>
                    <a:pt x="636270" y="5334"/>
                  </a:lnTo>
                  <a:lnTo>
                    <a:pt x="633317" y="7334"/>
                  </a:lnTo>
                  <a:lnTo>
                    <a:pt x="629888" y="6191"/>
                  </a:lnTo>
                  <a:lnTo>
                    <a:pt x="627983" y="3238"/>
                  </a:lnTo>
                  <a:lnTo>
                    <a:pt x="623221" y="3810"/>
                  </a:lnTo>
                  <a:lnTo>
                    <a:pt x="623411" y="5429"/>
                  </a:lnTo>
                  <a:lnTo>
                    <a:pt x="626745" y="6572"/>
                  </a:lnTo>
                  <a:lnTo>
                    <a:pt x="628745" y="9525"/>
                  </a:lnTo>
                  <a:lnTo>
                    <a:pt x="619887" y="28289"/>
                  </a:lnTo>
                  <a:lnTo>
                    <a:pt x="623507" y="31052"/>
                  </a:lnTo>
                  <a:lnTo>
                    <a:pt x="631127" y="28480"/>
                  </a:lnTo>
                  <a:lnTo>
                    <a:pt x="631603" y="31623"/>
                  </a:lnTo>
                  <a:lnTo>
                    <a:pt x="633317" y="32956"/>
                  </a:lnTo>
                  <a:lnTo>
                    <a:pt x="633984" y="37719"/>
                  </a:lnTo>
                  <a:lnTo>
                    <a:pt x="631222" y="41243"/>
                  </a:lnTo>
                  <a:lnTo>
                    <a:pt x="630460" y="47815"/>
                  </a:lnTo>
                  <a:lnTo>
                    <a:pt x="624269" y="50197"/>
                  </a:lnTo>
                  <a:lnTo>
                    <a:pt x="622935" y="51911"/>
                  </a:lnTo>
                  <a:lnTo>
                    <a:pt x="619220" y="47625"/>
                  </a:lnTo>
                  <a:lnTo>
                    <a:pt x="617411" y="46292"/>
                  </a:lnTo>
                  <a:lnTo>
                    <a:pt x="621792" y="55340"/>
                  </a:lnTo>
                  <a:lnTo>
                    <a:pt x="620363" y="57055"/>
                  </a:lnTo>
                  <a:lnTo>
                    <a:pt x="615410" y="56102"/>
                  </a:lnTo>
                  <a:lnTo>
                    <a:pt x="610934" y="58293"/>
                  </a:lnTo>
                  <a:lnTo>
                    <a:pt x="604361" y="57531"/>
                  </a:lnTo>
                  <a:lnTo>
                    <a:pt x="602837" y="57721"/>
                  </a:lnTo>
                  <a:lnTo>
                    <a:pt x="603599" y="64008"/>
                  </a:lnTo>
                  <a:lnTo>
                    <a:pt x="598932" y="64675"/>
                  </a:lnTo>
                  <a:lnTo>
                    <a:pt x="598075" y="58293"/>
                  </a:lnTo>
                  <a:lnTo>
                    <a:pt x="597122" y="63246"/>
                  </a:lnTo>
                  <a:lnTo>
                    <a:pt x="593789" y="62103"/>
                  </a:lnTo>
                  <a:lnTo>
                    <a:pt x="591788" y="59150"/>
                  </a:lnTo>
                  <a:lnTo>
                    <a:pt x="585502" y="59912"/>
                  </a:lnTo>
                  <a:lnTo>
                    <a:pt x="589026" y="62675"/>
                  </a:lnTo>
                  <a:lnTo>
                    <a:pt x="586073" y="64675"/>
                  </a:lnTo>
                  <a:lnTo>
                    <a:pt x="584930" y="68008"/>
                  </a:lnTo>
                  <a:lnTo>
                    <a:pt x="588264" y="69247"/>
                  </a:lnTo>
                  <a:lnTo>
                    <a:pt x="591788" y="71914"/>
                  </a:lnTo>
                  <a:lnTo>
                    <a:pt x="588645" y="72390"/>
                  </a:lnTo>
                  <a:lnTo>
                    <a:pt x="593598" y="86201"/>
                  </a:lnTo>
                  <a:lnTo>
                    <a:pt x="593979" y="89344"/>
                  </a:lnTo>
                  <a:lnTo>
                    <a:pt x="589312" y="89916"/>
                  </a:lnTo>
                  <a:lnTo>
                    <a:pt x="584168" y="100203"/>
                  </a:lnTo>
                  <a:lnTo>
                    <a:pt x="585407" y="109633"/>
                  </a:lnTo>
                  <a:lnTo>
                    <a:pt x="589598" y="117157"/>
                  </a:lnTo>
                  <a:lnTo>
                    <a:pt x="586550" y="119158"/>
                  </a:lnTo>
                  <a:lnTo>
                    <a:pt x="582073" y="121348"/>
                  </a:lnTo>
                  <a:lnTo>
                    <a:pt x="570167" y="116396"/>
                  </a:lnTo>
                  <a:lnTo>
                    <a:pt x="560927" y="106394"/>
                  </a:lnTo>
                  <a:lnTo>
                    <a:pt x="555593" y="102203"/>
                  </a:lnTo>
                  <a:lnTo>
                    <a:pt x="553593" y="99250"/>
                  </a:lnTo>
                  <a:lnTo>
                    <a:pt x="554546" y="94298"/>
                  </a:lnTo>
                  <a:lnTo>
                    <a:pt x="553022" y="94583"/>
                  </a:lnTo>
                  <a:lnTo>
                    <a:pt x="552641" y="104204"/>
                  </a:lnTo>
                  <a:lnTo>
                    <a:pt x="550831" y="102870"/>
                  </a:lnTo>
                  <a:lnTo>
                    <a:pt x="550069" y="96488"/>
                  </a:lnTo>
                  <a:lnTo>
                    <a:pt x="548259" y="95155"/>
                  </a:lnTo>
                  <a:lnTo>
                    <a:pt x="546640" y="95345"/>
                  </a:lnTo>
                  <a:lnTo>
                    <a:pt x="544735" y="92392"/>
                  </a:lnTo>
                  <a:lnTo>
                    <a:pt x="543116" y="92583"/>
                  </a:lnTo>
                  <a:lnTo>
                    <a:pt x="539591" y="89821"/>
                  </a:lnTo>
                  <a:lnTo>
                    <a:pt x="539782" y="91440"/>
                  </a:lnTo>
                  <a:lnTo>
                    <a:pt x="538163" y="91631"/>
                  </a:lnTo>
                  <a:lnTo>
                    <a:pt x="537401" y="85344"/>
                  </a:lnTo>
                  <a:lnTo>
                    <a:pt x="535781" y="85534"/>
                  </a:lnTo>
                  <a:lnTo>
                    <a:pt x="534448" y="87249"/>
                  </a:lnTo>
                  <a:lnTo>
                    <a:pt x="527685" y="84963"/>
                  </a:lnTo>
                  <a:lnTo>
                    <a:pt x="529304" y="84773"/>
                  </a:lnTo>
                  <a:lnTo>
                    <a:pt x="528923" y="81534"/>
                  </a:lnTo>
                  <a:lnTo>
                    <a:pt x="521399" y="85725"/>
                  </a:lnTo>
                  <a:lnTo>
                    <a:pt x="516446" y="84773"/>
                  </a:lnTo>
                  <a:lnTo>
                    <a:pt x="516636" y="86296"/>
                  </a:lnTo>
                  <a:lnTo>
                    <a:pt x="512921" y="82010"/>
                  </a:lnTo>
                  <a:lnTo>
                    <a:pt x="508730" y="87344"/>
                  </a:lnTo>
                  <a:lnTo>
                    <a:pt x="503206" y="81629"/>
                  </a:lnTo>
                  <a:lnTo>
                    <a:pt x="500444" y="85154"/>
                  </a:lnTo>
                  <a:lnTo>
                    <a:pt x="496919" y="82486"/>
                  </a:lnTo>
                  <a:lnTo>
                    <a:pt x="496157" y="76105"/>
                  </a:lnTo>
                  <a:lnTo>
                    <a:pt x="494729" y="77915"/>
                  </a:lnTo>
                  <a:lnTo>
                    <a:pt x="493967" y="71628"/>
                  </a:lnTo>
                  <a:lnTo>
                    <a:pt x="488252" y="77152"/>
                  </a:lnTo>
                  <a:lnTo>
                    <a:pt x="486823" y="78962"/>
                  </a:lnTo>
                  <a:lnTo>
                    <a:pt x="483870" y="80867"/>
                  </a:lnTo>
                  <a:lnTo>
                    <a:pt x="483679" y="79343"/>
                  </a:lnTo>
                  <a:lnTo>
                    <a:pt x="482346" y="81058"/>
                  </a:lnTo>
                  <a:lnTo>
                    <a:pt x="483489" y="90583"/>
                  </a:lnTo>
                  <a:lnTo>
                    <a:pt x="478822" y="91154"/>
                  </a:lnTo>
                  <a:lnTo>
                    <a:pt x="473678" y="88582"/>
                  </a:lnTo>
                  <a:lnTo>
                    <a:pt x="471106" y="93726"/>
                  </a:lnTo>
                  <a:lnTo>
                    <a:pt x="472916" y="95155"/>
                  </a:lnTo>
                  <a:lnTo>
                    <a:pt x="476060" y="94679"/>
                  </a:lnTo>
                  <a:lnTo>
                    <a:pt x="476250" y="96298"/>
                  </a:lnTo>
                  <a:lnTo>
                    <a:pt x="472059" y="101632"/>
                  </a:lnTo>
                  <a:lnTo>
                    <a:pt x="463772" y="99536"/>
                  </a:lnTo>
                  <a:lnTo>
                    <a:pt x="460820" y="101441"/>
                  </a:lnTo>
                  <a:lnTo>
                    <a:pt x="459867" y="106394"/>
                  </a:lnTo>
                  <a:lnTo>
                    <a:pt x="456914" y="108394"/>
                  </a:lnTo>
                  <a:lnTo>
                    <a:pt x="450437" y="107632"/>
                  </a:lnTo>
                  <a:lnTo>
                    <a:pt x="451009" y="112300"/>
                  </a:lnTo>
                  <a:lnTo>
                    <a:pt x="448247" y="115919"/>
                  </a:lnTo>
                  <a:lnTo>
                    <a:pt x="443294" y="114967"/>
                  </a:lnTo>
                  <a:lnTo>
                    <a:pt x="443484" y="116491"/>
                  </a:lnTo>
                  <a:lnTo>
                    <a:pt x="439007" y="118681"/>
                  </a:lnTo>
                  <a:lnTo>
                    <a:pt x="439388" y="121825"/>
                  </a:lnTo>
                  <a:lnTo>
                    <a:pt x="436626" y="125444"/>
                  </a:lnTo>
                  <a:lnTo>
                    <a:pt x="432911" y="121063"/>
                  </a:lnTo>
                  <a:lnTo>
                    <a:pt x="423386" y="122301"/>
                  </a:lnTo>
                  <a:lnTo>
                    <a:pt x="425006" y="134874"/>
                  </a:lnTo>
                  <a:lnTo>
                    <a:pt x="421862" y="135350"/>
                  </a:lnTo>
                  <a:lnTo>
                    <a:pt x="423291" y="133540"/>
                  </a:lnTo>
                  <a:lnTo>
                    <a:pt x="418148" y="130969"/>
                  </a:lnTo>
                  <a:lnTo>
                    <a:pt x="415766" y="137731"/>
                  </a:lnTo>
                  <a:lnTo>
                    <a:pt x="405670" y="134207"/>
                  </a:lnTo>
                  <a:lnTo>
                    <a:pt x="397764" y="135160"/>
                  </a:lnTo>
                  <a:lnTo>
                    <a:pt x="393478" y="138970"/>
                  </a:lnTo>
                  <a:lnTo>
                    <a:pt x="392906" y="146971"/>
                  </a:lnTo>
                  <a:lnTo>
                    <a:pt x="400812" y="158877"/>
                  </a:lnTo>
                  <a:lnTo>
                    <a:pt x="400812" y="158877"/>
                  </a:lnTo>
                  <a:lnTo>
                    <a:pt x="401193" y="162020"/>
                  </a:lnTo>
                  <a:lnTo>
                    <a:pt x="397859" y="160782"/>
                  </a:lnTo>
                  <a:lnTo>
                    <a:pt x="394907" y="162782"/>
                  </a:lnTo>
                  <a:lnTo>
                    <a:pt x="398240" y="163925"/>
                  </a:lnTo>
                  <a:lnTo>
                    <a:pt x="393764" y="166116"/>
                  </a:lnTo>
                  <a:lnTo>
                    <a:pt x="398907" y="168688"/>
                  </a:lnTo>
                  <a:lnTo>
                    <a:pt x="399479" y="173450"/>
                  </a:lnTo>
                  <a:lnTo>
                    <a:pt x="395288" y="178784"/>
                  </a:lnTo>
                  <a:lnTo>
                    <a:pt x="393954" y="180594"/>
                  </a:lnTo>
                  <a:lnTo>
                    <a:pt x="390620" y="179356"/>
                  </a:lnTo>
                  <a:lnTo>
                    <a:pt x="387858" y="182975"/>
                  </a:lnTo>
                  <a:lnTo>
                    <a:pt x="384905" y="184880"/>
                  </a:lnTo>
                  <a:lnTo>
                    <a:pt x="380714" y="190310"/>
                  </a:lnTo>
                  <a:lnTo>
                    <a:pt x="377571" y="190690"/>
                  </a:lnTo>
                  <a:lnTo>
                    <a:pt x="377762" y="192215"/>
                  </a:lnTo>
                  <a:lnTo>
                    <a:pt x="378047" y="193834"/>
                  </a:lnTo>
                  <a:lnTo>
                    <a:pt x="371285" y="191452"/>
                  </a:lnTo>
                  <a:lnTo>
                    <a:pt x="372142" y="197739"/>
                  </a:lnTo>
                  <a:lnTo>
                    <a:pt x="372332" y="199358"/>
                  </a:lnTo>
                  <a:lnTo>
                    <a:pt x="368903" y="198215"/>
                  </a:lnTo>
                  <a:lnTo>
                    <a:pt x="360236" y="192881"/>
                  </a:lnTo>
                  <a:lnTo>
                    <a:pt x="356521" y="188500"/>
                  </a:lnTo>
                  <a:lnTo>
                    <a:pt x="356045" y="185356"/>
                  </a:lnTo>
                  <a:lnTo>
                    <a:pt x="350901" y="182785"/>
                  </a:lnTo>
                  <a:lnTo>
                    <a:pt x="344424" y="182023"/>
                  </a:lnTo>
                  <a:lnTo>
                    <a:pt x="337757" y="192500"/>
                  </a:lnTo>
                  <a:lnTo>
                    <a:pt x="327851" y="190595"/>
                  </a:lnTo>
                  <a:lnTo>
                    <a:pt x="321564" y="191357"/>
                  </a:lnTo>
                  <a:lnTo>
                    <a:pt x="318611" y="193357"/>
                  </a:lnTo>
                  <a:lnTo>
                    <a:pt x="317564" y="185452"/>
                  </a:lnTo>
                  <a:lnTo>
                    <a:pt x="310515" y="179927"/>
                  </a:lnTo>
                  <a:lnTo>
                    <a:pt x="304610" y="183928"/>
                  </a:lnTo>
                  <a:lnTo>
                    <a:pt x="299466" y="181356"/>
                  </a:lnTo>
                  <a:lnTo>
                    <a:pt x="299847" y="184499"/>
                  </a:lnTo>
                  <a:lnTo>
                    <a:pt x="296704" y="184976"/>
                  </a:lnTo>
                  <a:lnTo>
                    <a:pt x="294704" y="182023"/>
                  </a:lnTo>
                  <a:lnTo>
                    <a:pt x="295847" y="178594"/>
                  </a:lnTo>
                  <a:lnTo>
                    <a:pt x="292894" y="180594"/>
                  </a:lnTo>
                  <a:lnTo>
                    <a:pt x="293942" y="175641"/>
                  </a:lnTo>
                  <a:lnTo>
                    <a:pt x="290513" y="174498"/>
                  </a:lnTo>
                  <a:lnTo>
                    <a:pt x="284226" y="175260"/>
                  </a:lnTo>
                  <a:lnTo>
                    <a:pt x="280702" y="172498"/>
                  </a:lnTo>
                  <a:lnTo>
                    <a:pt x="275749" y="171545"/>
                  </a:lnTo>
                  <a:lnTo>
                    <a:pt x="274796" y="176498"/>
                  </a:lnTo>
                  <a:lnTo>
                    <a:pt x="270224" y="178689"/>
                  </a:lnTo>
                  <a:lnTo>
                    <a:pt x="264509" y="184214"/>
                  </a:lnTo>
                  <a:lnTo>
                    <a:pt x="260794" y="179927"/>
                  </a:lnTo>
                  <a:lnTo>
                    <a:pt x="258794" y="176974"/>
                  </a:lnTo>
                  <a:lnTo>
                    <a:pt x="257365" y="178689"/>
                  </a:lnTo>
                  <a:lnTo>
                    <a:pt x="256032" y="180499"/>
                  </a:lnTo>
                  <a:lnTo>
                    <a:pt x="249936" y="182880"/>
                  </a:lnTo>
                  <a:lnTo>
                    <a:pt x="244602" y="178784"/>
                  </a:lnTo>
                  <a:lnTo>
                    <a:pt x="243364" y="182118"/>
                  </a:lnTo>
                  <a:lnTo>
                    <a:pt x="234982" y="191167"/>
                  </a:lnTo>
                  <a:lnTo>
                    <a:pt x="230219" y="191833"/>
                  </a:lnTo>
                  <a:lnTo>
                    <a:pt x="223266" y="187833"/>
                  </a:lnTo>
                  <a:lnTo>
                    <a:pt x="216599" y="185547"/>
                  </a:lnTo>
                  <a:lnTo>
                    <a:pt x="215170" y="187261"/>
                  </a:lnTo>
                  <a:lnTo>
                    <a:pt x="220694" y="192977"/>
                  </a:lnTo>
                  <a:lnTo>
                    <a:pt x="221933" y="202502"/>
                  </a:lnTo>
                  <a:lnTo>
                    <a:pt x="207550" y="202692"/>
                  </a:lnTo>
                  <a:lnTo>
                    <a:pt x="195072" y="205931"/>
                  </a:lnTo>
                  <a:lnTo>
                    <a:pt x="195358" y="207455"/>
                  </a:lnTo>
                  <a:lnTo>
                    <a:pt x="198882" y="210217"/>
                  </a:lnTo>
                  <a:lnTo>
                    <a:pt x="200311" y="221266"/>
                  </a:lnTo>
                  <a:lnTo>
                    <a:pt x="200882" y="226028"/>
                  </a:lnTo>
                  <a:lnTo>
                    <a:pt x="192596" y="223837"/>
                  </a:lnTo>
                  <a:lnTo>
                    <a:pt x="193929" y="222123"/>
                  </a:lnTo>
                  <a:lnTo>
                    <a:pt x="192024" y="219170"/>
                  </a:lnTo>
                  <a:lnTo>
                    <a:pt x="190214" y="204883"/>
                  </a:lnTo>
                  <a:lnTo>
                    <a:pt x="184594" y="199168"/>
                  </a:lnTo>
                  <a:lnTo>
                    <a:pt x="174593" y="195644"/>
                  </a:lnTo>
                  <a:lnTo>
                    <a:pt x="160401" y="197453"/>
                  </a:lnTo>
                  <a:lnTo>
                    <a:pt x="160782" y="200692"/>
                  </a:lnTo>
                  <a:lnTo>
                    <a:pt x="157448" y="199453"/>
                  </a:lnTo>
                  <a:lnTo>
                    <a:pt x="157829" y="202597"/>
                  </a:lnTo>
                  <a:lnTo>
                    <a:pt x="153067" y="203264"/>
                  </a:lnTo>
                  <a:lnTo>
                    <a:pt x="150114" y="205169"/>
                  </a:lnTo>
                  <a:lnTo>
                    <a:pt x="149924" y="216408"/>
                  </a:lnTo>
                  <a:lnTo>
                    <a:pt x="143256" y="214122"/>
                  </a:lnTo>
                  <a:lnTo>
                    <a:pt x="139351" y="220980"/>
                  </a:lnTo>
                  <a:lnTo>
                    <a:pt x="136684" y="213360"/>
                  </a:lnTo>
                  <a:lnTo>
                    <a:pt x="129635" y="207836"/>
                  </a:lnTo>
                  <a:lnTo>
                    <a:pt x="118586" y="209264"/>
                  </a:lnTo>
                  <a:lnTo>
                    <a:pt x="108490" y="205740"/>
                  </a:lnTo>
                  <a:lnTo>
                    <a:pt x="106299" y="214027"/>
                  </a:lnTo>
                  <a:lnTo>
                    <a:pt x="100870" y="221075"/>
                  </a:lnTo>
                  <a:lnTo>
                    <a:pt x="97631" y="221552"/>
                  </a:lnTo>
                  <a:lnTo>
                    <a:pt x="87630" y="230791"/>
                  </a:lnTo>
                  <a:lnTo>
                    <a:pt x="85058" y="235934"/>
                  </a:lnTo>
                  <a:lnTo>
                    <a:pt x="86106" y="243840"/>
                  </a:lnTo>
                  <a:lnTo>
                    <a:pt x="82201" y="250793"/>
                  </a:lnTo>
                  <a:lnTo>
                    <a:pt x="79820" y="257461"/>
                  </a:lnTo>
                  <a:lnTo>
                    <a:pt x="70295" y="258699"/>
                  </a:lnTo>
                  <a:lnTo>
                    <a:pt x="70009" y="281178"/>
                  </a:lnTo>
                  <a:lnTo>
                    <a:pt x="68199" y="279749"/>
                  </a:lnTo>
                  <a:lnTo>
                    <a:pt x="64865" y="278606"/>
                  </a:lnTo>
                  <a:lnTo>
                    <a:pt x="62865" y="275653"/>
                  </a:lnTo>
                  <a:lnTo>
                    <a:pt x="59722" y="276035"/>
                  </a:lnTo>
                  <a:lnTo>
                    <a:pt x="55626" y="281369"/>
                  </a:lnTo>
                  <a:lnTo>
                    <a:pt x="51435" y="286703"/>
                  </a:lnTo>
                  <a:lnTo>
                    <a:pt x="54007" y="294418"/>
                  </a:lnTo>
                  <a:lnTo>
                    <a:pt x="53245" y="300990"/>
                  </a:lnTo>
                  <a:lnTo>
                    <a:pt x="50959" y="307657"/>
                  </a:lnTo>
                  <a:lnTo>
                    <a:pt x="46387" y="309848"/>
                  </a:lnTo>
                  <a:lnTo>
                    <a:pt x="45053" y="311658"/>
                  </a:lnTo>
                  <a:lnTo>
                    <a:pt x="49816" y="323850"/>
                  </a:lnTo>
                  <a:lnTo>
                    <a:pt x="45625" y="329184"/>
                  </a:lnTo>
                  <a:lnTo>
                    <a:pt x="52578" y="333089"/>
                  </a:lnTo>
                  <a:lnTo>
                    <a:pt x="51340" y="336423"/>
                  </a:lnTo>
                  <a:lnTo>
                    <a:pt x="50197" y="339852"/>
                  </a:lnTo>
                  <a:lnTo>
                    <a:pt x="48196" y="336899"/>
                  </a:lnTo>
                  <a:lnTo>
                    <a:pt x="3524" y="363379"/>
                  </a:lnTo>
                  <a:lnTo>
                    <a:pt x="0" y="373475"/>
                  </a:lnTo>
                  <a:lnTo>
                    <a:pt x="2381" y="379571"/>
                  </a:lnTo>
                  <a:lnTo>
                    <a:pt x="1333" y="384524"/>
                  </a:lnTo>
                  <a:lnTo>
                    <a:pt x="3715" y="390620"/>
                  </a:lnTo>
                  <a:lnTo>
                    <a:pt x="7525" y="395002"/>
                  </a:lnTo>
                  <a:lnTo>
                    <a:pt x="6382" y="398336"/>
                  </a:lnTo>
                  <a:lnTo>
                    <a:pt x="14669" y="400526"/>
                  </a:lnTo>
                  <a:lnTo>
                    <a:pt x="16573" y="403479"/>
                  </a:lnTo>
                  <a:lnTo>
                    <a:pt x="17621" y="411290"/>
                  </a:lnTo>
                  <a:lnTo>
                    <a:pt x="24765" y="429673"/>
                  </a:lnTo>
                  <a:lnTo>
                    <a:pt x="30099" y="433769"/>
                  </a:lnTo>
                  <a:lnTo>
                    <a:pt x="38195" y="434340"/>
                  </a:lnTo>
                  <a:lnTo>
                    <a:pt x="55626" y="445008"/>
                  </a:lnTo>
                  <a:lnTo>
                    <a:pt x="56388" y="451294"/>
                  </a:lnTo>
                  <a:lnTo>
                    <a:pt x="63341" y="455200"/>
                  </a:lnTo>
                  <a:lnTo>
                    <a:pt x="68008" y="454628"/>
                  </a:lnTo>
                  <a:lnTo>
                    <a:pt x="69818" y="455962"/>
                  </a:lnTo>
                  <a:lnTo>
                    <a:pt x="77533" y="453390"/>
                  </a:lnTo>
                  <a:lnTo>
                    <a:pt x="82487" y="454343"/>
                  </a:lnTo>
                  <a:lnTo>
                    <a:pt x="82106" y="464058"/>
                  </a:lnTo>
                  <a:lnTo>
                    <a:pt x="87058" y="477869"/>
                  </a:lnTo>
                  <a:lnTo>
                    <a:pt x="81534" y="485013"/>
                  </a:lnTo>
                  <a:lnTo>
                    <a:pt x="84106" y="492633"/>
                  </a:lnTo>
                  <a:lnTo>
                    <a:pt x="78391" y="498253"/>
                  </a:lnTo>
                  <a:lnTo>
                    <a:pt x="77248" y="501586"/>
                  </a:lnTo>
                  <a:lnTo>
                    <a:pt x="79248" y="504539"/>
                  </a:lnTo>
                  <a:lnTo>
                    <a:pt x="84106" y="505492"/>
                  </a:lnTo>
                  <a:lnTo>
                    <a:pt x="85916" y="506825"/>
                  </a:lnTo>
                  <a:lnTo>
                    <a:pt x="84773" y="510254"/>
                  </a:lnTo>
                  <a:lnTo>
                    <a:pt x="80582" y="515588"/>
                  </a:lnTo>
                  <a:lnTo>
                    <a:pt x="81439" y="521875"/>
                  </a:lnTo>
                  <a:lnTo>
                    <a:pt x="89726" y="524065"/>
                  </a:lnTo>
                  <a:lnTo>
                    <a:pt x="88297" y="525780"/>
                  </a:lnTo>
                  <a:lnTo>
                    <a:pt x="83820" y="527971"/>
                  </a:lnTo>
                  <a:lnTo>
                    <a:pt x="84392" y="532733"/>
                  </a:lnTo>
                  <a:lnTo>
                    <a:pt x="90964" y="533495"/>
                  </a:lnTo>
                  <a:lnTo>
                    <a:pt x="96869" y="529495"/>
                  </a:lnTo>
                  <a:lnTo>
                    <a:pt x="104965" y="530066"/>
                  </a:lnTo>
                  <a:lnTo>
                    <a:pt x="106870" y="533114"/>
                  </a:lnTo>
                  <a:lnTo>
                    <a:pt x="105537" y="534829"/>
                  </a:lnTo>
                  <a:lnTo>
                    <a:pt x="104108" y="536639"/>
                  </a:lnTo>
                  <a:lnTo>
                    <a:pt x="108299" y="544068"/>
                  </a:lnTo>
                  <a:lnTo>
                    <a:pt x="108585" y="558546"/>
                  </a:lnTo>
                  <a:lnTo>
                    <a:pt x="118205" y="571690"/>
                  </a:lnTo>
                  <a:lnTo>
                    <a:pt x="114110" y="589883"/>
                  </a:lnTo>
                  <a:lnTo>
                    <a:pt x="115729" y="602456"/>
                  </a:lnTo>
                  <a:lnTo>
                    <a:pt x="119348" y="605219"/>
                  </a:lnTo>
                  <a:lnTo>
                    <a:pt x="121920" y="612934"/>
                  </a:lnTo>
                  <a:lnTo>
                    <a:pt x="126016" y="620458"/>
                  </a:lnTo>
                  <a:lnTo>
                    <a:pt x="129445" y="621602"/>
                  </a:lnTo>
                  <a:lnTo>
                    <a:pt x="125254" y="626936"/>
                  </a:lnTo>
                  <a:lnTo>
                    <a:pt x="135922" y="635222"/>
                  </a:lnTo>
                  <a:lnTo>
                    <a:pt x="140875" y="636175"/>
                  </a:lnTo>
                  <a:lnTo>
                    <a:pt x="142875" y="639128"/>
                  </a:lnTo>
                  <a:lnTo>
                    <a:pt x="145828" y="637127"/>
                  </a:lnTo>
                  <a:lnTo>
                    <a:pt x="147828" y="640080"/>
                  </a:lnTo>
                  <a:lnTo>
                    <a:pt x="152495" y="639508"/>
                  </a:lnTo>
                  <a:lnTo>
                    <a:pt x="153734" y="636175"/>
                  </a:lnTo>
                  <a:lnTo>
                    <a:pt x="158210" y="633984"/>
                  </a:lnTo>
                  <a:lnTo>
                    <a:pt x="162973" y="646176"/>
                  </a:lnTo>
                  <a:lnTo>
                    <a:pt x="162020" y="651129"/>
                  </a:lnTo>
                  <a:lnTo>
                    <a:pt x="161639" y="660845"/>
                  </a:lnTo>
                  <a:lnTo>
                    <a:pt x="159544" y="669131"/>
                  </a:lnTo>
                  <a:lnTo>
                    <a:pt x="162306" y="678370"/>
                  </a:lnTo>
                  <a:lnTo>
                    <a:pt x="161735" y="686467"/>
                  </a:lnTo>
                  <a:lnTo>
                    <a:pt x="153638" y="698754"/>
                  </a:lnTo>
                  <a:lnTo>
                    <a:pt x="156782" y="698278"/>
                  </a:lnTo>
                  <a:lnTo>
                    <a:pt x="161163" y="707327"/>
                  </a:lnTo>
                  <a:lnTo>
                    <a:pt x="164497" y="708565"/>
                  </a:lnTo>
                  <a:lnTo>
                    <a:pt x="170116" y="727043"/>
                  </a:lnTo>
                  <a:lnTo>
                    <a:pt x="168974" y="730472"/>
                  </a:lnTo>
                  <a:lnTo>
                    <a:pt x="170307" y="741521"/>
                  </a:lnTo>
                  <a:lnTo>
                    <a:pt x="167831" y="746665"/>
                  </a:lnTo>
                  <a:lnTo>
                    <a:pt x="185166" y="757237"/>
                  </a:lnTo>
                  <a:lnTo>
                    <a:pt x="206312" y="759333"/>
                  </a:lnTo>
                  <a:lnTo>
                    <a:pt x="209455" y="771811"/>
                  </a:lnTo>
                  <a:lnTo>
                    <a:pt x="222885" y="776478"/>
                  </a:lnTo>
                  <a:lnTo>
                    <a:pt x="239744" y="795147"/>
                  </a:lnTo>
                  <a:lnTo>
                    <a:pt x="241554" y="809435"/>
                  </a:lnTo>
                  <a:lnTo>
                    <a:pt x="239363" y="817721"/>
                  </a:lnTo>
                  <a:lnTo>
                    <a:pt x="245745" y="829723"/>
                  </a:lnTo>
                  <a:lnTo>
                    <a:pt x="252413" y="832009"/>
                  </a:lnTo>
                  <a:lnTo>
                    <a:pt x="254603" y="836581"/>
                  </a:lnTo>
                  <a:lnTo>
                    <a:pt x="252698" y="846487"/>
                  </a:lnTo>
                  <a:lnTo>
                    <a:pt x="253079" y="849630"/>
                  </a:lnTo>
                  <a:lnTo>
                    <a:pt x="256413" y="850773"/>
                  </a:lnTo>
                  <a:lnTo>
                    <a:pt x="266700" y="855916"/>
                  </a:lnTo>
                  <a:lnTo>
                    <a:pt x="276797" y="859441"/>
                  </a:lnTo>
                  <a:lnTo>
                    <a:pt x="294323" y="858774"/>
                  </a:lnTo>
                  <a:lnTo>
                    <a:pt x="299085" y="858203"/>
                  </a:lnTo>
                  <a:lnTo>
                    <a:pt x="300419" y="856393"/>
                  </a:lnTo>
                  <a:lnTo>
                    <a:pt x="302038" y="856202"/>
                  </a:lnTo>
                  <a:lnTo>
                    <a:pt x="306229" y="863727"/>
                  </a:lnTo>
                  <a:lnTo>
                    <a:pt x="310706" y="861536"/>
                  </a:lnTo>
                  <a:lnTo>
                    <a:pt x="321374" y="869823"/>
                  </a:lnTo>
                  <a:lnTo>
                    <a:pt x="329660" y="871919"/>
                  </a:lnTo>
                  <a:lnTo>
                    <a:pt x="328517" y="862489"/>
                  </a:lnTo>
                  <a:lnTo>
                    <a:pt x="326136" y="856393"/>
                  </a:lnTo>
                  <a:lnTo>
                    <a:pt x="325279" y="850011"/>
                  </a:lnTo>
                  <a:lnTo>
                    <a:pt x="341662" y="852773"/>
                  </a:lnTo>
                  <a:lnTo>
                    <a:pt x="348615" y="856678"/>
                  </a:lnTo>
                  <a:lnTo>
                    <a:pt x="352139" y="859441"/>
                  </a:lnTo>
                  <a:lnTo>
                    <a:pt x="359855" y="856869"/>
                  </a:lnTo>
                  <a:lnTo>
                    <a:pt x="366808" y="860774"/>
                  </a:lnTo>
                  <a:lnTo>
                    <a:pt x="371475" y="860203"/>
                  </a:lnTo>
                  <a:lnTo>
                    <a:pt x="374809" y="861346"/>
                  </a:lnTo>
                  <a:lnTo>
                    <a:pt x="380429" y="867061"/>
                  </a:lnTo>
                  <a:lnTo>
                    <a:pt x="383572" y="866680"/>
                  </a:lnTo>
                  <a:lnTo>
                    <a:pt x="390430" y="870585"/>
                  </a:lnTo>
                  <a:lnTo>
                    <a:pt x="400145" y="883825"/>
                  </a:lnTo>
                  <a:lnTo>
                    <a:pt x="404336" y="891254"/>
                  </a:lnTo>
                  <a:lnTo>
                    <a:pt x="411671" y="898398"/>
                  </a:lnTo>
                  <a:lnTo>
                    <a:pt x="414052" y="904494"/>
                  </a:lnTo>
                  <a:lnTo>
                    <a:pt x="428816" y="907447"/>
                  </a:lnTo>
                  <a:lnTo>
                    <a:pt x="429673" y="926592"/>
                  </a:lnTo>
                  <a:lnTo>
                    <a:pt x="428339" y="928307"/>
                  </a:lnTo>
                  <a:lnTo>
                    <a:pt x="425958" y="935069"/>
                  </a:lnTo>
                  <a:lnTo>
                    <a:pt x="431292" y="952024"/>
                  </a:lnTo>
                  <a:lnTo>
                    <a:pt x="445960" y="953357"/>
                  </a:lnTo>
                  <a:lnTo>
                    <a:pt x="447866" y="956310"/>
                  </a:lnTo>
                  <a:lnTo>
                    <a:pt x="446913" y="961263"/>
                  </a:lnTo>
                  <a:lnTo>
                    <a:pt x="449294" y="967359"/>
                  </a:lnTo>
                  <a:lnTo>
                    <a:pt x="454438" y="969931"/>
                  </a:lnTo>
                  <a:lnTo>
                    <a:pt x="458152" y="974217"/>
                  </a:lnTo>
                  <a:lnTo>
                    <a:pt x="464534" y="973455"/>
                  </a:lnTo>
                  <a:lnTo>
                    <a:pt x="466725" y="977932"/>
                  </a:lnTo>
                  <a:lnTo>
                    <a:pt x="469106" y="984028"/>
                  </a:lnTo>
                  <a:lnTo>
                    <a:pt x="467106" y="993934"/>
                  </a:lnTo>
                  <a:lnTo>
                    <a:pt x="486537" y="1007555"/>
                  </a:lnTo>
                  <a:lnTo>
                    <a:pt x="485966" y="1015651"/>
                  </a:lnTo>
                  <a:lnTo>
                    <a:pt x="483394" y="1020699"/>
                  </a:lnTo>
                  <a:lnTo>
                    <a:pt x="483775" y="1023937"/>
                  </a:lnTo>
                  <a:lnTo>
                    <a:pt x="492824" y="1032320"/>
                  </a:lnTo>
                  <a:lnTo>
                    <a:pt x="497586" y="1031748"/>
                  </a:lnTo>
                  <a:lnTo>
                    <a:pt x="503301" y="1039082"/>
                  </a:lnTo>
                  <a:lnTo>
                    <a:pt x="505111" y="1040416"/>
                  </a:lnTo>
                  <a:lnTo>
                    <a:pt x="509302" y="1047940"/>
                  </a:lnTo>
                  <a:lnTo>
                    <a:pt x="520351" y="1059371"/>
                  </a:lnTo>
                  <a:lnTo>
                    <a:pt x="526828" y="1060133"/>
                  </a:lnTo>
                  <a:lnTo>
                    <a:pt x="528828" y="1063085"/>
                  </a:lnTo>
                  <a:lnTo>
                    <a:pt x="530066" y="1072515"/>
                  </a:lnTo>
                  <a:lnTo>
                    <a:pt x="524732" y="1094041"/>
                  </a:lnTo>
                  <a:lnTo>
                    <a:pt x="534257" y="1105662"/>
                  </a:lnTo>
                  <a:lnTo>
                    <a:pt x="550450" y="1119664"/>
                  </a:lnTo>
                  <a:lnTo>
                    <a:pt x="571024" y="1129856"/>
                  </a:lnTo>
                  <a:lnTo>
                    <a:pt x="587978" y="1124522"/>
                  </a:lnTo>
                  <a:lnTo>
                    <a:pt x="603790" y="1122426"/>
                  </a:lnTo>
                  <a:lnTo>
                    <a:pt x="608933" y="1124998"/>
                  </a:lnTo>
                  <a:lnTo>
                    <a:pt x="623792" y="1140809"/>
                  </a:lnTo>
                  <a:lnTo>
                    <a:pt x="628841" y="1143286"/>
                  </a:lnTo>
                  <a:lnTo>
                    <a:pt x="634270" y="1147477"/>
                  </a:lnTo>
                  <a:lnTo>
                    <a:pt x="634841" y="1152239"/>
                  </a:lnTo>
                  <a:lnTo>
                    <a:pt x="641509" y="1154525"/>
                  </a:lnTo>
                  <a:lnTo>
                    <a:pt x="647319" y="1161860"/>
                  </a:lnTo>
                  <a:lnTo>
                    <a:pt x="649891" y="1169480"/>
                  </a:lnTo>
                  <a:lnTo>
                    <a:pt x="655225" y="1173671"/>
                  </a:lnTo>
                  <a:lnTo>
                    <a:pt x="661130" y="1182529"/>
                  </a:lnTo>
                  <a:lnTo>
                    <a:pt x="662940" y="1183862"/>
                  </a:lnTo>
                  <a:lnTo>
                    <a:pt x="666464" y="1186625"/>
                  </a:lnTo>
                  <a:lnTo>
                    <a:pt x="671227" y="1198912"/>
                  </a:lnTo>
                  <a:lnTo>
                    <a:pt x="675989" y="1198245"/>
                  </a:lnTo>
                  <a:lnTo>
                    <a:pt x="676561" y="1203008"/>
                  </a:lnTo>
                  <a:lnTo>
                    <a:pt x="681323" y="1202436"/>
                  </a:lnTo>
                  <a:lnTo>
                    <a:pt x="684848" y="1205198"/>
                  </a:lnTo>
                  <a:lnTo>
                    <a:pt x="684086" y="1211675"/>
                  </a:lnTo>
                  <a:lnTo>
                    <a:pt x="681323" y="1215200"/>
                  </a:lnTo>
                  <a:lnTo>
                    <a:pt x="681323" y="1215200"/>
                  </a:lnTo>
                  <a:lnTo>
                    <a:pt x="685324" y="1221105"/>
                  </a:lnTo>
                  <a:lnTo>
                    <a:pt x="690467" y="1236536"/>
                  </a:lnTo>
                  <a:lnTo>
                    <a:pt x="687705" y="1240060"/>
                  </a:lnTo>
                  <a:lnTo>
                    <a:pt x="685610" y="1248347"/>
                  </a:lnTo>
                  <a:lnTo>
                    <a:pt x="691706" y="1258824"/>
                  </a:lnTo>
                  <a:lnTo>
                    <a:pt x="691896" y="1260348"/>
                  </a:lnTo>
                  <a:lnTo>
                    <a:pt x="688181" y="1268921"/>
                  </a:lnTo>
                  <a:lnTo>
                    <a:pt x="686276" y="1278731"/>
                  </a:lnTo>
                  <a:lnTo>
                    <a:pt x="703802" y="1290923"/>
                  </a:lnTo>
                  <a:lnTo>
                    <a:pt x="704469" y="1295686"/>
                  </a:lnTo>
                  <a:lnTo>
                    <a:pt x="709327" y="1296638"/>
                  </a:lnTo>
                  <a:lnTo>
                    <a:pt x="716661" y="1303687"/>
                  </a:lnTo>
                  <a:lnTo>
                    <a:pt x="728567" y="1308640"/>
                  </a:lnTo>
                  <a:lnTo>
                    <a:pt x="734282" y="1315974"/>
                  </a:lnTo>
                  <a:lnTo>
                    <a:pt x="744569" y="1321022"/>
                  </a:lnTo>
                  <a:lnTo>
                    <a:pt x="745141" y="1325785"/>
                  </a:lnTo>
                  <a:lnTo>
                    <a:pt x="753999" y="1332643"/>
                  </a:lnTo>
                  <a:lnTo>
                    <a:pt x="761905" y="1331690"/>
                  </a:lnTo>
                  <a:lnTo>
                    <a:pt x="760857" y="1310926"/>
                  </a:lnTo>
                  <a:lnTo>
                    <a:pt x="762857" y="1301020"/>
                  </a:lnTo>
                  <a:lnTo>
                    <a:pt x="767810" y="1302068"/>
                  </a:lnTo>
                  <a:lnTo>
                    <a:pt x="775049" y="1296257"/>
                  </a:lnTo>
                  <a:lnTo>
                    <a:pt x="779812" y="1295686"/>
                  </a:lnTo>
                  <a:lnTo>
                    <a:pt x="788861" y="1304163"/>
                  </a:lnTo>
                  <a:lnTo>
                    <a:pt x="793623" y="1303591"/>
                  </a:lnTo>
                  <a:lnTo>
                    <a:pt x="792671" y="1295686"/>
                  </a:lnTo>
                  <a:lnTo>
                    <a:pt x="793623" y="1290733"/>
                  </a:lnTo>
                  <a:lnTo>
                    <a:pt x="786860" y="1288352"/>
                  </a:lnTo>
                  <a:lnTo>
                    <a:pt x="782955" y="1282446"/>
                  </a:lnTo>
                  <a:lnTo>
                    <a:pt x="785051" y="1274159"/>
                  </a:lnTo>
                  <a:lnTo>
                    <a:pt x="784479" y="1269397"/>
                  </a:lnTo>
                  <a:lnTo>
                    <a:pt x="789813" y="1260729"/>
                  </a:lnTo>
                  <a:lnTo>
                    <a:pt x="789146" y="1255966"/>
                  </a:lnTo>
                  <a:lnTo>
                    <a:pt x="790004" y="1249490"/>
                  </a:lnTo>
                  <a:lnTo>
                    <a:pt x="788003" y="1246537"/>
                  </a:lnTo>
                  <a:lnTo>
                    <a:pt x="796195" y="1235869"/>
                  </a:lnTo>
                  <a:lnTo>
                    <a:pt x="798005" y="1224439"/>
                  </a:lnTo>
                  <a:lnTo>
                    <a:pt x="807625" y="1211961"/>
                  </a:lnTo>
                  <a:lnTo>
                    <a:pt x="807244" y="1208818"/>
                  </a:lnTo>
                  <a:lnTo>
                    <a:pt x="808768" y="1208627"/>
                  </a:lnTo>
                  <a:lnTo>
                    <a:pt x="810768" y="1211580"/>
                  </a:lnTo>
                  <a:lnTo>
                    <a:pt x="814102" y="1212723"/>
                  </a:lnTo>
                  <a:lnTo>
                    <a:pt x="817912" y="1217105"/>
                  </a:lnTo>
                  <a:lnTo>
                    <a:pt x="830675" y="1204246"/>
                  </a:lnTo>
                  <a:lnTo>
                    <a:pt x="832866" y="1195959"/>
                  </a:lnTo>
                  <a:lnTo>
                    <a:pt x="834009" y="1192530"/>
                  </a:lnTo>
                  <a:lnTo>
                    <a:pt x="833247" y="1186244"/>
                  </a:lnTo>
                  <a:lnTo>
                    <a:pt x="825341" y="1174433"/>
                  </a:lnTo>
                  <a:lnTo>
                    <a:pt x="827437" y="1166146"/>
                  </a:lnTo>
                  <a:lnTo>
                    <a:pt x="825437" y="1163193"/>
                  </a:lnTo>
                  <a:lnTo>
                    <a:pt x="818388" y="1157669"/>
                  </a:lnTo>
                  <a:lnTo>
                    <a:pt x="815531" y="1148429"/>
                  </a:lnTo>
                  <a:lnTo>
                    <a:pt x="815340" y="1146810"/>
                  </a:lnTo>
                  <a:lnTo>
                    <a:pt x="826199" y="1143857"/>
                  </a:lnTo>
                  <a:lnTo>
                    <a:pt x="827342" y="1140524"/>
                  </a:lnTo>
                  <a:lnTo>
                    <a:pt x="825818" y="1127855"/>
                  </a:lnTo>
                  <a:lnTo>
                    <a:pt x="822389" y="1126712"/>
                  </a:lnTo>
                  <a:lnTo>
                    <a:pt x="823436" y="1121759"/>
                  </a:lnTo>
                  <a:lnTo>
                    <a:pt x="824579" y="1118426"/>
                  </a:lnTo>
                  <a:lnTo>
                    <a:pt x="824389" y="1116806"/>
                  </a:lnTo>
                  <a:lnTo>
                    <a:pt x="826675" y="1110139"/>
                  </a:lnTo>
                  <a:lnTo>
                    <a:pt x="829723" y="1108139"/>
                  </a:lnTo>
                  <a:lnTo>
                    <a:pt x="831056" y="1106329"/>
                  </a:lnTo>
                  <a:lnTo>
                    <a:pt x="829056" y="1103376"/>
                  </a:lnTo>
                  <a:lnTo>
                    <a:pt x="822389" y="1100995"/>
                  </a:lnTo>
                  <a:lnTo>
                    <a:pt x="822198" y="1099471"/>
                  </a:lnTo>
                  <a:lnTo>
                    <a:pt x="823532" y="1097661"/>
                  </a:lnTo>
                  <a:lnTo>
                    <a:pt x="836581" y="1099185"/>
                  </a:lnTo>
                  <a:lnTo>
                    <a:pt x="836771" y="1100804"/>
                  </a:lnTo>
                  <a:lnTo>
                    <a:pt x="833819" y="1102805"/>
                  </a:lnTo>
                  <a:lnTo>
                    <a:pt x="842296" y="1106519"/>
                  </a:lnTo>
                  <a:lnTo>
                    <a:pt x="847058" y="1105948"/>
                  </a:lnTo>
                  <a:lnTo>
                    <a:pt x="849059" y="1108901"/>
                  </a:lnTo>
                  <a:lnTo>
                    <a:pt x="850964" y="1111853"/>
                  </a:lnTo>
                  <a:lnTo>
                    <a:pt x="861060" y="1102519"/>
                  </a:lnTo>
                  <a:lnTo>
                    <a:pt x="862013" y="1097566"/>
                  </a:lnTo>
                  <a:lnTo>
                    <a:pt x="866966" y="1098518"/>
                  </a:lnTo>
                  <a:lnTo>
                    <a:pt x="869918" y="1096613"/>
                  </a:lnTo>
                  <a:lnTo>
                    <a:pt x="869537" y="1093470"/>
                  </a:lnTo>
                  <a:lnTo>
                    <a:pt x="872490" y="1091470"/>
                  </a:lnTo>
                  <a:lnTo>
                    <a:pt x="871823" y="1086707"/>
                  </a:lnTo>
                  <a:lnTo>
                    <a:pt x="879920" y="1087279"/>
                  </a:lnTo>
                  <a:lnTo>
                    <a:pt x="884301" y="1083564"/>
                  </a:lnTo>
                  <a:lnTo>
                    <a:pt x="886016" y="1084898"/>
                  </a:lnTo>
                  <a:lnTo>
                    <a:pt x="888778" y="1081373"/>
                  </a:lnTo>
                  <a:lnTo>
                    <a:pt x="892397" y="1084136"/>
                  </a:lnTo>
                  <a:lnTo>
                    <a:pt x="893921" y="1083850"/>
                  </a:lnTo>
                  <a:lnTo>
                    <a:pt x="894588" y="1088612"/>
                  </a:lnTo>
                  <a:lnTo>
                    <a:pt x="895731" y="1085279"/>
                  </a:lnTo>
                  <a:lnTo>
                    <a:pt x="898493" y="1081754"/>
                  </a:lnTo>
                  <a:lnTo>
                    <a:pt x="898303" y="1080135"/>
                  </a:lnTo>
                  <a:lnTo>
                    <a:pt x="895350" y="1082135"/>
                  </a:lnTo>
                  <a:lnTo>
                    <a:pt x="895160" y="1080516"/>
                  </a:lnTo>
                  <a:lnTo>
                    <a:pt x="893731" y="1082326"/>
                  </a:lnTo>
                  <a:lnTo>
                    <a:pt x="891731" y="1079373"/>
                  </a:lnTo>
                  <a:lnTo>
                    <a:pt x="896302" y="1077182"/>
                  </a:lnTo>
                  <a:lnTo>
                    <a:pt x="896112" y="1075563"/>
                  </a:lnTo>
                  <a:lnTo>
                    <a:pt x="895445" y="1058037"/>
                  </a:lnTo>
                  <a:lnTo>
                    <a:pt x="902303" y="1049179"/>
                  </a:lnTo>
                  <a:lnTo>
                    <a:pt x="905542" y="1048703"/>
                  </a:lnTo>
                  <a:lnTo>
                    <a:pt x="910685" y="1051274"/>
                  </a:lnTo>
                  <a:lnTo>
                    <a:pt x="914972" y="1047560"/>
                  </a:lnTo>
                  <a:lnTo>
                    <a:pt x="912400" y="1039844"/>
                  </a:lnTo>
                  <a:lnTo>
                    <a:pt x="911352" y="1031939"/>
                  </a:lnTo>
                  <a:lnTo>
                    <a:pt x="908018" y="1030795"/>
                  </a:lnTo>
                  <a:lnTo>
                    <a:pt x="909161" y="1027462"/>
                  </a:lnTo>
                  <a:lnTo>
                    <a:pt x="907637" y="1027652"/>
                  </a:lnTo>
                  <a:lnTo>
                    <a:pt x="899351" y="1025461"/>
                  </a:lnTo>
                  <a:lnTo>
                    <a:pt x="899732" y="1015841"/>
                  </a:lnTo>
                  <a:lnTo>
                    <a:pt x="896969" y="1019365"/>
                  </a:lnTo>
                  <a:lnTo>
                    <a:pt x="896112" y="1013079"/>
                  </a:lnTo>
                  <a:lnTo>
                    <a:pt x="897731" y="1012889"/>
                  </a:lnTo>
                  <a:lnTo>
                    <a:pt x="894588" y="1013270"/>
                  </a:lnTo>
                  <a:lnTo>
                    <a:pt x="893921" y="1008507"/>
                  </a:lnTo>
                  <a:lnTo>
                    <a:pt x="895350" y="1006697"/>
                  </a:lnTo>
                  <a:lnTo>
                    <a:pt x="898684" y="1007936"/>
                  </a:lnTo>
                  <a:lnTo>
                    <a:pt x="898303" y="1004792"/>
                  </a:lnTo>
                  <a:lnTo>
                    <a:pt x="896493" y="1003364"/>
                  </a:lnTo>
                  <a:lnTo>
                    <a:pt x="902208" y="997839"/>
                  </a:lnTo>
                  <a:lnTo>
                    <a:pt x="908971" y="1000220"/>
                  </a:lnTo>
                  <a:lnTo>
                    <a:pt x="908114" y="993839"/>
                  </a:lnTo>
                  <a:lnTo>
                    <a:pt x="906399" y="992505"/>
                  </a:lnTo>
                  <a:lnTo>
                    <a:pt x="907352" y="987552"/>
                  </a:lnTo>
                  <a:lnTo>
                    <a:pt x="912495" y="990124"/>
                  </a:lnTo>
                  <a:lnTo>
                    <a:pt x="912686" y="991743"/>
                  </a:lnTo>
                  <a:lnTo>
                    <a:pt x="919163" y="992505"/>
                  </a:lnTo>
                  <a:lnTo>
                    <a:pt x="920782" y="992315"/>
                  </a:lnTo>
                  <a:lnTo>
                    <a:pt x="916781" y="986314"/>
                  </a:lnTo>
                  <a:lnTo>
                    <a:pt x="916591" y="984790"/>
                  </a:lnTo>
                  <a:lnTo>
                    <a:pt x="923639" y="977456"/>
                  </a:lnTo>
                  <a:lnTo>
                    <a:pt x="926878" y="977074"/>
                  </a:lnTo>
                  <a:lnTo>
                    <a:pt x="924877" y="974122"/>
                  </a:lnTo>
                  <a:lnTo>
                    <a:pt x="921925" y="976122"/>
                  </a:lnTo>
                  <a:lnTo>
                    <a:pt x="912209" y="975741"/>
                  </a:lnTo>
                  <a:lnTo>
                    <a:pt x="910495" y="974312"/>
                  </a:lnTo>
                  <a:lnTo>
                    <a:pt x="907256" y="974789"/>
                  </a:lnTo>
                  <a:lnTo>
                    <a:pt x="904304" y="963930"/>
                  </a:lnTo>
                  <a:lnTo>
                    <a:pt x="904685" y="954215"/>
                  </a:lnTo>
                  <a:lnTo>
                    <a:pt x="901160" y="951452"/>
                  </a:lnTo>
                  <a:lnTo>
                    <a:pt x="902494" y="949738"/>
                  </a:lnTo>
                  <a:lnTo>
                    <a:pt x="909066" y="950500"/>
                  </a:lnTo>
                  <a:lnTo>
                    <a:pt x="913543" y="948309"/>
                  </a:lnTo>
                  <a:lnTo>
                    <a:pt x="917353" y="952595"/>
                  </a:lnTo>
                  <a:lnTo>
                    <a:pt x="920496" y="952214"/>
                  </a:lnTo>
                  <a:lnTo>
                    <a:pt x="923639" y="951833"/>
                  </a:lnTo>
                  <a:lnTo>
                    <a:pt x="924401" y="945261"/>
                  </a:lnTo>
                  <a:lnTo>
                    <a:pt x="927354" y="943356"/>
                  </a:lnTo>
                  <a:lnTo>
                    <a:pt x="928116" y="936784"/>
                  </a:lnTo>
                  <a:lnTo>
                    <a:pt x="924782" y="935641"/>
                  </a:lnTo>
                  <a:lnTo>
                    <a:pt x="921639" y="936022"/>
                  </a:lnTo>
                  <a:lnTo>
                    <a:pt x="917448" y="928497"/>
                  </a:lnTo>
                  <a:lnTo>
                    <a:pt x="919067" y="928307"/>
                  </a:lnTo>
                  <a:lnTo>
                    <a:pt x="922020" y="926402"/>
                  </a:lnTo>
                  <a:lnTo>
                    <a:pt x="918972" y="915543"/>
                  </a:lnTo>
                  <a:lnTo>
                    <a:pt x="927449" y="919258"/>
                  </a:lnTo>
                  <a:lnTo>
                    <a:pt x="929450" y="909352"/>
                  </a:lnTo>
                  <a:lnTo>
                    <a:pt x="934022" y="907161"/>
                  </a:lnTo>
                  <a:lnTo>
                    <a:pt x="937165" y="906780"/>
                  </a:lnTo>
                  <a:lnTo>
                    <a:pt x="938117" y="901827"/>
                  </a:lnTo>
                  <a:lnTo>
                    <a:pt x="942594" y="899636"/>
                  </a:lnTo>
                  <a:lnTo>
                    <a:pt x="950976" y="901827"/>
                  </a:lnTo>
                  <a:lnTo>
                    <a:pt x="952310" y="900017"/>
                  </a:lnTo>
                  <a:lnTo>
                    <a:pt x="953452" y="896683"/>
                  </a:lnTo>
                  <a:lnTo>
                    <a:pt x="950881" y="888968"/>
                  </a:lnTo>
                  <a:lnTo>
                    <a:pt x="954024" y="888587"/>
                  </a:lnTo>
                  <a:lnTo>
                    <a:pt x="952119" y="885635"/>
                  </a:lnTo>
                  <a:lnTo>
                    <a:pt x="954405" y="878967"/>
                  </a:lnTo>
                  <a:lnTo>
                    <a:pt x="958120" y="870395"/>
                  </a:lnTo>
                  <a:lnTo>
                    <a:pt x="966026" y="869442"/>
                  </a:lnTo>
                  <a:lnTo>
                    <a:pt x="964311" y="868013"/>
                  </a:lnTo>
                  <a:lnTo>
                    <a:pt x="963263" y="860203"/>
                  </a:lnTo>
                  <a:lnTo>
                    <a:pt x="960692" y="865251"/>
                  </a:lnTo>
                  <a:lnTo>
                    <a:pt x="958977" y="863918"/>
                  </a:lnTo>
                  <a:lnTo>
                    <a:pt x="963073" y="858583"/>
                  </a:lnTo>
                  <a:lnTo>
                    <a:pt x="964597" y="858393"/>
                  </a:lnTo>
                  <a:lnTo>
                    <a:pt x="964216" y="855250"/>
                  </a:lnTo>
                  <a:lnTo>
                    <a:pt x="967550" y="856393"/>
                  </a:lnTo>
                  <a:lnTo>
                    <a:pt x="965645" y="853440"/>
                  </a:lnTo>
                  <a:lnTo>
                    <a:pt x="966407" y="846963"/>
                  </a:lnTo>
                  <a:lnTo>
                    <a:pt x="963073" y="845725"/>
                  </a:lnTo>
                  <a:lnTo>
                    <a:pt x="964216" y="842391"/>
                  </a:lnTo>
                  <a:lnTo>
                    <a:pt x="961263" y="844391"/>
                  </a:lnTo>
                  <a:lnTo>
                    <a:pt x="957453" y="840010"/>
                  </a:lnTo>
                  <a:lnTo>
                    <a:pt x="954310" y="840486"/>
                  </a:lnTo>
                  <a:lnTo>
                    <a:pt x="954119" y="838867"/>
                  </a:lnTo>
                  <a:lnTo>
                    <a:pt x="957263" y="838486"/>
                  </a:lnTo>
                  <a:lnTo>
                    <a:pt x="953929" y="837343"/>
                  </a:lnTo>
                  <a:lnTo>
                    <a:pt x="956882" y="835343"/>
                  </a:lnTo>
                  <a:lnTo>
                    <a:pt x="954881" y="832390"/>
                  </a:lnTo>
                  <a:lnTo>
                    <a:pt x="949357" y="826675"/>
                  </a:lnTo>
                  <a:lnTo>
                    <a:pt x="950309" y="821722"/>
                  </a:lnTo>
                  <a:lnTo>
                    <a:pt x="946404" y="815816"/>
                  </a:lnTo>
                  <a:lnTo>
                    <a:pt x="947738" y="814007"/>
                  </a:lnTo>
                  <a:lnTo>
                    <a:pt x="946214" y="814197"/>
                  </a:lnTo>
                  <a:lnTo>
                    <a:pt x="947547" y="812482"/>
                  </a:lnTo>
                  <a:lnTo>
                    <a:pt x="946023" y="812673"/>
                  </a:lnTo>
                  <a:lnTo>
                    <a:pt x="945547" y="809530"/>
                  </a:lnTo>
                  <a:lnTo>
                    <a:pt x="947166" y="809244"/>
                  </a:lnTo>
                  <a:lnTo>
                    <a:pt x="951071" y="802386"/>
                  </a:lnTo>
                  <a:lnTo>
                    <a:pt x="949357" y="800957"/>
                  </a:lnTo>
                  <a:lnTo>
                    <a:pt x="948500" y="794671"/>
                  </a:lnTo>
                  <a:lnTo>
                    <a:pt x="951071" y="789527"/>
                  </a:lnTo>
                  <a:lnTo>
                    <a:pt x="949262" y="788194"/>
                  </a:lnTo>
                  <a:lnTo>
                    <a:pt x="952405" y="787813"/>
                  </a:lnTo>
                  <a:lnTo>
                    <a:pt x="956405" y="780860"/>
                  </a:lnTo>
                  <a:lnTo>
                    <a:pt x="957929" y="780669"/>
                  </a:lnTo>
                  <a:lnTo>
                    <a:pt x="956120" y="779240"/>
                  </a:lnTo>
                  <a:lnTo>
                    <a:pt x="958691" y="774097"/>
                  </a:lnTo>
                  <a:lnTo>
                    <a:pt x="965264" y="774954"/>
                  </a:lnTo>
                  <a:lnTo>
                    <a:pt x="968407" y="774478"/>
                  </a:lnTo>
                  <a:lnTo>
                    <a:pt x="968216" y="772954"/>
                  </a:lnTo>
                  <a:lnTo>
                    <a:pt x="960120" y="772382"/>
                  </a:lnTo>
                  <a:lnTo>
                    <a:pt x="958120" y="769430"/>
                  </a:lnTo>
                  <a:lnTo>
                    <a:pt x="961263" y="769049"/>
                  </a:lnTo>
                  <a:lnTo>
                    <a:pt x="961073" y="767429"/>
                  </a:lnTo>
                  <a:lnTo>
                    <a:pt x="957929" y="767810"/>
                  </a:lnTo>
                  <a:lnTo>
                    <a:pt x="957548" y="764667"/>
                  </a:lnTo>
                  <a:lnTo>
                    <a:pt x="955739" y="763333"/>
                  </a:lnTo>
                  <a:lnTo>
                    <a:pt x="955358" y="760190"/>
                  </a:lnTo>
                  <a:lnTo>
                    <a:pt x="953738" y="760381"/>
                  </a:lnTo>
                  <a:lnTo>
                    <a:pt x="951548" y="755809"/>
                  </a:lnTo>
                  <a:lnTo>
                    <a:pt x="949833" y="754380"/>
                  </a:lnTo>
                  <a:lnTo>
                    <a:pt x="950976" y="751046"/>
                  </a:lnTo>
                  <a:lnTo>
                    <a:pt x="950595" y="747903"/>
                  </a:lnTo>
                  <a:lnTo>
                    <a:pt x="951929" y="746093"/>
                  </a:lnTo>
                  <a:lnTo>
                    <a:pt x="948595" y="744950"/>
                  </a:lnTo>
                  <a:lnTo>
                    <a:pt x="949547" y="739997"/>
                  </a:lnTo>
                  <a:lnTo>
                    <a:pt x="952500" y="738092"/>
                  </a:lnTo>
                  <a:lnTo>
                    <a:pt x="950119" y="731901"/>
                  </a:lnTo>
                  <a:lnTo>
                    <a:pt x="951357" y="728567"/>
                  </a:lnTo>
                  <a:lnTo>
                    <a:pt x="948119" y="728948"/>
                  </a:lnTo>
                  <a:lnTo>
                    <a:pt x="950881" y="725424"/>
                  </a:lnTo>
                  <a:lnTo>
                    <a:pt x="950500" y="722281"/>
                  </a:lnTo>
                  <a:lnTo>
                    <a:pt x="948881" y="722471"/>
                  </a:lnTo>
                  <a:lnTo>
                    <a:pt x="947738" y="725805"/>
                  </a:lnTo>
                  <a:lnTo>
                    <a:pt x="948881" y="722471"/>
                  </a:lnTo>
                  <a:lnTo>
                    <a:pt x="946976" y="719519"/>
                  </a:lnTo>
                  <a:lnTo>
                    <a:pt x="953452" y="720281"/>
                  </a:lnTo>
                  <a:lnTo>
                    <a:pt x="953262" y="718757"/>
                  </a:lnTo>
                  <a:lnTo>
                    <a:pt x="946785" y="717899"/>
                  </a:lnTo>
                  <a:lnTo>
                    <a:pt x="946976" y="719519"/>
                  </a:lnTo>
                  <a:lnTo>
                    <a:pt x="946785" y="717899"/>
                  </a:lnTo>
                  <a:lnTo>
                    <a:pt x="943547" y="718376"/>
                  </a:lnTo>
                  <a:lnTo>
                    <a:pt x="940213" y="717137"/>
                  </a:lnTo>
                  <a:lnTo>
                    <a:pt x="939451" y="710851"/>
                  </a:lnTo>
                  <a:lnTo>
                    <a:pt x="940784" y="709041"/>
                  </a:lnTo>
                  <a:lnTo>
                    <a:pt x="938784" y="706088"/>
                  </a:lnTo>
                  <a:lnTo>
                    <a:pt x="942023" y="705707"/>
                  </a:lnTo>
                  <a:lnTo>
                    <a:pt x="943166" y="702374"/>
                  </a:lnTo>
                  <a:lnTo>
                    <a:pt x="946499" y="703516"/>
                  </a:lnTo>
                  <a:lnTo>
                    <a:pt x="947738" y="700183"/>
                  </a:lnTo>
                  <a:lnTo>
                    <a:pt x="947261" y="697040"/>
                  </a:lnTo>
                  <a:lnTo>
                    <a:pt x="942118" y="694468"/>
                  </a:lnTo>
                  <a:lnTo>
                    <a:pt x="943356" y="691134"/>
                  </a:lnTo>
                  <a:lnTo>
                    <a:pt x="947642" y="687324"/>
                  </a:lnTo>
                  <a:lnTo>
                    <a:pt x="948881" y="683990"/>
                  </a:lnTo>
                  <a:lnTo>
                    <a:pt x="952214" y="685133"/>
                  </a:lnTo>
                  <a:lnTo>
                    <a:pt x="952976" y="678656"/>
                  </a:lnTo>
                  <a:lnTo>
                    <a:pt x="954310" y="676847"/>
                  </a:lnTo>
                  <a:lnTo>
                    <a:pt x="956120" y="665416"/>
                  </a:lnTo>
                  <a:lnTo>
                    <a:pt x="956691" y="657320"/>
                  </a:lnTo>
                  <a:lnTo>
                    <a:pt x="951548" y="654749"/>
                  </a:lnTo>
                  <a:lnTo>
                    <a:pt x="952119" y="646652"/>
                  </a:lnTo>
                  <a:lnTo>
                    <a:pt x="941642" y="639985"/>
                  </a:lnTo>
                  <a:lnTo>
                    <a:pt x="938498" y="640366"/>
                  </a:lnTo>
                  <a:lnTo>
                    <a:pt x="933164" y="649129"/>
                  </a:lnTo>
                  <a:lnTo>
                    <a:pt x="931355" y="647700"/>
                  </a:lnTo>
                  <a:lnTo>
                    <a:pt x="935736" y="643985"/>
                  </a:lnTo>
                  <a:lnTo>
                    <a:pt x="937451" y="632555"/>
                  </a:lnTo>
                  <a:lnTo>
                    <a:pt x="935450" y="629603"/>
                  </a:lnTo>
                  <a:lnTo>
                    <a:pt x="933736" y="628174"/>
                  </a:lnTo>
                  <a:lnTo>
                    <a:pt x="936403" y="611791"/>
                  </a:lnTo>
                  <a:lnTo>
                    <a:pt x="933641" y="602552"/>
                  </a:lnTo>
                  <a:lnTo>
                    <a:pt x="937736" y="597218"/>
                  </a:lnTo>
                  <a:lnTo>
                    <a:pt x="941737" y="590264"/>
                  </a:lnTo>
                  <a:lnTo>
                    <a:pt x="941261" y="574262"/>
                  </a:lnTo>
                  <a:lnTo>
                    <a:pt x="943832" y="569119"/>
                  </a:lnTo>
                  <a:lnTo>
                    <a:pt x="944594" y="562642"/>
                  </a:lnTo>
                  <a:lnTo>
                    <a:pt x="940880" y="558356"/>
                  </a:lnTo>
                  <a:lnTo>
                    <a:pt x="936308" y="560451"/>
                  </a:lnTo>
                  <a:lnTo>
                    <a:pt x="929640" y="558165"/>
                  </a:lnTo>
                  <a:lnTo>
                    <a:pt x="928973" y="553403"/>
                  </a:lnTo>
                  <a:lnTo>
                    <a:pt x="925449" y="550640"/>
                  </a:lnTo>
                  <a:lnTo>
                    <a:pt x="921068" y="554450"/>
                  </a:lnTo>
                  <a:lnTo>
                    <a:pt x="919544" y="554641"/>
                  </a:lnTo>
                  <a:lnTo>
                    <a:pt x="912590" y="550640"/>
                  </a:lnTo>
                  <a:lnTo>
                    <a:pt x="912209" y="547497"/>
                  </a:lnTo>
                  <a:lnTo>
                    <a:pt x="915352" y="547116"/>
                  </a:lnTo>
                  <a:lnTo>
                    <a:pt x="916496" y="543782"/>
                  </a:lnTo>
                  <a:lnTo>
                    <a:pt x="906875" y="543401"/>
                  </a:lnTo>
                  <a:lnTo>
                    <a:pt x="906494" y="540258"/>
                  </a:lnTo>
                  <a:lnTo>
                    <a:pt x="901732" y="540830"/>
                  </a:lnTo>
                  <a:lnTo>
                    <a:pt x="898208" y="538067"/>
                  </a:lnTo>
                  <a:lnTo>
                    <a:pt x="895064" y="538544"/>
                  </a:lnTo>
                  <a:lnTo>
                    <a:pt x="892588" y="532352"/>
                  </a:lnTo>
                  <a:lnTo>
                    <a:pt x="889254" y="531209"/>
                  </a:lnTo>
                  <a:lnTo>
                    <a:pt x="897350" y="531781"/>
                  </a:lnTo>
                  <a:lnTo>
                    <a:pt x="904494" y="537305"/>
                  </a:lnTo>
                  <a:lnTo>
                    <a:pt x="912400" y="536257"/>
                  </a:lnTo>
                  <a:lnTo>
                    <a:pt x="913733" y="534543"/>
                  </a:lnTo>
                  <a:lnTo>
                    <a:pt x="918496" y="533876"/>
                  </a:lnTo>
                  <a:lnTo>
                    <a:pt x="921449" y="531876"/>
                  </a:lnTo>
                  <a:lnTo>
                    <a:pt x="918115" y="530733"/>
                  </a:lnTo>
                  <a:lnTo>
                    <a:pt x="911543" y="517112"/>
                  </a:lnTo>
                  <a:lnTo>
                    <a:pt x="901827" y="516731"/>
                  </a:lnTo>
                  <a:lnTo>
                    <a:pt x="898112" y="512445"/>
                  </a:lnTo>
                  <a:lnTo>
                    <a:pt x="900684" y="507302"/>
                  </a:lnTo>
                  <a:lnTo>
                    <a:pt x="898684" y="504349"/>
                  </a:lnTo>
                  <a:lnTo>
                    <a:pt x="899827" y="501015"/>
                  </a:lnTo>
                  <a:lnTo>
                    <a:pt x="901827" y="503968"/>
                  </a:lnTo>
                  <a:lnTo>
                    <a:pt x="902018" y="505492"/>
                  </a:lnTo>
                  <a:lnTo>
                    <a:pt x="903827" y="506920"/>
                  </a:lnTo>
                  <a:lnTo>
                    <a:pt x="906590" y="503301"/>
                  </a:lnTo>
                  <a:lnTo>
                    <a:pt x="906780" y="504920"/>
                  </a:lnTo>
                  <a:lnTo>
                    <a:pt x="908399" y="504730"/>
                  </a:lnTo>
                  <a:lnTo>
                    <a:pt x="908399" y="504730"/>
                  </a:lnTo>
                  <a:lnTo>
                    <a:pt x="909733" y="502920"/>
                  </a:lnTo>
                  <a:lnTo>
                    <a:pt x="917448" y="500348"/>
                  </a:lnTo>
                  <a:lnTo>
                    <a:pt x="920782" y="501491"/>
                  </a:lnTo>
                  <a:lnTo>
                    <a:pt x="927830" y="494252"/>
                  </a:lnTo>
                  <a:lnTo>
                    <a:pt x="923163" y="494824"/>
                  </a:lnTo>
                  <a:lnTo>
                    <a:pt x="922496" y="490061"/>
                  </a:lnTo>
                  <a:lnTo>
                    <a:pt x="917829" y="490728"/>
                  </a:lnTo>
                  <a:lnTo>
                    <a:pt x="917639" y="489109"/>
                  </a:lnTo>
                  <a:lnTo>
                    <a:pt x="914210" y="487966"/>
                  </a:lnTo>
                  <a:lnTo>
                    <a:pt x="909733" y="490157"/>
                  </a:lnTo>
                  <a:lnTo>
                    <a:pt x="912495" y="486537"/>
                  </a:lnTo>
                  <a:lnTo>
                    <a:pt x="909066" y="485394"/>
                  </a:lnTo>
                  <a:lnTo>
                    <a:pt x="904780" y="489109"/>
                  </a:lnTo>
                  <a:lnTo>
                    <a:pt x="902780" y="486156"/>
                  </a:lnTo>
                  <a:lnTo>
                    <a:pt x="899827" y="488156"/>
                  </a:lnTo>
                  <a:lnTo>
                    <a:pt x="898684" y="491490"/>
                  </a:lnTo>
                  <a:lnTo>
                    <a:pt x="895731" y="493490"/>
                  </a:lnTo>
                  <a:lnTo>
                    <a:pt x="896112" y="496633"/>
                  </a:lnTo>
                  <a:lnTo>
                    <a:pt x="891159" y="495681"/>
                  </a:lnTo>
                  <a:lnTo>
                    <a:pt x="888397" y="486442"/>
                  </a:lnTo>
                  <a:lnTo>
                    <a:pt x="891731" y="487585"/>
                  </a:lnTo>
                  <a:lnTo>
                    <a:pt x="891540" y="486061"/>
                  </a:lnTo>
                  <a:lnTo>
                    <a:pt x="888206" y="484823"/>
                  </a:lnTo>
                  <a:lnTo>
                    <a:pt x="892302" y="479489"/>
                  </a:lnTo>
                  <a:lnTo>
                    <a:pt x="888397" y="473583"/>
                  </a:lnTo>
                  <a:lnTo>
                    <a:pt x="890873" y="468440"/>
                  </a:lnTo>
                  <a:lnTo>
                    <a:pt x="900017" y="464058"/>
                  </a:lnTo>
                  <a:lnTo>
                    <a:pt x="907447" y="447103"/>
                  </a:lnTo>
                  <a:lnTo>
                    <a:pt x="930116" y="436245"/>
                  </a:lnTo>
                  <a:lnTo>
                    <a:pt x="934593" y="434054"/>
                  </a:lnTo>
                  <a:lnTo>
                    <a:pt x="940975" y="433197"/>
                  </a:lnTo>
                  <a:lnTo>
                    <a:pt x="937832" y="433578"/>
                  </a:lnTo>
                  <a:lnTo>
                    <a:pt x="938594" y="439960"/>
                  </a:lnTo>
                  <a:lnTo>
                    <a:pt x="940403" y="441293"/>
                  </a:lnTo>
                  <a:lnTo>
                    <a:pt x="945261" y="442246"/>
                  </a:lnTo>
                  <a:lnTo>
                    <a:pt x="947452" y="446818"/>
                  </a:lnTo>
                  <a:lnTo>
                    <a:pt x="949071" y="446627"/>
                  </a:lnTo>
                  <a:lnTo>
                    <a:pt x="949262" y="448151"/>
                  </a:lnTo>
                  <a:lnTo>
                    <a:pt x="954024" y="447580"/>
                  </a:lnTo>
                  <a:lnTo>
                    <a:pt x="955739" y="448913"/>
                  </a:lnTo>
                  <a:lnTo>
                    <a:pt x="956786" y="444056"/>
                  </a:lnTo>
                  <a:lnTo>
                    <a:pt x="958310" y="443865"/>
                  </a:lnTo>
                  <a:lnTo>
                    <a:pt x="957929" y="440627"/>
                  </a:lnTo>
                  <a:lnTo>
                    <a:pt x="959263" y="438912"/>
                  </a:lnTo>
                  <a:lnTo>
                    <a:pt x="960120" y="432340"/>
                  </a:lnTo>
                  <a:lnTo>
                    <a:pt x="963073" y="430435"/>
                  </a:lnTo>
                  <a:lnTo>
                    <a:pt x="965359" y="423672"/>
                  </a:lnTo>
                  <a:lnTo>
                    <a:pt x="968502" y="423291"/>
                  </a:lnTo>
                  <a:lnTo>
                    <a:pt x="974693" y="420910"/>
                  </a:lnTo>
                  <a:lnTo>
                    <a:pt x="974217" y="417766"/>
                  </a:lnTo>
                  <a:lnTo>
                    <a:pt x="976027" y="419100"/>
                  </a:lnTo>
                  <a:lnTo>
                    <a:pt x="977456" y="417386"/>
                  </a:lnTo>
                  <a:lnTo>
                    <a:pt x="980599" y="416909"/>
                  </a:lnTo>
                  <a:lnTo>
                    <a:pt x="984885" y="413194"/>
                  </a:lnTo>
                  <a:lnTo>
                    <a:pt x="986695" y="414528"/>
                  </a:lnTo>
                  <a:lnTo>
                    <a:pt x="990600" y="407670"/>
                  </a:lnTo>
                  <a:lnTo>
                    <a:pt x="988409" y="403098"/>
                  </a:lnTo>
                  <a:lnTo>
                    <a:pt x="983266" y="400526"/>
                  </a:lnTo>
                  <a:lnTo>
                    <a:pt x="981266" y="397573"/>
                  </a:lnTo>
                  <a:lnTo>
                    <a:pt x="977932" y="396431"/>
                  </a:lnTo>
                  <a:lnTo>
                    <a:pt x="974979" y="398431"/>
                  </a:lnTo>
                  <a:lnTo>
                    <a:pt x="973646" y="400145"/>
                  </a:lnTo>
                  <a:lnTo>
                    <a:pt x="967740" y="404146"/>
                  </a:lnTo>
                  <a:lnTo>
                    <a:pt x="965930" y="402717"/>
                  </a:lnTo>
                  <a:lnTo>
                    <a:pt x="966502" y="394716"/>
                  </a:lnTo>
                  <a:lnTo>
                    <a:pt x="975741" y="391858"/>
                  </a:lnTo>
                  <a:lnTo>
                    <a:pt x="978884" y="378619"/>
                  </a:lnTo>
                  <a:lnTo>
                    <a:pt x="978122" y="372332"/>
                  </a:lnTo>
                  <a:lnTo>
                    <a:pt x="974312" y="368046"/>
                  </a:lnTo>
                  <a:lnTo>
                    <a:pt x="973931" y="364903"/>
                  </a:lnTo>
                  <a:lnTo>
                    <a:pt x="971550" y="358711"/>
                  </a:lnTo>
                  <a:lnTo>
                    <a:pt x="972502" y="353854"/>
                  </a:lnTo>
                  <a:lnTo>
                    <a:pt x="982027" y="352615"/>
                  </a:lnTo>
                  <a:lnTo>
                    <a:pt x="981170" y="346329"/>
                  </a:lnTo>
                  <a:lnTo>
                    <a:pt x="987076" y="342328"/>
                  </a:lnTo>
                  <a:lnTo>
                    <a:pt x="983933" y="342710"/>
                  </a:lnTo>
                  <a:lnTo>
                    <a:pt x="986123" y="334423"/>
                  </a:lnTo>
                  <a:lnTo>
                    <a:pt x="979170" y="330518"/>
                  </a:lnTo>
                  <a:lnTo>
                    <a:pt x="978122" y="322612"/>
                  </a:lnTo>
                  <a:lnTo>
                    <a:pt x="985076" y="313753"/>
                  </a:lnTo>
                  <a:lnTo>
                    <a:pt x="983075" y="310801"/>
                  </a:lnTo>
                  <a:lnTo>
                    <a:pt x="979361" y="306419"/>
                  </a:lnTo>
                  <a:lnTo>
                    <a:pt x="982027" y="302895"/>
                  </a:lnTo>
                  <a:lnTo>
                    <a:pt x="985457" y="304038"/>
                  </a:lnTo>
                  <a:lnTo>
                    <a:pt x="989171" y="295561"/>
                  </a:lnTo>
                  <a:lnTo>
                    <a:pt x="985171" y="289655"/>
                  </a:lnTo>
                  <a:lnTo>
                    <a:pt x="988314" y="289274"/>
                  </a:lnTo>
                  <a:lnTo>
                    <a:pt x="987171" y="279749"/>
                  </a:lnTo>
                  <a:lnTo>
                    <a:pt x="988886" y="281178"/>
                  </a:lnTo>
                  <a:lnTo>
                    <a:pt x="992124" y="280797"/>
                  </a:lnTo>
                  <a:lnTo>
                    <a:pt x="991838" y="279178"/>
                  </a:lnTo>
                  <a:lnTo>
                    <a:pt x="992124" y="280797"/>
                  </a:lnTo>
                  <a:lnTo>
                    <a:pt x="993648" y="280511"/>
                  </a:lnTo>
                  <a:lnTo>
                    <a:pt x="995077" y="278797"/>
                  </a:lnTo>
                  <a:lnTo>
                    <a:pt x="998411" y="279940"/>
                  </a:lnTo>
                  <a:lnTo>
                    <a:pt x="1001363" y="277940"/>
                  </a:lnTo>
                  <a:lnTo>
                    <a:pt x="1001935" y="282702"/>
                  </a:lnTo>
                  <a:lnTo>
                    <a:pt x="1004888" y="280702"/>
                  </a:lnTo>
                  <a:lnTo>
                    <a:pt x="1001363" y="265176"/>
                  </a:lnTo>
                  <a:lnTo>
                    <a:pt x="999744" y="252508"/>
                  </a:lnTo>
                  <a:lnTo>
                    <a:pt x="999744" y="252508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46" name="Volný tvar: obrazec 45">
              <a:extLst>
                <a:ext uri="{FF2B5EF4-FFF2-40B4-BE49-F238E27FC236}">
                  <a16:creationId xmlns:a16="http://schemas.microsoft.com/office/drawing/2014/main" id="{AE54A723-7958-C4F8-9867-257FBE7389F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25" y="2971418"/>
              <a:ext cx="1044701" cy="731424"/>
            </a:xfrm>
            <a:custGeom>
              <a:avLst/>
              <a:gdLst>
                <a:gd name="connsiteX0" fmla="*/ 1038797 w 1044701"/>
                <a:gd name="connsiteY0" fmla="*/ 17907 h 731424"/>
                <a:gd name="connsiteX1" fmla="*/ 1039558 w 1044701"/>
                <a:gd name="connsiteY1" fmla="*/ 11430 h 731424"/>
                <a:gd name="connsiteX2" fmla="*/ 1037463 w 1044701"/>
                <a:gd name="connsiteY2" fmla="*/ 6953 h 731424"/>
                <a:gd name="connsiteX3" fmla="*/ 1028509 w 1044701"/>
                <a:gd name="connsiteY3" fmla="*/ 0 h 731424"/>
                <a:gd name="connsiteX4" fmla="*/ 1019651 w 1044701"/>
                <a:gd name="connsiteY4" fmla="*/ 6001 h 731424"/>
                <a:gd name="connsiteX5" fmla="*/ 1018889 w 1044701"/>
                <a:gd name="connsiteY5" fmla="*/ 12478 h 731424"/>
                <a:gd name="connsiteX6" fmla="*/ 1017270 w 1044701"/>
                <a:gd name="connsiteY6" fmla="*/ 12668 h 731424"/>
                <a:gd name="connsiteX7" fmla="*/ 1012984 w 1044701"/>
                <a:gd name="connsiteY7" fmla="*/ 16478 h 731424"/>
                <a:gd name="connsiteX8" fmla="*/ 1010412 w 1044701"/>
                <a:gd name="connsiteY8" fmla="*/ 21527 h 731424"/>
                <a:gd name="connsiteX9" fmla="*/ 1006888 w 1044701"/>
                <a:gd name="connsiteY9" fmla="*/ 18860 h 731424"/>
                <a:gd name="connsiteX10" fmla="*/ 1002316 w 1044701"/>
                <a:gd name="connsiteY10" fmla="*/ 20955 h 731424"/>
                <a:gd name="connsiteX11" fmla="*/ 995839 w 1044701"/>
                <a:gd name="connsiteY11" fmla="*/ 33052 h 731424"/>
                <a:gd name="connsiteX12" fmla="*/ 994696 w 1044701"/>
                <a:gd name="connsiteY12" fmla="*/ 49244 h 731424"/>
                <a:gd name="connsiteX13" fmla="*/ 989362 w 1044701"/>
                <a:gd name="connsiteY13" fmla="*/ 57912 h 731424"/>
                <a:gd name="connsiteX14" fmla="*/ 982313 w 1044701"/>
                <a:gd name="connsiteY14" fmla="*/ 65246 h 731424"/>
                <a:gd name="connsiteX15" fmla="*/ 984504 w 1044701"/>
                <a:gd name="connsiteY15" fmla="*/ 69818 h 731424"/>
                <a:gd name="connsiteX16" fmla="*/ 983361 w 1044701"/>
                <a:gd name="connsiteY16" fmla="*/ 73152 h 731424"/>
                <a:gd name="connsiteX17" fmla="*/ 972883 w 1044701"/>
                <a:gd name="connsiteY17" fmla="*/ 79248 h 731424"/>
                <a:gd name="connsiteX18" fmla="*/ 965549 w 1044701"/>
                <a:gd name="connsiteY18" fmla="*/ 85058 h 731424"/>
                <a:gd name="connsiteX19" fmla="*/ 962215 w 1044701"/>
                <a:gd name="connsiteY19" fmla="*/ 83820 h 731424"/>
                <a:gd name="connsiteX20" fmla="*/ 959263 w 1044701"/>
                <a:gd name="connsiteY20" fmla="*/ 85820 h 731424"/>
                <a:gd name="connsiteX21" fmla="*/ 947452 w 1044701"/>
                <a:gd name="connsiteY21" fmla="*/ 106585 h 731424"/>
                <a:gd name="connsiteX22" fmla="*/ 944308 w 1044701"/>
                <a:gd name="connsiteY22" fmla="*/ 119825 h 731424"/>
                <a:gd name="connsiteX23" fmla="*/ 941641 w 1044701"/>
                <a:gd name="connsiteY23" fmla="*/ 123349 h 731424"/>
                <a:gd name="connsiteX24" fmla="*/ 932783 w 1044701"/>
                <a:gd name="connsiteY24" fmla="*/ 129254 h 731424"/>
                <a:gd name="connsiteX25" fmla="*/ 924401 w 1044701"/>
                <a:gd name="connsiteY25" fmla="*/ 127159 h 731424"/>
                <a:gd name="connsiteX26" fmla="*/ 917734 w 1044701"/>
                <a:gd name="connsiteY26" fmla="*/ 124777 h 731424"/>
                <a:gd name="connsiteX27" fmla="*/ 914209 w 1044701"/>
                <a:gd name="connsiteY27" fmla="*/ 122015 h 731424"/>
                <a:gd name="connsiteX28" fmla="*/ 893826 w 1044701"/>
                <a:gd name="connsiteY28" fmla="*/ 113443 h 731424"/>
                <a:gd name="connsiteX29" fmla="*/ 887349 w 1044701"/>
                <a:gd name="connsiteY29" fmla="*/ 112586 h 731424"/>
                <a:gd name="connsiteX30" fmla="*/ 882396 w 1044701"/>
                <a:gd name="connsiteY30" fmla="*/ 111633 h 731424"/>
                <a:gd name="connsiteX31" fmla="*/ 878205 w 1044701"/>
                <a:gd name="connsiteY31" fmla="*/ 104204 h 731424"/>
                <a:gd name="connsiteX32" fmla="*/ 867537 w 1044701"/>
                <a:gd name="connsiteY32" fmla="*/ 95917 h 731424"/>
                <a:gd name="connsiteX33" fmla="*/ 866775 w 1044701"/>
                <a:gd name="connsiteY33" fmla="*/ 89630 h 731424"/>
                <a:gd name="connsiteX34" fmla="*/ 859822 w 1044701"/>
                <a:gd name="connsiteY34" fmla="*/ 85630 h 731424"/>
                <a:gd name="connsiteX35" fmla="*/ 855821 w 1044701"/>
                <a:gd name="connsiteY35" fmla="*/ 79724 h 731424"/>
                <a:gd name="connsiteX36" fmla="*/ 844391 w 1044701"/>
                <a:gd name="connsiteY36" fmla="*/ 78010 h 731424"/>
                <a:gd name="connsiteX37" fmla="*/ 840105 w 1044701"/>
                <a:gd name="connsiteY37" fmla="*/ 81725 h 731424"/>
                <a:gd name="connsiteX38" fmla="*/ 838295 w 1044701"/>
                <a:gd name="connsiteY38" fmla="*/ 80391 h 731424"/>
                <a:gd name="connsiteX39" fmla="*/ 836962 w 1044701"/>
                <a:gd name="connsiteY39" fmla="*/ 82201 h 731424"/>
                <a:gd name="connsiteX40" fmla="*/ 816197 w 1044701"/>
                <a:gd name="connsiteY40" fmla="*/ 70390 h 731424"/>
                <a:gd name="connsiteX41" fmla="*/ 813245 w 1044701"/>
                <a:gd name="connsiteY41" fmla="*/ 72390 h 731424"/>
                <a:gd name="connsiteX42" fmla="*/ 811435 w 1044701"/>
                <a:gd name="connsiteY42" fmla="*/ 70961 h 731424"/>
                <a:gd name="connsiteX43" fmla="*/ 807720 w 1044701"/>
                <a:gd name="connsiteY43" fmla="*/ 66675 h 731424"/>
                <a:gd name="connsiteX44" fmla="*/ 804767 w 1044701"/>
                <a:gd name="connsiteY44" fmla="*/ 68580 h 731424"/>
                <a:gd name="connsiteX45" fmla="*/ 801719 w 1044701"/>
                <a:gd name="connsiteY45" fmla="*/ 57817 h 731424"/>
                <a:gd name="connsiteX46" fmla="*/ 793242 w 1044701"/>
                <a:gd name="connsiteY46" fmla="*/ 54102 h 731424"/>
                <a:gd name="connsiteX47" fmla="*/ 790099 w 1044701"/>
                <a:gd name="connsiteY47" fmla="*/ 54483 h 731424"/>
                <a:gd name="connsiteX48" fmla="*/ 786384 w 1044701"/>
                <a:gd name="connsiteY48" fmla="*/ 50102 h 731424"/>
                <a:gd name="connsiteX49" fmla="*/ 784955 w 1044701"/>
                <a:gd name="connsiteY49" fmla="*/ 51911 h 731424"/>
                <a:gd name="connsiteX50" fmla="*/ 778478 w 1044701"/>
                <a:gd name="connsiteY50" fmla="*/ 51149 h 731424"/>
                <a:gd name="connsiteX51" fmla="*/ 772763 w 1044701"/>
                <a:gd name="connsiteY51" fmla="*/ 56674 h 731424"/>
                <a:gd name="connsiteX52" fmla="*/ 772382 w 1044701"/>
                <a:gd name="connsiteY52" fmla="*/ 79153 h 731424"/>
                <a:gd name="connsiteX53" fmla="*/ 769811 w 1044701"/>
                <a:gd name="connsiteY53" fmla="*/ 84296 h 731424"/>
                <a:gd name="connsiteX54" fmla="*/ 762190 w 1044701"/>
                <a:gd name="connsiteY54" fmla="*/ 86868 h 731424"/>
                <a:gd name="connsiteX55" fmla="*/ 759428 w 1044701"/>
                <a:gd name="connsiteY55" fmla="*/ 90392 h 731424"/>
                <a:gd name="connsiteX56" fmla="*/ 757809 w 1044701"/>
                <a:gd name="connsiteY56" fmla="*/ 90678 h 731424"/>
                <a:gd name="connsiteX57" fmla="*/ 755237 w 1044701"/>
                <a:gd name="connsiteY57" fmla="*/ 95821 h 731424"/>
                <a:gd name="connsiteX58" fmla="*/ 755047 w 1044701"/>
                <a:gd name="connsiteY58" fmla="*/ 94202 h 731424"/>
                <a:gd name="connsiteX59" fmla="*/ 745617 w 1044701"/>
                <a:gd name="connsiteY59" fmla="*/ 95441 h 731424"/>
                <a:gd name="connsiteX60" fmla="*/ 745236 w 1044701"/>
                <a:gd name="connsiteY60" fmla="*/ 92202 h 731424"/>
                <a:gd name="connsiteX61" fmla="*/ 743617 w 1044701"/>
                <a:gd name="connsiteY61" fmla="*/ 92488 h 731424"/>
                <a:gd name="connsiteX62" fmla="*/ 743998 w 1044701"/>
                <a:gd name="connsiteY62" fmla="*/ 95631 h 731424"/>
                <a:gd name="connsiteX63" fmla="*/ 736378 w 1044701"/>
                <a:gd name="connsiteY63" fmla="*/ 98203 h 731424"/>
                <a:gd name="connsiteX64" fmla="*/ 739712 w 1044701"/>
                <a:gd name="connsiteY64" fmla="*/ 99346 h 731424"/>
                <a:gd name="connsiteX65" fmla="*/ 740092 w 1044701"/>
                <a:gd name="connsiteY65" fmla="*/ 102489 h 731424"/>
                <a:gd name="connsiteX66" fmla="*/ 737330 w 1044701"/>
                <a:gd name="connsiteY66" fmla="*/ 106108 h 731424"/>
                <a:gd name="connsiteX67" fmla="*/ 733615 w 1044701"/>
                <a:gd name="connsiteY67" fmla="*/ 101727 h 731424"/>
                <a:gd name="connsiteX68" fmla="*/ 730663 w 1044701"/>
                <a:gd name="connsiteY68" fmla="*/ 103727 h 731424"/>
                <a:gd name="connsiteX69" fmla="*/ 727424 w 1044701"/>
                <a:gd name="connsiteY69" fmla="*/ 104108 h 731424"/>
                <a:gd name="connsiteX70" fmla="*/ 727900 w 1044701"/>
                <a:gd name="connsiteY70" fmla="*/ 107252 h 731424"/>
                <a:gd name="connsiteX71" fmla="*/ 724757 w 1044701"/>
                <a:gd name="connsiteY71" fmla="*/ 107728 h 731424"/>
                <a:gd name="connsiteX72" fmla="*/ 725138 w 1044701"/>
                <a:gd name="connsiteY72" fmla="*/ 110871 h 731424"/>
                <a:gd name="connsiteX73" fmla="*/ 721805 w 1044701"/>
                <a:gd name="connsiteY73" fmla="*/ 109633 h 731424"/>
                <a:gd name="connsiteX74" fmla="*/ 719995 w 1044701"/>
                <a:gd name="connsiteY74" fmla="*/ 108299 h 731424"/>
                <a:gd name="connsiteX75" fmla="*/ 715232 w 1044701"/>
                <a:gd name="connsiteY75" fmla="*/ 108871 h 731424"/>
                <a:gd name="connsiteX76" fmla="*/ 715423 w 1044701"/>
                <a:gd name="connsiteY76" fmla="*/ 110490 h 731424"/>
                <a:gd name="connsiteX77" fmla="*/ 703040 w 1044701"/>
                <a:gd name="connsiteY77" fmla="*/ 126492 h 731424"/>
                <a:gd name="connsiteX78" fmla="*/ 691801 w 1044701"/>
                <a:gd name="connsiteY78" fmla="*/ 126302 h 731424"/>
                <a:gd name="connsiteX79" fmla="*/ 687038 w 1044701"/>
                <a:gd name="connsiteY79" fmla="*/ 126968 h 731424"/>
                <a:gd name="connsiteX80" fmla="*/ 687705 w 1044701"/>
                <a:gd name="connsiteY80" fmla="*/ 131636 h 731424"/>
                <a:gd name="connsiteX81" fmla="*/ 681514 w 1044701"/>
                <a:gd name="connsiteY81" fmla="*/ 134017 h 731424"/>
                <a:gd name="connsiteX82" fmla="*/ 677608 w 1044701"/>
                <a:gd name="connsiteY82" fmla="*/ 140970 h 731424"/>
                <a:gd name="connsiteX83" fmla="*/ 679990 w 1044701"/>
                <a:gd name="connsiteY83" fmla="*/ 147066 h 731424"/>
                <a:gd name="connsiteX84" fmla="*/ 681419 w 1044701"/>
                <a:gd name="connsiteY84" fmla="*/ 145256 h 731424"/>
                <a:gd name="connsiteX85" fmla="*/ 685133 w 1044701"/>
                <a:gd name="connsiteY85" fmla="*/ 149638 h 731424"/>
                <a:gd name="connsiteX86" fmla="*/ 690467 w 1044701"/>
                <a:gd name="connsiteY86" fmla="*/ 153734 h 731424"/>
                <a:gd name="connsiteX87" fmla="*/ 684562 w 1044701"/>
                <a:gd name="connsiteY87" fmla="*/ 157734 h 731424"/>
                <a:gd name="connsiteX88" fmla="*/ 683419 w 1044701"/>
                <a:gd name="connsiteY88" fmla="*/ 161068 h 731424"/>
                <a:gd name="connsiteX89" fmla="*/ 677132 w 1044701"/>
                <a:gd name="connsiteY89" fmla="*/ 161830 h 731424"/>
                <a:gd name="connsiteX90" fmla="*/ 674561 w 1044701"/>
                <a:gd name="connsiteY90" fmla="*/ 166973 h 731424"/>
                <a:gd name="connsiteX91" fmla="*/ 669227 w 1044701"/>
                <a:gd name="connsiteY91" fmla="*/ 162877 h 731424"/>
                <a:gd name="connsiteX92" fmla="*/ 667798 w 1044701"/>
                <a:gd name="connsiteY92" fmla="*/ 164687 h 731424"/>
                <a:gd name="connsiteX93" fmla="*/ 663035 w 1044701"/>
                <a:gd name="connsiteY93" fmla="*/ 165259 h 731424"/>
                <a:gd name="connsiteX94" fmla="*/ 665226 w 1044701"/>
                <a:gd name="connsiteY94" fmla="*/ 169831 h 731424"/>
                <a:gd name="connsiteX95" fmla="*/ 664083 w 1044701"/>
                <a:gd name="connsiteY95" fmla="*/ 173165 h 731424"/>
                <a:gd name="connsiteX96" fmla="*/ 662273 w 1044701"/>
                <a:gd name="connsiteY96" fmla="*/ 171736 h 731424"/>
                <a:gd name="connsiteX97" fmla="*/ 662940 w 1044701"/>
                <a:gd name="connsiteY97" fmla="*/ 176498 h 731424"/>
                <a:gd name="connsiteX98" fmla="*/ 668083 w 1044701"/>
                <a:gd name="connsiteY98" fmla="*/ 179070 h 731424"/>
                <a:gd name="connsiteX99" fmla="*/ 670465 w 1044701"/>
                <a:gd name="connsiteY99" fmla="*/ 185166 h 731424"/>
                <a:gd name="connsiteX100" fmla="*/ 673798 w 1044701"/>
                <a:gd name="connsiteY100" fmla="*/ 186309 h 731424"/>
                <a:gd name="connsiteX101" fmla="*/ 675227 w 1044701"/>
                <a:gd name="connsiteY101" fmla="*/ 197358 h 731424"/>
                <a:gd name="connsiteX102" fmla="*/ 655034 w 1044701"/>
                <a:gd name="connsiteY102" fmla="*/ 190310 h 731424"/>
                <a:gd name="connsiteX103" fmla="*/ 651700 w 1044701"/>
                <a:gd name="connsiteY103" fmla="*/ 189167 h 731424"/>
                <a:gd name="connsiteX104" fmla="*/ 646366 w 1044701"/>
                <a:gd name="connsiteY104" fmla="*/ 185071 h 731424"/>
                <a:gd name="connsiteX105" fmla="*/ 645033 w 1044701"/>
                <a:gd name="connsiteY105" fmla="*/ 186785 h 731424"/>
                <a:gd name="connsiteX106" fmla="*/ 638270 w 1044701"/>
                <a:gd name="connsiteY106" fmla="*/ 184499 h 731424"/>
                <a:gd name="connsiteX107" fmla="*/ 640080 w 1044701"/>
                <a:gd name="connsiteY107" fmla="*/ 185833 h 731424"/>
                <a:gd name="connsiteX108" fmla="*/ 638842 w 1044701"/>
                <a:gd name="connsiteY108" fmla="*/ 189167 h 731424"/>
                <a:gd name="connsiteX109" fmla="*/ 640652 w 1044701"/>
                <a:gd name="connsiteY109" fmla="*/ 190595 h 731424"/>
                <a:gd name="connsiteX110" fmla="*/ 633984 w 1044701"/>
                <a:gd name="connsiteY110" fmla="*/ 188214 h 731424"/>
                <a:gd name="connsiteX111" fmla="*/ 632555 w 1044701"/>
                <a:gd name="connsiteY111" fmla="*/ 190024 h 731424"/>
                <a:gd name="connsiteX112" fmla="*/ 630936 w 1044701"/>
                <a:gd name="connsiteY112" fmla="*/ 190214 h 731424"/>
                <a:gd name="connsiteX113" fmla="*/ 627793 w 1044701"/>
                <a:gd name="connsiteY113" fmla="*/ 190595 h 731424"/>
                <a:gd name="connsiteX114" fmla="*/ 615410 w 1044701"/>
                <a:gd name="connsiteY114" fmla="*/ 193834 h 731424"/>
                <a:gd name="connsiteX115" fmla="*/ 614839 w 1044701"/>
                <a:gd name="connsiteY115" fmla="*/ 189071 h 731424"/>
                <a:gd name="connsiteX116" fmla="*/ 614648 w 1044701"/>
                <a:gd name="connsiteY116" fmla="*/ 187452 h 731424"/>
                <a:gd name="connsiteX117" fmla="*/ 618744 w 1044701"/>
                <a:gd name="connsiteY117" fmla="*/ 182118 h 731424"/>
                <a:gd name="connsiteX118" fmla="*/ 616934 w 1044701"/>
                <a:gd name="connsiteY118" fmla="*/ 180785 h 731424"/>
                <a:gd name="connsiteX119" fmla="*/ 612267 w 1044701"/>
                <a:gd name="connsiteY119" fmla="*/ 181356 h 731424"/>
                <a:gd name="connsiteX120" fmla="*/ 611981 w 1044701"/>
                <a:gd name="connsiteY120" fmla="*/ 179832 h 731424"/>
                <a:gd name="connsiteX121" fmla="*/ 610457 w 1044701"/>
                <a:gd name="connsiteY121" fmla="*/ 180023 h 731424"/>
                <a:gd name="connsiteX122" fmla="*/ 612457 w 1044701"/>
                <a:gd name="connsiteY122" fmla="*/ 182975 h 731424"/>
                <a:gd name="connsiteX123" fmla="*/ 611219 w 1044701"/>
                <a:gd name="connsiteY123" fmla="*/ 186309 h 731424"/>
                <a:gd name="connsiteX124" fmla="*/ 611410 w 1044701"/>
                <a:gd name="connsiteY124" fmla="*/ 187833 h 731424"/>
                <a:gd name="connsiteX125" fmla="*/ 602552 w 1044701"/>
                <a:gd name="connsiteY125" fmla="*/ 193834 h 731424"/>
                <a:gd name="connsiteX126" fmla="*/ 598837 w 1044701"/>
                <a:gd name="connsiteY126" fmla="*/ 189452 h 731424"/>
                <a:gd name="connsiteX127" fmla="*/ 596074 w 1044701"/>
                <a:gd name="connsiteY127" fmla="*/ 193072 h 731424"/>
                <a:gd name="connsiteX128" fmla="*/ 589597 w 1044701"/>
                <a:gd name="connsiteY128" fmla="*/ 192310 h 731424"/>
                <a:gd name="connsiteX129" fmla="*/ 587026 w 1044701"/>
                <a:gd name="connsiteY129" fmla="*/ 197358 h 731424"/>
                <a:gd name="connsiteX130" fmla="*/ 582073 w 1044701"/>
                <a:gd name="connsiteY130" fmla="*/ 196406 h 731424"/>
                <a:gd name="connsiteX131" fmla="*/ 580644 w 1044701"/>
                <a:gd name="connsiteY131" fmla="*/ 198215 h 731424"/>
                <a:gd name="connsiteX132" fmla="*/ 576929 w 1044701"/>
                <a:gd name="connsiteY132" fmla="*/ 193834 h 731424"/>
                <a:gd name="connsiteX133" fmla="*/ 574929 w 1044701"/>
                <a:gd name="connsiteY133" fmla="*/ 190881 h 731424"/>
                <a:gd name="connsiteX134" fmla="*/ 576167 w 1044701"/>
                <a:gd name="connsiteY134" fmla="*/ 187547 h 731424"/>
                <a:gd name="connsiteX135" fmla="*/ 574548 w 1044701"/>
                <a:gd name="connsiteY135" fmla="*/ 187738 h 731424"/>
                <a:gd name="connsiteX136" fmla="*/ 569405 w 1044701"/>
                <a:gd name="connsiteY136" fmla="*/ 185261 h 731424"/>
                <a:gd name="connsiteX137" fmla="*/ 564832 w 1044701"/>
                <a:gd name="connsiteY137" fmla="*/ 174593 h 731424"/>
                <a:gd name="connsiteX138" fmla="*/ 561689 w 1044701"/>
                <a:gd name="connsiteY138" fmla="*/ 174974 h 731424"/>
                <a:gd name="connsiteX139" fmla="*/ 559880 w 1044701"/>
                <a:gd name="connsiteY139" fmla="*/ 173546 h 731424"/>
                <a:gd name="connsiteX140" fmla="*/ 558546 w 1044701"/>
                <a:gd name="connsiteY140" fmla="*/ 175355 h 731424"/>
                <a:gd name="connsiteX141" fmla="*/ 556736 w 1044701"/>
                <a:gd name="connsiteY141" fmla="*/ 174022 h 731424"/>
                <a:gd name="connsiteX142" fmla="*/ 553593 w 1044701"/>
                <a:gd name="connsiteY142" fmla="*/ 174403 h 731424"/>
                <a:gd name="connsiteX143" fmla="*/ 551974 w 1044701"/>
                <a:gd name="connsiteY143" fmla="*/ 174593 h 731424"/>
                <a:gd name="connsiteX144" fmla="*/ 546068 w 1044701"/>
                <a:gd name="connsiteY144" fmla="*/ 165735 h 731424"/>
                <a:gd name="connsiteX145" fmla="*/ 543115 w 1044701"/>
                <a:gd name="connsiteY145" fmla="*/ 167735 h 731424"/>
                <a:gd name="connsiteX146" fmla="*/ 541972 w 1044701"/>
                <a:gd name="connsiteY146" fmla="*/ 171069 h 731424"/>
                <a:gd name="connsiteX147" fmla="*/ 540353 w 1044701"/>
                <a:gd name="connsiteY147" fmla="*/ 171260 h 731424"/>
                <a:gd name="connsiteX148" fmla="*/ 531495 w 1044701"/>
                <a:gd name="connsiteY148" fmla="*/ 164402 h 731424"/>
                <a:gd name="connsiteX149" fmla="*/ 528447 w 1044701"/>
                <a:gd name="connsiteY149" fmla="*/ 153543 h 731424"/>
                <a:gd name="connsiteX150" fmla="*/ 519589 w 1044701"/>
                <a:gd name="connsiteY150" fmla="*/ 146685 h 731424"/>
                <a:gd name="connsiteX151" fmla="*/ 513493 w 1044701"/>
                <a:gd name="connsiteY151" fmla="*/ 149066 h 731424"/>
                <a:gd name="connsiteX152" fmla="*/ 511683 w 1044701"/>
                <a:gd name="connsiteY152" fmla="*/ 147638 h 731424"/>
                <a:gd name="connsiteX153" fmla="*/ 506921 w 1044701"/>
                <a:gd name="connsiteY153" fmla="*/ 148304 h 731424"/>
                <a:gd name="connsiteX154" fmla="*/ 505015 w 1044701"/>
                <a:gd name="connsiteY154" fmla="*/ 145352 h 731424"/>
                <a:gd name="connsiteX155" fmla="*/ 498443 w 1044701"/>
                <a:gd name="connsiteY155" fmla="*/ 144494 h 731424"/>
                <a:gd name="connsiteX156" fmla="*/ 495300 w 1044701"/>
                <a:gd name="connsiteY156" fmla="*/ 144971 h 731424"/>
                <a:gd name="connsiteX157" fmla="*/ 493300 w 1044701"/>
                <a:gd name="connsiteY157" fmla="*/ 142018 h 731424"/>
                <a:gd name="connsiteX158" fmla="*/ 492347 w 1044701"/>
                <a:gd name="connsiteY158" fmla="*/ 134112 h 731424"/>
                <a:gd name="connsiteX159" fmla="*/ 486728 w 1044701"/>
                <a:gd name="connsiteY159" fmla="*/ 115538 h 731424"/>
                <a:gd name="connsiteX160" fmla="*/ 480250 w 1044701"/>
                <a:gd name="connsiteY160" fmla="*/ 114776 h 731424"/>
                <a:gd name="connsiteX161" fmla="*/ 449675 w 1044701"/>
                <a:gd name="connsiteY161" fmla="*/ 113824 h 731424"/>
                <a:gd name="connsiteX162" fmla="*/ 449580 w 1044701"/>
                <a:gd name="connsiteY162" fmla="*/ 88202 h 731424"/>
                <a:gd name="connsiteX163" fmla="*/ 448437 w 1044701"/>
                <a:gd name="connsiteY163" fmla="*/ 78772 h 731424"/>
                <a:gd name="connsiteX164" fmla="*/ 435197 w 1044701"/>
                <a:gd name="connsiteY164" fmla="*/ 75629 h 731424"/>
                <a:gd name="connsiteX165" fmla="*/ 435102 w 1044701"/>
                <a:gd name="connsiteY165" fmla="*/ 62770 h 731424"/>
                <a:gd name="connsiteX166" fmla="*/ 415957 w 1044701"/>
                <a:gd name="connsiteY166" fmla="*/ 63627 h 731424"/>
                <a:gd name="connsiteX167" fmla="*/ 410623 w 1044701"/>
                <a:gd name="connsiteY167" fmla="*/ 59531 h 731424"/>
                <a:gd name="connsiteX168" fmla="*/ 405955 w 1044701"/>
                <a:gd name="connsiteY168" fmla="*/ 60103 h 731424"/>
                <a:gd name="connsiteX169" fmla="*/ 405289 w 1044701"/>
                <a:gd name="connsiteY169" fmla="*/ 55340 h 731424"/>
                <a:gd name="connsiteX170" fmla="*/ 401193 w 1044701"/>
                <a:gd name="connsiteY170" fmla="*/ 60674 h 731424"/>
                <a:gd name="connsiteX171" fmla="*/ 388525 w 1044701"/>
                <a:gd name="connsiteY171" fmla="*/ 49530 h 731424"/>
                <a:gd name="connsiteX172" fmla="*/ 383572 w 1044701"/>
                <a:gd name="connsiteY172" fmla="*/ 48482 h 731424"/>
                <a:gd name="connsiteX173" fmla="*/ 384429 w 1044701"/>
                <a:gd name="connsiteY173" fmla="*/ 54864 h 731424"/>
                <a:gd name="connsiteX174" fmla="*/ 383000 w 1044701"/>
                <a:gd name="connsiteY174" fmla="*/ 56579 h 731424"/>
                <a:gd name="connsiteX175" fmla="*/ 362331 w 1044701"/>
                <a:gd name="connsiteY175" fmla="*/ 57626 h 731424"/>
                <a:gd name="connsiteX176" fmla="*/ 362903 w 1044701"/>
                <a:gd name="connsiteY176" fmla="*/ 75248 h 731424"/>
                <a:gd name="connsiteX177" fmla="*/ 351663 w 1044701"/>
                <a:gd name="connsiteY177" fmla="*/ 75057 h 731424"/>
                <a:gd name="connsiteX178" fmla="*/ 338899 w 1044701"/>
                <a:gd name="connsiteY178" fmla="*/ 75057 h 731424"/>
                <a:gd name="connsiteX179" fmla="*/ 338328 w 1044701"/>
                <a:gd name="connsiteY179" fmla="*/ 83153 h 731424"/>
                <a:gd name="connsiteX180" fmla="*/ 329470 w 1044701"/>
                <a:gd name="connsiteY180" fmla="*/ 89059 h 731424"/>
                <a:gd name="connsiteX181" fmla="*/ 329851 w 1044701"/>
                <a:gd name="connsiteY181" fmla="*/ 92297 h 731424"/>
                <a:gd name="connsiteX182" fmla="*/ 326898 w 1044701"/>
                <a:gd name="connsiteY182" fmla="*/ 94202 h 731424"/>
                <a:gd name="connsiteX183" fmla="*/ 326231 w 1044701"/>
                <a:gd name="connsiteY183" fmla="*/ 89535 h 731424"/>
                <a:gd name="connsiteX184" fmla="*/ 314992 w 1044701"/>
                <a:gd name="connsiteY184" fmla="*/ 89344 h 731424"/>
                <a:gd name="connsiteX185" fmla="*/ 313468 w 1044701"/>
                <a:gd name="connsiteY185" fmla="*/ 89535 h 731424"/>
                <a:gd name="connsiteX186" fmla="*/ 313087 w 1044701"/>
                <a:gd name="connsiteY186" fmla="*/ 86392 h 731424"/>
                <a:gd name="connsiteX187" fmla="*/ 306324 w 1044701"/>
                <a:gd name="connsiteY187" fmla="*/ 84011 h 731424"/>
                <a:gd name="connsiteX188" fmla="*/ 304133 w 1044701"/>
                <a:gd name="connsiteY188" fmla="*/ 79439 h 731424"/>
                <a:gd name="connsiteX189" fmla="*/ 304514 w 1044701"/>
                <a:gd name="connsiteY189" fmla="*/ 69818 h 731424"/>
                <a:gd name="connsiteX190" fmla="*/ 308229 w 1044701"/>
                <a:gd name="connsiteY190" fmla="*/ 61341 h 731424"/>
                <a:gd name="connsiteX191" fmla="*/ 303086 w 1044701"/>
                <a:gd name="connsiteY191" fmla="*/ 58769 h 731424"/>
                <a:gd name="connsiteX192" fmla="*/ 304324 w 1044701"/>
                <a:gd name="connsiteY192" fmla="*/ 55435 h 731424"/>
                <a:gd name="connsiteX193" fmla="*/ 303847 w 1044701"/>
                <a:gd name="connsiteY193" fmla="*/ 52292 h 731424"/>
                <a:gd name="connsiteX194" fmla="*/ 294227 w 1044701"/>
                <a:gd name="connsiteY194" fmla="*/ 51911 h 731424"/>
                <a:gd name="connsiteX195" fmla="*/ 290513 w 1044701"/>
                <a:gd name="connsiteY195" fmla="*/ 47530 h 731424"/>
                <a:gd name="connsiteX196" fmla="*/ 285083 w 1044701"/>
                <a:gd name="connsiteY196" fmla="*/ 43434 h 731424"/>
                <a:gd name="connsiteX197" fmla="*/ 280797 w 1044701"/>
                <a:gd name="connsiteY197" fmla="*/ 47149 h 731424"/>
                <a:gd name="connsiteX198" fmla="*/ 278416 w 1044701"/>
                <a:gd name="connsiteY198" fmla="*/ 53912 h 731424"/>
                <a:gd name="connsiteX199" fmla="*/ 270129 w 1044701"/>
                <a:gd name="connsiteY199" fmla="*/ 51721 h 731424"/>
                <a:gd name="connsiteX200" fmla="*/ 269177 w 1044701"/>
                <a:gd name="connsiteY200" fmla="*/ 56674 h 731424"/>
                <a:gd name="connsiteX201" fmla="*/ 264414 w 1044701"/>
                <a:gd name="connsiteY201" fmla="*/ 57245 h 731424"/>
                <a:gd name="connsiteX202" fmla="*/ 264605 w 1044701"/>
                <a:gd name="connsiteY202" fmla="*/ 58865 h 731424"/>
                <a:gd name="connsiteX203" fmla="*/ 260128 w 1044701"/>
                <a:gd name="connsiteY203" fmla="*/ 61055 h 731424"/>
                <a:gd name="connsiteX204" fmla="*/ 260890 w 1044701"/>
                <a:gd name="connsiteY204" fmla="*/ 67342 h 731424"/>
                <a:gd name="connsiteX205" fmla="*/ 262699 w 1044701"/>
                <a:gd name="connsiteY205" fmla="*/ 68771 h 731424"/>
                <a:gd name="connsiteX206" fmla="*/ 260985 w 1044701"/>
                <a:gd name="connsiteY206" fmla="*/ 80200 h 731424"/>
                <a:gd name="connsiteX207" fmla="*/ 259747 w 1044701"/>
                <a:gd name="connsiteY207" fmla="*/ 83534 h 731424"/>
                <a:gd name="connsiteX208" fmla="*/ 256604 w 1044701"/>
                <a:gd name="connsiteY208" fmla="*/ 83915 h 731424"/>
                <a:gd name="connsiteX209" fmla="*/ 256794 w 1044701"/>
                <a:gd name="connsiteY209" fmla="*/ 85535 h 731424"/>
                <a:gd name="connsiteX210" fmla="*/ 254794 w 1044701"/>
                <a:gd name="connsiteY210" fmla="*/ 82582 h 731424"/>
                <a:gd name="connsiteX211" fmla="*/ 251079 w 1044701"/>
                <a:gd name="connsiteY211" fmla="*/ 91059 h 731424"/>
                <a:gd name="connsiteX212" fmla="*/ 247364 w 1044701"/>
                <a:gd name="connsiteY212" fmla="*/ 86677 h 731424"/>
                <a:gd name="connsiteX213" fmla="*/ 242411 w 1044701"/>
                <a:gd name="connsiteY213" fmla="*/ 85725 h 731424"/>
                <a:gd name="connsiteX214" fmla="*/ 239458 w 1044701"/>
                <a:gd name="connsiteY214" fmla="*/ 87725 h 731424"/>
                <a:gd name="connsiteX215" fmla="*/ 239268 w 1044701"/>
                <a:gd name="connsiteY215" fmla="*/ 86106 h 731424"/>
                <a:gd name="connsiteX216" fmla="*/ 235934 w 1044701"/>
                <a:gd name="connsiteY216" fmla="*/ 84963 h 731424"/>
                <a:gd name="connsiteX217" fmla="*/ 234696 w 1044701"/>
                <a:gd name="connsiteY217" fmla="*/ 88297 h 731424"/>
                <a:gd name="connsiteX218" fmla="*/ 231553 w 1044701"/>
                <a:gd name="connsiteY218" fmla="*/ 88773 h 731424"/>
                <a:gd name="connsiteX219" fmla="*/ 228981 w 1044701"/>
                <a:gd name="connsiteY219" fmla="*/ 93917 h 731424"/>
                <a:gd name="connsiteX220" fmla="*/ 227457 w 1044701"/>
                <a:gd name="connsiteY220" fmla="*/ 94107 h 731424"/>
                <a:gd name="connsiteX221" fmla="*/ 227838 w 1044701"/>
                <a:gd name="connsiteY221" fmla="*/ 97250 h 731424"/>
                <a:gd name="connsiteX222" fmla="*/ 225076 w 1044701"/>
                <a:gd name="connsiteY222" fmla="*/ 100775 h 731424"/>
                <a:gd name="connsiteX223" fmla="*/ 221552 w 1044701"/>
                <a:gd name="connsiteY223" fmla="*/ 98012 h 731424"/>
                <a:gd name="connsiteX224" fmla="*/ 219932 w 1044701"/>
                <a:gd name="connsiteY224" fmla="*/ 98203 h 731424"/>
                <a:gd name="connsiteX225" fmla="*/ 218789 w 1044701"/>
                <a:gd name="connsiteY225" fmla="*/ 101632 h 731424"/>
                <a:gd name="connsiteX226" fmla="*/ 215170 w 1044701"/>
                <a:gd name="connsiteY226" fmla="*/ 98869 h 731424"/>
                <a:gd name="connsiteX227" fmla="*/ 214979 w 1044701"/>
                <a:gd name="connsiteY227" fmla="*/ 97250 h 731424"/>
                <a:gd name="connsiteX228" fmla="*/ 209836 w 1044701"/>
                <a:gd name="connsiteY228" fmla="*/ 94679 h 731424"/>
                <a:gd name="connsiteX229" fmla="*/ 209645 w 1044701"/>
                <a:gd name="connsiteY229" fmla="*/ 93154 h 731424"/>
                <a:gd name="connsiteX230" fmla="*/ 199358 w 1044701"/>
                <a:gd name="connsiteY230" fmla="*/ 88011 h 731424"/>
                <a:gd name="connsiteX231" fmla="*/ 197644 w 1044701"/>
                <a:gd name="connsiteY231" fmla="*/ 86677 h 731424"/>
                <a:gd name="connsiteX232" fmla="*/ 195834 w 1044701"/>
                <a:gd name="connsiteY232" fmla="*/ 85249 h 731424"/>
                <a:gd name="connsiteX233" fmla="*/ 195263 w 1044701"/>
                <a:gd name="connsiteY233" fmla="*/ 93345 h 731424"/>
                <a:gd name="connsiteX234" fmla="*/ 191738 w 1044701"/>
                <a:gd name="connsiteY234" fmla="*/ 90583 h 731424"/>
                <a:gd name="connsiteX235" fmla="*/ 191929 w 1044701"/>
                <a:gd name="connsiteY235" fmla="*/ 92202 h 731424"/>
                <a:gd name="connsiteX236" fmla="*/ 186785 w 1044701"/>
                <a:gd name="connsiteY236" fmla="*/ 89630 h 731424"/>
                <a:gd name="connsiteX237" fmla="*/ 182023 w 1044701"/>
                <a:gd name="connsiteY237" fmla="*/ 90202 h 731424"/>
                <a:gd name="connsiteX238" fmla="*/ 181832 w 1044701"/>
                <a:gd name="connsiteY238" fmla="*/ 88678 h 731424"/>
                <a:gd name="connsiteX239" fmla="*/ 183452 w 1044701"/>
                <a:gd name="connsiteY239" fmla="*/ 88487 h 731424"/>
                <a:gd name="connsiteX240" fmla="*/ 183261 w 1044701"/>
                <a:gd name="connsiteY240" fmla="*/ 86868 h 731424"/>
                <a:gd name="connsiteX241" fmla="*/ 181642 w 1044701"/>
                <a:gd name="connsiteY241" fmla="*/ 87058 h 731424"/>
                <a:gd name="connsiteX242" fmla="*/ 180213 w 1044701"/>
                <a:gd name="connsiteY242" fmla="*/ 88868 h 731424"/>
                <a:gd name="connsiteX243" fmla="*/ 175070 w 1044701"/>
                <a:gd name="connsiteY243" fmla="*/ 86296 h 731424"/>
                <a:gd name="connsiteX244" fmla="*/ 173736 w 1044701"/>
                <a:gd name="connsiteY244" fmla="*/ 88106 h 731424"/>
                <a:gd name="connsiteX245" fmla="*/ 175355 w 1044701"/>
                <a:gd name="connsiteY245" fmla="*/ 87916 h 731424"/>
                <a:gd name="connsiteX246" fmla="*/ 170783 w 1044701"/>
                <a:gd name="connsiteY246" fmla="*/ 90106 h 731424"/>
                <a:gd name="connsiteX247" fmla="*/ 168783 w 1044701"/>
                <a:gd name="connsiteY247" fmla="*/ 87154 h 731424"/>
                <a:gd name="connsiteX248" fmla="*/ 165640 w 1044701"/>
                <a:gd name="connsiteY248" fmla="*/ 87535 h 731424"/>
                <a:gd name="connsiteX249" fmla="*/ 163925 w 1044701"/>
                <a:gd name="connsiteY249" fmla="*/ 86106 h 731424"/>
                <a:gd name="connsiteX250" fmla="*/ 162496 w 1044701"/>
                <a:gd name="connsiteY250" fmla="*/ 87916 h 731424"/>
                <a:gd name="connsiteX251" fmla="*/ 162115 w 1044701"/>
                <a:gd name="connsiteY251" fmla="*/ 84773 h 731424"/>
                <a:gd name="connsiteX252" fmla="*/ 160496 w 1044701"/>
                <a:gd name="connsiteY252" fmla="*/ 84963 h 731424"/>
                <a:gd name="connsiteX253" fmla="*/ 161354 w 1044701"/>
                <a:gd name="connsiteY253" fmla="*/ 91250 h 731424"/>
                <a:gd name="connsiteX254" fmla="*/ 164497 w 1044701"/>
                <a:gd name="connsiteY254" fmla="*/ 90869 h 731424"/>
                <a:gd name="connsiteX255" fmla="*/ 163068 w 1044701"/>
                <a:gd name="connsiteY255" fmla="*/ 92678 h 731424"/>
                <a:gd name="connsiteX256" fmla="*/ 161354 w 1044701"/>
                <a:gd name="connsiteY256" fmla="*/ 91250 h 731424"/>
                <a:gd name="connsiteX257" fmla="*/ 157734 w 1044701"/>
                <a:gd name="connsiteY257" fmla="*/ 88487 h 731424"/>
                <a:gd name="connsiteX258" fmla="*/ 156400 w 1044701"/>
                <a:gd name="connsiteY258" fmla="*/ 90297 h 731424"/>
                <a:gd name="connsiteX259" fmla="*/ 156591 w 1044701"/>
                <a:gd name="connsiteY259" fmla="*/ 91916 h 731424"/>
                <a:gd name="connsiteX260" fmla="*/ 154972 w 1044701"/>
                <a:gd name="connsiteY260" fmla="*/ 92107 h 731424"/>
                <a:gd name="connsiteX261" fmla="*/ 153448 w 1044701"/>
                <a:gd name="connsiteY261" fmla="*/ 92297 h 731424"/>
                <a:gd name="connsiteX262" fmla="*/ 152781 w 1044701"/>
                <a:gd name="connsiteY262" fmla="*/ 87535 h 731424"/>
                <a:gd name="connsiteX263" fmla="*/ 149638 w 1044701"/>
                <a:gd name="connsiteY263" fmla="*/ 87916 h 731424"/>
                <a:gd name="connsiteX264" fmla="*/ 149828 w 1044701"/>
                <a:gd name="connsiteY264" fmla="*/ 76676 h 731424"/>
                <a:gd name="connsiteX265" fmla="*/ 142970 w 1044701"/>
                <a:gd name="connsiteY265" fmla="*/ 72771 h 731424"/>
                <a:gd name="connsiteX266" fmla="*/ 139732 w 1044701"/>
                <a:gd name="connsiteY266" fmla="*/ 73152 h 731424"/>
                <a:gd name="connsiteX267" fmla="*/ 138779 w 1044701"/>
                <a:gd name="connsiteY267" fmla="*/ 78105 h 731424"/>
                <a:gd name="connsiteX268" fmla="*/ 143923 w 1044701"/>
                <a:gd name="connsiteY268" fmla="*/ 80677 h 731424"/>
                <a:gd name="connsiteX269" fmla="*/ 137827 w 1044701"/>
                <a:gd name="connsiteY269" fmla="*/ 83058 h 731424"/>
                <a:gd name="connsiteX270" fmla="*/ 136017 w 1044701"/>
                <a:gd name="connsiteY270" fmla="*/ 81629 h 731424"/>
                <a:gd name="connsiteX271" fmla="*/ 134684 w 1044701"/>
                <a:gd name="connsiteY271" fmla="*/ 83439 h 731424"/>
                <a:gd name="connsiteX272" fmla="*/ 135255 w 1044701"/>
                <a:gd name="connsiteY272" fmla="*/ 88202 h 731424"/>
                <a:gd name="connsiteX273" fmla="*/ 130683 w 1044701"/>
                <a:gd name="connsiteY273" fmla="*/ 90392 h 731424"/>
                <a:gd name="connsiteX274" fmla="*/ 127349 w 1044701"/>
                <a:gd name="connsiteY274" fmla="*/ 89154 h 731424"/>
                <a:gd name="connsiteX275" fmla="*/ 126778 w 1044701"/>
                <a:gd name="connsiteY275" fmla="*/ 84487 h 731424"/>
                <a:gd name="connsiteX276" fmla="*/ 125349 w 1044701"/>
                <a:gd name="connsiteY276" fmla="*/ 86201 h 731424"/>
                <a:gd name="connsiteX277" fmla="*/ 123444 w 1044701"/>
                <a:gd name="connsiteY277" fmla="*/ 83248 h 731424"/>
                <a:gd name="connsiteX278" fmla="*/ 120301 w 1044701"/>
                <a:gd name="connsiteY278" fmla="*/ 83629 h 731424"/>
                <a:gd name="connsiteX279" fmla="*/ 109823 w 1044701"/>
                <a:gd name="connsiteY279" fmla="*/ 89821 h 731424"/>
                <a:gd name="connsiteX280" fmla="*/ 108394 w 1044701"/>
                <a:gd name="connsiteY280" fmla="*/ 91631 h 731424"/>
                <a:gd name="connsiteX281" fmla="*/ 107823 w 1044701"/>
                <a:gd name="connsiteY281" fmla="*/ 99727 h 731424"/>
                <a:gd name="connsiteX282" fmla="*/ 106680 w 1044701"/>
                <a:gd name="connsiteY282" fmla="*/ 103061 h 731424"/>
                <a:gd name="connsiteX283" fmla="*/ 108490 w 1044701"/>
                <a:gd name="connsiteY283" fmla="*/ 104394 h 731424"/>
                <a:gd name="connsiteX284" fmla="*/ 110680 w 1044701"/>
                <a:gd name="connsiteY284" fmla="*/ 108966 h 731424"/>
                <a:gd name="connsiteX285" fmla="*/ 109252 w 1044701"/>
                <a:gd name="connsiteY285" fmla="*/ 110776 h 731424"/>
                <a:gd name="connsiteX286" fmla="*/ 105727 w 1044701"/>
                <a:gd name="connsiteY286" fmla="*/ 108014 h 731424"/>
                <a:gd name="connsiteX287" fmla="*/ 102965 w 1044701"/>
                <a:gd name="connsiteY287" fmla="*/ 111538 h 731424"/>
                <a:gd name="connsiteX288" fmla="*/ 98393 w 1044701"/>
                <a:gd name="connsiteY288" fmla="*/ 113729 h 731424"/>
                <a:gd name="connsiteX289" fmla="*/ 98584 w 1044701"/>
                <a:gd name="connsiteY289" fmla="*/ 115252 h 731424"/>
                <a:gd name="connsiteX290" fmla="*/ 96869 w 1044701"/>
                <a:gd name="connsiteY290" fmla="*/ 113919 h 731424"/>
                <a:gd name="connsiteX291" fmla="*/ 85630 w 1044701"/>
                <a:gd name="connsiteY291" fmla="*/ 113729 h 731424"/>
                <a:gd name="connsiteX292" fmla="*/ 86201 w 1044701"/>
                <a:gd name="connsiteY292" fmla="*/ 118491 h 731424"/>
                <a:gd name="connsiteX293" fmla="*/ 90964 w 1044701"/>
                <a:gd name="connsiteY293" fmla="*/ 117919 h 731424"/>
                <a:gd name="connsiteX294" fmla="*/ 88011 w 1044701"/>
                <a:gd name="connsiteY294" fmla="*/ 119825 h 731424"/>
                <a:gd name="connsiteX295" fmla="*/ 83058 w 1044701"/>
                <a:gd name="connsiteY295" fmla="*/ 118872 h 731424"/>
                <a:gd name="connsiteX296" fmla="*/ 83248 w 1044701"/>
                <a:gd name="connsiteY296" fmla="*/ 120491 h 731424"/>
                <a:gd name="connsiteX297" fmla="*/ 78962 w 1044701"/>
                <a:gd name="connsiteY297" fmla="*/ 124206 h 731424"/>
                <a:gd name="connsiteX298" fmla="*/ 77343 w 1044701"/>
                <a:gd name="connsiteY298" fmla="*/ 124396 h 731424"/>
                <a:gd name="connsiteX299" fmla="*/ 73247 w 1044701"/>
                <a:gd name="connsiteY299" fmla="*/ 129731 h 731424"/>
                <a:gd name="connsiteX300" fmla="*/ 60960 w 1044701"/>
                <a:gd name="connsiteY300" fmla="*/ 134493 h 731424"/>
                <a:gd name="connsiteX301" fmla="*/ 50863 w 1044701"/>
                <a:gd name="connsiteY301" fmla="*/ 118205 h 731424"/>
                <a:gd name="connsiteX302" fmla="*/ 49054 w 1044701"/>
                <a:gd name="connsiteY302" fmla="*/ 116777 h 731424"/>
                <a:gd name="connsiteX303" fmla="*/ 47530 w 1044701"/>
                <a:gd name="connsiteY303" fmla="*/ 116967 h 731424"/>
                <a:gd name="connsiteX304" fmla="*/ 50292 w 1044701"/>
                <a:gd name="connsiteY304" fmla="*/ 126302 h 731424"/>
                <a:gd name="connsiteX305" fmla="*/ 44386 w 1044701"/>
                <a:gd name="connsiteY305" fmla="*/ 130207 h 731424"/>
                <a:gd name="connsiteX306" fmla="*/ 39243 w 1044701"/>
                <a:gd name="connsiteY306" fmla="*/ 127635 h 731424"/>
                <a:gd name="connsiteX307" fmla="*/ 38671 w 1044701"/>
                <a:gd name="connsiteY307" fmla="*/ 122968 h 731424"/>
                <a:gd name="connsiteX308" fmla="*/ 35147 w 1044701"/>
                <a:gd name="connsiteY308" fmla="*/ 120206 h 731424"/>
                <a:gd name="connsiteX309" fmla="*/ 29146 w 1044701"/>
                <a:gd name="connsiteY309" fmla="*/ 124111 h 731424"/>
                <a:gd name="connsiteX310" fmla="*/ 25622 w 1044701"/>
                <a:gd name="connsiteY310" fmla="*/ 134207 h 731424"/>
                <a:gd name="connsiteX311" fmla="*/ 32766 w 1044701"/>
                <a:gd name="connsiteY311" fmla="*/ 139732 h 731424"/>
                <a:gd name="connsiteX312" fmla="*/ 37147 w 1044701"/>
                <a:gd name="connsiteY312" fmla="*/ 135922 h 731424"/>
                <a:gd name="connsiteX313" fmla="*/ 41243 w 1044701"/>
                <a:gd name="connsiteY313" fmla="*/ 143446 h 731424"/>
                <a:gd name="connsiteX314" fmla="*/ 44386 w 1044701"/>
                <a:gd name="connsiteY314" fmla="*/ 143066 h 731424"/>
                <a:gd name="connsiteX315" fmla="*/ 39910 w 1044701"/>
                <a:gd name="connsiteY315" fmla="*/ 145256 h 731424"/>
                <a:gd name="connsiteX316" fmla="*/ 36100 w 1044701"/>
                <a:gd name="connsiteY316" fmla="*/ 140875 h 731424"/>
                <a:gd name="connsiteX317" fmla="*/ 33338 w 1044701"/>
                <a:gd name="connsiteY317" fmla="*/ 144494 h 731424"/>
                <a:gd name="connsiteX318" fmla="*/ 30194 w 1044701"/>
                <a:gd name="connsiteY318" fmla="*/ 144875 h 731424"/>
                <a:gd name="connsiteX319" fmla="*/ 28861 w 1044701"/>
                <a:gd name="connsiteY319" fmla="*/ 146685 h 731424"/>
                <a:gd name="connsiteX320" fmla="*/ 31432 w 1044701"/>
                <a:gd name="connsiteY320" fmla="*/ 154305 h 731424"/>
                <a:gd name="connsiteX321" fmla="*/ 33623 w 1044701"/>
                <a:gd name="connsiteY321" fmla="*/ 158877 h 731424"/>
                <a:gd name="connsiteX322" fmla="*/ 33814 w 1044701"/>
                <a:gd name="connsiteY322" fmla="*/ 173260 h 731424"/>
                <a:gd name="connsiteX323" fmla="*/ 27337 w 1044701"/>
                <a:gd name="connsiteY323" fmla="*/ 172498 h 731424"/>
                <a:gd name="connsiteX324" fmla="*/ 22765 w 1044701"/>
                <a:gd name="connsiteY324" fmla="*/ 174689 h 731424"/>
                <a:gd name="connsiteX325" fmla="*/ 21050 w 1044701"/>
                <a:gd name="connsiteY325" fmla="*/ 173260 h 731424"/>
                <a:gd name="connsiteX326" fmla="*/ 21431 w 1044701"/>
                <a:gd name="connsiteY326" fmla="*/ 176403 h 731424"/>
                <a:gd name="connsiteX327" fmla="*/ 18288 w 1044701"/>
                <a:gd name="connsiteY327" fmla="*/ 176879 h 731424"/>
                <a:gd name="connsiteX328" fmla="*/ 16478 w 1044701"/>
                <a:gd name="connsiteY328" fmla="*/ 175450 h 731424"/>
                <a:gd name="connsiteX329" fmla="*/ 13144 w 1044701"/>
                <a:gd name="connsiteY329" fmla="*/ 174308 h 731424"/>
                <a:gd name="connsiteX330" fmla="*/ 11906 w 1044701"/>
                <a:gd name="connsiteY330" fmla="*/ 177641 h 731424"/>
                <a:gd name="connsiteX331" fmla="*/ 8954 w 1044701"/>
                <a:gd name="connsiteY331" fmla="*/ 179642 h 731424"/>
                <a:gd name="connsiteX332" fmla="*/ 9239 w 1044701"/>
                <a:gd name="connsiteY332" fmla="*/ 181261 h 731424"/>
                <a:gd name="connsiteX333" fmla="*/ 12763 w 1044701"/>
                <a:gd name="connsiteY333" fmla="*/ 183928 h 731424"/>
                <a:gd name="connsiteX334" fmla="*/ 24003 w 1044701"/>
                <a:gd name="connsiteY334" fmla="*/ 184118 h 731424"/>
                <a:gd name="connsiteX335" fmla="*/ 22860 w 1044701"/>
                <a:gd name="connsiteY335" fmla="*/ 187547 h 731424"/>
                <a:gd name="connsiteX336" fmla="*/ 27337 w 1044701"/>
                <a:gd name="connsiteY336" fmla="*/ 185356 h 731424"/>
                <a:gd name="connsiteX337" fmla="*/ 28004 w 1044701"/>
                <a:gd name="connsiteY337" fmla="*/ 190024 h 731424"/>
                <a:gd name="connsiteX338" fmla="*/ 26575 w 1044701"/>
                <a:gd name="connsiteY338" fmla="*/ 191834 h 731424"/>
                <a:gd name="connsiteX339" fmla="*/ 24765 w 1044701"/>
                <a:gd name="connsiteY339" fmla="*/ 190500 h 731424"/>
                <a:gd name="connsiteX340" fmla="*/ 23431 w 1044701"/>
                <a:gd name="connsiteY340" fmla="*/ 192215 h 731424"/>
                <a:gd name="connsiteX341" fmla="*/ 18288 w 1044701"/>
                <a:gd name="connsiteY341" fmla="*/ 189643 h 731424"/>
                <a:gd name="connsiteX342" fmla="*/ 18479 w 1044701"/>
                <a:gd name="connsiteY342" fmla="*/ 191262 h 731424"/>
                <a:gd name="connsiteX343" fmla="*/ 21812 w 1044701"/>
                <a:gd name="connsiteY343" fmla="*/ 192405 h 731424"/>
                <a:gd name="connsiteX344" fmla="*/ 20288 w 1044701"/>
                <a:gd name="connsiteY344" fmla="*/ 192596 h 731424"/>
                <a:gd name="connsiteX345" fmla="*/ 15145 w 1044701"/>
                <a:gd name="connsiteY345" fmla="*/ 190119 h 731424"/>
                <a:gd name="connsiteX346" fmla="*/ 11811 w 1044701"/>
                <a:gd name="connsiteY346" fmla="*/ 188881 h 731424"/>
                <a:gd name="connsiteX347" fmla="*/ 6096 w 1044701"/>
                <a:gd name="connsiteY347" fmla="*/ 194405 h 731424"/>
                <a:gd name="connsiteX348" fmla="*/ 0 w 1044701"/>
                <a:gd name="connsiteY348" fmla="*/ 196787 h 731424"/>
                <a:gd name="connsiteX349" fmla="*/ 5334 w 1044701"/>
                <a:gd name="connsiteY349" fmla="*/ 200977 h 731424"/>
                <a:gd name="connsiteX350" fmla="*/ 5715 w 1044701"/>
                <a:gd name="connsiteY350" fmla="*/ 204121 h 731424"/>
                <a:gd name="connsiteX351" fmla="*/ 7239 w 1044701"/>
                <a:gd name="connsiteY351" fmla="*/ 203930 h 731424"/>
                <a:gd name="connsiteX352" fmla="*/ 8096 w 1044701"/>
                <a:gd name="connsiteY352" fmla="*/ 210217 h 731424"/>
                <a:gd name="connsiteX353" fmla="*/ 11621 w 1044701"/>
                <a:gd name="connsiteY353" fmla="*/ 212979 h 731424"/>
                <a:gd name="connsiteX354" fmla="*/ 13240 w 1044701"/>
                <a:gd name="connsiteY354" fmla="*/ 212789 h 731424"/>
                <a:gd name="connsiteX355" fmla="*/ 11811 w 1044701"/>
                <a:gd name="connsiteY355" fmla="*/ 214598 h 731424"/>
                <a:gd name="connsiteX356" fmla="*/ 14954 w 1044701"/>
                <a:gd name="connsiteY356" fmla="*/ 214122 h 731424"/>
                <a:gd name="connsiteX357" fmla="*/ 15430 w 1044701"/>
                <a:gd name="connsiteY357" fmla="*/ 217265 h 731424"/>
                <a:gd name="connsiteX358" fmla="*/ 20574 w 1044701"/>
                <a:gd name="connsiteY358" fmla="*/ 219837 h 731424"/>
                <a:gd name="connsiteX359" fmla="*/ 25717 w 1044701"/>
                <a:gd name="connsiteY359" fmla="*/ 222409 h 731424"/>
                <a:gd name="connsiteX360" fmla="*/ 27432 w 1044701"/>
                <a:gd name="connsiteY360" fmla="*/ 223838 h 731424"/>
                <a:gd name="connsiteX361" fmla="*/ 31623 w 1044701"/>
                <a:gd name="connsiteY361" fmla="*/ 218504 h 731424"/>
                <a:gd name="connsiteX362" fmla="*/ 39910 w 1044701"/>
                <a:gd name="connsiteY362" fmla="*/ 220599 h 731424"/>
                <a:gd name="connsiteX363" fmla="*/ 38481 w 1044701"/>
                <a:gd name="connsiteY363" fmla="*/ 222409 h 731424"/>
                <a:gd name="connsiteX364" fmla="*/ 36767 w 1044701"/>
                <a:gd name="connsiteY364" fmla="*/ 220980 h 731424"/>
                <a:gd name="connsiteX365" fmla="*/ 40481 w 1044701"/>
                <a:gd name="connsiteY365" fmla="*/ 225362 h 731424"/>
                <a:gd name="connsiteX366" fmla="*/ 43434 w 1044701"/>
                <a:gd name="connsiteY366" fmla="*/ 223361 h 731424"/>
                <a:gd name="connsiteX367" fmla="*/ 48577 w 1044701"/>
                <a:gd name="connsiteY367" fmla="*/ 225933 h 731424"/>
                <a:gd name="connsiteX368" fmla="*/ 44196 w 1044701"/>
                <a:gd name="connsiteY368" fmla="*/ 229648 h 731424"/>
                <a:gd name="connsiteX369" fmla="*/ 41053 w 1044701"/>
                <a:gd name="connsiteY369" fmla="*/ 230029 h 731424"/>
                <a:gd name="connsiteX370" fmla="*/ 43053 w 1044701"/>
                <a:gd name="connsiteY370" fmla="*/ 232981 h 731424"/>
                <a:gd name="connsiteX371" fmla="*/ 46387 w 1044701"/>
                <a:gd name="connsiteY371" fmla="*/ 234220 h 731424"/>
                <a:gd name="connsiteX372" fmla="*/ 49625 w 1044701"/>
                <a:gd name="connsiteY372" fmla="*/ 233839 h 731424"/>
                <a:gd name="connsiteX373" fmla="*/ 49816 w 1044701"/>
                <a:gd name="connsiteY373" fmla="*/ 235363 h 731424"/>
                <a:gd name="connsiteX374" fmla="*/ 51149 w 1044701"/>
                <a:gd name="connsiteY374" fmla="*/ 233648 h 731424"/>
                <a:gd name="connsiteX375" fmla="*/ 52959 w 1044701"/>
                <a:gd name="connsiteY375" fmla="*/ 234982 h 731424"/>
                <a:gd name="connsiteX376" fmla="*/ 58102 w 1044701"/>
                <a:gd name="connsiteY376" fmla="*/ 237554 h 731424"/>
                <a:gd name="connsiteX377" fmla="*/ 65342 w 1044701"/>
                <a:gd name="connsiteY377" fmla="*/ 231839 h 731424"/>
                <a:gd name="connsiteX378" fmla="*/ 67151 w 1044701"/>
                <a:gd name="connsiteY378" fmla="*/ 233172 h 731424"/>
                <a:gd name="connsiteX379" fmla="*/ 67532 w 1044701"/>
                <a:gd name="connsiteY379" fmla="*/ 236315 h 731424"/>
                <a:gd name="connsiteX380" fmla="*/ 69342 w 1044701"/>
                <a:gd name="connsiteY380" fmla="*/ 237744 h 731424"/>
                <a:gd name="connsiteX381" fmla="*/ 66389 w 1044701"/>
                <a:gd name="connsiteY381" fmla="*/ 239649 h 731424"/>
                <a:gd name="connsiteX382" fmla="*/ 67151 w 1044701"/>
                <a:gd name="connsiteY382" fmla="*/ 246031 h 731424"/>
                <a:gd name="connsiteX383" fmla="*/ 70294 w 1044701"/>
                <a:gd name="connsiteY383" fmla="*/ 245555 h 731424"/>
                <a:gd name="connsiteX384" fmla="*/ 73819 w 1044701"/>
                <a:gd name="connsiteY384" fmla="*/ 235553 h 731424"/>
                <a:gd name="connsiteX385" fmla="*/ 75819 w 1044701"/>
                <a:gd name="connsiteY385" fmla="*/ 238506 h 731424"/>
                <a:gd name="connsiteX386" fmla="*/ 74676 w 1044701"/>
                <a:gd name="connsiteY386" fmla="*/ 241840 h 731424"/>
                <a:gd name="connsiteX387" fmla="*/ 77819 w 1044701"/>
                <a:gd name="connsiteY387" fmla="*/ 241459 h 731424"/>
                <a:gd name="connsiteX388" fmla="*/ 76867 w 1044701"/>
                <a:gd name="connsiteY388" fmla="*/ 246412 h 731424"/>
                <a:gd name="connsiteX389" fmla="*/ 77438 w 1044701"/>
                <a:gd name="connsiteY389" fmla="*/ 251079 h 731424"/>
                <a:gd name="connsiteX390" fmla="*/ 76105 w 1044701"/>
                <a:gd name="connsiteY390" fmla="*/ 252889 h 731424"/>
                <a:gd name="connsiteX391" fmla="*/ 68580 w 1044701"/>
                <a:gd name="connsiteY391" fmla="*/ 257080 h 731424"/>
                <a:gd name="connsiteX392" fmla="*/ 68771 w 1044701"/>
                <a:gd name="connsiteY392" fmla="*/ 258604 h 731424"/>
                <a:gd name="connsiteX393" fmla="*/ 70771 w 1044701"/>
                <a:gd name="connsiteY393" fmla="*/ 261556 h 731424"/>
                <a:gd name="connsiteX394" fmla="*/ 79438 w 1044701"/>
                <a:gd name="connsiteY394" fmla="*/ 266890 h 731424"/>
                <a:gd name="connsiteX395" fmla="*/ 98774 w 1044701"/>
                <a:gd name="connsiteY395" fmla="*/ 280416 h 731424"/>
                <a:gd name="connsiteX396" fmla="*/ 100203 w 1044701"/>
                <a:gd name="connsiteY396" fmla="*/ 278702 h 731424"/>
                <a:gd name="connsiteX397" fmla="*/ 103346 w 1044701"/>
                <a:gd name="connsiteY397" fmla="*/ 278225 h 731424"/>
                <a:gd name="connsiteX398" fmla="*/ 105537 w 1044701"/>
                <a:gd name="connsiteY398" fmla="*/ 282797 h 731424"/>
                <a:gd name="connsiteX399" fmla="*/ 106871 w 1044701"/>
                <a:gd name="connsiteY399" fmla="*/ 280988 h 731424"/>
                <a:gd name="connsiteX400" fmla="*/ 108680 w 1044701"/>
                <a:gd name="connsiteY400" fmla="*/ 282416 h 731424"/>
                <a:gd name="connsiteX401" fmla="*/ 110490 w 1044701"/>
                <a:gd name="connsiteY401" fmla="*/ 283750 h 731424"/>
                <a:gd name="connsiteX402" fmla="*/ 109252 w 1044701"/>
                <a:gd name="connsiteY402" fmla="*/ 287179 h 731424"/>
                <a:gd name="connsiteX403" fmla="*/ 112681 w 1044701"/>
                <a:gd name="connsiteY403" fmla="*/ 288322 h 731424"/>
                <a:gd name="connsiteX404" fmla="*/ 115443 w 1044701"/>
                <a:gd name="connsiteY404" fmla="*/ 284798 h 731424"/>
                <a:gd name="connsiteX405" fmla="*/ 119348 w 1044701"/>
                <a:gd name="connsiteY405" fmla="*/ 290703 h 731424"/>
                <a:gd name="connsiteX406" fmla="*/ 116776 w 1044701"/>
                <a:gd name="connsiteY406" fmla="*/ 295847 h 731424"/>
                <a:gd name="connsiteX407" fmla="*/ 118586 w 1044701"/>
                <a:gd name="connsiteY407" fmla="*/ 297180 h 731424"/>
                <a:gd name="connsiteX408" fmla="*/ 117634 w 1044701"/>
                <a:gd name="connsiteY408" fmla="*/ 302133 h 731424"/>
                <a:gd name="connsiteX409" fmla="*/ 119634 w 1044701"/>
                <a:gd name="connsiteY409" fmla="*/ 305086 h 731424"/>
                <a:gd name="connsiteX410" fmla="*/ 116205 w 1044701"/>
                <a:gd name="connsiteY410" fmla="*/ 303943 h 731424"/>
                <a:gd name="connsiteX411" fmla="*/ 111728 w 1044701"/>
                <a:gd name="connsiteY411" fmla="*/ 306038 h 731424"/>
                <a:gd name="connsiteX412" fmla="*/ 107537 w 1044701"/>
                <a:gd name="connsiteY412" fmla="*/ 311372 h 731424"/>
                <a:gd name="connsiteX413" fmla="*/ 117062 w 1044701"/>
                <a:gd name="connsiteY413" fmla="*/ 322993 h 731424"/>
                <a:gd name="connsiteX414" fmla="*/ 118872 w 1044701"/>
                <a:gd name="connsiteY414" fmla="*/ 324422 h 731424"/>
                <a:gd name="connsiteX415" fmla="*/ 120682 w 1044701"/>
                <a:gd name="connsiteY415" fmla="*/ 325755 h 731424"/>
                <a:gd name="connsiteX416" fmla="*/ 121063 w 1044701"/>
                <a:gd name="connsiteY416" fmla="*/ 328898 h 731424"/>
                <a:gd name="connsiteX417" fmla="*/ 119825 w 1044701"/>
                <a:gd name="connsiteY417" fmla="*/ 332327 h 731424"/>
                <a:gd name="connsiteX418" fmla="*/ 118491 w 1044701"/>
                <a:gd name="connsiteY418" fmla="*/ 334042 h 731424"/>
                <a:gd name="connsiteX419" fmla="*/ 114967 w 1044701"/>
                <a:gd name="connsiteY419" fmla="*/ 331280 h 731424"/>
                <a:gd name="connsiteX420" fmla="*/ 115919 w 1044701"/>
                <a:gd name="connsiteY420" fmla="*/ 339185 h 731424"/>
                <a:gd name="connsiteX421" fmla="*/ 114395 w 1044701"/>
                <a:gd name="connsiteY421" fmla="*/ 339376 h 731424"/>
                <a:gd name="connsiteX422" fmla="*/ 113347 w 1044701"/>
                <a:gd name="connsiteY422" fmla="*/ 344329 h 731424"/>
                <a:gd name="connsiteX423" fmla="*/ 111823 w 1044701"/>
                <a:gd name="connsiteY423" fmla="*/ 344519 h 731424"/>
                <a:gd name="connsiteX424" fmla="*/ 112014 w 1044701"/>
                <a:gd name="connsiteY424" fmla="*/ 346139 h 731424"/>
                <a:gd name="connsiteX425" fmla="*/ 106680 w 1044701"/>
                <a:gd name="connsiteY425" fmla="*/ 354806 h 731424"/>
                <a:gd name="connsiteX426" fmla="*/ 110300 w 1044701"/>
                <a:gd name="connsiteY426" fmla="*/ 357569 h 731424"/>
                <a:gd name="connsiteX427" fmla="*/ 107251 w 1044701"/>
                <a:gd name="connsiteY427" fmla="*/ 359569 h 731424"/>
                <a:gd name="connsiteX428" fmla="*/ 98012 w 1044701"/>
                <a:gd name="connsiteY428" fmla="*/ 362331 h 731424"/>
                <a:gd name="connsiteX429" fmla="*/ 96488 w 1044701"/>
                <a:gd name="connsiteY429" fmla="*/ 362522 h 731424"/>
                <a:gd name="connsiteX430" fmla="*/ 96869 w 1044701"/>
                <a:gd name="connsiteY430" fmla="*/ 365665 h 731424"/>
                <a:gd name="connsiteX431" fmla="*/ 96869 w 1044701"/>
                <a:gd name="connsiteY431" fmla="*/ 365665 h 731424"/>
                <a:gd name="connsiteX432" fmla="*/ 95726 w 1044701"/>
                <a:gd name="connsiteY432" fmla="*/ 369094 h 731424"/>
                <a:gd name="connsiteX433" fmla="*/ 100775 w 1044701"/>
                <a:gd name="connsiteY433" fmla="*/ 371570 h 731424"/>
                <a:gd name="connsiteX434" fmla="*/ 100013 w 1044701"/>
                <a:gd name="connsiteY434" fmla="*/ 378143 h 731424"/>
                <a:gd name="connsiteX435" fmla="*/ 99060 w 1044701"/>
                <a:gd name="connsiteY435" fmla="*/ 383095 h 731424"/>
                <a:gd name="connsiteX436" fmla="*/ 100870 w 1044701"/>
                <a:gd name="connsiteY436" fmla="*/ 384429 h 731424"/>
                <a:gd name="connsiteX437" fmla="*/ 100108 w 1044701"/>
                <a:gd name="connsiteY437" fmla="*/ 390906 h 731424"/>
                <a:gd name="connsiteX438" fmla="*/ 98488 w 1044701"/>
                <a:gd name="connsiteY438" fmla="*/ 391192 h 731424"/>
                <a:gd name="connsiteX439" fmla="*/ 96488 w 1044701"/>
                <a:gd name="connsiteY439" fmla="*/ 388239 h 731424"/>
                <a:gd name="connsiteX440" fmla="*/ 93917 w 1044701"/>
                <a:gd name="connsiteY440" fmla="*/ 393287 h 731424"/>
                <a:gd name="connsiteX441" fmla="*/ 97536 w 1044701"/>
                <a:gd name="connsiteY441" fmla="*/ 396049 h 731424"/>
                <a:gd name="connsiteX442" fmla="*/ 98298 w 1044701"/>
                <a:gd name="connsiteY442" fmla="*/ 402431 h 731424"/>
                <a:gd name="connsiteX443" fmla="*/ 95155 w 1044701"/>
                <a:gd name="connsiteY443" fmla="*/ 402812 h 731424"/>
                <a:gd name="connsiteX444" fmla="*/ 105823 w 1044701"/>
                <a:gd name="connsiteY444" fmla="*/ 411099 h 731424"/>
                <a:gd name="connsiteX445" fmla="*/ 110966 w 1044701"/>
                <a:gd name="connsiteY445" fmla="*/ 413576 h 731424"/>
                <a:gd name="connsiteX446" fmla="*/ 114776 w 1044701"/>
                <a:gd name="connsiteY446" fmla="*/ 417957 h 731424"/>
                <a:gd name="connsiteX447" fmla="*/ 118491 w 1044701"/>
                <a:gd name="connsiteY447" fmla="*/ 422243 h 731424"/>
                <a:gd name="connsiteX448" fmla="*/ 122015 w 1044701"/>
                <a:gd name="connsiteY448" fmla="*/ 425006 h 731424"/>
                <a:gd name="connsiteX449" fmla="*/ 128588 w 1044701"/>
                <a:gd name="connsiteY449" fmla="*/ 425768 h 731424"/>
                <a:gd name="connsiteX450" fmla="*/ 137827 w 1044701"/>
                <a:gd name="connsiteY450" fmla="*/ 435864 h 731424"/>
                <a:gd name="connsiteX451" fmla="*/ 142589 w 1044701"/>
                <a:gd name="connsiteY451" fmla="*/ 435293 h 731424"/>
                <a:gd name="connsiteX452" fmla="*/ 142970 w 1044701"/>
                <a:gd name="connsiteY452" fmla="*/ 438436 h 731424"/>
                <a:gd name="connsiteX453" fmla="*/ 144971 w 1044701"/>
                <a:gd name="connsiteY453" fmla="*/ 441389 h 731424"/>
                <a:gd name="connsiteX454" fmla="*/ 151257 w 1044701"/>
                <a:gd name="connsiteY454" fmla="*/ 440531 h 731424"/>
                <a:gd name="connsiteX455" fmla="*/ 150304 w 1044701"/>
                <a:gd name="connsiteY455" fmla="*/ 445484 h 731424"/>
                <a:gd name="connsiteX456" fmla="*/ 150495 w 1044701"/>
                <a:gd name="connsiteY456" fmla="*/ 447103 h 731424"/>
                <a:gd name="connsiteX457" fmla="*/ 154305 w 1044701"/>
                <a:gd name="connsiteY457" fmla="*/ 451390 h 731424"/>
                <a:gd name="connsiteX458" fmla="*/ 157448 w 1044701"/>
                <a:gd name="connsiteY458" fmla="*/ 451009 h 731424"/>
                <a:gd name="connsiteX459" fmla="*/ 159258 w 1044701"/>
                <a:gd name="connsiteY459" fmla="*/ 452342 h 731424"/>
                <a:gd name="connsiteX460" fmla="*/ 162401 w 1044701"/>
                <a:gd name="connsiteY460" fmla="*/ 451961 h 731424"/>
                <a:gd name="connsiteX461" fmla="*/ 160972 w 1044701"/>
                <a:gd name="connsiteY461" fmla="*/ 453771 h 731424"/>
                <a:gd name="connsiteX462" fmla="*/ 163163 w 1044701"/>
                <a:gd name="connsiteY462" fmla="*/ 458248 h 731424"/>
                <a:gd name="connsiteX463" fmla="*/ 160401 w 1044701"/>
                <a:gd name="connsiteY463" fmla="*/ 461867 h 731424"/>
                <a:gd name="connsiteX464" fmla="*/ 162401 w 1044701"/>
                <a:gd name="connsiteY464" fmla="*/ 464820 h 731424"/>
                <a:gd name="connsiteX465" fmla="*/ 163354 w 1044701"/>
                <a:gd name="connsiteY465" fmla="*/ 459867 h 731424"/>
                <a:gd name="connsiteX466" fmla="*/ 163735 w 1044701"/>
                <a:gd name="connsiteY466" fmla="*/ 463010 h 731424"/>
                <a:gd name="connsiteX467" fmla="*/ 166497 w 1044701"/>
                <a:gd name="connsiteY467" fmla="*/ 459486 h 731424"/>
                <a:gd name="connsiteX468" fmla="*/ 168497 w 1044701"/>
                <a:gd name="connsiteY468" fmla="*/ 462439 h 731424"/>
                <a:gd name="connsiteX469" fmla="*/ 171450 w 1044701"/>
                <a:gd name="connsiteY469" fmla="*/ 460439 h 731424"/>
                <a:gd name="connsiteX470" fmla="*/ 174784 w 1044701"/>
                <a:gd name="connsiteY470" fmla="*/ 461582 h 731424"/>
                <a:gd name="connsiteX471" fmla="*/ 181165 w 1044701"/>
                <a:gd name="connsiteY471" fmla="*/ 460819 h 731424"/>
                <a:gd name="connsiteX472" fmla="*/ 181356 w 1044701"/>
                <a:gd name="connsiteY472" fmla="*/ 462344 h 731424"/>
                <a:gd name="connsiteX473" fmla="*/ 184499 w 1044701"/>
                <a:gd name="connsiteY473" fmla="*/ 461963 h 731424"/>
                <a:gd name="connsiteX474" fmla="*/ 184309 w 1044701"/>
                <a:gd name="connsiteY474" fmla="*/ 460439 h 731424"/>
                <a:gd name="connsiteX475" fmla="*/ 189071 w 1044701"/>
                <a:gd name="connsiteY475" fmla="*/ 459772 h 731424"/>
                <a:gd name="connsiteX476" fmla="*/ 188595 w 1044701"/>
                <a:gd name="connsiteY476" fmla="*/ 456628 h 731424"/>
                <a:gd name="connsiteX477" fmla="*/ 194977 w 1044701"/>
                <a:gd name="connsiteY477" fmla="*/ 455867 h 731424"/>
                <a:gd name="connsiteX478" fmla="*/ 193738 w 1044701"/>
                <a:gd name="connsiteY478" fmla="*/ 459200 h 731424"/>
                <a:gd name="connsiteX479" fmla="*/ 197929 w 1044701"/>
                <a:gd name="connsiteY479" fmla="*/ 466725 h 731424"/>
                <a:gd name="connsiteX480" fmla="*/ 199263 w 1044701"/>
                <a:gd name="connsiteY480" fmla="*/ 464915 h 731424"/>
                <a:gd name="connsiteX481" fmla="*/ 201073 w 1044701"/>
                <a:gd name="connsiteY481" fmla="*/ 466249 h 731424"/>
                <a:gd name="connsiteX482" fmla="*/ 207359 w 1044701"/>
                <a:gd name="connsiteY482" fmla="*/ 465487 h 731424"/>
                <a:gd name="connsiteX483" fmla="*/ 207931 w 1044701"/>
                <a:gd name="connsiteY483" fmla="*/ 457390 h 731424"/>
                <a:gd name="connsiteX484" fmla="*/ 210693 w 1044701"/>
                <a:gd name="connsiteY484" fmla="*/ 453866 h 731424"/>
                <a:gd name="connsiteX485" fmla="*/ 214694 w 1044701"/>
                <a:gd name="connsiteY485" fmla="*/ 459772 h 731424"/>
                <a:gd name="connsiteX486" fmla="*/ 216503 w 1044701"/>
                <a:gd name="connsiteY486" fmla="*/ 461105 h 731424"/>
                <a:gd name="connsiteX487" fmla="*/ 219646 w 1044701"/>
                <a:gd name="connsiteY487" fmla="*/ 460724 h 731424"/>
                <a:gd name="connsiteX488" fmla="*/ 219837 w 1044701"/>
                <a:gd name="connsiteY488" fmla="*/ 462344 h 731424"/>
                <a:gd name="connsiteX489" fmla="*/ 227743 w 1044701"/>
                <a:gd name="connsiteY489" fmla="*/ 461296 h 731424"/>
                <a:gd name="connsiteX490" fmla="*/ 229648 w 1044701"/>
                <a:gd name="connsiteY490" fmla="*/ 464248 h 731424"/>
                <a:gd name="connsiteX491" fmla="*/ 226504 w 1044701"/>
                <a:gd name="connsiteY491" fmla="*/ 464630 h 731424"/>
                <a:gd name="connsiteX492" fmla="*/ 226886 w 1044701"/>
                <a:gd name="connsiteY492" fmla="*/ 467773 h 731424"/>
                <a:gd name="connsiteX493" fmla="*/ 230696 w 1044701"/>
                <a:gd name="connsiteY493" fmla="*/ 472154 h 731424"/>
                <a:gd name="connsiteX494" fmla="*/ 235077 w 1044701"/>
                <a:gd name="connsiteY494" fmla="*/ 468344 h 731424"/>
                <a:gd name="connsiteX495" fmla="*/ 235648 w 1044701"/>
                <a:gd name="connsiteY495" fmla="*/ 473107 h 731424"/>
                <a:gd name="connsiteX496" fmla="*/ 240602 w 1044701"/>
                <a:gd name="connsiteY496" fmla="*/ 474059 h 731424"/>
                <a:gd name="connsiteX497" fmla="*/ 244697 w 1044701"/>
                <a:gd name="connsiteY497" fmla="*/ 468725 h 731424"/>
                <a:gd name="connsiteX498" fmla="*/ 243554 w 1044701"/>
                <a:gd name="connsiteY498" fmla="*/ 472059 h 731424"/>
                <a:gd name="connsiteX499" fmla="*/ 246888 w 1044701"/>
                <a:gd name="connsiteY499" fmla="*/ 473297 h 731424"/>
                <a:gd name="connsiteX500" fmla="*/ 247650 w 1044701"/>
                <a:gd name="connsiteY500" fmla="*/ 479584 h 731424"/>
                <a:gd name="connsiteX501" fmla="*/ 249269 w 1044701"/>
                <a:gd name="connsiteY501" fmla="*/ 479393 h 731424"/>
                <a:gd name="connsiteX502" fmla="*/ 251079 w 1044701"/>
                <a:gd name="connsiteY502" fmla="*/ 480727 h 731424"/>
                <a:gd name="connsiteX503" fmla="*/ 252603 w 1044701"/>
                <a:gd name="connsiteY503" fmla="*/ 480536 h 731424"/>
                <a:gd name="connsiteX504" fmla="*/ 251460 w 1044701"/>
                <a:gd name="connsiteY504" fmla="*/ 483965 h 731424"/>
                <a:gd name="connsiteX505" fmla="*/ 249841 w 1044701"/>
                <a:gd name="connsiteY505" fmla="*/ 484156 h 731424"/>
                <a:gd name="connsiteX506" fmla="*/ 251650 w 1044701"/>
                <a:gd name="connsiteY506" fmla="*/ 485489 h 731424"/>
                <a:gd name="connsiteX507" fmla="*/ 253174 w 1044701"/>
                <a:gd name="connsiteY507" fmla="*/ 485299 h 731424"/>
                <a:gd name="connsiteX508" fmla="*/ 253460 w 1044701"/>
                <a:gd name="connsiteY508" fmla="*/ 486918 h 731424"/>
                <a:gd name="connsiteX509" fmla="*/ 256413 w 1044701"/>
                <a:gd name="connsiteY509" fmla="*/ 484918 h 731424"/>
                <a:gd name="connsiteX510" fmla="*/ 258128 w 1044701"/>
                <a:gd name="connsiteY510" fmla="*/ 486251 h 731424"/>
                <a:gd name="connsiteX511" fmla="*/ 260318 w 1044701"/>
                <a:gd name="connsiteY511" fmla="*/ 490823 h 731424"/>
                <a:gd name="connsiteX512" fmla="*/ 258985 w 1044701"/>
                <a:gd name="connsiteY512" fmla="*/ 492633 h 731424"/>
                <a:gd name="connsiteX513" fmla="*/ 267462 w 1044701"/>
                <a:gd name="connsiteY513" fmla="*/ 496348 h 731424"/>
                <a:gd name="connsiteX514" fmla="*/ 267271 w 1044701"/>
                <a:gd name="connsiteY514" fmla="*/ 494728 h 731424"/>
                <a:gd name="connsiteX515" fmla="*/ 276701 w 1044701"/>
                <a:gd name="connsiteY515" fmla="*/ 493490 h 731424"/>
                <a:gd name="connsiteX516" fmla="*/ 282035 w 1044701"/>
                <a:gd name="connsiteY516" fmla="*/ 497681 h 731424"/>
                <a:gd name="connsiteX517" fmla="*/ 286798 w 1044701"/>
                <a:gd name="connsiteY517" fmla="*/ 497015 h 731424"/>
                <a:gd name="connsiteX518" fmla="*/ 291941 w 1044701"/>
                <a:gd name="connsiteY518" fmla="*/ 499586 h 731424"/>
                <a:gd name="connsiteX519" fmla="*/ 291560 w 1044701"/>
                <a:gd name="connsiteY519" fmla="*/ 496443 h 731424"/>
                <a:gd name="connsiteX520" fmla="*/ 296228 w 1044701"/>
                <a:gd name="connsiteY520" fmla="*/ 495872 h 731424"/>
                <a:gd name="connsiteX521" fmla="*/ 293941 w 1044701"/>
                <a:gd name="connsiteY521" fmla="*/ 502539 h 731424"/>
                <a:gd name="connsiteX522" fmla="*/ 290608 w 1044701"/>
                <a:gd name="connsiteY522" fmla="*/ 514255 h 731424"/>
                <a:gd name="connsiteX523" fmla="*/ 292132 w 1044701"/>
                <a:gd name="connsiteY523" fmla="*/ 514064 h 731424"/>
                <a:gd name="connsiteX524" fmla="*/ 291560 w 1044701"/>
                <a:gd name="connsiteY524" fmla="*/ 522065 h 731424"/>
                <a:gd name="connsiteX525" fmla="*/ 293561 w 1044701"/>
                <a:gd name="connsiteY525" fmla="*/ 525113 h 731424"/>
                <a:gd name="connsiteX526" fmla="*/ 296704 w 1044701"/>
                <a:gd name="connsiteY526" fmla="*/ 524637 h 731424"/>
                <a:gd name="connsiteX527" fmla="*/ 301085 w 1044701"/>
                <a:gd name="connsiteY527" fmla="*/ 520922 h 731424"/>
                <a:gd name="connsiteX528" fmla="*/ 302800 w 1044701"/>
                <a:gd name="connsiteY528" fmla="*/ 522256 h 731424"/>
                <a:gd name="connsiteX529" fmla="*/ 302609 w 1044701"/>
                <a:gd name="connsiteY529" fmla="*/ 520732 h 731424"/>
                <a:gd name="connsiteX530" fmla="*/ 305562 w 1044701"/>
                <a:gd name="connsiteY530" fmla="*/ 518732 h 731424"/>
                <a:gd name="connsiteX531" fmla="*/ 309372 w 1044701"/>
                <a:gd name="connsiteY531" fmla="*/ 523018 h 731424"/>
                <a:gd name="connsiteX532" fmla="*/ 313849 w 1044701"/>
                <a:gd name="connsiteY532" fmla="*/ 520827 h 731424"/>
                <a:gd name="connsiteX533" fmla="*/ 315849 w 1044701"/>
                <a:gd name="connsiteY533" fmla="*/ 523875 h 731424"/>
                <a:gd name="connsiteX534" fmla="*/ 320992 w 1044701"/>
                <a:gd name="connsiteY534" fmla="*/ 526352 h 731424"/>
                <a:gd name="connsiteX535" fmla="*/ 321183 w 1044701"/>
                <a:gd name="connsiteY535" fmla="*/ 527971 h 731424"/>
                <a:gd name="connsiteX536" fmla="*/ 324326 w 1044701"/>
                <a:gd name="connsiteY536" fmla="*/ 527590 h 731424"/>
                <a:gd name="connsiteX537" fmla="*/ 330708 w 1044701"/>
                <a:gd name="connsiteY537" fmla="*/ 539591 h 731424"/>
                <a:gd name="connsiteX538" fmla="*/ 342138 w 1044701"/>
                <a:gd name="connsiteY538" fmla="*/ 541306 h 731424"/>
                <a:gd name="connsiteX539" fmla="*/ 344329 w 1044701"/>
                <a:gd name="connsiteY539" fmla="*/ 545878 h 731424"/>
                <a:gd name="connsiteX540" fmla="*/ 350234 w 1044701"/>
                <a:gd name="connsiteY540" fmla="*/ 541877 h 731424"/>
                <a:gd name="connsiteX541" fmla="*/ 354521 w 1044701"/>
                <a:gd name="connsiteY541" fmla="*/ 538163 h 731424"/>
                <a:gd name="connsiteX542" fmla="*/ 354616 w 1044701"/>
                <a:gd name="connsiteY542" fmla="*/ 550926 h 731424"/>
                <a:gd name="connsiteX543" fmla="*/ 350044 w 1044701"/>
                <a:gd name="connsiteY543" fmla="*/ 553117 h 731424"/>
                <a:gd name="connsiteX544" fmla="*/ 343567 w 1044701"/>
                <a:gd name="connsiteY544" fmla="*/ 565214 h 731424"/>
                <a:gd name="connsiteX545" fmla="*/ 349282 w 1044701"/>
                <a:gd name="connsiteY545" fmla="*/ 572453 h 731424"/>
                <a:gd name="connsiteX546" fmla="*/ 348139 w 1044701"/>
                <a:gd name="connsiteY546" fmla="*/ 575882 h 731424"/>
                <a:gd name="connsiteX547" fmla="*/ 358807 w 1044701"/>
                <a:gd name="connsiteY547" fmla="*/ 584073 h 731424"/>
                <a:gd name="connsiteX548" fmla="*/ 366713 w 1044701"/>
                <a:gd name="connsiteY548" fmla="*/ 583120 h 731424"/>
                <a:gd name="connsiteX549" fmla="*/ 377190 w 1044701"/>
                <a:gd name="connsiteY549" fmla="*/ 589788 h 731424"/>
                <a:gd name="connsiteX550" fmla="*/ 382143 w 1044701"/>
                <a:gd name="connsiteY550" fmla="*/ 590740 h 731424"/>
                <a:gd name="connsiteX551" fmla="*/ 382333 w 1044701"/>
                <a:gd name="connsiteY551" fmla="*/ 592360 h 731424"/>
                <a:gd name="connsiteX552" fmla="*/ 384143 w 1044701"/>
                <a:gd name="connsiteY552" fmla="*/ 593693 h 731424"/>
                <a:gd name="connsiteX553" fmla="*/ 393382 w 1044701"/>
                <a:gd name="connsiteY553" fmla="*/ 603790 h 731424"/>
                <a:gd name="connsiteX554" fmla="*/ 396526 w 1044701"/>
                <a:gd name="connsiteY554" fmla="*/ 603314 h 731424"/>
                <a:gd name="connsiteX555" fmla="*/ 399479 w 1044701"/>
                <a:gd name="connsiteY555" fmla="*/ 601409 h 731424"/>
                <a:gd name="connsiteX556" fmla="*/ 404241 w 1044701"/>
                <a:gd name="connsiteY556" fmla="*/ 600742 h 731424"/>
                <a:gd name="connsiteX557" fmla="*/ 409384 w 1044701"/>
                <a:gd name="connsiteY557" fmla="*/ 603314 h 731424"/>
                <a:gd name="connsiteX558" fmla="*/ 414147 w 1044701"/>
                <a:gd name="connsiteY558" fmla="*/ 602742 h 731424"/>
                <a:gd name="connsiteX559" fmla="*/ 413956 w 1044701"/>
                <a:gd name="connsiteY559" fmla="*/ 601123 h 731424"/>
                <a:gd name="connsiteX560" fmla="*/ 421577 w 1044701"/>
                <a:gd name="connsiteY560" fmla="*/ 598551 h 731424"/>
                <a:gd name="connsiteX561" fmla="*/ 416623 w 1044701"/>
                <a:gd name="connsiteY561" fmla="*/ 584740 h 731424"/>
                <a:gd name="connsiteX562" fmla="*/ 428054 w 1044701"/>
                <a:gd name="connsiteY562" fmla="*/ 586549 h 731424"/>
                <a:gd name="connsiteX563" fmla="*/ 429482 w 1044701"/>
                <a:gd name="connsiteY563" fmla="*/ 584740 h 731424"/>
                <a:gd name="connsiteX564" fmla="*/ 431006 w 1044701"/>
                <a:gd name="connsiteY564" fmla="*/ 584549 h 731424"/>
                <a:gd name="connsiteX565" fmla="*/ 428244 w 1044701"/>
                <a:gd name="connsiteY565" fmla="*/ 575215 h 731424"/>
                <a:gd name="connsiteX566" fmla="*/ 430244 w 1044701"/>
                <a:gd name="connsiteY566" fmla="*/ 565404 h 731424"/>
                <a:gd name="connsiteX567" fmla="*/ 445961 w 1044701"/>
                <a:gd name="connsiteY567" fmla="*/ 550545 h 731424"/>
                <a:gd name="connsiteX568" fmla="*/ 446722 w 1044701"/>
                <a:gd name="connsiteY568" fmla="*/ 544068 h 731424"/>
                <a:gd name="connsiteX569" fmla="*/ 451485 w 1044701"/>
                <a:gd name="connsiteY569" fmla="*/ 543401 h 731424"/>
                <a:gd name="connsiteX570" fmla="*/ 453485 w 1044701"/>
                <a:gd name="connsiteY570" fmla="*/ 546354 h 731424"/>
                <a:gd name="connsiteX571" fmla="*/ 456438 w 1044701"/>
                <a:gd name="connsiteY571" fmla="*/ 544449 h 731424"/>
                <a:gd name="connsiteX572" fmla="*/ 455200 w 1044701"/>
                <a:gd name="connsiteY572" fmla="*/ 547783 h 731424"/>
                <a:gd name="connsiteX573" fmla="*/ 453866 w 1044701"/>
                <a:gd name="connsiteY573" fmla="*/ 549593 h 731424"/>
                <a:gd name="connsiteX574" fmla="*/ 456057 w 1044701"/>
                <a:gd name="connsiteY574" fmla="*/ 554069 h 731424"/>
                <a:gd name="connsiteX575" fmla="*/ 454438 w 1044701"/>
                <a:gd name="connsiteY575" fmla="*/ 554260 h 731424"/>
                <a:gd name="connsiteX576" fmla="*/ 455105 w 1044701"/>
                <a:gd name="connsiteY576" fmla="*/ 559022 h 731424"/>
                <a:gd name="connsiteX577" fmla="*/ 464153 w 1044701"/>
                <a:gd name="connsiteY577" fmla="*/ 567499 h 731424"/>
                <a:gd name="connsiteX578" fmla="*/ 469106 w 1044701"/>
                <a:gd name="connsiteY578" fmla="*/ 568452 h 731424"/>
                <a:gd name="connsiteX579" fmla="*/ 473773 w 1044701"/>
                <a:gd name="connsiteY579" fmla="*/ 567881 h 731424"/>
                <a:gd name="connsiteX580" fmla="*/ 475774 w 1044701"/>
                <a:gd name="connsiteY580" fmla="*/ 570833 h 731424"/>
                <a:gd name="connsiteX581" fmla="*/ 482537 w 1044701"/>
                <a:gd name="connsiteY581" fmla="*/ 573119 h 731424"/>
                <a:gd name="connsiteX582" fmla="*/ 484251 w 1044701"/>
                <a:gd name="connsiteY582" fmla="*/ 574548 h 731424"/>
                <a:gd name="connsiteX583" fmla="*/ 486823 w 1044701"/>
                <a:gd name="connsiteY583" fmla="*/ 569405 h 731424"/>
                <a:gd name="connsiteX584" fmla="*/ 490252 w 1044701"/>
                <a:gd name="connsiteY584" fmla="*/ 570548 h 731424"/>
                <a:gd name="connsiteX585" fmla="*/ 493395 w 1044701"/>
                <a:gd name="connsiteY585" fmla="*/ 570167 h 731424"/>
                <a:gd name="connsiteX586" fmla="*/ 498538 w 1044701"/>
                <a:gd name="connsiteY586" fmla="*/ 572738 h 731424"/>
                <a:gd name="connsiteX587" fmla="*/ 500063 w 1044701"/>
                <a:gd name="connsiteY587" fmla="*/ 572548 h 731424"/>
                <a:gd name="connsiteX588" fmla="*/ 503872 w 1044701"/>
                <a:gd name="connsiteY588" fmla="*/ 576834 h 731424"/>
                <a:gd name="connsiteX589" fmla="*/ 507397 w 1044701"/>
                <a:gd name="connsiteY589" fmla="*/ 579596 h 731424"/>
                <a:gd name="connsiteX590" fmla="*/ 507587 w 1044701"/>
                <a:gd name="connsiteY590" fmla="*/ 581215 h 731424"/>
                <a:gd name="connsiteX591" fmla="*/ 513112 w 1044701"/>
                <a:gd name="connsiteY591" fmla="*/ 586931 h 731424"/>
                <a:gd name="connsiteX592" fmla="*/ 516541 w 1044701"/>
                <a:gd name="connsiteY592" fmla="*/ 600932 h 731424"/>
                <a:gd name="connsiteX593" fmla="*/ 522065 w 1044701"/>
                <a:gd name="connsiteY593" fmla="*/ 606647 h 731424"/>
                <a:gd name="connsiteX594" fmla="*/ 526161 w 1044701"/>
                <a:gd name="connsiteY594" fmla="*/ 601313 h 731424"/>
                <a:gd name="connsiteX595" fmla="*/ 529590 w 1044701"/>
                <a:gd name="connsiteY595" fmla="*/ 602456 h 731424"/>
                <a:gd name="connsiteX596" fmla="*/ 529399 w 1044701"/>
                <a:gd name="connsiteY596" fmla="*/ 600837 h 731424"/>
                <a:gd name="connsiteX597" fmla="*/ 539210 w 1044701"/>
                <a:gd name="connsiteY597" fmla="*/ 602837 h 731424"/>
                <a:gd name="connsiteX598" fmla="*/ 548069 w 1044701"/>
                <a:gd name="connsiteY598" fmla="*/ 596836 h 731424"/>
                <a:gd name="connsiteX599" fmla="*/ 551879 w 1044701"/>
                <a:gd name="connsiteY599" fmla="*/ 601218 h 731424"/>
                <a:gd name="connsiteX600" fmla="*/ 555784 w 1044701"/>
                <a:gd name="connsiteY600" fmla="*/ 607124 h 731424"/>
                <a:gd name="connsiteX601" fmla="*/ 554641 w 1044701"/>
                <a:gd name="connsiteY601" fmla="*/ 610457 h 731424"/>
                <a:gd name="connsiteX602" fmla="*/ 557974 w 1044701"/>
                <a:gd name="connsiteY602" fmla="*/ 611695 h 731424"/>
                <a:gd name="connsiteX603" fmla="*/ 562356 w 1044701"/>
                <a:gd name="connsiteY603" fmla="*/ 607886 h 731424"/>
                <a:gd name="connsiteX604" fmla="*/ 568642 w 1044701"/>
                <a:gd name="connsiteY604" fmla="*/ 607124 h 731424"/>
                <a:gd name="connsiteX605" fmla="*/ 572357 w 1044701"/>
                <a:gd name="connsiteY605" fmla="*/ 611410 h 731424"/>
                <a:gd name="connsiteX606" fmla="*/ 579501 w 1044701"/>
                <a:gd name="connsiteY606" fmla="*/ 616934 h 731424"/>
                <a:gd name="connsiteX607" fmla="*/ 582644 w 1044701"/>
                <a:gd name="connsiteY607" fmla="*/ 616553 h 731424"/>
                <a:gd name="connsiteX608" fmla="*/ 583692 w 1044701"/>
                <a:gd name="connsiteY608" fmla="*/ 611600 h 731424"/>
                <a:gd name="connsiteX609" fmla="*/ 586835 w 1044701"/>
                <a:gd name="connsiteY609" fmla="*/ 611219 h 731424"/>
                <a:gd name="connsiteX610" fmla="*/ 589216 w 1044701"/>
                <a:gd name="connsiteY610" fmla="*/ 617315 h 731424"/>
                <a:gd name="connsiteX611" fmla="*/ 594550 w 1044701"/>
                <a:gd name="connsiteY611" fmla="*/ 621411 h 731424"/>
                <a:gd name="connsiteX612" fmla="*/ 594931 w 1044701"/>
                <a:gd name="connsiteY612" fmla="*/ 624554 h 731424"/>
                <a:gd name="connsiteX613" fmla="*/ 599694 w 1044701"/>
                <a:gd name="connsiteY613" fmla="*/ 623983 h 731424"/>
                <a:gd name="connsiteX614" fmla="*/ 601408 w 1044701"/>
                <a:gd name="connsiteY614" fmla="*/ 625316 h 731424"/>
                <a:gd name="connsiteX615" fmla="*/ 602837 w 1044701"/>
                <a:gd name="connsiteY615" fmla="*/ 623602 h 731424"/>
                <a:gd name="connsiteX616" fmla="*/ 609695 w 1044701"/>
                <a:gd name="connsiteY616" fmla="*/ 627507 h 731424"/>
                <a:gd name="connsiteX617" fmla="*/ 617982 w 1044701"/>
                <a:gd name="connsiteY617" fmla="*/ 629698 h 731424"/>
                <a:gd name="connsiteX618" fmla="*/ 621792 w 1044701"/>
                <a:gd name="connsiteY618" fmla="*/ 633984 h 731424"/>
                <a:gd name="connsiteX619" fmla="*/ 631507 w 1044701"/>
                <a:gd name="connsiteY619" fmla="*/ 647224 h 731424"/>
                <a:gd name="connsiteX620" fmla="*/ 637222 w 1044701"/>
                <a:gd name="connsiteY620" fmla="*/ 654463 h 731424"/>
                <a:gd name="connsiteX621" fmla="*/ 642366 w 1044701"/>
                <a:gd name="connsiteY621" fmla="*/ 657035 h 731424"/>
                <a:gd name="connsiteX622" fmla="*/ 640366 w 1044701"/>
                <a:gd name="connsiteY622" fmla="*/ 666940 h 731424"/>
                <a:gd name="connsiteX623" fmla="*/ 647129 w 1044701"/>
                <a:gd name="connsiteY623" fmla="*/ 669227 h 731424"/>
                <a:gd name="connsiteX624" fmla="*/ 650653 w 1044701"/>
                <a:gd name="connsiteY624" fmla="*/ 671989 h 731424"/>
                <a:gd name="connsiteX625" fmla="*/ 653034 w 1044701"/>
                <a:gd name="connsiteY625" fmla="*/ 678085 h 731424"/>
                <a:gd name="connsiteX626" fmla="*/ 657987 w 1044701"/>
                <a:gd name="connsiteY626" fmla="*/ 679132 h 731424"/>
                <a:gd name="connsiteX627" fmla="*/ 661130 w 1044701"/>
                <a:gd name="connsiteY627" fmla="*/ 678656 h 731424"/>
                <a:gd name="connsiteX628" fmla="*/ 663702 w 1044701"/>
                <a:gd name="connsiteY628" fmla="*/ 673513 h 731424"/>
                <a:gd name="connsiteX629" fmla="*/ 670846 w 1044701"/>
                <a:gd name="connsiteY629" fmla="*/ 679037 h 731424"/>
                <a:gd name="connsiteX630" fmla="*/ 673798 w 1044701"/>
                <a:gd name="connsiteY630" fmla="*/ 677037 h 731424"/>
                <a:gd name="connsiteX631" fmla="*/ 682657 w 1044701"/>
                <a:gd name="connsiteY631" fmla="*/ 683990 h 731424"/>
                <a:gd name="connsiteX632" fmla="*/ 688943 w 1044701"/>
                <a:gd name="connsiteY632" fmla="*/ 683133 h 731424"/>
                <a:gd name="connsiteX633" fmla="*/ 695706 w 1044701"/>
                <a:gd name="connsiteY633" fmla="*/ 685514 h 731424"/>
                <a:gd name="connsiteX634" fmla="*/ 698087 w 1044701"/>
                <a:gd name="connsiteY634" fmla="*/ 691610 h 731424"/>
                <a:gd name="connsiteX635" fmla="*/ 703802 w 1044701"/>
                <a:gd name="connsiteY635" fmla="*/ 698945 h 731424"/>
                <a:gd name="connsiteX636" fmla="*/ 710184 w 1044701"/>
                <a:gd name="connsiteY636" fmla="*/ 698087 h 731424"/>
                <a:gd name="connsiteX637" fmla="*/ 715708 w 1044701"/>
                <a:gd name="connsiteY637" fmla="*/ 703802 h 731424"/>
                <a:gd name="connsiteX638" fmla="*/ 716280 w 1044701"/>
                <a:gd name="connsiteY638" fmla="*/ 708565 h 731424"/>
                <a:gd name="connsiteX639" fmla="*/ 725996 w 1044701"/>
                <a:gd name="connsiteY639" fmla="*/ 721709 h 731424"/>
                <a:gd name="connsiteX640" fmla="*/ 729329 w 1044701"/>
                <a:gd name="connsiteY640" fmla="*/ 722948 h 731424"/>
                <a:gd name="connsiteX641" fmla="*/ 733330 w 1044701"/>
                <a:gd name="connsiteY641" fmla="*/ 728853 h 731424"/>
                <a:gd name="connsiteX642" fmla="*/ 738378 w 1044701"/>
                <a:gd name="connsiteY642" fmla="*/ 731425 h 731424"/>
                <a:gd name="connsiteX643" fmla="*/ 737616 w 1044701"/>
                <a:gd name="connsiteY643" fmla="*/ 725043 h 731424"/>
                <a:gd name="connsiteX644" fmla="*/ 746284 w 1044701"/>
                <a:gd name="connsiteY644" fmla="*/ 717518 h 731424"/>
                <a:gd name="connsiteX645" fmla="*/ 743712 w 1044701"/>
                <a:gd name="connsiteY645" fmla="*/ 709898 h 731424"/>
                <a:gd name="connsiteX646" fmla="*/ 744664 w 1044701"/>
                <a:gd name="connsiteY646" fmla="*/ 704945 h 731424"/>
                <a:gd name="connsiteX647" fmla="*/ 751427 w 1044701"/>
                <a:gd name="connsiteY647" fmla="*/ 707327 h 731424"/>
                <a:gd name="connsiteX648" fmla="*/ 755904 w 1044701"/>
                <a:gd name="connsiteY648" fmla="*/ 705136 h 731424"/>
                <a:gd name="connsiteX649" fmla="*/ 758476 w 1044701"/>
                <a:gd name="connsiteY649" fmla="*/ 699992 h 731424"/>
                <a:gd name="connsiteX650" fmla="*/ 760286 w 1044701"/>
                <a:gd name="connsiteY650" fmla="*/ 701326 h 731424"/>
                <a:gd name="connsiteX651" fmla="*/ 761809 w 1044701"/>
                <a:gd name="connsiteY651" fmla="*/ 701135 h 731424"/>
                <a:gd name="connsiteX652" fmla="*/ 766953 w 1044701"/>
                <a:gd name="connsiteY652" fmla="*/ 703707 h 731424"/>
                <a:gd name="connsiteX653" fmla="*/ 765048 w 1044701"/>
                <a:gd name="connsiteY653" fmla="*/ 713613 h 731424"/>
                <a:gd name="connsiteX654" fmla="*/ 768191 w 1044701"/>
                <a:gd name="connsiteY654" fmla="*/ 713137 h 731424"/>
                <a:gd name="connsiteX655" fmla="*/ 771144 w 1044701"/>
                <a:gd name="connsiteY655" fmla="*/ 711232 h 731424"/>
                <a:gd name="connsiteX656" fmla="*/ 774287 w 1044701"/>
                <a:gd name="connsiteY656" fmla="*/ 710756 h 731424"/>
                <a:gd name="connsiteX657" fmla="*/ 777240 w 1044701"/>
                <a:gd name="connsiteY657" fmla="*/ 708851 h 731424"/>
                <a:gd name="connsiteX658" fmla="*/ 783812 w 1044701"/>
                <a:gd name="connsiteY658" fmla="*/ 709613 h 731424"/>
                <a:gd name="connsiteX659" fmla="*/ 793813 w 1044701"/>
                <a:gd name="connsiteY659" fmla="*/ 700278 h 731424"/>
                <a:gd name="connsiteX660" fmla="*/ 796957 w 1044701"/>
                <a:gd name="connsiteY660" fmla="*/ 699897 h 731424"/>
                <a:gd name="connsiteX661" fmla="*/ 804481 w 1044701"/>
                <a:gd name="connsiteY661" fmla="*/ 708565 h 731424"/>
                <a:gd name="connsiteX662" fmla="*/ 806291 w 1044701"/>
                <a:gd name="connsiteY662" fmla="*/ 709898 h 731424"/>
                <a:gd name="connsiteX663" fmla="*/ 809244 w 1044701"/>
                <a:gd name="connsiteY663" fmla="*/ 707898 h 731424"/>
                <a:gd name="connsiteX664" fmla="*/ 810958 w 1044701"/>
                <a:gd name="connsiteY664" fmla="*/ 709327 h 731424"/>
                <a:gd name="connsiteX665" fmla="*/ 814388 w 1044701"/>
                <a:gd name="connsiteY665" fmla="*/ 710470 h 731424"/>
                <a:gd name="connsiteX666" fmla="*/ 813911 w 1044701"/>
                <a:gd name="connsiteY666" fmla="*/ 707327 h 731424"/>
                <a:gd name="connsiteX667" fmla="*/ 826961 w 1044701"/>
                <a:gd name="connsiteY667" fmla="*/ 708851 h 731424"/>
                <a:gd name="connsiteX668" fmla="*/ 829913 w 1044701"/>
                <a:gd name="connsiteY668" fmla="*/ 706945 h 731424"/>
                <a:gd name="connsiteX669" fmla="*/ 830294 w 1044701"/>
                <a:gd name="connsiteY669" fmla="*/ 710089 h 731424"/>
                <a:gd name="connsiteX670" fmla="*/ 833247 w 1044701"/>
                <a:gd name="connsiteY670" fmla="*/ 708089 h 731424"/>
                <a:gd name="connsiteX671" fmla="*/ 832866 w 1044701"/>
                <a:gd name="connsiteY671" fmla="*/ 704945 h 731424"/>
                <a:gd name="connsiteX672" fmla="*/ 830485 w 1044701"/>
                <a:gd name="connsiteY672" fmla="*/ 698849 h 731424"/>
                <a:gd name="connsiteX673" fmla="*/ 834390 w 1044701"/>
                <a:gd name="connsiteY673" fmla="*/ 691896 h 731424"/>
                <a:gd name="connsiteX674" fmla="*/ 834199 w 1044701"/>
                <a:gd name="connsiteY674" fmla="*/ 690277 h 731424"/>
                <a:gd name="connsiteX675" fmla="*/ 835628 w 1044701"/>
                <a:gd name="connsiteY675" fmla="*/ 688562 h 731424"/>
                <a:gd name="connsiteX676" fmla="*/ 834962 w 1044701"/>
                <a:gd name="connsiteY676" fmla="*/ 683800 h 731424"/>
                <a:gd name="connsiteX677" fmla="*/ 834009 w 1044701"/>
                <a:gd name="connsiteY677" fmla="*/ 675894 h 731424"/>
                <a:gd name="connsiteX678" fmla="*/ 838105 w 1044701"/>
                <a:gd name="connsiteY678" fmla="*/ 670560 h 731424"/>
                <a:gd name="connsiteX679" fmla="*/ 837724 w 1044701"/>
                <a:gd name="connsiteY679" fmla="*/ 667417 h 731424"/>
                <a:gd name="connsiteX680" fmla="*/ 840677 w 1044701"/>
                <a:gd name="connsiteY680" fmla="*/ 665417 h 731424"/>
                <a:gd name="connsiteX681" fmla="*/ 845439 w 1044701"/>
                <a:gd name="connsiteY681" fmla="*/ 664845 h 731424"/>
                <a:gd name="connsiteX682" fmla="*/ 848963 w 1044701"/>
                <a:gd name="connsiteY682" fmla="*/ 667607 h 731424"/>
                <a:gd name="connsiteX683" fmla="*/ 850582 w 1044701"/>
                <a:gd name="connsiteY683" fmla="*/ 667417 h 731424"/>
                <a:gd name="connsiteX684" fmla="*/ 854869 w 1044701"/>
                <a:gd name="connsiteY684" fmla="*/ 663607 h 731424"/>
                <a:gd name="connsiteX685" fmla="*/ 855536 w 1044701"/>
                <a:gd name="connsiteY685" fmla="*/ 668369 h 731424"/>
                <a:gd name="connsiteX686" fmla="*/ 862394 w 1044701"/>
                <a:gd name="connsiteY686" fmla="*/ 672274 h 731424"/>
                <a:gd name="connsiteX687" fmla="*/ 866775 w 1044701"/>
                <a:gd name="connsiteY687" fmla="*/ 668560 h 731424"/>
                <a:gd name="connsiteX688" fmla="*/ 871919 w 1044701"/>
                <a:gd name="connsiteY688" fmla="*/ 671132 h 731424"/>
                <a:gd name="connsiteX689" fmla="*/ 875252 w 1044701"/>
                <a:gd name="connsiteY689" fmla="*/ 672274 h 731424"/>
                <a:gd name="connsiteX690" fmla="*/ 875252 w 1044701"/>
                <a:gd name="connsiteY690" fmla="*/ 672274 h 731424"/>
                <a:gd name="connsiteX691" fmla="*/ 883158 w 1044701"/>
                <a:gd name="connsiteY691" fmla="*/ 671227 h 731424"/>
                <a:gd name="connsiteX692" fmla="*/ 882872 w 1044701"/>
                <a:gd name="connsiteY692" fmla="*/ 669703 h 731424"/>
                <a:gd name="connsiteX693" fmla="*/ 886111 w 1044701"/>
                <a:gd name="connsiteY693" fmla="*/ 669322 h 731424"/>
                <a:gd name="connsiteX694" fmla="*/ 884111 w 1044701"/>
                <a:gd name="connsiteY694" fmla="*/ 666369 h 731424"/>
                <a:gd name="connsiteX695" fmla="*/ 885063 w 1044701"/>
                <a:gd name="connsiteY695" fmla="*/ 661416 h 731424"/>
                <a:gd name="connsiteX696" fmla="*/ 886682 w 1044701"/>
                <a:gd name="connsiteY696" fmla="*/ 661226 h 731424"/>
                <a:gd name="connsiteX697" fmla="*/ 896683 w 1044701"/>
                <a:gd name="connsiteY697" fmla="*/ 664750 h 731424"/>
                <a:gd name="connsiteX698" fmla="*/ 909352 w 1044701"/>
                <a:gd name="connsiteY698" fmla="*/ 675894 h 731424"/>
                <a:gd name="connsiteX699" fmla="*/ 914876 w 1044701"/>
                <a:gd name="connsiteY699" fmla="*/ 668845 h 731424"/>
                <a:gd name="connsiteX700" fmla="*/ 921639 w 1044701"/>
                <a:gd name="connsiteY700" fmla="*/ 671132 h 731424"/>
                <a:gd name="connsiteX701" fmla="*/ 921163 w 1044701"/>
                <a:gd name="connsiteY701" fmla="*/ 667988 h 731424"/>
                <a:gd name="connsiteX702" fmla="*/ 917829 w 1044701"/>
                <a:gd name="connsiteY702" fmla="*/ 666845 h 731424"/>
                <a:gd name="connsiteX703" fmla="*/ 919258 w 1044701"/>
                <a:gd name="connsiteY703" fmla="*/ 665036 h 731424"/>
                <a:gd name="connsiteX704" fmla="*/ 927925 w 1044701"/>
                <a:gd name="connsiteY704" fmla="*/ 670370 h 731424"/>
                <a:gd name="connsiteX705" fmla="*/ 931259 w 1044701"/>
                <a:gd name="connsiteY705" fmla="*/ 671513 h 731424"/>
                <a:gd name="connsiteX706" fmla="*/ 932688 w 1044701"/>
                <a:gd name="connsiteY706" fmla="*/ 669798 h 731424"/>
                <a:gd name="connsiteX707" fmla="*/ 936022 w 1044701"/>
                <a:gd name="connsiteY707" fmla="*/ 670941 h 731424"/>
                <a:gd name="connsiteX708" fmla="*/ 941927 w 1044701"/>
                <a:gd name="connsiteY708" fmla="*/ 666940 h 731424"/>
                <a:gd name="connsiteX709" fmla="*/ 939165 w 1044701"/>
                <a:gd name="connsiteY709" fmla="*/ 670560 h 731424"/>
                <a:gd name="connsiteX710" fmla="*/ 953929 w 1044701"/>
                <a:gd name="connsiteY710" fmla="*/ 673418 h 731424"/>
                <a:gd name="connsiteX711" fmla="*/ 956310 w 1044701"/>
                <a:gd name="connsiteY711" fmla="*/ 679609 h 731424"/>
                <a:gd name="connsiteX712" fmla="*/ 959739 w 1044701"/>
                <a:gd name="connsiteY712" fmla="*/ 680752 h 731424"/>
                <a:gd name="connsiteX713" fmla="*/ 961263 w 1044701"/>
                <a:gd name="connsiteY713" fmla="*/ 680561 h 731424"/>
                <a:gd name="connsiteX714" fmla="*/ 980027 w 1044701"/>
                <a:gd name="connsiteY714" fmla="*/ 689420 h 731424"/>
                <a:gd name="connsiteX715" fmla="*/ 983361 w 1044701"/>
                <a:gd name="connsiteY715" fmla="*/ 690563 h 731424"/>
                <a:gd name="connsiteX716" fmla="*/ 995458 w 1044701"/>
                <a:gd name="connsiteY716" fmla="*/ 697040 h 731424"/>
                <a:gd name="connsiteX717" fmla="*/ 1002411 w 1044701"/>
                <a:gd name="connsiteY717" fmla="*/ 700945 h 731424"/>
                <a:gd name="connsiteX718" fmla="*/ 1016413 w 1044701"/>
                <a:gd name="connsiteY718" fmla="*/ 697611 h 731424"/>
                <a:gd name="connsiteX719" fmla="*/ 1014031 w 1044701"/>
                <a:gd name="connsiteY719" fmla="*/ 691515 h 731424"/>
                <a:gd name="connsiteX720" fmla="*/ 1016984 w 1044701"/>
                <a:gd name="connsiteY720" fmla="*/ 689515 h 731424"/>
                <a:gd name="connsiteX721" fmla="*/ 1018127 w 1044701"/>
                <a:gd name="connsiteY721" fmla="*/ 686086 h 731424"/>
                <a:gd name="connsiteX722" fmla="*/ 1014413 w 1044701"/>
                <a:gd name="connsiteY722" fmla="*/ 681799 h 731424"/>
                <a:gd name="connsiteX723" fmla="*/ 1018699 w 1044701"/>
                <a:gd name="connsiteY723" fmla="*/ 678085 h 731424"/>
                <a:gd name="connsiteX724" fmla="*/ 1019270 w 1044701"/>
                <a:gd name="connsiteY724" fmla="*/ 669989 h 731424"/>
                <a:gd name="connsiteX725" fmla="*/ 1020794 w 1044701"/>
                <a:gd name="connsiteY725" fmla="*/ 669798 h 731424"/>
                <a:gd name="connsiteX726" fmla="*/ 1022032 w 1044701"/>
                <a:gd name="connsiteY726" fmla="*/ 666369 h 731424"/>
                <a:gd name="connsiteX727" fmla="*/ 1021652 w 1044701"/>
                <a:gd name="connsiteY727" fmla="*/ 663226 h 731424"/>
                <a:gd name="connsiteX728" fmla="*/ 1023366 w 1044701"/>
                <a:gd name="connsiteY728" fmla="*/ 664655 h 731424"/>
                <a:gd name="connsiteX729" fmla="*/ 1023842 w 1044701"/>
                <a:gd name="connsiteY729" fmla="*/ 667798 h 731424"/>
                <a:gd name="connsiteX730" fmla="*/ 1027366 w 1044701"/>
                <a:gd name="connsiteY730" fmla="*/ 670560 h 731424"/>
                <a:gd name="connsiteX731" fmla="*/ 1028700 w 1044701"/>
                <a:gd name="connsiteY731" fmla="*/ 668750 h 731424"/>
                <a:gd name="connsiteX732" fmla="*/ 1021461 w 1044701"/>
                <a:gd name="connsiteY732" fmla="*/ 661702 h 731424"/>
                <a:gd name="connsiteX733" fmla="*/ 1015460 w 1044701"/>
                <a:gd name="connsiteY733" fmla="*/ 652844 h 731424"/>
                <a:gd name="connsiteX734" fmla="*/ 1014698 w 1044701"/>
                <a:gd name="connsiteY734" fmla="*/ 646462 h 731424"/>
                <a:gd name="connsiteX735" fmla="*/ 1016032 w 1044701"/>
                <a:gd name="connsiteY735" fmla="*/ 644747 h 731424"/>
                <a:gd name="connsiteX736" fmla="*/ 1014413 w 1044701"/>
                <a:gd name="connsiteY736" fmla="*/ 632079 h 731424"/>
                <a:gd name="connsiteX737" fmla="*/ 1019175 w 1044701"/>
                <a:gd name="connsiteY737" fmla="*/ 631507 h 731424"/>
                <a:gd name="connsiteX738" fmla="*/ 1018604 w 1044701"/>
                <a:gd name="connsiteY738" fmla="*/ 626745 h 731424"/>
                <a:gd name="connsiteX739" fmla="*/ 1022699 w 1044701"/>
                <a:gd name="connsiteY739" fmla="*/ 621411 h 731424"/>
                <a:gd name="connsiteX740" fmla="*/ 1029176 w 1044701"/>
                <a:gd name="connsiteY740" fmla="*/ 622173 h 731424"/>
                <a:gd name="connsiteX741" fmla="*/ 1030605 w 1044701"/>
                <a:gd name="connsiteY741" fmla="*/ 620363 h 731424"/>
                <a:gd name="connsiteX742" fmla="*/ 1031938 w 1044701"/>
                <a:gd name="connsiteY742" fmla="*/ 618649 h 731424"/>
                <a:gd name="connsiteX743" fmla="*/ 1029748 w 1044701"/>
                <a:gd name="connsiteY743" fmla="*/ 614077 h 731424"/>
                <a:gd name="connsiteX744" fmla="*/ 1035939 w 1044701"/>
                <a:gd name="connsiteY744" fmla="*/ 611695 h 731424"/>
                <a:gd name="connsiteX745" fmla="*/ 1039082 w 1044701"/>
                <a:gd name="connsiteY745" fmla="*/ 611315 h 731424"/>
                <a:gd name="connsiteX746" fmla="*/ 1044607 w 1044701"/>
                <a:gd name="connsiteY746" fmla="*/ 604171 h 731424"/>
                <a:gd name="connsiteX747" fmla="*/ 1042225 w 1044701"/>
                <a:gd name="connsiteY747" fmla="*/ 598075 h 731424"/>
                <a:gd name="connsiteX748" fmla="*/ 1044702 w 1044701"/>
                <a:gd name="connsiteY748" fmla="*/ 580073 h 731424"/>
                <a:gd name="connsiteX749" fmla="*/ 1044130 w 1044701"/>
                <a:gd name="connsiteY749" fmla="*/ 575405 h 731424"/>
                <a:gd name="connsiteX750" fmla="*/ 1041178 w 1044701"/>
                <a:gd name="connsiteY750" fmla="*/ 577310 h 731424"/>
                <a:gd name="connsiteX751" fmla="*/ 1040702 w 1044701"/>
                <a:gd name="connsiteY751" fmla="*/ 574167 h 731424"/>
                <a:gd name="connsiteX752" fmla="*/ 1038987 w 1044701"/>
                <a:gd name="connsiteY752" fmla="*/ 572834 h 731424"/>
                <a:gd name="connsiteX753" fmla="*/ 1042702 w 1044701"/>
                <a:gd name="connsiteY753" fmla="*/ 564356 h 731424"/>
                <a:gd name="connsiteX754" fmla="*/ 1043464 w 1044701"/>
                <a:gd name="connsiteY754" fmla="*/ 557784 h 731424"/>
                <a:gd name="connsiteX755" fmla="*/ 1036511 w 1044701"/>
                <a:gd name="connsiteY755" fmla="*/ 553879 h 731424"/>
                <a:gd name="connsiteX756" fmla="*/ 1032605 w 1044701"/>
                <a:gd name="connsiteY756" fmla="*/ 547973 h 731424"/>
                <a:gd name="connsiteX757" fmla="*/ 1026319 w 1044701"/>
                <a:gd name="connsiteY757" fmla="*/ 548735 h 731424"/>
                <a:gd name="connsiteX758" fmla="*/ 1021747 w 1044701"/>
                <a:gd name="connsiteY758" fmla="*/ 550926 h 731424"/>
                <a:gd name="connsiteX759" fmla="*/ 1019937 w 1044701"/>
                <a:gd name="connsiteY759" fmla="*/ 549593 h 731424"/>
                <a:gd name="connsiteX760" fmla="*/ 1019365 w 1044701"/>
                <a:gd name="connsiteY760" fmla="*/ 544830 h 731424"/>
                <a:gd name="connsiteX761" fmla="*/ 1014603 w 1044701"/>
                <a:gd name="connsiteY761" fmla="*/ 545497 h 731424"/>
                <a:gd name="connsiteX762" fmla="*/ 1013650 w 1044701"/>
                <a:gd name="connsiteY762" fmla="*/ 550355 h 731424"/>
                <a:gd name="connsiteX763" fmla="*/ 1008888 w 1044701"/>
                <a:gd name="connsiteY763" fmla="*/ 551021 h 731424"/>
                <a:gd name="connsiteX764" fmla="*/ 1005745 w 1044701"/>
                <a:gd name="connsiteY764" fmla="*/ 551402 h 731424"/>
                <a:gd name="connsiteX765" fmla="*/ 1003554 w 1044701"/>
                <a:gd name="connsiteY765" fmla="*/ 546830 h 731424"/>
                <a:gd name="connsiteX766" fmla="*/ 1007936 w 1044701"/>
                <a:gd name="connsiteY766" fmla="*/ 543115 h 731424"/>
                <a:gd name="connsiteX767" fmla="*/ 1011841 w 1044701"/>
                <a:gd name="connsiteY767" fmla="*/ 536162 h 731424"/>
                <a:gd name="connsiteX768" fmla="*/ 1014984 w 1044701"/>
                <a:gd name="connsiteY768" fmla="*/ 535781 h 731424"/>
                <a:gd name="connsiteX769" fmla="*/ 1018699 w 1044701"/>
                <a:gd name="connsiteY769" fmla="*/ 527304 h 731424"/>
                <a:gd name="connsiteX770" fmla="*/ 1013555 w 1044701"/>
                <a:gd name="connsiteY770" fmla="*/ 524732 h 731424"/>
                <a:gd name="connsiteX771" fmla="*/ 1004316 w 1044701"/>
                <a:gd name="connsiteY771" fmla="*/ 514731 h 731424"/>
                <a:gd name="connsiteX772" fmla="*/ 1004125 w 1044701"/>
                <a:gd name="connsiteY772" fmla="*/ 513112 h 731424"/>
                <a:gd name="connsiteX773" fmla="*/ 1008602 w 1044701"/>
                <a:gd name="connsiteY773" fmla="*/ 510921 h 731424"/>
                <a:gd name="connsiteX774" fmla="*/ 1008412 w 1044701"/>
                <a:gd name="connsiteY774" fmla="*/ 509397 h 731424"/>
                <a:gd name="connsiteX775" fmla="*/ 1008031 w 1044701"/>
                <a:gd name="connsiteY775" fmla="*/ 506159 h 731424"/>
                <a:gd name="connsiteX776" fmla="*/ 1010983 w 1044701"/>
                <a:gd name="connsiteY776" fmla="*/ 504253 h 731424"/>
                <a:gd name="connsiteX777" fmla="*/ 1006983 w 1044701"/>
                <a:gd name="connsiteY777" fmla="*/ 498348 h 731424"/>
                <a:gd name="connsiteX778" fmla="*/ 1002125 w 1044701"/>
                <a:gd name="connsiteY778" fmla="*/ 497300 h 731424"/>
                <a:gd name="connsiteX779" fmla="*/ 996791 w 1044701"/>
                <a:gd name="connsiteY779" fmla="*/ 493205 h 731424"/>
                <a:gd name="connsiteX780" fmla="*/ 985075 w 1044701"/>
                <a:gd name="connsiteY780" fmla="*/ 477012 h 731424"/>
                <a:gd name="connsiteX781" fmla="*/ 976979 w 1044701"/>
                <a:gd name="connsiteY781" fmla="*/ 463677 h 731424"/>
                <a:gd name="connsiteX782" fmla="*/ 979265 w 1044701"/>
                <a:gd name="connsiteY782" fmla="*/ 456914 h 731424"/>
                <a:gd name="connsiteX783" fmla="*/ 976884 w 1044701"/>
                <a:gd name="connsiteY783" fmla="*/ 450818 h 731424"/>
                <a:gd name="connsiteX784" fmla="*/ 979646 w 1044701"/>
                <a:gd name="connsiteY784" fmla="*/ 447294 h 731424"/>
                <a:gd name="connsiteX785" fmla="*/ 974503 w 1044701"/>
                <a:gd name="connsiteY785" fmla="*/ 444722 h 731424"/>
                <a:gd name="connsiteX786" fmla="*/ 972598 w 1044701"/>
                <a:gd name="connsiteY786" fmla="*/ 441769 h 731424"/>
                <a:gd name="connsiteX787" fmla="*/ 968978 w 1044701"/>
                <a:gd name="connsiteY787" fmla="*/ 439007 h 731424"/>
                <a:gd name="connsiteX788" fmla="*/ 968788 w 1044701"/>
                <a:gd name="connsiteY788" fmla="*/ 437388 h 731424"/>
                <a:gd name="connsiteX789" fmla="*/ 963835 w 1044701"/>
                <a:gd name="connsiteY789" fmla="*/ 436436 h 731424"/>
                <a:gd name="connsiteX790" fmla="*/ 961263 w 1044701"/>
                <a:gd name="connsiteY790" fmla="*/ 428720 h 731424"/>
                <a:gd name="connsiteX791" fmla="*/ 965168 w 1044701"/>
                <a:gd name="connsiteY791" fmla="*/ 421862 h 731424"/>
                <a:gd name="connsiteX792" fmla="*/ 961644 w 1044701"/>
                <a:gd name="connsiteY792" fmla="*/ 419100 h 731424"/>
                <a:gd name="connsiteX793" fmla="*/ 962406 w 1044701"/>
                <a:gd name="connsiteY793" fmla="*/ 412623 h 731424"/>
                <a:gd name="connsiteX794" fmla="*/ 962406 w 1044701"/>
                <a:gd name="connsiteY794" fmla="*/ 399764 h 731424"/>
                <a:gd name="connsiteX795" fmla="*/ 965168 w 1044701"/>
                <a:gd name="connsiteY795" fmla="*/ 396240 h 731424"/>
                <a:gd name="connsiteX796" fmla="*/ 971074 w 1044701"/>
                <a:gd name="connsiteY796" fmla="*/ 392240 h 731424"/>
                <a:gd name="connsiteX797" fmla="*/ 974217 w 1044701"/>
                <a:gd name="connsiteY797" fmla="*/ 391859 h 731424"/>
                <a:gd name="connsiteX798" fmla="*/ 983075 w 1044701"/>
                <a:gd name="connsiteY798" fmla="*/ 385858 h 731424"/>
                <a:gd name="connsiteX799" fmla="*/ 981265 w 1044701"/>
                <a:gd name="connsiteY799" fmla="*/ 384524 h 731424"/>
                <a:gd name="connsiteX800" fmla="*/ 984218 w 1044701"/>
                <a:gd name="connsiteY800" fmla="*/ 382524 h 731424"/>
                <a:gd name="connsiteX801" fmla="*/ 977551 w 1044701"/>
                <a:gd name="connsiteY801" fmla="*/ 380143 h 731424"/>
                <a:gd name="connsiteX802" fmla="*/ 976503 w 1044701"/>
                <a:gd name="connsiteY802" fmla="*/ 372332 h 731424"/>
                <a:gd name="connsiteX803" fmla="*/ 970216 w 1044701"/>
                <a:gd name="connsiteY803" fmla="*/ 360236 h 731424"/>
                <a:gd name="connsiteX804" fmla="*/ 974122 w 1044701"/>
                <a:gd name="connsiteY804" fmla="*/ 353378 h 731424"/>
                <a:gd name="connsiteX805" fmla="*/ 972122 w 1044701"/>
                <a:gd name="connsiteY805" fmla="*/ 350425 h 731424"/>
                <a:gd name="connsiteX806" fmla="*/ 971359 w 1044701"/>
                <a:gd name="connsiteY806" fmla="*/ 344043 h 731424"/>
                <a:gd name="connsiteX807" fmla="*/ 973931 w 1044701"/>
                <a:gd name="connsiteY807" fmla="*/ 338995 h 731424"/>
                <a:gd name="connsiteX808" fmla="*/ 971740 w 1044701"/>
                <a:gd name="connsiteY808" fmla="*/ 334423 h 731424"/>
                <a:gd name="connsiteX809" fmla="*/ 974217 w 1044701"/>
                <a:gd name="connsiteY809" fmla="*/ 329279 h 731424"/>
                <a:gd name="connsiteX810" fmla="*/ 965740 w 1044701"/>
                <a:gd name="connsiteY810" fmla="*/ 325565 h 731424"/>
                <a:gd name="connsiteX811" fmla="*/ 969455 w 1044701"/>
                <a:gd name="connsiteY811" fmla="*/ 317087 h 731424"/>
                <a:gd name="connsiteX812" fmla="*/ 962597 w 1044701"/>
                <a:gd name="connsiteY812" fmla="*/ 313087 h 731424"/>
                <a:gd name="connsiteX813" fmla="*/ 961168 w 1044701"/>
                <a:gd name="connsiteY813" fmla="*/ 302133 h 731424"/>
                <a:gd name="connsiteX814" fmla="*/ 956024 w 1044701"/>
                <a:gd name="connsiteY814" fmla="*/ 299561 h 731424"/>
                <a:gd name="connsiteX815" fmla="*/ 955453 w 1044701"/>
                <a:gd name="connsiteY815" fmla="*/ 294799 h 731424"/>
                <a:gd name="connsiteX816" fmla="*/ 955834 w 1044701"/>
                <a:gd name="connsiteY816" fmla="*/ 285083 h 731424"/>
                <a:gd name="connsiteX817" fmla="*/ 957929 w 1044701"/>
                <a:gd name="connsiteY817" fmla="*/ 276797 h 731424"/>
                <a:gd name="connsiteX818" fmla="*/ 952405 w 1044701"/>
                <a:gd name="connsiteY818" fmla="*/ 271082 h 731424"/>
                <a:gd name="connsiteX819" fmla="*/ 953357 w 1044701"/>
                <a:gd name="connsiteY819" fmla="*/ 266224 h 731424"/>
                <a:gd name="connsiteX820" fmla="*/ 949452 w 1044701"/>
                <a:gd name="connsiteY820" fmla="*/ 260318 h 731424"/>
                <a:gd name="connsiteX821" fmla="*/ 944118 w 1044701"/>
                <a:gd name="connsiteY821" fmla="*/ 256127 h 731424"/>
                <a:gd name="connsiteX822" fmla="*/ 940308 w 1044701"/>
                <a:gd name="connsiteY822" fmla="*/ 238982 h 731424"/>
                <a:gd name="connsiteX823" fmla="*/ 946404 w 1044701"/>
                <a:gd name="connsiteY823" fmla="*/ 236601 h 731424"/>
                <a:gd name="connsiteX824" fmla="*/ 959453 w 1044701"/>
                <a:gd name="connsiteY824" fmla="*/ 238125 h 731424"/>
                <a:gd name="connsiteX825" fmla="*/ 965168 w 1044701"/>
                <a:gd name="connsiteY825" fmla="*/ 245459 h 731424"/>
                <a:gd name="connsiteX826" fmla="*/ 969740 w 1044701"/>
                <a:gd name="connsiteY826" fmla="*/ 243269 h 731424"/>
                <a:gd name="connsiteX827" fmla="*/ 969550 w 1044701"/>
                <a:gd name="connsiteY827" fmla="*/ 241649 h 731424"/>
                <a:gd name="connsiteX828" fmla="*/ 973455 w 1044701"/>
                <a:gd name="connsiteY828" fmla="*/ 234791 h 731424"/>
                <a:gd name="connsiteX829" fmla="*/ 977741 w 1044701"/>
                <a:gd name="connsiteY829" fmla="*/ 230981 h 731424"/>
                <a:gd name="connsiteX830" fmla="*/ 978980 w 1044701"/>
                <a:gd name="connsiteY830" fmla="*/ 227648 h 731424"/>
                <a:gd name="connsiteX831" fmla="*/ 978122 w 1044701"/>
                <a:gd name="connsiteY831" fmla="*/ 221361 h 731424"/>
                <a:gd name="connsiteX832" fmla="*/ 979361 w 1044701"/>
                <a:gd name="connsiteY832" fmla="*/ 218027 h 731424"/>
                <a:gd name="connsiteX833" fmla="*/ 984218 w 1044701"/>
                <a:gd name="connsiteY833" fmla="*/ 218980 h 731424"/>
                <a:gd name="connsiteX834" fmla="*/ 986599 w 1044701"/>
                <a:gd name="connsiteY834" fmla="*/ 212217 h 731424"/>
                <a:gd name="connsiteX835" fmla="*/ 995648 w 1044701"/>
                <a:gd name="connsiteY835" fmla="*/ 207836 h 731424"/>
                <a:gd name="connsiteX836" fmla="*/ 996887 w 1044701"/>
                <a:gd name="connsiteY836" fmla="*/ 204502 h 731424"/>
                <a:gd name="connsiteX837" fmla="*/ 1004697 w 1044701"/>
                <a:gd name="connsiteY837" fmla="*/ 203549 h 731424"/>
                <a:gd name="connsiteX838" fmla="*/ 1005935 w 1044701"/>
                <a:gd name="connsiteY838" fmla="*/ 200120 h 731424"/>
                <a:gd name="connsiteX839" fmla="*/ 1005554 w 1044701"/>
                <a:gd name="connsiteY839" fmla="*/ 196977 h 731424"/>
                <a:gd name="connsiteX840" fmla="*/ 1006507 w 1044701"/>
                <a:gd name="connsiteY840" fmla="*/ 192024 h 731424"/>
                <a:gd name="connsiteX841" fmla="*/ 1012412 w 1044701"/>
                <a:gd name="connsiteY841" fmla="*/ 188119 h 731424"/>
                <a:gd name="connsiteX842" fmla="*/ 1004697 w 1044701"/>
                <a:gd name="connsiteY842" fmla="*/ 177832 h 731424"/>
                <a:gd name="connsiteX843" fmla="*/ 1008602 w 1044701"/>
                <a:gd name="connsiteY843" fmla="*/ 170974 h 731424"/>
                <a:gd name="connsiteX844" fmla="*/ 997744 w 1044701"/>
                <a:gd name="connsiteY844" fmla="*/ 161068 h 731424"/>
                <a:gd name="connsiteX845" fmla="*/ 1000315 w 1044701"/>
                <a:gd name="connsiteY845" fmla="*/ 155924 h 731424"/>
                <a:gd name="connsiteX846" fmla="*/ 1007173 w 1044701"/>
                <a:gd name="connsiteY846" fmla="*/ 147066 h 731424"/>
                <a:gd name="connsiteX847" fmla="*/ 1014508 w 1044701"/>
                <a:gd name="connsiteY847" fmla="*/ 141351 h 731424"/>
                <a:gd name="connsiteX848" fmla="*/ 1010698 w 1044701"/>
                <a:gd name="connsiteY848" fmla="*/ 136969 h 731424"/>
                <a:gd name="connsiteX849" fmla="*/ 1009936 w 1044701"/>
                <a:gd name="connsiteY849" fmla="*/ 130683 h 731424"/>
                <a:gd name="connsiteX850" fmla="*/ 1003363 w 1044701"/>
                <a:gd name="connsiteY850" fmla="*/ 117062 h 731424"/>
                <a:gd name="connsiteX851" fmla="*/ 1001363 w 1044701"/>
                <a:gd name="connsiteY851" fmla="*/ 114110 h 731424"/>
                <a:gd name="connsiteX852" fmla="*/ 1002792 w 1044701"/>
                <a:gd name="connsiteY852" fmla="*/ 112395 h 731424"/>
                <a:gd name="connsiteX853" fmla="*/ 1010603 w 1044701"/>
                <a:gd name="connsiteY853" fmla="*/ 111347 h 731424"/>
                <a:gd name="connsiteX854" fmla="*/ 1016317 w 1044701"/>
                <a:gd name="connsiteY854" fmla="*/ 105823 h 731424"/>
                <a:gd name="connsiteX855" fmla="*/ 1014508 w 1044701"/>
                <a:gd name="connsiteY855" fmla="*/ 91631 h 731424"/>
                <a:gd name="connsiteX856" fmla="*/ 1017651 w 1044701"/>
                <a:gd name="connsiteY856" fmla="*/ 91250 h 731424"/>
                <a:gd name="connsiteX857" fmla="*/ 1018318 w 1044701"/>
                <a:gd name="connsiteY857" fmla="*/ 95917 h 731424"/>
                <a:gd name="connsiteX858" fmla="*/ 1019842 w 1044701"/>
                <a:gd name="connsiteY858" fmla="*/ 95726 h 731424"/>
                <a:gd name="connsiteX859" fmla="*/ 1022223 w 1044701"/>
                <a:gd name="connsiteY859" fmla="*/ 89059 h 731424"/>
                <a:gd name="connsiteX860" fmla="*/ 1021461 w 1044701"/>
                <a:gd name="connsiteY860" fmla="*/ 82677 h 731424"/>
                <a:gd name="connsiteX861" fmla="*/ 1023366 w 1044701"/>
                <a:gd name="connsiteY861" fmla="*/ 72866 h 731424"/>
                <a:gd name="connsiteX862" fmla="*/ 1026128 w 1044701"/>
                <a:gd name="connsiteY862" fmla="*/ 69247 h 731424"/>
                <a:gd name="connsiteX863" fmla="*/ 1026700 w 1044701"/>
                <a:gd name="connsiteY863" fmla="*/ 61246 h 731424"/>
                <a:gd name="connsiteX864" fmla="*/ 1030414 w 1044701"/>
                <a:gd name="connsiteY864" fmla="*/ 52673 h 731424"/>
                <a:gd name="connsiteX865" fmla="*/ 1031177 w 1044701"/>
                <a:gd name="connsiteY865" fmla="*/ 46196 h 731424"/>
                <a:gd name="connsiteX866" fmla="*/ 1038511 w 1044701"/>
                <a:gd name="connsiteY866" fmla="*/ 40481 h 731424"/>
                <a:gd name="connsiteX867" fmla="*/ 1041082 w 1044701"/>
                <a:gd name="connsiteY867" fmla="*/ 35338 h 731424"/>
                <a:gd name="connsiteX868" fmla="*/ 1040035 w 1044701"/>
                <a:gd name="connsiteY868" fmla="*/ 27432 h 731424"/>
                <a:gd name="connsiteX869" fmla="*/ 1040987 w 1044701"/>
                <a:gd name="connsiteY869" fmla="*/ 22479 h 731424"/>
                <a:gd name="connsiteX870" fmla="*/ 1038797 w 1044701"/>
                <a:gd name="connsiteY870" fmla="*/ 17907 h 731424"/>
                <a:gd name="connsiteX871" fmla="*/ 1038797 w 1044701"/>
                <a:gd name="connsiteY871" fmla="*/ 17907 h 731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</a:cxnLst>
              <a:rect l="l" t="t" r="r" b="b"/>
              <a:pathLst>
                <a:path w="1044701" h="731424">
                  <a:moveTo>
                    <a:pt x="1038797" y="17907"/>
                  </a:moveTo>
                  <a:lnTo>
                    <a:pt x="1039558" y="11430"/>
                  </a:lnTo>
                  <a:lnTo>
                    <a:pt x="1037463" y="6953"/>
                  </a:lnTo>
                  <a:lnTo>
                    <a:pt x="1028509" y="0"/>
                  </a:lnTo>
                  <a:lnTo>
                    <a:pt x="1019651" y="6001"/>
                  </a:lnTo>
                  <a:lnTo>
                    <a:pt x="1018889" y="12478"/>
                  </a:lnTo>
                  <a:lnTo>
                    <a:pt x="1017270" y="12668"/>
                  </a:lnTo>
                  <a:lnTo>
                    <a:pt x="1012984" y="16478"/>
                  </a:lnTo>
                  <a:lnTo>
                    <a:pt x="1010412" y="21527"/>
                  </a:lnTo>
                  <a:lnTo>
                    <a:pt x="1006888" y="18860"/>
                  </a:lnTo>
                  <a:lnTo>
                    <a:pt x="1002316" y="20955"/>
                  </a:lnTo>
                  <a:lnTo>
                    <a:pt x="995839" y="33052"/>
                  </a:lnTo>
                  <a:lnTo>
                    <a:pt x="994696" y="49244"/>
                  </a:lnTo>
                  <a:lnTo>
                    <a:pt x="989362" y="57912"/>
                  </a:lnTo>
                  <a:lnTo>
                    <a:pt x="982313" y="65246"/>
                  </a:lnTo>
                  <a:lnTo>
                    <a:pt x="984504" y="69818"/>
                  </a:lnTo>
                  <a:lnTo>
                    <a:pt x="983361" y="73152"/>
                  </a:lnTo>
                  <a:lnTo>
                    <a:pt x="972883" y="79248"/>
                  </a:lnTo>
                  <a:lnTo>
                    <a:pt x="965549" y="85058"/>
                  </a:lnTo>
                  <a:lnTo>
                    <a:pt x="962215" y="83820"/>
                  </a:lnTo>
                  <a:lnTo>
                    <a:pt x="959263" y="85820"/>
                  </a:lnTo>
                  <a:lnTo>
                    <a:pt x="947452" y="106585"/>
                  </a:lnTo>
                  <a:lnTo>
                    <a:pt x="944308" y="119825"/>
                  </a:lnTo>
                  <a:lnTo>
                    <a:pt x="941641" y="123349"/>
                  </a:lnTo>
                  <a:lnTo>
                    <a:pt x="932783" y="129254"/>
                  </a:lnTo>
                  <a:lnTo>
                    <a:pt x="924401" y="127159"/>
                  </a:lnTo>
                  <a:lnTo>
                    <a:pt x="917734" y="124777"/>
                  </a:lnTo>
                  <a:lnTo>
                    <a:pt x="914209" y="122015"/>
                  </a:lnTo>
                  <a:lnTo>
                    <a:pt x="893826" y="113443"/>
                  </a:lnTo>
                  <a:lnTo>
                    <a:pt x="887349" y="112586"/>
                  </a:lnTo>
                  <a:lnTo>
                    <a:pt x="882396" y="111633"/>
                  </a:lnTo>
                  <a:lnTo>
                    <a:pt x="878205" y="104204"/>
                  </a:lnTo>
                  <a:lnTo>
                    <a:pt x="867537" y="95917"/>
                  </a:lnTo>
                  <a:lnTo>
                    <a:pt x="866775" y="89630"/>
                  </a:lnTo>
                  <a:lnTo>
                    <a:pt x="859822" y="85630"/>
                  </a:lnTo>
                  <a:lnTo>
                    <a:pt x="855821" y="79724"/>
                  </a:lnTo>
                  <a:lnTo>
                    <a:pt x="844391" y="78010"/>
                  </a:lnTo>
                  <a:lnTo>
                    <a:pt x="840105" y="81725"/>
                  </a:lnTo>
                  <a:lnTo>
                    <a:pt x="838295" y="80391"/>
                  </a:lnTo>
                  <a:lnTo>
                    <a:pt x="836962" y="82201"/>
                  </a:lnTo>
                  <a:lnTo>
                    <a:pt x="816197" y="70390"/>
                  </a:lnTo>
                  <a:lnTo>
                    <a:pt x="813245" y="72390"/>
                  </a:lnTo>
                  <a:lnTo>
                    <a:pt x="811435" y="70961"/>
                  </a:lnTo>
                  <a:lnTo>
                    <a:pt x="807720" y="66675"/>
                  </a:lnTo>
                  <a:lnTo>
                    <a:pt x="804767" y="68580"/>
                  </a:lnTo>
                  <a:lnTo>
                    <a:pt x="801719" y="57817"/>
                  </a:lnTo>
                  <a:lnTo>
                    <a:pt x="793242" y="54102"/>
                  </a:lnTo>
                  <a:lnTo>
                    <a:pt x="790099" y="54483"/>
                  </a:lnTo>
                  <a:lnTo>
                    <a:pt x="786384" y="50102"/>
                  </a:lnTo>
                  <a:lnTo>
                    <a:pt x="784955" y="51911"/>
                  </a:lnTo>
                  <a:lnTo>
                    <a:pt x="778478" y="51149"/>
                  </a:lnTo>
                  <a:lnTo>
                    <a:pt x="772763" y="56674"/>
                  </a:lnTo>
                  <a:lnTo>
                    <a:pt x="772382" y="79153"/>
                  </a:lnTo>
                  <a:lnTo>
                    <a:pt x="769811" y="84296"/>
                  </a:lnTo>
                  <a:lnTo>
                    <a:pt x="762190" y="86868"/>
                  </a:lnTo>
                  <a:lnTo>
                    <a:pt x="759428" y="90392"/>
                  </a:lnTo>
                  <a:lnTo>
                    <a:pt x="757809" y="90678"/>
                  </a:lnTo>
                  <a:lnTo>
                    <a:pt x="755237" y="95821"/>
                  </a:lnTo>
                  <a:lnTo>
                    <a:pt x="755047" y="94202"/>
                  </a:lnTo>
                  <a:lnTo>
                    <a:pt x="745617" y="95441"/>
                  </a:lnTo>
                  <a:lnTo>
                    <a:pt x="745236" y="92202"/>
                  </a:lnTo>
                  <a:lnTo>
                    <a:pt x="743617" y="92488"/>
                  </a:lnTo>
                  <a:lnTo>
                    <a:pt x="743998" y="95631"/>
                  </a:lnTo>
                  <a:lnTo>
                    <a:pt x="736378" y="98203"/>
                  </a:lnTo>
                  <a:lnTo>
                    <a:pt x="739712" y="99346"/>
                  </a:lnTo>
                  <a:lnTo>
                    <a:pt x="740092" y="102489"/>
                  </a:lnTo>
                  <a:lnTo>
                    <a:pt x="737330" y="106108"/>
                  </a:lnTo>
                  <a:lnTo>
                    <a:pt x="733615" y="101727"/>
                  </a:lnTo>
                  <a:lnTo>
                    <a:pt x="730663" y="103727"/>
                  </a:lnTo>
                  <a:lnTo>
                    <a:pt x="727424" y="104108"/>
                  </a:lnTo>
                  <a:lnTo>
                    <a:pt x="727900" y="107252"/>
                  </a:lnTo>
                  <a:lnTo>
                    <a:pt x="724757" y="107728"/>
                  </a:lnTo>
                  <a:lnTo>
                    <a:pt x="725138" y="110871"/>
                  </a:lnTo>
                  <a:lnTo>
                    <a:pt x="721805" y="109633"/>
                  </a:lnTo>
                  <a:lnTo>
                    <a:pt x="719995" y="108299"/>
                  </a:lnTo>
                  <a:lnTo>
                    <a:pt x="715232" y="108871"/>
                  </a:lnTo>
                  <a:lnTo>
                    <a:pt x="715423" y="110490"/>
                  </a:lnTo>
                  <a:lnTo>
                    <a:pt x="703040" y="126492"/>
                  </a:lnTo>
                  <a:lnTo>
                    <a:pt x="691801" y="126302"/>
                  </a:lnTo>
                  <a:lnTo>
                    <a:pt x="687038" y="126968"/>
                  </a:lnTo>
                  <a:lnTo>
                    <a:pt x="687705" y="131636"/>
                  </a:lnTo>
                  <a:lnTo>
                    <a:pt x="681514" y="134017"/>
                  </a:lnTo>
                  <a:lnTo>
                    <a:pt x="677608" y="140970"/>
                  </a:lnTo>
                  <a:lnTo>
                    <a:pt x="679990" y="147066"/>
                  </a:lnTo>
                  <a:lnTo>
                    <a:pt x="681419" y="145256"/>
                  </a:lnTo>
                  <a:lnTo>
                    <a:pt x="685133" y="149638"/>
                  </a:lnTo>
                  <a:lnTo>
                    <a:pt x="690467" y="153734"/>
                  </a:lnTo>
                  <a:lnTo>
                    <a:pt x="684562" y="157734"/>
                  </a:lnTo>
                  <a:lnTo>
                    <a:pt x="683419" y="161068"/>
                  </a:lnTo>
                  <a:lnTo>
                    <a:pt x="677132" y="161830"/>
                  </a:lnTo>
                  <a:lnTo>
                    <a:pt x="674561" y="166973"/>
                  </a:lnTo>
                  <a:lnTo>
                    <a:pt x="669227" y="162877"/>
                  </a:lnTo>
                  <a:lnTo>
                    <a:pt x="667798" y="164687"/>
                  </a:lnTo>
                  <a:lnTo>
                    <a:pt x="663035" y="165259"/>
                  </a:lnTo>
                  <a:lnTo>
                    <a:pt x="665226" y="169831"/>
                  </a:lnTo>
                  <a:lnTo>
                    <a:pt x="664083" y="173165"/>
                  </a:lnTo>
                  <a:lnTo>
                    <a:pt x="662273" y="171736"/>
                  </a:lnTo>
                  <a:lnTo>
                    <a:pt x="662940" y="176498"/>
                  </a:lnTo>
                  <a:lnTo>
                    <a:pt x="668083" y="179070"/>
                  </a:lnTo>
                  <a:lnTo>
                    <a:pt x="670465" y="185166"/>
                  </a:lnTo>
                  <a:lnTo>
                    <a:pt x="673798" y="186309"/>
                  </a:lnTo>
                  <a:lnTo>
                    <a:pt x="675227" y="197358"/>
                  </a:lnTo>
                  <a:lnTo>
                    <a:pt x="655034" y="190310"/>
                  </a:lnTo>
                  <a:lnTo>
                    <a:pt x="651700" y="189167"/>
                  </a:lnTo>
                  <a:lnTo>
                    <a:pt x="646366" y="185071"/>
                  </a:lnTo>
                  <a:lnTo>
                    <a:pt x="645033" y="186785"/>
                  </a:lnTo>
                  <a:lnTo>
                    <a:pt x="638270" y="184499"/>
                  </a:lnTo>
                  <a:lnTo>
                    <a:pt x="640080" y="185833"/>
                  </a:lnTo>
                  <a:lnTo>
                    <a:pt x="638842" y="189167"/>
                  </a:lnTo>
                  <a:lnTo>
                    <a:pt x="640652" y="190595"/>
                  </a:lnTo>
                  <a:lnTo>
                    <a:pt x="633984" y="188214"/>
                  </a:lnTo>
                  <a:lnTo>
                    <a:pt x="632555" y="190024"/>
                  </a:lnTo>
                  <a:lnTo>
                    <a:pt x="630936" y="190214"/>
                  </a:lnTo>
                  <a:lnTo>
                    <a:pt x="627793" y="190595"/>
                  </a:lnTo>
                  <a:lnTo>
                    <a:pt x="615410" y="193834"/>
                  </a:lnTo>
                  <a:lnTo>
                    <a:pt x="614839" y="189071"/>
                  </a:lnTo>
                  <a:lnTo>
                    <a:pt x="614648" y="187452"/>
                  </a:lnTo>
                  <a:lnTo>
                    <a:pt x="618744" y="182118"/>
                  </a:lnTo>
                  <a:lnTo>
                    <a:pt x="616934" y="180785"/>
                  </a:lnTo>
                  <a:lnTo>
                    <a:pt x="612267" y="181356"/>
                  </a:lnTo>
                  <a:lnTo>
                    <a:pt x="611981" y="179832"/>
                  </a:lnTo>
                  <a:lnTo>
                    <a:pt x="610457" y="180023"/>
                  </a:lnTo>
                  <a:lnTo>
                    <a:pt x="612457" y="182975"/>
                  </a:lnTo>
                  <a:lnTo>
                    <a:pt x="611219" y="186309"/>
                  </a:lnTo>
                  <a:lnTo>
                    <a:pt x="611410" y="187833"/>
                  </a:lnTo>
                  <a:lnTo>
                    <a:pt x="602552" y="193834"/>
                  </a:lnTo>
                  <a:lnTo>
                    <a:pt x="598837" y="189452"/>
                  </a:lnTo>
                  <a:lnTo>
                    <a:pt x="596074" y="193072"/>
                  </a:lnTo>
                  <a:lnTo>
                    <a:pt x="589597" y="192310"/>
                  </a:lnTo>
                  <a:lnTo>
                    <a:pt x="587026" y="197358"/>
                  </a:lnTo>
                  <a:lnTo>
                    <a:pt x="582073" y="196406"/>
                  </a:lnTo>
                  <a:lnTo>
                    <a:pt x="580644" y="198215"/>
                  </a:lnTo>
                  <a:lnTo>
                    <a:pt x="576929" y="193834"/>
                  </a:lnTo>
                  <a:lnTo>
                    <a:pt x="574929" y="190881"/>
                  </a:lnTo>
                  <a:lnTo>
                    <a:pt x="576167" y="187547"/>
                  </a:lnTo>
                  <a:lnTo>
                    <a:pt x="574548" y="187738"/>
                  </a:lnTo>
                  <a:lnTo>
                    <a:pt x="569405" y="185261"/>
                  </a:lnTo>
                  <a:lnTo>
                    <a:pt x="564832" y="174593"/>
                  </a:lnTo>
                  <a:lnTo>
                    <a:pt x="561689" y="174974"/>
                  </a:lnTo>
                  <a:lnTo>
                    <a:pt x="559880" y="173546"/>
                  </a:lnTo>
                  <a:lnTo>
                    <a:pt x="558546" y="175355"/>
                  </a:lnTo>
                  <a:lnTo>
                    <a:pt x="556736" y="174022"/>
                  </a:lnTo>
                  <a:lnTo>
                    <a:pt x="553593" y="174403"/>
                  </a:lnTo>
                  <a:lnTo>
                    <a:pt x="551974" y="174593"/>
                  </a:lnTo>
                  <a:lnTo>
                    <a:pt x="546068" y="165735"/>
                  </a:lnTo>
                  <a:lnTo>
                    <a:pt x="543115" y="167735"/>
                  </a:lnTo>
                  <a:lnTo>
                    <a:pt x="541972" y="171069"/>
                  </a:lnTo>
                  <a:lnTo>
                    <a:pt x="540353" y="171260"/>
                  </a:lnTo>
                  <a:lnTo>
                    <a:pt x="531495" y="164402"/>
                  </a:lnTo>
                  <a:lnTo>
                    <a:pt x="528447" y="153543"/>
                  </a:lnTo>
                  <a:lnTo>
                    <a:pt x="519589" y="146685"/>
                  </a:lnTo>
                  <a:lnTo>
                    <a:pt x="513493" y="149066"/>
                  </a:lnTo>
                  <a:lnTo>
                    <a:pt x="511683" y="147638"/>
                  </a:lnTo>
                  <a:lnTo>
                    <a:pt x="506921" y="148304"/>
                  </a:lnTo>
                  <a:lnTo>
                    <a:pt x="505015" y="145352"/>
                  </a:lnTo>
                  <a:lnTo>
                    <a:pt x="498443" y="144494"/>
                  </a:lnTo>
                  <a:lnTo>
                    <a:pt x="495300" y="144971"/>
                  </a:lnTo>
                  <a:lnTo>
                    <a:pt x="493300" y="142018"/>
                  </a:lnTo>
                  <a:lnTo>
                    <a:pt x="492347" y="134112"/>
                  </a:lnTo>
                  <a:lnTo>
                    <a:pt x="486728" y="115538"/>
                  </a:lnTo>
                  <a:lnTo>
                    <a:pt x="480250" y="114776"/>
                  </a:lnTo>
                  <a:lnTo>
                    <a:pt x="449675" y="113824"/>
                  </a:lnTo>
                  <a:lnTo>
                    <a:pt x="449580" y="88202"/>
                  </a:lnTo>
                  <a:lnTo>
                    <a:pt x="448437" y="78772"/>
                  </a:lnTo>
                  <a:lnTo>
                    <a:pt x="435197" y="75629"/>
                  </a:lnTo>
                  <a:lnTo>
                    <a:pt x="435102" y="62770"/>
                  </a:lnTo>
                  <a:lnTo>
                    <a:pt x="415957" y="63627"/>
                  </a:lnTo>
                  <a:lnTo>
                    <a:pt x="410623" y="59531"/>
                  </a:lnTo>
                  <a:lnTo>
                    <a:pt x="405955" y="60103"/>
                  </a:lnTo>
                  <a:lnTo>
                    <a:pt x="405289" y="55340"/>
                  </a:lnTo>
                  <a:lnTo>
                    <a:pt x="401193" y="60674"/>
                  </a:lnTo>
                  <a:lnTo>
                    <a:pt x="388525" y="49530"/>
                  </a:lnTo>
                  <a:lnTo>
                    <a:pt x="383572" y="48482"/>
                  </a:lnTo>
                  <a:lnTo>
                    <a:pt x="384429" y="54864"/>
                  </a:lnTo>
                  <a:lnTo>
                    <a:pt x="383000" y="56579"/>
                  </a:lnTo>
                  <a:lnTo>
                    <a:pt x="362331" y="57626"/>
                  </a:lnTo>
                  <a:lnTo>
                    <a:pt x="362903" y="75248"/>
                  </a:lnTo>
                  <a:lnTo>
                    <a:pt x="351663" y="75057"/>
                  </a:lnTo>
                  <a:lnTo>
                    <a:pt x="338899" y="75057"/>
                  </a:lnTo>
                  <a:lnTo>
                    <a:pt x="338328" y="83153"/>
                  </a:lnTo>
                  <a:lnTo>
                    <a:pt x="329470" y="89059"/>
                  </a:lnTo>
                  <a:lnTo>
                    <a:pt x="329851" y="92297"/>
                  </a:lnTo>
                  <a:lnTo>
                    <a:pt x="326898" y="94202"/>
                  </a:lnTo>
                  <a:lnTo>
                    <a:pt x="326231" y="89535"/>
                  </a:lnTo>
                  <a:lnTo>
                    <a:pt x="314992" y="89344"/>
                  </a:lnTo>
                  <a:lnTo>
                    <a:pt x="313468" y="89535"/>
                  </a:lnTo>
                  <a:lnTo>
                    <a:pt x="313087" y="86392"/>
                  </a:lnTo>
                  <a:lnTo>
                    <a:pt x="306324" y="84011"/>
                  </a:lnTo>
                  <a:lnTo>
                    <a:pt x="304133" y="79439"/>
                  </a:lnTo>
                  <a:lnTo>
                    <a:pt x="304514" y="69818"/>
                  </a:lnTo>
                  <a:lnTo>
                    <a:pt x="308229" y="61341"/>
                  </a:lnTo>
                  <a:lnTo>
                    <a:pt x="303086" y="58769"/>
                  </a:lnTo>
                  <a:lnTo>
                    <a:pt x="304324" y="55435"/>
                  </a:lnTo>
                  <a:lnTo>
                    <a:pt x="303847" y="52292"/>
                  </a:lnTo>
                  <a:lnTo>
                    <a:pt x="294227" y="51911"/>
                  </a:lnTo>
                  <a:lnTo>
                    <a:pt x="290513" y="47530"/>
                  </a:lnTo>
                  <a:lnTo>
                    <a:pt x="285083" y="43434"/>
                  </a:lnTo>
                  <a:lnTo>
                    <a:pt x="280797" y="47149"/>
                  </a:lnTo>
                  <a:lnTo>
                    <a:pt x="278416" y="53912"/>
                  </a:lnTo>
                  <a:lnTo>
                    <a:pt x="270129" y="51721"/>
                  </a:lnTo>
                  <a:lnTo>
                    <a:pt x="269177" y="56674"/>
                  </a:lnTo>
                  <a:lnTo>
                    <a:pt x="264414" y="57245"/>
                  </a:lnTo>
                  <a:lnTo>
                    <a:pt x="264605" y="58865"/>
                  </a:lnTo>
                  <a:lnTo>
                    <a:pt x="260128" y="61055"/>
                  </a:lnTo>
                  <a:lnTo>
                    <a:pt x="260890" y="67342"/>
                  </a:lnTo>
                  <a:lnTo>
                    <a:pt x="262699" y="68771"/>
                  </a:lnTo>
                  <a:lnTo>
                    <a:pt x="260985" y="80200"/>
                  </a:lnTo>
                  <a:lnTo>
                    <a:pt x="259747" y="83534"/>
                  </a:lnTo>
                  <a:lnTo>
                    <a:pt x="256604" y="83915"/>
                  </a:lnTo>
                  <a:lnTo>
                    <a:pt x="256794" y="85535"/>
                  </a:lnTo>
                  <a:lnTo>
                    <a:pt x="254794" y="82582"/>
                  </a:lnTo>
                  <a:lnTo>
                    <a:pt x="251079" y="91059"/>
                  </a:lnTo>
                  <a:lnTo>
                    <a:pt x="247364" y="86677"/>
                  </a:lnTo>
                  <a:lnTo>
                    <a:pt x="242411" y="85725"/>
                  </a:lnTo>
                  <a:lnTo>
                    <a:pt x="239458" y="87725"/>
                  </a:lnTo>
                  <a:lnTo>
                    <a:pt x="239268" y="86106"/>
                  </a:lnTo>
                  <a:lnTo>
                    <a:pt x="235934" y="84963"/>
                  </a:lnTo>
                  <a:lnTo>
                    <a:pt x="234696" y="88297"/>
                  </a:lnTo>
                  <a:lnTo>
                    <a:pt x="231553" y="88773"/>
                  </a:lnTo>
                  <a:lnTo>
                    <a:pt x="228981" y="93917"/>
                  </a:lnTo>
                  <a:lnTo>
                    <a:pt x="227457" y="94107"/>
                  </a:lnTo>
                  <a:lnTo>
                    <a:pt x="227838" y="97250"/>
                  </a:lnTo>
                  <a:lnTo>
                    <a:pt x="225076" y="100775"/>
                  </a:lnTo>
                  <a:lnTo>
                    <a:pt x="221552" y="98012"/>
                  </a:lnTo>
                  <a:lnTo>
                    <a:pt x="219932" y="98203"/>
                  </a:lnTo>
                  <a:lnTo>
                    <a:pt x="218789" y="101632"/>
                  </a:lnTo>
                  <a:lnTo>
                    <a:pt x="215170" y="98869"/>
                  </a:lnTo>
                  <a:lnTo>
                    <a:pt x="214979" y="97250"/>
                  </a:lnTo>
                  <a:lnTo>
                    <a:pt x="209836" y="94679"/>
                  </a:lnTo>
                  <a:lnTo>
                    <a:pt x="209645" y="93154"/>
                  </a:lnTo>
                  <a:lnTo>
                    <a:pt x="199358" y="88011"/>
                  </a:lnTo>
                  <a:lnTo>
                    <a:pt x="197644" y="86677"/>
                  </a:lnTo>
                  <a:lnTo>
                    <a:pt x="195834" y="85249"/>
                  </a:lnTo>
                  <a:lnTo>
                    <a:pt x="195263" y="93345"/>
                  </a:lnTo>
                  <a:lnTo>
                    <a:pt x="191738" y="90583"/>
                  </a:lnTo>
                  <a:lnTo>
                    <a:pt x="191929" y="92202"/>
                  </a:lnTo>
                  <a:lnTo>
                    <a:pt x="186785" y="89630"/>
                  </a:lnTo>
                  <a:lnTo>
                    <a:pt x="182023" y="90202"/>
                  </a:lnTo>
                  <a:lnTo>
                    <a:pt x="181832" y="88678"/>
                  </a:lnTo>
                  <a:lnTo>
                    <a:pt x="183452" y="88487"/>
                  </a:lnTo>
                  <a:lnTo>
                    <a:pt x="183261" y="86868"/>
                  </a:lnTo>
                  <a:lnTo>
                    <a:pt x="181642" y="87058"/>
                  </a:lnTo>
                  <a:lnTo>
                    <a:pt x="180213" y="88868"/>
                  </a:lnTo>
                  <a:lnTo>
                    <a:pt x="175070" y="86296"/>
                  </a:lnTo>
                  <a:lnTo>
                    <a:pt x="173736" y="88106"/>
                  </a:lnTo>
                  <a:lnTo>
                    <a:pt x="175355" y="87916"/>
                  </a:lnTo>
                  <a:lnTo>
                    <a:pt x="170783" y="90106"/>
                  </a:lnTo>
                  <a:lnTo>
                    <a:pt x="168783" y="87154"/>
                  </a:lnTo>
                  <a:lnTo>
                    <a:pt x="165640" y="87535"/>
                  </a:lnTo>
                  <a:lnTo>
                    <a:pt x="163925" y="86106"/>
                  </a:lnTo>
                  <a:lnTo>
                    <a:pt x="162496" y="87916"/>
                  </a:lnTo>
                  <a:lnTo>
                    <a:pt x="162115" y="84773"/>
                  </a:lnTo>
                  <a:lnTo>
                    <a:pt x="160496" y="84963"/>
                  </a:lnTo>
                  <a:lnTo>
                    <a:pt x="161354" y="91250"/>
                  </a:lnTo>
                  <a:lnTo>
                    <a:pt x="164497" y="90869"/>
                  </a:lnTo>
                  <a:lnTo>
                    <a:pt x="163068" y="92678"/>
                  </a:lnTo>
                  <a:lnTo>
                    <a:pt x="161354" y="91250"/>
                  </a:lnTo>
                  <a:lnTo>
                    <a:pt x="157734" y="88487"/>
                  </a:lnTo>
                  <a:lnTo>
                    <a:pt x="156400" y="90297"/>
                  </a:lnTo>
                  <a:lnTo>
                    <a:pt x="156591" y="91916"/>
                  </a:lnTo>
                  <a:lnTo>
                    <a:pt x="154972" y="92107"/>
                  </a:lnTo>
                  <a:lnTo>
                    <a:pt x="153448" y="92297"/>
                  </a:lnTo>
                  <a:lnTo>
                    <a:pt x="152781" y="87535"/>
                  </a:lnTo>
                  <a:lnTo>
                    <a:pt x="149638" y="87916"/>
                  </a:lnTo>
                  <a:lnTo>
                    <a:pt x="149828" y="76676"/>
                  </a:lnTo>
                  <a:lnTo>
                    <a:pt x="142970" y="72771"/>
                  </a:lnTo>
                  <a:lnTo>
                    <a:pt x="139732" y="73152"/>
                  </a:lnTo>
                  <a:lnTo>
                    <a:pt x="138779" y="78105"/>
                  </a:lnTo>
                  <a:lnTo>
                    <a:pt x="143923" y="80677"/>
                  </a:lnTo>
                  <a:lnTo>
                    <a:pt x="137827" y="83058"/>
                  </a:lnTo>
                  <a:lnTo>
                    <a:pt x="136017" y="81629"/>
                  </a:lnTo>
                  <a:lnTo>
                    <a:pt x="134684" y="83439"/>
                  </a:lnTo>
                  <a:lnTo>
                    <a:pt x="135255" y="88202"/>
                  </a:lnTo>
                  <a:lnTo>
                    <a:pt x="130683" y="90392"/>
                  </a:lnTo>
                  <a:lnTo>
                    <a:pt x="127349" y="89154"/>
                  </a:lnTo>
                  <a:lnTo>
                    <a:pt x="126778" y="84487"/>
                  </a:lnTo>
                  <a:lnTo>
                    <a:pt x="125349" y="86201"/>
                  </a:lnTo>
                  <a:lnTo>
                    <a:pt x="123444" y="83248"/>
                  </a:lnTo>
                  <a:lnTo>
                    <a:pt x="120301" y="83629"/>
                  </a:lnTo>
                  <a:lnTo>
                    <a:pt x="109823" y="89821"/>
                  </a:lnTo>
                  <a:lnTo>
                    <a:pt x="108394" y="91631"/>
                  </a:lnTo>
                  <a:lnTo>
                    <a:pt x="107823" y="99727"/>
                  </a:lnTo>
                  <a:lnTo>
                    <a:pt x="106680" y="103061"/>
                  </a:lnTo>
                  <a:lnTo>
                    <a:pt x="108490" y="104394"/>
                  </a:lnTo>
                  <a:lnTo>
                    <a:pt x="110680" y="108966"/>
                  </a:lnTo>
                  <a:lnTo>
                    <a:pt x="109252" y="110776"/>
                  </a:lnTo>
                  <a:lnTo>
                    <a:pt x="105727" y="108014"/>
                  </a:lnTo>
                  <a:lnTo>
                    <a:pt x="102965" y="111538"/>
                  </a:lnTo>
                  <a:lnTo>
                    <a:pt x="98393" y="113729"/>
                  </a:lnTo>
                  <a:lnTo>
                    <a:pt x="98584" y="115252"/>
                  </a:lnTo>
                  <a:lnTo>
                    <a:pt x="96869" y="113919"/>
                  </a:lnTo>
                  <a:lnTo>
                    <a:pt x="85630" y="113729"/>
                  </a:lnTo>
                  <a:lnTo>
                    <a:pt x="86201" y="118491"/>
                  </a:lnTo>
                  <a:lnTo>
                    <a:pt x="90964" y="117919"/>
                  </a:lnTo>
                  <a:lnTo>
                    <a:pt x="88011" y="119825"/>
                  </a:lnTo>
                  <a:lnTo>
                    <a:pt x="83058" y="118872"/>
                  </a:lnTo>
                  <a:lnTo>
                    <a:pt x="83248" y="120491"/>
                  </a:lnTo>
                  <a:lnTo>
                    <a:pt x="78962" y="124206"/>
                  </a:lnTo>
                  <a:lnTo>
                    <a:pt x="77343" y="124396"/>
                  </a:lnTo>
                  <a:lnTo>
                    <a:pt x="73247" y="129731"/>
                  </a:lnTo>
                  <a:lnTo>
                    <a:pt x="60960" y="134493"/>
                  </a:lnTo>
                  <a:lnTo>
                    <a:pt x="50863" y="118205"/>
                  </a:lnTo>
                  <a:lnTo>
                    <a:pt x="49054" y="116777"/>
                  </a:lnTo>
                  <a:lnTo>
                    <a:pt x="47530" y="116967"/>
                  </a:lnTo>
                  <a:lnTo>
                    <a:pt x="50292" y="126302"/>
                  </a:lnTo>
                  <a:lnTo>
                    <a:pt x="44386" y="130207"/>
                  </a:lnTo>
                  <a:lnTo>
                    <a:pt x="39243" y="127635"/>
                  </a:lnTo>
                  <a:lnTo>
                    <a:pt x="38671" y="122968"/>
                  </a:lnTo>
                  <a:lnTo>
                    <a:pt x="35147" y="120206"/>
                  </a:lnTo>
                  <a:lnTo>
                    <a:pt x="29146" y="124111"/>
                  </a:lnTo>
                  <a:lnTo>
                    <a:pt x="25622" y="134207"/>
                  </a:lnTo>
                  <a:lnTo>
                    <a:pt x="32766" y="139732"/>
                  </a:lnTo>
                  <a:lnTo>
                    <a:pt x="37147" y="135922"/>
                  </a:lnTo>
                  <a:lnTo>
                    <a:pt x="41243" y="143446"/>
                  </a:lnTo>
                  <a:lnTo>
                    <a:pt x="44386" y="143066"/>
                  </a:lnTo>
                  <a:lnTo>
                    <a:pt x="39910" y="145256"/>
                  </a:lnTo>
                  <a:lnTo>
                    <a:pt x="36100" y="140875"/>
                  </a:lnTo>
                  <a:lnTo>
                    <a:pt x="33338" y="144494"/>
                  </a:lnTo>
                  <a:lnTo>
                    <a:pt x="30194" y="144875"/>
                  </a:lnTo>
                  <a:lnTo>
                    <a:pt x="28861" y="146685"/>
                  </a:lnTo>
                  <a:lnTo>
                    <a:pt x="31432" y="154305"/>
                  </a:lnTo>
                  <a:lnTo>
                    <a:pt x="33623" y="158877"/>
                  </a:lnTo>
                  <a:lnTo>
                    <a:pt x="33814" y="173260"/>
                  </a:lnTo>
                  <a:lnTo>
                    <a:pt x="27337" y="172498"/>
                  </a:lnTo>
                  <a:lnTo>
                    <a:pt x="22765" y="174689"/>
                  </a:lnTo>
                  <a:lnTo>
                    <a:pt x="21050" y="173260"/>
                  </a:lnTo>
                  <a:lnTo>
                    <a:pt x="21431" y="176403"/>
                  </a:lnTo>
                  <a:lnTo>
                    <a:pt x="18288" y="176879"/>
                  </a:lnTo>
                  <a:lnTo>
                    <a:pt x="16478" y="175450"/>
                  </a:lnTo>
                  <a:lnTo>
                    <a:pt x="13144" y="174308"/>
                  </a:lnTo>
                  <a:lnTo>
                    <a:pt x="11906" y="177641"/>
                  </a:lnTo>
                  <a:lnTo>
                    <a:pt x="8954" y="179642"/>
                  </a:lnTo>
                  <a:lnTo>
                    <a:pt x="9239" y="181261"/>
                  </a:lnTo>
                  <a:lnTo>
                    <a:pt x="12763" y="183928"/>
                  </a:lnTo>
                  <a:lnTo>
                    <a:pt x="24003" y="184118"/>
                  </a:lnTo>
                  <a:lnTo>
                    <a:pt x="22860" y="187547"/>
                  </a:lnTo>
                  <a:lnTo>
                    <a:pt x="27337" y="185356"/>
                  </a:lnTo>
                  <a:lnTo>
                    <a:pt x="28004" y="190024"/>
                  </a:lnTo>
                  <a:lnTo>
                    <a:pt x="26575" y="191834"/>
                  </a:lnTo>
                  <a:lnTo>
                    <a:pt x="24765" y="190500"/>
                  </a:lnTo>
                  <a:lnTo>
                    <a:pt x="23431" y="192215"/>
                  </a:lnTo>
                  <a:lnTo>
                    <a:pt x="18288" y="189643"/>
                  </a:lnTo>
                  <a:lnTo>
                    <a:pt x="18479" y="191262"/>
                  </a:lnTo>
                  <a:lnTo>
                    <a:pt x="21812" y="192405"/>
                  </a:lnTo>
                  <a:lnTo>
                    <a:pt x="20288" y="192596"/>
                  </a:lnTo>
                  <a:lnTo>
                    <a:pt x="15145" y="190119"/>
                  </a:lnTo>
                  <a:lnTo>
                    <a:pt x="11811" y="188881"/>
                  </a:lnTo>
                  <a:lnTo>
                    <a:pt x="6096" y="194405"/>
                  </a:lnTo>
                  <a:lnTo>
                    <a:pt x="0" y="196787"/>
                  </a:lnTo>
                  <a:lnTo>
                    <a:pt x="5334" y="200977"/>
                  </a:lnTo>
                  <a:lnTo>
                    <a:pt x="5715" y="204121"/>
                  </a:lnTo>
                  <a:lnTo>
                    <a:pt x="7239" y="203930"/>
                  </a:lnTo>
                  <a:lnTo>
                    <a:pt x="8096" y="210217"/>
                  </a:lnTo>
                  <a:lnTo>
                    <a:pt x="11621" y="212979"/>
                  </a:lnTo>
                  <a:lnTo>
                    <a:pt x="13240" y="212789"/>
                  </a:lnTo>
                  <a:lnTo>
                    <a:pt x="11811" y="214598"/>
                  </a:lnTo>
                  <a:lnTo>
                    <a:pt x="14954" y="214122"/>
                  </a:lnTo>
                  <a:lnTo>
                    <a:pt x="15430" y="217265"/>
                  </a:lnTo>
                  <a:lnTo>
                    <a:pt x="20574" y="219837"/>
                  </a:lnTo>
                  <a:lnTo>
                    <a:pt x="25717" y="222409"/>
                  </a:lnTo>
                  <a:lnTo>
                    <a:pt x="27432" y="223838"/>
                  </a:lnTo>
                  <a:lnTo>
                    <a:pt x="31623" y="218504"/>
                  </a:lnTo>
                  <a:lnTo>
                    <a:pt x="39910" y="220599"/>
                  </a:lnTo>
                  <a:lnTo>
                    <a:pt x="38481" y="222409"/>
                  </a:lnTo>
                  <a:lnTo>
                    <a:pt x="36767" y="220980"/>
                  </a:lnTo>
                  <a:lnTo>
                    <a:pt x="40481" y="225362"/>
                  </a:lnTo>
                  <a:lnTo>
                    <a:pt x="43434" y="223361"/>
                  </a:lnTo>
                  <a:lnTo>
                    <a:pt x="48577" y="225933"/>
                  </a:lnTo>
                  <a:lnTo>
                    <a:pt x="44196" y="229648"/>
                  </a:lnTo>
                  <a:lnTo>
                    <a:pt x="41053" y="230029"/>
                  </a:lnTo>
                  <a:lnTo>
                    <a:pt x="43053" y="232981"/>
                  </a:lnTo>
                  <a:lnTo>
                    <a:pt x="46387" y="234220"/>
                  </a:lnTo>
                  <a:lnTo>
                    <a:pt x="49625" y="233839"/>
                  </a:lnTo>
                  <a:lnTo>
                    <a:pt x="49816" y="235363"/>
                  </a:lnTo>
                  <a:lnTo>
                    <a:pt x="51149" y="233648"/>
                  </a:lnTo>
                  <a:lnTo>
                    <a:pt x="52959" y="234982"/>
                  </a:lnTo>
                  <a:lnTo>
                    <a:pt x="58102" y="237554"/>
                  </a:lnTo>
                  <a:lnTo>
                    <a:pt x="65342" y="231839"/>
                  </a:lnTo>
                  <a:lnTo>
                    <a:pt x="67151" y="233172"/>
                  </a:lnTo>
                  <a:lnTo>
                    <a:pt x="67532" y="236315"/>
                  </a:lnTo>
                  <a:lnTo>
                    <a:pt x="69342" y="237744"/>
                  </a:lnTo>
                  <a:lnTo>
                    <a:pt x="66389" y="239649"/>
                  </a:lnTo>
                  <a:lnTo>
                    <a:pt x="67151" y="246031"/>
                  </a:lnTo>
                  <a:lnTo>
                    <a:pt x="70294" y="245555"/>
                  </a:lnTo>
                  <a:lnTo>
                    <a:pt x="73819" y="235553"/>
                  </a:lnTo>
                  <a:lnTo>
                    <a:pt x="75819" y="238506"/>
                  </a:lnTo>
                  <a:lnTo>
                    <a:pt x="74676" y="241840"/>
                  </a:lnTo>
                  <a:lnTo>
                    <a:pt x="77819" y="241459"/>
                  </a:lnTo>
                  <a:lnTo>
                    <a:pt x="76867" y="246412"/>
                  </a:lnTo>
                  <a:lnTo>
                    <a:pt x="77438" y="251079"/>
                  </a:lnTo>
                  <a:lnTo>
                    <a:pt x="76105" y="252889"/>
                  </a:lnTo>
                  <a:lnTo>
                    <a:pt x="68580" y="257080"/>
                  </a:lnTo>
                  <a:lnTo>
                    <a:pt x="68771" y="258604"/>
                  </a:lnTo>
                  <a:lnTo>
                    <a:pt x="70771" y="261556"/>
                  </a:lnTo>
                  <a:lnTo>
                    <a:pt x="79438" y="266890"/>
                  </a:lnTo>
                  <a:lnTo>
                    <a:pt x="98774" y="280416"/>
                  </a:lnTo>
                  <a:lnTo>
                    <a:pt x="100203" y="278702"/>
                  </a:lnTo>
                  <a:lnTo>
                    <a:pt x="103346" y="278225"/>
                  </a:lnTo>
                  <a:lnTo>
                    <a:pt x="105537" y="282797"/>
                  </a:lnTo>
                  <a:lnTo>
                    <a:pt x="106871" y="280988"/>
                  </a:lnTo>
                  <a:lnTo>
                    <a:pt x="108680" y="282416"/>
                  </a:lnTo>
                  <a:lnTo>
                    <a:pt x="110490" y="283750"/>
                  </a:lnTo>
                  <a:lnTo>
                    <a:pt x="109252" y="287179"/>
                  </a:lnTo>
                  <a:lnTo>
                    <a:pt x="112681" y="288322"/>
                  </a:lnTo>
                  <a:lnTo>
                    <a:pt x="115443" y="284798"/>
                  </a:lnTo>
                  <a:lnTo>
                    <a:pt x="119348" y="290703"/>
                  </a:lnTo>
                  <a:lnTo>
                    <a:pt x="116776" y="295847"/>
                  </a:lnTo>
                  <a:lnTo>
                    <a:pt x="118586" y="297180"/>
                  </a:lnTo>
                  <a:lnTo>
                    <a:pt x="117634" y="302133"/>
                  </a:lnTo>
                  <a:lnTo>
                    <a:pt x="119634" y="305086"/>
                  </a:lnTo>
                  <a:lnTo>
                    <a:pt x="116205" y="303943"/>
                  </a:lnTo>
                  <a:lnTo>
                    <a:pt x="111728" y="306038"/>
                  </a:lnTo>
                  <a:lnTo>
                    <a:pt x="107537" y="311372"/>
                  </a:lnTo>
                  <a:lnTo>
                    <a:pt x="117062" y="322993"/>
                  </a:lnTo>
                  <a:lnTo>
                    <a:pt x="118872" y="324422"/>
                  </a:lnTo>
                  <a:lnTo>
                    <a:pt x="120682" y="325755"/>
                  </a:lnTo>
                  <a:lnTo>
                    <a:pt x="121063" y="328898"/>
                  </a:lnTo>
                  <a:lnTo>
                    <a:pt x="119825" y="332327"/>
                  </a:lnTo>
                  <a:lnTo>
                    <a:pt x="118491" y="334042"/>
                  </a:lnTo>
                  <a:lnTo>
                    <a:pt x="114967" y="331280"/>
                  </a:lnTo>
                  <a:lnTo>
                    <a:pt x="115919" y="339185"/>
                  </a:lnTo>
                  <a:lnTo>
                    <a:pt x="114395" y="339376"/>
                  </a:lnTo>
                  <a:lnTo>
                    <a:pt x="113347" y="344329"/>
                  </a:lnTo>
                  <a:lnTo>
                    <a:pt x="111823" y="344519"/>
                  </a:lnTo>
                  <a:lnTo>
                    <a:pt x="112014" y="346139"/>
                  </a:lnTo>
                  <a:lnTo>
                    <a:pt x="106680" y="354806"/>
                  </a:lnTo>
                  <a:lnTo>
                    <a:pt x="110300" y="357569"/>
                  </a:lnTo>
                  <a:lnTo>
                    <a:pt x="107251" y="359569"/>
                  </a:lnTo>
                  <a:lnTo>
                    <a:pt x="98012" y="362331"/>
                  </a:lnTo>
                  <a:lnTo>
                    <a:pt x="96488" y="362522"/>
                  </a:lnTo>
                  <a:lnTo>
                    <a:pt x="96869" y="365665"/>
                  </a:lnTo>
                  <a:lnTo>
                    <a:pt x="96869" y="365665"/>
                  </a:lnTo>
                  <a:lnTo>
                    <a:pt x="95726" y="369094"/>
                  </a:lnTo>
                  <a:lnTo>
                    <a:pt x="100775" y="371570"/>
                  </a:lnTo>
                  <a:lnTo>
                    <a:pt x="100013" y="378143"/>
                  </a:lnTo>
                  <a:lnTo>
                    <a:pt x="99060" y="383095"/>
                  </a:lnTo>
                  <a:lnTo>
                    <a:pt x="100870" y="384429"/>
                  </a:lnTo>
                  <a:lnTo>
                    <a:pt x="100108" y="390906"/>
                  </a:lnTo>
                  <a:lnTo>
                    <a:pt x="98488" y="391192"/>
                  </a:lnTo>
                  <a:lnTo>
                    <a:pt x="96488" y="388239"/>
                  </a:lnTo>
                  <a:lnTo>
                    <a:pt x="93917" y="393287"/>
                  </a:lnTo>
                  <a:lnTo>
                    <a:pt x="97536" y="396049"/>
                  </a:lnTo>
                  <a:lnTo>
                    <a:pt x="98298" y="402431"/>
                  </a:lnTo>
                  <a:lnTo>
                    <a:pt x="95155" y="402812"/>
                  </a:lnTo>
                  <a:lnTo>
                    <a:pt x="105823" y="411099"/>
                  </a:lnTo>
                  <a:lnTo>
                    <a:pt x="110966" y="413576"/>
                  </a:lnTo>
                  <a:lnTo>
                    <a:pt x="114776" y="417957"/>
                  </a:lnTo>
                  <a:lnTo>
                    <a:pt x="118491" y="422243"/>
                  </a:lnTo>
                  <a:lnTo>
                    <a:pt x="122015" y="425006"/>
                  </a:lnTo>
                  <a:lnTo>
                    <a:pt x="128588" y="425768"/>
                  </a:lnTo>
                  <a:lnTo>
                    <a:pt x="137827" y="435864"/>
                  </a:lnTo>
                  <a:lnTo>
                    <a:pt x="142589" y="435293"/>
                  </a:lnTo>
                  <a:lnTo>
                    <a:pt x="142970" y="438436"/>
                  </a:lnTo>
                  <a:lnTo>
                    <a:pt x="144971" y="441389"/>
                  </a:lnTo>
                  <a:lnTo>
                    <a:pt x="151257" y="440531"/>
                  </a:lnTo>
                  <a:lnTo>
                    <a:pt x="150304" y="445484"/>
                  </a:lnTo>
                  <a:lnTo>
                    <a:pt x="150495" y="447103"/>
                  </a:lnTo>
                  <a:lnTo>
                    <a:pt x="154305" y="451390"/>
                  </a:lnTo>
                  <a:lnTo>
                    <a:pt x="157448" y="451009"/>
                  </a:lnTo>
                  <a:lnTo>
                    <a:pt x="159258" y="452342"/>
                  </a:lnTo>
                  <a:lnTo>
                    <a:pt x="162401" y="451961"/>
                  </a:lnTo>
                  <a:lnTo>
                    <a:pt x="160972" y="453771"/>
                  </a:lnTo>
                  <a:lnTo>
                    <a:pt x="163163" y="458248"/>
                  </a:lnTo>
                  <a:lnTo>
                    <a:pt x="160401" y="461867"/>
                  </a:lnTo>
                  <a:lnTo>
                    <a:pt x="162401" y="464820"/>
                  </a:lnTo>
                  <a:lnTo>
                    <a:pt x="163354" y="459867"/>
                  </a:lnTo>
                  <a:lnTo>
                    <a:pt x="163735" y="463010"/>
                  </a:lnTo>
                  <a:lnTo>
                    <a:pt x="166497" y="459486"/>
                  </a:lnTo>
                  <a:lnTo>
                    <a:pt x="168497" y="462439"/>
                  </a:lnTo>
                  <a:lnTo>
                    <a:pt x="171450" y="460439"/>
                  </a:lnTo>
                  <a:lnTo>
                    <a:pt x="174784" y="461582"/>
                  </a:lnTo>
                  <a:lnTo>
                    <a:pt x="181165" y="460819"/>
                  </a:lnTo>
                  <a:lnTo>
                    <a:pt x="181356" y="462344"/>
                  </a:lnTo>
                  <a:lnTo>
                    <a:pt x="184499" y="461963"/>
                  </a:lnTo>
                  <a:lnTo>
                    <a:pt x="184309" y="460439"/>
                  </a:lnTo>
                  <a:lnTo>
                    <a:pt x="189071" y="459772"/>
                  </a:lnTo>
                  <a:lnTo>
                    <a:pt x="188595" y="456628"/>
                  </a:lnTo>
                  <a:lnTo>
                    <a:pt x="194977" y="455867"/>
                  </a:lnTo>
                  <a:lnTo>
                    <a:pt x="193738" y="459200"/>
                  </a:lnTo>
                  <a:lnTo>
                    <a:pt x="197929" y="466725"/>
                  </a:lnTo>
                  <a:lnTo>
                    <a:pt x="199263" y="464915"/>
                  </a:lnTo>
                  <a:lnTo>
                    <a:pt x="201073" y="466249"/>
                  </a:lnTo>
                  <a:lnTo>
                    <a:pt x="207359" y="465487"/>
                  </a:lnTo>
                  <a:lnTo>
                    <a:pt x="207931" y="457390"/>
                  </a:lnTo>
                  <a:lnTo>
                    <a:pt x="210693" y="453866"/>
                  </a:lnTo>
                  <a:lnTo>
                    <a:pt x="214694" y="459772"/>
                  </a:lnTo>
                  <a:lnTo>
                    <a:pt x="216503" y="461105"/>
                  </a:lnTo>
                  <a:lnTo>
                    <a:pt x="219646" y="460724"/>
                  </a:lnTo>
                  <a:lnTo>
                    <a:pt x="219837" y="462344"/>
                  </a:lnTo>
                  <a:lnTo>
                    <a:pt x="227743" y="461296"/>
                  </a:lnTo>
                  <a:lnTo>
                    <a:pt x="229648" y="464248"/>
                  </a:lnTo>
                  <a:lnTo>
                    <a:pt x="226504" y="464630"/>
                  </a:lnTo>
                  <a:lnTo>
                    <a:pt x="226886" y="467773"/>
                  </a:lnTo>
                  <a:lnTo>
                    <a:pt x="230696" y="472154"/>
                  </a:lnTo>
                  <a:lnTo>
                    <a:pt x="235077" y="468344"/>
                  </a:lnTo>
                  <a:lnTo>
                    <a:pt x="235648" y="473107"/>
                  </a:lnTo>
                  <a:lnTo>
                    <a:pt x="240602" y="474059"/>
                  </a:lnTo>
                  <a:lnTo>
                    <a:pt x="244697" y="468725"/>
                  </a:lnTo>
                  <a:lnTo>
                    <a:pt x="243554" y="472059"/>
                  </a:lnTo>
                  <a:lnTo>
                    <a:pt x="246888" y="473297"/>
                  </a:lnTo>
                  <a:lnTo>
                    <a:pt x="247650" y="479584"/>
                  </a:lnTo>
                  <a:lnTo>
                    <a:pt x="249269" y="479393"/>
                  </a:lnTo>
                  <a:lnTo>
                    <a:pt x="251079" y="480727"/>
                  </a:lnTo>
                  <a:lnTo>
                    <a:pt x="252603" y="480536"/>
                  </a:lnTo>
                  <a:lnTo>
                    <a:pt x="251460" y="483965"/>
                  </a:lnTo>
                  <a:lnTo>
                    <a:pt x="249841" y="484156"/>
                  </a:lnTo>
                  <a:lnTo>
                    <a:pt x="251650" y="485489"/>
                  </a:lnTo>
                  <a:lnTo>
                    <a:pt x="253174" y="485299"/>
                  </a:lnTo>
                  <a:lnTo>
                    <a:pt x="253460" y="486918"/>
                  </a:lnTo>
                  <a:lnTo>
                    <a:pt x="256413" y="484918"/>
                  </a:lnTo>
                  <a:lnTo>
                    <a:pt x="258128" y="486251"/>
                  </a:lnTo>
                  <a:lnTo>
                    <a:pt x="260318" y="490823"/>
                  </a:lnTo>
                  <a:lnTo>
                    <a:pt x="258985" y="492633"/>
                  </a:lnTo>
                  <a:lnTo>
                    <a:pt x="267462" y="496348"/>
                  </a:lnTo>
                  <a:lnTo>
                    <a:pt x="267271" y="494728"/>
                  </a:lnTo>
                  <a:lnTo>
                    <a:pt x="276701" y="493490"/>
                  </a:lnTo>
                  <a:lnTo>
                    <a:pt x="282035" y="497681"/>
                  </a:lnTo>
                  <a:lnTo>
                    <a:pt x="286798" y="497015"/>
                  </a:lnTo>
                  <a:lnTo>
                    <a:pt x="291941" y="499586"/>
                  </a:lnTo>
                  <a:lnTo>
                    <a:pt x="291560" y="496443"/>
                  </a:lnTo>
                  <a:lnTo>
                    <a:pt x="296228" y="495872"/>
                  </a:lnTo>
                  <a:lnTo>
                    <a:pt x="293941" y="502539"/>
                  </a:lnTo>
                  <a:lnTo>
                    <a:pt x="290608" y="514255"/>
                  </a:lnTo>
                  <a:lnTo>
                    <a:pt x="292132" y="514064"/>
                  </a:lnTo>
                  <a:lnTo>
                    <a:pt x="291560" y="522065"/>
                  </a:lnTo>
                  <a:lnTo>
                    <a:pt x="293561" y="525113"/>
                  </a:lnTo>
                  <a:lnTo>
                    <a:pt x="296704" y="524637"/>
                  </a:lnTo>
                  <a:lnTo>
                    <a:pt x="301085" y="520922"/>
                  </a:lnTo>
                  <a:lnTo>
                    <a:pt x="302800" y="522256"/>
                  </a:lnTo>
                  <a:lnTo>
                    <a:pt x="302609" y="520732"/>
                  </a:lnTo>
                  <a:lnTo>
                    <a:pt x="305562" y="518732"/>
                  </a:lnTo>
                  <a:lnTo>
                    <a:pt x="309372" y="523018"/>
                  </a:lnTo>
                  <a:lnTo>
                    <a:pt x="313849" y="520827"/>
                  </a:lnTo>
                  <a:lnTo>
                    <a:pt x="315849" y="523875"/>
                  </a:lnTo>
                  <a:lnTo>
                    <a:pt x="320992" y="526352"/>
                  </a:lnTo>
                  <a:lnTo>
                    <a:pt x="321183" y="527971"/>
                  </a:lnTo>
                  <a:lnTo>
                    <a:pt x="324326" y="527590"/>
                  </a:lnTo>
                  <a:lnTo>
                    <a:pt x="330708" y="539591"/>
                  </a:lnTo>
                  <a:lnTo>
                    <a:pt x="342138" y="541306"/>
                  </a:lnTo>
                  <a:lnTo>
                    <a:pt x="344329" y="545878"/>
                  </a:lnTo>
                  <a:lnTo>
                    <a:pt x="350234" y="541877"/>
                  </a:lnTo>
                  <a:lnTo>
                    <a:pt x="354521" y="538163"/>
                  </a:lnTo>
                  <a:lnTo>
                    <a:pt x="354616" y="550926"/>
                  </a:lnTo>
                  <a:lnTo>
                    <a:pt x="350044" y="553117"/>
                  </a:lnTo>
                  <a:lnTo>
                    <a:pt x="343567" y="565214"/>
                  </a:lnTo>
                  <a:lnTo>
                    <a:pt x="349282" y="572453"/>
                  </a:lnTo>
                  <a:lnTo>
                    <a:pt x="348139" y="575882"/>
                  </a:lnTo>
                  <a:lnTo>
                    <a:pt x="358807" y="584073"/>
                  </a:lnTo>
                  <a:lnTo>
                    <a:pt x="366713" y="583120"/>
                  </a:lnTo>
                  <a:lnTo>
                    <a:pt x="377190" y="589788"/>
                  </a:lnTo>
                  <a:lnTo>
                    <a:pt x="382143" y="590740"/>
                  </a:lnTo>
                  <a:lnTo>
                    <a:pt x="382333" y="592360"/>
                  </a:lnTo>
                  <a:lnTo>
                    <a:pt x="384143" y="593693"/>
                  </a:lnTo>
                  <a:lnTo>
                    <a:pt x="393382" y="603790"/>
                  </a:lnTo>
                  <a:lnTo>
                    <a:pt x="396526" y="603314"/>
                  </a:lnTo>
                  <a:lnTo>
                    <a:pt x="399479" y="601409"/>
                  </a:lnTo>
                  <a:lnTo>
                    <a:pt x="404241" y="600742"/>
                  </a:lnTo>
                  <a:lnTo>
                    <a:pt x="409384" y="603314"/>
                  </a:lnTo>
                  <a:lnTo>
                    <a:pt x="414147" y="602742"/>
                  </a:lnTo>
                  <a:lnTo>
                    <a:pt x="413956" y="601123"/>
                  </a:lnTo>
                  <a:lnTo>
                    <a:pt x="421577" y="598551"/>
                  </a:lnTo>
                  <a:lnTo>
                    <a:pt x="416623" y="584740"/>
                  </a:lnTo>
                  <a:lnTo>
                    <a:pt x="428054" y="586549"/>
                  </a:lnTo>
                  <a:lnTo>
                    <a:pt x="429482" y="584740"/>
                  </a:lnTo>
                  <a:lnTo>
                    <a:pt x="431006" y="584549"/>
                  </a:lnTo>
                  <a:lnTo>
                    <a:pt x="428244" y="575215"/>
                  </a:lnTo>
                  <a:lnTo>
                    <a:pt x="430244" y="565404"/>
                  </a:lnTo>
                  <a:lnTo>
                    <a:pt x="445961" y="550545"/>
                  </a:lnTo>
                  <a:lnTo>
                    <a:pt x="446722" y="544068"/>
                  </a:lnTo>
                  <a:lnTo>
                    <a:pt x="451485" y="543401"/>
                  </a:lnTo>
                  <a:lnTo>
                    <a:pt x="453485" y="546354"/>
                  </a:lnTo>
                  <a:lnTo>
                    <a:pt x="456438" y="544449"/>
                  </a:lnTo>
                  <a:lnTo>
                    <a:pt x="455200" y="547783"/>
                  </a:lnTo>
                  <a:lnTo>
                    <a:pt x="453866" y="549593"/>
                  </a:lnTo>
                  <a:lnTo>
                    <a:pt x="456057" y="554069"/>
                  </a:lnTo>
                  <a:lnTo>
                    <a:pt x="454438" y="554260"/>
                  </a:lnTo>
                  <a:lnTo>
                    <a:pt x="455105" y="559022"/>
                  </a:lnTo>
                  <a:lnTo>
                    <a:pt x="464153" y="567499"/>
                  </a:lnTo>
                  <a:lnTo>
                    <a:pt x="469106" y="568452"/>
                  </a:lnTo>
                  <a:lnTo>
                    <a:pt x="473773" y="567881"/>
                  </a:lnTo>
                  <a:lnTo>
                    <a:pt x="475774" y="570833"/>
                  </a:lnTo>
                  <a:lnTo>
                    <a:pt x="482537" y="573119"/>
                  </a:lnTo>
                  <a:lnTo>
                    <a:pt x="484251" y="574548"/>
                  </a:lnTo>
                  <a:lnTo>
                    <a:pt x="486823" y="569405"/>
                  </a:lnTo>
                  <a:lnTo>
                    <a:pt x="490252" y="570548"/>
                  </a:lnTo>
                  <a:lnTo>
                    <a:pt x="493395" y="570167"/>
                  </a:lnTo>
                  <a:lnTo>
                    <a:pt x="498538" y="572738"/>
                  </a:lnTo>
                  <a:lnTo>
                    <a:pt x="500063" y="572548"/>
                  </a:lnTo>
                  <a:lnTo>
                    <a:pt x="503872" y="576834"/>
                  </a:lnTo>
                  <a:lnTo>
                    <a:pt x="507397" y="579596"/>
                  </a:lnTo>
                  <a:lnTo>
                    <a:pt x="507587" y="581215"/>
                  </a:lnTo>
                  <a:lnTo>
                    <a:pt x="513112" y="586931"/>
                  </a:lnTo>
                  <a:lnTo>
                    <a:pt x="516541" y="600932"/>
                  </a:lnTo>
                  <a:lnTo>
                    <a:pt x="522065" y="606647"/>
                  </a:lnTo>
                  <a:lnTo>
                    <a:pt x="526161" y="601313"/>
                  </a:lnTo>
                  <a:lnTo>
                    <a:pt x="529590" y="602456"/>
                  </a:lnTo>
                  <a:lnTo>
                    <a:pt x="529399" y="600837"/>
                  </a:lnTo>
                  <a:lnTo>
                    <a:pt x="539210" y="602837"/>
                  </a:lnTo>
                  <a:lnTo>
                    <a:pt x="548069" y="596836"/>
                  </a:lnTo>
                  <a:lnTo>
                    <a:pt x="551879" y="601218"/>
                  </a:lnTo>
                  <a:lnTo>
                    <a:pt x="555784" y="607124"/>
                  </a:lnTo>
                  <a:lnTo>
                    <a:pt x="554641" y="610457"/>
                  </a:lnTo>
                  <a:lnTo>
                    <a:pt x="557974" y="611695"/>
                  </a:lnTo>
                  <a:lnTo>
                    <a:pt x="562356" y="607886"/>
                  </a:lnTo>
                  <a:lnTo>
                    <a:pt x="568642" y="607124"/>
                  </a:lnTo>
                  <a:lnTo>
                    <a:pt x="572357" y="611410"/>
                  </a:lnTo>
                  <a:lnTo>
                    <a:pt x="579501" y="616934"/>
                  </a:lnTo>
                  <a:lnTo>
                    <a:pt x="582644" y="616553"/>
                  </a:lnTo>
                  <a:lnTo>
                    <a:pt x="583692" y="611600"/>
                  </a:lnTo>
                  <a:lnTo>
                    <a:pt x="586835" y="611219"/>
                  </a:lnTo>
                  <a:lnTo>
                    <a:pt x="589216" y="617315"/>
                  </a:lnTo>
                  <a:lnTo>
                    <a:pt x="594550" y="621411"/>
                  </a:lnTo>
                  <a:lnTo>
                    <a:pt x="594931" y="624554"/>
                  </a:lnTo>
                  <a:lnTo>
                    <a:pt x="599694" y="623983"/>
                  </a:lnTo>
                  <a:lnTo>
                    <a:pt x="601408" y="625316"/>
                  </a:lnTo>
                  <a:lnTo>
                    <a:pt x="602837" y="623602"/>
                  </a:lnTo>
                  <a:lnTo>
                    <a:pt x="609695" y="627507"/>
                  </a:lnTo>
                  <a:lnTo>
                    <a:pt x="617982" y="629698"/>
                  </a:lnTo>
                  <a:lnTo>
                    <a:pt x="621792" y="633984"/>
                  </a:lnTo>
                  <a:lnTo>
                    <a:pt x="631507" y="647224"/>
                  </a:lnTo>
                  <a:lnTo>
                    <a:pt x="637222" y="654463"/>
                  </a:lnTo>
                  <a:lnTo>
                    <a:pt x="642366" y="657035"/>
                  </a:lnTo>
                  <a:lnTo>
                    <a:pt x="640366" y="666940"/>
                  </a:lnTo>
                  <a:lnTo>
                    <a:pt x="647129" y="669227"/>
                  </a:lnTo>
                  <a:lnTo>
                    <a:pt x="650653" y="671989"/>
                  </a:lnTo>
                  <a:lnTo>
                    <a:pt x="653034" y="678085"/>
                  </a:lnTo>
                  <a:lnTo>
                    <a:pt x="657987" y="679132"/>
                  </a:lnTo>
                  <a:lnTo>
                    <a:pt x="661130" y="678656"/>
                  </a:lnTo>
                  <a:lnTo>
                    <a:pt x="663702" y="673513"/>
                  </a:lnTo>
                  <a:lnTo>
                    <a:pt x="670846" y="679037"/>
                  </a:lnTo>
                  <a:lnTo>
                    <a:pt x="673798" y="677037"/>
                  </a:lnTo>
                  <a:lnTo>
                    <a:pt x="682657" y="683990"/>
                  </a:lnTo>
                  <a:lnTo>
                    <a:pt x="688943" y="683133"/>
                  </a:lnTo>
                  <a:lnTo>
                    <a:pt x="695706" y="685514"/>
                  </a:lnTo>
                  <a:lnTo>
                    <a:pt x="698087" y="691610"/>
                  </a:lnTo>
                  <a:lnTo>
                    <a:pt x="703802" y="698945"/>
                  </a:lnTo>
                  <a:lnTo>
                    <a:pt x="710184" y="698087"/>
                  </a:lnTo>
                  <a:lnTo>
                    <a:pt x="715708" y="703802"/>
                  </a:lnTo>
                  <a:lnTo>
                    <a:pt x="716280" y="708565"/>
                  </a:lnTo>
                  <a:lnTo>
                    <a:pt x="725996" y="721709"/>
                  </a:lnTo>
                  <a:lnTo>
                    <a:pt x="729329" y="722948"/>
                  </a:lnTo>
                  <a:lnTo>
                    <a:pt x="733330" y="728853"/>
                  </a:lnTo>
                  <a:lnTo>
                    <a:pt x="738378" y="731425"/>
                  </a:lnTo>
                  <a:lnTo>
                    <a:pt x="737616" y="725043"/>
                  </a:lnTo>
                  <a:lnTo>
                    <a:pt x="746284" y="717518"/>
                  </a:lnTo>
                  <a:lnTo>
                    <a:pt x="743712" y="709898"/>
                  </a:lnTo>
                  <a:lnTo>
                    <a:pt x="744664" y="704945"/>
                  </a:lnTo>
                  <a:lnTo>
                    <a:pt x="751427" y="707327"/>
                  </a:lnTo>
                  <a:lnTo>
                    <a:pt x="755904" y="705136"/>
                  </a:lnTo>
                  <a:lnTo>
                    <a:pt x="758476" y="699992"/>
                  </a:lnTo>
                  <a:lnTo>
                    <a:pt x="760286" y="701326"/>
                  </a:lnTo>
                  <a:lnTo>
                    <a:pt x="761809" y="701135"/>
                  </a:lnTo>
                  <a:lnTo>
                    <a:pt x="766953" y="703707"/>
                  </a:lnTo>
                  <a:lnTo>
                    <a:pt x="765048" y="713613"/>
                  </a:lnTo>
                  <a:lnTo>
                    <a:pt x="768191" y="713137"/>
                  </a:lnTo>
                  <a:lnTo>
                    <a:pt x="771144" y="711232"/>
                  </a:lnTo>
                  <a:lnTo>
                    <a:pt x="774287" y="710756"/>
                  </a:lnTo>
                  <a:lnTo>
                    <a:pt x="777240" y="708851"/>
                  </a:lnTo>
                  <a:lnTo>
                    <a:pt x="783812" y="709613"/>
                  </a:lnTo>
                  <a:lnTo>
                    <a:pt x="793813" y="700278"/>
                  </a:lnTo>
                  <a:lnTo>
                    <a:pt x="796957" y="699897"/>
                  </a:lnTo>
                  <a:lnTo>
                    <a:pt x="804481" y="708565"/>
                  </a:lnTo>
                  <a:lnTo>
                    <a:pt x="806291" y="709898"/>
                  </a:lnTo>
                  <a:lnTo>
                    <a:pt x="809244" y="707898"/>
                  </a:lnTo>
                  <a:lnTo>
                    <a:pt x="810958" y="709327"/>
                  </a:lnTo>
                  <a:lnTo>
                    <a:pt x="814388" y="710470"/>
                  </a:lnTo>
                  <a:lnTo>
                    <a:pt x="813911" y="707327"/>
                  </a:lnTo>
                  <a:lnTo>
                    <a:pt x="826961" y="708851"/>
                  </a:lnTo>
                  <a:lnTo>
                    <a:pt x="829913" y="706945"/>
                  </a:lnTo>
                  <a:lnTo>
                    <a:pt x="830294" y="710089"/>
                  </a:lnTo>
                  <a:lnTo>
                    <a:pt x="833247" y="708089"/>
                  </a:lnTo>
                  <a:lnTo>
                    <a:pt x="832866" y="704945"/>
                  </a:lnTo>
                  <a:lnTo>
                    <a:pt x="830485" y="698849"/>
                  </a:lnTo>
                  <a:lnTo>
                    <a:pt x="834390" y="691896"/>
                  </a:lnTo>
                  <a:lnTo>
                    <a:pt x="834199" y="690277"/>
                  </a:lnTo>
                  <a:lnTo>
                    <a:pt x="835628" y="688562"/>
                  </a:lnTo>
                  <a:lnTo>
                    <a:pt x="834962" y="683800"/>
                  </a:lnTo>
                  <a:lnTo>
                    <a:pt x="834009" y="675894"/>
                  </a:lnTo>
                  <a:lnTo>
                    <a:pt x="838105" y="670560"/>
                  </a:lnTo>
                  <a:lnTo>
                    <a:pt x="837724" y="667417"/>
                  </a:lnTo>
                  <a:lnTo>
                    <a:pt x="840677" y="665417"/>
                  </a:lnTo>
                  <a:lnTo>
                    <a:pt x="845439" y="664845"/>
                  </a:lnTo>
                  <a:lnTo>
                    <a:pt x="848963" y="667607"/>
                  </a:lnTo>
                  <a:lnTo>
                    <a:pt x="850582" y="667417"/>
                  </a:lnTo>
                  <a:lnTo>
                    <a:pt x="854869" y="663607"/>
                  </a:lnTo>
                  <a:lnTo>
                    <a:pt x="855536" y="668369"/>
                  </a:lnTo>
                  <a:lnTo>
                    <a:pt x="862394" y="672274"/>
                  </a:lnTo>
                  <a:lnTo>
                    <a:pt x="866775" y="668560"/>
                  </a:lnTo>
                  <a:lnTo>
                    <a:pt x="871919" y="671132"/>
                  </a:lnTo>
                  <a:lnTo>
                    <a:pt x="875252" y="672274"/>
                  </a:lnTo>
                  <a:lnTo>
                    <a:pt x="875252" y="672274"/>
                  </a:lnTo>
                  <a:lnTo>
                    <a:pt x="883158" y="671227"/>
                  </a:lnTo>
                  <a:lnTo>
                    <a:pt x="882872" y="669703"/>
                  </a:lnTo>
                  <a:lnTo>
                    <a:pt x="886111" y="669322"/>
                  </a:lnTo>
                  <a:lnTo>
                    <a:pt x="884111" y="666369"/>
                  </a:lnTo>
                  <a:lnTo>
                    <a:pt x="885063" y="661416"/>
                  </a:lnTo>
                  <a:lnTo>
                    <a:pt x="886682" y="661226"/>
                  </a:lnTo>
                  <a:lnTo>
                    <a:pt x="896683" y="664750"/>
                  </a:lnTo>
                  <a:lnTo>
                    <a:pt x="909352" y="675894"/>
                  </a:lnTo>
                  <a:lnTo>
                    <a:pt x="914876" y="668845"/>
                  </a:lnTo>
                  <a:lnTo>
                    <a:pt x="921639" y="671132"/>
                  </a:lnTo>
                  <a:lnTo>
                    <a:pt x="921163" y="667988"/>
                  </a:lnTo>
                  <a:lnTo>
                    <a:pt x="917829" y="666845"/>
                  </a:lnTo>
                  <a:lnTo>
                    <a:pt x="919258" y="665036"/>
                  </a:lnTo>
                  <a:lnTo>
                    <a:pt x="927925" y="670370"/>
                  </a:lnTo>
                  <a:lnTo>
                    <a:pt x="931259" y="671513"/>
                  </a:lnTo>
                  <a:lnTo>
                    <a:pt x="932688" y="669798"/>
                  </a:lnTo>
                  <a:lnTo>
                    <a:pt x="936022" y="670941"/>
                  </a:lnTo>
                  <a:lnTo>
                    <a:pt x="941927" y="666940"/>
                  </a:lnTo>
                  <a:lnTo>
                    <a:pt x="939165" y="670560"/>
                  </a:lnTo>
                  <a:lnTo>
                    <a:pt x="953929" y="673418"/>
                  </a:lnTo>
                  <a:lnTo>
                    <a:pt x="956310" y="679609"/>
                  </a:lnTo>
                  <a:lnTo>
                    <a:pt x="959739" y="680752"/>
                  </a:lnTo>
                  <a:lnTo>
                    <a:pt x="961263" y="680561"/>
                  </a:lnTo>
                  <a:lnTo>
                    <a:pt x="980027" y="689420"/>
                  </a:lnTo>
                  <a:lnTo>
                    <a:pt x="983361" y="690563"/>
                  </a:lnTo>
                  <a:lnTo>
                    <a:pt x="995458" y="697040"/>
                  </a:lnTo>
                  <a:lnTo>
                    <a:pt x="1002411" y="700945"/>
                  </a:lnTo>
                  <a:lnTo>
                    <a:pt x="1016413" y="697611"/>
                  </a:lnTo>
                  <a:lnTo>
                    <a:pt x="1014031" y="691515"/>
                  </a:lnTo>
                  <a:lnTo>
                    <a:pt x="1016984" y="689515"/>
                  </a:lnTo>
                  <a:lnTo>
                    <a:pt x="1018127" y="686086"/>
                  </a:lnTo>
                  <a:lnTo>
                    <a:pt x="1014413" y="681799"/>
                  </a:lnTo>
                  <a:lnTo>
                    <a:pt x="1018699" y="678085"/>
                  </a:lnTo>
                  <a:lnTo>
                    <a:pt x="1019270" y="669989"/>
                  </a:lnTo>
                  <a:lnTo>
                    <a:pt x="1020794" y="669798"/>
                  </a:lnTo>
                  <a:lnTo>
                    <a:pt x="1022032" y="666369"/>
                  </a:lnTo>
                  <a:lnTo>
                    <a:pt x="1021652" y="663226"/>
                  </a:lnTo>
                  <a:lnTo>
                    <a:pt x="1023366" y="664655"/>
                  </a:lnTo>
                  <a:lnTo>
                    <a:pt x="1023842" y="667798"/>
                  </a:lnTo>
                  <a:lnTo>
                    <a:pt x="1027366" y="670560"/>
                  </a:lnTo>
                  <a:lnTo>
                    <a:pt x="1028700" y="668750"/>
                  </a:lnTo>
                  <a:lnTo>
                    <a:pt x="1021461" y="661702"/>
                  </a:lnTo>
                  <a:lnTo>
                    <a:pt x="1015460" y="652844"/>
                  </a:lnTo>
                  <a:lnTo>
                    <a:pt x="1014698" y="646462"/>
                  </a:lnTo>
                  <a:lnTo>
                    <a:pt x="1016032" y="644747"/>
                  </a:lnTo>
                  <a:lnTo>
                    <a:pt x="1014413" y="632079"/>
                  </a:lnTo>
                  <a:lnTo>
                    <a:pt x="1019175" y="631507"/>
                  </a:lnTo>
                  <a:lnTo>
                    <a:pt x="1018604" y="626745"/>
                  </a:lnTo>
                  <a:lnTo>
                    <a:pt x="1022699" y="621411"/>
                  </a:lnTo>
                  <a:lnTo>
                    <a:pt x="1029176" y="622173"/>
                  </a:lnTo>
                  <a:lnTo>
                    <a:pt x="1030605" y="620363"/>
                  </a:lnTo>
                  <a:lnTo>
                    <a:pt x="1031938" y="618649"/>
                  </a:lnTo>
                  <a:lnTo>
                    <a:pt x="1029748" y="614077"/>
                  </a:lnTo>
                  <a:lnTo>
                    <a:pt x="1035939" y="611695"/>
                  </a:lnTo>
                  <a:lnTo>
                    <a:pt x="1039082" y="611315"/>
                  </a:lnTo>
                  <a:lnTo>
                    <a:pt x="1044607" y="604171"/>
                  </a:lnTo>
                  <a:lnTo>
                    <a:pt x="1042225" y="598075"/>
                  </a:lnTo>
                  <a:lnTo>
                    <a:pt x="1044702" y="580073"/>
                  </a:lnTo>
                  <a:lnTo>
                    <a:pt x="1044130" y="575405"/>
                  </a:lnTo>
                  <a:lnTo>
                    <a:pt x="1041178" y="577310"/>
                  </a:lnTo>
                  <a:lnTo>
                    <a:pt x="1040702" y="574167"/>
                  </a:lnTo>
                  <a:lnTo>
                    <a:pt x="1038987" y="572834"/>
                  </a:lnTo>
                  <a:lnTo>
                    <a:pt x="1042702" y="564356"/>
                  </a:lnTo>
                  <a:lnTo>
                    <a:pt x="1043464" y="557784"/>
                  </a:lnTo>
                  <a:lnTo>
                    <a:pt x="1036511" y="553879"/>
                  </a:lnTo>
                  <a:lnTo>
                    <a:pt x="1032605" y="547973"/>
                  </a:lnTo>
                  <a:lnTo>
                    <a:pt x="1026319" y="548735"/>
                  </a:lnTo>
                  <a:lnTo>
                    <a:pt x="1021747" y="550926"/>
                  </a:lnTo>
                  <a:lnTo>
                    <a:pt x="1019937" y="549593"/>
                  </a:lnTo>
                  <a:lnTo>
                    <a:pt x="1019365" y="544830"/>
                  </a:lnTo>
                  <a:lnTo>
                    <a:pt x="1014603" y="545497"/>
                  </a:lnTo>
                  <a:lnTo>
                    <a:pt x="1013650" y="550355"/>
                  </a:lnTo>
                  <a:lnTo>
                    <a:pt x="1008888" y="551021"/>
                  </a:lnTo>
                  <a:lnTo>
                    <a:pt x="1005745" y="551402"/>
                  </a:lnTo>
                  <a:lnTo>
                    <a:pt x="1003554" y="546830"/>
                  </a:lnTo>
                  <a:lnTo>
                    <a:pt x="1007936" y="543115"/>
                  </a:lnTo>
                  <a:lnTo>
                    <a:pt x="1011841" y="536162"/>
                  </a:lnTo>
                  <a:lnTo>
                    <a:pt x="1014984" y="535781"/>
                  </a:lnTo>
                  <a:lnTo>
                    <a:pt x="1018699" y="527304"/>
                  </a:lnTo>
                  <a:lnTo>
                    <a:pt x="1013555" y="524732"/>
                  </a:lnTo>
                  <a:lnTo>
                    <a:pt x="1004316" y="514731"/>
                  </a:lnTo>
                  <a:lnTo>
                    <a:pt x="1004125" y="513112"/>
                  </a:lnTo>
                  <a:lnTo>
                    <a:pt x="1008602" y="510921"/>
                  </a:lnTo>
                  <a:lnTo>
                    <a:pt x="1008412" y="509397"/>
                  </a:lnTo>
                  <a:lnTo>
                    <a:pt x="1008031" y="506159"/>
                  </a:lnTo>
                  <a:lnTo>
                    <a:pt x="1010983" y="504253"/>
                  </a:lnTo>
                  <a:lnTo>
                    <a:pt x="1006983" y="498348"/>
                  </a:lnTo>
                  <a:lnTo>
                    <a:pt x="1002125" y="497300"/>
                  </a:lnTo>
                  <a:lnTo>
                    <a:pt x="996791" y="493205"/>
                  </a:lnTo>
                  <a:lnTo>
                    <a:pt x="985075" y="477012"/>
                  </a:lnTo>
                  <a:lnTo>
                    <a:pt x="976979" y="463677"/>
                  </a:lnTo>
                  <a:lnTo>
                    <a:pt x="979265" y="456914"/>
                  </a:lnTo>
                  <a:lnTo>
                    <a:pt x="976884" y="450818"/>
                  </a:lnTo>
                  <a:lnTo>
                    <a:pt x="979646" y="447294"/>
                  </a:lnTo>
                  <a:lnTo>
                    <a:pt x="974503" y="444722"/>
                  </a:lnTo>
                  <a:lnTo>
                    <a:pt x="972598" y="441769"/>
                  </a:lnTo>
                  <a:lnTo>
                    <a:pt x="968978" y="439007"/>
                  </a:lnTo>
                  <a:lnTo>
                    <a:pt x="968788" y="437388"/>
                  </a:lnTo>
                  <a:lnTo>
                    <a:pt x="963835" y="436436"/>
                  </a:lnTo>
                  <a:lnTo>
                    <a:pt x="961263" y="428720"/>
                  </a:lnTo>
                  <a:lnTo>
                    <a:pt x="965168" y="421862"/>
                  </a:lnTo>
                  <a:lnTo>
                    <a:pt x="961644" y="419100"/>
                  </a:lnTo>
                  <a:lnTo>
                    <a:pt x="962406" y="412623"/>
                  </a:lnTo>
                  <a:lnTo>
                    <a:pt x="962406" y="399764"/>
                  </a:lnTo>
                  <a:lnTo>
                    <a:pt x="965168" y="396240"/>
                  </a:lnTo>
                  <a:lnTo>
                    <a:pt x="971074" y="392240"/>
                  </a:lnTo>
                  <a:lnTo>
                    <a:pt x="974217" y="391859"/>
                  </a:lnTo>
                  <a:lnTo>
                    <a:pt x="983075" y="385858"/>
                  </a:lnTo>
                  <a:lnTo>
                    <a:pt x="981265" y="384524"/>
                  </a:lnTo>
                  <a:lnTo>
                    <a:pt x="984218" y="382524"/>
                  </a:lnTo>
                  <a:lnTo>
                    <a:pt x="977551" y="380143"/>
                  </a:lnTo>
                  <a:lnTo>
                    <a:pt x="976503" y="372332"/>
                  </a:lnTo>
                  <a:lnTo>
                    <a:pt x="970216" y="360236"/>
                  </a:lnTo>
                  <a:lnTo>
                    <a:pt x="974122" y="353378"/>
                  </a:lnTo>
                  <a:lnTo>
                    <a:pt x="972122" y="350425"/>
                  </a:lnTo>
                  <a:lnTo>
                    <a:pt x="971359" y="344043"/>
                  </a:lnTo>
                  <a:lnTo>
                    <a:pt x="973931" y="338995"/>
                  </a:lnTo>
                  <a:lnTo>
                    <a:pt x="971740" y="334423"/>
                  </a:lnTo>
                  <a:lnTo>
                    <a:pt x="974217" y="329279"/>
                  </a:lnTo>
                  <a:lnTo>
                    <a:pt x="965740" y="325565"/>
                  </a:lnTo>
                  <a:lnTo>
                    <a:pt x="969455" y="317087"/>
                  </a:lnTo>
                  <a:lnTo>
                    <a:pt x="962597" y="313087"/>
                  </a:lnTo>
                  <a:lnTo>
                    <a:pt x="961168" y="302133"/>
                  </a:lnTo>
                  <a:lnTo>
                    <a:pt x="956024" y="299561"/>
                  </a:lnTo>
                  <a:lnTo>
                    <a:pt x="955453" y="294799"/>
                  </a:lnTo>
                  <a:lnTo>
                    <a:pt x="955834" y="285083"/>
                  </a:lnTo>
                  <a:lnTo>
                    <a:pt x="957929" y="276797"/>
                  </a:lnTo>
                  <a:lnTo>
                    <a:pt x="952405" y="271082"/>
                  </a:lnTo>
                  <a:lnTo>
                    <a:pt x="953357" y="266224"/>
                  </a:lnTo>
                  <a:lnTo>
                    <a:pt x="949452" y="260318"/>
                  </a:lnTo>
                  <a:lnTo>
                    <a:pt x="944118" y="256127"/>
                  </a:lnTo>
                  <a:lnTo>
                    <a:pt x="940308" y="238982"/>
                  </a:lnTo>
                  <a:lnTo>
                    <a:pt x="946404" y="236601"/>
                  </a:lnTo>
                  <a:lnTo>
                    <a:pt x="959453" y="238125"/>
                  </a:lnTo>
                  <a:lnTo>
                    <a:pt x="965168" y="245459"/>
                  </a:lnTo>
                  <a:lnTo>
                    <a:pt x="969740" y="243269"/>
                  </a:lnTo>
                  <a:lnTo>
                    <a:pt x="969550" y="241649"/>
                  </a:lnTo>
                  <a:lnTo>
                    <a:pt x="973455" y="234791"/>
                  </a:lnTo>
                  <a:lnTo>
                    <a:pt x="977741" y="230981"/>
                  </a:lnTo>
                  <a:lnTo>
                    <a:pt x="978980" y="227648"/>
                  </a:lnTo>
                  <a:lnTo>
                    <a:pt x="978122" y="221361"/>
                  </a:lnTo>
                  <a:lnTo>
                    <a:pt x="979361" y="218027"/>
                  </a:lnTo>
                  <a:lnTo>
                    <a:pt x="984218" y="218980"/>
                  </a:lnTo>
                  <a:lnTo>
                    <a:pt x="986599" y="212217"/>
                  </a:lnTo>
                  <a:lnTo>
                    <a:pt x="995648" y="207836"/>
                  </a:lnTo>
                  <a:lnTo>
                    <a:pt x="996887" y="204502"/>
                  </a:lnTo>
                  <a:lnTo>
                    <a:pt x="1004697" y="203549"/>
                  </a:lnTo>
                  <a:lnTo>
                    <a:pt x="1005935" y="200120"/>
                  </a:lnTo>
                  <a:lnTo>
                    <a:pt x="1005554" y="196977"/>
                  </a:lnTo>
                  <a:lnTo>
                    <a:pt x="1006507" y="192024"/>
                  </a:lnTo>
                  <a:lnTo>
                    <a:pt x="1012412" y="188119"/>
                  </a:lnTo>
                  <a:lnTo>
                    <a:pt x="1004697" y="177832"/>
                  </a:lnTo>
                  <a:lnTo>
                    <a:pt x="1008602" y="170974"/>
                  </a:lnTo>
                  <a:lnTo>
                    <a:pt x="997744" y="161068"/>
                  </a:lnTo>
                  <a:lnTo>
                    <a:pt x="1000315" y="155924"/>
                  </a:lnTo>
                  <a:lnTo>
                    <a:pt x="1007173" y="147066"/>
                  </a:lnTo>
                  <a:lnTo>
                    <a:pt x="1014508" y="141351"/>
                  </a:lnTo>
                  <a:lnTo>
                    <a:pt x="1010698" y="136969"/>
                  </a:lnTo>
                  <a:lnTo>
                    <a:pt x="1009936" y="130683"/>
                  </a:lnTo>
                  <a:lnTo>
                    <a:pt x="1003363" y="117062"/>
                  </a:lnTo>
                  <a:lnTo>
                    <a:pt x="1001363" y="114110"/>
                  </a:lnTo>
                  <a:lnTo>
                    <a:pt x="1002792" y="112395"/>
                  </a:lnTo>
                  <a:lnTo>
                    <a:pt x="1010603" y="111347"/>
                  </a:lnTo>
                  <a:lnTo>
                    <a:pt x="1016317" y="105823"/>
                  </a:lnTo>
                  <a:lnTo>
                    <a:pt x="1014508" y="91631"/>
                  </a:lnTo>
                  <a:lnTo>
                    <a:pt x="1017651" y="91250"/>
                  </a:lnTo>
                  <a:lnTo>
                    <a:pt x="1018318" y="95917"/>
                  </a:lnTo>
                  <a:lnTo>
                    <a:pt x="1019842" y="95726"/>
                  </a:lnTo>
                  <a:lnTo>
                    <a:pt x="1022223" y="89059"/>
                  </a:lnTo>
                  <a:lnTo>
                    <a:pt x="1021461" y="82677"/>
                  </a:lnTo>
                  <a:lnTo>
                    <a:pt x="1023366" y="72866"/>
                  </a:lnTo>
                  <a:lnTo>
                    <a:pt x="1026128" y="69247"/>
                  </a:lnTo>
                  <a:lnTo>
                    <a:pt x="1026700" y="61246"/>
                  </a:lnTo>
                  <a:lnTo>
                    <a:pt x="1030414" y="52673"/>
                  </a:lnTo>
                  <a:lnTo>
                    <a:pt x="1031177" y="46196"/>
                  </a:lnTo>
                  <a:lnTo>
                    <a:pt x="1038511" y="40481"/>
                  </a:lnTo>
                  <a:lnTo>
                    <a:pt x="1041082" y="35338"/>
                  </a:lnTo>
                  <a:lnTo>
                    <a:pt x="1040035" y="27432"/>
                  </a:lnTo>
                  <a:lnTo>
                    <a:pt x="1040987" y="22479"/>
                  </a:lnTo>
                  <a:lnTo>
                    <a:pt x="1038797" y="17907"/>
                  </a:lnTo>
                  <a:lnTo>
                    <a:pt x="1038797" y="17907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47" name="Volný tvar: obrazec 46">
              <a:extLst>
                <a:ext uri="{FF2B5EF4-FFF2-40B4-BE49-F238E27FC236}">
                  <a16:creationId xmlns:a16="http://schemas.microsoft.com/office/drawing/2014/main" id="{9E0AA44F-9A94-AC26-62B2-A118D8D14D5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243286" y="2823209"/>
              <a:ext cx="1216913" cy="1049655"/>
            </a:xfrm>
            <a:custGeom>
              <a:avLst/>
              <a:gdLst>
                <a:gd name="connsiteX0" fmla="*/ 1209770 w 1216913"/>
                <a:gd name="connsiteY0" fmla="*/ 853249 h 1049655"/>
                <a:gd name="connsiteX1" fmla="*/ 1205674 w 1216913"/>
                <a:gd name="connsiteY1" fmla="*/ 845725 h 1049655"/>
                <a:gd name="connsiteX2" fmla="*/ 1200912 w 1216913"/>
                <a:gd name="connsiteY2" fmla="*/ 846296 h 1049655"/>
                <a:gd name="connsiteX3" fmla="*/ 1200722 w 1216913"/>
                <a:gd name="connsiteY3" fmla="*/ 844772 h 1049655"/>
                <a:gd name="connsiteX4" fmla="*/ 1199674 w 1216913"/>
                <a:gd name="connsiteY4" fmla="*/ 836866 h 1049655"/>
                <a:gd name="connsiteX5" fmla="*/ 1195959 w 1216913"/>
                <a:gd name="connsiteY5" fmla="*/ 832580 h 1049655"/>
                <a:gd name="connsiteX6" fmla="*/ 1196911 w 1216913"/>
                <a:gd name="connsiteY6" fmla="*/ 827627 h 1049655"/>
                <a:gd name="connsiteX7" fmla="*/ 1194340 w 1216913"/>
                <a:gd name="connsiteY7" fmla="*/ 819912 h 1049655"/>
                <a:gd name="connsiteX8" fmla="*/ 1197292 w 1216913"/>
                <a:gd name="connsiteY8" fmla="*/ 817912 h 1049655"/>
                <a:gd name="connsiteX9" fmla="*/ 1199007 w 1216913"/>
                <a:gd name="connsiteY9" fmla="*/ 806482 h 1049655"/>
                <a:gd name="connsiteX10" fmla="*/ 1192721 w 1216913"/>
                <a:gd name="connsiteY10" fmla="*/ 807244 h 1049655"/>
                <a:gd name="connsiteX11" fmla="*/ 1190911 w 1216913"/>
                <a:gd name="connsiteY11" fmla="*/ 805910 h 1049655"/>
                <a:gd name="connsiteX12" fmla="*/ 1187958 w 1216913"/>
                <a:gd name="connsiteY12" fmla="*/ 795052 h 1049655"/>
                <a:gd name="connsiteX13" fmla="*/ 1188530 w 1216913"/>
                <a:gd name="connsiteY13" fmla="*/ 786956 h 1049655"/>
                <a:gd name="connsiteX14" fmla="*/ 1183005 w 1216913"/>
                <a:gd name="connsiteY14" fmla="*/ 781240 h 1049655"/>
                <a:gd name="connsiteX15" fmla="*/ 1185577 w 1216913"/>
                <a:gd name="connsiteY15" fmla="*/ 776097 h 1049655"/>
                <a:gd name="connsiteX16" fmla="*/ 1181005 w 1216913"/>
                <a:gd name="connsiteY16" fmla="*/ 765524 h 1049655"/>
                <a:gd name="connsiteX17" fmla="*/ 1179195 w 1216913"/>
                <a:gd name="connsiteY17" fmla="*/ 764095 h 1049655"/>
                <a:gd name="connsiteX18" fmla="*/ 1178433 w 1216913"/>
                <a:gd name="connsiteY18" fmla="*/ 757809 h 1049655"/>
                <a:gd name="connsiteX19" fmla="*/ 1173671 w 1216913"/>
                <a:gd name="connsiteY19" fmla="*/ 745617 h 1049655"/>
                <a:gd name="connsiteX20" fmla="*/ 1174432 w 1216913"/>
                <a:gd name="connsiteY20" fmla="*/ 739045 h 1049655"/>
                <a:gd name="connsiteX21" fmla="*/ 1173004 w 1216913"/>
                <a:gd name="connsiteY21" fmla="*/ 727996 h 1049655"/>
                <a:gd name="connsiteX22" fmla="*/ 1173766 w 1216913"/>
                <a:gd name="connsiteY22" fmla="*/ 721519 h 1049655"/>
                <a:gd name="connsiteX23" fmla="*/ 1171194 w 1216913"/>
                <a:gd name="connsiteY23" fmla="*/ 713803 h 1049655"/>
                <a:gd name="connsiteX24" fmla="*/ 1169384 w 1216913"/>
                <a:gd name="connsiteY24" fmla="*/ 712470 h 1049655"/>
                <a:gd name="connsiteX25" fmla="*/ 1163098 w 1216913"/>
                <a:gd name="connsiteY25" fmla="*/ 713232 h 1049655"/>
                <a:gd name="connsiteX26" fmla="*/ 1152620 w 1216913"/>
                <a:gd name="connsiteY26" fmla="*/ 706565 h 1049655"/>
                <a:gd name="connsiteX27" fmla="*/ 1143381 w 1216913"/>
                <a:gd name="connsiteY27" fmla="*/ 709327 h 1049655"/>
                <a:gd name="connsiteX28" fmla="*/ 1141571 w 1216913"/>
                <a:gd name="connsiteY28" fmla="*/ 707993 h 1049655"/>
                <a:gd name="connsiteX29" fmla="*/ 1131570 w 1216913"/>
                <a:gd name="connsiteY29" fmla="*/ 717232 h 1049655"/>
                <a:gd name="connsiteX30" fmla="*/ 1124998 w 1216913"/>
                <a:gd name="connsiteY30" fmla="*/ 716470 h 1049655"/>
                <a:gd name="connsiteX31" fmla="*/ 1122616 w 1216913"/>
                <a:gd name="connsiteY31" fmla="*/ 710374 h 1049655"/>
                <a:gd name="connsiteX32" fmla="*/ 1117473 w 1216913"/>
                <a:gd name="connsiteY32" fmla="*/ 707803 h 1049655"/>
                <a:gd name="connsiteX33" fmla="*/ 1112996 w 1216913"/>
                <a:gd name="connsiteY33" fmla="*/ 709994 h 1049655"/>
                <a:gd name="connsiteX34" fmla="*/ 1108043 w 1216913"/>
                <a:gd name="connsiteY34" fmla="*/ 709041 h 1049655"/>
                <a:gd name="connsiteX35" fmla="*/ 1108996 w 1216913"/>
                <a:gd name="connsiteY35" fmla="*/ 704088 h 1049655"/>
                <a:gd name="connsiteX36" fmla="*/ 1105472 w 1216913"/>
                <a:gd name="connsiteY36" fmla="*/ 701326 h 1049655"/>
                <a:gd name="connsiteX37" fmla="*/ 1106424 w 1216913"/>
                <a:gd name="connsiteY37" fmla="*/ 696373 h 1049655"/>
                <a:gd name="connsiteX38" fmla="*/ 1101661 w 1216913"/>
                <a:gd name="connsiteY38" fmla="*/ 697040 h 1049655"/>
                <a:gd name="connsiteX39" fmla="*/ 1102709 w 1216913"/>
                <a:gd name="connsiteY39" fmla="*/ 692086 h 1049655"/>
                <a:gd name="connsiteX40" fmla="*/ 1101852 w 1216913"/>
                <a:gd name="connsiteY40" fmla="*/ 685800 h 1049655"/>
                <a:gd name="connsiteX41" fmla="*/ 1090422 w 1216913"/>
                <a:gd name="connsiteY41" fmla="*/ 683990 h 1049655"/>
                <a:gd name="connsiteX42" fmla="*/ 1081183 w 1216913"/>
                <a:gd name="connsiteY42" fmla="*/ 686753 h 1049655"/>
                <a:gd name="connsiteX43" fmla="*/ 1077754 w 1216913"/>
                <a:gd name="connsiteY43" fmla="*/ 685610 h 1049655"/>
                <a:gd name="connsiteX44" fmla="*/ 1073467 w 1216913"/>
                <a:gd name="connsiteY44" fmla="*/ 689420 h 1049655"/>
                <a:gd name="connsiteX45" fmla="*/ 1072420 w 1216913"/>
                <a:gd name="connsiteY45" fmla="*/ 681514 h 1049655"/>
                <a:gd name="connsiteX46" fmla="*/ 1069086 w 1216913"/>
                <a:gd name="connsiteY46" fmla="*/ 680276 h 1049655"/>
                <a:gd name="connsiteX47" fmla="*/ 1065943 w 1216913"/>
                <a:gd name="connsiteY47" fmla="*/ 680752 h 1049655"/>
                <a:gd name="connsiteX48" fmla="*/ 1062990 w 1216913"/>
                <a:gd name="connsiteY48" fmla="*/ 682657 h 1049655"/>
                <a:gd name="connsiteX49" fmla="*/ 1062609 w 1216913"/>
                <a:gd name="connsiteY49" fmla="*/ 679514 h 1049655"/>
                <a:gd name="connsiteX50" fmla="*/ 1054513 w 1216913"/>
                <a:gd name="connsiteY50" fmla="*/ 678942 h 1049655"/>
                <a:gd name="connsiteX51" fmla="*/ 1050893 w 1216913"/>
                <a:gd name="connsiteY51" fmla="*/ 676180 h 1049655"/>
                <a:gd name="connsiteX52" fmla="*/ 1050512 w 1216913"/>
                <a:gd name="connsiteY52" fmla="*/ 673036 h 1049655"/>
                <a:gd name="connsiteX53" fmla="*/ 1048702 w 1216913"/>
                <a:gd name="connsiteY53" fmla="*/ 671703 h 1049655"/>
                <a:gd name="connsiteX54" fmla="*/ 1044988 w 1216913"/>
                <a:gd name="connsiteY54" fmla="*/ 667322 h 1049655"/>
                <a:gd name="connsiteX55" fmla="*/ 1041844 w 1216913"/>
                <a:gd name="connsiteY55" fmla="*/ 667703 h 1049655"/>
                <a:gd name="connsiteX56" fmla="*/ 1044607 w 1216913"/>
                <a:gd name="connsiteY56" fmla="*/ 664178 h 1049655"/>
                <a:gd name="connsiteX57" fmla="*/ 1042416 w 1216913"/>
                <a:gd name="connsiteY57" fmla="*/ 659606 h 1049655"/>
                <a:gd name="connsiteX58" fmla="*/ 1044702 w 1216913"/>
                <a:gd name="connsiteY58" fmla="*/ 640080 h 1049655"/>
                <a:gd name="connsiteX59" fmla="*/ 1040987 w 1216913"/>
                <a:gd name="connsiteY59" fmla="*/ 635794 h 1049655"/>
                <a:gd name="connsiteX60" fmla="*/ 1036034 w 1216913"/>
                <a:gd name="connsiteY60" fmla="*/ 634841 h 1049655"/>
                <a:gd name="connsiteX61" fmla="*/ 1032510 w 1216913"/>
                <a:gd name="connsiteY61" fmla="*/ 632079 h 1049655"/>
                <a:gd name="connsiteX62" fmla="*/ 1033272 w 1216913"/>
                <a:gd name="connsiteY62" fmla="*/ 625507 h 1049655"/>
                <a:gd name="connsiteX63" fmla="*/ 1030033 w 1216913"/>
                <a:gd name="connsiteY63" fmla="*/ 613124 h 1049655"/>
                <a:gd name="connsiteX64" fmla="*/ 1024890 w 1216913"/>
                <a:gd name="connsiteY64" fmla="*/ 610553 h 1049655"/>
                <a:gd name="connsiteX65" fmla="*/ 1023938 w 1216913"/>
                <a:gd name="connsiteY65" fmla="*/ 602647 h 1049655"/>
                <a:gd name="connsiteX66" fmla="*/ 1020127 w 1216913"/>
                <a:gd name="connsiteY66" fmla="*/ 598361 h 1049655"/>
                <a:gd name="connsiteX67" fmla="*/ 1020889 w 1216913"/>
                <a:gd name="connsiteY67" fmla="*/ 591788 h 1049655"/>
                <a:gd name="connsiteX68" fmla="*/ 1018699 w 1216913"/>
                <a:gd name="connsiteY68" fmla="*/ 587311 h 1049655"/>
                <a:gd name="connsiteX69" fmla="*/ 1016794 w 1216913"/>
                <a:gd name="connsiteY69" fmla="*/ 584359 h 1049655"/>
                <a:gd name="connsiteX70" fmla="*/ 1016127 w 1216913"/>
                <a:gd name="connsiteY70" fmla="*/ 579596 h 1049655"/>
                <a:gd name="connsiteX71" fmla="*/ 1009079 w 1216913"/>
                <a:gd name="connsiteY71" fmla="*/ 574072 h 1049655"/>
                <a:gd name="connsiteX72" fmla="*/ 1006221 w 1216913"/>
                <a:gd name="connsiteY72" fmla="*/ 564832 h 1049655"/>
                <a:gd name="connsiteX73" fmla="*/ 1007459 w 1216913"/>
                <a:gd name="connsiteY73" fmla="*/ 561499 h 1049655"/>
                <a:gd name="connsiteX74" fmla="*/ 1003840 w 1216913"/>
                <a:gd name="connsiteY74" fmla="*/ 558736 h 1049655"/>
                <a:gd name="connsiteX75" fmla="*/ 1003268 w 1216913"/>
                <a:gd name="connsiteY75" fmla="*/ 553974 h 1049655"/>
                <a:gd name="connsiteX76" fmla="*/ 999744 w 1216913"/>
                <a:gd name="connsiteY76" fmla="*/ 551212 h 1049655"/>
                <a:gd name="connsiteX77" fmla="*/ 996124 w 1216913"/>
                <a:gd name="connsiteY77" fmla="*/ 548449 h 1049655"/>
                <a:gd name="connsiteX78" fmla="*/ 996886 w 1216913"/>
                <a:gd name="connsiteY78" fmla="*/ 541973 h 1049655"/>
                <a:gd name="connsiteX79" fmla="*/ 1007173 w 1216913"/>
                <a:gd name="connsiteY79" fmla="*/ 534257 h 1049655"/>
                <a:gd name="connsiteX80" fmla="*/ 1011079 w 1216913"/>
                <a:gd name="connsiteY80" fmla="*/ 527304 h 1049655"/>
                <a:gd name="connsiteX81" fmla="*/ 1009364 w 1216913"/>
                <a:gd name="connsiteY81" fmla="*/ 525970 h 1049655"/>
                <a:gd name="connsiteX82" fmla="*/ 1007173 w 1216913"/>
                <a:gd name="connsiteY82" fmla="*/ 521398 h 1049655"/>
                <a:gd name="connsiteX83" fmla="*/ 1010317 w 1216913"/>
                <a:gd name="connsiteY83" fmla="*/ 521018 h 1049655"/>
                <a:gd name="connsiteX84" fmla="*/ 1011269 w 1216913"/>
                <a:gd name="connsiteY84" fmla="*/ 516065 h 1049655"/>
                <a:gd name="connsiteX85" fmla="*/ 1020794 w 1216913"/>
                <a:gd name="connsiteY85" fmla="*/ 514922 h 1049655"/>
                <a:gd name="connsiteX86" fmla="*/ 1021747 w 1216913"/>
                <a:gd name="connsiteY86" fmla="*/ 509969 h 1049655"/>
                <a:gd name="connsiteX87" fmla="*/ 1017937 w 1216913"/>
                <a:gd name="connsiteY87" fmla="*/ 505587 h 1049655"/>
                <a:gd name="connsiteX88" fmla="*/ 1009650 w 1216913"/>
                <a:gd name="connsiteY88" fmla="*/ 503491 h 1049655"/>
                <a:gd name="connsiteX89" fmla="*/ 1001744 w 1216913"/>
                <a:gd name="connsiteY89" fmla="*/ 504444 h 1049655"/>
                <a:gd name="connsiteX90" fmla="*/ 1001363 w 1216913"/>
                <a:gd name="connsiteY90" fmla="*/ 501301 h 1049655"/>
                <a:gd name="connsiteX91" fmla="*/ 996029 w 1216913"/>
                <a:gd name="connsiteY91" fmla="*/ 497205 h 1049655"/>
                <a:gd name="connsiteX92" fmla="*/ 995648 w 1216913"/>
                <a:gd name="connsiteY92" fmla="*/ 493966 h 1049655"/>
                <a:gd name="connsiteX93" fmla="*/ 991838 w 1216913"/>
                <a:gd name="connsiteY93" fmla="*/ 489680 h 1049655"/>
                <a:gd name="connsiteX94" fmla="*/ 991457 w 1216913"/>
                <a:gd name="connsiteY94" fmla="*/ 486537 h 1049655"/>
                <a:gd name="connsiteX95" fmla="*/ 995839 w 1216913"/>
                <a:gd name="connsiteY95" fmla="*/ 482727 h 1049655"/>
                <a:gd name="connsiteX96" fmla="*/ 996982 w 1216913"/>
                <a:gd name="connsiteY96" fmla="*/ 479393 h 1049655"/>
                <a:gd name="connsiteX97" fmla="*/ 994791 w 1216913"/>
                <a:gd name="connsiteY97" fmla="*/ 474916 h 1049655"/>
                <a:gd name="connsiteX98" fmla="*/ 997363 w 1216913"/>
                <a:gd name="connsiteY98" fmla="*/ 469773 h 1049655"/>
                <a:gd name="connsiteX99" fmla="*/ 1000887 w 1216913"/>
                <a:gd name="connsiteY99" fmla="*/ 459677 h 1049655"/>
                <a:gd name="connsiteX100" fmla="*/ 995743 w 1216913"/>
                <a:gd name="connsiteY100" fmla="*/ 457105 h 1049655"/>
                <a:gd name="connsiteX101" fmla="*/ 996886 w 1216913"/>
                <a:gd name="connsiteY101" fmla="*/ 453771 h 1049655"/>
                <a:gd name="connsiteX102" fmla="*/ 995172 w 1216913"/>
                <a:gd name="connsiteY102" fmla="*/ 452342 h 1049655"/>
                <a:gd name="connsiteX103" fmla="*/ 998315 w 1216913"/>
                <a:gd name="connsiteY103" fmla="*/ 451961 h 1049655"/>
                <a:gd name="connsiteX104" fmla="*/ 993743 w 1216913"/>
                <a:gd name="connsiteY104" fmla="*/ 441293 h 1049655"/>
                <a:gd name="connsiteX105" fmla="*/ 992124 w 1216913"/>
                <a:gd name="connsiteY105" fmla="*/ 441579 h 1049655"/>
                <a:gd name="connsiteX106" fmla="*/ 984694 w 1216913"/>
                <a:gd name="connsiteY106" fmla="*/ 445675 h 1049655"/>
                <a:gd name="connsiteX107" fmla="*/ 974026 w 1216913"/>
                <a:gd name="connsiteY107" fmla="*/ 437388 h 1049655"/>
                <a:gd name="connsiteX108" fmla="*/ 969264 w 1216913"/>
                <a:gd name="connsiteY108" fmla="*/ 438055 h 1049655"/>
                <a:gd name="connsiteX109" fmla="*/ 972979 w 1216913"/>
                <a:gd name="connsiteY109" fmla="*/ 442341 h 1049655"/>
                <a:gd name="connsiteX110" fmla="*/ 971264 w 1216913"/>
                <a:gd name="connsiteY110" fmla="*/ 453771 h 1049655"/>
                <a:gd name="connsiteX111" fmla="*/ 976408 w 1216913"/>
                <a:gd name="connsiteY111" fmla="*/ 456343 h 1049655"/>
                <a:gd name="connsiteX112" fmla="*/ 970883 w 1216913"/>
                <a:gd name="connsiteY112" fmla="*/ 463486 h 1049655"/>
                <a:gd name="connsiteX113" fmla="*/ 966597 w 1216913"/>
                <a:gd name="connsiteY113" fmla="*/ 467297 h 1049655"/>
                <a:gd name="connsiteX114" fmla="*/ 963454 w 1216913"/>
                <a:gd name="connsiteY114" fmla="*/ 467678 h 1049655"/>
                <a:gd name="connsiteX115" fmla="*/ 960215 w 1216913"/>
                <a:gd name="connsiteY115" fmla="*/ 468058 h 1049655"/>
                <a:gd name="connsiteX116" fmla="*/ 958310 w 1216913"/>
                <a:gd name="connsiteY116" fmla="*/ 465106 h 1049655"/>
                <a:gd name="connsiteX117" fmla="*/ 953929 w 1216913"/>
                <a:gd name="connsiteY117" fmla="*/ 468820 h 1049655"/>
                <a:gd name="connsiteX118" fmla="*/ 955357 w 1216913"/>
                <a:gd name="connsiteY118" fmla="*/ 467106 h 1049655"/>
                <a:gd name="connsiteX119" fmla="*/ 951738 w 1216913"/>
                <a:gd name="connsiteY119" fmla="*/ 464344 h 1049655"/>
                <a:gd name="connsiteX120" fmla="*/ 947261 w 1216913"/>
                <a:gd name="connsiteY120" fmla="*/ 466535 h 1049655"/>
                <a:gd name="connsiteX121" fmla="*/ 940117 w 1216913"/>
                <a:gd name="connsiteY121" fmla="*/ 461010 h 1049655"/>
                <a:gd name="connsiteX122" fmla="*/ 937546 w 1216913"/>
                <a:gd name="connsiteY122" fmla="*/ 466153 h 1049655"/>
                <a:gd name="connsiteX123" fmla="*/ 933831 w 1216913"/>
                <a:gd name="connsiteY123" fmla="*/ 461772 h 1049655"/>
                <a:gd name="connsiteX124" fmla="*/ 931640 w 1216913"/>
                <a:gd name="connsiteY124" fmla="*/ 457295 h 1049655"/>
                <a:gd name="connsiteX125" fmla="*/ 928021 w 1216913"/>
                <a:gd name="connsiteY125" fmla="*/ 454533 h 1049655"/>
                <a:gd name="connsiteX126" fmla="*/ 921163 w 1216913"/>
                <a:gd name="connsiteY126" fmla="*/ 450628 h 1049655"/>
                <a:gd name="connsiteX127" fmla="*/ 918591 w 1216913"/>
                <a:gd name="connsiteY127" fmla="*/ 442912 h 1049655"/>
                <a:gd name="connsiteX128" fmla="*/ 905732 w 1216913"/>
                <a:gd name="connsiteY128" fmla="*/ 442912 h 1049655"/>
                <a:gd name="connsiteX129" fmla="*/ 900398 w 1216913"/>
                <a:gd name="connsiteY129" fmla="*/ 438817 h 1049655"/>
                <a:gd name="connsiteX130" fmla="*/ 897064 w 1216913"/>
                <a:gd name="connsiteY130" fmla="*/ 437578 h 1049655"/>
                <a:gd name="connsiteX131" fmla="*/ 895636 w 1216913"/>
                <a:gd name="connsiteY131" fmla="*/ 426529 h 1049655"/>
                <a:gd name="connsiteX132" fmla="*/ 875157 w 1216913"/>
                <a:gd name="connsiteY132" fmla="*/ 429197 h 1049655"/>
                <a:gd name="connsiteX133" fmla="*/ 872204 w 1216913"/>
                <a:gd name="connsiteY133" fmla="*/ 431197 h 1049655"/>
                <a:gd name="connsiteX134" fmla="*/ 862489 w 1216913"/>
                <a:gd name="connsiteY134" fmla="*/ 430816 h 1049655"/>
                <a:gd name="connsiteX135" fmla="*/ 851249 w 1216913"/>
                <a:gd name="connsiteY135" fmla="*/ 430625 h 1049655"/>
                <a:gd name="connsiteX136" fmla="*/ 847439 w 1216913"/>
                <a:gd name="connsiteY136" fmla="*/ 426339 h 1049655"/>
                <a:gd name="connsiteX137" fmla="*/ 827151 w 1216913"/>
                <a:gd name="connsiteY137" fmla="*/ 417671 h 1049655"/>
                <a:gd name="connsiteX138" fmla="*/ 826770 w 1216913"/>
                <a:gd name="connsiteY138" fmla="*/ 427291 h 1049655"/>
                <a:gd name="connsiteX139" fmla="*/ 830104 w 1216913"/>
                <a:gd name="connsiteY139" fmla="*/ 428530 h 1049655"/>
                <a:gd name="connsiteX140" fmla="*/ 836676 w 1216913"/>
                <a:gd name="connsiteY140" fmla="*/ 429292 h 1049655"/>
                <a:gd name="connsiteX141" fmla="*/ 838581 w 1216913"/>
                <a:gd name="connsiteY141" fmla="*/ 432244 h 1049655"/>
                <a:gd name="connsiteX142" fmla="*/ 830961 w 1216913"/>
                <a:gd name="connsiteY142" fmla="*/ 434816 h 1049655"/>
                <a:gd name="connsiteX143" fmla="*/ 832961 w 1216913"/>
                <a:gd name="connsiteY143" fmla="*/ 437769 h 1049655"/>
                <a:gd name="connsiteX144" fmla="*/ 834676 w 1216913"/>
                <a:gd name="connsiteY144" fmla="*/ 439103 h 1049655"/>
                <a:gd name="connsiteX145" fmla="*/ 830389 w 1216913"/>
                <a:gd name="connsiteY145" fmla="*/ 442912 h 1049655"/>
                <a:gd name="connsiteX146" fmla="*/ 826770 w 1216913"/>
                <a:gd name="connsiteY146" fmla="*/ 440150 h 1049655"/>
                <a:gd name="connsiteX147" fmla="*/ 826389 w 1216913"/>
                <a:gd name="connsiteY147" fmla="*/ 437007 h 1049655"/>
                <a:gd name="connsiteX148" fmla="*/ 823246 w 1216913"/>
                <a:gd name="connsiteY148" fmla="*/ 437388 h 1049655"/>
                <a:gd name="connsiteX149" fmla="*/ 824198 w 1216913"/>
                <a:gd name="connsiteY149" fmla="*/ 445294 h 1049655"/>
                <a:gd name="connsiteX150" fmla="*/ 819150 w 1216913"/>
                <a:gd name="connsiteY150" fmla="*/ 455581 h 1049655"/>
                <a:gd name="connsiteX151" fmla="*/ 814197 w 1216913"/>
                <a:gd name="connsiteY151" fmla="*/ 454628 h 1049655"/>
                <a:gd name="connsiteX152" fmla="*/ 813816 w 1216913"/>
                <a:gd name="connsiteY152" fmla="*/ 451390 h 1049655"/>
                <a:gd name="connsiteX153" fmla="*/ 805148 w 1216913"/>
                <a:gd name="connsiteY153" fmla="*/ 446151 h 1049655"/>
                <a:gd name="connsiteX154" fmla="*/ 802767 w 1216913"/>
                <a:gd name="connsiteY154" fmla="*/ 440055 h 1049655"/>
                <a:gd name="connsiteX155" fmla="*/ 796385 w 1216913"/>
                <a:gd name="connsiteY155" fmla="*/ 440817 h 1049655"/>
                <a:gd name="connsiteX156" fmla="*/ 788289 w 1216913"/>
                <a:gd name="connsiteY156" fmla="*/ 427387 h 1049655"/>
                <a:gd name="connsiteX157" fmla="*/ 789813 w 1216913"/>
                <a:gd name="connsiteY157" fmla="*/ 414433 h 1049655"/>
                <a:gd name="connsiteX158" fmla="*/ 786860 w 1216913"/>
                <a:gd name="connsiteY158" fmla="*/ 403574 h 1049655"/>
                <a:gd name="connsiteX159" fmla="*/ 784860 w 1216913"/>
                <a:gd name="connsiteY159" fmla="*/ 400622 h 1049655"/>
                <a:gd name="connsiteX160" fmla="*/ 758380 w 1216913"/>
                <a:gd name="connsiteY160" fmla="*/ 394335 h 1049655"/>
                <a:gd name="connsiteX161" fmla="*/ 749141 w 1216913"/>
                <a:gd name="connsiteY161" fmla="*/ 397097 h 1049655"/>
                <a:gd name="connsiteX162" fmla="*/ 746188 w 1216913"/>
                <a:gd name="connsiteY162" fmla="*/ 399098 h 1049655"/>
                <a:gd name="connsiteX163" fmla="*/ 742188 w 1216913"/>
                <a:gd name="connsiteY163" fmla="*/ 393192 h 1049655"/>
                <a:gd name="connsiteX164" fmla="*/ 743236 w 1216913"/>
                <a:gd name="connsiteY164" fmla="*/ 388239 h 1049655"/>
                <a:gd name="connsiteX165" fmla="*/ 740378 w 1216913"/>
                <a:gd name="connsiteY165" fmla="*/ 379000 h 1049655"/>
                <a:gd name="connsiteX166" fmla="*/ 735235 w 1216913"/>
                <a:gd name="connsiteY166" fmla="*/ 363569 h 1049655"/>
                <a:gd name="connsiteX167" fmla="*/ 724567 w 1216913"/>
                <a:gd name="connsiteY167" fmla="*/ 368141 h 1049655"/>
                <a:gd name="connsiteX168" fmla="*/ 722471 w 1216913"/>
                <a:gd name="connsiteY168" fmla="*/ 363665 h 1049655"/>
                <a:gd name="connsiteX169" fmla="*/ 719233 w 1216913"/>
                <a:gd name="connsiteY169" fmla="*/ 364046 h 1049655"/>
                <a:gd name="connsiteX170" fmla="*/ 717518 w 1216913"/>
                <a:gd name="connsiteY170" fmla="*/ 362712 h 1049655"/>
                <a:gd name="connsiteX171" fmla="*/ 711232 w 1216913"/>
                <a:gd name="connsiteY171" fmla="*/ 363474 h 1049655"/>
                <a:gd name="connsiteX172" fmla="*/ 711422 w 1216913"/>
                <a:gd name="connsiteY172" fmla="*/ 365093 h 1049655"/>
                <a:gd name="connsiteX173" fmla="*/ 708184 w 1216913"/>
                <a:gd name="connsiteY173" fmla="*/ 365474 h 1049655"/>
                <a:gd name="connsiteX174" fmla="*/ 708469 w 1216913"/>
                <a:gd name="connsiteY174" fmla="*/ 366998 h 1049655"/>
                <a:gd name="connsiteX175" fmla="*/ 709231 w 1216913"/>
                <a:gd name="connsiteY175" fmla="*/ 373380 h 1049655"/>
                <a:gd name="connsiteX176" fmla="*/ 708279 w 1216913"/>
                <a:gd name="connsiteY176" fmla="*/ 378238 h 1049655"/>
                <a:gd name="connsiteX177" fmla="*/ 699421 w 1216913"/>
                <a:gd name="connsiteY177" fmla="*/ 384238 h 1049655"/>
                <a:gd name="connsiteX178" fmla="*/ 693230 w 1216913"/>
                <a:gd name="connsiteY178" fmla="*/ 373761 h 1049655"/>
                <a:gd name="connsiteX179" fmla="*/ 686372 w 1216913"/>
                <a:gd name="connsiteY179" fmla="*/ 369856 h 1049655"/>
                <a:gd name="connsiteX180" fmla="*/ 684371 w 1216913"/>
                <a:gd name="connsiteY180" fmla="*/ 366903 h 1049655"/>
                <a:gd name="connsiteX181" fmla="*/ 671893 w 1216913"/>
                <a:gd name="connsiteY181" fmla="*/ 370046 h 1049655"/>
                <a:gd name="connsiteX182" fmla="*/ 664845 w 1216913"/>
                <a:gd name="connsiteY182" fmla="*/ 364522 h 1049655"/>
                <a:gd name="connsiteX183" fmla="*/ 659035 w 1216913"/>
                <a:gd name="connsiteY183" fmla="*/ 357283 h 1049655"/>
                <a:gd name="connsiteX184" fmla="*/ 654748 w 1216913"/>
                <a:gd name="connsiteY184" fmla="*/ 348234 h 1049655"/>
                <a:gd name="connsiteX185" fmla="*/ 657701 w 1216913"/>
                <a:gd name="connsiteY185" fmla="*/ 346234 h 1049655"/>
                <a:gd name="connsiteX186" fmla="*/ 661606 w 1216913"/>
                <a:gd name="connsiteY186" fmla="*/ 339280 h 1049655"/>
                <a:gd name="connsiteX187" fmla="*/ 654463 w 1216913"/>
                <a:gd name="connsiteY187" fmla="*/ 333851 h 1049655"/>
                <a:gd name="connsiteX188" fmla="*/ 652272 w 1216913"/>
                <a:gd name="connsiteY188" fmla="*/ 329279 h 1049655"/>
                <a:gd name="connsiteX189" fmla="*/ 649129 w 1216913"/>
                <a:gd name="connsiteY189" fmla="*/ 329660 h 1049655"/>
                <a:gd name="connsiteX190" fmla="*/ 650462 w 1216913"/>
                <a:gd name="connsiteY190" fmla="*/ 315087 h 1049655"/>
                <a:gd name="connsiteX191" fmla="*/ 648748 w 1216913"/>
                <a:gd name="connsiteY191" fmla="*/ 313658 h 1049655"/>
                <a:gd name="connsiteX192" fmla="*/ 643985 w 1216913"/>
                <a:gd name="connsiteY192" fmla="*/ 314325 h 1049655"/>
                <a:gd name="connsiteX193" fmla="*/ 635508 w 1216913"/>
                <a:gd name="connsiteY193" fmla="*/ 310610 h 1049655"/>
                <a:gd name="connsiteX194" fmla="*/ 634841 w 1216913"/>
                <a:gd name="connsiteY194" fmla="*/ 305848 h 1049655"/>
                <a:gd name="connsiteX195" fmla="*/ 633127 w 1216913"/>
                <a:gd name="connsiteY195" fmla="*/ 304419 h 1049655"/>
                <a:gd name="connsiteX196" fmla="*/ 630746 w 1216913"/>
                <a:gd name="connsiteY196" fmla="*/ 298323 h 1049655"/>
                <a:gd name="connsiteX197" fmla="*/ 622840 w 1216913"/>
                <a:gd name="connsiteY197" fmla="*/ 299371 h 1049655"/>
                <a:gd name="connsiteX198" fmla="*/ 620649 w 1216913"/>
                <a:gd name="connsiteY198" fmla="*/ 294799 h 1049655"/>
                <a:gd name="connsiteX199" fmla="*/ 615696 w 1216913"/>
                <a:gd name="connsiteY199" fmla="*/ 293846 h 1049655"/>
                <a:gd name="connsiteX200" fmla="*/ 613886 w 1216913"/>
                <a:gd name="connsiteY200" fmla="*/ 292513 h 1049655"/>
                <a:gd name="connsiteX201" fmla="*/ 610552 w 1216913"/>
                <a:gd name="connsiteY201" fmla="*/ 291275 h 1049655"/>
                <a:gd name="connsiteX202" fmla="*/ 596170 w 1216913"/>
                <a:gd name="connsiteY202" fmla="*/ 304324 h 1049655"/>
                <a:gd name="connsiteX203" fmla="*/ 591693 w 1216913"/>
                <a:gd name="connsiteY203" fmla="*/ 306515 h 1049655"/>
                <a:gd name="connsiteX204" fmla="*/ 592646 w 1216913"/>
                <a:gd name="connsiteY204" fmla="*/ 314420 h 1049655"/>
                <a:gd name="connsiteX205" fmla="*/ 592264 w 1216913"/>
                <a:gd name="connsiteY205" fmla="*/ 324136 h 1049655"/>
                <a:gd name="connsiteX206" fmla="*/ 596646 w 1216913"/>
                <a:gd name="connsiteY206" fmla="*/ 333184 h 1049655"/>
                <a:gd name="connsiteX207" fmla="*/ 602932 w 1216913"/>
                <a:gd name="connsiteY207" fmla="*/ 332327 h 1049655"/>
                <a:gd name="connsiteX208" fmla="*/ 604933 w 1216913"/>
                <a:gd name="connsiteY208" fmla="*/ 322517 h 1049655"/>
                <a:gd name="connsiteX209" fmla="*/ 611410 w 1216913"/>
                <a:gd name="connsiteY209" fmla="*/ 323278 h 1049655"/>
                <a:gd name="connsiteX210" fmla="*/ 615029 w 1216913"/>
                <a:gd name="connsiteY210" fmla="*/ 326041 h 1049655"/>
                <a:gd name="connsiteX211" fmla="*/ 619697 w 1216913"/>
                <a:gd name="connsiteY211" fmla="*/ 325374 h 1049655"/>
                <a:gd name="connsiteX212" fmla="*/ 624078 w 1216913"/>
                <a:gd name="connsiteY212" fmla="*/ 334518 h 1049655"/>
                <a:gd name="connsiteX213" fmla="*/ 622744 w 1216913"/>
                <a:gd name="connsiteY213" fmla="*/ 336232 h 1049655"/>
                <a:gd name="connsiteX214" fmla="*/ 622935 w 1216913"/>
                <a:gd name="connsiteY214" fmla="*/ 337852 h 1049655"/>
                <a:gd name="connsiteX215" fmla="*/ 618554 w 1216913"/>
                <a:gd name="connsiteY215" fmla="*/ 341567 h 1049655"/>
                <a:gd name="connsiteX216" fmla="*/ 622173 w 1216913"/>
                <a:gd name="connsiteY216" fmla="*/ 344329 h 1049655"/>
                <a:gd name="connsiteX217" fmla="*/ 622744 w 1216913"/>
                <a:gd name="connsiteY217" fmla="*/ 349091 h 1049655"/>
                <a:gd name="connsiteX218" fmla="*/ 619601 w 1216913"/>
                <a:gd name="connsiteY218" fmla="*/ 349472 h 1049655"/>
                <a:gd name="connsiteX219" fmla="*/ 618172 w 1216913"/>
                <a:gd name="connsiteY219" fmla="*/ 351282 h 1049655"/>
                <a:gd name="connsiteX220" fmla="*/ 621982 w 1216913"/>
                <a:gd name="connsiteY220" fmla="*/ 355568 h 1049655"/>
                <a:gd name="connsiteX221" fmla="*/ 621030 w 1216913"/>
                <a:gd name="connsiteY221" fmla="*/ 360521 h 1049655"/>
                <a:gd name="connsiteX222" fmla="*/ 617410 w 1216913"/>
                <a:gd name="connsiteY222" fmla="*/ 357759 h 1049655"/>
                <a:gd name="connsiteX223" fmla="*/ 617220 w 1216913"/>
                <a:gd name="connsiteY223" fmla="*/ 356235 h 1049655"/>
                <a:gd name="connsiteX224" fmla="*/ 613696 w 1216913"/>
                <a:gd name="connsiteY224" fmla="*/ 353473 h 1049655"/>
                <a:gd name="connsiteX225" fmla="*/ 594741 w 1216913"/>
                <a:gd name="connsiteY225" fmla="*/ 355854 h 1049655"/>
                <a:gd name="connsiteX226" fmla="*/ 593503 w 1216913"/>
                <a:gd name="connsiteY226" fmla="*/ 346424 h 1049655"/>
                <a:gd name="connsiteX227" fmla="*/ 582930 w 1216913"/>
                <a:gd name="connsiteY227" fmla="*/ 350996 h 1049655"/>
                <a:gd name="connsiteX228" fmla="*/ 577786 w 1216913"/>
                <a:gd name="connsiteY228" fmla="*/ 361188 h 1049655"/>
                <a:gd name="connsiteX229" fmla="*/ 569309 w 1216913"/>
                <a:gd name="connsiteY229" fmla="*/ 357473 h 1049655"/>
                <a:gd name="connsiteX230" fmla="*/ 563404 w 1216913"/>
                <a:gd name="connsiteY230" fmla="*/ 361474 h 1049655"/>
                <a:gd name="connsiteX231" fmla="*/ 558641 w 1216913"/>
                <a:gd name="connsiteY231" fmla="*/ 362045 h 1049655"/>
                <a:gd name="connsiteX232" fmla="*/ 539591 w 1216913"/>
                <a:gd name="connsiteY232" fmla="*/ 388525 h 1049655"/>
                <a:gd name="connsiteX233" fmla="*/ 537019 w 1216913"/>
                <a:gd name="connsiteY233" fmla="*/ 393668 h 1049655"/>
                <a:gd name="connsiteX234" fmla="*/ 529304 w 1216913"/>
                <a:gd name="connsiteY234" fmla="*/ 396240 h 1049655"/>
                <a:gd name="connsiteX235" fmla="*/ 515874 w 1216913"/>
                <a:gd name="connsiteY235" fmla="*/ 391573 h 1049655"/>
                <a:gd name="connsiteX236" fmla="*/ 509778 w 1216913"/>
                <a:gd name="connsiteY236" fmla="*/ 393954 h 1049655"/>
                <a:gd name="connsiteX237" fmla="*/ 500920 w 1216913"/>
                <a:gd name="connsiteY237" fmla="*/ 399860 h 1049655"/>
                <a:gd name="connsiteX238" fmla="*/ 495205 w 1216913"/>
                <a:gd name="connsiteY238" fmla="*/ 392620 h 1049655"/>
                <a:gd name="connsiteX239" fmla="*/ 492061 w 1216913"/>
                <a:gd name="connsiteY239" fmla="*/ 393002 h 1049655"/>
                <a:gd name="connsiteX240" fmla="*/ 491395 w 1216913"/>
                <a:gd name="connsiteY240" fmla="*/ 388239 h 1049655"/>
                <a:gd name="connsiteX241" fmla="*/ 488251 w 1216913"/>
                <a:gd name="connsiteY241" fmla="*/ 388620 h 1049655"/>
                <a:gd name="connsiteX242" fmla="*/ 487871 w 1216913"/>
                <a:gd name="connsiteY242" fmla="*/ 385477 h 1049655"/>
                <a:gd name="connsiteX243" fmla="*/ 482917 w 1216913"/>
                <a:gd name="connsiteY243" fmla="*/ 384524 h 1049655"/>
                <a:gd name="connsiteX244" fmla="*/ 479012 w 1216913"/>
                <a:gd name="connsiteY244" fmla="*/ 378619 h 1049655"/>
                <a:gd name="connsiteX245" fmla="*/ 477393 w 1216913"/>
                <a:gd name="connsiteY245" fmla="*/ 378809 h 1049655"/>
                <a:gd name="connsiteX246" fmla="*/ 476059 w 1216913"/>
                <a:gd name="connsiteY246" fmla="*/ 380619 h 1049655"/>
                <a:gd name="connsiteX247" fmla="*/ 472249 w 1216913"/>
                <a:gd name="connsiteY247" fmla="*/ 376238 h 1049655"/>
                <a:gd name="connsiteX248" fmla="*/ 475964 w 1216913"/>
                <a:gd name="connsiteY248" fmla="*/ 367760 h 1049655"/>
                <a:gd name="connsiteX249" fmla="*/ 470059 w 1216913"/>
                <a:gd name="connsiteY249" fmla="*/ 358902 h 1049655"/>
                <a:gd name="connsiteX250" fmla="*/ 468249 w 1216913"/>
                <a:gd name="connsiteY250" fmla="*/ 357569 h 1049655"/>
                <a:gd name="connsiteX251" fmla="*/ 453866 w 1216913"/>
                <a:gd name="connsiteY251" fmla="*/ 357759 h 1049655"/>
                <a:gd name="connsiteX252" fmla="*/ 451866 w 1216913"/>
                <a:gd name="connsiteY252" fmla="*/ 354806 h 1049655"/>
                <a:gd name="connsiteX253" fmla="*/ 448723 w 1216913"/>
                <a:gd name="connsiteY253" fmla="*/ 355187 h 1049655"/>
                <a:gd name="connsiteX254" fmla="*/ 448342 w 1216913"/>
                <a:gd name="connsiteY254" fmla="*/ 352044 h 1049655"/>
                <a:gd name="connsiteX255" fmla="*/ 444532 w 1216913"/>
                <a:gd name="connsiteY255" fmla="*/ 347758 h 1049655"/>
                <a:gd name="connsiteX256" fmla="*/ 441579 w 1216913"/>
                <a:gd name="connsiteY256" fmla="*/ 349663 h 1049655"/>
                <a:gd name="connsiteX257" fmla="*/ 439864 w 1216913"/>
                <a:gd name="connsiteY257" fmla="*/ 348329 h 1049655"/>
                <a:gd name="connsiteX258" fmla="*/ 434911 w 1216913"/>
                <a:gd name="connsiteY258" fmla="*/ 347377 h 1049655"/>
                <a:gd name="connsiteX259" fmla="*/ 430911 w 1216913"/>
                <a:gd name="connsiteY259" fmla="*/ 341471 h 1049655"/>
                <a:gd name="connsiteX260" fmla="*/ 433673 w 1216913"/>
                <a:gd name="connsiteY260" fmla="*/ 337852 h 1049655"/>
                <a:gd name="connsiteX261" fmla="*/ 434816 w 1216913"/>
                <a:gd name="connsiteY261" fmla="*/ 334518 h 1049655"/>
                <a:gd name="connsiteX262" fmla="*/ 432721 w 1216913"/>
                <a:gd name="connsiteY262" fmla="*/ 330041 h 1049655"/>
                <a:gd name="connsiteX263" fmla="*/ 427958 w 1216913"/>
                <a:gd name="connsiteY263" fmla="*/ 330613 h 1049655"/>
                <a:gd name="connsiteX264" fmla="*/ 431863 w 1216913"/>
                <a:gd name="connsiteY264" fmla="*/ 323659 h 1049655"/>
                <a:gd name="connsiteX265" fmla="*/ 428339 w 1216913"/>
                <a:gd name="connsiteY265" fmla="*/ 320897 h 1049655"/>
                <a:gd name="connsiteX266" fmla="*/ 429673 w 1216913"/>
                <a:gd name="connsiteY266" fmla="*/ 319183 h 1049655"/>
                <a:gd name="connsiteX267" fmla="*/ 428911 w 1216913"/>
                <a:gd name="connsiteY267" fmla="*/ 312801 h 1049655"/>
                <a:gd name="connsiteX268" fmla="*/ 422148 w 1216913"/>
                <a:gd name="connsiteY268" fmla="*/ 310515 h 1049655"/>
                <a:gd name="connsiteX269" fmla="*/ 423386 w 1216913"/>
                <a:gd name="connsiteY269" fmla="*/ 307086 h 1049655"/>
                <a:gd name="connsiteX270" fmla="*/ 419386 w 1216913"/>
                <a:gd name="connsiteY270" fmla="*/ 301180 h 1049655"/>
                <a:gd name="connsiteX271" fmla="*/ 417862 w 1216913"/>
                <a:gd name="connsiteY271" fmla="*/ 301466 h 1049655"/>
                <a:gd name="connsiteX272" fmla="*/ 420814 w 1216913"/>
                <a:gd name="connsiteY272" fmla="*/ 299466 h 1049655"/>
                <a:gd name="connsiteX273" fmla="*/ 420529 w 1216913"/>
                <a:gd name="connsiteY273" fmla="*/ 297847 h 1049655"/>
                <a:gd name="connsiteX274" fmla="*/ 419005 w 1216913"/>
                <a:gd name="connsiteY274" fmla="*/ 298037 h 1049655"/>
                <a:gd name="connsiteX275" fmla="*/ 420148 w 1216913"/>
                <a:gd name="connsiteY275" fmla="*/ 294703 h 1049655"/>
                <a:gd name="connsiteX276" fmla="*/ 416623 w 1216913"/>
                <a:gd name="connsiteY276" fmla="*/ 291941 h 1049655"/>
                <a:gd name="connsiteX277" fmla="*/ 416052 w 1216913"/>
                <a:gd name="connsiteY277" fmla="*/ 287179 h 1049655"/>
                <a:gd name="connsiteX278" fmla="*/ 413861 w 1216913"/>
                <a:gd name="connsiteY278" fmla="*/ 282702 h 1049655"/>
                <a:gd name="connsiteX279" fmla="*/ 408527 w 1216913"/>
                <a:gd name="connsiteY279" fmla="*/ 278511 h 1049655"/>
                <a:gd name="connsiteX280" fmla="*/ 405289 w 1216913"/>
                <a:gd name="connsiteY280" fmla="*/ 278987 h 1049655"/>
                <a:gd name="connsiteX281" fmla="*/ 405098 w 1216913"/>
                <a:gd name="connsiteY281" fmla="*/ 277368 h 1049655"/>
                <a:gd name="connsiteX282" fmla="*/ 398050 w 1216913"/>
                <a:gd name="connsiteY282" fmla="*/ 271844 h 1049655"/>
                <a:gd name="connsiteX283" fmla="*/ 399955 w 1216913"/>
                <a:gd name="connsiteY283" fmla="*/ 262033 h 1049655"/>
                <a:gd name="connsiteX284" fmla="*/ 379952 w 1216913"/>
                <a:gd name="connsiteY284" fmla="*/ 243650 h 1049655"/>
                <a:gd name="connsiteX285" fmla="*/ 374618 w 1216913"/>
                <a:gd name="connsiteY285" fmla="*/ 239554 h 1049655"/>
                <a:gd name="connsiteX286" fmla="*/ 364998 w 1216913"/>
                <a:gd name="connsiteY286" fmla="*/ 239173 h 1049655"/>
                <a:gd name="connsiteX287" fmla="*/ 360712 w 1216913"/>
                <a:gd name="connsiteY287" fmla="*/ 255746 h 1049655"/>
                <a:gd name="connsiteX288" fmla="*/ 350234 w 1216913"/>
                <a:gd name="connsiteY288" fmla="*/ 249079 h 1049655"/>
                <a:gd name="connsiteX289" fmla="*/ 343471 w 1216913"/>
                <a:gd name="connsiteY289" fmla="*/ 246698 h 1049655"/>
                <a:gd name="connsiteX290" fmla="*/ 334327 w 1216913"/>
                <a:gd name="connsiteY290" fmla="*/ 225457 h 1049655"/>
                <a:gd name="connsiteX291" fmla="*/ 325660 w 1216913"/>
                <a:gd name="connsiteY291" fmla="*/ 220123 h 1049655"/>
                <a:gd name="connsiteX292" fmla="*/ 318706 w 1216913"/>
                <a:gd name="connsiteY292" fmla="*/ 216217 h 1049655"/>
                <a:gd name="connsiteX293" fmla="*/ 318516 w 1216913"/>
                <a:gd name="connsiteY293" fmla="*/ 214598 h 1049655"/>
                <a:gd name="connsiteX294" fmla="*/ 313658 w 1216913"/>
                <a:gd name="connsiteY294" fmla="*/ 213646 h 1049655"/>
                <a:gd name="connsiteX295" fmla="*/ 309086 w 1216913"/>
                <a:gd name="connsiteY295" fmla="*/ 202978 h 1049655"/>
                <a:gd name="connsiteX296" fmla="*/ 301085 w 1216913"/>
                <a:gd name="connsiteY296" fmla="*/ 191167 h 1049655"/>
                <a:gd name="connsiteX297" fmla="*/ 306229 w 1216913"/>
                <a:gd name="connsiteY297" fmla="*/ 180880 h 1049655"/>
                <a:gd name="connsiteX298" fmla="*/ 309181 w 1216913"/>
                <a:gd name="connsiteY298" fmla="*/ 178975 h 1049655"/>
                <a:gd name="connsiteX299" fmla="*/ 317278 w 1216913"/>
                <a:gd name="connsiteY299" fmla="*/ 179546 h 1049655"/>
                <a:gd name="connsiteX300" fmla="*/ 322421 w 1216913"/>
                <a:gd name="connsiteY300" fmla="*/ 182023 h 1049655"/>
                <a:gd name="connsiteX301" fmla="*/ 326517 w 1216913"/>
                <a:gd name="connsiteY301" fmla="*/ 176689 h 1049655"/>
                <a:gd name="connsiteX302" fmla="*/ 331089 w 1216913"/>
                <a:gd name="connsiteY302" fmla="*/ 174593 h 1049655"/>
                <a:gd name="connsiteX303" fmla="*/ 337185 w 1216913"/>
                <a:gd name="connsiteY303" fmla="*/ 172212 h 1049655"/>
                <a:gd name="connsiteX304" fmla="*/ 349853 w 1216913"/>
                <a:gd name="connsiteY304" fmla="*/ 170593 h 1049655"/>
                <a:gd name="connsiteX305" fmla="*/ 358711 w 1216913"/>
                <a:gd name="connsiteY305" fmla="*/ 164592 h 1049655"/>
                <a:gd name="connsiteX306" fmla="*/ 362045 w 1216913"/>
                <a:gd name="connsiteY306" fmla="*/ 165830 h 1049655"/>
                <a:gd name="connsiteX307" fmla="*/ 366617 w 1216913"/>
                <a:gd name="connsiteY307" fmla="*/ 163640 h 1049655"/>
                <a:gd name="connsiteX308" fmla="*/ 369951 w 1216913"/>
                <a:gd name="connsiteY308" fmla="*/ 164782 h 1049655"/>
                <a:gd name="connsiteX309" fmla="*/ 377380 w 1216913"/>
                <a:gd name="connsiteY309" fmla="*/ 160592 h 1049655"/>
                <a:gd name="connsiteX310" fmla="*/ 376809 w 1216913"/>
                <a:gd name="connsiteY310" fmla="*/ 155924 h 1049655"/>
                <a:gd name="connsiteX311" fmla="*/ 381381 w 1216913"/>
                <a:gd name="connsiteY311" fmla="*/ 153734 h 1049655"/>
                <a:gd name="connsiteX312" fmla="*/ 380333 w 1216913"/>
                <a:gd name="connsiteY312" fmla="*/ 145828 h 1049655"/>
                <a:gd name="connsiteX313" fmla="*/ 384715 w 1216913"/>
                <a:gd name="connsiteY313" fmla="*/ 142018 h 1049655"/>
                <a:gd name="connsiteX314" fmla="*/ 385858 w 1216913"/>
                <a:gd name="connsiteY314" fmla="*/ 138684 h 1049655"/>
                <a:gd name="connsiteX315" fmla="*/ 388810 w 1216913"/>
                <a:gd name="connsiteY315" fmla="*/ 136684 h 1049655"/>
                <a:gd name="connsiteX316" fmla="*/ 392335 w 1216913"/>
                <a:gd name="connsiteY316" fmla="*/ 139446 h 1049655"/>
                <a:gd name="connsiteX317" fmla="*/ 400621 w 1216913"/>
                <a:gd name="connsiteY317" fmla="*/ 141637 h 1049655"/>
                <a:gd name="connsiteX318" fmla="*/ 406527 w 1216913"/>
                <a:gd name="connsiteY318" fmla="*/ 137636 h 1049655"/>
                <a:gd name="connsiteX319" fmla="*/ 412909 w 1216913"/>
                <a:gd name="connsiteY319" fmla="*/ 136874 h 1049655"/>
                <a:gd name="connsiteX320" fmla="*/ 412051 w 1216913"/>
                <a:gd name="connsiteY320" fmla="*/ 130588 h 1049655"/>
                <a:gd name="connsiteX321" fmla="*/ 412813 w 1216913"/>
                <a:gd name="connsiteY321" fmla="*/ 124015 h 1049655"/>
                <a:gd name="connsiteX322" fmla="*/ 412051 w 1216913"/>
                <a:gd name="connsiteY322" fmla="*/ 117729 h 1049655"/>
                <a:gd name="connsiteX323" fmla="*/ 416528 w 1216913"/>
                <a:gd name="connsiteY323" fmla="*/ 102679 h 1049655"/>
                <a:gd name="connsiteX324" fmla="*/ 400336 w 1216913"/>
                <a:gd name="connsiteY324" fmla="*/ 88773 h 1049655"/>
                <a:gd name="connsiteX325" fmla="*/ 387858 w 1216913"/>
                <a:gd name="connsiteY325" fmla="*/ 79153 h 1049655"/>
                <a:gd name="connsiteX326" fmla="*/ 388620 w 1216913"/>
                <a:gd name="connsiteY326" fmla="*/ 72580 h 1049655"/>
                <a:gd name="connsiteX327" fmla="*/ 388620 w 1216913"/>
                <a:gd name="connsiteY327" fmla="*/ 59722 h 1049655"/>
                <a:gd name="connsiteX328" fmla="*/ 394335 w 1216913"/>
                <a:gd name="connsiteY328" fmla="*/ 54197 h 1049655"/>
                <a:gd name="connsiteX329" fmla="*/ 398812 w 1216913"/>
                <a:gd name="connsiteY329" fmla="*/ 39243 h 1049655"/>
                <a:gd name="connsiteX330" fmla="*/ 403193 w 1216913"/>
                <a:gd name="connsiteY330" fmla="*/ 35433 h 1049655"/>
                <a:gd name="connsiteX331" fmla="*/ 402812 w 1216913"/>
                <a:gd name="connsiteY331" fmla="*/ 32290 h 1049655"/>
                <a:gd name="connsiteX332" fmla="*/ 405765 w 1216913"/>
                <a:gd name="connsiteY332" fmla="*/ 30290 h 1049655"/>
                <a:gd name="connsiteX333" fmla="*/ 403765 w 1216913"/>
                <a:gd name="connsiteY333" fmla="*/ 27337 h 1049655"/>
                <a:gd name="connsiteX334" fmla="*/ 394240 w 1216913"/>
                <a:gd name="connsiteY334" fmla="*/ 28575 h 1049655"/>
                <a:gd name="connsiteX335" fmla="*/ 392335 w 1216913"/>
                <a:gd name="connsiteY335" fmla="*/ 25622 h 1049655"/>
                <a:gd name="connsiteX336" fmla="*/ 387382 w 1216913"/>
                <a:gd name="connsiteY336" fmla="*/ 24670 h 1049655"/>
                <a:gd name="connsiteX337" fmla="*/ 381952 w 1216913"/>
                <a:gd name="connsiteY337" fmla="*/ 7715 h 1049655"/>
                <a:gd name="connsiteX338" fmla="*/ 366617 w 1216913"/>
                <a:gd name="connsiteY338" fmla="*/ 0 h 1049655"/>
                <a:gd name="connsiteX339" fmla="*/ 358711 w 1216913"/>
                <a:gd name="connsiteY339" fmla="*/ 1048 h 1049655"/>
                <a:gd name="connsiteX340" fmla="*/ 360331 w 1216913"/>
                <a:gd name="connsiteY340" fmla="*/ 13621 h 1049655"/>
                <a:gd name="connsiteX341" fmla="*/ 358330 w 1216913"/>
                <a:gd name="connsiteY341" fmla="*/ 23527 h 1049655"/>
                <a:gd name="connsiteX342" fmla="*/ 360521 w 1216913"/>
                <a:gd name="connsiteY342" fmla="*/ 28099 h 1049655"/>
                <a:gd name="connsiteX343" fmla="*/ 360712 w 1216913"/>
                <a:gd name="connsiteY343" fmla="*/ 29623 h 1049655"/>
                <a:gd name="connsiteX344" fmla="*/ 359378 w 1216913"/>
                <a:gd name="connsiteY344" fmla="*/ 31432 h 1049655"/>
                <a:gd name="connsiteX345" fmla="*/ 340614 w 1216913"/>
                <a:gd name="connsiteY345" fmla="*/ 48196 h 1049655"/>
                <a:gd name="connsiteX346" fmla="*/ 335375 w 1216913"/>
                <a:gd name="connsiteY346" fmla="*/ 56959 h 1049655"/>
                <a:gd name="connsiteX347" fmla="*/ 323279 w 1216913"/>
                <a:gd name="connsiteY347" fmla="*/ 63246 h 1049655"/>
                <a:gd name="connsiteX348" fmla="*/ 312706 w 1216913"/>
                <a:gd name="connsiteY348" fmla="*/ 67818 h 1049655"/>
                <a:gd name="connsiteX349" fmla="*/ 309753 w 1216913"/>
                <a:gd name="connsiteY349" fmla="*/ 69818 h 1049655"/>
                <a:gd name="connsiteX350" fmla="*/ 303181 w 1216913"/>
                <a:gd name="connsiteY350" fmla="*/ 69056 h 1049655"/>
                <a:gd name="connsiteX351" fmla="*/ 302800 w 1216913"/>
                <a:gd name="connsiteY351" fmla="*/ 65913 h 1049655"/>
                <a:gd name="connsiteX352" fmla="*/ 299466 w 1216913"/>
                <a:gd name="connsiteY352" fmla="*/ 64675 h 1049655"/>
                <a:gd name="connsiteX353" fmla="*/ 298609 w 1216913"/>
                <a:gd name="connsiteY353" fmla="*/ 58388 h 1049655"/>
                <a:gd name="connsiteX354" fmla="*/ 295084 w 1216913"/>
                <a:gd name="connsiteY354" fmla="*/ 55626 h 1049655"/>
                <a:gd name="connsiteX355" fmla="*/ 287179 w 1216913"/>
                <a:gd name="connsiteY355" fmla="*/ 56674 h 1049655"/>
                <a:gd name="connsiteX356" fmla="*/ 285845 w 1216913"/>
                <a:gd name="connsiteY356" fmla="*/ 58388 h 1049655"/>
                <a:gd name="connsiteX357" fmla="*/ 279749 w 1216913"/>
                <a:gd name="connsiteY357" fmla="*/ 60865 h 1049655"/>
                <a:gd name="connsiteX358" fmla="*/ 275558 w 1216913"/>
                <a:gd name="connsiteY358" fmla="*/ 66199 h 1049655"/>
                <a:gd name="connsiteX359" fmla="*/ 272224 w 1216913"/>
                <a:gd name="connsiteY359" fmla="*/ 64960 h 1049655"/>
                <a:gd name="connsiteX360" fmla="*/ 266129 w 1216913"/>
                <a:gd name="connsiteY360" fmla="*/ 67342 h 1049655"/>
                <a:gd name="connsiteX361" fmla="*/ 261175 w 1216913"/>
                <a:gd name="connsiteY361" fmla="*/ 66389 h 1049655"/>
                <a:gd name="connsiteX362" fmla="*/ 256032 w 1216913"/>
                <a:gd name="connsiteY362" fmla="*/ 63817 h 1049655"/>
                <a:gd name="connsiteX363" fmla="*/ 251079 w 1216913"/>
                <a:gd name="connsiteY363" fmla="*/ 62865 h 1049655"/>
                <a:gd name="connsiteX364" fmla="*/ 249364 w 1216913"/>
                <a:gd name="connsiteY364" fmla="*/ 61436 h 1049655"/>
                <a:gd name="connsiteX365" fmla="*/ 244602 w 1216913"/>
                <a:gd name="connsiteY365" fmla="*/ 62103 h 1049655"/>
                <a:gd name="connsiteX366" fmla="*/ 228409 w 1216913"/>
                <a:gd name="connsiteY366" fmla="*/ 60960 h 1049655"/>
                <a:gd name="connsiteX367" fmla="*/ 214789 w 1216913"/>
                <a:gd name="connsiteY367" fmla="*/ 67437 h 1049655"/>
                <a:gd name="connsiteX368" fmla="*/ 211836 w 1216913"/>
                <a:gd name="connsiteY368" fmla="*/ 69437 h 1049655"/>
                <a:gd name="connsiteX369" fmla="*/ 210121 w 1216913"/>
                <a:gd name="connsiteY369" fmla="*/ 68104 h 1049655"/>
                <a:gd name="connsiteX370" fmla="*/ 205740 w 1216913"/>
                <a:gd name="connsiteY370" fmla="*/ 71819 h 1049655"/>
                <a:gd name="connsiteX371" fmla="*/ 202216 w 1216913"/>
                <a:gd name="connsiteY371" fmla="*/ 69056 h 1049655"/>
                <a:gd name="connsiteX372" fmla="*/ 200596 w 1216913"/>
                <a:gd name="connsiteY372" fmla="*/ 69247 h 1049655"/>
                <a:gd name="connsiteX373" fmla="*/ 202025 w 1216913"/>
                <a:gd name="connsiteY373" fmla="*/ 80296 h 1049655"/>
                <a:gd name="connsiteX374" fmla="*/ 200882 w 1216913"/>
                <a:gd name="connsiteY374" fmla="*/ 83725 h 1049655"/>
                <a:gd name="connsiteX375" fmla="*/ 196310 w 1216913"/>
                <a:gd name="connsiteY375" fmla="*/ 85915 h 1049655"/>
                <a:gd name="connsiteX376" fmla="*/ 190405 w 1216913"/>
                <a:gd name="connsiteY376" fmla="*/ 89821 h 1049655"/>
                <a:gd name="connsiteX377" fmla="*/ 183451 w 1216913"/>
                <a:gd name="connsiteY377" fmla="*/ 85915 h 1049655"/>
                <a:gd name="connsiteX378" fmla="*/ 181927 w 1216913"/>
                <a:gd name="connsiteY378" fmla="*/ 98965 h 1049655"/>
                <a:gd name="connsiteX379" fmla="*/ 179546 w 1216913"/>
                <a:gd name="connsiteY379" fmla="*/ 105632 h 1049655"/>
                <a:gd name="connsiteX380" fmla="*/ 182404 w 1216913"/>
                <a:gd name="connsiteY380" fmla="*/ 114967 h 1049655"/>
                <a:gd name="connsiteX381" fmla="*/ 181546 w 1216913"/>
                <a:gd name="connsiteY381" fmla="*/ 121444 h 1049655"/>
                <a:gd name="connsiteX382" fmla="*/ 182404 w 1216913"/>
                <a:gd name="connsiteY382" fmla="*/ 127730 h 1049655"/>
                <a:gd name="connsiteX383" fmla="*/ 179641 w 1216913"/>
                <a:gd name="connsiteY383" fmla="*/ 131350 h 1049655"/>
                <a:gd name="connsiteX384" fmla="*/ 180213 w 1216913"/>
                <a:gd name="connsiteY384" fmla="*/ 136017 h 1049655"/>
                <a:gd name="connsiteX385" fmla="*/ 174307 w 1216913"/>
                <a:gd name="connsiteY385" fmla="*/ 140017 h 1049655"/>
                <a:gd name="connsiteX386" fmla="*/ 166021 w 1216913"/>
                <a:gd name="connsiteY386" fmla="*/ 137827 h 1049655"/>
                <a:gd name="connsiteX387" fmla="*/ 163068 w 1216913"/>
                <a:gd name="connsiteY387" fmla="*/ 139827 h 1049655"/>
                <a:gd name="connsiteX388" fmla="*/ 157734 w 1216913"/>
                <a:gd name="connsiteY388" fmla="*/ 135731 h 1049655"/>
                <a:gd name="connsiteX389" fmla="*/ 150019 w 1216913"/>
                <a:gd name="connsiteY389" fmla="*/ 125444 h 1049655"/>
                <a:gd name="connsiteX390" fmla="*/ 148209 w 1216913"/>
                <a:gd name="connsiteY390" fmla="*/ 124111 h 1049655"/>
                <a:gd name="connsiteX391" fmla="*/ 144971 w 1216913"/>
                <a:gd name="connsiteY391" fmla="*/ 135731 h 1049655"/>
                <a:gd name="connsiteX392" fmla="*/ 136493 w 1216913"/>
                <a:gd name="connsiteY392" fmla="*/ 144780 h 1049655"/>
                <a:gd name="connsiteX393" fmla="*/ 129159 w 1216913"/>
                <a:gd name="connsiteY393" fmla="*/ 163354 h 1049655"/>
                <a:gd name="connsiteX394" fmla="*/ 121920 w 1216913"/>
                <a:gd name="connsiteY394" fmla="*/ 169164 h 1049655"/>
                <a:gd name="connsiteX395" fmla="*/ 108299 w 1216913"/>
                <a:gd name="connsiteY395" fmla="*/ 162877 h 1049655"/>
                <a:gd name="connsiteX396" fmla="*/ 102394 w 1216913"/>
                <a:gd name="connsiteY396" fmla="*/ 166783 h 1049655"/>
                <a:gd name="connsiteX397" fmla="*/ 98488 w 1216913"/>
                <a:gd name="connsiteY397" fmla="*/ 173736 h 1049655"/>
                <a:gd name="connsiteX398" fmla="*/ 99250 w 1216913"/>
                <a:gd name="connsiteY398" fmla="*/ 180023 h 1049655"/>
                <a:gd name="connsiteX399" fmla="*/ 94964 w 1216913"/>
                <a:gd name="connsiteY399" fmla="*/ 183832 h 1049655"/>
                <a:gd name="connsiteX400" fmla="*/ 91916 w 1216913"/>
                <a:gd name="connsiteY400" fmla="*/ 185738 h 1049655"/>
                <a:gd name="connsiteX401" fmla="*/ 86582 w 1216913"/>
                <a:gd name="connsiteY401" fmla="*/ 181642 h 1049655"/>
                <a:gd name="connsiteX402" fmla="*/ 81534 w 1216913"/>
                <a:gd name="connsiteY402" fmla="*/ 191929 h 1049655"/>
                <a:gd name="connsiteX403" fmla="*/ 77343 w 1216913"/>
                <a:gd name="connsiteY403" fmla="*/ 197263 h 1049655"/>
                <a:gd name="connsiteX404" fmla="*/ 69342 w 1216913"/>
                <a:gd name="connsiteY404" fmla="*/ 209550 h 1049655"/>
                <a:gd name="connsiteX405" fmla="*/ 66199 w 1216913"/>
                <a:gd name="connsiteY405" fmla="*/ 209931 h 1049655"/>
                <a:gd name="connsiteX406" fmla="*/ 55912 w 1216913"/>
                <a:gd name="connsiteY406" fmla="*/ 217646 h 1049655"/>
                <a:gd name="connsiteX407" fmla="*/ 58483 w 1216913"/>
                <a:gd name="connsiteY407" fmla="*/ 225361 h 1049655"/>
                <a:gd name="connsiteX408" fmla="*/ 59912 w 1216913"/>
                <a:gd name="connsiteY408" fmla="*/ 236411 h 1049655"/>
                <a:gd name="connsiteX409" fmla="*/ 63913 w 1216913"/>
                <a:gd name="connsiteY409" fmla="*/ 242316 h 1049655"/>
                <a:gd name="connsiteX410" fmla="*/ 59912 w 1216913"/>
                <a:gd name="connsiteY410" fmla="*/ 249174 h 1049655"/>
                <a:gd name="connsiteX411" fmla="*/ 44196 w 1216913"/>
                <a:gd name="connsiteY411" fmla="*/ 264033 h 1049655"/>
                <a:gd name="connsiteX412" fmla="*/ 51721 w 1216913"/>
                <a:gd name="connsiteY412" fmla="*/ 285559 h 1049655"/>
                <a:gd name="connsiteX413" fmla="*/ 51340 w 1216913"/>
                <a:gd name="connsiteY413" fmla="*/ 295180 h 1049655"/>
                <a:gd name="connsiteX414" fmla="*/ 53721 w 1216913"/>
                <a:gd name="connsiteY414" fmla="*/ 301276 h 1049655"/>
                <a:gd name="connsiteX415" fmla="*/ 54769 w 1216913"/>
                <a:gd name="connsiteY415" fmla="*/ 309182 h 1049655"/>
                <a:gd name="connsiteX416" fmla="*/ 47530 w 1216913"/>
                <a:gd name="connsiteY416" fmla="*/ 327755 h 1049655"/>
                <a:gd name="connsiteX417" fmla="*/ 39814 w 1216913"/>
                <a:gd name="connsiteY417" fmla="*/ 330327 h 1049655"/>
                <a:gd name="connsiteX418" fmla="*/ 37242 w 1216913"/>
                <a:gd name="connsiteY418" fmla="*/ 335471 h 1049655"/>
                <a:gd name="connsiteX419" fmla="*/ 31718 w 1216913"/>
                <a:gd name="connsiteY419" fmla="*/ 342614 h 1049655"/>
                <a:gd name="connsiteX420" fmla="*/ 24098 w 1216913"/>
                <a:gd name="connsiteY420" fmla="*/ 345186 h 1049655"/>
                <a:gd name="connsiteX421" fmla="*/ 19526 w 1216913"/>
                <a:gd name="connsiteY421" fmla="*/ 360140 h 1049655"/>
                <a:gd name="connsiteX422" fmla="*/ 11049 w 1216913"/>
                <a:gd name="connsiteY422" fmla="*/ 369284 h 1049655"/>
                <a:gd name="connsiteX423" fmla="*/ 12668 w 1216913"/>
                <a:gd name="connsiteY423" fmla="*/ 381857 h 1049655"/>
                <a:gd name="connsiteX424" fmla="*/ 15049 w 1216913"/>
                <a:gd name="connsiteY424" fmla="*/ 388048 h 1049655"/>
                <a:gd name="connsiteX425" fmla="*/ 14288 w 1216913"/>
                <a:gd name="connsiteY425" fmla="*/ 394526 h 1049655"/>
                <a:gd name="connsiteX426" fmla="*/ 5429 w 1216913"/>
                <a:gd name="connsiteY426" fmla="*/ 400431 h 1049655"/>
                <a:gd name="connsiteX427" fmla="*/ 3905 w 1216913"/>
                <a:gd name="connsiteY427" fmla="*/ 400622 h 1049655"/>
                <a:gd name="connsiteX428" fmla="*/ 6286 w 1216913"/>
                <a:gd name="connsiteY428" fmla="*/ 406813 h 1049655"/>
                <a:gd name="connsiteX429" fmla="*/ 14764 w 1216913"/>
                <a:gd name="connsiteY429" fmla="*/ 410528 h 1049655"/>
                <a:gd name="connsiteX430" fmla="*/ 29432 w 1216913"/>
                <a:gd name="connsiteY430" fmla="*/ 424720 h 1049655"/>
                <a:gd name="connsiteX431" fmla="*/ 33528 w 1216913"/>
                <a:gd name="connsiteY431" fmla="*/ 432149 h 1049655"/>
                <a:gd name="connsiteX432" fmla="*/ 33718 w 1216913"/>
                <a:gd name="connsiteY432" fmla="*/ 433769 h 1049655"/>
                <a:gd name="connsiteX433" fmla="*/ 36100 w 1216913"/>
                <a:gd name="connsiteY433" fmla="*/ 439865 h 1049655"/>
                <a:gd name="connsiteX434" fmla="*/ 33338 w 1216913"/>
                <a:gd name="connsiteY434" fmla="*/ 443389 h 1049655"/>
                <a:gd name="connsiteX435" fmla="*/ 35338 w 1216913"/>
                <a:gd name="connsiteY435" fmla="*/ 446341 h 1049655"/>
                <a:gd name="connsiteX436" fmla="*/ 32766 w 1216913"/>
                <a:gd name="connsiteY436" fmla="*/ 451485 h 1049655"/>
                <a:gd name="connsiteX437" fmla="*/ 31051 w 1216913"/>
                <a:gd name="connsiteY437" fmla="*/ 450152 h 1049655"/>
                <a:gd name="connsiteX438" fmla="*/ 28861 w 1216913"/>
                <a:gd name="connsiteY438" fmla="*/ 458438 h 1049655"/>
                <a:gd name="connsiteX439" fmla="*/ 22574 w 1216913"/>
                <a:gd name="connsiteY439" fmla="*/ 459200 h 1049655"/>
                <a:gd name="connsiteX440" fmla="*/ 21622 w 1216913"/>
                <a:gd name="connsiteY440" fmla="*/ 464153 h 1049655"/>
                <a:gd name="connsiteX441" fmla="*/ 17050 w 1216913"/>
                <a:gd name="connsiteY441" fmla="*/ 466344 h 1049655"/>
                <a:gd name="connsiteX442" fmla="*/ 17431 w 1216913"/>
                <a:gd name="connsiteY442" fmla="*/ 469487 h 1049655"/>
                <a:gd name="connsiteX443" fmla="*/ 9811 w 1216913"/>
                <a:gd name="connsiteY443" fmla="*/ 472059 h 1049655"/>
                <a:gd name="connsiteX444" fmla="*/ 12097 w 1216913"/>
                <a:gd name="connsiteY444" fmla="*/ 478155 h 1049655"/>
                <a:gd name="connsiteX445" fmla="*/ 10954 w 1216913"/>
                <a:gd name="connsiteY445" fmla="*/ 481584 h 1049655"/>
                <a:gd name="connsiteX446" fmla="*/ 19240 w 1216913"/>
                <a:gd name="connsiteY446" fmla="*/ 483679 h 1049655"/>
                <a:gd name="connsiteX447" fmla="*/ 16954 w 1216913"/>
                <a:gd name="connsiteY447" fmla="*/ 490442 h 1049655"/>
                <a:gd name="connsiteX448" fmla="*/ 17335 w 1216913"/>
                <a:gd name="connsiteY448" fmla="*/ 493586 h 1049655"/>
                <a:gd name="connsiteX449" fmla="*/ 15907 w 1216913"/>
                <a:gd name="connsiteY449" fmla="*/ 495395 h 1049655"/>
                <a:gd name="connsiteX450" fmla="*/ 14192 w 1216913"/>
                <a:gd name="connsiteY450" fmla="*/ 493966 h 1049655"/>
                <a:gd name="connsiteX451" fmla="*/ 13144 w 1216913"/>
                <a:gd name="connsiteY451" fmla="*/ 498919 h 1049655"/>
                <a:gd name="connsiteX452" fmla="*/ 13430 w 1216913"/>
                <a:gd name="connsiteY452" fmla="*/ 500539 h 1049655"/>
                <a:gd name="connsiteX453" fmla="*/ 7715 w 1216913"/>
                <a:gd name="connsiteY453" fmla="*/ 506063 h 1049655"/>
                <a:gd name="connsiteX454" fmla="*/ 6477 w 1216913"/>
                <a:gd name="connsiteY454" fmla="*/ 509397 h 1049655"/>
                <a:gd name="connsiteX455" fmla="*/ 1714 w 1216913"/>
                <a:gd name="connsiteY455" fmla="*/ 509969 h 1049655"/>
                <a:gd name="connsiteX456" fmla="*/ 4191 w 1216913"/>
                <a:gd name="connsiteY456" fmla="*/ 516065 h 1049655"/>
                <a:gd name="connsiteX457" fmla="*/ 952 w 1216913"/>
                <a:gd name="connsiteY457" fmla="*/ 516541 h 1049655"/>
                <a:gd name="connsiteX458" fmla="*/ 0 w 1216913"/>
                <a:gd name="connsiteY458" fmla="*/ 521398 h 1049655"/>
                <a:gd name="connsiteX459" fmla="*/ 8477 w 1216913"/>
                <a:gd name="connsiteY459" fmla="*/ 525208 h 1049655"/>
                <a:gd name="connsiteX460" fmla="*/ 10858 w 1216913"/>
                <a:gd name="connsiteY460" fmla="*/ 531304 h 1049655"/>
                <a:gd name="connsiteX461" fmla="*/ 10287 w 1216913"/>
                <a:gd name="connsiteY461" fmla="*/ 539401 h 1049655"/>
                <a:gd name="connsiteX462" fmla="*/ 12859 w 1216913"/>
                <a:gd name="connsiteY462" fmla="*/ 534257 h 1049655"/>
                <a:gd name="connsiteX463" fmla="*/ 16192 w 1216913"/>
                <a:gd name="connsiteY463" fmla="*/ 535400 h 1049655"/>
                <a:gd name="connsiteX464" fmla="*/ 18192 w 1216913"/>
                <a:gd name="connsiteY464" fmla="*/ 538353 h 1049655"/>
                <a:gd name="connsiteX465" fmla="*/ 19050 w 1216913"/>
                <a:gd name="connsiteY465" fmla="*/ 544640 h 1049655"/>
                <a:gd name="connsiteX466" fmla="*/ 23622 w 1216913"/>
                <a:gd name="connsiteY466" fmla="*/ 555307 h 1049655"/>
                <a:gd name="connsiteX467" fmla="*/ 26956 w 1216913"/>
                <a:gd name="connsiteY467" fmla="*/ 556546 h 1049655"/>
                <a:gd name="connsiteX468" fmla="*/ 29146 w 1216913"/>
                <a:gd name="connsiteY468" fmla="*/ 561023 h 1049655"/>
                <a:gd name="connsiteX469" fmla="*/ 36195 w 1216913"/>
                <a:gd name="connsiteY469" fmla="*/ 553688 h 1049655"/>
                <a:gd name="connsiteX470" fmla="*/ 39338 w 1216913"/>
                <a:gd name="connsiteY470" fmla="*/ 553307 h 1049655"/>
                <a:gd name="connsiteX471" fmla="*/ 44291 w 1216913"/>
                <a:gd name="connsiteY471" fmla="*/ 554260 h 1049655"/>
                <a:gd name="connsiteX472" fmla="*/ 43720 w 1216913"/>
                <a:gd name="connsiteY472" fmla="*/ 549593 h 1049655"/>
                <a:gd name="connsiteX473" fmla="*/ 45053 w 1216913"/>
                <a:gd name="connsiteY473" fmla="*/ 547783 h 1049655"/>
                <a:gd name="connsiteX474" fmla="*/ 50197 w 1216913"/>
                <a:gd name="connsiteY474" fmla="*/ 550354 h 1049655"/>
                <a:gd name="connsiteX475" fmla="*/ 53911 w 1216913"/>
                <a:gd name="connsiteY475" fmla="*/ 541877 h 1049655"/>
                <a:gd name="connsiteX476" fmla="*/ 57055 w 1216913"/>
                <a:gd name="connsiteY476" fmla="*/ 541401 h 1049655"/>
                <a:gd name="connsiteX477" fmla="*/ 54578 w 1216913"/>
                <a:gd name="connsiteY477" fmla="*/ 559403 h 1049655"/>
                <a:gd name="connsiteX478" fmla="*/ 48482 w 1216913"/>
                <a:gd name="connsiteY478" fmla="*/ 574643 h 1049655"/>
                <a:gd name="connsiteX479" fmla="*/ 46101 w 1216913"/>
                <a:gd name="connsiteY479" fmla="*/ 581311 h 1049655"/>
                <a:gd name="connsiteX480" fmla="*/ 49244 w 1216913"/>
                <a:gd name="connsiteY480" fmla="*/ 580930 h 1049655"/>
                <a:gd name="connsiteX481" fmla="*/ 49721 w 1216913"/>
                <a:gd name="connsiteY481" fmla="*/ 584073 h 1049655"/>
                <a:gd name="connsiteX482" fmla="*/ 51435 w 1216913"/>
                <a:gd name="connsiteY482" fmla="*/ 585407 h 1049655"/>
                <a:gd name="connsiteX483" fmla="*/ 51911 w 1216913"/>
                <a:gd name="connsiteY483" fmla="*/ 588645 h 1049655"/>
                <a:gd name="connsiteX484" fmla="*/ 53245 w 1216913"/>
                <a:gd name="connsiteY484" fmla="*/ 586835 h 1049655"/>
                <a:gd name="connsiteX485" fmla="*/ 56197 w 1216913"/>
                <a:gd name="connsiteY485" fmla="*/ 584835 h 1049655"/>
                <a:gd name="connsiteX486" fmla="*/ 58007 w 1216913"/>
                <a:gd name="connsiteY486" fmla="*/ 586264 h 1049655"/>
                <a:gd name="connsiteX487" fmla="*/ 59531 w 1216913"/>
                <a:gd name="connsiteY487" fmla="*/ 585978 h 1049655"/>
                <a:gd name="connsiteX488" fmla="*/ 59150 w 1216913"/>
                <a:gd name="connsiteY488" fmla="*/ 582835 h 1049655"/>
                <a:gd name="connsiteX489" fmla="*/ 62293 w 1216913"/>
                <a:gd name="connsiteY489" fmla="*/ 582454 h 1049655"/>
                <a:gd name="connsiteX490" fmla="*/ 63532 w 1216913"/>
                <a:gd name="connsiteY490" fmla="*/ 579120 h 1049655"/>
                <a:gd name="connsiteX491" fmla="*/ 65437 w 1216913"/>
                <a:gd name="connsiteY491" fmla="*/ 582073 h 1049655"/>
                <a:gd name="connsiteX492" fmla="*/ 70009 w 1216913"/>
                <a:gd name="connsiteY492" fmla="*/ 579882 h 1049655"/>
                <a:gd name="connsiteX493" fmla="*/ 73533 w 1216913"/>
                <a:gd name="connsiteY493" fmla="*/ 582644 h 1049655"/>
                <a:gd name="connsiteX494" fmla="*/ 76486 w 1216913"/>
                <a:gd name="connsiteY494" fmla="*/ 580644 h 1049655"/>
                <a:gd name="connsiteX495" fmla="*/ 78867 w 1216913"/>
                <a:gd name="connsiteY495" fmla="*/ 586740 h 1049655"/>
                <a:gd name="connsiteX496" fmla="*/ 85439 w 1216913"/>
                <a:gd name="connsiteY496" fmla="*/ 587502 h 1049655"/>
                <a:gd name="connsiteX497" fmla="*/ 88963 w 1216913"/>
                <a:gd name="connsiteY497" fmla="*/ 590264 h 1049655"/>
                <a:gd name="connsiteX498" fmla="*/ 93535 w 1216913"/>
                <a:gd name="connsiteY498" fmla="*/ 588074 h 1049655"/>
                <a:gd name="connsiteX499" fmla="*/ 95536 w 1216913"/>
                <a:gd name="connsiteY499" fmla="*/ 591026 h 1049655"/>
                <a:gd name="connsiteX500" fmla="*/ 96107 w 1216913"/>
                <a:gd name="connsiteY500" fmla="*/ 595789 h 1049655"/>
                <a:gd name="connsiteX501" fmla="*/ 97250 w 1216913"/>
                <a:gd name="connsiteY501" fmla="*/ 592455 h 1049655"/>
                <a:gd name="connsiteX502" fmla="*/ 98869 w 1216913"/>
                <a:gd name="connsiteY502" fmla="*/ 592265 h 1049655"/>
                <a:gd name="connsiteX503" fmla="*/ 104204 w 1216913"/>
                <a:gd name="connsiteY503" fmla="*/ 596360 h 1049655"/>
                <a:gd name="connsiteX504" fmla="*/ 104394 w 1216913"/>
                <a:gd name="connsiteY504" fmla="*/ 597979 h 1049655"/>
                <a:gd name="connsiteX505" fmla="*/ 104584 w 1216913"/>
                <a:gd name="connsiteY505" fmla="*/ 599503 h 1049655"/>
                <a:gd name="connsiteX506" fmla="*/ 109538 w 1216913"/>
                <a:gd name="connsiteY506" fmla="*/ 600551 h 1049655"/>
                <a:gd name="connsiteX507" fmla="*/ 115633 w 1216913"/>
                <a:gd name="connsiteY507" fmla="*/ 598075 h 1049655"/>
                <a:gd name="connsiteX508" fmla="*/ 127254 w 1216913"/>
                <a:gd name="connsiteY508" fmla="*/ 601408 h 1049655"/>
                <a:gd name="connsiteX509" fmla="*/ 126301 w 1216913"/>
                <a:gd name="connsiteY509" fmla="*/ 606361 h 1049655"/>
                <a:gd name="connsiteX510" fmla="*/ 128302 w 1216913"/>
                <a:gd name="connsiteY510" fmla="*/ 609314 h 1049655"/>
                <a:gd name="connsiteX511" fmla="*/ 130873 w 1216913"/>
                <a:gd name="connsiteY511" fmla="*/ 604171 h 1049655"/>
                <a:gd name="connsiteX512" fmla="*/ 133636 w 1216913"/>
                <a:gd name="connsiteY512" fmla="*/ 600647 h 1049655"/>
                <a:gd name="connsiteX513" fmla="*/ 143065 w 1216913"/>
                <a:gd name="connsiteY513" fmla="*/ 599408 h 1049655"/>
                <a:gd name="connsiteX514" fmla="*/ 150400 w 1216913"/>
                <a:gd name="connsiteY514" fmla="*/ 593693 h 1049655"/>
                <a:gd name="connsiteX515" fmla="*/ 157829 w 1216913"/>
                <a:gd name="connsiteY515" fmla="*/ 602361 h 1049655"/>
                <a:gd name="connsiteX516" fmla="*/ 159258 w 1216913"/>
                <a:gd name="connsiteY516" fmla="*/ 600551 h 1049655"/>
                <a:gd name="connsiteX517" fmla="*/ 161258 w 1216913"/>
                <a:gd name="connsiteY517" fmla="*/ 603504 h 1049655"/>
                <a:gd name="connsiteX518" fmla="*/ 172688 w 1216913"/>
                <a:gd name="connsiteY518" fmla="*/ 618077 h 1049655"/>
                <a:gd name="connsiteX519" fmla="*/ 174688 w 1216913"/>
                <a:gd name="connsiteY519" fmla="*/ 621030 h 1049655"/>
                <a:gd name="connsiteX520" fmla="*/ 177832 w 1216913"/>
                <a:gd name="connsiteY520" fmla="*/ 620649 h 1049655"/>
                <a:gd name="connsiteX521" fmla="*/ 180022 w 1216913"/>
                <a:gd name="connsiteY521" fmla="*/ 625221 h 1049655"/>
                <a:gd name="connsiteX522" fmla="*/ 186976 w 1216913"/>
                <a:gd name="connsiteY522" fmla="*/ 629126 h 1049655"/>
                <a:gd name="connsiteX523" fmla="*/ 189357 w 1216913"/>
                <a:gd name="connsiteY523" fmla="*/ 635222 h 1049655"/>
                <a:gd name="connsiteX524" fmla="*/ 186404 w 1216913"/>
                <a:gd name="connsiteY524" fmla="*/ 637223 h 1049655"/>
                <a:gd name="connsiteX525" fmla="*/ 186785 w 1216913"/>
                <a:gd name="connsiteY525" fmla="*/ 640366 h 1049655"/>
                <a:gd name="connsiteX526" fmla="*/ 193929 w 1216913"/>
                <a:gd name="connsiteY526" fmla="*/ 645890 h 1049655"/>
                <a:gd name="connsiteX527" fmla="*/ 195834 w 1216913"/>
                <a:gd name="connsiteY527" fmla="*/ 648843 h 1049655"/>
                <a:gd name="connsiteX528" fmla="*/ 189738 w 1216913"/>
                <a:gd name="connsiteY528" fmla="*/ 651224 h 1049655"/>
                <a:gd name="connsiteX529" fmla="*/ 196882 w 1216913"/>
                <a:gd name="connsiteY529" fmla="*/ 656749 h 1049655"/>
                <a:gd name="connsiteX530" fmla="*/ 199072 w 1216913"/>
                <a:gd name="connsiteY530" fmla="*/ 661226 h 1049655"/>
                <a:gd name="connsiteX531" fmla="*/ 198691 w 1216913"/>
                <a:gd name="connsiteY531" fmla="*/ 658082 h 1049655"/>
                <a:gd name="connsiteX532" fmla="*/ 203359 w 1216913"/>
                <a:gd name="connsiteY532" fmla="*/ 657511 h 1049655"/>
                <a:gd name="connsiteX533" fmla="*/ 207740 w 1216913"/>
                <a:gd name="connsiteY533" fmla="*/ 653701 h 1049655"/>
                <a:gd name="connsiteX534" fmla="*/ 215170 w 1216913"/>
                <a:gd name="connsiteY534" fmla="*/ 649605 h 1049655"/>
                <a:gd name="connsiteX535" fmla="*/ 230219 w 1216913"/>
                <a:gd name="connsiteY535" fmla="*/ 654082 h 1049655"/>
                <a:gd name="connsiteX536" fmla="*/ 235363 w 1216913"/>
                <a:gd name="connsiteY536" fmla="*/ 656653 h 1049655"/>
                <a:gd name="connsiteX537" fmla="*/ 238125 w 1216913"/>
                <a:gd name="connsiteY537" fmla="*/ 653034 h 1049655"/>
                <a:gd name="connsiteX538" fmla="*/ 241459 w 1216913"/>
                <a:gd name="connsiteY538" fmla="*/ 654272 h 1049655"/>
                <a:gd name="connsiteX539" fmla="*/ 249746 w 1216913"/>
                <a:gd name="connsiteY539" fmla="*/ 669227 h 1049655"/>
                <a:gd name="connsiteX540" fmla="*/ 253174 w 1216913"/>
                <a:gd name="connsiteY540" fmla="*/ 670370 h 1049655"/>
                <a:gd name="connsiteX541" fmla="*/ 266319 w 1216913"/>
                <a:gd name="connsiteY541" fmla="*/ 673513 h 1049655"/>
                <a:gd name="connsiteX542" fmla="*/ 274225 w 1216913"/>
                <a:gd name="connsiteY542" fmla="*/ 659702 h 1049655"/>
                <a:gd name="connsiteX543" fmla="*/ 272415 w 1216913"/>
                <a:gd name="connsiteY543" fmla="*/ 658368 h 1049655"/>
                <a:gd name="connsiteX544" fmla="*/ 273653 w 1216913"/>
                <a:gd name="connsiteY544" fmla="*/ 654939 h 1049655"/>
                <a:gd name="connsiteX545" fmla="*/ 276225 w 1216913"/>
                <a:gd name="connsiteY545" fmla="*/ 649795 h 1049655"/>
                <a:gd name="connsiteX546" fmla="*/ 279559 w 1216913"/>
                <a:gd name="connsiteY546" fmla="*/ 651034 h 1049655"/>
                <a:gd name="connsiteX547" fmla="*/ 281559 w 1216913"/>
                <a:gd name="connsiteY547" fmla="*/ 653986 h 1049655"/>
                <a:gd name="connsiteX548" fmla="*/ 289846 w 1216913"/>
                <a:gd name="connsiteY548" fmla="*/ 656082 h 1049655"/>
                <a:gd name="connsiteX549" fmla="*/ 298323 w 1216913"/>
                <a:gd name="connsiteY549" fmla="*/ 659797 h 1049655"/>
                <a:gd name="connsiteX550" fmla="*/ 310134 w 1216913"/>
                <a:gd name="connsiteY550" fmla="*/ 677608 h 1049655"/>
                <a:gd name="connsiteX551" fmla="*/ 316897 w 1216913"/>
                <a:gd name="connsiteY551" fmla="*/ 679895 h 1049655"/>
                <a:gd name="connsiteX552" fmla="*/ 329565 w 1216913"/>
                <a:gd name="connsiteY552" fmla="*/ 678275 h 1049655"/>
                <a:gd name="connsiteX553" fmla="*/ 330327 w 1216913"/>
                <a:gd name="connsiteY553" fmla="*/ 671798 h 1049655"/>
                <a:gd name="connsiteX554" fmla="*/ 336423 w 1216913"/>
                <a:gd name="connsiteY554" fmla="*/ 669417 h 1049655"/>
                <a:gd name="connsiteX555" fmla="*/ 340519 w 1216913"/>
                <a:gd name="connsiteY555" fmla="*/ 664083 h 1049655"/>
                <a:gd name="connsiteX556" fmla="*/ 343852 w 1216913"/>
                <a:gd name="connsiteY556" fmla="*/ 665226 h 1049655"/>
                <a:gd name="connsiteX557" fmla="*/ 346234 w 1216913"/>
                <a:gd name="connsiteY557" fmla="*/ 658558 h 1049655"/>
                <a:gd name="connsiteX558" fmla="*/ 354901 w 1216913"/>
                <a:gd name="connsiteY558" fmla="*/ 663893 h 1049655"/>
                <a:gd name="connsiteX559" fmla="*/ 359664 w 1216913"/>
                <a:gd name="connsiteY559" fmla="*/ 663226 h 1049655"/>
                <a:gd name="connsiteX560" fmla="*/ 365569 w 1216913"/>
                <a:gd name="connsiteY560" fmla="*/ 672084 h 1049655"/>
                <a:gd name="connsiteX561" fmla="*/ 371761 w 1216913"/>
                <a:gd name="connsiteY561" fmla="*/ 669703 h 1049655"/>
                <a:gd name="connsiteX562" fmla="*/ 375094 w 1216913"/>
                <a:gd name="connsiteY562" fmla="*/ 670941 h 1049655"/>
                <a:gd name="connsiteX563" fmla="*/ 378619 w 1216913"/>
                <a:gd name="connsiteY563" fmla="*/ 673703 h 1049655"/>
                <a:gd name="connsiteX564" fmla="*/ 376047 w 1216913"/>
                <a:gd name="connsiteY564" fmla="*/ 678847 h 1049655"/>
                <a:gd name="connsiteX565" fmla="*/ 379476 w 1216913"/>
                <a:gd name="connsiteY565" fmla="*/ 679990 h 1049655"/>
                <a:gd name="connsiteX566" fmla="*/ 381190 w 1216913"/>
                <a:gd name="connsiteY566" fmla="*/ 681323 h 1049655"/>
                <a:gd name="connsiteX567" fmla="*/ 384810 w 1216913"/>
                <a:gd name="connsiteY567" fmla="*/ 684086 h 1049655"/>
                <a:gd name="connsiteX568" fmla="*/ 387953 w 1216913"/>
                <a:gd name="connsiteY568" fmla="*/ 683704 h 1049655"/>
                <a:gd name="connsiteX569" fmla="*/ 390334 w 1216913"/>
                <a:gd name="connsiteY569" fmla="*/ 677037 h 1049655"/>
                <a:gd name="connsiteX570" fmla="*/ 391858 w 1216913"/>
                <a:gd name="connsiteY570" fmla="*/ 676751 h 1049655"/>
                <a:gd name="connsiteX571" fmla="*/ 391287 w 1216913"/>
                <a:gd name="connsiteY571" fmla="*/ 684848 h 1049655"/>
                <a:gd name="connsiteX572" fmla="*/ 393287 w 1216913"/>
                <a:gd name="connsiteY572" fmla="*/ 687800 h 1049655"/>
                <a:gd name="connsiteX573" fmla="*/ 391668 w 1216913"/>
                <a:gd name="connsiteY573" fmla="*/ 687991 h 1049655"/>
                <a:gd name="connsiteX574" fmla="*/ 390715 w 1216913"/>
                <a:gd name="connsiteY574" fmla="*/ 692944 h 1049655"/>
                <a:gd name="connsiteX575" fmla="*/ 389096 w 1216913"/>
                <a:gd name="connsiteY575" fmla="*/ 693134 h 1049655"/>
                <a:gd name="connsiteX576" fmla="*/ 382905 w 1216913"/>
                <a:gd name="connsiteY576" fmla="*/ 706755 h 1049655"/>
                <a:gd name="connsiteX577" fmla="*/ 381857 w 1216913"/>
                <a:gd name="connsiteY577" fmla="*/ 711708 h 1049655"/>
                <a:gd name="connsiteX578" fmla="*/ 385096 w 1216913"/>
                <a:gd name="connsiteY578" fmla="*/ 724186 h 1049655"/>
                <a:gd name="connsiteX579" fmla="*/ 386715 w 1216913"/>
                <a:gd name="connsiteY579" fmla="*/ 736759 h 1049655"/>
                <a:gd name="connsiteX580" fmla="*/ 389096 w 1216913"/>
                <a:gd name="connsiteY580" fmla="*/ 742855 h 1049655"/>
                <a:gd name="connsiteX581" fmla="*/ 409861 w 1216913"/>
                <a:gd name="connsiteY581" fmla="*/ 754666 h 1049655"/>
                <a:gd name="connsiteX582" fmla="*/ 410242 w 1216913"/>
                <a:gd name="connsiteY582" fmla="*/ 757809 h 1049655"/>
                <a:gd name="connsiteX583" fmla="*/ 411956 w 1216913"/>
                <a:gd name="connsiteY583" fmla="*/ 759238 h 1049655"/>
                <a:gd name="connsiteX584" fmla="*/ 414528 w 1216913"/>
                <a:gd name="connsiteY584" fmla="*/ 754094 h 1049655"/>
                <a:gd name="connsiteX585" fmla="*/ 416338 w 1216913"/>
                <a:gd name="connsiteY585" fmla="*/ 755428 h 1049655"/>
                <a:gd name="connsiteX586" fmla="*/ 417671 w 1216913"/>
                <a:gd name="connsiteY586" fmla="*/ 753713 h 1049655"/>
                <a:gd name="connsiteX587" fmla="*/ 419290 w 1216913"/>
                <a:gd name="connsiteY587" fmla="*/ 753523 h 1049655"/>
                <a:gd name="connsiteX588" fmla="*/ 419671 w 1216913"/>
                <a:gd name="connsiteY588" fmla="*/ 743807 h 1049655"/>
                <a:gd name="connsiteX589" fmla="*/ 422243 w 1216913"/>
                <a:gd name="connsiteY589" fmla="*/ 738664 h 1049655"/>
                <a:gd name="connsiteX590" fmla="*/ 422243 w 1216913"/>
                <a:gd name="connsiteY590" fmla="*/ 738664 h 1049655"/>
                <a:gd name="connsiteX591" fmla="*/ 429292 w 1216913"/>
                <a:gd name="connsiteY591" fmla="*/ 744188 h 1049655"/>
                <a:gd name="connsiteX592" fmla="*/ 437864 w 1216913"/>
                <a:gd name="connsiteY592" fmla="*/ 760762 h 1049655"/>
                <a:gd name="connsiteX593" fmla="*/ 448532 w 1216913"/>
                <a:gd name="connsiteY593" fmla="*/ 769049 h 1049655"/>
                <a:gd name="connsiteX594" fmla="*/ 444817 w 1216913"/>
                <a:gd name="connsiteY594" fmla="*/ 777526 h 1049655"/>
                <a:gd name="connsiteX595" fmla="*/ 450151 w 1216913"/>
                <a:gd name="connsiteY595" fmla="*/ 781622 h 1049655"/>
                <a:gd name="connsiteX596" fmla="*/ 451294 w 1216913"/>
                <a:gd name="connsiteY596" fmla="*/ 791051 h 1049655"/>
                <a:gd name="connsiteX597" fmla="*/ 453104 w 1216913"/>
                <a:gd name="connsiteY597" fmla="*/ 792480 h 1049655"/>
                <a:gd name="connsiteX598" fmla="*/ 455866 w 1216913"/>
                <a:gd name="connsiteY598" fmla="*/ 788956 h 1049655"/>
                <a:gd name="connsiteX599" fmla="*/ 459010 w 1216913"/>
                <a:gd name="connsiteY599" fmla="*/ 788479 h 1049655"/>
                <a:gd name="connsiteX600" fmla="*/ 464820 w 1216913"/>
                <a:gd name="connsiteY600" fmla="*/ 795814 h 1049655"/>
                <a:gd name="connsiteX601" fmla="*/ 473488 w 1216913"/>
                <a:gd name="connsiteY601" fmla="*/ 801148 h 1049655"/>
                <a:gd name="connsiteX602" fmla="*/ 479965 w 1216913"/>
                <a:gd name="connsiteY602" fmla="*/ 801910 h 1049655"/>
                <a:gd name="connsiteX603" fmla="*/ 484537 w 1216913"/>
                <a:gd name="connsiteY603" fmla="*/ 812482 h 1049655"/>
                <a:gd name="connsiteX604" fmla="*/ 490061 w 1216913"/>
                <a:gd name="connsiteY604" fmla="*/ 818198 h 1049655"/>
                <a:gd name="connsiteX605" fmla="*/ 493681 w 1216913"/>
                <a:gd name="connsiteY605" fmla="*/ 820960 h 1049655"/>
                <a:gd name="connsiteX606" fmla="*/ 495586 w 1216913"/>
                <a:gd name="connsiteY606" fmla="*/ 823912 h 1049655"/>
                <a:gd name="connsiteX607" fmla="*/ 497967 w 1216913"/>
                <a:gd name="connsiteY607" fmla="*/ 830008 h 1049655"/>
                <a:gd name="connsiteX608" fmla="*/ 501110 w 1216913"/>
                <a:gd name="connsiteY608" fmla="*/ 829628 h 1049655"/>
                <a:gd name="connsiteX609" fmla="*/ 501777 w 1216913"/>
                <a:gd name="connsiteY609" fmla="*/ 834390 h 1049655"/>
                <a:gd name="connsiteX610" fmla="*/ 503301 w 1216913"/>
                <a:gd name="connsiteY610" fmla="*/ 834199 h 1049655"/>
                <a:gd name="connsiteX611" fmla="*/ 501967 w 1216913"/>
                <a:gd name="connsiteY611" fmla="*/ 836009 h 1049655"/>
                <a:gd name="connsiteX612" fmla="*/ 504158 w 1216913"/>
                <a:gd name="connsiteY612" fmla="*/ 840486 h 1049655"/>
                <a:gd name="connsiteX613" fmla="*/ 507111 w 1216913"/>
                <a:gd name="connsiteY613" fmla="*/ 838486 h 1049655"/>
                <a:gd name="connsiteX614" fmla="*/ 508921 w 1216913"/>
                <a:gd name="connsiteY614" fmla="*/ 839915 h 1049655"/>
                <a:gd name="connsiteX615" fmla="*/ 508063 w 1216913"/>
                <a:gd name="connsiteY615" fmla="*/ 846391 h 1049655"/>
                <a:gd name="connsiteX616" fmla="*/ 513207 w 1216913"/>
                <a:gd name="connsiteY616" fmla="*/ 848963 h 1049655"/>
                <a:gd name="connsiteX617" fmla="*/ 516350 w 1216913"/>
                <a:gd name="connsiteY617" fmla="*/ 848582 h 1049655"/>
                <a:gd name="connsiteX618" fmla="*/ 513397 w 1216913"/>
                <a:gd name="connsiteY618" fmla="*/ 850582 h 1049655"/>
                <a:gd name="connsiteX619" fmla="*/ 515017 w 1216913"/>
                <a:gd name="connsiteY619" fmla="*/ 850297 h 1049655"/>
                <a:gd name="connsiteX620" fmla="*/ 513874 w 1216913"/>
                <a:gd name="connsiteY620" fmla="*/ 853726 h 1049655"/>
                <a:gd name="connsiteX621" fmla="*/ 517207 w 1216913"/>
                <a:gd name="connsiteY621" fmla="*/ 854869 h 1049655"/>
                <a:gd name="connsiteX622" fmla="*/ 513302 w 1216913"/>
                <a:gd name="connsiteY622" fmla="*/ 861822 h 1049655"/>
                <a:gd name="connsiteX623" fmla="*/ 508349 w 1216913"/>
                <a:gd name="connsiteY623" fmla="*/ 860774 h 1049655"/>
                <a:gd name="connsiteX624" fmla="*/ 501205 w 1216913"/>
                <a:gd name="connsiteY624" fmla="*/ 868108 h 1049655"/>
                <a:gd name="connsiteX625" fmla="*/ 501682 w 1216913"/>
                <a:gd name="connsiteY625" fmla="*/ 871252 h 1049655"/>
                <a:gd name="connsiteX626" fmla="*/ 504825 w 1216913"/>
                <a:gd name="connsiteY626" fmla="*/ 870871 h 1049655"/>
                <a:gd name="connsiteX627" fmla="*/ 508730 w 1216913"/>
                <a:gd name="connsiteY627" fmla="*/ 876776 h 1049655"/>
                <a:gd name="connsiteX628" fmla="*/ 509588 w 1216913"/>
                <a:gd name="connsiteY628" fmla="*/ 883063 h 1049655"/>
                <a:gd name="connsiteX629" fmla="*/ 516731 w 1216913"/>
                <a:gd name="connsiteY629" fmla="*/ 888587 h 1049655"/>
                <a:gd name="connsiteX630" fmla="*/ 521398 w 1216913"/>
                <a:gd name="connsiteY630" fmla="*/ 875157 h 1049655"/>
                <a:gd name="connsiteX631" fmla="*/ 522732 w 1216913"/>
                <a:gd name="connsiteY631" fmla="*/ 873443 h 1049655"/>
                <a:gd name="connsiteX632" fmla="*/ 527494 w 1216913"/>
                <a:gd name="connsiteY632" fmla="*/ 872776 h 1049655"/>
                <a:gd name="connsiteX633" fmla="*/ 526923 w 1216913"/>
                <a:gd name="connsiteY633" fmla="*/ 868108 h 1049655"/>
                <a:gd name="connsiteX634" fmla="*/ 529685 w 1216913"/>
                <a:gd name="connsiteY634" fmla="*/ 864489 h 1049655"/>
                <a:gd name="connsiteX635" fmla="*/ 539972 w 1216913"/>
                <a:gd name="connsiteY635" fmla="*/ 869632 h 1049655"/>
                <a:gd name="connsiteX636" fmla="*/ 540925 w 1216913"/>
                <a:gd name="connsiteY636" fmla="*/ 864679 h 1049655"/>
                <a:gd name="connsiteX637" fmla="*/ 544068 w 1216913"/>
                <a:gd name="connsiteY637" fmla="*/ 864299 h 1049655"/>
                <a:gd name="connsiteX638" fmla="*/ 544258 w 1216913"/>
                <a:gd name="connsiteY638" fmla="*/ 865823 h 1049655"/>
                <a:gd name="connsiteX639" fmla="*/ 541687 w 1216913"/>
                <a:gd name="connsiteY639" fmla="*/ 870966 h 1049655"/>
                <a:gd name="connsiteX640" fmla="*/ 548830 w 1216913"/>
                <a:gd name="connsiteY640" fmla="*/ 876490 h 1049655"/>
                <a:gd name="connsiteX641" fmla="*/ 546449 w 1216913"/>
                <a:gd name="connsiteY641" fmla="*/ 883253 h 1049655"/>
                <a:gd name="connsiteX642" fmla="*/ 548068 w 1216913"/>
                <a:gd name="connsiteY642" fmla="*/ 883063 h 1049655"/>
                <a:gd name="connsiteX643" fmla="*/ 548449 w 1216913"/>
                <a:gd name="connsiteY643" fmla="*/ 886206 h 1049655"/>
                <a:gd name="connsiteX644" fmla="*/ 550259 w 1216913"/>
                <a:gd name="connsiteY644" fmla="*/ 887540 h 1049655"/>
                <a:gd name="connsiteX645" fmla="*/ 549497 w 1216913"/>
                <a:gd name="connsiteY645" fmla="*/ 894016 h 1049655"/>
                <a:gd name="connsiteX646" fmla="*/ 554164 w 1216913"/>
                <a:gd name="connsiteY646" fmla="*/ 893445 h 1049655"/>
                <a:gd name="connsiteX647" fmla="*/ 554641 w 1216913"/>
                <a:gd name="connsiteY647" fmla="*/ 896588 h 1049655"/>
                <a:gd name="connsiteX648" fmla="*/ 576643 w 1216913"/>
                <a:gd name="connsiteY648" fmla="*/ 893826 h 1049655"/>
                <a:gd name="connsiteX649" fmla="*/ 583216 w 1216913"/>
                <a:gd name="connsiteY649" fmla="*/ 894588 h 1049655"/>
                <a:gd name="connsiteX650" fmla="*/ 590264 w 1216913"/>
                <a:gd name="connsiteY650" fmla="*/ 900112 h 1049655"/>
                <a:gd name="connsiteX651" fmla="*/ 591502 w 1216913"/>
                <a:gd name="connsiteY651" fmla="*/ 896683 h 1049655"/>
                <a:gd name="connsiteX652" fmla="*/ 594646 w 1216913"/>
                <a:gd name="connsiteY652" fmla="*/ 896303 h 1049655"/>
                <a:gd name="connsiteX653" fmla="*/ 600551 w 1216913"/>
                <a:gd name="connsiteY653" fmla="*/ 905161 h 1049655"/>
                <a:gd name="connsiteX654" fmla="*/ 607885 w 1216913"/>
                <a:gd name="connsiteY654" fmla="*/ 912304 h 1049655"/>
                <a:gd name="connsiteX655" fmla="*/ 609314 w 1216913"/>
                <a:gd name="connsiteY655" fmla="*/ 923353 h 1049655"/>
                <a:gd name="connsiteX656" fmla="*/ 608933 w 1216913"/>
                <a:gd name="connsiteY656" fmla="*/ 932974 h 1049655"/>
                <a:gd name="connsiteX657" fmla="*/ 615696 w 1216913"/>
                <a:gd name="connsiteY657" fmla="*/ 935355 h 1049655"/>
                <a:gd name="connsiteX658" fmla="*/ 617030 w 1216913"/>
                <a:gd name="connsiteY658" fmla="*/ 933545 h 1049655"/>
                <a:gd name="connsiteX659" fmla="*/ 623316 w 1216913"/>
                <a:gd name="connsiteY659" fmla="*/ 932783 h 1049655"/>
                <a:gd name="connsiteX660" fmla="*/ 638365 w 1216913"/>
                <a:gd name="connsiteY660" fmla="*/ 924401 h 1049655"/>
                <a:gd name="connsiteX661" fmla="*/ 652367 w 1216913"/>
                <a:gd name="connsiteY661" fmla="*/ 921068 h 1049655"/>
                <a:gd name="connsiteX662" fmla="*/ 659987 w 1216913"/>
                <a:gd name="connsiteY662" fmla="*/ 918496 h 1049655"/>
                <a:gd name="connsiteX663" fmla="*/ 668083 w 1216913"/>
                <a:gd name="connsiteY663" fmla="*/ 919067 h 1049655"/>
                <a:gd name="connsiteX664" fmla="*/ 669703 w 1216913"/>
                <a:gd name="connsiteY664" fmla="*/ 918877 h 1049655"/>
                <a:gd name="connsiteX665" fmla="*/ 673989 w 1216913"/>
                <a:gd name="connsiteY665" fmla="*/ 915067 h 1049655"/>
                <a:gd name="connsiteX666" fmla="*/ 682276 w 1216913"/>
                <a:gd name="connsiteY666" fmla="*/ 917257 h 1049655"/>
                <a:gd name="connsiteX667" fmla="*/ 685229 w 1216913"/>
                <a:gd name="connsiteY667" fmla="*/ 915257 h 1049655"/>
                <a:gd name="connsiteX668" fmla="*/ 691801 w 1216913"/>
                <a:gd name="connsiteY668" fmla="*/ 916019 h 1049655"/>
                <a:gd name="connsiteX669" fmla="*/ 702373 w 1216913"/>
                <a:gd name="connsiteY669" fmla="*/ 911447 h 1049655"/>
                <a:gd name="connsiteX670" fmla="*/ 710374 w 1216913"/>
                <a:gd name="connsiteY670" fmla="*/ 923258 h 1049655"/>
                <a:gd name="connsiteX671" fmla="*/ 725900 w 1216913"/>
                <a:gd name="connsiteY671" fmla="*/ 919734 h 1049655"/>
                <a:gd name="connsiteX672" fmla="*/ 730282 w 1216913"/>
                <a:gd name="connsiteY672" fmla="*/ 915924 h 1049655"/>
                <a:gd name="connsiteX673" fmla="*/ 733806 w 1216913"/>
                <a:gd name="connsiteY673" fmla="*/ 918686 h 1049655"/>
                <a:gd name="connsiteX674" fmla="*/ 738378 w 1216913"/>
                <a:gd name="connsiteY674" fmla="*/ 929354 h 1049655"/>
                <a:gd name="connsiteX675" fmla="*/ 749617 w 1216913"/>
                <a:gd name="connsiteY675" fmla="*/ 942308 h 1049655"/>
                <a:gd name="connsiteX676" fmla="*/ 758190 w 1216913"/>
                <a:gd name="connsiteY676" fmla="*/ 946023 h 1049655"/>
                <a:gd name="connsiteX677" fmla="*/ 767239 w 1216913"/>
                <a:gd name="connsiteY677" fmla="*/ 941641 h 1049655"/>
                <a:gd name="connsiteX678" fmla="*/ 770382 w 1216913"/>
                <a:gd name="connsiteY678" fmla="*/ 941261 h 1049655"/>
                <a:gd name="connsiteX679" fmla="*/ 774382 w 1216913"/>
                <a:gd name="connsiteY679" fmla="*/ 947166 h 1049655"/>
                <a:gd name="connsiteX680" fmla="*/ 794290 w 1216913"/>
                <a:gd name="connsiteY680" fmla="*/ 952690 h 1049655"/>
                <a:gd name="connsiteX681" fmla="*/ 798766 w 1216913"/>
                <a:gd name="connsiteY681" fmla="*/ 950500 h 1049655"/>
                <a:gd name="connsiteX682" fmla="*/ 803910 w 1216913"/>
                <a:gd name="connsiteY682" fmla="*/ 940213 h 1049655"/>
                <a:gd name="connsiteX683" fmla="*/ 808672 w 1216913"/>
                <a:gd name="connsiteY683" fmla="*/ 939641 h 1049655"/>
                <a:gd name="connsiteX684" fmla="*/ 820102 w 1216913"/>
                <a:gd name="connsiteY684" fmla="*/ 941356 h 1049655"/>
                <a:gd name="connsiteX685" fmla="*/ 826770 w 1216913"/>
                <a:gd name="connsiteY685" fmla="*/ 943737 h 1049655"/>
                <a:gd name="connsiteX686" fmla="*/ 830580 w 1216913"/>
                <a:gd name="connsiteY686" fmla="*/ 948023 h 1049655"/>
                <a:gd name="connsiteX687" fmla="*/ 833342 w 1216913"/>
                <a:gd name="connsiteY687" fmla="*/ 970121 h 1049655"/>
                <a:gd name="connsiteX688" fmla="*/ 838962 w 1216913"/>
                <a:gd name="connsiteY688" fmla="*/ 975836 h 1049655"/>
                <a:gd name="connsiteX689" fmla="*/ 845058 w 1216913"/>
                <a:gd name="connsiteY689" fmla="*/ 986314 h 1049655"/>
                <a:gd name="connsiteX690" fmla="*/ 850011 w 1216913"/>
                <a:gd name="connsiteY690" fmla="*/ 987266 h 1049655"/>
                <a:gd name="connsiteX691" fmla="*/ 858679 w 1216913"/>
                <a:gd name="connsiteY691" fmla="*/ 992600 h 1049655"/>
                <a:gd name="connsiteX692" fmla="*/ 864965 w 1216913"/>
                <a:gd name="connsiteY692" fmla="*/ 991743 h 1049655"/>
                <a:gd name="connsiteX693" fmla="*/ 869347 w 1216913"/>
                <a:gd name="connsiteY693" fmla="*/ 1000792 h 1049655"/>
                <a:gd name="connsiteX694" fmla="*/ 871347 w 1216913"/>
                <a:gd name="connsiteY694" fmla="*/ 1003840 h 1049655"/>
                <a:gd name="connsiteX695" fmla="*/ 869728 w 1216913"/>
                <a:gd name="connsiteY695" fmla="*/ 1004030 h 1049655"/>
                <a:gd name="connsiteX696" fmla="*/ 871728 w 1216913"/>
                <a:gd name="connsiteY696" fmla="*/ 1006983 h 1049655"/>
                <a:gd name="connsiteX697" fmla="*/ 876490 w 1216913"/>
                <a:gd name="connsiteY697" fmla="*/ 1006316 h 1049655"/>
                <a:gd name="connsiteX698" fmla="*/ 881253 w 1216913"/>
                <a:gd name="connsiteY698" fmla="*/ 1018603 h 1049655"/>
                <a:gd name="connsiteX699" fmla="*/ 876014 w 1216913"/>
                <a:gd name="connsiteY699" fmla="*/ 1040130 h 1049655"/>
                <a:gd name="connsiteX700" fmla="*/ 883825 w 1216913"/>
                <a:gd name="connsiteY700" fmla="*/ 1039082 h 1049655"/>
                <a:gd name="connsiteX701" fmla="*/ 888778 w 1216913"/>
                <a:gd name="connsiteY701" fmla="*/ 1040035 h 1049655"/>
                <a:gd name="connsiteX702" fmla="*/ 895922 w 1216913"/>
                <a:gd name="connsiteY702" fmla="*/ 1045559 h 1049655"/>
                <a:gd name="connsiteX703" fmla="*/ 900684 w 1216913"/>
                <a:gd name="connsiteY703" fmla="*/ 1044988 h 1049655"/>
                <a:gd name="connsiteX704" fmla="*/ 905827 w 1216913"/>
                <a:gd name="connsiteY704" fmla="*/ 1047560 h 1049655"/>
                <a:gd name="connsiteX705" fmla="*/ 910114 w 1216913"/>
                <a:gd name="connsiteY705" fmla="*/ 1043749 h 1049655"/>
                <a:gd name="connsiteX706" fmla="*/ 926878 w 1216913"/>
                <a:gd name="connsiteY706" fmla="*/ 1049655 h 1049655"/>
                <a:gd name="connsiteX707" fmla="*/ 936403 w 1216913"/>
                <a:gd name="connsiteY707" fmla="*/ 1048417 h 1049655"/>
                <a:gd name="connsiteX708" fmla="*/ 937355 w 1216913"/>
                <a:gd name="connsiteY708" fmla="*/ 1043464 h 1049655"/>
                <a:gd name="connsiteX709" fmla="*/ 940117 w 1216913"/>
                <a:gd name="connsiteY709" fmla="*/ 1039940 h 1049655"/>
                <a:gd name="connsiteX710" fmla="*/ 955072 w 1216913"/>
                <a:gd name="connsiteY710" fmla="*/ 1031653 h 1049655"/>
                <a:gd name="connsiteX711" fmla="*/ 956024 w 1216913"/>
                <a:gd name="connsiteY711" fmla="*/ 1026700 h 1049655"/>
                <a:gd name="connsiteX712" fmla="*/ 955262 w 1216913"/>
                <a:gd name="connsiteY712" fmla="*/ 1020413 h 1049655"/>
                <a:gd name="connsiteX713" fmla="*/ 958024 w 1216913"/>
                <a:gd name="connsiteY713" fmla="*/ 1016794 h 1049655"/>
                <a:gd name="connsiteX714" fmla="*/ 959167 w 1216913"/>
                <a:gd name="connsiteY714" fmla="*/ 1013460 h 1049655"/>
                <a:gd name="connsiteX715" fmla="*/ 968026 w 1216913"/>
                <a:gd name="connsiteY715" fmla="*/ 1007554 h 1049655"/>
                <a:gd name="connsiteX716" fmla="*/ 962692 w 1216913"/>
                <a:gd name="connsiteY716" fmla="*/ 1003364 h 1049655"/>
                <a:gd name="connsiteX717" fmla="*/ 967073 w 1216913"/>
                <a:gd name="connsiteY717" fmla="*/ 999649 h 1049655"/>
                <a:gd name="connsiteX718" fmla="*/ 971740 w 1216913"/>
                <a:gd name="connsiteY718" fmla="*/ 998982 h 1049655"/>
                <a:gd name="connsiteX719" fmla="*/ 972598 w 1216913"/>
                <a:gd name="connsiteY719" fmla="*/ 992505 h 1049655"/>
                <a:gd name="connsiteX720" fmla="*/ 984409 w 1216913"/>
                <a:gd name="connsiteY720" fmla="*/ 984599 h 1049655"/>
                <a:gd name="connsiteX721" fmla="*/ 987933 w 1216913"/>
                <a:gd name="connsiteY721" fmla="*/ 974503 h 1049655"/>
                <a:gd name="connsiteX722" fmla="*/ 990886 w 1216913"/>
                <a:gd name="connsiteY722" fmla="*/ 972503 h 1049655"/>
                <a:gd name="connsiteX723" fmla="*/ 993172 w 1216913"/>
                <a:gd name="connsiteY723" fmla="*/ 965835 h 1049655"/>
                <a:gd name="connsiteX724" fmla="*/ 999554 w 1216913"/>
                <a:gd name="connsiteY724" fmla="*/ 964978 h 1049655"/>
                <a:gd name="connsiteX725" fmla="*/ 1000887 w 1216913"/>
                <a:gd name="connsiteY725" fmla="*/ 963263 h 1049655"/>
                <a:gd name="connsiteX726" fmla="*/ 1002030 w 1216913"/>
                <a:gd name="connsiteY726" fmla="*/ 959834 h 1049655"/>
                <a:gd name="connsiteX727" fmla="*/ 998315 w 1216913"/>
                <a:gd name="connsiteY727" fmla="*/ 955548 h 1049655"/>
                <a:gd name="connsiteX728" fmla="*/ 997458 w 1216913"/>
                <a:gd name="connsiteY728" fmla="*/ 949261 h 1049655"/>
                <a:gd name="connsiteX729" fmla="*/ 993743 w 1216913"/>
                <a:gd name="connsiteY729" fmla="*/ 944880 h 1049655"/>
                <a:gd name="connsiteX730" fmla="*/ 991552 w 1216913"/>
                <a:gd name="connsiteY730" fmla="*/ 940403 h 1049655"/>
                <a:gd name="connsiteX731" fmla="*/ 992505 w 1216913"/>
                <a:gd name="connsiteY731" fmla="*/ 935450 h 1049655"/>
                <a:gd name="connsiteX732" fmla="*/ 997077 w 1216913"/>
                <a:gd name="connsiteY732" fmla="*/ 933260 h 1049655"/>
                <a:gd name="connsiteX733" fmla="*/ 996886 w 1216913"/>
                <a:gd name="connsiteY733" fmla="*/ 931640 h 1049655"/>
                <a:gd name="connsiteX734" fmla="*/ 997648 w 1216913"/>
                <a:gd name="connsiteY734" fmla="*/ 925163 h 1049655"/>
                <a:gd name="connsiteX735" fmla="*/ 1002221 w 1216913"/>
                <a:gd name="connsiteY735" fmla="*/ 922973 h 1049655"/>
                <a:gd name="connsiteX736" fmla="*/ 1003554 w 1216913"/>
                <a:gd name="connsiteY736" fmla="*/ 921163 h 1049655"/>
                <a:gd name="connsiteX737" fmla="*/ 1015555 w 1216913"/>
                <a:gd name="connsiteY737" fmla="*/ 914876 h 1049655"/>
                <a:gd name="connsiteX738" fmla="*/ 1023842 w 1216913"/>
                <a:gd name="connsiteY738" fmla="*/ 916972 h 1049655"/>
                <a:gd name="connsiteX739" fmla="*/ 1031367 w 1216913"/>
                <a:gd name="connsiteY739" fmla="*/ 912876 h 1049655"/>
                <a:gd name="connsiteX740" fmla="*/ 1034320 w 1216913"/>
                <a:gd name="connsiteY740" fmla="*/ 910876 h 1049655"/>
                <a:gd name="connsiteX741" fmla="*/ 1036130 w 1216913"/>
                <a:gd name="connsiteY741" fmla="*/ 912209 h 1049655"/>
                <a:gd name="connsiteX742" fmla="*/ 1038320 w 1216913"/>
                <a:gd name="connsiteY742" fmla="*/ 916781 h 1049655"/>
                <a:gd name="connsiteX743" fmla="*/ 1039463 w 1216913"/>
                <a:gd name="connsiteY743" fmla="*/ 926211 h 1049655"/>
                <a:gd name="connsiteX744" fmla="*/ 1049369 w 1216913"/>
                <a:gd name="connsiteY744" fmla="*/ 928211 h 1049655"/>
                <a:gd name="connsiteX745" fmla="*/ 1058418 w 1216913"/>
                <a:gd name="connsiteY745" fmla="*/ 923830 h 1049655"/>
                <a:gd name="connsiteX746" fmla="*/ 1065181 w 1216913"/>
                <a:gd name="connsiteY746" fmla="*/ 926211 h 1049655"/>
                <a:gd name="connsiteX747" fmla="*/ 1066133 w 1216913"/>
                <a:gd name="connsiteY747" fmla="*/ 921258 h 1049655"/>
                <a:gd name="connsiteX748" fmla="*/ 1074039 w 1216913"/>
                <a:gd name="connsiteY748" fmla="*/ 920210 h 1049655"/>
                <a:gd name="connsiteX749" fmla="*/ 1076992 w 1216913"/>
                <a:gd name="connsiteY749" fmla="*/ 918305 h 1049655"/>
                <a:gd name="connsiteX750" fmla="*/ 1081659 w 1216913"/>
                <a:gd name="connsiteY750" fmla="*/ 917639 h 1049655"/>
                <a:gd name="connsiteX751" fmla="*/ 1085850 w 1216913"/>
                <a:gd name="connsiteY751" fmla="*/ 912304 h 1049655"/>
                <a:gd name="connsiteX752" fmla="*/ 1087374 w 1216913"/>
                <a:gd name="connsiteY752" fmla="*/ 912114 h 1049655"/>
                <a:gd name="connsiteX753" fmla="*/ 1094137 w 1216913"/>
                <a:gd name="connsiteY753" fmla="*/ 914495 h 1049655"/>
                <a:gd name="connsiteX754" fmla="*/ 1094708 w 1216913"/>
                <a:gd name="connsiteY754" fmla="*/ 919162 h 1049655"/>
                <a:gd name="connsiteX755" fmla="*/ 1098042 w 1216913"/>
                <a:gd name="connsiteY755" fmla="*/ 920401 h 1049655"/>
                <a:gd name="connsiteX756" fmla="*/ 1102995 w 1216913"/>
                <a:gd name="connsiteY756" fmla="*/ 921353 h 1049655"/>
                <a:gd name="connsiteX757" fmla="*/ 1113663 w 1216913"/>
                <a:gd name="connsiteY757" fmla="*/ 916781 h 1049655"/>
                <a:gd name="connsiteX758" fmla="*/ 1120616 w 1216913"/>
                <a:gd name="connsiteY758" fmla="*/ 920686 h 1049655"/>
                <a:gd name="connsiteX759" fmla="*/ 1131475 w 1216913"/>
                <a:gd name="connsiteY759" fmla="*/ 930593 h 1049655"/>
                <a:gd name="connsiteX760" fmla="*/ 1139761 w 1216913"/>
                <a:gd name="connsiteY760" fmla="*/ 932688 h 1049655"/>
                <a:gd name="connsiteX761" fmla="*/ 1142524 w 1216913"/>
                <a:gd name="connsiteY761" fmla="*/ 929164 h 1049655"/>
                <a:gd name="connsiteX762" fmla="*/ 1145857 w 1216913"/>
                <a:gd name="connsiteY762" fmla="*/ 930307 h 1049655"/>
                <a:gd name="connsiteX763" fmla="*/ 1161383 w 1216913"/>
                <a:gd name="connsiteY763" fmla="*/ 913924 h 1049655"/>
                <a:gd name="connsiteX764" fmla="*/ 1168717 w 1216913"/>
                <a:gd name="connsiteY764" fmla="*/ 908209 h 1049655"/>
                <a:gd name="connsiteX765" fmla="*/ 1168908 w 1216913"/>
                <a:gd name="connsiteY765" fmla="*/ 909733 h 1049655"/>
                <a:gd name="connsiteX766" fmla="*/ 1176623 w 1216913"/>
                <a:gd name="connsiteY766" fmla="*/ 907161 h 1049655"/>
                <a:gd name="connsiteX767" fmla="*/ 1181862 w 1216913"/>
                <a:gd name="connsiteY767" fmla="*/ 898493 h 1049655"/>
                <a:gd name="connsiteX768" fmla="*/ 1189958 w 1216913"/>
                <a:gd name="connsiteY768" fmla="*/ 899065 h 1049655"/>
                <a:gd name="connsiteX769" fmla="*/ 1202817 w 1216913"/>
                <a:gd name="connsiteY769" fmla="*/ 898970 h 1049655"/>
                <a:gd name="connsiteX770" fmla="*/ 1212056 w 1216913"/>
                <a:gd name="connsiteY770" fmla="*/ 896207 h 1049655"/>
                <a:gd name="connsiteX771" fmla="*/ 1211866 w 1216913"/>
                <a:gd name="connsiteY771" fmla="*/ 894683 h 1049655"/>
                <a:gd name="connsiteX772" fmla="*/ 1205579 w 1216913"/>
                <a:gd name="connsiteY772" fmla="*/ 895445 h 1049655"/>
                <a:gd name="connsiteX773" fmla="*/ 1201579 w 1216913"/>
                <a:gd name="connsiteY773" fmla="*/ 889540 h 1049655"/>
                <a:gd name="connsiteX774" fmla="*/ 1205770 w 1216913"/>
                <a:gd name="connsiteY774" fmla="*/ 884206 h 1049655"/>
                <a:gd name="connsiteX775" fmla="*/ 1205103 w 1216913"/>
                <a:gd name="connsiteY775" fmla="*/ 879443 h 1049655"/>
                <a:gd name="connsiteX776" fmla="*/ 1204913 w 1216913"/>
                <a:gd name="connsiteY776" fmla="*/ 877919 h 1049655"/>
                <a:gd name="connsiteX777" fmla="*/ 1207865 w 1216913"/>
                <a:gd name="connsiteY777" fmla="*/ 875919 h 1049655"/>
                <a:gd name="connsiteX778" fmla="*/ 1209675 w 1216913"/>
                <a:gd name="connsiteY778" fmla="*/ 877253 h 1049655"/>
                <a:gd name="connsiteX779" fmla="*/ 1215390 w 1216913"/>
                <a:gd name="connsiteY779" fmla="*/ 871728 h 1049655"/>
                <a:gd name="connsiteX780" fmla="*/ 1216914 w 1216913"/>
                <a:gd name="connsiteY780" fmla="*/ 858774 h 1049655"/>
                <a:gd name="connsiteX781" fmla="*/ 1209770 w 1216913"/>
                <a:gd name="connsiteY781" fmla="*/ 853249 h 1049655"/>
                <a:gd name="connsiteX782" fmla="*/ 1209770 w 1216913"/>
                <a:gd name="connsiteY782" fmla="*/ 853249 h 1049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</a:cxnLst>
              <a:rect l="l" t="t" r="r" b="b"/>
              <a:pathLst>
                <a:path w="1216913" h="1049655">
                  <a:moveTo>
                    <a:pt x="1209770" y="853249"/>
                  </a:moveTo>
                  <a:lnTo>
                    <a:pt x="1205674" y="845725"/>
                  </a:lnTo>
                  <a:lnTo>
                    <a:pt x="1200912" y="846296"/>
                  </a:lnTo>
                  <a:lnTo>
                    <a:pt x="1200722" y="844772"/>
                  </a:lnTo>
                  <a:lnTo>
                    <a:pt x="1199674" y="836866"/>
                  </a:lnTo>
                  <a:lnTo>
                    <a:pt x="1195959" y="832580"/>
                  </a:lnTo>
                  <a:lnTo>
                    <a:pt x="1196911" y="827627"/>
                  </a:lnTo>
                  <a:lnTo>
                    <a:pt x="1194340" y="819912"/>
                  </a:lnTo>
                  <a:lnTo>
                    <a:pt x="1197292" y="817912"/>
                  </a:lnTo>
                  <a:lnTo>
                    <a:pt x="1199007" y="806482"/>
                  </a:lnTo>
                  <a:lnTo>
                    <a:pt x="1192721" y="807244"/>
                  </a:lnTo>
                  <a:lnTo>
                    <a:pt x="1190911" y="805910"/>
                  </a:lnTo>
                  <a:lnTo>
                    <a:pt x="1187958" y="795052"/>
                  </a:lnTo>
                  <a:lnTo>
                    <a:pt x="1188530" y="786956"/>
                  </a:lnTo>
                  <a:lnTo>
                    <a:pt x="1183005" y="781240"/>
                  </a:lnTo>
                  <a:lnTo>
                    <a:pt x="1185577" y="776097"/>
                  </a:lnTo>
                  <a:lnTo>
                    <a:pt x="1181005" y="765524"/>
                  </a:lnTo>
                  <a:lnTo>
                    <a:pt x="1179195" y="764095"/>
                  </a:lnTo>
                  <a:lnTo>
                    <a:pt x="1178433" y="757809"/>
                  </a:lnTo>
                  <a:lnTo>
                    <a:pt x="1173671" y="745617"/>
                  </a:lnTo>
                  <a:lnTo>
                    <a:pt x="1174432" y="739045"/>
                  </a:lnTo>
                  <a:lnTo>
                    <a:pt x="1173004" y="727996"/>
                  </a:lnTo>
                  <a:lnTo>
                    <a:pt x="1173766" y="721519"/>
                  </a:lnTo>
                  <a:lnTo>
                    <a:pt x="1171194" y="713803"/>
                  </a:lnTo>
                  <a:lnTo>
                    <a:pt x="1169384" y="712470"/>
                  </a:lnTo>
                  <a:lnTo>
                    <a:pt x="1163098" y="713232"/>
                  </a:lnTo>
                  <a:lnTo>
                    <a:pt x="1152620" y="706565"/>
                  </a:lnTo>
                  <a:lnTo>
                    <a:pt x="1143381" y="709327"/>
                  </a:lnTo>
                  <a:lnTo>
                    <a:pt x="1141571" y="707993"/>
                  </a:lnTo>
                  <a:lnTo>
                    <a:pt x="1131570" y="717232"/>
                  </a:lnTo>
                  <a:lnTo>
                    <a:pt x="1124998" y="716470"/>
                  </a:lnTo>
                  <a:lnTo>
                    <a:pt x="1122616" y="710374"/>
                  </a:lnTo>
                  <a:lnTo>
                    <a:pt x="1117473" y="707803"/>
                  </a:lnTo>
                  <a:lnTo>
                    <a:pt x="1112996" y="709994"/>
                  </a:lnTo>
                  <a:lnTo>
                    <a:pt x="1108043" y="709041"/>
                  </a:lnTo>
                  <a:lnTo>
                    <a:pt x="1108996" y="704088"/>
                  </a:lnTo>
                  <a:lnTo>
                    <a:pt x="1105472" y="701326"/>
                  </a:lnTo>
                  <a:lnTo>
                    <a:pt x="1106424" y="696373"/>
                  </a:lnTo>
                  <a:lnTo>
                    <a:pt x="1101661" y="697040"/>
                  </a:lnTo>
                  <a:lnTo>
                    <a:pt x="1102709" y="692086"/>
                  </a:lnTo>
                  <a:lnTo>
                    <a:pt x="1101852" y="685800"/>
                  </a:lnTo>
                  <a:lnTo>
                    <a:pt x="1090422" y="683990"/>
                  </a:lnTo>
                  <a:lnTo>
                    <a:pt x="1081183" y="686753"/>
                  </a:lnTo>
                  <a:lnTo>
                    <a:pt x="1077754" y="685610"/>
                  </a:lnTo>
                  <a:lnTo>
                    <a:pt x="1073467" y="689420"/>
                  </a:lnTo>
                  <a:lnTo>
                    <a:pt x="1072420" y="681514"/>
                  </a:lnTo>
                  <a:lnTo>
                    <a:pt x="1069086" y="680276"/>
                  </a:lnTo>
                  <a:lnTo>
                    <a:pt x="1065943" y="680752"/>
                  </a:lnTo>
                  <a:lnTo>
                    <a:pt x="1062990" y="682657"/>
                  </a:lnTo>
                  <a:lnTo>
                    <a:pt x="1062609" y="679514"/>
                  </a:lnTo>
                  <a:lnTo>
                    <a:pt x="1054513" y="678942"/>
                  </a:lnTo>
                  <a:lnTo>
                    <a:pt x="1050893" y="676180"/>
                  </a:lnTo>
                  <a:lnTo>
                    <a:pt x="1050512" y="673036"/>
                  </a:lnTo>
                  <a:lnTo>
                    <a:pt x="1048702" y="671703"/>
                  </a:lnTo>
                  <a:lnTo>
                    <a:pt x="1044988" y="667322"/>
                  </a:lnTo>
                  <a:lnTo>
                    <a:pt x="1041844" y="667703"/>
                  </a:lnTo>
                  <a:lnTo>
                    <a:pt x="1044607" y="664178"/>
                  </a:lnTo>
                  <a:lnTo>
                    <a:pt x="1042416" y="659606"/>
                  </a:lnTo>
                  <a:lnTo>
                    <a:pt x="1044702" y="640080"/>
                  </a:lnTo>
                  <a:lnTo>
                    <a:pt x="1040987" y="635794"/>
                  </a:lnTo>
                  <a:lnTo>
                    <a:pt x="1036034" y="634841"/>
                  </a:lnTo>
                  <a:lnTo>
                    <a:pt x="1032510" y="632079"/>
                  </a:lnTo>
                  <a:lnTo>
                    <a:pt x="1033272" y="625507"/>
                  </a:lnTo>
                  <a:lnTo>
                    <a:pt x="1030033" y="613124"/>
                  </a:lnTo>
                  <a:lnTo>
                    <a:pt x="1024890" y="610553"/>
                  </a:lnTo>
                  <a:lnTo>
                    <a:pt x="1023938" y="602647"/>
                  </a:lnTo>
                  <a:lnTo>
                    <a:pt x="1020127" y="598361"/>
                  </a:lnTo>
                  <a:lnTo>
                    <a:pt x="1020889" y="591788"/>
                  </a:lnTo>
                  <a:lnTo>
                    <a:pt x="1018699" y="587311"/>
                  </a:lnTo>
                  <a:lnTo>
                    <a:pt x="1016794" y="584359"/>
                  </a:lnTo>
                  <a:lnTo>
                    <a:pt x="1016127" y="579596"/>
                  </a:lnTo>
                  <a:lnTo>
                    <a:pt x="1009079" y="574072"/>
                  </a:lnTo>
                  <a:lnTo>
                    <a:pt x="1006221" y="564832"/>
                  </a:lnTo>
                  <a:lnTo>
                    <a:pt x="1007459" y="561499"/>
                  </a:lnTo>
                  <a:lnTo>
                    <a:pt x="1003840" y="558736"/>
                  </a:lnTo>
                  <a:lnTo>
                    <a:pt x="1003268" y="553974"/>
                  </a:lnTo>
                  <a:lnTo>
                    <a:pt x="999744" y="551212"/>
                  </a:lnTo>
                  <a:lnTo>
                    <a:pt x="996124" y="548449"/>
                  </a:lnTo>
                  <a:lnTo>
                    <a:pt x="996886" y="541973"/>
                  </a:lnTo>
                  <a:lnTo>
                    <a:pt x="1007173" y="534257"/>
                  </a:lnTo>
                  <a:lnTo>
                    <a:pt x="1011079" y="527304"/>
                  </a:lnTo>
                  <a:lnTo>
                    <a:pt x="1009364" y="525970"/>
                  </a:lnTo>
                  <a:lnTo>
                    <a:pt x="1007173" y="521398"/>
                  </a:lnTo>
                  <a:lnTo>
                    <a:pt x="1010317" y="521018"/>
                  </a:lnTo>
                  <a:lnTo>
                    <a:pt x="1011269" y="516065"/>
                  </a:lnTo>
                  <a:lnTo>
                    <a:pt x="1020794" y="514922"/>
                  </a:lnTo>
                  <a:lnTo>
                    <a:pt x="1021747" y="509969"/>
                  </a:lnTo>
                  <a:lnTo>
                    <a:pt x="1017937" y="505587"/>
                  </a:lnTo>
                  <a:lnTo>
                    <a:pt x="1009650" y="503491"/>
                  </a:lnTo>
                  <a:lnTo>
                    <a:pt x="1001744" y="504444"/>
                  </a:lnTo>
                  <a:lnTo>
                    <a:pt x="1001363" y="501301"/>
                  </a:lnTo>
                  <a:lnTo>
                    <a:pt x="996029" y="497205"/>
                  </a:lnTo>
                  <a:lnTo>
                    <a:pt x="995648" y="493966"/>
                  </a:lnTo>
                  <a:lnTo>
                    <a:pt x="991838" y="489680"/>
                  </a:lnTo>
                  <a:lnTo>
                    <a:pt x="991457" y="486537"/>
                  </a:lnTo>
                  <a:lnTo>
                    <a:pt x="995839" y="482727"/>
                  </a:lnTo>
                  <a:lnTo>
                    <a:pt x="996982" y="479393"/>
                  </a:lnTo>
                  <a:lnTo>
                    <a:pt x="994791" y="474916"/>
                  </a:lnTo>
                  <a:lnTo>
                    <a:pt x="997363" y="469773"/>
                  </a:lnTo>
                  <a:lnTo>
                    <a:pt x="1000887" y="459677"/>
                  </a:lnTo>
                  <a:lnTo>
                    <a:pt x="995743" y="457105"/>
                  </a:lnTo>
                  <a:lnTo>
                    <a:pt x="996886" y="453771"/>
                  </a:lnTo>
                  <a:lnTo>
                    <a:pt x="995172" y="452342"/>
                  </a:lnTo>
                  <a:lnTo>
                    <a:pt x="998315" y="451961"/>
                  </a:lnTo>
                  <a:lnTo>
                    <a:pt x="993743" y="441293"/>
                  </a:lnTo>
                  <a:lnTo>
                    <a:pt x="992124" y="441579"/>
                  </a:lnTo>
                  <a:lnTo>
                    <a:pt x="984694" y="445675"/>
                  </a:lnTo>
                  <a:lnTo>
                    <a:pt x="974026" y="437388"/>
                  </a:lnTo>
                  <a:lnTo>
                    <a:pt x="969264" y="438055"/>
                  </a:lnTo>
                  <a:lnTo>
                    <a:pt x="972979" y="442341"/>
                  </a:lnTo>
                  <a:lnTo>
                    <a:pt x="971264" y="453771"/>
                  </a:lnTo>
                  <a:lnTo>
                    <a:pt x="976408" y="456343"/>
                  </a:lnTo>
                  <a:lnTo>
                    <a:pt x="970883" y="463486"/>
                  </a:lnTo>
                  <a:lnTo>
                    <a:pt x="966597" y="467297"/>
                  </a:lnTo>
                  <a:lnTo>
                    <a:pt x="963454" y="467678"/>
                  </a:lnTo>
                  <a:lnTo>
                    <a:pt x="960215" y="468058"/>
                  </a:lnTo>
                  <a:lnTo>
                    <a:pt x="958310" y="465106"/>
                  </a:lnTo>
                  <a:lnTo>
                    <a:pt x="953929" y="468820"/>
                  </a:lnTo>
                  <a:lnTo>
                    <a:pt x="955357" y="467106"/>
                  </a:lnTo>
                  <a:lnTo>
                    <a:pt x="951738" y="464344"/>
                  </a:lnTo>
                  <a:lnTo>
                    <a:pt x="947261" y="466535"/>
                  </a:lnTo>
                  <a:lnTo>
                    <a:pt x="940117" y="461010"/>
                  </a:lnTo>
                  <a:lnTo>
                    <a:pt x="937546" y="466153"/>
                  </a:lnTo>
                  <a:lnTo>
                    <a:pt x="933831" y="461772"/>
                  </a:lnTo>
                  <a:lnTo>
                    <a:pt x="931640" y="457295"/>
                  </a:lnTo>
                  <a:lnTo>
                    <a:pt x="928021" y="454533"/>
                  </a:lnTo>
                  <a:lnTo>
                    <a:pt x="921163" y="450628"/>
                  </a:lnTo>
                  <a:lnTo>
                    <a:pt x="918591" y="442912"/>
                  </a:lnTo>
                  <a:lnTo>
                    <a:pt x="905732" y="442912"/>
                  </a:lnTo>
                  <a:lnTo>
                    <a:pt x="900398" y="438817"/>
                  </a:lnTo>
                  <a:lnTo>
                    <a:pt x="897064" y="437578"/>
                  </a:lnTo>
                  <a:lnTo>
                    <a:pt x="895636" y="426529"/>
                  </a:lnTo>
                  <a:lnTo>
                    <a:pt x="875157" y="429197"/>
                  </a:lnTo>
                  <a:lnTo>
                    <a:pt x="872204" y="431197"/>
                  </a:lnTo>
                  <a:lnTo>
                    <a:pt x="862489" y="430816"/>
                  </a:lnTo>
                  <a:lnTo>
                    <a:pt x="851249" y="430625"/>
                  </a:lnTo>
                  <a:lnTo>
                    <a:pt x="847439" y="426339"/>
                  </a:lnTo>
                  <a:lnTo>
                    <a:pt x="827151" y="417671"/>
                  </a:lnTo>
                  <a:lnTo>
                    <a:pt x="826770" y="427291"/>
                  </a:lnTo>
                  <a:lnTo>
                    <a:pt x="830104" y="428530"/>
                  </a:lnTo>
                  <a:lnTo>
                    <a:pt x="836676" y="429292"/>
                  </a:lnTo>
                  <a:lnTo>
                    <a:pt x="838581" y="432244"/>
                  </a:lnTo>
                  <a:lnTo>
                    <a:pt x="830961" y="434816"/>
                  </a:lnTo>
                  <a:lnTo>
                    <a:pt x="832961" y="437769"/>
                  </a:lnTo>
                  <a:lnTo>
                    <a:pt x="834676" y="439103"/>
                  </a:lnTo>
                  <a:lnTo>
                    <a:pt x="830389" y="442912"/>
                  </a:lnTo>
                  <a:lnTo>
                    <a:pt x="826770" y="440150"/>
                  </a:lnTo>
                  <a:lnTo>
                    <a:pt x="826389" y="437007"/>
                  </a:lnTo>
                  <a:lnTo>
                    <a:pt x="823246" y="437388"/>
                  </a:lnTo>
                  <a:lnTo>
                    <a:pt x="824198" y="445294"/>
                  </a:lnTo>
                  <a:lnTo>
                    <a:pt x="819150" y="455581"/>
                  </a:lnTo>
                  <a:lnTo>
                    <a:pt x="814197" y="454628"/>
                  </a:lnTo>
                  <a:lnTo>
                    <a:pt x="813816" y="451390"/>
                  </a:lnTo>
                  <a:lnTo>
                    <a:pt x="805148" y="446151"/>
                  </a:lnTo>
                  <a:lnTo>
                    <a:pt x="802767" y="440055"/>
                  </a:lnTo>
                  <a:lnTo>
                    <a:pt x="796385" y="440817"/>
                  </a:lnTo>
                  <a:lnTo>
                    <a:pt x="788289" y="427387"/>
                  </a:lnTo>
                  <a:lnTo>
                    <a:pt x="789813" y="414433"/>
                  </a:lnTo>
                  <a:lnTo>
                    <a:pt x="786860" y="403574"/>
                  </a:lnTo>
                  <a:lnTo>
                    <a:pt x="784860" y="400622"/>
                  </a:lnTo>
                  <a:lnTo>
                    <a:pt x="758380" y="394335"/>
                  </a:lnTo>
                  <a:lnTo>
                    <a:pt x="749141" y="397097"/>
                  </a:lnTo>
                  <a:lnTo>
                    <a:pt x="746188" y="399098"/>
                  </a:lnTo>
                  <a:lnTo>
                    <a:pt x="742188" y="393192"/>
                  </a:lnTo>
                  <a:lnTo>
                    <a:pt x="743236" y="388239"/>
                  </a:lnTo>
                  <a:lnTo>
                    <a:pt x="740378" y="379000"/>
                  </a:lnTo>
                  <a:lnTo>
                    <a:pt x="735235" y="363569"/>
                  </a:lnTo>
                  <a:lnTo>
                    <a:pt x="724567" y="368141"/>
                  </a:lnTo>
                  <a:lnTo>
                    <a:pt x="722471" y="363665"/>
                  </a:lnTo>
                  <a:lnTo>
                    <a:pt x="719233" y="364046"/>
                  </a:lnTo>
                  <a:lnTo>
                    <a:pt x="717518" y="362712"/>
                  </a:lnTo>
                  <a:lnTo>
                    <a:pt x="711232" y="363474"/>
                  </a:lnTo>
                  <a:lnTo>
                    <a:pt x="711422" y="365093"/>
                  </a:lnTo>
                  <a:lnTo>
                    <a:pt x="708184" y="365474"/>
                  </a:lnTo>
                  <a:lnTo>
                    <a:pt x="708469" y="366998"/>
                  </a:lnTo>
                  <a:lnTo>
                    <a:pt x="709231" y="373380"/>
                  </a:lnTo>
                  <a:lnTo>
                    <a:pt x="708279" y="378238"/>
                  </a:lnTo>
                  <a:lnTo>
                    <a:pt x="699421" y="384238"/>
                  </a:lnTo>
                  <a:lnTo>
                    <a:pt x="693230" y="373761"/>
                  </a:lnTo>
                  <a:lnTo>
                    <a:pt x="686372" y="369856"/>
                  </a:lnTo>
                  <a:lnTo>
                    <a:pt x="684371" y="366903"/>
                  </a:lnTo>
                  <a:lnTo>
                    <a:pt x="671893" y="370046"/>
                  </a:lnTo>
                  <a:lnTo>
                    <a:pt x="664845" y="364522"/>
                  </a:lnTo>
                  <a:lnTo>
                    <a:pt x="659035" y="357283"/>
                  </a:lnTo>
                  <a:lnTo>
                    <a:pt x="654748" y="348234"/>
                  </a:lnTo>
                  <a:lnTo>
                    <a:pt x="657701" y="346234"/>
                  </a:lnTo>
                  <a:lnTo>
                    <a:pt x="661606" y="339280"/>
                  </a:lnTo>
                  <a:lnTo>
                    <a:pt x="654463" y="333851"/>
                  </a:lnTo>
                  <a:lnTo>
                    <a:pt x="652272" y="329279"/>
                  </a:lnTo>
                  <a:lnTo>
                    <a:pt x="649129" y="329660"/>
                  </a:lnTo>
                  <a:lnTo>
                    <a:pt x="650462" y="315087"/>
                  </a:lnTo>
                  <a:lnTo>
                    <a:pt x="648748" y="313658"/>
                  </a:lnTo>
                  <a:lnTo>
                    <a:pt x="643985" y="314325"/>
                  </a:lnTo>
                  <a:lnTo>
                    <a:pt x="635508" y="310610"/>
                  </a:lnTo>
                  <a:lnTo>
                    <a:pt x="634841" y="305848"/>
                  </a:lnTo>
                  <a:lnTo>
                    <a:pt x="633127" y="304419"/>
                  </a:lnTo>
                  <a:lnTo>
                    <a:pt x="630746" y="298323"/>
                  </a:lnTo>
                  <a:lnTo>
                    <a:pt x="622840" y="299371"/>
                  </a:lnTo>
                  <a:lnTo>
                    <a:pt x="620649" y="294799"/>
                  </a:lnTo>
                  <a:lnTo>
                    <a:pt x="615696" y="293846"/>
                  </a:lnTo>
                  <a:lnTo>
                    <a:pt x="613886" y="292513"/>
                  </a:lnTo>
                  <a:lnTo>
                    <a:pt x="610552" y="291275"/>
                  </a:lnTo>
                  <a:lnTo>
                    <a:pt x="596170" y="304324"/>
                  </a:lnTo>
                  <a:lnTo>
                    <a:pt x="591693" y="306515"/>
                  </a:lnTo>
                  <a:lnTo>
                    <a:pt x="592646" y="314420"/>
                  </a:lnTo>
                  <a:lnTo>
                    <a:pt x="592264" y="324136"/>
                  </a:lnTo>
                  <a:lnTo>
                    <a:pt x="596646" y="333184"/>
                  </a:lnTo>
                  <a:lnTo>
                    <a:pt x="602932" y="332327"/>
                  </a:lnTo>
                  <a:lnTo>
                    <a:pt x="604933" y="322517"/>
                  </a:lnTo>
                  <a:lnTo>
                    <a:pt x="611410" y="323278"/>
                  </a:lnTo>
                  <a:lnTo>
                    <a:pt x="615029" y="326041"/>
                  </a:lnTo>
                  <a:lnTo>
                    <a:pt x="619697" y="325374"/>
                  </a:lnTo>
                  <a:lnTo>
                    <a:pt x="624078" y="334518"/>
                  </a:lnTo>
                  <a:lnTo>
                    <a:pt x="622744" y="336232"/>
                  </a:lnTo>
                  <a:lnTo>
                    <a:pt x="622935" y="337852"/>
                  </a:lnTo>
                  <a:lnTo>
                    <a:pt x="618554" y="341567"/>
                  </a:lnTo>
                  <a:lnTo>
                    <a:pt x="622173" y="344329"/>
                  </a:lnTo>
                  <a:lnTo>
                    <a:pt x="622744" y="349091"/>
                  </a:lnTo>
                  <a:lnTo>
                    <a:pt x="619601" y="349472"/>
                  </a:lnTo>
                  <a:lnTo>
                    <a:pt x="618172" y="351282"/>
                  </a:lnTo>
                  <a:lnTo>
                    <a:pt x="621982" y="355568"/>
                  </a:lnTo>
                  <a:lnTo>
                    <a:pt x="621030" y="360521"/>
                  </a:lnTo>
                  <a:lnTo>
                    <a:pt x="617410" y="357759"/>
                  </a:lnTo>
                  <a:lnTo>
                    <a:pt x="617220" y="356235"/>
                  </a:lnTo>
                  <a:lnTo>
                    <a:pt x="613696" y="353473"/>
                  </a:lnTo>
                  <a:lnTo>
                    <a:pt x="594741" y="355854"/>
                  </a:lnTo>
                  <a:lnTo>
                    <a:pt x="593503" y="346424"/>
                  </a:lnTo>
                  <a:lnTo>
                    <a:pt x="582930" y="350996"/>
                  </a:lnTo>
                  <a:lnTo>
                    <a:pt x="577786" y="361188"/>
                  </a:lnTo>
                  <a:lnTo>
                    <a:pt x="569309" y="357473"/>
                  </a:lnTo>
                  <a:lnTo>
                    <a:pt x="563404" y="361474"/>
                  </a:lnTo>
                  <a:lnTo>
                    <a:pt x="558641" y="362045"/>
                  </a:lnTo>
                  <a:lnTo>
                    <a:pt x="539591" y="388525"/>
                  </a:lnTo>
                  <a:lnTo>
                    <a:pt x="537019" y="393668"/>
                  </a:lnTo>
                  <a:lnTo>
                    <a:pt x="529304" y="396240"/>
                  </a:lnTo>
                  <a:lnTo>
                    <a:pt x="515874" y="391573"/>
                  </a:lnTo>
                  <a:lnTo>
                    <a:pt x="509778" y="393954"/>
                  </a:lnTo>
                  <a:lnTo>
                    <a:pt x="500920" y="399860"/>
                  </a:lnTo>
                  <a:lnTo>
                    <a:pt x="495205" y="392620"/>
                  </a:lnTo>
                  <a:lnTo>
                    <a:pt x="492061" y="393002"/>
                  </a:lnTo>
                  <a:lnTo>
                    <a:pt x="491395" y="388239"/>
                  </a:lnTo>
                  <a:lnTo>
                    <a:pt x="488251" y="388620"/>
                  </a:lnTo>
                  <a:lnTo>
                    <a:pt x="487871" y="385477"/>
                  </a:lnTo>
                  <a:lnTo>
                    <a:pt x="482917" y="384524"/>
                  </a:lnTo>
                  <a:lnTo>
                    <a:pt x="479012" y="378619"/>
                  </a:lnTo>
                  <a:lnTo>
                    <a:pt x="477393" y="378809"/>
                  </a:lnTo>
                  <a:lnTo>
                    <a:pt x="476059" y="380619"/>
                  </a:lnTo>
                  <a:lnTo>
                    <a:pt x="472249" y="376238"/>
                  </a:lnTo>
                  <a:lnTo>
                    <a:pt x="475964" y="367760"/>
                  </a:lnTo>
                  <a:lnTo>
                    <a:pt x="470059" y="358902"/>
                  </a:lnTo>
                  <a:lnTo>
                    <a:pt x="468249" y="357569"/>
                  </a:lnTo>
                  <a:lnTo>
                    <a:pt x="453866" y="357759"/>
                  </a:lnTo>
                  <a:lnTo>
                    <a:pt x="451866" y="354806"/>
                  </a:lnTo>
                  <a:lnTo>
                    <a:pt x="448723" y="355187"/>
                  </a:lnTo>
                  <a:lnTo>
                    <a:pt x="448342" y="352044"/>
                  </a:lnTo>
                  <a:lnTo>
                    <a:pt x="444532" y="347758"/>
                  </a:lnTo>
                  <a:lnTo>
                    <a:pt x="441579" y="349663"/>
                  </a:lnTo>
                  <a:lnTo>
                    <a:pt x="439864" y="348329"/>
                  </a:lnTo>
                  <a:lnTo>
                    <a:pt x="434911" y="347377"/>
                  </a:lnTo>
                  <a:lnTo>
                    <a:pt x="430911" y="341471"/>
                  </a:lnTo>
                  <a:lnTo>
                    <a:pt x="433673" y="337852"/>
                  </a:lnTo>
                  <a:lnTo>
                    <a:pt x="434816" y="334518"/>
                  </a:lnTo>
                  <a:lnTo>
                    <a:pt x="432721" y="330041"/>
                  </a:lnTo>
                  <a:lnTo>
                    <a:pt x="427958" y="330613"/>
                  </a:lnTo>
                  <a:lnTo>
                    <a:pt x="431863" y="323659"/>
                  </a:lnTo>
                  <a:lnTo>
                    <a:pt x="428339" y="320897"/>
                  </a:lnTo>
                  <a:lnTo>
                    <a:pt x="429673" y="319183"/>
                  </a:lnTo>
                  <a:lnTo>
                    <a:pt x="428911" y="312801"/>
                  </a:lnTo>
                  <a:lnTo>
                    <a:pt x="422148" y="310515"/>
                  </a:lnTo>
                  <a:lnTo>
                    <a:pt x="423386" y="307086"/>
                  </a:lnTo>
                  <a:lnTo>
                    <a:pt x="419386" y="301180"/>
                  </a:lnTo>
                  <a:lnTo>
                    <a:pt x="417862" y="301466"/>
                  </a:lnTo>
                  <a:lnTo>
                    <a:pt x="420814" y="299466"/>
                  </a:lnTo>
                  <a:lnTo>
                    <a:pt x="420529" y="297847"/>
                  </a:lnTo>
                  <a:lnTo>
                    <a:pt x="419005" y="298037"/>
                  </a:lnTo>
                  <a:lnTo>
                    <a:pt x="420148" y="294703"/>
                  </a:lnTo>
                  <a:lnTo>
                    <a:pt x="416623" y="291941"/>
                  </a:lnTo>
                  <a:lnTo>
                    <a:pt x="416052" y="287179"/>
                  </a:lnTo>
                  <a:lnTo>
                    <a:pt x="413861" y="282702"/>
                  </a:lnTo>
                  <a:lnTo>
                    <a:pt x="408527" y="278511"/>
                  </a:lnTo>
                  <a:lnTo>
                    <a:pt x="405289" y="278987"/>
                  </a:lnTo>
                  <a:lnTo>
                    <a:pt x="405098" y="277368"/>
                  </a:lnTo>
                  <a:lnTo>
                    <a:pt x="398050" y="271844"/>
                  </a:lnTo>
                  <a:lnTo>
                    <a:pt x="399955" y="262033"/>
                  </a:lnTo>
                  <a:lnTo>
                    <a:pt x="379952" y="243650"/>
                  </a:lnTo>
                  <a:lnTo>
                    <a:pt x="374618" y="239554"/>
                  </a:lnTo>
                  <a:lnTo>
                    <a:pt x="364998" y="239173"/>
                  </a:lnTo>
                  <a:lnTo>
                    <a:pt x="360712" y="255746"/>
                  </a:lnTo>
                  <a:lnTo>
                    <a:pt x="350234" y="249079"/>
                  </a:lnTo>
                  <a:lnTo>
                    <a:pt x="343471" y="246698"/>
                  </a:lnTo>
                  <a:lnTo>
                    <a:pt x="334327" y="225457"/>
                  </a:lnTo>
                  <a:lnTo>
                    <a:pt x="325660" y="220123"/>
                  </a:lnTo>
                  <a:lnTo>
                    <a:pt x="318706" y="216217"/>
                  </a:lnTo>
                  <a:lnTo>
                    <a:pt x="318516" y="214598"/>
                  </a:lnTo>
                  <a:lnTo>
                    <a:pt x="313658" y="213646"/>
                  </a:lnTo>
                  <a:lnTo>
                    <a:pt x="309086" y="202978"/>
                  </a:lnTo>
                  <a:lnTo>
                    <a:pt x="301085" y="191167"/>
                  </a:lnTo>
                  <a:lnTo>
                    <a:pt x="306229" y="180880"/>
                  </a:lnTo>
                  <a:lnTo>
                    <a:pt x="309181" y="178975"/>
                  </a:lnTo>
                  <a:lnTo>
                    <a:pt x="317278" y="179546"/>
                  </a:lnTo>
                  <a:lnTo>
                    <a:pt x="322421" y="182023"/>
                  </a:lnTo>
                  <a:lnTo>
                    <a:pt x="326517" y="176689"/>
                  </a:lnTo>
                  <a:lnTo>
                    <a:pt x="331089" y="174593"/>
                  </a:lnTo>
                  <a:lnTo>
                    <a:pt x="337185" y="172212"/>
                  </a:lnTo>
                  <a:lnTo>
                    <a:pt x="349853" y="170593"/>
                  </a:lnTo>
                  <a:lnTo>
                    <a:pt x="358711" y="164592"/>
                  </a:lnTo>
                  <a:lnTo>
                    <a:pt x="362045" y="165830"/>
                  </a:lnTo>
                  <a:lnTo>
                    <a:pt x="366617" y="163640"/>
                  </a:lnTo>
                  <a:lnTo>
                    <a:pt x="369951" y="164782"/>
                  </a:lnTo>
                  <a:lnTo>
                    <a:pt x="377380" y="160592"/>
                  </a:lnTo>
                  <a:lnTo>
                    <a:pt x="376809" y="155924"/>
                  </a:lnTo>
                  <a:lnTo>
                    <a:pt x="381381" y="153734"/>
                  </a:lnTo>
                  <a:lnTo>
                    <a:pt x="380333" y="145828"/>
                  </a:lnTo>
                  <a:lnTo>
                    <a:pt x="384715" y="142018"/>
                  </a:lnTo>
                  <a:lnTo>
                    <a:pt x="385858" y="138684"/>
                  </a:lnTo>
                  <a:lnTo>
                    <a:pt x="388810" y="136684"/>
                  </a:lnTo>
                  <a:lnTo>
                    <a:pt x="392335" y="139446"/>
                  </a:lnTo>
                  <a:lnTo>
                    <a:pt x="400621" y="141637"/>
                  </a:lnTo>
                  <a:lnTo>
                    <a:pt x="406527" y="137636"/>
                  </a:lnTo>
                  <a:lnTo>
                    <a:pt x="412909" y="136874"/>
                  </a:lnTo>
                  <a:lnTo>
                    <a:pt x="412051" y="130588"/>
                  </a:lnTo>
                  <a:lnTo>
                    <a:pt x="412813" y="124015"/>
                  </a:lnTo>
                  <a:lnTo>
                    <a:pt x="412051" y="117729"/>
                  </a:lnTo>
                  <a:lnTo>
                    <a:pt x="416528" y="102679"/>
                  </a:lnTo>
                  <a:lnTo>
                    <a:pt x="400336" y="88773"/>
                  </a:lnTo>
                  <a:lnTo>
                    <a:pt x="387858" y="79153"/>
                  </a:lnTo>
                  <a:lnTo>
                    <a:pt x="388620" y="72580"/>
                  </a:lnTo>
                  <a:lnTo>
                    <a:pt x="388620" y="59722"/>
                  </a:lnTo>
                  <a:lnTo>
                    <a:pt x="394335" y="54197"/>
                  </a:lnTo>
                  <a:lnTo>
                    <a:pt x="398812" y="39243"/>
                  </a:lnTo>
                  <a:lnTo>
                    <a:pt x="403193" y="35433"/>
                  </a:lnTo>
                  <a:lnTo>
                    <a:pt x="402812" y="32290"/>
                  </a:lnTo>
                  <a:lnTo>
                    <a:pt x="405765" y="30290"/>
                  </a:lnTo>
                  <a:lnTo>
                    <a:pt x="403765" y="27337"/>
                  </a:lnTo>
                  <a:lnTo>
                    <a:pt x="394240" y="28575"/>
                  </a:lnTo>
                  <a:lnTo>
                    <a:pt x="392335" y="25622"/>
                  </a:lnTo>
                  <a:lnTo>
                    <a:pt x="387382" y="24670"/>
                  </a:lnTo>
                  <a:lnTo>
                    <a:pt x="381952" y="7715"/>
                  </a:lnTo>
                  <a:lnTo>
                    <a:pt x="366617" y="0"/>
                  </a:lnTo>
                  <a:lnTo>
                    <a:pt x="358711" y="1048"/>
                  </a:lnTo>
                  <a:lnTo>
                    <a:pt x="360331" y="13621"/>
                  </a:lnTo>
                  <a:lnTo>
                    <a:pt x="358330" y="23527"/>
                  </a:lnTo>
                  <a:lnTo>
                    <a:pt x="360521" y="28099"/>
                  </a:lnTo>
                  <a:lnTo>
                    <a:pt x="360712" y="29623"/>
                  </a:lnTo>
                  <a:lnTo>
                    <a:pt x="359378" y="31432"/>
                  </a:lnTo>
                  <a:lnTo>
                    <a:pt x="340614" y="48196"/>
                  </a:lnTo>
                  <a:lnTo>
                    <a:pt x="335375" y="56959"/>
                  </a:lnTo>
                  <a:lnTo>
                    <a:pt x="323279" y="63246"/>
                  </a:lnTo>
                  <a:lnTo>
                    <a:pt x="312706" y="67818"/>
                  </a:lnTo>
                  <a:lnTo>
                    <a:pt x="309753" y="69818"/>
                  </a:lnTo>
                  <a:lnTo>
                    <a:pt x="303181" y="69056"/>
                  </a:lnTo>
                  <a:lnTo>
                    <a:pt x="302800" y="65913"/>
                  </a:lnTo>
                  <a:lnTo>
                    <a:pt x="299466" y="64675"/>
                  </a:lnTo>
                  <a:lnTo>
                    <a:pt x="298609" y="58388"/>
                  </a:lnTo>
                  <a:lnTo>
                    <a:pt x="295084" y="55626"/>
                  </a:lnTo>
                  <a:lnTo>
                    <a:pt x="287179" y="56674"/>
                  </a:lnTo>
                  <a:lnTo>
                    <a:pt x="285845" y="58388"/>
                  </a:lnTo>
                  <a:lnTo>
                    <a:pt x="279749" y="60865"/>
                  </a:lnTo>
                  <a:lnTo>
                    <a:pt x="275558" y="66199"/>
                  </a:lnTo>
                  <a:lnTo>
                    <a:pt x="272224" y="64960"/>
                  </a:lnTo>
                  <a:lnTo>
                    <a:pt x="266129" y="67342"/>
                  </a:lnTo>
                  <a:lnTo>
                    <a:pt x="261175" y="66389"/>
                  </a:lnTo>
                  <a:lnTo>
                    <a:pt x="256032" y="63817"/>
                  </a:lnTo>
                  <a:lnTo>
                    <a:pt x="251079" y="62865"/>
                  </a:lnTo>
                  <a:lnTo>
                    <a:pt x="249364" y="61436"/>
                  </a:lnTo>
                  <a:lnTo>
                    <a:pt x="244602" y="62103"/>
                  </a:lnTo>
                  <a:lnTo>
                    <a:pt x="228409" y="60960"/>
                  </a:lnTo>
                  <a:lnTo>
                    <a:pt x="214789" y="67437"/>
                  </a:lnTo>
                  <a:lnTo>
                    <a:pt x="211836" y="69437"/>
                  </a:lnTo>
                  <a:lnTo>
                    <a:pt x="210121" y="68104"/>
                  </a:lnTo>
                  <a:lnTo>
                    <a:pt x="205740" y="71819"/>
                  </a:lnTo>
                  <a:lnTo>
                    <a:pt x="202216" y="69056"/>
                  </a:lnTo>
                  <a:lnTo>
                    <a:pt x="200596" y="69247"/>
                  </a:lnTo>
                  <a:lnTo>
                    <a:pt x="202025" y="80296"/>
                  </a:lnTo>
                  <a:lnTo>
                    <a:pt x="200882" y="83725"/>
                  </a:lnTo>
                  <a:lnTo>
                    <a:pt x="196310" y="85915"/>
                  </a:lnTo>
                  <a:lnTo>
                    <a:pt x="190405" y="89821"/>
                  </a:lnTo>
                  <a:lnTo>
                    <a:pt x="183451" y="85915"/>
                  </a:lnTo>
                  <a:lnTo>
                    <a:pt x="181927" y="98965"/>
                  </a:lnTo>
                  <a:lnTo>
                    <a:pt x="179546" y="105632"/>
                  </a:lnTo>
                  <a:lnTo>
                    <a:pt x="182404" y="114967"/>
                  </a:lnTo>
                  <a:lnTo>
                    <a:pt x="181546" y="121444"/>
                  </a:lnTo>
                  <a:lnTo>
                    <a:pt x="182404" y="127730"/>
                  </a:lnTo>
                  <a:lnTo>
                    <a:pt x="179641" y="131350"/>
                  </a:lnTo>
                  <a:lnTo>
                    <a:pt x="180213" y="136017"/>
                  </a:lnTo>
                  <a:lnTo>
                    <a:pt x="174307" y="140017"/>
                  </a:lnTo>
                  <a:lnTo>
                    <a:pt x="166021" y="137827"/>
                  </a:lnTo>
                  <a:lnTo>
                    <a:pt x="163068" y="139827"/>
                  </a:lnTo>
                  <a:lnTo>
                    <a:pt x="157734" y="135731"/>
                  </a:lnTo>
                  <a:lnTo>
                    <a:pt x="150019" y="125444"/>
                  </a:lnTo>
                  <a:lnTo>
                    <a:pt x="148209" y="124111"/>
                  </a:lnTo>
                  <a:lnTo>
                    <a:pt x="144971" y="135731"/>
                  </a:lnTo>
                  <a:lnTo>
                    <a:pt x="136493" y="144780"/>
                  </a:lnTo>
                  <a:lnTo>
                    <a:pt x="129159" y="163354"/>
                  </a:lnTo>
                  <a:lnTo>
                    <a:pt x="121920" y="169164"/>
                  </a:lnTo>
                  <a:lnTo>
                    <a:pt x="108299" y="162877"/>
                  </a:lnTo>
                  <a:lnTo>
                    <a:pt x="102394" y="166783"/>
                  </a:lnTo>
                  <a:lnTo>
                    <a:pt x="98488" y="173736"/>
                  </a:lnTo>
                  <a:lnTo>
                    <a:pt x="99250" y="180023"/>
                  </a:lnTo>
                  <a:lnTo>
                    <a:pt x="94964" y="183832"/>
                  </a:lnTo>
                  <a:lnTo>
                    <a:pt x="91916" y="185738"/>
                  </a:lnTo>
                  <a:lnTo>
                    <a:pt x="86582" y="181642"/>
                  </a:lnTo>
                  <a:lnTo>
                    <a:pt x="81534" y="191929"/>
                  </a:lnTo>
                  <a:lnTo>
                    <a:pt x="77343" y="197263"/>
                  </a:lnTo>
                  <a:lnTo>
                    <a:pt x="69342" y="209550"/>
                  </a:lnTo>
                  <a:lnTo>
                    <a:pt x="66199" y="209931"/>
                  </a:lnTo>
                  <a:lnTo>
                    <a:pt x="55912" y="217646"/>
                  </a:lnTo>
                  <a:lnTo>
                    <a:pt x="58483" y="225361"/>
                  </a:lnTo>
                  <a:lnTo>
                    <a:pt x="59912" y="236411"/>
                  </a:lnTo>
                  <a:lnTo>
                    <a:pt x="63913" y="242316"/>
                  </a:lnTo>
                  <a:lnTo>
                    <a:pt x="59912" y="249174"/>
                  </a:lnTo>
                  <a:lnTo>
                    <a:pt x="44196" y="264033"/>
                  </a:lnTo>
                  <a:lnTo>
                    <a:pt x="51721" y="285559"/>
                  </a:lnTo>
                  <a:lnTo>
                    <a:pt x="51340" y="295180"/>
                  </a:lnTo>
                  <a:lnTo>
                    <a:pt x="53721" y="301276"/>
                  </a:lnTo>
                  <a:lnTo>
                    <a:pt x="54769" y="309182"/>
                  </a:lnTo>
                  <a:lnTo>
                    <a:pt x="47530" y="327755"/>
                  </a:lnTo>
                  <a:lnTo>
                    <a:pt x="39814" y="330327"/>
                  </a:lnTo>
                  <a:lnTo>
                    <a:pt x="37242" y="335471"/>
                  </a:lnTo>
                  <a:lnTo>
                    <a:pt x="31718" y="342614"/>
                  </a:lnTo>
                  <a:lnTo>
                    <a:pt x="24098" y="345186"/>
                  </a:lnTo>
                  <a:lnTo>
                    <a:pt x="19526" y="360140"/>
                  </a:lnTo>
                  <a:lnTo>
                    <a:pt x="11049" y="369284"/>
                  </a:lnTo>
                  <a:lnTo>
                    <a:pt x="12668" y="381857"/>
                  </a:lnTo>
                  <a:lnTo>
                    <a:pt x="15049" y="388048"/>
                  </a:lnTo>
                  <a:lnTo>
                    <a:pt x="14288" y="394526"/>
                  </a:lnTo>
                  <a:lnTo>
                    <a:pt x="5429" y="400431"/>
                  </a:lnTo>
                  <a:lnTo>
                    <a:pt x="3905" y="400622"/>
                  </a:lnTo>
                  <a:lnTo>
                    <a:pt x="6286" y="406813"/>
                  </a:lnTo>
                  <a:lnTo>
                    <a:pt x="14764" y="410528"/>
                  </a:lnTo>
                  <a:lnTo>
                    <a:pt x="29432" y="424720"/>
                  </a:lnTo>
                  <a:lnTo>
                    <a:pt x="33528" y="432149"/>
                  </a:lnTo>
                  <a:lnTo>
                    <a:pt x="33718" y="433769"/>
                  </a:lnTo>
                  <a:lnTo>
                    <a:pt x="36100" y="439865"/>
                  </a:lnTo>
                  <a:lnTo>
                    <a:pt x="33338" y="443389"/>
                  </a:lnTo>
                  <a:lnTo>
                    <a:pt x="35338" y="446341"/>
                  </a:lnTo>
                  <a:lnTo>
                    <a:pt x="32766" y="451485"/>
                  </a:lnTo>
                  <a:lnTo>
                    <a:pt x="31051" y="450152"/>
                  </a:lnTo>
                  <a:lnTo>
                    <a:pt x="28861" y="458438"/>
                  </a:lnTo>
                  <a:lnTo>
                    <a:pt x="22574" y="459200"/>
                  </a:lnTo>
                  <a:lnTo>
                    <a:pt x="21622" y="464153"/>
                  </a:lnTo>
                  <a:lnTo>
                    <a:pt x="17050" y="466344"/>
                  </a:lnTo>
                  <a:lnTo>
                    <a:pt x="17431" y="469487"/>
                  </a:lnTo>
                  <a:lnTo>
                    <a:pt x="9811" y="472059"/>
                  </a:lnTo>
                  <a:lnTo>
                    <a:pt x="12097" y="478155"/>
                  </a:lnTo>
                  <a:lnTo>
                    <a:pt x="10954" y="481584"/>
                  </a:lnTo>
                  <a:lnTo>
                    <a:pt x="19240" y="483679"/>
                  </a:lnTo>
                  <a:lnTo>
                    <a:pt x="16954" y="490442"/>
                  </a:lnTo>
                  <a:lnTo>
                    <a:pt x="17335" y="493586"/>
                  </a:lnTo>
                  <a:lnTo>
                    <a:pt x="15907" y="495395"/>
                  </a:lnTo>
                  <a:lnTo>
                    <a:pt x="14192" y="493966"/>
                  </a:lnTo>
                  <a:lnTo>
                    <a:pt x="13144" y="498919"/>
                  </a:lnTo>
                  <a:lnTo>
                    <a:pt x="13430" y="500539"/>
                  </a:lnTo>
                  <a:lnTo>
                    <a:pt x="7715" y="506063"/>
                  </a:lnTo>
                  <a:lnTo>
                    <a:pt x="6477" y="509397"/>
                  </a:lnTo>
                  <a:lnTo>
                    <a:pt x="1714" y="509969"/>
                  </a:lnTo>
                  <a:lnTo>
                    <a:pt x="4191" y="516065"/>
                  </a:lnTo>
                  <a:lnTo>
                    <a:pt x="952" y="516541"/>
                  </a:lnTo>
                  <a:lnTo>
                    <a:pt x="0" y="521398"/>
                  </a:lnTo>
                  <a:lnTo>
                    <a:pt x="8477" y="525208"/>
                  </a:lnTo>
                  <a:lnTo>
                    <a:pt x="10858" y="531304"/>
                  </a:lnTo>
                  <a:lnTo>
                    <a:pt x="10287" y="539401"/>
                  </a:lnTo>
                  <a:lnTo>
                    <a:pt x="12859" y="534257"/>
                  </a:lnTo>
                  <a:lnTo>
                    <a:pt x="16192" y="535400"/>
                  </a:lnTo>
                  <a:lnTo>
                    <a:pt x="18192" y="538353"/>
                  </a:lnTo>
                  <a:lnTo>
                    <a:pt x="19050" y="544640"/>
                  </a:lnTo>
                  <a:lnTo>
                    <a:pt x="23622" y="555307"/>
                  </a:lnTo>
                  <a:lnTo>
                    <a:pt x="26956" y="556546"/>
                  </a:lnTo>
                  <a:lnTo>
                    <a:pt x="29146" y="561023"/>
                  </a:lnTo>
                  <a:lnTo>
                    <a:pt x="36195" y="553688"/>
                  </a:lnTo>
                  <a:lnTo>
                    <a:pt x="39338" y="553307"/>
                  </a:lnTo>
                  <a:lnTo>
                    <a:pt x="44291" y="554260"/>
                  </a:lnTo>
                  <a:lnTo>
                    <a:pt x="43720" y="549593"/>
                  </a:lnTo>
                  <a:lnTo>
                    <a:pt x="45053" y="547783"/>
                  </a:lnTo>
                  <a:lnTo>
                    <a:pt x="50197" y="550354"/>
                  </a:lnTo>
                  <a:lnTo>
                    <a:pt x="53911" y="541877"/>
                  </a:lnTo>
                  <a:lnTo>
                    <a:pt x="57055" y="541401"/>
                  </a:lnTo>
                  <a:lnTo>
                    <a:pt x="54578" y="559403"/>
                  </a:lnTo>
                  <a:lnTo>
                    <a:pt x="48482" y="574643"/>
                  </a:lnTo>
                  <a:lnTo>
                    <a:pt x="46101" y="581311"/>
                  </a:lnTo>
                  <a:lnTo>
                    <a:pt x="49244" y="580930"/>
                  </a:lnTo>
                  <a:lnTo>
                    <a:pt x="49721" y="584073"/>
                  </a:lnTo>
                  <a:lnTo>
                    <a:pt x="51435" y="585407"/>
                  </a:lnTo>
                  <a:lnTo>
                    <a:pt x="51911" y="588645"/>
                  </a:lnTo>
                  <a:lnTo>
                    <a:pt x="53245" y="586835"/>
                  </a:lnTo>
                  <a:lnTo>
                    <a:pt x="56197" y="584835"/>
                  </a:lnTo>
                  <a:lnTo>
                    <a:pt x="58007" y="586264"/>
                  </a:lnTo>
                  <a:lnTo>
                    <a:pt x="59531" y="585978"/>
                  </a:lnTo>
                  <a:lnTo>
                    <a:pt x="59150" y="582835"/>
                  </a:lnTo>
                  <a:lnTo>
                    <a:pt x="62293" y="582454"/>
                  </a:lnTo>
                  <a:lnTo>
                    <a:pt x="63532" y="579120"/>
                  </a:lnTo>
                  <a:lnTo>
                    <a:pt x="65437" y="582073"/>
                  </a:lnTo>
                  <a:lnTo>
                    <a:pt x="70009" y="579882"/>
                  </a:lnTo>
                  <a:lnTo>
                    <a:pt x="73533" y="582644"/>
                  </a:lnTo>
                  <a:lnTo>
                    <a:pt x="76486" y="580644"/>
                  </a:lnTo>
                  <a:lnTo>
                    <a:pt x="78867" y="586740"/>
                  </a:lnTo>
                  <a:lnTo>
                    <a:pt x="85439" y="587502"/>
                  </a:lnTo>
                  <a:lnTo>
                    <a:pt x="88963" y="590264"/>
                  </a:lnTo>
                  <a:lnTo>
                    <a:pt x="93535" y="588074"/>
                  </a:lnTo>
                  <a:lnTo>
                    <a:pt x="95536" y="591026"/>
                  </a:lnTo>
                  <a:lnTo>
                    <a:pt x="96107" y="595789"/>
                  </a:lnTo>
                  <a:lnTo>
                    <a:pt x="97250" y="592455"/>
                  </a:lnTo>
                  <a:lnTo>
                    <a:pt x="98869" y="592265"/>
                  </a:lnTo>
                  <a:lnTo>
                    <a:pt x="104204" y="596360"/>
                  </a:lnTo>
                  <a:lnTo>
                    <a:pt x="104394" y="597979"/>
                  </a:lnTo>
                  <a:lnTo>
                    <a:pt x="104584" y="599503"/>
                  </a:lnTo>
                  <a:lnTo>
                    <a:pt x="109538" y="600551"/>
                  </a:lnTo>
                  <a:lnTo>
                    <a:pt x="115633" y="598075"/>
                  </a:lnTo>
                  <a:lnTo>
                    <a:pt x="127254" y="601408"/>
                  </a:lnTo>
                  <a:lnTo>
                    <a:pt x="126301" y="606361"/>
                  </a:lnTo>
                  <a:lnTo>
                    <a:pt x="128302" y="609314"/>
                  </a:lnTo>
                  <a:lnTo>
                    <a:pt x="130873" y="604171"/>
                  </a:lnTo>
                  <a:lnTo>
                    <a:pt x="133636" y="600647"/>
                  </a:lnTo>
                  <a:lnTo>
                    <a:pt x="143065" y="599408"/>
                  </a:lnTo>
                  <a:lnTo>
                    <a:pt x="150400" y="593693"/>
                  </a:lnTo>
                  <a:lnTo>
                    <a:pt x="157829" y="602361"/>
                  </a:lnTo>
                  <a:lnTo>
                    <a:pt x="159258" y="600551"/>
                  </a:lnTo>
                  <a:lnTo>
                    <a:pt x="161258" y="603504"/>
                  </a:lnTo>
                  <a:lnTo>
                    <a:pt x="172688" y="618077"/>
                  </a:lnTo>
                  <a:lnTo>
                    <a:pt x="174688" y="621030"/>
                  </a:lnTo>
                  <a:lnTo>
                    <a:pt x="177832" y="620649"/>
                  </a:lnTo>
                  <a:lnTo>
                    <a:pt x="180022" y="625221"/>
                  </a:lnTo>
                  <a:lnTo>
                    <a:pt x="186976" y="629126"/>
                  </a:lnTo>
                  <a:lnTo>
                    <a:pt x="189357" y="635222"/>
                  </a:lnTo>
                  <a:lnTo>
                    <a:pt x="186404" y="637223"/>
                  </a:lnTo>
                  <a:lnTo>
                    <a:pt x="186785" y="640366"/>
                  </a:lnTo>
                  <a:lnTo>
                    <a:pt x="193929" y="645890"/>
                  </a:lnTo>
                  <a:lnTo>
                    <a:pt x="195834" y="648843"/>
                  </a:lnTo>
                  <a:lnTo>
                    <a:pt x="189738" y="651224"/>
                  </a:lnTo>
                  <a:lnTo>
                    <a:pt x="196882" y="656749"/>
                  </a:lnTo>
                  <a:lnTo>
                    <a:pt x="199072" y="661226"/>
                  </a:lnTo>
                  <a:lnTo>
                    <a:pt x="198691" y="658082"/>
                  </a:lnTo>
                  <a:lnTo>
                    <a:pt x="203359" y="657511"/>
                  </a:lnTo>
                  <a:lnTo>
                    <a:pt x="207740" y="653701"/>
                  </a:lnTo>
                  <a:lnTo>
                    <a:pt x="215170" y="649605"/>
                  </a:lnTo>
                  <a:lnTo>
                    <a:pt x="230219" y="654082"/>
                  </a:lnTo>
                  <a:lnTo>
                    <a:pt x="235363" y="656653"/>
                  </a:lnTo>
                  <a:lnTo>
                    <a:pt x="238125" y="653034"/>
                  </a:lnTo>
                  <a:lnTo>
                    <a:pt x="241459" y="654272"/>
                  </a:lnTo>
                  <a:lnTo>
                    <a:pt x="249746" y="669227"/>
                  </a:lnTo>
                  <a:lnTo>
                    <a:pt x="253174" y="670370"/>
                  </a:lnTo>
                  <a:lnTo>
                    <a:pt x="266319" y="673513"/>
                  </a:lnTo>
                  <a:lnTo>
                    <a:pt x="274225" y="659702"/>
                  </a:lnTo>
                  <a:lnTo>
                    <a:pt x="272415" y="658368"/>
                  </a:lnTo>
                  <a:lnTo>
                    <a:pt x="273653" y="654939"/>
                  </a:lnTo>
                  <a:lnTo>
                    <a:pt x="276225" y="649795"/>
                  </a:lnTo>
                  <a:lnTo>
                    <a:pt x="279559" y="651034"/>
                  </a:lnTo>
                  <a:lnTo>
                    <a:pt x="281559" y="653986"/>
                  </a:lnTo>
                  <a:lnTo>
                    <a:pt x="289846" y="656082"/>
                  </a:lnTo>
                  <a:lnTo>
                    <a:pt x="298323" y="659797"/>
                  </a:lnTo>
                  <a:lnTo>
                    <a:pt x="310134" y="677608"/>
                  </a:lnTo>
                  <a:lnTo>
                    <a:pt x="316897" y="679895"/>
                  </a:lnTo>
                  <a:lnTo>
                    <a:pt x="329565" y="678275"/>
                  </a:lnTo>
                  <a:lnTo>
                    <a:pt x="330327" y="671798"/>
                  </a:lnTo>
                  <a:lnTo>
                    <a:pt x="336423" y="669417"/>
                  </a:lnTo>
                  <a:lnTo>
                    <a:pt x="340519" y="664083"/>
                  </a:lnTo>
                  <a:lnTo>
                    <a:pt x="343852" y="665226"/>
                  </a:lnTo>
                  <a:lnTo>
                    <a:pt x="346234" y="658558"/>
                  </a:lnTo>
                  <a:lnTo>
                    <a:pt x="354901" y="663893"/>
                  </a:lnTo>
                  <a:lnTo>
                    <a:pt x="359664" y="663226"/>
                  </a:lnTo>
                  <a:lnTo>
                    <a:pt x="365569" y="672084"/>
                  </a:lnTo>
                  <a:lnTo>
                    <a:pt x="371761" y="669703"/>
                  </a:lnTo>
                  <a:lnTo>
                    <a:pt x="375094" y="670941"/>
                  </a:lnTo>
                  <a:lnTo>
                    <a:pt x="378619" y="673703"/>
                  </a:lnTo>
                  <a:lnTo>
                    <a:pt x="376047" y="678847"/>
                  </a:lnTo>
                  <a:lnTo>
                    <a:pt x="379476" y="679990"/>
                  </a:lnTo>
                  <a:lnTo>
                    <a:pt x="381190" y="681323"/>
                  </a:lnTo>
                  <a:lnTo>
                    <a:pt x="384810" y="684086"/>
                  </a:lnTo>
                  <a:lnTo>
                    <a:pt x="387953" y="683704"/>
                  </a:lnTo>
                  <a:lnTo>
                    <a:pt x="390334" y="677037"/>
                  </a:lnTo>
                  <a:lnTo>
                    <a:pt x="391858" y="676751"/>
                  </a:lnTo>
                  <a:lnTo>
                    <a:pt x="391287" y="684848"/>
                  </a:lnTo>
                  <a:lnTo>
                    <a:pt x="393287" y="687800"/>
                  </a:lnTo>
                  <a:lnTo>
                    <a:pt x="391668" y="687991"/>
                  </a:lnTo>
                  <a:lnTo>
                    <a:pt x="390715" y="692944"/>
                  </a:lnTo>
                  <a:lnTo>
                    <a:pt x="389096" y="693134"/>
                  </a:lnTo>
                  <a:lnTo>
                    <a:pt x="382905" y="706755"/>
                  </a:lnTo>
                  <a:lnTo>
                    <a:pt x="381857" y="711708"/>
                  </a:lnTo>
                  <a:lnTo>
                    <a:pt x="385096" y="724186"/>
                  </a:lnTo>
                  <a:lnTo>
                    <a:pt x="386715" y="736759"/>
                  </a:lnTo>
                  <a:lnTo>
                    <a:pt x="389096" y="742855"/>
                  </a:lnTo>
                  <a:lnTo>
                    <a:pt x="409861" y="754666"/>
                  </a:lnTo>
                  <a:lnTo>
                    <a:pt x="410242" y="757809"/>
                  </a:lnTo>
                  <a:lnTo>
                    <a:pt x="411956" y="759238"/>
                  </a:lnTo>
                  <a:lnTo>
                    <a:pt x="414528" y="754094"/>
                  </a:lnTo>
                  <a:lnTo>
                    <a:pt x="416338" y="755428"/>
                  </a:lnTo>
                  <a:lnTo>
                    <a:pt x="417671" y="753713"/>
                  </a:lnTo>
                  <a:lnTo>
                    <a:pt x="419290" y="753523"/>
                  </a:lnTo>
                  <a:lnTo>
                    <a:pt x="419671" y="743807"/>
                  </a:lnTo>
                  <a:lnTo>
                    <a:pt x="422243" y="738664"/>
                  </a:lnTo>
                  <a:lnTo>
                    <a:pt x="422243" y="738664"/>
                  </a:lnTo>
                  <a:lnTo>
                    <a:pt x="429292" y="744188"/>
                  </a:lnTo>
                  <a:lnTo>
                    <a:pt x="437864" y="760762"/>
                  </a:lnTo>
                  <a:lnTo>
                    <a:pt x="448532" y="769049"/>
                  </a:lnTo>
                  <a:lnTo>
                    <a:pt x="444817" y="777526"/>
                  </a:lnTo>
                  <a:lnTo>
                    <a:pt x="450151" y="781622"/>
                  </a:lnTo>
                  <a:lnTo>
                    <a:pt x="451294" y="791051"/>
                  </a:lnTo>
                  <a:lnTo>
                    <a:pt x="453104" y="792480"/>
                  </a:lnTo>
                  <a:lnTo>
                    <a:pt x="455866" y="788956"/>
                  </a:lnTo>
                  <a:lnTo>
                    <a:pt x="459010" y="788479"/>
                  </a:lnTo>
                  <a:lnTo>
                    <a:pt x="464820" y="795814"/>
                  </a:lnTo>
                  <a:lnTo>
                    <a:pt x="473488" y="801148"/>
                  </a:lnTo>
                  <a:lnTo>
                    <a:pt x="479965" y="801910"/>
                  </a:lnTo>
                  <a:lnTo>
                    <a:pt x="484537" y="812482"/>
                  </a:lnTo>
                  <a:lnTo>
                    <a:pt x="490061" y="818198"/>
                  </a:lnTo>
                  <a:lnTo>
                    <a:pt x="493681" y="820960"/>
                  </a:lnTo>
                  <a:lnTo>
                    <a:pt x="495586" y="823912"/>
                  </a:lnTo>
                  <a:lnTo>
                    <a:pt x="497967" y="830008"/>
                  </a:lnTo>
                  <a:lnTo>
                    <a:pt x="501110" y="829628"/>
                  </a:lnTo>
                  <a:lnTo>
                    <a:pt x="501777" y="834390"/>
                  </a:lnTo>
                  <a:lnTo>
                    <a:pt x="503301" y="834199"/>
                  </a:lnTo>
                  <a:lnTo>
                    <a:pt x="501967" y="836009"/>
                  </a:lnTo>
                  <a:lnTo>
                    <a:pt x="504158" y="840486"/>
                  </a:lnTo>
                  <a:lnTo>
                    <a:pt x="507111" y="838486"/>
                  </a:lnTo>
                  <a:lnTo>
                    <a:pt x="508921" y="839915"/>
                  </a:lnTo>
                  <a:lnTo>
                    <a:pt x="508063" y="846391"/>
                  </a:lnTo>
                  <a:lnTo>
                    <a:pt x="513207" y="848963"/>
                  </a:lnTo>
                  <a:lnTo>
                    <a:pt x="516350" y="848582"/>
                  </a:lnTo>
                  <a:lnTo>
                    <a:pt x="513397" y="850582"/>
                  </a:lnTo>
                  <a:lnTo>
                    <a:pt x="515017" y="850297"/>
                  </a:lnTo>
                  <a:lnTo>
                    <a:pt x="513874" y="853726"/>
                  </a:lnTo>
                  <a:lnTo>
                    <a:pt x="517207" y="854869"/>
                  </a:lnTo>
                  <a:lnTo>
                    <a:pt x="513302" y="861822"/>
                  </a:lnTo>
                  <a:lnTo>
                    <a:pt x="508349" y="860774"/>
                  </a:lnTo>
                  <a:lnTo>
                    <a:pt x="501205" y="868108"/>
                  </a:lnTo>
                  <a:lnTo>
                    <a:pt x="501682" y="871252"/>
                  </a:lnTo>
                  <a:lnTo>
                    <a:pt x="504825" y="870871"/>
                  </a:lnTo>
                  <a:lnTo>
                    <a:pt x="508730" y="876776"/>
                  </a:lnTo>
                  <a:lnTo>
                    <a:pt x="509588" y="883063"/>
                  </a:lnTo>
                  <a:lnTo>
                    <a:pt x="516731" y="888587"/>
                  </a:lnTo>
                  <a:lnTo>
                    <a:pt x="521398" y="875157"/>
                  </a:lnTo>
                  <a:lnTo>
                    <a:pt x="522732" y="873443"/>
                  </a:lnTo>
                  <a:lnTo>
                    <a:pt x="527494" y="872776"/>
                  </a:lnTo>
                  <a:lnTo>
                    <a:pt x="526923" y="868108"/>
                  </a:lnTo>
                  <a:lnTo>
                    <a:pt x="529685" y="864489"/>
                  </a:lnTo>
                  <a:lnTo>
                    <a:pt x="539972" y="869632"/>
                  </a:lnTo>
                  <a:lnTo>
                    <a:pt x="540925" y="864679"/>
                  </a:lnTo>
                  <a:lnTo>
                    <a:pt x="544068" y="864299"/>
                  </a:lnTo>
                  <a:lnTo>
                    <a:pt x="544258" y="865823"/>
                  </a:lnTo>
                  <a:lnTo>
                    <a:pt x="541687" y="870966"/>
                  </a:lnTo>
                  <a:lnTo>
                    <a:pt x="548830" y="876490"/>
                  </a:lnTo>
                  <a:lnTo>
                    <a:pt x="546449" y="883253"/>
                  </a:lnTo>
                  <a:lnTo>
                    <a:pt x="548068" y="883063"/>
                  </a:lnTo>
                  <a:lnTo>
                    <a:pt x="548449" y="886206"/>
                  </a:lnTo>
                  <a:lnTo>
                    <a:pt x="550259" y="887540"/>
                  </a:lnTo>
                  <a:lnTo>
                    <a:pt x="549497" y="894016"/>
                  </a:lnTo>
                  <a:lnTo>
                    <a:pt x="554164" y="893445"/>
                  </a:lnTo>
                  <a:lnTo>
                    <a:pt x="554641" y="896588"/>
                  </a:lnTo>
                  <a:lnTo>
                    <a:pt x="576643" y="893826"/>
                  </a:lnTo>
                  <a:lnTo>
                    <a:pt x="583216" y="894588"/>
                  </a:lnTo>
                  <a:lnTo>
                    <a:pt x="590264" y="900112"/>
                  </a:lnTo>
                  <a:lnTo>
                    <a:pt x="591502" y="896683"/>
                  </a:lnTo>
                  <a:lnTo>
                    <a:pt x="594646" y="896303"/>
                  </a:lnTo>
                  <a:lnTo>
                    <a:pt x="600551" y="905161"/>
                  </a:lnTo>
                  <a:lnTo>
                    <a:pt x="607885" y="912304"/>
                  </a:lnTo>
                  <a:lnTo>
                    <a:pt x="609314" y="923353"/>
                  </a:lnTo>
                  <a:lnTo>
                    <a:pt x="608933" y="932974"/>
                  </a:lnTo>
                  <a:lnTo>
                    <a:pt x="615696" y="935355"/>
                  </a:lnTo>
                  <a:lnTo>
                    <a:pt x="617030" y="933545"/>
                  </a:lnTo>
                  <a:lnTo>
                    <a:pt x="623316" y="932783"/>
                  </a:lnTo>
                  <a:lnTo>
                    <a:pt x="638365" y="924401"/>
                  </a:lnTo>
                  <a:lnTo>
                    <a:pt x="652367" y="921068"/>
                  </a:lnTo>
                  <a:lnTo>
                    <a:pt x="659987" y="918496"/>
                  </a:lnTo>
                  <a:lnTo>
                    <a:pt x="668083" y="919067"/>
                  </a:lnTo>
                  <a:lnTo>
                    <a:pt x="669703" y="918877"/>
                  </a:lnTo>
                  <a:lnTo>
                    <a:pt x="673989" y="915067"/>
                  </a:lnTo>
                  <a:lnTo>
                    <a:pt x="682276" y="917257"/>
                  </a:lnTo>
                  <a:lnTo>
                    <a:pt x="685229" y="915257"/>
                  </a:lnTo>
                  <a:lnTo>
                    <a:pt x="691801" y="916019"/>
                  </a:lnTo>
                  <a:lnTo>
                    <a:pt x="702373" y="911447"/>
                  </a:lnTo>
                  <a:lnTo>
                    <a:pt x="710374" y="923258"/>
                  </a:lnTo>
                  <a:lnTo>
                    <a:pt x="725900" y="919734"/>
                  </a:lnTo>
                  <a:lnTo>
                    <a:pt x="730282" y="915924"/>
                  </a:lnTo>
                  <a:lnTo>
                    <a:pt x="733806" y="918686"/>
                  </a:lnTo>
                  <a:lnTo>
                    <a:pt x="738378" y="929354"/>
                  </a:lnTo>
                  <a:lnTo>
                    <a:pt x="749617" y="942308"/>
                  </a:lnTo>
                  <a:lnTo>
                    <a:pt x="758190" y="946023"/>
                  </a:lnTo>
                  <a:lnTo>
                    <a:pt x="767239" y="941641"/>
                  </a:lnTo>
                  <a:lnTo>
                    <a:pt x="770382" y="941261"/>
                  </a:lnTo>
                  <a:lnTo>
                    <a:pt x="774382" y="947166"/>
                  </a:lnTo>
                  <a:lnTo>
                    <a:pt x="794290" y="952690"/>
                  </a:lnTo>
                  <a:lnTo>
                    <a:pt x="798766" y="950500"/>
                  </a:lnTo>
                  <a:lnTo>
                    <a:pt x="803910" y="940213"/>
                  </a:lnTo>
                  <a:lnTo>
                    <a:pt x="808672" y="939641"/>
                  </a:lnTo>
                  <a:lnTo>
                    <a:pt x="820102" y="941356"/>
                  </a:lnTo>
                  <a:lnTo>
                    <a:pt x="826770" y="943737"/>
                  </a:lnTo>
                  <a:lnTo>
                    <a:pt x="830580" y="948023"/>
                  </a:lnTo>
                  <a:lnTo>
                    <a:pt x="833342" y="970121"/>
                  </a:lnTo>
                  <a:lnTo>
                    <a:pt x="838962" y="975836"/>
                  </a:lnTo>
                  <a:lnTo>
                    <a:pt x="845058" y="986314"/>
                  </a:lnTo>
                  <a:lnTo>
                    <a:pt x="850011" y="987266"/>
                  </a:lnTo>
                  <a:lnTo>
                    <a:pt x="858679" y="992600"/>
                  </a:lnTo>
                  <a:lnTo>
                    <a:pt x="864965" y="991743"/>
                  </a:lnTo>
                  <a:lnTo>
                    <a:pt x="869347" y="1000792"/>
                  </a:lnTo>
                  <a:lnTo>
                    <a:pt x="871347" y="1003840"/>
                  </a:lnTo>
                  <a:lnTo>
                    <a:pt x="869728" y="1004030"/>
                  </a:lnTo>
                  <a:lnTo>
                    <a:pt x="871728" y="1006983"/>
                  </a:lnTo>
                  <a:lnTo>
                    <a:pt x="876490" y="1006316"/>
                  </a:lnTo>
                  <a:lnTo>
                    <a:pt x="881253" y="1018603"/>
                  </a:lnTo>
                  <a:lnTo>
                    <a:pt x="876014" y="1040130"/>
                  </a:lnTo>
                  <a:lnTo>
                    <a:pt x="883825" y="1039082"/>
                  </a:lnTo>
                  <a:lnTo>
                    <a:pt x="888778" y="1040035"/>
                  </a:lnTo>
                  <a:lnTo>
                    <a:pt x="895922" y="1045559"/>
                  </a:lnTo>
                  <a:lnTo>
                    <a:pt x="900684" y="1044988"/>
                  </a:lnTo>
                  <a:lnTo>
                    <a:pt x="905827" y="1047560"/>
                  </a:lnTo>
                  <a:lnTo>
                    <a:pt x="910114" y="1043749"/>
                  </a:lnTo>
                  <a:lnTo>
                    <a:pt x="926878" y="1049655"/>
                  </a:lnTo>
                  <a:lnTo>
                    <a:pt x="936403" y="1048417"/>
                  </a:lnTo>
                  <a:lnTo>
                    <a:pt x="937355" y="1043464"/>
                  </a:lnTo>
                  <a:lnTo>
                    <a:pt x="940117" y="1039940"/>
                  </a:lnTo>
                  <a:lnTo>
                    <a:pt x="955072" y="1031653"/>
                  </a:lnTo>
                  <a:lnTo>
                    <a:pt x="956024" y="1026700"/>
                  </a:lnTo>
                  <a:lnTo>
                    <a:pt x="955262" y="1020413"/>
                  </a:lnTo>
                  <a:lnTo>
                    <a:pt x="958024" y="1016794"/>
                  </a:lnTo>
                  <a:lnTo>
                    <a:pt x="959167" y="1013460"/>
                  </a:lnTo>
                  <a:lnTo>
                    <a:pt x="968026" y="1007554"/>
                  </a:lnTo>
                  <a:lnTo>
                    <a:pt x="962692" y="1003364"/>
                  </a:lnTo>
                  <a:lnTo>
                    <a:pt x="967073" y="999649"/>
                  </a:lnTo>
                  <a:lnTo>
                    <a:pt x="971740" y="998982"/>
                  </a:lnTo>
                  <a:lnTo>
                    <a:pt x="972598" y="992505"/>
                  </a:lnTo>
                  <a:lnTo>
                    <a:pt x="984409" y="984599"/>
                  </a:lnTo>
                  <a:lnTo>
                    <a:pt x="987933" y="974503"/>
                  </a:lnTo>
                  <a:lnTo>
                    <a:pt x="990886" y="972503"/>
                  </a:lnTo>
                  <a:lnTo>
                    <a:pt x="993172" y="965835"/>
                  </a:lnTo>
                  <a:lnTo>
                    <a:pt x="999554" y="964978"/>
                  </a:lnTo>
                  <a:lnTo>
                    <a:pt x="1000887" y="963263"/>
                  </a:lnTo>
                  <a:lnTo>
                    <a:pt x="1002030" y="959834"/>
                  </a:lnTo>
                  <a:lnTo>
                    <a:pt x="998315" y="955548"/>
                  </a:lnTo>
                  <a:lnTo>
                    <a:pt x="997458" y="949261"/>
                  </a:lnTo>
                  <a:lnTo>
                    <a:pt x="993743" y="944880"/>
                  </a:lnTo>
                  <a:lnTo>
                    <a:pt x="991552" y="940403"/>
                  </a:lnTo>
                  <a:lnTo>
                    <a:pt x="992505" y="935450"/>
                  </a:lnTo>
                  <a:lnTo>
                    <a:pt x="997077" y="933260"/>
                  </a:lnTo>
                  <a:lnTo>
                    <a:pt x="996886" y="931640"/>
                  </a:lnTo>
                  <a:lnTo>
                    <a:pt x="997648" y="925163"/>
                  </a:lnTo>
                  <a:lnTo>
                    <a:pt x="1002221" y="922973"/>
                  </a:lnTo>
                  <a:lnTo>
                    <a:pt x="1003554" y="921163"/>
                  </a:lnTo>
                  <a:lnTo>
                    <a:pt x="1015555" y="914876"/>
                  </a:lnTo>
                  <a:lnTo>
                    <a:pt x="1023842" y="916972"/>
                  </a:lnTo>
                  <a:lnTo>
                    <a:pt x="1031367" y="912876"/>
                  </a:lnTo>
                  <a:lnTo>
                    <a:pt x="1034320" y="910876"/>
                  </a:lnTo>
                  <a:lnTo>
                    <a:pt x="1036130" y="912209"/>
                  </a:lnTo>
                  <a:lnTo>
                    <a:pt x="1038320" y="916781"/>
                  </a:lnTo>
                  <a:lnTo>
                    <a:pt x="1039463" y="926211"/>
                  </a:lnTo>
                  <a:lnTo>
                    <a:pt x="1049369" y="928211"/>
                  </a:lnTo>
                  <a:lnTo>
                    <a:pt x="1058418" y="923830"/>
                  </a:lnTo>
                  <a:lnTo>
                    <a:pt x="1065181" y="926211"/>
                  </a:lnTo>
                  <a:lnTo>
                    <a:pt x="1066133" y="921258"/>
                  </a:lnTo>
                  <a:lnTo>
                    <a:pt x="1074039" y="920210"/>
                  </a:lnTo>
                  <a:lnTo>
                    <a:pt x="1076992" y="918305"/>
                  </a:lnTo>
                  <a:lnTo>
                    <a:pt x="1081659" y="917639"/>
                  </a:lnTo>
                  <a:lnTo>
                    <a:pt x="1085850" y="912304"/>
                  </a:lnTo>
                  <a:lnTo>
                    <a:pt x="1087374" y="912114"/>
                  </a:lnTo>
                  <a:lnTo>
                    <a:pt x="1094137" y="914495"/>
                  </a:lnTo>
                  <a:lnTo>
                    <a:pt x="1094708" y="919162"/>
                  </a:lnTo>
                  <a:lnTo>
                    <a:pt x="1098042" y="920401"/>
                  </a:lnTo>
                  <a:lnTo>
                    <a:pt x="1102995" y="921353"/>
                  </a:lnTo>
                  <a:lnTo>
                    <a:pt x="1113663" y="916781"/>
                  </a:lnTo>
                  <a:lnTo>
                    <a:pt x="1120616" y="920686"/>
                  </a:lnTo>
                  <a:lnTo>
                    <a:pt x="1131475" y="930593"/>
                  </a:lnTo>
                  <a:lnTo>
                    <a:pt x="1139761" y="932688"/>
                  </a:lnTo>
                  <a:lnTo>
                    <a:pt x="1142524" y="929164"/>
                  </a:lnTo>
                  <a:lnTo>
                    <a:pt x="1145857" y="930307"/>
                  </a:lnTo>
                  <a:lnTo>
                    <a:pt x="1161383" y="913924"/>
                  </a:lnTo>
                  <a:lnTo>
                    <a:pt x="1168717" y="908209"/>
                  </a:lnTo>
                  <a:lnTo>
                    <a:pt x="1168908" y="909733"/>
                  </a:lnTo>
                  <a:lnTo>
                    <a:pt x="1176623" y="907161"/>
                  </a:lnTo>
                  <a:lnTo>
                    <a:pt x="1181862" y="898493"/>
                  </a:lnTo>
                  <a:lnTo>
                    <a:pt x="1189958" y="899065"/>
                  </a:lnTo>
                  <a:lnTo>
                    <a:pt x="1202817" y="898970"/>
                  </a:lnTo>
                  <a:lnTo>
                    <a:pt x="1212056" y="896207"/>
                  </a:lnTo>
                  <a:lnTo>
                    <a:pt x="1211866" y="894683"/>
                  </a:lnTo>
                  <a:lnTo>
                    <a:pt x="1205579" y="895445"/>
                  </a:lnTo>
                  <a:lnTo>
                    <a:pt x="1201579" y="889540"/>
                  </a:lnTo>
                  <a:lnTo>
                    <a:pt x="1205770" y="884206"/>
                  </a:lnTo>
                  <a:lnTo>
                    <a:pt x="1205103" y="879443"/>
                  </a:lnTo>
                  <a:lnTo>
                    <a:pt x="1204913" y="877919"/>
                  </a:lnTo>
                  <a:lnTo>
                    <a:pt x="1207865" y="875919"/>
                  </a:lnTo>
                  <a:lnTo>
                    <a:pt x="1209675" y="877253"/>
                  </a:lnTo>
                  <a:lnTo>
                    <a:pt x="1215390" y="871728"/>
                  </a:lnTo>
                  <a:lnTo>
                    <a:pt x="1216914" y="858774"/>
                  </a:lnTo>
                  <a:lnTo>
                    <a:pt x="1209770" y="853249"/>
                  </a:lnTo>
                  <a:lnTo>
                    <a:pt x="1209770" y="85324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48" name="Volný tvar: obrazec 47">
              <a:extLst>
                <a:ext uri="{FF2B5EF4-FFF2-40B4-BE49-F238E27FC236}">
                  <a16:creationId xmlns:a16="http://schemas.microsoft.com/office/drawing/2014/main" id="{ABB25034-EBFB-CCB7-9982-9B3B1A760A95}"/>
                </a:ext>
              </a:extLst>
            </p:cNvPr>
            <p:cNvSpPr>
              <a:spLocks noChangeAspect="1"/>
            </p:cNvSpPr>
            <p:nvPr userDrawn="1">
              <p:custDataLst>
                <p:tags r:id="rId4"/>
              </p:custDataLst>
            </p:nvPr>
          </p:nvSpPr>
          <p:spPr>
            <a:xfrm>
              <a:off x="5670423" y="3374230"/>
              <a:ext cx="1073848" cy="1057751"/>
            </a:xfrm>
            <a:custGeom>
              <a:avLst/>
              <a:gdLst>
                <a:gd name="connsiteX0" fmla="*/ 1072801 w 1073848"/>
                <a:gd name="connsiteY0" fmla="*/ 375761 h 1057751"/>
                <a:gd name="connsiteX1" fmla="*/ 1068705 w 1073848"/>
                <a:gd name="connsiteY1" fmla="*/ 368237 h 1057751"/>
                <a:gd name="connsiteX2" fmla="*/ 1057180 w 1073848"/>
                <a:gd name="connsiteY2" fmla="*/ 366522 h 1057751"/>
                <a:gd name="connsiteX3" fmla="*/ 1056989 w 1073848"/>
                <a:gd name="connsiteY3" fmla="*/ 364903 h 1057751"/>
                <a:gd name="connsiteX4" fmla="*/ 1052322 w 1073848"/>
                <a:gd name="connsiteY4" fmla="*/ 365474 h 1057751"/>
                <a:gd name="connsiteX5" fmla="*/ 1050322 w 1073848"/>
                <a:gd name="connsiteY5" fmla="*/ 362521 h 1057751"/>
                <a:gd name="connsiteX6" fmla="*/ 1048512 w 1073848"/>
                <a:gd name="connsiteY6" fmla="*/ 361188 h 1057751"/>
                <a:gd name="connsiteX7" fmla="*/ 1046797 w 1073848"/>
                <a:gd name="connsiteY7" fmla="*/ 359759 h 1057751"/>
                <a:gd name="connsiteX8" fmla="*/ 1045178 w 1073848"/>
                <a:gd name="connsiteY8" fmla="*/ 360045 h 1057751"/>
                <a:gd name="connsiteX9" fmla="*/ 1044607 w 1073848"/>
                <a:gd name="connsiteY9" fmla="*/ 355283 h 1057751"/>
                <a:gd name="connsiteX10" fmla="*/ 1041178 w 1073848"/>
                <a:gd name="connsiteY10" fmla="*/ 354139 h 1057751"/>
                <a:gd name="connsiteX11" fmla="*/ 1042416 w 1073848"/>
                <a:gd name="connsiteY11" fmla="*/ 350711 h 1057751"/>
                <a:gd name="connsiteX12" fmla="*/ 1048703 w 1073848"/>
                <a:gd name="connsiteY12" fmla="*/ 349949 h 1057751"/>
                <a:gd name="connsiteX13" fmla="*/ 1049846 w 1073848"/>
                <a:gd name="connsiteY13" fmla="*/ 346615 h 1057751"/>
                <a:gd name="connsiteX14" fmla="*/ 1053846 w 1073848"/>
                <a:gd name="connsiteY14" fmla="*/ 339662 h 1057751"/>
                <a:gd name="connsiteX15" fmla="*/ 1052989 w 1073848"/>
                <a:gd name="connsiteY15" fmla="*/ 333375 h 1057751"/>
                <a:gd name="connsiteX16" fmla="*/ 1054608 w 1073848"/>
                <a:gd name="connsiteY16" fmla="*/ 333184 h 1057751"/>
                <a:gd name="connsiteX17" fmla="*/ 1055941 w 1073848"/>
                <a:gd name="connsiteY17" fmla="*/ 331375 h 1057751"/>
                <a:gd name="connsiteX18" fmla="*/ 1054798 w 1073848"/>
                <a:gd name="connsiteY18" fmla="*/ 321850 h 1057751"/>
                <a:gd name="connsiteX19" fmla="*/ 1052798 w 1073848"/>
                <a:gd name="connsiteY19" fmla="*/ 318897 h 1057751"/>
                <a:gd name="connsiteX20" fmla="*/ 1043083 w 1073848"/>
                <a:gd name="connsiteY20" fmla="*/ 305753 h 1057751"/>
                <a:gd name="connsiteX21" fmla="*/ 1042511 w 1073848"/>
                <a:gd name="connsiteY21" fmla="*/ 300990 h 1057751"/>
                <a:gd name="connsiteX22" fmla="*/ 1036987 w 1073848"/>
                <a:gd name="connsiteY22" fmla="*/ 295275 h 1057751"/>
                <a:gd name="connsiteX23" fmla="*/ 1030605 w 1073848"/>
                <a:gd name="connsiteY23" fmla="*/ 296132 h 1057751"/>
                <a:gd name="connsiteX24" fmla="*/ 1024890 w 1073848"/>
                <a:gd name="connsiteY24" fmla="*/ 288798 h 1057751"/>
                <a:gd name="connsiteX25" fmla="*/ 1022509 w 1073848"/>
                <a:gd name="connsiteY25" fmla="*/ 282702 h 1057751"/>
                <a:gd name="connsiteX26" fmla="*/ 1015746 w 1073848"/>
                <a:gd name="connsiteY26" fmla="*/ 280321 h 1057751"/>
                <a:gd name="connsiteX27" fmla="*/ 1009459 w 1073848"/>
                <a:gd name="connsiteY27" fmla="*/ 281178 h 1057751"/>
                <a:gd name="connsiteX28" fmla="*/ 1000601 w 1073848"/>
                <a:gd name="connsiteY28" fmla="*/ 274225 h 1057751"/>
                <a:gd name="connsiteX29" fmla="*/ 997648 w 1073848"/>
                <a:gd name="connsiteY29" fmla="*/ 276225 h 1057751"/>
                <a:gd name="connsiteX30" fmla="*/ 990505 w 1073848"/>
                <a:gd name="connsiteY30" fmla="*/ 270700 h 1057751"/>
                <a:gd name="connsiteX31" fmla="*/ 987933 w 1073848"/>
                <a:gd name="connsiteY31" fmla="*/ 275844 h 1057751"/>
                <a:gd name="connsiteX32" fmla="*/ 984790 w 1073848"/>
                <a:gd name="connsiteY32" fmla="*/ 276320 h 1057751"/>
                <a:gd name="connsiteX33" fmla="*/ 979837 w 1073848"/>
                <a:gd name="connsiteY33" fmla="*/ 275272 h 1057751"/>
                <a:gd name="connsiteX34" fmla="*/ 977455 w 1073848"/>
                <a:gd name="connsiteY34" fmla="*/ 269176 h 1057751"/>
                <a:gd name="connsiteX35" fmla="*/ 973931 w 1073848"/>
                <a:gd name="connsiteY35" fmla="*/ 266414 h 1057751"/>
                <a:gd name="connsiteX36" fmla="*/ 967168 w 1073848"/>
                <a:gd name="connsiteY36" fmla="*/ 264128 h 1057751"/>
                <a:gd name="connsiteX37" fmla="*/ 969169 w 1073848"/>
                <a:gd name="connsiteY37" fmla="*/ 254222 h 1057751"/>
                <a:gd name="connsiteX38" fmla="*/ 964025 w 1073848"/>
                <a:gd name="connsiteY38" fmla="*/ 251650 h 1057751"/>
                <a:gd name="connsiteX39" fmla="*/ 958310 w 1073848"/>
                <a:gd name="connsiteY39" fmla="*/ 244412 h 1057751"/>
                <a:gd name="connsiteX40" fmla="*/ 948595 w 1073848"/>
                <a:gd name="connsiteY40" fmla="*/ 231172 h 1057751"/>
                <a:gd name="connsiteX41" fmla="*/ 944785 w 1073848"/>
                <a:gd name="connsiteY41" fmla="*/ 226886 h 1057751"/>
                <a:gd name="connsiteX42" fmla="*/ 936498 w 1073848"/>
                <a:gd name="connsiteY42" fmla="*/ 224695 h 1057751"/>
                <a:gd name="connsiteX43" fmla="*/ 929640 w 1073848"/>
                <a:gd name="connsiteY43" fmla="*/ 220789 h 1057751"/>
                <a:gd name="connsiteX44" fmla="*/ 928211 w 1073848"/>
                <a:gd name="connsiteY44" fmla="*/ 222504 h 1057751"/>
                <a:gd name="connsiteX45" fmla="*/ 926497 w 1073848"/>
                <a:gd name="connsiteY45" fmla="*/ 221171 h 1057751"/>
                <a:gd name="connsiteX46" fmla="*/ 921734 w 1073848"/>
                <a:gd name="connsiteY46" fmla="*/ 221742 h 1057751"/>
                <a:gd name="connsiteX47" fmla="*/ 921353 w 1073848"/>
                <a:gd name="connsiteY47" fmla="*/ 218599 h 1057751"/>
                <a:gd name="connsiteX48" fmla="*/ 916019 w 1073848"/>
                <a:gd name="connsiteY48" fmla="*/ 214503 h 1057751"/>
                <a:gd name="connsiteX49" fmla="*/ 913638 w 1073848"/>
                <a:gd name="connsiteY49" fmla="*/ 208407 h 1057751"/>
                <a:gd name="connsiteX50" fmla="*/ 910495 w 1073848"/>
                <a:gd name="connsiteY50" fmla="*/ 208788 h 1057751"/>
                <a:gd name="connsiteX51" fmla="*/ 909447 w 1073848"/>
                <a:gd name="connsiteY51" fmla="*/ 213741 h 1057751"/>
                <a:gd name="connsiteX52" fmla="*/ 906304 w 1073848"/>
                <a:gd name="connsiteY52" fmla="*/ 214122 h 1057751"/>
                <a:gd name="connsiteX53" fmla="*/ 899160 w 1073848"/>
                <a:gd name="connsiteY53" fmla="*/ 208597 h 1057751"/>
                <a:gd name="connsiteX54" fmla="*/ 895445 w 1073848"/>
                <a:gd name="connsiteY54" fmla="*/ 204311 h 1057751"/>
                <a:gd name="connsiteX55" fmla="*/ 889159 w 1073848"/>
                <a:gd name="connsiteY55" fmla="*/ 205073 h 1057751"/>
                <a:gd name="connsiteX56" fmla="*/ 884777 w 1073848"/>
                <a:gd name="connsiteY56" fmla="*/ 208883 h 1057751"/>
                <a:gd name="connsiteX57" fmla="*/ 881443 w 1073848"/>
                <a:gd name="connsiteY57" fmla="*/ 207645 h 1057751"/>
                <a:gd name="connsiteX58" fmla="*/ 882587 w 1073848"/>
                <a:gd name="connsiteY58" fmla="*/ 204311 h 1057751"/>
                <a:gd name="connsiteX59" fmla="*/ 878681 w 1073848"/>
                <a:gd name="connsiteY59" fmla="*/ 198406 h 1057751"/>
                <a:gd name="connsiteX60" fmla="*/ 874871 w 1073848"/>
                <a:gd name="connsiteY60" fmla="*/ 194024 h 1057751"/>
                <a:gd name="connsiteX61" fmla="*/ 866013 w 1073848"/>
                <a:gd name="connsiteY61" fmla="*/ 200025 h 1057751"/>
                <a:gd name="connsiteX62" fmla="*/ 856202 w 1073848"/>
                <a:gd name="connsiteY62" fmla="*/ 198025 h 1057751"/>
                <a:gd name="connsiteX63" fmla="*/ 856393 w 1073848"/>
                <a:gd name="connsiteY63" fmla="*/ 199644 h 1057751"/>
                <a:gd name="connsiteX64" fmla="*/ 852964 w 1073848"/>
                <a:gd name="connsiteY64" fmla="*/ 198501 h 1057751"/>
                <a:gd name="connsiteX65" fmla="*/ 848868 w 1073848"/>
                <a:gd name="connsiteY65" fmla="*/ 203835 h 1057751"/>
                <a:gd name="connsiteX66" fmla="*/ 843343 w 1073848"/>
                <a:gd name="connsiteY66" fmla="*/ 198120 h 1057751"/>
                <a:gd name="connsiteX67" fmla="*/ 839914 w 1073848"/>
                <a:gd name="connsiteY67" fmla="*/ 184118 h 1057751"/>
                <a:gd name="connsiteX68" fmla="*/ 834390 w 1073848"/>
                <a:gd name="connsiteY68" fmla="*/ 178403 h 1057751"/>
                <a:gd name="connsiteX69" fmla="*/ 834199 w 1073848"/>
                <a:gd name="connsiteY69" fmla="*/ 176784 h 1057751"/>
                <a:gd name="connsiteX70" fmla="*/ 830675 w 1073848"/>
                <a:gd name="connsiteY70" fmla="*/ 174022 h 1057751"/>
                <a:gd name="connsiteX71" fmla="*/ 826865 w 1073848"/>
                <a:gd name="connsiteY71" fmla="*/ 169736 h 1057751"/>
                <a:gd name="connsiteX72" fmla="*/ 825341 w 1073848"/>
                <a:gd name="connsiteY72" fmla="*/ 169926 h 1057751"/>
                <a:gd name="connsiteX73" fmla="*/ 820198 w 1073848"/>
                <a:gd name="connsiteY73" fmla="*/ 167354 h 1057751"/>
                <a:gd name="connsiteX74" fmla="*/ 817055 w 1073848"/>
                <a:gd name="connsiteY74" fmla="*/ 167735 h 1057751"/>
                <a:gd name="connsiteX75" fmla="*/ 813625 w 1073848"/>
                <a:gd name="connsiteY75" fmla="*/ 166592 h 1057751"/>
                <a:gd name="connsiteX76" fmla="*/ 811054 w 1073848"/>
                <a:gd name="connsiteY76" fmla="*/ 171736 h 1057751"/>
                <a:gd name="connsiteX77" fmla="*/ 809339 w 1073848"/>
                <a:gd name="connsiteY77" fmla="*/ 170307 h 1057751"/>
                <a:gd name="connsiteX78" fmla="*/ 802576 w 1073848"/>
                <a:gd name="connsiteY78" fmla="*/ 168021 h 1057751"/>
                <a:gd name="connsiteX79" fmla="*/ 800576 w 1073848"/>
                <a:gd name="connsiteY79" fmla="*/ 165068 h 1057751"/>
                <a:gd name="connsiteX80" fmla="*/ 795909 w 1073848"/>
                <a:gd name="connsiteY80" fmla="*/ 165640 h 1057751"/>
                <a:gd name="connsiteX81" fmla="*/ 790956 w 1073848"/>
                <a:gd name="connsiteY81" fmla="*/ 164687 h 1057751"/>
                <a:gd name="connsiteX82" fmla="*/ 781907 w 1073848"/>
                <a:gd name="connsiteY82" fmla="*/ 156210 h 1057751"/>
                <a:gd name="connsiteX83" fmla="*/ 781240 w 1073848"/>
                <a:gd name="connsiteY83" fmla="*/ 151447 h 1057751"/>
                <a:gd name="connsiteX84" fmla="*/ 782860 w 1073848"/>
                <a:gd name="connsiteY84" fmla="*/ 151257 h 1057751"/>
                <a:gd name="connsiteX85" fmla="*/ 780669 w 1073848"/>
                <a:gd name="connsiteY85" fmla="*/ 146780 h 1057751"/>
                <a:gd name="connsiteX86" fmla="*/ 782003 w 1073848"/>
                <a:gd name="connsiteY86" fmla="*/ 144971 h 1057751"/>
                <a:gd name="connsiteX87" fmla="*/ 783241 w 1073848"/>
                <a:gd name="connsiteY87" fmla="*/ 141637 h 1057751"/>
                <a:gd name="connsiteX88" fmla="*/ 780288 w 1073848"/>
                <a:gd name="connsiteY88" fmla="*/ 143542 h 1057751"/>
                <a:gd name="connsiteX89" fmla="*/ 778288 w 1073848"/>
                <a:gd name="connsiteY89" fmla="*/ 140589 h 1057751"/>
                <a:gd name="connsiteX90" fmla="*/ 773525 w 1073848"/>
                <a:gd name="connsiteY90" fmla="*/ 141256 h 1057751"/>
                <a:gd name="connsiteX91" fmla="*/ 772763 w 1073848"/>
                <a:gd name="connsiteY91" fmla="*/ 147733 h 1057751"/>
                <a:gd name="connsiteX92" fmla="*/ 757047 w 1073848"/>
                <a:gd name="connsiteY92" fmla="*/ 162592 h 1057751"/>
                <a:gd name="connsiteX93" fmla="*/ 755047 w 1073848"/>
                <a:gd name="connsiteY93" fmla="*/ 172403 h 1057751"/>
                <a:gd name="connsiteX94" fmla="*/ 757809 w 1073848"/>
                <a:gd name="connsiteY94" fmla="*/ 181737 h 1057751"/>
                <a:gd name="connsiteX95" fmla="*/ 756285 w 1073848"/>
                <a:gd name="connsiteY95" fmla="*/ 181928 h 1057751"/>
                <a:gd name="connsiteX96" fmla="*/ 754856 w 1073848"/>
                <a:gd name="connsiteY96" fmla="*/ 183737 h 1057751"/>
                <a:gd name="connsiteX97" fmla="*/ 743426 w 1073848"/>
                <a:gd name="connsiteY97" fmla="*/ 181928 h 1057751"/>
                <a:gd name="connsiteX98" fmla="*/ 748379 w 1073848"/>
                <a:gd name="connsiteY98" fmla="*/ 195739 h 1057751"/>
                <a:gd name="connsiteX99" fmla="*/ 740759 w 1073848"/>
                <a:gd name="connsiteY99" fmla="*/ 198311 h 1057751"/>
                <a:gd name="connsiteX100" fmla="*/ 740950 w 1073848"/>
                <a:gd name="connsiteY100" fmla="*/ 199930 h 1057751"/>
                <a:gd name="connsiteX101" fmla="*/ 736187 w 1073848"/>
                <a:gd name="connsiteY101" fmla="*/ 200501 h 1057751"/>
                <a:gd name="connsiteX102" fmla="*/ 731044 w 1073848"/>
                <a:gd name="connsiteY102" fmla="*/ 197929 h 1057751"/>
                <a:gd name="connsiteX103" fmla="*/ 726281 w 1073848"/>
                <a:gd name="connsiteY103" fmla="*/ 198596 h 1057751"/>
                <a:gd name="connsiteX104" fmla="*/ 723329 w 1073848"/>
                <a:gd name="connsiteY104" fmla="*/ 200501 h 1057751"/>
                <a:gd name="connsiteX105" fmla="*/ 720185 w 1073848"/>
                <a:gd name="connsiteY105" fmla="*/ 200978 h 1057751"/>
                <a:gd name="connsiteX106" fmla="*/ 710946 w 1073848"/>
                <a:gd name="connsiteY106" fmla="*/ 190881 h 1057751"/>
                <a:gd name="connsiteX107" fmla="*/ 709136 w 1073848"/>
                <a:gd name="connsiteY107" fmla="*/ 189547 h 1057751"/>
                <a:gd name="connsiteX108" fmla="*/ 708946 w 1073848"/>
                <a:gd name="connsiteY108" fmla="*/ 187928 h 1057751"/>
                <a:gd name="connsiteX109" fmla="*/ 703993 w 1073848"/>
                <a:gd name="connsiteY109" fmla="*/ 186976 h 1057751"/>
                <a:gd name="connsiteX110" fmla="*/ 693515 w 1073848"/>
                <a:gd name="connsiteY110" fmla="*/ 180308 h 1057751"/>
                <a:gd name="connsiteX111" fmla="*/ 685609 w 1073848"/>
                <a:gd name="connsiteY111" fmla="*/ 181261 h 1057751"/>
                <a:gd name="connsiteX112" fmla="*/ 674941 w 1073848"/>
                <a:gd name="connsiteY112" fmla="*/ 173069 h 1057751"/>
                <a:gd name="connsiteX113" fmla="*/ 676084 w 1073848"/>
                <a:gd name="connsiteY113" fmla="*/ 169640 h 1057751"/>
                <a:gd name="connsiteX114" fmla="*/ 670370 w 1073848"/>
                <a:gd name="connsiteY114" fmla="*/ 162401 h 1057751"/>
                <a:gd name="connsiteX115" fmla="*/ 676847 w 1073848"/>
                <a:gd name="connsiteY115" fmla="*/ 150304 h 1057751"/>
                <a:gd name="connsiteX116" fmla="*/ 681418 w 1073848"/>
                <a:gd name="connsiteY116" fmla="*/ 148114 h 1057751"/>
                <a:gd name="connsiteX117" fmla="*/ 681323 w 1073848"/>
                <a:gd name="connsiteY117" fmla="*/ 135350 h 1057751"/>
                <a:gd name="connsiteX118" fmla="*/ 677037 w 1073848"/>
                <a:gd name="connsiteY118" fmla="*/ 139065 h 1057751"/>
                <a:gd name="connsiteX119" fmla="*/ 671131 w 1073848"/>
                <a:gd name="connsiteY119" fmla="*/ 143066 h 1057751"/>
                <a:gd name="connsiteX120" fmla="*/ 668941 w 1073848"/>
                <a:gd name="connsiteY120" fmla="*/ 138493 h 1057751"/>
                <a:gd name="connsiteX121" fmla="*/ 657511 w 1073848"/>
                <a:gd name="connsiteY121" fmla="*/ 136779 h 1057751"/>
                <a:gd name="connsiteX122" fmla="*/ 651129 w 1073848"/>
                <a:gd name="connsiteY122" fmla="*/ 124778 h 1057751"/>
                <a:gd name="connsiteX123" fmla="*/ 647986 w 1073848"/>
                <a:gd name="connsiteY123" fmla="*/ 125158 h 1057751"/>
                <a:gd name="connsiteX124" fmla="*/ 647795 w 1073848"/>
                <a:gd name="connsiteY124" fmla="*/ 123539 h 1057751"/>
                <a:gd name="connsiteX125" fmla="*/ 642652 w 1073848"/>
                <a:gd name="connsiteY125" fmla="*/ 121063 h 1057751"/>
                <a:gd name="connsiteX126" fmla="*/ 640651 w 1073848"/>
                <a:gd name="connsiteY126" fmla="*/ 118015 h 1057751"/>
                <a:gd name="connsiteX127" fmla="*/ 636175 w 1073848"/>
                <a:gd name="connsiteY127" fmla="*/ 120205 h 1057751"/>
                <a:gd name="connsiteX128" fmla="*/ 632365 w 1073848"/>
                <a:gd name="connsiteY128" fmla="*/ 115919 h 1057751"/>
                <a:gd name="connsiteX129" fmla="*/ 629412 w 1073848"/>
                <a:gd name="connsiteY129" fmla="*/ 117920 h 1057751"/>
                <a:gd name="connsiteX130" fmla="*/ 629603 w 1073848"/>
                <a:gd name="connsiteY130" fmla="*/ 119443 h 1057751"/>
                <a:gd name="connsiteX131" fmla="*/ 627888 w 1073848"/>
                <a:gd name="connsiteY131" fmla="*/ 118110 h 1057751"/>
                <a:gd name="connsiteX132" fmla="*/ 623506 w 1073848"/>
                <a:gd name="connsiteY132" fmla="*/ 121825 h 1057751"/>
                <a:gd name="connsiteX133" fmla="*/ 620363 w 1073848"/>
                <a:gd name="connsiteY133" fmla="*/ 122301 h 1057751"/>
                <a:gd name="connsiteX134" fmla="*/ 618363 w 1073848"/>
                <a:gd name="connsiteY134" fmla="*/ 119253 h 1057751"/>
                <a:gd name="connsiteX135" fmla="*/ 618934 w 1073848"/>
                <a:gd name="connsiteY135" fmla="*/ 111252 h 1057751"/>
                <a:gd name="connsiteX136" fmla="*/ 617411 w 1073848"/>
                <a:gd name="connsiteY136" fmla="*/ 111442 h 1057751"/>
                <a:gd name="connsiteX137" fmla="*/ 620744 w 1073848"/>
                <a:gd name="connsiteY137" fmla="*/ 99727 h 1057751"/>
                <a:gd name="connsiteX138" fmla="*/ 623030 w 1073848"/>
                <a:gd name="connsiteY138" fmla="*/ 93059 h 1057751"/>
                <a:gd name="connsiteX139" fmla="*/ 618363 w 1073848"/>
                <a:gd name="connsiteY139" fmla="*/ 93631 h 1057751"/>
                <a:gd name="connsiteX140" fmla="*/ 618744 w 1073848"/>
                <a:gd name="connsiteY140" fmla="*/ 96774 h 1057751"/>
                <a:gd name="connsiteX141" fmla="*/ 613600 w 1073848"/>
                <a:gd name="connsiteY141" fmla="*/ 94202 h 1057751"/>
                <a:gd name="connsiteX142" fmla="*/ 608838 w 1073848"/>
                <a:gd name="connsiteY142" fmla="*/ 94869 h 1057751"/>
                <a:gd name="connsiteX143" fmla="*/ 603504 w 1073848"/>
                <a:gd name="connsiteY143" fmla="*/ 90678 h 1057751"/>
                <a:gd name="connsiteX144" fmla="*/ 594074 w 1073848"/>
                <a:gd name="connsiteY144" fmla="*/ 91916 h 1057751"/>
                <a:gd name="connsiteX145" fmla="*/ 594265 w 1073848"/>
                <a:gd name="connsiteY145" fmla="*/ 93536 h 1057751"/>
                <a:gd name="connsiteX146" fmla="*/ 585788 w 1073848"/>
                <a:gd name="connsiteY146" fmla="*/ 89821 h 1057751"/>
                <a:gd name="connsiteX147" fmla="*/ 587121 w 1073848"/>
                <a:gd name="connsiteY147" fmla="*/ 88011 h 1057751"/>
                <a:gd name="connsiteX148" fmla="*/ 584930 w 1073848"/>
                <a:gd name="connsiteY148" fmla="*/ 83439 h 1057751"/>
                <a:gd name="connsiteX149" fmla="*/ 583216 w 1073848"/>
                <a:gd name="connsiteY149" fmla="*/ 82105 h 1057751"/>
                <a:gd name="connsiteX150" fmla="*/ 580263 w 1073848"/>
                <a:gd name="connsiteY150" fmla="*/ 84106 h 1057751"/>
                <a:gd name="connsiteX151" fmla="*/ 579977 w 1073848"/>
                <a:gd name="connsiteY151" fmla="*/ 82487 h 1057751"/>
                <a:gd name="connsiteX152" fmla="*/ 578453 w 1073848"/>
                <a:gd name="connsiteY152" fmla="*/ 82677 h 1057751"/>
                <a:gd name="connsiteX153" fmla="*/ 576643 w 1073848"/>
                <a:gd name="connsiteY153" fmla="*/ 81343 h 1057751"/>
                <a:gd name="connsiteX154" fmla="*/ 578263 w 1073848"/>
                <a:gd name="connsiteY154" fmla="*/ 81153 h 1057751"/>
                <a:gd name="connsiteX155" fmla="*/ 579406 w 1073848"/>
                <a:gd name="connsiteY155" fmla="*/ 77724 h 1057751"/>
                <a:gd name="connsiteX156" fmla="*/ 577882 w 1073848"/>
                <a:gd name="connsiteY156" fmla="*/ 77914 h 1057751"/>
                <a:gd name="connsiteX157" fmla="*/ 576072 w 1073848"/>
                <a:gd name="connsiteY157" fmla="*/ 76581 h 1057751"/>
                <a:gd name="connsiteX158" fmla="*/ 574453 w 1073848"/>
                <a:gd name="connsiteY158" fmla="*/ 76771 h 1057751"/>
                <a:gd name="connsiteX159" fmla="*/ 573691 w 1073848"/>
                <a:gd name="connsiteY159" fmla="*/ 70485 h 1057751"/>
                <a:gd name="connsiteX160" fmla="*/ 570357 w 1073848"/>
                <a:gd name="connsiteY160" fmla="*/ 69247 h 1057751"/>
                <a:gd name="connsiteX161" fmla="*/ 571500 w 1073848"/>
                <a:gd name="connsiteY161" fmla="*/ 65913 h 1057751"/>
                <a:gd name="connsiteX162" fmla="*/ 567404 w 1073848"/>
                <a:gd name="connsiteY162" fmla="*/ 71247 h 1057751"/>
                <a:gd name="connsiteX163" fmla="*/ 562451 w 1073848"/>
                <a:gd name="connsiteY163" fmla="*/ 70295 h 1057751"/>
                <a:gd name="connsiteX164" fmla="*/ 561880 w 1073848"/>
                <a:gd name="connsiteY164" fmla="*/ 65532 h 1057751"/>
                <a:gd name="connsiteX165" fmla="*/ 557498 w 1073848"/>
                <a:gd name="connsiteY165" fmla="*/ 69342 h 1057751"/>
                <a:gd name="connsiteX166" fmla="*/ 553688 w 1073848"/>
                <a:gd name="connsiteY166" fmla="*/ 64961 h 1057751"/>
                <a:gd name="connsiteX167" fmla="*/ 553307 w 1073848"/>
                <a:gd name="connsiteY167" fmla="*/ 61817 h 1057751"/>
                <a:gd name="connsiteX168" fmla="*/ 556450 w 1073848"/>
                <a:gd name="connsiteY168" fmla="*/ 61436 h 1057751"/>
                <a:gd name="connsiteX169" fmla="*/ 554546 w 1073848"/>
                <a:gd name="connsiteY169" fmla="*/ 58483 h 1057751"/>
                <a:gd name="connsiteX170" fmla="*/ 546640 w 1073848"/>
                <a:gd name="connsiteY170" fmla="*/ 59531 h 1057751"/>
                <a:gd name="connsiteX171" fmla="*/ 546449 w 1073848"/>
                <a:gd name="connsiteY171" fmla="*/ 57912 h 1057751"/>
                <a:gd name="connsiteX172" fmla="*/ 543306 w 1073848"/>
                <a:gd name="connsiteY172" fmla="*/ 58293 h 1057751"/>
                <a:gd name="connsiteX173" fmla="*/ 541496 w 1073848"/>
                <a:gd name="connsiteY173" fmla="*/ 56959 h 1057751"/>
                <a:gd name="connsiteX174" fmla="*/ 537496 w 1073848"/>
                <a:gd name="connsiteY174" fmla="*/ 51054 h 1057751"/>
                <a:gd name="connsiteX175" fmla="*/ 534733 w 1073848"/>
                <a:gd name="connsiteY175" fmla="*/ 54578 h 1057751"/>
                <a:gd name="connsiteX176" fmla="*/ 534162 w 1073848"/>
                <a:gd name="connsiteY176" fmla="*/ 62675 h 1057751"/>
                <a:gd name="connsiteX177" fmla="*/ 527875 w 1073848"/>
                <a:gd name="connsiteY177" fmla="*/ 63437 h 1057751"/>
                <a:gd name="connsiteX178" fmla="*/ 526066 w 1073848"/>
                <a:gd name="connsiteY178" fmla="*/ 62103 h 1057751"/>
                <a:gd name="connsiteX179" fmla="*/ 524732 w 1073848"/>
                <a:gd name="connsiteY179" fmla="*/ 63913 h 1057751"/>
                <a:gd name="connsiteX180" fmla="*/ 520541 w 1073848"/>
                <a:gd name="connsiteY180" fmla="*/ 56388 h 1057751"/>
                <a:gd name="connsiteX181" fmla="*/ 521780 w 1073848"/>
                <a:gd name="connsiteY181" fmla="*/ 53054 h 1057751"/>
                <a:gd name="connsiteX182" fmla="*/ 515398 w 1073848"/>
                <a:gd name="connsiteY182" fmla="*/ 53816 h 1057751"/>
                <a:gd name="connsiteX183" fmla="*/ 515874 w 1073848"/>
                <a:gd name="connsiteY183" fmla="*/ 56959 h 1057751"/>
                <a:gd name="connsiteX184" fmla="*/ 511112 w 1073848"/>
                <a:gd name="connsiteY184" fmla="*/ 57626 h 1057751"/>
                <a:gd name="connsiteX185" fmla="*/ 511302 w 1073848"/>
                <a:gd name="connsiteY185" fmla="*/ 59150 h 1057751"/>
                <a:gd name="connsiteX186" fmla="*/ 508159 w 1073848"/>
                <a:gd name="connsiteY186" fmla="*/ 59531 h 1057751"/>
                <a:gd name="connsiteX187" fmla="*/ 507968 w 1073848"/>
                <a:gd name="connsiteY187" fmla="*/ 58007 h 1057751"/>
                <a:gd name="connsiteX188" fmla="*/ 501587 w 1073848"/>
                <a:gd name="connsiteY188" fmla="*/ 58769 h 1057751"/>
                <a:gd name="connsiteX189" fmla="*/ 498253 w 1073848"/>
                <a:gd name="connsiteY189" fmla="*/ 57626 h 1057751"/>
                <a:gd name="connsiteX190" fmla="*/ 495300 w 1073848"/>
                <a:gd name="connsiteY190" fmla="*/ 59626 h 1057751"/>
                <a:gd name="connsiteX191" fmla="*/ 493300 w 1073848"/>
                <a:gd name="connsiteY191" fmla="*/ 56674 h 1057751"/>
                <a:gd name="connsiteX192" fmla="*/ 490538 w 1073848"/>
                <a:gd name="connsiteY192" fmla="*/ 60198 h 1057751"/>
                <a:gd name="connsiteX193" fmla="*/ 490156 w 1073848"/>
                <a:gd name="connsiteY193" fmla="*/ 57055 h 1057751"/>
                <a:gd name="connsiteX194" fmla="*/ 489204 w 1073848"/>
                <a:gd name="connsiteY194" fmla="*/ 62008 h 1057751"/>
                <a:gd name="connsiteX195" fmla="*/ 487204 w 1073848"/>
                <a:gd name="connsiteY195" fmla="*/ 59055 h 1057751"/>
                <a:gd name="connsiteX196" fmla="*/ 489966 w 1073848"/>
                <a:gd name="connsiteY196" fmla="*/ 55436 h 1057751"/>
                <a:gd name="connsiteX197" fmla="*/ 487775 w 1073848"/>
                <a:gd name="connsiteY197" fmla="*/ 50959 h 1057751"/>
                <a:gd name="connsiteX198" fmla="*/ 489204 w 1073848"/>
                <a:gd name="connsiteY198" fmla="*/ 49149 h 1057751"/>
                <a:gd name="connsiteX199" fmla="*/ 486061 w 1073848"/>
                <a:gd name="connsiteY199" fmla="*/ 49530 h 1057751"/>
                <a:gd name="connsiteX200" fmla="*/ 484251 w 1073848"/>
                <a:gd name="connsiteY200" fmla="*/ 48196 h 1057751"/>
                <a:gd name="connsiteX201" fmla="*/ 481108 w 1073848"/>
                <a:gd name="connsiteY201" fmla="*/ 48578 h 1057751"/>
                <a:gd name="connsiteX202" fmla="*/ 477298 w 1073848"/>
                <a:gd name="connsiteY202" fmla="*/ 44291 h 1057751"/>
                <a:gd name="connsiteX203" fmla="*/ 477107 w 1073848"/>
                <a:gd name="connsiteY203" fmla="*/ 42672 h 1057751"/>
                <a:gd name="connsiteX204" fmla="*/ 478060 w 1073848"/>
                <a:gd name="connsiteY204" fmla="*/ 37719 h 1057751"/>
                <a:gd name="connsiteX205" fmla="*/ 471773 w 1073848"/>
                <a:gd name="connsiteY205" fmla="*/ 38576 h 1057751"/>
                <a:gd name="connsiteX206" fmla="*/ 469773 w 1073848"/>
                <a:gd name="connsiteY206" fmla="*/ 35624 h 1057751"/>
                <a:gd name="connsiteX207" fmla="*/ 469392 w 1073848"/>
                <a:gd name="connsiteY207" fmla="*/ 32480 h 1057751"/>
                <a:gd name="connsiteX208" fmla="*/ 464630 w 1073848"/>
                <a:gd name="connsiteY208" fmla="*/ 33052 h 1057751"/>
                <a:gd name="connsiteX209" fmla="*/ 455390 w 1073848"/>
                <a:gd name="connsiteY209" fmla="*/ 22955 h 1057751"/>
                <a:gd name="connsiteX210" fmla="*/ 448818 w 1073848"/>
                <a:gd name="connsiteY210" fmla="*/ 22193 h 1057751"/>
                <a:gd name="connsiteX211" fmla="*/ 445294 w 1073848"/>
                <a:gd name="connsiteY211" fmla="*/ 19431 h 1057751"/>
                <a:gd name="connsiteX212" fmla="*/ 441579 w 1073848"/>
                <a:gd name="connsiteY212" fmla="*/ 15145 h 1057751"/>
                <a:gd name="connsiteX213" fmla="*/ 437769 w 1073848"/>
                <a:gd name="connsiteY213" fmla="*/ 10763 h 1057751"/>
                <a:gd name="connsiteX214" fmla="*/ 432625 w 1073848"/>
                <a:gd name="connsiteY214" fmla="*/ 8287 h 1057751"/>
                <a:gd name="connsiteX215" fmla="*/ 421957 w 1073848"/>
                <a:gd name="connsiteY215" fmla="*/ 0 h 1057751"/>
                <a:gd name="connsiteX216" fmla="*/ 420624 w 1073848"/>
                <a:gd name="connsiteY216" fmla="*/ 1810 h 1057751"/>
                <a:gd name="connsiteX217" fmla="*/ 421386 w 1073848"/>
                <a:gd name="connsiteY217" fmla="*/ 8096 h 1057751"/>
                <a:gd name="connsiteX218" fmla="*/ 417290 w 1073848"/>
                <a:gd name="connsiteY218" fmla="*/ 13430 h 1057751"/>
                <a:gd name="connsiteX219" fmla="*/ 413480 w 1073848"/>
                <a:gd name="connsiteY219" fmla="*/ 9049 h 1057751"/>
                <a:gd name="connsiteX220" fmla="*/ 405860 w 1073848"/>
                <a:gd name="connsiteY220" fmla="*/ 11716 h 1057751"/>
                <a:gd name="connsiteX221" fmla="*/ 406051 w 1073848"/>
                <a:gd name="connsiteY221" fmla="*/ 13240 h 1057751"/>
                <a:gd name="connsiteX222" fmla="*/ 407765 w 1073848"/>
                <a:gd name="connsiteY222" fmla="*/ 14668 h 1057751"/>
                <a:gd name="connsiteX223" fmla="*/ 406241 w 1073848"/>
                <a:gd name="connsiteY223" fmla="*/ 14859 h 1057751"/>
                <a:gd name="connsiteX224" fmla="*/ 406813 w 1073848"/>
                <a:gd name="connsiteY224" fmla="*/ 19526 h 1057751"/>
                <a:gd name="connsiteX225" fmla="*/ 402336 w 1073848"/>
                <a:gd name="connsiteY225" fmla="*/ 21717 h 1057751"/>
                <a:gd name="connsiteX226" fmla="*/ 399097 w 1073848"/>
                <a:gd name="connsiteY226" fmla="*/ 22193 h 1057751"/>
                <a:gd name="connsiteX227" fmla="*/ 399574 w 1073848"/>
                <a:gd name="connsiteY227" fmla="*/ 25337 h 1057751"/>
                <a:gd name="connsiteX228" fmla="*/ 397955 w 1073848"/>
                <a:gd name="connsiteY228" fmla="*/ 25527 h 1057751"/>
                <a:gd name="connsiteX229" fmla="*/ 393954 w 1073848"/>
                <a:gd name="connsiteY229" fmla="*/ 19621 h 1057751"/>
                <a:gd name="connsiteX230" fmla="*/ 388906 w 1073848"/>
                <a:gd name="connsiteY230" fmla="*/ 17050 h 1057751"/>
                <a:gd name="connsiteX231" fmla="*/ 385953 w 1073848"/>
                <a:gd name="connsiteY231" fmla="*/ 19050 h 1057751"/>
                <a:gd name="connsiteX232" fmla="*/ 376047 w 1073848"/>
                <a:gd name="connsiteY232" fmla="*/ 29908 h 1057751"/>
                <a:gd name="connsiteX233" fmla="*/ 376428 w 1073848"/>
                <a:gd name="connsiteY233" fmla="*/ 33052 h 1057751"/>
                <a:gd name="connsiteX234" fmla="*/ 371570 w 1073848"/>
                <a:gd name="connsiteY234" fmla="*/ 32099 h 1057751"/>
                <a:gd name="connsiteX235" fmla="*/ 368998 w 1073848"/>
                <a:gd name="connsiteY235" fmla="*/ 37243 h 1057751"/>
                <a:gd name="connsiteX236" fmla="*/ 365093 w 1073848"/>
                <a:gd name="connsiteY236" fmla="*/ 44101 h 1057751"/>
                <a:gd name="connsiteX237" fmla="*/ 365665 w 1073848"/>
                <a:gd name="connsiteY237" fmla="*/ 48863 h 1057751"/>
                <a:gd name="connsiteX238" fmla="*/ 367665 w 1073848"/>
                <a:gd name="connsiteY238" fmla="*/ 51816 h 1057751"/>
                <a:gd name="connsiteX239" fmla="*/ 372332 w 1073848"/>
                <a:gd name="connsiteY239" fmla="*/ 51245 h 1057751"/>
                <a:gd name="connsiteX240" fmla="*/ 375475 w 1073848"/>
                <a:gd name="connsiteY240" fmla="*/ 50768 h 1057751"/>
                <a:gd name="connsiteX241" fmla="*/ 374523 w 1073848"/>
                <a:gd name="connsiteY241" fmla="*/ 55721 h 1057751"/>
                <a:gd name="connsiteX242" fmla="*/ 378142 w 1073848"/>
                <a:gd name="connsiteY242" fmla="*/ 58483 h 1057751"/>
                <a:gd name="connsiteX243" fmla="*/ 377095 w 1073848"/>
                <a:gd name="connsiteY243" fmla="*/ 63437 h 1057751"/>
                <a:gd name="connsiteX244" fmla="*/ 382238 w 1073848"/>
                <a:gd name="connsiteY244" fmla="*/ 66008 h 1057751"/>
                <a:gd name="connsiteX245" fmla="*/ 379285 w 1073848"/>
                <a:gd name="connsiteY245" fmla="*/ 68008 h 1057751"/>
                <a:gd name="connsiteX246" fmla="*/ 379762 w 1073848"/>
                <a:gd name="connsiteY246" fmla="*/ 71152 h 1057751"/>
                <a:gd name="connsiteX247" fmla="*/ 376999 w 1073848"/>
                <a:gd name="connsiteY247" fmla="*/ 74676 h 1057751"/>
                <a:gd name="connsiteX248" fmla="*/ 373761 w 1073848"/>
                <a:gd name="connsiteY248" fmla="*/ 75057 h 1057751"/>
                <a:gd name="connsiteX249" fmla="*/ 371094 w 1073848"/>
                <a:gd name="connsiteY249" fmla="*/ 78676 h 1057751"/>
                <a:gd name="connsiteX250" fmla="*/ 371284 w 1073848"/>
                <a:gd name="connsiteY250" fmla="*/ 80200 h 1057751"/>
                <a:gd name="connsiteX251" fmla="*/ 367665 w 1073848"/>
                <a:gd name="connsiteY251" fmla="*/ 77438 h 1057751"/>
                <a:gd name="connsiteX252" fmla="*/ 366141 w 1073848"/>
                <a:gd name="connsiteY252" fmla="*/ 77629 h 1057751"/>
                <a:gd name="connsiteX253" fmla="*/ 364331 w 1073848"/>
                <a:gd name="connsiteY253" fmla="*/ 76295 h 1057751"/>
                <a:gd name="connsiteX254" fmla="*/ 359759 w 1073848"/>
                <a:gd name="connsiteY254" fmla="*/ 78486 h 1057751"/>
                <a:gd name="connsiteX255" fmla="*/ 352711 w 1073848"/>
                <a:gd name="connsiteY255" fmla="*/ 72962 h 1057751"/>
                <a:gd name="connsiteX256" fmla="*/ 353282 w 1073848"/>
                <a:gd name="connsiteY256" fmla="*/ 77724 h 1057751"/>
                <a:gd name="connsiteX257" fmla="*/ 350139 w 1073848"/>
                <a:gd name="connsiteY257" fmla="*/ 78105 h 1057751"/>
                <a:gd name="connsiteX258" fmla="*/ 346615 w 1073848"/>
                <a:gd name="connsiteY258" fmla="*/ 75343 h 1057751"/>
                <a:gd name="connsiteX259" fmla="*/ 345757 w 1073848"/>
                <a:gd name="connsiteY259" fmla="*/ 69056 h 1057751"/>
                <a:gd name="connsiteX260" fmla="*/ 344424 w 1073848"/>
                <a:gd name="connsiteY260" fmla="*/ 70771 h 1057751"/>
                <a:gd name="connsiteX261" fmla="*/ 342614 w 1073848"/>
                <a:gd name="connsiteY261" fmla="*/ 69437 h 1057751"/>
                <a:gd name="connsiteX262" fmla="*/ 340233 w 1073848"/>
                <a:gd name="connsiteY262" fmla="*/ 76200 h 1057751"/>
                <a:gd name="connsiteX263" fmla="*/ 336137 w 1073848"/>
                <a:gd name="connsiteY263" fmla="*/ 81534 h 1057751"/>
                <a:gd name="connsiteX264" fmla="*/ 333756 w 1073848"/>
                <a:gd name="connsiteY264" fmla="*/ 88201 h 1057751"/>
                <a:gd name="connsiteX265" fmla="*/ 335566 w 1073848"/>
                <a:gd name="connsiteY265" fmla="*/ 89630 h 1057751"/>
                <a:gd name="connsiteX266" fmla="*/ 332803 w 1073848"/>
                <a:gd name="connsiteY266" fmla="*/ 93154 h 1057751"/>
                <a:gd name="connsiteX267" fmla="*/ 333565 w 1073848"/>
                <a:gd name="connsiteY267" fmla="*/ 99441 h 1057751"/>
                <a:gd name="connsiteX268" fmla="*/ 332041 w 1073848"/>
                <a:gd name="connsiteY268" fmla="*/ 99632 h 1057751"/>
                <a:gd name="connsiteX269" fmla="*/ 331470 w 1073848"/>
                <a:gd name="connsiteY269" fmla="*/ 94964 h 1057751"/>
                <a:gd name="connsiteX270" fmla="*/ 326517 w 1073848"/>
                <a:gd name="connsiteY270" fmla="*/ 93917 h 1057751"/>
                <a:gd name="connsiteX271" fmla="*/ 319564 w 1073848"/>
                <a:gd name="connsiteY271" fmla="*/ 102870 h 1057751"/>
                <a:gd name="connsiteX272" fmla="*/ 310896 w 1073848"/>
                <a:gd name="connsiteY272" fmla="*/ 97536 h 1057751"/>
                <a:gd name="connsiteX273" fmla="*/ 303466 w 1073848"/>
                <a:gd name="connsiteY273" fmla="*/ 101727 h 1057751"/>
                <a:gd name="connsiteX274" fmla="*/ 296323 w 1073848"/>
                <a:gd name="connsiteY274" fmla="*/ 109061 h 1057751"/>
                <a:gd name="connsiteX275" fmla="*/ 294513 w 1073848"/>
                <a:gd name="connsiteY275" fmla="*/ 107633 h 1057751"/>
                <a:gd name="connsiteX276" fmla="*/ 293180 w 1073848"/>
                <a:gd name="connsiteY276" fmla="*/ 109442 h 1057751"/>
                <a:gd name="connsiteX277" fmla="*/ 288226 w 1073848"/>
                <a:gd name="connsiteY277" fmla="*/ 108395 h 1057751"/>
                <a:gd name="connsiteX278" fmla="*/ 285083 w 1073848"/>
                <a:gd name="connsiteY278" fmla="*/ 108871 h 1057751"/>
                <a:gd name="connsiteX279" fmla="*/ 284702 w 1073848"/>
                <a:gd name="connsiteY279" fmla="*/ 105728 h 1057751"/>
                <a:gd name="connsiteX280" fmla="*/ 283750 w 1073848"/>
                <a:gd name="connsiteY280" fmla="*/ 110585 h 1057751"/>
                <a:gd name="connsiteX281" fmla="*/ 283559 w 1073848"/>
                <a:gd name="connsiteY281" fmla="*/ 109061 h 1057751"/>
                <a:gd name="connsiteX282" fmla="*/ 280321 w 1073848"/>
                <a:gd name="connsiteY282" fmla="*/ 109442 h 1057751"/>
                <a:gd name="connsiteX283" fmla="*/ 275653 w 1073848"/>
                <a:gd name="connsiteY283" fmla="*/ 110014 h 1057751"/>
                <a:gd name="connsiteX284" fmla="*/ 274891 w 1073848"/>
                <a:gd name="connsiteY284" fmla="*/ 116586 h 1057751"/>
                <a:gd name="connsiteX285" fmla="*/ 271272 w 1073848"/>
                <a:gd name="connsiteY285" fmla="*/ 113824 h 1057751"/>
                <a:gd name="connsiteX286" fmla="*/ 269938 w 1073848"/>
                <a:gd name="connsiteY286" fmla="*/ 115633 h 1057751"/>
                <a:gd name="connsiteX287" fmla="*/ 272129 w 1073848"/>
                <a:gd name="connsiteY287" fmla="*/ 120110 h 1057751"/>
                <a:gd name="connsiteX288" fmla="*/ 264414 w 1073848"/>
                <a:gd name="connsiteY288" fmla="*/ 122682 h 1057751"/>
                <a:gd name="connsiteX289" fmla="*/ 264223 w 1073848"/>
                <a:gd name="connsiteY289" fmla="*/ 121158 h 1057751"/>
                <a:gd name="connsiteX290" fmla="*/ 261461 w 1073848"/>
                <a:gd name="connsiteY290" fmla="*/ 124682 h 1057751"/>
                <a:gd name="connsiteX291" fmla="*/ 259461 w 1073848"/>
                <a:gd name="connsiteY291" fmla="*/ 121729 h 1057751"/>
                <a:gd name="connsiteX292" fmla="*/ 256508 w 1073848"/>
                <a:gd name="connsiteY292" fmla="*/ 123730 h 1057751"/>
                <a:gd name="connsiteX293" fmla="*/ 256318 w 1073848"/>
                <a:gd name="connsiteY293" fmla="*/ 122111 h 1057751"/>
                <a:gd name="connsiteX294" fmla="*/ 250031 w 1073848"/>
                <a:gd name="connsiteY294" fmla="*/ 122968 h 1057751"/>
                <a:gd name="connsiteX295" fmla="*/ 249841 w 1073848"/>
                <a:gd name="connsiteY295" fmla="*/ 121349 h 1057751"/>
                <a:gd name="connsiteX296" fmla="*/ 255270 w 1073848"/>
                <a:gd name="connsiteY296" fmla="*/ 114205 h 1057751"/>
                <a:gd name="connsiteX297" fmla="*/ 253365 w 1073848"/>
                <a:gd name="connsiteY297" fmla="*/ 111252 h 1057751"/>
                <a:gd name="connsiteX298" fmla="*/ 250126 w 1073848"/>
                <a:gd name="connsiteY298" fmla="*/ 111728 h 1057751"/>
                <a:gd name="connsiteX299" fmla="*/ 247459 w 1073848"/>
                <a:gd name="connsiteY299" fmla="*/ 115253 h 1057751"/>
                <a:gd name="connsiteX300" fmla="*/ 244030 w 1073848"/>
                <a:gd name="connsiteY300" fmla="*/ 114109 h 1057751"/>
                <a:gd name="connsiteX301" fmla="*/ 241459 w 1073848"/>
                <a:gd name="connsiteY301" fmla="*/ 119253 h 1057751"/>
                <a:gd name="connsiteX302" fmla="*/ 236791 w 1073848"/>
                <a:gd name="connsiteY302" fmla="*/ 119825 h 1057751"/>
                <a:gd name="connsiteX303" fmla="*/ 234982 w 1073848"/>
                <a:gd name="connsiteY303" fmla="*/ 118396 h 1057751"/>
                <a:gd name="connsiteX304" fmla="*/ 231076 w 1073848"/>
                <a:gd name="connsiteY304" fmla="*/ 125349 h 1057751"/>
                <a:gd name="connsiteX305" fmla="*/ 229457 w 1073848"/>
                <a:gd name="connsiteY305" fmla="*/ 125539 h 1057751"/>
                <a:gd name="connsiteX306" fmla="*/ 229934 w 1073848"/>
                <a:gd name="connsiteY306" fmla="*/ 128683 h 1057751"/>
                <a:gd name="connsiteX307" fmla="*/ 233267 w 1073848"/>
                <a:gd name="connsiteY307" fmla="*/ 129921 h 1057751"/>
                <a:gd name="connsiteX308" fmla="*/ 231838 w 1073848"/>
                <a:gd name="connsiteY308" fmla="*/ 131636 h 1057751"/>
                <a:gd name="connsiteX309" fmla="*/ 233839 w 1073848"/>
                <a:gd name="connsiteY309" fmla="*/ 134588 h 1057751"/>
                <a:gd name="connsiteX310" fmla="*/ 226314 w 1073848"/>
                <a:gd name="connsiteY310" fmla="*/ 138779 h 1057751"/>
                <a:gd name="connsiteX311" fmla="*/ 227552 w 1073848"/>
                <a:gd name="connsiteY311" fmla="*/ 148209 h 1057751"/>
                <a:gd name="connsiteX312" fmla="*/ 228409 w 1073848"/>
                <a:gd name="connsiteY312" fmla="*/ 154591 h 1057751"/>
                <a:gd name="connsiteX313" fmla="*/ 214598 w 1073848"/>
                <a:gd name="connsiteY313" fmla="*/ 159544 h 1057751"/>
                <a:gd name="connsiteX314" fmla="*/ 216503 w 1073848"/>
                <a:gd name="connsiteY314" fmla="*/ 162496 h 1057751"/>
                <a:gd name="connsiteX315" fmla="*/ 211264 w 1073848"/>
                <a:gd name="connsiteY315" fmla="*/ 171164 h 1057751"/>
                <a:gd name="connsiteX316" fmla="*/ 209645 w 1073848"/>
                <a:gd name="connsiteY316" fmla="*/ 171355 h 1057751"/>
                <a:gd name="connsiteX317" fmla="*/ 209264 w 1073848"/>
                <a:gd name="connsiteY317" fmla="*/ 168212 h 1057751"/>
                <a:gd name="connsiteX318" fmla="*/ 207931 w 1073848"/>
                <a:gd name="connsiteY318" fmla="*/ 170021 h 1057751"/>
                <a:gd name="connsiteX319" fmla="*/ 207931 w 1073848"/>
                <a:gd name="connsiteY319" fmla="*/ 170021 h 1057751"/>
                <a:gd name="connsiteX320" fmla="*/ 204692 w 1073848"/>
                <a:gd name="connsiteY320" fmla="*/ 170402 h 1057751"/>
                <a:gd name="connsiteX321" fmla="*/ 206502 w 1073848"/>
                <a:gd name="connsiteY321" fmla="*/ 171736 h 1057751"/>
                <a:gd name="connsiteX322" fmla="*/ 203359 w 1073848"/>
                <a:gd name="connsiteY322" fmla="*/ 172212 h 1057751"/>
                <a:gd name="connsiteX323" fmla="*/ 205359 w 1073848"/>
                <a:gd name="connsiteY323" fmla="*/ 175165 h 1057751"/>
                <a:gd name="connsiteX324" fmla="*/ 202597 w 1073848"/>
                <a:gd name="connsiteY324" fmla="*/ 178689 h 1057751"/>
                <a:gd name="connsiteX325" fmla="*/ 201644 w 1073848"/>
                <a:gd name="connsiteY325" fmla="*/ 183642 h 1057751"/>
                <a:gd name="connsiteX326" fmla="*/ 200406 w 1073848"/>
                <a:gd name="connsiteY326" fmla="*/ 186976 h 1057751"/>
                <a:gd name="connsiteX327" fmla="*/ 202597 w 1073848"/>
                <a:gd name="connsiteY327" fmla="*/ 191548 h 1057751"/>
                <a:gd name="connsiteX328" fmla="*/ 200692 w 1073848"/>
                <a:gd name="connsiteY328" fmla="*/ 201359 h 1057751"/>
                <a:gd name="connsiteX329" fmla="*/ 202882 w 1073848"/>
                <a:gd name="connsiteY329" fmla="*/ 205930 h 1057751"/>
                <a:gd name="connsiteX330" fmla="*/ 201835 w 1073848"/>
                <a:gd name="connsiteY330" fmla="*/ 210884 h 1057751"/>
                <a:gd name="connsiteX331" fmla="*/ 205454 w 1073848"/>
                <a:gd name="connsiteY331" fmla="*/ 213646 h 1057751"/>
                <a:gd name="connsiteX332" fmla="*/ 203835 w 1073848"/>
                <a:gd name="connsiteY332" fmla="*/ 213836 h 1057751"/>
                <a:gd name="connsiteX333" fmla="*/ 206407 w 1073848"/>
                <a:gd name="connsiteY333" fmla="*/ 221551 h 1057751"/>
                <a:gd name="connsiteX334" fmla="*/ 209550 w 1073848"/>
                <a:gd name="connsiteY334" fmla="*/ 221075 h 1057751"/>
                <a:gd name="connsiteX335" fmla="*/ 213550 w 1073848"/>
                <a:gd name="connsiteY335" fmla="*/ 214217 h 1057751"/>
                <a:gd name="connsiteX336" fmla="*/ 221456 w 1073848"/>
                <a:gd name="connsiteY336" fmla="*/ 226028 h 1057751"/>
                <a:gd name="connsiteX337" fmla="*/ 229171 w 1073848"/>
                <a:gd name="connsiteY337" fmla="*/ 223457 h 1057751"/>
                <a:gd name="connsiteX338" fmla="*/ 240411 w 1073848"/>
                <a:gd name="connsiteY338" fmla="*/ 223552 h 1057751"/>
                <a:gd name="connsiteX339" fmla="*/ 239363 w 1073848"/>
                <a:gd name="connsiteY339" fmla="*/ 228505 h 1057751"/>
                <a:gd name="connsiteX340" fmla="*/ 243745 w 1073848"/>
                <a:gd name="connsiteY340" fmla="*/ 237554 h 1057751"/>
                <a:gd name="connsiteX341" fmla="*/ 251460 w 1073848"/>
                <a:gd name="connsiteY341" fmla="*/ 247841 h 1057751"/>
                <a:gd name="connsiteX342" fmla="*/ 252127 w 1073848"/>
                <a:gd name="connsiteY342" fmla="*/ 252603 h 1057751"/>
                <a:gd name="connsiteX343" fmla="*/ 249174 w 1073848"/>
                <a:gd name="connsiteY343" fmla="*/ 254508 h 1057751"/>
                <a:gd name="connsiteX344" fmla="*/ 247936 w 1073848"/>
                <a:gd name="connsiteY344" fmla="*/ 257937 h 1057751"/>
                <a:gd name="connsiteX345" fmla="*/ 251746 w 1073848"/>
                <a:gd name="connsiteY345" fmla="*/ 262223 h 1057751"/>
                <a:gd name="connsiteX346" fmla="*/ 248031 w 1073848"/>
                <a:gd name="connsiteY346" fmla="*/ 270700 h 1057751"/>
                <a:gd name="connsiteX347" fmla="*/ 244411 w 1073848"/>
                <a:gd name="connsiteY347" fmla="*/ 267938 h 1057751"/>
                <a:gd name="connsiteX348" fmla="*/ 245078 w 1073848"/>
                <a:gd name="connsiteY348" fmla="*/ 272701 h 1057751"/>
                <a:gd name="connsiteX349" fmla="*/ 243268 w 1073848"/>
                <a:gd name="connsiteY349" fmla="*/ 271367 h 1057751"/>
                <a:gd name="connsiteX350" fmla="*/ 243459 w 1073848"/>
                <a:gd name="connsiteY350" fmla="*/ 272891 h 1057751"/>
                <a:gd name="connsiteX351" fmla="*/ 241840 w 1073848"/>
                <a:gd name="connsiteY351" fmla="*/ 273082 h 1057751"/>
                <a:gd name="connsiteX352" fmla="*/ 237553 w 1073848"/>
                <a:gd name="connsiteY352" fmla="*/ 276892 h 1057751"/>
                <a:gd name="connsiteX353" fmla="*/ 238125 w 1073848"/>
                <a:gd name="connsiteY353" fmla="*/ 281654 h 1057751"/>
                <a:gd name="connsiteX354" fmla="*/ 232029 w 1073848"/>
                <a:gd name="connsiteY354" fmla="*/ 284036 h 1057751"/>
                <a:gd name="connsiteX355" fmla="*/ 231838 w 1073848"/>
                <a:gd name="connsiteY355" fmla="*/ 282416 h 1057751"/>
                <a:gd name="connsiteX356" fmla="*/ 228695 w 1073848"/>
                <a:gd name="connsiteY356" fmla="*/ 282797 h 1057751"/>
                <a:gd name="connsiteX357" fmla="*/ 224123 w 1073848"/>
                <a:gd name="connsiteY357" fmla="*/ 284988 h 1057751"/>
                <a:gd name="connsiteX358" fmla="*/ 222123 w 1073848"/>
                <a:gd name="connsiteY358" fmla="*/ 282035 h 1057751"/>
                <a:gd name="connsiteX359" fmla="*/ 219456 w 1073848"/>
                <a:gd name="connsiteY359" fmla="*/ 285559 h 1057751"/>
                <a:gd name="connsiteX360" fmla="*/ 216979 w 1073848"/>
                <a:gd name="connsiteY360" fmla="*/ 279463 h 1057751"/>
                <a:gd name="connsiteX361" fmla="*/ 210121 w 1073848"/>
                <a:gd name="connsiteY361" fmla="*/ 275558 h 1057751"/>
                <a:gd name="connsiteX362" fmla="*/ 208978 w 1073848"/>
                <a:gd name="connsiteY362" fmla="*/ 278892 h 1057751"/>
                <a:gd name="connsiteX363" fmla="*/ 204025 w 1073848"/>
                <a:gd name="connsiteY363" fmla="*/ 277939 h 1057751"/>
                <a:gd name="connsiteX364" fmla="*/ 204978 w 1073848"/>
                <a:gd name="connsiteY364" fmla="*/ 285845 h 1057751"/>
                <a:gd name="connsiteX365" fmla="*/ 204978 w 1073848"/>
                <a:gd name="connsiteY365" fmla="*/ 285845 h 1057751"/>
                <a:gd name="connsiteX366" fmla="*/ 202025 w 1073848"/>
                <a:gd name="connsiteY366" fmla="*/ 287846 h 1057751"/>
                <a:gd name="connsiteX367" fmla="*/ 198501 w 1073848"/>
                <a:gd name="connsiteY367" fmla="*/ 285083 h 1057751"/>
                <a:gd name="connsiteX368" fmla="*/ 199644 w 1073848"/>
                <a:gd name="connsiteY368" fmla="*/ 281750 h 1057751"/>
                <a:gd name="connsiteX369" fmla="*/ 194977 w 1073848"/>
                <a:gd name="connsiteY369" fmla="*/ 282321 h 1057751"/>
                <a:gd name="connsiteX370" fmla="*/ 195358 w 1073848"/>
                <a:gd name="connsiteY370" fmla="*/ 285464 h 1057751"/>
                <a:gd name="connsiteX371" fmla="*/ 198882 w 1073848"/>
                <a:gd name="connsiteY371" fmla="*/ 288226 h 1057751"/>
                <a:gd name="connsiteX372" fmla="*/ 197929 w 1073848"/>
                <a:gd name="connsiteY372" fmla="*/ 293180 h 1057751"/>
                <a:gd name="connsiteX373" fmla="*/ 193167 w 1073848"/>
                <a:gd name="connsiteY373" fmla="*/ 293751 h 1057751"/>
                <a:gd name="connsiteX374" fmla="*/ 193548 w 1073848"/>
                <a:gd name="connsiteY374" fmla="*/ 296894 h 1057751"/>
                <a:gd name="connsiteX375" fmla="*/ 192214 w 1073848"/>
                <a:gd name="connsiteY375" fmla="*/ 298704 h 1057751"/>
                <a:gd name="connsiteX376" fmla="*/ 191071 w 1073848"/>
                <a:gd name="connsiteY376" fmla="*/ 302038 h 1057751"/>
                <a:gd name="connsiteX377" fmla="*/ 192976 w 1073848"/>
                <a:gd name="connsiteY377" fmla="*/ 304991 h 1057751"/>
                <a:gd name="connsiteX378" fmla="*/ 191643 w 1073848"/>
                <a:gd name="connsiteY378" fmla="*/ 306800 h 1057751"/>
                <a:gd name="connsiteX379" fmla="*/ 191834 w 1073848"/>
                <a:gd name="connsiteY379" fmla="*/ 308324 h 1057751"/>
                <a:gd name="connsiteX380" fmla="*/ 183737 w 1073848"/>
                <a:gd name="connsiteY380" fmla="*/ 307753 h 1057751"/>
                <a:gd name="connsiteX381" fmla="*/ 183166 w 1073848"/>
                <a:gd name="connsiteY381" fmla="*/ 303086 h 1057751"/>
                <a:gd name="connsiteX382" fmla="*/ 180784 w 1073848"/>
                <a:gd name="connsiteY382" fmla="*/ 296989 h 1057751"/>
                <a:gd name="connsiteX383" fmla="*/ 173831 w 1073848"/>
                <a:gd name="connsiteY383" fmla="*/ 292989 h 1057751"/>
                <a:gd name="connsiteX384" fmla="*/ 174212 w 1073848"/>
                <a:gd name="connsiteY384" fmla="*/ 296132 h 1057751"/>
                <a:gd name="connsiteX385" fmla="*/ 172498 w 1073848"/>
                <a:gd name="connsiteY385" fmla="*/ 294799 h 1057751"/>
                <a:gd name="connsiteX386" fmla="*/ 172688 w 1073848"/>
                <a:gd name="connsiteY386" fmla="*/ 296323 h 1057751"/>
                <a:gd name="connsiteX387" fmla="*/ 169545 w 1073848"/>
                <a:gd name="connsiteY387" fmla="*/ 296799 h 1057751"/>
                <a:gd name="connsiteX388" fmla="*/ 164782 w 1073848"/>
                <a:gd name="connsiteY388" fmla="*/ 297371 h 1057751"/>
                <a:gd name="connsiteX389" fmla="*/ 162973 w 1073848"/>
                <a:gd name="connsiteY389" fmla="*/ 296037 h 1057751"/>
                <a:gd name="connsiteX390" fmla="*/ 160972 w 1073848"/>
                <a:gd name="connsiteY390" fmla="*/ 293084 h 1057751"/>
                <a:gd name="connsiteX391" fmla="*/ 160782 w 1073848"/>
                <a:gd name="connsiteY391" fmla="*/ 291465 h 1057751"/>
                <a:gd name="connsiteX392" fmla="*/ 156115 w 1073848"/>
                <a:gd name="connsiteY392" fmla="*/ 292037 h 1057751"/>
                <a:gd name="connsiteX393" fmla="*/ 157067 w 1073848"/>
                <a:gd name="connsiteY393" fmla="*/ 287179 h 1057751"/>
                <a:gd name="connsiteX394" fmla="*/ 158591 w 1073848"/>
                <a:gd name="connsiteY394" fmla="*/ 286893 h 1057751"/>
                <a:gd name="connsiteX395" fmla="*/ 160020 w 1073848"/>
                <a:gd name="connsiteY395" fmla="*/ 285179 h 1057751"/>
                <a:gd name="connsiteX396" fmla="*/ 155257 w 1073848"/>
                <a:gd name="connsiteY396" fmla="*/ 285750 h 1057751"/>
                <a:gd name="connsiteX397" fmla="*/ 154114 w 1073848"/>
                <a:gd name="connsiteY397" fmla="*/ 289084 h 1057751"/>
                <a:gd name="connsiteX398" fmla="*/ 152305 w 1073848"/>
                <a:gd name="connsiteY398" fmla="*/ 287750 h 1057751"/>
                <a:gd name="connsiteX399" fmla="*/ 149161 w 1073848"/>
                <a:gd name="connsiteY399" fmla="*/ 288131 h 1057751"/>
                <a:gd name="connsiteX400" fmla="*/ 150209 w 1073848"/>
                <a:gd name="connsiteY400" fmla="*/ 296037 h 1057751"/>
                <a:gd name="connsiteX401" fmla="*/ 145066 w 1073848"/>
                <a:gd name="connsiteY401" fmla="*/ 293465 h 1057751"/>
                <a:gd name="connsiteX402" fmla="*/ 137350 w 1073848"/>
                <a:gd name="connsiteY402" fmla="*/ 296037 h 1057751"/>
                <a:gd name="connsiteX403" fmla="*/ 135731 w 1073848"/>
                <a:gd name="connsiteY403" fmla="*/ 296228 h 1057751"/>
                <a:gd name="connsiteX404" fmla="*/ 136207 w 1073848"/>
                <a:gd name="connsiteY404" fmla="*/ 299371 h 1057751"/>
                <a:gd name="connsiteX405" fmla="*/ 132969 w 1073848"/>
                <a:gd name="connsiteY405" fmla="*/ 299847 h 1057751"/>
                <a:gd name="connsiteX406" fmla="*/ 129445 w 1073848"/>
                <a:gd name="connsiteY406" fmla="*/ 297085 h 1057751"/>
                <a:gd name="connsiteX407" fmla="*/ 128302 w 1073848"/>
                <a:gd name="connsiteY407" fmla="*/ 300418 h 1057751"/>
                <a:gd name="connsiteX408" fmla="*/ 125158 w 1073848"/>
                <a:gd name="connsiteY408" fmla="*/ 300800 h 1057751"/>
                <a:gd name="connsiteX409" fmla="*/ 121729 w 1073848"/>
                <a:gd name="connsiteY409" fmla="*/ 299657 h 1057751"/>
                <a:gd name="connsiteX410" fmla="*/ 115824 w 1073848"/>
                <a:gd name="connsiteY410" fmla="*/ 303562 h 1057751"/>
                <a:gd name="connsiteX411" fmla="*/ 108585 w 1073848"/>
                <a:gd name="connsiteY411" fmla="*/ 296513 h 1057751"/>
                <a:gd name="connsiteX412" fmla="*/ 104013 w 1073848"/>
                <a:gd name="connsiteY412" fmla="*/ 298704 h 1057751"/>
                <a:gd name="connsiteX413" fmla="*/ 101822 w 1073848"/>
                <a:gd name="connsiteY413" fmla="*/ 294132 h 1057751"/>
                <a:gd name="connsiteX414" fmla="*/ 95726 w 1073848"/>
                <a:gd name="connsiteY414" fmla="*/ 296513 h 1057751"/>
                <a:gd name="connsiteX415" fmla="*/ 94488 w 1073848"/>
                <a:gd name="connsiteY415" fmla="*/ 299942 h 1057751"/>
                <a:gd name="connsiteX416" fmla="*/ 92773 w 1073848"/>
                <a:gd name="connsiteY416" fmla="*/ 298513 h 1057751"/>
                <a:gd name="connsiteX417" fmla="*/ 91345 w 1073848"/>
                <a:gd name="connsiteY417" fmla="*/ 300323 h 1057751"/>
                <a:gd name="connsiteX418" fmla="*/ 89154 w 1073848"/>
                <a:gd name="connsiteY418" fmla="*/ 295751 h 1057751"/>
                <a:gd name="connsiteX419" fmla="*/ 87630 w 1073848"/>
                <a:gd name="connsiteY419" fmla="*/ 295942 h 1057751"/>
                <a:gd name="connsiteX420" fmla="*/ 87820 w 1073848"/>
                <a:gd name="connsiteY420" fmla="*/ 297561 h 1057751"/>
                <a:gd name="connsiteX421" fmla="*/ 82677 w 1073848"/>
                <a:gd name="connsiteY421" fmla="*/ 294989 h 1057751"/>
                <a:gd name="connsiteX422" fmla="*/ 84106 w 1073848"/>
                <a:gd name="connsiteY422" fmla="*/ 293275 h 1057751"/>
                <a:gd name="connsiteX423" fmla="*/ 78772 w 1073848"/>
                <a:gd name="connsiteY423" fmla="*/ 289084 h 1057751"/>
                <a:gd name="connsiteX424" fmla="*/ 78486 w 1073848"/>
                <a:gd name="connsiteY424" fmla="*/ 287560 h 1057751"/>
                <a:gd name="connsiteX425" fmla="*/ 66103 w 1073848"/>
                <a:gd name="connsiteY425" fmla="*/ 290703 h 1057751"/>
                <a:gd name="connsiteX426" fmla="*/ 59817 w 1073848"/>
                <a:gd name="connsiteY426" fmla="*/ 291465 h 1057751"/>
                <a:gd name="connsiteX427" fmla="*/ 54673 w 1073848"/>
                <a:gd name="connsiteY427" fmla="*/ 301752 h 1057751"/>
                <a:gd name="connsiteX428" fmla="*/ 58198 w 1073848"/>
                <a:gd name="connsiteY428" fmla="*/ 304514 h 1057751"/>
                <a:gd name="connsiteX429" fmla="*/ 63151 w 1073848"/>
                <a:gd name="connsiteY429" fmla="*/ 305467 h 1057751"/>
                <a:gd name="connsiteX430" fmla="*/ 67151 w 1073848"/>
                <a:gd name="connsiteY430" fmla="*/ 311372 h 1057751"/>
                <a:gd name="connsiteX431" fmla="*/ 65722 w 1073848"/>
                <a:gd name="connsiteY431" fmla="*/ 313182 h 1057751"/>
                <a:gd name="connsiteX432" fmla="*/ 67913 w 1073848"/>
                <a:gd name="connsiteY432" fmla="*/ 317754 h 1057751"/>
                <a:gd name="connsiteX433" fmla="*/ 66580 w 1073848"/>
                <a:gd name="connsiteY433" fmla="*/ 319468 h 1057751"/>
                <a:gd name="connsiteX434" fmla="*/ 60484 w 1073848"/>
                <a:gd name="connsiteY434" fmla="*/ 321850 h 1057751"/>
                <a:gd name="connsiteX435" fmla="*/ 48958 w 1073848"/>
                <a:gd name="connsiteY435" fmla="*/ 320135 h 1057751"/>
                <a:gd name="connsiteX436" fmla="*/ 46482 w 1073848"/>
                <a:gd name="connsiteY436" fmla="*/ 325279 h 1057751"/>
                <a:gd name="connsiteX437" fmla="*/ 39338 w 1073848"/>
                <a:gd name="connsiteY437" fmla="*/ 319754 h 1057751"/>
                <a:gd name="connsiteX438" fmla="*/ 34576 w 1073848"/>
                <a:gd name="connsiteY438" fmla="*/ 320421 h 1057751"/>
                <a:gd name="connsiteX439" fmla="*/ 31813 w 1073848"/>
                <a:gd name="connsiteY439" fmla="*/ 323945 h 1057751"/>
                <a:gd name="connsiteX440" fmla="*/ 32671 w 1073848"/>
                <a:gd name="connsiteY440" fmla="*/ 330232 h 1057751"/>
                <a:gd name="connsiteX441" fmla="*/ 31242 w 1073848"/>
                <a:gd name="connsiteY441" fmla="*/ 332042 h 1057751"/>
                <a:gd name="connsiteX442" fmla="*/ 29908 w 1073848"/>
                <a:gd name="connsiteY442" fmla="*/ 333756 h 1057751"/>
                <a:gd name="connsiteX443" fmla="*/ 33433 w 1073848"/>
                <a:gd name="connsiteY443" fmla="*/ 336518 h 1057751"/>
                <a:gd name="connsiteX444" fmla="*/ 37624 w 1073848"/>
                <a:gd name="connsiteY444" fmla="*/ 344043 h 1057751"/>
                <a:gd name="connsiteX445" fmla="*/ 34480 w 1073848"/>
                <a:gd name="connsiteY445" fmla="*/ 344424 h 1057751"/>
                <a:gd name="connsiteX446" fmla="*/ 29718 w 1073848"/>
                <a:gd name="connsiteY446" fmla="*/ 345091 h 1057751"/>
                <a:gd name="connsiteX447" fmla="*/ 28384 w 1073848"/>
                <a:gd name="connsiteY447" fmla="*/ 346805 h 1057751"/>
                <a:gd name="connsiteX448" fmla="*/ 29146 w 1073848"/>
                <a:gd name="connsiteY448" fmla="*/ 353187 h 1057751"/>
                <a:gd name="connsiteX449" fmla="*/ 25241 w 1073848"/>
                <a:gd name="connsiteY449" fmla="*/ 360045 h 1057751"/>
                <a:gd name="connsiteX450" fmla="*/ 26956 w 1073848"/>
                <a:gd name="connsiteY450" fmla="*/ 361474 h 1057751"/>
                <a:gd name="connsiteX451" fmla="*/ 30956 w 1073848"/>
                <a:gd name="connsiteY451" fmla="*/ 367379 h 1057751"/>
                <a:gd name="connsiteX452" fmla="*/ 33718 w 1073848"/>
                <a:gd name="connsiteY452" fmla="*/ 376618 h 1057751"/>
                <a:gd name="connsiteX453" fmla="*/ 37338 w 1073848"/>
                <a:gd name="connsiteY453" fmla="*/ 379381 h 1057751"/>
                <a:gd name="connsiteX454" fmla="*/ 36100 w 1073848"/>
                <a:gd name="connsiteY454" fmla="*/ 382714 h 1057751"/>
                <a:gd name="connsiteX455" fmla="*/ 31813 w 1073848"/>
                <a:gd name="connsiteY455" fmla="*/ 386525 h 1057751"/>
                <a:gd name="connsiteX456" fmla="*/ 23527 w 1073848"/>
                <a:gd name="connsiteY456" fmla="*/ 384334 h 1057751"/>
                <a:gd name="connsiteX457" fmla="*/ 20383 w 1073848"/>
                <a:gd name="connsiteY457" fmla="*/ 384715 h 1057751"/>
                <a:gd name="connsiteX458" fmla="*/ 16764 w 1073848"/>
                <a:gd name="connsiteY458" fmla="*/ 381953 h 1057751"/>
                <a:gd name="connsiteX459" fmla="*/ 17145 w 1073848"/>
                <a:gd name="connsiteY459" fmla="*/ 385096 h 1057751"/>
                <a:gd name="connsiteX460" fmla="*/ 12097 w 1073848"/>
                <a:gd name="connsiteY460" fmla="*/ 382619 h 1057751"/>
                <a:gd name="connsiteX461" fmla="*/ 9715 w 1073848"/>
                <a:gd name="connsiteY461" fmla="*/ 389287 h 1057751"/>
                <a:gd name="connsiteX462" fmla="*/ 8763 w 1073848"/>
                <a:gd name="connsiteY462" fmla="*/ 394240 h 1057751"/>
                <a:gd name="connsiteX463" fmla="*/ 15430 w 1073848"/>
                <a:gd name="connsiteY463" fmla="*/ 396621 h 1057751"/>
                <a:gd name="connsiteX464" fmla="*/ 17240 w 1073848"/>
                <a:gd name="connsiteY464" fmla="*/ 397955 h 1057751"/>
                <a:gd name="connsiteX465" fmla="*/ 19240 w 1073848"/>
                <a:gd name="connsiteY465" fmla="*/ 400907 h 1057751"/>
                <a:gd name="connsiteX466" fmla="*/ 19621 w 1073848"/>
                <a:gd name="connsiteY466" fmla="*/ 404050 h 1057751"/>
                <a:gd name="connsiteX467" fmla="*/ 26956 w 1073848"/>
                <a:gd name="connsiteY467" fmla="*/ 411194 h 1057751"/>
                <a:gd name="connsiteX468" fmla="*/ 25336 w 1073848"/>
                <a:gd name="connsiteY468" fmla="*/ 411385 h 1057751"/>
                <a:gd name="connsiteX469" fmla="*/ 25717 w 1073848"/>
                <a:gd name="connsiteY469" fmla="*/ 414528 h 1057751"/>
                <a:gd name="connsiteX470" fmla="*/ 27527 w 1073848"/>
                <a:gd name="connsiteY470" fmla="*/ 415862 h 1057751"/>
                <a:gd name="connsiteX471" fmla="*/ 26956 w 1073848"/>
                <a:gd name="connsiteY471" fmla="*/ 423958 h 1057751"/>
                <a:gd name="connsiteX472" fmla="*/ 29146 w 1073848"/>
                <a:gd name="connsiteY472" fmla="*/ 428530 h 1057751"/>
                <a:gd name="connsiteX473" fmla="*/ 26194 w 1073848"/>
                <a:gd name="connsiteY473" fmla="*/ 430530 h 1057751"/>
                <a:gd name="connsiteX474" fmla="*/ 23813 w 1073848"/>
                <a:gd name="connsiteY474" fmla="*/ 437197 h 1057751"/>
                <a:gd name="connsiteX475" fmla="*/ 20860 w 1073848"/>
                <a:gd name="connsiteY475" fmla="*/ 439198 h 1057751"/>
                <a:gd name="connsiteX476" fmla="*/ 19336 w 1073848"/>
                <a:gd name="connsiteY476" fmla="*/ 439388 h 1057751"/>
                <a:gd name="connsiteX477" fmla="*/ 21431 w 1073848"/>
                <a:gd name="connsiteY477" fmla="*/ 443960 h 1057751"/>
                <a:gd name="connsiteX478" fmla="*/ 24860 w 1073848"/>
                <a:gd name="connsiteY478" fmla="*/ 445103 h 1057751"/>
                <a:gd name="connsiteX479" fmla="*/ 25241 w 1073848"/>
                <a:gd name="connsiteY479" fmla="*/ 448246 h 1057751"/>
                <a:gd name="connsiteX480" fmla="*/ 23146 w 1073848"/>
                <a:gd name="connsiteY480" fmla="*/ 469392 h 1057751"/>
                <a:gd name="connsiteX481" fmla="*/ 18383 w 1073848"/>
                <a:gd name="connsiteY481" fmla="*/ 469963 h 1057751"/>
                <a:gd name="connsiteX482" fmla="*/ 15811 w 1073848"/>
                <a:gd name="connsiteY482" fmla="*/ 475107 h 1057751"/>
                <a:gd name="connsiteX483" fmla="*/ 15621 w 1073848"/>
                <a:gd name="connsiteY483" fmla="*/ 486346 h 1057751"/>
                <a:gd name="connsiteX484" fmla="*/ 11716 w 1073848"/>
                <a:gd name="connsiteY484" fmla="*/ 493300 h 1057751"/>
                <a:gd name="connsiteX485" fmla="*/ 8572 w 1073848"/>
                <a:gd name="connsiteY485" fmla="*/ 493681 h 1057751"/>
                <a:gd name="connsiteX486" fmla="*/ 7429 w 1073848"/>
                <a:gd name="connsiteY486" fmla="*/ 497014 h 1057751"/>
                <a:gd name="connsiteX487" fmla="*/ 7810 w 1073848"/>
                <a:gd name="connsiteY487" fmla="*/ 500158 h 1057751"/>
                <a:gd name="connsiteX488" fmla="*/ 12287 w 1073848"/>
                <a:gd name="connsiteY488" fmla="*/ 498062 h 1057751"/>
                <a:gd name="connsiteX489" fmla="*/ 13716 w 1073848"/>
                <a:gd name="connsiteY489" fmla="*/ 496253 h 1057751"/>
                <a:gd name="connsiteX490" fmla="*/ 16859 w 1073848"/>
                <a:gd name="connsiteY490" fmla="*/ 495871 h 1057751"/>
                <a:gd name="connsiteX491" fmla="*/ 14478 w 1073848"/>
                <a:gd name="connsiteY491" fmla="*/ 502539 h 1057751"/>
                <a:gd name="connsiteX492" fmla="*/ 11525 w 1073848"/>
                <a:gd name="connsiteY492" fmla="*/ 504539 h 1057751"/>
                <a:gd name="connsiteX493" fmla="*/ 12192 w 1073848"/>
                <a:gd name="connsiteY493" fmla="*/ 509302 h 1057751"/>
                <a:gd name="connsiteX494" fmla="*/ 9239 w 1073848"/>
                <a:gd name="connsiteY494" fmla="*/ 511207 h 1057751"/>
                <a:gd name="connsiteX495" fmla="*/ 10192 w 1073848"/>
                <a:gd name="connsiteY495" fmla="*/ 519113 h 1057751"/>
                <a:gd name="connsiteX496" fmla="*/ 9049 w 1073848"/>
                <a:gd name="connsiteY496" fmla="*/ 522446 h 1057751"/>
                <a:gd name="connsiteX497" fmla="*/ 9430 w 1073848"/>
                <a:gd name="connsiteY497" fmla="*/ 525685 h 1057751"/>
                <a:gd name="connsiteX498" fmla="*/ 8477 w 1073848"/>
                <a:gd name="connsiteY498" fmla="*/ 530543 h 1057751"/>
                <a:gd name="connsiteX499" fmla="*/ 5524 w 1073848"/>
                <a:gd name="connsiteY499" fmla="*/ 532543 h 1057751"/>
                <a:gd name="connsiteX500" fmla="*/ 2191 w 1073848"/>
                <a:gd name="connsiteY500" fmla="*/ 531400 h 1057751"/>
                <a:gd name="connsiteX501" fmla="*/ 1143 w 1073848"/>
                <a:gd name="connsiteY501" fmla="*/ 536353 h 1057751"/>
                <a:gd name="connsiteX502" fmla="*/ 4572 w 1073848"/>
                <a:gd name="connsiteY502" fmla="*/ 537496 h 1057751"/>
                <a:gd name="connsiteX503" fmla="*/ 1619 w 1073848"/>
                <a:gd name="connsiteY503" fmla="*/ 539496 h 1057751"/>
                <a:gd name="connsiteX504" fmla="*/ 381 w 1073848"/>
                <a:gd name="connsiteY504" fmla="*/ 542830 h 1057751"/>
                <a:gd name="connsiteX505" fmla="*/ 2381 w 1073848"/>
                <a:gd name="connsiteY505" fmla="*/ 545783 h 1057751"/>
                <a:gd name="connsiteX506" fmla="*/ 2762 w 1073848"/>
                <a:gd name="connsiteY506" fmla="*/ 548926 h 1057751"/>
                <a:gd name="connsiteX507" fmla="*/ 0 w 1073848"/>
                <a:gd name="connsiteY507" fmla="*/ 552545 h 1057751"/>
                <a:gd name="connsiteX508" fmla="*/ 2000 w 1073848"/>
                <a:gd name="connsiteY508" fmla="*/ 555498 h 1057751"/>
                <a:gd name="connsiteX509" fmla="*/ 3619 w 1073848"/>
                <a:gd name="connsiteY509" fmla="*/ 555308 h 1057751"/>
                <a:gd name="connsiteX510" fmla="*/ 12287 w 1073848"/>
                <a:gd name="connsiteY510" fmla="*/ 560546 h 1057751"/>
                <a:gd name="connsiteX511" fmla="*/ 20383 w 1073848"/>
                <a:gd name="connsiteY511" fmla="*/ 561118 h 1057751"/>
                <a:gd name="connsiteX512" fmla="*/ 24289 w 1073848"/>
                <a:gd name="connsiteY512" fmla="*/ 567023 h 1057751"/>
                <a:gd name="connsiteX513" fmla="*/ 25717 w 1073848"/>
                <a:gd name="connsiteY513" fmla="*/ 578072 h 1057751"/>
                <a:gd name="connsiteX514" fmla="*/ 30289 w 1073848"/>
                <a:gd name="connsiteY514" fmla="*/ 575882 h 1057751"/>
                <a:gd name="connsiteX515" fmla="*/ 29337 w 1073848"/>
                <a:gd name="connsiteY515" fmla="*/ 580834 h 1057751"/>
                <a:gd name="connsiteX516" fmla="*/ 25908 w 1073848"/>
                <a:gd name="connsiteY516" fmla="*/ 579692 h 1057751"/>
                <a:gd name="connsiteX517" fmla="*/ 22955 w 1073848"/>
                <a:gd name="connsiteY517" fmla="*/ 581692 h 1057751"/>
                <a:gd name="connsiteX518" fmla="*/ 19050 w 1073848"/>
                <a:gd name="connsiteY518" fmla="*/ 588550 h 1057751"/>
                <a:gd name="connsiteX519" fmla="*/ 17240 w 1073848"/>
                <a:gd name="connsiteY519" fmla="*/ 587216 h 1057751"/>
                <a:gd name="connsiteX520" fmla="*/ 17907 w 1073848"/>
                <a:gd name="connsiteY520" fmla="*/ 591979 h 1057751"/>
                <a:gd name="connsiteX521" fmla="*/ 13144 w 1073848"/>
                <a:gd name="connsiteY521" fmla="*/ 592550 h 1057751"/>
                <a:gd name="connsiteX522" fmla="*/ 13716 w 1073848"/>
                <a:gd name="connsiteY522" fmla="*/ 597313 h 1057751"/>
                <a:gd name="connsiteX523" fmla="*/ 10763 w 1073848"/>
                <a:gd name="connsiteY523" fmla="*/ 599218 h 1057751"/>
                <a:gd name="connsiteX524" fmla="*/ 11239 w 1073848"/>
                <a:gd name="connsiteY524" fmla="*/ 602361 h 1057751"/>
                <a:gd name="connsiteX525" fmla="*/ 13335 w 1073848"/>
                <a:gd name="connsiteY525" fmla="*/ 606933 h 1057751"/>
                <a:gd name="connsiteX526" fmla="*/ 20669 w 1073848"/>
                <a:gd name="connsiteY526" fmla="*/ 613982 h 1057751"/>
                <a:gd name="connsiteX527" fmla="*/ 27432 w 1073848"/>
                <a:gd name="connsiteY527" fmla="*/ 616363 h 1057751"/>
                <a:gd name="connsiteX528" fmla="*/ 27813 w 1073848"/>
                <a:gd name="connsiteY528" fmla="*/ 619506 h 1057751"/>
                <a:gd name="connsiteX529" fmla="*/ 24098 w 1073848"/>
                <a:gd name="connsiteY529" fmla="*/ 627983 h 1057751"/>
                <a:gd name="connsiteX530" fmla="*/ 30766 w 1073848"/>
                <a:gd name="connsiteY530" fmla="*/ 630364 h 1057751"/>
                <a:gd name="connsiteX531" fmla="*/ 39052 w 1073848"/>
                <a:gd name="connsiteY531" fmla="*/ 632555 h 1057751"/>
                <a:gd name="connsiteX532" fmla="*/ 39529 w 1073848"/>
                <a:gd name="connsiteY532" fmla="*/ 635699 h 1057751"/>
                <a:gd name="connsiteX533" fmla="*/ 42863 w 1073848"/>
                <a:gd name="connsiteY533" fmla="*/ 636842 h 1057751"/>
                <a:gd name="connsiteX534" fmla="*/ 41910 w 1073848"/>
                <a:gd name="connsiteY534" fmla="*/ 641795 h 1057751"/>
                <a:gd name="connsiteX535" fmla="*/ 45815 w 1073848"/>
                <a:gd name="connsiteY535" fmla="*/ 647700 h 1057751"/>
                <a:gd name="connsiteX536" fmla="*/ 47625 w 1073848"/>
                <a:gd name="connsiteY536" fmla="*/ 649129 h 1057751"/>
                <a:gd name="connsiteX537" fmla="*/ 50578 w 1073848"/>
                <a:gd name="connsiteY537" fmla="*/ 647129 h 1057751"/>
                <a:gd name="connsiteX538" fmla="*/ 57912 w 1073848"/>
                <a:gd name="connsiteY538" fmla="*/ 654177 h 1057751"/>
                <a:gd name="connsiteX539" fmla="*/ 61817 w 1073848"/>
                <a:gd name="connsiteY539" fmla="*/ 660083 h 1057751"/>
                <a:gd name="connsiteX540" fmla="*/ 62484 w 1073848"/>
                <a:gd name="connsiteY540" fmla="*/ 664845 h 1057751"/>
                <a:gd name="connsiteX541" fmla="*/ 64008 w 1073848"/>
                <a:gd name="connsiteY541" fmla="*/ 664655 h 1057751"/>
                <a:gd name="connsiteX542" fmla="*/ 64198 w 1073848"/>
                <a:gd name="connsiteY542" fmla="*/ 666179 h 1057751"/>
                <a:gd name="connsiteX543" fmla="*/ 72485 w 1073848"/>
                <a:gd name="connsiteY543" fmla="*/ 668369 h 1057751"/>
                <a:gd name="connsiteX544" fmla="*/ 80581 w 1073848"/>
                <a:gd name="connsiteY544" fmla="*/ 656082 h 1057751"/>
                <a:gd name="connsiteX545" fmla="*/ 85153 w 1073848"/>
                <a:gd name="connsiteY545" fmla="*/ 653891 h 1057751"/>
                <a:gd name="connsiteX546" fmla="*/ 89440 w 1073848"/>
                <a:gd name="connsiteY546" fmla="*/ 650176 h 1057751"/>
                <a:gd name="connsiteX547" fmla="*/ 92583 w 1073848"/>
                <a:gd name="connsiteY547" fmla="*/ 649796 h 1057751"/>
                <a:gd name="connsiteX548" fmla="*/ 94012 w 1073848"/>
                <a:gd name="connsiteY548" fmla="*/ 647986 h 1057751"/>
                <a:gd name="connsiteX549" fmla="*/ 99917 w 1073848"/>
                <a:gd name="connsiteY549" fmla="*/ 643985 h 1057751"/>
                <a:gd name="connsiteX550" fmla="*/ 101917 w 1073848"/>
                <a:gd name="connsiteY550" fmla="*/ 646938 h 1057751"/>
                <a:gd name="connsiteX551" fmla="*/ 103251 w 1073848"/>
                <a:gd name="connsiteY551" fmla="*/ 645224 h 1057751"/>
                <a:gd name="connsiteX552" fmla="*/ 102298 w 1073848"/>
                <a:gd name="connsiteY552" fmla="*/ 650176 h 1057751"/>
                <a:gd name="connsiteX553" fmla="*/ 107251 w 1073848"/>
                <a:gd name="connsiteY553" fmla="*/ 651129 h 1057751"/>
                <a:gd name="connsiteX554" fmla="*/ 111538 w 1073848"/>
                <a:gd name="connsiteY554" fmla="*/ 660178 h 1057751"/>
                <a:gd name="connsiteX555" fmla="*/ 113728 w 1073848"/>
                <a:gd name="connsiteY555" fmla="*/ 664750 h 1057751"/>
                <a:gd name="connsiteX556" fmla="*/ 122491 w 1073848"/>
                <a:gd name="connsiteY556" fmla="*/ 669988 h 1057751"/>
                <a:gd name="connsiteX557" fmla="*/ 121063 w 1073848"/>
                <a:gd name="connsiteY557" fmla="*/ 671798 h 1057751"/>
                <a:gd name="connsiteX558" fmla="*/ 126016 w 1073848"/>
                <a:gd name="connsiteY558" fmla="*/ 672751 h 1057751"/>
                <a:gd name="connsiteX559" fmla="*/ 127159 w 1073848"/>
                <a:gd name="connsiteY559" fmla="*/ 669417 h 1057751"/>
                <a:gd name="connsiteX560" fmla="*/ 128968 w 1073848"/>
                <a:gd name="connsiteY560" fmla="*/ 670751 h 1057751"/>
                <a:gd name="connsiteX561" fmla="*/ 137255 w 1073848"/>
                <a:gd name="connsiteY561" fmla="*/ 672941 h 1057751"/>
                <a:gd name="connsiteX562" fmla="*/ 152019 w 1073848"/>
                <a:gd name="connsiteY562" fmla="*/ 675894 h 1057751"/>
                <a:gd name="connsiteX563" fmla="*/ 151447 w 1073848"/>
                <a:gd name="connsiteY563" fmla="*/ 683990 h 1057751"/>
                <a:gd name="connsiteX564" fmla="*/ 147161 w 1073848"/>
                <a:gd name="connsiteY564" fmla="*/ 687705 h 1057751"/>
                <a:gd name="connsiteX565" fmla="*/ 151162 w 1073848"/>
                <a:gd name="connsiteY565" fmla="*/ 693611 h 1057751"/>
                <a:gd name="connsiteX566" fmla="*/ 150114 w 1073848"/>
                <a:gd name="connsiteY566" fmla="*/ 698563 h 1057751"/>
                <a:gd name="connsiteX567" fmla="*/ 137160 w 1073848"/>
                <a:gd name="connsiteY567" fmla="*/ 697039 h 1057751"/>
                <a:gd name="connsiteX568" fmla="*/ 133731 w 1073848"/>
                <a:gd name="connsiteY568" fmla="*/ 695801 h 1057751"/>
                <a:gd name="connsiteX569" fmla="*/ 132207 w 1073848"/>
                <a:gd name="connsiteY569" fmla="*/ 696087 h 1057751"/>
                <a:gd name="connsiteX570" fmla="*/ 136112 w 1073848"/>
                <a:gd name="connsiteY570" fmla="*/ 701993 h 1057751"/>
                <a:gd name="connsiteX571" fmla="*/ 142684 w 1073848"/>
                <a:gd name="connsiteY571" fmla="*/ 702755 h 1057751"/>
                <a:gd name="connsiteX572" fmla="*/ 148209 w 1073848"/>
                <a:gd name="connsiteY572" fmla="*/ 708470 h 1057751"/>
                <a:gd name="connsiteX573" fmla="*/ 153734 w 1073848"/>
                <a:gd name="connsiteY573" fmla="*/ 701326 h 1057751"/>
                <a:gd name="connsiteX574" fmla="*/ 163163 w 1073848"/>
                <a:gd name="connsiteY574" fmla="*/ 700088 h 1057751"/>
                <a:gd name="connsiteX575" fmla="*/ 166497 w 1073848"/>
                <a:gd name="connsiteY575" fmla="*/ 701326 h 1057751"/>
                <a:gd name="connsiteX576" fmla="*/ 168688 w 1073848"/>
                <a:gd name="connsiteY576" fmla="*/ 705803 h 1057751"/>
                <a:gd name="connsiteX577" fmla="*/ 171831 w 1073848"/>
                <a:gd name="connsiteY577" fmla="*/ 705422 h 1057751"/>
                <a:gd name="connsiteX578" fmla="*/ 174403 w 1073848"/>
                <a:gd name="connsiteY578" fmla="*/ 713137 h 1057751"/>
                <a:gd name="connsiteX579" fmla="*/ 176213 w 1073848"/>
                <a:gd name="connsiteY579" fmla="*/ 714470 h 1057751"/>
                <a:gd name="connsiteX580" fmla="*/ 176403 w 1073848"/>
                <a:gd name="connsiteY580" fmla="*/ 716089 h 1057751"/>
                <a:gd name="connsiteX581" fmla="*/ 175069 w 1073848"/>
                <a:gd name="connsiteY581" fmla="*/ 717804 h 1057751"/>
                <a:gd name="connsiteX582" fmla="*/ 177832 w 1073848"/>
                <a:gd name="connsiteY582" fmla="*/ 727138 h 1057751"/>
                <a:gd name="connsiteX583" fmla="*/ 176689 w 1073848"/>
                <a:gd name="connsiteY583" fmla="*/ 730472 h 1057751"/>
                <a:gd name="connsiteX584" fmla="*/ 184975 w 1073848"/>
                <a:gd name="connsiteY584" fmla="*/ 732568 h 1057751"/>
                <a:gd name="connsiteX585" fmla="*/ 191643 w 1073848"/>
                <a:gd name="connsiteY585" fmla="*/ 734949 h 1057751"/>
                <a:gd name="connsiteX586" fmla="*/ 194977 w 1073848"/>
                <a:gd name="connsiteY586" fmla="*/ 736187 h 1057751"/>
                <a:gd name="connsiteX587" fmla="*/ 204121 w 1073848"/>
                <a:gd name="connsiteY587" fmla="*/ 731806 h 1057751"/>
                <a:gd name="connsiteX588" fmla="*/ 213741 w 1073848"/>
                <a:gd name="connsiteY588" fmla="*/ 719328 h 1057751"/>
                <a:gd name="connsiteX589" fmla="*/ 213169 w 1073848"/>
                <a:gd name="connsiteY589" fmla="*/ 714566 h 1057751"/>
                <a:gd name="connsiteX590" fmla="*/ 218027 w 1073848"/>
                <a:gd name="connsiteY590" fmla="*/ 715613 h 1057751"/>
                <a:gd name="connsiteX591" fmla="*/ 224409 w 1073848"/>
                <a:gd name="connsiteY591" fmla="*/ 727615 h 1057751"/>
                <a:gd name="connsiteX592" fmla="*/ 225552 w 1073848"/>
                <a:gd name="connsiteY592" fmla="*/ 724186 h 1057751"/>
                <a:gd name="connsiteX593" fmla="*/ 231934 w 1073848"/>
                <a:gd name="connsiteY593" fmla="*/ 723424 h 1057751"/>
                <a:gd name="connsiteX594" fmla="*/ 240601 w 1073848"/>
                <a:gd name="connsiteY594" fmla="*/ 728758 h 1057751"/>
                <a:gd name="connsiteX595" fmla="*/ 243745 w 1073848"/>
                <a:gd name="connsiteY595" fmla="*/ 728377 h 1057751"/>
                <a:gd name="connsiteX596" fmla="*/ 248888 w 1073848"/>
                <a:gd name="connsiteY596" fmla="*/ 730853 h 1057751"/>
                <a:gd name="connsiteX597" fmla="*/ 250222 w 1073848"/>
                <a:gd name="connsiteY597" fmla="*/ 729139 h 1057751"/>
                <a:gd name="connsiteX598" fmla="*/ 260890 w 1073848"/>
                <a:gd name="connsiteY598" fmla="*/ 737330 h 1057751"/>
                <a:gd name="connsiteX599" fmla="*/ 258223 w 1073848"/>
                <a:gd name="connsiteY599" fmla="*/ 740950 h 1057751"/>
                <a:gd name="connsiteX600" fmla="*/ 259937 w 1073848"/>
                <a:gd name="connsiteY600" fmla="*/ 742283 h 1057751"/>
                <a:gd name="connsiteX601" fmla="*/ 257651 w 1073848"/>
                <a:gd name="connsiteY601" fmla="*/ 749046 h 1057751"/>
                <a:gd name="connsiteX602" fmla="*/ 262128 w 1073848"/>
                <a:gd name="connsiteY602" fmla="*/ 746855 h 1057751"/>
                <a:gd name="connsiteX603" fmla="*/ 261747 w 1073848"/>
                <a:gd name="connsiteY603" fmla="*/ 743712 h 1057751"/>
                <a:gd name="connsiteX604" fmla="*/ 266033 w 1073848"/>
                <a:gd name="connsiteY604" fmla="*/ 739902 h 1057751"/>
                <a:gd name="connsiteX605" fmla="*/ 269462 w 1073848"/>
                <a:gd name="connsiteY605" fmla="*/ 741140 h 1057751"/>
                <a:gd name="connsiteX606" fmla="*/ 271367 w 1073848"/>
                <a:gd name="connsiteY606" fmla="*/ 744093 h 1057751"/>
                <a:gd name="connsiteX607" fmla="*/ 275939 w 1073848"/>
                <a:gd name="connsiteY607" fmla="*/ 741902 h 1057751"/>
                <a:gd name="connsiteX608" fmla="*/ 280035 w 1073848"/>
                <a:gd name="connsiteY608" fmla="*/ 736568 h 1057751"/>
                <a:gd name="connsiteX609" fmla="*/ 286417 w 1073848"/>
                <a:gd name="connsiteY609" fmla="*/ 735711 h 1057751"/>
                <a:gd name="connsiteX610" fmla="*/ 295084 w 1073848"/>
                <a:gd name="connsiteY610" fmla="*/ 741045 h 1057751"/>
                <a:gd name="connsiteX611" fmla="*/ 301180 w 1073848"/>
                <a:gd name="connsiteY611" fmla="*/ 738664 h 1057751"/>
                <a:gd name="connsiteX612" fmla="*/ 300609 w 1073848"/>
                <a:gd name="connsiteY612" fmla="*/ 733901 h 1057751"/>
                <a:gd name="connsiteX613" fmla="*/ 305276 w 1073848"/>
                <a:gd name="connsiteY613" fmla="*/ 733330 h 1057751"/>
                <a:gd name="connsiteX614" fmla="*/ 307276 w 1073848"/>
                <a:gd name="connsiteY614" fmla="*/ 736283 h 1057751"/>
                <a:gd name="connsiteX615" fmla="*/ 310420 w 1073848"/>
                <a:gd name="connsiteY615" fmla="*/ 735901 h 1057751"/>
                <a:gd name="connsiteX616" fmla="*/ 313372 w 1073848"/>
                <a:gd name="connsiteY616" fmla="*/ 733901 h 1057751"/>
                <a:gd name="connsiteX617" fmla="*/ 320135 w 1073848"/>
                <a:gd name="connsiteY617" fmla="*/ 736283 h 1057751"/>
                <a:gd name="connsiteX618" fmla="*/ 323659 w 1073848"/>
                <a:gd name="connsiteY618" fmla="*/ 739045 h 1057751"/>
                <a:gd name="connsiteX619" fmla="*/ 323088 w 1073848"/>
                <a:gd name="connsiteY619" fmla="*/ 747046 h 1057751"/>
                <a:gd name="connsiteX620" fmla="*/ 324326 w 1073848"/>
                <a:gd name="connsiteY620" fmla="*/ 756571 h 1057751"/>
                <a:gd name="connsiteX621" fmla="*/ 326517 w 1073848"/>
                <a:gd name="connsiteY621" fmla="*/ 761047 h 1057751"/>
                <a:gd name="connsiteX622" fmla="*/ 325088 w 1073848"/>
                <a:gd name="connsiteY622" fmla="*/ 762857 h 1057751"/>
                <a:gd name="connsiteX623" fmla="*/ 328517 w 1073848"/>
                <a:gd name="connsiteY623" fmla="*/ 764000 h 1057751"/>
                <a:gd name="connsiteX624" fmla="*/ 324517 w 1073848"/>
                <a:gd name="connsiteY624" fmla="*/ 770954 h 1057751"/>
                <a:gd name="connsiteX625" fmla="*/ 324993 w 1073848"/>
                <a:gd name="connsiteY625" fmla="*/ 774097 h 1057751"/>
                <a:gd name="connsiteX626" fmla="*/ 320992 w 1073848"/>
                <a:gd name="connsiteY626" fmla="*/ 781050 h 1057751"/>
                <a:gd name="connsiteX627" fmla="*/ 321850 w 1073848"/>
                <a:gd name="connsiteY627" fmla="*/ 787337 h 1057751"/>
                <a:gd name="connsiteX628" fmla="*/ 321850 w 1073848"/>
                <a:gd name="connsiteY628" fmla="*/ 787337 h 1057751"/>
                <a:gd name="connsiteX629" fmla="*/ 317849 w 1073848"/>
                <a:gd name="connsiteY629" fmla="*/ 794290 h 1057751"/>
                <a:gd name="connsiteX630" fmla="*/ 321088 w 1073848"/>
                <a:gd name="connsiteY630" fmla="*/ 793813 h 1057751"/>
                <a:gd name="connsiteX631" fmla="*/ 324421 w 1073848"/>
                <a:gd name="connsiteY631" fmla="*/ 795052 h 1057751"/>
                <a:gd name="connsiteX632" fmla="*/ 324993 w 1073848"/>
                <a:gd name="connsiteY632" fmla="*/ 799814 h 1057751"/>
                <a:gd name="connsiteX633" fmla="*/ 327565 w 1073848"/>
                <a:gd name="connsiteY633" fmla="*/ 807434 h 1057751"/>
                <a:gd name="connsiteX634" fmla="*/ 329565 w 1073848"/>
                <a:gd name="connsiteY634" fmla="*/ 810387 h 1057751"/>
                <a:gd name="connsiteX635" fmla="*/ 332708 w 1073848"/>
                <a:gd name="connsiteY635" fmla="*/ 810006 h 1057751"/>
                <a:gd name="connsiteX636" fmla="*/ 330517 w 1073848"/>
                <a:gd name="connsiteY636" fmla="*/ 805434 h 1057751"/>
                <a:gd name="connsiteX637" fmla="*/ 333946 w 1073848"/>
                <a:gd name="connsiteY637" fmla="*/ 806672 h 1057751"/>
                <a:gd name="connsiteX638" fmla="*/ 335470 w 1073848"/>
                <a:gd name="connsiteY638" fmla="*/ 806482 h 1057751"/>
                <a:gd name="connsiteX639" fmla="*/ 334518 w 1073848"/>
                <a:gd name="connsiteY639" fmla="*/ 811435 h 1057751"/>
                <a:gd name="connsiteX640" fmla="*/ 341471 w 1073848"/>
                <a:gd name="connsiteY640" fmla="*/ 815340 h 1057751"/>
                <a:gd name="connsiteX641" fmla="*/ 342614 w 1073848"/>
                <a:gd name="connsiteY641" fmla="*/ 812006 h 1057751"/>
                <a:gd name="connsiteX642" fmla="*/ 346329 w 1073848"/>
                <a:gd name="connsiteY642" fmla="*/ 816293 h 1057751"/>
                <a:gd name="connsiteX643" fmla="*/ 348710 w 1073848"/>
                <a:gd name="connsiteY643" fmla="*/ 822388 h 1057751"/>
                <a:gd name="connsiteX644" fmla="*/ 347758 w 1073848"/>
                <a:gd name="connsiteY644" fmla="*/ 827342 h 1057751"/>
                <a:gd name="connsiteX645" fmla="*/ 354711 w 1073848"/>
                <a:gd name="connsiteY645" fmla="*/ 831247 h 1057751"/>
                <a:gd name="connsiteX646" fmla="*/ 357854 w 1073848"/>
                <a:gd name="connsiteY646" fmla="*/ 830866 h 1057751"/>
                <a:gd name="connsiteX647" fmla="*/ 359378 w 1073848"/>
                <a:gd name="connsiteY647" fmla="*/ 830675 h 1057751"/>
                <a:gd name="connsiteX648" fmla="*/ 366331 w 1073848"/>
                <a:gd name="connsiteY648" fmla="*/ 834580 h 1057751"/>
                <a:gd name="connsiteX649" fmla="*/ 370046 w 1073848"/>
                <a:gd name="connsiteY649" fmla="*/ 838962 h 1057751"/>
                <a:gd name="connsiteX650" fmla="*/ 378619 w 1073848"/>
                <a:gd name="connsiteY650" fmla="*/ 842677 h 1057751"/>
                <a:gd name="connsiteX651" fmla="*/ 377857 w 1073848"/>
                <a:gd name="connsiteY651" fmla="*/ 849154 h 1057751"/>
                <a:gd name="connsiteX652" fmla="*/ 379571 w 1073848"/>
                <a:gd name="connsiteY652" fmla="*/ 850583 h 1057751"/>
                <a:gd name="connsiteX653" fmla="*/ 382143 w 1073848"/>
                <a:gd name="connsiteY653" fmla="*/ 845439 h 1057751"/>
                <a:gd name="connsiteX654" fmla="*/ 384334 w 1073848"/>
                <a:gd name="connsiteY654" fmla="*/ 837152 h 1057751"/>
                <a:gd name="connsiteX655" fmla="*/ 385858 w 1073848"/>
                <a:gd name="connsiteY655" fmla="*/ 836962 h 1057751"/>
                <a:gd name="connsiteX656" fmla="*/ 387286 w 1073848"/>
                <a:gd name="connsiteY656" fmla="*/ 835152 h 1057751"/>
                <a:gd name="connsiteX657" fmla="*/ 390239 w 1073848"/>
                <a:gd name="connsiteY657" fmla="*/ 833152 h 1057751"/>
                <a:gd name="connsiteX658" fmla="*/ 393382 w 1073848"/>
                <a:gd name="connsiteY658" fmla="*/ 832771 h 1057751"/>
                <a:gd name="connsiteX659" fmla="*/ 396907 w 1073848"/>
                <a:gd name="connsiteY659" fmla="*/ 835533 h 1057751"/>
                <a:gd name="connsiteX660" fmla="*/ 404622 w 1073848"/>
                <a:gd name="connsiteY660" fmla="*/ 845725 h 1057751"/>
                <a:gd name="connsiteX661" fmla="*/ 406241 w 1073848"/>
                <a:gd name="connsiteY661" fmla="*/ 845534 h 1057751"/>
                <a:gd name="connsiteX662" fmla="*/ 408241 w 1073848"/>
                <a:gd name="connsiteY662" fmla="*/ 848487 h 1057751"/>
                <a:gd name="connsiteX663" fmla="*/ 409575 w 1073848"/>
                <a:gd name="connsiteY663" fmla="*/ 846772 h 1057751"/>
                <a:gd name="connsiteX664" fmla="*/ 412909 w 1073848"/>
                <a:gd name="connsiteY664" fmla="*/ 847916 h 1057751"/>
                <a:gd name="connsiteX665" fmla="*/ 412528 w 1073848"/>
                <a:gd name="connsiteY665" fmla="*/ 844772 h 1057751"/>
                <a:gd name="connsiteX666" fmla="*/ 423958 w 1073848"/>
                <a:gd name="connsiteY666" fmla="*/ 846487 h 1057751"/>
                <a:gd name="connsiteX667" fmla="*/ 430530 w 1073848"/>
                <a:gd name="connsiteY667" fmla="*/ 847249 h 1057751"/>
                <a:gd name="connsiteX668" fmla="*/ 435388 w 1073848"/>
                <a:gd name="connsiteY668" fmla="*/ 848201 h 1057751"/>
                <a:gd name="connsiteX669" fmla="*/ 442150 w 1073848"/>
                <a:gd name="connsiteY669" fmla="*/ 837819 h 1057751"/>
                <a:gd name="connsiteX670" fmla="*/ 443484 w 1073848"/>
                <a:gd name="connsiteY670" fmla="*/ 836009 h 1057751"/>
                <a:gd name="connsiteX671" fmla="*/ 451580 w 1073848"/>
                <a:gd name="connsiteY671" fmla="*/ 836581 h 1057751"/>
                <a:gd name="connsiteX672" fmla="*/ 455295 w 1073848"/>
                <a:gd name="connsiteY672" fmla="*/ 840867 h 1057751"/>
                <a:gd name="connsiteX673" fmla="*/ 455581 w 1073848"/>
                <a:gd name="connsiteY673" fmla="*/ 842486 h 1057751"/>
                <a:gd name="connsiteX674" fmla="*/ 460438 w 1073848"/>
                <a:gd name="connsiteY674" fmla="*/ 843439 h 1057751"/>
                <a:gd name="connsiteX675" fmla="*/ 463201 w 1073848"/>
                <a:gd name="connsiteY675" fmla="*/ 839914 h 1057751"/>
                <a:gd name="connsiteX676" fmla="*/ 459486 w 1073848"/>
                <a:gd name="connsiteY676" fmla="*/ 835533 h 1057751"/>
                <a:gd name="connsiteX677" fmla="*/ 460438 w 1073848"/>
                <a:gd name="connsiteY677" fmla="*/ 830675 h 1057751"/>
                <a:gd name="connsiteX678" fmla="*/ 463772 w 1073848"/>
                <a:gd name="connsiteY678" fmla="*/ 831818 h 1057751"/>
                <a:gd name="connsiteX679" fmla="*/ 466725 w 1073848"/>
                <a:gd name="connsiteY679" fmla="*/ 829818 h 1057751"/>
                <a:gd name="connsiteX680" fmla="*/ 473869 w 1073848"/>
                <a:gd name="connsiteY680" fmla="*/ 835343 h 1057751"/>
                <a:gd name="connsiteX681" fmla="*/ 473107 w 1073848"/>
                <a:gd name="connsiteY681" fmla="*/ 841820 h 1057751"/>
                <a:gd name="connsiteX682" fmla="*/ 475488 w 1073848"/>
                <a:gd name="connsiteY682" fmla="*/ 835152 h 1057751"/>
                <a:gd name="connsiteX683" fmla="*/ 482155 w 1073848"/>
                <a:gd name="connsiteY683" fmla="*/ 837438 h 1057751"/>
                <a:gd name="connsiteX684" fmla="*/ 483394 w 1073848"/>
                <a:gd name="connsiteY684" fmla="*/ 846963 h 1057751"/>
                <a:gd name="connsiteX685" fmla="*/ 485775 w 1073848"/>
                <a:gd name="connsiteY685" fmla="*/ 853059 h 1057751"/>
                <a:gd name="connsiteX686" fmla="*/ 483965 w 1073848"/>
                <a:gd name="connsiteY686" fmla="*/ 851726 h 1057751"/>
                <a:gd name="connsiteX687" fmla="*/ 476059 w 1073848"/>
                <a:gd name="connsiteY687" fmla="*/ 852678 h 1057751"/>
                <a:gd name="connsiteX688" fmla="*/ 474726 w 1073848"/>
                <a:gd name="connsiteY688" fmla="*/ 854488 h 1057751"/>
                <a:gd name="connsiteX689" fmla="*/ 478250 w 1073848"/>
                <a:gd name="connsiteY689" fmla="*/ 857250 h 1057751"/>
                <a:gd name="connsiteX690" fmla="*/ 487585 w 1073848"/>
                <a:gd name="connsiteY690" fmla="*/ 867251 h 1057751"/>
                <a:gd name="connsiteX691" fmla="*/ 488918 w 1073848"/>
                <a:gd name="connsiteY691" fmla="*/ 865442 h 1057751"/>
                <a:gd name="connsiteX692" fmla="*/ 487204 w 1073848"/>
                <a:gd name="connsiteY692" fmla="*/ 864108 h 1057751"/>
                <a:gd name="connsiteX693" fmla="*/ 490156 w 1073848"/>
                <a:gd name="connsiteY693" fmla="*/ 862108 h 1057751"/>
                <a:gd name="connsiteX694" fmla="*/ 498443 w 1073848"/>
                <a:gd name="connsiteY694" fmla="*/ 864299 h 1057751"/>
                <a:gd name="connsiteX695" fmla="*/ 500348 w 1073848"/>
                <a:gd name="connsiteY695" fmla="*/ 867251 h 1057751"/>
                <a:gd name="connsiteX696" fmla="*/ 495681 w 1073848"/>
                <a:gd name="connsiteY696" fmla="*/ 867823 h 1057751"/>
                <a:gd name="connsiteX697" fmla="*/ 492919 w 1073848"/>
                <a:gd name="connsiteY697" fmla="*/ 871347 h 1057751"/>
                <a:gd name="connsiteX698" fmla="*/ 507778 w 1073848"/>
                <a:gd name="connsiteY698" fmla="*/ 887159 h 1057751"/>
                <a:gd name="connsiteX699" fmla="*/ 499872 w 1073848"/>
                <a:gd name="connsiteY699" fmla="*/ 888111 h 1057751"/>
                <a:gd name="connsiteX700" fmla="*/ 503777 w 1073848"/>
                <a:gd name="connsiteY700" fmla="*/ 894017 h 1057751"/>
                <a:gd name="connsiteX701" fmla="*/ 504444 w 1073848"/>
                <a:gd name="connsiteY701" fmla="*/ 898779 h 1057751"/>
                <a:gd name="connsiteX702" fmla="*/ 501682 w 1073848"/>
                <a:gd name="connsiteY702" fmla="*/ 902399 h 1057751"/>
                <a:gd name="connsiteX703" fmla="*/ 495395 w 1073848"/>
                <a:gd name="connsiteY703" fmla="*/ 903161 h 1057751"/>
                <a:gd name="connsiteX704" fmla="*/ 493586 w 1073848"/>
                <a:gd name="connsiteY704" fmla="*/ 901827 h 1057751"/>
                <a:gd name="connsiteX705" fmla="*/ 492157 w 1073848"/>
                <a:gd name="connsiteY705" fmla="*/ 903542 h 1057751"/>
                <a:gd name="connsiteX706" fmla="*/ 490442 w 1073848"/>
                <a:gd name="connsiteY706" fmla="*/ 902208 h 1057751"/>
                <a:gd name="connsiteX707" fmla="*/ 482536 w 1073848"/>
                <a:gd name="connsiteY707" fmla="*/ 903161 h 1057751"/>
                <a:gd name="connsiteX708" fmla="*/ 472249 w 1073848"/>
                <a:gd name="connsiteY708" fmla="*/ 898112 h 1057751"/>
                <a:gd name="connsiteX709" fmla="*/ 471297 w 1073848"/>
                <a:gd name="connsiteY709" fmla="*/ 902970 h 1057751"/>
                <a:gd name="connsiteX710" fmla="*/ 475202 w 1073848"/>
                <a:gd name="connsiteY710" fmla="*/ 908971 h 1057751"/>
                <a:gd name="connsiteX711" fmla="*/ 474631 w 1073848"/>
                <a:gd name="connsiteY711" fmla="*/ 916972 h 1057751"/>
                <a:gd name="connsiteX712" fmla="*/ 471106 w 1073848"/>
                <a:gd name="connsiteY712" fmla="*/ 914305 h 1057751"/>
                <a:gd name="connsiteX713" fmla="*/ 463391 w 1073848"/>
                <a:gd name="connsiteY713" fmla="*/ 916876 h 1057751"/>
                <a:gd name="connsiteX714" fmla="*/ 465201 w 1073848"/>
                <a:gd name="connsiteY714" fmla="*/ 918210 h 1057751"/>
                <a:gd name="connsiteX715" fmla="*/ 467011 w 1073848"/>
                <a:gd name="connsiteY715" fmla="*/ 919639 h 1057751"/>
                <a:gd name="connsiteX716" fmla="*/ 466153 w 1073848"/>
                <a:gd name="connsiteY716" fmla="*/ 926116 h 1057751"/>
                <a:gd name="connsiteX717" fmla="*/ 471297 w 1073848"/>
                <a:gd name="connsiteY717" fmla="*/ 928688 h 1057751"/>
                <a:gd name="connsiteX718" fmla="*/ 469201 w 1073848"/>
                <a:gd name="connsiteY718" fmla="*/ 936974 h 1057751"/>
                <a:gd name="connsiteX719" fmla="*/ 463105 w 1073848"/>
                <a:gd name="connsiteY719" fmla="*/ 939355 h 1057751"/>
                <a:gd name="connsiteX720" fmla="*/ 455200 w 1073848"/>
                <a:gd name="connsiteY720" fmla="*/ 940308 h 1057751"/>
                <a:gd name="connsiteX721" fmla="*/ 454057 w 1073848"/>
                <a:gd name="connsiteY721" fmla="*/ 943737 h 1057751"/>
                <a:gd name="connsiteX722" fmla="*/ 455962 w 1073848"/>
                <a:gd name="connsiteY722" fmla="*/ 946690 h 1057751"/>
                <a:gd name="connsiteX723" fmla="*/ 454628 w 1073848"/>
                <a:gd name="connsiteY723" fmla="*/ 948404 h 1057751"/>
                <a:gd name="connsiteX724" fmla="*/ 457962 w 1073848"/>
                <a:gd name="connsiteY724" fmla="*/ 949643 h 1057751"/>
                <a:gd name="connsiteX725" fmla="*/ 455390 w 1073848"/>
                <a:gd name="connsiteY725" fmla="*/ 954786 h 1057751"/>
                <a:gd name="connsiteX726" fmla="*/ 457200 w 1073848"/>
                <a:gd name="connsiteY726" fmla="*/ 956120 h 1057751"/>
                <a:gd name="connsiteX727" fmla="*/ 454247 w 1073848"/>
                <a:gd name="connsiteY727" fmla="*/ 958120 h 1057751"/>
                <a:gd name="connsiteX728" fmla="*/ 453104 w 1073848"/>
                <a:gd name="connsiteY728" fmla="*/ 961454 h 1057751"/>
                <a:gd name="connsiteX729" fmla="*/ 448151 w 1073848"/>
                <a:gd name="connsiteY729" fmla="*/ 960501 h 1057751"/>
                <a:gd name="connsiteX730" fmla="*/ 449104 w 1073848"/>
                <a:gd name="connsiteY730" fmla="*/ 968407 h 1057751"/>
                <a:gd name="connsiteX731" fmla="*/ 447389 w 1073848"/>
                <a:gd name="connsiteY731" fmla="*/ 966978 h 1057751"/>
                <a:gd name="connsiteX732" fmla="*/ 443960 w 1073848"/>
                <a:gd name="connsiteY732" fmla="*/ 965835 h 1057751"/>
                <a:gd name="connsiteX733" fmla="*/ 442436 w 1073848"/>
                <a:gd name="connsiteY733" fmla="*/ 966026 h 1057751"/>
                <a:gd name="connsiteX734" fmla="*/ 441484 w 1073848"/>
                <a:gd name="connsiteY734" fmla="*/ 970979 h 1057751"/>
                <a:gd name="connsiteX735" fmla="*/ 438912 w 1073848"/>
                <a:gd name="connsiteY735" fmla="*/ 976122 h 1057751"/>
                <a:gd name="connsiteX736" fmla="*/ 434149 w 1073848"/>
                <a:gd name="connsiteY736" fmla="*/ 976693 h 1057751"/>
                <a:gd name="connsiteX737" fmla="*/ 428053 w 1073848"/>
                <a:gd name="connsiteY737" fmla="*/ 979075 h 1057751"/>
                <a:gd name="connsiteX738" fmla="*/ 430435 w 1073848"/>
                <a:gd name="connsiteY738" fmla="*/ 985171 h 1057751"/>
                <a:gd name="connsiteX739" fmla="*/ 426053 w 1073848"/>
                <a:gd name="connsiteY739" fmla="*/ 988981 h 1057751"/>
                <a:gd name="connsiteX740" fmla="*/ 430435 w 1073848"/>
                <a:gd name="connsiteY740" fmla="*/ 998030 h 1057751"/>
                <a:gd name="connsiteX741" fmla="*/ 432054 w 1073848"/>
                <a:gd name="connsiteY741" fmla="*/ 997839 h 1057751"/>
                <a:gd name="connsiteX742" fmla="*/ 433197 w 1073848"/>
                <a:gd name="connsiteY742" fmla="*/ 994505 h 1057751"/>
                <a:gd name="connsiteX743" fmla="*/ 437959 w 1073848"/>
                <a:gd name="connsiteY743" fmla="*/ 993838 h 1057751"/>
                <a:gd name="connsiteX744" fmla="*/ 441865 w 1073848"/>
                <a:gd name="connsiteY744" fmla="*/ 986980 h 1057751"/>
                <a:gd name="connsiteX745" fmla="*/ 448627 w 1073848"/>
                <a:gd name="connsiteY745" fmla="*/ 989267 h 1057751"/>
                <a:gd name="connsiteX746" fmla="*/ 451961 w 1073848"/>
                <a:gd name="connsiteY746" fmla="*/ 990505 h 1057751"/>
                <a:gd name="connsiteX747" fmla="*/ 454342 w 1073848"/>
                <a:gd name="connsiteY747" fmla="*/ 996601 h 1057751"/>
                <a:gd name="connsiteX748" fmla="*/ 452914 w 1073848"/>
                <a:gd name="connsiteY748" fmla="*/ 998411 h 1057751"/>
                <a:gd name="connsiteX749" fmla="*/ 452152 w 1073848"/>
                <a:gd name="connsiteY749" fmla="*/ 1004888 h 1057751"/>
                <a:gd name="connsiteX750" fmla="*/ 451199 w 1073848"/>
                <a:gd name="connsiteY750" fmla="*/ 1009841 h 1057751"/>
                <a:gd name="connsiteX751" fmla="*/ 453199 w 1073848"/>
                <a:gd name="connsiteY751" fmla="*/ 1012793 h 1057751"/>
                <a:gd name="connsiteX752" fmla="*/ 456724 w 1073848"/>
                <a:gd name="connsiteY752" fmla="*/ 1015555 h 1057751"/>
                <a:gd name="connsiteX753" fmla="*/ 467963 w 1073848"/>
                <a:gd name="connsiteY753" fmla="*/ 1015651 h 1057751"/>
                <a:gd name="connsiteX754" fmla="*/ 471106 w 1073848"/>
                <a:gd name="connsiteY754" fmla="*/ 1015270 h 1057751"/>
                <a:gd name="connsiteX755" fmla="*/ 483013 w 1073848"/>
                <a:gd name="connsiteY755" fmla="*/ 1020223 h 1057751"/>
                <a:gd name="connsiteX756" fmla="*/ 493300 w 1073848"/>
                <a:gd name="connsiteY756" fmla="*/ 1025271 h 1057751"/>
                <a:gd name="connsiteX757" fmla="*/ 492061 w 1073848"/>
                <a:gd name="connsiteY757" fmla="*/ 1028700 h 1057751"/>
                <a:gd name="connsiteX758" fmla="*/ 492538 w 1073848"/>
                <a:gd name="connsiteY758" fmla="*/ 1031843 h 1057751"/>
                <a:gd name="connsiteX759" fmla="*/ 489585 w 1073848"/>
                <a:gd name="connsiteY759" fmla="*/ 1033748 h 1057751"/>
                <a:gd name="connsiteX760" fmla="*/ 488347 w 1073848"/>
                <a:gd name="connsiteY760" fmla="*/ 1037177 h 1057751"/>
                <a:gd name="connsiteX761" fmla="*/ 497300 w 1073848"/>
                <a:gd name="connsiteY761" fmla="*/ 1044035 h 1057751"/>
                <a:gd name="connsiteX762" fmla="*/ 503206 w 1073848"/>
                <a:gd name="connsiteY762" fmla="*/ 1040035 h 1057751"/>
                <a:gd name="connsiteX763" fmla="*/ 500063 w 1073848"/>
                <a:gd name="connsiteY763" fmla="*/ 1040511 h 1057751"/>
                <a:gd name="connsiteX764" fmla="*/ 499586 w 1073848"/>
                <a:gd name="connsiteY764" fmla="*/ 1037368 h 1057751"/>
                <a:gd name="connsiteX765" fmla="*/ 496443 w 1073848"/>
                <a:gd name="connsiteY765" fmla="*/ 1037749 h 1057751"/>
                <a:gd name="connsiteX766" fmla="*/ 493109 w 1073848"/>
                <a:gd name="connsiteY766" fmla="*/ 1036511 h 1057751"/>
                <a:gd name="connsiteX767" fmla="*/ 499396 w 1073848"/>
                <a:gd name="connsiteY767" fmla="*/ 1035749 h 1057751"/>
                <a:gd name="connsiteX768" fmla="*/ 511492 w 1073848"/>
                <a:gd name="connsiteY768" fmla="*/ 1042226 h 1057751"/>
                <a:gd name="connsiteX769" fmla="*/ 508921 w 1073848"/>
                <a:gd name="connsiteY769" fmla="*/ 1034510 h 1057751"/>
                <a:gd name="connsiteX770" fmla="*/ 515017 w 1073848"/>
                <a:gd name="connsiteY770" fmla="*/ 1032129 h 1057751"/>
                <a:gd name="connsiteX771" fmla="*/ 518541 w 1073848"/>
                <a:gd name="connsiteY771" fmla="*/ 1034891 h 1057751"/>
                <a:gd name="connsiteX772" fmla="*/ 520732 w 1073848"/>
                <a:gd name="connsiteY772" fmla="*/ 1039463 h 1057751"/>
                <a:gd name="connsiteX773" fmla="*/ 524065 w 1073848"/>
                <a:gd name="connsiteY773" fmla="*/ 1040606 h 1057751"/>
                <a:gd name="connsiteX774" fmla="*/ 521780 w 1073848"/>
                <a:gd name="connsiteY774" fmla="*/ 1047369 h 1057751"/>
                <a:gd name="connsiteX775" fmla="*/ 523684 w 1073848"/>
                <a:gd name="connsiteY775" fmla="*/ 1050322 h 1057751"/>
                <a:gd name="connsiteX776" fmla="*/ 528828 w 1073848"/>
                <a:gd name="connsiteY776" fmla="*/ 1052893 h 1057751"/>
                <a:gd name="connsiteX777" fmla="*/ 531971 w 1073848"/>
                <a:gd name="connsiteY777" fmla="*/ 1052417 h 1057751"/>
                <a:gd name="connsiteX778" fmla="*/ 534924 w 1073848"/>
                <a:gd name="connsiteY778" fmla="*/ 1050417 h 1057751"/>
                <a:gd name="connsiteX779" fmla="*/ 537305 w 1073848"/>
                <a:gd name="connsiteY779" fmla="*/ 1056608 h 1057751"/>
                <a:gd name="connsiteX780" fmla="*/ 540734 w 1073848"/>
                <a:gd name="connsiteY780" fmla="*/ 1057751 h 1057751"/>
                <a:gd name="connsiteX781" fmla="*/ 543211 w 1073848"/>
                <a:gd name="connsiteY781" fmla="*/ 1052608 h 1057751"/>
                <a:gd name="connsiteX782" fmla="*/ 544449 w 1073848"/>
                <a:gd name="connsiteY782" fmla="*/ 1049274 h 1057751"/>
                <a:gd name="connsiteX783" fmla="*/ 542449 w 1073848"/>
                <a:gd name="connsiteY783" fmla="*/ 1046321 h 1057751"/>
                <a:gd name="connsiteX784" fmla="*/ 548735 w 1073848"/>
                <a:gd name="connsiteY784" fmla="*/ 1045464 h 1057751"/>
                <a:gd name="connsiteX785" fmla="*/ 548164 w 1073848"/>
                <a:gd name="connsiteY785" fmla="*/ 1040797 h 1057751"/>
                <a:gd name="connsiteX786" fmla="*/ 552736 w 1073848"/>
                <a:gd name="connsiteY786" fmla="*/ 1038606 h 1057751"/>
                <a:gd name="connsiteX787" fmla="*/ 554069 w 1073848"/>
                <a:gd name="connsiteY787" fmla="*/ 1036796 h 1057751"/>
                <a:gd name="connsiteX788" fmla="*/ 549688 w 1073848"/>
                <a:gd name="connsiteY788" fmla="*/ 1027747 h 1057751"/>
                <a:gd name="connsiteX789" fmla="*/ 554260 w 1073848"/>
                <a:gd name="connsiteY789" fmla="*/ 1025557 h 1057751"/>
                <a:gd name="connsiteX790" fmla="*/ 557403 w 1073848"/>
                <a:gd name="connsiteY790" fmla="*/ 1025176 h 1057751"/>
                <a:gd name="connsiteX791" fmla="*/ 559403 w 1073848"/>
                <a:gd name="connsiteY791" fmla="*/ 1028129 h 1057751"/>
                <a:gd name="connsiteX792" fmla="*/ 564071 w 1073848"/>
                <a:gd name="connsiteY792" fmla="*/ 1027462 h 1057751"/>
                <a:gd name="connsiteX793" fmla="*/ 564547 w 1073848"/>
                <a:gd name="connsiteY793" fmla="*/ 1030700 h 1057751"/>
                <a:gd name="connsiteX794" fmla="*/ 567499 w 1073848"/>
                <a:gd name="connsiteY794" fmla="*/ 1028700 h 1057751"/>
                <a:gd name="connsiteX795" fmla="*/ 573214 w 1073848"/>
                <a:gd name="connsiteY795" fmla="*/ 1023176 h 1057751"/>
                <a:gd name="connsiteX796" fmla="*/ 582644 w 1073848"/>
                <a:gd name="connsiteY796" fmla="*/ 1021937 h 1057751"/>
                <a:gd name="connsiteX797" fmla="*/ 583025 w 1073848"/>
                <a:gd name="connsiteY797" fmla="*/ 1025080 h 1057751"/>
                <a:gd name="connsiteX798" fmla="*/ 590169 w 1073848"/>
                <a:gd name="connsiteY798" fmla="*/ 1030605 h 1057751"/>
                <a:gd name="connsiteX799" fmla="*/ 592550 w 1073848"/>
                <a:gd name="connsiteY799" fmla="*/ 1036701 h 1057751"/>
                <a:gd name="connsiteX800" fmla="*/ 597884 w 1073848"/>
                <a:gd name="connsiteY800" fmla="*/ 1040892 h 1057751"/>
                <a:gd name="connsiteX801" fmla="*/ 600075 w 1073848"/>
                <a:gd name="connsiteY801" fmla="*/ 1045369 h 1057751"/>
                <a:gd name="connsiteX802" fmla="*/ 602837 w 1073848"/>
                <a:gd name="connsiteY802" fmla="*/ 1041845 h 1057751"/>
                <a:gd name="connsiteX803" fmla="*/ 605980 w 1073848"/>
                <a:gd name="connsiteY803" fmla="*/ 1041463 h 1057751"/>
                <a:gd name="connsiteX804" fmla="*/ 605409 w 1073848"/>
                <a:gd name="connsiteY804" fmla="*/ 1036701 h 1057751"/>
                <a:gd name="connsiteX805" fmla="*/ 607886 w 1073848"/>
                <a:gd name="connsiteY805" fmla="*/ 1031558 h 1057751"/>
                <a:gd name="connsiteX806" fmla="*/ 606171 w 1073848"/>
                <a:gd name="connsiteY806" fmla="*/ 1030129 h 1057751"/>
                <a:gd name="connsiteX807" fmla="*/ 605980 w 1073848"/>
                <a:gd name="connsiteY807" fmla="*/ 1028605 h 1057751"/>
                <a:gd name="connsiteX808" fmla="*/ 604171 w 1073848"/>
                <a:gd name="connsiteY808" fmla="*/ 1027176 h 1057751"/>
                <a:gd name="connsiteX809" fmla="*/ 607505 w 1073848"/>
                <a:gd name="connsiteY809" fmla="*/ 1028414 h 1057751"/>
                <a:gd name="connsiteX810" fmla="*/ 611219 w 1073848"/>
                <a:gd name="connsiteY810" fmla="*/ 1019937 h 1057751"/>
                <a:gd name="connsiteX811" fmla="*/ 616553 w 1073848"/>
                <a:gd name="connsiteY811" fmla="*/ 1024033 h 1057751"/>
                <a:gd name="connsiteX812" fmla="*/ 619315 w 1073848"/>
                <a:gd name="connsiteY812" fmla="*/ 1020509 h 1057751"/>
                <a:gd name="connsiteX813" fmla="*/ 619125 w 1073848"/>
                <a:gd name="connsiteY813" fmla="*/ 1018889 h 1057751"/>
                <a:gd name="connsiteX814" fmla="*/ 619506 w 1073848"/>
                <a:gd name="connsiteY814" fmla="*/ 1009174 h 1057751"/>
                <a:gd name="connsiteX815" fmla="*/ 619315 w 1073848"/>
                <a:gd name="connsiteY815" fmla="*/ 1007650 h 1057751"/>
                <a:gd name="connsiteX816" fmla="*/ 622649 w 1073848"/>
                <a:gd name="connsiteY816" fmla="*/ 1008793 h 1057751"/>
                <a:gd name="connsiteX817" fmla="*/ 635508 w 1073848"/>
                <a:gd name="connsiteY817" fmla="*/ 1008793 h 1057751"/>
                <a:gd name="connsiteX818" fmla="*/ 643033 w 1073848"/>
                <a:gd name="connsiteY818" fmla="*/ 1004602 h 1057751"/>
                <a:gd name="connsiteX819" fmla="*/ 645128 w 1073848"/>
                <a:gd name="connsiteY819" fmla="*/ 996315 h 1057751"/>
                <a:gd name="connsiteX820" fmla="*/ 645128 w 1073848"/>
                <a:gd name="connsiteY820" fmla="*/ 996315 h 1057751"/>
                <a:gd name="connsiteX821" fmla="*/ 649891 w 1073848"/>
                <a:gd name="connsiteY821" fmla="*/ 995743 h 1057751"/>
                <a:gd name="connsiteX822" fmla="*/ 651034 w 1073848"/>
                <a:gd name="connsiteY822" fmla="*/ 992410 h 1057751"/>
                <a:gd name="connsiteX823" fmla="*/ 652653 w 1073848"/>
                <a:gd name="connsiteY823" fmla="*/ 992124 h 1057751"/>
                <a:gd name="connsiteX824" fmla="*/ 652463 w 1073848"/>
                <a:gd name="connsiteY824" fmla="*/ 990600 h 1057751"/>
                <a:gd name="connsiteX825" fmla="*/ 645890 w 1073848"/>
                <a:gd name="connsiteY825" fmla="*/ 989838 h 1057751"/>
                <a:gd name="connsiteX826" fmla="*/ 650081 w 1073848"/>
                <a:gd name="connsiteY826" fmla="*/ 984504 h 1057751"/>
                <a:gd name="connsiteX827" fmla="*/ 651605 w 1073848"/>
                <a:gd name="connsiteY827" fmla="*/ 984313 h 1057751"/>
                <a:gd name="connsiteX828" fmla="*/ 658939 w 1073848"/>
                <a:gd name="connsiteY828" fmla="*/ 978503 h 1057751"/>
                <a:gd name="connsiteX829" fmla="*/ 661511 w 1073848"/>
                <a:gd name="connsiteY829" fmla="*/ 973360 h 1057751"/>
                <a:gd name="connsiteX830" fmla="*/ 668369 w 1073848"/>
                <a:gd name="connsiteY830" fmla="*/ 977360 h 1057751"/>
                <a:gd name="connsiteX831" fmla="*/ 673894 w 1073848"/>
                <a:gd name="connsiteY831" fmla="*/ 970217 h 1057751"/>
                <a:gd name="connsiteX832" fmla="*/ 680847 w 1073848"/>
                <a:gd name="connsiteY832" fmla="*/ 974122 h 1057751"/>
                <a:gd name="connsiteX833" fmla="*/ 683323 w 1073848"/>
                <a:gd name="connsiteY833" fmla="*/ 968978 h 1057751"/>
                <a:gd name="connsiteX834" fmla="*/ 691896 w 1073848"/>
                <a:gd name="connsiteY834" fmla="*/ 972788 h 1057751"/>
                <a:gd name="connsiteX835" fmla="*/ 695039 w 1073848"/>
                <a:gd name="connsiteY835" fmla="*/ 972312 h 1057751"/>
                <a:gd name="connsiteX836" fmla="*/ 695801 w 1073848"/>
                <a:gd name="connsiteY836" fmla="*/ 978694 h 1057751"/>
                <a:gd name="connsiteX837" fmla="*/ 701897 w 1073848"/>
                <a:gd name="connsiteY837" fmla="*/ 976313 h 1057751"/>
                <a:gd name="connsiteX838" fmla="*/ 698373 w 1073848"/>
                <a:gd name="connsiteY838" fmla="*/ 973550 h 1057751"/>
                <a:gd name="connsiteX839" fmla="*/ 701135 w 1073848"/>
                <a:gd name="connsiteY839" fmla="*/ 969931 h 1057751"/>
                <a:gd name="connsiteX840" fmla="*/ 704279 w 1073848"/>
                <a:gd name="connsiteY840" fmla="*/ 969550 h 1057751"/>
                <a:gd name="connsiteX841" fmla="*/ 705898 w 1073848"/>
                <a:gd name="connsiteY841" fmla="*/ 969359 h 1057751"/>
                <a:gd name="connsiteX842" fmla="*/ 703707 w 1073848"/>
                <a:gd name="connsiteY842" fmla="*/ 964787 h 1057751"/>
                <a:gd name="connsiteX843" fmla="*/ 705231 w 1073848"/>
                <a:gd name="connsiteY843" fmla="*/ 964597 h 1057751"/>
                <a:gd name="connsiteX844" fmla="*/ 706660 w 1073848"/>
                <a:gd name="connsiteY844" fmla="*/ 962787 h 1057751"/>
                <a:gd name="connsiteX845" fmla="*/ 703231 w 1073848"/>
                <a:gd name="connsiteY845" fmla="*/ 961644 h 1057751"/>
                <a:gd name="connsiteX846" fmla="*/ 707231 w 1073848"/>
                <a:gd name="connsiteY846" fmla="*/ 954786 h 1057751"/>
                <a:gd name="connsiteX847" fmla="*/ 706564 w 1073848"/>
                <a:gd name="connsiteY847" fmla="*/ 950024 h 1057751"/>
                <a:gd name="connsiteX848" fmla="*/ 709327 w 1073848"/>
                <a:gd name="connsiteY848" fmla="*/ 946404 h 1057751"/>
                <a:gd name="connsiteX849" fmla="*/ 706946 w 1073848"/>
                <a:gd name="connsiteY849" fmla="*/ 940308 h 1057751"/>
                <a:gd name="connsiteX850" fmla="*/ 710374 w 1073848"/>
                <a:gd name="connsiteY850" fmla="*/ 941546 h 1057751"/>
                <a:gd name="connsiteX851" fmla="*/ 715042 w 1073848"/>
                <a:gd name="connsiteY851" fmla="*/ 940880 h 1057751"/>
                <a:gd name="connsiteX852" fmla="*/ 725519 w 1073848"/>
                <a:gd name="connsiteY852" fmla="*/ 947642 h 1057751"/>
                <a:gd name="connsiteX853" fmla="*/ 725710 w 1073848"/>
                <a:gd name="connsiteY853" fmla="*/ 949166 h 1057751"/>
                <a:gd name="connsiteX854" fmla="*/ 721042 w 1073848"/>
                <a:gd name="connsiteY854" fmla="*/ 949738 h 1057751"/>
                <a:gd name="connsiteX855" fmla="*/ 719614 w 1073848"/>
                <a:gd name="connsiteY855" fmla="*/ 951547 h 1057751"/>
                <a:gd name="connsiteX856" fmla="*/ 724567 w 1073848"/>
                <a:gd name="connsiteY856" fmla="*/ 952500 h 1057751"/>
                <a:gd name="connsiteX857" fmla="*/ 727520 w 1073848"/>
                <a:gd name="connsiteY857" fmla="*/ 950595 h 1057751"/>
                <a:gd name="connsiteX858" fmla="*/ 729520 w 1073848"/>
                <a:gd name="connsiteY858" fmla="*/ 953548 h 1057751"/>
                <a:gd name="connsiteX859" fmla="*/ 734949 w 1073848"/>
                <a:gd name="connsiteY859" fmla="*/ 946404 h 1057751"/>
                <a:gd name="connsiteX860" fmla="*/ 743903 w 1073848"/>
                <a:gd name="connsiteY860" fmla="*/ 940403 h 1057751"/>
                <a:gd name="connsiteX861" fmla="*/ 740473 w 1073848"/>
                <a:gd name="connsiteY861" fmla="*/ 939260 h 1057751"/>
                <a:gd name="connsiteX862" fmla="*/ 740473 w 1073848"/>
                <a:gd name="connsiteY862" fmla="*/ 926497 h 1057751"/>
                <a:gd name="connsiteX863" fmla="*/ 750951 w 1073848"/>
                <a:gd name="connsiteY863" fmla="*/ 933164 h 1057751"/>
                <a:gd name="connsiteX864" fmla="*/ 754856 w 1073848"/>
                <a:gd name="connsiteY864" fmla="*/ 926211 h 1057751"/>
                <a:gd name="connsiteX865" fmla="*/ 762190 w 1073848"/>
                <a:gd name="connsiteY865" fmla="*/ 920496 h 1057751"/>
                <a:gd name="connsiteX866" fmla="*/ 764191 w 1073848"/>
                <a:gd name="connsiteY866" fmla="*/ 923449 h 1057751"/>
                <a:gd name="connsiteX867" fmla="*/ 764572 w 1073848"/>
                <a:gd name="connsiteY867" fmla="*/ 926592 h 1057751"/>
                <a:gd name="connsiteX868" fmla="*/ 766763 w 1073848"/>
                <a:gd name="connsiteY868" fmla="*/ 931164 h 1057751"/>
                <a:gd name="connsiteX869" fmla="*/ 770096 w 1073848"/>
                <a:gd name="connsiteY869" fmla="*/ 932307 h 1057751"/>
                <a:gd name="connsiteX870" fmla="*/ 768953 w 1073848"/>
                <a:gd name="connsiteY870" fmla="*/ 935641 h 1057751"/>
                <a:gd name="connsiteX871" fmla="*/ 767524 w 1073848"/>
                <a:gd name="connsiteY871" fmla="*/ 937451 h 1057751"/>
                <a:gd name="connsiteX872" fmla="*/ 769525 w 1073848"/>
                <a:gd name="connsiteY872" fmla="*/ 940403 h 1057751"/>
                <a:gd name="connsiteX873" fmla="*/ 767715 w 1073848"/>
                <a:gd name="connsiteY873" fmla="*/ 938975 h 1057751"/>
                <a:gd name="connsiteX874" fmla="*/ 768096 w 1073848"/>
                <a:gd name="connsiteY874" fmla="*/ 942213 h 1057751"/>
                <a:gd name="connsiteX875" fmla="*/ 771334 w 1073848"/>
                <a:gd name="connsiteY875" fmla="*/ 941737 h 1057751"/>
                <a:gd name="connsiteX876" fmla="*/ 773239 w 1073848"/>
                <a:gd name="connsiteY876" fmla="*/ 944689 h 1057751"/>
                <a:gd name="connsiteX877" fmla="*/ 774668 w 1073848"/>
                <a:gd name="connsiteY877" fmla="*/ 942975 h 1057751"/>
                <a:gd name="connsiteX878" fmla="*/ 774287 w 1073848"/>
                <a:gd name="connsiteY878" fmla="*/ 939832 h 1057751"/>
                <a:gd name="connsiteX879" fmla="*/ 774478 w 1073848"/>
                <a:gd name="connsiteY879" fmla="*/ 941356 h 1057751"/>
                <a:gd name="connsiteX880" fmla="*/ 778002 w 1073848"/>
                <a:gd name="connsiteY880" fmla="*/ 944118 h 1057751"/>
                <a:gd name="connsiteX881" fmla="*/ 774859 w 1073848"/>
                <a:gd name="connsiteY881" fmla="*/ 944499 h 1057751"/>
                <a:gd name="connsiteX882" fmla="*/ 776859 w 1073848"/>
                <a:gd name="connsiteY882" fmla="*/ 947452 h 1057751"/>
                <a:gd name="connsiteX883" fmla="*/ 784003 w 1073848"/>
                <a:gd name="connsiteY883" fmla="*/ 952976 h 1057751"/>
                <a:gd name="connsiteX884" fmla="*/ 790480 w 1073848"/>
                <a:gd name="connsiteY884" fmla="*/ 953738 h 1057751"/>
                <a:gd name="connsiteX885" fmla="*/ 798576 w 1073848"/>
                <a:gd name="connsiteY885" fmla="*/ 954310 h 1057751"/>
                <a:gd name="connsiteX886" fmla="*/ 801529 w 1073848"/>
                <a:gd name="connsiteY886" fmla="*/ 952309 h 1057751"/>
                <a:gd name="connsiteX887" fmla="*/ 804672 w 1073848"/>
                <a:gd name="connsiteY887" fmla="*/ 951929 h 1057751"/>
                <a:gd name="connsiteX888" fmla="*/ 808577 w 1073848"/>
                <a:gd name="connsiteY888" fmla="*/ 945071 h 1057751"/>
                <a:gd name="connsiteX889" fmla="*/ 813340 w 1073848"/>
                <a:gd name="connsiteY889" fmla="*/ 944404 h 1057751"/>
                <a:gd name="connsiteX890" fmla="*/ 814102 w 1073848"/>
                <a:gd name="connsiteY890" fmla="*/ 937927 h 1057751"/>
                <a:gd name="connsiteX891" fmla="*/ 812101 w 1073848"/>
                <a:gd name="connsiteY891" fmla="*/ 934974 h 1057751"/>
                <a:gd name="connsiteX892" fmla="*/ 811721 w 1073848"/>
                <a:gd name="connsiteY892" fmla="*/ 931831 h 1057751"/>
                <a:gd name="connsiteX893" fmla="*/ 814864 w 1073848"/>
                <a:gd name="connsiteY893" fmla="*/ 931355 h 1057751"/>
                <a:gd name="connsiteX894" fmla="*/ 816673 w 1073848"/>
                <a:gd name="connsiteY894" fmla="*/ 932783 h 1057751"/>
                <a:gd name="connsiteX895" fmla="*/ 817245 w 1073848"/>
                <a:gd name="connsiteY895" fmla="*/ 937546 h 1057751"/>
                <a:gd name="connsiteX896" fmla="*/ 822007 w 1073848"/>
                <a:gd name="connsiteY896" fmla="*/ 936879 h 1057751"/>
                <a:gd name="connsiteX897" fmla="*/ 822198 w 1073848"/>
                <a:gd name="connsiteY897" fmla="*/ 938498 h 1057751"/>
                <a:gd name="connsiteX898" fmla="*/ 826961 w 1073848"/>
                <a:gd name="connsiteY898" fmla="*/ 937927 h 1057751"/>
                <a:gd name="connsiteX899" fmla="*/ 828484 w 1073848"/>
                <a:gd name="connsiteY899" fmla="*/ 937641 h 1057751"/>
                <a:gd name="connsiteX900" fmla="*/ 835628 w 1073848"/>
                <a:gd name="connsiteY900" fmla="*/ 943166 h 1057751"/>
                <a:gd name="connsiteX901" fmla="*/ 838962 w 1073848"/>
                <a:gd name="connsiteY901" fmla="*/ 944404 h 1057751"/>
                <a:gd name="connsiteX902" fmla="*/ 840200 w 1073848"/>
                <a:gd name="connsiteY902" fmla="*/ 940975 h 1057751"/>
                <a:gd name="connsiteX903" fmla="*/ 845058 w 1073848"/>
                <a:gd name="connsiteY903" fmla="*/ 942022 h 1057751"/>
                <a:gd name="connsiteX904" fmla="*/ 849058 w 1073848"/>
                <a:gd name="connsiteY904" fmla="*/ 947928 h 1057751"/>
                <a:gd name="connsiteX905" fmla="*/ 852583 w 1073848"/>
                <a:gd name="connsiteY905" fmla="*/ 950690 h 1057751"/>
                <a:gd name="connsiteX906" fmla="*/ 852392 w 1073848"/>
                <a:gd name="connsiteY906" fmla="*/ 949071 h 1057751"/>
                <a:gd name="connsiteX907" fmla="*/ 850011 w 1073848"/>
                <a:gd name="connsiteY907" fmla="*/ 942975 h 1057751"/>
                <a:gd name="connsiteX908" fmla="*/ 851440 w 1073848"/>
                <a:gd name="connsiteY908" fmla="*/ 941165 h 1057751"/>
                <a:gd name="connsiteX909" fmla="*/ 856107 w 1073848"/>
                <a:gd name="connsiteY909" fmla="*/ 940594 h 1057751"/>
                <a:gd name="connsiteX910" fmla="*/ 861250 w 1073848"/>
                <a:gd name="connsiteY910" fmla="*/ 943166 h 1057751"/>
                <a:gd name="connsiteX911" fmla="*/ 862489 w 1073848"/>
                <a:gd name="connsiteY911" fmla="*/ 939737 h 1057751"/>
                <a:gd name="connsiteX912" fmla="*/ 863822 w 1073848"/>
                <a:gd name="connsiteY912" fmla="*/ 938022 h 1057751"/>
                <a:gd name="connsiteX913" fmla="*/ 874109 w 1073848"/>
                <a:gd name="connsiteY913" fmla="*/ 943070 h 1057751"/>
                <a:gd name="connsiteX914" fmla="*/ 875443 w 1073848"/>
                <a:gd name="connsiteY914" fmla="*/ 941356 h 1057751"/>
                <a:gd name="connsiteX915" fmla="*/ 878396 w 1073848"/>
                <a:gd name="connsiteY915" fmla="*/ 939355 h 1057751"/>
                <a:gd name="connsiteX916" fmla="*/ 875062 w 1073848"/>
                <a:gd name="connsiteY916" fmla="*/ 938117 h 1057751"/>
                <a:gd name="connsiteX917" fmla="*/ 878014 w 1073848"/>
                <a:gd name="connsiteY917" fmla="*/ 936212 h 1057751"/>
                <a:gd name="connsiteX918" fmla="*/ 878967 w 1073848"/>
                <a:gd name="connsiteY918" fmla="*/ 931259 h 1057751"/>
                <a:gd name="connsiteX919" fmla="*/ 882205 w 1073848"/>
                <a:gd name="connsiteY919" fmla="*/ 930878 h 1057751"/>
                <a:gd name="connsiteX920" fmla="*/ 884396 w 1073848"/>
                <a:gd name="connsiteY920" fmla="*/ 935355 h 1057751"/>
                <a:gd name="connsiteX921" fmla="*/ 893445 w 1073848"/>
                <a:gd name="connsiteY921" fmla="*/ 930974 h 1057751"/>
                <a:gd name="connsiteX922" fmla="*/ 893064 w 1073848"/>
                <a:gd name="connsiteY922" fmla="*/ 927830 h 1057751"/>
                <a:gd name="connsiteX923" fmla="*/ 889635 w 1073848"/>
                <a:gd name="connsiteY923" fmla="*/ 926687 h 1057751"/>
                <a:gd name="connsiteX924" fmla="*/ 889063 w 1073848"/>
                <a:gd name="connsiteY924" fmla="*/ 921925 h 1057751"/>
                <a:gd name="connsiteX925" fmla="*/ 880586 w 1073848"/>
                <a:gd name="connsiteY925" fmla="*/ 918210 h 1057751"/>
                <a:gd name="connsiteX926" fmla="*/ 886015 w 1073848"/>
                <a:gd name="connsiteY926" fmla="*/ 911066 h 1057751"/>
                <a:gd name="connsiteX927" fmla="*/ 884301 w 1073848"/>
                <a:gd name="connsiteY927" fmla="*/ 909733 h 1057751"/>
                <a:gd name="connsiteX928" fmla="*/ 886015 w 1073848"/>
                <a:gd name="connsiteY928" fmla="*/ 911066 h 1057751"/>
                <a:gd name="connsiteX929" fmla="*/ 896493 w 1073848"/>
                <a:gd name="connsiteY929" fmla="*/ 904970 h 1057751"/>
                <a:gd name="connsiteX930" fmla="*/ 901255 w 1073848"/>
                <a:gd name="connsiteY930" fmla="*/ 904399 h 1057751"/>
                <a:gd name="connsiteX931" fmla="*/ 904018 w 1073848"/>
                <a:gd name="connsiteY931" fmla="*/ 900779 h 1057751"/>
                <a:gd name="connsiteX932" fmla="*/ 908780 w 1073848"/>
                <a:gd name="connsiteY932" fmla="*/ 900208 h 1057751"/>
                <a:gd name="connsiteX933" fmla="*/ 915638 w 1073848"/>
                <a:gd name="connsiteY933" fmla="*/ 904113 h 1057751"/>
                <a:gd name="connsiteX934" fmla="*/ 918400 w 1073848"/>
                <a:gd name="connsiteY934" fmla="*/ 900589 h 1057751"/>
                <a:gd name="connsiteX935" fmla="*/ 923544 w 1073848"/>
                <a:gd name="connsiteY935" fmla="*/ 903161 h 1057751"/>
                <a:gd name="connsiteX936" fmla="*/ 931069 w 1073848"/>
                <a:gd name="connsiteY936" fmla="*/ 898970 h 1057751"/>
                <a:gd name="connsiteX937" fmla="*/ 937927 w 1073848"/>
                <a:gd name="connsiteY937" fmla="*/ 902875 h 1057751"/>
                <a:gd name="connsiteX938" fmla="*/ 942118 w 1073848"/>
                <a:gd name="connsiteY938" fmla="*/ 897541 h 1057751"/>
                <a:gd name="connsiteX939" fmla="*/ 941641 w 1073848"/>
                <a:gd name="connsiteY939" fmla="*/ 894397 h 1057751"/>
                <a:gd name="connsiteX940" fmla="*/ 945832 w 1073848"/>
                <a:gd name="connsiteY940" fmla="*/ 889063 h 1057751"/>
                <a:gd name="connsiteX941" fmla="*/ 950500 w 1073848"/>
                <a:gd name="connsiteY941" fmla="*/ 888492 h 1057751"/>
                <a:gd name="connsiteX942" fmla="*/ 950119 w 1073848"/>
                <a:gd name="connsiteY942" fmla="*/ 885349 h 1057751"/>
                <a:gd name="connsiteX943" fmla="*/ 944213 w 1073848"/>
                <a:gd name="connsiteY943" fmla="*/ 876395 h 1057751"/>
                <a:gd name="connsiteX944" fmla="*/ 945166 w 1073848"/>
                <a:gd name="connsiteY944" fmla="*/ 871538 h 1057751"/>
                <a:gd name="connsiteX945" fmla="*/ 949928 w 1073848"/>
                <a:gd name="connsiteY945" fmla="*/ 870871 h 1057751"/>
                <a:gd name="connsiteX946" fmla="*/ 956405 w 1073848"/>
                <a:gd name="connsiteY946" fmla="*/ 871633 h 1057751"/>
                <a:gd name="connsiteX947" fmla="*/ 960977 w 1073848"/>
                <a:gd name="connsiteY947" fmla="*/ 869442 h 1057751"/>
                <a:gd name="connsiteX948" fmla="*/ 964121 w 1073848"/>
                <a:gd name="connsiteY948" fmla="*/ 869061 h 1057751"/>
                <a:gd name="connsiteX949" fmla="*/ 965263 w 1073848"/>
                <a:gd name="connsiteY949" fmla="*/ 865727 h 1057751"/>
                <a:gd name="connsiteX950" fmla="*/ 969836 w 1073848"/>
                <a:gd name="connsiteY950" fmla="*/ 863537 h 1057751"/>
                <a:gd name="connsiteX951" fmla="*/ 970979 w 1073848"/>
                <a:gd name="connsiteY951" fmla="*/ 860203 h 1057751"/>
                <a:gd name="connsiteX952" fmla="*/ 973741 w 1073848"/>
                <a:gd name="connsiteY952" fmla="*/ 856679 h 1057751"/>
                <a:gd name="connsiteX953" fmla="*/ 976313 w 1073848"/>
                <a:gd name="connsiteY953" fmla="*/ 851535 h 1057751"/>
                <a:gd name="connsiteX954" fmla="*/ 978122 w 1073848"/>
                <a:gd name="connsiteY954" fmla="*/ 852868 h 1057751"/>
                <a:gd name="connsiteX955" fmla="*/ 977837 w 1073848"/>
                <a:gd name="connsiteY955" fmla="*/ 851249 h 1057751"/>
                <a:gd name="connsiteX956" fmla="*/ 980599 w 1073848"/>
                <a:gd name="connsiteY956" fmla="*/ 834962 h 1057751"/>
                <a:gd name="connsiteX957" fmla="*/ 977455 w 1073848"/>
                <a:gd name="connsiteY957" fmla="*/ 835343 h 1057751"/>
                <a:gd name="connsiteX958" fmla="*/ 976884 w 1073848"/>
                <a:gd name="connsiteY958" fmla="*/ 830580 h 1057751"/>
                <a:gd name="connsiteX959" fmla="*/ 968788 w 1073848"/>
                <a:gd name="connsiteY959" fmla="*/ 830009 h 1057751"/>
                <a:gd name="connsiteX960" fmla="*/ 972503 w 1073848"/>
                <a:gd name="connsiteY960" fmla="*/ 821531 h 1057751"/>
                <a:gd name="connsiteX961" fmla="*/ 971836 w 1073848"/>
                <a:gd name="connsiteY961" fmla="*/ 816769 h 1057751"/>
                <a:gd name="connsiteX962" fmla="*/ 968502 w 1073848"/>
                <a:gd name="connsiteY962" fmla="*/ 815626 h 1057751"/>
                <a:gd name="connsiteX963" fmla="*/ 969073 w 1073848"/>
                <a:gd name="connsiteY963" fmla="*/ 820388 h 1057751"/>
                <a:gd name="connsiteX964" fmla="*/ 961834 w 1073848"/>
                <a:gd name="connsiteY964" fmla="*/ 826103 h 1057751"/>
                <a:gd name="connsiteX965" fmla="*/ 956881 w 1073848"/>
                <a:gd name="connsiteY965" fmla="*/ 825151 h 1057751"/>
                <a:gd name="connsiteX966" fmla="*/ 955738 w 1073848"/>
                <a:gd name="connsiteY966" fmla="*/ 828484 h 1057751"/>
                <a:gd name="connsiteX967" fmla="*/ 954119 w 1073848"/>
                <a:gd name="connsiteY967" fmla="*/ 828675 h 1057751"/>
                <a:gd name="connsiteX968" fmla="*/ 956691 w 1073848"/>
                <a:gd name="connsiteY968" fmla="*/ 823532 h 1057751"/>
                <a:gd name="connsiteX969" fmla="*/ 957643 w 1073848"/>
                <a:gd name="connsiteY969" fmla="*/ 818579 h 1057751"/>
                <a:gd name="connsiteX970" fmla="*/ 959453 w 1073848"/>
                <a:gd name="connsiteY970" fmla="*/ 820007 h 1057751"/>
                <a:gd name="connsiteX971" fmla="*/ 962215 w 1073848"/>
                <a:gd name="connsiteY971" fmla="*/ 816388 h 1057751"/>
                <a:gd name="connsiteX972" fmla="*/ 956691 w 1073848"/>
                <a:gd name="connsiteY972" fmla="*/ 810673 h 1057751"/>
                <a:gd name="connsiteX973" fmla="*/ 956024 w 1073848"/>
                <a:gd name="connsiteY973" fmla="*/ 806005 h 1057751"/>
                <a:gd name="connsiteX974" fmla="*/ 953929 w 1073848"/>
                <a:gd name="connsiteY974" fmla="*/ 801434 h 1057751"/>
                <a:gd name="connsiteX975" fmla="*/ 949357 w 1073848"/>
                <a:gd name="connsiteY975" fmla="*/ 803624 h 1057751"/>
                <a:gd name="connsiteX976" fmla="*/ 951929 w 1073848"/>
                <a:gd name="connsiteY976" fmla="*/ 798481 h 1057751"/>
                <a:gd name="connsiteX977" fmla="*/ 946975 w 1073848"/>
                <a:gd name="connsiteY977" fmla="*/ 797528 h 1057751"/>
                <a:gd name="connsiteX978" fmla="*/ 949738 w 1073848"/>
                <a:gd name="connsiteY978" fmla="*/ 793909 h 1057751"/>
                <a:gd name="connsiteX979" fmla="*/ 951643 w 1073848"/>
                <a:gd name="connsiteY979" fmla="*/ 784098 h 1057751"/>
                <a:gd name="connsiteX980" fmla="*/ 959548 w 1073848"/>
                <a:gd name="connsiteY980" fmla="*/ 783050 h 1057751"/>
                <a:gd name="connsiteX981" fmla="*/ 969455 w 1073848"/>
                <a:gd name="connsiteY981" fmla="*/ 785051 h 1057751"/>
                <a:gd name="connsiteX982" fmla="*/ 972217 w 1073848"/>
                <a:gd name="connsiteY982" fmla="*/ 781431 h 1057751"/>
                <a:gd name="connsiteX983" fmla="*/ 971740 w 1073848"/>
                <a:gd name="connsiteY983" fmla="*/ 778288 h 1057751"/>
                <a:gd name="connsiteX984" fmla="*/ 978694 w 1073848"/>
                <a:gd name="connsiteY984" fmla="*/ 782193 h 1057751"/>
                <a:gd name="connsiteX985" fmla="*/ 982408 w 1073848"/>
                <a:gd name="connsiteY985" fmla="*/ 773716 h 1057751"/>
                <a:gd name="connsiteX986" fmla="*/ 977455 w 1073848"/>
                <a:gd name="connsiteY986" fmla="*/ 772763 h 1057751"/>
                <a:gd name="connsiteX987" fmla="*/ 976122 w 1073848"/>
                <a:gd name="connsiteY987" fmla="*/ 761714 h 1057751"/>
                <a:gd name="connsiteX988" fmla="*/ 977265 w 1073848"/>
                <a:gd name="connsiteY988" fmla="*/ 758380 h 1057751"/>
                <a:gd name="connsiteX989" fmla="*/ 979075 w 1073848"/>
                <a:gd name="connsiteY989" fmla="*/ 759714 h 1057751"/>
                <a:gd name="connsiteX990" fmla="*/ 980027 w 1073848"/>
                <a:gd name="connsiteY990" fmla="*/ 754761 h 1057751"/>
                <a:gd name="connsiteX991" fmla="*/ 974503 w 1073848"/>
                <a:gd name="connsiteY991" fmla="*/ 749046 h 1057751"/>
                <a:gd name="connsiteX992" fmla="*/ 970693 w 1073848"/>
                <a:gd name="connsiteY992" fmla="*/ 744760 h 1057751"/>
                <a:gd name="connsiteX993" fmla="*/ 966025 w 1073848"/>
                <a:gd name="connsiteY993" fmla="*/ 745331 h 1057751"/>
                <a:gd name="connsiteX994" fmla="*/ 959263 w 1073848"/>
                <a:gd name="connsiteY994" fmla="*/ 743045 h 1057751"/>
                <a:gd name="connsiteX995" fmla="*/ 954500 w 1073848"/>
                <a:gd name="connsiteY995" fmla="*/ 743617 h 1057751"/>
                <a:gd name="connsiteX996" fmla="*/ 950976 w 1073848"/>
                <a:gd name="connsiteY996" fmla="*/ 740855 h 1057751"/>
                <a:gd name="connsiteX997" fmla="*/ 954691 w 1073848"/>
                <a:gd name="connsiteY997" fmla="*/ 732377 h 1057751"/>
                <a:gd name="connsiteX998" fmla="*/ 952309 w 1073848"/>
                <a:gd name="connsiteY998" fmla="*/ 726281 h 1057751"/>
                <a:gd name="connsiteX999" fmla="*/ 954881 w 1073848"/>
                <a:gd name="connsiteY999" fmla="*/ 721138 h 1057751"/>
                <a:gd name="connsiteX1000" fmla="*/ 959548 w 1073848"/>
                <a:gd name="connsiteY1000" fmla="*/ 707708 h 1057751"/>
                <a:gd name="connsiteX1001" fmla="*/ 963739 w 1073848"/>
                <a:gd name="connsiteY1001" fmla="*/ 702374 h 1057751"/>
                <a:gd name="connsiteX1002" fmla="*/ 963073 w 1073848"/>
                <a:gd name="connsiteY1002" fmla="*/ 697611 h 1057751"/>
                <a:gd name="connsiteX1003" fmla="*/ 965835 w 1073848"/>
                <a:gd name="connsiteY1003" fmla="*/ 694087 h 1057751"/>
                <a:gd name="connsiteX1004" fmla="*/ 967454 w 1073848"/>
                <a:gd name="connsiteY1004" fmla="*/ 693896 h 1057751"/>
                <a:gd name="connsiteX1005" fmla="*/ 973741 w 1073848"/>
                <a:gd name="connsiteY1005" fmla="*/ 693039 h 1057751"/>
                <a:gd name="connsiteX1006" fmla="*/ 975741 w 1073848"/>
                <a:gd name="connsiteY1006" fmla="*/ 695992 h 1057751"/>
                <a:gd name="connsiteX1007" fmla="*/ 978884 w 1073848"/>
                <a:gd name="connsiteY1007" fmla="*/ 695611 h 1057751"/>
                <a:gd name="connsiteX1008" fmla="*/ 980218 w 1073848"/>
                <a:gd name="connsiteY1008" fmla="*/ 693801 h 1057751"/>
                <a:gd name="connsiteX1009" fmla="*/ 984790 w 1073848"/>
                <a:gd name="connsiteY1009" fmla="*/ 691610 h 1057751"/>
                <a:gd name="connsiteX1010" fmla="*/ 986123 w 1073848"/>
                <a:gd name="connsiteY1010" fmla="*/ 689896 h 1057751"/>
                <a:gd name="connsiteX1011" fmla="*/ 989362 w 1073848"/>
                <a:gd name="connsiteY1011" fmla="*/ 689420 h 1057751"/>
                <a:gd name="connsiteX1012" fmla="*/ 988314 w 1073848"/>
                <a:gd name="connsiteY1012" fmla="*/ 681609 h 1057751"/>
                <a:gd name="connsiteX1013" fmla="*/ 981361 w 1073848"/>
                <a:gd name="connsiteY1013" fmla="*/ 677609 h 1057751"/>
                <a:gd name="connsiteX1014" fmla="*/ 982408 w 1073848"/>
                <a:gd name="connsiteY1014" fmla="*/ 672751 h 1057751"/>
                <a:gd name="connsiteX1015" fmla="*/ 979075 w 1073848"/>
                <a:gd name="connsiteY1015" fmla="*/ 671513 h 1057751"/>
                <a:gd name="connsiteX1016" fmla="*/ 978789 w 1073848"/>
                <a:gd name="connsiteY1016" fmla="*/ 669988 h 1057751"/>
                <a:gd name="connsiteX1017" fmla="*/ 969359 w 1073848"/>
                <a:gd name="connsiteY1017" fmla="*/ 671132 h 1057751"/>
                <a:gd name="connsiteX1018" fmla="*/ 967168 w 1073848"/>
                <a:gd name="connsiteY1018" fmla="*/ 666655 h 1057751"/>
                <a:gd name="connsiteX1019" fmla="*/ 966121 w 1073848"/>
                <a:gd name="connsiteY1019" fmla="*/ 658749 h 1057751"/>
                <a:gd name="connsiteX1020" fmla="*/ 968312 w 1073848"/>
                <a:gd name="connsiteY1020" fmla="*/ 650462 h 1057751"/>
                <a:gd name="connsiteX1021" fmla="*/ 969740 w 1073848"/>
                <a:gd name="connsiteY1021" fmla="*/ 648653 h 1057751"/>
                <a:gd name="connsiteX1022" fmla="*/ 971455 w 1073848"/>
                <a:gd name="connsiteY1022" fmla="*/ 650081 h 1057751"/>
                <a:gd name="connsiteX1023" fmla="*/ 979170 w 1073848"/>
                <a:gd name="connsiteY1023" fmla="*/ 647509 h 1057751"/>
                <a:gd name="connsiteX1024" fmla="*/ 978789 w 1073848"/>
                <a:gd name="connsiteY1024" fmla="*/ 644271 h 1057751"/>
                <a:gd name="connsiteX1025" fmla="*/ 983742 w 1073848"/>
                <a:gd name="connsiteY1025" fmla="*/ 645319 h 1057751"/>
                <a:gd name="connsiteX1026" fmla="*/ 983456 w 1073848"/>
                <a:gd name="connsiteY1026" fmla="*/ 643700 h 1057751"/>
                <a:gd name="connsiteX1027" fmla="*/ 979932 w 1073848"/>
                <a:gd name="connsiteY1027" fmla="*/ 640937 h 1057751"/>
                <a:gd name="connsiteX1028" fmla="*/ 982694 w 1073848"/>
                <a:gd name="connsiteY1028" fmla="*/ 637413 h 1057751"/>
                <a:gd name="connsiteX1029" fmla="*/ 987457 w 1073848"/>
                <a:gd name="connsiteY1029" fmla="*/ 636746 h 1057751"/>
                <a:gd name="connsiteX1030" fmla="*/ 990219 w 1073848"/>
                <a:gd name="connsiteY1030" fmla="*/ 633222 h 1057751"/>
                <a:gd name="connsiteX1031" fmla="*/ 989552 w 1073848"/>
                <a:gd name="connsiteY1031" fmla="*/ 628459 h 1057751"/>
                <a:gd name="connsiteX1032" fmla="*/ 992505 w 1073848"/>
                <a:gd name="connsiteY1032" fmla="*/ 626555 h 1057751"/>
                <a:gd name="connsiteX1033" fmla="*/ 988600 w 1073848"/>
                <a:gd name="connsiteY1033" fmla="*/ 620554 h 1057751"/>
                <a:gd name="connsiteX1034" fmla="*/ 989933 w 1073848"/>
                <a:gd name="connsiteY1034" fmla="*/ 618839 h 1057751"/>
                <a:gd name="connsiteX1035" fmla="*/ 989743 w 1073848"/>
                <a:gd name="connsiteY1035" fmla="*/ 617220 h 1057751"/>
                <a:gd name="connsiteX1036" fmla="*/ 989171 w 1073848"/>
                <a:gd name="connsiteY1036" fmla="*/ 612553 h 1057751"/>
                <a:gd name="connsiteX1037" fmla="*/ 990695 w 1073848"/>
                <a:gd name="connsiteY1037" fmla="*/ 612267 h 1057751"/>
                <a:gd name="connsiteX1038" fmla="*/ 998601 w 1073848"/>
                <a:gd name="connsiteY1038" fmla="*/ 611314 h 1057751"/>
                <a:gd name="connsiteX1039" fmla="*/ 1002982 w 1073848"/>
                <a:gd name="connsiteY1039" fmla="*/ 607505 h 1057751"/>
                <a:gd name="connsiteX1040" fmla="*/ 1006316 w 1073848"/>
                <a:gd name="connsiteY1040" fmla="*/ 608743 h 1057751"/>
                <a:gd name="connsiteX1041" fmla="*/ 1017937 w 1073848"/>
                <a:gd name="connsiteY1041" fmla="*/ 599218 h 1057751"/>
                <a:gd name="connsiteX1042" fmla="*/ 1020699 w 1073848"/>
                <a:gd name="connsiteY1042" fmla="*/ 595693 h 1057751"/>
                <a:gd name="connsiteX1043" fmla="*/ 1020032 w 1073848"/>
                <a:gd name="connsiteY1043" fmla="*/ 590931 h 1057751"/>
                <a:gd name="connsiteX1044" fmla="*/ 1021461 w 1073848"/>
                <a:gd name="connsiteY1044" fmla="*/ 589121 h 1057751"/>
                <a:gd name="connsiteX1045" fmla="*/ 1027747 w 1073848"/>
                <a:gd name="connsiteY1045" fmla="*/ 588359 h 1057751"/>
                <a:gd name="connsiteX1046" fmla="*/ 1028605 w 1073848"/>
                <a:gd name="connsiteY1046" fmla="*/ 594646 h 1057751"/>
                <a:gd name="connsiteX1047" fmla="*/ 1031938 w 1073848"/>
                <a:gd name="connsiteY1047" fmla="*/ 595789 h 1057751"/>
                <a:gd name="connsiteX1048" fmla="*/ 1031748 w 1073848"/>
                <a:gd name="connsiteY1048" fmla="*/ 594265 h 1057751"/>
                <a:gd name="connsiteX1049" fmla="*/ 1035844 w 1073848"/>
                <a:gd name="connsiteY1049" fmla="*/ 588931 h 1057751"/>
                <a:gd name="connsiteX1050" fmla="*/ 1035653 w 1073848"/>
                <a:gd name="connsiteY1050" fmla="*/ 587312 h 1057751"/>
                <a:gd name="connsiteX1051" fmla="*/ 1040416 w 1073848"/>
                <a:gd name="connsiteY1051" fmla="*/ 586740 h 1057751"/>
                <a:gd name="connsiteX1052" fmla="*/ 1047655 w 1073848"/>
                <a:gd name="connsiteY1052" fmla="*/ 581025 h 1057751"/>
                <a:gd name="connsiteX1053" fmla="*/ 1048893 w 1073848"/>
                <a:gd name="connsiteY1053" fmla="*/ 577691 h 1057751"/>
                <a:gd name="connsiteX1054" fmla="*/ 1055180 w 1073848"/>
                <a:gd name="connsiteY1054" fmla="*/ 576834 h 1057751"/>
                <a:gd name="connsiteX1055" fmla="*/ 1056132 w 1073848"/>
                <a:gd name="connsiteY1055" fmla="*/ 571881 h 1057751"/>
                <a:gd name="connsiteX1056" fmla="*/ 1052798 w 1073848"/>
                <a:gd name="connsiteY1056" fmla="*/ 570738 h 1057751"/>
                <a:gd name="connsiteX1057" fmla="*/ 1056132 w 1073848"/>
                <a:gd name="connsiteY1057" fmla="*/ 571881 h 1057751"/>
                <a:gd name="connsiteX1058" fmla="*/ 1052417 w 1073848"/>
                <a:gd name="connsiteY1058" fmla="*/ 567595 h 1057751"/>
                <a:gd name="connsiteX1059" fmla="*/ 1052227 w 1073848"/>
                <a:gd name="connsiteY1059" fmla="*/ 565976 h 1057751"/>
                <a:gd name="connsiteX1060" fmla="*/ 1046416 w 1073848"/>
                <a:gd name="connsiteY1060" fmla="*/ 558737 h 1057751"/>
                <a:gd name="connsiteX1061" fmla="*/ 1051941 w 1073848"/>
                <a:gd name="connsiteY1061" fmla="*/ 551593 h 1057751"/>
                <a:gd name="connsiteX1062" fmla="*/ 1048798 w 1073848"/>
                <a:gd name="connsiteY1062" fmla="*/ 551974 h 1057751"/>
                <a:gd name="connsiteX1063" fmla="*/ 1045845 w 1073848"/>
                <a:gd name="connsiteY1063" fmla="*/ 541115 h 1057751"/>
                <a:gd name="connsiteX1064" fmla="*/ 1045559 w 1073848"/>
                <a:gd name="connsiteY1064" fmla="*/ 539591 h 1057751"/>
                <a:gd name="connsiteX1065" fmla="*/ 1048988 w 1073848"/>
                <a:gd name="connsiteY1065" fmla="*/ 540734 h 1057751"/>
                <a:gd name="connsiteX1066" fmla="*/ 1048322 w 1073848"/>
                <a:gd name="connsiteY1066" fmla="*/ 535972 h 1057751"/>
                <a:gd name="connsiteX1067" fmla="*/ 1050512 w 1073848"/>
                <a:gd name="connsiteY1067" fmla="*/ 527685 h 1057751"/>
                <a:gd name="connsiteX1068" fmla="*/ 1049750 w 1073848"/>
                <a:gd name="connsiteY1068" fmla="*/ 521399 h 1057751"/>
                <a:gd name="connsiteX1069" fmla="*/ 1050893 w 1073848"/>
                <a:gd name="connsiteY1069" fmla="*/ 518065 h 1057751"/>
                <a:gd name="connsiteX1070" fmla="*/ 1053656 w 1073848"/>
                <a:gd name="connsiteY1070" fmla="*/ 514445 h 1057751"/>
                <a:gd name="connsiteX1071" fmla="*/ 1052798 w 1073848"/>
                <a:gd name="connsiteY1071" fmla="*/ 508159 h 1057751"/>
                <a:gd name="connsiteX1072" fmla="*/ 1046893 w 1073848"/>
                <a:gd name="connsiteY1072" fmla="*/ 512159 h 1057751"/>
                <a:gd name="connsiteX1073" fmla="*/ 1043559 w 1073848"/>
                <a:gd name="connsiteY1073" fmla="*/ 510921 h 1057751"/>
                <a:gd name="connsiteX1074" fmla="*/ 1041368 w 1073848"/>
                <a:gd name="connsiteY1074" fmla="*/ 506444 h 1057751"/>
                <a:gd name="connsiteX1075" fmla="*/ 1045750 w 1073848"/>
                <a:gd name="connsiteY1075" fmla="*/ 502634 h 1057751"/>
                <a:gd name="connsiteX1076" fmla="*/ 1042130 w 1073848"/>
                <a:gd name="connsiteY1076" fmla="*/ 499872 h 1057751"/>
                <a:gd name="connsiteX1077" fmla="*/ 1043368 w 1073848"/>
                <a:gd name="connsiteY1077" fmla="*/ 496538 h 1057751"/>
                <a:gd name="connsiteX1078" fmla="*/ 1046131 w 1073848"/>
                <a:gd name="connsiteY1078" fmla="*/ 493014 h 1057751"/>
                <a:gd name="connsiteX1079" fmla="*/ 1038415 w 1073848"/>
                <a:gd name="connsiteY1079" fmla="*/ 482727 h 1057751"/>
                <a:gd name="connsiteX1080" fmla="*/ 1039178 w 1073848"/>
                <a:gd name="connsiteY1080" fmla="*/ 476250 h 1057751"/>
                <a:gd name="connsiteX1081" fmla="*/ 1041654 w 1073848"/>
                <a:gd name="connsiteY1081" fmla="*/ 471107 h 1057751"/>
                <a:gd name="connsiteX1082" fmla="*/ 1047559 w 1073848"/>
                <a:gd name="connsiteY1082" fmla="*/ 467106 h 1057751"/>
                <a:gd name="connsiteX1083" fmla="*/ 1049941 w 1073848"/>
                <a:gd name="connsiteY1083" fmla="*/ 460438 h 1057751"/>
                <a:gd name="connsiteX1084" fmla="*/ 1044226 w 1073848"/>
                <a:gd name="connsiteY1084" fmla="*/ 453104 h 1057751"/>
                <a:gd name="connsiteX1085" fmla="*/ 1054703 w 1073848"/>
                <a:gd name="connsiteY1085" fmla="*/ 447008 h 1057751"/>
                <a:gd name="connsiteX1086" fmla="*/ 1055465 w 1073848"/>
                <a:gd name="connsiteY1086" fmla="*/ 440436 h 1057751"/>
                <a:gd name="connsiteX1087" fmla="*/ 1048893 w 1073848"/>
                <a:gd name="connsiteY1087" fmla="*/ 439674 h 1057751"/>
                <a:gd name="connsiteX1088" fmla="*/ 1046893 w 1073848"/>
                <a:gd name="connsiteY1088" fmla="*/ 436721 h 1057751"/>
                <a:gd name="connsiteX1089" fmla="*/ 1046512 w 1073848"/>
                <a:gd name="connsiteY1089" fmla="*/ 433578 h 1057751"/>
                <a:gd name="connsiteX1090" fmla="*/ 1050893 w 1073848"/>
                <a:gd name="connsiteY1090" fmla="*/ 429863 h 1057751"/>
                <a:gd name="connsiteX1091" fmla="*/ 1045940 w 1073848"/>
                <a:gd name="connsiteY1091" fmla="*/ 428911 h 1057751"/>
                <a:gd name="connsiteX1092" fmla="*/ 1044797 w 1073848"/>
                <a:gd name="connsiteY1092" fmla="*/ 432245 h 1057751"/>
                <a:gd name="connsiteX1093" fmla="*/ 1042988 w 1073848"/>
                <a:gd name="connsiteY1093" fmla="*/ 430816 h 1057751"/>
                <a:gd name="connsiteX1094" fmla="*/ 1036034 w 1073848"/>
                <a:gd name="connsiteY1094" fmla="*/ 426911 h 1057751"/>
                <a:gd name="connsiteX1095" fmla="*/ 1033843 w 1073848"/>
                <a:gd name="connsiteY1095" fmla="*/ 422338 h 1057751"/>
                <a:gd name="connsiteX1096" fmla="*/ 1035082 w 1073848"/>
                <a:gd name="connsiteY1096" fmla="*/ 419005 h 1057751"/>
                <a:gd name="connsiteX1097" fmla="*/ 1034891 w 1073848"/>
                <a:gd name="connsiteY1097" fmla="*/ 417481 h 1057751"/>
                <a:gd name="connsiteX1098" fmla="*/ 1029557 w 1073848"/>
                <a:gd name="connsiteY1098" fmla="*/ 413290 h 1057751"/>
                <a:gd name="connsiteX1099" fmla="*/ 1030891 w 1073848"/>
                <a:gd name="connsiteY1099" fmla="*/ 411575 h 1057751"/>
                <a:gd name="connsiteX1100" fmla="*/ 1037177 w 1073848"/>
                <a:gd name="connsiteY1100" fmla="*/ 410718 h 1057751"/>
                <a:gd name="connsiteX1101" fmla="*/ 1039178 w 1073848"/>
                <a:gd name="connsiteY1101" fmla="*/ 413671 h 1057751"/>
                <a:gd name="connsiteX1102" fmla="*/ 1043559 w 1073848"/>
                <a:gd name="connsiteY1102" fmla="*/ 422720 h 1057751"/>
                <a:gd name="connsiteX1103" fmla="*/ 1051274 w 1073848"/>
                <a:gd name="connsiteY1103" fmla="*/ 420148 h 1057751"/>
                <a:gd name="connsiteX1104" fmla="*/ 1054037 w 1073848"/>
                <a:gd name="connsiteY1104" fmla="*/ 416624 h 1057751"/>
                <a:gd name="connsiteX1105" fmla="*/ 1053560 w 1073848"/>
                <a:gd name="connsiteY1105" fmla="*/ 413480 h 1057751"/>
                <a:gd name="connsiteX1106" fmla="*/ 1059466 w 1073848"/>
                <a:gd name="connsiteY1106" fmla="*/ 409480 h 1057751"/>
                <a:gd name="connsiteX1107" fmla="*/ 1063276 w 1073848"/>
                <a:gd name="connsiteY1107" fmla="*/ 401003 h 1057751"/>
                <a:gd name="connsiteX1108" fmla="*/ 1067943 w 1073848"/>
                <a:gd name="connsiteY1108" fmla="*/ 400431 h 1057751"/>
                <a:gd name="connsiteX1109" fmla="*/ 1073848 w 1073848"/>
                <a:gd name="connsiteY1109" fmla="*/ 383572 h 1057751"/>
                <a:gd name="connsiteX1110" fmla="*/ 1072801 w 1073848"/>
                <a:gd name="connsiteY1110" fmla="*/ 375761 h 1057751"/>
                <a:gd name="connsiteX1111" fmla="*/ 1072801 w 1073848"/>
                <a:gd name="connsiteY1111" fmla="*/ 375761 h 1057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</a:cxnLst>
              <a:rect l="l" t="t" r="r" b="b"/>
              <a:pathLst>
                <a:path w="1073848" h="1057751">
                  <a:moveTo>
                    <a:pt x="1072801" y="375761"/>
                  </a:moveTo>
                  <a:lnTo>
                    <a:pt x="1068705" y="368237"/>
                  </a:lnTo>
                  <a:lnTo>
                    <a:pt x="1057180" y="366522"/>
                  </a:lnTo>
                  <a:lnTo>
                    <a:pt x="1056989" y="364903"/>
                  </a:lnTo>
                  <a:lnTo>
                    <a:pt x="1052322" y="365474"/>
                  </a:lnTo>
                  <a:lnTo>
                    <a:pt x="1050322" y="362521"/>
                  </a:lnTo>
                  <a:lnTo>
                    <a:pt x="1048512" y="361188"/>
                  </a:lnTo>
                  <a:lnTo>
                    <a:pt x="1046797" y="359759"/>
                  </a:lnTo>
                  <a:lnTo>
                    <a:pt x="1045178" y="360045"/>
                  </a:lnTo>
                  <a:lnTo>
                    <a:pt x="1044607" y="355283"/>
                  </a:lnTo>
                  <a:lnTo>
                    <a:pt x="1041178" y="354139"/>
                  </a:lnTo>
                  <a:lnTo>
                    <a:pt x="1042416" y="350711"/>
                  </a:lnTo>
                  <a:lnTo>
                    <a:pt x="1048703" y="349949"/>
                  </a:lnTo>
                  <a:lnTo>
                    <a:pt x="1049846" y="346615"/>
                  </a:lnTo>
                  <a:lnTo>
                    <a:pt x="1053846" y="339662"/>
                  </a:lnTo>
                  <a:lnTo>
                    <a:pt x="1052989" y="333375"/>
                  </a:lnTo>
                  <a:lnTo>
                    <a:pt x="1054608" y="333184"/>
                  </a:lnTo>
                  <a:lnTo>
                    <a:pt x="1055941" y="331375"/>
                  </a:lnTo>
                  <a:lnTo>
                    <a:pt x="1054798" y="321850"/>
                  </a:lnTo>
                  <a:lnTo>
                    <a:pt x="1052798" y="318897"/>
                  </a:lnTo>
                  <a:lnTo>
                    <a:pt x="1043083" y="305753"/>
                  </a:lnTo>
                  <a:lnTo>
                    <a:pt x="1042511" y="300990"/>
                  </a:lnTo>
                  <a:lnTo>
                    <a:pt x="1036987" y="295275"/>
                  </a:lnTo>
                  <a:lnTo>
                    <a:pt x="1030605" y="296132"/>
                  </a:lnTo>
                  <a:lnTo>
                    <a:pt x="1024890" y="288798"/>
                  </a:lnTo>
                  <a:lnTo>
                    <a:pt x="1022509" y="282702"/>
                  </a:lnTo>
                  <a:lnTo>
                    <a:pt x="1015746" y="280321"/>
                  </a:lnTo>
                  <a:lnTo>
                    <a:pt x="1009459" y="281178"/>
                  </a:lnTo>
                  <a:lnTo>
                    <a:pt x="1000601" y="274225"/>
                  </a:lnTo>
                  <a:lnTo>
                    <a:pt x="997648" y="276225"/>
                  </a:lnTo>
                  <a:lnTo>
                    <a:pt x="990505" y="270700"/>
                  </a:lnTo>
                  <a:lnTo>
                    <a:pt x="987933" y="275844"/>
                  </a:lnTo>
                  <a:lnTo>
                    <a:pt x="984790" y="276320"/>
                  </a:lnTo>
                  <a:lnTo>
                    <a:pt x="979837" y="275272"/>
                  </a:lnTo>
                  <a:lnTo>
                    <a:pt x="977455" y="269176"/>
                  </a:lnTo>
                  <a:lnTo>
                    <a:pt x="973931" y="266414"/>
                  </a:lnTo>
                  <a:lnTo>
                    <a:pt x="967168" y="264128"/>
                  </a:lnTo>
                  <a:lnTo>
                    <a:pt x="969169" y="254222"/>
                  </a:lnTo>
                  <a:lnTo>
                    <a:pt x="964025" y="251650"/>
                  </a:lnTo>
                  <a:lnTo>
                    <a:pt x="958310" y="244412"/>
                  </a:lnTo>
                  <a:lnTo>
                    <a:pt x="948595" y="231172"/>
                  </a:lnTo>
                  <a:lnTo>
                    <a:pt x="944785" y="226886"/>
                  </a:lnTo>
                  <a:lnTo>
                    <a:pt x="936498" y="224695"/>
                  </a:lnTo>
                  <a:lnTo>
                    <a:pt x="929640" y="220789"/>
                  </a:lnTo>
                  <a:lnTo>
                    <a:pt x="928211" y="222504"/>
                  </a:lnTo>
                  <a:lnTo>
                    <a:pt x="926497" y="221171"/>
                  </a:lnTo>
                  <a:lnTo>
                    <a:pt x="921734" y="221742"/>
                  </a:lnTo>
                  <a:lnTo>
                    <a:pt x="921353" y="218599"/>
                  </a:lnTo>
                  <a:lnTo>
                    <a:pt x="916019" y="214503"/>
                  </a:lnTo>
                  <a:lnTo>
                    <a:pt x="913638" y="208407"/>
                  </a:lnTo>
                  <a:lnTo>
                    <a:pt x="910495" y="208788"/>
                  </a:lnTo>
                  <a:lnTo>
                    <a:pt x="909447" y="213741"/>
                  </a:lnTo>
                  <a:lnTo>
                    <a:pt x="906304" y="214122"/>
                  </a:lnTo>
                  <a:lnTo>
                    <a:pt x="899160" y="208597"/>
                  </a:lnTo>
                  <a:lnTo>
                    <a:pt x="895445" y="204311"/>
                  </a:lnTo>
                  <a:lnTo>
                    <a:pt x="889159" y="205073"/>
                  </a:lnTo>
                  <a:lnTo>
                    <a:pt x="884777" y="208883"/>
                  </a:lnTo>
                  <a:lnTo>
                    <a:pt x="881443" y="207645"/>
                  </a:lnTo>
                  <a:lnTo>
                    <a:pt x="882587" y="204311"/>
                  </a:lnTo>
                  <a:lnTo>
                    <a:pt x="878681" y="198406"/>
                  </a:lnTo>
                  <a:lnTo>
                    <a:pt x="874871" y="194024"/>
                  </a:lnTo>
                  <a:lnTo>
                    <a:pt x="866013" y="200025"/>
                  </a:lnTo>
                  <a:lnTo>
                    <a:pt x="856202" y="198025"/>
                  </a:lnTo>
                  <a:lnTo>
                    <a:pt x="856393" y="199644"/>
                  </a:lnTo>
                  <a:lnTo>
                    <a:pt x="852964" y="198501"/>
                  </a:lnTo>
                  <a:lnTo>
                    <a:pt x="848868" y="203835"/>
                  </a:lnTo>
                  <a:lnTo>
                    <a:pt x="843343" y="198120"/>
                  </a:lnTo>
                  <a:lnTo>
                    <a:pt x="839914" y="184118"/>
                  </a:lnTo>
                  <a:lnTo>
                    <a:pt x="834390" y="178403"/>
                  </a:lnTo>
                  <a:lnTo>
                    <a:pt x="834199" y="176784"/>
                  </a:lnTo>
                  <a:lnTo>
                    <a:pt x="830675" y="174022"/>
                  </a:lnTo>
                  <a:lnTo>
                    <a:pt x="826865" y="169736"/>
                  </a:lnTo>
                  <a:lnTo>
                    <a:pt x="825341" y="169926"/>
                  </a:lnTo>
                  <a:lnTo>
                    <a:pt x="820198" y="167354"/>
                  </a:lnTo>
                  <a:lnTo>
                    <a:pt x="817055" y="167735"/>
                  </a:lnTo>
                  <a:lnTo>
                    <a:pt x="813625" y="166592"/>
                  </a:lnTo>
                  <a:lnTo>
                    <a:pt x="811054" y="171736"/>
                  </a:lnTo>
                  <a:lnTo>
                    <a:pt x="809339" y="170307"/>
                  </a:lnTo>
                  <a:lnTo>
                    <a:pt x="802576" y="168021"/>
                  </a:lnTo>
                  <a:lnTo>
                    <a:pt x="800576" y="165068"/>
                  </a:lnTo>
                  <a:lnTo>
                    <a:pt x="795909" y="165640"/>
                  </a:lnTo>
                  <a:lnTo>
                    <a:pt x="790956" y="164687"/>
                  </a:lnTo>
                  <a:lnTo>
                    <a:pt x="781907" y="156210"/>
                  </a:lnTo>
                  <a:lnTo>
                    <a:pt x="781240" y="151447"/>
                  </a:lnTo>
                  <a:lnTo>
                    <a:pt x="782860" y="151257"/>
                  </a:lnTo>
                  <a:lnTo>
                    <a:pt x="780669" y="146780"/>
                  </a:lnTo>
                  <a:lnTo>
                    <a:pt x="782003" y="144971"/>
                  </a:lnTo>
                  <a:lnTo>
                    <a:pt x="783241" y="141637"/>
                  </a:lnTo>
                  <a:lnTo>
                    <a:pt x="780288" y="143542"/>
                  </a:lnTo>
                  <a:lnTo>
                    <a:pt x="778288" y="140589"/>
                  </a:lnTo>
                  <a:lnTo>
                    <a:pt x="773525" y="141256"/>
                  </a:lnTo>
                  <a:lnTo>
                    <a:pt x="772763" y="147733"/>
                  </a:lnTo>
                  <a:lnTo>
                    <a:pt x="757047" y="162592"/>
                  </a:lnTo>
                  <a:lnTo>
                    <a:pt x="755047" y="172403"/>
                  </a:lnTo>
                  <a:lnTo>
                    <a:pt x="757809" y="181737"/>
                  </a:lnTo>
                  <a:lnTo>
                    <a:pt x="756285" y="181928"/>
                  </a:lnTo>
                  <a:lnTo>
                    <a:pt x="754856" y="183737"/>
                  </a:lnTo>
                  <a:lnTo>
                    <a:pt x="743426" y="181928"/>
                  </a:lnTo>
                  <a:lnTo>
                    <a:pt x="748379" y="195739"/>
                  </a:lnTo>
                  <a:lnTo>
                    <a:pt x="740759" y="198311"/>
                  </a:lnTo>
                  <a:lnTo>
                    <a:pt x="740950" y="199930"/>
                  </a:lnTo>
                  <a:lnTo>
                    <a:pt x="736187" y="200501"/>
                  </a:lnTo>
                  <a:lnTo>
                    <a:pt x="731044" y="197929"/>
                  </a:lnTo>
                  <a:lnTo>
                    <a:pt x="726281" y="198596"/>
                  </a:lnTo>
                  <a:lnTo>
                    <a:pt x="723329" y="200501"/>
                  </a:lnTo>
                  <a:lnTo>
                    <a:pt x="720185" y="200978"/>
                  </a:lnTo>
                  <a:lnTo>
                    <a:pt x="710946" y="190881"/>
                  </a:lnTo>
                  <a:lnTo>
                    <a:pt x="709136" y="189547"/>
                  </a:lnTo>
                  <a:lnTo>
                    <a:pt x="708946" y="187928"/>
                  </a:lnTo>
                  <a:lnTo>
                    <a:pt x="703993" y="186976"/>
                  </a:lnTo>
                  <a:lnTo>
                    <a:pt x="693515" y="180308"/>
                  </a:lnTo>
                  <a:lnTo>
                    <a:pt x="685609" y="181261"/>
                  </a:lnTo>
                  <a:lnTo>
                    <a:pt x="674941" y="173069"/>
                  </a:lnTo>
                  <a:lnTo>
                    <a:pt x="676084" y="169640"/>
                  </a:lnTo>
                  <a:lnTo>
                    <a:pt x="670370" y="162401"/>
                  </a:lnTo>
                  <a:lnTo>
                    <a:pt x="676847" y="150304"/>
                  </a:lnTo>
                  <a:lnTo>
                    <a:pt x="681418" y="148114"/>
                  </a:lnTo>
                  <a:lnTo>
                    <a:pt x="681323" y="135350"/>
                  </a:lnTo>
                  <a:lnTo>
                    <a:pt x="677037" y="139065"/>
                  </a:lnTo>
                  <a:lnTo>
                    <a:pt x="671131" y="143066"/>
                  </a:lnTo>
                  <a:lnTo>
                    <a:pt x="668941" y="138493"/>
                  </a:lnTo>
                  <a:lnTo>
                    <a:pt x="657511" y="136779"/>
                  </a:lnTo>
                  <a:lnTo>
                    <a:pt x="651129" y="124778"/>
                  </a:lnTo>
                  <a:lnTo>
                    <a:pt x="647986" y="125158"/>
                  </a:lnTo>
                  <a:lnTo>
                    <a:pt x="647795" y="123539"/>
                  </a:lnTo>
                  <a:lnTo>
                    <a:pt x="642652" y="121063"/>
                  </a:lnTo>
                  <a:lnTo>
                    <a:pt x="640651" y="118015"/>
                  </a:lnTo>
                  <a:lnTo>
                    <a:pt x="636175" y="120205"/>
                  </a:lnTo>
                  <a:lnTo>
                    <a:pt x="632365" y="115919"/>
                  </a:lnTo>
                  <a:lnTo>
                    <a:pt x="629412" y="117920"/>
                  </a:lnTo>
                  <a:lnTo>
                    <a:pt x="629603" y="119443"/>
                  </a:lnTo>
                  <a:lnTo>
                    <a:pt x="627888" y="118110"/>
                  </a:lnTo>
                  <a:lnTo>
                    <a:pt x="623506" y="121825"/>
                  </a:lnTo>
                  <a:lnTo>
                    <a:pt x="620363" y="122301"/>
                  </a:lnTo>
                  <a:lnTo>
                    <a:pt x="618363" y="119253"/>
                  </a:lnTo>
                  <a:lnTo>
                    <a:pt x="618934" y="111252"/>
                  </a:lnTo>
                  <a:lnTo>
                    <a:pt x="617411" y="111442"/>
                  </a:lnTo>
                  <a:lnTo>
                    <a:pt x="620744" y="99727"/>
                  </a:lnTo>
                  <a:lnTo>
                    <a:pt x="623030" y="93059"/>
                  </a:lnTo>
                  <a:lnTo>
                    <a:pt x="618363" y="93631"/>
                  </a:lnTo>
                  <a:lnTo>
                    <a:pt x="618744" y="96774"/>
                  </a:lnTo>
                  <a:lnTo>
                    <a:pt x="613600" y="94202"/>
                  </a:lnTo>
                  <a:lnTo>
                    <a:pt x="608838" y="94869"/>
                  </a:lnTo>
                  <a:lnTo>
                    <a:pt x="603504" y="90678"/>
                  </a:lnTo>
                  <a:lnTo>
                    <a:pt x="594074" y="91916"/>
                  </a:lnTo>
                  <a:lnTo>
                    <a:pt x="594265" y="93536"/>
                  </a:lnTo>
                  <a:lnTo>
                    <a:pt x="585788" y="89821"/>
                  </a:lnTo>
                  <a:lnTo>
                    <a:pt x="587121" y="88011"/>
                  </a:lnTo>
                  <a:lnTo>
                    <a:pt x="584930" y="83439"/>
                  </a:lnTo>
                  <a:lnTo>
                    <a:pt x="583216" y="82105"/>
                  </a:lnTo>
                  <a:lnTo>
                    <a:pt x="580263" y="84106"/>
                  </a:lnTo>
                  <a:lnTo>
                    <a:pt x="579977" y="82487"/>
                  </a:lnTo>
                  <a:lnTo>
                    <a:pt x="578453" y="82677"/>
                  </a:lnTo>
                  <a:lnTo>
                    <a:pt x="576643" y="81343"/>
                  </a:lnTo>
                  <a:lnTo>
                    <a:pt x="578263" y="81153"/>
                  </a:lnTo>
                  <a:lnTo>
                    <a:pt x="579406" y="77724"/>
                  </a:lnTo>
                  <a:lnTo>
                    <a:pt x="577882" y="77914"/>
                  </a:lnTo>
                  <a:lnTo>
                    <a:pt x="576072" y="76581"/>
                  </a:lnTo>
                  <a:lnTo>
                    <a:pt x="574453" y="76771"/>
                  </a:lnTo>
                  <a:lnTo>
                    <a:pt x="573691" y="70485"/>
                  </a:lnTo>
                  <a:lnTo>
                    <a:pt x="570357" y="69247"/>
                  </a:lnTo>
                  <a:lnTo>
                    <a:pt x="571500" y="65913"/>
                  </a:lnTo>
                  <a:lnTo>
                    <a:pt x="567404" y="71247"/>
                  </a:lnTo>
                  <a:lnTo>
                    <a:pt x="562451" y="70295"/>
                  </a:lnTo>
                  <a:lnTo>
                    <a:pt x="561880" y="65532"/>
                  </a:lnTo>
                  <a:lnTo>
                    <a:pt x="557498" y="69342"/>
                  </a:lnTo>
                  <a:lnTo>
                    <a:pt x="553688" y="64961"/>
                  </a:lnTo>
                  <a:lnTo>
                    <a:pt x="553307" y="61817"/>
                  </a:lnTo>
                  <a:lnTo>
                    <a:pt x="556450" y="61436"/>
                  </a:lnTo>
                  <a:lnTo>
                    <a:pt x="554546" y="58483"/>
                  </a:lnTo>
                  <a:lnTo>
                    <a:pt x="546640" y="59531"/>
                  </a:lnTo>
                  <a:lnTo>
                    <a:pt x="546449" y="57912"/>
                  </a:lnTo>
                  <a:lnTo>
                    <a:pt x="543306" y="58293"/>
                  </a:lnTo>
                  <a:lnTo>
                    <a:pt x="541496" y="56959"/>
                  </a:lnTo>
                  <a:lnTo>
                    <a:pt x="537496" y="51054"/>
                  </a:lnTo>
                  <a:lnTo>
                    <a:pt x="534733" y="54578"/>
                  </a:lnTo>
                  <a:lnTo>
                    <a:pt x="534162" y="62675"/>
                  </a:lnTo>
                  <a:lnTo>
                    <a:pt x="527875" y="63437"/>
                  </a:lnTo>
                  <a:lnTo>
                    <a:pt x="526066" y="62103"/>
                  </a:lnTo>
                  <a:lnTo>
                    <a:pt x="524732" y="63913"/>
                  </a:lnTo>
                  <a:lnTo>
                    <a:pt x="520541" y="56388"/>
                  </a:lnTo>
                  <a:lnTo>
                    <a:pt x="521780" y="53054"/>
                  </a:lnTo>
                  <a:lnTo>
                    <a:pt x="515398" y="53816"/>
                  </a:lnTo>
                  <a:lnTo>
                    <a:pt x="515874" y="56959"/>
                  </a:lnTo>
                  <a:lnTo>
                    <a:pt x="511112" y="57626"/>
                  </a:lnTo>
                  <a:lnTo>
                    <a:pt x="511302" y="59150"/>
                  </a:lnTo>
                  <a:lnTo>
                    <a:pt x="508159" y="59531"/>
                  </a:lnTo>
                  <a:lnTo>
                    <a:pt x="507968" y="58007"/>
                  </a:lnTo>
                  <a:lnTo>
                    <a:pt x="501587" y="58769"/>
                  </a:lnTo>
                  <a:lnTo>
                    <a:pt x="498253" y="57626"/>
                  </a:lnTo>
                  <a:lnTo>
                    <a:pt x="495300" y="59626"/>
                  </a:lnTo>
                  <a:lnTo>
                    <a:pt x="493300" y="56674"/>
                  </a:lnTo>
                  <a:lnTo>
                    <a:pt x="490538" y="60198"/>
                  </a:lnTo>
                  <a:lnTo>
                    <a:pt x="490156" y="57055"/>
                  </a:lnTo>
                  <a:lnTo>
                    <a:pt x="489204" y="62008"/>
                  </a:lnTo>
                  <a:lnTo>
                    <a:pt x="487204" y="59055"/>
                  </a:lnTo>
                  <a:lnTo>
                    <a:pt x="489966" y="55436"/>
                  </a:lnTo>
                  <a:lnTo>
                    <a:pt x="487775" y="50959"/>
                  </a:lnTo>
                  <a:lnTo>
                    <a:pt x="489204" y="49149"/>
                  </a:lnTo>
                  <a:lnTo>
                    <a:pt x="486061" y="49530"/>
                  </a:lnTo>
                  <a:lnTo>
                    <a:pt x="484251" y="48196"/>
                  </a:lnTo>
                  <a:lnTo>
                    <a:pt x="481108" y="48578"/>
                  </a:lnTo>
                  <a:lnTo>
                    <a:pt x="477298" y="44291"/>
                  </a:lnTo>
                  <a:lnTo>
                    <a:pt x="477107" y="42672"/>
                  </a:lnTo>
                  <a:lnTo>
                    <a:pt x="478060" y="37719"/>
                  </a:lnTo>
                  <a:lnTo>
                    <a:pt x="471773" y="38576"/>
                  </a:lnTo>
                  <a:lnTo>
                    <a:pt x="469773" y="35624"/>
                  </a:lnTo>
                  <a:lnTo>
                    <a:pt x="469392" y="32480"/>
                  </a:lnTo>
                  <a:lnTo>
                    <a:pt x="464630" y="33052"/>
                  </a:lnTo>
                  <a:lnTo>
                    <a:pt x="455390" y="22955"/>
                  </a:lnTo>
                  <a:lnTo>
                    <a:pt x="448818" y="22193"/>
                  </a:lnTo>
                  <a:lnTo>
                    <a:pt x="445294" y="19431"/>
                  </a:lnTo>
                  <a:lnTo>
                    <a:pt x="441579" y="15145"/>
                  </a:lnTo>
                  <a:lnTo>
                    <a:pt x="437769" y="10763"/>
                  </a:lnTo>
                  <a:lnTo>
                    <a:pt x="432625" y="8287"/>
                  </a:lnTo>
                  <a:lnTo>
                    <a:pt x="421957" y="0"/>
                  </a:lnTo>
                  <a:lnTo>
                    <a:pt x="420624" y="1810"/>
                  </a:lnTo>
                  <a:lnTo>
                    <a:pt x="421386" y="8096"/>
                  </a:lnTo>
                  <a:lnTo>
                    <a:pt x="417290" y="13430"/>
                  </a:lnTo>
                  <a:lnTo>
                    <a:pt x="413480" y="9049"/>
                  </a:lnTo>
                  <a:lnTo>
                    <a:pt x="405860" y="11716"/>
                  </a:lnTo>
                  <a:lnTo>
                    <a:pt x="406051" y="13240"/>
                  </a:lnTo>
                  <a:lnTo>
                    <a:pt x="407765" y="14668"/>
                  </a:lnTo>
                  <a:lnTo>
                    <a:pt x="406241" y="14859"/>
                  </a:lnTo>
                  <a:lnTo>
                    <a:pt x="406813" y="19526"/>
                  </a:lnTo>
                  <a:lnTo>
                    <a:pt x="402336" y="21717"/>
                  </a:lnTo>
                  <a:lnTo>
                    <a:pt x="399097" y="22193"/>
                  </a:lnTo>
                  <a:lnTo>
                    <a:pt x="399574" y="25337"/>
                  </a:lnTo>
                  <a:lnTo>
                    <a:pt x="397955" y="25527"/>
                  </a:lnTo>
                  <a:lnTo>
                    <a:pt x="393954" y="19621"/>
                  </a:lnTo>
                  <a:lnTo>
                    <a:pt x="388906" y="17050"/>
                  </a:lnTo>
                  <a:lnTo>
                    <a:pt x="385953" y="19050"/>
                  </a:lnTo>
                  <a:lnTo>
                    <a:pt x="376047" y="29908"/>
                  </a:lnTo>
                  <a:lnTo>
                    <a:pt x="376428" y="33052"/>
                  </a:lnTo>
                  <a:lnTo>
                    <a:pt x="371570" y="32099"/>
                  </a:lnTo>
                  <a:lnTo>
                    <a:pt x="368998" y="37243"/>
                  </a:lnTo>
                  <a:lnTo>
                    <a:pt x="365093" y="44101"/>
                  </a:lnTo>
                  <a:lnTo>
                    <a:pt x="365665" y="48863"/>
                  </a:lnTo>
                  <a:lnTo>
                    <a:pt x="367665" y="51816"/>
                  </a:lnTo>
                  <a:lnTo>
                    <a:pt x="372332" y="51245"/>
                  </a:lnTo>
                  <a:lnTo>
                    <a:pt x="375475" y="50768"/>
                  </a:lnTo>
                  <a:lnTo>
                    <a:pt x="374523" y="55721"/>
                  </a:lnTo>
                  <a:lnTo>
                    <a:pt x="378142" y="58483"/>
                  </a:lnTo>
                  <a:lnTo>
                    <a:pt x="377095" y="63437"/>
                  </a:lnTo>
                  <a:lnTo>
                    <a:pt x="382238" y="66008"/>
                  </a:lnTo>
                  <a:lnTo>
                    <a:pt x="379285" y="68008"/>
                  </a:lnTo>
                  <a:lnTo>
                    <a:pt x="379762" y="71152"/>
                  </a:lnTo>
                  <a:lnTo>
                    <a:pt x="376999" y="74676"/>
                  </a:lnTo>
                  <a:lnTo>
                    <a:pt x="373761" y="75057"/>
                  </a:lnTo>
                  <a:lnTo>
                    <a:pt x="371094" y="78676"/>
                  </a:lnTo>
                  <a:lnTo>
                    <a:pt x="371284" y="80200"/>
                  </a:lnTo>
                  <a:lnTo>
                    <a:pt x="367665" y="77438"/>
                  </a:lnTo>
                  <a:lnTo>
                    <a:pt x="366141" y="77629"/>
                  </a:lnTo>
                  <a:lnTo>
                    <a:pt x="364331" y="76295"/>
                  </a:lnTo>
                  <a:lnTo>
                    <a:pt x="359759" y="78486"/>
                  </a:lnTo>
                  <a:lnTo>
                    <a:pt x="352711" y="72962"/>
                  </a:lnTo>
                  <a:lnTo>
                    <a:pt x="353282" y="77724"/>
                  </a:lnTo>
                  <a:lnTo>
                    <a:pt x="350139" y="78105"/>
                  </a:lnTo>
                  <a:lnTo>
                    <a:pt x="346615" y="75343"/>
                  </a:lnTo>
                  <a:lnTo>
                    <a:pt x="345757" y="69056"/>
                  </a:lnTo>
                  <a:lnTo>
                    <a:pt x="344424" y="70771"/>
                  </a:lnTo>
                  <a:lnTo>
                    <a:pt x="342614" y="69437"/>
                  </a:lnTo>
                  <a:lnTo>
                    <a:pt x="340233" y="76200"/>
                  </a:lnTo>
                  <a:lnTo>
                    <a:pt x="336137" y="81534"/>
                  </a:lnTo>
                  <a:lnTo>
                    <a:pt x="333756" y="88201"/>
                  </a:lnTo>
                  <a:lnTo>
                    <a:pt x="335566" y="89630"/>
                  </a:lnTo>
                  <a:lnTo>
                    <a:pt x="332803" y="93154"/>
                  </a:lnTo>
                  <a:lnTo>
                    <a:pt x="333565" y="99441"/>
                  </a:lnTo>
                  <a:lnTo>
                    <a:pt x="332041" y="99632"/>
                  </a:lnTo>
                  <a:lnTo>
                    <a:pt x="331470" y="94964"/>
                  </a:lnTo>
                  <a:lnTo>
                    <a:pt x="326517" y="93917"/>
                  </a:lnTo>
                  <a:lnTo>
                    <a:pt x="319564" y="102870"/>
                  </a:lnTo>
                  <a:lnTo>
                    <a:pt x="310896" y="97536"/>
                  </a:lnTo>
                  <a:lnTo>
                    <a:pt x="303466" y="101727"/>
                  </a:lnTo>
                  <a:lnTo>
                    <a:pt x="296323" y="109061"/>
                  </a:lnTo>
                  <a:lnTo>
                    <a:pt x="294513" y="107633"/>
                  </a:lnTo>
                  <a:lnTo>
                    <a:pt x="293180" y="109442"/>
                  </a:lnTo>
                  <a:lnTo>
                    <a:pt x="288226" y="108395"/>
                  </a:lnTo>
                  <a:lnTo>
                    <a:pt x="285083" y="108871"/>
                  </a:lnTo>
                  <a:lnTo>
                    <a:pt x="284702" y="105728"/>
                  </a:lnTo>
                  <a:lnTo>
                    <a:pt x="283750" y="110585"/>
                  </a:lnTo>
                  <a:lnTo>
                    <a:pt x="283559" y="109061"/>
                  </a:lnTo>
                  <a:lnTo>
                    <a:pt x="280321" y="109442"/>
                  </a:lnTo>
                  <a:lnTo>
                    <a:pt x="275653" y="110014"/>
                  </a:lnTo>
                  <a:lnTo>
                    <a:pt x="274891" y="116586"/>
                  </a:lnTo>
                  <a:lnTo>
                    <a:pt x="271272" y="113824"/>
                  </a:lnTo>
                  <a:lnTo>
                    <a:pt x="269938" y="115633"/>
                  </a:lnTo>
                  <a:lnTo>
                    <a:pt x="272129" y="120110"/>
                  </a:lnTo>
                  <a:lnTo>
                    <a:pt x="264414" y="122682"/>
                  </a:lnTo>
                  <a:lnTo>
                    <a:pt x="264223" y="121158"/>
                  </a:lnTo>
                  <a:lnTo>
                    <a:pt x="261461" y="124682"/>
                  </a:lnTo>
                  <a:lnTo>
                    <a:pt x="259461" y="121729"/>
                  </a:lnTo>
                  <a:lnTo>
                    <a:pt x="256508" y="123730"/>
                  </a:lnTo>
                  <a:lnTo>
                    <a:pt x="256318" y="122111"/>
                  </a:lnTo>
                  <a:lnTo>
                    <a:pt x="250031" y="122968"/>
                  </a:lnTo>
                  <a:lnTo>
                    <a:pt x="249841" y="121349"/>
                  </a:lnTo>
                  <a:lnTo>
                    <a:pt x="255270" y="114205"/>
                  </a:lnTo>
                  <a:lnTo>
                    <a:pt x="253365" y="111252"/>
                  </a:lnTo>
                  <a:lnTo>
                    <a:pt x="250126" y="111728"/>
                  </a:lnTo>
                  <a:lnTo>
                    <a:pt x="247459" y="115253"/>
                  </a:lnTo>
                  <a:lnTo>
                    <a:pt x="244030" y="114109"/>
                  </a:lnTo>
                  <a:lnTo>
                    <a:pt x="241459" y="119253"/>
                  </a:lnTo>
                  <a:lnTo>
                    <a:pt x="236791" y="119825"/>
                  </a:lnTo>
                  <a:lnTo>
                    <a:pt x="234982" y="118396"/>
                  </a:lnTo>
                  <a:lnTo>
                    <a:pt x="231076" y="125349"/>
                  </a:lnTo>
                  <a:lnTo>
                    <a:pt x="229457" y="125539"/>
                  </a:lnTo>
                  <a:lnTo>
                    <a:pt x="229934" y="128683"/>
                  </a:lnTo>
                  <a:lnTo>
                    <a:pt x="233267" y="129921"/>
                  </a:lnTo>
                  <a:lnTo>
                    <a:pt x="231838" y="131636"/>
                  </a:lnTo>
                  <a:lnTo>
                    <a:pt x="233839" y="134588"/>
                  </a:lnTo>
                  <a:lnTo>
                    <a:pt x="226314" y="138779"/>
                  </a:lnTo>
                  <a:lnTo>
                    <a:pt x="227552" y="148209"/>
                  </a:lnTo>
                  <a:lnTo>
                    <a:pt x="228409" y="154591"/>
                  </a:lnTo>
                  <a:lnTo>
                    <a:pt x="214598" y="159544"/>
                  </a:lnTo>
                  <a:lnTo>
                    <a:pt x="216503" y="162496"/>
                  </a:lnTo>
                  <a:lnTo>
                    <a:pt x="211264" y="171164"/>
                  </a:lnTo>
                  <a:lnTo>
                    <a:pt x="209645" y="171355"/>
                  </a:lnTo>
                  <a:lnTo>
                    <a:pt x="209264" y="168212"/>
                  </a:lnTo>
                  <a:lnTo>
                    <a:pt x="207931" y="170021"/>
                  </a:lnTo>
                  <a:lnTo>
                    <a:pt x="207931" y="170021"/>
                  </a:lnTo>
                  <a:lnTo>
                    <a:pt x="204692" y="170402"/>
                  </a:lnTo>
                  <a:lnTo>
                    <a:pt x="206502" y="171736"/>
                  </a:lnTo>
                  <a:lnTo>
                    <a:pt x="203359" y="172212"/>
                  </a:lnTo>
                  <a:lnTo>
                    <a:pt x="205359" y="175165"/>
                  </a:lnTo>
                  <a:lnTo>
                    <a:pt x="202597" y="178689"/>
                  </a:lnTo>
                  <a:lnTo>
                    <a:pt x="201644" y="183642"/>
                  </a:lnTo>
                  <a:lnTo>
                    <a:pt x="200406" y="186976"/>
                  </a:lnTo>
                  <a:lnTo>
                    <a:pt x="202597" y="191548"/>
                  </a:lnTo>
                  <a:lnTo>
                    <a:pt x="200692" y="201359"/>
                  </a:lnTo>
                  <a:lnTo>
                    <a:pt x="202882" y="205930"/>
                  </a:lnTo>
                  <a:lnTo>
                    <a:pt x="201835" y="210884"/>
                  </a:lnTo>
                  <a:lnTo>
                    <a:pt x="205454" y="213646"/>
                  </a:lnTo>
                  <a:lnTo>
                    <a:pt x="203835" y="213836"/>
                  </a:lnTo>
                  <a:lnTo>
                    <a:pt x="206407" y="221551"/>
                  </a:lnTo>
                  <a:lnTo>
                    <a:pt x="209550" y="221075"/>
                  </a:lnTo>
                  <a:lnTo>
                    <a:pt x="213550" y="214217"/>
                  </a:lnTo>
                  <a:lnTo>
                    <a:pt x="221456" y="226028"/>
                  </a:lnTo>
                  <a:lnTo>
                    <a:pt x="229171" y="223457"/>
                  </a:lnTo>
                  <a:lnTo>
                    <a:pt x="240411" y="223552"/>
                  </a:lnTo>
                  <a:lnTo>
                    <a:pt x="239363" y="228505"/>
                  </a:lnTo>
                  <a:lnTo>
                    <a:pt x="243745" y="237554"/>
                  </a:lnTo>
                  <a:lnTo>
                    <a:pt x="251460" y="247841"/>
                  </a:lnTo>
                  <a:lnTo>
                    <a:pt x="252127" y="252603"/>
                  </a:lnTo>
                  <a:lnTo>
                    <a:pt x="249174" y="254508"/>
                  </a:lnTo>
                  <a:lnTo>
                    <a:pt x="247936" y="257937"/>
                  </a:lnTo>
                  <a:lnTo>
                    <a:pt x="251746" y="262223"/>
                  </a:lnTo>
                  <a:lnTo>
                    <a:pt x="248031" y="270700"/>
                  </a:lnTo>
                  <a:lnTo>
                    <a:pt x="244411" y="267938"/>
                  </a:lnTo>
                  <a:lnTo>
                    <a:pt x="245078" y="272701"/>
                  </a:lnTo>
                  <a:lnTo>
                    <a:pt x="243268" y="271367"/>
                  </a:lnTo>
                  <a:lnTo>
                    <a:pt x="243459" y="272891"/>
                  </a:lnTo>
                  <a:lnTo>
                    <a:pt x="241840" y="273082"/>
                  </a:lnTo>
                  <a:lnTo>
                    <a:pt x="237553" y="276892"/>
                  </a:lnTo>
                  <a:lnTo>
                    <a:pt x="238125" y="281654"/>
                  </a:lnTo>
                  <a:lnTo>
                    <a:pt x="232029" y="284036"/>
                  </a:lnTo>
                  <a:lnTo>
                    <a:pt x="231838" y="282416"/>
                  </a:lnTo>
                  <a:lnTo>
                    <a:pt x="228695" y="282797"/>
                  </a:lnTo>
                  <a:lnTo>
                    <a:pt x="224123" y="284988"/>
                  </a:lnTo>
                  <a:lnTo>
                    <a:pt x="222123" y="282035"/>
                  </a:lnTo>
                  <a:lnTo>
                    <a:pt x="219456" y="285559"/>
                  </a:lnTo>
                  <a:lnTo>
                    <a:pt x="216979" y="279463"/>
                  </a:lnTo>
                  <a:lnTo>
                    <a:pt x="210121" y="275558"/>
                  </a:lnTo>
                  <a:lnTo>
                    <a:pt x="208978" y="278892"/>
                  </a:lnTo>
                  <a:lnTo>
                    <a:pt x="204025" y="277939"/>
                  </a:lnTo>
                  <a:lnTo>
                    <a:pt x="204978" y="285845"/>
                  </a:lnTo>
                  <a:lnTo>
                    <a:pt x="204978" y="285845"/>
                  </a:lnTo>
                  <a:lnTo>
                    <a:pt x="202025" y="287846"/>
                  </a:lnTo>
                  <a:lnTo>
                    <a:pt x="198501" y="285083"/>
                  </a:lnTo>
                  <a:lnTo>
                    <a:pt x="199644" y="281750"/>
                  </a:lnTo>
                  <a:lnTo>
                    <a:pt x="194977" y="282321"/>
                  </a:lnTo>
                  <a:lnTo>
                    <a:pt x="195358" y="285464"/>
                  </a:lnTo>
                  <a:lnTo>
                    <a:pt x="198882" y="288226"/>
                  </a:lnTo>
                  <a:lnTo>
                    <a:pt x="197929" y="293180"/>
                  </a:lnTo>
                  <a:lnTo>
                    <a:pt x="193167" y="293751"/>
                  </a:lnTo>
                  <a:lnTo>
                    <a:pt x="193548" y="296894"/>
                  </a:lnTo>
                  <a:lnTo>
                    <a:pt x="192214" y="298704"/>
                  </a:lnTo>
                  <a:lnTo>
                    <a:pt x="191071" y="302038"/>
                  </a:lnTo>
                  <a:lnTo>
                    <a:pt x="192976" y="304991"/>
                  </a:lnTo>
                  <a:lnTo>
                    <a:pt x="191643" y="306800"/>
                  </a:lnTo>
                  <a:lnTo>
                    <a:pt x="191834" y="308324"/>
                  </a:lnTo>
                  <a:lnTo>
                    <a:pt x="183737" y="307753"/>
                  </a:lnTo>
                  <a:lnTo>
                    <a:pt x="183166" y="303086"/>
                  </a:lnTo>
                  <a:lnTo>
                    <a:pt x="180784" y="296989"/>
                  </a:lnTo>
                  <a:lnTo>
                    <a:pt x="173831" y="292989"/>
                  </a:lnTo>
                  <a:lnTo>
                    <a:pt x="174212" y="296132"/>
                  </a:lnTo>
                  <a:lnTo>
                    <a:pt x="172498" y="294799"/>
                  </a:lnTo>
                  <a:lnTo>
                    <a:pt x="172688" y="296323"/>
                  </a:lnTo>
                  <a:lnTo>
                    <a:pt x="169545" y="296799"/>
                  </a:lnTo>
                  <a:lnTo>
                    <a:pt x="164782" y="297371"/>
                  </a:lnTo>
                  <a:lnTo>
                    <a:pt x="162973" y="296037"/>
                  </a:lnTo>
                  <a:lnTo>
                    <a:pt x="160972" y="293084"/>
                  </a:lnTo>
                  <a:lnTo>
                    <a:pt x="160782" y="291465"/>
                  </a:lnTo>
                  <a:lnTo>
                    <a:pt x="156115" y="292037"/>
                  </a:lnTo>
                  <a:lnTo>
                    <a:pt x="157067" y="287179"/>
                  </a:lnTo>
                  <a:lnTo>
                    <a:pt x="158591" y="286893"/>
                  </a:lnTo>
                  <a:lnTo>
                    <a:pt x="160020" y="285179"/>
                  </a:lnTo>
                  <a:lnTo>
                    <a:pt x="155257" y="285750"/>
                  </a:lnTo>
                  <a:lnTo>
                    <a:pt x="154114" y="289084"/>
                  </a:lnTo>
                  <a:lnTo>
                    <a:pt x="152305" y="287750"/>
                  </a:lnTo>
                  <a:lnTo>
                    <a:pt x="149161" y="288131"/>
                  </a:lnTo>
                  <a:lnTo>
                    <a:pt x="150209" y="296037"/>
                  </a:lnTo>
                  <a:lnTo>
                    <a:pt x="145066" y="293465"/>
                  </a:lnTo>
                  <a:lnTo>
                    <a:pt x="137350" y="296037"/>
                  </a:lnTo>
                  <a:lnTo>
                    <a:pt x="135731" y="296228"/>
                  </a:lnTo>
                  <a:lnTo>
                    <a:pt x="136207" y="299371"/>
                  </a:lnTo>
                  <a:lnTo>
                    <a:pt x="132969" y="299847"/>
                  </a:lnTo>
                  <a:lnTo>
                    <a:pt x="129445" y="297085"/>
                  </a:lnTo>
                  <a:lnTo>
                    <a:pt x="128302" y="300418"/>
                  </a:lnTo>
                  <a:lnTo>
                    <a:pt x="125158" y="300800"/>
                  </a:lnTo>
                  <a:lnTo>
                    <a:pt x="121729" y="299657"/>
                  </a:lnTo>
                  <a:lnTo>
                    <a:pt x="115824" y="303562"/>
                  </a:lnTo>
                  <a:lnTo>
                    <a:pt x="108585" y="296513"/>
                  </a:lnTo>
                  <a:lnTo>
                    <a:pt x="104013" y="298704"/>
                  </a:lnTo>
                  <a:lnTo>
                    <a:pt x="101822" y="294132"/>
                  </a:lnTo>
                  <a:lnTo>
                    <a:pt x="95726" y="296513"/>
                  </a:lnTo>
                  <a:lnTo>
                    <a:pt x="94488" y="299942"/>
                  </a:lnTo>
                  <a:lnTo>
                    <a:pt x="92773" y="298513"/>
                  </a:lnTo>
                  <a:lnTo>
                    <a:pt x="91345" y="300323"/>
                  </a:lnTo>
                  <a:lnTo>
                    <a:pt x="89154" y="295751"/>
                  </a:lnTo>
                  <a:lnTo>
                    <a:pt x="87630" y="295942"/>
                  </a:lnTo>
                  <a:lnTo>
                    <a:pt x="87820" y="297561"/>
                  </a:lnTo>
                  <a:lnTo>
                    <a:pt x="82677" y="294989"/>
                  </a:lnTo>
                  <a:lnTo>
                    <a:pt x="84106" y="293275"/>
                  </a:lnTo>
                  <a:lnTo>
                    <a:pt x="78772" y="289084"/>
                  </a:lnTo>
                  <a:lnTo>
                    <a:pt x="78486" y="287560"/>
                  </a:lnTo>
                  <a:lnTo>
                    <a:pt x="66103" y="290703"/>
                  </a:lnTo>
                  <a:lnTo>
                    <a:pt x="59817" y="291465"/>
                  </a:lnTo>
                  <a:lnTo>
                    <a:pt x="54673" y="301752"/>
                  </a:lnTo>
                  <a:lnTo>
                    <a:pt x="58198" y="304514"/>
                  </a:lnTo>
                  <a:lnTo>
                    <a:pt x="63151" y="305467"/>
                  </a:lnTo>
                  <a:lnTo>
                    <a:pt x="67151" y="311372"/>
                  </a:lnTo>
                  <a:lnTo>
                    <a:pt x="65722" y="313182"/>
                  </a:lnTo>
                  <a:lnTo>
                    <a:pt x="67913" y="317754"/>
                  </a:lnTo>
                  <a:lnTo>
                    <a:pt x="66580" y="319468"/>
                  </a:lnTo>
                  <a:lnTo>
                    <a:pt x="60484" y="321850"/>
                  </a:lnTo>
                  <a:lnTo>
                    <a:pt x="48958" y="320135"/>
                  </a:lnTo>
                  <a:lnTo>
                    <a:pt x="46482" y="325279"/>
                  </a:lnTo>
                  <a:lnTo>
                    <a:pt x="39338" y="319754"/>
                  </a:lnTo>
                  <a:lnTo>
                    <a:pt x="34576" y="320421"/>
                  </a:lnTo>
                  <a:lnTo>
                    <a:pt x="31813" y="323945"/>
                  </a:lnTo>
                  <a:lnTo>
                    <a:pt x="32671" y="330232"/>
                  </a:lnTo>
                  <a:lnTo>
                    <a:pt x="31242" y="332042"/>
                  </a:lnTo>
                  <a:lnTo>
                    <a:pt x="29908" y="333756"/>
                  </a:lnTo>
                  <a:lnTo>
                    <a:pt x="33433" y="336518"/>
                  </a:lnTo>
                  <a:lnTo>
                    <a:pt x="37624" y="344043"/>
                  </a:lnTo>
                  <a:lnTo>
                    <a:pt x="34480" y="344424"/>
                  </a:lnTo>
                  <a:lnTo>
                    <a:pt x="29718" y="345091"/>
                  </a:lnTo>
                  <a:lnTo>
                    <a:pt x="28384" y="346805"/>
                  </a:lnTo>
                  <a:lnTo>
                    <a:pt x="29146" y="353187"/>
                  </a:lnTo>
                  <a:lnTo>
                    <a:pt x="25241" y="360045"/>
                  </a:lnTo>
                  <a:lnTo>
                    <a:pt x="26956" y="361474"/>
                  </a:lnTo>
                  <a:lnTo>
                    <a:pt x="30956" y="367379"/>
                  </a:lnTo>
                  <a:lnTo>
                    <a:pt x="33718" y="376618"/>
                  </a:lnTo>
                  <a:lnTo>
                    <a:pt x="37338" y="379381"/>
                  </a:lnTo>
                  <a:lnTo>
                    <a:pt x="36100" y="382714"/>
                  </a:lnTo>
                  <a:lnTo>
                    <a:pt x="31813" y="386525"/>
                  </a:lnTo>
                  <a:lnTo>
                    <a:pt x="23527" y="384334"/>
                  </a:lnTo>
                  <a:lnTo>
                    <a:pt x="20383" y="384715"/>
                  </a:lnTo>
                  <a:lnTo>
                    <a:pt x="16764" y="381953"/>
                  </a:lnTo>
                  <a:lnTo>
                    <a:pt x="17145" y="385096"/>
                  </a:lnTo>
                  <a:lnTo>
                    <a:pt x="12097" y="382619"/>
                  </a:lnTo>
                  <a:lnTo>
                    <a:pt x="9715" y="389287"/>
                  </a:lnTo>
                  <a:lnTo>
                    <a:pt x="8763" y="394240"/>
                  </a:lnTo>
                  <a:lnTo>
                    <a:pt x="15430" y="396621"/>
                  </a:lnTo>
                  <a:lnTo>
                    <a:pt x="17240" y="397955"/>
                  </a:lnTo>
                  <a:lnTo>
                    <a:pt x="19240" y="400907"/>
                  </a:lnTo>
                  <a:lnTo>
                    <a:pt x="19621" y="404050"/>
                  </a:lnTo>
                  <a:lnTo>
                    <a:pt x="26956" y="411194"/>
                  </a:lnTo>
                  <a:lnTo>
                    <a:pt x="25336" y="411385"/>
                  </a:lnTo>
                  <a:lnTo>
                    <a:pt x="25717" y="414528"/>
                  </a:lnTo>
                  <a:lnTo>
                    <a:pt x="27527" y="415862"/>
                  </a:lnTo>
                  <a:lnTo>
                    <a:pt x="26956" y="423958"/>
                  </a:lnTo>
                  <a:lnTo>
                    <a:pt x="29146" y="428530"/>
                  </a:lnTo>
                  <a:lnTo>
                    <a:pt x="26194" y="430530"/>
                  </a:lnTo>
                  <a:lnTo>
                    <a:pt x="23813" y="437197"/>
                  </a:lnTo>
                  <a:lnTo>
                    <a:pt x="20860" y="439198"/>
                  </a:lnTo>
                  <a:lnTo>
                    <a:pt x="19336" y="439388"/>
                  </a:lnTo>
                  <a:lnTo>
                    <a:pt x="21431" y="443960"/>
                  </a:lnTo>
                  <a:lnTo>
                    <a:pt x="24860" y="445103"/>
                  </a:lnTo>
                  <a:lnTo>
                    <a:pt x="25241" y="448246"/>
                  </a:lnTo>
                  <a:lnTo>
                    <a:pt x="23146" y="469392"/>
                  </a:lnTo>
                  <a:lnTo>
                    <a:pt x="18383" y="469963"/>
                  </a:lnTo>
                  <a:lnTo>
                    <a:pt x="15811" y="475107"/>
                  </a:lnTo>
                  <a:lnTo>
                    <a:pt x="15621" y="486346"/>
                  </a:lnTo>
                  <a:lnTo>
                    <a:pt x="11716" y="493300"/>
                  </a:lnTo>
                  <a:lnTo>
                    <a:pt x="8572" y="493681"/>
                  </a:lnTo>
                  <a:lnTo>
                    <a:pt x="7429" y="497014"/>
                  </a:lnTo>
                  <a:lnTo>
                    <a:pt x="7810" y="500158"/>
                  </a:lnTo>
                  <a:lnTo>
                    <a:pt x="12287" y="498062"/>
                  </a:lnTo>
                  <a:lnTo>
                    <a:pt x="13716" y="496253"/>
                  </a:lnTo>
                  <a:lnTo>
                    <a:pt x="16859" y="495871"/>
                  </a:lnTo>
                  <a:lnTo>
                    <a:pt x="14478" y="502539"/>
                  </a:lnTo>
                  <a:lnTo>
                    <a:pt x="11525" y="504539"/>
                  </a:lnTo>
                  <a:lnTo>
                    <a:pt x="12192" y="509302"/>
                  </a:lnTo>
                  <a:lnTo>
                    <a:pt x="9239" y="511207"/>
                  </a:lnTo>
                  <a:lnTo>
                    <a:pt x="10192" y="519113"/>
                  </a:lnTo>
                  <a:lnTo>
                    <a:pt x="9049" y="522446"/>
                  </a:lnTo>
                  <a:lnTo>
                    <a:pt x="9430" y="525685"/>
                  </a:lnTo>
                  <a:lnTo>
                    <a:pt x="8477" y="530543"/>
                  </a:lnTo>
                  <a:lnTo>
                    <a:pt x="5524" y="532543"/>
                  </a:lnTo>
                  <a:lnTo>
                    <a:pt x="2191" y="531400"/>
                  </a:lnTo>
                  <a:lnTo>
                    <a:pt x="1143" y="536353"/>
                  </a:lnTo>
                  <a:lnTo>
                    <a:pt x="4572" y="537496"/>
                  </a:lnTo>
                  <a:lnTo>
                    <a:pt x="1619" y="539496"/>
                  </a:lnTo>
                  <a:lnTo>
                    <a:pt x="381" y="542830"/>
                  </a:lnTo>
                  <a:lnTo>
                    <a:pt x="2381" y="545783"/>
                  </a:lnTo>
                  <a:lnTo>
                    <a:pt x="2762" y="548926"/>
                  </a:lnTo>
                  <a:lnTo>
                    <a:pt x="0" y="552545"/>
                  </a:lnTo>
                  <a:lnTo>
                    <a:pt x="2000" y="555498"/>
                  </a:lnTo>
                  <a:lnTo>
                    <a:pt x="3619" y="555308"/>
                  </a:lnTo>
                  <a:lnTo>
                    <a:pt x="12287" y="560546"/>
                  </a:lnTo>
                  <a:lnTo>
                    <a:pt x="20383" y="561118"/>
                  </a:lnTo>
                  <a:lnTo>
                    <a:pt x="24289" y="567023"/>
                  </a:lnTo>
                  <a:lnTo>
                    <a:pt x="25717" y="578072"/>
                  </a:lnTo>
                  <a:lnTo>
                    <a:pt x="30289" y="575882"/>
                  </a:lnTo>
                  <a:lnTo>
                    <a:pt x="29337" y="580834"/>
                  </a:lnTo>
                  <a:lnTo>
                    <a:pt x="25908" y="579692"/>
                  </a:lnTo>
                  <a:lnTo>
                    <a:pt x="22955" y="581692"/>
                  </a:lnTo>
                  <a:lnTo>
                    <a:pt x="19050" y="588550"/>
                  </a:lnTo>
                  <a:lnTo>
                    <a:pt x="17240" y="587216"/>
                  </a:lnTo>
                  <a:lnTo>
                    <a:pt x="17907" y="591979"/>
                  </a:lnTo>
                  <a:lnTo>
                    <a:pt x="13144" y="592550"/>
                  </a:lnTo>
                  <a:lnTo>
                    <a:pt x="13716" y="597313"/>
                  </a:lnTo>
                  <a:lnTo>
                    <a:pt x="10763" y="599218"/>
                  </a:lnTo>
                  <a:lnTo>
                    <a:pt x="11239" y="602361"/>
                  </a:lnTo>
                  <a:lnTo>
                    <a:pt x="13335" y="606933"/>
                  </a:lnTo>
                  <a:lnTo>
                    <a:pt x="20669" y="613982"/>
                  </a:lnTo>
                  <a:lnTo>
                    <a:pt x="27432" y="616363"/>
                  </a:lnTo>
                  <a:lnTo>
                    <a:pt x="27813" y="619506"/>
                  </a:lnTo>
                  <a:lnTo>
                    <a:pt x="24098" y="627983"/>
                  </a:lnTo>
                  <a:lnTo>
                    <a:pt x="30766" y="630364"/>
                  </a:lnTo>
                  <a:lnTo>
                    <a:pt x="39052" y="632555"/>
                  </a:lnTo>
                  <a:lnTo>
                    <a:pt x="39529" y="635699"/>
                  </a:lnTo>
                  <a:lnTo>
                    <a:pt x="42863" y="636842"/>
                  </a:lnTo>
                  <a:lnTo>
                    <a:pt x="41910" y="641795"/>
                  </a:lnTo>
                  <a:lnTo>
                    <a:pt x="45815" y="647700"/>
                  </a:lnTo>
                  <a:lnTo>
                    <a:pt x="47625" y="649129"/>
                  </a:lnTo>
                  <a:lnTo>
                    <a:pt x="50578" y="647129"/>
                  </a:lnTo>
                  <a:lnTo>
                    <a:pt x="57912" y="654177"/>
                  </a:lnTo>
                  <a:lnTo>
                    <a:pt x="61817" y="660083"/>
                  </a:lnTo>
                  <a:lnTo>
                    <a:pt x="62484" y="664845"/>
                  </a:lnTo>
                  <a:lnTo>
                    <a:pt x="64008" y="664655"/>
                  </a:lnTo>
                  <a:lnTo>
                    <a:pt x="64198" y="666179"/>
                  </a:lnTo>
                  <a:lnTo>
                    <a:pt x="72485" y="668369"/>
                  </a:lnTo>
                  <a:lnTo>
                    <a:pt x="80581" y="656082"/>
                  </a:lnTo>
                  <a:lnTo>
                    <a:pt x="85153" y="653891"/>
                  </a:lnTo>
                  <a:lnTo>
                    <a:pt x="89440" y="650176"/>
                  </a:lnTo>
                  <a:lnTo>
                    <a:pt x="92583" y="649796"/>
                  </a:lnTo>
                  <a:lnTo>
                    <a:pt x="94012" y="647986"/>
                  </a:lnTo>
                  <a:lnTo>
                    <a:pt x="99917" y="643985"/>
                  </a:lnTo>
                  <a:lnTo>
                    <a:pt x="101917" y="646938"/>
                  </a:lnTo>
                  <a:lnTo>
                    <a:pt x="103251" y="645224"/>
                  </a:lnTo>
                  <a:lnTo>
                    <a:pt x="102298" y="650176"/>
                  </a:lnTo>
                  <a:lnTo>
                    <a:pt x="107251" y="651129"/>
                  </a:lnTo>
                  <a:lnTo>
                    <a:pt x="111538" y="660178"/>
                  </a:lnTo>
                  <a:lnTo>
                    <a:pt x="113728" y="664750"/>
                  </a:lnTo>
                  <a:lnTo>
                    <a:pt x="122491" y="669988"/>
                  </a:lnTo>
                  <a:lnTo>
                    <a:pt x="121063" y="671798"/>
                  </a:lnTo>
                  <a:lnTo>
                    <a:pt x="126016" y="672751"/>
                  </a:lnTo>
                  <a:lnTo>
                    <a:pt x="127159" y="669417"/>
                  </a:lnTo>
                  <a:lnTo>
                    <a:pt x="128968" y="670751"/>
                  </a:lnTo>
                  <a:lnTo>
                    <a:pt x="137255" y="672941"/>
                  </a:lnTo>
                  <a:lnTo>
                    <a:pt x="152019" y="675894"/>
                  </a:lnTo>
                  <a:lnTo>
                    <a:pt x="151447" y="683990"/>
                  </a:lnTo>
                  <a:lnTo>
                    <a:pt x="147161" y="687705"/>
                  </a:lnTo>
                  <a:lnTo>
                    <a:pt x="151162" y="693611"/>
                  </a:lnTo>
                  <a:lnTo>
                    <a:pt x="150114" y="698563"/>
                  </a:lnTo>
                  <a:lnTo>
                    <a:pt x="137160" y="697039"/>
                  </a:lnTo>
                  <a:lnTo>
                    <a:pt x="133731" y="695801"/>
                  </a:lnTo>
                  <a:lnTo>
                    <a:pt x="132207" y="696087"/>
                  </a:lnTo>
                  <a:lnTo>
                    <a:pt x="136112" y="701993"/>
                  </a:lnTo>
                  <a:lnTo>
                    <a:pt x="142684" y="702755"/>
                  </a:lnTo>
                  <a:lnTo>
                    <a:pt x="148209" y="708470"/>
                  </a:lnTo>
                  <a:lnTo>
                    <a:pt x="153734" y="701326"/>
                  </a:lnTo>
                  <a:lnTo>
                    <a:pt x="163163" y="700088"/>
                  </a:lnTo>
                  <a:lnTo>
                    <a:pt x="166497" y="701326"/>
                  </a:lnTo>
                  <a:lnTo>
                    <a:pt x="168688" y="705803"/>
                  </a:lnTo>
                  <a:lnTo>
                    <a:pt x="171831" y="705422"/>
                  </a:lnTo>
                  <a:lnTo>
                    <a:pt x="174403" y="713137"/>
                  </a:lnTo>
                  <a:lnTo>
                    <a:pt x="176213" y="714470"/>
                  </a:lnTo>
                  <a:lnTo>
                    <a:pt x="176403" y="716089"/>
                  </a:lnTo>
                  <a:lnTo>
                    <a:pt x="175069" y="717804"/>
                  </a:lnTo>
                  <a:lnTo>
                    <a:pt x="177832" y="727138"/>
                  </a:lnTo>
                  <a:lnTo>
                    <a:pt x="176689" y="730472"/>
                  </a:lnTo>
                  <a:lnTo>
                    <a:pt x="184975" y="732568"/>
                  </a:lnTo>
                  <a:lnTo>
                    <a:pt x="191643" y="734949"/>
                  </a:lnTo>
                  <a:lnTo>
                    <a:pt x="194977" y="736187"/>
                  </a:lnTo>
                  <a:lnTo>
                    <a:pt x="204121" y="731806"/>
                  </a:lnTo>
                  <a:lnTo>
                    <a:pt x="213741" y="719328"/>
                  </a:lnTo>
                  <a:lnTo>
                    <a:pt x="213169" y="714566"/>
                  </a:lnTo>
                  <a:lnTo>
                    <a:pt x="218027" y="715613"/>
                  </a:lnTo>
                  <a:lnTo>
                    <a:pt x="224409" y="727615"/>
                  </a:lnTo>
                  <a:lnTo>
                    <a:pt x="225552" y="724186"/>
                  </a:lnTo>
                  <a:lnTo>
                    <a:pt x="231934" y="723424"/>
                  </a:lnTo>
                  <a:lnTo>
                    <a:pt x="240601" y="728758"/>
                  </a:lnTo>
                  <a:lnTo>
                    <a:pt x="243745" y="728377"/>
                  </a:lnTo>
                  <a:lnTo>
                    <a:pt x="248888" y="730853"/>
                  </a:lnTo>
                  <a:lnTo>
                    <a:pt x="250222" y="729139"/>
                  </a:lnTo>
                  <a:lnTo>
                    <a:pt x="260890" y="737330"/>
                  </a:lnTo>
                  <a:lnTo>
                    <a:pt x="258223" y="740950"/>
                  </a:lnTo>
                  <a:lnTo>
                    <a:pt x="259937" y="742283"/>
                  </a:lnTo>
                  <a:lnTo>
                    <a:pt x="257651" y="749046"/>
                  </a:lnTo>
                  <a:lnTo>
                    <a:pt x="262128" y="746855"/>
                  </a:lnTo>
                  <a:lnTo>
                    <a:pt x="261747" y="743712"/>
                  </a:lnTo>
                  <a:lnTo>
                    <a:pt x="266033" y="739902"/>
                  </a:lnTo>
                  <a:lnTo>
                    <a:pt x="269462" y="741140"/>
                  </a:lnTo>
                  <a:lnTo>
                    <a:pt x="271367" y="744093"/>
                  </a:lnTo>
                  <a:lnTo>
                    <a:pt x="275939" y="741902"/>
                  </a:lnTo>
                  <a:lnTo>
                    <a:pt x="280035" y="736568"/>
                  </a:lnTo>
                  <a:lnTo>
                    <a:pt x="286417" y="735711"/>
                  </a:lnTo>
                  <a:lnTo>
                    <a:pt x="295084" y="741045"/>
                  </a:lnTo>
                  <a:lnTo>
                    <a:pt x="301180" y="738664"/>
                  </a:lnTo>
                  <a:lnTo>
                    <a:pt x="300609" y="733901"/>
                  </a:lnTo>
                  <a:lnTo>
                    <a:pt x="305276" y="733330"/>
                  </a:lnTo>
                  <a:lnTo>
                    <a:pt x="307276" y="736283"/>
                  </a:lnTo>
                  <a:lnTo>
                    <a:pt x="310420" y="735901"/>
                  </a:lnTo>
                  <a:lnTo>
                    <a:pt x="313372" y="733901"/>
                  </a:lnTo>
                  <a:lnTo>
                    <a:pt x="320135" y="736283"/>
                  </a:lnTo>
                  <a:lnTo>
                    <a:pt x="323659" y="739045"/>
                  </a:lnTo>
                  <a:lnTo>
                    <a:pt x="323088" y="747046"/>
                  </a:lnTo>
                  <a:lnTo>
                    <a:pt x="324326" y="756571"/>
                  </a:lnTo>
                  <a:lnTo>
                    <a:pt x="326517" y="761047"/>
                  </a:lnTo>
                  <a:lnTo>
                    <a:pt x="325088" y="762857"/>
                  </a:lnTo>
                  <a:lnTo>
                    <a:pt x="328517" y="764000"/>
                  </a:lnTo>
                  <a:lnTo>
                    <a:pt x="324517" y="770954"/>
                  </a:lnTo>
                  <a:lnTo>
                    <a:pt x="324993" y="774097"/>
                  </a:lnTo>
                  <a:lnTo>
                    <a:pt x="320992" y="781050"/>
                  </a:lnTo>
                  <a:lnTo>
                    <a:pt x="321850" y="787337"/>
                  </a:lnTo>
                  <a:lnTo>
                    <a:pt x="321850" y="787337"/>
                  </a:lnTo>
                  <a:lnTo>
                    <a:pt x="317849" y="794290"/>
                  </a:lnTo>
                  <a:lnTo>
                    <a:pt x="321088" y="793813"/>
                  </a:lnTo>
                  <a:lnTo>
                    <a:pt x="324421" y="795052"/>
                  </a:lnTo>
                  <a:lnTo>
                    <a:pt x="324993" y="799814"/>
                  </a:lnTo>
                  <a:lnTo>
                    <a:pt x="327565" y="807434"/>
                  </a:lnTo>
                  <a:lnTo>
                    <a:pt x="329565" y="810387"/>
                  </a:lnTo>
                  <a:lnTo>
                    <a:pt x="332708" y="810006"/>
                  </a:lnTo>
                  <a:lnTo>
                    <a:pt x="330517" y="805434"/>
                  </a:lnTo>
                  <a:lnTo>
                    <a:pt x="333946" y="806672"/>
                  </a:lnTo>
                  <a:lnTo>
                    <a:pt x="335470" y="806482"/>
                  </a:lnTo>
                  <a:lnTo>
                    <a:pt x="334518" y="811435"/>
                  </a:lnTo>
                  <a:lnTo>
                    <a:pt x="341471" y="815340"/>
                  </a:lnTo>
                  <a:lnTo>
                    <a:pt x="342614" y="812006"/>
                  </a:lnTo>
                  <a:lnTo>
                    <a:pt x="346329" y="816293"/>
                  </a:lnTo>
                  <a:lnTo>
                    <a:pt x="348710" y="822388"/>
                  </a:lnTo>
                  <a:lnTo>
                    <a:pt x="347758" y="827342"/>
                  </a:lnTo>
                  <a:lnTo>
                    <a:pt x="354711" y="831247"/>
                  </a:lnTo>
                  <a:lnTo>
                    <a:pt x="357854" y="830866"/>
                  </a:lnTo>
                  <a:lnTo>
                    <a:pt x="359378" y="830675"/>
                  </a:lnTo>
                  <a:lnTo>
                    <a:pt x="366331" y="834580"/>
                  </a:lnTo>
                  <a:lnTo>
                    <a:pt x="370046" y="838962"/>
                  </a:lnTo>
                  <a:lnTo>
                    <a:pt x="378619" y="842677"/>
                  </a:lnTo>
                  <a:lnTo>
                    <a:pt x="377857" y="849154"/>
                  </a:lnTo>
                  <a:lnTo>
                    <a:pt x="379571" y="850583"/>
                  </a:lnTo>
                  <a:lnTo>
                    <a:pt x="382143" y="845439"/>
                  </a:lnTo>
                  <a:lnTo>
                    <a:pt x="384334" y="837152"/>
                  </a:lnTo>
                  <a:lnTo>
                    <a:pt x="385858" y="836962"/>
                  </a:lnTo>
                  <a:lnTo>
                    <a:pt x="387286" y="835152"/>
                  </a:lnTo>
                  <a:lnTo>
                    <a:pt x="390239" y="833152"/>
                  </a:lnTo>
                  <a:lnTo>
                    <a:pt x="393382" y="832771"/>
                  </a:lnTo>
                  <a:lnTo>
                    <a:pt x="396907" y="835533"/>
                  </a:lnTo>
                  <a:lnTo>
                    <a:pt x="404622" y="845725"/>
                  </a:lnTo>
                  <a:lnTo>
                    <a:pt x="406241" y="845534"/>
                  </a:lnTo>
                  <a:lnTo>
                    <a:pt x="408241" y="848487"/>
                  </a:lnTo>
                  <a:lnTo>
                    <a:pt x="409575" y="846772"/>
                  </a:lnTo>
                  <a:lnTo>
                    <a:pt x="412909" y="847916"/>
                  </a:lnTo>
                  <a:lnTo>
                    <a:pt x="412528" y="844772"/>
                  </a:lnTo>
                  <a:lnTo>
                    <a:pt x="423958" y="846487"/>
                  </a:lnTo>
                  <a:lnTo>
                    <a:pt x="430530" y="847249"/>
                  </a:lnTo>
                  <a:lnTo>
                    <a:pt x="435388" y="848201"/>
                  </a:lnTo>
                  <a:lnTo>
                    <a:pt x="442150" y="837819"/>
                  </a:lnTo>
                  <a:lnTo>
                    <a:pt x="443484" y="836009"/>
                  </a:lnTo>
                  <a:lnTo>
                    <a:pt x="451580" y="836581"/>
                  </a:lnTo>
                  <a:lnTo>
                    <a:pt x="455295" y="840867"/>
                  </a:lnTo>
                  <a:lnTo>
                    <a:pt x="455581" y="842486"/>
                  </a:lnTo>
                  <a:lnTo>
                    <a:pt x="460438" y="843439"/>
                  </a:lnTo>
                  <a:lnTo>
                    <a:pt x="463201" y="839914"/>
                  </a:lnTo>
                  <a:lnTo>
                    <a:pt x="459486" y="835533"/>
                  </a:lnTo>
                  <a:lnTo>
                    <a:pt x="460438" y="830675"/>
                  </a:lnTo>
                  <a:lnTo>
                    <a:pt x="463772" y="831818"/>
                  </a:lnTo>
                  <a:lnTo>
                    <a:pt x="466725" y="829818"/>
                  </a:lnTo>
                  <a:lnTo>
                    <a:pt x="473869" y="835343"/>
                  </a:lnTo>
                  <a:lnTo>
                    <a:pt x="473107" y="841820"/>
                  </a:lnTo>
                  <a:lnTo>
                    <a:pt x="475488" y="835152"/>
                  </a:lnTo>
                  <a:lnTo>
                    <a:pt x="482155" y="837438"/>
                  </a:lnTo>
                  <a:lnTo>
                    <a:pt x="483394" y="846963"/>
                  </a:lnTo>
                  <a:lnTo>
                    <a:pt x="485775" y="853059"/>
                  </a:lnTo>
                  <a:lnTo>
                    <a:pt x="483965" y="851726"/>
                  </a:lnTo>
                  <a:lnTo>
                    <a:pt x="476059" y="852678"/>
                  </a:lnTo>
                  <a:lnTo>
                    <a:pt x="474726" y="854488"/>
                  </a:lnTo>
                  <a:lnTo>
                    <a:pt x="478250" y="857250"/>
                  </a:lnTo>
                  <a:lnTo>
                    <a:pt x="487585" y="867251"/>
                  </a:lnTo>
                  <a:lnTo>
                    <a:pt x="488918" y="865442"/>
                  </a:lnTo>
                  <a:lnTo>
                    <a:pt x="487204" y="864108"/>
                  </a:lnTo>
                  <a:lnTo>
                    <a:pt x="490156" y="862108"/>
                  </a:lnTo>
                  <a:lnTo>
                    <a:pt x="498443" y="864299"/>
                  </a:lnTo>
                  <a:lnTo>
                    <a:pt x="500348" y="867251"/>
                  </a:lnTo>
                  <a:lnTo>
                    <a:pt x="495681" y="867823"/>
                  </a:lnTo>
                  <a:lnTo>
                    <a:pt x="492919" y="871347"/>
                  </a:lnTo>
                  <a:lnTo>
                    <a:pt x="507778" y="887159"/>
                  </a:lnTo>
                  <a:lnTo>
                    <a:pt x="499872" y="888111"/>
                  </a:lnTo>
                  <a:lnTo>
                    <a:pt x="503777" y="894017"/>
                  </a:lnTo>
                  <a:lnTo>
                    <a:pt x="504444" y="898779"/>
                  </a:lnTo>
                  <a:lnTo>
                    <a:pt x="501682" y="902399"/>
                  </a:lnTo>
                  <a:lnTo>
                    <a:pt x="495395" y="903161"/>
                  </a:lnTo>
                  <a:lnTo>
                    <a:pt x="493586" y="901827"/>
                  </a:lnTo>
                  <a:lnTo>
                    <a:pt x="492157" y="903542"/>
                  </a:lnTo>
                  <a:lnTo>
                    <a:pt x="490442" y="902208"/>
                  </a:lnTo>
                  <a:lnTo>
                    <a:pt x="482536" y="903161"/>
                  </a:lnTo>
                  <a:lnTo>
                    <a:pt x="472249" y="898112"/>
                  </a:lnTo>
                  <a:lnTo>
                    <a:pt x="471297" y="902970"/>
                  </a:lnTo>
                  <a:lnTo>
                    <a:pt x="475202" y="908971"/>
                  </a:lnTo>
                  <a:lnTo>
                    <a:pt x="474631" y="916972"/>
                  </a:lnTo>
                  <a:lnTo>
                    <a:pt x="471106" y="914305"/>
                  </a:lnTo>
                  <a:lnTo>
                    <a:pt x="463391" y="916876"/>
                  </a:lnTo>
                  <a:lnTo>
                    <a:pt x="465201" y="918210"/>
                  </a:lnTo>
                  <a:lnTo>
                    <a:pt x="467011" y="919639"/>
                  </a:lnTo>
                  <a:lnTo>
                    <a:pt x="466153" y="926116"/>
                  </a:lnTo>
                  <a:lnTo>
                    <a:pt x="471297" y="928688"/>
                  </a:lnTo>
                  <a:lnTo>
                    <a:pt x="469201" y="936974"/>
                  </a:lnTo>
                  <a:lnTo>
                    <a:pt x="463105" y="939355"/>
                  </a:lnTo>
                  <a:lnTo>
                    <a:pt x="455200" y="940308"/>
                  </a:lnTo>
                  <a:lnTo>
                    <a:pt x="454057" y="943737"/>
                  </a:lnTo>
                  <a:lnTo>
                    <a:pt x="455962" y="946690"/>
                  </a:lnTo>
                  <a:lnTo>
                    <a:pt x="454628" y="948404"/>
                  </a:lnTo>
                  <a:lnTo>
                    <a:pt x="457962" y="949643"/>
                  </a:lnTo>
                  <a:lnTo>
                    <a:pt x="455390" y="954786"/>
                  </a:lnTo>
                  <a:lnTo>
                    <a:pt x="457200" y="956120"/>
                  </a:lnTo>
                  <a:lnTo>
                    <a:pt x="454247" y="958120"/>
                  </a:lnTo>
                  <a:lnTo>
                    <a:pt x="453104" y="961454"/>
                  </a:lnTo>
                  <a:lnTo>
                    <a:pt x="448151" y="960501"/>
                  </a:lnTo>
                  <a:lnTo>
                    <a:pt x="449104" y="968407"/>
                  </a:lnTo>
                  <a:lnTo>
                    <a:pt x="447389" y="966978"/>
                  </a:lnTo>
                  <a:lnTo>
                    <a:pt x="443960" y="965835"/>
                  </a:lnTo>
                  <a:lnTo>
                    <a:pt x="442436" y="966026"/>
                  </a:lnTo>
                  <a:lnTo>
                    <a:pt x="441484" y="970979"/>
                  </a:lnTo>
                  <a:lnTo>
                    <a:pt x="438912" y="976122"/>
                  </a:lnTo>
                  <a:lnTo>
                    <a:pt x="434149" y="976693"/>
                  </a:lnTo>
                  <a:lnTo>
                    <a:pt x="428053" y="979075"/>
                  </a:lnTo>
                  <a:lnTo>
                    <a:pt x="430435" y="985171"/>
                  </a:lnTo>
                  <a:lnTo>
                    <a:pt x="426053" y="988981"/>
                  </a:lnTo>
                  <a:lnTo>
                    <a:pt x="430435" y="998030"/>
                  </a:lnTo>
                  <a:lnTo>
                    <a:pt x="432054" y="997839"/>
                  </a:lnTo>
                  <a:lnTo>
                    <a:pt x="433197" y="994505"/>
                  </a:lnTo>
                  <a:lnTo>
                    <a:pt x="437959" y="993838"/>
                  </a:lnTo>
                  <a:lnTo>
                    <a:pt x="441865" y="986980"/>
                  </a:lnTo>
                  <a:lnTo>
                    <a:pt x="448627" y="989267"/>
                  </a:lnTo>
                  <a:lnTo>
                    <a:pt x="451961" y="990505"/>
                  </a:lnTo>
                  <a:lnTo>
                    <a:pt x="454342" y="996601"/>
                  </a:lnTo>
                  <a:lnTo>
                    <a:pt x="452914" y="998411"/>
                  </a:lnTo>
                  <a:lnTo>
                    <a:pt x="452152" y="1004888"/>
                  </a:lnTo>
                  <a:lnTo>
                    <a:pt x="451199" y="1009841"/>
                  </a:lnTo>
                  <a:lnTo>
                    <a:pt x="453199" y="1012793"/>
                  </a:lnTo>
                  <a:lnTo>
                    <a:pt x="456724" y="1015555"/>
                  </a:lnTo>
                  <a:lnTo>
                    <a:pt x="467963" y="1015651"/>
                  </a:lnTo>
                  <a:lnTo>
                    <a:pt x="471106" y="1015270"/>
                  </a:lnTo>
                  <a:lnTo>
                    <a:pt x="483013" y="1020223"/>
                  </a:lnTo>
                  <a:lnTo>
                    <a:pt x="493300" y="1025271"/>
                  </a:lnTo>
                  <a:lnTo>
                    <a:pt x="492061" y="1028700"/>
                  </a:lnTo>
                  <a:lnTo>
                    <a:pt x="492538" y="1031843"/>
                  </a:lnTo>
                  <a:lnTo>
                    <a:pt x="489585" y="1033748"/>
                  </a:lnTo>
                  <a:lnTo>
                    <a:pt x="488347" y="1037177"/>
                  </a:lnTo>
                  <a:lnTo>
                    <a:pt x="497300" y="1044035"/>
                  </a:lnTo>
                  <a:lnTo>
                    <a:pt x="503206" y="1040035"/>
                  </a:lnTo>
                  <a:lnTo>
                    <a:pt x="500063" y="1040511"/>
                  </a:lnTo>
                  <a:lnTo>
                    <a:pt x="499586" y="1037368"/>
                  </a:lnTo>
                  <a:lnTo>
                    <a:pt x="496443" y="1037749"/>
                  </a:lnTo>
                  <a:lnTo>
                    <a:pt x="493109" y="1036511"/>
                  </a:lnTo>
                  <a:lnTo>
                    <a:pt x="499396" y="1035749"/>
                  </a:lnTo>
                  <a:lnTo>
                    <a:pt x="511492" y="1042226"/>
                  </a:lnTo>
                  <a:lnTo>
                    <a:pt x="508921" y="1034510"/>
                  </a:lnTo>
                  <a:lnTo>
                    <a:pt x="515017" y="1032129"/>
                  </a:lnTo>
                  <a:lnTo>
                    <a:pt x="518541" y="1034891"/>
                  </a:lnTo>
                  <a:lnTo>
                    <a:pt x="520732" y="1039463"/>
                  </a:lnTo>
                  <a:lnTo>
                    <a:pt x="524065" y="1040606"/>
                  </a:lnTo>
                  <a:lnTo>
                    <a:pt x="521780" y="1047369"/>
                  </a:lnTo>
                  <a:lnTo>
                    <a:pt x="523684" y="1050322"/>
                  </a:lnTo>
                  <a:lnTo>
                    <a:pt x="528828" y="1052893"/>
                  </a:lnTo>
                  <a:lnTo>
                    <a:pt x="531971" y="1052417"/>
                  </a:lnTo>
                  <a:lnTo>
                    <a:pt x="534924" y="1050417"/>
                  </a:lnTo>
                  <a:lnTo>
                    <a:pt x="537305" y="1056608"/>
                  </a:lnTo>
                  <a:lnTo>
                    <a:pt x="540734" y="1057751"/>
                  </a:lnTo>
                  <a:lnTo>
                    <a:pt x="543211" y="1052608"/>
                  </a:lnTo>
                  <a:lnTo>
                    <a:pt x="544449" y="1049274"/>
                  </a:lnTo>
                  <a:lnTo>
                    <a:pt x="542449" y="1046321"/>
                  </a:lnTo>
                  <a:lnTo>
                    <a:pt x="548735" y="1045464"/>
                  </a:lnTo>
                  <a:lnTo>
                    <a:pt x="548164" y="1040797"/>
                  </a:lnTo>
                  <a:lnTo>
                    <a:pt x="552736" y="1038606"/>
                  </a:lnTo>
                  <a:lnTo>
                    <a:pt x="554069" y="1036796"/>
                  </a:lnTo>
                  <a:lnTo>
                    <a:pt x="549688" y="1027747"/>
                  </a:lnTo>
                  <a:lnTo>
                    <a:pt x="554260" y="1025557"/>
                  </a:lnTo>
                  <a:lnTo>
                    <a:pt x="557403" y="1025176"/>
                  </a:lnTo>
                  <a:lnTo>
                    <a:pt x="559403" y="1028129"/>
                  </a:lnTo>
                  <a:lnTo>
                    <a:pt x="564071" y="1027462"/>
                  </a:lnTo>
                  <a:lnTo>
                    <a:pt x="564547" y="1030700"/>
                  </a:lnTo>
                  <a:lnTo>
                    <a:pt x="567499" y="1028700"/>
                  </a:lnTo>
                  <a:lnTo>
                    <a:pt x="573214" y="1023176"/>
                  </a:lnTo>
                  <a:lnTo>
                    <a:pt x="582644" y="1021937"/>
                  </a:lnTo>
                  <a:lnTo>
                    <a:pt x="583025" y="1025080"/>
                  </a:lnTo>
                  <a:lnTo>
                    <a:pt x="590169" y="1030605"/>
                  </a:lnTo>
                  <a:lnTo>
                    <a:pt x="592550" y="1036701"/>
                  </a:lnTo>
                  <a:lnTo>
                    <a:pt x="597884" y="1040892"/>
                  </a:lnTo>
                  <a:lnTo>
                    <a:pt x="600075" y="1045369"/>
                  </a:lnTo>
                  <a:lnTo>
                    <a:pt x="602837" y="1041845"/>
                  </a:lnTo>
                  <a:lnTo>
                    <a:pt x="605980" y="1041463"/>
                  </a:lnTo>
                  <a:lnTo>
                    <a:pt x="605409" y="1036701"/>
                  </a:lnTo>
                  <a:lnTo>
                    <a:pt x="607886" y="1031558"/>
                  </a:lnTo>
                  <a:lnTo>
                    <a:pt x="606171" y="1030129"/>
                  </a:lnTo>
                  <a:lnTo>
                    <a:pt x="605980" y="1028605"/>
                  </a:lnTo>
                  <a:lnTo>
                    <a:pt x="604171" y="1027176"/>
                  </a:lnTo>
                  <a:lnTo>
                    <a:pt x="607505" y="1028414"/>
                  </a:lnTo>
                  <a:lnTo>
                    <a:pt x="611219" y="1019937"/>
                  </a:lnTo>
                  <a:lnTo>
                    <a:pt x="616553" y="1024033"/>
                  </a:lnTo>
                  <a:lnTo>
                    <a:pt x="619315" y="1020509"/>
                  </a:lnTo>
                  <a:lnTo>
                    <a:pt x="619125" y="1018889"/>
                  </a:lnTo>
                  <a:lnTo>
                    <a:pt x="619506" y="1009174"/>
                  </a:lnTo>
                  <a:lnTo>
                    <a:pt x="619315" y="1007650"/>
                  </a:lnTo>
                  <a:lnTo>
                    <a:pt x="622649" y="1008793"/>
                  </a:lnTo>
                  <a:lnTo>
                    <a:pt x="635508" y="1008793"/>
                  </a:lnTo>
                  <a:lnTo>
                    <a:pt x="643033" y="1004602"/>
                  </a:lnTo>
                  <a:lnTo>
                    <a:pt x="645128" y="996315"/>
                  </a:lnTo>
                  <a:lnTo>
                    <a:pt x="645128" y="996315"/>
                  </a:lnTo>
                  <a:lnTo>
                    <a:pt x="649891" y="995743"/>
                  </a:lnTo>
                  <a:lnTo>
                    <a:pt x="651034" y="992410"/>
                  </a:lnTo>
                  <a:lnTo>
                    <a:pt x="652653" y="992124"/>
                  </a:lnTo>
                  <a:lnTo>
                    <a:pt x="652463" y="990600"/>
                  </a:lnTo>
                  <a:lnTo>
                    <a:pt x="645890" y="989838"/>
                  </a:lnTo>
                  <a:lnTo>
                    <a:pt x="650081" y="984504"/>
                  </a:lnTo>
                  <a:lnTo>
                    <a:pt x="651605" y="984313"/>
                  </a:lnTo>
                  <a:lnTo>
                    <a:pt x="658939" y="978503"/>
                  </a:lnTo>
                  <a:lnTo>
                    <a:pt x="661511" y="973360"/>
                  </a:lnTo>
                  <a:lnTo>
                    <a:pt x="668369" y="977360"/>
                  </a:lnTo>
                  <a:lnTo>
                    <a:pt x="673894" y="970217"/>
                  </a:lnTo>
                  <a:lnTo>
                    <a:pt x="680847" y="974122"/>
                  </a:lnTo>
                  <a:lnTo>
                    <a:pt x="683323" y="968978"/>
                  </a:lnTo>
                  <a:lnTo>
                    <a:pt x="691896" y="972788"/>
                  </a:lnTo>
                  <a:lnTo>
                    <a:pt x="695039" y="972312"/>
                  </a:lnTo>
                  <a:lnTo>
                    <a:pt x="695801" y="978694"/>
                  </a:lnTo>
                  <a:lnTo>
                    <a:pt x="701897" y="976313"/>
                  </a:lnTo>
                  <a:lnTo>
                    <a:pt x="698373" y="973550"/>
                  </a:lnTo>
                  <a:lnTo>
                    <a:pt x="701135" y="969931"/>
                  </a:lnTo>
                  <a:lnTo>
                    <a:pt x="704279" y="969550"/>
                  </a:lnTo>
                  <a:lnTo>
                    <a:pt x="705898" y="969359"/>
                  </a:lnTo>
                  <a:lnTo>
                    <a:pt x="703707" y="964787"/>
                  </a:lnTo>
                  <a:lnTo>
                    <a:pt x="705231" y="964597"/>
                  </a:lnTo>
                  <a:lnTo>
                    <a:pt x="706660" y="962787"/>
                  </a:lnTo>
                  <a:lnTo>
                    <a:pt x="703231" y="961644"/>
                  </a:lnTo>
                  <a:lnTo>
                    <a:pt x="707231" y="954786"/>
                  </a:lnTo>
                  <a:lnTo>
                    <a:pt x="706564" y="950024"/>
                  </a:lnTo>
                  <a:lnTo>
                    <a:pt x="709327" y="946404"/>
                  </a:lnTo>
                  <a:lnTo>
                    <a:pt x="706946" y="940308"/>
                  </a:lnTo>
                  <a:lnTo>
                    <a:pt x="710374" y="941546"/>
                  </a:lnTo>
                  <a:lnTo>
                    <a:pt x="715042" y="940880"/>
                  </a:lnTo>
                  <a:lnTo>
                    <a:pt x="725519" y="947642"/>
                  </a:lnTo>
                  <a:lnTo>
                    <a:pt x="725710" y="949166"/>
                  </a:lnTo>
                  <a:lnTo>
                    <a:pt x="721042" y="949738"/>
                  </a:lnTo>
                  <a:lnTo>
                    <a:pt x="719614" y="951547"/>
                  </a:lnTo>
                  <a:lnTo>
                    <a:pt x="724567" y="952500"/>
                  </a:lnTo>
                  <a:lnTo>
                    <a:pt x="727520" y="950595"/>
                  </a:lnTo>
                  <a:lnTo>
                    <a:pt x="729520" y="953548"/>
                  </a:lnTo>
                  <a:lnTo>
                    <a:pt x="734949" y="946404"/>
                  </a:lnTo>
                  <a:lnTo>
                    <a:pt x="743903" y="940403"/>
                  </a:lnTo>
                  <a:lnTo>
                    <a:pt x="740473" y="939260"/>
                  </a:lnTo>
                  <a:lnTo>
                    <a:pt x="740473" y="926497"/>
                  </a:lnTo>
                  <a:lnTo>
                    <a:pt x="750951" y="933164"/>
                  </a:lnTo>
                  <a:lnTo>
                    <a:pt x="754856" y="926211"/>
                  </a:lnTo>
                  <a:lnTo>
                    <a:pt x="762190" y="920496"/>
                  </a:lnTo>
                  <a:lnTo>
                    <a:pt x="764191" y="923449"/>
                  </a:lnTo>
                  <a:lnTo>
                    <a:pt x="764572" y="926592"/>
                  </a:lnTo>
                  <a:lnTo>
                    <a:pt x="766763" y="931164"/>
                  </a:lnTo>
                  <a:lnTo>
                    <a:pt x="770096" y="932307"/>
                  </a:lnTo>
                  <a:lnTo>
                    <a:pt x="768953" y="935641"/>
                  </a:lnTo>
                  <a:lnTo>
                    <a:pt x="767524" y="937451"/>
                  </a:lnTo>
                  <a:lnTo>
                    <a:pt x="769525" y="940403"/>
                  </a:lnTo>
                  <a:lnTo>
                    <a:pt x="767715" y="938975"/>
                  </a:lnTo>
                  <a:lnTo>
                    <a:pt x="768096" y="942213"/>
                  </a:lnTo>
                  <a:lnTo>
                    <a:pt x="771334" y="941737"/>
                  </a:lnTo>
                  <a:lnTo>
                    <a:pt x="773239" y="944689"/>
                  </a:lnTo>
                  <a:lnTo>
                    <a:pt x="774668" y="942975"/>
                  </a:lnTo>
                  <a:lnTo>
                    <a:pt x="774287" y="939832"/>
                  </a:lnTo>
                  <a:lnTo>
                    <a:pt x="774478" y="941356"/>
                  </a:lnTo>
                  <a:lnTo>
                    <a:pt x="778002" y="944118"/>
                  </a:lnTo>
                  <a:lnTo>
                    <a:pt x="774859" y="944499"/>
                  </a:lnTo>
                  <a:lnTo>
                    <a:pt x="776859" y="947452"/>
                  </a:lnTo>
                  <a:lnTo>
                    <a:pt x="784003" y="952976"/>
                  </a:lnTo>
                  <a:lnTo>
                    <a:pt x="790480" y="953738"/>
                  </a:lnTo>
                  <a:lnTo>
                    <a:pt x="798576" y="954310"/>
                  </a:lnTo>
                  <a:lnTo>
                    <a:pt x="801529" y="952309"/>
                  </a:lnTo>
                  <a:lnTo>
                    <a:pt x="804672" y="951929"/>
                  </a:lnTo>
                  <a:lnTo>
                    <a:pt x="808577" y="945071"/>
                  </a:lnTo>
                  <a:lnTo>
                    <a:pt x="813340" y="944404"/>
                  </a:lnTo>
                  <a:lnTo>
                    <a:pt x="814102" y="937927"/>
                  </a:lnTo>
                  <a:lnTo>
                    <a:pt x="812101" y="934974"/>
                  </a:lnTo>
                  <a:lnTo>
                    <a:pt x="811721" y="931831"/>
                  </a:lnTo>
                  <a:lnTo>
                    <a:pt x="814864" y="931355"/>
                  </a:lnTo>
                  <a:lnTo>
                    <a:pt x="816673" y="932783"/>
                  </a:lnTo>
                  <a:lnTo>
                    <a:pt x="817245" y="937546"/>
                  </a:lnTo>
                  <a:lnTo>
                    <a:pt x="822007" y="936879"/>
                  </a:lnTo>
                  <a:lnTo>
                    <a:pt x="822198" y="938498"/>
                  </a:lnTo>
                  <a:lnTo>
                    <a:pt x="826961" y="937927"/>
                  </a:lnTo>
                  <a:lnTo>
                    <a:pt x="828484" y="937641"/>
                  </a:lnTo>
                  <a:lnTo>
                    <a:pt x="835628" y="943166"/>
                  </a:lnTo>
                  <a:lnTo>
                    <a:pt x="838962" y="944404"/>
                  </a:lnTo>
                  <a:lnTo>
                    <a:pt x="840200" y="940975"/>
                  </a:lnTo>
                  <a:lnTo>
                    <a:pt x="845058" y="942022"/>
                  </a:lnTo>
                  <a:lnTo>
                    <a:pt x="849058" y="947928"/>
                  </a:lnTo>
                  <a:lnTo>
                    <a:pt x="852583" y="950690"/>
                  </a:lnTo>
                  <a:lnTo>
                    <a:pt x="852392" y="949071"/>
                  </a:lnTo>
                  <a:lnTo>
                    <a:pt x="850011" y="942975"/>
                  </a:lnTo>
                  <a:lnTo>
                    <a:pt x="851440" y="941165"/>
                  </a:lnTo>
                  <a:lnTo>
                    <a:pt x="856107" y="940594"/>
                  </a:lnTo>
                  <a:lnTo>
                    <a:pt x="861250" y="943166"/>
                  </a:lnTo>
                  <a:lnTo>
                    <a:pt x="862489" y="939737"/>
                  </a:lnTo>
                  <a:lnTo>
                    <a:pt x="863822" y="938022"/>
                  </a:lnTo>
                  <a:lnTo>
                    <a:pt x="874109" y="943070"/>
                  </a:lnTo>
                  <a:lnTo>
                    <a:pt x="875443" y="941356"/>
                  </a:lnTo>
                  <a:lnTo>
                    <a:pt x="878396" y="939355"/>
                  </a:lnTo>
                  <a:lnTo>
                    <a:pt x="875062" y="938117"/>
                  </a:lnTo>
                  <a:lnTo>
                    <a:pt x="878014" y="936212"/>
                  </a:lnTo>
                  <a:lnTo>
                    <a:pt x="878967" y="931259"/>
                  </a:lnTo>
                  <a:lnTo>
                    <a:pt x="882205" y="930878"/>
                  </a:lnTo>
                  <a:lnTo>
                    <a:pt x="884396" y="935355"/>
                  </a:lnTo>
                  <a:lnTo>
                    <a:pt x="893445" y="930974"/>
                  </a:lnTo>
                  <a:lnTo>
                    <a:pt x="893064" y="927830"/>
                  </a:lnTo>
                  <a:lnTo>
                    <a:pt x="889635" y="926687"/>
                  </a:lnTo>
                  <a:lnTo>
                    <a:pt x="889063" y="921925"/>
                  </a:lnTo>
                  <a:lnTo>
                    <a:pt x="880586" y="918210"/>
                  </a:lnTo>
                  <a:lnTo>
                    <a:pt x="886015" y="911066"/>
                  </a:lnTo>
                  <a:lnTo>
                    <a:pt x="884301" y="909733"/>
                  </a:lnTo>
                  <a:lnTo>
                    <a:pt x="886015" y="911066"/>
                  </a:lnTo>
                  <a:lnTo>
                    <a:pt x="896493" y="904970"/>
                  </a:lnTo>
                  <a:lnTo>
                    <a:pt x="901255" y="904399"/>
                  </a:lnTo>
                  <a:lnTo>
                    <a:pt x="904018" y="900779"/>
                  </a:lnTo>
                  <a:lnTo>
                    <a:pt x="908780" y="900208"/>
                  </a:lnTo>
                  <a:lnTo>
                    <a:pt x="915638" y="904113"/>
                  </a:lnTo>
                  <a:lnTo>
                    <a:pt x="918400" y="900589"/>
                  </a:lnTo>
                  <a:lnTo>
                    <a:pt x="923544" y="903161"/>
                  </a:lnTo>
                  <a:lnTo>
                    <a:pt x="931069" y="898970"/>
                  </a:lnTo>
                  <a:lnTo>
                    <a:pt x="937927" y="902875"/>
                  </a:lnTo>
                  <a:lnTo>
                    <a:pt x="942118" y="897541"/>
                  </a:lnTo>
                  <a:lnTo>
                    <a:pt x="941641" y="894397"/>
                  </a:lnTo>
                  <a:lnTo>
                    <a:pt x="945832" y="889063"/>
                  </a:lnTo>
                  <a:lnTo>
                    <a:pt x="950500" y="888492"/>
                  </a:lnTo>
                  <a:lnTo>
                    <a:pt x="950119" y="885349"/>
                  </a:lnTo>
                  <a:lnTo>
                    <a:pt x="944213" y="876395"/>
                  </a:lnTo>
                  <a:lnTo>
                    <a:pt x="945166" y="871538"/>
                  </a:lnTo>
                  <a:lnTo>
                    <a:pt x="949928" y="870871"/>
                  </a:lnTo>
                  <a:lnTo>
                    <a:pt x="956405" y="871633"/>
                  </a:lnTo>
                  <a:lnTo>
                    <a:pt x="960977" y="869442"/>
                  </a:lnTo>
                  <a:lnTo>
                    <a:pt x="964121" y="869061"/>
                  </a:lnTo>
                  <a:lnTo>
                    <a:pt x="965263" y="865727"/>
                  </a:lnTo>
                  <a:lnTo>
                    <a:pt x="969836" y="863537"/>
                  </a:lnTo>
                  <a:lnTo>
                    <a:pt x="970979" y="860203"/>
                  </a:lnTo>
                  <a:lnTo>
                    <a:pt x="973741" y="856679"/>
                  </a:lnTo>
                  <a:lnTo>
                    <a:pt x="976313" y="851535"/>
                  </a:lnTo>
                  <a:lnTo>
                    <a:pt x="978122" y="852868"/>
                  </a:lnTo>
                  <a:lnTo>
                    <a:pt x="977837" y="851249"/>
                  </a:lnTo>
                  <a:lnTo>
                    <a:pt x="980599" y="834962"/>
                  </a:lnTo>
                  <a:lnTo>
                    <a:pt x="977455" y="835343"/>
                  </a:lnTo>
                  <a:lnTo>
                    <a:pt x="976884" y="830580"/>
                  </a:lnTo>
                  <a:lnTo>
                    <a:pt x="968788" y="830009"/>
                  </a:lnTo>
                  <a:lnTo>
                    <a:pt x="972503" y="821531"/>
                  </a:lnTo>
                  <a:lnTo>
                    <a:pt x="971836" y="816769"/>
                  </a:lnTo>
                  <a:lnTo>
                    <a:pt x="968502" y="815626"/>
                  </a:lnTo>
                  <a:lnTo>
                    <a:pt x="969073" y="820388"/>
                  </a:lnTo>
                  <a:lnTo>
                    <a:pt x="961834" y="826103"/>
                  </a:lnTo>
                  <a:lnTo>
                    <a:pt x="956881" y="825151"/>
                  </a:lnTo>
                  <a:lnTo>
                    <a:pt x="955738" y="828484"/>
                  </a:lnTo>
                  <a:lnTo>
                    <a:pt x="954119" y="828675"/>
                  </a:lnTo>
                  <a:lnTo>
                    <a:pt x="956691" y="823532"/>
                  </a:lnTo>
                  <a:lnTo>
                    <a:pt x="957643" y="818579"/>
                  </a:lnTo>
                  <a:lnTo>
                    <a:pt x="959453" y="820007"/>
                  </a:lnTo>
                  <a:lnTo>
                    <a:pt x="962215" y="816388"/>
                  </a:lnTo>
                  <a:lnTo>
                    <a:pt x="956691" y="810673"/>
                  </a:lnTo>
                  <a:lnTo>
                    <a:pt x="956024" y="806005"/>
                  </a:lnTo>
                  <a:lnTo>
                    <a:pt x="953929" y="801434"/>
                  </a:lnTo>
                  <a:lnTo>
                    <a:pt x="949357" y="803624"/>
                  </a:lnTo>
                  <a:lnTo>
                    <a:pt x="951929" y="798481"/>
                  </a:lnTo>
                  <a:lnTo>
                    <a:pt x="946975" y="797528"/>
                  </a:lnTo>
                  <a:lnTo>
                    <a:pt x="949738" y="793909"/>
                  </a:lnTo>
                  <a:lnTo>
                    <a:pt x="951643" y="784098"/>
                  </a:lnTo>
                  <a:lnTo>
                    <a:pt x="959548" y="783050"/>
                  </a:lnTo>
                  <a:lnTo>
                    <a:pt x="969455" y="785051"/>
                  </a:lnTo>
                  <a:lnTo>
                    <a:pt x="972217" y="781431"/>
                  </a:lnTo>
                  <a:lnTo>
                    <a:pt x="971740" y="778288"/>
                  </a:lnTo>
                  <a:lnTo>
                    <a:pt x="978694" y="782193"/>
                  </a:lnTo>
                  <a:lnTo>
                    <a:pt x="982408" y="773716"/>
                  </a:lnTo>
                  <a:lnTo>
                    <a:pt x="977455" y="772763"/>
                  </a:lnTo>
                  <a:lnTo>
                    <a:pt x="976122" y="761714"/>
                  </a:lnTo>
                  <a:lnTo>
                    <a:pt x="977265" y="758380"/>
                  </a:lnTo>
                  <a:lnTo>
                    <a:pt x="979075" y="759714"/>
                  </a:lnTo>
                  <a:lnTo>
                    <a:pt x="980027" y="754761"/>
                  </a:lnTo>
                  <a:lnTo>
                    <a:pt x="974503" y="749046"/>
                  </a:lnTo>
                  <a:lnTo>
                    <a:pt x="970693" y="744760"/>
                  </a:lnTo>
                  <a:lnTo>
                    <a:pt x="966025" y="745331"/>
                  </a:lnTo>
                  <a:lnTo>
                    <a:pt x="959263" y="743045"/>
                  </a:lnTo>
                  <a:lnTo>
                    <a:pt x="954500" y="743617"/>
                  </a:lnTo>
                  <a:lnTo>
                    <a:pt x="950976" y="740855"/>
                  </a:lnTo>
                  <a:lnTo>
                    <a:pt x="954691" y="732377"/>
                  </a:lnTo>
                  <a:lnTo>
                    <a:pt x="952309" y="726281"/>
                  </a:lnTo>
                  <a:lnTo>
                    <a:pt x="954881" y="721138"/>
                  </a:lnTo>
                  <a:lnTo>
                    <a:pt x="959548" y="707708"/>
                  </a:lnTo>
                  <a:lnTo>
                    <a:pt x="963739" y="702374"/>
                  </a:lnTo>
                  <a:lnTo>
                    <a:pt x="963073" y="697611"/>
                  </a:lnTo>
                  <a:lnTo>
                    <a:pt x="965835" y="694087"/>
                  </a:lnTo>
                  <a:lnTo>
                    <a:pt x="967454" y="693896"/>
                  </a:lnTo>
                  <a:lnTo>
                    <a:pt x="973741" y="693039"/>
                  </a:lnTo>
                  <a:lnTo>
                    <a:pt x="975741" y="695992"/>
                  </a:lnTo>
                  <a:lnTo>
                    <a:pt x="978884" y="695611"/>
                  </a:lnTo>
                  <a:lnTo>
                    <a:pt x="980218" y="693801"/>
                  </a:lnTo>
                  <a:lnTo>
                    <a:pt x="984790" y="691610"/>
                  </a:lnTo>
                  <a:lnTo>
                    <a:pt x="986123" y="689896"/>
                  </a:lnTo>
                  <a:lnTo>
                    <a:pt x="989362" y="689420"/>
                  </a:lnTo>
                  <a:lnTo>
                    <a:pt x="988314" y="681609"/>
                  </a:lnTo>
                  <a:lnTo>
                    <a:pt x="981361" y="677609"/>
                  </a:lnTo>
                  <a:lnTo>
                    <a:pt x="982408" y="672751"/>
                  </a:lnTo>
                  <a:lnTo>
                    <a:pt x="979075" y="671513"/>
                  </a:lnTo>
                  <a:lnTo>
                    <a:pt x="978789" y="669988"/>
                  </a:lnTo>
                  <a:lnTo>
                    <a:pt x="969359" y="671132"/>
                  </a:lnTo>
                  <a:lnTo>
                    <a:pt x="967168" y="666655"/>
                  </a:lnTo>
                  <a:lnTo>
                    <a:pt x="966121" y="658749"/>
                  </a:lnTo>
                  <a:lnTo>
                    <a:pt x="968312" y="650462"/>
                  </a:lnTo>
                  <a:lnTo>
                    <a:pt x="969740" y="648653"/>
                  </a:lnTo>
                  <a:lnTo>
                    <a:pt x="971455" y="650081"/>
                  </a:lnTo>
                  <a:lnTo>
                    <a:pt x="979170" y="647509"/>
                  </a:lnTo>
                  <a:lnTo>
                    <a:pt x="978789" y="644271"/>
                  </a:lnTo>
                  <a:lnTo>
                    <a:pt x="983742" y="645319"/>
                  </a:lnTo>
                  <a:lnTo>
                    <a:pt x="983456" y="643700"/>
                  </a:lnTo>
                  <a:lnTo>
                    <a:pt x="979932" y="640937"/>
                  </a:lnTo>
                  <a:lnTo>
                    <a:pt x="982694" y="637413"/>
                  </a:lnTo>
                  <a:lnTo>
                    <a:pt x="987457" y="636746"/>
                  </a:lnTo>
                  <a:lnTo>
                    <a:pt x="990219" y="633222"/>
                  </a:lnTo>
                  <a:lnTo>
                    <a:pt x="989552" y="628459"/>
                  </a:lnTo>
                  <a:lnTo>
                    <a:pt x="992505" y="626555"/>
                  </a:lnTo>
                  <a:lnTo>
                    <a:pt x="988600" y="620554"/>
                  </a:lnTo>
                  <a:lnTo>
                    <a:pt x="989933" y="618839"/>
                  </a:lnTo>
                  <a:lnTo>
                    <a:pt x="989743" y="617220"/>
                  </a:lnTo>
                  <a:lnTo>
                    <a:pt x="989171" y="612553"/>
                  </a:lnTo>
                  <a:lnTo>
                    <a:pt x="990695" y="612267"/>
                  </a:lnTo>
                  <a:lnTo>
                    <a:pt x="998601" y="611314"/>
                  </a:lnTo>
                  <a:lnTo>
                    <a:pt x="1002982" y="607505"/>
                  </a:lnTo>
                  <a:lnTo>
                    <a:pt x="1006316" y="608743"/>
                  </a:lnTo>
                  <a:lnTo>
                    <a:pt x="1017937" y="599218"/>
                  </a:lnTo>
                  <a:lnTo>
                    <a:pt x="1020699" y="595693"/>
                  </a:lnTo>
                  <a:lnTo>
                    <a:pt x="1020032" y="590931"/>
                  </a:lnTo>
                  <a:lnTo>
                    <a:pt x="1021461" y="589121"/>
                  </a:lnTo>
                  <a:lnTo>
                    <a:pt x="1027747" y="588359"/>
                  </a:lnTo>
                  <a:lnTo>
                    <a:pt x="1028605" y="594646"/>
                  </a:lnTo>
                  <a:lnTo>
                    <a:pt x="1031938" y="595789"/>
                  </a:lnTo>
                  <a:lnTo>
                    <a:pt x="1031748" y="594265"/>
                  </a:lnTo>
                  <a:lnTo>
                    <a:pt x="1035844" y="588931"/>
                  </a:lnTo>
                  <a:lnTo>
                    <a:pt x="1035653" y="587312"/>
                  </a:lnTo>
                  <a:lnTo>
                    <a:pt x="1040416" y="586740"/>
                  </a:lnTo>
                  <a:lnTo>
                    <a:pt x="1047655" y="581025"/>
                  </a:lnTo>
                  <a:lnTo>
                    <a:pt x="1048893" y="577691"/>
                  </a:lnTo>
                  <a:lnTo>
                    <a:pt x="1055180" y="576834"/>
                  </a:lnTo>
                  <a:lnTo>
                    <a:pt x="1056132" y="571881"/>
                  </a:lnTo>
                  <a:lnTo>
                    <a:pt x="1052798" y="570738"/>
                  </a:lnTo>
                  <a:lnTo>
                    <a:pt x="1056132" y="571881"/>
                  </a:lnTo>
                  <a:lnTo>
                    <a:pt x="1052417" y="567595"/>
                  </a:lnTo>
                  <a:lnTo>
                    <a:pt x="1052227" y="565976"/>
                  </a:lnTo>
                  <a:lnTo>
                    <a:pt x="1046416" y="558737"/>
                  </a:lnTo>
                  <a:lnTo>
                    <a:pt x="1051941" y="551593"/>
                  </a:lnTo>
                  <a:lnTo>
                    <a:pt x="1048798" y="551974"/>
                  </a:lnTo>
                  <a:lnTo>
                    <a:pt x="1045845" y="541115"/>
                  </a:lnTo>
                  <a:lnTo>
                    <a:pt x="1045559" y="539591"/>
                  </a:lnTo>
                  <a:lnTo>
                    <a:pt x="1048988" y="540734"/>
                  </a:lnTo>
                  <a:lnTo>
                    <a:pt x="1048322" y="535972"/>
                  </a:lnTo>
                  <a:lnTo>
                    <a:pt x="1050512" y="527685"/>
                  </a:lnTo>
                  <a:lnTo>
                    <a:pt x="1049750" y="521399"/>
                  </a:lnTo>
                  <a:lnTo>
                    <a:pt x="1050893" y="518065"/>
                  </a:lnTo>
                  <a:lnTo>
                    <a:pt x="1053656" y="514445"/>
                  </a:lnTo>
                  <a:lnTo>
                    <a:pt x="1052798" y="508159"/>
                  </a:lnTo>
                  <a:lnTo>
                    <a:pt x="1046893" y="512159"/>
                  </a:lnTo>
                  <a:lnTo>
                    <a:pt x="1043559" y="510921"/>
                  </a:lnTo>
                  <a:lnTo>
                    <a:pt x="1041368" y="506444"/>
                  </a:lnTo>
                  <a:lnTo>
                    <a:pt x="1045750" y="502634"/>
                  </a:lnTo>
                  <a:lnTo>
                    <a:pt x="1042130" y="499872"/>
                  </a:lnTo>
                  <a:lnTo>
                    <a:pt x="1043368" y="496538"/>
                  </a:lnTo>
                  <a:lnTo>
                    <a:pt x="1046131" y="493014"/>
                  </a:lnTo>
                  <a:lnTo>
                    <a:pt x="1038415" y="482727"/>
                  </a:lnTo>
                  <a:lnTo>
                    <a:pt x="1039178" y="476250"/>
                  </a:lnTo>
                  <a:lnTo>
                    <a:pt x="1041654" y="471107"/>
                  </a:lnTo>
                  <a:lnTo>
                    <a:pt x="1047559" y="467106"/>
                  </a:lnTo>
                  <a:lnTo>
                    <a:pt x="1049941" y="460438"/>
                  </a:lnTo>
                  <a:lnTo>
                    <a:pt x="1044226" y="453104"/>
                  </a:lnTo>
                  <a:lnTo>
                    <a:pt x="1054703" y="447008"/>
                  </a:lnTo>
                  <a:lnTo>
                    <a:pt x="1055465" y="440436"/>
                  </a:lnTo>
                  <a:lnTo>
                    <a:pt x="1048893" y="439674"/>
                  </a:lnTo>
                  <a:lnTo>
                    <a:pt x="1046893" y="436721"/>
                  </a:lnTo>
                  <a:lnTo>
                    <a:pt x="1046512" y="433578"/>
                  </a:lnTo>
                  <a:lnTo>
                    <a:pt x="1050893" y="429863"/>
                  </a:lnTo>
                  <a:lnTo>
                    <a:pt x="1045940" y="428911"/>
                  </a:lnTo>
                  <a:lnTo>
                    <a:pt x="1044797" y="432245"/>
                  </a:lnTo>
                  <a:lnTo>
                    <a:pt x="1042988" y="430816"/>
                  </a:lnTo>
                  <a:lnTo>
                    <a:pt x="1036034" y="426911"/>
                  </a:lnTo>
                  <a:lnTo>
                    <a:pt x="1033843" y="422338"/>
                  </a:lnTo>
                  <a:lnTo>
                    <a:pt x="1035082" y="419005"/>
                  </a:lnTo>
                  <a:lnTo>
                    <a:pt x="1034891" y="417481"/>
                  </a:lnTo>
                  <a:lnTo>
                    <a:pt x="1029557" y="413290"/>
                  </a:lnTo>
                  <a:lnTo>
                    <a:pt x="1030891" y="411575"/>
                  </a:lnTo>
                  <a:lnTo>
                    <a:pt x="1037177" y="410718"/>
                  </a:lnTo>
                  <a:lnTo>
                    <a:pt x="1039178" y="413671"/>
                  </a:lnTo>
                  <a:lnTo>
                    <a:pt x="1043559" y="422720"/>
                  </a:lnTo>
                  <a:lnTo>
                    <a:pt x="1051274" y="420148"/>
                  </a:lnTo>
                  <a:lnTo>
                    <a:pt x="1054037" y="416624"/>
                  </a:lnTo>
                  <a:lnTo>
                    <a:pt x="1053560" y="413480"/>
                  </a:lnTo>
                  <a:lnTo>
                    <a:pt x="1059466" y="409480"/>
                  </a:lnTo>
                  <a:lnTo>
                    <a:pt x="1063276" y="401003"/>
                  </a:lnTo>
                  <a:lnTo>
                    <a:pt x="1067943" y="400431"/>
                  </a:lnTo>
                  <a:lnTo>
                    <a:pt x="1073848" y="383572"/>
                  </a:lnTo>
                  <a:lnTo>
                    <a:pt x="1072801" y="375761"/>
                  </a:lnTo>
                  <a:lnTo>
                    <a:pt x="1072801" y="375761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49" name="Volný tvar: obrazec 48">
              <a:extLst>
                <a:ext uri="{FF2B5EF4-FFF2-40B4-BE49-F238E27FC236}">
                  <a16:creationId xmlns:a16="http://schemas.microsoft.com/office/drawing/2014/main" id="{FD605F0F-A210-95DB-DA4A-1422DA15FD7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247858" y="3717035"/>
              <a:ext cx="910018" cy="791432"/>
            </a:xfrm>
            <a:custGeom>
              <a:avLst/>
              <a:gdLst>
                <a:gd name="connsiteX0" fmla="*/ 910019 w 910018"/>
                <a:gd name="connsiteY0" fmla="*/ 184690 h 791432"/>
                <a:gd name="connsiteX1" fmla="*/ 904208 w 910018"/>
                <a:gd name="connsiteY1" fmla="*/ 164497 h 791432"/>
                <a:gd name="connsiteX2" fmla="*/ 903637 w 910018"/>
                <a:gd name="connsiteY2" fmla="*/ 159829 h 791432"/>
                <a:gd name="connsiteX3" fmla="*/ 901255 w 910018"/>
                <a:gd name="connsiteY3" fmla="*/ 153734 h 791432"/>
                <a:gd name="connsiteX4" fmla="*/ 896112 w 910018"/>
                <a:gd name="connsiteY4" fmla="*/ 151162 h 791432"/>
                <a:gd name="connsiteX5" fmla="*/ 891350 w 910018"/>
                <a:gd name="connsiteY5" fmla="*/ 151733 h 791432"/>
                <a:gd name="connsiteX6" fmla="*/ 884206 w 910018"/>
                <a:gd name="connsiteY6" fmla="*/ 146209 h 791432"/>
                <a:gd name="connsiteX7" fmla="*/ 879253 w 910018"/>
                <a:gd name="connsiteY7" fmla="*/ 145256 h 791432"/>
                <a:gd name="connsiteX8" fmla="*/ 871442 w 910018"/>
                <a:gd name="connsiteY8" fmla="*/ 146304 h 791432"/>
                <a:gd name="connsiteX9" fmla="*/ 876681 w 910018"/>
                <a:gd name="connsiteY9" fmla="*/ 124777 h 791432"/>
                <a:gd name="connsiteX10" fmla="*/ 871919 w 910018"/>
                <a:gd name="connsiteY10" fmla="*/ 112490 h 791432"/>
                <a:gd name="connsiteX11" fmla="*/ 867156 w 910018"/>
                <a:gd name="connsiteY11" fmla="*/ 113157 h 791432"/>
                <a:gd name="connsiteX12" fmla="*/ 865156 w 910018"/>
                <a:gd name="connsiteY12" fmla="*/ 110204 h 791432"/>
                <a:gd name="connsiteX13" fmla="*/ 866775 w 910018"/>
                <a:gd name="connsiteY13" fmla="*/ 110014 h 791432"/>
                <a:gd name="connsiteX14" fmla="*/ 864775 w 910018"/>
                <a:gd name="connsiteY14" fmla="*/ 106966 h 791432"/>
                <a:gd name="connsiteX15" fmla="*/ 860393 w 910018"/>
                <a:gd name="connsiteY15" fmla="*/ 97917 h 791432"/>
                <a:gd name="connsiteX16" fmla="*/ 854107 w 910018"/>
                <a:gd name="connsiteY16" fmla="*/ 98774 h 791432"/>
                <a:gd name="connsiteX17" fmla="*/ 845439 w 910018"/>
                <a:gd name="connsiteY17" fmla="*/ 93440 h 791432"/>
                <a:gd name="connsiteX18" fmla="*/ 840486 w 910018"/>
                <a:gd name="connsiteY18" fmla="*/ 92488 h 791432"/>
                <a:gd name="connsiteX19" fmla="*/ 834390 w 910018"/>
                <a:gd name="connsiteY19" fmla="*/ 82010 h 791432"/>
                <a:gd name="connsiteX20" fmla="*/ 828770 w 910018"/>
                <a:gd name="connsiteY20" fmla="*/ 76295 h 791432"/>
                <a:gd name="connsiteX21" fmla="*/ 826008 w 910018"/>
                <a:gd name="connsiteY21" fmla="*/ 54197 h 791432"/>
                <a:gd name="connsiteX22" fmla="*/ 822198 w 910018"/>
                <a:gd name="connsiteY22" fmla="*/ 49911 h 791432"/>
                <a:gd name="connsiteX23" fmla="*/ 815530 w 910018"/>
                <a:gd name="connsiteY23" fmla="*/ 47530 h 791432"/>
                <a:gd name="connsiteX24" fmla="*/ 804101 w 910018"/>
                <a:gd name="connsiteY24" fmla="*/ 45815 h 791432"/>
                <a:gd name="connsiteX25" fmla="*/ 799338 w 910018"/>
                <a:gd name="connsiteY25" fmla="*/ 46387 h 791432"/>
                <a:gd name="connsiteX26" fmla="*/ 794195 w 910018"/>
                <a:gd name="connsiteY26" fmla="*/ 56674 h 791432"/>
                <a:gd name="connsiteX27" fmla="*/ 789718 w 910018"/>
                <a:gd name="connsiteY27" fmla="*/ 58864 h 791432"/>
                <a:gd name="connsiteX28" fmla="*/ 769811 w 910018"/>
                <a:gd name="connsiteY28" fmla="*/ 53340 h 791432"/>
                <a:gd name="connsiteX29" fmla="*/ 765810 w 910018"/>
                <a:gd name="connsiteY29" fmla="*/ 47434 h 791432"/>
                <a:gd name="connsiteX30" fmla="*/ 762667 w 910018"/>
                <a:gd name="connsiteY30" fmla="*/ 47815 h 791432"/>
                <a:gd name="connsiteX31" fmla="*/ 753618 w 910018"/>
                <a:gd name="connsiteY31" fmla="*/ 52197 h 791432"/>
                <a:gd name="connsiteX32" fmla="*/ 745046 w 910018"/>
                <a:gd name="connsiteY32" fmla="*/ 48482 h 791432"/>
                <a:gd name="connsiteX33" fmla="*/ 733806 w 910018"/>
                <a:gd name="connsiteY33" fmla="*/ 35528 h 791432"/>
                <a:gd name="connsiteX34" fmla="*/ 729234 w 910018"/>
                <a:gd name="connsiteY34" fmla="*/ 24860 h 791432"/>
                <a:gd name="connsiteX35" fmla="*/ 725710 w 910018"/>
                <a:gd name="connsiteY35" fmla="*/ 22098 h 791432"/>
                <a:gd name="connsiteX36" fmla="*/ 721328 w 910018"/>
                <a:gd name="connsiteY36" fmla="*/ 25908 h 791432"/>
                <a:gd name="connsiteX37" fmla="*/ 705803 w 910018"/>
                <a:gd name="connsiteY37" fmla="*/ 29432 h 791432"/>
                <a:gd name="connsiteX38" fmla="*/ 697802 w 910018"/>
                <a:gd name="connsiteY38" fmla="*/ 17621 h 791432"/>
                <a:gd name="connsiteX39" fmla="*/ 687229 w 910018"/>
                <a:gd name="connsiteY39" fmla="*/ 22193 h 791432"/>
                <a:gd name="connsiteX40" fmla="*/ 680657 w 910018"/>
                <a:gd name="connsiteY40" fmla="*/ 21431 h 791432"/>
                <a:gd name="connsiteX41" fmla="*/ 677704 w 910018"/>
                <a:gd name="connsiteY41" fmla="*/ 23431 h 791432"/>
                <a:gd name="connsiteX42" fmla="*/ 669417 w 910018"/>
                <a:gd name="connsiteY42" fmla="*/ 21241 h 791432"/>
                <a:gd name="connsiteX43" fmla="*/ 665131 w 910018"/>
                <a:gd name="connsiteY43" fmla="*/ 25051 h 791432"/>
                <a:gd name="connsiteX44" fmla="*/ 663512 w 910018"/>
                <a:gd name="connsiteY44" fmla="*/ 25241 h 791432"/>
                <a:gd name="connsiteX45" fmla="*/ 655415 w 910018"/>
                <a:gd name="connsiteY45" fmla="*/ 24670 h 791432"/>
                <a:gd name="connsiteX46" fmla="*/ 647795 w 910018"/>
                <a:gd name="connsiteY46" fmla="*/ 27242 h 791432"/>
                <a:gd name="connsiteX47" fmla="*/ 633794 w 910018"/>
                <a:gd name="connsiteY47" fmla="*/ 30575 h 791432"/>
                <a:gd name="connsiteX48" fmla="*/ 618744 w 910018"/>
                <a:gd name="connsiteY48" fmla="*/ 38957 h 791432"/>
                <a:gd name="connsiteX49" fmla="*/ 612458 w 910018"/>
                <a:gd name="connsiteY49" fmla="*/ 39719 h 791432"/>
                <a:gd name="connsiteX50" fmla="*/ 611124 w 910018"/>
                <a:gd name="connsiteY50" fmla="*/ 41529 h 791432"/>
                <a:gd name="connsiteX51" fmla="*/ 604361 w 910018"/>
                <a:gd name="connsiteY51" fmla="*/ 39148 h 791432"/>
                <a:gd name="connsiteX52" fmla="*/ 604742 w 910018"/>
                <a:gd name="connsiteY52" fmla="*/ 29527 h 791432"/>
                <a:gd name="connsiteX53" fmla="*/ 603313 w 910018"/>
                <a:gd name="connsiteY53" fmla="*/ 18478 h 791432"/>
                <a:gd name="connsiteX54" fmla="*/ 595979 w 910018"/>
                <a:gd name="connsiteY54" fmla="*/ 11335 h 791432"/>
                <a:gd name="connsiteX55" fmla="*/ 590074 w 910018"/>
                <a:gd name="connsiteY55" fmla="*/ 2476 h 791432"/>
                <a:gd name="connsiteX56" fmla="*/ 586930 w 910018"/>
                <a:gd name="connsiteY56" fmla="*/ 2857 h 791432"/>
                <a:gd name="connsiteX57" fmla="*/ 585692 w 910018"/>
                <a:gd name="connsiteY57" fmla="*/ 6286 h 791432"/>
                <a:gd name="connsiteX58" fmla="*/ 578644 w 910018"/>
                <a:gd name="connsiteY58" fmla="*/ 762 h 791432"/>
                <a:gd name="connsiteX59" fmla="*/ 572072 w 910018"/>
                <a:gd name="connsiteY59" fmla="*/ 0 h 791432"/>
                <a:gd name="connsiteX60" fmla="*/ 550069 w 910018"/>
                <a:gd name="connsiteY60" fmla="*/ 2762 h 791432"/>
                <a:gd name="connsiteX61" fmla="*/ 547116 w 910018"/>
                <a:gd name="connsiteY61" fmla="*/ 17621 h 791432"/>
                <a:gd name="connsiteX62" fmla="*/ 538829 w 910018"/>
                <a:gd name="connsiteY62" fmla="*/ 28289 h 791432"/>
                <a:gd name="connsiteX63" fmla="*/ 539210 w 910018"/>
                <a:gd name="connsiteY63" fmla="*/ 31432 h 791432"/>
                <a:gd name="connsiteX64" fmla="*/ 539687 w 910018"/>
                <a:gd name="connsiteY64" fmla="*/ 34576 h 791432"/>
                <a:gd name="connsiteX65" fmla="*/ 530352 w 910018"/>
                <a:gd name="connsiteY65" fmla="*/ 37338 h 791432"/>
                <a:gd name="connsiteX66" fmla="*/ 524828 w 910018"/>
                <a:gd name="connsiteY66" fmla="*/ 31623 h 791432"/>
                <a:gd name="connsiteX67" fmla="*/ 520255 w 910018"/>
                <a:gd name="connsiteY67" fmla="*/ 33814 h 791432"/>
                <a:gd name="connsiteX68" fmla="*/ 518351 w 910018"/>
                <a:gd name="connsiteY68" fmla="*/ 30861 h 791432"/>
                <a:gd name="connsiteX69" fmla="*/ 515207 w 910018"/>
                <a:gd name="connsiteY69" fmla="*/ 31242 h 791432"/>
                <a:gd name="connsiteX70" fmla="*/ 513017 w 910018"/>
                <a:gd name="connsiteY70" fmla="*/ 26765 h 791432"/>
                <a:gd name="connsiteX71" fmla="*/ 505111 w 910018"/>
                <a:gd name="connsiteY71" fmla="*/ 27718 h 791432"/>
                <a:gd name="connsiteX72" fmla="*/ 503111 w 910018"/>
                <a:gd name="connsiteY72" fmla="*/ 24765 h 791432"/>
                <a:gd name="connsiteX73" fmla="*/ 499586 w 910018"/>
                <a:gd name="connsiteY73" fmla="*/ 22003 h 791432"/>
                <a:gd name="connsiteX74" fmla="*/ 496443 w 910018"/>
                <a:gd name="connsiteY74" fmla="*/ 22479 h 791432"/>
                <a:gd name="connsiteX75" fmla="*/ 498348 w 910018"/>
                <a:gd name="connsiteY75" fmla="*/ 25432 h 791432"/>
                <a:gd name="connsiteX76" fmla="*/ 498824 w 910018"/>
                <a:gd name="connsiteY76" fmla="*/ 28575 h 791432"/>
                <a:gd name="connsiteX77" fmla="*/ 497777 w 910018"/>
                <a:gd name="connsiteY77" fmla="*/ 33528 h 791432"/>
                <a:gd name="connsiteX78" fmla="*/ 498253 w 910018"/>
                <a:gd name="connsiteY78" fmla="*/ 36671 h 791432"/>
                <a:gd name="connsiteX79" fmla="*/ 496634 w 910018"/>
                <a:gd name="connsiteY79" fmla="*/ 36862 h 791432"/>
                <a:gd name="connsiteX80" fmla="*/ 497396 w 910018"/>
                <a:gd name="connsiteY80" fmla="*/ 43148 h 791432"/>
                <a:gd name="connsiteX81" fmla="*/ 483680 w 910018"/>
                <a:gd name="connsiteY81" fmla="*/ 48101 h 791432"/>
                <a:gd name="connsiteX82" fmla="*/ 480060 w 910018"/>
                <a:gd name="connsiteY82" fmla="*/ 45339 h 791432"/>
                <a:gd name="connsiteX83" fmla="*/ 477488 w 910018"/>
                <a:gd name="connsiteY83" fmla="*/ 50482 h 791432"/>
                <a:gd name="connsiteX84" fmla="*/ 478155 w 910018"/>
                <a:gd name="connsiteY84" fmla="*/ 55245 h 791432"/>
                <a:gd name="connsiteX85" fmla="*/ 476917 w 910018"/>
                <a:gd name="connsiteY85" fmla="*/ 58579 h 791432"/>
                <a:gd name="connsiteX86" fmla="*/ 467868 w 910018"/>
                <a:gd name="connsiteY86" fmla="*/ 62960 h 791432"/>
                <a:gd name="connsiteX87" fmla="*/ 464915 w 910018"/>
                <a:gd name="connsiteY87" fmla="*/ 64960 h 791432"/>
                <a:gd name="connsiteX88" fmla="*/ 461391 w 910018"/>
                <a:gd name="connsiteY88" fmla="*/ 62198 h 791432"/>
                <a:gd name="connsiteX89" fmla="*/ 461772 w 910018"/>
                <a:gd name="connsiteY89" fmla="*/ 65342 h 791432"/>
                <a:gd name="connsiteX90" fmla="*/ 467678 w 910018"/>
                <a:gd name="connsiteY90" fmla="*/ 74200 h 791432"/>
                <a:gd name="connsiteX91" fmla="*/ 470249 w 910018"/>
                <a:gd name="connsiteY91" fmla="*/ 81915 h 791432"/>
                <a:gd name="connsiteX92" fmla="*/ 465963 w 910018"/>
                <a:gd name="connsiteY92" fmla="*/ 85630 h 791432"/>
                <a:gd name="connsiteX93" fmla="*/ 467773 w 910018"/>
                <a:gd name="connsiteY93" fmla="*/ 87058 h 791432"/>
                <a:gd name="connsiteX94" fmla="*/ 464820 w 910018"/>
                <a:gd name="connsiteY94" fmla="*/ 89059 h 791432"/>
                <a:gd name="connsiteX95" fmla="*/ 463582 w 910018"/>
                <a:gd name="connsiteY95" fmla="*/ 92392 h 791432"/>
                <a:gd name="connsiteX96" fmla="*/ 456152 w 910018"/>
                <a:gd name="connsiteY96" fmla="*/ 96583 h 791432"/>
                <a:gd name="connsiteX97" fmla="*/ 456343 w 910018"/>
                <a:gd name="connsiteY97" fmla="*/ 98107 h 791432"/>
                <a:gd name="connsiteX98" fmla="*/ 460058 w 910018"/>
                <a:gd name="connsiteY98" fmla="*/ 102489 h 791432"/>
                <a:gd name="connsiteX99" fmla="*/ 456152 w 910018"/>
                <a:gd name="connsiteY99" fmla="*/ 109347 h 791432"/>
                <a:gd name="connsiteX100" fmla="*/ 456724 w 910018"/>
                <a:gd name="connsiteY100" fmla="*/ 114109 h 791432"/>
                <a:gd name="connsiteX101" fmla="*/ 457200 w 910018"/>
                <a:gd name="connsiteY101" fmla="*/ 117253 h 791432"/>
                <a:gd name="connsiteX102" fmla="*/ 455581 w 910018"/>
                <a:gd name="connsiteY102" fmla="*/ 117443 h 791432"/>
                <a:gd name="connsiteX103" fmla="*/ 455962 w 910018"/>
                <a:gd name="connsiteY103" fmla="*/ 120586 h 791432"/>
                <a:gd name="connsiteX104" fmla="*/ 452819 w 910018"/>
                <a:gd name="connsiteY104" fmla="*/ 121063 h 791432"/>
                <a:gd name="connsiteX105" fmla="*/ 451009 w 910018"/>
                <a:gd name="connsiteY105" fmla="*/ 119634 h 791432"/>
                <a:gd name="connsiteX106" fmla="*/ 447866 w 910018"/>
                <a:gd name="connsiteY106" fmla="*/ 120015 h 791432"/>
                <a:gd name="connsiteX107" fmla="*/ 447675 w 910018"/>
                <a:gd name="connsiteY107" fmla="*/ 118491 h 791432"/>
                <a:gd name="connsiteX108" fmla="*/ 444532 w 910018"/>
                <a:gd name="connsiteY108" fmla="*/ 118872 h 791432"/>
                <a:gd name="connsiteX109" fmla="*/ 430721 w 910018"/>
                <a:gd name="connsiteY109" fmla="*/ 123825 h 791432"/>
                <a:gd name="connsiteX110" fmla="*/ 429387 w 910018"/>
                <a:gd name="connsiteY110" fmla="*/ 125635 h 791432"/>
                <a:gd name="connsiteX111" fmla="*/ 426149 w 910018"/>
                <a:gd name="connsiteY111" fmla="*/ 126016 h 791432"/>
                <a:gd name="connsiteX112" fmla="*/ 419100 w 910018"/>
                <a:gd name="connsiteY112" fmla="*/ 120491 h 791432"/>
                <a:gd name="connsiteX113" fmla="*/ 414338 w 910018"/>
                <a:gd name="connsiteY113" fmla="*/ 121158 h 791432"/>
                <a:gd name="connsiteX114" fmla="*/ 415766 w 910018"/>
                <a:gd name="connsiteY114" fmla="*/ 119348 h 791432"/>
                <a:gd name="connsiteX115" fmla="*/ 408813 w 910018"/>
                <a:gd name="connsiteY115" fmla="*/ 115443 h 791432"/>
                <a:gd name="connsiteX116" fmla="*/ 408622 w 910018"/>
                <a:gd name="connsiteY116" fmla="*/ 113824 h 791432"/>
                <a:gd name="connsiteX117" fmla="*/ 411194 w 910018"/>
                <a:gd name="connsiteY117" fmla="*/ 108680 h 791432"/>
                <a:gd name="connsiteX118" fmla="*/ 407956 w 910018"/>
                <a:gd name="connsiteY118" fmla="*/ 109061 h 791432"/>
                <a:gd name="connsiteX119" fmla="*/ 405860 w 910018"/>
                <a:gd name="connsiteY119" fmla="*/ 104584 h 791432"/>
                <a:gd name="connsiteX120" fmla="*/ 398907 w 910018"/>
                <a:gd name="connsiteY120" fmla="*/ 100584 h 791432"/>
                <a:gd name="connsiteX121" fmla="*/ 396335 w 910018"/>
                <a:gd name="connsiteY121" fmla="*/ 92964 h 791432"/>
                <a:gd name="connsiteX122" fmla="*/ 392239 w 910018"/>
                <a:gd name="connsiteY122" fmla="*/ 98298 h 791432"/>
                <a:gd name="connsiteX123" fmla="*/ 386810 w 910018"/>
                <a:gd name="connsiteY123" fmla="*/ 94107 h 791432"/>
                <a:gd name="connsiteX124" fmla="*/ 382334 w 910018"/>
                <a:gd name="connsiteY124" fmla="*/ 96298 h 791432"/>
                <a:gd name="connsiteX125" fmla="*/ 382905 w 910018"/>
                <a:gd name="connsiteY125" fmla="*/ 101060 h 791432"/>
                <a:gd name="connsiteX126" fmla="*/ 379952 w 910018"/>
                <a:gd name="connsiteY126" fmla="*/ 103060 h 791432"/>
                <a:gd name="connsiteX127" fmla="*/ 380619 w 910018"/>
                <a:gd name="connsiteY127" fmla="*/ 107728 h 791432"/>
                <a:gd name="connsiteX128" fmla="*/ 379190 w 910018"/>
                <a:gd name="connsiteY128" fmla="*/ 109538 h 791432"/>
                <a:gd name="connsiteX129" fmla="*/ 381762 w 910018"/>
                <a:gd name="connsiteY129" fmla="*/ 117253 h 791432"/>
                <a:gd name="connsiteX130" fmla="*/ 377476 w 910018"/>
                <a:gd name="connsiteY130" fmla="*/ 120967 h 791432"/>
                <a:gd name="connsiteX131" fmla="*/ 372523 w 910018"/>
                <a:gd name="connsiteY131" fmla="*/ 120015 h 791432"/>
                <a:gd name="connsiteX132" fmla="*/ 366141 w 910018"/>
                <a:gd name="connsiteY132" fmla="*/ 108013 h 791432"/>
                <a:gd name="connsiteX133" fmla="*/ 358712 w 910018"/>
                <a:gd name="connsiteY133" fmla="*/ 112204 h 791432"/>
                <a:gd name="connsiteX134" fmla="*/ 358521 w 910018"/>
                <a:gd name="connsiteY134" fmla="*/ 110585 h 791432"/>
                <a:gd name="connsiteX135" fmla="*/ 353759 w 910018"/>
                <a:gd name="connsiteY135" fmla="*/ 111157 h 791432"/>
                <a:gd name="connsiteX136" fmla="*/ 352520 w 910018"/>
                <a:gd name="connsiteY136" fmla="*/ 114586 h 791432"/>
                <a:gd name="connsiteX137" fmla="*/ 348805 w 910018"/>
                <a:gd name="connsiteY137" fmla="*/ 110204 h 791432"/>
                <a:gd name="connsiteX138" fmla="*/ 346043 w 910018"/>
                <a:gd name="connsiteY138" fmla="*/ 113728 h 791432"/>
                <a:gd name="connsiteX139" fmla="*/ 349568 w 910018"/>
                <a:gd name="connsiteY139" fmla="*/ 116491 h 791432"/>
                <a:gd name="connsiteX140" fmla="*/ 348425 w 910018"/>
                <a:gd name="connsiteY140" fmla="*/ 119920 h 791432"/>
                <a:gd name="connsiteX141" fmla="*/ 357378 w 910018"/>
                <a:gd name="connsiteY141" fmla="*/ 126778 h 791432"/>
                <a:gd name="connsiteX142" fmla="*/ 357950 w 910018"/>
                <a:gd name="connsiteY142" fmla="*/ 131540 h 791432"/>
                <a:gd name="connsiteX143" fmla="*/ 358140 w 910018"/>
                <a:gd name="connsiteY143" fmla="*/ 133064 h 791432"/>
                <a:gd name="connsiteX144" fmla="*/ 361855 w 910018"/>
                <a:gd name="connsiteY144" fmla="*/ 137446 h 791432"/>
                <a:gd name="connsiteX145" fmla="*/ 367189 w 910018"/>
                <a:gd name="connsiteY145" fmla="*/ 141542 h 791432"/>
                <a:gd name="connsiteX146" fmla="*/ 364236 w 910018"/>
                <a:gd name="connsiteY146" fmla="*/ 143542 h 791432"/>
                <a:gd name="connsiteX147" fmla="*/ 368237 w 910018"/>
                <a:gd name="connsiteY147" fmla="*/ 149447 h 791432"/>
                <a:gd name="connsiteX148" fmla="*/ 361379 w 910018"/>
                <a:gd name="connsiteY148" fmla="*/ 158305 h 791432"/>
                <a:gd name="connsiteX149" fmla="*/ 356616 w 910018"/>
                <a:gd name="connsiteY149" fmla="*/ 158972 h 791432"/>
                <a:gd name="connsiteX150" fmla="*/ 355854 w 910018"/>
                <a:gd name="connsiteY150" fmla="*/ 165449 h 791432"/>
                <a:gd name="connsiteX151" fmla="*/ 348329 w 910018"/>
                <a:gd name="connsiteY151" fmla="*/ 169640 h 791432"/>
                <a:gd name="connsiteX152" fmla="*/ 343471 w 910018"/>
                <a:gd name="connsiteY152" fmla="*/ 168592 h 791432"/>
                <a:gd name="connsiteX153" fmla="*/ 342043 w 910018"/>
                <a:gd name="connsiteY153" fmla="*/ 170402 h 791432"/>
                <a:gd name="connsiteX154" fmla="*/ 341662 w 910018"/>
                <a:gd name="connsiteY154" fmla="*/ 167259 h 791432"/>
                <a:gd name="connsiteX155" fmla="*/ 340424 w 910018"/>
                <a:gd name="connsiteY155" fmla="*/ 170593 h 791432"/>
                <a:gd name="connsiteX156" fmla="*/ 335566 w 910018"/>
                <a:gd name="connsiteY156" fmla="*/ 169640 h 791432"/>
                <a:gd name="connsiteX157" fmla="*/ 333946 w 910018"/>
                <a:gd name="connsiteY157" fmla="*/ 169831 h 791432"/>
                <a:gd name="connsiteX158" fmla="*/ 333756 w 910018"/>
                <a:gd name="connsiteY158" fmla="*/ 168211 h 791432"/>
                <a:gd name="connsiteX159" fmla="*/ 331946 w 910018"/>
                <a:gd name="connsiteY159" fmla="*/ 166878 h 791432"/>
                <a:gd name="connsiteX160" fmla="*/ 327660 w 910018"/>
                <a:gd name="connsiteY160" fmla="*/ 170688 h 791432"/>
                <a:gd name="connsiteX161" fmla="*/ 328803 w 910018"/>
                <a:gd name="connsiteY161" fmla="*/ 167259 h 791432"/>
                <a:gd name="connsiteX162" fmla="*/ 328422 w 910018"/>
                <a:gd name="connsiteY162" fmla="*/ 164116 h 791432"/>
                <a:gd name="connsiteX163" fmla="*/ 323088 w 910018"/>
                <a:gd name="connsiteY163" fmla="*/ 160020 h 791432"/>
                <a:gd name="connsiteX164" fmla="*/ 319754 w 910018"/>
                <a:gd name="connsiteY164" fmla="*/ 158782 h 791432"/>
                <a:gd name="connsiteX165" fmla="*/ 316802 w 910018"/>
                <a:gd name="connsiteY165" fmla="*/ 160782 h 791432"/>
                <a:gd name="connsiteX166" fmla="*/ 312039 w 910018"/>
                <a:gd name="connsiteY166" fmla="*/ 161449 h 791432"/>
                <a:gd name="connsiteX167" fmla="*/ 310229 w 910018"/>
                <a:gd name="connsiteY167" fmla="*/ 160020 h 791432"/>
                <a:gd name="connsiteX168" fmla="*/ 296418 w 910018"/>
                <a:gd name="connsiteY168" fmla="*/ 164973 h 791432"/>
                <a:gd name="connsiteX169" fmla="*/ 294513 w 910018"/>
                <a:gd name="connsiteY169" fmla="*/ 162020 h 791432"/>
                <a:gd name="connsiteX170" fmla="*/ 290132 w 910018"/>
                <a:gd name="connsiteY170" fmla="*/ 165830 h 791432"/>
                <a:gd name="connsiteX171" fmla="*/ 286988 w 910018"/>
                <a:gd name="connsiteY171" fmla="*/ 166211 h 791432"/>
                <a:gd name="connsiteX172" fmla="*/ 283083 w 910018"/>
                <a:gd name="connsiteY172" fmla="*/ 173069 h 791432"/>
                <a:gd name="connsiteX173" fmla="*/ 279654 w 910018"/>
                <a:gd name="connsiteY173" fmla="*/ 171926 h 791432"/>
                <a:gd name="connsiteX174" fmla="*/ 279463 w 910018"/>
                <a:gd name="connsiteY174" fmla="*/ 170402 h 791432"/>
                <a:gd name="connsiteX175" fmla="*/ 277273 w 910018"/>
                <a:gd name="connsiteY175" fmla="*/ 165830 h 791432"/>
                <a:gd name="connsiteX176" fmla="*/ 274320 w 910018"/>
                <a:gd name="connsiteY176" fmla="*/ 167830 h 791432"/>
                <a:gd name="connsiteX177" fmla="*/ 274606 w 910018"/>
                <a:gd name="connsiteY177" fmla="*/ 169354 h 791432"/>
                <a:gd name="connsiteX178" fmla="*/ 266224 w 910018"/>
                <a:gd name="connsiteY178" fmla="*/ 167259 h 791432"/>
                <a:gd name="connsiteX179" fmla="*/ 273177 w 910018"/>
                <a:gd name="connsiteY179" fmla="*/ 171164 h 791432"/>
                <a:gd name="connsiteX180" fmla="*/ 269081 w 910018"/>
                <a:gd name="connsiteY180" fmla="*/ 176498 h 791432"/>
                <a:gd name="connsiteX181" fmla="*/ 272225 w 910018"/>
                <a:gd name="connsiteY181" fmla="*/ 176117 h 791432"/>
                <a:gd name="connsiteX182" fmla="*/ 274225 w 910018"/>
                <a:gd name="connsiteY182" fmla="*/ 179070 h 791432"/>
                <a:gd name="connsiteX183" fmla="*/ 274034 w 910018"/>
                <a:gd name="connsiteY183" fmla="*/ 190309 h 791432"/>
                <a:gd name="connsiteX184" fmla="*/ 271272 w 910018"/>
                <a:gd name="connsiteY184" fmla="*/ 193834 h 791432"/>
                <a:gd name="connsiteX185" fmla="*/ 269462 w 910018"/>
                <a:gd name="connsiteY185" fmla="*/ 192500 h 791432"/>
                <a:gd name="connsiteX186" fmla="*/ 266510 w 910018"/>
                <a:gd name="connsiteY186" fmla="*/ 194500 h 791432"/>
                <a:gd name="connsiteX187" fmla="*/ 261176 w 910018"/>
                <a:gd name="connsiteY187" fmla="*/ 203168 h 791432"/>
                <a:gd name="connsiteX188" fmla="*/ 245840 w 910018"/>
                <a:gd name="connsiteY188" fmla="*/ 221171 h 791432"/>
                <a:gd name="connsiteX189" fmla="*/ 245650 w 910018"/>
                <a:gd name="connsiteY189" fmla="*/ 219551 h 791432"/>
                <a:gd name="connsiteX190" fmla="*/ 244507 w 910018"/>
                <a:gd name="connsiteY190" fmla="*/ 210121 h 791432"/>
                <a:gd name="connsiteX191" fmla="*/ 238887 w 910018"/>
                <a:gd name="connsiteY191" fmla="*/ 204406 h 791432"/>
                <a:gd name="connsiteX192" fmla="*/ 238887 w 910018"/>
                <a:gd name="connsiteY192" fmla="*/ 204406 h 791432"/>
                <a:gd name="connsiteX193" fmla="*/ 233172 w 910018"/>
                <a:gd name="connsiteY193" fmla="*/ 197072 h 791432"/>
                <a:gd name="connsiteX194" fmla="*/ 226695 w 910018"/>
                <a:gd name="connsiteY194" fmla="*/ 196310 h 791432"/>
                <a:gd name="connsiteX195" fmla="*/ 227838 w 910018"/>
                <a:gd name="connsiteY195" fmla="*/ 192976 h 791432"/>
                <a:gd name="connsiteX196" fmla="*/ 221552 w 910018"/>
                <a:gd name="connsiteY196" fmla="*/ 193834 h 791432"/>
                <a:gd name="connsiteX197" fmla="*/ 218218 w 910018"/>
                <a:gd name="connsiteY197" fmla="*/ 192596 h 791432"/>
                <a:gd name="connsiteX198" fmla="*/ 218408 w 910018"/>
                <a:gd name="connsiteY198" fmla="*/ 194215 h 791432"/>
                <a:gd name="connsiteX199" fmla="*/ 213455 w 910018"/>
                <a:gd name="connsiteY199" fmla="*/ 193262 h 791432"/>
                <a:gd name="connsiteX200" fmla="*/ 215646 w 910018"/>
                <a:gd name="connsiteY200" fmla="*/ 197739 h 791432"/>
                <a:gd name="connsiteX201" fmla="*/ 214217 w 910018"/>
                <a:gd name="connsiteY201" fmla="*/ 199549 h 791432"/>
                <a:gd name="connsiteX202" fmla="*/ 212027 w 910018"/>
                <a:gd name="connsiteY202" fmla="*/ 194977 h 791432"/>
                <a:gd name="connsiteX203" fmla="*/ 202597 w 910018"/>
                <a:gd name="connsiteY203" fmla="*/ 196215 h 791432"/>
                <a:gd name="connsiteX204" fmla="*/ 203549 w 910018"/>
                <a:gd name="connsiteY204" fmla="*/ 191262 h 791432"/>
                <a:gd name="connsiteX205" fmla="*/ 199835 w 910018"/>
                <a:gd name="connsiteY205" fmla="*/ 186976 h 791432"/>
                <a:gd name="connsiteX206" fmla="*/ 196882 w 910018"/>
                <a:gd name="connsiteY206" fmla="*/ 188881 h 791432"/>
                <a:gd name="connsiteX207" fmla="*/ 184976 w 910018"/>
                <a:gd name="connsiteY207" fmla="*/ 184023 h 791432"/>
                <a:gd name="connsiteX208" fmla="*/ 186214 w 910018"/>
                <a:gd name="connsiteY208" fmla="*/ 193453 h 791432"/>
                <a:gd name="connsiteX209" fmla="*/ 182880 w 910018"/>
                <a:gd name="connsiteY209" fmla="*/ 192310 h 791432"/>
                <a:gd name="connsiteX210" fmla="*/ 174974 w 910018"/>
                <a:gd name="connsiteY210" fmla="*/ 193262 h 791432"/>
                <a:gd name="connsiteX211" fmla="*/ 174593 w 910018"/>
                <a:gd name="connsiteY211" fmla="*/ 190119 h 791432"/>
                <a:gd name="connsiteX212" fmla="*/ 175355 w 910018"/>
                <a:gd name="connsiteY212" fmla="*/ 183642 h 791432"/>
                <a:gd name="connsiteX213" fmla="*/ 175546 w 910018"/>
                <a:gd name="connsiteY213" fmla="*/ 172402 h 791432"/>
                <a:gd name="connsiteX214" fmla="*/ 181261 w 910018"/>
                <a:gd name="connsiteY214" fmla="*/ 166878 h 791432"/>
                <a:gd name="connsiteX215" fmla="*/ 180975 w 910018"/>
                <a:gd name="connsiteY215" fmla="*/ 165259 h 791432"/>
                <a:gd name="connsiteX216" fmla="*/ 177832 w 910018"/>
                <a:gd name="connsiteY216" fmla="*/ 165640 h 791432"/>
                <a:gd name="connsiteX217" fmla="*/ 170307 w 910018"/>
                <a:gd name="connsiteY217" fmla="*/ 156972 h 791432"/>
                <a:gd name="connsiteX218" fmla="*/ 170307 w 910018"/>
                <a:gd name="connsiteY218" fmla="*/ 156972 h 791432"/>
                <a:gd name="connsiteX219" fmla="*/ 170783 w 910018"/>
                <a:gd name="connsiteY219" fmla="*/ 160210 h 791432"/>
                <a:gd name="connsiteX220" fmla="*/ 166021 w 910018"/>
                <a:gd name="connsiteY220" fmla="*/ 160782 h 791432"/>
                <a:gd name="connsiteX221" fmla="*/ 166211 w 910018"/>
                <a:gd name="connsiteY221" fmla="*/ 162306 h 791432"/>
                <a:gd name="connsiteX222" fmla="*/ 159925 w 910018"/>
                <a:gd name="connsiteY222" fmla="*/ 163163 h 791432"/>
                <a:gd name="connsiteX223" fmla="*/ 159353 w 910018"/>
                <a:gd name="connsiteY223" fmla="*/ 171259 h 791432"/>
                <a:gd name="connsiteX224" fmla="*/ 156401 w 910018"/>
                <a:gd name="connsiteY224" fmla="*/ 173260 h 791432"/>
                <a:gd name="connsiteX225" fmla="*/ 157925 w 910018"/>
                <a:gd name="connsiteY225" fmla="*/ 172974 h 791432"/>
                <a:gd name="connsiteX226" fmla="*/ 156782 w 910018"/>
                <a:gd name="connsiteY226" fmla="*/ 176403 h 791432"/>
                <a:gd name="connsiteX227" fmla="*/ 154972 w 910018"/>
                <a:gd name="connsiteY227" fmla="*/ 174974 h 791432"/>
                <a:gd name="connsiteX228" fmla="*/ 152210 w 910018"/>
                <a:gd name="connsiteY228" fmla="*/ 178594 h 791432"/>
                <a:gd name="connsiteX229" fmla="*/ 152400 w 910018"/>
                <a:gd name="connsiteY229" fmla="*/ 180118 h 791432"/>
                <a:gd name="connsiteX230" fmla="*/ 151257 w 910018"/>
                <a:gd name="connsiteY230" fmla="*/ 183451 h 791432"/>
                <a:gd name="connsiteX231" fmla="*/ 146495 w 910018"/>
                <a:gd name="connsiteY231" fmla="*/ 184118 h 791432"/>
                <a:gd name="connsiteX232" fmla="*/ 147542 w 910018"/>
                <a:gd name="connsiteY232" fmla="*/ 192024 h 791432"/>
                <a:gd name="connsiteX233" fmla="*/ 145733 w 910018"/>
                <a:gd name="connsiteY233" fmla="*/ 190595 h 791432"/>
                <a:gd name="connsiteX234" fmla="*/ 146399 w 910018"/>
                <a:gd name="connsiteY234" fmla="*/ 195358 h 791432"/>
                <a:gd name="connsiteX235" fmla="*/ 146971 w 910018"/>
                <a:gd name="connsiteY235" fmla="*/ 200120 h 791432"/>
                <a:gd name="connsiteX236" fmla="*/ 149543 w 910018"/>
                <a:gd name="connsiteY236" fmla="*/ 207740 h 791432"/>
                <a:gd name="connsiteX237" fmla="*/ 153543 w 910018"/>
                <a:gd name="connsiteY237" fmla="*/ 213646 h 791432"/>
                <a:gd name="connsiteX238" fmla="*/ 152495 w 910018"/>
                <a:gd name="connsiteY238" fmla="*/ 218599 h 791432"/>
                <a:gd name="connsiteX239" fmla="*/ 159258 w 910018"/>
                <a:gd name="connsiteY239" fmla="*/ 220980 h 791432"/>
                <a:gd name="connsiteX240" fmla="*/ 159449 w 910018"/>
                <a:gd name="connsiteY240" fmla="*/ 222504 h 791432"/>
                <a:gd name="connsiteX241" fmla="*/ 162020 w 910018"/>
                <a:gd name="connsiteY241" fmla="*/ 230219 h 791432"/>
                <a:gd name="connsiteX242" fmla="*/ 160496 w 910018"/>
                <a:gd name="connsiteY242" fmla="*/ 230410 h 791432"/>
                <a:gd name="connsiteX243" fmla="*/ 163068 w 910018"/>
                <a:gd name="connsiteY243" fmla="*/ 238125 h 791432"/>
                <a:gd name="connsiteX244" fmla="*/ 156686 w 910018"/>
                <a:gd name="connsiteY244" fmla="*/ 238887 h 791432"/>
                <a:gd name="connsiteX245" fmla="*/ 155162 w 910018"/>
                <a:gd name="connsiteY245" fmla="*/ 239173 h 791432"/>
                <a:gd name="connsiteX246" fmla="*/ 152019 w 910018"/>
                <a:gd name="connsiteY246" fmla="*/ 239554 h 791432"/>
                <a:gd name="connsiteX247" fmla="*/ 148304 w 910018"/>
                <a:gd name="connsiteY247" fmla="*/ 248031 h 791432"/>
                <a:gd name="connsiteX248" fmla="*/ 143351 w 910018"/>
                <a:gd name="connsiteY248" fmla="*/ 247078 h 791432"/>
                <a:gd name="connsiteX249" fmla="*/ 143732 w 910018"/>
                <a:gd name="connsiteY249" fmla="*/ 250222 h 791432"/>
                <a:gd name="connsiteX250" fmla="*/ 137636 w 910018"/>
                <a:gd name="connsiteY250" fmla="*/ 252603 h 791432"/>
                <a:gd name="connsiteX251" fmla="*/ 135636 w 910018"/>
                <a:gd name="connsiteY251" fmla="*/ 249650 h 791432"/>
                <a:gd name="connsiteX252" fmla="*/ 132874 w 910018"/>
                <a:gd name="connsiteY252" fmla="*/ 266033 h 791432"/>
                <a:gd name="connsiteX253" fmla="*/ 131350 w 910018"/>
                <a:gd name="connsiteY253" fmla="*/ 266224 h 791432"/>
                <a:gd name="connsiteX254" fmla="*/ 130207 w 910018"/>
                <a:gd name="connsiteY254" fmla="*/ 269557 h 791432"/>
                <a:gd name="connsiteX255" fmla="*/ 126968 w 910018"/>
                <a:gd name="connsiteY255" fmla="*/ 269938 h 791432"/>
                <a:gd name="connsiteX256" fmla="*/ 128969 w 910018"/>
                <a:gd name="connsiteY256" fmla="*/ 272891 h 791432"/>
                <a:gd name="connsiteX257" fmla="*/ 125825 w 910018"/>
                <a:gd name="connsiteY257" fmla="*/ 273367 h 791432"/>
                <a:gd name="connsiteX258" fmla="*/ 124682 w 910018"/>
                <a:gd name="connsiteY258" fmla="*/ 276701 h 791432"/>
                <a:gd name="connsiteX259" fmla="*/ 120301 w 910018"/>
                <a:gd name="connsiteY259" fmla="*/ 280416 h 791432"/>
                <a:gd name="connsiteX260" fmla="*/ 119158 w 910018"/>
                <a:gd name="connsiteY260" fmla="*/ 283845 h 791432"/>
                <a:gd name="connsiteX261" fmla="*/ 120968 w 910018"/>
                <a:gd name="connsiteY261" fmla="*/ 285178 h 791432"/>
                <a:gd name="connsiteX262" fmla="*/ 119539 w 910018"/>
                <a:gd name="connsiteY262" fmla="*/ 286988 h 791432"/>
                <a:gd name="connsiteX263" fmla="*/ 110680 w 910018"/>
                <a:gd name="connsiteY263" fmla="*/ 292894 h 791432"/>
                <a:gd name="connsiteX264" fmla="*/ 107347 w 910018"/>
                <a:gd name="connsiteY264" fmla="*/ 291751 h 791432"/>
                <a:gd name="connsiteX265" fmla="*/ 106109 w 910018"/>
                <a:gd name="connsiteY265" fmla="*/ 295084 h 791432"/>
                <a:gd name="connsiteX266" fmla="*/ 97250 w 910018"/>
                <a:gd name="connsiteY266" fmla="*/ 288226 h 791432"/>
                <a:gd name="connsiteX267" fmla="*/ 95917 w 910018"/>
                <a:gd name="connsiteY267" fmla="*/ 289941 h 791432"/>
                <a:gd name="connsiteX268" fmla="*/ 93726 w 910018"/>
                <a:gd name="connsiteY268" fmla="*/ 285464 h 791432"/>
                <a:gd name="connsiteX269" fmla="*/ 92678 w 910018"/>
                <a:gd name="connsiteY269" fmla="*/ 290417 h 791432"/>
                <a:gd name="connsiteX270" fmla="*/ 88202 w 910018"/>
                <a:gd name="connsiteY270" fmla="*/ 292608 h 791432"/>
                <a:gd name="connsiteX271" fmla="*/ 85249 w 910018"/>
                <a:gd name="connsiteY271" fmla="*/ 294513 h 791432"/>
                <a:gd name="connsiteX272" fmla="*/ 76771 w 910018"/>
                <a:gd name="connsiteY272" fmla="*/ 290798 h 791432"/>
                <a:gd name="connsiteX273" fmla="*/ 75343 w 910018"/>
                <a:gd name="connsiteY273" fmla="*/ 292608 h 791432"/>
                <a:gd name="connsiteX274" fmla="*/ 70866 w 910018"/>
                <a:gd name="connsiteY274" fmla="*/ 294799 h 791432"/>
                <a:gd name="connsiteX275" fmla="*/ 66104 w 910018"/>
                <a:gd name="connsiteY275" fmla="*/ 295370 h 791432"/>
                <a:gd name="connsiteX276" fmla="*/ 65151 w 910018"/>
                <a:gd name="connsiteY276" fmla="*/ 300323 h 791432"/>
                <a:gd name="connsiteX277" fmla="*/ 63722 w 910018"/>
                <a:gd name="connsiteY277" fmla="*/ 302133 h 791432"/>
                <a:gd name="connsiteX278" fmla="*/ 56864 w 910018"/>
                <a:gd name="connsiteY278" fmla="*/ 298132 h 791432"/>
                <a:gd name="connsiteX279" fmla="*/ 54483 w 910018"/>
                <a:gd name="connsiteY279" fmla="*/ 292036 h 791432"/>
                <a:gd name="connsiteX280" fmla="*/ 51245 w 910018"/>
                <a:gd name="connsiteY280" fmla="*/ 292417 h 791432"/>
                <a:gd name="connsiteX281" fmla="*/ 48292 w 910018"/>
                <a:gd name="connsiteY281" fmla="*/ 294418 h 791432"/>
                <a:gd name="connsiteX282" fmla="*/ 53912 w 910018"/>
                <a:gd name="connsiteY282" fmla="*/ 300133 h 791432"/>
                <a:gd name="connsiteX283" fmla="*/ 49339 w 910018"/>
                <a:gd name="connsiteY283" fmla="*/ 302323 h 791432"/>
                <a:gd name="connsiteX284" fmla="*/ 44577 w 910018"/>
                <a:gd name="connsiteY284" fmla="*/ 302895 h 791432"/>
                <a:gd name="connsiteX285" fmla="*/ 40291 w 910018"/>
                <a:gd name="connsiteY285" fmla="*/ 306705 h 791432"/>
                <a:gd name="connsiteX286" fmla="*/ 41053 w 910018"/>
                <a:gd name="connsiteY286" fmla="*/ 312992 h 791432"/>
                <a:gd name="connsiteX287" fmla="*/ 42672 w 910018"/>
                <a:gd name="connsiteY287" fmla="*/ 312801 h 791432"/>
                <a:gd name="connsiteX288" fmla="*/ 42101 w 910018"/>
                <a:gd name="connsiteY288" fmla="*/ 320897 h 791432"/>
                <a:gd name="connsiteX289" fmla="*/ 39529 w 910018"/>
                <a:gd name="connsiteY289" fmla="*/ 326041 h 791432"/>
                <a:gd name="connsiteX290" fmla="*/ 39338 w 910018"/>
                <a:gd name="connsiteY290" fmla="*/ 324421 h 791432"/>
                <a:gd name="connsiteX291" fmla="*/ 37719 w 910018"/>
                <a:gd name="connsiteY291" fmla="*/ 324612 h 791432"/>
                <a:gd name="connsiteX292" fmla="*/ 37910 w 910018"/>
                <a:gd name="connsiteY292" fmla="*/ 326231 h 791432"/>
                <a:gd name="connsiteX293" fmla="*/ 36004 w 910018"/>
                <a:gd name="connsiteY293" fmla="*/ 323278 h 791432"/>
                <a:gd name="connsiteX294" fmla="*/ 32576 w 910018"/>
                <a:gd name="connsiteY294" fmla="*/ 322135 h 791432"/>
                <a:gd name="connsiteX295" fmla="*/ 30671 w 910018"/>
                <a:gd name="connsiteY295" fmla="*/ 319183 h 791432"/>
                <a:gd name="connsiteX296" fmla="*/ 27242 w 910018"/>
                <a:gd name="connsiteY296" fmla="*/ 317944 h 791432"/>
                <a:gd name="connsiteX297" fmla="*/ 23336 w 910018"/>
                <a:gd name="connsiteY297" fmla="*/ 324898 h 791432"/>
                <a:gd name="connsiteX298" fmla="*/ 23527 w 910018"/>
                <a:gd name="connsiteY298" fmla="*/ 326422 h 791432"/>
                <a:gd name="connsiteX299" fmla="*/ 21622 w 910018"/>
                <a:gd name="connsiteY299" fmla="*/ 336328 h 791432"/>
                <a:gd name="connsiteX300" fmla="*/ 17050 w 910018"/>
                <a:gd name="connsiteY300" fmla="*/ 338518 h 791432"/>
                <a:gd name="connsiteX301" fmla="*/ 14478 w 910018"/>
                <a:gd name="connsiteY301" fmla="*/ 343662 h 791432"/>
                <a:gd name="connsiteX302" fmla="*/ 8572 w 910018"/>
                <a:gd name="connsiteY302" fmla="*/ 347567 h 791432"/>
                <a:gd name="connsiteX303" fmla="*/ 7811 w 910018"/>
                <a:gd name="connsiteY303" fmla="*/ 354139 h 791432"/>
                <a:gd name="connsiteX304" fmla="*/ 12954 w 910018"/>
                <a:gd name="connsiteY304" fmla="*/ 356711 h 791432"/>
                <a:gd name="connsiteX305" fmla="*/ 15145 w 910018"/>
                <a:gd name="connsiteY305" fmla="*/ 361188 h 791432"/>
                <a:gd name="connsiteX306" fmla="*/ 18860 w 910018"/>
                <a:gd name="connsiteY306" fmla="*/ 365569 h 791432"/>
                <a:gd name="connsiteX307" fmla="*/ 19907 w 910018"/>
                <a:gd name="connsiteY307" fmla="*/ 373475 h 791432"/>
                <a:gd name="connsiteX308" fmla="*/ 13621 w 910018"/>
                <a:gd name="connsiteY308" fmla="*/ 387096 h 791432"/>
                <a:gd name="connsiteX309" fmla="*/ 18955 w 910018"/>
                <a:gd name="connsiteY309" fmla="*/ 391192 h 791432"/>
                <a:gd name="connsiteX310" fmla="*/ 23146 w 910018"/>
                <a:gd name="connsiteY310" fmla="*/ 398717 h 791432"/>
                <a:gd name="connsiteX311" fmla="*/ 26099 w 910018"/>
                <a:gd name="connsiteY311" fmla="*/ 409575 h 791432"/>
                <a:gd name="connsiteX312" fmla="*/ 29432 w 910018"/>
                <a:gd name="connsiteY312" fmla="*/ 410718 h 791432"/>
                <a:gd name="connsiteX313" fmla="*/ 31242 w 910018"/>
                <a:gd name="connsiteY313" fmla="*/ 412051 h 791432"/>
                <a:gd name="connsiteX314" fmla="*/ 32861 w 910018"/>
                <a:gd name="connsiteY314" fmla="*/ 411861 h 791432"/>
                <a:gd name="connsiteX315" fmla="*/ 35052 w 910018"/>
                <a:gd name="connsiteY315" fmla="*/ 416433 h 791432"/>
                <a:gd name="connsiteX316" fmla="*/ 29337 w 910018"/>
                <a:gd name="connsiteY316" fmla="*/ 421957 h 791432"/>
                <a:gd name="connsiteX317" fmla="*/ 27527 w 910018"/>
                <a:gd name="connsiteY317" fmla="*/ 420529 h 791432"/>
                <a:gd name="connsiteX318" fmla="*/ 26765 w 910018"/>
                <a:gd name="connsiteY318" fmla="*/ 427101 h 791432"/>
                <a:gd name="connsiteX319" fmla="*/ 22574 w 910018"/>
                <a:gd name="connsiteY319" fmla="*/ 432435 h 791432"/>
                <a:gd name="connsiteX320" fmla="*/ 27908 w 910018"/>
                <a:gd name="connsiteY320" fmla="*/ 436531 h 791432"/>
                <a:gd name="connsiteX321" fmla="*/ 27337 w 910018"/>
                <a:gd name="connsiteY321" fmla="*/ 431863 h 791432"/>
                <a:gd name="connsiteX322" fmla="*/ 38386 w 910018"/>
                <a:gd name="connsiteY322" fmla="*/ 430435 h 791432"/>
                <a:gd name="connsiteX323" fmla="*/ 40196 w 910018"/>
                <a:gd name="connsiteY323" fmla="*/ 431768 h 791432"/>
                <a:gd name="connsiteX324" fmla="*/ 43339 w 910018"/>
                <a:gd name="connsiteY324" fmla="*/ 431387 h 791432"/>
                <a:gd name="connsiteX325" fmla="*/ 46863 w 910018"/>
                <a:gd name="connsiteY325" fmla="*/ 434150 h 791432"/>
                <a:gd name="connsiteX326" fmla="*/ 51435 w 910018"/>
                <a:gd name="connsiteY326" fmla="*/ 431959 h 791432"/>
                <a:gd name="connsiteX327" fmla="*/ 56579 w 910018"/>
                <a:gd name="connsiteY327" fmla="*/ 421672 h 791432"/>
                <a:gd name="connsiteX328" fmla="*/ 58103 w 910018"/>
                <a:gd name="connsiteY328" fmla="*/ 421481 h 791432"/>
                <a:gd name="connsiteX329" fmla="*/ 62103 w 910018"/>
                <a:gd name="connsiteY329" fmla="*/ 427387 h 791432"/>
                <a:gd name="connsiteX330" fmla="*/ 58769 w 910018"/>
                <a:gd name="connsiteY330" fmla="*/ 439007 h 791432"/>
                <a:gd name="connsiteX331" fmla="*/ 57531 w 910018"/>
                <a:gd name="connsiteY331" fmla="*/ 442436 h 791432"/>
                <a:gd name="connsiteX332" fmla="*/ 59531 w 910018"/>
                <a:gd name="connsiteY332" fmla="*/ 445389 h 791432"/>
                <a:gd name="connsiteX333" fmla="*/ 58007 w 910018"/>
                <a:gd name="connsiteY333" fmla="*/ 445580 h 791432"/>
                <a:gd name="connsiteX334" fmla="*/ 59912 w 910018"/>
                <a:gd name="connsiteY334" fmla="*/ 448532 h 791432"/>
                <a:gd name="connsiteX335" fmla="*/ 55436 w 910018"/>
                <a:gd name="connsiteY335" fmla="*/ 450723 h 791432"/>
                <a:gd name="connsiteX336" fmla="*/ 51911 w 910018"/>
                <a:gd name="connsiteY336" fmla="*/ 473583 h 791432"/>
                <a:gd name="connsiteX337" fmla="*/ 46958 w 910018"/>
                <a:gd name="connsiteY337" fmla="*/ 472630 h 791432"/>
                <a:gd name="connsiteX338" fmla="*/ 45625 w 910018"/>
                <a:gd name="connsiteY338" fmla="*/ 474440 h 791432"/>
                <a:gd name="connsiteX339" fmla="*/ 42291 w 910018"/>
                <a:gd name="connsiteY339" fmla="*/ 473202 h 791432"/>
                <a:gd name="connsiteX340" fmla="*/ 41053 w 910018"/>
                <a:gd name="connsiteY340" fmla="*/ 476536 h 791432"/>
                <a:gd name="connsiteX341" fmla="*/ 39910 w 910018"/>
                <a:gd name="connsiteY341" fmla="*/ 479965 h 791432"/>
                <a:gd name="connsiteX342" fmla="*/ 36767 w 910018"/>
                <a:gd name="connsiteY342" fmla="*/ 480346 h 791432"/>
                <a:gd name="connsiteX343" fmla="*/ 34957 w 910018"/>
                <a:gd name="connsiteY343" fmla="*/ 478917 h 791432"/>
                <a:gd name="connsiteX344" fmla="*/ 28480 w 910018"/>
                <a:gd name="connsiteY344" fmla="*/ 478155 h 791432"/>
                <a:gd name="connsiteX345" fmla="*/ 23908 w 910018"/>
                <a:gd name="connsiteY345" fmla="*/ 480346 h 791432"/>
                <a:gd name="connsiteX346" fmla="*/ 23527 w 910018"/>
                <a:gd name="connsiteY346" fmla="*/ 490061 h 791432"/>
                <a:gd name="connsiteX347" fmla="*/ 20574 w 910018"/>
                <a:gd name="connsiteY347" fmla="*/ 504825 h 791432"/>
                <a:gd name="connsiteX348" fmla="*/ 19050 w 910018"/>
                <a:gd name="connsiteY348" fmla="*/ 505015 h 791432"/>
                <a:gd name="connsiteX349" fmla="*/ 20003 w 910018"/>
                <a:gd name="connsiteY349" fmla="*/ 512921 h 791432"/>
                <a:gd name="connsiteX350" fmla="*/ 15716 w 910018"/>
                <a:gd name="connsiteY350" fmla="*/ 516731 h 791432"/>
                <a:gd name="connsiteX351" fmla="*/ 12383 w 910018"/>
                <a:gd name="connsiteY351" fmla="*/ 515493 h 791432"/>
                <a:gd name="connsiteX352" fmla="*/ 857 w 910018"/>
                <a:gd name="connsiteY352" fmla="*/ 513778 h 791432"/>
                <a:gd name="connsiteX353" fmla="*/ 3143 w 910018"/>
                <a:gd name="connsiteY353" fmla="*/ 531114 h 791432"/>
                <a:gd name="connsiteX354" fmla="*/ 4477 w 910018"/>
                <a:gd name="connsiteY354" fmla="*/ 529400 h 791432"/>
                <a:gd name="connsiteX355" fmla="*/ 6668 w 910018"/>
                <a:gd name="connsiteY355" fmla="*/ 533876 h 791432"/>
                <a:gd name="connsiteX356" fmla="*/ 5905 w 910018"/>
                <a:gd name="connsiteY356" fmla="*/ 540353 h 791432"/>
                <a:gd name="connsiteX357" fmla="*/ 0 w 910018"/>
                <a:gd name="connsiteY357" fmla="*/ 544354 h 791432"/>
                <a:gd name="connsiteX358" fmla="*/ 16383 w 910018"/>
                <a:gd name="connsiteY358" fmla="*/ 547116 h 791432"/>
                <a:gd name="connsiteX359" fmla="*/ 20860 w 910018"/>
                <a:gd name="connsiteY359" fmla="*/ 544925 h 791432"/>
                <a:gd name="connsiteX360" fmla="*/ 24479 w 910018"/>
                <a:gd name="connsiteY360" fmla="*/ 547688 h 791432"/>
                <a:gd name="connsiteX361" fmla="*/ 28385 w 910018"/>
                <a:gd name="connsiteY361" fmla="*/ 540734 h 791432"/>
                <a:gd name="connsiteX362" fmla="*/ 31528 w 910018"/>
                <a:gd name="connsiteY362" fmla="*/ 540353 h 791432"/>
                <a:gd name="connsiteX363" fmla="*/ 34480 w 910018"/>
                <a:gd name="connsiteY363" fmla="*/ 538353 h 791432"/>
                <a:gd name="connsiteX364" fmla="*/ 37910 w 910018"/>
                <a:gd name="connsiteY364" fmla="*/ 539496 h 791432"/>
                <a:gd name="connsiteX365" fmla="*/ 42386 w 910018"/>
                <a:gd name="connsiteY365" fmla="*/ 537401 h 791432"/>
                <a:gd name="connsiteX366" fmla="*/ 53245 w 910018"/>
                <a:gd name="connsiteY366" fmla="*/ 534352 h 791432"/>
                <a:gd name="connsiteX367" fmla="*/ 63532 w 910018"/>
                <a:gd name="connsiteY367" fmla="*/ 526637 h 791432"/>
                <a:gd name="connsiteX368" fmla="*/ 71533 w 910018"/>
                <a:gd name="connsiteY368" fmla="*/ 527209 h 791432"/>
                <a:gd name="connsiteX369" fmla="*/ 73343 w 910018"/>
                <a:gd name="connsiteY369" fmla="*/ 528638 h 791432"/>
                <a:gd name="connsiteX370" fmla="*/ 76962 w 910018"/>
                <a:gd name="connsiteY370" fmla="*/ 544163 h 791432"/>
                <a:gd name="connsiteX371" fmla="*/ 81915 w 910018"/>
                <a:gd name="connsiteY371" fmla="*/ 545116 h 791432"/>
                <a:gd name="connsiteX372" fmla="*/ 83820 w 910018"/>
                <a:gd name="connsiteY372" fmla="*/ 548068 h 791432"/>
                <a:gd name="connsiteX373" fmla="*/ 84487 w 910018"/>
                <a:gd name="connsiteY373" fmla="*/ 552831 h 791432"/>
                <a:gd name="connsiteX374" fmla="*/ 86678 w 910018"/>
                <a:gd name="connsiteY374" fmla="*/ 557403 h 791432"/>
                <a:gd name="connsiteX375" fmla="*/ 86296 w 910018"/>
                <a:gd name="connsiteY375" fmla="*/ 567023 h 791432"/>
                <a:gd name="connsiteX376" fmla="*/ 85344 w 910018"/>
                <a:gd name="connsiteY376" fmla="*/ 571976 h 791432"/>
                <a:gd name="connsiteX377" fmla="*/ 81153 w 910018"/>
                <a:gd name="connsiteY377" fmla="*/ 577310 h 791432"/>
                <a:gd name="connsiteX378" fmla="*/ 81534 w 910018"/>
                <a:gd name="connsiteY378" fmla="*/ 580453 h 791432"/>
                <a:gd name="connsiteX379" fmla="*/ 79248 w 910018"/>
                <a:gd name="connsiteY379" fmla="*/ 587216 h 791432"/>
                <a:gd name="connsiteX380" fmla="*/ 78010 w 910018"/>
                <a:gd name="connsiteY380" fmla="*/ 590550 h 791432"/>
                <a:gd name="connsiteX381" fmla="*/ 80010 w 910018"/>
                <a:gd name="connsiteY381" fmla="*/ 593503 h 791432"/>
                <a:gd name="connsiteX382" fmla="*/ 82963 w 910018"/>
                <a:gd name="connsiteY382" fmla="*/ 591502 h 791432"/>
                <a:gd name="connsiteX383" fmla="*/ 85344 w 910018"/>
                <a:gd name="connsiteY383" fmla="*/ 584835 h 791432"/>
                <a:gd name="connsiteX384" fmla="*/ 101537 w 910018"/>
                <a:gd name="connsiteY384" fmla="*/ 585978 h 791432"/>
                <a:gd name="connsiteX385" fmla="*/ 102679 w 910018"/>
                <a:gd name="connsiteY385" fmla="*/ 595408 h 791432"/>
                <a:gd name="connsiteX386" fmla="*/ 104299 w 910018"/>
                <a:gd name="connsiteY386" fmla="*/ 595217 h 791432"/>
                <a:gd name="connsiteX387" fmla="*/ 108585 w 910018"/>
                <a:gd name="connsiteY387" fmla="*/ 591502 h 791432"/>
                <a:gd name="connsiteX388" fmla="*/ 113538 w 910018"/>
                <a:gd name="connsiteY388" fmla="*/ 592455 h 791432"/>
                <a:gd name="connsiteX389" fmla="*/ 115919 w 910018"/>
                <a:gd name="connsiteY389" fmla="*/ 598551 h 791432"/>
                <a:gd name="connsiteX390" fmla="*/ 119539 w 910018"/>
                <a:gd name="connsiteY390" fmla="*/ 601313 h 791432"/>
                <a:gd name="connsiteX391" fmla="*/ 119539 w 910018"/>
                <a:gd name="connsiteY391" fmla="*/ 614172 h 791432"/>
                <a:gd name="connsiteX392" fmla="*/ 124301 w 910018"/>
                <a:gd name="connsiteY392" fmla="*/ 613505 h 791432"/>
                <a:gd name="connsiteX393" fmla="*/ 127063 w 910018"/>
                <a:gd name="connsiteY393" fmla="*/ 609981 h 791432"/>
                <a:gd name="connsiteX394" fmla="*/ 130588 w 910018"/>
                <a:gd name="connsiteY394" fmla="*/ 612743 h 791432"/>
                <a:gd name="connsiteX395" fmla="*/ 130397 w 910018"/>
                <a:gd name="connsiteY395" fmla="*/ 611124 h 791432"/>
                <a:gd name="connsiteX396" fmla="*/ 136874 w 910018"/>
                <a:gd name="connsiteY396" fmla="*/ 611886 h 791432"/>
                <a:gd name="connsiteX397" fmla="*/ 138303 w 910018"/>
                <a:gd name="connsiteY397" fmla="*/ 610172 h 791432"/>
                <a:gd name="connsiteX398" fmla="*/ 139827 w 910018"/>
                <a:gd name="connsiteY398" fmla="*/ 609981 h 791432"/>
                <a:gd name="connsiteX399" fmla="*/ 143256 w 910018"/>
                <a:gd name="connsiteY399" fmla="*/ 611124 h 791432"/>
                <a:gd name="connsiteX400" fmla="*/ 145352 w 910018"/>
                <a:gd name="connsiteY400" fmla="*/ 615601 h 791432"/>
                <a:gd name="connsiteX401" fmla="*/ 151733 w 910018"/>
                <a:gd name="connsiteY401" fmla="*/ 614839 h 791432"/>
                <a:gd name="connsiteX402" fmla="*/ 155067 w 910018"/>
                <a:gd name="connsiteY402" fmla="*/ 615982 h 791432"/>
                <a:gd name="connsiteX403" fmla="*/ 162592 w 910018"/>
                <a:gd name="connsiteY403" fmla="*/ 611886 h 791432"/>
                <a:gd name="connsiteX404" fmla="*/ 167926 w 910018"/>
                <a:gd name="connsiteY404" fmla="*/ 615982 h 791432"/>
                <a:gd name="connsiteX405" fmla="*/ 166688 w 910018"/>
                <a:gd name="connsiteY405" fmla="*/ 619315 h 791432"/>
                <a:gd name="connsiteX406" fmla="*/ 173641 w 910018"/>
                <a:gd name="connsiteY406" fmla="*/ 623316 h 791432"/>
                <a:gd name="connsiteX407" fmla="*/ 174784 w 910018"/>
                <a:gd name="connsiteY407" fmla="*/ 619887 h 791432"/>
                <a:gd name="connsiteX408" fmla="*/ 180118 w 910018"/>
                <a:gd name="connsiteY408" fmla="*/ 624078 h 791432"/>
                <a:gd name="connsiteX409" fmla="*/ 178022 w 910018"/>
                <a:gd name="connsiteY409" fmla="*/ 632365 h 791432"/>
                <a:gd name="connsiteX410" fmla="*/ 179927 w 910018"/>
                <a:gd name="connsiteY410" fmla="*/ 635318 h 791432"/>
                <a:gd name="connsiteX411" fmla="*/ 178784 w 910018"/>
                <a:gd name="connsiteY411" fmla="*/ 638651 h 791432"/>
                <a:gd name="connsiteX412" fmla="*/ 179165 w 910018"/>
                <a:gd name="connsiteY412" fmla="*/ 641794 h 791432"/>
                <a:gd name="connsiteX413" fmla="*/ 175070 w 910018"/>
                <a:gd name="connsiteY413" fmla="*/ 647128 h 791432"/>
                <a:gd name="connsiteX414" fmla="*/ 176879 w 910018"/>
                <a:gd name="connsiteY414" fmla="*/ 648557 h 791432"/>
                <a:gd name="connsiteX415" fmla="*/ 175641 w 910018"/>
                <a:gd name="connsiteY415" fmla="*/ 651891 h 791432"/>
                <a:gd name="connsiteX416" fmla="*/ 175832 w 910018"/>
                <a:gd name="connsiteY416" fmla="*/ 653415 h 791432"/>
                <a:gd name="connsiteX417" fmla="*/ 177641 w 910018"/>
                <a:gd name="connsiteY417" fmla="*/ 654844 h 791432"/>
                <a:gd name="connsiteX418" fmla="*/ 184404 w 910018"/>
                <a:gd name="connsiteY418" fmla="*/ 657225 h 791432"/>
                <a:gd name="connsiteX419" fmla="*/ 185738 w 910018"/>
                <a:gd name="connsiteY419" fmla="*/ 655415 h 791432"/>
                <a:gd name="connsiteX420" fmla="*/ 189071 w 910018"/>
                <a:gd name="connsiteY420" fmla="*/ 656558 h 791432"/>
                <a:gd name="connsiteX421" fmla="*/ 190500 w 910018"/>
                <a:gd name="connsiteY421" fmla="*/ 654844 h 791432"/>
                <a:gd name="connsiteX422" fmla="*/ 192691 w 910018"/>
                <a:gd name="connsiteY422" fmla="*/ 659321 h 791432"/>
                <a:gd name="connsiteX423" fmla="*/ 194977 w 910018"/>
                <a:gd name="connsiteY423" fmla="*/ 652653 h 791432"/>
                <a:gd name="connsiteX424" fmla="*/ 205835 w 910018"/>
                <a:gd name="connsiteY424" fmla="*/ 649605 h 791432"/>
                <a:gd name="connsiteX425" fmla="*/ 207264 w 910018"/>
                <a:gd name="connsiteY425" fmla="*/ 660654 h 791432"/>
                <a:gd name="connsiteX426" fmla="*/ 214217 w 910018"/>
                <a:gd name="connsiteY426" fmla="*/ 664655 h 791432"/>
                <a:gd name="connsiteX427" fmla="*/ 223457 w 910018"/>
                <a:gd name="connsiteY427" fmla="*/ 674656 h 791432"/>
                <a:gd name="connsiteX428" fmla="*/ 225076 w 910018"/>
                <a:gd name="connsiteY428" fmla="*/ 674465 h 791432"/>
                <a:gd name="connsiteX429" fmla="*/ 234125 w 910018"/>
                <a:gd name="connsiteY429" fmla="*/ 682943 h 791432"/>
                <a:gd name="connsiteX430" fmla="*/ 245936 w 910018"/>
                <a:gd name="connsiteY430" fmla="*/ 675037 h 791432"/>
                <a:gd name="connsiteX431" fmla="*/ 247745 w 910018"/>
                <a:gd name="connsiteY431" fmla="*/ 676370 h 791432"/>
                <a:gd name="connsiteX432" fmla="*/ 250508 w 910018"/>
                <a:gd name="connsiteY432" fmla="*/ 672846 h 791432"/>
                <a:gd name="connsiteX433" fmla="*/ 252317 w 910018"/>
                <a:gd name="connsiteY433" fmla="*/ 674180 h 791432"/>
                <a:gd name="connsiteX434" fmla="*/ 258223 w 910018"/>
                <a:gd name="connsiteY434" fmla="*/ 670274 h 791432"/>
                <a:gd name="connsiteX435" fmla="*/ 258413 w 910018"/>
                <a:gd name="connsiteY435" fmla="*/ 671798 h 791432"/>
                <a:gd name="connsiteX436" fmla="*/ 261366 w 910018"/>
                <a:gd name="connsiteY436" fmla="*/ 669798 h 791432"/>
                <a:gd name="connsiteX437" fmla="*/ 267081 w 910018"/>
                <a:gd name="connsiteY437" fmla="*/ 677132 h 791432"/>
                <a:gd name="connsiteX438" fmla="*/ 280892 w 910018"/>
                <a:gd name="connsiteY438" fmla="*/ 672179 h 791432"/>
                <a:gd name="connsiteX439" fmla="*/ 279845 w 910018"/>
                <a:gd name="connsiteY439" fmla="*/ 664273 h 791432"/>
                <a:gd name="connsiteX440" fmla="*/ 286417 w 910018"/>
                <a:gd name="connsiteY440" fmla="*/ 677894 h 791432"/>
                <a:gd name="connsiteX441" fmla="*/ 288417 w 910018"/>
                <a:gd name="connsiteY441" fmla="*/ 680847 h 791432"/>
                <a:gd name="connsiteX442" fmla="*/ 297275 w 910018"/>
                <a:gd name="connsiteY442" fmla="*/ 674846 h 791432"/>
                <a:gd name="connsiteX443" fmla="*/ 311277 w 910018"/>
                <a:gd name="connsiteY443" fmla="*/ 684276 h 791432"/>
                <a:gd name="connsiteX444" fmla="*/ 320040 w 910018"/>
                <a:gd name="connsiteY444" fmla="*/ 689610 h 791432"/>
                <a:gd name="connsiteX445" fmla="*/ 317278 w 910018"/>
                <a:gd name="connsiteY445" fmla="*/ 693134 h 791432"/>
                <a:gd name="connsiteX446" fmla="*/ 317849 w 910018"/>
                <a:gd name="connsiteY446" fmla="*/ 697897 h 791432"/>
                <a:gd name="connsiteX447" fmla="*/ 310420 w 910018"/>
                <a:gd name="connsiteY447" fmla="*/ 714947 h 791432"/>
                <a:gd name="connsiteX448" fmla="*/ 319088 w 910018"/>
                <a:gd name="connsiteY448" fmla="*/ 720185 h 791432"/>
                <a:gd name="connsiteX449" fmla="*/ 323183 w 910018"/>
                <a:gd name="connsiteY449" fmla="*/ 714851 h 791432"/>
                <a:gd name="connsiteX450" fmla="*/ 327946 w 910018"/>
                <a:gd name="connsiteY450" fmla="*/ 714280 h 791432"/>
                <a:gd name="connsiteX451" fmla="*/ 344138 w 910018"/>
                <a:gd name="connsiteY451" fmla="*/ 728282 h 791432"/>
                <a:gd name="connsiteX452" fmla="*/ 355378 w 910018"/>
                <a:gd name="connsiteY452" fmla="*/ 728377 h 791432"/>
                <a:gd name="connsiteX453" fmla="*/ 367475 w 910018"/>
                <a:gd name="connsiteY453" fmla="*/ 747712 h 791432"/>
                <a:gd name="connsiteX454" fmla="*/ 373666 w 910018"/>
                <a:gd name="connsiteY454" fmla="*/ 758190 h 791432"/>
                <a:gd name="connsiteX455" fmla="*/ 372428 w 910018"/>
                <a:gd name="connsiteY455" fmla="*/ 761524 h 791432"/>
                <a:gd name="connsiteX456" fmla="*/ 376238 w 910018"/>
                <a:gd name="connsiteY456" fmla="*/ 765810 h 791432"/>
                <a:gd name="connsiteX457" fmla="*/ 383858 w 910018"/>
                <a:gd name="connsiteY457" fmla="*/ 763238 h 791432"/>
                <a:gd name="connsiteX458" fmla="*/ 381191 w 910018"/>
                <a:gd name="connsiteY458" fmla="*/ 766858 h 791432"/>
                <a:gd name="connsiteX459" fmla="*/ 382905 w 910018"/>
                <a:gd name="connsiteY459" fmla="*/ 768191 h 791432"/>
                <a:gd name="connsiteX460" fmla="*/ 381381 w 910018"/>
                <a:gd name="connsiteY460" fmla="*/ 768382 h 791432"/>
                <a:gd name="connsiteX461" fmla="*/ 381953 w 910018"/>
                <a:gd name="connsiteY461" fmla="*/ 773144 h 791432"/>
                <a:gd name="connsiteX462" fmla="*/ 389096 w 910018"/>
                <a:gd name="connsiteY462" fmla="*/ 791432 h 791432"/>
                <a:gd name="connsiteX463" fmla="*/ 396812 w 910018"/>
                <a:gd name="connsiteY463" fmla="*/ 788860 h 791432"/>
                <a:gd name="connsiteX464" fmla="*/ 403479 w 910018"/>
                <a:gd name="connsiteY464" fmla="*/ 791242 h 791432"/>
                <a:gd name="connsiteX465" fmla="*/ 409385 w 910018"/>
                <a:gd name="connsiteY465" fmla="*/ 787241 h 791432"/>
                <a:gd name="connsiteX466" fmla="*/ 412623 w 910018"/>
                <a:gd name="connsiteY466" fmla="*/ 786860 h 791432"/>
                <a:gd name="connsiteX467" fmla="*/ 416719 w 910018"/>
                <a:gd name="connsiteY467" fmla="*/ 781526 h 791432"/>
                <a:gd name="connsiteX468" fmla="*/ 419862 w 910018"/>
                <a:gd name="connsiteY468" fmla="*/ 781145 h 791432"/>
                <a:gd name="connsiteX469" fmla="*/ 431292 w 910018"/>
                <a:gd name="connsiteY469" fmla="*/ 782860 h 791432"/>
                <a:gd name="connsiteX470" fmla="*/ 438436 w 910018"/>
                <a:gd name="connsiteY470" fmla="*/ 775526 h 791432"/>
                <a:gd name="connsiteX471" fmla="*/ 440531 w 910018"/>
                <a:gd name="connsiteY471" fmla="*/ 767239 h 791432"/>
                <a:gd name="connsiteX472" fmla="*/ 450818 w 910018"/>
                <a:gd name="connsiteY472" fmla="*/ 759524 h 791432"/>
                <a:gd name="connsiteX473" fmla="*/ 454914 w 910018"/>
                <a:gd name="connsiteY473" fmla="*/ 754190 h 791432"/>
                <a:gd name="connsiteX474" fmla="*/ 456057 w 910018"/>
                <a:gd name="connsiteY474" fmla="*/ 750856 h 791432"/>
                <a:gd name="connsiteX475" fmla="*/ 460438 w 910018"/>
                <a:gd name="connsiteY475" fmla="*/ 747141 h 791432"/>
                <a:gd name="connsiteX476" fmla="*/ 460058 w 910018"/>
                <a:gd name="connsiteY476" fmla="*/ 743902 h 791432"/>
                <a:gd name="connsiteX477" fmla="*/ 465106 w 910018"/>
                <a:gd name="connsiteY477" fmla="*/ 733711 h 791432"/>
                <a:gd name="connsiteX478" fmla="*/ 476345 w 910018"/>
                <a:gd name="connsiteY478" fmla="*/ 721043 h 791432"/>
                <a:gd name="connsiteX479" fmla="*/ 479488 w 910018"/>
                <a:gd name="connsiteY479" fmla="*/ 720566 h 791432"/>
                <a:gd name="connsiteX480" fmla="*/ 484061 w 910018"/>
                <a:gd name="connsiteY480" fmla="*/ 718471 h 791432"/>
                <a:gd name="connsiteX481" fmla="*/ 482632 w 910018"/>
                <a:gd name="connsiteY481" fmla="*/ 707422 h 791432"/>
                <a:gd name="connsiteX482" fmla="*/ 504920 w 910018"/>
                <a:gd name="connsiteY482" fmla="*/ 706184 h 791432"/>
                <a:gd name="connsiteX483" fmla="*/ 508063 w 910018"/>
                <a:gd name="connsiteY483" fmla="*/ 705707 h 791432"/>
                <a:gd name="connsiteX484" fmla="*/ 509492 w 910018"/>
                <a:gd name="connsiteY484" fmla="*/ 703993 h 791432"/>
                <a:gd name="connsiteX485" fmla="*/ 523875 w 910018"/>
                <a:gd name="connsiteY485" fmla="*/ 703707 h 791432"/>
                <a:gd name="connsiteX486" fmla="*/ 533305 w 910018"/>
                <a:gd name="connsiteY486" fmla="*/ 702564 h 791432"/>
                <a:gd name="connsiteX487" fmla="*/ 545211 w 910018"/>
                <a:gd name="connsiteY487" fmla="*/ 707422 h 791432"/>
                <a:gd name="connsiteX488" fmla="*/ 557403 w 910018"/>
                <a:gd name="connsiteY488" fmla="*/ 702659 h 791432"/>
                <a:gd name="connsiteX489" fmla="*/ 557594 w 910018"/>
                <a:gd name="connsiteY489" fmla="*/ 691420 h 791432"/>
                <a:gd name="connsiteX490" fmla="*/ 563499 w 910018"/>
                <a:gd name="connsiteY490" fmla="*/ 674656 h 791432"/>
                <a:gd name="connsiteX491" fmla="*/ 565595 w 910018"/>
                <a:gd name="connsiteY491" fmla="*/ 666369 h 791432"/>
                <a:gd name="connsiteX492" fmla="*/ 566833 w 910018"/>
                <a:gd name="connsiteY492" fmla="*/ 662940 h 791432"/>
                <a:gd name="connsiteX493" fmla="*/ 563975 w 910018"/>
                <a:gd name="connsiteY493" fmla="*/ 653701 h 791432"/>
                <a:gd name="connsiteX494" fmla="*/ 564737 w 910018"/>
                <a:gd name="connsiteY494" fmla="*/ 647224 h 791432"/>
                <a:gd name="connsiteX495" fmla="*/ 568262 w 910018"/>
                <a:gd name="connsiteY495" fmla="*/ 637127 h 791432"/>
                <a:gd name="connsiteX496" fmla="*/ 572262 w 910018"/>
                <a:gd name="connsiteY496" fmla="*/ 630174 h 791432"/>
                <a:gd name="connsiteX497" fmla="*/ 574167 w 910018"/>
                <a:gd name="connsiteY497" fmla="*/ 620363 h 791432"/>
                <a:gd name="connsiteX498" fmla="*/ 571405 w 910018"/>
                <a:gd name="connsiteY498" fmla="*/ 611029 h 791432"/>
                <a:gd name="connsiteX499" fmla="*/ 572357 w 910018"/>
                <a:gd name="connsiteY499" fmla="*/ 606171 h 791432"/>
                <a:gd name="connsiteX500" fmla="*/ 576739 w 910018"/>
                <a:gd name="connsiteY500" fmla="*/ 602361 h 791432"/>
                <a:gd name="connsiteX501" fmla="*/ 579215 w 910018"/>
                <a:gd name="connsiteY501" fmla="*/ 597218 h 791432"/>
                <a:gd name="connsiteX502" fmla="*/ 585121 w 910018"/>
                <a:gd name="connsiteY502" fmla="*/ 593312 h 791432"/>
                <a:gd name="connsiteX503" fmla="*/ 596170 w 910018"/>
                <a:gd name="connsiteY503" fmla="*/ 591884 h 791432"/>
                <a:gd name="connsiteX504" fmla="*/ 599122 w 910018"/>
                <a:gd name="connsiteY504" fmla="*/ 589883 h 791432"/>
                <a:gd name="connsiteX505" fmla="*/ 615601 w 910018"/>
                <a:gd name="connsiteY505" fmla="*/ 592646 h 791432"/>
                <a:gd name="connsiteX506" fmla="*/ 619887 w 910018"/>
                <a:gd name="connsiteY506" fmla="*/ 588835 h 791432"/>
                <a:gd name="connsiteX507" fmla="*/ 622649 w 910018"/>
                <a:gd name="connsiteY507" fmla="*/ 585311 h 791432"/>
                <a:gd name="connsiteX508" fmla="*/ 628936 w 910018"/>
                <a:gd name="connsiteY508" fmla="*/ 584454 h 791432"/>
                <a:gd name="connsiteX509" fmla="*/ 637889 w 910018"/>
                <a:gd name="connsiteY509" fmla="*/ 591407 h 791432"/>
                <a:gd name="connsiteX510" fmla="*/ 649129 w 910018"/>
                <a:gd name="connsiteY510" fmla="*/ 591598 h 791432"/>
                <a:gd name="connsiteX511" fmla="*/ 652272 w 910018"/>
                <a:gd name="connsiteY511" fmla="*/ 591122 h 791432"/>
                <a:gd name="connsiteX512" fmla="*/ 654558 w 910018"/>
                <a:gd name="connsiteY512" fmla="*/ 584454 h 791432"/>
                <a:gd name="connsiteX513" fmla="*/ 662464 w 910018"/>
                <a:gd name="connsiteY513" fmla="*/ 583406 h 791432"/>
                <a:gd name="connsiteX514" fmla="*/ 680466 w 910018"/>
                <a:gd name="connsiteY514" fmla="*/ 573119 h 791432"/>
                <a:gd name="connsiteX515" fmla="*/ 684562 w 910018"/>
                <a:gd name="connsiteY515" fmla="*/ 567785 h 791432"/>
                <a:gd name="connsiteX516" fmla="*/ 690086 w 910018"/>
                <a:gd name="connsiteY516" fmla="*/ 560642 h 791432"/>
                <a:gd name="connsiteX517" fmla="*/ 690848 w 910018"/>
                <a:gd name="connsiteY517" fmla="*/ 554164 h 791432"/>
                <a:gd name="connsiteX518" fmla="*/ 699516 w 910018"/>
                <a:gd name="connsiteY518" fmla="*/ 546640 h 791432"/>
                <a:gd name="connsiteX519" fmla="*/ 697516 w 910018"/>
                <a:gd name="connsiteY519" fmla="*/ 543687 h 791432"/>
                <a:gd name="connsiteX520" fmla="*/ 698468 w 910018"/>
                <a:gd name="connsiteY520" fmla="*/ 538734 h 791432"/>
                <a:gd name="connsiteX521" fmla="*/ 705707 w 910018"/>
                <a:gd name="connsiteY521" fmla="*/ 520160 h 791432"/>
                <a:gd name="connsiteX522" fmla="*/ 712470 w 910018"/>
                <a:gd name="connsiteY522" fmla="*/ 509683 h 791432"/>
                <a:gd name="connsiteX523" fmla="*/ 707612 w 910018"/>
                <a:gd name="connsiteY523" fmla="*/ 484632 h 791432"/>
                <a:gd name="connsiteX524" fmla="*/ 709994 w 910018"/>
                <a:gd name="connsiteY524" fmla="*/ 477964 h 791432"/>
                <a:gd name="connsiteX525" fmla="*/ 711613 w 910018"/>
                <a:gd name="connsiteY525" fmla="*/ 477774 h 791432"/>
                <a:gd name="connsiteX526" fmla="*/ 713327 w 910018"/>
                <a:gd name="connsiteY526" fmla="*/ 479107 h 791432"/>
                <a:gd name="connsiteX527" fmla="*/ 714947 w 910018"/>
                <a:gd name="connsiteY527" fmla="*/ 478917 h 791432"/>
                <a:gd name="connsiteX528" fmla="*/ 712375 w 910018"/>
                <a:gd name="connsiteY528" fmla="*/ 471202 h 791432"/>
                <a:gd name="connsiteX529" fmla="*/ 705231 w 910018"/>
                <a:gd name="connsiteY529" fmla="*/ 465772 h 791432"/>
                <a:gd name="connsiteX530" fmla="*/ 704469 w 910018"/>
                <a:gd name="connsiteY530" fmla="*/ 459391 h 791432"/>
                <a:gd name="connsiteX531" fmla="*/ 706755 w 910018"/>
                <a:gd name="connsiteY531" fmla="*/ 452723 h 791432"/>
                <a:gd name="connsiteX532" fmla="*/ 711137 w 910018"/>
                <a:gd name="connsiteY532" fmla="*/ 448913 h 791432"/>
                <a:gd name="connsiteX533" fmla="*/ 710089 w 910018"/>
                <a:gd name="connsiteY533" fmla="*/ 441007 h 791432"/>
                <a:gd name="connsiteX534" fmla="*/ 711518 w 910018"/>
                <a:gd name="connsiteY534" fmla="*/ 439293 h 791432"/>
                <a:gd name="connsiteX535" fmla="*/ 724662 w 910018"/>
                <a:gd name="connsiteY535" fmla="*/ 429577 h 791432"/>
                <a:gd name="connsiteX536" fmla="*/ 718757 w 910018"/>
                <a:gd name="connsiteY536" fmla="*/ 420719 h 791432"/>
                <a:gd name="connsiteX537" fmla="*/ 718852 w 910018"/>
                <a:gd name="connsiteY537" fmla="*/ 396621 h 791432"/>
                <a:gd name="connsiteX538" fmla="*/ 724567 w 910018"/>
                <a:gd name="connsiteY538" fmla="*/ 391096 h 791432"/>
                <a:gd name="connsiteX539" fmla="*/ 727901 w 910018"/>
                <a:gd name="connsiteY539" fmla="*/ 379476 h 791432"/>
                <a:gd name="connsiteX540" fmla="*/ 729520 w 910018"/>
                <a:gd name="connsiteY540" fmla="*/ 379285 h 791432"/>
                <a:gd name="connsiteX541" fmla="*/ 727901 w 910018"/>
                <a:gd name="connsiteY541" fmla="*/ 366617 h 791432"/>
                <a:gd name="connsiteX542" fmla="*/ 732663 w 910018"/>
                <a:gd name="connsiteY542" fmla="*/ 366046 h 791432"/>
                <a:gd name="connsiteX543" fmla="*/ 731996 w 910018"/>
                <a:gd name="connsiteY543" fmla="*/ 361283 h 791432"/>
                <a:gd name="connsiteX544" fmla="*/ 733997 w 910018"/>
                <a:gd name="connsiteY544" fmla="*/ 351377 h 791432"/>
                <a:gd name="connsiteX545" fmla="*/ 726091 w 910018"/>
                <a:gd name="connsiteY545" fmla="*/ 352425 h 791432"/>
                <a:gd name="connsiteX546" fmla="*/ 727805 w 910018"/>
                <a:gd name="connsiteY546" fmla="*/ 340995 h 791432"/>
                <a:gd name="connsiteX547" fmla="*/ 726186 w 910018"/>
                <a:gd name="connsiteY547" fmla="*/ 328327 h 791432"/>
                <a:gd name="connsiteX548" fmla="*/ 736663 w 910018"/>
                <a:gd name="connsiteY548" fmla="*/ 322231 h 791432"/>
                <a:gd name="connsiteX549" fmla="*/ 737235 w 910018"/>
                <a:gd name="connsiteY549" fmla="*/ 314134 h 791432"/>
                <a:gd name="connsiteX550" fmla="*/ 751808 w 910018"/>
                <a:gd name="connsiteY550" fmla="*/ 302609 h 791432"/>
                <a:gd name="connsiteX551" fmla="*/ 751999 w 910018"/>
                <a:gd name="connsiteY551" fmla="*/ 291370 h 791432"/>
                <a:gd name="connsiteX552" fmla="*/ 751142 w 910018"/>
                <a:gd name="connsiteY552" fmla="*/ 285083 h 791432"/>
                <a:gd name="connsiteX553" fmla="*/ 750951 w 910018"/>
                <a:gd name="connsiteY553" fmla="*/ 283464 h 791432"/>
                <a:gd name="connsiteX554" fmla="*/ 755333 w 910018"/>
                <a:gd name="connsiteY554" fmla="*/ 279749 h 791432"/>
                <a:gd name="connsiteX555" fmla="*/ 758666 w 910018"/>
                <a:gd name="connsiteY555" fmla="*/ 280892 h 791432"/>
                <a:gd name="connsiteX556" fmla="*/ 762953 w 910018"/>
                <a:gd name="connsiteY556" fmla="*/ 277177 h 791432"/>
                <a:gd name="connsiteX557" fmla="*/ 767905 w 910018"/>
                <a:gd name="connsiteY557" fmla="*/ 278130 h 791432"/>
                <a:gd name="connsiteX558" fmla="*/ 770668 w 910018"/>
                <a:gd name="connsiteY558" fmla="*/ 274606 h 791432"/>
                <a:gd name="connsiteX559" fmla="*/ 774002 w 910018"/>
                <a:gd name="connsiteY559" fmla="*/ 275749 h 791432"/>
                <a:gd name="connsiteX560" fmla="*/ 776764 w 910018"/>
                <a:gd name="connsiteY560" fmla="*/ 272225 h 791432"/>
                <a:gd name="connsiteX561" fmla="*/ 792956 w 910018"/>
                <a:gd name="connsiteY561" fmla="*/ 273367 h 791432"/>
                <a:gd name="connsiteX562" fmla="*/ 797528 w 910018"/>
                <a:gd name="connsiteY562" fmla="*/ 271177 h 791432"/>
                <a:gd name="connsiteX563" fmla="*/ 806768 w 910018"/>
                <a:gd name="connsiteY563" fmla="*/ 268319 h 791432"/>
                <a:gd name="connsiteX564" fmla="*/ 811149 w 910018"/>
                <a:gd name="connsiteY564" fmla="*/ 264605 h 791432"/>
                <a:gd name="connsiteX565" fmla="*/ 817245 w 910018"/>
                <a:gd name="connsiteY565" fmla="*/ 262223 h 791432"/>
                <a:gd name="connsiteX566" fmla="*/ 831437 w 910018"/>
                <a:gd name="connsiteY566" fmla="*/ 260413 h 791432"/>
                <a:gd name="connsiteX567" fmla="*/ 832771 w 910018"/>
                <a:gd name="connsiteY567" fmla="*/ 258604 h 791432"/>
                <a:gd name="connsiteX568" fmla="*/ 832390 w 910018"/>
                <a:gd name="connsiteY568" fmla="*/ 255460 h 791432"/>
                <a:gd name="connsiteX569" fmla="*/ 844582 w 910018"/>
                <a:gd name="connsiteY569" fmla="*/ 250698 h 791432"/>
                <a:gd name="connsiteX570" fmla="*/ 851726 w 910018"/>
                <a:gd name="connsiteY570" fmla="*/ 243364 h 791432"/>
                <a:gd name="connsiteX571" fmla="*/ 855059 w 910018"/>
                <a:gd name="connsiteY571" fmla="*/ 244602 h 791432"/>
                <a:gd name="connsiteX572" fmla="*/ 875157 w 910018"/>
                <a:gd name="connsiteY572" fmla="*/ 238792 h 791432"/>
                <a:gd name="connsiteX573" fmla="*/ 885444 w 910018"/>
                <a:gd name="connsiteY573" fmla="*/ 231076 h 791432"/>
                <a:gd name="connsiteX574" fmla="*/ 892683 w 910018"/>
                <a:gd name="connsiteY574" fmla="*/ 212503 h 791432"/>
                <a:gd name="connsiteX575" fmla="*/ 896969 w 910018"/>
                <a:gd name="connsiteY575" fmla="*/ 208788 h 791432"/>
                <a:gd name="connsiteX576" fmla="*/ 903351 w 910018"/>
                <a:gd name="connsiteY576" fmla="*/ 207931 h 791432"/>
                <a:gd name="connsiteX577" fmla="*/ 899160 w 910018"/>
                <a:gd name="connsiteY577" fmla="*/ 200501 h 791432"/>
                <a:gd name="connsiteX578" fmla="*/ 906494 w 910018"/>
                <a:gd name="connsiteY578" fmla="*/ 194691 h 791432"/>
                <a:gd name="connsiteX579" fmla="*/ 910019 w 910018"/>
                <a:gd name="connsiteY579" fmla="*/ 184690 h 791432"/>
                <a:gd name="connsiteX580" fmla="*/ 910019 w 910018"/>
                <a:gd name="connsiteY580" fmla="*/ 184690 h 791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</a:cxnLst>
              <a:rect l="l" t="t" r="r" b="b"/>
              <a:pathLst>
                <a:path w="910018" h="791432">
                  <a:moveTo>
                    <a:pt x="910019" y="184690"/>
                  </a:moveTo>
                  <a:lnTo>
                    <a:pt x="904208" y="164497"/>
                  </a:lnTo>
                  <a:lnTo>
                    <a:pt x="903637" y="159829"/>
                  </a:lnTo>
                  <a:lnTo>
                    <a:pt x="901255" y="153734"/>
                  </a:lnTo>
                  <a:lnTo>
                    <a:pt x="896112" y="151162"/>
                  </a:lnTo>
                  <a:lnTo>
                    <a:pt x="891350" y="151733"/>
                  </a:lnTo>
                  <a:lnTo>
                    <a:pt x="884206" y="146209"/>
                  </a:lnTo>
                  <a:lnTo>
                    <a:pt x="879253" y="145256"/>
                  </a:lnTo>
                  <a:lnTo>
                    <a:pt x="871442" y="146304"/>
                  </a:lnTo>
                  <a:lnTo>
                    <a:pt x="876681" y="124777"/>
                  </a:lnTo>
                  <a:lnTo>
                    <a:pt x="871919" y="112490"/>
                  </a:lnTo>
                  <a:lnTo>
                    <a:pt x="867156" y="113157"/>
                  </a:lnTo>
                  <a:lnTo>
                    <a:pt x="865156" y="110204"/>
                  </a:lnTo>
                  <a:lnTo>
                    <a:pt x="866775" y="110014"/>
                  </a:lnTo>
                  <a:lnTo>
                    <a:pt x="864775" y="106966"/>
                  </a:lnTo>
                  <a:lnTo>
                    <a:pt x="860393" y="97917"/>
                  </a:lnTo>
                  <a:lnTo>
                    <a:pt x="854107" y="98774"/>
                  </a:lnTo>
                  <a:lnTo>
                    <a:pt x="845439" y="93440"/>
                  </a:lnTo>
                  <a:lnTo>
                    <a:pt x="840486" y="92488"/>
                  </a:lnTo>
                  <a:lnTo>
                    <a:pt x="834390" y="82010"/>
                  </a:lnTo>
                  <a:lnTo>
                    <a:pt x="828770" y="76295"/>
                  </a:lnTo>
                  <a:lnTo>
                    <a:pt x="826008" y="54197"/>
                  </a:lnTo>
                  <a:lnTo>
                    <a:pt x="822198" y="49911"/>
                  </a:lnTo>
                  <a:lnTo>
                    <a:pt x="815530" y="47530"/>
                  </a:lnTo>
                  <a:lnTo>
                    <a:pt x="804101" y="45815"/>
                  </a:lnTo>
                  <a:lnTo>
                    <a:pt x="799338" y="46387"/>
                  </a:lnTo>
                  <a:lnTo>
                    <a:pt x="794195" y="56674"/>
                  </a:lnTo>
                  <a:lnTo>
                    <a:pt x="789718" y="58864"/>
                  </a:lnTo>
                  <a:lnTo>
                    <a:pt x="769811" y="53340"/>
                  </a:lnTo>
                  <a:lnTo>
                    <a:pt x="765810" y="47434"/>
                  </a:lnTo>
                  <a:lnTo>
                    <a:pt x="762667" y="47815"/>
                  </a:lnTo>
                  <a:lnTo>
                    <a:pt x="753618" y="52197"/>
                  </a:lnTo>
                  <a:lnTo>
                    <a:pt x="745046" y="48482"/>
                  </a:lnTo>
                  <a:lnTo>
                    <a:pt x="733806" y="35528"/>
                  </a:lnTo>
                  <a:lnTo>
                    <a:pt x="729234" y="24860"/>
                  </a:lnTo>
                  <a:lnTo>
                    <a:pt x="725710" y="22098"/>
                  </a:lnTo>
                  <a:lnTo>
                    <a:pt x="721328" y="25908"/>
                  </a:lnTo>
                  <a:lnTo>
                    <a:pt x="705803" y="29432"/>
                  </a:lnTo>
                  <a:lnTo>
                    <a:pt x="697802" y="17621"/>
                  </a:lnTo>
                  <a:lnTo>
                    <a:pt x="687229" y="22193"/>
                  </a:lnTo>
                  <a:lnTo>
                    <a:pt x="680657" y="21431"/>
                  </a:lnTo>
                  <a:lnTo>
                    <a:pt x="677704" y="23431"/>
                  </a:lnTo>
                  <a:lnTo>
                    <a:pt x="669417" y="21241"/>
                  </a:lnTo>
                  <a:lnTo>
                    <a:pt x="665131" y="25051"/>
                  </a:lnTo>
                  <a:lnTo>
                    <a:pt x="663512" y="25241"/>
                  </a:lnTo>
                  <a:lnTo>
                    <a:pt x="655415" y="24670"/>
                  </a:lnTo>
                  <a:lnTo>
                    <a:pt x="647795" y="27242"/>
                  </a:lnTo>
                  <a:lnTo>
                    <a:pt x="633794" y="30575"/>
                  </a:lnTo>
                  <a:lnTo>
                    <a:pt x="618744" y="38957"/>
                  </a:lnTo>
                  <a:lnTo>
                    <a:pt x="612458" y="39719"/>
                  </a:lnTo>
                  <a:lnTo>
                    <a:pt x="611124" y="41529"/>
                  </a:lnTo>
                  <a:lnTo>
                    <a:pt x="604361" y="39148"/>
                  </a:lnTo>
                  <a:lnTo>
                    <a:pt x="604742" y="29527"/>
                  </a:lnTo>
                  <a:lnTo>
                    <a:pt x="603313" y="18478"/>
                  </a:lnTo>
                  <a:lnTo>
                    <a:pt x="595979" y="11335"/>
                  </a:lnTo>
                  <a:lnTo>
                    <a:pt x="590074" y="2476"/>
                  </a:lnTo>
                  <a:lnTo>
                    <a:pt x="586930" y="2857"/>
                  </a:lnTo>
                  <a:lnTo>
                    <a:pt x="585692" y="6286"/>
                  </a:lnTo>
                  <a:lnTo>
                    <a:pt x="578644" y="762"/>
                  </a:lnTo>
                  <a:lnTo>
                    <a:pt x="572072" y="0"/>
                  </a:lnTo>
                  <a:lnTo>
                    <a:pt x="550069" y="2762"/>
                  </a:lnTo>
                  <a:lnTo>
                    <a:pt x="547116" y="17621"/>
                  </a:lnTo>
                  <a:lnTo>
                    <a:pt x="538829" y="28289"/>
                  </a:lnTo>
                  <a:lnTo>
                    <a:pt x="539210" y="31432"/>
                  </a:lnTo>
                  <a:lnTo>
                    <a:pt x="539687" y="34576"/>
                  </a:lnTo>
                  <a:lnTo>
                    <a:pt x="530352" y="37338"/>
                  </a:lnTo>
                  <a:lnTo>
                    <a:pt x="524828" y="31623"/>
                  </a:lnTo>
                  <a:lnTo>
                    <a:pt x="520255" y="33814"/>
                  </a:lnTo>
                  <a:lnTo>
                    <a:pt x="518351" y="30861"/>
                  </a:lnTo>
                  <a:lnTo>
                    <a:pt x="515207" y="31242"/>
                  </a:lnTo>
                  <a:lnTo>
                    <a:pt x="513017" y="26765"/>
                  </a:lnTo>
                  <a:lnTo>
                    <a:pt x="505111" y="27718"/>
                  </a:lnTo>
                  <a:lnTo>
                    <a:pt x="503111" y="24765"/>
                  </a:lnTo>
                  <a:lnTo>
                    <a:pt x="499586" y="22003"/>
                  </a:lnTo>
                  <a:lnTo>
                    <a:pt x="496443" y="22479"/>
                  </a:lnTo>
                  <a:lnTo>
                    <a:pt x="498348" y="25432"/>
                  </a:lnTo>
                  <a:lnTo>
                    <a:pt x="498824" y="28575"/>
                  </a:lnTo>
                  <a:lnTo>
                    <a:pt x="497777" y="33528"/>
                  </a:lnTo>
                  <a:lnTo>
                    <a:pt x="498253" y="36671"/>
                  </a:lnTo>
                  <a:lnTo>
                    <a:pt x="496634" y="36862"/>
                  </a:lnTo>
                  <a:lnTo>
                    <a:pt x="497396" y="43148"/>
                  </a:lnTo>
                  <a:lnTo>
                    <a:pt x="483680" y="48101"/>
                  </a:lnTo>
                  <a:lnTo>
                    <a:pt x="480060" y="45339"/>
                  </a:lnTo>
                  <a:lnTo>
                    <a:pt x="477488" y="50482"/>
                  </a:lnTo>
                  <a:lnTo>
                    <a:pt x="478155" y="55245"/>
                  </a:lnTo>
                  <a:lnTo>
                    <a:pt x="476917" y="58579"/>
                  </a:lnTo>
                  <a:lnTo>
                    <a:pt x="467868" y="62960"/>
                  </a:lnTo>
                  <a:lnTo>
                    <a:pt x="464915" y="64960"/>
                  </a:lnTo>
                  <a:lnTo>
                    <a:pt x="461391" y="62198"/>
                  </a:lnTo>
                  <a:lnTo>
                    <a:pt x="461772" y="65342"/>
                  </a:lnTo>
                  <a:lnTo>
                    <a:pt x="467678" y="74200"/>
                  </a:lnTo>
                  <a:lnTo>
                    <a:pt x="470249" y="81915"/>
                  </a:lnTo>
                  <a:lnTo>
                    <a:pt x="465963" y="85630"/>
                  </a:lnTo>
                  <a:lnTo>
                    <a:pt x="467773" y="87058"/>
                  </a:lnTo>
                  <a:lnTo>
                    <a:pt x="464820" y="89059"/>
                  </a:lnTo>
                  <a:lnTo>
                    <a:pt x="463582" y="92392"/>
                  </a:lnTo>
                  <a:lnTo>
                    <a:pt x="456152" y="96583"/>
                  </a:lnTo>
                  <a:lnTo>
                    <a:pt x="456343" y="98107"/>
                  </a:lnTo>
                  <a:lnTo>
                    <a:pt x="460058" y="102489"/>
                  </a:lnTo>
                  <a:lnTo>
                    <a:pt x="456152" y="109347"/>
                  </a:lnTo>
                  <a:lnTo>
                    <a:pt x="456724" y="114109"/>
                  </a:lnTo>
                  <a:lnTo>
                    <a:pt x="457200" y="117253"/>
                  </a:lnTo>
                  <a:lnTo>
                    <a:pt x="455581" y="117443"/>
                  </a:lnTo>
                  <a:lnTo>
                    <a:pt x="455962" y="120586"/>
                  </a:lnTo>
                  <a:lnTo>
                    <a:pt x="452819" y="121063"/>
                  </a:lnTo>
                  <a:lnTo>
                    <a:pt x="451009" y="119634"/>
                  </a:lnTo>
                  <a:lnTo>
                    <a:pt x="447866" y="120015"/>
                  </a:lnTo>
                  <a:lnTo>
                    <a:pt x="447675" y="118491"/>
                  </a:lnTo>
                  <a:lnTo>
                    <a:pt x="444532" y="118872"/>
                  </a:lnTo>
                  <a:lnTo>
                    <a:pt x="430721" y="123825"/>
                  </a:lnTo>
                  <a:lnTo>
                    <a:pt x="429387" y="125635"/>
                  </a:lnTo>
                  <a:lnTo>
                    <a:pt x="426149" y="126016"/>
                  </a:lnTo>
                  <a:lnTo>
                    <a:pt x="419100" y="120491"/>
                  </a:lnTo>
                  <a:lnTo>
                    <a:pt x="414338" y="121158"/>
                  </a:lnTo>
                  <a:lnTo>
                    <a:pt x="415766" y="119348"/>
                  </a:lnTo>
                  <a:lnTo>
                    <a:pt x="408813" y="115443"/>
                  </a:lnTo>
                  <a:lnTo>
                    <a:pt x="408622" y="113824"/>
                  </a:lnTo>
                  <a:lnTo>
                    <a:pt x="411194" y="108680"/>
                  </a:lnTo>
                  <a:lnTo>
                    <a:pt x="407956" y="109061"/>
                  </a:lnTo>
                  <a:lnTo>
                    <a:pt x="405860" y="104584"/>
                  </a:lnTo>
                  <a:lnTo>
                    <a:pt x="398907" y="100584"/>
                  </a:lnTo>
                  <a:lnTo>
                    <a:pt x="396335" y="92964"/>
                  </a:lnTo>
                  <a:lnTo>
                    <a:pt x="392239" y="98298"/>
                  </a:lnTo>
                  <a:lnTo>
                    <a:pt x="386810" y="94107"/>
                  </a:lnTo>
                  <a:lnTo>
                    <a:pt x="382334" y="96298"/>
                  </a:lnTo>
                  <a:lnTo>
                    <a:pt x="382905" y="101060"/>
                  </a:lnTo>
                  <a:lnTo>
                    <a:pt x="379952" y="103060"/>
                  </a:lnTo>
                  <a:lnTo>
                    <a:pt x="380619" y="107728"/>
                  </a:lnTo>
                  <a:lnTo>
                    <a:pt x="379190" y="109538"/>
                  </a:lnTo>
                  <a:lnTo>
                    <a:pt x="381762" y="117253"/>
                  </a:lnTo>
                  <a:lnTo>
                    <a:pt x="377476" y="120967"/>
                  </a:lnTo>
                  <a:lnTo>
                    <a:pt x="372523" y="120015"/>
                  </a:lnTo>
                  <a:lnTo>
                    <a:pt x="366141" y="108013"/>
                  </a:lnTo>
                  <a:lnTo>
                    <a:pt x="358712" y="112204"/>
                  </a:lnTo>
                  <a:lnTo>
                    <a:pt x="358521" y="110585"/>
                  </a:lnTo>
                  <a:lnTo>
                    <a:pt x="353759" y="111157"/>
                  </a:lnTo>
                  <a:lnTo>
                    <a:pt x="352520" y="114586"/>
                  </a:lnTo>
                  <a:lnTo>
                    <a:pt x="348805" y="110204"/>
                  </a:lnTo>
                  <a:lnTo>
                    <a:pt x="346043" y="113728"/>
                  </a:lnTo>
                  <a:lnTo>
                    <a:pt x="349568" y="116491"/>
                  </a:lnTo>
                  <a:lnTo>
                    <a:pt x="348425" y="119920"/>
                  </a:lnTo>
                  <a:lnTo>
                    <a:pt x="357378" y="126778"/>
                  </a:lnTo>
                  <a:lnTo>
                    <a:pt x="357950" y="131540"/>
                  </a:lnTo>
                  <a:lnTo>
                    <a:pt x="358140" y="133064"/>
                  </a:lnTo>
                  <a:lnTo>
                    <a:pt x="361855" y="137446"/>
                  </a:lnTo>
                  <a:lnTo>
                    <a:pt x="367189" y="141542"/>
                  </a:lnTo>
                  <a:lnTo>
                    <a:pt x="364236" y="143542"/>
                  </a:lnTo>
                  <a:lnTo>
                    <a:pt x="368237" y="149447"/>
                  </a:lnTo>
                  <a:lnTo>
                    <a:pt x="361379" y="158305"/>
                  </a:lnTo>
                  <a:lnTo>
                    <a:pt x="356616" y="158972"/>
                  </a:lnTo>
                  <a:lnTo>
                    <a:pt x="355854" y="165449"/>
                  </a:lnTo>
                  <a:lnTo>
                    <a:pt x="348329" y="169640"/>
                  </a:lnTo>
                  <a:lnTo>
                    <a:pt x="343471" y="168592"/>
                  </a:lnTo>
                  <a:lnTo>
                    <a:pt x="342043" y="170402"/>
                  </a:lnTo>
                  <a:lnTo>
                    <a:pt x="341662" y="167259"/>
                  </a:lnTo>
                  <a:lnTo>
                    <a:pt x="340424" y="170593"/>
                  </a:lnTo>
                  <a:lnTo>
                    <a:pt x="335566" y="169640"/>
                  </a:lnTo>
                  <a:lnTo>
                    <a:pt x="333946" y="169831"/>
                  </a:lnTo>
                  <a:lnTo>
                    <a:pt x="333756" y="168211"/>
                  </a:lnTo>
                  <a:lnTo>
                    <a:pt x="331946" y="166878"/>
                  </a:lnTo>
                  <a:lnTo>
                    <a:pt x="327660" y="170688"/>
                  </a:lnTo>
                  <a:lnTo>
                    <a:pt x="328803" y="167259"/>
                  </a:lnTo>
                  <a:lnTo>
                    <a:pt x="328422" y="164116"/>
                  </a:lnTo>
                  <a:lnTo>
                    <a:pt x="323088" y="160020"/>
                  </a:lnTo>
                  <a:lnTo>
                    <a:pt x="319754" y="158782"/>
                  </a:lnTo>
                  <a:lnTo>
                    <a:pt x="316802" y="160782"/>
                  </a:lnTo>
                  <a:lnTo>
                    <a:pt x="312039" y="161449"/>
                  </a:lnTo>
                  <a:lnTo>
                    <a:pt x="310229" y="160020"/>
                  </a:lnTo>
                  <a:lnTo>
                    <a:pt x="296418" y="164973"/>
                  </a:lnTo>
                  <a:lnTo>
                    <a:pt x="294513" y="162020"/>
                  </a:lnTo>
                  <a:lnTo>
                    <a:pt x="290132" y="165830"/>
                  </a:lnTo>
                  <a:lnTo>
                    <a:pt x="286988" y="166211"/>
                  </a:lnTo>
                  <a:lnTo>
                    <a:pt x="283083" y="173069"/>
                  </a:lnTo>
                  <a:lnTo>
                    <a:pt x="279654" y="171926"/>
                  </a:lnTo>
                  <a:lnTo>
                    <a:pt x="279463" y="170402"/>
                  </a:lnTo>
                  <a:lnTo>
                    <a:pt x="277273" y="165830"/>
                  </a:lnTo>
                  <a:lnTo>
                    <a:pt x="274320" y="167830"/>
                  </a:lnTo>
                  <a:lnTo>
                    <a:pt x="274606" y="169354"/>
                  </a:lnTo>
                  <a:lnTo>
                    <a:pt x="266224" y="167259"/>
                  </a:lnTo>
                  <a:lnTo>
                    <a:pt x="273177" y="171164"/>
                  </a:lnTo>
                  <a:lnTo>
                    <a:pt x="269081" y="176498"/>
                  </a:lnTo>
                  <a:lnTo>
                    <a:pt x="272225" y="176117"/>
                  </a:lnTo>
                  <a:lnTo>
                    <a:pt x="274225" y="179070"/>
                  </a:lnTo>
                  <a:lnTo>
                    <a:pt x="274034" y="190309"/>
                  </a:lnTo>
                  <a:lnTo>
                    <a:pt x="271272" y="193834"/>
                  </a:lnTo>
                  <a:lnTo>
                    <a:pt x="269462" y="192500"/>
                  </a:lnTo>
                  <a:lnTo>
                    <a:pt x="266510" y="194500"/>
                  </a:lnTo>
                  <a:lnTo>
                    <a:pt x="261176" y="203168"/>
                  </a:lnTo>
                  <a:lnTo>
                    <a:pt x="245840" y="221171"/>
                  </a:lnTo>
                  <a:lnTo>
                    <a:pt x="245650" y="219551"/>
                  </a:lnTo>
                  <a:lnTo>
                    <a:pt x="244507" y="210121"/>
                  </a:lnTo>
                  <a:lnTo>
                    <a:pt x="238887" y="204406"/>
                  </a:lnTo>
                  <a:lnTo>
                    <a:pt x="238887" y="204406"/>
                  </a:lnTo>
                  <a:lnTo>
                    <a:pt x="233172" y="197072"/>
                  </a:lnTo>
                  <a:lnTo>
                    <a:pt x="226695" y="196310"/>
                  </a:lnTo>
                  <a:lnTo>
                    <a:pt x="227838" y="192976"/>
                  </a:lnTo>
                  <a:lnTo>
                    <a:pt x="221552" y="193834"/>
                  </a:lnTo>
                  <a:lnTo>
                    <a:pt x="218218" y="192596"/>
                  </a:lnTo>
                  <a:lnTo>
                    <a:pt x="218408" y="194215"/>
                  </a:lnTo>
                  <a:lnTo>
                    <a:pt x="213455" y="193262"/>
                  </a:lnTo>
                  <a:lnTo>
                    <a:pt x="215646" y="197739"/>
                  </a:lnTo>
                  <a:lnTo>
                    <a:pt x="214217" y="199549"/>
                  </a:lnTo>
                  <a:lnTo>
                    <a:pt x="212027" y="194977"/>
                  </a:lnTo>
                  <a:lnTo>
                    <a:pt x="202597" y="196215"/>
                  </a:lnTo>
                  <a:lnTo>
                    <a:pt x="203549" y="191262"/>
                  </a:lnTo>
                  <a:lnTo>
                    <a:pt x="199835" y="186976"/>
                  </a:lnTo>
                  <a:lnTo>
                    <a:pt x="196882" y="188881"/>
                  </a:lnTo>
                  <a:lnTo>
                    <a:pt x="184976" y="184023"/>
                  </a:lnTo>
                  <a:lnTo>
                    <a:pt x="186214" y="193453"/>
                  </a:lnTo>
                  <a:lnTo>
                    <a:pt x="182880" y="192310"/>
                  </a:lnTo>
                  <a:lnTo>
                    <a:pt x="174974" y="193262"/>
                  </a:lnTo>
                  <a:lnTo>
                    <a:pt x="174593" y="190119"/>
                  </a:lnTo>
                  <a:lnTo>
                    <a:pt x="175355" y="183642"/>
                  </a:lnTo>
                  <a:lnTo>
                    <a:pt x="175546" y="172402"/>
                  </a:lnTo>
                  <a:lnTo>
                    <a:pt x="181261" y="166878"/>
                  </a:lnTo>
                  <a:lnTo>
                    <a:pt x="180975" y="165259"/>
                  </a:lnTo>
                  <a:lnTo>
                    <a:pt x="177832" y="165640"/>
                  </a:lnTo>
                  <a:lnTo>
                    <a:pt x="170307" y="156972"/>
                  </a:lnTo>
                  <a:lnTo>
                    <a:pt x="170307" y="156972"/>
                  </a:lnTo>
                  <a:lnTo>
                    <a:pt x="170783" y="160210"/>
                  </a:lnTo>
                  <a:lnTo>
                    <a:pt x="166021" y="160782"/>
                  </a:lnTo>
                  <a:lnTo>
                    <a:pt x="166211" y="162306"/>
                  </a:lnTo>
                  <a:lnTo>
                    <a:pt x="159925" y="163163"/>
                  </a:lnTo>
                  <a:lnTo>
                    <a:pt x="159353" y="171259"/>
                  </a:lnTo>
                  <a:lnTo>
                    <a:pt x="156401" y="173260"/>
                  </a:lnTo>
                  <a:lnTo>
                    <a:pt x="157925" y="172974"/>
                  </a:lnTo>
                  <a:lnTo>
                    <a:pt x="156782" y="176403"/>
                  </a:lnTo>
                  <a:lnTo>
                    <a:pt x="154972" y="174974"/>
                  </a:lnTo>
                  <a:lnTo>
                    <a:pt x="152210" y="178594"/>
                  </a:lnTo>
                  <a:lnTo>
                    <a:pt x="152400" y="180118"/>
                  </a:lnTo>
                  <a:lnTo>
                    <a:pt x="151257" y="183451"/>
                  </a:lnTo>
                  <a:lnTo>
                    <a:pt x="146495" y="184118"/>
                  </a:lnTo>
                  <a:lnTo>
                    <a:pt x="147542" y="192024"/>
                  </a:lnTo>
                  <a:lnTo>
                    <a:pt x="145733" y="190595"/>
                  </a:lnTo>
                  <a:lnTo>
                    <a:pt x="146399" y="195358"/>
                  </a:lnTo>
                  <a:lnTo>
                    <a:pt x="146971" y="200120"/>
                  </a:lnTo>
                  <a:lnTo>
                    <a:pt x="149543" y="207740"/>
                  </a:lnTo>
                  <a:lnTo>
                    <a:pt x="153543" y="213646"/>
                  </a:lnTo>
                  <a:lnTo>
                    <a:pt x="152495" y="218599"/>
                  </a:lnTo>
                  <a:lnTo>
                    <a:pt x="159258" y="220980"/>
                  </a:lnTo>
                  <a:lnTo>
                    <a:pt x="159449" y="222504"/>
                  </a:lnTo>
                  <a:lnTo>
                    <a:pt x="162020" y="230219"/>
                  </a:lnTo>
                  <a:lnTo>
                    <a:pt x="160496" y="230410"/>
                  </a:lnTo>
                  <a:lnTo>
                    <a:pt x="163068" y="238125"/>
                  </a:lnTo>
                  <a:lnTo>
                    <a:pt x="156686" y="238887"/>
                  </a:lnTo>
                  <a:lnTo>
                    <a:pt x="155162" y="239173"/>
                  </a:lnTo>
                  <a:lnTo>
                    <a:pt x="152019" y="239554"/>
                  </a:lnTo>
                  <a:lnTo>
                    <a:pt x="148304" y="248031"/>
                  </a:lnTo>
                  <a:lnTo>
                    <a:pt x="143351" y="247078"/>
                  </a:lnTo>
                  <a:lnTo>
                    <a:pt x="143732" y="250222"/>
                  </a:lnTo>
                  <a:lnTo>
                    <a:pt x="137636" y="252603"/>
                  </a:lnTo>
                  <a:lnTo>
                    <a:pt x="135636" y="249650"/>
                  </a:lnTo>
                  <a:lnTo>
                    <a:pt x="132874" y="266033"/>
                  </a:lnTo>
                  <a:lnTo>
                    <a:pt x="131350" y="266224"/>
                  </a:lnTo>
                  <a:lnTo>
                    <a:pt x="130207" y="269557"/>
                  </a:lnTo>
                  <a:lnTo>
                    <a:pt x="126968" y="269938"/>
                  </a:lnTo>
                  <a:lnTo>
                    <a:pt x="128969" y="272891"/>
                  </a:lnTo>
                  <a:lnTo>
                    <a:pt x="125825" y="273367"/>
                  </a:lnTo>
                  <a:lnTo>
                    <a:pt x="124682" y="276701"/>
                  </a:lnTo>
                  <a:lnTo>
                    <a:pt x="120301" y="280416"/>
                  </a:lnTo>
                  <a:lnTo>
                    <a:pt x="119158" y="283845"/>
                  </a:lnTo>
                  <a:lnTo>
                    <a:pt x="120968" y="285178"/>
                  </a:lnTo>
                  <a:lnTo>
                    <a:pt x="119539" y="286988"/>
                  </a:lnTo>
                  <a:lnTo>
                    <a:pt x="110680" y="292894"/>
                  </a:lnTo>
                  <a:lnTo>
                    <a:pt x="107347" y="291751"/>
                  </a:lnTo>
                  <a:lnTo>
                    <a:pt x="106109" y="295084"/>
                  </a:lnTo>
                  <a:lnTo>
                    <a:pt x="97250" y="288226"/>
                  </a:lnTo>
                  <a:lnTo>
                    <a:pt x="95917" y="289941"/>
                  </a:lnTo>
                  <a:lnTo>
                    <a:pt x="93726" y="285464"/>
                  </a:lnTo>
                  <a:lnTo>
                    <a:pt x="92678" y="290417"/>
                  </a:lnTo>
                  <a:lnTo>
                    <a:pt x="88202" y="292608"/>
                  </a:lnTo>
                  <a:lnTo>
                    <a:pt x="85249" y="294513"/>
                  </a:lnTo>
                  <a:lnTo>
                    <a:pt x="76771" y="290798"/>
                  </a:lnTo>
                  <a:lnTo>
                    <a:pt x="75343" y="292608"/>
                  </a:lnTo>
                  <a:lnTo>
                    <a:pt x="70866" y="294799"/>
                  </a:lnTo>
                  <a:lnTo>
                    <a:pt x="66104" y="295370"/>
                  </a:lnTo>
                  <a:lnTo>
                    <a:pt x="65151" y="300323"/>
                  </a:lnTo>
                  <a:lnTo>
                    <a:pt x="63722" y="302133"/>
                  </a:lnTo>
                  <a:lnTo>
                    <a:pt x="56864" y="298132"/>
                  </a:lnTo>
                  <a:lnTo>
                    <a:pt x="54483" y="292036"/>
                  </a:lnTo>
                  <a:lnTo>
                    <a:pt x="51245" y="292417"/>
                  </a:lnTo>
                  <a:lnTo>
                    <a:pt x="48292" y="294418"/>
                  </a:lnTo>
                  <a:lnTo>
                    <a:pt x="53912" y="300133"/>
                  </a:lnTo>
                  <a:lnTo>
                    <a:pt x="49339" y="302323"/>
                  </a:lnTo>
                  <a:lnTo>
                    <a:pt x="44577" y="302895"/>
                  </a:lnTo>
                  <a:lnTo>
                    <a:pt x="40291" y="306705"/>
                  </a:lnTo>
                  <a:lnTo>
                    <a:pt x="41053" y="312992"/>
                  </a:lnTo>
                  <a:lnTo>
                    <a:pt x="42672" y="312801"/>
                  </a:lnTo>
                  <a:lnTo>
                    <a:pt x="42101" y="320897"/>
                  </a:lnTo>
                  <a:lnTo>
                    <a:pt x="39529" y="326041"/>
                  </a:lnTo>
                  <a:lnTo>
                    <a:pt x="39338" y="324421"/>
                  </a:lnTo>
                  <a:lnTo>
                    <a:pt x="37719" y="324612"/>
                  </a:lnTo>
                  <a:lnTo>
                    <a:pt x="37910" y="326231"/>
                  </a:lnTo>
                  <a:lnTo>
                    <a:pt x="36004" y="323278"/>
                  </a:lnTo>
                  <a:lnTo>
                    <a:pt x="32576" y="322135"/>
                  </a:lnTo>
                  <a:lnTo>
                    <a:pt x="30671" y="319183"/>
                  </a:lnTo>
                  <a:lnTo>
                    <a:pt x="27242" y="317944"/>
                  </a:lnTo>
                  <a:lnTo>
                    <a:pt x="23336" y="324898"/>
                  </a:lnTo>
                  <a:lnTo>
                    <a:pt x="23527" y="326422"/>
                  </a:lnTo>
                  <a:lnTo>
                    <a:pt x="21622" y="336328"/>
                  </a:lnTo>
                  <a:lnTo>
                    <a:pt x="17050" y="338518"/>
                  </a:lnTo>
                  <a:lnTo>
                    <a:pt x="14478" y="343662"/>
                  </a:lnTo>
                  <a:lnTo>
                    <a:pt x="8572" y="347567"/>
                  </a:lnTo>
                  <a:lnTo>
                    <a:pt x="7811" y="354139"/>
                  </a:lnTo>
                  <a:lnTo>
                    <a:pt x="12954" y="356711"/>
                  </a:lnTo>
                  <a:lnTo>
                    <a:pt x="15145" y="361188"/>
                  </a:lnTo>
                  <a:lnTo>
                    <a:pt x="18860" y="365569"/>
                  </a:lnTo>
                  <a:lnTo>
                    <a:pt x="19907" y="373475"/>
                  </a:lnTo>
                  <a:lnTo>
                    <a:pt x="13621" y="387096"/>
                  </a:lnTo>
                  <a:lnTo>
                    <a:pt x="18955" y="391192"/>
                  </a:lnTo>
                  <a:lnTo>
                    <a:pt x="23146" y="398717"/>
                  </a:lnTo>
                  <a:lnTo>
                    <a:pt x="26099" y="409575"/>
                  </a:lnTo>
                  <a:lnTo>
                    <a:pt x="29432" y="410718"/>
                  </a:lnTo>
                  <a:lnTo>
                    <a:pt x="31242" y="412051"/>
                  </a:lnTo>
                  <a:lnTo>
                    <a:pt x="32861" y="411861"/>
                  </a:lnTo>
                  <a:lnTo>
                    <a:pt x="35052" y="416433"/>
                  </a:lnTo>
                  <a:lnTo>
                    <a:pt x="29337" y="421957"/>
                  </a:lnTo>
                  <a:lnTo>
                    <a:pt x="27527" y="420529"/>
                  </a:lnTo>
                  <a:lnTo>
                    <a:pt x="26765" y="427101"/>
                  </a:lnTo>
                  <a:lnTo>
                    <a:pt x="22574" y="432435"/>
                  </a:lnTo>
                  <a:lnTo>
                    <a:pt x="27908" y="436531"/>
                  </a:lnTo>
                  <a:lnTo>
                    <a:pt x="27337" y="431863"/>
                  </a:lnTo>
                  <a:lnTo>
                    <a:pt x="38386" y="430435"/>
                  </a:lnTo>
                  <a:lnTo>
                    <a:pt x="40196" y="431768"/>
                  </a:lnTo>
                  <a:lnTo>
                    <a:pt x="43339" y="431387"/>
                  </a:lnTo>
                  <a:lnTo>
                    <a:pt x="46863" y="434150"/>
                  </a:lnTo>
                  <a:lnTo>
                    <a:pt x="51435" y="431959"/>
                  </a:lnTo>
                  <a:lnTo>
                    <a:pt x="56579" y="421672"/>
                  </a:lnTo>
                  <a:lnTo>
                    <a:pt x="58103" y="421481"/>
                  </a:lnTo>
                  <a:lnTo>
                    <a:pt x="62103" y="427387"/>
                  </a:lnTo>
                  <a:lnTo>
                    <a:pt x="58769" y="439007"/>
                  </a:lnTo>
                  <a:lnTo>
                    <a:pt x="57531" y="442436"/>
                  </a:lnTo>
                  <a:lnTo>
                    <a:pt x="59531" y="445389"/>
                  </a:lnTo>
                  <a:lnTo>
                    <a:pt x="58007" y="445580"/>
                  </a:lnTo>
                  <a:lnTo>
                    <a:pt x="59912" y="448532"/>
                  </a:lnTo>
                  <a:lnTo>
                    <a:pt x="55436" y="450723"/>
                  </a:lnTo>
                  <a:lnTo>
                    <a:pt x="51911" y="473583"/>
                  </a:lnTo>
                  <a:lnTo>
                    <a:pt x="46958" y="472630"/>
                  </a:lnTo>
                  <a:lnTo>
                    <a:pt x="45625" y="474440"/>
                  </a:lnTo>
                  <a:lnTo>
                    <a:pt x="42291" y="473202"/>
                  </a:lnTo>
                  <a:lnTo>
                    <a:pt x="41053" y="476536"/>
                  </a:lnTo>
                  <a:lnTo>
                    <a:pt x="39910" y="479965"/>
                  </a:lnTo>
                  <a:lnTo>
                    <a:pt x="36767" y="480346"/>
                  </a:lnTo>
                  <a:lnTo>
                    <a:pt x="34957" y="478917"/>
                  </a:lnTo>
                  <a:lnTo>
                    <a:pt x="28480" y="478155"/>
                  </a:lnTo>
                  <a:lnTo>
                    <a:pt x="23908" y="480346"/>
                  </a:lnTo>
                  <a:lnTo>
                    <a:pt x="23527" y="490061"/>
                  </a:lnTo>
                  <a:lnTo>
                    <a:pt x="20574" y="504825"/>
                  </a:lnTo>
                  <a:lnTo>
                    <a:pt x="19050" y="505015"/>
                  </a:lnTo>
                  <a:lnTo>
                    <a:pt x="20003" y="512921"/>
                  </a:lnTo>
                  <a:lnTo>
                    <a:pt x="15716" y="516731"/>
                  </a:lnTo>
                  <a:lnTo>
                    <a:pt x="12383" y="515493"/>
                  </a:lnTo>
                  <a:lnTo>
                    <a:pt x="857" y="513778"/>
                  </a:lnTo>
                  <a:lnTo>
                    <a:pt x="3143" y="531114"/>
                  </a:lnTo>
                  <a:lnTo>
                    <a:pt x="4477" y="529400"/>
                  </a:lnTo>
                  <a:lnTo>
                    <a:pt x="6668" y="533876"/>
                  </a:lnTo>
                  <a:lnTo>
                    <a:pt x="5905" y="540353"/>
                  </a:lnTo>
                  <a:lnTo>
                    <a:pt x="0" y="544354"/>
                  </a:lnTo>
                  <a:lnTo>
                    <a:pt x="16383" y="547116"/>
                  </a:lnTo>
                  <a:lnTo>
                    <a:pt x="20860" y="544925"/>
                  </a:lnTo>
                  <a:lnTo>
                    <a:pt x="24479" y="547688"/>
                  </a:lnTo>
                  <a:lnTo>
                    <a:pt x="28385" y="540734"/>
                  </a:lnTo>
                  <a:lnTo>
                    <a:pt x="31528" y="540353"/>
                  </a:lnTo>
                  <a:lnTo>
                    <a:pt x="34480" y="538353"/>
                  </a:lnTo>
                  <a:lnTo>
                    <a:pt x="37910" y="539496"/>
                  </a:lnTo>
                  <a:lnTo>
                    <a:pt x="42386" y="537401"/>
                  </a:lnTo>
                  <a:lnTo>
                    <a:pt x="53245" y="534352"/>
                  </a:lnTo>
                  <a:lnTo>
                    <a:pt x="63532" y="526637"/>
                  </a:lnTo>
                  <a:lnTo>
                    <a:pt x="71533" y="527209"/>
                  </a:lnTo>
                  <a:lnTo>
                    <a:pt x="73343" y="528638"/>
                  </a:lnTo>
                  <a:lnTo>
                    <a:pt x="76962" y="544163"/>
                  </a:lnTo>
                  <a:lnTo>
                    <a:pt x="81915" y="545116"/>
                  </a:lnTo>
                  <a:lnTo>
                    <a:pt x="83820" y="548068"/>
                  </a:lnTo>
                  <a:lnTo>
                    <a:pt x="84487" y="552831"/>
                  </a:lnTo>
                  <a:lnTo>
                    <a:pt x="86678" y="557403"/>
                  </a:lnTo>
                  <a:lnTo>
                    <a:pt x="86296" y="567023"/>
                  </a:lnTo>
                  <a:lnTo>
                    <a:pt x="85344" y="571976"/>
                  </a:lnTo>
                  <a:lnTo>
                    <a:pt x="81153" y="577310"/>
                  </a:lnTo>
                  <a:lnTo>
                    <a:pt x="81534" y="580453"/>
                  </a:lnTo>
                  <a:lnTo>
                    <a:pt x="79248" y="587216"/>
                  </a:lnTo>
                  <a:lnTo>
                    <a:pt x="78010" y="590550"/>
                  </a:lnTo>
                  <a:lnTo>
                    <a:pt x="80010" y="593503"/>
                  </a:lnTo>
                  <a:lnTo>
                    <a:pt x="82963" y="591502"/>
                  </a:lnTo>
                  <a:lnTo>
                    <a:pt x="85344" y="584835"/>
                  </a:lnTo>
                  <a:lnTo>
                    <a:pt x="101537" y="585978"/>
                  </a:lnTo>
                  <a:lnTo>
                    <a:pt x="102679" y="595408"/>
                  </a:lnTo>
                  <a:lnTo>
                    <a:pt x="104299" y="595217"/>
                  </a:lnTo>
                  <a:lnTo>
                    <a:pt x="108585" y="591502"/>
                  </a:lnTo>
                  <a:lnTo>
                    <a:pt x="113538" y="592455"/>
                  </a:lnTo>
                  <a:lnTo>
                    <a:pt x="115919" y="598551"/>
                  </a:lnTo>
                  <a:lnTo>
                    <a:pt x="119539" y="601313"/>
                  </a:lnTo>
                  <a:lnTo>
                    <a:pt x="119539" y="614172"/>
                  </a:lnTo>
                  <a:lnTo>
                    <a:pt x="124301" y="613505"/>
                  </a:lnTo>
                  <a:lnTo>
                    <a:pt x="127063" y="609981"/>
                  </a:lnTo>
                  <a:lnTo>
                    <a:pt x="130588" y="612743"/>
                  </a:lnTo>
                  <a:lnTo>
                    <a:pt x="130397" y="611124"/>
                  </a:lnTo>
                  <a:lnTo>
                    <a:pt x="136874" y="611886"/>
                  </a:lnTo>
                  <a:lnTo>
                    <a:pt x="138303" y="610172"/>
                  </a:lnTo>
                  <a:lnTo>
                    <a:pt x="139827" y="609981"/>
                  </a:lnTo>
                  <a:lnTo>
                    <a:pt x="143256" y="611124"/>
                  </a:lnTo>
                  <a:lnTo>
                    <a:pt x="145352" y="615601"/>
                  </a:lnTo>
                  <a:lnTo>
                    <a:pt x="151733" y="614839"/>
                  </a:lnTo>
                  <a:lnTo>
                    <a:pt x="155067" y="615982"/>
                  </a:lnTo>
                  <a:lnTo>
                    <a:pt x="162592" y="611886"/>
                  </a:lnTo>
                  <a:lnTo>
                    <a:pt x="167926" y="615982"/>
                  </a:lnTo>
                  <a:lnTo>
                    <a:pt x="166688" y="619315"/>
                  </a:lnTo>
                  <a:lnTo>
                    <a:pt x="173641" y="623316"/>
                  </a:lnTo>
                  <a:lnTo>
                    <a:pt x="174784" y="619887"/>
                  </a:lnTo>
                  <a:lnTo>
                    <a:pt x="180118" y="624078"/>
                  </a:lnTo>
                  <a:lnTo>
                    <a:pt x="178022" y="632365"/>
                  </a:lnTo>
                  <a:lnTo>
                    <a:pt x="179927" y="635318"/>
                  </a:lnTo>
                  <a:lnTo>
                    <a:pt x="178784" y="638651"/>
                  </a:lnTo>
                  <a:lnTo>
                    <a:pt x="179165" y="641794"/>
                  </a:lnTo>
                  <a:lnTo>
                    <a:pt x="175070" y="647128"/>
                  </a:lnTo>
                  <a:lnTo>
                    <a:pt x="176879" y="648557"/>
                  </a:lnTo>
                  <a:lnTo>
                    <a:pt x="175641" y="651891"/>
                  </a:lnTo>
                  <a:lnTo>
                    <a:pt x="175832" y="653415"/>
                  </a:lnTo>
                  <a:lnTo>
                    <a:pt x="177641" y="654844"/>
                  </a:lnTo>
                  <a:lnTo>
                    <a:pt x="184404" y="657225"/>
                  </a:lnTo>
                  <a:lnTo>
                    <a:pt x="185738" y="655415"/>
                  </a:lnTo>
                  <a:lnTo>
                    <a:pt x="189071" y="656558"/>
                  </a:lnTo>
                  <a:lnTo>
                    <a:pt x="190500" y="654844"/>
                  </a:lnTo>
                  <a:lnTo>
                    <a:pt x="192691" y="659321"/>
                  </a:lnTo>
                  <a:lnTo>
                    <a:pt x="194977" y="652653"/>
                  </a:lnTo>
                  <a:lnTo>
                    <a:pt x="205835" y="649605"/>
                  </a:lnTo>
                  <a:lnTo>
                    <a:pt x="207264" y="660654"/>
                  </a:lnTo>
                  <a:lnTo>
                    <a:pt x="214217" y="664655"/>
                  </a:lnTo>
                  <a:lnTo>
                    <a:pt x="223457" y="674656"/>
                  </a:lnTo>
                  <a:lnTo>
                    <a:pt x="225076" y="674465"/>
                  </a:lnTo>
                  <a:lnTo>
                    <a:pt x="234125" y="682943"/>
                  </a:lnTo>
                  <a:lnTo>
                    <a:pt x="245936" y="675037"/>
                  </a:lnTo>
                  <a:lnTo>
                    <a:pt x="247745" y="676370"/>
                  </a:lnTo>
                  <a:lnTo>
                    <a:pt x="250508" y="672846"/>
                  </a:lnTo>
                  <a:lnTo>
                    <a:pt x="252317" y="674180"/>
                  </a:lnTo>
                  <a:lnTo>
                    <a:pt x="258223" y="670274"/>
                  </a:lnTo>
                  <a:lnTo>
                    <a:pt x="258413" y="671798"/>
                  </a:lnTo>
                  <a:lnTo>
                    <a:pt x="261366" y="669798"/>
                  </a:lnTo>
                  <a:lnTo>
                    <a:pt x="267081" y="677132"/>
                  </a:lnTo>
                  <a:lnTo>
                    <a:pt x="280892" y="672179"/>
                  </a:lnTo>
                  <a:lnTo>
                    <a:pt x="279845" y="664273"/>
                  </a:lnTo>
                  <a:lnTo>
                    <a:pt x="286417" y="677894"/>
                  </a:lnTo>
                  <a:lnTo>
                    <a:pt x="288417" y="680847"/>
                  </a:lnTo>
                  <a:lnTo>
                    <a:pt x="297275" y="674846"/>
                  </a:lnTo>
                  <a:lnTo>
                    <a:pt x="311277" y="684276"/>
                  </a:lnTo>
                  <a:lnTo>
                    <a:pt x="320040" y="689610"/>
                  </a:lnTo>
                  <a:lnTo>
                    <a:pt x="317278" y="693134"/>
                  </a:lnTo>
                  <a:lnTo>
                    <a:pt x="317849" y="697897"/>
                  </a:lnTo>
                  <a:lnTo>
                    <a:pt x="310420" y="714947"/>
                  </a:lnTo>
                  <a:lnTo>
                    <a:pt x="319088" y="720185"/>
                  </a:lnTo>
                  <a:lnTo>
                    <a:pt x="323183" y="714851"/>
                  </a:lnTo>
                  <a:lnTo>
                    <a:pt x="327946" y="714280"/>
                  </a:lnTo>
                  <a:lnTo>
                    <a:pt x="344138" y="728282"/>
                  </a:lnTo>
                  <a:lnTo>
                    <a:pt x="355378" y="728377"/>
                  </a:lnTo>
                  <a:lnTo>
                    <a:pt x="367475" y="747712"/>
                  </a:lnTo>
                  <a:lnTo>
                    <a:pt x="373666" y="758190"/>
                  </a:lnTo>
                  <a:lnTo>
                    <a:pt x="372428" y="761524"/>
                  </a:lnTo>
                  <a:lnTo>
                    <a:pt x="376238" y="765810"/>
                  </a:lnTo>
                  <a:lnTo>
                    <a:pt x="383858" y="763238"/>
                  </a:lnTo>
                  <a:lnTo>
                    <a:pt x="381191" y="766858"/>
                  </a:lnTo>
                  <a:lnTo>
                    <a:pt x="382905" y="768191"/>
                  </a:lnTo>
                  <a:lnTo>
                    <a:pt x="381381" y="768382"/>
                  </a:lnTo>
                  <a:lnTo>
                    <a:pt x="381953" y="773144"/>
                  </a:lnTo>
                  <a:lnTo>
                    <a:pt x="389096" y="791432"/>
                  </a:lnTo>
                  <a:lnTo>
                    <a:pt x="396812" y="788860"/>
                  </a:lnTo>
                  <a:lnTo>
                    <a:pt x="403479" y="791242"/>
                  </a:lnTo>
                  <a:lnTo>
                    <a:pt x="409385" y="787241"/>
                  </a:lnTo>
                  <a:lnTo>
                    <a:pt x="412623" y="786860"/>
                  </a:lnTo>
                  <a:lnTo>
                    <a:pt x="416719" y="781526"/>
                  </a:lnTo>
                  <a:lnTo>
                    <a:pt x="419862" y="781145"/>
                  </a:lnTo>
                  <a:lnTo>
                    <a:pt x="431292" y="782860"/>
                  </a:lnTo>
                  <a:lnTo>
                    <a:pt x="438436" y="775526"/>
                  </a:lnTo>
                  <a:lnTo>
                    <a:pt x="440531" y="767239"/>
                  </a:lnTo>
                  <a:lnTo>
                    <a:pt x="450818" y="759524"/>
                  </a:lnTo>
                  <a:lnTo>
                    <a:pt x="454914" y="754190"/>
                  </a:lnTo>
                  <a:lnTo>
                    <a:pt x="456057" y="750856"/>
                  </a:lnTo>
                  <a:lnTo>
                    <a:pt x="460438" y="747141"/>
                  </a:lnTo>
                  <a:lnTo>
                    <a:pt x="460058" y="743902"/>
                  </a:lnTo>
                  <a:lnTo>
                    <a:pt x="465106" y="733711"/>
                  </a:lnTo>
                  <a:lnTo>
                    <a:pt x="476345" y="721043"/>
                  </a:lnTo>
                  <a:lnTo>
                    <a:pt x="479488" y="720566"/>
                  </a:lnTo>
                  <a:lnTo>
                    <a:pt x="484061" y="718471"/>
                  </a:lnTo>
                  <a:lnTo>
                    <a:pt x="482632" y="707422"/>
                  </a:lnTo>
                  <a:lnTo>
                    <a:pt x="504920" y="706184"/>
                  </a:lnTo>
                  <a:lnTo>
                    <a:pt x="508063" y="705707"/>
                  </a:lnTo>
                  <a:lnTo>
                    <a:pt x="509492" y="703993"/>
                  </a:lnTo>
                  <a:lnTo>
                    <a:pt x="523875" y="703707"/>
                  </a:lnTo>
                  <a:lnTo>
                    <a:pt x="533305" y="702564"/>
                  </a:lnTo>
                  <a:lnTo>
                    <a:pt x="545211" y="707422"/>
                  </a:lnTo>
                  <a:lnTo>
                    <a:pt x="557403" y="702659"/>
                  </a:lnTo>
                  <a:lnTo>
                    <a:pt x="557594" y="691420"/>
                  </a:lnTo>
                  <a:lnTo>
                    <a:pt x="563499" y="674656"/>
                  </a:lnTo>
                  <a:lnTo>
                    <a:pt x="565595" y="666369"/>
                  </a:lnTo>
                  <a:lnTo>
                    <a:pt x="566833" y="662940"/>
                  </a:lnTo>
                  <a:lnTo>
                    <a:pt x="563975" y="653701"/>
                  </a:lnTo>
                  <a:lnTo>
                    <a:pt x="564737" y="647224"/>
                  </a:lnTo>
                  <a:lnTo>
                    <a:pt x="568262" y="637127"/>
                  </a:lnTo>
                  <a:lnTo>
                    <a:pt x="572262" y="630174"/>
                  </a:lnTo>
                  <a:lnTo>
                    <a:pt x="574167" y="620363"/>
                  </a:lnTo>
                  <a:lnTo>
                    <a:pt x="571405" y="611029"/>
                  </a:lnTo>
                  <a:lnTo>
                    <a:pt x="572357" y="606171"/>
                  </a:lnTo>
                  <a:lnTo>
                    <a:pt x="576739" y="602361"/>
                  </a:lnTo>
                  <a:lnTo>
                    <a:pt x="579215" y="597218"/>
                  </a:lnTo>
                  <a:lnTo>
                    <a:pt x="585121" y="593312"/>
                  </a:lnTo>
                  <a:lnTo>
                    <a:pt x="596170" y="591884"/>
                  </a:lnTo>
                  <a:lnTo>
                    <a:pt x="599122" y="589883"/>
                  </a:lnTo>
                  <a:lnTo>
                    <a:pt x="615601" y="592646"/>
                  </a:lnTo>
                  <a:lnTo>
                    <a:pt x="619887" y="588835"/>
                  </a:lnTo>
                  <a:lnTo>
                    <a:pt x="622649" y="585311"/>
                  </a:lnTo>
                  <a:lnTo>
                    <a:pt x="628936" y="584454"/>
                  </a:lnTo>
                  <a:lnTo>
                    <a:pt x="637889" y="591407"/>
                  </a:lnTo>
                  <a:lnTo>
                    <a:pt x="649129" y="591598"/>
                  </a:lnTo>
                  <a:lnTo>
                    <a:pt x="652272" y="591122"/>
                  </a:lnTo>
                  <a:lnTo>
                    <a:pt x="654558" y="584454"/>
                  </a:lnTo>
                  <a:lnTo>
                    <a:pt x="662464" y="583406"/>
                  </a:lnTo>
                  <a:lnTo>
                    <a:pt x="680466" y="573119"/>
                  </a:lnTo>
                  <a:lnTo>
                    <a:pt x="684562" y="567785"/>
                  </a:lnTo>
                  <a:lnTo>
                    <a:pt x="690086" y="560642"/>
                  </a:lnTo>
                  <a:lnTo>
                    <a:pt x="690848" y="554164"/>
                  </a:lnTo>
                  <a:lnTo>
                    <a:pt x="699516" y="546640"/>
                  </a:lnTo>
                  <a:lnTo>
                    <a:pt x="697516" y="543687"/>
                  </a:lnTo>
                  <a:lnTo>
                    <a:pt x="698468" y="538734"/>
                  </a:lnTo>
                  <a:lnTo>
                    <a:pt x="705707" y="520160"/>
                  </a:lnTo>
                  <a:lnTo>
                    <a:pt x="712470" y="509683"/>
                  </a:lnTo>
                  <a:lnTo>
                    <a:pt x="707612" y="484632"/>
                  </a:lnTo>
                  <a:lnTo>
                    <a:pt x="709994" y="477964"/>
                  </a:lnTo>
                  <a:lnTo>
                    <a:pt x="711613" y="477774"/>
                  </a:lnTo>
                  <a:lnTo>
                    <a:pt x="713327" y="479107"/>
                  </a:lnTo>
                  <a:lnTo>
                    <a:pt x="714947" y="478917"/>
                  </a:lnTo>
                  <a:lnTo>
                    <a:pt x="712375" y="471202"/>
                  </a:lnTo>
                  <a:lnTo>
                    <a:pt x="705231" y="465772"/>
                  </a:lnTo>
                  <a:lnTo>
                    <a:pt x="704469" y="459391"/>
                  </a:lnTo>
                  <a:lnTo>
                    <a:pt x="706755" y="452723"/>
                  </a:lnTo>
                  <a:lnTo>
                    <a:pt x="711137" y="448913"/>
                  </a:lnTo>
                  <a:lnTo>
                    <a:pt x="710089" y="441007"/>
                  </a:lnTo>
                  <a:lnTo>
                    <a:pt x="711518" y="439293"/>
                  </a:lnTo>
                  <a:lnTo>
                    <a:pt x="724662" y="429577"/>
                  </a:lnTo>
                  <a:lnTo>
                    <a:pt x="718757" y="420719"/>
                  </a:lnTo>
                  <a:lnTo>
                    <a:pt x="718852" y="396621"/>
                  </a:lnTo>
                  <a:lnTo>
                    <a:pt x="724567" y="391096"/>
                  </a:lnTo>
                  <a:lnTo>
                    <a:pt x="727901" y="379476"/>
                  </a:lnTo>
                  <a:lnTo>
                    <a:pt x="729520" y="379285"/>
                  </a:lnTo>
                  <a:lnTo>
                    <a:pt x="727901" y="366617"/>
                  </a:lnTo>
                  <a:lnTo>
                    <a:pt x="732663" y="366046"/>
                  </a:lnTo>
                  <a:lnTo>
                    <a:pt x="731996" y="361283"/>
                  </a:lnTo>
                  <a:lnTo>
                    <a:pt x="733997" y="351377"/>
                  </a:lnTo>
                  <a:lnTo>
                    <a:pt x="726091" y="352425"/>
                  </a:lnTo>
                  <a:lnTo>
                    <a:pt x="727805" y="340995"/>
                  </a:lnTo>
                  <a:lnTo>
                    <a:pt x="726186" y="328327"/>
                  </a:lnTo>
                  <a:lnTo>
                    <a:pt x="736663" y="322231"/>
                  </a:lnTo>
                  <a:lnTo>
                    <a:pt x="737235" y="314134"/>
                  </a:lnTo>
                  <a:lnTo>
                    <a:pt x="751808" y="302609"/>
                  </a:lnTo>
                  <a:lnTo>
                    <a:pt x="751999" y="291370"/>
                  </a:lnTo>
                  <a:lnTo>
                    <a:pt x="751142" y="285083"/>
                  </a:lnTo>
                  <a:lnTo>
                    <a:pt x="750951" y="283464"/>
                  </a:lnTo>
                  <a:lnTo>
                    <a:pt x="755333" y="279749"/>
                  </a:lnTo>
                  <a:lnTo>
                    <a:pt x="758666" y="280892"/>
                  </a:lnTo>
                  <a:lnTo>
                    <a:pt x="762953" y="277177"/>
                  </a:lnTo>
                  <a:lnTo>
                    <a:pt x="767905" y="278130"/>
                  </a:lnTo>
                  <a:lnTo>
                    <a:pt x="770668" y="274606"/>
                  </a:lnTo>
                  <a:lnTo>
                    <a:pt x="774002" y="275749"/>
                  </a:lnTo>
                  <a:lnTo>
                    <a:pt x="776764" y="272225"/>
                  </a:lnTo>
                  <a:lnTo>
                    <a:pt x="792956" y="273367"/>
                  </a:lnTo>
                  <a:lnTo>
                    <a:pt x="797528" y="271177"/>
                  </a:lnTo>
                  <a:lnTo>
                    <a:pt x="806768" y="268319"/>
                  </a:lnTo>
                  <a:lnTo>
                    <a:pt x="811149" y="264605"/>
                  </a:lnTo>
                  <a:lnTo>
                    <a:pt x="817245" y="262223"/>
                  </a:lnTo>
                  <a:lnTo>
                    <a:pt x="831437" y="260413"/>
                  </a:lnTo>
                  <a:lnTo>
                    <a:pt x="832771" y="258604"/>
                  </a:lnTo>
                  <a:lnTo>
                    <a:pt x="832390" y="255460"/>
                  </a:lnTo>
                  <a:lnTo>
                    <a:pt x="844582" y="250698"/>
                  </a:lnTo>
                  <a:lnTo>
                    <a:pt x="851726" y="243364"/>
                  </a:lnTo>
                  <a:lnTo>
                    <a:pt x="855059" y="244602"/>
                  </a:lnTo>
                  <a:lnTo>
                    <a:pt x="875157" y="238792"/>
                  </a:lnTo>
                  <a:lnTo>
                    <a:pt x="885444" y="231076"/>
                  </a:lnTo>
                  <a:lnTo>
                    <a:pt x="892683" y="212503"/>
                  </a:lnTo>
                  <a:lnTo>
                    <a:pt x="896969" y="208788"/>
                  </a:lnTo>
                  <a:lnTo>
                    <a:pt x="903351" y="207931"/>
                  </a:lnTo>
                  <a:lnTo>
                    <a:pt x="899160" y="200501"/>
                  </a:lnTo>
                  <a:lnTo>
                    <a:pt x="906494" y="194691"/>
                  </a:lnTo>
                  <a:lnTo>
                    <a:pt x="910019" y="184690"/>
                  </a:lnTo>
                  <a:lnTo>
                    <a:pt x="910019" y="184690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0" name="Volný tvar: obrazec 49">
              <a:extLst>
                <a:ext uri="{FF2B5EF4-FFF2-40B4-BE49-F238E27FC236}">
                  <a16:creationId xmlns:a16="http://schemas.microsoft.com/office/drawing/2014/main" id="{B29776D2-6F9A-CD72-4B21-02DFDA4B0688}"/>
                </a:ext>
              </a:extLst>
            </p:cNvPr>
            <p:cNvSpPr>
              <a:spLocks noChangeAspect="1"/>
            </p:cNvSpPr>
            <p:nvPr userDrawn="1">
              <p:custDataLst>
                <p:tags r:id="rId5"/>
              </p:custDataLst>
            </p:nvPr>
          </p:nvSpPr>
          <p:spPr>
            <a:xfrm>
              <a:off x="4709541" y="3644550"/>
              <a:ext cx="1468659" cy="1218057"/>
            </a:xfrm>
            <a:custGeom>
              <a:avLst/>
              <a:gdLst>
                <a:gd name="connsiteX0" fmla="*/ 1468660 w 1468659"/>
                <a:gd name="connsiteY0" fmla="*/ 616839 h 1218057"/>
                <a:gd name="connsiteX1" fmla="*/ 1453801 w 1468659"/>
                <a:gd name="connsiteY1" fmla="*/ 601027 h 1218057"/>
                <a:gd name="connsiteX2" fmla="*/ 1456563 w 1468659"/>
                <a:gd name="connsiteY2" fmla="*/ 597503 h 1218057"/>
                <a:gd name="connsiteX3" fmla="*/ 1461230 w 1468659"/>
                <a:gd name="connsiteY3" fmla="*/ 596932 h 1218057"/>
                <a:gd name="connsiteX4" fmla="*/ 1459325 w 1468659"/>
                <a:gd name="connsiteY4" fmla="*/ 593979 h 1218057"/>
                <a:gd name="connsiteX5" fmla="*/ 1451039 w 1468659"/>
                <a:gd name="connsiteY5" fmla="*/ 591788 h 1218057"/>
                <a:gd name="connsiteX6" fmla="*/ 1448086 w 1468659"/>
                <a:gd name="connsiteY6" fmla="*/ 593788 h 1218057"/>
                <a:gd name="connsiteX7" fmla="*/ 1449800 w 1468659"/>
                <a:gd name="connsiteY7" fmla="*/ 595122 h 1218057"/>
                <a:gd name="connsiteX8" fmla="*/ 1448467 w 1468659"/>
                <a:gd name="connsiteY8" fmla="*/ 596932 h 1218057"/>
                <a:gd name="connsiteX9" fmla="*/ 1439132 w 1468659"/>
                <a:gd name="connsiteY9" fmla="*/ 586930 h 1218057"/>
                <a:gd name="connsiteX10" fmla="*/ 1435608 w 1468659"/>
                <a:gd name="connsiteY10" fmla="*/ 584168 h 1218057"/>
                <a:gd name="connsiteX11" fmla="*/ 1436942 w 1468659"/>
                <a:gd name="connsiteY11" fmla="*/ 582359 h 1218057"/>
                <a:gd name="connsiteX12" fmla="*/ 1444847 w 1468659"/>
                <a:gd name="connsiteY12" fmla="*/ 581406 h 1218057"/>
                <a:gd name="connsiteX13" fmla="*/ 1446657 w 1468659"/>
                <a:gd name="connsiteY13" fmla="*/ 582739 h 1218057"/>
                <a:gd name="connsiteX14" fmla="*/ 1444276 w 1468659"/>
                <a:gd name="connsiteY14" fmla="*/ 576643 h 1218057"/>
                <a:gd name="connsiteX15" fmla="*/ 1443038 w 1468659"/>
                <a:gd name="connsiteY15" fmla="*/ 567118 h 1218057"/>
                <a:gd name="connsiteX16" fmla="*/ 1436370 w 1468659"/>
                <a:gd name="connsiteY16" fmla="*/ 564832 h 1218057"/>
                <a:gd name="connsiteX17" fmla="*/ 1433989 w 1468659"/>
                <a:gd name="connsiteY17" fmla="*/ 571500 h 1218057"/>
                <a:gd name="connsiteX18" fmla="*/ 1434751 w 1468659"/>
                <a:gd name="connsiteY18" fmla="*/ 565023 h 1218057"/>
                <a:gd name="connsiteX19" fmla="*/ 1427607 w 1468659"/>
                <a:gd name="connsiteY19" fmla="*/ 559498 h 1218057"/>
                <a:gd name="connsiteX20" fmla="*/ 1424654 w 1468659"/>
                <a:gd name="connsiteY20" fmla="*/ 561499 h 1218057"/>
                <a:gd name="connsiteX21" fmla="*/ 1421321 w 1468659"/>
                <a:gd name="connsiteY21" fmla="*/ 560356 h 1218057"/>
                <a:gd name="connsiteX22" fmla="*/ 1420368 w 1468659"/>
                <a:gd name="connsiteY22" fmla="*/ 565213 h 1218057"/>
                <a:gd name="connsiteX23" fmla="*/ 1424083 w 1468659"/>
                <a:gd name="connsiteY23" fmla="*/ 569595 h 1218057"/>
                <a:gd name="connsiteX24" fmla="*/ 1421321 w 1468659"/>
                <a:gd name="connsiteY24" fmla="*/ 573119 h 1218057"/>
                <a:gd name="connsiteX25" fmla="*/ 1416463 w 1468659"/>
                <a:gd name="connsiteY25" fmla="*/ 572167 h 1218057"/>
                <a:gd name="connsiteX26" fmla="*/ 1416177 w 1468659"/>
                <a:gd name="connsiteY26" fmla="*/ 570547 h 1218057"/>
                <a:gd name="connsiteX27" fmla="*/ 1412462 w 1468659"/>
                <a:gd name="connsiteY27" fmla="*/ 566261 h 1218057"/>
                <a:gd name="connsiteX28" fmla="*/ 1404366 w 1468659"/>
                <a:gd name="connsiteY28" fmla="*/ 565690 h 1218057"/>
                <a:gd name="connsiteX29" fmla="*/ 1403033 w 1468659"/>
                <a:gd name="connsiteY29" fmla="*/ 567500 h 1218057"/>
                <a:gd name="connsiteX30" fmla="*/ 1396270 w 1468659"/>
                <a:gd name="connsiteY30" fmla="*/ 577882 h 1218057"/>
                <a:gd name="connsiteX31" fmla="*/ 1391412 w 1468659"/>
                <a:gd name="connsiteY31" fmla="*/ 576929 h 1218057"/>
                <a:gd name="connsiteX32" fmla="*/ 1384840 w 1468659"/>
                <a:gd name="connsiteY32" fmla="*/ 576167 h 1218057"/>
                <a:gd name="connsiteX33" fmla="*/ 1373410 w 1468659"/>
                <a:gd name="connsiteY33" fmla="*/ 574453 h 1218057"/>
                <a:gd name="connsiteX34" fmla="*/ 1373791 w 1468659"/>
                <a:gd name="connsiteY34" fmla="*/ 577596 h 1218057"/>
                <a:gd name="connsiteX35" fmla="*/ 1370457 w 1468659"/>
                <a:gd name="connsiteY35" fmla="*/ 576453 h 1218057"/>
                <a:gd name="connsiteX36" fmla="*/ 1369123 w 1468659"/>
                <a:gd name="connsiteY36" fmla="*/ 578168 h 1218057"/>
                <a:gd name="connsiteX37" fmla="*/ 1367123 w 1468659"/>
                <a:gd name="connsiteY37" fmla="*/ 575215 h 1218057"/>
                <a:gd name="connsiteX38" fmla="*/ 1365504 w 1468659"/>
                <a:gd name="connsiteY38" fmla="*/ 575405 h 1218057"/>
                <a:gd name="connsiteX39" fmla="*/ 1357789 w 1468659"/>
                <a:gd name="connsiteY39" fmla="*/ 565213 h 1218057"/>
                <a:gd name="connsiteX40" fmla="*/ 1354264 w 1468659"/>
                <a:gd name="connsiteY40" fmla="*/ 562451 h 1218057"/>
                <a:gd name="connsiteX41" fmla="*/ 1351121 w 1468659"/>
                <a:gd name="connsiteY41" fmla="*/ 562832 h 1218057"/>
                <a:gd name="connsiteX42" fmla="*/ 1348168 w 1468659"/>
                <a:gd name="connsiteY42" fmla="*/ 564832 h 1218057"/>
                <a:gd name="connsiteX43" fmla="*/ 1346740 w 1468659"/>
                <a:gd name="connsiteY43" fmla="*/ 566642 h 1218057"/>
                <a:gd name="connsiteX44" fmla="*/ 1345216 w 1468659"/>
                <a:gd name="connsiteY44" fmla="*/ 566833 h 1218057"/>
                <a:gd name="connsiteX45" fmla="*/ 1343025 w 1468659"/>
                <a:gd name="connsiteY45" fmla="*/ 575119 h 1218057"/>
                <a:gd name="connsiteX46" fmla="*/ 1340453 w 1468659"/>
                <a:gd name="connsiteY46" fmla="*/ 580263 h 1218057"/>
                <a:gd name="connsiteX47" fmla="*/ 1338739 w 1468659"/>
                <a:gd name="connsiteY47" fmla="*/ 578834 h 1218057"/>
                <a:gd name="connsiteX48" fmla="*/ 1339501 w 1468659"/>
                <a:gd name="connsiteY48" fmla="*/ 572357 h 1218057"/>
                <a:gd name="connsiteX49" fmla="*/ 1330928 w 1468659"/>
                <a:gd name="connsiteY49" fmla="*/ 568643 h 1218057"/>
                <a:gd name="connsiteX50" fmla="*/ 1327214 w 1468659"/>
                <a:gd name="connsiteY50" fmla="*/ 564261 h 1218057"/>
                <a:gd name="connsiteX51" fmla="*/ 1320260 w 1468659"/>
                <a:gd name="connsiteY51" fmla="*/ 560356 h 1218057"/>
                <a:gd name="connsiteX52" fmla="*/ 1318736 w 1468659"/>
                <a:gd name="connsiteY52" fmla="*/ 560546 h 1218057"/>
                <a:gd name="connsiteX53" fmla="*/ 1315593 w 1468659"/>
                <a:gd name="connsiteY53" fmla="*/ 560927 h 1218057"/>
                <a:gd name="connsiteX54" fmla="*/ 1308640 w 1468659"/>
                <a:gd name="connsiteY54" fmla="*/ 557022 h 1218057"/>
                <a:gd name="connsiteX55" fmla="*/ 1309592 w 1468659"/>
                <a:gd name="connsiteY55" fmla="*/ 552069 h 1218057"/>
                <a:gd name="connsiteX56" fmla="*/ 1307211 w 1468659"/>
                <a:gd name="connsiteY56" fmla="*/ 545973 h 1218057"/>
                <a:gd name="connsiteX57" fmla="*/ 1303496 w 1468659"/>
                <a:gd name="connsiteY57" fmla="*/ 541687 h 1218057"/>
                <a:gd name="connsiteX58" fmla="*/ 1302353 w 1468659"/>
                <a:gd name="connsiteY58" fmla="*/ 545021 h 1218057"/>
                <a:gd name="connsiteX59" fmla="*/ 1295400 w 1468659"/>
                <a:gd name="connsiteY59" fmla="*/ 541115 h 1218057"/>
                <a:gd name="connsiteX60" fmla="*/ 1296352 w 1468659"/>
                <a:gd name="connsiteY60" fmla="*/ 536162 h 1218057"/>
                <a:gd name="connsiteX61" fmla="*/ 1294829 w 1468659"/>
                <a:gd name="connsiteY61" fmla="*/ 536353 h 1218057"/>
                <a:gd name="connsiteX62" fmla="*/ 1291400 w 1468659"/>
                <a:gd name="connsiteY62" fmla="*/ 535114 h 1218057"/>
                <a:gd name="connsiteX63" fmla="*/ 1293590 w 1468659"/>
                <a:gd name="connsiteY63" fmla="*/ 539686 h 1218057"/>
                <a:gd name="connsiteX64" fmla="*/ 1290447 w 1468659"/>
                <a:gd name="connsiteY64" fmla="*/ 540068 h 1218057"/>
                <a:gd name="connsiteX65" fmla="*/ 1288447 w 1468659"/>
                <a:gd name="connsiteY65" fmla="*/ 537115 h 1218057"/>
                <a:gd name="connsiteX66" fmla="*/ 1285875 w 1468659"/>
                <a:gd name="connsiteY66" fmla="*/ 529495 h 1218057"/>
                <a:gd name="connsiteX67" fmla="*/ 1285304 w 1468659"/>
                <a:gd name="connsiteY67" fmla="*/ 524732 h 1218057"/>
                <a:gd name="connsiteX68" fmla="*/ 1281970 w 1468659"/>
                <a:gd name="connsiteY68" fmla="*/ 523494 h 1218057"/>
                <a:gd name="connsiteX69" fmla="*/ 1278731 w 1468659"/>
                <a:gd name="connsiteY69" fmla="*/ 523970 h 1218057"/>
                <a:gd name="connsiteX70" fmla="*/ 1282732 w 1468659"/>
                <a:gd name="connsiteY70" fmla="*/ 517017 h 1218057"/>
                <a:gd name="connsiteX71" fmla="*/ 1282732 w 1468659"/>
                <a:gd name="connsiteY71" fmla="*/ 517017 h 1218057"/>
                <a:gd name="connsiteX72" fmla="*/ 1281875 w 1468659"/>
                <a:gd name="connsiteY72" fmla="*/ 510730 h 1218057"/>
                <a:gd name="connsiteX73" fmla="*/ 1285875 w 1468659"/>
                <a:gd name="connsiteY73" fmla="*/ 503777 h 1218057"/>
                <a:gd name="connsiteX74" fmla="*/ 1285399 w 1468659"/>
                <a:gd name="connsiteY74" fmla="*/ 500634 h 1218057"/>
                <a:gd name="connsiteX75" fmla="*/ 1289399 w 1468659"/>
                <a:gd name="connsiteY75" fmla="*/ 493681 h 1218057"/>
                <a:gd name="connsiteX76" fmla="*/ 1285970 w 1468659"/>
                <a:gd name="connsiteY76" fmla="*/ 492538 h 1218057"/>
                <a:gd name="connsiteX77" fmla="*/ 1287399 w 1468659"/>
                <a:gd name="connsiteY77" fmla="*/ 490728 h 1218057"/>
                <a:gd name="connsiteX78" fmla="*/ 1285208 w 1468659"/>
                <a:gd name="connsiteY78" fmla="*/ 486251 h 1218057"/>
                <a:gd name="connsiteX79" fmla="*/ 1283970 w 1468659"/>
                <a:gd name="connsiteY79" fmla="*/ 476726 h 1218057"/>
                <a:gd name="connsiteX80" fmla="*/ 1284542 w 1468659"/>
                <a:gd name="connsiteY80" fmla="*/ 468725 h 1218057"/>
                <a:gd name="connsiteX81" fmla="*/ 1281017 w 1468659"/>
                <a:gd name="connsiteY81" fmla="*/ 465963 h 1218057"/>
                <a:gd name="connsiteX82" fmla="*/ 1274255 w 1468659"/>
                <a:gd name="connsiteY82" fmla="*/ 463582 h 1218057"/>
                <a:gd name="connsiteX83" fmla="*/ 1271302 w 1468659"/>
                <a:gd name="connsiteY83" fmla="*/ 465582 h 1218057"/>
                <a:gd name="connsiteX84" fmla="*/ 1268159 w 1468659"/>
                <a:gd name="connsiteY84" fmla="*/ 465963 h 1218057"/>
                <a:gd name="connsiteX85" fmla="*/ 1266158 w 1468659"/>
                <a:gd name="connsiteY85" fmla="*/ 463010 h 1218057"/>
                <a:gd name="connsiteX86" fmla="*/ 1261491 w 1468659"/>
                <a:gd name="connsiteY86" fmla="*/ 463582 h 1218057"/>
                <a:gd name="connsiteX87" fmla="*/ 1262063 w 1468659"/>
                <a:gd name="connsiteY87" fmla="*/ 468344 h 1218057"/>
                <a:gd name="connsiteX88" fmla="*/ 1255967 w 1468659"/>
                <a:gd name="connsiteY88" fmla="*/ 470725 h 1218057"/>
                <a:gd name="connsiteX89" fmla="*/ 1247299 w 1468659"/>
                <a:gd name="connsiteY89" fmla="*/ 465392 h 1218057"/>
                <a:gd name="connsiteX90" fmla="*/ 1240917 w 1468659"/>
                <a:gd name="connsiteY90" fmla="*/ 466249 h 1218057"/>
                <a:gd name="connsiteX91" fmla="*/ 1236821 w 1468659"/>
                <a:gd name="connsiteY91" fmla="*/ 471583 h 1218057"/>
                <a:gd name="connsiteX92" fmla="*/ 1232249 w 1468659"/>
                <a:gd name="connsiteY92" fmla="*/ 473773 h 1218057"/>
                <a:gd name="connsiteX93" fmla="*/ 1230344 w 1468659"/>
                <a:gd name="connsiteY93" fmla="*/ 470821 h 1218057"/>
                <a:gd name="connsiteX94" fmla="*/ 1226915 w 1468659"/>
                <a:gd name="connsiteY94" fmla="*/ 469582 h 1218057"/>
                <a:gd name="connsiteX95" fmla="*/ 1222629 w 1468659"/>
                <a:gd name="connsiteY95" fmla="*/ 473392 h 1218057"/>
                <a:gd name="connsiteX96" fmla="*/ 1223010 w 1468659"/>
                <a:gd name="connsiteY96" fmla="*/ 476536 h 1218057"/>
                <a:gd name="connsiteX97" fmla="*/ 1218533 w 1468659"/>
                <a:gd name="connsiteY97" fmla="*/ 478726 h 1218057"/>
                <a:gd name="connsiteX98" fmla="*/ 1220819 w 1468659"/>
                <a:gd name="connsiteY98" fmla="*/ 471964 h 1218057"/>
                <a:gd name="connsiteX99" fmla="*/ 1219105 w 1468659"/>
                <a:gd name="connsiteY99" fmla="*/ 470630 h 1218057"/>
                <a:gd name="connsiteX100" fmla="*/ 1221772 w 1468659"/>
                <a:gd name="connsiteY100" fmla="*/ 467011 h 1218057"/>
                <a:gd name="connsiteX101" fmla="*/ 1211104 w 1468659"/>
                <a:gd name="connsiteY101" fmla="*/ 458819 h 1218057"/>
                <a:gd name="connsiteX102" fmla="*/ 1209770 w 1468659"/>
                <a:gd name="connsiteY102" fmla="*/ 460534 h 1218057"/>
                <a:gd name="connsiteX103" fmla="*/ 1204627 w 1468659"/>
                <a:gd name="connsiteY103" fmla="*/ 458057 h 1218057"/>
                <a:gd name="connsiteX104" fmla="*/ 1201484 w 1468659"/>
                <a:gd name="connsiteY104" fmla="*/ 458438 h 1218057"/>
                <a:gd name="connsiteX105" fmla="*/ 1192816 w 1468659"/>
                <a:gd name="connsiteY105" fmla="*/ 453104 h 1218057"/>
                <a:gd name="connsiteX106" fmla="*/ 1186434 w 1468659"/>
                <a:gd name="connsiteY106" fmla="*/ 453866 h 1218057"/>
                <a:gd name="connsiteX107" fmla="*/ 1185291 w 1468659"/>
                <a:gd name="connsiteY107" fmla="*/ 457295 h 1218057"/>
                <a:gd name="connsiteX108" fmla="*/ 1178909 w 1468659"/>
                <a:gd name="connsiteY108" fmla="*/ 445294 h 1218057"/>
                <a:gd name="connsiteX109" fmla="*/ 1174052 w 1468659"/>
                <a:gd name="connsiteY109" fmla="*/ 444246 h 1218057"/>
                <a:gd name="connsiteX110" fmla="*/ 1174623 w 1468659"/>
                <a:gd name="connsiteY110" fmla="*/ 449009 h 1218057"/>
                <a:gd name="connsiteX111" fmla="*/ 1165003 w 1468659"/>
                <a:gd name="connsiteY111" fmla="*/ 461486 h 1218057"/>
                <a:gd name="connsiteX112" fmla="*/ 1155859 w 1468659"/>
                <a:gd name="connsiteY112" fmla="*/ 465868 h 1218057"/>
                <a:gd name="connsiteX113" fmla="*/ 1152525 w 1468659"/>
                <a:gd name="connsiteY113" fmla="*/ 464630 h 1218057"/>
                <a:gd name="connsiteX114" fmla="*/ 1145858 w 1468659"/>
                <a:gd name="connsiteY114" fmla="*/ 462248 h 1218057"/>
                <a:gd name="connsiteX115" fmla="*/ 1137571 w 1468659"/>
                <a:gd name="connsiteY115" fmla="*/ 460153 h 1218057"/>
                <a:gd name="connsiteX116" fmla="*/ 1138714 w 1468659"/>
                <a:gd name="connsiteY116" fmla="*/ 456819 h 1218057"/>
                <a:gd name="connsiteX117" fmla="*/ 1135952 w 1468659"/>
                <a:gd name="connsiteY117" fmla="*/ 447484 h 1218057"/>
                <a:gd name="connsiteX118" fmla="*/ 1137285 w 1468659"/>
                <a:gd name="connsiteY118" fmla="*/ 445770 h 1218057"/>
                <a:gd name="connsiteX119" fmla="*/ 1137095 w 1468659"/>
                <a:gd name="connsiteY119" fmla="*/ 444151 h 1218057"/>
                <a:gd name="connsiteX120" fmla="*/ 1135285 w 1468659"/>
                <a:gd name="connsiteY120" fmla="*/ 442817 h 1218057"/>
                <a:gd name="connsiteX121" fmla="*/ 1132713 w 1468659"/>
                <a:gd name="connsiteY121" fmla="*/ 435102 h 1218057"/>
                <a:gd name="connsiteX122" fmla="*/ 1129570 w 1468659"/>
                <a:gd name="connsiteY122" fmla="*/ 435483 h 1218057"/>
                <a:gd name="connsiteX123" fmla="*/ 1127379 w 1468659"/>
                <a:gd name="connsiteY123" fmla="*/ 431006 h 1218057"/>
                <a:gd name="connsiteX124" fmla="*/ 1124045 w 1468659"/>
                <a:gd name="connsiteY124" fmla="*/ 429768 h 1218057"/>
                <a:gd name="connsiteX125" fmla="*/ 1114616 w 1468659"/>
                <a:gd name="connsiteY125" fmla="*/ 431006 h 1218057"/>
                <a:gd name="connsiteX126" fmla="*/ 1109091 w 1468659"/>
                <a:gd name="connsiteY126" fmla="*/ 438150 h 1218057"/>
                <a:gd name="connsiteX127" fmla="*/ 1103567 w 1468659"/>
                <a:gd name="connsiteY127" fmla="*/ 432435 h 1218057"/>
                <a:gd name="connsiteX128" fmla="*/ 1096994 w 1468659"/>
                <a:gd name="connsiteY128" fmla="*/ 431673 h 1218057"/>
                <a:gd name="connsiteX129" fmla="*/ 1093089 w 1468659"/>
                <a:gd name="connsiteY129" fmla="*/ 425767 h 1218057"/>
                <a:gd name="connsiteX130" fmla="*/ 1094613 w 1468659"/>
                <a:gd name="connsiteY130" fmla="*/ 425482 h 1218057"/>
                <a:gd name="connsiteX131" fmla="*/ 1098042 w 1468659"/>
                <a:gd name="connsiteY131" fmla="*/ 426720 h 1218057"/>
                <a:gd name="connsiteX132" fmla="*/ 1110996 w 1468659"/>
                <a:gd name="connsiteY132" fmla="*/ 428244 h 1218057"/>
                <a:gd name="connsiteX133" fmla="*/ 1112044 w 1468659"/>
                <a:gd name="connsiteY133" fmla="*/ 423291 h 1218057"/>
                <a:gd name="connsiteX134" fmla="*/ 1108043 w 1468659"/>
                <a:gd name="connsiteY134" fmla="*/ 417385 h 1218057"/>
                <a:gd name="connsiteX135" fmla="*/ 1112330 w 1468659"/>
                <a:gd name="connsiteY135" fmla="*/ 413671 h 1218057"/>
                <a:gd name="connsiteX136" fmla="*/ 1112901 w 1468659"/>
                <a:gd name="connsiteY136" fmla="*/ 405575 h 1218057"/>
                <a:gd name="connsiteX137" fmla="*/ 1098137 w 1468659"/>
                <a:gd name="connsiteY137" fmla="*/ 402622 h 1218057"/>
                <a:gd name="connsiteX138" fmla="*/ 1089851 w 1468659"/>
                <a:gd name="connsiteY138" fmla="*/ 400431 h 1218057"/>
                <a:gd name="connsiteX139" fmla="*/ 1088041 w 1468659"/>
                <a:gd name="connsiteY139" fmla="*/ 399097 h 1218057"/>
                <a:gd name="connsiteX140" fmla="*/ 1086898 w 1468659"/>
                <a:gd name="connsiteY140" fmla="*/ 402431 h 1218057"/>
                <a:gd name="connsiteX141" fmla="*/ 1081945 w 1468659"/>
                <a:gd name="connsiteY141" fmla="*/ 401479 h 1218057"/>
                <a:gd name="connsiteX142" fmla="*/ 1083373 w 1468659"/>
                <a:gd name="connsiteY142" fmla="*/ 399669 h 1218057"/>
                <a:gd name="connsiteX143" fmla="*/ 1074610 w 1468659"/>
                <a:gd name="connsiteY143" fmla="*/ 394430 h 1218057"/>
                <a:gd name="connsiteX144" fmla="*/ 1072420 w 1468659"/>
                <a:gd name="connsiteY144" fmla="*/ 389858 h 1218057"/>
                <a:gd name="connsiteX145" fmla="*/ 1068134 w 1468659"/>
                <a:gd name="connsiteY145" fmla="*/ 380809 h 1218057"/>
                <a:gd name="connsiteX146" fmla="*/ 1063181 w 1468659"/>
                <a:gd name="connsiteY146" fmla="*/ 379857 h 1218057"/>
                <a:gd name="connsiteX147" fmla="*/ 1064133 w 1468659"/>
                <a:gd name="connsiteY147" fmla="*/ 374904 h 1218057"/>
                <a:gd name="connsiteX148" fmla="*/ 1062800 w 1468659"/>
                <a:gd name="connsiteY148" fmla="*/ 376618 h 1218057"/>
                <a:gd name="connsiteX149" fmla="*/ 1060799 w 1468659"/>
                <a:gd name="connsiteY149" fmla="*/ 373666 h 1218057"/>
                <a:gd name="connsiteX150" fmla="*/ 1054894 w 1468659"/>
                <a:gd name="connsiteY150" fmla="*/ 377666 h 1218057"/>
                <a:gd name="connsiteX151" fmla="*/ 1053465 w 1468659"/>
                <a:gd name="connsiteY151" fmla="*/ 379476 h 1218057"/>
                <a:gd name="connsiteX152" fmla="*/ 1050322 w 1468659"/>
                <a:gd name="connsiteY152" fmla="*/ 379857 h 1218057"/>
                <a:gd name="connsiteX153" fmla="*/ 1046035 w 1468659"/>
                <a:gd name="connsiteY153" fmla="*/ 383572 h 1218057"/>
                <a:gd name="connsiteX154" fmla="*/ 1041463 w 1468659"/>
                <a:gd name="connsiteY154" fmla="*/ 385763 h 1218057"/>
                <a:gd name="connsiteX155" fmla="*/ 1033367 w 1468659"/>
                <a:gd name="connsiteY155" fmla="*/ 398050 h 1218057"/>
                <a:gd name="connsiteX156" fmla="*/ 1025080 w 1468659"/>
                <a:gd name="connsiteY156" fmla="*/ 395859 h 1218057"/>
                <a:gd name="connsiteX157" fmla="*/ 1024890 w 1468659"/>
                <a:gd name="connsiteY157" fmla="*/ 394335 h 1218057"/>
                <a:gd name="connsiteX158" fmla="*/ 1023366 w 1468659"/>
                <a:gd name="connsiteY158" fmla="*/ 394525 h 1218057"/>
                <a:gd name="connsiteX159" fmla="*/ 1022699 w 1468659"/>
                <a:gd name="connsiteY159" fmla="*/ 389763 h 1218057"/>
                <a:gd name="connsiteX160" fmla="*/ 1018794 w 1468659"/>
                <a:gd name="connsiteY160" fmla="*/ 383857 h 1218057"/>
                <a:gd name="connsiteX161" fmla="*/ 1011460 w 1468659"/>
                <a:gd name="connsiteY161" fmla="*/ 376809 h 1218057"/>
                <a:gd name="connsiteX162" fmla="*/ 1008507 w 1468659"/>
                <a:gd name="connsiteY162" fmla="*/ 378809 h 1218057"/>
                <a:gd name="connsiteX163" fmla="*/ 1006697 w 1468659"/>
                <a:gd name="connsiteY163" fmla="*/ 377380 h 1218057"/>
                <a:gd name="connsiteX164" fmla="*/ 1002792 w 1468659"/>
                <a:gd name="connsiteY164" fmla="*/ 371475 h 1218057"/>
                <a:gd name="connsiteX165" fmla="*/ 1003745 w 1468659"/>
                <a:gd name="connsiteY165" fmla="*/ 366522 h 1218057"/>
                <a:gd name="connsiteX166" fmla="*/ 1000411 w 1468659"/>
                <a:gd name="connsiteY166" fmla="*/ 365379 h 1218057"/>
                <a:gd name="connsiteX167" fmla="*/ 999934 w 1468659"/>
                <a:gd name="connsiteY167" fmla="*/ 362236 h 1218057"/>
                <a:gd name="connsiteX168" fmla="*/ 991648 w 1468659"/>
                <a:gd name="connsiteY168" fmla="*/ 360045 h 1218057"/>
                <a:gd name="connsiteX169" fmla="*/ 984980 w 1468659"/>
                <a:gd name="connsiteY169" fmla="*/ 357664 h 1218057"/>
                <a:gd name="connsiteX170" fmla="*/ 988695 w 1468659"/>
                <a:gd name="connsiteY170" fmla="*/ 349186 h 1218057"/>
                <a:gd name="connsiteX171" fmla="*/ 988314 w 1468659"/>
                <a:gd name="connsiteY171" fmla="*/ 346043 h 1218057"/>
                <a:gd name="connsiteX172" fmla="*/ 981551 w 1468659"/>
                <a:gd name="connsiteY172" fmla="*/ 343662 h 1218057"/>
                <a:gd name="connsiteX173" fmla="*/ 974217 w 1468659"/>
                <a:gd name="connsiteY173" fmla="*/ 336613 h 1218057"/>
                <a:gd name="connsiteX174" fmla="*/ 972122 w 1468659"/>
                <a:gd name="connsiteY174" fmla="*/ 332042 h 1218057"/>
                <a:gd name="connsiteX175" fmla="*/ 971645 w 1468659"/>
                <a:gd name="connsiteY175" fmla="*/ 328898 h 1218057"/>
                <a:gd name="connsiteX176" fmla="*/ 974598 w 1468659"/>
                <a:gd name="connsiteY176" fmla="*/ 326993 h 1218057"/>
                <a:gd name="connsiteX177" fmla="*/ 974026 w 1468659"/>
                <a:gd name="connsiteY177" fmla="*/ 322231 h 1218057"/>
                <a:gd name="connsiteX178" fmla="*/ 978789 w 1468659"/>
                <a:gd name="connsiteY178" fmla="*/ 321659 h 1218057"/>
                <a:gd name="connsiteX179" fmla="*/ 978122 w 1468659"/>
                <a:gd name="connsiteY179" fmla="*/ 316897 h 1218057"/>
                <a:gd name="connsiteX180" fmla="*/ 979932 w 1468659"/>
                <a:gd name="connsiteY180" fmla="*/ 318230 h 1218057"/>
                <a:gd name="connsiteX181" fmla="*/ 983837 w 1468659"/>
                <a:gd name="connsiteY181" fmla="*/ 311372 h 1218057"/>
                <a:gd name="connsiteX182" fmla="*/ 986790 w 1468659"/>
                <a:gd name="connsiteY182" fmla="*/ 309372 h 1218057"/>
                <a:gd name="connsiteX183" fmla="*/ 990219 w 1468659"/>
                <a:gd name="connsiteY183" fmla="*/ 310515 h 1218057"/>
                <a:gd name="connsiteX184" fmla="*/ 991172 w 1468659"/>
                <a:gd name="connsiteY184" fmla="*/ 305562 h 1218057"/>
                <a:gd name="connsiteX185" fmla="*/ 986600 w 1468659"/>
                <a:gd name="connsiteY185" fmla="*/ 307753 h 1218057"/>
                <a:gd name="connsiteX186" fmla="*/ 985171 w 1468659"/>
                <a:gd name="connsiteY186" fmla="*/ 296704 h 1218057"/>
                <a:gd name="connsiteX187" fmla="*/ 981266 w 1468659"/>
                <a:gd name="connsiteY187" fmla="*/ 290798 h 1218057"/>
                <a:gd name="connsiteX188" fmla="*/ 973169 w 1468659"/>
                <a:gd name="connsiteY188" fmla="*/ 290227 h 1218057"/>
                <a:gd name="connsiteX189" fmla="*/ 964501 w 1468659"/>
                <a:gd name="connsiteY189" fmla="*/ 284988 h 1218057"/>
                <a:gd name="connsiteX190" fmla="*/ 962882 w 1468659"/>
                <a:gd name="connsiteY190" fmla="*/ 285179 h 1218057"/>
                <a:gd name="connsiteX191" fmla="*/ 960882 w 1468659"/>
                <a:gd name="connsiteY191" fmla="*/ 282226 h 1218057"/>
                <a:gd name="connsiteX192" fmla="*/ 963644 w 1468659"/>
                <a:gd name="connsiteY192" fmla="*/ 278606 h 1218057"/>
                <a:gd name="connsiteX193" fmla="*/ 963263 w 1468659"/>
                <a:gd name="connsiteY193" fmla="*/ 275463 h 1218057"/>
                <a:gd name="connsiteX194" fmla="*/ 961263 w 1468659"/>
                <a:gd name="connsiteY194" fmla="*/ 272510 h 1218057"/>
                <a:gd name="connsiteX195" fmla="*/ 962501 w 1468659"/>
                <a:gd name="connsiteY195" fmla="*/ 269176 h 1218057"/>
                <a:gd name="connsiteX196" fmla="*/ 965454 w 1468659"/>
                <a:gd name="connsiteY196" fmla="*/ 267176 h 1218057"/>
                <a:gd name="connsiteX197" fmla="*/ 962025 w 1468659"/>
                <a:gd name="connsiteY197" fmla="*/ 266033 h 1218057"/>
                <a:gd name="connsiteX198" fmla="*/ 963073 w 1468659"/>
                <a:gd name="connsiteY198" fmla="*/ 261080 h 1218057"/>
                <a:gd name="connsiteX199" fmla="*/ 966406 w 1468659"/>
                <a:gd name="connsiteY199" fmla="*/ 262223 h 1218057"/>
                <a:gd name="connsiteX200" fmla="*/ 969359 w 1468659"/>
                <a:gd name="connsiteY200" fmla="*/ 260223 h 1218057"/>
                <a:gd name="connsiteX201" fmla="*/ 970312 w 1468659"/>
                <a:gd name="connsiteY201" fmla="*/ 255365 h 1218057"/>
                <a:gd name="connsiteX202" fmla="*/ 969931 w 1468659"/>
                <a:gd name="connsiteY202" fmla="*/ 252127 h 1218057"/>
                <a:gd name="connsiteX203" fmla="*/ 971074 w 1468659"/>
                <a:gd name="connsiteY203" fmla="*/ 248793 h 1218057"/>
                <a:gd name="connsiteX204" fmla="*/ 970121 w 1468659"/>
                <a:gd name="connsiteY204" fmla="*/ 240887 h 1218057"/>
                <a:gd name="connsiteX205" fmla="*/ 973074 w 1468659"/>
                <a:gd name="connsiteY205" fmla="*/ 238982 h 1218057"/>
                <a:gd name="connsiteX206" fmla="*/ 972407 w 1468659"/>
                <a:gd name="connsiteY206" fmla="*/ 234220 h 1218057"/>
                <a:gd name="connsiteX207" fmla="*/ 975360 w 1468659"/>
                <a:gd name="connsiteY207" fmla="*/ 232219 h 1218057"/>
                <a:gd name="connsiteX208" fmla="*/ 977741 w 1468659"/>
                <a:gd name="connsiteY208" fmla="*/ 225552 h 1218057"/>
                <a:gd name="connsiteX209" fmla="*/ 974598 w 1468659"/>
                <a:gd name="connsiteY209" fmla="*/ 225933 h 1218057"/>
                <a:gd name="connsiteX210" fmla="*/ 973169 w 1468659"/>
                <a:gd name="connsiteY210" fmla="*/ 227743 h 1218057"/>
                <a:gd name="connsiteX211" fmla="*/ 968693 w 1468659"/>
                <a:gd name="connsiteY211" fmla="*/ 229838 h 1218057"/>
                <a:gd name="connsiteX212" fmla="*/ 968312 w 1468659"/>
                <a:gd name="connsiteY212" fmla="*/ 226695 h 1218057"/>
                <a:gd name="connsiteX213" fmla="*/ 969455 w 1468659"/>
                <a:gd name="connsiteY213" fmla="*/ 223361 h 1218057"/>
                <a:gd name="connsiteX214" fmla="*/ 972598 w 1468659"/>
                <a:gd name="connsiteY214" fmla="*/ 222980 h 1218057"/>
                <a:gd name="connsiteX215" fmla="*/ 976503 w 1468659"/>
                <a:gd name="connsiteY215" fmla="*/ 216027 h 1218057"/>
                <a:gd name="connsiteX216" fmla="*/ 976693 w 1468659"/>
                <a:gd name="connsiteY216" fmla="*/ 204788 h 1218057"/>
                <a:gd name="connsiteX217" fmla="*/ 979265 w 1468659"/>
                <a:gd name="connsiteY217" fmla="*/ 199644 h 1218057"/>
                <a:gd name="connsiteX218" fmla="*/ 984028 w 1468659"/>
                <a:gd name="connsiteY218" fmla="*/ 199072 h 1218057"/>
                <a:gd name="connsiteX219" fmla="*/ 986123 w 1468659"/>
                <a:gd name="connsiteY219" fmla="*/ 177927 h 1218057"/>
                <a:gd name="connsiteX220" fmla="*/ 985742 w 1468659"/>
                <a:gd name="connsiteY220" fmla="*/ 174784 h 1218057"/>
                <a:gd name="connsiteX221" fmla="*/ 982313 w 1468659"/>
                <a:gd name="connsiteY221" fmla="*/ 173641 h 1218057"/>
                <a:gd name="connsiteX222" fmla="*/ 980218 w 1468659"/>
                <a:gd name="connsiteY222" fmla="*/ 169069 h 1218057"/>
                <a:gd name="connsiteX223" fmla="*/ 981742 w 1468659"/>
                <a:gd name="connsiteY223" fmla="*/ 168878 h 1218057"/>
                <a:gd name="connsiteX224" fmla="*/ 984695 w 1468659"/>
                <a:gd name="connsiteY224" fmla="*/ 166878 h 1218057"/>
                <a:gd name="connsiteX225" fmla="*/ 987076 w 1468659"/>
                <a:gd name="connsiteY225" fmla="*/ 160210 h 1218057"/>
                <a:gd name="connsiteX226" fmla="*/ 990029 w 1468659"/>
                <a:gd name="connsiteY226" fmla="*/ 158210 h 1218057"/>
                <a:gd name="connsiteX227" fmla="*/ 987838 w 1468659"/>
                <a:gd name="connsiteY227" fmla="*/ 153638 h 1218057"/>
                <a:gd name="connsiteX228" fmla="*/ 988409 w 1468659"/>
                <a:gd name="connsiteY228" fmla="*/ 145542 h 1218057"/>
                <a:gd name="connsiteX229" fmla="*/ 986600 w 1468659"/>
                <a:gd name="connsiteY229" fmla="*/ 144209 h 1218057"/>
                <a:gd name="connsiteX230" fmla="*/ 986218 w 1468659"/>
                <a:gd name="connsiteY230" fmla="*/ 141065 h 1218057"/>
                <a:gd name="connsiteX231" fmla="*/ 987838 w 1468659"/>
                <a:gd name="connsiteY231" fmla="*/ 140875 h 1218057"/>
                <a:gd name="connsiteX232" fmla="*/ 980504 w 1468659"/>
                <a:gd name="connsiteY232" fmla="*/ 133731 h 1218057"/>
                <a:gd name="connsiteX233" fmla="*/ 980122 w 1468659"/>
                <a:gd name="connsiteY233" fmla="*/ 130588 h 1218057"/>
                <a:gd name="connsiteX234" fmla="*/ 978122 w 1468659"/>
                <a:gd name="connsiteY234" fmla="*/ 127635 h 1218057"/>
                <a:gd name="connsiteX235" fmla="*/ 976313 w 1468659"/>
                <a:gd name="connsiteY235" fmla="*/ 126301 h 1218057"/>
                <a:gd name="connsiteX236" fmla="*/ 969645 w 1468659"/>
                <a:gd name="connsiteY236" fmla="*/ 123920 h 1218057"/>
                <a:gd name="connsiteX237" fmla="*/ 970597 w 1468659"/>
                <a:gd name="connsiteY237" fmla="*/ 118967 h 1218057"/>
                <a:gd name="connsiteX238" fmla="*/ 972979 w 1468659"/>
                <a:gd name="connsiteY238" fmla="*/ 112300 h 1218057"/>
                <a:gd name="connsiteX239" fmla="*/ 978027 w 1468659"/>
                <a:gd name="connsiteY239" fmla="*/ 114776 h 1218057"/>
                <a:gd name="connsiteX240" fmla="*/ 977646 w 1468659"/>
                <a:gd name="connsiteY240" fmla="*/ 111633 h 1218057"/>
                <a:gd name="connsiteX241" fmla="*/ 981266 w 1468659"/>
                <a:gd name="connsiteY241" fmla="*/ 114395 h 1218057"/>
                <a:gd name="connsiteX242" fmla="*/ 984409 w 1468659"/>
                <a:gd name="connsiteY242" fmla="*/ 114014 h 1218057"/>
                <a:gd name="connsiteX243" fmla="*/ 992696 w 1468659"/>
                <a:gd name="connsiteY243" fmla="*/ 116205 h 1218057"/>
                <a:gd name="connsiteX244" fmla="*/ 996982 w 1468659"/>
                <a:gd name="connsiteY244" fmla="*/ 112395 h 1218057"/>
                <a:gd name="connsiteX245" fmla="*/ 998220 w 1468659"/>
                <a:gd name="connsiteY245" fmla="*/ 109061 h 1218057"/>
                <a:gd name="connsiteX246" fmla="*/ 994601 w 1468659"/>
                <a:gd name="connsiteY246" fmla="*/ 106299 h 1218057"/>
                <a:gd name="connsiteX247" fmla="*/ 991838 w 1468659"/>
                <a:gd name="connsiteY247" fmla="*/ 97060 h 1218057"/>
                <a:gd name="connsiteX248" fmla="*/ 987838 w 1468659"/>
                <a:gd name="connsiteY248" fmla="*/ 91154 h 1218057"/>
                <a:gd name="connsiteX249" fmla="*/ 986123 w 1468659"/>
                <a:gd name="connsiteY249" fmla="*/ 89725 h 1218057"/>
                <a:gd name="connsiteX250" fmla="*/ 990029 w 1468659"/>
                <a:gd name="connsiteY250" fmla="*/ 82867 h 1218057"/>
                <a:gd name="connsiteX251" fmla="*/ 985266 w 1468659"/>
                <a:gd name="connsiteY251" fmla="*/ 83439 h 1218057"/>
                <a:gd name="connsiteX252" fmla="*/ 984313 w 1468659"/>
                <a:gd name="connsiteY252" fmla="*/ 88392 h 1218057"/>
                <a:gd name="connsiteX253" fmla="*/ 982789 w 1468659"/>
                <a:gd name="connsiteY253" fmla="*/ 88582 h 1218057"/>
                <a:gd name="connsiteX254" fmla="*/ 977646 w 1468659"/>
                <a:gd name="connsiteY254" fmla="*/ 86011 h 1218057"/>
                <a:gd name="connsiteX255" fmla="*/ 975074 w 1468659"/>
                <a:gd name="connsiteY255" fmla="*/ 91154 h 1218057"/>
                <a:gd name="connsiteX256" fmla="*/ 970121 w 1468659"/>
                <a:gd name="connsiteY256" fmla="*/ 90202 h 1218057"/>
                <a:gd name="connsiteX257" fmla="*/ 967740 w 1468659"/>
                <a:gd name="connsiteY257" fmla="*/ 84106 h 1218057"/>
                <a:gd name="connsiteX258" fmla="*/ 960596 w 1468659"/>
                <a:gd name="connsiteY258" fmla="*/ 78581 h 1218057"/>
                <a:gd name="connsiteX259" fmla="*/ 964978 w 1468659"/>
                <a:gd name="connsiteY259" fmla="*/ 74771 h 1218057"/>
                <a:gd name="connsiteX260" fmla="*/ 959834 w 1468659"/>
                <a:gd name="connsiteY260" fmla="*/ 72200 h 1218057"/>
                <a:gd name="connsiteX261" fmla="*/ 957834 w 1468659"/>
                <a:gd name="connsiteY261" fmla="*/ 69247 h 1218057"/>
                <a:gd name="connsiteX262" fmla="*/ 959263 w 1468659"/>
                <a:gd name="connsiteY262" fmla="*/ 67532 h 1218057"/>
                <a:gd name="connsiteX263" fmla="*/ 957453 w 1468659"/>
                <a:gd name="connsiteY263" fmla="*/ 66104 h 1218057"/>
                <a:gd name="connsiteX264" fmla="*/ 955643 w 1468659"/>
                <a:gd name="connsiteY264" fmla="*/ 64770 h 1218057"/>
                <a:gd name="connsiteX265" fmla="*/ 954214 w 1468659"/>
                <a:gd name="connsiteY265" fmla="*/ 53721 h 1218057"/>
                <a:gd name="connsiteX266" fmla="*/ 949928 w 1468659"/>
                <a:gd name="connsiteY266" fmla="*/ 57436 h 1218057"/>
                <a:gd name="connsiteX267" fmla="*/ 951071 w 1468659"/>
                <a:gd name="connsiteY267" fmla="*/ 54102 h 1218057"/>
                <a:gd name="connsiteX268" fmla="*/ 950690 w 1468659"/>
                <a:gd name="connsiteY268" fmla="*/ 50959 h 1218057"/>
                <a:gd name="connsiteX269" fmla="*/ 949071 w 1468659"/>
                <a:gd name="connsiteY269" fmla="*/ 51149 h 1218057"/>
                <a:gd name="connsiteX270" fmla="*/ 950500 w 1468659"/>
                <a:gd name="connsiteY270" fmla="*/ 49339 h 1218057"/>
                <a:gd name="connsiteX271" fmla="*/ 949928 w 1468659"/>
                <a:gd name="connsiteY271" fmla="*/ 44672 h 1218057"/>
                <a:gd name="connsiteX272" fmla="*/ 944975 w 1468659"/>
                <a:gd name="connsiteY272" fmla="*/ 43625 h 1218057"/>
                <a:gd name="connsiteX273" fmla="*/ 948118 w 1468659"/>
                <a:gd name="connsiteY273" fmla="*/ 43243 h 1218057"/>
                <a:gd name="connsiteX274" fmla="*/ 951262 w 1468659"/>
                <a:gd name="connsiteY274" fmla="*/ 42863 h 1218057"/>
                <a:gd name="connsiteX275" fmla="*/ 951071 w 1468659"/>
                <a:gd name="connsiteY275" fmla="*/ 41243 h 1218057"/>
                <a:gd name="connsiteX276" fmla="*/ 944309 w 1468659"/>
                <a:gd name="connsiteY276" fmla="*/ 38957 h 1218057"/>
                <a:gd name="connsiteX277" fmla="*/ 943927 w 1468659"/>
                <a:gd name="connsiteY277" fmla="*/ 35814 h 1218057"/>
                <a:gd name="connsiteX278" fmla="*/ 942975 w 1468659"/>
                <a:gd name="connsiteY278" fmla="*/ 40672 h 1218057"/>
                <a:gd name="connsiteX279" fmla="*/ 939832 w 1468659"/>
                <a:gd name="connsiteY279" fmla="*/ 41148 h 1218057"/>
                <a:gd name="connsiteX280" fmla="*/ 937831 w 1468659"/>
                <a:gd name="connsiteY280" fmla="*/ 38195 h 1218057"/>
                <a:gd name="connsiteX281" fmla="*/ 934879 w 1468659"/>
                <a:gd name="connsiteY281" fmla="*/ 40100 h 1218057"/>
                <a:gd name="connsiteX282" fmla="*/ 931355 w 1468659"/>
                <a:gd name="connsiteY282" fmla="*/ 50197 h 1218057"/>
                <a:gd name="connsiteX283" fmla="*/ 933164 w 1468659"/>
                <a:gd name="connsiteY283" fmla="*/ 51625 h 1218057"/>
                <a:gd name="connsiteX284" fmla="*/ 931735 w 1468659"/>
                <a:gd name="connsiteY284" fmla="*/ 53340 h 1218057"/>
                <a:gd name="connsiteX285" fmla="*/ 928402 w 1468659"/>
                <a:gd name="connsiteY285" fmla="*/ 52197 h 1218057"/>
                <a:gd name="connsiteX286" fmla="*/ 927830 w 1468659"/>
                <a:gd name="connsiteY286" fmla="*/ 47434 h 1218057"/>
                <a:gd name="connsiteX287" fmla="*/ 924020 w 1468659"/>
                <a:gd name="connsiteY287" fmla="*/ 43148 h 1218057"/>
                <a:gd name="connsiteX288" fmla="*/ 922496 w 1468659"/>
                <a:gd name="connsiteY288" fmla="*/ 43339 h 1218057"/>
                <a:gd name="connsiteX289" fmla="*/ 917353 w 1468659"/>
                <a:gd name="connsiteY289" fmla="*/ 40767 h 1218057"/>
                <a:gd name="connsiteX290" fmla="*/ 911543 w 1468659"/>
                <a:gd name="connsiteY290" fmla="*/ 33528 h 1218057"/>
                <a:gd name="connsiteX291" fmla="*/ 906971 w 1468659"/>
                <a:gd name="connsiteY291" fmla="*/ 22860 h 1218057"/>
                <a:gd name="connsiteX292" fmla="*/ 900684 w 1468659"/>
                <a:gd name="connsiteY292" fmla="*/ 23622 h 1218057"/>
                <a:gd name="connsiteX293" fmla="*/ 884110 w 1468659"/>
                <a:gd name="connsiteY293" fmla="*/ 19336 h 1218057"/>
                <a:gd name="connsiteX294" fmla="*/ 881729 w 1468659"/>
                <a:gd name="connsiteY294" fmla="*/ 13240 h 1218057"/>
                <a:gd name="connsiteX295" fmla="*/ 872395 w 1468659"/>
                <a:gd name="connsiteY295" fmla="*/ 3143 h 1218057"/>
                <a:gd name="connsiteX296" fmla="*/ 873823 w 1468659"/>
                <a:gd name="connsiteY296" fmla="*/ 1429 h 1218057"/>
                <a:gd name="connsiteX297" fmla="*/ 872014 w 1468659"/>
                <a:gd name="connsiteY297" fmla="*/ 0 h 1218057"/>
                <a:gd name="connsiteX298" fmla="*/ 871252 w 1468659"/>
                <a:gd name="connsiteY298" fmla="*/ 6572 h 1218057"/>
                <a:gd name="connsiteX299" fmla="*/ 870490 w 1468659"/>
                <a:gd name="connsiteY299" fmla="*/ 13049 h 1218057"/>
                <a:gd name="connsiteX300" fmla="*/ 862584 w 1468659"/>
                <a:gd name="connsiteY300" fmla="*/ 14097 h 1218057"/>
                <a:gd name="connsiteX301" fmla="*/ 862775 w 1468659"/>
                <a:gd name="connsiteY301" fmla="*/ 15621 h 1218057"/>
                <a:gd name="connsiteX302" fmla="*/ 859822 w 1468659"/>
                <a:gd name="connsiteY302" fmla="*/ 17621 h 1218057"/>
                <a:gd name="connsiteX303" fmla="*/ 860012 w 1468659"/>
                <a:gd name="connsiteY303" fmla="*/ 19240 h 1218057"/>
                <a:gd name="connsiteX304" fmla="*/ 858298 w 1468659"/>
                <a:gd name="connsiteY304" fmla="*/ 17812 h 1218057"/>
                <a:gd name="connsiteX305" fmla="*/ 855535 w 1468659"/>
                <a:gd name="connsiteY305" fmla="*/ 21336 h 1218057"/>
                <a:gd name="connsiteX306" fmla="*/ 855726 w 1468659"/>
                <a:gd name="connsiteY306" fmla="*/ 22955 h 1218057"/>
                <a:gd name="connsiteX307" fmla="*/ 858869 w 1468659"/>
                <a:gd name="connsiteY307" fmla="*/ 22574 h 1218057"/>
                <a:gd name="connsiteX308" fmla="*/ 858298 w 1468659"/>
                <a:gd name="connsiteY308" fmla="*/ 30671 h 1218057"/>
                <a:gd name="connsiteX309" fmla="*/ 846677 w 1468659"/>
                <a:gd name="connsiteY309" fmla="*/ 27337 h 1218057"/>
                <a:gd name="connsiteX310" fmla="*/ 847058 w 1468659"/>
                <a:gd name="connsiteY310" fmla="*/ 30480 h 1218057"/>
                <a:gd name="connsiteX311" fmla="*/ 848868 w 1468659"/>
                <a:gd name="connsiteY311" fmla="*/ 31813 h 1218057"/>
                <a:gd name="connsiteX312" fmla="*/ 844105 w 1468659"/>
                <a:gd name="connsiteY312" fmla="*/ 32480 h 1218057"/>
                <a:gd name="connsiteX313" fmla="*/ 845630 w 1468659"/>
                <a:gd name="connsiteY313" fmla="*/ 32290 h 1218057"/>
                <a:gd name="connsiteX314" fmla="*/ 847630 w 1468659"/>
                <a:gd name="connsiteY314" fmla="*/ 35242 h 1218057"/>
                <a:gd name="connsiteX315" fmla="*/ 846296 w 1468659"/>
                <a:gd name="connsiteY315" fmla="*/ 36957 h 1218057"/>
                <a:gd name="connsiteX316" fmla="*/ 849630 w 1468659"/>
                <a:gd name="connsiteY316" fmla="*/ 38195 h 1218057"/>
                <a:gd name="connsiteX317" fmla="*/ 847058 w 1468659"/>
                <a:gd name="connsiteY317" fmla="*/ 43339 h 1218057"/>
                <a:gd name="connsiteX318" fmla="*/ 848868 w 1468659"/>
                <a:gd name="connsiteY318" fmla="*/ 44672 h 1218057"/>
                <a:gd name="connsiteX319" fmla="*/ 845725 w 1468659"/>
                <a:gd name="connsiteY319" fmla="*/ 45053 h 1218057"/>
                <a:gd name="connsiteX320" fmla="*/ 844487 w 1468659"/>
                <a:gd name="connsiteY320" fmla="*/ 48482 h 1218057"/>
                <a:gd name="connsiteX321" fmla="*/ 842963 w 1468659"/>
                <a:gd name="connsiteY321" fmla="*/ 48673 h 1218057"/>
                <a:gd name="connsiteX322" fmla="*/ 842201 w 1468659"/>
                <a:gd name="connsiteY322" fmla="*/ 55150 h 1218057"/>
                <a:gd name="connsiteX323" fmla="*/ 840581 w 1468659"/>
                <a:gd name="connsiteY323" fmla="*/ 55340 h 1218057"/>
                <a:gd name="connsiteX324" fmla="*/ 839438 w 1468659"/>
                <a:gd name="connsiteY324" fmla="*/ 58674 h 1218057"/>
                <a:gd name="connsiteX325" fmla="*/ 840962 w 1468659"/>
                <a:gd name="connsiteY325" fmla="*/ 58483 h 1218057"/>
                <a:gd name="connsiteX326" fmla="*/ 841438 w 1468659"/>
                <a:gd name="connsiteY326" fmla="*/ 61627 h 1218057"/>
                <a:gd name="connsiteX327" fmla="*/ 846296 w 1468659"/>
                <a:gd name="connsiteY327" fmla="*/ 62675 h 1218057"/>
                <a:gd name="connsiteX328" fmla="*/ 844010 w 1468659"/>
                <a:gd name="connsiteY328" fmla="*/ 69342 h 1218057"/>
                <a:gd name="connsiteX329" fmla="*/ 846010 w 1468659"/>
                <a:gd name="connsiteY329" fmla="*/ 72295 h 1218057"/>
                <a:gd name="connsiteX330" fmla="*/ 848963 w 1468659"/>
                <a:gd name="connsiteY330" fmla="*/ 70294 h 1218057"/>
                <a:gd name="connsiteX331" fmla="*/ 849344 w 1468659"/>
                <a:gd name="connsiteY331" fmla="*/ 73533 h 1218057"/>
                <a:gd name="connsiteX332" fmla="*/ 847725 w 1468659"/>
                <a:gd name="connsiteY332" fmla="*/ 73723 h 1218057"/>
                <a:gd name="connsiteX333" fmla="*/ 852868 w 1468659"/>
                <a:gd name="connsiteY333" fmla="*/ 76200 h 1218057"/>
                <a:gd name="connsiteX334" fmla="*/ 853250 w 1468659"/>
                <a:gd name="connsiteY334" fmla="*/ 79438 h 1218057"/>
                <a:gd name="connsiteX335" fmla="*/ 848773 w 1468659"/>
                <a:gd name="connsiteY335" fmla="*/ 81534 h 1218057"/>
                <a:gd name="connsiteX336" fmla="*/ 853440 w 1468659"/>
                <a:gd name="connsiteY336" fmla="*/ 80963 h 1218057"/>
                <a:gd name="connsiteX337" fmla="*/ 852106 w 1468659"/>
                <a:gd name="connsiteY337" fmla="*/ 82772 h 1218057"/>
                <a:gd name="connsiteX338" fmla="*/ 847534 w 1468659"/>
                <a:gd name="connsiteY338" fmla="*/ 84963 h 1218057"/>
                <a:gd name="connsiteX339" fmla="*/ 844201 w 1468659"/>
                <a:gd name="connsiteY339" fmla="*/ 83725 h 1218057"/>
                <a:gd name="connsiteX340" fmla="*/ 842867 w 1468659"/>
                <a:gd name="connsiteY340" fmla="*/ 85534 h 1218057"/>
                <a:gd name="connsiteX341" fmla="*/ 843058 w 1468659"/>
                <a:gd name="connsiteY341" fmla="*/ 87154 h 1218057"/>
                <a:gd name="connsiteX342" fmla="*/ 835343 w 1468659"/>
                <a:gd name="connsiteY342" fmla="*/ 89725 h 1218057"/>
                <a:gd name="connsiteX343" fmla="*/ 835533 w 1468659"/>
                <a:gd name="connsiteY343" fmla="*/ 91250 h 1218057"/>
                <a:gd name="connsiteX344" fmla="*/ 832390 w 1468659"/>
                <a:gd name="connsiteY344" fmla="*/ 91726 h 1218057"/>
                <a:gd name="connsiteX345" fmla="*/ 832009 w 1468659"/>
                <a:gd name="connsiteY345" fmla="*/ 88487 h 1218057"/>
                <a:gd name="connsiteX346" fmla="*/ 825722 w 1468659"/>
                <a:gd name="connsiteY346" fmla="*/ 89344 h 1218057"/>
                <a:gd name="connsiteX347" fmla="*/ 822293 w 1468659"/>
                <a:gd name="connsiteY347" fmla="*/ 88106 h 1218057"/>
                <a:gd name="connsiteX348" fmla="*/ 820960 w 1468659"/>
                <a:gd name="connsiteY348" fmla="*/ 89916 h 1218057"/>
                <a:gd name="connsiteX349" fmla="*/ 821341 w 1468659"/>
                <a:gd name="connsiteY349" fmla="*/ 93059 h 1218057"/>
                <a:gd name="connsiteX350" fmla="*/ 816578 w 1468659"/>
                <a:gd name="connsiteY350" fmla="*/ 93726 h 1218057"/>
                <a:gd name="connsiteX351" fmla="*/ 815054 w 1468659"/>
                <a:gd name="connsiteY351" fmla="*/ 93917 h 1218057"/>
                <a:gd name="connsiteX352" fmla="*/ 814102 w 1468659"/>
                <a:gd name="connsiteY352" fmla="*/ 98869 h 1218057"/>
                <a:gd name="connsiteX353" fmla="*/ 806958 w 1468659"/>
                <a:gd name="connsiteY353" fmla="*/ 106108 h 1218057"/>
                <a:gd name="connsiteX354" fmla="*/ 803624 w 1468659"/>
                <a:gd name="connsiteY354" fmla="*/ 104965 h 1218057"/>
                <a:gd name="connsiteX355" fmla="*/ 802481 w 1468659"/>
                <a:gd name="connsiteY355" fmla="*/ 108299 h 1218057"/>
                <a:gd name="connsiteX356" fmla="*/ 797528 w 1468659"/>
                <a:gd name="connsiteY356" fmla="*/ 107347 h 1218057"/>
                <a:gd name="connsiteX357" fmla="*/ 794766 w 1468659"/>
                <a:gd name="connsiteY357" fmla="*/ 110871 h 1218057"/>
                <a:gd name="connsiteX358" fmla="*/ 795147 w 1468659"/>
                <a:gd name="connsiteY358" fmla="*/ 114109 h 1218057"/>
                <a:gd name="connsiteX359" fmla="*/ 790384 w 1468659"/>
                <a:gd name="connsiteY359" fmla="*/ 114681 h 1218057"/>
                <a:gd name="connsiteX360" fmla="*/ 796195 w 1468659"/>
                <a:gd name="connsiteY360" fmla="*/ 121920 h 1218057"/>
                <a:gd name="connsiteX361" fmla="*/ 793433 w 1468659"/>
                <a:gd name="connsiteY361" fmla="*/ 125539 h 1218057"/>
                <a:gd name="connsiteX362" fmla="*/ 792671 w 1468659"/>
                <a:gd name="connsiteY362" fmla="*/ 132017 h 1218057"/>
                <a:gd name="connsiteX363" fmla="*/ 791242 w 1468659"/>
                <a:gd name="connsiteY363" fmla="*/ 133826 h 1218057"/>
                <a:gd name="connsiteX364" fmla="*/ 784765 w 1468659"/>
                <a:gd name="connsiteY364" fmla="*/ 133064 h 1218057"/>
                <a:gd name="connsiteX365" fmla="*/ 782764 w 1468659"/>
                <a:gd name="connsiteY365" fmla="*/ 130111 h 1218057"/>
                <a:gd name="connsiteX366" fmla="*/ 783908 w 1468659"/>
                <a:gd name="connsiteY366" fmla="*/ 126682 h 1218057"/>
                <a:gd name="connsiteX367" fmla="*/ 781145 w 1468659"/>
                <a:gd name="connsiteY367" fmla="*/ 117443 h 1218057"/>
                <a:gd name="connsiteX368" fmla="*/ 776192 w 1468659"/>
                <a:gd name="connsiteY368" fmla="*/ 116491 h 1218057"/>
                <a:gd name="connsiteX369" fmla="*/ 762572 w 1468659"/>
                <a:gd name="connsiteY369" fmla="*/ 110204 h 1218057"/>
                <a:gd name="connsiteX370" fmla="*/ 748760 w 1468659"/>
                <a:gd name="connsiteY370" fmla="*/ 115157 h 1218057"/>
                <a:gd name="connsiteX371" fmla="*/ 745617 w 1468659"/>
                <a:gd name="connsiteY371" fmla="*/ 115538 h 1218057"/>
                <a:gd name="connsiteX372" fmla="*/ 743426 w 1468659"/>
                <a:gd name="connsiteY372" fmla="*/ 111061 h 1218057"/>
                <a:gd name="connsiteX373" fmla="*/ 738759 w 1468659"/>
                <a:gd name="connsiteY373" fmla="*/ 111633 h 1218057"/>
                <a:gd name="connsiteX374" fmla="*/ 738283 w 1468659"/>
                <a:gd name="connsiteY374" fmla="*/ 108490 h 1218057"/>
                <a:gd name="connsiteX375" fmla="*/ 741235 w 1468659"/>
                <a:gd name="connsiteY375" fmla="*/ 106489 h 1218057"/>
                <a:gd name="connsiteX376" fmla="*/ 744379 w 1468659"/>
                <a:gd name="connsiteY376" fmla="*/ 106108 h 1218057"/>
                <a:gd name="connsiteX377" fmla="*/ 745426 w 1468659"/>
                <a:gd name="connsiteY377" fmla="*/ 101155 h 1218057"/>
                <a:gd name="connsiteX378" fmla="*/ 748189 w 1468659"/>
                <a:gd name="connsiteY378" fmla="*/ 97631 h 1218057"/>
                <a:gd name="connsiteX379" fmla="*/ 748760 w 1468659"/>
                <a:gd name="connsiteY379" fmla="*/ 89535 h 1218057"/>
                <a:gd name="connsiteX380" fmla="*/ 748284 w 1468659"/>
                <a:gd name="connsiteY380" fmla="*/ 86392 h 1218057"/>
                <a:gd name="connsiteX381" fmla="*/ 746760 w 1468659"/>
                <a:gd name="connsiteY381" fmla="*/ 86582 h 1218057"/>
                <a:gd name="connsiteX382" fmla="*/ 745331 w 1468659"/>
                <a:gd name="connsiteY382" fmla="*/ 88297 h 1218057"/>
                <a:gd name="connsiteX383" fmla="*/ 744379 w 1468659"/>
                <a:gd name="connsiteY383" fmla="*/ 93250 h 1218057"/>
                <a:gd name="connsiteX384" fmla="*/ 741426 w 1468659"/>
                <a:gd name="connsiteY384" fmla="*/ 95250 h 1218057"/>
                <a:gd name="connsiteX385" fmla="*/ 736473 w 1468659"/>
                <a:gd name="connsiteY385" fmla="*/ 94297 h 1218057"/>
                <a:gd name="connsiteX386" fmla="*/ 736949 w 1468659"/>
                <a:gd name="connsiteY386" fmla="*/ 97441 h 1218057"/>
                <a:gd name="connsiteX387" fmla="*/ 733711 w 1468659"/>
                <a:gd name="connsiteY387" fmla="*/ 97822 h 1218057"/>
                <a:gd name="connsiteX388" fmla="*/ 734568 w 1468659"/>
                <a:gd name="connsiteY388" fmla="*/ 91345 h 1218057"/>
                <a:gd name="connsiteX389" fmla="*/ 729425 w 1468659"/>
                <a:gd name="connsiteY389" fmla="*/ 101632 h 1218057"/>
                <a:gd name="connsiteX390" fmla="*/ 724472 w 1468659"/>
                <a:gd name="connsiteY390" fmla="*/ 100584 h 1218057"/>
                <a:gd name="connsiteX391" fmla="*/ 725900 w 1468659"/>
                <a:gd name="connsiteY391" fmla="*/ 98869 h 1218057"/>
                <a:gd name="connsiteX392" fmla="*/ 724281 w 1468659"/>
                <a:gd name="connsiteY392" fmla="*/ 99060 h 1218057"/>
                <a:gd name="connsiteX393" fmla="*/ 722947 w 1468659"/>
                <a:gd name="connsiteY393" fmla="*/ 100775 h 1218057"/>
                <a:gd name="connsiteX394" fmla="*/ 720947 w 1468659"/>
                <a:gd name="connsiteY394" fmla="*/ 97822 h 1218057"/>
                <a:gd name="connsiteX395" fmla="*/ 719518 w 1468659"/>
                <a:gd name="connsiteY395" fmla="*/ 99631 h 1218057"/>
                <a:gd name="connsiteX396" fmla="*/ 717804 w 1468659"/>
                <a:gd name="connsiteY396" fmla="*/ 98298 h 1218057"/>
                <a:gd name="connsiteX397" fmla="*/ 712851 w 1468659"/>
                <a:gd name="connsiteY397" fmla="*/ 97250 h 1218057"/>
                <a:gd name="connsiteX398" fmla="*/ 710851 w 1468659"/>
                <a:gd name="connsiteY398" fmla="*/ 94297 h 1218057"/>
                <a:gd name="connsiteX399" fmla="*/ 707898 w 1468659"/>
                <a:gd name="connsiteY399" fmla="*/ 96298 h 1218057"/>
                <a:gd name="connsiteX400" fmla="*/ 705136 w 1468659"/>
                <a:gd name="connsiteY400" fmla="*/ 99917 h 1218057"/>
                <a:gd name="connsiteX401" fmla="*/ 702945 w 1468659"/>
                <a:gd name="connsiteY401" fmla="*/ 95345 h 1218057"/>
                <a:gd name="connsiteX402" fmla="*/ 701612 w 1468659"/>
                <a:gd name="connsiteY402" fmla="*/ 97155 h 1218057"/>
                <a:gd name="connsiteX403" fmla="*/ 701135 w 1468659"/>
                <a:gd name="connsiteY403" fmla="*/ 94012 h 1218057"/>
                <a:gd name="connsiteX404" fmla="*/ 696659 w 1468659"/>
                <a:gd name="connsiteY404" fmla="*/ 96107 h 1218057"/>
                <a:gd name="connsiteX405" fmla="*/ 696468 w 1468659"/>
                <a:gd name="connsiteY405" fmla="*/ 94583 h 1218057"/>
                <a:gd name="connsiteX406" fmla="*/ 693134 w 1468659"/>
                <a:gd name="connsiteY406" fmla="*/ 93440 h 1218057"/>
                <a:gd name="connsiteX407" fmla="*/ 695420 w 1468659"/>
                <a:gd name="connsiteY407" fmla="*/ 86677 h 1218057"/>
                <a:gd name="connsiteX408" fmla="*/ 693706 w 1468659"/>
                <a:gd name="connsiteY408" fmla="*/ 85344 h 1218057"/>
                <a:gd name="connsiteX409" fmla="*/ 688943 w 1468659"/>
                <a:gd name="connsiteY409" fmla="*/ 85915 h 1218057"/>
                <a:gd name="connsiteX410" fmla="*/ 686181 w 1468659"/>
                <a:gd name="connsiteY410" fmla="*/ 89440 h 1218057"/>
                <a:gd name="connsiteX411" fmla="*/ 681228 w 1468659"/>
                <a:gd name="connsiteY411" fmla="*/ 88487 h 1218057"/>
                <a:gd name="connsiteX412" fmla="*/ 672560 w 1468659"/>
                <a:gd name="connsiteY412" fmla="*/ 83153 h 1218057"/>
                <a:gd name="connsiteX413" fmla="*/ 667798 w 1468659"/>
                <a:gd name="connsiteY413" fmla="*/ 83820 h 1218057"/>
                <a:gd name="connsiteX414" fmla="*/ 669608 w 1468659"/>
                <a:gd name="connsiteY414" fmla="*/ 85154 h 1218057"/>
                <a:gd name="connsiteX415" fmla="*/ 667226 w 1468659"/>
                <a:gd name="connsiteY415" fmla="*/ 91916 h 1218057"/>
                <a:gd name="connsiteX416" fmla="*/ 661130 w 1468659"/>
                <a:gd name="connsiteY416" fmla="*/ 94297 h 1218057"/>
                <a:gd name="connsiteX417" fmla="*/ 663130 w 1468659"/>
                <a:gd name="connsiteY417" fmla="*/ 97250 h 1218057"/>
                <a:gd name="connsiteX418" fmla="*/ 666274 w 1468659"/>
                <a:gd name="connsiteY418" fmla="*/ 96774 h 1218057"/>
                <a:gd name="connsiteX419" fmla="*/ 664845 w 1468659"/>
                <a:gd name="connsiteY419" fmla="*/ 98584 h 1218057"/>
                <a:gd name="connsiteX420" fmla="*/ 663321 w 1468659"/>
                <a:gd name="connsiteY420" fmla="*/ 98774 h 1218057"/>
                <a:gd name="connsiteX421" fmla="*/ 659511 w 1468659"/>
                <a:gd name="connsiteY421" fmla="*/ 94488 h 1218057"/>
                <a:gd name="connsiteX422" fmla="*/ 658368 w 1468659"/>
                <a:gd name="connsiteY422" fmla="*/ 97822 h 1218057"/>
                <a:gd name="connsiteX423" fmla="*/ 654844 w 1468659"/>
                <a:gd name="connsiteY423" fmla="*/ 95059 h 1218057"/>
                <a:gd name="connsiteX424" fmla="*/ 654368 w 1468659"/>
                <a:gd name="connsiteY424" fmla="*/ 91916 h 1218057"/>
                <a:gd name="connsiteX425" fmla="*/ 652843 w 1468659"/>
                <a:gd name="connsiteY425" fmla="*/ 92107 h 1218057"/>
                <a:gd name="connsiteX426" fmla="*/ 650653 w 1468659"/>
                <a:gd name="connsiteY426" fmla="*/ 87535 h 1218057"/>
                <a:gd name="connsiteX427" fmla="*/ 645890 w 1468659"/>
                <a:gd name="connsiteY427" fmla="*/ 88201 h 1218057"/>
                <a:gd name="connsiteX428" fmla="*/ 644938 w 1468659"/>
                <a:gd name="connsiteY428" fmla="*/ 80296 h 1218057"/>
                <a:gd name="connsiteX429" fmla="*/ 638556 w 1468659"/>
                <a:gd name="connsiteY429" fmla="*/ 81058 h 1218057"/>
                <a:gd name="connsiteX430" fmla="*/ 637413 w 1468659"/>
                <a:gd name="connsiteY430" fmla="*/ 84487 h 1218057"/>
                <a:gd name="connsiteX431" fmla="*/ 634270 w 1468659"/>
                <a:gd name="connsiteY431" fmla="*/ 84868 h 1218057"/>
                <a:gd name="connsiteX432" fmla="*/ 626173 w 1468659"/>
                <a:gd name="connsiteY432" fmla="*/ 71438 h 1218057"/>
                <a:gd name="connsiteX433" fmla="*/ 623030 w 1468659"/>
                <a:gd name="connsiteY433" fmla="*/ 71818 h 1218057"/>
                <a:gd name="connsiteX434" fmla="*/ 619220 w 1468659"/>
                <a:gd name="connsiteY434" fmla="*/ 67532 h 1218057"/>
                <a:gd name="connsiteX435" fmla="*/ 621601 w 1468659"/>
                <a:gd name="connsiteY435" fmla="*/ 73628 h 1218057"/>
                <a:gd name="connsiteX436" fmla="*/ 620077 w 1468659"/>
                <a:gd name="connsiteY436" fmla="*/ 73819 h 1218057"/>
                <a:gd name="connsiteX437" fmla="*/ 616458 w 1468659"/>
                <a:gd name="connsiteY437" fmla="*/ 71056 h 1218057"/>
                <a:gd name="connsiteX438" fmla="*/ 615125 w 1468659"/>
                <a:gd name="connsiteY438" fmla="*/ 72866 h 1218057"/>
                <a:gd name="connsiteX439" fmla="*/ 616648 w 1468659"/>
                <a:gd name="connsiteY439" fmla="*/ 72676 h 1218057"/>
                <a:gd name="connsiteX440" fmla="*/ 621030 w 1468659"/>
                <a:gd name="connsiteY440" fmla="*/ 81725 h 1218057"/>
                <a:gd name="connsiteX441" fmla="*/ 619697 w 1468659"/>
                <a:gd name="connsiteY441" fmla="*/ 83534 h 1218057"/>
                <a:gd name="connsiteX442" fmla="*/ 621411 w 1468659"/>
                <a:gd name="connsiteY442" fmla="*/ 84868 h 1218057"/>
                <a:gd name="connsiteX443" fmla="*/ 618649 w 1468659"/>
                <a:gd name="connsiteY443" fmla="*/ 88487 h 1218057"/>
                <a:gd name="connsiteX444" fmla="*/ 620649 w 1468659"/>
                <a:gd name="connsiteY444" fmla="*/ 91440 h 1218057"/>
                <a:gd name="connsiteX445" fmla="*/ 625412 w 1468659"/>
                <a:gd name="connsiteY445" fmla="*/ 90773 h 1218057"/>
                <a:gd name="connsiteX446" fmla="*/ 623983 w 1468659"/>
                <a:gd name="connsiteY446" fmla="*/ 92583 h 1218057"/>
                <a:gd name="connsiteX447" fmla="*/ 620649 w 1468659"/>
                <a:gd name="connsiteY447" fmla="*/ 91440 h 1218057"/>
                <a:gd name="connsiteX448" fmla="*/ 621030 w 1468659"/>
                <a:gd name="connsiteY448" fmla="*/ 94583 h 1218057"/>
                <a:gd name="connsiteX449" fmla="*/ 619506 w 1468659"/>
                <a:gd name="connsiteY449" fmla="*/ 94774 h 1218057"/>
                <a:gd name="connsiteX450" fmla="*/ 616934 w 1468659"/>
                <a:gd name="connsiteY450" fmla="*/ 87058 h 1218057"/>
                <a:gd name="connsiteX451" fmla="*/ 613791 w 1468659"/>
                <a:gd name="connsiteY451" fmla="*/ 87439 h 1218057"/>
                <a:gd name="connsiteX452" fmla="*/ 610172 w 1468659"/>
                <a:gd name="connsiteY452" fmla="*/ 84677 h 1218057"/>
                <a:gd name="connsiteX453" fmla="*/ 605504 w 1468659"/>
                <a:gd name="connsiteY453" fmla="*/ 85344 h 1218057"/>
                <a:gd name="connsiteX454" fmla="*/ 604266 w 1468659"/>
                <a:gd name="connsiteY454" fmla="*/ 88678 h 1218057"/>
                <a:gd name="connsiteX455" fmla="*/ 600932 w 1468659"/>
                <a:gd name="connsiteY455" fmla="*/ 87535 h 1218057"/>
                <a:gd name="connsiteX456" fmla="*/ 601123 w 1468659"/>
                <a:gd name="connsiteY456" fmla="*/ 89059 h 1218057"/>
                <a:gd name="connsiteX457" fmla="*/ 599504 w 1468659"/>
                <a:gd name="connsiteY457" fmla="*/ 89249 h 1218057"/>
                <a:gd name="connsiteX458" fmla="*/ 601504 w 1468659"/>
                <a:gd name="connsiteY458" fmla="*/ 92202 h 1218057"/>
                <a:gd name="connsiteX459" fmla="*/ 599980 w 1468659"/>
                <a:gd name="connsiteY459" fmla="*/ 92392 h 1218057"/>
                <a:gd name="connsiteX460" fmla="*/ 600170 w 1468659"/>
                <a:gd name="connsiteY460" fmla="*/ 94012 h 1218057"/>
                <a:gd name="connsiteX461" fmla="*/ 598360 w 1468659"/>
                <a:gd name="connsiteY461" fmla="*/ 92678 h 1218057"/>
                <a:gd name="connsiteX462" fmla="*/ 598551 w 1468659"/>
                <a:gd name="connsiteY462" fmla="*/ 94202 h 1218057"/>
                <a:gd name="connsiteX463" fmla="*/ 597218 w 1468659"/>
                <a:gd name="connsiteY463" fmla="*/ 96012 h 1218057"/>
                <a:gd name="connsiteX464" fmla="*/ 595217 w 1468659"/>
                <a:gd name="connsiteY464" fmla="*/ 93059 h 1218057"/>
                <a:gd name="connsiteX465" fmla="*/ 593884 w 1468659"/>
                <a:gd name="connsiteY465" fmla="*/ 94774 h 1218057"/>
                <a:gd name="connsiteX466" fmla="*/ 591502 w 1468659"/>
                <a:gd name="connsiteY466" fmla="*/ 101536 h 1218057"/>
                <a:gd name="connsiteX467" fmla="*/ 589883 w 1468659"/>
                <a:gd name="connsiteY467" fmla="*/ 101727 h 1218057"/>
                <a:gd name="connsiteX468" fmla="*/ 591122 w 1468659"/>
                <a:gd name="connsiteY468" fmla="*/ 98393 h 1218057"/>
                <a:gd name="connsiteX469" fmla="*/ 587693 w 1468659"/>
                <a:gd name="connsiteY469" fmla="*/ 97155 h 1218057"/>
                <a:gd name="connsiteX470" fmla="*/ 584930 w 1468659"/>
                <a:gd name="connsiteY470" fmla="*/ 100775 h 1218057"/>
                <a:gd name="connsiteX471" fmla="*/ 583978 w 1468659"/>
                <a:gd name="connsiteY471" fmla="*/ 105727 h 1218057"/>
                <a:gd name="connsiteX472" fmla="*/ 582454 w 1468659"/>
                <a:gd name="connsiteY472" fmla="*/ 105918 h 1218057"/>
                <a:gd name="connsiteX473" fmla="*/ 581787 w 1468659"/>
                <a:gd name="connsiteY473" fmla="*/ 101155 h 1218057"/>
                <a:gd name="connsiteX474" fmla="*/ 578644 w 1468659"/>
                <a:gd name="connsiteY474" fmla="*/ 101536 h 1218057"/>
                <a:gd name="connsiteX475" fmla="*/ 578263 w 1468659"/>
                <a:gd name="connsiteY475" fmla="*/ 98393 h 1218057"/>
                <a:gd name="connsiteX476" fmla="*/ 574929 w 1468659"/>
                <a:gd name="connsiteY476" fmla="*/ 97250 h 1218057"/>
                <a:gd name="connsiteX477" fmla="*/ 567595 w 1468659"/>
                <a:gd name="connsiteY477" fmla="*/ 102965 h 1218057"/>
                <a:gd name="connsiteX478" fmla="*/ 564261 w 1468659"/>
                <a:gd name="connsiteY478" fmla="*/ 101822 h 1218057"/>
                <a:gd name="connsiteX479" fmla="*/ 562451 w 1468659"/>
                <a:gd name="connsiteY479" fmla="*/ 100393 h 1218057"/>
                <a:gd name="connsiteX480" fmla="*/ 565595 w 1468659"/>
                <a:gd name="connsiteY480" fmla="*/ 100013 h 1218057"/>
                <a:gd name="connsiteX481" fmla="*/ 567023 w 1468659"/>
                <a:gd name="connsiteY481" fmla="*/ 98203 h 1218057"/>
                <a:gd name="connsiteX482" fmla="*/ 564833 w 1468659"/>
                <a:gd name="connsiteY482" fmla="*/ 93726 h 1218057"/>
                <a:gd name="connsiteX483" fmla="*/ 567595 w 1468659"/>
                <a:gd name="connsiteY483" fmla="*/ 90106 h 1218057"/>
                <a:gd name="connsiteX484" fmla="*/ 567214 w 1468659"/>
                <a:gd name="connsiteY484" fmla="*/ 86963 h 1218057"/>
                <a:gd name="connsiteX485" fmla="*/ 564071 w 1468659"/>
                <a:gd name="connsiteY485" fmla="*/ 87344 h 1218057"/>
                <a:gd name="connsiteX486" fmla="*/ 562261 w 1468659"/>
                <a:gd name="connsiteY486" fmla="*/ 86011 h 1218057"/>
                <a:gd name="connsiteX487" fmla="*/ 560451 w 1468659"/>
                <a:gd name="connsiteY487" fmla="*/ 84677 h 1218057"/>
                <a:gd name="connsiteX488" fmla="*/ 560451 w 1468659"/>
                <a:gd name="connsiteY488" fmla="*/ 84677 h 1218057"/>
                <a:gd name="connsiteX489" fmla="*/ 558260 w 1468659"/>
                <a:gd name="connsiteY489" fmla="*/ 80105 h 1218057"/>
                <a:gd name="connsiteX490" fmla="*/ 556927 w 1468659"/>
                <a:gd name="connsiteY490" fmla="*/ 81915 h 1218057"/>
                <a:gd name="connsiteX491" fmla="*/ 549783 w 1468659"/>
                <a:gd name="connsiteY491" fmla="*/ 76390 h 1218057"/>
                <a:gd name="connsiteX492" fmla="*/ 544068 w 1468659"/>
                <a:gd name="connsiteY492" fmla="*/ 81915 h 1218057"/>
                <a:gd name="connsiteX493" fmla="*/ 541877 w 1468659"/>
                <a:gd name="connsiteY493" fmla="*/ 77343 h 1218057"/>
                <a:gd name="connsiteX494" fmla="*/ 540544 w 1468659"/>
                <a:gd name="connsiteY494" fmla="*/ 79153 h 1218057"/>
                <a:gd name="connsiteX495" fmla="*/ 540353 w 1468659"/>
                <a:gd name="connsiteY495" fmla="*/ 77629 h 1218057"/>
                <a:gd name="connsiteX496" fmla="*/ 538543 w 1468659"/>
                <a:gd name="connsiteY496" fmla="*/ 76200 h 1218057"/>
                <a:gd name="connsiteX497" fmla="*/ 539115 w 1468659"/>
                <a:gd name="connsiteY497" fmla="*/ 68104 h 1218057"/>
                <a:gd name="connsiteX498" fmla="*/ 540448 w 1468659"/>
                <a:gd name="connsiteY498" fmla="*/ 66294 h 1218057"/>
                <a:gd name="connsiteX499" fmla="*/ 535114 w 1468659"/>
                <a:gd name="connsiteY499" fmla="*/ 62198 h 1218057"/>
                <a:gd name="connsiteX500" fmla="*/ 528638 w 1468659"/>
                <a:gd name="connsiteY500" fmla="*/ 61436 h 1218057"/>
                <a:gd name="connsiteX501" fmla="*/ 528256 w 1468659"/>
                <a:gd name="connsiteY501" fmla="*/ 58293 h 1218057"/>
                <a:gd name="connsiteX502" fmla="*/ 523684 w 1468659"/>
                <a:gd name="connsiteY502" fmla="*/ 60484 h 1218057"/>
                <a:gd name="connsiteX503" fmla="*/ 521303 w 1468659"/>
                <a:gd name="connsiteY503" fmla="*/ 54292 h 1218057"/>
                <a:gd name="connsiteX504" fmla="*/ 515588 w 1468659"/>
                <a:gd name="connsiteY504" fmla="*/ 59912 h 1218057"/>
                <a:gd name="connsiteX505" fmla="*/ 512445 w 1468659"/>
                <a:gd name="connsiteY505" fmla="*/ 60293 h 1218057"/>
                <a:gd name="connsiteX506" fmla="*/ 501587 w 1468659"/>
                <a:gd name="connsiteY506" fmla="*/ 63246 h 1218057"/>
                <a:gd name="connsiteX507" fmla="*/ 499396 w 1468659"/>
                <a:gd name="connsiteY507" fmla="*/ 58769 h 1218057"/>
                <a:gd name="connsiteX508" fmla="*/ 496634 w 1468659"/>
                <a:gd name="connsiteY508" fmla="*/ 62293 h 1218057"/>
                <a:gd name="connsiteX509" fmla="*/ 493490 w 1468659"/>
                <a:gd name="connsiteY509" fmla="*/ 62675 h 1218057"/>
                <a:gd name="connsiteX510" fmla="*/ 492157 w 1468659"/>
                <a:gd name="connsiteY510" fmla="*/ 64484 h 1218057"/>
                <a:gd name="connsiteX511" fmla="*/ 492538 w 1468659"/>
                <a:gd name="connsiteY511" fmla="*/ 67627 h 1218057"/>
                <a:gd name="connsiteX512" fmla="*/ 493585 w 1468659"/>
                <a:gd name="connsiteY512" fmla="*/ 75533 h 1218057"/>
                <a:gd name="connsiteX513" fmla="*/ 489013 w 1468659"/>
                <a:gd name="connsiteY513" fmla="*/ 77724 h 1218057"/>
                <a:gd name="connsiteX514" fmla="*/ 489395 w 1468659"/>
                <a:gd name="connsiteY514" fmla="*/ 80867 h 1218057"/>
                <a:gd name="connsiteX515" fmla="*/ 485108 w 1468659"/>
                <a:gd name="connsiteY515" fmla="*/ 84582 h 1218057"/>
                <a:gd name="connsiteX516" fmla="*/ 481965 w 1468659"/>
                <a:gd name="connsiteY516" fmla="*/ 85058 h 1218057"/>
                <a:gd name="connsiteX517" fmla="*/ 482346 w 1468659"/>
                <a:gd name="connsiteY517" fmla="*/ 88201 h 1218057"/>
                <a:gd name="connsiteX518" fmla="*/ 485299 w 1468659"/>
                <a:gd name="connsiteY518" fmla="*/ 86201 h 1218057"/>
                <a:gd name="connsiteX519" fmla="*/ 479584 w 1468659"/>
                <a:gd name="connsiteY519" fmla="*/ 91726 h 1218057"/>
                <a:gd name="connsiteX520" fmla="*/ 480155 w 1468659"/>
                <a:gd name="connsiteY520" fmla="*/ 96488 h 1218057"/>
                <a:gd name="connsiteX521" fmla="*/ 475297 w 1468659"/>
                <a:gd name="connsiteY521" fmla="*/ 95536 h 1218057"/>
                <a:gd name="connsiteX522" fmla="*/ 474821 w 1468659"/>
                <a:gd name="connsiteY522" fmla="*/ 92297 h 1218057"/>
                <a:gd name="connsiteX523" fmla="*/ 477774 w 1468659"/>
                <a:gd name="connsiteY523" fmla="*/ 90392 h 1218057"/>
                <a:gd name="connsiteX524" fmla="*/ 476059 w 1468659"/>
                <a:gd name="connsiteY524" fmla="*/ 88963 h 1218057"/>
                <a:gd name="connsiteX525" fmla="*/ 469868 w 1468659"/>
                <a:gd name="connsiteY525" fmla="*/ 91345 h 1218057"/>
                <a:gd name="connsiteX526" fmla="*/ 462058 w 1468659"/>
                <a:gd name="connsiteY526" fmla="*/ 92392 h 1218057"/>
                <a:gd name="connsiteX527" fmla="*/ 459105 w 1468659"/>
                <a:gd name="connsiteY527" fmla="*/ 94393 h 1218057"/>
                <a:gd name="connsiteX528" fmla="*/ 455676 w 1468659"/>
                <a:gd name="connsiteY528" fmla="*/ 93154 h 1218057"/>
                <a:gd name="connsiteX529" fmla="*/ 450818 w 1468659"/>
                <a:gd name="connsiteY529" fmla="*/ 92202 h 1218057"/>
                <a:gd name="connsiteX530" fmla="*/ 444437 w 1468659"/>
                <a:gd name="connsiteY530" fmla="*/ 92964 h 1218057"/>
                <a:gd name="connsiteX531" fmla="*/ 441293 w 1468659"/>
                <a:gd name="connsiteY531" fmla="*/ 93440 h 1218057"/>
                <a:gd name="connsiteX532" fmla="*/ 440150 w 1468659"/>
                <a:gd name="connsiteY532" fmla="*/ 96774 h 1218057"/>
                <a:gd name="connsiteX533" fmla="*/ 433006 w 1468659"/>
                <a:gd name="connsiteY533" fmla="*/ 91250 h 1218057"/>
                <a:gd name="connsiteX534" fmla="*/ 428244 w 1468659"/>
                <a:gd name="connsiteY534" fmla="*/ 91821 h 1218057"/>
                <a:gd name="connsiteX535" fmla="*/ 419957 w 1468659"/>
                <a:gd name="connsiteY535" fmla="*/ 89725 h 1218057"/>
                <a:gd name="connsiteX536" fmla="*/ 421196 w 1468659"/>
                <a:gd name="connsiteY536" fmla="*/ 99155 h 1218057"/>
                <a:gd name="connsiteX537" fmla="*/ 416052 w 1468659"/>
                <a:gd name="connsiteY537" fmla="*/ 96583 h 1218057"/>
                <a:gd name="connsiteX538" fmla="*/ 411480 w 1468659"/>
                <a:gd name="connsiteY538" fmla="*/ 98774 h 1218057"/>
                <a:gd name="connsiteX539" fmla="*/ 409766 w 1468659"/>
                <a:gd name="connsiteY539" fmla="*/ 97441 h 1218057"/>
                <a:gd name="connsiteX540" fmla="*/ 409384 w 1468659"/>
                <a:gd name="connsiteY540" fmla="*/ 94297 h 1218057"/>
                <a:gd name="connsiteX541" fmla="*/ 410527 w 1468659"/>
                <a:gd name="connsiteY541" fmla="*/ 90868 h 1218057"/>
                <a:gd name="connsiteX542" fmla="*/ 408527 w 1468659"/>
                <a:gd name="connsiteY542" fmla="*/ 87916 h 1218057"/>
                <a:gd name="connsiteX543" fmla="*/ 405384 w 1468659"/>
                <a:gd name="connsiteY543" fmla="*/ 88392 h 1218057"/>
                <a:gd name="connsiteX544" fmla="*/ 406146 w 1468659"/>
                <a:gd name="connsiteY544" fmla="*/ 94679 h 1218057"/>
                <a:gd name="connsiteX545" fmla="*/ 405003 w 1468659"/>
                <a:gd name="connsiteY545" fmla="*/ 98012 h 1218057"/>
                <a:gd name="connsiteX546" fmla="*/ 398526 w 1468659"/>
                <a:gd name="connsiteY546" fmla="*/ 97250 h 1218057"/>
                <a:gd name="connsiteX547" fmla="*/ 397097 w 1468659"/>
                <a:gd name="connsiteY547" fmla="*/ 99060 h 1218057"/>
                <a:gd name="connsiteX548" fmla="*/ 395097 w 1468659"/>
                <a:gd name="connsiteY548" fmla="*/ 96107 h 1218057"/>
                <a:gd name="connsiteX549" fmla="*/ 388810 w 1468659"/>
                <a:gd name="connsiteY549" fmla="*/ 96869 h 1218057"/>
                <a:gd name="connsiteX550" fmla="*/ 388620 w 1468659"/>
                <a:gd name="connsiteY550" fmla="*/ 95345 h 1218057"/>
                <a:gd name="connsiteX551" fmla="*/ 385667 w 1468659"/>
                <a:gd name="connsiteY551" fmla="*/ 97250 h 1218057"/>
                <a:gd name="connsiteX552" fmla="*/ 383667 w 1468659"/>
                <a:gd name="connsiteY552" fmla="*/ 94297 h 1218057"/>
                <a:gd name="connsiteX553" fmla="*/ 382143 w 1468659"/>
                <a:gd name="connsiteY553" fmla="*/ 94488 h 1218057"/>
                <a:gd name="connsiteX554" fmla="*/ 379762 w 1468659"/>
                <a:gd name="connsiteY554" fmla="*/ 88392 h 1218057"/>
                <a:gd name="connsiteX555" fmla="*/ 380714 w 1468659"/>
                <a:gd name="connsiteY555" fmla="*/ 83439 h 1218057"/>
                <a:gd name="connsiteX556" fmla="*/ 382048 w 1468659"/>
                <a:gd name="connsiteY556" fmla="*/ 81725 h 1218057"/>
                <a:gd name="connsiteX557" fmla="*/ 381286 w 1468659"/>
                <a:gd name="connsiteY557" fmla="*/ 75343 h 1218057"/>
                <a:gd name="connsiteX558" fmla="*/ 380905 w 1468659"/>
                <a:gd name="connsiteY558" fmla="*/ 72200 h 1218057"/>
                <a:gd name="connsiteX559" fmla="*/ 382238 w 1468659"/>
                <a:gd name="connsiteY559" fmla="*/ 70485 h 1218057"/>
                <a:gd name="connsiteX560" fmla="*/ 381857 w 1468659"/>
                <a:gd name="connsiteY560" fmla="*/ 67342 h 1218057"/>
                <a:gd name="connsiteX561" fmla="*/ 386620 w 1468659"/>
                <a:gd name="connsiteY561" fmla="*/ 66675 h 1218057"/>
                <a:gd name="connsiteX562" fmla="*/ 381667 w 1468659"/>
                <a:gd name="connsiteY562" fmla="*/ 65722 h 1218057"/>
                <a:gd name="connsiteX563" fmla="*/ 376142 w 1468659"/>
                <a:gd name="connsiteY563" fmla="*/ 60007 h 1218057"/>
                <a:gd name="connsiteX564" fmla="*/ 374713 w 1468659"/>
                <a:gd name="connsiteY564" fmla="*/ 61817 h 1218057"/>
                <a:gd name="connsiteX565" fmla="*/ 365284 w 1468659"/>
                <a:gd name="connsiteY565" fmla="*/ 62960 h 1218057"/>
                <a:gd name="connsiteX566" fmla="*/ 361950 w 1468659"/>
                <a:gd name="connsiteY566" fmla="*/ 61817 h 1218057"/>
                <a:gd name="connsiteX567" fmla="*/ 357950 w 1468659"/>
                <a:gd name="connsiteY567" fmla="*/ 68771 h 1218057"/>
                <a:gd name="connsiteX568" fmla="*/ 357759 w 1468659"/>
                <a:gd name="connsiteY568" fmla="*/ 67151 h 1218057"/>
                <a:gd name="connsiteX569" fmla="*/ 352044 w 1468659"/>
                <a:gd name="connsiteY569" fmla="*/ 72676 h 1218057"/>
                <a:gd name="connsiteX570" fmla="*/ 350330 w 1468659"/>
                <a:gd name="connsiteY570" fmla="*/ 71342 h 1218057"/>
                <a:gd name="connsiteX571" fmla="*/ 348901 w 1468659"/>
                <a:gd name="connsiteY571" fmla="*/ 73057 h 1218057"/>
                <a:gd name="connsiteX572" fmla="*/ 342233 w 1468659"/>
                <a:gd name="connsiteY572" fmla="*/ 70771 h 1218057"/>
                <a:gd name="connsiteX573" fmla="*/ 341471 w 1468659"/>
                <a:gd name="connsiteY573" fmla="*/ 77248 h 1218057"/>
                <a:gd name="connsiteX574" fmla="*/ 345376 w 1468659"/>
                <a:gd name="connsiteY574" fmla="*/ 83153 h 1218057"/>
                <a:gd name="connsiteX575" fmla="*/ 342614 w 1468659"/>
                <a:gd name="connsiteY575" fmla="*/ 86773 h 1218057"/>
                <a:gd name="connsiteX576" fmla="*/ 342233 w 1468659"/>
                <a:gd name="connsiteY576" fmla="*/ 83534 h 1218057"/>
                <a:gd name="connsiteX577" fmla="*/ 341471 w 1468659"/>
                <a:gd name="connsiteY577" fmla="*/ 90106 h 1218057"/>
                <a:gd name="connsiteX578" fmla="*/ 340042 w 1468659"/>
                <a:gd name="connsiteY578" fmla="*/ 91821 h 1218057"/>
                <a:gd name="connsiteX579" fmla="*/ 340519 w 1468659"/>
                <a:gd name="connsiteY579" fmla="*/ 95059 h 1218057"/>
                <a:gd name="connsiteX580" fmla="*/ 338900 w 1468659"/>
                <a:gd name="connsiteY580" fmla="*/ 95250 h 1218057"/>
                <a:gd name="connsiteX581" fmla="*/ 337566 w 1468659"/>
                <a:gd name="connsiteY581" fmla="*/ 96964 h 1218057"/>
                <a:gd name="connsiteX582" fmla="*/ 335566 w 1468659"/>
                <a:gd name="connsiteY582" fmla="*/ 94012 h 1218057"/>
                <a:gd name="connsiteX583" fmla="*/ 333946 w 1468659"/>
                <a:gd name="connsiteY583" fmla="*/ 94202 h 1218057"/>
                <a:gd name="connsiteX584" fmla="*/ 334327 w 1468659"/>
                <a:gd name="connsiteY584" fmla="*/ 97441 h 1218057"/>
                <a:gd name="connsiteX585" fmla="*/ 332804 w 1468659"/>
                <a:gd name="connsiteY585" fmla="*/ 97631 h 1218057"/>
                <a:gd name="connsiteX586" fmla="*/ 336709 w 1468659"/>
                <a:gd name="connsiteY586" fmla="*/ 103537 h 1218057"/>
                <a:gd name="connsiteX587" fmla="*/ 333566 w 1468659"/>
                <a:gd name="connsiteY587" fmla="*/ 103918 h 1218057"/>
                <a:gd name="connsiteX588" fmla="*/ 334042 w 1468659"/>
                <a:gd name="connsiteY588" fmla="*/ 107061 h 1218057"/>
                <a:gd name="connsiteX589" fmla="*/ 330803 w 1468659"/>
                <a:gd name="connsiteY589" fmla="*/ 107442 h 1218057"/>
                <a:gd name="connsiteX590" fmla="*/ 330041 w 1468659"/>
                <a:gd name="connsiteY590" fmla="*/ 101155 h 1218057"/>
                <a:gd name="connsiteX591" fmla="*/ 326898 w 1468659"/>
                <a:gd name="connsiteY591" fmla="*/ 101536 h 1218057"/>
                <a:gd name="connsiteX592" fmla="*/ 324707 w 1468659"/>
                <a:gd name="connsiteY592" fmla="*/ 97060 h 1218057"/>
                <a:gd name="connsiteX593" fmla="*/ 322135 w 1468659"/>
                <a:gd name="connsiteY593" fmla="*/ 102203 h 1218057"/>
                <a:gd name="connsiteX594" fmla="*/ 320612 w 1468659"/>
                <a:gd name="connsiteY594" fmla="*/ 102394 h 1218057"/>
                <a:gd name="connsiteX595" fmla="*/ 320992 w 1468659"/>
                <a:gd name="connsiteY595" fmla="*/ 105537 h 1218057"/>
                <a:gd name="connsiteX596" fmla="*/ 318230 w 1468659"/>
                <a:gd name="connsiteY596" fmla="*/ 109061 h 1218057"/>
                <a:gd name="connsiteX597" fmla="*/ 318611 w 1468659"/>
                <a:gd name="connsiteY597" fmla="*/ 112204 h 1218057"/>
                <a:gd name="connsiteX598" fmla="*/ 318992 w 1468659"/>
                <a:gd name="connsiteY598" fmla="*/ 115443 h 1218057"/>
                <a:gd name="connsiteX599" fmla="*/ 309372 w 1468659"/>
                <a:gd name="connsiteY599" fmla="*/ 115062 h 1218057"/>
                <a:gd name="connsiteX600" fmla="*/ 302609 w 1468659"/>
                <a:gd name="connsiteY600" fmla="*/ 112681 h 1218057"/>
                <a:gd name="connsiteX601" fmla="*/ 302038 w 1468659"/>
                <a:gd name="connsiteY601" fmla="*/ 107918 h 1218057"/>
                <a:gd name="connsiteX602" fmla="*/ 298704 w 1468659"/>
                <a:gd name="connsiteY602" fmla="*/ 106775 h 1218057"/>
                <a:gd name="connsiteX603" fmla="*/ 290036 w 1468659"/>
                <a:gd name="connsiteY603" fmla="*/ 114300 h 1218057"/>
                <a:gd name="connsiteX604" fmla="*/ 290989 w 1468659"/>
                <a:gd name="connsiteY604" fmla="*/ 122206 h 1218057"/>
                <a:gd name="connsiteX605" fmla="*/ 290989 w 1468659"/>
                <a:gd name="connsiteY605" fmla="*/ 122206 h 1218057"/>
                <a:gd name="connsiteX606" fmla="*/ 289465 w 1468659"/>
                <a:gd name="connsiteY606" fmla="*/ 122396 h 1218057"/>
                <a:gd name="connsiteX607" fmla="*/ 285083 w 1468659"/>
                <a:gd name="connsiteY607" fmla="*/ 126111 h 1218057"/>
                <a:gd name="connsiteX608" fmla="*/ 284702 w 1468659"/>
                <a:gd name="connsiteY608" fmla="*/ 122968 h 1218057"/>
                <a:gd name="connsiteX609" fmla="*/ 275463 w 1468659"/>
                <a:gd name="connsiteY609" fmla="*/ 125730 h 1218057"/>
                <a:gd name="connsiteX610" fmla="*/ 273463 w 1468659"/>
                <a:gd name="connsiteY610" fmla="*/ 122777 h 1218057"/>
                <a:gd name="connsiteX611" fmla="*/ 268700 w 1468659"/>
                <a:gd name="connsiteY611" fmla="*/ 123444 h 1218057"/>
                <a:gd name="connsiteX612" fmla="*/ 268129 w 1468659"/>
                <a:gd name="connsiteY612" fmla="*/ 118681 h 1218057"/>
                <a:gd name="connsiteX613" fmla="*/ 264605 w 1468659"/>
                <a:gd name="connsiteY613" fmla="*/ 115919 h 1218057"/>
                <a:gd name="connsiteX614" fmla="*/ 263366 w 1468659"/>
                <a:gd name="connsiteY614" fmla="*/ 119253 h 1218057"/>
                <a:gd name="connsiteX615" fmla="*/ 257080 w 1468659"/>
                <a:gd name="connsiteY615" fmla="*/ 120110 h 1218057"/>
                <a:gd name="connsiteX616" fmla="*/ 261366 w 1468659"/>
                <a:gd name="connsiteY616" fmla="*/ 116300 h 1218057"/>
                <a:gd name="connsiteX617" fmla="*/ 260985 w 1468659"/>
                <a:gd name="connsiteY617" fmla="*/ 113157 h 1218057"/>
                <a:gd name="connsiteX618" fmla="*/ 263938 w 1468659"/>
                <a:gd name="connsiteY618" fmla="*/ 111157 h 1218057"/>
                <a:gd name="connsiteX619" fmla="*/ 256032 w 1468659"/>
                <a:gd name="connsiteY619" fmla="*/ 112204 h 1218057"/>
                <a:gd name="connsiteX620" fmla="*/ 254698 w 1468659"/>
                <a:gd name="connsiteY620" fmla="*/ 114014 h 1218057"/>
                <a:gd name="connsiteX621" fmla="*/ 251174 w 1468659"/>
                <a:gd name="connsiteY621" fmla="*/ 111252 h 1218057"/>
                <a:gd name="connsiteX622" fmla="*/ 248984 w 1468659"/>
                <a:gd name="connsiteY622" fmla="*/ 106680 h 1218057"/>
                <a:gd name="connsiteX623" fmla="*/ 249746 w 1468659"/>
                <a:gd name="connsiteY623" fmla="*/ 100203 h 1218057"/>
                <a:gd name="connsiteX624" fmla="*/ 239649 w 1468659"/>
                <a:gd name="connsiteY624" fmla="*/ 96679 h 1218057"/>
                <a:gd name="connsiteX625" fmla="*/ 235077 w 1468659"/>
                <a:gd name="connsiteY625" fmla="*/ 98869 h 1218057"/>
                <a:gd name="connsiteX626" fmla="*/ 235363 w 1468659"/>
                <a:gd name="connsiteY626" fmla="*/ 100393 h 1218057"/>
                <a:gd name="connsiteX627" fmla="*/ 238696 w 1468659"/>
                <a:gd name="connsiteY627" fmla="*/ 101536 h 1218057"/>
                <a:gd name="connsiteX628" fmla="*/ 234125 w 1468659"/>
                <a:gd name="connsiteY628" fmla="*/ 103727 h 1218057"/>
                <a:gd name="connsiteX629" fmla="*/ 230410 w 1468659"/>
                <a:gd name="connsiteY629" fmla="*/ 112204 h 1218057"/>
                <a:gd name="connsiteX630" fmla="*/ 227076 w 1468659"/>
                <a:gd name="connsiteY630" fmla="*/ 111061 h 1218057"/>
                <a:gd name="connsiteX631" fmla="*/ 227267 w 1468659"/>
                <a:gd name="connsiteY631" fmla="*/ 112681 h 1218057"/>
                <a:gd name="connsiteX632" fmla="*/ 225457 w 1468659"/>
                <a:gd name="connsiteY632" fmla="*/ 111252 h 1218057"/>
                <a:gd name="connsiteX633" fmla="*/ 222694 w 1468659"/>
                <a:gd name="connsiteY633" fmla="*/ 114871 h 1218057"/>
                <a:gd name="connsiteX634" fmla="*/ 220790 w 1468659"/>
                <a:gd name="connsiteY634" fmla="*/ 111919 h 1218057"/>
                <a:gd name="connsiteX635" fmla="*/ 222123 w 1468659"/>
                <a:gd name="connsiteY635" fmla="*/ 110109 h 1218057"/>
                <a:gd name="connsiteX636" fmla="*/ 220504 w 1468659"/>
                <a:gd name="connsiteY636" fmla="*/ 110300 h 1218057"/>
                <a:gd name="connsiteX637" fmla="*/ 219170 w 1468659"/>
                <a:gd name="connsiteY637" fmla="*/ 112109 h 1218057"/>
                <a:gd name="connsiteX638" fmla="*/ 217742 w 1468659"/>
                <a:gd name="connsiteY638" fmla="*/ 113824 h 1218057"/>
                <a:gd name="connsiteX639" fmla="*/ 216408 w 1468659"/>
                <a:gd name="connsiteY639" fmla="*/ 102775 h 1218057"/>
                <a:gd name="connsiteX640" fmla="*/ 214979 w 1468659"/>
                <a:gd name="connsiteY640" fmla="*/ 104584 h 1218057"/>
                <a:gd name="connsiteX641" fmla="*/ 213265 w 1468659"/>
                <a:gd name="connsiteY641" fmla="*/ 103251 h 1218057"/>
                <a:gd name="connsiteX642" fmla="*/ 210407 w 1468659"/>
                <a:gd name="connsiteY642" fmla="*/ 93917 h 1218057"/>
                <a:gd name="connsiteX643" fmla="*/ 207264 w 1468659"/>
                <a:gd name="connsiteY643" fmla="*/ 94393 h 1218057"/>
                <a:gd name="connsiteX644" fmla="*/ 209264 w 1468659"/>
                <a:gd name="connsiteY644" fmla="*/ 97346 h 1218057"/>
                <a:gd name="connsiteX645" fmla="*/ 202978 w 1468659"/>
                <a:gd name="connsiteY645" fmla="*/ 98107 h 1218057"/>
                <a:gd name="connsiteX646" fmla="*/ 203740 w 1468659"/>
                <a:gd name="connsiteY646" fmla="*/ 104394 h 1218057"/>
                <a:gd name="connsiteX647" fmla="*/ 198977 w 1468659"/>
                <a:gd name="connsiteY647" fmla="*/ 105061 h 1218057"/>
                <a:gd name="connsiteX648" fmla="*/ 199453 w 1468659"/>
                <a:gd name="connsiteY648" fmla="*/ 108204 h 1218057"/>
                <a:gd name="connsiteX649" fmla="*/ 192500 w 1468659"/>
                <a:gd name="connsiteY649" fmla="*/ 104299 h 1218057"/>
                <a:gd name="connsiteX650" fmla="*/ 186023 w 1468659"/>
                <a:gd name="connsiteY650" fmla="*/ 103442 h 1218057"/>
                <a:gd name="connsiteX651" fmla="*/ 182499 w 1468659"/>
                <a:gd name="connsiteY651" fmla="*/ 113538 h 1218057"/>
                <a:gd name="connsiteX652" fmla="*/ 180880 w 1468659"/>
                <a:gd name="connsiteY652" fmla="*/ 113729 h 1218057"/>
                <a:gd name="connsiteX653" fmla="*/ 180880 w 1468659"/>
                <a:gd name="connsiteY653" fmla="*/ 113729 h 1218057"/>
                <a:gd name="connsiteX654" fmla="*/ 170974 w 1468659"/>
                <a:gd name="connsiteY654" fmla="*/ 111823 h 1218057"/>
                <a:gd name="connsiteX655" fmla="*/ 169259 w 1468659"/>
                <a:gd name="connsiteY655" fmla="*/ 110395 h 1218057"/>
                <a:gd name="connsiteX656" fmla="*/ 165925 w 1468659"/>
                <a:gd name="connsiteY656" fmla="*/ 109252 h 1218057"/>
                <a:gd name="connsiteX657" fmla="*/ 164687 w 1468659"/>
                <a:gd name="connsiteY657" fmla="*/ 112585 h 1218057"/>
                <a:gd name="connsiteX658" fmla="*/ 160401 w 1468659"/>
                <a:gd name="connsiteY658" fmla="*/ 116396 h 1218057"/>
                <a:gd name="connsiteX659" fmla="*/ 159163 w 1468659"/>
                <a:gd name="connsiteY659" fmla="*/ 119729 h 1218057"/>
                <a:gd name="connsiteX660" fmla="*/ 164306 w 1468659"/>
                <a:gd name="connsiteY660" fmla="*/ 122301 h 1218057"/>
                <a:gd name="connsiteX661" fmla="*/ 164782 w 1468659"/>
                <a:gd name="connsiteY661" fmla="*/ 125444 h 1218057"/>
                <a:gd name="connsiteX662" fmla="*/ 163544 w 1468659"/>
                <a:gd name="connsiteY662" fmla="*/ 128778 h 1218057"/>
                <a:gd name="connsiteX663" fmla="*/ 160211 w 1468659"/>
                <a:gd name="connsiteY663" fmla="*/ 127635 h 1218057"/>
                <a:gd name="connsiteX664" fmla="*/ 159067 w 1468659"/>
                <a:gd name="connsiteY664" fmla="*/ 130969 h 1218057"/>
                <a:gd name="connsiteX665" fmla="*/ 155829 w 1468659"/>
                <a:gd name="connsiteY665" fmla="*/ 131350 h 1218057"/>
                <a:gd name="connsiteX666" fmla="*/ 157829 w 1468659"/>
                <a:gd name="connsiteY666" fmla="*/ 134302 h 1218057"/>
                <a:gd name="connsiteX667" fmla="*/ 156496 w 1468659"/>
                <a:gd name="connsiteY667" fmla="*/ 136112 h 1218057"/>
                <a:gd name="connsiteX668" fmla="*/ 157258 w 1468659"/>
                <a:gd name="connsiteY668" fmla="*/ 142399 h 1218057"/>
                <a:gd name="connsiteX669" fmla="*/ 160592 w 1468659"/>
                <a:gd name="connsiteY669" fmla="*/ 143637 h 1218057"/>
                <a:gd name="connsiteX670" fmla="*/ 163830 w 1468659"/>
                <a:gd name="connsiteY670" fmla="*/ 143161 h 1218057"/>
                <a:gd name="connsiteX671" fmla="*/ 164021 w 1468659"/>
                <a:gd name="connsiteY671" fmla="*/ 144780 h 1218057"/>
                <a:gd name="connsiteX672" fmla="*/ 163830 w 1468659"/>
                <a:gd name="connsiteY672" fmla="*/ 143161 h 1218057"/>
                <a:gd name="connsiteX673" fmla="*/ 170307 w 1468659"/>
                <a:gd name="connsiteY673" fmla="*/ 144018 h 1218057"/>
                <a:gd name="connsiteX674" fmla="*/ 170497 w 1468659"/>
                <a:gd name="connsiteY674" fmla="*/ 145542 h 1218057"/>
                <a:gd name="connsiteX675" fmla="*/ 164021 w 1468659"/>
                <a:gd name="connsiteY675" fmla="*/ 144780 h 1218057"/>
                <a:gd name="connsiteX676" fmla="*/ 165925 w 1468659"/>
                <a:gd name="connsiteY676" fmla="*/ 147733 h 1218057"/>
                <a:gd name="connsiteX677" fmla="*/ 164782 w 1468659"/>
                <a:gd name="connsiteY677" fmla="*/ 151067 h 1218057"/>
                <a:gd name="connsiteX678" fmla="*/ 165925 w 1468659"/>
                <a:gd name="connsiteY678" fmla="*/ 147733 h 1218057"/>
                <a:gd name="connsiteX679" fmla="*/ 167545 w 1468659"/>
                <a:gd name="connsiteY679" fmla="*/ 147542 h 1218057"/>
                <a:gd name="connsiteX680" fmla="*/ 167926 w 1468659"/>
                <a:gd name="connsiteY680" fmla="*/ 150685 h 1218057"/>
                <a:gd name="connsiteX681" fmla="*/ 165163 w 1468659"/>
                <a:gd name="connsiteY681" fmla="*/ 154210 h 1218057"/>
                <a:gd name="connsiteX682" fmla="*/ 168402 w 1468659"/>
                <a:gd name="connsiteY682" fmla="*/ 153829 h 1218057"/>
                <a:gd name="connsiteX683" fmla="*/ 167164 w 1468659"/>
                <a:gd name="connsiteY683" fmla="*/ 157163 h 1218057"/>
                <a:gd name="connsiteX684" fmla="*/ 169545 w 1468659"/>
                <a:gd name="connsiteY684" fmla="*/ 163354 h 1218057"/>
                <a:gd name="connsiteX685" fmla="*/ 166592 w 1468659"/>
                <a:gd name="connsiteY685" fmla="*/ 165259 h 1218057"/>
                <a:gd name="connsiteX686" fmla="*/ 165640 w 1468659"/>
                <a:gd name="connsiteY686" fmla="*/ 170212 h 1218057"/>
                <a:gd name="connsiteX687" fmla="*/ 168973 w 1468659"/>
                <a:gd name="connsiteY687" fmla="*/ 171355 h 1218057"/>
                <a:gd name="connsiteX688" fmla="*/ 167640 w 1468659"/>
                <a:gd name="connsiteY688" fmla="*/ 173164 h 1218057"/>
                <a:gd name="connsiteX689" fmla="*/ 168021 w 1468659"/>
                <a:gd name="connsiteY689" fmla="*/ 176308 h 1218057"/>
                <a:gd name="connsiteX690" fmla="*/ 166878 w 1468659"/>
                <a:gd name="connsiteY690" fmla="*/ 179642 h 1218057"/>
                <a:gd name="connsiteX691" fmla="*/ 168592 w 1468659"/>
                <a:gd name="connsiteY691" fmla="*/ 181070 h 1218057"/>
                <a:gd name="connsiteX692" fmla="*/ 170783 w 1468659"/>
                <a:gd name="connsiteY692" fmla="*/ 185642 h 1218057"/>
                <a:gd name="connsiteX693" fmla="*/ 172402 w 1468659"/>
                <a:gd name="connsiteY693" fmla="*/ 185452 h 1218057"/>
                <a:gd name="connsiteX694" fmla="*/ 172784 w 1468659"/>
                <a:gd name="connsiteY694" fmla="*/ 188595 h 1218057"/>
                <a:gd name="connsiteX695" fmla="*/ 174593 w 1468659"/>
                <a:gd name="connsiteY695" fmla="*/ 189929 h 1218057"/>
                <a:gd name="connsiteX696" fmla="*/ 174974 w 1468659"/>
                <a:gd name="connsiteY696" fmla="*/ 193072 h 1218057"/>
                <a:gd name="connsiteX697" fmla="*/ 178117 w 1468659"/>
                <a:gd name="connsiteY697" fmla="*/ 192691 h 1218057"/>
                <a:gd name="connsiteX698" fmla="*/ 178308 w 1468659"/>
                <a:gd name="connsiteY698" fmla="*/ 194310 h 1218057"/>
                <a:gd name="connsiteX699" fmla="*/ 175165 w 1468659"/>
                <a:gd name="connsiteY699" fmla="*/ 194691 h 1218057"/>
                <a:gd name="connsiteX700" fmla="*/ 177165 w 1468659"/>
                <a:gd name="connsiteY700" fmla="*/ 197644 h 1218057"/>
                <a:gd name="connsiteX701" fmla="*/ 185261 w 1468659"/>
                <a:gd name="connsiteY701" fmla="*/ 198215 h 1218057"/>
                <a:gd name="connsiteX702" fmla="*/ 185452 w 1468659"/>
                <a:gd name="connsiteY702" fmla="*/ 199739 h 1218057"/>
                <a:gd name="connsiteX703" fmla="*/ 182309 w 1468659"/>
                <a:gd name="connsiteY703" fmla="*/ 200215 h 1218057"/>
                <a:gd name="connsiteX704" fmla="*/ 175736 w 1468659"/>
                <a:gd name="connsiteY704" fmla="*/ 199358 h 1218057"/>
                <a:gd name="connsiteX705" fmla="*/ 173165 w 1468659"/>
                <a:gd name="connsiteY705" fmla="*/ 204502 h 1218057"/>
                <a:gd name="connsiteX706" fmla="*/ 174974 w 1468659"/>
                <a:gd name="connsiteY706" fmla="*/ 205930 h 1218057"/>
                <a:gd name="connsiteX707" fmla="*/ 173450 w 1468659"/>
                <a:gd name="connsiteY707" fmla="*/ 206121 h 1218057"/>
                <a:gd name="connsiteX708" fmla="*/ 169450 w 1468659"/>
                <a:gd name="connsiteY708" fmla="*/ 213074 h 1218057"/>
                <a:gd name="connsiteX709" fmla="*/ 166306 w 1468659"/>
                <a:gd name="connsiteY709" fmla="*/ 213455 h 1218057"/>
                <a:gd name="connsiteX710" fmla="*/ 168116 w 1468659"/>
                <a:gd name="connsiteY710" fmla="*/ 214789 h 1218057"/>
                <a:gd name="connsiteX711" fmla="*/ 165544 w 1468659"/>
                <a:gd name="connsiteY711" fmla="*/ 219932 h 1218057"/>
                <a:gd name="connsiteX712" fmla="*/ 166402 w 1468659"/>
                <a:gd name="connsiteY712" fmla="*/ 226219 h 1218057"/>
                <a:gd name="connsiteX713" fmla="*/ 168116 w 1468659"/>
                <a:gd name="connsiteY713" fmla="*/ 227647 h 1218057"/>
                <a:gd name="connsiteX714" fmla="*/ 164211 w 1468659"/>
                <a:gd name="connsiteY714" fmla="*/ 234505 h 1218057"/>
                <a:gd name="connsiteX715" fmla="*/ 162592 w 1468659"/>
                <a:gd name="connsiteY715" fmla="*/ 234791 h 1218057"/>
                <a:gd name="connsiteX716" fmla="*/ 163068 w 1468659"/>
                <a:gd name="connsiteY716" fmla="*/ 237934 h 1218057"/>
                <a:gd name="connsiteX717" fmla="*/ 164592 w 1468659"/>
                <a:gd name="connsiteY717" fmla="*/ 237744 h 1218057"/>
                <a:gd name="connsiteX718" fmla="*/ 163259 w 1468659"/>
                <a:gd name="connsiteY718" fmla="*/ 239459 h 1218057"/>
                <a:gd name="connsiteX719" fmla="*/ 164782 w 1468659"/>
                <a:gd name="connsiteY719" fmla="*/ 239268 h 1218057"/>
                <a:gd name="connsiteX720" fmla="*/ 163449 w 1468659"/>
                <a:gd name="connsiteY720" fmla="*/ 241078 h 1218057"/>
                <a:gd name="connsiteX721" fmla="*/ 167354 w 1468659"/>
                <a:gd name="connsiteY721" fmla="*/ 246983 h 1218057"/>
                <a:gd name="connsiteX722" fmla="*/ 166402 w 1468659"/>
                <a:gd name="connsiteY722" fmla="*/ 251936 h 1218057"/>
                <a:gd name="connsiteX723" fmla="*/ 171926 w 1468659"/>
                <a:gd name="connsiteY723" fmla="*/ 257651 h 1218057"/>
                <a:gd name="connsiteX724" fmla="*/ 173926 w 1468659"/>
                <a:gd name="connsiteY724" fmla="*/ 260604 h 1218057"/>
                <a:gd name="connsiteX725" fmla="*/ 170974 w 1468659"/>
                <a:gd name="connsiteY725" fmla="*/ 262604 h 1218057"/>
                <a:gd name="connsiteX726" fmla="*/ 174307 w 1468659"/>
                <a:gd name="connsiteY726" fmla="*/ 263747 h 1218057"/>
                <a:gd name="connsiteX727" fmla="*/ 171164 w 1468659"/>
                <a:gd name="connsiteY727" fmla="*/ 264128 h 1218057"/>
                <a:gd name="connsiteX728" fmla="*/ 171355 w 1468659"/>
                <a:gd name="connsiteY728" fmla="*/ 265747 h 1218057"/>
                <a:gd name="connsiteX729" fmla="*/ 174498 w 1468659"/>
                <a:gd name="connsiteY729" fmla="*/ 265271 h 1218057"/>
                <a:gd name="connsiteX730" fmla="*/ 178308 w 1468659"/>
                <a:gd name="connsiteY730" fmla="*/ 269653 h 1218057"/>
                <a:gd name="connsiteX731" fmla="*/ 181261 w 1468659"/>
                <a:gd name="connsiteY731" fmla="*/ 267652 h 1218057"/>
                <a:gd name="connsiteX732" fmla="*/ 180118 w 1468659"/>
                <a:gd name="connsiteY732" fmla="*/ 270986 h 1218057"/>
                <a:gd name="connsiteX733" fmla="*/ 183451 w 1468659"/>
                <a:gd name="connsiteY733" fmla="*/ 272225 h 1218057"/>
                <a:gd name="connsiteX734" fmla="*/ 182690 w 1468659"/>
                <a:gd name="connsiteY734" fmla="*/ 278701 h 1218057"/>
                <a:gd name="connsiteX735" fmla="*/ 184594 w 1468659"/>
                <a:gd name="connsiteY735" fmla="*/ 281654 h 1218057"/>
                <a:gd name="connsiteX736" fmla="*/ 181261 w 1468659"/>
                <a:gd name="connsiteY736" fmla="*/ 280511 h 1218057"/>
                <a:gd name="connsiteX737" fmla="*/ 181642 w 1468659"/>
                <a:gd name="connsiteY737" fmla="*/ 283655 h 1218057"/>
                <a:gd name="connsiteX738" fmla="*/ 180118 w 1468659"/>
                <a:gd name="connsiteY738" fmla="*/ 283845 h 1218057"/>
                <a:gd name="connsiteX739" fmla="*/ 176022 w 1468659"/>
                <a:gd name="connsiteY739" fmla="*/ 289179 h 1218057"/>
                <a:gd name="connsiteX740" fmla="*/ 177736 w 1468659"/>
                <a:gd name="connsiteY740" fmla="*/ 290513 h 1218057"/>
                <a:gd name="connsiteX741" fmla="*/ 180308 w 1468659"/>
                <a:gd name="connsiteY741" fmla="*/ 285464 h 1218057"/>
                <a:gd name="connsiteX742" fmla="*/ 181356 w 1468659"/>
                <a:gd name="connsiteY742" fmla="*/ 293275 h 1218057"/>
                <a:gd name="connsiteX743" fmla="*/ 183071 w 1468659"/>
                <a:gd name="connsiteY743" fmla="*/ 294704 h 1218057"/>
                <a:gd name="connsiteX744" fmla="*/ 175165 w 1468659"/>
                <a:gd name="connsiteY744" fmla="*/ 295656 h 1218057"/>
                <a:gd name="connsiteX745" fmla="*/ 171450 w 1468659"/>
                <a:gd name="connsiteY745" fmla="*/ 304229 h 1218057"/>
                <a:gd name="connsiteX746" fmla="*/ 169164 w 1468659"/>
                <a:gd name="connsiteY746" fmla="*/ 310896 h 1218057"/>
                <a:gd name="connsiteX747" fmla="*/ 171069 w 1468659"/>
                <a:gd name="connsiteY747" fmla="*/ 313849 h 1218057"/>
                <a:gd name="connsiteX748" fmla="*/ 167926 w 1468659"/>
                <a:gd name="connsiteY748" fmla="*/ 314230 h 1218057"/>
                <a:gd name="connsiteX749" fmla="*/ 170497 w 1468659"/>
                <a:gd name="connsiteY749" fmla="*/ 321945 h 1218057"/>
                <a:gd name="connsiteX750" fmla="*/ 169354 w 1468659"/>
                <a:gd name="connsiteY750" fmla="*/ 325279 h 1218057"/>
                <a:gd name="connsiteX751" fmla="*/ 168021 w 1468659"/>
                <a:gd name="connsiteY751" fmla="*/ 327088 h 1218057"/>
                <a:gd name="connsiteX752" fmla="*/ 159639 w 1468659"/>
                <a:gd name="connsiteY752" fmla="*/ 324898 h 1218057"/>
                <a:gd name="connsiteX753" fmla="*/ 155162 w 1468659"/>
                <a:gd name="connsiteY753" fmla="*/ 327088 h 1218057"/>
                <a:gd name="connsiteX754" fmla="*/ 154210 w 1468659"/>
                <a:gd name="connsiteY754" fmla="*/ 332042 h 1218057"/>
                <a:gd name="connsiteX755" fmla="*/ 151067 w 1468659"/>
                <a:gd name="connsiteY755" fmla="*/ 332422 h 1218057"/>
                <a:gd name="connsiteX756" fmla="*/ 146494 w 1468659"/>
                <a:gd name="connsiteY756" fmla="*/ 334613 h 1218057"/>
                <a:gd name="connsiteX757" fmla="*/ 144494 w 1468659"/>
                <a:gd name="connsiteY757" fmla="*/ 344519 h 1218057"/>
                <a:gd name="connsiteX758" fmla="*/ 136017 w 1468659"/>
                <a:gd name="connsiteY758" fmla="*/ 340805 h 1218057"/>
                <a:gd name="connsiteX759" fmla="*/ 139065 w 1468659"/>
                <a:gd name="connsiteY759" fmla="*/ 351663 h 1218057"/>
                <a:gd name="connsiteX760" fmla="*/ 136112 w 1468659"/>
                <a:gd name="connsiteY760" fmla="*/ 353568 h 1218057"/>
                <a:gd name="connsiteX761" fmla="*/ 134493 w 1468659"/>
                <a:gd name="connsiteY761" fmla="*/ 353759 h 1218057"/>
                <a:gd name="connsiteX762" fmla="*/ 138684 w 1468659"/>
                <a:gd name="connsiteY762" fmla="*/ 361283 h 1218057"/>
                <a:gd name="connsiteX763" fmla="*/ 141827 w 1468659"/>
                <a:gd name="connsiteY763" fmla="*/ 360902 h 1218057"/>
                <a:gd name="connsiteX764" fmla="*/ 145161 w 1468659"/>
                <a:gd name="connsiteY764" fmla="*/ 362045 h 1218057"/>
                <a:gd name="connsiteX765" fmla="*/ 144399 w 1468659"/>
                <a:gd name="connsiteY765" fmla="*/ 368617 h 1218057"/>
                <a:gd name="connsiteX766" fmla="*/ 141446 w 1468659"/>
                <a:gd name="connsiteY766" fmla="*/ 370522 h 1218057"/>
                <a:gd name="connsiteX767" fmla="*/ 140684 w 1468659"/>
                <a:gd name="connsiteY767" fmla="*/ 377095 h 1218057"/>
                <a:gd name="connsiteX768" fmla="*/ 137541 w 1468659"/>
                <a:gd name="connsiteY768" fmla="*/ 377476 h 1218057"/>
                <a:gd name="connsiteX769" fmla="*/ 134398 w 1468659"/>
                <a:gd name="connsiteY769" fmla="*/ 377857 h 1218057"/>
                <a:gd name="connsiteX770" fmla="*/ 130588 w 1468659"/>
                <a:gd name="connsiteY770" fmla="*/ 373571 h 1218057"/>
                <a:gd name="connsiteX771" fmla="*/ 126111 w 1468659"/>
                <a:gd name="connsiteY771" fmla="*/ 375761 h 1218057"/>
                <a:gd name="connsiteX772" fmla="*/ 119539 w 1468659"/>
                <a:gd name="connsiteY772" fmla="*/ 374999 h 1218057"/>
                <a:gd name="connsiteX773" fmla="*/ 118205 w 1468659"/>
                <a:gd name="connsiteY773" fmla="*/ 376714 h 1218057"/>
                <a:gd name="connsiteX774" fmla="*/ 121729 w 1468659"/>
                <a:gd name="connsiteY774" fmla="*/ 379476 h 1218057"/>
                <a:gd name="connsiteX775" fmla="*/ 121348 w 1468659"/>
                <a:gd name="connsiteY775" fmla="*/ 389192 h 1218057"/>
                <a:gd name="connsiteX776" fmla="*/ 124301 w 1468659"/>
                <a:gd name="connsiteY776" fmla="*/ 400050 h 1218057"/>
                <a:gd name="connsiteX777" fmla="*/ 127540 w 1468659"/>
                <a:gd name="connsiteY777" fmla="*/ 399574 h 1218057"/>
                <a:gd name="connsiteX778" fmla="*/ 129254 w 1468659"/>
                <a:gd name="connsiteY778" fmla="*/ 401002 h 1218057"/>
                <a:gd name="connsiteX779" fmla="*/ 138970 w 1468659"/>
                <a:gd name="connsiteY779" fmla="*/ 401384 h 1218057"/>
                <a:gd name="connsiteX780" fmla="*/ 141922 w 1468659"/>
                <a:gd name="connsiteY780" fmla="*/ 399383 h 1218057"/>
                <a:gd name="connsiteX781" fmla="*/ 143923 w 1468659"/>
                <a:gd name="connsiteY781" fmla="*/ 402336 h 1218057"/>
                <a:gd name="connsiteX782" fmla="*/ 140684 w 1468659"/>
                <a:gd name="connsiteY782" fmla="*/ 402717 h 1218057"/>
                <a:gd name="connsiteX783" fmla="*/ 133636 w 1468659"/>
                <a:gd name="connsiteY783" fmla="*/ 410051 h 1218057"/>
                <a:gd name="connsiteX784" fmla="*/ 133826 w 1468659"/>
                <a:gd name="connsiteY784" fmla="*/ 411575 h 1218057"/>
                <a:gd name="connsiteX785" fmla="*/ 137827 w 1468659"/>
                <a:gd name="connsiteY785" fmla="*/ 417576 h 1218057"/>
                <a:gd name="connsiteX786" fmla="*/ 136207 w 1468659"/>
                <a:gd name="connsiteY786" fmla="*/ 417767 h 1218057"/>
                <a:gd name="connsiteX787" fmla="*/ 129730 w 1468659"/>
                <a:gd name="connsiteY787" fmla="*/ 417005 h 1218057"/>
                <a:gd name="connsiteX788" fmla="*/ 129540 w 1468659"/>
                <a:gd name="connsiteY788" fmla="*/ 415385 h 1218057"/>
                <a:gd name="connsiteX789" fmla="*/ 124396 w 1468659"/>
                <a:gd name="connsiteY789" fmla="*/ 412813 h 1218057"/>
                <a:gd name="connsiteX790" fmla="*/ 123444 w 1468659"/>
                <a:gd name="connsiteY790" fmla="*/ 417767 h 1218057"/>
                <a:gd name="connsiteX791" fmla="*/ 125158 w 1468659"/>
                <a:gd name="connsiteY791" fmla="*/ 419100 h 1218057"/>
                <a:gd name="connsiteX792" fmla="*/ 126016 w 1468659"/>
                <a:gd name="connsiteY792" fmla="*/ 425482 h 1218057"/>
                <a:gd name="connsiteX793" fmla="*/ 119253 w 1468659"/>
                <a:gd name="connsiteY793" fmla="*/ 423100 h 1218057"/>
                <a:gd name="connsiteX794" fmla="*/ 113538 w 1468659"/>
                <a:gd name="connsiteY794" fmla="*/ 428625 h 1218057"/>
                <a:gd name="connsiteX795" fmla="*/ 115348 w 1468659"/>
                <a:gd name="connsiteY795" fmla="*/ 430054 h 1218057"/>
                <a:gd name="connsiteX796" fmla="*/ 115729 w 1468659"/>
                <a:gd name="connsiteY796" fmla="*/ 433197 h 1218057"/>
                <a:gd name="connsiteX797" fmla="*/ 112395 w 1468659"/>
                <a:gd name="connsiteY797" fmla="*/ 431959 h 1218057"/>
                <a:gd name="connsiteX798" fmla="*/ 110966 w 1468659"/>
                <a:gd name="connsiteY798" fmla="*/ 433768 h 1218057"/>
                <a:gd name="connsiteX799" fmla="*/ 111633 w 1468659"/>
                <a:gd name="connsiteY799" fmla="*/ 438531 h 1218057"/>
                <a:gd name="connsiteX800" fmla="*/ 114776 w 1468659"/>
                <a:gd name="connsiteY800" fmla="*/ 438150 h 1218057"/>
                <a:gd name="connsiteX801" fmla="*/ 113157 w 1468659"/>
                <a:gd name="connsiteY801" fmla="*/ 438340 h 1218057"/>
                <a:gd name="connsiteX802" fmla="*/ 114014 w 1468659"/>
                <a:gd name="connsiteY802" fmla="*/ 444627 h 1218057"/>
                <a:gd name="connsiteX803" fmla="*/ 116776 w 1468659"/>
                <a:gd name="connsiteY803" fmla="*/ 441103 h 1218057"/>
                <a:gd name="connsiteX804" fmla="*/ 116396 w 1468659"/>
                <a:gd name="connsiteY804" fmla="*/ 450723 h 1218057"/>
                <a:gd name="connsiteX805" fmla="*/ 124682 w 1468659"/>
                <a:gd name="connsiteY805" fmla="*/ 452914 h 1218057"/>
                <a:gd name="connsiteX806" fmla="*/ 126206 w 1468659"/>
                <a:gd name="connsiteY806" fmla="*/ 452723 h 1218057"/>
                <a:gd name="connsiteX807" fmla="*/ 125063 w 1468659"/>
                <a:gd name="connsiteY807" fmla="*/ 456057 h 1218057"/>
                <a:gd name="connsiteX808" fmla="*/ 128397 w 1468659"/>
                <a:gd name="connsiteY808" fmla="*/ 457200 h 1218057"/>
                <a:gd name="connsiteX809" fmla="*/ 129445 w 1468659"/>
                <a:gd name="connsiteY809" fmla="*/ 465106 h 1218057"/>
                <a:gd name="connsiteX810" fmla="*/ 132017 w 1468659"/>
                <a:gd name="connsiteY810" fmla="*/ 472821 h 1218057"/>
                <a:gd name="connsiteX811" fmla="*/ 127730 w 1468659"/>
                <a:gd name="connsiteY811" fmla="*/ 476536 h 1218057"/>
                <a:gd name="connsiteX812" fmla="*/ 122587 w 1468659"/>
                <a:gd name="connsiteY812" fmla="*/ 473964 h 1218057"/>
                <a:gd name="connsiteX813" fmla="*/ 119348 w 1468659"/>
                <a:gd name="connsiteY813" fmla="*/ 474440 h 1218057"/>
                <a:gd name="connsiteX814" fmla="*/ 112490 w 1468659"/>
                <a:gd name="connsiteY814" fmla="*/ 483298 h 1218057"/>
                <a:gd name="connsiteX815" fmla="*/ 113157 w 1468659"/>
                <a:gd name="connsiteY815" fmla="*/ 500825 h 1218057"/>
                <a:gd name="connsiteX816" fmla="*/ 113347 w 1468659"/>
                <a:gd name="connsiteY816" fmla="*/ 502444 h 1218057"/>
                <a:gd name="connsiteX817" fmla="*/ 108775 w 1468659"/>
                <a:gd name="connsiteY817" fmla="*/ 504634 h 1218057"/>
                <a:gd name="connsiteX818" fmla="*/ 110776 w 1468659"/>
                <a:gd name="connsiteY818" fmla="*/ 507587 h 1218057"/>
                <a:gd name="connsiteX819" fmla="*/ 112204 w 1468659"/>
                <a:gd name="connsiteY819" fmla="*/ 505777 h 1218057"/>
                <a:gd name="connsiteX820" fmla="*/ 112395 w 1468659"/>
                <a:gd name="connsiteY820" fmla="*/ 507397 h 1218057"/>
                <a:gd name="connsiteX821" fmla="*/ 115348 w 1468659"/>
                <a:gd name="connsiteY821" fmla="*/ 505396 h 1218057"/>
                <a:gd name="connsiteX822" fmla="*/ 115538 w 1468659"/>
                <a:gd name="connsiteY822" fmla="*/ 507016 h 1218057"/>
                <a:gd name="connsiteX823" fmla="*/ 112776 w 1468659"/>
                <a:gd name="connsiteY823" fmla="*/ 510540 h 1218057"/>
                <a:gd name="connsiteX824" fmla="*/ 111633 w 1468659"/>
                <a:gd name="connsiteY824" fmla="*/ 513874 h 1218057"/>
                <a:gd name="connsiteX825" fmla="*/ 110966 w 1468659"/>
                <a:gd name="connsiteY825" fmla="*/ 509111 h 1218057"/>
                <a:gd name="connsiteX826" fmla="*/ 109442 w 1468659"/>
                <a:gd name="connsiteY826" fmla="*/ 509397 h 1218057"/>
                <a:gd name="connsiteX827" fmla="*/ 105823 w 1468659"/>
                <a:gd name="connsiteY827" fmla="*/ 506635 h 1218057"/>
                <a:gd name="connsiteX828" fmla="*/ 103061 w 1468659"/>
                <a:gd name="connsiteY828" fmla="*/ 510159 h 1218057"/>
                <a:gd name="connsiteX829" fmla="*/ 101346 w 1468659"/>
                <a:gd name="connsiteY829" fmla="*/ 508825 h 1218057"/>
                <a:gd name="connsiteX830" fmla="*/ 96965 w 1468659"/>
                <a:gd name="connsiteY830" fmla="*/ 512540 h 1218057"/>
                <a:gd name="connsiteX831" fmla="*/ 88868 w 1468659"/>
                <a:gd name="connsiteY831" fmla="*/ 511969 h 1218057"/>
                <a:gd name="connsiteX832" fmla="*/ 89535 w 1468659"/>
                <a:gd name="connsiteY832" fmla="*/ 516731 h 1218057"/>
                <a:gd name="connsiteX833" fmla="*/ 86582 w 1468659"/>
                <a:gd name="connsiteY833" fmla="*/ 518731 h 1218057"/>
                <a:gd name="connsiteX834" fmla="*/ 86963 w 1468659"/>
                <a:gd name="connsiteY834" fmla="*/ 521875 h 1218057"/>
                <a:gd name="connsiteX835" fmla="*/ 84011 w 1468659"/>
                <a:gd name="connsiteY835" fmla="*/ 523780 h 1218057"/>
                <a:gd name="connsiteX836" fmla="*/ 79057 w 1468659"/>
                <a:gd name="connsiteY836" fmla="*/ 522827 h 1218057"/>
                <a:gd name="connsiteX837" fmla="*/ 78105 w 1468659"/>
                <a:gd name="connsiteY837" fmla="*/ 527780 h 1218057"/>
                <a:gd name="connsiteX838" fmla="*/ 68008 w 1468659"/>
                <a:gd name="connsiteY838" fmla="*/ 537115 h 1218057"/>
                <a:gd name="connsiteX839" fmla="*/ 66103 w 1468659"/>
                <a:gd name="connsiteY839" fmla="*/ 534162 h 1218057"/>
                <a:gd name="connsiteX840" fmla="*/ 64103 w 1468659"/>
                <a:gd name="connsiteY840" fmla="*/ 531209 h 1218057"/>
                <a:gd name="connsiteX841" fmla="*/ 59341 w 1468659"/>
                <a:gd name="connsiteY841" fmla="*/ 531781 h 1218057"/>
                <a:gd name="connsiteX842" fmla="*/ 50863 w 1468659"/>
                <a:gd name="connsiteY842" fmla="*/ 528066 h 1218057"/>
                <a:gd name="connsiteX843" fmla="*/ 53816 w 1468659"/>
                <a:gd name="connsiteY843" fmla="*/ 526066 h 1218057"/>
                <a:gd name="connsiteX844" fmla="*/ 53626 w 1468659"/>
                <a:gd name="connsiteY844" fmla="*/ 524447 h 1218057"/>
                <a:gd name="connsiteX845" fmla="*/ 40576 w 1468659"/>
                <a:gd name="connsiteY845" fmla="*/ 522922 h 1218057"/>
                <a:gd name="connsiteX846" fmla="*/ 39243 w 1468659"/>
                <a:gd name="connsiteY846" fmla="*/ 524732 h 1218057"/>
                <a:gd name="connsiteX847" fmla="*/ 39433 w 1468659"/>
                <a:gd name="connsiteY847" fmla="*/ 526256 h 1218057"/>
                <a:gd name="connsiteX848" fmla="*/ 46101 w 1468659"/>
                <a:gd name="connsiteY848" fmla="*/ 528638 h 1218057"/>
                <a:gd name="connsiteX849" fmla="*/ 48101 w 1468659"/>
                <a:gd name="connsiteY849" fmla="*/ 531590 h 1218057"/>
                <a:gd name="connsiteX850" fmla="*/ 46768 w 1468659"/>
                <a:gd name="connsiteY850" fmla="*/ 533400 h 1218057"/>
                <a:gd name="connsiteX851" fmla="*/ 43720 w 1468659"/>
                <a:gd name="connsiteY851" fmla="*/ 535400 h 1218057"/>
                <a:gd name="connsiteX852" fmla="*/ 41434 w 1468659"/>
                <a:gd name="connsiteY852" fmla="*/ 542068 h 1218057"/>
                <a:gd name="connsiteX853" fmla="*/ 41624 w 1468659"/>
                <a:gd name="connsiteY853" fmla="*/ 543687 h 1218057"/>
                <a:gd name="connsiteX854" fmla="*/ 40481 w 1468659"/>
                <a:gd name="connsiteY854" fmla="*/ 547021 h 1218057"/>
                <a:gd name="connsiteX855" fmla="*/ 39433 w 1468659"/>
                <a:gd name="connsiteY855" fmla="*/ 551974 h 1218057"/>
                <a:gd name="connsiteX856" fmla="*/ 42863 w 1468659"/>
                <a:gd name="connsiteY856" fmla="*/ 553117 h 1218057"/>
                <a:gd name="connsiteX857" fmla="*/ 44386 w 1468659"/>
                <a:gd name="connsiteY857" fmla="*/ 565785 h 1218057"/>
                <a:gd name="connsiteX858" fmla="*/ 43244 w 1468659"/>
                <a:gd name="connsiteY858" fmla="*/ 569119 h 1218057"/>
                <a:gd name="connsiteX859" fmla="*/ 32385 w 1468659"/>
                <a:gd name="connsiteY859" fmla="*/ 572072 h 1218057"/>
                <a:gd name="connsiteX860" fmla="*/ 32575 w 1468659"/>
                <a:gd name="connsiteY860" fmla="*/ 573691 h 1218057"/>
                <a:gd name="connsiteX861" fmla="*/ 35433 w 1468659"/>
                <a:gd name="connsiteY861" fmla="*/ 582930 h 1218057"/>
                <a:gd name="connsiteX862" fmla="*/ 42481 w 1468659"/>
                <a:gd name="connsiteY862" fmla="*/ 588455 h 1218057"/>
                <a:gd name="connsiteX863" fmla="*/ 44482 w 1468659"/>
                <a:gd name="connsiteY863" fmla="*/ 591407 h 1218057"/>
                <a:gd name="connsiteX864" fmla="*/ 42386 w 1468659"/>
                <a:gd name="connsiteY864" fmla="*/ 599694 h 1218057"/>
                <a:gd name="connsiteX865" fmla="*/ 50292 w 1468659"/>
                <a:gd name="connsiteY865" fmla="*/ 611505 h 1218057"/>
                <a:gd name="connsiteX866" fmla="*/ 51054 w 1468659"/>
                <a:gd name="connsiteY866" fmla="*/ 617792 h 1218057"/>
                <a:gd name="connsiteX867" fmla="*/ 49911 w 1468659"/>
                <a:gd name="connsiteY867" fmla="*/ 621221 h 1218057"/>
                <a:gd name="connsiteX868" fmla="*/ 47720 w 1468659"/>
                <a:gd name="connsiteY868" fmla="*/ 629507 h 1218057"/>
                <a:gd name="connsiteX869" fmla="*/ 34957 w 1468659"/>
                <a:gd name="connsiteY869" fmla="*/ 642366 h 1218057"/>
                <a:gd name="connsiteX870" fmla="*/ 31147 w 1468659"/>
                <a:gd name="connsiteY870" fmla="*/ 637984 h 1218057"/>
                <a:gd name="connsiteX871" fmla="*/ 27813 w 1468659"/>
                <a:gd name="connsiteY871" fmla="*/ 636842 h 1218057"/>
                <a:gd name="connsiteX872" fmla="*/ 25813 w 1468659"/>
                <a:gd name="connsiteY872" fmla="*/ 633889 h 1218057"/>
                <a:gd name="connsiteX873" fmla="*/ 24289 w 1468659"/>
                <a:gd name="connsiteY873" fmla="*/ 634079 h 1218057"/>
                <a:gd name="connsiteX874" fmla="*/ 24670 w 1468659"/>
                <a:gd name="connsiteY874" fmla="*/ 637222 h 1218057"/>
                <a:gd name="connsiteX875" fmla="*/ 15049 w 1468659"/>
                <a:gd name="connsiteY875" fmla="*/ 649700 h 1218057"/>
                <a:gd name="connsiteX876" fmla="*/ 13240 w 1468659"/>
                <a:gd name="connsiteY876" fmla="*/ 661130 h 1218057"/>
                <a:gd name="connsiteX877" fmla="*/ 5048 w 1468659"/>
                <a:gd name="connsiteY877" fmla="*/ 671798 h 1218057"/>
                <a:gd name="connsiteX878" fmla="*/ 7048 w 1468659"/>
                <a:gd name="connsiteY878" fmla="*/ 674751 h 1218057"/>
                <a:gd name="connsiteX879" fmla="*/ 6191 w 1468659"/>
                <a:gd name="connsiteY879" fmla="*/ 681228 h 1218057"/>
                <a:gd name="connsiteX880" fmla="*/ 6858 w 1468659"/>
                <a:gd name="connsiteY880" fmla="*/ 685990 h 1218057"/>
                <a:gd name="connsiteX881" fmla="*/ 1524 w 1468659"/>
                <a:gd name="connsiteY881" fmla="*/ 694658 h 1218057"/>
                <a:gd name="connsiteX882" fmla="*/ 2096 w 1468659"/>
                <a:gd name="connsiteY882" fmla="*/ 699421 h 1218057"/>
                <a:gd name="connsiteX883" fmla="*/ 0 w 1468659"/>
                <a:gd name="connsiteY883" fmla="*/ 707707 h 1218057"/>
                <a:gd name="connsiteX884" fmla="*/ 3905 w 1468659"/>
                <a:gd name="connsiteY884" fmla="*/ 713613 h 1218057"/>
                <a:gd name="connsiteX885" fmla="*/ 10668 w 1468659"/>
                <a:gd name="connsiteY885" fmla="*/ 715994 h 1218057"/>
                <a:gd name="connsiteX886" fmla="*/ 9715 w 1468659"/>
                <a:gd name="connsiteY886" fmla="*/ 720947 h 1218057"/>
                <a:gd name="connsiteX887" fmla="*/ 10668 w 1468659"/>
                <a:gd name="connsiteY887" fmla="*/ 728853 h 1218057"/>
                <a:gd name="connsiteX888" fmla="*/ 15621 w 1468659"/>
                <a:gd name="connsiteY888" fmla="*/ 729805 h 1218057"/>
                <a:gd name="connsiteX889" fmla="*/ 18383 w 1468659"/>
                <a:gd name="connsiteY889" fmla="*/ 726186 h 1218057"/>
                <a:gd name="connsiteX890" fmla="*/ 25527 w 1468659"/>
                <a:gd name="connsiteY890" fmla="*/ 731710 h 1218057"/>
                <a:gd name="connsiteX891" fmla="*/ 28289 w 1468659"/>
                <a:gd name="connsiteY891" fmla="*/ 728186 h 1218057"/>
                <a:gd name="connsiteX892" fmla="*/ 31242 w 1468659"/>
                <a:gd name="connsiteY892" fmla="*/ 726186 h 1218057"/>
                <a:gd name="connsiteX893" fmla="*/ 38957 w 1468659"/>
                <a:gd name="connsiteY893" fmla="*/ 736473 h 1218057"/>
                <a:gd name="connsiteX894" fmla="*/ 36767 w 1468659"/>
                <a:gd name="connsiteY894" fmla="*/ 744760 h 1218057"/>
                <a:gd name="connsiteX895" fmla="*/ 40957 w 1468659"/>
                <a:gd name="connsiteY895" fmla="*/ 752189 h 1218057"/>
                <a:gd name="connsiteX896" fmla="*/ 52006 w 1468659"/>
                <a:gd name="connsiteY896" fmla="*/ 763619 h 1218057"/>
                <a:gd name="connsiteX897" fmla="*/ 51435 w 1468659"/>
                <a:gd name="connsiteY897" fmla="*/ 758952 h 1218057"/>
                <a:gd name="connsiteX898" fmla="*/ 54388 w 1468659"/>
                <a:gd name="connsiteY898" fmla="*/ 756952 h 1218057"/>
                <a:gd name="connsiteX899" fmla="*/ 58483 w 1468659"/>
                <a:gd name="connsiteY899" fmla="*/ 751618 h 1218057"/>
                <a:gd name="connsiteX900" fmla="*/ 64960 w 1468659"/>
                <a:gd name="connsiteY900" fmla="*/ 752380 h 1218057"/>
                <a:gd name="connsiteX901" fmla="*/ 66770 w 1468659"/>
                <a:gd name="connsiteY901" fmla="*/ 753713 h 1218057"/>
                <a:gd name="connsiteX902" fmla="*/ 61055 w 1468659"/>
                <a:gd name="connsiteY902" fmla="*/ 759238 h 1218057"/>
                <a:gd name="connsiteX903" fmla="*/ 59912 w 1468659"/>
                <a:gd name="connsiteY903" fmla="*/ 762667 h 1218057"/>
                <a:gd name="connsiteX904" fmla="*/ 69818 w 1468659"/>
                <a:gd name="connsiteY904" fmla="*/ 777430 h 1218057"/>
                <a:gd name="connsiteX905" fmla="*/ 71247 w 1468659"/>
                <a:gd name="connsiteY905" fmla="*/ 788480 h 1218057"/>
                <a:gd name="connsiteX906" fmla="*/ 72771 w 1468659"/>
                <a:gd name="connsiteY906" fmla="*/ 788289 h 1218057"/>
                <a:gd name="connsiteX907" fmla="*/ 74771 w 1468659"/>
                <a:gd name="connsiteY907" fmla="*/ 791242 h 1218057"/>
                <a:gd name="connsiteX908" fmla="*/ 82486 w 1468659"/>
                <a:gd name="connsiteY908" fmla="*/ 814292 h 1218057"/>
                <a:gd name="connsiteX909" fmla="*/ 87630 w 1468659"/>
                <a:gd name="connsiteY909" fmla="*/ 816864 h 1218057"/>
                <a:gd name="connsiteX910" fmla="*/ 92773 w 1468659"/>
                <a:gd name="connsiteY910" fmla="*/ 819340 h 1218057"/>
                <a:gd name="connsiteX911" fmla="*/ 91630 w 1468659"/>
                <a:gd name="connsiteY911" fmla="*/ 822770 h 1218057"/>
                <a:gd name="connsiteX912" fmla="*/ 94202 w 1468659"/>
                <a:gd name="connsiteY912" fmla="*/ 830389 h 1218057"/>
                <a:gd name="connsiteX913" fmla="*/ 97726 w 1468659"/>
                <a:gd name="connsiteY913" fmla="*/ 833152 h 1218057"/>
                <a:gd name="connsiteX914" fmla="*/ 104108 w 1468659"/>
                <a:gd name="connsiteY914" fmla="*/ 832390 h 1218057"/>
                <a:gd name="connsiteX915" fmla="*/ 105823 w 1468659"/>
                <a:gd name="connsiteY915" fmla="*/ 833723 h 1218057"/>
                <a:gd name="connsiteX916" fmla="*/ 114871 w 1468659"/>
                <a:gd name="connsiteY916" fmla="*/ 829437 h 1218057"/>
                <a:gd name="connsiteX917" fmla="*/ 126778 w 1468659"/>
                <a:gd name="connsiteY917" fmla="*/ 834295 h 1218057"/>
                <a:gd name="connsiteX918" fmla="*/ 132683 w 1468659"/>
                <a:gd name="connsiteY918" fmla="*/ 830294 h 1218057"/>
                <a:gd name="connsiteX919" fmla="*/ 136779 w 1468659"/>
                <a:gd name="connsiteY919" fmla="*/ 824960 h 1218057"/>
                <a:gd name="connsiteX920" fmla="*/ 141922 w 1468659"/>
                <a:gd name="connsiteY920" fmla="*/ 827532 h 1218057"/>
                <a:gd name="connsiteX921" fmla="*/ 142970 w 1468659"/>
                <a:gd name="connsiteY921" fmla="*/ 835438 h 1218057"/>
                <a:gd name="connsiteX922" fmla="*/ 151067 w 1468659"/>
                <a:gd name="connsiteY922" fmla="*/ 848868 h 1218057"/>
                <a:gd name="connsiteX923" fmla="*/ 148685 w 1468659"/>
                <a:gd name="connsiteY923" fmla="*/ 855536 h 1218057"/>
                <a:gd name="connsiteX924" fmla="*/ 160020 w 1468659"/>
                <a:gd name="connsiteY924" fmla="*/ 881348 h 1218057"/>
                <a:gd name="connsiteX925" fmla="*/ 160401 w 1468659"/>
                <a:gd name="connsiteY925" fmla="*/ 884491 h 1218057"/>
                <a:gd name="connsiteX926" fmla="*/ 164401 w 1468659"/>
                <a:gd name="connsiteY926" fmla="*/ 890492 h 1218057"/>
                <a:gd name="connsiteX927" fmla="*/ 170688 w 1468659"/>
                <a:gd name="connsiteY927" fmla="*/ 889635 h 1218057"/>
                <a:gd name="connsiteX928" fmla="*/ 180594 w 1468659"/>
                <a:gd name="connsiteY928" fmla="*/ 891635 h 1218057"/>
                <a:gd name="connsiteX929" fmla="*/ 176594 w 1468659"/>
                <a:gd name="connsiteY929" fmla="*/ 898493 h 1218057"/>
                <a:gd name="connsiteX930" fmla="*/ 183737 w 1468659"/>
                <a:gd name="connsiteY930" fmla="*/ 904018 h 1218057"/>
                <a:gd name="connsiteX931" fmla="*/ 182975 w 1468659"/>
                <a:gd name="connsiteY931" fmla="*/ 910495 h 1218057"/>
                <a:gd name="connsiteX932" fmla="*/ 194881 w 1468659"/>
                <a:gd name="connsiteY932" fmla="*/ 928306 h 1218057"/>
                <a:gd name="connsiteX933" fmla="*/ 190405 w 1468659"/>
                <a:gd name="connsiteY933" fmla="*/ 943261 h 1218057"/>
                <a:gd name="connsiteX934" fmla="*/ 187833 w 1468659"/>
                <a:gd name="connsiteY934" fmla="*/ 948404 h 1218057"/>
                <a:gd name="connsiteX935" fmla="*/ 193357 w 1468659"/>
                <a:gd name="connsiteY935" fmla="*/ 954119 h 1218057"/>
                <a:gd name="connsiteX936" fmla="*/ 208597 w 1468659"/>
                <a:gd name="connsiteY936" fmla="*/ 960215 h 1218057"/>
                <a:gd name="connsiteX937" fmla="*/ 216217 w 1468659"/>
                <a:gd name="connsiteY937" fmla="*/ 957644 h 1218057"/>
                <a:gd name="connsiteX938" fmla="*/ 218408 w 1468659"/>
                <a:gd name="connsiteY938" fmla="*/ 962120 h 1218057"/>
                <a:gd name="connsiteX939" fmla="*/ 224504 w 1468659"/>
                <a:gd name="connsiteY939" fmla="*/ 959739 h 1218057"/>
                <a:gd name="connsiteX940" fmla="*/ 236220 w 1468659"/>
                <a:gd name="connsiteY940" fmla="*/ 963073 h 1218057"/>
                <a:gd name="connsiteX941" fmla="*/ 247079 w 1468659"/>
                <a:gd name="connsiteY941" fmla="*/ 972979 h 1218057"/>
                <a:gd name="connsiteX942" fmla="*/ 253937 w 1468659"/>
                <a:gd name="connsiteY942" fmla="*/ 976884 h 1218057"/>
                <a:gd name="connsiteX943" fmla="*/ 265462 w 1468659"/>
                <a:gd name="connsiteY943" fmla="*/ 991457 h 1218057"/>
                <a:gd name="connsiteX944" fmla="*/ 270986 w 1468659"/>
                <a:gd name="connsiteY944" fmla="*/ 997172 h 1218057"/>
                <a:gd name="connsiteX945" fmla="*/ 271367 w 1468659"/>
                <a:gd name="connsiteY945" fmla="*/ 1000315 h 1218057"/>
                <a:gd name="connsiteX946" fmla="*/ 274796 w 1468659"/>
                <a:gd name="connsiteY946" fmla="*/ 1001458 h 1218057"/>
                <a:gd name="connsiteX947" fmla="*/ 275368 w 1468659"/>
                <a:gd name="connsiteY947" fmla="*/ 1006221 h 1218057"/>
                <a:gd name="connsiteX948" fmla="*/ 286417 w 1468659"/>
                <a:gd name="connsiteY948" fmla="*/ 1017651 h 1218057"/>
                <a:gd name="connsiteX949" fmla="*/ 289560 w 1468659"/>
                <a:gd name="connsiteY949" fmla="*/ 1017270 h 1218057"/>
                <a:gd name="connsiteX950" fmla="*/ 293180 w 1468659"/>
                <a:gd name="connsiteY950" fmla="*/ 1019937 h 1218057"/>
                <a:gd name="connsiteX951" fmla="*/ 297275 w 1468659"/>
                <a:gd name="connsiteY951" fmla="*/ 1027462 h 1218057"/>
                <a:gd name="connsiteX952" fmla="*/ 306991 w 1468659"/>
                <a:gd name="connsiteY952" fmla="*/ 1027843 h 1218057"/>
                <a:gd name="connsiteX953" fmla="*/ 312515 w 1468659"/>
                <a:gd name="connsiteY953" fmla="*/ 1033558 h 1218057"/>
                <a:gd name="connsiteX954" fmla="*/ 317278 w 1468659"/>
                <a:gd name="connsiteY954" fmla="*/ 1032986 h 1218057"/>
                <a:gd name="connsiteX955" fmla="*/ 330327 w 1468659"/>
                <a:gd name="connsiteY955" fmla="*/ 1034510 h 1218057"/>
                <a:gd name="connsiteX956" fmla="*/ 333851 w 1468659"/>
                <a:gd name="connsiteY956" fmla="*/ 1037272 h 1218057"/>
                <a:gd name="connsiteX957" fmla="*/ 334804 w 1468659"/>
                <a:gd name="connsiteY957" fmla="*/ 1045178 h 1218057"/>
                <a:gd name="connsiteX958" fmla="*/ 336423 w 1468659"/>
                <a:gd name="connsiteY958" fmla="*/ 1044988 h 1218057"/>
                <a:gd name="connsiteX959" fmla="*/ 333851 w 1468659"/>
                <a:gd name="connsiteY959" fmla="*/ 1050036 h 1218057"/>
                <a:gd name="connsiteX960" fmla="*/ 340138 w 1468659"/>
                <a:gd name="connsiteY960" fmla="*/ 1049274 h 1218057"/>
                <a:gd name="connsiteX961" fmla="*/ 338995 w 1468659"/>
                <a:gd name="connsiteY961" fmla="*/ 1052608 h 1218057"/>
                <a:gd name="connsiteX962" fmla="*/ 344329 w 1468659"/>
                <a:gd name="connsiteY962" fmla="*/ 1056799 h 1218057"/>
                <a:gd name="connsiteX963" fmla="*/ 346520 w 1468659"/>
                <a:gd name="connsiteY963" fmla="*/ 1061275 h 1218057"/>
                <a:gd name="connsiteX964" fmla="*/ 344900 w 1468659"/>
                <a:gd name="connsiteY964" fmla="*/ 1061466 h 1218057"/>
                <a:gd name="connsiteX965" fmla="*/ 343567 w 1468659"/>
                <a:gd name="connsiteY965" fmla="*/ 1063276 h 1218057"/>
                <a:gd name="connsiteX966" fmla="*/ 350710 w 1468659"/>
                <a:gd name="connsiteY966" fmla="*/ 1068800 h 1218057"/>
                <a:gd name="connsiteX967" fmla="*/ 351092 w 1468659"/>
                <a:gd name="connsiteY967" fmla="*/ 1071944 h 1218057"/>
                <a:gd name="connsiteX968" fmla="*/ 354425 w 1468659"/>
                <a:gd name="connsiteY968" fmla="*/ 1073087 h 1218057"/>
                <a:gd name="connsiteX969" fmla="*/ 358997 w 1468659"/>
                <a:gd name="connsiteY969" fmla="*/ 1070896 h 1218057"/>
                <a:gd name="connsiteX970" fmla="*/ 365855 w 1468659"/>
                <a:gd name="connsiteY970" fmla="*/ 1074896 h 1218057"/>
                <a:gd name="connsiteX971" fmla="*/ 369284 w 1468659"/>
                <a:gd name="connsiteY971" fmla="*/ 1076039 h 1218057"/>
                <a:gd name="connsiteX972" fmla="*/ 368903 w 1468659"/>
                <a:gd name="connsiteY972" fmla="*/ 1085659 h 1218057"/>
                <a:gd name="connsiteX973" fmla="*/ 368141 w 1468659"/>
                <a:gd name="connsiteY973" fmla="*/ 1092232 h 1218057"/>
                <a:gd name="connsiteX974" fmla="*/ 364141 w 1468659"/>
                <a:gd name="connsiteY974" fmla="*/ 1099185 h 1218057"/>
                <a:gd name="connsiteX975" fmla="*/ 355663 w 1468659"/>
                <a:gd name="connsiteY975" fmla="*/ 1095375 h 1218057"/>
                <a:gd name="connsiteX976" fmla="*/ 343281 w 1468659"/>
                <a:gd name="connsiteY976" fmla="*/ 1098614 h 1218057"/>
                <a:gd name="connsiteX977" fmla="*/ 342709 w 1468659"/>
                <a:gd name="connsiteY977" fmla="*/ 1106710 h 1218057"/>
                <a:gd name="connsiteX978" fmla="*/ 338138 w 1468659"/>
                <a:gd name="connsiteY978" fmla="*/ 1108900 h 1218057"/>
                <a:gd name="connsiteX979" fmla="*/ 335375 w 1468659"/>
                <a:gd name="connsiteY979" fmla="*/ 1112425 h 1218057"/>
                <a:gd name="connsiteX980" fmla="*/ 333851 w 1468659"/>
                <a:gd name="connsiteY980" fmla="*/ 1112615 h 1218057"/>
                <a:gd name="connsiteX981" fmla="*/ 342900 w 1468659"/>
                <a:gd name="connsiteY981" fmla="*/ 1121092 h 1218057"/>
                <a:gd name="connsiteX982" fmla="*/ 343091 w 1468659"/>
                <a:gd name="connsiteY982" fmla="*/ 1122712 h 1218057"/>
                <a:gd name="connsiteX983" fmla="*/ 348425 w 1468659"/>
                <a:gd name="connsiteY983" fmla="*/ 1126807 h 1218057"/>
                <a:gd name="connsiteX984" fmla="*/ 347091 w 1468659"/>
                <a:gd name="connsiteY984" fmla="*/ 1128617 h 1218057"/>
                <a:gd name="connsiteX985" fmla="*/ 356521 w 1468659"/>
                <a:gd name="connsiteY985" fmla="*/ 1127379 h 1218057"/>
                <a:gd name="connsiteX986" fmla="*/ 359950 w 1468659"/>
                <a:gd name="connsiteY986" fmla="*/ 1128522 h 1218057"/>
                <a:gd name="connsiteX987" fmla="*/ 359569 w 1468659"/>
                <a:gd name="connsiteY987" fmla="*/ 1138238 h 1218057"/>
                <a:gd name="connsiteX988" fmla="*/ 354806 w 1468659"/>
                <a:gd name="connsiteY988" fmla="*/ 1138809 h 1218057"/>
                <a:gd name="connsiteX989" fmla="*/ 356806 w 1468659"/>
                <a:gd name="connsiteY989" fmla="*/ 1141762 h 1218057"/>
                <a:gd name="connsiteX990" fmla="*/ 355568 w 1468659"/>
                <a:gd name="connsiteY990" fmla="*/ 1145096 h 1218057"/>
                <a:gd name="connsiteX991" fmla="*/ 362331 w 1468659"/>
                <a:gd name="connsiteY991" fmla="*/ 1147477 h 1218057"/>
                <a:gd name="connsiteX992" fmla="*/ 362712 w 1468659"/>
                <a:gd name="connsiteY992" fmla="*/ 1150620 h 1218057"/>
                <a:gd name="connsiteX993" fmla="*/ 364903 w 1468659"/>
                <a:gd name="connsiteY993" fmla="*/ 1155192 h 1218057"/>
                <a:gd name="connsiteX994" fmla="*/ 370808 w 1468659"/>
                <a:gd name="connsiteY994" fmla="*/ 1151191 h 1218057"/>
                <a:gd name="connsiteX995" fmla="*/ 375761 w 1468659"/>
                <a:gd name="connsiteY995" fmla="*/ 1152239 h 1218057"/>
                <a:gd name="connsiteX996" fmla="*/ 373189 w 1468659"/>
                <a:gd name="connsiteY996" fmla="*/ 1157288 h 1218057"/>
                <a:gd name="connsiteX997" fmla="*/ 374237 w 1468659"/>
                <a:gd name="connsiteY997" fmla="*/ 1165193 h 1218057"/>
                <a:gd name="connsiteX998" fmla="*/ 375761 w 1468659"/>
                <a:gd name="connsiteY998" fmla="*/ 1165003 h 1218057"/>
                <a:gd name="connsiteX999" fmla="*/ 378333 w 1468659"/>
                <a:gd name="connsiteY999" fmla="*/ 1159859 h 1218057"/>
                <a:gd name="connsiteX1000" fmla="*/ 394525 w 1468659"/>
                <a:gd name="connsiteY1000" fmla="*/ 1161002 h 1218057"/>
                <a:gd name="connsiteX1001" fmla="*/ 394525 w 1468659"/>
                <a:gd name="connsiteY1001" fmla="*/ 1161002 h 1218057"/>
                <a:gd name="connsiteX1002" fmla="*/ 396335 w 1468659"/>
                <a:gd name="connsiteY1002" fmla="*/ 1162431 h 1218057"/>
                <a:gd name="connsiteX1003" fmla="*/ 393954 w 1468659"/>
                <a:gd name="connsiteY1003" fmla="*/ 1169098 h 1218057"/>
                <a:gd name="connsiteX1004" fmla="*/ 400812 w 1468659"/>
                <a:gd name="connsiteY1004" fmla="*/ 1173004 h 1218057"/>
                <a:gd name="connsiteX1005" fmla="*/ 410337 w 1468659"/>
                <a:gd name="connsiteY1005" fmla="*/ 1171861 h 1218057"/>
                <a:gd name="connsiteX1006" fmla="*/ 420529 w 1468659"/>
                <a:gd name="connsiteY1006" fmla="*/ 1164146 h 1218057"/>
                <a:gd name="connsiteX1007" fmla="*/ 429101 w 1468659"/>
                <a:gd name="connsiteY1007" fmla="*/ 1167860 h 1218057"/>
                <a:gd name="connsiteX1008" fmla="*/ 435197 w 1468659"/>
                <a:gd name="connsiteY1008" fmla="*/ 1165479 h 1218057"/>
                <a:gd name="connsiteX1009" fmla="*/ 440531 w 1468659"/>
                <a:gd name="connsiteY1009" fmla="*/ 1169575 h 1218057"/>
                <a:gd name="connsiteX1010" fmla="*/ 442055 w 1468659"/>
                <a:gd name="connsiteY1010" fmla="*/ 1169384 h 1218057"/>
                <a:gd name="connsiteX1011" fmla="*/ 442722 w 1468659"/>
                <a:gd name="connsiteY1011" fmla="*/ 1174147 h 1218057"/>
                <a:gd name="connsiteX1012" fmla="*/ 451961 w 1468659"/>
                <a:gd name="connsiteY1012" fmla="*/ 1171384 h 1218057"/>
                <a:gd name="connsiteX1013" fmla="*/ 453580 w 1468659"/>
                <a:gd name="connsiteY1013" fmla="*/ 1171099 h 1218057"/>
                <a:gd name="connsiteX1014" fmla="*/ 453295 w 1468659"/>
                <a:gd name="connsiteY1014" fmla="*/ 1169575 h 1218057"/>
                <a:gd name="connsiteX1015" fmla="*/ 456533 w 1468659"/>
                <a:gd name="connsiteY1015" fmla="*/ 1169194 h 1218057"/>
                <a:gd name="connsiteX1016" fmla="*/ 459867 w 1468659"/>
                <a:gd name="connsiteY1016" fmla="*/ 1170337 h 1218057"/>
                <a:gd name="connsiteX1017" fmla="*/ 466344 w 1468659"/>
                <a:gd name="connsiteY1017" fmla="*/ 1171099 h 1218057"/>
                <a:gd name="connsiteX1018" fmla="*/ 479965 w 1468659"/>
                <a:gd name="connsiteY1018" fmla="*/ 1177385 h 1218057"/>
                <a:gd name="connsiteX1019" fmla="*/ 488251 w 1468659"/>
                <a:gd name="connsiteY1019" fmla="*/ 1179576 h 1218057"/>
                <a:gd name="connsiteX1020" fmla="*/ 496824 w 1468659"/>
                <a:gd name="connsiteY1020" fmla="*/ 1183291 h 1218057"/>
                <a:gd name="connsiteX1021" fmla="*/ 497396 w 1468659"/>
                <a:gd name="connsiteY1021" fmla="*/ 1188053 h 1218057"/>
                <a:gd name="connsiteX1022" fmla="*/ 511207 w 1468659"/>
                <a:gd name="connsiteY1022" fmla="*/ 1183005 h 1218057"/>
                <a:gd name="connsiteX1023" fmla="*/ 521017 w 1468659"/>
                <a:gd name="connsiteY1023" fmla="*/ 1185005 h 1218057"/>
                <a:gd name="connsiteX1024" fmla="*/ 527018 w 1468659"/>
                <a:gd name="connsiteY1024" fmla="*/ 1193864 h 1218057"/>
                <a:gd name="connsiteX1025" fmla="*/ 549307 w 1468659"/>
                <a:gd name="connsiteY1025" fmla="*/ 1205484 h 1218057"/>
                <a:gd name="connsiteX1026" fmla="*/ 555879 w 1468659"/>
                <a:gd name="connsiteY1026" fmla="*/ 1206246 h 1218057"/>
                <a:gd name="connsiteX1027" fmla="*/ 558832 w 1468659"/>
                <a:gd name="connsiteY1027" fmla="*/ 1204246 h 1218057"/>
                <a:gd name="connsiteX1028" fmla="*/ 560165 w 1468659"/>
                <a:gd name="connsiteY1028" fmla="*/ 1215295 h 1218057"/>
                <a:gd name="connsiteX1029" fmla="*/ 563785 w 1468659"/>
                <a:gd name="connsiteY1029" fmla="*/ 1218057 h 1218057"/>
                <a:gd name="connsiteX1030" fmla="*/ 571405 w 1468659"/>
                <a:gd name="connsiteY1030" fmla="*/ 1215485 h 1218057"/>
                <a:gd name="connsiteX1031" fmla="*/ 573786 w 1468659"/>
                <a:gd name="connsiteY1031" fmla="*/ 1208723 h 1218057"/>
                <a:gd name="connsiteX1032" fmla="*/ 579882 w 1468659"/>
                <a:gd name="connsiteY1032" fmla="*/ 1206341 h 1218057"/>
                <a:gd name="connsiteX1033" fmla="*/ 579120 w 1468659"/>
                <a:gd name="connsiteY1033" fmla="*/ 1200055 h 1218057"/>
                <a:gd name="connsiteX1034" fmla="*/ 583025 w 1468659"/>
                <a:gd name="connsiteY1034" fmla="*/ 1193102 h 1218057"/>
                <a:gd name="connsiteX1035" fmla="*/ 589312 w 1468659"/>
                <a:gd name="connsiteY1035" fmla="*/ 1192339 h 1218057"/>
                <a:gd name="connsiteX1036" fmla="*/ 591693 w 1468659"/>
                <a:gd name="connsiteY1036" fmla="*/ 1198436 h 1218057"/>
                <a:gd name="connsiteX1037" fmla="*/ 595122 w 1468659"/>
                <a:gd name="connsiteY1037" fmla="*/ 1199579 h 1218057"/>
                <a:gd name="connsiteX1038" fmla="*/ 599789 w 1468659"/>
                <a:gd name="connsiteY1038" fmla="*/ 1199007 h 1218057"/>
                <a:gd name="connsiteX1039" fmla="*/ 604361 w 1468659"/>
                <a:gd name="connsiteY1039" fmla="*/ 1196816 h 1218057"/>
                <a:gd name="connsiteX1040" fmla="*/ 608267 w 1468659"/>
                <a:gd name="connsiteY1040" fmla="*/ 1189958 h 1218057"/>
                <a:gd name="connsiteX1041" fmla="*/ 606076 w 1468659"/>
                <a:gd name="connsiteY1041" fmla="*/ 1185386 h 1218057"/>
                <a:gd name="connsiteX1042" fmla="*/ 604076 w 1468659"/>
                <a:gd name="connsiteY1042" fmla="*/ 1182433 h 1218057"/>
                <a:gd name="connsiteX1043" fmla="*/ 602933 w 1468659"/>
                <a:gd name="connsiteY1043" fmla="*/ 1173004 h 1218057"/>
                <a:gd name="connsiteX1044" fmla="*/ 605885 w 1468659"/>
                <a:gd name="connsiteY1044" fmla="*/ 1171004 h 1218057"/>
                <a:gd name="connsiteX1045" fmla="*/ 609409 w 1468659"/>
                <a:gd name="connsiteY1045" fmla="*/ 1173766 h 1218057"/>
                <a:gd name="connsiteX1046" fmla="*/ 615696 w 1468659"/>
                <a:gd name="connsiteY1046" fmla="*/ 1172908 h 1218057"/>
                <a:gd name="connsiteX1047" fmla="*/ 617315 w 1468659"/>
                <a:gd name="connsiteY1047" fmla="*/ 1172718 h 1218057"/>
                <a:gd name="connsiteX1048" fmla="*/ 623792 w 1468659"/>
                <a:gd name="connsiteY1048" fmla="*/ 1173480 h 1218057"/>
                <a:gd name="connsiteX1049" fmla="*/ 630746 w 1468659"/>
                <a:gd name="connsiteY1049" fmla="*/ 1177481 h 1218057"/>
                <a:gd name="connsiteX1050" fmla="*/ 635698 w 1468659"/>
                <a:gd name="connsiteY1050" fmla="*/ 1178433 h 1218057"/>
                <a:gd name="connsiteX1051" fmla="*/ 637604 w 1468659"/>
                <a:gd name="connsiteY1051" fmla="*/ 1168527 h 1218057"/>
                <a:gd name="connsiteX1052" fmla="*/ 643509 w 1468659"/>
                <a:gd name="connsiteY1052" fmla="*/ 1164527 h 1218057"/>
                <a:gd name="connsiteX1053" fmla="*/ 644271 w 1468659"/>
                <a:gd name="connsiteY1053" fmla="*/ 1158049 h 1218057"/>
                <a:gd name="connsiteX1054" fmla="*/ 648081 w 1468659"/>
                <a:gd name="connsiteY1054" fmla="*/ 1149572 h 1218057"/>
                <a:gd name="connsiteX1055" fmla="*/ 647033 w 1468659"/>
                <a:gd name="connsiteY1055" fmla="*/ 1141666 h 1218057"/>
                <a:gd name="connsiteX1056" fmla="*/ 651129 w 1468659"/>
                <a:gd name="connsiteY1056" fmla="*/ 1136332 h 1218057"/>
                <a:gd name="connsiteX1057" fmla="*/ 654558 w 1468659"/>
                <a:gd name="connsiteY1057" fmla="*/ 1137475 h 1218057"/>
                <a:gd name="connsiteX1058" fmla="*/ 651701 w 1468659"/>
                <a:gd name="connsiteY1058" fmla="*/ 1128236 h 1218057"/>
                <a:gd name="connsiteX1059" fmla="*/ 644462 w 1468659"/>
                <a:gd name="connsiteY1059" fmla="*/ 1121188 h 1218057"/>
                <a:gd name="connsiteX1060" fmla="*/ 643604 w 1468659"/>
                <a:gd name="connsiteY1060" fmla="*/ 1114806 h 1218057"/>
                <a:gd name="connsiteX1061" fmla="*/ 651510 w 1468659"/>
                <a:gd name="connsiteY1061" fmla="*/ 1113854 h 1218057"/>
                <a:gd name="connsiteX1062" fmla="*/ 654844 w 1468659"/>
                <a:gd name="connsiteY1062" fmla="*/ 1114997 h 1218057"/>
                <a:gd name="connsiteX1063" fmla="*/ 662559 w 1468659"/>
                <a:gd name="connsiteY1063" fmla="*/ 1112425 h 1218057"/>
                <a:gd name="connsiteX1064" fmla="*/ 662368 w 1468659"/>
                <a:gd name="connsiteY1064" fmla="*/ 1110901 h 1218057"/>
                <a:gd name="connsiteX1065" fmla="*/ 664559 w 1468659"/>
                <a:gd name="connsiteY1065" fmla="*/ 1115378 h 1218057"/>
                <a:gd name="connsiteX1066" fmla="*/ 668084 w 1468659"/>
                <a:gd name="connsiteY1066" fmla="*/ 1118140 h 1218057"/>
                <a:gd name="connsiteX1067" fmla="*/ 666559 w 1468659"/>
                <a:gd name="connsiteY1067" fmla="*/ 1118330 h 1218057"/>
                <a:gd name="connsiteX1068" fmla="*/ 666750 w 1468659"/>
                <a:gd name="connsiteY1068" fmla="*/ 1119949 h 1218057"/>
                <a:gd name="connsiteX1069" fmla="*/ 672275 w 1468659"/>
                <a:gd name="connsiteY1069" fmla="*/ 1125664 h 1218057"/>
                <a:gd name="connsiteX1070" fmla="*/ 679133 w 1468659"/>
                <a:gd name="connsiteY1070" fmla="*/ 1129570 h 1218057"/>
                <a:gd name="connsiteX1071" fmla="*/ 681514 w 1468659"/>
                <a:gd name="connsiteY1071" fmla="*/ 1135666 h 1218057"/>
                <a:gd name="connsiteX1072" fmla="*/ 680371 w 1468659"/>
                <a:gd name="connsiteY1072" fmla="*/ 1138999 h 1218057"/>
                <a:gd name="connsiteX1073" fmla="*/ 683895 w 1468659"/>
                <a:gd name="connsiteY1073" fmla="*/ 1141762 h 1218057"/>
                <a:gd name="connsiteX1074" fmla="*/ 687896 w 1468659"/>
                <a:gd name="connsiteY1074" fmla="*/ 1147667 h 1218057"/>
                <a:gd name="connsiteX1075" fmla="*/ 692277 w 1468659"/>
                <a:gd name="connsiteY1075" fmla="*/ 1143953 h 1218057"/>
                <a:gd name="connsiteX1076" fmla="*/ 698563 w 1468659"/>
                <a:gd name="connsiteY1076" fmla="*/ 1143095 h 1218057"/>
                <a:gd name="connsiteX1077" fmla="*/ 704088 w 1468659"/>
                <a:gd name="connsiteY1077" fmla="*/ 1148810 h 1218057"/>
                <a:gd name="connsiteX1078" fmla="*/ 718661 w 1468659"/>
                <a:gd name="connsiteY1078" fmla="*/ 1150144 h 1218057"/>
                <a:gd name="connsiteX1079" fmla="*/ 720662 w 1468659"/>
                <a:gd name="connsiteY1079" fmla="*/ 1153097 h 1218057"/>
                <a:gd name="connsiteX1080" fmla="*/ 723043 w 1468659"/>
                <a:gd name="connsiteY1080" fmla="*/ 1159288 h 1218057"/>
                <a:gd name="connsiteX1081" fmla="*/ 728377 w 1468659"/>
                <a:gd name="connsiteY1081" fmla="*/ 1163383 h 1218057"/>
                <a:gd name="connsiteX1082" fmla="*/ 731330 w 1468659"/>
                <a:gd name="connsiteY1082" fmla="*/ 1161383 h 1218057"/>
                <a:gd name="connsiteX1083" fmla="*/ 730758 w 1468659"/>
                <a:gd name="connsiteY1083" fmla="*/ 1156716 h 1218057"/>
                <a:gd name="connsiteX1084" fmla="*/ 733901 w 1468659"/>
                <a:gd name="connsiteY1084" fmla="*/ 1156240 h 1218057"/>
                <a:gd name="connsiteX1085" fmla="*/ 736854 w 1468659"/>
                <a:gd name="connsiteY1085" fmla="*/ 1154335 h 1218057"/>
                <a:gd name="connsiteX1086" fmla="*/ 739997 w 1468659"/>
                <a:gd name="connsiteY1086" fmla="*/ 1153858 h 1218057"/>
                <a:gd name="connsiteX1087" fmla="*/ 744093 w 1468659"/>
                <a:gd name="connsiteY1087" fmla="*/ 1148524 h 1218057"/>
                <a:gd name="connsiteX1088" fmla="*/ 750475 w 1468659"/>
                <a:gd name="connsiteY1088" fmla="*/ 1147763 h 1218057"/>
                <a:gd name="connsiteX1089" fmla="*/ 755713 w 1468659"/>
                <a:gd name="connsiteY1089" fmla="*/ 1139095 h 1218057"/>
                <a:gd name="connsiteX1090" fmla="*/ 758476 w 1468659"/>
                <a:gd name="connsiteY1090" fmla="*/ 1135475 h 1218057"/>
                <a:gd name="connsiteX1091" fmla="*/ 764858 w 1468659"/>
                <a:gd name="connsiteY1091" fmla="*/ 1134713 h 1218057"/>
                <a:gd name="connsiteX1092" fmla="*/ 769144 w 1468659"/>
                <a:gd name="connsiteY1092" fmla="*/ 1143762 h 1218057"/>
                <a:gd name="connsiteX1093" fmla="*/ 772954 w 1468659"/>
                <a:gd name="connsiteY1093" fmla="*/ 1160907 h 1218057"/>
                <a:gd name="connsiteX1094" fmla="*/ 776383 w 1468659"/>
                <a:gd name="connsiteY1094" fmla="*/ 1162050 h 1218057"/>
                <a:gd name="connsiteX1095" fmla="*/ 779717 w 1468659"/>
                <a:gd name="connsiteY1095" fmla="*/ 1163288 h 1218057"/>
                <a:gd name="connsiteX1096" fmla="*/ 790099 w 1468659"/>
                <a:gd name="connsiteY1096" fmla="*/ 1157097 h 1218057"/>
                <a:gd name="connsiteX1097" fmla="*/ 796671 w 1468659"/>
                <a:gd name="connsiteY1097" fmla="*/ 1170718 h 1218057"/>
                <a:gd name="connsiteX1098" fmla="*/ 802291 w 1468659"/>
                <a:gd name="connsiteY1098" fmla="*/ 1189291 h 1218057"/>
                <a:gd name="connsiteX1099" fmla="*/ 816483 w 1468659"/>
                <a:gd name="connsiteY1099" fmla="*/ 1187482 h 1218057"/>
                <a:gd name="connsiteX1100" fmla="*/ 820769 w 1468659"/>
                <a:gd name="connsiteY1100" fmla="*/ 1183672 h 1218057"/>
                <a:gd name="connsiteX1101" fmla="*/ 821150 w 1468659"/>
                <a:gd name="connsiteY1101" fmla="*/ 1186815 h 1218057"/>
                <a:gd name="connsiteX1102" fmla="*/ 824103 w 1468659"/>
                <a:gd name="connsiteY1102" fmla="*/ 1184910 h 1218057"/>
                <a:gd name="connsiteX1103" fmla="*/ 829437 w 1468659"/>
                <a:gd name="connsiteY1103" fmla="*/ 1189006 h 1218057"/>
                <a:gd name="connsiteX1104" fmla="*/ 833628 w 1468659"/>
                <a:gd name="connsiteY1104" fmla="*/ 1183672 h 1218057"/>
                <a:gd name="connsiteX1105" fmla="*/ 832771 w 1468659"/>
                <a:gd name="connsiteY1105" fmla="*/ 1177385 h 1218057"/>
                <a:gd name="connsiteX1106" fmla="*/ 837343 w 1468659"/>
                <a:gd name="connsiteY1106" fmla="*/ 1175195 h 1218057"/>
                <a:gd name="connsiteX1107" fmla="*/ 836962 w 1468659"/>
                <a:gd name="connsiteY1107" fmla="*/ 1172051 h 1218057"/>
                <a:gd name="connsiteX1108" fmla="*/ 844201 w 1468659"/>
                <a:gd name="connsiteY1108" fmla="*/ 1166241 h 1218057"/>
                <a:gd name="connsiteX1109" fmla="*/ 838676 w 1468659"/>
                <a:gd name="connsiteY1109" fmla="*/ 1147763 h 1218057"/>
                <a:gd name="connsiteX1110" fmla="*/ 845058 w 1468659"/>
                <a:gd name="connsiteY1110" fmla="*/ 1122902 h 1218057"/>
                <a:gd name="connsiteX1111" fmla="*/ 843534 w 1468659"/>
                <a:gd name="connsiteY1111" fmla="*/ 1123093 h 1218057"/>
                <a:gd name="connsiteX1112" fmla="*/ 841915 w 1468659"/>
                <a:gd name="connsiteY1112" fmla="*/ 1110424 h 1218057"/>
                <a:gd name="connsiteX1113" fmla="*/ 837152 w 1468659"/>
                <a:gd name="connsiteY1113" fmla="*/ 1110996 h 1218057"/>
                <a:gd name="connsiteX1114" fmla="*/ 844582 w 1468659"/>
                <a:gd name="connsiteY1114" fmla="*/ 1081183 h 1218057"/>
                <a:gd name="connsiteX1115" fmla="*/ 847344 w 1468659"/>
                <a:gd name="connsiteY1115" fmla="*/ 1077658 h 1218057"/>
                <a:gd name="connsiteX1116" fmla="*/ 847725 w 1468659"/>
                <a:gd name="connsiteY1116" fmla="*/ 1068038 h 1218057"/>
                <a:gd name="connsiteX1117" fmla="*/ 854202 w 1468659"/>
                <a:gd name="connsiteY1117" fmla="*/ 1055941 h 1218057"/>
                <a:gd name="connsiteX1118" fmla="*/ 856964 w 1468659"/>
                <a:gd name="connsiteY1118" fmla="*/ 1052417 h 1218057"/>
                <a:gd name="connsiteX1119" fmla="*/ 867823 w 1468659"/>
                <a:gd name="connsiteY1119" fmla="*/ 1049369 h 1218057"/>
                <a:gd name="connsiteX1120" fmla="*/ 870204 w 1468659"/>
                <a:gd name="connsiteY1120" fmla="*/ 1042702 h 1218057"/>
                <a:gd name="connsiteX1121" fmla="*/ 881253 w 1468659"/>
                <a:gd name="connsiteY1121" fmla="*/ 1041273 h 1218057"/>
                <a:gd name="connsiteX1122" fmla="*/ 889921 w 1468659"/>
                <a:gd name="connsiteY1122" fmla="*/ 1033748 h 1218057"/>
                <a:gd name="connsiteX1123" fmla="*/ 890873 w 1468659"/>
                <a:gd name="connsiteY1123" fmla="*/ 1028795 h 1218057"/>
                <a:gd name="connsiteX1124" fmla="*/ 893635 w 1468659"/>
                <a:gd name="connsiteY1124" fmla="*/ 1025271 h 1218057"/>
                <a:gd name="connsiteX1125" fmla="*/ 894588 w 1468659"/>
                <a:gd name="connsiteY1125" fmla="*/ 1020318 h 1218057"/>
                <a:gd name="connsiteX1126" fmla="*/ 899160 w 1468659"/>
                <a:gd name="connsiteY1126" fmla="*/ 1018127 h 1218057"/>
                <a:gd name="connsiteX1127" fmla="*/ 898874 w 1468659"/>
                <a:gd name="connsiteY1127" fmla="*/ 1016603 h 1218057"/>
                <a:gd name="connsiteX1128" fmla="*/ 900684 w 1468659"/>
                <a:gd name="connsiteY1128" fmla="*/ 1017937 h 1218057"/>
                <a:gd name="connsiteX1129" fmla="*/ 905256 w 1468659"/>
                <a:gd name="connsiteY1129" fmla="*/ 1015746 h 1218057"/>
                <a:gd name="connsiteX1130" fmla="*/ 900113 w 1468659"/>
                <a:gd name="connsiteY1130" fmla="*/ 1000411 h 1218057"/>
                <a:gd name="connsiteX1131" fmla="*/ 907733 w 1468659"/>
                <a:gd name="connsiteY1131" fmla="*/ 984980 h 1218057"/>
                <a:gd name="connsiteX1132" fmla="*/ 906875 w 1468659"/>
                <a:gd name="connsiteY1132" fmla="*/ 978694 h 1218057"/>
                <a:gd name="connsiteX1133" fmla="*/ 904494 w 1468659"/>
                <a:gd name="connsiteY1133" fmla="*/ 972598 h 1218057"/>
                <a:gd name="connsiteX1134" fmla="*/ 905923 w 1468659"/>
                <a:gd name="connsiteY1134" fmla="*/ 970788 h 1218057"/>
                <a:gd name="connsiteX1135" fmla="*/ 905066 w 1468659"/>
                <a:gd name="connsiteY1135" fmla="*/ 964502 h 1218057"/>
                <a:gd name="connsiteX1136" fmla="*/ 912781 w 1468659"/>
                <a:gd name="connsiteY1136" fmla="*/ 961834 h 1218057"/>
                <a:gd name="connsiteX1137" fmla="*/ 915734 w 1468659"/>
                <a:gd name="connsiteY1137" fmla="*/ 959930 h 1218057"/>
                <a:gd name="connsiteX1138" fmla="*/ 920877 w 1468659"/>
                <a:gd name="connsiteY1138" fmla="*/ 962406 h 1218057"/>
                <a:gd name="connsiteX1139" fmla="*/ 927163 w 1468659"/>
                <a:gd name="connsiteY1139" fmla="*/ 961644 h 1218057"/>
                <a:gd name="connsiteX1140" fmla="*/ 929926 w 1468659"/>
                <a:gd name="connsiteY1140" fmla="*/ 958120 h 1218057"/>
                <a:gd name="connsiteX1141" fmla="*/ 932307 w 1468659"/>
                <a:gd name="connsiteY1141" fmla="*/ 964216 h 1218057"/>
                <a:gd name="connsiteX1142" fmla="*/ 932307 w 1468659"/>
                <a:gd name="connsiteY1142" fmla="*/ 964216 h 1218057"/>
                <a:gd name="connsiteX1143" fmla="*/ 933736 w 1468659"/>
                <a:gd name="connsiteY1143" fmla="*/ 962406 h 1218057"/>
                <a:gd name="connsiteX1144" fmla="*/ 935736 w 1468659"/>
                <a:gd name="connsiteY1144" fmla="*/ 965359 h 1218057"/>
                <a:gd name="connsiteX1145" fmla="*/ 939260 w 1468659"/>
                <a:gd name="connsiteY1145" fmla="*/ 968121 h 1218057"/>
                <a:gd name="connsiteX1146" fmla="*/ 940594 w 1468659"/>
                <a:gd name="connsiteY1146" fmla="*/ 966311 h 1218057"/>
                <a:gd name="connsiteX1147" fmla="*/ 944023 w 1468659"/>
                <a:gd name="connsiteY1147" fmla="*/ 967549 h 1218057"/>
                <a:gd name="connsiteX1148" fmla="*/ 948118 w 1468659"/>
                <a:gd name="connsiteY1148" fmla="*/ 962215 h 1218057"/>
                <a:gd name="connsiteX1149" fmla="*/ 953072 w 1468659"/>
                <a:gd name="connsiteY1149" fmla="*/ 963168 h 1218057"/>
                <a:gd name="connsiteX1150" fmla="*/ 959930 w 1468659"/>
                <a:gd name="connsiteY1150" fmla="*/ 967073 h 1218057"/>
                <a:gd name="connsiteX1151" fmla="*/ 958977 w 1468659"/>
                <a:gd name="connsiteY1151" fmla="*/ 972026 h 1218057"/>
                <a:gd name="connsiteX1152" fmla="*/ 960787 w 1468659"/>
                <a:gd name="connsiteY1152" fmla="*/ 973455 h 1218057"/>
                <a:gd name="connsiteX1153" fmla="*/ 968693 w 1468659"/>
                <a:gd name="connsiteY1153" fmla="*/ 972407 h 1218057"/>
                <a:gd name="connsiteX1154" fmla="*/ 972217 w 1468659"/>
                <a:gd name="connsiteY1154" fmla="*/ 975170 h 1218057"/>
                <a:gd name="connsiteX1155" fmla="*/ 977360 w 1468659"/>
                <a:gd name="connsiteY1155" fmla="*/ 977741 h 1218057"/>
                <a:gd name="connsiteX1156" fmla="*/ 981932 w 1468659"/>
                <a:gd name="connsiteY1156" fmla="*/ 975550 h 1218057"/>
                <a:gd name="connsiteX1157" fmla="*/ 988790 w 1468659"/>
                <a:gd name="connsiteY1157" fmla="*/ 979456 h 1218057"/>
                <a:gd name="connsiteX1158" fmla="*/ 993743 w 1468659"/>
                <a:gd name="connsiteY1158" fmla="*/ 980408 h 1218057"/>
                <a:gd name="connsiteX1159" fmla="*/ 997458 w 1468659"/>
                <a:gd name="connsiteY1159" fmla="*/ 984790 h 1218057"/>
                <a:gd name="connsiteX1160" fmla="*/ 1002411 w 1468659"/>
                <a:gd name="connsiteY1160" fmla="*/ 985742 h 1218057"/>
                <a:gd name="connsiteX1161" fmla="*/ 1005364 w 1468659"/>
                <a:gd name="connsiteY1161" fmla="*/ 983742 h 1218057"/>
                <a:gd name="connsiteX1162" fmla="*/ 1012508 w 1468659"/>
                <a:gd name="connsiteY1162" fmla="*/ 989266 h 1218057"/>
                <a:gd name="connsiteX1163" fmla="*/ 1015079 w 1468659"/>
                <a:gd name="connsiteY1163" fmla="*/ 984123 h 1218057"/>
                <a:gd name="connsiteX1164" fmla="*/ 1018222 w 1468659"/>
                <a:gd name="connsiteY1164" fmla="*/ 983742 h 1218057"/>
                <a:gd name="connsiteX1165" fmla="*/ 1023938 w 1468659"/>
                <a:gd name="connsiteY1165" fmla="*/ 978217 h 1218057"/>
                <a:gd name="connsiteX1166" fmla="*/ 1027652 w 1468659"/>
                <a:gd name="connsiteY1166" fmla="*/ 969740 h 1218057"/>
                <a:gd name="connsiteX1167" fmla="*/ 1025843 w 1468659"/>
                <a:gd name="connsiteY1167" fmla="*/ 968312 h 1218057"/>
                <a:gd name="connsiteX1168" fmla="*/ 1027081 w 1468659"/>
                <a:gd name="connsiteY1168" fmla="*/ 964978 h 1218057"/>
                <a:gd name="connsiteX1169" fmla="*/ 1026890 w 1468659"/>
                <a:gd name="connsiteY1169" fmla="*/ 963358 h 1218057"/>
                <a:gd name="connsiteX1170" fmla="*/ 1011269 w 1468659"/>
                <a:gd name="connsiteY1170" fmla="*/ 954119 h 1218057"/>
                <a:gd name="connsiteX1171" fmla="*/ 1011079 w 1468659"/>
                <a:gd name="connsiteY1171" fmla="*/ 952595 h 1218057"/>
                <a:gd name="connsiteX1172" fmla="*/ 1010602 w 1468659"/>
                <a:gd name="connsiteY1172" fmla="*/ 949452 h 1218057"/>
                <a:gd name="connsiteX1173" fmla="*/ 1008697 w 1468659"/>
                <a:gd name="connsiteY1173" fmla="*/ 946499 h 1218057"/>
                <a:gd name="connsiteX1174" fmla="*/ 1013936 w 1468659"/>
                <a:gd name="connsiteY1174" fmla="*/ 937736 h 1218057"/>
                <a:gd name="connsiteX1175" fmla="*/ 1012603 w 1468659"/>
                <a:gd name="connsiteY1175" fmla="*/ 926687 h 1218057"/>
                <a:gd name="connsiteX1176" fmla="*/ 1020604 w 1468659"/>
                <a:gd name="connsiteY1176" fmla="*/ 914495 h 1218057"/>
                <a:gd name="connsiteX1177" fmla="*/ 1018604 w 1468659"/>
                <a:gd name="connsiteY1177" fmla="*/ 898684 h 1218057"/>
                <a:gd name="connsiteX1178" fmla="*/ 1022985 w 1468659"/>
                <a:gd name="connsiteY1178" fmla="*/ 894969 h 1218057"/>
                <a:gd name="connsiteX1179" fmla="*/ 1022699 w 1468659"/>
                <a:gd name="connsiteY1179" fmla="*/ 893350 h 1218057"/>
                <a:gd name="connsiteX1180" fmla="*/ 1030605 w 1468659"/>
                <a:gd name="connsiteY1180" fmla="*/ 892302 h 1218057"/>
                <a:gd name="connsiteX1181" fmla="*/ 1030034 w 1468659"/>
                <a:gd name="connsiteY1181" fmla="*/ 887635 h 1218057"/>
                <a:gd name="connsiteX1182" fmla="*/ 1026033 w 1468659"/>
                <a:gd name="connsiteY1182" fmla="*/ 881729 h 1218057"/>
                <a:gd name="connsiteX1183" fmla="*/ 1025843 w 1468659"/>
                <a:gd name="connsiteY1183" fmla="*/ 880110 h 1218057"/>
                <a:gd name="connsiteX1184" fmla="*/ 1022699 w 1468659"/>
                <a:gd name="connsiteY1184" fmla="*/ 880491 h 1218057"/>
                <a:gd name="connsiteX1185" fmla="*/ 1021747 w 1468659"/>
                <a:gd name="connsiteY1185" fmla="*/ 872585 h 1218057"/>
                <a:gd name="connsiteX1186" fmla="*/ 1022890 w 1468659"/>
                <a:gd name="connsiteY1186" fmla="*/ 856488 h 1218057"/>
                <a:gd name="connsiteX1187" fmla="*/ 1030700 w 1468659"/>
                <a:gd name="connsiteY1187" fmla="*/ 855440 h 1218057"/>
                <a:gd name="connsiteX1188" fmla="*/ 1029938 w 1468659"/>
                <a:gd name="connsiteY1188" fmla="*/ 836295 h 1218057"/>
                <a:gd name="connsiteX1189" fmla="*/ 1033272 w 1468659"/>
                <a:gd name="connsiteY1189" fmla="*/ 837438 h 1218057"/>
                <a:gd name="connsiteX1190" fmla="*/ 1034225 w 1468659"/>
                <a:gd name="connsiteY1190" fmla="*/ 832580 h 1218057"/>
                <a:gd name="connsiteX1191" fmla="*/ 1035368 w 1468659"/>
                <a:gd name="connsiteY1191" fmla="*/ 829151 h 1218057"/>
                <a:gd name="connsiteX1192" fmla="*/ 1036415 w 1468659"/>
                <a:gd name="connsiteY1192" fmla="*/ 824294 h 1218057"/>
                <a:gd name="connsiteX1193" fmla="*/ 1034415 w 1468659"/>
                <a:gd name="connsiteY1193" fmla="*/ 808482 h 1218057"/>
                <a:gd name="connsiteX1194" fmla="*/ 1030796 w 1468659"/>
                <a:gd name="connsiteY1194" fmla="*/ 805720 h 1218057"/>
                <a:gd name="connsiteX1195" fmla="*/ 1030034 w 1468659"/>
                <a:gd name="connsiteY1195" fmla="*/ 799433 h 1218057"/>
                <a:gd name="connsiteX1196" fmla="*/ 1026414 w 1468659"/>
                <a:gd name="connsiteY1196" fmla="*/ 796671 h 1218057"/>
                <a:gd name="connsiteX1197" fmla="*/ 1026033 w 1468659"/>
                <a:gd name="connsiteY1197" fmla="*/ 793528 h 1218057"/>
                <a:gd name="connsiteX1198" fmla="*/ 1030414 w 1468659"/>
                <a:gd name="connsiteY1198" fmla="*/ 789718 h 1218057"/>
                <a:gd name="connsiteX1199" fmla="*/ 1031558 w 1468659"/>
                <a:gd name="connsiteY1199" fmla="*/ 786384 h 1218057"/>
                <a:gd name="connsiteX1200" fmla="*/ 1030796 w 1468659"/>
                <a:gd name="connsiteY1200" fmla="*/ 780097 h 1218057"/>
                <a:gd name="connsiteX1201" fmla="*/ 1027176 w 1468659"/>
                <a:gd name="connsiteY1201" fmla="*/ 777335 h 1218057"/>
                <a:gd name="connsiteX1202" fmla="*/ 1023842 w 1468659"/>
                <a:gd name="connsiteY1202" fmla="*/ 763334 h 1218057"/>
                <a:gd name="connsiteX1203" fmla="*/ 1024604 w 1468659"/>
                <a:gd name="connsiteY1203" fmla="*/ 756761 h 1218057"/>
                <a:gd name="connsiteX1204" fmla="*/ 1024795 w 1468659"/>
                <a:gd name="connsiteY1204" fmla="*/ 745522 h 1218057"/>
                <a:gd name="connsiteX1205" fmla="*/ 1026700 w 1468659"/>
                <a:gd name="connsiteY1205" fmla="*/ 735711 h 1218057"/>
                <a:gd name="connsiteX1206" fmla="*/ 1026890 w 1468659"/>
                <a:gd name="connsiteY1206" fmla="*/ 737235 h 1218057"/>
                <a:gd name="connsiteX1207" fmla="*/ 1029081 w 1468659"/>
                <a:gd name="connsiteY1207" fmla="*/ 728948 h 1218057"/>
                <a:gd name="connsiteX1208" fmla="*/ 1036510 w 1468659"/>
                <a:gd name="connsiteY1208" fmla="*/ 724757 h 1218057"/>
                <a:gd name="connsiteX1209" fmla="*/ 1039273 w 1468659"/>
                <a:gd name="connsiteY1209" fmla="*/ 721233 h 1218057"/>
                <a:gd name="connsiteX1210" fmla="*/ 1037558 w 1468659"/>
                <a:gd name="connsiteY1210" fmla="*/ 719900 h 1218057"/>
                <a:gd name="connsiteX1211" fmla="*/ 1040892 w 1468659"/>
                <a:gd name="connsiteY1211" fmla="*/ 708184 h 1218057"/>
                <a:gd name="connsiteX1212" fmla="*/ 1035939 w 1468659"/>
                <a:gd name="connsiteY1212" fmla="*/ 707231 h 1218057"/>
                <a:gd name="connsiteX1213" fmla="*/ 1033748 w 1468659"/>
                <a:gd name="connsiteY1213" fmla="*/ 702659 h 1218057"/>
                <a:gd name="connsiteX1214" fmla="*/ 1037654 w 1468659"/>
                <a:gd name="connsiteY1214" fmla="*/ 695801 h 1218057"/>
                <a:gd name="connsiteX1215" fmla="*/ 1042797 w 1468659"/>
                <a:gd name="connsiteY1215" fmla="*/ 698373 h 1218057"/>
                <a:gd name="connsiteX1216" fmla="*/ 1048893 w 1468659"/>
                <a:gd name="connsiteY1216" fmla="*/ 695992 h 1218057"/>
                <a:gd name="connsiteX1217" fmla="*/ 1051465 w 1468659"/>
                <a:gd name="connsiteY1217" fmla="*/ 690848 h 1218057"/>
                <a:gd name="connsiteX1218" fmla="*/ 1056037 w 1468659"/>
                <a:gd name="connsiteY1218" fmla="*/ 688657 h 1218057"/>
                <a:gd name="connsiteX1219" fmla="*/ 1060133 w 1468659"/>
                <a:gd name="connsiteY1219" fmla="*/ 696087 h 1218057"/>
                <a:gd name="connsiteX1220" fmla="*/ 1068610 w 1468659"/>
                <a:gd name="connsiteY1220" fmla="*/ 699897 h 1218057"/>
                <a:gd name="connsiteX1221" fmla="*/ 1079278 w 1468659"/>
                <a:gd name="connsiteY1221" fmla="*/ 695325 h 1218057"/>
                <a:gd name="connsiteX1222" fmla="*/ 1086041 w 1468659"/>
                <a:gd name="connsiteY1222" fmla="*/ 697611 h 1218057"/>
                <a:gd name="connsiteX1223" fmla="*/ 1088612 w 1468659"/>
                <a:gd name="connsiteY1223" fmla="*/ 705326 h 1218057"/>
                <a:gd name="connsiteX1224" fmla="*/ 1085850 w 1468659"/>
                <a:gd name="connsiteY1224" fmla="*/ 708851 h 1218057"/>
                <a:gd name="connsiteX1225" fmla="*/ 1086231 w 1468659"/>
                <a:gd name="connsiteY1225" fmla="*/ 712089 h 1218057"/>
                <a:gd name="connsiteX1226" fmla="*/ 1088231 w 1468659"/>
                <a:gd name="connsiteY1226" fmla="*/ 715042 h 1218057"/>
                <a:gd name="connsiteX1227" fmla="*/ 1102805 w 1468659"/>
                <a:gd name="connsiteY1227" fmla="*/ 716375 h 1218057"/>
                <a:gd name="connsiteX1228" fmla="*/ 1112901 w 1468659"/>
                <a:gd name="connsiteY1228" fmla="*/ 719900 h 1218057"/>
                <a:gd name="connsiteX1229" fmla="*/ 1116997 w 1468659"/>
                <a:gd name="connsiteY1229" fmla="*/ 714565 h 1218057"/>
                <a:gd name="connsiteX1230" fmla="*/ 1121759 w 1468659"/>
                <a:gd name="connsiteY1230" fmla="*/ 713899 h 1218057"/>
                <a:gd name="connsiteX1231" fmla="*/ 1126903 w 1468659"/>
                <a:gd name="connsiteY1231" fmla="*/ 716471 h 1218057"/>
                <a:gd name="connsiteX1232" fmla="*/ 1128236 w 1468659"/>
                <a:gd name="connsiteY1232" fmla="*/ 714756 h 1218057"/>
                <a:gd name="connsiteX1233" fmla="*/ 1131665 w 1468659"/>
                <a:gd name="connsiteY1233" fmla="*/ 715899 h 1218057"/>
                <a:gd name="connsiteX1234" fmla="*/ 1136142 w 1468659"/>
                <a:gd name="connsiteY1234" fmla="*/ 713708 h 1218057"/>
                <a:gd name="connsiteX1235" fmla="*/ 1136618 w 1468659"/>
                <a:gd name="connsiteY1235" fmla="*/ 716851 h 1218057"/>
                <a:gd name="connsiteX1236" fmla="*/ 1149953 w 1468659"/>
                <a:gd name="connsiteY1236" fmla="*/ 721614 h 1218057"/>
                <a:gd name="connsiteX1237" fmla="*/ 1151763 w 1468659"/>
                <a:gd name="connsiteY1237" fmla="*/ 722947 h 1218057"/>
                <a:gd name="connsiteX1238" fmla="*/ 1152811 w 1468659"/>
                <a:gd name="connsiteY1238" fmla="*/ 730853 h 1218057"/>
                <a:gd name="connsiteX1239" fmla="*/ 1149382 w 1468659"/>
                <a:gd name="connsiteY1239" fmla="*/ 729615 h 1218057"/>
                <a:gd name="connsiteX1240" fmla="*/ 1146715 w 1468659"/>
                <a:gd name="connsiteY1240" fmla="*/ 733234 h 1218057"/>
                <a:gd name="connsiteX1241" fmla="*/ 1147096 w 1468659"/>
                <a:gd name="connsiteY1241" fmla="*/ 736378 h 1218057"/>
                <a:gd name="connsiteX1242" fmla="*/ 1155573 w 1468659"/>
                <a:gd name="connsiteY1242" fmla="*/ 740093 h 1218057"/>
                <a:gd name="connsiteX1243" fmla="*/ 1155764 w 1468659"/>
                <a:gd name="connsiteY1243" fmla="*/ 741712 h 1218057"/>
                <a:gd name="connsiteX1244" fmla="*/ 1153001 w 1468659"/>
                <a:gd name="connsiteY1244" fmla="*/ 745236 h 1218057"/>
                <a:gd name="connsiteX1245" fmla="*/ 1158335 w 1468659"/>
                <a:gd name="connsiteY1245" fmla="*/ 749332 h 1218057"/>
                <a:gd name="connsiteX1246" fmla="*/ 1160907 w 1468659"/>
                <a:gd name="connsiteY1246" fmla="*/ 757047 h 1218057"/>
                <a:gd name="connsiteX1247" fmla="*/ 1159573 w 1468659"/>
                <a:gd name="connsiteY1247" fmla="*/ 758857 h 1218057"/>
                <a:gd name="connsiteX1248" fmla="*/ 1156621 w 1468659"/>
                <a:gd name="connsiteY1248" fmla="*/ 760857 h 1218057"/>
                <a:gd name="connsiteX1249" fmla="*/ 1150334 w 1468659"/>
                <a:gd name="connsiteY1249" fmla="*/ 774478 h 1218057"/>
                <a:gd name="connsiteX1250" fmla="*/ 1155859 w 1468659"/>
                <a:gd name="connsiteY1250" fmla="*/ 780193 h 1218057"/>
                <a:gd name="connsiteX1251" fmla="*/ 1158812 w 1468659"/>
                <a:gd name="connsiteY1251" fmla="*/ 778193 h 1218057"/>
                <a:gd name="connsiteX1252" fmla="*/ 1160621 w 1468659"/>
                <a:gd name="connsiteY1252" fmla="*/ 779526 h 1218057"/>
                <a:gd name="connsiteX1253" fmla="*/ 1167860 w 1468659"/>
                <a:gd name="connsiteY1253" fmla="*/ 773811 h 1218057"/>
                <a:gd name="connsiteX1254" fmla="*/ 1175004 w 1468659"/>
                <a:gd name="connsiteY1254" fmla="*/ 779335 h 1218057"/>
                <a:gd name="connsiteX1255" fmla="*/ 1183291 w 1468659"/>
                <a:gd name="connsiteY1255" fmla="*/ 768668 h 1218057"/>
                <a:gd name="connsiteX1256" fmla="*/ 1187768 w 1468659"/>
                <a:gd name="connsiteY1256" fmla="*/ 766477 h 1218057"/>
                <a:gd name="connsiteX1257" fmla="*/ 1190530 w 1468659"/>
                <a:gd name="connsiteY1257" fmla="*/ 762952 h 1218057"/>
                <a:gd name="connsiteX1258" fmla="*/ 1195102 w 1468659"/>
                <a:gd name="connsiteY1258" fmla="*/ 760762 h 1218057"/>
                <a:gd name="connsiteX1259" fmla="*/ 1201388 w 1468659"/>
                <a:gd name="connsiteY1259" fmla="*/ 759905 h 1218057"/>
                <a:gd name="connsiteX1260" fmla="*/ 1211294 w 1468659"/>
                <a:gd name="connsiteY1260" fmla="*/ 761905 h 1218057"/>
                <a:gd name="connsiteX1261" fmla="*/ 1215962 w 1468659"/>
                <a:gd name="connsiteY1261" fmla="*/ 761238 h 1218057"/>
                <a:gd name="connsiteX1262" fmla="*/ 1226439 w 1468659"/>
                <a:gd name="connsiteY1262" fmla="*/ 768001 h 1218057"/>
                <a:gd name="connsiteX1263" fmla="*/ 1227487 w 1468659"/>
                <a:gd name="connsiteY1263" fmla="*/ 763048 h 1218057"/>
                <a:gd name="connsiteX1264" fmla="*/ 1232154 w 1468659"/>
                <a:gd name="connsiteY1264" fmla="*/ 762381 h 1218057"/>
                <a:gd name="connsiteX1265" fmla="*/ 1229582 w 1468659"/>
                <a:gd name="connsiteY1265" fmla="*/ 754761 h 1218057"/>
                <a:gd name="connsiteX1266" fmla="*/ 1231011 w 1468659"/>
                <a:gd name="connsiteY1266" fmla="*/ 752951 h 1218057"/>
                <a:gd name="connsiteX1267" fmla="*/ 1234345 w 1468659"/>
                <a:gd name="connsiteY1267" fmla="*/ 754094 h 1218057"/>
                <a:gd name="connsiteX1268" fmla="*/ 1240441 w 1468659"/>
                <a:gd name="connsiteY1268" fmla="*/ 738950 h 1218057"/>
                <a:gd name="connsiteX1269" fmla="*/ 1241774 w 1468659"/>
                <a:gd name="connsiteY1269" fmla="*/ 737140 h 1218057"/>
                <a:gd name="connsiteX1270" fmla="*/ 1236059 w 1468659"/>
                <a:gd name="connsiteY1270" fmla="*/ 729805 h 1218057"/>
                <a:gd name="connsiteX1271" fmla="*/ 1238250 w 1468659"/>
                <a:gd name="connsiteY1271" fmla="*/ 721519 h 1218057"/>
                <a:gd name="connsiteX1272" fmla="*/ 1246537 w 1468659"/>
                <a:gd name="connsiteY1272" fmla="*/ 723709 h 1218057"/>
                <a:gd name="connsiteX1273" fmla="*/ 1250061 w 1468659"/>
                <a:gd name="connsiteY1273" fmla="*/ 726472 h 1218057"/>
                <a:gd name="connsiteX1274" fmla="*/ 1247680 w 1468659"/>
                <a:gd name="connsiteY1274" fmla="*/ 733139 h 1218057"/>
                <a:gd name="connsiteX1275" fmla="*/ 1258157 w 1468659"/>
                <a:gd name="connsiteY1275" fmla="*/ 739902 h 1218057"/>
                <a:gd name="connsiteX1276" fmla="*/ 1262729 w 1468659"/>
                <a:gd name="connsiteY1276" fmla="*/ 737711 h 1218057"/>
                <a:gd name="connsiteX1277" fmla="*/ 1269587 w 1468659"/>
                <a:gd name="connsiteY1277" fmla="*/ 741617 h 1218057"/>
                <a:gd name="connsiteX1278" fmla="*/ 1273969 w 1468659"/>
                <a:gd name="connsiteY1278" fmla="*/ 737806 h 1218057"/>
                <a:gd name="connsiteX1279" fmla="*/ 1276541 w 1468659"/>
                <a:gd name="connsiteY1279" fmla="*/ 732758 h 1218057"/>
                <a:gd name="connsiteX1280" fmla="*/ 1281684 w 1468659"/>
                <a:gd name="connsiteY1280" fmla="*/ 735235 h 1218057"/>
                <a:gd name="connsiteX1281" fmla="*/ 1289304 w 1468659"/>
                <a:gd name="connsiteY1281" fmla="*/ 732663 h 1218057"/>
                <a:gd name="connsiteX1282" fmla="*/ 1301020 w 1468659"/>
                <a:gd name="connsiteY1282" fmla="*/ 735997 h 1218057"/>
                <a:gd name="connsiteX1283" fmla="*/ 1316831 w 1468659"/>
                <a:gd name="connsiteY1283" fmla="*/ 746855 h 1218057"/>
                <a:gd name="connsiteX1284" fmla="*/ 1321118 w 1468659"/>
                <a:gd name="connsiteY1284" fmla="*/ 755904 h 1218057"/>
                <a:gd name="connsiteX1285" fmla="*/ 1327690 w 1468659"/>
                <a:gd name="connsiteY1285" fmla="*/ 756666 h 1218057"/>
                <a:gd name="connsiteX1286" fmla="*/ 1335214 w 1468659"/>
                <a:gd name="connsiteY1286" fmla="*/ 765334 h 1218057"/>
                <a:gd name="connsiteX1287" fmla="*/ 1343882 w 1468659"/>
                <a:gd name="connsiteY1287" fmla="*/ 770668 h 1218057"/>
                <a:gd name="connsiteX1288" fmla="*/ 1350645 w 1468659"/>
                <a:gd name="connsiteY1288" fmla="*/ 772954 h 1218057"/>
                <a:gd name="connsiteX1289" fmla="*/ 1356931 w 1468659"/>
                <a:gd name="connsiteY1289" fmla="*/ 772192 h 1218057"/>
                <a:gd name="connsiteX1290" fmla="*/ 1361885 w 1468659"/>
                <a:gd name="connsiteY1290" fmla="*/ 773144 h 1218057"/>
                <a:gd name="connsiteX1291" fmla="*/ 1365599 w 1468659"/>
                <a:gd name="connsiteY1291" fmla="*/ 777526 h 1218057"/>
                <a:gd name="connsiteX1292" fmla="*/ 1374267 w 1468659"/>
                <a:gd name="connsiteY1292" fmla="*/ 770001 h 1218057"/>
                <a:gd name="connsiteX1293" fmla="*/ 1378268 w 1468659"/>
                <a:gd name="connsiteY1293" fmla="*/ 775906 h 1218057"/>
                <a:gd name="connsiteX1294" fmla="*/ 1381792 w 1468659"/>
                <a:gd name="connsiteY1294" fmla="*/ 778669 h 1218057"/>
                <a:gd name="connsiteX1295" fmla="*/ 1385126 w 1468659"/>
                <a:gd name="connsiteY1295" fmla="*/ 779812 h 1218057"/>
                <a:gd name="connsiteX1296" fmla="*/ 1398937 w 1468659"/>
                <a:gd name="connsiteY1296" fmla="*/ 787718 h 1218057"/>
                <a:gd name="connsiteX1297" fmla="*/ 1401032 w 1468659"/>
                <a:gd name="connsiteY1297" fmla="*/ 803434 h 1218057"/>
                <a:gd name="connsiteX1298" fmla="*/ 1406938 w 1468659"/>
                <a:gd name="connsiteY1298" fmla="*/ 812292 h 1218057"/>
                <a:gd name="connsiteX1299" fmla="*/ 1425512 w 1468659"/>
                <a:gd name="connsiteY1299" fmla="*/ 819531 h 1218057"/>
                <a:gd name="connsiteX1300" fmla="*/ 1432179 w 1468659"/>
                <a:gd name="connsiteY1300" fmla="*/ 809149 h 1218057"/>
                <a:gd name="connsiteX1301" fmla="*/ 1433798 w 1468659"/>
                <a:gd name="connsiteY1301" fmla="*/ 808863 h 1218057"/>
                <a:gd name="connsiteX1302" fmla="*/ 1432941 w 1468659"/>
                <a:gd name="connsiteY1302" fmla="*/ 802577 h 1218057"/>
                <a:gd name="connsiteX1303" fmla="*/ 1434370 w 1468659"/>
                <a:gd name="connsiteY1303" fmla="*/ 800767 h 1218057"/>
                <a:gd name="connsiteX1304" fmla="*/ 1439513 w 1468659"/>
                <a:gd name="connsiteY1304" fmla="*/ 803338 h 1218057"/>
                <a:gd name="connsiteX1305" fmla="*/ 1442180 w 1468659"/>
                <a:gd name="connsiteY1305" fmla="*/ 799814 h 1218057"/>
                <a:gd name="connsiteX1306" fmla="*/ 1446752 w 1468659"/>
                <a:gd name="connsiteY1306" fmla="*/ 797623 h 1218057"/>
                <a:gd name="connsiteX1307" fmla="*/ 1440275 w 1468659"/>
                <a:gd name="connsiteY1307" fmla="*/ 796862 h 1218057"/>
                <a:gd name="connsiteX1308" fmla="*/ 1438466 w 1468659"/>
                <a:gd name="connsiteY1308" fmla="*/ 795433 h 1218057"/>
                <a:gd name="connsiteX1309" fmla="*/ 1440085 w 1468659"/>
                <a:gd name="connsiteY1309" fmla="*/ 795242 h 1218057"/>
                <a:gd name="connsiteX1310" fmla="*/ 1442752 w 1468659"/>
                <a:gd name="connsiteY1310" fmla="*/ 791718 h 1218057"/>
                <a:gd name="connsiteX1311" fmla="*/ 1446181 w 1468659"/>
                <a:gd name="connsiteY1311" fmla="*/ 792861 h 1218057"/>
                <a:gd name="connsiteX1312" fmla="*/ 1447133 w 1468659"/>
                <a:gd name="connsiteY1312" fmla="*/ 788003 h 1218057"/>
                <a:gd name="connsiteX1313" fmla="*/ 1445323 w 1468659"/>
                <a:gd name="connsiteY1313" fmla="*/ 786575 h 1218057"/>
                <a:gd name="connsiteX1314" fmla="*/ 1441990 w 1468659"/>
                <a:gd name="connsiteY1314" fmla="*/ 785431 h 1218057"/>
                <a:gd name="connsiteX1315" fmla="*/ 1441799 w 1468659"/>
                <a:gd name="connsiteY1315" fmla="*/ 783812 h 1218057"/>
                <a:gd name="connsiteX1316" fmla="*/ 1440371 w 1468659"/>
                <a:gd name="connsiteY1316" fmla="*/ 785622 h 1218057"/>
                <a:gd name="connsiteX1317" fmla="*/ 1438466 w 1468659"/>
                <a:gd name="connsiteY1317" fmla="*/ 782669 h 1218057"/>
                <a:gd name="connsiteX1318" fmla="*/ 1439227 w 1468659"/>
                <a:gd name="connsiteY1318" fmla="*/ 776097 h 1218057"/>
                <a:gd name="connsiteX1319" fmla="*/ 1444181 w 1468659"/>
                <a:gd name="connsiteY1319" fmla="*/ 777145 h 1218057"/>
                <a:gd name="connsiteX1320" fmla="*/ 1444752 w 1468659"/>
                <a:gd name="connsiteY1320" fmla="*/ 781812 h 1218057"/>
                <a:gd name="connsiteX1321" fmla="*/ 1449705 w 1468659"/>
                <a:gd name="connsiteY1321" fmla="*/ 782860 h 1218057"/>
                <a:gd name="connsiteX1322" fmla="*/ 1452848 w 1468659"/>
                <a:gd name="connsiteY1322" fmla="*/ 782384 h 1218057"/>
                <a:gd name="connsiteX1323" fmla="*/ 1454182 w 1468659"/>
                <a:gd name="connsiteY1323" fmla="*/ 780669 h 1218057"/>
                <a:gd name="connsiteX1324" fmla="*/ 1455611 w 1468659"/>
                <a:gd name="connsiteY1324" fmla="*/ 778859 h 1218057"/>
                <a:gd name="connsiteX1325" fmla="*/ 1458182 w 1468659"/>
                <a:gd name="connsiteY1325" fmla="*/ 773716 h 1218057"/>
                <a:gd name="connsiteX1326" fmla="*/ 1449229 w 1468659"/>
                <a:gd name="connsiteY1326" fmla="*/ 766858 h 1218057"/>
                <a:gd name="connsiteX1327" fmla="*/ 1450467 w 1468659"/>
                <a:gd name="connsiteY1327" fmla="*/ 763429 h 1218057"/>
                <a:gd name="connsiteX1328" fmla="*/ 1453420 w 1468659"/>
                <a:gd name="connsiteY1328" fmla="*/ 761524 h 1218057"/>
                <a:gd name="connsiteX1329" fmla="*/ 1452943 w 1468659"/>
                <a:gd name="connsiteY1329" fmla="*/ 758380 h 1218057"/>
                <a:gd name="connsiteX1330" fmla="*/ 1454182 w 1468659"/>
                <a:gd name="connsiteY1330" fmla="*/ 754951 h 1218057"/>
                <a:gd name="connsiteX1331" fmla="*/ 1443895 w 1468659"/>
                <a:gd name="connsiteY1331" fmla="*/ 749903 h 1218057"/>
                <a:gd name="connsiteX1332" fmla="*/ 1431989 w 1468659"/>
                <a:gd name="connsiteY1332" fmla="*/ 744950 h 1218057"/>
                <a:gd name="connsiteX1333" fmla="*/ 1428845 w 1468659"/>
                <a:gd name="connsiteY1333" fmla="*/ 745331 h 1218057"/>
                <a:gd name="connsiteX1334" fmla="*/ 1417606 w 1468659"/>
                <a:gd name="connsiteY1334" fmla="*/ 745236 h 1218057"/>
                <a:gd name="connsiteX1335" fmla="*/ 1414081 w 1468659"/>
                <a:gd name="connsiteY1335" fmla="*/ 742474 h 1218057"/>
                <a:gd name="connsiteX1336" fmla="*/ 1412081 w 1468659"/>
                <a:gd name="connsiteY1336" fmla="*/ 739521 h 1218057"/>
                <a:gd name="connsiteX1337" fmla="*/ 1413034 w 1468659"/>
                <a:gd name="connsiteY1337" fmla="*/ 734568 h 1218057"/>
                <a:gd name="connsiteX1338" fmla="*/ 1413796 w 1468659"/>
                <a:gd name="connsiteY1338" fmla="*/ 728091 h 1218057"/>
                <a:gd name="connsiteX1339" fmla="*/ 1415225 w 1468659"/>
                <a:gd name="connsiteY1339" fmla="*/ 726281 h 1218057"/>
                <a:gd name="connsiteX1340" fmla="*/ 1412843 w 1468659"/>
                <a:gd name="connsiteY1340" fmla="*/ 720185 h 1218057"/>
                <a:gd name="connsiteX1341" fmla="*/ 1409510 w 1468659"/>
                <a:gd name="connsiteY1341" fmla="*/ 718947 h 1218057"/>
                <a:gd name="connsiteX1342" fmla="*/ 1402747 w 1468659"/>
                <a:gd name="connsiteY1342" fmla="*/ 716661 h 1218057"/>
                <a:gd name="connsiteX1343" fmla="*/ 1398842 w 1468659"/>
                <a:gd name="connsiteY1343" fmla="*/ 723519 h 1218057"/>
                <a:gd name="connsiteX1344" fmla="*/ 1394079 w 1468659"/>
                <a:gd name="connsiteY1344" fmla="*/ 724186 h 1218057"/>
                <a:gd name="connsiteX1345" fmla="*/ 1392936 w 1468659"/>
                <a:gd name="connsiteY1345" fmla="*/ 727519 h 1218057"/>
                <a:gd name="connsiteX1346" fmla="*/ 1391317 w 1468659"/>
                <a:gd name="connsiteY1346" fmla="*/ 727710 h 1218057"/>
                <a:gd name="connsiteX1347" fmla="*/ 1386935 w 1468659"/>
                <a:gd name="connsiteY1347" fmla="*/ 718661 h 1218057"/>
                <a:gd name="connsiteX1348" fmla="*/ 1391317 w 1468659"/>
                <a:gd name="connsiteY1348" fmla="*/ 714851 h 1218057"/>
                <a:gd name="connsiteX1349" fmla="*/ 1388935 w 1468659"/>
                <a:gd name="connsiteY1349" fmla="*/ 708755 h 1218057"/>
                <a:gd name="connsiteX1350" fmla="*/ 1395031 w 1468659"/>
                <a:gd name="connsiteY1350" fmla="*/ 706374 h 1218057"/>
                <a:gd name="connsiteX1351" fmla="*/ 1399794 w 1468659"/>
                <a:gd name="connsiteY1351" fmla="*/ 705802 h 1218057"/>
                <a:gd name="connsiteX1352" fmla="*/ 1402366 w 1468659"/>
                <a:gd name="connsiteY1352" fmla="*/ 700659 h 1218057"/>
                <a:gd name="connsiteX1353" fmla="*/ 1403318 w 1468659"/>
                <a:gd name="connsiteY1353" fmla="*/ 695706 h 1218057"/>
                <a:gd name="connsiteX1354" fmla="*/ 1404842 w 1468659"/>
                <a:gd name="connsiteY1354" fmla="*/ 695515 h 1218057"/>
                <a:gd name="connsiteX1355" fmla="*/ 1408271 w 1468659"/>
                <a:gd name="connsiteY1355" fmla="*/ 696659 h 1218057"/>
                <a:gd name="connsiteX1356" fmla="*/ 1409986 w 1468659"/>
                <a:gd name="connsiteY1356" fmla="*/ 698087 h 1218057"/>
                <a:gd name="connsiteX1357" fmla="*/ 1409033 w 1468659"/>
                <a:gd name="connsiteY1357" fmla="*/ 690181 h 1218057"/>
                <a:gd name="connsiteX1358" fmla="*/ 1413986 w 1468659"/>
                <a:gd name="connsiteY1358" fmla="*/ 691134 h 1218057"/>
                <a:gd name="connsiteX1359" fmla="*/ 1415129 w 1468659"/>
                <a:gd name="connsiteY1359" fmla="*/ 687800 h 1218057"/>
                <a:gd name="connsiteX1360" fmla="*/ 1418082 w 1468659"/>
                <a:gd name="connsiteY1360" fmla="*/ 685800 h 1218057"/>
                <a:gd name="connsiteX1361" fmla="*/ 1416272 w 1468659"/>
                <a:gd name="connsiteY1361" fmla="*/ 684467 h 1218057"/>
                <a:gd name="connsiteX1362" fmla="*/ 1418844 w 1468659"/>
                <a:gd name="connsiteY1362" fmla="*/ 679323 h 1218057"/>
                <a:gd name="connsiteX1363" fmla="*/ 1415510 w 1468659"/>
                <a:gd name="connsiteY1363" fmla="*/ 678085 h 1218057"/>
                <a:gd name="connsiteX1364" fmla="*/ 1416844 w 1468659"/>
                <a:gd name="connsiteY1364" fmla="*/ 676370 h 1218057"/>
                <a:gd name="connsiteX1365" fmla="*/ 1414939 w 1468659"/>
                <a:gd name="connsiteY1365" fmla="*/ 673418 h 1218057"/>
                <a:gd name="connsiteX1366" fmla="*/ 1416082 w 1468659"/>
                <a:gd name="connsiteY1366" fmla="*/ 669988 h 1218057"/>
                <a:gd name="connsiteX1367" fmla="*/ 1423988 w 1468659"/>
                <a:gd name="connsiteY1367" fmla="*/ 669036 h 1218057"/>
                <a:gd name="connsiteX1368" fmla="*/ 1430084 w 1468659"/>
                <a:gd name="connsiteY1368" fmla="*/ 666655 h 1218057"/>
                <a:gd name="connsiteX1369" fmla="*/ 1432179 w 1468659"/>
                <a:gd name="connsiteY1369" fmla="*/ 658368 h 1218057"/>
                <a:gd name="connsiteX1370" fmla="*/ 1427035 w 1468659"/>
                <a:gd name="connsiteY1370" fmla="*/ 655796 h 1218057"/>
                <a:gd name="connsiteX1371" fmla="*/ 1427893 w 1468659"/>
                <a:gd name="connsiteY1371" fmla="*/ 649319 h 1218057"/>
                <a:gd name="connsiteX1372" fmla="*/ 1426083 w 1468659"/>
                <a:gd name="connsiteY1372" fmla="*/ 647890 h 1218057"/>
                <a:gd name="connsiteX1373" fmla="*/ 1424273 w 1468659"/>
                <a:gd name="connsiteY1373" fmla="*/ 646557 h 1218057"/>
                <a:gd name="connsiteX1374" fmla="*/ 1431989 w 1468659"/>
                <a:gd name="connsiteY1374" fmla="*/ 643985 h 1218057"/>
                <a:gd name="connsiteX1375" fmla="*/ 1435513 w 1468659"/>
                <a:gd name="connsiteY1375" fmla="*/ 646652 h 1218057"/>
                <a:gd name="connsiteX1376" fmla="*/ 1436084 w 1468659"/>
                <a:gd name="connsiteY1376" fmla="*/ 638651 h 1218057"/>
                <a:gd name="connsiteX1377" fmla="*/ 1432179 w 1468659"/>
                <a:gd name="connsiteY1377" fmla="*/ 632651 h 1218057"/>
                <a:gd name="connsiteX1378" fmla="*/ 1433131 w 1468659"/>
                <a:gd name="connsiteY1378" fmla="*/ 627793 h 1218057"/>
                <a:gd name="connsiteX1379" fmla="*/ 1443418 w 1468659"/>
                <a:gd name="connsiteY1379" fmla="*/ 632841 h 1218057"/>
                <a:gd name="connsiteX1380" fmla="*/ 1451324 w 1468659"/>
                <a:gd name="connsiteY1380" fmla="*/ 631888 h 1218057"/>
                <a:gd name="connsiteX1381" fmla="*/ 1453039 w 1468659"/>
                <a:gd name="connsiteY1381" fmla="*/ 633222 h 1218057"/>
                <a:gd name="connsiteX1382" fmla="*/ 1454468 w 1468659"/>
                <a:gd name="connsiteY1382" fmla="*/ 631507 h 1218057"/>
                <a:gd name="connsiteX1383" fmla="*/ 1456277 w 1468659"/>
                <a:gd name="connsiteY1383" fmla="*/ 632841 h 1218057"/>
                <a:gd name="connsiteX1384" fmla="*/ 1462564 w 1468659"/>
                <a:gd name="connsiteY1384" fmla="*/ 632079 h 1218057"/>
                <a:gd name="connsiteX1385" fmla="*/ 1465326 w 1468659"/>
                <a:gd name="connsiteY1385" fmla="*/ 628459 h 1218057"/>
                <a:gd name="connsiteX1386" fmla="*/ 1464659 w 1468659"/>
                <a:gd name="connsiteY1386" fmla="*/ 623697 h 1218057"/>
                <a:gd name="connsiteX1387" fmla="*/ 1460754 w 1468659"/>
                <a:gd name="connsiteY1387" fmla="*/ 617792 h 1218057"/>
                <a:gd name="connsiteX1388" fmla="*/ 1468660 w 1468659"/>
                <a:gd name="connsiteY1388" fmla="*/ 616839 h 1218057"/>
                <a:gd name="connsiteX1389" fmla="*/ 1468660 w 1468659"/>
                <a:gd name="connsiteY1389" fmla="*/ 616839 h 1218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</a:cxnLst>
              <a:rect l="l" t="t" r="r" b="b"/>
              <a:pathLst>
                <a:path w="1468659" h="1218057">
                  <a:moveTo>
                    <a:pt x="1468660" y="616839"/>
                  </a:moveTo>
                  <a:lnTo>
                    <a:pt x="1453801" y="601027"/>
                  </a:lnTo>
                  <a:lnTo>
                    <a:pt x="1456563" y="597503"/>
                  </a:lnTo>
                  <a:lnTo>
                    <a:pt x="1461230" y="596932"/>
                  </a:lnTo>
                  <a:lnTo>
                    <a:pt x="1459325" y="593979"/>
                  </a:lnTo>
                  <a:lnTo>
                    <a:pt x="1451039" y="591788"/>
                  </a:lnTo>
                  <a:lnTo>
                    <a:pt x="1448086" y="593788"/>
                  </a:lnTo>
                  <a:lnTo>
                    <a:pt x="1449800" y="595122"/>
                  </a:lnTo>
                  <a:lnTo>
                    <a:pt x="1448467" y="596932"/>
                  </a:lnTo>
                  <a:lnTo>
                    <a:pt x="1439132" y="586930"/>
                  </a:lnTo>
                  <a:lnTo>
                    <a:pt x="1435608" y="584168"/>
                  </a:lnTo>
                  <a:lnTo>
                    <a:pt x="1436942" y="582359"/>
                  </a:lnTo>
                  <a:lnTo>
                    <a:pt x="1444847" y="581406"/>
                  </a:lnTo>
                  <a:lnTo>
                    <a:pt x="1446657" y="582739"/>
                  </a:lnTo>
                  <a:lnTo>
                    <a:pt x="1444276" y="576643"/>
                  </a:lnTo>
                  <a:lnTo>
                    <a:pt x="1443038" y="567118"/>
                  </a:lnTo>
                  <a:lnTo>
                    <a:pt x="1436370" y="564832"/>
                  </a:lnTo>
                  <a:lnTo>
                    <a:pt x="1433989" y="571500"/>
                  </a:lnTo>
                  <a:lnTo>
                    <a:pt x="1434751" y="565023"/>
                  </a:lnTo>
                  <a:lnTo>
                    <a:pt x="1427607" y="559498"/>
                  </a:lnTo>
                  <a:lnTo>
                    <a:pt x="1424654" y="561499"/>
                  </a:lnTo>
                  <a:lnTo>
                    <a:pt x="1421321" y="560356"/>
                  </a:lnTo>
                  <a:lnTo>
                    <a:pt x="1420368" y="565213"/>
                  </a:lnTo>
                  <a:lnTo>
                    <a:pt x="1424083" y="569595"/>
                  </a:lnTo>
                  <a:lnTo>
                    <a:pt x="1421321" y="573119"/>
                  </a:lnTo>
                  <a:lnTo>
                    <a:pt x="1416463" y="572167"/>
                  </a:lnTo>
                  <a:lnTo>
                    <a:pt x="1416177" y="570547"/>
                  </a:lnTo>
                  <a:lnTo>
                    <a:pt x="1412462" y="566261"/>
                  </a:lnTo>
                  <a:lnTo>
                    <a:pt x="1404366" y="565690"/>
                  </a:lnTo>
                  <a:lnTo>
                    <a:pt x="1403033" y="567500"/>
                  </a:lnTo>
                  <a:lnTo>
                    <a:pt x="1396270" y="577882"/>
                  </a:lnTo>
                  <a:lnTo>
                    <a:pt x="1391412" y="576929"/>
                  </a:lnTo>
                  <a:lnTo>
                    <a:pt x="1384840" y="576167"/>
                  </a:lnTo>
                  <a:lnTo>
                    <a:pt x="1373410" y="574453"/>
                  </a:lnTo>
                  <a:lnTo>
                    <a:pt x="1373791" y="577596"/>
                  </a:lnTo>
                  <a:lnTo>
                    <a:pt x="1370457" y="576453"/>
                  </a:lnTo>
                  <a:lnTo>
                    <a:pt x="1369123" y="578168"/>
                  </a:lnTo>
                  <a:lnTo>
                    <a:pt x="1367123" y="575215"/>
                  </a:lnTo>
                  <a:lnTo>
                    <a:pt x="1365504" y="575405"/>
                  </a:lnTo>
                  <a:lnTo>
                    <a:pt x="1357789" y="565213"/>
                  </a:lnTo>
                  <a:lnTo>
                    <a:pt x="1354264" y="562451"/>
                  </a:lnTo>
                  <a:lnTo>
                    <a:pt x="1351121" y="562832"/>
                  </a:lnTo>
                  <a:lnTo>
                    <a:pt x="1348168" y="564832"/>
                  </a:lnTo>
                  <a:lnTo>
                    <a:pt x="1346740" y="566642"/>
                  </a:lnTo>
                  <a:lnTo>
                    <a:pt x="1345216" y="566833"/>
                  </a:lnTo>
                  <a:lnTo>
                    <a:pt x="1343025" y="575119"/>
                  </a:lnTo>
                  <a:lnTo>
                    <a:pt x="1340453" y="580263"/>
                  </a:lnTo>
                  <a:lnTo>
                    <a:pt x="1338739" y="578834"/>
                  </a:lnTo>
                  <a:lnTo>
                    <a:pt x="1339501" y="572357"/>
                  </a:lnTo>
                  <a:lnTo>
                    <a:pt x="1330928" y="568643"/>
                  </a:lnTo>
                  <a:lnTo>
                    <a:pt x="1327214" y="564261"/>
                  </a:lnTo>
                  <a:lnTo>
                    <a:pt x="1320260" y="560356"/>
                  </a:lnTo>
                  <a:lnTo>
                    <a:pt x="1318736" y="560546"/>
                  </a:lnTo>
                  <a:lnTo>
                    <a:pt x="1315593" y="560927"/>
                  </a:lnTo>
                  <a:lnTo>
                    <a:pt x="1308640" y="557022"/>
                  </a:lnTo>
                  <a:lnTo>
                    <a:pt x="1309592" y="552069"/>
                  </a:lnTo>
                  <a:lnTo>
                    <a:pt x="1307211" y="545973"/>
                  </a:lnTo>
                  <a:lnTo>
                    <a:pt x="1303496" y="541687"/>
                  </a:lnTo>
                  <a:lnTo>
                    <a:pt x="1302353" y="545021"/>
                  </a:lnTo>
                  <a:lnTo>
                    <a:pt x="1295400" y="541115"/>
                  </a:lnTo>
                  <a:lnTo>
                    <a:pt x="1296352" y="536162"/>
                  </a:lnTo>
                  <a:lnTo>
                    <a:pt x="1294829" y="536353"/>
                  </a:lnTo>
                  <a:lnTo>
                    <a:pt x="1291400" y="535114"/>
                  </a:lnTo>
                  <a:lnTo>
                    <a:pt x="1293590" y="539686"/>
                  </a:lnTo>
                  <a:lnTo>
                    <a:pt x="1290447" y="540068"/>
                  </a:lnTo>
                  <a:lnTo>
                    <a:pt x="1288447" y="537115"/>
                  </a:lnTo>
                  <a:lnTo>
                    <a:pt x="1285875" y="529495"/>
                  </a:lnTo>
                  <a:lnTo>
                    <a:pt x="1285304" y="524732"/>
                  </a:lnTo>
                  <a:lnTo>
                    <a:pt x="1281970" y="523494"/>
                  </a:lnTo>
                  <a:lnTo>
                    <a:pt x="1278731" y="523970"/>
                  </a:lnTo>
                  <a:lnTo>
                    <a:pt x="1282732" y="517017"/>
                  </a:lnTo>
                  <a:lnTo>
                    <a:pt x="1282732" y="517017"/>
                  </a:lnTo>
                  <a:lnTo>
                    <a:pt x="1281875" y="510730"/>
                  </a:lnTo>
                  <a:lnTo>
                    <a:pt x="1285875" y="503777"/>
                  </a:lnTo>
                  <a:lnTo>
                    <a:pt x="1285399" y="500634"/>
                  </a:lnTo>
                  <a:lnTo>
                    <a:pt x="1289399" y="493681"/>
                  </a:lnTo>
                  <a:lnTo>
                    <a:pt x="1285970" y="492538"/>
                  </a:lnTo>
                  <a:lnTo>
                    <a:pt x="1287399" y="490728"/>
                  </a:lnTo>
                  <a:lnTo>
                    <a:pt x="1285208" y="486251"/>
                  </a:lnTo>
                  <a:lnTo>
                    <a:pt x="1283970" y="476726"/>
                  </a:lnTo>
                  <a:lnTo>
                    <a:pt x="1284542" y="468725"/>
                  </a:lnTo>
                  <a:lnTo>
                    <a:pt x="1281017" y="465963"/>
                  </a:lnTo>
                  <a:lnTo>
                    <a:pt x="1274255" y="463582"/>
                  </a:lnTo>
                  <a:lnTo>
                    <a:pt x="1271302" y="465582"/>
                  </a:lnTo>
                  <a:lnTo>
                    <a:pt x="1268159" y="465963"/>
                  </a:lnTo>
                  <a:lnTo>
                    <a:pt x="1266158" y="463010"/>
                  </a:lnTo>
                  <a:lnTo>
                    <a:pt x="1261491" y="463582"/>
                  </a:lnTo>
                  <a:lnTo>
                    <a:pt x="1262063" y="468344"/>
                  </a:lnTo>
                  <a:lnTo>
                    <a:pt x="1255967" y="470725"/>
                  </a:lnTo>
                  <a:lnTo>
                    <a:pt x="1247299" y="465392"/>
                  </a:lnTo>
                  <a:lnTo>
                    <a:pt x="1240917" y="466249"/>
                  </a:lnTo>
                  <a:lnTo>
                    <a:pt x="1236821" y="471583"/>
                  </a:lnTo>
                  <a:lnTo>
                    <a:pt x="1232249" y="473773"/>
                  </a:lnTo>
                  <a:lnTo>
                    <a:pt x="1230344" y="470821"/>
                  </a:lnTo>
                  <a:lnTo>
                    <a:pt x="1226915" y="469582"/>
                  </a:lnTo>
                  <a:lnTo>
                    <a:pt x="1222629" y="473392"/>
                  </a:lnTo>
                  <a:lnTo>
                    <a:pt x="1223010" y="476536"/>
                  </a:lnTo>
                  <a:lnTo>
                    <a:pt x="1218533" y="478726"/>
                  </a:lnTo>
                  <a:lnTo>
                    <a:pt x="1220819" y="471964"/>
                  </a:lnTo>
                  <a:lnTo>
                    <a:pt x="1219105" y="470630"/>
                  </a:lnTo>
                  <a:lnTo>
                    <a:pt x="1221772" y="467011"/>
                  </a:lnTo>
                  <a:lnTo>
                    <a:pt x="1211104" y="458819"/>
                  </a:lnTo>
                  <a:lnTo>
                    <a:pt x="1209770" y="460534"/>
                  </a:lnTo>
                  <a:lnTo>
                    <a:pt x="1204627" y="458057"/>
                  </a:lnTo>
                  <a:lnTo>
                    <a:pt x="1201484" y="458438"/>
                  </a:lnTo>
                  <a:lnTo>
                    <a:pt x="1192816" y="453104"/>
                  </a:lnTo>
                  <a:lnTo>
                    <a:pt x="1186434" y="453866"/>
                  </a:lnTo>
                  <a:lnTo>
                    <a:pt x="1185291" y="457295"/>
                  </a:lnTo>
                  <a:lnTo>
                    <a:pt x="1178909" y="445294"/>
                  </a:lnTo>
                  <a:lnTo>
                    <a:pt x="1174052" y="444246"/>
                  </a:lnTo>
                  <a:lnTo>
                    <a:pt x="1174623" y="449009"/>
                  </a:lnTo>
                  <a:lnTo>
                    <a:pt x="1165003" y="461486"/>
                  </a:lnTo>
                  <a:lnTo>
                    <a:pt x="1155859" y="465868"/>
                  </a:lnTo>
                  <a:lnTo>
                    <a:pt x="1152525" y="464630"/>
                  </a:lnTo>
                  <a:lnTo>
                    <a:pt x="1145858" y="462248"/>
                  </a:lnTo>
                  <a:lnTo>
                    <a:pt x="1137571" y="460153"/>
                  </a:lnTo>
                  <a:lnTo>
                    <a:pt x="1138714" y="456819"/>
                  </a:lnTo>
                  <a:lnTo>
                    <a:pt x="1135952" y="447484"/>
                  </a:lnTo>
                  <a:lnTo>
                    <a:pt x="1137285" y="445770"/>
                  </a:lnTo>
                  <a:lnTo>
                    <a:pt x="1137095" y="444151"/>
                  </a:lnTo>
                  <a:lnTo>
                    <a:pt x="1135285" y="442817"/>
                  </a:lnTo>
                  <a:lnTo>
                    <a:pt x="1132713" y="435102"/>
                  </a:lnTo>
                  <a:lnTo>
                    <a:pt x="1129570" y="435483"/>
                  </a:lnTo>
                  <a:lnTo>
                    <a:pt x="1127379" y="431006"/>
                  </a:lnTo>
                  <a:lnTo>
                    <a:pt x="1124045" y="429768"/>
                  </a:lnTo>
                  <a:lnTo>
                    <a:pt x="1114616" y="431006"/>
                  </a:lnTo>
                  <a:lnTo>
                    <a:pt x="1109091" y="438150"/>
                  </a:lnTo>
                  <a:lnTo>
                    <a:pt x="1103567" y="432435"/>
                  </a:lnTo>
                  <a:lnTo>
                    <a:pt x="1096994" y="431673"/>
                  </a:lnTo>
                  <a:lnTo>
                    <a:pt x="1093089" y="425767"/>
                  </a:lnTo>
                  <a:lnTo>
                    <a:pt x="1094613" y="425482"/>
                  </a:lnTo>
                  <a:lnTo>
                    <a:pt x="1098042" y="426720"/>
                  </a:lnTo>
                  <a:lnTo>
                    <a:pt x="1110996" y="428244"/>
                  </a:lnTo>
                  <a:lnTo>
                    <a:pt x="1112044" y="423291"/>
                  </a:lnTo>
                  <a:lnTo>
                    <a:pt x="1108043" y="417385"/>
                  </a:lnTo>
                  <a:lnTo>
                    <a:pt x="1112330" y="413671"/>
                  </a:lnTo>
                  <a:lnTo>
                    <a:pt x="1112901" y="405575"/>
                  </a:lnTo>
                  <a:lnTo>
                    <a:pt x="1098137" y="402622"/>
                  </a:lnTo>
                  <a:lnTo>
                    <a:pt x="1089851" y="400431"/>
                  </a:lnTo>
                  <a:lnTo>
                    <a:pt x="1088041" y="399097"/>
                  </a:lnTo>
                  <a:lnTo>
                    <a:pt x="1086898" y="402431"/>
                  </a:lnTo>
                  <a:lnTo>
                    <a:pt x="1081945" y="401479"/>
                  </a:lnTo>
                  <a:lnTo>
                    <a:pt x="1083373" y="399669"/>
                  </a:lnTo>
                  <a:lnTo>
                    <a:pt x="1074610" y="394430"/>
                  </a:lnTo>
                  <a:lnTo>
                    <a:pt x="1072420" y="389858"/>
                  </a:lnTo>
                  <a:lnTo>
                    <a:pt x="1068134" y="380809"/>
                  </a:lnTo>
                  <a:lnTo>
                    <a:pt x="1063181" y="379857"/>
                  </a:lnTo>
                  <a:lnTo>
                    <a:pt x="1064133" y="374904"/>
                  </a:lnTo>
                  <a:lnTo>
                    <a:pt x="1062800" y="376618"/>
                  </a:lnTo>
                  <a:lnTo>
                    <a:pt x="1060799" y="373666"/>
                  </a:lnTo>
                  <a:lnTo>
                    <a:pt x="1054894" y="377666"/>
                  </a:lnTo>
                  <a:lnTo>
                    <a:pt x="1053465" y="379476"/>
                  </a:lnTo>
                  <a:lnTo>
                    <a:pt x="1050322" y="379857"/>
                  </a:lnTo>
                  <a:lnTo>
                    <a:pt x="1046035" y="383572"/>
                  </a:lnTo>
                  <a:lnTo>
                    <a:pt x="1041463" y="385763"/>
                  </a:lnTo>
                  <a:lnTo>
                    <a:pt x="1033367" y="398050"/>
                  </a:lnTo>
                  <a:lnTo>
                    <a:pt x="1025080" y="395859"/>
                  </a:lnTo>
                  <a:lnTo>
                    <a:pt x="1024890" y="394335"/>
                  </a:lnTo>
                  <a:lnTo>
                    <a:pt x="1023366" y="394525"/>
                  </a:lnTo>
                  <a:lnTo>
                    <a:pt x="1022699" y="389763"/>
                  </a:lnTo>
                  <a:lnTo>
                    <a:pt x="1018794" y="383857"/>
                  </a:lnTo>
                  <a:lnTo>
                    <a:pt x="1011460" y="376809"/>
                  </a:lnTo>
                  <a:lnTo>
                    <a:pt x="1008507" y="378809"/>
                  </a:lnTo>
                  <a:lnTo>
                    <a:pt x="1006697" y="377380"/>
                  </a:lnTo>
                  <a:lnTo>
                    <a:pt x="1002792" y="371475"/>
                  </a:lnTo>
                  <a:lnTo>
                    <a:pt x="1003745" y="366522"/>
                  </a:lnTo>
                  <a:lnTo>
                    <a:pt x="1000411" y="365379"/>
                  </a:lnTo>
                  <a:lnTo>
                    <a:pt x="999934" y="362236"/>
                  </a:lnTo>
                  <a:lnTo>
                    <a:pt x="991648" y="360045"/>
                  </a:lnTo>
                  <a:lnTo>
                    <a:pt x="984980" y="357664"/>
                  </a:lnTo>
                  <a:lnTo>
                    <a:pt x="988695" y="349186"/>
                  </a:lnTo>
                  <a:lnTo>
                    <a:pt x="988314" y="346043"/>
                  </a:lnTo>
                  <a:lnTo>
                    <a:pt x="981551" y="343662"/>
                  </a:lnTo>
                  <a:lnTo>
                    <a:pt x="974217" y="336613"/>
                  </a:lnTo>
                  <a:lnTo>
                    <a:pt x="972122" y="332042"/>
                  </a:lnTo>
                  <a:lnTo>
                    <a:pt x="971645" y="328898"/>
                  </a:lnTo>
                  <a:lnTo>
                    <a:pt x="974598" y="326993"/>
                  </a:lnTo>
                  <a:lnTo>
                    <a:pt x="974026" y="322231"/>
                  </a:lnTo>
                  <a:lnTo>
                    <a:pt x="978789" y="321659"/>
                  </a:lnTo>
                  <a:lnTo>
                    <a:pt x="978122" y="316897"/>
                  </a:lnTo>
                  <a:lnTo>
                    <a:pt x="979932" y="318230"/>
                  </a:lnTo>
                  <a:lnTo>
                    <a:pt x="983837" y="311372"/>
                  </a:lnTo>
                  <a:lnTo>
                    <a:pt x="986790" y="309372"/>
                  </a:lnTo>
                  <a:lnTo>
                    <a:pt x="990219" y="310515"/>
                  </a:lnTo>
                  <a:lnTo>
                    <a:pt x="991172" y="305562"/>
                  </a:lnTo>
                  <a:lnTo>
                    <a:pt x="986600" y="307753"/>
                  </a:lnTo>
                  <a:lnTo>
                    <a:pt x="985171" y="296704"/>
                  </a:lnTo>
                  <a:lnTo>
                    <a:pt x="981266" y="290798"/>
                  </a:lnTo>
                  <a:lnTo>
                    <a:pt x="973169" y="290227"/>
                  </a:lnTo>
                  <a:lnTo>
                    <a:pt x="964501" y="284988"/>
                  </a:lnTo>
                  <a:lnTo>
                    <a:pt x="962882" y="285179"/>
                  </a:lnTo>
                  <a:lnTo>
                    <a:pt x="960882" y="282226"/>
                  </a:lnTo>
                  <a:lnTo>
                    <a:pt x="963644" y="278606"/>
                  </a:lnTo>
                  <a:lnTo>
                    <a:pt x="963263" y="275463"/>
                  </a:lnTo>
                  <a:lnTo>
                    <a:pt x="961263" y="272510"/>
                  </a:lnTo>
                  <a:lnTo>
                    <a:pt x="962501" y="269176"/>
                  </a:lnTo>
                  <a:lnTo>
                    <a:pt x="965454" y="267176"/>
                  </a:lnTo>
                  <a:lnTo>
                    <a:pt x="962025" y="266033"/>
                  </a:lnTo>
                  <a:lnTo>
                    <a:pt x="963073" y="261080"/>
                  </a:lnTo>
                  <a:lnTo>
                    <a:pt x="966406" y="262223"/>
                  </a:lnTo>
                  <a:lnTo>
                    <a:pt x="969359" y="260223"/>
                  </a:lnTo>
                  <a:lnTo>
                    <a:pt x="970312" y="255365"/>
                  </a:lnTo>
                  <a:lnTo>
                    <a:pt x="969931" y="252127"/>
                  </a:lnTo>
                  <a:lnTo>
                    <a:pt x="971074" y="248793"/>
                  </a:lnTo>
                  <a:lnTo>
                    <a:pt x="970121" y="240887"/>
                  </a:lnTo>
                  <a:lnTo>
                    <a:pt x="973074" y="238982"/>
                  </a:lnTo>
                  <a:lnTo>
                    <a:pt x="972407" y="234220"/>
                  </a:lnTo>
                  <a:lnTo>
                    <a:pt x="975360" y="232219"/>
                  </a:lnTo>
                  <a:lnTo>
                    <a:pt x="977741" y="225552"/>
                  </a:lnTo>
                  <a:lnTo>
                    <a:pt x="974598" y="225933"/>
                  </a:lnTo>
                  <a:lnTo>
                    <a:pt x="973169" y="227743"/>
                  </a:lnTo>
                  <a:lnTo>
                    <a:pt x="968693" y="229838"/>
                  </a:lnTo>
                  <a:lnTo>
                    <a:pt x="968312" y="226695"/>
                  </a:lnTo>
                  <a:lnTo>
                    <a:pt x="969455" y="223361"/>
                  </a:lnTo>
                  <a:lnTo>
                    <a:pt x="972598" y="222980"/>
                  </a:lnTo>
                  <a:lnTo>
                    <a:pt x="976503" y="216027"/>
                  </a:lnTo>
                  <a:lnTo>
                    <a:pt x="976693" y="204788"/>
                  </a:lnTo>
                  <a:lnTo>
                    <a:pt x="979265" y="199644"/>
                  </a:lnTo>
                  <a:lnTo>
                    <a:pt x="984028" y="199072"/>
                  </a:lnTo>
                  <a:lnTo>
                    <a:pt x="986123" y="177927"/>
                  </a:lnTo>
                  <a:lnTo>
                    <a:pt x="985742" y="174784"/>
                  </a:lnTo>
                  <a:lnTo>
                    <a:pt x="982313" y="173641"/>
                  </a:lnTo>
                  <a:lnTo>
                    <a:pt x="980218" y="169069"/>
                  </a:lnTo>
                  <a:lnTo>
                    <a:pt x="981742" y="168878"/>
                  </a:lnTo>
                  <a:lnTo>
                    <a:pt x="984695" y="166878"/>
                  </a:lnTo>
                  <a:lnTo>
                    <a:pt x="987076" y="160210"/>
                  </a:lnTo>
                  <a:lnTo>
                    <a:pt x="990029" y="158210"/>
                  </a:lnTo>
                  <a:lnTo>
                    <a:pt x="987838" y="153638"/>
                  </a:lnTo>
                  <a:lnTo>
                    <a:pt x="988409" y="145542"/>
                  </a:lnTo>
                  <a:lnTo>
                    <a:pt x="986600" y="144209"/>
                  </a:lnTo>
                  <a:lnTo>
                    <a:pt x="986218" y="141065"/>
                  </a:lnTo>
                  <a:lnTo>
                    <a:pt x="987838" y="140875"/>
                  </a:lnTo>
                  <a:lnTo>
                    <a:pt x="980504" y="133731"/>
                  </a:lnTo>
                  <a:lnTo>
                    <a:pt x="980122" y="130588"/>
                  </a:lnTo>
                  <a:lnTo>
                    <a:pt x="978122" y="127635"/>
                  </a:lnTo>
                  <a:lnTo>
                    <a:pt x="976313" y="126301"/>
                  </a:lnTo>
                  <a:lnTo>
                    <a:pt x="969645" y="123920"/>
                  </a:lnTo>
                  <a:lnTo>
                    <a:pt x="970597" y="118967"/>
                  </a:lnTo>
                  <a:lnTo>
                    <a:pt x="972979" y="112300"/>
                  </a:lnTo>
                  <a:lnTo>
                    <a:pt x="978027" y="114776"/>
                  </a:lnTo>
                  <a:lnTo>
                    <a:pt x="977646" y="111633"/>
                  </a:lnTo>
                  <a:lnTo>
                    <a:pt x="981266" y="114395"/>
                  </a:lnTo>
                  <a:lnTo>
                    <a:pt x="984409" y="114014"/>
                  </a:lnTo>
                  <a:lnTo>
                    <a:pt x="992696" y="116205"/>
                  </a:lnTo>
                  <a:lnTo>
                    <a:pt x="996982" y="112395"/>
                  </a:lnTo>
                  <a:lnTo>
                    <a:pt x="998220" y="109061"/>
                  </a:lnTo>
                  <a:lnTo>
                    <a:pt x="994601" y="106299"/>
                  </a:lnTo>
                  <a:lnTo>
                    <a:pt x="991838" y="97060"/>
                  </a:lnTo>
                  <a:lnTo>
                    <a:pt x="987838" y="91154"/>
                  </a:lnTo>
                  <a:lnTo>
                    <a:pt x="986123" y="89725"/>
                  </a:lnTo>
                  <a:lnTo>
                    <a:pt x="990029" y="82867"/>
                  </a:lnTo>
                  <a:lnTo>
                    <a:pt x="985266" y="83439"/>
                  </a:lnTo>
                  <a:lnTo>
                    <a:pt x="984313" y="88392"/>
                  </a:lnTo>
                  <a:lnTo>
                    <a:pt x="982789" y="88582"/>
                  </a:lnTo>
                  <a:lnTo>
                    <a:pt x="977646" y="86011"/>
                  </a:lnTo>
                  <a:lnTo>
                    <a:pt x="975074" y="91154"/>
                  </a:lnTo>
                  <a:lnTo>
                    <a:pt x="970121" y="90202"/>
                  </a:lnTo>
                  <a:lnTo>
                    <a:pt x="967740" y="84106"/>
                  </a:lnTo>
                  <a:lnTo>
                    <a:pt x="960596" y="78581"/>
                  </a:lnTo>
                  <a:lnTo>
                    <a:pt x="964978" y="74771"/>
                  </a:lnTo>
                  <a:lnTo>
                    <a:pt x="959834" y="72200"/>
                  </a:lnTo>
                  <a:lnTo>
                    <a:pt x="957834" y="69247"/>
                  </a:lnTo>
                  <a:lnTo>
                    <a:pt x="959263" y="67532"/>
                  </a:lnTo>
                  <a:lnTo>
                    <a:pt x="957453" y="66104"/>
                  </a:lnTo>
                  <a:lnTo>
                    <a:pt x="955643" y="64770"/>
                  </a:lnTo>
                  <a:lnTo>
                    <a:pt x="954214" y="53721"/>
                  </a:lnTo>
                  <a:lnTo>
                    <a:pt x="949928" y="57436"/>
                  </a:lnTo>
                  <a:lnTo>
                    <a:pt x="951071" y="54102"/>
                  </a:lnTo>
                  <a:lnTo>
                    <a:pt x="950690" y="50959"/>
                  </a:lnTo>
                  <a:lnTo>
                    <a:pt x="949071" y="51149"/>
                  </a:lnTo>
                  <a:lnTo>
                    <a:pt x="950500" y="49339"/>
                  </a:lnTo>
                  <a:lnTo>
                    <a:pt x="949928" y="44672"/>
                  </a:lnTo>
                  <a:lnTo>
                    <a:pt x="944975" y="43625"/>
                  </a:lnTo>
                  <a:lnTo>
                    <a:pt x="948118" y="43243"/>
                  </a:lnTo>
                  <a:lnTo>
                    <a:pt x="951262" y="42863"/>
                  </a:lnTo>
                  <a:lnTo>
                    <a:pt x="951071" y="41243"/>
                  </a:lnTo>
                  <a:lnTo>
                    <a:pt x="944309" y="38957"/>
                  </a:lnTo>
                  <a:lnTo>
                    <a:pt x="943927" y="35814"/>
                  </a:lnTo>
                  <a:lnTo>
                    <a:pt x="942975" y="40672"/>
                  </a:lnTo>
                  <a:lnTo>
                    <a:pt x="939832" y="41148"/>
                  </a:lnTo>
                  <a:lnTo>
                    <a:pt x="937831" y="38195"/>
                  </a:lnTo>
                  <a:lnTo>
                    <a:pt x="934879" y="40100"/>
                  </a:lnTo>
                  <a:lnTo>
                    <a:pt x="931355" y="50197"/>
                  </a:lnTo>
                  <a:lnTo>
                    <a:pt x="933164" y="51625"/>
                  </a:lnTo>
                  <a:lnTo>
                    <a:pt x="931735" y="53340"/>
                  </a:lnTo>
                  <a:lnTo>
                    <a:pt x="928402" y="52197"/>
                  </a:lnTo>
                  <a:lnTo>
                    <a:pt x="927830" y="47434"/>
                  </a:lnTo>
                  <a:lnTo>
                    <a:pt x="924020" y="43148"/>
                  </a:lnTo>
                  <a:lnTo>
                    <a:pt x="922496" y="43339"/>
                  </a:lnTo>
                  <a:lnTo>
                    <a:pt x="917353" y="40767"/>
                  </a:lnTo>
                  <a:lnTo>
                    <a:pt x="911543" y="33528"/>
                  </a:lnTo>
                  <a:lnTo>
                    <a:pt x="906971" y="22860"/>
                  </a:lnTo>
                  <a:lnTo>
                    <a:pt x="900684" y="23622"/>
                  </a:lnTo>
                  <a:lnTo>
                    <a:pt x="884110" y="19336"/>
                  </a:lnTo>
                  <a:lnTo>
                    <a:pt x="881729" y="13240"/>
                  </a:lnTo>
                  <a:lnTo>
                    <a:pt x="872395" y="3143"/>
                  </a:lnTo>
                  <a:lnTo>
                    <a:pt x="873823" y="1429"/>
                  </a:lnTo>
                  <a:lnTo>
                    <a:pt x="872014" y="0"/>
                  </a:lnTo>
                  <a:lnTo>
                    <a:pt x="871252" y="6572"/>
                  </a:lnTo>
                  <a:lnTo>
                    <a:pt x="870490" y="13049"/>
                  </a:lnTo>
                  <a:lnTo>
                    <a:pt x="862584" y="14097"/>
                  </a:lnTo>
                  <a:lnTo>
                    <a:pt x="862775" y="15621"/>
                  </a:lnTo>
                  <a:lnTo>
                    <a:pt x="859822" y="17621"/>
                  </a:lnTo>
                  <a:lnTo>
                    <a:pt x="860012" y="19240"/>
                  </a:lnTo>
                  <a:lnTo>
                    <a:pt x="858298" y="17812"/>
                  </a:lnTo>
                  <a:lnTo>
                    <a:pt x="855535" y="21336"/>
                  </a:lnTo>
                  <a:lnTo>
                    <a:pt x="855726" y="22955"/>
                  </a:lnTo>
                  <a:lnTo>
                    <a:pt x="858869" y="22574"/>
                  </a:lnTo>
                  <a:lnTo>
                    <a:pt x="858298" y="30671"/>
                  </a:lnTo>
                  <a:lnTo>
                    <a:pt x="846677" y="27337"/>
                  </a:lnTo>
                  <a:lnTo>
                    <a:pt x="847058" y="30480"/>
                  </a:lnTo>
                  <a:lnTo>
                    <a:pt x="848868" y="31813"/>
                  </a:lnTo>
                  <a:lnTo>
                    <a:pt x="844105" y="32480"/>
                  </a:lnTo>
                  <a:lnTo>
                    <a:pt x="845630" y="32290"/>
                  </a:lnTo>
                  <a:lnTo>
                    <a:pt x="847630" y="35242"/>
                  </a:lnTo>
                  <a:lnTo>
                    <a:pt x="846296" y="36957"/>
                  </a:lnTo>
                  <a:lnTo>
                    <a:pt x="849630" y="38195"/>
                  </a:lnTo>
                  <a:lnTo>
                    <a:pt x="847058" y="43339"/>
                  </a:lnTo>
                  <a:lnTo>
                    <a:pt x="848868" y="44672"/>
                  </a:lnTo>
                  <a:lnTo>
                    <a:pt x="845725" y="45053"/>
                  </a:lnTo>
                  <a:lnTo>
                    <a:pt x="844487" y="48482"/>
                  </a:lnTo>
                  <a:lnTo>
                    <a:pt x="842963" y="48673"/>
                  </a:lnTo>
                  <a:lnTo>
                    <a:pt x="842201" y="55150"/>
                  </a:lnTo>
                  <a:lnTo>
                    <a:pt x="840581" y="55340"/>
                  </a:lnTo>
                  <a:lnTo>
                    <a:pt x="839438" y="58674"/>
                  </a:lnTo>
                  <a:lnTo>
                    <a:pt x="840962" y="58483"/>
                  </a:lnTo>
                  <a:lnTo>
                    <a:pt x="841438" y="61627"/>
                  </a:lnTo>
                  <a:lnTo>
                    <a:pt x="846296" y="62675"/>
                  </a:lnTo>
                  <a:lnTo>
                    <a:pt x="844010" y="69342"/>
                  </a:lnTo>
                  <a:lnTo>
                    <a:pt x="846010" y="72295"/>
                  </a:lnTo>
                  <a:lnTo>
                    <a:pt x="848963" y="70294"/>
                  </a:lnTo>
                  <a:lnTo>
                    <a:pt x="849344" y="73533"/>
                  </a:lnTo>
                  <a:lnTo>
                    <a:pt x="847725" y="73723"/>
                  </a:lnTo>
                  <a:lnTo>
                    <a:pt x="852868" y="76200"/>
                  </a:lnTo>
                  <a:lnTo>
                    <a:pt x="853250" y="79438"/>
                  </a:lnTo>
                  <a:lnTo>
                    <a:pt x="848773" y="81534"/>
                  </a:lnTo>
                  <a:lnTo>
                    <a:pt x="853440" y="80963"/>
                  </a:lnTo>
                  <a:lnTo>
                    <a:pt x="852106" y="82772"/>
                  </a:lnTo>
                  <a:lnTo>
                    <a:pt x="847534" y="84963"/>
                  </a:lnTo>
                  <a:lnTo>
                    <a:pt x="844201" y="83725"/>
                  </a:lnTo>
                  <a:lnTo>
                    <a:pt x="842867" y="85534"/>
                  </a:lnTo>
                  <a:lnTo>
                    <a:pt x="843058" y="87154"/>
                  </a:lnTo>
                  <a:lnTo>
                    <a:pt x="835343" y="89725"/>
                  </a:lnTo>
                  <a:lnTo>
                    <a:pt x="835533" y="91250"/>
                  </a:lnTo>
                  <a:lnTo>
                    <a:pt x="832390" y="91726"/>
                  </a:lnTo>
                  <a:lnTo>
                    <a:pt x="832009" y="88487"/>
                  </a:lnTo>
                  <a:lnTo>
                    <a:pt x="825722" y="89344"/>
                  </a:lnTo>
                  <a:lnTo>
                    <a:pt x="822293" y="88106"/>
                  </a:lnTo>
                  <a:lnTo>
                    <a:pt x="820960" y="89916"/>
                  </a:lnTo>
                  <a:lnTo>
                    <a:pt x="821341" y="93059"/>
                  </a:lnTo>
                  <a:lnTo>
                    <a:pt x="816578" y="93726"/>
                  </a:lnTo>
                  <a:lnTo>
                    <a:pt x="815054" y="93917"/>
                  </a:lnTo>
                  <a:lnTo>
                    <a:pt x="814102" y="98869"/>
                  </a:lnTo>
                  <a:lnTo>
                    <a:pt x="806958" y="106108"/>
                  </a:lnTo>
                  <a:lnTo>
                    <a:pt x="803624" y="104965"/>
                  </a:lnTo>
                  <a:lnTo>
                    <a:pt x="802481" y="108299"/>
                  </a:lnTo>
                  <a:lnTo>
                    <a:pt x="797528" y="107347"/>
                  </a:lnTo>
                  <a:lnTo>
                    <a:pt x="794766" y="110871"/>
                  </a:lnTo>
                  <a:lnTo>
                    <a:pt x="795147" y="114109"/>
                  </a:lnTo>
                  <a:lnTo>
                    <a:pt x="790384" y="114681"/>
                  </a:lnTo>
                  <a:lnTo>
                    <a:pt x="796195" y="121920"/>
                  </a:lnTo>
                  <a:lnTo>
                    <a:pt x="793433" y="125539"/>
                  </a:lnTo>
                  <a:lnTo>
                    <a:pt x="792671" y="132017"/>
                  </a:lnTo>
                  <a:lnTo>
                    <a:pt x="791242" y="133826"/>
                  </a:lnTo>
                  <a:lnTo>
                    <a:pt x="784765" y="133064"/>
                  </a:lnTo>
                  <a:lnTo>
                    <a:pt x="782764" y="130111"/>
                  </a:lnTo>
                  <a:lnTo>
                    <a:pt x="783908" y="126682"/>
                  </a:lnTo>
                  <a:lnTo>
                    <a:pt x="781145" y="117443"/>
                  </a:lnTo>
                  <a:lnTo>
                    <a:pt x="776192" y="116491"/>
                  </a:lnTo>
                  <a:lnTo>
                    <a:pt x="762572" y="110204"/>
                  </a:lnTo>
                  <a:lnTo>
                    <a:pt x="748760" y="115157"/>
                  </a:lnTo>
                  <a:lnTo>
                    <a:pt x="745617" y="115538"/>
                  </a:lnTo>
                  <a:lnTo>
                    <a:pt x="743426" y="111061"/>
                  </a:lnTo>
                  <a:lnTo>
                    <a:pt x="738759" y="111633"/>
                  </a:lnTo>
                  <a:lnTo>
                    <a:pt x="738283" y="108490"/>
                  </a:lnTo>
                  <a:lnTo>
                    <a:pt x="741235" y="106489"/>
                  </a:lnTo>
                  <a:lnTo>
                    <a:pt x="744379" y="106108"/>
                  </a:lnTo>
                  <a:lnTo>
                    <a:pt x="745426" y="101155"/>
                  </a:lnTo>
                  <a:lnTo>
                    <a:pt x="748189" y="97631"/>
                  </a:lnTo>
                  <a:lnTo>
                    <a:pt x="748760" y="89535"/>
                  </a:lnTo>
                  <a:lnTo>
                    <a:pt x="748284" y="86392"/>
                  </a:lnTo>
                  <a:lnTo>
                    <a:pt x="746760" y="86582"/>
                  </a:lnTo>
                  <a:lnTo>
                    <a:pt x="745331" y="88297"/>
                  </a:lnTo>
                  <a:lnTo>
                    <a:pt x="744379" y="93250"/>
                  </a:lnTo>
                  <a:lnTo>
                    <a:pt x="741426" y="95250"/>
                  </a:lnTo>
                  <a:lnTo>
                    <a:pt x="736473" y="94297"/>
                  </a:lnTo>
                  <a:lnTo>
                    <a:pt x="736949" y="97441"/>
                  </a:lnTo>
                  <a:lnTo>
                    <a:pt x="733711" y="97822"/>
                  </a:lnTo>
                  <a:lnTo>
                    <a:pt x="734568" y="91345"/>
                  </a:lnTo>
                  <a:lnTo>
                    <a:pt x="729425" y="101632"/>
                  </a:lnTo>
                  <a:lnTo>
                    <a:pt x="724472" y="100584"/>
                  </a:lnTo>
                  <a:lnTo>
                    <a:pt x="725900" y="98869"/>
                  </a:lnTo>
                  <a:lnTo>
                    <a:pt x="724281" y="99060"/>
                  </a:lnTo>
                  <a:lnTo>
                    <a:pt x="722947" y="100775"/>
                  </a:lnTo>
                  <a:lnTo>
                    <a:pt x="720947" y="97822"/>
                  </a:lnTo>
                  <a:lnTo>
                    <a:pt x="719518" y="99631"/>
                  </a:lnTo>
                  <a:lnTo>
                    <a:pt x="717804" y="98298"/>
                  </a:lnTo>
                  <a:lnTo>
                    <a:pt x="712851" y="97250"/>
                  </a:lnTo>
                  <a:lnTo>
                    <a:pt x="710851" y="94297"/>
                  </a:lnTo>
                  <a:lnTo>
                    <a:pt x="707898" y="96298"/>
                  </a:lnTo>
                  <a:lnTo>
                    <a:pt x="705136" y="99917"/>
                  </a:lnTo>
                  <a:lnTo>
                    <a:pt x="702945" y="95345"/>
                  </a:lnTo>
                  <a:lnTo>
                    <a:pt x="701612" y="97155"/>
                  </a:lnTo>
                  <a:lnTo>
                    <a:pt x="701135" y="94012"/>
                  </a:lnTo>
                  <a:lnTo>
                    <a:pt x="696659" y="96107"/>
                  </a:lnTo>
                  <a:lnTo>
                    <a:pt x="696468" y="94583"/>
                  </a:lnTo>
                  <a:lnTo>
                    <a:pt x="693134" y="93440"/>
                  </a:lnTo>
                  <a:lnTo>
                    <a:pt x="695420" y="86677"/>
                  </a:lnTo>
                  <a:lnTo>
                    <a:pt x="693706" y="85344"/>
                  </a:lnTo>
                  <a:lnTo>
                    <a:pt x="688943" y="85915"/>
                  </a:lnTo>
                  <a:lnTo>
                    <a:pt x="686181" y="89440"/>
                  </a:lnTo>
                  <a:lnTo>
                    <a:pt x="681228" y="88487"/>
                  </a:lnTo>
                  <a:lnTo>
                    <a:pt x="672560" y="83153"/>
                  </a:lnTo>
                  <a:lnTo>
                    <a:pt x="667798" y="83820"/>
                  </a:lnTo>
                  <a:lnTo>
                    <a:pt x="669608" y="85154"/>
                  </a:lnTo>
                  <a:lnTo>
                    <a:pt x="667226" y="91916"/>
                  </a:lnTo>
                  <a:lnTo>
                    <a:pt x="661130" y="94297"/>
                  </a:lnTo>
                  <a:lnTo>
                    <a:pt x="663130" y="97250"/>
                  </a:lnTo>
                  <a:lnTo>
                    <a:pt x="666274" y="96774"/>
                  </a:lnTo>
                  <a:lnTo>
                    <a:pt x="664845" y="98584"/>
                  </a:lnTo>
                  <a:lnTo>
                    <a:pt x="663321" y="98774"/>
                  </a:lnTo>
                  <a:lnTo>
                    <a:pt x="659511" y="94488"/>
                  </a:lnTo>
                  <a:lnTo>
                    <a:pt x="658368" y="97822"/>
                  </a:lnTo>
                  <a:lnTo>
                    <a:pt x="654844" y="95059"/>
                  </a:lnTo>
                  <a:lnTo>
                    <a:pt x="654368" y="91916"/>
                  </a:lnTo>
                  <a:lnTo>
                    <a:pt x="652843" y="92107"/>
                  </a:lnTo>
                  <a:lnTo>
                    <a:pt x="650653" y="87535"/>
                  </a:lnTo>
                  <a:lnTo>
                    <a:pt x="645890" y="88201"/>
                  </a:lnTo>
                  <a:lnTo>
                    <a:pt x="644938" y="80296"/>
                  </a:lnTo>
                  <a:lnTo>
                    <a:pt x="638556" y="81058"/>
                  </a:lnTo>
                  <a:lnTo>
                    <a:pt x="637413" y="84487"/>
                  </a:lnTo>
                  <a:lnTo>
                    <a:pt x="634270" y="84868"/>
                  </a:lnTo>
                  <a:lnTo>
                    <a:pt x="626173" y="71438"/>
                  </a:lnTo>
                  <a:lnTo>
                    <a:pt x="623030" y="71818"/>
                  </a:lnTo>
                  <a:lnTo>
                    <a:pt x="619220" y="67532"/>
                  </a:lnTo>
                  <a:lnTo>
                    <a:pt x="621601" y="73628"/>
                  </a:lnTo>
                  <a:lnTo>
                    <a:pt x="620077" y="73819"/>
                  </a:lnTo>
                  <a:lnTo>
                    <a:pt x="616458" y="71056"/>
                  </a:lnTo>
                  <a:lnTo>
                    <a:pt x="615125" y="72866"/>
                  </a:lnTo>
                  <a:lnTo>
                    <a:pt x="616648" y="72676"/>
                  </a:lnTo>
                  <a:lnTo>
                    <a:pt x="621030" y="81725"/>
                  </a:lnTo>
                  <a:lnTo>
                    <a:pt x="619697" y="83534"/>
                  </a:lnTo>
                  <a:lnTo>
                    <a:pt x="621411" y="84868"/>
                  </a:lnTo>
                  <a:lnTo>
                    <a:pt x="618649" y="88487"/>
                  </a:lnTo>
                  <a:lnTo>
                    <a:pt x="620649" y="91440"/>
                  </a:lnTo>
                  <a:lnTo>
                    <a:pt x="625412" y="90773"/>
                  </a:lnTo>
                  <a:lnTo>
                    <a:pt x="623983" y="92583"/>
                  </a:lnTo>
                  <a:lnTo>
                    <a:pt x="620649" y="91440"/>
                  </a:lnTo>
                  <a:lnTo>
                    <a:pt x="621030" y="94583"/>
                  </a:lnTo>
                  <a:lnTo>
                    <a:pt x="619506" y="94774"/>
                  </a:lnTo>
                  <a:lnTo>
                    <a:pt x="616934" y="87058"/>
                  </a:lnTo>
                  <a:lnTo>
                    <a:pt x="613791" y="87439"/>
                  </a:lnTo>
                  <a:lnTo>
                    <a:pt x="610172" y="84677"/>
                  </a:lnTo>
                  <a:lnTo>
                    <a:pt x="605504" y="85344"/>
                  </a:lnTo>
                  <a:lnTo>
                    <a:pt x="604266" y="88678"/>
                  </a:lnTo>
                  <a:lnTo>
                    <a:pt x="600932" y="87535"/>
                  </a:lnTo>
                  <a:lnTo>
                    <a:pt x="601123" y="89059"/>
                  </a:lnTo>
                  <a:lnTo>
                    <a:pt x="599504" y="89249"/>
                  </a:lnTo>
                  <a:lnTo>
                    <a:pt x="601504" y="92202"/>
                  </a:lnTo>
                  <a:lnTo>
                    <a:pt x="599980" y="92392"/>
                  </a:lnTo>
                  <a:lnTo>
                    <a:pt x="600170" y="94012"/>
                  </a:lnTo>
                  <a:lnTo>
                    <a:pt x="598360" y="92678"/>
                  </a:lnTo>
                  <a:lnTo>
                    <a:pt x="598551" y="94202"/>
                  </a:lnTo>
                  <a:lnTo>
                    <a:pt x="597218" y="96012"/>
                  </a:lnTo>
                  <a:lnTo>
                    <a:pt x="595217" y="93059"/>
                  </a:lnTo>
                  <a:lnTo>
                    <a:pt x="593884" y="94774"/>
                  </a:lnTo>
                  <a:lnTo>
                    <a:pt x="591502" y="101536"/>
                  </a:lnTo>
                  <a:lnTo>
                    <a:pt x="589883" y="101727"/>
                  </a:lnTo>
                  <a:lnTo>
                    <a:pt x="591122" y="98393"/>
                  </a:lnTo>
                  <a:lnTo>
                    <a:pt x="587693" y="97155"/>
                  </a:lnTo>
                  <a:lnTo>
                    <a:pt x="584930" y="100775"/>
                  </a:lnTo>
                  <a:lnTo>
                    <a:pt x="583978" y="105727"/>
                  </a:lnTo>
                  <a:lnTo>
                    <a:pt x="582454" y="105918"/>
                  </a:lnTo>
                  <a:lnTo>
                    <a:pt x="581787" y="101155"/>
                  </a:lnTo>
                  <a:lnTo>
                    <a:pt x="578644" y="101536"/>
                  </a:lnTo>
                  <a:lnTo>
                    <a:pt x="578263" y="98393"/>
                  </a:lnTo>
                  <a:lnTo>
                    <a:pt x="574929" y="97250"/>
                  </a:lnTo>
                  <a:lnTo>
                    <a:pt x="567595" y="102965"/>
                  </a:lnTo>
                  <a:lnTo>
                    <a:pt x="564261" y="101822"/>
                  </a:lnTo>
                  <a:lnTo>
                    <a:pt x="562451" y="100393"/>
                  </a:lnTo>
                  <a:lnTo>
                    <a:pt x="565595" y="100013"/>
                  </a:lnTo>
                  <a:lnTo>
                    <a:pt x="567023" y="98203"/>
                  </a:lnTo>
                  <a:lnTo>
                    <a:pt x="564833" y="93726"/>
                  </a:lnTo>
                  <a:lnTo>
                    <a:pt x="567595" y="90106"/>
                  </a:lnTo>
                  <a:lnTo>
                    <a:pt x="567214" y="86963"/>
                  </a:lnTo>
                  <a:lnTo>
                    <a:pt x="564071" y="87344"/>
                  </a:lnTo>
                  <a:lnTo>
                    <a:pt x="562261" y="86011"/>
                  </a:lnTo>
                  <a:lnTo>
                    <a:pt x="560451" y="84677"/>
                  </a:lnTo>
                  <a:lnTo>
                    <a:pt x="560451" y="84677"/>
                  </a:lnTo>
                  <a:lnTo>
                    <a:pt x="558260" y="80105"/>
                  </a:lnTo>
                  <a:lnTo>
                    <a:pt x="556927" y="81915"/>
                  </a:lnTo>
                  <a:lnTo>
                    <a:pt x="549783" y="76390"/>
                  </a:lnTo>
                  <a:lnTo>
                    <a:pt x="544068" y="81915"/>
                  </a:lnTo>
                  <a:lnTo>
                    <a:pt x="541877" y="77343"/>
                  </a:lnTo>
                  <a:lnTo>
                    <a:pt x="540544" y="79153"/>
                  </a:lnTo>
                  <a:lnTo>
                    <a:pt x="540353" y="77629"/>
                  </a:lnTo>
                  <a:lnTo>
                    <a:pt x="538543" y="76200"/>
                  </a:lnTo>
                  <a:lnTo>
                    <a:pt x="539115" y="68104"/>
                  </a:lnTo>
                  <a:lnTo>
                    <a:pt x="540448" y="66294"/>
                  </a:lnTo>
                  <a:lnTo>
                    <a:pt x="535114" y="62198"/>
                  </a:lnTo>
                  <a:lnTo>
                    <a:pt x="528638" y="61436"/>
                  </a:lnTo>
                  <a:lnTo>
                    <a:pt x="528256" y="58293"/>
                  </a:lnTo>
                  <a:lnTo>
                    <a:pt x="523684" y="60484"/>
                  </a:lnTo>
                  <a:lnTo>
                    <a:pt x="521303" y="54292"/>
                  </a:lnTo>
                  <a:lnTo>
                    <a:pt x="515588" y="59912"/>
                  </a:lnTo>
                  <a:lnTo>
                    <a:pt x="512445" y="60293"/>
                  </a:lnTo>
                  <a:lnTo>
                    <a:pt x="501587" y="63246"/>
                  </a:lnTo>
                  <a:lnTo>
                    <a:pt x="499396" y="58769"/>
                  </a:lnTo>
                  <a:lnTo>
                    <a:pt x="496634" y="62293"/>
                  </a:lnTo>
                  <a:lnTo>
                    <a:pt x="493490" y="62675"/>
                  </a:lnTo>
                  <a:lnTo>
                    <a:pt x="492157" y="64484"/>
                  </a:lnTo>
                  <a:lnTo>
                    <a:pt x="492538" y="67627"/>
                  </a:lnTo>
                  <a:lnTo>
                    <a:pt x="493585" y="75533"/>
                  </a:lnTo>
                  <a:lnTo>
                    <a:pt x="489013" y="77724"/>
                  </a:lnTo>
                  <a:lnTo>
                    <a:pt x="489395" y="80867"/>
                  </a:lnTo>
                  <a:lnTo>
                    <a:pt x="485108" y="84582"/>
                  </a:lnTo>
                  <a:lnTo>
                    <a:pt x="481965" y="85058"/>
                  </a:lnTo>
                  <a:lnTo>
                    <a:pt x="482346" y="88201"/>
                  </a:lnTo>
                  <a:lnTo>
                    <a:pt x="485299" y="86201"/>
                  </a:lnTo>
                  <a:lnTo>
                    <a:pt x="479584" y="91726"/>
                  </a:lnTo>
                  <a:lnTo>
                    <a:pt x="480155" y="96488"/>
                  </a:lnTo>
                  <a:lnTo>
                    <a:pt x="475297" y="95536"/>
                  </a:lnTo>
                  <a:lnTo>
                    <a:pt x="474821" y="92297"/>
                  </a:lnTo>
                  <a:lnTo>
                    <a:pt x="477774" y="90392"/>
                  </a:lnTo>
                  <a:lnTo>
                    <a:pt x="476059" y="88963"/>
                  </a:lnTo>
                  <a:lnTo>
                    <a:pt x="469868" y="91345"/>
                  </a:lnTo>
                  <a:lnTo>
                    <a:pt x="462058" y="92392"/>
                  </a:lnTo>
                  <a:lnTo>
                    <a:pt x="459105" y="94393"/>
                  </a:lnTo>
                  <a:lnTo>
                    <a:pt x="455676" y="93154"/>
                  </a:lnTo>
                  <a:lnTo>
                    <a:pt x="450818" y="92202"/>
                  </a:lnTo>
                  <a:lnTo>
                    <a:pt x="444437" y="92964"/>
                  </a:lnTo>
                  <a:lnTo>
                    <a:pt x="441293" y="93440"/>
                  </a:lnTo>
                  <a:lnTo>
                    <a:pt x="440150" y="96774"/>
                  </a:lnTo>
                  <a:lnTo>
                    <a:pt x="433006" y="91250"/>
                  </a:lnTo>
                  <a:lnTo>
                    <a:pt x="428244" y="91821"/>
                  </a:lnTo>
                  <a:lnTo>
                    <a:pt x="419957" y="89725"/>
                  </a:lnTo>
                  <a:lnTo>
                    <a:pt x="421196" y="99155"/>
                  </a:lnTo>
                  <a:lnTo>
                    <a:pt x="416052" y="96583"/>
                  </a:lnTo>
                  <a:lnTo>
                    <a:pt x="411480" y="98774"/>
                  </a:lnTo>
                  <a:lnTo>
                    <a:pt x="409766" y="97441"/>
                  </a:lnTo>
                  <a:lnTo>
                    <a:pt x="409384" y="94297"/>
                  </a:lnTo>
                  <a:lnTo>
                    <a:pt x="410527" y="90868"/>
                  </a:lnTo>
                  <a:lnTo>
                    <a:pt x="408527" y="87916"/>
                  </a:lnTo>
                  <a:lnTo>
                    <a:pt x="405384" y="88392"/>
                  </a:lnTo>
                  <a:lnTo>
                    <a:pt x="406146" y="94679"/>
                  </a:lnTo>
                  <a:lnTo>
                    <a:pt x="405003" y="98012"/>
                  </a:lnTo>
                  <a:lnTo>
                    <a:pt x="398526" y="97250"/>
                  </a:lnTo>
                  <a:lnTo>
                    <a:pt x="397097" y="99060"/>
                  </a:lnTo>
                  <a:lnTo>
                    <a:pt x="395097" y="96107"/>
                  </a:lnTo>
                  <a:lnTo>
                    <a:pt x="388810" y="96869"/>
                  </a:lnTo>
                  <a:lnTo>
                    <a:pt x="388620" y="95345"/>
                  </a:lnTo>
                  <a:lnTo>
                    <a:pt x="385667" y="97250"/>
                  </a:lnTo>
                  <a:lnTo>
                    <a:pt x="383667" y="94297"/>
                  </a:lnTo>
                  <a:lnTo>
                    <a:pt x="382143" y="94488"/>
                  </a:lnTo>
                  <a:lnTo>
                    <a:pt x="379762" y="88392"/>
                  </a:lnTo>
                  <a:lnTo>
                    <a:pt x="380714" y="83439"/>
                  </a:lnTo>
                  <a:lnTo>
                    <a:pt x="382048" y="81725"/>
                  </a:lnTo>
                  <a:lnTo>
                    <a:pt x="381286" y="75343"/>
                  </a:lnTo>
                  <a:lnTo>
                    <a:pt x="380905" y="72200"/>
                  </a:lnTo>
                  <a:lnTo>
                    <a:pt x="382238" y="70485"/>
                  </a:lnTo>
                  <a:lnTo>
                    <a:pt x="381857" y="67342"/>
                  </a:lnTo>
                  <a:lnTo>
                    <a:pt x="386620" y="66675"/>
                  </a:lnTo>
                  <a:lnTo>
                    <a:pt x="381667" y="65722"/>
                  </a:lnTo>
                  <a:lnTo>
                    <a:pt x="376142" y="60007"/>
                  </a:lnTo>
                  <a:lnTo>
                    <a:pt x="374713" y="61817"/>
                  </a:lnTo>
                  <a:lnTo>
                    <a:pt x="365284" y="62960"/>
                  </a:lnTo>
                  <a:lnTo>
                    <a:pt x="361950" y="61817"/>
                  </a:lnTo>
                  <a:lnTo>
                    <a:pt x="357950" y="68771"/>
                  </a:lnTo>
                  <a:lnTo>
                    <a:pt x="357759" y="67151"/>
                  </a:lnTo>
                  <a:lnTo>
                    <a:pt x="352044" y="72676"/>
                  </a:lnTo>
                  <a:lnTo>
                    <a:pt x="350330" y="71342"/>
                  </a:lnTo>
                  <a:lnTo>
                    <a:pt x="348901" y="73057"/>
                  </a:lnTo>
                  <a:lnTo>
                    <a:pt x="342233" y="70771"/>
                  </a:lnTo>
                  <a:lnTo>
                    <a:pt x="341471" y="77248"/>
                  </a:lnTo>
                  <a:lnTo>
                    <a:pt x="345376" y="83153"/>
                  </a:lnTo>
                  <a:lnTo>
                    <a:pt x="342614" y="86773"/>
                  </a:lnTo>
                  <a:lnTo>
                    <a:pt x="342233" y="83534"/>
                  </a:lnTo>
                  <a:lnTo>
                    <a:pt x="341471" y="90106"/>
                  </a:lnTo>
                  <a:lnTo>
                    <a:pt x="340042" y="91821"/>
                  </a:lnTo>
                  <a:lnTo>
                    <a:pt x="340519" y="95059"/>
                  </a:lnTo>
                  <a:lnTo>
                    <a:pt x="338900" y="95250"/>
                  </a:lnTo>
                  <a:lnTo>
                    <a:pt x="337566" y="96964"/>
                  </a:lnTo>
                  <a:lnTo>
                    <a:pt x="335566" y="94012"/>
                  </a:lnTo>
                  <a:lnTo>
                    <a:pt x="333946" y="94202"/>
                  </a:lnTo>
                  <a:lnTo>
                    <a:pt x="334327" y="97441"/>
                  </a:lnTo>
                  <a:lnTo>
                    <a:pt x="332804" y="97631"/>
                  </a:lnTo>
                  <a:lnTo>
                    <a:pt x="336709" y="103537"/>
                  </a:lnTo>
                  <a:lnTo>
                    <a:pt x="333566" y="103918"/>
                  </a:lnTo>
                  <a:lnTo>
                    <a:pt x="334042" y="107061"/>
                  </a:lnTo>
                  <a:lnTo>
                    <a:pt x="330803" y="107442"/>
                  </a:lnTo>
                  <a:lnTo>
                    <a:pt x="330041" y="101155"/>
                  </a:lnTo>
                  <a:lnTo>
                    <a:pt x="326898" y="101536"/>
                  </a:lnTo>
                  <a:lnTo>
                    <a:pt x="324707" y="97060"/>
                  </a:lnTo>
                  <a:lnTo>
                    <a:pt x="322135" y="102203"/>
                  </a:lnTo>
                  <a:lnTo>
                    <a:pt x="320612" y="102394"/>
                  </a:lnTo>
                  <a:lnTo>
                    <a:pt x="320992" y="105537"/>
                  </a:lnTo>
                  <a:lnTo>
                    <a:pt x="318230" y="109061"/>
                  </a:lnTo>
                  <a:lnTo>
                    <a:pt x="318611" y="112204"/>
                  </a:lnTo>
                  <a:lnTo>
                    <a:pt x="318992" y="115443"/>
                  </a:lnTo>
                  <a:lnTo>
                    <a:pt x="309372" y="115062"/>
                  </a:lnTo>
                  <a:lnTo>
                    <a:pt x="302609" y="112681"/>
                  </a:lnTo>
                  <a:lnTo>
                    <a:pt x="302038" y="107918"/>
                  </a:lnTo>
                  <a:lnTo>
                    <a:pt x="298704" y="106775"/>
                  </a:lnTo>
                  <a:lnTo>
                    <a:pt x="290036" y="114300"/>
                  </a:lnTo>
                  <a:lnTo>
                    <a:pt x="290989" y="122206"/>
                  </a:lnTo>
                  <a:lnTo>
                    <a:pt x="290989" y="122206"/>
                  </a:lnTo>
                  <a:lnTo>
                    <a:pt x="289465" y="122396"/>
                  </a:lnTo>
                  <a:lnTo>
                    <a:pt x="285083" y="126111"/>
                  </a:lnTo>
                  <a:lnTo>
                    <a:pt x="284702" y="122968"/>
                  </a:lnTo>
                  <a:lnTo>
                    <a:pt x="275463" y="125730"/>
                  </a:lnTo>
                  <a:lnTo>
                    <a:pt x="273463" y="122777"/>
                  </a:lnTo>
                  <a:lnTo>
                    <a:pt x="268700" y="123444"/>
                  </a:lnTo>
                  <a:lnTo>
                    <a:pt x="268129" y="118681"/>
                  </a:lnTo>
                  <a:lnTo>
                    <a:pt x="264605" y="115919"/>
                  </a:lnTo>
                  <a:lnTo>
                    <a:pt x="263366" y="119253"/>
                  </a:lnTo>
                  <a:lnTo>
                    <a:pt x="257080" y="120110"/>
                  </a:lnTo>
                  <a:lnTo>
                    <a:pt x="261366" y="116300"/>
                  </a:lnTo>
                  <a:lnTo>
                    <a:pt x="260985" y="113157"/>
                  </a:lnTo>
                  <a:lnTo>
                    <a:pt x="263938" y="111157"/>
                  </a:lnTo>
                  <a:lnTo>
                    <a:pt x="256032" y="112204"/>
                  </a:lnTo>
                  <a:lnTo>
                    <a:pt x="254698" y="114014"/>
                  </a:lnTo>
                  <a:lnTo>
                    <a:pt x="251174" y="111252"/>
                  </a:lnTo>
                  <a:lnTo>
                    <a:pt x="248984" y="106680"/>
                  </a:lnTo>
                  <a:lnTo>
                    <a:pt x="249746" y="100203"/>
                  </a:lnTo>
                  <a:lnTo>
                    <a:pt x="239649" y="96679"/>
                  </a:lnTo>
                  <a:lnTo>
                    <a:pt x="235077" y="98869"/>
                  </a:lnTo>
                  <a:lnTo>
                    <a:pt x="235363" y="100393"/>
                  </a:lnTo>
                  <a:lnTo>
                    <a:pt x="238696" y="101536"/>
                  </a:lnTo>
                  <a:lnTo>
                    <a:pt x="234125" y="103727"/>
                  </a:lnTo>
                  <a:lnTo>
                    <a:pt x="230410" y="112204"/>
                  </a:lnTo>
                  <a:lnTo>
                    <a:pt x="227076" y="111061"/>
                  </a:lnTo>
                  <a:lnTo>
                    <a:pt x="227267" y="112681"/>
                  </a:lnTo>
                  <a:lnTo>
                    <a:pt x="225457" y="111252"/>
                  </a:lnTo>
                  <a:lnTo>
                    <a:pt x="222694" y="114871"/>
                  </a:lnTo>
                  <a:lnTo>
                    <a:pt x="220790" y="111919"/>
                  </a:lnTo>
                  <a:lnTo>
                    <a:pt x="222123" y="110109"/>
                  </a:lnTo>
                  <a:lnTo>
                    <a:pt x="220504" y="110300"/>
                  </a:lnTo>
                  <a:lnTo>
                    <a:pt x="219170" y="112109"/>
                  </a:lnTo>
                  <a:lnTo>
                    <a:pt x="217742" y="113824"/>
                  </a:lnTo>
                  <a:lnTo>
                    <a:pt x="216408" y="102775"/>
                  </a:lnTo>
                  <a:lnTo>
                    <a:pt x="214979" y="104584"/>
                  </a:lnTo>
                  <a:lnTo>
                    <a:pt x="213265" y="103251"/>
                  </a:lnTo>
                  <a:lnTo>
                    <a:pt x="210407" y="93917"/>
                  </a:lnTo>
                  <a:lnTo>
                    <a:pt x="207264" y="94393"/>
                  </a:lnTo>
                  <a:lnTo>
                    <a:pt x="209264" y="97346"/>
                  </a:lnTo>
                  <a:lnTo>
                    <a:pt x="202978" y="98107"/>
                  </a:lnTo>
                  <a:lnTo>
                    <a:pt x="203740" y="104394"/>
                  </a:lnTo>
                  <a:lnTo>
                    <a:pt x="198977" y="105061"/>
                  </a:lnTo>
                  <a:lnTo>
                    <a:pt x="199453" y="108204"/>
                  </a:lnTo>
                  <a:lnTo>
                    <a:pt x="192500" y="104299"/>
                  </a:lnTo>
                  <a:lnTo>
                    <a:pt x="186023" y="103442"/>
                  </a:lnTo>
                  <a:lnTo>
                    <a:pt x="182499" y="113538"/>
                  </a:lnTo>
                  <a:lnTo>
                    <a:pt x="180880" y="113729"/>
                  </a:lnTo>
                  <a:lnTo>
                    <a:pt x="180880" y="113729"/>
                  </a:lnTo>
                  <a:lnTo>
                    <a:pt x="170974" y="111823"/>
                  </a:lnTo>
                  <a:lnTo>
                    <a:pt x="169259" y="110395"/>
                  </a:lnTo>
                  <a:lnTo>
                    <a:pt x="165925" y="109252"/>
                  </a:lnTo>
                  <a:lnTo>
                    <a:pt x="164687" y="112585"/>
                  </a:lnTo>
                  <a:lnTo>
                    <a:pt x="160401" y="116396"/>
                  </a:lnTo>
                  <a:lnTo>
                    <a:pt x="159163" y="119729"/>
                  </a:lnTo>
                  <a:lnTo>
                    <a:pt x="164306" y="122301"/>
                  </a:lnTo>
                  <a:lnTo>
                    <a:pt x="164782" y="125444"/>
                  </a:lnTo>
                  <a:lnTo>
                    <a:pt x="163544" y="128778"/>
                  </a:lnTo>
                  <a:lnTo>
                    <a:pt x="160211" y="127635"/>
                  </a:lnTo>
                  <a:lnTo>
                    <a:pt x="159067" y="130969"/>
                  </a:lnTo>
                  <a:lnTo>
                    <a:pt x="155829" y="131350"/>
                  </a:lnTo>
                  <a:lnTo>
                    <a:pt x="157829" y="134302"/>
                  </a:lnTo>
                  <a:lnTo>
                    <a:pt x="156496" y="136112"/>
                  </a:lnTo>
                  <a:lnTo>
                    <a:pt x="157258" y="142399"/>
                  </a:lnTo>
                  <a:lnTo>
                    <a:pt x="160592" y="143637"/>
                  </a:lnTo>
                  <a:lnTo>
                    <a:pt x="163830" y="143161"/>
                  </a:lnTo>
                  <a:lnTo>
                    <a:pt x="164021" y="144780"/>
                  </a:lnTo>
                  <a:lnTo>
                    <a:pt x="163830" y="143161"/>
                  </a:lnTo>
                  <a:lnTo>
                    <a:pt x="170307" y="144018"/>
                  </a:lnTo>
                  <a:lnTo>
                    <a:pt x="170497" y="145542"/>
                  </a:lnTo>
                  <a:lnTo>
                    <a:pt x="164021" y="144780"/>
                  </a:lnTo>
                  <a:lnTo>
                    <a:pt x="165925" y="147733"/>
                  </a:lnTo>
                  <a:lnTo>
                    <a:pt x="164782" y="151067"/>
                  </a:lnTo>
                  <a:lnTo>
                    <a:pt x="165925" y="147733"/>
                  </a:lnTo>
                  <a:lnTo>
                    <a:pt x="167545" y="147542"/>
                  </a:lnTo>
                  <a:lnTo>
                    <a:pt x="167926" y="150685"/>
                  </a:lnTo>
                  <a:lnTo>
                    <a:pt x="165163" y="154210"/>
                  </a:lnTo>
                  <a:lnTo>
                    <a:pt x="168402" y="153829"/>
                  </a:lnTo>
                  <a:lnTo>
                    <a:pt x="167164" y="157163"/>
                  </a:lnTo>
                  <a:lnTo>
                    <a:pt x="169545" y="163354"/>
                  </a:lnTo>
                  <a:lnTo>
                    <a:pt x="166592" y="165259"/>
                  </a:lnTo>
                  <a:lnTo>
                    <a:pt x="165640" y="170212"/>
                  </a:lnTo>
                  <a:lnTo>
                    <a:pt x="168973" y="171355"/>
                  </a:lnTo>
                  <a:lnTo>
                    <a:pt x="167640" y="173164"/>
                  </a:lnTo>
                  <a:lnTo>
                    <a:pt x="168021" y="176308"/>
                  </a:lnTo>
                  <a:lnTo>
                    <a:pt x="166878" y="179642"/>
                  </a:lnTo>
                  <a:lnTo>
                    <a:pt x="168592" y="181070"/>
                  </a:lnTo>
                  <a:lnTo>
                    <a:pt x="170783" y="185642"/>
                  </a:lnTo>
                  <a:lnTo>
                    <a:pt x="172402" y="185452"/>
                  </a:lnTo>
                  <a:lnTo>
                    <a:pt x="172784" y="188595"/>
                  </a:lnTo>
                  <a:lnTo>
                    <a:pt x="174593" y="189929"/>
                  </a:lnTo>
                  <a:lnTo>
                    <a:pt x="174974" y="193072"/>
                  </a:lnTo>
                  <a:lnTo>
                    <a:pt x="178117" y="192691"/>
                  </a:lnTo>
                  <a:lnTo>
                    <a:pt x="178308" y="194310"/>
                  </a:lnTo>
                  <a:lnTo>
                    <a:pt x="175165" y="194691"/>
                  </a:lnTo>
                  <a:lnTo>
                    <a:pt x="177165" y="197644"/>
                  </a:lnTo>
                  <a:lnTo>
                    <a:pt x="185261" y="198215"/>
                  </a:lnTo>
                  <a:lnTo>
                    <a:pt x="185452" y="199739"/>
                  </a:lnTo>
                  <a:lnTo>
                    <a:pt x="182309" y="200215"/>
                  </a:lnTo>
                  <a:lnTo>
                    <a:pt x="175736" y="199358"/>
                  </a:lnTo>
                  <a:lnTo>
                    <a:pt x="173165" y="204502"/>
                  </a:lnTo>
                  <a:lnTo>
                    <a:pt x="174974" y="205930"/>
                  </a:lnTo>
                  <a:lnTo>
                    <a:pt x="173450" y="206121"/>
                  </a:lnTo>
                  <a:lnTo>
                    <a:pt x="169450" y="213074"/>
                  </a:lnTo>
                  <a:lnTo>
                    <a:pt x="166306" y="213455"/>
                  </a:lnTo>
                  <a:lnTo>
                    <a:pt x="168116" y="214789"/>
                  </a:lnTo>
                  <a:lnTo>
                    <a:pt x="165544" y="219932"/>
                  </a:lnTo>
                  <a:lnTo>
                    <a:pt x="166402" y="226219"/>
                  </a:lnTo>
                  <a:lnTo>
                    <a:pt x="168116" y="227647"/>
                  </a:lnTo>
                  <a:lnTo>
                    <a:pt x="164211" y="234505"/>
                  </a:lnTo>
                  <a:lnTo>
                    <a:pt x="162592" y="234791"/>
                  </a:lnTo>
                  <a:lnTo>
                    <a:pt x="163068" y="237934"/>
                  </a:lnTo>
                  <a:lnTo>
                    <a:pt x="164592" y="237744"/>
                  </a:lnTo>
                  <a:lnTo>
                    <a:pt x="163259" y="239459"/>
                  </a:lnTo>
                  <a:lnTo>
                    <a:pt x="164782" y="239268"/>
                  </a:lnTo>
                  <a:lnTo>
                    <a:pt x="163449" y="241078"/>
                  </a:lnTo>
                  <a:lnTo>
                    <a:pt x="167354" y="246983"/>
                  </a:lnTo>
                  <a:lnTo>
                    <a:pt x="166402" y="251936"/>
                  </a:lnTo>
                  <a:lnTo>
                    <a:pt x="171926" y="257651"/>
                  </a:lnTo>
                  <a:lnTo>
                    <a:pt x="173926" y="260604"/>
                  </a:lnTo>
                  <a:lnTo>
                    <a:pt x="170974" y="262604"/>
                  </a:lnTo>
                  <a:lnTo>
                    <a:pt x="174307" y="263747"/>
                  </a:lnTo>
                  <a:lnTo>
                    <a:pt x="171164" y="264128"/>
                  </a:lnTo>
                  <a:lnTo>
                    <a:pt x="171355" y="265747"/>
                  </a:lnTo>
                  <a:lnTo>
                    <a:pt x="174498" y="265271"/>
                  </a:lnTo>
                  <a:lnTo>
                    <a:pt x="178308" y="269653"/>
                  </a:lnTo>
                  <a:lnTo>
                    <a:pt x="181261" y="267652"/>
                  </a:lnTo>
                  <a:lnTo>
                    <a:pt x="180118" y="270986"/>
                  </a:lnTo>
                  <a:lnTo>
                    <a:pt x="183451" y="272225"/>
                  </a:lnTo>
                  <a:lnTo>
                    <a:pt x="182690" y="278701"/>
                  </a:lnTo>
                  <a:lnTo>
                    <a:pt x="184594" y="281654"/>
                  </a:lnTo>
                  <a:lnTo>
                    <a:pt x="181261" y="280511"/>
                  </a:lnTo>
                  <a:lnTo>
                    <a:pt x="181642" y="283655"/>
                  </a:lnTo>
                  <a:lnTo>
                    <a:pt x="180118" y="283845"/>
                  </a:lnTo>
                  <a:lnTo>
                    <a:pt x="176022" y="289179"/>
                  </a:lnTo>
                  <a:lnTo>
                    <a:pt x="177736" y="290513"/>
                  </a:lnTo>
                  <a:lnTo>
                    <a:pt x="180308" y="285464"/>
                  </a:lnTo>
                  <a:lnTo>
                    <a:pt x="181356" y="293275"/>
                  </a:lnTo>
                  <a:lnTo>
                    <a:pt x="183071" y="294704"/>
                  </a:lnTo>
                  <a:lnTo>
                    <a:pt x="175165" y="295656"/>
                  </a:lnTo>
                  <a:lnTo>
                    <a:pt x="171450" y="304229"/>
                  </a:lnTo>
                  <a:lnTo>
                    <a:pt x="169164" y="310896"/>
                  </a:lnTo>
                  <a:lnTo>
                    <a:pt x="171069" y="313849"/>
                  </a:lnTo>
                  <a:lnTo>
                    <a:pt x="167926" y="314230"/>
                  </a:lnTo>
                  <a:lnTo>
                    <a:pt x="170497" y="321945"/>
                  </a:lnTo>
                  <a:lnTo>
                    <a:pt x="169354" y="325279"/>
                  </a:lnTo>
                  <a:lnTo>
                    <a:pt x="168021" y="327088"/>
                  </a:lnTo>
                  <a:lnTo>
                    <a:pt x="159639" y="324898"/>
                  </a:lnTo>
                  <a:lnTo>
                    <a:pt x="155162" y="327088"/>
                  </a:lnTo>
                  <a:lnTo>
                    <a:pt x="154210" y="332042"/>
                  </a:lnTo>
                  <a:lnTo>
                    <a:pt x="151067" y="332422"/>
                  </a:lnTo>
                  <a:lnTo>
                    <a:pt x="146494" y="334613"/>
                  </a:lnTo>
                  <a:lnTo>
                    <a:pt x="144494" y="344519"/>
                  </a:lnTo>
                  <a:lnTo>
                    <a:pt x="136017" y="340805"/>
                  </a:lnTo>
                  <a:lnTo>
                    <a:pt x="139065" y="351663"/>
                  </a:lnTo>
                  <a:lnTo>
                    <a:pt x="136112" y="353568"/>
                  </a:lnTo>
                  <a:lnTo>
                    <a:pt x="134493" y="353759"/>
                  </a:lnTo>
                  <a:lnTo>
                    <a:pt x="138684" y="361283"/>
                  </a:lnTo>
                  <a:lnTo>
                    <a:pt x="141827" y="360902"/>
                  </a:lnTo>
                  <a:lnTo>
                    <a:pt x="145161" y="362045"/>
                  </a:lnTo>
                  <a:lnTo>
                    <a:pt x="144399" y="368617"/>
                  </a:lnTo>
                  <a:lnTo>
                    <a:pt x="141446" y="370522"/>
                  </a:lnTo>
                  <a:lnTo>
                    <a:pt x="140684" y="377095"/>
                  </a:lnTo>
                  <a:lnTo>
                    <a:pt x="137541" y="377476"/>
                  </a:lnTo>
                  <a:lnTo>
                    <a:pt x="134398" y="377857"/>
                  </a:lnTo>
                  <a:lnTo>
                    <a:pt x="130588" y="373571"/>
                  </a:lnTo>
                  <a:lnTo>
                    <a:pt x="126111" y="375761"/>
                  </a:lnTo>
                  <a:lnTo>
                    <a:pt x="119539" y="374999"/>
                  </a:lnTo>
                  <a:lnTo>
                    <a:pt x="118205" y="376714"/>
                  </a:lnTo>
                  <a:lnTo>
                    <a:pt x="121729" y="379476"/>
                  </a:lnTo>
                  <a:lnTo>
                    <a:pt x="121348" y="389192"/>
                  </a:lnTo>
                  <a:lnTo>
                    <a:pt x="124301" y="400050"/>
                  </a:lnTo>
                  <a:lnTo>
                    <a:pt x="127540" y="399574"/>
                  </a:lnTo>
                  <a:lnTo>
                    <a:pt x="129254" y="401002"/>
                  </a:lnTo>
                  <a:lnTo>
                    <a:pt x="138970" y="401384"/>
                  </a:lnTo>
                  <a:lnTo>
                    <a:pt x="141922" y="399383"/>
                  </a:lnTo>
                  <a:lnTo>
                    <a:pt x="143923" y="402336"/>
                  </a:lnTo>
                  <a:lnTo>
                    <a:pt x="140684" y="402717"/>
                  </a:lnTo>
                  <a:lnTo>
                    <a:pt x="133636" y="410051"/>
                  </a:lnTo>
                  <a:lnTo>
                    <a:pt x="133826" y="411575"/>
                  </a:lnTo>
                  <a:lnTo>
                    <a:pt x="137827" y="417576"/>
                  </a:lnTo>
                  <a:lnTo>
                    <a:pt x="136207" y="417767"/>
                  </a:lnTo>
                  <a:lnTo>
                    <a:pt x="129730" y="417005"/>
                  </a:lnTo>
                  <a:lnTo>
                    <a:pt x="129540" y="415385"/>
                  </a:lnTo>
                  <a:lnTo>
                    <a:pt x="124396" y="412813"/>
                  </a:lnTo>
                  <a:lnTo>
                    <a:pt x="123444" y="417767"/>
                  </a:lnTo>
                  <a:lnTo>
                    <a:pt x="125158" y="419100"/>
                  </a:lnTo>
                  <a:lnTo>
                    <a:pt x="126016" y="425482"/>
                  </a:lnTo>
                  <a:lnTo>
                    <a:pt x="119253" y="423100"/>
                  </a:lnTo>
                  <a:lnTo>
                    <a:pt x="113538" y="428625"/>
                  </a:lnTo>
                  <a:lnTo>
                    <a:pt x="115348" y="430054"/>
                  </a:lnTo>
                  <a:lnTo>
                    <a:pt x="115729" y="433197"/>
                  </a:lnTo>
                  <a:lnTo>
                    <a:pt x="112395" y="431959"/>
                  </a:lnTo>
                  <a:lnTo>
                    <a:pt x="110966" y="433768"/>
                  </a:lnTo>
                  <a:lnTo>
                    <a:pt x="111633" y="438531"/>
                  </a:lnTo>
                  <a:lnTo>
                    <a:pt x="114776" y="438150"/>
                  </a:lnTo>
                  <a:lnTo>
                    <a:pt x="113157" y="438340"/>
                  </a:lnTo>
                  <a:lnTo>
                    <a:pt x="114014" y="444627"/>
                  </a:lnTo>
                  <a:lnTo>
                    <a:pt x="116776" y="441103"/>
                  </a:lnTo>
                  <a:lnTo>
                    <a:pt x="116396" y="450723"/>
                  </a:lnTo>
                  <a:lnTo>
                    <a:pt x="124682" y="452914"/>
                  </a:lnTo>
                  <a:lnTo>
                    <a:pt x="126206" y="452723"/>
                  </a:lnTo>
                  <a:lnTo>
                    <a:pt x="125063" y="456057"/>
                  </a:lnTo>
                  <a:lnTo>
                    <a:pt x="128397" y="457200"/>
                  </a:lnTo>
                  <a:lnTo>
                    <a:pt x="129445" y="465106"/>
                  </a:lnTo>
                  <a:lnTo>
                    <a:pt x="132017" y="472821"/>
                  </a:lnTo>
                  <a:lnTo>
                    <a:pt x="127730" y="476536"/>
                  </a:lnTo>
                  <a:lnTo>
                    <a:pt x="122587" y="473964"/>
                  </a:lnTo>
                  <a:lnTo>
                    <a:pt x="119348" y="474440"/>
                  </a:lnTo>
                  <a:lnTo>
                    <a:pt x="112490" y="483298"/>
                  </a:lnTo>
                  <a:lnTo>
                    <a:pt x="113157" y="500825"/>
                  </a:lnTo>
                  <a:lnTo>
                    <a:pt x="113347" y="502444"/>
                  </a:lnTo>
                  <a:lnTo>
                    <a:pt x="108775" y="504634"/>
                  </a:lnTo>
                  <a:lnTo>
                    <a:pt x="110776" y="507587"/>
                  </a:lnTo>
                  <a:lnTo>
                    <a:pt x="112204" y="505777"/>
                  </a:lnTo>
                  <a:lnTo>
                    <a:pt x="112395" y="507397"/>
                  </a:lnTo>
                  <a:lnTo>
                    <a:pt x="115348" y="505396"/>
                  </a:lnTo>
                  <a:lnTo>
                    <a:pt x="115538" y="507016"/>
                  </a:lnTo>
                  <a:lnTo>
                    <a:pt x="112776" y="510540"/>
                  </a:lnTo>
                  <a:lnTo>
                    <a:pt x="111633" y="513874"/>
                  </a:lnTo>
                  <a:lnTo>
                    <a:pt x="110966" y="509111"/>
                  </a:lnTo>
                  <a:lnTo>
                    <a:pt x="109442" y="509397"/>
                  </a:lnTo>
                  <a:lnTo>
                    <a:pt x="105823" y="506635"/>
                  </a:lnTo>
                  <a:lnTo>
                    <a:pt x="103061" y="510159"/>
                  </a:lnTo>
                  <a:lnTo>
                    <a:pt x="101346" y="508825"/>
                  </a:lnTo>
                  <a:lnTo>
                    <a:pt x="96965" y="512540"/>
                  </a:lnTo>
                  <a:lnTo>
                    <a:pt x="88868" y="511969"/>
                  </a:lnTo>
                  <a:lnTo>
                    <a:pt x="89535" y="516731"/>
                  </a:lnTo>
                  <a:lnTo>
                    <a:pt x="86582" y="518731"/>
                  </a:lnTo>
                  <a:lnTo>
                    <a:pt x="86963" y="521875"/>
                  </a:lnTo>
                  <a:lnTo>
                    <a:pt x="84011" y="523780"/>
                  </a:lnTo>
                  <a:lnTo>
                    <a:pt x="79057" y="522827"/>
                  </a:lnTo>
                  <a:lnTo>
                    <a:pt x="78105" y="527780"/>
                  </a:lnTo>
                  <a:lnTo>
                    <a:pt x="68008" y="537115"/>
                  </a:lnTo>
                  <a:lnTo>
                    <a:pt x="66103" y="534162"/>
                  </a:lnTo>
                  <a:lnTo>
                    <a:pt x="64103" y="531209"/>
                  </a:lnTo>
                  <a:lnTo>
                    <a:pt x="59341" y="531781"/>
                  </a:lnTo>
                  <a:lnTo>
                    <a:pt x="50863" y="528066"/>
                  </a:lnTo>
                  <a:lnTo>
                    <a:pt x="53816" y="526066"/>
                  </a:lnTo>
                  <a:lnTo>
                    <a:pt x="53626" y="524447"/>
                  </a:lnTo>
                  <a:lnTo>
                    <a:pt x="40576" y="522922"/>
                  </a:lnTo>
                  <a:lnTo>
                    <a:pt x="39243" y="524732"/>
                  </a:lnTo>
                  <a:lnTo>
                    <a:pt x="39433" y="526256"/>
                  </a:lnTo>
                  <a:lnTo>
                    <a:pt x="46101" y="528638"/>
                  </a:lnTo>
                  <a:lnTo>
                    <a:pt x="48101" y="531590"/>
                  </a:lnTo>
                  <a:lnTo>
                    <a:pt x="46768" y="533400"/>
                  </a:lnTo>
                  <a:lnTo>
                    <a:pt x="43720" y="535400"/>
                  </a:lnTo>
                  <a:lnTo>
                    <a:pt x="41434" y="542068"/>
                  </a:lnTo>
                  <a:lnTo>
                    <a:pt x="41624" y="543687"/>
                  </a:lnTo>
                  <a:lnTo>
                    <a:pt x="40481" y="547021"/>
                  </a:lnTo>
                  <a:lnTo>
                    <a:pt x="39433" y="551974"/>
                  </a:lnTo>
                  <a:lnTo>
                    <a:pt x="42863" y="553117"/>
                  </a:lnTo>
                  <a:lnTo>
                    <a:pt x="44386" y="565785"/>
                  </a:lnTo>
                  <a:lnTo>
                    <a:pt x="43244" y="569119"/>
                  </a:lnTo>
                  <a:lnTo>
                    <a:pt x="32385" y="572072"/>
                  </a:lnTo>
                  <a:lnTo>
                    <a:pt x="32575" y="573691"/>
                  </a:lnTo>
                  <a:lnTo>
                    <a:pt x="35433" y="582930"/>
                  </a:lnTo>
                  <a:lnTo>
                    <a:pt x="42481" y="588455"/>
                  </a:lnTo>
                  <a:lnTo>
                    <a:pt x="44482" y="591407"/>
                  </a:lnTo>
                  <a:lnTo>
                    <a:pt x="42386" y="599694"/>
                  </a:lnTo>
                  <a:lnTo>
                    <a:pt x="50292" y="611505"/>
                  </a:lnTo>
                  <a:lnTo>
                    <a:pt x="51054" y="617792"/>
                  </a:lnTo>
                  <a:lnTo>
                    <a:pt x="49911" y="621221"/>
                  </a:lnTo>
                  <a:lnTo>
                    <a:pt x="47720" y="629507"/>
                  </a:lnTo>
                  <a:lnTo>
                    <a:pt x="34957" y="642366"/>
                  </a:lnTo>
                  <a:lnTo>
                    <a:pt x="31147" y="637984"/>
                  </a:lnTo>
                  <a:lnTo>
                    <a:pt x="27813" y="636842"/>
                  </a:lnTo>
                  <a:lnTo>
                    <a:pt x="25813" y="633889"/>
                  </a:lnTo>
                  <a:lnTo>
                    <a:pt x="24289" y="634079"/>
                  </a:lnTo>
                  <a:lnTo>
                    <a:pt x="24670" y="637222"/>
                  </a:lnTo>
                  <a:lnTo>
                    <a:pt x="15049" y="649700"/>
                  </a:lnTo>
                  <a:lnTo>
                    <a:pt x="13240" y="661130"/>
                  </a:lnTo>
                  <a:lnTo>
                    <a:pt x="5048" y="671798"/>
                  </a:lnTo>
                  <a:lnTo>
                    <a:pt x="7048" y="674751"/>
                  </a:lnTo>
                  <a:lnTo>
                    <a:pt x="6191" y="681228"/>
                  </a:lnTo>
                  <a:lnTo>
                    <a:pt x="6858" y="685990"/>
                  </a:lnTo>
                  <a:lnTo>
                    <a:pt x="1524" y="694658"/>
                  </a:lnTo>
                  <a:lnTo>
                    <a:pt x="2096" y="699421"/>
                  </a:lnTo>
                  <a:lnTo>
                    <a:pt x="0" y="707707"/>
                  </a:lnTo>
                  <a:lnTo>
                    <a:pt x="3905" y="713613"/>
                  </a:lnTo>
                  <a:lnTo>
                    <a:pt x="10668" y="715994"/>
                  </a:lnTo>
                  <a:lnTo>
                    <a:pt x="9715" y="720947"/>
                  </a:lnTo>
                  <a:lnTo>
                    <a:pt x="10668" y="728853"/>
                  </a:lnTo>
                  <a:lnTo>
                    <a:pt x="15621" y="729805"/>
                  </a:lnTo>
                  <a:lnTo>
                    <a:pt x="18383" y="726186"/>
                  </a:lnTo>
                  <a:lnTo>
                    <a:pt x="25527" y="731710"/>
                  </a:lnTo>
                  <a:lnTo>
                    <a:pt x="28289" y="728186"/>
                  </a:lnTo>
                  <a:lnTo>
                    <a:pt x="31242" y="726186"/>
                  </a:lnTo>
                  <a:lnTo>
                    <a:pt x="38957" y="736473"/>
                  </a:lnTo>
                  <a:lnTo>
                    <a:pt x="36767" y="744760"/>
                  </a:lnTo>
                  <a:lnTo>
                    <a:pt x="40957" y="752189"/>
                  </a:lnTo>
                  <a:lnTo>
                    <a:pt x="52006" y="763619"/>
                  </a:lnTo>
                  <a:lnTo>
                    <a:pt x="51435" y="758952"/>
                  </a:lnTo>
                  <a:lnTo>
                    <a:pt x="54388" y="756952"/>
                  </a:lnTo>
                  <a:lnTo>
                    <a:pt x="58483" y="751618"/>
                  </a:lnTo>
                  <a:lnTo>
                    <a:pt x="64960" y="752380"/>
                  </a:lnTo>
                  <a:lnTo>
                    <a:pt x="66770" y="753713"/>
                  </a:lnTo>
                  <a:lnTo>
                    <a:pt x="61055" y="759238"/>
                  </a:lnTo>
                  <a:lnTo>
                    <a:pt x="59912" y="762667"/>
                  </a:lnTo>
                  <a:lnTo>
                    <a:pt x="69818" y="777430"/>
                  </a:lnTo>
                  <a:lnTo>
                    <a:pt x="71247" y="788480"/>
                  </a:lnTo>
                  <a:lnTo>
                    <a:pt x="72771" y="788289"/>
                  </a:lnTo>
                  <a:lnTo>
                    <a:pt x="74771" y="791242"/>
                  </a:lnTo>
                  <a:lnTo>
                    <a:pt x="82486" y="814292"/>
                  </a:lnTo>
                  <a:lnTo>
                    <a:pt x="87630" y="816864"/>
                  </a:lnTo>
                  <a:lnTo>
                    <a:pt x="92773" y="819340"/>
                  </a:lnTo>
                  <a:lnTo>
                    <a:pt x="91630" y="822770"/>
                  </a:lnTo>
                  <a:lnTo>
                    <a:pt x="94202" y="830389"/>
                  </a:lnTo>
                  <a:lnTo>
                    <a:pt x="97726" y="833152"/>
                  </a:lnTo>
                  <a:lnTo>
                    <a:pt x="104108" y="832390"/>
                  </a:lnTo>
                  <a:lnTo>
                    <a:pt x="105823" y="833723"/>
                  </a:lnTo>
                  <a:lnTo>
                    <a:pt x="114871" y="829437"/>
                  </a:lnTo>
                  <a:lnTo>
                    <a:pt x="126778" y="834295"/>
                  </a:lnTo>
                  <a:lnTo>
                    <a:pt x="132683" y="830294"/>
                  </a:lnTo>
                  <a:lnTo>
                    <a:pt x="136779" y="824960"/>
                  </a:lnTo>
                  <a:lnTo>
                    <a:pt x="141922" y="827532"/>
                  </a:lnTo>
                  <a:lnTo>
                    <a:pt x="142970" y="835438"/>
                  </a:lnTo>
                  <a:lnTo>
                    <a:pt x="151067" y="848868"/>
                  </a:lnTo>
                  <a:lnTo>
                    <a:pt x="148685" y="855536"/>
                  </a:lnTo>
                  <a:lnTo>
                    <a:pt x="160020" y="881348"/>
                  </a:lnTo>
                  <a:lnTo>
                    <a:pt x="160401" y="884491"/>
                  </a:lnTo>
                  <a:lnTo>
                    <a:pt x="164401" y="890492"/>
                  </a:lnTo>
                  <a:lnTo>
                    <a:pt x="170688" y="889635"/>
                  </a:lnTo>
                  <a:lnTo>
                    <a:pt x="180594" y="891635"/>
                  </a:lnTo>
                  <a:lnTo>
                    <a:pt x="176594" y="898493"/>
                  </a:lnTo>
                  <a:lnTo>
                    <a:pt x="183737" y="904018"/>
                  </a:lnTo>
                  <a:lnTo>
                    <a:pt x="182975" y="910495"/>
                  </a:lnTo>
                  <a:lnTo>
                    <a:pt x="194881" y="928306"/>
                  </a:lnTo>
                  <a:lnTo>
                    <a:pt x="190405" y="943261"/>
                  </a:lnTo>
                  <a:lnTo>
                    <a:pt x="187833" y="948404"/>
                  </a:lnTo>
                  <a:lnTo>
                    <a:pt x="193357" y="954119"/>
                  </a:lnTo>
                  <a:lnTo>
                    <a:pt x="208597" y="960215"/>
                  </a:lnTo>
                  <a:lnTo>
                    <a:pt x="216217" y="957644"/>
                  </a:lnTo>
                  <a:lnTo>
                    <a:pt x="218408" y="962120"/>
                  </a:lnTo>
                  <a:lnTo>
                    <a:pt x="224504" y="959739"/>
                  </a:lnTo>
                  <a:lnTo>
                    <a:pt x="236220" y="963073"/>
                  </a:lnTo>
                  <a:lnTo>
                    <a:pt x="247079" y="972979"/>
                  </a:lnTo>
                  <a:lnTo>
                    <a:pt x="253937" y="976884"/>
                  </a:lnTo>
                  <a:lnTo>
                    <a:pt x="265462" y="991457"/>
                  </a:lnTo>
                  <a:lnTo>
                    <a:pt x="270986" y="997172"/>
                  </a:lnTo>
                  <a:lnTo>
                    <a:pt x="271367" y="1000315"/>
                  </a:lnTo>
                  <a:lnTo>
                    <a:pt x="274796" y="1001458"/>
                  </a:lnTo>
                  <a:lnTo>
                    <a:pt x="275368" y="1006221"/>
                  </a:lnTo>
                  <a:lnTo>
                    <a:pt x="286417" y="1017651"/>
                  </a:lnTo>
                  <a:lnTo>
                    <a:pt x="289560" y="1017270"/>
                  </a:lnTo>
                  <a:lnTo>
                    <a:pt x="293180" y="1019937"/>
                  </a:lnTo>
                  <a:lnTo>
                    <a:pt x="297275" y="1027462"/>
                  </a:lnTo>
                  <a:lnTo>
                    <a:pt x="306991" y="1027843"/>
                  </a:lnTo>
                  <a:lnTo>
                    <a:pt x="312515" y="1033558"/>
                  </a:lnTo>
                  <a:lnTo>
                    <a:pt x="317278" y="1032986"/>
                  </a:lnTo>
                  <a:lnTo>
                    <a:pt x="330327" y="1034510"/>
                  </a:lnTo>
                  <a:lnTo>
                    <a:pt x="333851" y="1037272"/>
                  </a:lnTo>
                  <a:lnTo>
                    <a:pt x="334804" y="1045178"/>
                  </a:lnTo>
                  <a:lnTo>
                    <a:pt x="336423" y="1044988"/>
                  </a:lnTo>
                  <a:lnTo>
                    <a:pt x="333851" y="1050036"/>
                  </a:lnTo>
                  <a:lnTo>
                    <a:pt x="340138" y="1049274"/>
                  </a:lnTo>
                  <a:lnTo>
                    <a:pt x="338995" y="1052608"/>
                  </a:lnTo>
                  <a:lnTo>
                    <a:pt x="344329" y="1056799"/>
                  </a:lnTo>
                  <a:lnTo>
                    <a:pt x="346520" y="1061275"/>
                  </a:lnTo>
                  <a:lnTo>
                    <a:pt x="344900" y="1061466"/>
                  </a:lnTo>
                  <a:lnTo>
                    <a:pt x="343567" y="1063276"/>
                  </a:lnTo>
                  <a:lnTo>
                    <a:pt x="350710" y="1068800"/>
                  </a:lnTo>
                  <a:lnTo>
                    <a:pt x="351092" y="1071944"/>
                  </a:lnTo>
                  <a:lnTo>
                    <a:pt x="354425" y="1073087"/>
                  </a:lnTo>
                  <a:lnTo>
                    <a:pt x="358997" y="1070896"/>
                  </a:lnTo>
                  <a:lnTo>
                    <a:pt x="365855" y="1074896"/>
                  </a:lnTo>
                  <a:lnTo>
                    <a:pt x="369284" y="1076039"/>
                  </a:lnTo>
                  <a:lnTo>
                    <a:pt x="368903" y="1085659"/>
                  </a:lnTo>
                  <a:lnTo>
                    <a:pt x="368141" y="1092232"/>
                  </a:lnTo>
                  <a:lnTo>
                    <a:pt x="364141" y="1099185"/>
                  </a:lnTo>
                  <a:lnTo>
                    <a:pt x="355663" y="1095375"/>
                  </a:lnTo>
                  <a:lnTo>
                    <a:pt x="343281" y="1098614"/>
                  </a:lnTo>
                  <a:lnTo>
                    <a:pt x="342709" y="1106710"/>
                  </a:lnTo>
                  <a:lnTo>
                    <a:pt x="338138" y="1108900"/>
                  </a:lnTo>
                  <a:lnTo>
                    <a:pt x="335375" y="1112425"/>
                  </a:lnTo>
                  <a:lnTo>
                    <a:pt x="333851" y="1112615"/>
                  </a:lnTo>
                  <a:lnTo>
                    <a:pt x="342900" y="1121092"/>
                  </a:lnTo>
                  <a:lnTo>
                    <a:pt x="343091" y="1122712"/>
                  </a:lnTo>
                  <a:lnTo>
                    <a:pt x="348425" y="1126807"/>
                  </a:lnTo>
                  <a:lnTo>
                    <a:pt x="347091" y="1128617"/>
                  </a:lnTo>
                  <a:lnTo>
                    <a:pt x="356521" y="1127379"/>
                  </a:lnTo>
                  <a:lnTo>
                    <a:pt x="359950" y="1128522"/>
                  </a:lnTo>
                  <a:lnTo>
                    <a:pt x="359569" y="1138238"/>
                  </a:lnTo>
                  <a:lnTo>
                    <a:pt x="354806" y="1138809"/>
                  </a:lnTo>
                  <a:lnTo>
                    <a:pt x="356806" y="1141762"/>
                  </a:lnTo>
                  <a:lnTo>
                    <a:pt x="355568" y="1145096"/>
                  </a:lnTo>
                  <a:lnTo>
                    <a:pt x="362331" y="1147477"/>
                  </a:lnTo>
                  <a:lnTo>
                    <a:pt x="362712" y="1150620"/>
                  </a:lnTo>
                  <a:lnTo>
                    <a:pt x="364903" y="1155192"/>
                  </a:lnTo>
                  <a:lnTo>
                    <a:pt x="370808" y="1151191"/>
                  </a:lnTo>
                  <a:lnTo>
                    <a:pt x="375761" y="1152239"/>
                  </a:lnTo>
                  <a:lnTo>
                    <a:pt x="373189" y="1157288"/>
                  </a:lnTo>
                  <a:lnTo>
                    <a:pt x="374237" y="1165193"/>
                  </a:lnTo>
                  <a:lnTo>
                    <a:pt x="375761" y="1165003"/>
                  </a:lnTo>
                  <a:lnTo>
                    <a:pt x="378333" y="1159859"/>
                  </a:lnTo>
                  <a:lnTo>
                    <a:pt x="394525" y="1161002"/>
                  </a:lnTo>
                  <a:lnTo>
                    <a:pt x="394525" y="1161002"/>
                  </a:lnTo>
                  <a:lnTo>
                    <a:pt x="396335" y="1162431"/>
                  </a:lnTo>
                  <a:lnTo>
                    <a:pt x="393954" y="1169098"/>
                  </a:lnTo>
                  <a:lnTo>
                    <a:pt x="400812" y="1173004"/>
                  </a:lnTo>
                  <a:lnTo>
                    <a:pt x="410337" y="1171861"/>
                  </a:lnTo>
                  <a:lnTo>
                    <a:pt x="420529" y="1164146"/>
                  </a:lnTo>
                  <a:lnTo>
                    <a:pt x="429101" y="1167860"/>
                  </a:lnTo>
                  <a:lnTo>
                    <a:pt x="435197" y="1165479"/>
                  </a:lnTo>
                  <a:lnTo>
                    <a:pt x="440531" y="1169575"/>
                  </a:lnTo>
                  <a:lnTo>
                    <a:pt x="442055" y="1169384"/>
                  </a:lnTo>
                  <a:lnTo>
                    <a:pt x="442722" y="1174147"/>
                  </a:lnTo>
                  <a:lnTo>
                    <a:pt x="451961" y="1171384"/>
                  </a:lnTo>
                  <a:lnTo>
                    <a:pt x="453580" y="1171099"/>
                  </a:lnTo>
                  <a:lnTo>
                    <a:pt x="453295" y="1169575"/>
                  </a:lnTo>
                  <a:lnTo>
                    <a:pt x="456533" y="1169194"/>
                  </a:lnTo>
                  <a:lnTo>
                    <a:pt x="459867" y="1170337"/>
                  </a:lnTo>
                  <a:lnTo>
                    <a:pt x="466344" y="1171099"/>
                  </a:lnTo>
                  <a:lnTo>
                    <a:pt x="479965" y="1177385"/>
                  </a:lnTo>
                  <a:lnTo>
                    <a:pt x="488251" y="1179576"/>
                  </a:lnTo>
                  <a:lnTo>
                    <a:pt x="496824" y="1183291"/>
                  </a:lnTo>
                  <a:lnTo>
                    <a:pt x="497396" y="1188053"/>
                  </a:lnTo>
                  <a:lnTo>
                    <a:pt x="511207" y="1183005"/>
                  </a:lnTo>
                  <a:lnTo>
                    <a:pt x="521017" y="1185005"/>
                  </a:lnTo>
                  <a:lnTo>
                    <a:pt x="527018" y="1193864"/>
                  </a:lnTo>
                  <a:lnTo>
                    <a:pt x="549307" y="1205484"/>
                  </a:lnTo>
                  <a:lnTo>
                    <a:pt x="555879" y="1206246"/>
                  </a:lnTo>
                  <a:lnTo>
                    <a:pt x="558832" y="1204246"/>
                  </a:lnTo>
                  <a:lnTo>
                    <a:pt x="560165" y="1215295"/>
                  </a:lnTo>
                  <a:lnTo>
                    <a:pt x="563785" y="1218057"/>
                  </a:lnTo>
                  <a:lnTo>
                    <a:pt x="571405" y="1215485"/>
                  </a:lnTo>
                  <a:lnTo>
                    <a:pt x="573786" y="1208723"/>
                  </a:lnTo>
                  <a:lnTo>
                    <a:pt x="579882" y="1206341"/>
                  </a:lnTo>
                  <a:lnTo>
                    <a:pt x="579120" y="1200055"/>
                  </a:lnTo>
                  <a:lnTo>
                    <a:pt x="583025" y="1193102"/>
                  </a:lnTo>
                  <a:lnTo>
                    <a:pt x="589312" y="1192339"/>
                  </a:lnTo>
                  <a:lnTo>
                    <a:pt x="591693" y="1198436"/>
                  </a:lnTo>
                  <a:lnTo>
                    <a:pt x="595122" y="1199579"/>
                  </a:lnTo>
                  <a:lnTo>
                    <a:pt x="599789" y="1199007"/>
                  </a:lnTo>
                  <a:lnTo>
                    <a:pt x="604361" y="1196816"/>
                  </a:lnTo>
                  <a:lnTo>
                    <a:pt x="608267" y="1189958"/>
                  </a:lnTo>
                  <a:lnTo>
                    <a:pt x="606076" y="1185386"/>
                  </a:lnTo>
                  <a:lnTo>
                    <a:pt x="604076" y="1182433"/>
                  </a:lnTo>
                  <a:lnTo>
                    <a:pt x="602933" y="1173004"/>
                  </a:lnTo>
                  <a:lnTo>
                    <a:pt x="605885" y="1171004"/>
                  </a:lnTo>
                  <a:lnTo>
                    <a:pt x="609409" y="1173766"/>
                  </a:lnTo>
                  <a:lnTo>
                    <a:pt x="615696" y="1172908"/>
                  </a:lnTo>
                  <a:lnTo>
                    <a:pt x="617315" y="1172718"/>
                  </a:lnTo>
                  <a:lnTo>
                    <a:pt x="623792" y="1173480"/>
                  </a:lnTo>
                  <a:lnTo>
                    <a:pt x="630746" y="1177481"/>
                  </a:lnTo>
                  <a:lnTo>
                    <a:pt x="635698" y="1178433"/>
                  </a:lnTo>
                  <a:lnTo>
                    <a:pt x="637604" y="1168527"/>
                  </a:lnTo>
                  <a:lnTo>
                    <a:pt x="643509" y="1164527"/>
                  </a:lnTo>
                  <a:lnTo>
                    <a:pt x="644271" y="1158049"/>
                  </a:lnTo>
                  <a:lnTo>
                    <a:pt x="648081" y="1149572"/>
                  </a:lnTo>
                  <a:lnTo>
                    <a:pt x="647033" y="1141666"/>
                  </a:lnTo>
                  <a:lnTo>
                    <a:pt x="651129" y="1136332"/>
                  </a:lnTo>
                  <a:lnTo>
                    <a:pt x="654558" y="1137475"/>
                  </a:lnTo>
                  <a:lnTo>
                    <a:pt x="651701" y="1128236"/>
                  </a:lnTo>
                  <a:lnTo>
                    <a:pt x="644462" y="1121188"/>
                  </a:lnTo>
                  <a:lnTo>
                    <a:pt x="643604" y="1114806"/>
                  </a:lnTo>
                  <a:lnTo>
                    <a:pt x="651510" y="1113854"/>
                  </a:lnTo>
                  <a:lnTo>
                    <a:pt x="654844" y="1114997"/>
                  </a:lnTo>
                  <a:lnTo>
                    <a:pt x="662559" y="1112425"/>
                  </a:lnTo>
                  <a:lnTo>
                    <a:pt x="662368" y="1110901"/>
                  </a:lnTo>
                  <a:lnTo>
                    <a:pt x="664559" y="1115378"/>
                  </a:lnTo>
                  <a:lnTo>
                    <a:pt x="668084" y="1118140"/>
                  </a:lnTo>
                  <a:lnTo>
                    <a:pt x="666559" y="1118330"/>
                  </a:lnTo>
                  <a:lnTo>
                    <a:pt x="666750" y="1119949"/>
                  </a:lnTo>
                  <a:lnTo>
                    <a:pt x="672275" y="1125664"/>
                  </a:lnTo>
                  <a:lnTo>
                    <a:pt x="679133" y="1129570"/>
                  </a:lnTo>
                  <a:lnTo>
                    <a:pt x="681514" y="1135666"/>
                  </a:lnTo>
                  <a:lnTo>
                    <a:pt x="680371" y="1138999"/>
                  </a:lnTo>
                  <a:lnTo>
                    <a:pt x="683895" y="1141762"/>
                  </a:lnTo>
                  <a:lnTo>
                    <a:pt x="687896" y="1147667"/>
                  </a:lnTo>
                  <a:lnTo>
                    <a:pt x="692277" y="1143953"/>
                  </a:lnTo>
                  <a:lnTo>
                    <a:pt x="698563" y="1143095"/>
                  </a:lnTo>
                  <a:lnTo>
                    <a:pt x="704088" y="1148810"/>
                  </a:lnTo>
                  <a:lnTo>
                    <a:pt x="718661" y="1150144"/>
                  </a:lnTo>
                  <a:lnTo>
                    <a:pt x="720662" y="1153097"/>
                  </a:lnTo>
                  <a:lnTo>
                    <a:pt x="723043" y="1159288"/>
                  </a:lnTo>
                  <a:lnTo>
                    <a:pt x="728377" y="1163383"/>
                  </a:lnTo>
                  <a:lnTo>
                    <a:pt x="731330" y="1161383"/>
                  </a:lnTo>
                  <a:lnTo>
                    <a:pt x="730758" y="1156716"/>
                  </a:lnTo>
                  <a:lnTo>
                    <a:pt x="733901" y="1156240"/>
                  </a:lnTo>
                  <a:lnTo>
                    <a:pt x="736854" y="1154335"/>
                  </a:lnTo>
                  <a:lnTo>
                    <a:pt x="739997" y="1153858"/>
                  </a:lnTo>
                  <a:lnTo>
                    <a:pt x="744093" y="1148524"/>
                  </a:lnTo>
                  <a:lnTo>
                    <a:pt x="750475" y="1147763"/>
                  </a:lnTo>
                  <a:lnTo>
                    <a:pt x="755713" y="1139095"/>
                  </a:lnTo>
                  <a:lnTo>
                    <a:pt x="758476" y="1135475"/>
                  </a:lnTo>
                  <a:lnTo>
                    <a:pt x="764858" y="1134713"/>
                  </a:lnTo>
                  <a:lnTo>
                    <a:pt x="769144" y="1143762"/>
                  </a:lnTo>
                  <a:lnTo>
                    <a:pt x="772954" y="1160907"/>
                  </a:lnTo>
                  <a:lnTo>
                    <a:pt x="776383" y="1162050"/>
                  </a:lnTo>
                  <a:lnTo>
                    <a:pt x="779717" y="1163288"/>
                  </a:lnTo>
                  <a:lnTo>
                    <a:pt x="790099" y="1157097"/>
                  </a:lnTo>
                  <a:lnTo>
                    <a:pt x="796671" y="1170718"/>
                  </a:lnTo>
                  <a:lnTo>
                    <a:pt x="802291" y="1189291"/>
                  </a:lnTo>
                  <a:lnTo>
                    <a:pt x="816483" y="1187482"/>
                  </a:lnTo>
                  <a:lnTo>
                    <a:pt x="820769" y="1183672"/>
                  </a:lnTo>
                  <a:lnTo>
                    <a:pt x="821150" y="1186815"/>
                  </a:lnTo>
                  <a:lnTo>
                    <a:pt x="824103" y="1184910"/>
                  </a:lnTo>
                  <a:lnTo>
                    <a:pt x="829437" y="1189006"/>
                  </a:lnTo>
                  <a:lnTo>
                    <a:pt x="833628" y="1183672"/>
                  </a:lnTo>
                  <a:lnTo>
                    <a:pt x="832771" y="1177385"/>
                  </a:lnTo>
                  <a:lnTo>
                    <a:pt x="837343" y="1175195"/>
                  </a:lnTo>
                  <a:lnTo>
                    <a:pt x="836962" y="1172051"/>
                  </a:lnTo>
                  <a:lnTo>
                    <a:pt x="844201" y="1166241"/>
                  </a:lnTo>
                  <a:lnTo>
                    <a:pt x="838676" y="1147763"/>
                  </a:lnTo>
                  <a:lnTo>
                    <a:pt x="845058" y="1122902"/>
                  </a:lnTo>
                  <a:lnTo>
                    <a:pt x="843534" y="1123093"/>
                  </a:lnTo>
                  <a:lnTo>
                    <a:pt x="841915" y="1110424"/>
                  </a:lnTo>
                  <a:lnTo>
                    <a:pt x="837152" y="1110996"/>
                  </a:lnTo>
                  <a:lnTo>
                    <a:pt x="844582" y="1081183"/>
                  </a:lnTo>
                  <a:lnTo>
                    <a:pt x="847344" y="1077658"/>
                  </a:lnTo>
                  <a:lnTo>
                    <a:pt x="847725" y="1068038"/>
                  </a:lnTo>
                  <a:lnTo>
                    <a:pt x="854202" y="1055941"/>
                  </a:lnTo>
                  <a:lnTo>
                    <a:pt x="856964" y="1052417"/>
                  </a:lnTo>
                  <a:lnTo>
                    <a:pt x="867823" y="1049369"/>
                  </a:lnTo>
                  <a:lnTo>
                    <a:pt x="870204" y="1042702"/>
                  </a:lnTo>
                  <a:lnTo>
                    <a:pt x="881253" y="1041273"/>
                  </a:lnTo>
                  <a:lnTo>
                    <a:pt x="889921" y="1033748"/>
                  </a:lnTo>
                  <a:lnTo>
                    <a:pt x="890873" y="1028795"/>
                  </a:lnTo>
                  <a:lnTo>
                    <a:pt x="893635" y="1025271"/>
                  </a:lnTo>
                  <a:lnTo>
                    <a:pt x="894588" y="1020318"/>
                  </a:lnTo>
                  <a:lnTo>
                    <a:pt x="899160" y="1018127"/>
                  </a:lnTo>
                  <a:lnTo>
                    <a:pt x="898874" y="1016603"/>
                  </a:lnTo>
                  <a:lnTo>
                    <a:pt x="900684" y="1017937"/>
                  </a:lnTo>
                  <a:lnTo>
                    <a:pt x="905256" y="1015746"/>
                  </a:lnTo>
                  <a:lnTo>
                    <a:pt x="900113" y="1000411"/>
                  </a:lnTo>
                  <a:lnTo>
                    <a:pt x="907733" y="984980"/>
                  </a:lnTo>
                  <a:lnTo>
                    <a:pt x="906875" y="978694"/>
                  </a:lnTo>
                  <a:lnTo>
                    <a:pt x="904494" y="972598"/>
                  </a:lnTo>
                  <a:lnTo>
                    <a:pt x="905923" y="970788"/>
                  </a:lnTo>
                  <a:lnTo>
                    <a:pt x="905066" y="964502"/>
                  </a:lnTo>
                  <a:lnTo>
                    <a:pt x="912781" y="961834"/>
                  </a:lnTo>
                  <a:lnTo>
                    <a:pt x="915734" y="959930"/>
                  </a:lnTo>
                  <a:lnTo>
                    <a:pt x="920877" y="962406"/>
                  </a:lnTo>
                  <a:lnTo>
                    <a:pt x="927163" y="961644"/>
                  </a:lnTo>
                  <a:lnTo>
                    <a:pt x="929926" y="958120"/>
                  </a:lnTo>
                  <a:lnTo>
                    <a:pt x="932307" y="964216"/>
                  </a:lnTo>
                  <a:lnTo>
                    <a:pt x="932307" y="964216"/>
                  </a:lnTo>
                  <a:lnTo>
                    <a:pt x="933736" y="962406"/>
                  </a:lnTo>
                  <a:lnTo>
                    <a:pt x="935736" y="965359"/>
                  </a:lnTo>
                  <a:lnTo>
                    <a:pt x="939260" y="968121"/>
                  </a:lnTo>
                  <a:lnTo>
                    <a:pt x="940594" y="966311"/>
                  </a:lnTo>
                  <a:lnTo>
                    <a:pt x="944023" y="967549"/>
                  </a:lnTo>
                  <a:lnTo>
                    <a:pt x="948118" y="962215"/>
                  </a:lnTo>
                  <a:lnTo>
                    <a:pt x="953072" y="963168"/>
                  </a:lnTo>
                  <a:lnTo>
                    <a:pt x="959930" y="967073"/>
                  </a:lnTo>
                  <a:lnTo>
                    <a:pt x="958977" y="972026"/>
                  </a:lnTo>
                  <a:lnTo>
                    <a:pt x="960787" y="973455"/>
                  </a:lnTo>
                  <a:lnTo>
                    <a:pt x="968693" y="972407"/>
                  </a:lnTo>
                  <a:lnTo>
                    <a:pt x="972217" y="975170"/>
                  </a:lnTo>
                  <a:lnTo>
                    <a:pt x="977360" y="977741"/>
                  </a:lnTo>
                  <a:lnTo>
                    <a:pt x="981932" y="975550"/>
                  </a:lnTo>
                  <a:lnTo>
                    <a:pt x="988790" y="979456"/>
                  </a:lnTo>
                  <a:lnTo>
                    <a:pt x="993743" y="980408"/>
                  </a:lnTo>
                  <a:lnTo>
                    <a:pt x="997458" y="984790"/>
                  </a:lnTo>
                  <a:lnTo>
                    <a:pt x="1002411" y="985742"/>
                  </a:lnTo>
                  <a:lnTo>
                    <a:pt x="1005364" y="983742"/>
                  </a:lnTo>
                  <a:lnTo>
                    <a:pt x="1012508" y="989266"/>
                  </a:lnTo>
                  <a:lnTo>
                    <a:pt x="1015079" y="984123"/>
                  </a:lnTo>
                  <a:lnTo>
                    <a:pt x="1018222" y="983742"/>
                  </a:lnTo>
                  <a:lnTo>
                    <a:pt x="1023938" y="978217"/>
                  </a:lnTo>
                  <a:lnTo>
                    <a:pt x="1027652" y="969740"/>
                  </a:lnTo>
                  <a:lnTo>
                    <a:pt x="1025843" y="968312"/>
                  </a:lnTo>
                  <a:lnTo>
                    <a:pt x="1027081" y="964978"/>
                  </a:lnTo>
                  <a:lnTo>
                    <a:pt x="1026890" y="963358"/>
                  </a:lnTo>
                  <a:lnTo>
                    <a:pt x="1011269" y="954119"/>
                  </a:lnTo>
                  <a:lnTo>
                    <a:pt x="1011079" y="952595"/>
                  </a:lnTo>
                  <a:lnTo>
                    <a:pt x="1010602" y="949452"/>
                  </a:lnTo>
                  <a:lnTo>
                    <a:pt x="1008697" y="946499"/>
                  </a:lnTo>
                  <a:lnTo>
                    <a:pt x="1013936" y="937736"/>
                  </a:lnTo>
                  <a:lnTo>
                    <a:pt x="1012603" y="926687"/>
                  </a:lnTo>
                  <a:lnTo>
                    <a:pt x="1020604" y="914495"/>
                  </a:lnTo>
                  <a:lnTo>
                    <a:pt x="1018604" y="898684"/>
                  </a:lnTo>
                  <a:lnTo>
                    <a:pt x="1022985" y="894969"/>
                  </a:lnTo>
                  <a:lnTo>
                    <a:pt x="1022699" y="893350"/>
                  </a:lnTo>
                  <a:lnTo>
                    <a:pt x="1030605" y="892302"/>
                  </a:lnTo>
                  <a:lnTo>
                    <a:pt x="1030034" y="887635"/>
                  </a:lnTo>
                  <a:lnTo>
                    <a:pt x="1026033" y="881729"/>
                  </a:lnTo>
                  <a:lnTo>
                    <a:pt x="1025843" y="880110"/>
                  </a:lnTo>
                  <a:lnTo>
                    <a:pt x="1022699" y="880491"/>
                  </a:lnTo>
                  <a:lnTo>
                    <a:pt x="1021747" y="872585"/>
                  </a:lnTo>
                  <a:lnTo>
                    <a:pt x="1022890" y="856488"/>
                  </a:lnTo>
                  <a:lnTo>
                    <a:pt x="1030700" y="855440"/>
                  </a:lnTo>
                  <a:lnTo>
                    <a:pt x="1029938" y="836295"/>
                  </a:lnTo>
                  <a:lnTo>
                    <a:pt x="1033272" y="837438"/>
                  </a:lnTo>
                  <a:lnTo>
                    <a:pt x="1034225" y="832580"/>
                  </a:lnTo>
                  <a:lnTo>
                    <a:pt x="1035368" y="829151"/>
                  </a:lnTo>
                  <a:lnTo>
                    <a:pt x="1036415" y="824294"/>
                  </a:lnTo>
                  <a:lnTo>
                    <a:pt x="1034415" y="808482"/>
                  </a:lnTo>
                  <a:lnTo>
                    <a:pt x="1030796" y="805720"/>
                  </a:lnTo>
                  <a:lnTo>
                    <a:pt x="1030034" y="799433"/>
                  </a:lnTo>
                  <a:lnTo>
                    <a:pt x="1026414" y="796671"/>
                  </a:lnTo>
                  <a:lnTo>
                    <a:pt x="1026033" y="793528"/>
                  </a:lnTo>
                  <a:lnTo>
                    <a:pt x="1030414" y="789718"/>
                  </a:lnTo>
                  <a:lnTo>
                    <a:pt x="1031558" y="786384"/>
                  </a:lnTo>
                  <a:lnTo>
                    <a:pt x="1030796" y="780097"/>
                  </a:lnTo>
                  <a:lnTo>
                    <a:pt x="1027176" y="777335"/>
                  </a:lnTo>
                  <a:lnTo>
                    <a:pt x="1023842" y="763334"/>
                  </a:lnTo>
                  <a:lnTo>
                    <a:pt x="1024604" y="756761"/>
                  </a:lnTo>
                  <a:lnTo>
                    <a:pt x="1024795" y="745522"/>
                  </a:lnTo>
                  <a:lnTo>
                    <a:pt x="1026700" y="735711"/>
                  </a:lnTo>
                  <a:lnTo>
                    <a:pt x="1026890" y="737235"/>
                  </a:lnTo>
                  <a:lnTo>
                    <a:pt x="1029081" y="728948"/>
                  </a:lnTo>
                  <a:lnTo>
                    <a:pt x="1036510" y="724757"/>
                  </a:lnTo>
                  <a:lnTo>
                    <a:pt x="1039273" y="721233"/>
                  </a:lnTo>
                  <a:lnTo>
                    <a:pt x="1037558" y="719900"/>
                  </a:lnTo>
                  <a:lnTo>
                    <a:pt x="1040892" y="708184"/>
                  </a:lnTo>
                  <a:lnTo>
                    <a:pt x="1035939" y="707231"/>
                  </a:lnTo>
                  <a:lnTo>
                    <a:pt x="1033748" y="702659"/>
                  </a:lnTo>
                  <a:lnTo>
                    <a:pt x="1037654" y="695801"/>
                  </a:lnTo>
                  <a:lnTo>
                    <a:pt x="1042797" y="698373"/>
                  </a:lnTo>
                  <a:lnTo>
                    <a:pt x="1048893" y="695992"/>
                  </a:lnTo>
                  <a:lnTo>
                    <a:pt x="1051465" y="690848"/>
                  </a:lnTo>
                  <a:lnTo>
                    <a:pt x="1056037" y="688657"/>
                  </a:lnTo>
                  <a:lnTo>
                    <a:pt x="1060133" y="696087"/>
                  </a:lnTo>
                  <a:lnTo>
                    <a:pt x="1068610" y="699897"/>
                  </a:lnTo>
                  <a:lnTo>
                    <a:pt x="1079278" y="695325"/>
                  </a:lnTo>
                  <a:lnTo>
                    <a:pt x="1086041" y="697611"/>
                  </a:lnTo>
                  <a:lnTo>
                    <a:pt x="1088612" y="705326"/>
                  </a:lnTo>
                  <a:lnTo>
                    <a:pt x="1085850" y="708851"/>
                  </a:lnTo>
                  <a:lnTo>
                    <a:pt x="1086231" y="712089"/>
                  </a:lnTo>
                  <a:lnTo>
                    <a:pt x="1088231" y="715042"/>
                  </a:lnTo>
                  <a:lnTo>
                    <a:pt x="1102805" y="716375"/>
                  </a:lnTo>
                  <a:lnTo>
                    <a:pt x="1112901" y="719900"/>
                  </a:lnTo>
                  <a:lnTo>
                    <a:pt x="1116997" y="714565"/>
                  </a:lnTo>
                  <a:lnTo>
                    <a:pt x="1121759" y="713899"/>
                  </a:lnTo>
                  <a:lnTo>
                    <a:pt x="1126903" y="716471"/>
                  </a:lnTo>
                  <a:lnTo>
                    <a:pt x="1128236" y="714756"/>
                  </a:lnTo>
                  <a:lnTo>
                    <a:pt x="1131665" y="715899"/>
                  </a:lnTo>
                  <a:lnTo>
                    <a:pt x="1136142" y="713708"/>
                  </a:lnTo>
                  <a:lnTo>
                    <a:pt x="1136618" y="716851"/>
                  </a:lnTo>
                  <a:lnTo>
                    <a:pt x="1149953" y="721614"/>
                  </a:lnTo>
                  <a:lnTo>
                    <a:pt x="1151763" y="722947"/>
                  </a:lnTo>
                  <a:lnTo>
                    <a:pt x="1152811" y="730853"/>
                  </a:lnTo>
                  <a:lnTo>
                    <a:pt x="1149382" y="729615"/>
                  </a:lnTo>
                  <a:lnTo>
                    <a:pt x="1146715" y="733234"/>
                  </a:lnTo>
                  <a:lnTo>
                    <a:pt x="1147096" y="736378"/>
                  </a:lnTo>
                  <a:lnTo>
                    <a:pt x="1155573" y="740093"/>
                  </a:lnTo>
                  <a:lnTo>
                    <a:pt x="1155764" y="741712"/>
                  </a:lnTo>
                  <a:lnTo>
                    <a:pt x="1153001" y="745236"/>
                  </a:lnTo>
                  <a:lnTo>
                    <a:pt x="1158335" y="749332"/>
                  </a:lnTo>
                  <a:lnTo>
                    <a:pt x="1160907" y="757047"/>
                  </a:lnTo>
                  <a:lnTo>
                    <a:pt x="1159573" y="758857"/>
                  </a:lnTo>
                  <a:lnTo>
                    <a:pt x="1156621" y="760857"/>
                  </a:lnTo>
                  <a:lnTo>
                    <a:pt x="1150334" y="774478"/>
                  </a:lnTo>
                  <a:lnTo>
                    <a:pt x="1155859" y="780193"/>
                  </a:lnTo>
                  <a:lnTo>
                    <a:pt x="1158812" y="778193"/>
                  </a:lnTo>
                  <a:lnTo>
                    <a:pt x="1160621" y="779526"/>
                  </a:lnTo>
                  <a:lnTo>
                    <a:pt x="1167860" y="773811"/>
                  </a:lnTo>
                  <a:lnTo>
                    <a:pt x="1175004" y="779335"/>
                  </a:lnTo>
                  <a:lnTo>
                    <a:pt x="1183291" y="768668"/>
                  </a:lnTo>
                  <a:lnTo>
                    <a:pt x="1187768" y="766477"/>
                  </a:lnTo>
                  <a:lnTo>
                    <a:pt x="1190530" y="762952"/>
                  </a:lnTo>
                  <a:lnTo>
                    <a:pt x="1195102" y="760762"/>
                  </a:lnTo>
                  <a:lnTo>
                    <a:pt x="1201388" y="759905"/>
                  </a:lnTo>
                  <a:lnTo>
                    <a:pt x="1211294" y="761905"/>
                  </a:lnTo>
                  <a:lnTo>
                    <a:pt x="1215962" y="761238"/>
                  </a:lnTo>
                  <a:lnTo>
                    <a:pt x="1226439" y="768001"/>
                  </a:lnTo>
                  <a:lnTo>
                    <a:pt x="1227487" y="763048"/>
                  </a:lnTo>
                  <a:lnTo>
                    <a:pt x="1232154" y="762381"/>
                  </a:lnTo>
                  <a:lnTo>
                    <a:pt x="1229582" y="754761"/>
                  </a:lnTo>
                  <a:lnTo>
                    <a:pt x="1231011" y="752951"/>
                  </a:lnTo>
                  <a:lnTo>
                    <a:pt x="1234345" y="754094"/>
                  </a:lnTo>
                  <a:lnTo>
                    <a:pt x="1240441" y="738950"/>
                  </a:lnTo>
                  <a:lnTo>
                    <a:pt x="1241774" y="737140"/>
                  </a:lnTo>
                  <a:lnTo>
                    <a:pt x="1236059" y="729805"/>
                  </a:lnTo>
                  <a:lnTo>
                    <a:pt x="1238250" y="721519"/>
                  </a:lnTo>
                  <a:lnTo>
                    <a:pt x="1246537" y="723709"/>
                  </a:lnTo>
                  <a:lnTo>
                    <a:pt x="1250061" y="726472"/>
                  </a:lnTo>
                  <a:lnTo>
                    <a:pt x="1247680" y="733139"/>
                  </a:lnTo>
                  <a:lnTo>
                    <a:pt x="1258157" y="739902"/>
                  </a:lnTo>
                  <a:lnTo>
                    <a:pt x="1262729" y="737711"/>
                  </a:lnTo>
                  <a:lnTo>
                    <a:pt x="1269587" y="741617"/>
                  </a:lnTo>
                  <a:lnTo>
                    <a:pt x="1273969" y="737806"/>
                  </a:lnTo>
                  <a:lnTo>
                    <a:pt x="1276541" y="732758"/>
                  </a:lnTo>
                  <a:lnTo>
                    <a:pt x="1281684" y="735235"/>
                  </a:lnTo>
                  <a:lnTo>
                    <a:pt x="1289304" y="732663"/>
                  </a:lnTo>
                  <a:lnTo>
                    <a:pt x="1301020" y="735997"/>
                  </a:lnTo>
                  <a:lnTo>
                    <a:pt x="1316831" y="746855"/>
                  </a:lnTo>
                  <a:lnTo>
                    <a:pt x="1321118" y="755904"/>
                  </a:lnTo>
                  <a:lnTo>
                    <a:pt x="1327690" y="756666"/>
                  </a:lnTo>
                  <a:lnTo>
                    <a:pt x="1335214" y="765334"/>
                  </a:lnTo>
                  <a:lnTo>
                    <a:pt x="1343882" y="770668"/>
                  </a:lnTo>
                  <a:lnTo>
                    <a:pt x="1350645" y="772954"/>
                  </a:lnTo>
                  <a:lnTo>
                    <a:pt x="1356931" y="772192"/>
                  </a:lnTo>
                  <a:lnTo>
                    <a:pt x="1361885" y="773144"/>
                  </a:lnTo>
                  <a:lnTo>
                    <a:pt x="1365599" y="777526"/>
                  </a:lnTo>
                  <a:lnTo>
                    <a:pt x="1374267" y="770001"/>
                  </a:lnTo>
                  <a:lnTo>
                    <a:pt x="1378268" y="775906"/>
                  </a:lnTo>
                  <a:lnTo>
                    <a:pt x="1381792" y="778669"/>
                  </a:lnTo>
                  <a:lnTo>
                    <a:pt x="1385126" y="779812"/>
                  </a:lnTo>
                  <a:lnTo>
                    <a:pt x="1398937" y="787718"/>
                  </a:lnTo>
                  <a:lnTo>
                    <a:pt x="1401032" y="803434"/>
                  </a:lnTo>
                  <a:lnTo>
                    <a:pt x="1406938" y="812292"/>
                  </a:lnTo>
                  <a:lnTo>
                    <a:pt x="1425512" y="819531"/>
                  </a:lnTo>
                  <a:lnTo>
                    <a:pt x="1432179" y="809149"/>
                  </a:lnTo>
                  <a:lnTo>
                    <a:pt x="1433798" y="808863"/>
                  </a:lnTo>
                  <a:lnTo>
                    <a:pt x="1432941" y="802577"/>
                  </a:lnTo>
                  <a:lnTo>
                    <a:pt x="1434370" y="800767"/>
                  </a:lnTo>
                  <a:lnTo>
                    <a:pt x="1439513" y="803338"/>
                  </a:lnTo>
                  <a:lnTo>
                    <a:pt x="1442180" y="799814"/>
                  </a:lnTo>
                  <a:lnTo>
                    <a:pt x="1446752" y="797623"/>
                  </a:lnTo>
                  <a:lnTo>
                    <a:pt x="1440275" y="796862"/>
                  </a:lnTo>
                  <a:lnTo>
                    <a:pt x="1438466" y="795433"/>
                  </a:lnTo>
                  <a:lnTo>
                    <a:pt x="1440085" y="795242"/>
                  </a:lnTo>
                  <a:lnTo>
                    <a:pt x="1442752" y="791718"/>
                  </a:lnTo>
                  <a:lnTo>
                    <a:pt x="1446181" y="792861"/>
                  </a:lnTo>
                  <a:lnTo>
                    <a:pt x="1447133" y="788003"/>
                  </a:lnTo>
                  <a:lnTo>
                    <a:pt x="1445323" y="786575"/>
                  </a:lnTo>
                  <a:lnTo>
                    <a:pt x="1441990" y="785431"/>
                  </a:lnTo>
                  <a:lnTo>
                    <a:pt x="1441799" y="783812"/>
                  </a:lnTo>
                  <a:lnTo>
                    <a:pt x="1440371" y="785622"/>
                  </a:lnTo>
                  <a:lnTo>
                    <a:pt x="1438466" y="782669"/>
                  </a:lnTo>
                  <a:lnTo>
                    <a:pt x="1439227" y="776097"/>
                  </a:lnTo>
                  <a:lnTo>
                    <a:pt x="1444181" y="777145"/>
                  </a:lnTo>
                  <a:lnTo>
                    <a:pt x="1444752" y="781812"/>
                  </a:lnTo>
                  <a:lnTo>
                    <a:pt x="1449705" y="782860"/>
                  </a:lnTo>
                  <a:lnTo>
                    <a:pt x="1452848" y="782384"/>
                  </a:lnTo>
                  <a:lnTo>
                    <a:pt x="1454182" y="780669"/>
                  </a:lnTo>
                  <a:lnTo>
                    <a:pt x="1455611" y="778859"/>
                  </a:lnTo>
                  <a:lnTo>
                    <a:pt x="1458182" y="773716"/>
                  </a:lnTo>
                  <a:lnTo>
                    <a:pt x="1449229" y="766858"/>
                  </a:lnTo>
                  <a:lnTo>
                    <a:pt x="1450467" y="763429"/>
                  </a:lnTo>
                  <a:lnTo>
                    <a:pt x="1453420" y="761524"/>
                  </a:lnTo>
                  <a:lnTo>
                    <a:pt x="1452943" y="758380"/>
                  </a:lnTo>
                  <a:lnTo>
                    <a:pt x="1454182" y="754951"/>
                  </a:lnTo>
                  <a:lnTo>
                    <a:pt x="1443895" y="749903"/>
                  </a:lnTo>
                  <a:lnTo>
                    <a:pt x="1431989" y="744950"/>
                  </a:lnTo>
                  <a:lnTo>
                    <a:pt x="1428845" y="745331"/>
                  </a:lnTo>
                  <a:lnTo>
                    <a:pt x="1417606" y="745236"/>
                  </a:lnTo>
                  <a:lnTo>
                    <a:pt x="1414081" y="742474"/>
                  </a:lnTo>
                  <a:lnTo>
                    <a:pt x="1412081" y="739521"/>
                  </a:lnTo>
                  <a:lnTo>
                    <a:pt x="1413034" y="734568"/>
                  </a:lnTo>
                  <a:lnTo>
                    <a:pt x="1413796" y="728091"/>
                  </a:lnTo>
                  <a:lnTo>
                    <a:pt x="1415225" y="726281"/>
                  </a:lnTo>
                  <a:lnTo>
                    <a:pt x="1412843" y="720185"/>
                  </a:lnTo>
                  <a:lnTo>
                    <a:pt x="1409510" y="718947"/>
                  </a:lnTo>
                  <a:lnTo>
                    <a:pt x="1402747" y="716661"/>
                  </a:lnTo>
                  <a:lnTo>
                    <a:pt x="1398842" y="723519"/>
                  </a:lnTo>
                  <a:lnTo>
                    <a:pt x="1394079" y="724186"/>
                  </a:lnTo>
                  <a:lnTo>
                    <a:pt x="1392936" y="727519"/>
                  </a:lnTo>
                  <a:lnTo>
                    <a:pt x="1391317" y="727710"/>
                  </a:lnTo>
                  <a:lnTo>
                    <a:pt x="1386935" y="718661"/>
                  </a:lnTo>
                  <a:lnTo>
                    <a:pt x="1391317" y="714851"/>
                  </a:lnTo>
                  <a:lnTo>
                    <a:pt x="1388935" y="708755"/>
                  </a:lnTo>
                  <a:lnTo>
                    <a:pt x="1395031" y="706374"/>
                  </a:lnTo>
                  <a:lnTo>
                    <a:pt x="1399794" y="705802"/>
                  </a:lnTo>
                  <a:lnTo>
                    <a:pt x="1402366" y="700659"/>
                  </a:lnTo>
                  <a:lnTo>
                    <a:pt x="1403318" y="695706"/>
                  </a:lnTo>
                  <a:lnTo>
                    <a:pt x="1404842" y="695515"/>
                  </a:lnTo>
                  <a:lnTo>
                    <a:pt x="1408271" y="696659"/>
                  </a:lnTo>
                  <a:lnTo>
                    <a:pt x="1409986" y="698087"/>
                  </a:lnTo>
                  <a:lnTo>
                    <a:pt x="1409033" y="690181"/>
                  </a:lnTo>
                  <a:lnTo>
                    <a:pt x="1413986" y="691134"/>
                  </a:lnTo>
                  <a:lnTo>
                    <a:pt x="1415129" y="687800"/>
                  </a:lnTo>
                  <a:lnTo>
                    <a:pt x="1418082" y="685800"/>
                  </a:lnTo>
                  <a:lnTo>
                    <a:pt x="1416272" y="684467"/>
                  </a:lnTo>
                  <a:lnTo>
                    <a:pt x="1418844" y="679323"/>
                  </a:lnTo>
                  <a:lnTo>
                    <a:pt x="1415510" y="678085"/>
                  </a:lnTo>
                  <a:lnTo>
                    <a:pt x="1416844" y="676370"/>
                  </a:lnTo>
                  <a:lnTo>
                    <a:pt x="1414939" y="673418"/>
                  </a:lnTo>
                  <a:lnTo>
                    <a:pt x="1416082" y="669988"/>
                  </a:lnTo>
                  <a:lnTo>
                    <a:pt x="1423988" y="669036"/>
                  </a:lnTo>
                  <a:lnTo>
                    <a:pt x="1430084" y="666655"/>
                  </a:lnTo>
                  <a:lnTo>
                    <a:pt x="1432179" y="658368"/>
                  </a:lnTo>
                  <a:lnTo>
                    <a:pt x="1427035" y="655796"/>
                  </a:lnTo>
                  <a:lnTo>
                    <a:pt x="1427893" y="649319"/>
                  </a:lnTo>
                  <a:lnTo>
                    <a:pt x="1426083" y="647890"/>
                  </a:lnTo>
                  <a:lnTo>
                    <a:pt x="1424273" y="646557"/>
                  </a:lnTo>
                  <a:lnTo>
                    <a:pt x="1431989" y="643985"/>
                  </a:lnTo>
                  <a:lnTo>
                    <a:pt x="1435513" y="646652"/>
                  </a:lnTo>
                  <a:lnTo>
                    <a:pt x="1436084" y="638651"/>
                  </a:lnTo>
                  <a:lnTo>
                    <a:pt x="1432179" y="632651"/>
                  </a:lnTo>
                  <a:lnTo>
                    <a:pt x="1433131" y="627793"/>
                  </a:lnTo>
                  <a:lnTo>
                    <a:pt x="1443418" y="632841"/>
                  </a:lnTo>
                  <a:lnTo>
                    <a:pt x="1451324" y="631888"/>
                  </a:lnTo>
                  <a:lnTo>
                    <a:pt x="1453039" y="633222"/>
                  </a:lnTo>
                  <a:lnTo>
                    <a:pt x="1454468" y="631507"/>
                  </a:lnTo>
                  <a:lnTo>
                    <a:pt x="1456277" y="632841"/>
                  </a:lnTo>
                  <a:lnTo>
                    <a:pt x="1462564" y="632079"/>
                  </a:lnTo>
                  <a:lnTo>
                    <a:pt x="1465326" y="628459"/>
                  </a:lnTo>
                  <a:lnTo>
                    <a:pt x="1464659" y="623697"/>
                  </a:lnTo>
                  <a:lnTo>
                    <a:pt x="1460754" y="617792"/>
                  </a:lnTo>
                  <a:lnTo>
                    <a:pt x="1468660" y="616839"/>
                  </a:lnTo>
                  <a:lnTo>
                    <a:pt x="1468660" y="616839"/>
                  </a:lnTo>
                  <a:close/>
                </a:path>
              </a:pathLst>
            </a:custGeom>
            <a:solidFill>
              <a:schemeClr val="bg1"/>
            </a:solidFill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 dirty="0"/>
            </a:p>
          </p:txBody>
        </p:sp>
        <p:sp>
          <p:nvSpPr>
            <p:cNvPr id="51" name="Volný tvar: obrazec 50">
              <a:extLst>
                <a:ext uri="{FF2B5EF4-FFF2-40B4-BE49-F238E27FC236}">
                  <a16:creationId xmlns:a16="http://schemas.microsoft.com/office/drawing/2014/main" id="{3F9240FC-9580-7EBB-623A-18638EB4D447}"/>
                </a:ext>
              </a:extLst>
            </p:cNvPr>
            <p:cNvSpPr>
              <a:spLocks noChangeAspect="1"/>
            </p:cNvSpPr>
            <p:nvPr userDrawn="1">
              <p:custDataLst>
                <p:tags r:id="rId6"/>
              </p:custDataLst>
            </p:nvPr>
          </p:nvSpPr>
          <p:spPr>
            <a:xfrm>
              <a:off x="6140100" y="3632692"/>
              <a:ext cx="1502283" cy="1161573"/>
            </a:xfrm>
            <a:custGeom>
              <a:avLst/>
              <a:gdLst>
                <a:gd name="connsiteX0" fmla="*/ 1496282 w 1502283"/>
                <a:gd name="connsiteY0" fmla="*/ 857155 h 1161573"/>
                <a:gd name="connsiteX1" fmla="*/ 1495711 w 1502283"/>
                <a:gd name="connsiteY1" fmla="*/ 852392 h 1161573"/>
                <a:gd name="connsiteX2" fmla="*/ 1497330 w 1502283"/>
                <a:gd name="connsiteY2" fmla="*/ 852202 h 1161573"/>
                <a:gd name="connsiteX3" fmla="*/ 1495520 w 1502283"/>
                <a:gd name="connsiteY3" fmla="*/ 850868 h 1161573"/>
                <a:gd name="connsiteX4" fmla="*/ 1498282 w 1502283"/>
                <a:gd name="connsiteY4" fmla="*/ 847344 h 1161573"/>
                <a:gd name="connsiteX5" fmla="*/ 1490567 w 1502283"/>
                <a:gd name="connsiteY5" fmla="*/ 849916 h 1161573"/>
                <a:gd name="connsiteX6" fmla="*/ 1486853 w 1502283"/>
                <a:gd name="connsiteY6" fmla="*/ 845630 h 1161573"/>
                <a:gd name="connsiteX7" fmla="*/ 1487996 w 1502283"/>
                <a:gd name="connsiteY7" fmla="*/ 842296 h 1161573"/>
                <a:gd name="connsiteX8" fmla="*/ 1481899 w 1502283"/>
                <a:gd name="connsiteY8" fmla="*/ 831818 h 1161573"/>
                <a:gd name="connsiteX9" fmla="*/ 1469803 w 1502283"/>
                <a:gd name="connsiteY9" fmla="*/ 812483 h 1161573"/>
                <a:gd name="connsiteX10" fmla="*/ 1458563 w 1502283"/>
                <a:gd name="connsiteY10" fmla="*/ 812292 h 1161573"/>
                <a:gd name="connsiteX11" fmla="*/ 1442371 w 1502283"/>
                <a:gd name="connsiteY11" fmla="*/ 798290 h 1161573"/>
                <a:gd name="connsiteX12" fmla="*/ 1437608 w 1502283"/>
                <a:gd name="connsiteY12" fmla="*/ 798862 h 1161573"/>
                <a:gd name="connsiteX13" fmla="*/ 1433513 w 1502283"/>
                <a:gd name="connsiteY13" fmla="*/ 804196 h 1161573"/>
                <a:gd name="connsiteX14" fmla="*/ 1424845 w 1502283"/>
                <a:gd name="connsiteY14" fmla="*/ 798862 h 1161573"/>
                <a:gd name="connsiteX15" fmla="*/ 1432274 w 1502283"/>
                <a:gd name="connsiteY15" fmla="*/ 781907 h 1161573"/>
                <a:gd name="connsiteX16" fmla="*/ 1431703 w 1502283"/>
                <a:gd name="connsiteY16" fmla="*/ 777145 h 1161573"/>
                <a:gd name="connsiteX17" fmla="*/ 1434465 w 1502283"/>
                <a:gd name="connsiteY17" fmla="*/ 773621 h 1161573"/>
                <a:gd name="connsiteX18" fmla="*/ 1425797 w 1502283"/>
                <a:gd name="connsiteY18" fmla="*/ 768287 h 1161573"/>
                <a:gd name="connsiteX19" fmla="*/ 1411796 w 1502283"/>
                <a:gd name="connsiteY19" fmla="*/ 758857 h 1161573"/>
                <a:gd name="connsiteX20" fmla="*/ 1402937 w 1502283"/>
                <a:gd name="connsiteY20" fmla="*/ 764762 h 1161573"/>
                <a:gd name="connsiteX21" fmla="*/ 1400937 w 1502283"/>
                <a:gd name="connsiteY21" fmla="*/ 761809 h 1161573"/>
                <a:gd name="connsiteX22" fmla="*/ 1394365 w 1502283"/>
                <a:gd name="connsiteY22" fmla="*/ 748189 h 1161573"/>
                <a:gd name="connsiteX23" fmla="*/ 1395413 w 1502283"/>
                <a:gd name="connsiteY23" fmla="*/ 756095 h 1161573"/>
                <a:gd name="connsiteX24" fmla="*/ 1381601 w 1502283"/>
                <a:gd name="connsiteY24" fmla="*/ 761048 h 1161573"/>
                <a:gd name="connsiteX25" fmla="*/ 1375886 w 1502283"/>
                <a:gd name="connsiteY25" fmla="*/ 753809 h 1161573"/>
                <a:gd name="connsiteX26" fmla="*/ 1372933 w 1502283"/>
                <a:gd name="connsiteY26" fmla="*/ 755809 h 1161573"/>
                <a:gd name="connsiteX27" fmla="*/ 1372743 w 1502283"/>
                <a:gd name="connsiteY27" fmla="*/ 754190 h 1161573"/>
                <a:gd name="connsiteX28" fmla="*/ 1366838 w 1502283"/>
                <a:gd name="connsiteY28" fmla="*/ 758190 h 1161573"/>
                <a:gd name="connsiteX29" fmla="*/ 1365028 w 1502283"/>
                <a:gd name="connsiteY29" fmla="*/ 756857 h 1161573"/>
                <a:gd name="connsiteX30" fmla="*/ 1362265 w 1502283"/>
                <a:gd name="connsiteY30" fmla="*/ 760381 h 1161573"/>
                <a:gd name="connsiteX31" fmla="*/ 1360456 w 1502283"/>
                <a:gd name="connsiteY31" fmla="*/ 759047 h 1161573"/>
                <a:gd name="connsiteX32" fmla="*/ 1348645 w 1502283"/>
                <a:gd name="connsiteY32" fmla="*/ 766953 h 1161573"/>
                <a:gd name="connsiteX33" fmla="*/ 1339596 w 1502283"/>
                <a:gd name="connsiteY33" fmla="*/ 758476 h 1161573"/>
                <a:gd name="connsiteX34" fmla="*/ 1337977 w 1502283"/>
                <a:gd name="connsiteY34" fmla="*/ 758666 h 1161573"/>
                <a:gd name="connsiteX35" fmla="*/ 1328642 w 1502283"/>
                <a:gd name="connsiteY35" fmla="*/ 748665 h 1161573"/>
                <a:gd name="connsiteX36" fmla="*/ 1321689 w 1502283"/>
                <a:gd name="connsiteY36" fmla="*/ 744760 h 1161573"/>
                <a:gd name="connsiteX37" fmla="*/ 1320260 w 1502283"/>
                <a:gd name="connsiteY37" fmla="*/ 733711 h 1161573"/>
                <a:gd name="connsiteX38" fmla="*/ 1309402 w 1502283"/>
                <a:gd name="connsiteY38" fmla="*/ 736663 h 1161573"/>
                <a:gd name="connsiteX39" fmla="*/ 1307021 w 1502283"/>
                <a:gd name="connsiteY39" fmla="*/ 743331 h 1161573"/>
                <a:gd name="connsiteX40" fmla="*/ 1304830 w 1502283"/>
                <a:gd name="connsiteY40" fmla="*/ 738759 h 1161573"/>
                <a:gd name="connsiteX41" fmla="*/ 1303496 w 1502283"/>
                <a:gd name="connsiteY41" fmla="*/ 740569 h 1161573"/>
                <a:gd name="connsiteX42" fmla="*/ 1300163 w 1502283"/>
                <a:gd name="connsiteY42" fmla="*/ 739426 h 1161573"/>
                <a:gd name="connsiteX43" fmla="*/ 1298829 w 1502283"/>
                <a:gd name="connsiteY43" fmla="*/ 741236 h 1161573"/>
                <a:gd name="connsiteX44" fmla="*/ 1292162 w 1502283"/>
                <a:gd name="connsiteY44" fmla="*/ 738854 h 1161573"/>
                <a:gd name="connsiteX45" fmla="*/ 1290352 w 1502283"/>
                <a:gd name="connsiteY45" fmla="*/ 737521 h 1161573"/>
                <a:gd name="connsiteX46" fmla="*/ 1290161 w 1502283"/>
                <a:gd name="connsiteY46" fmla="*/ 735901 h 1161573"/>
                <a:gd name="connsiteX47" fmla="*/ 1291304 w 1502283"/>
                <a:gd name="connsiteY47" fmla="*/ 732568 h 1161573"/>
                <a:gd name="connsiteX48" fmla="*/ 1289495 w 1502283"/>
                <a:gd name="connsiteY48" fmla="*/ 731234 h 1161573"/>
                <a:gd name="connsiteX49" fmla="*/ 1293590 w 1502283"/>
                <a:gd name="connsiteY49" fmla="*/ 725900 h 1161573"/>
                <a:gd name="connsiteX50" fmla="*/ 1293209 w 1502283"/>
                <a:gd name="connsiteY50" fmla="*/ 722757 h 1161573"/>
                <a:gd name="connsiteX51" fmla="*/ 1294352 w 1502283"/>
                <a:gd name="connsiteY51" fmla="*/ 719423 h 1161573"/>
                <a:gd name="connsiteX52" fmla="*/ 1292352 w 1502283"/>
                <a:gd name="connsiteY52" fmla="*/ 716471 h 1161573"/>
                <a:gd name="connsiteX53" fmla="*/ 1294543 w 1502283"/>
                <a:gd name="connsiteY53" fmla="*/ 708184 h 1161573"/>
                <a:gd name="connsiteX54" fmla="*/ 1289209 w 1502283"/>
                <a:gd name="connsiteY54" fmla="*/ 704088 h 1161573"/>
                <a:gd name="connsiteX55" fmla="*/ 1288066 w 1502283"/>
                <a:gd name="connsiteY55" fmla="*/ 707422 h 1161573"/>
                <a:gd name="connsiteX56" fmla="*/ 1281113 w 1502283"/>
                <a:gd name="connsiteY56" fmla="*/ 703517 h 1161573"/>
                <a:gd name="connsiteX57" fmla="*/ 1282256 w 1502283"/>
                <a:gd name="connsiteY57" fmla="*/ 700183 h 1161573"/>
                <a:gd name="connsiteX58" fmla="*/ 1276922 w 1502283"/>
                <a:gd name="connsiteY58" fmla="*/ 696087 h 1161573"/>
                <a:gd name="connsiteX59" fmla="*/ 1269397 w 1502283"/>
                <a:gd name="connsiteY59" fmla="*/ 700278 h 1161573"/>
                <a:gd name="connsiteX60" fmla="*/ 1266063 w 1502283"/>
                <a:gd name="connsiteY60" fmla="*/ 699135 h 1161573"/>
                <a:gd name="connsiteX61" fmla="*/ 1259777 w 1502283"/>
                <a:gd name="connsiteY61" fmla="*/ 699897 h 1161573"/>
                <a:gd name="connsiteX62" fmla="*/ 1257586 w 1502283"/>
                <a:gd name="connsiteY62" fmla="*/ 695325 h 1161573"/>
                <a:gd name="connsiteX63" fmla="*/ 1254252 w 1502283"/>
                <a:gd name="connsiteY63" fmla="*/ 694182 h 1161573"/>
                <a:gd name="connsiteX64" fmla="*/ 1252633 w 1502283"/>
                <a:gd name="connsiteY64" fmla="*/ 694373 h 1161573"/>
                <a:gd name="connsiteX65" fmla="*/ 1251299 w 1502283"/>
                <a:gd name="connsiteY65" fmla="*/ 696182 h 1161573"/>
                <a:gd name="connsiteX66" fmla="*/ 1244822 w 1502283"/>
                <a:gd name="connsiteY66" fmla="*/ 695420 h 1161573"/>
                <a:gd name="connsiteX67" fmla="*/ 1245013 w 1502283"/>
                <a:gd name="connsiteY67" fmla="*/ 697040 h 1161573"/>
                <a:gd name="connsiteX68" fmla="*/ 1241489 w 1502283"/>
                <a:gd name="connsiteY68" fmla="*/ 694277 h 1161573"/>
                <a:gd name="connsiteX69" fmla="*/ 1238726 w 1502283"/>
                <a:gd name="connsiteY69" fmla="*/ 697801 h 1161573"/>
                <a:gd name="connsiteX70" fmla="*/ 1233964 w 1502283"/>
                <a:gd name="connsiteY70" fmla="*/ 698373 h 1161573"/>
                <a:gd name="connsiteX71" fmla="*/ 1233964 w 1502283"/>
                <a:gd name="connsiteY71" fmla="*/ 685514 h 1161573"/>
                <a:gd name="connsiteX72" fmla="*/ 1230344 w 1502283"/>
                <a:gd name="connsiteY72" fmla="*/ 682752 h 1161573"/>
                <a:gd name="connsiteX73" fmla="*/ 1227963 w 1502283"/>
                <a:gd name="connsiteY73" fmla="*/ 676656 h 1161573"/>
                <a:gd name="connsiteX74" fmla="*/ 1223010 w 1502283"/>
                <a:gd name="connsiteY74" fmla="*/ 675704 h 1161573"/>
                <a:gd name="connsiteX75" fmla="*/ 1218724 w 1502283"/>
                <a:gd name="connsiteY75" fmla="*/ 679418 h 1161573"/>
                <a:gd name="connsiteX76" fmla="*/ 1217105 w 1502283"/>
                <a:gd name="connsiteY76" fmla="*/ 679609 h 1161573"/>
                <a:gd name="connsiteX77" fmla="*/ 1215866 w 1502283"/>
                <a:gd name="connsiteY77" fmla="*/ 670179 h 1161573"/>
                <a:gd name="connsiteX78" fmla="*/ 1199674 w 1502283"/>
                <a:gd name="connsiteY78" fmla="*/ 669036 h 1161573"/>
                <a:gd name="connsiteX79" fmla="*/ 1197293 w 1502283"/>
                <a:gd name="connsiteY79" fmla="*/ 675704 h 1161573"/>
                <a:gd name="connsiteX80" fmla="*/ 1194340 w 1502283"/>
                <a:gd name="connsiteY80" fmla="*/ 677704 h 1161573"/>
                <a:gd name="connsiteX81" fmla="*/ 1192339 w 1502283"/>
                <a:gd name="connsiteY81" fmla="*/ 674751 h 1161573"/>
                <a:gd name="connsiteX82" fmla="*/ 1193482 w 1502283"/>
                <a:gd name="connsiteY82" fmla="*/ 671417 h 1161573"/>
                <a:gd name="connsiteX83" fmla="*/ 1195864 w 1502283"/>
                <a:gd name="connsiteY83" fmla="*/ 664750 h 1161573"/>
                <a:gd name="connsiteX84" fmla="*/ 1195483 w 1502283"/>
                <a:gd name="connsiteY84" fmla="*/ 661607 h 1161573"/>
                <a:gd name="connsiteX85" fmla="*/ 1199579 w 1502283"/>
                <a:gd name="connsiteY85" fmla="*/ 656273 h 1161573"/>
                <a:gd name="connsiteX86" fmla="*/ 1200531 w 1502283"/>
                <a:gd name="connsiteY86" fmla="*/ 651320 h 1161573"/>
                <a:gd name="connsiteX87" fmla="*/ 1200912 w 1502283"/>
                <a:gd name="connsiteY87" fmla="*/ 641604 h 1161573"/>
                <a:gd name="connsiteX88" fmla="*/ 1198721 w 1502283"/>
                <a:gd name="connsiteY88" fmla="*/ 637032 h 1161573"/>
                <a:gd name="connsiteX89" fmla="*/ 1198150 w 1502283"/>
                <a:gd name="connsiteY89" fmla="*/ 632270 h 1161573"/>
                <a:gd name="connsiteX90" fmla="*/ 1196149 w 1502283"/>
                <a:gd name="connsiteY90" fmla="*/ 629317 h 1161573"/>
                <a:gd name="connsiteX91" fmla="*/ 1191197 w 1502283"/>
                <a:gd name="connsiteY91" fmla="*/ 628364 h 1161573"/>
                <a:gd name="connsiteX92" fmla="*/ 1187577 w 1502283"/>
                <a:gd name="connsiteY92" fmla="*/ 612743 h 1161573"/>
                <a:gd name="connsiteX93" fmla="*/ 1185767 w 1502283"/>
                <a:gd name="connsiteY93" fmla="*/ 611410 h 1161573"/>
                <a:gd name="connsiteX94" fmla="*/ 1177671 w 1502283"/>
                <a:gd name="connsiteY94" fmla="*/ 610838 h 1161573"/>
                <a:gd name="connsiteX95" fmla="*/ 1167384 w 1502283"/>
                <a:gd name="connsiteY95" fmla="*/ 618554 h 1161573"/>
                <a:gd name="connsiteX96" fmla="*/ 1156525 w 1502283"/>
                <a:gd name="connsiteY96" fmla="*/ 621506 h 1161573"/>
                <a:gd name="connsiteX97" fmla="*/ 1151954 w 1502283"/>
                <a:gd name="connsiteY97" fmla="*/ 623697 h 1161573"/>
                <a:gd name="connsiteX98" fmla="*/ 1148620 w 1502283"/>
                <a:gd name="connsiteY98" fmla="*/ 622554 h 1161573"/>
                <a:gd name="connsiteX99" fmla="*/ 1145667 w 1502283"/>
                <a:gd name="connsiteY99" fmla="*/ 624554 h 1161573"/>
                <a:gd name="connsiteX100" fmla="*/ 1142524 w 1502283"/>
                <a:gd name="connsiteY100" fmla="*/ 624935 h 1161573"/>
                <a:gd name="connsiteX101" fmla="*/ 1138619 w 1502283"/>
                <a:gd name="connsiteY101" fmla="*/ 631888 h 1161573"/>
                <a:gd name="connsiteX102" fmla="*/ 1135094 w 1502283"/>
                <a:gd name="connsiteY102" fmla="*/ 629126 h 1161573"/>
                <a:gd name="connsiteX103" fmla="*/ 1130618 w 1502283"/>
                <a:gd name="connsiteY103" fmla="*/ 631317 h 1161573"/>
                <a:gd name="connsiteX104" fmla="*/ 1114235 w 1502283"/>
                <a:gd name="connsiteY104" fmla="*/ 628555 h 1161573"/>
                <a:gd name="connsiteX105" fmla="*/ 1120140 w 1502283"/>
                <a:gd name="connsiteY105" fmla="*/ 624554 h 1161573"/>
                <a:gd name="connsiteX106" fmla="*/ 1120902 w 1502283"/>
                <a:gd name="connsiteY106" fmla="*/ 618077 h 1161573"/>
                <a:gd name="connsiteX107" fmla="*/ 1118711 w 1502283"/>
                <a:gd name="connsiteY107" fmla="*/ 613505 h 1161573"/>
                <a:gd name="connsiteX108" fmla="*/ 1117282 w 1502283"/>
                <a:gd name="connsiteY108" fmla="*/ 615315 h 1161573"/>
                <a:gd name="connsiteX109" fmla="*/ 1115092 w 1502283"/>
                <a:gd name="connsiteY109" fmla="*/ 597980 h 1161573"/>
                <a:gd name="connsiteX110" fmla="*/ 1126522 w 1502283"/>
                <a:gd name="connsiteY110" fmla="*/ 599694 h 1161573"/>
                <a:gd name="connsiteX111" fmla="*/ 1129856 w 1502283"/>
                <a:gd name="connsiteY111" fmla="*/ 600837 h 1161573"/>
                <a:gd name="connsiteX112" fmla="*/ 1134142 w 1502283"/>
                <a:gd name="connsiteY112" fmla="*/ 597122 h 1161573"/>
                <a:gd name="connsiteX113" fmla="*/ 1133094 w 1502283"/>
                <a:gd name="connsiteY113" fmla="*/ 589217 h 1161573"/>
                <a:gd name="connsiteX114" fmla="*/ 1134713 w 1502283"/>
                <a:gd name="connsiteY114" fmla="*/ 589026 h 1161573"/>
                <a:gd name="connsiteX115" fmla="*/ 1137666 w 1502283"/>
                <a:gd name="connsiteY115" fmla="*/ 574262 h 1161573"/>
                <a:gd name="connsiteX116" fmla="*/ 1138047 w 1502283"/>
                <a:gd name="connsiteY116" fmla="*/ 564642 h 1161573"/>
                <a:gd name="connsiteX117" fmla="*/ 1142619 w 1502283"/>
                <a:gd name="connsiteY117" fmla="*/ 562451 h 1161573"/>
                <a:gd name="connsiteX118" fmla="*/ 1149096 w 1502283"/>
                <a:gd name="connsiteY118" fmla="*/ 563213 h 1161573"/>
                <a:gd name="connsiteX119" fmla="*/ 1150906 w 1502283"/>
                <a:gd name="connsiteY119" fmla="*/ 564547 h 1161573"/>
                <a:gd name="connsiteX120" fmla="*/ 1154049 w 1502283"/>
                <a:gd name="connsiteY120" fmla="*/ 564166 h 1161573"/>
                <a:gd name="connsiteX121" fmla="*/ 1155192 w 1502283"/>
                <a:gd name="connsiteY121" fmla="*/ 560832 h 1161573"/>
                <a:gd name="connsiteX122" fmla="*/ 1156335 w 1502283"/>
                <a:gd name="connsiteY122" fmla="*/ 557498 h 1161573"/>
                <a:gd name="connsiteX123" fmla="*/ 1159669 w 1502283"/>
                <a:gd name="connsiteY123" fmla="*/ 558641 h 1161573"/>
                <a:gd name="connsiteX124" fmla="*/ 1161002 w 1502283"/>
                <a:gd name="connsiteY124" fmla="*/ 556832 h 1161573"/>
                <a:gd name="connsiteX125" fmla="*/ 1165955 w 1502283"/>
                <a:gd name="connsiteY125" fmla="*/ 557784 h 1161573"/>
                <a:gd name="connsiteX126" fmla="*/ 1169480 w 1502283"/>
                <a:gd name="connsiteY126" fmla="*/ 534924 h 1161573"/>
                <a:gd name="connsiteX127" fmla="*/ 1174052 w 1502283"/>
                <a:gd name="connsiteY127" fmla="*/ 532733 h 1161573"/>
                <a:gd name="connsiteX128" fmla="*/ 1172051 w 1502283"/>
                <a:gd name="connsiteY128" fmla="*/ 529780 h 1161573"/>
                <a:gd name="connsiteX129" fmla="*/ 1173671 w 1502283"/>
                <a:gd name="connsiteY129" fmla="*/ 529590 h 1161573"/>
                <a:gd name="connsiteX130" fmla="*/ 1171670 w 1502283"/>
                <a:gd name="connsiteY130" fmla="*/ 526637 h 1161573"/>
                <a:gd name="connsiteX131" fmla="*/ 1172813 w 1502283"/>
                <a:gd name="connsiteY131" fmla="*/ 523304 h 1161573"/>
                <a:gd name="connsiteX132" fmla="*/ 1176147 w 1502283"/>
                <a:gd name="connsiteY132" fmla="*/ 511683 h 1161573"/>
                <a:gd name="connsiteX133" fmla="*/ 1172147 w 1502283"/>
                <a:gd name="connsiteY133" fmla="*/ 505778 h 1161573"/>
                <a:gd name="connsiteX134" fmla="*/ 1170623 w 1502283"/>
                <a:gd name="connsiteY134" fmla="*/ 505968 h 1161573"/>
                <a:gd name="connsiteX135" fmla="*/ 1165479 w 1502283"/>
                <a:gd name="connsiteY135" fmla="*/ 516255 h 1161573"/>
                <a:gd name="connsiteX136" fmla="*/ 1160907 w 1502283"/>
                <a:gd name="connsiteY136" fmla="*/ 518446 h 1161573"/>
                <a:gd name="connsiteX137" fmla="*/ 1157383 w 1502283"/>
                <a:gd name="connsiteY137" fmla="*/ 515684 h 1161573"/>
                <a:gd name="connsiteX138" fmla="*/ 1154239 w 1502283"/>
                <a:gd name="connsiteY138" fmla="*/ 516065 h 1161573"/>
                <a:gd name="connsiteX139" fmla="*/ 1152430 w 1502283"/>
                <a:gd name="connsiteY139" fmla="*/ 514731 h 1161573"/>
                <a:gd name="connsiteX140" fmla="*/ 1141381 w 1502283"/>
                <a:gd name="connsiteY140" fmla="*/ 516160 h 1161573"/>
                <a:gd name="connsiteX141" fmla="*/ 1141952 w 1502283"/>
                <a:gd name="connsiteY141" fmla="*/ 520922 h 1161573"/>
                <a:gd name="connsiteX142" fmla="*/ 1136618 w 1502283"/>
                <a:gd name="connsiteY142" fmla="*/ 516826 h 1161573"/>
                <a:gd name="connsiteX143" fmla="*/ 1140714 w 1502283"/>
                <a:gd name="connsiteY143" fmla="*/ 511492 h 1161573"/>
                <a:gd name="connsiteX144" fmla="*/ 1141476 w 1502283"/>
                <a:gd name="connsiteY144" fmla="*/ 505016 h 1161573"/>
                <a:gd name="connsiteX145" fmla="*/ 1143286 w 1502283"/>
                <a:gd name="connsiteY145" fmla="*/ 506349 h 1161573"/>
                <a:gd name="connsiteX146" fmla="*/ 1149001 w 1502283"/>
                <a:gd name="connsiteY146" fmla="*/ 500825 h 1161573"/>
                <a:gd name="connsiteX147" fmla="*/ 1146810 w 1502283"/>
                <a:gd name="connsiteY147" fmla="*/ 496253 h 1161573"/>
                <a:gd name="connsiteX148" fmla="*/ 1145191 w 1502283"/>
                <a:gd name="connsiteY148" fmla="*/ 496443 h 1161573"/>
                <a:gd name="connsiteX149" fmla="*/ 1143381 w 1502283"/>
                <a:gd name="connsiteY149" fmla="*/ 495109 h 1161573"/>
                <a:gd name="connsiteX150" fmla="*/ 1140047 w 1502283"/>
                <a:gd name="connsiteY150" fmla="*/ 493967 h 1161573"/>
                <a:gd name="connsiteX151" fmla="*/ 1137095 w 1502283"/>
                <a:gd name="connsiteY151" fmla="*/ 483108 h 1161573"/>
                <a:gd name="connsiteX152" fmla="*/ 1132904 w 1502283"/>
                <a:gd name="connsiteY152" fmla="*/ 475583 h 1161573"/>
                <a:gd name="connsiteX153" fmla="*/ 1127570 w 1502283"/>
                <a:gd name="connsiteY153" fmla="*/ 471488 h 1161573"/>
                <a:gd name="connsiteX154" fmla="*/ 1133856 w 1502283"/>
                <a:gd name="connsiteY154" fmla="*/ 457867 h 1161573"/>
                <a:gd name="connsiteX155" fmla="*/ 1132808 w 1502283"/>
                <a:gd name="connsiteY155" fmla="*/ 449961 h 1161573"/>
                <a:gd name="connsiteX156" fmla="*/ 1129094 w 1502283"/>
                <a:gd name="connsiteY156" fmla="*/ 445675 h 1161573"/>
                <a:gd name="connsiteX157" fmla="*/ 1126903 w 1502283"/>
                <a:gd name="connsiteY157" fmla="*/ 441103 h 1161573"/>
                <a:gd name="connsiteX158" fmla="*/ 1121759 w 1502283"/>
                <a:gd name="connsiteY158" fmla="*/ 438531 h 1161573"/>
                <a:gd name="connsiteX159" fmla="*/ 1122521 w 1502283"/>
                <a:gd name="connsiteY159" fmla="*/ 432054 h 1161573"/>
                <a:gd name="connsiteX160" fmla="*/ 1128427 w 1502283"/>
                <a:gd name="connsiteY160" fmla="*/ 428054 h 1161573"/>
                <a:gd name="connsiteX161" fmla="*/ 1130998 w 1502283"/>
                <a:gd name="connsiteY161" fmla="*/ 422910 h 1161573"/>
                <a:gd name="connsiteX162" fmla="*/ 1135571 w 1502283"/>
                <a:gd name="connsiteY162" fmla="*/ 420719 h 1161573"/>
                <a:gd name="connsiteX163" fmla="*/ 1137475 w 1502283"/>
                <a:gd name="connsiteY163" fmla="*/ 410813 h 1161573"/>
                <a:gd name="connsiteX164" fmla="*/ 1137285 w 1502283"/>
                <a:gd name="connsiteY164" fmla="*/ 409194 h 1161573"/>
                <a:gd name="connsiteX165" fmla="*/ 1141190 w 1502283"/>
                <a:gd name="connsiteY165" fmla="*/ 402241 h 1161573"/>
                <a:gd name="connsiteX166" fmla="*/ 1142810 w 1502283"/>
                <a:gd name="connsiteY166" fmla="*/ 402050 h 1161573"/>
                <a:gd name="connsiteX167" fmla="*/ 1142429 w 1502283"/>
                <a:gd name="connsiteY167" fmla="*/ 398907 h 1161573"/>
                <a:gd name="connsiteX168" fmla="*/ 1142238 w 1502283"/>
                <a:gd name="connsiteY168" fmla="*/ 397288 h 1161573"/>
                <a:gd name="connsiteX169" fmla="*/ 1139285 w 1502283"/>
                <a:gd name="connsiteY169" fmla="*/ 399288 h 1161573"/>
                <a:gd name="connsiteX170" fmla="*/ 1140428 w 1502283"/>
                <a:gd name="connsiteY170" fmla="*/ 395954 h 1161573"/>
                <a:gd name="connsiteX171" fmla="*/ 1138619 w 1502283"/>
                <a:gd name="connsiteY171" fmla="*/ 394621 h 1161573"/>
                <a:gd name="connsiteX172" fmla="*/ 1135856 w 1502283"/>
                <a:gd name="connsiteY172" fmla="*/ 385382 h 1161573"/>
                <a:gd name="connsiteX173" fmla="*/ 1135285 w 1502283"/>
                <a:gd name="connsiteY173" fmla="*/ 380619 h 1161573"/>
                <a:gd name="connsiteX174" fmla="*/ 1133475 w 1502283"/>
                <a:gd name="connsiteY174" fmla="*/ 379286 h 1161573"/>
                <a:gd name="connsiteX175" fmla="*/ 1132141 w 1502283"/>
                <a:gd name="connsiteY175" fmla="*/ 381095 h 1161573"/>
                <a:gd name="connsiteX176" fmla="*/ 1129951 w 1502283"/>
                <a:gd name="connsiteY176" fmla="*/ 376523 h 1161573"/>
                <a:gd name="connsiteX177" fmla="*/ 1129189 w 1502283"/>
                <a:gd name="connsiteY177" fmla="*/ 370237 h 1161573"/>
                <a:gd name="connsiteX178" fmla="*/ 1126617 w 1502283"/>
                <a:gd name="connsiteY178" fmla="*/ 362521 h 1161573"/>
                <a:gd name="connsiteX179" fmla="*/ 1122616 w 1502283"/>
                <a:gd name="connsiteY179" fmla="*/ 356616 h 1161573"/>
                <a:gd name="connsiteX180" fmla="*/ 1125569 w 1502283"/>
                <a:gd name="connsiteY180" fmla="*/ 354616 h 1161573"/>
                <a:gd name="connsiteX181" fmla="*/ 1125379 w 1502283"/>
                <a:gd name="connsiteY181" fmla="*/ 352996 h 1161573"/>
                <a:gd name="connsiteX182" fmla="*/ 1126522 w 1502283"/>
                <a:gd name="connsiteY182" fmla="*/ 349663 h 1161573"/>
                <a:gd name="connsiteX183" fmla="*/ 1125760 w 1502283"/>
                <a:gd name="connsiteY183" fmla="*/ 343376 h 1161573"/>
                <a:gd name="connsiteX184" fmla="*/ 1118045 w 1502283"/>
                <a:gd name="connsiteY184" fmla="*/ 345948 h 1161573"/>
                <a:gd name="connsiteX185" fmla="*/ 1112139 w 1502283"/>
                <a:gd name="connsiteY185" fmla="*/ 337090 h 1161573"/>
                <a:gd name="connsiteX186" fmla="*/ 1108424 w 1502283"/>
                <a:gd name="connsiteY186" fmla="*/ 332804 h 1161573"/>
                <a:gd name="connsiteX187" fmla="*/ 1109758 w 1502283"/>
                <a:gd name="connsiteY187" fmla="*/ 330994 h 1161573"/>
                <a:gd name="connsiteX188" fmla="*/ 1104805 w 1502283"/>
                <a:gd name="connsiteY188" fmla="*/ 330041 h 1161573"/>
                <a:gd name="connsiteX189" fmla="*/ 1096328 w 1502283"/>
                <a:gd name="connsiteY189" fmla="*/ 326326 h 1161573"/>
                <a:gd name="connsiteX190" fmla="*/ 1093184 w 1502283"/>
                <a:gd name="connsiteY190" fmla="*/ 326708 h 1161573"/>
                <a:gd name="connsiteX191" fmla="*/ 1091851 w 1502283"/>
                <a:gd name="connsiteY191" fmla="*/ 328517 h 1161573"/>
                <a:gd name="connsiteX192" fmla="*/ 1083183 w 1502283"/>
                <a:gd name="connsiteY192" fmla="*/ 323183 h 1161573"/>
                <a:gd name="connsiteX193" fmla="*/ 1080040 w 1502283"/>
                <a:gd name="connsiteY193" fmla="*/ 323564 h 1161573"/>
                <a:gd name="connsiteX194" fmla="*/ 1078516 w 1502283"/>
                <a:gd name="connsiteY194" fmla="*/ 323755 h 1161573"/>
                <a:gd name="connsiteX195" fmla="*/ 1078325 w 1502283"/>
                <a:gd name="connsiteY195" fmla="*/ 322136 h 1161573"/>
                <a:gd name="connsiteX196" fmla="*/ 1071563 w 1502283"/>
                <a:gd name="connsiteY196" fmla="*/ 319754 h 1161573"/>
                <a:gd name="connsiteX197" fmla="*/ 1069562 w 1502283"/>
                <a:gd name="connsiteY197" fmla="*/ 316801 h 1161573"/>
                <a:gd name="connsiteX198" fmla="*/ 1070896 w 1502283"/>
                <a:gd name="connsiteY198" fmla="*/ 314992 h 1161573"/>
                <a:gd name="connsiteX199" fmla="*/ 1060799 w 1502283"/>
                <a:gd name="connsiteY199" fmla="*/ 311467 h 1161573"/>
                <a:gd name="connsiteX200" fmla="*/ 1059466 w 1502283"/>
                <a:gd name="connsiteY200" fmla="*/ 313277 h 1161573"/>
                <a:gd name="connsiteX201" fmla="*/ 1055465 w 1502283"/>
                <a:gd name="connsiteY201" fmla="*/ 307372 h 1161573"/>
                <a:gd name="connsiteX202" fmla="*/ 1060037 w 1502283"/>
                <a:gd name="connsiteY202" fmla="*/ 305181 h 1161573"/>
                <a:gd name="connsiteX203" fmla="*/ 1060990 w 1502283"/>
                <a:gd name="connsiteY203" fmla="*/ 300228 h 1161573"/>
                <a:gd name="connsiteX204" fmla="*/ 1059180 w 1502283"/>
                <a:gd name="connsiteY204" fmla="*/ 298895 h 1161573"/>
                <a:gd name="connsiteX205" fmla="*/ 1059180 w 1502283"/>
                <a:gd name="connsiteY205" fmla="*/ 298895 h 1161573"/>
                <a:gd name="connsiteX206" fmla="*/ 1057180 w 1502283"/>
                <a:gd name="connsiteY206" fmla="*/ 295942 h 1161573"/>
                <a:gd name="connsiteX207" fmla="*/ 1062514 w 1502283"/>
                <a:gd name="connsiteY207" fmla="*/ 287274 h 1161573"/>
                <a:gd name="connsiteX208" fmla="*/ 1065276 w 1502283"/>
                <a:gd name="connsiteY208" fmla="*/ 283750 h 1161573"/>
                <a:gd name="connsiteX209" fmla="*/ 1063276 w 1502283"/>
                <a:gd name="connsiteY209" fmla="*/ 280797 h 1161573"/>
                <a:gd name="connsiteX210" fmla="*/ 1064228 w 1502283"/>
                <a:gd name="connsiteY210" fmla="*/ 275844 h 1161573"/>
                <a:gd name="connsiteX211" fmla="*/ 1068324 w 1502283"/>
                <a:gd name="connsiteY211" fmla="*/ 270510 h 1161573"/>
                <a:gd name="connsiteX212" fmla="*/ 1067562 w 1502283"/>
                <a:gd name="connsiteY212" fmla="*/ 264224 h 1161573"/>
                <a:gd name="connsiteX213" fmla="*/ 1063752 w 1502283"/>
                <a:gd name="connsiteY213" fmla="*/ 259937 h 1161573"/>
                <a:gd name="connsiteX214" fmla="*/ 1061371 w 1502283"/>
                <a:gd name="connsiteY214" fmla="*/ 253841 h 1161573"/>
                <a:gd name="connsiteX215" fmla="*/ 1059180 w 1502283"/>
                <a:gd name="connsiteY215" fmla="*/ 249269 h 1161573"/>
                <a:gd name="connsiteX216" fmla="*/ 1057561 w 1502283"/>
                <a:gd name="connsiteY216" fmla="*/ 249460 h 1161573"/>
                <a:gd name="connsiteX217" fmla="*/ 1059752 w 1502283"/>
                <a:gd name="connsiteY217" fmla="*/ 254032 h 1161573"/>
                <a:gd name="connsiteX218" fmla="*/ 1056989 w 1502283"/>
                <a:gd name="connsiteY218" fmla="*/ 257556 h 1161573"/>
                <a:gd name="connsiteX219" fmla="*/ 1057370 w 1502283"/>
                <a:gd name="connsiteY219" fmla="*/ 260699 h 1161573"/>
                <a:gd name="connsiteX220" fmla="*/ 1052608 w 1502283"/>
                <a:gd name="connsiteY220" fmla="*/ 261271 h 1161573"/>
                <a:gd name="connsiteX221" fmla="*/ 1055941 w 1502283"/>
                <a:gd name="connsiteY221" fmla="*/ 262414 h 1161573"/>
                <a:gd name="connsiteX222" fmla="*/ 1054989 w 1502283"/>
                <a:gd name="connsiteY222" fmla="*/ 267367 h 1161573"/>
                <a:gd name="connsiteX223" fmla="*/ 1056608 w 1502283"/>
                <a:gd name="connsiteY223" fmla="*/ 267176 h 1161573"/>
                <a:gd name="connsiteX224" fmla="*/ 1056989 w 1502283"/>
                <a:gd name="connsiteY224" fmla="*/ 270320 h 1161573"/>
                <a:gd name="connsiteX225" fmla="*/ 1058323 w 1502283"/>
                <a:gd name="connsiteY225" fmla="*/ 268510 h 1161573"/>
                <a:gd name="connsiteX226" fmla="*/ 1055561 w 1502283"/>
                <a:gd name="connsiteY226" fmla="*/ 272034 h 1161573"/>
                <a:gd name="connsiteX227" fmla="*/ 1055561 w 1502283"/>
                <a:gd name="connsiteY227" fmla="*/ 272034 h 1161573"/>
                <a:gd name="connsiteX228" fmla="*/ 1055751 w 1502283"/>
                <a:gd name="connsiteY228" fmla="*/ 273653 h 1161573"/>
                <a:gd name="connsiteX229" fmla="*/ 1050798 w 1502283"/>
                <a:gd name="connsiteY229" fmla="*/ 272701 h 1161573"/>
                <a:gd name="connsiteX230" fmla="*/ 1049179 w 1502283"/>
                <a:gd name="connsiteY230" fmla="*/ 272891 h 1161573"/>
                <a:gd name="connsiteX231" fmla="*/ 1049369 w 1502283"/>
                <a:gd name="connsiteY231" fmla="*/ 274511 h 1161573"/>
                <a:gd name="connsiteX232" fmla="*/ 1046226 w 1502283"/>
                <a:gd name="connsiteY232" fmla="*/ 274892 h 1161573"/>
                <a:gd name="connsiteX233" fmla="*/ 1045655 w 1502283"/>
                <a:gd name="connsiteY233" fmla="*/ 270129 h 1161573"/>
                <a:gd name="connsiteX234" fmla="*/ 1046797 w 1502283"/>
                <a:gd name="connsiteY234" fmla="*/ 266795 h 1161573"/>
                <a:gd name="connsiteX235" fmla="*/ 1043654 w 1502283"/>
                <a:gd name="connsiteY235" fmla="*/ 267176 h 1161573"/>
                <a:gd name="connsiteX236" fmla="*/ 1041273 w 1502283"/>
                <a:gd name="connsiteY236" fmla="*/ 261080 h 1161573"/>
                <a:gd name="connsiteX237" fmla="*/ 1039654 w 1502283"/>
                <a:gd name="connsiteY237" fmla="*/ 261271 h 1161573"/>
                <a:gd name="connsiteX238" fmla="*/ 1042225 w 1502283"/>
                <a:gd name="connsiteY238" fmla="*/ 256127 h 1161573"/>
                <a:gd name="connsiteX239" fmla="*/ 1032796 w 1502283"/>
                <a:gd name="connsiteY239" fmla="*/ 257366 h 1161573"/>
                <a:gd name="connsiteX240" fmla="*/ 1032224 w 1502283"/>
                <a:gd name="connsiteY240" fmla="*/ 252603 h 1161573"/>
                <a:gd name="connsiteX241" fmla="*/ 1035558 w 1502283"/>
                <a:gd name="connsiteY241" fmla="*/ 253746 h 1161573"/>
                <a:gd name="connsiteX242" fmla="*/ 1034987 w 1502283"/>
                <a:gd name="connsiteY242" fmla="*/ 248984 h 1161573"/>
                <a:gd name="connsiteX243" fmla="*/ 1033367 w 1502283"/>
                <a:gd name="connsiteY243" fmla="*/ 249174 h 1161573"/>
                <a:gd name="connsiteX244" fmla="*/ 1035748 w 1502283"/>
                <a:gd name="connsiteY244" fmla="*/ 242507 h 1161573"/>
                <a:gd name="connsiteX245" fmla="*/ 1035368 w 1502283"/>
                <a:gd name="connsiteY245" fmla="*/ 239363 h 1161573"/>
                <a:gd name="connsiteX246" fmla="*/ 1030605 w 1502283"/>
                <a:gd name="connsiteY246" fmla="*/ 239935 h 1161573"/>
                <a:gd name="connsiteX247" fmla="*/ 1030224 w 1502283"/>
                <a:gd name="connsiteY247" fmla="*/ 236792 h 1161573"/>
                <a:gd name="connsiteX248" fmla="*/ 1025652 w 1502283"/>
                <a:gd name="connsiteY248" fmla="*/ 238982 h 1161573"/>
                <a:gd name="connsiteX249" fmla="*/ 1020699 w 1502283"/>
                <a:gd name="connsiteY249" fmla="*/ 238030 h 1161573"/>
                <a:gd name="connsiteX250" fmla="*/ 1013555 w 1502283"/>
                <a:gd name="connsiteY250" fmla="*/ 232505 h 1161573"/>
                <a:gd name="connsiteX251" fmla="*/ 1014698 w 1502283"/>
                <a:gd name="connsiteY251" fmla="*/ 229171 h 1161573"/>
                <a:gd name="connsiteX252" fmla="*/ 1016508 w 1502283"/>
                <a:gd name="connsiteY252" fmla="*/ 230505 h 1161573"/>
                <a:gd name="connsiteX253" fmla="*/ 1017270 w 1502283"/>
                <a:gd name="connsiteY253" fmla="*/ 224028 h 1161573"/>
                <a:gd name="connsiteX254" fmla="*/ 1016698 w 1502283"/>
                <a:gd name="connsiteY254" fmla="*/ 219266 h 1161573"/>
                <a:gd name="connsiteX255" fmla="*/ 1012127 w 1502283"/>
                <a:gd name="connsiteY255" fmla="*/ 208598 h 1161573"/>
                <a:gd name="connsiteX256" fmla="*/ 1011936 w 1502283"/>
                <a:gd name="connsiteY256" fmla="*/ 206978 h 1161573"/>
                <a:gd name="connsiteX257" fmla="*/ 1013555 w 1502283"/>
                <a:gd name="connsiteY257" fmla="*/ 206788 h 1161573"/>
                <a:gd name="connsiteX258" fmla="*/ 1012507 w 1502283"/>
                <a:gd name="connsiteY258" fmla="*/ 198882 h 1161573"/>
                <a:gd name="connsiteX259" fmla="*/ 1010698 w 1502283"/>
                <a:gd name="connsiteY259" fmla="*/ 197453 h 1161573"/>
                <a:gd name="connsiteX260" fmla="*/ 1008697 w 1502283"/>
                <a:gd name="connsiteY260" fmla="*/ 194500 h 1161573"/>
                <a:gd name="connsiteX261" fmla="*/ 1005745 w 1502283"/>
                <a:gd name="connsiteY261" fmla="*/ 196501 h 1161573"/>
                <a:gd name="connsiteX262" fmla="*/ 1002221 w 1502283"/>
                <a:gd name="connsiteY262" fmla="*/ 193738 h 1161573"/>
                <a:gd name="connsiteX263" fmla="*/ 1000601 w 1502283"/>
                <a:gd name="connsiteY263" fmla="*/ 193929 h 1161573"/>
                <a:gd name="connsiteX264" fmla="*/ 1000220 w 1502283"/>
                <a:gd name="connsiteY264" fmla="*/ 190786 h 1161573"/>
                <a:gd name="connsiteX265" fmla="*/ 1004983 w 1502283"/>
                <a:gd name="connsiteY265" fmla="*/ 190214 h 1161573"/>
                <a:gd name="connsiteX266" fmla="*/ 1006316 w 1502283"/>
                <a:gd name="connsiteY266" fmla="*/ 188404 h 1161573"/>
                <a:gd name="connsiteX267" fmla="*/ 1004316 w 1502283"/>
                <a:gd name="connsiteY267" fmla="*/ 185452 h 1161573"/>
                <a:gd name="connsiteX268" fmla="*/ 992886 w 1502283"/>
                <a:gd name="connsiteY268" fmla="*/ 183737 h 1161573"/>
                <a:gd name="connsiteX269" fmla="*/ 992314 w 1502283"/>
                <a:gd name="connsiteY269" fmla="*/ 178975 h 1161573"/>
                <a:gd name="connsiteX270" fmla="*/ 989171 w 1502283"/>
                <a:gd name="connsiteY270" fmla="*/ 179356 h 1161573"/>
                <a:gd name="connsiteX271" fmla="*/ 987171 w 1502283"/>
                <a:gd name="connsiteY271" fmla="*/ 176403 h 1161573"/>
                <a:gd name="connsiteX272" fmla="*/ 993457 w 1502283"/>
                <a:gd name="connsiteY272" fmla="*/ 175641 h 1161573"/>
                <a:gd name="connsiteX273" fmla="*/ 992219 w 1502283"/>
                <a:gd name="connsiteY273" fmla="*/ 166211 h 1161573"/>
                <a:gd name="connsiteX274" fmla="*/ 985266 w 1502283"/>
                <a:gd name="connsiteY274" fmla="*/ 162306 h 1161573"/>
                <a:gd name="connsiteX275" fmla="*/ 983266 w 1502283"/>
                <a:gd name="connsiteY275" fmla="*/ 159353 h 1161573"/>
                <a:gd name="connsiteX276" fmla="*/ 984599 w 1502283"/>
                <a:gd name="connsiteY276" fmla="*/ 157544 h 1161573"/>
                <a:gd name="connsiteX277" fmla="*/ 981265 w 1502283"/>
                <a:gd name="connsiteY277" fmla="*/ 156400 h 1161573"/>
                <a:gd name="connsiteX278" fmla="*/ 981075 w 1502283"/>
                <a:gd name="connsiteY278" fmla="*/ 154781 h 1161573"/>
                <a:gd name="connsiteX279" fmla="*/ 977741 w 1502283"/>
                <a:gd name="connsiteY279" fmla="*/ 153638 h 1161573"/>
                <a:gd name="connsiteX280" fmla="*/ 973836 w 1502283"/>
                <a:gd name="connsiteY280" fmla="*/ 160592 h 1161573"/>
                <a:gd name="connsiteX281" fmla="*/ 962787 w 1502283"/>
                <a:gd name="connsiteY281" fmla="*/ 149162 h 1161573"/>
                <a:gd name="connsiteX282" fmla="*/ 960977 w 1502283"/>
                <a:gd name="connsiteY282" fmla="*/ 147828 h 1161573"/>
                <a:gd name="connsiteX283" fmla="*/ 958215 w 1502283"/>
                <a:gd name="connsiteY283" fmla="*/ 151352 h 1161573"/>
                <a:gd name="connsiteX284" fmla="*/ 954881 w 1502283"/>
                <a:gd name="connsiteY284" fmla="*/ 150209 h 1161573"/>
                <a:gd name="connsiteX285" fmla="*/ 940118 w 1502283"/>
                <a:gd name="connsiteY285" fmla="*/ 160115 h 1161573"/>
                <a:gd name="connsiteX286" fmla="*/ 935355 w 1502283"/>
                <a:gd name="connsiteY286" fmla="*/ 160687 h 1161573"/>
                <a:gd name="connsiteX287" fmla="*/ 932402 w 1502283"/>
                <a:gd name="connsiteY287" fmla="*/ 162687 h 1161573"/>
                <a:gd name="connsiteX288" fmla="*/ 934212 w 1502283"/>
                <a:gd name="connsiteY288" fmla="*/ 164021 h 1161573"/>
                <a:gd name="connsiteX289" fmla="*/ 935831 w 1502283"/>
                <a:gd name="connsiteY289" fmla="*/ 163830 h 1161573"/>
                <a:gd name="connsiteX290" fmla="*/ 937641 w 1502283"/>
                <a:gd name="connsiteY290" fmla="*/ 165163 h 1161573"/>
                <a:gd name="connsiteX291" fmla="*/ 934498 w 1502283"/>
                <a:gd name="connsiteY291" fmla="*/ 165545 h 1161573"/>
                <a:gd name="connsiteX292" fmla="*/ 933545 w 1502283"/>
                <a:gd name="connsiteY292" fmla="*/ 170498 h 1161573"/>
                <a:gd name="connsiteX293" fmla="*/ 930593 w 1502283"/>
                <a:gd name="connsiteY293" fmla="*/ 172498 h 1161573"/>
                <a:gd name="connsiteX294" fmla="*/ 925449 w 1502283"/>
                <a:gd name="connsiteY294" fmla="*/ 169926 h 1161573"/>
                <a:gd name="connsiteX295" fmla="*/ 921163 w 1502283"/>
                <a:gd name="connsiteY295" fmla="*/ 173641 h 1161573"/>
                <a:gd name="connsiteX296" fmla="*/ 927449 w 1502283"/>
                <a:gd name="connsiteY296" fmla="*/ 172879 h 1161573"/>
                <a:gd name="connsiteX297" fmla="*/ 931164 w 1502283"/>
                <a:gd name="connsiteY297" fmla="*/ 177165 h 1161573"/>
                <a:gd name="connsiteX298" fmla="*/ 928783 w 1502283"/>
                <a:gd name="connsiteY298" fmla="*/ 183833 h 1161573"/>
                <a:gd name="connsiteX299" fmla="*/ 930402 w 1502283"/>
                <a:gd name="connsiteY299" fmla="*/ 183642 h 1161573"/>
                <a:gd name="connsiteX300" fmla="*/ 933736 w 1502283"/>
                <a:gd name="connsiteY300" fmla="*/ 184785 h 1161573"/>
                <a:gd name="connsiteX301" fmla="*/ 936688 w 1502283"/>
                <a:gd name="connsiteY301" fmla="*/ 182785 h 1161573"/>
                <a:gd name="connsiteX302" fmla="*/ 936879 w 1502283"/>
                <a:gd name="connsiteY302" fmla="*/ 184404 h 1161573"/>
                <a:gd name="connsiteX303" fmla="*/ 938689 w 1502283"/>
                <a:gd name="connsiteY303" fmla="*/ 185738 h 1161573"/>
                <a:gd name="connsiteX304" fmla="*/ 941070 w 1502283"/>
                <a:gd name="connsiteY304" fmla="*/ 191834 h 1161573"/>
                <a:gd name="connsiteX305" fmla="*/ 942689 w 1502283"/>
                <a:gd name="connsiteY305" fmla="*/ 191643 h 1161573"/>
                <a:gd name="connsiteX306" fmla="*/ 943261 w 1502283"/>
                <a:gd name="connsiteY306" fmla="*/ 196405 h 1161573"/>
                <a:gd name="connsiteX307" fmla="*/ 944594 w 1502283"/>
                <a:gd name="connsiteY307" fmla="*/ 194596 h 1161573"/>
                <a:gd name="connsiteX308" fmla="*/ 949357 w 1502283"/>
                <a:gd name="connsiteY308" fmla="*/ 194024 h 1161573"/>
                <a:gd name="connsiteX309" fmla="*/ 949738 w 1502283"/>
                <a:gd name="connsiteY309" fmla="*/ 197167 h 1161573"/>
                <a:gd name="connsiteX310" fmla="*/ 953072 w 1502283"/>
                <a:gd name="connsiteY310" fmla="*/ 198311 h 1161573"/>
                <a:gd name="connsiteX311" fmla="*/ 951929 w 1502283"/>
                <a:gd name="connsiteY311" fmla="*/ 201644 h 1161573"/>
                <a:gd name="connsiteX312" fmla="*/ 952119 w 1502283"/>
                <a:gd name="connsiteY312" fmla="*/ 203263 h 1161573"/>
                <a:gd name="connsiteX313" fmla="*/ 947642 w 1502283"/>
                <a:gd name="connsiteY313" fmla="*/ 205454 h 1161573"/>
                <a:gd name="connsiteX314" fmla="*/ 946499 w 1502283"/>
                <a:gd name="connsiteY314" fmla="*/ 208788 h 1161573"/>
                <a:gd name="connsiteX315" fmla="*/ 948499 w 1502283"/>
                <a:gd name="connsiteY315" fmla="*/ 211741 h 1161573"/>
                <a:gd name="connsiteX316" fmla="*/ 956786 w 1502283"/>
                <a:gd name="connsiteY316" fmla="*/ 213932 h 1161573"/>
                <a:gd name="connsiteX317" fmla="*/ 958596 w 1502283"/>
                <a:gd name="connsiteY317" fmla="*/ 215265 h 1161573"/>
                <a:gd name="connsiteX318" fmla="*/ 957834 w 1502283"/>
                <a:gd name="connsiteY318" fmla="*/ 221742 h 1161573"/>
                <a:gd name="connsiteX319" fmla="*/ 965168 w 1502283"/>
                <a:gd name="connsiteY319" fmla="*/ 228791 h 1161573"/>
                <a:gd name="connsiteX320" fmla="*/ 959453 w 1502283"/>
                <a:gd name="connsiteY320" fmla="*/ 234315 h 1161573"/>
                <a:gd name="connsiteX321" fmla="*/ 956500 w 1502283"/>
                <a:gd name="connsiteY321" fmla="*/ 236315 h 1161573"/>
                <a:gd name="connsiteX322" fmla="*/ 952500 w 1502283"/>
                <a:gd name="connsiteY322" fmla="*/ 230410 h 1161573"/>
                <a:gd name="connsiteX323" fmla="*/ 949357 w 1502283"/>
                <a:gd name="connsiteY323" fmla="*/ 243650 h 1161573"/>
                <a:gd name="connsiteX324" fmla="*/ 947738 w 1502283"/>
                <a:gd name="connsiteY324" fmla="*/ 243840 h 1161573"/>
                <a:gd name="connsiteX325" fmla="*/ 948309 w 1502283"/>
                <a:gd name="connsiteY325" fmla="*/ 248603 h 1161573"/>
                <a:gd name="connsiteX326" fmla="*/ 948499 w 1502283"/>
                <a:gd name="connsiteY326" fmla="*/ 250222 h 1161573"/>
                <a:gd name="connsiteX327" fmla="*/ 947738 w 1502283"/>
                <a:gd name="connsiteY327" fmla="*/ 256699 h 1161573"/>
                <a:gd name="connsiteX328" fmla="*/ 951547 w 1502283"/>
                <a:gd name="connsiteY328" fmla="*/ 260985 h 1161573"/>
                <a:gd name="connsiteX329" fmla="*/ 948214 w 1502283"/>
                <a:gd name="connsiteY329" fmla="*/ 259842 h 1161573"/>
                <a:gd name="connsiteX330" fmla="*/ 943928 w 1502283"/>
                <a:gd name="connsiteY330" fmla="*/ 263557 h 1161573"/>
                <a:gd name="connsiteX331" fmla="*/ 939165 w 1502283"/>
                <a:gd name="connsiteY331" fmla="*/ 264128 h 1161573"/>
                <a:gd name="connsiteX332" fmla="*/ 933260 w 1502283"/>
                <a:gd name="connsiteY332" fmla="*/ 268129 h 1161573"/>
                <a:gd name="connsiteX333" fmla="*/ 928116 w 1502283"/>
                <a:gd name="connsiteY333" fmla="*/ 278416 h 1161573"/>
                <a:gd name="connsiteX334" fmla="*/ 928497 w 1502283"/>
                <a:gd name="connsiteY334" fmla="*/ 281559 h 1161573"/>
                <a:gd name="connsiteX335" fmla="*/ 925544 w 1502283"/>
                <a:gd name="connsiteY335" fmla="*/ 283559 h 1161573"/>
                <a:gd name="connsiteX336" fmla="*/ 921544 w 1502283"/>
                <a:gd name="connsiteY336" fmla="*/ 277654 h 1161573"/>
                <a:gd name="connsiteX337" fmla="*/ 911447 w 1502283"/>
                <a:gd name="connsiteY337" fmla="*/ 274130 h 1161573"/>
                <a:gd name="connsiteX338" fmla="*/ 903922 w 1502283"/>
                <a:gd name="connsiteY338" fmla="*/ 265462 h 1161573"/>
                <a:gd name="connsiteX339" fmla="*/ 886778 w 1502283"/>
                <a:gd name="connsiteY339" fmla="*/ 256413 h 1161573"/>
                <a:gd name="connsiteX340" fmla="*/ 889159 w 1502283"/>
                <a:gd name="connsiteY340" fmla="*/ 249746 h 1161573"/>
                <a:gd name="connsiteX341" fmla="*/ 884206 w 1502283"/>
                <a:gd name="connsiteY341" fmla="*/ 248793 h 1161573"/>
                <a:gd name="connsiteX342" fmla="*/ 883063 w 1502283"/>
                <a:gd name="connsiteY342" fmla="*/ 252127 h 1161573"/>
                <a:gd name="connsiteX343" fmla="*/ 879729 w 1502283"/>
                <a:gd name="connsiteY343" fmla="*/ 250984 h 1161573"/>
                <a:gd name="connsiteX344" fmla="*/ 878967 w 1502283"/>
                <a:gd name="connsiteY344" fmla="*/ 244697 h 1161573"/>
                <a:gd name="connsiteX345" fmla="*/ 881348 w 1502283"/>
                <a:gd name="connsiteY345" fmla="*/ 238030 h 1161573"/>
                <a:gd name="connsiteX346" fmla="*/ 880967 w 1502283"/>
                <a:gd name="connsiteY346" fmla="*/ 234887 h 1161573"/>
                <a:gd name="connsiteX347" fmla="*/ 883539 w 1502283"/>
                <a:gd name="connsiteY347" fmla="*/ 229743 h 1161573"/>
                <a:gd name="connsiteX348" fmla="*/ 890016 w 1502283"/>
                <a:gd name="connsiteY348" fmla="*/ 230505 h 1161573"/>
                <a:gd name="connsiteX349" fmla="*/ 891445 w 1502283"/>
                <a:gd name="connsiteY349" fmla="*/ 228695 h 1161573"/>
                <a:gd name="connsiteX350" fmla="*/ 897731 w 1502283"/>
                <a:gd name="connsiteY350" fmla="*/ 227933 h 1161573"/>
                <a:gd name="connsiteX351" fmla="*/ 899065 w 1502283"/>
                <a:gd name="connsiteY351" fmla="*/ 226124 h 1161573"/>
                <a:gd name="connsiteX352" fmla="*/ 900874 w 1502283"/>
                <a:gd name="connsiteY352" fmla="*/ 227457 h 1161573"/>
                <a:gd name="connsiteX353" fmla="*/ 901827 w 1502283"/>
                <a:gd name="connsiteY353" fmla="*/ 222504 h 1161573"/>
                <a:gd name="connsiteX354" fmla="*/ 901446 w 1502283"/>
                <a:gd name="connsiteY354" fmla="*/ 219361 h 1161573"/>
                <a:gd name="connsiteX355" fmla="*/ 896493 w 1502283"/>
                <a:gd name="connsiteY355" fmla="*/ 218408 h 1161573"/>
                <a:gd name="connsiteX356" fmla="*/ 897827 w 1502283"/>
                <a:gd name="connsiteY356" fmla="*/ 216599 h 1161573"/>
                <a:gd name="connsiteX357" fmla="*/ 895636 w 1502283"/>
                <a:gd name="connsiteY357" fmla="*/ 212026 h 1161573"/>
                <a:gd name="connsiteX358" fmla="*/ 892493 w 1502283"/>
                <a:gd name="connsiteY358" fmla="*/ 212408 h 1161573"/>
                <a:gd name="connsiteX359" fmla="*/ 894683 w 1502283"/>
                <a:gd name="connsiteY359" fmla="*/ 204121 h 1161573"/>
                <a:gd name="connsiteX360" fmla="*/ 892873 w 1502283"/>
                <a:gd name="connsiteY360" fmla="*/ 202787 h 1161573"/>
                <a:gd name="connsiteX361" fmla="*/ 886587 w 1502283"/>
                <a:gd name="connsiteY361" fmla="*/ 203549 h 1161573"/>
                <a:gd name="connsiteX362" fmla="*/ 884587 w 1502283"/>
                <a:gd name="connsiteY362" fmla="*/ 200596 h 1161573"/>
                <a:gd name="connsiteX363" fmla="*/ 879634 w 1502283"/>
                <a:gd name="connsiteY363" fmla="*/ 199644 h 1161573"/>
                <a:gd name="connsiteX364" fmla="*/ 880586 w 1502283"/>
                <a:gd name="connsiteY364" fmla="*/ 181928 h 1161573"/>
                <a:gd name="connsiteX365" fmla="*/ 877253 w 1502283"/>
                <a:gd name="connsiteY365" fmla="*/ 180784 h 1161573"/>
                <a:gd name="connsiteX366" fmla="*/ 880396 w 1502283"/>
                <a:gd name="connsiteY366" fmla="*/ 180404 h 1161573"/>
                <a:gd name="connsiteX367" fmla="*/ 880205 w 1502283"/>
                <a:gd name="connsiteY367" fmla="*/ 178784 h 1161573"/>
                <a:gd name="connsiteX368" fmla="*/ 876205 w 1502283"/>
                <a:gd name="connsiteY368" fmla="*/ 172879 h 1161573"/>
                <a:gd name="connsiteX369" fmla="*/ 875633 w 1502283"/>
                <a:gd name="connsiteY369" fmla="*/ 168116 h 1161573"/>
                <a:gd name="connsiteX370" fmla="*/ 873633 w 1502283"/>
                <a:gd name="connsiteY370" fmla="*/ 165163 h 1161573"/>
                <a:gd name="connsiteX371" fmla="*/ 872871 w 1502283"/>
                <a:gd name="connsiteY371" fmla="*/ 158877 h 1161573"/>
                <a:gd name="connsiteX372" fmla="*/ 869156 w 1502283"/>
                <a:gd name="connsiteY372" fmla="*/ 154496 h 1161573"/>
                <a:gd name="connsiteX373" fmla="*/ 872490 w 1502283"/>
                <a:gd name="connsiteY373" fmla="*/ 142875 h 1161573"/>
                <a:gd name="connsiteX374" fmla="*/ 870490 w 1502283"/>
                <a:gd name="connsiteY374" fmla="*/ 139922 h 1161573"/>
                <a:gd name="connsiteX375" fmla="*/ 876205 w 1502283"/>
                <a:gd name="connsiteY375" fmla="*/ 134398 h 1161573"/>
                <a:gd name="connsiteX376" fmla="*/ 879538 w 1502283"/>
                <a:gd name="connsiteY376" fmla="*/ 135541 h 1161573"/>
                <a:gd name="connsiteX377" fmla="*/ 882491 w 1502283"/>
                <a:gd name="connsiteY377" fmla="*/ 133541 h 1161573"/>
                <a:gd name="connsiteX378" fmla="*/ 883825 w 1502283"/>
                <a:gd name="connsiteY378" fmla="*/ 131731 h 1161573"/>
                <a:gd name="connsiteX379" fmla="*/ 882777 w 1502283"/>
                <a:gd name="connsiteY379" fmla="*/ 123825 h 1161573"/>
                <a:gd name="connsiteX380" fmla="*/ 880777 w 1502283"/>
                <a:gd name="connsiteY380" fmla="*/ 120872 h 1161573"/>
                <a:gd name="connsiteX381" fmla="*/ 884682 w 1502283"/>
                <a:gd name="connsiteY381" fmla="*/ 113919 h 1161573"/>
                <a:gd name="connsiteX382" fmla="*/ 889254 w 1502283"/>
                <a:gd name="connsiteY382" fmla="*/ 111728 h 1161573"/>
                <a:gd name="connsiteX383" fmla="*/ 894397 w 1502283"/>
                <a:gd name="connsiteY383" fmla="*/ 114300 h 1161573"/>
                <a:gd name="connsiteX384" fmla="*/ 900684 w 1502283"/>
                <a:gd name="connsiteY384" fmla="*/ 113538 h 1161573"/>
                <a:gd name="connsiteX385" fmla="*/ 902018 w 1502283"/>
                <a:gd name="connsiteY385" fmla="*/ 111728 h 1161573"/>
                <a:gd name="connsiteX386" fmla="*/ 900398 w 1502283"/>
                <a:gd name="connsiteY386" fmla="*/ 111919 h 1161573"/>
                <a:gd name="connsiteX387" fmla="*/ 898588 w 1502283"/>
                <a:gd name="connsiteY387" fmla="*/ 110585 h 1161573"/>
                <a:gd name="connsiteX388" fmla="*/ 895636 w 1502283"/>
                <a:gd name="connsiteY388" fmla="*/ 112586 h 1161573"/>
                <a:gd name="connsiteX389" fmla="*/ 895445 w 1502283"/>
                <a:gd name="connsiteY389" fmla="*/ 110966 h 1161573"/>
                <a:gd name="connsiteX390" fmla="*/ 890492 w 1502283"/>
                <a:gd name="connsiteY390" fmla="*/ 110014 h 1161573"/>
                <a:gd name="connsiteX391" fmla="*/ 888682 w 1502283"/>
                <a:gd name="connsiteY391" fmla="*/ 108680 h 1161573"/>
                <a:gd name="connsiteX392" fmla="*/ 887539 w 1502283"/>
                <a:gd name="connsiteY392" fmla="*/ 112014 h 1161573"/>
                <a:gd name="connsiteX393" fmla="*/ 887158 w 1502283"/>
                <a:gd name="connsiteY393" fmla="*/ 108871 h 1161573"/>
                <a:gd name="connsiteX394" fmla="*/ 888587 w 1502283"/>
                <a:gd name="connsiteY394" fmla="*/ 107061 h 1161573"/>
                <a:gd name="connsiteX395" fmla="*/ 884206 w 1502283"/>
                <a:gd name="connsiteY395" fmla="*/ 110776 h 1161573"/>
                <a:gd name="connsiteX396" fmla="*/ 876110 w 1502283"/>
                <a:gd name="connsiteY396" fmla="*/ 110204 h 1161573"/>
                <a:gd name="connsiteX397" fmla="*/ 867442 w 1502283"/>
                <a:gd name="connsiteY397" fmla="*/ 104870 h 1161573"/>
                <a:gd name="connsiteX398" fmla="*/ 865441 w 1502283"/>
                <a:gd name="connsiteY398" fmla="*/ 101917 h 1161573"/>
                <a:gd name="connsiteX399" fmla="*/ 858774 w 1502283"/>
                <a:gd name="connsiteY399" fmla="*/ 99536 h 1161573"/>
                <a:gd name="connsiteX400" fmla="*/ 855821 w 1502283"/>
                <a:gd name="connsiteY400" fmla="*/ 101537 h 1161573"/>
                <a:gd name="connsiteX401" fmla="*/ 850868 w 1502283"/>
                <a:gd name="connsiteY401" fmla="*/ 100584 h 1161573"/>
                <a:gd name="connsiteX402" fmla="*/ 847535 w 1502283"/>
                <a:gd name="connsiteY402" fmla="*/ 99441 h 1161573"/>
                <a:gd name="connsiteX403" fmla="*/ 841438 w 1502283"/>
                <a:gd name="connsiteY403" fmla="*/ 101822 h 1161573"/>
                <a:gd name="connsiteX404" fmla="*/ 834962 w 1502283"/>
                <a:gd name="connsiteY404" fmla="*/ 101060 h 1161573"/>
                <a:gd name="connsiteX405" fmla="*/ 837343 w 1502283"/>
                <a:gd name="connsiteY405" fmla="*/ 94393 h 1161573"/>
                <a:gd name="connsiteX406" fmla="*/ 840296 w 1502283"/>
                <a:gd name="connsiteY406" fmla="*/ 92392 h 1161573"/>
                <a:gd name="connsiteX407" fmla="*/ 842486 w 1502283"/>
                <a:gd name="connsiteY407" fmla="*/ 84106 h 1161573"/>
                <a:gd name="connsiteX408" fmla="*/ 845248 w 1502283"/>
                <a:gd name="connsiteY408" fmla="*/ 80582 h 1161573"/>
                <a:gd name="connsiteX409" fmla="*/ 845058 w 1502283"/>
                <a:gd name="connsiteY409" fmla="*/ 78962 h 1161573"/>
                <a:gd name="connsiteX410" fmla="*/ 844868 w 1502283"/>
                <a:gd name="connsiteY410" fmla="*/ 77343 h 1161573"/>
                <a:gd name="connsiteX411" fmla="*/ 841724 w 1502283"/>
                <a:gd name="connsiteY411" fmla="*/ 77724 h 1161573"/>
                <a:gd name="connsiteX412" fmla="*/ 839914 w 1502283"/>
                <a:gd name="connsiteY412" fmla="*/ 76391 h 1161573"/>
                <a:gd name="connsiteX413" fmla="*/ 840677 w 1502283"/>
                <a:gd name="connsiteY413" fmla="*/ 69913 h 1161573"/>
                <a:gd name="connsiteX414" fmla="*/ 838295 w 1502283"/>
                <a:gd name="connsiteY414" fmla="*/ 63817 h 1161573"/>
                <a:gd name="connsiteX415" fmla="*/ 838105 w 1502283"/>
                <a:gd name="connsiteY415" fmla="*/ 62198 h 1161573"/>
                <a:gd name="connsiteX416" fmla="*/ 841057 w 1502283"/>
                <a:gd name="connsiteY416" fmla="*/ 60198 h 1161573"/>
                <a:gd name="connsiteX417" fmla="*/ 838867 w 1502283"/>
                <a:gd name="connsiteY417" fmla="*/ 55626 h 1161573"/>
                <a:gd name="connsiteX418" fmla="*/ 842010 w 1502283"/>
                <a:gd name="connsiteY418" fmla="*/ 55245 h 1161573"/>
                <a:gd name="connsiteX419" fmla="*/ 838010 w 1502283"/>
                <a:gd name="connsiteY419" fmla="*/ 49340 h 1161573"/>
                <a:gd name="connsiteX420" fmla="*/ 843534 w 1502283"/>
                <a:gd name="connsiteY420" fmla="*/ 55054 h 1161573"/>
                <a:gd name="connsiteX421" fmla="*/ 850202 w 1502283"/>
                <a:gd name="connsiteY421" fmla="*/ 57436 h 1161573"/>
                <a:gd name="connsiteX422" fmla="*/ 852202 w 1502283"/>
                <a:gd name="connsiteY422" fmla="*/ 60388 h 1161573"/>
                <a:gd name="connsiteX423" fmla="*/ 853154 w 1502283"/>
                <a:gd name="connsiteY423" fmla="*/ 55436 h 1161573"/>
                <a:gd name="connsiteX424" fmla="*/ 855345 w 1502283"/>
                <a:gd name="connsiteY424" fmla="*/ 60008 h 1161573"/>
                <a:gd name="connsiteX425" fmla="*/ 858298 w 1502283"/>
                <a:gd name="connsiteY425" fmla="*/ 58007 h 1161573"/>
                <a:gd name="connsiteX426" fmla="*/ 861822 w 1502283"/>
                <a:gd name="connsiteY426" fmla="*/ 60770 h 1161573"/>
                <a:gd name="connsiteX427" fmla="*/ 864013 w 1502283"/>
                <a:gd name="connsiteY427" fmla="*/ 65342 h 1161573"/>
                <a:gd name="connsiteX428" fmla="*/ 865822 w 1502283"/>
                <a:gd name="connsiteY428" fmla="*/ 66675 h 1161573"/>
                <a:gd name="connsiteX429" fmla="*/ 873538 w 1502283"/>
                <a:gd name="connsiteY429" fmla="*/ 64103 h 1161573"/>
                <a:gd name="connsiteX430" fmla="*/ 878014 w 1502283"/>
                <a:gd name="connsiteY430" fmla="*/ 61913 h 1161573"/>
                <a:gd name="connsiteX431" fmla="*/ 879157 w 1502283"/>
                <a:gd name="connsiteY431" fmla="*/ 58579 h 1161573"/>
                <a:gd name="connsiteX432" fmla="*/ 875824 w 1502283"/>
                <a:gd name="connsiteY432" fmla="*/ 57436 h 1161573"/>
                <a:gd name="connsiteX433" fmla="*/ 873443 w 1502283"/>
                <a:gd name="connsiteY433" fmla="*/ 51340 h 1161573"/>
                <a:gd name="connsiteX434" fmla="*/ 868489 w 1502283"/>
                <a:gd name="connsiteY434" fmla="*/ 50387 h 1161573"/>
                <a:gd name="connsiteX435" fmla="*/ 869252 w 1502283"/>
                <a:gd name="connsiteY435" fmla="*/ 43910 h 1161573"/>
                <a:gd name="connsiteX436" fmla="*/ 871061 w 1502283"/>
                <a:gd name="connsiteY436" fmla="*/ 45244 h 1161573"/>
                <a:gd name="connsiteX437" fmla="*/ 875538 w 1502283"/>
                <a:gd name="connsiteY437" fmla="*/ 43053 h 1161573"/>
                <a:gd name="connsiteX438" fmla="*/ 875157 w 1502283"/>
                <a:gd name="connsiteY438" fmla="*/ 39910 h 1161573"/>
                <a:gd name="connsiteX439" fmla="*/ 881253 w 1502283"/>
                <a:gd name="connsiteY439" fmla="*/ 37529 h 1161573"/>
                <a:gd name="connsiteX440" fmla="*/ 879443 w 1502283"/>
                <a:gd name="connsiteY440" fmla="*/ 36195 h 1161573"/>
                <a:gd name="connsiteX441" fmla="*/ 865441 w 1502283"/>
                <a:gd name="connsiteY441" fmla="*/ 39624 h 1161573"/>
                <a:gd name="connsiteX442" fmla="*/ 858488 w 1502283"/>
                <a:gd name="connsiteY442" fmla="*/ 35719 h 1161573"/>
                <a:gd name="connsiteX443" fmla="*/ 846391 w 1502283"/>
                <a:gd name="connsiteY443" fmla="*/ 29242 h 1161573"/>
                <a:gd name="connsiteX444" fmla="*/ 843058 w 1502283"/>
                <a:gd name="connsiteY444" fmla="*/ 28099 h 1161573"/>
                <a:gd name="connsiteX445" fmla="*/ 824294 w 1502283"/>
                <a:gd name="connsiteY445" fmla="*/ 19241 h 1161573"/>
                <a:gd name="connsiteX446" fmla="*/ 822674 w 1502283"/>
                <a:gd name="connsiteY446" fmla="*/ 19431 h 1161573"/>
                <a:gd name="connsiteX447" fmla="*/ 819340 w 1502283"/>
                <a:gd name="connsiteY447" fmla="*/ 18288 h 1161573"/>
                <a:gd name="connsiteX448" fmla="*/ 816959 w 1502283"/>
                <a:gd name="connsiteY448" fmla="*/ 12192 h 1161573"/>
                <a:gd name="connsiteX449" fmla="*/ 802100 w 1502283"/>
                <a:gd name="connsiteY449" fmla="*/ 9239 h 1161573"/>
                <a:gd name="connsiteX450" fmla="*/ 804863 w 1502283"/>
                <a:gd name="connsiteY450" fmla="*/ 5715 h 1161573"/>
                <a:gd name="connsiteX451" fmla="*/ 798957 w 1502283"/>
                <a:gd name="connsiteY451" fmla="*/ 9716 h 1161573"/>
                <a:gd name="connsiteX452" fmla="*/ 795623 w 1502283"/>
                <a:gd name="connsiteY452" fmla="*/ 8573 h 1161573"/>
                <a:gd name="connsiteX453" fmla="*/ 794290 w 1502283"/>
                <a:gd name="connsiteY453" fmla="*/ 10382 h 1161573"/>
                <a:gd name="connsiteX454" fmla="*/ 790956 w 1502283"/>
                <a:gd name="connsiteY454" fmla="*/ 9239 h 1161573"/>
                <a:gd name="connsiteX455" fmla="*/ 782288 w 1502283"/>
                <a:gd name="connsiteY455" fmla="*/ 3905 h 1161573"/>
                <a:gd name="connsiteX456" fmla="*/ 780955 w 1502283"/>
                <a:gd name="connsiteY456" fmla="*/ 5715 h 1161573"/>
                <a:gd name="connsiteX457" fmla="*/ 784288 w 1502283"/>
                <a:gd name="connsiteY457" fmla="*/ 6858 h 1161573"/>
                <a:gd name="connsiteX458" fmla="*/ 784670 w 1502283"/>
                <a:gd name="connsiteY458" fmla="*/ 10001 h 1161573"/>
                <a:gd name="connsiteX459" fmla="*/ 778002 w 1502283"/>
                <a:gd name="connsiteY459" fmla="*/ 7620 h 1161573"/>
                <a:gd name="connsiteX460" fmla="*/ 772478 w 1502283"/>
                <a:gd name="connsiteY460" fmla="*/ 14764 h 1161573"/>
                <a:gd name="connsiteX461" fmla="*/ 759809 w 1502283"/>
                <a:gd name="connsiteY461" fmla="*/ 3524 h 1161573"/>
                <a:gd name="connsiteX462" fmla="*/ 749713 w 1502283"/>
                <a:gd name="connsiteY462" fmla="*/ 0 h 1161573"/>
                <a:gd name="connsiteX463" fmla="*/ 748094 w 1502283"/>
                <a:gd name="connsiteY463" fmla="*/ 191 h 1161573"/>
                <a:gd name="connsiteX464" fmla="*/ 747141 w 1502283"/>
                <a:gd name="connsiteY464" fmla="*/ 5144 h 1161573"/>
                <a:gd name="connsiteX465" fmla="*/ 749141 w 1502283"/>
                <a:gd name="connsiteY465" fmla="*/ 8096 h 1161573"/>
                <a:gd name="connsiteX466" fmla="*/ 745998 w 1502283"/>
                <a:gd name="connsiteY466" fmla="*/ 8477 h 1161573"/>
                <a:gd name="connsiteX467" fmla="*/ 746188 w 1502283"/>
                <a:gd name="connsiteY467" fmla="*/ 10096 h 1161573"/>
                <a:gd name="connsiteX468" fmla="*/ 738283 w 1502283"/>
                <a:gd name="connsiteY468" fmla="*/ 11144 h 1161573"/>
                <a:gd name="connsiteX469" fmla="*/ 738283 w 1502283"/>
                <a:gd name="connsiteY469" fmla="*/ 11144 h 1161573"/>
                <a:gd name="connsiteX470" fmla="*/ 734949 w 1502283"/>
                <a:gd name="connsiteY470" fmla="*/ 10001 h 1161573"/>
                <a:gd name="connsiteX471" fmla="*/ 729805 w 1502283"/>
                <a:gd name="connsiteY471" fmla="*/ 7429 h 1161573"/>
                <a:gd name="connsiteX472" fmla="*/ 725519 w 1502283"/>
                <a:gd name="connsiteY472" fmla="*/ 11144 h 1161573"/>
                <a:gd name="connsiteX473" fmla="*/ 718566 w 1502283"/>
                <a:gd name="connsiteY473" fmla="*/ 7239 h 1161573"/>
                <a:gd name="connsiteX474" fmla="*/ 717995 w 1502283"/>
                <a:gd name="connsiteY474" fmla="*/ 2476 h 1161573"/>
                <a:gd name="connsiteX475" fmla="*/ 713708 w 1502283"/>
                <a:gd name="connsiteY475" fmla="*/ 6287 h 1161573"/>
                <a:gd name="connsiteX476" fmla="*/ 712089 w 1502283"/>
                <a:gd name="connsiteY476" fmla="*/ 6477 h 1161573"/>
                <a:gd name="connsiteX477" fmla="*/ 708565 w 1502283"/>
                <a:gd name="connsiteY477" fmla="*/ 3715 h 1161573"/>
                <a:gd name="connsiteX478" fmla="*/ 703802 w 1502283"/>
                <a:gd name="connsiteY478" fmla="*/ 4286 h 1161573"/>
                <a:gd name="connsiteX479" fmla="*/ 700849 w 1502283"/>
                <a:gd name="connsiteY479" fmla="*/ 6287 h 1161573"/>
                <a:gd name="connsiteX480" fmla="*/ 701230 w 1502283"/>
                <a:gd name="connsiteY480" fmla="*/ 9430 h 1161573"/>
                <a:gd name="connsiteX481" fmla="*/ 697135 w 1502283"/>
                <a:gd name="connsiteY481" fmla="*/ 14764 h 1161573"/>
                <a:gd name="connsiteX482" fmla="*/ 698182 w 1502283"/>
                <a:gd name="connsiteY482" fmla="*/ 22670 h 1161573"/>
                <a:gd name="connsiteX483" fmla="*/ 698754 w 1502283"/>
                <a:gd name="connsiteY483" fmla="*/ 27432 h 1161573"/>
                <a:gd name="connsiteX484" fmla="*/ 697421 w 1502283"/>
                <a:gd name="connsiteY484" fmla="*/ 29242 h 1161573"/>
                <a:gd name="connsiteX485" fmla="*/ 697611 w 1502283"/>
                <a:gd name="connsiteY485" fmla="*/ 30861 h 1161573"/>
                <a:gd name="connsiteX486" fmla="*/ 693706 w 1502283"/>
                <a:gd name="connsiteY486" fmla="*/ 37814 h 1161573"/>
                <a:gd name="connsiteX487" fmla="*/ 696087 w 1502283"/>
                <a:gd name="connsiteY487" fmla="*/ 43910 h 1161573"/>
                <a:gd name="connsiteX488" fmla="*/ 696468 w 1502283"/>
                <a:gd name="connsiteY488" fmla="*/ 47054 h 1161573"/>
                <a:gd name="connsiteX489" fmla="*/ 693515 w 1502283"/>
                <a:gd name="connsiteY489" fmla="*/ 49054 h 1161573"/>
                <a:gd name="connsiteX490" fmla="*/ 693134 w 1502283"/>
                <a:gd name="connsiteY490" fmla="*/ 45911 h 1161573"/>
                <a:gd name="connsiteX491" fmla="*/ 690181 w 1502283"/>
                <a:gd name="connsiteY491" fmla="*/ 47911 h 1161573"/>
                <a:gd name="connsiteX492" fmla="*/ 677132 w 1502283"/>
                <a:gd name="connsiteY492" fmla="*/ 46387 h 1161573"/>
                <a:gd name="connsiteX493" fmla="*/ 677513 w 1502283"/>
                <a:gd name="connsiteY493" fmla="*/ 49530 h 1161573"/>
                <a:gd name="connsiteX494" fmla="*/ 674180 w 1502283"/>
                <a:gd name="connsiteY494" fmla="*/ 48387 h 1161573"/>
                <a:gd name="connsiteX495" fmla="*/ 672370 w 1502283"/>
                <a:gd name="connsiteY495" fmla="*/ 47054 h 1161573"/>
                <a:gd name="connsiteX496" fmla="*/ 669417 w 1502283"/>
                <a:gd name="connsiteY496" fmla="*/ 49054 h 1161573"/>
                <a:gd name="connsiteX497" fmla="*/ 667607 w 1502283"/>
                <a:gd name="connsiteY497" fmla="*/ 47720 h 1161573"/>
                <a:gd name="connsiteX498" fmla="*/ 660082 w 1502283"/>
                <a:gd name="connsiteY498" fmla="*/ 39053 h 1161573"/>
                <a:gd name="connsiteX499" fmla="*/ 656939 w 1502283"/>
                <a:gd name="connsiteY499" fmla="*/ 39433 h 1161573"/>
                <a:gd name="connsiteX500" fmla="*/ 646938 w 1502283"/>
                <a:gd name="connsiteY500" fmla="*/ 48768 h 1161573"/>
                <a:gd name="connsiteX501" fmla="*/ 640461 w 1502283"/>
                <a:gd name="connsiteY501" fmla="*/ 48006 h 1161573"/>
                <a:gd name="connsiteX502" fmla="*/ 637508 w 1502283"/>
                <a:gd name="connsiteY502" fmla="*/ 50006 h 1161573"/>
                <a:gd name="connsiteX503" fmla="*/ 634365 w 1502283"/>
                <a:gd name="connsiteY503" fmla="*/ 50387 h 1161573"/>
                <a:gd name="connsiteX504" fmla="*/ 631412 w 1502283"/>
                <a:gd name="connsiteY504" fmla="*/ 52388 h 1161573"/>
                <a:gd name="connsiteX505" fmla="*/ 628269 w 1502283"/>
                <a:gd name="connsiteY505" fmla="*/ 52769 h 1161573"/>
                <a:gd name="connsiteX506" fmla="*/ 630269 w 1502283"/>
                <a:gd name="connsiteY506" fmla="*/ 42863 h 1161573"/>
                <a:gd name="connsiteX507" fmla="*/ 625126 w 1502283"/>
                <a:gd name="connsiteY507" fmla="*/ 40291 h 1161573"/>
                <a:gd name="connsiteX508" fmla="*/ 623506 w 1502283"/>
                <a:gd name="connsiteY508" fmla="*/ 40481 h 1161573"/>
                <a:gd name="connsiteX509" fmla="*/ 621697 w 1502283"/>
                <a:gd name="connsiteY509" fmla="*/ 39148 h 1161573"/>
                <a:gd name="connsiteX510" fmla="*/ 619125 w 1502283"/>
                <a:gd name="connsiteY510" fmla="*/ 44291 h 1161573"/>
                <a:gd name="connsiteX511" fmla="*/ 614553 w 1502283"/>
                <a:gd name="connsiteY511" fmla="*/ 46482 h 1161573"/>
                <a:gd name="connsiteX512" fmla="*/ 607886 w 1502283"/>
                <a:gd name="connsiteY512" fmla="*/ 44101 h 1161573"/>
                <a:gd name="connsiteX513" fmla="*/ 606933 w 1502283"/>
                <a:gd name="connsiteY513" fmla="*/ 49054 h 1161573"/>
                <a:gd name="connsiteX514" fmla="*/ 609505 w 1502283"/>
                <a:gd name="connsiteY514" fmla="*/ 56769 h 1161573"/>
                <a:gd name="connsiteX515" fmla="*/ 600837 w 1502283"/>
                <a:gd name="connsiteY515" fmla="*/ 64294 h 1161573"/>
                <a:gd name="connsiteX516" fmla="*/ 601599 w 1502283"/>
                <a:gd name="connsiteY516" fmla="*/ 70580 h 1161573"/>
                <a:gd name="connsiteX517" fmla="*/ 596455 w 1502283"/>
                <a:gd name="connsiteY517" fmla="*/ 68008 h 1161573"/>
                <a:gd name="connsiteX518" fmla="*/ 592455 w 1502283"/>
                <a:gd name="connsiteY518" fmla="*/ 62103 h 1161573"/>
                <a:gd name="connsiteX519" fmla="*/ 589121 w 1502283"/>
                <a:gd name="connsiteY519" fmla="*/ 60960 h 1161573"/>
                <a:gd name="connsiteX520" fmla="*/ 591122 w 1502283"/>
                <a:gd name="connsiteY520" fmla="*/ 63913 h 1161573"/>
                <a:gd name="connsiteX521" fmla="*/ 592360 w 1502283"/>
                <a:gd name="connsiteY521" fmla="*/ 73342 h 1161573"/>
                <a:gd name="connsiteX522" fmla="*/ 591026 w 1502283"/>
                <a:gd name="connsiteY522" fmla="*/ 75152 h 1161573"/>
                <a:gd name="connsiteX523" fmla="*/ 589407 w 1502283"/>
                <a:gd name="connsiteY523" fmla="*/ 75343 h 1161573"/>
                <a:gd name="connsiteX524" fmla="*/ 590169 w 1502283"/>
                <a:gd name="connsiteY524" fmla="*/ 81629 h 1161573"/>
                <a:gd name="connsiteX525" fmla="*/ 586264 w 1502283"/>
                <a:gd name="connsiteY525" fmla="*/ 88583 h 1161573"/>
                <a:gd name="connsiteX526" fmla="*/ 585121 w 1502283"/>
                <a:gd name="connsiteY526" fmla="*/ 91916 h 1161573"/>
                <a:gd name="connsiteX527" fmla="*/ 578834 w 1502283"/>
                <a:gd name="connsiteY527" fmla="*/ 92678 h 1161573"/>
                <a:gd name="connsiteX528" fmla="*/ 577691 w 1502283"/>
                <a:gd name="connsiteY528" fmla="*/ 96012 h 1161573"/>
                <a:gd name="connsiteX529" fmla="*/ 581025 w 1502283"/>
                <a:gd name="connsiteY529" fmla="*/ 97155 h 1161573"/>
                <a:gd name="connsiteX530" fmla="*/ 581597 w 1502283"/>
                <a:gd name="connsiteY530" fmla="*/ 101917 h 1161573"/>
                <a:gd name="connsiteX531" fmla="*/ 583121 w 1502283"/>
                <a:gd name="connsiteY531" fmla="*/ 101727 h 1161573"/>
                <a:gd name="connsiteX532" fmla="*/ 584930 w 1502283"/>
                <a:gd name="connsiteY532" fmla="*/ 103061 h 1161573"/>
                <a:gd name="connsiteX533" fmla="*/ 586740 w 1502283"/>
                <a:gd name="connsiteY533" fmla="*/ 104394 h 1161573"/>
                <a:gd name="connsiteX534" fmla="*/ 588740 w 1502283"/>
                <a:gd name="connsiteY534" fmla="*/ 107347 h 1161573"/>
                <a:gd name="connsiteX535" fmla="*/ 593503 w 1502283"/>
                <a:gd name="connsiteY535" fmla="*/ 106775 h 1161573"/>
                <a:gd name="connsiteX536" fmla="*/ 593693 w 1502283"/>
                <a:gd name="connsiteY536" fmla="*/ 108395 h 1161573"/>
                <a:gd name="connsiteX537" fmla="*/ 605123 w 1502283"/>
                <a:gd name="connsiteY537" fmla="*/ 110109 h 1161573"/>
                <a:gd name="connsiteX538" fmla="*/ 609314 w 1502283"/>
                <a:gd name="connsiteY538" fmla="*/ 117634 h 1161573"/>
                <a:gd name="connsiteX539" fmla="*/ 610362 w 1502283"/>
                <a:gd name="connsiteY539" fmla="*/ 125540 h 1161573"/>
                <a:gd name="connsiteX540" fmla="*/ 604456 w 1502283"/>
                <a:gd name="connsiteY540" fmla="*/ 142304 h 1161573"/>
                <a:gd name="connsiteX541" fmla="*/ 599694 w 1502283"/>
                <a:gd name="connsiteY541" fmla="*/ 142875 h 1161573"/>
                <a:gd name="connsiteX542" fmla="*/ 595979 w 1502283"/>
                <a:gd name="connsiteY542" fmla="*/ 151352 h 1161573"/>
                <a:gd name="connsiteX543" fmla="*/ 590074 w 1502283"/>
                <a:gd name="connsiteY543" fmla="*/ 155353 h 1161573"/>
                <a:gd name="connsiteX544" fmla="*/ 590455 w 1502283"/>
                <a:gd name="connsiteY544" fmla="*/ 158496 h 1161573"/>
                <a:gd name="connsiteX545" fmla="*/ 587693 w 1502283"/>
                <a:gd name="connsiteY545" fmla="*/ 162020 h 1161573"/>
                <a:gd name="connsiteX546" fmla="*/ 579977 w 1502283"/>
                <a:gd name="connsiteY546" fmla="*/ 164592 h 1161573"/>
                <a:gd name="connsiteX547" fmla="*/ 575596 w 1502283"/>
                <a:gd name="connsiteY547" fmla="*/ 155543 h 1161573"/>
                <a:gd name="connsiteX548" fmla="*/ 573596 w 1502283"/>
                <a:gd name="connsiteY548" fmla="*/ 152591 h 1161573"/>
                <a:gd name="connsiteX549" fmla="*/ 567309 w 1502283"/>
                <a:gd name="connsiteY549" fmla="*/ 153353 h 1161573"/>
                <a:gd name="connsiteX550" fmla="*/ 565975 w 1502283"/>
                <a:gd name="connsiteY550" fmla="*/ 155162 h 1161573"/>
                <a:gd name="connsiteX551" fmla="*/ 571310 w 1502283"/>
                <a:gd name="connsiteY551" fmla="*/ 159258 h 1161573"/>
                <a:gd name="connsiteX552" fmla="*/ 571500 w 1502283"/>
                <a:gd name="connsiteY552" fmla="*/ 160877 h 1161573"/>
                <a:gd name="connsiteX553" fmla="*/ 570357 w 1502283"/>
                <a:gd name="connsiteY553" fmla="*/ 164211 h 1161573"/>
                <a:gd name="connsiteX554" fmla="*/ 572548 w 1502283"/>
                <a:gd name="connsiteY554" fmla="*/ 168783 h 1161573"/>
                <a:gd name="connsiteX555" fmla="*/ 579501 w 1502283"/>
                <a:gd name="connsiteY555" fmla="*/ 172688 h 1161573"/>
                <a:gd name="connsiteX556" fmla="*/ 581311 w 1502283"/>
                <a:gd name="connsiteY556" fmla="*/ 174022 h 1161573"/>
                <a:gd name="connsiteX557" fmla="*/ 582454 w 1502283"/>
                <a:gd name="connsiteY557" fmla="*/ 170688 h 1161573"/>
                <a:gd name="connsiteX558" fmla="*/ 587407 w 1502283"/>
                <a:gd name="connsiteY558" fmla="*/ 171641 h 1161573"/>
                <a:gd name="connsiteX559" fmla="*/ 583121 w 1502283"/>
                <a:gd name="connsiteY559" fmla="*/ 175355 h 1161573"/>
                <a:gd name="connsiteX560" fmla="*/ 583502 w 1502283"/>
                <a:gd name="connsiteY560" fmla="*/ 178499 h 1161573"/>
                <a:gd name="connsiteX561" fmla="*/ 585502 w 1502283"/>
                <a:gd name="connsiteY561" fmla="*/ 181451 h 1161573"/>
                <a:gd name="connsiteX562" fmla="*/ 591979 w 1502283"/>
                <a:gd name="connsiteY562" fmla="*/ 182213 h 1161573"/>
                <a:gd name="connsiteX563" fmla="*/ 591217 w 1502283"/>
                <a:gd name="connsiteY563" fmla="*/ 188690 h 1161573"/>
                <a:gd name="connsiteX564" fmla="*/ 580739 w 1502283"/>
                <a:gd name="connsiteY564" fmla="*/ 194786 h 1161573"/>
                <a:gd name="connsiteX565" fmla="*/ 586454 w 1502283"/>
                <a:gd name="connsiteY565" fmla="*/ 202121 h 1161573"/>
                <a:gd name="connsiteX566" fmla="*/ 584073 w 1502283"/>
                <a:gd name="connsiteY566" fmla="*/ 208788 h 1161573"/>
                <a:gd name="connsiteX567" fmla="*/ 578168 w 1502283"/>
                <a:gd name="connsiteY567" fmla="*/ 212788 h 1161573"/>
                <a:gd name="connsiteX568" fmla="*/ 575596 w 1502283"/>
                <a:gd name="connsiteY568" fmla="*/ 217932 h 1161573"/>
                <a:gd name="connsiteX569" fmla="*/ 574834 w 1502283"/>
                <a:gd name="connsiteY569" fmla="*/ 224409 h 1161573"/>
                <a:gd name="connsiteX570" fmla="*/ 582549 w 1502283"/>
                <a:gd name="connsiteY570" fmla="*/ 234696 h 1161573"/>
                <a:gd name="connsiteX571" fmla="*/ 579787 w 1502283"/>
                <a:gd name="connsiteY571" fmla="*/ 238220 h 1161573"/>
                <a:gd name="connsiteX572" fmla="*/ 578644 w 1502283"/>
                <a:gd name="connsiteY572" fmla="*/ 241554 h 1161573"/>
                <a:gd name="connsiteX573" fmla="*/ 582168 w 1502283"/>
                <a:gd name="connsiteY573" fmla="*/ 244316 h 1161573"/>
                <a:gd name="connsiteX574" fmla="*/ 577882 w 1502283"/>
                <a:gd name="connsiteY574" fmla="*/ 248031 h 1161573"/>
                <a:gd name="connsiteX575" fmla="*/ 580072 w 1502283"/>
                <a:gd name="connsiteY575" fmla="*/ 252603 h 1161573"/>
                <a:gd name="connsiteX576" fmla="*/ 583406 w 1502283"/>
                <a:gd name="connsiteY576" fmla="*/ 253746 h 1161573"/>
                <a:gd name="connsiteX577" fmla="*/ 589312 w 1502283"/>
                <a:gd name="connsiteY577" fmla="*/ 249746 h 1161573"/>
                <a:gd name="connsiteX578" fmla="*/ 590074 w 1502283"/>
                <a:gd name="connsiteY578" fmla="*/ 256032 h 1161573"/>
                <a:gd name="connsiteX579" fmla="*/ 587312 w 1502283"/>
                <a:gd name="connsiteY579" fmla="*/ 259556 h 1161573"/>
                <a:gd name="connsiteX580" fmla="*/ 586169 w 1502283"/>
                <a:gd name="connsiteY580" fmla="*/ 262890 h 1161573"/>
                <a:gd name="connsiteX581" fmla="*/ 586930 w 1502283"/>
                <a:gd name="connsiteY581" fmla="*/ 269176 h 1161573"/>
                <a:gd name="connsiteX582" fmla="*/ 584740 w 1502283"/>
                <a:gd name="connsiteY582" fmla="*/ 277463 h 1161573"/>
                <a:gd name="connsiteX583" fmla="*/ 585311 w 1502283"/>
                <a:gd name="connsiteY583" fmla="*/ 282226 h 1161573"/>
                <a:gd name="connsiteX584" fmla="*/ 581978 w 1502283"/>
                <a:gd name="connsiteY584" fmla="*/ 281083 h 1161573"/>
                <a:gd name="connsiteX585" fmla="*/ 582168 w 1502283"/>
                <a:gd name="connsiteY585" fmla="*/ 282702 h 1161573"/>
                <a:gd name="connsiteX586" fmla="*/ 585121 w 1502283"/>
                <a:gd name="connsiteY586" fmla="*/ 293561 h 1161573"/>
                <a:gd name="connsiteX587" fmla="*/ 588264 w 1502283"/>
                <a:gd name="connsiteY587" fmla="*/ 293180 h 1161573"/>
                <a:gd name="connsiteX588" fmla="*/ 582739 w 1502283"/>
                <a:gd name="connsiteY588" fmla="*/ 300323 h 1161573"/>
                <a:gd name="connsiteX589" fmla="*/ 588455 w 1502283"/>
                <a:gd name="connsiteY589" fmla="*/ 307562 h 1161573"/>
                <a:gd name="connsiteX590" fmla="*/ 588645 w 1502283"/>
                <a:gd name="connsiteY590" fmla="*/ 309182 h 1161573"/>
                <a:gd name="connsiteX591" fmla="*/ 592360 w 1502283"/>
                <a:gd name="connsiteY591" fmla="*/ 313563 h 1161573"/>
                <a:gd name="connsiteX592" fmla="*/ 589026 w 1502283"/>
                <a:gd name="connsiteY592" fmla="*/ 312420 h 1161573"/>
                <a:gd name="connsiteX593" fmla="*/ 592360 w 1502283"/>
                <a:gd name="connsiteY593" fmla="*/ 313563 h 1161573"/>
                <a:gd name="connsiteX594" fmla="*/ 591407 w 1502283"/>
                <a:gd name="connsiteY594" fmla="*/ 318516 h 1161573"/>
                <a:gd name="connsiteX595" fmla="*/ 585121 w 1502283"/>
                <a:gd name="connsiteY595" fmla="*/ 319278 h 1161573"/>
                <a:gd name="connsiteX596" fmla="*/ 583978 w 1502283"/>
                <a:gd name="connsiteY596" fmla="*/ 322612 h 1161573"/>
                <a:gd name="connsiteX597" fmla="*/ 576739 w 1502283"/>
                <a:gd name="connsiteY597" fmla="*/ 328327 h 1161573"/>
                <a:gd name="connsiteX598" fmla="*/ 571976 w 1502283"/>
                <a:gd name="connsiteY598" fmla="*/ 328898 h 1161573"/>
                <a:gd name="connsiteX599" fmla="*/ 572167 w 1502283"/>
                <a:gd name="connsiteY599" fmla="*/ 330517 h 1161573"/>
                <a:gd name="connsiteX600" fmla="*/ 568071 w 1502283"/>
                <a:gd name="connsiteY600" fmla="*/ 335851 h 1161573"/>
                <a:gd name="connsiteX601" fmla="*/ 568262 w 1502283"/>
                <a:gd name="connsiteY601" fmla="*/ 337471 h 1161573"/>
                <a:gd name="connsiteX602" fmla="*/ 564928 w 1502283"/>
                <a:gd name="connsiteY602" fmla="*/ 336328 h 1161573"/>
                <a:gd name="connsiteX603" fmla="*/ 564166 w 1502283"/>
                <a:gd name="connsiteY603" fmla="*/ 330041 h 1161573"/>
                <a:gd name="connsiteX604" fmla="*/ 557879 w 1502283"/>
                <a:gd name="connsiteY604" fmla="*/ 330803 h 1161573"/>
                <a:gd name="connsiteX605" fmla="*/ 556450 w 1502283"/>
                <a:gd name="connsiteY605" fmla="*/ 332613 h 1161573"/>
                <a:gd name="connsiteX606" fmla="*/ 557022 w 1502283"/>
                <a:gd name="connsiteY606" fmla="*/ 337375 h 1161573"/>
                <a:gd name="connsiteX607" fmla="*/ 554260 w 1502283"/>
                <a:gd name="connsiteY607" fmla="*/ 340900 h 1161573"/>
                <a:gd name="connsiteX608" fmla="*/ 542639 w 1502283"/>
                <a:gd name="connsiteY608" fmla="*/ 350425 h 1161573"/>
                <a:gd name="connsiteX609" fmla="*/ 539305 w 1502283"/>
                <a:gd name="connsiteY609" fmla="*/ 349282 h 1161573"/>
                <a:gd name="connsiteX610" fmla="*/ 535019 w 1502283"/>
                <a:gd name="connsiteY610" fmla="*/ 352996 h 1161573"/>
                <a:gd name="connsiteX611" fmla="*/ 527113 w 1502283"/>
                <a:gd name="connsiteY611" fmla="*/ 354044 h 1161573"/>
                <a:gd name="connsiteX612" fmla="*/ 525494 w 1502283"/>
                <a:gd name="connsiteY612" fmla="*/ 354235 h 1161573"/>
                <a:gd name="connsiteX613" fmla="*/ 526066 w 1502283"/>
                <a:gd name="connsiteY613" fmla="*/ 358997 h 1161573"/>
                <a:gd name="connsiteX614" fmla="*/ 526256 w 1502283"/>
                <a:gd name="connsiteY614" fmla="*/ 360617 h 1161573"/>
                <a:gd name="connsiteX615" fmla="*/ 524923 w 1502283"/>
                <a:gd name="connsiteY615" fmla="*/ 362426 h 1161573"/>
                <a:gd name="connsiteX616" fmla="*/ 528923 w 1502283"/>
                <a:gd name="connsiteY616" fmla="*/ 368332 h 1161573"/>
                <a:gd name="connsiteX617" fmla="*/ 525971 w 1502283"/>
                <a:gd name="connsiteY617" fmla="*/ 370332 h 1161573"/>
                <a:gd name="connsiteX618" fmla="*/ 526542 w 1502283"/>
                <a:gd name="connsiteY618" fmla="*/ 375095 h 1161573"/>
                <a:gd name="connsiteX619" fmla="*/ 523780 w 1502283"/>
                <a:gd name="connsiteY619" fmla="*/ 378619 h 1161573"/>
                <a:gd name="connsiteX620" fmla="*/ 519017 w 1502283"/>
                <a:gd name="connsiteY620" fmla="*/ 379190 h 1161573"/>
                <a:gd name="connsiteX621" fmla="*/ 516255 w 1502283"/>
                <a:gd name="connsiteY621" fmla="*/ 382715 h 1161573"/>
                <a:gd name="connsiteX622" fmla="*/ 519779 w 1502283"/>
                <a:gd name="connsiteY622" fmla="*/ 385477 h 1161573"/>
                <a:gd name="connsiteX623" fmla="*/ 519970 w 1502283"/>
                <a:gd name="connsiteY623" fmla="*/ 387096 h 1161573"/>
                <a:gd name="connsiteX624" fmla="*/ 515017 w 1502283"/>
                <a:gd name="connsiteY624" fmla="*/ 386144 h 1161573"/>
                <a:gd name="connsiteX625" fmla="*/ 515398 w 1502283"/>
                <a:gd name="connsiteY625" fmla="*/ 389287 h 1161573"/>
                <a:gd name="connsiteX626" fmla="*/ 507682 w 1502283"/>
                <a:gd name="connsiteY626" fmla="*/ 391859 h 1161573"/>
                <a:gd name="connsiteX627" fmla="*/ 505873 w 1502283"/>
                <a:gd name="connsiteY627" fmla="*/ 390525 h 1161573"/>
                <a:gd name="connsiteX628" fmla="*/ 504444 w 1502283"/>
                <a:gd name="connsiteY628" fmla="*/ 392335 h 1161573"/>
                <a:gd name="connsiteX629" fmla="*/ 502253 w 1502283"/>
                <a:gd name="connsiteY629" fmla="*/ 400621 h 1161573"/>
                <a:gd name="connsiteX630" fmla="*/ 503301 w 1502283"/>
                <a:gd name="connsiteY630" fmla="*/ 408527 h 1161573"/>
                <a:gd name="connsiteX631" fmla="*/ 505492 w 1502283"/>
                <a:gd name="connsiteY631" fmla="*/ 413099 h 1161573"/>
                <a:gd name="connsiteX632" fmla="*/ 514921 w 1502283"/>
                <a:gd name="connsiteY632" fmla="*/ 411861 h 1161573"/>
                <a:gd name="connsiteX633" fmla="*/ 515112 w 1502283"/>
                <a:gd name="connsiteY633" fmla="*/ 413480 h 1161573"/>
                <a:gd name="connsiteX634" fmla="*/ 518446 w 1502283"/>
                <a:gd name="connsiteY634" fmla="*/ 414623 h 1161573"/>
                <a:gd name="connsiteX635" fmla="*/ 517493 w 1502283"/>
                <a:gd name="connsiteY635" fmla="*/ 419576 h 1161573"/>
                <a:gd name="connsiteX636" fmla="*/ 524447 w 1502283"/>
                <a:gd name="connsiteY636" fmla="*/ 423482 h 1161573"/>
                <a:gd name="connsiteX637" fmla="*/ 525494 w 1502283"/>
                <a:gd name="connsiteY637" fmla="*/ 431387 h 1161573"/>
                <a:gd name="connsiteX638" fmla="*/ 522351 w 1502283"/>
                <a:gd name="connsiteY638" fmla="*/ 431768 h 1161573"/>
                <a:gd name="connsiteX639" fmla="*/ 521018 w 1502283"/>
                <a:gd name="connsiteY639" fmla="*/ 433578 h 1161573"/>
                <a:gd name="connsiteX640" fmla="*/ 516446 w 1502283"/>
                <a:gd name="connsiteY640" fmla="*/ 435769 h 1161573"/>
                <a:gd name="connsiteX641" fmla="*/ 515112 w 1502283"/>
                <a:gd name="connsiteY641" fmla="*/ 437579 h 1161573"/>
                <a:gd name="connsiteX642" fmla="*/ 511969 w 1502283"/>
                <a:gd name="connsiteY642" fmla="*/ 437959 h 1161573"/>
                <a:gd name="connsiteX643" fmla="*/ 509969 w 1502283"/>
                <a:gd name="connsiteY643" fmla="*/ 435007 h 1161573"/>
                <a:gd name="connsiteX644" fmla="*/ 503682 w 1502283"/>
                <a:gd name="connsiteY644" fmla="*/ 435769 h 1161573"/>
                <a:gd name="connsiteX645" fmla="*/ 502063 w 1502283"/>
                <a:gd name="connsiteY645" fmla="*/ 435959 h 1161573"/>
                <a:gd name="connsiteX646" fmla="*/ 499300 w 1502283"/>
                <a:gd name="connsiteY646" fmla="*/ 439484 h 1161573"/>
                <a:gd name="connsiteX647" fmla="*/ 499872 w 1502283"/>
                <a:gd name="connsiteY647" fmla="*/ 444246 h 1161573"/>
                <a:gd name="connsiteX648" fmla="*/ 495776 w 1502283"/>
                <a:gd name="connsiteY648" fmla="*/ 449580 h 1161573"/>
                <a:gd name="connsiteX649" fmla="*/ 491109 w 1502283"/>
                <a:gd name="connsiteY649" fmla="*/ 463010 h 1161573"/>
                <a:gd name="connsiteX650" fmla="*/ 488537 w 1502283"/>
                <a:gd name="connsiteY650" fmla="*/ 468154 h 1161573"/>
                <a:gd name="connsiteX651" fmla="*/ 490919 w 1502283"/>
                <a:gd name="connsiteY651" fmla="*/ 474250 h 1161573"/>
                <a:gd name="connsiteX652" fmla="*/ 487204 w 1502283"/>
                <a:gd name="connsiteY652" fmla="*/ 482727 h 1161573"/>
                <a:gd name="connsiteX653" fmla="*/ 490728 w 1502283"/>
                <a:gd name="connsiteY653" fmla="*/ 485489 h 1161573"/>
                <a:gd name="connsiteX654" fmla="*/ 495490 w 1502283"/>
                <a:gd name="connsiteY654" fmla="*/ 484918 h 1161573"/>
                <a:gd name="connsiteX655" fmla="*/ 502158 w 1502283"/>
                <a:gd name="connsiteY655" fmla="*/ 487299 h 1161573"/>
                <a:gd name="connsiteX656" fmla="*/ 506921 w 1502283"/>
                <a:gd name="connsiteY656" fmla="*/ 486728 h 1161573"/>
                <a:gd name="connsiteX657" fmla="*/ 510635 w 1502283"/>
                <a:gd name="connsiteY657" fmla="*/ 491014 h 1161573"/>
                <a:gd name="connsiteX658" fmla="*/ 516160 w 1502283"/>
                <a:gd name="connsiteY658" fmla="*/ 496729 h 1161573"/>
                <a:gd name="connsiteX659" fmla="*/ 515207 w 1502283"/>
                <a:gd name="connsiteY659" fmla="*/ 501682 h 1161573"/>
                <a:gd name="connsiteX660" fmla="*/ 513397 w 1502283"/>
                <a:gd name="connsiteY660" fmla="*/ 500348 h 1161573"/>
                <a:gd name="connsiteX661" fmla="*/ 512255 w 1502283"/>
                <a:gd name="connsiteY661" fmla="*/ 503682 h 1161573"/>
                <a:gd name="connsiteX662" fmla="*/ 513683 w 1502283"/>
                <a:gd name="connsiteY662" fmla="*/ 514731 h 1161573"/>
                <a:gd name="connsiteX663" fmla="*/ 518636 w 1502283"/>
                <a:gd name="connsiteY663" fmla="*/ 515684 h 1161573"/>
                <a:gd name="connsiteX664" fmla="*/ 514921 w 1502283"/>
                <a:gd name="connsiteY664" fmla="*/ 524161 h 1161573"/>
                <a:gd name="connsiteX665" fmla="*/ 507968 w 1502283"/>
                <a:gd name="connsiteY665" fmla="*/ 520255 h 1161573"/>
                <a:gd name="connsiteX666" fmla="*/ 508349 w 1502283"/>
                <a:gd name="connsiteY666" fmla="*/ 523399 h 1161573"/>
                <a:gd name="connsiteX667" fmla="*/ 505587 w 1502283"/>
                <a:gd name="connsiteY667" fmla="*/ 526923 h 1161573"/>
                <a:gd name="connsiteX668" fmla="*/ 495681 w 1502283"/>
                <a:gd name="connsiteY668" fmla="*/ 525018 h 1161573"/>
                <a:gd name="connsiteX669" fmla="*/ 487775 w 1502283"/>
                <a:gd name="connsiteY669" fmla="*/ 526066 h 1161573"/>
                <a:gd name="connsiteX670" fmla="*/ 485775 w 1502283"/>
                <a:gd name="connsiteY670" fmla="*/ 535972 h 1161573"/>
                <a:gd name="connsiteX671" fmla="*/ 483013 w 1502283"/>
                <a:gd name="connsiteY671" fmla="*/ 539496 h 1161573"/>
                <a:gd name="connsiteX672" fmla="*/ 487966 w 1502283"/>
                <a:gd name="connsiteY672" fmla="*/ 540449 h 1161573"/>
                <a:gd name="connsiteX673" fmla="*/ 485394 w 1502283"/>
                <a:gd name="connsiteY673" fmla="*/ 545592 h 1161573"/>
                <a:gd name="connsiteX674" fmla="*/ 489966 w 1502283"/>
                <a:gd name="connsiteY674" fmla="*/ 543401 h 1161573"/>
                <a:gd name="connsiteX675" fmla="*/ 492157 w 1502283"/>
                <a:gd name="connsiteY675" fmla="*/ 547973 h 1161573"/>
                <a:gd name="connsiteX676" fmla="*/ 492728 w 1502283"/>
                <a:gd name="connsiteY676" fmla="*/ 552736 h 1161573"/>
                <a:gd name="connsiteX677" fmla="*/ 498253 w 1502283"/>
                <a:gd name="connsiteY677" fmla="*/ 558451 h 1161573"/>
                <a:gd name="connsiteX678" fmla="*/ 495490 w 1502283"/>
                <a:gd name="connsiteY678" fmla="*/ 561975 h 1161573"/>
                <a:gd name="connsiteX679" fmla="*/ 493681 w 1502283"/>
                <a:gd name="connsiteY679" fmla="*/ 560642 h 1161573"/>
                <a:gd name="connsiteX680" fmla="*/ 492728 w 1502283"/>
                <a:gd name="connsiteY680" fmla="*/ 565595 h 1161573"/>
                <a:gd name="connsiteX681" fmla="*/ 490156 w 1502283"/>
                <a:gd name="connsiteY681" fmla="*/ 570738 h 1161573"/>
                <a:gd name="connsiteX682" fmla="*/ 491776 w 1502283"/>
                <a:gd name="connsiteY682" fmla="*/ 570548 h 1161573"/>
                <a:gd name="connsiteX683" fmla="*/ 492919 w 1502283"/>
                <a:gd name="connsiteY683" fmla="*/ 567214 h 1161573"/>
                <a:gd name="connsiteX684" fmla="*/ 497872 w 1502283"/>
                <a:gd name="connsiteY684" fmla="*/ 568166 h 1161573"/>
                <a:gd name="connsiteX685" fmla="*/ 505111 w 1502283"/>
                <a:gd name="connsiteY685" fmla="*/ 562451 h 1161573"/>
                <a:gd name="connsiteX686" fmla="*/ 504539 w 1502283"/>
                <a:gd name="connsiteY686" fmla="*/ 557689 h 1161573"/>
                <a:gd name="connsiteX687" fmla="*/ 507873 w 1502283"/>
                <a:gd name="connsiteY687" fmla="*/ 558832 h 1161573"/>
                <a:gd name="connsiteX688" fmla="*/ 508445 w 1502283"/>
                <a:gd name="connsiteY688" fmla="*/ 563594 h 1161573"/>
                <a:gd name="connsiteX689" fmla="*/ 504730 w 1502283"/>
                <a:gd name="connsiteY689" fmla="*/ 572072 h 1161573"/>
                <a:gd name="connsiteX690" fmla="*/ 512826 w 1502283"/>
                <a:gd name="connsiteY690" fmla="*/ 572643 h 1161573"/>
                <a:gd name="connsiteX691" fmla="*/ 513397 w 1502283"/>
                <a:gd name="connsiteY691" fmla="*/ 577405 h 1161573"/>
                <a:gd name="connsiteX692" fmla="*/ 516541 w 1502283"/>
                <a:gd name="connsiteY692" fmla="*/ 577025 h 1161573"/>
                <a:gd name="connsiteX693" fmla="*/ 513779 w 1502283"/>
                <a:gd name="connsiteY693" fmla="*/ 593408 h 1161573"/>
                <a:gd name="connsiteX694" fmla="*/ 513969 w 1502283"/>
                <a:gd name="connsiteY694" fmla="*/ 595027 h 1161573"/>
                <a:gd name="connsiteX695" fmla="*/ 512159 w 1502283"/>
                <a:gd name="connsiteY695" fmla="*/ 593693 h 1161573"/>
                <a:gd name="connsiteX696" fmla="*/ 509588 w 1502283"/>
                <a:gd name="connsiteY696" fmla="*/ 598837 h 1161573"/>
                <a:gd name="connsiteX697" fmla="*/ 506825 w 1502283"/>
                <a:gd name="connsiteY697" fmla="*/ 602361 h 1161573"/>
                <a:gd name="connsiteX698" fmla="*/ 505682 w 1502283"/>
                <a:gd name="connsiteY698" fmla="*/ 605695 h 1161573"/>
                <a:gd name="connsiteX699" fmla="*/ 501110 w 1502283"/>
                <a:gd name="connsiteY699" fmla="*/ 607886 h 1161573"/>
                <a:gd name="connsiteX700" fmla="*/ 499967 w 1502283"/>
                <a:gd name="connsiteY700" fmla="*/ 611219 h 1161573"/>
                <a:gd name="connsiteX701" fmla="*/ 496824 w 1502283"/>
                <a:gd name="connsiteY701" fmla="*/ 611600 h 1161573"/>
                <a:gd name="connsiteX702" fmla="*/ 492252 w 1502283"/>
                <a:gd name="connsiteY702" fmla="*/ 613791 h 1161573"/>
                <a:gd name="connsiteX703" fmla="*/ 485775 w 1502283"/>
                <a:gd name="connsiteY703" fmla="*/ 613029 h 1161573"/>
                <a:gd name="connsiteX704" fmla="*/ 481013 w 1502283"/>
                <a:gd name="connsiteY704" fmla="*/ 613601 h 1161573"/>
                <a:gd name="connsiteX705" fmla="*/ 480060 w 1502283"/>
                <a:gd name="connsiteY705" fmla="*/ 618554 h 1161573"/>
                <a:gd name="connsiteX706" fmla="*/ 485965 w 1502283"/>
                <a:gd name="connsiteY706" fmla="*/ 627412 h 1161573"/>
                <a:gd name="connsiteX707" fmla="*/ 486346 w 1502283"/>
                <a:gd name="connsiteY707" fmla="*/ 630555 h 1161573"/>
                <a:gd name="connsiteX708" fmla="*/ 481584 w 1502283"/>
                <a:gd name="connsiteY708" fmla="*/ 631126 h 1161573"/>
                <a:gd name="connsiteX709" fmla="*/ 477488 w 1502283"/>
                <a:gd name="connsiteY709" fmla="*/ 636461 h 1161573"/>
                <a:gd name="connsiteX710" fmla="*/ 477869 w 1502283"/>
                <a:gd name="connsiteY710" fmla="*/ 639604 h 1161573"/>
                <a:gd name="connsiteX711" fmla="*/ 473773 w 1502283"/>
                <a:gd name="connsiteY711" fmla="*/ 644938 h 1161573"/>
                <a:gd name="connsiteX712" fmla="*/ 466820 w 1502283"/>
                <a:gd name="connsiteY712" fmla="*/ 641033 h 1161573"/>
                <a:gd name="connsiteX713" fmla="*/ 459296 w 1502283"/>
                <a:gd name="connsiteY713" fmla="*/ 645224 h 1161573"/>
                <a:gd name="connsiteX714" fmla="*/ 454152 w 1502283"/>
                <a:gd name="connsiteY714" fmla="*/ 642652 h 1161573"/>
                <a:gd name="connsiteX715" fmla="*/ 451390 w 1502283"/>
                <a:gd name="connsiteY715" fmla="*/ 646176 h 1161573"/>
                <a:gd name="connsiteX716" fmla="*/ 444437 w 1502283"/>
                <a:gd name="connsiteY716" fmla="*/ 642271 h 1161573"/>
                <a:gd name="connsiteX717" fmla="*/ 439674 w 1502283"/>
                <a:gd name="connsiteY717" fmla="*/ 642842 h 1161573"/>
                <a:gd name="connsiteX718" fmla="*/ 436912 w 1502283"/>
                <a:gd name="connsiteY718" fmla="*/ 646367 h 1161573"/>
                <a:gd name="connsiteX719" fmla="*/ 432149 w 1502283"/>
                <a:gd name="connsiteY719" fmla="*/ 646938 h 1161573"/>
                <a:gd name="connsiteX720" fmla="*/ 421672 w 1502283"/>
                <a:gd name="connsiteY720" fmla="*/ 653034 h 1161573"/>
                <a:gd name="connsiteX721" fmla="*/ 419862 w 1502283"/>
                <a:gd name="connsiteY721" fmla="*/ 651701 h 1161573"/>
                <a:gd name="connsiteX722" fmla="*/ 421672 w 1502283"/>
                <a:gd name="connsiteY722" fmla="*/ 653034 h 1161573"/>
                <a:gd name="connsiteX723" fmla="*/ 416147 w 1502283"/>
                <a:gd name="connsiteY723" fmla="*/ 660178 h 1161573"/>
                <a:gd name="connsiteX724" fmla="*/ 424624 w 1502283"/>
                <a:gd name="connsiteY724" fmla="*/ 663893 h 1161573"/>
                <a:gd name="connsiteX725" fmla="*/ 425196 w 1502283"/>
                <a:gd name="connsiteY725" fmla="*/ 668655 h 1161573"/>
                <a:gd name="connsiteX726" fmla="*/ 428530 w 1502283"/>
                <a:gd name="connsiteY726" fmla="*/ 669798 h 1161573"/>
                <a:gd name="connsiteX727" fmla="*/ 428911 w 1502283"/>
                <a:gd name="connsiteY727" fmla="*/ 672941 h 1161573"/>
                <a:gd name="connsiteX728" fmla="*/ 419862 w 1502283"/>
                <a:gd name="connsiteY728" fmla="*/ 677323 h 1161573"/>
                <a:gd name="connsiteX729" fmla="*/ 417671 w 1502283"/>
                <a:gd name="connsiteY729" fmla="*/ 672751 h 1161573"/>
                <a:gd name="connsiteX730" fmla="*/ 414528 w 1502283"/>
                <a:gd name="connsiteY730" fmla="*/ 673132 h 1161573"/>
                <a:gd name="connsiteX731" fmla="*/ 413575 w 1502283"/>
                <a:gd name="connsiteY731" fmla="*/ 678085 h 1161573"/>
                <a:gd name="connsiteX732" fmla="*/ 410623 w 1502283"/>
                <a:gd name="connsiteY732" fmla="*/ 680085 h 1161573"/>
                <a:gd name="connsiteX733" fmla="*/ 413956 w 1502283"/>
                <a:gd name="connsiteY733" fmla="*/ 681228 h 1161573"/>
                <a:gd name="connsiteX734" fmla="*/ 411004 w 1502283"/>
                <a:gd name="connsiteY734" fmla="*/ 683228 h 1161573"/>
                <a:gd name="connsiteX735" fmla="*/ 409670 w 1502283"/>
                <a:gd name="connsiteY735" fmla="*/ 685038 h 1161573"/>
                <a:gd name="connsiteX736" fmla="*/ 399383 w 1502283"/>
                <a:gd name="connsiteY736" fmla="*/ 679895 h 1161573"/>
                <a:gd name="connsiteX737" fmla="*/ 398050 w 1502283"/>
                <a:gd name="connsiteY737" fmla="*/ 681704 h 1161573"/>
                <a:gd name="connsiteX738" fmla="*/ 396907 w 1502283"/>
                <a:gd name="connsiteY738" fmla="*/ 685038 h 1161573"/>
                <a:gd name="connsiteX739" fmla="*/ 391763 w 1502283"/>
                <a:gd name="connsiteY739" fmla="*/ 682466 h 1161573"/>
                <a:gd name="connsiteX740" fmla="*/ 387001 w 1502283"/>
                <a:gd name="connsiteY740" fmla="*/ 683038 h 1161573"/>
                <a:gd name="connsiteX741" fmla="*/ 385572 w 1502283"/>
                <a:gd name="connsiteY741" fmla="*/ 684848 h 1161573"/>
                <a:gd name="connsiteX742" fmla="*/ 387953 w 1502283"/>
                <a:gd name="connsiteY742" fmla="*/ 690944 h 1161573"/>
                <a:gd name="connsiteX743" fmla="*/ 388144 w 1502283"/>
                <a:gd name="connsiteY743" fmla="*/ 692563 h 1161573"/>
                <a:gd name="connsiteX744" fmla="*/ 384620 w 1502283"/>
                <a:gd name="connsiteY744" fmla="*/ 689801 h 1161573"/>
                <a:gd name="connsiteX745" fmla="*/ 380619 w 1502283"/>
                <a:gd name="connsiteY745" fmla="*/ 683895 h 1161573"/>
                <a:gd name="connsiteX746" fmla="*/ 375666 w 1502283"/>
                <a:gd name="connsiteY746" fmla="*/ 682943 h 1161573"/>
                <a:gd name="connsiteX747" fmla="*/ 374523 w 1502283"/>
                <a:gd name="connsiteY747" fmla="*/ 686276 h 1161573"/>
                <a:gd name="connsiteX748" fmla="*/ 371189 w 1502283"/>
                <a:gd name="connsiteY748" fmla="*/ 685133 h 1161573"/>
                <a:gd name="connsiteX749" fmla="*/ 364046 w 1502283"/>
                <a:gd name="connsiteY749" fmla="*/ 679609 h 1161573"/>
                <a:gd name="connsiteX750" fmla="*/ 362426 w 1502283"/>
                <a:gd name="connsiteY750" fmla="*/ 679799 h 1161573"/>
                <a:gd name="connsiteX751" fmla="*/ 357664 w 1502283"/>
                <a:gd name="connsiteY751" fmla="*/ 680371 h 1161573"/>
                <a:gd name="connsiteX752" fmla="*/ 357473 w 1502283"/>
                <a:gd name="connsiteY752" fmla="*/ 678751 h 1161573"/>
                <a:gd name="connsiteX753" fmla="*/ 352711 w 1502283"/>
                <a:gd name="connsiteY753" fmla="*/ 679323 h 1161573"/>
                <a:gd name="connsiteX754" fmla="*/ 352139 w 1502283"/>
                <a:gd name="connsiteY754" fmla="*/ 674561 h 1161573"/>
                <a:gd name="connsiteX755" fmla="*/ 350330 w 1502283"/>
                <a:gd name="connsiteY755" fmla="*/ 673227 h 1161573"/>
                <a:gd name="connsiteX756" fmla="*/ 347186 w 1502283"/>
                <a:gd name="connsiteY756" fmla="*/ 673608 h 1161573"/>
                <a:gd name="connsiteX757" fmla="*/ 347567 w 1502283"/>
                <a:gd name="connsiteY757" fmla="*/ 676751 h 1161573"/>
                <a:gd name="connsiteX758" fmla="*/ 349568 w 1502283"/>
                <a:gd name="connsiteY758" fmla="*/ 679704 h 1161573"/>
                <a:gd name="connsiteX759" fmla="*/ 348805 w 1502283"/>
                <a:gd name="connsiteY759" fmla="*/ 686181 h 1161573"/>
                <a:gd name="connsiteX760" fmla="*/ 344043 w 1502283"/>
                <a:gd name="connsiteY760" fmla="*/ 686753 h 1161573"/>
                <a:gd name="connsiteX761" fmla="*/ 340138 w 1502283"/>
                <a:gd name="connsiteY761" fmla="*/ 693706 h 1161573"/>
                <a:gd name="connsiteX762" fmla="*/ 336995 w 1502283"/>
                <a:gd name="connsiteY762" fmla="*/ 694087 h 1161573"/>
                <a:gd name="connsiteX763" fmla="*/ 334042 w 1502283"/>
                <a:gd name="connsiteY763" fmla="*/ 696087 h 1161573"/>
                <a:gd name="connsiteX764" fmla="*/ 325946 w 1502283"/>
                <a:gd name="connsiteY764" fmla="*/ 695516 h 1161573"/>
                <a:gd name="connsiteX765" fmla="*/ 319469 w 1502283"/>
                <a:gd name="connsiteY765" fmla="*/ 694754 h 1161573"/>
                <a:gd name="connsiteX766" fmla="*/ 312325 w 1502283"/>
                <a:gd name="connsiteY766" fmla="*/ 689229 h 1161573"/>
                <a:gd name="connsiteX767" fmla="*/ 310324 w 1502283"/>
                <a:gd name="connsiteY767" fmla="*/ 686276 h 1161573"/>
                <a:gd name="connsiteX768" fmla="*/ 313468 w 1502283"/>
                <a:gd name="connsiteY768" fmla="*/ 685895 h 1161573"/>
                <a:gd name="connsiteX769" fmla="*/ 309944 w 1502283"/>
                <a:gd name="connsiteY769" fmla="*/ 683133 h 1161573"/>
                <a:gd name="connsiteX770" fmla="*/ 309753 w 1502283"/>
                <a:gd name="connsiteY770" fmla="*/ 681514 h 1161573"/>
                <a:gd name="connsiteX771" fmla="*/ 310134 w 1502283"/>
                <a:gd name="connsiteY771" fmla="*/ 684657 h 1161573"/>
                <a:gd name="connsiteX772" fmla="*/ 308800 w 1502283"/>
                <a:gd name="connsiteY772" fmla="*/ 686467 h 1161573"/>
                <a:gd name="connsiteX773" fmla="*/ 306800 w 1502283"/>
                <a:gd name="connsiteY773" fmla="*/ 683514 h 1161573"/>
                <a:gd name="connsiteX774" fmla="*/ 303657 w 1502283"/>
                <a:gd name="connsiteY774" fmla="*/ 683895 h 1161573"/>
                <a:gd name="connsiteX775" fmla="*/ 303276 w 1502283"/>
                <a:gd name="connsiteY775" fmla="*/ 680752 h 1161573"/>
                <a:gd name="connsiteX776" fmla="*/ 305086 w 1502283"/>
                <a:gd name="connsiteY776" fmla="*/ 682085 h 1161573"/>
                <a:gd name="connsiteX777" fmla="*/ 303086 w 1502283"/>
                <a:gd name="connsiteY777" fmla="*/ 679133 h 1161573"/>
                <a:gd name="connsiteX778" fmla="*/ 304514 w 1502283"/>
                <a:gd name="connsiteY778" fmla="*/ 677323 h 1161573"/>
                <a:gd name="connsiteX779" fmla="*/ 305657 w 1502283"/>
                <a:gd name="connsiteY779" fmla="*/ 673989 h 1161573"/>
                <a:gd name="connsiteX780" fmla="*/ 302323 w 1502283"/>
                <a:gd name="connsiteY780" fmla="*/ 672846 h 1161573"/>
                <a:gd name="connsiteX781" fmla="*/ 300133 w 1502283"/>
                <a:gd name="connsiteY781" fmla="*/ 668274 h 1161573"/>
                <a:gd name="connsiteX782" fmla="*/ 299752 w 1502283"/>
                <a:gd name="connsiteY782" fmla="*/ 665131 h 1161573"/>
                <a:gd name="connsiteX783" fmla="*/ 297752 w 1502283"/>
                <a:gd name="connsiteY783" fmla="*/ 662178 h 1161573"/>
                <a:gd name="connsiteX784" fmla="*/ 290513 w 1502283"/>
                <a:gd name="connsiteY784" fmla="*/ 667893 h 1161573"/>
                <a:gd name="connsiteX785" fmla="*/ 286607 w 1502283"/>
                <a:gd name="connsiteY785" fmla="*/ 674846 h 1161573"/>
                <a:gd name="connsiteX786" fmla="*/ 276130 w 1502283"/>
                <a:gd name="connsiteY786" fmla="*/ 668179 h 1161573"/>
                <a:gd name="connsiteX787" fmla="*/ 276130 w 1502283"/>
                <a:gd name="connsiteY787" fmla="*/ 681038 h 1161573"/>
                <a:gd name="connsiteX788" fmla="*/ 279559 w 1502283"/>
                <a:gd name="connsiteY788" fmla="*/ 682180 h 1161573"/>
                <a:gd name="connsiteX789" fmla="*/ 270700 w 1502283"/>
                <a:gd name="connsiteY789" fmla="*/ 688086 h 1161573"/>
                <a:gd name="connsiteX790" fmla="*/ 265176 w 1502283"/>
                <a:gd name="connsiteY790" fmla="*/ 695230 h 1161573"/>
                <a:gd name="connsiteX791" fmla="*/ 263176 w 1502283"/>
                <a:gd name="connsiteY791" fmla="*/ 692277 h 1161573"/>
                <a:gd name="connsiteX792" fmla="*/ 260223 w 1502283"/>
                <a:gd name="connsiteY792" fmla="*/ 694277 h 1161573"/>
                <a:gd name="connsiteX793" fmla="*/ 255270 w 1502283"/>
                <a:gd name="connsiteY793" fmla="*/ 693325 h 1161573"/>
                <a:gd name="connsiteX794" fmla="*/ 256699 w 1502283"/>
                <a:gd name="connsiteY794" fmla="*/ 691515 h 1161573"/>
                <a:gd name="connsiteX795" fmla="*/ 261461 w 1502283"/>
                <a:gd name="connsiteY795" fmla="*/ 690944 h 1161573"/>
                <a:gd name="connsiteX796" fmla="*/ 261271 w 1502283"/>
                <a:gd name="connsiteY796" fmla="*/ 689324 h 1161573"/>
                <a:gd name="connsiteX797" fmla="*/ 250793 w 1502283"/>
                <a:gd name="connsiteY797" fmla="*/ 682657 h 1161573"/>
                <a:gd name="connsiteX798" fmla="*/ 246031 w 1502283"/>
                <a:gd name="connsiteY798" fmla="*/ 683228 h 1161573"/>
                <a:gd name="connsiteX799" fmla="*/ 242697 w 1502283"/>
                <a:gd name="connsiteY799" fmla="*/ 682085 h 1161573"/>
                <a:gd name="connsiteX800" fmla="*/ 245078 w 1502283"/>
                <a:gd name="connsiteY800" fmla="*/ 688181 h 1161573"/>
                <a:gd name="connsiteX801" fmla="*/ 242316 w 1502283"/>
                <a:gd name="connsiteY801" fmla="*/ 691705 h 1161573"/>
                <a:gd name="connsiteX802" fmla="*/ 242888 w 1502283"/>
                <a:gd name="connsiteY802" fmla="*/ 696468 h 1161573"/>
                <a:gd name="connsiteX803" fmla="*/ 238982 w 1502283"/>
                <a:gd name="connsiteY803" fmla="*/ 703421 h 1161573"/>
                <a:gd name="connsiteX804" fmla="*/ 242316 w 1502283"/>
                <a:gd name="connsiteY804" fmla="*/ 704564 h 1161573"/>
                <a:gd name="connsiteX805" fmla="*/ 240982 w 1502283"/>
                <a:gd name="connsiteY805" fmla="*/ 706374 h 1161573"/>
                <a:gd name="connsiteX806" fmla="*/ 239363 w 1502283"/>
                <a:gd name="connsiteY806" fmla="*/ 706565 h 1161573"/>
                <a:gd name="connsiteX807" fmla="*/ 241554 w 1502283"/>
                <a:gd name="connsiteY807" fmla="*/ 711137 h 1161573"/>
                <a:gd name="connsiteX808" fmla="*/ 239935 w 1502283"/>
                <a:gd name="connsiteY808" fmla="*/ 711327 h 1161573"/>
                <a:gd name="connsiteX809" fmla="*/ 236791 w 1502283"/>
                <a:gd name="connsiteY809" fmla="*/ 711708 h 1161573"/>
                <a:gd name="connsiteX810" fmla="*/ 234029 w 1502283"/>
                <a:gd name="connsiteY810" fmla="*/ 715232 h 1161573"/>
                <a:gd name="connsiteX811" fmla="*/ 237554 w 1502283"/>
                <a:gd name="connsiteY811" fmla="*/ 717995 h 1161573"/>
                <a:gd name="connsiteX812" fmla="*/ 231457 w 1502283"/>
                <a:gd name="connsiteY812" fmla="*/ 720376 h 1161573"/>
                <a:gd name="connsiteX813" fmla="*/ 230696 w 1502283"/>
                <a:gd name="connsiteY813" fmla="*/ 714089 h 1161573"/>
                <a:gd name="connsiteX814" fmla="*/ 227552 w 1502283"/>
                <a:gd name="connsiteY814" fmla="*/ 714470 h 1161573"/>
                <a:gd name="connsiteX815" fmla="*/ 219075 w 1502283"/>
                <a:gd name="connsiteY815" fmla="*/ 710755 h 1161573"/>
                <a:gd name="connsiteX816" fmla="*/ 216503 w 1502283"/>
                <a:gd name="connsiteY816" fmla="*/ 715899 h 1161573"/>
                <a:gd name="connsiteX817" fmla="*/ 209550 w 1502283"/>
                <a:gd name="connsiteY817" fmla="*/ 711994 h 1161573"/>
                <a:gd name="connsiteX818" fmla="*/ 204025 w 1502283"/>
                <a:gd name="connsiteY818" fmla="*/ 719138 h 1161573"/>
                <a:gd name="connsiteX819" fmla="*/ 197072 w 1502283"/>
                <a:gd name="connsiteY819" fmla="*/ 715232 h 1161573"/>
                <a:gd name="connsiteX820" fmla="*/ 194500 w 1502283"/>
                <a:gd name="connsiteY820" fmla="*/ 720376 h 1161573"/>
                <a:gd name="connsiteX821" fmla="*/ 187166 w 1502283"/>
                <a:gd name="connsiteY821" fmla="*/ 726091 h 1161573"/>
                <a:gd name="connsiteX822" fmla="*/ 185547 w 1502283"/>
                <a:gd name="connsiteY822" fmla="*/ 726281 h 1161573"/>
                <a:gd name="connsiteX823" fmla="*/ 181451 w 1502283"/>
                <a:gd name="connsiteY823" fmla="*/ 731615 h 1161573"/>
                <a:gd name="connsiteX824" fmla="*/ 187928 w 1502283"/>
                <a:gd name="connsiteY824" fmla="*/ 732377 h 1161573"/>
                <a:gd name="connsiteX825" fmla="*/ 188119 w 1502283"/>
                <a:gd name="connsiteY825" fmla="*/ 733997 h 1161573"/>
                <a:gd name="connsiteX826" fmla="*/ 186499 w 1502283"/>
                <a:gd name="connsiteY826" fmla="*/ 734187 h 1161573"/>
                <a:gd name="connsiteX827" fmla="*/ 185356 w 1502283"/>
                <a:gd name="connsiteY827" fmla="*/ 737521 h 1161573"/>
                <a:gd name="connsiteX828" fmla="*/ 180594 w 1502283"/>
                <a:gd name="connsiteY828" fmla="*/ 738092 h 1161573"/>
                <a:gd name="connsiteX829" fmla="*/ 180594 w 1502283"/>
                <a:gd name="connsiteY829" fmla="*/ 738092 h 1161573"/>
                <a:gd name="connsiteX830" fmla="*/ 178403 w 1502283"/>
                <a:gd name="connsiteY830" fmla="*/ 746379 h 1161573"/>
                <a:gd name="connsiteX831" fmla="*/ 170879 w 1502283"/>
                <a:gd name="connsiteY831" fmla="*/ 750570 h 1161573"/>
                <a:gd name="connsiteX832" fmla="*/ 158020 w 1502283"/>
                <a:gd name="connsiteY832" fmla="*/ 750570 h 1161573"/>
                <a:gd name="connsiteX833" fmla="*/ 154686 w 1502283"/>
                <a:gd name="connsiteY833" fmla="*/ 749427 h 1161573"/>
                <a:gd name="connsiteX834" fmla="*/ 154877 w 1502283"/>
                <a:gd name="connsiteY834" fmla="*/ 751046 h 1161573"/>
                <a:gd name="connsiteX835" fmla="*/ 154496 w 1502283"/>
                <a:gd name="connsiteY835" fmla="*/ 760762 h 1161573"/>
                <a:gd name="connsiteX836" fmla="*/ 154686 w 1502283"/>
                <a:gd name="connsiteY836" fmla="*/ 762381 h 1161573"/>
                <a:gd name="connsiteX837" fmla="*/ 151924 w 1502283"/>
                <a:gd name="connsiteY837" fmla="*/ 765905 h 1161573"/>
                <a:gd name="connsiteX838" fmla="*/ 146590 w 1502283"/>
                <a:gd name="connsiteY838" fmla="*/ 761809 h 1161573"/>
                <a:gd name="connsiteX839" fmla="*/ 142875 w 1502283"/>
                <a:gd name="connsiteY839" fmla="*/ 770287 h 1161573"/>
                <a:gd name="connsiteX840" fmla="*/ 139541 w 1502283"/>
                <a:gd name="connsiteY840" fmla="*/ 769144 h 1161573"/>
                <a:gd name="connsiteX841" fmla="*/ 141351 w 1502283"/>
                <a:gd name="connsiteY841" fmla="*/ 770477 h 1161573"/>
                <a:gd name="connsiteX842" fmla="*/ 141541 w 1502283"/>
                <a:gd name="connsiteY842" fmla="*/ 772097 h 1161573"/>
                <a:gd name="connsiteX843" fmla="*/ 143351 w 1502283"/>
                <a:gd name="connsiteY843" fmla="*/ 773430 h 1161573"/>
                <a:gd name="connsiteX844" fmla="*/ 140779 w 1502283"/>
                <a:gd name="connsiteY844" fmla="*/ 778574 h 1161573"/>
                <a:gd name="connsiteX845" fmla="*/ 141351 w 1502283"/>
                <a:gd name="connsiteY845" fmla="*/ 783336 h 1161573"/>
                <a:gd name="connsiteX846" fmla="*/ 138208 w 1502283"/>
                <a:gd name="connsiteY846" fmla="*/ 783717 h 1161573"/>
                <a:gd name="connsiteX847" fmla="*/ 135446 w 1502283"/>
                <a:gd name="connsiteY847" fmla="*/ 787241 h 1161573"/>
                <a:gd name="connsiteX848" fmla="*/ 133255 w 1502283"/>
                <a:gd name="connsiteY848" fmla="*/ 782669 h 1161573"/>
                <a:gd name="connsiteX849" fmla="*/ 127921 w 1502283"/>
                <a:gd name="connsiteY849" fmla="*/ 778574 h 1161573"/>
                <a:gd name="connsiteX850" fmla="*/ 125539 w 1502283"/>
                <a:gd name="connsiteY850" fmla="*/ 772478 h 1161573"/>
                <a:gd name="connsiteX851" fmla="*/ 118396 w 1502283"/>
                <a:gd name="connsiteY851" fmla="*/ 766953 h 1161573"/>
                <a:gd name="connsiteX852" fmla="*/ 118015 w 1502283"/>
                <a:gd name="connsiteY852" fmla="*/ 763810 h 1161573"/>
                <a:gd name="connsiteX853" fmla="*/ 108585 w 1502283"/>
                <a:gd name="connsiteY853" fmla="*/ 765048 h 1161573"/>
                <a:gd name="connsiteX854" fmla="*/ 102870 w 1502283"/>
                <a:gd name="connsiteY854" fmla="*/ 770573 h 1161573"/>
                <a:gd name="connsiteX855" fmla="*/ 99917 w 1502283"/>
                <a:gd name="connsiteY855" fmla="*/ 772573 h 1161573"/>
                <a:gd name="connsiteX856" fmla="*/ 99536 w 1502283"/>
                <a:gd name="connsiteY856" fmla="*/ 769430 h 1161573"/>
                <a:gd name="connsiteX857" fmla="*/ 94774 w 1502283"/>
                <a:gd name="connsiteY857" fmla="*/ 770001 h 1161573"/>
                <a:gd name="connsiteX858" fmla="*/ 92773 w 1502283"/>
                <a:gd name="connsiteY858" fmla="*/ 767048 h 1161573"/>
                <a:gd name="connsiteX859" fmla="*/ 89630 w 1502283"/>
                <a:gd name="connsiteY859" fmla="*/ 767429 h 1161573"/>
                <a:gd name="connsiteX860" fmla="*/ 85058 w 1502283"/>
                <a:gd name="connsiteY860" fmla="*/ 769620 h 1161573"/>
                <a:gd name="connsiteX861" fmla="*/ 89440 w 1502283"/>
                <a:gd name="connsiteY861" fmla="*/ 778669 h 1161573"/>
                <a:gd name="connsiteX862" fmla="*/ 88106 w 1502283"/>
                <a:gd name="connsiteY862" fmla="*/ 780479 h 1161573"/>
                <a:gd name="connsiteX863" fmla="*/ 83534 w 1502283"/>
                <a:gd name="connsiteY863" fmla="*/ 782669 h 1161573"/>
                <a:gd name="connsiteX864" fmla="*/ 84106 w 1502283"/>
                <a:gd name="connsiteY864" fmla="*/ 787432 h 1161573"/>
                <a:gd name="connsiteX865" fmla="*/ 77819 w 1502283"/>
                <a:gd name="connsiteY865" fmla="*/ 788194 h 1161573"/>
                <a:gd name="connsiteX866" fmla="*/ 79820 w 1502283"/>
                <a:gd name="connsiteY866" fmla="*/ 791147 h 1161573"/>
                <a:gd name="connsiteX867" fmla="*/ 78677 w 1502283"/>
                <a:gd name="connsiteY867" fmla="*/ 794480 h 1161573"/>
                <a:gd name="connsiteX868" fmla="*/ 76105 w 1502283"/>
                <a:gd name="connsiteY868" fmla="*/ 799624 h 1161573"/>
                <a:gd name="connsiteX869" fmla="*/ 72771 w 1502283"/>
                <a:gd name="connsiteY869" fmla="*/ 798481 h 1161573"/>
                <a:gd name="connsiteX870" fmla="*/ 70390 w 1502283"/>
                <a:gd name="connsiteY870" fmla="*/ 792385 h 1161573"/>
                <a:gd name="connsiteX871" fmla="*/ 67437 w 1502283"/>
                <a:gd name="connsiteY871" fmla="*/ 794385 h 1161573"/>
                <a:gd name="connsiteX872" fmla="*/ 64294 w 1502283"/>
                <a:gd name="connsiteY872" fmla="*/ 794766 h 1161573"/>
                <a:gd name="connsiteX873" fmla="*/ 59150 w 1502283"/>
                <a:gd name="connsiteY873" fmla="*/ 792194 h 1161573"/>
                <a:gd name="connsiteX874" fmla="*/ 57150 w 1502283"/>
                <a:gd name="connsiteY874" fmla="*/ 789242 h 1161573"/>
                <a:gd name="connsiteX875" fmla="*/ 59531 w 1502283"/>
                <a:gd name="connsiteY875" fmla="*/ 782479 h 1161573"/>
                <a:gd name="connsiteX876" fmla="*/ 56197 w 1502283"/>
                <a:gd name="connsiteY876" fmla="*/ 781336 h 1161573"/>
                <a:gd name="connsiteX877" fmla="*/ 54007 w 1502283"/>
                <a:gd name="connsiteY877" fmla="*/ 776764 h 1161573"/>
                <a:gd name="connsiteX878" fmla="*/ 50482 w 1502283"/>
                <a:gd name="connsiteY878" fmla="*/ 774001 h 1161573"/>
                <a:gd name="connsiteX879" fmla="*/ 44387 w 1502283"/>
                <a:gd name="connsiteY879" fmla="*/ 776383 h 1161573"/>
                <a:gd name="connsiteX880" fmla="*/ 46958 w 1502283"/>
                <a:gd name="connsiteY880" fmla="*/ 784098 h 1161573"/>
                <a:gd name="connsiteX881" fmla="*/ 34862 w 1502283"/>
                <a:gd name="connsiteY881" fmla="*/ 777621 h 1161573"/>
                <a:gd name="connsiteX882" fmla="*/ 28575 w 1502283"/>
                <a:gd name="connsiteY882" fmla="*/ 778383 h 1161573"/>
                <a:gd name="connsiteX883" fmla="*/ 31909 w 1502283"/>
                <a:gd name="connsiteY883" fmla="*/ 779526 h 1161573"/>
                <a:gd name="connsiteX884" fmla="*/ 35052 w 1502283"/>
                <a:gd name="connsiteY884" fmla="*/ 779145 h 1161573"/>
                <a:gd name="connsiteX885" fmla="*/ 35433 w 1502283"/>
                <a:gd name="connsiteY885" fmla="*/ 782288 h 1161573"/>
                <a:gd name="connsiteX886" fmla="*/ 38576 w 1502283"/>
                <a:gd name="connsiteY886" fmla="*/ 781907 h 1161573"/>
                <a:gd name="connsiteX887" fmla="*/ 32671 w 1502283"/>
                <a:gd name="connsiteY887" fmla="*/ 785908 h 1161573"/>
                <a:gd name="connsiteX888" fmla="*/ 30099 w 1502283"/>
                <a:gd name="connsiteY888" fmla="*/ 791051 h 1161573"/>
                <a:gd name="connsiteX889" fmla="*/ 28766 w 1502283"/>
                <a:gd name="connsiteY889" fmla="*/ 792861 h 1161573"/>
                <a:gd name="connsiteX890" fmla="*/ 27432 w 1502283"/>
                <a:gd name="connsiteY890" fmla="*/ 794671 h 1161573"/>
                <a:gd name="connsiteX891" fmla="*/ 24289 w 1502283"/>
                <a:gd name="connsiteY891" fmla="*/ 795052 h 1161573"/>
                <a:gd name="connsiteX892" fmla="*/ 19336 w 1502283"/>
                <a:gd name="connsiteY892" fmla="*/ 794099 h 1161573"/>
                <a:gd name="connsiteX893" fmla="*/ 18764 w 1502283"/>
                <a:gd name="connsiteY893" fmla="*/ 789337 h 1161573"/>
                <a:gd name="connsiteX894" fmla="*/ 13811 w 1502283"/>
                <a:gd name="connsiteY894" fmla="*/ 788384 h 1161573"/>
                <a:gd name="connsiteX895" fmla="*/ 13049 w 1502283"/>
                <a:gd name="connsiteY895" fmla="*/ 794861 h 1161573"/>
                <a:gd name="connsiteX896" fmla="*/ 15050 w 1502283"/>
                <a:gd name="connsiteY896" fmla="*/ 797814 h 1161573"/>
                <a:gd name="connsiteX897" fmla="*/ 16383 w 1502283"/>
                <a:gd name="connsiteY897" fmla="*/ 796004 h 1161573"/>
                <a:gd name="connsiteX898" fmla="*/ 16573 w 1502283"/>
                <a:gd name="connsiteY898" fmla="*/ 797624 h 1161573"/>
                <a:gd name="connsiteX899" fmla="*/ 19907 w 1502283"/>
                <a:gd name="connsiteY899" fmla="*/ 798767 h 1161573"/>
                <a:gd name="connsiteX900" fmla="*/ 21717 w 1502283"/>
                <a:gd name="connsiteY900" fmla="*/ 800100 h 1161573"/>
                <a:gd name="connsiteX901" fmla="*/ 20764 w 1502283"/>
                <a:gd name="connsiteY901" fmla="*/ 805053 h 1161573"/>
                <a:gd name="connsiteX902" fmla="*/ 17431 w 1502283"/>
                <a:gd name="connsiteY902" fmla="*/ 803910 h 1161573"/>
                <a:gd name="connsiteX903" fmla="*/ 14668 w 1502283"/>
                <a:gd name="connsiteY903" fmla="*/ 807434 h 1161573"/>
                <a:gd name="connsiteX904" fmla="*/ 13049 w 1502283"/>
                <a:gd name="connsiteY904" fmla="*/ 807625 h 1161573"/>
                <a:gd name="connsiteX905" fmla="*/ 14859 w 1502283"/>
                <a:gd name="connsiteY905" fmla="*/ 808958 h 1161573"/>
                <a:gd name="connsiteX906" fmla="*/ 21336 w 1502283"/>
                <a:gd name="connsiteY906" fmla="*/ 809720 h 1161573"/>
                <a:gd name="connsiteX907" fmla="*/ 16764 w 1502283"/>
                <a:gd name="connsiteY907" fmla="*/ 811911 h 1161573"/>
                <a:gd name="connsiteX908" fmla="*/ 14002 w 1502283"/>
                <a:gd name="connsiteY908" fmla="*/ 815435 h 1161573"/>
                <a:gd name="connsiteX909" fmla="*/ 8858 w 1502283"/>
                <a:gd name="connsiteY909" fmla="*/ 812864 h 1161573"/>
                <a:gd name="connsiteX910" fmla="*/ 7525 w 1502283"/>
                <a:gd name="connsiteY910" fmla="*/ 814673 h 1161573"/>
                <a:gd name="connsiteX911" fmla="*/ 8287 w 1502283"/>
                <a:gd name="connsiteY911" fmla="*/ 820960 h 1161573"/>
                <a:gd name="connsiteX912" fmla="*/ 6667 w 1502283"/>
                <a:gd name="connsiteY912" fmla="*/ 821150 h 1161573"/>
                <a:gd name="connsiteX913" fmla="*/ 0 w 1502283"/>
                <a:gd name="connsiteY913" fmla="*/ 831628 h 1161573"/>
                <a:gd name="connsiteX914" fmla="*/ 13430 w 1502283"/>
                <a:gd name="connsiteY914" fmla="*/ 836295 h 1161573"/>
                <a:gd name="connsiteX915" fmla="*/ 27432 w 1502283"/>
                <a:gd name="connsiteY915" fmla="*/ 845725 h 1161573"/>
                <a:gd name="connsiteX916" fmla="*/ 43434 w 1502283"/>
                <a:gd name="connsiteY916" fmla="*/ 845249 h 1161573"/>
                <a:gd name="connsiteX917" fmla="*/ 49911 w 1502283"/>
                <a:gd name="connsiteY917" fmla="*/ 846010 h 1161573"/>
                <a:gd name="connsiteX918" fmla="*/ 52864 w 1502283"/>
                <a:gd name="connsiteY918" fmla="*/ 844010 h 1161573"/>
                <a:gd name="connsiteX919" fmla="*/ 58198 w 1502283"/>
                <a:gd name="connsiteY919" fmla="*/ 848106 h 1161573"/>
                <a:gd name="connsiteX920" fmla="*/ 65913 w 1502283"/>
                <a:gd name="connsiteY920" fmla="*/ 858393 h 1161573"/>
                <a:gd name="connsiteX921" fmla="*/ 70675 w 1502283"/>
                <a:gd name="connsiteY921" fmla="*/ 857822 h 1161573"/>
                <a:gd name="connsiteX922" fmla="*/ 68866 w 1502283"/>
                <a:gd name="connsiteY922" fmla="*/ 856488 h 1161573"/>
                <a:gd name="connsiteX923" fmla="*/ 82487 w 1502283"/>
                <a:gd name="connsiteY923" fmla="*/ 862775 h 1161573"/>
                <a:gd name="connsiteX924" fmla="*/ 91821 w 1502283"/>
                <a:gd name="connsiteY924" fmla="*/ 872776 h 1161573"/>
                <a:gd name="connsiteX925" fmla="*/ 95821 w 1502283"/>
                <a:gd name="connsiteY925" fmla="*/ 878681 h 1161573"/>
                <a:gd name="connsiteX926" fmla="*/ 102965 w 1502283"/>
                <a:gd name="connsiteY926" fmla="*/ 884206 h 1161573"/>
                <a:gd name="connsiteX927" fmla="*/ 107156 w 1502283"/>
                <a:gd name="connsiteY927" fmla="*/ 891731 h 1161573"/>
                <a:gd name="connsiteX928" fmla="*/ 110490 w 1502283"/>
                <a:gd name="connsiteY928" fmla="*/ 892874 h 1161573"/>
                <a:gd name="connsiteX929" fmla="*/ 114776 w 1502283"/>
                <a:gd name="connsiteY929" fmla="*/ 889159 h 1161573"/>
                <a:gd name="connsiteX930" fmla="*/ 122682 w 1502283"/>
                <a:gd name="connsiteY930" fmla="*/ 888111 h 1161573"/>
                <a:gd name="connsiteX931" fmla="*/ 125825 w 1502283"/>
                <a:gd name="connsiteY931" fmla="*/ 887730 h 1161573"/>
                <a:gd name="connsiteX932" fmla="*/ 126016 w 1502283"/>
                <a:gd name="connsiteY932" fmla="*/ 889349 h 1161573"/>
                <a:gd name="connsiteX933" fmla="*/ 144208 w 1502283"/>
                <a:gd name="connsiteY933" fmla="*/ 893445 h 1161573"/>
                <a:gd name="connsiteX934" fmla="*/ 154305 w 1502283"/>
                <a:gd name="connsiteY934" fmla="*/ 896969 h 1161573"/>
                <a:gd name="connsiteX935" fmla="*/ 165545 w 1502283"/>
                <a:gd name="connsiteY935" fmla="*/ 884301 h 1161573"/>
                <a:gd name="connsiteX936" fmla="*/ 169259 w 1502283"/>
                <a:gd name="connsiteY936" fmla="*/ 875824 h 1161573"/>
                <a:gd name="connsiteX937" fmla="*/ 171831 w 1502283"/>
                <a:gd name="connsiteY937" fmla="*/ 870680 h 1161573"/>
                <a:gd name="connsiteX938" fmla="*/ 181546 w 1502283"/>
                <a:gd name="connsiteY938" fmla="*/ 871061 h 1161573"/>
                <a:gd name="connsiteX939" fmla="*/ 191643 w 1502283"/>
                <a:gd name="connsiteY939" fmla="*/ 874585 h 1161573"/>
                <a:gd name="connsiteX940" fmla="*/ 202692 w 1502283"/>
                <a:gd name="connsiteY940" fmla="*/ 873157 h 1161573"/>
                <a:gd name="connsiteX941" fmla="*/ 206026 w 1502283"/>
                <a:gd name="connsiteY941" fmla="*/ 874300 h 1161573"/>
                <a:gd name="connsiteX942" fmla="*/ 209169 w 1502283"/>
                <a:gd name="connsiteY942" fmla="*/ 873919 h 1161573"/>
                <a:gd name="connsiteX943" fmla="*/ 214694 w 1502283"/>
                <a:gd name="connsiteY943" fmla="*/ 866775 h 1161573"/>
                <a:gd name="connsiteX944" fmla="*/ 216884 w 1502283"/>
                <a:gd name="connsiteY944" fmla="*/ 871347 h 1161573"/>
                <a:gd name="connsiteX945" fmla="*/ 222599 w 1502283"/>
                <a:gd name="connsiteY945" fmla="*/ 878681 h 1161573"/>
                <a:gd name="connsiteX946" fmla="*/ 221456 w 1502283"/>
                <a:gd name="connsiteY946" fmla="*/ 882015 h 1161573"/>
                <a:gd name="connsiteX947" fmla="*/ 216884 w 1502283"/>
                <a:gd name="connsiteY947" fmla="*/ 884206 h 1161573"/>
                <a:gd name="connsiteX948" fmla="*/ 217456 w 1502283"/>
                <a:gd name="connsiteY948" fmla="*/ 888968 h 1161573"/>
                <a:gd name="connsiteX949" fmla="*/ 227362 w 1502283"/>
                <a:gd name="connsiteY949" fmla="*/ 890873 h 1161573"/>
                <a:gd name="connsiteX950" fmla="*/ 232886 w 1502283"/>
                <a:gd name="connsiteY950" fmla="*/ 896588 h 1161573"/>
                <a:gd name="connsiteX951" fmla="*/ 240602 w 1502283"/>
                <a:gd name="connsiteY951" fmla="*/ 894017 h 1161573"/>
                <a:gd name="connsiteX952" fmla="*/ 240030 w 1502283"/>
                <a:gd name="connsiteY952" fmla="*/ 889254 h 1161573"/>
                <a:gd name="connsiteX953" fmla="*/ 238220 w 1502283"/>
                <a:gd name="connsiteY953" fmla="*/ 887921 h 1161573"/>
                <a:gd name="connsiteX954" fmla="*/ 241363 w 1502283"/>
                <a:gd name="connsiteY954" fmla="*/ 887540 h 1161573"/>
                <a:gd name="connsiteX955" fmla="*/ 243364 w 1502283"/>
                <a:gd name="connsiteY955" fmla="*/ 890492 h 1161573"/>
                <a:gd name="connsiteX956" fmla="*/ 243554 w 1502283"/>
                <a:gd name="connsiteY956" fmla="*/ 892111 h 1161573"/>
                <a:gd name="connsiteX957" fmla="*/ 243364 w 1502283"/>
                <a:gd name="connsiteY957" fmla="*/ 903351 h 1161573"/>
                <a:gd name="connsiteX958" fmla="*/ 247079 w 1502283"/>
                <a:gd name="connsiteY958" fmla="*/ 907637 h 1161573"/>
                <a:gd name="connsiteX959" fmla="*/ 250222 w 1502283"/>
                <a:gd name="connsiteY959" fmla="*/ 907256 h 1161573"/>
                <a:gd name="connsiteX960" fmla="*/ 255746 w 1502283"/>
                <a:gd name="connsiteY960" fmla="*/ 900113 h 1161573"/>
                <a:gd name="connsiteX961" fmla="*/ 259937 w 1502283"/>
                <a:gd name="connsiteY961" fmla="*/ 907637 h 1161573"/>
                <a:gd name="connsiteX962" fmla="*/ 260509 w 1502283"/>
                <a:gd name="connsiteY962" fmla="*/ 912400 h 1161573"/>
                <a:gd name="connsiteX963" fmla="*/ 258889 w 1502283"/>
                <a:gd name="connsiteY963" fmla="*/ 912590 h 1161573"/>
                <a:gd name="connsiteX964" fmla="*/ 255556 w 1502283"/>
                <a:gd name="connsiteY964" fmla="*/ 911447 h 1161573"/>
                <a:gd name="connsiteX965" fmla="*/ 253174 w 1502283"/>
                <a:gd name="connsiteY965" fmla="*/ 905351 h 1161573"/>
                <a:gd name="connsiteX966" fmla="*/ 253365 w 1502283"/>
                <a:gd name="connsiteY966" fmla="*/ 906971 h 1161573"/>
                <a:gd name="connsiteX967" fmla="*/ 252413 w 1502283"/>
                <a:gd name="connsiteY967" fmla="*/ 911924 h 1161573"/>
                <a:gd name="connsiteX968" fmla="*/ 254603 w 1502283"/>
                <a:gd name="connsiteY968" fmla="*/ 916496 h 1161573"/>
                <a:gd name="connsiteX969" fmla="*/ 264033 w 1502283"/>
                <a:gd name="connsiteY969" fmla="*/ 915257 h 1161573"/>
                <a:gd name="connsiteX970" fmla="*/ 269938 w 1502283"/>
                <a:gd name="connsiteY970" fmla="*/ 911257 h 1161573"/>
                <a:gd name="connsiteX971" fmla="*/ 273653 w 1502283"/>
                <a:gd name="connsiteY971" fmla="*/ 915543 h 1161573"/>
                <a:gd name="connsiteX972" fmla="*/ 278606 w 1502283"/>
                <a:gd name="connsiteY972" fmla="*/ 916496 h 1161573"/>
                <a:gd name="connsiteX973" fmla="*/ 275272 w 1502283"/>
                <a:gd name="connsiteY973" fmla="*/ 928116 h 1161573"/>
                <a:gd name="connsiteX974" fmla="*/ 278797 w 1502283"/>
                <a:gd name="connsiteY974" fmla="*/ 930878 h 1161573"/>
                <a:gd name="connsiteX975" fmla="*/ 282512 w 1502283"/>
                <a:gd name="connsiteY975" fmla="*/ 935260 h 1161573"/>
                <a:gd name="connsiteX976" fmla="*/ 285655 w 1502283"/>
                <a:gd name="connsiteY976" fmla="*/ 934879 h 1161573"/>
                <a:gd name="connsiteX977" fmla="*/ 288607 w 1502283"/>
                <a:gd name="connsiteY977" fmla="*/ 932878 h 1161573"/>
                <a:gd name="connsiteX978" fmla="*/ 287560 w 1502283"/>
                <a:gd name="connsiteY978" fmla="*/ 924973 h 1161573"/>
                <a:gd name="connsiteX979" fmla="*/ 290703 w 1502283"/>
                <a:gd name="connsiteY979" fmla="*/ 924592 h 1161573"/>
                <a:gd name="connsiteX980" fmla="*/ 292513 w 1502283"/>
                <a:gd name="connsiteY980" fmla="*/ 925925 h 1161573"/>
                <a:gd name="connsiteX981" fmla="*/ 291560 w 1502283"/>
                <a:gd name="connsiteY981" fmla="*/ 930878 h 1161573"/>
                <a:gd name="connsiteX982" fmla="*/ 299466 w 1502283"/>
                <a:gd name="connsiteY982" fmla="*/ 929831 h 1161573"/>
                <a:gd name="connsiteX983" fmla="*/ 301466 w 1502283"/>
                <a:gd name="connsiteY983" fmla="*/ 932783 h 1161573"/>
                <a:gd name="connsiteX984" fmla="*/ 294418 w 1502283"/>
                <a:gd name="connsiteY984" fmla="*/ 940118 h 1161573"/>
                <a:gd name="connsiteX985" fmla="*/ 294227 w 1502283"/>
                <a:gd name="connsiteY985" fmla="*/ 951357 h 1161573"/>
                <a:gd name="connsiteX986" fmla="*/ 303086 w 1502283"/>
                <a:gd name="connsiteY986" fmla="*/ 958215 h 1161573"/>
                <a:gd name="connsiteX987" fmla="*/ 306229 w 1502283"/>
                <a:gd name="connsiteY987" fmla="*/ 957834 h 1161573"/>
                <a:gd name="connsiteX988" fmla="*/ 321088 w 1502283"/>
                <a:gd name="connsiteY988" fmla="*/ 973550 h 1161573"/>
                <a:gd name="connsiteX989" fmla="*/ 326612 w 1502283"/>
                <a:gd name="connsiteY989" fmla="*/ 979265 h 1161573"/>
                <a:gd name="connsiteX990" fmla="*/ 366141 w 1502283"/>
                <a:gd name="connsiteY990" fmla="*/ 999934 h 1161573"/>
                <a:gd name="connsiteX991" fmla="*/ 378428 w 1502283"/>
                <a:gd name="connsiteY991" fmla="*/ 1008031 h 1161573"/>
                <a:gd name="connsiteX992" fmla="*/ 388715 w 1502283"/>
                <a:gd name="connsiteY992" fmla="*/ 1013174 h 1161573"/>
                <a:gd name="connsiteX993" fmla="*/ 400526 w 1502283"/>
                <a:gd name="connsiteY993" fmla="*/ 1018032 h 1161573"/>
                <a:gd name="connsiteX994" fmla="*/ 408622 w 1502283"/>
                <a:gd name="connsiteY994" fmla="*/ 1018603 h 1161573"/>
                <a:gd name="connsiteX995" fmla="*/ 411766 w 1502283"/>
                <a:gd name="connsiteY995" fmla="*/ 1018223 h 1161573"/>
                <a:gd name="connsiteX996" fmla="*/ 411385 w 1502283"/>
                <a:gd name="connsiteY996" fmla="*/ 1015079 h 1161573"/>
                <a:gd name="connsiteX997" fmla="*/ 414719 w 1502283"/>
                <a:gd name="connsiteY997" fmla="*/ 1016222 h 1161573"/>
                <a:gd name="connsiteX998" fmla="*/ 416528 w 1502283"/>
                <a:gd name="connsiteY998" fmla="*/ 1017556 h 1161573"/>
                <a:gd name="connsiteX999" fmla="*/ 429768 w 1502283"/>
                <a:gd name="connsiteY999" fmla="*/ 1020699 h 1161573"/>
                <a:gd name="connsiteX1000" fmla="*/ 430911 w 1502283"/>
                <a:gd name="connsiteY1000" fmla="*/ 1017365 h 1161573"/>
                <a:gd name="connsiteX1001" fmla="*/ 435864 w 1502283"/>
                <a:gd name="connsiteY1001" fmla="*/ 1018318 h 1161573"/>
                <a:gd name="connsiteX1002" fmla="*/ 437674 w 1502283"/>
                <a:gd name="connsiteY1002" fmla="*/ 1019651 h 1161573"/>
                <a:gd name="connsiteX1003" fmla="*/ 440627 w 1502283"/>
                <a:gd name="connsiteY1003" fmla="*/ 1017651 h 1161573"/>
                <a:gd name="connsiteX1004" fmla="*/ 440246 w 1502283"/>
                <a:gd name="connsiteY1004" fmla="*/ 1014508 h 1161573"/>
                <a:gd name="connsiteX1005" fmla="*/ 469868 w 1502283"/>
                <a:gd name="connsiteY1005" fmla="*/ 1020318 h 1161573"/>
                <a:gd name="connsiteX1006" fmla="*/ 507206 w 1502283"/>
                <a:gd name="connsiteY1006" fmla="*/ 1023557 h 1161573"/>
                <a:gd name="connsiteX1007" fmla="*/ 517303 w 1502283"/>
                <a:gd name="connsiteY1007" fmla="*/ 1027081 h 1161573"/>
                <a:gd name="connsiteX1008" fmla="*/ 518922 w 1502283"/>
                <a:gd name="connsiteY1008" fmla="*/ 1026890 h 1161573"/>
                <a:gd name="connsiteX1009" fmla="*/ 521684 w 1502283"/>
                <a:gd name="connsiteY1009" fmla="*/ 1023366 h 1161573"/>
                <a:gd name="connsiteX1010" fmla="*/ 529590 w 1502283"/>
                <a:gd name="connsiteY1010" fmla="*/ 1022318 h 1161573"/>
                <a:gd name="connsiteX1011" fmla="*/ 542830 w 1502283"/>
                <a:gd name="connsiteY1011" fmla="*/ 1025461 h 1161573"/>
                <a:gd name="connsiteX1012" fmla="*/ 547306 w 1502283"/>
                <a:gd name="connsiteY1012" fmla="*/ 1023271 h 1161573"/>
                <a:gd name="connsiteX1013" fmla="*/ 554641 w 1502283"/>
                <a:gd name="connsiteY1013" fmla="*/ 1030319 h 1161573"/>
                <a:gd name="connsiteX1014" fmla="*/ 567880 w 1502283"/>
                <a:gd name="connsiteY1014" fmla="*/ 1033463 h 1161573"/>
                <a:gd name="connsiteX1015" fmla="*/ 573596 w 1502283"/>
                <a:gd name="connsiteY1015" fmla="*/ 1027938 h 1161573"/>
                <a:gd name="connsiteX1016" fmla="*/ 574357 w 1502283"/>
                <a:gd name="connsiteY1016" fmla="*/ 1021461 h 1161573"/>
                <a:gd name="connsiteX1017" fmla="*/ 575691 w 1502283"/>
                <a:gd name="connsiteY1017" fmla="*/ 1019651 h 1161573"/>
                <a:gd name="connsiteX1018" fmla="*/ 575310 w 1502283"/>
                <a:gd name="connsiteY1018" fmla="*/ 1016508 h 1161573"/>
                <a:gd name="connsiteX1019" fmla="*/ 577691 w 1502283"/>
                <a:gd name="connsiteY1019" fmla="*/ 1022604 h 1161573"/>
                <a:gd name="connsiteX1020" fmla="*/ 582263 w 1502283"/>
                <a:gd name="connsiteY1020" fmla="*/ 1020413 h 1161573"/>
                <a:gd name="connsiteX1021" fmla="*/ 584263 w 1502283"/>
                <a:gd name="connsiteY1021" fmla="*/ 1023366 h 1161573"/>
                <a:gd name="connsiteX1022" fmla="*/ 586264 w 1502283"/>
                <a:gd name="connsiteY1022" fmla="*/ 1026319 h 1161573"/>
                <a:gd name="connsiteX1023" fmla="*/ 583502 w 1502283"/>
                <a:gd name="connsiteY1023" fmla="*/ 1029843 h 1161573"/>
                <a:gd name="connsiteX1024" fmla="*/ 587216 w 1502283"/>
                <a:gd name="connsiteY1024" fmla="*/ 1034129 h 1161573"/>
                <a:gd name="connsiteX1025" fmla="*/ 588550 w 1502283"/>
                <a:gd name="connsiteY1025" fmla="*/ 1032319 h 1161573"/>
                <a:gd name="connsiteX1026" fmla="*/ 588931 w 1502283"/>
                <a:gd name="connsiteY1026" fmla="*/ 1035463 h 1161573"/>
                <a:gd name="connsiteX1027" fmla="*/ 599980 w 1502283"/>
                <a:gd name="connsiteY1027" fmla="*/ 1034034 h 1161573"/>
                <a:gd name="connsiteX1028" fmla="*/ 600170 w 1502283"/>
                <a:gd name="connsiteY1028" fmla="*/ 1035653 h 1161573"/>
                <a:gd name="connsiteX1029" fmla="*/ 603313 w 1502283"/>
                <a:gd name="connsiteY1029" fmla="*/ 1035272 h 1161573"/>
                <a:gd name="connsiteX1030" fmla="*/ 606266 w 1502283"/>
                <a:gd name="connsiteY1030" fmla="*/ 1033272 h 1161573"/>
                <a:gd name="connsiteX1031" fmla="*/ 607219 w 1502283"/>
                <a:gd name="connsiteY1031" fmla="*/ 1028319 h 1161573"/>
                <a:gd name="connsiteX1032" fmla="*/ 608647 w 1502283"/>
                <a:gd name="connsiteY1032" fmla="*/ 1026509 h 1161573"/>
                <a:gd name="connsiteX1033" fmla="*/ 609790 w 1502283"/>
                <a:gd name="connsiteY1033" fmla="*/ 1023176 h 1161573"/>
                <a:gd name="connsiteX1034" fmla="*/ 611410 w 1502283"/>
                <a:gd name="connsiteY1034" fmla="*/ 1022985 h 1161573"/>
                <a:gd name="connsiteX1035" fmla="*/ 613410 w 1502283"/>
                <a:gd name="connsiteY1035" fmla="*/ 1025938 h 1161573"/>
                <a:gd name="connsiteX1036" fmla="*/ 619125 w 1502283"/>
                <a:gd name="connsiteY1036" fmla="*/ 1020413 h 1161573"/>
                <a:gd name="connsiteX1037" fmla="*/ 620935 w 1502283"/>
                <a:gd name="connsiteY1037" fmla="*/ 1021747 h 1161573"/>
                <a:gd name="connsiteX1038" fmla="*/ 623888 w 1502283"/>
                <a:gd name="connsiteY1038" fmla="*/ 1019747 h 1161573"/>
                <a:gd name="connsiteX1039" fmla="*/ 626078 w 1502283"/>
                <a:gd name="connsiteY1039" fmla="*/ 1011460 h 1161573"/>
                <a:gd name="connsiteX1040" fmla="*/ 627412 w 1502283"/>
                <a:gd name="connsiteY1040" fmla="*/ 1009650 h 1161573"/>
                <a:gd name="connsiteX1041" fmla="*/ 628364 w 1502283"/>
                <a:gd name="connsiteY1041" fmla="*/ 1004697 h 1161573"/>
                <a:gd name="connsiteX1042" fmla="*/ 633889 w 1502283"/>
                <a:gd name="connsiteY1042" fmla="*/ 997553 h 1161573"/>
                <a:gd name="connsiteX1043" fmla="*/ 639985 w 1502283"/>
                <a:gd name="connsiteY1043" fmla="*/ 995172 h 1161573"/>
                <a:gd name="connsiteX1044" fmla="*/ 644366 w 1502283"/>
                <a:gd name="connsiteY1044" fmla="*/ 991457 h 1161573"/>
                <a:gd name="connsiteX1045" fmla="*/ 644938 w 1502283"/>
                <a:gd name="connsiteY1045" fmla="*/ 983361 h 1161573"/>
                <a:gd name="connsiteX1046" fmla="*/ 643128 w 1502283"/>
                <a:gd name="connsiteY1046" fmla="*/ 982027 h 1161573"/>
                <a:gd name="connsiteX1047" fmla="*/ 642938 w 1502283"/>
                <a:gd name="connsiteY1047" fmla="*/ 980408 h 1161573"/>
                <a:gd name="connsiteX1048" fmla="*/ 645128 w 1502283"/>
                <a:gd name="connsiteY1048" fmla="*/ 972122 h 1161573"/>
                <a:gd name="connsiteX1049" fmla="*/ 650462 w 1502283"/>
                <a:gd name="connsiteY1049" fmla="*/ 963454 h 1161573"/>
                <a:gd name="connsiteX1050" fmla="*/ 649700 w 1502283"/>
                <a:gd name="connsiteY1050" fmla="*/ 957167 h 1161573"/>
                <a:gd name="connsiteX1051" fmla="*/ 652463 w 1502283"/>
                <a:gd name="connsiteY1051" fmla="*/ 953643 h 1161573"/>
                <a:gd name="connsiteX1052" fmla="*/ 661130 w 1502283"/>
                <a:gd name="connsiteY1052" fmla="*/ 946118 h 1161573"/>
                <a:gd name="connsiteX1053" fmla="*/ 660940 w 1502283"/>
                <a:gd name="connsiteY1053" fmla="*/ 944499 h 1161573"/>
                <a:gd name="connsiteX1054" fmla="*/ 657606 w 1502283"/>
                <a:gd name="connsiteY1054" fmla="*/ 943356 h 1161573"/>
                <a:gd name="connsiteX1055" fmla="*/ 660749 w 1502283"/>
                <a:gd name="connsiteY1055" fmla="*/ 942975 h 1161573"/>
                <a:gd name="connsiteX1056" fmla="*/ 671417 w 1502283"/>
                <a:gd name="connsiteY1056" fmla="*/ 951262 h 1161573"/>
                <a:gd name="connsiteX1057" fmla="*/ 687610 w 1502283"/>
                <a:gd name="connsiteY1057" fmla="*/ 952405 h 1161573"/>
                <a:gd name="connsiteX1058" fmla="*/ 698468 w 1502283"/>
                <a:gd name="connsiteY1058" fmla="*/ 949452 h 1161573"/>
                <a:gd name="connsiteX1059" fmla="*/ 700659 w 1502283"/>
                <a:gd name="connsiteY1059" fmla="*/ 954024 h 1161573"/>
                <a:gd name="connsiteX1060" fmla="*/ 705231 w 1502283"/>
                <a:gd name="connsiteY1060" fmla="*/ 951833 h 1161573"/>
                <a:gd name="connsiteX1061" fmla="*/ 710565 w 1502283"/>
                <a:gd name="connsiteY1061" fmla="*/ 943166 h 1161573"/>
                <a:gd name="connsiteX1062" fmla="*/ 714661 w 1502283"/>
                <a:gd name="connsiteY1062" fmla="*/ 937832 h 1161573"/>
                <a:gd name="connsiteX1063" fmla="*/ 725519 w 1502283"/>
                <a:gd name="connsiteY1063" fmla="*/ 947642 h 1161573"/>
                <a:gd name="connsiteX1064" fmla="*/ 727520 w 1502283"/>
                <a:gd name="connsiteY1064" fmla="*/ 950595 h 1161573"/>
                <a:gd name="connsiteX1065" fmla="*/ 735044 w 1502283"/>
                <a:gd name="connsiteY1065" fmla="*/ 959263 h 1161573"/>
                <a:gd name="connsiteX1066" fmla="*/ 746474 w 1502283"/>
                <a:gd name="connsiteY1066" fmla="*/ 960977 h 1161573"/>
                <a:gd name="connsiteX1067" fmla="*/ 755142 w 1502283"/>
                <a:gd name="connsiteY1067" fmla="*/ 966311 h 1161573"/>
                <a:gd name="connsiteX1068" fmla="*/ 754380 w 1502283"/>
                <a:gd name="connsiteY1068" fmla="*/ 972788 h 1161573"/>
                <a:gd name="connsiteX1069" fmla="*/ 765810 w 1502283"/>
                <a:gd name="connsiteY1069" fmla="*/ 974503 h 1161573"/>
                <a:gd name="connsiteX1070" fmla="*/ 770572 w 1502283"/>
                <a:gd name="connsiteY1070" fmla="*/ 973931 h 1161573"/>
                <a:gd name="connsiteX1071" fmla="*/ 780193 w 1502283"/>
                <a:gd name="connsiteY1071" fmla="*/ 974312 h 1161573"/>
                <a:gd name="connsiteX1072" fmla="*/ 781812 w 1502283"/>
                <a:gd name="connsiteY1072" fmla="*/ 974122 h 1161573"/>
                <a:gd name="connsiteX1073" fmla="*/ 782764 w 1502283"/>
                <a:gd name="connsiteY1073" fmla="*/ 969169 h 1161573"/>
                <a:gd name="connsiteX1074" fmla="*/ 790480 w 1502283"/>
                <a:gd name="connsiteY1074" fmla="*/ 966597 h 1161573"/>
                <a:gd name="connsiteX1075" fmla="*/ 790670 w 1502283"/>
                <a:gd name="connsiteY1075" fmla="*/ 968216 h 1161573"/>
                <a:gd name="connsiteX1076" fmla="*/ 797338 w 1502283"/>
                <a:gd name="connsiteY1076" fmla="*/ 970598 h 1161573"/>
                <a:gd name="connsiteX1077" fmla="*/ 804005 w 1502283"/>
                <a:gd name="connsiteY1077" fmla="*/ 972979 h 1161573"/>
                <a:gd name="connsiteX1078" fmla="*/ 806387 w 1502283"/>
                <a:gd name="connsiteY1078" fmla="*/ 979075 h 1161573"/>
                <a:gd name="connsiteX1079" fmla="*/ 813721 w 1502283"/>
                <a:gd name="connsiteY1079" fmla="*/ 986123 h 1161573"/>
                <a:gd name="connsiteX1080" fmla="*/ 817150 w 1502283"/>
                <a:gd name="connsiteY1080" fmla="*/ 1000125 h 1161573"/>
                <a:gd name="connsiteX1081" fmla="*/ 818197 w 1502283"/>
                <a:gd name="connsiteY1081" fmla="*/ 1008031 h 1161573"/>
                <a:gd name="connsiteX1082" fmla="*/ 812863 w 1502283"/>
                <a:gd name="connsiteY1082" fmla="*/ 1016699 h 1161573"/>
                <a:gd name="connsiteX1083" fmla="*/ 813245 w 1502283"/>
                <a:gd name="connsiteY1083" fmla="*/ 1019842 h 1161573"/>
                <a:gd name="connsiteX1084" fmla="*/ 817436 w 1502283"/>
                <a:gd name="connsiteY1084" fmla="*/ 1027367 h 1161573"/>
                <a:gd name="connsiteX1085" fmla="*/ 819817 w 1502283"/>
                <a:gd name="connsiteY1085" fmla="*/ 1033463 h 1161573"/>
                <a:gd name="connsiteX1086" fmla="*/ 822960 w 1502283"/>
                <a:gd name="connsiteY1086" fmla="*/ 1033082 h 1161573"/>
                <a:gd name="connsiteX1087" fmla="*/ 833247 w 1502283"/>
                <a:gd name="connsiteY1087" fmla="*/ 1025366 h 1161573"/>
                <a:gd name="connsiteX1088" fmla="*/ 834771 w 1502283"/>
                <a:gd name="connsiteY1088" fmla="*/ 1025176 h 1161573"/>
                <a:gd name="connsiteX1089" fmla="*/ 836200 w 1502283"/>
                <a:gd name="connsiteY1089" fmla="*/ 1023366 h 1161573"/>
                <a:gd name="connsiteX1090" fmla="*/ 844105 w 1502283"/>
                <a:gd name="connsiteY1090" fmla="*/ 1022318 h 1161573"/>
                <a:gd name="connsiteX1091" fmla="*/ 849058 w 1502283"/>
                <a:gd name="connsiteY1091" fmla="*/ 1023271 h 1161573"/>
                <a:gd name="connsiteX1092" fmla="*/ 850868 w 1502283"/>
                <a:gd name="connsiteY1092" fmla="*/ 1024604 h 1161573"/>
                <a:gd name="connsiteX1093" fmla="*/ 854012 w 1502283"/>
                <a:gd name="connsiteY1093" fmla="*/ 1024223 h 1161573"/>
                <a:gd name="connsiteX1094" fmla="*/ 852678 w 1502283"/>
                <a:gd name="connsiteY1094" fmla="*/ 1026033 h 1161573"/>
                <a:gd name="connsiteX1095" fmla="*/ 852869 w 1502283"/>
                <a:gd name="connsiteY1095" fmla="*/ 1027652 h 1161573"/>
                <a:gd name="connsiteX1096" fmla="*/ 856012 w 1502283"/>
                <a:gd name="connsiteY1096" fmla="*/ 1027271 h 1161573"/>
                <a:gd name="connsiteX1097" fmla="*/ 857822 w 1502283"/>
                <a:gd name="connsiteY1097" fmla="*/ 1028605 h 1161573"/>
                <a:gd name="connsiteX1098" fmla="*/ 858203 w 1502283"/>
                <a:gd name="connsiteY1098" fmla="*/ 1031748 h 1161573"/>
                <a:gd name="connsiteX1099" fmla="*/ 865918 w 1502283"/>
                <a:gd name="connsiteY1099" fmla="*/ 1029176 h 1161573"/>
                <a:gd name="connsiteX1100" fmla="*/ 870109 w 1502283"/>
                <a:gd name="connsiteY1100" fmla="*/ 1036701 h 1161573"/>
                <a:gd name="connsiteX1101" fmla="*/ 870680 w 1502283"/>
                <a:gd name="connsiteY1101" fmla="*/ 1041464 h 1161573"/>
                <a:gd name="connsiteX1102" fmla="*/ 874205 w 1502283"/>
                <a:gd name="connsiteY1102" fmla="*/ 1044226 h 1161573"/>
                <a:gd name="connsiteX1103" fmla="*/ 874395 w 1502283"/>
                <a:gd name="connsiteY1103" fmla="*/ 1045845 h 1161573"/>
                <a:gd name="connsiteX1104" fmla="*/ 878967 w 1502283"/>
                <a:gd name="connsiteY1104" fmla="*/ 1043654 h 1161573"/>
                <a:gd name="connsiteX1105" fmla="*/ 884682 w 1502283"/>
                <a:gd name="connsiteY1105" fmla="*/ 1050893 h 1161573"/>
                <a:gd name="connsiteX1106" fmla="*/ 886301 w 1502283"/>
                <a:gd name="connsiteY1106" fmla="*/ 1050703 h 1161573"/>
                <a:gd name="connsiteX1107" fmla="*/ 889254 w 1502283"/>
                <a:gd name="connsiteY1107" fmla="*/ 1048702 h 1161573"/>
                <a:gd name="connsiteX1108" fmla="*/ 891064 w 1502283"/>
                <a:gd name="connsiteY1108" fmla="*/ 1050036 h 1161573"/>
                <a:gd name="connsiteX1109" fmla="*/ 895826 w 1502283"/>
                <a:gd name="connsiteY1109" fmla="*/ 1049465 h 1161573"/>
                <a:gd name="connsiteX1110" fmla="*/ 902780 w 1502283"/>
                <a:gd name="connsiteY1110" fmla="*/ 1053370 h 1161573"/>
                <a:gd name="connsiteX1111" fmla="*/ 904970 w 1502283"/>
                <a:gd name="connsiteY1111" fmla="*/ 1057942 h 1161573"/>
                <a:gd name="connsiteX1112" fmla="*/ 908875 w 1502283"/>
                <a:gd name="connsiteY1112" fmla="*/ 1050989 h 1161573"/>
                <a:gd name="connsiteX1113" fmla="*/ 913829 w 1502283"/>
                <a:gd name="connsiteY1113" fmla="*/ 1051941 h 1161573"/>
                <a:gd name="connsiteX1114" fmla="*/ 923449 w 1502283"/>
                <a:gd name="connsiteY1114" fmla="*/ 1052322 h 1161573"/>
                <a:gd name="connsiteX1115" fmla="*/ 928973 w 1502283"/>
                <a:gd name="connsiteY1115" fmla="*/ 1045178 h 1161573"/>
                <a:gd name="connsiteX1116" fmla="*/ 934498 w 1502283"/>
                <a:gd name="connsiteY1116" fmla="*/ 1050893 h 1161573"/>
                <a:gd name="connsiteX1117" fmla="*/ 953643 w 1502283"/>
                <a:gd name="connsiteY1117" fmla="*/ 1050036 h 1161573"/>
                <a:gd name="connsiteX1118" fmla="*/ 960120 w 1502283"/>
                <a:gd name="connsiteY1118" fmla="*/ 1037939 h 1161573"/>
                <a:gd name="connsiteX1119" fmla="*/ 964311 w 1502283"/>
                <a:gd name="connsiteY1119" fmla="*/ 1045464 h 1161573"/>
                <a:gd name="connsiteX1120" fmla="*/ 974027 w 1502283"/>
                <a:gd name="connsiteY1120" fmla="*/ 1045845 h 1161573"/>
                <a:gd name="connsiteX1121" fmla="*/ 976979 w 1502283"/>
                <a:gd name="connsiteY1121" fmla="*/ 1043845 h 1161573"/>
                <a:gd name="connsiteX1122" fmla="*/ 980504 w 1502283"/>
                <a:gd name="connsiteY1122" fmla="*/ 1046607 h 1161573"/>
                <a:gd name="connsiteX1123" fmla="*/ 977360 w 1502283"/>
                <a:gd name="connsiteY1123" fmla="*/ 1046988 h 1161573"/>
                <a:gd name="connsiteX1124" fmla="*/ 979551 w 1502283"/>
                <a:gd name="connsiteY1124" fmla="*/ 1051560 h 1161573"/>
                <a:gd name="connsiteX1125" fmla="*/ 983266 w 1502283"/>
                <a:gd name="connsiteY1125" fmla="*/ 1055846 h 1161573"/>
                <a:gd name="connsiteX1126" fmla="*/ 981932 w 1502283"/>
                <a:gd name="connsiteY1126" fmla="*/ 1057656 h 1161573"/>
                <a:gd name="connsiteX1127" fmla="*/ 987266 w 1502283"/>
                <a:gd name="connsiteY1127" fmla="*/ 1061752 h 1161573"/>
                <a:gd name="connsiteX1128" fmla="*/ 988028 w 1502283"/>
                <a:gd name="connsiteY1128" fmla="*/ 1068038 h 1161573"/>
                <a:gd name="connsiteX1129" fmla="*/ 988409 w 1502283"/>
                <a:gd name="connsiteY1129" fmla="*/ 1071182 h 1161573"/>
                <a:gd name="connsiteX1130" fmla="*/ 987266 w 1502283"/>
                <a:gd name="connsiteY1130" fmla="*/ 1074515 h 1161573"/>
                <a:gd name="connsiteX1131" fmla="*/ 989076 w 1502283"/>
                <a:gd name="connsiteY1131" fmla="*/ 1075849 h 1161573"/>
                <a:gd name="connsiteX1132" fmla="*/ 987743 w 1502283"/>
                <a:gd name="connsiteY1132" fmla="*/ 1077659 h 1161573"/>
                <a:gd name="connsiteX1133" fmla="*/ 988123 w 1502283"/>
                <a:gd name="connsiteY1133" fmla="*/ 1080802 h 1161573"/>
                <a:gd name="connsiteX1134" fmla="*/ 986504 w 1502283"/>
                <a:gd name="connsiteY1134" fmla="*/ 1080992 h 1161573"/>
                <a:gd name="connsiteX1135" fmla="*/ 986695 w 1502283"/>
                <a:gd name="connsiteY1135" fmla="*/ 1082611 h 1161573"/>
                <a:gd name="connsiteX1136" fmla="*/ 984123 w 1502283"/>
                <a:gd name="connsiteY1136" fmla="*/ 1087755 h 1161573"/>
                <a:gd name="connsiteX1137" fmla="*/ 984695 w 1502283"/>
                <a:gd name="connsiteY1137" fmla="*/ 1092518 h 1161573"/>
                <a:gd name="connsiteX1138" fmla="*/ 991362 w 1502283"/>
                <a:gd name="connsiteY1138" fmla="*/ 1094899 h 1161573"/>
                <a:gd name="connsiteX1139" fmla="*/ 993553 w 1502283"/>
                <a:gd name="connsiteY1139" fmla="*/ 1099471 h 1161573"/>
                <a:gd name="connsiteX1140" fmla="*/ 992219 w 1502283"/>
                <a:gd name="connsiteY1140" fmla="*/ 1101281 h 1161573"/>
                <a:gd name="connsiteX1141" fmla="*/ 994029 w 1502283"/>
                <a:gd name="connsiteY1141" fmla="*/ 1102614 h 1161573"/>
                <a:gd name="connsiteX1142" fmla="*/ 992696 w 1502283"/>
                <a:gd name="connsiteY1142" fmla="*/ 1104424 h 1161573"/>
                <a:gd name="connsiteX1143" fmla="*/ 994886 w 1502283"/>
                <a:gd name="connsiteY1143" fmla="*/ 1108996 h 1161573"/>
                <a:gd name="connsiteX1144" fmla="*/ 993934 w 1502283"/>
                <a:gd name="connsiteY1144" fmla="*/ 1113949 h 1161573"/>
                <a:gd name="connsiteX1145" fmla="*/ 990981 w 1502283"/>
                <a:gd name="connsiteY1145" fmla="*/ 1115949 h 1161573"/>
                <a:gd name="connsiteX1146" fmla="*/ 993362 w 1502283"/>
                <a:gd name="connsiteY1146" fmla="*/ 1122045 h 1161573"/>
                <a:gd name="connsiteX1147" fmla="*/ 992029 w 1502283"/>
                <a:gd name="connsiteY1147" fmla="*/ 1123855 h 1161573"/>
                <a:gd name="connsiteX1148" fmla="*/ 995744 w 1502283"/>
                <a:gd name="connsiteY1148" fmla="*/ 1128141 h 1161573"/>
                <a:gd name="connsiteX1149" fmla="*/ 997363 w 1502283"/>
                <a:gd name="connsiteY1149" fmla="*/ 1127951 h 1161573"/>
                <a:gd name="connsiteX1150" fmla="*/ 997934 w 1502283"/>
                <a:gd name="connsiteY1150" fmla="*/ 1132713 h 1161573"/>
                <a:gd name="connsiteX1151" fmla="*/ 996601 w 1502283"/>
                <a:gd name="connsiteY1151" fmla="*/ 1134523 h 1161573"/>
                <a:gd name="connsiteX1152" fmla="*/ 997363 w 1502283"/>
                <a:gd name="connsiteY1152" fmla="*/ 1140809 h 1161573"/>
                <a:gd name="connsiteX1153" fmla="*/ 993457 w 1502283"/>
                <a:gd name="connsiteY1153" fmla="*/ 1147763 h 1161573"/>
                <a:gd name="connsiteX1154" fmla="*/ 992505 w 1502283"/>
                <a:gd name="connsiteY1154" fmla="*/ 1152716 h 1161573"/>
                <a:gd name="connsiteX1155" fmla="*/ 999172 w 1502283"/>
                <a:gd name="connsiteY1155" fmla="*/ 1155097 h 1161573"/>
                <a:gd name="connsiteX1156" fmla="*/ 1007459 w 1502283"/>
                <a:gd name="connsiteY1156" fmla="*/ 1157288 h 1161573"/>
                <a:gd name="connsiteX1157" fmla="*/ 1011174 w 1502283"/>
                <a:gd name="connsiteY1157" fmla="*/ 1161574 h 1161573"/>
                <a:gd name="connsiteX1158" fmla="*/ 1010983 w 1502283"/>
                <a:gd name="connsiteY1158" fmla="*/ 1159955 h 1161573"/>
                <a:gd name="connsiteX1159" fmla="*/ 1010412 w 1502283"/>
                <a:gd name="connsiteY1159" fmla="*/ 1155192 h 1161573"/>
                <a:gd name="connsiteX1160" fmla="*/ 1015365 w 1502283"/>
                <a:gd name="connsiteY1160" fmla="*/ 1156144 h 1161573"/>
                <a:gd name="connsiteX1161" fmla="*/ 1016889 w 1502283"/>
                <a:gd name="connsiteY1161" fmla="*/ 1155954 h 1161573"/>
                <a:gd name="connsiteX1162" fmla="*/ 1015079 w 1502283"/>
                <a:gd name="connsiteY1162" fmla="*/ 1154621 h 1161573"/>
                <a:gd name="connsiteX1163" fmla="*/ 1014698 w 1502283"/>
                <a:gd name="connsiteY1163" fmla="*/ 1151477 h 1161573"/>
                <a:gd name="connsiteX1164" fmla="*/ 1017841 w 1502283"/>
                <a:gd name="connsiteY1164" fmla="*/ 1151096 h 1161573"/>
                <a:gd name="connsiteX1165" fmla="*/ 1017080 w 1502283"/>
                <a:gd name="connsiteY1165" fmla="*/ 1144810 h 1161573"/>
                <a:gd name="connsiteX1166" fmla="*/ 1018604 w 1502283"/>
                <a:gd name="connsiteY1166" fmla="*/ 1144619 h 1161573"/>
                <a:gd name="connsiteX1167" fmla="*/ 1020794 w 1502283"/>
                <a:gd name="connsiteY1167" fmla="*/ 1149191 h 1161573"/>
                <a:gd name="connsiteX1168" fmla="*/ 1020223 w 1502283"/>
                <a:gd name="connsiteY1168" fmla="*/ 1144429 h 1161573"/>
                <a:gd name="connsiteX1169" fmla="*/ 1025366 w 1502283"/>
                <a:gd name="connsiteY1169" fmla="*/ 1147001 h 1161573"/>
                <a:gd name="connsiteX1170" fmla="*/ 1026795 w 1502283"/>
                <a:gd name="connsiteY1170" fmla="*/ 1145191 h 1161573"/>
                <a:gd name="connsiteX1171" fmla="*/ 1023271 w 1502283"/>
                <a:gd name="connsiteY1171" fmla="*/ 1142428 h 1161573"/>
                <a:gd name="connsiteX1172" fmla="*/ 1026414 w 1502283"/>
                <a:gd name="connsiteY1172" fmla="*/ 1142048 h 1161573"/>
                <a:gd name="connsiteX1173" fmla="*/ 1020508 w 1502283"/>
                <a:gd name="connsiteY1173" fmla="*/ 1133189 h 1161573"/>
                <a:gd name="connsiteX1174" fmla="*/ 1021937 w 1502283"/>
                <a:gd name="connsiteY1174" fmla="*/ 1131380 h 1161573"/>
                <a:gd name="connsiteX1175" fmla="*/ 1027271 w 1502283"/>
                <a:gd name="connsiteY1175" fmla="*/ 1135475 h 1161573"/>
                <a:gd name="connsiteX1176" fmla="*/ 1025080 w 1502283"/>
                <a:gd name="connsiteY1176" fmla="*/ 1130903 h 1161573"/>
                <a:gd name="connsiteX1177" fmla="*/ 1029653 w 1502283"/>
                <a:gd name="connsiteY1177" fmla="*/ 1128713 h 1161573"/>
                <a:gd name="connsiteX1178" fmla="*/ 1024319 w 1502283"/>
                <a:gd name="connsiteY1178" fmla="*/ 1124617 h 1161573"/>
                <a:gd name="connsiteX1179" fmla="*/ 1032034 w 1502283"/>
                <a:gd name="connsiteY1179" fmla="*/ 1122045 h 1161573"/>
                <a:gd name="connsiteX1180" fmla="*/ 1026700 w 1502283"/>
                <a:gd name="connsiteY1180" fmla="*/ 1117949 h 1161573"/>
                <a:gd name="connsiteX1181" fmla="*/ 1026223 w 1502283"/>
                <a:gd name="connsiteY1181" fmla="*/ 1101947 h 1161573"/>
                <a:gd name="connsiteX1182" fmla="*/ 1030510 w 1502283"/>
                <a:gd name="connsiteY1182" fmla="*/ 1098233 h 1161573"/>
                <a:gd name="connsiteX1183" fmla="*/ 1026795 w 1502283"/>
                <a:gd name="connsiteY1183" fmla="*/ 1093946 h 1161573"/>
                <a:gd name="connsiteX1184" fmla="*/ 1028129 w 1502283"/>
                <a:gd name="connsiteY1184" fmla="*/ 1092136 h 1161573"/>
                <a:gd name="connsiteX1185" fmla="*/ 1030319 w 1502283"/>
                <a:gd name="connsiteY1185" fmla="*/ 1096709 h 1161573"/>
                <a:gd name="connsiteX1186" fmla="*/ 1031653 w 1502283"/>
                <a:gd name="connsiteY1186" fmla="*/ 1094899 h 1161573"/>
                <a:gd name="connsiteX1187" fmla="*/ 1030891 w 1502283"/>
                <a:gd name="connsiteY1187" fmla="*/ 1088612 h 1161573"/>
                <a:gd name="connsiteX1188" fmla="*/ 1032510 w 1502283"/>
                <a:gd name="connsiteY1188" fmla="*/ 1088422 h 1161573"/>
                <a:gd name="connsiteX1189" fmla="*/ 1031938 w 1502283"/>
                <a:gd name="connsiteY1189" fmla="*/ 1083659 h 1161573"/>
                <a:gd name="connsiteX1190" fmla="*/ 1034891 w 1502283"/>
                <a:gd name="connsiteY1190" fmla="*/ 1081659 h 1161573"/>
                <a:gd name="connsiteX1191" fmla="*/ 1034129 w 1502283"/>
                <a:gd name="connsiteY1191" fmla="*/ 1075373 h 1161573"/>
                <a:gd name="connsiteX1192" fmla="*/ 1035463 w 1502283"/>
                <a:gd name="connsiteY1192" fmla="*/ 1073563 h 1161573"/>
                <a:gd name="connsiteX1193" fmla="*/ 1038987 w 1502283"/>
                <a:gd name="connsiteY1193" fmla="*/ 1076325 h 1161573"/>
                <a:gd name="connsiteX1194" fmla="*/ 1042130 w 1502283"/>
                <a:gd name="connsiteY1194" fmla="*/ 1075944 h 1161573"/>
                <a:gd name="connsiteX1195" fmla="*/ 1041940 w 1502283"/>
                <a:gd name="connsiteY1195" fmla="*/ 1074325 h 1161573"/>
                <a:gd name="connsiteX1196" fmla="*/ 1043083 w 1502283"/>
                <a:gd name="connsiteY1196" fmla="*/ 1070991 h 1161573"/>
                <a:gd name="connsiteX1197" fmla="*/ 1046607 w 1502283"/>
                <a:gd name="connsiteY1197" fmla="*/ 1073753 h 1161573"/>
                <a:gd name="connsiteX1198" fmla="*/ 1049179 w 1502283"/>
                <a:gd name="connsiteY1198" fmla="*/ 1068610 h 1161573"/>
                <a:gd name="connsiteX1199" fmla="*/ 1044416 w 1502283"/>
                <a:gd name="connsiteY1199" fmla="*/ 1069181 h 1161573"/>
                <a:gd name="connsiteX1200" fmla="*/ 1045750 w 1502283"/>
                <a:gd name="connsiteY1200" fmla="*/ 1067372 h 1161573"/>
                <a:gd name="connsiteX1201" fmla="*/ 1042416 w 1502283"/>
                <a:gd name="connsiteY1201" fmla="*/ 1066228 h 1161573"/>
                <a:gd name="connsiteX1202" fmla="*/ 1043749 w 1502283"/>
                <a:gd name="connsiteY1202" fmla="*/ 1064419 h 1161573"/>
                <a:gd name="connsiteX1203" fmla="*/ 1053179 w 1502283"/>
                <a:gd name="connsiteY1203" fmla="*/ 1063181 h 1161573"/>
                <a:gd name="connsiteX1204" fmla="*/ 1048036 w 1502283"/>
                <a:gd name="connsiteY1204" fmla="*/ 1060609 h 1161573"/>
                <a:gd name="connsiteX1205" fmla="*/ 1049179 w 1502283"/>
                <a:gd name="connsiteY1205" fmla="*/ 1057275 h 1161573"/>
                <a:gd name="connsiteX1206" fmla="*/ 1047845 w 1502283"/>
                <a:gd name="connsiteY1206" fmla="*/ 1059085 h 1161573"/>
                <a:gd name="connsiteX1207" fmla="*/ 1046036 w 1502283"/>
                <a:gd name="connsiteY1207" fmla="*/ 1057751 h 1161573"/>
                <a:gd name="connsiteX1208" fmla="*/ 1047179 w 1502283"/>
                <a:gd name="connsiteY1208" fmla="*/ 1054418 h 1161573"/>
                <a:gd name="connsiteX1209" fmla="*/ 1048988 w 1502283"/>
                <a:gd name="connsiteY1209" fmla="*/ 1055751 h 1161573"/>
                <a:gd name="connsiteX1210" fmla="*/ 1047179 w 1502283"/>
                <a:gd name="connsiteY1210" fmla="*/ 1054418 h 1161573"/>
                <a:gd name="connsiteX1211" fmla="*/ 1048131 w 1502283"/>
                <a:gd name="connsiteY1211" fmla="*/ 1049465 h 1161573"/>
                <a:gd name="connsiteX1212" fmla="*/ 1049941 w 1502283"/>
                <a:gd name="connsiteY1212" fmla="*/ 1050798 h 1161573"/>
                <a:gd name="connsiteX1213" fmla="*/ 1051370 w 1502283"/>
                <a:gd name="connsiteY1213" fmla="*/ 1048988 h 1161573"/>
                <a:gd name="connsiteX1214" fmla="*/ 1049560 w 1502283"/>
                <a:gd name="connsiteY1214" fmla="*/ 1047655 h 1161573"/>
                <a:gd name="connsiteX1215" fmla="*/ 1048988 w 1502283"/>
                <a:gd name="connsiteY1215" fmla="*/ 1042892 h 1161573"/>
                <a:gd name="connsiteX1216" fmla="*/ 1051941 w 1502283"/>
                <a:gd name="connsiteY1216" fmla="*/ 1040892 h 1161573"/>
                <a:gd name="connsiteX1217" fmla="*/ 1048798 w 1502283"/>
                <a:gd name="connsiteY1217" fmla="*/ 1041273 h 1161573"/>
                <a:gd name="connsiteX1218" fmla="*/ 1048226 w 1502283"/>
                <a:gd name="connsiteY1218" fmla="*/ 1036510 h 1161573"/>
                <a:gd name="connsiteX1219" fmla="*/ 1046607 w 1502283"/>
                <a:gd name="connsiteY1219" fmla="*/ 1036701 h 1161573"/>
                <a:gd name="connsiteX1220" fmla="*/ 1044988 w 1502283"/>
                <a:gd name="connsiteY1220" fmla="*/ 1036892 h 1161573"/>
                <a:gd name="connsiteX1221" fmla="*/ 1049369 w 1502283"/>
                <a:gd name="connsiteY1221" fmla="*/ 1033177 h 1161573"/>
                <a:gd name="connsiteX1222" fmla="*/ 1052703 w 1502283"/>
                <a:gd name="connsiteY1222" fmla="*/ 1034320 h 1161573"/>
                <a:gd name="connsiteX1223" fmla="*/ 1052322 w 1502283"/>
                <a:gd name="connsiteY1223" fmla="*/ 1031176 h 1161573"/>
                <a:gd name="connsiteX1224" fmla="*/ 1055656 w 1502283"/>
                <a:gd name="connsiteY1224" fmla="*/ 1032319 h 1161573"/>
                <a:gd name="connsiteX1225" fmla="*/ 1056799 w 1502283"/>
                <a:gd name="connsiteY1225" fmla="*/ 1028986 h 1161573"/>
                <a:gd name="connsiteX1226" fmla="*/ 1057751 w 1502283"/>
                <a:gd name="connsiteY1226" fmla="*/ 1024033 h 1161573"/>
                <a:gd name="connsiteX1227" fmla="*/ 1059561 w 1502283"/>
                <a:gd name="connsiteY1227" fmla="*/ 1025366 h 1161573"/>
                <a:gd name="connsiteX1228" fmla="*/ 1058989 w 1502283"/>
                <a:gd name="connsiteY1228" fmla="*/ 1020604 h 1161573"/>
                <a:gd name="connsiteX1229" fmla="*/ 1065276 w 1502283"/>
                <a:gd name="connsiteY1229" fmla="*/ 1019842 h 1161573"/>
                <a:gd name="connsiteX1230" fmla="*/ 1064514 w 1502283"/>
                <a:gd name="connsiteY1230" fmla="*/ 1013555 h 1161573"/>
                <a:gd name="connsiteX1231" fmla="*/ 1066895 w 1502283"/>
                <a:gd name="connsiteY1231" fmla="*/ 1006793 h 1161573"/>
                <a:gd name="connsiteX1232" fmla="*/ 1072801 w 1502283"/>
                <a:gd name="connsiteY1232" fmla="*/ 1002792 h 1161573"/>
                <a:gd name="connsiteX1233" fmla="*/ 1075373 w 1502283"/>
                <a:gd name="connsiteY1233" fmla="*/ 997649 h 1161573"/>
                <a:gd name="connsiteX1234" fmla="*/ 1079659 w 1502283"/>
                <a:gd name="connsiteY1234" fmla="*/ 993934 h 1161573"/>
                <a:gd name="connsiteX1235" fmla="*/ 1079468 w 1502283"/>
                <a:gd name="connsiteY1235" fmla="*/ 992315 h 1161573"/>
                <a:gd name="connsiteX1236" fmla="*/ 1076706 w 1502283"/>
                <a:gd name="connsiteY1236" fmla="*/ 995839 h 1161573"/>
                <a:gd name="connsiteX1237" fmla="*/ 1074896 w 1502283"/>
                <a:gd name="connsiteY1237" fmla="*/ 994505 h 1161573"/>
                <a:gd name="connsiteX1238" fmla="*/ 1078230 w 1502283"/>
                <a:gd name="connsiteY1238" fmla="*/ 982885 h 1161573"/>
                <a:gd name="connsiteX1239" fmla="*/ 1078039 w 1502283"/>
                <a:gd name="connsiteY1239" fmla="*/ 981266 h 1161573"/>
                <a:gd name="connsiteX1240" fmla="*/ 1083183 w 1502283"/>
                <a:gd name="connsiteY1240" fmla="*/ 983837 h 1161573"/>
                <a:gd name="connsiteX1241" fmla="*/ 1084326 w 1502283"/>
                <a:gd name="connsiteY1241" fmla="*/ 980503 h 1161573"/>
                <a:gd name="connsiteX1242" fmla="*/ 1086136 w 1502283"/>
                <a:gd name="connsiteY1242" fmla="*/ 981837 h 1161573"/>
                <a:gd name="connsiteX1243" fmla="*/ 1087469 w 1502283"/>
                <a:gd name="connsiteY1243" fmla="*/ 980027 h 1161573"/>
                <a:gd name="connsiteX1244" fmla="*/ 1085660 w 1502283"/>
                <a:gd name="connsiteY1244" fmla="*/ 978694 h 1161573"/>
                <a:gd name="connsiteX1245" fmla="*/ 1090613 w 1502283"/>
                <a:gd name="connsiteY1245" fmla="*/ 979646 h 1161573"/>
                <a:gd name="connsiteX1246" fmla="*/ 1093565 w 1502283"/>
                <a:gd name="connsiteY1246" fmla="*/ 977646 h 1161573"/>
                <a:gd name="connsiteX1247" fmla="*/ 1088422 w 1502283"/>
                <a:gd name="connsiteY1247" fmla="*/ 975074 h 1161573"/>
                <a:gd name="connsiteX1248" fmla="*/ 1088231 w 1502283"/>
                <a:gd name="connsiteY1248" fmla="*/ 973455 h 1161573"/>
                <a:gd name="connsiteX1249" fmla="*/ 1090041 w 1502283"/>
                <a:gd name="connsiteY1249" fmla="*/ 974789 h 1161573"/>
                <a:gd name="connsiteX1250" fmla="*/ 1094804 w 1502283"/>
                <a:gd name="connsiteY1250" fmla="*/ 974217 h 1161573"/>
                <a:gd name="connsiteX1251" fmla="*/ 1094423 w 1502283"/>
                <a:gd name="connsiteY1251" fmla="*/ 971074 h 1161573"/>
                <a:gd name="connsiteX1252" fmla="*/ 1095756 w 1502283"/>
                <a:gd name="connsiteY1252" fmla="*/ 969264 h 1161573"/>
                <a:gd name="connsiteX1253" fmla="*/ 1097566 w 1502283"/>
                <a:gd name="connsiteY1253" fmla="*/ 970598 h 1161573"/>
                <a:gd name="connsiteX1254" fmla="*/ 1097185 w 1502283"/>
                <a:gd name="connsiteY1254" fmla="*/ 967454 h 1161573"/>
                <a:gd name="connsiteX1255" fmla="*/ 1098804 w 1502283"/>
                <a:gd name="connsiteY1255" fmla="*/ 967264 h 1161573"/>
                <a:gd name="connsiteX1256" fmla="*/ 1103186 w 1502283"/>
                <a:gd name="connsiteY1256" fmla="*/ 963549 h 1161573"/>
                <a:gd name="connsiteX1257" fmla="*/ 1105186 w 1502283"/>
                <a:gd name="connsiteY1257" fmla="*/ 966502 h 1161573"/>
                <a:gd name="connsiteX1258" fmla="*/ 1112044 w 1502283"/>
                <a:gd name="connsiteY1258" fmla="*/ 957643 h 1161573"/>
                <a:gd name="connsiteX1259" fmla="*/ 1108710 w 1502283"/>
                <a:gd name="connsiteY1259" fmla="*/ 956501 h 1161573"/>
                <a:gd name="connsiteX1260" fmla="*/ 1109472 w 1502283"/>
                <a:gd name="connsiteY1260" fmla="*/ 950024 h 1161573"/>
                <a:gd name="connsiteX1261" fmla="*/ 1112234 w 1502283"/>
                <a:gd name="connsiteY1261" fmla="*/ 946499 h 1161573"/>
                <a:gd name="connsiteX1262" fmla="*/ 1113854 w 1502283"/>
                <a:gd name="connsiteY1262" fmla="*/ 946309 h 1161573"/>
                <a:gd name="connsiteX1263" fmla="*/ 1111853 w 1502283"/>
                <a:gd name="connsiteY1263" fmla="*/ 943356 h 1161573"/>
                <a:gd name="connsiteX1264" fmla="*/ 1113473 w 1502283"/>
                <a:gd name="connsiteY1264" fmla="*/ 943166 h 1161573"/>
                <a:gd name="connsiteX1265" fmla="*/ 1114997 w 1502283"/>
                <a:gd name="connsiteY1265" fmla="*/ 942975 h 1161573"/>
                <a:gd name="connsiteX1266" fmla="*/ 1114615 w 1502283"/>
                <a:gd name="connsiteY1266" fmla="*/ 939832 h 1161573"/>
                <a:gd name="connsiteX1267" fmla="*/ 1117759 w 1502283"/>
                <a:gd name="connsiteY1267" fmla="*/ 939451 h 1161573"/>
                <a:gd name="connsiteX1268" fmla="*/ 1117378 w 1502283"/>
                <a:gd name="connsiteY1268" fmla="*/ 936308 h 1161573"/>
                <a:gd name="connsiteX1269" fmla="*/ 1120140 w 1502283"/>
                <a:gd name="connsiteY1269" fmla="*/ 932783 h 1161573"/>
                <a:gd name="connsiteX1270" fmla="*/ 1121093 w 1502283"/>
                <a:gd name="connsiteY1270" fmla="*/ 927830 h 1161573"/>
                <a:gd name="connsiteX1271" fmla="*/ 1118521 w 1502283"/>
                <a:gd name="connsiteY1271" fmla="*/ 920115 h 1161573"/>
                <a:gd name="connsiteX1272" fmla="*/ 1120712 w 1502283"/>
                <a:gd name="connsiteY1272" fmla="*/ 911828 h 1161573"/>
                <a:gd name="connsiteX1273" fmla="*/ 1118902 w 1502283"/>
                <a:gd name="connsiteY1273" fmla="*/ 910495 h 1161573"/>
                <a:gd name="connsiteX1274" fmla="*/ 1123188 w 1502283"/>
                <a:gd name="connsiteY1274" fmla="*/ 906780 h 1161573"/>
                <a:gd name="connsiteX1275" fmla="*/ 1121188 w 1502283"/>
                <a:gd name="connsiteY1275" fmla="*/ 903827 h 1161573"/>
                <a:gd name="connsiteX1276" fmla="*/ 1124331 w 1502283"/>
                <a:gd name="connsiteY1276" fmla="*/ 903446 h 1161573"/>
                <a:gd name="connsiteX1277" fmla="*/ 1126903 w 1502283"/>
                <a:gd name="connsiteY1277" fmla="*/ 898303 h 1161573"/>
                <a:gd name="connsiteX1278" fmla="*/ 1138714 w 1502283"/>
                <a:gd name="connsiteY1278" fmla="*/ 903160 h 1161573"/>
                <a:gd name="connsiteX1279" fmla="*/ 1146620 w 1502283"/>
                <a:gd name="connsiteY1279" fmla="*/ 902113 h 1161573"/>
                <a:gd name="connsiteX1280" fmla="*/ 1149763 w 1502283"/>
                <a:gd name="connsiteY1280" fmla="*/ 901732 h 1161573"/>
                <a:gd name="connsiteX1281" fmla="*/ 1150715 w 1502283"/>
                <a:gd name="connsiteY1281" fmla="*/ 896779 h 1161573"/>
                <a:gd name="connsiteX1282" fmla="*/ 1153668 w 1502283"/>
                <a:gd name="connsiteY1282" fmla="*/ 894778 h 1161573"/>
                <a:gd name="connsiteX1283" fmla="*/ 1153668 w 1502283"/>
                <a:gd name="connsiteY1283" fmla="*/ 894778 h 1161573"/>
                <a:gd name="connsiteX1284" fmla="*/ 1150525 w 1502283"/>
                <a:gd name="connsiteY1284" fmla="*/ 895159 h 1161573"/>
                <a:gd name="connsiteX1285" fmla="*/ 1151287 w 1502283"/>
                <a:gd name="connsiteY1285" fmla="*/ 888683 h 1161573"/>
                <a:gd name="connsiteX1286" fmla="*/ 1153287 w 1502283"/>
                <a:gd name="connsiteY1286" fmla="*/ 891635 h 1161573"/>
                <a:gd name="connsiteX1287" fmla="*/ 1157764 w 1502283"/>
                <a:gd name="connsiteY1287" fmla="*/ 889444 h 1161573"/>
                <a:gd name="connsiteX1288" fmla="*/ 1155764 w 1502283"/>
                <a:gd name="connsiteY1288" fmla="*/ 886492 h 1161573"/>
                <a:gd name="connsiteX1289" fmla="*/ 1160716 w 1502283"/>
                <a:gd name="connsiteY1289" fmla="*/ 887444 h 1161573"/>
                <a:gd name="connsiteX1290" fmla="*/ 1160526 w 1502283"/>
                <a:gd name="connsiteY1290" fmla="*/ 885825 h 1161573"/>
                <a:gd name="connsiteX1291" fmla="*/ 1158526 w 1502283"/>
                <a:gd name="connsiteY1291" fmla="*/ 882872 h 1161573"/>
                <a:gd name="connsiteX1292" fmla="*/ 1161669 w 1502283"/>
                <a:gd name="connsiteY1292" fmla="*/ 882491 h 1161573"/>
                <a:gd name="connsiteX1293" fmla="*/ 1164622 w 1502283"/>
                <a:gd name="connsiteY1293" fmla="*/ 880491 h 1161573"/>
                <a:gd name="connsiteX1294" fmla="*/ 1162622 w 1502283"/>
                <a:gd name="connsiteY1294" fmla="*/ 877538 h 1161573"/>
                <a:gd name="connsiteX1295" fmla="*/ 1165574 w 1502283"/>
                <a:gd name="connsiteY1295" fmla="*/ 875538 h 1161573"/>
                <a:gd name="connsiteX1296" fmla="*/ 1167194 w 1502283"/>
                <a:gd name="connsiteY1296" fmla="*/ 875348 h 1161573"/>
                <a:gd name="connsiteX1297" fmla="*/ 1166241 w 1502283"/>
                <a:gd name="connsiteY1297" fmla="*/ 880301 h 1161573"/>
                <a:gd name="connsiteX1298" fmla="*/ 1169384 w 1502283"/>
                <a:gd name="connsiteY1298" fmla="*/ 879919 h 1161573"/>
                <a:gd name="connsiteX1299" fmla="*/ 1169003 w 1502283"/>
                <a:gd name="connsiteY1299" fmla="*/ 876776 h 1161573"/>
                <a:gd name="connsiteX1300" fmla="*/ 1166813 w 1502283"/>
                <a:gd name="connsiteY1300" fmla="*/ 872204 h 1161573"/>
                <a:gd name="connsiteX1301" fmla="*/ 1166431 w 1502283"/>
                <a:gd name="connsiteY1301" fmla="*/ 869061 h 1161573"/>
                <a:gd name="connsiteX1302" fmla="*/ 1167765 w 1502283"/>
                <a:gd name="connsiteY1302" fmla="*/ 867251 h 1161573"/>
                <a:gd name="connsiteX1303" fmla="*/ 1174528 w 1502283"/>
                <a:gd name="connsiteY1303" fmla="*/ 869633 h 1161573"/>
                <a:gd name="connsiteX1304" fmla="*/ 1173956 w 1502283"/>
                <a:gd name="connsiteY1304" fmla="*/ 864870 h 1161573"/>
                <a:gd name="connsiteX1305" fmla="*/ 1179671 w 1502283"/>
                <a:gd name="connsiteY1305" fmla="*/ 859346 h 1161573"/>
                <a:gd name="connsiteX1306" fmla="*/ 1182814 w 1502283"/>
                <a:gd name="connsiteY1306" fmla="*/ 858965 h 1161573"/>
                <a:gd name="connsiteX1307" fmla="*/ 1182814 w 1502283"/>
                <a:gd name="connsiteY1307" fmla="*/ 858965 h 1161573"/>
                <a:gd name="connsiteX1308" fmla="*/ 1185958 w 1502283"/>
                <a:gd name="connsiteY1308" fmla="*/ 858584 h 1161573"/>
                <a:gd name="connsiteX1309" fmla="*/ 1187577 w 1502283"/>
                <a:gd name="connsiteY1309" fmla="*/ 858393 h 1161573"/>
                <a:gd name="connsiteX1310" fmla="*/ 1187768 w 1502283"/>
                <a:gd name="connsiteY1310" fmla="*/ 860012 h 1161573"/>
                <a:gd name="connsiteX1311" fmla="*/ 1189577 w 1502283"/>
                <a:gd name="connsiteY1311" fmla="*/ 861346 h 1161573"/>
                <a:gd name="connsiteX1312" fmla="*/ 1190911 w 1502283"/>
                <a:gd name="connsiteY1312" fmla="*/ 859536 h 1161573"/>
                <a:gd name="connsiteX1313" fmla="*/ 1196054 w 1502283"/>
                <a:gd name="connsiteY1313" fmla="*/ 862108 h 1161573"/>
                <a:gd name="connsiteX1314" fmla="*/ 1200340 w 1502283"/>
                <a:gd name="connsiteY1314" fmla="*/ 858393 h 1161573"/>
                <a:gd name="connsiteX1315" fmla="*/ 1202531 w 1502283"/>
                <a:gd name="connsiteY1315" fmla="*/ 862965 h 1161573"/>
                <a:gd name="connsiteX1316" fmla="*/ 1205865 w 1502283"/>
                <a:gd name="connsiteY1316" fmla="*/ 864108 h 1161573"/>
                <a:gd name="connsiteX1317" fmla="*/ 1209389 w 1502283"/>
                <a:gd name="connsiteY1317" fmla="*/ 866870 h 1161573"/>
                <a:gd name="connsiteX1318" fmla="*/ 1217295 w 1502283"/>
                <a:gd name="connsiteY1318" fmla="*/ 865823 h 1161573"/>
                <a:gd name="connsiteX1319" fmla="*/ 1221296 w 1502283"/>
                <a:gd name="connsiteY1319" fmla="*/ 871728 h 1161573"/>
                <a:gd name="connsiteX1320" fmla="*/ 1227963 w 1502283"/>
                <a:gd name="connsiteY1320" fmla="*/ 874109 h 1161573"/>
                <a:gd name="connsiteX1321" fmla="*/ 1234249 w 1502283"/>
                <a:gd name="connsiteY1321" fmla="*/ 873347 h 1161573"/>
                <a:gd name="connsiteX1322" fmla="*/ 1240727 w 1502283"/>
                <a:gd name="connsiteY1322" fmla="*/ 874109 h 1161573"/>
                <a:gd name="connsiteX1323" fmla="*/ 1243108 w 1502283"/>
                <a:gd name="connsiteY1323" fmla="*/ 880205 h 1161573"/>
                <a:gd name="connsiteX1324" fmla="*/ 1255205 w 1502283"/>
                <a:gd name="connsiteY1324" fmla="*/ 886682 h 1161573"/>
                <a:gd name="connsiteX1325" fmla="*/ 1259205 w 1502283"/>
                <a:gd name="connsiteY1325" fmla="*/ 892588 h 1161573"/>
                <a:gd name="connsiteX1326" fmla="*/ 1264158 w 1502283"/>
                <a:gd name="connsiteY1326" fmla="*/ 893540 h 1161573"/>
                <a:gd name="connsiteX1327" fmla="*/ 1270254 w 1502283"/>
                <a:gd name="connsiteY1327" fmla="*/ 891159 h 1161573"/>
                <a:gd name="connsiteX1328" fmla="*/ 1272064 w 1502283"/>
                <a:gd name="connsiteY1328" fmla="*/ 892493 h 1161573"/>
                <a:gd name="connsiteX1329" fmla="*/ 1274445 w 1502283"/>
                <a:gd name="connsiteY1329" fmla="*/ 898589 h 1161573"/>
                <a:gd name="connsiteX1330" fmla="*/ 1280160 w 1502283"/>
                <a:gd name="connsiteY1330" fmla="*/ 905827 h 1161573"/>
                <a:gd name="connsiteX1331" fmla="*/ 1290638 w 1502283"/>
                <a:gd name="connsiteY1331" fmla="*/ 912495 h 1161573"/>
                <a:gd name="connsiteX1332" fmla="*/ 1292828 w 1502283"/>
                <a:gd name="connsiteY1332" fmla="*/ 917067 h 1161573"/>
                <a:gd name="connsiteX1333" fmla="*/ 1295972 w 1502283"/>
                <a:gd name="connsiteY1333" fmla="*/ 916686 h 1161573"/>
                <a:gd name="connsiteX1334" fmla="*/ 1302068 w 1502283"/>
                <a:gd name="connsiteY1334" fmla="*/ 927164 h 1161573"/>
                <a:gd name="connsiteX1335" fmla="*/ 1314069 w 1502283"/>
                <a:gd name="connsiteY1335" fmla="*/ 920782 h 1161573"/>
                <a:gd name="connsiteX1336" fmla="*/ 1319213 w 1502283"/>
                <a:gd name="connsiteY1336" fmla="*/ 923353 h 1161573"/>
                <a:gd name="connsiteX1337" fmla="*/ 1322356 w 1502283"/>
                <a:gd name="connsiteY1337" fmla="*/ 922973 h 1161573"/>
                <a:gd name="connsiteX1338" fmla="*/ 1325880 w 1502283"/>
                <a:gd name="connsiteY1338" fmla="*/ 925735 h 1161573"/>
                <a:gd name="connsiteX1339" fmla="*/ 1331405 w 1502283"/>
                <a:gd name="connsiteY1339" fmla="*/ 918591 h 1161573"/>
                <a:gd name="connsiteX1340" fmla="*/ 1338644 w 1502283"/>
                <a:gd name="connsiteY1340" fmla="*/ 912876 h 1161573"/>
                <a:gd name="connsiteX1341" fmla="*/ 1341406 w 1502283"/>
                <a:gd name="connsiteY1341" fmla="*/ 909352 h 1161573"/>
                <a:gd name="connsiteX1342" fmla="*/ 1347883 w 1502283"/>
                <a:gd name="connsiteY1342" fmla="*/ 910114 h 1161573"/>
                <a:gd name="connsiteX1343" fmla="*/ 1350455 w 1502283"/>
                <a:gd name="connsiteY1343" fmla="*/ 904970 h 1161573"/>
                <a:gd name="connsiteX1344" fmla="*/ 1353979 w 1502283"/>
                <a:gd name="connsiteY1344" fmla="*/ 894874 h 1161573"/>
                <a:gd name="connsiteX1345" fmla="*/ 1359313 w 1502283"/>
                <a:gd name="connsiteY1345" fmla="*/ 898969 h 1161573"/>
                <a:gd name="connsiteX1346" fmla="*/ 1358741 w 1502283"/>
                <a:gd name="connsiteY1346" fmla="*/ 894207 h 1161573"/>
                <a:gd name="connsiteX1347" fmla="*/ 1364266 w 1502283"/>
                <a:gd name="connsiteY1347" fmla="*/ 887063 h 1161573"/>
                <a:gd name="connsiteX1348" fmla="*/ 1382649 w 1502283"/>
                <a:gd name="connsiteY1348" fmla="*/ 892778 h 1161573"/>
                <a:gd name="connsiteX1349" fmla="*/ 1387793 w 1502283"/>
                <a:gd name="connsiteY1349" fmla="*/ 895350 h 1161573"/>
                <a:gd name="connsiteX1350" fmla="*/ 1395698 w 1502283"/>
                <a:gd name="connsiteY1350" fmla="*/ 907161 h 1161573"/>
                <a:gd name="connsiteX1351" fmla="*/ 1406747 w 1502283"/>
                <a:gd name="connsiteY1351" fmla="*/ 918591 h 1161573"/>
                <a:gd name="connsiteX1352" fmla="*/ 1405128 w 1502283"/>
                <a:gd name="connsiteY1352" fmla="*/ 918782 h 1161573"/>
                <a:gd name="connsiteX1353" fmla="*/ 1406938 w 1502283"/>
                <a:gd name="connsiteY1353" fmla="*/ 920115 h 1161573"/>
                <a:gd name="connsiteX1354" fmla="*/ 1412462 w 1502283"/>
                <a:gd name="connsiteY1354" fmla="*/ 925830 h 1161573"/>
                <a:gd name="connsiteX1355" fmla="*/ 1420368 w 1502283"/>
                <a:gd name="connsiteY1355" fmla="*/ 924782 h 1161573"/>
                <a:gd name="connsiteX1356" fmla="*/ 1427416 w 1502283"/>
                <a:gd name="connsiteY1356" fmla="*/ 917448 h 1161573"/>
                <a:gd name="connsiteX1357" fmla="*/ 1435703 w 1502283"/>
                <a:gd name="connsiteY1357" fmla="*/ 919639 h 1161573"/>
                <a:gd name="connsiteX1358" fmla="*/ 1442371 w 1502283"/>
                <a:gd name="connsiteY1358" fmla="*/ 909161 h 1161573"/>
                <a:gd name="connsiteX1359" fmla="*/ 1450657 w 1502283"/>
                <a:gd name="connsiteY1359" fmla="*/ 911352 h 1161573"/>
                <a:gd name="connsiteX1360" fmla="*/ 1455230 w 1502283"/>
                <a:gd name="connsiteY1360" fmla="*/ 909161 h 1161573"/>
                <a:gd name="connsiteX1361" fmla="*/ 1463326 w 1502283"/>
                <a:gd name="connsiteY1361" fmla="*/ 909733 h 1161573"/>
                <a:gd name="connsiteX1362" fmla="*/ 1467612 w 1502283"/>
                <a:gd name="connsiteY1362" fmla="*/ 906018 h 1161573"/>
                <a:gd name="connsiteX1363" fmla="*/ 1469327 w 1502283"/>
                <a:gd name="connsiteY1363" fmla="*/ 894588 h 1161573"/>
                <a:gd name="connsiteX1364" fmla="*/ 1472089 w 1502283"/>
                <a:gd name="connsiteY1364" fmla="*/ 891064 h 1161573"/>
                <a:gd name="connsiteX1365" fmla="*/ 1484757 w 1502283"/>
                <a:gd name="connsiteY1365" fmla="*/ 889444 h 1161573"/>
                <a:gd name="connsiteX1366" fmla="*/ 1485519 w 1502283"/>
                <a:gd name="connsiteY1366" fmla="*/ 882968 h 1161573"/>
                <a:gd name="connsiteX1367" fmla="*/ 1491044 w 1502283"/>
                <a:gd name="connsiteY1367" fmla="*/ 875824 h 1161573"/>
                <a:gd name="connsiteX1368" fmla="*/ 1497330 w 1502283"/>
                <a:gd name="connsiteY1368" fmla="*/ 875062 h 1161573"/>
                <a:gd name="connsiteX1369" fmla="*/ 1502283 w 1502283"/>
                <a:gd name="connsiteY1369" fmla="*/ 876014 h 1161573"/>
                <a:gd name="connsiteX1370" fmla="*/ 1495139 w 1502283"/>
                <a:gd name="connsiteY1370" fmla="*/ 857726 h 1161573"/>
                <a:gd name="connsiteX1371" fmla="*/ 1495139 w 1502283"/>
                <a:gd name="connsiteY1371" fmla="*/ 857726 h 116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</a:cxnLst>
              <a:rect l="l" t="t" r="r" b="b"/>
              <a:pathLst>
                <a:path w="1502283" h="1161573">
                  <a:moveTo>
                    <a:pt x="1496282" y="857155"/>
                  </a:moveTo>
                  <a:lnTo>
                    <a:pt x="1495711" y="852392"/>
                  </a:lnTo>
                  <a:lnTo>
                    <a:pt x="1497330" y="852202"/>
                  </a:lnTo>
                  <a:lnTo>
                    <a:pt x="1495520" y="850868"/>
                  </a:lnTo>
                  <a:lnTo>
                    <a:pt x="1498282" y="847344"/>
                  </a:lnTo>
                  <a:lnTo>
                    <a:pt x="1490567" y="849916"/>
                  </a:lnTo>
                  <a:lnTo>
                    <a:pt x="1486853" y="845630"/>
                  </a:lnTo>
                  <a:lnTo>
                    <a:pt x="1487996" y="842296"/>
                  </a:lnTo>
                  <a:lnTo>
                    <a:pt x="1481899" y="831818"/>
                  </a:lnTo>
                  <a:lnTo>
                    <a:pt x="1469803" y="812483"/>
                  </a:lnTo>
                  <a:lnTo>
                    <a:pt x="1458563" y="812292"/>
                  </a:lnTo>
                  <a:lnTo>
                    <a:pt x="1442371" y="798290"/>
                  </a:lnTo>
                  <a:lnTo>
                    <a:pt x="1437608" y="798862"/>
                  </a:lnTo>
                  <a:lnTo>
                    <a:pt x="1433513" y="804196"/>
                  </a:lnTo>
                  <a:lnTo>
                    <a:pt x="1424845" y="798862"/>
                  </a:lnTo>
                  <a:lnTo>
                    <a:pt x="1432274" y="781907"/>
                  </a:lnTo>
                  <a:lnTo>
                    <a:pt x="1431703" y="777145"/>
                  </a:lnTo>
                  <a:lnTo>
                    <a:pt x="1434465" y="773621"/>
                  </a:lnTo>
                  <a:lnTo>
                    <a:pt x="1425797" y="768287"/>
                  </a:lnTo>
                  <a:lnTo>
                    <a:pt x="1411796" y="758857"/>
                  </a:lnTo>
                  <a:lnTo>
                    <a:pt x="1402937" y="764762"/>
                  </a:lnTo>
                  <a:lnTo>
                    <a:pt x="1400937" y="761809"/>
                  </a:lnTo>
                  <a:lnTo>
                    <a:pt x="1394365" y="748189"/>
                  </a:lnTo>
                  <a:lnTo>
                    <a:pt x="1395413" y="756095"/>
                  </a:lnTo>
                  <a:lnTo>
                    <a:pt x="1381601" y="761048"/>
                  </a:lnTo>
                  <a:lnTo>
                    <a:pt x="1375886" y="753809"/>
                  </a:lnTo>
                  <a:lnTo>
                    <a:pt x="1372933" y="755809"/>
                  </a:lnTo>
                  <a:lnTo>
                    <a:pt x="1372743" y="754190"/>
                  </a:lnTo>
                  <a:lnTo>
                    <a:pt x="1366838" y="758190"/>
                  </a:lnTo>
                  <a:lnTo>
                    <a:pt x="1365028" y="756857"/>
                  </a:lnTo>
                  <a:lnTo>
                    <a:pt x="1362265" y="760381"/>
                  </a:lnTo>
                  <a:lnTo>
                    <a:pt x="1360456" y="759047"/>
                  </a:lnTo>
                  <a:lnTo>
                    <a:pt x="1348645" y="766953"/>
                  </a:lnTo>
                  <a:lnTo>
                    <a:pt x="1339596" y="758476"/>
                  </a:lnTo>
                  <a:lnTo>
                    <a:pt x="1337977" y="758666"/>
                  </a:lnTo>
                  <a:lnTo>
                    <a:pt x="1328642" y="748665"/>
                  </a:lnTo>
                  <a:lnTo>
                    <a:pt x="1321689" y="744760"/>
                  </a:lnTo>
                  <a:lnTo>
                    <a:pt x="1320260" y="733711"/>
                  </a:lnTo>
                  <a:lnTo>
                    <a:pt x="1309402" y="736663"/>
                  </a:lnTo>
                  <a:lnTo>
                    <a:pt x="1307021" y="743331"/>
                  </a:lnTo>
                  <a:lnTo>
                    <a:pt x="1304830" y="738759"/>
                  </a:lnTo>
                  <a:lnTo>
                    <a:pt x="1303496" y="740569"/>
                  </a:lnTo>
                  <a:lnTo>
                    <a:pt x="1300163" y="739426"/>
                  </a:lnTo>
                  <a:lnTo>
                    <a:pt x="1298829" y="741236"/>
                  </a:lnTo>
                  <a:lnTo>
                    <a:pt x="1292162" y="738854"/>
                  </a:lnTo>
                  <a:lnTo>
                    <a:pt x="1290352" y="737521"/>
                  </a:lnTo>
                  <a:lnTo>
                    <a:pt x="1290161" y="735901"/>
                  </a:lnTo>
                  <a:lnTo>
                    <a:pt x="1291304" y="732568"/>
                  </a:lnTo>
                  <a:lnTo>
                    <a:pt x="1289495" y="731234"/>
                  </a:lnTo>
                  <a:lnTo>
                    <a:pt x="1293590" y="725900"/>
                  </a:lnTo>
                  <a:lnTo>
                    <a:pt x="1293209" y="722757"/>
                  </a:lnTo>
                  <a:lnTo>
                    <a:pt x="1294352" y="719423"/>
                  </a:lnTo>
                  <a:lnTo>
                    <a:pt x="1292352" y="716471"/>
                  </a:lnTo>
                  <a:lnTo>
                    <a:pt x="1294543" y="708184"/>
                  </a:lnTo>
                  <a:lnTo>
                    <a:pt x="1289209" y="704088"/>
                  </a:lnTo>
                  <a:lnTo>
                    <a:pt x="1288066" y="707422"/>
                  </a:lnTo>
                  <a:lnTo>
                    <a:pt x="1281113" y="703517"/>
                  </a:lnTo>
                  <a:lnTo>
                    <a:pt x="1282256" y="700183"/>
                  </a:lnTo>
                  <a:lnTo>
                    <a:pt x="1276922" y="696087"/>
                  </a:lnTo>
                  <a:lnTo>
                    <a:pt x="1269397" y="700278"/>
                  </a:lnTo>
                  <a:lnTo>
                    <a:pt x="1266063" y="699135"/>
                  </a:lnTo>
                  <a:lnTo>
                    <a:pt x="1259777" y="699897"/>
                  </a:lnTo>
                  <a:lnTo>
                    <a:pt x="1257586" y="695325"/>
                  </a:lnTo>
                  <a:lnTo>
                    <a:pt x="1254252" y="694182"/>
                  </a:lnTo>
                  <a:lnTo>
                    <a:pt x="1252633" y="694373"/>
                  </a:lnTo>
                  <a:lnTo>
                    <a:pt x="1251299" y="696182"/>
                  </a:lnTo>
                  <a:lnTo>
                    <a:pt x="1244822" y="695420"/>
                  </a:lnTo>
                  <a:lnTo>
                    <a:pt x="1245013" y="697040"/>
                  </a:lnTo>
                  <a:lnTo>
                    <a:pt x="1241489" y="694277"/>
                  </a:lnTo>
                  <a:lnTo>
                    <a:pt x="1238726" y="697801"/>
                  </a:lnTo>
                  <a:lnTo>
                    <a:pt x="1233964" y="698373"/>
                  </a:lnTo>
                  <a:lnTo>
                    <a:pt x="1233964" y="685514"/>
                  </a:lnTo>
                  <a:cubicBezTo>
                    <a:pt x="1233964" y="685514"/>
                    <a:pt x="1230344" y="682752"/>
                    <a:pt x="1230344" y="682752"/>
                  </a:cubicBezTo>
                  <a:lnTo>
                    <a:pt x="1227963" y="676656"/>
                  </a:lnTo>
                  <a:lnTo>
                    <a:pt x="1223010" y="675704"/>
                  </a:lnTo>
                  <a:lnTo>
                    <a:pt x="1218724" y="679418"/>
                  </a:lnTo>
                  <a:lnTo>
                    <a:pt x="1217105" y="679609"/>
                  </a:lnTo>
                  <a:lnTo>
                    <a:pt x="1215866" y="670179"/>
                  </a:lnTo>
                  <a:lnTo>
                    <a:pt x="1199674" y="669036"/>
                  </a:lnTo>
                  <a:lnTo>
                    <a:pt x="1197293" y="675704"/>
                  </a:lnTo>
                  <a:lnTo>
                    <a:pt x="1194340" y="677704"/>
                  </a:lnTo>
                  <a:lnTo>
                    <a:pt x="1192339" y="674751"/>
                  </a:lnTo>
                  <a:lnTo>
                    <a:pt x="1193482" y="671417"/>
                  </a:lnTo>
                  <a:lnTo>
                    <a:pt x="1195864" y="664750"/>
                  </a:lnTo>
                  <a:lnTo>
                    <a:pt x="1195483" y="661607"/>
                  </a:lnTo>
                  <a:lnTo>
                    <a:pt x="1199579" y="656273"/>
                  </a:lnTo>
                  <a:lnTo>
                    <a:pt x="1200531" y="651320"/>
                  </a:lnTo>
                  <a:lnTo>
                    <a:pt x="1200912" y="641604"/>
                  </a:lnTo>
                  <a:lnTo>
                    <a:pt x="1198721" y="637032"/>
                  </a:lnTo>
                  <a:lnTo>
                    <a:pt x="1198150" y="632270"/>
                  </a:lnTo>
                  <a:lnTo>
                    <a:pt x="1196149" y="629317"/>
                  </a:lnTo>
                  <a:lnTo>
                    <a:pt x="1191197" y="628364"/>
                  </a:lnTo>
                  <a:lnTo>
                    <a:pt x="1187577" y="612743"/>
                  </a:lnTo>
                  <a:lnTo>
                    <a:pt x="1185767" y="611410"/>
                  </a:lnTo>
                  <a:lnTo>
                    <a:pt x="1177671" y="610838"/>
                  </a:lnTo>
                  <a:lnTo>
                    <a:pt x="1167384" y="618554"/>
                  </a:lnTo>
                  <a:lnTo>
                    <a:pt x="1156525" y="621506"/>
                  </a:lnTo>
                  <a:lnTo>
                    <a:pt x="1151954" y="623697"/>
                  </a:lnTo>
                  <a:lnTo>
                    <a:pt x="1148620" y="622554"/>
                  </a:lnTo>
                  <a:lnTo>
                    <a:pt x="1145667" y="624554"/>
                  </a:lnTo>
                  <a:lnTo>
                    <a:pt x="1142524" y="624935"/>
                  </a:lnTo>
                  <a:lnTo>
                    <a:pt x="1138619" y="631888"/>
                  </a:lnTo>
                  <a:lnTo>
                    <a:pt x="1135094" y="629126"/>
                  </a:lnTo>
                  <a:lnTo>
                    <a:pt x="1130618" y="631317"/>
                  </a:lnTo>
                  <a:lnTo>
                    <a:pt x="1114235" y="628555"/>
                  </a:lnTo>
                  <a:lnTo>
                    <a:pt x="1120140" y="624554"/>
                  </a:lnTo>
                  <a:lnTo>
                    <a:pt x="1120902" y="618077"/>
                  </a:lnTo>
                  <a:lnTo>
                    <a:pt x="1118711" y="613505"/>
                  </a:lnTo>
                  <a:lnTo>
                    <a:pt x="1117282" y="615315"/>
                  </a:lnTo>
                  <a:lnTo>
                    <a:pt x="1115092" y="597980"/>
                  </a:lnTo>
                  <a:lnTo>
                    <a:pt x="1126522" y="599694"/>
                  </a:lnTo>
                  <a:lnTo>
                    <a:pt x="1129856" y="600837"/>
                  </a:lnTo>
                  <a:lnTo>
                    <a:pt x="1134142" y="597122"/>
                  </a:lnTo>
                  <a:lnTo>
                    <a:pt x="1133094" y="589217"/>
                  </a:lnTo>
                  <a:lnTo>
                    <a:pt x="1134713" y="589026"/>
                  </a:lnTo>
                  <a:lnTo>
                    <a:pt x="1137666" y="574262"/>
                  </a:lnTo>
                  <a:lnTo>
                    <a:pt x="1138047" y="564642"/>
                  </a:lnTo>
                  <a:lnTo>
                    <a:pt x="1142619" y="562451"/>
                  </a:lnTo>
                  <a:lnTo>
                    <a:pt x="1149096" y="563213"/>
                  </a:lnTo>
                  <a:lnTo>
                    <a:pt x="1150906" y="564547"/>
                  </a:lnTo>
                  <a:lnTo>
                    <a:pt x="1154049" y="564166"/>
                  </a:lnTo>
                  <a:lnTo>
                    <a:pt x="1155192" y="560832"/>
                  </a:lnTo>
                  <a:lnTo>
                    <a:pt x="1156335" y="557498"/>
                  </a:lnTo>
                  <a:lnTo>
                    <a:pt x="1159669" y="558641"/>
                  </a:lnTo>
                  <a:lnTo>
                    <a:pt x="1161002" y="556832"/>
                  </a:lnTo>
                  <a:lnTo>
                    <a:pt x="1165955" y="557784"/>
                  </a:lnTo>
                  <a:lnTo>
                    <a:pt x="1169480" y="534924"/>
                  </a:lnTo>
                  <a:lnTo>
                    <a:pt x="1174052" y="532733"/>
                  </a:lnTo>
                  <a:lnTo>
                    <a:pt x="1172051" y="529780"/>
                  </a:lnTo>
                  <a:lnTo>
                    <a:pt x="1173671" y="529590"/>
                  </a:lnTo>
                  <a:lnTo>
                    <a:pt x="1171670" y="526637"/>
                  </a:lnTo>
                  <a:lnTo>
                    <a:pt x="1172813" y="523304"/>
                  </a:lnTo>
                  <a:lnTo>
                    <a:pt x="1176147" y="511683"/>
                  </a:lnTo>
                  <a:lnTo>
                    <a:pt x="1172147" y="505778"/>
                  </a:lnTo>
                  <a:lnTo>
                    <a:pt x="1170623" y="505968"/>
                  </a:lnTo>
                  <a:lnTo>
                    <a:pt x="1165479" y="516255"/>
                  </a:lnTo>
                  <a:lnTo>
                    <a:pt x="1160907" y="518446"/>
                  </a:lnTo>
                  <a:lnTo>
                    <a:pt x="1157383" y="515684"/>
                  </a:lnTo>
                  <a:lnTo>
                    <a:pt x="1154239" y="516065"/>
                  </a:lnTo>
                  <a:lnTo>
                    <a:pt x="1152430" y="514731"/>
                  </a:lnTo>
                  <a:lnTo>
                    <a:pt x="1141381" y="516160"/>
                  </a:lnTo>
                  <a:lnTo>
                    <a:pt x="1141952" y="520922"/>
                  </a:lnTo>
                  <a:lnTo>
                    <a:pt x="1136618" y="516826"/>
                  </a:lnTo>
                  <a:lnTo>
                    <a:pt x="1140714" y="511492"/>
                  </a:lnTo>
                  <a:lnTo>
                    <a:pt x="1141476" y="505016"/>
                  </a:lnTo>
                  <a:lnTo>
                    <a:pt x="1143286" y="506349"/>
                  </a:lnTo>
                  <a:lnTo>
                    <a:pt x="1149001" y="500825"/>
                  </a:lnTo>
                  <a:lnTo>
                    <a:pt x="1146810" y="496253"/>
                  </a:lnTo>
                  <a:lnTo>
                    <a:pt x="1145191" y="496443"/>
                  </a:lnTo>
                  <a:lnTo>
                    <a:pt x="1143381" y="495109"/>
                  </a:lnTo>
                  <a:lnTo>
                    <a:pt x="1140047" y="493967"/>
                  </a:lnTo>
                  <a:lnTo>
                    <a:pt x="1137095" y="483108"/>
                  </a:lnTo>
                  <a:lnTo>
                    <a:pt x="1132904" y="475583"/>
                  </a:lnTo>
                  <a:lnTo>
                    <a:pt x="1127570" y="471488"/>
                  </a:lnTo>
                  <a:lnTo>
                    <a:pt x="1133856" y="457867"/>
                  </a:lnTo>
                  <a:lnTo>
                    <a:pt x="1132808" y="449961"/>
                  </a:lnTo>
                  <a:lnTo>
                    <a:pt x="1129094" y="445675"/>
                  </a:lnTo>
                  <a:lnTo>
                    <a:pt x="1126903" y="441103"/>
                  </a:lnTo>
                  <a:lnTo>
                    <a:pt x="1121759" y="438531"/>
                  </a:lnTo>
                  <a:lnTo>
                    <a:pt x="1122521" y="432054"/>
                  </a:lnTo>
                  <a:lnTo>
                    <a:pt x="1128427" y="428054"/>
                  </a:lnTo>
                  <a:lnTo>
                    <a:pt x="1130998" y="422910"/>
                  </a:lnTo>
                  <a:lnTo>
                    <a:pt x="1135571" y="420719"/>
                  </a:lnTo>
                  <a:lnTo>
                    <a:pt x="1137475" y="410813"/>
                  </a:lnTo>
                  <a:lnTo>
                    <a:pt x="1137285" y="409194"/>
                  </a:lnTo>
                  <a:lnTo>
                    <a:pt x="1141190" y="402241"/>
                  </a:lnTo>
                  <a:lnTo>
                    <a:pt x="1142810" y="402050"/>
                  </a:lnTo>
                  <a:lnTo>
                    <a:pt x="1142429" y="398907"/>
                  </a:lnTo>
                  <a:lnTo>
                    <a:pt x="1142238" y="397288"/>
                  </a:lnTo>
                  <a:lnTo>
                    <a:pt x="1139285" y="399288"/>
                  </a:lnTo>
                  <a:lnTo>
                    <a:pt x="1140428" y="395954"/>
                  </a:lnTo>
                  <a:lnTo>
                    <a:pt x="1138619" y="394621"/>
                  </a:lnTo>
                  <a:lnTo>
                    <a:pt x="1135856" y="385382"/>
                  </a:lnTo>
                  <a:lnTo>
                    <a:pt x="1135285" y="380619"/>
                  </a:lnTo>
                  <a:lnTo>
                    <a:pt x="1133475" y="379286"/>
                  </a:lnTo>
                  <a:lnTo>
                    <a:pt x="1132141" y="381095"/>
                  </a:lnTo>
                  <a:lnTo>
                    <a:pt x="1129951" y="376523"/>
                  </a:lnTo>
                  <a:lnTo>
                    <a:pt x="1129189" y="370237"/>
                  </a:lnTo>
                  <a:lnTo>
                    <a:pt x="1126617" y="362521"/>
                  </a:lnTo>
                  <a:lnTo>
                    <a:pt x="1122616" y="356616"/>
                  </a:lnTo>
                  <a:lnTo>
                    <a:pt x="1125569" y="354616"/>
                  </a:lnTo>
                  <a:lnTo>
                    <a:pt x="1125379" y="352996"/>
                  </a:lnTo>
                  <a:lnTo>
                    <a:pt x="1126522" y="349663"/>
                  </a:lnTo>
                  <a:lnTo>
                    <a:pt x="1125760" y="343376"/>
                  </a:lnTo>
                  <a:lnTo>
                    <a:pt x="1118045" y="345948"/>
                  </a:lnTo>
                  <a:lnTo>
                    <a:pt x="1112139" y="337090"/>
                  </a:lnTo>
                  <a:lnTo>
                    <a:pt x="1108424" y="332804"/>
                  </a:lnTo>
                  <a:lnTo>
                    <a:pt x="1109758" y="330994"/>
                  </a:lnTo>
                  <a:lnTo>
                    <a:pt x="1104805" y="330041"/>
                  </a:lnTo>
                  <a:lnTo>
                    <a:pt x="1096328" y="326326"/>
                  </a:lnTo>
                  <a:lnTo>
                    <a:pt x="1093184" y="326708"/>
                  </a:lnTo>
                  <a:lnTo>
                    <a:pt x="1091851" y="328517"/>
                  </a:lnTo>
                  <a:lnTo>
                    <a:pt x="1083183" y="323183"/>
                  </a:lnTo>
                  <a:lnTo>
                    <a:pt x="1080040" y="323564"/>
                  </a:lnTo>
                  <a:lnTo>
                    <a:pt x="1078516" y="323755"/>
                  </a:lnTo>
                  <a:lnTo>
                    <a:pt x="1078325" y="322136"/>
                  </a:lnTo>
                  <a:lnTo>
                    <a:pt x="1071563" y="319754"/>
                  </a:lnTo>
                  <a:lnTo>
                    <a:pt x="1069562" y="316801"/>
                  </a:lnTo>
                  <a:lnTo>
                    <a:pt x="1070896" y="314992"/>
                  </a:lnTo>
                  <a:lnTo>
                    <a:pt x="1060799" y="311467"/>
                  </a:lnTo>
                  <a:lnTo>
                    <a:pt x="1059466" y="313277"/>
                  </a:lnTo>
                  <a:lnTo>
                    <a:pt x="1055465" y="307372"/>
                  </a:lnTo>
                  <a:lnTo>
                    <a:pt x="1060037" y="305181"/>
                  </a:lnTo>
                  <a:lnTo>
                    <a:pt x="1060990" y="300228"/>
                  </a:lnTo>
                  <a:lnTo>
                    <a:pt x="1059180" y="298895"/>
                  </a:lnTo>
                  <a:lnTo>
                    <a:pt x="1059180" y="298895"/>
                  </a:lnTo>
                  <a:lnTo>
                    <a:pt x="1057180" y="295942"/>
                  </a:lnTo>
                  <a:lnTo>
                    <a:pt x="1062514" y="287274"/>
                  </a:lnTo>
                  <a:lnTo>
                    <a:pt x="1065276" y="283750"/>
                  </a:lnTo>
                  <a:lnTo>
                    <a:pt x="1063276" y="280797"/>
                  </a:lnTo>
                  <a:lnTo>
                    <a:pt x="1064228" y="275844"/>
                  </a:lnTo>
                  <a:lnTo>
                    <a:pt x="1068324" y="270510"/>
                  </a:lnTo>
                  <a:lnTo>
                    <a:pt x="1067562" y="264224"/>
                  </a:lnTo>
                  <a:lnTo>
                    <a:pt x="1063752" y="259937"/>
                  </a:lnTo>
                  <a:lnTo>
                    <a:pt x="1061371" y="253841"/>
                  </a:lnTo>
                  <a:lnTo>
                    <a:pt x="1059180" y="249269"/>
                  </a:lnTo>
                  <a:lnTo>
                    <a:pt x="1057561" y="249460"/>
                  </a:lnTo>
                  <a:lnTo>
                    <a:pt x="1059752" y="254032"/>
                  </a:lnTo>
                  <a:lnTo>
                    <a:pt x="1056989" y="257556"/>
                  </a:lnTo>
                  <a:lnTo>
                    <a:pt x="1057370" y="260699"/>
                  </a:lnTo>
                  <a:lnTo>
                    <a:pt x="1052608" y="261271"/>
                  </a:lnTo>
                  <a:lnTo>
                    <a:pt x="1055941" y="262414"/>
                  </a:lnTo>
                  <a:lnTo>
                    <a:pt x="1054989" y="267367"/>
                  </a:lnTo>
                  <a:lnTo>
                    <a:pt x="1056608" y="267176"/>
                  </a:lnTo>
                  <a:lnTo>
                    <a:pt x="1056989" y="270320"/>
                  </a:lnTo>
                  <a:lnTo>
                    <a:pt x="1058323" y="268510"/>
                  </a:lnTo>
                  <a:lnTo>
                    <a:pt x="1055561" y="272034"/>
                  </a:lnTo>
                  <a:lnTo>
                    <a:pt x="1055561" y="272034"/>
                  </a:lnTo>
                  <a:lnTo>
                    <a:pt x="1055751" y="273653"/>
                  </a:lnTo>
                  <a:lnTo>
                    <a:pt x="1050798" y="272701"/>
                  </a:lnTo>
                  <a:lnTo>
                    <a:pt x="1049179" y="272891"/>
                  </a:lnTo>
                  <a:lnTo>
                    <a:pt x="1049369" y="274511"/>
                  </a:lnTo>
                  <a:lnTo>
                    <a:pt x="1046226" y="274892"/>
                  </a:lnTo>
                  <a:lnTo>
                    <a:pt x="1045655" y="270129"/>
                  </a:lnTo>
                  <a:lnTo>
                    <a:pt x="1046797" y="266795"/>
                  </a:lnTo>
                  <a:lnTo>
                    <a:pt x="1043654" y="267176"/>
                  </a:lnTo>
                  <a:lnTo>
                    <a:pt x="1041273" y="261080"/>
                  </a:lnTo>
                  <a:lnTo>
                    <a:pt x="1039654" y="261271"/>
                  </a:lnTo>
                  <a:lnTo>
                    <a:pt x="1042225" y="256127"/>
                  </a:lnTo>
                  <a:lnTo>
                    <a:pt x="1032796" y="257366"/>
                  </a:lnTo>
                  <a:lnTo>
                    <a:pt x="1032224" y="252603"/>
                  </a:lnTo>
                  <a:lnTo>
                    <a:pt x="1035558" y="253746"/>
                  </a:lnTo>
                  <a:lnTo>
                    <a:pt x="1034987" y="248984"/>
                  </a:lnTo>
                  <a:lnTo>
                    <a:pt x="1033367" y="249174"/>
                  </a:lnTo>
                  <a:lnTo>
                    <a:pt x="1035748" y="242507"/>
                  </a:lnTo>
                  <a:lnTo>
                    <a:pt x="1035368" y="239363"/>
                  </a:lnTo>
                  <a:lnTo>
                    <a:pt x="1030605" y="239935"/>
                  </a:lnTo>
                  <a:lnTo>
                    <a:pt x="1030224" y="236792"/>
                  </a:lnTo>
                  <a:lnTo>
                    <a:pt x="1025652" y="238982"/>
                  </a:lnTo>
                  <a:lnTo>
                    <a:pt x="1020699" y="238030"/>
                  </a:lnTo>
                  <a:lnTo>
                    <a:pt x="1013555" y="232505"/>
                  </a:lnTo>
                  <a:lnTo>
                    <a:pt x="1014698" y="229171"/>
                  </a:lnTo>
                  <a:lnTo>
                    <a:pt x="1016508" y="230505"/>
                  </a:lnTo>
                  <a:lnTo>
                    <a:pt x="1017270" y="224028"/>
                  </a:lnTo>
                  <a:lnTo>
                    <a:pt x="1016698" y="219266"/>
                  </a:lnTo>
                  <a:lnTo>
                    <a:pt x="1012127" y="208598"/>
                  </a:lnTo>
                  <a:lnTo>
                    <a:pt x="1011936" y="206978"/>
                  </a:lnTo>
                  <a:lnTo>
                    <a:pt x="1013555" y="206788"/>
                  </a:lnTo>
                  <a:lnTo>
                    <a:pt x="1012507" y="198882"/>
                  </a:lnTo>
                  <a:lnTo>
                    <a:pt x="1010698" y="197453"/>
                  </a:lnTo>
                  <a:lnTo>
                    <a:pt x="1008697" y="194500"/>
                  </a:lnTo>
                  <a:lnTo>
                    <a:pt x="1005745" y="196501"/>
                  </a:lnTo>
                  <a:lnTo>
                    <a:pt x="1002221" y="193738"/>
                  </a:lnTo>
                  <a:lnTo>
                    <a:pt x="1000601" y="193929"/>
                  </a:lnTo>
                  <a:lnTo>
                    <a:pt x="1000220" y="190786"/>
                  </a:lnTo>
                  <a:lnTo>
                    <a:pt x="1004983" y="190214"/>
                  </a:lnTo>
                  <a:lnTo>
                    <a:pt x="1006316" y="188404"/>
                  </a:lnTo>
                  <a:lnTo>
                    <a:pt x="1004316" y="185452"/>
                  </a:lnTo>
                  <a:lnTo>
                    <a:pt x="992886" y="183737"/>
                  </a:lnTo>
                  <a:lnTo>
                    <a:pt x="992314" y="178975"/>
                  </a:lnTo>
                  <a:lnTo>
                    <a:pt x="989171" y="179356"/>
                  </a:lnTo>
                  <a:lnTo>
                    <a:pt x="987171" y="176403"/>
                  </a:lnTo>
                  <a:lnTo>
                    <a:pt x="993457" y="175641"/>
                  </a:lnTo>
                  <a:lnTo>
                    <a:pt x="992219" y="166211"/>
                  </a:lnTo>
                  <a:lnTo>
                    <a:pt x="985266" y="162306"/>
                  </a:lnTo>
                  <a:lnTo>
                    <a:pt x="983266" y="159353"/>
                  </a:lnTo>
                  <a:lnTo>
                    <a:pt x="984599" y="157544"/>
                  </a:lnTo>
                  <a:lnTo>
                    <a:pt x="981265" y="156400"/>
                  </a:lnTo>
                  <a:lnTo>
                    <a:pt x="981075" y="154781"/>
                  </a:lnTo>
                  <a:lnTo>
                    <a:pt x="977741" y="153638"/>
                  </a:lnTo>
                  <a:lnTo>
                    <a:pt x="973836" y="160592"/>
                  </a:lnTo>
                  <a:lnTo>
                    <a:pt x="962787" y="149162"/>
                  </a:lnTo>
                  <a:lnTo>
                    <a:pt x="960977" y="147828"/>
                  </a:lnTo>
                  <a:lnTo>
                    <a:pt x="958215" y="151352"/>
                  </a:lnTo>
                  <a:lnTo>
                    <a:pt x="954881" y="150209"/>
                  </a:lnTo>
                  <a:lnTo>
                    <a:pt x="940118" y="160115"/>
                  </a:lnTo>
                  <a:lnTo>
                    <a:pt x="935355" y="160687"/>
                  </a:lnTo>
                  <a:lnTo>
                    <a:pt x="932402" y="162687"/>
                  </a:lnTo>
                  <a:lnTo>
                    <a:pt x="934212" y="164021"/>
                  </a:lnTo>
                  <a:lnTo>
                    <a:pt x="935831" y="163830"/>
                  </a:lnTo>
                  <a:lnTo>
                    <a:pt x="937641" y="165163"/>
                  </a:lnTo>
                  <a:lnTo>
                    <a:pt x="934498" y="165545"/>
                  </a:lnTo>
                  <a:lnTo>
                    <a:pt x="933545" y="170498"/>
                  </a:lnTo>
                  <a:lnTo>
                    <a:pt x="930593" y="172498"/>
                  </a:lnTo>
                  <a:lnTo>
                    <a:pt x="925449" y="169926"/>
                  </a:lnTo>
                  <a:lnTo>
                    <a:pt x="921163" y="173641"/>
                  </a:lnTo>
                  <a:lnTo>
                    <a:pt x="927449" y="172879"/>
                  </a:lnTo>
                  <a:lnTo>
                    <a:pt x="931164" y="177165"/>
                  </a:lnTo>
                  <a:lnTo>
                    <a:pt x="928783" y="183833"/>
                  </a:lnTo>
                  <a:lnTo>
                    <a:pt x="930402" y="183642"/>
                  </a:lnTo>
                  <a:lnTo>
                    <a:pt x="933736" y="184785"/>
                  </a:lnTo>
                  <a:lnTo>
                    <a:pt x="936688" y="182785"/>
                  </a:lnTo>
                  <a:lnTo>
                    <a:pt x="936879" y="184404"/>
                  </a:lnTo>
                  <a:lnTo>
                    <a:pt x="938689" y="185738"/>
                  </a:lnTo>
                  <a:lnTo>
                    <a:pt x="941070" y="191834"/>
                  </a:lnTo>
                  <a:lnTo>
                    <a:pt x="942689" y="191643"/>
                  </a:lnTo>
                  <a:lnTo>
                    <a:pt x="943261" y="196405"/>
                  </a:lnTo>
                  <a:lnTo>
                    <a:pt x="944594" y="194596"/>
                  </a:lnTo>
                  <a:lnTo>
                    <a:pt x="949357" y="194024"/>
                  </a:lnTo>
                  <a:lnTo>
                    <a:pt x="949738" y="197167"/>
                  </a:lnTo>
                  <a:lnTo>
                    <a:pt x="953072" y="198311"/>
                  </a:lnTo>
                  <a:lnTo>
                    <a:pt x="951929" y="201644"/>
                  </a:lnTo>
                  <a:lnTo>
                    <a:pt x="952119" y="203263"/>
                  </a:lnTo>
                  <a:lnTo>
                    <a:pt x="947642" y="205454"/>
                  </a:lnTo>
                  <a:lnTo>
                    <a:pt x="946499" y="208788"/>
                  </a:lnTo>
                  <a:lnTo>
                    <a:pt x="948499" y="211741"/>
                  </a:lnTo>
                  <a:lnTo>
                    <a:pt x="956786" y="213932"/>
                  </a:lnTo>
                  <a:lnTo>
                    <a:pt x="958596" y="215265"/>
                  </a:lnTo>
                  <a:lnTo>
                    <a:pt x="957834" y="221742"/>
                  </a:lnTo>
                  <a:lnTo>
                    <a:pt x="965168" y="228791"/>
                  </a:lnTo>
                  <a:lnTo>
                    <a:pt x="959453" y="234315"/>
                  </a:lnTo>
                  <a:lnTo>
                    <a:pt x="956500" y="236315"/>
                  </a:lnTo>
                  <a:lnTo>
                    <a:pt x="952500" y="230410"/>
                  </a:lnTo>
                  <a:lnTo>
                    <a:pt x="949357" y="243650"/>
                  </a:lnTo>
                  <a:lnTo>
                    <a:pt x="947738" y="243840"/>
                  </a:lnTo>
                  <a:lnTo>
                    <a:pt x="948309" y="248603"/>
                  </a:lnTo>
                  <a:lnTo>
                    <a:pt x="948499" y="250222"/>
                  </a:lnTo>
                  <a:lnTo>
                    <a:pt x="947738" y="256699"/>
                  </a:lnTo>
                  <a:lnTo>
                    <a:pt x="951547" y="260985"/>
                  </a:lnTo>
                  <a:lnTo>
                    <a:pt x="948214" y="259842"/>
                  </a:lnTo>
                  <a:lnTo>
                    <a:pt x="943928" y="263557"/>
                  </a:lnTo>
                  <a:lnTo>
                    <a:pt x="939165" y="264128"/>
                  </a:lnTo>
                  <a:lnTo>
                    <a:pt x="933260" y="268129"/>
                  </a:lnTo>
                  <a:lnTo>
                    <a:pt x="928116" y="278416"/>
                  </a:lnTo>
                  <a:lnTo>
                    <a:pt x="928497" y="281559"/>
                  </a:lnTo>
                  <a:lnTo>
                    <a:pt x="925544" y="283559"/>
                  </a:lnTo>
                  <a:lnTo>
                    <a:pt x="921544" y="277654"/>
                  </a:lnTo>
                  <a:lnTo>
                    <a:pt x="911447" y="274130"/>
                  </a:lnTo>
                  <a:lnTo>
                    <a:pt x="903922" y="265462"/>
                  </a:lnTo>
                  <a:lnTo>
                    <a:pt x="886778" y="256413"/>
                  </a:lnTo>
                  <a:lnTo>
                    <a:pt x="889159" y="249746"/>
                  </a:lnTo>
                  <a:lnTo>
                    <a:pt x="884206" y="248793"/>
                  </a:lnTo>
                  <a:lnTo>
                    <a:pt x="883063" y="252127"/>
                  </a:lnTo>
                  <a:lnTo>
                    <a:pt x="879729" y="250984"/>
                  </a:lnTo>
                  <a:lnTo>
                    <a:pt x="878967" y="244697"/>
                  </a:lnTo>
                  <a:lnTo>
                    <a:pt x="881348" y="238030"/>
                  </a:lnTo>
                  <a:lnTo>
                    <a:pt x="880967" y="234887"/>
                  </a:lnTo>
                  <a:lnTo>
                    <a:pt x="883539" y="229743"/>
                  </a:lnTo>
                  <a:lnTo>
                    <a:pt x="890016" y="230505"/>
                  </a:lnTo>
                  <a:lnTo>
                    <a:pt x="891445" y="228695"/>
                  </a:lnTo>
                  <a:lnTo>
                    <a:pt x="897731" y="227933"/>
                  </a:lnTo>
                  <a:lnTo>
                    <a:pt x="899065" y="226124"/>
                  </a:lnTo>
                  <a:lnTo>
                    <a:pt x="900874" y="227457"/>
                  </a:lnTo>
                  <a:lnTo>
                    <a:pt x="901827" y="222504"/>
                  </a:lnTo>
                  <a:lnTo>
                    <a:pt x="901446" y="219361"/>
                  </a:lnTo>
                  <a:lnTo>
                    <a:pt x="896493" y="218408"/>
                  </a:lnTo>
                  <a:lnTo>
                    <a:pt x="897827" y="216599"/>
                  </a:lnTo>
                  <a:lnTo>
                    <a:pt x="895636" y="212026"/>
                  </a:lnTo>
                  <a:lnTo>
                    <a:pt x="892493" y="212408"/>
                  </a:lnTo>
                  <a:lnTo>
                    <a:pt x="894683" y="204121"/>
                  </a:lnTo>
                  <a:lnTo>
                    <a:pt x="892873" y="202787"/>
                  </a:lnTo>
                  <a:lnTo>
                    <a:pt x="886587" y="203549"/>
                  </a:lnTo>
                  <a:lnTo>
                    <a:pt x="884587" y="200596"/>
                  </a:lnTo>
                  <a:lnTo>
                    <a:pt x="879634" y="199644"/>
                  </a:lnTo>
                  <a:lnTo>
                    <a:pt x="880586" y="181928"/>
                  </a:lnTo>
                  <a:lnTo>
                    <a:pt x="877253" y="180784"/>
                  </a:lnTo>
                  <a:lnTo>
                    <a:pt x="880396" y="180404"/>
                  </a:lnTo>
                  <a:lnTo>
                    <a:pt x="880205" y="178784"/>
                  </a:lnTo>
                  <a:lnTo>
                    <a:pt x="876205" y="172879"/>
                  </a:lnTo>
                  <a:lnTo>
                    <a:pt x="875633" y="168116"/>
                  </a:lnTo>
                  <a:lnTo>
                    <a:pt x="873633" y="165163"/>
                  </a:lnTo>
                  <a:lnTo>
                    <a:pt x="872871" y="158877"/>
                  </a:lnTo>
                  <a:lnTo>
                    <a:pt x="869156" y="154496"/>
                  </a:lnTo>
                  <a:lnTo>
                    <a:pt x="872490" y="142875"/>
                  </a:lnTo>
                  <a:lnTo>
                    <a:pt x="870490" y="139922"/>
                  </a:lnTo>
                  <a:lnTo>
                    <a:pt x="876205" y="134398"/>
                  </a:lnTo>
                  <a:lnTo>
                    <a:pt x="879538" y="135541"/>
                  </a:lnTo>
                  <a:lnTo>
                    <a:pt x="882491" y="133541"/>
                  </a:lnTo>
                  <a:lnTo>
                    <a:pt x="883825" y="131731"/>
                  </a:lnTo>
                  <a:lnTo>
                    <a:pt x="882777" y="123825"/>
                  </a:lnTo>
                  <a:lnTo>
                    <a:pt x="880777" y="120872"/>
                  </a:lnTo>
                  <a:lnTo>
                    <a:pt x="884682" y="113919"/>
                  </a:lnTo>
                  <a:lnTo>
                    <a:pt x="889254" y="111728"/>
                  </a:lnTo>
                  <a:lnTo>
                    <a:pt x="894397" y="114300"/>
                  </a:lnTo>
                  <a:lnTo>
                    <a:pt x="900684" y="113538"/>
                  </a:lnTo>
                  <a:lnTo>
                    <a:pt x="902018" y="111728"/>
                  </a:lnTo>
                  <a:lnTo>
                    <a:pt x="900398" y="111919"/>
                  </a:lnTo>
                  <a:lnTo>
                    <a:pt x="898588" y="110585"/>
                  </a:lnTo>
                  <a:lnTo>
                    <a:pt x="895636" y="112586"/>
                  </a:lnTo>
                  <a:lnTo>
                    <a:pt x="895445" y="110966"/>
                  </a:lnTo>
                  <a:lnTo>
                    <a:pt x="890492" y="110014"/>
                  </a:lnTo>
                  <a:lnTo>
                    <a:pt x="888682" y="108680"/>
                  </a:lnTo>
                  <a:lnTo>
                    <a:pt x="887539" y="112014"/>
                  </a:lnTo>
                  <a:lnTo>
                    <a:pt x="887158" y="108871"/>
                  </a:lnTo>
                  <a:lnTo>
                    <a:pt x="888587" y="107061"/>
                  </a:lnTo>
                  <a:lnTo>
                    <a:pt x="884206" y="110776"/>
                  </a:lnTo>
                  <a:lnTo>
                    <a:pt x="876110" y="110204"/>
                  </a:lnTo>
                  <a:lnTo>
                    <a:pt x="867442" y="104870"/>
                  </a:lnTo>
                  <a:lnTo>
                    <a:pt x="865441" y="101917"/>
                  </a:lnTo>
                  <a:lnTo>
                    <a:pt x="858774" y="99536"/>
                  </a:lnTo>
                  <a:lnTo>
                    <a:pt x="855821" y="101537"/>
                  </a:lnTo>
                  <a:lnTo>
                    <a:pt x="850868" y="100584"/>
                  </a:lnTo>
                  <a:lnTo>
                    <a:pt x="847535" y="99441"/>
                  </a:lnTo>
                  <a:lnTo>
                    <a:pt x="841438" y="101822"/>
                  </a:lnTo>
                  <a:lnTo>
                    <a:pt x="834962" y="101060"/>
                  </a:lnTo>
                  <a:lnTo>
                    <a:pt x="837343" y="94393"/>
                  </a:lnTo>
                  <a:lnTo>
                    <a:pt x="840296" y="92392"/>
                  </a:lnTo>
                  <a:lnTo>
                    <a:pt x="842486" y="84106"/>
                  </a:lnTo>
                  <a:lnTo>
                    <a:pt x="845248" y="80582"/>
                  </a:lnTo>
                  <a:lnTo>
                    <a:pt x="845058" y="78962"/>
                  </a:lnTo>
                  <a:lnTo>
                    <a:pt x="844868" y="77343"/>
                  </a:lnTo>
                  <a:lnTo>
                    <a:pt x="841724" y="77724"/>
                  </a:lnTo>
                  <a:lnTo>
                    <a:pt x="839914" y="76391"/>
                  </a:lnTo>
                  <a:lnTo>
                    <a:pt x="840677" y="69913"/>
                  </a:lnTo>
                  <a:lnTo>
                    <a:pt x="838295" y="63817"/>
                  </a:lnTo>
                  <a:lnTo>
                    <a:pt x="838105" y="62198"/>
                  </a:lnTo>
                  <a:lnTo>
                    <a:pt x="841057" y="60198"/>
                  </a:lnTo>
                  <a:lnTo>
                    <a:pt x="838867" y="55626"/>
                  </a:lnTo>
                  <a:lnTo>
                    <a:pt x="842010" y="55245"/>
                  </a:lnTo>
                  <a:lnTo>
                    <a:pt x="838010" y="49340"/>
                  </a:lnTo>
                  <a:lnTo>
                    <a:pt x="843534" y="55054"/>
                  </a:lnTo>
                  <a:lnTo>
                    <a:pt x="850202" y="57436"/>
                  </a:lnTo>
                  <a:lnTo>
                    <a:pt x="852202" y="60388"/>
                  </a:lnTo>
                  <a:lnTo>
                    <a:pt x="853154" y="55436"/>
                  </a:lnTo>
                  <a:lnTo>
                    <a:pt x="855345" y="60008"/>
                  </a:lnTo>
                  <a:lnTo>
                    <a:pt x="858298" y="58007"/>
                  </a:lnTo>
                  <a:lnTo>
                    <a:pt x="861822" y="60770"/>
                  </a:lnTo>
                  <a:lnTo>
                    <a:pt x="864013" y="65342"/>
                  </a:lnTo>
                  <a:lnTo>
                    <a:pt x="865822" y="66675"/>
                  </a:lnTo>
                  <a:lnTo>
                    <a:pt x="873538" y="64103"/>
                  </a:lnTo>
                  <a:lnTo>
                    <a:pt x="878014" y="61913"/>
                  </a:lnTo>
                  <a:lnTo>
                    <a:pt x="879157" y="58579"/>
                  </a:lnTo>
                  <a:lnTo>
                    <a:pt x="875824" y="57436"/>
                  </a:lnTo>
                  <a:lnTo>
                    <a:pt x="873443" y="51340"/>
                  </a:lnTo>
                  <a:lnTo>
                    <a:pt x="868489" y="50387"/>
                  </a:lnTo>
                  <a:lnTo>
                    <a:pt x="869252" y="43910"/>
                  </a:lnTo>
                  <a:lnTo>
                    <a:pt x="871061" y="45244"/>
                  </a:lnTo>
                  <a:lnTo>
                    <a:pt x="875538" y="43053"/>
                  </a:lnTo>
                  <a:lnTo>
                    <a:pt x="875157" y="39910"/>
                  </a:lnTo>
                  <a:lnTo>
                    <a:pt x="881253" y="37529"/>
                  </a:lnTo>
                  <a:lnTo>
                    <a:pt x="879443" y="36195"/>
                  </a:lnTo>
                  <a:lnTo>
                    <a:pt x="865441" y="39624"/>
                  </a:lnTo>
                  <a:lnTo>
                    <a:pt x="858488" y="35719"/>
                  </a:lnTo>
                  <a:lnTo>
                    <a:pt x="846391" y="29242"/>
                  </a:lnTo>
                  <a:lnTo>
                    <a:pt x="843058" y="28099"/>
                  </a:lnTo>
                  <a:lnTo>
                    <a:pt x="824294" y="19241"/>
                  </a:lnTo>
                  <a:lnTo>
                    <a:pt x="822674" y="19431"/>
                  </a:lnTo>
                  <a:lnTo>
                    <a:pt x="819340" y="18288"/>
                  </a:lnTo>
                  <a:lnTo>
                    <a:pt x="816959" y="12192"/>
                  </a:lnTo>
                  <a:lnTo>
                    <a:pt x="802100" y="9239"/>
                  </a:lnTo>
                  <a:lnTo>
                    <a:pt x="804863" y="5715"/>
                  </a:lnTo>
                  <a:lnTo>
                    <a:pt x="798957" y="9716"/>
                  </a:lnTo>
                  <a:lnTo>
                    <a:pt x="795623" y="8573"/>
                  </a:lnTo>
                  <a:lnTo>
                    <a:pt x="794290" y="10382"/>
                  </a:lnTo>
                  <a:lnTo>
                    <a:pt x="790956" y="9239"/>
                  </a:lnTo>
                  <a:lnTo>
                    <a:pt x="782288" y="3905"/>
                  </a:lnTo>
                  <a:lnTo>
                    <a:pt x="780955" y="5715"/>
                  </a:lnTo>
                  <a:lnTo>
                    <a:pt x="784288" y="6858"/>
                  </a:lnTo>
                  <a:lnTo>
                    <a:pt x="784670" y="10001"/>
                  </a:lnTo>
                  <a:lnTo>
                    <a:pt x="778002" y="7620"/>
                  </a:lnTo>
                  <a:lnTo>
                    <a:pt x="772478" y="14764"/>
                  </a:lnTo>
                  <a:lnTo>
                    <a:pt x="759809" y="3524"/>
                  </a:lnTo>
                  <a:lnTo>
                    <a:pt x="749713" y="0"/>
                  </a:lnTo>
                  <a:lnTo>
                    <a:pt x="748094" y="191"/>
                  </a:lnTo>
                  <a:lnTo>
                    <a:pt x="747141" y="5144"/>
                  </a:lnTo>
                  <a:lnTo>
                    <a:pt x="749141" y="8096"/>
                  </a:lnTo>
                  <a:lnTo>
                    <a:pt x="745998" y="8477"/>
                  </a:lnTo>
                  <a:lnTo>
                    <a:pt x="746188" y="10096"/>
                  </a:lnTo>
                  <a:lnTo>
                    <a:pt x="738283" y="11144"/>
                  </a:lnTo>
                  <a:lnTo>
                    <a:pt x="738283" y="11144"/>
                  </a:lnTo>
                  <a:lnTo>
                    <a:pt x="734949" y="10001"/>
                  </a:lnTo>
                  <a:lnTo>
                    <a:pt x="729805" y="7429"/>
                  </a:lnTo>
                  <a:lnTo>
                    <a:pt x="725519" y="11144"/>
                  </a:lnTo>
                  <a:lnTo>
                    <a:pt x="718566" y="7239"/>
                  </a:lnTo>
                  <a:lnTo>
                    <a:pt x="717995" y="2476"/>
                  </a:lnTo>
                  <a:lnTo>
                    <a:pt x="713708" y="6287"/>
                  </a:lnTo>
                  <a:lnTo>
                    <a:pt x="712089" y="6477"/>
                  </a:lnTo>
                  <a:lnTo>
                    <a:pt x="708565" y="3715"/>
                  </a:lnTo>
                  <a:lnTo>
                    <a:pt x="703802" y="4286"/>
                  </a:lnTo>
                  <a:lnTo>
                    <a:pt x="700849" y="6287"/>
                  </a:lnTo>
                  <a:lnTo>
                    <a:pt x="701230" y="9430"/>
                  </a:lnTo>
                  <a:lnTo>
                    <a:pt x="697135" y="14764"/>
                  </a:lnTo>
                  <a:lnTo>
                    <a:pt x="698182" y="22670"/>
                  </a:lnTo>
                  <a:lnTo>
                    <a:pt x="698754" y="27432"/>
                  </a:lnTo>
                  <a:lnTo>
                    <a:pt x="697421" y="29242"/>
                  </a:lnTo>
                  <a:lnTo>
                    <a:pt x="697611" y="30861"/>
                  </a:lnTo>
                  <a:lnTo>
                    <a:pt x="693706" y="37814"/>
                  </a:lnTo>
                  <a:lnTo>
                    <a:pt x="696087" y="43910"/>
                  </a:lnTo>
                  <a:lnTo>
                    <a:pt x="696468" y="47054"/>
                  </a:lnTo>
                  <a:lnTo>
                    <a:pt x="693515" y="49054"/>
                  </a:lnTo>
                  <a:lnTo>
                    <a:pt x="693134" y="45911"/>
                  </a:lnTo>
                  <a:lnTo>
                    <a:pt x="690181" y="47911"/>
                  </a:lnTo>
                  <a:lnTo>
                    <a:pt x="677132" y="46387"/>
                  </a:lnTo>
                  <a:lnTo>
                    <a:pt x="677513" y="49530"/>
                  </a:lnTo>
                  <a:lnTo>
                    <a:pt x="674180" y="48387"/>
                  </a:lnTo>
                  <a:lnTo>
                    <a:pt x="672370" y="47054"/>
                  </a:lnTo>
                  <a:lnTo>
                    <a:pt x="669417" y="49054"/>
                  </a:lnTo>
                  <a:lnTo>
                    <a:pt x="667607" y="47720"/>
                  </a:lnTo>
                  <a:lnTo>
                    <a:pt x="660082" y="39053"/>
                  </a:lnTo>
                  <a:lnTo>
                    <a:pt x="656939" y="39433"/>
                  </a:lnTo>
                  <a:lnTo>
                    <a:pt x="646938" y="48768"/>
                  </a:lnTo>
                  <a:lnTo>
                    <a:pt x="640461" y="48006"/>
                  </a:lnTo>
                  <a:lnTo>
                    <a:pt x="637508" y="50006"/>
                  </a:lnTo>
                  <a:lnTo>
                    <a:pt x="634365" y="50387"/>
                  </a:lnTo>
                  <a:lnTo>
                    <a:pt x="631412" y="52388"/>
                  </a:lnTo>
                  <a:lnTo>
                    <a:pt x="628269" y="52769"/>
                  </a:lnTo>
                  <a:lnTo>
                    <a:pt x="630269" y="42863"/>
                  </a:lnTo>
                  <a:lnTo>
                    <a:pt x="625126" y="40291"/>
                  </a:lnTo>
                  <a:lnTo>
                    <a:pt x="623506" y="40481"/>
                  </a:lnTo>
                  <a:lnTo>
                    <a:pt x="621697" y="39148"/>
                  </a:lnTo>
                  <a:lnTo>
                    <a:pt x="619125" y="44291"/>
                  </a:lnTo>
                  <a:lnTo>
                    <a:pt x="614553" y="46482"/>
                  </a:lnTo>
                  <a:lnTo>
                    <a:pt x="607886" y="44101"/>
                  </a:lnTo>
                  <a:lnTo>
                    <a:pt x="606933" y="49054"/>
                  </a:lnTo>
                  <a:lnTo>
                    <a:pt x="609505" y="56769"/>
                  </a:lnTo>
                  <a:lnTo>
                    <a:pt x="600837" y="64294"/>
                  </a:lnTo>
                  <a:lnTo>
                    <a:pt x="601599" y="70580"/>
                  </a:lnTo>
                  <a:lnTo>
                    <a:pt x="596455" y="68008"/>
                  </a:lnTo>
                  <a:lnTo>
                    <a:pt x="592455" y="62103"/>
                  </a:lnTo>
                  <a:lnTo>
                    <a:pt x="589121" y="60960"/>
                  </a:lnTo>
                  <a:lnTo>
                    <a:pt x="591122" y="63913"/>
                  </a:lnTo>
                  <a:lnTo>
                    <a:pt x="592360" y="73342"/>
                  </a:lnTo>
                  <a:lnTo>
                    <a:pt x="591026" y="75152"/>
                  </a:lnTo>
                  <a:lnTo>
                    <a:pt x="589407" y="75343"/>
                  </a:lnTo>
                  <a:lnTo>
                    <a:pt x="590169" y="81629"/>
                  </a:lnTo>
                  <a:lnTo>
                    <a:pt x="586264" y="88583"/>
                  </a:lnTo>
                  <a:lnTo>
                    <a:pt x="585121" y="91916"/>
                  </a:lnTo>
                  <a:lnTo>
                    <a:pt x="578834" y="92678"/>
                  </a:lnTo>
                  <a:lnTo>
                    <a:pt x="577691" y="96012"/>
                  </a:lnTo>
                  <a:lnTo>
                    <a:pt x="581025" y="97155"/>
                  </a:lnTo>
                  <a:lnTo>
                    <a:pt x="581597" y="101917"/>
                  </a:lnTo>
                  <a:lnTo>
                    <a:pt x="583121" y="101727"/>
                  </a:lnTo>
                  <a:lnTo>
                    <a:pt x="584930" y="103061"/>
                  </a:lnTo>
                  <a:lnTo>
                    <a:pt x="586740" y="104394"/>
                  </a:lnTo>
                  <a:lnTo>
                    <a:pt x="588740" y="107347"/>
                  </a:lnTo>
                  <a:lnTo>
                    <a:pt x="593503" y="106775"/>
                  </a:lnTo>
                  <a:lnTo>
                    <a:pt x="593693" y="108395"/>
                  </a:lnTo>
                  <a:lnTo>
                    <a:pt x="605123" y="110109"/>
                  </a:lnTo>
                  <a:lnTo>
                    <a:pt x="609314" y="117634"/>
                  </a:lnTo>
                  <a:lnTo>
                    <a:pt x="610362" y="125540"/>
                  </a:lnTo>
                  <a:lnTo>
                    <a:pt x="604456" y="142304"/>
                  </a:lnTo>
                  <a:lnTo>
                    <a:pt x="599694" y="142875"/>
                  </a:lnTo>
                  <a:lnTo>
                    <a:pt x="595979" y="151352"/>
                  </a:lnTo>
                  <a:lnTo>
                    <a:pt x="590074" y="155353"/>
                  </a:lnTo>
                  <a:lnTo>
                    <a:pt x="590455" y="158496"/>
                  </a:lnTo>
                  <a:lnTo>
                    <a:pt x="587693" y="162020"/>
                  </a:lnTo>
                  <a:lnTo>
                    <a:pt x="579977" y="164592"/>
                  </a:lnTo>
                  <a:lnTo>
                    <a:pt x="575596" y="155543"/>
                  </a:lnTo>
                  <a:lnTo>
                    <a:pt x="573596" y="152591"/>
                  </a:lnTo>
                  <a:lnTo>
                    <a:pt x="567309" y="153353"/>
                  </a:lnTo>
                  <a:lnTo>
                    <a:pt x="565975" y="155162"/>
                  </a:lnTo>
                  <a:lnTo>
                    <a:pt x="571310" y="159258"/>
                  </a:lnTo>
                  <a:lnTo>
                    <a:pt x="571500" y="160877"/>
                  </a:lnTo>
                  <a:lnTo>
                    <a:pt x="570357" y="164211"/>
                  </a:lnTo>
                  <a:lnTo>
                    <a:pt x="572548" y="168783"/>
                  </a:lnTo>
                  <a:lnTo>
                    <a:pt x="579501" y="172688"/>
                  </a:lnTo>
                  <a:lnTo>
                    <a:pt x="581311" y="174022"/>
                  </a:lnTo>
                  <a:lnTo>
                    <a:pt x="582454" y="170688"/>
                  </a:lnTo>
                  <a:lnTo>
                    <a:pt x="587407" y="171641"/>
                  </a:lnTo>
                  <a:lnTo>
                    <a:pt x="583121" y="175355"/>
                  </a:lnTo>
                  <a:lnTo>
                    <a:pt x="583502" y="178499"/>
                  </a:lnTo>
                  <a:lnTo>
                    <a:pt x="585502" y="181451"/>
                  </a:lnTo>
                  <a:lnTo>
                    <a:pt x="591979" y="182213"/>
                  </a:lnTo>
                  <a:lnTo>
                    <a:pt x="591217" y="188690"/>
                  </a:lnTo>
                  <a:lnTo>
                    <a:pt x="580739" y="194786"/>
                  </a:lnTo>
                  <a:lnTo>
                    <a:pt x="586454" y="202121"/>
                  </a:lnTo>
                  <a:lnTo>
                    <a:pt x="584073" y="208788"/>
                  </a:lnTo>
                  <a:lnTo>
                    <a:pt x="578168" y="212788"/>
                  </a:lnTo>
                  <a:lnTo>
                    <a:pt x="575596" y="217932"/>
                  </a:lnTo>
                  <a:lnTo>
                    <a:pt x="574834" y="224409"/>
                  </a:lnTo>
                  <a:lnTo>
                    <a:pt x="582549" y="234696"/>
                  </a:lnTo>
                  <a:lnTo>
                    <a:pt x="579787" y="238220"/>
                  </a:lnTo>
                  <a:lnTo>
                    <a:pt x="578644" y="241554"/>
                  </a:lnTo>
                  <a:lnTo>
                    <a:pt x="582168" y="244316"/>
                  </a:lnTo>
                  <a:lnTo>
                    <a:pt x="577882" y="248031"/>
                  </a:lnTo>
                  <a:lnTo>
                    <a:pt x="580072" y="252603"/>
                  </a:lnTo>
                  <a:lnTo>
                    <a:pt x="583406" y="253746"/>
                  </a:lnTo>
                  <a:lnTo>
                    <a:pt x="589312" y="249746"/>
                  </a:lnTo>
                  <a:lnTo>
                    <a:pt x="590074" y="256032"/>
                  </a:lnTo>
                  <a:lnTo>
                    <a:pt x="587312" y="259556"/>
                  </a:lnTo>
                  <a:lnTo>
                    <a:pt x="586169" y="262890"/>
                  </a:lnTo>
                  <a:lnTo>
                    <a:pt x="586930" y="269176"/>
                  </a:lnTo>
                  <a:lnTo>
                    <a:pt x="584740" y="277463"/>
                  </a:lnTo>
                  <a:lnTo>
                    <a:pt x="585311" y="282226"/>
                  </a:lnTo>
                  <a:lnTo>
                    <a:pt x="581978" y="281083"/>
                  </a:lnTo>
                  <a:lnTo>
                    <a:pt x="582168" y="282702"/>
                  </a:lnTo>
                  <a:lnTo>
                    <a:pt x="585121" y="293561"/>
                  </a:lnTo>
                  <a:lnTo>
                    <a:pt x="588264" y="293180"/>
                  </a:lnTo>
                  <a:lnTo>
                    <a:pt x="582739" y="300323"/>
                  </a:lnTo>
                  <a:lnTo>
                    <a:pt x="588455" y="307562"/>
                  </a:lnTo>
                  <a:lnTo>
                    <a:pt x="588645" y="309182"/>
                  </a:lnTo>
                  <a:lnTo>
                    <a:pt x="592360" y="313563"/>
                  </a:lnTo>
                  <a:lnTo>
                    <a:pt x="589026" y="312420"/>
                  </a:lnTo>
                  <a:lnTo>
                    <a:pt x="592360" y="313563"/>
                  </a:lnTo>
                  <a:lnTo>
                    <a:pt x="591407" y="318516"/>
                  </a:lnTo>
                  <a:lnTo>
                    <a:pt x="585121" y="319278"/>
                  </a:lnTo>
                  <a:lnTo>
                    <a:pt x="583978" y="322612"/>
                  </a:lnTo>
                  <a:lnTo>
                    <a:pt x="576739" y="328327"/>
                  </a:lnTo>
                  <a:lnTo>
                    <a:pt x="571976" y="328898"/>
                  </a:lnTo>
                  <a:lnTo>
                    <a:pt x="572167" y="330517"/>
                  </a:lnTo>
                  <a:lnTo>
                    <a:pt x="568071" y="335851"/>
                  </a:lnTo>
                  <a:lnTo>
                    <a:pt x="568262" y="337471"/>
                  </a:lnTo>
                  <a:lnTo>
                    <a:pt x="564928" y="336328"/>
                  </a:lnTo>
                  <a:lnTo>
                    <a:pt x="564166" y="330041"/>
                  </a:lnTo>
                  <a:lnTo>
                    <a:pt x="557879" y="330803"/>
                  </a:lnTo>
                  <a:lnTo>
                    <a:pt x="556450" y="332613"/>
                  </a:lnTo>
                  <a:lnTo>
                    <a:pt x="557022" y="337375"/>
                  </a:lnTo>
                  <a:lnTo>
                    <a:pt x="554260" y="340900"/>
                  </a:lnTo>
                  <a:lnTo>
                    <a:pt x="542639" y="350425"/>
                  </a:lnTo>
                  <a:lnTo>
                    <a:pt x="539305" y="349282"/>
                  </a:lnTo>
                  <a:lnTo>
                    <a:pt x="535019" y="352996"/>
                  </a:lnTo>
                  <a:lnTo>
                    <a:pt x="527113" y="354044"/>
                  </a:lnTo>
                  <a:lnTo>
                    <a:pt x="525494" y="354235"/>
                  </a:lnTo>
                  <a:lnTo>
                    <a:pt x="526066" y="358997"/>
                  </a:lnTo>
                  <a:lnTo>
                    <a:pt x="526256" y="360617"/>
                  </a:lnTo>
                  <a:lnTo>
                    <a:pt x="524923" y="362426"/>
                  </a:lnTo>
                  <a:lnTo>
                    <a:pt x="528923" y="368332"/>
                  </a:lnTo>
                  <a:lnTo>
                    <a:pt x="525971" y="370332"/>
                  </a:lnTo>
                  <a:lnTo>
                    <a:pt x="526542" y="375095"/>
                  </a:lnTo>
                  <a:lnTo>
                    <a:pt x="523780" y="378619"/>
                  </a:lnTo>
                  <a:lnTo>
                    <a:pt x="519017" y="379190"/>
                  </a:lnTo>
                  <a:lnTo>
                    <a:pt x="516255" y="382715"/>
                  </a:lnTo>
                  <a:lnTo>
                    <a:pt x="519779" y="385477"/>
                  </a:lnTo>
                  <a:lnTo>
                    <a:pt x="519970" y="387096"/>
                  </a:lnTo>
                  <a:lnTo>
                    <a:pt x="515017" y="386144"/>
                  </a:lnTo>
                  <a:lnTo>
                    <a:pt x="515398" y="389287"/>
                  </a:lnTo>
                  <a:lnTo>
                    <a:pt x="507682" y="391859"/>
                  </a:lnTo>
                  <a:lnTo>
                    <a:pt x="505873" y="390525"/>
                  </a:lnTo>
                  <a:lnTo>
                    <a:pt x="504444" y="392335"/>
                  </a:lnTo>
                  <a:lnTo>
                    <a:pt x="502253" y="400621"/>
                  </a:lnTo>
                  <a:lnTo>
                    <a:pt x="503301" y="408527"/>
                  </a:lnTo>
                  <a:lnTo>
                    <a:pt x="505492" y="413099"/>
                  </a:lnTo>
                  <a:lnTo>
                    <a:pt x="514921" y="411861"/>
                  </a:lnTo>
                  <a:lnTo>
                    <a:pt x="515112" y="413480"/>
                  </a:lnTo>
                  <a:lnTo>
                    <a:pt x="518446" y="414623"/>
                  </a:lnTo>
                  <a:lnTo>
                    <a:pt x="517493" y="419576"/>
                  </a:lnTo>
                  <a:lnTo>
                    <a:pt x="524447" y="423482"/>
                  </a:lnTo>
                  <a:lnTo>
                    <a:pt x="525494" y="431387"/>
                  </a:lnTo>
                  <a:lnTo>
                    <a:pt x="522351" y="431768"/>
                  </a:lnTo>
                  <a:lnTo>
                    <a:pt x="521018" y="433578"/>
                  </a:lnTo>
                  <a:lnTo>
                    <a:pt x="516446" y="435769"/>
                  </a:lnTo>
                  <a:lnTo>
                    <a:pt x="515112" y="437579"/>
                  </a:lnTo>
                  <a:lnTo>
                    <a:pt x="511969" y="437959"/>
                  </a:lnTo>
                  <a:lnTo>
                    <a:pt x="509969" y="435007"/>
                  </a:lnTo>
                  <a:lnTo>
                    <a:pt x="503682" y="435769"/>
                  </a:lnTo>
                  <a:lnTo>
                    <a:pt x="502063" y="435959"/>
                  </a:lnTo>
                  <a:lnTo>
                    <a:pt x="499300" y="439484"/>
                  </a:lnTo>
                  <a:lnTo>
                    <a:pt x="499872" y="444246"/>
                  </a:lnTo>
                  <a:lnTo>
                    <a:pt x="495776" y="449580"/>
                  </a:lnTo>
                  <a:lnTo>
                    <a:pt x="491109" y="463010"/>
                  </a:lnTo>
                  <a:lnTo>
                    <a:pt x="488537" y="468154"/>
                  </a:lnTo>
                  <a:lnTo>
                    <a:pt x="490919" y="474250"/>
                  </a:lnTo>
                  <a:lnTo>
                    <a:pt x="487204" y="482727"/>
                  </a:lnTo>
                  <a:lnTo>
                    <a:pt x="490728" y="485489"/>
                  </a:lnTo>
                  <a:lnTo>
                    <a:pt x="495490" y="484918"/>
                  </a:lnTo>
                  <a:lnTo>
                    <a:pt x="502158" y="487299"/>
                  </a:lnTo>
                  <a:lnTo>
                    <a:pt x="506921" y="486728"/>
                  </a:lnTo>
                  <a:lnTo>
                    <a:pt x="510635" y="491014"/>
                  </a:lnTo>
                  <a:lnTo>
                    <a:pt x="516160" y="496729"/>
                  </a:lnTo>
                  <a:lnTo>
                    <a:pt x="515207" y="501682"/>
                  </a:lnTo>
                  <a:lnTo>
                    <a:pt x="513397" y="500348"/>
                  </a:lnTo>
                  <a:lnTo>
                    <a:pt x="512255" y="503682"/>
                  </a:lnTo>
                  <a:lnTo>
                    <a:pt x="513683" y="514731"/>
                  </a:lnTo>
                  <a:lnTo>
                    <a:pt x="518636" y="515684"/>
                  </a:lnTo>
                  <a:lnTo>
                    <a:pt x="514921" y="524161"/>
                  </a:lnTo>
                  <a:lnTo>
                    <a:pt x="507968" y="520255"/>
                  </a:lnTo>
                  <a:lnTo>
                    <a:pt x="508349" y="523399"/>
                  </a:lnTo>
                  <a:lnTo>
                    <a:pt x="505587" y="526923"/>
                  </a:lnTo>
                  <a:lnTo>
                    <a:pt x="495681" y="525018"/>
                  </a:lnTo>
                  <a:lnTo>
                    <a:pt x="487775" y="526066"/>
                  </a:lnTo>
                  <a:lnTo>
                    <a:pt x="485775" y="535972"/>
                  </a:lnTo>
                  <a:lnTo>
                    <a:pt x="483013" y="539496"/>
                  </a:lnTo>
                  <a:lnTo>
                    <a:pt x="487966" y="540449"/>
                  </a:lnTo>
                  <a:lnTo>
                    <a:pt x="485394" y="545592"/>
                  </a:lnTo>
                  <a:lnTo>
                    <a:pt x="489966" y="543401"/>
                  </a:lnTo>
                  <a:lnTo>
                    <a:pt x="492157" y="547973"/>
                  </a:lnTo>
                  <a:lnTo>
                    <a:pt x="492728" y="552736"/>
                  </a:lnTo>
                  <a:lnTo>
                    <a:pt x="498253" y="558451"/>
                  </a:lnTo>
                  <a:lnTo>
                    <a:pt x="495490" y="561975"/>
                  </a:lnTo>
                  <a:lnTo>
                    <a:pt x="493681" y="560642"/>
                  </a:lnTo>
                  <a:lnTo>
                    <a:pt x="492728" y="565595"/>
                  </a:lnTo>
                  <a:lnTo>
                    <a:pt x="490156" y="570738"/>
                  </a:lnTo>
                  <a:lnTo>
                    <a:pt x="491776" y="570548"/>
                  </a:lnTo>
                  <a:lnTo>
                    <a:pt x="492919" y="567214"/>
                  </a:lnTo>
                  <a:lnTo>
                    <a:pt x="497872" y="568166"/>
                  </a:lnTo>
                  <a:lnTo>
                    <a:pt x="505111" y="562451"/>
                  </a:lnTo>
                  <a:lnTo>
                    <a:pt x="504539" y="557689"/>
                  </a:lnTo>
                  <a:lnTo>
                    <a:pt x="507873" y="558832"/>
                  </a:lnTo>
                  <a:lnTo>
                    <a:pt x="508445" y="563594"/>
                  </a:lnTo>
                  <a:lnTo>
                    <a:pt x="504730" y="572072"/>
                  </a:lnTo>
                  <a:lnTo>
                    <a:pt x="512826" y="572643"/>
                  </a:lnTo>
                  <a:lnTo>
                    <a:pt x="513397" y="577405"/>
                  </a:lnTo>
                  <a:lnTo>
                    <a:pt x="516541" y="577025"/>
                  </a:lnTo>
                  <a:lnTo>
                    <a:pt x="513779" y="593408"/>
                  </a:lnTo>
                  <a:lnTo>
                    <a:pt x="513969" y="595027"/>
                  </a:lnTo>
                  <a:lnTo>
                    <a:pt x="512159" y="593693"/>
                  </a:lnTo>
                  <a:lnTo>
                    <a:pt x="509588" y="598837"/>
                  </a:lnTo>
                  <a:lnTo>
                    <a:pt x="506825" y="602361"/>
                  </a:lnTo>
                  <a:lnTo>
                    <a:pt x="505682" y="605695"/>
                  </a:lnTo>
                  <a:lnTo>
                    <a:pt x="501110" y="607886"/>
                  </a:lnTo>
                  <a:lnTo>
                    <a:pt x="499967" y="611219"/>
                  </a:lnTo>
                  <a:lnTo>
                    <a:pt x="496824" y="611600"/>
                  </a:lnTo>
                  <a:lnTo>
                    <a:pt x="492252" y="613791"/>
                  </a:lnTo>
                  <a:lnTo>
                    <a:pt x="485775" y="613029"/>
                  </a:lnTo>
                  <a:lnTo>
                    <a:pt x="481013" y="613601"/>
                  </a:lnTo>
                  <a:lnTo>
                    <a:pt x="480060" y="618554"/>
                  </a:lnTo>
                  <a:lnTo>
                    <a:pt x="485965" y="627412"/>
                  </a:lnTo>
                  <a:lnTo>
                    <a:pt x="486346" y="630555"/>
                  </a:lnTo>
                  <a:lnTo>
                    <a:pt x="481584" y="631126"/>
                  </a:lnTo>
                  <a:lnTo>
                    <a:pt x="477488" y="636461"/>
                  </a:lnTo>
                  <a:lnTo>
                    <a:pt x="477869" y="639604"/>
                  </a:lnTo>
                  <a:lnTo>
                    <a:pt x="473773" y="644938"/>
                  </a:lnTo>
                  <a:lnTo>
                    <a:pt x="466820" y="641033"/>
                  </a:lnTo>
                  <a:lnTo>
                    <a:pt x="459296" y="645224"/>
                  </a:lnTo>
                  <a:lnTo>
                    <a:pt x="454152" y="642652"/>
                  </a:lnTo>
                  <a:lnTo>
                    <a:pt x="451390" y="646176"/>
                  </a:lnTo>
                  <a:lnTo>
                    <a:pt x="444437" y="642271"/>
                  </a:lnTo>
                  <a:lnTo>
                    <a:pt x="439674" y="642842"/>
                  </a:lnTo>
                  <a:lnTo>
                    <a:pt x="436912" y="646367"/>
                  </a:lnTo>
                  <a:lnTo>
                    <a:pt x="432149" y="646938"/>
                  </a:lnTo>
                  <a:lnTo>
                    <a:pt x="421672" y="653034"/>
                  </a:lnTo>
                  <a:lnTo>
                    <a:pt x="419862" y="651701"/>
                  </a:lnTo>
                  <a:lnTo>
                    <a:pt x="421672" y="653034"/>
                  </a:lnTo>
                  <a:lnTo>
                    <a:pt x="416147" y="660178"/>
                  </a:lnTo>
                  <a:lnTo>
                    <a:pt x="424624" y="663893"/>
                  </a:lnTo>
                  <a:lnTo>
                    <a:pt x="425196" y="668655"/>
                  </a:lnTo>
                  <a:lnTo>
                    <a:pt x="428530" y="669798"/>
                  </a:lnTo>
                  <a:lnTo>
                    <a:pt x="428911" y="672941"/>
                  </a:lnTo>
                  <a:lnTo>
                    <a:pt x="419862" y="677323"/>
                  </a:lnTo>
                  <a:lnTo>
                    <a:pt x="417671" y="672751"/>
                  </a:lnTo>
                  <a:lnTo>
                    <a:pt x="414528" y="673132"/>
                  </a:lnTo>
                  <a:lnTo>
                    <a:pt x="413575" y="678085"/>
                  </a:lnTo>
                  <a:lnTo>
                    <a:pt x="410623" y="680085"/>
                  </a:lnTo>
                  <a:lnTo>
                    <a:pt x="413956" y="681228"/>
                  </a:lnTo>
                  <a:lnTo>
                    <a:pt x="411004" y="683228"/>
                  </a:lnTo>
                  <a:lnTo>
                    <a:pt x="409670" y="685038"/>
                  </a:lnTo>
                  <a:lnTo>
                    <a:pt x="399383" y="679895"/>
                  </a:lnTo>
                  <a:lnTo>
                    <a:pt x="398050" y="681704"/>
                  </a:lnTo>
                  <a:lnTo>
                    <a:pt x="396907" y="685038"/>
                  </a:lnTo>
                  <a:lnTo>
                    <a:pt x="391763" y="682466"/>
                  </a:lnTo>
                  <a:lnTo>
                    <a:pt x="387001" y="683038"/>
                  </a:lnTo>
                  <a:lnTo>
                    <a:pt x="385572" y="684848"/>
                  </a:lnTo>
                  <a:lnTo>
                    <a:pt x="387953" y="690944"/>
                  </a:lnTo>
                  <a:lnTo>
                    <a:pt x="388144" y="692563"/>
                  </a:lnTo>
                  <a:lnTo>
                    <a:pt x="384620" y="689801"/>
                  </a:lnTo>
                  <a:lnTo>
                    <a:pt x="380619" y="683895"/>
                  </a:lnTo>
                  <a:lnTo>
                    <a:pt x="375666" y="682943"/>
                  </a:lnTo>
                  <a:lnTo>
                    <a:pt x="374523" y="686276"/>
                  </a:lnTo>
                  <a:lnTo>
                    <a:pt x="371189" y="685133"/>
                  </a:lnTo>
                  <a:lnTo>
                    <a:pt x="364046" y="679609"/>
                  </a:lnTo>
                  <a:lnTo>
                    <a:pt x="362426" y="679799"/>
                  </a:lnTo>
                  <a:lnTo>
                    <a:pt x="357664" y="680371"/>
                  </a:lnTo>
                  <a:lnTo>
                    <a:pt x="357473" y="678751"/>
                  </a:lnTo>
                  <a:lnTo>
                    <a:pt x="352711" y="679323"/>
                  </a:lnTo>
                  <a:lnTo>
                    <a:pt x="352139" y="674561"/>
                  </a:lnTo>
                  <a:lnTo>
                    <a:pt x="350330" y="673227"/>
                  </a:lnTo>
                  <a:lnTo>
                    <a:pt x="347186" y="673608"/>
                  </a:lnTo>
                  <a:lnTo>
                    <a:pt x="347567" y="676751"/>
                  </a:lnTo>
                  <a:lnTo>
                    <a:pt x="349568" y="679704"/>
                  </a:lnTo>
                  <a:lnTo>
                    <a:pt x="348805" y="686181"/>
                  </a:lnTo>
                  <a:lnTo>
                    <a:pt x="344043" y="686753"/>
                  </a:lnTo>
                  <a:lnTo>
                    <a:pt x="340138" y="693706"/>
                  </a:lnTo>
                  <a:lnTo>
                    <a:pt x="336995" y="694087"/>
                  </a:lnTo>
                  <a:lnTo>
                    <a:pt x="334042" y="696087"/>
                  </a:lnTo>
                  <a:lnTo>
                    <a:pt x="325946" y="695516"/>
                  </a:lnTo>
                  <a:lnTo>
                    <a:pt x="319469" y="694754"/>
                  </a:lnTo>
                  <a:lnTo>
                    <a:pt x="312325" y="689229"/>
                  </a:lnTo>
                  <a:lnTo>
                    <a:pt x="310324" y="686276"/>
                  </a:lnTo>
                  <a:lnTo>
                    <a:pt x="313468" y="685895"/>
                  </a:lnTo>
                  <a:lnTo>
                    <a:pt x="309944" y="683133"/>
                  </a:lnTo>
                  <a:lnTo>
                    <a:pt x="309753" y="681514"/>
                  </a:lnTo>
                  <a:lnTo>
                    <a:pt x="310134" y="684657"/>
                  </a:lnTo>
                  <a:lnTo>
                    <a:pt x="308800" y="686467"/>
                  </a:lnTo>
                  <a:lnTo>
                    <a:pt x="306800" y="683514"/>
                  </a:lnTo>
                  <a:lnTo>
                    <a:pt x="303657" y="683895"/>
                  </a:lnTo>
                  <a:lnTo>
                    <a:pt x="303276" y="680752"/>
                  </a:lnTo>
                  <a:lnTo>
                    <a:pt x="305086" y="682085"/>
                  </a:lnTo>
                  <a:lnTo>
                    <a:pt x="303086" y="679133"/>
                  </a:lnTo>
                  <a:lnTo>
                    <a:pt x="304514" y="677323"/>
                  </a:lnTo>
                  <a:lnTo>
                    <a:pt x="305657" y="673989"/>
                  </a:lnTo>
                  <a:lnTo>
                    <a:pt x="302323" y="672846"/>
                  </a:lnTo>
                  <a:lnTo>
                    <a:pt x="300133" y="668274"/>
                  </a:lnTo>
                  <a:lnTo>
                    <a:pt x="299752" y="665131"/>
                  </a:lnTo>
                  <a:lnTo>
                    <a:pt x="297752" y="662178"/>
                  </a:lnTo>
                  <a:lnTo>
                    <a:pt x="290513" y="667893"/>
                  </a:lnTo>
                  <a:lnTo>
                    <a:pt x="286607" y="674846"/>
                  </a:lnTo>
                  <a:lnTo>
                    <a:pt x="276130" y="668179"/>
                  </a:lnTo>
                  <a:lnTo>
                    <a:pt x="276130" y="681038"/>
                  </a:lnTo>
                  <a:cubicBezTo>
                    <a:pt x="276130" y="681038"/>
                    <a:pt x="279559" y="682180"/>
                    <a:pt x="279559" y="682180"/>
                  </a:cubicBezTo>
                  <a:lnTo>
                    <a:pt x="270700" y="688086"/>
                  </a:lnTo>
                  <a:lnTo>
                    <a:pt x="265176" y="695230"/>
                  </a:lnTo>
                  <a:lnTo>
                    <a:pt x="263176" y="692277"/>
                  </a:lnTo>
                  <a:lnTo>
                    <a:pt x="260223" y="694277"/>
                  </a:lnTo>
                  <a:lnTo>
                    <a:pt x="255270" y="693325"/>
                  </a:lnTo>
                  <a:lnTo>
                    <a:pt x="256699" y="691515"/>
                  </a:lnTo>
                  <a:lnTo>
                    <a:pt x="261461" y="690944"/>
                  </a:lnTo>
                  <a:lnTo>
                    <a:pt x="261271" y="689324"/>
                  </a:lnTo>
                  <a:lnTo>
                    <a:pt x="250793" y="682657"/>
                  </a:lnTo>
                  <a:lnTo>
                    <a:pt x="246031" y="683228"/>
                  </a:lnTo>
                  <a:lnTo>
                    <a:pt x="242697" y="682085"/>
                  </a:lnTo>
                  <a:lnTo>
                    <a:pt x="245078" y="688181"/>
                  </a:lnTo>
                  <a:lnTo>
                    <a:pt x="242316" y="691705"/>
                  </a:lnTo>
                  <a:lnTo>
                    <a:pt x="242888" y="696468"/>
                  </a:lnTo>
                  <a:lnTo>
                    <a:pt x="238982" y="703421"/>
                  </a:lnTo>
                  <a:lnTo>
                    <a:pt x="242316" y="704564"/>
                  </a:lnTo>
                  <a:lnTo>
                    <a:pt x="240982" y="706374"/>
                  </a:lnTo>
                  <a:lnTo>
                    <a:pt x="239363" y="706565"/>
                  </a:lnTo>
                  <a:lnTo>
                    <a:pt x="241554" y="711137"/>
                  </a:lnTo>
                  <a:lnTo>
                    <a:pt x="239935" y="711327"/>
                  </a:lnTo>
                  <a:lnTo>
                    <a:pt x="236791" y="711708"/>
                  </a:lnTo>
                  <a:lnTo>
                    <a:pt x="234029" y="715232"/>
                  </a:lnTo>
                  <a:lnTo>
                    <a:pt x="237554" y="717995"/>
                  </a:lnTo>
                  <a:lnTo>
                    <a:pt x="231457" y="720376"/>
                  </a:lnTo>
                  <a:lnTo>
                    <a:pt x="230696" y="714089"/>
                  </a:lnTo>
                  <a:lnTo>
                    <a:pt x="227552" y="714470"/>
                  </a:lnTo>
                  <a:lnTo>
                    <a:pt x="219075" y="710755"/>
                  </a:lnTo>
                  <a:lnTo>
                    <a:pt x="216503" y="715899"/>
                  </a:lnTo>
                  <a:lnTo>
                    <a:pt x="209550" y="711994"/>
                  </a:lnTo>
                  <a:lnTo>
                    <a:pt x="204025" y="719138"/>
                  </a:lnTo>
                  <a:lnTo>
                    <a:pt x="197072" y="715232"/>
                  </a:lnTo>
                  <a:lnTo>
                    <a:pt x="194500" y="720376"/>
                  </a:lnTo>
                  <a:lnTo>
                    <a:pt x="187166" y="726091"/>
                  </a:lnTo>
                  <a:lnTo>
                    <a:pt x="185547" y="726281"/>
                  </a:lnTo>
                  <a:lnTo>
                    <a:pt x="181451" y="731615"/>
                  </a:lnTo>
                  <a:lnTo>
                    <a:pt x="187928" y="732377"/>
                  </a:lnTo>
                  <a:lnTo>
                    <a:pt x="188119" y="733997"/>
                  </a:lnTo>
                  <a:lnTo>
                    <a:pt x="186499" y="734187"/>
                  </a:lnTo>
                  <a:lnTo>
                    <a:pt x="185356" y="737521"/>
                  </a:lnTo>
                  <a:lnTo>
                    <a:pt x="180594" y="738092"/>
                  </a:lnTo>
                  <a:lnTo>
                    <a:pt x="180594" y="738092"/>
                  </a:lnTo>
                  <a:lnTo>
                    <a:pt x="178403" y="746379"/>
                  </a:lnTo>
                  <a:lnTo>
                    <a:pt x="170879" y="750570"/>
                  </a:lnTo>
                  <a:lnTo>
                    <a:pt x="158020" y="750570"/>
                  </a:lnTo>
                  <a:cubicBezTo>
                    <a:pt x="158020" y="750570"/>
                    <a:pt x="154686" y="749427"/>
                    <a:pt x="154686" y="749427"/>
                  </a:cubicBezTo>
                  <a:lnTo>
                    <a:pt x="154877" y="751046"/>
                  </a:lnTo>
                  <a:lnTo>
                    <a:pt x="154496" y="760762"/>
                  </a:lnTo>
                  <a:lnTo>
                    <a:pt x="154686" y="762381"/>
                  </a:lnTo>
                  <a:lnTo>
                    <a:pt x="151924" y="765905"/>
                  </a:lnTo>
                  <a:lnTo>
                    <a:pt x="146590" y="761809"/>
                  </a:lnTo>
                  <a:lnTo>
                    <a:pt x="142875" y="770287"/>
                  </a:lnTo>
                  <a:lnTo>
                    <a:pt x="139541" y="769144"/>
                  </a:lnTo>
                  <a:lnTo>
                    <a:pt x="141351" y="770477"/>
                  </a:lnTo>
                  <a:lnTo>
                    <a:pt x="141541" y="772097"/>
                  </a:lnTo>
                  <a:lnTo>
                    <a:pt x="143351" y="773430"/>
                  </a:lnTo>
                  <a:lnTo>
                    <a:pt x="140779" y="778574"/>
                  </a:lnTo>
                  <a:lnTo>
                    <a:pt x="141351" y="783336"/>
                  </a:lnTo>
                  <a:lnTo>
                    <a:pt x="138208" y="783717"/>
                  </a:lnTo>
                  <a:lnTo>
                    <a:pt x="135446" y="787241"/>
                  </a:lnTo>
                  <a:lnTo>
                    <a:pt x="133255" y="782669"/>
                  </a:lnTo>
                  <a:lnTo>
                    <a:pt x="127921" y="778574"/>
                  </a:lnTo>
                  <a:lnTo>
                    <a:pt x="125539" y="772478"/>
                  </a:lnTo>
                  <a:lnTo>
                    <a:pt x="118396" y="766953"/>
                  </a:lnTo>
                  <a:lnTo>
                    <a:pt x="118015" y="763810"/>
                  </a:lnTo>
                  <a:lnTo>
                    <a:pt x="108585" y="765048"/>
                  </a:lnTo>
                  <a:lnTo>
                    <a:pt x="102870" y="770573"/>
                  </a:lnTo>
                  <a:lnTo>
                    <a:pt x="99917" y="772573"/>
                  </a:lnTo>
                  <a:lnTo>
                    <a:pt x="99536" y="769430"/>
                  </a:lnTo>
                  <a:lnTo>
                    <a:pt x="94774" y="770001"/>
                  </a:lnTo>
                  <a:lnTo>
                    <a:pt x="92773" y="767048"/>
                  </a:lnTo>
                  <a:lnTo>
                    <a:pt x="89630" y="767429"/>
                  </a:lnTo>
                  <a:lnTo>
                    <a:pt x="85058" y="769620"/>
                  </a:lnTo>
                  <a:lnTo>
                    <a:pt x="89440" y="778669"/>
                  </a:lnTo>
                  <a:lnTo>
                    <a:pt x="88106" y="780479"/>
                  </a:lnTo>
                  <a:lnTo>
                    <a:pt x="83534" y="782669"/>
                  </a:lnTo>
                  <a:lnTo>
                    <a:pt x="84106" y="787432"/>
                  </a:lnTo>
                  <a:lnTo>
                    <a:pt x="77819" y="788194"/>
                  </a:lnTo>
                  <a:lnTo>
                    <a:pt x="79820" y="791147"/>
                  </a:lnTo>
                  <a:lnTo>
                    <a:pt x="78677" y="794480"/>
                  </a:lnTo>
                  <a:lnTo>
                    <a:pt x="76105" y="799624"/>
                  </a:lnTo>
                  <a:lnTo>
                    <a:pt x="72771" y="798481"/>
                  </a:lnTo>
                  <a:lnTo>
                    <a:pt x="70390" y="792385"/>
                  </a:lnTo>
                  <a:lnTo>
                    <a:pt x="67437" y="794385"/>
                  </a:lnTo>
                  <a:lnTo>
                    <a:pt x="64294" y="794766"/>
                  </a:lnTo>
                  <a:lnTo>
                    <a:pt x="59150" y="792194"/>
                  </a:lnTo>
                  <a:lnTo>
                    <a:pt x="57150" y="789242"/>
                  </a:lnTo>
                  <a:lnTo>
                    <a:pt x="59531" y="782479"/>
                  </a:lnTo>
                  <a:lnTo>
                    <a:pt x="56197" y="781336"/>
                  </a:lnTo>
                  <a:lnTo>
                    <a:pt x="54007" y="776764"/>
                  </a:lnTo>
                  <a:lnTo>
                    <a:pt x="50482" y="774001"/>
                  </a:lnTo>
                  <a:lnTo>
                    <a:pt x="44387" y="776383"/>
                  </a:lnTo>
                  <a:lnTo>
                    <a:pt x="46958" y="784098"/>
                  </a:lnTo>
                  <a:lnTo>
                    <a:pt x="34862" y="777621"/>
                  </a:lnTo>
                  <a:lnTo>
                    <a:pt x="28575" y="778383"/>
                  </a:lnTo>
                  <a:lnTo>
                    <a:pt x="31909" y="779526"/>
                  </a:lnTo>
                  <a:lnTo>
                    <a:pt x="35052" y="779145"/>
                  </a:lnTo>
                  <a:lnTo>
                    <a:pt x="35433" y="782288"/>
                  </a:lnTo>
                  <a:lnTo>
                    <a:pt x="38576" y="781907"/>
                  </a:lnTo>
                  <a:lnTo>
                    <a:pt x="32671" y="785908"/>
                  </a:lnTo>
                  <a:lnTo>
                    <a:pt x="30099" y="791051"/>
                  </a:lnTo>
                  <a:lnTo>
                    <a:pt x="28766" y="792861"/>
                  </a:lnTo>
                  <a:lnTo>
                    <a:pt x="27432" y="794671"/>
                  </a:lnTo>
                  <a:lnTo>
                    <a:pt x="24289" y="795052"/>
                  </a:lnTo>
                  <a:lnTo>
                    <a:pt x="19336" y="794099"/>
                  </a:lnTo>
                  <a:lnTo>
                    <a:pt x="18764" y="789337"/>
                  </a:lnTo>
                  <a:lnTo>
                    <a:pt x="13811" y="788384"/>
                  </a:lnTo>
                  <a:lnTo>
                    <a:pt x="13049" y="794861"/>
                  </a:lnTo>
                  <a:lnTo>
                    <a:pt x="15050" y="797814"/>
                  </a:lnTo>
                  <a:lnTo>
                    <a:pt x="16383" y="796004"/>
                  </a:lnTo>
                  <a:lnTo>
                    <a:pt x="16573" y="797624"/>
                  </a:lnTo>
                  <a:lnTo>
                    <a:pt x="19907" y="798767"/>
                  </a:lnTo>
                  <a:lnTo>
                    <a:pt x="21717" y="800100"/>
                  </a:lnTo>
                  <a:lnTo>
                    <a:pt x="20764" y="805053"/>
                  </a:lnTo>
                  <a:lnTo>
                    <a:pt x="17431" y="803910"/>
                  </a:lnTo>
                  <a:lnTo>
                    <a:pt x="14668" y="807434"/>
                  </a:lnTo>
                  <a:lnTo>
                    <a:pt x="13049" y="807625"/>
                  </a:lnTo>
                  <a:lnTo>
                    <a:pt x="14859" y="808958"/>
                  </a:lnTo>
                  <a:lnTo>
                    <a:pt x="21336" y="809720"/>
                  </a:lnTo>
                  <a:lnTo>
                    <a:pt x="16764" y="811911"/>
                  </a:lnTo>
                  <a:lnTo>
                    <a:pt x="14002" y="815435"/>
                  </a:lnTo>
                  <a:lnTo>
                    <a:pt x="8858" y="812864"/>
                  </a:lnTo>
                  <a:lnTo>
                    <a:pt x="7525" y="814673"/>
                  </a:lnTo>
                  <a:lnTo>
                    <a:pt x="8287" y="820960"/>
                  </a:lnTo>
                  <a:lnTo>
                    <a:pt x="6667" y="821150"/>
                  </a:lnTo>
                  <a:lnTo>
                    <a:pt x="0" y="831628"/>
                  </a:lnTo>
                  <a:lnTo>
                    <a:pt x="13430" y="836295"/>
                  </a:lnTo>
                  <a:lnTo>
                    <a:pt x="27432" y="845725"/>
                  </a:lnTo>
                  <a:lnTo>
                    <a:pt x="43434" y="845249"/>
                  </a:lnTo>
                  <a:lnTo>
                    <a:pt x="49911" y="846010"/>
                  </a:lnTo>
                  <a:lnTo>
                    <a:pt x="52864" y="844010"/>
                  </a:lnTo>
                  <a:lnTo>
                    <a:pt x="58198" y="848106"/>
                  </a:lnTo>
                  <a:lnTo>
                    <a:pt x="65913" y="858393"/>
                  </a:lnTo>
                  <a:lnTo>
                    <a:pt x="70675" y="857822"/>
                  </a:lnTo>
                  <a:lnTo>
                    <a:pt x="68866" y="856488"/>
                  </a:lnTo>
                  <a:lnTo>
                    <a:pt x="82487" y="862775"/>
                  </a:lnTo>
                  <a:lnTo>
                    <a:pt x="91821" y="872776"/>
                  </a:lnTo>
                  <a:lnTo>
                    <a:pt x="95821" y="878681"/>
                  </a:lnTo>
                  <a:lnTo>
                    <a:pt x="102965" y="884206"/>
                  </a:lnTo>
                  <a:lnTo>
                    <a:pt x="107156" y="891731"/>
                  </a:lnTo>
                  <a:lnTo>
                    <a:pt x="110490" y="892874"/>
                  </a:lnTo>
                  <a:lnTo>
                    <a:pt x="114776" y="889159"/>
                  </a:lnTo>
                  <a:lnTo>
                    <a:pt x="122682" y="888111"/>
                  </a:lnTo>
                  <a:lnTo>
                    <a:pt x="125825" y="887730"/>
                  </a:lnTo>
                  <a:lnTo>
                    <a:pt x="126016" y="889349"/>
                  </a:lnTo>
                  <a:lnTo>
                    <a:pt x="144208" y="893445"/>
                  </a:lnTo>
                  <a:lnTo>
                    <a:pt x="154305" y="896969"/>
                  </a:lnTo>
                  <a:lnTo>
                    <a:pt x="165545" y="884301"/>
                  </a:lnTo>
                  <a:lnTo>
                    <a:pt x="169259" y="875824"/>
                  </a:lnTo>
                  <a:lnTo>
                    <a:pt x="171831" y="870680"/>
                  </a:lnTo>
                  <a:lnTo>
                    <a:pt x="181546" y="871061"/>
                  </a:lnTo>
                  <a:lnTo>
                    <a:pt x="191643" y="874585"/>
                  </a:lnTo>
                  <a:lnTo>
                    <a:pt x="202692" y="873157"/>
                  </a:lnTo>
                  <a:lnTo>
                    <a:pt x="206026" y="874300"/>
                  </a:lnTo>
                  <a:lnTo>
                    <a:pt x="209169" y="873919"/>
                  </a:lnTo>
                  <a:lnTo>
                    <a:pt x="214694" y="866775"/>
                  </a:lnTo>
                  <a:lnTo>
                    <a:pt x="216884" y="871347"/>
                  </a:lnTo>
                  <a:lnTo>
                    <a:pt x="222599" y="878681"/>
                  </a:lnTo>
                  <a:lnTo>
                    <a:pt x="221456" y="882015"/>
                  </a:lnTo>
                  <a:lnTo>
                    <a:pt x="216884" y="884206"/>
                  </a:lnTo>
                  <a:lnTo>
                    <a:pt x="217456" y="888968"/>
                  </a:lnTo>
                  <a:lnTo>
                    <a:pt x="227362" y="890873"/>
                  </a:lnTo>
                  <a:lnTo>
                    <a:pt x="232886" y="896588"/>
                  </a:lnTo>
                  <a:lnTo>
                    <a:pt x="240602" y="894017"/>
                  </a:lnTo>
                  <a:lnTo>
                    <a:pt x="240030" y="889254"/>
                  </a:lnTo>
                  <a:lnTo>
                    <a:pt x="238220" y="887921"/>
                  </a:lnTo>
                  <a:lnTo>
                    <a:pt x="241363" y="887540"/>
                  </a:lnTo>
                  <a:lnTo>
                    <a:pt x="243364" y="890492"/>
                  </a:lnTo>
                  <a:lnTo>
                    <a:pt x="243554" y="892111"/>
                  </a:lnTo>
                  <a:lnTo>
                    <a:pt x="243364" y="903351"/>
                  </a:lnTo>
                  <a:lnTo>
                    <a:pt x="247079" y="907637"/>
                  </a:lnTo>
                  <a:lnTo>
                    <a:pt x="250222" y="907256"/>
                  </a:lnTo>
                  <a:lnTo>
                    <a:pt x="255746" y="900113"/>
                  </a:lnTo>
                  <a:lnTo>
                    <a:pt x="259937" y="907637"/>
                  </a:lnTo>
                  <a:lnTo>
                    <a:pt x="260509" y="912400"/>
                  </a:lnTo>
                  <a:lnTo>
                    <a:pt x="258889" y="912590"/>
                  </a:lnTo>
                  <a:lnTo>
                    <a:pt x="255556" y="911447"/>
                  </a:lnTo>
                  <a:lnTo>
                    <a:pt x="253174" y="905351"/>
                  </a:lnTo>
                  <a:lnTo>
                    <a:pt x="253365" y="906971"/>
                  </a:lnTo>
                  <a:lnTo>
                    <a:pt x="252413" y="911924"/>
                  </a:lnTo>
                  <a:lnTo>
                    <a:pt x="254603" y="916496"/>
                  </a:lnTo>
                  <a:lnTo>
                    <a:pt x="264033" y="915257"/>
                  </a:lnTo>
                  <a:lnTo>
                    <a:pt x="269938" y="911257"/>
                  </a:lnTo>
                  <a:lnTo>
                    <a:pt x="273653" y="915543"/>
                  </a:lnTo>
                  <a:lnTo>
                    <a:pt x="278606" y="916496"/>
                  </a:lnTo>
                  <a:lnTo>
                    <a:pt x="275272" y="928116"/>
                  </a:lnTo>
                  <a:lnTo>
                    <a:pt x="278797" y="930878"/>
                  </a:lnTo>
                  <a:lnTo>
                    <a:pt x="282512" y="935260"/>
                  </a:lnTo>
                  <a:lnTo>
                    <a:pt x="285655" y="934879"/>
                  </a:lnTo>
                  <a:lnTo>
                    <a:pt x="288607" y="932878"/>
                  </a:lnTo>
                  <a:lnTo>
                    <a:pt x="287560" y="924973"/>
                  </a:lnTo>
                  <a:lnTo>
                    <a:pt x="290703" y="924592"/>
                  </a:lnTo>
                  <a:lnTo>
                    <a:pt x="292513" y="925925"/>
                  </a:lnTo>
                  <a:lnTo>
                    <a:pt x="291560" y="930878"/>
                  </a:lnTo>
                  <a:lnTo>
                    <a:pt x="299466" y="929831"/>
                  </a:lnTo>
                  <a:lnTo>
                    <a:pt x="301466" y="932783"/>
                  </a:lnTo>
                  <a:lnTo>
                    <a:pt x="294418" y="940118"/>
                  </a:lnTo>
                  <a:lnTo>
                    <a:pt x="294227" y="951357"/>
                  </a:lnTo>
                  <a:lnTo>
                    <a:pt x="303086" y="958215"/>
                  </a:lnTo>
                  <a:lnTo>
                    <a:pt x="306229" y="957834"/>
                  </a:lnTo>
                  <a:lnTo>
                    <a:pt x="321088" y="973550"/>
                  </a:lnTo>
                  <a:lnTo>
                    <a:pt x="326612" y="979265"/>
                  </a:lnTo>
                  <a:lnTo>
                    <a:pt x="366141" y="999934"/>
                  </a:lnTo>
                  <a:lnTo>
                    <a:pt x="378428" y="1008031"/>
                  </a:lnTo>
                  <a:lnTo>
                    <a:pt x="388715" y="1013174"/>
                  </a:lnTo>
                  <a:lnTo>
                    <a:pt x="400526" y="1018032"/>
                  </a:lnTo>
                  <a:lnTo>
                    <a:pt x="408622" y="1018603"/>
                  </a:lnTo>
                  <a:lnTo>
                    <a:pt x="411766" y="1018223"/>
                  </a:lnTo>
                  <a:lnTo>
                    <a:pt x="411385" y="1015079"/>
                  </a:lnTo>
                  <a:lnTo>
                    <a:pt x="414719" y="1016222"/>
                  </a:lnTo>
                  <a:lnTo>
                    <a:pt x="416528" y="1017556"/>
                  </a:lnTo>
                  <a:lnTo>
                    <a:pt x="429768" y="1020699"/>
                  </a:lnTo>
                  <a:lnTo>
                    <a:pt x="430911" y="1017365"/>
                  </a:lnTo>
                  <a:lnTo>
                    <a:pt x="435864" y="1018318"/>
                  </a:lnTo>
                  <a:lnTo>
                    <a:pt x="437674" y="1019651"/>
                  </a:lnTo>
                  <a:lnTo>
                    <a:pt x="440627" y="1017651"/>
                  </a:lnTo>
                  <a:lnTo>
                    <a:pt x="440246" y="1014508"/>
                  </a:lnTo>
                  <a:lnTo>
                    <a:pt x="469868" y="1020318"/>
                  </a:lnTo>
                  <a:lnTo>
                    <a:pt x="507206" y="1023557"/>
                  </a:lnTo>
                  <a:lnTo>
                    <a:pt x="517303" y="1027081"/>
                  </a:lnTo>
                  <a:lnTo>
                    <a:pt x="518922" y="1026890"/>
                  </a:lnTo>
                  <a:lnTo>
                    <a:pt x="521684" y="1023366"/>
                  </a:lnTo>
                  <a:lnTo>
                    <a:pt x="529590" y="1022318"/>
                  </a:lnTo>
                  <a:lnTo>
                    <a:pt x="542830" y="1025461"/>
                  </a:lnTo>
                  <a:lnTo>
                    <a:pt x="547306" y="1023271"/>
                  </a:lnTo>
                  <a:lnTo>
                    <a:pt x="554641" y="1030319"/>
                  </a:lnTo>
                  <a:lnTo>
                    <a:pt x="567880" y="1033463"/>
                  </a:lnTo>
                  <a:lnTo>
                    <a:pt x="573596" y="1027938"/>
                  </a:lnTo>
                  <a:lnTo>
                    <a:pt x="574357" y="1021461"/>
                  </a:lnTo>
                  <a:lnTo>
                    <a:pt x="575691" y="1019651"/>
                  </a:lnTo>
                  <a:lnTo>
                    <a:pt x="575310" y="1016508"/>
                  </a:lnTo>
                  <a:lnTo>
                    <a:pt x="577691" y="1022604"/>
                  </a:lnTo>
                  <a:lnTo>
                    <a:pt x="582263" y="1020413"/>
                  </a:lnTo>
                  <a:lnTo>
                    <a:pt x="584263" y="1023366"/>
                  </a:lnTo>
                  <a:lnTo>
                    <a:pt x="586264" y="1026319"/>
                  </a:lnTo>
                  <a:lnTo>
                    <a:pt x="583502" y="1029843"/>
                  </a:lnTo>
                  <a:lnTo>
                    <a:pt x="587216" y="1034129"/>
                  </a:lnTo>
                  <a:lnTo>
                    <a:pt x="588550" y="1032319"/>
                  </a:lnTo>
                  <a:lnTo>
                    <a:pt x="588931" y="1035463"/>
                  </a:lnTo>
                  <a:lnTo>
                    <a:pt x="599980" y="1034034"/>
                  </a:lnTo>
                  <a:lnTo>
                    <a:pt x="600170" y="1035653"/>
                  </a:lnTo>
                  <a:lnTo>
                    <a:pt x="603313" y="1035272"/>
                  </a:lnTo>
                  <a:lnTo>
                    <a:pt x="606266" y="1033272"/>
                  </a:lnTo>
                  <a:lnTo>
                    <a:pt x="607219" y="1028319"/>
                  </a:lnTo>
                  <a:lnTo>
                    <a:pt x="608647" y="1026509"/>
                  </a:lnTo>
                  <a:lnTo>
                    <a:pt x="609790" y="1023176"/>
                  </a:lnTo>
                  <a:lnTo>
                    <a:pt x="611410" y="1022985"/>
                  </a:lnTo>
                  <a:lnTo>
                    <a:pt x="613410" y="1025938"/>
                  </a:lnTo>
                  <a:lnTo>
                    <a:pt x="619125" y="1020413"/>
                  </a:lnTo>
                  <a:lnTo>
                    <a:pt x="620935" y="1021747"/>
                  </a:lnTo>
                  <a:lnTo>
                    <a:pt x="623888" y="1019747"/>
                  </a:lnTo>
                  <a:lnTo>
                    <a:pt x="626078" y="1011460"/>
                  </a:lnTo>
                  <a:lnTo>
                    <a:pt x="627412" y="1009650"/>
                  </a:lnTo>
                  <a:lnTo>
                    <a:pt x="628364" y="1004697"/>
                  </a:lnTo>
                  <a:lnTo>
                    <a:pt x="633889" y="997553"/>
                  </a:lnTo>
                  <a:lnTo>
                    <a:pt x="639985" y="995172"/>
                  </a:lnTo>
                  <a:lnTo>
                    <a:pt x="644366" y="991457"/>
                  </a:lnTo>
                  <a:lnTo>
                    <a:pt x="644938" y="983361"/>
                  </a:lnTo>
                  <a:lnTo>
                    <a:pt x="643128" y="982027"/>
                  </a:lnTo>
                  <a:lnTo>
                    <a:pt x="642938" y="980408"/>
                  </a:lnTo>
                  <a:lnTo>
                    <a:pt x="645128" y="972122"/>
                  </a:lnTo>
                  <a:lnTo>
                    <a:pt x="650462" y="963454"/>
                  </a:lnTo>
                  <a:lnTo>
                    <a:pt x="649700" y="957167"/>
                  </a:lnTo>
                  <a:lnTo>
                    <a:pt x="652463" y="953643"/>
                  </a:lnTo>
                  <a:lnTo>
                    <a:pt x="661130" y="946118"/>
                  </a:lnTo>
                  <a:lnTo>
                    <a:pt x="660940" y="944499"/>
                  </a:lnTo>
                  <a:lnTo>
                    <a:pt x="657606" y="943356"/>
                  </a:lnTo>
                  <a:lnTo>
                    <a:pt x="660749" y="942975"/>
                  </a:lnTo>
                  <a:lnTo>
                    <a:pt x="671417" y="951262"/>
                  </a:lnTo>
                  <a:lnTo>
                    <a:pt x="687610" y="952405"/>
                  </a:lnTo>
                  <a:lnTo>
                    <a:pt x="698468" y="949452"/>
                  </a:lnTo>
                  <a:lnTo>
                    <a:pt x="700659" y="954024"/>
                  </a:lnTo>
                  <a:lnTo>
                    <a:pt x="705231" y="951833"/>
                  </a:lnTo>
                  <a:lnTo>
                    <a:pt x="710565" y="943166"/>
                  </a:lnTo>
                  <a:lnTo>
                    <a:pt x="714661" y="937832"/>
                  </a:lnTo>
                  <a:lnTo>
                    <a:pt x="725519" y="947642"/>
                  </a:lnTo>
                  <a:lnTo>
                    <a:pt x="727520" y="950595"/>
                  </a:lnTo>
                  <a:lnTo>
                    <a:pt x="735044" y="959263"/>
                  </a:lnTo>
                  <a:lnTo>
                    <a:pt x="746474" y="960977"/>
                  </a:lnTo>
                  <a:lnTo>
                    <a:pt x="755142" y="966311"/>
                  </a:lnTo>
                  <a:lnTo>
                    <a:pt x="754380" y="972788"/>
                  </a:lnTo>
                  <a:lnTo>
                    <a:pt x="765810" y="974503"/>
                  </a:lnTo>
                  <a:lnTo>
                    <a:pt x="770572" y="973931"/>
                  </a:lnTo>
                  <a:lnTo>
                    <a:pt x="780193" y="974312"/>
                  </a:lnTo>
                  <a:lnTo>
                    <a:pt x="781812" y="974122"/>
                  </a:lnTo>
                  <a:lnTo>
                    <a:pt x="782764" y="969169"/>
                  </a:lnTo>
                  <a:lnTo>
                    <a:pt x="790480" y="966597"/>
                  </a:lnTo>
                  <a:lnTo>
                    <a:pt x="790670" y="968216"/>
                  </a:lnTo>
                  <a:lnTo>
                    <a:pt x="797338" y="970598"/>
                  </a:lnTo>
                  <a:lnTo>
                    <a:pt x="804005" y="972979"/>
                  </a:lnTo>
                  <a:lnTo>
                    <a:pt x="806387" y="979075"/>
                  </a:lnTo>
                  <a:lnTo>
                    <a:pt x="813721" y="986123"/>
                  </a:lnTo>
                  <a:lnTo>
                    <a:pt x="817150" y="1000125"/>
                  </a:lnTo>
                  <a:lnTo>
                    <a:pt x="818197" y="1008031"/>
                  </a:lnTo>
                  <a:lnTo>
                    <a:pt x="812863" y="1016699"/>
                  </a:lnTo>
                  <a:lnTo>
                    <a:pt x="813245" y="1019842"/>
                  </a:lnTo>
                  <a:lnTo>
                    <a:pt x="817436" y="1027367"/>
                  </a:lnTo>
                  <a:lnTo>
                    <a:pt x="819817" y="1033463"/>
                  </a:lnTo>
                  <a:lnTo>
                    <a:pt x="822960" y="1033082"/>
                  </a:lnTo>
                  <a:lnTo>
                    <a:pt x="833247" y="1025366"/>
                  </a:lnTo>
                  <a:lnTo>
                    <a:pt x="834771" y="1025176"/>
                  </a:lnTo>
                  <a:lnTo>
                    <a:pt x="836200" y="1023366"/>
                  </a:lnTo>
                  <a:lnTo>
                    <a:pt x="844105" y="1022318"/>
                  </a:lnTo>
                  <a:lnTo>
                    <a:pt x="849058" y="1023271"/>
                  </a:lnTo>
                  <a:lnTo>
                    <a:pt x="850868" y="1024604"/>
                  </a:lnTo>
                  <a:lnTo>
                    <a:pt x="854012" y="1024223"/>
                  </a:lnTo>
                  <a:lnTo>
                    <a:pt x="852678" y="1026033"/>
                  </a:lnTo>
                  <a:lnTo>
                    <a:pt x="852869" y="1027652"/>
                  </a:lnTo>
                  <a:lnTo>
                    <a:pt x="856012" y="1027271"/>
                  </a:lnTo>
                  <a:lnTo>
                    <a:pt x="857822" y="1028605"/>
                  </a:lnTo>
                  <a:lnTo>
                    <a:pt x="858203" y="1031748"/>
                  </a:lnTo>
                  <a:lnTo>
                    <a:pt x="865918" y="1029176"/>
                  </a:lnTo>
                  <a:lnTo>
                    <a:pt x="870109" y="1036701"/>
                  </a:lnTo>
                  <a:lnTo>
                    <a:pt x="870680" y="1041464"/>
                  </a:lnTo>
                  <a:lnTo>
                    <a:pt x="874205" y="1044226"/>
                  </a:lnTo>
                  <a:lnTo>
                    <a:pt x="874395" y="1045845"/>
                  </a:lnTo>
                  <a:lnTo>
                    <a:pt x="878967" y="1043654"/>
                  </a:lnTo>
                  <a:lnTo>
                    <a:pt x="884682" y="1050893"/>
                  </a:lnTo>
                  <a:lnTo>
                    <a:pt x="886301" y="1050703"/>
                  </a:lnTo>
                  <a:lnTo>
                    <a:pt x="889254" y="1048702"/>
                  </a:lnTo>
                  <a:lnTo>
                    <a:pt x="891064" y="1050036"/>
                  </a:lnTo>
                  <a:lnTo>
                    <a:pt x="895826" y="1049465"/>
                  </a:lnTo>
                  <a:lnTo>
                    <a:pt x="902780" y="1053370"/>
                  </a:lnTo>
                  <a:lnTo>
                    <a:pt x="904970" y="1057942"/>
                  </a:lnTo>
                  <a:lnTo>
                    <a:pt x="908875" y="1050989"/>
                  </a:lnTo>
                  <a:lnTo>
                    <a:pt x="913829" y="1051941"/>
                  </a:lnTo>
                  <a:lnTo>
                    <a:pt x="923449" y="1052322"/>
                  </a:lnTo>
                  <a:lnTo>
                    <a:pt x="928973" y="1045178"/>
                  </a:lnTo>
                  <a:lnTo>
                    <a:pt x="934498" y="1050893"/>
                  </a:lnTo>
                  <a:lnTo>
                    <a:pt x="953643" y="1050036"/>
                  </a:lnTo>
                  <a:lnTo>
                    <a:pt x="960120" y="1037939"/>
                  </a:lnTo>
                  <a:lnTo>
                    <a:pt x="964311" y="1045464"/>
                  </a:lnTo>
                  <a:lnTo>
                    <a:pt x="974027" y="1045845"/>
                  </a:lnTo>
                  <a:lnTo>
                    <a:pt x="976979" y="1043845"/>
                  </a:lnTo>
                  <a:lnTo>
                    <a:pt x="980504" y="1046607"/>
                  </a:lnTo>
                  <a:lnTo>
                    <a:pt x="977360" y="1046988"/>
                  </a:lnTo>
                  <a:lnTo>
                    <a:pt x="979551" y="1051560"/>
                  </a:lnTo>
                  <a:lnTo>
                    <a:pt x="983266" y="1055846"/>
                  </a:lnTo>
                  <a:lnTo>
                    <a:pt x="981932" y="1057656"/>
                  </a:lnTo>
                  <a:lnTo>
                    <a:pt x="987266" y="1061752"/>
                  </a:lnTo>
                  <a:lnTo>
                    <a:pt x="988028" y="1068038"/>
                  </a:lnTo>
                  <a:lnTo>
                    <a:pt x="988409" y="1071182"/>
                  </a:lnTo>
                  <a:lnTo>
                    <a:pt x="987266" y="1074515"/>
                  </a:lnTo>
                  <a:lnTo>
                    <a:pt x="989076" y="1075849"/>
                  </a:lnTo>
                  <a:lnTo>
                    <a:pt x="987743" y="1077659"/>
                  </a:lnTo>
                  <a:lnTo>
                    <a:pt x="988123" y="1080802"/>
                  </a:lnTo>
                  <a:lnTo>
                    <a:pt x="986504" y="1080992"/>
                  </a:lnTo>
                  <a:lnTo>
                    <a:pt x="986695" y="1082611"/>
                  </a:lnTo>
                  <a:lnTo>
                    <a:pt x="984123" y="1087755"/>
                  </a:lnTo>
                  <a:lnTo>
                    <a:pt x="984695" y="1092518"/>
                  </a:lnTo>
                  <a:lnTo>
                    <a:pt x="991362" y="1094899"/>
                  </a:lnTo>
                  <a:lnTo>
                    <a:pt x="993553" y="1099471"/>
                  </a:lnTo>
                  <a:lnTo>
                    <a:pt x="992219" y="1101281"/>
                  </a:lnTo>
                  <a:lnTo>
                    <a:pt x="994029" y="1102614"/>
                  </a:lnTo>
                  <a:lnTo>
                    <a:pt x="992696" y="1104424"/>
                  </a:lnTo>
                  <a:lnTo>
                    <a:pt x="994886" y="1108996"/>
                  </a:lnTo>
                  <a:lnTo>
                    <a:pt x="993934" y="1113949"/>
                  </a:lnTo>
                  <a:lnTo>
                    <a:pt x="990981" y="1115949"/>
                  </a:lnTo>
                  <a:lnTo>
                    <a:pt x="993362" y="1122045"/>
                  </a:lnTo>
                  <a:lnTo>
                    <a:pt x="992029" y="1123855"/>
                  </a:lnTo>
                  <a:lnTo>
                    <a:pt x="995744" y="1128141"/>
                  </a:lnTo>
                  <a:lnTo>
                    <a:pt x="997363" y="1127951"/>
                  </a:lnTo>
                  <a:lnTo>
                    <a:pt x="997934" y="1132713"/>
                  </a:lnTo>
                  <a:lnTo>
                    <a:pt x="996601" y="1134523"/>
                  </a:lnTo>
                  <a:lnTo>
                    <a:pt x="997363" y="1140809"/>
                  </a:lnTo>
                  <a:lnTo>
                    <a:pt x="993457" y="1147763"/>
                  </a:lnTo>
                  <a:lnTo>
                    <a:pt x="992505" y="1152716"/>
                  </a:lnTo>
                  <a:lnTo>
                    <a:pt x="999172" y="1155097"/>
                  </a:lnTo>
                  <a:lnTo>
                    <a:pt x="1007459" y="1157288"/>
                  </a:lnTo>
                  <a:lnTo>
                    <a:pt x="1011174" y="1161574"/>
                  </a:lnTo>
                  <a:lnTo>
                    <a:pt x="1010983" y="1159955"/>
                  </a:lnTo>
                  <a:lnTo>
                    <a:pt x="1010412" y="1155192"/>
                  </a:lnTo>
                  <a:lnTo>
                    <a:pt x="1015365" y="1156144"/>
                  </a:lnTo>
                  <a:lnTo>
                    <a:pt x="1016889" y="1155954"/>
                  </a:lnTo>
                  <a:lnTo>
                    <a:pt x="1015079" y="1154621"/>
                  </a:lnTo>
                  <a:lnTo>
                    <a:pt x="1014698" y="1151477"/>
                  </a:lnTo>
                  <a:lnTo>
                    <a:pt x="1017841" y="1151096"/>
                  </a:lnTo>
                  <a:lnTo>
                    <a:pt x="1017080" y="1144810"/>
                  </a:lnTo>
                  <a:lnTo>
                    <a:pt x="1018604" y="1144619"/>
                  </a:lnTo>
                  <a:lnTo>
                    <a:pt x="1020794" y="1149191"/>
                  </a:lnTo>
                  <a:lnTo>
                    <a:pt x="1020223" y="1144429"/>
                  </a:lnTo>
                  <a:lnTo>
                    <a:pt x="1025366" y="1147001"/>
                  </a:lnTo>
                  <a:lnTo>
                    <a:pt x="1026795" y="1145191"/>
                  </a:lnTo>
                  <a:lnTo>
                    <a:pt x="1023271" y="1142428"/>
                  </a:lnTo>
                  <a:lnTo>
                    <a:pt x="1026414" y="1142048"/>
                  </a:lnTo>
                  <a:lnTo>
                    <a:pt x="1020508" y="1133189"/>
                  </a:lnTo>
                  <a:lnTo>
                    <a:pt x="1021937" y="1131380"/>
                  </a:lnTo>
                  <a:lnTo>
                    <a:pt x="1027271" y="1135475"/>
                  </a:lnTo>
                  <a:lnTo>
                    <a:pt x="1025080" y="1130903"/>
                  </a:lnTo>
                  <a:lnTo>
                    <a:pt x="1029653" y="1128713"/>
                  </a:lnTo>
                  <a:lnTo>
                    <a:pt x="1024319" y="1124617"/>
                  </a:lnTo>
                  <a:lnTo>
                    <a:pt x="1032034" y="1122045"/>
                  </a:lnTo>
                  <a:lnTo>
                    <a:pt x="1026700" y="1117949"/>
                  </a:lnTo>
                  <a:lnTo>
                    <a:pt x="1026223" y="1101947"/>
                  </a:lnTo>
                  <a:lnTo>
                    <a:pt x="1030510" y="1098233"/>
                  </a:lnTo>
                  <a:lnTo>
                    <a:pt x="1026795" y="1093946"/>
                  </a:lnTo>
                  <a:lnTo>
                    <a:pt x="1028129" y="1092136"/>
                  </a:lnTo>
                  <a:lnTo>
                    <a:pt x="1030319" y="1096709"/>
                  </a:lnTo>
                  <a:lnTo>
                    <a:pt x="1031653" y="1094899"/>
                  </a:lnTo>
                  <a:lnTo>
                    <a:pt x="1030891" y="1088612"/>
                  </a:lnTo>
                  <a:lnTo>
                    <a:pt x="1032510" y="1088422"/>
                  </a:lnTo>
                  <a:lnTo>
                    <a:pt x="1031938" y="1083659"/>
                  </a:lnTo>
                  <a:lnTo>
                    <a:pt x="1034891" y="1081659"/>
                  </a:lnTo>
                  <a:lnTo>
                    <a:pt x="1034129" y="1075373"/>
                  </a:lnTo>
                  <a:lnTo>
                    <a:pt x="1035463" y="1073563"/>
                  </a:lnTo>
                  <a:lnTo>
                    <a:pt x="1038987" y="1076325"/>
                  </a:lnTo>
                  <a:lnTo>
                    <a:pt x="1042130" y="1075944"/>
                  </a:lnTo>
                  <a:lnTo>
                    <a:pt x="1041940" y="1074325"/>
                  </a:lnTo>
                  <a:lnTo>
                    <a:pt x="1043083" y="1070991"/>
                  </a:lnTo>
                  <a:lnTo>
                    <a:pt x="1046607" y="1073753"/>
                  </a:lnTo>
                  <a:lnTo>
                    <a:pt x="1049179" y="1068610"/>
                  </a:lnTo>
                  <a:lnTo>
                    <a:pt x="1044416" y="1069181"/>
                  </a:lnTo>
                  <a:lnTo>
                    <a:pt x="1045750" y="1067372"/>
                  </a:lnTo>
                  <a:lnTo>
                    <a:pt x="1042416" y="1066228"/>
                  </a:lnTo>
                  <a:lnTo>
                    <a:pt x="1043749" y="1064419"/>
                  </a:lnTo>
                  <a:lnTo>
                    <a:pt x="1053179" y="1063181"/>
                  </a:lnTo>
                  <a:lnTo>
                    <a:pt x="1048036" y="1060609"/>
                  </a:lnTo>
                  <a:lnTo>
                    <a:pt x="1049179" y="1057275"/>
                  </a:lnTo>
                  <a:lnTo>
                    <a:pt x="1047845" y="1059085"/>
                  </a:lnTo>
                  <a:lnTo>
                    <a:pt x="1046036" y="1057751"/>
                  </a:lnTo>
                  <a:lnTo>
                    <a:pt x="1047179" y="1054418"/>
                  </a:lnTo>
                  <a:lnTo>
                    <a:pt x="1048988" y="1055751"/>
                  </a:lnTo>
                  <a:lnTo>
                    <a:pt x="1047179" y="1054418"/>
                  </a:lnTo>
                  <a:lnTo>
                    <a:pt x="1048131" y="1049465"/>
                  </a:lnTo>
                  <a:lnTo>
                    <a:pt x="1049941" y="1050798"/>
                  </a:lnTo>
                  <a:lnTo>
                    <a:pt x="1051370" y="1048988"/>
                  </a:lnTo>
                  <a:lnTo>
                    <a:pt x="1049560" y="1047655"/>
                  </a:lnTo>
                  <a:lnTo>
                    <a:pt x="1048988" y="1042892"/>
                  </a:lnTo>
                  <a:lnTo>
                    <a:pt x="1051941" y="1040892"/>
                  </a:lnTo>
                  <a:lnTo>
                    <a:pt x="1048798" y="1041273"/>
                  </a:lnTo>
                  <a:lnTo>
                    <a:pt x="1048226" y="1036510"/>
                  </a:lnTo>
                  <a:lnTo>
                    <a:pt x="1046607" y="1036701"/>
                  </a:lnTo>
                  <a:lnTo>
                    <a:pt x="1044988" y="1036892"/>
                  </a:lnTo>
                  <a:lnTo>
                    <a:pt x="1049369" y="1033177"/>
                  </a:lnTo>
                  <a:lnTo>
                    <a:pt x="1052703" y="1034320"/>
                  </a:lnTo>
                  <a:lnTo>
                    <a:pt x="1052322" y="1031176"/>
                  </a:lnTo>
                  <a:lnTo>
                    <a:pt x="1055656" y="1032319"/>
                  </a:lnTo>
                  <a:lnTo>
                    <a:pt x="1056799" y="1028986"/>
                  </a:lnTo>
                  <a:lnTo>
                    <a:pt x="1057751" y="1024033"/>
                  </a:lnTo>
                  <a:lnTo>
                    <a:pt x="1059561" y="1025366"/>
                  </a:lnTo>
                  <a:lnTo>
                    <a:pt x="1058989" y="1020604"/>
                  </a:lnTo>
                  <a:lnTo>
                    <a:pt x="1065276" y="1019842"/>
                  </a:lnTo>
                  <a:lnTo>
                    <a:pt x="1064514" y="1013555"/>
                  </a:lnTo>
                  <a:lnTo>
                    <a:pt x="1066895" y="1006793"/>
                  </a:lnTo>
                  <a:lnTo>
                    <a:pt x="1072801" y="1002792"/>
                  </a:lnTo>
                  <a:lnTo>
                    <a:pt x="1075373" y="997649"/>
                  </a:lnTo>
                  <a:lnTo>
                    <a:pt x="1079659" y="993934"/>
                  </a:lnTo>
                  <a:lnTo>
                    <a:pt x="1079468" y="992315"/>
                  </a:lnTo>
                  <a:lnTo>
                    <a:pt x="1076706" y="995839"/>
                  </a:lnTo>
                  <a:lnTo>
                    <a:pt x="1074896" y="994505"/>
                  </a:lnTo>
                  <a:lnTo>
                    <a:pt x="1078230" y="982885"/>
                  </a:lnTo>
                  <a:lnTo>
                    <a:pt x="1078039" y="981266"/>
                  </a:lnTo>
                  <a:lnTo>
                    <a:pt x="1083183" y="983837"/>
                  </a:lnTo>
                  <a:lnTo>
                    <a:pt x="1084326" y="980503"/>
                  </a:lnTo>
                  <a:lnTo>
                    <a:pt x="1086136" y="981837"/>
                  </a:lnTo>
                  <a:lnTo>
                    <a:pt x="1087469" y="980027"/>
                  </a:lnTo>
                  <a:lnTo>
                    <a:pt x="1085660" y="978694"/>
                  </a:lnTo>
                  <a:lnTo>
                    <a:pt x="1090613" y="979646"/>
                  </a:lnTo>
                  <a:lnTo>
                    <a:pt x="1093565" y="977646"/>
                  </a:lnTo>
                  <a:lnTo>
                    <a:pt x="1088422" y="975074"/>
                  </a:lnTo>
                  <a:lnTo>
                    <a:pt x="1088231" y="973455"/>
                  </a:lnTo>
                  <a:lnTo>
                    <a:pt x="1090041" y="974789"/>
                  </a:lnTo>
                  <a:lnTo>
                    <a:pt x="1094804" y="974217"/>
                  </a:lnTo>
                  <a:lnTo>
                    <a:pt x="1094423" y="971074"/>
                  </a:lnTo>
                  <a:lnTo>
                    <a:pt x="1095756" y="969264"/>
                  </a:lnTo>
                  <a:lnTo>
                    <a:pt x="1097566" y="970598"/>
                  </a:lnTo>
                  <a:lnTo>
                    <a:pt x="1097185" y="967454"/>
                  </a:lnTo>
                  <a:lnTo>
                    <a:pt x="1098804" y="967264"/>
                  </a:lnTo>
                  <a:lnTo>
                    <a:pt x="1103186" y="963549"/>
                  </a:lnTo>
                  <a:lnTo>
                    <a:pt x="1105186" y="966502"/>
                  </a:lnTo>
                  <a:lnTo>
                    <a:pt x="1112044" y="957643"/>
                  </a:lnTo>
                  <a:lnTo>
                    <a:pt x="1108710" y="956501"/>
                  </a:lnTo>
                  <a:lnTo>
                    <a:pt x="1109472" y="950024"/>
                  </a:lnTo>
                  <a:lnTo>
                    <a:pt x="1112234" y="946499"/>
                  </a:lnTo>
                  <a:lnTo>
                    <a:pt x="1113854" y="946309"/>
                  </a:lnTo>
                  <a:lnTo>
                    <a:pt x="1111853" y="943356"/>
                  </a:lnTo>
                  <a:lnTo>
                    <a:pt x="1113473" y="943166"/>
                  </a:lnTo>
                  <a:lnTo>
                    <a:pt x="1114997" y="942975"/>
                  </a:lnTo>
                  <a:lnTo>
                    <a:pt x="1114615" y="939832"/>
                  </a:lnTo>
                  <a:lnTo>
                    <a:pt x="1117759" y="939451"/>
                  </a:lnTo>
                  <a:lnTo>
                    <a:pt x="1117378" y="936308"/>
                  </a:lnTo>
                  <a:lnTo>
                    <a:pt x="1120140" y="932783"/>
                  </a:lnTo>
                  <a:lnTo>
                    <a:pt x="1121093" y="927830"/>
                  </a:lnTo>
                  <a:lnTo>
                    <a:pt x="1118521" y="920115"/>
                  </a:lnTo>
                  <a:lnTo>
                    <a:pt x="1120712" y="911828"/>
                  </a:lnTo>
                  <a:lnTo>
                    <a:pt x="1118902" y="910495"/>
                  </a:lnTo>
                  <a:lnTo>
                    <a:pt x="1123188" y="906780"/>
                  </a:lnTo>
                  <a:lnTo>
                    <a:pt x="1121188" y="903827"/>
                  </a:lnTo>
                  <a:lnTo>
                    <a:pt x="1124331" y="903446"/>
                  </a:lnTo>
                  <a:lnTo>
                    <a:pt x="1126903" y="898303"/>
                  </a:lnTo>
                  <a:lnTo>
                    <a:pt x="1138714" y="903160"/>
                  </a:lnTo>
                  <a:lnTo>
                    <a:pt x="1146620" y="902113"/>
                  </a:lnTo>
                  <a:lnTo>
                    <a:pt x="1149763" y="901732"/>
                  </a:lnTo>
                  <a:lnTo>
                    <a:pt x="1150715" y="896779"/>
                  </a:lnTo>
                  <a:lnTo>
                    <a:pt x="1153668" y="894778"/>
                  </a:lnTo>
                  <a:lnTo>
                    <a:pt x="1153668" y="894778"/>
                  </a:lnTo>
                  <a:lnTo>
                    <a:pt x="1150525" y="895159"/>
                  </a:lnTo>
                  <a:lnTo>
                    <a:pt x="1151287" y="888683"/>
                  </a:lnTo>
                  <a:lnTo>
                    <a:pt x="1153287" y="891635"/>
                  </a:lnTo>
                  <a:lnTo>
                    <a:pt x="1157764" y="889444"/>
                  </a:lnTo>
                  <a:lnTo>
                    <a:pt x="1155764" y="886492"/>
                  </a:lnTo>
                  <a:lnTo>
                    <a:pt x="1160716" y="887444"/>
                  </a:lnTo>
                  <a:lnTo>
                    <a:pt x="1160526" y="885825"/>
                  </a:lnTo>
                  <a:lnTo>
                    <a:pt x="1158526" y="882872"/>
                  </a:lnTo>
                  <a:lnTo>
                    <a:pt x="1161669" y="882491"/>
                  </a:lnTo>
                  <a:lnTo>
                    <a:pt x="1164622" y="880491"/>
                  </a:lnTo>
                  <a:lnTo>
                    <a:pt x="1162622" y="877538"/>
                  </a:lnTo>
                  <a:lnTo>
                    <a:pt x="1165574" y="875538"/>
                  </a:lnTo>
                  <a:lnTo>
                    <a:pt x="1167194" y="875348"/>
                  </a:lnTo>
                  <a:lnTo>
                    <a:pt x="1166241" y="880301"/>
                  </a:lnTo>
                  <a:lnTo>
                    <a:pt x="1169384" y="879919"/>
                  </a:lnTo>
                  <a:lnTo>
                    <a:pt x="1169003" y="876776"/>
                  </a:lnTo>
                  <a:lnTo>
                    <a:pt x="1166813" y="872204"/>
                  </a:lnTo>
                  <a:lnTo>
                    <a:pt x="1166431" y="869061"/>
                  </a:lnTo>
                  <a:lnTo>
                    <a:pt x="1167765" y="867251"/>
                  </a:lnTo>
                  <a:lnTo>
                    <a:pt x="1174528" y="869633"/>
                  </a:lnTo>
                  <a:lnTo>
                    <a:pt x="1173956" y="864870"/>
                  </a:lnTo>
                  <a:lnTo>
                    <a:pt x="1179671" y="859346"/>
                  </a:lnTo>
                  <a:lnTo>
                    <a:pt x="1182814" y="858965"/>
                  </a:lnTo>
                  <a:lnTo>
                    <a:pt x="1182814" y="858965"/>
                  </a:lnTo>
                  <a:lnTo>
                    <a:pt x="1185958" y="858584"/>
                  </a:lnTo>
                  <a:lnTo>
                    <a:pt x="1187577" y="858393"/>
                  </a:lnTo>
                  <a:lnTo>
                    <a:pt x="1187768" y="860012"/>
                  </a:lnTo>
                  <a:lnTo>
                    <a:pt x="1189577" y="861346"/>
                  </a:lnTo>
                  <a:lnTo>
                    <a:pt x="1190911" y="859536"/>
                  </a:lnTo>
                  <a:lnTo>
                    <a:pt x="1196054" y="862108"/>
                  </a:lnTo>
                  <a:lnTo>
                    <a:pt x="1200340" y="858393"/>
                  </a:lnTo>
                  <a:lnTo>
                    <a:pt x="1202531" y="862965"/>
                  </a:lnTo>
                  <a:lnTo>
                    <a:pt x="1205865" y="864108"/>
                  </a:lnTo>
                  <a:lnTo>
                    <a:pt x="1209389" y="866870"/>
                  </a:lnTo>
                  <a:lnTo>
                    <a:pt x="1217295" y="865823"/>
                  </a:lnTo>
                  <a:lnTo>
                    <a:pt x="1221296" y="871728"/>
                  </a:lnTo>
                  <a:lnTo>
                    <a:pt x="1227963" y="874109"/>
                  </a:lnTo>
                  <a:lnTo>
                    <a:pt x="1234249" y="873347"/>
                  </a:lnTo>
                  <a:lnTo>
                    <a:pt x="1240727" y="874109"/>
                  </a:lnTo>
                  <a:lnTo>
                    <a:pt x="1243108" y="880205"/>
                  </a:lnTo>
                  <a:lnTo>
                    <a:pt x="1255205" y="886682"/>
                  </a:lnTo>
                  <a:lnTo>
                    <a:pt x="1259205" y="892588"/>
                  </a:lnTo>
                  <a:lnTo>
                    <a:pt x="1264158" y="893540"/>
                  </a:lnTo>
                  <a:lnTo>
                    <a:pt x="1270254" y="891159"/>
                  </a:lnTo>
                  <a:lnTo>
                    <a:pt x="1272064" y="892493"/>
                  </a:lnTo>
                  <a:lnTo>
                    <a:pt x="1274445" y="898589"/>
                  </a:lnTo>
                  <a:lnTo>
                    <a:pt x="1280160" y="905827"/>
                  </a:lnTo>
                  <a:lnTo>
                    <a:pt x="1290638" y="912495"/>
                  </a:lnTo>
                  <a:lnTo>
                    <a:pt x="1292828" y="917067"/>
                  </a:lnTo>
                  <a:lnTo>
                    <a:pt x="1295972" y="916686"/>
                  </a:lnTo>
                  <a:lnTo>
                    <a:pt x="1302068" y="927164"/>
                  </a:lnTo>
                  <a:lnTo>
                    <a:pt x="1314069" y="920782"/>
                  </a:lnTo>
                  <a:lnTo>
                    <a:pt x="1319213" y="923353"/>
                  </a:lnTo>
                  <a:lnTo>
                    <a:pt x="1322356" y="922973"/>
                  </a:lnTo>
                  <a:lnTo>
                    <a:pt x="1325880" y="925735"/>
                  </a:lnTo>
                  <a:lnTo>
                    <a:pt x="1331405" y="918591"/>
                  </a:lnTo>
                  <a:lnTo>
                    <a:pt x="1338644" y="912876"/>
                  </a:lnTo>
                  <a:lnTo>
                    <a:pt x="1341406" y="909352"/>
                  </a:lnTo>
                  <a:lnTo>
                    <a:pt x="1347883" y="910114"/>
                  </a:lnTo>
                  <a:lnTo>
                    <a:pt x="1350455" y="904970"/>
                  </a:lnTo>
                  <a:lnTo>
                    <a:pt x="1353979" y="894874"/>
                  </a:lnTo>
                  <a:lnTo>
                    <a:pt x="1359313" y="898969"/>
                  </a:lnTo>
                  <a:lnTo>
                    <a:pt x="1358741" y="894207"/>
                  </a:lnTo>
                  <a:lnTo>
                    <a:pt x="1364266" y="887063"/>
                  </a:lnTo>
                  <a:lnTo>
                    <a:pt x="1382649" y="892778"/>
                  </a:lnTo>
                  <a:lnTo>
                    <a:pt x="1387793" y="895350"/>
                  </a:lnTo>
                  <a:lnTo>
                    <a:pt x="1395698" y="907161"/>
                  </a:lnTo>
                  <a:lnTo>
                    <a:pt x="1406747" y="918591"/>
                  </a:lnTo>
                  <a:lnTo>
                    <a:pt x="1405128" y="918782"/>
                  </a:lnTo>
                  <a:lnTo>
                    <a:pt x="1406938" y="920115"/>
                  </a:lnTo>
                  <a:lnTo>
                    <a:pt x="1412462" y="925830"/>
                  </a:lnTo>
                  <a:lnTo>
                    <a:pt x="1420368" y="924782"/>
                  </a:lnTo>
                  <a:lnTo>
                    <a:pt x="1427416" y="917448"/>
                  </a:lnTo>
                  <a:lnTo>
                    <a:pt x="1435703" y="919639"/>
                  </a:lnTo>
                  <a:lnTo>
                    <a:pt x="1442371" y="909161"/>
                  </a:lnTo>
                  <a:lnTo>
                    <a:pt x="1450657" y="911352"/>
                  </a:lnTo>
                  <a:lnTo>
                    <a:pt x="1455230" y="909161"/>
                  </a:lnTo>
                  <a:lnTo>
                    <a:pt x="1463326" y="909733"/>
                  </a:lnTo>
                  <a:lnTo>
                    <a:pt x="1467612" y="906018"/>
                  </a:lnTo>
                  <a:lnTo>
                    <a:pt x="1469327" y="894588"/>
                  </a:lnTo>
                  <a:lnTo>
                    <a:pt x="1472089" y="891064"/>
                  </a:lnTo>
                  <a:lnTo>
                    <a:pt x="1484757" y="889444"/>
                  </a:lnTo>
                  <a:lnTo>
                    <a:pt x="1485519" y="882968"/>
                  </a:lnTo>
                  <a:lnTo>
                    <a:pt x="1491044" y="875824"/>
                  </a:lnTo>
                  <a:lnTo>
                    <a:pt x="1497330" y="875062"/>
                  </a:lnTo>
                  <a:lnTo>
                    <a:pt x="1502283" y="876014"/>
                  </a:lnTo>
                  <a:lnTo>
                    <a:pt x="1495139" y="857726"/>
                  </a:lnTo>
                  <a:lnTo>
                    <a:pt x="1495139" y="857726"/>
                  </a:lnTo>
                  <a:close/>
                </a:path>
              </a:pathLst>
            </a:custGeom>
            <a:solidFill>
              <a:srgbClr val="D71440"/>
            </a:solidFill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2" name="Volný tvar: obrazec 51">
              <a:extLst>
                <a:ext uri="{FF2B5EF4-FFF2-40B4-BE49-F238E27FC236}">
                  <a16:creationId xmlns:a16="http://schemas.microsoft.com/office/drawing/2014/main" id="{F29A38F6-1C4E-4D48-3E06-7955DD1A4B0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90470" y="2042826"/>
              <a:ext cx="887920" cy="627602"/>
            </a:xfrm>
            <a:custGeom>
              <a:avLst/>
              <a:gdLst>
                <a:gd name="connsiteX0" fmla="*/ 883920 w 887920"/>
                <a:gd name="connsiteY0" fmla="*/ 565595 h 627602"/>
                <a:gd name="connsiteX1" fmla="*/ 883158 w 887920"/>
                <a:gd name="connsiteY1" fmla="*/ 559308 h 627602"/>
                <a:gd name="connsiteX2" fmla="*/ 881634 w 887920"/>
                <a:gd name="connsiteY2" fmla="*/ 559499 h 627602"/>
                <a:gd name="connsiteX3" fmla="*/ 877443 w 887920"/>
                <a:gd name="connsiteY3" fmla="*/ 551974 h 627602"/>
                <a:gd name="connsiteX4" fmla="*/ 873824 w 887920"/>
                <a:gd name="connsiteY4" fmla="*/ 549212 h 627602"/>
                <a:gd name="connsiteX5" fmla="*/ 873443 w 887920"/>
                <a:gd name="connsiteY5" fmla="*/ 546068 h 627602"/>
                <a:gd name="connsiteX6" fmla="*/ 868109 w 887920"/>
                <a:gd name="connsiteY6" fmla="*/ 541973 h 627602"/>
                <a:gd name="connsiteX7" fmla="*/ 865727 w 887920"/>
                <a:gd name="connsiteY7" fmla="*/ 535877 h 627602"/>
                <a:gd name="connsiteX8" fmla="*/ 859250 w 887920"/>
                <a:gd name="connsiteY8" fmla="*/ 535019 h 627602"/>
                <a:gd name="connsiteX9" fmla="*/ 859060 w 887920"/>
                <a:gd name="connsiteY9" fmla="*/ 533495 h 627602"/>
                <a:gd name="connsiteX10" fmla="*/ 863918 w 887920"/>
                <a:gd name="connsiteY10" fmla="*/ 534448 h 627602"/>
                <a:gd name="connsiteX11" fmla="*/ 852869 w 887920"/>
                <a:gd name="connsiteY11" fmla="*/ 523018 h 627602"/>
                <a:gd name="connsiteX12" fmla="*/ 857441 w 887920"/>
                <a:gd name="connsiteY12" fmla="*/ 520827 h 627602"/>
                <a:gd name="connsiteX13" fmla="*/ 860012 w 887920"/>
                <a:gd name="connsiteY13" fmla="*/ 515684 h 627602"/>
                <a:gd name="connsiteX14" fmla="*/ 850297 w 887920"/>
                <a:gd name="connsiteY14" fmla="*/ 515303 h 627602"/>
                <a:gd name="connsiteX15" fmla="*/ 843153 w 887920"/>
                <a:gd name="connsiteY15" fmla="*/ 509873 h 627602"/>
                <a:gd name="connsiteX16" fmla="*/ 853631 w 887920"/>
                <a:gd name="connsiteY16" fmla="*/ 490919 h 627602"/>
                <a:gd name="connsiteX17" fmla="*/ 851440 w 887920"/>
                <a:gd name="connsiteY17" fmla="*/ 486347 h 627602"/>
                <a:gd name="connsiteX18" fmla="*/ 858107 w 887920"/>
                <a:gd name="connsiteY18" fmla="*/ 475869 h 627602"/>
                <a:gd name="connsiteX19" fmla="*/ 863822 w 887920"/>
                <a:gd name="connsiteY19" fmla="*/ 470345 h 627602"/>
                <a:gd name="connsiteX20" fmla="*/ 855155 w 887920"/>
                <a:gd name="connsiteY20" fmla="*/ 465011 h 627602"/>
                <a:gd name="connsiteX21" fmla="*/ 854297 w 887920"/>
                <a:gd name="connsiteY21" fmla="*/ 458724 h 627602"/>
                <a:gd name="connsiteX22" fmla="*/ 850106 w 887920"/>
                <a:gd name="connsiteY22" fmla="*/ 451199 h 627602"/>
                <a:gd name="connsiteX23" fmla="*/ 839629 w 887920"/>
                <a:gd name="connsiteY23" fmla="*/ 444532 h 627602"/>
                <a:gd name="connsiteX24" fmla="*/ 839438 w 887920"/>
                <a:gd name="connsiteY24" fmla="*/ 442913 h 627602"/>
                <a:gd name="connsiteX25" fmla="*/ 844582 w 887920"/>
                <a:gd name="connsiteY25" fmla="*/ 432721 h 627602"/>
                <a:gd name="connsiteX26" fmla="*/ 851630 w 887920"/>
                <a:gd name="connsiteY26" fmla="*/ 425387 h 627602"/>
                <a:gd name="connsiteX27" fmla="*/ 844582 w 887920"/>
                <a:gd name="connsiteY27" fmla="*/ 419862 h 627602"/>
                <a:gd name="connsiteX28" fmla="*/ 838200 w 887920"/>
                <a:gd name="connsiteY28" fmla="*/ 395002 h 627602"/>
                <a:gd name="connsiteX29" fmla="*/ 836390 w 887920"/>
                <a:gd name="connsiteY29" fmla="*/ 393668 h 627602"/>
                <a:gd name="connsiteX30" fmla="*/ 835819 w 887920"/>
                <a:gd name="connsiteY30" fmla="*/ 388906 h 627602"/>
                <a:gd name="connsiteX31" fmla="*/ 839343 w 887920"/>
                <a:gd name="connsiteY31" fmla="*/ 378809 h 627602"/>
                <a:gd name="connsiteX32" fmla="*/ 837343 w 887920"/>
                <a:gd name="connsiteY32" fmla="*/ 375857 h 627602"/>
                <a:gd name="connsiteX33" fmla="*/ 838867 w 887920"/>
                <a:gd name="connsiteY33" fmla="*/ 362807 h 627602"/>
                <a:gd name="connsiteX34" fmla="*/ 831723 w 887920"/>
                <a:gd name="connsiteY34" fmla="*/ 357378 h 627602"/>
                <a:gd name="connsiteX35" fmla="*/ 832961 w 887920"/>
                <a:gd name="connsiteY35" fmla="*/ 353949 h 627602"/>
                <a:gd name="connsiteX36" fmla="*/ 840772 w 887920"/>
                <a:gd name="connsiteY36" fmla="*/ 340138 h 627602"/>
                <a:gd name="connsiteX37" fmla="*/ 842963 w 887920"/>
                <a:gd name="connsiteY37" fmla="*/ 331851 h 627602"/>
                <a:gd name="connsiteX38" fmla="*/ 838391 w 887920"/>
                <a:gd name="connsiteY38" fmla="*/ 321183 h 627602"/>
                <a:gd name="connsiteX39" fmla="*/ 822579 w 887920"/>
                <a:gd name="connsiteY39" fmla="*/ 310420 h 627602"/>
                <a:gd name="connsiteX40" fmla="*/ 818579 w 887920"/>
                <a:gd name="connsiteY40" fmla="*/ 304514 h 627602"/>
                <a:gd name="connsiteX41" fmla="*/ 817626 w 887920"/>
                <a:gd name="connsiteY41" fmla="*/ 296609 h 627602"/>
                <a:gd name="connsiteX42" fmla="*/ 817340 w 887920"/>
                <a:gd name="connsiteY42" fmla="*/ 282226 h 627602"/>
                <a:gd name="connsiteX43" fmla="*/ 808101 w 887920"/>
                <a:gd name="connsiteY43" fmla="*/ 284988 h 627602"/>
                <a:gd name="connsiteX44" fmla="*/ 799624 w 887920"/>
                <a:gd name="connsiteY44" fmla="*/ 268415 h 627602"/>
                <a:gd name="connsiteX45" fmla="*/ 791909 w 887920"/>
                <a:gd name="connsiteY45" fmla="*/ 270986 h 627602"/>
                <a:gd name="connsiteX46" fmla="*/ 778669 w 887920"/>
                <a:gd name="connsiteY46" fmla="*/ 267843 h 627602"/>
                <a:gd name="connsiteX47" fmla="*/ 774764 w 887920"/>
                <a:gd name="connsiteY47" fmla="*/ 261938 h 627602"/>
                <a:gd name="connsiteX48" fmla="*/ 767620 w 887920"/>
                <a:gd name="connsiteY48" fmla="*/ 256508 h 627602"/>
                <a:gd name="connsiteX49" fmla="*/ 759333 w 887920"/>
                <a:gd name="connsiteY49" fmla="*/ 254318 h 627602"/>
                <a:gd name="connsiteX50" fmla="*/ 757142 w 887920"/>
                <a:gd name="connsiteY50" fmla="*/ 249746 h 627602"/>
                <a:gd name="connsiteX51" fmla="*/ 750380 w 887920"/>
                <a:gd name="connsiteY51" fmla="*/ 247460 h 627602"/>
                <a:gd name="connsiteX52" fmla="*/ 745712 w 887920"/>
                <a:gd name="connsiteY52" fmla="*/ 248031 h 627602"/>
                <a:gd name="connsiteX53" fmla="*/ 741140 w 887920"/>
                <a:gd name="connsiteY53" fmla="*/ 250222 h 627602"/>
                <a:gd name="connsiteX54" fmla="*/ 729520 w 887920"/>
                <a:gd name="connsiteY54" fmla="*/ 272510 h 627602"/>
                <a:gd name="connsiteX55" fmla="*/ 718376 w 887920"/>
                <a:gd name="connsiteY55" fmla="*/ 285179 h 627602"/>
                <a:gd name="connsiteX56" fmla="*/ 713613 w 887920"/>
                <a:gd name="connsiteY56" fmla="*/ 285750 h 627602"/>
                <a:gd name="connsiteX57" fmla="*/ 710089 w 887920"/>
                <a:gd name="connsiteY57" fmla="*/ 283083 h 627602"/>
                <a:gd name="connsiteX58" fmla="*/ 706850 w 887920"/>
                <a:gd name="connsiteY58" fmla="*/ 283464 h 627602"/>
                <a:gd name="connsiteX59" fmla="*/ 703136 w 887920"/>
                <a:gd name="connsiteY59" fmla="*/ 279083 h 627602"/>
                <a:gd name="connsiteX60" fmla="*/ 705898 w 887920"/>
                <a:gd name="connsiteY60" fmla="*/ 275558 h 627602"/>
                <a:gd name="connsiteX61" fmla="*/ 705517 w 887920"/>
                <a:gd name="connsiteY61" fmla="*/ 272415 h 627602"/>
                <a:gd name="connsiteX62" fmla="*/ 706660 w 887920"/>
                <a:gd name="connsiteY62" fmla="*/ 269081 h 627602"/>
                <a:gd name="connsiteX63" fmla="*/ 704660 w 887920"/>
                <a:gd name="connsiteY63" fmla="*/ 266129 h 627602"/>
                <a:gd name="connsiteX64" fmla="*/ 704279 w 887920"/>
                <a:gd name="connsiteY64" fmla="*/ 262890 h 627602"/>
                <a:gd name="connsiteX65" fmla="*/ 699897 w 887920"/>
                <a:gd name="connsiteY65" fmla="*/ 253841 h 627602"/>
                <a:gd name="connsiteX66" fmla="*/ 705803 w 887920"/>
                <a:gd name="connsiteY66" fmla="*/ 249936 h 627602"/>
                <a:gd name="connsiteX67" fmla="*/ 703802 w 887920"/>
                <a:gd name="connsiteY67" fmla="*/ 246983 h 627602"/>
                <a:gd name="connsiteX68" fmla="*/ 706565 w 887920"/>
                <a:gd name="connsiteY68" fmla="*/ 243364 h 627602"/>
                <a:gd name="connsiteX69" fmla="*/ 702850 w 887920"/>
                <a:gd name="connsiteY69" fmla="*/ 239078 h 627602"/>
                <a:gd name="connsiteX70" fmla="*/ 706755 w 887920"/>
                <a:gd name="connsiteY70" fmla="*/ 232124 h 627602"/>
                <a:gd name="connsiteX71" fmla="*/ 704945 w 887920"/>
                <a:gd name="connsiteY71" fmla="*/ 230791 h 627602"/>
                <a:gd name="connsiteX72" fmla="*/ 701231 w 887920"/>
                <a:gd name="connsiteY72" fmla="*/ 213646 h 627602"/>
                <a:gd name="connsiteX73" fmla="*/ 695420 w 887920"/>
                <a:gd name="connsiteY73" fmla="*/ 206312 h 627602"/>
                <a:gd name="connsiteX74" fmla="*/ 691134 w 887920"/>
                <a:gd name="connsiteY74" fmla="*/ 197263 h 627602"/>
                <a:gd name="connsiteX75" fmla="*/ 689515 w 887920"/>
                <a:gd name="connsiteY75" fmla="*/ 197453 h 627602"/>
                <a:gd name="connsiteX76" fmla="*/ 686181 w 887920"/>
                <a:gd name="connsiteY76" fmla="*/ 196310 h 627602"/>
                <a:gd name="connsiteX77" fmla="*/ 684562 w 887920"/>
                <a:gd name="connsiteY77" fmla="*/ 196501 h 627602"/>
                <a:gd name="connsiteX78" fmla="*/ 684181 w 887920"/>
                <a:gd name="connsiteY78" fmla="*/ 193358 h 627602"/>
                <a:gd name="connsiteX79" fmla="*/ 682847 w 887920"/>
                <a:gd name="connsiteY79" fmla="*/ 195072 h 627602"/>
                <a:gd name="connsiteX80" fmla="*/ 680847 w 887920"/>
                <a:gd name="connsiteY80" fmla="*/ 192119 h 627602"/>
                <a:gd name="connsiteX81" fmla="*/ 674465 w 887920"/>
                <a:gd name="connsiteY81" fmla="*/ 192977 h 627602"/>
                <a:gd name="connsiteX82" fmla="*/ 674084 w 887920"/>
                <a:gd name="connsiteY82" fmla="*/ 189833 h 627602"/>
                <a:gd name="connsiteX83" fmla="*/ 672560 w 887920"/>
                <a:gd name="connsiteY83" fmla="*/ 190024 h 627602"/>
                <a:gd name="connsiteX84" fmla="*/ 665798 w 887920"/>
                <a:gd name="connsiteY84" fmla="*/ 187643 h 627602"/>
                <a:gd name="connsiteX85" fmla="*/ 660654 w 887920"/>
                <a:gd name="connsiteY85" fmla="*/ 185071 h 627602"/>
                <a:gd name="connsiteX86" fmla="*/ 649224 w 887920"/>
                <a:gd name="connsiteY86" fmla="*/ 170498 h 627602"/>
                <a:gd name="connsiteX87" fmla="*/ 648367 w 887920"/>
                <a:gd name="connsiteY87" fmla="*/ 164211 h 627602"/>
                <a:gd name="connsiteX88" fmla="*/ 640842 w 887920"/>
                <a:gd name="connsiteY88" fmla="*/ 155543 h 627602"/>
                <a:gd name="connsiteX89" fmla="*/ 638651 w 887920"/>
                <a:gd name="connsiteY89" fmla="*/ 150971 h 627602"/>
                <a:gd name="connsiteX90" fmla="*/ 635318 w 887920"/>
                <a:gd name="connsiteY90" fmla="*/ 124206 h 627602"/>
                <a:gd name="connsiteX91" fmla="*/ 631508 w 887920"/>
                <a:gd name="connsiteY91" fmla="*/ 119824 h 627602"/>
                <a:gd name="connsiteX92" fmla="*/ 633698 w 887920"/>
                <a:gd name="connsiteY92" fmla="*/ 111538 h 627602"/>
                <a:gd name="connsiteX93" fmla="*/ 632841 w 887920"/>
                <a:gd name="connsiteY93" fmla="*/ 105251 h 627602"/>
                <a:gd name="connsiteX94" fmla="*/ 634079 w 887920"/>
                <a:gd name="connsiteY94" fmla="*/ 101918 h 627602"/>
                <a:gd name="connsiteX95" fmla="*/ 638366 w 887920"/>
                <a:gd name="connsiteY95" fmla="*/ 98108 h 627602"/>
                <a:gd name="connsiteX96" fmla="*/ 639509 w 887920"/>
                <a:gd name="connsiteY96" fmla="*/ 94774 h 627602"/>
                <a:gd name="connsiteX97" fmla="*/ 646843 w 887920"/>
                <a:gd name="connsiteY97" fmla="*/ 89059 h 627602"/>
                <a:gd name="connsiteX98" fmla="*/ 647605 w 887920"/>
                <a:gd name="connsiteY98" fmla="*/ 82487 h 627602"/>
                <a:gd name="connsiteX99" fmla="*/ 643223 w 887920"/>
                <a:gd name="connsiteY99" fmla="*/ 73438 h 627602"/>
                <a:gd name="connsiteX100" fmla="*/ 636556 w 887920"/>
                <a:gd name="connsiteY100" fmla="*/ 71057 h 627602"/>
                <a:gd name="connsiteX101" fmla="*/ 638270 w 887920"/>
                <a:gd name="connsiteY101" fmla="*/ 59626 h 627602"/>
                <a:gd name="connsiteX102" fmla="*/ 637318 w 887920"/>
                <a:gd name="connsiteY102" fmla="*/ 51721 h 627602"/>
                <a:gd name="connsiteX103" fmla="*/ 622459 w 887920"/>
                <a:gd name="connsiteY103" fmla="*/ 48863 h 627602"/>
                <a:gd name="connsiteX104" fmla="*/ 619316 w 887920"/>
                <a:gd name="connsiteY104" fmla="*/ 49244 h 627602"/>
                <a:gd name="connsiteX105" fmla="*/ 617982 w 887920"/>
                <a:gd name="connsiteY105" fmla="*/ 51054 h 627602"/>
                <a:gd name="connsiteX106" fmla="*/ 612172 w 887920"/>
                <a:gd name="connsiteY106" fmla="*/ 43720 h 627602"/>
                <a:gd name="connsiteX107" fmla="*/ 615125 w 887920"/>
                <a:gd name="connsiteY107" fmla="*/ 41720 h 627602"/>
                <a:gd name="connsiteX108" fmla="*/ 613124 w 887920"/>
                <a:gd name="connsiteY108" fmla="*/ 38767 h 627602"/>
                <a:gd name="connsiteX109" fmla="*/ 610743 w 887920"/>
                <a:gd name="connsiteY109" fmla="*/ 32671 h 627602"/>
                <a:gd name="connsiteX110" fmla="*/ 613696 w 887920"/>
                <a:gd name="connsiteY110" fmla="*/ 30670 h 627602"/>
                <a:gd name="connsiteX111" fmla="*/ 611981 w 887920"/>
                <a:gd name="connsiteY111" fmla="*/ 29337 h 627602"/>
                <a:gd name="connsiteX112" fmla="*/ 597980 w 887920"/>
                <a:gd name="connsiteY112" fmla="*/ 32671 h 627602"/>
                <a:gd name="connsiteX113" fmla="*/ 592074 w 887920"/>
                <a:gd name="connsiteY113" fmla="*/ 36671 h 627602"/>
                <a:gd name="connsiteX114" fmla="*/ 587121 w 887920"/>
                <a:gd name="connsiteY114" fmla="*/ 35719 h 627602"/>
                <a:gd name="connsiteX115" fmla="*/ 583025 w 887920"/>
                <a:gd name="connsiteY115" fmla="*/ 41053 h 627602"/>
                <a:gd name="connsiteX116" fmla="*/ 583787 w 887920"/>
                <a:gd name="connsiteY116" fmla="*/ 47339 h 627602"/>
                <a:gd name="connsiteX117" fmla="*/ 577691 w 887920"/>
                <a:gd name="connsiteY117" fmla="*/ 49720 h 627602"/>
                <a:gd name="connsiteX118" fmla="*/ 569024 w 887920"/>
                <a:gd name="connsiteY118" fmla="*/ 44387 h 627602"/>
                <a:gd name="connsiteX119" fmla="*/ 565595 w 887920"/>
                <a:gd name="connsiteY119" fmla="*/ 43244 h 627602"/>
                <a:gd name="connsiteX120" fmla="*/ 568547 w 887920"/>
                <a:gd name="connsiteY120" fmla="*/ 41243 h 627602"/>
                <a:gd name="connsiteX121" fmla="*/ 569309 w 887920"/>
                <a:gd name="connsiteY121" fmla="*/ 34766 h 627602"/>
                <a:gd name="connsiteX122" fmla="*/ 568928 w 887920"/>
                <a:gd name="connsiteY122" fmla="*/ 31623 h 627602"/>
                <a:gd name="connsiteX123" fmla="*/ 568547 w 887920"/>
                <a:gd name="connsiteY123" fmla="*/ 15621 h 627602"/>
                <a:gd name="connsiteX124" fmla="*/ 565499 w 887920"/>
                <a:gd name="connsiteY124" fmla="*/ 4763 h 627602"/>
                <a:gd name="connsiteX125" fmla="*/ 553498 w 887920"/>
                <a:gd name="connsiteY125" fmla="*/ 11144 h 627602"/>
                <a:gd name="connsiteX126" fmla="*/ 545592 w 887920"/>
                <a:gd name="connsiteY126" fmla="*/ 12097 h 627602"/>
                <a:gd name="connsiteX127" fmla="*/ 544830 w 887920"/>
                <a:gd name="connsiteY127" fmla="*/ 18669 h 627602"/>
                <a:gd name="connsiteX128" fmla="*/ 539591 w 887920"/>
                <a:gd name="connsiteY128" fmla="*/ 27337 h 627602"/>
                <a:gd name="connsiteX129" fmla="*/ 538734 w 887920"/>
                <a:gd name="connsiteY129" fmla="*/ 33814 h 627602"/>
                <a:gd name="connsiteX130" fmla="*/ 542163 w 887920"/>
                <a:gd name="connsiteY130" fmla="*/ 35052 h 627602"/>
                <a:gd name="connsiteX131" fmla="*/ 545687 w 887920"/>
                <a:gd name="connsiteY131" fmla="*/ 37814 h 627602"/>
                <a:gd name="connsiteX132" fmla="*/ 540734 w 887920"/>
                <a:gd name="connsiteY132" fmla="*/ 36767 h 627602"/>
                <a:gd name="connsiteX133" fmla="*/ 536258 w 887920"/>
                <a:gd name="connsiteY133" fmla="*/ 38957 h 627602"/>
                <a:gd name="connsiteX134" fmla="*/ 530924 w 887920"/>
                <a:gd name="connsiteY134" fmla="*/ 34862 h 627602"/>
                <a:gd name="connsiteX135" fmla="*/ 524542 w 887920"/>
                <a:gd name="connsiteY135" fmla="*/ 35624 h 627602"/>
                <a:gd name="connsiteX136" fmla="*/ 519875 w 887920"/>
                <a:gd name="connsiteY136" fmla="*/ 36290 h 627602"/>
                <a:gd name="connsiteX137" fmla="*/ 515684 w 887920"/>
                <a:gd name="connsiteY137" fmla="*/ 28766 h 627602"/>
                <a:gd name="connsiteX138" fmla="*/ 515112 w 887920"/>
                <a:gd name="connsiteY138" fmla="*/ 24003 h 627602"/>
                <a:gd name="connsiteX139" fmla="*/ 522161 w 887920"/>
                <a:gd name="connsiteY139" fmla="*/ 16669 h 627602"/>
                <a:gd name="connsiteX140" fmla="*/ 518351 w 887920"/>
                <a:gd name="connsiteY140" fmla="*/ 12383 h 627602"/>
                <a:gd name="connsiteX141" fmla="*/ 505397 w 887920"/>
                <a:gd name="connsiteY141" fmla="*/ 10859 h 627602"/>
                <a:gd name="connsiteX142" fmla="*/ 500634 w 887920"/>
                <a:gd name="connsiteY142" fmla="*/ 11430 h 627602"/>
                <a:gd name="connsiteX143" fmla="*/ 500063 w 887920"/>
                <a:gd name="connsiteY143" fmla="*/ 6668 h 627602"/>
                <a:gd name="connsiteX144" fmla="*/ 495110 w 887920"/>
                <a:gd name="connsiteY144" fmla="*/ 5715 h 627602"/>
                <a:gd name="connsiteX145" fmla="*/ 494729 w 887920"/>
                <a:gd name="connsiteY145" fmla="*/ 2572 h 627602"/>
                <a:gd name="connsiteX146" fmla="*/ 489585 w 887920"/>
                <a:gd name="connsiteY146" fmla="*/ 0 h 627602"/>
                <a:gd name="connsiteX147" fmla="*/ 487966 w 887920"/>
                <a:gd name="connsiteY147" fmla="*/ 190 h 627602"/>
                <a:gd name="connsiteX148" fmla="*/ 487775 w 887920"/>
                <a:gd name="connsiteY148" fmla="*/ 11430 h 627602"/>
                <a:gd name="connsiteX149" fmla="*/ 481679 w 887920"/>
                <a:gd name="connsiteY149" fmla="*/ 13811 h 627602"/>
                <a:gd name="connsiteX150" fmla="*/ 471869 w 887920"/>
                <a:gd name="connsiteY150" fmla="*/ 11906 h 627602"/>
                <a:gd name="connsiteX151" fmla="*/ 471392 w 887920"/>
                <a:gd name="connsiteY151" fmla="*/ 8763 h 627602"/>
                <a:gd name="connsiteX152" fmla="*/ 471202 w 887920"/>
                <a:gd name="connsiteY152" fmla="*/ 7144 h 627602"/>
                <a:gd name="connsiteX153" fmla="*/ 470630 w 887920"/>
                <a:gd name="connsiteY153" fmla="*/ 2477 h 627602"/>
                <a:gd name="connsiteX154" fmla="*/ 463868 w 887920"/>
                <a:gd name="connsiteY154" fmla="*/ 95 h 627602"/>
                <a:gd name="connsiteX155" fmla="*/ 459200 w 887920"/>
                <a:gd name="connsiteY155" fmla="*/ 667 h 627602"/>
                <a:gd name="connsiteX156" fmla="*/ 458438 w 887920"/>
                <a:gd name="connsiteY156" fmla="*/ 7239 h 627602"/>
                <a:gd name="connsiteX157" fmla="*/ 455200 w 887920"/>
                <a:gd name="connsiteY157" fmla="*/ 7620 h 627602"/>
                <a:gd name="connsiteX158" fmla="*/ 449485 w 887920"/>
                <a:gd name="connsiteY158" fmla="*/ 13145 h 627602"/>
                <a:gd name="connsiteX159" fmla="*/ 445008 w 887920"/>
                <a:gd name="connsiteY159" fmla="*/ 15335 h 627602"/>
                <a:gd name="connsiteX160" fmla="*/ 438436 w 887920"/>
                <a:gd name="connsiteY160" fmla="*/ 14573 h 627602"/>
                <a:gd name="connsiteX161" fmla="*/ 435959 w 887920"/>
                <a:gd name="connsiteY161" fmla="*/ 19717 h 627602"/>
                <a:gd name="connsiteX162" fmla="*/ 426911 w 887920"/>
                <a:gd name="connsiteY162" fmla="*/ 36862 h 627602"/>
                <a:gd name="connsiteX163" fmla="*/ 432245 w 887920"/>
                <a:gd name="connsiteY163" fmla="*/ 40958 h 627602"/>
                <a:gd name="connsiteX164" fmla="*/ 440150 w 887920"/>
                <a:gd name="connsiteY164" fmla="*/ 52864 h 627602"/>
                <a:gd name="connsiteX165" fmla="*/ 444246 w 887920"/>
                <a:gd name="connsiteY165" fmla="*/ 47435 h 627602"/>
                <a:gd name="connsiteX166" fmla="*/ 451771 w 887920"/>
                <a:gd name="connsiteY166" fmla="*/ 43339 h 627602"/>
                <a:gd name="connsiteX167" fmla="*/ 453581 w 887920"/>
                <a:gd name="connsiteY167" fmla="*/ 44672 h 627602"/>
                <a:gd name="connsiteX168" fmla="*/ 458534 w 887920"/>
                <a:gd name="connsiteY168" fmla="*/ 58484 h 627602"/>
                <a:gd name="connsiteX169" fmla="*/ 462725 w 887920"/>
                <a:gd name="connsiteY169" fmla="*/ 66008 h 627602"/>
                <a:gd name="connsiteX170" fmla="*/ 460915 w 887920"/>
                <a:gd name="connsiteY170" fmla="*/ 64580 h 627602"/>
                <a:gd name="connsiteX171" fmla="*/ 455200 w 887920"/>
                <a:gd name="connsiteY171" fmla="*/ 70104 h 627602"/>
                <a:gd name="connsiteX172" fmla="*/ 458534 w 887920"/>
                <a:gd name="connsiteY172" fmla="*/ 84106 h 627602"/>
                <a:gd name="connsiteX173" fmla="*/ 456248 w 887920"/>
                <a:gd name="connsiteY173" fmla="*/ 90869 h 627602"/>
                <a:gd name="connsiteX174" fmla="*/ 458248 w 887920"/>
                <a:gd name="connsiteY174" fmla="*/ 93821 h 627602"/>
                <a:gd name="connsiteX175" fmla="*/ 448723 w 887920"/>
                <a:gd name="connsiteY175" fmla="*/ 107823 h 627602"/>
                <a:gd name="connsiteX176" fmla="*/ 445770 w 887920"/>
                <a:gd name="connsiteY176" fmla="*/ 109823 h 627602"/>
                <a:gd name="connsiteX177" fmla="*/ 441674 w 887920"/>
                <a:gd name="connsiteY177" fmla="*/ 115157 h 627602"/>
                <a:gd name="connsiteX178" fmla="*/ 444056 w 887920"/>
                <a:gd name="connsiteY178" fmla="*/ 121253 h 627602"/>
                <a:gd name="connsiteX179" fmla="*/ 448056 w 887920"/>
                <a:gd name="connsiteY179" fmla="*/ 127159 h 627602"/>
                <a:gd name="connsiteX180" fmla="*/ 448818 w 887920"/>
                <a:gd name="connsiteY180" fmla="*/ 133541 h 627602"/>
                <a:gd name="connsiteX181" fmla="*/ 453581 w 887920"/>
                <a:gd name="connsiteY181" fmla="*/ 132874 h 627602"/>
                <a:gd name="connsiteX182" fmla="*/ 446437 w 887920"/>
                <a:gd name="connsiteY182" fmla="*/ 140208 h 627602"/>
                <a:gd name="connsiteX183" fmla="*/ 447294 w 887920"/>
                <a:gd name="connsiteY183" fmla="*/ 146495 h 627602"/>
                <a:gd name="connsiteX184" fmla="*/ 444532 w 887920"/>
                <a:gd name="connsiteY184" fmla="*/ 150114 h 627602"/>
                <a:gd name="connsiteX185" fmla="*/ 448056 w 887920"/>
                <a:gd name="connsiteY185" fmla="*/ 152876 h 627602"/>
                <a:gd name="connsiteX186" fmla="*/ 450056 w 887920"/>
                <a:gd name="connsiteY186" fmla="*/ 168593 h 627602"/>
                <a:gd name="connsiteX187" fmla="*/ 451104 w 887920"/>
                <a:gd name="connsiteY187" fmla="*/ 176498 h 627602"/>
                <a:gd name="connsiteX188" fmla="*/ 447961 w 887920"/>
                <a:gd name="connsiteY188" fmla="*/ 176879 h 627602"/>
                <a:gd name="connsiteX189" fmla="*/ 433578 w 887920"/>
                <a:gd name="connsiteY189" fmla="*/ 177165 h 627602"/>
                <a:gd name="connsiteX190" fmla="*/ 429387 w 887920"/>
                <a:gd name="connsiteY190" fmla="*/ 182499 h 627602"/>
                <a:gd name="connsiteX191" fmla="*/ 421481 w 887920"/>
                <a:gd name="connsiteY191" fmla="*/ 183452 h 627602"/>
                <a:gd name="connsiteX192" fmla="*/ 413195 w 887920"/>
                <a:gd name="connsiteY192" fmla="*/ 181356 h 627602"/>
                <a:gd name="connsiteX193" fmla="*/ 407670 w 887920"/>
                <a:gd name="connsiteY193" fmla="*/ 175641 h 627602"/>
                <a:gd name="connsiteX194" fmla="*/ 381000 w 887920"/>
                <a:gd name="connsiteY194" fmla="*/ 167831 h 627602"/>
                <a:gd name="connsiteX195" fmla="*/ 379095 w 887920"/>
                <a:gd name="connsiteY195" fmla="*/ 177641 h 627602"/>
                <a:gd name="connsiteX196" fmla="*/ 363093 w 887920"/>
                <a:gd name="connsiteY196" fmla="*/ 165259 h 627602"/>
                <a:gd name="connsiteX197" fmla="*/ 356711 w 887920"/>
                <a:gd name="connsiteY197" fmla="*/ 166116 h 627602"/>
                <a:gd name="connsiteX198" fmla="*/ 356140 w 887920"/>
                <a:gd name="connsiteY198" fmla="*/ 174212 h 627602"/>
                <a:gd name="connsiteX199" fmla="*/ 349853 w 887920"/>
                <a:gd name="connsiteY199" fmla="*/ 174974 h 627602"/>
                <a:gd name="connsiteX200" fmla="*/ 344900 w 887920"/>
                <a:gd name="connsiteY200" fmla="*/ 174022 h 627602"/>
                <a:gd name="connsiteX201" fmla="*/ 340233 w 887920"/>
                <a:gd name="connsiteY201" fmla="*/ 174593 h 627602"/>
                <a:gd name="connsiteX202" fmla="*/ 333280 w 887920"/>
                <a:gd name="connsiteY202" fmla="*/ 170688 h 627602"/>
                <a:gd name="connsiteX203" fmla="*/ 328803 w 887920"/>
                <a:gd name="connsiteY203" fmla="*/ 172879 h 627602"/>
                <a:gd name="connsiteX204" fmla="*/ 329184 w 887920"/>
                <a:gd name="connsiteY204" fmla="*/ 176022 h 627602"/>
                <a:gd name="connsiteX205" fmla="*/ 325660 w 887920"/>
                <a:gd name="connsiteY205" fmla="*/ 186119 h 627602"/>
                <a:gd name="connsiteX206" fmla="*/ 320326 w 887920"/>
                <a:gd name="connsiteY206" fmla="*/ 194786 h 627602"/>
                <a:gd name="connsiteX207" fmla="*/ 314420 w 887920"/>
                <a:gd name="connsiteY207" fmla="*/ 211550 h 627602"/>
                <a:gd name="connsiteX208" fmla="*/ 312896 w 887920"/>
                <a:gd name="connsiteY208" fmla="*/ 224600 h 627602"/>
                <a:gd name="connsiteX209" fmla="*/ 307181 w 887920"/>
                <a:gd name="connsiteY209" fmla="*/ 230124 h 627602"/>
                <a:gd name="connsiteX210" fmla="*/ 308324 w 887920"/>
                <a:gd name="connsiteY210" fmla="*/ 226790 h 627602"/>
                <a:gd name="connsiteX211" fmla="*/ 306610 w 887920"/>
                <a:gd name="connsiteY211" fmla="*/ 225362 h 627602"/>
                <a:gd name="connsiteX212" fmla="*/ 297752 w 887920"/>
                <a:gd name="connsiteY212" fmla="*/ 231362 h 627602"/>
                <a:gd name="connsiteX213" fmla="*/ 289655 w 887920"/>
                <a:gd name="connsiteY213" fmla="*/ 230791 h 627602"/>
                <a:gd name="connsiteX214" fmla="*/ 289179 w 887920"/>
                <a:gd name="connsiteY214" fmla="*/ 227648 h 627602"/>
                <a:gd name="connsiteX215" fmla="*/ 286036 w 887920"/>
                <a:gd name="connsiteY215" fmla="*/ 228029 h 627602"/>
                <a:gd name="connsiteX216" fmla="*/ 284131 w 887920"/>
                <a:gd name="connsiteY216" fmla="*/ 225076 h 627602"/>
                <a:gd name="connsiteX217" fmla="*/ 279178 w 887920"/>
                <a:gd name="connsiteY217" fmla="*/ 224123 h 627602"/>
                <a:gd name="connsiteX218" fmla="*/ 273844 w 887920"/>
                <a:gd name="connsiteY218" fmla="*/ 219932 h 627602"/>
                <a:gd name="connsiteX219" fmla="*/ 268891 w 887920"/>
                <a:gd name="connsiteY219" fmla="*/ 218980 h 627602"/>
                <a:gd name="connsiteX220" fmla="*/ 266319 w 887920"/>
                <a:gd name="connsiteY220" fmla="*/ 224123 h 627602"/>
                <a:gd name="connsiteX221" fmla="*/ 258604 w 887920"/>
                <a:gd name="connsiteY221" fmla="*/ 226695 h 627602"/>
                <a:gd name="connsiteX222" fmla="*/ 255270 w 887920"/>
                <a:gd name="connsiteY222" fmla="*/ 225552 h 627602"/>
                <a:gd name="connsiteX223" fmla="*/ 255080 w 887920"/>
                <a:gd name="connsiteY223" fmla="*/ 223933 h 627602"/>
                <a:gd name="connsiteX224" fmla="*/ 257270 w 887920"/>
                <a:gd name="connsiteY224" fmla="*/ 215646 h 627602"/>
                <a:gd name="connsiteX225" fmla="*/ 249746 w 887920"/>
                <a:gd name="connsiteY225" fmla="*/ 206978 h 627602"/>
                <a:gd name="connsiteX226" fmla="*/ 237077 w 887920"/>
                <a:gd name="connsiteY226" fmla="*/ 208598 h 627602"/>
                <a:gd name="connsiteX227" fmla="*/ 231743 w 887920"/>
                <a:gd name="connsiteY227" fmla="*/ 204502 h 627602"/>
                <a:gd name="connsiteX228" fmla="*/ 217742 w 887920"/>
                <a:gd name="connsiteY228" fmla="*/ 194977 h 627602"/>
                <a:gd name="connsiteX229" fmla="*/ 208407 w 887920"/>
                <a:gd name="connsiteY229" fmla="*/ 197834 h 627602"/>
                <a:gd name="connsiteX230" fmla="*/ 196215 w 887920"/>
                <a:gd name="connsiteY230" fmla="*/ 189738 h 627602"/>
                <a:gd name="connsiteX231" fmla="*/ 187738 w 887920"/>
                <a:gd name="connsiteY231" fmla="*/ 186023 h 627602"/>
                <a:gd name="connsiteX232" fmla="*/ 180213 w 887920"/>
                <a:gd name="connsiteY232" fmla="*/ 202978 h 627602"/>
                <a:gd name="connsiteX233" fmla="*/ 177260 w 887920"/>
                <a:gd name="connsiteY233" fmla="*/ 204978 h 627602"/>
                <a:gd name="connsiteX234" fmla="*/ 172593 w 887920"/>
                <a:gd name="connsiteY234" fmla="*/ 205550 h 627602"/>
                <a:gd name="connsiteX235" fmla="*/ 168212 w 887920"/>
                <a:gd name="connsiteY235" fmla="*/ 209360 h 627602"/>
                <a:gd name="connsiteX236" fmla="*/ 153448 w 887920"/>
                <a:gd name="connsiteY236" fmla="*/ 206407 h 627602"/>
                <a:gd name="connsiteX237" fmla="*/ 152210 w 887920"/>
                <a:gd name="connsiteY237" fmla="*/ 209741 h 627602"/>
                <a:gd name="connsiteX238" fmla="*/ 154781 w 887920"/>
                <a:gd name="connsiteY238" fmla="*/ 217456 h 627602"/>
                <a:gd name="connsiteX239" fmla="*/ 150495 w 887920"/>
                <a:gd name="connsiteY239" fmla="*/ 221266 h 627602"/>
                <a:gd name="connsiteX240" fmla="*/ 151448 w 887920"/>
                <a:gd name="connsiteY240" fmla="*/ 229076 h 627602"/>
                <a:gd name="connsiteX241" fmla="*/ 148971 w 887920"/>
                <a:gd name="connsiteY241" fmla="*/ 234220 h 627602"/>
                <a:gd name="connsiteX242" fmla="*/ 150114 w 887920"/>
                <a:gd name="connsiteY242" fmla="*/ 243745 h 627602"/>
                <a:gd name="connsiteX243" fmla="*/ 148019 w 887920"/>
                <a:gd name="connsiteY243" fmla="*/ 252032 h 627602"/>
                <a:gd name="connsiteX244" fmla="*/ 140303 w 887920"/>
                <a:gd name="connsiteY244" fmla="*/ 254603 h 627602"/>
                <a:gd name="connsiteX245" fmla="*/ 135541 w 887920"/>
                <a:gd name="connsiteY245" fmla="*/ 255175 h 627602"/>
                <a:gd name="connsiteX246" fmla="*/ 135350 w 887920"/>
                <a:gd name="connsiteY246" fmla="*/ 253651 h 627602"/>
                <a:gd name="connsiteX247" fmla="*/ 134398 w 887920"/>
                <a:gd name="connsiteY247" fmla="*/ 258604 h 627602"/>
                <a:gd name="connsiteX248" fmla="*/ 130683 w 887920"/>
                <a:gd name="connsiteY248" fmla="*/ 254222 h 627602"/>
                <a:gd name="connsiteX249" fmla="*/ 124301 w 887920"/>
                <a:gd name="connsiteY249" fmla="*/ 255080 h 627602"/>
                <a:gd name="connsiteX250" fmla="*/ 122301 w 887920"/>
                <a:gd name="connsiteY250" fmla="*/ 252127 h 627602"/>
                <a:gd name="connsiteX251" fmla="*/ 114014 w 887920"/>
                <a:gd name="connsiteY251" fmla="*/ 249936 h 627602"/>
                <a:gd name="connsiteX252" fmla="*/ 111633 w 887920"/>
                <a:gd name="connsiteY252" fmla="*/ 243840 h 627602"/>
                <a:gd name="connsiteX253" fmla="*/ 102965 w 887920"/>
                <a:gd name="connsiteY253" fmla="*/ 238506 h 627602"/>
                <a:gd name="connsiteX254" fmla="*/ 99822 w 887920"/>
                <a:gd name="connsiteY254" fmla="*/ 238887 h 627602"/>
                <a:gd name="connsiteX255" fmla="*/ 98393 w 887920"/>
                <a:gd name="connsiteY255" fmla="*/ 240697 h 627602"/>
                <a:gd name="connsiteX256" fmla="*/ 96679 w 887920"/>
                <a:gd name="connsiteY256" fmla="*/ 239268 h 627602"/>
                <a:gd name="connsiteX257" fmla="*/ 92107 w 887920"/>
                <a:gd name="connsiteY257" fmla="*/ 241459 h 627602"/>
                <a:gd name="connsiteX258" fmla="*/ 94869 w 887920"/>
                <a:gd name="connsiteY258" fmla="*/ 237935 h 627602"/>
                <a:gd name="connsiteX259" fmla="*/ 95822 w 887920"/>
                <a:gd name="connsiteY259" fmla="*/ 232982 h 627602"/>
                <a:gd name="connsiteX260" fmla="*/ 92678 w 887920"/>
                <a:gd name="connsiteY260" fmla="*/ 233363 h 627602"/>
                <a:gd name="connsiteX261" fmla="*/ 90964 w 887920"/>
                <a:gd name="connsiteY261" fmla="*/ 232029 h 627602"/>
                <a:gd name="connsiteX262" fmla="*/ 83249 w 887920"/>
                <a:gd name="connsiteY262" fmla="*/ 234601 h 627602"/>
                <a:gd name="connsiteX263" fmla="*/ 79058 w 887920"/>
                <a:gd name="connsiteY263" fmla="*/ 239935 h 627602"/>
                <a:gd name="connsiteX264" fmla="*/ 73533 w 887920"/>
                <a:gd name="connsiteY264" fmla="*/ 234220 h 627602"/>
                <a:gd name="connsiteX265" fmla="*/ 67437 w 887920"/>
                <a:gd name="connsiteY265" fmla="*/ 236601 h 627602"/>
                <a:gd name="connsiteX266" fmla="*/ 71247 w 887920"/>
                <a:gd name="connsiteY266" fmla="*/ 240983 h 627602"/>
                <a:gd name="connsiteX267" fmla="*/ 69818 w 887920"/>
                <a:gd name="connsiteY267" fmla="*/ 242697 h 627602"/>
                <a:gd name="connsiteX268" fmla="*/ 73152 w 887920"/>
                <a:gd name="connsiteY268" fmla="*/ 243935 h 627602"/>
                <a:gd name="connsiteX269" fmla="*/ 74581 w 887920"/>
                <a:gd name="connsiteY269" fmla="*/ 242126 h 627602"/>
                <a:gd name="connsiteX270" fmla="*/ 77915 w 887920"/>
                <a:gd name="connsiteY270" fmla="*/ 243269 h 627602"/>
                <a:gd name="connsiteX271" fmla="*/ 78296 w 887920"/>
                <a:gd name="connsiteY271" fmla="*/ 246507 h 627602"/>
                <a:gd name="connsiteX272" fmla="*/ 74771 w 887920"/>
                <a:gd name="connsiteY272" fmla="*/ 243745 h 627602"/>
                <a:gd name="connsiteX273" fmla="*/ 72200 w 887920"/>
                <a:gd name="connsiteY273" fmla="*/ 248888 h 627602"/>
                <a:gd name="connsiteX274" fmla="*/ 74009 w 887920"/>
                <a:gd name="connsiteY274" fmla="*/ 250222 h 627602"/>
                <a:gd name="connsiteX275" fmla="*/ 73057 w 887920"/>
                <a:gd name="connsiteY275" fmla="*/ 255175 h 627602"/>
                <a:gd name="connsiteX276" fmla="*/ 74771 w 887920"/>
                <a:gd name="connsiteY276" fmla="*/ 256508 h 627602"/>
                <a:gd name="connsiteX277" fmla="*/ 76391 w 887920"/>
                <a:gd name="connsiteY277" fmla="*/ 256318 h 627602"/>
                <a:gd name="connsiteX278" fmla="*/ 78200 w 887920"/>
                <a:gd name="connsiteY278" fmla="*/ 257746 h 627602"/>
                <a:gd name="connsiteX279" fmla="*/ 78391 w 887920"/>
                <a:gd name="connsiteY279" fmla="*/ 259270 h 627602"/>
                <a:gd name="connsiteX280" fmla="*/ 78581 w 887920"/>
                <a:gd name="connsiteY280" fmla="*/ 260890 h 627602"/>
                <a:gd name="connsiteX281" fmla="*/ 72676 w 887920"/>
                <a:gd name="connsiteY281" fmla="*/ 264795 h 627602"/>
                <a:gd name="connsiteX282" fmla="*/ 71438 w 887920"/>
                <a:gd name="connsiteY282" fmla="*/ 268224 h 627602"/>
                <a:gd name="connsiteX283" fmla="*/ 77057 w 887920"/>
                <a:gd name="connsiteY283" fmla="*/ 273844 h 627602"/>
                <a:gd name="connsiteX284" fmla="*/ 71723 w 887920"/>
                <a:gd name="connsiteY284" fmla="*/ 282607 h 627602"/>
                <a:gd name="connsiteX285" fmla="*/ 66580 w 887920"/>
                <a:gd name="connsiteY285" fmla="*/ 280035 h 627602"/>
                <a:gd name="connsiteX286" fmla="*/ 61817 w 887920"/>
                <a:gd name="connsiteY286" fmla="*/ 280607 h 627602"/>
                <a:gd name="connsiteX287" fmla="*/ 62008 w 887920"/>
                <a:gd name="connsiteY287" fmla="*/ 282226 h 627602"/>
                <a:gd name="connsiteX288" fmla="*/ 56483 w 887920"/>
                <a:gd name="connsiteY288" fmla="*/ 289370 h 627602"/>
                <a:gd name="connsiteX289" fmla="*/ 54959 w 887920"/>
                <a:gd name="connsiteY289" fmla="*/ 302324 h 627602"/>
                <a:gd name="connsiteX290" fmla="*/ 54007 w 887920"/>
                <a:gd name="connsiteY290" fmla="*/ 307277 h 627602"/>
                <a:gd name="connsiteX291" fmla="*/ 51054 w 887920"/>
                <a:gd name="connsiteY291" fmla="*/ 309277 h 627602"/>
                <a:gd name="connsiteX292" fmla="*/ 50292 w 887920"/>
                <a:gd name="connsiteY292" fmla="*/ 315754 h 627602"/>
                <a:gd name="connsiteX293" fmla="*/ 59150 w 887920"/>
                <a:gd name="connsiteY293" fmla="*/ 322707 h 627602"/>
                <a:gd name="connsiteX294" fmla="*/ 56388 w 887920"/>
                <a:gd name="connsiteY294" fmla="*/ 326231 h 627602"/>
                <a:gd name="connsiteX295" fmla="*/ 50102 w 887920"/>
                <a:gd name="connsiteY295" fmla="*/ 326993 h 627602"/>
                <a:gd name="connsiteX296" fmla="*/ 48482 w 887920"/>
                <a:gd name="connsiteY296" fmla="*/ 327279 h 627602"/>
                <a:gd name="connsiteX297" fmla="*/ 49721 w 887920"/>
                <a:gd name="connsiteY297" fmla="*/ 323850 h 627602"/>
                <a:gd name="connsiteX298" fmla="*/ 47339 w 887920"/>
                <a:gd name="connsiteY298" fmla="*/ 317754 h 627602"/>
                <a:gd name="connsiteX299" fmla="*/ 44768 w 887920"/>
                <a:gd name="connsiteY299" fmla="*/ 322898 h 627602"/>
                <a:gd name="connsiteX300" fmla="*/ 44958 w 887920"/>
                <a:gd name="connsiteY300" fmla="*/ 324517 h 627602"/>
                <a:gd name="connsiteX301" fmla="*/ 41243 w 887920"/>
                <a:gd name="connsiteY301" fmla="*/ 332994 h 627602"/>
                <a:gd name="connsiteX302" fmla="*/ 32195 w 887920"/>
                <a:gd name="connsiteY302" fmla="*/ 337376 h 627602"/>
                <a:gd name="connsiteX303" fmla="*/ 22860 w 887920"/>
                <a:gd name="connsiteY303" fmla="*/ 340138 h 627602"/>
                <a:gd name="connsiteX304" fmla="*/ 18955 w 887920"/>
                <a:gd name="connsiteY304" fmla="*/ 346996 h 627602"/>
                <a:gd name="connsiteX305" fmla="*/ 19812 w 887920"/>
                <a:gd name="connsiteY305" fmla="*/ 353378 h 627602"/>
                <a:gd name="connsiteX306" fmla="*/ 15621 w 887920"/>
                <a:gd name="connsiteY306" fmla="*/ 358712 h 627602"/>
                <a:gd name="connsiteX307" fmla="*/ 15050 w 887920"/>
                <a:gd name="connsiteY307" fmla="*/ 366808 h 627602"/>
                <a:gd name="connsiteX308" fmla="*/ 22003 w 887920"/>
                <a:gd name="connsiteY308" fmla="*/ 370713 h 627602"/>
                <a:gd name="connsiteX309" fmla="*/ 22574 w 887920"/>
                <a:gd name="connsiteY309" fmla="*/ 375476 h 627602"/>
                <a:gd name="connsiteX310" fmla="*/ 8192 w 887920"/>
                <a:gd name="connsiteY310" fmla="*/ 388525 h 627602"/>
                <a:gd name="connsiteX311" fmla="*/ 6477 w 887920"/>
                <a:gd name="connsiteY311" fmla="*/ 387096 h 627602"/>
                <a:gd name="connsiteX312" fmla="*/ 191 w 887920"/>
                <a:gd name="connsiteY312" fmla="*/ 400717 h 627602"/>
                <a:gd name="connsiteX313" fmla="*/ 0 w 887920"/>
                <a:gd name="connsiteY313" fmla="*/ 412052 h 627602"/>
                <a:gd name="connsiteX314" fmla="*/ 4953 w 887920"/>
                <a:gd name="connsiteY314" fmla="*/ 413004 h 627602"/>
                <a:gd name="connsiteX315" fmla="*/ 9620 w 887920"/>
                <a:gd name="connsiteY315" fmla="*/ 412337 h 627602"/>
                <a:gd name="connsiteX316" fmla="*/ 11240 w 887920"/>
                <a:gd name="connsiteY316" fmla="*/ 412147 h 627602"/>
                <a:gd name="connsiteX317" fmla="*/ 10478 w 887920"/>
                <a:gd name="connsiteY317" fmla="*/ 418719 h 627602"/>
                <a:gd name="connsiteX318" fmla="*/ 10859 w 887920"/>
                <a:gd name="connsiteY318" fmla="*/ 421862 h 627602"/>
                <a:gd name="connsiteX319" fmla="*/ 11049 w 887920"/>
                <a:gd name="connsiteY319" fmla="*/ 423386 h 627602"/>
                <a:gd name="connsiteX320" fmla="*/ 13811 w 887920"/>
                <a:gd name="connsiteY320" fmla="*/ 432721 h 627602"/>
                <a:gd name="connsiteX321" fmla="*/ 14288 w 887920"/>
                <a:gd name="connsiteY321" fmla="*/ 435864 h 627602"/>
                <a:gd name="connsiteX322" fmla="*/ 10763 w 887920"/>
                <a:gd name="connsiteY322" fmla="*/ 445961 h 627602"/>
                <a:gd name="connsiteX323" fmla="*/ 17812 w 887920"/>
                <a:gd name="connsiteY323" fmla="*/ 451390 h 627602"/>
                <a:gd name="connsiteX324" fmla="*/ 16478 w 887920"/>
                <a:gd name="connsiteY324" fmla="*/ 453200 h 627602"/>
                <a:gd name="connsiteX325" fmla="*/ 16859 w 887920"/>
                <a:gd name="connsiteY325" fmla="*/ 456343 h 627602"/>
                <a:gd name="connsiteX326" fmla="*/ 24003 w 887920"/>
                <a:gd name="connsiteY326" fmla="*/ 461867 h 627602"/>
                <a:gd name="connsiteX327" fmla="*/ 26956 w 887920"/>
                <a:gd name="connsiteY327" fmla="*/ 472726 h 627602"/>
                <a:gd name="connsiteX328" fmla="*/ 24384 w 887920"/>
                <a:gd name="connsiteY328" fmla="*/ 477869 h 627602"/>
                <a:gd name="connsiteX329" fmla="*/ 29337 w 887920"/>
                <a:gd name="connsiteY329" fmla="*/ 478822 h 627602"/>
                <a:gd name="connsiteX330" fmla="*/ 33338 w 887920"/>
                <a:gd name="connsiteY330" fmla="*/ 484727 h 627602"/>
                <a:gd name="connsiteX331" fmla="*/ 32099 w 887920"/>
                <a:gd name="connsiteY331" fmla="*/ 488061 h 627602"/>
                <a:gd name="connsiteX332" fmla="*/ 42196 w 887920"/>
                <a:gd name="connsiteY332" fmla="*/ 491585 h 627602"/>
                <a:gd name="connsiteX333" fmla="*/ 41434 w 887920"/>
                <a:gd name="connsiteY333" fmla="*/ 498158 h 627602"/>
                <a:gd name="connsiteX334" fmla="*/ 43053 w 887920"/>
                <a:gd name="connsiteY334" fmla="*/ 497967 h 627602"/>
                <a:gd name="connsiteX335" fmla="*/ 41624 w 887920"/>
                <a:gd name="connsiteY335" fmla="*/ 499682 h 627602"/>
                <a:gd name="connsiteX336" fmla="*/ 44768 w 887920"/>
                <a:gd name="connsiteY336" fmla="*/ 499301 h 627602"/>
                <a:gd name="connsiteX337" fmla="*/ 46006 w 887920"/>
                <a:gd name="connsiteY337" fmla="*/ 508826 h 627602"/>
                <a:gd name="connsiteX338" fmla="*/ 47625 w 887920"/>
                <a:gd name="connsiteY338" fmla="*/ 508540 h 627602"/>
                <a:gd name="connsiteX339" fmla="*/ 48006 w 887920"/>
                <a:gd name="connsiteY339" fmla="*/ 511778 h 627602"/>
                <a:gd name="connsiteX340" fmla="*/ 50006 w 887920"/>
                <a:gd name="connsiteY340" fmla="*/ 514731 h 627602"/>
                <a:gd name="connsiteX341" fmla="*/ 51149 w 887920"/>
                <a:gd name="connsiteY341" fmla="*/ 524161 h 627602"/>
                <a:gd name="connsiteX342" fmla="*/ 50006 w 887920"/>
                <a:gd name="connsiteY342" fmla="*/ 527495 h 627602"/>
                <a:gd name="connsiteX343" fmla="*/ 56864 w 887920"/>
                <a:gd name="connsiteY343" fmla="*/ 531400 h 627602"/>
                <a:gd name="connsiteX344" fmla="*/ 59531 w 887920"/>
                <a:gd name="connsiteY344" fmla="*/ 539115 h 627602"/>
                <a:gd name="connsiteX345" fmla="*/ 61055 w 887920"/>
                <a:gd name="connsiteY345" fmla="*/ 538925 h 627602"/>
                <a:gd name="connsiteX346" fmla="*/ 59722 w 887920"/>
                <a:gd name="connsiteY346" fmla="*/ 540734 h 627602"/>
                <a:gd name="connsiteX347" fmla="*/ 62865 w 887920"/>
                <a:gd name="connsiteY347" fmla="*/ 540353 h 627602"/>
                <a:gd name="connsiteX348" fmla="*/ 61627 w 887920"/>
                <a:gd name="connsiteY348" fmla="*/ 543687 h 627602"/>
                <a:gd name="connsiteX349" fmla="*/ 63437 w 887920"/>
                <a:gd name="connsiteY349" fmla="*/ 545021 h 627602"/>
                <a:gd name="connsiteX350" fmla="*/ 62103 w 887920"/>
                <a:gd name="connsiteY350" fmla="*/ 546830 h 627602"/>
                <a:gd name="connsiteX351" fmla="*/ 63627 w 887920"/>
                <a:gd name="connsiteY351" fmla="*/ 546640 h 627602"/>
                <a:gd name="connsiteX352" fmla="*/ 65246 w 887920"/>
                <a:gd name="connsiteY352" fmla="*/ 546449 h 627602"/>
                <a:gd name="connsiteX353" fmla="*/ 65437 w 887920"/>
                <a:gd name="connsiteY353" fmla="*/ 547973 h 627602"/>
                <a:gd name="connsiteX354" fmla="*/ 64484 w 887920"/>
                <a:gd name="connsiteY354" fmla="*/ 552926 h 627602"/>
                <a:gd name="connsiteX355" fmla="*/ 66389 w 887920"/>
                <a:gd name="connsiteY355" fmla="*/ 555879 h 627602"/>
                <a:gd name="connsiteX356" fmla="*/ 67818 w 887920"/>
                <a:gd name="connsiteY356" fmla="*/ 554069 h 627602"/>
                <a:gd name="connsiteX357" fmla="*/ 67056 w 887920"/>
                <a:gd name="connsiteY357" fmla="*/ 560642 h 627602"/>
                <a:gd name="connsiteX358" fmla="*/ 75343 w 887920"/>
                <a:gd name="connsiteY358" fmla="*/ 562737 h 627602"/>
                <a:gd name="connsiteX359" fmla="*/ 76676 w 887920"/>
                <a:gd name="connsiteY359" fmla="*/ 561023 h 627602"/>
                <a:gd name="connsiteX360" fmla="*/ 76867 w 887920"/>
                <a:gd name="connsiteY360" fmla="*/ 562547 h 627602"/>
                <a:gd name="connsiteX361" fmla="*/ 76867 w 887920"/>
                <a:gd name="connsiteY361" fmla="*/ 562547 h 627602"/>
                <a:gd name="connsiteX362" fmla="*/ 78677 w 887920"/>
                <a:gd name="connsiteY362" fmla="*/ 563975 h 627602"/>
                <a:gd name="connsiteX363" fmla="*/ 78486 w 887920"/>
                <a:gd name="connsiteY363" fmla="*/ 562356 h 627602"/>
                <a:gd name="connsiteX364" fmla="*/ 83439 w 887920"/>
                <a:gd name="connsiteY364" fmla="*/ 563309 h 627602"/>
                <a:gd name="connsiteX365" fmla="*/ 86582 w 887920"/>
                <a:gd name="connsiteY365" fmla="*/ 562928 h 627602"/>
                <a:gd name="connsiteX366" fmla="*/ 86773 w 887920"/>
                <a:gd name="connsiteY366" fmla="*/ 564547 h 627602"/>
                <a:gd name="connsiteX367" fmla="*/ 85439 w 887920"/>
                <a:gd name="connsiteY367" fmla="*/ 566261 h 627602"/>
                <a:gd name="connsiteX368" fmla="*/ 90297 w 887920"/>
                <a:gd name="connsiteY368" fmla="*/ 567309 h 627602"/>
                <a:gd name="connsiteX369" fmla="*/ 89726 w 887920"/>
                <a:gd name="connsiteY369" fmla="*/ 575405 h 627602"/>
                <a:gd name="connsiteX370" fmla="*/ 93155 w 887920"/>
                <a:gd name="connsiteY370" fmla="*/ 576548 h 627602"/>
                <a:gd name="connsiteX371" fmla="*/ 95345 w 887920"/>
                <a:gd name="connsiteY371" fmla="*/ 581120 h 627602"/>
                <a:gd name="connsiteX372" fmla="*/ 97917 w 887920"/>
                <a:gd name="connsiteY372" fmla="*/ 588740 h 627602"/>
                <a:gd name="connsiteX373" fmla="*/ 99441 w 887920"/>
                <a:gd name="connsiteY373" fmla="*/ 588550 h 627602"/>
                <a:gd name="connsiteX374" fmla="*/ 98679 w 887920"/>
                <a:gd name="connsiteY374" fmla="*/ 595122 h 627602"/>
                <a:gd name="connsiteX375" fmla="*/ 105251 w 887920"/>
                <a:gd name="connsiteY375" fmla="*/ 595884 h 627602"/>
                <a:gd name="connsiteX376" fmla="*/ 103823 w 887920"/>
                <a:gd name="connsiteY376" fmla="*/ 597599 h 627602"/>
                <a:gd name="connsiteX377" fmla="*/ 107633 w 887920"/>
                <a:gd name="connsiteY377" fmla="*/ 601980 h 627602"/>
                <a:gd name="connsiteX378" fmla="*/ 109919 w 887920"/>
                <a:gd name="connsiteY378" fmla="*/ 595217 h 627602"/>
                <a:gd name="connsiteX379" fmla="*/ 108204 w 887920"/>
                <a:gd name="connsiteY379" fmla="*/ 593884 h 627602"/>
                <a:gd name="connsiteX380" fmla="*/ 113252 w 887920"/>
                <a:gd name="connsiteY380" fmla="*/ 583597 h 627602"/>
                <a:gd name="connsiteX381" fmla="*/ 124301 w 887920"/>
                <a:gd name="connsiteY381" fmla="*/ 582168 h 627602"/>
                <a:gd name="connsiteX382" fmla="*/ 121349 w 887920"/>
                <a:gd name="connsiteY382" fmla="*/ 584168 h 627602"/>
                <a:gd name="connsiteX383" fmla="*/ 125159 w 887920"/>
                <a:gd name="connsiteY383" fmla="*/ 588550 h 627602"/>
                <a:gd name="connsiteX384" fmla="*/ 127730 w 887920"/>
                <a:gd name="connsiteY384" fmla="*/ 596170 h 627602"/>
                <a:gd name="connsiteX385" fmla="*/ 129445 w 887920"/>
                <a:gd name="connsiteY385" fmla="*/ 597599 h 627602"/>
                <a:gd name="connsiteX386" fmla="*/ 137732 w 887920"/>
                <a:gd name="connsiteY386" fmla="*/ 599694 h 627602"/>
                <a:gd name="connsiteX387" fmla="*/ 142494 w 887920"/>
                <a:gd name="connsiteY387" fmla="*/ 599123 h 627602"/>
                <a:gd name="connsiteX388" fmla="*/ 145256 w 887920"/>
                <a:gd name="connsiteY388" fmla="*/ 595598 h 627602"/>
                <a:gd name="connsiteX389" fmla="*/ 139732 w 887920"/>
                <a:gd name="connsiteY389" fmla="*/ 589883 h 627602"/>
                <a:gd name="connsiteX390" fmla="*/ 139541 w 887920"/>
                <a:gd name="connsiteY390" fmla="*/ 588264 h 627602"/>
                <a:gd name="connsiteX391" fmla="*/ 149162 w 887920"/>
                <a:gd name="connsiteY391" fmla="*/ 588645 h 627602"/>
                <a:gd name="connsiteX392" fmla="*/ 150590 w 887920"/>
                <a:gd name="connsiteY392" fmla="*/ 586835 h 627602"/>
                <a:gd name="connsiteX393" fmla="*/ 153162 w 887920"/>
                <a:gd name="connsiteY393" fmla="*/ 581692 h 627602"/>
                <a:gd name="connsiteX394" fmla="*/ 159639 w 887920"/>
                <a:gd name="connsiteY394" fmla="*/ 582549 h 627602"/>
                <a:gd name="connsiteX395" fmla="*/ 161258 w 887920"/>
                <a:gd name="connsiteY395" fmla="*/ 582263 h 627602"/>
                <a:gd name="connsiteX396" fmla="*/ 161449 w 887920"/>
                <a:gd name="connsiteY396" fmla="*/ 583883 h 627602"/>
                <a:gd name="connsiteX397" fmla="*/ 160020 w 887920"/>
                <a:gd name="connsiteY397" fmla="*/ 585692 h 627602"/>
                <a:gd name="connsiteX398" fmla="*/ 160687 w 887920"/>
                <a:gd name="connsiteY398" fmla="*/ 590360 h 627602"/>
                <a:gd name="connsiteX399" fmla="*/ 159258 w 887920"/>
                <a:gd name="connsiteY399" fmla="*/ 592169 h 627602"/>
                <a:gd name="connsiteX400" fmla="*/ 164783 w 887920"/>
                <a:gd name="connsiteY400" fmla="*/ 597884 h 627602"/>
                <a:gd name="connsiteX401" fmla="*/ 163068 w 887920"/>
                <a:gd name="connsiteY401" fmla="*/ 596551 h 627602"/>
                <a:gd name="connsiteX402" fmla="*/ 160306 w 887920"/>
                <a:gd name="connsiteY402" fmla="*/ 600075 h 627602"/>
                <a:gd name="connsiteX403" fmla="*/ 159258 w 887920"/>
                <a:gd name="connsiteY403" fmla="*/ 605028 h 627602"/>
                <a:gd name="connsiteX404" fmla="*/ 161068 w 887920"/>
                <a:gd name="connsiteY404" fmla="*/ 606362 h 627602"/>
                <a:gd name="connsiteX405" fmla="*/ 162497 w 887920"/>
                <a:gd name="connsiteY405" fmla="*/ 617411 h 627602"/>
                <a:gd name="connsiteX406" fmla="*/ 168021 w 887920"/>
                <a:gd name="connsiteY406" fmla="*/ 623126 h 627602"/>
                <a:gd name="connsiteX407" fmla="*/ 169640 w 887920"/>
                <a:gd name="connsiteY407" fmla="*/ 622935 h 627602"/>
                <a:gd name="connsiteX408" fmla="*/ 170593 w 887920"/>
                <a:gd name="connsiteY408" fmla="*/ 617982 h 627602"/>
                <a:gd name="connsiteX409" fmla="*/ 172593 w 887920"/>
                <a:gd name="connsiteY409" fmla="*/ 620935 h 627602"/>
                <a:gd name="connsiteX410" fmla="*/ 173927 w 887920"/>
                <a:gd name="connsiteY410" fmla="*/ 619220 h 627602"/>
                <a:gd name="connsiteX411" fmla="*/ 174117 w 887920"/>
                <a:gd name="connsiteY411" fmla="*/ 620744 h 627602"/>
                <a:gd name="connsiteX412" fmla="*/ 177260 w 887920"/>
                <a:gd name="connsiteY412" fmla="*/ 620363 h 627602"/>
                <a:gd name="connsiteX413" fmla="*/ 175927 w 887920"/>
                <a:gd name="connsiteY413" fmla="*/ 622173 h 627602"/>
                <a:gd name="connsiteX414" fmla="*/ 175927 w 887920"/>
                <a:gd name="connsiteY414" fmla="*/ 622173 h 627602"/>
                <a:gd name="connsiteX415" fmla="*/ 181070 w 887920"/>
                <a:gd name="connsiteY415" fmla="*/ 624650 h 627602"/>
                <a:gd name="connsiteX416" fmla="*/ 183071 w 887920"/>
                <a:gd name="connsiteY416" fmla="*/ 627602 h 627602"/>
                <a:gd name="connsiteX417" fmla="*/ 185738 w 887920"/>
                <a:gd name="connsiteY417" fmla="*/ 624078 h 627602"/>
                <a:gd name="connsiteX418" fmla="*/ 183642 w 887920"/>
                <a:gd name="connsiteY418" fmla="*/ 619506 h 627602"/>
                <a:gd name="connsiteX419" fmla="*/ 187738 w 887920"/>
                <a:gd name="connsiteY419" fmla="*/ 614172 h 627602"/>
                <a:gd name="connsiteX420" fmla="*/ 188119 w 887920"/>
                <a:gd name="connsiteY420" fmla="*/ 617411 h 627602"/>
                <a:gd name="connsiteX421" fmla="*/ 194691 w 887920"/>
                <a:gd name="connsiteY421" fmla="*/ 618173 h 627602"/>
                <a:gd name="connsiteX422" fmla="*/ 196215 w 887920"/>
                <a:gd name="connsiteY422" fmla="*/ 617982 h 627602"/>
                <a:gd name="connsiteX423" fmla="*/ 196977 w 887920"/>
                <a:gd name="connsiteY423" fmla="*/ 611410 h 627602"/>
                <a:gd name="connsiteX424" fmla="*/ 201930 w 887920"/>
                <a:gd name="connsiteY424" fmla="*/ 612362 h 627602"/>
                <a:gd name="connsiteX425" fmla="*/ 204121 w 887920"/>
                <a:gd name="connsiteY425" fmla="*/ 616934 h 627602"/>
                <a:gd name="connsiteX426" fmla="*/ 209074 w 887920"/>
                <a:gd name="connsiteY426" fmla="*/ 617887 h 627602"/>
                <a:gd name="connsiteX427" fmla="*/ 208407 w 887920"/>
                <a:gd name="connsiteY427" fmla="*/ 613220 h 627602"/>
                <a:gd name="connsiteX428" fmla="*/ 209836 w 887920"/>
                <a:gd name="connsiteY428" fmla="*/ 611410 h 627602"/>
                <a:gd name="connsiteX429" fmla="*/ 221266 w 887920"/>
                <a:gd name="connsiteY429" fmla="*/ 613124 h 627602"/>
                <a:gd name="connsiteX430" fmla="*/ 227552 w 887920"/>
                <a:gd name="connsiteY430" fmla="*/ 612362 h 627602"/>
                <a:gd name="connsiteX431" fmla="*/ 227362 w 887920"/>
                <a:gd name="connsiteY431" fmla="*/ 610743 h 627602"/>
                <a:gd name="connsiteX432" fmla="*/ 237839 w 887920"/>
                <a:gd name="connsiteY432" fmla="*/ 617411 h 627602"/>
                <a:gd name="connsiteX433" fmla="*/ 237839 w 887920"/>
                <a:gd name="connsiteY433" fmla="*/ 617411 h 627602"/>
                <a:gd name="connsiteX434" fmla="*/ 239268 w 887920"/>
                <a:gd name="connsiteY434" fmla="*/ 615696 h 627602"/>
                <a:gd name="connsiteX435" fmla="*/ 236220 w 887920"/>
                <a:gd name="connsiteY435" fmla="*/ 604838 h 627602"/>
                <a:gd name="connsiteX436" fmla="*/ 242316 w 887920"/>
                <a:gd name="connsiteY436" fmla="*/ 602456 h 627602"/>
                <a:gd name="connsiteX437" fmla="*/ 242126 w 887920"/>
                <a:gd name="connsiteY437" fmla="*/ 600837 h 627602"/>
                <a:gd name="connsiteX438" fmla="*/ 251841 w 887920"/>
                <a:gd name="connsiteY438" fmla="*/ 601218 h 627602"/>
                <a:gd name="connsiteX439" fmla="*/ 254603 w 887920"/>
                <a:gd name="connsiteY439" fmla="*/ 597694 h 627602"/>
                <a:gd name="connsiteX440" fmla="*/ 257937 w 887920"/>
                <a:gd name="connsiteY440" fmla="*/ 598837 h 627602"/>
                <a:gd name="connsiteX441" fmla="*/ 261652 w 887920"/>
                <a:gd name="connsiteY441" fmla="*/ 577501 h 627602"/>
                <a:gd name="connsiteX442" fmla="*/ 261271 w 887920"/>
                <a:gd name="connsiteY442" fmla="*/ 574358 h 627602"/>
                <a:gd name="connsiteX443" fmla="*/ 280988 w 887920"/>
                <a:gd name="connsiteY443" fmla="*/ 578263 h 627602"/>
                <a:gd name="connsiteX444" fmla="*/ 282131 w 887920"/>
                <a:gd name="connsiteY444" fmla="*/ 574929 h 627602"/>
                <a:gd name="connsiteX445" fmla="*/ 284131 w 887920"/>
                <a:gd name="connsiteY445" fmla="*/ 565023 h 627602"/>
                <a:gd name="connsiteX446" fmla="*/ 278130 w 887920"/>
                <a:gd name="connsiteY446" fmla="*/ 543401 h 627602"/>
                <a:gd name="connsiteX447" fmla="*/ 278321 w 887920"/>
                <a:gd name="connsiteY447" fmla="*/ 532067 h 627602"/>
                <a:gd name="connsiteX448" fmla="*/ 312896 w 887920"/>
                <a:gd name="connsiteY448" fmla="*/ 538925 h 627602"/>
                <a:gd name="connsiteX449" fmla="*/ 332232 w 887920"/>
                <a:gd name="connsiteY449" fmla="*/ 552450 h 627602"/>
                <a:gd name="connsiteX450" fmla="*/ 346424 w 887920"/>
                <a:gd name="connsiteY450" fmla="*/ 537877 h 627602"/>
                <a:gd name="connsiteX451" fmla="*/ 349568 w 887920"/>
                <a:gd name="connsiteY451" fmla="*/ 537496 h 627602"/>
                <a:gd name="connsiteX452" fmla="*/ 352330 w 887920"/>
                <a:gd name="connsiteY452" fmla="*/ 533876 h 627602"/>
                <a:gd name="connsiteX453" fmla="*/ 353473 w 887920"/>
                <a:gd name="connsiteY453" fmla="*/ 530543 h 627602"/>
                <a:gd name="connsiteX454" fmla="*/ 351473 w 887920"/>
                <a:gd name="connsiteY454" fmla="*/ 527590 h 627602"/>
                <a:gd name="connsiteX455" fmla="*/ 346139 w 887920"/>
                <a:gd name="connsiteY455" fmla="*/ 523494 h 627602"/>
                <a:gd name="connsiteX456" fmla="*/ 347091 w 887920"/>
                <a:gd name="connsiteY456" fmla="*/ 518541 h 627602"/>
                <a:gd name="connsiteX457" fmla="*/ 345186 w 887920"/>
                <a:gd name="connsiteY457" fmla="*/ 515588 h 627602"/>
                <a:gd name="connsiteX458" fmla="*/ 357569 w 887920"/>
                <a:gd name="connsiteY458" fmla="*/ 512350 h 627602"/>
                <a:gd name="connsiteX459" fmla="*/ 357378 w 887920"/>
                <a:gd name="connsiteY459" fmla="*/ 510826 h 627602"/>
                <a:gd name="connsiteX460" fmla="*/ 364903 w 887920"/>
                <a:gd name="connsiteY460" fmla="*/ 506635 h 627602"/>
                <a:gd name="connsiteX461" fmla="*/ 369570 w 887920"/>
                <a:gd name="connsiteY461" fmla="*/ 506063 h 627602"/>
                <a:gd name="connsiteX462" fmla="*/ 372713 w 887920"/>
                <a:gd name="connsiteY462" fmla="*/ 505587 h 627602"/>
                <a:gd name="connsiteX463" fmla="*/ 375476 w 887920"/>
                <a:gd name="connsiteY463" fmla="*/ 502063 h 627602"/>
                <a:gd name="connsiteX464" fmla="*/ 376142 w 887920"/>
                <a:gd name="connsiteY464" fmla="*/ 506825 h 627602"/>
                <a:gd name="connsiteX465" fmla="*/ 381857 w 887920"/>
                <a:gd name="connsiteY465" fmla="*/ 501301 h 627602"/>
                <a:gd name="connsiteX466" fmla="*/ 387953 w 887920"/>
                <a:gd name="connsiteY466" fmla="*/ 498920 h 627602"/>
                <a:gd name="connsiteX467" fmla="*/ 383572 w 887920"/>
                <a:gd name="connsiteY467" fmla="*/ 489871 h 627602"/>
                <a:gd name="connsiteX468" fmla="*/ 385191 w 887920"/>
                <a:gd name="connsiteY468" fmla="*/ 489585 h 627602"/>
                <a:gd name="connsiteX469" fmla="*/ 380810 w 887920"/>
                <a:gd name="connsiteY469" fmla="*/ 480536 h 627602"/>
                <a:gd name="connsiteX470" fmla="*/ 377666 w 887920"/>
                <a:gd name="connsiteY470" fmla="*/ 480917 h 627602"/>
                <a:gd name="connsiteX471" fmla="*/ 383762 w 887920"/>
                <a:gd name="connsiteY471" fmla="*/ 478536 h 627602"/>
                <a:gd name="connsiteX472" fmla="*/ 385096 w 887920"/>
                <a:gd name="connsiteY472" fmla="*/ 476822 h 627602"/>
                <a:gd name="connsiteX473" fmla="*/ 388430 w 887920"/>
                <a:gd name="connsiteY473" fmla="*/ 477965 h 627602"/>
                <a:gd name="connsiteX474" fmla="*/ 388239 w 887920"/>
                <a:gd name="connsiteY474" fmla="*/ 476441 h 627602"/>
                <a:gd name="connsiteX475" fmla="*/ 391478 w 887920"/>
                <a:gd name="connsiteY475" fmla="*/ 475964 h 627602"/>
                <a:gd name="connsiteX476" fmla="*/ 393192 w 887920"/>
                <a:gd name="connsiteY476" fmla="*/ 477393 h 627602"/>
                <a:gd name="connsiteX477" fmla="*/ 386620 w 887920"/>
                <a:gd name="connsiteY477" fmla="*/ 463772 h 627602"/>
                <a:gd name="connsiteX478" fmla="*/ 391192 w 887920"/>
                <a:gd name="connsiteY478" fmla="*/ 461582 h 627602"/>
                <a:gd name="connsiteX479" fmla="*/ 404241 w 887920"/>
                <a:gd name="connsiteY479" fmla="*/ 463106 h 627602"/>
                <a:gd name="connsiteX480" fmla="*/ 402812 w 887920"/>
                <a:gd name="connsiteY480" fmla="*/ 464915 h 627602"/>
                <a:gd name="connsiteX481" fmla="*/ 405194 w 887920"/>
                <a:gd name="connsiteY481" fmla="*/ 471011 h 627602"/>
                <a:gd name="connsiteX482" fmla="*/ 402241 w 887920"/>
                <a:gd name="connsiteY482" fmla="*/ 473012 h 627602"/>
                <a:gd name="connsiteX483" fmla="*/ 404241 w 887920"/>
                <a:gd name="connsiteY483" fmla="*/ 475964 h 627602"/>
                <a:gd name="connsiteX484" fmla="*/ 407384 w 887920"/>
                <a:gd name="connsiteY484" fmla="*/ 475583 h 627602"/>
                <a:gd name="connsiteX485" fmla="*/ 411004 w 887920"/>
                <a:gd name="connsiteY485" fmla="*/ 478346 h 627602"/>
                <a:gd name="connsiteX486" fmla="*/ 410528 w 887920"/>
                <a:gd name="connsiteY486" fmla="*/ 475202 h 627602"/>
                <a:gd name="connsiteX487" fmla="*/ 415481 w 887920"/>
                <a:gd name="connsiteY487" fmla="*/ 476155 h 627602"/>
                <a:gd name="connsiteX488" fmla="*/ 419862 w 887920"/>
                <a:gd name="connsiteY488" fmla="*/ 485204 h 627602"/>
                <a:gd name="connsiteX489" fmla="*/ 415100 w 887920"/>
                <a:gd name="connsiteY489" fmla="*/ 485775 h 627602"/>
                <a:gd name="connsiteX490" fmla="*/ 418529 w 887920"/>
                <a:gd name="connsiteY490" fmla="*/ 487013 h 627602"/>
                <a:gd name="connsiteX491" fmla="*/ 420434 w 887920"/>
                <a:gd name="connsiteY491" fmla="*/ 489966 h 627602"/>
                <a:gd name="connsiteX492" fmla="*/ 425196 w 887920"/>
                <a:gd name="connsiteY492" fmla="*/ 489299 h 627602"/>
                <a:gd name="connsiteX493" fmla="*/ 428720 w 887920"/>
                <a:gd name="connsiteY493" fmla="*/ 492062 h 627602"/>
                <a:gd name="connsiteX494" fmla="*/ 427958 w 887920"/>
                <a:gd name="connsiteY494" fmla="*/ 485775 h 627602"/>
                <a:gd name="connsiteX495" fmla="*/ 432721 w 887920"/>
                <a:gd name="connsiteY495" fmla="*/ 485204 h 627602"/>
                <a:gd name="connsiteX496" fmla="*/ 433483 w 887920"/>
                <a:gd name="connsiteY496" fmla="*/ 478631 h 627602"/>
                <a:gd name="connsiteX497" fmla="*/ 434816 w 887920"/>
                <a:gd name="connsiteY497" fmla="*/ 476917 h 627602"/>
                <a:gd name="connsiteX498" fmla="*/ 438245 w 887920"/>
                <a:gd name="connsiteY498" fmla="*/ 478060 h 627602"/>
                <a:gd name="connsiteX499" fmla="*/ 435293 w 887920"/>
                <a:gd name="connsiteY499" fmla="*/ 480060 h 627602"/>
                <a:gd name="connsiteX500" fmla="*/ 437007 w 887920"/>
                <a:gd name="connsiteY500" fmla="*/ 481394 h 627602"/>
                <a:gd name="connsiteX501" fmla="*/ 440150 w 887920"/>
                <a:gd name="connsiteY501" fmla="*/ 481013 h 627602"/>
                <a:gd name="connsiteX502" fmla="*/ 442151 w 887920"/>
                <a:gd name="connsiteY502" fmla="*/ 483965 h 627602"/>
                <a:gd name="connsiteX503" fmla="*/ 446913 w 887920"/>
                <a:gd name="connsiteY503" fmla="*/ 483394 h 627602"/>
                <a:gd name="connsiteX504" fmla="*/ 450056 w 887920"/>
                <a:gd name="connsiteY504" fmla="*/ 482918 h 627602"/>
                <a:gd name="connsiteX505" fmla="*/ 455962 w 887920"/>
                <a:gd name="connsiteY505" fmla="*/ 479012 h 627602"/>
                <a:gd name="connsiteX506" fmla="*/ 456343 w 887920"/>
                <a:gd name="connsiteY506" fmla="*/ 482156 h 627602"/>
                <a:gd name="connsiteX507" fmla="*/ 455200 w 887920"/>
                <a:gd name="connsiteY507" fmla="*/ 485489 h 627602"/>
                <a:gd name="connsiteX508" fmla="*/ 457010 w 887920"/>
                <a:gd name="connsiteY508" fmla="*/ 486918 h 627602"/>
                <a:gd name="connsiteX509" fmla="*/ 463487 w 887920"/>
                <a:gd name="connsiteY509" fmla="*/ 500444 h 627602"/>
                <a:gd name="connsiteX510" fmla="*/ 465106 w 887920"/>
                <a:gd name="connsiteY510" fmla="*/ 500253 h 627602"/>
                <a:gd name="connsiteX511" fmla="*/ 466630 w 887920"/>
                <a:gd name="connsiteY511" fmla="*/ 500063 h 627602"/>
                <a:gd name="connsiteX512" fmla="*/ 471773 w 887920"/>
                <a:gd name="connsiteY512" fmla="*/ 502634 h 627602"/>
                <a:gd name="connsiteX513" fmla="*/ 472631 w 887920"/>
                <a:gd name="connsiteY513" fmla="*/ 508921 h 627602"/>
                <a:gd name="connsiteX514" fmla="*/ 473964 w 887920"/>
                <a:gd name="connsiteY514" fmla="*/ 507206 h 627602"/>
                <a:gd name="connsiteX515" fmla="*/ 477107 w 887920"/>
                <a:gd name="connsiteY515" fmla="*/ 506730 h 627602"/>
                <a:gd name="connsiteX516" fmla="*/ 477298 w 887920"/>
                <a:gd name="connsiteY516" fmla="*/ 508349 h 627602"/>
                <a:gd name="connsiteX517" fmla="*/ 476345 w 887920"/>
                <a:gd name="connsiteY517" fmla="*/ 513302 h 627602"/>
                <a:gd name="connsiteX518" fmla="*/ 480155 w 887920"/>
                <a:gd name="connsiteY518" fmla="*/ 517589 h 627602"/>
                <a:gd name="connsiteX519" fmla="*/ 479108 w 887920"/>
                <a:gd name="connsiteY519" fmla="*/ 522542 h 627602"/>
                <a:gd name="connsiteX520" fmla="*/ 483489 w 887920"/>
                <a:gd name="connsiteY520" fmla="*/ 518827 h 627602"/>
                <a:gd name="connsiteX521" fmla="*/ 485299 w 887920"/>
                <a:gd name="connsiteY521" fmla="*/ 520160 h 627602"/>
                <a:gd name="connsiteX522" fmla="*/ 489776 w 887920"/>
                <a:gd name="connsiteY522" fmla="*/ 517970 h 627602"/>
                <a:gd name="connsiteX523" fmla="*/ 494538 w 887920"/>
                <a:gd name="connsiteY523" fmla="*/ 517398 h 627602"/>
                <a:gd name="connsiteX524" fmla="*/ 494538 w 887920"/>
                <a:gd name="connsiteY524" fmla="*/ 517398 h 627602"/>
                <a:gd name="connsiteX525" fmla="*/ 498729 w 887920"/>
                <a:gd name="connsiteY525" fmla="*/ 524828 h 627602"/>
                <a:gd name="connsiteX526" fmla="*/ 503873 w 887920"/>
                <a:gd name="connsiteY526" fmla="*/ 527399 h 627602"/>
                <a:gd name="connsiteX527" fmla="*/ 502634 w 887920"/>
                <a:gd name="connsiteY527" fmla="*/ 530828 h 627602"/>
                <a:gd name="connsiteX528" fmla="*/ 507397 w 887920"/>
                <a:gd name="connsiteY528" fmla="*/ 530162 h 627602"/>
                <a:gd name="connsiteX529" fmla="*/ 516255 w 887920"/>
                <a:gd name="connsiteY529" fmla="*/ 537020 h 627602"/>
                <a:gd name="connsiteX530" fmla="*/ 513493 w 887920"/>
                <a:gd name="connsiteY530" fmla="*/ 540639 h 627602"/>
                <a:gd name="connsiteX531" fmla="*/ 513683 w 887920"/>
                <a:gd name="connsiteY531" fmla="*/ 542163 h 627602"/>
                <a:gd name="connsiteX532" fmla="*/ 516731 w 887920"/>
                <a:gd name="connsiteY532" fmla="*/ 540258 h 627602"/>
                <a:gd name="connsiteX533" fmla="*/ 515684 w 887920"/>
                <a:gd name="connsiteY533" fmla="*/ 545116 h 627602"/>
                <a:gd name="connsiteX534" fmla="*/ 519113 w 887920"/>
                <a:gd name="connsiteY534" fmla="*/ 559118 h 627602"/>
                <a:gd name="connsiteX535" fmla="*/ 520922 w 887920"/>
                <a:gd name="connsiteY535" fmla="*/ 560546 h 627602"/>
                <a:gd name="connsiteX536" fmla="*/ 522827 w 887920"/>
                <a:gd name="connsiteY536" fmla="*/ 563499 h 627602"/>
                <a:gd name="connsiteX537" fmla="*/ 530543 w 887920"/>
                <a:gd name="connsiteY537" fmla="*/ 560927 h 627602"/>
                <a:gd name="connsiteX538" fmla="*/ 530924 w 887920"/>
                <a:gd name="connsiteY538" fmla="*/ 564071 h 627602"/>
                <a:gd name="connsiteX539" fmla="*/ 532543 w 887920"/>
                <a:gd name="connsiteY539" fmla="*/ 563880 h 627602"/>
                <a:gd name="connsiteX540" fmla="*/ 532733 w 887920"/>
                <a:gd name="connsiteY540" fmla="*/ 565404 h 627602"/>
                <a:gd name="connsiteX541" fmla="*/ 537305 w 887920"/>
                <a:gd name="connsiteY541" fmla="*/ 563309 h 627602"/>
                <a:gd name="connsiteX542" fmla="*/ 542163 w 887920"/>
                <a:gd name="connsiteY542" fmla="*/ 564261 h 627602"/>
                <a:gd name="connsiteX543" fmla="*/ 547497 w 887920"/>
                <a:gd name="connsiteY543" fmla="*/ 568357 h 627602"/>
                <a:gd name="connsiteX544" fmla="*/ 546164 w 887920"/>
                <a:gd name="connsiteY544" fmla="*/ 570167 h 627602"/>
                <a:gd name="connsiteX545" fmla="*/ 547783 w 887920"/>
                <a:gd name="connsiteY545" fmla="*/ 569976 h 627602"/>
                <a:gd name="connsiteX546" fmla="*/ 548164 w 887920"/>
                <a:gd name="connsiteY546" fmla="*/ 573119 h 627602"/>
                <a:gd name="connsiteX547" fmla="*/ 551307 w 887920"/>
                <a:gd name="connsiteY547" fmla="*/ 572738 h 627602"/>
                <a:gd name="connsiteX548" fmla="*/ 553307 w 887920"/>
                <a:gd name="connsiteY548" fmla="*/ 575691 h 627602"/>
                <a:gd name="connsiteX549" fmla="*/ 553879 w 887920"/>
                <a:gd name="connsiteY549" fmla="*/ 580358 h 627602"/>
                <a:gd name="connsiteX550" fmla="*/ 558832 w 887920"/>
                <a:gd name="connsiteY550" fmla="*/ 581406 h 627602"/>
                <a:gd name="connsiteX551" fmla="*/ 560165 w 887920"/>
                <a:gd name="connsiteY551" fmla="*/ 579596 h 627602"/>
                <a:gd name="connsiteX552" fmla="*/ 572262 w 887920"/>
                <a:gd name="connsiteY552" fmla="*/ 586073 h 627602"/>
                <a:gd name="connsiteX553" fmla="*/ 575786 w 887920"/>
                <a:gd name="connsiteY553" fmla="*/ 588836 h 627602"/>
                <a:gd name="connsiteX554" fmla="*/ 579596 w 887920"/>
                <a:gd name="connsiteY554" fmla="*/ 593122 h 627602"/>
                <a:gd name="connsiteX555" fmla="*/ 587883 w 887920"/>
                <a:gd name="connsiteY555" fmla="*/ 595313 h 627602"/>
                <a:gd name="connsiteX556" fmla="*/ 596360 w 887920"/>
                <a:gd name="connsiteY556" fmla="*/ 599027 h 627602"/>
                <a:gd name="connsiteX557" fmla="*/ 605409 w 887920"/>
                <a:gd name="connsiteY557" fmla="*/ 607505 h 627602"/>
                <a:gd name="connsiteX558" fmla="*/ 609981 w 887920"/>
                <a:gd name="connsiteY558" fmla="*/ 605314 h 627602"/>
                <a:gd name="connsiteX559" fmla="*/ 613124 w 887920"/>
                <a:gd name="connsiteY559" fmla="*/ 604933 h 627602"/>
                <a:gd name="connsiteX560" fmla="*/ 617887 w 887920"/>
                <a:gd name="connsiteY560" fmla="*/ 604266 h 627602"/>
                <a:gd name="connsiteX561" fmla="*/ 617506 w 887920"/>
                <a:gd name="connsiteY561" fmla="*/ 601123 h 627602"/>
                <a:gd name="connsiteX562" fmla="*/ 618268 w 887920"/>
                <a:gd name="connsiteY562" fmla="*/ 594646 h 627602"/>
                <a:gd name="connsiteX563" fmla="*/ 616268 w 887920"/>
                <a:gd name="connsiteY563" fmla="*/ 591693 h 627602"/>
                <a:gd name="connsiteX564" fmla="*/ 621221 w 887920"/>
                <a:gd name="connsiteY564" fmla="*/ 592646 h 627602"/>
                <a:gd name="connsiteX565" fmla="*/ 620363 w 887920"/>
                <a:gd name="connsiteY565" fmla="*/ 586359 h 627602"/>
                <a:gd name="connsiteX566" fmla="*/ 628079 w 887920"/>
                <a:gd name="connsiteY566" fmla="*/ 583787 h 627602"/>
                <a:gd name="connsiteX567" fmla="*/ 626269 w 887920"/>
                <a:gd name="connsiteY567" fmla="*/ 582359 h 627602"/>
                <a:gd name="connsiteX568" fmla="*/ 629031 w 887920"/>
                <a:gd name="connsiteY568" fmla="*/ 578834 h 627602"/>
                <a:gd name="connsiteX569" fmla="*/ 630650 w 887920"/>
                <a:gd name="connsiteY569" fmla="*/ 578644 h 627602"/>
                <a:gd name="connsiteX570" fmla="*/ 631793 w 887920"/>
                <a:gd name="connsiteY570" fmla="*/ 575310 h 627602"/>
                <a:gd name="connsiteX571" fmla="*/ 634937 w 887920"/>
                <a:gd name="connsiteY571" fmla="*/ 574834 h 627602"/>
                <a:gd name="connsiteX572" fmla="*/ 636175 w 887920"/>
                <a:gd name="connsiteY572" fmla="*/ 571500 h 627602"/>
                <a:gd name="connsiteX573" fmla="*/ 639890 w 887920"/>
                <a:gd name="connsiteY573" fmla="*/ 575882 h 627602"/>
                <a:gd name="connsiteX574" fmla="*/ 641318 w 887920"/>
                <a:gd name="connsiteY574" fmla="*/ 574072 h 627602"/>
                <a:gd name="connsiteX575" fmla="*/ 645986 w 887920"/>
                <a:gd name="connsiteY575" fmla="*/ 573500 h 627602"/>
                <a:gd name="connsiteX576" fmla="*/ 649605 w 887920"/>
                <a:gd name="connsiteY576" fmla="*/ 576167 h 627602"/>
                <a:gd name="connsiteX577" fmla="*/ 650939 w 887920"/>
                <a:gd name="connsiteY577" fmla="*/ 574453 h 627602"/>
                <a:gd name="connsiteX578" fmla="*/ 659606 w 887920"/>
                <a:gd name="connsiteY578" fmla="*/ 579692 h 627602"/>
                <a:gd name="connsiteX579" fmla="*/ 658463 w 887920"/>
                <a:gd name="connsiteY579" fmla="*/ 583121 h 627602"/>
                <a:gd name="connsiteX580" fmla="*/ 666750 w 887920"/>
                <a:gd name="connsiteY580" fmla="*/ 585216 h 627602"/>
                <a:gd name="connsiteX581" fmla="*/ 668750 w 887920"/>
                <a:gd name="connsiteY581" fmla="*/ 588169 h 627602"/>
                <a:gd name="connsiteX582" fmla="*/ 672846 w 887920"/>
                <a:gd name="connsiteY582" fmla="*/ 582835 h 627602"/>
                <a:gd name="connsiteX583" fmla="*/ 675037 w 887920"/>
                <a:gd name="connsiteY583" fmla="*/ 587407 h 627602"/>
                <a:gd name="connsiteX584" fmla="*/ 676656 w 887920"/>
                <a:gd name="connsiteY584" fmla="*/ 587216 h 627602"/>
                <a:gd name="connsiteX585" fmla="*/ 677799 w 887920"/>
                <a:gd name="connsiteY585" fmla="*/ 583883 h 627602"/>
                <a:gd name="connsiteX586" fmla="*/ 686086 w 887920"/>
                <a:gd name="connsiteY586" fmla="*/ 585978 h 627602"/>
                <a:gd name="connsiteX587" fmla="*/ 684943 w 887920"/>
                <a:gd name="connsiteY587" fmla="*/ 589312 h 627602"/>
                <a:gd name="connsiteX588" fmla="*/ 689039 w 887920"/>
                <a:gd name="connsiteY588" fmla="*/ 596837 h 627602"/>
                <a:gd name="connsiteX589" fmla="*/ 690658 w 887920"/>
                <a:gd name="connsiteY589" fmla="*/ 596646 h 627602"/>
                <a:gd name="connsiteX590" fmla="*/ 697421 w 887920"/>
                <a:gd name="connsiteY590" fmla="*/ 599027 h 627602"/>
                <a:gd name="connsiteX591" fmla="*/ 699516 w 887920"/>
                <a:gd name="connsiteY591" fmla="*/ 603504 h 627602"/>
                <a:gd name="connsiteX592" fmla="*/ 706469 w 887920"/>
                <a:gd name="connsiteY592" fmla="*/ 607409 h 627602"/>
                <a:gd name="connsiteX593" fmla="*/ 706660 w 887920"/>
                <a:gd name="connsiteY593" fmla="*/ 596170 h 627602"/>
                <a:gd name="connsiteX594" fmla="*/ 712565 w 887920"/>
                <a:gd name="connsiteY594" fmla="*/ 592265 h 627602"/>
                <a:gd name="connsiteX595" fmla="*/ 715899 w 887920"/>
                <a:gd name="connsiteY595" fmla="*/ 593408 h 627602"/>
                <a:gd name="connsiteX596" fmla="*/ 714756 w 887920"/>
                <a:gd name="connsiteY596" fmla="*/ 596741 h 627602"/>
                <a:gd name="connsiteX597" fmla="*/ 718852 w 887920"/>
                <a:gd name="connsiteY597" fmla="*/ 604266 h 627602"/>
                <a:gd name="connsiteX598" fmla="*/ 715709 w 887920"/>
                <a:gd name="connsiteY598" fmla="*/ 604647 h 627602"/>
                <a:gd name="connsiteX599" fmla="*/ 717899 w 887920"/>
                <a:gd name="connsiteY599" fmla="*/ 609219 h 627602"/>
                <a:gd name="connsiteX600" fmla="*/ 721233 w 887920"/>
                <a:gd name="connsiteY600" fmla="*/ 610362 h 627602"/>
                <a:gd name="connsiteX601" fmla="*/ 721519 w 887920"/>
                <a:gd name="connsiteY601" fmla="*/ 611981 h 627602"/>
                <a:gd name="connsiteX602" fmla="*/ 713423 w 887920"/>
                <a:gd name="connsiteY602" fmla="*/ 611410 h 627602"/>
                <a:gd name="connsiteX603" fmla="*/ 715328 w 887920"/>
                <a:gd name="connsiteY603" fmla="*/ 614363 h 627602"/>
                <a:gd name="connsiteX604" fmla="*/ 720090 w 887920"/>
                <a:gd name="connsiteY604" fmla="*/ 613696 h 627602"/>
                <a:gd name="connsiteX605" fmla="*/ 720471 w 887920"/>
                <a:gd name="connsiteY605" fmla="*/ 616934 h 627602"/>
                <a:gd name="connsiteX606" fmla="*/ 717328 w 887920"/>
                <a:gd name="connsiteY606" fmla="*/ 617315 h 627602"/>
                <a:gd name="connsiteX607" fmla="*/ 720662 w 887920"/>
                <a:gd name="connsiteY607" fmla="*/ 618458 h 627602"/>
                <a:gd name="connsiteX608" fmla="*/ 721328 w 887920"/>
                <a:gd name="connsiteY608" fmla="*/ 623221 h 627602"/>
                <a:gd name="connsiteX609" fmla="*/ 727805 w 887920"/>
                <a:gd name="connsiteY609" fmla="*/ 623983 h 627602"/>
                <a:gd name="connsiteX610" fmla="*/ 732377 w 887920"/>
                <a:gd name="connsiteY610" fmla="*/ 621792 h 627602"/>
                <a:gd name="connsiteX611" fmla="*/ 737330 w 887920"/>
                <a:gd name="connsiteY611" fmla="*/ 622745 h 627602"/>
                <a:gd name="connsiteX612" fmla="*/ 738473 w 887920"/>
                <a:gd name="connsiteY612" fmla="*/ 619411 h 627602"/>
                <a:gd name="connsiteX613" fmla="*/ 743617 w 887920"/>
                <a:gd name="connsiteY613" fmla="*/ 621983 h 627602"/>
                <a:gd name="connsiteX614" fmla="*/ 743426 w 887920"/>
                <a:gd name="connsiteY614" fmla="*/ 620363 h 627602"/>
                <a:gd name="connsiteX615" fmla="*/ 746760 w 887920"/>
                <a:gd name="connsiteY615" fmla="*/ 621602 h 627602"/>
                <a:gd name="connsiteX616" fmla="*/ 746570 w 887920"/>
                <a:gd name="connsiteY616" fmla="*/ 619982 h 627602"/>
                <a:gd name="connsiteX617" fmla="*/ 742760 w 887920"/>
                <a:gd name="connsiteY617" fmla="*/ 615696 h 627602"/>
                <a:gd name="connsiteX618" fmla="*/ 745522 w 887920"/>
                <a:gd name="connsiteY618" fmla="*/ 612077 h 627602"/>
                <a:gd name="connsiteX619" fmla="*/ 748475 w 887920"/>
                <a:gd name="connsiteY619" fmla="*/ 610076 h 627602"/>
                <a:gd name="connsiteX620" fmla="*/ 750856 w 887920"/>
                <a:gd name="connsiteY620" fmla="*/ 616268 h 627602"/>
                <a:gd name="connsiteX621" fmla="*/ 755809 w 887920"/>
                <a:gd name="connsiteY621" fmla="*/ 617220 h 627602"/>
                <a:gd name="connsiteX622" fmla="*/ 756761 w 887920"/>
                <a:gd name="connsiteY622" fmla="*/ 612267 h 627602"/>
                <a:gd name="connsiteX623" fmla="*/ 759524 w 887920"/>
                <a:gd name="connsiteY623" fmla="*/ 608743 h 627602"/>
                <a:gd name="connsiteX624" fmla="*/ 757619 w 887920"/>
                <a:gd name="connsiteY624" fmla="*/ 605790 h 627602"/>
                <a:gd name="connsiteX625" fmla="*/ 762286 w 887920"/>
                <a:gd name="connsiteY625" fmla="*/ 605123 h 627602"/>
                <a:gd name="connsiteX626" fmla="*/ 763334 w 887920"/>
                <a:gd name="connsiteY626" fmla="*/ 600170 h 627602"/>
                <a:gd name="connsiteX627" fmla="*/ 756380 w 887920"/>
                <a:gd name="connsiteY627" fmla="*/ 596265 h 627602"/>
                <a:gd name="connsiteX628" fmla="*/ 755142 w 887920"/>
                <a:gd name="connsiteY628" fmla="*/ 586835 h 627602"/>
                <a:gd name="connsiteX629" fmla="*/ 751427 w 887920"/>
                <a:gd name="connsiteY629" fmla="*/ 582454 h 627602"/>
                <a:gd name="connsiteX630" fmla="*/ 752761 w 887920"/>
                <a:gd name="connsiteY630" fmla="*/ 580739 h 627602"/>
                <a:gd name="connsiteX631" fmla="*/ 753713 w 887920"/>
                <a:gd name="connsiteY631" fmla="*/ 575786 h 627602"/>
                <a:gd name="connsiteX632" fmla="*/ 763048 w 887920"/>
                <a:gd name="connsiteY632" fmla="*/ 573024 h 627602"/>
                <a:gd name="connsiteX633" fmla="*/ 764762 w 887920"/>
                <a:gd name="connsiteY633" fmla="*/ 574358 h 627602"/>
                <a:gd name="connsiteX634" fmla="*/ 772478 w 887920"/>
                <a:gd name="connsiteY634" fmla="*/ 571786 h 627602"/>
                <a:gd name="connsiteX635" fmla="*/ 772668 w 887920"/>
                <a:gd name="connsiteY635" fmla="*/ 560546 h 627602"/>
                <a:gd name="connsiteX636" fmla="*/ 778002 w 887920"/>
                <a:gd name="connsiteY636" fmla="*/ 564642 h 627602"/>
                <a:gd name="connsiteX637" fmla="*/ 779336 w 887920"/>
                <a:gd name="connsiteY637" fmla="*/ 562832 h 627602"/>
                <a:gd name="connsiteX638" fmla="*/ 781145 w 887920"/>
                <a:gd name="connsiteY638" fmla="*/ 564261 h 627602"/>
                <a:gd name="connsiteX639" fmla="*/ 782098 w 887920"/>
                <a:gd name="connsiteY639" fmla="*/ 559308 h 627602"/>
                <a:gd name="connsiteX640" fmla="*/ 778383 w 887920"/>
                <a:gd name="connsiteY640" fmla="*/ 555022 h 627602"/>
                <a:gd name="connsiteX641" fmla="*/ 781145 w 887920"/>
                <a:gd name="connsiteY641" fmla="*/ 551402 h 627602"/>
                <a:gd name="connsiteX642" fmla="*/ 779526 w 887920"/>
                <a:gd name="connsiteY642" fmla="*/ 551593 h 627602"/>
                <a:gd name="connsiteX643" fmla="*/ 778955 w 887920"/>
                <a:gd name="connsiteY643" fmla="*/ 546926 h 627602"/>
                <a:gd name="connsiteX644" fmla="*/ 792385 w 887920"/>
                <a:gd name="connsiteY644" fmla="*/ 551593 h 627602"/>
                <a:gd name="connsiteX645" fmla="*/ 794385 w 887920"/>
                <a:gd name="connsiteY645" fmla="*/ 554546 h 627602"/>
                <a:gd name="connsiteX646" fmla="*/ 794766 w 887920"/>
                <a:gd name="connsiteY646" fmla="*/ 557689 h 627602"/>
                <a:gd name="connsiteX647" fmla="*/ 792956 w 887920"/>
                <a:gd name="connsiteY647" fmla="*/ 556355 h 627602"/>
                <a:gd name="connsiteX648" fmla="*/ 792194 w 887920"/>
                <a:gd name="connsiteY648" fmla="*/ 562832 h 627602"/>
                <a:gd name="connsiteX649" fmla="*/ 803243 w 887920"/>
                <a:gd name="connsiteY649" fmla="*/ 574262 h 627602"/>
                <a:gd name="connsiteX650" fmla="*/ 804101 w 887920"/>
                <a:gd name="connsiteY650" fmla="*/ 580549 h 627602"/>
                <a:gd name="connsiteX651" fmla="*/ 810387 w 887920"/>
                <a:gd name="connsiteY651" fmla="*/ 579787 h 627602"/>
                <a:gd name="connsiteX652" fmla="*/ 812387 w 887920"/>
                <a:gd name="connsiteY652" fmla="*/ 582740 h 627602"/>
                <a:gd name="connsiteX653" fmla="*/ 816864 w 887920"/>
                <a:gd name="connsiteY653" fmla="*/ 580549 h 627602"/>
                <a:gd name="connsiteX654" fmla="*/ 819055 w 887920"/>
                <a:gd name="connsiteY654" fmla="*/ 585121 h 627602"/>
                <a:gd name="connsiteX655" fmla="*/ 826961 w 887920"/>
                <a:gd name="connsiteY655" fmla="*/ 584073 h 627602"/>
                <a:gd name="connsiteX656" fmla="*/ 826008 w 887920"/>
                <a:gd name="connsiteY656" fmla="*/ 576167 h 627602"/>
                <a:gd name="connsiteX657" fmla="*/ 829342 w 887920"/>
                <a:gd name="connsiteY657" fmla="*/ 577310 h 627602"/>
                <a:gd name="connsiteX658" fmla="*/ 833914 w 887920"/>
                <a:gd name="connsiteY658" fmla="*/ 575215 h 627602"/>
                <a:gd name="connsiteX659" fmla="*/ 835438 w 887920"/>
                <a:gd name="connsiteY659" fmla="*/ 574929 h 627602"/>
                <a:gd name="connsiteX660" fmla="*/ 841343 w 887920"/>
                <a:gd name="connsiteY660" fmla="*/ 571024 h 627602"/>
                <a:gd name="connsiteX661" fmla="*/ 842963 w 887920"/>
                <a:gd name="connsiteY661" fmla="*/ 570833 h 627602"/>
                <a:gd name="connsiteX662" fmla="*/ 843344 w 887920"/>
                <a:gd name="connsiteY662" fmla="*/ 573977 h 627602"/>
                <a:gd name="connsiteX663" fmla="*/ 844677 w 887920"/>
                <a:gd name="connsiteY663" fmla="*/ 572167 h 627602"/>
                <a:gd name="connsiteX664" fmla="*/ 845153 w 887920"/>
                <a:gd name="connsiteY664" fmla="*/ 575310 h 627602"/>
                <a:gd name="connsiteX665" fmla="*/ 848487 w 887920"/>
                <a:gd name="connsiteY665" fmla="*/ 576548 h 627602"/>
                <a:gd name="connsiteX666" fmla="*/ 848297 w 887920"/>
                <a:gd name="connsiteY666" fmla="*/ 574929 h 627602"/>
                <a:gd name="connsiteX667" fmla="*/ 851440 w 887920"/>
                <a:gd name="connsiteY667" fmla="*/ 574548 h 627602"/>
                <a:gd name="connsiteX668" fmla="*/ 852678 w 887920"/>
                <a:gd name="connsiteY668" fmla="*/ 583978 h 627602"/>
                <a:gd name="connsiteX669" fmla="*/ 855821 w 887920"/>
                <a:gd name="connsiteY669" fmla="*/ 583597 h 627602"/>
                <a:gd name="connsiteX670" fmla="*/ 853821 w 887920"/>
                <a:gd name="connsiteY670" fmla="*/ 580644 h 627602"/>
                <a:gd name="connsiteX671" fmla="*/ 856583 w 887920"/>
                <a:gd name="connsiteY671" fmla="*/ 577120 h 627602"/>
                <a:gd name="connsiteX672" fmla="*/ 858774 w 887920"/>
                <a:gd name="connsiteY672" fmla="*/ 581597 h 627602"/>
                <a:gd name="connsiteX673" fmla="*/ 860108 w 887920"/>
                <a:gd name="connsiteY673" fmla="*/ 579882 h 627602"/>
                <a:gd name="connsiteX674" fmla="*/ 864680 w 887920"/>
                <a:gd name="connsiteY674" fmla="*/ 577691 h 627602"/>
                <a:gd name="connsiteX675" fmla="*/ 886778 w 887920"/>
                <a:gd name="connsiteY675" fmla="*/ 574834 h 627602"/>
                <a:gd name="connsiteX676" fmla="*/ 887921 w 887920"/>
                <a:gd name="connsiteY676" fmla="*/ 571500 h 627602"/>
                <a:gd name="connsiteX677" fmla="*/ 883920 w 887920"/>
                <a:gd name="connsiteY677" fmla="*/ 565595 h 627602"/>
                <a:gd name="connsiteX678" fmla="*/ 883920 w 887920"/>
                <a:gd name="connsiteY678" fmla="*/ 565595 h 627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</a:cxnLst>
              <a:rect l="l" t="t" r="r" b="b"/>
              <a:pathLst>
                <a:path w="887920" h="627602">
                  <a:moveTo>
                    <a:pt x="883920" y="565595"/>
                  </a:moveTo>
                  <a:lnTo>
                    <a:pt x="883158" y="559308"/>
                  </a:lnTo>
                  <a:lnTo>
                    <a:pt x="881634" y="559499"/>
                  </a:lnTo>
                  <a:lnTo>
                    <a:pt x="877443" y="551974"/>
                  </a:lnTo>
                  <a:lnTo>
                    <a:pt x="873824" y="549212"/>
                  </a:lnTo>
                  <a:lnTo>
                    <a:pt x="873443" y="546068"/>
                  </a:lnTo>
                  <a:lnTo>
                    <a:pt x="868109" y="541973"/>
                  </a:lnTo>
                  <a:lnTo>
                    <a:pt x="865727" y="535877"/>
                  </a:lnTo>
                  <a:lnTo>
                    <a:pt x="859250" y="535019"/>
                  </a:lnTo>
                  <a:lnTo>
                    <a:pt x="859060" y="533495"/>
                  </a:lnTo>
                  <a:lnTo>
                    <a:pt x="863918" y="534448"/>
                  </a:lnTo>
                  <a:lnTo>
                    <a:pt x="852869" y="523018"/>
                  </a:lnTo>
                  <a:lnTo>
                    <a:pt x="857441" y="520827"/>
                  </a:lnTo>
                  <a:lnTo>
                    <a:pt x="860012" y="515684"/>
                  </a:lnTo>
                  <a:lnTo>
                    <a:pt x="850297" y="515303"/>
                  </a:lnTo>
                  <a:lnTo>
                    <a:pt x="843153" y="509873"/>
                  </a:lnTo>
                  <a:lnTo>
                    <a:pt x="853631" y="490919"/>
                  </a:lnTo>
                  <a:lnTo>
                    <a:pt x="851440" y="486347"/>
                  </a:lnTo>
                  <a:lnTo>
                    <a:pt x="858107" y="475869"/>
                  </a:lnTo>
                  <a:lnTo>
                    <a:pt x="863822" y="470345"/>
                  </a:lnTo>
                  <a:lnTo>
                    <a:pt x="855155" y="465011"/>
                  </a:lnTo>
                  <a:lnTo>
                    <a:pt x="854297" y="458724"/>
                  </a:lnTo>
                  <a:lnTo>
                    <a:pt x="850106" y="451199"/>
                  </a:lnTo>
                  <a:lnTo>
                    <a:pt x="839629" y="444532"/>
                  </a:lnTo>
                  <a:lnTo>
                    <a:pt x="839438" y="442913"/>
                  </a:lnTo>
                  <a:lnTo>
                    <a:pt x="844582" y="432721"/>
                  </a:lnTo>
                  <a:lnTo>
                    <a:pt x="851630" y="425387"/>
                  </a:lnTo>
                  <a:lnTo>
                    <a:pt x="844582" y="419862"/>
                  </a:lnTo>
                  <a:lnTo>
                    <a:pt x="838200" y="395002"/>
                  </a:lnTo>
                  <a:lnTo>
                    <a:pt x="836390" y="393668"/>
                  </a:lnTo>
                  <a:lnTo>
                    <a:pt x="835819" y="388906"/>
                  </a:lnTo>
                  <a:lnTo>
                    <a:pt x="839343" y="378809"/>
                  </a:lnTo>
                  <a:lnTo>
                    <a:pt x="837343" y="375857"/>
                  </a:lnTo>
                  <a:lnTo>
                    <a:pt x="838867" y="362807"/>
                  </a:lnTo>
                  <a:lnTo>
                    <a:pt x="831723" y="357378"/>
                  </a:lnTo>
                  <a:lnTo>
                    <a:pt x="832961" y="353949"/>
                  </a:lnTo>
                  <a:lnTo>
                    <a:pt x="840772" y="340138"/>
                  </a:lnTo>
                  <a:lnTo>
                    <a:pt x="842963" y="331851"/>
                  </a:lnTo>
                  <a:lnTo>
                    <a:pt x="838391" y="321183"/>
                  </a:lnTo>
                  <a:lnTo>
                    <a:pt x="822579" y="310420"/>
                  </a:lnTo>
                  <a:lnTo>
                    <a:pt x="818579" y="304514"/>
                  </a:lnTo>
                  <a:lnTo>
                    <a:pt x="817626" y="296609"/>
                  </a:lnTo>
                  <a:lnTo>
                    <a:pt x="817340" y="282226"/>
                  </a:lnTo>
                  <a:lnTo>
                    <a:pt x="808101" y="284988"/>
                  </a:lnTo>
                  <a:lnTo>
                    <a:pt x="799624" y="268415"/>
                  </a:lnTo>
                  <a:lnTo>
                    <a:pt x="791909" y="270986"/>
                  </a:lnTo>
                  <a:lnTo>
                    <a:pt x="778669" y="267843"/>
                  </a:lnTo>
                  <a:lnTo>
                    <a:pt x="774764" y="261938"/>
                  </a:lnTo>
                  <a:lnTo>
                    <a:pt x="767620" y="256508"/>
                  </a:lnTo>
                  <a:lnTo>
                    <a:pt x="759333" y="254318"/>
                  </a:lnTo>
                  <a:lnTo>
                    <a:pt x="757142" y="249746"/>
                  </a:lnTo>
                  <a:lnTo>
                    <a:pt x="750380" y="247460"/>
                  </a:lnTo>
                  <a:lnTo>
                    <a:pt x="745712" y="248031"/>
                  </a:lnTo>
                  <a:lnTo>
                    <a:pt x="741140" y="250222"/>
                  </a:lnTo>
                  <a:lnTo>
                    <a:pt x="729520" y="272510"/>
                  </a:lnTo>
                  <a:lnTo>
                    <a:pt x="718376" y="285179"/>
                  </a:lnTo>
                  <a:lnTo>
                    <a:pt x="713613" y="285750"/>
                  </a:lnTo>
                  <a:lnTo>
                    <a:pt x="710089" y="283083"/>
                  </a:lnTo>
                  <a:lnTo>
                    <a:pt x="706850" y="283464"/>
                  </a:lnTo>
                  <a:lnTo>
                    <a:pt x="703136" y="279083"/>
                  </a:lnTo>
                  <a:lnTo>
                    <a:pt x="705898" y="275558"/>
                  </a:lnTo>
                  <a:lnTo>
                    <a:pt x="705517" y="272415"/>
                  </a:lnTo>
                  <a:lnTo>
                    <a:pt x="706660" y="269081"/>
                  </a:lnTo>
                  <a:lnTo>
                    <a:pt x="704660" y="266129"/>
                  </a:lnTo>
                  <a:lnTo>
                    <a:pt x="704279" y="262890"/>
                  </a:lnTo>
                  <a:lnTo>
                    <a:pt x="699897" y="253841"/>
                  </a:lnTo>
                  <a:lnTo>
                    <a:pt x="705803" y="249936"/>
                  </a:lnTo>
                  <a:lnTo>
                    <a:pt x="703802" y="246983"/>
                  </a:lnTo>
                  <a:lnTo>
                    <a:pt x="706565" y="243364"/>
                  </a:lnTo>
                  <a:lnTo>
                    <a:pt x="702850" y="239078"/>
                  </a:lnTo>
                  <a:lnTo>
                    <a:pt x="706755" y="232124"/>
                  </a:lnTo>
                  <a:lnTo>
                    <a:pt x="704945" y="230791"/>
                  </a:lnTo>
                  <a:lnTo>
                    <a:pt x="701231" y="213646"/>
                  </a:lnTo>
                  <a:lnTo>
                    <a:pt x="695420" y="206312"/>
                  </a:lnTo>
                  <a:lnTo>
                    <a:pt x="691134" y="197263"/>
                  </a:lnTo>
                  <a:lnTo>
                    <a:pt x="689515" y="197453"/>
                  </a:lnTo>
                  <a:lnTo>
                    <a:pt x="686181" y="196310"/>
                  </a:lnTo>
                  <a:lnTo>
                    <a:pt x="684562" y="196501"/>
                  </a:lnTo>
                  <a:lnTo>
                    <a:pt x="684181" y="193358"/>
                  </a:lnTo>
                  <a:lnTo>
                    <a:pt x="682847" y="195072"/>
                  </a:lnTo>
                  <a:lnTo>
                    <a:pt x="680847" y="192119"/>
                  </a:lnTo>
                  <a:lnTo>
                    <a:pt x="674465" y="192977"/>
                  </a:lnTo>
                  <a:lnTo>
                    <a:pt x="674084" y="189833"/>
                  </a:lnTo>
                  <a:lnTo>
                    <a:pt x="672560" y="190024"/>
                  </a:lnTo>
                  <a:lnTo>
                    <a:pt x="665798" y="187643"/>
                  </a:lnTo>
                  <a:lnTo>
                    <a:pt x="660654" y="185071"/>
                  </a:lnTo>
                  <a:lnTo>
                    <a:pt x="649224" y="170498"/>
                  </a:lnTo>
                  <a:lnTo>
                    <a:pt x="648367" y="164211"/>
                  </a:lnTo>
                  <a:lnTo>
                    <a:pt x="640842" y="155543"/>
                  </a:lnTo>
                  <a:lnTo>
                    <a:pt x="638651" y="150971"/>
                  </a:lnTo>
                  <a:lnTo>
                    <a:pt x="635318" y="124206"/>
                  </a:lnTo>
                  <a:lnTo>
                    <a:pt x="631508" y="119824"/>
                  </a:lnTo>
                  <a:lnTo>
                    <a:pt x="633698" y="111538"/>
                  </a:lnTo>
                  <a:lnTo>
                    <a:pt x="632841" y="105251"/>
                  </a:lnTo>
                  <a:lnTo>
                    <a:pt x="634079" y="101918"/>
                  </a:lnTo>
                  <a:lnTo>
                    <a:pt x="638366" y="98108"/>
                  </a:lnTo>
                  <a:lnTo>
                    <a:pt x="639509" y="94774"/>
                  </a:lnTo>
                  <a:lnTo>
                    <a:pt x="646843" y="89059"/>
                  </a:lnTo>
                  <a:lnTo>
                    <a:pt x="647605" y="82487"/>
                  </a:lnTo>
                  <a:lnTo>
                    <a:pt x="643223" y="73438"/>
                  </a:lnTo>
                  <a:lnTo>
                    <a:pt x="636556" y="71057"/>
                  </a:lnTo>
                  <a:lnTo>
                    <a:pt x="638270" y="59626"/>
                  </a:lnTo>
                  <a:lnTo>
                    <a:pt x="637318" y="51721"/>
                  </a:lnTo>
                  <a:lnTo>
                    <a:pt x="622459" y="48863"/>
                  </a:lnTo>
                  <a:lnTo>
                    <a:pt x="619316" y="49244"/>
                  </a:lnTo>
                  <a:lnTo>
                    <a:pt x="617982" y="51054"/>
                  </a:lnTo>
                  <a:lnTo>
                    <a:pt x="612172" y="43720"/>
                  </a:lnTo>
                  <a:lnTo>
                    <a:pt x="615125" y="41720"/>
                  </a:lnTo>
                  <a:lnTo>
                    <a:pt x="613124" y="38767"/>
                  </a:lnTo>
                  <a:lnTo>
                    <a:pt x="610743" y="32671"/>
                  </a:lnTo>
                  <a:lnTo>
                    <a:pt x="613696" y="30670"/>
                  </a:lnTo>
                  <a:lnTo>
                    <a:pt x="611981" y="29337"/>
                  </a:lnTo>
                  <a:lnTo>
                    <a:pt x="597980" y="32671"/>
                  </a:lnTo>
                  <a:lnTo>
                    <a:pt x="592074" y="36671"/>
                  </a:lnTo>
                  <a:lnTo>
                    <a:pt x="587121" y="35719"/>
                  </a:lnTo>
                  <a:lnTo>
                    <a:pt x="583025" y="41053"/>
                  </a:lnTo>
                  <a:lnTo>
                    <a:pt x="583787" y="47339"/>
                  </a:lnTo>
                  <a:lnTo>
                    <a:pt x="577691" y="49720"/>
                  </a:lnTo>
                  <a:lnTo>
                    <a:pt x="569024" y="44387"/>
                  </a:lnTo>
                  <a:lnTo>
                    <a:pt x="565595" y="43244"/>
                  </a:lnTo>
                  <a:lnTo>
                    <a:pt x="568547" y="41243"/>
                  </a:lnTo>
                  <a:lnTo>
                    <a:pt x="569309" y="34766"/>
                  </a:lnTo>
                  <a:lnTo>
                    <a:pt x="568928" y="31623"/>
                  </a:lnTo>
                  <a:lnTo>
                    <a:pt x="568547" y="15621"/>
                  </a:lnTo>
                  <a:lnTo>
                    <a:pt x="565499" y="4763"/>
                  </a:lnTo>
                  <a:lnTo>
                    <a:pt x="553498" y="11144"/>
                  </a:lnTo>
                  <a:lnTo>
                    <a:pt x="545592" y="12097"/>
                  </a:lnTo>
                  <a:lnTo>
                    <a:pt x="544830" y="18669"/>
                  </a:lnTo>
                  <a:lnTo>
                    <a:pt x="539591" y="27337"/>
                  </a:lnTo>
                  <a:lnTo>
                    <a:pt x="538734" y="33814"/>
                  </a:lnTo>
                  <a:lnTo>
                    <a:pt x="542163" y="35052"/>
                  </a:lnTo>
                  <a:lnTo>
                    <a:pt x="545687" y="37814"/>
                  </a:lnTo>
                  <a:lnTo>
                    <a:pt x="540734" y="36767"/>
                  </a:lnTo>
                  <a:lnTo>
                    <a:pt x="536258" y="38957"/>
                  </a:lnTo>
                  <a:lnTo>
                    <a:pt x="530924" y="34862"/>
                  </a:lnTo>
                  <a:lnTo>
                    <a:pt x="524542" y="35624"/>
                  </a:lnTo>
                  <a:lnTo>
                    <a:pt x="519875" y="36290"/>
                  </a:lnTo>
                  <a:lnTo>
                    <a:pt x="515684" y="28766"/>
                  </a:lnTo>
                  <a:lnTo>
                    <a:pt x="515112" y="24003"/>
                  </a:lnTo>
                  <a:lnTo>
                    <a:pt x="522161" y="16669"/>
                  </a:lnTo>
                  <a:lnTo>
                    <a:pt x="518351" y="12383"/>
                  </a:lnTo>
                  <a:lnTo>
                    <a:pt x="505397" y="10859"/>
                  </a:lnTo>
                  <a:lnTo>
                    <a:pt x="500634" y="11430"/>
                  </a:lnTo>
                  <a:lnTo>
                    <a:pt x="500063" y="6668"/>
                  </a:lnTo>
                  <a:lnTo>
                    <a:pt x="495110" y="5715"/>
                  </a:lnTo>
                  <a:lnTo>
                    <a:pt x="494729" y="2572"/>
                  </a:lnTo>
                  <a:lnTo>
                    <a:pt x="489585" y="0"/>
                  </a:lnTo>
                  <a:lnTo>
                    <a:pt x="487966" y="190"/>
                  </a:lnTo>
                  <a:lnTo>
                    <a:pt x="487775" y="11430"/>
                  </a:lnTo>
                  <a:lnTo>
                    <a:pt x="481679" y="13811"/>
                  </a:lnTo>
                  <a:lnTo>
                    <a:pt x="471869" y="11906"/>
                  </a:lnTo>
                  <a:lnTo>
                    <a:pt x="471392" y="8763"/>
                  </a:lnTo>
                  <a:lnTo>
                    <a:pt x="471202" y="7144"/>
                  </a:lnTo>
                  <a:lnTo>
                    <a:pt x="470630" y="2477"/>
                  </a:lnTo>
                  <a:lnTo>
                    <a:pt x="463868" y="95"/>
                  </a:lnTo>
                  <a:lnTo>
                    <a:pt x="459200" y="667"/>
                  </a:lnTo>
                  <a:lnTo>
                    <a:pt x="458438" y="7239"/>
                  </a:lnTo>
                  <a:lnTo>
                    <a:pt x="455200" y="7620"/>
                  </a:lnTo>
                  <a:lnTo>
                    <a:pt x="449485" y="13145"/>
                  </a:lnTo>
                  <a:lnTo>
                    <a:pt x="445008" y="15335"/>
                  </a:lnTo>
                  <a:lnTo>
                    <a:pt x="438436" y="14573"/>
                  </a:lnTo>
                  <a:lnTo>
                    <a:pt x="435959" y="19717"/>
                  </a:lnTo>
                  <a:lnTo>
                    <a:pt x="426911" y="36862"/>
                  </a:lnTo>
                  <a:lnTo>
                    <a:pt x="432245" y="40958"/>
                  </a:lnTo>
                  <a:lnTo>
                    <a:pt x="440150" y="52864"/>
                  </a:lnTo>
                  <a:lnTo>
                    <a:pt x="444246" y="47435"/>
                  </a:lnTo>
                  <a:lnTo>
                    <a:pt x="451771" y="43339"/>
                  </a:lnTo>
                  <a:lnTo>
                    <a:pt x="453581" y="44672"/>
                  </a:lnTo>
                  <a:lnTo>
                    <a:pt x="458534" y="58484"/>
                  </a:lnTo>
                  <a:lnTo>
                    <a:pt x="462725" y="66008"/>
                  </a:lnTo>
                  <a:lnTo>
                    <a:pt x="460915" y="64580"/>
                  </a:lnTo>
                  <a:lnTo>
                    <a:pt x="455200" y="70104"/>
                  </a:lnTo>
                  <a:lnTo>
                    <a:pt x="458534" y="84106"/>
                  </a:lnTo>
                  <a:lnTo>
                    <a:pt x="456248" y="90869"/>
                  </a:lnTo>
                  <a:lnTo>
                    <a:pt x="458248" y="93821"/>
                  </a:lnTo>
                  <a:lnTo>
                    <a:pt x="448723" y="107823"/>
                  </a:lnTo>
                  <a:lnTo>
                    <a:pt x="445770" y="109823"/>
                  </a:lnTo>
                  <a:lnTo>
                    <a:pt x="441674" y="115157"/>
                  </a:lnTo>
                  <a:lnTo>
                    <a:pt x="444056" y="121253"/>
                  </a:lnTo>
                  <a:lnTo>
                    <a:pt x="448056" y="127159"/>
                  </a:lnTo>
                  <a:lnTo>
                    <a:pt x="448818" y="133541"/>
                  </a:lnTo>
                  <a:lnTo>
                    <a:pt x="453581" y="132874"/>
                  </a:lnTo>
                  <a:lnTo>
                    <a:pt x="446437" y="140208"/>
                  </a:lnTo>
                  <a:lnTo>
                    <a:pt x="447294" y="146495"/>
                  </a:lnTo>
                  <a:lnTo>
                    <a:pt x="444532" y="150114"/>
                  </a:lnTo>
                  <a:lnTo>
                    <a:pt x="448056" y="152876"/>
                  </a:lnTo>
                  <a:lnTo>
                    <a:pt x="450056" y="168593"/>
                  </a:lnTo>
                  <a:lnTo>
                    <a:pt x="451104" y="176498"/>
                  </a:lnTo>
                  <a:lnTo>
                    <a:pt x="447961" y="176879"/>
                  </a:lnTo>
                  <a:lnTo>
                    <a:pt x="433578" y="177165"/>
                  </a:lnTo>
                  <a:lnTo>
                    <a:pt x="429387" y="182499"/>
                  </a:lnTo>
                  <a:lnTo>
                    <a:pt x="421481" y="183452"/>
                  </a:lnTo>
                  <a:lnTo>
                    <a:pt x="413195" y="181356"/>
                  </a:lnTo>
                  <a:lnTo>
                    <a:pt x="407670" y="175641"/>
                  </a:lnTo>
                  <a:lnTo>
                    <a:pt x="381000" y="167831"/>
                  </a:lnTo>
                  <a:lnTo>
                    <a:pt x="379095" y="177641"/>
                  </a:lnTo>
                  <a:lnTo>
                    <a:pt x="363093" y="165259"/>
                  </a:lnTo>
                  <a:lnTo>
                    <a:pt x="356711" y="166116"/>
                  </a:lnTo>
                  <a:lnTo>
                    <a:pt x="356140" y="174212"/>
                  </a:lnTo>
                  <a:lnTo>
                    <a:pt x="349853" y="174974"/>
                  </a:lnTo>
                  <a:lnTo>
                    <a:pt x="344900" y="174022"/>
                  </a:lnTo>
                  <a:lnTo>
                    <a:pt x="340233" y="174593"/>
                  </a:lnTo>
                  <a:lnTo>
                    <a:pt x="333280" y="170688"/>
                  </a:lnTo>
                  <a:lnTo>
                    <a:pt x="328803" y="172879"/>
                  </a:lnTo>
                  <a:lnTo>
                    <a:pt x="329184" y="176022"/>
                  </a:lnTo>
                  <a:lnTo>
                    <a:pt x="325660" y="186119"/>
                  </a:lnTo>
                  <a:lnTo>
                    <a:pt x="320326" y="194786"/>
                  </a:lnTo>
                  <a:lnTo>
                    <a:pt x="314420" y="211550"/>
                  </a:lnTo>
                  <a:lnTo>
                    <a:pt x="312896" y="224600"/>
                  </a:lnTo>
                  <a:lnTo>
                    <a:pt x="307181" y="230124"/>
                  </a:lnTo>
                  <a:lnTo>
                    <a:pt x="308324" y="226790"/>
                  </a:lnTo>
                  <a:lnTo>
                    <a:pt x="306610" y="225362"/>
                  </a:lnTo>
                  <a:lnTo>
                    <a:pt x="297752" y="231362"/>
                  </a:lnTo>
                  <a:lnTo>
                    <a:pt x="289655" y="230791"/>
                  </a:lnTo>
                  <a:lnTo>
                    <a:pt x="289179" y="227648"/>
                  </a:lnTo>
                  <a:lnTo>
                    <a:pt x="286036" y="228029"/>
                  </a:lnTo>
                  <a:lnTo>
                    <a:pt x="284131" y="225076"/>
                  </a:lnTo>
                  <a:lnTo>
                    <a:pt x="279178" y="224123"/>
                  </a:lnTo>
                  <a:lnTo>
                    <a:pt x="273844" y="219932"/>
                  </a:lnTo>
                  <a:lnTo>
                    <a:pt x="268891" y="218980"/>
                  </a:lnTo>
                  <a:lnTo>
                    <a:pt x="266319" y="224123"/>
                  </a:lnTo>
                  <a:lnTo>
                    <a:pt x="258604" y="226695"/>
                  </a:lnTo>
                  <a:lnTo>
                    <a:pt x="255270" y="225552"/>
                  </a:lnTo>
                  <a:lnTo>
                    <a:pt x="255080" y="223933"/>
                  </a:lnTo>
                  <a:lnTo>
                    <a:pt x="257270" y="215646"/>
                  </a:lnTo>
                  <a:lnTo>
                    <a:pt x="249746" y="206978"/>
                  </a:lnTo>
                  <a:lnTo>
                    <a:pt x="237077" y="208598"/>
                  </a:lnTo>
                  <a:lnTo>
                    <a:pt x="231743" y="204502"/>
                  </a:lnTo>
                  <a:lnTo>
                    <a:pt x="217742" y="194977"/>
                  </a:lnTo>
                  <a:lnTo>
                    <a:pt x="208407" y="197834"/>
                  </a:lnTo>
                  <a:lnTo>
                    <a:pt x="196215" y="189738"/>
                  </a:lnTo>
                  <a:lnTo>
                    <a:pt x="187738" y="186023"/>
                  </a:lnTo>
                  <a:lnTo>
                    <a:pt x="180213" y="202978"/>
                  </a:lnTo>
                  <a:lnTo>
                    <a:pt x="177260" y="204978"/>
                  </a:lnTo>
                  <a:lnTo>
                    <a:pt x="172593" y="205550"/>
                  </a:lnTo>
                  <a:lnTo>
                    <a:pt x="168212" y="209360"/>
                  </a:lnTo>
                  <a:lnTo>
                    <a:pt x="153448" y="206407"/>
                  </a:lnTo>
                  <a:lnTo>
                    <a:pt x="152210" y="209741"/>
                  </a:lnTo>
                  <a:lnTo>
                    <a:pt x="154781" y="217456"/>
                  </a:lnTo>
                  <a:lnTo>
                    <a:pt x="150495" y="221266"/>
                  </a:lnTo>
                  <a:lnTo>
                    <a:pt x="151448" y="229076"/>
                  </a:lnTo>
                  <a:lnTo>
                    <a:pt x="148971" y="234220"/>
                  </a:lnTo>
                  <a:lnTo>
                    <a:pt x="150114" y="243745"/>
                  </a:lnTo>
                  <a:lnTo>
                    <a:pt x="148019" y="252032"/>
                  </a:lnTo>
                  <a:lnTo>
                    <a:pt x="140303" y="254603"/>
                  </a:lnTo>
                  <a:lnTo>
                    <a:pt x="135541" y="255175"/>
                  </a:lnTo>
                  <a:lnTo>
                    <a:pt x="135350" y="253651"/>
                  </a:lnTo>
                  <a:lnTo>
                    <a:pt x="134398" y="258604"/>
                  </a:lnTo>
                  <a:lnTo>
                    <a:pt x="130683" y="254222"/>
                  </a:lnTo>
                  <a:lnTo>
                    <a:pt x="124301" y="255080"/>
                  </a:lnTo>
                  <a:lnTo>
                    <a:pt x="122301" y="252127"/>
                  </a:lnTo>
                  <a:lnTo>
                    <a:pt x="114014" y="249936"/>
                  </a:lnTo>
                  <a:lnTo>
                    <a:pt x="111633" y="243840"/>
                  </a:lnTo>
                  <a:lnTo>
                    <a:pt x="102965" y="238506"/>
                  </a:lnTo>
                  <a:lnTo>
                    <a:pt x="99822" y="238887"/>
                  </a:lnTo>
                  <a:lnTo>
                    <a:pt x="98393" y="240697"/>
                  </a:lnTo>
                  <a:lnTo>
                    <a:pt x="96679" y="239268"/>
                  </a:lnTo>
                  <a:lnTo>
                    <a:pt x="92107" y="241459"/>
                  </a:lnTo>
                  <a:lnTo>
                    <a:pt x="94869" y="237935"/>
                  </a:lnTo>
                  <a:lnTo>
                    <a:pt x="95822" y="232982"/>
                  </a:lnTo>
                  <a:lnTo>
                    <a:pt x="92678" y="233363"/>
                  </a:lnTo>
                  <a:lnTo>
                    <a:pt x="90964" y="232029"/>
                  </a:lnTo>
                  <a:lnTo>
                    <a:pt x="83249" y="234601"/>
                  </a:lnTo>
                  <a:lnTo>
                    <a:pt x="79058" y="239935"/>
                  </a:lnTo>
                  <a:lnTo>
                    <a:pt x="73533" y="234220"/>
                  </a:lnTo>
                  <a:lnTo>
                    <a:pt x="67437" y="236601"/>
                  </a:lnTo>
                  <a:lnTo>
                    <a:pt x="71247" y="240983"/>
                  </a:lnTo>
                  <a:lnTo>
                    <a:pt x="69818" y="242697"/>
                  </a:lnTo>
                  <a:lnTo>
                    <a:pt x="73152" y="243935"/>
                  </a:lnTo>
                  <a:lnTo>
                    <a:pt x="74581" y="242126"/>
                  </a:lnTo>
                  <a:lnTo>
                    <a:pt x="77915" y="243269"/>
                  </a:lnTo>
                  <a:lnTo>
                    <a:pt x="78296" y="246507"/>
                  </a:lnTo>
                  <a:lnTo>
                    <a:pt x="74771" y="243745"/>
                  </a:lnTo>
                  <a:lnTo>
                    <a:pt x="72200" y="248888"/>
                  </a:lnTo>
                  <a:lnTo>
                    <a:pt x="74009" y="250222"/>
                  </a:lnTo>
                  <a:lnTo>
                    <a:pt x="73057" y="255175"/>
                  </a:lnTo>
                  <a:lnTo>
                    <a:pt x="74771" y="256508"/>
                  </a:lnTo>
                  <a:lnTo>
                    <a:pt x="76391" y="256318"/>
                  </a:lnTo>
                  <a:lnTo>
                    <a:pt x="78200" y="257746"/>
                  </a:lnTo>
                  <a:lnTo>
                    <a:pt x="78391" y="259270"/>
                  </a:lnTo>
                  <a:lnTo>
                    <a:pt x="78581" y="260890"/>
                  </a:lnTo>
                  <a:lnTo>
                    <a:pt x="72676" y="264795"/>
                  </a:lnTo>
                  <a:lnTo>
                    <a:pt x="71438" y="268224"/>
                  </a:lnTo>
                  <a:lnTo>
                    <a:pt x="77057" y="273844"/>
                  </a:lnTo>
                  <a:lnTo>
                    <a:pt x="71723" y="282607"/>
                  </a:lnTo>
                  <a:lnTo>
                    <a:pt x="66580" y="280035"/>
                  </a:lnTo>
                  <a:lnTo>
                    <a:pt x="61817" y="280607"/>
                  </a:lnTo>
                  <a:lnTo>
                    <a:pt x="62008" y="282226"/>
                  </a:lnTo>
                  <a:lnTo>
                    <a:pt x="56483" y="289370"/>
                  </a:lnTo>
                  <a:lnTo>
                    <a:pt x="54959" y="302324"/>
                  </a:lnTo>
                  <a:lnTo>
                    <a:pt x="54007" y="307277"/>
                  </a:lnTo>
                  <a:lnTo>
                    <a:pt x="51054" y="309277"/>
                  </a:lnTo>
                  <a:lnTo>
                    <a:pt x="50292" y="315754"/>
                  </a:lnTo>
                  <a:lnTo>
                    <a:pt x="59150" y="322707"/>
                  </a:lnTo>
                  <a:lnTo>
                    <a:pt x="56388" y="326231"/>
                  </a:lnTo>
                  <a:lnTo>
                    <a:pt x="50102" y="326993"/>
                  </a:lnTo>
                  <a:lnTo>
                    <a:pt x="48482" y="327279"/>
                  </a:lnTo>
                  <a:lnTo>
                    <a:pt x="49721" y="323850"/>
                  </a:lnTo>
                  <a:lnTo>
                    <a:pt x="47339" y="317754"/>
                  </a:lnTo>
                  <a:lnTo>
                    <a:pt x="44768" y="322898"/>
                  </a:lnTo>
                  <a:lnTo>
                    <a:pt x="44958" y="324517"/>
                  </a:lnTo>
                  <a:lnTo>
                    <a:pt x="41243" y="332994"/>
                  </a:lnTo>
                  <a:lnTo>
                    <a:pt x="32195" y="337376"/>
                  </a:lnTo>
                  <a:lnTo>
                    <a:pt x="22860" y="340138"/>
                  </a:lnTo>
                  <a:lnTo>
                    <a:pt x="18955" y="346996"/>
                  </a:lnTo>
                  <a:lnTo>
                    <a:pt x="19812" y="353378"/>
                  </a:lnTo>
                  <a:lnTo>
                    <a:pt x="15621" y="358712"/>
                  </a:lnTo>
                  <a:lnTo>
                    <a:pt x="15050" y="366808"/>
                  </a:lnTo>
                  <a:lnTo>
                    <a:pt x="22003" y="370713"/>
                  </a:lnTo>
                  <a:lnTo>
                    <a:pt x="22574" y="375476"/>
                  </a:lnTo>
                  <a:lnTo>
                    <a:pt x="8192" y="388525"/>
                  </a:lnTo>
                  <a:lnTo>
                    <a:pt x="6477" y="387096"/>
                  </a:lnTo>
                  <a:lnTo>
                    <a:pt x="191" y="400717"/>
                  </a:lnTo>
                  <a:lnTo>
                    <a:pt x="0" y="412052"/>
                  </a:lnTo>
                  <a:lnTo>
                    <a:pt x="4953" y="413004"/>
                  </a:lnTo>
                  <a:lnTo>
                    <a:pt x="9620" y="412337"/>
                  </a:lnTo>
                  <a:lnTo>
                    <a:pt x="11240" y="412147"/>
                  </a:lnTo>
                  <a:lnTo>
                    <a:pt x="10478" y="418719"/>
                  </a:lnTo>
                  <a:lnTo>
                    <a:pt x="10859" y="421862"/>
                  </a:lnTo>
                  <a:lnTo>
                    <a:pt x="11049" y="423386"/>
                  </a:lnTo>
                  <a:lnTo>
                    <a:pt x="13811" y="432721"/>
                  </a:lnTo>
                  <a:lnTo>
                    <a:pt x="14288" y="435864"/>
                  </a:lnTo>
                  <a:lnTo>
                    <a:pt x="10763" y="445961"/>
                  </a:lnTo>
                  <a:lnTo>
                    <a:pt x="17812" y="451390"/>
                  </a:lnTo>
                  <a:lnTo>
                    <a:pt x="16478" y="453200"/>
                  </a:lnTo>
                  <a:lnTo>
                    <a:pt x="16859" y="456343"/>
                  </a:lnTo>
                  <a:lnTo>
                    <a:pt x="24003" y="461867"/>
                  </a:lnTo>
                  <a:lnTo>
                    <a:pt x="26956" y="472726"/>
                  </a:lnTo>
                  <a:lnTo>
                    <a:pt x="24384" y="477869"/>
                  </a:lnTo>
                  <a:lnTo>
                    <a:pt x="29337" y="478822"/>
                  </a:lnTo>
                  <a:lnTo>
                    <a:pt x="33338" y="484727"/>
                  </a:lnTo>
                  <a:lnTo>
                    <a:pt x="32099" y="488061"/>
                  </a:lnTo>
                  <a:lnTo>
                    <a:pt x="42196" y="491585"/>
                  </a:lnTo>
                  <a:lnTo>
                    <a:pt x="41434" y="498158"/>
                  </a:lnTo>
                  <a:lnTo>
                    <a:pt x="43053" y="497967"/>
                  </a:lnTo>
                  <a:lnTo>
                    <a:pt x="41624" y="499682"/>
                  </a:lnTo>
                  <a:lnTo>
                    <a:pt x="44768" y="499301"/>
                  </a:lnTo>
                  <a:lnTo>
                    <a:pt x="46006" y="508826"/>
                  </a:lnTo>
                  <a:lnTo>
                    <a:pt x="47625" y="508540"/>
                  </a:lnTo>
                  <a:lnTo>
                    <a:pt x="48006" y="511778"/>
                  </a:lnTo>
                  <a:lnTo>
                    <a:pt x="50006" y="514731"/>
                  </a:lnTo>
                  <a:lnTo>
                    <a:pt x="51149" y="524161"/>
                  </a:lnTo>
                  <a:lnTo>
                    <a:pt x="50006" y="527495"/>
                  </a:lnTo>
                  <a:lnTo>
                    <a:pt x="56864" y="531400"/>
                  </a:lnTo>
                  <a:lnTo>
                    <a:pt x="59531" y="539115"/>
                  </a:lnTo>
                  <a:lnTo>
                    <a:pt x="61055" y="538925"/>
                  </a:lnTo>
                  <a:lnTo>
                    <a:pt x="59722" y="540734"/>
                  </a:lnTo>
                  <a:lnTo>
                    <a:pt x="62865" y="540353"/>
                  </a:lnTo>
                  <a:lnTo>
                    <a:pt x="61627" y="543687"/>
                  </a:lnTo>
                  <a:lnTo>
                    <a:pt x="63437" y="545021"/>
                  </a:lnTo>
                  <a:lnTo>
                    <a:pt x="62103" y="546830"/>
                  </a:lnTo>
                  <a:lnTo>
                    <a:pt x="63627" y="546640"/>
                  </a:lnTo>
                  <a:lnTo>
                    <a:pt x="65246" y="546449"/>
                  </a:lnTo>
                  <a:lnTo>
                    <a:pt x="65437" y="547973"/>
                  </a:lnTo>
                  <a:lnTo>
                    <a:pt x="64484" y="552926"/>
                  </a:lnTo>
                  <a:lnTo>
                    <a:pt x="66389" y="555879"/>
                  </a:lnTo>
                  <a:lnTo>
                    <a:pt x="67818" y="554069"/>
                  </a:lnTo>
                  <a:lnTo>
                    <a:pt x="67056" y="560642"/>
                  </a:lnTo>
                  <a:lnTo>
                    <a:pt x="75343" y="562737"/>
                  </a:lnTo>
                  <a:lnTo>
                    <a:pt x="76676" y="561023"/>
                  </a:lnTo>
                  <a:lnTo>
                    <a:pt x="76867" y="562547"/>
                  </a:lnTo>
                  <a:lnTo>
                    <a:pt x="76867" y="562547"/>
                  </a:lnTo>
                  <a:lnTo>
                    <a:pt x="78677" y="563975"/>
                  </a:lnTo>
                  <a:lnTo>
                    <a:pt x="78486" y="562356"/>
                  </a:lnTo>
                  <a:lnTo>
                    <a:pt x="83439" y="563309"/>
                  </a:lnTo>
                  <a:lnTo>
                    <a:pt x="86582" y="562928"/>
                  </a:lnTo>
                  <a:lnTo>
                    <a:pt x="86773" y="564547"/>
                  </a:lnTo>
                  <a:lnTo>
                    <a:pt x="85439" y="566261"/>
                  </a:lnTo>
                  <a:lnTo>
                    <a:pt x="90297" y="567309"/>
                  </a:lnTo>
                  <a:lnTo>
                    <a:pt x="89726" y="575405"/>
                  </a:lnTo>
                  <a:lnTo>
                    <a:pt x="93155" y="576548"/>
                  </a:lnTo>
                  <a:lnTo>
                    <a:pt x="95345" y="581120"/>
                  </a:lnTo>
                  <a:lnTo>
                    <a:pt x="97917" y="588740"/>
                  </a:lnTo>
                  <a:lnTo>
                    <a:pt x="99441" y="588550"/>
                  </a:lnTo>
                  <a:lnTo>
                    <a:pt x="98679" y="595122"/>
                  </a:lnTo>
                  <a:lnTo>
                    <a:pt x="105251" y="595884"/>
                  </a:lnTo>
                  <a:lnTo>
                    <a:pt x="103823" y="597599"/>
                  </a:lnTo>
                  <a:lnTo>
                    <a:pt x="107633" y="601980"/>
                  </a:lnTo>
                  <a:lnTo>
                    <a:pt x="109919" y="595217"/>
                  </a:lnTo>
                  <a:lnTo>
                    <a:pt x="108204" y="593884"/>
                  </a:lnTo>
                  <a:lnTo>
                    <a:pt x="113252" y="583597"/>
                  </a:lnTo>
                  <a:lnTo>
                    <a:pt x="124301" y="582168"/>
                  </a:lnTo>
                  <a:lnTo>
                    <a:pt x="121349" y="584168"/>
                  </a:lnTo>
                  <a:lnTo>
                    <a:pt x="125159" y="588550"/>
                  </a:lnTo>
                  <a:lnTo>
                    <a:pt x="127730" y="596170"/>
                  </a:lnTo>
                  <a:lnTo>
                    <a:pt x="129445" y="597599"/>
                  </a:lnTo>
                  <a:lnTo>
                    <a:pt x="137732" y="599694"/>
                  </a:lnTo>
                  <a:lnTo>
                    <a:pt x="142494" y="599123"/>
                  </a:lnTo>
                  <a:lnTo>
                    <a:pt x="145256" y="595598"/>
                  </a:lnTo>
                  <a:lnTo>
                    <a:pt x="139732" y="589883"/>
                  </a:lnTo>
                  <a:lnTo>
                    <a:pt x="139541" y="588264"/>
                  </a:lnTo>
                  <a:lnTo>
                    <a:pt x="149162" y="588645"/>
                  </a:lnTo>
                  <a:lnTo>
                    <a:pt x="150590" y="586835"/>
                  </a:lnTo>
                  <a:lnTo>
                    <a:pt x="153162" y="581692"/>
                  </a:lnTo>
                  <a:lnTo>
                    <a:pt x="159639" y="582549"/>
                  </a:lnTo>
                  <a:lnTo>
                    <a:pt x="161258" y="582263"/>
                  </a:lnTo>
                  <a:lnTo>
                    <a:pt x="161449" y="583883"/>
                  </a:lnTo>
                  <a:lnTo>
                    <a:pt x="160020" y="585692"/>
                  </a:lnTo>
                  <a:lnTo>
                    <a:pt x="160687" y="590360"/>
                  </a:lnTo>
                  <a:lnTo>
                    <a:pt x="159258" y="592169"/>
                  </a:lnTo>
                  <a:lnTo>
                    <a:pt x="164783" y="597884"/>
                  </a:lnTo>
                  <a:lnTo>
                    <a:pt x="163068" y="596551"/>
                  </a:lnTo>
                  <a:lnTo>
                    <a:pt x="160306" y="600075"/>
                  </a:lnTo>
                  <a:lnTo>
                    <a:pt x="159258" y="605028"/>
                  </a:lnTo>
                  <a:lnTo>
                    <a:pt x="161068" y="606362"/>
                  </a:lnTo>
                  <a:lnTo>
                    <a:pt x="162497" y="617411"/>
                  </a:lnTo>
                  <a:lnTo>
                    <a:pt x="168021" y="623126"/>
                  </a:lnTo>
                  <a:lnTo>
                    <a:pt x="169640" y="622935"/>
                  </a:lnTo>
                  <a:lnTo>
                    <a:pt x="170593" y="617982"/>
                  </a:lnTo>
                  <a:lnTo>
                    <a:pt x="172593" y="620935"/>
                  </a:lnTo>
                  <a:lnTo>
                    <a:pt x="173927" y="619220"/>
                  </a:lnTo>
                  <a:lnTo>
                    <a:pt x="174117" y="620744"/>
                  </a:lnTo>
                  <a:lnTo>
                    <a:pt x="177260" y="620363"/>
                  </a:lnTo>
                  <a:lnTo>
                    <a:pt x="175927" y="622173"/>
                  </a:lnTo>
                  <a:lnTo>
                    <a:pt x="175927" y="622173"/>
                  </a:lnTo>
                  <a:lnTo>
                    <a:pt x="181070" y="624650"/>
                  </a:lnTo>
                  <a:lnTo>
                    <a:pt x="183071" y="627602"/>
                  </a:lnTo>
                  <a:lnTo>
                    <a:pt x="185738" y="624078"/>
                  </a:lnTo>
                  <a:lnTo>
                    <a:pt x="183642" y="619506"/>
                  </a:lnTo>
                  <a:lnTo>
                    <a:pt x="187738" y="614172"/>
                  </a:lnTo>
                  <a:lnTo>
                    <a:pt x="188119" y="617411"/>
                  </a:lnTo>
                  <a:lnTo>
                    <a:pt x="194691" y="618173"/>
                  </a:lnTo>
                  <a:lnTo>
                    <a:pt x="196215" y="617982"/>
                  </a:lnTo>
                  <a:lnTo>
                    <a:pt x="196977" y="611410"/>
                  </a:lnTo>
                  <a:lnTo>
                    <a:pt x="201930" y="612362"/>
                  </a:lnTo>
                  <a:lnTo>
                    <a:pt x="204121" y="616934"/>
                  </a:lnTo>
                  <a:lnTo>
                    <a:pt x="209074" y="617887"/>
                  </a:lnTo>
                  <a:lnTo>
                    <a:pt x="208407" y="613220"/>
                  </a:lnTo>
                  <a:lnTo>
                    <a:pt x="209836" y="611410"/>
                  </a:lnTo>
                  <a:lnTo>
                    <a:pt x="221266" y="613124"/>
                  </a:lnTo>
                  <a:lnTo>
                    <a:pt x="227552" y="612362"/>
                  </a:lnTo>
                  <a:lnTo>
                    <a:pt x="227362" y="610743"/>
                  </a:lnTo>
                  <a:lnTo>
                    <a:pt x="237839" y="617411"/>
                  </a:lnTo>
                  <a:lnTo>
                    <a:pt x="237839" y="617411"/>
                  </a:lnTo>
                  <a:lnTo>
                    <a:pt x="239268" y="615696"/>
                  </a:lnTo>
                  <a:lnTo>
                    <a:pt x="236220" y="604838"/>
                  </a:lnTo>
                  <a:lnTo>
                    <a:pt x="242316" y="602456"/>
                  </a:lnTo>
                  <a:lnTo>
                    <a:pt x="242126" y="600837"/>
                  </a:lnTo>
                  <a:lnTo>
                    <a:pt x="251841" y="601218"/>
                  </a:lnTo>
                  <a:lnTo>
                    <a:pt x="254603" y="597694"/>
                  </a:lnTo>
                  <a:lnTo>
                    <a:pt x="257937" y="598837"/>
                  </a:lnTo>
                  <a:lnTo>
                    <a:pt x="261652" y="577501"/>
                  </a:lnTo>
                  <a:lnTo>
                    <a:pt x="261271" y="574358"/>
                  </a:lnTo>
                  <a:lnTo>
                    <a:pt x="280988" y="578263"/>
                  </a:lnTo>
                  <a:lnTo>
                    <a:pt x="282131" y="574929"/>
                  </a:lnTo>
                  <a:lnTo>
                    <a:pt x="284131" y="565023"/>
                  </a:lnTo>
                  <a:lnTo>
                    <a:pt x="278130" y="543401"/>
                  </a:lnTo>
                  <a:lnTo>
                    <a:pt x="278321" y="532067"/>
                  </a:lnTo>
                  <a:lnTo>
                    <a:pt x="312896" y="538925"/>
                  </a:lnTo>
                  <a:lnTo>
                    <a:pt x="332232" y="552450"/>
                  </a:lnTo>
                  <a:lnTo>
                    <a:pt x="346424" y="537877"/>
                  </a:lnTo>
                  <a:lnTo>
                    <a:pt x="349568" y="537496"/>
                  </a:lnTo>
                  <a:lnTo>
                    <a:pt x="352330" y="533876"/>
                  </a:lnTo>
                  <a:lnTo>
                    <a:pt x="353473" y="530543"/>
                  </a:lnTo>
                  <a:lnTo>
                    <a:pt x="351473" y="527590"/>
                  </a:lnTo>
                  <a:lnTo>
                    <a:pt x="346139" y="523494"/>
                  </a:lnTo>
                  <a:lnTo>
                    <a:pt x="347091" y="518541"/>
                  </a:lnTo>
                  <a:lnTo>
                    <a:pt x="345186" y="515588"/>
                  </a:lnTo>
                  <a:lnTo>
                    <a:pt x="357569" y="512350"/>
                  </a:lnTo>
                  <a:lnTo>
                    <a:pt x="357378" y="510826"/>
                  </a:lnTo>
                  <a:lnTo>
                    <a:pt x="364903" y="506635"/>
                  </a:lnTo>
                  <a:lnTo>
                    <a:pt x="369570" y="506063"/>
                  </a:lnTo>
                  <a:lnTo>
                    <a:pt x="372713" y="505587"/>
                  </a:lnTo>
                  <a:lnTo>
                    <a:pt x="375476" y="502063"/>
                  </a:lnTo>
                  <a:lnTo>
                    <a:pt x="376142" y="506825"/>
                  </a:lnTo>
                  <a:lnTo>
                    <a:pt x="381857" y="501301"/>
                  </a:lnTo>
                  <a:lnTo>
                    <a:pt x="387953" y="498920"/>
                  </a:lnTo>
                  <a:lnTo>
                    <a:pt x="383572" y="489871"/>
                  </a:lnTo>
                  <a:lnTo>
                    <a:pt x="385191" y="489585"/>
                  </a:lnTo>
                  <a:lnTo>
                    <a:pt x="380810" y="480536"/>
                  </a:lnTo>
                  <a:lnTo>
                    <a:pt x="377666" y="480917"/>
                  </a:lnTo>
                  <a:lnTo>
                    <a:pt x="383762" y="478536"/>
                  </a:lnTo>
                  <a:lnTo>
                    <a:pt x="385096" y="476822"/>
                  </a:lnTo>
                  <a:lnTo>
                    <a:pt x="388430" y="477965"/>
                  </a:lnTo>
                  <a:lnTo>
                    <a:pt x="388239" y="476441"/>
                  </a:lnTo>
                  <a:lnTo>
                    <a:pt x="391478" y="475964"/>
                  </a:lnTo>
                  <a:lnTo>
                    <a:pt x="393192" y="477393"/>
                  </a:lnTo>
                  <a:lnTo>
                    <a:pt x="386620" y="463772"/>
                  </a:lnTo>
                  <a:lnTo>
                    <a:pt x="391192" y="461582"/>
                  </a:lnTo>
                  <a:lnTo>
                    <a:pt x="404241" y="463106"/>
                  </a:lnTo>
                  <a:lnTo>
                    <a:pt x="402812" y="464915"/>
                  </a:lnTo>
                  <a:lnTo>
                    <a:pt x="405194" y="471011"/>
                  </a:lnTo>
                  <a:lnTo>
                    <a:pt x="402241" y="473012"/>
                  </a:lnTo>
                  <a:lnTo>
                    <a:pt x="404241" y="475964"/>
                  </a:lnTo>
                  <a:lnTo>
                    <a:pt x="407384" y="475583"/>
                  </a:lnTo>
                  <a:lnTo>
                    <a:pt x="411004" y="478346"/>
                  </a:lnTo>
                  <a:lnTo>
                    <a:pt x="410528" y="475202"/>
                  </a:lnTo>
                  <a:lnTo>
                    <a:pt x="415481" y="476155"/>
                  </a:lnTo>
                  <a:lnTo>
                    <a:pt x="419862" y="485204"/>
                  </a:lnTo>
                  <a:lnTo>
                    <a:pt x="415100" y="485775"/>
                  </a:lnTo>
                  <a:lnTo>
                    <a:pt x="418529" y="487013"/>
                  </a:lnTo>
                  <a:lnTo>
                    <a:pt x="420434" y="489966"/>
                  </a:lnTo>
                  <a:lnTo>
                    <a:pt x="425196" y="489299"/>
                  </a:lnTo>
                  <a:lnTo>
                    <a:pt x="428720" y="492062"/>
                  </a:lnTo>
                  <a:lnTo>
                    <a:pt x="427958" y="485775"/>
                  </a:lnTo>
                  <a:lnTo>
                    <a:pt x="432721" y="485204"/>
                  </a:lnTo>
                  <a:lnTo>
                    <a:pt x="433483" y="478631"/>
                  </a:lnTo>
                  <a:lnTo>
                    <a:pt x="434816" y="476917"/>
                  </a:lnTo>
                  <a:lnTo>
                    <a:pt x="438245" y="478060"/>
                  </a:lnTo>
                  <a:lnTo>
                    <a:pt x="435293" y="480060"/>
                  </a:lnTo>
                  <a:lnTo>
                    <a:pt x="437007" y="481394"/>
                  </a:lnTo>
                  <a:lnTo>
                    <a:pt x="440150" y="481013"/>
                  </a:lnTo>
                  <a:lnTo>
                    <a:pt x="442151" y="483965"/>
                  </a:lnTo>
                  <a:lnTo>
                    <a:pt x="446913" y="483394"/>
                  </a:lnTo>
                  <a:lnTo>
                    <a:pt x="450056" y="482918"/>
                  </a:lnTo>
                  <a:lnTo>
                    <a:pt x="455962" y="479012"/>
                  </a:lnTo>
                  <a:lnTo>
                    <a:pt x="456343" y="482156"/>
                  </a:lnTo>
                  <a:lnTo>
                    <a:pt x="455200" y="485489"/>
                  </a:lnTo>
                  <a:lnTo>
                    <a:pt x="457010" y="486918"/>
                  </a:lnTo>
                  <a:lnTo>
                    <a:pt x="463487" y="500444"/>
                  </a:lnTo>
                  <a:lnTo>
                    <a:pt x="465106" y="500253"/>
                  </a:lnTo>
                  <a:lnTo>
                    <a:pt x="466630" y="500063"/>
                  </a:lnTo>
                  <a:lnTo>
                    <a:pt x="471773" y="502634"/>
                  </a:lnTo>
                  <a:lnTo>
                    <a:pt x="472631" y="508921"/>
                  </a:lnTo>
                  <a:lnTo>
                    <a:pt x="473964" y="507206"/>
                  </a:lnTo>
                  <a:lnTo>
                    <a:pt x="477107" y="506730"/>
                  </a:lnTo>
                  <a:lnTo>
                    <a:pt x="477298" y="508349"/>
                  </a:lnTo>
                  <a:lnTo>
                    <a:pt x="476345" y="513302"/>
                  </a:lnTo>
                  <a:lnTo>
                    <a:pt x="480155" y="517589"/>
                  </a:lnTo>
                  <a:lnTo>
                    <a:pt x="479108" y="522542"/>
                  </a:lnTo>
                  <a:lnTo>
                    <a:pt x="483489" y="518827"/>
                  </a:lnTo>
                  <a:lnTo>
                    <a:pt x="485299" y="520160"/>
                  </a:lnTo>
                  <a:lnTo>
                    <a:pt x="489776" y="517970"/>
                  </a:lnTo>
                  <a:lnTo>
                    <a:pt x="494538" y="517398"/>
                  </a:lnTo>
                  <a:lnTo>
                    <a:pt x="494538" y="517398"/>
                  </a:lnTo>
                  <a:lnTo>
                    <a:pt x="498729" y="524828"/>
                  </a:lnTo>
                  <a:lnTo>
                    <a:pt x="503873" y="527399"/>
                  </a:lnTo>
                  <a:lnTo>
                    <a:pt x="502634" y="530828"/>
                  </a:lnTo>
                  <a:lnTo>
                    <a:pt x="507397" y="530162"/>
                  </a:lnTo>
                  <a:lnTo>
                    <a:pt x="516255" y="537020"/>
                  </a:lnTo>
                  <a:lnTo>
                    <a:pt x="513493" y="540639"/>
                  </a:lnTo>
                  <a:lnTo>
                    <a:pt x="513683" y="542163"/>
                  </a:lnTo>
                  <a:lnTo>
                    <a:pt x="516731" y="540258"/>
                  </a:lnTo>
                  <a:lnTo>
                    <a:pt x="515684" y="545116"/>
                  </a:lnTo>
                  <a:lnTo>
                    <a:pt x="519113" y="559118"/>
                  </a:lnTo>
                  <a:lnTo>
                    <a:pt x="520922" y="560546"/>
                  </a:lnTo>
                  <a:lnTo>
                    <a:pt x="522827" y="563499"/>
                  </a:lnTo>
                  <a:lnTo>
                    <a:pt x="530543" y="560927"/>
                  </a:lnTo>
                  <a:lnTo>
                    <a:pt x="530924" y="564071"/>
                  </a:lnTo>
                  <a:lnTo>
                    <a:pt x="532543" y="563880"/>
                  </a:lnTo>
                  <a:lnTo>
                    <a:pt x="532733" y="565404"/>
                  </a:lnTo>
                  <a:lnTo>
                    <a:pt x="537305" y="563309"/>
                  </a:lnTo>
                  <a:lnTo>
                    <a:pt x="542163" y="564261"/>
                  </a:lnTo>
                  <a:lnTo>
                    <a:pt x="547497" y="568357"/>
                  </a:lnTo>
                  <a:lnTo>
                    <a:pt x="546164" y="570167"/>
                  </a:lnTo>
                  <a:lnTo>
                    <a:pt x="547783" y="569976"/>
                  </a:lnTo>
                  <a:lnTo>
                    <a:pt x="548164" y="573119"/>
                  </a:lnTo>
                  <a:lnTo>
                    <a:pt x="551307" y="572738"/>
                  </a:lnTo>
                  <a:lnTo>
                    <a:pt x="553307" y="575691"/>
                  </a:lnTo>
                  <a:lnTo>
                    <a:pt x="553879" y="580358"/>
                  </a:lnTo>
                  <a:lnTo>
                    <a:pt x="558832" y="581406"/>
                  </a:lnTo>
                  <a:lnTo>
                    <a:pt x="560165" y="579596"/>
                  </a:lnTo>
                  <a:lnTo>
                    <a:pt x="572262" y="586073"/>
                  </a:lnTo>
                  <a:lnTo>
                    <a:pt x="575786" y="588836"/>
                  </a:lnTo>
                  <a:lnTo>
                    <a:pt x="579596" y="593122"/>
                  </a:lnTo>
                  <a:lnTo>
                    <a:pt x="587883" y="595313"/>
                  </a:lnTo>
                  <a:lnTo>
                    <a:pt x="596360" y="599027"/>
                  </a:lnTo>
                  <a:lnTo>
                    <a:pt x="605409" y="607505"/>
                  </a:lnTo>
                  <a:lnTo>
                    <a:pt x="609981" y="605314"/>
                  </a:lnTo>
                  <a:lnTo>
                    <a:pt x="613124" y="604933"/>
                  </a:lnTo>
                  <a:lnTo>
                    <a:pt x="617887" y="604266"/>
                  </a:lnTo>
                  <a:lnTo>
                    <a:pt x="617506" y="601123"/>
                  </a:lnTo>
                  <a:lnTo>
                    <a:pt x="618268" y="594646"/>
                  </a:lnTo>
                  <a:lnTo>
                    <a:pt x="616268" y="591693"/>
                  </a:lnTo>
                  <a:lnTo>
                    <a:pt x="621221" y="592646"/>
                  </a:lnTo>
                  <a:lnTo>
                    <a:pt x="620363" y="586359"/>
                  </a:lnTo>
                  <a:lnTo>
                    <a:pt x="628079" y="583787"/>
                  </a:lnTo>
                  <a:lnTo>
                    <a:pt x="626269" y="582359"/>
                  </a:lnTo>
                  <a:lnTo>
                    <a:pt x="629031" y="578834"/>
                  </a:lnTo>
                  <a:lnTo>
                    <a:pt x="630650" y="578644"/>
                  </a:lnTo>
                  <a:lnTo>
                    <a:pt x="631793" y="575310"/>
                  </a:lnTo>
                  <a:lnTo>
                    <a:pt x="634937" y="574834"/>
                  </a:lnTo>
                  <a:lnTo>
                    <a:pt x="636175" y="571500"/>
                  </a:lnTo>
                  <a:lnTo>
                    <a:pt x="639890" y="575882"/>
                  </a:lnTo>
                  <a:lnTo>
                    <a:pt x="641318" y="574072"/>
                  </a:lnTo>
                  <a:lnTo>
                    <a:pt x="645986" y="573500"/>
                  </a:lnTo>
                  <a:lnTo>
                    <a:pt x="649605" y="576167"/>
                  </a:lnTo>
                  <a:lnTo>
                    <a:pt x="650939" y="574453"/>
                  </a:lnTo>
                  <a:lnTo>
                    <a:pt x="659606" y="579692"/>
                  </a:lnTo>
                  <a:lnTo>
                    <a:pt x="658463" y="583121"/>
                  </a:lnTo>
                  <a:lnTo>
                    <a:pt x="666750" y="585216"/>
                  </a:lnTo>
                  <a:lnTo>
                    <a:pt x="668750" y="588169"/>
                  </a:lnTo>
                  <a:lnTo>
                    <a:pt x="672846" y="582835"/>
                  </a:lnTo>
                  <a:lnTo>
                    <a:pt x="675037" y="587407"/>
                  </a:lnTo>
                  <a:lnTo>
                    <a:pt x="676656" y="587216"/>
                  </a:lnTo>
                  <a:lnTo>
                    <a:pt x="677799" y="583883"/>
                  </a:lnTo>
                  <a:lnTo>
                    <a:pt x="686086" y="585978"/>
                  </a:lnTo>
                  <a:lnTo>
                    <a:pt x="684943" y="589312"/>
                  </a:lnTo>
                  <a:lnTo>
                    <a:pt x="689039" y="596837"/>
                  </a:lnTo>
                  <a:lnTo>
                    <a:pt x="690658" y="596646"/>
                  </a:lnTo>
                  <a:lnTo>
                    <a:pt x="697421" y="599027"/>
                  </a:lnTo>
                  <a:lnTo>
                    <a:pt x="699516" y="603504"/>
                  </a:lnTo>
                  <a:lnTo>
                    <a:pt x="706469" y="607409"/>
                  </a:lnTo>
                  <a:lnTo>
                    <a:pt x="706660" y="596170"/>
                  </a:lnTo>
                  <a:lnTo>
                    <a:pt x="712565" y="592265"/>
                  </a:lnTo>
                  <a:lnTo>
                    <a:pt x="715899" y="593408"/>
                  </a:lnTo>
                  <a:lnTo>
                    <a:pt x="714756" y="596741"/>
                  </a:lnTo>
                  <a:lnTo>
                    <a:pt x="718852" y="604266"/>
                  </a:lnTo>
                  <a:lnTo>
                    <a:pt x="715709" y="604647"/>
                  </a:lnTo>
                  <a:lnTo>
                    <a:pt x="717899" y="609219"/>
                  </a:lnTo>
                  <a:lnTo>
                    <a:pt x="721233" y="610362"/>
                  </a:lnTo>
                  <a:lnTo>
                    <a:pt x="721519" y="611981"/>
                  </a:lnTo>
                  <a:lnTo>
                    <a:pt x="713423" y="611410"/>
                  </a:lnTo>
                  <a:lnTo>
                    <a:pt x="715328" y="614363"/>
                  </a:lnTo>
                  <a:lnTo>
                    <a:pt x="720090" y="613696"/>
                  </a:lnTo>
                  <a:lnTo>
                    <a:pt x="720471" y="616934"/>
                  </a:lnTo>
                  <a:lnTo>
                    <a:pt x="717328" y="617315"/>
                  </a:lnTo>
                  <a:lnTo>
                    <a:pt x="720662" y="618458"/>
                  </a:lnTo>
                  <a:lnTo>
                    <a:pt x="721328" y="623221"/>
                  </a:lnTo>
                  <a:lnTo>
                    <a:pt x="727805" y="623983"/>
                  </a:lnTo>
                  <a:lnTo>
                    <a:pt x="732377" y="621792"/>
                  </a:lnTo>
                  <a:lnTo>
                    <a:pt x="737330" y="622745"/>
                  </a:lnTo>
                  <a:lnTo>
                    <a:pt x="738473" y="619411"/>
                  </a:lnTo>
                  <a:lnTo>
                    <a:pt x="743617" y="621983"/>
                  </a:lnTo>
                  <a:lnTo>
                    <a:pt x="743426" y="620363"/>
                  </a:lnTo>
                  <a:lnTo>
                    <a:pt x="746760" y="621602"/>
                  </a:lnTo>
                  <a:lnTo>
                    <a:pt x="746570" y="619982"/>
                  </a:lnTo>
                  <a:lnTo>
                    <a:pt x="742760" y="615696"/>
                  </a:lnTo>
                  <a:lnTo>
                    <a:pt x="745522" y="612077"/>
                  </a:lnTo>
                  <a:lnTo>
                    <a:pt x="748475" y="610076"/>
                  </a:lnTo>
                  <a:lnTo>
                    <a:pt x="750856" y="616268"/>
                  </a:lnTo>
                  <a:lnTo>
                    <a:pt x="755809" y="617220"/>
                  </a:lnTo>
                  <a:lnTo>
                    <a:pt x="756761" y="612267"/>
                  </a:lnTo>
                  <a:lnTo>
                    <a:pt x="759524" y="608743"/>
                  </a:lnTo>
                  <a:lnTo>
                    <a:pt x="757619" y="605790"/>
                  </a:lnTo>
                  <a:lnTo>
                    <a:pt x="762286" y="605123"/>
                  </a:lnTo>
                  <a:lnTo>
                    <a:pt x="763334" y="600170"/>
                  </a:lnTo>
                  <a:lnTo>
                    <a:pt x="756380" y="596265"/>
                  </a:lnTo>
                  <a:lnTo>
                    <a:pt x="755142" y="586835"/>
                  </a:lnTo>
                  <a:lnTo>
                    <a:pt x="751427" y="582454"/>
                  </a:lnTo>
                  <a:lnTo>
                    <a:pt x="752761" y="580739"/>
                  </a:lnTo>
                  <a:lnTo>
                    <a:pt x="753713" y="575786"/>
                  </a:lnTo>
                  <a:lnTo>
                    <a:pt x="763048" y="573024"/>
                  </a:lnTo>
                  <a:lnTo>
                    <a:pt x="764762" y="574358"/>
                  </a:lnTo>
                  <a:lnTo>
                    <a:pt x="772478" y="571786"/>
                  </a:lnTo>
                  <a:lnTo>
                    <a:pt x="772668" y="560546"/>
                  </a:lnTo>
                  <a:lnTo>
                    <a:pt x="778002" y="564642"/>
                  </a:lnTo>
                  <a:lnTo>
                    <a:pt x="779336" y="562832"/>
                  </a:lnTo>
                  <a:lnTo>
                    <a:pt x="781145" y="564261"/>
                  </a:lnTo>
                  <a:lnTo>
                    <a:pt x="782098" y="559308"/>
                  </a:lnTo>
                  <a:lnTo>
                    <a:pt x="778383" y="555022"/>
                  </a:lnTo>
                  <a:lnTo>
                    <a:pt x="781145" y="551402"/>
                  </a:lnTo>
                  <a:lnTo>
                    <a:pt x="779526" y="551593"/>
                  </a:lnTo>
                  <a:lnTo>
                    <a:pt x="778955" y="546926"/>
                  </a:lnTo>
                  <a:lnTo>
                    <a:pt x="792385" y="551593"/>
                  </a:lnTo>
                  <a:lnTo>
                    <a:pt x="794385" y="554546"/>
                  </a:lnTo>
                  <a:lnTo>
                    <a:pt x="794766" y="557689"/>
                  </a:lnTo>
                  <a:lnTo>
                    <a:pt x="792956" y="556355"/>
                  </a:lnTo>
                  <a:lnTo>
                    <a:pt x="792194" y="562832"/>
                  </a:lnTo>
                  <a:lnTo>
                    <a:pt x="803243" y="574262"/>
                  </a:lnTo>
                  <a:lnTo>
                    <a:pt x="804101" y="580549"/>
                  </a:lnTo>
                  <a:lnTo>
                    <a:pt x="810387" y="579787"/>
                  </a:lnTo>
                  <a:lnTo>
                    <a:pt x="812387" y="582740"/>
                  </a:lnTo>
                  <a:lnTo>
                    <a:pt x="816864" y="580549"/>
                  </a:lnTo>
                  <a:lnTo>
                    <a:pt x="819055" y="585121"/>
                  </a:lnTo>
                  <a:lnTo>
                    <a:pt x="826961" y="584073"/>
                  </a:lnTo>
                  <a:lnTo>
                    <a:pt x="826008" y="576167"/>
                  </a:lnTo>
                  <a:lnTo>
                    <a:pt x="829342" y="577310"/>
                  </a:lnTo>
                  <a:lnTo>
                    <a:pt x="833914" y="575215"/>
                  </a:lnTo>
                  <a:lnTo>
                    <a:pt x="835438" y="574929"/>
                  </a:lnTo>
                  <a:lnTo>
                    <a:pt x="841343" y="571024"/>
                  </a:lnTo>
                  <a:lnTo>
                    <a:pt x="842963" y="570833"/>
                  </a:lnTo>
                  <a:lnTo>
                    <a:pt x="843344" y="573977"/>
                  </a:lnTo>
                  <a:lnTo>
                    <a:pt x="844677" y="572167"/>
                  </a:lnTo>
                  <a:lnTo>
                    <a:pt x="845153" y="575310"/>
                  </a:lnTo>
                  <a:lnTo>
                    <a:pt x="848487" y="576548"/>
                  </a:lnTo>
                  <a:lnTo>
                    <a:pt x="848297" y="574929"/>
                  </a:lnTo>
                  <a:lnTo>
                    <a:pt x="851440" y="574548"/>
                  </a:lnTo>
                  <a:lnTo>
                    <a:pt x="852678" y="583978"/>
                  </a:lnTo>
                  <a:lnTo>
                    <a:pt x="855821" y="583597"/>
                  </a:lnTo>
                  <a:lnTo>
                    <a:pt x="853821" y="580644"/>
                  </a:lnTo>
                  <a:lnTo>
                    <a:pt x="856583" y="577120"/>
                  </a:lnTo>
                  <a:lnTo>
                    <a:pt x="858774" y="581597"/>
                  </a:lnTo>
                  <a:lnTo>
                    <a:pt x="860108" y="579882"/>
                  </a:lnTo>
                  <a:lnTo>
                    <a:pt x="864680" y="577691"/>
                  </a:lnTo>
                  <a:lnTo>
                    <a:pt x="886778" y="574834"/>
                  </a:lnTo>
                  <a:lnTo>
                    <a:pt x="887921" y="571500"/>
                  </a:lnTo>
                  <a:lnTo>
                    <a:pt x="883920" y="565595"/>
                  </a:lnTo>
                  <a:lnTo>
                    <a:pt x="883920" y="565595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3" name="Volný tvar: obrazec 52">
              <a:extLst>
                <a:ext uri="{FF2B5EF4-FFF2-40B4-BE49-F238E27FC236}">
                  <a16:creationId xmlns:a16="http://schemas.microsoft.com/office/drawing/2014/main" id="{D06AE9F6-D034-34A0-D96F-CED27840DFEC}"/>
                </a:ext>
              </a:extLst>
            </p:cNvPr>
            <p:cNvSpPr>
              <a:spLocks noChangeAspect="1"/>
            </p:cNvSpPr>
            <p:nvPr userDrawn="1">
              <p:custDataLst>
                <p:tags r:id="rId7"/>
              </p:custDataLst>
            </p:nvPr>
          </p:nvSpPr>
          <p:spPr>
            <a:xfrm>
              <a:off x="4628292" y="2504407"/>
              <a:ext cx="1489995" cy="1273968"/>
            </a:xfrm>
            <a:custGeom>
              <a:avLst/>
              <a:gdLst>
                <a:gd name="connsiteX0" fmla="*/ 443198 w 1489995"/>
                <a:gd name="connsiteY0" fmla="*/ 1201960 h 1273968"/>
                <a:gd name="connsiteX1" fmla="*/ 439198 w 1489995"/>
                <a:gd name="connsiteY1" fmla="*/ 1208913 h 1273968"/>
                <a:gd name="connsiteX2" fmla="*/ 439007 w 1489995"/>
                <a:gd name="connsiteY2" fmla="*/ 1207294 h 1273968"/>
                <a:gd name="connsiteX3" fmla="*/ 433292 w 1489995"/>
                <a:gd name="connsiteY3" fmla="*/ 1212818 h 1273968"/>
                <a:gd name="connsiteX4" fmla="*/ 431578 w 1489995"/>
                <a:gd name="connsiteY4" fmla="*/ 1211485 h 1273968"/>
                <a:gd name="connsiteX5" fmla="*/ 430149 w 1489995"/>
                <a:gd name="connsiteY5" fmla="*/ 1213199 h 1273968"/>
                <a:gd name="connsiteX6" fmla="*/ 423481 w 1489995"/>
                <a:gd name="connsiteY6" fmla="*/ 1210913 h 1273968"/>
                <a:gd name="connsiteX7" fmla="*/ 422719 w 1489995"/>
                <a:gd name="connsiteY7" fmla="*/ 1217390 h 1273968"/>
                <a:gd name="connsiteX8" fmla="*/ 426625 w 1489995"/>
                <a:gd name="connsiteY8" fmla="*/ 1223296 h 1273968"/>
                <a:gd name="connsiteX9" fmla="*/ 423863 w 1489995"/>
                <a:gd name="connsiteY9" fmla="*/ 1226915 h 1273968"/>
                <a:gd name="connsiteX10" fmla="*/ 423481 w 1489995"/>
                <a:gd name="connsiteY10" fmla="*/ 1223677 h 1273968"/>
                <a:gd name="connsiteX11" fmla="*/ 422719 w 1489995"/>
                <a:gd name="connsiteY11" fmla="*/ 1230249 h 1273968"/>
                <a:gd name="connsiteX12" fmla="*/ 421291 w 1489995"/>
                <a:gd name="connsiteY12" fmla="*/ 1231964 h 1273968"/>
                <a:gd name="connsiteX13" fmla="*/ 421767 w 1489995"/>
                <a:gd name="connsiteY13" fmla="*/ 1235202 h 1273968"/>
                <a:gd name="connsiteX14" fmla="*/ 420148 w 1489995"/>
                <a:gd name="connsiteY14" fmla="*/ 1235393 h 1273968"/>
                <a:gd name="connsiteX15" fmla="*/ 418814 w 1489995"/>
                <a:gd name="connsiteY15" fmla="*/ 1237107 h 1273968"/>
                <a:gd name="connsiteX16" fmla="*/ 416814 w 1489995"/>
                <a:gd name="connsiteY16" fmla="*/ 1234154 h 1273968"/>
                <a:gd name="connsiteX17" fmla="*/ 415195 w 1489995"/>
                <a:gd name="connsiteY17" fmla="*/ 1234345 h 1273968"/>
                <a:gd name="connsiteX18" fmla="*/ 415576 w 1489995"/>
                <a:gd name="connsiteY18" fmla="*/ 1237583 h 1273968"/>
                <a:gd name="connsiteX19" fmla="*/ 414052 w 1489995"/>
                <a:gd name="connsiteY19" fmla="*/ 1237774 h 1273968"/>
                <a:gd name="connsiteX20" fmla="*/ 417957 w 1489995"/>
                <a:gd name="connsiteY20" fmla="*/ 1243679 h 1273968"/>
                <a:gd name="connsiteX21" fmla="*/ 414814 w 1489995"/>
                <a:gd name="connsiteY21" fmla="*/ 1244060 h 1273968"/>
                <a:gd name="connsiteX22" fmla="*/ 415290 w 1489995"/>
                <a:gd name="connsiteY22" fmla="*/ 1247204 h 1273968"/>
                <a:gd name="connsiteX23" fmla="*/ 412051 w 1489995"/>
                <a:gd name="connsiteY23" fmla="*/ 1247585 h 1273968"/>
                <a:gd name="connsiteX24" fmla="*/ 411289 w 1489995"/>
                <a:gd name="connsiteY24" fmla="*/ 1241298 h 1273968"/>
                <a:gd name="connsiteX25" fmla="*/ 408146 w 1489995"/>
                <a:gd name="connsiteY25" fmla="*/ 1241679 h 1273968"/>
                <a:gd name="connsiteX26" fmla="*/ 405955 w 1489995"/>
                <a:gd name="connsiteY26" fmla="*/ 1237202 h 1273968"/>
                <a:gd name="connsiteX27" fmla="*/ 403384 w 1489995"/>
                <a:gd name="connsiteY27" fmla="*/ 1242346 h 1273968"/>
                <a:gd name="connsiteX28" fmla="*/ 401860 w 1489995"/>
                <a:gd name="connsiteY28" fmla="*/ 1242536 h 1273968"/>
                <a:gd name="connsiteX29" fmla="*/ 402241 w 1489995"/>
                <a:gd name="connsiteY29" fmla="*/ 1245680 h 1273968"/>
                <a:gd name="connsiteX30" fmla="*/ 399479 w 1489995"/>
                <a:gd name="connsiteY30" fmla="*/ 1249204 h 1273968"/>
                <a:gd name="connsiteX31" fmla="*/ 399859 w 1489995"/>
                <a:gd name="connsiteY31" fmla="*/ 1252347 h 1273968"/>
                <a:gd name="connsiteX32" fmla="*/ 400240 w 1489995"/>
                <a:gd name="connsiteY32" fmla="*/ 1255586 h 1273968"/>
                <a:gd name="connsiteX33" fmla="*/ 390620 w 1489995"/>
                <a:gd name="connsiteY33" fmla="*/ 1255205 h 1273968"/>
                <a:gd name="connsiteX34" fmla="*/ 383858 w 1489995"/>
                <a:gd name="connsiteY34" fmla="*/ 1252823 h 1273968"/>
                <a:gd name="connsiteX35" fmla="*/ 383286 w 1489995"/>
                <a:gd name="connsiteY35" fmla="*/ 1248061 h 1273968"/>
                <a:gd name="connsiteX36" fmla="*/ 379952 w 1489995"/>
                <a:gd name="connsiteY36" fmla="*/ 1246918 h 1273968"/>
                <a:gd name="connsiteX37" fmla="*/ 371284 w 1489995"/>
                <a:gd name="connsiteY37" fmla="*/ 1254443 h 1273968"/>
                <a:gd name="connsiteX38" fmla="*/ 372237 w 1489995"/>
                <a:gd name="connsiteY38" fmla="*/ 1262348 h 1273968"/>
                <a:gd name="connsiteX39" fmla="*/ 372237 w 1489995"/>
                <a:gd name="connsiteY39" fmla="*/ 1262348 h 1273968"/>
                <a:gd name="connsiteX40" fmla="*/ 370713 w 1489995"/>
                <a:gd name="connsiteY40" fmla="*/ 1262539 h 1273968"/>
                <a:gd name="connsiteX41" fmla="*/ 366331 w 1489995"/>
                <a:gd name="connsiteY41" fmla="*/ 1266254 h 1273968"/>
                <a:gd name="connsiteX42" fmla="*/ 365950 w 1489995"/>
                <a:gd name="connsiteY42" fmla="*/ 1263110 h 1273968"/>
                <a:gd name="connsiteX43" fmla="*/ 356711 w 1489995"/>
                <a:gd name="connsiteY43" fmla="*/ 1265873 h 1273968"/>
                <a:gd name="connsiteX44" fmla="*/ 354711 w 1489995"/>
                <a:gd name="connsiteY44" fmla="*/ 1262920 h 1273968"/>
                <a:gd name="connsiteX45" fmla="*/ 349948 w 1489995"/>
                <a:gd name="connsiteY45" fmla="*/ 1263587 h 1273968"/>
                <a:gd name="connsiteX46" fmla="*/ 349377 w 1489995"/>
                <a:gd name="connsiteY46" fmla="*/ 1258824 h 1273968"/>
                <a:gd name="connsiteX47" fmla="*/ 345853 w 1489995"/>
                <a:gd name="connsiteY47" fmla="*/ 1256062 h 1273968"/>
                <a:gd name="connsiteX48" fmla="*/ 344614 w 1489995"/>
                <a:gd name="connsiteY48" fmla="*/ 1259396 h 1273968"/>
                <a:gd name="connsiteX49" fmla="*/ 338328 w 1489995"/>
                <a:gd name="connsiteY49" fmla="*/ 1260253 h 1273968"/>
                <a:gd name="connsiteX50" fmla="*/ 342614 w 1489995"/>
                <a:gd name="connsiteY50" fmla="*/ 1256443 h 1273968"/>
                <a:gd name="connsiteX51" fmla="*/ 342233 w 1489995"/>
                <a:gd name="connsiteY51" fmla="*/ 1253300 h 1273968"/>
                <a:gd name="connsiteX52" fmla="*/ 345186 w 1489995"/>
                <a:gd name="connsiteY52" fmla="*/ 1251299 h 1273968"/>
                <a:gd name="connsiteX53" fmla="*/ 337280 w 1489995"/>
                <a:gd name="connsiteY53" fmla="*/ 1252347 h 1273968"/>
                <a:gd name="connsiteX54" fmla="*/ 335947 w 1489995"/>
                <a:gd name="connsiteY54" fmla="*/ 1254157 h 1273968"/>
                <a:gd name="connsiteX55" fmla="*/ 332422 w 1489995"/>
                <a:gd name="connsiteY55" fmla="*/ 1251395 h 1273968"/>
                <a:gd name="connsiteX56" fmla="*/ 330232 w 1489995"/>
                <a:gd name="connsiteY56" fmla="*/ 1246823 h 1273968"/>
                <a:gd name="connsiteX57" fmla="*/ 330994 w 1489995"/>
                <a:gd name="connsiteY57" fmla="*/ 1240346 h 1273968"/>
                <a:gd name="connsiteX58" fmla="*/ 320897 w 1489995"/>
                <a:gd name="connsiteY58" fmla="*/ 1236821 h 1273968"/>
                <a:gd name="connsiteX59" fmla="*/ 316325 w 1489995"/>
                <a:gd name="connsiteY59" fmla="*/ 1239012 h 1273968"/>
                <a:gd name="connsiteX60" fmla="*/ 316611 w 1489995"/>
                <a:gd name="connsiteY60" fmla="*/ 1240536 h 1273968"/>
                <a:gd name="connsiteX61" fmla="*/ 319945 w 1489995"/>
                <a:gd name="connsiteY61" fmla="*/ 1241679 h 1273968"/>
                <a:gd name="connsiteX62" fmla="*/ 315373 w 1489995"/>
                <a:gd name="connsiteY62" fmla="*/ 1243870 h 1273968"/>
                <a:gd name="connsiteX63" fmla="*/ 311658 w 1489995"/>
                <a:gd name="connsiteY63" fmla="*/ 1252347 h 1273968"/>
                <a:gd name="connsiteX64" fmla="*/ 308324 w 1489995"/>
                <a:gd name="connsiteY64" fmla="*/ 1251204 h 1273968"/>
                <a:gd name="connsiteX65" fmla="*/ 308515 w 1489995"/>
                <a:gd name="connsiteY65" fmla="*/ 1252823 h 1273968"/>
                <a:gd name="connsiteX66" fmla="*/ 306705 w 1489995"/>
                <a:gd name="connsiteY66" fmla="*/ 1251395 h 1273968"/>
                <a:gd name="connsiteX67" fmla="*/ 303943 w 1489995"/>
                <a:gd name="connsiteY67" fmla="*/ 1255014 h 1273968"/>
                <a:gd name="connsiteX68" fmla="*/ 302038 w 1489995"/>
                <a:gd name="connsiteY68" fmla="*/ 1252061 h 1273968"/>
                <a:gd name="connsiteX69" fmla="*/ 303371 w 1489995"/>
                <a:gd name="connsiteY69" fmla="*/ 1250252 h 1273968"/>
                <a:gd name="connsiteX70" fmla="*/ 301752 w 1489995"/>
                <a:gd name="connsiteY70" fmla="*/ 1250442 h 1273968"/>
                <a:gd name="connsiteX71" fmla="*/ 300418 w 1489995"/>
                <a:gd name="connsiteY71" fmla="*/ 1252252 h 1273968"/>
                <a:gd name="connsiteX72" fmla="*/ 298990 w 1489995"/>
                <a:gd name="connsiteY72" fmla="*/ 1253966 h 1273968"/>
                <a:gd name="connsiteX73" fmla="*/ 297656 w 1489995"/>
                <a:gd name="connsiteY73" fmla="*/ 1242917 h 1273968"/>
                <a:gd name="connsiteX74" fmla="*/ 296228 w 1489995"/>
                <a:gd name="connsiteY74" fmla="*/ 1244727 h 1273968"/>
                <a:gd name="connsiteX75" fmla="*/ 294513 w 1489995"/>
                <a:gd name="connsiteY75" fmla="*/ 1243394 h 1273968"/>
                <a:gd name="connsiteX76" fmla="*/ 291655 w 1489995"/>
                <a:gd name="connsiteY76" fmla="*/ 1234059 h 1273968"/>
                <a:gd name="connsiteX77" fmla="*/ 288512 w 1489995"/>
                <a:gd name="connsiteY77" fmla="*/ 1234535 h 1273968"/>
                <a:gd name="connsiteX78" fmla="*/ 290513 w 1489995"/>
                <a:gd name="connsiteY78" fmla="*/ 1237488 h 1273968"/>
                <a:gd name="connsiteX79" fmla="*/ 284226 w 1489995"/>
                <a:gd name="connsiteY79" fmla="*/ 1238250 h 1273968"/>
                <a:gd name="connsiteX80" fmla="*/ 284988 w 1489995"/>
                <a:gd name="connsiteY80" fmla="*/ 1244537 h 1273968"/>
                <a:gd name="connsiteX81" fmla="*/ 280225 w 1489995"/>
                <a:gd name="connsiteY81" fmla="*/ 1245203 h 1273968"/>
                <a:gd name="connsiteX82" fmla="*/ 280702 w 1489995"/>
                <a:gd name="connsiteY82" fmla="*/ 1248347 h 1273968"/>
                <a:gd name="connsiteX83" fmla="*/ 273748 w 1489995"/>
                <a:gd name="connsiteY83" fmla="*/ 1244441 h 1273968"/>
                <a:gd name="connsiteX84" fmla="*/ 267271 w 1489995"/>
                <a:gd name="connsiteY84" fmla="*/ 1243584 h 1273968"/>
                <a:gd name="connsiteX85" fmla="*/ 263747 w 1489995"/>
                <a:gd name="connsiteY85" fmla="*/ 1253681 h 1273968"/>
                <a:gd name="connsiteX86" fmla="*/ 262128 w 1489995"/>
                <a:gd name="connsiteY86" fmla="*/ 1253871 h 1273968"/>
                <a:gd name="connsiteX87" fmla="*/ 262128 w 1489995"/>
                <a:gd name="connsiteY87" fmla="*/ 1253871 h 1273968"/>
                <a:gd name="connsiteX88" fmla="*/ 252222 w 1489995"/>
                <a:gd name="connsiteY88" fmla="*/ 1251966 h 1273968"/>
                <a:gd name="connsiteX89" fmla="*/ 250507 w 1489995"/>
                <a:gd name="connsiteY89" fmla="*/ 1250537 h 1273968"/>
                <a:gd name="connsiteX90" fmla="*/ 251269 w 1489995"/>
                <a:gd name="connsiteY90" fmla="*/ 1244060 h 1273968"/>
                <a:gd name="connsiteX91" fmla="*/ 252603 w 1489995"/>
                <a:gd name="connsiteY91" fmla="*/ 1242251 h 1273968"/>
                <a:gd name="connsiteX92" fmla="*/ 254413 w 1489995"/>
                <a:gd name="connsiteY92" fmla="*/ 1230821 h 1273968"/>
                <a:gd name="connsiteX93" fmla="*/ 254984 w 1489995"/>
                <a:gd name="connsiteY93" fmla="*/ 1222724 h 1273968"/>
                <a:gd name="connsiteX94" fmla="*/ 249841 w 1489995"/>
                <a:gd name="connsiteY94" fmla="*/ 1220153 h 1273968"/>
                <a:gd name="connsiteX95" fmla="*/ 250412 w 1489995"/>
                <a:gd name="connsiteY95" fmla="*/ 1212056 h 1273968"/>
                <a:gd name="connsiteX96" fmla="*/ 239935 w 1489995"/>
                <a:gd name="connsiteY96" fmla="*/ 1205389 h 1273968"/>
                <a:gd name="connsiteX97" fmla="*/ 236791 w 1489995"/>
                <a:gd name="connsiteY97" fmla="*/ 1205770 h 1273968"/>
                <a:gd name="connsiteX98" fmla="*/ 231457 w 1489995"/>
                <a:gd name="connsiteY98" fmla="*/ 1214533 h 1273968"/>
                <a:gd name="connsiteX99" fmla="*/ 229648 w 1489995"/>
                <a:gd name="connsiteY99" fmla="*/ 1213104 h 1273968"/>
                <a:gd name="connsiteX100" fmla="*/ 234029 w 1489995"/>
                <a:gd name="connsiteY100" fmla="*/ 1209389 h 1273968"/>
                <a:gd name="connsiteX101" fmla="*/ 235744 w 1489995"/>
                <a:gd name="connsiteY101" fmla="*/ 1197959 h 1273968"/>
                <a:gd name="connsiteX102" fmla="*/ 233743 w 1489995"/>
                <a:gd name="connsiteY102" fmla="*/ 1195007 h 1273968"/>
                <a:gd name="connsiteX103" fmla="*/ 232029 w 1489995"/>
                <a:gd name="connsiteY103" fmla="*/ 1193578 h 1273968"/>
                <a:gd name="connsiteX104" fmla="*/ 234696 w 1489995"/>
                <a:gd name="connsiteY104" fmla="*/ 1177195 h 1273968"/>
                <a:gd name="connsiteX105" fmla="*/ 231934 w 1489995"/>
                <a:gd name="connsiteY105" fmla="*/ 1167956 h 1273968"/>
                <a:gd name="connsiteX106" fmla="*/ 236029 w 1489995"/>
                <a:gd name="connsiteY106" fmla="*/ 1162622 h 1273968"/>
                <a:gd name="connsiteX107" fmla="*/ 240030 w 1489995"/>
                <a:gd name="connsiteY107" fmla="*/ 1155668 h 1273968"/>
                <a:gd name="connsiteX108" fmla="*/ 239554 w 1489995"/>
                <a:gd name="connsiteY108" fmla="*/ 1139666 h 1273968"/>
                <a:gd name="connsiteX109" fmla="*/ 242125 w 1489995"/>
                <a:gd name="connsiteY109" fmla="*/ 1134523 h 1273968"/>
                <a:gd name="connsiteX110" fmla="*/ 242888 w 1489995"/>
                <a:gd name="connsiteY110" fmla="*/ 1128046 h 1273968"/>
                <a:gd name="connsiteX111" fmla="*/ 239173 w 1489995"/>
                <a:gd name="connsiteY111" fmla="*/ 1123760 h 1273968"/>
                <a:gd name="connsiteX112" fmla="*/ 234601 w 1489995"/>
                <a:gd name="connsiteY112" fmla="*/ 1125855 h 1273968"/>
                <a:gd name="connsiteX113" fmla="*/ 227933 w 1489995"/>
                <a:gd name="connsiteY113" fmla="*/ 1123569 h 1273968"/>
                <a:gd name="connsiteX114" fmla="*/ 227266 w 1489995"/>
                <a:gd name="connsiteY114" fmla="*/ 1118807 h 1273968"/>
                <a:gd name="connsiteX115" fmla="*/ 223742 w 1489995"/>
                <a:gd name="connsiteY115" fmla="*/ 1116044 h 1273968"/>
                <a:gd name="connsiteX116" fmla="*/ 219361 w 1489995"/>
                <a:gd name="connsiteY116" fmla="*/ 1119854 h 1273968"/>
                <a:gd name="connsiteX117" fmla="*/ 217837 w 1489995"/>
                <a:gd name="connsiteY117" fmla="*/ 1120045 h 1273968"/>
                <a:gd name="connsiteX118" fmla="*/ 210884 w 1489995"/>
                <a:gd name="connsiteY118" fmla="*/ 1116044 h 1273968"/>
                <a:gd name="connsiteX119" fmla="*/ 210502 w 1489995"/>
                <a:gd name="connsiteY119" fmla="*/ 1112901 h 1273968"/>
                <a:gd name="connsiteX120" fmla="*/ 213646 w 1489995"/>
                <a:gd name="connsiteY120" fmla="*/ 1112520 h 1273968"/>
                <a:gd name="connsiteX121" fmla="*/ 214789 w 1489995"/>
                <a:gd name="connsiteY121" fmla="*/ 1109186 h 1273968"/>
                <a:gd name="connsiteX122" fmla="*/ 205168 w 1489995"/>
                <a:gd name="connsiteY122" fmla="*/ 1108805 h 1273968"/>
                <a:gd name="connsiteX123" fmla="*/ 204788 w 1489995"/>
                <a:gd name="connsiteY123" fmla="*/ 1105662 h 1273968"/>
                <a:gd name="connsiteX124" fmla="*/ 200025 w 1489995"/>
                <a:gd name="connsiteY124" fmla="*/ 1106234 h 1273968"/>
                <a:gd name="connsiteX125" fmla="*/ 196501 w 1489995"/>
                <a:gd name="connsiteY125" fmla="*/ 1103471 h 1273968"/>
                <a:gd name="connsiteX126" fmla="*/ 193357 w 1489995"/>
                <a:gd name="connsiteY126" fmla="*/ 1103948 h 1273968"/>
                <a:gd name="connsiteX127" fmla="*/ 190881 w 1489995"/>
                <a:gd name="connsiteY127" fmla="*/ 1097756 h 1273968"/>
                <a:gd name="connsiteX128" fmla="*/ 187547 w 1489995"/>
                <a:gd name="connsiteY128" fmla="*/ 1096613 h 1273968"/>
                <a:gd name="connsiteX129" fmla="*/ 195643 w 1489995"/>
                <a:gd name="connsiteY129" fmla="*/ 1097185 h 1273968"/>
                <a:gd name="connsiteX130" fmla="*/ 202787 w 1489995"/>
                <a:gd name="connsiteY130" fmla="*/ 1102709 h 1273968"/>
                <a:gd name="connsiteX131" fmla="*/ 210693 w 1489995"/>
                <a:gd name="connsiteY131" fmla="*/ 1101662 h 1273968"/>
                <a:gd name="connsiteX132" fmla="*/ 212026 w 1489995"/>
                <a:gd name="connsiteY132" fmla="*/ 1099947 h 1273968"/>
                <a:gd name="connsiteX133" fmla="*/ 216789 w 1489995"/>
                <a:gd name="connsiteY133" fmla="*/ 1099280 h 1273968"/>
                <a:gd name="connsiteX134" fmla="*/ 219742 w 1489995"/>
                <a:gd name="connsiteY134" fmla="*/ 1097280 h 1273968"/>
                <a:gd name="connsiteX135" fmla="*/ 216408 w 1489995"/>
                <a:gd name="connsiteY135" fmla="*/ 1096137 h 1273968"/>
                <a:gd name="connsiteX136" fmla="*/ 209836 w 1489995"/>
                <a:gd name="connsiteY136" fmla="*/ 1082516 h 1273968"/>
                <a:gd name="connsiteX137" fmla="*/ 200120 w 1489995"/>
                <a:gd name="connsiteY137" fmla="*/ 1082135 h 1273968"/>
                <a:gd name="connsiteX138" fmla="*/ 196405 w 1489995"/>
                <a:gd name="connsiteY138" fmla="*/ 1077849 h 1273968"/>
                <a:gd name="connsiteX139" fmla="*/ 198977 w 1489995"/>
                <a:gd name="connsiteY139" fmla="*/ 1072706 h 1273968"/>
                <a:gd name="connsiteX140" fmla="*/ 196977 w 1489995"/>
                <a:gd name="connsiteY140" fmla="*/ 1069753 h 1273968"/>
                <a:gd name="connsiteX141" fmla="*/ 198120 w 1489995"/>
                <a:gd name="connsiteY141" fmla="*/ 1066419 h 1273968"/>
                <a:gd name="connsiteX142" fmla="*/ 200120 w 1489995"/>
                <a:gd name="connsiteY142" fmla="*/ 1069372 h 1273968"/>
                <a:gd name="connsiteX143" fmla="*/ 200311 w 1489995"/>
                <a:gd name="connsiteY143" fmla="*/ 1070896 h 1273968"/>
                <a:gd name="connsiteX144" fmla="*/ 202120 w 1489995"/>
                <a:gd name="connsiteY144" fmla="*/ 1072325 h 1273968"/>
                <a:gd name="connsiteX145" fmla="*/ 204883 w 1489995"/>
                <a:gd name="connsiteY145" fmla="*/ 1068705 h 1273968"/>
                <a:gd name="connsiteX146" fmla="*/ 205073 w 1489995"/>
                <a:gd name="connsiteY146" fmla="*/ 1070324 h 1273968"/>
                <a:gd name="connsiteX147" fmla="*/ 206692 w 1489995"/>
                <a:gd name="connsiteY147" fmla="*/ 1070134 h 1273968"/>
                <a:gd name="connsiteX148" fmla="*/ 206692 w 1489995"/>
                <a:gd name="connsiteY148" fmla="*/ 1070134 h 1273968"/>
                <a:gd name="connsiteX149" fmla="*/ 208026 w 1489995"/>
                <a:gd name="connsiteY149" fmla="*/ 1068324 h 1273968"/>
                <a:gd name="connsiteX150" fmla="*/ 215741 w 1489995"/>
                <a:gd name="connsiteY150" fmla="*/ 1065752 h 1273968"/>
                <a:gd name="connsiteX151" fmla="*/ 219075 w 1489995"/>
                <a:gd name="connsiteY151" fmla="*/ 1066895 h 1273968"/>
                <a:gd name="connsiteX152" fmla="*/ 226123 w 1489995"/>
                <a:gd name="connsiteY152" fmla="*/ 1059656 h 1273968"/>
                <a:gd name="connsiteX153" fmla="*/ 221456 w 1489995"/>
                <a:gd name="connsiteY153" fmla="*/ 1060228 h 1273968"/>
                <a:gd name="connsiteX154" fmla="*/ 220789 w 1489995"/>
                <a:gd name="connsiteY154" fmla="*/ 1055465 h 1273968"/>
                <a:gd name="connsiteX155" fmla="*/ 216122 w 1489995"/>
                <a:gd name="connsiteY155" fmla="*/ 1056132 h 1273968"/>
                <a:gd name="connsiteX156" fmla="*/ 215932 w 1489995"/>
                <a:gd name="connsiteY156" fmla="*/ 1054513 h 1273968"/>
                <a:gd name="connsiteX157" fmla="*/ 212503 w 1489995"/>
                <a:gd name="connsiteY157" fmla="*/ 1053370 h 1273968"/>
                <a:gd name="connsiteX158" fmla="*/ 208026 w 1489995"/>
                <a:gd name="connsiteY158" fmla="*/ 1055561 h 1273968"/>
                <a:gd name="connsiteX159" fmla="*/ 210788 w 1489995"/>
                <a:gd name="connsiteY159" fmla="*/ 1051941 h 1273968"/>
                <a:gd name="connsiteX160" fmla="*/ 207359 w 1489995"/>
                <a:gd name="connsiteY160" fmla="*/ 1050798 h 1273968"/>
                <a:gd name="connsiteX161" fmla="*/ 203073 w 1489995"/>
                <a:gd name="connsiteY161" fmla="*/ 1054513 h 1273968"/>
                <a:gd name="connsiteX162" fmla="*/ 201073 w 1489995"/>
                <a:gd name="connsiteY162" fmla="*/ 1051560 h 1273968"/>
                <a:gd name="connsiteX163" fmla="*/ 198120 w 1489995"/>
                <a:gd name="connsiteY163" fmla="*/ 1053560 h 1273968"/>
                <a:gd name="connsiteX164" fmla="*/ 196977 w 1489995"/>
                <a:gd name="connsiteY164" fmla="*/ 1056894 h 1273968"/>
                <a:gd name="connsiteX165" fmla="*/ 194024 w 1489995"/>
                <a:gd name="connsiteY165" fmla="*/ 1058894 h 1273968"/>
                <a:gd name="connsiteX166" fmla="*/ 194405 w 1489995"/>
                <a:gd name="connsiteY166" fmla="*/ 1062037 h 1273968"/>
                <a:gd name="connsiteX167" fmla="*/ 189452 w 1489995"/>
                <a:gd name="connsiteY167" fmla="*/ 1061085 h 1273968"/>
                <a:gd name="connsiteX168" fmla="*/ 186690 w 1489995"/>
                <a:gd name="connsiteY168" fmla="*/ 1051846 h 1273968"/>
                <a:gd name="connsiteX169" fmla="*/ 190024 w 1489995"/>
                <a:gd name="connsiteY169" fmla="*/ 1052989 h 1273968"/>
                <a:gd name="connsiteX170" fmla="*/ 189833 w 1489995"/>
                <a:gd name="connsiteY170" fmla="*/ 1051465 h 1273968"/>
                <a:gd name="connsiteX171" fmla="*/ 186499 w 1489995"/>
                <a:gd name="connsiteY171" fmla="*/ 1050227 h 1273968"/>
                <a:gd name="connsiteX172" fmla="*/ 190595 w 1489995"/>
                <a:gd name="connsiteY172" fmla="*/ 1044893 h 1273968"/>
                <a:gd name="connsiteX173" fmla="*/ 186690 w 1489995"/>
                <a:gd name="connsiteY173" fmla="*/ 1038987 h 1273968"/>
                <a:gd name="connsiteX174" fmla="*/ 189166 w 1489995"/>
                <a:gd name="connsiteY174" fmla="*/ 1033844 h 1273968"/>
                <a:gd name="connsiteX175" fmla="*/ 198311 w 1489995"/>
                <a:gd name="connsiteY175" fmla="*/ 1029462 h 1273968"/>
                <a:gd name="connsiteX176" fmla="*/ 205740 w 1489995"/>
                <a:gd name="connsiteY176" fmla="*/ 1012507 h 1273968"/>
                <a:gd name="connsiteX177" fmla="*/ 228409 w 1489995"/>
                <a:gd name="connsiteY177" fmla="*/ 1001649 h 1273968"/>
                <a:gd name="connsiteX178" fmla="*/ 232886 w 1489995"/>
                <a:gd name="connsiteY178" fmla="*/ 999458 h 1273968"/>
                <a:gd name="connsiteX179" fmla="*/ 239268 w 1489995"/>
                <a:gd name="connsiteY179" fmla="*/ 998601 h 1273968"/>
                <a:gd name="connsiteX180" fmla="*/ 236125 w 1489995"/>
                <a:gd name="connsiteY180" fmla="*/ 998982 h 1273968"/>
                <a:gd name="connsiteX181" fmla="*/ 236887 w 1489995"/>
                <a:gd name="connsiteY181" fmla="*/ 1005364 h 1273968"/>
                <a:gd name="connsiteX182" fmla="*/ 238696 w 1489995"/>
                <a:gd name="connsiteY182" fmla="*/ 1006697 h 1273968"/>
                <a:gd name="connsiteX183" fmla="*/ 243554 w 1489995"/>
                <a:gd name="connsiteY183" fmla="*/ 1007650 h 1273968"/>
                <a:gd name="connsiteX184" fmla="*/ 245745 w 1489995"/>
                <a:gd name="connsiteY184" fmla="*/ 1012222 h 1273968"/>
                <a:gd name="connsiteX185" fmla="*/ 247364 w 1489995"/>
                <a:gd name="connsiteY185" fmla="*/ 1012031 h 1273968"/>
                <a:gd name="connsiteX186" fmla="*/ 247555 w 1489995"/>
                <a:gd name="connsiteY186" fmla="*/ 1013555 h 1273968"/>
                <a:gd name="connsiteX187" fmla="*/ 252317 w 1489995"/>
                <a:gd name="connsiteY187" fmla="*/ 1012984 h 1273968"/>
                <a:gd name="connsiteX188" fmla="*/ 254032 w 1489995"/>
                <a:gd name="connsiteY188" fmla="*/ 1014317 h 1273968"/>
                <a:gd name="connsiteX189" fmla="*/ 255079 w 1489995"/>
                <a:gd name="connsiteY189" fmla="*/ 1009460 h 1273968"/>
                <a:gd name="connsiteX190" fmla="*/ 256603 w 1489995"/>
                <a:gd name="connsiteY190" fmla="*/ 1009269 h 1273968"/>
                <a:gd name="connsiteX191" fmla="*/ 256222 w 1489995"/>
                <a:gd name="connsiteY191" fmla="*/ 1006031 h 1273968"/>
                <a:gd name="connsiteX192" fmla="*/ 257556 w 1489995"/>
                <a:gd name="connsiteY192" fmla="*/ 1004316 h 1273968"/>
                <a:gd name="connsiteX193" fmla="*/ 258413 w 1489995"/>
                <a:gd name="connsiteY193" fmla="*/ 997744 h 1273968"/>
                <a:gd name="connsiteX194" fmla="*/ 261366 w 1489995"/>
                <a:gd name="connsiteY194" fmla="*/ 995839 h 1273968"/>
                <a:gd name="connsiteX195" fmla="*/ 263652 w 1489995"/>
                <a:gd name="connsiteY195" fmla="*/ 989076 h 1273968"/>
                <a:gd name="connsiteX196" fmla="*/ 266795 w 1489995"/>
                <a:gd name="connsiteY196" fmla="*/ 988695 h 1273968"/>
                <a:gd name="connsiteX197" fmla="*/ 272986 w 1489995"/>
                <a:gd name="connsiteY197" fmla="*/ 986314 h 1273968"/>
                <a:gd name="connsiteX198" fmla="*/ 272510 w 1489995"/>
                <a:gd name="connsiteY198" fmla="*/ 983170 h 1273968"/>
                <a:gd name="connsiteX199" fmla="*/ 274320 w 1489995"/>
                <a:gd name="connsiteY199" fmla="*/ 984504 h 1273968"/>
                <a:gd name="connsiteX200" fmla="*/ 275749 w 1489995"/>
                <a:gd name="connsiteY200" fmla="*/ 982790 h 1273968"/>
                <a:gd name="connsiteX201" fmla="*/ 278892 w 1489995"/>
                <a:gd name="connsiteY201" fmla="*/ 982313 h 1273968"/>
                <a:gd name="connsiteX202" fmla="*/ 283178 w 1489995"/>
                <a:gd name="connsiteY202" fmla="*/ 978599 h 1273968"/>
                <a:gd name="connsiteX203" fmla="*/ 284988 w 1489995"/>
                <a:gd name="connsiteY203" fmla="*/ 979932 h 1273968"/>
                <a:gd name="connsiteX204" fmla="*/ 288893 w 1489995"/>
                <a:gd name="connsiteY204" fmla="*/ 973074 h 1273968"/>
                <a:gd name="connsiteX205" fmla="*/ 286703 w 1489995"/>
                <a:gd name="connsiteY205" fmla="*/ 968502 h 1273968"/>
                <a:gd name="connsiteX206" fmla="*/ 281559 w 1489995"/>
                <a:gd name="connsiteY206" fmla="*/ 965930 h 1273968"/>
                <a:gd name="connsiteX207" fmla="*/ 279559 w 1489995"/>
                <a:gd name="connsiteY207" fmla="*/ 962978 h 1273968"/>
                <a:gd name="connsiteX208" fmla="*/ 276225 w 1489995"/>
                <a:gd name="connsiteY208" fmla="*/ 961835 h 1273968"/>
                <a:gd name="connsiteX209" fmla="*/ 273272 w 1489995"/>
                <a:gd name="connsiteY209" fmla="*/ 963835 h 1273968"/>
                <a:gd name="connsiteX210" fmla="*/ 271939 w 1489995"/>
                <a:gd name="connsiteY210" fmla="*/ 965549 h 1273968"/>
                <a:gd name="connsiteX211" fmla="*/ 266033 w 1489995"/>
                <a:gd name="connsiteY211" fmla="*/ 969550 h 1273968"/>
                <a:gd name="connsiteX212" fmla="*/ 264223 w 1489995"/>
                <a:gd name="connsiteY212" fmla="*/ 968121 h 1273968"/>
                <a:gd name="connsiteX213" fmla="*/ 264795 w 1489995"/>
                <a:gd name="connsiteY213" fmla="*/ 960120 h 1273968"/>
                <a:gd name="connsiteX214" fmla="*/ 274034 w 1489995"/>
                <a:gd name="connsiteY214" fmla="*/ 957262 h 1273968"/>
                <a:gd name="connsiteX215" fmla="*/ 277178 w 1489995"/>
                <a:gd name="connsiteY215" fmla="*/ 944023 h 1273968"/>
                <a:gd name="connsiteX216" fmla="*/ 276415 w 1489995"/>
                <a:gd name="connsiteY216" fmla="*/ 937736 h 1273968"/>
                <a:gd name="connsiteX217" fmla="*/ 272605 w 1489995"/>
                <a:gd name="connsiteY217" fmla="*/ 933450 h 1273968"/>
                <a:gd name="connsiteX218" fmla="*/ 272224 w 1489995"/>
                <a:gd name="connsiteY218" fmla="*/ 930307 h 1273968"/>
                <a:gd name="connsiteX219" fmla="*/ 269843 w 1489995"/>
                <a:gd name="connsiteY219" fmla="*/ 924115 h 1273968"/>
                <a:gd name="connsiteX220" fmla="*/ 270796 w 1489995"/>
                <a:gd name="connsiteY220" fmla="*/ 919258 h 1273968"/>
                <a:gd name="connsiteX221" fmla="*/ 280321 w 1489995"/>
                <a:gd name="connsiteY221" fmla="*/ 918020 h 1273968"/>
                <a:gd name="connsiteX222" fmla="*/ 279463 w 1489995"/>
                <a:gd name="connsiteY222" fmla="*/ 911733 h 1273968"/>
                <a:gd name="connsiteX223" fmla="*/ 285369 w 1489995"/>
                <a:gd name="connsiteY223" fmla="*/ 907732 h 1273968"/>
                <a:gd name="connsiteX224" fmla="*/ 282226 w 1489995"/>
                <a:gd name="connsiteY224" fmla="*/ 908114 h 1273968"/>
                <a:gd name="connsiteX225" fmla="*/ 284416 w 1489995"/>
                <a:gd name="connsiteY225" fmla="*/ 899827 h 1273968"/>
                <a:gd name="connsiteX226" fmla="*/ 277463 w 1489995"/>
                <a:gd name="connsiteY226" fmla="*/ 895922 h 1273968"/>
                <a:gd name="connsiteX227" fmla="*/ 276415 w 1489995"/>
                <a:gd name="connsiteY227" fmla="*/ 888016 h 1273968"/>
                <a:gd name="connsiteX228" fmla="*/ 283369 w 1489995"/>
                <a:gd name="connsiteY228" fmla="*/ 879157 h 1273968"/>
                <a:gd name="connsiteX229" fmla="*/ 281368 w 1489995"/>
                <a:gd name="connsiteY229" fmla="*/ 876205 h 1273968"/>
                <a:gd name="connsiteX230" fmla="*/ 277654 w 1489995"/>
                <a:gd name="connsiteY230" fmla="*/ 871823 h 1273968"/>
                <a:gd name="connsiteX231" fmla="*/ 280321 w 1489995"/>
                <a:gd name="connsiteY231" fmla="*/ 868299 h 1273968"/>
                <a:gd name="connsiteX232" fmla="*/ 283750 w 1489995"/>
                <a:gd name="connsiteY232" fmla="*/ 869442 h 1273968"/>
                <a:gd name="connsiteX233" fmla="*/ 287464 w 1489995"/>
                <a:gd name="connsiteY233" fmla="*/ 860965 h 1273968"/>
                <a:gd name="connsiteX234" fmla="*/ 283464 w 1489995"/>
                <a:gd name="connsiteY234" fmla="*/ 855059 h 1273968"/>
                <a:gd name="connsiteX235" fmla="*/ 286607 w 1489995"/>
                <a:gd name="connsiteY235" fmla="*/ 854678 h 1273968"/>
                <a:gd name="connsiteX236" fmla="*/ 285464 w 1489995"/>
                <a:gd name="connsiteY236" fmla="*/ 845153 h 1273968"/>
                <a:gd name="connsiteX237" fmla="*/ 287179 w 1489995"/>
                <a:gd name="connsiteY237" fmla="*/ 846582 h 1273968"/>
                <a:gd name="connsiteX238" fmla="*/ 290417 w 1489995"/>
                <a:gd name="connsiteY238" fmla="*/ 846201 h 1273968"/>
                <a:gd name="connsiteX239" fmla="*/ 290132 w 1489995"/>
                <a:gd name="connsiteY239" fmla="*/ 844582 h 1273968"/>
                <a:gd name="connsiteX240" fmla="*/ 290417 w 1489995"/>
                <a:gd name="connsiteY240" fmla="*/ 846201 h 1273968"/>
                <a:gd name="connsiteX241" fmla="*/ 291941 w 1489995"/>
                <a:gd name="connsiteY241" fmla="*/ 845915 h 1273968"/>
                <a:gd name="connsiteX242" fmla="*/ 293370 w 1489995"/>
                <a:gd name="connsiteY242" fmla="*/ 844201 h 1273968"/>
                <a:gd name="connsiteX243" fmla="*/ 296704 w 1489995"/>
                <a:gd name="connsiteY243" fmla="*/ 845344 h 1273968"/>
                <a:gd name="connsiteX244" fmla="*/ 299657 w 1489995"/>
                <a:gd name="connsiteY244" fmla="*/ 843344 h 1273968"/>
                <a:gd name="connsiteX245" fmla="*/ 300228 w 1489995"/>
                <a:gd name="connsiteY245" fmla="*/ 848106 h 1273968"/>
                <a:gd name="connsiteX246" fmla="*/ 303181 w 1489995"/>
                <a:gd name="connsiteY246" fmla="*/ 846106 h 1273968"/>
                <a:gd name="connsiteX247" fmla="*/ 299657 w 1489995"/>
                <a:gd name="connsiteY247" fmla="*/ 830580 h 1273968"/>
                <a:gd name="connsiteX248" fmla="*/ 298037 w 1489995"/>
                <a:gd name="connsiteY248" fmla="*/ 817912 h 1273968"/>
                <a:gd name="connsiteX249" fmla="*/ 295656 w 1489995"/>
                <a:gd name="connsiteY249" fmla="*/ 811816 h 1273968"/>
                <a:gd name="connsiteX250" fmla="*/ 296609 w 1489995"/>
                <a:gd name="connsiteY250" fmla="*/ 806863 h 1273968"/>
                <a:gd name="connsiteX251" fmla="*/ 296228 w 1489995"/>
                <a:gd name="connsiteY251" fmla="*/ 803720 h 1273968"/>
                <a:gd name="connsiteX252" fmla="*/ 294418 w 1489995"/>
                <a:gd name="connsiteY252" fmla="*/ 802386 h 1273968"/>
                <a:gd name="connsiteX253" fmla="*/ 292417 w 1489995"/>
                <a:gd name="connsiteY253" fmla="*/ 799433 h 1273968"/>
                <a:gd name="connsiteX254" fmla="*/ 293656 w 1489995"/>
                <a:gd name="connsiteY254" fmla="*/ 796004 h 1273968"/>
                <a:gd name="connsiteX255" fmla="*/ 294799 w 1489995"/>
                <a:gd name="connsiteY255" fmla="*/ 792670 h 1273968"/>
                <a:gd name="connsiteX256" fmla="*/ 293941 w 1489995"/>
                <a:gd name="connsiteY256" fmla="*/ 786384 h 1273968"/>
                <a:gd name="connsiteX257" fmla="*/ 292227 w 1489995"/>
                <a:gd name="connsiteY257" fmla="*/ 784955 h 1273968"/>
                <a:gd name="connsiteX258" fmla="*/ 294799 w 1489995"/>
                <a:gd name="connsiteY258" fmla="*/ 779812 h 1273968"/>
                <a:gd name="connsiteX259" fmla="*/ 302419 w 1489995"/>
                <a:gd name="connsiteY259" fmla="*/ 777240 h 1273968"/>
                <a:gd name="connsiteX260" fmla="*/ 291370 w 1489995"/>
                <a:gd name="connsiteY260" fmla="*/ 778669 h 1273968"/>
                <a:gd name="connsiteX261" fmla="*/ 286226 w 1489995"/>
                <a:gd name="connsiteY261" fmla="*/ 776097 h 1273968"/>
                <a:gd name="connsiteX262" fmla="*/ 274034 w 1489995"/>
                <a:gd name="connsiteY262" fmla="*/ 768096 h 1273968"/>
                <a:gd name="connsiteX263" fmla="*/ 270034 w 1489995"/>
                <a:gd name="connsiteY263" fmla="*/ 762190 h 1273968"/>
                <a:gd name="connsiteX264" fmla="*/ 256984 w 1489995"/>
                <a:gd name="connsiteY264" fmla="*/ 760571 h 1273968"/>
                <a:gd name="connsiteX265" fmla="*/ 251841 w 1489995"/>
                <a:gd name="connsiteY265" fmla="*/ 758095 h 1273968"/>
                <a:gd name="connsiteX266" fmla="*/ 245936 w 1489995"/>
                <a:gd name="connsiteY266" fmla="*/ 762000 h 1273968"/>
                <a:gd name="connsiteX267" fmla="*/ 239459 w 1489995"/>
                <a:gd name="connsiteY267" fmla="*/ 761238 h 1273968"/>
                <a:gd name="connsiteX268" fmla="*/ 240792 w 1489995"/>
                <a:gd name="connsiteY268" fmla="*/ 759428 h 1273968"/>
                <a:gd name="connsiteX269" fmla="*/ 239077 w 1489995"/>
                <a:gd name="connsiteY269" fmla="*/ 758095 h 1273968"/>
                <a:gd name="connsiteX270" fmla="*/ 240411 w 1489995"/>
                <a:gd name="connsiteY270" fmla="*/ 756285 h 1273968"/>
                <a:gd name="connsiteX271" fmla="*/ 244030 w 1489995"/>
                <a:gd name="connsiteY271" fmla="*/ 759047 h 1273968"/>
                <a:gd name="connsiteX272" fmla="*/ 245554 w 1489995"/>
                <a:gd name="connsiteY272" fmla="*/ 758857 h 1273968"/>
                <a:gd name="connsiteX273" fmla="*/ 245745 w 1489995"/>
                <a:gd name="connsiteY273" fmla="*/ 747617 h 1273968"/>
                <a:gd name="connsiteX274" fmla="*/ 246507 w 1489995"/>
                <a:gd name="connsiteY274" fmla="*/ 741140 h 1273968"/>
                <a:gd name="connsiteX275" fmla="*/ 244697 w 1489995"/>
                <a:gd name="connsiteY275" fmla="*/ 739711 h 1273968"/>
                <a:gd name="connsiteX276" fmla="*/ 243745 w 1489995"/>
                <a:gd name="connsiteY276" fmla="*/ 731806 h 1273968"/>
                <a:gd name="connsiteX277" fmla="*/ 237649 w 1489995"/>
                <a:gd name="connsiteY277" fmla="*/ 734187 h 1273968"/>
                <a:gd name="connsiteX278" fmla="*/ 232505 w 1489995"/>
                <a:gd name="connsiteY278" fmla="*/ 731615 h 1273968"/>
                <a:gd name="connsiteX279" fmla="*/ 225742 w 1489995"/>
                <a:gd name="connsiteY279" fmla="*/ 729329 h 1273968"/>
                <a:gd name="connsiteX280" fmla="*/ 216503 w 1489995"/>
                <a:gd name="connsiteY280" fmla="*/ 732091 h 1273968"/>
                <a:gd name="connsiteX281" fmla="*/ 211931 w 1489995"/>
                <a:gd name="connsiteY281" fmla="*/ 734282 h 1273968"/>
                <a:gd name="connsiteX282" fmla="*/ 211931 w 1489995"/>
                <a:gd name="connsiteY282" fmla="*/ 734282 h 1273968"/>
                <a:gd name="connsiteX283" fmla="*/ 210407 w 1489995"/>
                <a:gd name="connsiteY283" fmla="*/ 734473 h 1273968"/>
                <a:gd name="connsiteX284" fmla="*/ 209359 w 1489995"/>
                <a:gd name="connsiteY284" fmla="*/ 726567 h 1273968"/>
                <a:gd name="connsiteX285" fmla="*/ 204978 w 1489995"/>
                <a:gd name="connsiteY285" fmla="*/ 717518 h 1273968"/>
                <a:gd name="connsiteX286" fmla="*/ 201644 w 1489995"/>
                <a:gd name="connsiteY286" fmla="*/ 716375 h 1273968"/>
                <a:gd name="connsiteX287" fmla="*/ 198691 w 1489995"/>
                <a:gd name="connsiteY287" fmla="*/ 718280 h 1273968"/>
                <a:gd name="connsiteX288" fmla="*/ 196977 w 1489995"/>
                <a:gd name="connsiteY288" fmla="*/ 716947 h 1273968"/>
                <a:gd name="connsiteX289" fmla="*/ 192976 w 1489995"/>
                <a:gd name="connsiteY289" fmla="*/ 711041 h 1273968"/>
                <a:gd name="connsiteX290" fmla="*/ 189833 w 1489995"/>
                <a:gd name="connsiteY290" fmla="*/ 711422 h 1273968"/>
                <a:gd name="connsiteX291" fmla="*/ 187833 w 1489995"/>
                <a:gd name="connsiteY291" fmla="*/ 695611 h 1273968"/>
                <a:gd name="connsiteX292" fmla="*/ 182880 w 1489995"/>
                <a:gd name="connsiteY292" fmla="*/ 694658 h 1273968"/>
                <a:gd name="connsiteX293" fmla="*/ 178879 w 1489995"/>
                <a:gd name="connsiteY293" fmla="*/ 688753 h 1273968"/>
                <a:gd name="connsiteX294" fmla="*/ 175736 w 1489995"/>
                <a:gd name="connsiteY294" fmla="*/ 689134 h 1273968"/>
                <a:gd name="connsiteX295" fmla="*/ 172402 w 1489995"/>
                <a:gd name="connsiteY295" fmla="*/ 687991 h 1273968"/>
                <a:gd name="connsiteX296" fmla="*/ 169640 w 1489995"/>
                <a:gd name="connsiteY296" fmla="*/ 691515 h 1273968"/>
                <a:gd name="connsiteX297" fmla="*/ 168021 w 1489995"/>
                <a:gd name="connsiteY297" fmla="*/ 691801 h 1273968"/>
                <a:gd name="connsiteX298" fmla="*/ 166497 w 1489995"/>
                <a:gd name="connsiteY298" fmla="*/ 691991 h 1273968"/>
                <a:gd name="connsiteX299" fmla="*/ 163163 w 1489995"/>
                <a:gd name="connsiteY299" fmla="*/ 690753 h 1273968"/>
                <a:gd name="connsiteX300" fmla="*/ 161734 w 1489995"/>
                <a:gd name="connsiteY300" fmla="*/ 692563 h 1273968"/>
                <a:gd name="connsiteX301" fmla="*/ 163925 w 1489995"/>
                <a:gd name="connsiteY301" fmla="*/ 697135 h 1273968"/>
                <a:gd name="connsiteX302" fmla="*/ 144970 w 1489995"/>
                <a:gd name="connsiteY302" fmla="*/ 699516 h 1273968"/>
                <a:gd name="connsiteX303" fmla="*/ 139827 w 1489995"/>
                <a:gd name="connsiteY303" fmla="*/ 696944 h 1273968"/>
                <a:gd name="connsiteX304" fmla="*/ 118777 w 1489995"/>
                <a:gd name="connsiteY304" fmla="*/ 694849 h 1273968"/>
                <a:gd name="connsiteX305" fmla="*/ 118300 w 1489995"/>
                <a:gd name="connsiteY305" fmla="*/ 691706 h 1273968"/>
                <a:gd name="connsiteX306" fmla="*/ 114967 w 1489995"/>
                <a:gd name="connsiteY306" fmla="*/ 690467 h 1273968"/>
                <a:gd name="connsiteX307" fmla="*/ 114586 w 1489995"/>
                <a:gd name="connsiteY307" fmla="*/ 687324 h 1273968"/>
                <a:gd name="connsiteX308" fmla="*/ 109252 w 1489995"/>
                <a:gd name="connsiteY308" fmla="*/ 683228 h 1273968"/>
                <a:gd name="connsiteX309" fmla="*/ 110585 w 1489995"/>
                <a:gd name="connsiteY309" fmla="*/ 681419 h 1273968"/>
                <a:gd name="connsiteX310" fmla="*/ 108680 w 1489995"/>
                <a:gd name="connsiteY310" fmla="*/ 678466 h 1273968"/>
                <a:gd name="connsiteX311" fmla="*/ 103537 w 1489995"/>
                <a:gd name="connsiteY311" fmla="*/ 675894 h 1273968"/>
                <a:gd name="connsiteX312" fmla="*/ 99917 w 1489995"/>
                <a:gd name="connsiteY312" fmla="*/ 673132 h 1273968"/>
                <a:gd name="connsiteX313" fmla="*/ 98393 w 1489995"/>
                <a:gd name="connsiteY313" fmla="*/ 673322 h 1273968"/>
                <a:gd name="connsiteX314" fmla="*/ 94774 w 1489995"/>
                <a:gd name="connsiteY314" fmla="*/ 670655 h 1273968"/>
                <a:gd name="connsiteX315" fmla="*/ 85534 w 1489995"/>
                <a:gd name="connsiteY315" fmla="*/ 673418 h 1273968"/>
                <a:gd name="connsiteX316" fmla="*/ 82772 w 1489995"/>
                <a:gd name="connsiteY316" fmla="*/ 664178 h 1273968"/>
                <a:gd name="connsiteX317" fmla="*/ 78010 w 1489995"/>
                <a:gd name="connsiteY317" fmla="*/ 664750 h 1273968"/>
                <a:gd name="connsiteX318" fmla="*/ 72866 w 1489995"/>
                <a:gd name="connsiteY318" fmla="*/ 662178 h 1273968"/>
                <a:gd name="connsiteX319" fmla="*/ 73438 w 1489995"/>
                <a:gd name="connsiteY319" fmla="*/ 654082 h 1273968"/>
                <a:gd name="connsiteX320" fmla="*/ 76771 w 1489995"/>
                <a:gd name="connsiteY320" fmla="*/ 655225 h 1273968"/>
                <a:gd name="connsiteX321" fmla="*/ 78010 w 1489995"/>
                <a:gd name="connsiteY321" fmla="*/ 651891 h 1273968"/>
                <a:gd name="connsiteX322" fmla="*/ 89249 w 1489995"/>
                <a:gd name="connsiteY322" fmla="*/ 652082 h 1273968"/>
                <a:gd name="connsiteX323" fmla="*/ 97726 w 1489995"/>
                <a:gd name="connsiteY323" fmla="*/ 655796 h 1273968"/>
                <a:gd name="connsiteX324" fmla="*/ 97345 w 1489995"/>
                <a:gd name="connsiteY324" fmla="*/ 652653 h 1273968"/>
                <a:gd name="connsiteX325" fmla="*/ 90583 w 1489995"/>
                <a:gd name="connsiteY325" fmla="*/ 650272 h 1273968"/>
                <a:gd name="connsiteX326" fmla="*/ 89059 w 1489995"/>
                <a:gd name="connsiteY326" fmla="*/ 650462 h 1273968"/>
                <a:gd name="connsiteX327" fmla="*/ 86296 w 1489995"/>
                <a:gd name="connsiteY327" fmla="*/ 641223 h 1273968"/>
                <a:gd name="connsiteX328" fmla="*/ 82867 w 1489995"/>
                <a:gd name="connsiteY328" fmla="*/ 640080 h 1273968"/>
                <a:gd name="connsiteX329" fmla="*/ 70294 w 1489995"/>
                <a:gd name="connsiteY329" fmla="*/ 641699 h 1273968"/>
                <a:gd name="connsiteX330" fmla="*/ 66294 w 1489995"/>
                <a:gd name="connsiteY330" fmla="*/ 648557 h 1273968"/>
                <a:gd name="connsiteX331" fmla="*/ 60007 w 1489995"/>
                <a:gd name="connsiteY331" fmla="*/ 649415 h 1273968"/>
                <a:gd name="connsiteX332" fmla="*/ 56483 w 1489995"/>
                <a:gd name="connsiteY332" fmla="*/ 646652 h 1273968"/>
                <a:gd name="connsiteX333" fmla="*/ 57626 w 1489995"/>
                <a:gd name="connsiteY333" fmla="*/ 643319 h 1273968"/>
                <a:gd name="connsiteX334" fmla="*/ 57245 w 1489995"/>
                <a:gd name="connsiteY334" fmla="*/ 640080 h 1273968"/>
                <a:gd name="connsiteX335" fmla="*/ 54292 w 1489995"/>
                <a:gd name="connsiteY335" fmla="*/ 642080 h 1273968"/>
                <a:gd name="connsiteX336" fmla="*/ 52102 w 1489995"/>
                <a:gd name="connsiteY336" fmla="*/ 637604 h 1273968"/>
                <a:gd name="connsiteX337" fmla="*/ 47815 w 1489995"/>
                <a:gd name="connsiteY337" fmla="*/ 641318 h 1273968"/>
                <a:gd name="connsiteX338" fmla="*/ 32956 w 1489995"/>
                <a:gd name="connsiteY338" fmla="*/ 638365 h 1273968"/>
                <a:gd name="connsiteX339" fmla="*/ 30861 w 1489995"/>
                <a:gd name="connsiteY339" fmla="*/ 646652 h 1273968"/>
                <a:gd name="connsiteX340" fmla="*/ 27622 w 1489995"/>
                <a:gd name="connsiteY340" fmla="*/ 647129 h 1273968"/>
                <a:gd name="connsiteX341" fmla="*/ 25336 w 1489995"/>
                <a:gd name="connsiteY341" fmla="*/ 653796 h 1273968"/>
                <a:gd name="connsiteX342" fmla="*/ 23717 w 1489995"/>
                <a:gd name="connsiteY342" fmla="*/ 653986 h 1273968"/>
                <a:gd name="connsiteX343" fmla="*/ 18764 w 1489995"/>
                <a:gd name="connsiteY343" fmla="*/ 653034 h 1273968"/>
                <a:gd name="connsiteX344" fmla="*/ 17812 w 1489995"/>
                <a:gd name="connsiteY344" fmla="*/ 645128 h 1273968"/>
                <a:gd name="connsiteX345" fmla="*/ 6763 w 1489995"/>
                <a:gd name="connsiteY345" fmla="*/ 646557 h 1273968"/>
                <a:gd name="connsiteX346" fmla="*/ 2191 w 1489995"/>
                <a:gd name="connsiteY346" fmla="*/ 648748 h 1273968"/>
                <a:gd name="connsiteX347" fmla="*/ 667 w 1489995"/>
                <a:gd name="connsiteY347" fmla="*/ 648938 h 1273968"/>
                <a:gd name="connsiteX348" fmla="*/ 0 w 1489995"/>
                <a:gd name="connsiteY348" fmla="*/ 644176 h 1273968"/>
                <a:gd name="connsiteX349" fmla="*/ 4191 w 1489995"/>
                <a:gd name="connsiteY349" fmla="*/ 638842 h 1273968"/>
                <a:gd name="connsiteX350" fmla="*/ 3524 w 1489995"/>
                <a:gd name="connsiteY350" fmla="*/ 634175 h 1273968"/>
                <a:gd name="connsiteX351" fmla="*/ 9430 w 1489995"/>
                <a:gd name="connsiteY351" fmla="*/ 630174 h 1273968"/>
                <a:gd name="connsiteX352" fmla="*/ 10858 w 1489995"/>
                <a:gd name="connsiteY352" fmla="*/ 628364 h 1273968"/>
                <a:gd name="connsiteX353" fmla="*/ 8858 w 1489995"/>
                <a:gd name="connsiteY353" fmla="*/ 625411 h 1273968"/>
                <a:gd name="connsiteX354" fmla="*/ 12954 w 1489995"/>
                <a:gd name="connsiteY354" fmla="*/ 620078 h 1273968"/>
                <a:gd name="connsiteX355" fmla="*/ 12382 w 1489995"/>
                <a:gd name="connsiteY355" fmla="*/ 615410 h 1273968"/>
                <a:gd name="connsiteX356" fmla="*/ 17335 w 1489995"/>
                <a:gd name="connsiteY356" fmla="*/ 616363 h 1273968"/>
                <a:gd name="connsiteX357" fmla="*/ 23622 w 1489995"/>
                <a:gd name="connsiteY357" fmla="*/ 615506 h 1273968"/>
                <a:gd name="connsiteX358" fmla="*/ 24003 w 1489995"/>
                <a:gd name="connsiteY358" fmla="*/ 605885 h 1273968"/>
                <a:gd name="connsiteX359" fmla="*/ 21622 w 1489995"/>
                <a:gd name="connsiteY359" fmla="*/ 599789 h 1273968"/>
                <a:gd name="connsiteX360" fmla="*/ 21431 w 1489995"/>
                <a:gd name="connsiteY360" fmla="*/ 598170 h 1273968"/>
                <a:gd name="connsiteX361" fmla="*/ 16478 w 1489995"/>
                <a:gd name="connsiteY361" fmla="*/ 597218 h 1273968"/>
                <a:gd name="connsiteX362" fmla="*/ 13906 w 1489995"/>
                <a:gd name="connsiteY362" fmla="*/ 589502 h 1273968"/>
                <a:gd name="connsiteX363" fmla="*/ 9811 w 1489995"/>
                <a:gd name="connsiteY363" fmla="*/ 594836 h 1273968"/>
                <a:gd name="connsiteX364" fmla="*/ 7810 w 1489995"/>
                <a:gd name="connsiteY364" fmla="*/ 591884 h 1273968"/>
                <a:gd name="connsiteX365" fmla="*/ 8382 w 1489995"/>
                <a:gd name="connsiteY365" fmla="*/ 583787 h 1273968"/>
                <a:gd name="connsiteX366" fmla="*/ 9144 w 1489995"/>
                <a:gd name="connsiteY366" fmla="*/ 577310 h 1273968"/>
                <a:gd name="connsiteX367" fmla="*/ 7144 w 1489995"/>
                <a:gd name="connsiteY367" fmla="*/ 574358 h 1273968"/>
                <a:gd name="connsiteX368" fmla="*/ 11525 w 1489995"/>
                <a:gd name="connsiteY368" fmla="*/ 570548 h 1273968"/>
                <a:gd name="connsiteX369" fmla="*/ 14859 w 1489995"/>
                <a:gd name="connsiteY369" fmla="*/ 571786 h 1273968"/>
                <a:gd name="connsiteX370" fmla="*/ 17621 w 1489995"/>
                <a:gd name="connsiteY370" fmla="*/ 568166 h 1273968"/>
                <a:gd name="connsiteX371" fmla="*/ 20764 w 1489995"/>
                <a:gd name="connsiteY371" fmla="*/ 567785 h 1273968"/>
                <a:gd name="connsiteX372" fmla="*/ 21526 w 1489995"/>
                <a:gd name="connsiteY372" fmla="*/ 561308 h 1273968"/>
                <a:gd name="connsiteX373" fmla="*/ 31242 w 1489995"/>
                <a:gd name="connsiteY373" fmla="*/ 561689 h 1273968"/>
                <a:gd name="connsiteX374" fmla="*/ 31242 w 1489995"/>
                <a:gd name="connsiteY374" fmla="*/ 561689 h 1273968"/>
                <a:gd name="connsiteX375" fmla="*/ 31432 w 1489995"/>
                <a:gd name="connsiteY375" fmla="*/ 563213 h 1273968"/>
                <a:gd name="connsiteX376" fmla="*/ 41434 w 1489995"/>
                <a:gd name="connsiteY376" fmla="*/ 566738 h 1273968"/>
                <a:gd name="connsiteX377" fmla="*/ 46196 w 1489995"/>
                <a:gd name="connsiteY377" fmla="*/ 566166 h 1273968"/>
                <a:gd name="connsiteX378" fmla="*/ 47149 w 1489995"/>
                <a:gd name="connsiteY378" fmla="*/ 561213 h 1273968"/>
                <a:gd name="connsiteX379" fmla="*/ 45434 w 1489995"/>
                <a:gd name="connsiteY379" fmla="*/ 559880 h 1273968"/>
                <a:gd name="connsiteX380" fmla="*/ 46577 w 1489995"/>
                <a:gd name="connsiteY380" fmla="*/ 556451 h 1273968"/>
                <a:gd name="connsiteX381" fmla="*/ 48387 w 1489995"/>
                <a:gd name="connsiteY381" fmla="*/ 557879 h 1273968"/>
                <a:gd name="connsiteX382" fmla="*/ 53054 w 1489995"/>
                <a:gd name="connsiteY382" fmla="*/ 557213 h 1273968"/>
                <a:gd name="connsiteX383" fmla="*/ 51911 w 1489995"/>
                <a:gd name="connsiteY383" fmla="*/ 547783 h 1273968"/>
                <a:gd name="connsiteX384" fmla="*/ 51721 w 1489995"/>
                <a:gd name="connsiteY384" fmla="*/ 546163 h 1273968"/>
                <a:gd name="connsiteX385" fmla="*/ 52102 w 1489995"/>
                <a:gd name="connsiteY385" fmla="*/ 536543 h 1273968"/>
                <a:gd name="connsiteX386" fmla="*/ 52483 w 1489995"/>
                <a:gd name="connsiteY386" fmla="*/ 539686 h 1273968"/>
                <a:gd name="connsiteX387" fmla="*/ 53816 w 1489995"/>
                <a:gd name="connsiteY387" fmla="*/ 537877 h 1273968"/>
                <a:gd name="connsiteX388" fmla="*/ 56007 w 1489995"/>
                <a:gd name="connsiteY388" fmla="*/ 542449 h 1273968"/>
                <a:gd name="connsiteX389" fmla="*/ 60960 w 1489995"/>
                <a:gd name="connsiteY389" fmla="*/ 543401 h 1273968"/>
                <a:gd name="connsiteX390" fmla="*/ 65913 w 1489995"/>
                <a:gd name="connsiteY390" fmla="*/ 544354 h 1273968"/>
                <a:gd name="connsiteX391" fmla="*/ 66865 w 1489995"/>
                <a:gd name="connsiteY391" fmla="*/ 539496 h 1273968"/>
                <a:gd name="connsiteX392" fmla="*/ 66103 w 1489995"/>
                <a:gd name="connsiteY392" fmla="*/ 533114 h 1273968"/>
                <a:gd name="connsiteX393" fmla="*/ 65246 w 1489995"/>
                <a:gd name="connsiteY393" fmla="*/ 526828 h 1273968"/>
                <a:gd name="connsiteX394" fmla="*/ 60103 w 1489995"/>
                <a:gd name="connsiteY394" fmla="*/ 524256 h 1273968"/>
                <a:gd name="connsiteX395" fmla="*/ 60103 w 1489995"/>
                <a:gd name="connsiteY395" fmla="*/ 524256 h 1273968"/>
                <a:gd name="connsiteX396" fmla="*/ 69628 w 1489995"/>
                <a:gd name="connsiteY396" fmla="*/ 523113 h 1273968"/>
                <a:gd name="connsiteX397" fmla="*/ 70580 w 1489995"/>
                <a:gd name="connsiteY397" fmla="*/ 518160 h 1273968"/>
                <a:gd name="connsiteX398" fmla="*/ 66008 w 1489995"/>
                <a:gd name="connsiteY398" fmla="*/ 507492 h 1273968"/>
                <a:gd name="connsiteX399" fmla="*/ 68770 w 1489995"/>
                <a:gd name="connsiteY399" fmla="*/ 503968 h 1273968"/>
                <a:gd name="connsiteX400" fmla="*/ 66199 w 1489995"/>
                <a:gd name="connsiteY400" fmla="*/ 496253 h 1273968"/>
                <a:gd name="connsiteX401" fmla="*/ 69913 w 1489995"/>
                <a:gd name="connsiteY401" fmla="*/ 500539 h 1273968"/>
                <a:gd name="connsiteX402" fmla="*/ 69723 w 1489995"/>
                <a:gd name="connsiteY402" fmla="*/ 499015 h 1273968"/>
                <a:gd name="connsiteX403" fmla="*/ 77629 w 1489995"/>
                <a:gd name="connsiteY403" fmla="*/ 497967 h 1273968"/>
                <a:gd name="connsiteX404" fmla="*/ 80581 w 1489995"/>
                <a:gd name="connsiteY404" fmla="*/ 496062 h 1273968"/>
                <a:gd name="connsiteX405" fmla="*/ 80391 w 1489995"/>
                <a:gd name="connsiteY405" fmla="*/ 494443 h 1273968"/>
                <a:gd name="connsiteX406" fmla="*/ 83534 w 1489995"/>
                <a:gd name="connsiteY406" fmla="*/ 494062 h 1273968"/>
                <a:gd name="connsiteX407" fmla="*/ 83534 w 1489995"/>
                <a:gd name="connsiteY407" fmla="*/ 494062 h 1273968"/>
                <a:gd name="connsiteX408" fmla="*/ 83153 w 1489995"/>
                <a:gd name="connsiteY408" fmla="*/ 490919 h 1273968"/>
                <a:gd name="connsiteX409" fmla="*/ 87820 w 1489995"/>
                <a:gd name="connsiteY409" fmla="*/ 490252 h 1273968"/>
                <a:gd name="connsiteX410" fmla="*/ 86106 w 1489995"/>
                <a:gd name="connsiteY410" fmla="*/ 488918 h 1273968"/>
                <a:gd name="connsiteX411" fmla="*/ 85249 w 1489995"/>
                <a:gd name="connsiteY411" fmla="*/ 482632 h 1273968"/>
                <a:gd name="connsiteX412" fmla="*/ 86868 w 1489995"/>
                <a:gd name="connsiteY412" fmla="*/ 482346 h 1273968"/>
                <a:gd name="connsiteX413" fmla="*/ 90202 w 1489995"/>
                <a:gd name="connsiteY413" fmla="*/ 483584 h 1273968"/>
                <a:gd name="connsiteX414" fmla="*/ 91345 w 1489995"/>
                <a:gd name="connsiteY414" fmla="*/ 480250 h 1273968"/>
                <a:gd name="connsiteX415" fmla="*/ 97726 w 1489995"/>
                <a:gd name="connsiteY415" fmla="*/ 479393 h 1273968"/>
                <a:gd name="connsiteX416" fmla="*/ 100013 w 1489995"/>
                <a:gd name="connsiteY416" fmla="*/ 472726 h 1273968"/>
                <a:gd name="connsiteX417" fmla="*/ 107728 w 1489995"/>
                <a:gd name="connsiteY417" fmla="*/ 470154 h 1273968"/>
                <a:gd name="connsiteX418" fmla="*/ 110871 w 1489995"/>
                <a:gd name="connsiteY418" fmla="*/ 469678 h 1273968"/>
                <a:gd name="connsiteX419" fmla="*/ 110680 w 1489995"/>
                <a:gd name="connsiteY419" fmla="*/ 468154 h 1273968"/>
                <a:gd name="connsiteX420" fmla="*/ 113633 w 1489995"/>
                <a:gd name="connsiteY420" fmla="*/ 466154 h 1273968"/>
                <a:gd name="connsiteX421" fmla="*/ 113633 w 1489995"/>
                <a:gd name="connsiteY421" fmla="*/ 466154 h 1273968"/>
                <a:gd name="connsiteX422" fmla="*/ 121348 w 1489995"/>
                <a:gd name="connsiteY422" fmla="*/ 476345 h 1273968"/>
                <a:gd name="connsiteX423" fmla="*/ 124777 w 1489995"/>
                <a:gd name="connsiteY423" fmla="*/ 477584 h 1273968"/>
                <a:gd name="connsiteX424" fmla="*/ 127730 w 1489995"/>
                <a:gd name="connsiteY424" fmla="*/ 475583 h 1273968"/>
                <a:gd name="connsiteX425" fmla="*/ 135541 w 1489995"/>
                <a:gd name="connsiteY425" fmla="*/ 474536 h 1273968"/>
                <a:gd name="connsiteX426" fmla="*/ 142684 w 1489995"/>
                <a:gd name="connsiteY426" fmla="*/ 467296 h 1273968"/>
                <a:gd name="connsiteX427" fmla="*/ 147828 w 1489995"/>
                <a:gd name="connsiteY427" fmla="*/ 469773 h 1273968"/>
                <a:gd name="connsiteX428" fmla="*/ 147352 w 1489995"/>
                <a:gd name="connsiteY428" fmla="*/ 466630 h 1273968"/>
                <a:gd name="connsiteX429" fmla="*/ 160782 w 1489995"/>
                <a:gd name="connsiteY429" fmla="*/ 458534 h 1273968"/>
                <a:gd name="connsiteX430" fmla="*/ 156591 w 1489995"/>
                <a:gd name="connsiteY430" fmla="*/ 451009 h 1273968"/>
                <a:gd name="connsiteX431" fmla="*/ 164973 w 1489995"/>
                <a:gd name="connsiteY431" fmla="*/ 453200 h 1273968"/>
                <a:gd name="connsiteX432" fmla="*/ 167926 w 1489995"/>
                <a:gd name="connsiteY432" fmla="*/ 451199 h 1273968"/>
                <a:gd name="connsiteX433" fmla="*/ 171640 w 1489995"/>
                <a:gd name="connsiteY433" fmla="*/ 442722 h 1273968"/>
                <a:gd name="connsiteX434" fmla="*/ 169831 w 1489995"/>
                <a:gd name="connsiteY434" fmla="*/ 441388 h 1273968"/>
                <a:gd name="connsiteX435" fmla="*/ 171164 w 1489995"/>
                <a:gd name="connsiteY435" fmla="*/ 439579 h 1273968"/>
                <a:gd name="connsiteX436" fmla="*/ 171450 w 1489995"/>
                <a:gd name="connsiteY436" fmla="*/ 441103 h 1273968"/>
                <a:gd name="connsiteX437" fmla="*/ 176117 w 1489995"/>
                <a:gd name="connsiteY437" fmla="*/ 440531 h 1273968"/>
                <a:gd name="connsiteX438" fmla="*/ 180308 w 1489995"/>
                <a:gd name="connsiteY438" fmla="*/ 435197 h 1273968"/>
                <a:gd name="connsiteX439" fmla="*/ 192691 w 1489995"/>
                <a:gd name="connsiteY439" fmla="*/ 419195 h 1273968"/>
                <a:gd name="connsiteX440" fmla="*/ 194691 w 1489995"/>
                <a:gd name="connsiteY440" fmla="*/ 422148 h 1273968"/>
                <a:gd name="connsiteX441" fmla="*/ 193262 w 1489995"/>
                <a:gd name="connsiteY441" fmla="*/ 423958 h 1273968"/>
                <a:gd name="connsiteX442" fmla="*/ 193262 w 1489995"/>
                <a:gd name="connsiteY442" fmla="*/ 436721 h 1273968"/>
                <a:gd name="connsiteX443" fmla="*/ 202597 w 1489995"/>
                <a:gd name="connsiteY443" fmla="*/ 433959 h 1273968"/>
                <a:gd name="connsiteX444" fmla="*/ 205930 w 1489995"/>
                <a:gd name="connsiteY444" fmla="*/ 435102 h 1273968"/>
                <a:gd name="connsiteX445" fmla="*/ 211264 w 1489995"/>
                <a:gd name="connsiteY445" fmla="*/ 439293 h 1273968"/>
                <a:gd name="connsiteX446" fmla="*/ 214408 w 1489995"/>
                <a:gd name="connsiteY446" fmla="*/ 438912 h 1273968"/>
                <a:gd name="connsiteX447" fmla="*/ 225076 w 1489995"/>
                <a:gd name="connsiteY447" fmla="*/ 434340 h 1273968"/>
                <a:gd name="connsiteX448" fmla="*/ 242792 w 1489995"/>
                <a:gd name="connsiteY448" fmla="*/ 435292 h 1273968"/>
                <a:gd name="connsiteX449" fmla="*/ 247936 w 1489995"/>
                <a:gd name="connsiteY449" fmla="*/ 437769 h 1273968"/>
                <a:gd name="connsiteX450" fmla="*/ 250317 w 1489995"/>
                <a:gd name="connsiteY450" fmla="*/ 431102 h 1273968"/>
                <a:gd name="connsiteX451" fmla="*/ 251079 w 1489995"/>
                <a:gd name="connsiteY451" fmla="*/ 424529 h 1273968"/>
                <a:gd name="connsiteX452" fmla="*/ 253079 w 1489995"/>
                <a:gd name="connsiteY452" fmla="*/ 427577 h 1273968"/>
                <a:gd name="connsiteX453" fmla="*/ 256794 w 1489995"/>
                <a:gd name="connsiteY453" fmla="*/ 419005 h 1273968"/>
                <a:gd name="connsiteX454" fmla="*/ 258794 w 1489995"/>
                <a:gd name="connsiteY454" fmla="*/ 421958 h 1273968"/>
                <a:gd name="connsiteX455" fmla="*/ 258032 w 1489995"/>
                <a:gd name="connsiteY455" fmla="*/ 428530 h 1273968"/>
                <a:gd name="connsiteX456" fmla="*/ 261175 w 1489995"/>
                <a:gd name="connsiteY456" fmla="*/ 428149 h 1273968"/>
                <a:gd name="connsiteX457" fmla="*/ 263747 w 1489995"/>
                <a:gd name="connsiteY457" fmla="*/ 423005 h 1273968"/>
                <a:gd name="connsiteX458" fmla="*/ 266890 w 1489995"/>
                <a:gd name="connsiteY458" fmla="*/ 422529 h 1273968"/>
                <a:gd name="connsiteX459" fmla="*/ 275177 w 1489995"/>
                <a:gd name="connsiteY459" fmla="*/ 411861 h 1273968"/>
                <a:gd name="connsiteX460" fmla="*/ 280607 w 1489995"/>
                <a:gd name="connsiteY460" fmla="*/ 404813 h 1273968"/>
                <a:gd name="connsiteX461" fmla="*/ 282988 w 1489995"/>
                <a:gd name="connsiteY461" fmla="*/ 398050 h 1273968"/>
                <a:gd name="connsiteX462" fmla="*/ 286131 w 1489995"/>
                <a:gd name="connsiteY462" fmla="*/ 397669 h 1273968"/>
                <a:gd name="connsiteX463" fmla="*/ 292036 w 1489995"/>
                <a:gd name="connsiteY463" fmla="*/ 393668 h 1273968"/>
                <a:gd name="connsiteX464" fmla="*/ 295180 w 1489995"/>
                <a:gd name="connsiteY464" fmla="*/ 393287 h 1273968"/>
                <a:gd name="connsiteX465" fmla="*/ 299180 w 1489995"/>
                <a:gd name="connsiteY465" fmla="*/ 399193 h 1273968"/>
                <a:gd name="connsiteX466" fmla="*/ 300323 w 1489995"/>
                <a:gd name="connsiteY466" fmla="*/ 395859 h 1273968"/>
                <a:gd name="connsiteX467" fmla="*/ 302133 w 1489995"/>
                <a:gd name="connsiteY467" fmla="*/ 397192 h 1273968"/>
                <a:gd name="connsiteX468" fmla="*/ 308705 w 1489995"/>
                <a:gd name="connsiteY468" fmla="*/ 410813 h 1273968"/>
                <a:gd name="connsiteX469" fmla="*/ 307943 w 1489995"/>
                <a:gd name="connsiteY469" fmla="*/ 417386 h 1273968"/>
                <a:gd name="connsiteX470" fmla="*/ 309848 w 1489995"/>
                <a:gd name="connsiteY470" fmla="*/ 420338 h 1273968"/>
                <a:gd name="connsiteX471" fmla="*/ 309848 w 1489995"/>
                <a:gd name="connsiteY471" fmla="*/ 420338 h 1273968"/>
                <a:gd name="connsiteX472" fmla="*/ 326993 w 1489995"/>
                <a:gd name="connsiteY472" fmla="*/ 416528 h 1273968"/>
                <a:gd name="connsiteX473" fmla="*/ 327374 w 1489995"/>
                <a:gd name="connsiteY473" fmla="*/ 406813 h 1273968"/>
                <a:gd name="connsiteX474" fmla="*/ 330327 w 1489995"/>
                <a:gd name="connsiteY474" fmla="*/ 404813 h 1273968"/>
                <a:gd name="connsiteX475" fmla="*/ 327946 w 1489995"/>
                <a:gd name="connsiteY475" fmla="*/ 398717 h 1273968"/>
                <a:gd name="connsiteX476" fmla="*/ 333661 w 1489995"/>
                <a:gd name="connsiteY476" fmla="*/ 393192 h 1273968"/>
                <a:gd name="connsiteX477" fmla="*/ 337661 w 1489995"/>
                <a:gd name="connsiteY477" fmla="*/ 386334 h 1273968"/>
                <a:gd name="connsiteX478" fmla="*/ 343948 w 1489995"/>
                <a:gd name="connsiteY478" fmla="*/ 385477 h 1273968"/>
                <a:gd name="connsiteX479" fmla="*/ 359473 w 1489995"/>
                <a:gd name="connsiteY479" fmla="*/ 381857 h 1273968"/>
                <a:gd name="connsiteX480" fmla="*/ 362712 w 1489995"/>
                <a:gd name="connsiteY480" fmla="*/ 381476 h 1273968"/>
                <a:gd name="connsiteX481" fmla="*/ 361474 w 1489995"/>
                <a:gd name="connsiteY481" fmla="*/ 384810 h 1273968"/>
                <a:gd name="connsiteX482" fmla="*/ 370522 w 1489995"/>
                <a:gd name="connsiteY482" fmla="*/ 380524 h 1273968"/>
                <a:gd name="connsiteX483" fmla="*/ 371761 w 1489995"/>
                <a:gd name="connsiteY483" fmla="*/ 377095 h 1273968"/>
                <a:gd name="connsiteX484" fmla="*/ 376428 w 1489995"/>
                <a:gd name="connsiteY484" fmla="*/ 376523 h 1273968"/>
                <a:gd name="connsiteX485" fmla="*/ 381000 w 1489995"/>
                <a:gd name="connsiteY485" fmla="*/ 374333 h 1273968"/>
                <a:gd name="connsiteX486" fmla="*/ 381762 w 1489995"/>
                <a:gd name="connsiteY486" fmla="*/ 367856 h 1273968"/>
                <a:gd name="connsiteX487" fmla="*/ 384905 w 1489995"/>
                <a:gd name="connsiteY487" fmla="*/ 367475 h 1273968"/>
                <a:gd name="connsiteX488" fmla="*/ 384715 w 1489995"/>
                <a:gd name="connsiteY488" fmla="*/ 365855 h 1273968"/>
                <a:gd name="connsiteX489" fmla="*/ 388048 w 1489995"/>
                <a:gd name="connsiteY489" fmla="*/ 366998 h 1273968"/>
                <a:gd name="connsiteX490" fmla="*/ 390811 w 1489995"/>
                <a:gd name="connsiteY490" fmla="*/ 363474 h 1273968"/>
                <a:gd name="connsiteX491" fmla="*/ 392049 w 1489995"/>
                <a:gd name="connsiteY491" fmla="*/ 360140 h 1273968"/>
                <a:gd name="connsiteX492" fmla="*/ 390811 w 1489995"/>
                <a:gd name="connsiteY492" fmla="*/ 350615 h 1273968"/>
                <a:gd name="connsiteX493" fmla="*/ 390430 w 1489995"/>
                <a:gd name="connsiteY493" fmla="*/ 347472 h 1273968"/>
                <a:gd name="connsiteX494" fmla="*/ 387287 w 1489995"/>
                <a:gd name="connsiteY494" fmla="*/ 347853 h 1273968"/>
                <a:gd name="connsiteX495" fmla="*/ 388810 w 1489995"/>
                <a:gd name="connsiteY495" fmla="*/ 347663 h 1273968"/>
                <a:gd name="connsiteX496" fmla="*/ 388620 w 1489995"/>
                <a:gd name="connsiteY496" fmla="*/ 346138 h 1273968"/>
                <a:gd name="connsiteX497" fmla="*/ 395192 w 1489995"/>
                <a:gd name="connsiteY497" fmla="*/ 346900 h 1273968"/>
                <a:gd name="connsiteX498" fmla="*/ 395383 w 1489995"/>
                <a:gd name="connsiteY498" fmla="*/ 348425 h 1273968"/>
                <a:gd name="connsiteX499" fmla="*/ 401669 w 1489995"/>
                <a:gd name="connsiteY499" fmla="*/ 347663 h 1273968"/>
                <a:gd name="connsiteX500" fmla="*/ 402050 w 1489995"/>
                <a:gd name="connsiteY500" fmla="*/ 350806 h 1273968"/>
                <a:gd name="connsiteX501" fmla="*/ 414909 w 1489995"/>
                <a:gd name="connsiteY501" fmla="*/ 350806 h 1273968"/>
                <a:gd name="connsiteX502" fmla="*/ 418052 w 1489995"/>
                <a:gd name="connsiteY502" fmla="*/ 350425 h 1273968"/>
                <a:gd name="connsiteX503" fmla="*/ 417862 w 1489995"/>
                <a:gd name="connsiteY503" fmla="*/ 348806 h 1273968"/>
                <a:gd name="connsiteX504" fmla="*/ 415862 w 1489995"/>
                <a:gd name="connsiteY504" fmla="*/ 345853 h 1273968"/>
                <a:gd name="connsiteX505" fmla="*/ 417481 w 1489995"/>
                <a:gd name="connsiteY505" fmla="*/ 345662 h 1273968"/>
                <a:gd name="connsiteX506" fmla="*/ 417195 w 1489995"/>
                <a:gd name="connsiteY506" fmla="*/ 344043 h 1273968"/>
                <a:gd name="connsiteX507" fmla="*/ 415480 w 1489995"/>
                <a:gd name="connsiteY507" fmla="*/ 342710 h 1273968"/>
                <a:gd name="connsiteX508" fmla="*/ 417767 w 1489995"/>
                <a:gd name="connsiteY508" fmla="*/ 335947 h 1273968"/>
                <a:gd name="connsiteX509" fmla="*/ 413861 w 1489995"/>
                <a:gd name="connsiteY509" fmla="*/ 330041 h 1273968"/>
                <a:gd name="connsiteX510" fmla="*/ 410718 w 1489995"/>
                <a:gd name="connsiteY510" fmla="*/ 330517 h 1273968"/>
                <a:gd name="connsiteX511" fmla="*/ 408908 w 1489995"/>
                <a:gd name="connsiteY511" fmla="*/ 316230 h 1273968"/>
                <a:gd name="connsiteX512" fmla="*/ 416623 w 1489995"/>
                <a:gd name="connsiteY512" fmla="*/ 313658 h 1273968"/>
                <a:gd name="connsiteX513" fmla="*/ 414814 w 1489995"/>
                <a:gd name="connsiteY513" fmla="*/ 312325 h 1273968"/>
                <a:gd name="connsiteX514" fmla="*/ 419576 w 1489995"/>
                <a:gd name="connsiteY514" fmla="*/ 311753 h 1273968"/>
                <a:gd name="connsiteX515" fmla="*/ 422053 w 1489995"/>
                <a:gd name="connsiteY515" fmla="*/ 306610 h 1273968"/>
                <a:gd name="connsiteX516" fmla="*/ 425196 w 1489995"/>
                <a:gd name="connsiteY516" fmla="*/ 306134 h 1273968"/>
                <a:gd name="connsiteX517" fmla="*/ 427958 w 1489995"/>
                <a:gd name="connsiteY517" fmla="*/ 302609 h 1273968"/>
                <a:gd name="connsiteX518" fmla="*/ 435673 w 1489995"/>
                <a:gd name="connsiteY518" fmla="*/ 300038 h 1273968"/>
                <a:gd name="connsiteX519" fmla="*/ 441388 w 1489995"/>
                <a:gd name="connsiteY519" fmla="*/ 307277 h 1273968"/>
                <a:gd name="connsiteX520" fmla="*/ 444817 w 1489995"/>
                <a:gd name="connsiteY520" fmla="*/ 308515 h 1273968"/>
                <a:gd name="connsiteX521" fmla="*/ 444151 w 1489995"/>
                <a:gd name="connsiteY521" fmla="*/ 303752 h 1273968"/>
                <a:gd name="connsiteX522" fmla="*/ 447294 w 1489995"/>
                <a:gd name="connsiteY522" fmla="*/ 303371 h 1273968"/>
                <a:gd name="connsiteX523" fmla="*/ 447104 w 1489995"/>
                <a:gd name="connsiteY523" fmla="*/ 301752 h 1273968"/>
                <a:gd name="connsiteX524" fmla="*/ 459200 w 1489995"/>
                <a:gd name="connsiteY524" fmla="*/ 308229 h 1273968"/>
                <a:gd name="connsiteX525" fmla="*/ 469011 w 1489995"/>
                <a:gd name="connsiteY525" fmla="*/ 310229 h 1273968"/>
                <a:gd name="connsiteX526" fmla="*/ 471011 w 1489995"/>
                <a:gd name="connsiteY526" fmla="*/ 313182 h 1273968"/>
                <a:gd name="connsiteX527" fmla="*/ 474155 w 1489995"/>
                <a:gd name="connsiteY527" fmla="*/ 312801 h 1273968"/>
                <a:gd name="connsiteX528" fmla="*/ 474631 w 1489995"/>
                <a:gd name="connsiteY528" fmla="*/ 315944 h 1273968"/>
                <a:gd name="connsiteX529" fmla="*/ 476155 w 1489995"/>
                <a:gd name="connsiteY529" fmla="*/ 315754 h 1273968"/>
                <a:gd name="connsiteX530" fmla="*/ 489013 w 1489995"/>
                <a:gd name="connsiteY530" fmla="*/ 315659 h 1273968"/>
                <a:gd name="connsiteX531" fmla="*/ 503396 w 1489995"/>
                <a:gd name="connsiteY531" fmla="*/ 315468 h 1273968"/>
                <a:gd name="connsiteX532" fmla="*/ 503777 w 1489995"/>
                <a:gd name="connsiteY532" fmla="*/ 318611 h 1273968"/>
                <a:gd name="connsiteX533" fmla="*/ 510350 w 1489995"/>
                <a:gd name="connsiteY533" fmla="*/ 319373 h 1273968"/>
                <a:gd name="connsiteX534" fmla="*/ 519970 w 1489995"/>
                <a:gd name="connsiteY534" fmla="*/ 319754 h 1273968"/>
                <a:gd name="connsiteX535" fmla="*/ 521780 w 1489995"/>
                <a:gd name="connsiteY535" fmla="*/ 321088 h 1273968"/>
                <a:gd name="connsiteX536" fmla="*/ 523113 w 1489995"/>
                <a:gd name="connsiteY536" fmla="*/ 319373 h 1273968"/>
                <a:gd name="connsiteX537" fmla="*/ 538925 w 1489995"/>
                <a:gd name="connsiteY537" fmla="*/ 317373 h 1273968"/>
                <a:gd name="connsiteX538" fmla="*/ 540258 w 1489995"/>
                <a:gd name="connsiteY538" fmla="*/ 315563 h 1273968"/>
                <a:gd name="connsiteX539" fmla="*/ 548640 w 1489995"/>
                <a:gd name="connsiteY539" fmla="*/ 317754 h 1273968"/>
                <a:gd name="connsiteX540" fmla="*/ 550926 w 1489995"/>
                <a:gd name="connsiteY540" fmla="*/ 310991 h 1273968"/>
                <a:gd name="connsiteX541" fmla="*/ 548735 w 1489995"/>
                <a:gd name="connsiteY541" fmla="*/ 306419 h 1273968"/>
                <a:gd name="connsiteX542" fmla="*/ 558832 w 1489995"/>
                <a:gd name="connsiteY542" fmla="*/ 310039 h 1273968"/>
                <a:gd name="connsiteX543" fmla="*/ 557498 w 1489995"/>
                <a:gd name="connsiteY543" fmla="*/ 311753 h 1273968"/>
                <a:gd name="connsiteX544" fmla="*/ 561404 w 1489995"/>
                <a:gd name="connsiteY544" fmla="*/ 317659 h 1273968"/>
                <a:gd name="connsiteX545" fmla="*/ 562642 w 1489995"/>
                <a:gd name="connsiteY545" fmla="*/ 314325 h 1273968"/>
                <a:gd name="connsiteX546" fmla="*/ 569500 w 1489995"/>
                <a:gd name="connsiteY546" fmla="*/ 318230 h 1273968"/>
                <a:gd name="connsiteX547" fmla="*/ 569119 w 1489995"/>
                <a:gd name="connsiteY547" fmla="*/ 315087 h 1273968"/>
                <a:gd name="connsiteX548" fmla="*/ 572452 w 1489995"/>
                <a:gd name="connsiteY548" fmla="*/ 316230 h 1273968"/>
                <a:gd name="connsiteX549" fmla="*/ 573405 w 1489995"/>
                <a:gd name="connsiteY549" fmla="*/ 311372 h 1273968"/>
                <a:gd name="connsiteX550" fmla="*/ 589026 w 1489995"/>
                <a:gd name="connsiteY550" fmla="*/ 320611 h 1273968"/>
                <a:gd name="connsiteX551" fmla="*/ 593979 w 1489995"/>
                <a:gd name="connsiteY551" fmla="*/ 321564 h 1273968"/>
                <a:gd name="connsiteX552" fmla="*/ 594360 w 1489995"/>
                <a:gd name="connsiteY552" fmla="*/ 324707 h 1273968"/>
                <a:gd name="connsiteX553" fmla="*/ 596170 w 1489995"/>
                <a:gd name="connsiteY553" fmla="*/ 326041 h 1273968"/>
                <a:gd name="connsiteX554" fmla="*/ 599694 w 1489995"/>
                <a:gd name="connsiteY554" fmla="*/ 316040 h 1273968"/>
                <a:gd name="connsiteX555" fmla="*/ 601313 w 1489995"/>
                <a:gd name="connsiteY555" fmla="*/ 315849 h 1273968"/>
                <a:gd name="connsiteX556" fmla="*/ 605600 w 1489995"/>
                <a:gd name="connsiteY556" fmla="*/ 312039 h 1273968"/>
                <a:gd name="connsiteX557" fmla="*/ 605218 w 1489995"/>
                <a:gd name="connsiteY557" fmla="*/ 308896 h 1273968"/>
                <a:gd name="connsiteX558" fmla="*/ 608933 w 1489995"/>
                <a:gd name="connsiteY558" fmla="*/ 300419 h 1273968"/>
                <a:gd name="connsiteX559" fmla="*/ 610743 w 1489995"/>
                <a:gd name="connsiteY559" fmla="*/ 301752 h 1273968"/>
                <a:gd name="connsiteX560" fmla="*/ 614839 w 1489995"/>
                <a:gd name="connsiteY560" fmla="*/ 296418 h 1273968"/>
                <a:gd name="connsiteX561" fmla="*/ 621983 w 1489995"/>
                <a:gd name="connsiteY561" fmla="*/ 301942 h 1273968"/>
                <a:gd name="connsiteX562" fmla="*/ 626935 w 1489995"/>
                <a:gd name="connsiteY562" fmla="*/ 302895 h 1273968"/>
                <a:gd name="connsiteX563" fmla="*/ 628269 w 1489995"/>
                <a:gd name="connsiteY563" fmla="*/ 301181 h 1273968"/>
                <a:gd name="connsiteX564" fmla="*/ 628079 w 1489995"/>
                <a:gd name="connsiteY564" fmla="*/ 299561 h 1273968"/>
                <a:gd name="connsiteX565" fmla="*/ 633222 w 1489995"/>
                <a:gd name="connsiteY565" fmla="*/ 302133 h 1273968"/>
                <a:gd name="connsiteX566" fmla="*/ 637984 w 1489995"/>
                <a:gd name="connsiteY566" fmla="*/ 301561 h 1273968"/>
                <a:gd name="connsiteX567" fmla="*/ 635794 w 1489995"/>
                <a:gd name="connsiteY567" fmla="*/ 296990 h 1273968"/>
                <a:gd name="connsiteX568" fmla="*/ 647224 w 1489995"/>
                <a:gd name="connsiteY568" fmla="*/ 298704 h 1273968"/>
                <a:gd name="connsiteX569" fmla="*/ 646652 w 1489995"/>
                <a:gd name="connsiteY569" fmla="*/ 294037 h 1273968"/>
                <a:gd name="connsiteX570" fmla="*/ 649986 w 1489995"/>
                <a:gd name="connsiteY570" fmla="*/ 295180 h 1273968"/>
                <a:gd name="connsiteX571" fmla="*/ 651319 w 1489995"/>
                <a:gd name="connsiteY571" fmla="*/ 293370 h 1273968"/>
                <a:gd name="connsiteX572" fmla="*/ 657892 w 1489995"/>
                <a:gd name="connsiteY572" fmla="*/ 294132 h 1273968"/>
                <a:gd name="connsiteX573" fmla="*/ 658082 w 1489995"/>
                <a:gd name="connsiteY573" fmla="*/ 295751 h 1273968"/>
                <a:gd name="connsiteX574" fmla="*/ 661416 w 1489995"/>
                <a:gd name="connsiteY574" fmla="*/ 296894 h 1273968"/>
                <a:gd name="connsiteX575" fmla="*/ 661606 w 1489995"/>
                <a:gd name="connsiteY575" fmla="*/ 298513 h 1273968"/>
                <a:gd name="connsiteX576" fmla="*/ 664940 w 1489995"/>
                <a:gd name="connsiteY576" fmla="*/ 299657 h 1273968"/>
                <a:gd name="connsiteX577" fmla="*/ 665607 w 1489995"/>
                <a:gd name="connsiteY577" fmla="*/ 304419 h 1273968"/>
                <a:gd name="connsiteX578" fmla="*/ 666750 w 1489995"/>
                <a:gd name="connsiteY578" fmla="*/ 301085 h 1273968"/>
                <a:gd name="connsiteX579" fmla="*/ 670084 w 1489995"/>
                <a:gd name="connsiteY579" fmla="*/ 302228 h 1273968"/>
                <a:gd name="connsiteX580" fmla="*/ 666559 w 1489995"/>
                <a:gd name="connsiteY580" fmla="*/ 299466 h 1273968"/>
                <a:gd name="connsiteX581" fmla="*/ 669703 w 1489995"/>
                <a:gd name="connsiteY581" fmla="*/ 299085 h 1273968"/>
                <a:gd name="connsiteX582" fmla="*/ 671513 w 1489995"/>
                <a:gd name="connsiteY582" fmla="*/ 300419 h 1273968"/>
                <a:gd name="connsiteX583" fmla="*/ 670084 w 1489995"/>
                <a:gd name="connsiteY583" fmla="*/ 302228 h 1273968"/>
                <a:gd name="connsiteX584" fmla="*/ 670274 w 1489995"/>
                <a:gd name="connsiteY584" fmla="*/ 303848 h 1273968"/>
                <a:gd name="connsiteX585" fmla="*/ 674656 w 1489995"/>
                <a:gd name="connsiteY585" fmla="*/ 300038 h 1273968"/>
                <a:gd name="connsiteX586" fmla="*/ 676180 w 1489995"/>
                <a:gd name="connsiteY586" fmla="*/ 299847 h 1273968"/>
                <a:gd name="connsiteX587" fmla="*/ 681323 w 1489995"/>
                <a:gd name="connsiteY587" fmla="*/ 289560 h 1273968"/>
                <a:gd name="connsiteX588" fmla="*/ 679704 w 1489995"/>
                <a:gd name="connsiteY588" fmla="*/ 289750 h 1273968"/>
                <a:gd name="connsiteX589" fmla="*/ 680752 w 1489995"/>
                <a:gd name="connsiteY589" fmla="*/ 284798 h 1273968"/>
                <a:gd name="connsiteX590" fmla="*/ 679133 w 1489995"/>
                <a:gd name="connsiteY590" fmla="*/ 285083 h 1273968"/>
                <a:gd name="connsiteX591" fmla="*/ 680561 w 1489995"/>
                <a:gd name="connsiteY591" fmla="*/ 283273 h 1273968"/>
                <a:gd name="connsiteX592" fmla="*/ 677132 w 1489995"/>
                <a:gd name="connsiteY592" fmla="*/ 282131 h 1273968"/>
                <a:gd name="connsiteX593" fmla="*/ 678561 w 1489995"/>
                <a:gd name="connsiteY593" fmla="*/ 280321 h 1273968"/>
                <a:gd name="connsiteX594" fmla="*/ 677323 w 1489995"/>
                <a:gd name="connsiteY594" fmla="*/ 270796 h 1273968"/>
                <a:gd name="connsiteX595" fmla="*/ 684085 w 1489995"/>
                <a:gd name="connsiteY595" fmla="*/ 273177 h 1273968"/>
                <a:gd name="connsiteX596" fmla="*/ 683800 w 1489995"/>
                <a:gd name="connsiteY596" fmla="*/ 258794 h 1273968"/>
                <a:gd name="connsiteX597" fmla="*/ 683228 w 1489995"/>
                <a:gd name="connsiteY597" fmla="*/ 254032 h 1273968"/>
                <a:gd name="connsiteX598" fmla="*/ 684752 w 1489995"/>
                <a:gd name="connsiteY598" fmla="*/ 253841 h 1273968"/>
                <a:gd name="connsiteX599" fmla="*/ 685990 w 1489995"/>
                <a:gd name="connsiteY599" fmla="*/ 250508 h 1273968"/>
                <a:gd name="connsiteX600" fmla="*/ 682371 w 1489995"/>
                <a:gd name="connsiteY600" fmla="*/ 247745 h 1273968"/>
                <a:gd name="connsiteX601" fmla="*/ 679037 w 1489995"/>
                <a:gd name="connsiteY601" fmla="*/ 246602 h 1273968"/>
                <a:gd name="connsiteX602" fmla="*/ 678466 w 1489995"/>
                <a:gd name="connsiteY602" fmla="*/ 241840 h 1273968"/>
                <a:gd name="connsiteX603" fmla="*/ 674942 w 1489995"/>
                <a:gd name="connsiteY603" fmla="*/ 239077 h 1273968"/>
                <a:gd name="connsiteX604" fmla="*/ 674465 w 1489995"/>
                <a:gd name="connsiteY604" fmla="*/ 235934 h 1273968"/>
                <a:gd name="connsiteX605" fmla="*/ 678847 w 1489995"/>
                <a:gd name="connsiteY605" fmla="*/ 232124 h 1273968"/>
                <a:gd name="connsiteX606" fmla="*/ 680847 w 1489995"/>
                <a:gd name="connsiteY606" fmla="*/ 235077 h 1273968"/>
                <a:gd name="connsiteX607" fmla="*/ 683800 w 1489995"/>
                <a:gd name="connsiteY607" fmla="*/ 233172 h 1273968"/>
                <a:gd name="connsiteX608" fmla="*/ 680180 w 1489995"/>
                <a:gd name="connsiteY608" fmla="*/ 230410 h 1273968"/>
                <a:gd name="connsiteX609" fmla="*/ 679799 w 1489995"/>
                <a:gd name="connsiteY609" fmla="*/ 227267 h 1273968"/>
                <a:gd name="connsiteX610" fmla="*/ 676275 w 1489995"/>
                <a:gd name="connsiteY610" fmla="*/ 224504 h 1273968"/>
                <a:gd name="connsiteX611" fmla="*/ 677418 w 1489995"/>
                <a:gd name="connsiteY611" fmla="*/ 221075 h 1273968"/>
                <a:gd name="connsiteX612" fmla="*/ 679228 w 1489995"/>
                <a:gd name="connsiteY612" fmla="*/ 222504 h 1273968"/>
                <a:gd name="connsiteX613" fmla="*/ 678751 w 1489995"/>
                <a:gd name="connsiteY613" fmla="*/ 219361 h 1273968"/>
                <a:gd name="connsiteX614" fmla="*/ 677037 w 1489995"/>
                <a:gd name="connsiteY614" fmla="*/ 217932 h 1273968"/>
                <a:gd name="connsiteX615" fmla="*/ 676847 w 1489995"/>
                <a:gd name="connsiteY615" fmla="*/ 216408 h 1273968"/>
                <a:gd name="connsiteX616" fmla="*/ 673227 w 1489995"/>
                <a:gd name="connsiteY616" fmla="*/ 213646 h 1273968"/>
                <a:gd name="connsiteX617" fmla="*/ 673037 w 1489995"/>
                <a:gd name="connsiteY617" fmla="*/ 212027 h 1273968"/>
                <a:gd name="connsiteX618" fmla="*/ 675989 w 1489995"/>
                <a:gd name="connsiteY618" fmla="*/ 210026 h 1273968"/>
                <a:gd name="connsiteX619" fmla="*/ 679133 w 1489995"/>
                <a:gd name="connsiteY619" fmla="*/ 209645 h 1273968"/>
                <a:gd name="connsiteX620" fmla="*/ 680371 w 1489995"/>
                <a:gd name="connsiteY620" fmla="*/ 206311 h 1273968"/>
                <a:gd name="connsiteX621" fmla="*/ 683323 w 1489995"/>
                <a:gd name="connsiteY621" fmla="*/ 204311 h 1273968"/>
                <a:gd name="connsiteX622" fmla="*/ 695992 w 1489995"/>
                <a:gd name="connsiteY622" fmla="*/ 215551 h 1273968"/>
                <a:gd name="connsiteX623" fmla="*/ 711137 w 1489995"/>
                <a:gd name="connsiteY623" fmla="*/ 221647 h 1273968"/>
                <a:gd name="connsiteX624" fmla="*/ 712375 w 1489995"/>
                <a:gd name="connsiteY624" fmla="*/ 218313 h 1273968"/>
                <a:gd name="connsiteX625" fmla="*/ 715709 w 1489995"/>
                <a:gd name="connsiteY625" fmla="*/ 219456 h 1273968"/>
                <a:gd name="connsiteX626" fmla="*/ 712089 w 1489995"/>
                <a:gd name="connsiteY626" fmla="*/ 216694 h 1273968"/>
                <a:gd name="connsiteX627" fmla="*/ 714851 w 1489995"/>
                <a:gd name="connsiteY627" fmla="*/ 213169 h 1273968"/>
                <a:gd name="connsiteX628" fmla="*/ 713137 w 1489995"/>
                <a:gd name="connsiteY628" fmla="*/ 211741 h 1273968"/>
                <a:gd name="connsiteX629" fmla="*/ 708374 w 1489995"/>
                <a:gd name="connsiteY629" fmla="*/ 212312 h 1273968"/>
                <a:gd name="connsiteX630" fmla="*/ 706564 w 1489995"/>
                <a:gd name="connsiteY630" fmla="*/ 210979 h 1273968"/>
                <a:gd name="connsiteX631" fmla="*/ 710755 w 1489995"/>
                <a:gd name="connsiteY631" fmla="*/ 205645 h 1273968"/>
                <a:gd name="connsiteX632" fmla="*/ 714280 w 1489995"/>
                <a:gd name="connsiteY632" fmla="*/ 208407 h 1273968"/>
                <a:gd name="connsiteX633" fmla="*/ 715423 w 1489995"/>
                <a:gd name="connsiteY633" fmla="*/ 205073 h 1273968"/>
                <a:gd name="connsiteX634" fmla="*/ 712089 w 1489995"/>
                <a:gd name="connsiteY634" fmla="*/ 203835 h 1273968"/>
                <a:gd name="connsiteX635" fmla="*/ 713708 w 1489995"/>
                <a:gd name="connsiteY635" fmla="*/ 203644 h 1273968"/>
                <a:gd name="connsiteX636" fmla="*/ 718185 w 1489995"/>
                <a:gd name="connsiteY636" fmla="*/ 201454 h 1273968"/>
                <a:gd name="connsiteX637" fmla="*/ 716185 w 1489995"/>
                <a:gd name="connsiteY637" fmla="*/ 185738 h 1273968"/>
                <a:gd name="connsiteX638" fmla="*/ 726853 w 1489995"/>
                <a:gd name="connsiteY638" fmla="*/ 193929 h 1273968"/>
                <a:gd name="connsiteX639" fmla="*/ 734759 w 1489995"/>
                <a:gd name="connsiteY639" fmla="*/ 192977 h 1273968"/>
                <a:gd name="connsiteX640" fmla="*/ 733806 w 1489995"/>
                <a:gd name="connsiteY640" fmla="*/ 185071 h 1273968"/>
                <a:gd name="connsiteX641" fmla="*/ 742474 w 1489995"/>
                <a:gd name="connsiteY641" fmla="*/ 190405 h 1273968"/>
                <a:gd name="connsiteX642" fmla="*/ 750570 w 1489995"/>
                <a:gd name="connsiteY642" fmla="*/ 190976 h 1273968"/>
                <a:gd name="connsiteX643" fmla="*/ 749141 w 1489995"/>
                <a:gd name="connsiteY643" fmla="*/ 179927 h 1273968"/>
                <a:gd name="connsiteX644" fmla="*/ 750284 w 1489995"/>
                <a:gd name="connsiteY644" fmla="*/ 176498 h 1273968"/>
                <a:gd name="connsiteX645" fmla="*/ 749713 w 1489995"/>
                <a:gd name="connsiteY645" fmla="*/ 171831 h 1273968"/>
                <a:gd name="connsiteX646" fmla="*/ 750856 w 1489995"/>
                <a:gd name="connsiteY646" fmla="*/ 168497 h 1273968"/>
                <a:gd name="connsiteX647" fmla="*/ 745998 w 1489995"/>
                <a:gd name="connsiteY647" fmla="*/ 167450 h 1273968"/>
                <a:gd name="connsiteX648" fmla="*/ 749141 w 1489995"/>
                <a:gd name="connsiteY648" fmla="*/ 167069 h 1273968"/>
                <a:gd name="connsiteX649" fmla="*/ 749522 w 1489995"/>
                <a:gd name="connsiteY649" fmla="*/ 157448 h 1273968"/>
                <a:gd name="connsiteX650" fmla="*/ 738759 w 1489995"/>
                <a:gd name="connsiteY650" fmla="*/ 136303 h 1273968"/>
                <a:gd name="connsiteX651" fmla="*/ 751237 w 1489995"/>
                <a:gd name="connsiteY651" fmla="*/ 133160 h 1273968"/>
                <a:gd name="connsiteX652" fmla="*/ 748189 w 1489995"/>
                <a:gd name="connsiteY652" fmla="*/ 122301 h 1273968"/>
                <a:gd name="connsiteX653" fmla="*/ 760095 w 1489995"/>
                <a:gd name="connsiteY653" fmla="*/ 127159 h 1273968"/>
                <a:gd name="connsiteX654" fmla="*/ 761619 w 1489995"/>
                <a:gd name="connsiteY654" fmla="*/ 126968 h 1273968"/>
                <a:gd name="connsiteX655" fmla="*/ 760857 w 1489995"/>
                <a:gd name="connsiteY655" fmla="*/ 133540 h 1273968"/>
                <a:gd name="connsiteX656" fmla="*/ 767429 w 1489995"/>
                <a:gd name="connsiteY656" fmla="*/ 134302 h 1273968"/>
                <a:gd name="connsiteX657" fmla="*/ 766001 w 1489995"/>
                <a:gd name="connsiteY657" fmla="*/ 136017 h 1273968"/>
                <a:gd name="connsiteX658" fmla="*/ 769810 w 1489995"/>
                <a:gd name="connsiteY658" fmla="*/ 140398 h 1273968"/>
                <a:gd name="connsiteX659" fmla="*/ 772097 w 1489995"/>
                <a:gd name="connsiteY659" fmla="*/ 133636 h 1273968"/>
                <a:gd name="connsiteX660" fmla="*/ 770382 w 1489995"/>
                <a:gd name="connsiteY660" fmla="*/ 132302 h 1273968"/>
                <a:gd name="connsiteX661" fmla="*/ 775430 w 1489995"/>
                <a:gd name="connsiteY661" fmla="*/ 122015 h 1273968"/>
                <a:gd name="connsiteX662" fmla="*/ 786479 w 1489995"/>
                <a:gd name="connsiteY662" fmla="*/ 120586 h 1273968"/>
                <a:gd name="connsiteX663" fmla="*/ 783526 w 1489995"/>
                <a:gd name="connsiteY663" fmla="*/ 122587 h 1273968"/>
                <a:gd name="connsiteX664" fmla="*/ 787337 w 1489995"/>
                <a:gd name="connsiteY664" fmla="*/ 126968 h 1273968"/>
                <a:gd name="connsiteX665" fmla="*/ 789908 w 1489995"/>
                <a:gd name="connsiteY665" fmla="*/ 134588 h 1273968"/>
                <a:gd name="connsiteX666" fmla="*/ 791623 w 1489995"/>
                <a:gd name="connsiteY666" fmla="*/ 136017 h 1273968"/>
                <a:gd name="connsiteX667" fmla="*/ 799909 w 1489995"/>
                <a:gd name="connsiteY667" fmla="*/ 138113 h 1273968"/>
                <a:gd name="connsiteX668" fmla="*/ 804672 w 1489995"/>
                <a:gd name="connsiteY668" fmla="*/ 137541 h 1273968"/>
                <a:gd name="connsiteX669" fmla="*/ 807434 w 1489995"/>
                <a:gd name="connsiteY669" fmla="*/ 134017 h 1273968"/>
                <a:gd name="connsiteX670" fmla="*/ 801910 w 1489995"/>
                <a:gd name="connsiteY670" fmla="*/ 128302 h 1273968"/>
                <a:gd name="connsiteX671" fmla="*/ 801719 w 1489995"/>
                <a:gd name="connsiteY671" fmla="*/ 126683 h 1273968"/>
                <a:gd name="connsiteX672" fmla="*/ 811339 w 1489995"/>
                <a:gd name="connsiteY672" fmla="*/ 127063 h 1273968"/>
                <a:gd name="connsiteX673" fmla="*/ 812768 w 1489995"/>
                <a:gd name="connsiteY673" fmla="*/ 125254 h 1273968"/>
                <a:gd name="connsiteX674" fmla="*/ 815340 w 1489995"/>
                <a:gd name="connsiteY674" fmla="*/ 120110 h 1273968"/>
                <a:gd name="connsiteX675" fmla="*/ 821817 w 1489995"/>
                <a:gd name="connsiteY675" fmla="*/ 120967 h 1273968"/>
                <a:gd name="connsiteX676" fmla="*/ 823436 w 1489995"/>
                <a:gd name="connsiteY676" fmla="*/ 120682 h 1273968"/>
                <a:gd name="connsiteX677" fmla="*/ 823627 w 1489995"/>
                <a:gd name="connsiteY677" fmla="*/ 122301 h 1273968"/>
                <a:gd name="connsiteX678" fmla="*/ 822198 w 1489995"/>
                <a:gd name="connsiteY678" fmla="*/ 124111 h 1273968"/>
                <a:gd name="connsiteX679" fmla="*/ 822865 w 1489995"/>
                <a:gd name="connsiteY679" fmla="*/ 128778 h 1273968"/>
                <a:gd name="connsiteX680" fmla="*/ 821436 w 1489995"/>
                <a:gd name="connsiteY680" fmla="*/ 130588 h 1273968"/>
                <a:gd name="connsiteX681" fmla="*/ 826960 w 1489995"/>
                <a:gd name="connsiteY681" fmla="*/ 136303 h 1273968"/>
                <a:gd name="connsiteX682" fmla="*/ 825246 w 1489995"/>
                <a:gd name="connsiteY682" fmla="*/ 134969 h 1273968"/>
                <a:gd name="connsiteX683" fmla="*/ 822484 w 1489995"/>
                <a:gd name="connsiteY683" fmla="*/ 138494 h 1273968"/>
                <a:gd name="connsiteX684" fmla="*/ 821436 w 1489995"/>
                <a:gd name="connsiteY684" fmla="*/ 143446 h 1273968"/>
                <a:gd name="connsiteX685" fmla="*/ 823246 w 1489995"/>
                <a:gd name="connsiteY685" fmla="*/ 144780 h 1273968"/>
                <a:gd name="connsiteX686" fmla="*/ 824675 w 1489995"/>
                <a:gd name="connsiteY686" fmla="*/ 155829 h 1273968"/>
                <a:gd name="connsiteX687" fmla="*/ 830199 w 1489995"/>
                <a:gd name="connsiteY687" fmla="*/ 161544 h 1273968"/>
                <a:gd name="connsiteX688" fmla="*/ 831818 w 1489995"/>
                <a:gd name="connsiteY688" fmla="*/ 161354 h 1273968"/>
                <a:gd name="connsiteX689" fmla="*/ 832771 w 1489995"/>
                <a:gd name="connsiteY689" fmla="*/ 156400 h 1273968"/>
                <a:gd name="connsiteX690" fmla="*/ 834771 w 1489995"/>
                <a:gd name="connsiteY690" fmla="*/ 159353 h 1273968"/>
                <a:gd name="connsiteX691" fmla="*/ 836105 w 1489995"/>
                <a:gd name="connsiteY691" fmla="*/ 157639 h 1273968"/>
                <a:gd name="connsiteX692" fmla="*/ 836295 w 1489995"/>
                <a:gd name="connsiteY692" fmla="*/ 159163 h 1273968"/>
                <a:gd name="connsiteX693" fmla="*/ 839438 w 1489995"/>
                <a:gd name="connsiteY693" fmla="*/ 158782 h 1273968"/>
                <a:gd name="connsiteX694" fmla="*/ 838105 w 1489995"/>
                <a:gd name="connsiteY694" fmla="*/ 160592 h 1273968"/>
                <a:gd name="connsiteX695" fmla="*/ 838105 w 1489995"/>
                <a:gd name="connsiteY695" fmla="*/ 160592 h 1273968"/>
                <a:gd name="connsiteX696" fmla="*/ 843248 w 1489995"/>
                <a:gd name="connsiteY696" fmla="*/ 163068 h 1273968"/>
                <a:gd name="connsiteX697" fmla="*/ 845248 w 1489995"/>
                <a:gd name="connsiteY697" fmla="*/ 166021 h 1273968"/>
                <a:gd name="connsiteX698" fmla="*/ 847915 w 1489995"/>
                <a:gd name="connsiteY698" fmla="*/ 162496 h 1273968"/>
                <a:gd name="connsiteX699" fmla="*/ 845820 w 1489995"/>
                <a:gd name="connsiteY699" fmla="*/ 157925 h 1273968"/>
                <a:gd name="connsiteX700" fmla="*/ 849916 w 1489995"/>
                <a:gd name="connsiteY700" fmla="*/ 152590 h 1273968"/>
                <a:gd name="connsiteX701" fmla="*/ 850297 w 1489995"/>
                <a:gd name="connsiteY701" fmla="*/ 155829 h 1273968"/>
                <a:gd name="connsiteX702" fmla="*/ 856869 w 1489995"/>
                <a:gd name="connsiteY702" fmla="*/ 156591 h 1273968"/>
                <a:gd name="connsiteX703" fmla="*/ 858393 w 1489995"/>
                <a:gd name="connsiteY703" fmla="*/ 156400 h 1273968"/>
                <a:gd name="connsiteX704" fmla="*/ 859155 w 1489995"/>
                <a:gd name="connsiteY704" fmla="*/ 149828 h 1273968"/>
                <a:gd name="connsiteX705" fmla="*/ 864108 w 1489995"/>
                <a:gd name="connsiteY705" fmla="*/ 150781 h 1273968"/>
                <a:gd name="connsiteX706" fmla="*/ 866299 w 1489995"/>
                <a:gd name="connsiteY706" fmla="*/ 155353 h 1273968"/>
                <a:gd name="connsiteX707" fmla="*/ 871252 w 1489995"/>
                <a:gd name="connsiteY707" fmla="*/ 156305 h 1273968"/>
                <a:gd name="connsiteX708" fmla="*/ 870585 w 1489995"/>
                <a:gd name="connsiteY708" fmla="*/ 151638 h 1273968"/>
                <a:gd name="connsiteX709" fmla="*/ 872014 w 1489995"/>
                <a:gd name="connsiteY709" fmla="*/ 149828 h 1273968"/>
                <a:gd name="connsiteX710" fmla="*/ 883444 w 1489995"/>
                <a:gd name="connsiteY710" fmla="*/ 151543 h 1273968"/>
                <a:gd name="connsiteX711" fmla="*/ 889730 w 1489995"/>
                <a:gd name="connsiteY711" fmla="*/ 150781 h 1273968"/>
                <a:gd name="connsiteX712" fmla="*/ 889540 w 1489995"/>
                <a:gd name="connsiteY712" fmla="*/ 149161 h 1273968"/>
                <a:gd name="connsiteX713" fmla="*/ 900017 w 1489995"/>
                <a:gd name="connsiteY713" fmla="*/ 155829 h 1273968"/>
                <a:gd name="connsiteX714" fmla="*/ 900017 w 1489995"/>
                <a:gd name="connsiteY714" fmla="*/ 155829 h 1273968"/>
                <a:gd name="connsiteX715" fmla="*/ 900779 w 1489995"/>
                <a:gd name="connsiteY715" fmla="*/ 155543 h 1273968"/>
                <a:gd name="connsiteX716" fmla="*/ 901446 w 1489995"/>
                <a:gd name="connsiteY716" fmla="*/ 154115 h 1273968"/>
                <a:gd name="connsiteX717" fmla="*/ 898398 w 1489995"/>
                <a:gd name="connsiteY717" fmla="*/ 143256 h 1273968"/>
                <a:gd name="connsiteX718" fmla="*/ 904494 w 1489995"/>
                <a:gd name="connsiteY718" fmla="*/ 140875 h 1273968"/>
                <a:gd name="connsiteX719" fmla="*/ 904304 w 1489995"/>
                <a:gd name="connsiteY719" fmla="*/ 139256 h 1273968"/>
                <a:gd name="connsiteX720" fmla="*/ 914019 w 1489995"/>
                <a:gd name="connsiteY720" fmla="*/ 139636 h 1273968"/>
                <a:gd name="connsiteX721" fmla="*/ 916781 w 1489995"/>
                <a:gd name="connsiteY721" fmla="*/ 136112 h 1273968"/>
                <a:gd name="connsiteX722" fmla="*/ 920115 w 1489995"/>
                <a:gd name="connsiteY722" fmla="*/ 137255 h 1273968"/>
                <a:gd name="connsiteX723" fmla="*/ 923830 w 1489995"/>
                <a:gd name="connsiteY723" fmla="*/ 115919 h 1273968"/>
                <a:gd name="connsiteX724" fmla="*/ 923449 w 1489995"/>
                <a:gd name="connsiteY724" fmla="*/ 112776 h 1273968"/>
                <a:gd name="connsiteX725" fmla="*/ 943165 w 1489995"/>
                <a:gd name="connsiteY725" fmla="*/ 116681 h 1273968"/>
                <a:gd name="connsiteX726" fmla="*/ 944309 w 1489995"/>
                <a:gd name="connsiteY726" fmla="*/ 113348 h 1273968"/>
                <a:gd name="connsiteX727" fmla="*/ 946309 w 1489995"/>
                <a:gd name="connsiteY727" fmla="*/ 103442 h 1273968"/>
                <a:gd name="connsiteX728" fmla="*/ 940308 w 1489995"/>
                <a:gd name="connsiteY728" fmla="*/ 81820 h 1273968"/>
                <a:gd name="connsiteX729" fmla="*/ 940498 w 1489995"/>
                <a:gd name="connsiteY729" fmla="*/ 70485 h 1273968"/>
                <a:gd name="connsiteX730" fmla="*/ 975074 w 1489995"/>
                <a:gd name="connsiteY730" fmla="*/ 77343 h 1273968"/>
                <a:gd name="connsiteX731" fmla="*/ 994410 w 1489995"/>
                <a:gd name="connsiteY731" fmla="*/ 90869 h 1273968"/>
                <a:gd name="connsiteX732" fmla="*/ 1008602 w 1489995"/>
                <a:gd name="connsiteY732" fmla="*/ 76295 h 1273968"/>
                <a:gd name="connsiteX733" fmla="*/ 1011746 w 1489995"/>
                <a:gd name="connsiteY733" fmla="*/ 75914 h 1273968"/>
                <a:gd name="connsiteX734" fmla="*/ 1014508 w 1489995"/>
                <a:gd name="connsiteY734" fmla="*/ 72295 h 1273968"/>
                <a:gd name="connsiteX735" fmla="*/ 1015651 w 1489995"/>
                <a:gd name="connsiteY735" fmla="*/ 68961 h 1273968"/>
                <a:gd name="connsiteX736" fmla="*/ 1013651 w 1489995"/>
                <a:gd name="connsiteY736" fmla="*/ 66008 h 1273968"/>
                <a:gd name="connsiteX737" fmla="*/ 1008317 w 1489995"/>
                <a:gd name="connsiteY737" fmla="*/ 61913 h 1273968"/>
                <a:gd name="connsiteX738" fmla="*/ 1009269 w 1489995"/>
                <a:gd name="connsiteY738" fmla="*/ 56959 h 1273968"/>
                <a:gd name="connsiteX739" fmla="*/ 1007364 w 1489995"/>
                <a:gd name="connsiteY739" fmla="*/ 54007 h 1273968"/>
                <a:gd name="connsiteX740" fmla="*/ 1019747 w 1489995"/>
                <a:gd name="connsiteY740" fmla="*/ 50768 h 1273968"/>
                <a:gd name="connsiteX741" fmla="*/ 1019556 w 1489995"/>
                <a:gd name="connsiteY741" fmla="*/ 49244 h 1273968"/>
                <a:gd name="connsiteX742" fmla="*/ 1027081 w 1489995"/>
                <a:gd name="connsiteY742" fmla="*/ 45053 h 1273968"/>
                <a:gd name="connsiteX743" fmla="*/ 1031748 w 1489995"/>
                <a:gd name="connsiteY743" fmla="*/ 44482 h 1273968"/>
                <a:gd name="connsiteX744" fmla="*/ 1034891 w 1489995"/>
                <a:gd name="connsiteY744" fmla="*/ 44005 h 1273968"/>
                <a:gd name="connsiteX745" fmla="*/ 1037654 w 1489995"/>
                <a:gd name="connsiteY745" fmla="*/ 40481 h 1273968"/>
                <a:gd name="connsiteX746" fmla="*/ 1038320 w 1489995"/>
                <a:gd name="connsiteY746" fmla="*/ 45244 h 1273968"/>
                <a:gd name="connsiteX747" fmla="*/ 1044035 w 1489995"/>
                <a:gd name="connsiteY747" fmla="*/ 39719 h 1273968"/>
                <a:gd name="connsiteX748" fmla="*/ 1050131 w 1489995"/>
                <a:gd name="connsiteY748" fmla="*/ 37338 h 1273968"/>
                <a:gd name="connsiteX749" fmla="*/ 1045750 w 1489995"/>
                <a:gd name="connsiteY749" fmla="*/ 28289 h 1273968"/>
                <a:gd name="connsiteX750" fmla="*/ 1047369 w 1489995"/>
                <a:gd name="connsiteY750" fmla="*/ 28003 h 1273968"/>
                <a:gd name="connsiteX751" fmla="*/ 1042988 w 1489995"/>
                <a:gd name="connsiteY751" fmla="*/ 18955 h 1273968"/>
                <a:gd name="connsiteX752" fmla="*/ 1039844 w 1489995"/>
                <a:gd name="connsiteY752" fmla="*/ 19336 h 1273968"/>
                <a:gd name="connsiteX753" fmla="*/ 1045940 w 1489995"/>
                <a:gd name="connsiteY753" fmla="*/ 16954 h 1273968"/>
                <a:gd name="connsiteX754" fmla="*/ 1047274 w 1489995"/>
                <a:gd name="connsiteY754" fmla="*/ 15240 h 1273968"/>
                <a:gd name="connsiteX755" fmla="*/ 1050608 w 1489995"/>
                <a:gd name="connsiteY755" fmla="*/ 16383 h 1273968"/>
                <a:gd name="connsiteX756" fmla="*/ 1050417 w 1489995"/>
                <a:gd name="connsiteY756" fmla="*/ 14859 h 1273968"/>
                <a:gd name="connsiteX757" fmla="*/ 1053656 w 1489995"/>
                <a:gd name="connsiteY757" fmla="*/ 14383 h 1273968"/>
                <a:gd name="connsiteX758" fmla="*/ 1055370 w 1489995"/>
                <a:gd name="connsiteY758" fmla="*/ 15811 h 1273968"/>
                <a:gd name="connsiteX759" fmla="*/ 1048798 w 1489995"/>
                <a:gd name="connsiteY759" fmla="*/ 2191 h 1273968"/>
                <a:gd name="connsiteX760" fmla="*/ 1053370 w 1489995"/>
                <a:gd name="connsiteY760" fmla="*/ 0 h 1273968"/>
                <a:gd name="connsiteX761" fmla="*/ 1066419 w 1489995"/>
                <a:gd name="connsiteY761" fmla="*/ 1524 h 1273968"/>
                <a:gd name="connsiteX762" fmla="*/ 1064990 w 1489995"/>
                <a:gd name="connsiteY762" fmla="*/ 3334 h 1273968"/>
                <a:gd name="connsiteX763" fmla="*/ 1067372 w 1489995"/>
                <a:gd name="connsiteY763" fmla="*/ 9430 h 1273968"/>
                <a:gd name="connsiteX764" fmla="*/ 1064419 w 1489995"/>
                <a:gd name="connsiteY764" fmla="*/ 11430 h 1273968"/>
                <a:gd name="connsiteX765" fmla="*/ 1066419 w 1489995"/>
                <a:gd name="connsiteY765" fmla="*/ 14383 h 1273968"/>
                <a:gd name="connsiteX766" fmla="*/ 1069562 w 1489995"/>
                <a:gd name="connsiteY766" fmla="*/ 14002 h 1273968"/>
                <a:gd name="connsiteX767" fmla="*/ 1073182 w 1489995"/>
                <a:gd name="connsiteY767" fmla="*/ 16764 h 1273968"/>
                <a:gd name="connsiteX768" fmla="*/ 1072706 w 1489995"/>
                <a:gd name="connsiteY768" fmla="*/ 13621 h 1273968"/>
                <a:gd name="connsiteX769" fmla="*/ 1077659 w 1489995"/>
                <a:gd name="connsiteY769" fmla="*/ 14573 h 1273968"/>
                <a:gd name="connsiteX770" fmla="*/ 1082040 w 1489995"/>
                <a:gd name="connsiteY770" fmla="*/ 23622 h 1273968"/>
                <a:gd name="connsiteX771" fmla="*/ 1077277 w 1489995"/>
                <a:gd name="connsiteY771" fmla="*/ 24194 h 1273968"/>
                <a:gd name="connsiteX772" fmla="*/ 1080706 w 1489995"/>
                <a:gd name="connsiteY772" fmla="*/ 25432 h 1273968"/>
                <a:gd name="connsiteX773" fmla="*/ 1082612 w 1489995"/>
                <a:gd name="connsiteY773" fmla="*/ 28384 h 1273968"/>
                <a:gd name="connsiteX774" fmla="*/ 1087374 w 1489995"/>
                <a:gd name="connsiteY774" fmla="*/ 27718 h 1273968"/>
                <a:gd name="connsiteX775" fmla="*/ 1090898 w 1489995"/>
                <a:gd name="connsiteY775" fmla="*/ 30480 h 1273968"/>
                <a:gd name="connsiteX776" fmla="*/ 1090136 w 1489995"/>
                <a:gd name="connsiteY776" fmla="*/ 24194 h 1273968"/>
                <a:gd name="connsiteX777" fmla="*/ 1094899 w 1489995"/>
                <a:gd name="connsiteY777" fmla="*/ 23622 h 1273968"/>
                <a:gd name="connsiteX778" fmla="*/ 1095661 w 1489995"/>
                <a:gd name="connsiteY778" fmla="*/ 17050 h 1273968"/>
                <a:gd name="connsiteX779" fmla="*/ 1096994 w 1489995"/>
                <a:gd name="connsiteY779" fmla="*/ 15335 h 1273968"/>
                <a:gd name="connsiteX780" fmla="*/ 1100423 w 1489995"/>
                <a:gd name="connsiteY780" fmla="*/ 16478 h 1273968"/>
                <a:gd name="connsiteX781" fmla="*/ 1097471 w 1489995"/>
                <a:gd name="connsiteY781" fmla="*/ 18478 h 1273968"/>
                <a:gd name="connsiteX782" fmla="*/ 1099185 w 1489995"/>
                <a:gd name="connsiteY782" fmla="*/ 19812 h 1273968"/>
                <a:gd name="connsiteX783" fmla="*/ 1102328 w 1489995"/>
                <a:gd name="connsiteY783" fmla="*/ 19431 h 1273968"/>
                <a:gd name="connsiteX784" fmla="*/ 1104329 w 1489995"/>
                <a:gd name="connsiteY784" fmla="*/ 22384 h 1273968"/>
                <a:gd name="connsiteX785" fmla="*/ 1109091 w 1489995"/>
                <a:gd name="connsiteY785" fmla="*/ 21812 h 1273968"/>
                <a:gd name="connsiteX786" fmla="*/ 1112234 w 1489995"/>
                <a:gd name="connsiteY786" fmla="*/ 21336 h 1273968"/>
                <a:gd name="connsiteX787" fmla="*/ 1118140 w 1489995"/>
                <a:gd name="connsiteY787" fmla="*/ 17431 h 1273968"/>
                <a:gd name="connsiteX788" fmla="*/ 1118521 w 1489995"/>
                <a:gd name="connsiteY788" fmla="*/ 20574 h 1273968"/>
                <a:gd name="connsiteX789" fmla="*/ 1117378 w 1489995"/>
                <a:gd name="connsiteY789" fmla="*/ 23908 h 1273968"/>
                <a:gd name="connsiteX790" fmla="*/ 1119188 w 1489995"/>
                <a:gd name="connsiteY790" fmla="*/ 25336 h 1273968"/>
                <a:gd name="connsiteX791" fmla="*/ 1125664 w 1489995"/>
                <a:gd name="connsiteY791" fmla="*/ 38862 h 1273968"/>
                <a:gd name="connsiteX792" fmla="*/ 1127284 w 1489995"/>
                <a:gd name="connsiteY792" fmla="*/ 38672 h 1273968"/>
                <a:gd name="connsiteX793" fmla="*/ 1128808 w 1489995"/>
                <a:gd name="connsiteY793" fmla="*/ 38481 h 1273968"/>
                <a:gd name="connsiteX794" fmla="*/ 1133951 w 1489995"/>
                <a:gd name="connsiteY794" fmla="*/ 41053 h 1273968"/>
                <a:gd name="connsiteX795" fmla="*/ 1134809 w 1489995"/>
                <a:gd name="connsiteY795" fmla="*/ 47339 h 1273968"/>
                <a:gd name="connsiteX796" fmla="*/ 1136142 w 1489995"/>
                <a:gd name="connsiteY796" fmla="*/ 45625 h 1273968"/>
                <a:gd name="connsiteX797" fmla="*/ 1139285 w 1489995"/>
                <a:gd name="connsiteY797" fmla="*/ 45148 h 1273968"/>
                <a:gd name="connsiteX798" fmla="*/ 1139476 w 1489995"/>
                <a:gd name="connsiteY798" fmla="*/ 46768 h 1273968"/>
                <a:gd name="connsiteX799" fmla="*/ 1138523 w 1489995"/>
                <a:gd name="connsiteY799" fmla="*/ 51721 h 1273968"/>
                <a:gd name="connsiteX800" fmla="*/ 1142333 w 1489995"/>
                <a:gd name="connsiteY800" fmla="*/ 56007 h 1273968"/>
                <a:gd name="connsiteX801" fmla="*/ 1141285 w 1489995"/>
                <a:gd name="connsiteY801" fmla="*/ 60960 h 1273968"/>
                <a:gd name="connsiteX802" fmla="*/ 1145667 w 1489995"/>
                <a:gd name="connsiteY802" fmla="*/ 57245 h 1273968"/>
                <a:gd name="connsiteX803" fmla="*/ 1147477 w 1489995"/>
                <a:gd name="connsiteY803" fmla="*/ 58579 h 1273968"/>
                <a:gd name="connsiteX804" fmla="*/ 1151954 w 1489995"/>
                <a:gd name="connsiteY804" fmla="*/ 56388 h 1273968"/>
                <a:gd name="connsiteX805" fmla="*/ 1156716 w 1489995"/>
                <a:gd name="connsiteY805" fmla="*/ 55817 h 1273968"/>
                <a:gd name="connsiteX806" fmla="*/ 1156716 w 1489995"/>
                <a:gd name="connsiteY806" fmla="*/ 55817 h 1273968"/>
                <a:gd name="connsiteX807" fmla="*/ 1160907 w 1489995"/>
                <a:gd name="connsiteY807" fmla="*/ 63246 h 1273968"/>
                <a:gd name="connsiteX808" fmla="*/ 1166051 w 1489995"/>
                <a:gd name="connsiteY808" fmla="*/ 65818 h 1273968"/>
                <a:gd name="connsiteX809" fmla="*/ 1164812 w 1489995"/>
                <a:gd name="connsiteY809" fmla="*/ 69247 h 1273968"/>
                <a:gd name="connsiteX810" fmla="*/ 1169575 w 1489995"/>
                <a:gd name="connsiteY810" fmla="*/ 68580 h 1273968"/>
                <a:gd name="connsiteX811" fmla="*/ 1178433 w 1489995"/>
                <a:gd name="connsiteY811" fmla="*/ 75438 h 1273968"/>
                <a:gd name="connsiteX812" fmla="*/ 1175671 w 1489995"/>
                <a:gd name="connsiteY812" fmla="*/ 79057 h 1273968"/>
                <a:gd name="connsiteX813" fmla="*/ 1175861 w 1489995"/>
                <a:gd name="connsiteY813" fmla="*/ 80581 h 1273968"/>
                <a:gd name="connsiteX814" fmla="*/ 1178909 w 1489995"/>
                <a:gd name="connsiteY814" fmla="*/ 78676 h 1273968"/>
                <a:gd name="connsiteX815" fmla="*/ 1177862 w 1489995"/>
                <a:gd name="connsiteY815" fmla="*/ 83534 h 1273968"/>
                <a:gd name="connsiteX816" fmla="*/ 1181290 w 1489995"/>
                <a:gd name="connsiteY816" fmla="*/ 97536 h 1273968"/>
                <a:gd name="connsiteX817" fmla="*/ 1183100 w 1489995"/>
                <a:gd name="connsiteY817" fmla="*/ 98965 h 1273968"/>
                <a:gd name="connsiteX818" fmla="*/ 1185005 w 1489995"/>
                <a:gd name="connsiteY818" fmla="*/ 101917 h 1273968"/>
                <a:gd name="connsiteX819" fmla="*/ 1192721 w 1489995"/>
                <a:gd name="connsiteY819" fmla="*/ 99346 h 1273968"/>
                <a:gd name="connsiteX820" fmla="*/ 1193102 w 1489995"/>
                <a:gd name="connsiteY820" fmla="*/ 102489 h 1273968"/>
                <a:gd name="connsiteX821" fmla="*/ 1194721 w 1489995"/>
                <a:gd name="connsiteY821" fmla="*/ 102298 h 1273968"/>
                <a:gd name="connsiteX822" fmla="*/ 1194911 w 1489995"/>
                <a:gd name="connsiteY822" fmla="*/ 103823 h 1273968"/>
                <a:gd name="connsiteX823" fmla="*/ 1199483 w 1489995"/>
                <a:gd name="connsiteY823" fmla="*/ 101727 h 1273968"/>
                <a:gd name="connsiteX824" fmla="*/ 1204341 w 1489995"/>
                <a:gd name="connsiteY824" fmla="*/ 102679 h 1273968"/>
                <a:gd name="connsiteX825" fmla="*/ 1209675 w 1489995"/>
                <a:gd name="connsiteY825" fmla="*/ 106775 h 1273968"/>
                <a:gd name="connsiteX826" fmla="*/ 1208342 w 1489995"/>
                <a:gd name="connsiteY826" fmla="*/ 108585 h 1273968"/>
                <a:gd name="connsiteX827" fmla="*/ 1209961 w 1489995"/>
                <a:gd name="connsiteY827" fmla="*/ 108394 h 1273968"/>
                <a:gd name="connsiteX828" fmla="*/ 1210342 w 1489995"/>
                <a:gd name="connsiteY828" fmla="*/ 111538 h 1273968"/>
                <a:gd name="connsiteX829" fmla="*/ 1213485 w 1489995"/>
                <a:gd name="connsiteY829" fmla="*/ 111157 h 1273968"/>
                <a:gd name="connsiteX830" fmla="*/ 1212342 w 1489995"/>
                <a:gd name="connsiteY830" fmla="*/ 114490 h 1273968"/>
                <a:gd name="connsiteX831" fmla="*/ 1210723 w 1489995"/>
                <a:gd name="connsiteY831" fmla="*/ 114681 h 1273968"/>
                <a:gd name="connsiteX832" fmla="*/ 1211104 w 1489995"/>
                <a:gd name="connsiteY832" fmla="*/ 117824 h 1273968"/>
                <a:gd name="connsiteX833" fmla="*/ 1209580 w 1489995"/>
                <a:gd name="connsiteY833" fmla="*/ 118015 h 1273968"/>
                <a:gd name="connsiteX834" fmla="*/ 1210151 w 1489995"/>
                <a:gd name="connsiteY834" fmla="*/ 122777 h 1273968"/>
                <a:gd name="connsiteX835" fmla="*/ 1203674 w 1489995"/>
                <a:gd name="connsiteY835" fmla="*/ 122015 h 1273968"/>
                <a:gd name="connsiteX836" fmla="*/ 1204055 w 1489995"/>
                <a:gd name="connsiteY836" fmla="*/ 125158 h 1273968"/>
                <a:gd name="connsiteX837" fmla="*/ 1196150 w 1489995"/>
                <a:gd name="connsiteY837" fmla="*/ 126111 h 1273968"/>
                <a:gd name="connsiteX838" fmla="*/ 1191768 w 1489995"/>
                <a:gd name="connsiteY838" fmla="*/ 129921 h 1273968"/>
                <a:gd name="connsiteX839" fmla="*/ 1192816 w 1489995"/>
                <a:gd name="connsiteY839" fmla="*/ 137827 h 1273968"/>
                <a:gd name="connsiteX840" fmla="*/ 1194816 w 1489995"/>
                <a:gd name="connsiteY840" fmla="*/ 140779 h 1273968"/>
                <a:gd name="connsiteX841" fmla="*/ 1198150 w 1489995"/>
                <a:gd name="connsiteY841" fmla="*/ 141923 h 1273968"/>
                <a:gd name="connsiteX842" fmla="*/ 1205675 w 1489995"/>
                <a:gd name="connsiteY842" fmla="*/ 150590 h 1273968"/>
                <a:gd name="connsiteX843" fmla="*/ 1206246 w 1489995"/>
                <a:gd name="connsiteY843" fmla="*/ 155353 h 1273968"/>
                <a:gd name="connsiteX844" fmla="*/ 1205103 w 1489995"/>
                <a:gd name="connsiteY844" fmla="*/ 158686 h 1273968"/>
                <a:gd name="connsiteX845" fmla="*/ 1203769 w 1489995"/>
                <a:gd name="connsiteY845" fmla="*/ 160496 h 1273968"/>
                <a:gd name="connsiteX846" fmla="*/ 1207103 w 1489995"/>
                <a:gd name="connsiteY846" fmla="*/ 161639 h 1273968"/>
                <a:gd name="connsiteX847" fmla="*/ 1212437 w 1489995"/>
                <a:gd name="connsiteY847" fmla="*/ 165735 h 1273968"/>
                <a:gd name="connsiteX848" fmla="*/ 1211009 w 1489995"/>
                <a:gd name="connsiteY848" fmla="*/ 167545 h 1273968"/>
                <a:gd name="connsiteX849" fmla="*/ 1211485 w 1489995"/>
                <a:gd name="connsiteY849" fmla="*/ 170688 h 1273968"/>
                <a:gd name="connsiteX850" fmla="*/ 1208056 w 1489995"/>
                <a:gd name="connsiteY850" fmla="*/ 169545 h 1273968"/>
                <a:gd name="connsiteX851" fmla="*/ 1206722 w 1489995"/>
                <a:gd name="connsiteY851" fmla="*/ 171355 h 1273968"/>
                <a:gd name="connsiteX852" fmla="*/ 1208246 w 1489995"/>
                <a:gd name="connsiteY852" fmla="*/ 171069 h 1273968"/>
                <a:gd name="connsiteX853" fmla="*/ 1208723 w 1489995"/>
                <a:gd name="connsiteY853" fmla="*/ 174308 h 1273968"/>
                <a:gd name="connsiteX854" fmla="*/ 1207484 w 1489995"/>
                <a:gd name="connsiteY854" fmla="*/ 177641 h 1273968"/>
                <a:gd name="connsiteX855" fmla="*/ 1209104 w 1489995"/>
                <a:gd name="connsiteY855" fmla="*/ 177451 h 1273968"/>
                <a:gd name="connsiteX856" fmla="*/ 1208342 w 1489995"/>
                <a:gd name="connsiteY856" fmla="*/ 183928 h 1273968"/>
                <a:gd name="connsiteX857" fmla="*/ 1206722 w 1489995"/>
                <a:gd name="connsiteY857" fmla="*/ 184118 h 1273968"/>
                <a:gd name="connsiteX858" fmla="*/ 1207389 w 1489995"/>
                <a:gd name="connsiteY858" fmla="*/ 188881 h 1273968"/>
                <a:gd name="connsiteX859" fmla="*/ 1203008 w 1489995"/>
                <a:gd name="connsiteY859" fmla="*/ 192596 h 1273968"/>
                <a:gd name="connsiteX860" fmla="*/ 1205389 w 1489995"/>
                <a:gd name="connsiteY860" fmla="*/ 198787 h 1273968"/>
                <a:gd name="connsiteX861" fmla="*/ 1209961 w 1489995"/>
                <a:gd name="connsiteY861" fmla="*/ 196596 h 1273968"/>
                <a:gd name="connsiteX862" fmla="*/ 1210342 w 1489995"/>
                <a:gd name="connsiteY862" fmla="*/ 199739 h 1273968"/>
                <a:gd name="connsiteX863" fmla="*/ 1213294 w 1489995"/>
                <a:gd name="connsiteY863" fmla="*/ 197739 h 1273968"/>
                <a:gd name="connsiteX864" fmla="*/ 1215104 w 1489995"/>
                <a:gd name="connsiteY864" fmla="*/ 199073 h 1273968"/>
                <a:gd name="connsiteX865" fmla="*/ 1221010 w 1489995"/>
                <a:gd name="connsiteY865" fmla="*/ 208026 h 1273968"/>
                <a:gd name="connsiteX866" fmla="*/ 1221391 w 1489995"/>
                <a:gd name="connsiteY866" fmla="*/ 211169 h 1273968"/>
                <a:gd name="connsiteX867" fmla="*/ 1216628 w 1489995"/>
                <a:gd name="connsiteY867" fmla="*/ 211741 h 1273968"/>
                <a:gd name="connsiteX868" fmla="*/ 1217295 w 1489995"/>
                <a:gd name="connsiteY868" fmla="*/ 216503 h 1273968"/>
                <a:gd name="connsiteX869" fmla="*/ 1220629 w 1489995"/>
                <a:gd name="connsiteY869" fmla="*/ 217646 h 1273968"/>
                <a:gd name="connsiteX870" fmla="*/ 1219486 w 1489995"/>
                <a:gd name="connsiteY870" fmla="*/ 220980 h 1273968"/>
                <a:gd name="connsiteX871" fmla="*/ 1226153 w 1489995"/>
                <a:gd name="connsiteY871" fmla="*/ 223361 h 1273968"/>
                <a:gd name="connsiteX872" fmla="*/ 1220914 w 1489995"/>
                <a:gd name="connsiteY872" fmla="*/ 244888 h 1273968"/>
                <a:gd name="connsiteX873" fmla="*/ 1219105 w 1489995"/>
                <a:gd name="connsiteY873" fmla="*/ 243459 h 1273968"/>
                <a:gd name="connsiteX874" fmla="*/ 1217962 w 1489995"/>
                <a:gd name="connsiteY874" fmla="*/ 246888 h 1273968"/>
                <a:gd name="connsiteX875" fmla="*/ 1215962 w 1489995"/>
                <a:gd name="connsiteY875" fmla="*/ 243935 h 1273968"/>
                <a:gd name="connsiteX876" fmla="*/ 1214818 w 1489995"/>
                <a:gd name="connsiteY876" fmla="*/ 247269 h 1273968"/>
                <a:gd name="connsiteX877" fmla="*/ 1208437 w 1489995"/>
                <a:gd name="connsiteY877" fmla="*/ 248031 h 1273968"/>
                <a:gd name="connsiteX878" fmla="*/ 1209294 w 1489995"/>
                <a:gd name="connsiteY878" fmla="*/ 254413 h 1273968"/>
                <a:gd name="connsiteX879" fmla="*/ 1210818 w 1489995"/>
                <a:gd name="connsiteY879" fmla="*/ 254222 h 1273968"/>
                <a:gd name="connsiteX880" fmla="*/ 1211294 w 1489995"/>
                <a:gd name="connsiteY880" fmla="*/ 257365 h 1273968"/>
                <a:gd name="connsiteX881" fmla="*/ 1208342 w 1489995"/>
                <a:gd name="connsiteY881" fmla="*/ 259271 h 1273968"/>
                <a:gd name="connsiteX882" fmla="*/ 1213676 w 1489995"/>
                <a:gd name="connsiteY882" fmla="*/ 263461 h 1273968"/>
                <a:gd name="connsiteX883" fmla="*/ 1212437 w 1489995"/>
                <a:gd name="connsiteY883" fmla="*/ 266795 h 1273968"/>
                <a:gd name="connsiteX884" fmla="*/ 1209294 w 1489995"/>
                <a:gd name="connsiteY884" fmla="*/ 267176 h 1273968"/>
                <a:gd name="connsiteX885" fmla="*/ 1207960 w 1489995"/>
                <a:gd name="connsiteY885" fmla="*/ 268986 h 1273968"/>
                <a:gd name="connsiteX886" fmla="*/ 1206341 w 1489995"/>
                <a:gd name="connsiteY886" fmla="*/ 269177 h 1273968"/>
                <a:gd name="connsiteX887" fmla="*/ 1207770 w 1489995"/>
                <a:gd name="connsiteY887" fmla="*/ 267367 h 1273968"/>
                <a:gd name="connsiteX888" fmla="*/ 1205960 w 1489995"/>
                <a:gd name="connsiteY888" fmla="*/ 266033 h 1273968"/>
                <a:gd name="connsiteX889" fmla="*/ 1204531 w 1489995"/>
                <a:gd name="connsiteY889" fmla="*/ 267843 h 1273968"/>
                <a:gd name="connsiteX890" fmla="*/ 1201198 w 1489995"/>
                <a:gd name="connsiteY890" fmla="*/ 266605 h 1273968"/>
                <a:gd name="connsiteX891" fmla="*/ 1199864 w 1489995"/>
                <a:gd name="connsiteY891" fmla="*/ 268415 h 1273968"/>
                <a:gd name="connsiteX892" fmla="*/ 1196245 w 1489995"/>
                <a:gd name="connsiteY892" fmla="*/ 265652 h 1273968"/>
                <a:gd name="connsiteX893" fmla="*/ 1193768 w 1489995"/>
                <a:gd name="connsiteY893" fmla="*/ 270796 h 1273968"/>
                <a:gd name="connsiteX894" fmla="*/ 1186815 w 1489995"/>
                <a:gd name="connsiteY894" fmla="*/ 279654 h 1273968"/>
                <a:gd name="connsiteX895" fmla="*/ 1192339 w 1489995"/>
                <a:gd name="connsiteY895" fmla="*/ 285369 h 1273968"/>
                <a:gd name="connsiteX896" fmla="*/ 1196340 w 1489995"/>
                <a:gd name="connsiteY896" fmla="*/ 291275 h 1273968"/>
                <a:gd name="connsiteX897" fmla="*/ 1199483 w 1489995"/>
                <a:gd name="connsiteY897" fmla="*/ 290894 h 1273968"/>
                <a:gd name="connsiteX898" fmla="*/ 1204817 w 1489995"/>
                <a:gd name="connsiteY898" fmla="*/ 295085 h 1273968"/>
                <a:gd name="connsiteX899" fmla="*/ 1203293 w 1489995"/>
                <a:gd name="connsiteY899" fmla="*/ 295275 h 1273968"/>
                <a:gd name="connsiteX900" fmla="*/ 1199102 w 1489995"/>
                <a:gd name="connsiteY900" fmla="*/ 300609 h 1273968"/>
                <a:gd name="connsiteX901" fmla="*/ 1201864 w 1489995"/>
                <a:gd name="connsiteY901" fmla="*/ 309848 h 1273968"/>
                <a:gd name="connsiteX902" fmla="*/ 1204055 w 1489995"/>
                <a:gd name="connsiteY902" fmla="*/ 314420 h 1273968"/>
                <a:gd name="connsiteX903" fmla="*/ 1207675 w 1489995"/>
                <a:gd name="connsiteY903" fmla="*/ 317087 h 1273968"/>
                <a:gd name="connsiteX904" fmla="*/ 1214533 w 1489995"/>
                <a:gd name="connsiteY904" fmla="*/ 321088 h 1273968"/>
                <a:gd name="connsiteX905" fmla="*/ 1221296 w 1489995"/>
                <a:gd name="connsiteY905" fmla="*/ 323374 h 1273968"/>
                <a:gd name="connsiteX906" fmla="*/ 1224248 w 1489995"/>
                <a:gd name="connsiteY906" fmla="*/ 321469 h 1273968"/>
                <a:gd name="connsiteX907" fmla="*/ 1229582 w 1489995"/>
                <a:gd name="connsiteY907" fmla="*/ 312706 h 1273968"/>
                <a:gd name="connsiteX908" fmla="*/ 1233488 w 1489995"/>
                <a:gd name="connsiteY908" fmla="*/ 318611 h 1273968"/>
                <a:gd name="connsiteX909" fmla="*/ 1241965 w 1489995"/>
                <a:gd name="connsiteY909" fmla="*/ 322326 h 1273968"/>
                <a:gd name="connsiteX910" fmla="*/ 1245394 w 1489995"/>
                <a:gd name="connsiteY910" fmla="*/ 323564 h 1273968"/>
                <a:gd name="connsiteX911" fmla="*/ 1243965 w 1489995"/>
                <a:gd name="connsiteY911" fmla="*/ 325374 h 1273968"/>
                <a:gd name="connsiteX912" fmla="*/ 1242631 w 1489995"/>
                <a:gd name="connsiteY912" fmla="*/ 327088 h 1273968"/>
                <a:gd name="connsiteX913" fmla="*/ 1241012 w 1489995"/>
                <a:gd name="connsiteY913" fmla="*/ 327279 h 1273968"/>
                <a:gd name="connsiteX914" fmla="*/ 1240441 w 1489995"/>
                <a:gd name="connsiteY914" fmla="*/ 335375 h 1273968"/>
                <a:gd name="connsiteX915" fmla="*/ 1243775 w 1489995"/>
                <a:gd name="connsiteY915" fmla="*/ 336613 h 1273968"/>
                <a:gd name="connsiteX916" fmla="*/ 1247965 w 1489995"/>
                <a:gd name="connsiteY916" fmla="*/ 331280 h 1273968"/>
                <a:gd name="connsiteX917" fmla="*/ 1249680 w 1489995"/>
                <a:gd name="connsiteY917" fmla="*/ 332613 h 1273968"/>
                <a:gd name="connsiteX918" fmla="*/ 1249871 w 1489995"/>
                <a:gd name="connsiteY918" fmla="*/ 334232 h 1273968"/>
                <a:gd name="connsiteX919" fmla="*/ 1253871 w 1489995"/>
                <a:gd name="connsiteY919" fmla="*/ 340138 h 1273968"/>
                <a:gd name="connsiteX920" fmla="*/ 1255490 w 1489995"/>
                <a:gd name="connsiteY920" fmla="*/ 339947 h 1273968"/>
                <a:gd name="connsiteX921" fmla="*/ 1257395 w 1489995"/>
                <a:gd name="connsiteY921" fmla="*/ 342900 h 1273968"/>
                <a:gd name="connsiteX922" fmla="*/ 1260634 w 1489995"/>
                <a:gd name="connsiteY922" fmla="*/ 342424 h 1273968"/>
                <a:gd name="connsiteX923" fmla="*/ 1264348 w 1489995"/>
                <a:gd name="connsiteY923" fmla="*/ 346805 h 1273968"/>
                <a:gd name="connsiteX924" fmla="*/ 1264920 w 1489995"/>
                <a:gd name="connsiteY924" fmla="*/ 351568 h 1273968"/>
                <a:gd name="connsiteX925" fmla="*/ 1261586 w 1489995"/>
                <a:gd name="connsiteY925" fmla="*/ 350330 h 1273968"/>
                <a:gd name="connsiteX926" fmla="*/ 1255681 w 1489995"/>
                <a:gd name="connsiteY926" fmla="*/ 354330 h 1273968"/>
                <a:gd name="connsiteX927" fmla="*/ 1256062 w 1489995"/>
                <a:gd name="connsiteY927" fmla="*/ 357473 h 1273968"/>
                <a:gd name="connsiteX928" fmla="*/ 1259681 w 1489995"/>
                <a:gd name="connsiteY928" fmla="*/ 360236 h 1273968"/>
                <a:gd name="connsiteX929" fmla="*/ 1260253 w 1489995"/>
                <a:gd name="connsiteY929" fmla="*/ 364998 h 1273968"/>
                <a:gd name="connsiteX930" fmla="*/ 1257681 w 1489995"/>
                <a:gd name="connsiteY930" fmla="*/ 370046 h 1273968"/>
                <a:gd name="connsiteX931" fmla="*/ 1261301 w 1489995"/>
                <a:gd name="connsiteY931" fmla="*/ 372809 h 1273968"/>
                <a:gd name="connsiteX932" fmla="*/ 1271492 w 1489995"/>
                <a:gd name="connsiteY932" fmla="*/ 377952 h 1273968"/>
                <a:gd name="connsiteX933" fmla="*/ 1271968 w 1489995"/>
                <a:gd name="connsiteY933" fmla="*/ 381095 h 1273968"/>
                <a:gd name="connsiteX934" fmla="*/ 1273683 w 1489995"/>
                <a:gd name="connsiteY934" fmla="*/ 382524 h 1273968"/>
                <a:gd name="connsiteX935" fmla="*/ 1274921 w 1489995"/>
                <a:gd name="connsiteY935" fmla="*/ 379095 h 1273968"/>
                <a:gd name="connsiteX936" fmla="*/ 1276445 w 1489995"/>
                <a:gd name="connsiteY936" fmla="*/ 378905 h 1273968"/>
                <a:gd name="connsiteX937" fmla="*/ 1276826 w 1489995"/>
                <a:gd name="connsiteY937" fmla="*/ 382048 h 1273968"/>
                <a:gd name="connsiteX938" fmla="*/ 1278636 w 1489995"/>
                <a:gd name="connsiteY938" fmla="*/ 383477 h 1273968"/>
                <a:gd name="connsiteX939" fmla="*/ 1280065 w 1489995"/>
                <a:gd name="connsiteY939" fmla="*/ 381667 h 1273968"/>
                <a:gd name="connsiteX940" fmla="*/ 1281589 w 1489995"/>
                <a:gd name="connsiteY940" fmla="*/ 381476 h 1273968"/>
                <a:gd name="connsiteX941" fmla="*/ 1281208 w 1489995"/>
                <a:gd name="connsiteY941" fmla="*/ 378333 h 1273968"/>
                <a:gd name="connsiteX942" fmla="*/ 1290828 w 1489995"/>
                <a:gd name="connsiteY942" fmla="*/ 378714 h 1273968"/>
                <a:gd name="connsiteX943" fmla="*/ 1295019 w 1489995"/>
                <a:gd name="connsiteY943" fmla="*/ 373380 h 1273968"/>
                <a:gd name="connsiteX944" fmla="*/ 1298162 w 1489995"/>
                <a:gd name="connsiteY944" fmla="*/ 372999 h 1273968"/>
                <a:gd name="connsiteX945" fmla="*/ 1299972 w 1489995"/>
                <a:gd name="connsiteY945" fmla="*/ 374333 h 1273968"/>
                <a:gd name="connsiteX946" fmla="*/ 1300163 w 1489995"/>
                <a:gd name="connsiteY946" fmla="*/ 375952 h 1273968"/>
                <a:gd name="connsiteX947" fmla="*/ 1303687 w 1489995"/>
                <a:gd name="connsiteY947" fmla="*/ 378714 h 1273968"/>
                <a:gd name="connsiteX948" fmla="*/ 1303877 w 1489995"/>
                <a:gd name="connsiteY948" fmla="*/ 380238 h 1273968"/>
                <a:gd name="connsiteX949" fmla="*/ 1306830 w 1489995"/>
                <a:gd name="connsiteY949" fmla="*/ 378238 h 1273968"/>
                <a:gd name="connsiteX950" fmla="*/ 1310450 w 1489995"/>
                <a:gd name="connsiteY950" fmla="*/ 381000 h 1273968"/>
                <a:gd name="connsiteX951" fmla="*/ 1311783 w 1489995"/>
                <a:gd name="connsiteY951" fmla="*/ 379286 h 1273968"/>
                <a:gd name="connsiteX952" fmla="*/ 1318546 w 1489995"/>
                <a:gd name="connsiteY952" fmla="*/ 381571 h 1273968"/>
                <a:gd name="connsiteX953" fmla="*/ 1325404 w 1489995"/>
                <a:gd name="connsiteY953" fmla="*/ 385477 h 1273968"/>
                <a:gd name="connsiteX954" fmla="*/ 1324070 w 1489995"/>
                <a:gd name="connsiteY954" fmla="*/ 387286 h 1273968"/>
                <a:gd name="connsiteX955" fmla="*/ 1327594 w 1489995"/>
                <a:gd name="connsiteY955" fmla="*/ 390049 h 1273968"/>
                <a:gd name="connsiteX956" fmla="*/ 1328928 w 1489995"/>
                <a:gd name="connsiteY956" fmla="*/ 388239 h 1273968"/>
                <a:gd name="connsiteX957" fmla="*/ 1333310 w 1489995"/>
                <a:gd name="connsiteY957" fmla="*/ 384524 h 1273968"/>
                <a:gd name="connsiteX958" fmla="*/ 1335691 w 1489995"/>
                <a:gd name="connsiteY958" fmla="*/ 377761 h 1273968"/>
                <a:gd name="connsiteX959" fmla="*/ 1342168 w 1489995"/>
                <a:gd name="connsiteY959" fmla="*/ 378619 h 1273968"/>
                <a:gd name="connsiteX960" fmla="*/ 1346549 w 1489995"/>
                <a:gd name="connsiteY960" fmla="*/ 374809 h 1273968"/>
                <a:gd name="connsiteX961" fmla="*/ 1351217 w 1489995"/>
                <a:gd name="connsiteY961" fmla="*/ 374237 h 1273968"/>
                <a:gd name="connsiteX962" fmla="*/ 1352645 w 1489995"/>
                <a:gd name="connsiteY962" fmla="*/ 372428 h 1273968"/>
                <a:gd name="connsiteX963" fmla="*/ 1357313 w 1489995"/>
                <a:gd name="connsiteY963" fmla="*/ 371856 h 1273968"/>
                <a:gd name="connsiteX964" fmla="*/ 1358551 w 1489995"/>
                <a:gd name="connsiteY964" fmla="*/ 368522 h 1273968"/>
                <a:gd name="connsiteX965" fmla="*/ 1358932 w 1489995"/>
                <a:gd name="connsiteY965" fmla="*/ 371665 h 1273968"/>
                <a:gd name="connsiteX966" fmla="*/ 1360551 w 1489995"/>
                <a:gd name="connsiteY966" fmla="*/ 371475 h 1273968"/>
                <a:gd name="connsiteX967" fmla="*/ 1361504 w 1489995"/>
                <a:gd name="connsiteY967" fmla="*/ 379286 h 1273968"/>
                <a:gd name="connsiteX968" fmla="*/ 1363123 w 1489995"/>
                <a:gd name="connsiteY968" fmla="*/ 379095 h 1273968"/>
                <a:gd name="connsiteX969" fmla="*/ 1363313 w 1489995"/>
                <a:gd name="connsiteY969" fmla="*/ 380714 h 1273968"/>
                <a:gd name="connsiteX970" fmla="*/ 1367981 w 1489995"/>
                <a:gd name="connsiteY970" fmla="*/ 380048 h 1273968"/>
                <a:gd name="connsiteX971" fmla="*/ 1371600 w 1489995"/>
                <a:gd name="connsiteY971" fmla="*/ 382810 h 1273968"/>
                <a:gd name="connsiteX972" fmla="*/ 1371790 w 1489995"/>
                <a:gd name="connsiteY972" fmla="*/ 384429 h 1273968"/>
                <a:gd name="connsiteX973" fmla="*/ 1376553 w 1489995"/>
                <a:gd name="connsiteY973" fmla="*/ 383858 h 1273968"/>
                <a:gd name="connsiteX974" fmla="*/ 1378744 w 1489995"/>
                <a:gd name="connsiteY974" fmla="*/ 388334 h 1273968"/>
                <a:gd name="connsiteX975" fmla="*/ 1374362 w 1489995"/>
                <a:gd name="connsiteY975" fmla="*/ 392144 h 1273968"/>
                <a:gd name="connsiteX976" fmla="*/ 1376553 w 1489995"/>
                <a:gd name="connsiteY976" fmla="*/ 396621 h 1273968"/>
                <a:gd name="connsiteX977" fmla="*/ 1376743 w 1489995"/>
                <a:gd name="connsiteY977" fmla="*/ 398240 h 1273968"/>
                <a:gd name="connsiteX978" fmla="*/ 1375219 w 1489995"/>
                <a:gd name="connsiteY978" fmla="*/ 398431 h 1273968"/>
                <a:gd name="connsiteX979" fmla="*/ 1377982 w 1489995"/>
                <a:gd name="connsiteY979" fmla="*/ 407670 h 1273968"/>
                <a:gd name="connsiteX980" fmla="*/ 1377029 w 1489995"/>
                <a:gd name="connsiteY980" fmla="*/ 412623 h 1273968"/>
                <a:gd name="connsiteX981" fmla="*/ 1378744 w 1489995"/>
                <a:gd name="connsiteY981" fmla="*/ 413957 h 1273968"/>
                <a:gd name="connsiteX982" fmla="*/ 1382744 w 1489995"/>
                <a:gd name="connsiteY982" fmla="*/ 419957 h 1273968"/>
                <a:gd name="connsiteX983" fmla="*/ 1378363 w 1489995"/>
                <a:gd name="connsiteY983" fmla="*/ 423672 h 1273968"/>
                <a:gd name="connsiteX984" fmla="*/ 1373696 w 1489995"/>
                <a:gd name="connsiteY984" fmla="*/ 424244 h 1273968"/>
                <a:gd name="connsiteX985" fmla="*/ 1370933 w 1489995"/>
                <a:gd name="connsiteY985" fmla="*/ 427863 h 1273968"/>
                <a:gd name="connsiteX986" fmla="*/ 1374267 w 1489995"/>
                <a:gd name="connsiteY986" fmla="*/ 429006 h 1273968"/>
                <a:gd name="connsiteX987" fmla="*/ 1376077 w 1489995"/>
                <a:gd name="connsiteY987" fmla="*/ 443198 h 1273968"/>
                <a:gd name="connsiteX988" fmla="*/ 1372362 w 1489995"/>
                <a:gd name="connsiteY988" fmla="*/ 451675 h 1273968"/>
                <a:gd name="connsiteX989" fmla="*/ 1378839 w 1489995"/>
                <a:gd name="connsiteY989" fmla="*/ 452438 h 1273968"/>
                <a:gd name="connsiteX990" fmla="*/ 1379696 w 1489995"/>
                <a:gd name="connsiteY990" fmla="*/ 458819 h 1273968"/>
                <a:gd name="connsiteX991" fmla="*/ 1381220 w 1489995"/>
                <a:gd name="connsiteY991" fmla="*/ 458629 h 1273968"/>
                <a:gd name="connsiteX992" fmla="*/ 1387983 w 1489995"/>
                <a:gd name="connsiteY992" fmla="*/ 460915 h 1273968"/>
                <a:gd name="connsiteX993" fmla="*/ 1385983 w 1489995"/>
                <a:gd name="connsiteY993" fmla="*/ 470821 h 1273968"/>
                <a:gd name="connsiteX994" fmla="*/ 1388745 w 1489995"/>
                <a:gd name="connsiteY994" fmla="*/ 467296 h 1273968"/>
                <a:gd name="connsiteX995" fmla="*/ 1389126 w 1489995"/>
                <a:gd name="connsiteY995" fmla="*/ 470440 h 1273968"/>
                <a:gd name="connsiteX996" fmla="*/ 1390936 w 1489995"/>
                <a:gd name="connsiteY996" fmla="*/ 471773 h 1273968"/>
                <a:gd name="connsiteX997" fmla="*/ 1388364 w 1489995"/>
                <a:gd name="connsiteY997" fmla="*/ 476917 h 1273968"/>
                <a:gd name="connsiteX998" fmla="*/ 1394269 w 1489995"/>
                <a:gd name="connsiteY998" fmla="*/ 472916 h 1273968"/>
                <a:gd name="connsiteX999" fmla="*/ 1390364 w 1489995"/>
                <a:gd name="connsiteY999" fmla="*/ 479869 h 1273968"/>
                <a:gd name="connsiteX1000" fmla="*/ 1391126 w 1489995"/>
                <a:gd name="connsiteY1000" fmla="*/ 486156 h 1273968"/>
                <a:gd name="connsiteX1001" fmla="*/ 1388650 w 1489995"/>
                <a:gd name="connsiteY1001" fmla="*/ 491300 h 1273968"/>
                <a:gd name="connsiteX1002" fmla="*/ 1386840 w 1489995"/>
                <a:gd name="connsiteY1002" fmla="*/ 489966 h 1273968"/>
                <a:gd name="connsiteX1003" fmla="*/ 1384078 w 1489995"/>
                <a:gd name="connsiteY1003" fmla="*/ 493490 h 1273968"/>
                <a:gd name="connsiteX1004" fmla="*/ 1385888 w 1489995"/>
                <a:gd name="connsiteY1004" fmla="*/ 494919 h 1273968"/>
                <a:gd name="connsiteX1005" fmla="*/ 1387888 w 1489995"/>
                <a:gd name="connsiteY1005" fmla="*/ 497872 h 1273968"/>
                <a:gd name="connsiteX1006" fmla="*/ 1386268 w 1489995"/>
                <a:gd name="connsiteY1006" fmla="*/ 498062 h 1273968"/>
                <a:gd name="connsiteX1007" fmla="*/ 1385316 w 1489995"/>
                <a:gd name="connsiteY1007" fmla="*/ 503015 h 1273968"/>
                <a:gd name="connsiteX1008" fmla="*/ 1383506 w 1489995"/>
                <a:gd name="connsiteY1008" fmla="*/ 501586 h 1273968"/>
                <a:gd name="connsiteX1009" fmla="*/ 1383887 w 1489995"/>
                <a:gd name="connsiteY1009" fmla="*/ 504730 h 1273968"/>
                <a:gd name="connsiteX1010" fmla="*/ 1379410 w 1489995"/>
                <a:gd name="connsiteY1010" fmla="*/ 506921 h 1273968"/>
                <a:gd name="connsiteX1011" fmla="*/ 1378363 w 1489995"/>
                <a:gd name="connsiteY1011" fmla="*/ 511873 h 1273968"/>
                <a:gd name="connsiteX1012" fmla="*/ 1373505 w 1489995"/>
                <a:gd name="connsiteY1012" fmla="*/ 510921 h 1273968"/>
                <a:gd name="connsiteX1013" fmla="*/ 1372648 w 1489995"/>
                <a:gd name="connsiteY1013" fmla="*/ 517398 h 1273968"/>
                <a:gd name="connsiteX1014" fmla="*/ 1370743 w 1489995"/>
                <a:gd name="connsiteY1014" fmla="*/ 514445 h 1273968"/>
                <a:gd name="connsiteX1015" fmla="*/ 1369314 w 1489995"/>
                <a:gd name="connsiteY1015" fmla="*/ 516255 h 1273968"/>
                <a:gd name="connsiteX1016" fmla="*/ 1369981 w 1489995"/>
                <a:gd name="connsiteY1016" fmla="*/ 521017 h 1273968"/>
                <a:gd name="connsiteX1017" fmla="*/ 1366742 w 1489995"/>
                <a:gd name="connsiteY1017" fmla="*/ 521398 h 1273968"/>
                <a:gd name="connsiteX1018" fmla="*/ 1365028 w 1489995"/>
                <a:gd name="connsiteY1018" fmla="*/ 519970 h 1273968"/>
                <a:gd name="connsiteX1019" fmla="*/ 1363409 w 1489995"/>
                <a:gd name="connsiteY1019" fmla="*/ 520160 h 1273968"/>
                <a:gd name="connsiteX1020" fmla="*/ 1362456 w 1489995"/>
                <a:gd name="connsiteY1020" fmla="*/ 525113 h 1273968"/>
                <a:gd name="connsiteX1021" fmla="*/ 1367218 w 1489995"/>
                <a:gd name="connsiteY1021" fmla="*/ 524542 h 1273968"/>
                <a:gd name="connsiteX1022" fmla="*/ 1375886 w 1489995"/>
                <a:gd name="connsiteY1022" fmla="*/ 529876 h 1273968"/>
                <a:gd name="connsiteX1023" fmla="*/ 1376077 w 1489995"/>
                <a:gd name="connsiteY1023" fmla="*/ 531400 h 1273968"/>
                <a:gd name="connsiteX1024" fmla="*/ 1366076 w 1489995"/>
                <a:gd name="connsiteY1024" fmla="*/ 540734 h 1273968"/>
                <a:gd name="connsiteX1025" fmla="*/ 1358360 w 1489995"/>
                <a:gd name="connsiteY1025" fmla="*/ 543306 h 1273968"/>
                <a:gd name="connsiteX1026" fmla="*/ 1358551 w 1489995"/>
                <a:gd name="connsiteY1026" fmla="*/ 544925 h 1273968"/>
                <a:gd name="connsiteX1027" fmla="*/ 1369981 w 1489995"/>
                <a:gd name="connsiteY1027" fmla="*/ 546640 h 1273968"/>
                <a:gd name="connsiteX1028" fmla="*/ 1379220 w 1489995"/>
                <a:gd name="connsiteY1028" fmla="*/ 543878 h 1273968"/>
                <a:gd name="connsiteX1029" fmla="*/ 1386554 w 1489995"/>
                <a:gd name="connsiteY1029" fmla="*/ 550926 h 1273968"/>
                <a:gd name="connsiteX1030" fmla="*/ 1388555 w 1489995"/>
                <a:gd name="connsiteY1030" fmla="*/ 553879 h 1273968"/>
                <a:gd name="connsiteX1031" fmla="*/ 1395317 w 1489995"/>
                <a:gd name="connsiteY1031" fmla="*/ 556260 h 1273968"/>
                <a:gd name="connsiteX1032" fmla="*/ 1396460 w 1489995"/>
                <a:gd name="connsiteY1032" fmla="*/ 552926 h 1273968"/>
                <a:gd name="connsiteX1033" fmla="*/ 1396079 w 1489995"/>
                <a:gd name="connsiteY1033" fmla="*/ 549688 h 1273968"/>
                <a:gd name="connsiteX1034" fmla="*/ 1399604 w 1489995"/>
                <a:gd name="connsiteY1034" fmla="*/ 552450 h 1273968"/>
                <a:gd name="connsiteX1035" fmla="*/ 1402747 w 1489995"/>
                <a:gd name="connsiteY1035" fmla="*/ 552069 h 1273968"/>
                <a:gd name="connsiteX1036" fmla="*/ 1401604 w 1489995"/>
                <a:gd name="connsiteY1036" fmla="*/ 555403 h 1273968"/>
                <a:gd name="connsiteX1037" fmla="*/ 1412272 w 1489995"/>
                <a:gd name="connsiteY1037" fmla="*/ 563690 h 1273968"/>
                <a:gd name="connsiteX1038" fmla="*/ 1418939 w 1489995"/>
                <a:gd name="connsiteY1038" fmla="*/ 566071 h 1273968"/>
                <a:gd name="connsiteX1039" fmla="*/ 1420368 w 1489995"/>
                <a:gd name="connsiteY1039" fmla="*/ 564261 h 1273968"/>
                <a:gd name="connsiteX1040" fmla="*/ 1422178 w 1489995"/>
                <a:gd name="connsiteY1040" fmla="*/ 565595 h 1273968"/>
                <a:gd name="connsiteX1041" fmla="*/ 1420559 w 1489995"/>
                <a:gd name="connsiteY1041" fmla="*/ 565880 h 1273968"/>
                <a:gd name="connsiteX1042" fmla="*/ 1427321 w 1489995"/>
                <a:gd name="connsiteY1042" fmla="*/ 568166 h 1273968"/>
                <a:gd name="connsiteX1043" fmla="*/ 1419035 w 1489995"/>
                <a:gd name="connsiteY1043" fmla="*/ 578834 h 1273968"/>
                <a:gd name="connsiteX1044" fmla="*/ 1419797 w 1489995"/>
                <a:gd name="connsiteY1044" fmla="*/ 585216 h 1273968"/>
                <a:gd name="connsiteX1045" fmla="*/ 1417987 w 1489995"/>
                <a:gd name="connsiteY1045" fmla="*/ 583787 h 1273968"/>
                <a:gd name="connsiteX1046" fmla="*/ 1416463 w 1489995"/>
                <a:gd name="connsiteY1046" fmla="*/ 583978 h 1273968"/>
                <a:gd name="connsiteX1047" fmla="*/ 1419225 w 1489995"/>
                <a:gd name="connsiteY1047" fmla="*/ 593312 h 1273968"/>
                <a:gd name="connsiteX1048" fmla="*/ 1413319 w 1489995"/>
                <a:gd name="connsiteY1048" fmla="*/ 597218 h 1273968"/>
                <a:gd name="connsiteX1049" fmla="*/ 1408176 w 1489995"/>
                <a:gd name="connsiteY1049" fmla="*/ 594646 h 1273968"/>
                <a:gd name="connsiteX1050" fmla="*/ 1407605 w 1489995"/>
                <a:gd name="connsiteY1050" fmla="*/ 589979 h 1273968"/>
                <a:gd name="connsiteX1051" fmla="*/ 1404080 w 1489995"/>
                <a:gd name="connsiteY1051" fmla="*/ 587216 h 1273968"/>
                <a:gd name="connsiteX1052" fmla="*/ 1398080 w 1489995"/>
                <a:gd name="connsiteY1052" fmla="*/ 591122 h 1273968"/>
                <a:gd name="connsiteX1053" fmla="*/ 1394555 w 1489995"/>
                <a:gd name="connsiteY1053" fmla="*/ 601218 h 1273968"/>
                <a:gd name="connsiteX1054" fmla="*/ 1401699 w 1489995"/>
                <a:gd name="connsiteY1054" fmla="*/ 606743 h 1273968"/>
                <a:gd name="connsiteX1055" fmla="*/ 1406081 w 1489995"/>
                <a:gd name="connsiteY1055" fmla="*/ 602933 h 1273968"/>
                <a:gd name="connsiteX1056" fmla="*/ 1410176 w 1489995"/>
                <a:gd name="connsiteY1056" fmla="*/ 610457 h 1273968"/>
                <a:gd name="connsiteX1057" fmla="*/ 1413319 w 1489995"/>
                <a:gd name="connsiteY1057" fmla="*/ 610076 h 1273968"/>
                <a:gd name="connsiteX1058" fmla="*/ 1408843 w 1489995"/>
                <a:gd name="connsiteY1058" fmla="*/ 612267 h 1273968"/>
                <a:gd name="connsiteX1059" fmla="*/ 1405033 w 1489995"/>
                <a:gd name="connsiteY1059" fmla="*/ 607886 h 1273968"/>
                <a:gd name="connsiteX1060" fmla="*/ 1402271 w 1489995"/>
                <a:gd name="connsiteY1060" fmla="*/ 611505 h 1273968"/>
                <a:gd name="connsiteX1061" fmla="*/ 1399127 w 1489995"/>
                <a:gd name="connsiteY1061" fmla="*/ 611886 h 1273968"/>
                <a:gd name="connsiteX1062" fmla="*/ 1397794 w 1489995"/>
                <a:gd name="connsiteY1062" fmla="*/ 613696 h 1273968"/>
                <a:gd name="connsiteX1063" fmla="*/ 1400365 w 1489995"/>
                <a:gd name="connsiteY1063" fmla="*/ 621316 h 1273968"/>
                <a:gd name="connsiteX1064" fmla="*/ 1402556 w 1489995"/>
                <a:gd name="connsiteY1064" fmla="*/ 625888 h 1273968"/>
                <a:gd name="connsiteX1065" fmla="*/ 1402747 w 1489995"/>
                <a:gd name="connsiteY1065" fmla="*/ 640271 h 1273968"/>
                <a:gd name="connsiteX1066" fmla="*/ 1396270 w 1489995"/>
                <a:gd name="connsiteY1066" fmla="*/ 639509 h 1273968"/>
                <a:gd name="connsiteX1067" fmla="*/ 1391698 w 1489995"/>
                <a:gd name="connsiteY1067" fmla="*/ 641699 h 1273968"/>
                <a:gd name="connsiteX1068" fmla="*/ 1389983 w 1489995"/>
                <a:gd name="connsiteY1068" fmla="*/ 640271 h 1273968"/>
                <a:gd name="connsiteX1069" fmla="*/ 1390364 w 1489995"/>
                <a:gd name="connsiteY1069" fmla="*/ 643414 h 1273968"/>
                <a:gd name="connsiteX1070" fmla="*/ 1387221 w 1489995"/>
                <a:gd name="connsiteY1070" fmla="*/ 643890 h 1273968"/>
                <a:gd name="connsiteX1071" fmla="*/ 1385411 w 1489995"/>
                <a:gd name="connsiteY1071" fmla="*/ 642461 h 1273968"/>
                <a:gd name="connsiteX1072" fmla="*/ 1382077 w 1489995"/>
                <a:gd name="connsiteY1072" fmla="*/ 641318 h 1273968"/>
                <a:gd name="connsiteX1073" fmla="*/ 1380839 w 1489995"/>
                <a:gd name="connsiteY1073" fmla="*/ 644652 h 1273968"/>
                <a:gd name="connsiteX1074" fmla="*/ 1377887 w 1489995"/>
                <a:gd name="connsiteY1074" fmla="*/ 646652 h 1273968"/>
                <a:gd name="connsiteX1075" fmla="*/ 1378172 w 1489995"/>
                <a:gd name="connsiteY1075" fmla="*/ 648272 h 1273968"/>
                <a:gd name="connsiteX1076" fmla="*/ 1381697 w 1489995"/>
                <a:gd name="connsiteY1076" fmla="*/ 650938 h 1273968"/>
                <a:gd name="connsiteX1077" fmla="*/ 1392936 w 1489995"/>
                <a:gd name="connsiteY1077" fmla="*/ 651129 h 1273968"/>
                <a:gd name="connsiteX1078" fmla="*/ 1391793 w 1489995"/>
                <a:gd name="connsiteY1078" fmla="*/ 654558 h 1273968"/>
                <a:gd name="connsiteX1079" fmla="*/ 1396270 w 1489995"/>
                <a:gd name="connsiteY1079" fmla="*/ 652367 h 1273968"/>
                <a:gd name="connsiteX1080" fmla="*/ 1396937 w 1489995"/>
                <a:gd name="connsiteY1080" fmla="*/ 657035 h 1273968"/>
                <a:gd name="connsiteX1081" fmla="*/ 1395508 w 1489995"/>
                <a:gd name="connsiteY1081" fmla="*/ 658844 h 1273968"/>
                <a:gd name="connsiteX1082" fmla="*/ 1393698 w 1489995"/>
                <a:gd name="connsiteY1082" fmla="*/ 657511 h 1273968"/>
                <a:gd name="connsiteX1083" fmla="*/ 1392364 w 1489995"/>
                <a:gd name="connsiteY1083" fmla="*/ 659225 h 1273968"/>
                <a:gd name="connsiteX1084" fmla="*/ 1387221 w 1489995"/>
                <a:gd name="connsiteY1084" fmla="*/ 656654 h 1273968"/>
                <a:gd name="connsiteX1085" fmla="*/ 1387412 w 1489995"/>
                <a:gd name="connsiteY1085" fmla="*/ 658273 h 1273968"/>
                <a:gd name="connsiteX1086" fmla="*/ 1390745 w 1489995"/>
                <a:gd name="connsiteY1086" fmla="*/ 659416 h 1273968"/>
                <a:gd name="connsiteX1087" fmla="*/ 1389221 w 1489995"/>
                <a:gd name="connsiteY1087" fmla="*/ 659606 h 1273968"/>
                <a:gd name="connsiteX1088" fmla="*/ 1384078 w 1489995"/>
                <a:gd name="connsiteY1088" fmla="*/ 657130 h 1273968"/>
                <a:gd name="connsiteX1089" fmla="*/ 1380744 w 1489995"/>
                <a:gd name="connsiteY1089" fmla="*/ 655892 h 1273968"/>
                <a:gd name="connsiteX1090" fmla="*/ 1375029 w 1489995"/>
                <a:gd name="connsiteY1090" fmla="*/ 661416 h 1273968"/>
                <a:gd name="connsiteX1091" fmla="*/ 1368933 w 1489995"/>
                <a:gd name="connsiteY1091" fmla="*/ 663797 h 1273968"/>
                <a:gd name="connsiteX1092" fmla="*/ 1374267 w 1489995"/>
                <a:gd name="connsiteY1092" fmla="*/ 667988 h 1273968"/>
                <a:gd name="connsiteX1093" fmla="*/ 1374648 w 1489995"/>
                <a:gd name="connsiteY1093" fmla="*/ 671132 h 1273968"/>
                <a:gd name="connsiteX1094" fmla="*/ 1376172 w 1489995"/>
                <a:gd name="connsiteY1094" fmla="*/ 670941 h 1273968"/>
                <a:gd name="connsiteX1095" fmla="*/ 1377029 w 1489995"/>
                <a:gd name="connsiteY1095" fmla="*/ 677228 h 1273968"/>
                <a:gd name="connsiteX1096" fmla="*/ 1380554 w 1489995"/>
                <a:gd name="connsiteY1096" fmla="*/ 679990 h 1273968"/>
                <a:gd name="connsiteX1097" fmla="*/ 1382173 w 1489995"/>
                <a:gd name="connsiteY1097" fmla="*/ 679799 h 1273968"/>
                <a:gd name="connsiteX1098" fmla="*/ 1380744 w 1489995"/>
                <a:gd name="connsiteY1098" fmla="*/ 681609 h 1273968"/>
                <a:gd name="connsiteX1099" fmla="*/ 1383887 w 1489995"/>
                <a:gd name="connsiteY1099" fmla="*/ 681133 h 1273968"/>
                <a:gd name="connsiteX1100" fmla="*/ 1384364 w 1489995"/>
                <a:gd name="connsiteY1100" fmla="*/ 684276 h 1273968"/>
                <a:gd name="connsiteX1101" fmla="*/ 1389507 w 1489995"/>
                <a:gd name="connsiteY1101" fmla="*/ 686848 h 1273968"/>
                <a:gd name="connsiteX1102" fmla="*/ 1394651 w 1489995"/>
                <a:gd name="connsiteY1102" fmla="*/ 689420 h 1273968"/>
                <a:gd name="connsiteX1103" fmla="*/ 1396365 w 1489995"/>
                <a:gd name="connsiteY1103" fmla="*/ 690848 h 1273968"/>
                <a:gd name="connsiteX1104" fmla="*/ 1400556 w 1489995"/>
                <a:gd name="connsiteY1104" fmla="*/ 685514 h 1273968"/>
                <a:gd name="connsiteX1105" fmla="*/ 1408843 w 1489995"/>
                <a:gd name="connsiteY1105" fmla="*/ 687610 h 1273968"/>
                <a:gd name="connsiteX1106" fmla="*/ 1407414 w 1489995"/>
                <a:gd name="connsiteY1106" fmla="*/ 689420 h 1273968"/>
                <a:gd name="connsiteX1107" fmla="*/ 1405700 w 1489995"/>
                <a:gd name="connsiteY1107" fmla="*/ 687991 h 1273968"/>
                <a:gd name="connsiteX1108" fmla="*/ 1409414 w 1489995"/>
                <a:gd name="connsiteY1108" fmla="*/ 692372 h 1273968"/>
                <a:gd name="connsiteX1109" fmla="*/ 1412367 w 1489995"/>
                <a:gd name="connsiteY1109" fmla="*/ 690372 h 1273968"/>
                <a:gd name="connsiteX1110" fmla="*/ 1417510 w 1489995"/>
                <a:gd name="connsiteY1110" fmla="*/ 692944 h 1273968"/>
                <a:gd name="connsiteX1111" fmla="*/ 1413129 w 1489995"/>
                <a:gd name="connsiteY1111" fmla="*/ 696659 h 1273968"/>
                <a:gd name="connsiteX1112" fmla="*/ 1409986 w 1489995"/>
                <a:gd name="connsiteY1112" fmla="*/ 697040 h 1273968"/>
                <a:gd name="connsiteX1113" fmla="*/ 1411986 w 1489995"/>
                <a:gd name="connsiteY1113" fmla="*/ 699992 h 1273968"/>
                <a:gd name="connsiteX1114" fmla="*/ 1415320 w 1489995"/>
                <a:gd name="connsiteY1114" fmla="*/ 701231 h 1273968"/>
                <a:gd name="connsiteX1115" fmla="*/ 1418558 w 1489995"/>
                <a:gd name="connsiteY1115" fmla="*/ 700850 h 1273968"/>
                <a:gd name="connsiteX1116" fmla="*/ 1418749 w 1489995"/>
                <a:gd name="connsiteY1116" fmla="*/ 702374 h 1273968"/>
                <a:gd name="connsiteX1117" fmla="*/ 1420082 w 1489995"/>
                <a:gd name="connsiteY1117" fmla="*/ 700659 h 1273968"/>
                <a:gd name="connsiteX1118" fmla="*/ 1421892 w 1489995"/>
                <a:gd name="connsiteY1118" fmla="*/ 701993 h 1273968"/>
                <a:gd name="connsiteX1119" fmla="*/ 1427035 w 1489995"/>
                <a:gd name="connsiteY1119" fmla="*/ 704564 h 1273968"/>
                <a:gd name="connsiteX1120" fmla="*/ 1434275 w 1489995"/>
                <a:gd name="connsiteY1120" fmla="*/ 698849 h 1273968"/>
                <a:gd name="connsiteX1121" fmla="*/ 1436084 w 1489995"/>
                <a:gd name="connsiteY1121" fmla="*/ 700183 h 1273968"/>
                <a:gd name="connsiteX1122" fmla="*/ 1436465 w 1489995"/>
                <a:gd name="connsiteY1122" fmla="*/ 703326 h 1273968"/>
                <a:gd name="connsiteX1123" fmla="*/ 1438275 w 1489995"/>
                <a:gd name="connsiteY1123" fmla="*/ 704755 h 1273968"/>
                <a:gd name="connsiteX1124" fmla="*/ 1435322 w 1489995"/>
                <a:gd name="connsiteY1124" fmla="*/ 706660 h 1273968"/>
                <a:gd name="connsiteX1125" fmla="*/ 1436084 w 1489995"/>
                <a:gd name="connsiteY1125" fmla="*/ 713041 h 1273968"/>
                <a:gd name="connsiteX1126" fmla="*/ 1439227 w 1489995"/>
                <a:gd name="connsiteY1126" fmla="*/ 712565 h 1273968"/>
                <a:gd name="connsiteX1127" fmla="*/ 1442752 w 1489995"/>
                <a:gd name="connsiteY1127" fmla="*/ 702564 h 1273968"/>
                <a:gd name="connsiteX1128" fmla="*/ 1444752 w 1489995"/>
                <a:gd name="connsiteY1128" fmla="*/ 705517 h 1273968"/>
                <a:gd name="connsiteX1129" fmla="*/ 1443609 w 1489995"/>
                <a:gd name="connsiteY1129" fmla="*/ 708851 h 1273968"/>
                <a:gd name="connsiteX1130" fmla="*/ 1446752 w 1489995"/>
                <a:gd name="connsiteY1130" fmla="*/ 708470 h 1273968"/>
                <a:gd name="connsiteX1131" fmla="*/ 1445800 w 1489995"/>
                <a:gd name="connsiteY1131" fmla="*/ 713423 h 1273968"/>
                <a:gd name="connsiteX1132" fmla="*/ 1446371 w 1489995"/>
                <a:gd name="connsiteY1132" fmla="*/ 718090 h 1273968"/>
                <a:gd name="connsiteX1133" fmla="*/ 1445038 w 1489995"/>
                <a:gd name="connsiteY1133" fmla="*/ 719899 h 1273968"/>
                <a:gd name="connsiteX1134" fmla="*/ 1437513 w 1489995"/>
                <a:gd name="connsiteY1134" fmla="*/ 724090 h 1273968"/>
                <a:gd name="connsiteX1135" fmla="*/ 1437704 w 1489995"/>
                <a:gd name="connsiteY1135" fmla="*/ 725615 h 1273968"/>
                <a:gd name="connsiteX1136" fmla="*/ 1439704 w 1489995"/>
                <a:gd name="connsiteY1136" fmla="*/ 728567 h 1273968"/>
                <a:gd name="connsiteX1137" fmla="*/ 1448372 w 1489995"/>
                <a:gd name="connsiteY1137" fmla="*/ 733901 h 1273968"/>
                <a:gd name="connsiteX1138" fmla="*/ 1467707 w 1489995"/>
                <a:gd name="connsiteY1138" fmla="*/ 747427 h 1273968"/>
                <a:gd name="connsiteX1139" fmla="*/ 1469136 w 1489995"/>
                <a:gd name="connsiteY1139" fmla="*/ 745712 h 1273968"/>
                <a:gd name="connsiteX1140" fmla="*/ 1472279 w 1489995"/>
                <a:gd name="connsiteY1140" fmla="*/ 745236 h 1273968"/>
                <a:gd name="connsiteX1141" fmla="*/ 1474470 w 1489995"/>
                <a:gd name="connsiteY1141" fmla="*/ 749808 h 1273968"/>
                <a:gd name="connsiteX1142" fmla="*/ 1475804 w 1489995"/>
                <a:gd name="connsiteY1142" fmla="*/ 747998 h 1273968"/>
                <a:gd name="connsiteX1143" fmla="*/ 1477613 w 1489995"/>
                <a:gd name="connsiteY1143" fmla="*/ 749427 h 1273968"/>
                <a:gd name="connsiteX1144" fmla="*/ 1479423 w 1489995"/>
                <a:gd name="connsiteY1144" fmla="*/ 750761 h 1273968"/>
                <a:gd name="connsiteX1145" fmla="*/ 1478185 w 1489995"/>
                <a:gd name="connsiteY1145" fmla="*/ 754190 h 1273968"/>
                <a:gd name="connsiteX1146" fmla="*/ 1481614 w 1489995"/>
                <a:gd name="connsiteY1146" fmla="*/ 755332 h 1273968"/>
                <a:gd name="connsiteX1147" fmla="*/ 1484376 w 1489995"/>
                <a:gd name="connsiteY1147" fmla="*/ 751808 h 1273968"/>
                <a:gd name="connsiteX1148" fmla="*/ 1488281 w 1489995"/>
                <a:gd name="connsiteY1148" fmla="*/ 757714 h 1273968"/>
                <a:gd name="connsiteX1149" fmla="*/ 1485710 w 1489995"/>
                <a:gd name="connsiteY1149" fmla="*/ 762857 h 1273968"/>
                <a:gd name="connsiteX1150" fmla="*/ 1487519 w 1489995"/>
                <a:gd name="connsiteY1150" fmla="*/ 764191 h 1273968"/>
                <a:gd name="connsiteX1151" fmla="*/ 1486567 w 1489995"/>
                <a:gd name="connsiteY1151" fmla="*/ 769144 h 1273968"/>
                <a:gd name="connsiteX1152" fmla="*/ 1488567 w 1489995"/>
                <a:gd name="connsiteY1152" fmla="*/ 772097 h 1273968"/>
                <a:gd name="connsiteX1153" fmla="*/ 1485138 w 1489995"/>
                <a:gd name="connsiteY1153" fmla="*/ 770953 h 1273968"/>
                <a:gd name="connsiteX1154" fmla="*/ 1480661 w 1489995"/>
                <a:gd name="connsiteY1154" fmla="*/ 773049 h 1273968"/>
                <a:gd name="connsiteX1155" fmla="*/ 1476470 w 1489995"/>
                <a:gd name="connsiteY1155" fmla="*/ 778383 h 1273968"/>
                <a:gd name="connsiteX1156" fmla="*/ 1485995 w 1489995"/>
                <a:gd name="connsiteY1156" fmla="*/ 790003 h 1273968"/>
                <a:gd name="connsiteX1157" fmla="*/ 1487805 w 1489995"/>
                <a:gd name="connsiteY1157" fmla="*/ 791432 h 1273968"/>
                <a:gd name="connsiteX1158" fmla="*/ 1489615 w 1489995"/>
                <a:gd name="connsiteY1158" fmla="*/ 792766 h 1273968"/>
                <a:gd name="connsiteX1159" fmla="*/ 1489996 w 1489995"/>
                <a:gd name="connsiteY1159" fmla="*/ 795909 h 1273968"/>
                <a:gd name="connsiteX1160" fmla="*/ 1488758 w 1489995"/>
                <a:gd name="connsiteY1160" fmla="*/ 799338 h 1273968"/>
                <a:gd name="connsiteX1161" fmla="*/ 1487424 w 1489995"/>
                <a:gd name="connsiteY1161" fmla="*/ 801053 h 1273968"/>
                <a:gd name="connsiteX1162" fmla="*/ 1483900 w 1489995"/>
                <a:gd name="connsiteY1162" fmla="*/ 798290 h 1273968"/>
                <a:gd name="connsiteX1163" fmla="*/ 1484852 w 1489995"/>
                <a:gd name="connsiteY1163" fmla="*/ 806196 h 1273968"/>
                <a:gd name="connsiteX1164" fmla="*/ 1483328 w 1489995"/>
                <a:gd name="connsiteY1164" fmla="*/ 806386 h 1273968"/>
                <a:gd name="connsiteX1165" fmla="*/ 1482281 w 1489995"/>
                <a:gd name="connsiteY1165" fmla="*/ 811340 h 1273968"/>
                <a:gd name="connsiteX1166" fmla="*/ 1480756 w 1489995"/>
                <a:gd name="connsiteY1166" fmla="*/ 811530 h 1273968"/>
                <a:gd name="connsiteX1167" fmla="*/ 1480947 w 1489995"/>
                <a:gd name="connsiteY1167" fmla="*/ 813149 h 1273968"/>
                <a:gd name="connsiteX1168" fmla="*/ 1475613 w 1489995"/>
                <a:gd name="connsiteY1168" fmla="*/ 821817 h 1273968"/>
                <a:gd name="connsiteX1169" fmla="*/ 1479233 w 1489995"/>
                <a:gd name="connsiteY1169" fmla="*/ 824579 h 1273968"/>
                <a:gd name="connsiteX1170" fmla="*/ 1476185 w 1489995"/>
                <a:gd name="connsiteY1170" fmla="*/ 826580 h 1273968"/>
                <a:gd name="connsiteX1171" fmla="*/ 1466945 w 1489995"/>
                <a:gd name="connsiteY1171" fmla="*/ 829342 h 1273968"/>
                <a:gd name="connsiteX1172" fmla="*/ 1465421 w 1489995"/>
                <a:gd name="connsiteY1172" fmla="*/ 829532 h 1273968"/>
                <a:gd name="connsiteX1173" fmla="*/ 1465802 w 1489995"/>
                <a:gd name="connsiteY1173" fmla="*/ 832676 h 1273968"/>
                <a:gd name="connsiteX1174" fmla="*/ 1465802 w 1489995"/>
                <a:gd name="connsiteY1174" fmla="*/ 832676 h 1273968"/>
                <a:gd name="connsiteX1175" fmla="*/ 1464659 w 1489995"/>
                <a:gd name="connsiteY1175" fmla="*/ 836105 h 1273968"/>
                <a:gd name="connsiteX1176" fmla="*/ 1469708 w 1489995"/>
                <a:gd name="connsiteY1176" fmla="*/ 838581 h 1273968"/>
                <a:gd name="connsiteX1177" fmla="*/ 1468946 w 1489995"/>
                <a:gd name="connsiteY1177" fmla="*/ 845153 h 1273968"/>
                <a:gd name="connsiteX1178" fmla="*/ 1467993 w 1489995"/>
                <a:gd name="connsiteY1178" fmla="*/ 850106 h 1273968"/>
                <a:gd name="connsiteX1179" fmla="*/ 1469803 w 1489995"/>
                <a:gd name="connsiteY1179" fmla="*/ 851440 h 1273968"/>
                <a:gd name="connsiteX1180" fmla="*/ 1469041 w 1489995"/>
                <a:gd name="connsiteY1180" fmla="*/ 857917 h 1273968"/>
                <a:gd name="connsiteX1181" fmla="*/ 1467422 w 1489995"/>
                <a:gd name="connsiteY1181" fmla="*/ 858203 h 1273968"/>
                <a:gd name="connsiteX1182" fmla="*/ 1465421 w 1489995"/>
                <a:gd name="connsiteY1182" fmla="*/ 855250 h 1273968"/>
                <a:gd name="connsiteX1183" fmla="*/ 1462850 w 1489995"/>
                <a:gd name="connsiteY1183" fmla="*/ 860298 h 1273968"/>
                <a:gd name="connsiteX1184" fmla="*/ 1466469 w 1489995"/>
                <a:gd name="connsiteY1184" fmla="*/ 863060 h 1273968"/>
                <a:gd name="connsiteX1185" fmla="*/ 1466660 w 1489995"/>
                <a:gd name="connsiteY1185" fmla="*/ 864680 h 1273968"/>
                <a:gd name="connsiteX1186" fmla="*/ 1467231 w 1489995"/>
                <a:gd name="connsiteY1186" fmla="*/ 869442 h 1273968"/>
                <a:gd name="connsiteX1187" fmla="*/ 1464088 w 1489995"/>
                <a:gd name="connsiteY1187" fmla="*/ 869823 h 1273968"/>
                <a:gd name="connsiteX1188" fmla="*/ 1462754 w 1489995"/>
                <a:gd name="connsiteY1188" fmla="*/ 871633 h 1273968"/>
                <a:gd name="connsiteX1189" fmla="*/ 1463326 w 1489995"/>
                <a:gd name="connsiteY1189" fmla="*/ 876300 h 1273968"/>
                <a:gd name="connsiteX1190" fmla="*/ 1463516 w 1489995"/>
                <a:gd name="connsiteY1190" fmla="*/ 877919 h 1273968"/>
                <a:gd name="connsiteX1191" fmla="*/ 1459421 w 1489995"/>
                <a:gd name="connsiteY1191" fmla="*/ 883253 h 1273968"/>
                <a:gd name="connsiteX1192" fmla="*/ 1455610 w 1489995"/>
                <a:gd name="connsiteY1192" fmla="*/ 878872 h 1273968"/>
                <a:gd name="connsiteX1193" fmla="*/ 1447990 w 1489995"/>
                <a:gd name="connsiteY1193" fmla="*/ 881539 h 1273968"/>
                <a:gd name="connsiteX1194" fmla="*/ 1448181 w 1489995"/>
                <a:gd name="connsiteY1194" fmla="*/ 883063 h 1273968"/>
                <a:gd name="connsiteX1195" fmla="*/ 1449896 w 1489995"/>
                <a:gd name="connsiteY1195" fmla="*/ 884491 h 1273968"/>
                <a:gd name="connsiteX1196" fmla="*/ 1448372 w 1489995"/>
                <a:gd name="connsiteY1196" fmla="*/ 884682 h 1273968"/>
                <a:gd name="connsiteX1197" fmla="*/ 1448943 w 1489995"/>
                <a:gd name="connsiteY1197" fmla="*/ 889349 h 1273968"/>
                <a:gd name="connsiteX1198" fmla="*/ 1444466 w 1489995"/>
                <a:gd name="connsiteY1198" fmla="*/ 891540 h 1273968"/>
                <a:gd name="connsiteX1199" fmla="*/ 1441228 w 1489995"/>
                <a:gd name="connsiteY1199" fmla="*/ 892016 h 1273968"/>
                <a:gd name="connsiteX1200" fmla="*/ 1441704 w 1489995"/>
                <a:gd name="connsiteY1200" fmla="*/ 895160 h 1273968"/>
                <a:gd name="connsiteX1201" fmla="*/ 1440085 w 1489995"/>
                <a:gd name="connsiteY1201" fmla="*/ 895350 h 1273968"/>
                <a:gd name="connsiteX1202" fmla="*/ 1436084 w 1489995"/>
                <a:gd name="connsiteY1202" fmla="*/ 889445 h 1273968"/>
                <a:gd name="connsiteX1203" fmla="*/ 1431036 w 1489995"/>
                <a:gd name="connsiteY1203" fmla="*/ 886873 h 1273968"/>
                <a:gd name="connsiteX1204" fmla="*/ 1428083 w 1489995"/>
                <a:gd name="connsiteY1204" fmla="*/ 888873 h 1273968"/>
                <a:gd name="connsiteX1205" fmla="*/ 1418177 w 1489995"/>
                <a:gd name="connsiteY1205" fmla="*/ 899732 h 1273968"/>
                <a:gd name="connsiteX1206" fmla="*/ 1418558 w 1489995"/>
                <a:gd name="connsiteY1206" fmla="*/ 902875 h 1273968"/>
                <a:gd name="connsiteX1207" fmla="*/ 1413701 w 1489995"/>
                <a:gd name="connsiteY1207" fmla="*/ 901922 h 1273968"/>
                <a:gd name="connsiteX1208" fmla="*/ 1411129 w 1489995"/>
                <a:gd name="connsiteY1208" fmla="*/ 907066 h 1273968"/>
                <a:gd name="connsiteX1209" fmla="*/ 1407223 w 1489995"/>
                <a:gd name="connsiteY1209" fmla="*/ 913924 h 1273968"/>
                <a:gd name="connsiteX1210" fmla="*/ 1407795 w 1489995"/>
                <a:gd name="connsiteY1210" fmla="*/ 918686 h 1273968"/>
                <a:gd name="connsiteX1211" fmla="*/ 1409795 w 1489995"/>
                <a:gd name="connsiteY1211" fmla="*/ 921639 h 1273968"/>
                <a:gd name="connsiteX1212" fmla="*/ 1414463 w 1489995"/>
                <a:gd name="connsiteY1212" fmla="*/ 921068 h 1273968"/>
                <a:gd name="connsiteX1213" fmla="*/ 1417606 w 1489995"/>
                <a:gd name="connsiteY1213" fmla="*/ 920591 h 1273968"/>
                <a:gd name="connsiteX1214" fmla="*/ 1416653 w 1489995"/>
                <a:gd name="connsiteY1214" fmla="*/ 925544 h 1273968"/>
                <a:gd name="connsiteX1215" fmla="*/ 1420273 w 1489995"/>
                <a:gd name="connsiteY1215" fmla="*/ 928307 h 1273968"/>
                <a:gd name="connsiteX1216" fmla="*/ 1419225 w 1489995"/>
                <a:gd name="connsiteY1216" fmla="*/ 933260 h 1273968"/>
                <a:gd name="connsiteX1217" fmla="*/ 1424368 w 1489995"/>
                <a:gd name="connsiteY1217" fmla="*/ 935831 h 1273968"/>
                <a:gd name="connsiteX1218" fmla="*/ 1421416 w 1489995"/>
                <a:gd name="connsiteY1218" fmla="*/ 937832 h 1273968"/>
                <a:gd name="connsiteX1219" fmla="*/ 1421892 w 1489995"/>
                <a:gd name="connsiteY1219" fmla="*/ 940975 h 1273968"/>
                <a:gd name="connsiteX1220" fmla="*/ 1419130 w 1489995"/>
                <a:gd name="connsiteY1220" fmla="*/ 944499 h 1273968"/>
                <a:gd name="connsiteX1221" fmla="*/ 1415891 w 1489995"/>
                <a:gd name="connsiteY1221" fmla="*/ 944880 h 1273968"/>
                <a:gd name="connsiteX1222" fmla="*/ 1413224 w 1489995"/>
                <a:gd name="connsiteY1222" fmla="*/ 948499 h 1273968"/>
                <a:gd name="connsiteX1223" fmla="*/ 1413415 w 1489995"/>
                <a:gd name="connsiteY1223" fmla="*/ 950024 h 1273968"/>
                <a:gd name="connsiteX1224" fmla="*/ 1409795 w 1489995"/>
                <a:gd name="connsiteY1224" fmla="*/ 947261 h 1273968"/>
                <a:gd name="connsiteX1225" fmla="*/ 1408271 w 1489995"/>
                <a:gd name="connsiteY1225" fmla="*/ 947452 h 1273968"/>
                <a:gd name="connsiteX1226" fmla="*/ 1406462 w 1489995"/>
                <a:gd name="connsiteY1226" fmla="*/ 946118 h 1273968"/>
                <a:gd name="connsiteX1227" fmla="*/ 1401889 w 1489995"/>
                <a:gd name="connsiteY1227" fmla="*/ 948309 h 1273968"/>
                <a:gd name="connsiteX1228" fmla="*/ 1394841 w 1489995"/>
                <a:gd name="connsiteY1228" fmla="*/ 942785 h 1273968"/>
                <a:gd name="connsiteX1229" fmla="*/ 1395413 w 1489995"/>
                <a:gd name="connsiteY1229" fmla="*/ 947547 h 1273968"/>
                <a:gd name="connsiteX1230" fmla="*/ 1392269 w 1489995"/>
                <a:gd name="connsiteY1230" fmla="*/ 947928 h 1273968"/>
                <a:gd name="connsiteX1231" fmla="*/ 1388745 w 1489995"/>
                <a:gd name="connsiteY1231" fmla="*/ 945166 h 1273968"/>
                <a:gd name="connsiteX1232" fmla="*/ 1387888 w 1489995"/>
                <a:gd name="connsiteY1232" fmla="*/ 938879 h 1273968"/>
                <a:gd name="connsiteX1233" fmla="*/ 1386554 w 1489995"/>
                <a:gd name="connsiteY1233" fmla="*/ 940594 h 1273968"/>
                <a:gd name="connsiteX1234" fmla="*/ 1384744 w 1489995"/>
                <a:gd name="connsiteY1234" fmla="*/ 939260 h 1273968"/>
                <a:gd name="connsiteX1235" fmla="*/ 1382363 w 1489995"/>
                <a:gd name="connsiteY1235" fmla="*/ 946023 h 1273968"/>
                <a:gd name="connsiteX1236" fmla="*/ 1378268 w 1489995"/>
                <a:gd name="connsiteY1236" fmla="*/ 951357 h 1273968"/>
                <a:gd name="connsiteX1237" fmla="*/ 1375886 w 1489995"/>
                <a:gd name="connsiteY1237" fmla="*/ 958024 h 1273968"/>
                <a:gd name="connsiteX1238" fmla="*/ 1377696 w 1489995"/>
                <a:gd name="connsiteY1238" fmla="*/ 959453 h 1273968"/>
                <a:gd name="connsiteX1239" fmla="*/ 1374934 w 1489995"/>
                <a:gd name="connsiteY1239" fmla="*/ 962978 h 1273968"/>
                <a:gd name="connsiteX1240" fmla="*/ 1375696 w 1489995"/>
                <a:gd name="connsiteY1240" fmla="*/ 969264 h 1273968"/>
                <a:gd name="connsiteX1241" fmla="*/ 1374172 w 1489995"/>
                <a:gd name="connsiteY1241" fmla="*/ 969455 h 1273968"/>
                <a:gd name="connsiteX1242" fmla="*/ 1373600 w 1489995"/>
                <a:gd name="connsiteY1242" fmla="*/ 964787 h 1273968"/>
                <a:gd name="connsiteX1243" fmla="*/ 1368647 w 1489995"/>
                <a:gd name="connsiteY1243" fmla="*/ 963740 h 1273968"/>
                <a:gd name="connsiteX1244" fmla="*/ 1361694 w 1489995"/>
                <a:gd name="connsiteY1244" fmla="*/ 972693 h 1273968"/>
                <a:gd name="connsiteX1245" fmla="*/ 1353026 w 1489995"/>
                <a:gd name="connsiteY1245" fmla="*/ 967359 h 1273968"/>
                <a:gd name="connsiteX1246" fmla="*/ 1345597 w 1489995"/>
                <a:gd name="connsiteY1246" fmla="*/ 971550 h 1273968"/>
                <a:gd name="connsiteX1247" fmla="*/ 1338453 w 1489995"/>
                <a:gd name="connsiteY1247" fmla="*/ 978884 h 1273968"/>
                <a:gd name="connsiteX1248" fmla="*/ 1336643 w 1489995"/>
                <a:gd name="connsiteY1248" fmla="*/ 977456 h 1273968"/>
                <a:gd name="connsiteX1249" fmla="*/ 1335310 w 1489995"/>
                <a:gd name="connsiteY1249" fmla="*/ 979265 h 1273968"/>
                <a:gd name="connsiteX1250" fmla="*/ 1330357 w 1489995"/>
                <a:gd name="connsiteY1250" fmla="*/ 978218 h 1273968"/>
                <a:gd name="connsiteX1251" fmla="*/ 1327214 w 1489995"/>
                <a:gd name="connsiteY1251" fmla="*/ 978694 h 1273968"/>
                <a:gd name="connsiteX1252" fmla="*/ 1326833 w 1489995"/>
                <a:gd name="connsiteY1252" fmla="*/ 975551 h 1273968"/>
                <a:gd name="connsiteX1253" fmla="*/ 1325880 w 1489995"/>
                <a:gd name="connsiteY1253" fmla="*/ 980408 h 1273968"/>
                <a:gd name="connsiteX1254" fmla="*/ 1325689 w 1489995"/>
                <a:gd name="connsiteY1254" fmla="*/ 978884 h 1273968"/>
                <a:gd name="connsiteX1255" fmla="*/ 1322451 w 1489995"/>
                <a:gd name="connsiteY1255" fmla="*/ 979265 h 1273968"/>
                <a:gd name="connsiteX1256" fmla="*/ 1317784 w 1489995"/>
                <a:gd name="connsiteY1256" fmla="*/ 979837 h 1273968"/>
                <a:gd name="connsiteX1257" fmla="*/ 1317022 w 1489995"/>
                <a:gd name="connsiteY1257" fmla="*/ 986409 h 1273968"/>
                <a:gd name="connsiteX1258" fmla="*/ 1313402 w 1489995"/>
                <a:gd name="connsiteY1258" fmla="*/ 983647 h 1273968"/>
                <a:gd name="connsiteX1259" fmla="*/ 1312069 w 1489995"/>
                <a:gd name="connsiteY1259" fmla="*/ 985457 h 1273968"/>
                <a:gd name="connsiteX1260" fmla="*/ 1314260 w 1489995"/>
                <a:gd name="connsiteY1260" fmla="*/ 989933 h 1273968"/>
                <a:gd name="connsiteX1261" fmla="*/ 1306544 w 1489995"/>
                <a:gd name="connsiteY1261" fmla="*/ 992505 h 1273968"/>
                <a:gd name="connsiteX1262" fmla="*/ 1306354 w 1489995"/>
                <a:gd name="connsiteY1262" fmla="*/ 990981 h 1273968"/>
                <a:gd name="connsiteX1263" fmla="*/ 1303592 w 1489995"/>
                <a:gd name="connsiteY1263" fmla="*/ 994505 h 1273968"/>
                <a:gd name="connsiteX1264" fmla="*/ 1301591 w 1489995"/>
                <a:gd name="connsiteY1264" fmla="*/ 991553 h 1273968"/>
                <a:gd name="connsiteX1265" fmla="*/ 1298639 w 1489995"/>
                <a:gd name="connsiteY1265" fmla="*/ 993553 h 1273968"/>
                <a:gd name="connsiteX1266" fmla="*/ 1298448 w 1489995"/>
                <a:gd name="connsiteY1266" fmla="*/ 991934 h 1273968"/>
                <a:gd name="connsiteX1267" fmla="*/ 1292162 w 1489995"/>
                <a:gd name="connsiteY1267" fmla="*/ 992791 h 1273968"/>
                <a:gd name="connsiteX1268" fmla="*/ 1291971 w 1489995"/>
                <a:gd name="connsiteY1268" fmla="*/ 991172 h 1273968"/>
                <a:gd name="connsiteX1269" fmla="*/ 1297400 w 1489995"/>
                <a:gd name="connsiteY1269" fmla="*/ 984028 h 1273968"/>
                <a:gd name="connsiteX1270" fmla="*/ 1295495 w 1489995"/>
                <a:gd name="connsiteY1270" fmla="*/ 981075 h 1273968"/>
                <a:gd name="connsiteX1271" fmla="*/ 1292257 w 1489995"/>
                <a:gd name="connsiteY1271" fmla="*/ 981551 h 1273968"/>
                <a:gd name="connsiteX1272" fmla="*/ 1289590 w 1489995"/>
                <a:gd name="connsiteY1272" fmla="*/ 985076 h 1273968"/>
                <a:gd name="connsiteX1273" fmla="*/ 1286161 w 1489995"/>
                <a:gd name="connsiteY1273" fmla="*/ 983932 h 1273968"/>
                <a:gd name="connsiteX1274" fmla="*/ 1283589 w 1489995"/>
                <a:gd name="connsiteY1274" fmla="*/ 989076 h 1273968"/>
                <a:gd name="connsiteX1275" fmla="*/ 1278922 w 1489995"/>
                <a:gd name="connsiteY1275" fmla="*/ 989648 h 1273968"/>
                <a:gd name="connsiteX1276" fmla="*/ 1277112 w 1489995"/>
                <a:gd name="connsiteY1276" fmla="*/ 988219 h 1273968"/>
                <a:gd name="connsiteX1277" fmla="*/ 1273207 w 1489995"/>
                <a:gd name="connsiteY1277" fmla="*/ 995172 h 1273968"/>
                <a:gd name="connsiteX1278" fmla="*/ 1271588 w 1489995"/>
                <a:gd name="connsiteY1278" fmla="*/ 995362 h 1273968"/>
                <a:gd name="connsiteX1279" fmla="*/ 1272064 w 1489995"/>
                <a:gd name="connsiteY1279" fmla="*/ 998506 h 1273968"/>
                <a:gd name="connsiteX1280" fmla="*/ 1275398 w 1489995"/>
                <a:gd name="connsiteY1280" fmla="*/ 999744 h 1273968"/>
                <a:gd name="connsiteX1281" fmla="*/ 1273969 w 1489995"/>
                <a:gd name="connsiteY1281" fmla="*/ 1001459 h 1273968"/>
                <a:gd name="connsiteX1282" fmla="*/ 1275969 w 1489995"/>
                <a:gd name="connsiteY1282" fmla="*/ 1004411 h 1273968"/>
                <a:gd name="connsiteX1283" fmla="*/ 1268444 w 1489995"/>
                <a:gd name="connsiteY1283" fmla="*/ 1008602 h 1273968"/>
                <a:gd name="connsiteX1284" fmla="*/ 1269683 w 1489995"/>
                <a:gd name="connsiteY1284" fmla="*/ 1018032 h 1273968"/>
                <a:gd name="connsiteX1285" fmla="*/ 1270540 w 1489995"/>
                <a:gd name="connsiteY1285" fmla="*/ 1024414 h 1273968"/>
                <a:gd name="connsiteX1286" fmla="*/ 1256729 w 1489995"/>
                <a:gd name="connsiteY1286" fmla="*/ 1029367 h 1273968"/>
                <a:gd name="connsiteX1287" fmla="*/ 1258634 w 1489995"/>
                <a:gd name="connsiteY1287" fmla="*/ 1032320 h 1273968"/>
                <a:gd name="connsiteX1288" fmla="*/ 1253395 w 1489995"/>
                <a:gd name="connsiteY1288" fmla="*/ 1040987 h 1273968"/>
                <a:gd name="connsiteX1289" fmla="*/ 1251776 w 1489995"/>
                <a:gd name="connsiteY1289" fmla="*/ 1041178 h 1273968"/>
                <a:gd name="connsiteX1290" fmla="*/ 1251394 w 1489995"/>
                <a:gd name="connsiteY1290" fmla="*/ 1038035 h 1273968"/>
                <a:gd name="connsiteX1291" fmla="*/ 1250061 w 1489995"/>
                <a:gd name="connsiteY1291" fmla="*/ 1039844 h 1273968"/>
                <a:gd name="connsiteX1292" fmla="*/ 1250061 w 1489995"/>
                <a:gd name="connsiteY1292" fmla="*/ 1039844 h 1273968"/>
                <a:gd name="connsiteX1293" fmla="*/ 1246823 w 1489995"/>
                <a:gd name="connsiteY1293" fmla="*/ 1040225 h 1273968"/>
                <a:gd name="connsiteX1294" fmla="*/ 1248632 w 1489995"/>
                <a:gd name="connsiteY1294" fmla="*/ 1041559 h 1273968"/>
                <a:gd name="connsiteX1295" fmla="*/ 1245489 w 1489995"/>
                <a:gd name="connsiteY1295" fmla="*/ 1042035 h 1273968"/>
                <a:gd name="connsiteX1296" fmla="*/ 1247489 w 1489995"/>
                <a:gd name="connsiteY1296" fmla="*/ 1044988 h 1273968"/>
                <a:gd name="connsiteX1297" fmla="*/ 1244727 w 1489995"/>
                <a:gd name="connsiteY1297" fmla="*/ 1048512 h 1273968"/>
                <a:gd name="connsiteX1298" fmla="*/ 1243775 w 1489995"/>
                <a:gd name="connsiteY1298" fmla="*/ 1053465 h 1273968"/>
                <a:gd name="connsiteX1299" fmla="*/ 1242536 w 1489995"/>
                <a:gd name="connsiteY1299" fmla="*/ 1056799 h 1273968"/>
                <a:gd name="connsiteX1300" fmla="*/ 1244727 w 1489995"/>
                <a:gd name="connsiteY1300" fmla="*/ 1061371 h 1273968"/>
                <a:gd name="connsiteX1301" fmla="*/ 1242822 w 1489995"/>
                <a:gd name="connsiteY1301" fmla="*/ 1071182 h 1273968"/>
                <a:gd name="connsiteX1302" fmla="*/ 1245013 w 1489995"/>
                <a:gd name="connsiteY1302" fmla="*/ 1075754 h 1273968"/>
                <a:gd name="connsiteX1303" fmla="*/ 1243965 w 1489995"/>
                <a:gd name="connsiteY1303" fmla="*/ 1080707 h 1273968"/>
                <a:gd name="connsiteX1304" fmla="*/ 1247585 w 1489995"/>
                <a:gd name="connsiteY1304" fmla="*/ 1083469 h 1273968"/>
                <a:gd name="connsiteX1305" fmla="*/ 1245965 w 1489995"/>
                <a:gd name="connsiteY1305" fmla="*/ 1083659 h 1273968"/>
                <a:gd name="connsiteX1306" fmla="*/ 1248537 w 1489995"/>
                <a:gd name="connsiteY1306" fmla="*/ 1091375 h 1273968"/>
                <a:gd name="connsiteX1307" fmla="*/ 1251680 w 1489995"/>
                <a:gd name="connsiteY1307" fmla="*/ 1090898 h 1273968"/>
                <a:gd name="connsiteX1308" fmla="*/ 1255681 w 1489995"/>
                <a:gd name="connsiteY1308" fmla="*/ 1084040 h 1273968"/>
                <a:gd name="connsiteX1309" fmla="*/ 1263587 w 1489995"/>
                <a:gd name="connsiteY1309" fmla="*/ 1095851 h 1273968"/>
                <a:gd name="connsiteX1310" fmla="*/ 1271302 w 1489995"/>
                <a:gd name="connsiteY1310" fmla="*/ 1093280 h 1273968"/>
                <a:gd name="connsiteX1311" fmla="*/ 1282541 w 1489995"/>
                <a:gd name="connsiteY1311" fmla="*/ 1093375 h 1273968"/>
                <a:gd name="connsiteX1312" fmla="*/ 1281493 w 1489995"/>
                <a:gd name="connsiteY1312" fmla="*/ 1098328 h 1273968"/>
                <a:gd name="connsiteX1313" fmla="*/ 1285875 w 1489995"/>
                <a:gd name="connsiteY1313" fmla="*/ 1107377 h 1273968"/>
                <a:gd name="connsiteX1314" fmla="*/ 1293590 w 1489995"/>
                <a:gd name="connsiteY1314" fmla="*/ 1117664 h 1273968"/>
                <a:gd name="connsiteX1315" fmla="*/ 1294257 w 1489995"/>
                <a:gd name="connsiteY1315" fmla="*/ 1122426 h 1273968"/>
                <a:gd name="connsiteX1316" fmla="*/ 1291304 w 1489995"/>
                <a:gd name="connsiteY1316" fmla="*/ 1124331 h 1273968"/>
                <a:gd name="connsiteX1317" fmla="*/ 1290066 w 1489995"/>
                <a:gd name="connsiteY1317" fmla="*/ 1127760 h 1273968"/>
                <a:gd name="connsiteX1318" fmla="*/ 1293876 w 1489995"/>
                <a:gd name="connsiteY1318" fmla="*/ 1132046 h 1273968"/>
                <a:gd name="connsiteX1319" fmla="*/ 1290161 w 1489995"/>
                <a:gd name="connsiteY1319" fmla="*/ 1140524 h 1273968"/>
                <a:gd name="connsiteX1320" fmla="*/ 1286542 w 1489995"/>
                <a:gd name="connsiteY1320" fmla="*/ 1137761 h 1273968"/>
                <a:gd name="connsiteX1321" fmla="*/ 1287209 w 1489995"/>
                <a:gd name="connsiteY1321" fmla="*/ 1142524 h 1273968"/>
                <a:gd name="connsiteX1322" fmla="*/ 1285399 w 1489995"/>
                <a:gd name="connsiteY1322" fmla="*/ 1141190 h 1273968"/>
                <a:gd name="connsiteX1323" fmla="*/ 1285589 w 1489995"/>
                <a:gd name="connsiteY1323" fmla="*/ 1142714 h 1273968"/>
                <a:gd name="connsiteX1324" fmla="*/ 1283970 w 1489995"/>
                <a:gd name="connsiteY1324" fmla="*/ 1142905 h 1273968"/>
                <a:gd name="connsiteX1325" fmla="*/ 1279684 w 1489995"/>
                <a:gd name="connsiteY1325" fmla="*/ 1146715 h 1273968"/>
                <a:gd name="connsiteX1326" fmla="*/ 1280255 w 1489995"/>
                <a:gd name="connsiteY1326" fmla="*/ 1151477 h 1273968"/>
                <a:gd name="connsiteX1327" fmla="*/ 1274159 w 1489995"/>
                <a:gd name="connsiteY1327" fmla="*/ 1153859 h 1273968"/>
                <a:gd name="connsiteX1328" fmla="*/ 1273969 w 1489995"/>
                <a:gd name="connsiteY1328" fmla="*/ 1152239 h 1273968"/>
                <a:gd name="connsiteX1329" fmla="*/ 1270826 w 1489995"/>
                <a:gd name="connsiteY1329" fmla="*/ 1152620 h 1273968"/>
                <a:gd name="connsiteX1330" fmla="*/ 1266254 w 1489995"/>
                <a:gd name="connsiteY1330" fmla="*/ 1154811 h 1273968"/>
                <a:gd name="connsiteX1331" fmla="*/ 1264253 w 1489995"/>
                <a:gd name="connsiteY1331" fmla="*/ 1151858 h 1273968"/>
                <a:gd name="connsiteX1332" fmla="*/ 1261586 w 1489995"/>
                <a:gd name="connsiteY1332" fmla="*/ 1155383 h 1273968"/>
                <a:gd name="connsiteX1333" fmla="*/ 1259110 w 1489995"/>
                <a:gd name="connsiteY1333" fmla="*/ 1149287 h 1273968"/>
                <a:gd name="connsiteX1334" fmla="*/ 1252252 w 1489995"/>
                <a:gd name="connsiteY1334" fmla="*/ 1145381 h 1273968"/>
                <a:gd name="connsiteX1335" fmla="*/ 1251109 w 1489995"/>
                <a:gd name="connsiteY1335" fmla="*/ 1148715 h 1273968"/>
                <a:gd name="connsiteX1336" fmla="*/ 1246156 w 1489995"/>
                <a:gd name="connsiteY1336" fmla="*/ 1147762 h 1273968"/>
                <a:gd name="connsiteX1337" fmla="*/ 1247108 w 1489995"/>
                <a:gd name="connsiteY1337" fmla="*/ 1155668 h 1273968"/>
                <a:gd name="connsiteX1338" fmla="*/ 1247108 w 1489995"/>
                <a:gd name="connsiteY1338" fmla="*/ 1155668 h 1273968"/>
                <a:gd name="connsiteX1339" fmla="*/ 1244156 w 1489995"/>
                <a:gd name="connsiteY1339" fmla="*/ 1157669 h 1273968"/>
                <a:gd name="connsiteX1340" fmla="*/ 1240631 w 1489995"/>
                <a:gd name="connsiteY1340" fmla="*/ 1154906 h 1273968"/>
                <a:gd name="connsiteX1341" fmla="*/ 1241774 w 1489995"/>
                <a:gd name="connsiteY1341" fmla="*/ 1151573 h 1273968"/>
                <a:gd name="connsiteX1342" fmla="*/ 1237107 w 1489995"/>
                <a:gd name="connsiteY1342" fmla="*/ 1152144 h 1273968"/>
                <a:gd name="connsiteX1343" fmla="*/ 1237488 w 1489995"/>
                <a:gd name="connsiteY1343" fmla="*/ 1155287 h 1273968"/>
                <a:gd name="connsiteX1344" fmla="*/ 1241012 w 1489995"/>
                <a:gd name="connsiteY1344" fmla="*/ 1158050 h 1273968"/>
                <a:gd name="connsiteX1345" fmla="*/ 1240060 w 1489995"/>
                <a:gd name="connsiteY1345" fmla="*/ 1163003 h 1273968"/>
                <a:gd name="connsiteX1346" fmla="*/ 1235297 w 1489995"/>
                <a:gd name="connsiteY1346" fmla="*/ 1163574 h 1273968"/>
                <a:gd name="connsiteX1347" fmla="*/ 1235678 w 1489995"/>
                <a:gd name="connsiteY1347" fmla="*/ 1166717 h 1273968"/>
                <a:gd name="connsiteX1348" fmla="*/ 1234345 w 1489995"/>
                <a:gd name="connsiteY1348" fmla="*/ 1168527 h 1273968"/>
                <a:gd name="connsiteX1349" fmla="*/ 1233202 w 1489995"/>
                <a:gd name="connsiteY1349" fmla="*/ 1171861 h 1273968"/>
                <a:gd name="connsiteX1350" fmla="*/ 1235107 w 1489995"/>
                <a:gd name="connsiteY1350" fmla="*/ 1174814 h 1273968"/>
                <a:gd name="connsiteX1351" fmla="*/ 1233773 w 1489995"/>
                <a:gd name="connsiteY1351" fmla="*/ 1176623 h 1273968"/>
                <a:gd name="connsiteX1352" fmla="*/ 1233964 w 1489995"/>
                <a:gd name="connsiteY1352" fmla="*/ 1178147 h 1273968"/>
                <a:gd name="connsiteX1353" fmla="*/ 1225868 w 1489995"/>
                <a:gd name="connsiteY1353" fmla="*/ 1177576 h 1273968"/>
                <a:gd name="connsiteX1354" fmla="*/ 1225296 w 1489995"/>
                <a:gd name="connsiteY1354" fmla="*/ 1172909 h 1273968"/>
                <a:gd name="connsiteX1355" fmla="*/ 1222915 w 1489995"/>
                <a:gd name="connsiteY1355" fmla="*/ 1166812 h 1273968"/>
                <a:gd name="connsiteX1356" fmla="*/ 1215962 w 1489995"/>
                <a:gd name="connsiteY1356" fmla="*/ 1162812 h 1273968"/>
                <a:gd name="connsiteX1357" fmla="*/ 1216343 w 1489995"/>
                <a:gd name="connsiteY1357" fmla="*/ 1165955 h 1273968"/>
                <a:gd name="connsiteX1358" fmla="*/ 1214628 w 1489995"/>
                <a:gd name="connsiteY1358" fmla="*/ 1164622 h 1273968"/>
                <a:gd name="connsiteX1359" fmla="*/ 1214818 w 1489995"/>
                <a:gd name="connsiteY1359" fmla="*/ 1166146 h 1273968"/>
                <a:gd name="connsiteX1360" fmla="*/ 1211675 w 1489995"/>
                <a:gd name="connsiteY1360" fmla="*/ 1166622 h 1273968"/>
                <a:gd name="connsiteX1361" fmla="*/ 1206913 w 1489995"/>
                <a:gd name="connsiteY1361" fmla="*/ 1167194 h 1273968"/>
                <a:gd name="connsiteX1362" fmla="*/ 1205103 w 1489995"/>
                <a:gd name="connsiteY1362" fmla="*/ 1165860 h 1273968"/>
                <a:gd name="connsiteX1363" fmla="*/ 1203103 w 1489995"/>
                <a:gd name="connsiteY1363" fmla="*/ 1162907 h 1273968"/>
                <a:gd name="connsiteX1364" fmla="*/ 1202912 w 1489995"/>
                <a:gd name="connsiteY1364" fmla="*/ 1161288 h 1273968"/>
                <a:gd name="connsiteX1365" fmla="*/ 1198245 w 1489995"/>
                <a:gd name="connsiteY1365" fmla="*/ 1161860 h 1273968"/>
                <a:gd name="connsiteX1366" fmla="*/ 1199198 w 1489995"/>
                <a:gd name="connsiteY1366" fmla="*/ 1157002 h 1273968"/>
                <a:gd name="connsiteX1367" fmla="*/ 1200722 w 1489995"/>
                <a:gd name="connsiteY1367" fmla="*/ 1156716 h 1273968"/>
                <a:gd name="connsiteX1368" fmla="*/ 1202150 w 1489995"/>
                <a:gd name="connsiteY1368" fmla="*/ 1155002 h 1273968"/>
                <a:gd name="connsiteX1369" fmla="*/ 1197388 w 1489995"/>
                <a:gd name="connsiteY1369" fmla="*/ 1155573 h 1273968"/>
                <a:gd name="connsiteX1370" fmla="*/ 1196245 w 1489995"/>
                <a:gd name="connsiteY1370" fmla="*/ 1158907 h 1273968"/>
                <a:gd name="connsiteX1371" fmla="*/ 1194435 w 1489995"/>
                <a:gd name="connsiteY1371" fmla="*/ 1157573 h 1273968"/>
                <a:gd name="connsiteX1372" fmla="*/ 1191292 w 1489995"/>
                <a:gd name="connsiteY1372" fmla="*/ 1157954 h 1273968"/>
                <a:gd name="connsiteX1373" fmla="*/ 1192339 w 1489995"/>
                <a:gd name="connsiteY1373" fmla="*/ 1165860 h 1273968"/>
                <a:gd name="connsiteX1374" fmla="*/ 1187196 w 1489995"/>
                <a:gd name="connsiteY1374" fmla="*/ 1163288 h 1273968"/>
                <a:gd name="connsiteX1375" fmla="*/ 1179481 w 1489995"/>
                <a:gd name="connsiteY1375" fmla="*/ 1165860 h 1273968"/>
                <a:gd name="connsiteX1376" fmla="*/ 1177862 w 1489995"/>
                <a:gd name="connsiteY1376" fmla="*/ 1166051 h 1273968"/>
                <a:gd name="connsiteX1377" fmla="*/ 1178338 w 1489995"/>
                <a:gd name="connsiteY1377" fmla="*/ 1169194 h 1273968"/>
                <a:gd name="connsiteX1378" fmla="*/ 1175099 w 1489995"/>
                <a:gd name="connsiteY1378" fmla="*/ 1169670 h 1273968"/>
                <a:gd name="connsiteX1379" fmla="*/ 1171575 w 1489995"/>
                <a:gd name="connsiteY1379" fmla="*/ 1166908 h 1273968"/>
                <a:gd name="connsiteX1380" fmla="*/ 1170432 w 1489995"/>
                <a:gd name="connsiteY1380" fmla="*/ 1170241 h 1273968"/>
                <a:gd name="connsiteX1381" fmla="*/ 1167289 w 1489995"/>
                <a:gd name="connsiteY1381" fmla="*/ 1170623 h 1273968"/>
                <a:gd name="connsiteX1382" fmla="*/ 1163860 w 1489995"/>
                <a:gd name="connsiteY1382" fmla="*/ 1169480 h 1273968"/>
                <a:gd name="connsiteX1383" fmla="*/ 1157954 w 1489995"/>
                <a:gd name="connsiteY1383" fmla="*/ 1173385 h 1273968"/>
                <a:gd name="connsiteX1384" fmla="*/ 1150715 w 1489995"/>
                <a:gd name="connsiteY1384" fmla="*/ 1166336 h 1273968"/>
                <a:gd name="connsiteX1385" fmla="*/ 1146143 w 1489995"/>
                <a:gd name="connsiteY1385" fmla="*/ 1168527 h 1273968"/>
                <a:gd name="connsiteX1386" fmla="*/ 1143952 w 1489995"/>
                <a:gd name="connsiteY1386" fmla="*/ 1163955 h 1273968"/>
                <a:gd name="connsiteX1387" fmla="*/ 1137856 w 1489995"/>
                <a:gd name="connsiteY1387" fmla="*/ 1166336 h 1273968"/>
                <a:gd name="connsiteX1388" fmla="*/ 1136618 w 1489995"/>
                <a:gd name="connsiteY1388" fmla="*/ 1169765 h 1273968"/>
                <a:gd name="connsiteX1389" fmla="*/ 1134904 w 1489995"/>
                <a:gd name="connsiteY1389" fmla="*/ 1168337 h 1273968"/>
                <a:gd name="connsiteX1390" fmla="*/ 1133475 w 1489995"/>
                <a:gd name="connsiteY1390" fmla="*/ 1170146 h 1273968"/>
                <a:gd name="connsiteX1391" fmla="*/ 1131284 w 1489995"/>
                <a:gd name="connsiteY1391" fmla="*/ 1165574 h 1273968"/>
                <a:gd name="connsiteX1392" fmla="*/ 1129760 w 1489995"/>
                <a:gd name="connsiteY1392" fmla="*/ 1165765 h 1273968"/>
                <a:gd name="connsiteX1393" fmla="*/ 1129951 w 1489995"/>
                <a:gd name="connsiteY1393" fmla="*/ 1167384 h 1273968"/>
                <a:gd name="connsiteX1394" fmla="*/ 1124807 w 1489995"/>
                <a:gd name="connsiteY1394" fmla="*/ 1164812 h 1273968"/>
                <a:gd name="connsiteX1395" fmla="*/ 1126236 w 1489995"/>
                <a:gd name="connsiteY1395" fmla="*/ 1163098 h 1273968"/>
                <a:gd name="connsiteX1396" fmla="*/ 1120902 w 1489995"/>
                <a:gd name="connsiteY1396" fmla="*/ 1158907 h 1273968"/>
                <a:gd name="connsiteX1397" fmla="*/ 1120616 w 1489995"/>
                <a:gd name="connsiteY1397" fmla="*/ 1157383 h 1273968"/>
                <a:gd name="connsiteX1398" fmla="*/ 1108234 w 1489995"/>
                <a:gd name="connsiteY1398" fmla="*/ 1160526 h 1273968"/>
                <a:gd name="connsiteX1399" fmla="*/ 1101947 w 1489995"/>
                <a:gd name="connsiteY1399" fmla="*/ 1161288 h 1273968"/>
                <a:gd name="connsiteX1400" fmla="*/ 1096804 w 1489995"/>
                <a:gd name="connsiteY1400" fmla="*/ 1171575 h 1273968"/>
                <a:gd name="connsiteX1401" fmla="*/ 1100328 w 1489995"/>
                <a:gd name="connsiteY1401" fmla="*/ 1174337 h 1273968"/>
                <a:gd name="connsiteX1402" fmla="*/ 1105281 w 1489995"/>
                <a:gd name="connsiteY1402" fmla="*/ 1175290 h 1273968"/>
                <a:gd name="connsiteX1403" fmla="*/ 1109281 w 1489995"/>
                <a:gd name="connsiteY1403" fmla="*/ 1181195 h 1273968"/>
                <a:gd name="connsiteX1404" fmla="*/ 1107853 w 1489995"/>
                <a:gd name="connsiteY1404" fmla="*/ 1183005 h 1273968"/>
                <a:gd name="connsiteX1405" fmla="*/ 1110043 w 1489995"/>
                <a:gd name="connsiteY1405" fmla="*/ 1187577 h 1273968"/>
                <a:gd name="connsiteX1406" fmla="*/ 1108710 w 1489995"/>
                <a:gd name="connsiteY1406" fmla="*/ 1189291 h 1273968"/>
                <a:gd name="connsiteX1407" fmla="*/ 1102614 w 1489995"/>
                <a:gd name="connsiteY1407" fmla="*/ 1191673 h 1273968"/>
                <a:gd name="connsiteX1408" fmla="*/ 1091089 w 1489995"/>
                <a:gd name="connsiteY1408" fmla="*/ 1189958 h 1273968"/>
                <a:gd name="connsiteX1409" fmla="*/ 1088612 w 1489995"/>
                <a:gd name="connsiteY1409" fmla="*/ 1195102 h 1273968"/>
                <a:gd name="connsiteX1410" fmla="*/ 1081468 w 1489995"/>
                <a:gd name="connsiteY1410" fmla="*/ 1189577 h 1273968"/>
                <a:gd name="connsiteX1411" fmla="*/ 1076706 w 1489995"/>
                <a:gd name="connsiteY1411" fmla="*/ 1190244 h 1273968"/>
                <a:gd name="connsiteX1412" fmla="*/ 1073944 w 1489995"/>
                <a:gd name="connsiteY1412" fmla="*/ 1193768 h 1273968"/>
                <a:gd name="connsiteX1413" fmla="*/ 1074801 w 1489995"/>
                <a:gd name="connsiteY1413" fmla="*/ 1200055 h 1273968"/>
                <a:gd name="connsiteX1414" fmla="*/ 1073372 w 1489995"/>
                <a:gd name="connsiteY1414" fmla="*/ 1201865 h 1273968"/>
                <a:gd name="connsiteX1415" fmla="*/ 1072039 w 1489995"/>
                <a:gd name="connsiteY1415" fmla="*/ 1203579 h 1273968"/>
                <a:gd name="connsiteX1416" fmla="*/ 1075563 w 1489995"/>
                <a:gd name="connsiteY1416" fmla="*/ 1206341 h 1273968"/>
                <a:gd name="connsiteX1417" fmla="*/ 1079754 w 1489995"/>
                <a:gd name="connsiteY1417" fmla="*/ 1213866 h 1273968"/>
                <a:gd name="connsiteX1418" fmla="*/ 1076611 w 1489995"/>
                <a:gd name="connsiteY1418" fmla="*/ 1214247 h 1273968"/>
                <a:gd name="connsiteX1419" fmla="*/ 1071848 w 1489995"/>
                <a:gd name="connsiteY1419" fmla="*/ 1214914 h 1273968"/>
                <a:gd name="connsiteX1420" fmla="*/ 1070515 w 1489995"/>
                <a:gd name="connsiteY1420" fmla="*/ 1216628 h 1273968"/>
                <a:gd name="connsiteX1421" fmla="*/ 1071277 w 1489995"/>
                <a:gd name="connsiteY1421" fmla="*/ 1223010 h 1273968"/>
                <a:gd name="connsiteX1422" fmla="*/ 1066514 w 1489995"/>
                <a:gd name="connsiteY1422" fmla="*/ 1223582 h 1273968"/>
                <a:gd name="connsiteX1423" fmla="*/ 1065562 w 1489995"/>
                <a:gd name="connsiteY1423" fmla="*/ 1228535 h 1273968"/>
                <a:gd name="connsiteX1424" fmla="*/ 1064038 w 1489995"/>
                <a:gd name="connsiteY1424" fmla="*/ 1228725 h 1273968"/>
                <a:gd name="connsiteX1425" fmla="*/ 1058894 w 1489995"/>
                <a:gd name="connsiteY1425" fmla="*/ 1226153 h 1273968"/>
                <a:gd name="connsiteX1426" fmla="*/ 1056323 w 1489995"/>
                <a:gd name="connsiteY1426" fmla="*/ 1231297 h 1273968"/>
                <a:gd name="connsiteX1427" fmla="*/ 1051369 w 1489995"/>
                <a:gd name="connsiteY1427" fmla="*/ 1230344 h 1273968"/>
                <a:gd name="connsiteX1428" fmla="*/ 1048988 w 1489995"/>
                <a:gd name="connsiteY1428" fmla="*/ 1224248 h 1273968"/>
                <a:gd name="connsiteX1429" fmla="*/ 1041844 w 1489995"/>
                <a:gd name="connsiteY1429" fmla="*/ 1218724 h 1273968"/>
                <a:gd name="connsiteX1430" fmla="*/ 1046226 w 1489995"/>
                <a:gd name="connsiteY1430" fmla="*/ 1214914 h 1273968"/>
                <a:gd name="connsiteX1431" fmla="*/ 1041083 w 1489995"/>
                <a:gd name="connsiteY1431" fmla="*/ 1212342 h 1273968"/>
                <a:gd name="connsiteX1432" fmla="*/ 1039082 w 1489995"/>
                <a:gd name="connsiteY1432" fmla="*/ 1209389 h 1273968"/>
                <a:gd name="connsiteX1433" fmla="*/ 1040511 w 1489995"/>
                <a:gd name="connsiteY1433" fmla="*/ 1207675 h 1273968"/>
                <a:gd name="connsiteX1434" fmla="*/ 1038701 w 1489995"/>
                <a:gd name="connsiteY1434" fmla="*/ 1206246 h 1273968"/>
                <a:gd name="connsiteX1435" fmla="*/ 1036892 w 1489995"/>
                <a:gd name="connsiteY1435" fmla="*/ 1204912 h 1273968"/>
                <a:gd name="connsiteX1436" fmla="*/ 1035463 w 1489995"/>
                <a:gd name="connsiteY1436" fmla="*/ 1193864 h 1273968"/>
                <a:gd name="connsiteX1437" fmla="*/ 1031176 w 1489995"/>
                <a:gd name="connsiteY1437" fmla="*/ 1197578 h 1273968"/>
                <a:gd name="connsiteX1438" fmla="*/ 1032319 w 1489995"/>
                <a:gd name="connsiteY1438" fmla="*/ 1194245 h 1273968"/>
                <a:gd name="connsiteX1439" fmla="*/ 1031938 w 1489995"/>
                <a:gd name="connsiteY1439" fmla="*/ 1191101 h 1273968"/>
                <a:gd name="connsiteX1440" fmla="*/ 1030319 w 1489995"/>
                <a:gd name="connsiteY1440" fmla="*/ 1191292 h 1273968"/>
                <a:gd name="connsiteX1441" fmla="*/ 1031748 w 1489995"/>
                <a:gd name="connsiteY1441" fmla="*/ 1189482 h 1273968"/>
                <a:gd name="connsiteX1442" fmla="*/ 1031176 w 1489995"/>
                <a:gd name="connsiteY1442" fmla="*/ 1184815 h 1273968"/>
                <a:gd name="connsiteX1443" fmla="*/ 1026223 w 1489995"/>
                <a:gd name="connsiteY1443" fmla="*/ 1183767 h 1273968"/>
                <a:gd name="connsiteX1444" fmla="*/ 1029367 w 1489995"/>
                <a:gd name="connsiteY1444" fmla="*/ 1183386 h 1273968"/>
                <a:gd name="connsiteX1445" fmla="*/ 1032510 w 1489995"/>
                <a:gd name="connsiteY1445" fmla="*/ 1183005 h 1273968"/>
                <a:gd name="connsiteX1446" fmla="*/ 1032319 w 1489995"/>
                <a:gd name="connsiteY1446" fmla="*/ 1181386 h 1273968"/>
                <a:gd name="connsiteX1447" fmla="*/ 1025557 w 1489995"/>
                <a:gd name="connsiteY1447" fmla="*/ 1179100 h 1273968"/>
                <a:gd name="connsiteX1448" fmla="*/ 1025176 w 1489995"/>
                <a:gd name="connsiteY1448" fmla="*/ 1175957 h 1273968"/>
                <a:gd name="connsiteX1449" fmla="*/ 1024223 w 1489995"/>
                <a:gd name="connsiteY1449" fmla="*/ 1180814 h 1273968"/>
                <a:gd name="connsiteX1450" fmla="*/ 1021080 w 1489995"/>
                <a:gd name="connsiteY1450" fmla="*/ 1181291 h 1273968"/>
                <a:gd name="connsiteX1451" fmla="*/ 1019080 w 1489995"/>
                <a:gd name="connsiteY1451" fmla="*/ 1178338 h 1273968"/>
                <a:gd name="connsiteX1452" fmla="*/ 1016127 w 1489995"/>
                <a:gd name="connsiteY1452" fmla="*/ 1180243 h 1273968"/>
                <a:gd name="connsiteX1453" fmla="*/ 1012603 w 1489995"/>
                <a:gd name="connsiteY1453" fmla="*/ 1190339 h 1273968"/>
                <a:gd name="connsiteX1454" fmla="*/ 1014413 w 1489995"/>
                <a:gd name="connsiteY1454" fmla="*/ 1191768 h 1273968"/>
                <a:gd name="connsiteX1455" fmla="*/ 1012984 w 1489995"/>
                <a:gd name="connsiteY1455" fmla="*/ 1193483 h 1273968"/>
                <a:gd name="connsiteX1456" fmla="*/ 1009650 w 1489995"/>
                <a:gd name="connsiteY1456" fmla="*/ 1192340 h 1273968"/>
                <a:gd name="connsiteX1457" fmla="*/ 1009079 w 1489995"/>
                <a:gd name="connsiteY1457" fmla="*/ 1187577 h 1273968"/>
                <a:gd name="connsiteX1458" fmla="*/ 1005268 w 1489995"/>
                <a:gd name="connsiteY1458" fmla="*/ 1183291 h 1273968"/>
                <a:gd name="connsiteX1459" fmla="*/ 1003744 w 1489995"/>
                <a:gd name="connsiteY1459" fmla="*/ 1183481 h 1273968"/>
                <a:gd name="connsiteX1460" fmla="*/ 998601 w 1489995"/>
                <a:gd name="connsiteY1460" fmla="*/ 1180910 h 1273968"/>
                <a:gd name="connsiteX1461" fmla="*/ 992791 w 1489995"/>
                <a:gd name="connsiteY1461" fmla="*/ 1173671 h 1273968"/>
                <a:gd name="connsiteX1462" fmla="*/ 988219 w 1489995"/>
                <a:gd name="connsiteY1462" fmla="*/ 1163003 h 1273968"/>
                <a:gd name="connsiteX1463" fmla="*/ 985076 w 1489995"/>
                <a:gd name="connsiteY1463" fmla="*/ 1163384 h 1273968"/>
                <a:gd name="connsiteX1464" fmla="*/ 981932 w 1489995"/>
                <a:gd name="connsiteY1464" fmla="*/ 1163765 h 1273968"/>
                <a:gd name="connsiteX1465" fmla="*/ 965359 w 1489995"/>
                <a:gd name="connsiteY1465" fmla="*/ 1159478 h 1273968"/>
                <a:gd name="connsiteX1466" fmla="*/ 962977 w 1489995"/>
                <a:gd name="connsiteY1466" fmla="*/ 1153382 h 1273968"/>
                <a:gd name="connsiteX1467" fmla="*/ 953643 w 1489995"/>
                <a:gd name="connsiteY1467" fmla="*/ 1143286 h 1273968"/>
                <a:gd name="connsiteX1468" fmla="*/ 955072 w 1489995"/>
                <a:gd name="connsiteY1468" fmla="*/ 1141571 h 1273968"/>
                <a:gd name="connsiteX1469" fmla="*/ 953262 w 1489995"/>
                <a:gd name="connsiteY1469" fmla="*/ 1140143 h 1273968"/>
                <a:gd name="connsiteX1470" fmla="*/ 952500 w 1489995"/>
                <a:gd name="connsiteY1470" fmla="*/ 1146715 h 1273968"/>
                <a:gd name="connsiteX1471" fmla="*/ 951738 w 1489995"/>
                <a:gd name="connsiteY1471" fmla="*/ 1153192 h 1273968"/>
                <a:gd name="connsiteX1472" fmla="*/ 943832 w 1489995"/>
                <a:gd name="connsiteY1472" fmla="*/ 1154240 h 1273968"/>
                <a:gd name="connsiteX1473" fmla="*/ 944023 w 1489995"/>
                <a:gd name="connsiteY1473" fmla="*/ 1155764 h 1273968"/>
                <a:gd name="connsiteX1474" fmla="*/ 941070 w 1489995"/>
                <a:gd name="connsiteY1474" fmla="*/ 1157764 h 1273968"/>
                <a:gd name="connsiteX1475" fmla="*/ 941260 w 1489995"/>
                <a:gd name="connsiteY1475" fmla="*/ 1159383 h 1273968"/>
                <a:gd name="connsiteX1476" fmla="*/ 939546 w 1489995"/>
                <a:gd name="connsiteY1476" fmla="*/ 1157954 h 1273968"/>
                <a:gd name="connsiteX1477" fmla="*/ 936784 w 1489995"/>
                <a:gd name="connsiteY1477" fmla="*/ 1161479 h 1273968"/>
                <a:gd name="connsiteX1478" fmla="*/ 936974 w 1489995"/>
                <a:gd name="connsiteY1478" fmla="*/ 1163098 h 1273968"/>
                <a:gd name="connsiteX1479" fmla="*/ 940118 w 1489995"/>
                <a:gd name="connsiteY1479" fmla="*/ 1162717 h 1273968"/>
                <a:gd name="connsiteX1480" fmla="*/ 939546 w 1489995"/>
                <a:gd name="connsiteY1480" fmla="*/ 1170813 h 1273968"/>
                <a:gd name="connsiteX1481" fmla="*/ 927926 w 1489995"/>
                <a:gd name="connsiteY1481" fmla="*/ 1167479 h 1273968"/>
                <a:gd name="connsiteX1482" fmla="*/ 928306 w 1489995"/>
                <a:gd name="connsiteY1482" fmla="*/ 1170623 h 1273968"/>
                <a:gd name="connsiteX1483" fmla="*/ 930116 w 1489995"/>
                <a:gd name="connsiteY1483" fmla="*/ 1171956 h 1273968"/>
                <a:gd name="connsiteX1484" fmla="*/ 925354 w 1489995"/>
                <a:gd name="connsiteY1484" fmla="*/ 1172623 h 1273968"/>
                <a:gd name="connsiteX1485" fmla="*/ 926878 w 1489995"/>
                <a:gd name="connsiteY1485" fmla="*/ 1172432 h 1273968"/>
                <a:gd name="connsiteX1486" fmla="*/ 928878 w 1489995"/>
                <a:gd name="connsiteY1486" fmla="*/ 1175385 h 1273968"/>
                <a:gd name="connsiteX1487" fmla="*/ 927544 w 1489995"/>
                <a:gd name="connsiteY1487" fmla="*/ 1177100 h 1273968"/>
                <a:gd name="connsiteX1488" fmla="*/ 930878 w 1489995"/>
                <a:gd name="connsiteY1488" fmla="*/ 1178338 h 1273968"/>
                <a:gd name="connsiteX1489" fmla="*/ 928306 w 1489995"/>
                <a:gd name="connsiteY1489" fmla="*/ 1183481 h 1273968"/>
                <a:gd name="connsiteX1490" fmla="*/ 930116 w 1489995"/>
                <a:gd name="connsiteY1490" fmla="*/ 1184815 h 1273968"/>
                <a:gd name="connsiteX1491" fmla="*/ 926973 w 1489995"/>
                <a:gd name="connsiteY1491" fmla="*/ 1185196 h 1273968"/>
                <a:gd name="connsiteX1492" fmla="*/ 925735 w 1489995"/>
                <a:gd name="connsiteY1492" fmla="*/ 1188625 h 1273968"/>
                <a:gd name="connsiteX1493" fmla="*/ 924211 w 1489995"/>
                <a:gd name="connsiteY1493" fmla="*/ 1188815 h 1273968"/>
                <a:gd name="connsiteX1494" fmla="*/ 923449 w 1489995"/>
                <a:gd name="connsiteY1494" fmla="*/ 1195292 h 1273968"/>
                <a:gd name="connsiteX1495" fmla="*/ 921830 w 1489995"/>
                <a:gd name="connsiteY1495" fmla="*/ 1195483 h 1273968"/>
                <a:gd name="connsiteX1496" fmla="*/ 920687 w 1489995"/>
                <a:gd name="connsiteY1496" fmla="*/ 1198816 h 1273968"/>
                <a:gd name="connsiteX1497" fmla="*/ 922210 w 1489995"/>
                <a:gd name="connsiteY1497" fmla="*/ 1198626 h 1273968"/>
                <a:gd name="connsiteX1498" fmla="*/ 922687 w 1489995"/>
                <a:gd name="connsiteY1498" fmla="*/ 1201769 h 1273968"/>
                <a:gd name="connsiteX1499" fmla="*/ 927544 w 1489995"/>
                <a:gd name="connsiteY1499" fmla="*/ 1202817 h 1273968"/>
                <a:gd name="connsiteX1500" fmla="*/ 925259 w 1489995"/>
                <a:gd name="connsiteY1500" fmla="*/ 1209485 h 1273968"/>
                <a:gd name="connsiteX1501" fmla="*/ 927259 w 1489995"/>
                <a:gd name="connsiteY1501" fmla="*/ 1212437 h 1273968"/>
                <a:gd name="connsiteX1502" fmla="*/ 930212 w 1489995"/>
                <a:gd name="connsiteY1502" fmla="*/ 1210437 h 1273968"/>
                <a:gd name="connsiteX1503" fmla="*/ 930593 w 1489995"/>
                <a:gd name="connsiteY1503" fmla="*/ 1213676 h 1273968"/>
                <a:gd name="connsiteX1504" fmla="*/ 928973 w 1489995"/>
                <a:gd name="connsiteY1504" fmla="*/ 1213866 h 1273968"/>
                <a:gd name="connsiteX1505" fmla="*/ 934117 w 1489995"/>
                <a:gd name="connsiteY1505" fmla="*/ 1216343 h 1273968"/>
                <a:gd name="connsiteX1506" fmla="*/ 934498 w 1489995"/>
                <a:gd name="connsiteY1506" fmla="*/ 1219581 h 1273968"/>
                <a:gd name="connsiteX1507" fmla="*/ 930021 w 1489995"/>
                <a:gd name="connsiteY1507" fmla="*/ 1221677 h 1273968"/>
                <a:gd name="connsiteX1508" fmla="*/ 934688 w 1489995"/>
                <a:gd name="connsiteY1508" fmla="*/ 1221105 h 1273968"/>
                <a:gd name="connsiteX1509" fmla="*/ 933355 w 1489995"/>
                <a:gd name="connsiteY1509" fmla="*/ 1222915 h 1273968"/>
                <a:gd name="connsiteX1510" fmla="*/ 928783 w 1489995"/>
                <a:gd name="connsiteY1510" fmla="*/ 1225106 h 1273968"/>
                <a:gd name="connsiteX1511" fmla="*/ 925449 w 1489995"/>
                <a:gd name="connsiteY1511" fmla="*/ 1223867 h 1273968"/>
                <a:gd name="connsiteX1512" fmla="*/ 924115 w 1489995"/>
                <a:gd name="connsiteY1512" fmla="*/ 1225677 h 1273968"/>
                <a:gd name="connsiteX1513" fmla="*/ 924306 w 1489995"/>
                <a:gd name="connsiteY1513" fmla="*/ 1227296 h 1273968"/>
                <a:gd name="connsiteX1514" fmla="*/ 916591 w 1489995"/>
                <a:gd name="connsiteY1514" fmla="*/ 1229868 h 1273968"/>
                <a:gd name="connsiteX1515" fmla="*/ 916781 w 1489995"/>
                <a:gd name="connsiteY1515" fmla="*/ 1231392 h 1273968"/>
                <a:gd name="connsiteX1516" fmla="*/ 913638 w 1489995"/>
                <a:gd name="connsiteY1516" fmla="*/ 1231868 h 1273968"/>
                <a:gd name="connsiteX1517" fmla="*/ 913257 w 1489995"/>
                <a:gd name="connsiteY1517" fmla="*/ 1228630 h 1273968"/>
                <a:gd name="connsiteX1518" fmla="*/ 906971 w 1489995"/>
                <a:gd name="connsiteY1518" fmla="*/ 1229487 h 1273968"/>
                <a:gd name="connsiteX1519" fmla="*/ 903542 w 1489995"/>
                <a:gd name="connsiteY1519" fmla="*/ 1228249 h 1273968"/>
                <a:gd name="connsiteX1520" fmla="*/ 902208 w 1489995"/>
                <a:gd name="connsiteY1520" fmla="*/ 1230059 h 1273968"/>
                <a:gd name="connsiteX1521" fmla="*/ 902589 w 1489995"/>
                <a:gd name="connsiteY1521" fmla="*/ 1233202 h 1273968"/>
                <a:gd name="connsiteX1522" fmla="*/ 897826 w 1489995"/>
                <a:gd name="connsiteY1522" fmla="*/ 1233869 h 1273968"/>
                <a:gd name="connsiteX1523" fmla="*/ 896302 w 1489995"/>
                <a:gd name="connsiteY1523" fmla="*/ 1234059 h 1273968"/>
                <a:gd name="connsiteX1524" fmla="*/ 895350 w 1489995"/>
                <a:gd name="connsiteY1524" fmla="*/ 1239012 h 1273968"/>
                <a:gd name="connsiteX1525" fmla="*/ 888206 w 1489995"/>
                <a:gd name="connsiteY1525" fmla="*/ 1246251 h 1273968"/>
                <a:gd name="connsiteX1526" fmla="*/ 884872 w 1489995"/>
                <a:gd name="connsiteY1526" fmla="*/ 1245108 h 1273968"/>
                <a:gd name="connsiteX1527" fmla="*/ 883730 w 1489995"/>
                <a:gd name="connsiteY1527" fmla="*/ 1248442 h 1273968"/>
                <a:gd name="connsiteX1528" fmla="*/ 878776 w 1489995"/>
                <a:gd name="connsiteY1528" fmla="*/ 1247489 h 1273968"/>
                <a:gd name="connsiteX1529" fmla="*/ 876014 w 1489995"/>
                <a:gd name="connsiteY1529" fmla="*/ 1251014 h 1273968"/>
                <a:gd name="connsiteX1530" fmla="*/ 876395 w 1489995"/>
                <a:gd name="connsiteY1530" fmla="*/ 1254252 h 1273968"/>
                <a:gd name="connsiteX1531" fmla="*/ 871633 w 1489995"/>
                <a:gd name="connsiteY1531" fmla="*/ 1254824 h 1273968"/>
                <a:gd name="connsiteX1532" fmla="*/ 877443 w 1489995"/>
                <a:gd name="connsiteY1532" fmla="*/ 1262062 h 1273968"/>
                <a:gd name="connsiteX1533" fmla="*/ 874681 w 1489995"/>
                <a:gd name="connsiteY1533" fmla="*/ 1265682 h 1273968"/>
                <a:gd name="connsiteX1534" fmla="*/ 873919 w 1489995"/>
                <a:gd name="connsiteY1534" fmla="*/ 1272159 h 1273968"/>
                <a:gd name="connsiteX1535" fmla="*/ 872490 w 1489995"/>
                <a:gd name="connsiteY1535" fmla="*/ 1273969 h 1273968"/>
                <a:gd name="connsiteX1536" fmla="*/ 866013 w 1489995"/>
                <a:gd name="connsiteY1536" fmla="*/ 1273207 h 1273968"/>
                <a:gd name="connsiteX1537" fmla="*/ 864013 w 1489995"/>
                <a:gd name="connsiteY1537" fmla="*/ 1270254 h 1273968"/>
                <a:gd name="connsiteX1538" fmla="*/ 865156 w 1489995"/>
                <a:gd name="connsiteY1538" fmla="*/ 1266825 h 1273968"/>
                <a:gd name="connsiteX1539" fmla="*/ 862393 w 1489995"/>
                <a:gd name="connsiteY1539" fmla="*/ 1257586 h 1273968"/>
                <a:gd name="connsiteX1540" fmla="*/ 857440 w 1489995"/>
                <a:gd name="connsiteY1540" fmla="*/ 1256633 h 1273968"/>
                <a:gd name="connsiteX1541" fmla="*/ 843820 w 1489995"/>
                <a:gd name="connsiteY1541" fmla="*/ 1250347 h 1273968"/>
                <a:gd name="connsiteX1542" fmla="*/ 830009 w 1489995"/>
                <a:gd name="connsiteY1542" fmla="*/ 1255300 h 1273968"/>
                <a:gd name="connsiteX1543" fmla="*/ 826865 w 1489995"/>
                <a:gd name="connsiteY1543" fmla="*/ 1255681 h 1273968"/>
                <a:gd name="connsiteX1544" fmla="*/ 824675 w 1489995"/>
                <a:gd name="connsiteY1544" fmla="*/ 1251204 h 1273968"/>
                <a:gd name="connsiteX1545" fmla="*/ 820007 w 1489995"/>
                <a:gd name="connsiteY1545" fmla="*/ 1251776 h 1273968"/>
                <a:gd name="connsiteX1546" fmla="*/ 819531 w 1489995"/>
                <a:gd name="connsiteY1546" fmla="*/ 1248632 h 1273968"/>
                <a:gd name="connsiteX1547" fmla="*/ 822484 w 1489995"/>
                <a:gd name="connsiteY1547" fmla="*/ 1246632 h 1273968"/>
                <a:gd name="connsiteX1548" fmla="*/ 825627 w 1489995"/>
                <a:gd name="connsiteY1548" fmla="*/ 1246251 h 1273968"/>
                <a:gd name="connsiteX1549" fmla="*/ 826675 w 1489995"/>
                <a:gd name="connsiteY1549" fmla="*/ 1241298 h 1273968"/>
                <a:gd name="connsiteX1550" fmla="*/ 829437 w 1489995"/>
                <a:gd name="connsiteY1550" fmla="*/ 1237774 h 1273968"/>
                <a:gd name="connsiteX1551" fmla="*/ 830009 w 1489995"/>
                <a:gd name="connsiteY1551" fmla="*/ 1229678 h 1273968"/>
                <a:gd name="connsiteX1552" fmla="*/ 829532 w 1489995"/>
                <a:gd name="connsiteY1552" fmla="*/ 1226534 h 1273968"/>
                <a:gd name="connsiteX1553" fmla="*/ 828008 w 1489995"/>
                <a:gd name="connsiteY1553" fmla="*/ 1226725 h 1273968"/>
                <a:gd name="connsiteX1554" fmla="*/ 826580 w 1489995"/>
                <a:gd name="connsiteY1554" fmla="*/ 1228439 h 1273968"/>
                <a:gd name="connsiteX1555" fmla="*/ 825627 w 1489995"/>
                <a:gd name="connsiteY1555" fmla="*/ 1233392 h 1273968"/>
                <a:gd name="connsiteX1556" fmla="*/ 822674 w 1489995"/>
                <a:gd name="connsiteY1556" fmla="*/ 1235393 h 1273968"/>
                <a:gd name="connsiteX1557" fmla="*/ 817721 w 1489995"/>
                <a:gd name="connsiteY1557" fmla="*/ 1234440 h 1273968"/>
                <a:gd name="connsiteX1558" fmla="*/ 818197 w 1489995"/>
                <a:gd name="connsiteY1558" fmla="*/ 1237583 h 1273968"/>
                <a:gd name="connsiteX1559" fmla="*/ 814959 w 1489995"/>
                <a:gd name="connsiteY1559" fmla="*/ 1237964 h 1273968"/>
                <a:gd name="connsiteX1560" fmla="*/ 815816 w 1489995"/>
                <a:gd name="connsiteY1560" fmla="*/ 1231487 h 1273968"/>
                <a:gd name="connsiteX1561" fmla="*/ 810673 w 1489995"/>
                <a:gd name="connsiteY1561" fmla="*/ 1241774 h 1273968"/>
                <a:gd name="connsiteX1562" fmla="*/ 805720 w 1489995"/>
                <a:gd name="connsiteY1562" fmla="*/ 1240727 h 1273968"/>
                <a:gd name="connsiteX1563" fmla="*/ 807148 w 1489995"/>
                <a:gd name="connsiteY1563" fmla="*/ 1239012 h 1273968"/>
                <a:gd name="connsiteX1564" fmla="*/ 805529 w 1489995"/>
                <a:gd name="connsiteY1564" fmla="*/ 1239203 h 1273968"/>
                <a:gd name="connsiteX1565" fmla="*/ 804196 w 1489995"/>
                <a:gd name="connsiteY1565" fmla="*/ 1240917 h 1273968"/>
                <a:gd name="connsiteX1566" fmla="*/ 802196 w 1489995"/>
                <a:gd name="connsiteY1566" fmla="*/ 1237964 h 1273968"/>
                <a:gd name="connsiteX1567" fmla="*/ 800767 w 1489995"/>
                <a:gd name="connsiteY1567" fmla="*/ 1239774 h 1273968"/>
                <a:gd name="connsiteX1568" fmla="*/ 799052 w 1489995"/>
                <a:gd name="connsiteY1568" fmla="*/ 1238441 h 1273968"/>
                <a:gd name="connsiteX1569" fmla="*/ 794099 w 1489995"/>
                <a:gd name="connsiteY1569" fmla="*/ 1237393 h 1273968"/>
                <a:gd name="connsiteX1570" fmla="*/ 792099 w 1489995"/>
                <a:gd name="connsiteY1570" fmla="*/ 1234440 h 1273968"/>
                <a:gd name="connsiteX1571" fmla="*/ 789146 w 1489995"/>
                <a:gd name="connsiteY1571" fmla="*/ 1236440 h 1273968"/>
                <a:gd name="connsiteX1572" fmla="*/ 786384 w 1489995"/>
                <a:gd name="connsiteY1572" fmla="*/ 1240060 h 1273968"/>
                <a:gd name="connsiteX1573" fmla="*/ 784193 w 1489995"/>
                <a:gd name="connsiteY1573" fmla="*/ 1235488 h 1273968"/>
                <a:gd name="connsiteX1574" fmla="*/ 782860 w 1489995"/>
                <a:gd name="connsiteY1574" fmla="*/ 1237298 h 1273968"/>
                <a:gd name="connsiteX1575" fmla="*/ 782384 w 1489995"/>
                <a:gd name="connsiteY1575" fmla="*/ 1234154 h 1273968"/>
                <a:gd name="connsiteX1576" fmla="*/ 777907 w 1489995"/>
                <a:gd name="connsiteY1576" fmla="*/ 1236250 h 1273968"/>
                <a:gd name="connsiteX1577" fmla="*/ 777716 w 1489995"/>
                <a:gd name="connsiteY1577" fmla="*/ 1234726 h 1273968"/>
                <a:gd name="connsiteX1578" fmla="*/ 774383 w 1489995"/>
                <a:gd name="connsiteY1578" fmla="*/ 1233583 h 1273968"/>
                <a:gd name="connsiteX1579" fmla="*/ 776668 w 1489995"/>
                <a:gd name="connsiteY1579" fmla="*/ 1226820 h 1273968"/>
                <a:gd name="connsiteX1580" fmla="*/ 774954 w 1489995"/>
                <a:gd name="connsiteY1580" fmla="*/ 1225487 h 1273968"/>
                <a:gd name="connsiteX1581" fmla="*/ 770192 w 1489995"/>
                <a:gd name="connsiteY1581" fmla="*/ 1226058 h 1273968"/>
                <a:gd name="connsiteX1582" fmla="*/ 767429 w 1489995"/>
                <a:gd name="connsiteY1582" fmla="*/ 1229582 h 1273968"/>
                <a:gd name="connsiteX1583" fmla="*/ 762476 w 1489995"/>
                <a:gd name="connsiteY1583" fmla="*/ 1228630 h 1273968"/>
                <a:gd name="connsiteX1584" fmla="*/ 753809 w 1489995"/>
                <a:gd name="connsiteY1584" fmla="*/ 1223296 h 1273968"/>
                <a:gd name="connsiteX1585" fmla="*/ 749046 w 1489995"/>
                <a:gd name="connsiteY1585" fmla="*/ 1223962 h 1273968"/>
                <a:gd name="connsiteX1586" fmla="*/ 750856 w 1489995"/>
                <a:gd name="connsiteY1586" fmla="*/ 1225296 h 1273968"/>
                <a:gd name="connsiteX1587" fmla="*/ 748475 w 1489995"/>
                <a:gd name="connsiteY1587" fmla="*/ 1232059 h 1273968"/>
                <a:gd name="connsiteX1588" fmla="*/ 742379 w 1489995"/>
                <a:gd name="connsiteY1588" fmla="*/ 1234440 h 1273968"/>
                <a:gd name="connsiteX1589" fmla="*/ 744379 w 1489995"/>
                <a:gd name="connsiteY1589" fmla="*/ 1237393 h 1273968"/>
                <a:gd name="connsiteX1590" fmla="*/ 747522 w 1489995"/>
                <a:gd name="connsiteY1590" fmla="*/ 1236916 h 1273968"/>
                <a:gd name="connsiteX1591" fmla="*/ 746093 w 1489995"/>
                <a:gd name="connsiteY1591" fmla="*/ 1238726 h 1273968"/>
                <a:gd name="connsiteX1592" fmla="*/ 744569 w 1489995"/>
                <a:gd name="connsiteY1592" fmla="*/ 1238917 h 1273968"/>
                <a:gd name="connsiteX1593" fmla="*/ 740759 w 1489995"/>
                <a:gd name="connsiteY1593" fmla="*/ 1234631 h 1273968"/>
                <a:gd name="connsiteX1594" fmla="*/ 739616 w 1489995"/>
                <a:gd name="connsiteY1594" fmla="*/ 1237964 h 1273968"/>
                <a:gd name="connsiteX1595" fmla="*/ 736092 w 1489995"/>
                <a:gd name="connsiteY1595" fmla="*/ 1235202 h 1273968"/>
                <a:gd name="connsiteX1596" fmla="*/ 735616 w 1489995"/>
                <a:gd name="connsiteY1596" fmla="*/ 1232059 h 1273968"/>
                <a:gd name="connsiteX1597" fmla="*/ 734092 w 1489995"/>
                <a:gd name="connsiteY1597" fmla="*/ 1232249 h 1273968"/>
                <a:gd name="connsiteX1598" fmla="*/ 731901 w 1489995"/>
                <a:gd name="connsiteY1598" fmla="*/ 1227677 h 1273968"/>
                <a:gd name="connsiteX1599" fmla="*/ 727138 w 1489995"/>
                <a:gd name="connsiteY1599" fmla="*/ 1228344 h 1273968"/>
                <a:gd name="connsiteX1600" fmla="*/ 726186 w 1489995"/>
                <a:gd name="connsiteY1600" fmla="*/ 1220438 h 1273968"/>
                <a:gd name="connsiteX1601" fmla="*/ 719804 w 1489995"/>
                <a:gd name="connsiteY1601" fmla="*/ 1221200 h 1273968"/>
                <a:gd name="connsiteX1602" fmla="*/ 718661 w 1489995"/>
                <a:gd name="connsiteY1602" fmla="*/ 1224629 h 1273968"/>
                <a:gd name="connsiteX1603" fmla="*/ 715518 w 1489995"/>
                <a:gd name="connsiteY1603" fmla="*/ 1225010 h 1273968"/>
                <a:gd name="connsiteX1604" fmla="*/ 707422 w 1489995"/>
                <a:gd name="connsiteY1604" fmla="*/ 1211580 h 1273968"/>
                <a:gd name="connsiteX1605" fmla="*/ 704279 w 1489995"/>
                <a:gd name="connsiteY1605" fmla="*/ 1211961 h 1273968"/>
                <a:gd name="connsiteX1606" fmla="*/ 700468 w 1489995"/>
                <a:gd name="connsiteY1606" fmla="*/ 1207675 h 1273968"/>
                <a:gd name="connsiteX1607" fmla="*/ 702850 w 1489995"/>
                <a:gd name="connsiteY1607" fmla="*/ 1213771 h 1273968"/>
                <a:gd name="connsiteX1608" fmla="*/ 701326 w 1489995"/>
                <a:gd name="connsiteY1608" fmla="*/ 1213961 h 1273968"/>
                <a:gd name="connsiteX1609" fmla="*/ 697706 w 1489995"/>
                <a:gd name="connsiteY1609" fmla="*/ 1211199 h 1273968"/>
                <a:gd name="connsiteX1610" fmla="*/ 696373 w 1489995"/>
                <a:gd name="connsiteY1610" fmla="*/ 1213009 h 1273968"/>
                <a:gd name="connsiteX1611" fmla="*/ 697897 w 1489995"/>
                <a:gd name="connsiteY1611" fmla="*/ 1212818 h 1273968"/>
                <a:gd name="connsiteX1612" fmla="*/ 702278 w 1489995"/>
                <a:gd name="connsiteY1612" fmla="*/ 1221867 h 1273968"/>
                <a:gd name="connsiteX1613" fmla="*/ 700945 w 1489995"/>
                <a:gd name="connsiteY1613" fmla="*/ 1223677 h 1273968"/>
                <a:gd name="connsiteX1614" fmla="*/ 702659 w 1489995"/>
                <a:gd name="connsiteY1614" fmla="*/ 1225010 h 1273968"/>
                <a:gd name="connsiteX1615" fmla="*/ 699897 w 1489995"/>
                <a:gd name="connsiteY1615" fmla="*/ 1228630 h 1273968"/>
                <a:gd name="connsiteX1616" fmla="*/ 701897 w 1489995"/>
                <a:gd name="connsiteY1616" fmla="*/ 1231583 h 1273968"/>
                <a:gd name="connsiteX1617" fmla="*/ 706660 w 1489995"/>
                <a:gd name="connsiteY1617" fmla="*/ 1230916 h 1273968"/>
                <a:gd name="connsiteX1618" fmla="*/ 705231 w 1489995"/>
                <a:gd name="connsiteY1618" fmla="*/ 1232726 h 1273968"/>
                <a:gd name="connsiteX1619" fmla="*/ 701897 w 1489995"/>
                <a:gd name="connsiteY1619" fmla="*/ 1231583 h 1273968"/>
                <a:gd name="connsiteX1620" fmla="*/ 702278 w 1489995"/>
                <a:gd name="connsiteY1620" fmla="*/ 1234726 h 1273968"/>
                <a:gd name="connsiteX1621" fmla="*/ 700754 w 1489995"/>
                <a:gd name="connsiteY1621" fmla="*/ 1234916 h 1273968"/>
                <a:gd name="connsiteX1622" fmla="*/ 698183 w 1489995"/>
                <a:gd name="connsiteY1622" fmla="*/ 1227201 h 1273968"/>
                <a:gd name="connsiteX1623" fmla="*/ 695039 w 1489995"/>
                <a:gd name="connsiteY1623" fmla="*/ 1227582 h 1273968"/>
                <a:gd name="connsiteX1624" fmla="*/ 691420 w 1489995"/>
                <a:gd name="connsiteY1624" fmla="*/ 1224820 h 1273968"/>
                <a:gd name="connsiteX1625" fmla="*/ 686752 w 1489995"/>
                <a:gd name="connsiteY1625" fmla="*/ 1225487 h 1273968"/>
                <a:gd name="connsiteX1626" fmla="*/ 685514 w 1489995"/>
                <a:gd name="connsiteY1626" fmla="*/ 1228820 h 1273968"/>
                <a:gd name="connsiteX1627" fmla="*/ 682180 w 1489995"/>
                <a:gd name="connsiteY1627" fmla="*/ 1227677 h 1273968"/>
                <a:gd name="connsiteX1628" fmla="*/ 682371 w 1489995"/>
                <a:gd name="connsiteY1628" fmla="*/ 1229201 h 1273968"/>
                <a:gd name="connsiteX1629" fmla="*/ 680752 w 1489995"/>
                <a:gd name="connsiteY1629" fmla="*/ 1229392 h 1273968"/>
                <a:gd name="connsiteX1630" fmla="*/ 682752 w 1489995"/>
                <a:gd name="connsiteY1630" fmla="*/ 1232345 h 1273968"/>
                <a:gd name="connsiteX1631" fmla="*/ 681228 w 1489995"/>
                <a:gd name="connsiteY1631" fmla="*/ 1232535 h 1273968"/>
                <a:gd name="connsiteX1632" fmla="*/ 681418 w 1489995"/>
                <a:gd name="connsiteY1632" fmla="*/ 1234154 h 1273968"/>
                <a:gd name="connsiteX1633" fmla="*/ 679609 w 1489995"/>
                <a:gd name="connsiteY1633" fmla="*/ 1232821 h 1273968"/>
                <a:gd name="connsiteX1634" fmla="*/ 679799 w 1489995"/>
                <a:gd name="connsiteY1634" fmla="*/ 1234345 h 1273968"/>
                <a:gd name="connsiteX1635" fmla="*/ 678466 w 1489995"/>
                <a:gd name="connsiteY1635" fmla="*/ 1236155 h 1273968"/>
                <a:gd name="connsiteX1636" fmla="*/ 676465 w 1489995"/>
                <a:gd name="connsiteY1636" fmla="*/ 1233202 h 1273968"/>
                <a:gd name="connsiteX1637" fmla="*/ 675132 w 1489995"/>
                <a:gd name="connsiteY1637" fmla="*/ 1234916 h 1273968"/>
                <a:gd name="connsiteX1638" fmla="*/ 672751 w 1489995"/>
                <a:gd name="connsiteY1638" fmla="*/ 1241679 h 1273968"/>
                <a:gd name="connsiteX1639" fmla="*/ 671131 w 1489995"/>
                <a:gd name="connsiteY1639" fmla="*/ 1241870 h 1273968"/>
                <a:gd name="connsiteX1640" fmla="*/ 672370 w 1489995"/>
                <a:gd name="connsiteY1640" fmla="*/ 1238536 h 1273968"/>
                <a:gd name="connsiteX1641" fmla="*/ 668941 w 1489995"/>
                <a:gd name="connsiteY1641" fmla="*/ 1237298 h 1273968"/>
                <a:gd name="connsiteX1642" fmla="*/ 666179 w 1489995"/>
                <a:gd name="connsiteY1642" fmla="*/ 1240917 h 1273968"/>
                <a:gd name="connsiteX1643" fmla="*/ 665226 w 1489995"/>
                <a:gd name="connsiteY1643" fmla="*/ 1245870 h 1273968"/>
                <a:gd name="connsiteX1644" fmla="*/ 663702 w 1489995"/>
                <a:gd name="connsiteY1644" fmla="*/ 1246061 h 1273968"/>
                <a:gd name="connsiteX1645" fmla="*/ 663035 w 1489995"/>
                <a:gd name="connsiteY1645" fmla="*/ 1241298 h 1273968"/>
                <a:gd name="connsiteX1646" fmla="*/ 659892 w 1489995"/>
                <a:gd name="connsiteY1646" fmla="*/ 1241679 h 1273968"/>
                <a:gd name="connsiteX1647" fmla="*/ 659511 w 1489995"/>
                <a:gd name="connsiteY1647" fmla="*/ 1238536 h 1273968"/>
                <a:gd name="connsiteX1648" fmla="*/ 656177 w 1489995"/>
                <a:gd name="connsiteY1648" fmla="*/ 1237393 h 1273968"/>
                <a:gd name="connsiteX1649" fmla="*/ 648843 w 1489995"/>
                <a:gd name="connsiteY1649" fmla="*/ 1243108 h 1273968"/>
                <a:gd name="connsiteX1650" fmla="*/ 645509 w 1489995"/>
                <a:gd name="connsiteY1650" fmla="*/ 1241965 h 1273968"/>
                <a:gd name="connsiteX1651" fmla="*/ 643700 w 1489995"/>
                <a:gd name="connsiteY1651" fmla="*/ 1240536 h 1273968"/>
                <a:gd name="connsiteX1652" fmla="*/ 646843 w 1489995"/>
                <a:gd name="connsiteY1652" fmla="*/ 1240155 h 1273968"/>
                <a:gd name="connsiteX1653" fmla="*/ 648272 w 1489995"/>
                <a:gd name="connsiteY1653" fmla="*/ 1238345 h 1273968"/>
                <a:gd name="connsiteX1654" fmla="*/ 646081 w 1489995"/>
                <a:gd name="connsiteY1654" fmla="*/ 1233869 h 1273968"/>
                <a:gd name="connsiteX1655" fmla="*/ 648843 w 1489995"/>
                <a:gd name="connsiteY1655" fmla="*/ 1230249 h 1273968"/>
                <a:gd name="connsiteX1656" fmla="*/ 648462 w 1489995"/>
                <a:gd name="connsiteY1656" fmla="*/ 1227106 h 1273968"/>
                <a:gd name="connsiteX1657" fmla="*/ 645319 w 1489995"/>
                <a:gd name="connsiteY1657" fmla="*/ 1227487 h 1273968"/>
                <a:gd name="connsiteX1658" fmla="*/ 643509 w 1489995"/>
                <a:gd name="connsiteY1658" fmla="*/ 1226153 h 1273968"/>
                <a:gd name="connsiteX1659" fmla="*/ 641699 w 1489995"/>
                <a:gd name="connsiteY1659" fmla="*/ 1224820 h 1273968"/>
                <a:gd name="connsiteX1660" fmla="*/ 641699 w 1489995"/>
                <a:gd name="connsiteY1660" fmla="*/ 1224820 h 1273968"/>
                <a:gd name="connsiteX1661" fmla="*/ 639509 w 1489995"/>
                <a:gd name="connsiteY1661" fmla="*/ 1220248 h 1273968"/>
                <a:gd name="connsiteX1662" fmla="*/ 638175 w 1489995"/>
                <a:gd name="connsiteY1662" fmla="*/ 1222058 h 1273968"/>
                <a:gd name="connsiteX1663" fmla="*/ 631031 w 1489995"/>
                <a:gd name="connsiteY1663" fmla="*/ 1216533 h 1273968"/>
                <a:gd name="connsiteX1664" fmla="*/ 625316 w 1489995"/>
                <a:gd name="connsiteY1664" fmla="*/ 1222058 h 1273968"/>
                <a:gd name="connsiteX1665" fmla="*/ 623126 w 1489995"/>
                <a:gd name="connsiteY1665" fmla="*/ 1217486 h 1273968"/>
                <a:gd name="connsiteX1666" fmla="*/ 621792 w 1489995"/>
                <a:gd name="connsiteY1666" fmla="*/ 1219295 h 1273968"/>
                <a:gd name="connsiteX1667" fmla="*/ 621601 w 1489995"/>
                <a:gd name="connsiteY1667" fmla="*/ 1217771 h 1273968"/>
                <a:gd name="connsiteX1668" fmla="*/ 619792 w 1489995"/>
                <a:gd name="connsiteY1668" fmla="*/ 1216343 h 1273968"/>
                <a:gd name="connsiteX1669" fmla="*/ 620363 w 1489995"/>
                <a:gd name="connsiteY1669" fmla="*/ 1208246 h 1273968"/>
                <a:gd name="connsiteX1670" fmla="*/ 621697 w 1489995"/>
                <a:gd name="connsiteY1670" fmla="*/ 1206437 h 1273968"/>
                <a:gd name="connsiteX1671" fmla="*/ 616363 w 1489995"/>
                <a:gd name="connsiteY1671" fmla="*/ 1202341 h 1273968"/>
                <a:gd name="connsiteX1672" fmla="*/ 609886 w 1489995"/>
                <a:gd name="connsiteY1672" fmla="*/ 1201579 h 1273968"/>
                <a:gd name="connsiteX1673" fmla="*/ 609505 w 1489995"/>
                <a:gd name="connsiteY1673" fmla="*/ 1198436 h 1273968"/>
                <a:gd name="connsiteX1674" fmla="*/ 604933 w 1489995"/>
                <a:gd name="connsiteY1674" fmla="*/ 1200626 h 1273968"/>
                <a:gd name="connsiteX1675" fmla="*/ 602551 w 1489995"/>
                <a:gd name="connsiteY1675" fmla="*/ 1194435 h 1273968"/>
                <a:gd name="connsiteX1676" fmla="*/ 596837 w 1489995"/>
                <a:gd name="connsiteY1676" fmla="*/ 1200055 h 1273968"/>
                <a:gd name="connsiteX1677" fmla="*/ 593693 w 1489995"/>
                <a:gd name="connsiteY1677" fmla="*/ 1200436 h 1273968"/>
                <a:gd name="connsiteX1678" fmla="*/ 582835 w 1489995"/>
                <a:gd name="connsiteY1678" fmla="*/ 1203389 h 1273968"/>
                <a:gd name="connsiteX1679" fmla="*/ 580644 w 1489995"/>
                <a:gd name="connsiteY1679" fmla="*/ 1198912 h 1273968"/>
                <a:gd name="connsiteX1680" fmla="*/ 577882 w 1489995"/>
                <a:gd name="connsiteY1680" fmla="*/ 1202436 h 1273968"/>
                <a:gd name="connsiteX1681" fmla="*/ 574738 w 1489995"/>
                <a:gd name="connsiteY1681" fmla="*/ 1202817 h 1273968"/>
                <a:gd name="connsiteX1682" fmla="*/ 573405 w 1489995"/>
                <a:gd name="connsiteY1682" fmla="*/ 1204627 h 1273968"/>
                <a:gd name="connsiteX1683" fmla="*/ 573786 w 1489995"/>
                <a:gd name="connsiteY1683" fmla="*/ 1207770 h 1273968"/>
                <a:gd name="connsiteX1684" fmla="*/ 574834 w 1489995"/>
                <a:gd name="connsiteY1684" fmla="*/ 1215676 h 1273968"/>
                <a:gd name="connsiteX1685" fmla="*/ 570262 w 1489995"/>
                <a:gd name="connsiteY1685" fmla="*/ 1217866 h 1273968"/>
                <a:gd name="connsiteX1686" fmla="*/ 570643 w 1489995"/>
                <a:gd name="connsiteY1686" fmla="*/ 1221010 h 1273968"/>
                <a:gd name="connsiteX1687" fmla="*/ 566356 w 1489995"/>
                <a:gd name="connsiteY1687" fmla="*/ 1224725 h 1273968"/>
                <a:gd name="connsiteX1688" fmla="*/ 563213 w 1489995"/>
                <a:gd name="connsiteY1688" fmla="*/ 1225201 h 1273968"/>
                <a:gd name="connsiteX1689" fmla="*/ 563594 w 1489995"/>
                <a:gd name="connsiteY1689" fmla="*/ 1228344 h 1273968"/>
                <a:gd name="connsiteX1690" fmla="*/ 566547 w 1489995"/>
                <a:gd name="connsiteY1690" fmla="*/ 1226344 h 1273968"/>
                <a:gd name="connsiteX1691" fmla="*/ 560832 w 1489995"/>
                <a:gd name="connsiteY1691" fmla="*/ 1231868 h 1273968"/>
                <a:gd name="connsiteX1692" fmla="*/ 561404 w 1489995"/>
                <a:gd name="connsiteY1692" fmla="*/ 1236631 h 1273968"/>
                <a:gd name="connsiteX1693" fmla="*/ 556546 w 1489995"/>
                <a:gd name="connsiteY1693" fmla="*/ 1235678 h 1273968"/>
                <a:gd name="connsiteX1694" fmla="*/ 556069 w 1489995"/>
                <a:gd name="connsiteY1694" fmla="*/ 1232440 h 1273968"/>
                <a:gd name="connsiteX1695" fmla="*/ 559022 w 1489995"/>
                <a:gd name="connsiteY1695" fmla="*/ 1230535 h 1273968"/>
                <a:gd name="connsiteX1696" fmla="*/ 557308 w 1489995"/>
                <a:gd name="connsiteY1696" fmla="*/ 1229106 h 1273968"/>
                <a:gd name="connsiteX1697" fmla="*/ 551117 w 1489995"/>
                <a:gd name="connsiteY1697" fmla="*/ 1231487 h 1273968"/>
                <a:gd name="connsiteX1698" fmla="*/ 543306 w 1489995"/>
                <a:gd name="connsiteY1698" fmla="*/ 1232535 h 1273968"/>
                <a:gd name="connsiteX1699" fmla="*/ 540353 w 1489995"/>
                <a:gd name="connsiteY1699" fmla="*/ 1234535 h 1273968"/>
                <a:gd name="connsiteX1700" fmla="*/ 536924 w 1489995"/>
                <a:gd name="connsiteY1700" fmla="*/ 1233297 h 1273968"/>
                <a:gd name="connsiteX1701" fmla="*/ 532067 w 1489995"/>
                <a:gd name="connsiteY1701" fmla="*/ 1232345 h 1273968"/>
                <a:gd name="connsiteX1702" fmla="*/ 525685 w 1489995"/>
                <a:gd name="connsiteY1702" fmla="*/ 1233107 h 1273968"/>
                <a:gd name="connsiteX1703" fmla="*/ 522542 w 1489995"/>
                <a:gd name="connsiteY1703" fmla="*/ 1233583 h 1273968"/>
                <a:gd name="connsiteX1704" fmla="*/ 521398 w 1489995"/>
                <a:gd name="connsiteY1704" fmla="*/ 1236916 h 1273968"/>
                <a:gd name="connsiteX1705" fmla="*/ 514255 w 1489995"/>
                <a:gd name="connsiteY1705" fmla="*/ 1231392 h 1273968"/>
                <a:gd name="connsiteX1706" fmla="*/ 509492 w 1489995"/>
                <a:gd name="connsiteY1706" fmla="*/ 1231964 h 1273968"/>
                <a:gd name="connsiteX1707" fmla="*/ 501205 w 1489995"/>
                <a:gd name="connsiteY1707" fmla="*/ 1229868 h 1273968"/>
                <a:gd name="connsiteX1708" fmla="*/ 502444 w 1489995"/>
                <a:gd name="connsiteY1708" fmla="*/ 1239298 h 1273968"/>
                <a:gd name="connsiteX1709" fmla="*/ 497300 w 1489995"/>
                <a:gd name="connsiteY1709" fmla="*/ 1236726 h 1273968"/>
                <a:gd name="connsiteX1710" fmla="*/ 492728 w 1489995"/>
                <a:gd name="connsiteY1710" fmla="*/ 1238917 h 1273968"/>
                <a:gd name="connsiteX1711" fmla="*/ 491014 w 1489995"/>
                <a:gd name="connsiteY1711" fmla="*/ 1237583 h 1273968"/>
                <a:gd name="connsiteX1712" fmla="*/ 490633 w 1489995"/>
                <a:gd name="connsiteY1712" fmla="*/ 1234440 h 1273968"/>
                <a:gd name="connsiteX1713" fmla="*/ 491776 w 1489995"/>
                <a:gd name="connsiteY1713" fmla="*/ 1231011 h 1273968"/>
                <a:gd name="connsiteX1714" fmla="*/ 489775 w 1489995"/>
                <a:gd name="connsiteY1714" fmla="*/ 1228058 h 1273968"/>
                <a:gd name="connsiteX1715" fmla="*/ 486632 w 1489995"/>
                <a:gd name="connsiteY1715" fmla="*/ 1228535 h 1273968"/>
                <a:gd name="connsiteX1716" fmla="*/ 487394 w 1489995"/>
                <a:gd name="connsiteY1716" fmla="*/ 1234821 h 1273968"/>
                <a:gd name="connsiteX1717" fmla="*/ 486251 w 1489995"/>
                <a:gd name="connsiteY1717" fmla="*/ 1238155 h 1273968"/>
                <a:gd name="connsiteX1718" fmla="*/ 479774 w 1489995"/>
                <a:gd name="connsiteY1718" fmla="*/ 1237393 h 1273968"/>
                <a:gd name="connsiteX1719" fmla="*/ 478346 w 1489995"/>
                <a:gd name="connsiteY1719" fmla="*/ 1239203 h 1273968"/>
                <a:gd name="connsiteX1720" fmla="*/ 476345 w 1489995"/>
                <a:gd name="connsiteY1720" fmla="*/ 1236250 h 1273968"/>
                <a:gd name="connsiteX1721" fmla="*/ 470059 w 1489995"/>
                <a:gd name="connsiteY1721" fmla="*/ 1237012 h 1273968"/>
                <a:gd name="connsiteX1722" fmla="*/ 469868 w 1489995"/>
                <a:gd name="connsiteY1722" fmla="*/ 1235488 h 1273968"/>
                <a:gd name="connsiteX1723" fmla="*/ 466915 w 1489995"/>
                <a:gd name="connsiteY1723" fmla="*/ 1237393 h 1273968"/>
                <a:gd name="connsiteX1724" fmla="*/ 464915 w 1489995"/>
                <a:gd name="connsiteY1724" fmla="*/ 1234440 h 1273968"/>
                <a:gd name="connsiteX1725" fmla="*/ 463391 w 1489995"/>
                <a:gd name="connsiteY1725" fmla="*/ 1234631 h 1273968"/>
                <a:gd name="connsiteX1726" fmla="*/ 461010 w 1489995"/>
                <a:gd name="connsiteY1726" fmla="*/ 1228535 h 1273968"/>
                <a:gd name="connsiteX1727" fmla="*/ 461963 w 1489995"/>
                <a:gd name="connsiteY1727" fmla="*/ 1223582 h 1273968"/>
                <a:gd name="connsiteX1728" fmla="*/ 463296 w 1489995"/>
                <a:gd name="connsiteY1728" fmla="*/ 1221867 h 1273968"/>
                <a:gd name="connsiteX1729" fmla="*/ 462534 w 1489995"/>
                <a:gd name="connsiteY1729" fmla="*/ 1215485 h 1273968"/>
                <a:gd name="connsiteX1730" fmla="*/ 462153 w 1489995"/>
                <a:gd name="connsiteY1730" fmla="*/ 1212342 h 1273968"/>
                <a:gd name="connsiteX1731" fmla="*/ 463487 w 1489995"/>
                <a:gd name="connsiteY1731" fmla="*/ 1210628 h 1273968"/>
                <a:gd name="connsiteX1732" fmla="*/ 463105 w 1489995"/>
                <a:gd name="connsiteY1732" fmla="*/ 1207484 h 1273968"/>
                <a:gd name="connsiteX1733" fmla="*/ 467868 w 1489995"/>
                <a:gd name="connsiteY1733" fmla="*/ 1206818 h 1273968"/>
                <a:gd name="connsiteX1734" fmla="*/ 462915 w 1489995"/>
                <a:gd name="connsiteY1734" fmla="*/ 1205865 h 1273968"/>
                <a:gd name="connsiteX1735" fmla="*/ 457390 w 1489995"/>
                <a:gd name="connsiteY1735" fmla="*/ 1200150 h 1273968"/>
                <a:gd name="connsiteX1736" fmla="*/ 455962 w 1489995"/>
                <a:gd name="connsiteY1736" fmla="*/ 1201960 h 1273968"/>
                <a:gd name="connsiteX1737" fmla="*/ 446532 w 1489995"/>
                <a:gd name="connsiteY1737" fmla="*/ 1203103 h 1273968"/>
                <a:gd name="connsiteX1738" fmla="*/ 443198 w 1489995"/>
                <a:gd name="connsiteY1738" fmla="*/ 1201960 h 127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</a:cxnLst>
              <a:rect l="l" t="t" r="r" b="b"/>
              <a:pathLst>
                <a:path w="1489995" h="1273968">
                  <a:moveTo>
                    <a:pt x="443198" y="1201960"/>
                  </a:moveTo>
                  <a:lnTo>
                    <a:pt x="439198" y="1208913"/>
                  </a:lnTo>
                  <a:lnTo>
                    <a:pt x="439007" y="1207294"/>
                  </a:lnTo>
                  <a:lnTo>
                    <a:pt x="433292" y="1212818"/>
                  </a:lnTo>
                  <a:lnTo>
                    <a:pt x="431578" y="1211485"/>
                  </a:lnTo>
                  <a:lnTo>
                    <a:pt x="430149" y="1213199"/>
                  </a:lnTo>
                  <a:lnTo>
                    <a:pt x="423481" y="1210913"/>
                  </a:lnTo>
                  <a:lnTo>
                    <a:pt x="422719" y="1217390"/>
                  </a:lnTo>
                  <a:lnTo>
                    <a:pt x="426625" y="1223296"/>
                  </a:lnTo>
                  <a:lnTo>
                    <a:pt x="423863" y="1226915"/>
                  </a:lnTo>
                  <a:lnTo>
                    <a:pt x="423481" y="1223677"/>
                  </a:lnTo>
                  <a:lnTo>
                    <a:pt x="422719" y="1230249"/>
                  </a:lnTo>
                  <a:lnTo>
                    <a:pt x="421291" y="1231964"/>
                  </a:lnTo>
                  <a:lnTo>
                    <a:pt x="421767" y="1235202"/>
                  </a:lnTo>
                  <a:lnTo>
                    <a:pt x="420148" y="1235393"/>
                  </a:lnTo>
                  <a:lnTo>
                    <a:pt x="418814" y="1237107"/>
                  </a:lnTo>
                  <a:lnTo>
                    <a:pt x="416814" y="1234154"/>
                  </a:lnTo>
                  <a:lnTo>
                    <a:pt x="415195" y="1234345"/>
                  </a:lnTo>
                  <a:lnTo>
                    <a:pt x="415576" y="1237583"/>
                  </a:lnTo>
                  <a:lnTo>
                    <a:pt x="414052" y="1237774"/>
                  </a:lnTo>
                  <a:lnTo>
                    <a:pt x="417957" y="1243679"/>
                  </a:lnTo>
                  <a:lnTo>
                    <a:pt x="414814" y="1244060"/>
                  </a:lnTo>
                  <a:lnTo>
                    <a:pt x="415290" y="1247204"/>
                  </a:lnTo>
                  <a:lnTo>
                    <a:pt x="412051" y="1247585"/>
                  </a:lnTo>
                  <a:lnTo>
                    <a:pt x="411289" y="1241298"/>
                  </a:lnTo>
                  <a:lnTo>
                    <a:pt x="408146" y="1241679"/>
                  </a:lnTo>
                  <a:lnTo>
                    <a:pt x="405955" y="1237202"/>
                  </a:lnTo>
                  <a:lnTo>
                    <a:pt x="403384" y="1242346"/>
                  </a:lnTo>
                  <a:lnTo>
                    <a:pt x="401860" y="1242536"/>
                  </a:lnTo>
                  <a:lnTo>
                    <a:pt x="402241" y="1245680"/>
                  </a:lnTo>
                  <a:lnTo>
                    <a:pt x="399479" y="1249204"/>
                  </a:lnTo>
                  <a:lnTo>
                    <a:pt x="399859" y="1252347"/>
                  </a:lnTo>
                  <a:lnTo>
                    <a:pt x="400240" y="1255586"/>
                  </a:lnTo>
                  <a:lnTo>
                    <a:pt x="390620" y="1255205"/>
                  </a:lnTo>
                  <a:lnTo>
                    <a:pt x="383858" y="1252823"/>
                  </a:lnTo>
                  <a:lnTo>
                    <a:pt x="383286" y="1248061"/>
                  </a:lnTo>
                  <a:lnTo>
                    <a:pt x="379952" y="1246918"/>
                  </a:lnTo>
                  <a:lnTo>
                    <a:pt x="371284" y="1254443"/>
                  </a:lnTo>
                  <a:lnTo>
                    <a:pt x="372237" y="1262348"/>
                  </a:lnTo>
                  <a:lnTo>
                    <a:pt x="372237" y="1262348"/>
                  </a:lnTo>
                  <a:lnTo>
                    <a:pt x="370713" y="1262539"/>
                  </a:lnTo>
                  <a:lnTo>
                    <a:pt x="366331" y="1266254"/>
                  </a:lnTo>
                  <a:lnTo>
                    <a:pt x="365950" y="1263110"/>
                  </a:lnTo>
                  <a:lnTo>
                    <a:pt x="356711" y="1265873"/>
                  </a:lnTo>
                  <a:lnTo>
                    <a:pt x="354711" y="1262920"/>
                  </a:lnTo>
                  <a:lnTo>
                    <a:pt x="349948" y="1263587"/>
                  </a:lnTo>
                  <a:lnTo>
                    <a:pt x="349377" y="1258824"/>
                  </a:lnTo>
                  <a:lnTo>
                    <a:pt x="345853" y="1256062"/>
                  </a:lnTo>
                  <a:lnTo>
                    <a:pt x="344614" y="1259396"/>
                  </a:lnTo>
                  <a:lnTo>
                    <a:pt x="338328" y="1260253"/>
                  </a:lnTo>
                  <a:lnTo>
                    <a:pt x="342614" y="1256443"/>
                  </a:lnTo>
                  <a:lnTo>
                    <a:pt x="342233" y="1253300"/>
                  </a:lnTo>
                  <a:lnTo>
                    <a:pt x="345186" y="1251299"/>
                  </a:lnTo>
                  <a:lnTo>
                    <a:pt x="337280" y="1252347"/>
                  </a:lnTo>
                  <a:lnTo>
                    <a:pt x="335947" y="1254157"/>
                  </a:lnTo>
                  <a:lnTo>
                    <a:pt x="332422" y="1251395"/>
                  </a:lnTo>
                  <a:lnTo>
                    <a:pt x="330232" y="1246823"/>
                  </a:lnTo>
                  <a:lnTo>
                    <a:pt x="330994" y="1240346"/>
                  </a:lnTo>
                  <a:lnTo>
                    <a:pt x="320897" y="1236821"/>
                  </a:lnTo>
                  <a:lnTo>
                    <a:pt x="316325" y="1239012"/>
                  </a:lnTo>
                  <a:lnTo>
                    <a:pt x="316611" y="1240536"/>
                  </a:lnTo>
                  <a:lnTo>
                    <a:pt x="319945" y="1241679"/>
                  </a:lnTo>
                  <a:lnTo>
                    <a:pt x="315373" y="1243870"/>
                  </a:lnTo>
                  <a:lnTo>
                    <a:pt x="311658" y="1252347"/>
                  </a:lnTo>
                  <a:lnTo>
                    <a:pt x="308324" y="1251204"/>
                  </a:lnTo>
                  <a:lnTo>
                    <a:pt x="308515" y="1252823"/>
                  </a:lnTo>
                  <a:lnTo>
                    <a:pt x="306705" y="1251395"/>
                  </a:lnTo>
                  <a:lnTo>
                    <a:pt x="303943" y="1255014"/>
                  </a:lnTo>
                  <a:lnTo>
                    <a:pt x="302038" y="1252061"/>
                  </a:lnTo>
                  <a:lnTo>
                    <a:pt x="303371" y="1250252"/>
                  </a:lnTo>
                  <a:lnTo>
                    <a:pt x="301752" y="1250442"/>
                  </a:lnTo>
                  <a:lnTo>
                    <a:pt x="300418" y="1252252"/>
                  </a:lnTo>
                  <a:lnTo>
                    <a:pt x="298990" y="1253966"/>
                  </a:lnTo>
                  <a:lnTo>
                    <a:pt x="297656" y="1242917"/>
                  </a:lnTo>
                  <a:lnTo>
                    <a:pt x="296228" y="1244727"/>
                  </a:lnTo>
                  <a:lnTo>
                    <a:pt x="294513" y="1243394"/>
                  </a:lnTo>
                  <a:lnTo>
                    <a:pt x="291655" y="1234059"/>
                  </a:lnTo>
                  <a:lnTo>
                    <a:pt x="288512" y="1234535"/>
                  </a:lnTo>
                  <a:lnTo>
                    <a:pt x="290513" y="1237488"/>
                  </a:lnTo>
                  <a:lnTo>
                    <a:pt x="284226" y="1238250"/>
                  </a:lnTo>
                  <a:lnTo>
                    <a:pt x="284988" y="1244537"/>
                  </a:lnTo>
                  <a:lnTo>
                    <a:pt x="280225" y="1245203"/>
                  </a:lnTo>
                  <a:lnTo>
                    <a:pt x="280702" y="1248347"/>
                  </a:lnTo>
                  <a:lnTo>
                    <a:pt x="273748" y="1244441"/>
                  </a:lnTo>
                  <a:lnTo>
                    <a:pt x="267271" y="1243584"/>
                  </a:lnTo>
                  <a:lnTo>
                    <a:pt x="263747" y="1253681"/>
                  </a:lnTo>
                  <a:lnTo>
                    <a:pt x="262128" y="1253871"/>
                  </a:lnTo>
                  <a:lnTo>
                    <a:pt x="262128" y="1253871"/>
                  </a:lnTo>
                  <a:lnTo>
                    <a:pt x="252222" y="1251966"/>
                  </a:lnTo>
                  <a:lnTo>
                    <a:pt x="250507" y="1250537"/>
                  </a:lnTo>
                  <a:lnTo>
                    <a:pt x="251269" y="1244060"/>
                  </a:lnTo>
                  <a:lnTo>
                    <a:pt x="252603" y="1242251"/>
                  </a:lnTo>
                  <a:lnTo>
                    <a:pt x="254413" y="1230821"/>
                  </a:lnTo>
                  <a:lnTo>
                    <a:pt x="254984" y="1222724"/>
                  </a:lnTo>
                  <a:lnTo>
                    <a:pt x="249841" y="1220153"/>
                  </a:lnTo>
                  <a:lnTo>
                    <a:pt x="250412" y="1212056"/>
                  </a:lnTo>
                  <a:lnTo>
                    <a:pt x="239935" y="1205389"/>
                  </a:lnTo>
                  <a:lnTo>
                    <a:pt x="236791" y="1205770"/>
                  </a:lnTo>
                  <a:lnTo>
                    <a:pt x="231457" y="1214533"/>
                  </a:lnTo>
                  <a:lnTo>
                    <a:pt x="229648" y="1213104"/>
                  </a:lnTo>
                  <a:lnTo>
                    <a:pt x="234029" y="1209389"/>
                  </a:lnTo>
                  <a:lnTo>
                    <a:pt x="235744" y="1197959"/>
                  </a:lnTo>
                  <a:lnTo>
                    <a:pt x="233743" y="1195007"/>
                  </a:lnTo>
                  <a:lnTo>
                    <a:pt x="232029" y="1193578"/>
                  </a:lnTo>
                  <a:lnTo>
                    <a:pt x="234696" y="1177195"/>
                  </a:lnTo>
                  <a:lnTo>
                    <a:pt x="231934" y="1167956"/>
                  </a:lnTo>
                  <a:lnTo>
                    <a:pt x="236029" y="1162622"/>
                  </a:lnTo>
                  <a:lnTo>
                    <a:pt x="240030" y="1155668"/>
                  </a:lnTo>
                  <a:lnTo>
                    <a:pt x="239554" y="1139666"/>
                  </a:lnTo>
                  <a:lnTo>
                    <a:pt x="242125" y="1134523"/>
                  </a:lnTo>
                  <a:lnTo>
                    <a:pt x="242888" y="1128046"/>
                  </a:lnTo>
                  <a:lnTo>
                    <a:pt x="239173" y="1123760"/>
                  </a:lnTo>
                  <a:lnTo>
                    <a:pt x="234601" y="1125855"/>
                  </a:lnTo>
                  <a:lnTo>
                    <a:pt x="227933" y="1123569"/>
                  </a:lnTo>
                  <a:lnTo>
                    <a:pt x="227266" y="1118807"/>
                  </a:lnTo>
                  <a:lnTo>
                    <a:pt x="223742" y="1116044"/>
                  </a:lnTo>
                  <a:lnTo>
                    <a:pt x="219361" y="1119854"/>
                  </a:lnTo>
                  <a:lnTo>
                    <a:pt x="217837" y="1120045"/>
                  </a:lnTo>
                  <a:lnTo>
                    <a:pt x="210884" y="1116044"/>
                  </a:lnTo>
                  <a:lnTo>
                    <a:pt x="210502" y="1112901"/>
                  </a:lnTo>
                  <a:lnTo>
                    <a:pt x="213646" y="1112520"/>
                  </a:lnTo>
                  <a:lnTo>
                    <a:pt x="214789" y="1109186"/>
                  </a:lnTo>
                  <a:lnTo>
                    <a:pt x="205168" y="1108805"/>
                  </a:lnTo>
                  <a:lnTo>
                    <a:pt x="204788" y="1105662"/>
                  </a:lnTo>
                  <a:lnTo>
                    <a:pt x="200025" y="1106234"/>
                  </a:lnTo>
                  <a:lnTo>
                    <a:pt x="196501" y="1103471"/>
                  </a:lnTo>
                  <a:lnTo>
                    <a:pt x="193357" y="1103948"/>
                  </a:lnTo>
                  <a:lnTo>
                    <a:pt x="190881" y="1097756"/>
                  </a:lnTo>
                  <a:lnTo>
                    <a:pt x="187547" y="1096613"/>
                  </a:lnTo>
                  <a:lnTo>
                    <a:pt x="195643" y="1097185"/>
                  </a:lnTo>
                  <a:lnTo>
                    <a:pt x="202787" y="1102709"/>
                  </a:lnTo>
                  <a:lnTo>
                    <a:pt x="210693" y="1101662"/>
                  </a:lnTo>
                  <a:lnTo>
                    <a:pt x="212026" y="1099947"/>
                  </a:lnTo>
                  <a:lnTo>
                    <a:pt x="216789" y="1099280"/>
                  </a:lnTo>
                  <a:lnTo>
                    <a:pt x="219742" y="1097280"/>
                  </a:lnTo>
                  <a:lnTo>
                    <a:pt x="216408" y="1096137"/>
                  </a:lnTo>
                  <a:lnTo>
                    <a:pt x="209836" y="1082516"/>
                  </a:lnTo>
                  <a:lnTo>
                    <a:pt x="200120" y="1082135"/>
                  </a:lnTo>
                  <a:lnTo>
                    <a:pt x="196405" y="1077849"/>
                  </a:lnTo>
                  <a:lnTo>
                    <a:pt x="198977" y="1072706"/>
                  </a:lnTo>
                  <a:lnTo>
                    <a:pt x="196977" y="1069753"/>
                  </a:lnTo>
                  <a:lnTo>
                    <a:pt x="198120" y="1066419"/>
                  </a:lnTo>
                  <a:lnTo>
                    <a:pt x="200120" y="1069372"/>
                  </a:lnTo>
                  <a:lnTo>
                    <a:pt x="200311" y="1070896"/>
                  </a:lnTo>
                  <a:lnTo>
                    <a:pt x="202120" y="1072325"/>
                  </a:lnTo>
                  <a:lnTo>
                    <a:pt x="204883" y="1068705"/>
                  </a:lnTo>
                  <a:lnTo>
                    <a:pt x="205073" y="1070324"/>
                  </a:lnTo>
                  <a:lnTo>
                    <a:pt x="206692" y="1070134"/>
                  </a:lnTo>
                  <a:lnTo>
                    <a:pt x="206692" y="1070134"/>
                  </a:lnTo>
                  <a:lnTo>
                    <a:pt x="208026" y="1068324"/>
                  </a:lnTo>
                  <a:lnTo>
                    <a:pt x="215741" y="1065752"/>
                  </a:lnTo>
                  <a:lnTo>
                    <a:pt x="219075" y="1066895"/>
                  </a:lnTo>
                  <a:lnTo>
                    <a:pt x="226123" y="1059656"/>
                  </a:lnTo>
                  <a:lnTo>
                    <a:pt x="221456" y="1060228"/>
                  </a:lnTo>
                  <a:lnTo>
                    <a:pt x="220789" y="1055465"/>
                  </a:lnTo>
                  <a:lnTo>
                    <a:pt x="216122" y="1056132"/>
                  </a:lnTo>
                  <a:lnTo>
                    <a:pt x="215932" y="1054513"/>
                  </a:lnTo>
                  <a:lnTo>
                    <a:pt x="212503" y="1053370"/>
                  </a:lnTo>
                  <a:lnTo>
                    <a:pt x="208026" y="1055561"/>
                  </a:lnTo>
                  <a:lnTo>
                    <a:pt x="210788" y="1051941"/>
                  </a:lnTo>
                  <a:lnTo>
                    <a:pt x="207359" y="1050798"/>
                  </a:lnTo>
                  <a:lnTo>
                    <a:pt x="203073" y="1054513"/>
                  </a:lnTo>
                  <a:lnTo>
                    <a:pt x="201073" y="1051560"/>
                  </a:lnTo>
                  <a:lnTo>
                    <a:pt x="198120" y="1053560"/>
                  </a:lnTo>
                  <a:lnTo>
                    <a:pt x="196977" y="1056894"/>
                  </a:lnTo>
                  <a:lnTo>
                    <a:pt x="194024" y="1058894"/>
                  </a:lnTo>
                  <a:lnTo>
                    <a:pt x="194405" y="1062037"/>
                  </a:lnTo>
                  <a:lnTo>
                    <a:pt x="189452" y="1061085"/>
                  </a:lnTo>
                  <a:lnTo>
                    <a:pt x="186690" y="1051846"/>
                  </a:lnTo>
                  <a:lnTo>
                    <a:pt x="190024" y="1052989"/>
                  </a:lnTo>
                  <a:lnTo>
                    <a:pt x="189833" y="1051465"/>
                  </a:lnTo>
                  <a:lnTo>
                    <a:pt x="186499" y="1050227"/>
                  </a:lnTo>
                  <a:lnTo>
                    <a:pt x="190595" y="1044893"/>
                  </a:lnTo>
                  <a:lnTo>
                    <a:pt x="186690" y="1038987"/>
                  </a:lnTo>
                  <a:lnTo>
                    <a:pt x="189166" y="1033844"/>
                  </a:lnTo>
                  <a:lnTo>
                    <a:pt x="198311" y="1029462"/>
                  </a:lnTo>
                  <a:lnTo>
                    <a:pt x="205740" y="1012507"/>
                  </a:lnTo>
                  <a:lnTo>
                    <a:pt x="228409" y="1001649"/>
                  </a:lnTo>
                  <a:lnTo>
                    <a:pt x="232886" y="999458"/>
                  </a:lnTo>
                  <a:lnTo>
                    <a:pt x="239268" y="998601"/>
                  </a:lnTo>
                  <a:lnTo>
                    <a:pt x="236125" y="998982"/>
                  </a:lnTo>
                  <a:lnTo>
                    <a:pt x="236887" y="1005364"/>
                  </a:lnTo>
                  <a:lnTo>
                    <a:pt x="238696" y="1006697"/>
                  </a:lnTo>
                  <a:lnTo>
                    <a:pt x="243554" y="1007650"/>
                  </a:lnTo>
                  <a:lnTo>
                    <a:pt x="245745" y="1012222"/>
                  </a:lnTo>
                  <a:lnTo>
                    <a:pt x="247364" y="1012031"/>
                  </a:lnTo>
                  <a:lnTo>
                    <a:pt x="247555" y="1013555"/>
                  </a:lnTo>
                  <a:lnTo>
                    <a:pt x="252317" y="1012984"/>
                  </a:lnTo>
                  <a:lnTo>
                    <a:pt x="254032" y="1014317"/>
                  </a:lnTo>
                  <a:lnTo>
                    <a:pt x="255079" y="1009460"/>
                  </a:lnTo>
                  <a:lnTo>
                    <a:pt x="256603" y="1009269"/>
                  </a:lnTo>
                  <a:lnTo>
                    <a:pt x="256222" y="1006031"/>
                  </a:lnTo>
                  <a:lnTo>
                    <a:pt x="257556" y="1004316"/>
                  </a:lnTo>
                  <a:lnTo>
                    <a:pt x="258413" y="997744"/>
                  </a:lnTo>
                  <a:lnTo>
                    <a:pt x="261366" y="995839"/>
                  </a:lnTo>
                  <a:lnTo>
                    <a:pt x="263652" y="989076"/>
                  </a:lnTo>
                  <a:lnTo>
                    <a:pt x="266795" y="988695"/>
                  </a:lnTo>
                  <a:lnTo>
                    <a:pt x="272986" y="986314"/>
                  </a:lnTo>
                  <a:lnTo>
                    <a:pt x="272510" y="983170"/>
                  </a:lnTo>
                  <a:lnTo>
                    <a:pt x="274320" y="984504"/>
                  </a:lnTo>
                  <a:lnTo>
                    <a:pt x="275749" y="982790"/>
                  </a:lnTo>
                  <a:lnTo>
                    <a:pt x="278892" y="982313"/>
                  </a:lnTo>
                  <a:lnTo>
                    <a:pt x="283178" y="978599"/>
                  </a:lnTo>
                  <a:lnTo>
                    <a:pt x="284988" y="979932"/>
                  </a:lnTo>
                  <a:lnTo>
                    <a:pt x="288893" y="973074"/>
                  </a:lnTo>
                  <a:lnTo>
                    <a:pt x="286703" y="968502"/>
                  </a:lnTo>
                  <a:lnTo>
                    <a:pt x="281559" y="965930"/>
                  </a:lnTo>
                  <a:lnTo>
                    <a:pt x="279559" y="962978"/>
                  </a:lnTo>
                  <a:lnTo>
                    <a:pt x="276225" y="961835"/>
                  </a:lnTo>
                  <a:lnTo>
                    <a:pt x="273272" y="963835"/>
                  </a:lnTo>
                  <a:lnTo>
                    <a:pt x="271939" y="965549"/>
                  </a:lnTo>
                  <a:lnTo>
                    <a:pt x="266033" y="969550"/>
                  </a:lnTo>
                  <a:lnTo>
                    <a:pt x="264223" y="968121"/>
                  </a:lnTo>
                  <a:lnTo>
                    <a:pt x="264795" y="960120"/>
                  </a:lnTo>
                  <a:lnTo>
                    <a:pt x="274034" y="957262"/>
                  </a:lnTo>
                  <a:lnTo>
                    <a:pt x="277178" y="944023"/>
                  </a:lnTo>
                  <a:lnTo>
                    <a:pt x="276415" y="937736"/>
                  </a:lnTo>
                  <a:lnTo>
                    <a:pt x="272605" y="933450"/>
                  </a:lnTo>
                  <a:lnTo>
                    <a:pt x="272224" y="930307"/>
                  </a:lnTo>
                  <a:lnTo>
                    <a:pt x="269843" y="924115"/>
                  </a:lnTo>
                  <a:lnTo>
                    <a:pt x="270796" y="919258"/>
                  </a:lnTo>
                  <a:lnTo>
                    <a:pt x="280321" y="918020"/>
                  </a:lnTo>
                  <a:lnTo>
                    <a:pt x="279463" y="911733"/>
                  </a:lnTo>
                  <a:lnTo>
                    <a:pt x="285369" y="907732"/>
                  </a:lnTo>
                  <a:lnTo>
                    <a:pt x="282226" y="908114"/>
                  </a:lnTo>
                  <a:lnTo>
                    <a:pt x="284416" y="899827"/>
                  </a:lnTo>
                  <a:lnTo>
                    <a:pt x="277463" y="895922"/>
                  </a:lnTo>
                  <a:lnTo>
                    <a:pt x="276415" y="888016"/>
                  </a:lnTo>
                  <a:lnTo>
                    <a:pt x="283369" y="879157"/>
                  </a:lnTo>
                  <a:lnTo>
                    <a:pt x="281368" y="876205"/>
                  </a:lnTo>
                  <a:lnTo>
                    <a:pt x="277654" y="871823"/>
                  </a:lnTo>
                  <a:lnTo>
                    <a:pt x="280321" y="868299"/>
                  </a:lnTo>
                  <a:lnTo>
                    <a:pt x="283750" y="869442"/>
                  </a:lnTo>
                  <a:lnTo>
                    <a:pt x="287464" y="860965"/>
                  </a:lnTo>
                  <a:lnTo>
                    <a:pt x="283464" y="855059"/>
                  </a:lnTo>
                  <a:lnTo>
                    <a:pt x="286607" y="854678"/>
                  </a:lnTo>
                  <a:lnTo>
                    <a:pt x="285464" y="845153"/>
                  </a:lnTo>
                  <a:lnTo>
                    <a:pt x="287179" y="846582"/>
                  </a:lnTo>
                  <a:lnTo>
                    <a:pt x="290417" y="846201"/>
                  </a:lnTo>
                  <a:lnTo>
                    <a:pt x="290132" y="844582"/>
                  </a:lnTo>
                  <a:lnTo>
                    <a:pt x="290417" y="846201"/>
                  </a:lnTo>
                  <a:lnTo>
                    <a:pt x="291941" y="845915"/>
                  </a:lnTo>
                  <a:lnTo>
                    <a:pt x="293370" y="844201"/>
                  </a:lnTo>
                  <a:lnTo>
                    <a:pt x="296704" y="845344"/>
                  </a:lnTo>
                  <a:lnTo>
                    <a:pt x="299657" y="843344"/>
                  </a:lnTo>
                  <a:lnTo>
                    <a:pt x="300228" y="848106"/>
                  </a:lnTo>
                  <a:lnTo>
                    <a:pt x="303181" y="846106"/>
                  </a:lnTo>
                  <a:lnTo>
                    <a:pt x="299657" y="830580"/>
                  </a:lnTo>
                  <a:lnTo>
                    <a:pt x="298037" y="817912"/>
                  </a:lnTo>
                  <a:lnTo>
                    <a:pt x="295656" y="811816"/>
                  </a:lnTo>
                  <a:lnTo>
                    <a:pt x="296609" y="806863"/>
                  </a:lnTo>
                  <a:lnTo>
                    <a:pt x="296228" y="803720"/>
                  </a:lnTo>
                  <a:lnTo>
                    <a:pt x="294418" y="802386"/>
                  </a:lnTo>
                  <a:lnTo>
                    <a:pt x="292417" y="799433"/>
                  </a:lnTo>
                  <a:lnTo>
                    <a:pt x="293656" y="796004"/>
                  </a:lnTo>
                  <a:lnTo>
                    <a:pt x="294799" y="792670"/>
                  </a:lnTo>
                  <a:lnTo>
                    <a:pt x="293941" y="786384"/>
                  </a:lnTo>
                  <a:lnTo>
                    <a:pt x="292227" y="784955"/>
                  </a:lnTo>
                  <a:lnTo>
                    <a:pt x="294799" y="779812"/>
                  </a:lnTo>
                  <a:lnTo>
                    <a:pt x="302419" y="777240"/>
                  </a:lnTo>
                  <a:lnTo>
                    <a:pt x="291370" y="778669"/>
                  </a:lnTo>
                  <a:lnTo>
                    <a:pt x="286226" y="776097"/>
                  </a:lnTo>
                  <a:lnTo>
                    <a:pt x="274034" y="768096"/>
                  </a:lnTo>
                  <a:lnTo>
                    <a:pt x="270034" y="762190"/>
                  </a:lnTo>
                  <a:lnTo>
                    <a:pt x="256984" y="760571"/>
                  </a:lnTo>
                  <a:lnTo>
                    <a:pt x="251841" y="758095"/>
                  </a:lnTo>
                  <a:lnTo>
                    <a:pt x="245936" y="762000"/>
                  </a:lnTo>
                  <a:lnTo>
                    <a:pt x="239459" y="761238"/>
                  </a:lnTo>
                  <a:lnTo>
                    <a:pt x="240792" y="759428"/>
                  </a:lnTo>
                  <a:lnTo>
                    <a:pt x="239077" y="758095"/>
                  </a:lnTo>
                  <a:lnTo>
                    <a:pt x="240411" y="756285"/>
                  </a:lnTo>
                  <a:lnTo>
                    <a:pt x="244030" y="759047"/>
                  </a:lnTo>
                  <a:lnTo>
                    <a:pt x="245554" y="758857"/>
                  </a:lnTo>
                  <a:lnTo>
                    <a:pt x="245745" y="747617"/>
                  </a:lnTo>
                  <a:lnTo>
                    <a:pt x="246507" y="741140"/>
                  </a:lnTo>
                  <a:lnTo>
                    <a:pt x="244697" y="739711"/>
                  </a:lnTo>
                  <a:lnTo>
                    <a:pt x="243745" y="731806"/>
                  </a:lnTo>
                  <a:lnTo>
                    <a:pt x="237649" y="734187"/>
                  </a:lnTo>
                  <a:lnTo>
                    <a:pt x="232505" y="731615"/>
                  </a:lnTo>
                  <a:lnTo>
                    <a:pt x="225742" y="729329"/>
                  </a:lnTo>
                  <a:lnTo>
                    <a:pt x="216503" y="732091"/>
                  </a:lnTo>
                  <a:lnTo>
                    <a:pt x="211931" y="734282"/>
                  </a:lnTo>
                  <a:lnTo>
                    <a:pt x="211931" y="734282"/>
                  </a:lnTo>
                  <a:lnTo>
                    <a:pt x="210407" y="734473"/>
                  </a:lnTo>
                  <a:lnTo>
                    <a:pt x="209359" y="726567"/>
                  </a:lnTo>
                  <a:lnTo>
                    <a:pt x="204978" y="717518"/>
                  </a:lnTo>
                  <a:lnTo>
                    <a:pt x="201644" y="716375"/>
                  </a:lnTo>
                  <a:lnTo>
                    <a:pt x="198691" y="718280"/>
                  </a:lnTo>
                  <a:lnTo>
                    <a:pt x="196977" y="716947"/>
                  </a:lnTo>
                  <a:lnTo>
                    <a:pt x="192976" y="711041"/>
                  </a:lnTo>
                  <a:lnTo>
                    <a:pt x="189833" y="711422"/>
                  </a:lnTo>
                  <a:lnTo>
                    <a:pt x="187833" y="695611"/>
                  </a:lnTo>
                  <a:lnTo>
                    <a:pt x="182880" y="694658"/>
                  </a:lnTo>
                  <a:lnTo>
                    <a:pt x="178879" y="688753"/>
                  </a:lnTo>
                  <a:lnTo>
                    <a:pt x="175736" y="689134"/>
                  </a:lnTo>
                  <a:lnTo>
                    <a:pt x="172402" y="687991"/>
                  </a:lnTo>
                  <a:lnTo>
                    <a:pt x="169640" y="691515"/>
                  </a:lnTo>
                  <a:lnTo>
                    <a:pt x="168021" y="691801"/>
                  </a:lnTo>
                  <a:lnTo>
                    <a:pt x="166497" y="691991"/>
                  </a:lnTo>
                  <a:lnTo>
                    <a:pt x="163163" y="690753"/>
                  </a:lnTo>
                  <a:lnTo>
                    <a:pt x="161734" y="692563"/>
                  </a:lnTo>
                  <a:lnTo>
                    <a:pt x="163925" y="697135"/>
                  </a:lnTo>
                  <a:lnTo>
                    <a:pt x="144970" y="699516"/>
                  </a:lnTo>
                  <a:lnTo>
                    <a:pt x="139827" y="696944"/>
                  </a:lnTo>
                  <a:lnTo>
                    <a:pt x="118777" y="694849"/>
                  </a:lnTo>
                  <a:lnTo>
                    <a:pt x="118300" y="691706"/>
                  </a:lnTo>
                  <a:lnTo>
                    <a:pt x="114967" y="690467"/>
                  </a:lnTo>
                  <a:lnTo>
                    <a:pt x="114586" y="687324"/>
                  </a:lnTo>
                  <a:lnTo>
                    <a:pt x="109252" y="683228"/>
                  </a:lnTo>
                  <a:lnTo>
                    <a:pt x="110585" y="681419"/>
                  </a:lnTo>
                  <a:lnTo>
                    <a:pt x="108680" y="678466"/>
                  </a:lnTo>
                  <a:lnTo>
                    <a:pt x="103537" y="675894"/>
                  </a:lnTo>
                  <a:lnTo>
                    <a:pt x="99917" y="673132"/>
                  </a:lnTo>
                  <a:lnTo>
                    <a:pt x="98393" y="673322"/>
                  </a:lnTo>
                  <a:lnTo>
                    <a:pt x="94774" y="670655"/>
                  </a:lnTo>
                  <a:lnTo>
                    <a:pt x="85534" y="673418"/>
                  </a:lnTo>
                  <a:lnTo>
                    <a:pt x="82772" y="664178"/>
                  </a:lnTo>
                  <a:lnTo>
                    <a:pt x="78010" y="664750"/>
                  </a:lnTo>
                  <a:lnTo>
                    <a:pt x="72866" y="662178"/>
                  </a:lnTo>
                  <a:lnTo>
                    <a:pt x="73438" y="654082"/>
                  </a:lnTo>
                  <a:lnTo>
                    <a:pt x="76771" y="655225"/>
                  </a:lnTo>
                  <a:lnTo>
                    <a:pt x="78010" y="651891"/>
                  </a:lnTo>
                  <a:lnTo>
                    <a:pt x="89249" y="652082"/>
                  </a:lnTo>
                  <a:lnTo>
                    <a:pt x="97726" y="655796"/>
                  </a:lnTo>
                  <a:lnTo>
                    <a:pt x="97345" y="652653"/>
                  </a:lnTo>
                  <a:lnTo>
                    <a:pt x="90583" y="650272"/>
                  </a:lnTo>
                  <a:lnTo>
                    <a:pt x="89059" y="650462"/>
                  </a:lnTo>
                  <a:lnTo>
                    <a:pt x="86296" y="641223"/>
                  </a:lnTo>
                  <a:lnTo>
                    <a:pt x="82867" y="640080"/>
                  </a:lnTo>
                  <a:lnTo>
                    <a:pt x="70294" y="641699"/>
                  </a:lnTo>
                  <a:lnTo>
                    <a:pt x="66294" y="648557"/>
                  </a:lnTo>
                  <a:lnTo>
                    <a:pt x="60007" y="649415"/>
                  </a:lnTo>
                  <a:lnTo>
                    <a:pt x="56483" y="646652"/>
                  </a:lnTo>
                  <a:lnTo>
                    <a:pt x="57626" y="643319"/>
                  </a:lnTo>
                  <a:lnTo>
                    <a:pt x="57245" y="640080"/>
                  </a:lnTo>
                  <a:lnTo>
                    <a:pt x="54292" y="642080"/>
                  </a:lnTo>
                  <a:lnTo>
                    <a:pt x="52102" y="637604"/>
                  </a:lnTo>
                  <a:lnTo>
                    <a:pt x="47815" y="641318"/>
                  </a:lnTo>
                  <a:lnTo>
                    <a:pt x="32956" y="638365"/>
                  </a:lnTo>
                  <a:lnTo>
                    <a:pt x="30861" y="646652"/>
                  </a:lnTo>
                  <a:lnTo>
                    <a:pt x="27622" y="647129"/>
                  </a:lnTo>
                  <a:lnTo>
                    <a:pt x="25336" y="653796"/>
                  </a:lnTo>
                  <a:lnTo>
                    <a:pt x="23717" y="653986"/>
                  </a:lnTo>
                  <a:lnTo>
                    <a:pt x="18764" y="653034"/>
                  </a:lnTo>
                  <a:lnTo>
                    <a:pt x="17812" y="645128"/>
                  </a:lnTo>
                  <a:lnTo>
                    <a:pt x="6763" y="646557"/>
                  </a:lnTo>
                  <a:lnTo>
                    <a:pt x="2191" y="648748"/>
                  </a:lnTo>
                  <a:lnTo>
                    <a:pt x="667" y="648938"/>
                  </a:lnTo>
                  <a:lnTo>
                    <a:pt x="0" y="644176"/>
                  </a:lnTo>
                  <a:lnTo>
                    <a:pt x="4191" y="638842"/>
                  </a:lnTo>
                  <a:lnTo>
                    <a:pt x="3524" y="634175"/>
                  </a:lnTo>
                  <a:lnTo>
                    <a:pt x="9430" y="630174"/>
                  </a:lnTo>
                  <a:lnTo>
                    <a:pt x="10858" y="628364"/>
                  </a:lnTo>
                  <a:lnTo>
                    <a:pt x="8858" y="625411"/>
                  </a:lnTo>
                  <a:lnTo>
                    <a:pt x="12954" y="620078"/>
                  </a:lnTo>
                  <a:lnTo>
                    <a:pt x="12382" y="615410"/>
                  </a:lnTo>
                  <a:lnTo>
                    <a:pt x="17335" y="616363"/>
                  </a:lnTo>
                  <a:lnTo>
                    <a:pt x="23622" y="615506"/>
                  </a:lnTo>
                  <a:lnTo>
                    <a:pt x="24003" y="605885"/>
                  </a:lnTo>
                  <a:lnTo>
                    <a:pt x="21622" y="599789"/>
                  </a:lnTo>
                  <a:lnTo>
                    <a:pt x="21431" y="598170"/>
                  </a:lnTo>
                  <a:lnTo>
                    <a:pt x="16478" y="597218"/>
                  </a:lnTo>
                  <a:lnTo>
                    <a:pt x="13906" y="589502"/>
                  </a:lnTo>
                  <a:lnTo>
                    <a:pt x="9811" y="594836"/>
                  </a:lnTo>
                  <a:lnTo>
                    <a:pt x="7810" y="591884"/>
                  </a:lnTo>
                  <a:lnTo>
                    <a:pt x="8382" y="583787"/>
                  </a:lnTo>
                  <a:lnTo>
                    <a:pt x="9144" y="577310"/>
                  </a:lnTo>
                  <a:lnTo>
                    <a:pt x="7144" y="574358"/>
                  </a:lnTo>
                  <a:lnTo>
                    <a:pt x="11525" y="570548"/>
                  </a:lnTo>
                  <a:lnTo>
                    <a:pt x="14859" y="571786"/>
                  </a:lnTo>
                  <a:lnTo>
                    <a:pt x="17621" y="568166"/>
                  </a:lnTo>
                  <a:lnTo>
                    <a:pt x="20764" y="567785"/>
                  </a:lnTo>
                  <a:lnTo>
                    <a:pt x="21526" y="561308"/>
                  </a:lnTo>
                  <a:lnTo>
                    <a:pt x="31242" y="561689"/>
                  </a:lnTo>
                  <a:lnTo>
                    <a:pt x="31242" y="561689"/>
                  </a:lnTo>
                  <a:lnTo>
                    <a:pt x="31432" y="563213"/>
                  </a:lnTo>
                  <a:lnTo>
                    <a:pt x="41434" y="566738"/>
                  </a:lnTo>
                  <a:lnTo>
                    <a:pt x="46196" y="566166"/>
                  </a:lnTo>
                  <a:lnTo>
                    <a:pt x="47149" y="561213"/>
                  </a:lnTo>
                  <a:lnTo>
                    <a:pt x="45434" y="559880"/>
                  </a:lnTo>
                  <a:lnTo>
                    <a:pt x="46577" y="556451"/>
                  </a:lnTo>
                  <a:lnTo>
                    <a:pt x="48387" y="557879"/>
                  </a:lnTo>
                  <a:lnTo>
                    <a:pt x="53054" y="557213"/>
                  </a:lnTo>
                  <a:lnTo>
                    <a:pt x="51911" y="547783"/>
                  </a:lnTo>
                  <a:lnTo>
                    <a:pt x="51721" y="546163"/>
                  </a:lnTo>
                  <a:lnTo>
                    <a:pt x="52102" y="536543"/>
                  </a:lnTo>
                  <a:lnTo>
                    <a:pt x="52483" y="539686"/>
                  </a:lnTo>
                  <a:lnTo>
                    <a:pt x="53816" y="537877"/>
                  </a:lnTo>
                  <a:lnTo>
                    <a:pt x="56007" y="542449"/>
                  </a:lnTo>
                  <a:lnTo>
                    <a:pt x="60960" y="543401"/>
                  </a:lnTo>
                  <a:lnTo>
                    <a:pt x="65913" y="544354"/>
                  </a:lnTo>
                  <a:lnTo>
                    <a:pt x="66865" y="539496"/>
                  </a:lnTo>
                  <a:lnTo>
                    <a:pt x="66103" y="533114"/>
                  </a:lnTo>
                  <a:lnTo>
                    <a:pt x="65246" y="526828"/>
                  </a:lnTo>
                  <a:lnTo>
                    <a:pt x="60103" y="524256"/>
                  </a:lnTo>
                  <a:lnTo>
                    <a:pt x="60103" y="524256"/>
                  </a:lnTo>
                  <a:lnTo>
                    <a:pt x="69628" y="523113"/>
                  </a:lnTo>
                  <a:lnTo>
                    <a:pt x="70580" y="518160"/>
                  </a:lnTo>
                  <a:lnTo>
                    <a:pt x="66008" y="507492"/>
                  </a:lnTo>
                  <a:lnTo>
                    <a:pt x="68770" y="503968"/>
                  </a:lnTo>
                  <a:lnTo>
                    <a:pt x="66199" y="496253"/>
                  </a:lnTo>
                  <a:lnTo>
                    <a:pt x="69913" y="500539"/>
                  </a:lnTo>
                  <a:lnTo>
                    <a:pt x="69723" y="499015"/>
                  </a:lnTo>
                  <a:lnTo>
                    <a:pt x="77629" y="497967"/>
                  </a:lnTo>
                  <a:lnTo>
                    <a:pt x="80581" y="496062"/>
                  </a:lnTo>
                  <a:lnTo>
                    <a:pt x="80391" y="494443"/>
                  </a:lnTo>
                  <a:lnTo>
                    <a:pt x="83534" y="494062"/>
                  </a:lnTo>
                  <a:lnTo>
                    <a:pt x="83534" y="494062"/>
                  </a:lnTo>
                  <a:lnTo>
                    <a:pt x="83153" y="490919"/>
                  </a:lnTo>
                  <a:lnTo>
                    <a:pt x="87820" y="490252"/>
                  </a:lnTo>
                  <a:lnTo>
                    <a:pt x="86106" y="488918"/>
                  </a:lnTo>
                  <a:lnTo>
                    <a:pt x="85249" y="482632"/>
                  </a:lnTo>
                  <a:lnTo>
                    <a:pt x="86868" y="482346"/>
                  </a:lnTo>
                  <a:lnTo>
                    <a:pt x="90202" y="483584"/>
                  </a:lnTo>
                  <a:lnTo>
                    <a:pt x="91345" y="480250"/>
                  </a:lnTo>
                  <a:lnTo>
                    <a:pt x="97726" y="479393"/>
                  </a:lnTo>
                  <a:lnTo>
                    <a:pt x="100013" y="472726"/>
                  </a:lnTo>
                  <a:lnTo>
                    <a:pt x="107728" y="470154"/>
                  </a:lnTo>
                  <a:lnTo>
                    <a:pt x="110871" y="469678"/>
                  </a:lnTo>
                  <a:lnTo>
                    <a:pt x="110680" y="468154"/>
                  </a:lnTo>
                  <a:lnTo>
                    <a:pt x="113633" y="466154"/>
                  </a:lnTo>
                  <a:lnTo>
                    <a:pt x="113633" y="466154"/>
                  </a:lnTo>
                  <a:lnTo>
                    <a:pt x="121348" y="476345"/>
                  </a:lnTo>
                  <a:lnTo>
                    <a:pt x="124777" y="477584"/>
                  </a:lnTo>
                  <a:lnTo>
                    <a:pt x="127730" y="475583"/>
                  </a:lnTo>
                  <a:lnTo>
                    <a:pt x="135541" y="474536"/>
                  </a:lnTo>
                  <a:lnTo>
                    <a:pt x="142684" y="467296"/>
                  </a:lnTo>
                  <a:lnTo>
                    <a:pt x="147828" y="469773"/>
                  </a:lnTo>
                  <a:lnTo>
                    <a:pt x="147352" y="466630"/>
                  </a:lnTo>
                  <a:lnTo>
                    <a:pt x="160782" y="458534"/>
                  </a:lnTo>
                  <a:lnTo>
                    <a:pt x="156591" y="451009"/>
                  </a:lnTo>
                  <a:lnTo>
                    <a:pt x="164973" y="453200"/>
                  </a:lnTo>
                  <a:lnTo>
                    <a:pt x="167926" y="451199"/>
                  </a:lnTo>
                  <a:lnTo>
                    <a:pt x="171640" y="442722"/>
                  </a:lnTo>
                  <a:lnTo>
                    <a:pt x="169831" y="441388"/>
                  </a:lnTo>
                  <a:lnTo>
                    <a:pt x="171164" y="439579"/>
                  </a:lnTo>
                  <a:lnTo>
                    <a:pt x="171450" y="441103"/>
                  </a:lnTo>
                  <a:lnTo>
                    <a:pt x="176117" y="440531"/>
                  </a:lnTo>
                  <a:lnTo>
                    <a:pt x="180308" y="435197"/>
                  </a:lnTo>
                  <a:lnTo>
                    <a:pt x="192691" y="419195"/>
                  </a:lnTo>
                  <a:lnTo>
                    <a:pt x="194691" y="422148"/>
                  </a:lnTo>
                  <a:lnTo>
                    <a:pt x="193262" y="423958"/>
                  </a:lnTo>
                  <a:lnTo>
                    <a:pt x="193262" y="436721"/>
                  </a:lnTo>
                  <a:lnTo>
                    <a:pt x="202597" y="433959"/>
                  </a:lnTo>
                  <a:lnTo>
                    <a:pt x="205930" y="435102"/>
                  </a:lnTo>
                  <a:lnTo>
                    <a:pt x="211264" y="439293"/>
                  </a:lnTo>
                  <a:lnTo>
                    <a:pt x="214408" y="438912"/>
                  </a:lnTo>
                  <a:lnTo>
                    <a:pt x="225076" y="434340"/>
                  </a:lnTo>
                  <a:lnTo>
                    <a:pt x="242792" y="435292"/>
                  </a:lnTo>
                  <a:lnTo>
                    <a:pt x="247936" y="437769"/>
                  </a:lnTo>
                  <a:lnTo>
                    <a:pt x="250317" y="431102"/>
                  </a:lnTo>
                  <a:lnTo>
                    <a:pt x="251079" y="424529"/>
                  </a:lnTo>
                  <a:lnTo>
                    <a:pt x="253079" y="427577"/>
                  </a:lnTo>
                  <a:lnTo>
                    <a:pt x="256794" y="419005"/>
                  </a:lnTo>
                  <a:lnTo>
                    <a:pt x="258794" y="421958"/>
                  </a:lnTo>
                  <a:lnTo>
                    <a:pt x="258032" y="428530"/>
                  </a:lnTo>
                  <a:lnTo>
                    <a:pt x="261175" y="428149"/>
                  </a:lnTo>
                  <a:lnTo>
                    <a:pt x="263747" y="423005"/>
                  </a:lnTo>
                  <a:lnTo>
                    <a:pt x="266890" y="422529"/>
                  </a:lnTo>
                  <a:lnTo>
                    <a:pt x="275177" y="411861"/>
                  </a:lnTo>
                  <a:lnTo>
                    <a:pt x="280607" y="404813"/>
                  </a:lnTo>
                  <a:lnTo>
                    <a:pt x="282988" y="398050"/>
                  </a:lnTo>
                  <a:lnTo>
                    <a:pt x="286131" y="397669"/>
                  </a:lnTo>
                  <a:lnTo>
                    <a:pt x="292036" y="393668"/>
                  </a:lnTo>
                  <a:lnTo>
                    <a:pt x="295180" y="393287"/>
                  </a:lnTo>
                  <a:lnTo>
                    <a:pt x="299180" y="399193"/>
                  </a:lnTo>
                  <a:lnTo>
                    <a:pt x="300323" y="395859"/>
                  </a:lnTo>
                  <a:lnTo>
                    <a:pt x="302133" y="397192"/>
                  </a:lnTo>
                  <a:lnTo>
                    <a:pt x="308705" y="410813"/>
                  </a:lnTo>
                  <a:lnTo>
                    <a:pt x="307943" y="417386"/>
                  </a:lnTo>
                  <a:lnTo>
                    <a:pt x="309848" y="420338"/>
                  </a:lnTo>
                  <a:lnTo>
                    <a:pt x="309848" y="420338"/>
                  </a:lnTo>
                  <a:lnTo>
                    <a:pt x="326993" y="416528"/>
                  </a:lnTo>
                  <a:lnTo>
                    <a:pt x="327374" y="406813"/>
                  </a:lnTo>
                  <a:lnTo>
                    <a:pt x="330327" y="404813"/>
                  </a:lnTo>
                  <a:lnTo>
                    <a:pt x="327946" y="398717"/>
                  </a:lnTo>
                  <a:lnTo>
                    <a:pt x="333661" y="393192"/>
                  </a:lnTo>
                  <a:lnTo>
                    <a:pt x="337661" y="386334"/>
                  </a:lnTo>
                  <a:lnTo>
                    <a:pt x="343948" y="385477"/>
                  </a:lnTo>
                  <a:lnTo>
                    <a:pt x="359473" y="381857"/>
                  </a:lnTo>
                  <a:lnTo>
                    <a:pt x="362712" y="381476"/>
                  </a:lnTo>
                  <a:lnTo>
                    <a:pt x="361474" y="384810"/>
                  </a:lnTo>
                  <a:lnTo>
                    <a:pt x="370522" y="380524"/>
                  </a:lnTo>
                  <a:lnTo>
                    <a:pt x="371761" y="377095"/>
                  </a:lnTo>
                  <a:lnTo>
                    <a:pt x="376428" y="376523"/>
                  </a:lnTo>
                  <a:lnTo>
                    <a:pt x="381000" y="374333"/>
                  </a:lnTo>
                  <a:lnTo>
                    <a:pt x="381762" y="367856"/>
                  </a:lnTo>
                  <a:lnTo>
                    <a:pt x="384905" y="367475"/>
                  </a:lnTo>
                  <a:lnTo>
                    <a:pt x="384715" y="365855"/>
                  </a:lnTo>
                  <a:lnTo>
                    <a:pt x="388048" y="366998"/>
                  </a:lnTo>
                  <a:lnTo>
                    <a:pt x="390811" y="363474"/>
                  </a:lnTo>
                  <a:lnTo>
                    <a:pt x="392049" y="360140"/>
                  </a:lnTo>
                  <a:lnTo>
                    <a:pt x="390811" y="350615"/>
                  </a:lnTo>
                  <a:lnTo>
                    <a:pt x="390430" y="347472"/>
                  </a:lnTo>
                  <a:lnTo>
                    <a:pt x="387287" y="347853"/>
                  </a:lnTo>
                  <a:lnTo>
                    <a:pt x="388810" y="347663"/>
                  </a:lnTo>
                  <a:lnTo>
                    <a:pt x="388620" y="346138"/>
                  </a:lnTo>
                  <a:lnTo>
                    <a:pt x="395192" y="346900"/>
                  </a:lnTo>
                  <a:lnTo>
                    <a:pt x="395383" y="348425"/>
                  </a:lnTo>
                  <a:lnTo>
                    <a:pt x="401669" y="347663"/>
                  </a:lnTo>
                  <a:lnTo>
                    <a:pt x="402050" y="350806"/>
                  </a:lnTo>
                  <a:lnTo>
                    <a:pt x="414909" y="350806"/>
                  </a:lnTo>
                  <a:lnTo>
                    <a:pt x="418052" y="350425"/>
                  </a:lnTo>
                  <a:lnTo>
                    <a:pt x="417862" y="348806"/>
                  </a:lnTo>
                  <a:lnTo>
                    <a:pt x="415862" y="345853"/>
                  </a:lnTo>
                  <a:lnTo>
                    <a:pt x="417481" y="345662"/>
                  </a:lnTo>
                  <a:lnTo>
                    <a:pt x="417195" y="344043"/>
                  </a:lnTo>
                  <a:lnTo>
                    <a:pt x="415480" y="342710"/>
                  </a:lnTo>
                  <a:lnTo>
                    <a:pt x="417767" y="335947"/>
                  </a:lnTo>
                  <a:lnTo>
                    <a:pt x="413861" y="330041"/>
                  </a:lnTo>
                  <a:lnTo>
                    <a:pt x="410718" y="330517"/>
                  </a:lnTo>
                  <a:lnTo>
                    <a:pt x="408908" y="316230"/>
                  </a:lnTo>
                  <a:lnTo>
                    <a:pt x="416623" y="313658"/>
                  </a:lnTo>
                  <a:lnTo>
                    <a:pt x="414814" y="312325"/>
                  </a:lnTo>
                  <a:lnTo>
                    <a:pt x="419576" y="311753"/>
                  </a:lnTo>
                  <a:lnTo>
                    <a:pt x="422053" y="306610"/>
                  </a:lnTo>
                  <a:lnTo>
                    <a:pt x="425196" y="306134"/>
                  </a:lnTo>
                  <a:lnTo>
                    <a:pt x="427958" y="302609"/>
                  </a:lnTo>
                  <a:lnTo>
                    <a:pt x="435673" y="300038"/>
                  </a:lnTo>
                  <a:lnTo>
                    <a:pt x="441388" y="307277"/>
                  </a:lnTo>
                  <a:lnTo>
                    <a:pt x="444817" y="308515"/>
                  </a:lnTo>
                  <a:lnTo>
                    <a:pt x="444151" y="303752"/>
                  </a:lnTo>
                  <a:lnTo>
                    <a:pt x="447294" y="303371"/>
                  </a:lnTo>
                  <a:lnTo>
                    <a:pt x="447104" y="301752"/>
                  </a:lnTo>
                  <a:lnTo>
                    <a:pt x="459200" y="308229"/>
                  </a:lnTo>
                  <a:lnTo>
                    <a:pt x="469011" y="310229"/>
                  </a:lnTo>
                  <a:lnTo>
                    <a:pt x="471011" y="313182"/>
                  </a:lnTo>
                  <a:lnTo>
                    <a:pt x="474155" y="312801"/>
                  </a:lnTo>
                  <a:lnTo>
                    <a:pt x="474631" y="315944"/>
                  </a:lnTo>
                  <a:lnTo>
                    <a:pt x="476155" y="315754"/>
                  </a:lnTo>
                  <a:lnTo>
                    <a:pt x="489013" y="315659"/>
                  </a:lnTo>
                  <a:lnTo>
                    <a:pt x="503396" y="315468"/>
                  </a:lnTo>
                  <a:lnTo>
                    <a:pt x="503777" y="318611"/>
                  </a:lnTo>
                  <a:lnTo>
                    <a:pt x="510350" y="319373"/>
                  </a:lnTo>
                  <a:lnTo>
                    <a:pt x="519970" y="319754"/>
                  </a:lnTo>
                  <a:lnTo>
                    <a:pt x="521780" y="321088"/>
                  </a:lnTo>
                  <a:lnTo>
                    <a:pt x="523113" y="319373"/>
                  </a:lnTo>
                  <a:lnTo>
                    <a:pt x="538925" y="317373"/>
                  </a:lnTo>
                  <a:lnTo>
                    <a:pt x="540258" y="315563"/>
                  </a:lnTo>
                  <a:lnTo>
                    <a:pt x="548640" y="317754"/>
                  </a:lnTo>
                  <a:lnTo>
                    <a:pt x="550926" y="310991"/>
                  </a:lnTo>
                  <a:lnTo>
                    <a:pt x="548735" y="306419"/>
                  </a:lnTo>
                  <a:lnTo>
                    <a:pt x="558832" y="310039"/>
                  </a:lnTo>
                  <a:lnTo>
                    <a:pt x="557498" y="311753"/>
                  </a:lnTo>
                  <a:lnTo>
                    <a:pt x="561404" y="317659"/>
                  </a:lnTo>
                  <a:lnTo>
                    <a:pt x="562642" y="314325"/>
                  </a:lnTo>
                  <a:lnTo>
                    <a:pt x="569500" y="318230"/>
                  </a:lnTo>
                  <a:lnTo>
                    <a:pt x="569119" y="315087"/>
                  </a:lnTo>
                  <a:lnTo>
                    <a:pt x="572452" y="316230"/>
                  </a:lnTo>
                  <a:lnTo>
                    <a:pt x="573405" y="311372"/>
                  </a:lnTo>
                  <a:lnTo>
                    <a:pt x="589026" y="320611"/>
                  </a:lnTo>
                  <a:lnTo>
                    <a:pt x="593979" y="321564"/>
                  </a:lnTo>
                  <a:lnTo>
                    <a:pt x="594360" y="324707"/>
                  </a:lnTo>
                  <a:lnTo>
                    <a:pt x="596170" y="326041"/>
                  </a:lnTo>
                  <a:lnTo>
                    <a:pt x="599694" y="316040"/>
                  </a:lnTo>
                  <a:lnTo>
                    <a:pt x="601313" y="315849"/>
                  </a:lnTo>
                  <a:lnTo>
                    <a:pt x="605600" y="312039"/>
                  </a:lnTo>
                  <a:lnTo>
                    <a:pt x="605218" y="308896"/>
                  </a:lnTo>
                  <a:lnTo>
                    <a:pt x="608933" y="300419"/>
                  </a:lnTo>
                  <a:lnTo>
                    <a:pt x="610743" y="301752"/>
                  </a:lnTo>
                  <a:lnTo>
                    <a:pt x="614839" y="296418"/>
                  </a:lnTo>
                  <a:lnTo>
                    <a:pt x="621983" y="301942"/>
                  </a:lnTo>
                  <a:lnTo>
                    <a:pt x="626935" y="302895"/>
                  </a:lnTo>
                  <a:lnTo>
                    <a:pt x="628269" y="301181"/>
                  </a:lnTo>
                  <a:lnTo>
                    <a:pt x="628079" y="299561"/>
                  </a:lnTo>
                  <a:lnTo>
                    <a:pt x="633222" y="302133"/>
                  </a:lnTo>
                  <a:lnTo>
                    <a:pt x="637984" y="301561"/>
                  </a:lnTo>
                  <a:lnTo>
                    <a:pt x="635794" y="296990"/>
                  </a:lnTo>
                  <a:lnTo>
                    <a:pt x="647224" y="298704"/>
                  </a:lnTo>
                  <a:lnTo>
                    <a:pt x="646652" y="294037"/>
                  </a:lnTo>
                  <a:lnTo>
                    <a:pt x="649986" y="295180"/>
                  </a:lnTo>
                  <a:lnTo>
                    <a:pt x="651319" y="293370"/>
                  </a:lnTo>
                  <a:lnTo>
                    <a:pt x="657892" y="294132"/>
                  </a:lnTo>
                  <a:lnTo>
                    <a:pt x="658082" y="295751"/>
                  </a:lnTo>
                  <a:lnTo>
                    <a:pt x="661416" y="296894"/>
                  </a:lnTo>
                  <a:lnTo>
                    <a:pt x="661606" y="298513"/>
                  </a:lnTo>
                  <a:lnTo>
                    <a:pt x="664940" y="299657"/>
                  </a:lnTo>
                  <a:lnTo>
                    <a:pt x="665607" y="304419"/>
                  </a:lnTo>
                  <a:lnTo>
                    <a:pt x="666750" y="301085"/>
                  </a:lnTo>
                  <a:lnTo>
                    <a:pt x="670084" y="302228"/>
                  </a:lnTo>
                  <a:lnTo>
                    <a:pt x="666559" y="299466"/>
                  </a:lnTo>
                  <a:lnTo>
                    <a:pt x="669703" y="299085"/>
                  </a:lnTo>
                  <a:lnTo>
                    <a:pt x="671513" y="300419"/>
                  </a:lnTo>
                  <a:lnTo>
                    <a:pt x="670084" y="302228"/>
                  </a:lnTo>
                  <a:lnTo>
                    <a:pt x="670274" y="303848"/>
                  </a:lnTo>
                  <a:lnTo>
                    <a:pt x="674656" y="300038"/>
                  </a:lnTo>
                  <a:lnTo>
                    <a:pt x="676180" y="299847"/>
                  </a:lnTo>
                  <a:lnTo>
                    <a:pt x="681323" y="289560"/>
                  </a:lnTo>
                  <a:lnTo>
                    <a:pt x="679704" y="289750"/>
                  </a:lnTo>
                  <a:lnTo>
                    <a:pt x="680752" y="284798"/>
                  </a:lnTo>
                  <a:lnTo>
                    <a:pt x="679133" y="285083"/>
                  </a:lnTo>
                  <a:lnTo>
                    <a:pt x="680561" y="283273"/>
                  </a:lnTo>
                  <a:lnTo>
                    <a:pt x="677132" y="282131"/>
                  </a:lnTo>
                  <a:lnTo>
                    <a:pt x="678561" y="280321"/>
                  </a:lnTo>
                  <a:lnTo>
                    <a:pt x="677323" y="270796"/>
                  </a:lnTo>
                  <a:lnTo>
                    <a:pt x="684085" y="273177"/>
                  </a:lnTo>
                  <a:lnTo>
                    <a:pt x="683800" y="258794"/>
                  </a:lnTo>
                  <a:lnTo>
                    <a:pt x="683228" y="254032"/>
                  </a:lnTo>
                  <a:lnTo>
                    <a:pt x="684752" y="253841"/>
                  </a:lnTo>
                  <a:lnTo>
                    <a:pt x="685990" y="250508"/>
                  </a:lnTo>
                  <a:lnTo>
                    <a:pt x="682371" y="247745"/>
                  </a:lnTo>
                  <a:lnTo>
                    <a:pt x="679037" y="246602"/>
                  </a:lnTo>
                  <a:lnTo>
                    <a:pt x="678466" y="241840"/>
                  </a:lnTo>
                  <a:lnTo>
                    <a:pt x="674942" y="239077"/>
                  </a:lnTo>
                  <a:lnTo>
                    <a:pt x="674465" y="235934"/>
                  </a:lnTo>
                  <a:lnTo>
                    <a:pt x="678847" y="232124"/>
                  </a:lnTo>
                  <a:lnTo>
                    <a:pt x="680847" y="235077"/>
                  </a:lnTo>
                  <a:lnTo>
                    <a:pt x="683800" y="233172"/>
                  </a:lnTo>
                  <a:lnTo>
                    <a:pt x="680180" y="230410"/>
                  </a:lnTo>
                  <a:lnTo>
                    <a:pt x="679799" y="227267"/>
                  </a:lnTo>
                  <a:lnTo>
                    <a:pt x="676275" y="224504"/>
                  </a:lnTo>
                  <a:lnTo>
                    <a:pt x="677418" y="221075"/>
                  </a:lnTo>
                  <a:lnTo>
                    <a:pt x="679228" y="222504"/>
                  </a:lnTo>
                  <a:lnTo>
                    <a:pt x="678751" y="219361"/>
                  </a:lnTo>
                  <a:lnTo>
                    <a:pt x="677037" y="217932"/>
                  </a:lnTo>
                  <a:lnTo>
                    <a:pt x="676847" y="216408"/>
                  </a:lnTo>
                  <a:lnTo>
                    <a:pt x="673227" y="213646"/>
                  </a:lnTo>
                  <a:lnTo>
                    <a:pt x="673037" y="212027"/>
                  </a:lnTo>
                  <a:lnTo>
                    <a:pt x="675989" y="210026"/>
                  </a:lnTo>
                  <a:lnTo>
                    <a:pt x="679133" y="209645"/>
                  </a:lnTo>
                  <a:lnTo>
                    <a:pt x="680371" y="206311"/>
                  </a:lnTo>
                  <a:lnTo>
                    <a:pt x="683323" y="204311"/>
                  </a:lnTo>
                  <a:lnTo>
                    <a:pt x="695992" y="215551"/>
                  </a:lnTo>
                  <a:lnTo>
                    <a:pt x="711137" y="221647"/>
                  </a:lnTo>
                  <a:lnTo>
                    <a:pt x="712375" y="218313"/>
                  </a:lnTo>
                  <a:lnTo>
                    <a:pt x="715709" y="219456"/>
                  </a:lnTo>
                  <a:lnTo>
                    <a:pt x="712089" y="216694"/>
                  </a:lnTo>
                  <a:lnTo>
                    <a:pt x="714851" y="213169"/>
                  </a:lnTo>
                  <a:lnTo>
                    <a:pt x="713137" y="211741"/>
                  </a:lnTo>
                  <a:lnTo>
                    <a:pt x="708374" y="212312"/>
                  </a:lnTo>
                  <a:lnTo>
                    <a:pt x="706564" y="210979"/>
                  </a:lnTo>
                  <a:lnTo>
                    <a:pt x="710755" y="205645"/>
                  </a:lnTo>
                  <a:lnTo>
                    <a:pt x="714280" y="208407"/>
                  </a:lnTo>
                  <a:lnTo>
                    <a:pt x="715423" y="205073"/>
                  </a:lnTo>
                  <a:lnTo>
                    <a:pt x="712089" y="203835"/>
                  </a:lnTo>
                  <a:lnTo>
                    <a:pt x="713708" y="203644"/>
                  </a:lnTo>
                  <a:lnTo>
                    <a:pt x="718185" y="201454"/>
                  </a:lnTo>
                  <a:lnTo>
                    <a:pt x="716185" y="185738"/>
                  </a:lnTo>
                  <a:lnTo>
                    <a:pt x="726853" y="193929"/>
                  </a:lnTo>
                  <a:lnTo>
                    <a:pt x="734759" y="192977"/>
                  </a:lnTo>
                  <a:lnTo>
                    <a:pt x="733806" y="185071"/>
                  </a:lnTo>
                  <a:lnTo>
                    <a:pt x="742474" y="190405"/>
                  </a:lnTo>
                  <a:lnTo>
                    <a:pt x="750570" y="190976"/>
                  </a:lnTo>
                  <a:lnTo>
                    <a:pt x="749141" y="179927"/>
                  </a:lnTo>
                  <a:lnTo>
                    <a:pt x="750284" y="176498"/>
                  </a:lnTo>
                  <a:lnTo>
                    <a:pt x="749713" y="171831"/>
                  </a:lnTo>
                  <a:lnTo>
                    <a:pt x="750856" y="168497"/>
                  </a:lnTo>
                  <a:lnTo>
                    <a:pt x="745998" y="167450"/>
                  </a:lnTo>
                  <a:lnTo>
                    <a:pt x="749141" y="167069"/>
                  </a:lnTo>
                  <a:lnTo>
                    <a:pt x="749522" y="157448"/>
                  </a:lnTo>
                  <a:lnTo>
                    <a:pt x="738759" y="136303"/>
                  </a:lnTo>
                  <a:lnTo>
                    <a:pt x="751237" y="133160"/>
                  </a:lnTo>
                  <a:lnTo>
                    <a:pt x="748189" y="122301"/>
                  </a:lnTo>
                  <a:lnTo>
                    <a:pt x="760095" y="127159"/>
                  </a:lnTo>
                  <a:lnTo>
                    <a:pt x="761619" y="126968"/>
                  </a:lnTo>
                  <a:lnTo>
                    <a:pt x="760857" y="133540"/>
                  </a:lnTo>
                  <a:lnTo>
                    <a:pt x="767429" y="134302"/>
                  </a:lnTo>
                  <a:lnTo>
                    <a:pt x="766001" y="136017"/>
                  </a:lnTo>
                  <a:lnTo>
                    <a:pt x="769810" y="140398"/>
                  </a:lnTo>
                  <a:lnTo>
                    <a:pt x="772097" y="133636"/>
                  </a:lnTo>
                  <a:lnTo>
                    <a:pt x="770382" y="132302"/>
                  </a:lnTo>
                  <a:lnTo>
                    <a:pt x="775430" y="122015"/>
                  </a:lnTo>
                  <a:lnTo>
                    <a:pt x="786479" y="120586"/>
                  </a:lnTo>
                  <a:lnTo>
                    <a:pt x="783526" y="122587"/>
                  </a:lnTo>
                  <a:lnTo>
                    <a:pt x="787337" y="126968"/>
                  </a:lnTo>
                  <a:lnTo>
                    <a:pt x="789908" y="134588"/>
                  </a:lnTo>
                  <a:lnTo>
                    <a:pt x="791623" y="136017"/>
                  </a:lnTo>
                  <a:lnTo>
                    <a:pt x="799909" y="138113"/>
                  </a:lnTo>
                  <a:lnTo>
                    <a:pt x="804672" y="137541"/>
                  </a:lnTo>
                  <a:lnTo>
                    <a:pt x="807434" y="134017"/>
                  </a:lnTo>
                  <a:lnTo>
                    <a:pt x="801910" y="128302"/>
                  </a:lnTo>
                  <a:lnTo>
                    <a:pt x="801719" y="126683"/>
                  </a:lnTo>
                  <a:lnTo>
                    <a:pt x="811339" y="127063"/>
                  </a:lnTo>
                  <a:lnTo>
                    <a:pt x="812768" y="125254"/>
                  </a:lnTo>
                  <a:lnTo>
                    <a:pt x="815340" y="120110"/>
                  </a:lnTo>
                  <a:lnTo>
                    <a:pt x="821817" y="120967"/>
                  </a:lnTo>
                  <a:lnTo>
                    <a:pt x="823436" y="120682"/>
                  </a:lnTo>
                  <a:lnTo>
                    <a:pt x="823627" y="122301"/>
                  </a:lnTo>
                  <a:lnTo>
                    <a:pt x="822198" y="124111"/>
                  </a:lnTo>
                  <a:lnTo>
                    <a:pt x="822865" y="128778"/>
                  </a:lnTo>
                  <a:lnTo>
                    <a:pt x="821436" y="130588"/>
                  </a:lnTo>
                  <a:lnTo>
                    <a:pt x="826960" y="136303"/>
                  </a:lnTo>
                  <a:lnTo>
                    <a:pt x="825246" y="134969"/>
                  </a:lnTo>
                  <a:lnTo>
                    <a:pt x="822484" y="138494"/>
                  </a:lnTo>
                  <a:lnTo>
                    <a:pt x="821436" y="143446"/>
                  </a:lnTo>
                  <a:lnTo>
                    <a:pt x="823246" y="144780"/>
                  </a:lnTo>
                  <a:lnTo>
                    <a:pt x="824675" y="155829"/>
                  </a:lnTo>
                  <a:lnTo>
                    <a:pt x="830199" y="161544"/>
                  </a:lnTo>
                  <a:lnTo>
                    <a:pt x="831818" y="161354"/>
                  </a:lnTo>
                  <a:lnTo>
                    <a:pt x="832771" y="156400"/>
                  </a:lnTo>
                  <a:lnTo>
                    <a:pt x="834771" y="159353"/>
                  </a:lnTo>
                  <a:lnTo>
                    <a:pt x="836105" y="157639"/>
                  </a:lnTo>
                  <a:lnTo>
                    <a:pt x="836295" y="159163"/>
                  </a:lnTo>
                  <a:lnTo>
                    <a:pt x="839438" y="158782"/>
                  </a:lnTo>
                  <a:lnTo>
                    <a:pt x="838105" y="160592"/>
                  </a:lnTo>
                  <a:lnTo>
                    <a:pt x="838105" y="160592"/>
                  </a:lnTo>
                  <a:lnTo>
                    <a:pt x="843248" y="163068"/>
                  </a:lnTo>
                  <a:lnTo>
                    <a:pt x="845248" y="166021"/>
                  </a:lnTo>
                  <a:lnTo>
                    <a:pt x="847915" y="162496"/>
                  </a:lnTo>
                  <a:lnTo>
                    <a:pt x="845820" y="157925"/>
                  </a:lnTo>
                  <a:lnTo>
                    <a:pt x="849916" y="152590"/>
                  </a:lnTo>
                  <a:lnTo>
                    <a:pt x="850297" y="155829"/>
                  </a:lnTo>
                  <a:lnTo>
                    <a:pt x="856869" y="156591"/>
                  </a:lnTo>
                  <a:lnTo>
                    <a:pt x="858393" y="156400"/>
                  </a:lnTo>
                  <a:lnTo>
                    <a:pt x="859155" y="149828"/>
                  </a:lnTo>
                  <a:lnTo>
                    <a:pt x="864108" y="150781"/>
                  </a:lnTo>
                  <a:lnTo>
                    <a:pt x="866299" y="155353"/>
                  </a:lnTo>
                  <a:lnTo>
                    <a:pt x="871252" y="156305"/>
                  </a:lnTo>
                  <a:lnTo>
                    <a:pt x="870585" y="151638"/>
                  </a:lnTo>
                  <a:lnTo>
                    <a:pt x="872014" y="149828"/>
                  </a:lnTo>
                  <a:lnTo>
                    <a:pt x="883444" y="151543"/>
                  </a:lnTo>
                  <a:lnTo>
                    <a:pt x="889730" y="150781"/>
                  </a:lnTo>
                  <a:lnTo>
                    <a:pt x="889540" y="149161"/>
                  </a:lnTo>
                  <a:lnTo>
                    <a:pt x="900017" y="155829"/>
                  </a:lnTo>
                  <a:lnTo>
                    <a:pt x="900017" y="155829"/>
                  </a:lnTo>
                  <a:lnTo>
                    <a:pt x="900779" y="155543"/>
                  </a:lnTo>
                  <a:lnTo>
                    <a:pt x="901446" y="154115"/>
                  </a:lnTo>
                  <a:lnTo>
                    <a:pt x="898398" y="143256"/>
                  </a:lnTo>
                  <a:lnTo>
                    <a:pt x="904494" y="140875"/>
                  </a:lnTo>
                  <a:lnTo>
                    <a:pt x="904304" y="139256"/>
                  </a:lnTo>
                  <a:lnTo>
                    <a:pt x="914019" y="139636"/>
                  </a:lnTo>
                  <a:lnTo>
                    <a:pt x="916781" y="136112"/>
                  </a:lnTo>
                  <a:lnTo>
                    <a:pt x="920115" y="137255"/>
                  </a:lnTo>
                  <a:lnTo>
                    <a:pt x="923830" y="115919"/>
                  </a:lnTo>
                  <a:lnTo>
                    <a:pt x="923449" y="112776"/>
                  </a:lnTo>
                  <a:lnTo>
                    <a:pt x="943165" y="116681"/>
                  </a:lnTo>
                  <a:lnTo>
                    <a:pt x="944309" y="113348"/>
                  </a:lnTo>
                  <a:lnTo>
                    <a:pt x="946309" y="103442"/>
                  </a:lnTo>
                  <a:lnTo>
                    <a:pt x="940308" y="81820"/>
                  </a:lnTo>
                  <a:lnTo>
                    <a:pt x="940498" y="70485"/>
                  </a:lnTo>
                  <a:lnTo>
                    <a:pt x="975074" y="77343"/>
                  </a:lnTo>
                  <a:lnTo>
                    <a:pt x="994410" y="90869"/>
                  </a:lnTo>
                  <a:lnTo>
                    <a:pt x="1008602" y="76295"/>
                  </a:lnTo>
                  <a:lnTo>
                    <a:pt x="1011746" y="75914"/>
                  </a:lnTo>
                  <a:lnTo>
                    <a:pt x="1014508" y="72295"/>
                  </a:lnTo>
                  <a:lnTo>
                    <a:pt x="1015651" y="68961"/>
                  </a:lnTo>
                  <a:lnTo>
                    <a:pt x="1013651" y="66008"/>
                  </a:lnTo>
                  <a:lnTo>
                    <a:pt x="1008317" y="61913"/>
                  </a:lnTo>
                  <a:lnTo>
                    <a:pt x="1009269" y="56959"/>
                  </a:lnTo>
                  <a:lnTo>
                    <a:pt x="1007364" y="54007"/>
                  </a:lnTo>
                  <a:lnTo>
                    <a:pt x="1019747" y="50768"/>
                  </a:lnTo>
                  <a:lnTo>
                    <a:pt x="1019556" y="49244"/>
                  </a:lnTo>
                  <a:lnTo>
                    <a:pt x="1027081" y="45053"/>
                  </a:lnTo>
                  <a:lnTo>
                    <a:pt x="1031748" y="44482"/>
                  </a:lnTo>
                  <a:lnTo>
                    <a:pt x="1034891" y="44005"/>
                  </a:lnTo>
                  <a:lnTo>
                    <a:pt x="1037654" y="40481"/>
                  </a:lnTo>
                  <a:lnTo>
                    <a:pt x="1038320" y="45244"/>
                  </a:lnTo>
                  <a:lnTo>
                    <a:pt x="1044035" y="39719"/>
                  </a:lnTo>
                  <a:lnTo>
                    <a:pt x="1050131" y="37338"/>
                  </a:lnTo>
                  <a:lnTo>
                    <a:pt x="1045750" y="28289"/>
                  </a:lnTo>
                  <a:lnTo>
                    <a:pt x="1047369" y="28003"/>
                  </a:lnTo>
                  <a:lnTo>
                    <a:pt x="1042988" y="18955"/>
                  </a:lnTo>
                  <a:lnTo>
                    <a:pt x="1039844" y="19336"/>
                  </a:lnTo>
                  <a:lnTo>
                    <a:pt x="1045940" y="16954"/>
                  </a:lnTo>
                  <a:lnTo>
                    <a:pt x="1047274" y="15240"/>
                  </a:lnTo>
                  <a:lnTo>
                    <a:pt x="1050608" y="16383"/>
                  </a:lnTo>
                  <a:lnTo>
                    <a:pt x="1050417" y="14859"/>
                  </a:lnTo>
                  <a:lnTo>
                    <a:pt x="1053656" y="14383"/>
                  </a:lnTo>
                  <a:lnTo>
                    <a:pt x="1055370" y="15811"/>
                  </a:lnTo>
                  <a:lnTo>
                    <a:pt x="1048798" y="2191"/>
                  </a:lnTo>
                  <a:lnTo>
                    <a:pt x="1053370" y="0"/>
                  </a:lnTo>
                  <a:lnTo>
                    <a:pt x="1066419" y="1524"/>
                  </a:lnTo>
                  <a:lnTo>
                    <a:pt x="1064990" y="3334"/>
                  </a:lnTo>
                  <a:lnTo>
                    <a:pt x="1067372" y="9430"/>
                  </a:lnTo>
                  <a:lnTo>
                    <a:pt x="1064419" y="11430"/>
                  </a:lnTo>
                  <a:lnTo>
                    <a:pt x="1066419" y="14383"/>
                  </a:lnTo>
                  <a:lnTo>
                    <a:pt x="1069562" y="14002"/>
                  </a:lnTo>
                  <a:lnTo>
                    <a:pt x="1073182" y="16764"/>
                  </a:lnTo>
                  <a:lnTo>
                    <a:pt x="1072706" y="13621"/>
                  </a:lnTo>
                  <a:lnTo>
                    <a:pt x="1077659" y="14573"/>
                  </a:lnTo>
                  <a:lnTo>
                    <a:pt x="1082040" y="23622"/>
                  </a:lnTo>
                  <a:lnTo>
                    <a:pt x="1077277" y="24194"/>
                  </a:lnTo>
                  <a:lnTo>
                    <a:pt x="1080706" y="25432"/>
                  </a:lnTo>
                  <a:lnTo>
                    <a:pt x="1082612" y="28384"/>
                  </a:lnTo>
                  <a:lnTo>
                    <a:pt x="1087374" y="27718"/>
                  </a:lnTo>
                  <a:lnTo>
                    <a:pt x="1090898" y="30480"/>
                  </a:lnTo>
                  <a:lnTo>
                    <a:pt x="1090136" y="24194"/>
                  </a:lnTo>
                  <a:lnTo>
                    <a:pt x="1094899" y="23622"/>
                  </a:lnTo>
                  <a:lnTo>
                    <a:pt x="1095661" y="17050"/>
                  </a:lnTo>
                  <a:lnTo>
                    <a:pt x="1096994" y="15335"/>
                  </a:lnTo>
                  <a:lnTo>
                    <a:pt x="1100423" y="16478"/>
                  </a:lnTo>
                  <a:lnTo>
                    <a:pt x="1097471" y="18478"/>
                  </a:lnTo>
                  <a:lnTo>
                    <a:pt x="1099185" y="19812"/>
                  </a:lnTo>
                  <a:lnTo>
                    <a:pt x="1102328" y="19431"/>
                  </a:lnTo>
                  <a:lnTo>
                    <a:pt x="1104329" y="22384"/>
                  </a:lnTo>
                  <a:lnTo>
                    <a:pt x="1109091" y="21812"/>
                  </a:lnTo>
                  <a:lnTo>
                    <a:pt x="1112234" y="21336"/>
                  </a:lnTo>
                  <a:lnTo>
                    <a:pt x="1118140" y="17431"/>
                  </a:lnTo>
                  <a:lnTo>
                    <a:pt x="1118521" y="20574"/>
                  </a:lnTo>
                  <a:lnTo>
                    <a:pt x="1117378" y="23908"/>
                  </a:lnTo>
                  <a:lnTo>
                    <a:pt x="1119188" y="25336"/>
                  </a:lnTo>
                  <a:lnTo>
                    <a:pt x="1125664" y="38862"/>
                  </a:lnTo>
                  <a:lnTo>
                    <a:pt x="1127284" y="38672"/>
                  </a:lnTo>
                  <a:lnTo>
                    <a:pt x="1128808" y="38481"/>
                  </a:lnTo>
                  <a:lnTo>
                    <a:pt x="1133951" y="41053"/>
                  </a:lnTo>
                  <a:lnTo>
                    <a:pt x="1134809" y="47339"/>
                  </a:lnTo>
                  <a:lnTo>
                    <a:pt x="1136142" y="45625"/>
                  </a:lnTo>
                  <a:lnTo>
                    <a:pt x="1139285" y="45148"/>
                  </a:lnTo>
                  <a:lnTo>
                    <a:pt x="1139476" y="46768"/>
                  </a:lnTo>
                  <a:lnTo>
                    <a:pt x="1138523" y="51721"/>
                  </a:lnTo>
                  <a:lnTo>
                    <a:pt x="1142333" y="56007"/>
                  </a:lnTo>
                  <a:lnTo>
                    <a:pt x="1141285" y="60960"/>
                  </a:lnTo>
                  <a:lnTo>
                    <a:pt x="1145667" y="57245"/>
                  </a:lnTo>
                  <a:lnTo>
                    <a:pt x="1147477" y="58579"/>
                  </a:lnTo>
                  <a:lnTo>
                    <a:pt x="1151954" y="56388"/>
                  </a:lnTo>
                  <a:lnTo>
                    <a:pt x="1156716" y="55817"/>
                  </a:lnTo>
                  <a:lnTo>
                    <a:pt x="1156716" y="55817"/>
                  </a:lnTo>
                  <a:lnTo>
                    <a:pt x="1160907" y="63246"/>
                  </a:lnTo>
                  <a:lnTo>
                    <a:pt x="1166051" y="65818"/>
                  </a:lnTo>
                  <a:lnTo>
                    <a:pt x="1164812" y="69247"/>
                  </a:lnTo>
                  <a:lnTo>
                    <a:pt x="1169575" y="68580"/>
                  </a:lnTo>
                  <a:lnTo>
                    <a:pt x="1178433" y="75438"/>
                  </a:lnTo>
                  <a:lnTo>
                    <a:pt x="1175671" y="79057"/>
                  </a:lnTo>
                  <a:lnTo>
                    <a:pt x="1175861" y="80581"/>
                  </a:lnTo>
                  <a:lnTo>
                    <a:pt x="1178909" y="78676"/>
                  </a:lnTo>
                  <a:lnTo>
                    <a:pt x="1177862" y="83534"/>
                  </a:lnTo>
                  <a:lnTo>
                    <a:pt x="1181290" y="97536"/>
                  </a:lnTo>
                  <a:lnTo>
                    <a:pt x="1183100" y="98965"/>
                  </a:lnTo>
                  <a:lnTo>
                    <a:pt x="1185005" y="101917"/>
                  </a:lnTo>
                  <a:lnTo>
                    <a:pt x="1192721" y="99346"/>
                  </a:lnTo>
                  <a:lnTo>
                    <a:pt x="1193102" y="102489"/>
                  </a:lnTo>
                  <a:lnTo>
                    <a:pt x="1194721" y="102298"/>
                  </a:lnTo>
                  <a:lnTo>
                    <a:pt x="1194911" y="103823"/>
                  </a:lnTo>
                  <a:lnTo>
                    <a:pt x="1199483" y="101727"/>
                  </a:lnTo>
                  <a:lnTo>
                    <a:pt x="1204341" y="102679"/>
                  </a:lnTo>
                  <a:lnTo>
                    <a:pt x="1209675" y="106775"/>
                  </a:lnTo>
                  <a:lnTo>
                    <a:pt x="1208342" y="108585"/>
                  </a:lnTo>
                  <a:lnTo>
                    <a:pt x="1209961" y="108394"/>
                  </a:lnTo>
                  <a:lnTo>
                    <a:pt x="1210342" y="111538"/>
                  </a:lnTo>
                  <a:lnTo>
                    <a:pt x="1213485" y="111157"/>
                  </a:lnTo>
                  <a:lnTo>
                    <a:pt x="1212342" y="114490"/>
                  </a:lnTo>
                  <a:lnTo>
                    <a:pt x="1210723" y="114681"/>
                  </a:lnTo>
                  <a:lnTo>
                    <a:pt x="1211104" y="117824"/>
                  </a:lnTo>
                  <a:lnTo>
                    <a:pt x="1209580" y="118015"/>
                  </a:lnTo>
                  <a:lnTo>
                    <a:pt x="1210151" y="122777"/>
                  </a:lnTo>
                  <a:lnTo>
                    <a:pt x="1203674" y="122015"/>
                  </a:lnTo>
                  <a:lnTo>
                    <a:pt x="1204055" y="125158"/>
                  </a:lnTo>
                  <a:lnTo>
                    <a:pt x="1196150" y="126111"/>
                  </a:lnTo>
                  <a:lnTo>
                    <a:pt x="1191768" y="129921"/>
                  </a:lnTo>
                  <a:lnTo>
                    <a:pt x="1192816" y="137827"/>
                  </a:lnTo>
                  <a:lnTo>
                    <a:pt x="1194816" y="140779"/>
                  </a:lnTo>
                  <a:lnTo>
                    <a:pt x="1198150" y="141923"/>
                  </a:lnTo>
                  <a:lnTo>
                    <a:pt x="1205675" y="150590"/>
                  </a:lnTo>
                  <a:lnTo>
                    <a:pt x="1206246" y="155353"/>
                  </a:lnTo>
                  <a:lnTo>
                    <a:pt x="1205103" y="158686"/>
                  </a:lnTo>
                  <a:lnTo>
                    <a:pt x="1203769" y="160496"/>
                  </a:lnTo>
                  <a:lnTo>
                    <a:pt x="1207103" y="161639"/>
                  </a:lnTo>
                  <a:lnTo>
                    <a:pt x="1212437" y="165735"/>
                  </a:lnTo>
                  <a:lnTo>
                    <a:pt x="1211009" y="167545"/>
                  </a:lnTo>
                  <a:lnTo>
                    <a:pt x="1211485" y="170688"/>
                  </a:lnTo>
                  <a:lnTo>
                    <a:pt x="1208056" y="169545"/>
                  </a:lnTo>
                  <a:lnTo>
                    <a:pt x="1206722" y="171355"/>
                  </a:lnTo>
                  <a:lnTo>
                    <a:pt x="1208246" y="171069"/>
                  </a:lnTo>
                  <a:lnTo>
                    <a:pt x="1208723" y="174308"/>
                  </a:lnTo>
                  <a:lnTo>
                    <a:pt x="1207484" y="177641"/>
                  </a:lnTo>
                  <a:lnTo>
                    <a:pt x="1209104" y="177451"/>
                  </a:lnTo>
                  <a:lnTo>
                    <a:pt x="1208342" y="183928"/>
                  </a:lnTo>
                  <a:lnTo>
                    <a:pt x="1206722" y="184118"/>
                  </a:lnTo>
                  <a:lnTo>
                    <a:pt x="1207389" y="188881"/>
                  </a:lnTo>
                  <a:lnTo>
                    <a:pt x="1203008" y="192596"/>
                  </a:lnTo>
                  <a:lnTo>
                    <a:pt x="1205389" y="198787"/>
                  </a:lnTo>
                  <a:lnTo>
                    <a:pt x="1209961" y="196596"/>
                  </a:lnTo>
                  <a:lnTo>
                    <a:pt x="1210342" y="199739"/>
                  </a:lnTo>
                  <a:lnTo>
                    <a:pt x="1213294" y="197739"/>
                  </a:lnTo>
                  <a:lnTo>
                    <a:pt x="1215104" y="199073"/>
                  </a:lnTo>
                  <a:lnTo>
                    <a:pt x="1221010" y="208026"/>
                  </a:lnTo>
                  <a:lnTo>
                    <a:pt x="1221391" y="211169"/>
                  </a:lnTo>
                  <a:lnTo>
                    <a:pt x="1216628" y="211741"/>
                  </a:lnTo>
                  <a:lnTo>
                    <a:pt x="1217295" y="216503"/>
                  </a:lnTo>
                  <a:lnTo>
                    <a:pt x="1220629" y="217646"/>
                  </a:lnTo>
                  <a:lnTo>
                    <a:pt x="1219486" y="220980"/>
                  </a:lnTo>
                  <a:lnTo>
                    <a:pt x="1226153" y="223361"/>
                  </a:lnTo>
                  <a:lnTo>
                    <a:pt x="1220914" y="244888"/>
                  </a:lnTo>
                  <a:lnTo>
                    <a:pt x="1219105" y="243459"/>
                  </a:lnTo>
                  <a:lnTo>
                    <a:pt x="1217962" y="246888"/>
                  </a:lnTo>
                  <a:lnTo>
                    <a:pt x="1215962" y="243935"/>
                  </a:lnTo>
                  <a:lnTo>
                    <a:pt x="1214818" y="247269"/>
                  </a:lnTo>
                  <a:lnTo>
                    <a:pt x="1208437" y="248031"/>
                  </a:lnTo>
                  <a:lnTo>
                    <a:pt x="1209294" y="254413"/>
                  </a:lnTo>
                  <a:lnTo>
                    <a:pt x="1210818" y="254222"/>
                  </a:lnTo>
                  <a:lnTo>
                    <a:pt x="1211294" y="257365"/>
                  </a:lnTo>
                  <a:lnTo>
                    <a:pt x="1208342" y="259271"/>
                  </a:lnTo>
                  <a:lnTo>
                    <a:pt x="1213676" y="263461"/>
                  </a:lnTo>
                  <a:lnTo>
                    <a:pt x="1212437" y="266795"/>
                  </a:lnTo>
                  <a:lnTo>
                    <a:pt x="1209294" y="267176"/>
                  </a:lnTo>
                  <a:lnTo>
                    <a:pt x="1207960" y="268986"/>
                  </a:lnTo>
                  <a:lnTo>
                    <a:pt x="1206341" y="269177"/>
                  </a:lnTo>
                  <a:lnTo>
                    <a:pt x="1207770" y="267367"/>
                  </a:lnTo>
                  <a:lnTo>
                    <a:pt x="1205960" y="266033"/>
                  </a:lnTo>
                  <a:lnTo>
                    <a:pt x="1204531" y="267843"/>
                  </a:lnTo>
                  <a:lnTo>
                    <a:pt x="1201198" y="266605"/>
                  </a:lnTo>
                  <a:lnTo>
                    <a:pt x="1199864" y="268415"/>
                  </a:lnTo>
                  <a:lnTo>
                    <a:pt x="1196245" y="265652"/>
                  </a:lnTo>
                  <a:lnTo>
                    <a:pt x="1193768" y="270796"/>
                  </a:lnTo>
                  <a:lnTo>
                    <a:pt x="1186815" y="279654"/>
                  </a:lnTo>
                  <a:lnTo>
                    <a:pt x="1192339" y="285369"/>
                  </a:lnTo>
                  <a:lnTo>
                    <a:pt x="1196340" y="291275"/>
                  </a:lnTo>
                  <a:lnTo>
                    <a:pt x="1199483" y="290894"/>
                  </a:lnTo>
                  <a:lnTo>
                    <a:pt x="1204817" y="295085"/>
                  </a:lnTo>
                  <a:lnTo>
                    <a:pt x="1203293" y="295275"/>
                  </a:lnTo>
                  <a:lnTo>
                    <a:pt x="1199102" y="300609"/>
                  </a:lnTo>
                  <a:lnTo>
                    <a:pt x="1201864" y="309848"/>
                  </a:lnTo>
                  <a:lnTo>
                    <a:pt x="1204055" y="314420"/>
                  </a:lnTo>
                  <a:lnTo>
                    <a:pt x="1207675" y="317087"/>
                  </a:lnTo>
                  <a:lnTo>
                    <a:pt x="1214533" y="321088"/>
                  </a:lnTo>
                  <a:lnTo>
                    <a:pt x="1221296" y="323374"/>
                  </a:lnTo>
                  <a:lnTo>
                    <a:pt x="1224248" y="321469"/>
                  </a:lnTo>
                  <a:lnTo>
                    <a:pt x="1229582" y="312706"/>
                  </a:lnTo>
                  <a:lnTo>
                    <a:pt x="1233488" y="318611"/>
                  </a:lnTo>
                  <a:lnTo>
                    <a:pt x="1241965" y="322326"/>
                  </a:lnTo>
                  <a:lnTo>
                    <a:pt x="1245394" y="323564"/>
                  </a:lnTo>
                  <a:lnTo>
                    <a:pt x="1243965" y="325374"/>
                  </a:lnTo>
                  <a:lnTo>
                    <a:pt x="1242631" y="327088"/>
                  </a:lnTo>
                  <a:lnTo>
                    <a:pt x="1241012" y="327279"/>
                  </a:lnTo>
                  <a:lnTo>
                    <a:pt x="1240441" y="335375"/>
                  </a:lnTo>
                  <a:lnTo>
                    <a:pt x="1243775" y="336613"/>
                  </a:lnTo>
                  <a:lnTo>
                    <a:pt x="1247965" y="331280"/>
                  </a:lnTo>
                  <a:lnTo>
                    <a:pt x="1249680" y="332613"/>
                  </a:lnTo>
                  <a:lnTo>
                    <a:pt x="1249871" y="334232"/>
                  </a:lnTo>
                  <a:lnTo>
                    <a:pt x="1253871" y="340138"/>
                  </a:lnTo>
                  <a:lnTo>
                    <a:pt x="1255490" y="339947"/>
                  </a:lnTo>
                  <a:lnTo>
                    <a:pt x="1257395" y="342900"/>
                  </a:lnTo>
                  <a:lnTo>
                    <a:pt x="1260634" y="342424"/>
                  </a:lnTo>
                  <a:lnTo>
                    <a:pt x="1264348" y="346805"/>
                  </a:lnTo>
                  <a:lnTo>
                    <a:pt x="1264920" y="351568"/>
                  </a:lnTo>
                  <a:lnTo>
                    <a:pt x="1261586" y="350330"/>
                  </a:lnTo>
                  <a:lnTo>
                    <a:pt x="1255681" y="354330"/>
                  </a:lnTo>
                  <a:lnTo>
                    <a:pt x="1256062" y="357473"/>
                  </a:lnTo>
                  <a:lnTo>
                    <a:pt x="1259681" y="360236"/>
                  </a:lnTo>
                  <a:lnTo>
                    <a:pt x="1260253" y="364998"/>
                  </a:lnTo>
                  <a:lnTo>
                    <a:pt x="1257681" y="370046"/>
                  </a:lnTo>
                  <a:lnTo>
                    <a:pt x="1261301" y="372809"/>
                  </a:lnTo>
                  <a:lnTo>
                    <a:pt x="1271492" y="377952"/>
                  </a:lnTo>
                  <a:lnTo>
                    <a:pt x="1271968" y="381095"/>
                  </a:lnTo>
                  <a:lnTo>
                    <a:pt x="1273683" y="382524"/>
                  </a:lnTo>
                  <a:lnTo>
                    <a:pt x="1274921" y="379095"/>
                  </a:lnTo>
                  <a:lnTo>
                    <a:pt x="1276445" y="378905"/>
                  </a:lnTo>
                  <a:lnTo>
                    <a:pt x="1276826" y="382048"/>
                  </a:lnTo>
                  <a:lnTo>
                    <a:pt x="1278636" y="383477"/>
                  </a:lnTo>
                  <a:lnTo>
                    <a:pt x="1280065" y="381667"/>
                  </a:lnTo>
                  <a:lnTo>
                    <a:pt x="1281589" y="381476"/>
                  </a:lnTo>
                  <a:lnTo>
                    <a:pt x="1281208" y="378333"/>
                  </a:lnTo>
                  <a:lnTo>
                    <a:pt x="1290828" y="378714"/>
                  </a:lnTo>
                  <a:lnTo>
                    <a:pt x="1295019" y="373380"/>
                  </a:lnTo>
                  <a:lnTo>
                    <a:pt x="1298162" y="372999"/>
                  </a:lnTo>
                  <a:lnTo>
                    <a:pt x="1299972" y="374333"/>
                  </a:lnTo>
                  <a:lnTo>
                    <a:pt x="1300163" y="375952"/>
                  </a:lnTo>
                  <a:lnTo>
                    <a:pt x="1303687" y="378714"/>
                  </a:lnTo>
                  <a:lnTo>
                    <a:pt x="1303877" y="380238"/>
                  </a:lnTo>
                  <a:lnTo>
                    <a:pt x="1306830" y="378238"/>
                  </a:lnTo>
                  <a:lnTo>
                    <a:pt x="1310450" y="381000"/>
                  </a:lnTo>
                  <a:lnTo>
                    <a:pt x="1311783" y="379286"/>
                  </a:lnTo>
                  <a:lnTo>
                    <a:pt x="1318546" y="381571"/>
                  </a:lnTo>
                  <a:lnTo>
                    <a:pt x="1325404" y="385477"/>
                  </a:lnTo>
                  <a:lnTo>
                    <a:pt x="1324070" y="387286"/>
                  </a:lnTo>
                  <a:lnTo>
                    <a:pt x="1327594" y="390049"/>
                  </a:lnTo>
                  <a:lnTo>
                    <a:pt x="1328928" y="388239"/>
                  </a:lnTo>
                  <a:lnTo>
                    <a:pt x="1333310" y="384524"/>
                  </a:lnTo>
                  <a:lnTo>
                    <a:pt x="1335691" y="377761"/>
                  </a:lnTo>
                  <a:lnTo>
                    <a:pt x="1342168" y="378619"/>
                  </a:lnTo>
                  <a:lnTo>
                    <a:pt x="1346549" y="374809"/>
                  </a:lnTo>
                  <a:lnTo>
                    <a:pt x="1351217" y="374237"/>
                  </a:lnTo>
                  <a:lnTo>
                    <a:pt x="1352645" y="372428"/>
                  </a:lnTo>
                  <a:lnTo>
                    <a:pt x="1357313" y="371856"/>
                  </a:lnTo>
                  <a:lnTo>
                    <a:pt x="1358551" y="368522"/>
                  </a:lnTo>
                  <a:lnTo>
                    <a:pt x="1358932" y="371665"/>
                  </a:lnTo>
                  <a:lnTo>
                    <a:pt x="1360551" y="371475"/>
                  </a:lnTo>
                  <a:lnTo>
                    <a:pt x="1361504" y="379286"/>
                  </a:lnTo>
                  <a:lnTo>
                    <a:pt x="1363123" y="379095"/>
                  </a:lnTo>
                  <a:lnTo>
                    <a:pt x="1363313" y="380714"/>
                  </a:lnTo>
                  <a:lnTo>
                    <a:pt x="1367981" y="380048"/>
                  </a:lnTo>
                  <a:lnTo>
                    <a:pt x="1371600" y="382810"/>
                  </a:lnTo>
                  <a:lnTo>
                    <a:pt x="1371790" y="384429"/>
                  </a:lnTo>
                  <a:lnTo>
                    <a:pt x="1376553" y="383858"/>
                  </a:lnTo>
                  <a:lnTo>
                    <a:pt x="1378744" y="388334"/>
                  </a:lnTo>
                  <a:lnTo>
                    <a:pt x="1374362" y="392144"/>
                  </a:lnTo>
                  <a:lnTo>
                    <a:pt x="1376553" y="396621"/>
                  </a:lnTo>
                  <a:lnTo>
                    <a:pt x="1376743" y="398240"/>
                  </a:lnTo>
                  <a:lnTo>
                    <a:pt x="1375219" y="398431"/>
                  </a:lnTo>
                  <a:lnTo>
                    <a:pt x="1377982" y="407670"/>
                  </a:lnTo>
                  <a:lnTo>
                    <a:pt x="1377029" y="412623"/>
                  </a:lnTo>
                  <a:lnTo>
                    <a:pt x="1378744" y="413957"/>
                  </a:lnTo>
                  <a:lnTo>
                    <a:pt x="1382744" y="419957"/>
                  </a:lnTo>
                  <a:lnTo>
                    <a:pt x="1378363" y="423672"/>
                  </a:lnTo>
                  <a:lnTo>
                    <a:pt x="1373696" y="424244"/>
                  </a:lnTo>
                  <a:lnTo>
                    <a:pt x="1370933" y="427863"/>
                  </a:lnTo>
                  <a:lnTo>
                    <a:pt x="1374267" y="429006"/>
                  </a:lnTo>
                  <a:lnTo>
                    <a:pt x="1376077" y="443198"/>
                  </a:lnTo>
                  <a:lnTo>
                    <a:pt x="1372362" y="451675"/>
                  </a:lnTo>
                  <a:lnTo>
                    <a:pt x="1378839" y="452438"/>
                  </a:lnTo>
                  <a:lnTo>
                    <a:pt x="1379696" y="458819"/>
                  </a:lnTo>
                  <a:lnTo>
                    <a:pt x="1381220" y="458629"/>
                  </a:lnTo>
                  <a:lnTo>
                    <a:pt x="1387983" y="460915"/>
                  </a:lnTo>
                  <a:lnTo>
                    <a:pt x="1385983" y="470821"/>
                  </a:lnTo>
                  <a:lnTo>
                    <a:pt x="1388745" y="467296"/>
                  </a:lnTo>
                  <a:lnTo>
                    <a:pt x="1389126" y="470440"/>
                  </a:lnTo>
                  <a:lnTo>
                    <a:pt x="1390936" y="471773"/>
                  </a:lnTo>
                  <a:lnTo>
                    <a:pt x="1388364" y="476917"/>
                  </a:lnTo>
                  <a:lnTo>
                    <a:pt x="1394269" y="472916"/>
                  </a:lnTo>
                  <a:lnTo>
                    <a:pt x="1390364" y="479869"/>
                  </a:lnTo>
                  <a:lnTo>
                    <a:pt x="1391126" y="486156"/>
                  </a:lnTo>
                  <a:lnTo>
                    <a:pt x="1388650" y="491300"/>
                  </a:lnTo>
                  <a:lnTo>
                    <a:pt x="1386840" y="489966"/>
                  </a:lnTo>
                  <a:lnTo>
                    <a:pt x="1384078" y="493490"/>
                  </a:lnTo>
                  <a:lnTo>
                    <a:pt x="1385888" y="494919"/>
                  </a:lnTo>
                  <a:lnTo>
                    <a:pt x="1387888" y="497872"/>
                  </a:lnTo>
                  <a:lnTo>
                    <a:pt x="1386268" y="498062"/>
                  </a:lnTo>
                  <a:lnTo>
                    <a:pt x="1385316" y="503015"/>
                  </a:lnTo>
                  <a:lnTo>
                    <a:pt x="1383506" y="501586"/>
                  </a:lnTo>
                  <a:lnTo>
                    <a:pt x="1383887" y="504730"/>
                  </a:lnTo>
                  <a:lnTo>
                    <a:pt x="1379410" y="506921"/>
                  </a:lnTo>
                  <a:lnTo>
                    <a:pt x="1378363" y="511873"/>
                  </a:lnTo>
                  <a:lnTo>
                    <a:pt x="1373505" y="510921"/>
                  </a:lnTo>
                  <a:lnTo>
                    <a:pt x="1372648" y="517398"/>
                  </a:lnTo>
                  <a:lnTo>
                    <a:pt x="1370743" y="514445"/>
                  </a:lnTo>
                  <a:lnTo>
                    <a:pt x="1369314" y="516255"/>
                  </a:lnTo>
                  <a:lnTo>
                    <a:pt x="1369981" y="521017"/>
                  </a:lnTo>
                  <a:lnTo>
                    <a:pt x="1366742" y="521398"/>
                  </a:lnTo>
                  <a:lnTo>
                    <a:pt x="1365028" y="519970"/>
                  </a:lnTo>
                  <a:lnTo>
                    <a:pt x="1363409" y="520160"/>
                  </a:lnTo>
                  <a:lnTo>
                    <a:pt x="1362456" y="525113"/>
                  </a:lnTo>
                  <a:lnTo>
                    <a:pt x="1367218" y="524542"/>
                  </a:lnTo>
                  <a:lnTo>
                    <a:pt x="1375886" y="529876"/>
                  </a:lnTo>
                  <a:lnTo>
                    <a:pt x="1376077" y="531400"/>
                  </a:lnTo>
                  <a:lnTo>
                    <a:pt x="1366076" y="540734"/>
                  </a:lnTo>
                  <a:lnTo>
                    <a:pt x="1358360" y="543306"/>
                  </a:lnTo>
                  <a:lnTo>
                    <a:pt x="1358551" y="544925"/>
                  </a:lnTo>
                  <a:lnTo>
                    <a:pt x="1369981" y="546640"/>
                  </a:lnTo>
                  <a:lnTo>
                    <a:pt x="1379220" y="543878"/>
                  </a:lnTo>
                  <a:lnTo>
                    <a:pt x="1386554" y="550926"/>
                  </a:lnTo>
                  <a:lnTo>
                    <a:pt x="1388555" y="553879"/>
                  </a:lnTo>
                  <a:lnTo>
                    <a:pt x="1395317" y="556260"/>
                  </a:lnTo>
                  <a:lnTo>
                    <a:pt x="1396460" y="552926"/>
                  </a:lnTo>
                  <a:lnTo>
                    <a:pt x="1396079" y="549688"/>
                  </a:lnTo>
                  <a:lnTo>
                    <a:pt x="1399604" y="552450"/>
                  </a:lnTo>
                  <a:lnTo>
                    <a:pt x="1402747" y="552069"/>
                  </a:lnTo>
                  <a:lnTo>
                    <a:pt x="1401604" y="555403"/>
                  </a:lnTo>
                  <a:lnTo>
                    <a:pt x="1412272" y="563690"/>
                  </a:lnTo>
                  <a:lnTo>
                    <a:pt x="1418939" y="566071"/>
                  </a:lnTo>
                  <a:lnTo>
                    <a:pt x="1420368" y="564261"/>
                  </a:lnTo>
                  <a:lnTo>
                    <a:pt x="1422178" y="565595"/>
                  </a:lnTo>
                  <a:lnTo>
                    <a:pt x="1420559" y="565880"/>
                  </a:lnTo>
                  <a:lnTo>
                    <a:pt x="1427321" y="568166"/>
                  </a:lnTo>
                  <a:lnTo>
                    <a:pt x="1419035" y="578834"/>
                  </a:lnTo>
                  <a:lnTo>
                    <a:pt x="1419797" y="585216"/>
                  </a:lnTo>
                  <a:lnTo>
                    <a:pt x="1417987" y="583787"/>
                  </a:lnTo>
                  <a:lnTo>
                    <a:pt x="1416463" y="583978"/>
                  </a:lnTo>
                  <a:lnTo>
                    <a:pt x="1419225" y="593312"/>
                  </a:lnTo>
                  <a:lnTo>
                    <a:pt x="1413319" y="597218"/>
                  </a:lnTo>
                  <a:lnTo>
                    <a:pt x="1408176" y="594646"/>
                  </a:lnTo>
                  <a:lnTo>
                    <a:pt x="1407605" y="589979"/>
                  </a:lnTo>
                  <a:lnTo>
                    <a:pt x="1404080" y="587216"/>
                  </a:lnTo>
                  <a:lnTo>
                    <a:pt x="1398080" y="591122"/>
                  </a:lnTo>
                  <a:lnTo>
                    <a:pt x="1394555" y="601218"/>
                  </a:lnTo>
                  <a:lnTo>
                    <a:pt x="1401699" y="606743"/>
                  </a:lnTo>
                  <a:lnTo>
                    <a:pt x="1406081" y="602933"/>
                  </a:lnTo>
                  <a:lnTo>
                    <a:pt x="1410176" y="610457"/>
                  </a:lnTo>
                  <a:lnTo>
                    <a:pt x="1413319" y="610076"/>
                  </a:lnTo>
                  <a:lnTo>
                    <a:pt x="1408843" y="612267"/>
                  </a:lnTo>
                  <a:lnTo>
                    <a:pt x="1405033" y="607886"/>
                  </a:lnTo>
                  <a:lnTo>
                    <a:pt x="1402271" y="611505"/>
                  </a:lnTo>
                  <a:lnTo>
                    <a:pt x="1399127" y="611886"/>
                  </a:lnTo>
                  <a:lnTo>
                    <a:pt x="1397794" y="613696"/>
                  </a:lnTo>
                  <a:lnTo>
                    <a:pt x="1400365" y="621316"/>
                  </a:lnTo>
                  <a:lnTo>
                    <a:pt x="1402556" y="625888"/>
                  </a:lnTo>
                  <a:lnTo>
                    <a:pt x="1402747" y="640271"/>
                  </a:lnTo>
                  <a:lnTo>
                    <a:pt x="1396270" y="639509"/>
                  </a:lnTo>
                  <a:lnTo>
                    <a:pt x="1391698" y="641699"/>
                  </a:lnTo>
                  <a:lnTo>
                    <a:pt x="1389983" y="640271"/>
                  </a:lnTo>
                  <a:lnTo>
                    <a:pt x="1390364" y="643414"/>
                  </a:lnTo>
                  <a:lnTo>
                    <a:pt x="1387221" y="643890"/>
                  </a:lnTo>
                  <a:lnTo>
                    <a:pt x="1385411" y="642461"/>
                  </a:lnTo>
                  <a:lnTo>
                    <a:pt x="1382077" y="641318"/>
                  </a:lnTo>
                  <a:lnTo>
                    <a:pt x="1380839" y="644652"/>
                  </a:lnTo>
                  <a:lnTo>
                    <a:pt x="1377887" y="646652"/>
                  </a:lnTo>
                  <a:lnTo>
                    <a:pt x="1378172" y="648272"/>
                  </a:lnTo>
                  <a:lnTo>
                    <a:pt x="1381697" y="650938"/>
                  </a:lnTo>
                  <a:lnTo>
                    <a:pt x="1392936" y="651129"/>
                  </a:lnTo>
                  <a:lnTo>
                    <a:pt x="1391793" y="654558"/>
                  </a:lnTo>
                  <a:lnTo>
                    <a:pt x="1396270" y="652367"/>
                  </a:lnTo>
                  <a:lnTo>
                    <a:pt x="1396937" y="657035"/>
                  </a:lnTo>
                  <a:lnTo>
                    <a:pt x="1395508" y="658844"/>
                  </a:lnTo>
                  <a:lnTo>
                    <a:pt x="1393698" y="657511"/>
                  </a:lnTo>
                  <a:lnTo>
                    <a:pt x="1392364" y="659225"/>
                  </a:lnTo>
                  <a:lnTo>
                    <a:pt x="1387221" y="656654"/>
                  </a:lnTo>
                  <a:lnTo>
                    <a:pt x="1387412" y="658273"/>
                  </a:lnTo>
                  <a:lnTo>
                    <a:pt x="1390745" y="659416"/>
                  </a:lnTo>
                  <a:lnTo>
                    <a:pt x="1389221" y="659606"/>
                  </a:lnTo>
                  <a:lnTo>
                    <a:pt x="1384078" y="657130"/>
                  </a:lnTo>
                  <a:lnTo>
                    <a:pt x="1380744" y="655892"/>
                  </a:lnTo>
                  <a:lnTo>
                    <a:pt x="1375029" y="661416"/>
                  </a:lnTo>
                  <a:lnTo>
                    <a:pt x="1368933" y="663797"/>
                  </a:lnTo>
                  <a:lnTo>
                    <a:pt x="1374267" y="667988"/>
                  </a:lnTo>
                  <a:lnTo>
                    <a:pt x="1374648" y="671132"/>
                  </a:lnTo>
                  <a:lnTo>
                    <a:pt x="1376172" y="670941"/>
                  </a:lnTo>
                  <a:lnTo>
                    <a:pt x="1377029" y="677228"/>
                  </a:lnTo>
                  <a:lnTo>
                    <a:pt x="1380554" y="679990"/>
                  </a:lnTo>
                  <a:lnTo>
                    <a:pt x="1382173" y="679799"/>
                  </a:lnTo>
                  <a:lnTo>
                    <a:pt x="1380744" y="681609"/>
                  </a:lnTo>
                  <a:lnTo>
                    <a:pt x="1383887" y="681133"/>
                  </a:lnTo>
                  <a:lnTo>
                    <a:pt x="1384364" y="684276"/>
                  </a:lnTo>
                  <a:lnTo>
                    <a:pt x="1389507" y="686848"/>
                  </a:lnTo>
                  <a:lnTo>
                    <a:pt x="1394651" y="689420"/>
                  </a:lnTo>
                  <a:lnTo>
                    <a:pt x="1396365" y="690848"/>
                  </a:lnTo>
                  <a:lnTo>
                    <a:pt x="1400556" y="685514"/>
                  </a:lnTo>
                  <a:lnTo>
                    <a:pt x="1408843" y="687610"/>
                  </a:lnTo>
                  <a:lnTo>
                    <a:pt x="1407414" y="689420"/>
                  </a:lnTo>
                  <a:lnTo>
                    <a:pt x="1405700" y="687991"/>
                  </a:lnTo>
                  <a:lnTo>
                    <a:pt x="1409414" y="692372"/>
                  </a:lnTo>
                  <a:lnTo>
                    <a:pt x="1412367" y="690372"/>
                  </a:lnTo>
                  <a:lnTo>
                    <a:pt x="1417510" y="692944"/>
                  </a:lnTo>
                  <a:lnTo>
                    <a:pt x="1413129" y="696659"/>
                  </a:lnTo>
                  <a:lnTo>
                    <a:pt x="1409986" y="697040"/>
                  </a:lnTo>
                  <a:lnTo>
                    <a:pt x="1411986" y="699992"/>
                  </a:lnTo>
                  <a:lnTo>
                    <a:pt x="1415320" y="701231"/>
                  </a:lnTo>
                  <a:lnTo>
                    <a:pt x="1418558" y="700850"/>
                  </a:lnTo>
                  <a:lnTo>
                    <a:pt x="1418749" y="702374"/>
                  </a:lnTo>
                  <a:lnTo>
                    <a:pt x="1420082" y="700659"/>
                  </a:lnTo>
                  <a:lnTo>
                    <a:pt x="1421892" y="701993"/>
                  </a:lnTo>
                  <a:lnTo>
                    <a:pt x="1427035" y="704564"/>
                  </a:lnTo>
                  <a:lnTo>
                    <a:pt x="1434275" y="698849"/>
                  </a:lnTo>
                  <a:lnTo>
                    <a:pt x="1436084" y="700183"/>
                  </a:lnTo>
                  <a:lnTo>
                    <a:pt x="1436465" y="703326"/>
                  </a:lnTo>
                  <a:lnTo>
                    <a:pt x="1438275" y="704755"/>
                  </a:lnTo>
                  <a:lnTo>
                    <a:pt x="1435322" y="706660"/>
                  </a:lnTo>
                  <a:lnTo>
                    <a:pt x="1436084" y="713041"/>
                  </a:lnTo>
                  <a:lnTo>
                    <a:pt x="1439227" y="712565"/>
                  </a:lnTo>
                  <a:lnTo>
                    <a:pt x="1442752" y="702564"/>
                  </a:lnTo>
                  <a:lnTo>
                    <a:pt x="1444752" y="705517"/>
                  </a:lnTo>
                  <a:lnTo>
                    <a:pt x="1443609" y="708851"/>
                  </a:lnTo>
                  <a:lnTo>
                    <a:pt x="1446752" y="708470"/>
                  </a:lnTo>
                  <a:lnTo>
                    <a:pt x="1445800" y="713423"/>
                  </a:lnTo>
                  <a:lnTo>
                    <a:pt x="1446371" y="718090"/>
                  </a:lnTo>
                  <a:lnTo>
                    <a:pt x="1445038" y="719899"/>
                  </a:lnTo>
                  <a:lnTo>
                    <a:pt x="1437513" y="724090"/>
                  </a:lnTo>
                  <a:lnTo>
                    <a:pt x="1437704" y="725615"/>
                  </a:lnTo>
                  <a:lnTo>
                    <a:pt x="1439704" y="728567"/>
                  </a:lnTo>
                  <a:lnTo>
                    <a:pt x="1448372" y="733901"/>
                  </a:lnTo>
                  <a:lnTo>
                    <a:pt x="1467707" y="747427"/>
                  </a:lnTo>
                  <a:lnTo>
                    <a:pt x="1469136" y="745712"/>
                  </a:lnTo>
                  <a:lnTo>
                    <a:pt x="1472279" y="745236"/>
                  </a:lnTo>
                  <a:lnTo>
                    <a:pt x="1474470" y="749808"/>
                  </a:lnTo>
                  <a:lnTo>
                    <a:pt x="1475804" y="747998"/>
                  </a:lnTo>
                  <a:lnTo>
                    <a:pt x="1477613" y="749427"/>
                  </a:lnTo>
                  <a:lnTo>
                    <a:pt x="1479423" y="750761"/>
                  </a:lnTo>
                  <a:lnTo>
                    <a:pt x="1478185" y="754190"/>
                  </a:lnTo>
                  <a:lnTo>
                    <a:pt x="1481614" y="755332"/>
                  </a:lnTo>
                  <a:lnTo>
                    <a:pt x="1484376" y="751808"/>
                  </a:lnTo>
                  <a:lnTo>
                    <a:pt x="1488281" y="757714"/>
                  </a:lnTo>
                  <a:lnTo>
                    <a:pt x="1485710" y="762857"/>
                  </a:lnTo>
                  <a:lnTo>
                    <a:pt x="1487519" y="764191"/>
                  </a:lnTo>
                  <a:lnTo>
                    <a:pt x="1486567" y="769144"/>
                  </a:lnTo>
                  <a:lnTo>
                    <a:pt x="1488567" y="772097"/>
                  </a:lnTo>
                  <a:lnTo>
                    <a:pt x="1485138" y="770953"/>
                  </a:lnTo>
                  <a:lnTo>
                    <a:pt x="1480661" y="773049"/>
                  </a:lnTo>
                  <a:lnTo>
                    <a:pt x="1476470" y="778383"/>
                  </a:lnTo>
                  <a:lnTo>
                    <a:pt x="1485995" y="790003"/>
                  </a:lnTo>
                  <a:lnTo>
                    <a:pt x="1487805" y="791432"/>
                  </a:lnTo>
                  <a:lnTo>
                    <a:pt x="1489615" y="792766"/>
                  </a:lnTo>
                  <a:lnTo>
                    <a:pt x="1489996" y="795909"/>
                  </a:lnTo>
                  <a:lnTo>
                    <a:pt x="1488758" y="799338"/>
                  </a:lnTo>
                  <a:lnTo>
                    <a:pt x="1487424" y="801053"/>
                  </a:lnTo>
                  <a:lnTo>
                    <a:pt x="1483900" y="798290"/>
                  </a:lnTo>
                  <a:lnTo>
                    <a:pt x="1484852" y="806196"/>
                  </a:lnTo>
                  <a:lnTo>
                    <a:pt x="1483328" y="806386"/>
                  </a:lnTo>
                  <a:lnTo>
                    <a:pt x="1482281" y="811340"/>
                  </a:lnTo>
                  <a:lnTo>
                    <a:pt x="1480756" y="811530"/>
                  </a:lnTo>
                  <a:lnTo>
                    <a:pt x="1480947" y="813149"/>
                  </a:lnTo>
                  <a:lnTo>
                    <a:pt x="1475613" y="821817"/>
                  </a:lnTo>
                  <a:lnTo>
                    <a:pt x="1479233" y="824579"/>
                  </a:lnTo>
                  <a:lnTo>
                    <a:pt x="1476185" y="826580"/>
                  </a:lnTo>
                  <a:lnTo>
                    <a:pt x="1466945" y="829342"/>
                  </a:lnTo>
                  <a:lnTo>
                    <a:pt x="1465421" y="829532"/>
                  </a:lnTo>
                  <a:lnTo>
                    <a:pt x="1465802" y="832676"/>
                  </a:lnTo>
                  <a:lnTo>
                    <a:pt x="1465802" y="832676"/>
                  </a:lnTo>
                  <a:lnTo>
                    <a:pt x="1464659" y="836105"/>
                  </a:lnTo>
                  <a:lnTo>
                    <a:pt x="1469708" y="838581"/>
                  </a:lnTo>
                  <a:lnTo>
                    <a:pt x="1468946" y="845153"/>
                  </a:lnTo>
                  <a:lnTo>
                    <a:pt x="1467993" y="850106"/>
                  </a:lnTo>
                  <a:lnTo>
                    <a:pt x="1469803" y="851440"/>
                  </a:lnTo>
                  <a:lnTo>
                    <a:pt x="1469041" y="857917"/>
                  </a:lnTo>
                  <a:lnTo>
                    <a:pt x="1467422" y="858203"/>
                  </a:lnTo>
                  <a:lnTo>
                    <a:pt x="1465421" y="855250"/>
                  </a:lnTo>
                  <a:lnTo>
                    <a:pt x="1462850" y="860298"/>
                  </a:lnTo>
                  <a:lnTo>
                    <a:pt x="1466469" y="863060"/>
                  </a:lnTo>
                  <a:lnTo>
                    <a:pt x="1466660" y="864680"/>
                  </a:lnTo>
                  <a:lnTo>
                    <a:pt x="1467231" y="869442"/>
                  </a:lnTo>
                  <a:lnTo>
                    <a:pt x="1464088" y="869823"/>
                  </a:lnTo>
                  <a:lnTo>
                    <a:pt x="1462754" y="871633"/>
                  </a:lnTo>
                  <a:lnTo>
                    <a:pt x="1463326" y="876300"/>
                  </a:lnTo>
                  <a:lnTo>
                    <a:pt x="1463516" y="877919"/>
                  </a:lnTo>
                  <a:lnTo>
                    <a:pt x="1459421" y="883253"/>
                  </a:lnTo>
                  <a:lnTo>
                    <a:pt x="1455610" y="878872"/>
                  </a:lnTo>
                  <a:lnTo>
                    <a:pt x="1447990" y="881539"/>
                  </a:lnTo>
                  <a:lnTo>
                    <a:pt x="1448181" y="883063"/>
                  </a:lnTo>
                  <a:lnTo>
                    <a:pt x="1449896" y="884491"/>
                  </a:lnTo>
                  <a:lnTo>
                    <a:pt x="1448372" y="884682"/>
                  </a:lnTo>
                  <a:lnTo>
                    <a:pt x="1448943" y="889349"/>
                  </a:lnTo>
                  <a:lnTo>
                    <a:pt x="1444466" y="891540"/>
                  </a:lnTo>
                  <a:lnTo>
                    <a:pt x="1441228" y="892016"/>
                  </a:lnTo>
                  <a:lnTo>
                    <a:pt x="1441704" y="895160"/>
                  </a:lnTo>
                  <a:lnTo>
                    <a:pt x="1440085" y="895350"/>
                  </a:lnTo>
                  <a:lnTo>
                    <a:pt x="1436084" y="889445"/>
                  </a:lnTo>
                  <a:lnTo>
                    <a:pt x="1431036" y="886873"/>
                  </a:lnTo>
                  <a:lnTo>
                    <a:pt x="1428083" y="888873"/>
                  </a:lnTo>
                  <a:lnTo>
                    <a:pt x="1418177" y="899732"/>
                  </a:lnTo>
                  <a:lnTo>
                    <a:pt x="1418558" y="902875"/>
                  </a:lnTo>
                  <a:lnTo>
                    <a:pt x="1413701" y="901922"/>
                  </a:lnTo>
                  <a:lnTo>
                    <a:pt x="1411129" y="907066"/>
                  </a:lnTo>
                  <a:lnTo>
                    <a:pt x="1407223" y="913924"/>
                  </a:lnTo>
                  <a:lnTo>
                    <a:pt x="1407795" y="918686"/>
                  </a:lnTo>
                  <a:lnTo>
                    <a:pt x="1409795" y="921639"/>
                  </a:lnTo>
                  <a:lnTo>
                    <a:pt x="1414463" y="921068"/>
                  </a:lnTo>
                  <a:lnTo>
                    <a:pt x="1417606" y="920591"/>
                  </a:lnTo>
                  <a:lnTo>
                    <a:pt x="1416653" y="925544"/>
                  </a:lnTo>
                  <a:lnTo>
                    <a:pt x="1420273" y="928307"/>
                  </a:lnTo>
                  <a:lnTo>
                    <a:pt x="1419225" y="933260"/>
                  </a:lnTo>
                  <a:lnTo>
                    <a:pt x="1424368" y="935831"/>
                  </a:lnTo>
                  <a:lnTo>
                    <a:pt x="1421416" y="937832"/>
                  </a:lnTo>
                  <a:lnTo>
                    <a:pt x="1421892" y="940975"/>
                  </a:lnTo>
                  <a:lnTo>
                    <a:pt x="1419130" y="944499"/>
                  </a:lnTo>
                  <a:lnTo>
                    <a:pt x="1415891" y="944880"/>
                  </a:lnTo>
                  <a:lnTo>
                    <a:pt x="1413224" y="948499"/>
                  </a:lnTo>
                  <a:lnTo>
                    <a:pt x="1413415" y="950024"/>
                  </a:lnTo>
                  <a:lnTo>
                    <a:pt x="1409795" y="947261"/>
                  </a:lnTo>
                  <a:lnTo>
                    <a:pt x="1408271" y="947452"/>
                  </a:lnTo>
                  <a:lnTo>
                    <a:pt x="1406462" y="946118"/>
                  </a:lnTo>
                  <a:lnTo>
                    <a:pt x="1401889" y="948309"/>
                  </a:lnTo>
                  <a:lnTo>
                    <a:pt x="1394841" y="942785"/>
                  </a:lnTo>
                  <a:lnTo>
                    <a:pt x="1395413" y="947547"/>
                  </a:lnTo>
                  <a:lnTo>
                    <a:pt x="1392269" y="947928"/>
                  </a:lnTo>
                  <a:lnTo>
                    <a:pt x="1388745" y="945166"/>
                  </a:lnTo>
                  <a:lnTo>
                    <a:pt x="1387888" y="938879"/>
                  </a:lnTo>
                  <a:lnTo>
                    <a:pt x="1386554" y="940594"/>
                  </a:lnTo>
                  <a:lnTo>
                    <a:pt x="1384744" y="939260"/>
                  </a:lnTo>
                  <a:lnTo>
                    <a:pt x="1382363" y="946023"/>
                  </a:lnTo>
                  <a:lnTo>
                    <a:pt x="1378268" y="951357"/>
                  </a:lnTo>
                  <a:lnTo>
                    <a:pt x="1375886" y="958024"/>
                  </a:lnTo>
                  <a:lnTo>
                    <a:pt x="1377696" y="959453"/>
                  </a:lnTo>
                  <a:lnTo>
                    <a:pt x="1374934" y="962978"/>
                  </a:lnTo>
                  <a:lnTo>
                    <a:pt x="1375696" y="969264"/>
                  </a:lnTo>
                  <a:lnTo>
                    <a:pt x="1374172" y="969455"/>
                  </a:lnTo>
                  <a:lnTo>
                    <a:pt x="1373600" y="964787"/>
                  </a:lnTo>
                  <a:lnTo>
                    <a:pt x="1368647" y="963740"/>
                  </a:lnTo>
                  <a:lnTo>
                    <a:pt x="1361694" y="972693"/>
                  </a:lnTo>
                  <a:lnTo>
                    <a:pt x="1353026" y="967359"/>
                  </a:lnTo>
                  <a:lnTo>
                    <a:pt x="1345597" y="971550"/>
                  </a:lnTo>
                  <a:lnTo>
                    <a:pt x="1338453" y="978884"/>
                  </a:lnTo>
                  <a:lnTo>
                    <a:pt x="1336643" y="977456"/>
                  </a:lnTo>
                  <a:lnTo>
                    <a:pt x="1335310" y="979265"/>
                  </a:lnTo>
                  <a:lnTo>
                    <a:pt x="1330357" y="978218"/>
                  </a:lnTo>
                  <a:lnTo>
                    <a:pt x="1327214" y="978694"/>
                  </a:lnTo>
                  <a:lnTo>
                    <a:pt x="1326833" y="975551"/>
                  </a:lnTo>
                  <a:lnTo>
                    <a:pt x="1325880" y="980408"/>
                  </a:lnTo>
                  <a:lnTo>
                    <a:pt x="1325689" y="978884"/>
                  </a:lnTo>
                  <a:lnTo>
                    <a:pt x="1322451" y="979265"/>
                  </a:lnTo>
                  <a:lnTo>
                    <a:pt x="1317784" y="979837"/>
                  </a:lnTo>
                  <a:lnTo>
                    <a:pt x="1317022" y="986409"/>
                  </a:lnTo>
                  <a:lnTo>
                    <a:pt x="1313402" y="983647"/>
                  </a:lnTo>
                  <a:lnTo>
                    <a:pt x="1312069" y="985457"/>
                  </a:lnTo>
                  <a:lnTo>
                    <a:pt x="1314260" y="989933"/>
                  </a:lnTo>
                  <a:lnTo>
                    <a:pt x="1306544" y="992505"/>
                  </a:lnTo>
                  <a:lnTo>
                    <a:pt x="1306354" y="990981"/>
                  </a:lnTo>
                  <a:lnTo>
                    <a:pt x="1303592" y="994505"/>
                  </a:lnTo>
                  <a:lnTo>
                    <a:pt x="1301591" y="991553"/>
                  </a:lnTo>
                  <a:lnTo>
                    <a:pt x="1298639" y="993553"/>
                  </a:lnTo>
                  <a:lnTo>
                    <a:pt x="1298448" y="991934"/>
                  </a:lnTo>
                  <a:lnTo>
                    <a:pt x="1292162" y="992791"/>
                  </a:lnTo>
                  <a:lnTo>
                    <a:pt x="1291971" y="991172"/>
                  </a:lnTo>
                  <a:lnTo>
                    <a:pt x="1297400" y="984028"/>
                  </a:lnTo>
                  <a:lnTo>
                    <a:pt x="1295495" y="981075"/>
                  </a:lnTo>
                  <a:lnTo>
                    <a:pt x="1292257" y="981551"/>
                  </a:lnTo>
                  <a:lnTo>
                    <a:pt x="1289590" y="985076"/>
                  </a:lnTo>
                  <a:lnTo>
                    <a:pt x="1286161" y="983932"/>
                  </a:lnTo>
                  <a:lnTo>
                    <a:pt x="1283589" y="989076"/>
                  </a:lnTo>
                  <a:lnTo>
                    <a:pt x="1278922" y="989648"/>
                  </a:lnTo>
                  <a:lnTo>
                    <a:pt x="1277112" y="988219"/>
                  </a:lnTo>
                  <a:lnTo>
                    <a:pt x="1273207" y="995172"/>
                  </a:lnTo>
                  <a:lnTo>
                    <a:pt x="1271588" y="995362"/>
                  </a:lnTo>
                  <a:lnTo>
                    <a:pt x="1272064" y="998506"/>
                  </a:lnTo>
                  <a:lnTo>
                    <a:pt x="1275398" y="999744"/>
                  </a:lnTo>
                  <a:lnTo>
                    <a:pt x="1273969" y="1001459"/>
                  </a:lnTo>
                  <a:lnTo>
                    <a:pt x="1275969" y="1004411"/>
                  </a:lnTo>
                  <a:lnTo>
                    <a:pt x="1268444" y="1008602"/>
                  </a:lnTo>
                  <a:lnTo>
                    <a:pt x="1269683" y="1018032"/>
                  </a:lnTo>
                  <a:lnTo>
                    <a:pt x="1270540" y="1024414"/>
                  </a:lnTo>
                  <a:lnTo>
                    <a:pt x="1256729" y="1029367"/>
                  </a:lnTo>
                  <a:lnTo>
                    <a:pt x="1258634" y="1032320"/>
                  </a:lnTo>
                  <a:lnTo>
                    <a:pt x="1253395" y="1040987"/>
                  </a:lnTo>
                  <a:lnTo>
                    <a:pt x="1251776" y="1041178"/>
                  </a:lnTo>
                  <a:lnTo>
                    <a:pt x="1251394" y="1038035"/>
                  </a:lnTo>
                  <a:lnTo>
                    <a:pt x="1250061" y="1039844"/>
                  </a:lnTo>
                  <a:lnTo>
                    <a:pt x="1250061" y="1039844"/>
                  </a:lnTo>
                  <a:lnTo>
                    <a:pt x="1246823" y="1040225"/>
                  </a:lnTo>
                  <a:lnTo>
                    <a:pt x="1248632" y="1041559"/>
                  </a:lnTo>
                  <a:lnTo>
                    <a:pt x="1245489" y="1042035"/>
                  </a:lnTo>
                  <a:lnTo>
                    <a:pt x="1247489" y="1044988"/>
                  </a:lnTo>
                  <a:lnTo>
                    <a:pt x="1244727" y="1048512"/>
                  </a:lnTo>
                  <a:lnTo>
                    <a:pt x="1243775" y="1053465"/>
                  </a:lnTo>
                  <a:lnTo>
                    <a:pt x="1242536" y="1056799"/>
                  </a:lnTo>
                  <a:lnTo>
                    <a:pt x="1244727" y="1061371"/>
                  </a:lnTo>
                  <a:lnTo>
                    <a:pt x="1242822" y="1071182"/>
                  </a:lnTo>
                  <a:lnTo>
                    <a:pt x="1245013" y="1075754"/>
                  </a:lnTo>
                  <a:lnTo>
                    <a:pt x="1243965" y="1080707"/>
                  </a:lnTo>
                  <a:lnTo>
                    <a:pt x="1247585" y="1083469"/>
                  </a:lnTo>
                  <a:lnTo>
                    <a:pt x="1245965" y="1083659"/>
                  </a:lnTo>
                  <a:lnTo>
                    <a:pt x="1248537" y="1091375"/>
                  </a:lnTo>
                  <a:lnTo>
                    <a:pt x="1251680" y="1090898"/>
                  </a:lnTo>
                  <a:lnTo>
                    <a:pt x="1255681" y="1084040"/>
                  </a:lnTo>
                  <a:lnTo>
                    <a:pt x="1263587" y="1095851"/>
                  </a:lnTo>
                  <a:lnTo>
                    <a:pt x="1271302" y="1093280"/>
                  </a:lnTo>
                  <a:lnTo>
                    <a:pt x="1282541" y="1093375"/>
                  </a:lnTo>
                  <a:lnTo>
                    <a:pt x="1281493" y="1098328"/>
                  </a:lnTo>
                  <a:lnTo>
                    <a:pt x="1285875" y="1107377"/>
                  </a:lnTo>
                  <a:lnTo>
                    <a:pt x="1293590" y="1117664"/>
                  </a:lnTo>
                  <a:lnTo>
                    <a:pt x="1294257" y="1122426"/>
                  </a:lnTo>
                  <a:lnTo>
                    <a:pt x="1291304" y="1124331"/>
                  </a:lnTo>
                  <a:lnTo>
                    <a:pt x="1290066" y="1127760"/>
                  </a:lnTo>
                  <a:lnTo>
                    <a:pt x="1293876" y="1132046"/>
                  </a:lnTo>
                  <a:lnTo>
                    <a:pt x="1290161" y="1140524"/>
                  </a:lnTo>
                  <a:lnTo>
                    <a:pt x="1286542" y="1137761"/>
                  </a:lnTo>
                  <a:lnTo>
                    <a:pt x="1287209" y="1142524"/>
                  </a:lnTo>
                  <a:lnTo>
                    <a:pt x="1285399" y="1141190"/>
                  </a:lnTo>
                  <a:lnTo>
                    <a:pt x="1285589" y="1142714"/>
                  </a:lnTo>
                  <a:lnTo>
                    <a:pt x="1283970" y="1142905"/>
                  </a:lnTo>
                  <a:lnTo>
                    <a:pt x="1279684" y="1146715"/>
                  </a:lnTo>
                  <a:lnTo>
                    <a:pt x="1280255" y="1151477"/>
                  </a:lnTo>
                  <a:lnTo>
                    <a:pt x="1274159" y="1153859"/>
                  </a:lnTo>
                  <a:lnTo>
                    <a:pt x="1273969" y="1152239"/>
                  </a:lnTo>
                  <a:lnTo>
                    <a:pt x="1270826" y="1152620"/>
                  </a:lnTo>
                  <a:lnTo>
                    <a:pt x="1266254" y="1154811"/>
                  </a:lnTo>
                  <a:lnTo>
                    <a:pt x="1264253" y="1151858"/>
                  </a:lnTo>
                  <a:lnTo>
                    <a:pt x="1261586" y="1155383"/>
                  </a:lnTo>
                  <a:lnTo>
                    <a:pt x="1259110" y="1149287"/>
                  </a:lnTo>
                  <a:lnTo>
                    <a:pt x="1252252" y="1145381"/>
                  </a:lnTo>
                  <a:lnTo>
                    <a:pt x="1251109" y="1148715"/>
                  </a:lnTo>
                  <a:lnTo>
                    <a:pt x="1246156" y="1147762"/>
                  </a:lnTo>
                  <a:lnTo>
                    <a:pt x="1247108" y="1155668"/>
                  </a:lnTo>
                  <a:lnTo>
                    <a:pt x="1247108" y="1155668"/>
                  </a:lnTo>
                  <a:lnTo>
                    <a:pt x="1244156" y="1157669"/>
                  </a:lnTo>
                  <a:lnTo>
                    <a:pt x="1240631" y="1154906"/>
                  </a:lnTo>
                  <a:lnTo>
                    <a:pt x="1241774" y="1151573"/>
                  </a:lnTo>
                  <a:lnTo>
                    <a:pt x="1237107" y="1152144"/>
                  </a:lnTo>
                  <a:lnTo>
                    <a:pt x="1237488" y="1155287"/>
                  </a:lnTo>
                  <a:lnTo>
                    <a:pt x="1241012" y="1158050"/>
                  </a:lnTo>
                  <a:lnTo>
                    <a:pt x="1240060" y="1163003"/>
                  </a:lnTo>
                  <a:lnTo>
                    <a:pt x="1235297" y="1163574"/>
                  </a:lnTo>
                  <a:lnTo>
                    <a:pt x="1235678" y="1166717"/>
                  </a:lnTo>
                  <a:lnTo>
                    <a:pt x="1234345" y="1168527"/>
                  </a:lnTo>
                  <a:lnTo>
                    <a:pt x="1233202" y="1171861"/>
                  </a:lnTo>
                  <a:lnTo>
                    <a:pt x="1235107" y="1174814"/>
                  </a:lnTo>
                  <a:lnTo>
                    <a:pt x="1233773" y="1176623"/>
                  </a:lnTo>
                  <a:lnTo>
                    <a:pt x="1233964" y="1178147"/>
                  </a:lnTo>
                  <a:lnTo>
                    <a:pt x="1225868" y="1177576"/>
                  </a:lnTo>
                  <a:lnTo>
                    <a:pt x="1225296" y="1172909"/>
                  </a:lnTo>
                  <a:lnTo>
                    <a:pt x="1222915" y="1166812"/>
                  </a:lnTo>
                  <a:lnTo>
                    <a:pt x="1215962" y="1162812"/>
                  </a:lnTo>
                  <a:lnTo>
                    <a:pt x="1216343" y="1165955"/>
                  </a:lnTo>
                  <a:lnTo>
                    <a:pt x="1214628" y="1164622"/>
                  </a:lnTo>
                  <a:lnTo>
                    <a:pt x="1214818" y="1166146"/>
                  </a:lnTo>
                  <a:lnTo>
                    <a:pt x="1211675" y="1166622"/>
                  </a:lnTo>
                  <a:lnTo>
                    <a:pt x="1206913" y="1167194"/>
                  </a:lnTo>
                  <a:lnTo>
                    <a:pt x="1205103" y="1165860"/>
                  </a:lnTo>
                  <a:lnTo>
                    <a:pt x="1203103" y="1162907"/>
                  </a:lnTo>
                  <a:lnTo>
                    <a:pt x="1202912" y="1161288"/>
                  </a:lnTo>
                  <a:lnTo>
                    <a:pt x="1198245" y="1161860"/>
                  </a:lnTo>
                  <a:lnTo>
                    <a:pt x="1199198" y="1157002"/>
                  </a:lnTo>
                  <a:lnTo>
                    <a:pt x="1200722" y="1156716"/>
                  </a:lnTo>
                  <a:lnTo>
                    <a:pt x="1202150" y="1155002"/>
                  </a:lnTo>
                  <a:lnTo>
                    <a:pt x="1197388" y="1155573"/>
                  </a:lnTo>
                  <a:lnTo>
                    <a:pt x="1196245" y="1158907"/>
                  </a:lnTo>
                  <a:lnTo>
                    <a:pt x="1194435" y="1157573"/>
                  </a:lnTo>
                  <a:lnTo>
                    <a:pt x="1191292" y="1157954"/>
                  </a:lnTo>
                  <a:lnTo>
                    <a:pt x="1192339" y="1165860"/>
                  </a:lnTo>
                  <a:lnTo>
                    <a:pt x="1187196" y="1163288"/>
                  </a:lnTo>
                  <a:lnTo>
                    <a:pt x="1179481" y="1165860"/>
                  </a:lnTo>
                  <a:lnTo>
                    <a:pt x="1177862" y="1166051"/>
                  </a:lnTo>
                  <a:lnTo>
                    <a:pt x="1178338" y="1169194"/>
                  </a:lnTo>
                  <a:lnTo>
                    <a:pt x="1175099" y="1169670"/>
                  </a:lnTo>
                  <a:lnTo>
                    <a:pt x="1171575" y="1166908"/>
                  </a:lnTo>
                  <a:lnTo>
                    <a:pt x="1170432" y="1170241"/>
                  </a:lnTo>
                  <a:lnTo>
                    <a:pt x="1167289" y="1170623"/>
                  </a:lnTo>
                  <a:lnTo>
                    <a:pt x="1163860" y="1169480"/>
                  </a:lnTo>
                  <a:lnTo>
                    <a:pt x="1157954" y="1173385"/>
                  </a:lnTo>
                  <a:lnTo>
                    <a:pt x="1150715" y="1166336"/>
                  </a:lnTo>
                  <a:lnTo>
                    <a:pt x="1146143" y="1168527"/>
                  </a:lnTo>
                  <a:lnTo>
                    <a:pt x="1143952" y="1163955"/>
                  </a:lnTo>
                  <a:lnTo>
                    <a:pt x="1137856" y="1166336"/>
                  </a:lnTo>
                  <a:lnTo>
                    <a:pt x="1136618" y="1169765"/>
                  </a:lnTo>
                  <a:lnTo>
                    <a:pt x="1134904" y="1168337"/>
                  </a:lnTo>
                  <a:lnTo>
                    <a:pt x="1133475" y="1170146"/>
                  </a:lnTo>
                  <a:lnTo>
                    <a:pt x="1131284" y="1165574"/>
                  </a:lnTo>
                  <a:lnTo>
                    <a:pt x="1129760" y="1165765"/>
                  </a:lnTo>
                  <a:lnTo>
                    <a:pt x="1129951" y="1167384"/>
                  </a:lnTo>
                  <a:lnTo>
                    <a:pt x="1124807" y="1164812"/>
                  </a:lnTo>
                  <a:lnTo>
                    <a:pt x="1126236" y="1163098"/>
                  </a:lnTo>
                  <a:lnTo>
                    <a:pt x="1120902" y="1158907"/>
                  </a:lnTo>
                  <a:lnTo>
                    <a:pt x="1120616" y="1157383"/>
                  </a:lnTo>
                  <a:lnTo>
                    <a:pt x="1108234" y="1160526"/>
                  </a:lnTo>
                  <a:lnTo>
                    <a:pt x="1101947" y="1161288"/>
                  </a:lnTo>
                  <a:lnTo>
                    <a:pt x="1096804" y="1171575"/>
                  </a:lnTo>
                  <a:lnTo>
                    <a:pt x="1100328" y="1174337"/>
                  </a:lnTo>
                  <a:lnTo>
                    <a:pt x="1105281" y="1175290"/>
                  </a:lnTo>
                  <a:lnTo>
                    <a:pt x="1109281" y="1181195"/>
                  </a:lnTo>
                  <a:lnTo>
                    <a:pt x="1107853" y="1183005"/>
                  </a:lnTo>
                  <a:lnTo>
                    <a:pt x="1110043" y="1187577"/>
                  </a:lnTo>
                  <a:lnTo>
                    <a:pt x="1108710" y="1189291"/>
                  </a:lnTo>
                  <a:lnTo>
                    <a:pt x="1102614" y="1191673"/>
                  </a:lnTo>
                  <a:lnTo>
                    <a:pt x="1091089" y="1189958"/>
                  </a:lnTo>
                  <a:lnTo>
                    <a:pt x="1088612" y="1195102"/>
                  </a:lnTo>
                  <a:lnTo>
                    <a:pt x="1081468" y="1189577"/>
                  </a:lnTo>
                  <a:lnTo>
                    <a:pt x="1076706" y="1190244"/>
                  </a:lnTo>
                  <a:lnTo>
                    <a:pt x="1073944" y="1193768"/>
                  </a:lnTo>
                  <a:lnTo>
                    <a:pt x="1074801" y="1200055"/>
                  </a:lnTo>
                  <a:lnTo>
                    <a:pt x="1073372" y="1201865"/>
                  </a:lnTo>
                  <a:lnTo>
                    <a:pt x="1072039" y="1203579"/>
                  </a:lnTo>
                  <a:lnTo>
                    <a:pt x="1075563" y="1206341"/>
                  </a:lnTo>
                  <a:lnTo>
                    <a:pt x="1079754" y="1213866"/>
                  </a:lnTo>
                  <a:lnTo>
                    <a:pt x="1076611" y="1214247"/>
                  </a:lnTo>
                  <a:lnTo>
                    <a:pt x="1071848" y="1214914"/>
                  </a:lnTo>
                  <a:lnTo>
                    <a:pt x="1070515" y="1216628"/>
                  </a:lnTo>
                  <a:lnTo>
                    <a:pt x="1071277" y="1223010"/>
                  </a:lnTo>
                  <a:lnTo>
                    <a:pt x="1066514" y="1223582"/>
                  </a:lnTo>
                  <a:lnTo>
                    <a:pt x="1065562" y="1228535"/>
                  </a:lnTo>
                  <a:lnTo>
                    <a:pt x="1064038" y="1228725"/>
                  </a:lnTo>
                  <a:lnTo>
                    <a:pt x="1058894" y="1226153"/>
                  </a:lnTo>
                  <a:lnTo>
                    <a:pt x="1056323" y="1231297"/>
                  </a:lnTo>
                  <a:lnTo>
                    <a:pt x="1051369" y="1230344"/>
                  </a:lnTo>
                  <a:lnTo>
                    <a:pt x="1048988" y="1224248"/>
                  </a:lnTo>
                  <a:lnTo>
                    <a:pt x="1041844" y="1218724"/>
                  </a:lnTo>
                  <a:lnTo>
                    <a:pt x="1046226" y="1214914"/>
                  </a:lnTo>
                  <a:lnTo>
                    <a:pt x="1041083" y="1212342"/>
                  </a:lnTo>
                  <a:lnTo>
                    <a:pt x="1039082" y="1209389"/>
                  </a:lnTo>
                  <a:lnTo>
                    <a:pt x="1040511" y="1207675"/>
                  </a:lnTo>
                  <a:lnTo>
                    <a:pt x="1038701" y="1206246"/>
                  </a:lnTo>
                  <a:lnTo>
                    <a:pt x="1036892" y="1204912"/>
                  </a:lnTo>
                  <a:lnTo>
                    <a:pt x="1035463" y="1193864"/>
                  </a:lnTo>
                  <a:lnTo>
                    <a:pt x="1031176" y="1197578"/>
                  </a:lnTo>
                  <a:lnTo>
                    <a:pt x="1032319" y="1194245"/>
                  </a:lnTo>
                  <a:lnTo>
                    <a:pt x="1031938" y="1191101"/>
                  </a:lnTo>
                  <a:lnTo>
                    <a:pt x="1030319" y="1191292"/>
                  </a:lnTo>
                  <a:lnTo>
                    <a:pt x="1031748" y="1189482"/>
                  </a:lnTo>
                  <a:lnTo>
                    <a:pt x="1031176" y="1184815"/>
                  </a:lnTo>
                  <a:lnTo>
                    <a:pt x="1026223" y="1183767"/>
                  </a:lnTo>
                  <a:lnTo>
                    <a:pt x="1029367" y="1183386"/>
                  </a:lnTo>
                  <a:lnTo>
                    <a:pt x="1032510" y="1183005"/>
                  </a:lnTo>
                  <a:lnTo>
                    <a:pt x="1032319" y="1181386"/>
                  </a:lnTo>
                  <a:lnTo>
                    <a:pt x="1025557" y="1179100"/>
                  </a:lnTo>
                  <a:lnTo>
                    <a:pt x="1025176" y="1175957"/>
                  </a:lnTo>
                  <a:lnTo>
                    <a:pt x="1024223" y="1180814"/>
                  </a:lnTo>
                  <a:lnTo>
                    <a:pt x="1021080" y="1181291"/>
                  </a:lnTo>
                  <a:lnTo>
                    <a:pt x="1019080" y="1178338"/>
                  </a:lnTo>
                  <a:lnTo>
                    <a:pt x="1016127" y="1180243"/>
                  </a:lnTo>
                  <a:lnTo>
                    <a:pt x="1012603" y="1190339"/>
                  </a:lnTo>
                  <a:lnTo>
                    <a:pt x="1014413" y="1191768"/>
                  </a:lnTo>
                  <a:lnTo>
                    <a:pt x="1012984" y="1193483"/>
                  </a:lnTo>
                  <a:lnTo>
                    <a:pt x="1009650" y="1192340"/>
                  </a:lnTo>
                  <a:lnTo>
                    <a:pt x="1009079" y="1187577"/>
                  </a:lnTo>
                  <a:lnTo>
                    <a:pt x="1005268" y="1183291"/>
                  </a:lnTo>
                  <a:lnTo>
                    <a:pt x="1003744" y="1183481"/>
                  </a:lnTo>
                  <a:lnTo>
                    <a:pt x="998601" y="1180910"/>
                  </a:lnTo>
                  <a:lnTo>
                    <a:pt x="992791" y="1173671"/>
                  </a:lnTo>
                  <a:lnTo>
                    <a:pt x="988219" y="1163003"/>
                  </a:lnTo>
                  <a:lnTo>
                    <a:pt x="985076" y="1163384"/>
                  </a:lnTo>
                  <a:lnTo>
                    <a:pt x="981932" y="1163765"/>
                  </a:lnTo>
                  <a:lnTo>
                    <a:pt x="965359" y="1159478"/>
                  </a:lnTo>
                  <a:lnTo>
                    <a:pt x="962977" y="1153382"/>
                  </a:lnTo>
                  <a:lnTo>
                    <a:pt x="953643" y="1143286"/>
                  </a:lnTo>
                  <a:lnTo>
                    <a:pt x="955072" y="1141571"/>
                  </a:lnTo>
                  <a:lnTo>
                    <a:pt x="953262" y="1140143"/>
                  </a:lnTo>
                  <a:lnTo>
                    <a:pt x="952500" y="1146715"/>
                  </a:lnTo>
                  <a:lnTo>
                    <a:pt x="951738" y="1153192"/>
                  </a:lnTo>
                  <a:lnTo>
                    <a:pt x="943832" y="1154240"/>
                  </a:lnTo>
                  <a:lnTo>
                    <a:pt x="944023" y="1155764"/>
                  </a:lnTo>
                  <a:lnTo>
                    <a:pt x="941070" y="1157764"/>
                  </a:lnTo>
                  <a:lnTo>
                    <a:pt x="941260" y="1159383"/>
                  </a:lnTo>
                  <a:lnTo>
                    <a:pt x="939546" y="1157954"/>
                  </a:lnTo>
                  <a:lnTo>
                    <a:pt x="936784" y="1161479"/>
                  </a:lnTo>
                  <a:lnTo>
                    <a:pt x="936974" y="1163098"/>
                  </a:lnTo>
                  <a:lnTo>
                    <a:pt x="940118" y="1162717"/>
                  </a:lnTo>
                  <a:lnTo>
                    <a:pt x="939546" y="1170813"/>
                  </a:lnTo>
                  <a:lnTo>
                    <a:pt x="927926" y="1167479"/>
                  </a:lnTo>
                  <a:lnTo>
                    <a:pt x="928306" y="1170623"/>
                  </a:lnTo>
                  <a:lnTo>
                    <a:pt x="930116" y="1171956"/>
                  </a:lnTo>
                  <a:lnTo>
                    <a:pt x="925354" y="1172623"/>
                  </a:lnTo>
                  <a:lnTo>
                    <a:pt x="926878" y="1172432"/>
                  </a:lnTo>
                  <a:lnTo>
                    <a:pt x="928878" y="1175385"/>
                  </a:lnTo>
                  <a:lnTo>
                    <a:pt x="927544" y="1177100"/>
                  </a:lnTo>
                  <a:lnTo>
                    <a:pt x="930878" y="1178338"/>
                  </a:lnTo>
                  <a:lnTo>
                    <a:pt x="928306" y="1183481"/>
                  </a:lnTo>
                  <a:lnTo>
                    <a:pt x="930116" y="1184815"/>
                  </a:lnTo>
                  <a:lnTo>
                    <a:pt x="926973" y="1185196"/>
                  </a:lnTo>
                  <a:lnTo>
                    <a:pt x="925735" y="1188625"/>
                  </a:lnTo>
                  <a:lnTo>
                    <a:pt x="924211" y="1188815"/>
                  </a:lnTo>
                  <a:lnTo>
                    <a:pt x="923449" y="1195292"/>
                  </a:lnTo>
                  <a:lnTo>
                    <a:pt x="921830" y="1195483"/>
                  </a:lnTo>
                  <a:lnTo>
                    <a:pt x="920687" y="1198816"/>
                  </a:lnTo>
                  <a:lnTo>
                    <a:pt x="922210" y="1198626"/>
                  </a:lnTo>
                  <a:lnTo>
                    <a:pt x="922687" y="1201769"/>
                  </a:lnTo>
                  <a:lnTo>
                    <a:pt x="927544" y="1202817"/>
                  </a:lnTo>
                  <a:lnTo>
                    <a:pt x="925259" y="1209485"/>
                  </a:lnTo>
                  <a:lnTo>
                    <a:pt x="927259" y="1212437"/>
                  </a:lnTo>
                  <a:lnTo>
                    <a:pt x="930212" y="1210437"/>
                  </a:lnTo>
                  <a:lnTo>
                    <a:pt x="930593" y="1213676"/>
                  </a:lnTo>
                  <a:lnTo>
                    <a:pt x="928973" y="1213866"/>
                  </a:lnTo>
                  <a:lnTo>
                    <a:pt x="934117" y="1216343"/>
                  </a:lnTo>
                  <a:lnTo>
                    <a:pt x="934498" y="1219581"/>
                  </a:lnTo>
                  <a:lnTo>
                    <a:pt x="930021" y="1221677"/>
                  </a:lnTo>
                  <a:lnTo>
                    <a:pt x="934688" y="1221105"/>
                  </a:lnTo>
                  <a:lnTo>
                    <a:pt x="933355" y="1222915"/>
                  </a:lnTo>
                  <a:lnTo>
                    <a:pt x="928783" y="1225106"/>
                  </a:lnTo>
                  <a:lnTo>
                    <a:pt x="925449" y="1223867"/>
                  </a:lnTo>
                  <a:lnTo>
                    <a:pt x="924115" y="1225677"/>
                  </a:lnTo>
                  <a:lnTo>
                    <a:pt x="924306" y="1227296"/>
                  </a:lnTo>
                  <a:lnTo>
                    <a:pt x="916591" y="1229868"/>
                  </a:lnTo>
                  <a:lnTo>
                    <a:pt x="916781" y="1231392"/>
                  </a:lnTo>
                  <a:lnTo>
                    <a:pt x="913638" y="1231868"/>
                  </a:lnTo>
                  <a:lnTo>
                    <a:pt x="913257" y="1228630"/>
                  </a:lnTo>
                  <a:lnTo>
                    <a:pt x="906971" y="1229487"/>
                  </a:lnTo>
                  <a:lnTo>
                    <a:pt x="903542" y="1228249"/>
                  </a:lnTo>
                  <a:lnTo>
                    <a:pt x="902208" y="1230059"/>
                  </a:lnTo>
                  <a:lnTo>
                    <a:pt x="902589" y="1233202"/>
                  </a:lnTo>
                  <a:lnTo>
                    <a:pt x="897826" y="1233869"/>
                  </a:lnTo>
                  <a:lnTo>
                    <a:pt x="896302" y="1234059"/>
                  </a:lnTo>
                  <a:lnTo>
                    <a:pt x="895350" y="1239012"/>
                  </a:lnTo>
                  <a:lnTo>
                    <a:pt x="888206" y="1246251"/>
                  </a:lnTo>
                  <a:lnTo>
                    <a:pt x="884872" y="1245108"/>
                  </a:lnTo>
                  <a:lnTo>
                    <a:pt x="883730" y="1248442"/>
                  </a:lnTo>
                  <a:lnTo>
                    <a:pt x="878776" y="1247489"/>
                  </a:lnTo>
                  <a:lnTo>
                    <a:pt x="876014" y="1251014"/>
                  </a:lnTo>
                  <a:lnTo>
                    <a:pt x="876395" y="1254252"/>
                  </a:lnTo>
                  <a:lnTo>
                    <a:pt x="871633" y="1254824"/>
                  </a:lnTo>
                  <a:lnTo>
                    <a:pt x="877443" y="1262062"/>
                  </a:lnTo>
                  <a:lnTo>
                    <a:pt x="874681" y="1265682"/>
                  </a:lnTo>
                  <a:lnTo>
                    <a:pt x="873919" y="1272159"/>
                  </a:lnTo>
                  <a:lnTo>
                    <a:pt x="872490" y="1273969"/>
                  </a:lnTo>
                  <a:lnTo>
                    <a:pt x="866013" y="1273207"/>
                  </a:lnTo>
                  <a:lnTo>
                    <a:pt x="864013" y="1270254"/>
                  </a:lnTo>
                  <a:lnTo>
                    <a:pt x="865156" y="1266825"/>
                  </a:lnTo>
                  <a:lnTo>
                    <a:pt x="862393" y="1257586"/>
                  </a:lnTo>
                  <a:lnTo>
                    <a:pt x="857440" y="1256633"/>
                  </a:lnTo>
                  <a:lnTo>
                    <a:pt x="843820" y="1250347"/>
                  </a:lnTo>
                  <a:lnTo>
                    <a:pt x="830009" y="1255300"/>
                  </a:lnTo>
                  <a:lnTo>
                    <a:pt x="826865" y="1255681"/>
                  </a:lnTo>
                  <a:lnTo>
                    <a:pt x="824675" y="1251204"/>
                  </a:lnTo>
                  <a:lnTo>
                    <a:pt x="820007" y="1251776"/>
                  </a:lnTo>
                  <a:lnTo>
                    <a:pt x="819531" y="1248632"/>
                  </a:lnTo>
                  <a:lnTo>
                    <a:pt x="822484" y="1246632"/>
                  </a:lnTo>
                  <a:lnTo>
                    <a:pt x="825627" y="1246251"/>
                  </a:lnTo>
                  <a:lnTo>
                    <a:pt x="826675" y="1241298"/>
                  </a:lnTo>
                  <a:lnTo>
                    <a:pt x="829437" y="1237774"/>
                  </a:lnTo>
                  <a:lnTo>
                    <a:pt x="830009" y="1229678"/>
                  </a:lnTo>
                  <a:lnTo>
                    <a:pt x="829532" y="1226534"/>
                  </a:lnTo>
                  <a:lnTo>
                    <a:pt x="828008" y="1226725"/>
                  </a:lnTo>
                  <a:lnTo>
                    <a:pt x="826580" y="1228439"/>
                  </a:lnTo>
                  <a:lnTo>
                    <a:pt x="825627" y="1233392"/>
                  </a:lnTo>
                  <a:lnTo>
                    <a:pt x="822674" y="1235393"/>
                  </a:lnTo>
                  <a:lnTo>
                    <a:pt x="817721" y="1234440"/>
                  </a:lnTo>
                  <a:lnTo>
                    <a:pt x="818197" y="1237583"/>
                  </a:lnTo>
                  <a:lnTo>
                    <a:pt x="814959" y="1237964"/>
                  </a:lnTo>
                  <a:lnTo>
                    <a:pt x="815816" y="1231487"/>
                  </a:lnTo>
                  <a:lnTo>
                    <a:pt x="810673" y="1241774"/>
                  </a:lnTo>
                  <a:lnTo>
                    <a:pt x="805720" y="1240727"/>
                  </a:lnTo>
                  <a:lnTo>
                    <a:pt x="807148" y="1239012"/>
                  </a:lnTo>
                  <a:lnTo>
                    <a:pt x="805529" y="1239203"/>
                  </a:lnTo>
                  <a:lnTo>
                    <a:pt x="804196" y="1240917"/>
                  </a:lnTo>
                  <a:lnTo>
                    <a:pt x="802196" y="1237964"/>
                  </a:lnTo>
                  <a:lnTo>
                    <a:pt x="800767" y="1239774"/>
                  </a:lnTo>
                  <a:lnTo>
                    <a:pt x="799052" y="1238441"/>
                  </a:lnTo>
                  <a:lnTo>
                    <a:pt x="794099" y="1237393"/>
                  </a:lnTo>
                  <a:lnTo>
                    <a:pt x="792099" y="1234440"/>
                  </a:lnTo>
                  <a:lnTo>
                    <a:pt x="789146" y="1236440"/>
                  </a:lnTo>
                  <a:lnTo>
                    <a:pt x="786384" y="1240060"/>
                  </a:lnTo>
                  <a:lnTo>
                    <a:pt x="784193" y="1235488"/>
                  </a:lnTo>
                  <a:lnTo>
                    <a:pt x="782860" y="1237298"/>
                  </a:lnTo>
                  <a:lnTo>
                    <a:pt x="782384" y="1234154"/>
                  </a:lnTo>
                  <a:lnTo>
                    <a:pt x="777907" y="1236250"/>
                  </a:lnTo>
                  <a:lnTo>
                    <a:pt x="777716" y="1234726"/>
                  </a:lnTo>
                  <a:lnTo>
                    <a:pt x="774383" y="1233583"/>
                  </a:lnTo>
                  <a:lnTo>
                    <a:pt x="776668" y="1226820"/>
                  </a:lnTo>
                  <a:lnTo>
                    <a:pt x="774954" y="1225487"/>
                  </a:lnTo>
                  <a:lnTo>
                    <a:pt x="770192" y="1226058"/>
                  </a:lnTo>
                  <a:lnTo>
                    <a:pt x="767429" y="1229582"/>
                  </a:lnTo>
                  <a:lnTo>
                    <a:pt x="762476" y="1228630"/>
                  </a:lnTo>
                  <a:lnTo>
                    <a:pt x="753809" y="1223296"/>
                  </a:lnTo>
                  <a:lnTo>
                    <a:pt x="749046" y="1223962"/>
                  </a:lnTo>
                  <a:lnTo>
                    <a:pt x="750856" y="1225296"/>
                  </a:lnTo>
                  <a:lnTo>
                    <a:pt x="748475" y="1232059"/>
                  </a:lnTo>
                  <a:lnTo>
                    <a:pt x="742379" y="1234440"/>
                  </a:lnTo>
                  <a:lnTo>
                    <a:pt x="744379" y="1237393"/>
                  </a:lnTo>
                  <a:lnTo>
                    <a:pt x="747522" y="1236916"/>
                  </a:lnTo>
                  <a:lnTo>
                    <a:pt x="746093" y="1238726"/>
                  </a:lnTo>
                  <a:lnTo>
                    <a:pt x="744569" y="1238917"/>
                  </a:lnTo>
                  <a:lnTo>
                    <a:pt x="740759" y="1234631"/>
                  </a:lnTo>
                  <a:lnTo>
                    <a:pt x="739616" y="1237964"/>
                  </a:lnTo>
                  <a:lnTo>
                    <a:pt x="736092" y="1235202"/>
                  </a:lnTo>
                  <a:lnTo>
                    <a:pt x="735616" y="1232059"/>
                  </a:lnTo>
                  <a:lnTo>
                    <a:pt x="734092" y="1232249"/>
                  </a:lnTo>
                  <a:lnTo>
                    <a:pt x="731901" y="1227677"/>
                  </a:lnTo>
                  <a:lnTo>
                    <a:pt x="727138" y="1228344"/>
                  </a:lnTo>
                  <a:lnTo>
                    <a:pt x="726186" y="1220438"/>
                  </a:lnTo>
                  <a:lnTo>
                    <a:pt x="719804" y="1221200"/>
                  </a:lnTo>
                  <a:lnTo>
                    <a:pt x="718661" y="1224629"/>
                  </a:lnTo>
                  <a:lnTo>
                    <a:pt x="715518" y="1225010"/>
                  </a:lnTo>
                  <a:lnTo>
                    <a:pt x="707422" y="1211580"/>
                  </a:lnTo>
                  <a:lnTo>
                    <a:pt x="704279" y="1211961"/>
                  </a:lnTo>
                  <a:lnTo>
                    <a:pt x="700468" y="1207675"/>
                  </a:lnTo>
                  <a:lnTo>
                    <a:pt x="702850" y="1213771"/>
                  </a:lnTo>
                  <a:lnTo>
                    <a:pt x="701326" y="1213961"/>
                  </a:lnTo>
                  <a:lnTo>
                    <a:pt x="697706" y="1211199"/>
                  </a:lnTo>
                  <a:lnTo>
                    <a:pt x="696373" y="1213009"/>
                  </a:lnTo>
                  <a:lnTo>
                    <a:pt x="697897" y="1212818"/>
                  </a:lnTo>
                  <a:lnTo>
                    <a:pt x="702278" y="1221867"/>
                  </a:lnTo>
                  <a:lnTo>
                    <a:pt x="700945" y="1223677"/>
                  </a:lnTo>
                  <a:lnTo>
                    <a:pt x="702659" y="1225010"/>
                  </a:lnTo>
                  <a:lnTo>
                    <a:pt x="699897" y="1228630"/>
                  </a:lnTo>
                  <a:lnTo>
                    <a:pt x="701897" y="1231583"/>
                  </a:lnTo>
                  <a:lnTo>
                    <a:pt x="706660" y="1230916"/>
                  </a:lnTo>
                  <a:lnTo>
                    <a:pt x="705231" y="1232726"/>
                  </a:lnTo>
                  <a:lnTo>
                    <a:pt x="701897" y="1231583"/>
                  </a:lnTo>
                  <a:lnTo>
                    <a:pt x="702278" y="1234726"/>
                  </a:lnTo>
                  <a:lnTo>
                    <a:pt x="700754" y="1234916"/>
                  </a:lnTo>
                  <a:lnTo>
                    <a:pt x="698183" y="1227201"/>
                  </a:lnTo>
                  <a:lnTo>
                    <a:pt x="695039" y="1227582"/>
                  </a:lnTo>
                  <a:lnTo>
                    <a:pt x="691420" y="1224820"/>
                  </a:lnTo>
                  <a:lnTo>
                    <a:pt x="686752" y="1225487"/>
                  </a:lnTo>
                  <a:lnTo>
                    <a:pt x="685514" y="1228820"/>
                  </a:lnTo>
                  <a:lnTo>
                    <a:pt x="682180" y="1227677"/>
                  </a:lnTo>
                  <a:lnTo>
                    <a:pt x="682371" y="1229201"/>
                  </a:lnTo>
                  <a:lnTo>
                    <a:pt x="680752" y="1229392"/>
                  </a:lnTo>
                  <a:lnTo>
                    <a:pt x="682752" y="1232345"/>
                  </a:lnTo>
                  <a:lnTo>
                    <a:pt x="681228" y="1232535"/>
                  </a:lnTo>
                  <a:lnTo>
                    <a:pt x="681418" y="1234154"/>
                  </a:lnTo>
                  <a:lnTo>
                    <a:pt x="679609" y="1232821"/>
                  </a:lnTo>
                  <a:lnTo>
                    <a:pt x="679799" y="1234345"/>
                  </a:lnTo>
                  <a:lnTo>
                    <a:pt x="678466" y="1236155"/>
                  </a:lnTo>
                  <a:lnTo>
                    <a:pt x="676465" y="1233202"/>
                  </a:lnTo>
                  <a:lnTo>
                    <a:pt x="675132" y="1234916"/>
                  </a:lnTo>
                  <a:lnTo>
                    <a:pt x="672751" y="1241679"/>
                  </a:lnTo>
                  <a:lnTo>
                    <a:pt x="671131" y="1241870"/>
                  </a:lnTo>
                  <a:lnTo>
                    <a:pt x="672370" y="1238536"/>
                  </a:lnTo>
                  <a:lnTo>
                    <a:pt x="668941" y="1237298"/>
                  </a:lnTo>
                  <a:lnTo>
                    <a:pt x="666179" y="1240917"/>
                  </a:lnTo>
                  <a:lnTo>
                    <a:pt x="665226" y="1245870"/>
                  </a:lnTo>
                  <a:lnTo>
                    <a:pt x="663702" y="1246061"/>
                  </a:lnTo>
                  <a:lnTo>
                    <a:pt x="663035" y="1241298"/>
                  </a:lnTo>
                  <a:lnTo>
                    <a:pt x="659892" y="1241679"/>
                  </a:lnTo>
                  <a:lnTo>
                    <a:pt x="659511" y="1238536"/>
                  </a:lnTo>
                  <a:lnTo>
                    <a:pt x="656177" y="1237393"/>
                  </a:lnTo>
                  <a:lnTo>
                    <a:pt x="648843" y="1243108"/>
                  </a:lnTo>
                  <a:lnTo>
                    <a:pt x="645509" y="1241965"/>
                  </a:lnTo>
                  <a:lnTo>
                    <a:pt x="643700" y="1240536"/>
                  </a:lnTo>
                  <a:lnTo>
                    <a:pt x="646843" y="1240155"/>
                  </a:lnTo>
                  <a:lnTo>
                    <a:pt x="648272" y="1238345"/>
                  </a:lnTo>
                  <a:lnTo>
                    <a:pt x="646081" y="1233869"/>
                  </a:lnTo>
                  <a:lnTo>
                    <a:pt x="648843" y="1230249"/>
                  </a:lnTo>
                  <a:lnTo>
                    <a:pt x="648462" y="1227106"/>
                  </a:lnTo>
                  <a:lnTo>
                    <a:pt x="645319" y="1227487"/>
                  </a:lnTo>
                  <a:lnTo>
                    <a:pt x="643509" y="1226153"/>
                  </a:lnTo>
                  <a:lnTo>
                    <a:pt x="641699" y="1224820"/>
                  </a:lnTo>
                  <a:lnTo>
                    <a:pt x="641699" y="1224820"/>
                  </a:lnTo>
                  <a:lnTo>
                    <a:pt x="639509" y="1220248"/>
                  </a:lnTo>
                  <a:lnTo>
                    <a:pt x="638175" y="1222058"/>
                  </a:lnTo>
                  <a:lnTo>
                    <a:pt x="631031" y="1216533"/>
                  </a:lnTo>
                  <a:lnTo>
                    <a:pt x="625316" y="1222058"/>
                  </a:lnTo>
                  <a:lnTo>
                    <a:pt x="623126" y="1217486"/>
                  </a:lnTo>
                  <a:lnTo>
                    <a:pt x="621792" y="1219295"/>
                  </a:lnTo>
                  <a:lnTo>
                    <a:pt x="621601" y="1217771"/>
                  </a:lnTo>
                  <a:lnTo>
                    <a:pt x="619792" y="1216343"/>
                  </a:lnTo>
                  <a:lnTo>
                    <a:pt x="620363" y="1208246"/>
                  </a:lnTo>
                  <a:lnTo>
                    <a:pt x="621697" y="1206437"/>
                  </a:lnTo>
                  <a:lnTo>
                    <a:pt x="616363" y="1202341"/>
                  </a:lnTo>
                  <a:lnTo>
                    <a:pt x="609886" y="1201579"/>
                  </a:lnTo>
                  <a:lnTo>
                    <a:pt x="609505" y="1198436"/>
                  </a:lnTo>
                  <a:lnTo>
                    <a:pt x="604933" y="1200626"/>
                  </a:lnTo>
                  <a:lnTo>
                    <a:pt x="602551" y="1194435"/>
                  </a:lnTo>
                  <a:lnTo>
                    <a:pt x="596837" y="1200055"/>
                  </a:lnTo>
                  <a:lnTo>
                    <a:pt x="593693" y="1200436"/>
                  </a:lnTo>
                  <a:lnTo>
                    <a:pt x="582835" y="1203389"/>
                  </a:lnTo>
                  <a:lnTo>
                    <a:pt x="580644" y="1198912"/>
                  </a:lnTo>
                  <a:lnTo>
                    <a:pt x="577882" y="1202436"/>
                  </a:lnTo>
                  <a:lnTo>
                    <a:pt x="574738" y="1202817"/>
                  </a:lnTo>
                  <a:lnTo>
                    <a:pt x="573405" y="1204627"/>
                  </a:lnTo>
                  <a:lnTo>
                    <a:pt x="573786" y="1207770"/>
                  </a:lnTo>
                  <a:lnTo>
                    <a:pt x="574834" y="1215676"/>
                  </a:lnTo>
                  <a:lnTo>
                    <a:pt x="570262" y="1217866"/>
                  </a:lnTo>
                  <a:lnTo>
                    <a:pt x="570643" y="1221010"/>
                  </a:lnTo>
                  <a:lnTo>
                    <a:pt x="566356" y="1224725"/>
                  </a:lnTo>
                  <a:lnTo>
                    <a:pt x="563213" y="1225201"/>
                  </a:lnTo>
                  <a:lnTo>
                    <a:pt x="563594" y="1228344"/>
                  </a:lnTo>
                  <a:lnTo>
                    <a:pt x="566547" y="1226344"/>
                  </a:lnTo>
                  <a:lnTo>
                    <a:pt x="560832" y="1231868"/>
                  </a:lnTo>
                  <a:lnTo>
                    <a:pt x="561404" y="1236631"/>
                  </a:lnTo>
                  <a:lnTo>
                    <a:pt x="556546" y="1235678"/>
                  </a:lnTo>
                  <a:lnTo>
                    <a:pt x="556069" y="1232440"/>
                  </a:lnTo>
                  <a:lnTo>
                    <a:pt x="559022" y="1230535"/>
                  </a:lnTo>
                  <a:lnTo>
                    <a:pt x="557308" y="1229106"/>
                  </a:lnTo>
                  <a:lnTo>
                    <a:pt x="551117" y="1231487"/>
                  </a:lnTo>
                  <a:lnTo>
                    <a:pt x="543306" y="1232535"/>
                  </a:lnTo>
                  <a:lnTo>
                    <a:pt x="540353" y="1234535"/>
                  </a:lnTo>
                  <a:lnTo>
                    <a:pt x="536924" y="1233297"/>
                  </a:lnTo>
                  <a:lnTo>
                    <a:pt x="532067" y="1232345"/>
                  </a:lnTo>
                  <a:lnTo>
                    <a:pt x="525685" y="1233107"/>
                  </a:lnTo>
                  <a:lnTo>
                    <a:pt x="522542" y="1233583"/>
                  </a:lnTo>
                  <a:lnTo>
                    <a:pt x="521398" y="1236916"/>
                  </a:lnTo>
                  <a:lnTo>
                    <a:pt x="514255" y="1231392"/>
                  </a:lnTo>
                  <a:lnTo>
                    <a:pt x="509492" y="1231964"/>
                  </a:lnTo>
                  <a:lnTo>
                    <a:pt x="501205" y="1229868"/>
                  </a:lnTo>
                  <a:lnTo>
                    <a:pt x="502444" y="1239298"/>
                  </a:lnTo>
                  <a:lnTo>
                    <a:pt x="497300" y="1236726"/>
                  </a:lnTo>
                  <a:lnTo>
                    <a:pt x="492728" y="1238917"/>
                  </a:lnTo>
                  <a:lnTo>
                    <a:pt x="491014" y="1237583"/>
                  </a:lnTo>
                  <a:lnTo>
                    <a:pt x="490633" y="1234440"/>
                  </a:lnTo>
                  <a:lnTo>
                    <a:pt x="491776" y="1231011"/>
                  </a:lnTo>
                  <a:lnTo>
                    <a:pt x="489775" y="1228058"/>
                  </a:lnTo>
                  <a:lnTo>
                    <a:pt x="486632" y="1228535"/>
                  </a:lnTo>
                  <a:lnTo>
                    <a:pt x="487394" y="1234821"/>
                  </a:lnTo>
                  <a:lnTo>
                    <a:pt x="486251" y="1238155"/>
                  </a:lnTo>
                  <a:lnTo>
                    <a:pt x="479774" y="1237393"/>
                  </a:lnTo>
                  <a:lnTo>
                    <a:pt x="478346" y="1239203"/>
                  </a:lnTo>
                  <a:lnTo>
                    <a:pt x="476345" y="1236250"/>
                  </a:lnTo>
                  <a:lnTo>
                    <a:pt x="470059" y="1237012"/>
                  </a:lnTo>
                  <a:lnTo>
                    <a:pt x="469868" y="1235488"/>
                  </a:lnTo>
                  <a:lnTo>
                    <a:pt x="466915" y="1237393"/>
                  </a:lnTo>
                  <a:lnTo>
                    <a:pt x="464915" y="1234440"/>
                  </a:lnTo>
                  <a:lnTo>
                    <a:pt x="463391" y="1234631"/>
                  </a:lnTo>
                  <a:lnTo>
                    <a:pt x="461010" y="1228535"/>
                  </a:lnTo>
                  <a:lnTo>
                    <a:pt x="461963" y="1223582"/>
                  </a:lnTo>
                  <a:lnTo>
                    <a:pt x="463296" y="1221867"/>
                  </a:lnTo>
                  <a:lnTo>
                    <a:pt x="462534" y="1215485"/>
                  </a:lnTo>
                  <a:lnTo>
                    <a:pt x="462153" y="1212342"/>
                  </a:lnTo>
                  <a:lnTo>
                    <a:pt x="463487" y="1210628"/>
                  </a:lnTo>
                  <a:lnTo>
                    <a:pt x="463105" y="1207484"/>
                  </a:lnTo>
                  <a:lnTo>
                    <a:pt x="467868" y="1206818"/>
                  </a:lnTo>
                  <a:lnTo>
                    <a:pt x="462915" y="1205865"/>
                  </a:lnTo>
                  <a:lnTo>
                    <a:pt x="457390" y="1200150"/>
                  </a:lnTo>
                  <a:lnTo>
                    <a:pt x="455962" y="1201960"/>
                  </a:lnTo>
                  <a:lnTo>
                    <a:pt x="446532" y="1203103"/>
                  </a:lnTo>
                  <a:lnTo>
                    <a:pt x="443198" y="1201960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4" name="Volný tvar: obrazec 53">
              <a:extLst>
                <a:ext uri="{FF2B5EF4-FFF2-40B4-BE49-F238E27FC236}">
                  <a16:creationId xmlns:a16="http://schemas.microsoft.com/office/drawing/2014/main" id="{01CFFE71-C596-68B3-E553-10C5FDDBDDC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37533" y="2694717"/>
              <a:ext cx="860393" cy="1348549"/>
            </a:xfrm>
            <a:custGeom>
              <a:avLst/>
              <a:gdLst>
                <a:gd name="connsiteX0" fmla="*/ 855250 w 860393"/>
                <a:gd name="connsiteY0" fmla="*/ 1022509 h 1348549"/>
                <a:gd name="connsiteX1" fmla="*/ 856012 w 860393"/>
                <a:gd name="connsiteY1" fmla="*/ 1016032 h 1348549"/>
                <a:gd name="connsiteX2" fmla="*/ 854202 w 860393"/>
                <a:gd name="connsiteY2" fmla="*/ 1014698 h 1348549"/>
                <a:gd name="connsiteX3" fmla="*/ 853821 w 860393"/>
                <a:gd name="connsiteY3" fmla="*/ 1011555 h 1348549"/>
                <a:gd name="connsiteX4" fmla="*/ 852202 w 860393"/>
                <a:gd name="connsiteY4" fmla="*/ 1011746 h 1348549"/>
                <a:gd name="connsiteX5" fmla="*/ 854583 w 860393"/>
                <a:gd name="connsiteY5" fmla="*/ 1004983 h 1348549"/>
                <a:gd name="connsiteX6" fmla="*/ 847439 w 860393"/>
                <a:gd name="connsiteY6" fmla="*/ 999458 h 1348549"/>
                <a:gd name="connsiteX7" fmla="*/ 850011 w 860393"/>
                <a:gd name="connsiteY7" fmla="*/ 994315 h 1348549"/>
                <a:gd name="connsiteX8" fmla="*/ 849821 w 860393"/>
                <a:gd name="connsiteY8" fmla="*/ 992791 h 1348549"/>
                <a:gd name="connsiteX9" fmla="*/ 846677 w 860393"/>
                <a:gd name="connsiteY9" fmla="*/ 993172 h 1348549"/>
                <a:gd name="connsiteX10" fmla="*/ 845725 w 860393"/>
                <a:gd name="connsiteY10" fmla="*/ 998125 h 1348549"/>
                <a:gd name="connsiteX11" fmla="*/ 835438 w 860393"/>
                <a:gd name="connsiteY11" fmla="*/ 992981 h 1348549"/>
                <a:gd name="connsiteX12" fmla="*/ 832675 w 860393"/>
                <a:gd name="connsiteY12" fmla="*/ 996601 h 1348549"/>
                <a:gd name="connsiteX13" fmla="*/ 833247 w 860393"/>
                <a:gd name="connsiteY13" fmla="*/ 1001268 h 1348549"/>
                <a:gd name="connsiteX14" fmla="*/ 828484 w 860393"/>
                <a:gd name="connsiteY14" fmla="*/ 1001935 h 1348549"/>
                <a:gd name="connsiteX15" fmla="*/ 827151 w 860393"/>
                <a:gd name="connsiteY15" fmla="*/ 1003649 h 1348549"/>
                <a:gd name="connsiteX16" fmla="*/ 822484 w 860393"/>
                <a:gd name="connsiteY16" fmla="*/ 1017080 h 1348549"/>
                <a:gd name="connsiteX17" fmla="*/ 815340 w 860393"/>
                <a:gd name="connsiteY17" fmla="*/ 1011555 h 1348549"/>
                <a:gd name="connsiteX18" fmla="*/ 814483 w 860393"/>
                <a:gd name="connsiteY18" fmla="*/ 1005268 h 1348549"/>
                <a:gd name="connsiteX19" fmla="*/ 810578 w 860393"/>
                <a:gd name="connsiteY19" fmla="*/ 999363 h 1348549"/>
                <a:gd name="connsiteX20" fmla="*/ 807434 w 860393"/>
                <a:gd name="connsiteY20" fmla="*/ 999744 h 1348549"/>
                <a:gd name="connsiteX21" fmla="*/ 806958 w 860393"/>
                <a:gd name="connsiteY21" fmla="*/ 996601 h 1348549"/>
                <a:gd name="connsiteX22" fmla="*/ 814102 w 860393"/>
                <a:gd name="connsiteY22" fmla="*/ 989267 h 1348549"/>
                <a:gd name="connsiteX23" fmla="*/ 819055 w 860393"/>
                <a:gd name="connsiteY23" fmla="*/ 990314 h 1348549"/>
                <a:gd name="connsiteX24" fmla="*/ 822960 w 860393"/>
                <a:gd name="connsiteY24" fmla="*/ 983361 h 1348549"/>
                <a:gd name="connsiteX25" fmla="*/ 819626 w 860393"/>
                <a:gd name="connsiteY25" fmla="*/ 982218 h 1348549"/>
                <a:gd name="connsiteX26" fmla="*/ 820769 w 860393"/>
                <a:gd name="connsiteY26" fmla="*/ 978789 h 1348549"/>
                <a:gd name="connsiteX27" fmla="*/ 819150 w 860393"/>
                <a:gd name="connsiteY27" fmla="*/ 979075 h 1348549"/>
                <a:gd name="connsiteX28" fmla="*/ 822103 w 860393"/>
                <a:gd name="connsiteY28" fmla="*/ 977075 h 1348549"/>
                <a:gd name="connsiteX29" fmla="*/ 818959 w 860393"/>
                <a:gd name="connsiteY29" fmla="*/ 977455 h 1348549"/>
                <a:gd name="connsiteX30" fmla="*/ 813816 w 860393"/>
                <a:gd name="connsiteY30" fmla="*/ 974884 h 1348549"/>
                <a:gd name="connsiteX31" fmla="*/ 814673 w 860393"/>
                <a:gd name="connsiteY31" fmla="*/ 968407 h 1348549"/>
                <a:gd name="connsiteX32" fmla="*/ 812863 w 860393"/>
                <a:gd name="connsiteY32" fmla="*/ 966978 h 1348549"/>
                <a:gd name="connsiteX33" fmla="*/ 809911 w 860393"/>
                <a:gd name="connsiteY33" fmla="*/ 968978 h 1348549"/>
                <a:gd name="connsiteX34" fmla="*/ 807720 w 860393"/>
                <a:gd name="connsiteY34" fmla="*/ 964501 h 1348549"/>
                <a:gd name="connsiteX35" fmla="*/ 809054 w 860393"/>
                <a:gd name="connsiteY35" fmla="*/ 962692 h 1348549"/>
                <a:gd name="connsiteX36" fmla="*/ 807530 w 860393"/>
                <a:gd name="connsiteY36" fmla="*/ 962882 h 1348549"/>
                <a:gd name="connsiteX37" fmla="*/ 806863 w 860393"/>
                <a:gd name="connsiteY37" fmla="*/ 958120 h 1348549"/>
                <a:gd name="connsiteX38" fmla="*/ 803720 w 860393"/>
                <a:gd name="connsiteY38" fmla="*/ 958501 h 1348549"/>
                <a:gd name="connsiteX39" fmla="*/ 801338 w 860393"/>
                <a:gd name="connsiteY39" fmla="*/ 952405 h 1348549"/>
                <a:gd name="connsiteX40" fmla="*/ 799433 w 860393"/>
                <a:gd name="connsiteY40" fmla="*/ 949452 h 1348549"/>
                <a:gd name="connsiteX41" fmla="*/ 795814 w 860393"/>
                <a:gd name="connsiteY41" fmla="*/ 946690 h 1348549"/>
                <a:gd name="connsiteX42" fmla="*/ 790289 w 860393"/>
                <a:gd name="connsiteY42" fmla="*/ 940975 h 1348549"/>
                <a:gd name="connsiteX43" fmla="*/ 785717 w 860393"/>
                <a:gd name="connsiteY43" fmla="*/ 930402 h 1348549"/>
                <a:gd name="connsiteX44" fmla="*/ 779240 w 860393"/>
                <a:gd name="connsiteY44" fmla="*/ 929640 h 1348549"/>
                <a:gd name="connsiteX45" fmla="*/ 770572 w 860393"/>
                <a:gd name="connsiteY45" fmla="*/ 924306 h 1348549"/>
                <a:gd name="connsiteX46" fmla="*/ 764762 w 860393"/>
                <a:gd name="connsiteY46" fmla="*/ 916972 h 1348549"/>
                <a:gd name="connsiteX47" fmla="*/ 761619 w 860393"/>
                <a:gd name="connsiteY47" fmla="*/ 917448 h 1348549"/>
                <a:gd name="connsiteX48" fmla="*/ 758857 w 860393"/>
                <a:gd name="connsiteY48" fmla="*/ 920972 h 1348549"/>
                <a:gd name="connsiteX49" fmla="*/ 757047 w 860393"/>
                <a:gd name="connsiteY49" fmla="*/ 919543 h 1348549"/>
                <a:gd name="connsiteX50" fmla="*/ 755904 w 860393"/>
                <a:gd name="connsiteY50" fmla="*/ 910114 h 1348549"/>
                <a:gd name="connsiteX51" fmla="*/ 750570 w 860393"/>
                <a:gd name="connsiteY51" fmla="*/ 906018 h 1348549"/>
                <a:gd name="connsiteX52" fmla="*/ 754285 w 860393"/>
                <a:gd name="connsiteY52" fmla="*/ 897541 h 1348549"/>
                <a:gd name="connsiteX53" fmla="*/ 743617 w 860393"/>
                <a:gd name="connsiteY53" fmla="*/ 889254 h 1348549"/>
                <a:gd name="connsiteX54" fmla="*/ 735044 w 860393"/>
                <a:gd name="connsiteY54" fmla="*/ 872680 h 1348549"/>
                <a:gd name="connsiteX55" fmla="*/ 727996 w 860393"/>
                <a:gd name="connsiteY55" fmla="*/ 867156 h 1348549"/>
                <a:gd name="connsiteX56" fmla="*/ 727996 w 860393"/>
                <a:gd name="connsiteY56" fmla="*/ 867156 h 1348549"/>
                <a:gd name="connsiteX57" fmla="*/ 725424 w 860393"/>
                <a:gd name="connsiteY57" fmla="*/ 872300 h 1348549"/>
                <a:gd name="connsiteX58" fmla="*/ 725043 w 860393"/>
                <a:gd name="connsiteY58" fmla="*/ 882015 h 1348549"/>
                <a:gd name="connsiteX59" fmla="*/ 723424 w 860393"/>
                <a:gd name="connsiteY59" fmla="*/ 882205 h 1348549"/>
                <a:gd name="connsiteX60" fmla="*/ 722090 w 860393"/>
                <a:gd name="connsiteY60" fmla="*/ 883920 h 1348549"/>
                <a:gd name="connsiteX61" fmla="*/ 720280 w 860393"/>
                <a:gd name="connsiteY61" fmla="*/ 882587 h 1348549"/>
                <a:gd name="connsiteX62" fmla="*/ 717709 w 860393"/>
                <a:gd name="connsiteY62" fmla="*/ 887730 h 1348549"/>
                <a:gd name="connsiteX63" fmla="*/ 715994 w 860393"/>
                <a:gd name="connsiteY63" fmla="*/ 886301 h 1348549"/>
                <a:gd name="connsiteX64" fmla="*/ 715613 w 860393"/>
                <a:gd name="connsiteY64" fmla="*/ 883158 h 1348549"/>
                <a:gd name="connsiteX65" fmla="*/ 694849 w 860393"/>
                <a:gd name="connsiteY65" fmla="*/ 871347 h 1348549"/>
                <a:gd name="connsiteX66" fmla="*/ 692467 w 860393"/>
                <a:gd name="connsiteY66" fmla="*/ 865251 h 1348549"/>
                <a:gd name="connsiteX67" fmla="*/ 690848 w 860393"/>
                <a:gd name="connsiteY67" fmla="*/ 852678 h 1348549"/>
                <a:gd name="connsiteX68" fmla="*/ 687610 w 860393"/>
                <a:gd name="connsiteY68" fmla="*/ 840200 h 1348549"/>
                <a:gd name="connsiteX69" fmla="*/ 688657 w 860393"/>
                <a:gd name="connsiteY69" fmla="*/ 835247 h 1348549"/>
                <a:gd name="connsiteX70" fmla="*/ 694849 w 860393"/>
                <a:gd name="connsiteY70" fmla="*/ 821626 h 1348549"/>
                <a:gd name="connsiteX71" fmla="*/ 696468 w 860393"/>
                <a:gd name="connsiteY71" fmla="*/ 821436 h 1348549"/>
                <a:gd name="connsiteX72" fmla="*/ 697421 w 860393"/>
                <a:gd name="connsiteY72" fmla="*/ 816483 h 1348549"/>
                <a:gd name="connsiteX73" fmla="*/ 699040 w 860393"/>
                <a:gd name="connsiteY73" fmla="*/ 816293 h 1348549"/>
                <a:gd name="connsiteX74" fmla="*/ 697039 w 860393"/>
                <a:gd name="connsiteY74" fmla="*/ 813340 h 1348549"/>
                <a:gd name="connsiteX75" fmla="*/ 697611 w 860393"/>
                <a:gd name="connsiteY75" fmla="*/ 805243 h 1348549"/>
                <a:gd name="connsiteX76" fmla="*/ 696087 w 860393"/>
                <a:gd name="connsiteY76" fmla="*/ 805529 h 1348549"/>
                <a:gd name="connsiteX77" fmla="*/ 693706 w 860393"/>
                <a:gd name="connsiteY77" fmla="*/ 812197 h 1348549"/>
                <a:gd name="connsiteX78" fmla="*/ 690563 w 860393"/>
                <a:gd name="connsiteY78" fmla="*/ 812578 h 1348549"/>
                <a:gd name="connsiteX79" fmla="*/ 686943 w 860393"/>
                <a:gd name="connsiteY79" fmla="*/ 809815 h 1348549"/>
                <a:gd name="connsiteX80" fmla="*/ 685229 w 860393"/>
                <a:gd name="connsiteY80" fmla="*/ 808482 h 1348549"/>
                <a:gd name="connsiteX81" fmla="*/ 681799 w 860393"/>
                <a:gd name="connsiteY81" fmla="*/ 807339 h 1348549"/>
                <a:gd name="connsiteX82" fmla="*/ 684371 w 860393"/>
                <a:gd name="connsiteY82" fmla="*/ 802196 h 1348549"/>
                <a:gd name="connsiteX83" fmla="*/ 680847 w 860393"/>
                <a:gd name="connsiteY83" fmla="*/ 799433 h 1348549"/>
                <a:gd name="connsiteX84" fmla="*/ 677513 w 860393"/>
                <a:gd name="connsiteY84" fmla="*/ 798195 h 1348549"/>
                <a:gd name="connsiteX85" fmla="*/ 671322 w 860393"/>
                <a:gd name="connsiteY85" fmla="*/ 800576 h 1348549"/>
                <a:gd name="connsiteX86" fmla="*/ 665416 w 860393"/>
                <a:gd name="connsiteY86" fmla="*/ 791718 h 1348549"/>
                <a:gd name="connsiteX87" fmla="*/ 660654 w 860393"/>
                <a:gd name="connsiteY87" fmla="*/ 792385 h 1348549"/>
                <a:gd name="connsiteX88" fmla="*/ 651986 w 860393"/>
                <a:gd name="connsiteY88" fmla="*/ 787051 h 1348549"/>
                <a:gd name="connsiteX89" fmla="*/ 649605 w 860393"/>
                <a:gd name="connsiteY89" fmla="*/ 793718 h 1348549"/>
                <a:gd name="connsiteX90" fmla="*/ 646271 w 860393"/>
                <a:gd name="connsiteY90" fmla="*/ 792575 h 1348549"/>
                <a:gd name="connsiteX91" fmla="*/ 642175 w 860393"/>
                <a:gd name="connsiteY91" fmla="*/ 797909 h 1348549"/>
                <a:gd name="connsiteX92" fmla="*/ 636080 w 860393"/>
                <a:gd name="connsiteY92" fmla="*/ 800290 h 1348549"/>
                <a:gd name="connsiteX93" fmla="*/ 635317 w 860393"/>
                <a:gd name="connsiteY93" fmla="*/ 806768 h 1348549"/>
                <a:gd name="connsiteX94" fmla="*/ 622649 w 860393"/>
                <a:gd name="connsiteY94" fmla="*/ 808387 h 1348549"/>
                <a:gd name="connsiteX95" fmla="*/ 615887 w 860393"/>
                <a:gd name="connsiteY95" fmla="*/ 806101 h 1348549"/>
                <a:gd name="connsiteX96" fmla="*/ 604075 w 860393"/>
                <a:gd name="connsiteY96" fmla="*/ 788289 h 1348549"/>
                <a:gd name="connsiteX97" fmla="*/ 595598 w 860393"/>
                <a:gd name="connsiteY97" fmla="*/ 784574 h 1348549"/>
                <a:gd name="connsiteX98" fmla="*/ 587312 w 860393"/>
                <a:gd name="connsiteY98" fmla="*/ 782479 h 1348549"/>
                <a:gd name="connsiteX99" fmla="*/ 585311 w 860393"/>
                <a:gd name="connsiteY99" fmla="*/ 779526 h 1348549"/>
                <a:gd name="connsiteX100" fmla="*/ 581978 w 860393"/>
                <a:gd name="connsiteY100" fmla="*/ 778288 h 1348549"/>
                <a:gd name="connsiteX101" fmla="*/ 579406 w 860393"/>
                <a:gd name="connsiteY101" fmla="*/ 783431 h 1348549"/>
                <a:gd name="connsiteX102" fmla="*/ 578167 w 860393"/>
                <a:gd name="connsiteY102" fmla="*/ 786860 h 1348549"/>
                <a:gd name="connsiteX103" fmla="*/ 579977 w 860393"/>
                <a:gd name="connsiteY103" fmla="*/ 788194 h 1348549"/>
                <a:gd name="connsiteX104" fmla="*/ 572072 w 860393"/>
                <a:gd name="connsiteY104" fmla="*/ 802005 h 1348549"/>
                <a:gd name="connsiteX105" fmla="*/ 558927 w 860393"/>
                <a:gd name="connsiteY105" fmla="*/ 798862 h 1348549"/>
                <a:gd name="connsiteX106" fmla="*/ 555498 w 860393"/>
                <a:gd name="connsiteY106" fmla="*/ 797719 h 1348549"/>
                <a:gd name="connsiteX107" fmla="*/ 547211 w 860393"/>
                <a:gd name="connsiteY107" fmla="*/ 782764 h 1348549"/>
                <a:gd name="connsiteX108" fmla="*/ 543878 w 860393"/>
                <a:gd name="connsiteY108" fmla="*/ 781526 h 1348549"/>
                <a:gd name="connsiteX109" fmla="*/ 541115 w 860393"/>
                <a:gd name="connsiteY109" fmla="*/ 785146 h 1348549"/>
                <a:gd name="connsiteX110" fmla="*/ 535972 w 860393"/>
                <a:gd name="connsiteY110" fmla="*/ 782574 h 1348549"/>
                <a:gd name="connsiteX111" fmla="*/ 520922 w 860393"/>
                <a:gd name="connsiteY111" fmla="*/ 778097 h 1348549"/>
                <a:gd name="connsiteX112" fmla="*/ 513493 w 860393"/>
                <a:gd name="connsiteY112" fmla="*/ 782193 h 1348549"/>
                <a:gd name="connsiteX113" fmla="*/ 509111 w 860393"/>
                <a:gd name="connsiteY113" fmla="*/ 786003 h 1348549"/>
                <a:gd name="connsiteX114" fmla="*/ 504444 w 860393"/>
                <a:gd name="connsiteY114" fmla="*/ 786575 h 1348549"/>
                <a:gd name="connsiteX115" fmla="*/ 504825 w 860393"/>
                <a:gd name="connsiteY115" fmla="*/ 789718 h 1348549"/>
                <a:gd name="connsiteX116" fmla="*/ 502634 w 860393"/>
                <a:gd name="connsiteY116" fmla="*/ 785241 h 1348549"/>
                <a:gd name="connsiteX117" fmla="*/ 495490 w 860393"/>
                <a:gd name="connsiteY117" fmla="*/ 779717 h 1348549"/>
                <a:gd name="connsiteX118" fmla="*/ 501587 w 860393"/>
                <a:gd name="connsiteY118" fmla="*/ 777335 h 1348549"/>
                <a:gd name="connsiteX119" fmla="*/ 499681 w 860393"/>
                <a:gd name="connsiteY119" fmla="*/ 774383 h 1348549"/>
                <a:gd name="connsiteX120" fmla="*/ 492538 w 860393"/>
                <a:gd name="connsiteY120" fmla="*/ 768858 h 1348549"/>
                <a:gd name="connsiteX121" fmla="*/ 492157 w 860393"/>
                <a:gd name="connsiteY121" fmla="*/ 765715 h 1348549"/>
                <a:gd name="connsiteX122" fmla="*/ 495109 w 860393"/>
                <a:gd name="connsiteY122" fmla="*/ 763714 h 1348549"/>
                <a:gd name="connsiteX123" fmla="*/ 492728 w 860393"/>
                <a:gd name="connsiteY123" fmla="*/ 757618 h 1348549"/>
                <a:gd name="connsiteX124" fmla="*/ 485775 w 860393"/>
                <a:gd name="connsiteY124" fmla="*/ 753713 h 1348549"/>
                <a:gd name="connsiteX125" fmla="*/ 483584 w 860393"/>
                <a:gd name="connsiteY125" fmla="*/ 749141 h 1348549"/>
                <a:gd name="connsiteX126" fmla="*/ 480441 w 860393"/>
                <a:gd name="connsiteY126" fmla="*/ 749522 h 1348549"/>
                <a:gd name="connsiteX127" fmla="*/ 478441 w 860393"/>
                <a:gd name="connsiteY127" fmla="*/ 746569 h 1348549"/>
                <a:gd name="connsiteX128" fmla="*/ 467011 w 860393"/>
                <a:gd name="connsiteY128" fmla="*/ 731996 h 1348549"/>
                <a:gd name="connsiteX129" fmla="*/ 465011 w 860393"/>
                <a:gd name="connsiteY129" fmla="*/ 729043 h 1348549"/>
                <a:gd name="connsiteX130" fmla="*/ 463582 w 860393"/>
                <a:gd name="connsiteY130" fmla="*/ 730853 h 1348549"/>
                <a:gd name="connsiteX131" fmla="*/ 456152 w 860393"/>
                <a:gd name="connsiteY131" fmla="*/ 722185 h 1348549"/>
                <a:gd name="connsiteX132" fmla="*/ 448818 w 860393"/>
                <a:gd name="connsiteY132" fmla="*/ 727901 h 1348549"/>
                <a:gd name="connsiteX133" fmla="*/ 439388 w 860393"/>
                <a:gd name="connsiteY133" fmla="*/ 729139 h 1348549"/>
                <a:gd name="connsiteX134" fmla="*/ 436626 w 860393"/>
                <a:gd name="connsiteY134" fmla="*/ 732663 h 1348549"/>
                <a:gd name="connsiteX135" fmla="*/ 434054 w 860393"/>
                <a:gd name="connsiteY135" fmla="*/ 737806 h 1348549"/>
                <a:gd name="connsiteX136" fmla="*/ 432054 w 860393"/>
                <a:gd name="connsiteY136" fmla="*/ 734854 h 1348549"/>
                <a:gd name="connsiteX137" fmla="*/ 433006 w 860393"/>
                <a:gd name="connsiteY137" fmla="*/ 729901 h 1348549"/>
                <a:gd name="connsiteX138" fmla="*/ 421386 w 860393"/>
                <a:gd name="connsiteY138" fmla="*/ 726567 h 1348549"/>
                <a:gd name="connsiteX139" fmla="*/ 415290 w 860393"/>
                <a:gd name="connsiteY139" fmla="*/ 729043 h 1348549"/>
                <a:gd name="connsiteX140" fmla="*/ 410337 w 860393"/>
                <a:gd name="connsiteY140" fmla="*/ 727996 h 1348549"/>
                <a:gd name="connsiteX141" fmla="*/ 410146 w 860393"/>
                <a:gd name="connsiteY141" fmla="*/ 726472 h 1348549"/>
                <a:gd name="connsiteX142" fmla="*/ 409956 w 860393"/>
                <a:gd name="connsiteY142" fmla="*/ 724852 h 1348549"/>
                <a:gd name="connsiteX143" fmla="*/ 404622 w 860393"/>
                <a:gd name="connsiteY143" fmla="*/ 720757 h 1348549"/>
                <a:gd name="connsiteX144" fmla="*/ 403003 w 860393"/>
                <a:gd name="connsiteY144" fmla="*/ 720947 h 1348549"/>
                <a:gd name="connsiteX145" fmla="*/ 401860 w 860393"/>
                <a:gd name="connsiteY145" fmla="*/ 724281 h 1348549"/>
                <a:gd name="connsiteX146" fmla="*/ 401288 w 860393"/>
                <a:gd name="connsiteY146" fmla="*/ 719518 h 1348549"/>
                <a:gd name="connsiteX147" fmla="*/ 399288 w 860393"/>
                <a:gd name="connsiteY147" fmla="*/ 716566 h 1348549"/>
                <a:gd name="connsiteX148" fmla="*/ 394716 w 860393"/>
                <a:gd name="connsiteY148" fmla="*/ 718756 h 1348549"/>
                <a:gd name="connsiteX149" fmla="*/ 391192 w 860393"/>
                <a:gd name="connsiteY149" fmla="*/ 715994 h 1348549"/>
                <a:gd name="connsiteX150" fmla="*/ 384620 w 860393"/>
                <a:gd name="connsiteY150" fmla="*/ 715232 h 1348549"/>
                <a:gd name="connsiteX151" fmla="*/ 382238 w 860393"/>
                <a:gd name="connsiteY151" fmla="*/ 709136 h 1348549"/>
                <a:gd name="connsiteX152" fmla="*/ 379286 w 860393"/>
                <a:gd name="connsiteY152" fmla="*/ 711137 h 1348549"/>
                <a:gd name="connsiteX153" fmla="*/ 375761 w 860393"/>
                <a:gd name="connsiteY153" fmla="*/ 708374 h 1348549"/>
                <a:gd name="connsiteX154" fmla="*/ 371189 w 860393"/>
                <a:gd name="connsiteY154" fmla="*/ 710565 h 1348549"/>
                <a:gd name="connsiteX155" fmla="*/ 369284 w 860393"/>
                <a:gd name="connsiteY155" fmla="*/ 707612 h 1348549"/>
                <a:gd name="connsiteX156" fmla="*/ 368046 w 860393"/>
                <a:gd name="connsiteY156" fmla="*/ 710946 h 1348549"/>
                <a:gd name="connsiteX157" fmla="*/ 364903 w 860393"/>
                <a:gd name="connsiteY157" fmla="*/ 711327 h 1348549"/>
                <a:gd name="connsiteX158" fmla="*/ 365284 w 860393"/>
                <a:gd name="connsiteY158" fmla="*/ 714470 h 1348549"/>
                <a:gd name="connsiteX159" fmla="*/ 363760 w 860393"/>
                <a:gd name="connsiteY159" fmla="*/ 714756 h 1348549"/>
                <a:gd name="connsiteX160" fmla="*/ 361950 w 860393"/>
                <a:gd name="connsiteY160" fmla="*/ 713327 h 1348549"/>
                <a:gd name="connsiteX161" fmla="*/ 358997 w 860393"/>
                <a:gd name="connsiteY161" fmla="*/ 715327 h 1348549"/>
                <a:gd name="connsiteX162" fmla="*/ 357664 w 860393"/>
                <a:gd name="connsiteY162" fmla="*/ 717137 h 1348549"/>
                <a:gd name="connsiteX163" fmla="*/ 357188 w 860393"/>
                <a:gd name="connsiteY163" fmla="*/ 713899 h 1348549"/>
                <a:gd name="connsiteX164" fmla="*/ 355473 w 860393"/>
                <a:gd name="connsiteY164" fmla="*/ 712565 h 1348549"/>
                <a:gd name="connsiteX165" fmla="*/ 354997 w 860393"/>
                <a:gd name="connsiteY165" fmla="*/ 709422 h 1348549"/>
                <a:gd name="connsiteX166" fmla="*/ 351854 w 860393"/>
                <a:gd name="connsiteY166" fmla="*/ 709803 h 1348549"/>
                <a:gd name="connsiteX167" fmla="*/ 354235 w 860393"/>
                <a:gd name="connsiteY167" fmla="*/ 703135 h 1348549"/>
                <a:gd name="connsiteX168" fmla="*/ 360331 w 860393"/>
                <a:gd name="connsiteY168" fmla="*/ 687896 h 1348549"/>
                <a:gd name="connsiteX169" fmla="*/ 362807 w 860393"/>
                <a:gd name="connsiteY169" fmla="*/ 669893 h 1348549"/>
                <a:gd name="connsiteX170" fmla="*/ 359664 w 860393"/>
                <a:gd name="connsiteY170" fmla="*/ 670369 h 1348549"/>
                <a:gd name="connsiteX171" fmla="*/ 355949 w 860393"/>
                <a:gd name="connsiteY171" fmla="*/ 678847 h 1348549"/>
                <a:gd name="connsiteX172" fmla="*/ 350806 w 860393"/>
                <a:gd name="connsiteY172" fmla="*/ 676275 h 1348549"/>
                <a:gd name="connsiteX173" fmla="*/ 349472 w 860393"/>
                <a:gd name="connsiteY173" fmla="*/ 678085 h 1348549"/>
                <a:gd name="connsiteX174" fmla="*/ 350044 w 860393"/>
                <a:gd name="connsiteY174" fmla="*/ 682752 h 1348549"/>
                <a:gd name="connsiteX175" fmla="*/ 345091 w 860393"/>
                <a:gd name="connsiteY175" fmla="*/ 681800 h 1348549"/>
                <a:gd name="connsiteX176" fmla="*/ 341947 w 860393"/>
                <a:gd name="connsiteY176" fmla="*/ 682180 h 1348549"/>
                <a:gd name="connsiteX177" fmla="*/ 334899 w 860393"/>
                <a:gd name="connsiteY177" fmla="*/ 689515 h 1348549"/>
                <a:gd name="connsiteX178" fmla="*/ 332708 w 860393"/>
                <a:gd name="connsiteY178" fmla="*/ 685038 h 1348549"/>
                <a:gd name="connsiteX179" fmla="*/ 329374 w 860393"/>
                <a:gd name="connsiteY179" fmla="*/ 683800 h 1348549"/>
                <a:gd name="connsiteX180" fmla="*/ 324803 w 860393"/>
                <a:gd name="connsiteY180" fmla="*/ 673132 h 1348549"/>
                <a:gd name="connsiteX181" fmla="*/ 323945 w 860393"/>
                <a:gd name="connsiteY181" fmla="*/ 666845 h 1348549"/>
                <a:gd name="connsiteX182" fmla="*/ 321945 w 860393"/>
                <a:gd name="connsiteY182" fmla="*/ 663893 h 1348549"/>
                <a:gd name="connsiteX183" fmla="*/ 318611 w 860393"/>
                <a:gd name="connsiteY183" fmla="*/ 662750 h 1348549"/>
                <a:gd name="connsiteX184" fmla="*/ 316039 w 860393"/>
                <a:gd name="connsiteY184" fmla="*/ 667893 h 1348549"/>
                <a:gd name="connsiteX185" fmla="*/ 316611 w 860393"/>
                <a:gd name="connsiteY185" fmla="*/ 659797 h 1348549"/>
                <a:gd name="connsiteX186" fmla="*/ 314230 w 860393"/>
                <a:gd name="connsiteY186" fmla="*/ 653701 h 1348549"/>
                <a:gd name="connsiteX187" fmla="*/ 305753 w 860393"/>
                <a:gd name="connsiteY187" fmla="*/ 649891 h 1348549"/>
                <a:gd name="connsiteX188" fmla="*/ 306705 w 860393"/>
                <a:gd name="connsiteY188" fmla="*/ 645033 h 1348549"/>
                <a:gd name="connsiteX189" fmla="*/ 309944 w 860393"/>
                <a:gd name="connsiteY189" fmla="*/ 644557 h 1348549"/>
                <a:gd name="connsiteX190" fmla="*/ 307467 w 860393"/>
                <a:gd name="connsiteY190" fmla="*/ 638461 h 1348549"/>
                <a:gd name="connsiteX191" fmla="*/ 312230 w 860393"/>
                <a:gd name="connsiteY191" fmla="*/ 637889 h 1348549"/>
                <a:gd name="connsiteX192" fmla="*/ 313468 w 860393"/>
                <a:gd name="connsiteY192" fmla="*/ 634555 h 1348549"/>
                <a:gd name="connsiteX193" fmla="*/ 319183 w 860393"/>
                <a:gd name="connsiteY193" fmla="*/ 629031 h 1348549"/>
                <a:gd name="connsiteX194" fmla="*/ 318897 w 860393"/>
                <a:gd name="connsiteY194" fmla="*/ 627412 h 1348549"/>
                <a:gd name="connsiteX195" fmla="*/ 319945 w 860393"/>
                <a:gd name="connsiteY195" fmla="*/ 622459 h 1348549"/>
                <a:gd name="connsiteX196" fmla="*/ 321659 w 860393"/>
                <a:gd name="connsiteY196" fmla="*/ 623888 h 1348549"/>
                <a:gd name="connsiteX197" fmla="*/ 323088 w 860393"/>
                <a:gd name="connsiteY197" fmla="*/ 622078 h 1348549"/>
                <a:gd name="connsiteX198" fmla="*/ 322707 w 860393"/>
                <a:gd name="connsiteY198" fmla="*/ 618934 h 1348549"/>
                <a:gd name="connsiteX199" fmla="*/ 324993 w 860393"/>
                <a:gd name="connsiteY199" fmla="*/ 612172 h 1348549"/>
                <a:gd name="connsiteX200" fmla="*/ 316706 w 860393"/>
                <a:gd name="connsiteY200" fmla="*/ 610076 h 1348549"/>
                <a:gd name="connsiteX201" fmla="*/ 317849 w 860393"/>
                <a:gd name="connsiteY201" fmla="*/ 606647 h 1348549"/>
                <a:gd name="connsiteX202" fmla="*/ 315563 w 860393"/>
                <a:gd name="connsiteY202" fmla="*/ 600551 h 1348549"/>
                <a:gd name="connsiteX203" fmla="*/ 323183 w 860393"/>
                <a:gd name="connsiteY203" fmla="*/ 597980 h 1348549"/>
                <a:gd name="connsiteX204" fmla="*/ 322802 w 860393"/>
                <a:gd name="connsiteY204" fmla="*/ 594836 h 1348549"/>
                <a:gd name="connsiteX205" fmla="*/ 327374 w 860393"/>
                <a:gd name="connsiteY205" fmla="*/ 592646 h 1348549"/>
                <a:gd name="connsiteX206" fmla="*/ 328327 w 860393"/>
                <a:gd name="connsiteY206" fmla="*/ 587693 h 1348549"/>
                <a:gd name="connsiteX207" fmla="*/ 334613 w 860393"/>
                <a:gd name="connsiteY207" fmla="*/ 586930 h 1348549"/>
                <a:gd name="connsiteX208" fmla="*/ 336804 w 860393"/>
                <a:gd name="connsiteY208" fmla="*/ 578644 h 1348549"/>
                <a:gd name="connsiteX209" fmla="*/ 338519 w 860393"/>
                <a:gd name="connsiteY209" fmla="*/ 579977 h 1348549"/>
                <a:gd name="connsiteX210" fmla="*/ 341090 w 860393"/>
                <a:gd name="connsiteY210" fmla="*/ 574834 h 1348549"/>
                <a:gd name="connsiteX211" fmla="*/ 339090 w 860393"/>
                <a:gd name="connsiteY211" fmla="*/ 571881 h 1348549"/>
                <a:gd name="connsiteX212" fmla="*/ 341852 w 860393"/>
                <a:gd name="connsiteY212" fmla="*/ 568357 h 1348549"/>
                <a:gd name="connsiteX213" fmla="*/ 339471 w 860393"/>
                <a:gd name="connsiteY213" fmla="*/ 562261 h 1348549"/>
                <a:gd name="connsiteX214" fmla="*/ 339280 w 860393"/>
                <a:gd name="connsiteY214" fmla="*/ 560642 h 1348549"/>
                <a:gd name="connsiteX215" fmla="*/ 335185 w 860393"/>
                <a:gd name="connsiteY215" fmla="*/ 553212 h 1348549"/>
                <a:gd name="connsiteX216" fmla="*/ 320516 w 860393"/>
                <a:gd name="connsiteY216" fmla="*/ 539020 h 1348549"/>
                <a:gd name="connsiteX217" fmla="*/ 312039 w 860393"/>
                <a:gd name="connsiteY217" fmla="*/ 535305 h 1348549"/>
                <a:gd name="connsiteX218" fmla="*/ 309658 w 860393"/>
                <a:gd name="connsiteY218" fmla="*/ 529114 h 1348549"/>
                <a:gd name="connsiteX219" fmla="*/ 311182 w 860393"/>
                <a:gd name="connsiteY219" fmla="*/ 528923 h 1348549"/>
                <a:gd name="connsiteX220" fmla="*/ 320040 w 860393"/>
                <a:gd name="connsiteY220" fmla="*/ 523018 h 1348549"/>
                <a:gd name="connsiteX221" fmla="*/ 320802 w 860393"/>
                <a:gd name="connsiteY221" fmla="*/ 516541 h 1348549"/>
                <a:gd name="connsiteX222" fmla="*/ 318421 w 860393"/>
                <a:gd name="connsiteY222" fmla="*/ 510349 h 1348549"/>
                <a:gd name="connsiteX223" fmla="*/ 316801 w 860393"/>
                <a:gd name="connsiteY223" fmla="*/ 497776 h 1348549"/>
                <a:gd name="connsiteX224" fmla="*/ 325279 w 860393"/>
                <a:gd name="connsiteY224" fmla="*/ 488632 h 1348549"/>
                <a:gd name="connsiteX225" fmla="*/ 329851 w 860393"/>
                <a:gd name="connsiteY225" fmla="*/ 473678 h 1348549"/>
                <a:gd name="connsiteX226" fmla="*/ 337471 w 860393"/>
                <a:gd name="connsiteY226" fmla="*/ 471107 h 1348549"/>
                <a:gd name="connsiteX227" fmla="*/ 342995 w 860393"/>
                <a:gd name="connsiteY227" fmla="*/ 463963 h 1348549"/>
                <a:gd name="connsiteX228" fmla="*/ 345567 w 860393"/>
                <a:gd name="connsiteY228" fmla="*/ 458819 h 1348549"/>
                <a:gd name="connsiteX229" fmla="*/ 353282 w 860393"/>
                <a:gd name="connsiteY229" fmla="*/ 456247 h 1348549"/>
                <a:gd name="connsiteX230" fmla="*/ 360521 w 860393"/>
                <a:gd name="connsiteY230" fmla="*/ 437674 h 1348549"/>
                <a:gd name="connsiteX231" fmla="*/ 359473 w 860393"/>
                <a:gd name="connsiteY231" fmla="*/ 429768 h 1348549"/>
                <a:gd name="connsiteX232" fmla="*/ 357092 w 860393"/>
                <a:gd name="connsiteY232" fmla="*/ 423672 h 1348549"/>
                <a:gd name="connsiteX233" fmla="*/ 357473 w 860393"/>
                <a:gd name="connsiteY233" fmla="*/ 414052 h 1348549"/>
                <a:gd name="connsiteX234" fmla="*/ 349948 w 860393"/>
                <a:gd name="connsiteY234" fmla="*/ 392525 h 1348549"/>
                <a:gd name="connsiteX235" fmla="*/ 365665 w 860393"/>
                <a:gd name="connsiteY235" fmla="*/ 377666 h 1348549"/>
                <a:gd name="connsiteX236" fmla="*/ 369665 w 860393"/>
                <a:gd name="connsiteY236" fmla="*/ 370808 h 1348549"/>
                <a:gd name="connsiteX237" fmla="*/ 365665 w 860393"/>
                <a:gd name="connsiteY237" fmla="*/ 364903 h 1348549"/>
                <a:gd name="connsiteX238" fmla="*/ 364236 w 860393"/>
                <a:gd name="connsiteY238" fmla="*/ 353854 h 1348549"/>
                <a:gd name="connsiteX239" fmla="*/ 361664 w 860393"/>
                <a:gd name="connsiteY239" fmla="*/ 346138 h 1348549"/>
                <a:gd name="connsiteX240" fmla="*/ 371951 w 860393"/>
                <a:gd name="connsiteY240" fmla="*/ 338423 h 1348549"/>
                <a:gd name="connsiteX241" fmla="*/ 375095 w 860393"/>
                <a:gd name="connsiteY241" fmla="*/ 338042 h 1348549"/>
                <a:gd name="connsiteX242" fmla="*/ 383096 w 860393"/>
                <a:gd name="connsiteY242" fmla="*/ 325755 h 1348549"/>
                <a:gd name="connsiteX243" fmla="*/ 387287 w 860393"/>
                <a:gd name="connsiteY243" fmla="*/ 320421 h 1348549"/>
                <a:gd name="connsiteX244" fmla="*/ 392335 w 860393"/>
                <a:gd name="connsiteY244" fmla="*/ 310134 h 1348549"/>
                <a:gd name="connsiteX245" fmla="*/ 397669 w 860393"/>
                <a:gd name="connsiteY245" fmla="*/ 314230 h 1348549"/>
                <a:gd name="connsiteX246" fmla="*/ 400717 w 860393"/>
                <a:gd name="connsiteY246" fmla="*/ 312325 h 1348549"/>
                <a:gd name="connsiteX247" fmla="*/ 405003 w 860393"/>
                <a:gd name="connsiteY247" fmla="*/ 308515 h 1348549"/>
                <a:gd name="connsiteX248" fmla="*/ 404241 w 860393"/>
                <a:gd name="connsiteY248" fmla="*/ 302228 h 1348549"/>
                <a:gd name="connsiteX249" fmla="*/ 408146 w 860393"/>
                <a:gd name="connsiteY249" fmla="*/ 295275 h 1348549"/>
                <a:gd name="connsiteX250" fmla="*/ 414052 w 860393"/>
                <a:gd name="connsiteY250" fmla="*/ 291370 h 1348549"/>
                <a:gd name="connsiteX251" fmla="*/ 427672 w 860393"/>
                <a:gd name="connsiteY251" fmla="*/ 297656 h 1348549"/>
                <a:gd name="connsiteX252" fmla="*/ 434912 w 860393"/>
                <a:gd name="connsiteY252" fmla="*/ 291846 h 1348549"/>
                <a:gd name="connsiteX253" fmla="*/ 442246 w 860393"/>
                <a:gd name="connsiteY253" fmla="*/ 273272 h 1348549"/>
                <a:gd name="connsiteX254" fmla="*/ 450723 w 860393"/>
                <a:gd name="connsiteY254" fmla="*/ 264223 h 1348549"/>
                <a:gd name="connsiteX255" fmla="*/ 453962 w 860393"/>
                <a:gd name="connsiteY255" fmla="*/ 252603 h 1348549"/>
                <a:gd name="connsiteX256" fmla="*/ 455771 w 860393"/>
                <a:gd name="connsiteY256" fmla="*/ 253936 h 1348549"/>
                <a:gd name="connsiteX257" fmla="*/ 463487 w 860393"/>
                <a:gd name="connsiteY257" fmla="*/ 264223 h 1348549"/>
                <a:gd name="connsiteX258" fmla="*/ 468821 w 860393"/>
                <a:gd name="connsiteY258" fmla="*/ 268319 h 1348549"/>
                <a:gd name="connsiteX259" fmla="*/ 471773 w 860393"/>
                <a:gd name="connsiteY259" fmla="*/ 266319 h 1348549"/>
                <a:gd name="connsiteX260" fmla="*/ 480060 w 860393"/>
                <a:gd name="connsiteY260" fmla="*/ 268510 h 1348549"/>
                <a:gd name="connsiteX261" fmla="*/ 485965 w 860393"/>
                <a:gd name="connsiteY261" fmla="*/ 264509 h 1348549"/>
                <a:gd name="connsiteX262" fmla="*/ 485394 w 860393"/>
                <a:gd name="connsiteY262" fmla="*/ 259842 h 1348549"/>
                <a:gd name="connsiteX263" fmla="*/ 488156 w 860393"/>
                <a:gd name="connsiteY263" fmla="*/ 256222 h 1348549"/>
                <a:gd name="connsiteX264" fmla="*/ 487299 w 860393"/>
                <a:gd name="connsiteY264" fmla="*/ 249936 h 1348549"/>
                <a:gd name="connsiteX265" fmla="*/ 488156 w 860393"/>
                <a:gd name="connsiteY265" fmla="*/ 243459 h 1348549"/>
                <a:gd name="connsiteX266" fmla="*/ 485299 w 860393"/>
                <a:gd name="connsiteY266" fmla="*/ 234124 h 1348549"/>
                <a:gd name="connsiteX267" fmla="*/ 487680 w 860393"/>
                <a:gd name="connsiteY267" fmla="*/ 227457 h 1348549"/>
                <a:gd name="connsiteX268" fmla="*/ 489204 w 860393"/>
                <a:gd name="connsiteY268" fmla="*/ 214408 h 1348549"/>
                <a:gd name="connsiteX269" fmla="*/ 487013 w 860393"/>
                <a:gd name="connsiteY269" fmla="*/ 209836 h 1348549"/>
                <a:gd name="connsiteX270" fmla="*/ 489775 w 860393"/>
                <a:gd name="connsiteY270" fmla="*/ 206311 h 1348549"/>
                <a:gd name="connsiteX271" fmla="*/ 481108 w 860393"/>
                <a:gd name="connsiteY271" fmla="*/ 188214 h 1348549"/>
                <a:gd name="connsiteX272" fmla="*/ 472249 w 860393"/>
                <a:gd name="connsiteY272" fmla="*/ 194119 h 1348549"/>
                <a:gd name="connsiteX273" fmla="*/ 469582 w 860393"/>
                <a:gd name="connsiteY273" fmla="*/ 186404 h 1348549"/>
                <a:gd name="connsiteX274" fmla="*/ 459581 w 860393"/>
                <a:gd name="connsiteY274" fmla="*/ 182880 h 1348549"/>
                <a:gd name="connsiteX275" fmla="*/ 445389 w 860393"/>
                <a:gd name="connsiteY275" fmla="*/ 184690 h 1348549"/>
                <a:gd name="connsiteX276" fmla="*/ 442436 w 860393"/>
                <a:gd name="connsiteY276" fmla="*/ 186690 h 1348549"/>
                <a:gd name="connsiteX277" fmla="*/ 441484 w 860393"/>
                <a:gd name="connsiteY277" fmla="*/ 204406 h 1348549"/>
                <a:gd name="connsiteX278" fmla="*/ 435102 w 860393"/>
                <a:gd name="connsiteY278" fmla="*/ 205264 h 1348549"/>
                <a:gd name="connsiteX279" fmla="*/ 431578 w 860393"/>
                <a:gd name="connsiteY279" fmla="*/ 202501 h 1348549"/>
                <a:gd name="connsiteX280" fmla="*/ 428149 w 860393"/>
                <a:gd name="connsiteY280" fmla="*/ 188500 h 1348549"/>
                <a:gd name="connsiteX281" fmla="*/ 424244 w 860393"/>
                <a:gd name="connsiteY281" fmla="*/ 182594 h 1348549"/>
                <a:gd name="connsiteX282" fmla="*/ 431959 w 860393"/>
                <a:gd name="connsiteY282" fmla="*/ 180022 h 1348549"/>
                <a:gd name="connsiteX283" fmla="*/ 429768 w 860393"/>
                <a:gd name="connsiteY283" fmla="*/ 175450 h 1348549"/>
                <a:gd name="connsiteX284" fmla="*/ 430339 w 860393"/>
                <a:gd name="connsiteY284" fmla="*/ 167354 h 1348549"/>
                <a:gd name="connsiteX285" fmla="*/ 435197 w 860393"/>
                <a:gd name="connsiteY285" fmla="*/ 155543 h 1348549"/>
                <a:gd name="connsiteX286" fmla="*/ 429673 w 860393"/>
                <a:gd name="connsiteY286" fmla="*/ 149828 h 1348549"/>
                <a:gd name="connsiteX287" fmla="*/ 426530 w 860393"/>
                <a:gd name="connsiteY287" fmla="*/ 150209 h 1348549"/>
                <a:gd name="connsiteX288" fmla="*/ 423196 w 860393"/>
                <a:gd name="connsiteY288" fmla="*/ 149066 h 1348549"/>
                <a:gd name="connsiteX289" fmla="*/ 425101 w 860393"/>
                <a:gd name="connsiteY289" fmla="*/ 139160 h 1348549"/>
                <a:gd name="connsiteX290" fmla="*/ 430054 w 860393"/>
                <a:gd name="connsiteY290" fmla="*/ 140113 h 1348549"/>
                <a:gd name="connsiteX291" fmla="*/ 432625 w 860393"/>
                <a:gd name="connsiteY291" fmla="*/ 135064 h 1348549"/>
                <a:gd name="connsiteX292" fmla="*/ 430435 w 860393"/>
                <a:gd name="connsiteY292" fmla="*/ 130492 h 1348549"/>
                <a:gd name="connsiteX293" fmla="*/ 414814 w 860393"/>
                <a:gd name="connsiteY293" fmla="*/ 134112 h 1348549"/>
                <a:gd name="connsiteX294" fmla="*/ 406146 w 860393"/>
                <a:gd name="connsiteY294" fmla="*/ 141637 h 1348549"/>
                <a:gd name="connsiteX295" fmla="*/ 398336 w 860393"/>
                <a:gd name="connsiteY295" fmla="*/ 142589 h 1348549"/>
                <a:gd name="connsiteX296" fmla="*/ 389001 w 860393"/>
                <a:gd name="connsiteY296" fmla="*/ 145351 h 1348549"/>
                <a:gd name="connsiteX297" fmla="*/ 378714 w 860393"/>
                <a:gd name="connsiteY297" fmla="*/ 140303 h 1348549"/>
                <a:gd name="connsiteX298" fmla="*/ 371665 w 860393"/>
                <a:gd name="connsiteY298" fmla="*/ 134779 h 1348549"/>
                <a:gd name="connsiteX299" fmla="*/ 359759 w 860393"/>
                <a:gd name="connsiteY299" fmla="*/ 129826 h 1348549"/>
                <a:gd name="connsiteX300" fmla="*/ 357378 w 860393"/>
                <a:gd name="connsiteY300" fmla="*/ 123730 h 1348549"/>
                <a:gd name="connsiteX301" fmla="*/ 350330 w 860393"/>
                <a:gd name="connsiteY301" fmla="*/ 118205 h 1348549"/>
                <a:gd name="connsiteX302" fmla="*/ 343376 w 860393"/>
                <a:gd name="connsiteY302" fmla="*/ 114300 h 1348549"/>
                <a:gd name="connsiteX303" fmla="*/ 335471 w 860393"/>
                <a:gd name="connsiteY303" fmla="*/ 102489 h 1348549"/>
                <a:gd name="connsiteX304" fmla="*/ 326136 w 860393"/>
                <a:gd name="connsiteY304" fmla="*/ 92488 h 1348549"/>
                <a:gd name="connsiteX305" fmla="*/ 324517 w 860393"/>
                <a:gd name="connsiteY305" fmla="*/ 79819 h 1348549"/>
                <a:gd name="connsiteX306" fmla="*/ 328041 w 860393"/>
                <a:gd name="connsiteY306" fmla="*/ 69723 h 1348549"/>
                <a:gd name="connsiteX307" fmla="*/ 321183 w 860393"/>
                <a:gd name="connsiteY307" fmla="*/ 65818 h 1348549"/>
                <a:gd name="connsiteX308" fmla="*/ 314611 w 860393"/>
                <a:gd name="connsiteY308" fmla="*/ 65056 h 1348549"/>
                <a:gd name="connsiteX309" fmla="*/ 310324 w 860393"/>
                <a:gd name="connsiteY309" fmla="*/ 68770 h 1348549"/>
                <a:gd name="connsiteX310" fmla="*/ 299466 w 860393"/>
                <a:gd name="connsiteY310" fmla="*/ 71818 h 1348549"/>
                <a:gd name="connsiteX311" fmla="*/ 295084 w 860393"/>
                <a:gd name="connsiteY311" fmla="*/ 75533 h 1348549"/>
                <a:gd name="connsiteX312" fmla="*/ 293370 w 860393"/>
                <a:gd name="connsiteY312" fmla="*/ 74200 h 1348549"/>
                <a:gd name="connsiteX313" fmla="*/ 285464 w 860393"/>
                <a:gd name="connsiteY313" fmla="*/ 75152 h 1348549"/>
                <a:gd name="connsiteX314" fmla="*/ 272224 w 860393"/>
                <a:gd name="connsiteY314" fmla="*/ 59245 h 1348549"/>
                <a:gd name="connsiteX315" fmla="*/ 264319 w 860393"/>
                <a:gd name="connsiteY315" fmla="*/ 60198 h 1348549"/>
                <a:gd name="connsiteX316" fmla="*/ 262699 w 860393"/>
                <a:gd name="connsiteY316" fmla="*/ 47625 h 1348549"/>
                <a:gd name="connsiteX317" fmla="*/ 257746 w 860393"/>
                <a:gd name="connsiteY317" fmla="*/ 46672 h 1348549"/>
                <a:gd name="connsiteX318" fmla="*/ 245173 w 860393"/>
                <a:gd name="connsiteY318" fmla="*/ 48292 h 1348549"/>
                <a:gd name="connsiteX319" fmla="*/ 243935 w 860393"/>
                <a:gd name="connsiteY319" fmla="*/ 51625 h 1348549"/>
                <a:gd name="connsiteX320" fmla="*/ 222409 w 860393"/>
                <a:gd name="connsiteY320" fmla="*/ 46291 h 1348549"/>
                <a:gd name="connsiteX321" fmla="*/ 211550 w 860393"/>
                <a:gd name="connsiteY321" fmla="*/ 36481 h 1348549"/>
                <a:gd name="connsiteX322" fmla="*/ 206883 w 860393"/>
                <a:gd name="connsiteY322" fmla="*/ 37052 h 1348549"/>
                <a:gd name="connsiteX323" fmla="*/ 202692 w 860393"/>
                <a:gd name="connsiteY323" fmla="*/ 29623 h 1348549"/>
                <a:gd name="connsiteX324" fmla="*/ 199549 w 860393"/>
                <a:gd name="connsiteY324" fmla="*/ 30004 h 1348549"/>
                <a:gd name="connsiteX325" fmla="*/ 195167 w 860393"/>
                <a:gd name="connsiteY325" fmla="*/ 33814 h 1348549"/>
                <a:gd name="connsiteX326" fmla="*/ 189452 w 860393"/>
                <a:gd name="connsiteY326" fmla="*/ 26479 h 1348549"/>
                <a:gd name="connsiteX327" fmla="*/ 184309 w 860393"/>
                <a:gd name="connsiteY327" fmla="*/ 23908 h 1348549"/>
                <a:gd name="connsiteX328" fmla="*/ 175831 w 860393"/>
                <a:gd name="connsiteY328" fmla="*/ 33052 h 1348549"/>
                <a:gd name="connsiteX329" fmla="*/ 167926 w 860393"/>
                <a:gd name="connsiteY329" fmla="*/ 34004 h 1348549"/>
                <a:gd name="connsiteX330" fmla="*/ 165735 w 860393"/>
                <a:gd name="connsiteY330" fmla="*/ 29527 h 1348549"/>
                <a:gd name="connsiteX331" fmla="*/ 151543 w 860393"/>
                <a:gd name="connsiteY331" fmla="*/ 18478 h 1348549"/>
                <a:gd name="connsiteX332" fmla="*/ 134588 w 860393"/>
                <a:gd name="connsiteY332" fmla="*/ 11049 h 1348549"/>
                <a:gd name="connsiteX333" fmla="*/ 120301 w 860393"/>
                <a:gd name="connsiteY333" fmla="*/ 0 h 1348549"/>
                <a:gd name="connsiteX334" fmla="*/ 118967 w 860393"/>
                <a:gd name="connsiteY334" fmla="*/ 1810 h 1348549"/>
                <a:gd name="connsiteX335" fmla="*/ 115538 w 860393"/>
                <a:gd name="connsiteY335" fmla="*/ 571 h 1348549"/>
                <a:gd name="connsiteX336" fmla="*/ 111633 w 860393"/>
                <a:gd name="connsiteY336" fmla="*/ 7525 h 1348549"/>
                <a:gd name="connsiteX337" fmla="*/ 106680 w 860393"/>
                <a:gd name="connsiteY337" fmla="*/ 6572 h 1348549"/>
                <a:gd name="connsiteX338" fmla="*/ 103727 w 860393"/>
                <a:gd name="connsiteY338" fmla="*/ 8572 h 1348549"/>
                <a:gd name="connsiteX339" fmla="*/ 102965 w 860393"/>
                <a:gd name="connsiteY339" fmla="*/ 15049 h 1348549"/>
                <a:gd name="connsiteX340" fmla="*/ 98679 w 860393"/>
                <a:gd name="connsiteY340" fmla="*/ 18764 h 1348549"/>
                <a:gd name="connsiteX341" fmla="*/ 99441 w 860393"/>
                <a:gd name="connsiteY341" fmla="*/ 25146 h 1348549"/>
                <a:gd name="connsiteX342" fmla="*/ 95536 w 860393"/>
                <a:gd name="connsiteY342" fmla="*/ 32004 h 1348549"/>
                <a:gd name="connsiteX343" fmla="*/ 96298 w 860393"/>
                <a:gd name="connsiteY343" fmla="*/ 38290 h 1348549"/>
                <a:gd name="connsiteX344" fmla="*/ 90678 w 860393"/>
                <a:gd name="connsiteY344" fmla="*/ 43910 h 1348549"/>
                <a:gd name="connsiteX345" fmla="*/ 89630 w 860393"/>
                <a:gd name="connsiteY345" fmla="*/ 48768 h 1348549"/>
                <a:gd name="connsiteX346" fmla="*/ 92773 w 860393"/>
                <a:gd name="connsiteY346" fmla="*/ 48387 h 1348549"/>
                <a:gd name="connsiteX347" fmla="*/ 100108 w 860393"/>
                <a:gd name="connsiteY347" fmla="*/ 55531 h 1348549"/>
                <a:gd name="connsiteX348" fmla="*/ 107061 w 860393"/>
                <a:gd name="connsiteY348" fmla="*/ 59436 h 1348549"/>
                <a:gd name="connsiteX349" fmla="*/ 112204 w 860393"/>
                <a:gd name="connsiteY349" fmla="*/ 62008 h 1348549"/>
                <a:gd name="connsiteX350" fmla="*/ 116300 w 860393"/>
                <a:gd name="connsiteY350" fmla="*/ 69437 h 1348549"/>
                <a:gd name="connsiteX351" fmla="*/ 122491 w 860393"/>
                <a:gd name="connsiteY351" fmla="*/ 67056 h 1348549"/>
                <a:gd name="connsiteX352" fmla="*/ 124396 w 860393"/>
                <a:gd name="connsiteY352" fmla="*/ 70009 h 1348549"/>
                <a:gd name="connsiteX353" fmla="*/ 124873 w 860393"/>
                <a:gd name="connsiteY353" fmla="*/ 73152 h 1348549"/>
                <a:gd name="connsiteX354" fmla="*/ 127063 w 860393"/>
                <a:gd name="connsiteY354" fmla="*/ 77724 h 1348549"/>
                <a:gd name="connsiteX355" fmla="*/ 130397 w 860393"/>
                <a:gd name="connsiteY355" fmla="*/ 91726 h 1348549"/>
                <a:gd name="connsiteX356" fmla="*/ 128016 w 860393"/>
                <a:gd name="connsiteY356" fmla="*/ 98488 h 1348549"/>
                <a:gd name="connsiteX357" fmla="*/ 136588 w 860393"/>
                <a:gd name="connsiteY357" fmla="*/ 114967 h 1348549"/>
                <a:gd name="connsiteX358" fmla="*/ 143923 w 860393"/>
                <a:gd name="connsiteY358" fmla="*/ 122111 h 1348549"/>
                <a:gd name="connsiteX359" fmla="*/ 145256 w 860393"/>
                <a:gd name="connsiteY359" fmla="*/ 133159 h 1348549"/>
                <a:gd name="connsiteX360" fmla="*/ 142589 w 860393"/>
                <a:gd name="connsiteY360" fmla="*/ 136684 h 1348549"/>
                <a:gd name="connsiteX361" fmla="*/ 147066 w 860393"/>
                <a:gd name="connsiteY361" fmla="*/ 147352 h 1348549"/>
                <a:gd name="connsiteX362" fmla="*/ 156210 w 860393"/>
                <a:gd name="connsiteY362" fmla="*/ 155829 h 1348549"/>
                <a:gd name="connsiteX363" fmla="*/ 161163 w 860393"/>
                <a:gd name="connsiteY363" fmla="*/ 156781 h 1348549"/>
                <a:gd name="connsiteX364" fmla="*/ 164116 w 860393"/>
                <a:gd name="connsiteY364" fmla="*/ 154781 h 1348549"/>
                <a:gd name="connsiteX365" fmla="*/ 167259 w 860393"/>
                <a:gd name="connsiteY365" fmla="*/ 154400 h 1348549"/>
                <a:gd name="connsiteX366" fmla="*/ 169640 w 860393"/>
                <a:gd name="connsiteY366" fmla="*/ 160496 h 1348549"/>
                <a:gd name="connsiteX367" fmla="*/ 186595 w 860393"/>
                <a:gd name="connsiteY367" fmla="*/ 167926 h 1348549"/>
                <a:gd name="connsiteX368" fmla="*/ 189547 w 860393"/>
                <a:gd name="connsiteY368" fmla="*/ 166021 h 1348549"/>
                <a:gd name="connsiteX369" fmla="*/ 191357 w 860393"/>
                <a:gd name="connsiteY369" fmla="*/ 167354 h 1348549"/>
                <a:gd name="connsiteX370" fmla="*/ 192214 w 860393"/>
                <a:gd name="connsiteY370" fmla="*/ 173641 h 1348549"/>
                <a:gd name="connsiteX371" fmla="*/ 195739 w 860393"/>
                <a:gd name="connsiteY371" fmla="*/ 176403 h 1348549"/>
                <a:gd name="connsiteX372" fmla="*/ 204406 w 860393"/>
                <a:gd name="connsiteY372" fmla="*/ 194596 h 1348549"/>
                <a:gd name="connsiteX373" fmla="*/ 202882 w 860393"/>
                <a:gd name="connsiteY373" fmla="*/ 207550 h 1348549"/>
                <a:gd name="connsiteX374" fmla="*/ 198977 w 860393"/>
                <a:gd name="connsiteY374" fmla="*/ 214503 h 1348549"/>
                <a:gd name="connsiteX375" fmla="*/ 193072 w 860393"/>
                <a:gd name="connsiteY375" fmla="*/ 218503 h 1348549"/>
                <a:gd name="connsiteX376" fmla="*/ 191929 w 860393"/>
                <a:gd name="connsiteY376" fmla="*/ 221837 h 1348549"/>
                <a:gd name="connsiteX377" fmla="*/ 199168 w 860393"/>
                <a:gd name="connsiteY377" fmla="*/ 228886 h 1348549"/>
                <a:gd name="connsiteX378" fmla="*/ 198596 w 860393"/>
                <a:gd name="connsiteY378" fmla="*/ 236982 h 1348549"/>
                <a:gd name="connsiteX379" fmla="*/ 211455 w 860393"/>
                <a:gd name="connsiteY379" fmla="*/ 249745 h 1348549"/>
                <a:gd name="connsiteX380" fmla="*/ 207169 w 860393"/>
                <a:gd name="connsiteY380" fmla="*/ 253555 h 1348549"/>
                <a:gd name="connsiteX381" fmla="*/ 203454 w 860393"/>
                <a:gd name="connsiteY381" fmla="*/ 262033 h 1348549"/>
                <a:gd name="connsiteX382" fmla="*/ 192596 w 860393"/>
                <a:gd name="connsiteY382" fmla="*/ 265081 h 1348549"/>
                <a:gd name="connsiteX383" fmla="*/ 190976 w 860393"/>
                <a:gd name="connsiteY383" fmla="*/ 265271 h 1348549"/>
                <a:gd name="connsiteX384" fmla="*/ 186214 w 860393"/>
                <a:gd name="connsiteY384" fmla="*/ 252984 h 1348549"/>
                <a:gd name="connsiteX385" fmla="*/ 180499 w 860393"/>
                <a:gd name="connsiteY385" fmla="*/ 245745 h 1348549"/>
                <a:gd name="connsiteX386" fmla="*/ 179261 w 860393"/>
                <a:gd name="connsiteY386" fmla="*/ 236220 h 1348549"/>
                <a:gd name="connsiteX387" fmla="*/ 174117 w 860393"/>
                <a:gd name="connsiteY387" fmla="*/ 233743 h 1348549"/>
                <a:gd name="connsiteX388" fmla="*/ 165449 w 860393"/>
                <a:gd name="connsiteY388" fmla="*/ 241173 h 1348549"/>
                <a:gd name="connsiteX389" fmla="*/ 166116 w 860393"/>
                <a:gd name="connsiteY389" fmla="*/ 245936 h 1348549"/>
                <a:gd name="connsiteX390" fmla="*/ 168116 w 860393"/>
                <a:gd name="connsiteY390" fmla="*/ 248888 h 1348549"/>
                <a:gd name="connsiteX391" fmla="*/ 163925 w 860393"/>
                <a:gd name="connsiteY391" fmla="*/ 254222 h 1348549"/>
                <a:gd name="connsiteX392" fmla="*/ 162782 w 860393"/>
                <a:gd name="connsiteY392" fmla="*/ 257556 h 1348549"/>
                <a:gd name="connsiteX393" fmla="*/ 158210 w 860393"/>
                <a:gd name="connsiteY393" fmla="*/ 259747 h 1348549"/>
                <a:gd name="connsiteX394" fmla="*/ 154686 w 860393"/>
                <a:gd name="connsiteY394" fmla="*/ 256984 h 1348549"/>
                <a:gd name="connsiteX395" fmla="*/ 142018 w 860393"/>
                <a:gd name="connsiteY395" fmla="*/ 258604 h 1348549"/>
                <a:gd name="connsiteX396" fmla="*/ 140113 w 860393"/>
                <a:gd name="connsiteY396" fmla="*/ 255651 h 1348549"/>
                <a:gd name="connsiteX397" fmla="*/ 135160 w 860393"/>
                <a:gd name="connsiteY397" fmla="*/ 254698 h 1348549"/>
                <a:gd name="connsiteX398" fmla="*/ 122872 w 860393"/>
                <a:gd name="connsiteY398" fmla="*/ 259461 h 1348549"/>
                <a:gd name="connsiteX399" fmla="*/ 121920 w 860393"/>
                <a:gd name="connsiteY399" fmla="*/ 264414 h 1348549"/>
                <a:gd name="connsiteX400" fmla="*/ 115824 w 860393"/>
                <a:gd name="connsiteY400" fmla="*/ 266795 h 1348549"/>
                <a:gd name="connsiteX401" fmla="*/ 111728 w 860393"/>
                <a:gd name="connsiteY401" fmla="*/ 272129 h 1348549"/>
                <a:gd name="connsiteX402" fmla="*/ 112871 w 860393"/>
                <a:gd name="connsiteY402" fmla="*/ 281559 h 1348549"/>
                <a:gd name="connsiteX403" fmla="*/ 111919 w 860393"/>
                <a:gd name="connsiteY403" fmla="*/ 286512 h 1348549"/>
                <a:gd name="connsiteX404" fmla="*/ 105823 w 860393"/>
                <a:gd name="connsiteY404" fmla="*/ 288893 h 1348549"/>
                <a:gd name="connsiteX405" fmla="*/ 99250 w 860393"/>
                <a:gd name="connsiteY405" fmla="*/ 288131 h 1348549"/>
                <a:gd name="connsiteX406" fmla="*/ 98488 w 860393"/>
                <a:gd name="connsiteY406" fmla="*/ 294608 h 1348549"/>
                <a:gd name="connsiteX407" fmla="*/ 100679 w 860393"/>
                <a:gd name="connsiteY407" fmla="*/ 299180 h 1348549"/>
                <a:gd name="connsiteX408" fmla="*/ 99727 w 860393"/>
                <a:gd name="connsiteY408" fmla="*/ 304133 h 1348549"/>
                <a:gd name="connsiteX409" fmla="*/ 100774 w 860393"/>
                <a:gd name="connsiteY409" fmla="*/ 312039 h 1348549"/>
                <a:gd name="connsiteX410" fmla="*/ 98203 w 860393"/>
                <a:gd name="connsiteY410" fmla="*/ 317182 h 1348549"/>
                <a:gd name="connsiteX411" fmla="*/ 90869 w 860393"/>
                <a:gd name="connsiteY411" fmla="*/ 322897 h 1348549"/>
                <a:gd name="connsiteX412" fmla="*/ 90106 w 860393"/>
                <a:gd name="connsiteY412" fmla="*/ 329374 h 1348549"/>
                <a:gd name="connsiteX413" fmla="*/ 86392 w 860393"/>
                <a:gd name="connsiteY413" fmla="*/ 337947 h 1348549"/>
                <a:gd name="connsiteX414" fmla="*/ 85820 w 860393"/>
                <a:gd name="connsiteY414" fmla="*/ 345948 h 1348549"/>
                <a:gd name="connsiteX415" fmla="*/ 83058 w 860393"/>
                <a:gd name="connsiteY415" fmla="*/ 349567 h 1348549"/>
                <a:gd name="connsiteX416" fmla="*/ 81153 w 860393"/>
                <a:gd name="connsiteY416" fmla="*/ 359378 h 1348549"/>
                <a:gd name="connsiteX417" fmla="*/ 81915 w 860393"/>
                <a:gd name="connsiteY417" fmla="*/ 365760 h 1348549"/>
                <a:gd name="connsiteX418" fmla="*/ 79534 w 860393"/>
                <a:gd name="connsiteY418" fmla="*/ 372428 h 1348549"/>
                <a:gd name="connsiteX419" fmla="*/ 78010 w 860393"/>
                <a:gd name="connsiteY419" fmla="*/ 372618 h 1348549"/>
                <a:gd name="connsiteX420" fmla="*/ 77343 w 860393"/>
                <a:gd name="connsiteY420" fmla="*/ 367951 h 1348549"/>
                <a:gd name="connsiteX421" fmla="*/ 74200 w 860393"/>
                <a:gd name="connsiteY421" fmla="*/ 368332 h 1348549"/>
                <a:gd name="connsiteX422" fmla="*/ 76009 w 860393"/>
                <a:gd name="connsiteY422" fmla="*/ 382524 h 1348549"/>
                <a:gd name="connsiteX423" fmla="*/ 70295 w 860393"/>
                <a:gd name="connsiteY423" fmla="*/ 388048 h 1348549"/>
                <a:gd name="connsiteX424" fmla="*/ 62484 w 860393"/>
                <a:gd name="connsiteY424" fmla="*/ 389096 h 1348549"/>
                <a:gd name="connsiteX425" fmla="*/ 61055 w 860393"/>
                <a:gd name="connsiteY425" fmla="*/ 390811 h 1348549"/>
                <a:gd name="connsiteX426" fmla="*/ 63055 w 860393"/>
                <a:gd name="connsiteY426" fmla="*/ 393763 h 1348549"/>
                <a:gd name="connsiteX427" fmla="*/ 69628 w 860393"/>
                <a:gd name="connsiteY427" fmla="*/ 407384 h 1348549"/>
                <a:gd name="connsiteX428" fmla="*/ 70390 w 860393"/>
                <a:gd name="connsiteY428" fmla="*/ 413671 h 1348549"/>
                <a:gd name="connsiteX429" fmla="*/ 74200 w 860393"/>
                <a:gd name="connsiteY429" fmla="*/ 418052 h 1348549"/>
                <a:gd name="connsiteX430" fmla="*/ 66865 w 860393"/>
                <a:gd name="connsiteY430" fmla="*/ 423767 h 1348549"/>
                <a:gd name="connsiteX431" fmla="*/ 60007 w 860393"/>
                <a:gd name="connsiteY431" fmla="*/ 432625 h 1348549"/>
                <a:gd name="connsiteX432" fmla="*/ 57436 w 860393"/>
                <a:gd name="connsiteY432" fmla="*/ 437769 h 1348549"/>
                <a:gd name="connsiteX433" fmla="*/ 68294 w 860393"/>
                <a:gd name="connsiteY433" fmla="*/ 447675 h 1348549"/>
                <a:gd name="connsiteX434" fmla="*/ 64389 w 860393"/>
                <a:gd name="connsiteY434" fmla="*/ 454533 h 1348549"/>
                <a:gd name="connsiteX435" fmla="*/ 72104 w 860393"/>
                <a:gd name="connsiteY435" fmla="*/ 464820 h 1348549"/>
                <a:gd name="connsiteX436" fmla="*/ 66199 w 860393"/>
                <a:gd name="connsiteY436" fmla="*/ 468725 h 1348549"/>
                <a:gd name="connsiteX437" fmla="*/ 65246 w 860393"/>
                <a:gd name="connsiteY437" fmla="*/ 473678 h 1348549"/>
                <a:gd name="connsiteX438" fmla="*/ 65627 w 860393"/>
                <a:gd name="connsiteY438" fmla="*/ 476821 h 1348549"/>
                <a:gd name="connsiteX439" fmla="*/ 64389 w 860393"/>
                <a:gd name="connsiteY439" fmla="*/ 480250 h 1348549"/>
                <a:gd name="connsiteX440" fmla="*/ 56579 w 860393"/>
                <a:gd name="connsiteY440" fmla="*/ 481203 h 1348549"/>
                <a:gd name="connsiteX441" fmla="*/ 55340 w 860393"/>
                <a:gd name="connsiteY441" fmla="*/ 484537 h 1348549"/>
                <a:gd name="connsiteX442" fmla="*/ 46291 w 860393"/>
                <a:gd name="connsiteY442" fmla="*/ 488918 h 1348549"/>
                <a:gd name="connsiteX443" fmla="*/ 43910 w 860393"/>
                <a:gd name="connsiteY443" fmla="*/ 495681 h 1348549"/>
                <a:gd name="connsiteX444" fmla="*/ 39053 w 860393"/>
                <a:gd name="connsiteY444" fmla="*/ 494728 h 1348549"/>
                <a:gd name="connsiteX445" fmla="*/ 37814 w 860393"/>
                <a:gd name="connsiteY445" fmla="*/ 498062 h 1348549"/>
                <a:gd name="connsiteX446" fmla="*/ 38671 w 860393"/>
                <a:gd name="connsiteY446" fmla="*/ 504349 h 1348549"/>
                <a:gd name="connsiteX447" fmla="*/ 37433 w 860393"/>
                <a:gd name="connsiteY447" fmla="*/ 507682 h 1348549"/>
                <a:gd name="connsiteX448" fmla="*/ 33147 w 860393"/>
                <a:gd name="connsiteY448" fmla="*/ 511492 h 1348549"/>
                <a:gd name="connsiteX449" fmla="*/ 29242 w 860393"/>
                <a:gd name="connsiteY449" fmla="*/ 518350 h 1348549"/>
                <a:gd name="connsiteX450" fmla="*/ 29432 w 860393"/>
                <a:gd name="connsiteY450" fmla="*/ 519970 h 1348549"/>
                <a:gd name="connsiteX451" fmla="*/ 24860 w 860393"/>
                <a:gd name="connsiteY451" fmla="*/ 522160 h 1348549"/>
                <a:gd name="connsiteX452" fmla="*/ 19145 w 860393"/>
                <a:gd name="connsiteY452" fmla="*/ 514826 h 1348549"/>
                <a:gd name="connsiteX453" fmla="*/ 6096 w 860393"/>
                <a:gd name="connsiteY453" fmla="*/ 513302 h 1348549"/>
                <a:gd name="connsiteX454" fmla="*/ 0 w 860393"/>
                <a:gd name="connsiteY454" fmla="*/ 515684 h 1348549"/>
                <a:gd name="connsiteX455" fmla="*/ 3810 w 860393"/>
                <a:gd name="connsiteY455" fmla="*/ 532829 h 1348549"/>
                <a:gd name="connsiteX456" fmla="*/ 9144 w 860393"/>
                <a:gd name="connsiteY456" fmla="*/ 537019 h 1348549"/>
                <a:gd name="connsiteX457" fmla="*/ 13049 w 860393"/>
                <a:gd name="connsiteY457" fmla="*/ 542925 h 1348549"/>
                <a:gd name="connsiteX458" fmla="*/ 12097 w 860393"/>
                <a:gd name="connsiteY458" fmla="*/ 547783 h 1348549"/>
                <a:gd name="connsiteX459" fmla="*/ 17621 w 860393"/>
                <a:gd name="connsiteY459" fmla="*/ 553498 h 1348549"/>
                <a:gd name="connsiteX460" fmla="*/ 15526 w 860393"/>
                <a:gd name="connsiteY460" fmla="*/ 561784 h 1348549"/>
                <a:gd name="connsiteX461" fmla="*/ 15145 w 860393"/>
                <a:gd name="connsiteY461" fmla="*/ 571500 h 1348549"/>
                <a:gd name="connsiteX462" fmla="*/ 15716 w 860393"/>
                <a:gd name="connsiteY462" fmla="*/ 576263 h 1348549"/>
                <a:gd name="connsiteX463" fmla="*/ 20860 w 860393"/>
                <a:gd name="connsiteY463" fmla="*/ 578834 h 1348549"/>
                <a:gd name="connsiteX464" fmla="*/ 22288 w 860393"/>
                <a:gd name="connsiteY464" fmla="*/ 589788 h 1348549"/>
                <a:gd name="connsiteX465" fmla="*/ 29146 w 860393"/>
                <a:gd name="connsiteY465" fmla="*/ 593788 h 1348549"/>
                <a:gd name="connsiteX466" fmla="*/ 25432 w 860393"/>
                <a:gd name="connsiteY466" fmla="*/ 602266 h 1348549"/>
                <a:gd name="connsiteX467" fmla="*/ 33909 w 860393"/>
                <a:gd name="connsiteY467" fmla="*/ 605980 h 1348549"/>
                <a:gd name="connsiteX468" fmla="*/ 31432 w 860393"/>
                <a:gd name="connsiteY468" fmla="*/ 611124 h 1348549"/>
                <a:gd name="connsiteX469" fmla="*/ 33623 w 860393"/>
                <a:gd name="connsiteY469" fmla="*/ 615696 h 1348549"/>
                <a:gd name="connsiteX470" fmla="*/ 31051 w 860393"/>
                <a:gd name="connsiteY470" fmla="*/ 620744 h 1348549"/>
                <a:gd name="connsiteX471" fmla="*/ 31813 w 860393"/>
                <a:gd name="connsiteY471" fmla="*/ 627126 h 1348549"/>
                <a:gd name="connsiteX472" fmla="*/ 33814 w 860393"/>
                <a:gd name="connsiteY472" fmla="*/ 630079 h 1348549"/>
                <a:gd name="connsiteX473" fmla="*/ 29908 w 860393"/>
                <a:gd name="connsiteY473" fmla="*/ 636937 h 1348549"/>
                <a:gd name="connsiteX474" fmla="*/ 36195 w 860393"/>
                <a:gd name="connsiteY474" fmla="*/ 649034 h 1348549"/>
                <a:gd name="connsiteX475" fmla="*/ 37243 w 860393"/>
                <a:gd name="connsiteY475" fmla="*/ 656844 h 1348549"/>
                <a:gd name="connsiteX476" fmla="*/ 43910 w 860393"/>
                <a:gd name="connsiteY476" fmla="*/ 659225 h 1348549"/>
                <a:gd name="connsiteX477" fmla="*/ 40957 w 860393"/>
                <a:gd name="connsiteY477" fmla="*/ 661226 h 1348549"/>
                <a:gd name="connsiteX478" fmla="*/ 42767 w 860393"/>
                <a:gd name="connsiteY478" fmla="*/ 662559 h 1348549"/>
                <a:gd name="connsiteX479" fmla="*/ 33909 w 860393"/>
                <a:gd name="connsiteY479" fmla="*/ 668560 h 1348549"/>
                <a:gd name="connsiteX480" fmla="*/ 30766 w 860393"/>
                <a:gd name="connsiteY480" fmla="*/ 668941 h 1348549"/>
                <a:gd name="connsiteX481" fmla="*/ 24860 w 860393"/>
                <a:gd name="connsiteY481" fmla="*/ 672941 h 1348549"/>
                <a:gd name="connsiteX482" fmla="*/ 22098 w 860393"/>
                <a:gd name="connsiteY482" fmla="*/ 676465 h 1348549"/>
                <a:gd name="connsiteX483" fmla="*/ 22098 w 860393"/>
                <a:gd name="connsiteY483" fmla="*/ 689324 h 1348549"/>
                <a:gd name="connsiteX484" fmla="*/ 21336 w 860393"/>
                <a:gd name="connsiteY484" fmla="*/ 695801 h 1348549"/>
                <a:gd name="connsiteX485" fmla="*/ 24860 w 860393"/>
                <a:gd name="connsiteY485" fmla="*/ 698563 h 1348549"/>
                <a:gd name="connsiteX486" fmla="*/ 20955 w 860393"/>
                <a:gd name="connsiteY486" fmla="*/ 705422 h 1348549"/>
                <a:gd name="connsiteX487" fmla="*/ 23527 w 860393"/>
                <a:gd name="connsiteY487" fmla="*/ 713137 h 1348549"/>
                <a:gd name="connsiteX488" fmla="*/ 28480 w 860393"/>
                <a:gd name="connsiteY488" fmla="*/ 714089 h 1348549"/>
                <a:gd name="connsiteX489" fmla="*/ 28670 w 860393"/>
                <a:gd name="connsiteY489" fmla="*/ 715709 h 1348549"/>
                <a:gd name="connsiteX490" fmla="*/ 32290 w 860393"/>
                <a:gd name="connsiteY490" fmla="*/ 718471 h 1348549"/>
                <a:gd name="connsiteX491" fmla="*/ 34195 w 860393"/>
                <a:gd name="connsiteY491" fmla="*/ 721423 h 1348549"/>
                <a:gd name="connsiteX492" fmla="*/ 39338 w 860393"/>
                <a:gd name="connsiteY492" fmla="*/ 723995 h 1348549"/>
                <a:gd name="connsiteX493" fmla="*/ 36576 w 860393"/>
                <a:gd name="connsiteY493" fmla="*/ 727519 h 1348549"/>
                <a:gd name="connsiteX494" fmla="*/ 38957 w 860393"/>
                <a:gd name="connsiteY494" fmla="*/ 733615 h 1348549"/>
                <a:gd name="connsiteX495" fmla="*/ 36671 w 860393"/>
                <a:gd name="connsiteY495" fmla="*/ 740378 h 1348549"/>
                <a:gd name="connsiteX496" fmla="*/ 44767 w 860393"/>
                <a:gd name="connsiteY496" fmla="*/ 753713 h 1348549"/>
                <a:gd name="connsiteX497" fmla="*/ 56483 w 860393"/>
                <a:gd name="connsiteY497" fmla="*/ 769906 h 1348549"/>
                <a:gd name="connsiteX498" fmla="*/ 61817 w 860393"/>
                <a:gd name="connsiteY498" fmla="*/ 774001 h 1348549"/>
                <a:gd name="connsiteX499" fmla="*/ 66675 w 860393"/>
                <a:gd name="connsiteY499" fmla="*/ 775049 h 1348549"/>
                <a:gd name="connsiteX500" fmla="*/ 70675 w 860393"/>
                <a:gd name="connsiteY500" fmla="*/ 780955 h 1348549"/>
                <a:gd name="connsiteX501" fmla="*/ 67723 w 860393"/>
                <a:gd name="connsiteY501" fmla="*/ 782860 h 1348549"/>
                <a:gd name="connsiteX502" fmla="*/ 68104 w 860393"/>
                <a:gd name="connsiteY502" fmla="*/ 786098 h 1348549"/>
                <a:gd name="connsiteX503" fmla="*/ 68294 w 860393"/>
                <a:gd name="connsiteY503" fmla="*/ 787622 h 1348549"/>
                <a:gd name="connsiteX504" fmla="*/ 63817 w 860393"/>
                <a:gd name="connsiteY504" fmla="*/ 789813 h 1348549"/>
                <a:gd name="connsiteX505" fmla="*/ 64008 w 860393"/>
                <a:gd name="connsiteY505" fmla="*/ 791432 h 1348549"/>
                <a:gd name="connsiteX506" fmla="*/ 73247 w 860393"/>
                <a:gd name="connsiteY506" fmla="*/ 801434 h 1348549"/>
                <a:gd name="connsiteX507" fmla="*/ 78391 w 860393"/>
                <a:gd name="connsiteY507" fmla="*/ 804005 h 1348549"/>
                <a:gd name="connsiteX508" fmla="*/ 74676 w 860393"/>
                <a:gd name="connsiteY508" fmla="*/ 812483 h 1348549"/>
                <a:gd name="connsiteX509" fmla="*/ 71533 w 860393"/>
                <a:gd name="connsiteY509" fmla="*/ 812863 h 1348549"/>
                <a:gd name="connsiteX510" fmla="*/ 67628 w 860393"/>
                <a:gd name="connsiteY510" fmla="*/ 819817 h 1348549"/>
                <a:gd name="connsiteX511" fmla="*/ 63246 w 860393"/>
                <a:gd name="connsiteY511" fmla="*/ 823531 h 1348549"/>
                <a:gd name="connsiteX512" fmla="*/ 65437 w 860393"/>
                <a:gd name="connsiteY512" fmla="*/ 828104 h 1348549"/>
                <a:gd name="connsiteX513" fmla="*/ 68580 w 860393"/>
                <a:gd name="connsiteY513" fmla="*/ 827722 h 1348549"/>
                <a:gd name="connsiteX514" fmla="*/ 73342 w 860393"/>
                <a:gd name="connsiteY514" fmla="*/ 827056 h 1348549"/>
                <a:gd name="connsiteX515" fmla="*/ 74295 w 860393"/>
                <a:gd name="connsiteY515" fmla="*/ 822198 h 1348549"/>
                <a:gd name="connsiteX516" fmla="*/ 79057 w 860393"/>
                <a:gd name="connsiteY516" fmla="*/ 821531 h 1348549"/>
                <a:gd name="connsiteX517" fmla="*/ 79629 w 860393"/>
                <a:gd name="connsiteY517" fmla="*/ 826294 h 1348549"/>
                <a:gd name="connsiteX518" fmla="*/ 81439 w 860393"/>
                <a:gd name="connsiteY518" fmla="*/ 827627 h 1348549"/>
                <a:gd name="connsiteX519" fmla="*/ 86011 w 860393"/>
                <a:gd name="connsiteY519" fmla="*/ 825437 h 1348549"/>
                <a:gd name="connsiteX520" fmla="*/ 92297 w 860393"/>
                <a:gd name="connsiteY520" fmla="*/ 824675 h 1348549"/>
                <a:gd name="connsiteX521" fmla="*/ 96203 w 860393"/>
                <a:gd name="connsiteY521" fmla="*/ 830580 h 1348549"/>
                <a:gd name="connsiteX522" fmla="*/ 103156 w 860393"/>
                <a:gd name="connsiteY522" fmla="*/ 834485 h 1348549"/>
                <a:gd name="connsiteX523" fmla="*/ 102394 w 860393"/>
                <a:gd name="connsiteY523" fmla="*/ 841058 h 1348549"/>
                <a:gd name="connsiteX524" fmla="*/ 98679 w 860393"/>
                <a:gd name="connsiteY524" fmla="*/ 849535 h 1348549"/>
                <a:gd name="connsiteX525" fmla="*/ 100394 w 860393"/>
                <a:gd name="connsiteY525" fmla="*/ 850868 h 1348549"/>
                <a:gd name="connsiteX526" fmla="*/ 100870 w 860393"/>
                <a:gd name="connsiteY526" fmla="*/ 854012 h 1348549"/>
                <a:gd name="connsiteX527" fmla="*/ 103822 w 860393"/>
                <a:gd name="connsiteY527" fmla="*/ 852106 h 1348549"/>
                <a:gd name="connsiteX528" fmla="*/ 104394 w 860393"/>
                <a:gd name="connsiteY528" fmla="*/ 856774 h 1348549"/>
                <a:gd name="connsiteX529" fmla="*/ 101917 w 860393"/>
                <a:gd name="connsiteY529" fmla="*/ 874776 h 1348549"/>
                <a:gd name="connsiteX530" fmla="*/ 104299 w 860393"/>
                <a:gd name="connsiteY530" fmla="*/ 880872 h 1348549"/>
                <a:gd name="connsiteX531" fmla="*/ 98774 w 860393"/>
                <a:gd name="connsiteY531" fmla="*/ 888016 h 1348549"/>
                <a:gd name="connsiteX532" fmla="*/ 95631 w 860393"/>
                <a:gd name="connsiteY532" fmla="*/ 888397 h 1348549"/>
                <a:gd name="connsiteX533" fmla="*/ 89440 w 860393"/>
                <a:gd name="connsiteY533" fmla="*/ 890778 h 1348549"/>
                <a:gd name="connsiteX534" fmla="*/ 91630 w 860393"/>
                <a:gd name="connsiteY534" fmla="*/ 895350 h 1348549"/>
                <a:gd name="connsiteX535" fmla="*/ 90297 w 860393"/>
                <a:gd name="connsiteY535" fmla="*/ 897064 h 1348549"/>
                <a:gd name="connsiteX536" fmla="*/ 88868 w 860393"/>
                <a:gd name="connsiteY536" fmla="*/ 898874 h 1348549"/>
                <a:gd name="connsiteX537" fmla="*/ 82391 w 860393"/>
                <a:gd name="connsiteY537" fmla="*/ 898112 h 1348549"/>
                <a:gd name="connsiteX538" fmla="*/ 78296 w 860393"/>
                <a:gd name="connsiteY538" fmla="*/ 903446 h 1348549"/>
                <a:gd name="connsiteX539" fmla="*/ 78867 w 860393"/>
                <a:gd name="connsiteY539" fmla="*/ 908209 h 1348549"/>
                <a:gd name="connsiteX540" fmla="*/ 74104 w 860393"/>
                <a:gd name="connsiteY540" fmla="*/ 908780 h 1348549"/>
                <a:gd name="connsiteX541" fmla="*/ 75724 w 860393"/>
                <a:gd name="connsiteY541" fmla="*/ 921448 h 1348549"/>
                <a:gd name="connsiteX542" fmla="*/ 74390 w 860393"/>
                <a:gd name="connsiteY542" fmla="*/ 923163 h 1348549"/>
                <a:gd name="connsiteX543" fmla="*/ 75152 w 860393"/>
                <a:gd name="connsiteY543" fmla="*/ 929545 h 1348549"/>
                <a:gd name="connsiteX544" fmla="*/ 81153 w 860393"/>
                <a:gd name="connsiteY544" fmla="*/ 938403 h 1348549"/>
                <a:gd name="connsiteX545" fmla="*/ 88392 w 860393"/>
                <a:gd name="connsiteY545" fmla="*/ 945451 h 1348549"/>
                <a:gd name="connsiteX546" fmla="*/ 87058 w 860393"/>
                <a:gd name="connsiteY546" fmla="*/ 947261 h 1348549"/>
                <a:gd name="connsiteX547" fmla="*/ 83534 w 860393"/>
                <a:gd name="connsiteY547" fmla="*/ 944499 h 1348549"/>
                <a:gd name="connsiteX548" fmla="*/ 83058 w 860393"/>
                <a:gd name="connsiteY548" fmla="*/ 941356 h 1348549"/>
                <a:gd name="connsiteX549" fmla="*/ 81344 w 860393"/>
                <a:gd name="connsiteY549" fmla="*/ 939927 h 1348549"/>
                <a:gd name="connsiteX550" fmla="*/ 81724 w 860393"/>
                <a:gd name="connsiteY550" fmla="*/ 943070 h 1348549"/>
                <a:gd name="connsiteX551" fmla="*/ 80486 w 860393"/>
                <a:gd name="connsiteY551" fmla="*/ 946499 h 1348549"/>
                <a:gd name="connsiteX552" fmla="*/ 78962 w 860393"/>
                <a:gd name="connsiteY552" fmla="*/ 946690 h 1348549"/>
                <a:gd name="connsiteX553" fmla="*/ 78391 w 860393"/>
                <a:gd name="connsiteY553" fmla="*/ 954786 h 1348549"/>
                <a:gd name="connsiteX554" fmla="*/ 74104 w 860393"/>
                <a:gd name="connsiteY554" fmla="*/ 958501 h 1348549"/>
                <a:gd name="connsiteX555" fmla="*/ 77819 w 860393"/>
                <a:gd name="connsiteY555" fmla="*/ 962787 h 1348549"/>
                <a:gd name="connsiteX556" fmla="*/ 76676 w 860393"/>
                <a:gd name="connsiteY556" fmla="*/ 966216 h 1348549"/>
                <a:gd name="connsiteX557" fmla="*/ 73723 w 860393"/>
                <a:gd name="connsiteY557" fmla="*/ 968216 h 1348549"/>
                <a:gd name="connsiteX558" fmla="*/ 76105 w 860393"/>
                <a:gd name="connsiteY558" fmla="*/ 974312 h 1348549"/>
                <a:gd name="connsiteX559" fmla="*/ 77819 w 860393"/>
                <a:gd name="connsiteY559" fmla="*/ 975646 h 1348549"/>
                <a:gd name="connsiteX560" fmla="*/ 71723 w 860393"/>
                <a:gd name="connsiteY560" fmla="*/ 978027 h 1348549"/>
                <a:gd name="connsiteX561" fmla="*/ 72104 w 860393"/>
                <a:gd name="connsiteY561" fmla="*/ 981170 h 1348549"/>
                <a:gd name="connsiteX562" fmla="*/ 67628 w 860393"/>
                <a:gd name="connsiteY562" fmla="*/ 983361 h 1348549"/>
                <a:gd name="connsiteX563" fmla="*/ 65818 w 860393"/>
                <a:gd name="connsiteY563" fmla="*/ 982027 h 1348549"/>
                <a:gd name="connsiteX564" fmla="*/ 65056 w 860393"/>
                <a:gd name="connsiteY564" fmla="*/ 988505 h 1348549"/>
                <a:gd name="connsiteX565" fmla="*/ 70009 w 860393"/>
                <a:gd name="connsiteY565" fmla="*/ 989457 h 1348549"/>
                <a:gd name="connsiteX566" fmla="*/ 72390 w 860393"/>
                <a:gd name="connsiteY566" fmla="*/ 995648 h 1348549"/>
                <a:gd name="connsiteX567" fmla="*/ 75724 w 860393"/>
                <a:gd name="connsiteY567" fmla="*/ 996791 h 1348549"/>
                <a:gd name="connsiteX568" fmla="*/ 74581 w 860393"/>
                <a:gd name="connsiteY568" fmla="*/ 1000125 h 1348549"/>
                <a:gd name="connsiteX569" fmla="*/ 70009 w 860393"/>
                <a:gd name="connsiteY569" fmla="*/ 1002316 h 1348549"/>
                <a:gd name="connsiteX570" fmla="*/ 62294 w 860393"/>
                <a:gd name="connsiteY570" fmla="*/ 1004888 h 1348549"/>
                <a:gd name="connsiteX571" fmla="*/ 60579 w 860393"/>
                <a:gd name="connsiteY571" fmla="*/ 1003554 h 1348549"/>
                <a:gd name="connsiteX572" fmla="*/ 58388 w 860393"/>
                <a:gd name="connsiteY572" fmla="*/ 998982 h 1348549"/>
                <a:gd name="connsiteX573" fmla="*/ 54769 w 860393"/>
                <a:gd name="connsiteY573" fmla="*/ 996220 h 1348549"/>
                <a:gd name="connsiteX574" fmla="*/ 51816 w 860393"/>
                <a:gd name="connsiteY574" fmla="*/ 998220 h 1348549"/>
                <a:gd name="connsiteX575" fmla="*/ 49625 w 860393"/>
                <a:gd name="connsiteY575" fmla="*/ 993648 h 1348549"/>
                <a:gd name="connsiteX576" fmla="*/ 48673 w 860393"/>
                <a:gd name="connsiteY576" fmla="*/ 998601 h 1348549"/>
                <a:gd name="connsiteX577" fmla="*/ 46672 w 860393"/>
                <a:gd name="connsiteY577" fmla="*/ 995648 h 1348549"/>
                <a:gd name="connsiteX578" fmla="*/ 40005 w 860393"/>
                <a:gd name="connsiteY578" fmla="*/ 993362 h 1348549"/>
                <a:gd name="connsiteX579" fmla="*/ 34480 w 860393"/>
                <a:gd name="connsiteY579" fmla="*/ 987647 h 1348549"/>
                <a:gd name="connsiteX580" fmla="*/ 38386 w 860393"/>
                <a:gd name="connsiteY580" fmla="*/ 993553 h 1348549"/>
                <a:gd name="connsiteX581" fmla="*/ 35242 w 860393"/>
                <a:gd name="connsiteY581" fmla="*/ 993934 h 1348549"/>
                <a:gd name="connsiteX582" fmla="*/ 37433 w 860393"/>
                <a:gd name="connsiteY582" fmla="*/ 998410 h 1348549"/>
                <a:gd name="connsiteX583" fmla="*/ 34480 w 860393"/>
                <a:gd name="connsiteY583" fmla="*/ 1000411 h 1348549"/>
                <a:gd name="connsiteX584" fmla="*/ 34671 w 860393"/>
                <a:gd name="connsiteY584" fmla="*/ 1002030 h 1348549"/>
                <a:gd name="connsiteX585" fmla="*/ 37052 w 860393"/>
                <a:gd name="connsiteY585" fmla="*/ 1008126 h 1348549"/>
                <a:gd name="connsiteX586" fmla="*/ 36290 w 860393"/>
                <a:gd name="connsiteY586" fmla="*/ 1014603 h 1348549"/>
                <a:gd name="connsiteX587" fmla="*/ 38100 w 860393"/>
                <a:gd name="connsiteY587" fmla="*/ 1016032 h 1348549"/>
                <a:gd name="connsiteX588" fmla="*/ 41243 w 860393"/>
                <a:gd name="connsiteY588" fmla="*/ 1015651 h 1348549"/>
                <a:gd name="connsiteX589" fmla="*/ 41434 w 860393"/>
                <a:gd name="connsiteY589" fmla="*/ 1017175 h 1348549"/>
                <a:gd name="connsiteX590" fmla="*/ 41624 w 860393"/>
                <a:gd name="connsiteY590" fmla="*/ 1018794 h 1348549"/>
                <a:gd name="connsiteX591" fmla="*/ 38862 w 860393"/>
                <a:gd name="connsiteY591" fmla="*/ 1022318 h 1348549"/>
                <a:gd name="connsiteX592" fmla="*/ 36766 w 860393"/>
                <a:gd name="connsiteY592" fmla="*/ 1030605 h 1348549"/>
                <a:gd name="connsiteX593" fmla="*/ 33814 w 860393"/>
                <a:gd name="connsiteY593" fmla="*/ 1032605 h 1348549"/>
                <a:gd name="connsiteX594" fmla="*/ 31432 w 860393"/>
                <a:gd name="connsiteY594" fmla="*/ 1039273 h 1348549"/>
                <a:gd name="connsiteX595" fmla="*/ 37909 w 860393"/>
                <a:gd name="connsiteY595" fmla="*/ 1040035 h 1348549"/>
                <a:gd name="connsiteX596" fmla="*/ 44101 w 860393"/>
                <a:gd name="connsiteY596" fmla="*/ 1037654 h 1348549"/>
                <a:gd name="connsiteX597" fmla="*/ 47434 w 860393"/>
                <a:gd name="connsiteY597" fmla="*/ 1038892 h 1348549"/>
                <a:gd name="connsiteX598" fmla="*/ 52388 w 860393"/>
                <a:gd name="connsiteY598" fmla="*/ 1039844 h 1348549"/>
                <a:gd name="connsiteX599" fmla="*/ 55340 w 860393"/>
                <a:gd name="connsiteY599" fmla="*/ 1037844 h 1348549"/>
                <a:gd name="connsiteX600" fmla="*/ 62008 w 860393"/>
                <a:gd name="connsiteY600" fmla="*/ 1040225 h 1348549"/>
                <a:gd name="connsiteX601" fmla="*/ 64008 w 860393"/>
                <a:gd name="connsiteY601" fmla="*/ 1043178 h 1348549"/>
                <a:gd name="connsiteX602" fmla="*/ 72676 w 860393"/>
                <a:gd name="connsiteY602" fmla="*/ 1048512 h 1348549"/>
                <a:gd name="connsiteX603" fmla="*/ 80772 w 860393"/>
                <a:gd name="connsiteY603" fmla="*/ 1049084 h 1348549"/>
                <a:gd name="connsiteX604" fmla="*/ 85154 w 860393"/>
                <a:gd name="connsiteY604" fmla="*/ 1045273 h 1348549"/>
                <a:gd name="connsiteX605" fmla="*/ 83725 w 860393"/>
                <a:gd name="connsiteY605" fmla="*/ 1047083 h 1348549"/>
                <a:gd name="connsiteX606" fmla="*/ 84106 w 860393"/>
                <a:gd name="connsiteY606" fmla="*/ 1050227 h 1348549"/>
                <a:gd name="connsiteX607" fmla="*/ 85344 w 860393"/>
                <a:gd name="connsiteY607" fmla="*/ 1046893 h 1348549"/>
                <a:gd name="connsiteX608" fmla="*/ 87058 w 860393"/>
                <a:gd name="connsiteY608" fmla="*/ 1048226 h 1348549"/>
                <a:gd name="connsiteX609" fmla="*/ 92012 w 860393"/>
                <a:gd name="connsiteY609" fmla="*/ 1049274 h 1348549"/>
                <a:gd name="connsiteX610" fmla="*/ 92202 w 860393"/>
                <a:gd name="connsiteY610" fmla="*/ 1050798 h 1348549"/>
                <a:gd name="connsiteX611" fmla="*/ 95155 w 860393"/>
                <a:gd name="connsiteY611" fmla="*/ 1048798 h 1348549"/>
                <a:gd name="connsiteX612" fmla="*/ 96964 w 860393"/>
                <a:gd name="connsiteY612" fmla="*/ 1050227 h 1348549"/>
                <a:gd name="connsiteX613" fmla="*/ 98584 w 860393"/>
                <a:gd name="connsiteY613" fmla="*/ 1050036 h 1348549"/>
                <a:gd name="connsiteX614" fmla="*/ 97155 w 860393"/>
                <a:gd name="connsiteY614" fmla="*/ 1051751 h 1348549"/>
                <a:gd name="connsiteX615" fmla="*/ 90869 w 860393"/>
                <a:gd name="connsiteY615" fmla="*/ 1052608 h 1348549"/>
                <a:gd name="connsiteX616" fmla="*/ 85725 w 860393"/>
                <a:gd name="connsiteY616" fmla="*/ 1050036 h 1348549"/>
                <a:gd name="connsiteX617" fmla="*/ 81153 w 860393"/>
                <a:gd name="connsiteY617" fmla="*/ 1052227 h 1348549"/>
                <a:gd name="connsiteX618" fmla="*/ 77248 w 860393"/>
                <a:gd name="connsiteY618" fmla="*/ 1059085 h 1348549"/>
                <a:gd name="connsiteX619" fmla="*/ 79248 w 860393"/>
                <a:gd name="connsiteY619" fmla="*/ 1062133 h 1348549"/>
                <a:gd name="connsiteX620" fmla="*/ 80200 w 860393"/>
                <a:gd name="connsiteY620" fmla="*/ 1069943 h 1348549"/>
                <a:gd name="connsiteX621" fmla="*/ 78867 w 860393"/>
                <a:gd name="connsiteY621" fmla="*/ 1071753 h 1348549"/>
                <a:gd name="connsiteX622" fmla="*/ 75914 w 860393"/>
                <a:gd name="connsiteY622" fmla="*/ 1073753 h 1348549"/>
                <a:gd name="connsiteX623" fmla="*/ 72580 w 860393"/>
                <a:gd name="connsiteY623" fmla="*/ 1072515 h 1348549"/>
                <a:gd name="connsiteX624" fmla="*/ 66865 w 860393"/>
                <a:gd name="connsiteY624" fmla="*/ 1078135 h 1348549"/>
                <a:gd name="connsiteX625" fmla="*/ 68866 w 860393"/>
                <a:gd name="connsiteY625" fmla="*/ 1081088 h 1348549"/>
                <a:gd name="connsiteX626" fmla="*/ 65532 w 860393"/>
                <a:gd name="connsiteY626" fmla="*/ 1092708 h 1348549"/>
                <a:gd name="connsiteX627" fmla="*/ 69247 w 860393"/>
                <a:gd name="connsiteY627" fmla="*/ 1096994 h 1348549"/>
                <a:gd name="connsiteX628" fmla="*/ 70104 w 860393"/>
                <a:gd name="connsiteY628" fmla="*/ 1103376 h 1348549"/>
                <a:gd name="connsiteX629" fmla="*/ 72009 w 860393"/>
                <a:gd name="connsiteY629" fmla="*/ 1106329 h 1348549"/>
                <a:gd name="connsiteX630" fmla="*/ 72676 w 860393"/>
                <a:gd name="connsiteY630" fmla="*/ 1110996 h 1348549"/>
                <a:gd name="connsiteX631" fmla="*/ 76581 w 860393"/>
                <a:gd name="connsiteY631" fmla="*/ 1116902 h 1348549"/>
                <a:gd name="connsiteX632" fmla="*/ 76771 w 860393"/>
                <a:gd name="connsiteY632" fmla="*/ 1118521 h 1348549"/>
                <a:gd name="connsiteX633" fmla="*/ 73628 w 860393"/>
                <a:gd name="connsiteY633" fmla="*/ 1118902 h 1348549"/>
                <a:gd name="connsiteX634" fmla="*/ 76962 w 860393"/>
                <a:gd name="connsiteY634" fmla="*/ 1120140 h 1348549"/>
                <a:gd name="connsiteX635" fmla="*/ 76105 w 860393"/>
                <a:gd name="connsiteY635" fmla="*/ 1137856 h 1348549"/>
                <a:gd name="connsiteX636" fmla="*/ 80963 w 860393"/>
                <a:gd name="connsiteY636" fmla="*/ 1138809 h 1348549"/>
                <a:gd name="connsiteX637" fmla="*/ 82963 w 860393"/>
                <a:gd name="connsiteY637" fmla="*/ 1141762 h 1348549"/>
                <a:gd name="connsiteX638" fmla="*/ 89249 w 860393"/>
                <a:gd name="connsiteY638" fmla="*/ 1141000 h 1348549"/>
                <a:gd name="connsiteX639" fmla="*/ 91059 w 860393"/>
                <a:gd name="connsiteY639" fmla="*/ 1142333 h 1348549"/>
                <a:gd name="connsiteX640" fmla="*/ 88963 w 860393"/>
                <a:gd name="connsiteY640" fmla="*/ 1150620 h 1348549"/>
                <a:gd name="connsiteX641" fmla="*/ 92107 w 860393"/>
                <a:gd name="connsiteY641" fmla="*/ 1150239 h 1348549"/>
                <a:gd name="connsiteX642" fmla="*/ 94297 w 860393"/>
                <a:gd name="connsiteY642" fmla="*/ 1154811 h 1348549"/>
                <a:gd name="connsiteX643" fmla="*/ 92869 w 860393"/>
                <a:gd name="connsiteY643" fmla="*/ 1156526 h 1348549"/>
                <a:gd name="connsiteX644" fmla="*/ 97822 w 860393"/>
                <a:gd name="connsiteY644" fmla="*/ 1157573 h 1348549"/>
                <a:gd name="connsiteX645" fmla="*/ 98203 w 860393"/>
                <a:gd name="connsiteY645" fmla="*/ 1160717 h 1348549"/>
                <a:gd name="connsiteX646" fmla="*/ 97250 w 860393"/>
                <a:gd name="connsiteY646" fmla="*/ 1165669 h 1348549"/>
                <a:gd name="connsiteX647" fmla="*/ 95440 w 860393"/>
                <a:gd name="connsiteY647" fmla="*/ 1164241 h 1348549"/>
                <a:gd name="connsiteX648" fmla="*/ 94107 w 860393"/>
                <a:gd name="connsiteY648" fmla="*/ 1166051 h 1348549"/>
                <a:gd name="connsiteX649" fmla="*/ 87821 w 860393"/>
                <a:gd name="connsiteY649" fmla="*/ 1166813 h 1348549"/>
                <a:gd name="connsiteX650" fmla="*/ 86392 w 860393"/>
                <a:gd name="connsiteY650" fmla="*/ 1168622 h 1348549"/>
                <a:gd name="connsiteX651" fmla="*/ 79915 w 860393"/>
                <a:gd name="connsiteY651" fmla="*/ 1167860 h 1348549"/>
                <a:gd name="connsiteX652" fmla="*/ 77343 w 860393"/>
                <a:gd name="connsiteY652" fmla="*/ 1173004 h 1348549"/>
                <a:gd name="connsiteX653" fmla="*/ 77724 w 860393"/>
                <a:gd name="connsiteY653" fmla="*/ 1176147 h 1348549"/>
                <a:gd name="connsiteX654" fmla="*/ 75343 w 860393"/>
                <a:gd name="connsiteY654" fmla="*/ 1182814 h 1348549"/>
                <a:gd name="connsiteX655" fmla="*/ 76200 w 860393"/>
                <a:gd name="connsiteY655" fmla="*/ 1189196 h 1348549"/>
                <a:gd name="connsiteX656" fmla="*/ 79534 w 860393"/>
                <a:gd name="connsiteY656" fmla="*/ 1190339 h 1348549"/>
                <a:gd name="connsiteX657" fmla="*/ 80677 w 860393"/>
                <a:gd name="connsiteY657" fmla="*/ 1187006 h 1348549"/>
                <a:gd name="connsiteX658" fmla="*/ 85630 w 860393"/>
                <a:gd name="connsiteY658" fmla="*/ 1187958 h 1348549"/>
                <a:gd name="connsiteX659" fmla="*/ 83344 w 860393"/>
                <a:gd name="connsiteY659" fmla="*/ 1194721 h 1348549"/>
                <a:gd name="connsiteX660" fmla="*/ 100489 w 860393"/>
                <a:gd name="connsiteY660" fmla="*/ 1203674 h 1348549"/>
                <a:gd name="connsiteX661" fmla="*/ 108013 w 860393"/>
                <a:gd name="connsiteY661" fmla="*/ 1212342 h 1348549"/>
                <a:gd name="connsiteX662" fmla="*/ 118110 w 860393"/>
                <a:gd name="connsiteY662" fmla="*/ 1215866 h 1348549"/>
                <a:gd name="connsiteX663" fmla="*/ 122015 w 860393"/>
                <a:gd name="connsiteY663" fmla="*/ 1221772 h 1348549"/>
                <a:gd name="connsiteX664" fmla="*/ 124968 w 860393"/>
                <a:gd name="connsiteY664" fmla="*/ 1219867 h 1348549"/>
                <a:gd name="connsiteX665" fmla="*/ 124587 w 860393"/>
                <a:gd name="connsiteY665" fmla="*/ 1216723 h 1348549"/>
                <a:gd name="connsiteX666" fmla="*/ 129730 w 860393"/>
                <a:gd name="connsiteY666" fmla="*/ 1206437 h 1348549"/>
                <a:gd name="connsiteX667" fmla="*/ 135636 w 860393"/>
                <a:gd name="connsiteY667" fmla="*/ 1202436 h 1348549"/>
                <a:gd name="connsiteX668" fmla="*/ 140303 w 860393"/>
                <a:gd name="connsiteY668" fmla="*/ 1201864 h 1348549"/>
                <a:gd name="connsiteX669" fmla="*/ 144685 w 860393"/>
                <a:gd name="connsiteY669" fmla="*/ 1198055 h 1348549"/>
                <a:gd name="connsiteX670" fmla="*/ 148019 w 860393"/>
                <a:gd name="connsiteY670" fmla="*/ 1199293 h 1348549"/>
                <a:gd name="connsiteX671" fmla="*/ 144304 w 860393"/>
                <a:gd name="connsiteY671" fmla="*/ 1194911 h 1348549"/>
                <a:gd name="connsiteX672" fmla="*/ 145066 w 860393"/>
                <a:gd name="connsiteY672" fmla="*/ 1188434 h 1348549"/>
                <a:gd name="connsiteX673" fmla="*/ 144875 w 860393"/>
                <a:gd name="connsiteY673" fmla="*/ 1186815 h 1348549"/>
                <a:gd name="connsiteX674" fmla="*/ 144208 w 860393"/>
                <a:gd name="connsiteY674" fmla="*/ 1182052 h 1348549"/>
                <a:gd name="connsiteX675" fmla="*/ 145828 w 860393"/>
                <a:gd name="connsiteY675" fmla="*/ 1181862 h 1348549"/>
                <a:gd name="connsiteX676" fmla="*/ 148971 w 860393"/>
                <a:gd name="connsiteY676" fmla="*/ 1168718 h 1348549"/>
                <a:gd name="connsiteX677" fmla="*/ 152876 w 860393"/>
                <a:gd name="connsiteY677" fmla="*/ 1174623 h 1348549"/>
                <a:gd name="connsiteX678" fmla="*/ 155829 w 860393"/>
                <a:gd name="connsiteY678" fmla="*/ 1172623 h 1348549"/>
                <a:gd name="connsiteX679" fmla="*/ 161544 w 860393"/>
                <a:gd name="connsiteY679" fmla="*/ 1167098 h 1348549"/>
                <a:gd name="connsiteX680" fmla="*/ 154210 w 860393"/>
                <a:gd name="connsiteY680" fmla="*/ 1159955 h 1348549"/>
                <a:gd name="connsiteX681" fmla="*/ 155067 w 860393"/>
                <a:gd name="connsiteY681" fmla="*/ 1153477 h 1348549"/>
                <a:gd name="connsiteX682" fmla="*/ 153257 w 860393"/>
                <a:gd name="connsiteY682" fmla="*/ 1152049 h 1348549"/>
                <a:gd name="connsiteX683" fmla="*/ 144971 w 860393"/>
                <a:gd name="connsiteY683" fmla="*/ 1149953 h 1348549"/>
                <a:gd name="connsiteX684" fmla="*/ 142970 w 860393"/>
                <a:gd name="connsiteY684" fmla="*/ 1147001 h 1348549"/>
                <a:gd name="connsiteX685" fmla="*/ 144113 w 860393"/>
                <a:gd name="connsiteY685" fmla="*/ 1143572 h 1348549"/>
                <a:gd name="connsiteX686" fmla="*/ 148685 w 860393"/>
                <a:gd name="connsiteY686" fmla="*/ 1141476 h 1348549"/>
                <a:gd name="connsiteX687" fmla="*/ 148495 w 860393"/>
                <a:gd name="connsiteY687" fmla="*/ 1139857 h 1348549"/>
                <a:gd name="connsiteX688" fmla="*/ 149638 w 860393"/>
                <a:gd name="connsiteY688" fmla="*/ 1136523 h 1348549"/>
                <a:gd name="connsiteX689" fmla="*/ 146304 w 860393"/>
                <a:gd name="connsiteY689" fmla="*/ 1135285 h 1348549"/>
                <a:gd name="connsiteX690" fmla="*/ 145923 w 860393"/>
                <a:gd name="connsiteY690" fmla="*/ 1132142 h 1348549"/>
                <a:gd name="connsiteX691" fmla="*/ 141161 w 860393"/>
                <a:gd name="connsiteY691" fmla="*/ 1132808 h 1348549"/>
                <a:gd name="connsiteX692" fmla="*/ 139827 w 860393"/>
                <a:gd name="connsiteY692" fmla="*/ 1134523 h 1348549"/>
                <a:gd name="connsiteX693" fmla="*/ 139160 w 860393"/>
                <a:gd name="connsiteY693" fmla="*/ 1129856 h 1348549"/>
                <a:gd name="connsiteX694" fmla="*/ 137636 w 860393"/>
                <a:gd name="connsiteY694" fmla="*/ 1130046 h 1348549"/>
                <a:gd name="connsiteX695" fmla="*/ 135255 w 860393"/>
                <a:gd name="connsiteY695" fmla="*/ 1123950 h 1348549"/>
                <a:gd name="connsiteX696" fmla="*/ 133445 w 860393"/>
                <a:gd name="connsiteY696" fmla="*/ 1122521 h 1348549"/>
                <a:gd name="connsiteX697" fmla="*/ 133255 w 860393"/>
                <a:gd name="connsiteY697" fmla="*/ 1120997 h 1348549"/>
                <a:gd name="connsiteX698" fmla="*/ 130302 w 860393"/>
                <a:gd name="connsiteY698" fmla="*/ 1122902 h 1348549"/>
                <a:gd name="connsiteX699" fmla="*/ 126968 w 860393"/>
                <a:gd name="connsiteY699" fmla="*/ 1121759 h 1348549"/>
                <a:gd name="connsiteX700" fmla="*/ 125349 w 860393"/>
                <a:gd name="connsiteY700" fmla="*/ 1121950 h 1348549"/>
                <a:gd name="connsiteX701" fmla="*/ 127730 w 860393"/>
                <a:gd name="connsiteY701" fmla="*/ 1115282 h 1348549"/>
                <a:gd name="connsiteX702" fmla="*/ 123920 w 860393"/>
                <a:gd name="connsiteY702" fmla="*/ 1110901 h 1348549"/>
                <a:gd name="connsiteX703" fmla="*/ 117634 w 860393"/>
                <a:gd name="connsiteY703" fmla="*/ 1111758 h 1348549"/>
                <a:gd name="connsiteX704" fmla="*/ 121920 w 860393"/>
                <a:gd name="connsiteY704" fmla="*/ 1107948 h 1348549"/>
                <a:gd name="connsiteX705" fmla="*/ 127063 w 860393"/>
                <a:gd name="connsiteY705" fmla="*/ 1110520 h 1348549"/>
                <a:gd name="connsiteX706" fmla="*/ 130016 w 860393"/>
                <a:gd name="connsiteY706" fmla="*/ 1108519 h 1348549"/>
                <a:gd name="connsiteX707" fmla="*/ 131064 w 860393"/>
                <a:gd name="connsiteY707" fmla="*/ 1103567 h 1348549"/>
                <a:gd name="connsiteX708" fmla="*/ 134207 w 860393"/>
                <a:gd name="connsiteY708" fmla="*/ 1103185 h 1348549"/>
                <a:gd name="connsiteX709" fmla="*/ 132397 w 860393"/>
                <a:gd name="connsiteY709" fmla="*/ 1101852 h 1348549"/>
                <a:gd name="connsiteX710" fmla="*/ 130873 w 860393"/>
                <a:gd name="connsiteY710" fmla="*/ 1102043 h 1348549"/>
                <a:gd name="connsiteX711" fmla="*/ 129064 w 860393"/>
                <a:gd name="connsiteY711" fmla="*/ 1100614 h 1348549"/>
                <a:gd name="connsiteX712" fmla="*/ 132016 w 860393"/>
                <a:gd name="connsiteY712" fmla="*/ 1098709 h 1348549"/>
                <a:gd name="connsiteX713" fmla="*/ 136779 w 860393"/>
                <a:gd name="connsiteY713" fmla="*/ 1098042 h 1348549"/>
                <a:gd name="connsiteX714" fmla="*/ 151543 w 860393"/>
                <a:gd name="connsiteY714" fmla="*/ 1088136 h 1348549"/>
                <a:gd name="connsiteX715" fmla="*/ 154876 w 860393"/>
                <a:gd name="connsiteY715" fmla="*/ 1089374 h 1348549"/>
                <a:gd name="connsiteX716" fmla="*/ 157639 w 860393"/>
                <a:gd name="connsiteY716" fmla="*/ 1085755 h 1348549"/>
                <a:gd name="connsiteX717" fmla="*/ 159448 w 860393"/>
                <a:gd name="connsiteY717" fmla="*/ 1087184 h 1348549"/>
                <a:gd name="connsiteX718" fmla="*/ 170497 w 860393"/>
                <a:gd name="connsiteY718" fmla="*/ 1098614 h 1348549"/>
                <a:gd name="connsiteX719" fmla="*/ 174403 w 860393"/>
                <a:gd name="connsiteY719" fmla="*/ 1091660 h 1348549"/>
                <a:gd name="connsiteX720" fmla="*/ 177737 w 860393"/>
                <a:gd name="connsiteY720" fmla="*/ 1092803 h 1348549"/>
                <a:gd name="connsiteX721" fmla="*/ 177927 w 860393"/>
                <a:gd name="connsiteY721" fmla="*/ 1094423 h 1348549"/>
                <a:gd name="connsiteX722" fmla="*/ 181356 w 860393"/>
                <a:gd name="connsiteY722" fmla="*/ 1095565 h 1348549"/>
                <a:gd name="connsiteX723" fmla="*/ 179927 w 860393"/>
                <a:gd name="connsiteY723" fmla="*/ 1097375 h 1348549"/>
                <a:gd name="connsiteX724" fmla="*/ 181928 w 860393"/>
                <a:gd name="connsiteY724" fmla="*/ 1100328 h 1348549"/>
                <a:gd name="connsiteX725" fmla="*/ 188881 w 860393"/>
                <a:gd name="connsiteY725" fmla="*/ 1104233 h 1348549"/>
                <a:gd name="connsiteX726" fmla="*/ 190024 w 860393"/>
                <a:gd name="connsiteY726" fmla="*/ 1113758 h 1348549"/>
                <a:gd name="connsiteX727" fmla="*/ 183737 w 860393"/>
                <a:gd name="connsiteY727" fmla="*/ 1114520 h 1348549"/>
                <a:gd name="connsiteX728" fmla="*/ 185738 w 860393"/>
                <a:gd name="connsiteY728" fmla="*/ 1117473 h 1348549"/>
                <a:gd name="connsiteX729" fmla="*/ 188881 w 860393"/>
                <a:gd name="connsiteY729" fmla="*/ 1117092 h 1348549"/>
                <a:gd name="connsiteX730" fmla="*/ 189452 w 860393"/>
                <a:gd name="connsiteY730" fmla="*/ 1121759 h 1348549"/>
                <a:gd name="connsiteX731" fmla="*/ 200978 w 860393"/>
                <a:gd name="connsiteY731" fmla="*/ 1123569 h 1348549"/>
                <a:gd name="connsiteX732" fmla="*/ 202882 w 860393"/>
                <a:gd name="connsiteY732" fmla="*/ 1126522 h 1348549"/>
                <a:gd name="connsiteX733" fmla="*/ 201549 w 860393"/>
                <a:gd name="connsiteY733" fmla="*/ 1128331 h 1348549"/>
                <a:gd name="connsiteX734" fmla="*/ 196787 w 860393"/>
                <a:gd name="connsiteY734" fmla="*/ 1128903 h 1348549"/>
                <a:gd name="connsiteX735" fmla="*/ 197167 w 860393"/>
                <a:gd name="connsiteY735" fmla="*/ 1132046 h 1348549"/>
                <a:gd name="connsiteX736" fmla="*/ 198787 w 860393"/>
                <a:gd name="connsiteY736" fmla="*/ 1131856 h 1348549"/>
                <a:gd name="connsiteX737" fmla="*/ 202311 w 860393"/>
                <a:gd name="connsiteY737" fmla="*/ 1134618 h 1348549"/>
                <a:gd name="connsiteX738" fmla="*/ 205264 w 860393"/>
                <a:gd name="connsiteY738" fmla="*/ 1132618 h 1348549"/>
                <a:gd name="connsiteX739" fmla="*/ 207264 w 860393"/>
                <a:gd name="connsiteY739" fmla="*/ 1135571 h 1348549"/>
                <a:gd name="connsiteX740" fmla="*/ 209074 w 860393"/>
                <a:gd name="connsiteY740" fmla="*/ 1136999 h 1348549"/>
                <a:gd name="connsiteX741" fmla="*/ 210026 w 860393"/>
                <a:gd name="connsiteY741" fmla="*/ 1144810 h 1348549"/>
                <a:gd name="connsiteX742" fmla="*/ 208502 w 860393"/>
                <a:gd name="connsiteY742" fmla="*/ 1145096 h 1348549"/>
                <a:gd name="connsiteX743" fmla="*/ 208693 w 860393"/>
                <a:gd name="connsiteY743" fmla="*/ 1146619 h 1348549"/>
                <a:gd name="connsiteX744" fmla="*/ 213265 w 860393"/>
                <a:gd name="connsiteY744" fmla="*/ 1157288 h 1348549"/>
                <a:gd name="connsiteX745" fmla="*/ 213836 w 860393"/>
                <a:gd name="connsiteY745" fmla="*/ 1162050 h 1348549"/>
                <a:gd name="connsiteX746" fmla="*/ 213074 w 860393"/>
                <a:gd name="connsiteY746" fmla="*/ 1168527 h 1348549"/>
                <a:gd name="connsiteX747" fmla="*/ 211264 w 860393"/>
                <a:gd name="connsiteY747" fmla="*/ 1167098 h 1348549"/>
                <a:gd name="connsiteX748" fmla="*/ 210121 w 860393"/>
                <a:gd name="connsiteY748" fmla="*/ 1170527 h 1348549"/>
                <a:gd name="connsiteX749" fmla="*/ 217265 w 860393"/>
                <a:gd name="connsiteY749" fmla="*/ 1175956 h 1348549"/>
                <a:gd name="connsiteX750" fmla="*/ 222123 w 860393"/>
                <a:gd name="connsiteY750" fmla="*/ 1177004 h 1348549"/>
                <a:gd name="connsiteX751" fmla="*/ 226695 w 860393"/>
                <a:gd name="connsiteY751" fmla="*/ 1174814 h 1348549"/>
                <a:gd name="connsiteX752" fmla="*/ 227076 w 860393"/>
                <a:gd name="connsiteY752" fmla="*/ 1177957 h 1348549"/>
                <a:gd name="connsiteX753" fmla="*/ 231838 w 860393"/>
                <a:gd name="connsiteY753" fmla="*/ 1177385 h 1348549"/>
                <a:gd name="connsiteX754" fmla="*/ 232220 w 860393"/>
                <a:gd name="connsiteY754" fmla="*/ 1180529 h 1348549"/>
                <a:gd name="connsiteX755" fmla="*/ 229838 w 860393"/>
                <a:gd name="connsiteY755" fmla="*/ 1187196 h 1348549"/>
                <a:gd name="connsiteX756" fmla="*/ 231457 w 860393"/>
                <a:gd name="connsiteY756" fmla="*/ 1187006 h 1348549"/>
                <a:gd name="connsiteX757" fmla="*/ 232029 w 860393"/>
                <a:gd name="connsiteY757" fmla="*/ 1191768 h 1348549"/>
                <a:gd name="connsiteX758" fmla="*/ 228695 w 860393"/>
                <a:gd name="connsiteY758" fmla="*/ 1190530 h 1348549"/>
                <a:gd name="connsiteX759" fmla="*/ 229362 w 860393"/>
                <a:gd name="connsiteY759" fmla="*/ 1195292 h 1348549"/>
                <a:gd name="connsiteX760" fmla="*/ 238792 w 860393"/>
                <a:gd name="connsiteY760" fmla="*/ 1194149 h 1348549"/>
                <a:gd name="connsiteX761" fmla="*/ 236220 w 860393"/>
                <a:gd name="connsiteY761" fmla="*/ 1199293 h 1348549"/>
                <a:gd name="connsiteX762" fmla="*/ 237839 w 860393"/>
                <a:gd name="connsiteY762" fmla="*/ 1199007 h 1348549"/>
                <a:gd name="connsiteX763" fmla="*/ 240221 w 860393"/>
                <a:gd name="connsiteY763" fmla="*/ 1205198 h 1348549"/>
                <a:gd name="connsiteX764" fmla="*/ 243364 w 860393"/>
                <a:gd name="connsiteY764" fmla="*/ 1204722 h 1348549"/>
                <a:gd name="connsiteX765" fmla="*/ 242221 w 860393"/>
                <a:gd name="connsiteY765" fmla="*/ 1208151 h 1348549"/>
                <a:gd name="connsiteX766" fmla="*/ 242792 w 860393"/>
                <a:gd name="connsiteY766" fmla="*/ 1212818 h 1348549"/>
                <a:gd name="connsiteX767" fmla="*/ 245936 w 860393"/>
                <a:gd name="connsiteY767" fmla="*/ 1212437 h 1348549"/>
                <a:gd name="connsiteX768" fmla="*/ 245745 w 860393"/>
                <a:gd name="connsiteY768" fmla="*/ 1210913 h 1348549"/>
                <a:gd name="connsiteX769" fmla="*/ 247269 w 860393"/>
                <a:gd name="connsiteY769" fmla="*/ 1210627 h 1348549"/>
                <a:gd name="connsiteX770" fmla="*/ 252222 w 860393"/>
                <a:gd name="connsiteY770" fmla="*/ 1211675 h 1348549"/>
                <a:gd name="connsiteX771" fmla="*/ 252031 w 860393"/>
                <a:gd name="connsiteY771" fmla="*/ 1210056 h 1348549"/>
                <a:gd name="connsiteX772" fmla="*/ 252031 w 860393"/>
                <a:gd name="connsiteY772" fmla="*/ 1210056 h 1348549"/>
                <a:gd name="connsiteX773" fmla="*/ 254794 w 860393"/>
                <a:gd name="connsiteY773" fmla="*/ 1206532 h 1348549"/>
                <a:gd name="connsiteX774" fmla="*/ 253460 w 860393"/>
                <a:gd name="connsiteY774" fmla="*/ 1208246 h 1348549"/>
                <a:gd name="connsiteX775" fmla="*/ 252984 w 860393"/>
                <a:gd name="connsiteY775" fmla="*/ 1205103 h 1348549"/>
                <a:gd name="connsiteX776" fmla="*/ 251460 w 860393"/>
                <a:gd name="connsiteY776" fmla="*/ 1205293 h 1348549"/>
                <a:gd name="connsiteX777" fmla="*/ 252413 w 860393"/>
                <a:gd name="connsiteY777" fmla="*/ 1200436 h 1348549"/>
                <a:gd name="connsiteX778" fmla="*/ 249079 w 860393"/>
                <a:gd name="connsiteY778" fmla="*/ 1199198 h 1348549"/>
                <a:gd name="connsiteX779" fmla="*/ 253841 w 860393"/>
                <a:gd name="connsiteY779" fmla="*/ 1198626 h 1348549"/>
                <a:gd name="connsiteX780" fmla="*/ 253365 w 860393"/>
                <a:gd name="connsiteY780" fmla="*/ 1195483 h 1348549"/>
                <a:gd name="connsiteX781" fmla="*/ 256127 w 860393"/>
                <a:gd name="connsiteY781" fmla="*/ 1191863 h 1348549"/>
                <a:gd name="connsiteX782" fmla="*/ 253937 w 860393"/>
                <a:gd name="connsiteY782" fmla="*/ 1187387 h 1348549"/>
                <a:gd name="connsiteX783" fmla="*/ 255556 w 860393"/>
                <a:gd name="connsiteY783" fmla="*/ 1187196 h 1348549"/>
                <a:gd name="connsiteX784" fmla="*/ 257746 w 860393"/>
                <a:gd name="connsiteY784" fmla="*/ 1191673 h 1348549"/>
                <a:gd name="connsiteX785" fmla="*/ 260128 w 860393"/>
                <a:gd name="connsiteY785" fmla="*/ 1197769 h 1348549"/>
                <a:gd name="connsiteX786" fmla="*/ 263842 w 860393"/>
                <a:gd name="connsiteY786" fmla="*/ 1202150 h 1348549"/>
                <a:gd name="connsiteX787" fmla="*/ 264700 w 860393"/>
                <a:gd name="connsiteY787" fmla="*/ 1208437 h 1348549"/>
                <a:gd name="connsiteX788" fmla="*/ 260509 w 860393"/>
                <a:gd name="connsiteY788" fmla="*/ 1213771 h 1348549"/>
                <a:gd name="connsiteX789" fmla="*/ 259556 w 860393"/>
                <a:gd name="connsiteY789" fmla="*/ 1218724 h 1348549"/>
                <a:gd name="connsiteX790" fmla="*/ 261556 w 860393"/>
                <a:gd name="connsiteY790" fmla="*/ 1221677 h 1348549"/>
                <a:gd name="connsiteX791" fmla="*/ 258794 w 860393"/>
                <a:gd name="connsiteY791" fmla="*/ 1225201 h 1348549"/>
                <a:gd name="connsiteX792" fmla="*/ 253460 w 860393"/>
                <a:gd name="connsiteY792" fmla="*/ 1233964 h 1348549"/>
                <a:gd name="connsiteX793" fmla="*/ 255461 w 860393"/>
                <a:gd name="connsiteY793" fmla="*/ 1236917 h 1348549"/>
                <a:gd name="connsiteX794" fmla="*/ 255461 w 860393"/>
                <a:gd name="connsiteY794" fmla="*/ 1236917 h 1348549"/>
                <a:gd name="connsiteX795" fmla="*/ 257270 w 860393"/>
                <a:gd name="connsiteY795" fmla="*/ 1238250 h 1348549"/>
                <a:gd name="connsiteX796" fmla="*/ 256222 w 860393"/>
                <a:gd name="connsiteY796" fmla="*/ 1243203 h 1348549"/>
                <a:gd name="connsiteX797" fmla="*/ 251746 w 860393"/>
                <a:gd name="connsiteY797" fmla="*/ 1245394 h 1348549"/>
                <a:gd name="connsiteX798" fmla="*/ 255651 w 860393"/>
                <a:gd name="connsiteY798" fmla="*/ 1251299 h 1348549"/>
                <a:gd name="connsiteX799" fmla="*/ 257080 w 860393"/>
                <a:gd name="connsiteY799" fmla="*/ 1249489 h 1348549"/>
                <a:gd name="connsiteX800" fmla="*/ 267176 w 860393"/>
                <a:gd name="connsiteY800" fmla="*/ 1253014 h 1348549"/>
                <a:gd name="connsiteX801" fmla="*/ 265747 w 860393"/>
                <a:gd name="connsiteY801" fmla="*/ 1254823 h 1348549"/>
                <a:gd name="connsiteX802" fmla="*/ 267748 w 860393"/>
                <a:gd name="connsiteY802" fmla="*/ 1257776 h 1348549"/>
                <a:gd name="connsiteX803" fmla="*/ 274511 w 860393"/>
                <a:gd name="connsiteY803" fmla="*/ 1260158 h 1348549"/>
                <a:gd name="connsiteX804" fmla="*/ 274701 w 860393"/>
                <a:gd name="connsiteY804" fmla="*/ 1261681 h 1348549"/>
                <a:gd name="connsiteX805" fmla="*/ 276225 w 860393"/>
                <a:gd name="connsiteY805" fmla="*/ 1261491 h 1348549"/>
                <a:gd name="connsiteX806" fmla="*/ 279368 w 860393"/>
                <a:gd name="connsiteY806" fmla="*/ 1261110 h 1348549"/>
                <a:gd name="connsiteX807" fmla="*/ 288131 w 860393"/>
                <a:gd name="connsiteY807" fmla="*/ 1266444 h 1348549"/>
                <a:gd name="connsiteX808" fmla="*/ 289465 w 860393"/>
                <a:gd name="connsiteY808" fmla="*/ 1264634 h 1348549"/>
                <a:gd name="connsiteX809" fmla="*/ 292608 w 860393"/>
                <a:gd name="connsiteY809" fmla="*/ 1264253 h 1348549"/>
                <a:gd name="connsiteX810" fmla="*/ 301085 w 860393"/>
                <a:gd name="connsiteY810" fmla="*/ 1267968 h 1348549"/>
                <a:gd name="connsiteX811" fmla="*/ 306038 w 860393"/>
                <a:gd name="connsiteY811" fmla="*/ 1268921 h 1348549"/>
                <a:gd name="connsiteX812" fmla="*/ 304705 w 860393"/>
                <a:gd name="connsiteY812" fmla="*/ 1270730 h 1348549"/>
                <a:gd name="connsiteX813" fmla="*/ 308420 w 860393"/>
                <a:gd name="connsiteY813" fmla="*/ 1275017 h 1348549"/>
                <a:gd name="connsiteX814" fmla="*/ 314420 w 860393"/>
                <a:gd name="connsiteY814" fmla="*/ 1283875 h 1348549"/>
                <a:gd name="connsiteX815" fmla="*/ 322040 w 860393"/>
                <a:gd name="connsiteY815" fmla="*/ 1281303 h 1348549"/>
                <a:gd name="connsiteX816" fmla="*/ 322897 w 860393"/>
                <a:gd name="connsiteY816" fmla="*/ 1287589 h 1348549"/>
                <a:gd name="connsiteX817" fmla="*/ 321659 w 860393"/>
                <a:gd name="connsiteY817" fmla="*/ 1291018 h 1348549"/>
                <a:gd name="connsiteX818" fmla="*/ 321850 w 860393"/>
                <a:gd name="connsiteY818" fmla="*/ 1292543 h 1348549"/>
                <a:gd name="connsiteX819" fmla="*/ 318897 w 860393"/>
                <a:gd name="connsiteY819" fmla="*/ 1294543 h 1348549"/>
                <a:gd name="connsiteX820" fmla="*/ 322897 w 860393"/>
                <a:gd name="connsiteY820" fmla="*/ 1300448 h 1348549"/>
                <a:gd name="connsiteX821" fmla="*/ 325469 w 860393"/>
                <a:gd name="connsiteY821" fmla="*/ 1308164 h 1348549"/>
                <a:gd name="connsiteX822" fmla="*/ 326326 w 860393"/>
                <a:gd name="connsiteY822" fmla="*/ 1314450 h 1348549"/>
                <a:gd name="connsiteX823" fmla="*/ 328517 w 860393"/>
                <a:gd name="connsiteY823" fmla="*/ 1319022 h 1348549"/>
                <a:gd name="connsiteX824" fmla="*/ 329851 w 860393"/>
                <a:gd name="connsiteY824" fmla="*/ 1317212 h 1348549"/>
                <a:gd name="connsiteX825" fmla="*/ 331661 w 860393"/>
                <a:gd name="connsiteY825" fmla="*/ 1318641 h 1348549"/>
                <a:gd name="connsiteX826" fmla="*/ 332232 w 860393"/>
                <a:gd name="connsiteY826" fmla="*/ 1323308 h 1348549"/>
                <a:gd name="connsiteX827" fmla="*/ 334994 w 860393"/>
                <a:gd name="connsiteY827" fmla="*/ 1332643 h 1348549"/>
                <a:gd name="connsiteX828" fmla="*/ 336804 w 860393"/>
                <a:gd name="connsiteY828" fmla="*/ 1333976 h 1348549"/>
                <a:gd name="connsiteX829" fmla="*/ 335661 w 860393"/>
                <a:gd name="connsiteY829" fmla="*/ 1337310 h 1348549"/>
                <a:gd name="connsiteX830" fmla="*/ 338614 w 860393"/>
                <a:gd name="connsiteY830" fmla="*/ 1335310 h 1348549"/>
                <a:gd name="connsiteX831" fmla="*/ 338804 w 860393"/>
                <a:gd name="connsiteY831" fmla="*/ 1336929 h 1348549"/>
                <a:gd name="connsiteX832" fmla="*/ 339185 w 860393"/>
                <a:gd name="connsiteY832" fmla="*/ 1340072 h 1348549"/>
                <a:gd name="connsiteX833" fmla="*/ 337566 w 860393"/>
                <a:gd name="connsiteY833" fmla="*/ 1340263 h 1348549"/>
                <a:gd name="connsiteX834" fmla="*/ 340995 w 860393"/>
                <a:gd name="connsiteY834" fmla="*/ 1341501 h 1348549"/>
                <a:gd name="connsiteX835" fmla="*/ 342900 w 860393"/>
                <a:gd name="connsiteY835" fmla="*/ 1344454 h 1348549"/>
                <a:gd name="connsiteX836" fmla="*/ 346329 w 860393"/>
                <a:gd name="connsiteY836" fmla="*/ 1345597 h 1348549"/>
                <a:gd name="connsiteX837" fmla="*/ 348234 w 860393"/>
                <a:gd name="connsiteY837" fmla="*/ 1348550 h 1348549"/>
                <a:gd name="connsiteX838" fmla="*/ 348044 w 860393"/>
                <a:gd name="connsiteY838" fmla="*/ 1346930 h 1348549"/>
                <a:gd name="connsiteX839" fmla="*/ 349663 w 860393"/>
                <a:gd name="connsiteY839" fmla="*/ 1346740 h 1348549"/>
                <a:gd name="connsiteX840" fmla="*/ 349853 w 860393"/>
                <a:gd name="connsiteY840" fmla="*/ 1348359 h 1348549"/>
                <a:gd name="connsiteX841" fmla="*/ 352425 w 860393"/>
                <a:gd name="connsiteY841" fmla="*/ 1343215 h 1348549"/>
                <a:gd name="connsiteX842" fmla="*/ 352996 w 860393"/>
                <a:gd name="connsiteY842" fmla="*/ 1335119 h 1348549"/>
                <a:gd name="connsiteX843" fmla="*/ 351377 w 860393"/>
                <a:gd name="connsiteY843" fmla="*/ 1335310 h 1348549"/>
                <a:gd name="connsiteX844" fmla="*/ 350615 w 860393"/>
                <a:gd name="connsiteY844" fmla="*/ 1329023 h 1348549"/>
                <a:gd name="connsiteX845" fmla="*/ 354901 w 860393"/>
                <a:gd name="connsiteY845" fmla="*/ 1325213 h 1348549"/>
                <a:gd name="connsiteX846" fmla="*/ 359664 w 860393"/>
                <a:gd name="connsiteY846" fmla="*/ 1324642 h 1348549"/>
                <a:gd name="connsiteX847" fmla="*/ 364236 w 860393"/>
                <a:gd name="connsiteY847" fmla="*/ 1322451 h 1348549"/>
                <a:gd name="connsiteX848" fmla="*/ 358616 w 860393"/>
                <a:gd name="connsiteY848" fmla="*/ 1316736 h 1348549"/>
                <a:gd name="connsiteX849" fmla="*/ 361569 w 860393"/>
                <a:gd name="connsiteY849" fmla="*/ 1314736 h 1348549"/>
                <a:gd name="connsiteX850" fmla="*/ 364807 w 860393"/>
                <a:gd name="connsiteY850" fmla="*/ 1314355 h 1348549"/>
                <a:gd name="connsiteX851" fmla="*/ 367189 w 860393"/>
                <a:gd name="connsiteY851" fmla="*/ 1320451 h 1348549"/>
                <a:gd name="connsiteX852" fmla="*/ 374047 w 860393"/>
                <a:gd name="connsiteY852" fmla="*/ 1324451 h 1348549"/>
                <a:gd name="connsiteX853" fmla="*/ 375475 w 860393"/>
                <a:gd name="connsiteY853" fmla="*/ 1322642 h 1348549"/>
                <a:gd name="connsiteX854" fmla="*/ 376428 w 860393"/>
                <a:gd name="connsiteY854" fmla="*/ 1317689 h 1348549"/>
                <a:gd name="connsiteX855" fmla="*/ 381190 w 860393"/>
                <a:gd name="connsiteY855" fmla="*/ 1317117 h 1348549"/>
                <a:gd name="connsiteX856" fmla="*/ 385667 w 860393"/>
                <a:gd name="connsiteY856" fmla="*/ 1314926 h 1348549"/>
                <a:gd name="connsiteX857" fmla="*/ 387096 w 860393"/>
                <a:gd name="connsiteY857" fmla="*/ 1313117 h 1348549"/>
                <a:gd name="connsiteX858" fmla="*/ 395573 w 860393"/>
                <a:gd name="connsiteY858" fmla="*/ 1316831 h 1348549"/>
                <a:gd name="connsiteX859" fmla="*/ 398526 w 860393"/>
                <a:gd name="connsiteY859" fmla="*/ 1314926 h 1348549"/>
                <a:gd name="connsiteX860" fmla="*/ 403003 w 860393"/>
                <a:gd name="connsiteY860" fmla="*/ 1312735 h 1348549"/>
                <a:gd name="connsiteX861" fmla="*/ 404050 w 860393"/>
                <a:gd name="connsiteY861" fmla="*/ 1307783 h 1348549"/>
                <a:gd name="connsiteX862" fmla="*/ 406241 w 860393"/>
                <a:gd name="connsiteY862" fmla="*/ 1312259 h 1348549"/>
                <a:gd name="connsiteX863" fmla="*/ 407575 w 860393"/>
                <a:gd name="connsiteY863" fmla="*/ 1310545 h 1348549"/>
                <a:gd name="connsiteX864" fmla="*/ 416433 w 860393"/>
                <a:gd name="connsiteY864" fmla="*/ 1317403 h 1348549"/>
                <a:gd name="connsiteX865" fmla="*/ 417671 w 860393"/>
                <a:gd name="connsiteY865" fmla="*/ 1314069 h 1348549"/>
                <a:gd name="connsiteX866" fmla="*/ 421005 w 860393"/>
                <a:gd name="connsiteY866" fmla="*/ 1315212 h 1348549"/>
                <a:gd name="connsiteX867" fmla="*/ 429863 w 860393"/>
                <a:gd name="connsiteY867" fmla="*/ 1309306 h 1348549"/>
                <a:gd name="connsiteX868" fmla="*/ 431292 w 860393"/>
                <a:gd name="connsiteY868" fmla="*/ 1307497 h 1348549"/>
                <a:gd name="connsiteX869" fmla="*/ 429482 w 860393"/>
                <a:gd name="connsiteY869" fmla="*/ 1306163 h 1348549"/>
                <a:gd name="connsiteX870" fmla="*/ 430625 w 860393"/>
                <a:gd name="connsiteY870" fmla="*/ 1302734 h 1348549"/>
                <a:gd name="connsiteX871" fmla="*/ 435007 w 860393"/>
                <a:gd name="connsiteY871" fmla="*/ 1299019 h 1348549"/>
                <a:gd name="connsiteX872" fmla="*/ 436150 w 860393"/>
                <a:gd name="connsiteY872" fmla="*/ 1295686 h 1348549"/>
                <a:gd name="connsiteX873" fmla="*/ 439293 w 860393"/>
                <a:gd name="connsiteY873" fmla="*/ 1295210 h 1348549"/>
                <a:gd name="connsiteX874" fmla="*/ 437293 w 860393"/>
                <a:gd name="connsiteY874" fmla="*/ 1292257 h 1348549"/>
                <a:gd name="connsiteX875" fmla="*/ 440531 w 860393"/>
                <a:gd name="connsiteY875" fmla="*/ 1291876 h 1348549"/>
                <a:gd name="connsiteX876" fmla="*/ 441674 w 860393"/>
                <a:gd name="connsiteY876" fmla="*/ 1288542 h 1348549"/>
                <a:gd name="connsiteX877" fmla="*/ 443198 w 860393"/>
                <a:gd name="connsiteY877" fmla="*/ 1288352 h 1348549"/>
                <a:gd name="connsiteX878" fmla="*/ 445961 w 860393"/>
                <a:gd name="connsiteY878" fmla="*/ 1271968 h 1348549"/>
                <a:gd name="connsiteX879" fmla="*/ 447961 w 860393"/>
                <a:gd name="connsiteY879" fmla="*/ 1274921 h 1348549"/>
                <a:gd name="connsiteX880" fmla="*/ 454057 w 860393"/>
                <a:gd name="connsiteY880" fmla="*/ 1272540 h 1348549"/>
                <a:gd name="connsiteX881" fmla="*/ 453676 w 860393"/>
                <a:gd name="connsiteY881" fmla="*/ 1269397 h 1348549"/>
                <a:gd name="connsiteX882" fmla="*/ 458629 w 860393"/>
                <a:gd name="connsiteY882" fmla="*/ 1270349 h 1348549"/>
                <a:gd name="connsiteX883" fmla="*/ 462344 w 860393"/>
                <a:gd name="connsiteY883" fmla="*/ 1261872 h 1348549"/>
                <a:gd name="connsiteX884" fmla="*/ 465487 w 860393"/>
                <a:gd name="connsiteY884" fmla="*/ 1261491 h 1348549"/>
                <a:gd name="connsiteX885" fmla="*/ 467011 w 860393"/>
                <a:gd name="connsiteY885" fmla="*/ 1261205 h 1348549"/>
                <a:gd name="connsiteX886" fmla="*/ 473392 w 860393"/>
                <a:gd name="connsiteY886" fmla="*/ 1260443 h 1348549"/>
                <a:gd name="connsiteX887" fmla="*/ 470821 w 860393"/>
                <a:gd name="connsiteY887" fmla="*/ 1252728 h 1348549"/>
                <a:gd name="connsiteX888" fmla="*/ 472345 w 860393"/>
                <a:gd name="connsiteY888" fmla="*/ 1252538 h 1348549"/>
                <a:gd name="connsiteX889" fmla="*/ 469773 w 860393"/>
                <a:gd name="connsiteY889" fmla="*/ 1244822 h 1348549"/>
                <a:gd name="connsiteX890" fmla="*/ 469582 w 860393"/>
                <a:gd name="connsiteY890" fmla="*/ 1243298 h 1348549"/>
                <a:gd name="connsiteX891" fmla="*/ 462820 w 860393"/>
                <a:gd name="connsiteY891" fmla="*/ 1240917 h 1348549"/>
                <a:gd name="connsiteX892" fmla="*/ 463867 w 860393"/>
                <a:gd name="connsiteY892" fmla="*/ 1235964 h 1348549"/>
                <a:gd name="connsiteX893" fmla="*/ 459867 w 860393"/>
                <a:gd name="connsiteY893" fmla="*/ 1230059 h 1348549"/>
                <a:gd name="connsiteX894" fmla="*/ 457295 w 860393"/>
                <a:gd name="connsiteY894" fmla="*/ 1222439 h 1348549"/>
                <a:gd name="connsiteX895" fmla="*/ 456724 w 860393"/>
                <a:gd name="connsiteY895" fmla="*/ 1217676 h 1348549"/>
                <a:gd name="connsiteX896" fmla="*/ 456057 w 860393"/>
                <a:gd name="connsiteY896" fmla="*/ 1212914 h 1348549"/>
                <a:gd name="connsiteX897" fmla="*/ 457867 w 860393"/>
                <a:gd name="connsiteY897" fmla="*/ 1214342 h 1348549"/>
                <a:gd name="connsiteX898" fmla="*/ 456819 w 860393"/>
                <a:gd name="connsiteY898" fmla="*/ 1206437 h 1348549"/>
                <a:gd name="connsiteX899" fmla="*/ 461581 w 860393"/>
                <a:gd name="connsiteY899" fmla="*/ 1205770 h 1348549"/>
                <a:gd name="connsiteX900" fmla="*/ 462724 w 860393"/>
                <a:gd name="connsiteY900" fmla="*/ 1202436 h 1348549"/>
                <a:gd name="connsiteX901" fmla="*/ 462534 w 860393"/>
                <a:gd name="connsiteY901" fmla="*/ 1200912 h 1348549"/>
                <a:gd name="connsiteX902" fmla="*/ 465296 w 860393"/>
                <a:gd name="connsiteY902" fmla="*/ 1197293 h 1348549"/>
                <a:gd name="connsiteX903" fmla="*/ 467106 w 860393"/>
                <a:gd name="connsiteY903" fmla="*/ 1198721 h 1348549"/>
                <a:gd name="connsiteX904" fmla="*/ 468249 w 860393"/>
                <a:gd name="connsiteY904" fmla="*/ 1195292 h 1348549"/>
                <a:gd name="connsiteX905" fmla="*/ 466725 w 860393"/>
                <a:gd name="connsiteY905" fmla="*/ 1195578 h 1348549"/>
                <a:gd name="connsiteX906" fmla="*/ 469678 w 860393"/>
                <a:gd name="connsiteY906" fmla="*/ 1193578 h 1348549"/>
                <a:gd name="connsiteX907" fmla="*/ 470249 w 860393"/>
                <a:gd name="connsiteY907" fmla="*/ 1185481 h 1348549"/>
                <a:gd name="connsiteX908" fmla="*/ 476536 w 860393"/>
                <a:gd name="connsiteY908" fmla="*/ 1184624 h 1348549"/>
                <a:gd name="connsiteX909" fmla="*/ 476345 w 860393"/>
                <a:gd name="connsiteY909" fmla="*/ 1183100 h 1348549"/>
                <a:gd name="connsiteX910" fmla="*/ 481108 w 860393"/>
                <a:gd name="connsiteY910" fmla="*/ 1182529 h 1348549"/>
                <a:gd name="connsiteX911" fmla="*/ 480631 w 860393"/>
                <a:gd name="connsiteY911" fmla="*/ 1179290 h 1348549"/>
                <a:gd name="connsiteX912" fmla="*/ 480631 w 860393"/>
                <a:gd name="connsiteY912" fmla="*/ 1179290 h 1348549"/>
                <a:gd name="connsiteX913" fmla="*/ 488156 w 860393"/>
                <a:gd name="connsiteY913" fmla="*/ 1187958 h 1348549"/>
                <a:gd name="connsiteX914" fmla="*/ 491299 w 860393"/>
                <a:gd name="connsiteY914" fmla="*/ 1187577 h 1348549"/>
                <a:gd name="connsiteX915" fmla="*/ 491585 w 860393"/>
                <a:gd name="connsiteY915" fmla="*/ 1189196 h 1348549"/>
                <a:gd name="connsiteX916" fmla="*/ 485870 w 860393"/>
                <a:gd name="connsiteY916" fmla="*/ 1194721 h 1348549"/>
                <a:gd name="connsiteX917" fmla="*/ 485680 w 860393"/>
                <a:gd name="connsiteY917" fmla="*/ 1205960 h 1348549"/>
                <a:gd name="connsiteX918" fmla="*/ 484918 w 860393"/>
                <a:gd name="connsiteY918" fmla="*/ 1212437 h 1348549"/>
                <a:gd name="connsiteX919" fmla="*/ 485299 w 860393"/>
                <a:gd name="connsiteY919" fmla="*/ 1215581 h 1348549"/>
                <a:gd name="connsiteX920" fmla="*/ 493205 w 860393"/>
                <a:gd name="connsiteY920" fmla="*/ 1214628 h 1348549"/>
                <a:gd name="connsiteX921" fmla="*/ 496538 w 860393"/>
                <a:gd name="connsiteY921" fmla="*/ 1215771 h 1348549"/>
                <a:gd name="connsiteX922" fmla="*/ 495300 w 860393"/>
                <a:gd name="connsiteY922" fmla="*/ 1206341 h 1348549"/>
                <a:gd name="connsiteX923" fmla="*/ 507206 w 860393"/>
                <a:gd name="connsiteY923" fmla="*/ 1211199 h 1348549"/>
                <a:gd name="connsiteX924" fmla="*/ 510159 w 860393"/>
                <a:gd name="connsiteY924" fmla="*/ 1209294 h 1348549"/>
                <a:gd name="connsiteX925" fmla="*/ 513874 w 860393"/>
                <a:gd name="connsiteY925" fmla="*/ 1213580 h 1348549"/>
                <a:gd name="connsiteX926" fmla="*/ 512921 w 860393"/>
                <a:gd name="connsiteY926" fmla="*/ 1218533 h 1348549"/>
                <a:gd name="connsiteX927" fmla="*/ 522351 w 860393"/>
                <a:gd name="connsiteY927" fmla="*/ 1217295 h 1348549"/>
                <a:gd name="connsiteX928" fmla="*/ 524542 w 860393"/>
                <a:gd name="connsiteY928" fmla="*/ 1221867 h 1348549"/>
                <a:gd name="connsiteX929" fmla="*/ 525971 w 860393"/>
                <a:gd name="connsiteY929" fmla="*/ 1220057 h 1348549"/>
                <a:gd name="connsiteX930" fmla="*/ 523780 w 860393"/>
                <a:gd name="connsiteY930" fmla="*/ 1215581 h 1348549"/>
                <a:gd name="connsiteX931" fmla="*/ 528733 w 860393"/>
                <a:gd name="connsiteY931" fmla="*/ 1216533 h 1348549"/>
                <a:gd name="connsiteX932" fmla="*/ 528542 w 860393"/>
                <a:gd name="connsiteY932" fmla="*/ 1214914 h 1348549"/>
                <a:gd name="connsiteX933" fmla="*/ 531876 w 860393"/>
                <a:gd name="connsiteY933" fmla="*/ 1216152 h 1348549"/>
                <a:gd name="connsiteX934" fmla="*/ 538163 w 860393"/>
                <a:gd name="connsiteY934" fmla="*/ 1215295 h 1348549"/>
                <a:gd name="connsiteX935" fmla="*/ 537020 w 860393"/>
                <a:gd name="connsiteY935" fmla="*/ 1218629 h 1348549"/>
                <a:gd name="connsiteX936" fmla="*/ 543497 w 860393"/>
                <a:gd name="connsiteY936" fmla="*/ 1219390 h 1348549"/>
                <a:gd name="connsiteX937" fmla="*/ 549212 w 860393"/>
                <a:gd name="connsiteY937" fmla="*/ 1226725 h 1348549"/>
                <a:gd name="connsiteX938" fmla="*/ 549212 w 860393"/>
                <a:gd name="connsiteY938" fmla="*/ 1226725 h 1348549"/>
                <a:gd name="connsiteX939" fmla="*/ 554831 w 860393"/>
                <a:gd name="connsiteY939" fmla="*/ 1232440 h 1348549"/>
                <a:gd name="connsiteX940" fmla="*/ 555974 w 860393"/>
                <a:gd name="connsiteY940" fmla="*/ 1241869 h 1348549"/>
                <a:gd name="connsiteX941" fmla="*/ 556165 w 860393"/>
                <a:gd name="connsiteY941" fmla="*/ 1243489 h 1348549"/>
                <a:gd name="connsiteX942" fmla="*/ 571500 w 860393"/>
                <a:gd name="connsiteY942" fmla="*/ 1225487 h 1348549"/>
                <a:gd name="connsiteX943" fmla="*/ 576834 w 860393"/>
                <a:gd name="connsiteY943" fmla="*/ 1216819 h 1348549"/>
                <a:gd name="connsiteX944" fmla="*/ 579787 w 860393"/>
                <a:gd name="connsiteY944" fmla="*/ 1214818 h 1348549"/>
                <a:gd name="connsiteX945" fmla="*/ 581597 w 860393"/>
                <a:gd name="connsiteY945" fmla="*/ 1216152 h 1348549"/>
                <a:gd name="connsiteX946" fmla="*/ 584359 w 860393"/>
                <a:gd name="connsiteY946" fmla="*/ 1212628 h 1348549"/>
                <a:gd name="connsiteX947" fmla="*/ 584549 w 860393"/>
                <a:gd name="connsiteY947" fmla="*/ 1201388 h 1348549"/>
                <a:gd name="connsiteX948" fmla="*/ 582549 w 860393"/>
                <a:gd name="connsiteY948" fmla="*/ 1198435 h 1348549"/>
                <a:gd name="connsiteX949" fmla="*/ 579406 w 860393"/>
                <a:gd name="connsiteY949" fmla="*/ 1198817 h 1348549"/>
                <a:gd name="connsiteX950" fmla="*/ 583501 w 860393"/>
                <a:gd name="connsiteY950" fmla="*/ 1193483 h 1348549"/>
                <a:gd name="connsiteX951" fmla="*/ 576548 w 860393"/>
                <a:gd name="connsiteY951" fmla="*/ 1189577 h 1348549"/>
                <a:gd name="connsiteX952" fmla="*/ 584930 w 860393"/>
                <a:gd name="connsiteY952" fmla="*/ 1191673 h 1348549"/>
                <a:gd name="connsiteX953" fmla="*/ 584645 w 860393"/>
                <a:gd name="connsiteY953" fmla="*/ 1190149 h 1348549"/>
                <a:gd name="connsiteX954" fmla="*/ 587597 w 860393"/>
                <a:gd name="connsiteY954" fmla="*/ 1188148 h 1348549"/>
                <a:gd name="connsiteX955" fmla="*/ 589788 w 860393"/>
                <a:gd name="connsiteY955" fmla="*/ 1192721 h 1348549"/>
                <a:gd name="connsiteX956" fmla="*/ 589979 w 860393"/>
                <a:gd name="connsiteY956" fmla="*/ 1194244 h 1348549"/>
                <a:gd name="connsiteX957" fmla="*/ 593407 w 860393"/>
                <a:gd name="connsiteY957" fmla="*/ 1195388 h 1348549"/>
                <a:gd name="connsiteX958" fmla="*/ 597313 w 860393"/>
                <a:gd name="connsiteY958" fmla="*/ 1188530 h 1348549"/>
                <a:gd name="connsiteX959" fmla="*/ 600456 w 860393"/>
                <a:gd name="connsiteY959" fmla="*/ 1188148 h 1348549"/>
                <a:gd name="connsiteX960" fmla="*/ 604838 w 860393"/>
                <a:gd name="connsiteY960" fmla="*/ 1184339 h 1348549"/>
                <a:gd name="connsiteX961" fmla="*/ 606742 w 860393"/>
                <a:gd name="connsiteY961" fmla="*/ 1187291 h 1348549"/>
                <a:gd name="connsiteX962" fmla="*/ 620554 w 860393"/>
                <a:gd name="connsiteY962" fmla="*/ 1182338 h 1348549"/>
                <a:gd name="connsiteX963" fmla="*/ 622363 w 860393"/>
                <a:gd name="connsiteY963" fmla="*/ 1183767 h 1348549"/>
                <a:gd name="connsiteX964" fmla="*/ 627126 w 860393"/>
                <a:gd name="connsiteY964" fmla="*/ 1183100 h 1348549"/>
                <a:gd name="connsiteX965" fmla="*/ 630079 w 860393"/>
                <a:gd name="connsiteY965" fmla="*/ 1181100 h 1348549"/>
                <a:gd name="connsiteX966" fmla="*/ 633413 w 860393"/>
                <a:gd name="connsiteY966" fmla="*/ 1182338 h 1348549"/>
                <a:gd name="connsiteX967" fmla="*/ 638747 w 860393"/>
                <a:gd name="connsiteY967" fmla="*/ 1186434 h 1348549"/>
                <a:gd name="connsiteX968" fmla="*/ 639128 w 860393"/>
                <a:gd name="connsiteY968" fmla="*/ 1189577 h 1348549"/>
                <a:gd name="connsiteX969" fmla="*/ 637984 w 860393"/>
                <a:gd name="connsiteY969" fmla="*/ 1193006 h 1348549"/>
                <a:gd name="connsiteX970" fmla="*/ 642271 w 860393"/>
                <a:gd name="connsiteY970" fmla="*/ 1189196 h 1348549"/>
                <a:gd name="connsiteX971" fmla="*/ 644080 w 860393"/>
                <a:gd name="connsiteY971" fmla="*/ 1190530 h 1348549"/>
                <a:gd name="connsiteX972" fmla="*/ 644271 w 860393"/>
                <a:gd name="connsiteY972" fmla="*/ 1192149 h 1348549"/>
                <a:gd name="connsiteX973" fmla="*/ 645890 w 860393"/>
                <a:gd name="connsiteY973" fmla="*/ 1191959 h 1348549"/>
                <a:gd name="connsiteX974" fmla="*/ 650748 w 860393"/>
                <a:gd name="connsiteY974" fmla="*/ 1192911 h 1348549"/>
                <a:gd name="connsiteX975" fmla="*/ 651986 w 860393"/>
                <a:gd name="connsiteY975" fmla="*/ 1189577 h 1348549"/>
                <a:gd name="connsiteX976" fmla="*/ 652367 w 860393"/>
                <a:gd name="connsiteY976" fmla="*/ 1192721 h 1348549"/>
                <a:gd name="connsiteX977" fmla="*/ 653796 w 860393"/>
                <a:gd name="connsiteY977" fmla="*/ 1190911 h 1348549"/>
                <a:gd name="connsiteX978" fmla="*/ 658654 w 860393"/>
                <a:gd name="connsiteY978" fmla="*/ 1191959 h 1348549"/>
                <a:gd name="connsiteX979" fmla="*/ 666179 w 860393"/>
                <a:gd name="connsiteY979" fmla="*/ 1187768 h 1348549"/>
                <a:gd name="connsiteX980" fmla="*/ 666940 w 860393"/>
                <a:gd name="connsiteY980" fmla="*/ 1181290 h 1348549"/>
                <a:gd name="connsiteX981" fmla="*/ 671703 w 860393"/>
                <a:gd name="connsiteY981" fmla="*/ 1180624 h 1348549"/>
                <a:gd name="connsiteX982" fmla="*/ 678561 w 860393"/>
                <a:gd name="connsiteY982" fmla="*/ 1171765 h 1348549"/>
                <a:gd name="connsiteX983" fmla="*/ 674561 w 860393"/>
                <a:gd name="connsiteY983" fmla="*/ 1165860 h 1348549"/>
                <a:gd name="connsiteX984" fmla="*/ 677513 w 860393"/>
                <a:gd name="connsiteY984" fmla="*/ 1163860 h 1348549"/>
                <a:gd name="connsiteX985" fmla="*/ 672179 w 860393"/>
                <a:gd name="connsiteY985" fmla="*/ 1159764 h 1348549"/>
                <a:gd name="connsiteX986" fmla="*/ 668464 w 860393"/>
                <a:gd name="connsiteY986" fmla="*/ 1155383 h 1348549"/>
                <a:gd name="connsiteX987" fmla="*/ 668274 w 860393"/>
                <a:gd name="connsiteY987" fmla="*/ 1153859 h 1348549"/>
                <a:gd name="connsiteX988" fmla="*/ 667703 w 860393"/>
                <a:gd name="connsiteY988" fmla="*/ 1149096 h 1348549"/>
                <a:gd name="connsiteX989" fmla="*/ 658749 w 860393"/>
                <a:gd name="connsiteY989" fmla="*/ 1142238 h 1348549"/>
                <a:gd name="connsiteX990" fmla="*/ 659892 w 860393"/>
                <a:gd name="connsiteY990" fmla="*/ 1138809 h 1348549"/>
                <a:gd name="connsiteX991" fmla="*/ 656368 w 860393"/>
                <a:gd name="connsiteY991" fmla="*/ 1136047 h 1348549"/>
                <a:gd name="connsiteX992" fmla="*/ 659130 w 860393"/>
                <a:gd name="connsiteY992" fmla="*/ 1132523 h 1348549"/>
                <a:gd name="connsiteX993" fmla="*/ 662845 w 860393"/>
                <a:gd name="connsiteY993" fmla="*/ 1136904 h 1348549"/>
                <a:gd name="connsiteX994" fmla="*/ 664083 w 860393"/>
                <a:gd name="connsiteY994" fmla="*/ 1133475 h 1348549"/>
                <a:gd name="connsiteX995" fmla="*/ 668846 w 860393"/>
                <a:gd name="connsiteY995" fmla="*/ 1132904 h 1348549"/>
                <a:gd name="connsiteX996" fmla="*/ 669036 w 860393"/>
                <a:gd name="connsiteY996" fmla="*/ 1134523 h 1348549"/>
                <a:gd name="connsiteX997" fmla="*/ 676465 w 860393"/>
                <a:gd name="connsiteY997" fmla="*/ 1130332 h 1348549"/>
                <a:gd name="connsiteX998" fmla="*/ 682847 w 860393"/>
                <a:gd name="connsiteY998" fmla="*/ 1142333 h 1348549"/>
                <a:gd name="connsiteX999" fmla="*/ 687800 w 860393"/>
                <a:gd name="connsiteY999" fmla="*/ 1143286 h 1348549"/>
                <a:gd name="connsiteX1000" fmla="*/ 692087 w 860393"/>
                <a:gd name="connsiteY1000" fmla="*/ 1139571 h 1348549"/>
                <a:gd name="connsiteX1001" fmla="*/ 689515 w 860393"/>
                <a:gd name="connsiteY1001" fmla="*/ 1131856 h 1348549"/>
                <a:gd name="connsiteX1002" fmla="*/ 690944 w 860393"/>
                <a:gd name="connsiteY1002" fmla="*/ 1130046 h 1348549"/>
                <a:gd name="connsiteX1003" fmla="*/ 690277 w 860393"/>
                <a:gd name="connsiteY1003" fmla="*/ 1125379 h 1348549"/>
                <a:gd name="connsiteX1004" fmla="*/ 693230 w 860393"/>
                <a:gd name="connsiteY1004" fmla="*/ 1123379 h 1348549"/>
                <a:gd name="connsiteX1005" fmla="*/ 692658 w 860393"/>
                <a:gd name="connsiteY1005" fmla="*/ 1118616 h 1348549"/>
                <a:gd name="connsiteX1006" fmla="*/ 697135 w 860393"/>
                <a:gd name="connsiteY1006" fmla="*/ 1116425 h 1348549"/>
                <a:gd name="connsiteX1007" fmla="*/ 702564 w 860393"/>
                <a:gd name="connsiteY1007" fmla="*/ 1120616 h 1348549"/>
                <a:gd name="connsiteX1008" fmla="*/ 706660 w 860393"/>
                <a:gd name="connsiteY1008" fmla="*/ 1115282 h 1348549"/>
                <a:gd name="connsiteX1009" fmla="*/ 709231 w 860393"/>
                <a:gd name="connsiteY1009" fmla="*/ 1122902 h 1348549"/>
                <a:gd name="connsiteX1010" fmla="*/ 716185 w 860393"/>
                <a:gd name="connsiteY1010" fmla="*/ 1126903 h 1348549"/>
                <a:gd name="connsiteX1011" fmla="*/ 718280 w 860393"/>
                <a:gd name="connsiteY1011" fmla="*/ 1131380 h 1348549"/>
                <a:gd name="connsiteX1012" fmla="*/ 721519 w 860393"/>
                <a:gd name="connsiteY1012" fmla="*/ 1130998 h 1348549"/>
                <a:gd name="connsiteX1013" fmla="*/ 718947 w 860393"/>
                <a:gd name="connsiteY1013" fmla="*/ 1136142 h 1348549"/>
                <a:gd name="connsiteX1014" fmla="*/ 719138 w 860393"/>
                <a:gd name="connsiteY1014" fmla="*/ 1137761 h 1348549"/>
                <a:gd name="connsiteX1015" fmla="*/ 726091 w 860393"/>
                <a:gd name="connsiteY1015" fmla="*/ 1141667 h 1348549"/>
                <a:gd name="connsiteX1016" fmla="*/ 724662 w 860393"/>
                <a:gd name="connsiteY1016" fmla="*/ 1143476 h 1348549"/>
                <a:gd name="connsiteX1017" fmla="*/ 729424 w 860393"/>
                <a:gd name="connsiteY1017" fmla="*/ 1142810 h 1348549"/>
                <a:gd name="connsiteX1018" fmla="*/ 736473 w 860393"/>
                <a:gd name="connsiteY1018" fmla="*/ 1148334 h 1348549"/>
                <a:gd name="connsiteX1019" fmla="*/ 739712 w 860393"/>
                <a:gd name="connsiteY1019" fmla="*/ 1147953 h 1348549"/>
                <a:gd name="connsiteX1020" fmla="*/ 741045 w 860393"/>
                <a:gd name="connsiteY1020" fmla="*/ 1146143 h 1348549"/>
                <a:gd name="connsiteX1021" fmla="*/ 754856 w 860393"/>
                <a:gd name="connsiteY1021" fmla="*/ 1141190 h 1348549"/>
                <a:gd name="connsiteX1022" fmla="*/ 757999 w 860393"/>
                <a:gd name="connsiteY1022" fmla="*/ 1140809 h 1348549"/>
                <a:gd name="connsiteX1023" fmla="*/ 758190 w 860393"/>
                <a:gd name="connsiteY1023" fmla="*/ 1142333 h 1348549"/>
                <a:gd name="connsiteX1024" fmla="*/ 761333 w 860393"/>
                <a:gd name="connsiteY1024" fmla="*/ 1141952 h 1348549"/>
                <a:gd name="connsiteX1025" fmla="*/ 763143 w 860393"/>
                <a:gd name="connsiteY1025" fmla="*/ 1143381 h 1348549"/>
                <a:gd name="connsiteX1026" fmla="*/ 766286 w 860393"/>
                <a:gd name="connsiteY1026" fmla="*/ 1142905 h 1348549"/>
                <a:gd name="connsiteX1027" fmla="*/ 765905 w 860393"/>
                <a:gd name="connsiteY1027" fmla="*/ 1139762 h 1348549"/>
                <a:gd name="connsiteX1028" fmla="*/ 767524 w 860393"/>
                <a:gd name="connsiteY1028" fmla="*/ 1139571 h 1348549"/>
                <a:gd name="connsiteX1029" fmla="*/ 767048 w 860393"/>
                <a:gd name="connsiteY1029" fmla="*/ 1136428 h 1348549"/>
                <a:gd name="connsiteX1030" fmla="*/ 766477 w 860393"/>
                <a:gd name="connsiteY1030" fmla="*/ 1131665 h 1348549"/>
                <a:gd name="connsiteX1031" fmla="*/ 770382 w 860393"/>
                <a:gd name="connsiteY1031" fmla="*/ 1124807 h 1348549"/>
                <a:gd name="connsiteX1032" fmla="*/ 766667 w 860393"/>
                <a:gd name="connsiteY1032" fmla="*/ 1120426 h 1348549"/>
                <a:gd name="connsiteX1033" fmla="*/ 766477 w 860393"/>
                <a:gd name="connsiteY1033" fmla="*/ 1118902 h 1348549"/>
                <a:gd name="connsiteX1034" fmla="*/ 773906 w 860393"/>
                <a:gd name="connsiteY1034" fmla="*/ 1114711 h 1348549"/>
                <a:gd name="connsiteX1035" fmla="*/ 775145 w 860393"/>
                <a:gd name="connsiteY1035" fmla="*/ 1111377 h 1348549"/>
                <a:gd name="connsiteX1036" fmla="*/ 778097 w 860393"/>
                <a:gd name="connsiteY1036" fmla="*/ 1109377 h 1348549"/>
                <a:gd name="connsiteX1037" fmla="*/ 776288 w 860393"/>
                <a:gd name="connsiteY1037" fmla="*/ 1107948 h 1348549"/>
                <a:gd name="connsiteX1038" fmla="*/ 780574 w 860393"/>
                <a:gd name="connsiteY1038" fmla="*/ 1104233 h 1348549"/>
                <a:gd name="connsiteX1039" fmla="*/ 778002 w 860393"/>
                <a:gd name="connsiteY1039" fmla="*/ 1096518 h 1348549"/>
                <a:gd name="connsiteX1040" fmla="*/ 772097 w 860393"/>
                <a:gd name="connsiteY1040" fmla="*/ 1087660 h 1348549"/>
                <a:gd name="connsiteX1041" fmla="*/ 771715 w 860393"/>
                <a:gd name="connsiteY1041" fmla="*/ 1084517 h 1348549"/>
                <a:gd name="connsiteX1042" fmla="*/ 775240 w 860393"/>
                <a:gd name="connsiteY1042" fmla="*/ 1087279 h 1348549"/>
                <a:gd name="connsiteX1043" fmla="*/ 778192 w 860393"/>
                <a:gd name="connsiteY1043" fmla="*/ 1085279 h 1348549"/>
                <a:gd name="connsiteX1044" fmla="*/ 787241 w 860393"/>
                <a:gd name="connsiteY1044" fmla="*/ 1080897 h 1348549"/>
                <a:gd name="connsiteX1045" fmla="*/ 788480 w 860393"/>
                <a:gd name="connsiteY1045" fmla="*/ 1077563 h 1348549"/>
                <a:gd name="connsiteX1046" fmla="*/ 787813 w 860393"/>
                <a:gd name="connsiteY1046" fmla="*/ 1072801 h 1348549"/>
                <a:gd name="connsiteX1047" fmla="*/ 790384 w 860393"/>
                <a:gd name="connsiteY1047" fmla="*/ 1067657 h 1348549"/>
                <a:gd name="connsiteX1048" fmla="*/ 794004 w 860393"/>
                <a:gd name="connsiteY1048" fmla="*/ 1070419 h 1348549"/>
                <a:gd name="connsiteX1049" fmla="*/ 807720 w 860393"/>
                <a:gd name="connsiteY1049" fmla="*/ 1065467 h 1348549"/>
                <a:gd name="connsiteX1050" fmla="*/ 806958 w 860393"/>
                <a:gd name="connsiteY1050" fmla="*/ 1059180 h 1348549"/>
                <a:gd name="connsiteX1051" fmla="*/ 808577 w 860393"/>
                <a:gd name="connsiteY1051" fmla="*/ 1058989 h 1348549"/>
                <a:gd name="connsiteX1052" fmla="*/ 808101 w 860393"/>
                <a:gd name="connsiteY1052" fmla="*/ 1055846 h 1348549"/>
                <a:gd name="connsiteX1053" fmla="*/ 809149 w 860393"/>
                <a:gd name="connsiteY1053" fmla="*/ 1050893 h 1348549"/>
                <a:gd name="connsiteX1054" fmla="*/ 808672 w 860393"/>
                <a:gd name="connsiteY1054" fmla="*/ 1047750 h 1348549"/>
                <a:gd name="connsiteX1055" fmla="*/ 806767 w 860393"/>
                <a:gd name="connsiteY1055" fmla="*/ 1044797 h 1348549"/>
                <a:gd name="connsiteX1056" fmla="*/ 809911 w 860393"/>
                <a:gd name="connsiteY1056" fmla="*/ 1044321 h 1348549"/>
                <a:gd name="connsiteX1057" fmla="*/ 813435 w 860393"/>
                <a:gd name="connsiteY1057" fmla="*/ 1047083 h 1348549"/>
                <a:gd name="connsiteX1058" fmla="*/ 815435 w 860393"/>
                <a:gd name="connsiteY1058" fmla="*/ 1050036 h 1348549"/>
                <a:gd name="connsiteX1059" fmla="*/ 823341 w 860393"/>
                <a:gd name="connsiteY1059" fmla="*/ 1049084 h 1348549"/>
                <a:gd name="connsiteX1060" fmla="*/ 825532 w 860393"/>
                <a:gd name="connsiteY1060" fmla="*/ 1053560 h 1348549"/>
                <a:gd name="connsiteX1061" fmla="*/ 828675 w 860393"/>
                <a:gd name="connsiteY1061" fmla="*/ 1053179 h 1348549"/>
                <a:gd name="connsiteX1062" fmla="*/ 830580 w 860393"/>
                <a:gd name="connsiteY1062" fmla="*/ 1056132 h 1348549"/>
                <a:gd name="connsiteX1063" fmla="*/ 835152 w 860393"/>
                <a:gd name="connsiteY1063" fmla="*/ 1053941 h 1348549"/>
                <a:gd name="connsiteX1064" fmla="*/ 840676 w 860393"/>
                <a:gd name="connsiteY1064" fmla="*/ 1059656 h 1348549"/>
                <a:gd name="connsiteX1065" fmla="*/ 850011 w 860393"/>
                <a:gd name="connsiteY1065" fmla="*/ 1056894 h 1348549"/>
                <a:gd name="connsiteX1066" fmla="*/ 849535 w 860393"/>
                <a:gd name="connsiteY1066" fmla="*/ 1053751 h 1348549"/>
                <a:gd name="connsiteX1067" fmla="*/ 849154 w 860393"/>
                <a:gd name="connsiteY1067" fmla="*/ 1050608 h 1348549"/>
                <a:gd name="connsiteX1068" fmla="*/ 857440 w 860393"/>
                <a:gd name="connsiteY1068" fmla="*/ 1039939 h 1348549"/>
                <a:gd name="connsiteX1069" fmla="*/ 860393 w 860393"/>
                <a:gd name="connsiteY1069" fmla="*/ 1025080 h 1348549"/>
                <a:gd name="connsiteX1070" fmla="*/ 859917 w 860393"/>
                <a:gd name="connsiteY1070" fmla="*/ 1021937 h 1348549"/>
                <a:gd name="connsiteX1071" fmla="*/ 855250 w 860393"/>
                <a:gd name="connsiteY1071" fmla="*/ 1022509 h 1348549"/>
                <a:gd name="connsiteX1072" fmla="*/ 855250 w 860393"/>
                <a:gd name="connsiteY1072" fmla="*/ 1022509 h 1348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</a:cxnLst>
              <a:rect l="l" t="t" r="r" b="b"/>
              <a:pathLst>
                <a:path w="860393" h="1348549">
                  <a:moveTo>
                    <a:pt x="855250" y="1022509"/>
                  </a:moveTo>
                  <a:lnTo>
                    <a:pt x="856012" y="1016032"/>
                  </a:lnTo>
                  <a:lnTo>
                    <a:pt x="854202" y="1014698"/>
                  </a:lnTo>
                  <a:lnTo>
                    <a:pt x="853821" y="1011555"/>
                  </a:lnTo>
                  <a:lnTo>
                    <a:pt x="852202" y="1011746"/>
                  </a:lnTo>
                  <a:lnTo>
                    <a:pt x="854583" y="1004983"/>
                  </a:lnTo>
                  <a:lnTo>
                    <a:pt x="847439" y="999458"/>
                  </a:lnTo>
                  <a:lnTo>
                    <a:pt x="850011" y="994315"/>
                  </a:lnTo>
                  <a:lnTo>
                    <a:pt x="849821" y="992791"/>
                  </a:lnTo>
                  <a:lnTo>
                    <a:pt x="846677" y="993172"/>
                  </a:lnTo>
                  <a:lnTo>
                    <a:pt x="845725" y="998125"/>
                  </a:lnTo>
                  <a:lnTo>
                    <a:pt x="835438" y="992981"/>
                  </a:lnTo>
                  <a:lnTo>
                    <a:pt x="832675" y="996601"/>
                  </a:lnTo>
                  <a:lnTo>
                    <a:pt x="833247" y="1001268"/>
                  </a:lnTo>
                  <a:lnTo>
                    <a:pt x="828484" y="1001935"/>
                  </a:lnTo>
                  <a:lnTo>
                    <a:pt x="827151" y="1003649"/>
                  </a:lnTo>
                  <a:lnTo>
                    <a:pt x="822484" y="1017080"/>
                  </a:lnTo>
                  <a:lnTo>
                    <a:pt x="815340" y="1011555"/>
                  </a:lnTo>
                  <a:lnTo>
                    <a:pt x="814483" y="1005268"/>
                  </a:lnTo>
                  <a:lnTo>
                    <a:pt x="810578" y="999363"/>
                  </a:lnTo>
                  <a:lnTo>
                    <a:pt x="807434" y="999744"/>
                  </a:lnTo>
                  <a:lnTo>
                    <a:pt x="806958" y="996601"/>
                  </a:lnTo>
                  <a:lnTo>
                    <a:pt x="814102" y="989267"/>
                  </a:lnTo>
                  <a:lnTo>
                    <a:pt x="819055" y="990314"/>
                  </a:lnTo>
                  <a:lnTo>
                    <a:pt x="822960" y="983361"/>
                  </a:lnTo>
                  <a:lnTo>
                    <a:pt x="819626" y="982218"/>
                  </a:lnTo>
                  <a:lnTo>
                    <a:pt x="820769" y="978789"/>
                  </a:lnTo>
                  <a:lnTo>
                    <a:pt x="819150" y="979075"/>
                  </a:lnTo>
                  <a:lnTo>
                    <a:pt x="822103" y="977075"/>
                  </a:lnTo>
                  <a:lnTo>
                    <a:pt x="818959" y="977455"/>
                  </a:lnTo>
                  <a:lnTo>
                    <a:pt x="813816" y="974884"/>
                  </a:lnTo>
                  <a:lnTo>
                    <a:pt x="814673" y="968407"/>
                  </a:lnTo>
                  <a:lnTo>
                    <a:pt x="812863" y="966978"/>
                  </a:lnTo>
                  <a:lnTo>
                    <a:pt x="809911" y="968978"/>
                  </a:lnTo>
                  <a:lnTo>
                    <a:pt x="807720" y="964501"/>
                  </a:lnTo>
                  <a:lnTo>
                    <a:pt x="809054" y="962692"/>
                  </a:lnTo>
                  <a:lnTo>
                    <a:pt x="807530" y="962882"/>
                  </a:lnTo>
                  <a:lnTo>
                    <a:pt x="806863" y="958120"/>
                  </a:lnTo>
                  <a:lnTo>
                    <a:pt x="803720" y="958501"/>
                  </a:lnTo>
                  <a:lnTo>
                    <a:pt x="801338" y="952405"/>
                  </a:lnTo>
                  <a:lnTo>
                    <a:pt x="799433" y="949452"/>
                  </a:lnTo>
                  <a:lnTo>
                    <a:pt x="795814" y="946690"/>
                  </a:lnTo>
                  <a:lnTo>
                    <a:pt x="790289" y="940975"/>
                  </a:lnTo>
                  <a:lnTo>
                    <a:pt x="785717" y="930402"/>
                  </a:lnTo>
                  <a:lnTo>
                    <a:pt x="779240" y="929640"/>
                  </a:lnTo>
                  <a:lnTo>
                    <a:pt x="770572" y="924306"/>
                  </a:lnTo>
                  <a:lnTo>
                    <a:pt x="764762" y="916972"/>
                  </a:lnTo>
                  <a:lnTo>
                    <a:pt x="761619" y="917448"/>
                  </a:lnTo>
                  <a:lnTo>
                    <a:pt x="758857" y="920972"/>
                  </a:lnTo>
                  <a:lnTo>
                    <a:pt x="757047" y="919543"/>
                  </a:lnTo>
                  <a:lnTo>
                    <a:pt x="755904" y="910114"/>
                  </a:lnTo>
                  <a:lnTo>
                    <a:pt x="750570" y="906018"/>
                  </a:lnTo>
                  <a:lnTo>
                    <a:pt x="754285" y="897541"/>
                  </a:lnTo>
                  <a:lnTo>
                    <a:pt x="743617" y="889254"/>
                  </a:lnTo>
                  <a:lnTo>
                    <a:pt x="735044" y="872680"/>
                  </a:lnTo>
                  <a:lnTo>
                    <a:pt x="727996" y="867156"/>
                  </a:lnTo>
                  <a:lnTo>
                    <a:pt x="727996" y="867156"/>
                  </a:lnTo>
                  <a:lnTo>
                    <a:pt x="725424" y="872300"/>
                  </a:lnTo>
                  <a:lnTo>
                    <a:pt x="725043" y="882015"/>
                  </a:lnTo>
                  <a:lnTo>
                    <a:pt x="723424" y="882205"/>
                  </a:lnTo>
                  <a:lnTo>
                    <a:pt x="722090" y="883920"/>
                  </a:lnTo>
                  <a:lnTo>
                    <a:pt x="720280" y="882587"/>
                  </a:lnTo>
                  <a:lnTo>
                    <a:pt x="717709" y="887730"/>
                  </a:lnTo>
                  <a:lnTo>
                    <a:pt x="715994" y="886301"/>
                  </a:lnTo>
                  <a:lnTo>
                    <a:pt x="715613" y="883158"/>
                  </a:lnTo>
                  <a:lnTo>
                    <a:pt x="694849" y="871347"/>
                  </a:lnTo>
                  <a:lnTo>
                    <a:pt x="692467" y="865251"/>
                  </a:lnTo>
                  <a:lnTo>
                    <a:pt x="690848" y="852678"/>
                  </a:lnTo>
                  <a:lnTo>
                    <a:pt x="687610" y="840200"/>
                  </a:lnTo>
                  <a:lnTo>
                    <a:pt x="688657" y="835247"/>
                  </a:lnTo>
                  <a:lnTo>
                    <a:pt x="694849" y="821626"/>
                  </a:lnTo>
                  <a:lnTo>
                    <a:pt x="696468" y="821436"/>
                  </a:lnTo>
                  <a:lnTo>
                    <a:pt x="697421" y="816483"/>
                  </a:lnTo>
                  <a:lnTo>
                    <a:pt x="699040" y="816293"/>
                  </a:lnTo>
                  <a:lnTo>
                    <a:pt x="697039" y="813340"/>
                  </a:lnTo>
                  <a:lnTo>
                    <a:pt x="697611" y="805243"/>
                  </a:lnTo>
                  <a:lnTo>
                    <a:pt x="696087" y="805529"/>
                  </a:lnTo>
                  <a:lnTo>
                    <a:pt x="693706" y="812197"/>
                  </a:lnTo>
                  <a:lnTo>
                    <a:pt x="690563" y="812578"/>
                  </a:lnTo>
                  <a:lnTo>
                    <a:pt x="686943" y="809815"/>
                  </a:lnTo>
                  <a:lnTo>
                    <a:pt x="685229" y="808482"/>
                  </a:lnTo>
                  <a:lnTo>
                    <a:pt x="681799" y="807339"/>
                  </a:lnTo>
                  <a:lnTo>
                    <a:pt x="684371" y="802196"/>
                  </a:lnTo>
                  <a:lnTo>
                    <a:pt x="680847" y="799433"/>
                  </a:lnTo>
                  <a:lnTo>
                    <a:pt x="677513" y="798195"/>
                  </a:lnTo>
                  <a:lnTo>
                    <a:pt x="671322" y="800576"/>
                  </a:lnTo>
                  <a:lnTo>
                    <a:pt x="665416" y="791718"/>
                  </a:lnTo>
                  <a:lnTo>
                    <a:pt x="660654" y="792385"/>
                  </a:lnTo>
                  <a:lnTo>
                    <a:pt x="651986" y="787051"/>
                  </a:lnTo>
                  <a:lnTo>
                    <a:pt x="649605" y="793718"/>
                  </a:lnTo>
                  <a:lnTo>
                    <a:pt x="646271" y="792575"/>
                  </a:lnTo>
                  <a:lnTo>
                    <a:pt x="642175" y="797909"/>
                  </a:lnTo>
                  <a:lnTo>
                    <a:pt x="636080" y="800290"/>
                  </a:lnTo>
                  <a:lnTo>
                    <a:pt x="635317" y="806768"/>
                  </a:lnTo>
                  <a:lnTo>
                    <a:pt x="622649" y="808387"/>
                  </a:lnTo>
                  <a:lnTo>
                    <a:pt x="615887" y="806101"/>
                  </a:lnTo>
                  <a:lnTo>
                    <a:pt x="604075" y="788289"/>
                  </a:lnTo>
                  <a:lnTo>
                    <a:pt x="595598" y="784574"/>
                  </a:lnTo>
                  <a:lnTo>
                    <a:pt x="587312" y="782479"/>
                  </a:lnTo>
                  <a:lnTo>
                    <a:pt x="585311" y="779526"/>
                  </a:lnTo>
                  <a:lnTo>
                    <a:pt x="581978" y="778288"/>
                  </a:lnTo>
                  <a:lnTo>
                    <a:pt x="579406" y="783431"/>
                  </a:lnTo>
                  <a:lnTo>
                    <a:pt x="578167" y="786860"/>
                  </a:lnTo>
                  <a:lnTo>
                    <a:pt x="579977" y="788194"/>
                  </a:lnTo>
                  <a:lnTo>
                    <a:pt x="572072" y="802005"/>
                  </a:lnTo>
                  <a:lnTo>
                    <a:pt x="558927" y="798862"/>
                  </a:lnTo>
                  <a:lnTo>
                    <a:pt x="555498" y="797719"/>
                  </a:lnTo>
                  <a:lnTo>
                    <a:pt x="547211" y="782764"/>
                  </a:lnTo>
                  <a:lnTo>
                    <a:pt x="543878" y="781526"/>
                  </a:lnTo>
                  <a:lnTo>
                    <a:pt x="541115" y="785146"/>
                  </a:lnTo>
                  <a:lnTo>
                    <a:pt x="535972" y="782574"/>
                  </a:lnTo>
                  <a:lnTo>
                    <a:pt x="520922" y="778097"/>
                  </a:lnTo>
                  <a:lnTo>
                    <a:pt x="513493" y="782193"/>
                  </a:lnTo>
                  <a:lnTo>
                    <a:pt x="509111" y="786003"/>
                  </a:lnTo>
                  <a:lnTo>
                    <a:pt x="504444" y="786575"/>
                  </a:lnTo>
                  <a:lnTo>
                    <a:pt x="504825" y="789718"/>
                  </a:lnTo>
                  <a:lnTo>
                    <a:pt x="502634" y="785241"/>
                  </a:lnTo>
                  <a:lnTo>
                    <a:pt x="495490" y="779717"/>
                  </a:lnTo>
                  <a:lnTo>
                    <a:pt x="501587" y="777335"/>
                  </a:lnTo>
                  <a:lnTo>
                    <a:pt x="499681" y="774383"/>
                  </a:lnTo>
                  <a:lnTo>
                    <a:pt x="492538" y="768858"/>
                  </a:lnTo>
                  <a:lnTo>
                    <a:pt x="492157" y="765715"/>
                  </a:lnTo>
                  <a:lnTo>
                    <a:pt x="495109" y="763714"/>
                  </a:lnTo>
                  <a:lnTo>
                    <a:pt x="492728" y="757618"/>
                  </a:lnTo>
                  <a:lnTo>
                    <a:pt x="485775" y="753713"/>
                  </a:lnTo>
                  <a:lnTo>
                    <a:pt x="483584" y="749141"/>
                  </a:lnTo>
                  <a:lnTo>
                    <a:pt x="480441" y="749522"/>
                  </a:lnTo>
                  <a:lnTo>
                    <a:pt x="478441" y="746569"/>
                  </a:lnTo>
                  <a:lnTo>
                    <a:pt x="467011" y="731996"/>
                  </a:lnTo>
                  <a:lnTo>
                    <a:pt x="465011" y="729043"/>
                  </a:lnTo>
                  <a:lnTo>
                    <a:pt x="463582" y="730853"/>
                  </a:lnTo>
                  <a:lnTo>
                    <a:pt x="456152" y="722185"/>
                  </a:lnTo>
                  <a:lnTo>
                    <a:pt x="448818" y="727901"/>
                  </a:lnTo>
                  <a:lnTo>
                    <a:pt x="439388" y="729139"/>
                  </a:lnTo>
                  <a:lnTo>
                    <a:pt x="436626" y="732663"/>
                  </a:lnTo>
                  <a:lnTo>
                    <a:pt x="434054" y="737806"/>
                  </a:lnTo>
                  <a:lnTo>
                    <a:pt x="432054" y="734854"/>
                  </a:lnTo>
                  <a:lnTo>
                    <a:pt x="433006" y="729901"/>
                  </a:lnTo>
                  <a:lnTo>
                    <a:pt x="421386" y="726567"/>
                  </a:lnTo>
                  <a:lnTo>
                    <a:pt x="415290" y="729043"/>
                  </a:lnTo>
                  <a:lnTo>
                    <a:pt x="410337" y="727996"/>
                  </a:lnTo>
                  <a:lnTo>
                    <a:pt x="410146" y="726472"/>
                  </a:lnTo>
                  <a:lnTo>
                    <a:pt x="409956" y="724852"/>
                  </a:lnTo>
                  <a:lnTo>
                    <a:pt x="404622" y="720757"/>
                  </a:lnTo>
                  <a:lnTo>
                    <a:pt x="403003" y="720947"/>
                  </a:lnTo>
                  <a:lnTo>
                    <a:pt x="401860" y="724281"/>
                  </a:lnTo>
                  <a:lnTo>
                    <a:pt x="401288" y="719518"/>
                  </a:lnTo>
                  <a:lnTo>
                    <a:pt x="399288" y="716566"/>
                  </a:lnTo>
                  <a:lnTo>
                    <a:pt x="394716" y="718756"/>
                  </a:lnTo>
                  <a:lnTo>
                    <a:pt x="391192" y="715994"/>
                  </a:lnTo>
                  <a:lnTo>
                    <a:pt x="384620" y="715232"/>
                  </a:lnTo>
                  <a:lnTo>
                    <a:pt x="382238" y="709136"/>
                  </a:lnTo>
                  <a:lnTo>
                    <a:pt x="379286" y="711137"/>
                  </a:lnTo>
                  <a:lnTo>
                    <a:pt x="375761" y="708374"/>
                  </a:lnTo>
                  <a:lnTo>
                    <a:pt x="371189" y="710565"/>
                  </a:lnTo>
                  <a:lnTo>
                    <a:pt x="369284" y="707612"/>
                  </a:lnTo>
                  <a:lnTo>
                    <a:pt x="368046" y="710946"/>
                  </a:lnTo>
                  <a:lnTo>
                    <a:pt x="364903" y="711327"/>
                  </a:lnTo>
                  <a:lnTo>
                    <a:pt x="365284" y="714470"/>
                  </a:lnTo>
                  <a:lnTo>
                    <a:pt x="363760" y="714756"/>
                  </a:lnTo>
                  <a:lnTo>
                    <a:pt x="361950" y="713327"/>
                  </a:lnTo>
                  <a:lnTo>
                    <a:pt x="358997" y="715327"/>
                  </a:lnTo>
                  <a:lnTo>
                    <a:pt x="357664" y="717137"/>
                  </a:lnTo>
                  <a:lnTo>
                    <a:pt x="357188" y="713899"/>
                  </a:lnTo>
                  <a:lnTo>
                    <a:pt x="355473" y="712565"/>
                  </a:lnTo>
                  <a:lnTo>
                    <a:pt x="354997" y="709422"/>
                  </a:lnTo>
                  <a:lnTo>
                    <a:pt x="351854" y="709803"/>
                  </a:lnTo>
                  <a:lnTo>
                    <a:pt x="354235" y="703135"/>
                  </a:lnTo>
                  <a:lnTo>
                    <a:pt x="360331" y="687896"/>
                  </a:lnTo>
                  <a:lnTo>
                    <a:pt x="362807" y="669893"/>
                  </a:lnTo>
                  <a:lnTo>
                    <a:pt x="359664" y="670369"/>
                  </a:lnTo>
                  <a:lnTo>
                    <a:pt x="355949" y="678847"/>
                  </a:lnTo>
                  <a:lnTo>
                    <a:pt x="350806" y="676275"/>
                  </a:lnTo>
                  <a:lnTo>
                    <a:pt x="349472" y="678085"/>
                  </a:lnTo>
                  <a:lnTo>
                    <a:pt x="350044" y="682752"/>
                  </a:lnTo>
                  <a:lnTo>
                    <a:pt x="345091" y="681800"/>
                  </a:lnTo>
                  <a:lnTo>
                    <a:pt x="341947" y="682180"/>
                  </a:lnTo>
                  <a:lnTo>
                    <a:pt x="334899" y="689515"/>
                  </a:lnTo>
                  <a:lnTo>
                    <a:pt x="332708" y="685038"/>
                  </a:lnTo>
                  <a:lnTo>
                    <a:pt x="329374" y="683800"/>
                  </a:lnTo>
                  <a:lnTo>
                    <a:pt x="324803" y="673132"/>
                  </a:lnTo>
                  <a:lnTo>
                    <a:pt x="323945" y="666845"/>
                  </a:lnTo>
                  <a:lnTo>
                    <a:pt x="321945" y="663893"/>
                  </a:lnTo>
                  <a:lnTo>
                    <a:pt x="318611" y="662750"/>
                  </a:lnTo>
                  <a:lnTo>
                    <a:pt x="316039" y="667893"/>
                  </a:lnTo>
                  <a:lnTo>
                    <a:pt x="316611" y="659797"/>
                  </a:lnTo>
                  <a:lnTo>
                    <a:pt x="314230" y="653701"/>
                  </a:lnTo>
                  <a:lnTo>
                    <a:pt x="305753" y="649891"/>
                  </a:lnTo>
                  <a:lnTo>
                    <a:pt x="306705" y="645033"/>
                  </a:lnTo>
                  <a:lnTo>
                    <a:pt x="309944" y="644557"/>
                  </a:lnTo>
                  <a:lnTo>
                    <a:pt x="307467" y="638461"/>
                  </a:lnTo>
                  <a:lnTo>
                    <a:pt x="312230" y="637889"/>
                  </a:lnTo>
                  <a:lnTo>
                    <a:pt x="313468" y="634555"/>
                  </a:lnTo>
                  <a:lnTo>
                    <a:pt x="319183" y="629031"/>
                  </a:lnTo>
                  <a:lnTo>
                    <a:pt x="318897" y="627412"/>
                  </a:lnTo>
                  <a:lnTo>
                    <a:pt x="319945" y="622459"/>
                  </a:lnTo>
                  <a:lnTo>
                    <a:pt x="321659" y="623888"/>
                  </a:lnTo>
                  <a:lnTo>
                    <a:pt x="323088" y="622078"/>
                  </a:lnTo>
                  <a:lnTo>
                    <a:pt x="322707" y="618934"/>
                  </a:lnTo>
                  <a:lnTo>
                    <a:pt x="324993" y="612172"/>
                  </a:lnTo>
                  <a:lnTo>
                    <a:pt x="316706" y="610076"/>
                  </a:lnTo>
                  <a:lnTo>
                    <a:pt x="317849" y="606647"/>
                  </a:lnTo>
                  <a:lnTo>
                    <a:pt x="315563" y="600551"/>
                  </a:lnTo>
                  <a:lnTo>
                    <a:pt x="323183" y="597980"/>
                  </a:lnTo>
                  <a:lnTo>
                    <a:pt x="322802" y="594836"/>
                  </a:lnTo>
                  <a:lnTo>
                    <a:pt x="327374" y="592646"/>
                  </a:lnTo>
                  <a:lnTo>
                    <a:pt x="328327" y="587693"/>
                  </a:lnTo>
                  <a:lnTo>
                    <a:pt x="334613" y="586930"/>
                  </a:lnTo>
                  <a:lnTo>
                    <a:pt x="336804" y="578644"/>
                  </a:lnTo>
                  <a:lnTo>
                    <a:pt x="338519" y="579977"/>
                  </a:lnTo>
                  <a:lnTo>
                    <a:pt x="341090" y="574834"/>
                  </a:lnTo>
                  <a:lnTo>
                    <a:pt x="339090" y="571881"/>
                  </a:lnTo>
                  <a:lnTo>
                    <a:pt x="341852" y="568357"/>
                  </a:lnTo>
                  <a:lnTo>
                    <a:pt x="339471" y="562261"/>
                  </a:lnTo>
                  <a:lnTo>
                    <a:pt x="339280" y="560642"/>
                  </a:lnTo>
                  <a:lnTo>
                    <a:pt x="335185" y="553212"/>
                  </a:lnTo>
                  <a:lnTo>
                    <a:pt x="320516" y="539020"/>
                  </a:lnTo>
                  <a:lnTo>
                    <a:pt x="312039" y="535305"/>
                  </a:lnTo>
                  <a:lnTo>
                    <a:pt x="309658" y="529114"/>
                  </a:lnTo>
                  <a:lnTo>
                    <a:pt x="311182" y="528923"/>
                  </a:lnTo>
                  <a:lnTo>
                    <a:pt x="320040" y="523018"/>
                  </a:lnTo>
                  <a:lnTo>
                    <a:pt x="320802" y="516541"/>
                  </a:lnTo>
                  <a:lnTo>
                    <a:pt x="318421" y="510349"/>
                  </a:lnTo>
                  <a:lnTo>
                    <a:pt x="316801" y="497776"/>
                  </a:lnTo>
                  <a:lnTo>
                    <a:pt x="325279" y="488632"/>
                  </a:lnTo>
                  <a:lnTo>
                    <a:pt x="329851" y="473678"/>
                  </a:lnTo>
                  <a:lnTo>
                    <a:pt x="337471" y="471107"/>
                  </a:lnTo>
                  <a:lnTo>
                    <a:pt x="342995" y="463963"/>
                  </a:lnTo>
                  <a:lnTo>
                    <a:pt x="345567" y="458819"/>
                  </a:lnTo>
                  <a:lnTo>
                    <a:pt x="353282" y="456247"/>
                  </a:lnTo>
                  <a:lnTo>
                    <a:pt x="360521" y="437674"/>
                  </a:lnTo>
                  <a:lnTo>
                    <a:pt x="359473" y="429768"/>
                  </a:lnTo>
                  <a:lnTo>
                    <a:pt x="357092" y="423672"/>
                  </a:lnTo>
                  <a:lnTo>
                    <a:pt x="357473" y="414052"/>
                  </a:lnTo>
                  <a:lnTo>
                    <a:pt x="349948" y="392525"/>
                  </a:lnTo>
                  <a:lnTo>
                    <a:pt x="365665" y="377666"/>
                  </a:lnTo>
                  <a:lnTo>
                    <a:pt x="369665" y="370808"/>
                  </a:lnTo>
                  <a:lnTo>
                    <a:pt x="365665" y="364903"/>
                  </a:lnTo>
                  <a:lnTo>
                    <a:pt x="364236" y="353854"/>
                  </a:lnTo>
                  <a:lnTo>
                    <a:pt x="361664" y="346138"/>
                  </a:lnTo>
                  <a:lnTo>
                    <a:pt x="371951" y="338423"/>
                  </a:lnTo>
                  <a:lnTo>
                    <a:pt x="375095" y="338042"/>
                  </a:lnTo>
                  <a:lnTo>
                    <a:pt x="383096" y="325755"/>
                  </a:lnTo>
                  <a:lnTo>
                    <a:pt x="387287" y="320421"/>
                  </a:lnTo>
                  <a:lnTo>
                    <a:pt x="392335" y="310134"/>
                  </a:lnTo>
                  <a:lnTo>
                    <a:pt x="397669" y="314230"/>
                  </a:lnTo>
                  <a:lnTo>
                    <a:pt x="400717" y="312325"/>
                  </a:lnTo>
                  <a:lnTo>
                    <a:pt x="405003" y="308515"/>
                  </a:lnTo>
                  <a:lnTo>
                    <a:pt x="404241" y="302228"/>
                  </a:lnTo>
                  <a:lnTo>
                    <a:pt x="408146" y="295275"/>
                  </a:lnTo>
                  <a:lnTo>
                    <a:pt x="414052" y="291370"/>
                  </a:lnTo>
                  <a:lnTo>
                    <a:pt x="427672" y="297656"/>
                  </a:lnTo>
                  <a:lnTo>
                    <a:pt x="434912" y="291846"/>
                  </a:lnTo>
                  <a:lnTo>
                    <a:pt x="442246" y="273272"/>
                  </a:lnTo>
                  <a:lnTo>
                    <a:pt x="450723" y="264223"/>
                  </a:lnTo>
                  <a:lnTo>
                    <a:pt x="453962" y="252603"/>
                  </a:lnTo>
                  <a:lnTo>
                    <a:pt x="455771" y="253936"/>
                  </a:lnTo>
                  <a:lnTo>
                    <a:pt x="463487" y="264223"/>
                  </a:lnTo>
                  <a:lnTo>
                    <a:pt x="468821" y="268319"/>
                  </a:lnTo>
                  <a:lnTo>
                    <a:pt x="471773" y="266319"/>
                  </a:lnTo>
                  <a:lnTo>
                    <a:pt x="480060" y="268510"/>
                  </a:lnTo>
                  <a:lnTo>
                    <a:pt x="485965" y="264509"/>
                  </a:lnTo>
                  <a:lnTo>
                    <a:pt x="485394" y="259842"/>
                  </a:lnTo>
                  <a:lnTo>
                    <a:pt x="488156" y="256222"/>
                  </a:lnTo>
                  <a:lnTo>
                    <a:pt x="487299" y="249936"/>
                  </a:lnTo>
                  <a:lnTo>
                    <a:pt x="488156" y="243459"/>
                  </a:lnTo>
                  <a:lnTo>
                    <a:pt x="485299" y="234124"/>
                  </a:lnTo>
                  <a:lnTo>
                    <a:pt x="487680" y="227457"/>
                  </a:lnTo>
                  <a:lnTo>
                    <a:pt x="489204" y="214408"/>
                  </a:lnTo>
                  <a:lnTo>
                    <a:pt x="487013" y="209836"/>
                  </a:lnTo>
                  <a:lnTo>
                    <a:pt x="489775" y="206311"/>
                  </a:lnTo>
                  <a:lnTo>
                    <a:pt x="481108" y="188214"/>
                  </a:lnTo>
                  <a:lnTo>
                    <a:pt x="472249" y="194119"/>
                  </a:lnTo>
                  <a:lnTo>
                    <a:pt x="469582" y="186404"/>
                  </a:lnTo>
                  <a:lnTo>
                    <a:pt x="459581" y="182880"/>
                  </a:lnTo>
                  <a:lnTo>
                    <a:pt x="445389" y="184690"/>
                  </a:lnTo>
                  <a:lnTo>
                    <a:pt x="442436" y="186690"/>
                  </a:lnTo>
                  <a:lnTo>
                    <a:pt x="441484" y="204406"/>
                  </a:lnTo>
                  <a:lnTo>
                    <a:pt x="435102" y="205264"/>
                  </a:lnTo>
                  <a:lnTo>
                    <a:pt x="431578" y="202501"/>
                  </a:lnTo>
                  <a:lnTo>
                    <a:pt x="428149" y="188500"/>
                  </a:lnTo>
                  <a:lnTo>
                    <a:pt x="424244" y="182594"/>
                  </a:lnTo>
                  <a:lnTo>
                    <a:pt x="431959" y="180022"/>
                  </a:lnTo>
                  <a:lnTo>
                    <a:pt x="429768" y="175450"/>
                  </a:lnTo>
                  <a:lnTo>
                    <a:pt x="430339" y="167354"/>
                  </a:lnTo>
                  <a:lnTo>
                    <a:pt x="435197" y="155543"/>
                  </a:lnTo>
                  <a:lnTo>
                    <a:pt x="429673" y="149828"/>
                  </a:lnTo>
                  <a:lnTo>
                    <a:pt x="426530" y="150209"/>
                  </a:lnTo>
                  <a:lnTo>
                    <a:pt x="423196" y="149066"/>
                  </a:lnTo>
                  <a:lnTo>
                    <a:pt x="425101" y="139160"/>
                  </a:lnTo>
                  <a:lnTo>
                    <a:pt x="430054" y="140113"/>
                  </a:lnTo>
                  <a:lnTo>
                    <a:pt x="432625" y="135064"/>
                  </a:lnTo>
                  <a:lnTo>
                    <a:pt x="430435" y="130492"/>
                  </a:lnTo>
                  <a:lnTo>
                    <a:pt x="414814" y="134112"/>
                  </a:lnTo>
                  <a:lnTo>
                    <a:pt x="406146" y="141637"/>
                  </a:lnTo>
                  <a:lnTo>
                    <a:pt x="398336" y="142589"/>
                  </a:lnTo>
                  <a:lnTo>
                    <a:pt x="389001" y="145351"/>
                  </a:lnTo>
                  <a:lnTo>
                    <a:pt x="378714" y="140303"/>
                  </a:lnTo>
                  <a:lnTo>
                    <a:pt x="371665" y="134779"/>
                  </a:lnTo>
                  <a:lnTo>
                    <a:pt x="359759" y="129826"/>
                  </a:lnTo>
                  <a:lnTo>
                    <a:pt x="357378" y="123730"/>
                  </a:lnTo>
                  <a:lnTo>
                    <a:pt x="350330" y="118205"/>
                  </a:lnTo>
                  <a:lnTo>
                    <a:pt x="343376" y="114300"/>
                  </a:lnTo>
                  <a:lnTo>
                    <a:pt x="335471" y="102489"/>
                  </a:lnTo>
                  <a:lnTo>
                    <a:pt x="326136" y="92488"/>
                  </a:lnTo>
                  <a:lnTo>
                    <a:pt x="324517" y="79819"/>
                  </a:lnTo>
                  <a:lnTo>
                    <a:pt x="328041" y="69723"/>
                  </a:lnTo>
                  <a:lnTo>
                    <a:pt x="321183" y="65818"/>
                  </a:lnTo>
                  <a:lnTo>
                    <a:pt x="314611" y="65056"/>
                  </a:lnTo>
                  <a:lnTo>
                    <a:pt x="310324" y="68770"/>
                  </a:lnTo>
                  <a:lnTo>
                    <a:pt x="299466" y="71818"/>
                  </a:lnTo>
                  <a:lnTo>
                    <a:pt x="295084" y="75533"/>
                  </a:lnTo>
                  <a:lnTo>
                    <a:pt x="293370" y="74200"/>
                  </a:lnTo>
                  <a:lnTo>
                    <a:pt x="285464" y="75152"/>
                  </a:lnTo>
                  <a:lnTo>
                    <a:pt x="272224" y="59245"/>
                  </a:lnTo>
                  <a:lnTo>
                    <a:pt x="264319" y="60198"/>
                  </a:lnTo>
                  <a:lnTo>
                    <a:pt x="262699" y="47625"/>
                  </a:lnTo>
                  <a:lnTo>
                    <a:pt x="257746" y="46672"/>
                  </a:lnTo>
                  <a:lnTo>
                    <a:pt x="245173" y="48292"/>
                  </a:lnTo>
                  <a:lnTo>
                    <a:pt x="243935" y="51625"/>
                  </a:lnTo>
                  <a:lnTo>
                    <a:pt x="222409" y="46291"/>
                  </a:lnTo>
                  <a:lnTo>
                    <a:pt x="211550" y="36481"/>
                  </a:lnTo>
                  <a:lnTo>
                    <a:pt x="206883" y="37052"/>
                  </a:lnTo>
                  <a:lnTo>
                    <a:pt x="202692" y="29623"/>
                  </a:lnTo>
                  <a:lnTo>
                    <a:pt x="199549" y="30004"/>
                  </a:lnTo>
                  <a:lnTo>
                    <a:pt x="195167" y="33814"/>
                  </a:lnTo>
                  <a:lnTo>
                    <a:pt x="189452" y="26479"/>
                  </a:lnTo>
                  <a:lnTo>
                    <a:pt x="184309" y="23908"/>
                  </a:lnTo>
                  <a:lnTo>
                    <a:pt x="175831" y="33052"/>
                  </a:lnTo>
                  <a:lnTo>
                    <a:pt x="167926" y="34004"/>
                  </a:lnTo>
                  <a:lnTo>
                    <a:pt x="165735" y="29527"/>
                  </a:lnTo>
                  <a:lnTo>
                    <a:pt x="151543" y="18478"/>
                  </a:lnTo>
                  <a:lnTo>
                    <a:pt x="134588" y="11049"/>
                  </a:lnTo>
                  <a:lnTo>
                    <a:pt x="120301" y="0"/>
                  </a:lnTo>
                  <a:lnTo>
                    <a:pt x="118967" y="1810"/>
                  </a:lnTo>
                  <a:lnTo>
                    <a:pt x="115538" y="571"/>
                  </a:lnTo>
                  <a:lnTo>
                    <a:pt x="111633" y="7525"/>
                  </a:lnTo>
                  <a:lnTo>
                    <a:pt x="106680" y="6572"/>
                  </a:lnTo>
                  <a:lnTo>
                    <a:pt x="103727" y="8572"/>
                  </a:lnTo>
                  <a:lnTo>
                    <a:pt x="102965" y="15049"/>
                  </a:lnTo>
                  <a:lnTo>
                    <a:pt x="98679" y="18764"/>
                  </a:lnTo>
                  <a:lnTo>
                    <a:pt x="99441" y="25146"/>
                  </a:lnTo>
                  <a:lnTo>
                    <a:pt x="95536" y="32004"/>
                  </a:lnTo>
                  <a:lnTo>
                    <a:pt x="96298" y="38290"/>
                  </a:lnTo>
                  <a:lnTo>
                    <a:pt x="90678" y="43910"/>
                  </a:lnTo>
                  <a:lnTo>
                    <a:pt x="89630" y="48768"/>
                  </a:lnTo>
                  <a:lnTo>
                    <a:pt x="92773" y="48387"/>
                  </a:lnTo>
                  <a:lnTo>
                    <a:pt x="100108" y="55531"/>
                  </a:lnTo>
                  <a:lnTo>
                    <a:pt x="107061" y="59436"/>
                  </a:lnTo>
                  <a:lnTo>
                    <a:pt x="112204" y="62008"/>
                  </a:lnTo>
                  <a:lnTo>
                    <a:pt x="116300" y="69437"/>
                  </a:lnTo>
                  <a:lnTo>
                    <a:pt x="122491" y="67056"/>
                  </a:lnTo>
                  <a:lnTo>
                    <a:pt x="124396" y="70009"/>
                  </a:lnTo>
                  <a:lnTo>
                    <a:pt x="124873" y="73152"/>
                  </a:lnTo>
                  <a:lnTo>
                    <a:pt x="127063" y="77724"/>
                  </a:lnTo>
                  <a:lnTo>
                    <a:pt x="130397" y="91726"/>
                  </a:lnTo>
                  <a:lnTo>
                    <a:pt x="128016" y="98488"/>
                  </a:lnTo>
                  <a:lnTo>
                    <a:pt x="136588" y="114967"/>
                  </a:lnTo>
                  <a:lnTo>
                    <a:pt x="143923" y="122111"/>
                  </a:lnTo>
                  <a:lnTo>
                    <a:pt x="145256" y="133159"/>
                  </a:lnTo>
                  <a:lnTo>
                    <a:pt x="142589" y="136684"/>
                  </a:lnTo>
                  <a:lnTo>
                    <a:pt x="147066" y="147352"/>
                  </a:lnTo>
                  <a:lnTo>
                    <a:pt x="156210" y="155829"/>
                  </a:lnTo>
                  <a:lnTo>
                    <a:pt x="161163" y="156781"/>
                  </a:lnTo>
                  <a:lnTo>
                    <a:pt x="164116" y="154781"/>
                  </a:lnTo>
                  <a:lnTo>
                    <a:pt x="167259" y="154400"/>
                  </a:lnTo>
                  <a:lnTo>
                    <a:pt x="169640" y="160496"/>
                  </a:lnTo>
                  <a:lnTo>
                    <a:pt x="186595" y="167926"/>
                  </a:lnTo>
                  <a:lnTo>
                    <a:pt x="189547" y="166021"/>
                  </a:lnTo>
                  <a:lnTo>
                    <a:pt x="191357" y="167354"/>
                  </a:lnTo>
                  <a:lnTo>
                    <a:pt x="192214" y="173641"/>
                  </a:lnTo>
                  <a:lnTo>
                    <a:pt x="195739" y="176403"/>
                  </a:lnTo>
                  <a:lnTo>
                    <a:pt x="204406" y="194596"/>
                  </a:lnTo>
                  <a:lnTo>
                    <a:pt x="202882" y="207550"/>
                  </a:lnTo>
                  <a:lnTo>
                    <a:pt x="198977" y="214503"/>
                  </a:lnTo>
                  <a:lnTo>
                    <a:pt x="193072" y="218503"/>
                  </a:lnTo>
                  <a:lnTo>
                    <a:pt x="191929" y="221837"/>
                  </a:lnTo>
                  <a:lnTo>
                    <a:pt x="199168" y="228886"/>
                  </a:lnTo>
                  <a:lnTo>
                    <a:pt x="198596" y="236982"/>
                  </a:lnTo>
                  <a:lnTo>
                    <a:pt x="211455" y="249745"/>
                  </a:lnTo>
                  <a:lnTo>
                    <a:pt x="207169" y="253555"/>
                  </a:lnTo>
                  <a:lnTo>
                    <a:pt x="203454" y="262033"/>
                  </a:lnTo>
                  <a:lnTo>
                    <a:pt x="192596" y="265081"/>
                  </a:lnTo>
                  <a:lnTo>
                    <a:pt x="190976" y="265271"/>
                  </a:lnTo>
                  <a:lnTo>
                    <a:pt x="186214" y="252984"/>
                  </a:lnTo>
                  <a:lnTo>
                    <a:pt x="180499" y="245745"/>
                  </a:lnTo>
                  <a:lnTo>
                    <a:pt x="179261" y="236220"/>
                  </a:lnTo>
                  <a:lnTo>
                    <a:pt x="174117" y="233743"/>
                  </a:lnTo>
                  <a:lnTo>
                    <a:pt x="165449" y="241173"/>
                  </a:lnTo>
                  <a:lnTo>
                    <a:pt x="166116" y="245936"/>
                  </a:lnTo>
                  <a:lnTo>
                    <a:pt x="168116" y="248888"/>
                  </a:lnTo>
                  <a:lnTo>
                    <a:pt x="163925" y="254222"/>
                  </a:lnTo>
                  <a:lnTo>
                    <a:pt x="162782" y="257556"/>
                  </a:lnTo>
                  <a:lnTo>
                    <a:pt x="158210" y="259747"/>
                  </a:lnTo>
                  <a:lnTo>
                    <a:pt x="154686" y="256984"/>
                  </a:lnTo>
                  <a:lnTo>
                    <a:pt x="142018" y="258604"/>
                  </a:lnTo>
                  <a:lnTo>
                    <a:pt x="140113" y="255651"/>
                  </a:lnTo>
                  <a:lnTo>
                    <a:pt x="135160" y="254698"/>
                  </a:lnTo>
                  <a:lnTo>
                    <a:pt x="122872" y="259461"/>
                  </a:lnTo>
                  <a:lnTo>
                    <a:pt x="121920" y="264414"/>
                  </a:lnTo>
                  <a:lnTo>
                    <a:pt x="115824" y="266795"/>
                  </a:lnTo>
                  <a:lnTo>
                    <a:pt x="111728" y="272129"/>
                  </a:lnTo>
                  <a:lnTo>
                    <a:pt x="112871" y="281559"/>
                  </a:lnTo>
                  <a:lnTo>
                    <a:pt x="111919" y="286512"/>
                  </a:lnTo>
                  <a:lnTo>
                    <a:pt x="105823" y="288893"/>
                  </a:lnTo>
                  <a:lnTo>
                    <a:pt x="99250" y="288131"/>
                  </a:lnTo>
                  <a:lnTo>
                    <a:pt x="98488" y="294608"/>
                  </a:lnTo>
                  <a:lnTo>
                    <a:pt x="100679" y="299180"/>
                  </a:lnTo>
                  <a:lnTo>
                    <a:pt x="99727" y="304133"/>
                  </a:lnTo>
                  <a:lnTo>
                    <a:pt x="100774" y="312039"/>
                  </a:lnTo>
                  <a:lnTo>
                    <a:pt x="98203" y="317182"/>
                  </a:lnTo>
                  <a:lnTo>
                    <a:pt x="90869" y="322897"/>
                  </a:lnTo>
                  <a:lnTo>
                    <a:pt x="90106" y="329374"/>
                  </a:lnTo>
                  <a:lnTo>
                    <a:pt x="86392" y="337947"/>
                  </a:lnTo>
                  <a:lnTo>
                    <a:pt x="85820" y="345948"/>
                  </a:lnTo>
                  <a:lnTo>
                    <a:pt x="83058" y="349567"/>
                  </a:lnTo>
                  <a:lnTo>
                    <a:pt x="81153" y="359378"/>
                  </a:lnTo>
                  <a:lnTo>
                    <a:pt x="81915" y="365760"/>
                  </a:lnTo>
                  <a:lnTo>
                    <a:pt x="79534" y="372428"/>
                  </a:lnTo>
                  <a:lnTo>
                    <a:pt x="78010" y="372618"/>
                  </a:lnTo>
                  <a:lnTo>
                    <a:pt x="77343" y="367951"/>
                  </a:lnTo>
                  <a:lnTo>
                    <a:pt x="74200" y="368332"/>
                  </a:lnTo>
                  <a:lnTo>
                    <a:pt x="76009" y="382524"/>
                  </a:lnTo>
                  <a:lnTo>
                    <a:pt x="70295" y="388048"/>
                  </a:lnTo>
                  <a:lnTo>
                    <a:pt x="62484" y="389096"/>
                  </a:lnTo>
                  <a:lnTo>
                    <a:pt x="61055" y="390811"/>
                  </a:lnTo>
                  <a:lnTo>
                    <a:pt x="63055" y="393763"/>
                  </a:lnTo>
                  <a:lnTo>
                    <a:pt x="69628" y="407384"/>
                  </a:lnTo>
                  <a:lnTo>
                    <a:pt x="70390" y="413671"/>
                  </a:lnTo>
                  <a:lnTo>
                    <a:pt x="74200" y="418052"/>
                  </a:lnTo>
                  <a:lnTo>
                    <a:pt x="66865" y="423767"/>
                  </a:lnTo>
                  <a:lnTo>
                    <a:pt x="60007" y="432625"/>
                  </a:lnTo>
                  <a:lnTo>
                    <a:pt x="57436" y="437769"/>
                  </a:lnTo>
                  <a:lnTo>
                    <a:pt x="68294" y="447675"/>
                  </a:lnTo>
                  <a:lnTo>
                    <a:pt x="64389" y="454533"/>
                  </a:lnTo>
                  <a:lnTo>
                    <a:pt x="72104" y="464820"/>
                  </a:lnTo>
                  <a:lnTo>
                    <a:pt x="66199" y="468725"/>
                  </a:lnTo>
                  <a:lnTo>
                    <a:pt x="65246" y="473678"/>
                  </a:lnTo>
                  <a:lnTo>
                    <a:pt x="65627" y="476821"/>
                  </a:lnTo>
                  <a:lnTo>
                    <a:pt x="64389" y="480250"/>
                  </a:lnTo>
                  <a:lnTo>
                    <a:pt x="56579" y="481203"/>
                  </a:lnTo>
                  <a:lnTo>
                    <a:pt x="55340" y="484537"/>
                  </a:lnTo>
                  <a:lnTo>
                    <a:pt x="46291" y="488918"/>
                  </a:lnTo>
                  <a:lnTo>
                    <a:pt x="43910" y="495681"/>
                  </a:lnTo>
                  <a:lnTo>
                    <a:pt x="39053" y="494728"/>
                  </a:lnTo>
                  <a:lnTo>
                    <a:pt x="37814" y="498062"/>
                  </a:lnTo>
                  <a:lnTo>
                    <a:pt x="38671" y="504349"/>
                  </a:lnTo>
                  <a:lnTo>
                    <a:pt x="37433" y="507682"/>
                  </a:lnTo>
                  <a:lnTo>
                    <a:pt x="33147" y="511492"/>
                  </a:lnTo>
                  <a:lnTo>
                    <a:pt x="29242" y="518350"/>
                  </a:lnTo>
                  <a:lnTo>
                    <a:pt x="29432" y="519970"/>
                  </a:lnTo>
                  <a:lnTo>
                    <a:pt x="24860" y="522160"/>
                  </a:lnTo>
                  <a:lnTo>
                    <a:pt x="19145" y="514826"/>
                  </a:lnTo>
                  <a:lnTo>
                    <a:pt x="6096" y="513302"/>
                  </a:lnTo>
                  <a:lnTo>
                    <a:pt x="0" y="515684"/>
                  </a:lnTo>
                  <a:lnTo>
                    <a:pt x="3810" y="532829"/>
                  </a:lnTo>
                  <a:lnTo>
                    <a:pt x="9144" y="537019"/>
                  </a:lnTo>
                  <a:lnTo>
                    <a:pt x="13049" y="542925"/>
                  </a:lnTo>
                  <a:lnTo>
                    <a:pt x="12097" y="547783"/>
                  </a:lnTo>
                  <a:lnTo>
                    <a:pt x="17621" y="553498"/>
                  </a:lnTo>
                  <a:lnTo>
                    <a:pt x="15526" y="561784"/>
                  </a:lnTo>
                  <a:lnTo>
                    <a:pt x="15145" y="571500"/>
                  </a:lnTo>
                  <a:lnTo>
                    <a:pt x="15716" y="576263"/>
                  </a:lnTo>
                  <a:lnTo>
                    <a:pt x="20860" y="578834"/>
                  </a:lnTo>
                  <a:lnTo>
                    <a:pt x="22288" y="589788"/>
                  </a:lnTo>
                  <a:lnTo>
                    <a:pt x="29146" y="593788"/>
                  </a:lnTo>
                  <a:lnTo>
                    <a:pt x="25432" y="602266"/>
                  </a:lnTo>
                  <a:lnTo>
                    <a:pt x="33909" y="605980"/>
                  </a:lnTo>
                  <a:lnTo>
                    <a:pt x="31432" y="611124"/>
                  </a:lnTo>
                  <a:lnTo>
                    <a:pt x="33623" y="615696"/>
                  </a:lnTo>
                  <a:lnTo>
                    <a:pt x="31051" y="620744"/>
                  </a:lnTo>
                  <a:lnTo>
                    <a:pt x="31813" y="627126"/>
                  </a:lnTo>
                  <a:lnTo>
                    <a:pt x="33814" y="630079"/>
                  </a:lnTo>
                  <a:lnTo>
                    <a:pt x="29908" y="636937"/>
                  </a:lnTo>
                  <a:lnTo>
                    <a:pt x="36195" y="649034"/>
                  </a:lnTo>
                  <a:lnTo>
                    <a:pt x="37243" y="656844"/>
                  </a:lnTo>
                  <a:lnTo>
                    <a:pt x="43910" y="659225"/>
                  </a:lnTo>
                  <a:lnTo>
                    <a:pt x="40957" y="661226"/>
                  </a:lnTo>
                  <a:lnTo>
                    <a:pt x="42767" y="662559"/>
                  </a:lnTo>
                  <a:lnTo>
                    <a:pt x="33909" y="668560"/>
                  </a:lnTo>
                  <a:lnTo>
                    <a:pt x="30766" y="668941"/>
                  </a:lnTo>
                  <a:lnTo>
                    <a:pt x="24860" y="672941"/>
                  </a:lnTo>
                  <a:lnTo>
                    <a:pt x="22098" y="676465"/>
                  </a:lnTo>
                  <a:lnTo>
                    <a:pt x="22098" y="689324"/>
                  </a:lnTo>
                  <a:lnTo>
                    <a:pt x="21336" y="695801"/>
                  </a:lnTo>
                  <a:lnTo>
                    <a:pt x="24860" y="698563"/>
                  </a:lnTo>
                  <a:lnTo>
                    <a:pt x="20955" y="705422"/>
                  </a:lnTo>
                  <a:lnTo>
                    <a:pt x="23527" y="713137"/>
                  </a:lnTo>
                  <a:lnTo>
                    <a:pt x="28480" y="714089"/>
                  </a:lnTo>
                  <a:lnTo>
                    <a:pt x="28670" y="715709"/>
                  </a:lnTo>
                  <a:lnTo>
                    <a:pt x="32290" y="718471"/>
                  </a:lnTo>
                  <a:lnTo>
                    <a:pt x="34195" y="721423"/>
                  </a:lnTo>
                  <a:lnTo>
                    <a:pt x="39338" y="723995"/>
                  </a:lnTo>
                  <a:lnTo>
                    <a:pt x="36576" y="727519"/>
                  </a:lnTo>
                  <a:lnTo>
                    <a:pt x="38957" y="733615"/>
                  </a:lnTo>
                  <a:lnTo>
                    <a:pt x="36671" y="740378"/>
                  </a:lnTo>
                  <a:lnTo>
                    <a:pt x="44767" y="753713"/>
                  </a:lnTo>
                  <a:lnTo>
                    <a:pt x="56483" y="769906"/>
                  </a:lnTo>
                  <a:lnTo>
                    <a:pt x="61817" y="774001"/>
                  </a:lnTo>
                  <a:lnTo>
                    <a:pt x="66675" y="775049"/>
                  </a:lnTo>
                  <a:lnTo>
                    <a:pt x="70675" y="780955"/>
                  </a:lnTo>
                  <a:lnTo>
                    <a:pt x="67723" y="782860"/>
                  </a:lnTo>
                  <a:lnTo>
                    <a:pt x="68104" y="786098"/>
                  </a:lnTo>
                  <a:lnTo>
                    <a:pt x="68294" y="787622"/>
                  </a:lnTo>
                  <a:lnTo>
                    <a:pt x="63817" y="789813"/>
                  </a:lnTo>
                  <a:lnTo>
                    <a:pt x="64008" y="791432"/>
                  </a:lnTo>
                  <a:lnTo>
                    <a:pt x="73247" y="801434"/>
                  </a:lnTo>
                  <a:lnTo>
                    <a:pt x="78391" y="804005"/>
                  </a:lnTo>
                  <a:lnTo>
                    <a:pt x="74676" y="812483"/>
                  </a:lnTo>
                  <a:lnTo>
                    <a:pt x="71533" y="812863"/>
                  </a:lnTo>
                  <a:lnTo>
                    <a:pt x="67628" y="819817"/>
                  </a:lnTo>
                  <a:lnTo>
                    <a:pt x="63246" y="823531"/>
                  </a:lnTo>
                  <a:lnTo>
                    <a:pt x="65437" y="828104"/>
                  </a:lnTo>
                  <a:lnTo>
                    <a:pt x="68580" y="827722"/>
                  </a:lnTo>
                  <a:lnTo>
                    <a:pt x="73342" y="827056"/>
                  </a:lnTo>
                  <a:lnTo>
                    <a:pt x="74295" y="822198"/>
                  </a:lnTo>
                  <a:lnTo>
                    <a:pt x="79057" y="821531"/>
                  </a:lnTo>
                  <a:lnTo>
                    <a:pt x="79629" y="826294"/>
                  </a:lnTo>
                  <a:lnTo>
                    <a:pt x="81439" y="827627"/>
                  </a:lnTo>
                  <a:lnTo>
                    <a:pt x="86011" y="825437"/>
                  </a:lnTo>
                  <a:lnTo>
                    <a:pt x="92297" y="824675"/>
                  </a:lnTo>
                  <a:lnTo>
                    <a:pt x="96203" y="830580"/>
                  </a:lnTo>
                  <a:lnTo>
                    <a:pt x="103156" y="834485"/>
                  </a:lnTo>
                  <a:lnTo>
                    <a:pt x="102394" y="841058"/>
                  </a:lnTo>
                  <a:lnTo>
                    <a:pt x="98679" y="849535"/>
                  </a:lnTo>
                  <a:lnTo>
                    <a:pt x="100394" y="850868"/>
                  </a:lnTo>
                  <a:lnTo>
                    <a:pt x="100870" y="854012"/>
                  </a:lnTo>
                  <a:lnTo>
                    <a:pt x="103822" y="852106"/>
                  </a:lnTo>
                  <a:lnTo>
                    <a:pt x="104394" y="856774"/>
                  </a:lnTo>
                  <a:lnTo>
                    <a:pt x="101917" y="874776"/>
                  </a:lnTo>
                  <a:lnTo>
                    <a:pt x="104299" y="880872"/>
                  </a:lnTo>
                  <a:lnTo>
                    <a:pt x="98774" y="888016"/>
                  </a:lnTo>
                  <a:lnTo>
                    <a:pt x="95631" y="888397"/>
                  </a:lnTo>
                  <a:lnTo>
                    <a:pt x="89440" y="890778"/>
                  </a:lnTo>
                  <a:lnTo>
                    <a:pt x="91630" y="895350"/>
                  </a:lnTo>
                  <a:lnTo>
                    <a:pt x="90297" y="897064"/>
                  </a:lnTo>
                  <a:lnTo>
                    <a:pt x="88868" y="898874"/>
                  </a:lnTo>
                  <a:lnTo>
                    <a:pt x="82391" y="898112"/>
                  </a:lnTo>
                  <a:lnTo>
                    <a:pt x="78296" y="903446"/>
                  </a:lnTo>
                  <a:lnTo>
                    <a:pt x="78867" y="908209"/>
                  </a:lnTo>
                  <a:lnTo>
                    <a:pt x="74104" y="908780"/>
                  </a:lnTo>
                  <a:lnTo>
                    <a:pt x="75724" y="921448"/>
                  </a:lnTo>
                  <a:lnTo>
                    <a:pt x="74390" y="923163"/>
                  </a:lnTo>
                  <a:lnTo>
                    <a:pt x="75152" y="929545"/>
                  </a:lnTo>
                  <a:lnTo>
                    <a:pt x="81153" y="938403"/>
                  </a:lnTo>
                  <a:lnTo>
                    <a:pt x="88392" y="945451"/>
                  </a:lnTo>
                  <a:lnTo>
                    <a:pt x="87058" y="947261"/>
                  </a:lnTo>
                  <a:lnTo>
                    <a:pt x="83534" y="944499"/>
                  </a:lnTo>
                  <a:lnTo>
                    <a:pt x="83058" y="941356"/>
                  </a:lnTo>
                  <a:lnTo>
                    <a:pt x="81344" y="939927"/>
                  </a:lnTo>
                  <a:lnTo>
                    <a:pt x="81724" y="943070"/>
                  </a:lnTo>
                  <a:lnTo>
                    <a:pt x="80486" y="946499"/>
                  </a:lnTo>
                  <a:lnTo>
                    <a:pt x="78962" y="946690"/>
                  </a:lnTo>
                  <a:lnTo>
                    <a:pt x="78391" y="954786"/>
                  </a:lnTo>
                  <a:lnTo>
                    <a:pt x="74104" y="958501"/>
                  </a:lnTo>
                  <a:lnTo>
                    <a:pt x="77819" y="962787"/>
                  </a:lnTo>
                  <a:lnTo>
                    <a:pt x="76676" y="966216"/>
                  </a:lnTo>
                  <a:lnTo>
                    <a:pt x="73723" y="968216"/>
                  </a:lnTo>
                  <a:lnTo>
                    <a:pt x="76105" y="974312"/>
                  </a:lnTo>
                  <a:lnTo>
                    <a:pt x="77819" y="975646"/>
                  </a:lnTo>
                  <a:lnTo>
                    <a:pt x="71723" y="978027"/>
                  </a:lnTo>
                  <a:lnTo>
                    <a:pt x="72104" y="981170"/>
                  </a:lnTo>
                  <a:lnTo>
                    <a:pt x="67628" y="983361"/>
                  </a:lnTo>
                  <a:lnTo>
                    <a:pt x="65818" y="982027"/>
                  </a:lnTo>
                  <a:lnTo>
                    <a:pt x="65056" y="988505"/>
                  </a:lnTo>
                  <a:lnTo>
                    <a:pt x="70009" y="989457"/>
                  </a:lnTo>
                  <a:lnTo>
                    <a:pt x="72390" y="995648"/>
                  </a:lnTo>
                  <a:lnTo>
                    <a:pt x="75724" y="996791"/>
                  </a:lnTo>
                  <a:lnTo>
                    <a:pt x="74581" y="1000125"/>
                  </a:lnTo>
                  <a:lnTo>
                    <a:pt x="70009" y="1002316"/>
                  </a:lnTo>
                  <a:lnTo>
                    <a:pt x="62294" y="1004888"/>
                  </a:lnTo>
                  <a:lnTo>
                    <a:pt x="60579" y="1003554"/>
                  </a:lnTo>
                  <a:lnTo>
                    <a:pt x="58388" y="998982"/>
                  </a:lnTo>
                  <a:lnTo>
                    <a:pt x="54769" y="996220"/>
                  </a:lnTo>
                  <a:lnTo>
                    <a:pt x="51816" y="998220"/>
                  </a:lnTo>
                  <a:lnTo>
                    <a:pt x="49625" y="993648"/>
                  </a:lnTo>
                  <a:lnTo>
                    <a:pt x="48673" y="998601"/>
                  </a:lnTo>
                  <a:lnTo>
                    <a:pt x="46672" y="995648"/>
                  </a:lnTo>
                  <a:lnTo>
                    <a:pt x="40005" y="993362"/>
                  </a:lnTo>
                  <a:lnTo>
                    <a:pt x="34480" y="987647"/>
                  </a:lnTo>
                  <a:lnTo>
                    <a:pt x="38386" y="993553"/>
                  </a:lnTo>
                  <a:lnTo>
                    <a:pt x="35242" y="993934"/>
                  </a:lnTo>
                  <a:lnTo>
                    <a:pt x="37433" y="998410"/>
                  </a:lnTo>
                  <a:lnTo>
                    <a:pt x="34480" y="1000411"/>
                  </a:lnTo>
                  <a:lnTo>
                    <a:pt x="34671" y="1002030"/>
                  </a:lnTo>
                  <a:lnTo>
                    <a:pt x="37052" y="1008126"/>
                  </a:lnTo>
                  <a:lnTo>
                    <a:pt x="36290" y="1014603"/>
                  </a:lnTo>
                  <a:lnTo>
                    <a:pt x="38100" y="1016032"/>
                  </a:lnTo>
                  <a:lnTo>
                    <a:pt x="41243" y="1015651"/>
                  </a:lnTo>
                  <a:lnTo>
                    <a:pt x="41434" y="1017175"/>
                  </a:lnTo>
                  <a:lnTo>
                    <a:pt x="41624" y="1018794"/>
                  </a:lnTo>
                  <a:lnTo>
                    <a:pt x="38862" y="1022318"/>
                  </a:lnTo>
                  <a:lnTo>
                    <a:pt x="36766" y="1030605"/>
                  </a:lnTo>
                  <a:lnTo>
                    <a:pt x="33814" y="1032605"/>
                  </a:lnTo>
                  <a:lnTo>
                    <a:pt x="31432" y="1039273"/>
                  </a:lnTo>
                  <a:lnTo>
                    <a:pt x="37909" y="1040035"/>
                  </a:lnTo>
                  <a:lnTo>
                    <a:pt x="44101" y="1037654"/>
                  </a:lnTo>
                  <a:lnTo>
                    <a:pt x="47434" y="1038892"/>
                  </a:lnTo>
                  <a:lnTo>
                    <a:pt x="52388" y="1039844"/>
                  </a:lnTo>
                  <a:lnTo>
                    <a:pt x="55340" y="1037844"/>
                  </a:lnTo>
                  <a:lnTo>
                    <a:pt x="62008" y="1040225"/>
                  </a:lnTo>
                  <a:lnTo>
                    <a:pt x="64008" y="1043178"/>
                  </a:lnTo>
                  <a:lnTo>
                    <a:pt x="72676" y="1048512"/>
                  </a:lnTo>
                  <a:lnTo>
                    <a:pt x="80772" y="1049084"/>
                  </a:lnTo>
                  <a:lnTo>
                    <a:pt x="85154" y="1045273"/>
                  </a:lnTo>
                  <a:lnTo>
                    <a:pt x="83725" y="1047083"/>
                  </a:lnTo>
                  <a:lnTo>
                    <a:pt x="84106" y="1050227"/>
                  </a:lnTo>
                  <a:lnTo>
                    <a:pt x="85344" y="1046893"/>
                  </a:lnTo>
                  <a:lnTo>
                    <a:pt x="87058" y="1048226"/>
                  </a:lnTo>
                  <a:lnTo>
                    <a:pt x="92012" y="1049274"/>
                  </a:lnTo>
                  <a:lnTo>
                    <a:pt x="92202" y="1050798"/>
                  </a:lnTo>
                  <a:lnTo>
                    <a:pt x="95155" y="1048798"/>
                  </a:lnTo>
                  <a:lnTo>
                    <a:pt x="96964" y="1050227"/>
                  </a:lnTo>
                  <a:lnTo>
                    <a:pt x="98584" y="1050036"/>
                  </a:lnTo>
                  <a:lnTo>
                    <a:pt x="97155" y="1051751"/>
                  </a:lnTo>
                  <a:lnTo>
                    <a:pt x="90869" y="1052608"/>
                  </a:lnTo>
                  <a:lnTo>
                    <a:pt x="85725" y="1050036"/>
                  </a:lnTo>
                  <a:lnTo>
                    <a:pt x="81153" y="1052227"/>
                  </a:lnTo>
                  <a:lnTo>
                    <a:pt x="77248" y="1059085"/>
                  </a:lnTo>
                  <a:lnTo>
                    <a:pt x="79248" y="1062133"/>
                  </a:lnTo>
                  <a:lnTo>
                    <a:pt x="80200" y="1069943"/>
                  </a:lnTo>
                  <a:lnTo>
                    <a:pt x="78867" y="1071753"/>
                  </a:lnTo>
                  <a:lnTo>
                    <a:pt x="75914" y="1073753"/>
                  </a:lnTo>
                  <a:lnTo>
                    <a:pt x="72580" y="1072515"/>
                  </a:lnTo>
                  <a:lnTo>
                    <a:pt x="66865" y="1078135"/>
                  </a:lnTo>
                  <a:lnTo>
                    <a:pt x="68866" y="1081088"/>
                  </a:lnTo>
                  <a:lnTo>
                    <a:pt x="65532" y="1092708"/>
                  </a:lnTo>
                  <a:lnTo>
                    <a:pt x="69247" y="1096994"/>
                  </a:lnTo>
                  <a:lnTo>
                    <a:pt x="70104" y="1103376"/>
                  </a:lnTo>
                  <a:lnTo>
                    <a:pt x="72009" y="1106329"/>
                  </a:lnTo>
                  <a:lnTo>
                    <a:pt x="72676" y="1110996"/>
                  </a:lnTo>
                  <a:lnTo>
                    <a:pt x="76581" y="1116902"/>
                  </a:lnTo>
                  <a:lnTo>
                    <a:pt x="76771" y="1118521"/>
                  </a:lnTo>
                  <a:lnTo>
                    <a:pt x="73628" y="1118902"/>
                  </a:lnTo>
                  <a:lnTo>
                    <a:pt x="76962" y="1120140"/>
                  </a:lnTo>
                  <a:lnTo>
                    <a:pt x="76105" y="1137856"/>
                  </a:lnTo>
                  <a:lnTo>
                    <a:pt x="80963" y="1138809"/>
                  </a:lnTo>
                  <a:lnTo>
                    <a:pt x="82963" y="1141762"/>
                  </a:lnTo>
                  <a:lnTo>
                    <a:pt x="89249" y="1141000"/>
                  </a:lnTo>
                  <a:lnTo>
                    <a:pt x="91059" y="1142333"/>
                  </a:lnTo>
                  <a:lnTo>
                    <a:pt x="88963" y="1150620"/>
                  </a:lnTo>
                  <a:lnTo>
                    <a:pt x="92107" y="1150239"/>
                  </a:lnTo>
                  <a:lnTo>
                    <a:pt x="94297" y="1154811"/>
                  </a:lnTo>
                  <a:lnTo>
                    <a:pt x="92869" y="1156526"/>
                  </a:lnTo>
                  <a:lnTo>
                    <a:pt x="97822" y="1157573"/>
                  </a:lnTo>
                  <a:lnTo>
                    <a:pt x="98203" y="1160717"/>
                  </a:lnTo>
                  <a:lnTo>
                    <a:pt x="97250" y="1165669"/>
                  </a:lnTo>
                  <a:lnTo>
                    <a:pt x="95440" y="1164241"/>
                  </a:lnTo>
                  <a:lnTo>
                    <a:pt x="94107" y="1166051"/>
                  </a:lnTo>
                  <a:lnTo>
                    <a:pt x="87821" y="1166813"/>
                  </a:lnTo>
                  <a:lnTo>
                    <a:pt x="86392" y="1168622"/>
                  </a:lnTo>
                  <a:lnTo>
                    <a:pt x="79915" y="1167860"/>
                  </a:lnTo>
                  <a:lnTo>
                    <a:pt x="77343" y="1173004"/>
                  </a:lnTo>
                  <a:lnTo>
                    <a:pt x="77724" y="1176147"/>
                  </a:lnTo>
                  <a:lnTo>
                    <a:pt x="75343" y="1182814"/>
                  </a:lnTo>
                  <a:lnTo>
                    <a:pt x="76200" y="1189196"/>
                  </a:lnTo>
                  <a:lnTo>
                    <a:pt x="79534" y="1190339"/>
                  </a:lnTo>
                  <a:lnTo>
                    <a:pt x="80677" y="1187006"/>
                  </a:lnTo>
                  <a:lnTo>
                    <a:pt x="85630" y="1187958"/>
                  </a:lnTo>
                  <a:lnTo>
                    <a:pt x="83344" y="1194721"/>
                  </a:lnTo>
                  <a:lnTo>
                    <a:pt x="100489" y="1203674"/>
                  </a:lnTo>
                  <a:lnTo>
                    <a:pt x="108013" y="1212342"/>
                  </a:lnTo>
                  <a:lnTo>
                    <a:pt x="118110" y="1215866"/>
                  </a:lnTo>
                  <a:lnTo>
                    <a:pt x="122015" y="1221772"/>
                  </a:lnTo>
                  <a:lnTo>
                    <a:pt x="124968" y="1219867"/>
                  </a:lnTo>
                  <a:lnTo>
                    <a:pt x="124587" y="1216723"/>
                  </a:lnTo>
                  <a:lnTo>
                    <a:pt x="129730" y="1206437"/>
                  </a:lnTo>
                  <a:lnTo>
                    <a:pt x="135636" y="1202436"/>
                  </a:lnTo>
                  <a:lnTo>
                    <a:pt x="140303" y="1201864"/>
                  </a:lnTo>
                  <a:lnTo>
                    <a:pt x="144685" y="1198055"/>
                  </a:lnTo>
                  <a:lnTo>
                    <a:pt x="148019" y="1199293"/>
                  </a:lnTo>
                  <a:lnTo>
                    <a:pt x="144304" y="1194911"/>
                  </a:lnTo>
                  <a:lnTo>
                    <a:pt x="145066" y="1188434"/>
                  </a:lnTo>
                  <a:lnTo>
                    <a:pt x="144875" y="1186815"/>
                  </a:lnTo>
                  <a:lnTo>
                    <a:pt x="144208" y="1182052"/>
                  </a:lnTo>
                  <a:lnTo>
                    <a:pt x="145828" y="1181862"/>
                  </a:lnTo>
                  <a:lnTo>
                    <a:pt x="148971" y="1168718"/>
                  </a:lnTo>
                  <a:lnTo>
                    <a:pt x="152876" y="1174623"/>
                  </a:lnTo>
                  <a:lnTo>
                    <a:pt x="155829" y="1172623"/>
                  </a:lnTo>
                  <a:lnTo>
                    <a:pt x="161544" y="1167098"/>
                  </a:lnTo>
                  <a:lnTo>
                    <a:pt x="154210" y="1159955"/>
                  </a:lnTo>
                  <a:lnTo>
                    <a:pt x="155067" y="1153477"/>
                  </a:lnTo>
                  <a:lnTo>
                    <a:pt x="153257" y="1152049"/>
                  </a:lnTo>
                  <a:lnTo>
                    <a:pt x="144971" y="1149953"/>
                  </a:lnTo>
                  <a:lnTo>
                    <a:pt x="142970" y="1147001"/>
                  </a:lnTo>
                  <a:lnTo>
                    <a:pt x="144113" y="1143572"/>
                  </a:lnTo>
                  <a:lnTo>
                    <a:pt x="148685" y="1141476"/>
                  </a:lnTo>
                  <a:lnTo>
                    <a:pt x="148495" y="1139857"/>
                  </a:lnTo>
                  <a:lnTo>
                    <a:pt x="149638" y="1136523"/>
                  </a:lnTo>
                  <a:lnTo>
                    <a:pt x="146304" y="1135285"/>
                  </a:lnTo>
                  <a:lnTo>
                    <a:pt x="145923" y="1132142"/>
                  </a:lnTo>
                  <a:lnTo>
                    <a:pt x="141161" y="1132808"/>
                  </a:lnTo>
                  <a:lnTo>
                    <a:pt x="139827" y="1134523"/>
                  </a:lnTo>
                  <a:lnTo>
                    <a:pt x="139160" y="1129856"/>
                  </a:lnTo>
                  <a:lnTo>
                    <a:pt x="137636" y="1130046"/>
                  </a:lnTo>
                  <a:lnTo>
                    <a:pt x="135255" y="1123950"/>
                  </a:lnTo>
                  <a:lnTo>
                    <a:pt x="133445" y="1122521"/>
                  </a:lnTo>
                  <a:lnTo>
                    <a:pt x="133255" y="1120997"/>
                  </a:lnTo>
                  <a:lnTo>
                    <a:pt x="130302" y="1122902"/>
                  </a:lnTo>
                  <a:lnTo>
                    <a:pt x="126968" y="1121759"/>
                  </a:lnTo>
                  <a:lnTo>
                    <a:pt x="125349" y="1121950"/>
                  </a:lnTo>
                  <a:lnTo>
                    <a:pt x="127730" y="1115282"/>
                  </a:lnTo>
                  <a:lnTo>
                    <a:pt x="123920" y="1110901"/>
                  </a:lnTo>
                  <a:lnTo>
                    <a:pt x="117634" y="1111758"/>
                  </a:lnTo>
                  <a:lnTo>
                    <a:pt x="121920" y="1107948"/>
                  </a:lnTo>
                  <a:lnTo>
                    <a:pt x="127063" y="1110520"/>
                  </a:lnTo>
                  <a:lnTo>
                    <a:pt x="130016" y="1108519"/>
                  </a:lnTo>
                  <a:lnTo>
                    <a:pt x="131064" y="1103567"/>
                  </a:lnTo>
                  <a:lnTo>
                    <a:pt x="134207" y="1103185"/>
                  </a:lnTo>
                  <a:lnTo>
                    <a:pt x="132397" y="1101852"/>
                  </a:lnTo>
                  <a:lnTo>
                    <a:pt x="130873" y="1102043"/>
                  </a:lnTo>
                  <a:lnTo>
                    <a:pt x="129064" y="1100614"/>
                  </a:lnTo>
                  <a:lnTo>
                    <a:pt x="132016" y="1098709"/>
                  </a:lnTo>
                  <a:lnTo>
                    <a:pt x="136779" y="1098042"/>
                  </a:lnTo>
                  <a:lnTo>
                    <a:pt x="151543" y="1088136"/>
                  </a:lnTo>
                  <a:lnTo>
                    <a:pt x="154876" y="1089374"/>
                  </a:lnTo>
                  <a:lnTo>
                    <a:pt x="157639" y="1085755"/>
                  </a:lnTo>
                  <a:lnTo>
                    <a:pt x="159448" y="1087184"/>
                  </a:lnTo>
                  <a:lnTo>
                    <a:pt x="170497" y="1098614"/>
                  </a:lnTo>
                  <a:lnTo>
                    <a:pt x="174403" y="1091660"/>
                  </a:lnTo>
                  <a:lnTo>
                    <a:pt x="177737" y="1092803"/>
                  </a:lnTo>
                  <a:lnTo>
                    <a:pt x="177927" y="1094423"/>
                  </a:lnTo>
                  <a:lnTo>
                    <a:pt x="181356" y="1095565"/>
                  </a:lnTo>
                  <a:lnTo>
                    <a:pt x="179927" y="1097375"/>
                  </a:lnTo>
                  <a:lnTo>
                    <a:pt x="181928" y="1100328"/>
                  </a:lnTo>
                  <a:lnTo>
                    <a:pt x="188881" y="1104233"/>
                  </a:lnTo>
                  <a:lnTo>
                    <a:pt x="190024" y="1113758"/>
                  </a:lnTo>
                  <a:lnTo>
                    <a:pt x="183737" y="1114520"/>
                  </a:lnTo>
                  <a:lnTo>
                    <a:pt x="185738" y="1117473"/>
                  </a:lnTo>
                  <a:lnTo>
                    <a:pt x="188881" y="1117092"/>
                  </a:lnTo>
                  <a:lnTo>
                    <a:pt x="189452" y="1121759"/>
                  </a:lnTo>
                  <a:lnTo>
                    <a:pt x="200978" y="1123569"/>
                  </a:lnTo>
                  <a:lnTo>
                    <a:pt x="202882" y="1126522"/>
                  </a:lnTo>
                  <a:lnTo>
                    <a:pt x="201549" y="1128331"/>
                  </a:lnTo>
                  <a:lnTo>
                    <a:pt x="196787" y="1128903"/>
                  </a:lnTo>
                  <a:lnTo>
                    <a:pt x="197167" y="1132046"/>
                  </a:lnTo>
                  <a:lnTo>
                    <a:pt x="198787" y="1131856"/>
                  </a:lnTo>
                  <a:lnTo>
                    <a:pt x="202311" y="1134618"/>
                  </a:lnTo>
                  <a:lnTo>
                    <a:pt x="205264" y="1132618"/>
                  </a:lnTo>
                  <a:lnTo>
                    <a:pt x="207264" y="1135571"/>
                  </a:lnTo>
                  <a:lnTo>
                    <a:pt x="209074" y="1136999"/>
                  </a:lnTo>
                  <a:lnTo>
                    <a:pt x="210026" y="1144810"/>
                  </a:lnTo>
                  <a:lnTo>
                    <a:pt x="208502" y="1145096"/>
                  </a:lnTo>
                  <a:lnTo>
                    <a:pt x="208693" y="1146619"/>
                  </a:lnTo>
                  <a:lnTo>
                    <a:pt x="213265" y="1157288"/>
                  </a:lnTo>
                  <a:lnTo>
                    <a:pt x="213836" y="1162050"/>
                  </a:lnTo>
                  <a:lnTo>
                    <a:pt x="213074" y="1168527"/>
                  </a:lnTo>
                  <a:lnTo>
                    <a:pt x="211264" y="1167098"/>
                  </a:lnTo>
                  <a:lnTo>
                    <a:pt x="210121" y="1170527"/>
                  </a:lnTo>
                  <a:lnTo>
                    <a:pt x="217265" y="1175956"/>
                  </a:lnTo>
                  <a:lnTo>
                    <a:pt x="222123" y="1177004"/>
                  </a:lnTo>
                  <a:lnTo>
                    <a:pt x="226695" y="1174814"/>
                  </a:lnTo>
                  <a:lnTo>
                    <a:pt x="227076" y="1177957"/>
                  </a:lnTo>
                  <a:lnTo>
                    <a:pt x="231838" y="1177385"/>
                  </a:lnTo>
                  <a:lnTo>
                    <a:pt x="232220" y="1180529"/>
                  </a:lnTo>
                  <a:lnTo>
                    <a:pt x="229838" y="1187196"/>
                  </a:lnTo>
                  <a:lnTo>
                    <a:pt x="231457" y="1187006"/>
                  </a:lnTo>
                  <a:lnTo>
                    <a:pt x="232029" y="1191768"/>
                  </a:lnTo>
                  <a:lnTo>
                    <a:pt x="228695" y="1190530"/>
                  </a:lnTo>
                  <a:lnTo>
                    <a:pt x="229362" y="1195292"/>
                  </a:lnTo>
                  <a:lnTo>
                    <a:pt x="238792" y="1194149"/>
                  </a:lnTo>
                  <a:lnTo>
                    <a:pt x="236220" y="1199293"/>
                  </a:lnTo>
                  <a:lnTo>
                    <a:pt x="237839" y="1199007"/>
                  </a:lnTo>
                  <a:lnTo>
                    <a:pt x="240221" y="1205198"/>
                  </a:lnTo>
                  <a:lnTo>
                    <a:pt x="243364" y="1204722"/>
                  </a:lnTo>
                  <a:lnTo>
                    <a:pt x="242221" y="1208151"/>
                  </a:lnTo>
                  <a:lnTo>
                    <a:pt x="242792" y="1212818"/>
                  </a:lnTo>
                  <a:lnTo>
                    <a:pt x="245936" y="1212437"/>
                  </a:lnTo>
                  <a:lnTo>
                    <a:pt x="245745" y="1210913"/>
                  </a:lnTo>
                  <a:lnTo>
                    <a:pt x="247269" y="1210627"/>
                  </a:lnTo>
                  <a:lnTo>
                    <a:pt x="252222" y="1211675"/>
                  </a:lnTo>
                  <a:lnTo>
                    <a:pt x="252031" y="1210056"/>
                  </a:lnTo>
                  <a:lnTo>
                    <a:pt x="252031" y="1210056"/>
                  </a:lnTo>
                  <a:lnTo>
                    <a:pt x="254794" y="1206532"/>
                  </a:lnTo>
                  <a:lnTo>
                    <a:pt x="253460" y="1208246"/>
                  </a:lnTo>
                  <a:lnTo>
                    <a:pt x="252984" y="1205103"/>
                  </a:lnTo>
                  <a:lnTo>
                    <a:pt x="251460" y="1205293"/>
                  </a:lnTo>
                  <a:lnTo>
                    <a:pt x="252413" y="1200436"/>
                  </a:lnTo>
                  <a:lnTo>
                    <a:pt x="249079" y="1199198"/>
                  </a:lnTo>
                  <a:lnTo>
                    <a:pt x="253841" y="1198626"/>
                  </a:lnTo>
                  <a:lnTo>
                    <a:pt x="253365" y="1195483"/>
                  </a:lnTo>
                  <a:lnTo>
                    <a:pt x="256127" y="1191863"/>
                  </a:lnTo>
                  <a:lnTo>
                    <a:pt x="253937" y="1187387"/>
                  </a:lnTo>
                  <a:lnTo>
                    <a:pt x="255556" y="1187196"/>
                  </a:lnTo>
                  <a:lnTo>
                    <a:pt x="257746" y="1191673"/>
                  </a:lnTo>
                  <a:lnTo>
                    <a:pt x="260128" y="1197769"/>
                  </a:lnTo>
                  <a:lnTo>
                    <a:pt x="263842" y="1202150"/>
                  </a:lnTo>
                  <a:lnTo>
                    <a:pt x="264700" y="1208437"/>
                  </a:lnTo>
                  <a:lnTo>
                    <a:pt x="260509" y="1213771"/>
                  </a:lnTo>
                  <a:lnTo>
                    <a:pt x="259556" y="1218724"/>
                  </a:lnTo>
                  <a:lnTo>
                    <a:pt x="261556" y="1221677"/>
                  </a:lnTo>
                  <a:lnTo>
                    <a:pt x="258794" y="1225201"/>
                  </a:lnTo>
                  <a:lnTo>
                    <a:pt x="253460" y="1233964"/>
                  </a:lnTo>
                  <a:lnTo>
                    <a:pt x="255461" y="1236917"/>
                  </a:lnTo>
                  <a:lnTo>
                    <a:pt x="255461" y="1236917"/>
                  </a:lnTo>
                  <a:lnTo>
                    <a:pt x="257270" y="1238250"/>
                  </a:lnTo>
                  <a:lnTo>
                    <a:pt x="256222" y="1243203"/>
                  </a:lnTo>
                  <a:lnTo>
                    <a:pt x="251746" y="1245394"/>
                  </a:lnTo>
                  <a:lnTo>
                    <a:pt x="255651" y="1251299"/>
                  </a:lnTo>
                  <a:lnTo>
                    <a:pt x="257080" y="1249489"/>
                  </a:lnTo>
                  <a:lnTo>
                    <a:pt x="267176" y="1253014"/>
                  </a:lnTo>
                  <a:lnTo>
                    <a:pt x="265747" y="1254823"/>
                  </a:lnTo>
                  <a:lnTo>
                    <a:pt x="267748" y="1257776"/>
                  </a:lnTo>
                  <a:lnTo>
                    <a:pt x="274511" y="1260158"/>
                  </a:lnTo>
                  <a:lnTo>
                    <a:pt x="274701" y="1261681"/>
                  </a:lnTo>
                  <a:lnTo>
                    <a:pt x="276225" y="1261491"/>
                  </a:lnTo>
                  <a:lnTo>
                    <a:pt x="279368" y="1261110"/>
                  </a:lnTo>
                  <a:lnTo>
                    <a:pt x="288131" y="1266444"/>
                  </a:lnTo>
                  <a:lnTo>
                    <a:pt x="289465" y="1264634"/>
                  </a:lnTo>
                  <a:lnTo>
                    <a:pt x="292608" y="1264253"/>
                  </a:lnTo>
                  <a:lnTo>
                    <a:pt x="301085" y="1267968"/>
                  </a:lnTo>
                  <a:lnTo>
                    <a:pt x="306038" y="1268921"/>
                  </a:lnTo>
                  <a:lnTo>
                    <a:pt x="304705" y="1270730"/>
                  </a:lnTo>
                  <a:lnTo>
                    <a:pt x="308420" y="1275017"/>
                  </a:lnTo>
                  <a:lnTo>
                    <a:pt x="314420" y="1283875"/>
                  </a:lnTo>
                  <a:lnTo>
                    <a:pt x="322040" y="1281303"/>
                  </a:lnTo>
                  <a:lnTo>
                    <a:pt x="322897" y="1287589"/>
                  </a:lnTo>
                  <a:lnTo>
                    <a:pt x="321659" y="1291018"/>
                  </a:lnTo>
                  <a:lnTo>
                    <a:pt x="321850" y="1292543"/>
                  </a:lnTo>
                  <a:lnTo>
                    <a:pt x="318897" y="1294543"/>
                  </a:lnTo>
                  <a:lnTo>
                    <a:pt x="322897" y="1300448"/>
                  </a:lnTo>
                  <a:lnTo>
                    <a:pt x="325469" y="1308164"/>
                  </a:lnTo>
                  <a:lnTo>
                    <a:pt x="326326" y="1314450"/>
                  </a:lnTo>
                  <a:lnTo>
                    <a:pt x="328517" y="1319022"/>
                  </a:lnTo>
                  <a:lnTo>
                    <a:pt x="329851" y="1317212"/>
                  </a:lnTo>
                  <a:lnTo>
                    <a:pt x="331661" y="1318641"/>
                  </a:lnTo>
                  <a:lnTo>
                    <a:pt x="332232" y="1323308"/>
                  </a:lnTo>
                  <a:lnTo>
                    <a:pt x="334994" y="1332643"/>
                  </a:lnTo>
                  <a:lnTo>
                    <a:pt x="336804" y="1333976"/>
                  </a:lnTo>
                  <a:lnTo>
                    <a:pt x="335661" y="1337310"/>
                  </a:lnTo>
                  <a:lnTo>
                    <a:pt x="338614" y="1335310"/>
                  </a:lnTo>
                  <a:lnTo>
                    <a:pt x="338804" y="1336929"/>
                  </a:lnTo>
                  <a:lnTo>
                    <a:pt x="339185" y="1340072"/>
                  </a:lnTo>
                  <a:lnTo>
                    <a:pt x="337566" y="1340263"/>
                  </a:lnTo>
                  <a:lnTo>
                    <a:pt x="340995" y="1341501"/>
                  </a:lnTo>
                  <a:lnTo>
                    <a:pt x="342900" y="1344454"/>
                  </a:lnTo>
                  <a:lnTo>
                    <a:pt x="346329" y="1345597"/>
                  </a:lnTo>
                  <a:lnTo>
                    <a:pt x="348234" y="1348550"/>
                  </a:lnTo>
                  <a:lnTo>
                    <a:pt x="348044" y="1346930"/>
                  </a:lnTo>
                  <a:lnTo>
                    <a:pt x="349663" y="1346740"/>
                  </a:lnTo>
                  <a:lnTo>
                    <a:pt x="349853" y="1348359"/>
                  </a:lnTo>
                  <a:lnTo>
                    <a:pt x="352425" y="1343215"/>
                  </a:lnTo>
                  <a:lnTo>
                    <a:pt x="352996" y="1335119"/>
                  </a:lnTo>
                  <a:lnTo>
                    <a:pt x="351377" y="1335310"/>
                  </a:lnTo>
                  <a:lnTo>
                    <a:pt x="350615" y="1329023"/>
                  </a:lnTo>
                  <a:lnTo>
                    <a:pt x="354901" y="1325213"/>
                  </a:lnTo>
                  <a:lnTo>
                    <a:pt x="359664" y="1324642"/>
                  </a:lnTo>
                  <a:lnTo>
                    <a:pt x="364236" y="1322451"/>
                  </a:lnTo>
                  <a:lnTo>
                    <a:pt x="358616" y="1316736"/>
                  </a:lnTo>
                  <a:lnTo>
                    <a:pt x="361569" y="1314736"/>
                  </a:lnTo>
                  <a:lnTo>
                    <a:pt x="364807" y="1314355"/>
                  </a:lnTo>
                  <a:lnTo>
                    <a:pt x="367189" y="1320451"/>
                  </a:lnTo>
                  <a:lnTo>
                    <a:pt x="374047" y="1324451"/>
                  </a:lnTo>
                  <a:lnTo>
                    <a:pt x="375475" y="1322642"/>
                  </a:lnTo>
                  <a:lnTo>
                    <a:pt x="376428" y="1317689"/>
                  </a:lnTo>
                  <a:lnTo>
                    <a:pt x="381190" y="1317117"/>
                  </a:lnTo>
                  <a:lnTo>
                    <a:pt x="385667" y="1314926"/>
                  </a:lnTo>
                  <a:lnTo>
                    <a:pt x="387096" y="1313117"/>
                  </a:lnTo>
                  <a:lnTo>
                    <a:pt x="395573" y="1316831"/>
                  </a:lnTo>
                  <a:lnTo>
                    <a:pt x="398526" y="1314926"/>
                  </a:lnTo>
                  <a:lnTo>
                    <a:pt x="403003" y="1312735"/>
                  </a:lnTo>
                  <a:lnTo>
                    <a:pt x="404050" y="1307783"/>
                  </a:lnTo>
                  <a:lnTo>
                    <a:pt x="406241" y="1312259"/>
                  </a:lnTo>
                  <a:lnTo>
                    <a:pt x="407575" y="1310545"/>
                  </a:lnTo>
                  <a:lnTo>
                    <a:pt x="416433" y="1317403"/>
                  </a:lnTo>
                  <a:lnTo>
                    <a:pt x="417671" y="1314069"/>
                  </a:lnTo>
                  <a:lnTo>
                    <a:pt x="421005" y="1315212"/>
                  </a:lnTo>
                  <a:lnTo>
                    <a:pt x="429863" y="1309306"/>
                  </a:lnTo>
                  <a:lnTo>
                    <a:pt x="431292" y="1307497"/>
                  </a:lnTo>
                  <a:lnTo>
                    <a:pt x="429482" y="1306163"/>
                  </a:lnTo>
                  <a:lnTo>
                    <a:pt x="430625" y="1302734"/>
                  </a:lnTo>
                  <a:lnTo>
                    <a:pt x="435007" y="1299019"/>
                  </a:lnTo>
                  <a:lnTo>
                    <a:pt x="436150" y="1295686"/>
                  </a:lnTo>
                  <a:lnTo>
                    <a:pt x="439293" y="1295210"/>
                  </a:lnTo>
                  <a:lnTo>
                    <a:pt x="437293" y="1292257"/>
                  </a:lnTo>
                  <a:lnTo>
                    <a:pt x="440531" y="1291876"/>
                  </a:lnTo>
                  <a:lnTo>
                    <a:pt x="441674" y="1288542"/>
                  </a:lnTo>
                  <a:lnTo>
                    <a:pt x="443198" y="1288352"/>
                  </a:lnTo>
                  <a:lnTo>
                    <a:pt x="445961" y="1271968"/>
                  </a:lnTo>
                  <a:lnTo>
                    <a:pt x="447961" y="1274921"/>
                  </a:lnTo>
                  <a:lnTo>
                    <a:pt x="454057" y="1272540"/>
                  </a:lnTo>
                  <a:lnTo>
                    <a:pt x="453676" y="1269397"/>
                  </a:lnTo>
                  <a:lnTo>
                    <a:pt x="458629" y="1270349"/>
                  </a:lnTo>
                  <a:lnTo>
                    <a:pt x="462344" y="1261872"/>
                  </a:lnTo>
                  <a:lnTo>
                    <a:pt x="465487" y="1261491"/>
                  </a:lnTo>
                  <a:lnTo>
                    <a:pt x="467011" y="1261205"/>
                  </a:lnTo>
                  <a:lnTo>
                    <a:pt x="473392" y="1260443"/>
                  </a:lnTo>
                  <a:lnTo>
                    <a:pt x="470821" y="1252728"/>
                  </a:lnTo>
                  <a:lnTo>
                    <a:pt x="472345" y="1252538"/>
                  </a:lnTo>
                  <a:lnTo>
                    <a:pt x="469773" y="1244822"/>
                  </a:lnTo>
                  <a:lnTo>
                    <a:pt x="469582" y="1243298"/>
                  </a:lnTo>
                  <a:lnTo>
                    <a:pt x="462820" y="1240917"/>
                  </a:lnTo>
                  <a:lnTo>
                    <a:pt x="463867" y="1235964"/>
                  </a:lnTo>
                  <a:lnTo>
                    <a:pt x="459867" y="1230059"/>
                  </a:lnTo>
                  <a:lnTo>
                    <a:pt x="457295" y="1222439"/>
                  </a:lnTo>
                  <a:lnTo>
                    <a:pt x="456724" y="1217676"/>
                  </a:lnTo>
                  <a:lnTo>
                    <a:pt x="456057" y="1212914"/>
                  </a:lnTo>
                  <a:lnTo>
                    <a:pt x="457867" y="1214342"/>
                  </a:lnTo>
                  <a:lnTo>
                    <a:pt x="456819" y="1206437"/>
                  </a:lnTo>
                  <a:lnTo>
                    <a:pt x="461581" y="1205770"/>
                  </a:lnTo>
                  <a:lnTo>
                    <a:pt x="462724" y="1202436"/>
                  </a:lnTo>
                  <a:lnTo>
                    <a:pt x="462534" y="1200912"/>
                  </a:lnTo>
                  <a:lnTo>
                    <a:pt x="465296" y="1197293"/>
                  </a:lnTo>
                  <a:lnTo>
                    <a:pt x="467106" y="1198721"/>
                  </a:lnTo>
                  <a:lnTo>
                    <a:pt x="468249" y="1195292"/>
                  </a:lnTo>
                  <a:lnTo>
                    <a:pt x="466725" y="1195578"/>
                  </a:lnTo>
                  <a:lnTo>
                    <a:pt x="469678" y="1193578"/>
                  </a:lnTo>
                  <a:lnTo>
                    <a:pt x="470249" y="1185481"/>
                  </a:lnTo>
                  <a:lnTo>
                    <a:pt x="476536" y="1184624"/>
                  </a:lnTo>
                  <a:lnTo>
                    <a:pt x="476345" y="1183100"/>
                  </a:lnTo>
                  <a:lnTo>
                    <a:pt x="481108" y="1182529"/>
                  </a:lnTo>
                  <a:lnTo>
                    <a:pt x="480631" y="1179290"/>
                  </a:lnTo>
                  <a:lnTo>
                    <a:pt x="480631" y="1179290"/>
                  </a:lnTo>
                  <a:lnTo>
                    <a:pt x="488156" y="1187958"/>
                  </a:lnTo>
                  <a:lnTo>
                    <a:pt x="491299" y="1187577"/>
                  </a:lnTo>
                  <a:lnTo>
                    <a:pt x="491585" y="1189196"/>
                  </a:lnTo>
                  <a:lnTo>
                    <a:pt x="485870" y="1194721"/>
                  </a:lnTo>
                  <a:lnTo>
                    <a:pt x="485680" y="1205960"/>
                  </a:lnTo>
                  <a:lnTo>
                    <a:pt x="484918" y="1212437"/>
                  </a:lnTo>
                  <a:lnTo>
                    <a:pt x="485299" y="1215581"/>
                  </a:lnTo>
                  <a:lnTo>
                    <a:pt x="493205" y="1214628"/>
                  </a:lnTo>
                  <a:lnTo>
                    <a:pt x="496538" y="1215771"/>
                  </a:lnTo>
                  <a:lnTo>
                    <a:pt x="495300" y="1206341"/>
                  </a:lnTo>
                  <a:lnTo>
                    <a:pt x="507206" y="1211199"/>
                  </a:lnTo>
                  <a:lnTo>
                    <a:pt x="510159" y="1209294"/>
                  </a:lnTo>
                  <a:lnTo>
                    <a:pt x="513874" y="1213580"/>
                  </a:lnTo>
                  <a:lnTo>
                    <a:pt x="512921" y="1218533"/>
                  </a:lnTo>
                  <a:lnTo>
                    <a:pt x="522351" y="1217295"/>
                  </a:lnTo>
                  <a:lnTo>
                    <a:pt x="524542" y="1221867"/>
                  </a:lnTo>
                  <a:lnTo>
                    <a:pt x="525971" y="1220057"/>
                  </a:lnTo>
                  <a:lnTo>
                    <a:pt x="523780" y="1215581"/>
                  </a:lnTo>
                  <a:lnTo>
                    <a:pt x="528733" y="1216533"/>
                  </a:lnTo>
                  <a:lnTo>
                    <a:pt x="528542" y="1214914"/>
                  </a:lnTo>
                  <a:lnTo>
                    <a:pt x="531876" y="1216152"/>
                  </a:lnTo>
                  <a:lnTo>
                    <a:pt x="538163" y="1215295"/>
                  </a:lnTo>
                  <a:lnTo>
                    <a:pt x="537020" y="1218629"/>
                  </a:lnTo>
                  <a:lnTo>
                    <a:pt x="543497" y="1219390"/>
                  </a:lnTo>
                  <a:lnTo>
                    <a:pt x="549212" y="1226725"/>
                  </a:lnTo>
                  <a:lnTo>
                    <a:pt x="549212" y="1226725"/>
                  </a:lnTo>
                  <a:lnTo>
                    <a:pt x="554831" y="1232440"/>
                  </a:lnTo>
                  <a:lnTo>
                    <a:pt x="555974" y="1241869"/>
                  </a:lnTo>
                  <a:lnTo>
                    <a:pt x="556165" y="1243489"/>
                  </a:lnTo>
                  <a:lnTo>
                    <a:pt x="571500" y="1225487"/>
                  </a:lnTo>
                  <a:lnTo>
                    <a:pt x="576834" y="1216819"/>
                  </a:lnTo>
                  <a:lnTo>
                    <a:pt x="579787" y="1214818"/>
                  </a:lnTo>
                  <a:lnTo>
                    <a:pt x="581597" y="1216152"/>
                  </a:lnTo>
                  <a:lnTo>
                    <a:pt x="584359" y="1212628"/>
                  </a:lnTo>
                  <a:lnTo>
                    <a:pt x="584549" y="1201388"/>
                  </a:lnTo>
                  <a:lnTo>
                    <a:pt x="582549" y="1198435"/>
                  </a:lnTo>
                  <a:lnTo>
                    <a:pt x="579406" y="1198817"/>
                  </a:lnTo>
                  <a:lnTo>
                    <a:pt x="583501" y="1193483"/>
                  </a:lnTo>
                  <a:lnTo>
                    <a:pt x="576548" y="1189577"/>
                  </a:lnTo>
                  <a:lnTo>
                    <a:pt x="584930" y="1191673"/>
                  </a:lnTo>
                  <a:lnTo>
                    <a:pt x="584645" y="1190149"/>
                  </a:lnTo>
                  <a:lnTo>
                    <a:pt x="587597" y="1188148"/>
                  </a:lnTo>
                  <a:lnTo>
                    <a:pt x="589788" y="1192721"/>
                  </a:lnTo>
                  <a:lnTo>
                    <a:pt x="589979" y="1194244"/>
                  </a:lnTo>
                  <a:lnTo>
                    <a:pt x="593407" y="1195388"/>
                  </a:lnTo>
                  <a:lnTo>
                    <a:pt x="597313" y="1188530"/>
                  </a:lnTo>
                  <a:lnTo>
                    <a:pt x="600456" y="1188148"/>
                  </a:lnTo>
                  <a:lnTo>
                    <a:pt x="604838" y="1184339"/>
                  </a:lnTo>
                  <a:lnTo>
                    <a:pt x="606742" y="1187291"/>
                  </a:lnTo>
                  <a:lnTo>
                    <a:pt x="620554" y="1182338"/>
                  </a:lnTo>
                  <a:lnTo>
                    <a:pt x="622363" y="1183767"/>
                  </a:lnTo>
                  <a:lnTo>
                    <a:pt x="627126" y="1183100"/>
                  </a:lnTo>
                  <a:lnTo>
                    <a:pt x="630079" y="1181100"/>
                  </a:lnTo>
                  <a:lnTo>
                    <a:pt x="633413" y="1182338"/>
                  </a:lnTo>
                  <a:lnTo>
                    <a:pt x="638747" y="1186434"/>
                  </a:lnTo>
                  <a:lnTo>
                    <a:pt x="639128" y="1189577"/>
                  </a:lnTo>
                  <a:lnTo>
                    <a:pt x="637984" y="1193006"/>
                  </a:lnTo>
                  <a:lnTo>
                    <a:pt x="642271" y="1189196"/>
                  </a:lnTo>
                  <a:lnTo>
                    <a:pt x="644080" y="1190530"/>
                  </a:lnTo>
                  <a:lnTo>
                    <a:pt x="644271" y="1192149"/>
                  </a:lnTo>
                  <a:lnTo>
                    <a:pt x="645890" y="1191959"/>
                  </a:lnTo>
                  <a:lnTo>
                    <a:pt x="650748" y="1192911"/>
                  </a:lnTo>
                  <a:lnTo>
                    <a:pt x="651986" y="1189577"/>
                  </a:lnTo>
                  <a:lnTo>
                    <a:pt x="652367" y="1192721"/>
                  </a:lnTo>
                  <a:lnTo>
                    <a:pt x="653796" y="1190911"/>
                  </a:lnTo>
                  <a:lnTo>
                    <a:pt x="658654" y="1191959"/>
                  </a:lnTo>
                  <a:lnTo>
                    <a:pt x="666179" y="1187768"/>
                  </a:lnTo>
                  <a:lnTo>
                    <a:pt x="666940" y="1181290"/>
                  </a:lnTo>
                  <a:lnTo>
                    <a:pt x="671703" y="1180624"/>
                  </a:lnTo>
                  <a:lnTo>
                    <a:pt x="678561" y="1171765"/>
                  </a:lnTo>
                  <a:lnTo>
                    <a:pt x="674561" y="1165860"/>
                  </a:lnTo>
                  <a:lnTo>
                    <a:pt x="677513" y="1163860"/>
                  </a:lnTo>
                  <a:lnTo>
                    <a:pt x="672179" y="1159764"/>
                  </a:lnTo>
                  <a:lnTo>
                    <a:pt x="668464" y="1155383"/>
                  </a:lnTo>
                  <a:lnTo>
                    <a:pt x="668274" y="1153859"/>
                  </a:lnTo>
                  <a:lnTo>
                    <a:pt x="667703" y="1149096"/>
                  </a:lnTo>
                  <a:lnTo>
                    <a:pt x="658749" y="1142238"/>
                  </a:lnTo>
                  <a:lnTo>
                    <a:pt x="659892" y="1138809"/>
                  </a:lnTo>
                  <a:lnTo>
                    <a:pt x="656368" y="1136047"/>
                  </a:lnTo>
                  <a:lnTo>
                    <a:pt x="659130" y="1132523"/>
                  </a:lnTo>
                  <a:lnTo>
                    <a:pt x="662845" y="1136904"/>
                  </a:lnTo>
                  <a:lnTo>
                    <a:pt x="664083" y="1133475"/>
                  </a:lnTo>
                  <a:lnTo>
                    <a:pt x="668846" y="1132904"/>
                  </a:lnTo>
                  <a:lnTo>
                    <a:pt x="669036" y="1134523"/>
                  </a:lnTo>
                  <a:lnTo>
                    <a:pt x="676465" y="1130332"/>
                  </a:lnTo>
                  <a:lnTo>
                    <a:pt x="682847" y="1142333"/>
                  </a:lnTo>
                  <a:lnTo>
                    <a:pt x="687800" y="1143286"/>
                  </a:lnTo>
                  <a:lnTo>
                    <a:pt x="692087" y="1139571"/>
                  </a:lnTo>
                  <a:lnTo>
                    <a:pt x="689515" y="1131856"/>
                  </a:lnTo>
                  <a:lnTo>
                    <a:pt x="690944" y="1130046"/>
                  </a:lnTo>
                  <a:lnTo>
                    <a:pt x="690277" y="1125379"/>
                  </a:lnTo>
                  <a:lnTo>
                    <a:pt x="693230" y="1123379"/>
                  </a:lnTo>
                  <a:lnTo>
                    <a:pt x="692658" y="1118616"/>
                  </a:lnTo>
                  <a:lnTo>
                    <a:pt x="697135" y="1116425"/>
                  </a:lnTo>
                  <a:lnTo>
                    <a:pt x="702564" y="1120616"/>
                  </a:lnTo>
                  <a:lnTo>
                    <a:pt x="706660" y="1115282"/>
                  </a:lnTo>
                  <a:lnTo>
                    <a:pt x="709231" y="1122902"/>
                  </a:lnTo>
                  <a:lnTo>
                    <a:pt x="716185" y="1126903"/>
                  </a:lnTo>
                  <a:lnTo>
                    <a:pt x="718280" y="1131380"/>
                  </a:lnTo>
                  <a:lnTo>
                    <a:pt x="721519" y="1130998"/>
                  </a:lnTo>
                  <a:lnTo>
                    <a:pt x="718947" y="1136142"/>
                  </a:lnTo>
                  <a:lnTo>
                    <a:pt x="719138" y="1137761"/>
                  </a:lnTo>
                  <a:lnTo>
                    <a:pt x="726091" y="1141667"/>
                  </a:lnTo>
                  <a:lnTo>
                    <a:pt x="724662" y="1143476"/>
                  </a:lnTo>
                  <a:lnTo>
                    <a:pt x="729424" y="1142810"/>
                  </a:lnTo>
                  <a:lnTo>
                    <a:pt x="736473" y="1148334"/>
                  </a:lnTo>
                  <a:lnTo>
                    <a:pt x="739712" y="1147953"/>
                  </a:lnTo>
                  <a:lnTo>
                    <a:pt x="741045" y="1146143"/>
                  </a:lnTo>
                  <a:lnTo>
                    <a:pt x="754856" y="1141190"/>
                  </a:lnTo>
                  <a:lnTo>
                    <a:pt x="757999" y="1140809"/>
                  </a:lnTo>
                  <a:lnTo>
                    <a:pt x="758190" y="1142333"/>
                  </a:lnTo>
                  <a:lnTo>
                    <a:pt x="761333" y="1141952"/>
                  </a:lnTo>
                  <a:lnTo>
                    <a:pt x="763143" y="1143381"/>
                  </a:lnTo>
                  <a:lnTo>
                    <a:pt x="766286" y="1142905"/>
                  </a:lnTo>
                  <a:lnTo>
                    <a:pt x="765905" y="1139762"/>
                  </a:lnTo>
                  <a:lnTo>
                    <a:pt x="767524" y="1139571"/>
                  </a:lnTo>
                  <a:lnTo>
                    <a:pt x="767048" y="1136428"/>
                  </a:lnTo>
                  <a:lnTo>
                    <a:pt x="766477" y="1131665"/>
                  </a:lnTo>
                  <a:lnTo>
                    <a:pt x="770382" y="1124807"/>
                  </a:lnTo>
                  <a:lnTo>
                    <a:pt x="766667" y="1120426"/>
                  </a:lnTo>
                  <a:lnTo>
                    <a:pt x="766477" y="1118902"/>
                  </a:lnTo>
                  <a:lnTo>
                    <a:pt x="773906" y="1114711"/>
                  </a:lnTo>
                  <a:lnTo>
                    <a:pt x="775145" y="1111377"/>
                  </a:lnTo>
                  <a:lnTo>
                    <a:pt x="778097" y="1109377"/>
                  </a:lnTo>
                  <a:lnTo>
                    <a:pt x="776288" y="1107948"/>
                  </a:lnTo>
                  <a:lnTo>
                    <a:pt x="780574" y="1104233"/>
                  </a:lnTo>
                  <a:lnTo>
                    <a:pt x="778002" y="1096518"/>
                  </a:lnTo>
                  <a:lnTo>
                    <a:pt x="772097" y="1087660"/>
                  </a:lnTo>
                  <a:lnTo>
                    <a:pt x="771715" y="1084517"/>
                  </a:lnTo>
                  <a:lnTo>
                    <a:pt x="775240" y="1087279"/>
                  </a:lnTo>
                  <a:lnTo>
                    <a:pt x="778192" y="1085279"/>
                  </a:lnTo>
                  <a:lnTo>
                    <a:pt x="787241" y="1080897"/>
                  </a:lnTo>
                  <a:lnTo>
                    <a:pt x="788480" y="1077563"/>
                  </a:lnTo>
                  <a:lnTo>
                    <a:pt x="787813" y="1072801"/>
                  </a:lnTo>
                  <a:lnTo>
                    <a:pt x="790384" y="1067657"/>
                  </a:lnTo>
                  <a:lnTo>
                    <a:pt x="794004" y="1070419"/>
                  </a:lnTo>
                  <a:lnTo>
                    <a:pt x="807720" y="1065467"/>
                  </a:lnTo>
                  <a:lnTo>
                    <a:pt x="806958" y="1059180"/>
                  </a:lnTo>
                  <a:lnTo>
                    <a:pt x="808577" y="1058989"/>
                  </a:lnTo>
                  <a:lnTo>
                    <a:pt x="808101" y="1055846"/>
                  </a:lnTo>
                  <a:lnTo>
                    <a:pt x="809149" y="1050893"/>
                  </a:lnTo>
                  <a:lnTo>
                    <a:pt x="808672" y="1047750"/>
                  </a:lnTo>
                  <a:lnTo>
                    <a:pt x="806767" y="1044797"/>
                  </a:lnTo>
                  <a:lnTo>
                    <a:pt x="809911" y="1044321"/>
                  </a:lnTo>
                  <a:lnTo>
                    <a:pt x="813435" y="1047083"/>
                  </a:lnTo>
                  <a:lnTo>
                    <a:pt x="815435" y="1050036"/>
                  </a:lnTo>
                  <a:lnTo>
                    <a:pt x="823341" y="1049084"/>
                  </a:lnTo>
                  <a:lnTo>
                    <a:pt x="825532" y="1053560"/>
                  </a:lnTo>
                  <a:lnTo>
                    <a:pt x="828675" y="1053179"/>
                  </a:lnTo>
                  <a:lnTo>
                    <a:pt x="830580" y="1056132"/>
                  </a:lnTo>
                  <a:lnTo>
                    <a:pt x="835152" y="1053941"/>
                  </a:lnTo>
                  <a:lnTo>
                    <a:pt x="840676" y="1059656"/>
                  </a:lnTo>
                  <a:lnTo>
                    <a:pt x="850011" y="1056894"/>
                  </a:lnTo>
                  <a:lnTo>
                    <a:pt x="849535" y="1053751"/>
                  </a:lnTo>
                  <a:lnTo>
                    <a:pt x="849154" y="1050608"/>
                  </a:lnTo>
                  <a:lnTo>
                    <a:pt x="857440" y="1039939"/>
                  </a:lnTo>
                  <a:lnTo>
                    <a:pt x="860393" y="1025080"/>
                  </a:lnTo>
                  <a:lnTo>
                    <a:pt x="859917" y="1021937"/>
                  </a:lnTo>
                  <a:lnTo>
                    <a:pt x="855250" y="1022509"/>
                  </a:lnTo>
                  <a:lnTo>
                    <a:pt x="855250" y="102250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5" name="Volný tvar: obrazec 54">
              <a:extLst>
                <a:ext uri="{FF2B5EF4-FFF2-40B4-BE49-F238E27FC236}">
                  <a16:creationId xmlns:a16="http://schemas.microsoft.com/office/drawing/2014/main" id="{196483BD-5A6A-6F5A-23D1-0C54023A2144}"/>
                </a:ext>
              </a:extLst>
            </p:cNvPr>
            <p:cNvSpPr>
              <a:spLocks noChangeAspect="1"/>
            </p:cNvSpPr>
            <p:nvPr userDrawn="1">
              <p:custDataLst>
                <p:tags r:id="rId8"/>
              </p:custDataLst>
            </p:nvPr>
          </p:nvSpPr>
          <p:spPr>
            <a:xfrm>
              <a:off x="3727418" y="2648330"/>
              <a:ext cx="835437" cy="647509"/>
            </a:xfrm>
            <a:custGeom>
              <a:avLst/>
              <a:gdLst>
                <a:gd name="connsiteX0" fmla="*/ 833057 w 835437"/>
                <a:gd name="connsiteY0" fmla="*/ 420719 h 647509"/>
                <a:gd name="connsiteX1" fmla="*/ 831437 w 835437"/>
                <a:gd name="connsiteY1" fmla="*/ 408146 h 647509"/>
                <a:gd name="connsiteX2" fmla="*/ 829628 w 835437"/>
                <a:gd name="connsiteY2" fmla="*/ 406717 h 647509"/>
                <a:gd name="connsiteX3" fmla="*/ 821722 w 835437"/>
                <a:gd name="connsiteY3" fmla="*/ 407765 h 647509"/>
                <a:gd name="connsiteX4" fmla="*/ 823151 w 835437"/>
                <a:gd name="connsiteY4" fmla="*/ 405956 h 647509"/>
                <a:gd name="connsiteX5" fmla="*/ 827627 w 835437"/>
                <a:gd name="connsiteY5" fmla="*/ 403765 h 647509"/>
                <a:gd name="connsiteX6" fmla="*/ 820769 w 835437"/>
                <a:gd name="connsiteY6" fmla="*/ 399859 h 647509"/>
                <a:gd name="connsiteX7" fmla="*/ 820579 w 835437"/>
                <a:gd name="connsiteY7" fmla="*/ 398240 h 647509"/>
                <a:gd name="connsiteX8" fmla="*/ 818198 w 835437"/>
                <a:gd name="connsiteY8" fmla="*/ 392144 h 647509"/>
                <a:gd name="connsiteX9" fmla="*/ 813245 w 835437"/>
                <a:gd name="connsiteY9" fmla="*/ 391192 h 647509"/>
                <a:gd name="connsiteX10" fmla="*/ 805529 w 835437"/>
                <a:gd name="connsiteY10" fmla="*/ 393763 h 647509"/>
                <a:gd name="connsiteX11" fmla="*/ 800195 w 835437"/>
                <a:gd name="connsiteY11" fmla="*/ 389668 h 647509"/>
                <a:gd name="connsiteX12" fmla="*/ 797624 w 835437"/>
                <a:gd name="connsiteY12" fmla="*/ 394716 h 647509"/>
                <a:gd name="connsiteX13" fmla="*/ 791909 w 835437"/>
                <a:gd name="connsiteY13" fmla="*/ 387477 h 647509"/>
                <a:gd name="connsiteX14" fmla="*/ 788765 w 835437"/>
                <a:gd name="connsiteY14" fmla="*/ 387858 h 647509"/>
                <a:gd name="connsiteX15" fmla="*/ 785146 w 835437"/>
                <a:gd name="connsiteY15" fmla="*/ 385096 h 647509"/>
                <a:gd name="connsiteX16" fmla="*/ 793051 w 835437"/>
                <a:gd name="connsiteY16" fmla="*/ 384143 h 647509"/>
                <a:gd name="connsiteX17" fmla="*/ 794290 w 835437"/>
                <a:gd name="connsiteY17" fmla="*/ 380714 h 647509"/>
                <a:gd name="connsiteX18" fmla="*/ 790861 w 835437"/>
                <a:gd name="connsiteY18" fmla="*/ 379571 h 647509"/>
                <a:gd name="connsiteX19" fmla="*/ 792099 w 835437"/>
                <a:gd name="connsiteY19" fmla="*/ 376238 h 647509"/>
                <a:gd name="connsiteX20" fmla="*/ 799814 w 835437"/>
                <a:gd name="connsiteY20" fmla="*/ 373666 h 647509"/>
                <a:gd name="connsiteX21" fmla="*/ 800005 w 835437"/>
                <a:gd name="connsiteY21" fmla="*/ 375190 h 647509"/>
                <a:gd name="connsiteX22" fmla="*/ 801148 w 835437"/>
                <a:gd name="connsiteY22" fmla="*/ 371856 h 647509"/>
                <a:gd name="connsiteX23" fmla="*/ 809625 w 835437"/>
                <a:gd name="connsiteY23" fmla="*/ 375571 h 647509"/>
                <a:gd name="connsiteX24" fmla="*/ 809435 w 835437"/>
                <a:gd name="connsiteY24" fmla="*/ 374047 h 647509"/>
                <a:gd name="connsiteX25" fmla="*/ 811244 w 835437"/>
                <a:gd name="connsiteY25" fmla="*/ 375380 h 647509"/>
                <a:gd name="connsiteX26" fmla="*/ 812578 w 835437"/>
                <a:gd name="connsiteY26" fmla="*/ 373571 h 647509"/>
                <a:gd name="connsiteX27" fmla="*/ 815912 w 835437"/>
                <a:gd name="connsiteY27" fmla="*/ 374809 h 647509"/>
                <a:gd name="connsiteX28" fmla="*/ 812959 w 835437"/>
                <a:gd name="connsiteY28" fmla="*/ 376809 h 647509"/>
                <a:gd name="connsiteX29" fmla="*/ 821722 w 835437"/>
                <a:gd name="connsiteY29" fmla="*/ 382048 h 647509"/>
                <a:gd name="connsiteX30" fmla="*/ 824865 w 835437"/>
                <a:gd name="connsiteY30" fmla="*/ 381667 h 647509"/>
                <a:gd name="connsiteX31" fmla="*/ 822484 w 835437"/>
                <a:gd name="connsiteY31" fmla="*/ 375571 h 647509"/>
                <a:gd name="connsiteX32" fmla="*/ 825437 w 835437"/>
                <a:gd name="connsiteY32" fmla="*/ 373571 h 647509"/>
                <a:gd name="connsiteX33" fmla="*/ 820293 w 835437"/>
                <a:gd name="connsiteY33" fmla="*/ 370999 h 647509"/>
                <a:gd name="connsiteX34" fmla="*/ 821817 w 835437"/>
                <a:gd name="connsiteY34" fmla="*/ 370808 h 647509"/>
                <a:gd name="connsiteX35" fmla="*/ 821436 w 835437"/>
                <a:gd name="connsiteY35" fmla="*/ 367665 h 647509"/>
                <a:gd name="connsiteX36" fmla="*/ 812959 w 835437"/>
                <a:gd name="connsiteY36" fmla="*/ 363950 h 647509"/>
                <a:gd name="connsiteX37" fmla="*/ 813911 w 835437"/>
                <a:gd name="connsiteY37" fmla="*/ 358997 h 647509"/>
                <a:gd name="connsiteX38" fmla="*/ 812387 w 835437"/>
                <a:gd name="connsiteY38" fmla="*/ 359188 h 647509"/>
                <a:gd name="connsiteX39" fmla="*/ 815340 w 835437"/>
                <a:gd name="connsiteY39" fmla="*/ 357188 h 647509"/>
                <a:gd name="connsiteX40" fmla="*/ 825151 w 835437"/>
                <a:gd name="connsiteY40" fmla="*/ 359188 h 647509"/>
                <a:gd name="connsiteX41" fmla="*/ 828294 w 835437"/>
                <a:gd name="connsiteY41" fmla="*/ 345948 h 647509"/>
                <a:gd name="connsiteX42" fmla="*/ 818674 w 835437"/>
                <a:gd name="connsiteY42" fmla="*/ 345567 h 647509"/>
                <a:gd name="connsiteX43" fmla="*/ 821436 w 835437"/>
                <a:gd name="connsiteY43" fmla="*/ 342043 h 647509"/>
                <a:gd name="connsiteX44" fmla="*/ 822198 w 835437"/>
                <a:gd name="connsiteY44" fmla="*/ 335471 h 647509"/>
                <a:gd name="connsiteX45" fmla="*/ 820388 w 835437"/>
                <a:gd name="connsiteY45" fmla="*/ 334137 h 647509"/>
                <a:gd name="connsiteX46" fmla="*/ 819436 w 835437"/>
                <a:gd name="connsiteY46" fmla="*/ 326231 h 647509"/>
                <a:gd name="connsiteX47" fmla="*/ 813816 w 835437"/>
                <a:gd name="connsiteY47" fmla="*/ 320516 h 647509"/>
                <a:gd name="connsiteX48" fmla="*/ 813816 w 835437"/>
                <a:gd name="connsiteY48" fmla="*/ 320516 h 647509"/>
                <a:gd name="connsiteX49" fmla="*/ 816388 w 835437"/>
                <a:gd name="connsiteY49" fmla="*/ 315373 h 647509"/>
                <a:gd name="connsiteX50" fmla="*/ 809244 w 835437"/>
                <a:gd name="connsiteY50" fmla="*/ 309848 h 647509"/>
                <a:gd name="connsiteX51" fmla="*/ 807720 w 835437"/>
                <a:gd name="connsiteY51" fmla="*/ 310134 h 647509"/>
                <a:gd name="connsiteX52" fmla="*/ 804386 w 835437"/>
                <a:gd name="connsiteY52" fmla="*/ 308896 h 647509"/>
                <a:gd name="connsiteX53" fmla="*/ 808482 w 835437"/>
                <a:gd name="connsiteY53" fmla="*/ 303562 h 647509"/>
                <a:gd name="connsiteX54" fmla="*/ 808292 w 835437"/>
                <a:gd name="connsiteY54" fmla="*/ 302038 h 647509"/>
                <a:gd name="connsiteX55" fmla="*/ 805148 w 835437"/>
                <a:gd name="connsiteY55" fmla="*/ 302419 h 647509"/>
                <a:gd name="connsiteX56" fmla="*/ 796862 w 835437"/>
                <a:gd name="connsiteY56" fmla="*/ 300228 h 647509"/>
                <a:gd name="connsiteX57" fmla="*/ 796004 w 835437"/>
                <a:gd name="connsiteY57" fmla="*/ 293942 h 647509"/>
                <a:gd name="connsiteX58" fmla="*/ 802386 w 835437"/>
                <a:gd name="connsiteY58" fmla="*/ 293180 h 647509"/>
                <a:gd name="connsiteX59" fmla="*/ 801529 w 835437"/>
                <a:gd name="connsiteY59" fmla="*/ 286798 h 647509"/>
                <a:gd name="connsiteX60" fmla="*/ 802958 w 835437"/>
                <a:gd name="connsiteY60" fmla="*/ 284988 h 647509"/>
                <a:gd name="connsiteX61" fmla="*/ 804291 w 835437"/>
                <a:gd name="connsiteY61" fmla="*/ 283273 h 647509"/>
                <a:gd name="connsiteX62" fmla="*/ 802291 w 835437"/>
                <a:gd name="connsiteY62" fmla="*/ 280321 h 647509"/>
                <a:gd name="connsiteX63" fmla="*/ 805244 w 835437"/>
                <a:gd name="connsiteY63" fmla="*/ 278321 h 647509"/>
                <a:gd name="connsiteX64" fmla="*/ 806672 w 835437"/>
                <a:gd name="connsiteY64" fmla="*/ 276511 h 647509"/>
                <a:gd name="connsiteX65" fmla="*/ 799910 w 835437"/>
                <a:gd name="connsiteY65" fmla="*/ 274225 h 647509"/>
                <a:gd name="connsiteX66" fmla="*/ 799528 w 835437"/>
                <a:gd name="connsiteY66" fmla="*/ 270986 h 647509"/>
                <a:gd name="connsiteX67" fmla="*/ 797909 w 835437"/>
                <a:gd name="connsiteY67" fmla="*/ 271272 h 647509"/>
                <a:gd name="connsiteX68" fmla="*/ 791813 w 835437"/>
                <a:gd name="connsiteY68" fmla="*/ 273653 h 647509"/>
                <a:gd name="connsiteX69" fmla="*/ 788480 w 835437"/>
                <a:gd name="connsiteY69" fmla="*/ 272415 h 647509"/>
                <a:gd name="connsiteX70" fmla="*/ 784098 w 835437"/>
                <a:gd name="connsiteY70" fmla="*/ 263366 h 647509"/>
                <a:gd name="connsiteX71" fmla="*/ 785527 w 835437"/>
                <a:gd name="connsiteY71" fmla="*/ 261556 h 647509"/>
                <a:gd name="connsiteX72" fmla="*/ 783717 w 835437"/>
                <a:gd name="connsiteY72" fmla="*/ 260223 h 647509"/>
                <a:gd name="connsiteX73" fmla="*/ 786479 w 835437"/>
                <a:gd name="connsiteY73" fmla="*/ 256699 h 647509"/>
                <a:gd name="connsiteX74" fmla="*/ 791242 w 835437"/>
                <a:gd name="connsiteY74" fmla="*/ 256032 h 647509"/>
                <a:gd name="connsiteX75" fmla="*/ 794195 w 835437"/>
                <a:gd name="connsiteY75" fmla="*/ 254032 h 647509"/>
                <a:gd name="connsiteX76" fmla="*/ 793147 w 835437"/>
                <a:gd name="connsiteY76" fmla="*/ 246221 h 647509"/>
                <a:gd name="connsiteX77" fmla="*/ 791909 w 835437"/>
                <a:gd name="connsiteY77" fmla="*/ 236696 h 647509"/>
                <a:gd name="connsiteX78" fmla="*/ 788575 w 835437"/>
                <a:gd name="connsiteY78" fmla="*/ 235553 h 647509"/>
                <a:gd name="connsiteX79" fmla="*/ 789527 w 835437"/>
                <a:gd name="connsiteY79" fmla="*/ 230600 h 647509"/>
                <a:gd name="connsiteX80" fmla="*/ 792099 w 835437"/>
                <a:gd name="connsiteY80" fmla="*/ 225457 h 647509"/>
                <a:gd name="connsiteX81" fmla="*/ 782288 w 835437"/>
                <a:gd name="connsiteY81" fmla="*/ 223552 h 647509"/>
                <a:gd name="connsiteX82" fmla="*/ 779050 w 835437"/>
                <a:gd name="connsiteY82" fmla="*/ 223933 h 647509"/>
                <a:gd name="connsiteX83" fmla="*/ 778859 w 835437"/>
                <a:gd name="connsiteY83" fmla="*/ 222313 h 647509"/>
                <a:gd name="connsiteX84" fmla="*/ 782003 w 835437"/>
                <a:gd name="connsiteY84" fmla="*/ 221932 h 647509"/>
                <a:gd name="connsiteX85" fmla="*/ 784003 w 835437"/>
                <a:gd name="connsiteY85" fmla="*/ 212027 h 647509"/>
                <a:gd name="connsiteX86" fmla="*/ 782193 w 835437"/>
                <a:gd name="connsiteY86" fmla="*/ 210693 h 647509"/>
                <a:gd name="connsiteX87" fmla="*/ 785336 w 835437"/>
                <a:gd name="connsiteY87" fmla="*/ 210312 h 647509"/>
                <a:gd name="connsiteX88" fmla="*/ 787908 w 835437"/>
                <a:gd name="connsiteY88" fmla="*/ 205169 h 647509"/>
                <a:gd name="connsiteX89" fmla="*/ 786384 w 835437"/>
                <a:gd name="connsiteY89" fmla="*/ 205359 h 647509"/>
                <a:gd name="connsiteX90" fmla="*/ 785717 w 835437"/>
                <a:gd name="connsiteY90" fmla="*/ 200596 h 647509"/>
                <a:gd name="connsiteX91" fmla="*/ 790289 w 835437"/>
                <a:gd name="connsiteY91" fmla="*/ 198406 h 647509"/>
                <a:gd name="connsiteX92" fmla="*/ 791813 w 835437"/>
                <a:gd name="connsiteY92" fmla="*/ 198215 h 647509"/>
                <a:gd name="connsiteX93" fmla="*/ 792671 w 835437"/>
                <a:gd name="connsiteY93" fmla="*/ 191738 h 647509"/>
                <a:gd name="connsiteX94" fmla="*/ 787718 w 835437"/>
                <a:gd name="connsiteY94" fmla="*/ 190786 h 647509"/>
                <a:gd name="connsiteX95" fmla="*/ 788670 w 835437"/>
                <a:gd name="connsiteY95" fmla="*/ 185833 h 647509"/>
                <a:gd name="connsiteX96" fmla="*/ 785527 w 835437"/>
                <a:gd name="connsiteY96" fmla="*/ 186214 h 647509"/>
                <a:gd name="connsiteX97" fmla="*/ 786670 w 835437"/>
                <a:gd name="connsiteY97" fmla="*/ 182880 h 647509"/>
                <a:gd name="connsiteX98" fmla="*/ 784670 w 835437"/>
                <a:gd name="connsiteY98" fmla="*/ 179927 h 647509"/>
                <a:gd name="connsiteX99" fmla="*/ 784289 w 835437"/>
                <a:gd name="connsiteY99" fmla="*/ 176784 h 647509"/>
                <a:gd name="connsiteX100" fmla="*/ 787051 w 835437"/>
                <a:gd name="connsiteY100" fmla="*/ 173165 h 647509"/>
                <a:gd name="connsiteX101" fmla="*/ 787051 w 835437"/>
                <a:gd name="connsiteY101" fmla="*/ 173165 h 647509"/>
                <a:gd name="connsiteX102" fmla="*/ 790003 w 835437"/>
                <a:gd name="connsiteY102" fmla="*/ 171164 h 647509"/>
                <a:gd name="connsiteX103" fmla="*/ 794576 w 835437"/>
                <a:gd name="connsiteY103" fmla="*/ 169069 h 647509"/>
                <a:gd name="connsiteX104" fmla="*/ 794099 w 835437"/>
                <a:gd name="connsiteY104" fmla="*/ 165830 h 647509"/>
                <a:gd name="connsiteX105" fmla="*/ 795528 w 835437"/>
                <a:gd name="connsiteY105" fmla="*/ 164116 h 647509"/>
                <a:gd name="connsiteX106" fmla="*/ 792956 w 835437"/>
                <a:gd name="connsiteY106" fmla="*/ 156400 h 647509"/>
                <a:gd name="connsiteX107" fmla="*/ 795719 w 835437"/>
                <a:gd name="connsiteY107" fmla="*/ 152876 h 647509"/>
                <a:gd name="connsiteX108" fmla="*/ 788765 w 835437"/>
                <a:gd name="connsiteY108" fmla="*/ 148876 h 647509"/>
                <a:gd name="connsiteX109" fmla="*/ 785622 w 835437"/>
                <a:gd name="connsiteY109" fmla="*/ 136493 h 647509"/>
                <a:gd name="connsiteX110" fmla="*/ 775335 w 835437"/>
                <a:gd name="connsiteY110" fmla="*/ 131350 h 647509"/>
                <a:gd name="connsiteX111" fmla="*/ 777907 w 835437"/>
                <a:gd name="connsiteY111" fmla="*/ 126302 h 647509"/>
                <a:gd name="connsiteX112" fmla="*/ 777716 w 835437"/>
                <a:gd name="connsiteY112" fmla="*/ 124682 h 647509"/>
                <a:gd name="connsiteX113" fmla="*/ 771525 w 835437"/>
                <a:gd name="connsiteY113" fmla="*/ 127063 h 647509"/>
                <a:gd name="connsiteX114" fmla="*/ 767429 w 835437"/>
                <a:gd name="connsiteY114" fmla="*/ 132398 h 647509"/>
                <a:gd name="connsiteX115" fmla="*/ 762476 w 835437"/>
                <a:gd name="connsiteY115" fmla="*/ 131445 h 647509"/>
                <a:gd name="connsiteX116" fmla="*/ 759905 w 835437"/>
                <a:gd name="connsiteY116" fmla="*/ 136588 h 647509"/>
                <a:gd name="connsiteX117" fmla="*/ 759333 w 835437"/>
                <a:gd name="connsiteY117" fmla="*/ 131826 h 647509"/>
                <a:gd name="connsiteX118" fmla="*/ 749903 w 835437"/>
                <a:gd name="connsiteY118" fmla="*/ 133064 h 647509"/>
                <a:gd name="connsiteX119" fmla="*/ 746474 w 835437"/>
                <a:gd name="connsiteY119" fmla="*/ 131826 h 647509"/>
                <a:gd name="connsiteX120" fmla="*/ 741807 w 835437"/>
                <a:gd name="connsiteY120" fmla="*/ 132493 h 647509"/>
                <a:gd name="connsiteX121" fmla="*/ 739997 w 835437"/>
                <a:gd name="connsiteY121" fmla="*/ 131064 h 647509"/>
                <a:gd name="connsiteX122" fmla="*/ 738378 w 835437"/>
                <a:gd name="connsiteY122" fmla="*/ 131254 h 647509"/>
                <a:gd name="connsiteX123" fmla="*/ 736283 w 835437"/>
                <a:gd name="connsiteY123" fmla="*/ 126778 h 647509"/>
                <a:gd name="connsiteX124" fmla="*/ 728186 w 835437"/>
                <a:gd name="connsiteY124" fmla="*/ 126206 h 647509"/>
                <a:gd name="connsiteX125" fmla="*/ 723233 w 835437"/>
                <a:gd name="connsiteY125" fmla="*/ 125158 h 647509"/>
                <a:gd name="connsiteX126" fmla="*/ 717328 w 835437"/>
                <a:gd name="connsiteY126" fmla="*/ 129159 h 647509"/>
                <a:gd name="connsiteX127" fmla="*/ 715709 w 835437"/>
                <a:gd name="connsiteY127" fmla="*/ 129350 h 647509"/>
                <a:gd name="connsiteX128" fmla="*/ 717899 w 835437"/>
                <a:gd name="connsiteY128" fmla="*/ 133921 h 647509"/>
                <a:gd name="connsiteX129" fmla="*/ 714756 w 835437"/>
                <a:gd name="connsiteY129" fmla="*/ 134302 h 647509"/>
                <a:gd name="connsiteX130" fmla="*/ 713327 w 835437"/>
                <a:gd name="connsiteY130" fmla="*/ 136112 h 647509"/>
                <a:gd name="connsiteX131" fmla="*/ 708279 w 835437"/>
                <a:gd name="connsiteY131" fmla="*/ 133540 h 647509"/>
                <a:gd name="connsiteX132" fmla="*/ 709613 w 835437"/>
                <a:gd name="connsiteY132" fmla="*/ 131731 h 647509"/>
                <a:gd name="connsiteX133" fmla="*/ 707803 w 835437"/>
                <a:gd name="connsiteY133" fmla="*/ 130397 h 647509"/>
                <a:gd name="connsiteX134" fmla="*/ 703136 w 835437"/>
                <a:gd name="connsiteY134" fmla="*/ 130969 h 647509"/>
                <a:gd name="connsiteX135" fmla="*/ 699326 w 835437"/>
                <a:gd name="connsiteY135" fmla="*/ 126587 h 647509"/>
                <a:gd name="connsiteX136" fmla="*/ 696373 w 835437"/>
                <a:gd name="connsiteY136" fmla="*/ 128588 h 647509"/>
                <a:gd name="connsiteX137" fmla="*/ 696373 w 835437"/>
                <a:gd name="connsiteY137" fmla="*/ 128588 h 647509"/>
                <a:gd name="connsiteX138" fmla="*/ 695801 w 835437"/>
                <a:gd name="connsiteY138" fmla="*/ 123920 h 647509"/>
                <a:gd name="connsiteX139" fmla="*/ 700278 w 835437"/>
                <a:gd name="connsiteY139" fmla="*/ 121729 h 647509"/>
                <a:gd name="connsiteX140" fmla="*/ 702278 w 835437"/>
                <a:gd name="connsiteY140" fmla="*/ 111823 h 647509"/>
                <a:gd name="connsiteX141" fmla="*/ 708565 w 835437"/>
                <a:gd name="connsiteY141" fmla="*/ 111061 h 647509"/>
                <a:gd name="connsiteX142" fmla="*/ 708374 w 835437"/>
                <a:gd name="connsiteY142" fmla="*/ 109442 h 647509"/>
                <a:gd name="connsiteX143" fmla="*/ 700469 w 835437"/>
                <a:gd name="connsiteY143" fmla="*/ 97631 h 647509"/>
                <a:gd name="connsiteX144" fmla="*/ 698659 w 835437"/>
                <a:gd name="connsiteY144" fmla="*/ 96298 h 647509"/>
                <a:gd name="connsiteX145" fmla="*/ 695706 w 835437"/>
                <a:gd name="connsiteY145" fmla="*/ 98203 h 647509"/>
                <a:gd name="connsiteX146" fmla="*/ 689229 w 835437"/>
                <a:gd name="connsiteY146" fmla="*/ 97441 h 647509"/>
                <a:gd name="connsiteX147" fmla="*/ 679895 w 835437"/>
                <a:gd name="connsiteY147" fmla="*/ 87440 h 647509"/>
                <a:gd name="connsiteX148" fmla="*/ 680276 w 835437"/>
                <a:gd name="connsiteY148" fmla="*/ 90583 h 647509"/>
                <a:gd name="connsiteX149" fmla="*/ 665702 w 835437"/>
                <a:gd name="connsiteY149" fmla="*/ 89249 h 647509"/>
                <a:gd name="connsiteX150" fmla="*/ 664750 w 835437"/>
                <a:gd name="connsiteY150" fmla="*/ 94202 h 647509"/>
                <a:gd name="connsiteX151" fmla="*/ 650939 w 835437"/>
                <a:gd name="connsiteY151" fmla="*/ 86296 h 647509"/>
                <a:gd name="connsiteX152" fmla="*/ 648272 w 835437"/>
                <a:gd name="connsiteY152" fmla="*/ 78581 h 647509"/>
                <a:gd name="connsiteX153" fmla="*/ 640651 w 835437"/>
                <a:gd name="connsiteY153" fmla="*/ 81153 h 647509"/>
                <a:gd name="connsiteX154" fmla="*/ 631793 w 835437"/>
                <a:gd name="connsiteY154" fmla="*/ 87154 h 647509"/>
                <a:gd name="connsiteX155" fmla="*/ 629984 w 835437"/>
                <a:gd name="connsiteY155" fmla="*/ 85725 h 647509"/>
                <a:gd name="connsiteX156" fmla="*/ 631126 w 835437"/>
                <a:gd name="connsiteY156" fmla="*/ 82391 h 647509"/>
                <a:gd name="connsiteX157" fmla="*/ 628174 w 835437"/>
                <a:gd name="connsiteY157" fmla="*/ 84392 h 647509"/>
                <a:gd name="connsiteX158" fmla="*/ 626174 w 835437"/>
                <a:gd name="connsiteY158" fmla="*/ 81439 h 647509"/>
                <a:gd name="connsiteX159" fmla="*/ 615410 w 835437"/>
                <a:gd name="connsiteY159" fmla="*/ 84392 h 647509"/>
                <a:gd name="connsiteX160" fmla="*/ 613029 w 835437"/>
                <a:gd name="connsiteY160" fmla="*/ 78296 h 647509"/>
                <a:gd name="connsiteX161" fmla="*/ 609028 w 835437"/>
                <a:gd name="connsiteY161" fmla="*/ 72390 h 647509"/>
                <a:gd name="connsiteX162" fmla="*/ 597218 w 835437"/>
                <a:gd name="connsiteY162" fmla="*/ 67437 h 647509"/>
                <a:gd name="connsiteX163" fmla="*/ 590455 w 835437"/>
                <a:gd name="connsiteY163" fmla="*/ 65151 h 647509"/>
                <a:gd name="connsiteX164" fmla="*/ 589693 w 835437"/>
                <a:gd name="connsiteY164" fmla="*/ 58865 h 647509"/>
                <a:gd name="connsiteX165" fmla="*/ 575215 w 835437"/>
                <a:gd name="connsiteY165" fmla="*/ 46196 h 647509"/>
                <a:gd name="connsiteX166" fmla="*/ 571881 w 835437"/>
                <a:gd name="connsiteY166" fmla="*/ 45053 h 647509"/>
                <a:gd name="connsiteX167" fmla="*/ 568738 w 835437"/>
                <a:gd name="connsiteY167" fmla="*/ 45434 h 647509"/>
                <a:gd name="connsiteX168" fmla="*/ 561404 w 835437"/>
                <a:gd name="connsiteY168" fmla="*/ 38386 h 647509"/>
                <a:gd name="connsiteX169" fmla="*/ 531305 w 835437"/>
                <a:gd name="connsiteY169" fmla="*/ 16573 h 647509"/>
                <a:gd name="connsiteX170" fmla="*/ 524066 w 835437"/>
                <a:gd name="connsiteY170" fmla="*/ 9430 h 647509"/>
                <a:gd name="connsiteX171" fmla="*/ 509969 w 835437"/>
                <a:gd name="connsiteY171" fmla="*/ 0 h 647509"/>
                <a:gd name="connsiteX172" fmla="*/ 508254 w 835437"/>
                <a:gd name="connsiteY172" fmla="*/ 11430 h 647509"/>
                <a:gd name="connsiteX173" fmla="*/ 501206 w 835437"/>
                <a:gd name="connsiteY173" fmla="*/ 18764 h 647509"/>
                <a:gd name="connsiteX174" fmla="*/ 501777 w 835437"/>
                <a:gd name="connsiteY174" fmla="*/ 23527 h 647509"/>
                <a:gd name="connsiteX175" fmla="*/ 503968 w 835437"/>
                <a:gd name="connsiteY175" fmla="*/ 28004 h 647509"/>
                <a:gd name="connsiteX176" fmla="*/ 503015 w 835437"/>
                <a:gd name="connsiteY176" fmla="*/ 32956 h 647509"/>
                <a:gd name="connsiteX177" fmla="*/ 498634 w 835437"/>
                <a:gd name="connsiteY177" fmla="*/ 23908 h 647509"/>
                <a:gd name="connsiteX178" fmla="*/ 493871 w 835437"/>
                <a:gd name="connsiteY178" fmla="*/ 11716 h 647509"/>
                <a:gd name="connsiteX179" fmla="*/ 451295 w 835437"/>
                <a:gd name="connsiteY179" fmla="*/ 29908 h 647509"/>
                <a:gd name="connsiteX180" fmla="*/ 446342 w 835437"/>
                <a:gd name="connsiteY180" fmla="*/ 41815 h 647509"/>
                <a:gd name="connsiteX181" fmla="*/ 440436 w 835437"/>
                <a:gd name="connsiteY181" fmla="*/ 45720 h 647509"/>
                <a:gd name="connsiteX182" fmla="*/ 432149 w 835437"/>
                <a:gd name="connsiteY182" fmla="*/ 56388 h 647509"/>
                <a:gd name="connsiteX183" fmla="*/ 429673 w 835437"/>
                <a:gd name="connsiteY183" fmla="*/ 61531 h 647509"/>
                <a:gd name="connsiteX184" fmla="*/ 431578 w 835437"/>
                <a:gd name="connsiteY184" fmla="*/ 64484 h 647509"/>
                <a:gd name="connsiteX185" fmla="*/ 430625 w 835437"/>
                <a:gd name="connsiteY185" fmla="*/ 69437 h 647509"/>
                <a:gd name="connsiteX186" fmla="*/ 423482 w 835437"/>
                <a:gd name="connsiteY186" fmla="*/ 63913 h 647509"/>
                <a:gd name="connsiteX187" fmla="*/ 421577 w 835437"/>
                <a:gd name="connsiteY187" fmla="*/ 60960 h 647509"/>
                <a:gd name="connsiteX188" fmla="*/ 414242 w 835437"/>
                <a:gd name="connsiteY188" fmla="*/ 53911 h 647509"/>
                <a:gd name="connsiteX189" fmla="*/ 408337 w 835437"/>
                <a:gd name="connsiteY189" fmla="*/ 45053 h 647509"/>
                <a:gd name="connsiteX190" fmla="*/ 396240 w 835437"/>
                <a:gd name="connsiteY190" fmla="*/ 51340 h 647509"/>
                <a:gd name="connsiteX191" fmla="*/ 388334 w 835437"/>
                <a:gd name="connsiteY191" fmla="*/ 52388 h 647509"/>
                <a:gd name="connsiteX192" fmla="*/ 384810 w 835437"/>
                <a:gd name="connsiteY192" fmla="*/ 49625 h 647509"/>
                <a:gd name="connsiteX193" fmla="*/ 376142 w 835437"/>
                <a:gd name="connsiteY193" fmla="*/ 44291 h 647509"/>
                <a:gd name="connsiteX194" fmla="*/ 368237 w 835437"/>
                <a:gd name="connsiteY194" fmla="*/ 45339 h 647509"/>
                <a:gd name="connsiteX195" fmla="*/ 368427 w 835437"/>
                <a:gd name="connsiteY195" fmla="*/ 46958 h 647509"/>
                <a:gd name="connsiteX196" fmla="*/ 358426 w 835437"/>
                <a:gd name="connsiteY196" fmla="*/ 56198 h 647509"/>
                <a:gd name="connsiteX197" fmla="*/ 355283 w 835437"/>
                <a:gd name="connsiteY197" fmla="*/ 56579 h 647509"/>
                <a:gd name="connsiteX198" fmla="*/ 353282 w 835437"/>
                <a:gd name="connsiteY198" fmla="*/ 53626 h 647509"/>
                <a:gd name="connsiteX199" fmla="*/ 348520 w 835437"/>
                <a:gd name="connsiteY199" fmla="*/ 54292 h 647509"/>
                <a:gd name="connsiteX200" fmla="*/ 343567 w 835437"/>
                <a:gd name="connsiteY200" fmla="*/ 53245 h 647509"/>
                <a:gd name="connsiteX201" fmla="*/ 339471 w 835437"/>
                <a:gd name="connsiteY201" fmla="*/ 58579 h 647509"/>
                <a:gd name="connsiteX202" fmla="*/ 326993 w 835437"/>
                <a:gd name="connsiteY202" fmla="*/ 61817 h 647509"/>
                <a:gd name="connsiteX203" fmla="*/ 323850 w 835437"/>
                <a:gd name="connsiteY203" fmla="*/ 62198 h 647509"/>
                <a:gd name="connsiteX204" fmla="*/ 320516 w 835437"/>
                <a:gd name="connsiteY204" fmla="*/ 61055 h 647509"/>
                <a:gd name="connsiteX205" fmla="*/ 317563 w 835437"/>
                <a:gd name="connsiteY205" fmla="*/ 63056 h 647509"/>
                <a:gd name="connsiteX206" fmla="*/ 310896 w 835437"/>
                <a:gd name="connsiteY206" fmla="*/ 60674 h 647509"/>
                <a:gd name="connsiteX207" fmla="*/ 306514 w 835437"/>
                <a:gd name="connsiteY207" fmla="*/ 64389 h 647509"/>
                <a:gd name="connsiteX208" fmla="*/ 298418 w 835437"/>
                <a:gd name="connsiteY208" fmla="*/ 63817 h 647509"/>
                <a:gd name="connsiteX209" fmla="*/ 295085 w 835437"/>
                <a:gd name="connsiteY209" fmla="*/ 62675 h 647509"/>
                <a:gd name="connsiteX210" fmla="*/ 294513 w 835437"/>
                <a:gd name="connsiteY210" fmla="*/ 70771 h 647509"/>
                <a:gd name="connsiteX211" fmla="*/ 288608 w 835437"/>
                <a:gd name="connsiteY211" fmla="*/ 74771 h 647509"/>
                <a:gd name="connsiteX212" fmla="*/ 284893 w 835437"/>
                <a:gd name="connsiteY212" fmla="*/ 83248 h 647509"/>
                <a:gd name="connsiteX213" fmla="*/ 279178 w 835437"/>
                <a:gd name="connsiteY213" fmla="*/ 88773 h 647509"/>
                <a:gd name="connsiteX214" fmla="*/ 278130 w 835437"/>
                <a:gd name="connsiteY214" fmla="*/ 93726 h 647509"/>
                <a:gd name="connsiteX215" fmla="*/ 281750 w 835437"/>
                <a:gd name="connsiteY215" fmla="*/ 109252 h 647509"/>
                <a:gd name="connsiteX216" fmla="*/ 279368 w 835437"/>
                <a:gd name="connsiteY216" fmla="*/ 116015 h 647509"/>
                <a:gd name="connsiteX217" fmla="*/ 275082 w 835437"/>
                <a:gd name="connsiteY217" fmla="*/ 119729 h 647509"/>
                <a:gd name="connsiteX218" fmla="*/ 264224 w 835437"/>
                <a:gd name="connsiteY218" fmla="*/ 109919 h 647509"/>
                <a:gd name="connsiteX219" fmla="*/ 258318 w 835437"/>
                <a:gd name="connsiteY219" fmla="*/ 113824 h 647509"/>
                <a:gd name="connsiteX220" fmla="*/ 257080 w 835437"/>
                <a:gd name="connsiteY220" fmla="*/ 117253 h 647509"/>
                <a:gd name="connsiteX221" fmla="*/ 249650 w 835437"/>
                <a:gd name="connsiteY221" fmla="*/ 121348 h 647509"/>
                <a:gd name="connsiteX222" fmla="*/ 245269 w 835437"/>
                <a:gd name="connsiteY222" fmla="*/ 125158 h 647509"/>
                <a:gd name="connsiteX223" fmla="*/ 244316 w 835437"/>
                <a:gd name="connsiteY223" fmla="*/ 130111 h 647509"/>
                <a:gd name="connsiteX224" fmla="*/ 240030 w 835437"/>
                <a:gd name="connsiteY224" fmla="*/ 133826 h 647509"/>
                <a:gd name="connsiteX225" fmla="*/ 242126 w 835437"/>
                <a:gd name="connsiteY225" fmla="*/ 138398 h 647509"/>
                <a:gd name="connsiteX226" fmla="*/ 238220 w 835437"/>
                <a:gd name="connsiteY226" fmla="*/ 145256 h 647509"/>
                <a:gd name="connsiteX227" fmla="*/ 234887 w 835437"/>
                <a:gd name="connsiteY227" fmla="*/ 144113 h 647509"/>
                <a:gd name="connsiteX228" fmla="*/ 231934 w 835437"/>
                <a:gd name="connsiteY228" fmla="*/ 146113 h 647509"/>
                <a:gd name="connsiteX229" fmla="*/ 228410 w 835437"/>
                <a:gd name="connsiteY229" fmla="*/ 143351 h 647509"/>
                <a:gd name="connsiteX230" fmla="*/ 218885 w 835437"/>
                <a:gd name="connsiteY230" fmla="*/ 144590 h 647509"/>
                <a:gd name="connsiteX231" fmla="*/ 214408 w 835437"/>
                <a:gd name="connsiteY231" fmla="*/ 146780 h 647509"/>
                <a:gd name="connsiteX232" fmla="*/ 216503 w 835437"/>
                <a:gd name="connsiteY232" fmla="*/ 151257 h 647509"/>
                <a:gd name="connsiteX233" fmla="*/ 214598 w 835437"/>
                <a:gd name="connsiteY233" fmla="*/ 161163 h 647509"/>
                <a:gd name="connsiteX234" fmla="*/ 216980 w 835437"/>
                <a:gd name="connsiteY234" fmla="*/ 167259 h 647509"/>
                <a:gd name="connsiteX235" fmla="*/ 215075 w 835437"/>
                <a:gd name="connsiteY235" fmla="*/ 177070 h 647509"/>
                <a:gd name="connsiteX236" fmla="*/ 210884 w 835437"/>
                <a:gd name="connsiteY236" fmla="*/ 182499 h 647509"/>
                <a:gd name="connsiteX237" fmla="*/ 202978 w 835437"/>
                <a:gd name="connsiteY237" fmla="*/ 183452 h 647509"/>
                <a:gd name="connsiteX238" fmla="*/ 193739 w 835437"/>
                <a:gd name="connsiteY238" fmla="*/ 186214 h 647509"/>
                <a:gd name="connsiteX239" fmla="*/ 194119 w 835437"/>
                <a:gd name="connsiteY239" fmla="*/ 189357 h 647509"/>
                <a:gd name="connsiteX240" fmla="*/ 191357 w 835437"/>
                <a:gd name="connsiteY240" fmla="*/ 192977 h 647509"/>
                <a:gd name="connsiteX241" fmla="*/ 187071 w 835437"/>
                <a:gd name="connsiteY241" fmla="*/ 196691 h 647509"/>
                <a:gd name="connsiteX242" fmla="*/ 188024 w 835437"/>
                <a:gd name="connsiteY242" fmla="*/ 204597 h 647509"/>
                <a:gd name="connsiteX243" fmla="*/ 180975 w 835437"/>
                <a:gd name="connsiteY243" fmla="*/ 211931 h 647509"/>
                <a:gd name="connsiteX244" fmla="*/ 179261 w 835437"/>
                <a:gd name="connsiteY244" fmla="*/ 223361 h 647509"/>
                <a:gd name="connsiteX245" fmla="*/ 183356 w 835437"/>
                <a:gd name="connsiteY245" fmla="*/ 230886 h 647509"/>
                <a:gd name="connsiteX246" fmla="*/ 185547 w 835437"/>
                <a:gd name="connsiteY246" fmla="*/ 235363 h 647509"/>
                <a:gd name="connsiteX247" fmla="*/ 179451 w 835437"/>
                <a:gd name="connsiteY247" fmla="*/ 237744 h 647509"/>
                <a:gd name="connsiteX248" fmla="*/ 182975 w 835437"/>
                <a:gd name="connsiteY248" fmla="*/ 240506 h 647509"/>
                <a:gd name="connsiteX249" fmla="*/ 178308 w 835437"/>
                <a:gd name="connsiteY249" fmla="*/ 241173 h 647509"/>
                <a:gd name="connsiteX250" fmla="*/ 178499 w 835437"/>
                <a:gd name="connsiteY250" fmla="*/ 242697 h 647509"/>
                <a:gd name="connsiteX251" fmla="*/ 172784 w 835437"/>
                <a:gd name="connsiteY251" fmla="*/ 235458 h 647509"/>
                <a:gd name="connsiteX252" fmla="*/ 166021 w 835437"/>
                <a:gd name="connsiteY252" fmla="*/ 233077 h 647509"/>
                <a:gd name="connsiteX253" fmla="*/ 166592 w 835437"/>
                <a:gd name="connsiteY253" fmla="*/ 237839 h 647509"/>
                <a:gd name="connsiteX254" fmla="*/ 164116 w 835437"/>
                <a:gd name="connsiteY254" fmla="*/ 242983 h 647509"/>
                <a:gd name="connsiteX255" fmla="*/ 165830 w 835437"/>
                <a:gd name="connsiteY255" fmla="*/ 244316 h 647509"/>
                <a:gd name="connsiteX256" fmla="*/ 165449 w 835437"/>
                <a:gd name="connsiteY256" fmla="*/ 254032 h 647509"/>
                <a:gd name="connsiteX257" fmla="*/ 167640 w 835437"/>
                <a:gd name="connsiteY257" fmla="*/ 258509 h 647509"/>
                <a:gd name="connsiteX258" fmla="*/ 168307 w 835437"/>
                <a:gd name="connsiteY258" fmla="*/ 263271 h 647509"/>
                <a:gd name="connsiteX259" fmla="*/ 161544 w 835437"/>
                <a:gd name="connsiteY259" fmla="*/ 260890 h 647509"/>
                <a:gd name="connsiteX260" fmla="*/ 162782 w 835437"/>
                <a:gd name="connsiteY260" fmla="*/ 270415 h 647509"/>
                <a:gd name="connsiteX261" fmla="*/ 160211 w 835437"/>
                <a:gd name="connsiteY261" fmla="*/ 275558 h 647509"/>
                <a:gd name="connsiteX262" fmla="*/ 162592 w 835437"/>
                <a:gd name="connsiteY262" fmla="*/ 281654 h 647509"/>
                <a:gd name="connsiteX263" fmla="*/ 165926 w 835437"/>
                <a:gd name="connsiteY263" fmla="*/ 282797 h 647509"/>
                <a:gd name="connsiteX264" fmla="*/ 164973 w 835437"/>
                <a:gd name="connsiteY264" fmla="*/ 287750 h 647509"/>
                <a:gd name="connsiteX265" fmla="*/ 168497 w 835437"/>
                <a:gd name="connsiteY265" fmla="*/ 290513 h 647509"/>
                <a:gd name="connsiteX266" fmla="*/ 168688 w 835437"/>
                <a:gd name="connsiteY266" fmla="*/ 292036 h 647509"/>
                <a:gd name="connsiteX267" fmla="*/ 167545 w 835437"/>
                <a:gd name="connsiteY267" fmla="*/ 295465 h 647509"/>
                <a:gd name="connsiteX268" fmla="*/ 163068 w 835437"/>
                <a:gd name="connsiteY268" fmla="*/ 297561 h 647509"/>
                <a:gd name="connsiteX269" fmla="*/ 162020 w 835437"/>
                <a:gd name="connsiteY269" fmla="*/ 302514 h 647509"/>
                <a:gd name="connsiteX270" fmla="*/ 158877 w 835437"/>
                <a:gd name="connsiteY270" fmla="*/ 302895 h 647509"/>
                <a:gd name="connsiteX271" fmla="*/ 160877 w 835437"/>
                <a:gd name="connsiteY271" fmla="*/ 305943 h 647509"/>
                <a:gd name="connsiteX272" fmla="*/ 161449 w 835437"/>
                <a:gd name="connsiteY272" fmla="*/ 310610 h 647509"/>
                <a:gd name="connsiteX273" fmla="*/ 168212 w 835437"/>
                <a:gd name="connsiteY273" fmla="*/ 312992 h 647509"/>
                <a:gd name="connsiteX274" fmla="*/ 165259 w 835437"/>
                <a:gd name="connsiteY274" fmla="*/ 314992 h 647509"/>
                <a:gd name="connsiteX275" fmla="*/ 152210 w 835437"/>
                <a:gd name="connsiteY275" fmla="*/ 313373 h 647509"/>
                <a:gd name="connsiteX276" fmla="*/ 143732 w 835437"/>
                <a:gd name="connsiteY276" fmla="*/ 309658 h 647509"/>
                <a:gd name="connsiteX277" fmla="*/ 138970 w 835437"/>
                <a:gd name="connsiteY277" fmla="*/ 310325 h 647509"/>
                <a:gd name="connsiteX278" fmla="*/ 135446 w 835437"/>
                <a:gd name="connsiteY278" fmla="*/ 307562 h 647509"/>
                <a:gd name="connsiteX279" fmla="*/ 137732 w 835437"/>
                <a:gd name="connsiteY279" fmla="*/ 300800 h 647509"/>
                <a:gd name="connsiteX280" fmla="*/ 135636 w 835437"/>
                <a:gd name="connsiteY280" fmla="*/ 296323 h 647509"/>
                <a:gd name="connsiteX281" fmla="*/ 132683 w 835437"/>
                <a:gd name="connsiteY281" fmla="*/ 298228 h 647509"/>
                <a:gd name="connsiteX282" fmla="*/ 131826 w 835437"/>
                <a:gd name="connsiteY282" fmla="*/ 291941 h 647509"/>
                <a:gd name="connsiteX283" fmla="*/ 128873 w 835437"/>
                <a:gd name="connsiteY283" fmla="*/ 293942 h 647509"/>
                <a:gd name="connsiteX284" fmla="*/ 126683 w 835437"/>
                <a:gd name="connsiteY284" fmla="*/ 289369 h 647509"/>
                <a:gd name="connsiteX285" fmla="*/ 126111 w 835437"/>
                <a:gd name="connsiteY285" fmla="*/ 284702 h 647509"/>
                <a:gd name="connsiteX286" fmla="*/ 127254 w 835437"/>
                <a:gd name="connsiteY286" fmla="*/ 281273 h 647509"/>
                <a:gd name="connsiteX287" fmla="*/ 134969 w 835437"/>
                <a:gd name="connsiteY287" fmla="*/ 278702 h 647509"/>
                <a:gd name="connsiteX288" fmla="*/ 136112 w 835437"/>
                <a:gd name="connsiteY288" fmla="*/ 275368 h 647509"/>
                <a:gd name="connsiteX289" fmla="*/ 132779 w 835437"/>
                <a:gd name="connsiteY289" fmla="*/ 274225 h 647509"/>
                <a:gd name="connsiteX290" fmla="*/ 135541 w 835437"/>
                <a:gd name="connsiteY290" fmla="*/ 270605 h 647509"/>
                <a:gd name="connsiteX291" fmla="*/ 130969 w 835437"/>
                <a:gd name="connsiteY291" fmla="*/ 272796 h 647509"/>
                <a:gd name="connsiteX292" fmla="*/ 131731 w 835437"/>
                <a:gd name="connsiteY292" fmla="*/ 266319 h 647509"/>
                <a:gd name="connsiteX293" fmla="*/ 138875 w 835437"/>
                <a:gd name="connsiteY293" fmla="*/ 258985 h 647509"/>
                <a:gd name="connsiteX294" fmla="*/ 133541 w 835437"/>
                <a:gd name="connsiteY294" fmla="*/ 254889 h 647509"/>
                <a:gd name="connsiteX295" fmla="*/ 128778 w 835437"/>
                <a:gd name="connsiteY295" fmla="*/ 255461 h 647509"/>
                <a:gd name="connsiteX296" fmla="*/ 131731 w 835437"/>
                <a:gd name="connsiteY296" fmla="*/ 253460 h 647509"/>
                <a:gd name="connsiteX297" fmla="*/ 130207 w 835437"/>
                <a:gd name="connsiteY297" fmla="*/ 253651 h 647509"/>
                <a:gd name="connsiteX298" fmla="*/ 134874 w 835437"/>
                <a:gd name="connsiteY298" fmla="*/ 253079 h 647509"/>
                <a:gd name="connsiteX299" fmla="*/ 127159 w 835437"/>
                <a:gd name="connsiteY299" fmla="*/ 242792 h 647509"/>
                <a:gd name="connsiteX300" fmla="*/ 121063 w 835437"/>
                <a:gd name="connsiteY300" fmla="*/ 245173 h 647509"/>
                <a:gd name="connsiteX301" fmla="*/ 118872 w 835437"/>
                <a:gd name="connsiteY301" fmla="*/ 240697 h 647509"/>
                <a:gd name="connsiteX302" fmla="*/ 112014 w 835437"/>
                <a:gd name="connsiteY302" fmla="*/ 236792 h 647509"/>
                <a:gd name="connsiteX303" fmla="*/ 111347 w 835437"/>
                <a:gd name="connsiteY303" fmla="*/ 232029 h 647509"/>
                <a:gd name="connsiteX304" fmla="*/ 102680 w 835437"/>
                <a:gd name="connsiteY304" fmla="*/ 226695 h 647509"/>
                <a:gd name="connsiteX305" fmla="*/ 105442 w 835437"/>
                <a:gd name="connsiteY305" fmla="*/ 223171 h 647509"/>
                <a:gd name="connsiteX306" fmla="*/ 109538 w 835437"/>
                <a:gd name="connsiteY306" fmla="*/ 217837 h 647509"/>
                <a:gd name="connsiteX307" fmla="*/ 107347 w 835437"/>
                <a:gd name="connsiteY307" fmla="*/ 213265 h 647509"/>
                <a:gd name="connsiteX308" fmla="*/ 111157 w 835437"/>
                <a:gd name="connsiteY308" fmla="*/ 217646 h 647509"/>
                <a:gd name="connsiteX309" fmla="*/ 114872 w 835437"/>
                <a:gd name="connsiteY309" fmla="*/ 221932 h 647509"/>
                <a:gd name="connsiteX310" fmla="*/ 116491 w 835437"/>
                <a:gd name="connsiteY310" fmla="*/ 221742 h 647509"/>
                <a:gd name="connsiteX311" fmla="*/ 121634 w 835437"/>
                <a:gd name="connsiteY311" fmla="*/ 224314 h 647509"/>
                <a:gd name="connsiteX312" fmla="*/ 119444 w 835437"/>
                <a:gd name="connsiteY312" fmla="*/ 219742 h 647509"/>
                <a:gd name="connsiteX313" fmla="*/ 120206 w 835437"/>
                <a:gd name="connsiteY313" fmla="*/ 213265 h 647509"/>
                <a:gd name="connsiteX314" fmla="*/ 118205 w 835437"/>
                <a:gd name="connsiteY314" fmla="*/ 210312 h 647509"/>
                <a:gd name="connsiteX315" fmla="*/ 113633 w 835437"/>
                <a:gd name="connsiteY315" fmla="*/ 199644 h 647509"/>
                <a:gd name="connsiteX316" fmla="*/ 109157 w 835437"/>
                <a:gd name="connsiteY316" fmla="*/ 201835 h 647509"/>
                <a:gd name="connsiteX317" fmla="*/ 101060 w 835437"/>
                <a:gd name="connsiteY317" fmla="*/ 201263 h 647509"/>
                <a:gd name="connsiteX318" fmla="*/ 97441 w 835437"/>
                <a:gd name="connsiteY318" fmla="*/ 198501 h 647509"/>
                <a:gd name="connsiteX319" fmla="*/ 86392 w 835437"/>
                <a:gd name="connsiteY319" fmla="*/ 199930 h 647509"/>
                <a:gd name="connsiteX320" fmla="*/ 77724 w 835437"/>
                <a:gd name="connsiteY320" fmla="*/ 194596 h 647509"/>
                <a:gd name="connsiteX321" fmla="*/ 78867 w 835437"/>
                <a:gd name="connsiteY321" fmla="*/ 191262 h 647509"/>
                <a:gd name="connsiteX322" fmla="*/ 78677 w 835437"/>
                <a:gd name="connsiteY322" fmla="*/ 176879 h 647509"/>
                <a:gd name="connsiteX323" fmla="*/ 74962 w 835437"/>
                <a:gd name="connsiteY323" fmla="*/ 172498 h 647509"/>
                <a:gd name="connsiteX324" fmla="*/ 78867 w 835437"/>
                <a:gd name="connsiteY324" fmla="*/ 152781 h 647509"/>
                <a:gd name="connsiteX325" fmla="*/ 76105 w 835437"/>
                <a:gd name="connsiteY325" fmla="*/ 156305 h 647509"/>
                <a:gd name="connsiteX326" fmla="*/ 73914 w 835437"/>
                <a:gd name="connsiteY326" fmla="*/ 151829 h 647509"/>
                <a:gd name="connsiteX327" fmla="*/ 68771 w 835437"/>
                <a:gd name="connsiteY327" fmla="*/ 149257 h 647509"/>
                <a:gd name="connsiteX328" fmla="*/ 66580 w 835437"/>
                <a:gd name="connsiteY328" fmla="*/ 144685 h 647509"/>
                <a:gd name="connsiteX329" fmla="*/ 67342 w 835437"/>
                <a:gd name="connsiteY329" fmla="*/ 138208 h 647509"/>
                <a:gd name="connsiteX330" fmla="*/ 52959 w 835437"/>
                <a:gd name="connsiteY330" fmla="*/ 138398 h 647509"/>
                <a:gd name="connsiteX331" fmla="*/ 41529 w 835437"/>
                <a:gd name="connsiteY331" fmla="*/ 136684 h 647509"/>
                <a:gd name="connsiteX332" fmla="*/ 29051 w 835437"/>
                <a:gd name="connsiteY332" fmla="*/ 139827 h 647509"/>
                <a:gd name="connsiteX333" fmla="*/ 26289 w 835437"/>
                <a:gd name="connsiteY333" fmla="*/ 143446 h 647509"/>
                <a:gd name="connsiteX334" fmla="*/ 18193 w 835437"/>
                <a:gd name="connsiteY334" fmla="*/ 142875 h 647509"/>
                <a:gd name="connsiteX335" fmla="*/ 19240 w 835437"/>
                <a:gd name="connsiteY335" fmla="*/ 137922 h 647509"/>
                <a:gd name="connsiteX336" fmla="*/ 16002 w 835437"/>
                <a:gd name="connsiteY336" fmla="*/ 138303 h 647509"/>
                <a:gd name="connsiteX337" fmla="*/ 14097 w 835437"/>
                <a:gd name="connsiteY337" fmla="*/ 135350 h 647509"/>
                <a:gd name="connsiteX338" fmla="*/ 8382 w 835437"/>
                <a:gd name="connsiteY338" fmla="*/ 140875 h 647509"/>
                <a:gd name="connsiteX339" fmla="*/ 12097 w 835437"/>
                <a:gd name="connsiteY339" fmla="*/ 145256 h 647509"/>
                <a:gd name="connsiteX340" fmla="*/ 18669 w 835437"/>
                <a:gd name="connsiteY340" fmla="*/ 146018 h 647509"/>
                <a:gd name="connsiteX341" fmla="*/ 25908 w 835437"/>
                <a:gd name="connsiteY341" fmla="*/ 153067 h 647509"/>
                <a:gd name="connsiteX342" fmla="*/ 26384 w 835437"/>
                <a:gd name="connsiteY342" fmla="*/ 156305 h 647509"/>
                <a:gd name="connsiteX343" fmla="*/ 22193 w 835437"/>
                <a:gd name="connsiteY343" fmla="*/ 161639 h 647509"/>
                <a:gd name="connsiteX344" fmla="*/ 23432 w 835437"/>
                <a:gd name="connsiteY344" fmla="*/ 171069 h 647509"/>
                <a:gd name="connsiteX345" fmla="*/ 32671 w 835437"/>
                <a:gd name="connsiteY345" fmla="*/ 181070 h 647509"/>
                <a:gd name="connsiteX346" fmla="*/ 33147 w 835437"/>
                <a:gd name="connsiteY346" fmla="*/ 184213 h 647509"/>
                <a:gd name="connsiteX347" fmla="*/ 35052 w 835437"/>
                <a:gd name="connsiteY347" fmla="*/ 187166 h 647509"/>
                <a:gd name="connsiteX348" fmla="*/ 33909 w 835437"/>
                <a:gd name="connsiteY348" fmla="*/ 190595 h 647509"/>
                <a:gd name="connsiteX349" fmla="*/ 25051 w 835437"/>
                <a:gd name="connsiteY349" fmla="*/ 196501 h 647509"/>
                <a:gd name="connsiteX350" fmla="*/ 21908 w 835437"/>
                <a:gd name="connsiteY350" fmla="*/ 196882 h 647509"/>
                <a:gd name="connsiteX351" fmla="*/ 20479 w 835437"/>
                <a:gd name="connsiteY351" fmla="*/ 198692 h 647509"/>
                <a:gd name="connsiteX352" fmla="*/ 15621 w 835437"/>
                <a:gd name="connsiteY352" fmla="*/ 197739 h 647509"/>
                <a:gd name="connsiteX353" fmla="*/ 11240 w 835437"/>
                <a:gd name="connsiteY353" fmla="*/ 201454 h 647509"/>
                <a:gd name="connsiteX354" fmla="*/ 5144 w 835437"/>
                <a:gd name="connsiteY354" fmla="*/ 203835 h 647509"/>
                <a:gd name="connsiteX355" fmla="*/ 8858 w 835437"/>
                <a:gd name="connsiteY355" fmla="*/ 208217 h 647509"/>
                <a:gd name="connsiteX356" fmla="*/ 7715 w 835437"/>
                <a:gd name="connsiteY356" fmla="*/ 211550 h 647509"/>
                <a:gd name="connsiteX357" fmla="*/ 6382 w 835437"/>
                <a:gd name="connsiteY357" fmla="*/ 213360 h 647509"/>
                <a:gd name="connsiteX358" fmla="*/ 0 w 835437"/>
                <a:gd name="connsiteY358" fmla="*/ 214122 h 647509"/>
                <a:gd name="connsiteX359" fmla="*/ 476 w 835437"/>
                <a:gd name="connsiteY359" fmla="*/ 217265 h 647509"/>
                <a:gd name="connsiteX360" fmla="*/ 6001 w 835437"/>
                <a:gd name="connsiteY360" fmla="*/ 222980 h 647509"/>
                <a:gd name="connsiteX361" fmla="*/ 10668 w 835437"/>
                <a:gd name="connsiteY361" fmla="*/ 222409 h 647509"/>
                <a:gd name="connsiteX362" fmla="*/ 11906 w 835437"/>
                <a:gd name="connsiteY362" fmla="*/ 231838 h 647509"/>
                <a:gd name="connsiteX363" fmla="*/ 24003 w 835437"/>
                <a:gd name="connsiteY363" fmla="*/ 238315 h 647509"/>
                <a:gd name="connsiteX364" fmla="*/ 34004 w 835437"/>
                <a:gd name="connsiteY364" fmla="*/ 241840 h 647509"/>
                <a:gd name="connsiteX365" fmla="*/ 35243 w 835437"/>
                <a:gd name="connsiteY365" fmla="*/ 238506 h 647509"/>
                <a:gd name="connsiteX366" fmla="*/ 41339 w 835437"/>
                <a:gd name="connsiteY366" fmla="*/ 236125 h 647509"/>
                <a:gd name="connsiteX367" fmla="*/ 41529 w 835437"/>
                <a:gd name="connsiteY367" fmla="*/ 237744 h 647509"/>
                <a:gd name="connsiteX368" fmla="*/ 35624 w 835437"/>
                <a:gd name="connsiteY368" fmla="*/ 241649 h 647509"/>
                <a:gd name="connsiteX369" fmla="*/ 42291 w 835437"/>
                <a:gd name="connsiteY369" fmla="*/ 244031 h 647509"/>
                <a:gd name="connsiteX370" fmla="*/ 45911 w 835437"/>
                <a:gd name="connsiteY370" fmla="*/ 246793 h 647509"/>
                <a:gd name="connsiteX371" fmla="*/ 45911 w 835437"/>
                <a:gd name="connsiteY371" fmla="*/ 246793 h 647509"/>
                <a:gd name="connsiteX372" fmla="*/ 44672 w 835437"/>
                <a:gd name="connsiteY372" fmla="*/ 250127 h 647509"/>
                <a:gd name="connsiteX373" fmla="*/ 47911 w 835437"/>
                <a:gd name="connsiteY373" fmla="*/ 249746 h 647509"/>
                <a:gd name="connsiteX374" fmla="*/ 46863 w 835437"/>
                <a:gd name="connsiteY374" fmla="*/ 254698 h 647509"/>
                <a:gd name="connsiteX375" fmla="*/ 48673 w 835437"/>
                <a:gd name="connsiteY375" fmla="*/ 256032 h 647509"/>
                <a:gd name="connsiteX376" fmla="*/ 44577 w 835437"/>
                <a:gd name="connsiteY376" fmla="*/ 261366 h 647509"/>
                <a:gd name="connsiteX377" fmla="*/ 46482 w 835437"/>
                <a:gd name="connsiteY377" fmla="*/ 264319 h 647509"/>
                <a:gd name="connsiteX378" fmla="*/ 49435 w 835437"/>
                <a:gd name="connsiteY378" fmla="*/ 262319 h 647509"/>
                <a:gd name="connsiteX379" fmla="*/ 57531 w 835437"/>
                <a:gd name="connsiteY379" fmla="*/ 262890 h 647509"/>
                <a:gd name="connsiteX380" fmla="*/ 58769 w 835437"/>
                <a:gd name="connsiteY380" fmla="*/ 272415 h 647509"/>
                <a:gd name="connsiteX381" fmla="*/ 61913 w 835437"/>
                <a:gd name="connsiteY381" fmla="*/ 272034 h 647509"/>
                <a:gd name="connsiteX382" fmla="*/ 62103 w 835437"/>
                <a:gd name="connsiteY382" fmla="*/ 273558 h 647509"/>
                <a:gd name="connsiteX383" fmla="*/ 63913 w 835437"/>
                <a:gd name="connsiteY383" fmla="*/ 274987 h 647509"/>
                <a:gd name="connsiteX384" fmla="*/ 60960 w 835437"/>
                <a:gd name="connsiteY384" fmla="*/ 276892 h 647509"/>
                <a:gd name="connsiteX385" fmla="*/ 61151 w 835437"/>
                <a:gd name="connsiteY385" fmla="*/ 278511 h 647509"/>
                <a:gd name="connsiteX386" fmla="*/ 65913 w 835437"/>
                <a:gd name="connsiteY386" fmla="*/ 277940 h 647509"/>
                <a:gd name="connsiteX387" fmla="*/ 67913 w 835437"/>
                <a:gd name="connsiteY387" fmla="*/ 280892 h 647509"/>
                <a:gd name="connsiteX388" fmla="*/ 71057 w 835437"/>
                <a:gd name="connsiteY388" fmla="*/ 280511 h 647509"/>
                <a:gd name="connsiteX389" fmla="*/ 66294 w 835437"/>
                <a:gd name="connsiteY389" fmla="*/ 281083 h 647509"/>
                <a:gd name="connsiteX390" fmla="*/ 65151 w 835437"/>
                <a:gd name="connsiteY390" fmla="*/ 284417 h 647509"/>
                <a:gd name="connsiteX391" fmla="*/ 74200 w 835437"/>
                <a:gd name="connsiteY391" fmla="*/ 292894 h 647509"/>
                <a:gd name="connsiteX392" fmla="*/ 75438 w 835437"/>
                <a:gd name="connsiteY392" fmla="*/ 302323 h 647509"/>
                <a:gd name="connsiteX393" fmla="*/ 77819 w 835437"/>
                <a:gd name="connsiteY393" fmla="*/ 308419 h 647509"/>
                <a:gd name="connsiteX394" fmla="*/ 78200 w 835437"/>
                <a:gd name="connsiteY394" fmla="*/ 311658 h 647509"/>
                <a:gd name="connsiteX395" fmla="*/ 76867 w 835437"/>
                <a:gd name="connsiteY395" fmla="*/ 313373 h 647509"/>
                <a:gd name="connsiteX396" fmla="*/ 83534 w 835437"/>
                <a:gd name="connsiteY396" fmla="*/ 315754 h 647509"/>
                <a:gd name="connsiteX397" fmla="*/ 79820 w 835437"/>
                <a:gd name="connsiteY397" fmla="*/ 324231 h 647509"/>
                <a:gd name="connsiteX398" fmla="*/ 71342 w 835437"/>
                <a:gd name="connsiteY398" fmla="*/ 333375 h 647509"/>
                <a:gd name="connsiteX399" fmla="*/ 73152 w 835437"/>
                <a:gd name="connsiteY399" fmla="*/ 334709 h 647509"/>
                <a:gd name="connsiteX400" fmla="*/ 73724 w 835437"/>
                <a:gd name="connsiteY400" fmla="*/ 339471 h 647509"/>
                <a:gd name="connsiteX401" fmla="*/ 67628 w 835437"/>
                <a:gd name="connsiteY401" fmla="*/ 341852 h 647509"/>
                <a:gd name="connsiteX402" fmla="*/ 66675 w 835437"/>
                <a:gd name="connsiteY402" fmla="*/ 346805 h 647509"/>
                <a:gd name="connsiteX403" fmla="*/ 68866 w 835437"/>
                <a:gd name="connsiteY403" fmla="*/ 351282 h 647509"/>
                <a:gd name="connsiteX404" fmla="*/ 69247 w 835437"/>
                <a:gd name="connsiteY404" fmla="*/ 367284 h 647509"/>
                <a:gd name="connsiteX405" fmla="*/ 71819 w 835437"/>
                <a:gd name="connsiteY405" fmla="*/ 374999 h 647509"/>
                <a:gd name="connsiteX406" fmla="*/ 70866 w 835437"/>
                <a:gd name="connsiteY406" fmla="*/ 379952 h 647509"/>
                <a:gd name="connsiteX407" fmla="*/ 74866 w 835437"/>
                <a:gd name="connsiteY407" fmla="*/ 385858 h 647509"/>
                <a:gd name="connsiteX408" fmla="*/ 77248 w 835437"/>
                <a:gd name="connsiteY408" fmla="*/ 391954 h 647509"/>
                <a:gd name="connsiteX409" fmla="*/ 85154 w 835437"/>
                <a:gd name="connsiteY409" fmla="*/ 390906 h 647509"/>
                <a:gd name="connsiteX410" fmla="*/ 90011 w 835437"/>
                <a:gd name="connsiteY410" fmla="*/ 391954 h 647509"/>
                <a:gd name="connsiteX411" fmla="*/ 87535 w 835437"/>
                <a:gd name="connsiteY411" fmla="*/ 397002 h 647509"/>
                <a:gd name="connsiteX412" fmla="*/ 91250 w 835437"/>
                <a:gd name="connsiteY412" fmla="*/ 401384 h 647509"/>
                <a:gd name="connsiteX413" fmla="*/ 97346 w 835437"/>
                <a:gd name="connsiteY413" fmla="*/ 399002 h 647509"/>
                <a:gd name="connsiteX414" fmla="*/ 100489 w 835437"/>
                <a:gd name="connsiteY414" fmla="*/ 398621 h 647509"/>
                <a:gd name="connsiteX415" fmla="*/ 100965 w 835437"/>
                <a:gd name="connsiteY415" fmla="*/ 401765 h 647509"/>
                <a:gd name="connsiteX416" fmla="*/ 101346 w 835437"/>
                <a:gd name="connsiteY416" fmla="*/ 404908 h 647509"/>
                <a:gd name="connsiteX417" fmla="*/ 106299 w 835437"/>
                <a:gd name="connsiteY417" fmla="*/ 405860 h 647509"/>
                <a:gd name="connsiteX418" fmla="*/ 106871 w 835437"/>
                <a:gd name="connsiteY418" fmla="*/ 410623 h 647509"/>
                <a:gd name="connsiteX419" fmla="*/ 110395 w 835437"/>
                <a:gd name="connsiteY419" fmla="*/ 413385 h 647509"/>
                <a:gd name="connsiteX420" fmla="*/ 114395 w 835437"/>
                <a:gd name="connsiteY420" fmla="*/ 419290 h 647509"/>
                <a:gd name="connsiteX421" fmla="*/ 121253 w 835437"/>
                <a:gd name="connsiteY421" fmla="*/ 423196 h 647509"/>
                <a:gd name="connsiteX422" fmla="*/ 110300 w 835437"/>
                <a:gd name="connsiteY422" fmla="*/ 437388 h 647509"/>
                <a:gd name="connsiteX423" fmla="*/ 111062 w 835437"/>
                <a:gd name="connsiteY423" fmla="*/ 443770 h 647509"/>
                <a:gd name="connsiteX424" fmla="*/ 116967 w 835437"/>
                <a:gd name="connsiteY424" fmla="*/ 439769 h 647509"/>
                <a:gd name="connsiteX425" fmla="*/ 122777 w 835437"/>
                <a:gd name="connsiteY425" fmla="*/ 447104 h 647509"/>
                <a:gd name="connsiteX426" fmla="*/ 136779 w 835437"/>
                <a:gd name="connsiteY426" fmla="*/ 443675 h 647509"/>
                <a:gd name="connsiteX427" fmla="*/ 146780 w 835437"/>
                <a:gd name="connsiteY427" fmla="*/ 447199 h 647509"/>
                <a:gd name="connsiteX428" fmla="*/ 148971 w 835437"/>
                <a:gd name="connsiteY428" fmla="*/ 451771 h 647509"/>
                <a:gd name="connsiteX429" fmla="*/ 150590 w 835437"/>
                <a:gd name="connsiteY429" fmla="*/ 451580 h 647509"/>
                <a:gd name="connsiteX430" fmla="*/ 150971 w 835437"/>
                <a:gd name="connsiteY430" fmla="*/ 454723 h 647509"/>
                <a:gd name="connsiteX431" fmla="*/ 149828 w 835437"/>
                <a:gd name="connsiteY431" fmla="*/ 458057 h 647509"/>
                <a:gd name="connsiteX432" fmla="*/ 154115 w 835437"/>
                <a:gd name="connsiteY432" fmla="*/ 467106 h 647509"/>
                <a:gd name="connsiteX433" fmla="*/ 154972 w 835437"/>
                <a:gd name="connsiteY433" fmla="*/ 473392 h 647509"/>
                <a:gd name="connsiteX434" fmla="*/ 158306 w 835437"/>
                <a:gd name="connsiteY434" fmla="*/ 474631 h 647509"/>
                <a:gd name="connsiteX435" fmla="*/ 163830 w 835437"/>
                <a:gd name="connsiteY435" fmla="*/ 467487 h 647509"/>
                <a:gd name="connsiteX436" fmla="*/ 168783 w 835437"/>
                <a:gd name="connsiteY436" fmla="*/ 468440 h 647509"/>
                <a:gd name="connsiteX437" fmla="*/ 170783 w 835437"/>
                <a:gd name="connsiteY437" fmla="*/ 471392 h 647509"/>
                <a:gd name="connsiteX438" fmla="*/ 171355 w 835437"/>
                <a:gd name="connsiteY438" fmla="*/ 476155 h 647509"/>
                <a:gd name="connsiteX439" fmla="*/ 182404 w 835437"/>
                <a:gd name="connsiteY439" fmla="*/ 487585 h 647509"/>
                <a:gd name="connsiteX440" fmla="*/ 184785 w 835437"/>
                <a:gd name="connsiteY440" fmla="*/ 493681 h 647509"/>
                <a:gd name="connsiteX441" fmla="*/ 190881 w 835437"/>
                <a:gd name="connsiteY441" fmla="*/ 491300 h 647509"/>
                <a:gd name="connsiteX442" fmla="*/ 191548 w 835437"/>
                <a:gd name="connsiteY442" fmla="*/ 496062 h 647509"/>
                <a:gd name="connsiteX443" fmla="*/ 196691 w 835437"/>
                <a:gd name="connsiteY443" fmla="*/ 498634 h 647509"/>
                <a:gd name="connsiteX444" fmla="*/ 207740 w 835437"/>
                <a:gd name="connsiteY444" fmla="*/ 497205 h 647509"/>
                <a:gd name="connsiteX445" fmla="*/ 207931 w 835437"/>
                <a:gd name="connsiteY445" fmla="*/ 498729 h 647509"/>
                <a:gd name="connsiteX446" fmla="*/ 203740 w 835437"/>
                <a:gd name="connsiteY446" fmla="*/ 504063 h 647509"/>
                <a:gd name="connsiteX447" fmla="*/ 208693 w 835437"/>
                <a:gd name="connsiteY447" fmla="*/ 505111 h 647509"/>
                <a:gd name="connsiteX448" fmla="*/ 207550 w 835437"/>
                <a:gd name="connsiteY448" fmla="*/ 508444 h 647509"/>
                <a:gd name="connsiteX449" fmla="*/ 218789 w 835437"/>
                <a:gd name="connsiteY449" fmla="*/ 508635 h 647509"/>
                <a:gd name="connsiteX450" fmla="*/ 222504 w 835437"/>
                <a:gd name="connsiteY450" fmla="*/ 512921 h 647509"/>
                <a:gd name="connsiteX451" fmla="*/ 227267 w 835437"/>
                <a:gd name="connsiteY451" fmla="*/ 512350 h 647509"/>
                <a:gd name="connsiteX452" fmla="*/ 231077 w 835437"/>
                <a:gd name="connsiteY452" fmla="*/ 516636 h 647509"/>
                <a:gd name="connsiteX453" fmla="*/ 230029 w 835437"/>
                <a:gd name="connsiteY453" fmla="*/ 521589 h 647509"/>
                <a:gd name="connsiteX454" fmla="*/ 224123 w 835437"/>
                <a:gd name="connsiteY454" fmla="*/ 525590 h 647509"/>
                <a:gd name="connsiteX455" fmla="*/ 227743 w 835437"/>
                <a:gd name="connsiteY455" fmla="*/ 528352 h 647509"/>
                <a:gd name="connsiteX456" fmla="*/ 226695 w 835437"/>
                <a:gd name="connsiteY456" fmla="*/ 533209 h 647509"/>
                <a:gd name="connsiteX457" fmla="*/ 234410 w 835437"/>
                <a:gd name="connsiteY457" fmla="*/ 530638 h 647509"/>
                <a:gd name="connsiteX458" fmla="*/ 237173 w 835437"/>
                <a:gd name="connsiteY458" fmla="*/ 527113 h 647509"/>
                <a:gd name="connsiteX459" fmla="*/ 243269 w 835437"/>
                <a:gd name="connsiteY459" fmla="*/ 524732 h 647509"/>
                <a:gd name="connsiteX460" fmla="*/ 244697 w 835437"/>
                <a:gd name="connsiteY460" fmla="*/ 522923 h 647509"/>
                <a:gd name="connsiteX461" fmla="*/ 247841 w 835437"/>
                <a:gd name="connsiteY461" fmla="*/ 522542 h 647509"/>
                <a:gd name="connsiteX462" fmla="*/ 254699 w 835437"/>
                <a:gd name="connsiteY462" fmla="*/ 526447 h 647509"/>
                <a:gd name="connsiteX463" fmla="*/ 253556 w 835437"/>
                <a:gd name="connsiteY463" fmla="*/ 529876 h 647509"/>
                <a:gd name="connsiteX464" fmla="*/ 259271 w 835437"/>
                <a:gd name="connsiteY464" fmla="*/ 537115 h 647509"/>
                <a:gd name="connsiteX465" fmla="*/ 267557 w 835437"/>
                <a:gd name="connsiteY465" fmla="*/ 539306 h 647509"/>
                <a:gd name="connsiteX466" fmla="*/ 273558 w 835437"/>
                <a:gd name="connsiteY466" fmla="*/ 548164 h 647509"/>
                <a:gd name="connsiteX467" fmla="*/ 270796 w 835437"/>
                <a:gd name="connsiteY467" fmla="*/ 551688 h 647509"/>
                <a:gd name="connsiteX468" fmla="*/ 267462 w 835437"/>
                <a:gd name="connsiteY468" fmla="*/ 563309 h 647509"/>
                <a:gd name="connsiteX469" fmla="*/ 261176 w 835437"/>
                <a:gd name="connsiteY469" fmla="*/ 564166 h 647509"/>
                <a:gd name="connsiteX470" fmla="*/ 259747 w 835437"/>
                <a:gd name="connsiteY470" fmla="*/ 565976 h 647509"/>
                <a:gd name="connsiteX471" fmla="*/ 252889 w 835437"/>
                <a:gd name="connsiteY471" fmla="*/ 574834 h 647509"/>
                <a:gd name="connsiteX472" fmla="*/ 253460 w 835437"/>
                <a:gd name="connsiteY472" fmla="*/ 579596 h 647509"/>
                <a:gd name="connsiteX473" fmla="*/ 258032 w 835437"/>
                <a:gd name="connsiteY473" fmla="*/ 590169 h 647509"/>
                <a:gd name="connsiteX474" fmla="*/ 269272 w 835437"/>
                <a:gd name="connsiteY474" fmla="*/ 590360 h 647509"/>
                <a:gd name="connsiteX475" fmla="*/ 268129 w 835437"/>
                <a:gd name="connsiteY475" fmla="*/ 593693 h 647509"/>
                <a:gd name="connsiteX476" fmla="*/ 271272 w 835437"/>
                <a:gd name="connsiteY476" fmla="*/ 593312 h 647509"/>
                <a:gd name="connsiteX477" fmla="*/ 274987 w 835437"/>
                <a:gd name="connsiteY477" fmla="*/ 597694 h 647509"/>
                <a:gd name="connsiteX478" fmla="*/ 281940 w 835437"/>
                <a:gd name="connsiteY478" fmla="*/ 601599 h 647509"/>
                <a:gd name="connsiteX479" fmla="*/ 289846 w 835437"/>
                <a:gd name="connsiteY479" fmla="*/ 600551 h 647509"/>
                <a:gd name="connsiteX480" fmla="*/ 296704 w 835437"/>
                <a:gd name="connsiteY480" fmla="*/ 604552 h 647509"/>
                <a:gd name="connsiteX481" fmla="*/ 303467 w 835437"/>
                <a:gd name="connsiteY481" fmla="*/ 606838 h 647509"/>
                <a:gd name="connsiteX482" fmla="*/ 305467 w 835437"/>
                <a:gd name="connsiteY482" fmla="*/ 609790 h 647509"/>
                <a:gd name="connsiteX483" fmla="*/ 307658 w 835437"/>
                <a:gd name="connsiteY483" fmla="*/ 627221 h 647509"/>
                <a:gd name="connsiteX484" fmla="*/ 317754 w 835437"/>
                <a:gd name="connsiteY484" fmla="*/ 630745 h 647509"/>
                <a:gd name="connsiteX485" fmla="*/ 328803 w 835437"/>
                <a:gd name="connsiteY485" fmla="*/ 629317 h 647509"/>
                <a:gd name="connsiteX486" fmla="*/ 335852 w 835437"/>
                <a:gd name="connsiteY486" fmla="*/ 634841 h 647509"/>
                <a:gd name="connsiteX487" fmla="*/ 338519 w 835437"/>
                <a:gd name="connsiteY487" fmla="*/ 642461 h 647509"/>
                <a:gd name="connsiteX488" fmla="*/ 342424 w 835437"/>
                <a:gd name="connsiteY488" fmla="*/ 635603 h 647509"/>
                <a:gd name="connsiteX489" fmla="*/ 349091 w 835437"/>
                <a:gd name="connsiteY489" fmla="*/ 637889 h 647509"/>
                <a:gd name="connsiteX490" fmla="*/ 349282 w 835437"/>
                <a:gd name="connsiteY490" fmla="*/ 626650 h 647509"/>
                <a:gd name="connsiteX491" fmla="*/ 352235 w 835437"/>
                <a:gd name="connsiteY491" fmla="*/ 624745 h 647509"/>
                <a:gd name="connsiteX492" fmla="*/ 356997 w 835437"/>
                <a:gd name="connsiteY492" fmla="*/ 624078 h 647509"/>
                <a:gd name="connsiteX493" fmla="*/ 356616 w 835437"/>
                <a:gd name="connsiteY493" fmla="*/ 620935 h 647509"/>
                <a:gd name="connsiteX494" fmla="*/ 359950 w 835437"/>
                <a:gd name="connsiteY494" fmla="*/ 622173 h 647509"/>
                <a:gd name="connsiteX495" fmla="*/ 359569 w 835437"/>
                <a:gd name="connsiteY495" fmla="*/ 618935 h 647509"/>
                <a:gd name="connsiteX496" fmla="*/ 373761 w 835437"/>
                <a:gd name="connsiteY496" fmla="*/ 617125 h 647509"/>
                <a:gd name="connsiteX497" fmla="*/ 383762 w 835437"/>
                <a:gd name="connsiteY497" fmla="*/ 620649 h 647509"/>
                <a:gd name="connsiteX498" fmla="*/ 389382 w 835437"/>
                <a:gd name="connsiteY498" fmla="*/ 626364 h 647509"/>
                <a:gd name="connsiteX499" fmla="*/ 391192 w 835437"/>
                <a:gd name="connsiteY499" fmla="*/ 640652 h 647509"/>
                <a:gd name="connsiteX500" fmla="*/ 393097 w 835437"/>
                <a:gd name="connsiteY500" fmla="*/ 643604 h 647509"/>
                <a:gd name="connsiteX501" fmla="*/ 391763 w 835437"/>
                <a:gd name="connsiteY501" fmla="*/ 645319 h 647509"/>
                <a:gd name="connsiteX502" fmla="*/ 400050 w 835437"/>
                <a:gd name="connsiteY502" fmla="*/ 647510 h 647509"/>
                <a:gd name="connsiteX503" fmla="*/ 399479 w 835437"/>
                <a:gd name="connsiteY503" fmla="*/ 642747 h 647509"/>
                <a:gd name="connsiteX504" fmla="*/ 398050 w 835437"/>
                <a:gd name="connsiteY504" fmla="*/ 631698 h 647509"/>
                <a:gd name="connsiteX505" fmla="*/ 394526 w 835437"/>
                <a:gd name="connsiteY505" fmla="*/ 628936 h 647509"/>
                <a:gd name="connsiteX506" fmla="*/ 394240 w 835437"/>
                <a:gd name="connsiteY506" fmla="*/ 627412 h 647509"/>
                <a:gd name="connsiteX507" fmla="*/ 406718 w 835437"/>
                <a:gd name="connsiteY507" fmla="*/ 624173 h 647509"/>
                <a:gd name="connsiteX508" fmla="*/ 421100 w 835437"/>
                <a:gd name="connsiteY508" fmla="*/ 623983 h 647509"/>
                <a:gd name="connsiteX509" fmla="*/ 419862 w 835437"/>
                <a:gd name="connsiteY509" fmla="*/ 614458 h 647509"/>
                <a:gd name="connsiteX510" fmla="*/ 414338 w 835437"/>
                <a:gd name="connsiteY510" fmla="*/ 608743 h 647509"/>
                <a:gd name="connsiteX511" fmla="*/ 415766 w 835437"/>
                <a:gd name="connsiteY511" fmla="*/ 607028 h 647509"/>
                <a:gd name="connsiteX512" fmla="*/ 422434 w 835437"/>
                <a:gd name="connsiteY512" fmla="*/ 609314 h 647509"/>
                <a:gd name="connsiteX513" fmla="*/ 429387 w 835437"/>
                <a:gd name="connsiteY513" fmla="*/ 613315 h 647509"/>
                <a:gd name="connsiteX514" fmla="*/ 434150 w 835437"/>
                <a:gd name="connsiteY514" fmla="*/ 612648 h 647509"/>
                <a:gd name="connsiteX515" fmla="*/ 442532 w 835437"/>
                <a:gd name="connsiteY515" fmla="*/ 603599 h 647509"/>
                <a:gd name="connsiteX516" fmla="*/ 443770 w 835437"/>
                <a:gd name="connsiteY516" fmla="*/ 600265 h 647509"/>
                <a:gd name="connsiteX517" fmla="*/ 449104 w 835437"/>
                <a:gd name="connsiteY517" fmla="*/ 604361 h 647509"/>
                <a:gd name="connsiteX518" fmla="*/ 455200 w 835437"/>
                <a:gd name="connsiteY518" fmla="*/ 601980 h 647509"/>
                <a:gd name="connsiteX519" fmla="*/ 456533 w 835437"/>
                <a:gd name="connsiteY519" fmla="*/ 600170 h 647509"/>
                <a:gd name="connsiteX520" fmla="*/ 457962 w 835437"/>
                <a:gd name="connsiteY520" fmla="*/ 598456 h 647509"/>
                <a:gd name="connsiteX521" fmla="*/ 459962 w 835437"/>
                <a:gd name="connsiteY521" fmla="*/ 601408 h 647509"/>
                <a:gd name="connsiteX522" fmla="*/ 463677 w 835437"/>
                <a:gd name="connsiteY522" fmla="*/ 605695 h 647509"/>
                <a:gd name="connsiteX523" fmla="*/ 469392 w 835437"/>
                <a:gd name="connsiteY523" fmla="*/ 600170 h 647509"/>
                <a:gd name="connsiteX524" fmla="*/ 473964 w 835437"/>
                <a:gd name="connsiteY524" fmla="*/ 597980 h 647509"/>
                <a:gd name="connsiteX525" fmla="*/ 474917 w 835437"/>
                <a:gd name="connsiteY525" fmla="*/ 593027 h 647509"/>
                <a:gd name="connsiteX526" fmla="*/ 479870 w 835437"/>
                <a:gd name="connsiteY526" fmla="*/ 593979 h 647509"/>
                <a:gd name="connsiteX527" fmla="*/ 483394 w 835437"/>
                <a:gd name="connsiteY527" fmla="*/ 596741 h 647509"/>
                <a:gd name="connsiteX528" fmla="*/ 489680 w 835437"/>
                <a:gd name="connsiteY528" fmla="*/ 595979 h 647509"/>
                <a:gd name="connsiteX529" fmla="*/ 493109 w 835437"/>
                <a:gd name="connsiteY529" fmla="*/ 597122 h 647509"/>
                <a:gd name="connsiteX530" fmla="*/ 492062 w 835437"/>
                <a:gd name="connsiteY530" fmla="*/ 602075 h 647509"/>
                <a:gd name="connsiteX531" fmla="*/ 495014 w 835437"/>
                <a:gd name="connsiteY531" fmla="*/ 600075 h 647509"/>
                <a:gd name="connsiteX532" fmla="*/ 493871 w 835437"/>
                <a:gd name="connsiteY532" fmla="*/ 603504 h 647509"/>
                <a:gd name="connsiteX533" fmla="*/ 495872 w 835437"/>
                <a:gd name="connsiteY533" fmla="*/ 606457 h 647509"/>
                <a:gd name="connsiteX534" fmla="*/ 499015 w 835437"/>
                <a:gd name="connsiteY534" fmla="*/ 605981 h 647509"/>
                <a:gd name="connsiteX535" fmla="*/ 498634 w 835437"/>
                <a:gd name="connsiteY535" fmla="*/ 602837 h 647509"/>
                <a:gd name="connsiteX536" fmla="*/ 503777 w 835437"/>
                <a:gd name="connsiteY536" fmla="*/ 605409 h 647509"/>
                <a:gd name="connsiteX537" fmla="*/ 509683 w 835437"/>
                <a:gd name="connsiteY537" fmla="*/ 601408 h 647509"/>
                <a:gd name="connsiteX538" fmla="*/ 516731 w 835437"/>
                <a:gd name="connsiteY538" fmla="*/ 606933 h 647509"/>
                <a:gd name="connsiteX539" fmla="*/ 517779 w 835437"/>
                <a:gd name="connsiteY539" fmla="*/ 614839 h 647509"/>
                <a:gd name="connsiteX540" fmla="*/ 520732 w 835437"/>
                <a:gd name="connsiteY540" fmla="*/ 612839 h 647509"/>
                <a:gd name="connsiteX541" fmla="*/ 527018 w 835437"/>
                <a:gd name="connsiteY541" fmla="*/ 612077 h 647509"/>
                <a:gd name="connsiteX542" fmla="*/ 536924 w 835437"/>
                <a:gd name="connsiteY542" fmla="*/ 613982 h 647509"/>
                <a:gd name="connsiteX543" fmla="*/ 543592 w 835437"/>
                <a:gd name="connsiteY543" fmla="*/ 603504 h 647509"/>
                <a:gd name="connsiteX544" fmla="*/ 550069 w 835437"/>
                <a:gd name="connsiteY544" fmla="*/ 604266 h 647509"/>
                <a:gd name="connsiteX545" fmla="*/ 555212 w 835437"/>
                <a:gd name="connsiteY545" fmla="*/ 606838 h 647509"/>
                <a:gd name="connsiteX546" fmla="*/ 555689 w 835437"/>
                <a:gd name="connsiteY546" fmla="*/ 609981 h 647509"/>
                <a:gd name="connsiteX547" fmla="*/ 559403 w 835437"/>
                <a:gd name="connsiteY547" fmla="*/ 614362 h 647509"/>
                <a:gd name="connsiteX548" fmla="*/ 568071 w 835437"/>
                <a:gd name="connsiteY548" fmla="*/ 619697 h 647509"/>
                <a:gd name="connsiteX549" fmla="*/ 571500 w 835437"/>
                <a:gd name="connsiteY549" fmla="*/ 620840 h 647509"/>
                <a:gd name="connsiteX550" fmla="*/ 571310 w 835437"/>
                <a:gd name="connsiteY550" fmla="*/ 619220 h 647509"/>
                <a:gd name="connsiteX551" fmla="*/ 570452 w 835437"/>
                <a:gd name="connsiteY551" fmla="*/ 612934 h 647509"/>
                <a:gd name="connsiteX552" fmla="*/ 577215 w 835437"/>
                <a:gd name="connsiteY552" fmla="*/ 615315 h 647509"/>
                <a:gd name="connsiteX553" fmla="*/ 576929 w 835437"/>
                <a:gd name="connsiteY553" fmla="*/ 613696 h 647509"/>
                <a:gd name="connsiteX554" fmla="*/ 576739 w 835437"/>
                <a:gd name="connsiteY554" fmla="*/ 612172 h 647509"/>
                <a:gd name="connsiteX555" fmla="*/ 579882 w 835437"/>
                <a:gd name="connsiteY555" fmla="*/ 611791 h 647509"/>
                <a:gd name="connsiteX556" fmla="*/ 584073 w 835437"/>
                <a:gd name="connsiteY556" fmla="*/ 606361 h 647509"/>
                <a:gd name="connsiteX557" fmla="*/ 587026 w 835437"/>
                <a:gd name="connsiteY557" fmla="*/ 604457 h 647509"/>
                <a:gd name="connsiteX558" fmla="*/ 589788 w 835437"/>
                <a:gd name="connsiteY558" fmla="*/ 600837 h 647509"/>
                <a:gd name="connsiteX559" fmla="*/ 593122 w 835437"/>
                <a:gd name="connsiteY559" fmla="*/ 602075 h 647509"/>
                <a:gd name="connsiteX560" fmla="*/ 594455 w 835437"/>
                <a:gd name="connsiteY560" fmla="*/ 600265 h 647509"/>
                <a:gd name="connsiteX561" fmla="*/ 598646 w 835437"/>
                <a:gd name="connsiteY561" fmla="*/ 594932 h 647509"/>
                <a:gd name="connsiteX562" fmla="*/ 598075 w 835437"/>
                <a:gd name="connsiteY562" fmla="*/ 590169 h 647509"/>
                <a:gd name="connsiteX563" fmla="*/ 592931 w 835437"/>
                <a:gd name="connsiteY563" fmla="*/ 587597 h 647509"/>
                <a:gd name="connsiteX564" fmla="*/ 597408 w 835437"/>
                <a:gd name="connsiteY564" fmla="*/ 585407 h 647509"/>
                <a:gd name="connsiteX565" fmla="*/ 594074 w 835437"/>
                <a:gd name="connsiteY565" fmla="*/ 584264 h 647509"/>
                <a:gd name="connsiteX566" fmla="*/ 597027 w 835437"/>
                <a:gd name="connsiteY566" fmla="*/ 582263 h 647509"/>
                <a:gd name="connsiteX567" fmla="*/ 600361 w 835437"/>
                <a:gd name="connsiteY567" fmla="*/ 583502 h 647509"/>
                <a:gd name="connsiteX568" fmla="*/ 599980 w 835437"/>
                <a:gd name="connsiteY568" fmla="*/ 580358 h 647509"/>
                <a:gd name="connsiteX569" fmla="*/ 599980 w 835437"/>
                <a:gd name="connsiteY569" fmla="*/ 580358 h 647509"/>
                <a:gd name="connsiteX570" fmla="*/ 592074 w 835437"/>
                <a:gd name="connsiteY570" fmla="*/ 568452 h 647509"/>
                <a:gd name="connsiteX571" fmla="*/ 592646 w 835437"/>
                <a:gd name="connsiteY571" fmla="*/ 560451 h 647509"/>
                <a:gd name="connsiteX572" fmla="*/ 596932 w 835437"/>
                <a:gd name="connsiteY572" fmla="*/ 556641 h 647509"/>
                <a:gd name="connsiteX573" fmla="*/ 604838 w 835437"/>
                <a:gd name="connsiteY573" fmla="*/ 555688 h 647509"/>
                <a:gd name="connsiteX574" fmla="*/ 614934 w 835437"/>
                <a:gd name="connsiteY574" fmla="*/ 559213 h 647509"/>
                <a:gd name="connsiteX575" fmla="*/ 617315 w 835437"/>
                <a:gd name="connsiteY575" fmla="*/ 552450 h 647509"/>
                <a:gd name="connsiteX576" fmla="*/ 622459 w 835437"/>
                <a:gd name="connsiteY576" fmla="*/ 555022 h 647509"/>
                <a:gd name="connsiteX577" fmla="*/ 621030 w 835437"/>
                <a:gd name="connsiteY577" fmla="*/ 556832 h 647509"/>
                <a:gd name="connsiteX578" fmla="*/ 624173 w 835437"/>
                <a:gd name="connsiteY578" fmla="*/ 556355 h 647509"/>
                <a:gd name="connsiteX579" fmla="*/ 622554 w 835437"/>
                <a:gd name="connsiteY579" fmla="*/ 543782 h 647509"/>
                <a:gd name="connsiteX580" fmla="*/ 632079 w 835437"/>
                <a:gd name="connsiteY580" fmla="*/ 542544 h 647509"/>
                <a:gd name="connsiteX581" fmla="*/ 635794 w 835437"/>
                <a:gd name="connsiteY581" fmla="*/ 546926 h 647509"/>
                <a:gd name="connsiteX582" fmla="*/ 638556 w 835437"/>
                <a:gd name="connsiteY582" fmla="*/ 543306 h 647509"/>
                <a:gd name="connsiteX583" fmla="*/ 638175 w 835437"/>
                <a:gd name="connsiteY583" fmla="*/ 540163 h 647509"/>
                <a:gd name="connsiteX584" fmla="*/ 642652 w 835437"/>
                <a:gd name="connsiteY584" fmla="*/ 537972 h 647509"/>
                <a:gd name="connsiteX585" fmla="*/ 642461 w 835437"/>
                <a:gd name="connsiteY585" fmla="*/ 536448 h 647509"/>
                <a:gd name="connsiteX586" fmla="*/ 647414 w 835437"/>
                <a:gd name="connsiteY586" fmla="*/ 537401 h 647509"/>
                <a:gd name="connsiteX587" fmla="*/ 650176 w 835437"/>
                <a:gd name="connsiteY587" fmla="*/ 533781 h 647509"/>
                <a:gd name="connsiteX588" fmla="*/ 649605 w 835437"/>
                <a:gd name="connsiteY588" fmla="*/ 529114 h 647509"/>
                <a:gd name="connsiteX589" fmla="*/ 656082 w 835437"/>
                <a:gd name="connsiteY589" fmla="*/ 529876 h 647509"/>
                <a:gd name="connsiteX590" fmla="*/ 659035 w 835437"/>
                <a:gd name="connsiteY590" fmla="*/ 527876 h 647509"/>
                <a:gd name="connsiteX591" fmla="*/ 659987 w 835437"/>
                <a:gd name="connsiteY591" fmla="*/ 522923 h 647509"/>
                <a:gd name="connsiteX592" fmla="*/ 662940 w 835437"/>
                <a:gd name="connsiteY592" fmla="*/ 521017 h 647509"/>
                <a:gd name="connsiteX593" fmla="*/ 671227 w 835437"/>
                <a:gd name="connsiteY593" fmla="*/ 523113 h 647509"/>
                <a:gd name="connsiteX594" fmla="*/ 675418 w 835437"/>
                <a:gd name="connsiteY594" fmla="*/ 517779 h 647509"/>
                <a:gd name="connsiteX595" fmla="*/ 675227 w 835437"/>
                <a:gd name="connsiteY595" fmla="*/ 516160 h 647509"/>
                <a:gd name="connsiteX596" fmla="*/ 672084 w 835437"/>
                <a:gd name="connsiteY596" fmla="*/ 516636 h 647509"/>
                <a:gd name="connsiteX597" fmla="*/ 670274 w 835437"/>
                <a:gd name="connsiteY597" fmla="*/ 515207 h 647509"/>
                <a:gd name="connsiteX598" fmla="*/ 672846 w 835437"/>
                <a:gd name="connsiteY598" fmla="*/ 510064 h 647509"/>
                <a:gd name="connsiteX599" fmla="*/ 677990 w 835437"/>
                <a:gd name="connsiteY599" fmla="*/ 512636 h 647509"/>
                <a:gd name="connsiteX600" fmla="*/ 682657 w 835437"/>
                <a:gd name="connsiteY600" fmla="*/ 512064 h 647509"/>
                <a:gd name="connsiteX601" fmla="*/ 681514 w 835437"/>
                <a:gd name="connsiteY601" fmla="*/ 502539 h 647509"/>
                <a:gd name="connsiteX602" fmla="*/ 682847 w 835437"/>
                <a:gd name="connsiteY602" fmla="*/ 500825 h 647509"/>
                <a:gd name="connsiteX603" fmla="*/ 683038 w 835437"/>
                <a:gd name="connsiteY603" fmla="*/ 502348 h 647509"/>
                <a:gd name="connsiteX604" fmla="*/ 685991 w 835437"/>
                <a:gd name="connsiteY604" fmla="*/ 500444 h 647509"/>
                <a:gd name="connsiteX605" fmla="*/ 687419 w 835437"/>
                <a:gd name="connsiteY605" fmla="*/ 498634 h 647509"/>
                <a:gd name="connsiteX606" fmla="*/ 693134 w 835437"/>
                <a:gd name="connsiteY606" fmla="*/ 493109 h 647509"/>
                <a:gd name="connsiteX607" fmla="*/ 693896 w 835437"/>
                <a:gd name="connsiteY607" fmla="*/ 499396 h 647509"/>
                <a:gd name="connsiteX608" fmla="*/ 695325 w 835437"/>
                <a:gd name="connsiteY608" fmla="*/ 497586 h 647509"/>
                <a:gd name="connsiteX609" fmla="*/ 696087 w 835437"/>
                <a:gd name="connsiteY609" fmla="*/ 503968 h 647509"/>
                <a:gd name="connsiteX610" fmla="*/ 699611 w 835437"/>
                <a:gd name="connsiteY610" fmla="*/ 506635 h 647509"/>
                <a:gd name="connsiteX611" fmla="*/ 702374 w 835437"/>
                <a:gd name="connsiteY611" fmla="*/ 503111 h 647509"/>
                <a:gd name="connsiteX612" fmla="*/ 707898 w 835437"/>
                <a:gd name="connsiteY612" fmla="*/ 508825 h 647509"/>
                <a:gd name="connsiteX613" fmla="*/ 712089 w 835437"/>
                <a:gd name="connsiteY613" fmla="*/ 503492 h 647509"/>
                <a:gd name="connsiteX614" fmla="*/ 715804 w 835437"/>
                <a:gd name="connsiteY614" fmla="*/ 507778 h 647509"/>
                <a:gd name="connsiteX615" fmla="*/ 715613 w 835437"/>
                <a:gd name="connsiteY615" fmla="*/ 506254 h 647509"/>
                <a:gd name="connsiteX616" fmla="*/ 720566 w 835437"/>
                <a:gd name="connsiteY616" fmla="*/ 507206 h 647509"/>
                <a:gd name="connsiteX617" fmla="*/ 728091 w 835437"/>
                <a:gd name="connsiteY617" fmla="*/ 503015 h 647509"/>
                <a:gd name="connsiteX618" fmla="*/ 728472 w 835437"/>
                <a:gd name="connsiteY618" fmla="*/ 506254 h 647509"/>
                <a:gd name="connsiteX619" fmla="*/ 726853 w 835437"/>
                <a:gd name="connsiteY619" fmla="*/ 506444 h 647509"/>
                <a:gd name="connsiteX620" fmla="*/ 733616 w 835437"/>
                <a:gd name="connsiteY620" fmla="*/ 508730 h 647509"/>
                <a:gd name="connsiteX621" fmla="*/ 734949 w 835437"/>
                <a:gd name="connsiteY621" fmla="*/ 507016 h 647509"/>
                <a:gd name="connsiteX622" fmla="*/ 736568 w 835437"/>
                <a:gd name="connsiteY622" fmla="*/ 506825 h 647509"/>
                <a:gd name="connsiteX623" fmla="*/ 737330 w 835437"/>
                <a:gd name="connsiteY623" fmla="*/ 513112 h 647509"/>
                <a:gd name="connsiteX624" fmla="*/ 738950 w 835437"/>
                <a:gd name="connsiteY624" fmla="*/ 512921 h 647509"/>
                <a:gd name="connsiteX625" fmla="*/ 738759 w 835437"/>
                <a:gd name="connsiteY625" fmla="*/ 511302 h 647509"/>
                <a:gd name="connsiteX626" fmla="*/ 742283 w 835437"/>
                <a:gd name="connsiteY626" fmla="*/ 514064 h 647509"/>
                <a:gd name="connsiteX627" fmla="*/ 743903 w 835437"/>
                <a:gd name="connsiteY627" fmla="*/ 513874 h 647509"/>
                <a:gd name="connsiteX628" fmla="*/ 745808 w 835437"/>
                <a:gd name="connsiteY628" fmla="*/ 516827 h 647509"/>
                <a:gd name="connsiteX629" fmla="*/ 747427 w 835437"/>
                <a:gd name="connsiteY629" fmla="*/ 516636 h 647509"/>
                <a:gd name="connsiteX630" fmla="*/ 749237 w 835437"/>
                <a:gd name="connsiteY630" fmla="*/ 517969 h 647509"/>
                <a:gd name="connsiteX631" fmla="*/ 749999 w 835437"/>
                <a:gd name="connsiteY631" fmla="*/ 524351 h 647509"/>
                <a:gd name="connsiteX632" fmla="*/ 751808 w 835437"/>
                <a:gd name="connsiteY632" fmla="*/ 525685 h 647509"/>
                <a:gd name="connsiteX633" fmla="*/ 752189 w 835437"/>
                <a:gd name="connsiteY633" fmla="*/ 516065 h 647509"/>
                <a:gd name="connsiteX634" fmla="*/ 753713 w 835437"/>
                <a:gd name="connsiteY634" fmla="*/ 515779 h 647509"/>
                <a:gd name="connsiteX635" fmla="*/ 752761 w 835437"/>
                <a:gd name="connsiteY635" fmla="*/ 520732 h 647509"/>
                <a:gd name="connsiteX636" fmla="*/ 754761 w 835437"/>
                <a:gd name="connsiteY636" fmla="*/ 523684 h 647509"/>
                <a:gd name="connsiteX637" fmla="*/ 760095 w 835437"/>
                <a:gd name="connsiteY637" fmla="*/ 527876 h 647509"/>
                <a:gd name="connsiteX638" fmla="*/ 769334 w 835437"/>
                <a:gd name="connsiteY638" fmla="*/ 537877 h 647509"/>
                <a:gd name="connsiteX639" fmla="*/ 781241 w 835437"/>
                <a:gd name="connsiteY639" fmla="*/ 542830 h 647509"/>
                <a:gd name="connsiteX640" fmla="*/ 785717 w 835437"/>
                <a:gd name="connsiteY640" fmla="*/ 540639 h 647509"/>
                <a:gd name="connsiteX641" fmla="*/ 788765 w 835437"/>
                <a:gd name="connsiteY641" fmla="*/ 538639 h 647509"/>
                <a:gd name="connsiteX642" fmla="*/ 784574 w 835437"/>
                <a:gd name="connsiteY642" fmla="*/ 531114 h 647509"/>
                <a:gd name="connsiteX643" fmla="*/ 783336 w 835437"/>
                <a:gd name="connsiteY643" fmla="*/ 521684 h 647509"/>
                <a:gd name="connsiteX644" fmla="*/ 788480 w 835437"/>
                <a:gd name="connsiteY644" fmla="*/ 511397 h 647509"/>
                <a:gd name="connsiteX645" fmla="*/ 793147 w 835437"/>
                <a:gd name="connsiteY645" fmla="*/ 510826 h 647509"/>
                <a:gd name="connsiteX646" fmla="*/ 792766 w 835437"/>
                <a:gd name="connsiteY646" fmla="*/ 507682 h 647509"/>
                <a:gd name="connsiteX647" fmla="*/ 787813 w 835437"/>
                <a:gd name="connsiteY647" fmla="*/ 493871 h 647509"/>
                <a:gd name="connsiteX648" fmla="*/ 790956 w 835437"/>
                <a:gd name="connsiteY648" fmla="*/ 493395 h 647509"/>
                <a:gd name="connsiteX649" fmla="*/ 787432 w 835437"/>
                <a:gd name="connsiteY649" fmla="*/ 490728 h 647509"/>
                <a:gd name="connsiteX650" fmla="*/ 784098 w 835437"/>
                <a:gd name="connsiteY650" fmla="*/ 489490 h 647509"/>
                <a:gd name="connsiteX651" fmla="*/ 785241 w 835437"/>
                <a:gd name="connsiteY651" fmla="*/ 486156 h 647509"/>
                <a:gd name="connsiteX652" fmla="*/ 788194 w 835437"/>
                <a:gd name="connsiteY652" fmla="*/ 484156 h 647509"/>
                <a:gd name="connsiteX653" fmla="*/ 784670 w 835437"/>
                <a:gd name="connsiteY653" fmla="*/ 481394 h 647509"/>
                <a:gd name="connsiteX654" fmla="*/ 790956 w 835437"/>
                <a:gd name="connsiteY654" fmla="*/ 480632 h 647509"/>
                <a:gd name="connsiteX655" fmla="*/ 792956 w 835437"/>
                <a:gd name="connsiteY655" fmla="*/ 483584 h 647509"/>
                <a:gd name="connsiteX656" fmla="*/ 796290 w 835437"/>
                <a:gd name="connsiteY656" fmla="*/ 484727 h 647509"/>
                <a:gd name="connsiteX657" fmla="*/ 797243 w 835437"/>
                <a:gd name="connsiteY657" fmla="*/ 479774 h 647509"/>
                <a:gd name="connsiteX658" fmla="*/ 798100 w 835437"/>
                <a:gd name="connsiteY658" fmla="*/ 486156 h 647509"/>
                <a:gd name="connsiteX659" fmla="*/ 802767 w 835437"/>
                <a:gd name="connsiteY659" fmla="*/ 485489 h 647509"/>
                <a:gd name="connsiteX660" fmla="*/ 802005 w 835437"/>
                <a:gd name="connsiteY660" fmla="*/ 479203 h 647509"/>
                <a:gd name="connsiteX661" fmla="*/ 803529 w 835437"/>
                <a:gd name="connsiteY661" fmla="*/ 479012 h 647509"/>
                <a:gd name="connsiteX662" fmla="*/ 810101 w 835437"/>
                <a:gd name="connsiteY662" fmla="*/ 479774 h 647509"/>
                <a:gd name="connsiteX663" fmla="*/ 814578 w 835437"/>
                <a:gd name="connsiteY663" fmla="*/ 477584 h 647509"/>
                <a:gd name="connsiteX664" fmla="*/ 819531 w 835437"/>
                <a:gd name="connsiteY664" fmla="*/ 478536 h 647509"/>
                <a:gd name="connsiteX665" fmla="*/ 820960 w 835437"/>
                <a:gd name="connsiteY665" fmla="*/ 476821 h 647509"/>
                <a:gd name="connsiteX666" fmla="*/ 816578 w 835437"/>
                <a:gd name="connsiteY666" fmla="*/ 467773 h 647509"/>
                <a:gd name="connsiteX667" fmla="*/ 818388 w 835437"/>
                <a:gd name="connsiteY667" fmla="*/ 469106 h 647509"/>
                <a:gd name="connsiteX668" fmla="*/ 822103 w 835437"/>
                <a:gd name="connsiteY668" fmla="*/ 473392 h 647509"/>
                <a:gd name="connsiteX669" fmla="*/ 823436 w 835437"/>
                <a:gd name="connsiteY669" fmla="*/ 471678 h 647509"/>
                <a:gd name="connsiteX670" fmla="*/ 829628 w 835437"/>
                <a:gd name="connsiteY670" fmla="*/ 469297 h 647509"/>
                <a:gd name="connsiteX671" fmla="*/ 830390 w 835437"/>
                <a:gd name="connsiteY671" fmla="*/ 462725 h 647509"/>
                <a:gd name="connsiteX672" fmla="*/ 833152 w 835437"/>
                <a:gd name="connsiteY672" fmla="*/ 459200 h 647509"/>
                <a:gd name="connsiteX673" fmla="*/ 832485 w 835437"/>
                <a:gd name="connsiteY673" fmla="*/ 454438 h 647509"/>
                <a:gd name="connsiteX674" fmla="*/ 830771 w 835437"/>
                <a:gd name="connsiteY674" fmla="*/ 453104 h 647509"/>
                <a:gd name="connsiteX675" fmla="*/ 830294 w 835437"/>
                <a:gd name="connsiteY675" fmla="*/ 449961 h 647509"/>
                <a:gd name="connsiteX676" fmla="*/ 822674 w 835437"/>
                <a:gd name="connsiteY676" fmla="*/ 452533 h 647509"/>
                <a:gd name="connsiteX677" fmla="*/ 819055 w 835437"/>
                <a:gd name="connsiteY677" fmla="*/ 449771 h 647509"/>
                <a:gd name="connsiteX678" fmla="*/ 827913 w 835437"/>
                <a:gd name="connsiteY678" fmla="*/ 431006 h 647509"/>
                <a:gd name="connsiteX679" fmla="*/ 825913 w 835437"/>
                <a:gd name="connsiteY679" fmla="*/ 428054 h 647509"/>
                <a:gd name="connsiteX680" fmla="*/ 822579 w 835437"/>
                <a:gd name="connsiteY680" fmla="*/ 426911 h 647509"/>
                <a:gd name="connsiteX681" fmla="*/ 822389 w 835437"/>
                <a:gd name="connsiteY681" fmla="*/ 425291 h 647509"/>
                <a:gd name="connsiteX682" fmla="*/ 827151 w 835437"/>
                <a:gd name="connsiteY682" fmla="*/ 424720 h 647509"/>
                <a:gd name="connsiteX683" fmla="*/ 829056 w 835437"/>
                <a:gd name="connsiteY683" fmla="*/ 427673 h 647509"/>
                <a:gd name="connsiteX684" fmla="*/ 832485 w 835437"/>
                <a:gd name="connsiteY684" fmla="*/ 428815 h 647509"/>
                <a:gd name="connsiteX685" fmla="*/ 835438 w 835437"/>
                <a:gd name="connsiteY685" fmla="*/ 426815 h 647509"/>
                <a:gd name="connsiteX686" fmla="*/ 835247 w 835437"/>
                <a:gd name="connsiteY686" fmla="*/ 425291 h 647509"/>
                <a:gd name="connsiteX687" fmla="*/ 831818 w 835437"/>
                <a:gd name="connsiteY687" fmla="*/ 424053 h 647509"/>
                <a:gd name="connsiteX688" fmla="*/ 833057 w 835437"/>
                <a:gd name="connsiteY688" fmla="*/ 420719 h 647509"/>
                <a:gd name="connsiteX689" fmla="*/ 833057 w 835437"/>
                <a:gd name="connsiteY689" fmla="*/ 420719 h 647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</a:cxnLst>
              <a:rect l="l" t="t" r="r" b="b"/>
              <a:pathLst>
                <a:path w="835437" h="647509">
                  <a:moveTo>
                    <a:pt x="833057" y="420719"/>
                  </a:moveTo>
                  <a:lnTo>
                    <a:pt x="831437" y="408146"/>
                  </a:lnTo>
                  <a:lnTo>
                    <a:pt x="829628" y="406717"/>
                  </a:lnTo>
                  <a:lnTo>
                    <a:pt x="821722" y="407765"/>
                  </a:lnTo>
                  <a:lnTo>
                    <a:pt x="823151" y="405956"/>
                  </a:lnTo>
                  <a:lnTo>
                    <a:pt x="827627" y="403765"/>
                  </a:lnTo>
                  <a:lnTo>
                    <a:pt x="820769" y="399859"/>
                  </a:lnTo>
                  <a:lnTo>
                    <a:pt x="820579" y="398240"/>
                  </a:lnTo>
                  <a:lnTo>
                    <a:pt x="818198" y="392144"/>
                  </a:lnTo>
                  <a:lnTo>
                    <a:pt x="813245" y="391192"/>
                  </a:lnTo>
                  <a:lnTo>
                    <a:pt x="805529" y="393763"/>
                  </a:lnTo>
                  <a:lnTo>
                    <a:pt x="800195" y="389668"/>
                  </a:lnTo>
                  <a:lnTo>
                    <a:pt x="797624" y="394716"/>
                  </a:lnTo>
                  <a:lnTo>
                    <a:pt x="791909" y="387477"/>
                  </a:lnTo>
                  <a:lnTo>
                    <a:pt x="788765" y="387858"/>
                  </a:lnTo>
                  <a:lnTo>
                    <a:pt x="785146" y="385096"/>
                  </a:lnTo>
                  <a:lnTo>
                    <a:pt x="793051" y="384143"/>
                  </a:lnTo>
                  <a:lnTo>
                    <a:pt x="794290" y="380714"/>
                  </a:lnTo>
                  <a:lnTo>
                    <a:pt x="790861" y="379571"/>
                  </a:lnTo>
                  <a:lnTo>
                    <a:pt x="792099" y="376238"/>
                  </a:lnTo>
                  <a:lnTo>
                    <a:pt x="799814" y="373666"/>
                  </a:lnTo>
                  <a:lnTo>
                    <a:pt x="800005" y="375190"/>
                  </a:lnTo>
                  <a:lnTo>
                    <a:pt x="801148" y="371856"/>
                  </a:lnTo>
                  <a:lnTo>
                    <a:pt x="809625" y="375571"/>
                  </a:lnTo>
                  <a:lnTo>
                    <a:pt x="809435" y="374047"/>
                  </a:lnTo>
                  <a:lnTo>
                    <a:pt x="811244" y="375380"/>
                  </a:lnTo>
                  <a:lnTo>
                    <a:pt x="812578" y="373571"/>
                  </a:lnTo>
                  <a:lnTo>
                    <a:pt x="815912" y="374809"/>
                  </a:lnTo>
                  <a:lnTo>
                    <a:pt x="812959" y="376809"/>
                  </a:lnTo>
                  <a:lnTo>
                    <a:pt x="821722" y="382048"/>
                  </a:lnTo>
                  <a:lnTo>
                    <a:pt x="824865" y="381667"/>
                  </a:lnTo>
                  <a:lnTo>
                    <a:pt x="822484" y="375571"/>
                  </a:lnTo>
                  <a:lnTo>
                    <a:pt x="825437" y="373571"/>
                  </a:lnTo>
                  <a:lnTo>
                    <a:pt x="820293" y="370999"/>
                  </a:lnTo>
                  <a:lnTo>
                    <a:pt x="821817" y="370808"/>
                  </a:lnTo>
                  <a:lnTo>
                    <a:pt x="821436" y="367665"/>
                  </a:lnTo>
                  <a:lnTo>
                    <a:pt x="812959" y="363950"/>
                  </a:lnTo>
                  <a:lnTo>
                    <a:pt x="813911" y="358997"/>
                  </a:lnTo>
                  <a:lnTo>
                    <a:pt x="812387" y="359188"/>
                  </a:lnTo>
                  <a:lnTo>
                    <a:pt x="815340" y="357188"/>
                  </a:lnTo>
                  <a:lnTo>
                    <a:pt x="825151" y="359188"/>
                  </a:lnTo>
                  <a:lnTo>
                    <a:pt x="828294" y="345948"/>
                  </a:lnTo>
                  <a:lnTo>
                    <a:pt x="818674" y="345567"/>
                  </a:lnTo>
                  <a:lnTo>
                    <a:pt x="821436" y="342043"/>
                  </a:lnTo>
                  <a:lnTo>
                    <a:pt x="822198" y="335471"/>
                  </a:lnTo>
                  <a:lnTo>
                    <a:pt x="820388" y="334137"/>
                  </a:lnTo>
                  <a:lnTo>
                    <a:pt x="819436" y="326231"/>
                  </a:lnTo>
                  <a:lnTo>
                    <a:pt x="813816" y="320516"/>
                  </a:lnTo>
                  <a:lnTo>
                    <a:pt x="813816" y="320516"/>
                  </a:lnTo>
                  <a:lnTo>
                    <a:pt x="816388" y="315373"/>
                  </a:lnTo>
                  <a:lnTo>
                    <a:pt x="809244" y="309848"/>
                  </a:lnTo>
                  <a:lnTo>
                    <a:pt x="807720" y="310134"/>
                  </a:lnTo>
                  <a:lnTo>
                    <a:pt x="804386" y="308896"/>
                  </a:lnTo>
                  <a:lnTo>
                    <a:pt x="808482" y="303562"/>
                  </a:lnTo>
                  <a:lnTo>
                    <a:pt x="808292" y="302038"/>
                  </a:lnTo>
                  <a:lnTo>
                    <a:pt x="805148" y="302419"/>
                  </a:lnTo>
                  <a:lnTo>
                    <a:pt x="796862" y="300228"/>
                  </a:lnTo>
                  <a:lnTo>
                    <a:pt x="796004" y="293942"/>
                  </a:lnTo>
                  <a:lnTo>
                    <a:pt x="802386" y="293180"/>
                  </a:lnTo>
                  <a:lnTo>
                    <a:pt x="801529" y="286798"/>
                  </a:lnTo>
                  <a:lnTo>
                    <a:pt x="802958" y="284988"/>
                  </a:lnTo>
                  <a:lnTo>
                    <a:pt x="804291" y="283273"/>
                  </a:lnTo>
                  <a:lnTo>
                    <a:pt x="802291" y="280321"/>
                  </a:lnTo>
                  <a:lnTo>
                    <a:pt x="805244" y="278321"/>
                  </a:lnTo>
                  <a:lnTo>
                    <a:pt x="806672" y="276511"/>
                  </a:lnTo>
                  <a:lnTo>
                    <a:pt x="799910" y="274225"/>
                  </a:lnTo>
                  <a:lnTo>
                    <a:pt x="799528" y="270986"/>
                  </a:lnTo>
                  <a:lnTo>
                    <a:pt x="797909" y="271272"/>
                  </a:lnTo>
                  <a:lnTo>
                    <a:pt x="791813" y="273653"/>
                  </a:lnTo>
                  <a:lnTo>
                    <a:pt x="788480" y="272415"/>
                  </a:lnTo>
                  <a:lnTo>
                    <a:pt x="784098" y="263366"/>
                  </a:lnTo>
                  <a:lnTo>
                    <a:pt x="785527" y="261556"/>
                  </a:lnTo>
                  <a:lnTo>
                    <a:pt x="783717" y="260223"/>
                  </a:lnTo>
                  <a:lnTo>
                    <a:pt x="786479" y="256699"/>
                  </a:lnTo>
                  <a:lnTo>
                    <a:pt x="791242" y="256032"/>
                  </a:lnTo>
                  <a:lnTo>
                    <a:pt x="794195" y="254032"/>
                  </a:lnTo>
                  <a:lnTo>
                    <a:pt x="793147" y="246221"/>
                  </a:lnTo>
                  <a:lnTo>
                    <a:pt x="791909" y="236696"/>
                  </a:lnTo>
                  <a:lnTo>
                    <a:pt x="788575" y="235553"/>
                  </a:lnTo>
                  <a:lnTo>
                    <a:pt x="789527" y="230600"/>
                  </a:lnTo>
                  <a:lnTo>
                    <a:pt x="792099" y="225457"/>
                  </a:lnTo>
                  <a:lnTo>
                    <a:pt x="782288" y="223552"/>
                  </a:lnTo>
                  <a:lnTo>
                    <a:pt x="779050" y="223933"/>
                  </a:lnTo>
                  <a:lnTo>
                    <a:pt x="778859" y="222313"/>
                  </a:lnTo>
                  <a:lnTo>
                    <a:pt x="782003" y="221932"/>
                  </a:lnTo>
                  <a:lnTo>
                    <a:pt x="784003" y="212027"/>
                  </a:lnTo>
                  <a:lnTo>
                    <a:pt x="782193" y="210693"/>
                  </a:lnTo>
                  <a:lnTo>
                    <a:pt x="785336" y="210312"/>
                  </a:lnTo>
                  <a:lnTo>
                    <a:pt x="787908" y="205169"/>
                  </a:lnTo>
                  <a:lnTo>
                    <a:pt x="786384" y="205359"/>
                  </a:lnTo>
                  <a:lnTo>
                    <a:pt x="785717" y="200596"/>
                  </a:lnTo>
                  <a:lnTo>
                    <a:pt x="790289" y="198406"/>
                  </a:lnTo>
                  <a:lnTo>
                    <a:pt x="791813" y="198215"/>
                  </a:lnTo>
                  <a:lnTo>
                    <a:pt x="792671" y="191738"/>
                  </a:lnTo>
                  <a:lnTo>
                    <a:pt x="787718" y="190786"/>
                  </a:lnTo>
                  <a:lnTo>
                    <a:pt x="788670" y="185833"/>
                  </a:lnTo>
                  <a:lnTo>
                    <a:pt x="785527" y="186214"/>
                  </a:lnTo>
                  <a:lnTo>
                    <a:pt x="786670" y="182880"/>
                  </a:lnTo>
                  <a:lnTo>
                    <a:pt x="784670" y="179927"/>
                  </a:lnTo>
                  <a:lnTo>
                    <a:pt x="784289" y="176784"/>
                  </a:lnTo>
                  <a:lnTo>
                    <a:pt x="787051" y="173165"/>
                  </a:lnTo>
                  <a:lnTo>
                    <a:pt x="787051" y="173165"/>
                  </a:lnTo>
                  <a:lnTo>
                    <a:pt x="790003" y="171164"/>
                  </a:lnTo>
                  <a:lnTo>
                    <a:pt x="794576" y="169069"/>
                  </a:lnTo>
                  <a:lnTo>
                    <a:pt x="794099" y="165830"/>
                  </a:lnTo>
                  <a:lnTo>
                    <a:pt x="795528" y="164116"/>
                  </a:lnTo>
                  <a:lnTo>
                    <a:pt x="792956" y="156400"/>
                  </a:lnTo>
                  <a:lnTo>
                    <a:pt x="795719" y="152876"/>
                  </a:lnTo>
                  <a:lnTo>
                    <a:pt x="788765" y="148876"/>
                  </a:lnTo>
                  <a:lnTo>
                    <a:pt x="785622" y="136493"/>
                  </a:lnTo>
                  <a:lnTo>
                    <a:pt x="775335" y="131350"/>
                  </a:lnTo>
                  <a:lnTo>
                    <a:pt x="777907" y="126302"/>
                  </a:lnTo>
                  <a:lnTo>
                    <a:pt x="777716" y="124682"/>
                  </a:lnTo>
                  <a:lnTo>
                    <a:pt x="771525" y="127063"/>
                  </a:lnTo>
                  <a:lnTo>
                    <a:pt x="767429" y="132398"/>
                  </a:lnTo>
                  <a:lnTo>
                    <a:pt x="762476" y="131445"/>
                  </a:lnTo>
                  <a:lnTo>
                    <a:pt x="759905" y="136588"/>
                  </a:lnTo>
                  <a:lnTo>
                    <a:pt x="759333" y="131826"/>
                  </a:lnTo>
                  <a:lnTo>
                    <a:pt x="749903" y="133064"/>
                  </a:lnTo>
                  <a:lnTo>
                    <a:pt x="746474" y="131826"/>
                  </a:lnTo>
                  <a:lnTo>
                    <a:pt x="741807" y="132493"/>
                  </a:lnTo>
                  <a:lnTo>
                    <a:pt x="739997" y="131064"/>
                  </a:lnTo>
                  <a:lnTo>
                    <a:pt x="738378" y="131254"/>
                  </a:lnTo>
                  <a:lnTo>
                    <a:pt x="736283" y="126778"/>
                  </a:lnTo>
                  <a:lnTo>
                    <a:pt x="728186" y="126206"/>
                  </a:lnTo>
                  <a:lnTo>
                    <a:pt x="723233" y="125158"/>
                  </a:lnTo>
                  <a:lnTo>
                    <a:pt x="717328" y="129159"/>
                  </a:lnTo>
                  <a:lnTo>
                    <a:pt x="715709" y="129350"/>
                  </a:lnTo>
                  <a:lnTo>
                    <a:pt x="717899" y="133921"/>
                  </a:lnTo>
                  <a:lnTo>
                    <a:pt x="714756" y="134302"/>
                  </a:lnTo>
                  <a:lnTo>
                    <a:pt x="713327" y="136112"/>
                  </a:lnTo>
                  <a:lnTo>
                    <a:pt x="708279" y="133540"/>
                  </a:lnTo>
                  <a:lnTo>
                    <a:pt x="709613" y="131731"/>
                  </a:lnTo>
                  <a:lnTo>
                    <a:pt x="707803" y="130397"/>
                  </a:lnTo>
                  <a:lnTo>
                    <a:pt x="703136" y="130969"/>
                  </a:lnTo>
                  <a:lnTo>
                    <a:pt x="699326" y="126587"/>
                  </a:lnTo>
                  <a:lnTo>
                    <a:pt x="696373" y="128588"/>
                  </a:lnTo>
                  <a:lnTo>
                    <a:pt x="696373" y="128588"/>
                  </a:lnTo>
                  <a:lnTo>
                    <a:pt x="695801" y="123920"/>
                  </a:lnTo>
                  <a:lnTo>
                    <a:pt x="700278" y="121729"/>
                  </a:lnTo>
                  <a:lnTo>
                    <a:pt x="702278" y="111823"/>
                  </a:lnTo>
                  <a:lnTo>
                    <a:pt x="708565" y="111061"/>
                  </a:lnTo>
                  <a:lnTo>
                    <a:pt x="708374" y="109442"/>
                  </a:lnTo>
                  <a:lnTo>
                    <a:pt x="700469" y="97631"/>
                  </a:lnTo>
                  <a:lnTo>
                    <a:pt x="698659" y="96298"/>
                  </a:lnTo>
                  <a:lnTo>
                    <a:pt x="695706" y="98203"/>
                  </a:lnTo>
                  <a:lnTo>
                    <a:pt x="689229" y="97441"/>
                  </a:lnTo>
                  <a:lnTo>
                    <a:pt x="679895" y="87440"/>
                  </a:lnTo>
                  <a:lnTo>
                    <a:pt x="680276" y="90583"/>
                  </a:lnTo>
                  <a:lnTo>
                    <a:pt x="665702" y="89249"/>
                  </a:lnTo>
                  <a:lnTo>
                    <a:pt x="664750" y="94202"/>
                  </a:lnTo>
                  <a:lnTo>
                    <a:pt x="650939" y="86296"/>
                  </a:lnTo>
                  <a:lnTo>
                    <a:pt x="648272" y="78581"/>
                  </a:lnTo>
                  <a:lnTo>
                    <a:pt x="640651" y="81153"/>
                  </a:lnTo>
                  <a:lnTo>
                    <a:pt x="631793" y="87154"/>
                  </a:lnTo>
                  <a:lnTo>
                    <a:pt x="629984" y="85725"/>
                  </a:lnTo>
                  <a:lnTo>
                    <a:pt x="631126" y="82391"/>
                  </a:lnTo>
                  <a:lnTo>
                    <a:pt x="628174" y="84392"/>
                  </a:lnTo>
                  <a:lnTo>
                    <a:pt x="626174" y="81439"/>
                  </a:lnTo>
                  <a:lnTo>
                    <a:pt x="615410" y="84392"/>
                  </a:lnTo>
                  <a:lnTo>
                    <a:pt x="613029" y="78296"/>
                  </a:lnTo>
                  <a:lnTo>
                    <a:pt x="609028" y="72390"/>
                  </a:lnTo>
                  <a:lnTo>
                    <a:pt x="597218" y="67437"/>
                  </a:lnTo>
                  <a:lnTo>
                    <a:pt x="590455" y="65151"/>
                  </a:lnTo>
                  <a:lnTo>
                    <a:pt x="589693" y="58865"/>
                  </a:lnTo>
                  <a:lnTo>
                    <a:pt x="575215" y="46196"/>
                  </a:lnTo>
                  <a:lnTo>
                    <a:pt x="571881" y="45053"/>
                  </a:lnTo>
                  <a:lnTo>
                    <a:pt x="568738" y="45434"/>
                  </a:lnTo>
                  <a:lnTo>
                    <a:pt x="561404" y="38386"/>
                  </a:lnTo>
                  <a:lnTo>
                    <a:pt x="531305" y="16573"/>
                  </a:lnTo>
                  <a:lnTo>
                    <a:pt x="524066" y="9430"/>
                  </a:lnTo>
                  <a:lnTo>
                    <a:pt x="509969" y="0"/>
                  </a:lnTo>
                  <a:lnTo>
                    <a:pt x="508254" y="11430"/>
                  </a:lnTo>
                  <a:lnTo>
                    <a:pt x="501206" y="18764"/>
                  </a:lnTo>
                  <a:lnTo>
                    <a:pt x="501777" y="23527"/>
                  </a:lnTo>
                  <a:lnTo>
                    <a:pt x="503968" y="28004"/>
                  </a:lnTo>
                  <a:lnTo>
                    <a:pt x="503015" y="32956"/>
                  </a:lnTo>
                  <a:lnTo>
                    <a:pt x="498634" y="23908"/>
                  </a:lnTo>
                  <a:lnTo>
                    <a:pt x="493871" y="11716"/>
                  </a:lnTo>
                  <a:lnTo>
                    <a:pt x="451295" y="29908"/>
                  </a:lnTo>
                  <a:lnTo>
                    <a:pt x="446342" y="41815"/>
                  </a:lnTo>
                  <a:lnTo>
                    <a:pt x="440436" y="45720"/>
                  </a:lnTo>
                  <a:lnTo>
                    <a:pt x="432149" y="56388"/>
                  </a:lnTo>
                  <a:lnTo>
                    <a:pt x="429673" y="61531"/>
                  </a:lnTo>
                  <a:lnTo>
                    <a:pt x="431578" y="64484"/>
                  </a:lnTo>
                  <a:lnTo>
                    <a:pt x="430625" y="69437"/>
                  </a:lnTo>
                  <a:lnTo>
                    <a:pt x="423482" y="63913"/>
                  </a:lnTo>
                  <a:lnTo>
                    <a:pt x="421577" y="60960"/>
                  </a:lnTo>
                  <a:lnTo>
                    <a:pt x="414242" y="53911"/>
                  </a:lnTo>
                  <a:lnTo>
                    <a:pt x="408337" y="45053"/>
                  </a:lnTo>
                  <a:lnTo>
                    <a:pt x="396240" y="51340"/>
                  </a:lnTo>
                  <a:lnTo>
                    <a:pt x="388334" y="52388"/>
                  </a:lnTo>
                  <a:lnTo>
                    <a:pt x="384810" y="49625"/>
                  </a:lnTo>
                  <a:lnTo>
                    <a:pt x="376142" y="44291"/>
                  </a:lnTo>
                  <a:lnTo>
                    <a:pt x="368237" y="45339"/>
                  </a:lnTo>
                  <a:lnTo>
                    <a:pt x="368427" y="46958"/>
                  </a:lnTo>
                  <a:lnTo>
                    <a:pt x="358426" y="56198"/>
                  </a:lnTo>
                  <a:lnTo>
                    <a:pt x="355283" y="56579"/>
                  </a:lnTo>
                  <a:lnTo>
                    <a:pt x="353282" y="53626"/>
                  </a:lnTo>
                  <a:lnTo>
                    <a:pt x="348520" y="54292"/>
                  </a:lnTo>
                  <a:lnTo>
                    <a:pt x="343567" y="53245"/>
                  </a:lnTo>
                  <a:lnTo>
                    <a:pt x="339471" y="58579"/>
                  </a:lnTo>
                  <a:lnTo>
                    <a:pt x="326993" y="61817"/>
                  </a:lnTo>
                  <a:lnTo>
                    <a:pt x="323850" y="62198"/>
                  </a:lnTo>
                  <a:lnTo>
                    <a:pt x="320516" y="61055"/>
                  </a:lnTo>
                  <a:lnTo>
                    <a:pt x="317563" y="63056"/>
                  </a:lnTo>
                  <a:lnTo>
                    <a:pt x="310896" y="60674"/>
                  </a:lnTo>
                  <a:lnTo>
                    <a:pt x="306514" y="64389"/>
                  </a:lnTo>
                  <a:lnTo>
                    <a:pt x="298418" y="63817"/>
                  </a:lnTo>
                  <a:lnTo>
                    <a:pt x="295085" y="62675"/>
                  </a:lnTo>
                  <a:lnTo>
                    <a:pt x="294513" y="70771"/>
                  </a:lnTo>
                  <a:lnTo>
                    <a:pt x="288608" y="74771"/>
                  </a:lnTo>
                  <a:lnTo>
                    <a:pt x="284893" y="83248"/>
                  </a:lnTo>
                  <a:lnTo>
                    <a:pt x="279178" y="88773"/>
                  </a:lnTo>
                  <a:lnTo>
                    <a:pt x="278130" y="93726"/>
                  </a:lnTo>
                  <a:lnTo>
                    <a:pt x="281750" y="109252"/>
                  </a:lnTo>
                  <a:lnTo>
                    <a:pt x="279368" y="116015"/>
                  </a:lnTo>
                  <a:lnTo>
                    <a:pt x="275082" y="119729"/>
                  </a:lnTo>
                  <a:lnTo>
                    <a:pt x="264224" y="109919"/>
                  </a:lnTo>
                  <a:lnTo>
                    <a:pt x="258318" y="113824"/>
                  </a:lnTo>
                  <a:lnTo>
                    <a:pt x="257080" y="117253"/>
                  </a:lnTo>
                  <a:lnTo>
                    <a:pt x="249650" y="121348"/>
                  </a:lnTo>
                  <a:lnTo>
                    <a:pt x="245269" y="125158"/>
                  </a:lnTo>
                  <a:lnTo>
                    <a:pt x="244316" y="130111"/>
                  </a:lnTo>
                  <a:lnTo>
                    <a:pt x="240030" y="133826"/>
                  </a:lnTo>
                  <a:lnTo>
                    <a:pt x="242126" y="138398"/>
                  </a:lnTo>
                  <a:lnTo>
                    <a:pt x="238220" y="145256"/>
                  </a:lnTo>
                  <a:lnTo>
                    <a:pt x="234887" y="144113"/>
                  </a:lnTo>
                  <a:lnTo>
                    <a:pt x="231934" y="146113"/>
                  </a:lnTo>
                  <a:lnTo>
                    <a:pt x="228410" y="143351"/>
                  </a:lnTo>
                  <a:lnTo>
                    <a:pt x="218885" y="144590"/>
                  </a:lnTo>
                  <a:lnTo>
                    <a:pt x="214408" y="146780"/>
                  </a:lnTo>
                  <a:lnTo>
                    <a:pt x="216503" y="151257"/>
                  </a:lnTo>
                  <a:lnTo>
                    <a:pt x="214598" y="161163"/>
                  </a:lnTo>
                  <a:lnTo>
                    <a:pt x="216980" y="167259"/>
                  </a:lnTo>
                  <a:lnTo>
                    <a:pt x="215075" y="177070"/>
                  </a:lnTo>
                  <a:lnTo>
                    <a:pt x="210884" y="182499"/>
                  </a:lnTo>
                  <a:lnTo>
                    <a:pt x="202978" y="183452"/>
                  </a:lnTo>
                  <a:lnTo>
                    <a:pt x="193739" y="186214"/>
                  </a:lnTo>
                  <a:lnTo>
                    <a:pt x="194119" y="189357"/>
                  </a:lnTo>
                  <a:lnTo>
                    <a:pt x="191357" y="192977"/>
                  </a:lnTo>
                  <a:lnTo>
                    <a:pt x="187071" y="196691"/>
                  </a:lnTo>
                  <a:lnTo>
                    <a:pt x="188024" y="204597"/>
                  </a:lnTo>
                  <a:lnTo>
                    <a:pt x="180975" y="211931"/>
                  </a:lnTo>
                  <a:lnTo>
                    <a:pt x="179261" y="223361"/>
                  </a:lnTo>
                  <a:lnTo>
                    <a:pt x="183356" y="230886"/>
                  </a:lnTo>
                  <a:lnTo>
                    <a:pt x="185547" y="235363"/>
                  </a:lnTo>
                  <a:lnTo>
                    <a:pt x="179451" y="237744"/>
                  </a:lnTo>
                  <a:lnTo>
                    <a:pt x="182975" y="240506"/>
                  </a:lnTo>
                  <a:lnTo>
                    <a:pt x="178308" y="241173"/>
                  </a:lnTo>
                  <a:lnTo>
                    <a:pt x="178499" y="242697"/>
                  </a:lnTo>
                  <a:lnTo>
                    <a:pt x="172784" y="235458"/>
                  </a:lnTo>
                  <a:lnTo>
                    <a:pt x="166021" y="233077"/>
                  </a:lnTo>
                  <a:lnTo>
                    <a:pt x="166592" y="237839"/>
                  </a:lnTo>
                  <a:lnTo>
                    <a:pt x="164116" y="242983"/>
                  </a:lnTo>
                  <a:lnTo>
                    <a:pt x="165830" y="244316"/>
                  </a:lnTo>
                  <a:lnTo>
                    <a:pt x="165449" y="254032"/>
                  </a:lnTo>
                  <a:lnTo>
                    <a:pt x="167640" y="258509"/>
                  </a:lnTo>
                  <a:lnTo>
                    <a:pt x="168307" y="263271"/>
                  </a:lnTo>
                  <a:lnTo>
                    <a:pt x="161544" y="260890"/>
                  </a:lnTo>
                  <a:lnTo>
                    <a:pt x="162782" y="270415"/>
                  </a:lnTo>
                  <a:lnTo>
                    <a:pt x="160211" y="275558"/>
                  </a:lnTo>
                  <a:lnTo>
                    <a:pt x="162592" y="281654"/>
                  </a:lnTo>
                  <a:lnTo>
                    <a:pt x="165926" y="282797"/>
                  </a:lnTo>
                  <a:lnTo>
                    <a:pt x="164973" y="287750"/>
                  </a:lnTo>
                  <a:lnTo>
                    <a:pt x="168497" y="290513"/>
                  </a:lnTo>
                  <a:lnTo>
                    <a:pt x="168688" y="292036"/>
                  </a:lnTo>
                  <a:lnTo>
                    <a:pt x="167545" y="295465"/>
                  </a:lnTo>
                  <a:lnTo>
                    <a:pt x="163068" y="297561"/>
                  </a:lnTo>
                  <a:lnTo>
                    <a:pt x="162020" y="302514"/>
                  </a:lnTo>
                  <a:lnTo>
                    <a:pt x="158877" y="302895"/>
                  </a:lnTo>
                  <a:lnTo>
                    <a:pt x="160877" y="305943"/>
                  </a:lnTo>
                  <a:lnTo>
                    <a:pt x="161449" y="310610"/>
                  </a:lnTo>
                  <a:lnTo>
                    <a:pt x="168212" y="312992"/>
                  </a:lnTo>
                  <a:lnTo>
                    <a:pt x="165259" y="314992"/>
                  </a:lnTo>
                  <a:lnTo>
                    <a:pt x="152210" y="313373"/>
                  </a:lnTo>
                  <a:lnTo>
                    <a:pt x="143732" y="309658"/>
                  </a:lnTo>
                  <a:lnTo>
                    <a:pt x="138970" y="310325"/>
                  </a:lnTo>
                  <a:lnTo>
                    <a:pt x="135446" y="307562"/>
                  </a:lnTo>
                  <a:lnTo>
                    <a:pt x="137732" y="300800"/>
                  </a:lnTo>
                  <a:lnTo>
                    <a:pt x="135636" y="296323"/>
                  </a:lnTo>
                  <a:lnTo>
                    <a:pt x="132683" y="298228"/>
                  </a:lnTo>
                  <a:lnTo>
                    <a:pt x="131826" y="291941"/>
                  </a:lnTo>
                  <a:lnTo>
                    <a:pt x="128873" y="293942"/>
                  </a:lnTo>
                  <a:lnTo>
                    <a:pt x="126683" y="289369"/>
                  </a:lnTo>
                  <a:lnTo>
                    <a:pt x="126111" y="284702"/>
                  </a:lnTo>
                  <a:lnTo>
                    <a:pt x="127254" y="281273"/>
                  </a:lnTo>
                  <a:lnTo>
                    <a:pt x="134969" y="278702"/>
                  </a:lnTo>
                  <a:lnTo>
                    <a:pt x="136112" y="275368"/>
                  </a:lnTo>
                  <a:lnTo>
                    <a:pt x="132779" y="274225"/>
                  </a:lnTo>
                  <a:lnTo>
                    <a:pt x="135541" y="270605"/>
                  </a:lnTo>
                  <a:lnTo>
                    <a:pt x="130969" y="272796"/>
                  </a:lnTo>
                  <a:lnTo>
                    <a:pt x="131731" y="266319"/>
                  </a:lnTo>
                  <a:lnTo>
                    <a:pt x="138875" y="258985"/>
                  </a:lnTo>
                  <a:lnTo>
                    <a:pt x="133541" y="254889"/>
                  </a:lnTo>
                  <a:lnTo>
                    <a:pt x="128778" y="255461"/>
                  </a:lnTo>
                  <a:lnTo>
                    <a:pt x="131731" y="253460"/>
                  </a:lnTo>
                  <a:lnTo>
                    <a:pt x="130207" y="253651"/>
                  </a:lnTo>
                  <a:lnTo>
                    <a:pt x="134874" y="253079"/>
                  </a:lnTo>
                  <a:lnTo>
                    <a:pt x="127159" y="242792"/>
                  </a:lnTo>
                  <a:lnTo>
                    <a:pt x="121063" y="245173"/>
                  </a:lnTo>
                  <a:lnTo>
                    <a:pt x="118872" y="240697"/>
                  </a:lnTo>
                  <a:lnTo>
                    <a:pt x="112014" y="236792"/>
                  </a:lnTo>
                  <a:lnTo>
                    <a:pt x="111347" y="232029"/>
                  </a:lnTo>
                  <a:lnTo>
                    <a:pt x="102680" y="226695"/>
                  </a:lnTo>
                  <a:lnTo>
                    <a:pt x="105442" y="223171"/>
                  </a:lnTo>
                  <a:lnTo>
                    <a:pt x="109538" y="217837"/>
                  </a:lnTo>
                  <a:lnTo>
                    <a:pt x="107347" y="213265"/>
                  </a:lnTo>
                  <a:lnTo>
                    <a:pt x="111157" y="217646"/>
                  </a:lnTo>
                  <a:lnTo>
                    <a:pt x="114872" y="221932"/>
                  </a:lnTo>
                  <a:lnTo>
                    <a:pt x="116491" y="221742"/>
                  </a:lnTo>
                  <a:lnTo>
                    <a:pt x="121634" y="224314"/>
                  </a:lnTo>
                  <a:lnTo>
                    <a:pt x="119444" y="219742"/>
                  </a:lnTo>
                  <a:lnTo>
                    <a:pt x="120206" y="213265"/>
                  </a:lnTo>
                  <a:lnTo>
                    <a:pt x="118205" y="210312"/>
                  </a:lnTo>
                  <a:lnTo>
                    <a:pt x="113633" y="199644"/>
                  </a:lnTo>
                  <a:lnTo>
                    <a:pt x="109157" y="201835"/>
                  </a:lnTo>
                  <a:lnTo>
                    <a:pt x="101060" y="201263"/>
                  </a:lnTo>
                  <a:lnTo>
                    <a:pt x="97441" y="198501"/>
                  </a:lnTo>
                  <a:lnTo>
                    <a:pt x="86392" y="199930"/>
                  </a:lnTo>
                  <a:lnTo>
                    <a:pt x="77724" y="194596"/>
                  </a:lnTo>
                  <a:lnTo>
                    <a:pt x="78867" y="191262"/>
                  </a:lnTo>
                  <a:lnTo>
                    <a:pt x="78677" y="176879"/>
                  </a:lnTo>
                  <a:lnTo>
                    <a:pt x="74962" y="172498"/>
                  </a:lnTo>
                  <a:lnTo>
                    <a:pt x="78867" y="152781"/>
                  </a:lnTo>
                  <a:lnTo>
                    <a:pt x="76105" y="156305"/>
                  </a:lnTo>
                  <a:lnTo>
                    <a:pt x="73914" y="151829"/>
                  </a:lnTo>
                  <a:lnTo>
                    <a:pt x="68771" y="149257"/>
                  </a:lnTo>
                  <a:lnTo>
                    <a:pt x="66580" y="144685"/>
                  </a:lnTo>
                  <a:lnTo>
                    <a:pt x="67342" y="138208"/>
                  </a:lnTo>
                  <a:lnTo>
                    <a:pt x="52959" y="138398"/>
                  </a:lnTo>
                  <a:lnTo>
                    <a:pt x="41529" y="136684"/>
                  </a:lnTo>
                  <a:lnTo>
                    <a:pt x="29051" y="139827"/>
                  </a:lnTo>
                  <a:lnTo>
                    <a:pt x="26289" y="143446"/>
                  </a:lnTo>
                  <a:lnTo>
                    <a:pt x="18193" y="142875"/>
                  </a:lnTo>
                  <a:lnTo>
                    <a:pt x="19240" y="137922"/>
                  </a:lnTo>
                  <a:lnTo>
                    <a:pt x="16002" y="138303"/>
                  </a:lnTo>
                  <a:lnTo>
                    <a:pt x="14097" y="135350"/>
                  </a:lnTo>
                  <a:lnTo>
                    <a:pt x="8382" y="140875"/>
                  </a:lnTo>
                  <a:lnTo>
                    <a:pt x="12097" y="145256"/>
                  </a:lnTo>
                  <a:lnTo>
                    <a:pt x="18669" y="146018"/>
                  </a:lnTo>
                  <a:lnTo>
                    <a:pt x="25908" y="153067"/>
                  </a:lnTo>
                  <a:lnTo>
                    <a:pt x="26384" y="156305"/>
                  </a:lnTo>
                  <a:lnTo>
                    <a:pt x="22193" y="161639"/>
                  </a:lnTo>
                  <a:lnTo>
                    <a:pt x="23432" y="171069"/>
                  </a:lnTo>
                  <a:lnTo>
                    <a:pt x="32671" y="181070"/>
                  </a:lnTo>
                  <a:lnTo>
                    <a:pt x="33147" y="184213"/>
                  </a:lnTo>
                  <a:lnTo>
                    <a:pt x="35052" y="187166"/>
                  </a:lnTo>
                  <a:lnTo>
                    <a:pt x="33909" y="190595"/>
                  </a:lnTo>
                  <a:lnTo>
                    <a:pt x="25051" y="196501"/>
                  </a:lnTo>
                  <a:lnTo>
                    <a:pt x="21908" y="196882"/>
                  </a:lnTo>
                  <a:lnTo>
                    <a:pt x="20479" y="198692"/>
                  </a:lnTo>
                  <a:lnTo>
                    <a:pt x="15621" y="197739"/>
                  </a:lnTo>
                  <a:lnTo>
                    <a:pt x="11240" y="201454"/>
                  </a:lnTo>
                  <a:lnTo>
                    <a:pt x="5144" y="203835"/>
                  </a:lnTo>
                  <a:lnTo>
                    <a:pt x="8858" y="208217"/>
                  </a:lnTo>
                  <a:lnTo>
                    <a:pt x="7715" y="211550"/>
                  </a:lnTo>
                  <a:lnTo>
                    <a:pt x="6382" y="213360"/>
                  </a:lnTo>
                  <a:lnTo>
                    <a:pt x="0" y="214122"/>
                  </a:lnTo>
                  <a:lnTo>
                    <a:pt x="476" y="217265"/>
                  </a:lnTo>
                  <a:lnTo>
                    <a:pt x="6001" y="222980"/>
                  </a:lnTo>
                  <a:lnTo>
                    <a:pt x="10668" y="222409"/>
                  </a:lnTo>
                  <a:lnTo>
                    <a:pt x="11906" y="231838"/>
                  </a:lnTo>
                  <a:lnTo>
                    <a:pt x="24003" y="238315"/>
                  </a:lnTo>
                  <a:lnTo>
                    <a:pt x="34004" y="241840"/>
                  </a:lnTo>
                  <a:lnTo>
                    <a:pt x="35243" y="238506"/>
                  </a:lnTo>
                  <a:lnTo>
                    <a:pt x="41339" y="236125"/>
                  </a:lnTo>
                  <a:lnTo>
                    <a:pt x="41529" y="237744"/>
                  </a:lnTo>
                  <a:lnTo>
                    <a:pt x="35624" y="241649"/>
                  </a:lnTo>
                  <a:lnTo>
                    <a:pt x="42291" y="244031"/>
                  </a:lnTo>
                  <a:lnTo>
                    <a:pt x="45911" y="246793"/>
                  </a:lnTo>
                  <a:lnTo>
                    <a:pt x="45911" y="246793"/>
                  </a:lnTo>
                  <a:lnTo>
                    <a:pt x="44672" y="250127"/>
                  </a:lnTo>
                  <a:lnTo>
                    <a:pt x="47911" y="249746"/>
                  </a:lnTo>
                  <a:lnTo>
                    <a:pt x="46863" y="254698"/>
                  </a:lnTo>
                  <a:lnTo>
                    <a:pt x="48673" y="256032"/>
                  </a:lnTo>
                  <a:lnTo>
                    <a:pt x="44577" y="261366"/>
                  </a:lnTo>
                  <a:lnTo>
                    <a:pt x="46482" y="264319"/>
                  </a:lnTo>
                  <a:lnTo>
                    <a:pt x="49435" y="262319"/>
                  </a:lnTo>
                  <a:lnTo>
                    <a:pt x="57531" y="262890"/>
                  </a:lnTo>
                  <a:lnTo>
                    <a:pt x="58769" y="272415"/>
                  </a:lnTo>
                  <a:lnTo>
                    <a:pt x="61913" y="272034"/>
                  </a:lnTo>
                  <a:lnTo>
                    <a:pt x="62103" y="273558"/>
                  </a:lnTo>
                  <a:lnTo>
                    <a:pt x="63913" y="274987"/>
                  </a:lnTo>
                  <a:lnTo>
                    <a:pt x="60960" y="276892"/>
                  </a:lnTo>
                  <a:lnTo>
                    <a:pt x="61151" y="278511"/>
                  </a:lnTo>
                  <a:lnTo>
                    <a:pt x="65913" y="277940"/>
                  </a:lnTo>
                  <a:lnTo>
                    <a:pt x="67913" y="280892"/>
                  </a:lnTo>
                  <a:lnTo>
                    <a:pt x="71057" y="280511"/>
                  </a:lnTo>
                  <a:lnTo>
                    <a:pt x="66294" y="281083"/>
                  </a:lnTo>
                  <a:lnTo>
                    <a:pt x="65151" y="284417"/>
                  </a:lnTo>
                  <a:lnTo>
                    <a:pt x="74200" y="292894"/>
                  </a:lnTo>
                  <a:lnTo>
                    <a:pt x="75438" y="302323"/>
                  </a:lnTo>
                  <a:lnTo>
                    <a:pt x="77819" y="308419"/>
                  </a:lnTo>
                  <a:lnTo>
                    <a:pt x="78200" y="311658"/>
                  </a:lnTo>
                  <a:lnTo>
                    <a:pt x="76867" y="313373"/>
                  </a:lnTo>
                  <a:lnTo>
                    <a:pt x="83534" y="315754"/>
                  </a:lnTo>
                  <a:lnTo>
                    <a:pt x="79820" y="324231"/>
                  </a:lnTo>
                  <a:lnTo>
                    <a:pt x="71342" y="333375"/>
                  </a:lnTo>
                  <a:lnTo>
                    <a:pt x="73152" y="334709"/>
                  </a:lnTo>
                  <a:lnTo>
                    <a:pt x="73724" y="339471"/>
                  </a:lnTo>
                  <a:lnTo>
                    <a:pt x="67628" y="341852"/>
                  </a:lnTo>
                  <a:lnTo>
                    <a:pt x="66675" y="346805"/>
                  </a:lnTo>
                  <a:lnTo>
                    <a:pt x="68866" y="351282"/>
                  </a:lnTo>
                  <a:lnTo>
                    <a:pt x="69247" y="367284"/>
                  </a:lnTo>
                  <a:lnTo>
                    <a:pt x="71819" y="374999"/>
                  </a:lnTo>
                  <a:lnTo>
                    <a:pt x="70866" y="379952"/>
                  </a:lnTo>
                  <a:lnTo>
                    <a:pt x="74866" y="385858"/>
                  </a:lnTo>
                  <a:lnTo>
                    <a:pt x="77248" y="391954"/>
                  </a:lnTo>
                  <a:lnTo>
                    <a:pt x="85154" y="390906"/>
                  </a:lnTo>
                  <a:lnTo>
                    <a:pt x="90011" y="391954"/>
                  </a:lnTo>
                  <a:lnTo>
                    <a:pt x="87535" y="397002"/>
                  </a:lnTo>
                  <a:lnTo>
                    <a:pt x="91250" y="401384"/>
                  </a:lnTo>
                  <a:lnTo>
                    <a:pt x="97346" y="399002"/>
                  </a:lnTo>
                  <a:lnTo>
                    <a:pt x="100489" y="398621"/>
                  </a:lnTo>
                  <a:lnTo>
                    <a:pt x="100965" y="401765"/>
                  </a:lnTo>
                  <a:lnTo>
                    <a:pt x="101346" y="404908"/>
                  </a:lnTo>
                  <a:lnTo>
                    <a:pt x="106299" y="405860"/>
                  </a:lnTo>
                  <a:lnTo>
                    <a:pt x="106871" y="410623"/>
                  </a:lnTo>
                  <a:lnTo>
                    <a:pt x="110395" y="413385"/>
                  </a:lnTo>
                  <a:lnTo>
                    <a:pt x="114395" y="419290"/>
                  </a:lnTo>
                  <a:lnTo>
                    <a:pt x="121253" y="423196"/>
                  </a:lnTo>
                  <a:lnTo>
                    <a:pt x="110300" y="437388"/>
                  </a:lnTo>
                  <a:lnTo>
                    <a:pt x="111062" y="443770"/>
                  </a:lnTo>
                  <a:lnTo>
                    <a:pt x="116967" y="439769"/>
                  </a:lnTo>
                  <a:lnTo>
                    <a:pt x="122777" y="447104"/>
                  </a:lnTo>
                  <a:lnTo>
                    <a:pt x="136779" y="443675"/>
                  </a:lnTo>
                  <a:lnTo>
                    <a:pt x="146780" y="447199"/>
                  </a:lnTo>
                  <a:lnTo>
                    <a:pt x="148971" y="451771"/>
                  </a:lnTo>
                  <a:lnTo>
                    <a:pt x="150590" y="451580"/>
                  </a:lnTo>
                  <a:lnTo>
                    <a:pt x="150971" y="454723"/>
                  </a:lnTo>
                  <a:lnTo>
                    <a:pt x="149828" y="458057"/>
                  </a:lnTo>
                  <a:lnTo>
                    <a:pt x="154115" y="467106"/>
                  </a:lnTo>
                  <a:lnTo>
                    <a:pt x="154972" y="473392"/>
                  </a:lnTo>
                  <a:lnTo>
                    <a:pt x="158306" y="474631"/>
                  </a:lnTo>
                  <a:lnTo>
                    <a:pt x="163830" y="467487"/>
                  </a:lnTo>
                  <a:lnTo>
                    <a:pt x="168783" y="468440"/>
                  </a:lnTo>
                  <a:lnTo>
                    <a:pt x="170783" y="471392"/>
                  </a:lnTo>
                  <a:lnTo>
                    <a:pt x="171355" y="476155"/>
                  </a:lnTo>
                  <a:lnTo>
                    <a:pt x="182404" y="487585"/>
                  </a:lnTo>
                  <a:lnTo>
                    <a:pt x="184785" y="493681"/>
                  </a:lnTo>
                  <a:lnTo>
                    <a:pt x="190881" y="491300"/>
                  </a:lnTo>
                  <a:lnTo>
                    <a:pt x="191548" y="496062"/>
                  </a:lnTo>
                  <a:lnTo>
                    <a:pt x="196691" y="498634"/>
                  </a:lnTo>
                  <a:lnTo>
                    <a:pt x="207740" y="497205"/>
                  </a:lnTo>
                  <a:lnTo>
                    <a:pt x="207931" y="498729"/>
                  </a:lnTo>
                  <a:lnTo>
                    <a:pt x="203740" y="504063"/>
                  </a:lnTo>
                  <a:lnTo>
                    <a:pt x="208693" y="505111"/>
                  </a:lnTo>
                  <a:lnTo>
                    <a:pt x="207550" y="508444"/>
                  </a:lnTo>
                  <a:lnTo>
                    <a:pt x="218789" y="508635"/>
                  </a:lnTo>
                  <a:lnTo>
                    <a:pt x="222504" y="512921"/>
                  </a:lnTo>
                  <a:lnTo>
                    <a:pt x="227267" y="512350"/>
                  </a:lnTo>
                  <a:lnTo>
                    <a:pt x="231077" y="516636"/>
                  </a:lnTo>
                  <a:lnTo>
                    <a:pt x="230029" y="521589"/>
                  </a:lnTo>
                  <a:lnTo>
                    <a:pt x="224123" y="525590"/>
                  </a:lnTo>
                  <a:lnTo>
                    <a:pt x="227743" y="528352"/>
                  </a:lnTo>
                  <a:lnTo>
                    <a:pt x="226695" y="533209"/>
                  </a:lnTo>
                  <a:lnTo>
                    <a:pt x="234410" y="530638"/>
                  </a:lnTo>
                  <a:lnTo>
                    <a:pt x="237173" y="527113"/>
                  </a:lnTo>
                  <a:lnTo>
                    <a:pt x="243269" y="524732"/>
                  </a:lnTo>
                  <a:lnTo>
                    <a:pt x="244697" y="522923"/>
                  </a:lnTo>
                  <a:lnTo>
                    <a:pt x="247841" y="522542"/>
                  </a:lnTo>
                  <a:lnTo>
                    <a:pt x="254699" y="526447"/>
                  </a:lnTo>
                  <a:lnTo>
                    <a:pt x="253556" y="529876"/>
                  </a:lnTo>
                  <a:lnTo>
                    <a:pt x="259271" y="537115"/>
                  </a:lnTo>
                  <a:lnTo>
                    <a:pt x="267557" y="539306"/>
                  </a:lnTo>
                  <a:lnTo>
                    <a:pt x="273558" y="548164"/>
                  </a:lnTo>
                  <a:lnTo>
                    <a:pt x="270796" y="551688"/>
                  </a:lnTo>
                  <a:lnTo>
                    <a:pt x="267462" y="563309"/>
                  </a:lnTo>
                  <a:lnTo>
                    <a:pt x="261176" y="564166"/>
                  </a:lnTo>
                  <a:lnTo>
                    <a:pt x="259747" y="565976"/>
                  </a:lnTo>
                  <a:lnTo>
                    <a:pt x="252889" y="574834"/>
                  </a:lnTo>
                  <a:lnTo>
                    <a:pt x="253460" y="579596"/>
                  </a:lnTo>
                  <a:lnTo>
                    <a:pt x="258032" y="590169"/>
                  </a:lnTo>
                  <a:lnTo>
                    <a:pt x="269272" y="590360"/>
                  </a:lnTo>
                  <a:lnTo>
                    <a:pt x="268129" y="593693"/>
                  </a:lnTo>
                  <a:lnTo>
                    <a:pt x="271272" y="593312"/>
                  </a:lnTo>
                  <a:lnTo>
                    <a:pt x="274987" y="597694"/>
                  </a:lnTo>
                  <a:lnTo>
                    <a:pt x="281940" y="601599"/>
                  </a:lnTo>
                  <a:lnTo>
                    <a:pt x="289846" y="600551"/>
                  </a:lnTo>
                  <a:lnTo>
                    <a:pt x="296704" y="604552"/>
                  </a:lnTo>
                  <a:lnTo>
                    <a:pt x="303467" y="606838"/>
                  </a:lnTo>
                  <a:lnTo>
                    <a:pt x="305467" y="609790"/>
                  </a:lnTo>
                  <a:lnTo>
                    <a:pt x="307658" y="627221"/>
                  </a:lnTo>
                  <a:lnTo>
                    <a:pt x="317754" y="630745"/>
                  </a:lnTo>
                  <a:lnTo>
                    <a:pt x="328803" y="629317"/>
                  </a:lnTo>
                  <a:lnTo>
                    <a:pt x="335852" y="634841"/>
                  </a:lnTo>
                  <a:lnTo>
                    <a:pt x="338519" y="642461"/>
                  </a:lnTo>
                  <a:lnTo>
                    <a:pt x="342424" y="635603"/>
                  </a:lnTo>
                  <a:lnTo>
                    <a:pt x="349091" y="637889"/>
                  </a:lnTo>
                  <a:lnTo>
                    <a:pt x="349282" y="626650"/>
                  </a:lnTo>
                  <a:lnTo>
                    <a:pt x="352235" y="624745"/>
                  </a:lnTo>
                  <a:lnTo>
                    <a:pt x="356997" y="624078"/>
                  </a:lnTo>
                  <a:lnTo>
                    <a:pt x="356616" y="620935"/>
                  </a:lnTo>
                  <a:lnTo>
                    <a:pt x="359950" y="622173"/>
                  </a:lnTo>
                  <a:lnTo>
                    <a:pt x="359569" y="618935"/>
                  </a:lnTo>
                  <a:lnTo>
                    <a:pt x="373761" y="617125"/>
                  </a:lnTo>
                  <a:lnTo>
                    <a:pt x="383762" y="620649"/>
                  </a:lnTo>
                  <a:lnTo>
                    <a:pt x="389382" y="626364"/>
                  </a:lnTo>
                  <a:lnTo>
                    <a:pt x="391192" y="640652"/>
                  </a:lnTo>
                  <a:lnTo>
                    <a:pt x="393097" y="643604"/>
                  </a:lnTo>
                  <a:lnTo>
                    <a:pt x="391763" y="645319"/>
                  </a:lnTo>
                  <a:lnTo>
                    <a:pt x="400050" y="647510"/>
                  </a:lnTo>
                  <a:lnTo>
                    <a:pt x="399479" y="642747"/>
                  </a:lnTo>
                  <a:lnTo>
                    <a:pt x="398050" y="631698"/>
                  </a:lnTo>
                  <a:lnTo>
                    <a:pt x="394526" y="628936"/>
                  </a:lnTo>
                  <a:lnTo>
                    <a:pt x="394240" y="627412"/>
                  </a:lnTo>
                  <a:lnTo>
                    <a:pt x="406718" y="624173"/>
                  </a:lnTo>
                  <a:lnTo>
                    <a:pt x="421100" y="623983"/>
                  </a:lnTo>
                  <a:lnTo>
                    <a:pt x="419862" y="614458"/>
                  </a:lnTo>
                  <a:lnTo>
                    <a:pt x="414338" y="608743"/>
                  </a:lnTo>
                  <a:lnTo>
                    <a:pt x="415766" y="607028"/>
                  </a:lnTo>
                  <a:lnTo>
                    <a:pt x="422434" y="609314"/>
                  </a:lnTo>
                  <a:lnTo>
                    <a:pt x="429387" y="613315"/>
                  </a:lnTo>
                  <a:lnTo>
                    <a:pt x="434150" y="612648"/>
                  </a:lnTo>
                  <a:lnTo>
                    <a:pt x="442532" y="603599"/>
                  </a:lnTo>
                  <a:lnTo>
                    <a:pt x="443770" y="600265"/>
                  </a:lnTo>
                  <a:lnTo>
                    <a:pt x="449104" y="604361"/>
                  </a:lnTo>
                  <a:lnTo>
                    <a:pt x="455200" y="601980"/>
                  </a:lnTo>
                  <a:lnTo>
                    <a:pt x="456533" y="600170"/>
                  </a:lnTo>
                  <a:lnTo>
                    <a:pt x="457962" y="598456"/>
                  </a:lnTo>
                  <a:lnTo>
                    <a:pt x="459962" y="601408"/>
                  </a:lnTo>
                  <a:lnTo>
                    <a:pt x="463677" y="605695"/>
                  </a:lnTo>
                  <a:lnTo>
                    <a:pt x="469392" y="600170"/>
                  </a:lnTo>
                  <a:lnTo>
                    <a:pt x="473964" y="597980"/>
                  </a:lnTo>
                  <a:lnTo>
                    <a:pt x="474917" y="593027"/>
                  </a:lnTo>
                  <a:lnTo>
                    <a:pt x="479870" y="593979"/>
                  </a:lnTo>
                  <a:lnTo>
                    <a:pt x="483394" y="596741"/>
                  </a:lnTo>
                  <a:lnTo>
                    <a:pt x="489680" y="595979"/>
                  </a:lnTo>
                  <a:lnTo>
                    <a:pt x="493109" y="597122"/>
                  </a:lnTo>
                  <a:lnTo>
                    <a:pt x="492062" y="602075"/>
                  </a:lnTo>
                  <a:lnTo>
                    <a:pt x="495014" y="600075"/>
                  </a:lnTo>
                  <a:lnTo>
                    <a:pt x="493871" y="603504"/>
                  </a:lnTo>
                  <a:lnTo>
                    <a:pt x="495872" y="606457"/>
                  </a:lnTo>
                  <a:lnTo>
                    <a:pt x="499015" y="605981"/>
                  </a:lnTo>
                  <a:lnTo>
                    <a:pt x="498634" y="602837"/>
                  </a:lnTo>
                  <a:lnTo>
                    <a:pt x="503777" y="605409"/>
                  </a:lnTo>
                  <a:lnTo>
                    <a:pt x="509683" y="601408"/>
                  </a:lnTo>
                  <a:lnTo>
                    <a:pt x="516731" y="606933"/>
                  </a:lnTo>
                  <a:lnTo>
                    <a:pt x="517779" y="614839"/>
                  </a:lnTo>
                  <a:lnTo>
                    <a:pt x="520732" y="612839"/>
                  </a:lnTo>
                  <a:lnTo>
                    <a:pt x="527018" y="612077"/>
                  </a:lnTo>
                  <a:lnTo>
                    <a:pt x="536924" y="613982"/>
                  </a:lnTo>
                  <a:lnTo>
                    <a:pt x="543592" y="603504"/>
                  </a:lnTo>
                  <a:lnTo>
                    <a:pt x="550069" y="604266"/>
                  </a:lnTo>
                  <a:lnTo>
                    <a:pt x="555212" y="606838"/>
                  </a:lnTo>
                  <a:lnTo>
                    <a:pt x="555689" y="609981"/>
                  </a:lnTo>
                  <a:lnTo>
                    <a:pt x="559403" y="614362"/>
                  </a:lnTo>
                  <a:lnTo>
                    <a:pt x="568071" y="619697"/>
                  </a:lnTo>
                  <a:lnTo>
                    <a:pt x="571500" y="620840"/>
                  </a:lnTo>
                  <a:lnTo>
                    <a:pt x="571310" y="619220"/>
                  </a:lnTo>
                  <a:lnTo>
                    <a:pt x="570452" y="612934"/>
                  </a:lnTo>
                  <a:lnTo>
                    <a:pt x="577215" y="615315"/>
                  </a:lnTo>
                  <a:lnTo>
                    <a:pt x="576929" y="613696"/>
                  </a:lnTo>
                  <a:lnTo>
                    <a:pt x="576739" y="612172"/>
                  </a:lnTo>
                  <a:lnTo>
                    <a:pt x="579882" y="611791"/>
                  </a:lnTo>
                  <a:lnTo>
                    <a:pt x="584073" y="606361"/>
                  </a:lnTo>
                  <a:lnTo>
                    <a:pt x="587026" y="604457"/>
                  </a:lnTo>
                  <a:lnTo>
                    <a:pt x="589788" y="600837"/>
                  </a:lnTo>
                  <a:lnTo>
                    <a:pt x="593122" y="602075"/>
                  </a:lnTo>
                  <a:lnTo>
                    <a:pt x="594455" y="600265"/>
                  </a:lnTo>
                  <a:lnTo>
                    <a:pt x="598646" y="594932"/>
                  </a:lnTo>
                  <a:lnTo>
                    <a:pt x="598075" y="590169"/>
                  </a:lnTo>
                  <a:lnTo>
                    <a:pt x="592931" y="587597"/>
                  </a:lnTo>
                  <a:lnTo>
                    <a:pt x="597408" y="585407"/>
                  </a:lnTo>
                  <a:lnTo>
                    <a:pt x="594074" y="584264"/>
                  </a:lnTo>
                  <a:lnTo>
                    <a:pt x="597027" y="582263"/>
                  </a:lnTo>
                  <a:lnTo>
                    <a:pt x="600361" y="583502"/>
                  </a:lnTo>
                  <a:lnTo>
                    <a:pt x="599980" y="580358"/>
                  </a:lnTo>
                  <a:lnTo>
                    <a:pt x="599980" y="580358"/>
                  </a:lnTo>
                  <a:lnTo>
                    <a:pt x="592074" y="568452"/>
                  </a:lnTo>
                  <a:lnTo>
                    <a:pt x="592646" y="560451"/>
                  </a:lnTo>
                  <a:lnTo>
                    <a:pt x="596932" y="556641"/>
                  </a:lnTo>
                  <a:lnTo>
                    <a:pt x="604838" y="555688"/>
                  </a:lnTo>
                  <a:lnTo>
                    <a:pt x="614934" y="559213"/>
                  </a:lnTo>
                  <a:lnTo>
                    <a:pt x="617315" y="552450"/>
                  </a:lnTo>
                  <a:lnTo>
                    <a:pt x="622459" y="555022"/>
                  </a:lnTo>
                  <a:lnTo>
                    <a:pt x="621030" y="556832"/>
                  </a:lnTo>
                  <a:lnTo>
                    <a:pt x="624173" y="556355"/>
                  </a:lnTo>
                  <a:lnTo>
                    <a:pt x="622554" y="543782"/>
                  </a:lnTo>
                  <a:lnTo>
                    <a:pt x="632079" y="542544"/>
                  </a:lnTo>
                  <a:lnTo>
                    <a:pt x="635794" y="546926"/>
                  </a:lnTo>
                  <a:lnTo>
                    <a:pt x="638556" y="543306"/>
                  </a:lnTo>
                  <a:lnTo>
                    <a:pt x="638175" y="540163"/>
                  </a:lnTo>
                  <a:lnTo>
                    <a:pt x="642652" y="537972"/>
                  </a:lnTo>
                  <a:lnTo>
                    <a:pt x="642461" y="536448"/>
                  </a:lnTo>
                  <a:lnTo>
                    <a:pt x="647414" y="537401"/>
                  </a:lnTo>
                  <a:lnTo>
                    <a:pt x="650176" y="533781"/>
                  </a:lnTo>
                  <a:lnTo>
                    <a:pt x="649605" y="529114"/>
                  </a:lnTo>
                  <a:lnTo>
                    <a:pt x="656082" y="529876"/>
                  </a:lnTo>
                  <a:lnTo>
                    <a:pt x="659035" y="527876"/>
                  </a:lnTo>
                  <a:lnTo>
                    <a:pt x="659987" y="522923"/>
                  </a:lnTo>
                  <a:lnTo>
                    <a:pt x="662940" y="521017"/>
                  </a:lnTo>
                  <a:lnTo>
                    <a:pt x="671227" y="523113"/>
                  </a:lnTo>
                  <a:lnTo>
                    <a:pt x="675418" y="517779"/>
                  </a:lnTo>
                  <a:lnTo>
                    <a:pt x="675227" y="516160"/>
                  </a:lnTo>
                  <a:lnTo>
                    <a:pt x="672084" y="516636"/>
                  </a:lnTo>
                  <a:lnTo>
                    <a:pt x="670274" y="515207"/>
                  </a:lnTo>
                  <a:lnTo>
                    <a:pt x="672846" y="510064"/>
                  </a:lnTo>
                  <a:lnTo>
                    <a:pt x="677990" y="512636"/>
                  </a:lnTo>
                  <a:lnTo>
                    <a:pt x="682657" y="512064"/>
                  </a:lnTo>
                  <a:lnTo>
                    <a:pt x="681514" y="502539"/>
                  </a:lnTo>
                  <a:lnTo>
                    <a:pt x="682847" y="500825"/>
                  </a:lnTo>
                  <a:lnTo>
                    <a:pt x="683038" y="502348"/>
                  </a:lnTo>
                  <a:lnTo>
                    <a:pt x="685991" y="500444"/>
                  </a:lnTo>
                  <a:lnTo>
                    <a:pt x="687419" y="498634"/>
                  </a:lnTo>
                  <a:lnTo>
                    <a:pt x="693134" y="493109"/>
                  </a:lnTo>
                  <a:lnTo>
                    <a:pt x="693896" y="499396"/>
                  </a:lnTo>
                  <a:lnTo>
                    <a:pt x="695325" y="497586"/>
                  </a:lnTo>
                  <a:lnTo>
                    <a:pt x="696087" y="503968"/>
                  </a:lnTo>
                  <a:lnTo>
                    <a:pt x="699611" y="506635"/>
                  </a:lnTo>
                  <a:lnTo>
                    <a:pt x="702374" y="503111"/>
                  </a:lnTo>
                  <a:lnTo>
                    <a:pt x="707898" y="508825"/>
                  </a:lnTo>
                  <a:lnTo>
                    <a:pt x="712089" y="503492"/>
                  </a:lnTo>
                  <a:lnTo>
                    <a:pt x="715804" y="507778"/>
                  </a:lnTo>
                  <a:lnTo>
                    <a:pt x="715613" y="506254"/>
                  </a:lnTo>
                  <a:lnTo>
                    <a:pt x="720566" y="507206"/>
                  </a:lnTo>
                  <a:lnTo>
                    <a:pt x="728091" y="503015"/>
                  </a:lnTo>
                  <a:lnTo>
                    <a:pt x="728472" y="506254"/>
                  </a:lnTo>
                  <a:lnTo>
                    <a:pt x="726853" y="506444"/>
                  </a:lnTo>
                  <a:lnTo>
                    <a:pt x="733616" y="508730"/>
                  </a:lnTo>
                  <a:lnTo>
                    <a:pt x="734949" y="507016"/>
                  </a:lnTo>
                  <a:lnTo>
                    <a:pt x="736568" y="506825"/>
                  </a:lnTo>
                  <a:lnTo>
                    <a:pt x="737330" y="513112"/>
                  </a:lnTo>
                  <a:lnTo>
                    <a:pt x="738950" y="512921"/>
                  </a:lnTo>
                  <a:lnTo>
                    <a:pt x="738759" y="511302"/>
                  </a:lnTo>
                  <a:lnTo>
                    <a:pt x="742283" y="514064"/>
                  </a:lnTo>
                  <a:lnTo>
                    <a:pt x="743903" y="513874"/>
                  </a:lnTo>
                  <a:lnTo>
                    <a:pt x="745808" y="516827"/>
                  </a:lnTo>
                  <a:lnTo>
                    <a:pt x="747427" y="516636"/>
                  </a:lnTo>
                  <a:lnTo>
                    <a:pt x="749237" y="517969"/>
                  </a:lnTo>
                  <a:lnTo>
                    <a:pt x="749999" y="524351"/>
                  </a:lnTo>
                  <a:lnTo>
                    <a:pt x="751808" y="525685"/>
                  </a:lnTo>
                  <a:lnTo>
                    <a:pt x="752189" y="516065"/>
                  </a:lnTo>
                  <a:lnTo>
                    <a:pt x="753713" y="515779"/>
                  </a:lnTo>
                  <a:lnTo>
                    <a:pt x="752761" y="520732"/>
                  </a:lnTo>
                  <a:lnTo>
                    <a:pt x="754761" y="523684"/>
                  </a:lnTo>
                  <a:lnTo>
                    <a:pt x="760095" y="527876"/>
                  </a:lnTo>
                  <a:lnTo>
                    <a:pt x="769334" y="537877"/>
                  </a:lnTo>
                  <a:lnTo>
                    <a:pt x="781241" y="542830"/>
                  </a:lnTo>
                  <a:lnTo>
                    <a:pt x="785717" y="540639"/>
                  </a:lnTo>
                  <a:lnTo>
                    <a:pt x="788765" y="538639"/>
                  </a:lnTo>
                  <a:lnTo>
                    <a:pt x="784574" y="531114"/>
                  </a:lnTo>
                  <a:lnTo>
                    <a:pt x="783336" y="521684"/>
                  </a:lnTo>
                  <a:lnTo>
                    <a:pt x="788480" y="511397"/>
                  </a:lnTo>
                  <a:lnTo>
                    <a:pt x="793147" y="510826"/>
                  </a:lnTo>
                  <a:lnTo>
                    <a:pt x="792766" y="507682"/>
                  </a:lnTo>
                  <a:lnTo>
                    <a:pt x="787813" y="493871"/>
                  </a:lnTo>
                  <a:lnTo>
                    <a:pt x="790956" y="493395"/>
                  </a:lnTo>
                  <a:lnTo>
                    <a:pt x="787432" y="490728"/>
                  </a:lnTo>
                  <a:lnTo>
                    <a:pt x="784098" y="489490"/>
                  </a:lnTo>
                  <a:lnTo>
                    <a:pt x="785241" y="486156"/>
                  </a:lnTo>
                  <a:lnTo>
                    <a:pt x="788194" y="484156"/>
                  </a:lnTo>
                  <a:lnTo>
                    <a:pt x="784670" y="481394"/>
                  </a:lnTo>
                  <a:lnTo>
                    <a:pt x="790956" y="480632"/>
                  </a:lnTo>
                  <a:lnTo>
                    <a:pt x="792956" y="483584"/>
                  </a:lnTo>
                  <a:lnTo>
                    <a:pt x="796290" y="484727"/>
                  </a:lnTo>
                  <a:lnTo>
                    <a:pt x="797243" y="479774"/>
                  </a:lnTo>
                  <a:lnTo>
                    <a:pt x="798100" y="486156"/>
                  </a:lnTo>
                  <a:lnTo>
                    <a:pt x="802767" y="485489"/>
                  </a:lnTo>
                  <a:lnTo>
                    <a:pt x="802005" y="479203"/>
                  </a:lnTo>
                  <a:lnTo>
                    <a:pt x="803529" y="479012"/>
                  </a:lnTo>
                  <a:lnTo>
                    <a:pt x="810101" y="479774"/>
                  </a:lnTo>
                  <a:lnTo>
                    <a:pt x="814578" y="477584"/>
                  </a:lnTo>
                  <a:lnTo>
                    <a:pt x="819531" y="478536"/>
                  </a:lnTo>
                  <a:lnTo>
                    <a:pt x="820960" y="476821"/>
                  </a:lnTo>
                  <a:lnTo>
                    <a:pt x="816578" y="467773"/>
                  </a:lnTo>
                  <a:lnTo>
                    <a:pt x="818388" y="469106"/>
                  </a:lnTo>
                  <a:lnTo>
                    <a:pt x="822103" y="473392"/>
                  </a:lnTo>
                  <a:lnTo>
                    <a:pt x="823436" y="471678"/>
                  </a:lnTo>
                  <a:lnTo>
                    <a:pt x="829628" y="469297"/>
                  </a:lnTo>
                  <a:lnTo>
                    <a:pt x="830390" y="462725"/>
                  </a:lnTo>
                  <a:lnTo>
                    <a:pt x="833152" y="459200"/>
                  </a:lnTo>
                  <a:lnTo>
                    <a:pt x="832485" y="454438"/>
                  </a:lnTo>
                  <a:lnTo>
                    <a:pt x="830771" y="453104"/>
                  </a:lnTo>
                  <a:lnTo>
                    <a:pt x="830294" y="449961"/>
                  </a:lnTo>
                  <a:lnTo>
                    <a:pt x="822674" y="452533"/>
                  </a:lnTo>
                  <a:lnTo>
                    <a:pt x="819055" y="449771"/>
                  </a:lnTo>
                  <a:lnTo>
                    <a:pt x="827913" y="431006"/>
                  </a:lnTo>
                  <a:lnTo>
                    <a:pt x="825913" y="428054"/>
                  </a:lnTo>
                  <a:lnTo>
                    <a:pt x="822579" y="426911"/>
                  </a:lnTo>
                  <a:lnTo>
                    <a:pt x="822389" y="425291"/>
                  </a:lnTo>
                  <a:lnTo>
                    <a:pt x="827151" y="424720"/>
                  </a:lnTo>
                  <a:lnTo>
                    <a:pt x="829056" y="427673"/>
                  </a:lnTo>
                  <a:lnTo>
                    <a:pt x="832485" y="428815"/>
                  </a:lnTo>
                  <a:lnTo>
                    <a:pt x="835438" y="426815"/>
                  </a:lnTo>
                  <a:lnTo>
                    <a:pt x="835247" y="425291"/>
                  </a:lnTo>
                  <a:lnTo>
                    <a:pt x="831818" y="424053"/>
                  </a:lnTo>
                  <a:lnTo>
                    <a:pt x="833057" y="420719"/>
                  </a:lnTo>
                  <a:lnTo>
                    <a:pt x="833057" y="42071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6" name="Volný tvar: obrazec 55">
              <a:extLst>
                <a:ext uri="{FF2B5EF4-FFF2-40B4-BE49-F238E27FC236}">
                  <a16:creationId xmlns:a16="http://schemas.microsoft.com/office/drawing/2014/main" id="{1044A615-17AD-4B0A-E370-A80CE97A3B2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05698" y="3006661"/>
              <a:ext cx="335184" cy="266604"/>
            </a:xfrm>
            <a:custGeom>
              <a:avLst/>
              <a:gdLst>
                <a:gd name="connsiteX0" fmla="*/ 306896 w 335184"/>
                <a:gd name="connsiteY0" fmla="*/ 184880 h 266604"/>
                <a:gd name="connsiteX1" fmla="*/ 307372 w 335184"/>
                <a:gd name="connsiteY1" fmla="*/ 188023 h 266604"/>
                <a:gd name="connsiteX2" fmla="*/ 302609 w 335184"/>
                <a:gd name="connsiteY2" fmla="*/ 188595 h 266604"/>
                <a:gd name="connsiteX3" fmla="*/ 303371 w 335184"/>
                <a:gd name="connsiteY3" fmla="*/ 194881 h 266604"/>
                <a:gd name="connsiteX4" fmla="*/ 300609 w 335184"/>
                <a:gd name="connsiteY4" fmla="*/ 198501 h 266604"/>
                <a:gd name="connsiteX5" fmla="*/ 295084 w 335184"/>
                <a:gd name="connsiteY5" fmla="*/ 192786 h 266604"/>
                <a:gd name="connsiteX6" fmla="*/ 293751 w 335184"/>
                <a:gd name="connsiteY6" fmla="*/ 194500 h 266604"/>
                <a:gd name="connsiteX7" fmla="*/ 292703 w 335184"/>
                <a:gd name="connsiteY7" fmla="*/ 199453 h 266604"/>
                <a:gd name="connsiteX8" fmla="*/ 290798 w 335184"/>
                <a:gd name="connsiteY8" fmla="*/ 196501 h 266604"/>
                <a:gd name="connsiteX9" fmla="*/ 289179 w 335184"/>
                <a:gd name="connsiteY9" fmla="*/ 196691 h 266604"/>
                <a:gd name="connsiteX10" fmla="*/ 293370 w 335184"/>
                <a:gd name="connsiteY10" fmla="*/ 204216 h 266604"/>
                <a:gd name="connsiteX11" fmla="*/ 289179 w 335184"/>
                <a:gd name="connsiteY11" fmla="*/ 209550 h 266604"/>
                <a:gd name="connsiteX12" fmla="*/ 284131 w 335184"/>
                <a:gd name="connsiteY12" fmla="*/ 206978 h 266604"/>
                <a:gd name="connsiteX13" fmla="*/ 279368 w 335184"/>
                <a:gd name="connsiteY13" fmla="*/ 207550 h 266604"/>
                <a:gd name="connsiteX14" fmla="*/ 274225 w 335184"/>
                <a:gd name="connsiteY14" fmla="*/ 205073 h 266604"/>
                <a:gd name="connsiteX15" fmla="*/ 274415 w 335184"/>
                <a:gd name="connsiteY15" fmla="*/ 206597 h 266604"/>
                <a:gd name="connsiteX16" fmla="*/ 272605 w 335184"/>
                <a:gd name="connsiteY16" fmla="*/ 205264 h 266604"/>
                <a:gd name="connsiteX17" fmla="*/ 271272 w 335184"/>
                <a:gd name="connsiteY17" fmla="*/ 206978 h 266604"/>
                <a:gd name="connsiteX18" fmla="*/ 269081 w 335184"/>
                <a:gd name="connsiteY18" fmla="*/ 202501 h 266604"/>
                <a:gd name="connsiteX19" fmla="*/ 269462 w 335184"/>
                <a:gd name="connsiteY19" fmla="*/ 205645 h 266604"/>
                <a:gd name="connsiteX20" fmla="*/ 265938 w 335184"/>
                <a:gd name="connsiteY20" fmla="*/ 202882 h 266604"/>
                <a:gd name="connsiteX21" fmla="*/ 265557 w 335184"/>
                <a:gd name="connsiteY21" fmla="*/ 199739 h 266604"/>
                <a:gd name="connsiteX22" fmla="*/ 264128 w 335184"/>
                <a:gd name="connsiteY22" fmla="*/ 201549 h 266604"/>
                <a:gd name="connsiteX23" fmla="*/ 261366 w 335184"/>
                <a:gd name="connsiteY23" fmla="*/ 192214 h 266604"/>
                <a:gd name="connsiteX24" fmla="*/ 256794 w 335184"/>
                <a:gd name="connsiteY24" fmla="*/ 194405 h 266604"/>
                <a:gd name="connsiteX25" fmla="*/ 256604 w 335184"/>
                <a:gd name="connsiteY25" fmla="*/ 192881 h 266604"/>
                <a:gd name="connsiteX26" fmla="*/ 254889 w 335184"/>
                <a:gd name="connsiteY26" fmla="*/ 191452 h 266604"/>
                <a:gd name="connsiteX27" fmla="*/ 251936 w 335184"/>
                <a:gd name="connsiteY27" fmla="*/ 193453 h 266604"/>
                <a:gd name="connsiteX28" fmla="*/ 251460 w 335184"/>
                <a:gd name="connsiteY28" fmla="*/ 190309 h 266604"/>
                <a:gd name="connsiteX29" fmla="*/ 251270 w 335184"/>
                <a:gd name="connsiteY29" fmla="*/ 188690 h 266604"/>
                <a:gd name="connsiteX30" fmla="*/ 248317 w 335184"/>
                <a:gd name="connsiteY30" fmla="*/ 190690 h 266604"/>
                <a:gd name="connsiteX31" fmla="*/ 249079 w 335184"/>
                <a:gd name="connsiteY31" fmla="*/ 184213 h 266604"/>
                <a:gd name="connsiteX32" fmla="*/ 244602 w 335184"/>
                <a:gd name="connsiteY32" fmla="*/ 186404 h 266604"/>
                <a:gd name="connsiteX33" fmla="*/ 243364 w 335184"/>
                <a:gd name="connsiteY33" fmla="*/ 189738 h 266604"/>
                <a:gd name="connsiteX34" fmla="*/ 243364 w 335184"/>
                <a:gd name="connsiteY34" fmla="*/ 189738 h 266604"/>
                <a:gd name="connsiteX35" fmla="*/ 240411 w 335184"/>
                <a:gd name="connsiteY35" fmla="*/ 191738 h 266604"/>
                <a:gd name="connsiteX36" fmla="*/ 237458 w 335184"/>
                <a:gd name="connsiteY36" fmla="*/ 193643 h 266604"/>
                <a:gd name="connsiteX37" fmla="*/ 238887 w 335184"/>
                <a:gd name="connsiteY37" fmla="*/ 191929 h 266604"/>
                <a:gd name="connsiteX38" fmla="*/ 235744 w 335184"/>
                <a:gd name="connsiteY38" fmla="*/ 192310 h 266604"/>
                <a:gd name="connsiteX39" fmla="*/ 235267 w 335184"/>
                <a:gd name="connsiteY39" fmla="*/ 189166 h 266604"/>
                <a:gd name="connsiteX40" fmla="*/ 233744 w 335184"/>
                <a:gd name="connsiteY40" fmla="*/ 189357 h 266604"/>
                <a:gd name="connsiteX41" fmla="*/ 228791 w 335184"/>
                <a:gd name="connsiteY41" fmla="*/ 188404 h 266604"/>
                <a:gd name="connsiteX42" fmla="*/ 228981 w 335184"/>
                <a:gd name="connsiteY42" fmla="*/ 189928 h 266604"/>
                <a:gd name="connsiteX43" fmla="*/ 226219 w 335184"/>
                <a:gd name="connsiteY43" fmla="*/ 193548 h 266604"/>
                <a:gd name="connsiteX44" fmla="*/ 221551 w 335184"/>
                <a:gd name="connsiteY44" fmla="*/ 194119 h 266604"/>
                <a:gd name="connsiteX45" fmla="*/ 214408 w 335184"/>
                <a:gd name="connsiteY45" fmla="*/ 188595 h 266604"/>
                <a:gd name="connsiteX46" fmla="*/ 211455 w 335184"/>
                <a:gd name="connsiteY46" fmla="*/ 190595 h 266604"/>
                <a:gd name="connsiteX47" fmla="*/ 205359 w 335184"/>
                <a:gd name="connsiteY47" fmla="*/ 192976 h 266604"/>
                <a:gd name="connsiteX48" fmla="*/ 211265 w 335184"/>
                <a:gd name="connsiteY48" fmla="*/ 201835 h 266604"/>
                <a:gd name="connsiteX49" fmla="*/ 203740 w 335184"/>
                <a:gd name="connsiteY49" fmla="*/ 206026 h 266604"/>
                <a:gd name="connsiteX50" fmla="*/ 204216 w 335184"/>
                <a:gd name="connsiteY50" fmla="*/ 209169 h 266604"/>
                <a:gd name="connsiteX51" fmla="*/ 202406 w 335184"/>
                <a:gd name="connsiteY51" fmla="*/ 207740 h 266604"/>
                <a:gd name="connsiteX52" fmla="*/ 200978 w 335184"/>
                <a:gd name="connsiteY52" fmla="*/ 209550 h 266604"/>
                <a:gd name="connsiteX53" fmla="*/ 199644 w 335184"/>
                <a:gd name="connsiteY53" fmla="*/ 211360 h 266604"/>
                <a:gd name="connsiteX54" fmla="*/ 196501 w 335184"/>
                <a:gd name="connsiteY54" fmla="*/ 211741 h 266604"/>
                <a:gd name="connsiteX55" fmla="*/ 195644 w 335184"/>
                <a:gd name="connsiteY55" fmla="*/ 205454 h 266604"/>
                <a:gd name="connsiteX56" fmla="*/ 180308 w 335184"/>
                <a:gd name="connsiteY56" fmla="*/ 210598 h 266604"/>
                <a:gd name="connsiteX57" fmla="*/ 181070 w 335184"/>
                <a:gd name="connsiteY57" fmla="*/ 216884 h 266604"/>
                <a:gd name="connsiteX58" fmla="*/ 182690 w 335184"/>
                <a:gd name="connsiteY58" fmla="*/ 216694 h 266604"/>
                <a:gd name="connsiteX59" fmla="*/ 182880 w 335184"/>
                <a:gd name="connsiteY59" fmla="*/ 218313 h 266604"/>
                <a:gd name="connsiteX60" fmla="*/ 171831 w 335184"/>
                <a:gd name="connsiteY60" fmla="*/ 219646 h 266604"/>
                <a:gd name="connsiteX61" fmla="*/ 172403 w 335184"/>
                <a:gd name="connsiteY61" fmla="*/ 224409 h 266604"/>
                <a:gd name="connsiteX62" fmla="*/ 167354 w 335184"/>
                <a:gd name="connsiteY62" fmla="*/ 221837 h 266604"/>
                <a:gd name="connsiteX63" fmla="*/ 166973 w 335184"/>
                <a:gd name="connsiteY63" fmla="*/ 231553 h 266604"/>
                <a:gd name="connsiteX64" fmla="*/ 164211 w 335184"/>
                <a:gd name="connsiteY64" fmla="*/ 235077 h 266604"/>
                <a:gd name="connsiteX65" fmla="*/ 159258 w 335184"/>
                <a:gd name="connsiteY65" fmla="*/ 234125 h 266604"/>
                <a:gd name="connsiteX66" fmla="*/ 155924 w 335184"/>
                <a:gd name="connsiteY66" fmla="*/ 232981 h 266604"/>
                <a:gd name="connsiteX67" fmla="*/ 152495 w 335184"/>
                <a:gd name="connsiteY67" fmla="*/ 231743 h 266604"/>
                <a:gd name="connsiteX68" fmla="*/ 148400 w 335184"/>
                <a:gd name="connsiteY68" fmla="*/ 237077 h 266604"/>
                <a:gd name="connsiteX69" fmla="*/ 137732 w 335184"/>
                <a:gd name="connsiteY69" fmla="*/ 241649 h 266604"/>
                <a:gd name="connsiteX70" fmla="*/ 133064 w 335184"/>
                <a:gd name="connsiteY70" fmla="*/ 242316 h 266604"/>
                <a:gd name="connsiteX71" fmla="*/ 122111 w 335184"/>
                <a:gd name="connsiteY71" fmla="*/ 232410 h 266604"/>
                <a:gd name="connsiteX72" fmla="*/ 120777 w 335184"/>
                <a:gd name="connsiteY72" fmla="*/ 234220 h 266604"/>
                <a:gd name="connsiteX73" fmla="*/ 116872 w 335184"/>
                <a:gd name="connsiteY73" fmla="*/ 253937 h 266604"/>
                <a:gd name="connsiteX74" fmla="*/ 117634 w 335184"/>
                <a:gd name="connsiteY74" fmla="*/ 260223 h 266604"/>
                <a:gd name="connsiteX75" fmla="*/ 118110 w 335184"/>
                <a:gd name="connsiteY75" fmla="*/ 263462 h 266604"/>
                <a:gd name="connsiteX76" fmla="*/ 118491 w 335184"/>
                <a:gd name="connsiteY76" fmla="*/ 266605 h 266604"/>
                <a:gd name="connsiteX77" fmla="*/ 115157 w 335184"/>
                <a:gd name="connsiteY77" fmla="*/ 265367 h 266604"/>
                <a:gd name="connsiteX78" fmla="*/ 112776 w 335184"/>
                <a:gd name="connsiteY78" fmla="*/ 259271 h 266604"/>
                <a:gd name="connsiteX79" fmla="*/ 107823 w 335184"/>
                <a:gd name="connsiteY79" fmla="*/ 258318 h 266604"/>
                <a:gd name="connsiteX80" fmla="*/ 101917 w 335184"/>
                <a:gd name="connsiteY80" fmla="*/ 262318 h 266604"/>
                <a:gd name="connsiteX81" fmla="*/ 101727 w 335184"/>
                <a:gd name="connsiteY81" fmla="*/ 260699 h 266604"/>
                <a:gd name="connsiteX82" fmla="*/ 101251 w 335184"/>
                <a:gd name="connsiteY82" fmla="*/ 257556 h 266604"/>
                <a:gd name="connsiteX83" fmla="*/ 97917 w 335184"/>
                <a:gd name="connsiteY83" fmla="*/ 256413 h 266604"/>
                <a:gd name="connsiteX84" fmla="*/ 92012 w 335184"/>
                <a:gd name="connsiteY84" fmla="*/ 260318 h 266604"/>
                <a:gd name="connsiteX85" fmla="*/ 91821 w 335184"/>
                <a:gd name="connsiteY85" fmla="*/ 258794 h 266604"/>
                <a:gd name="connsiteX86" fmla="*/ 77438 w 335184"/>
                <a:gd name="connsiteY86" fmla="*/ 258985 h 266604"/>
                <a:gd name="connsiteX87" fmla="*/ 75247 w 335184"/>
                <a:gd name="connsiteY87" fmla="*/ 254413 h 266604"/>
                <a:gd name="connsiteX88" fmla="*/ 69913 w 335184"/>
                <a:gd name="connsiteY88" fmla="*/ 250317 h 266604"/>
                <a:gd name="connsiteX89" fmla="*/ 67913 w 335184"/>
                <a:gd name="connsiteY89" fmla="*/ 247364 h 266604"/>
                <a:gd name="connsiteX90" fmla="*/ 71628 w 335184"/>
                <a:gd name="connsiteY90" fmla="*/ 238887 h 266604"/>
                <a:gd name="connsiteX91" fmla="*/ 74581 w 335184"/>
                <a:gd name="connsiteY91" fmla="*/ 236887 h 266604"/>
                <a:gd name="connsiteX92" fmla="*/ 79724 w 335184"/>
                <a:gd name="connsiteY92" fmla="*/ 239459 h 266604"/>
                <a:gd name="connsiteX93" fmla="*/ 83629 w 335184"/>
                <a:gd name="connsiteY93" fmla="*/ 232505 h 266604"/>
                <a:gd name="connsiteX94" fmla="*/ 83439 w 335184"/>
                <a:gd name="connsiteY94" fmla="*/ 230981 h 266604"/>
                <a:gd name="connsiteX95" fmla="*/ 81725 w 335184"/>
                <a:gd name="connsiteY95" fmla="*/ 229552 h 266604"/>
                <a:gd name="connsiteX96" fmla="*/ 72390 w 335184"/>
                <a:gd name="connsiteY96" fmla="*/ 232315 h 266604"/>
                <a:gd name="connsiteX97" fmla="*/ 70866 w 335184"/>
                <a:gd name="connsiteY97" fmla="*/ 232600 h 266604"/>
                <a:gd name="connsiteX98" fmla="*/ 70675 w 335184"/>
                <a:gd name="connsiteY98" fmla="*/ 230981 h 266604"/>
                <a:gd name="connsiteX99" fmla="*/ 79153 w 335184"/>
                <a:gd name="connsiteY99" fmla="*/ 221837 h 266604"/>
                <a:gd name="connsiteX100" fmla="*/ 78486 w 335184"/>
                <a:gd name="connsiteY100" fmla="*/ 217170 h 266604"/>
                <a:gd name="connsiteX101" fmla="*/ 74962 w 335184"/>
                <a:gd name="connsiteY101" fmla="*/ 214408 h 266604"/>
                <a:gd name="connsiteX102" fmla="*/ 81058 w 335184"/>
                <a:gd name="connsiteY102" fmla="*/ 212026 h 266604"/>
                <a:gd name="connsiteX103" fmla="*/ 75724 w 335184"/>
                <a:gd name="connsiteY103" fmla="*/ 207836 h 266604"/>
                <a:gd name="connsiteX104" fmla="*/ 74104 w 335184"/>
                <a:gd name="connsiteY104" fmla="*/ 208121 h 266604"/>
                <a:gd name="connsiteX105" fmla="*/ 63532 w 335184"/>
                <a:gd name="connsiteY105" fmla="*/ 212693 h 266604"/>
                <a:gd name="connsiteX106" fmla="*/ 61150 w 335184"/>
                <a:gd name="connsiteY106" fmla="*/ 206502 h 266604"/>
                <a:gd name="connsiteX107" fmla="*/ 57912 w 335184"/>
                <a:gd name="connsiteY107" fmla="*/ 206978 h 266604"/>
                <a:gd name="connsiteX108" fmla="*/ 56007 w 335184"/>
                <a:gd name="connsiteY108" fmla="*/ 204025 h 266604"/>
                <a:gd name="connsiteX109" fmla="*/ 52578 w 335184"/>
                <a:gd name="connsiteY109" fmla="*/ 202787 h 266604"/>
                <a:gd name="connsiteX110" fmla="*/ 52388 w 335184"/>
                <a:gd name="connsiteY110" fmla="*/ 201263 h 266604"/>
                <a:gd name="connsiteX111" fmla="*/ 48673 w 335184"/>
                <a:gd name="connsiteY111" fmla="*/ 196882 h 266604"/>
                <a:gd name="connsiteX112" fmla="*/ 51625 w 335184"/>
                <a:gd name="connsiteY112" fmla="*/ 194881 h 266604"/>
                <a:gd name="connsiteX113" fmla="*/ 52007 w 335184"/>
                <a:gd name="connsiteY113" fmla="*/ 185261 h 266604"/>
                <a:gd name="connsiteX114" fmla="*/ 59055 w 335184"/>
                <a:gd name="connsiteY114" fmla="*/ 190786 h 266604"/>
                <a:gd name="connsiteX115" fmla="*/ 63437 w 335184"/>
                <a:gd name="connsiteY115" fmla="*/ 174212 h 266604"/>
                <a:gd name="connsiteX116" fmla="*/ 63246 w 335184"/>
                <a:gd name="connsiteY116" fmla="*/ 172593 h 266604"/>
                <a:gd name="connsiteX117" fmla="*/ 50387 w 335184"/>
                <a:gd name="connsiteY117" fmla="*/ 172593 h 266604"/>
                <a:gd name="connsiteX118" fmla="*/ 43244 w 335184"/>
                <a:gd name="connsiteY118" fmla="*/ 167068 h 266604"/>
                <a:gd name="connsiteX119" fmla="*/ 39719 w 335184"/>
                <a:gd name="connsiteY119" fmla="*/ 164401 h 266604"/>
                <a:gd name="connsiteX120" fmla="*/ 30194 w 335184"/>
                <a:gd name="connsiteY120" fmla="*/ 152781 h 266604"/>
                <a:gd name="connsiteX121" fmla="*/ 30004 w 335184"/>
                <a:gd name="connsiteY121" fmla="*/ 151162 h 266604"/>
                <a:gd name="connsiteX122" fmla="*/ 30766 w 335184"/>
                <a:gd name="connsiteY122" fmla="*/ 144685 h 266604"/>
                <a:gd name="connsiteX123" fmla="*/ 29242 w 335184"/>
                <a:gd name="connsiteY123" fmla="*/ 144875 h 266604"/>
                <a:gd name="connsiteX124" fmla="*/ 31909 w 335184"/>
                <a:gd name="connsiteY124" fmla="*/ 141256 h 266604"/>
                <a:gd name="connsiteX125" fmla="*/ 31528 w 335184"/>
                <a:gd name="connsiteY125" fmla="*/ 138113 h 266604"/>
                <a:gd name="connsiteX126" fmla="*/ 26765 w 335184"/>
                <a:gd name="connsiteY126" fmla="*/ 138779 h 266604"/>
                <a:gd name="connsiteX127" fmla="*/ 26384 w 335184"/>
                <a:gd name="connsiteY127" fmla="*/ 135541 h 266604"/>
                <a:gd name="connsiteX128" fmla="*/ 23241 w 335184"/>
                <a:gd name="connsiteY128" fmla="*/ 136017 h 266604"/>
                <a:gd name="connsiteX129" fmla="*/ 21241 w 335184"/>
                <a:gd name="connsiteY129" fmla="*/ 133064 h 266604"/>
                <a:gd name="connsiteX130" fmla="*/ 16383 w 335184"/>
                <a:gd name="connsiteY130" fmla="*/ 132016 h 266604"/>
                <a:gd name="connsiteX131" fmla="*/ 15716 w 335184"/>
                <a:gd name="connsiteY131" fmla="*/ 127349 h 266604"/>
                <a:gd name="connsiteX132" fmla="*/ 18859 w 335184"/>
                <a:gd name="connsiteY132" fmla="*/ 126873 h 266604"/>
                <a:gd name="connsiteX133" fmla="*/ 23432 w 335184"/>
                <a:gd name="connsiteY133" fmla="*/ 124777 h 266604"/>
                <a:gd name="connsiteX134" fmla="*/ 22384 w 335184"/>
                <a:gd name="connsiteY134" fmla="*/ 116872 h 266604"/>
                <a:gd name="connsiteX135" fmla="*/ 33433 w 335184"/>
                <a:gd name="connsiteY135" fmla="*/ 115443 h 266604"/>
                <a:gd name="connsiteX136" fmla="*/ 37052 w 335184"/>
                <a:gd name="connsiteY136" fmla="*/ 118205 h 266604"/>
                <a:gd name="connsiteX137" fmla="*/ 38195 w 335184"/>
                <a:gd name="connsiteY137" fmla="*/ 114871 h 266604"/>
                <a:gd name="connsiteX138" fmla="*/ 44672 w 335184"/>
                <a:gd name="connsiteY138" fmla="*/ 115633 h 266604"/>
                <a:gd name="connsiteX139" fmla="*/ 44482 w 335184"/>
                <a:gd name="connsiteY139" fmla="*/ 114014 h 266604"/>
                <a:gd name="connsiteX140" fmla="*/ 44291 w 335184"/>
                <a:gd name="connsiteY140" fmla="*/ 112490 h 266604"/>
                <a:gd name="connsiteX141" fmla="*/ 44101 w 335184"/>
                <a:gd name="connsiteY141" fmla="*/ 110871 h 266604"/>
                <a:gd name="connsiteX142" fmla="*/ 40767 w 335184"/>
                <a:gd name="connsiteY142" fmla="*/ 109728 h 266604"/>
                <a:gd name="connsiteX143" fmla="*/ 41910 w 335184"/>
                <a:gd name="connsiteY143" fmla="*/ 106299 h 266604"/>
                <a:gd name="connsiteX144" fmla="*/ 34004 w 335184"/>
                <a:gd name="connsiteY144" fmla="*/ 107347 h 266604"/>
                <a:gd name="connsiteX145" fmla="*/ 33052 w 335184"/>
                <a:gd name="connsiteY145" fmla="*/ 99441 h 266604"/>
                <a:gd name="connsiteX146" fmla="*/ 30099 w 335184"/>
                <a:gd name="connsiteY146" fmla="*/ 101441 h 266604"/>
                <a:gd name="connsiteX147" fmla="*/ 24955 w 335184"/>
                <a:gd name="connsiteY147" fmla="*/ 98869 h 266604"/>
                <a:gd name="connsiteX148" fmla="*/ 23717 w 335184"/>
                <a:gd name="connsiteY148" fmla="*/ 89440 h 266604"/>
                <a:gd name="connsiteX149" fmla="*/ 20193 w 335184"/>
                <a:gd name="connsiteY149" fmla="*/ 86677 h 266604"/>
                <a:gd name="connsiteX150" fmla="*/ 23146 w 335184"/>
                <a:gd name="connsiteY150" fmla="*/ 84677 h 266604"/>
                <a:gd name="connsiteX151" fmla="*/ 19145 w 335184"/>
                <a:gd name="connsiteY151" fmla="*/ 78772 h 266604"/>
                <a:gd name="connsiteX152" fmla="*/ 13049 w 335184"/>
                <a:gd name="connsiteY152" fmla="*/ 81153 h 266604"/>
                <a:gd name="connsiteX153" fmla="*/ 8572 w 335184"/>
                <a:gd name="connsiteY153" fmla="*/ 83344 h 266604"/>
                <a:gd name="connsiteX154" fmla="*/ 4953 w 335184"/>
                <a:gd name="connsiteY154" fmla="*/ 80581 h 266604"/>
                <a:gd name="connsiteX155" fmla="*/ 667 w 335184"/>
                <a:gd name="connsiteY155" fmla="*/ 84296 h 266604"/>
                <a:gd name="connsiteX156" fmla="*/ 191 w 335184"/>
                <a:gd name="connsiteY156" fmla="*/ 81153 h 266604"/>
                <a:gd name="connsiteX157" fmla="*/ 0 w 335184"/>
                <a:gd name="connsiteY157" fmla="*/ 79629 h 266604"/>
                <a:gd name="connsiteX158" fmla="*/ 9334 w 335184"/>
                <a:gd name="connsiteY158" fmla="*/ 76771 h 266604"/>
                <a:gd name="connsiteX159" fmla="*/ 8668 w 335184"/>
                <a:gd name="connsiteY159" fmla="*/ 72104 h 266604"/>
                <a:gd name="connsiteX160" fmla="*/ 10096 w 335184"/>
                <a:gd name="connsiteY160" fmla="*/ 70294 h 266604"/>
                <a:gd name="connsiteX161" fmla="*/ 11811 w 335184"/>
                <a:gd name="connsiteY161" fmla="*/ 71723 h 266604"/>
                <a:gd name="connsiteX162" fmla="*/ 13621 w 335184"/>
                <a:gd name="connsiteY162" fmla="*/ 73057 h 266604"/>
                <a:gd name="connsiteX163" fmla="*/ 21336 w 335184"/>
                <a:gd name="connsiteY163" fmla="*/ 70485 h 266604"/>
                <a:gd name="connsiteX164" fmla="*/ 21146 w 335184"/>
                <a:gd name="connsiteY164" fmla="*/ 68866 h 266604"/>
                <a:gd name="connsiteX165" fmla="*/ 22479 w 335184"/>
                <a:gd name="connsiteY165" fmla="*/ 67151 h 266604"/>
                <a:gd name="connsiteX166" fmla="*/ 22670 w 335184"/>
                <a:gd name="connsiteY166" fmla="*/ 68675 h 266604"/>
                <a:gd name="connsiteX167" fmla="*/ 31813 w 335184"/>
                <a:gd name="connsiteY167" fmla="*/ 64294 h 266604"/>
                <a:gd name="connsiteX168" fmla="*/ 37909 w 335184"/>
                <a:gd name="connsiteY168" fmla="*/ 61913 h 266604"/>
                <a:gd name="connsiteX169" fmla="*/ 41815 w 335184"/>
                <a:gd name="connsiteY169" fmla="*/ 67818 h 266604"/>
                <a:gd name="connsiteX170" fmla="*/ 43244 w 335184"/>
                <a:gd name="connsiteY170" fmla="*/ 66103 h 266604"/>
                <a:gd name="connsiteX171" fmla="*/ 50483 w 335184"/>
                <a:gd name="connsiteY171" fmla="*/ 60388 h 266604"/>
                <a:gd name="connsiteX172" fmla="*/ 48292 w 335184"/>
                <a:gd name="connsiteY172" fmla="*/ 55816 h 266604"/>
                <a:gd name="connsiteX173" fmla="*/ 52864 w 335184"/>
                <a:gd name="connsiteY173" fmla="*/ 53626 h 266604"/>
                <a:gd name="connsiteX174" fmla="*/ 52483 w 335184"/>
                <a:gd name="connsiteY174" fmla="*/ 50482 h 266604"/>
                <a:gd name="connsiteX175" fmla="*/ 57436 w 335184"/>
                <a:gd name="connsiteY175" fmla="*/ 51435 h 266604"/>
                <a:gd name="connsiteX176" fmla="*/ 59150 w 335184"/>
                <a:gd name="connsiteY176" fmla="*/ 52864 h 266604"/>
                <a:gd name="connsiteX177" fmla="*/ 62294 w 335184"/>
                <a:gd name="connsiteY177" fmla="*/ 52388 h 266604"/>
                <a:gd name="connsiteX178" fmla="*/ 62960 w 335184"/>
                <a:gd name="connsiteY178" fmla="*/ 57150 h 266604"/>
                <a:gd name="connsiteX179" fmla="*/ 65342 w 335184"/>
                <a:gd name="connsiteY179" fmla="*/ 63246 h 266604"/>
                <a:gd name="connsiteX180" fmla="*/ 65913 w 335184"/>
                <a:gd name="connsiteY180" fmla="*/ 68008 h 266604"/>
                <a:gd name="connsiteX181" fmla="*/ 72009 w 335184"/>
                <a:gd name="connsiteY181" fmla="*/ 65627 h 266604"/>
                <a:gd name="connsiteX182" fmla="*/ 90011 w 335184"/>
                <a:gd name="connsiteY182" fmla="*/ 68104 h 266604"/>
                <a:gd name="connsiteX183" fmla="*/ 94679 w 335184"/>
                <a:gd name="connsiteY183" fmla="*/ 67532 h 266604"/>
                <a:gd name="connsiteX184" fmla="*/ 90392 w 335184"/>
                <a:gd name="connsiteY184" fmla="*/ 58483 h 266604"/>
                <a:gd name="connsiteX185" fmla="*/ 92678 w 335184"/>
                <a:gd name="connsiteY185" fmla="*/ 51721 h 266604"/>
                <a:gd name="connsiteX186" fmla="*/ 91154 w 335184"/>
                <a:gd name="connsiteY186" fmla="*/ 51911 h 266604"/>
                <a:gd name="connsiteX187" fmla="*/ 90964 w 335184"/>
                <a:gd name="connsiteY187" fmla="*/ 50387 h 266604"/>
                <a:gd name="connsiteX188" fmla="*/ 90107 w 335184"/>
                <a:gd name="connsiteY188" fmla="*/ 44101 h 266604"/>
                <a:gd name="connsiteX189" fmla="*/ 91535 w 335184"/>
                <a:gd name="connsiteY189" fmla="*/ 42291 h 266604"/>
                <a:gd name="connsiteX190" fmla="*/ 91059 w 335184"/>
                <a:gd name="connsiteY190" fmla="*/ 39148 h 266604"/>
                <a:gd name="connsiteX191" fmla="*/ 96393 w 335184"/>
                <a:gd name="connsiteY191" fmla="*/ 30480 h 266604"/>
                <a:gd name="connsiteX192" fmla="*/ 102965 w 335184"/>
                <a:gd name="connsiteY192" fmla="*/ 31242 h 266604"/>
                <a:gd name="connsiteX193" fmla="*/ 108013 w 335184"/>
                <a:gd name="connsiteY193" fmla="*/ 33814 h 266604"/>
                <a:gd name="connsiteX194" fmla="*/ 111252 w 335184"/>
                <a:gd name="connsiteY194" fmla="*/ 33338 h 266604"/>
                <a:gd name="connsiteX195" fmla="*/ 116776 w 335184"/>
                <a:gd name="connsiteY195" fmla="*/ 39052 h 266604"/>
                <a:gd name="connsiteX196" fmla="*/ 121253 w 335184"/>
                <a:gd name="connsiteY196" fmla="*/ 36862 h 266604"/>
                <a:gd name="connsiteX197" fmla="*/ 122301 w 335184"/>
                <a:gd name="connsiteY197" fmla="*/ 32004 h 266604"/>
                <a:gd name="connsiteX198" fmla="*/ 125635 w 335184"/>
                <a:gd name="connsiteY198" fmla="*/ 33147 h 266604"/>
                <a:gd name="connsiteX199" fmla="*/ 136493 w 335184"/>
                <a:gd name="connsiteY199" fmla="*/ 30194 h 266604"/>
                <a:gd name="connsiteX200" fmla="*/ 136493 w 335184"/>
                <a:gd name="connsiteY200" fmla="*/ 30194 h 266604"/>
                <a:gd name="connsiteX201" fmla="*/ 135826 w 335184"/>
                <a:gd name="connsiteY201" fmla="*/ 25432 h 266604"/>
                <a:gd name="connsiteX202" fmla="*/ 140779 w 335184"/>
                <a:gd name="connsiteY202" fmla="*/ 26384 h 266604"/>
                <a:gd name="connsiteX203" fmla="*/ 140017 w 335184"/>
                <a:gd name="connsiteY203" fmla="*/ 20098 h 266604"/>
                <a:gd name="connsiteX204" fmla="*/ 149828 w 335184"/>
                <a:gd name="connsiteY204" fmla="*/ 22003 h 266604"/>
                <a:gd name="connsiteX205" fmla="*/ 162496 w 335184"/>
                <a:gd name="connsiteY205" fmla="*/ 20383 h 266604"/>
                <a:gd name="connsiteX206" fmla="*/ 167259 w 335184"/>
                <a:gd name="connsiteY206" fmla="*/ 19812 h 266604"/>
                <a:gd name="connsiteX207" fmla="*/ 166402 w 335184"/>
                <a:gd name="connsiteY207" fmla="*/ 13525 h 266604"/>
                <a:gd name="connsiteX208" fmla="*/ 168021 w 335184"/>
                <a:gd name="connsiteY208" fmla="*/ 13335 h 266604"/>
                <a:gd name="connsiteX209" fmla="*/ 167354 w 335184"/>
                <a:gd name="connsiteY209" fmla="*/ 8572 h 266604"/>
                <a:gd name="connsiteX210" fmla="*/ 176879 w 335184"/>
                <a:gd name="connsiteY210" fmla="*/ 7334 h 266604"/>
                <a:gd name="connsiteX211" fmla="*/ 176498 w 335184"/>
                <a:gd name="connsiteY211" fmla="*/ 4191 h 266604"/>
                <a:gd name="connsiteX212" fmla="*/ 189452 w 335184"/>
                <a:gd name="connsiteY212" fmla="*/ 5715 h 266604"/>
                <a:gd name="connsiteX213" fmla="*/ 196025 w 335184"/>
                <a:gd name="connsiteY213" fmla="*/ 6572 h 266604"/>
                <a:gd name="connsiteX214" fmla="*/ 197167 w 335184"/>
                <a:gd name="connsiteY214" fmla="*/ 3143 h 266604"/>
                <a:gd name="connsiteX215" fmla="*/ 203645 w 335184"/>
                <a:gd name="connsiteY215" fmla="*/ 3905 h 266604"/>
                <a:gd name="connsiteX216" fmla="*/ 209645 w 335184"/>
                <a:gd name="connsiteY216" fmla="*/ 0 h 266604"/>
                <a:gd name="connsiteX217" fmla="*/ 214503 w 335184"/>
                <a:gd name="connsiteY217" fmla="*/ 952 h 266604"/>
                <a:gd name="connsiteX218" fmla="*/ 214408 w 335184"/>
                <a:gd name="connsiteY218" fmla="*/ 12192 h 266604"/>
                <a:gd name="connsiteX219" fmla="*/ 212788 w 335184"/>
                <a:gd name="connsiteY219" fmla="*/ 12382 h 266604"/>
                <a:gd name="connsiteX220" fmla="*/ 213550 w 335184"/>
                <a:gd name="connsiteY220" fmla="*/ 18764 h 266604"/>
                <a:gd name="connsiteX221" fmla="*/ 217932 w 335184"/>
                <a:gd name="connsiteY221" fmla="*/ 14954 h 266604"/>
                <a:gd name="connsiteX222" fmla="*/ 219932 w 335184"/>
                <a:gd name="connsiteY222" fmla="*/ 17907 h 266604"/>
                <a:gd name="connsiteX223" fmla="*/ 222885 w 335184"/>
                <a:gd name="connsiteY223" fmla="*/ 15907 h 266604"/>
                <a:gd name="connsiteX224" fmla="*/ 224028 w 335184"/>
                <a:gd name="connsiteY224" fmla="*/ 12573 h 266604"/>
                <a:gd name="connsiteX225" fmla="*/ 227838 w 335184"/>
                <a:gd name="connsiteY225" fmla="*/ 16954 h 266604"/>
                <a:gd name="connsiteX226" fmla="*/ 232696 w 335184"/>
                <a:gd name="connsiteY226" fmla="*/ 17907 h 266604"/>
                <a:gd name="connsiteX227" fmla="*/ 235077 w 335184"/>
                <a:gd name="connsiteY227" fmla="*/ 24003 h 266604"/>
                <a:gd name="connsiteX228" fmla="*/ 233744 w 335184"/>
                <a:gd name="connsiteY228" fmla="*/ 25813 h 266604"/>
                <a:gd name="connsiteX229" fmla="*/ 234505 w 335184"/>
                <a:gd name="connsiteY229" fmla="*/ 32099 h 266604"/>
                <a:gd name="connsiteX230" fmla="*/ 237458 w 335184"/>
                <a:gd name="connsiteY230" fmla="*/ 30099 h 266604"/>
                <a:gd name="connsiteX231" fmla="*/ 239268 w 335184"/>
                <a:gd name="connsiteY231" fmla="*/ 31432 h 266604"/>
                <a:gd name="connsiteX232" fmla="*/ 245745 w 335184"/>
                <a:gd name="connsiteY232" fmla="*/ 32290 h 266604"/>
                <a:gd name="connsiteX233" fmla="*/ 249936 w 335184"/>
                <a:gd name="connsiteY233" fmla="*/ 26956 h 266604"/>
                <a:gd name="connsiteX234" fmla="*/ 253079 w 335184"/>
                <a:gd name="connsiteY234" fmla="*/ 26479 h 266604"/>
                <a:gd name="connsiteX235" fmla="*/ 259556 w 335184"/>
                <a:gd name="connsiteY235" fmla="*/ 27241 h 266604"/>
                <a:gd name="connsiteX236" fmla="*/ 255651 w 335184"/>
                <a:gd name="connsiteY236" fmla="*/ 34195 h 266604"/>
                <a:gd name="connsiteX237" fmla="*/ 251079 w 335184"/>
                <a:gd name="connsiteY237" fmla="*/ 36385 h 266604"/>
                <a:gd name="connsiteX238" fmla="*/ 253270 w 335184"/>
                <a:gd name="connsiteY238" fmla="*/ 40957 h 266604"/>
                <a:gd name="connsiteX239" fmla="*/ 253460 w 335184"/>
                <a:gd name="connsiteY239" fmla="*/ 42481 h 266604"/>
                <a:gd name="connsiteX240" fmla="*/ 255937 w 335184"/>
                <a:gd name="connsiteY240" fmla="*/ 48577 h 266604"/>
                <a:gd name="connsiteX241" fmla="*/ 261461 w 335184"/>
                <a:gd name="connsiteY241" fmla="*/ 54292 h 266604"/>
                <a:gd name="connsiteX242" fmla="*/ 261461 w 335184"/>
                <a:gd name="connsiteY242" fmla="*/ 54292 h 266604"/>
                <a:gd name="connsiteX243" fmla="*/ 263366 w 335184"/>
                <a:gd name="connsiteY243" fmla="*/ 57245 h 266604"/>
                <a:gd name="connsiteX244" fmla="*/ 266795 w 335184"/>
                <a:gd name="connsiteY244" fmla="*/ 58483 h 266604"/>
                <a:gd name="connsiteX245" fmla="*/ 274415 w 335184"/>
                <a:gd name="connsiteY245" fmla="*/ 55912 h 266604"/>
                <a:gd name="connsiteX246" fmla="*/ 276225 w 335184"/>
                <a:gd name="connsiteY246" fmla="*/ 57245 h 266604"/>
                <a:gd name="connsiteX247" fmla="*/ 283940 w 335184"/>
                <a:gd name="connsiteY247" fmla="*/ 54673 h 266604"/>
                <a:gd name="connsiteX248" fmla="*/ 284702 w 335184"/>
                <a:gd name="connsiteY248" fmla="*/ 60960 h 266604"/>
                <a:gd name="connsiteX249" fmla="*/ 301085 w 335184"/>
                <a:gd name="connsiteY249" fmla="*/ 63722 h 266604"/>
                <a:gd name="connsiteX250" fmla="*/ 300133 w 335184"/>
                <a:gd name="connsiteY250" fmla="*/ 81439 h 266604"/>
                <a:gd name="connsiteX251" fmla="*/ 305467 w 335184"/>
                <a:gd name="connsiteY251" fmla="*/ 85630 h 266604"/>
                <a:gd name="connsiteX252" fmla="*/ 308420 w 335184"/>
                <a:gd name="connsiteY252" fmla="*/ 83629 h 266604"/>
                <a:gd name="connsiteX253" fmla="*/ 313563 w 335184"/>
                <a:gd name="connsiteY253" fmla="*/ 86201 h 266604"/>
                <a:gd name="connsiteX254" fmla="*/ 323659 w 335184"/>
                <a:gd name="connsiteY254" fmla="*/ 89725 h 266604"/>
                <a:gd name="connsiteX255" fmla="*/ 322326 w 335184"/>
                <a:gd name="connsiteY255" fmla="*/ 91440 h 266604"/>
                <a:gd name="connsiteX256" fmla="*/ 322707 w 335184"/>
                <a:gd name="connsiteY256" fmla="*/ 94583 h 266604"/>
                <a:gd name="connsiteX257" fmla="*/ 322707 w 335184"/>
                <a:gd name="connsiteY257" fmla="*/ 94583 h 266604"/>
                <a:gd name="connsiteX258" fmla="*/ 332804 w 335184"/>
                <a:gd name="connsiteY258" fmla="*/ 98203 h 266604"/>
                <a:gd name="connsiteX259" fmla="*/ 335185 w 335184"/>
                <a:gd name="connsiteY259" fmla="*/ 104299 h 266604"/>
                <a:gd name="connsiteX260" fmla="*/ 329279 w 335184"/>
                <a:gd name="connsiteY260" fmla="*/ 121063 h 266604"/>
                <a:gd name="connsiteX261" fmla="*/ 321374 w 335184"/>
                <a:gd name="connsiteY261" fmla="*/ 122015 h 266604"/>
                <a:gd name="connsiteX262" fmla="*/ 321564 w 335184"/>
                <a:gd name="connsiteY262" fmla="*/ 123634 h 266604"/>
                <a:gd name="connsiteX263" fmla="*/ 309563 w 335184"/>
                <a:gd name="connsiteY263" fmla="*/ 130016 h 266604"/>
                <a:gd name="connsiteX264" fmla="*/ 301657 w 335184"/>
                <a:gd name="connsiteY264" fmla="*/ 130969 h 266604"/>
                <a:gd name="connsiteX265" fmla="*/ 300323 w 335184"/>
                <a:gd name="connsiteY265" fmla="*/ 132778 h 266604"/>
                <a:gd name="connsiteX266" fmla="*/ 300323 w 335184"/>
                <a:gd name="connsiteY266" fmla="*/ 132778 h 266604"/>
                <a:gd name="connsiteX267" fmla="*/ 295561 w 335184"/>
                <a:gd name="connsiteY267" fmla="*/ 133350 h 266604"/>
                <a:gd name="connsiteX268" fmla="*/ 295751 w 335184"/>
                <a:gd name="connsiteY268" fmla="*/ 134969 h 266604"/>
                <a:gd name="connsiteX269" fmla="*/ 290798 w 335184"/>
                <a:gd name="connsiteY269" fmla="*/ 133921 h 266604"/>
                <a:gd name="connsiteX270" fmla="*/ 292799 w 335184"/>
                <a:gd name="connsiteY270" fmla="*/ 136874 h 266604"/>
                <a:gd name="connsiteX271" fmla="*/ 289846 w 335184"/>
                <a:gd name="connsiteY271" fmla="*/ 138874 h 266604"/>
                <a:gd name="connsiteX272" fmla="*/ 288226 w 335184"/>
                <a:gd name="connsiteY272" fmla="*/ 139065 h 266604"/>
                <a:gd name="connsiteX273" fmla="*/ 287655 w 335184"/>
                <a:gd name="connsiteY273" fmla="*/ 147161 h 266604"/>
                <a:gd name="connsiteX274" fmla="*/ 290513 w 335184"/>
                <a:gd name="connsiteY274" fmla="*/ 156496 h 266604"/>
                <a:gd name="connsiteX275" fmla="*/ 294989 w 335184"/>
                <a:gd name="connsiteY275" fmla="*/ 154305 h 266604"/>
                <a:gd name="connsiteX276" fmla="*/ 297371 w 335184"/>
                <a:gd name="connsiteY276" fmla="*/ 147542 h 266604"/>
                <a:gd name="connsiteX277" fmla="*/ 302705 w 335184"/>
                <a:gd name="connsiteY277" fmla="*/ 151733 h 266604"/>
                <a:gd name="connsiteX278" fmla="*/ 306896 w 335184"/>
                <a:gd name="connsiteY278" fmla="*/ 159163 h 266604"/>
                <a:gd name="connsiteX279" fmla="*/ 300514 w 335184"/>
                <a:gd name="connsiteY279" fmla="*/ 160020 h 266604"/>
                <a:gd name="connsiteX280" fmla="*/ 299752 w 335184"/>
                <a:gd name="connsiteY280" fmla="*/ 166497 h 266604"/>
                <a:gd name="connsiteX281" fmla="*/ 303943 w 335184"/>
                <a:gd name="connsiteY281" fmla="*/ 174022 h 266604"/>
                <a:gd name="connsiteX282" fmla="*/ 308134 w 335184"/>
                <a:gd name="connsiteY282" fmla="*/ 181451 h 266604"/>
                <a:gd name="connsiteX283" fmla="*/ 306896 w 335184"/>
                <a:gd name="connsiteY283" fmla="*/ 184880 h 266604"/>
                <a:gd name="connsiteX284" fmla="*/ 306896 w 335184"/>
                <a:gd name="connsiteY284" fmla="*/ 184880 h 266604"/>
                <a:gd name="connsiteX285" fmla="*/ 306896 w 335184"/>
                <a:gd name="connsiteY285" fmla="*/ 184880 h 26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</a:cxnLst>
              <a:rect l="l" t="t" r="r" b="b"/>
              <a:pathLst>
                <a:path w="335184" h="266604">
                  <a:moveTo>
                    <a:pt x="306896" y="184880"/>
                  </a:moveTo>
                  <a:lnTo>
                    <a:pt x="307372" y="188023"/>
                  </a:lnTo>
                  <a:lnTo>
                    <a:pt x="302609" y="188595"/>
                  </a:lnTo>
                  <a:lnTo>
                    <a:pt x="303371" y="194881"/>
                  </a:lnTo>
                  <a:lnTo>
                    <a:pt x="300609" y="198501"/>
                  </a:lnTo>
                  <a:lnTo>
                    <a:pt x="295084" y="192786"/>
                  </a:lnTo>
                  <a:lnTo>
                    <a:pt x="293751" y="194500"/>
                  </a:lnTo>
                  <a:lnTo>
                    <a:pt x="292703" y="199453"/>
                  </a:lnTo>
                  <a:lnTo>
                    <a:pt x="290798" y="196501"/>
                  </a:lnTo>
                  <a:lnTo>
                    <a:pt x="289179" y="196691"/>
                  </a:lnTo>
                  <a:lnTo>
                    <a:pt x="293370" y="204216"/>
                  </a:lnTo>
                  <a:lnTo>
                    <a:pt x="289179" y="209550"/>
                  </a:lnTo>
                  <a:lnTo>
                    <a:pt x="284131" y="206978"/>
                  </a:lnTo>
                  <a:lnTo>
                    <a:pt x="279368" y="207550"/>
                  </a:lnTo>
                  <a:lnTo>
                    <a:pt x="274225" y="205073"/>
                  </a:lnTo>
                  <a:lnTo>
                    <a:pt x="274415" y="206597"/>
                  </a:lnTo>
                  <a:lnTo>
                    <a:pt x="272605" y="205264"/>
                  </a:lnTo>
                  <a:lnTo>
                    <a:pt x="271272" y="206978"/>
                  </a:lnTo>
                  <a:lnTo>
                    <a:pt x="269081" y="202501"/>
                  </a:lnTo>
                  <a:lnTo>
                    <a:pt x="269462" y="205645"/>
                  </a:lnTo>
                  <a:lnTo>
                    <a:pt x="265938" y="202882"/>
                  </a:lnTo>
                  <a:lnTo>
                    <a:pt x="265557" y="199739"/>
                  </a:lnTo>
                  <a:lnTo>
                    <a:pt x="264128" y="201549"/>
                  </a:lnTo>
                  <a:lnTo>
                    <a:pt x="261366" y="192214"/>
                  </a:lnTo>
                  <a:lnTo>
                    <a:pt x="256794" y="194405"/>
                  </a:lnTo>
                  <a:lnTo>
                    <a:pt x="256604" y="192881"/>
                  </a:lnTo>
                  <a:lnTo>
                    <a:pt x="254889" y="191452"/>
                  </a:lnTo>
                  <a:lnTo>
                    <a:pt x="251936" y="193453"/>
                  </a:lnTo>
                  <a:lnTo>
                    <a:pt x="251460" y="190309"/>
                  </a:lnTo>
                  <a:lnTo>
                    <a:pt x="251270" y="188690"/>
                  </a:lnTo>
                  <a:lnTo>
                    <a:pt x="248317" y="190690"/>
                  </a:lnTo>
                  <a:lnTo>
                    <a:pt x="249079" y="184213"/>
                  </a:lnTo>
                  <a:lnTo>
                    <a:pt x="244602" y="186404"/>
                  </a:lnTo>
                  <a:lnTo>
                    <a:pt x="243364" y="189738"/>
                  </a:lnTo>
                  <a:lnTo>
                    <a:pt x="243364" y="189738"/>
                  </a:lnTo>
                  <a:lnTo>
                    <a:pt x="240411" y="191738"/>
                  </a:lnTo>
                  <a:lnTo>
                    <a:pt x="237458" y="193643"/>
                  </a:lnTo>
                  <a:lnTo>
                    <a:pt x="238887" y="191929"/>
                  </a:lnTo>
                  <a:lnTo>
                    <a:pt x="235744" y="192310"/>
                  </a:lnTo>
                  <a:lnTo>
                    <a:pt x="235267" y="189166"/>
                  </a:lnTo>
                  <a:lnTo>
                    <a:pt x="233744" y="189357"/>
                  </a:lnTo>
                  <a:lnTo>
                    <a:pt x="228791" y="188404"/>
                  </a:lnTo>
                  <a:lnTo>
                    <a:pt x="228981" y="189928"/>
                  </a:lnTo>
                  <a:lnTo>
                    <a:pt x="226219" y="193548"/>
                  </a:lnTo>
                  <a:lnTo>
                    <a:pt x="221551" y="194119"/>
                  </a:lnTo>
                  <a:lnTo>
                    <a:pt x="214408" y="188595"/>
                  </a:lnTo>
                  <a:lnTo>
                    <a:pt x="211455" y="190595"/>
                  </a:lnTo>
                  <a:lnTo>
                    <a:pt x="205359" y="192976"/>
                  </a:lnTo>
                  <a:lnTo>
                    <a:pt x="211265" y="201835"/>
                  </a:lnTo>
                  <a:lnTo>
                    <a:pt x="203740" y="206026"/>
                  </a:lnTo>
                  <a:lnTo>
                    <a:pt x="204216" y="209169"/>
                  </a:lnTo>
                  <a:lnTo>
                    <a:pt x="202406" y="207740"/>
                  </a:lnTo>
                  <a:lnTo>
                    <a:pt x="200978" y="209550"/>
                  </a:lnTo>
                  <a:lnTo>
                    <a:pt x="199644" y="211360"/>
                  </a:lnTo>
                  <a:lnTo>
                    <a:pt x="196501" y="211741"/>
                  </a:lnTo>
                  <a:lnTo>
                    <a:pt x="195644" y="205454"/>
                  </a:lnTo>
                  <a:lnTo>
                    <a:pt x="180308" y="210598"/>
                  </a:lnTo>
                  <a:lnTo>
                    <a:pt x="181070" y="216884"/>
                  </a:lnTo>
                  <a:lnTo>
                    <a:pt x="182690" y="216694"/>
                  </a:lnTo>
                  <a:lnTo>
                    <a:pt x="182880" y="218313"/>
                  </a:lnTo>
                  <a:lnTo>
                    <a:pt x="171831" y="219646"/>
                  </a:lnTo>
                  <a:lnTo>
                    <a:pt x="172403" y="224409"/>
                  </a:lnTo>
                  <a:lnTo>
                    <a:pt x="167354" y="221837"/>
                  </a:lnTo>
                  <a:lnTo>
                    <a:pt x="166973" y="231553"/>
                  </a:lnTo>
                  <a:lnTo>
                    <a:pt x="164211" y="235077"/>
                  </a:lnTo>
                  <a:lnTo>
                    <a:pt x="159258" y="234125"/>
                  </a:lnTo>
                  <a:lnTo>
                    <a:pt x="155924" y="232981"/>
                  </a:lnTo>
                  <a:lnTo>
                    <a:pt x="152495" y="231743"/>
                  </a:lnTo>
                  <a:lnTo>
                    <a:pt x="148400" y="237077"/>
                  </a:lnTo>
                  <a:lnTo>
                    <a:pt x="137732" y="241649"/>
                  </a:lnTo>
                  <a:lnTo>
                    <a:pt x="133064" y="242316"/>
                  </a:lnTo>
                  <a:lnTo>
                    <a:pt x="122111" y="232410"/>
                  </a:lnTo>
                  <a:lnTo>
                    <a:pt x="120777" y="234220"/>
                  </a:lnTo>
                  <a:lnTo>
                    <a:pt x="116872" y="253937"/>
                  </a:lnTo>
                  <a:lnTo>
                    <a:pt x="117634" y="260223"/>
                  </a:lnTo>
                  <a:lnTo>
                    <a:pt x="118110" y="263462"/>
                  </a:lnTo>
                  <a:lnTo>
                    <a:pt x="118491" y="266605"/>
                  </a:lnTo>
                  <a:lnTo>
                    <a:pt x="115157" y="265367"/>
                  </a:lnTo>
                  <a:lnTo>
                    <a:pt x="112776" y="259271"/>
                  </a:lnTo>
                  <a:lnTo>
                    <a:pt x="107823" y="258318"/>
                  </a:lnTo>
                  <a:lnTo>
                    <a:pt x="101917" y="262318"/>
                  </a:lnTo>
                  <a:lnTo>
                    <a:pt x="101727" y="260699"/>
                  </a:lnTo>
                  <a:lnTo>
                    <a:pt x="101251" y="257556"/>
                  </a:lnTo>
                  <a:lnTo>
                    <a:pt x="97917" y="256413"/>
                  </a:lnTo>
                  <a:lnTo>
                    <a:pt x="92012" y="260318"/>
                  </a:lnTo>
                  <a:lnTo>
                    <a:pt x="91821" y="258794"/>
                  </a:lnTo>
                  <a:lnTo>
                    <a:pt x="77438" y="258985"/>
                  </a:lnTo>
                  <a:lnTo>
                    <a:pt x="75247" y="254413"/>
                  </a:lnTo>
                  <a:lnTo>
                    <a:pt x="69913" y="250317"/>
                  </a:lnTo>
                  <a:lnTo>
                    <a:pt x="67913" y="247364"/>
                  </a:lnTo>
                  <a:lnTo>
                    <a:pt x="71628" y="238887"/>
                  </a:lnTo>
                  <a:lnTo>
                    <a:pt x="74581" y="236887"/>
                  </a:lnTo>
                  <a:lnTo>
                    <a:pt x="79724" y="239459"/>
                  </a:lnTo>
                  <a:lnTo>
                    <a:pt x="83629" y="232505"/>
                  </a:lnTo>
                  <a:lnTo>
                    <a:pt x="83439" y="230981"/>
                  </a:lnTo>
                  <a:lnTo>
                    <a:pt x="81725" y="229552"/>
                  </a:lnTo>
                  <a:lnTo>
                    <a:pt x="72390" y="232315"/>
                  </a:lnTo>
                  <a:lnTo>
                    <a:pt x="70866" y="232600"/>
                  </a:lnTo>
                  <a:lnTo>
                    <a:pt x="70675" y="230981"/>
                  </a:lnTo>
                  <a:lnTo>
                    <a:pt x="79153" y="221837"/>
                  </a:lnTo>
                  <a:lnTo>
                    <a:pt x="78486" y="217170"/>
                  </a:lnTo>
                  <a:lnTo>
                    <a:pt x="74962" y="214408"/>
                  </a:lnTo>
                  <a:lnTo>
                    <a:pt x="81058" y="212026"/>
                  </a:lnTo>
                  <a:lnTo>
                    <a:pt x="75724" y="207836"/>
                  </a:lnTo>
                  <a:lnTo>
                    <a:pt x="74104" y="208121"/>
                  </a:lnTo>
                  <a:lnTo>
                    <a:pt x="63532" y="212693"/>
                  </a:lnTo>
                  <a:lnTo>
                    <a:pt x="61150" y="206502"/>
                  </a:lnTo>
                  <a:lnTo>
                    <a:pt x="57912" y="206978"/>
                  </a:lnTo>
                  <a:lnTo>
                    <a:pt x="56007" y="204025"/>
                  </a:lnTo>
                  <a:lnTo>
                    <a:pt x="52578" y="202787"/>
                  </a:lnTo>
                  <a:lnTo>
                    <a:pt x="52388" y="201263"/>
                  </a:lnTo>
                  <a:lnTo>
                    <a:pt x="48673" y="196882"/>
                  </a:lnTo>
                  <a:lnTo>
                    <a:pt x="51625" y="194881"/>
                  </a:lnTo>
                  <a:lnTo>
                    <a:pt x="52007" y="185261"/>
                  </a:lnTo>
                  <a:lnTo>
                    <a:pt x="59055" y="190786"/>
                  </a:lnTo>
                  <a:lnTo>
                    <a:pt x="63437" y="174212"/>
                  </a:lnTo>
                  <a:lnTo>
                    <a:pt x="63246" y="172593"/>
                  </a:lnTo>
                  <a:lnTo>
                    <a:pt x="50387" y="172593"/>
                  </a:lnTo>
                  <a:lnTo>
                    <a:pt x="43244" y="167068"/>
                  </a:lnTo>
                  <a:lnTo>
                    <a:pt x="39719" y="164401"/>
                  </a:lnTo>
                  <a:lnTo>
                    <a:pt x="30194" y="152781"/>
                  </a:lnTo>
                  <a:lnTo>
                    <a:pt x="30004" y="151162"/>
                  </a:lnTo>
                  <a:lnTo>
                    <a:pt x="30766" y="144685"/>
                  </a:lnTo>
                  <a:lnTo>
                    <a:pt x="29242" y="144875"/>
                  </a:lnTo>
                  <a:lnTo>
                    <a:pt x="31909" y="141256"/>
                  </a:lnTo>
                  <a:lnTo>
                    <a:pt x="31528" y="138113"/>
                  </a:lnTo>
                  <a:lnTo>
                    <a:pt x="26765" y="138779"/>
                  </a:lnTo>
                  <a:lnTo>
                    <a:pt x="26384" y="135541"/>
                  </a:lnTo>
                  <a:lnTo>
                    <a:pt x="23241" y="136017"/>
                  </a:lnTo>
                  <a:lnTo>
                    <a:pt x="21241" y="133064"/>
                  </a:lnTo>
                  <a:lnTo>
                    <a:pt x="16383" y="132016"/>
                  </a:lnTo>
                  <a:lnTo>
                    <a:pt x="15716" y="127349"/>
                  </a:lnTo>
                  <a:lnTo>
                    <a:pt x="18859" y="126873"/>
                  </a:lnTo>
                  <a:lnTo>
                    <a:pt x="23432" y="124777"/>
                  </a:lnTo>
                  <a:lnTo>
                    <a:pt x="22384" y="116872"/>
                  </a:lnTo>
                  <a:lnTo>
                    <a:pt x="33433" y="115443"/>
                  </a:lnTo>
                  <a:lnTo>
                    <a:pt x="37052" y="118205"/>
                  </a:lnTo>
                  <a:lnTo>
                    <a:pt x="38195" y="114871"/>
                  </a:lnTo>
                  <a:lnTo>
                    <a:pt x="44672" y="115633"/>
                  </a:lnTo>
                  <a:lnTo>
                    <a:pt x="44482" y="114014"/>
                  </a:lnTo>
                  <a:lnTo>
                    <a:pt x="44291" y="112490"/>
                  </a:lnTo>
                  <a:lnTo>
                    <a:pt x="44101" y="110871"/>
                  </a:lnTo>
                  <a:lnTo>
                    <a:pt x="40767" y="109728"/>
                  </a:lnTo>
                  <a:lnTo>
                    <a:pt x="41910" y="106299"/>
                  </a:lnTo>
                  <a:lnTo>
                    <a:pt x="34004" y="107347"/>
                  </a:lnTo>
                  <a:lnTo>
                    <a:pt x="33052" y="99441"/>
                  </a:lnTo>
                  <a:lnTo>
                    <a:pt x="30099" y="101441"/>
                  </a:lnTo>
                  <a:lnTo>
                    <a:pt x="24955" y="98869"/>
                  </a:lnTo>
                  <a:lnTo>
                    <a:pt x="23717" y="89440"/>
                  </a:lnTo>
                  <a:lnTo>
                    <a:pt x="20193" y="86677"/>
                  </a:lnTo>
                  <a:lnTo>
                    <a:pt x="23146" y="84677"/>
                  </a:lnTo>
                  <a:lnTo>
                    <a:pt x="19145" y="78772"/>
                  </a:lnTo>
                  <a:lnTo>
                    <a:pt x="13049" y="81153"/>
                  </a:lnTo>
                  <a:lnTo>
                    <a:pt x="8572" y="83344"/>
                  </a:lnTo>
                  <a:lnTo>
                    <a:pt x="4953" y="80581"/>
                  </a:lnTo>
                  <a:lnTo>
                    <a:pt x="667" y="84296"/>
                  </a:lnTo>
                  <a:lnTo>
                    <a:pt x="191" y="81153"/>
                  </a:lnTo>
                  <a:lnTo>
                    <a:pt x="0" y="79629"/>
                  </a:lnTo>
                  <a:lnTo>
                    <a:pt x="9334" y="76771"/>
                  </a:lnTo>
                  <a:lnTo>
                    <a:pt x="8668" y="72104"/>
                  </a:lnTo>
                  <a:lnTo>
                    <a:pt x="10096" y="70294"/>
                  </a:lnTo>
                  <a:lnTo>
                    <a:pt x="11811" y="71723"/>
                  </a:lnTo>
                  <a:lnTo>
                    <a:pt x="13621" y="73057"/>
                  </a:lnTo>
                  <a:lnTo>
                    <a:pt x="21336" y="70485"/>
                  </a:lnTo>
                  <a:lnTo>
                    <a:pt x="21146" y="68866"/>
                  </a:lnTo>
                  <a:lnTo>
                    <a:pt x="22479" y="67151"/>
                  </a:lnTo>
                  <a:lnTo>
                    <a:pt x="22670" y="68675"/>
                  </a:lnTo>
                  <a:lnTo>
                    <a:pt x="31813" y="64294"/>
                  </a:lnTo>
                  <a:lnTo>
                    <a:pt x="37909" y="61913"/>
                  </a:lnTo>
                  <a:lnTo>
                    <a:pt x="41815" y="67818"/>
                  </a:lnTo>
                  <a:lnTo>
                    <a:pt x="43244" y="66103"/>
                  </a:lnTo>
                  <a:lnTo>
                    <a:pt x="50483" y="60388"/>
                  </a:lnTo>
                  <a:lnTo>
                    <a:pt x="48292" y="55816"/>
                  </a:lnTo>
                  <a:lnTo>
                    <a:pt x="52864" y="53626"/>
                  </a:lnTo>
                  <a:lnTo>
                    <a:pt x="52483" y="50482"/>
                  </a:lnTo>
                  <a:lnTo>
                    <a:pt x="57436" y="51435"/>
                  </a:lnTo>
                  <a:lnTo>
                    <a:pt x="59150" y="52864"/>
                  </a:lnTo>
                  <a:lnTo>
                    <a:pt x="62294" y="52388"/>
                  </a:lnTo>
                  <a:lnTo>
                    <a:pt x="62960" y="57150"/>
                  </a:lnTo>
                  <a:lnTo>
                    <a:pt x="65342" y="63246"/>
                  </a:lnTo>
                  <a:lnTo>
                    <a:pt x="65913" y="68008"/>
                  </a:lnTo>
                  <a:lnTo>
                    <a:pt x="72009" y="65627"/>
                  </a:lnTo>
                  <a:lnTo>
                    <a:pt x="90011" y="68104"/>
                  </a:lnTo>
                  <a:lnTo>
                    <a:pt x="94679" y="67532"/>
                  </a:lnTo>
                  <a:lnTo>
                    <a:pt x="90392" y="58483"/>
                  </a:lnTo>
                  <a:lnTo>
                    <a:pt x="92678" y="51721"/>
                  </a:lnTo>
                  <a:lnTo>
                    <a:pt x="91154" y="51911"/>
                  </a:lnTo>
                  <a:lnTo>
                    <a:pt x="90964" y="50387"/>
                  </a:lnTo>
                  <a:lnTo>
                    <a:pt x="90107" y="44101"/>
                  </a:lnTo>
                  <a:lnTo>
                    <a:pt x="91535" y="42291"/>
                  </a:lnTo>
                  <a:lnTo>
                    <a:pt x="91059" y="39148"/>
                  </a:lnTo>
                  <a:lnTo>
                    <a:pt x="96393" y="30480"/>
                  </a:lnTo>
                  <a:lnTo>
                    <a:pt x="102965" y="31242"/>
                  </a:lnTo>
                  <a:lnTo>
                    <a:pt x="108013" y="33814"/>
                  </a:lnTo>
                  <a:lnTo>
                    <a:pt x="111252" y="33338"/>
                  </a:lnTo>
                  <a:lnTo>
                    <a:pt x="116776" y="39052"/>
                  </a:lnTo>
                  <a:lnTo>
                    <a:pt x="121253" y="36862"/>
                  </a:lnTo>
                  <a:lnTo>
                    <a:pt x="122301" y="32004"/>
                  </a:lnTo>
                  <a:lnTo>
                    <a:pt x="125635" y="33147"/>
                  </a:lnTo>
                  <a:lnTo>
                    <a:pt x="136493" y="30194"/>
                  </a:lnTo>
                  <a:lnTo>
                    <a:pt x="136493" y="30194"/>
                  </a:lnTo>
                  <a:lnTo>
                    <a:pt x="135826" y="25432"/>
                  </a:lnTo>
                  <a:lnTo>
                    <a:pt x="140779" y="26384"/>
                  </a:lnTo>
                  <a:lnTo>
                    <a:pt x="140017" y="20098"/>
                  </a:lnTo>
                  <a:lnTo>
                    <a:pt x="149828" y="22003"/>
                  </a:lnTo>
                  <a:lnTo>
                    <a:pt x="162496" y="20383"/>
                  </a:lnTo>
                  <a:lnTo>
                    <a:pt x="167259" y="19812"/>
                  </a:lnTo>
                  <a:lnTo>
                    <a:pt x="166402" y="13525"/>
                  </a:lnTo>
                  <a:lnTo>
                    <a:pt x="168021" y="13335"/>
                  </a:lnTo>
                  <a:lnTo>
                    <a:pt x="167354" y="8572"/>
                  </a:lnTo>
                  <a:lnTo>
                    <a:pt x="176879" y="7334"/>
                  </a:lnTo>
                  <a:lnTo>
                    <a:pt x="176498" y="4191"/>
                  </a:lnTo>
                  <a:lnTo>
                    <a:pt x="189452" y="5715"/>
                  </a:lnTo>
                  <a:lnTo>
                    <a:pt x="196025" y="6572"/>
                  </a:lnTo>
                  <a:lnTo>
                    <a:pt x="197167" y="3143"/>
                  </a:lnTo>
                  <a:lnTo>
                    <a:pt x="203645" y="3905"/>
                  </a:lnTo>
                  <a:lnTo>
                    <a:pt x="209645" y="0"/>
                  </a:lnTo>
                  <a:lnTo>
                    <a:pt x="214503" y="952"/>
                  </a:lnTo>
                  <a:lnTo>
                    <a:pt x="214408" y="12192"/>
                  </a:lnTo>
                  <a:lnTo>
                    <a:pt x="212788" y="12382"/>
                  </a:lnTo>
                  <a:lnTo>
                    <a:pt x="213550" y="18764"/>
                  </a:lnTo>
                  <a:lnTo>
                    <a:pt x="217932" y="14954"/>
                  </a:lnTo>
                  <a:lnTo>
                    <a:pt x="219932" y="17907"/>
                  </a:lnTo>
                  <a:lnTo>
                    <a:pt x="222885" y="15907"/>
                  </a:lnTo>
                  <a:lnTo>
                    <a:pt x="224028" y="12573"/>
                  </a:lnTo>
                  <a:lnTo>
                    <a:pt x="227838" y="16954"/>
                  </a:lnTo>
                  <a:lnTo>
                    <a:pt x="232696" y="17907"/>
                  </a:lnTo>
                  <a:lnTo>
                    <a:pt x="235077" y="24003"/>
                  </a:lnTo>
                  <a:lnTo>
                    <a:pt x="233744" y="25813"/>
                  </a:lnTo>
                  <a:lnTo>
                    <a:pt x="234505" y="32099"/>
                  </a:lnTo>
                  <a:lnTo>
                    <a:pt x="237458" y="30099"/>
                  </a:lnTo>
                  <a:lnTo>
                    <a:pt x="239268" y="31432"/>
                  </a:lnTo>
                  <a:lnTo>
                    <a:pt x="245745" y="32290"/>
                  </a:lnTo>
                  <a:lnTo>
                    <a:pt x="249936" y="26956"/>
                  </a:lnTo>
                  <a:lnTo>
                    <a:pt x="253079" y="26479"/>
                  </a:lnTo>
                  <a:lnTo>
                    <a:pt x="259556" y="27241"/>
                  </a:lnTo>
                  <a:lnTo>
                    <a:pt x="255651" y="34195"/>
                  </a:lnTo>
                  <a:lnTo>
                    <a:pt x="251079" y="36385"/>
                  </a:lnTo>
                  <a:lnTo>
                    <a:pt x="253270" y="40957"/>
                  </a:lnTo>
                  <a:lnTo>
                    <a:pt x="253460" y="42481"/>
                  </a:lnTo>
                  <a:lnTo>
                    <a:pt x="255937" y="48577"/>
                  </a:lnTo>
                  <a:lnTo>
                    <a:pt x="261461" y="54292"/>
                  </a:lnTo>
                  <a:lnTo>
                    <a:pt x="261461" y="54292"/>
                  </a:lnTo>
                  <a:lnTo>
                    <a:pt x="263366" y="57245"/>
                  </a:lnTo>
                  <a:lnTo>
                    <a:pt x="266795" y="58483"/>
                  </a:lnTo>
                  <a:lnTo>
                    <a:pt x="274415" y="55912"/>
                  </a:lnTo>
                  <a:lnTo>
                    <a:pt x="276225" y="57245"/>
                  </a:lnTo>
                  <a:lnTo>
                    <a:pt x="283940" y="54673"/>
                  </a:lnTo>
                  <a:lnTo>
                    <a:pt x="284702" y="60960"/>
                  </a:lnTo>
                  <a:lnTo>
                    <a:pt x="301085" y="63722"/>
                  </a:lnTo>
                  <a:lnTo>
                    <a:pt x="300133" y="81439"/>
                  </a:lnTo>
                  <a:lnTo>
                    <a:pt x="305467" y="85630"/>
                  </a:lnTo>
                  <a:lnTo>
                    <a:pt x="308420" y="83629"/>
                  </a:lnTo>
                  <a:lnTo>
                    <a:pt x="313563" y="86201"/>
                  </a:lnTo>
                  <a:lnTo>
                    <a:pt x="323659" y="89725"/>
                  </a:lnTo>
                  <a:lnTo>
                    <a:pt x="322326" y="91440"/>
                  </a:lnTo>
                  <a:lnTo>
                    <a:pt x="322707" y="94583"/>
                  </a:lnTo>
                  <a:lnTo>
                    <a:pt x="322707" y="94583"/>
                  </a:lnTo>
                  <a:lnTo>
                    <a:pt x="332804" y="98203"/>
                  </a:lnTo>
                  <a:lnTo>
                    <a:pt x="335185" y="104299"/>
                  </a:lnTo>
                  <a:lnTo>
                    <a:pt x="329279" y="121063"/>
                  </a:lnTo>
                  <a:lnTo>
                    <a:pt x="321374" y="122015"/>
                  </a:lnTo>
                  <a:lnTo>
                    <a:pt x="321564" y="123634"/>
                  </a:lnTo>
                  <a:lnTo>
                    <a:pt x="309563" y="130016"/>
                  </a:lnTo>
                  <a:lnTo>
                    <a:pt x="301657" y="130969"/>
                  </a:lnTo>
                  <a:lnTo>
                    <a:pt x="300323" y="132778"/>
                  </a:lnTo>
                  <a:lnTo>
                    <a:pt x="300323" y="132778"/>
                  </a:lnTo>
                  <a:lnTo>
                    <a:pt x="295561" y="133350"/>
                  </a:lnTo>
                  <a:lnTo>
                    <a:pt x="295751" y="134969"/>
                  </a:lnTo>
                  <a:lnTo>
                    <a:pt x="290798" y="133921"/>
                  </a:lnTo>
                  <a:lnTo>
                    <a:pt x="292799" y="136874"/>
                  </a:lnTo>
                  <a:lnTo>
                    <a:pt x="289846" y="138874"/>
                  </a:lnTo>
                  <a:lnTo>
                    <a:pt x="288226" y="139065"/>
                  </a:lnTo>
                  <a:lnTo>
                    <a:pt x="287655" y="147161"/>
                  </a:lnTo>
                  <a:lnTo>
                    <a:pt x="290513" y="156496"/>
                  </a:lnTo>
                  <a:lnTo>
                    <a:pt x="294989" y="154305"/>
                  </a:lnTo>
                  <a:lnTo>
                    <a:pt x="297371" y="147542"/>
                  </a:lnTo>
                  <a:lnTo>
                    <a:pt x="302705" y="151733"/>
                  </a:lnTo>
                  <a:lnTo>
                    <a:pt x="306896" y="159163"/>
                  </a:lnTo>
                  <a:lnTo>
                    <a:pt x="300514" y="160020"/>
                  </a:lnTo>
                  <a:lnTo>
                    <a:pt x="299752" y="166497"/>
                  </a:lnTo>
                  <a:lnTo>
                    <a:pt x="303943" y="174022"/>
                  </a:lnTo>
                  <a:lnTo>
                    <a:pt x="308134" y="181451"/>
                  </a:lnTo>
                  <a:lnTo>
                    <a:pt x="306896" y="184880"/>
                  </a:lnTo>
                  <a:lnTo>
                    <a:pt x="306896" y="184880"/>
                  </a:lnTo>
                  <a:lnTo>
                    <a:pt x="306896" y="184880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87315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FBAE40"/>
          </p15:clr>
        </p15:guide>
        <p15:guide id="2" pos="760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bez 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B0EA1196-9961-0CE1-CDDC-BC0A0A831348}"/>
              </a:ext>
            </a:extLst>
          </p:cNvPr>
          <p:cNvSpPr/>
          <p:nvPr userDrawn="1"/>
        </p:nvSpPr>
        <p:spPr>
          <a:xfrm>
            <a:off x="8179177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E1C24FCE-B5F4-1607-CE4C-7BB985D4D69C}"/>
              </a:ext>
            </a:extLst>
          </p:cNvPr>
          <p:cNvSpPr/>
          <p:nvPr userDrawn="1"/>
        </p:nvSpPr>
        <p:spPr>
          <a:xfrm>
            <a:off x="4008438" y="6139116"/>
            <a:ext cx="818356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1" name="Zástupný symbol obrázku 18">
            <a:extLst>
              <a:ext uri="{FF2B5EF4-FFF2-40B4-BE49-F238E27FC236}">
                <a16:creationId xmlns:a16="http://schemas.microsoft.com/office/drawing/2014/main" id="{99B66AE2-A041-66B4-7E5D-3FA96F03637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836751"/>
            <a:ext cx="7983110" cy="2266122"/>
          </a:xfrm>
        </p:spPr>
        <p:txBody>
          <a:bodyPr/>
          <a:lstStyle/>
          <a:p>
            <a:endParaRPr lang="cs-CZ" dirty="0"/>
          </a:p>
        </p:txBody>
      </p:sp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399E5915-F9E2-ACE2-F920-86F9D94E3F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18" name="Obdélník 17">
            <a:extLst>
              <a:ext uri="{FF2B5EF4-FFF2-40B4-BE49-F238E27FC236}">
                <a16:creationId xmlns:a16="http://schemas.microsoft.com/office/drawing/2014/main" id="{464757BA-A864-68A5-98E0-EE29537C5C23}"/>
              </a:ext>
            </a:extLst>
          </p:cNvPr>
          <p:cNvSpPr/>
          <p:nvPr userDrawn="1"/>
        </p:nvSpPr>
        <p:spPr>
          <a:xfrm>
            <a:off x="0" y="898082"/>
            <a:ext cx="4012822" cy="47291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0" name="Zástupný text 8">
            <a:extLst>
              <a:ext uri="{FF2B5EF4-FFF2-40B4-BE49-F238E27FC236}">
                <a16:creationId xmlns:a16="http://schemas.microsoft.com/office/drawing/2014/main" id="{E376B32F-E5DE-DC67-38D4-9F6BC06AA3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52193" y="898082"/>
            <a:ext cx="1341659" cy="472912"/>
          </a:xfrm>
        </p:spPr>
        <p:txBody>
          <a:bodyPr lIns="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sp>
        <p:nvSpPr>
          <p:cNvPr id="21" name="Podnadpis 2">
            <a:extLst>
              <a:ext uri="{FF2B5EF4-FFF2-40B4-BE49-F238E27FC236}">
                <a16:creationId xmlns:a16="http://schemas.microsoft.com/office/drawing/2014/main" id="{F4C776B3-4CCE-A58A-F1D7-0A28E6CF08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08439" y="5526157"/>
            <a:ext cx="7476890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sp>
        <p:nvSpPr>
          <p:cNvPr id="22" name="Nadpis 1">
            <a:extLst>
              <a:ext uri="{FF2B5EF4-FFF2-40B4-BE49-F238E27FC236}">
                <a16:creationId xmlns:a16="http://schemas.microsoft.com/office/drawing/2014/main" id="{EB6D2B52-8FDF-959F-1993-F3A38DC7CD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5298" y="4102873"/>
            <a:ext cx="11140867" cy="1290010"/>
          </a:xfrm>
        </p:spPr>
        <p:txBody>
          <a:bodyPr lIns="0" anchor="b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A8206657-5283-91B4-9056-621C120F4230}"/>
              </a:ext>
            </a:extLst>
          </p:cNvPr>
          <p:cNvSpPr txBox="1"/>
          <p:nvPr userDrawn="1"/>
        </p:nvSpPr>
        <p:spPr>
          <a:xfrm>
            <a:off x="4008439" y="6314450"/>
            <a:ext cx="1696075" cy="369332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pPr algn="l"/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69BBAC43-9371-0D6C-6534-F261C966CC4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59729" y="6258886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885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252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s EU bez UZ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>
            <a:extLst>
              <a:ext uri="{FF2B5EF4-FFF2-40B4-BE49-F238E27FC236}">
                <a16:creationId xmlns:a16="http://schemas.microsoft.com/office/drawing/2014/main" id="{6A8EF0F6-43FB-AB07-A428-311BF2B830A0}"/>
              </a:ext>
            </a:extLst>
          </p:cNvPr>
          <p:cNvSpPr/>
          <p:nvPr userDrawn="1"/>
        </p:nvSpPr>
        <p:spPr>
          <a:xfrm>
            <a:off x="8177370" y="6139116"/>
            <a:ext cx="4012822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40E2EF12-A587-7B4E-A1D6-438C8ADCA438}"/>
              </a:ext>
            </a:extLst>
          </p:cNvPr>
          <p:cNvSpPr txBox="1"/>
          <p:nvPr userDrawn="1"/>
        </p:nvSpPr>
        <p:spPr>
          <a:xfrm>
            <a:off x="8177370" y="6139116"/>
            <a:ext cx="1664348" cy="720000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pPr algn="l"/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A4B6F62C-6941-C1AA-2861-2912C0F7E8D1}"/>
              </a:ext>
            </a:extLst>
          </p:cNvPr>
          <p:cNvSpPr/>
          <p:nvPr userDrawn="1"/>
        </p:nvSpPr>
        <p:spPr>
          <a:xfrm>
            <a:off x="0" y="446423"/>
            <a:ext cx="4014000" cy="943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65C2995-4096-1BF2-0903-15EDC1EDC11A}"/>
              </a:ext>
            </a:extLst>
          </p:cNvPr>
          <p:cNvSpPr/>
          <p:nvPr userDrawn="1"/>
        </p:nvSpPr>
        <p:spPr>
          <a:xfrm>
            <a:off x="8177370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9" name="Zástupný symbol obrázku 18">
            <a:extLst>
              <a:ext uri="{FF2B5EF4-FFF2-40B4-BE49-F238E27FC236}">
                <a16:creationId xmlns:a16="http://schemas.microsoft.com/office/drawing/2014/main" id="{C4A030DE-C0D0-6499-028F-4647C435540B}"/>
              </a:ext>
            </a:extLst>
          </p:cNvPr>
          <p:cNvSpPr>
            <a:spLocks noGrp="1"/>
          </p:cNvSpPr>
          <p:nvPr userDrawn="1">
            <p:ph type="pic" sz="quarter" idx="11"/>
          </p:nvPr>
        </p:nvSpPr>
        <p:spPr>
          <a:xfrm>
            <a:off x="0" y="1836751"/>
            <a:ext cx="7983110" cy="2266122"/>
          </a:xfrm>
        </p:spPr>
        <p:txBody>
          <a:bodyPr/>
          <a:lstStyle/>
          <a:p>
            <a:endParaRPr lang="cs-CZ" dirty="0"/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30899DF3-D5C2-842C-B4A1-DFEEDF206D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298" y="612023"/>
            <a:ext cx="2723404" cy="612000"/>
          </a:xfrm>
          <a:prstGeom prst="rect">
            <a:avLst/>
          </a:prstGeom>
        </p:spPr>
      </p:pic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3749D040-5D15-041A-FB68-6E29C34EF8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2" name="Podnadpis 2">
            <a:extLst>
              <a:ext uri="{FF2B5EF4-FFF2-40B4-BE49-F238E27FC236}">
                <a16:creationId xmlns:a16="http://schemas.microsoft.com/office/drawing/2014/main" id="{2A49D47D-259A-61C8-4727-586212A2F4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14001" y="5526157"/>
            <a:ext cx="7440417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CF276C58-AD7A-1982-817B-ECF389FFC6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8813" y="4102873"/>
            <a:ext cx="10795606" cy="1290010"/>
          </a:xfrm>
        </p:spPr>
        <p:txBody>
          <a:bodyPr lIns="0" anchor="b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8">
            <a:extLst>
              <a:ext uri="{FF2B5EF4-FFF2-40B4-BE49-F238E27FC236}">
                <a16:creationId xmlns:a16="http://schemas.microsoft.com/office/drawing/2014/main" id="{F25E0E1C-33BF-45F7-7709-4BBC1F3FD28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850341" y="6138000"/>
            <a:ext cx="1341659" cy="719999"/>
          </a:xfrm>
        </p:spPr>
        <p:txBody>
          <a:bodyPr lIns="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2396126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2525">
          <p15:clr>
            <a:srgbClr val="FBAE40"/>
          </p15:clr>
        </p15:guide>
        <p15:guide id="4" pos="41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5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18" Type="http://schemas.openxmlformats.org/officeDocument/2006/relationships/slideLayout" Target="../slideLayouts/slideLayout70.xml"/><Relationship Id="rId3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73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20" Type="http://schemas.openxmlformats.org/officeDocument/2006/relationships/slideLayout" Target="../slideLayouts/slideLayout72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62.xml"/><Relationship Id="rId19" Type="http://schemas.openxmlformats.org/officeDocument/2006/relationships/slideLayout" Target="../slideLayouts/slideLayout71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Relationship Id="rId22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6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124D1CE7-99A5-59D1-D71F-50454BF44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BB025E9-7E49-1131-B8B0-7EE150AE78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47E6E07-5EF3-BB08-9FD6-BF5F979515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BF43EB-2E3E-4643-B8B9-DA9E5C8705F0}" type="datetimeFigureOut">
              <a:rPr lang="cs-CZ" smtClean="0"/>
              <a:t>13.05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A7-8695-DF37-F06E-6B04D8ECCC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765AB07-76F8-C621-B064-9A3DC6E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883482-ADB2-404D-AAFB-407D1911DBE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2208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708" r:id="rId5"/>
    <p:sldLayoutId id="2147483709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062889BC-EF59-49C6-5333-C71E0D6B3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5A368283-6357-58E9-66DB-349AC4528A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A190314-308A-BEB6-A115-0312B537BF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AE2421-3460-6A45-AE59-CB915AFC454F}" type="datetime1">
              <a:rPr lang="cs-CZ" smtClean="0"/>
              <a:t>13.05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2B49EBC-7138-4E1F-C67E-E6233770A0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00E08AD-49C4-D167-CC53-B843FC0704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629FD-AEF2-1E44-B061-1A1663B6583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7313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  <p:sldLayoutId id="2147483679" r:id="rId15"/>
    <p:sldLayoutId id="2147483680" r:id="rId16"/>
    <p:sldLayoutId id="2147483681" r:id="rId17"/>
    <p:sldLayoutId id="2147483682" r:id="rId18"/>
    <p:sldLayoutId id="2147483683" r:id="rId19"/>
    <p:sldLayoutId id="2147483684" r:id="rId20"/>
    <p:sldLayoutId id="2147483685" r:id="rId21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6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orient="horz" pos="3861">
          <p15:clr>
            <a:srgbClr val="F26B43"/>
          </p15:clr>
        </p15:guide>
        <p15:guide id="5" pos="721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062889BC-EF59-49C6-5333-C71E0D6B3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5A368283-6357-58E9-66DB-349AC4528A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A190314-308A-BEB6-A115-0312B537BF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AE2421-3460-6A45-AE59-CB915AFC454F}" type="datetime1">
              <a:rPr lang="cs-CZ" smtClean="0"/>
              <a:t>13.05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2B49EBC-7138-4E1F-C67E-E6233770A0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00E08AD-49C4-D167-CC53-B843FC0704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629FD-AEF2-1E44-B061-1A1663B6583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63722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05" r:id="rId19"/>
    <p:sldLayoutId id="2147483706" r:id="rId20"/>
    <p:sldLayoutId id="2147483707" r:id="rId21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6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orient="horz" pos="3861">
          <p15:clr>
            <a:srgbClr val="F26B43"/>
          </p15:clr>
        </p15:guide>
        <p15:guide id="5" pos="721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124D1CE7-99A5-59D1-D71F-50454BF44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BB025E9-7E49-1131-B8B0-7EE150AE78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47E6E07-5EF3-BB08-9FD6-BF5F979515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BF43EB-2E3E-4643-B8B9-DA9E5C8705F0}" type="datetimeFigureOut">
              <a:rPr lang="cs-CZ" smtClean="0"/>
              <a:t>13.05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A7-8695-DF37-F06E-6B04D8ECCC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765AB07-76F8-C621-B064-9A3DC6E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883482-ADB2-404D-AAFB-407D1911DBE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8674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062889BC-EF59-49C6-5333-C71E0D6B3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5A368283-6357-58E9-66DB-349AC4528A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A190314-308A-BEB6-A115-0312B537BF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AE2421-3460-6A45-AE59-CB915AFC454F}" type="datetime1">
              <a:rPr lang="cs-CZ" smtClean="0"/>
              <a:t>13.05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2B49EBC-7138-4E1F-C67E-E6233770A0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00E08AD-49C4-D167-CC53-B843FC0704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629FD-AEF2-1E44-B061-1A1663B6583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17465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  <p:sldLayoutId id="2147483733" r:id="rId18"/>
    <p:sldLayoutId id="2147483734" r:id="rId19"/>
    <p:sldLayoutId id="2147483735" r:id="rId20"/>
    <p:sldLayoutId id="2147483736" r:id="rId21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6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orient="horz" pos="3861">
          <p15:clr>
            <a:srgbClr val="F26B43"/>
          </p15:clr>
        </p15:guide>
        <p15:guide id="5" pos="7219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124D1CE7-99A5-59D1-D71F-50454BF44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BB025E9-7E49-1131-B8B0-7EE150AE78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47E6E07-5EF3-BB08-9FD6-BF5F979515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BF43EB-2E3E-4643-B8B9-DA9E5C8705F0}" type="datetimeFigureOut">
              <a:rPr lang="cs-CZ" smtClean="0"/>
              <a:t>13.05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A7-8695-DF37-F06E-6B04D8ECCC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765AB07-76F8-C621-B064-9A3DC6E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883482-ADB2-404D-AAFB-407D1911DBE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12140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g"/><Relationship Id="rId3" Type="http://schemas.openxmlformats.org/officeDocument/2006/relationships/tags" Target="../tags/tag44.xml"/><Relationship Id="rId7" Type="http://schemas.openxmlformats.org/officeDocument/2006/relationships/image" Target="../media/image35.sv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34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7" Type="http://schemas.openxmlformats.org/officeDocument/2006/relationships/chart" Target="../charts/chart11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76.xml"/><Relationship Id="rId4" Type="http://schemas.openxmlformats.org/officeDocument/2006/relationships/tags" Target="../tags/tag12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31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12" Type="http://schemas.openxmlformats.org/officeDocument/2006/relationships/chart" Target="../charts/chart13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11" Type="http://schemas.openxmlformats.org/officeDocument/2006/relationships/chart" Target="../charts/chart12.xml"/><Relationship Id="rId5" Type="http://schemas.openxmlformats.org/officeDocument/2006/relationships/tags" Target="../tags/tag128.xml"/><Relationship Id="rId10" Type="http://schemas.openxmlformats.org/officeDocument/2006/relationships/notesSlide" Target="../notesSlides/notesSlide10.xml"/><Relationship Id="rId4" Type="http://schemas.openxmlformats.org/officeDocument/2006/relationships/tags" Target="../tags/tag127.xml"/><Relationship Id="rId9" Type="http://schemas.openxmlformats.org/officeDocument/2006/relationships/slideLayout" Target="../slideLayouts/slideLayout7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3" Type="http://schemas.openxmlformats.org/officeDocument/2006/relationships/tags" Target="../tags/tag134.xml"/><Relationship Id="rId7" Type="http://schemas.openxmlformats.org/officeDocument/2006/relationships/notesSlide" Target="../notesSlides/notesSlide11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slideLayout" Target="../slideLayouts/slideLayout76.xml"/><Relationship Id="rId5" Type="http://schemas.openxmlformats.org/officeDocument/2006/relationships/tags" Target="../tags/tag136.xml"/><Relationship Id="rId4" Type="http://schemas.openxmlformats.org/officeDocument/2006/relationships/tags" Target="../tags/tag13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13" Type="http://schemas.openxmlformats.org/officeDocument/2006/relationships/chart" Target="../charts/chart16.xml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12" Type="http://schemas.openxmlformats.org/officeDocument/2006/relationships/chart" Target="../charts/chart15.xml"/><Relationship Id="rId2" Type="http://schemas.openxmlformats.org/officeDocument/2006/relationships/tags" Target="../tags/tag138.xml"/><Relationship Id="rId16" Type="http://schemas.openxmlformats.org/officeDocument/2006/relationships/chart" Target="../charts/chart19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notesSlide" Target="../notesSlides/notesSlide12.xml"/><Relationship Id="rId5" Type="http://schemas.openxmlformats.org/officeDocument/2006/relationships/tags" Target="../tags/tag141.xml"/><Relationship Id="rId15" Type="http://schemas.openxmlformats.org/officeDocument/2006/relationships/chart" Target="../charts/chart18.xml"/><Relationship Id="rId10" Type="http://schemas.openxmlformats.org/officeDocument/2006/relationships/slideLayout" Target="../slideLayouts/slideLayout76.xml"/><Relationship Id="rId4" Type="http://schemas.openxmlformats.org/officeDocument/2006/relationships/tags" Target="../tags/tag140.xml"/><Relationship Id="rId9" Type="http://schemas.openxmlformats.org/officeDocument/2006/relationships/tags" Target="../tags/tag145.xml"/><Relationship Id="rId14" Type="http://schemas.openxmlformats.org/officeDocument/2006/relationships/chart" Target="../charts/chart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5" Type="http://schemas.openxmlformats.org/officeDocument/2006/relationships/image" Target="../media/image36.jpg"/><Relationship Id="rId4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48.xml"/><Relationship Id="rId4" Type="http://schemas.openxmlformats.org/officeDocument/2006/relationships/chart" Target="../charts/chart2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chart" Target="../charts/chart23.xml"/><Relationship Id="rId5" Type="http://schemas.openxmlformats.org/officeDocument/2006/relationships/chart" Target="../charts/chart22.xml"/><Relationship Id="rId4" Type="http://schemas.openxmlformats.org/officeDocument/2006/relationships/notesSlide" Target="../notesSlides/notesSlide1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15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15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153.xml"/><Relationship Id="rId4" Type="http://schemas.openxmlformats.org/officeDocument/2006/relationships/chart" Target="../charts/chart2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154.xml"/><Relationship Id="rId4" Type="http://schemas.openxmlformats.org/officeDocument/2006/relationships/chart" Target="../charts/chart2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162.xml"/><Relationship Id="rId3" Type="http://schemas.openxmlformats.org/officeDocument/2006/relationships/tags" Target="../tags/tag157.xml"/><Relationship Id="rId7" Type="http://schemas.openxmlformats.org/officeDocument/2006/relationships/tags" Target="../tags/tag161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tags" Target="../tags/tag160.xml"/><Relationship Id="rId11" Type="http://schemas.openxmlformats.org/officeDocument/2006/relationships/chart" Target="../charts/chart26.xml"/><Relationship Id="rId5" Type="http://schemas.openxmlformats.org/officeDocument/2006/relationships/tags" Target="../tags/tag159.xml"/><Relationship Id="rId10" Type="http://schemas.openxmlformats.org/officeDocument/2006/relationships/notesSlide" Target="../notesSlides/notesSlide24.xml"/><Relationship Id="rId4" Type="http://schemas.openxmlformats.org/officeDocument/2006/relationships/tags" Target="../tags/tag158.xml"/><Relationship Id="rId9" Type="http://schemas.openxmlformats.org/officeDocument/2006/relationships/slideLayout" Target="../slideLayouts/slideLayout76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170.xml"/><Relationship Id="rId13" Type="http://schemas.openxmlformats.org/officeDocument/2006/relationships/tags" Target="../tags/tag175.xml"/><Relationship Id="rId18" Type="http://schemas.openxmlformats.org/officeDocument/2006/relationships/tags" Target="../tags/tag180.xml"/><Relationship Id="rId26" Type="http://schemas.openxmlformats.org/officeDocument/2006/relationships/chart" Target="../charts/chart28.xml"/><Relationship Id="rId3" Type="http://schemas.openxmlformats.org/officeDocument/2006/relationships/tags" Target="../tags/tag165.xml"/><Relationship Id="rId21" Type="http://schemas.openxmlformats.org/officeDocument/2006/relationships/tags" Target="../tags/tag183.xml"/><Relationship Id="rId7" Type="http://schemas.openxmlformats.org/officeDocument/2006/relationships/tags" Target="../tags/tag169.xml"/><Relationship Id="rId12" Type="http://schemas.openxmlformats.org/officeDocument/2006/relationships/tags" Target="../tags/tag174.xml"/><Relationship Id="rId17" Type="http://schemas.openxmlformats.org/officeDocument/2006/relationships/tags" Target="../tags/tag179.xml"/><Relationship Id="rId25" Type="http://schemas.openxmlformats.org/officeDocument/2006/relationships/chart" Target="../charts/chart27.xml"/><Relationship Id="rId2" Type="http://schemas.openxmlformats.org/officeDocument/2006/relationships/tags" Target="../tags/tag164.xml"/><Relationship Id="rId16" Type="http://schemas.openxmlformats.org/officeDocument/2006/relationships/tags" Target="../tags/tag178.xml"/><Relationship Id="rId20" Type="http://schemas.openxmlformats.org/officeDocument/2006/relationships/tags" Target="../tags/tag182.xml"/><Relationship Id="rId1" Type="http://schemas.openxmlformats.org/officeDocument/2006/relationships/tags" Target="../tags/tag163.xml"/><Relationship Id="rId6" Type="http://schemas.openxmlformats.org/officeDocument/2006/relationships/tags" Target="../tags/tag168.xml"/><Relationship Id="rId11" Type="http://schemas.openxmlformats.org/officeDocument/2006/relationships/tags" Target="../tags/tag173.xml"/><Relationship Id="rId24" Type="http://schemas.openxmlformats.org/officeDocument/2006/relationships/notesSlide" Target="../notesSlides/notesSlide25.xml"/><Relationship Id="rId5" Type="http://schemas.openxmlformats.org/officeDocument/2006/relationships/tags" Target="../tags/tag167.xml"/><Relationship Id="rId15" Type="http://schemas.openxmlformats.org/officeDocument/2006/relationships/tags" Target="../tags/tag177.xml"/><Relationship Id="rId23" Type="http://schemas.openxmlformats.org/officeDocument/2006/relationships/slideLayout" Target="../slideLayouts/slideLayout76.xml"/><Relationship Id="rId10" Type="http://schemas.openxmlformats.org/officeDocument/2006/relationships/tags" Target="../tags/tag172.xml"/><Relationship Id="rId19" Type="http://schemas.openxmlformats.org/officeDocument/2006/relationships/tags" Target="../tags/tag181.xml"/><Relationship Id="rId4" Type="http://schemas.openxmlformats.org/officeDocument/2006/relationships/tags" Target="../tags/tag166.xml"/><Relationship Id="rId9" Type="http://schemas.openxmlformats.org/officeDocument/2006/relationships/tags" Target="../tags/tag171.xml"/><Relationship Id="rId14" Type="http://schemas.openxmlformats.org/officeDocument/2006/relationships/tags" Target="../tags/tag176.xml"/><Relationship Id="rId22" Type="http://schemas.openxmlformats.org/officeDocument/2006/relationships/tags" Target="../tags/tag184.xml"/><Relationship Id="rId27" Type="http://schemas.openxmlformats.org/officeDocument/2006/relationships/chart" Target="../charts/chart29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192.xml"/><Relationship Id="rId3" Type="http://schemas.openxmlformats.org/officeDocument/2006/relationships/tags" Target="../tags/tag187.xml"/><Relationship Id="rId7" Type="http://schemas.openxmlformats.org/officeDocument/2006/relationships/tags" Target="../tags/tag191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tags" Target="../tags/tag190.xml"/><Relationship Id="rId11" Type="http://schemas.openxmlformats.org/officeDocument/2006/relationships/chart" Target="../charts/chart30.xml"/><Relationship Id="rId5" Type="http://schemas.openxmlformats.org/officeDocument/2006/relationships/tags" Target="../tags/tag189.xml"/><Relationship Id="rId10" Type="http://schemas.openxmlformats.org/officeDocument/2006/relationships/notesSlide" Target="../notesSlides/notesSlide26.xml"/><Relationship Id="rId4" Type="http://schemas.openxmlformats.org/officeDocument/2006/relationships/tags" Target="../tags/tag188.xml"/><Relationship Id="rId9" Type="http://schemas.openxmlformats.org/officeDocument/2006/relationships/slideLayout" Target="../slideLayouts/slideLayout7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13" Type="http://schemas.openxmlformats.org/officeDocument/2006/relationships/tags" Target="../tags/tag205.xml"/><Relationship Id="rId18" Type="http://schemas.openxmlformats.org/officeDocument/2006/relationships/tags" Target="../tags/tag210.xml"/><Relationship Id="rId26" Type="http://schemas.openxmlformats.org/officeDocument/2006/relationships/chart" Target="../charts/chart32.xml"/><Relationship Id="rId3" Type="http://schemas.openxmlformats.org/officeDocument/2006/relationships/tags" Target="../tags/tag195.xml"/><Relationship Id="rId21" Type="http://schemas.openxmlformats.org/officeDocument/2006/relationships/tags" Target="../tags/tag213.xml"/><Relationship Id="rId7" Type="http://schemas.openxmlformats.org/officeDocument/2006/relationships/tags" Target="../tags/tag199.xml"/><Relationship Id="rId12" Type="http://schemas.openxmlformats.org/officeDocument/2006/relationships/tags" Target="../tags/tag204.xml"/><Relationship Id="rId17" Type="http://schemas.openxmlformats.org/officeDocument/2006/relationships/tags" Target="../tags/tag209.xml"/><Relationship Id="rId25" Type="http://schemas.openxmlformats.org/officeDocument/2006/relationships/chart" Target="../charts/chart31.xml"/><Relationship Id="rId2" Type="http://schemas.openxmlformats.org/officeDocument/2006/relationships/tags" Target="../tags/tag194.xml"/><Relationship Id="rId16" Type="http://schemas.openxmlformats.org/officeDocument/2006/relationships/tags" Target="../tags/tag208.xml"/><Relationship Id="rId20" Type="http://schemas.openxmlformats.org/officeDocument/2006/relationships/tags" Target="../tags/tag212.xml"/><Relationship Id="rId1" Type="http://schemas.openxmlformats.org/officeDocument/2006/relationships/tags" Target="../tags/tag193.xml"/><Relationship Id="rId6" Type="http://schemas.openxmlformats.org/officeDocument/2006/relationships/tags" Target="../tags/tag198.xml"/><Relationship Id="rId11" Type="http://schemas.openxmlformats.org/officeDocument/2006/relationships/tags" Target="../tags/tag203.xml"/><Relationship Id="rId24" Type="http://schemas.openxmlformats.org/officeDocument/2006/relationships/notesSlide" Target="../notesSlides/notesSlide27.xml"/><Relationship Id="rId5" Type="http://schemas.openxmlformats.org/officeDocument/2006/relationships/tags" Target="../tags/tag197.xml"/><Relationship Id="rId15" Type="http://schemas.openxmlformats.org/officeDocument/2006/relationships/tags" Target="../tags/tag207.xml"/><Relationship Id="rId23" Type="http://schemas.openxmlformats.org/officeDocument/2006/relationships/slideLayout" Target="../slideLayouts/slideLayout76.xml"/><Relationship Id="rId10" Type="http://schemas.openxmlformats.org/officeDocument/2006/relationships/tags" Target="../tags/tag202.xml"/><Relationship Id="rId19" Type="http://schemas.openxmlformats.org/officeDocument/2006/relationships/tags" Target="../tags/tag211.xml"/><Relationship Id="rId4" Type="http://schemas.openxmlformats.org/officeDocument/2006/relationships/tags" Target="../tags/tag196.xml"/><Relationship Id="rId9" Type="http://schemas.openxmlformats.org/officeDocument/2006/relationships/tags" Target="../tags/tag201.xml"/><Relationship Id="rId14" Type="http://schemas.openxmlformats.org/officeDocument/2006/relationships/tags" Target="../tags/tag206.xml"/><Relationship Id="rId22" Type="http://schemas.openxmlformats.org/officeDocument/2006/relationships/tags" Target="../tags/tag214.xml"/><Relationship Id="rId27" Type="http://schemas.openxmlformats.org/officeDocument/2006/relationships/chart" Target="../charts/chart3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6" Type="http://schemas.openxmlformats.org/officeDocument/2006/relationships/chart" Target="../charts/chart34.xml"/><Relationship Id="rId5" Type="http://schemas.openxmlformats.org/officeDocument/2006/relationships/notesSlide" Target="../notesSlides/notesSlide28.xml"/><Relationship Id="rId4" Type="http://schemas.openxmlformats.org/officeDocument/2006/relationships/slideLayout" Target="../slideLayouts/slideLayout76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225.xml"/><Relationship Id="rId13" Type="http://schemas.openxmlformats.org/officeDocument/2006/relationships/chart" Target="../charts/chart35.xml"/><Relationship Id="rId3" Type="http://schemas.openxmlformats.org/officeDocument/2006/relationships/tags" Target="../tags/tag220.xml"/><Relationship Id="rId7" Type="http://schemas.openxmlformats.org/officeDocument/2006/relationships/tags" Target="../tags/tag224.xml"/><Relationship Id="rId12" Type="http://schemas.openxmlformats.org/officeDocument/2006/relationships/notesSlide" Target="../notesSlides/notesSlide29.xml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6" Type="http://schemas.openxmlformats.org/officeDocument/2006/relationships/tags" Target="../tags/tag223.xml"/><Relationship Id="rId11" Type="http://schemas.openxmlformats.org/officeDocument/2006/relationships/slideLayout" Target="../slideLayouts/slideLayout76.xml"/><Relationship Id="rId5" Type="http://schemas.openxmlformats.org/officeDocument/2006/relationships/tags" Target="../tags/tag222.xml"/><Relationship Id="rId10" Type="http://schemas.openxmlformats.org/officeDocument/2006/relationships/tags" Target="../tags/tag227.xml"/><Relationship Id="rId4" Type="http://schemas.openxmlformats.org/officeDocument/2006/relationships/tags" Target="../tags/tag221.xml"/><Relationship Id="rId9" Type="http://schemas.openxmlformats.org/officeDocument/2006/relationships/tags" Target="../tags/tag22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230.xml"/><Relationship Id="rId7" Type="http://schemas.openxmlformats.org/officeDocument/2006/relationships/chart" Target="../charts/chart36.xml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76.xml"/><Relationship Id="rId4" Type="http://schemas.openxmlformats.org/officeDocument/2006/relationships/tags" Target="../tags/tag231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239.xml"/><Relationship Id="rId3" Type="http://schemas.openxmlformats.org/officeDocument/2006/relationships/tags" Target="../tags/tag234.xml"/><Relationship Id="rId7" Type="http://schemas.openxmlformats.org/officeDocument/2006/relationships/tags" Target="../tags/tag238.xml"/><Relationship Id="rId12" Type="http://schemas.openxmlformats.org/officeDocument/2006/relationships/chart" Target="../charts/chart38.xml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6" Type="http://schemas.openxmlformats.org/officeDocument/2006/relationships/tags" Target="../tags/tag237.xml"/><Relationship Id="rId11" Type="http://schemas.openxmlformats.org/officeDocument/2006/relationships/chart" Target="../charts/chart37.xml"/><Relationship Id="rId5" Type="http://schemas.openxmlformats.org/officeDocument/2006/relationships/tags" Target="../tags/tag236.xml"/><Relationship Id="rId10" Type="http://schemas.openxmlformats.org/officeDocument/2006/relationships/notesSlide" Target="../notesSlides/notesSlide31.xml"/><Relationship Id="rId4" Type="http://schemas.openxmlformats.org/officeDocument/2006/relationships/tags" Target="../tags/tag235.xml"/><Relationship Id="rId9" Type="http://schemas.openxmlformats.org/officeDocument/2006/relationships/slideLayout" Target="../slideLayouts/slideLayout76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9.xml"/><Relationship Id="rId3" Type="http://schemas.openxmlformats.org/officeDocument/2006/relationships/tags" Target="../tags/tag242.xml"/><Relationship Id="rId7" Type="http://schemas.openxmlformats.org/officeDocument/2006/relationships/notesSlide" Target="../notesSlides/notesSlide32.xml"/><Relationship Id="rId2" Type="http://schemas.openxmlformats.org/officeDocument/2006/relationships/tags" Target="../tags/tag241.xml"/><Relationship Id="rId1" Type="http://schemas.openxmlformats.org/officeDocument/2006/relationships/tags" Target="../tags/tag240.xml"/><Relationship Id="rId6" Type="http://schemas.openxmlformats.org/officeDocument/2006/relationships/slideLayout" Target="../slideLayouts/slideLayout76.xml"/><Relationship Id="rId5" Type="http://schemas.openxmlformats.org/officeDocument/2006/relationships/tags" Target="../tags/tag244.xml"/><Relationship Id="rId4" Type="http://schemas.openxmlformats.org/officeDocument/2006/relationships/tags" Target="../tags/tag24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5" Type="http://schemas.openxmlformats.org/officeDocument/2006/relationships/image" Target="../media/image36.jpg"/><Relationship Id="rId4" Type="http://schemas.openxmlformats.org/officeDocument/2006/relationships/notesSlide" Target="../notesSlides/notesSlide3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247.xml"/><Relationship Id="rId4" Type="http://schemas.openxmlformats.org/officeDocument/2006/relationships/image" Target="../media/image42.sv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8.svg"/><Relationship Id="rId3" Type="http://schemas.openxmlformats.org/officeDocument/2006/relationships/tags" Target="../tags/tag250.xml"/><Relationship Id="rId7" Type="http://schemas.openxmlformats.org/officeDocument/2006/relationships/notesSlide" Target="../notesSlides/notesSlide34.xml"/><Relationship Id="rId12" Type="http://schemas.openxmlformats.org/officeDocument/2006/relationships/image" Target="../media/image47.png"/><Relationship Id="rId2" Type="http://schemas.openxmlformats.org/officeDocument/2006/relationships/tags" Target="../tags/tag249.xml"/><Relationship Id="rId1" Type="http://schemas.openxmlformats.org/officeDocument/2006/relationships/tags" Target="../tags/tag248.xml"/><Relationship Id="rId6" Type="http://schemas.openxmlformats.org/officeDocument/2006/relationships/slideLayout" Target="../slideLayouts/slideLayout36.xml"/><Relationship Id="rId11" Type="http://schemas.openxmlformats.org/officeDocument/2006/relationships/image" Target="../media/image46.svg"/><Relationship Id="rId5" Type="http://schemas.openxmlformats.org/officeDocument/2006/relationships/tags" Target="../tags/tag252.xml"/><Relationship Id="rId15" Type="http://schemas.openxmlformats.org/officeDocument/2006/relationships/image" Target="../media/image42.svg"/><Relationship Id="rId10" Type="http://schemas.openxmlformats.org/officeDocument/2006/relationships/image" Target="../media/image45.png"/><Relationship Id="rId4" Type="http://schemas.openxmlformats.org/officeDocument/2006/relationships/tags" Target="../tags/tag251.xml"/><Relationship Id="rId9" Type="http://schemas.openxmlformats.org/officeDocument/2006/relationships/image" Target="../media/image44.svg"/><Relationship Id="rId14" Type="http://schemas.openxmlformats.org/officeDocument/2006/relationships/image" Target="../media/image41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tags" Target="../tags/tag255.xml"/><Relationship Id="rId7" Type="http://schemas.openxmlformats.org/officeDocument/2006/relationships/notesSlide" Target="../notesSlides/notesSlide35.xml"/><Relationship Id="rId2" Type="http://schemas.openxmlformats.org/officeDocument/2006/relationships/tags" Target="../tags/tag254.xml"/><Relationship Id="rId1" Type="http://schemas.openxmlformats.org/officeDocument/2006/relationships/tags" Target="../tags/tag253.xml"/><Relationship Id="rId6" Type="http://schemas.openxmlformats.org/officeDocument/2006/relationships/slideLayout" Target="../slideLayouts/slideLayout37.xml"/><Relationship Id="rId5" Type="http://schemas.openxmlformats.org/officeDocument/2006/relationships/tags" Target="../tags/tag257.xml"/><Relationship Id="rId10" Type="http://schemas.openxmlformats.org/officeDocument/2006/relationships/image" Target="../media/image42.svg"/><Relationship Id="rId4" Type="http://schemas.openxmlformats.org/officeDocument/2006/relationships/tags" Target="../tags/tag256.xml"/><Relationship Id="rId9" Type="http://schemas.openxmlformats.org/officeDocument/2006/relationships/image" Target="../media/image4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chart" Target="../charts/chart1.xml"/><Relationship Id="rId5" Type="http://schemas.openxmlformats.org/officeDocument/2006/relationships/tags" Target="../tags/tag51.xml"/><Relationship Id="rId10" Type="http://schemas.openxmlformats.org/officeDocument/2006/relationships/notesSlide" Target="../notesSlides/notesSlide3.xml"/><Relationship Id="rId4" Type="http://schemas.openxmlformats.org/officeDocument/2006/relationships/tags" Target="../tags/tag50.xml"/><Relationship Id="rId9" Type="http://schemas.openxmlformats.org/officeDocument/2006/relationships/slideLayout" Target="../slideLayouts/slideLayout76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tags" Target="../tags/tag260.xml"/><Relationship Id="rId7" Type="http://schemas.openxmlformats.org/officeDocument/2006/relationships/notesSlide" Target="../notesSlides/notesSlide36.xml"/><Relationship Id="rId2" Type="http://schemas.openxmlformats.org/officeDocument/2006/relationships/tags" Target="../tags/tag259.xml"/><Relationship Id="rId1" Type="http://schemas.openxmlformats.org/officeDocument/2006/relationships/tags" Target="../tags/tag258.xml"/><Relationship Id="rId6" Type="http://schemas.openxmlformats.org/officeDocument/2006/relationships/slideLayout" Target="../slideLayouts/slideLayout37.xml"/><Relationship Id="rId11" Type="http://schemas.openxmlformats.org/officeDocument/2006/relationships/image" Target="../media/image42.svg"/><Relationship Id="rId5" Type="http://schemas.openxmlformats.org/officeDocument/2006/relationships/tags" Target="../tags/tag262.xml"/><Relationship Id="rId10" Type="http://schemas.openxmlformats.org/officeDocument/2006/relationships/image" Target="../media/image41.png"/><Relationship Id="rId4" Type="http://schemas.openxmlformats.org/officeDocument/2006/relationships/tags" Target="../tags/tag261.xml"/><Relationship Id="rId9" Type="http://schemas.openxmlformats.org/officeDocument/2006/relationships/chart" Target="../charts/chart40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tags" Target="../tags/tag265.xml"/><Relationship Id="rId7" Type="http://schemas.openxmlformats.org/officeDocument/2006/relationships/notesSlide" Target="../notesSlides/notesSlide37.xml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6" Type="http://schemas.openxmlformats.org/officeDocument/2006/relationships/slideLayout" Target="../slideLayouts/slideLayout37.xml"/><Relationship Id="rId11" Type="http://schemas.openxmlformats.org/officeDocument/2006/relationships/image" Target="../media/image42.svg"/><Relationship Id="rId5" Type="http://schemas.openxmlformats.org/officeDocument/2006/relationships/tags" Target="../tags/tag267.xml"/><Relationship Id="rId10" Type="http://schemas.openxmlformats.org/officeDocument/2006/relationships/image" Target="../media/image41.png"/><Relationship Id="rId4" Type="http://schemas.openxmlformats.org/officeDocument/2006/relationships/tags" Target="../tags/tag266.xml"/><Relationship Id="rId9" Type="http://schemas.openxmlformats.org/officeDocument/2006/relationships/chart" Target="../charts/chart41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tags" Target="../tags/tag270.xml"/><Relationship Id="rId7" Type="http://schemas.openxmlformats.org/officeDocument/2006/relationships/image" Target="../media/image41.png"/><Relationship Id="rId2" Type="http://schemas.openxmlformats.org/officeDocument/2006/relationships/tags" Target="../tags/tag269.xml"/><Relationship Id="rId1" Type="http://schemas.openxmlformats.org/officeDocument/2006/relationships/tags" Target="../tags/tag268.xml"/><Relationship Id="rId6" Type="http://schemas.openxmlformats.org/officeDocument/2006/relationships/chart" Target="../charts/chart42.xml"/><Relationship Id="rId5" Type="http://schemas.openxmlformats.org/officeDocument/2006/relationships/notesSlide" Target="../notesSlides/notesSlide38.xml"/><Relationship Id="rId4" Type="http://schemas.openxmlformats.org/officeDocument/2006/relationships/slideLayout" Target="../slideLayouts/slideLayout3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42.sv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3.xml"/><Relationship Id="rId3" Type="http://schemas.openxmlformats.org/officeDocument/2006/relationships/tags" Target="../tags/tag273.xml"/><Relationship Id="rId7" Type="http://schemas.openxmlformats.org/officeDocument/2006/relationships/image" Target="../media/image42.svg"/><Relationship Id="rId2" Type="http://schemas.openxmlformats.org/officeDocument/2006/relationships/tags" Target="../tags/tag272.xml"/><Relationship Id="rId1" Type="http://schemas.openxmlformats.org/officeDocument/2006/relationships/tags" Target="../tags/tag271.xml"/><Relationship Id="rId6" Type="http://schemas.openxmlformats.org/officeDocument/2006/relationships/image" Target="../media/image41.png"/><Relationship Id="rId5" Type="http://schemas.openxmlformats.org/officeDocument/2006/relationships/notesSlide" Target="../notesSlides/notesSlide39.xml"/><Relationship Id="rId4" Type="http://schemas.openxmlformats.org/officeDocument/2006/relationships/slideLayout" Target="../slideLayouts/slideLayout3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274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slideLayout" Target="../slideLayouts/slideLayout37.xml"/><Relationship Id="rId7" Type="http://schemas.openxmlformats.org/officeDocument/2006/relationships/image" Target="../media/image41.png"/><Relationship Id="rId2" Type="http://schemas.openxmlformats.org/officeDocument/2006/relationships/tags" Target="../tags/tag276.xml"/><Relationship Id="rId1" Type="http://schemas.openxmlformats.org/officeDocument/2006/relationships/tags" Target="../tags/tag275.xml"/><Relationship Id="rId6" Type="http://schemas.openxmlformats.org/officeDocument/2006/relationships/chart" Target="../charts/chart45.xml"/><Relationship Id="rId5" Type="http://schemas.openxmlformats.org/officeDocument/2006/relationships/chart" Target="../charts/chart44.xml"/><Relationship Id="rId4" Type="http://schemas.openxmlformats.org/officeDocument/2006/relationships/notesSlide" Target="../notesSlides/notesSlide4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78.xml"/><Relationship Id="rId1" Type="http://schemas.openxmlformats.org/officeDocument/2006/relationships/tags" Target="../tags/tag27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80.xml"/><Relationship Id="rId1" Type="http://schemas.openxmlformats.org/officeDocument/2006/relationships/tags" Target="../tags/tag279.xml"/><Relationship Id="rId4" Type="http://schemas.openxmlformats.org/officeDocument/2006/relationships/notesSlide" Target="../notesSlides/notesSlide4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18" Type="http://schemas.openxmlformats.org/officeDocument/2006/relationships/tags" Target="../tags/tag72.xml"/><Relationship Id="rId26" Type="http://schemas.openxmlformats.org/officeDocument/2006/relationships/chart" Target="../charts/chart3.xml"/><Relationship Id="rId3" Type="http://schemas.openxmlformats.org/officeDocument/2006/relationships/tags" Target="../tags/tag57.xml"/><Relationship Id="rId21" Type="http://schemas.openxmlformats.org/officeDocument/2006/relationships/tags" Target="../tags/tag75.xml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17" Type="http://schemas.openxmlformats.org/officeDocument/2006/relationships/tags" Target="../tags/tag71.xml"/><Relationship Id="rId25" Type="http://schemas.openxmlformats.org/officeDocument/2006/relationships/chart" Target="../charts/chart2.xml"/><Relationship Id="rId2" Type="http://schemas.openxmlformats.org/officeDocument/2006/relationships/tags" Target="../tags/tag56.xml"/><Relationship Id="rId16" Type="http://schemas.openxmlformats.org/officeDocument/2006/relationships/tags" Target="../tags/tag70.xml"/><Relationship Id="rId20" Type="http://schemas.openxmlformats.org/officeDocument/2006/relationships/tags" Target="../tags/tag74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24" Type="http://schemas.openxmlformats.org/officeDocument/2006/relationships/notesSlide" Target="../notesSlides/notesSlide4.xml"/><Relationship Id="rId5" Type="http://schemas.openxmlformats.org/officeDocument/2006/relationships/tags" Target="../tags/tag59.xml"/><Relationship Id="rId15" Type="http://schemas.openxmlformats.org/officeDocument/2006/relationships/tags" Target="../tags/tag69.xml"/><Relationship Id="rId23" Type="http://schemas.openxmlformats.org/officeDocument/2006/relationships/slideLayout" Target="../slideLayouts/slideLayout76.xml"/><Relationship Id="rId10" Type="http://schemas.openxmlformats.org/officeDocument/2006/relationships/tags" Target="../tags/tag64.xml"/><Relationship Id="rId19" Type="http://schemas.openxmlformats.org/officeDocument/2006/relationships/tags" Target="../tags/tag73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tags" Target="../tags/tag68.xml"/><Relationship Id="rId22" Type="http://schemas.openxmlformats.org/officeDocument/2006/relationships/tags" Target="../tags/tag76.xml"/><Relationship Id="rId27" Type="http://schemas.openxmlformats.org/officeDocument/2006/relationships/chart" Target="../charts/chart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5.xlsx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81.xml"/><Relationship Id="rId4" Type="http://schemas.openxmlformats.org/officeDocument/2006/relationships/image" Target="../media/image53.emf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6.xlsx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82.xml"/><Relationship Id="rId4" Type="http://schemas.openxmlformats.org/officeDocument/2006/relationships/image" Target="../media/image54.emf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2" Type="http://schemas.openxmlformats.org/officeDocument/2006/relationships/tags" Target="../tags/tag284.xml"/><Relationship Id="rId1" Type="http://schemas.openxmlformats.org/officeDocument/2006/relationships/tags" Target="../tags/tag283.xml"/><Relationship Id="rId5" Type="http://schemas.openxmlformats.org/officeDocument/2006/relationships/image" Target="../media/image36.jpg"/><Relationship Id="rId4" Type="http://schemas.openxmlformats.org/officeDocument/2006/relationships/notesSlide" Target="../notesSlides/notesSlide43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11" Type="http://schemas.openxmlformats.org/officeDocument/2006/relationships/chart" Target="../charts/chart5.xml"/><Relationship Id="rId5" Type="http://schemas.openxmlformats.org/officeDocument/2006/relationships/tags" Target="../tags/tag81.xml"/><Relationship Id="rId10" Type="http://schemas.openxmlformats.org/officeDocument/2006/relationships/notesSlide" Target="../notesSlides/notesSlide5.xml"/><Relationship Id="rId4" Type="http://schemas.openxmlformats.org/officeDocument/2006/relationships/tags" Target="../tags/tag80.xml"/><Relationship Id="rId9" Type="http://schemas.openxmlformats.org/officeDocument/2006/relationships/slideLayout" Target="../slideLayouts/slideLayout7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13" Type="http://schemas.openxmlformats.org/officeDocument/2006/relationships/tags" Target="../tags/tag97.xml"/><Relationship Id="rId18" Type="http://schemas.openxmlformats.org/officeDocument/2006/relationships/tags" Target="../tags/tag102.xml"/><Relationship Id="rId26" Type="http://schemas.openxmlformats.org/officeDocument/2006/relationships/chart" Target="../charts/chart7.xml"/><Relationship Id="rId3" Type="http://schemas.openxmlformats.org/officeDocument/2006/relationships/tags" Target="../tags/tag87.xml"/><Relationship Id="rId21" Type="http://schemas.openxmlformats.org/officeDocument/2006/relationships/tags" Target="../tags/tag105.xml"/><Relationship Id="rId7" Type="http://schemas.openxmlformats.org/officeDocument/2006/relationships/tags" Target="../tags/tag91.xml"/><Relationship Id="rId12" Type="http://schemas.openxmlformats.org/officeDocument/2006/relationships/tags" Target="../tags/tag96.xml"/><Relationship Id="rId17" Type="http://schemas.openxmlformats.org/officeDocument/2006/relationships/tags" Target="../tags/tag101.xml"/><Relationship Id="rId25" Type="http://schemas.openxmlformats.org/officeDocument/2006/relationships/chart" Target="../charts/chart6.xml"/><Relationship Id="rId2" Type="http://schemas.openxmlformats.org/officeDocument/2006/relationships/tags" Target="../tags/tag86.xml"/><Relationship Id="rId16" Type="http://schemas.openxmlformats.org/officeDocument/2006/relationships/tags" Target="../tags/tag100.xml"/><Relationship Id="rId20" Type="http://schemas.openxmlformats.org/officeDocument/2006/relationships/tags" Target="../tags/tag104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11" Type="http://schemas.openxmlformats.org/officeDocument/2006/relationships/tags" Target="../tags/tag95.xml"/><Relationship Id="rId24" Type="http://schemas.openxmlformats.org/officeDocument/2006/relationships/notesSlide" Target="../notesSlides/notesSlide6.xml"/><Relationship Id="rId5" Type="http://schemas.openxmlformats.org/officeDocument/2006/relationships/tags" Target="../tags/tag89.xml"/><Relationship Id="rId15" Type="http://schemas.openxmlformats.org/officeDocument/2006/relationships/tags" Target="../tags/tag99.xml"/><Relationship Id="rId23" Type="http://schemas.openxmlformats.org/officeDocument/2006/relationships/slideLayout" Target="../slideLayouts/slideLayout76.xml"/><Relationship Id="rId10" Type="http://schemas.openxmlformats.org/officeDocument/2006/relationships/tags" Target="../tags/tag94.xml"/><Relationship Id="rId19" Type="http://schemas.openxmlformats.org/officeDocument/2006/relationships/tags" Target="../tags/tag103.xml"/><Relationship Id="rId4" Type="http://schemas.openxmlformats.org/officeDocument/2006/relationships/tags" Target="../tags/tag88.xml"/><Relationship Id="rId9" Type="http://schemas.openxmlformats.org/officeDocument/2006/relationships/tags" Target="../tags/tag93.xml"/><Relationship Id="rId14" Type="http://schemas.openxmlformats.org/officeDocument/2006/relationships/tags" Target="../tags/tag98.xml"/><Relationship Id="rId22" Type="http://schemas.openxmlformats.org/officeDocument/2006/relationships/tags" Target="../tags/tag106.xml"/><Relationship Id="rId27" Type="http://schemas.openxmlformats.org/officeDocument/2006/relationships/chart" Target="../charts/char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chart" Target="../charts/chart9.xml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7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chart" Target="../charts/chart10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notesSlide" Target="../notesSlides/notesSlide8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11" Type="http://schemas.openxmlformats.org/officeDocument/2006/relationships/slideLayout" Target="../slideLayouts/slideLayout76.xml"/><Relationship Id="rId5" Type="http://schemas.openxmlformats.org/officeDocument/2006/relationships/tags" Target="../tags/tag114.xml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odnadpis 9">
            <a:extLst>
              <a:ext uri="{FF2B5EF4-FFF2-40B4-BE49-F238E27FC236}">
                <a16:creationId xmlns:a16="http://schemas.microsoft.com/office/drawing/2014/main" id="{5BE89765-13D4-FB1B-ADF4-5B9637979DE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008438" y="5132694"/>
            <a:ext cx="7451726" cy="873149"/>
          </a:xfrm>
        </p:spPr>
        <p:txBody>
          <a:bodyPr>
            <a:normAutofit lnSpcReduction="10000"/>
          </a:bodyPr>
          <a:lstStyle/>
          <a:p>
            <a:r>
              <a:rPr lang="cs-CZ" sz="1600" dirty="0"/>
              <a:t>Karel Hejduk, Ondřej Májek, Monika Ambrožová, Alena Bahenská, Michaela Cvanová, Hana Kučerová, Michaela Zapletalová, Hana Zelinková, Vladimír Bartůněk, Jan Mužík, Jiří Jarkovský, Tomáš Pavlík, Renata Chloupková, Ondřej Ngo, Ladislav Dušek</a:t>
            </a:r>
          </a:p>
        </p:txBody>
      </p:sp>
      <p:sp>
        <p:nvSpPr>
          <p:cNvPr id="9" name="Nadpis 8">
            <a:extLst>
              <a:ext uri="{FF2B5EF4-FFF2-40B4-BE49-F238E27FC236}">
                <a16:creationId xmlns:a16="http://schemas.microsoft.com/office/drawing/2014/main" id="{41528F14-CF2E-F9BB-47ED-C73A6D14EB84}"/>
              </a:ext>
            </a:extLst>
          </p:cNvPr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645298" y="4236734"/>
            <a:ext cx="11546702" cy="895960"/>
          </a:xfrm>
        </p:spPr>
        <p:txBody>
          <a:bodyPr>
            <a:noAutofit/>
          </a:bodyPr>
          <a:lstStyle/>
          <a:p>
            <a:r>
              <a:rPr lang="cs-CZ" sz="2800" b="1" dirty="0"/>
              <a:t>Epidemiologie, screening a péče o pacienty </a:t>
            </a:r>
            <a:br>
              <a:rPr lang="cs-CZ" sz="2800" b="1" dirty="0"/>
            </a:br>
            <a:r>
              <a:rPr lang="cs-CZ" sz="2800" b="1" dirty="0"/>
              <a:t>s nádorovými onemocněními v Jihočeském kraji</a:t>
            </a:r>
            <a:endParaRPr lang="en-GB" sz="2800" b="1" dirty="0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A909EB92-FA5F-71B6-C360-B47F9DC6B0E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cs-CZ" dirty="0"/>
              <a:t>13. 5. 2025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BAD32E1C-958F-5A45-AD90-DCD20CA86BDB}"/>
              </a:ext>
            </a:extLst>
          </p:cNvPr>
          <p:cNvSpPr/>
          <p:nvPr/>
        </p:nvSpPr>
        <p:spPr>
          <a:xfrm>
            <a:off x="50292" y="572779"/>
            <a:ext cx="3935921" cy="67975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5" name="Grafický objekt 14">
            <a:extLst>
              <a:ext uri="{FF2B5EF4-FFF2-40B4-BE49-F238E27FC236}">
                <a16:creationId xmlns:a16="http://schemas.microsoft.com/office/drawing/2014/main" id="{90ADBB90-76A7-2E60-8229-1EF8DB79763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5298" y="572779"/>
            <a:ext cx="2451983" cy="679758"/>
          </a:xfrm>
          <a:prstGeom prst="rect">
            <a:avLst/>
          </a:prstGeom>
        </p:spPr>
      </p:pic>
      <p:pic>
        <p:nvPicPr>
          <p:cNvPr id="6" name="Zástupný symbol obrázku 6">
            <a:extLst>
              <a:ext uri="{FF2B5EF4-FFF2-40B4-BE49-F238E27FC236}">
                <a16:creationId xmlns:a16="http://schemas.microsoft.com/office/drawing/2014/main" id="{A99C9F00-8CB1-30DC-B0A6-A8A5D23A21A3}"/>
              </a:ext>
            </a:extLst>
          </p:cNvPr>
          <p:cNvPicPr>
            <a:picLocks noGrp="1" noChangeAspect="1"/>
          </p:cNvPicPr>
          <p:nvPr>
            <p:ph type="pic" sz="quarter" idx="11"/>
            <p:custDataLst>
              <p:tags r:id="rId3"/>
            </p:custDataLst>
          </p:nvPr>
        </p:nvPicPr>
        <p:blipFill>
          <a:blip r:embed="rId8"/>
          <a:srcRect t="28733" b="28733"/>
          <a:stretch>
            <a:fillRect/>
          </a:stretch>
        </p:blipFill>
        <p:spPr>
          <a:xfrm>
            <a:off x="0" y="1836738"/>
            <a:ext cx="7983538" cy="2263775"/>
          </a:xfrm>
        </p:spPr>
      </p:pic>
    </p:spTree>
    <p:extLst>
      <p:ext uri="{BB962C8B-B14F-4D97-AF65-F5344CB8AC3E}">
        <p14:creationId xmlns:p14="http://schemas.microsoft.com/office/powerpoint/2010/main" val="42102690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délník 15">
            <a:extLst>
              <a:ext uri="{FF2B5EF4-FFF2-40B4-BE49-F238E27FC236}">
                <a16:creationId xmlns:a16="http://schemas.microsoft.com/office/drawing/2014/main" id="{08ECA76C-4649-43C8-9380-0BA5E9B3FC5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88000" y="493506"/>
            <a:ext cx="915475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droj: Národní onkologický registr, ÚZIS ČR;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lýza periody 2020–2022, všichni pacienti s diagnostikovaným onemocnění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pl-PL" alt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 "/>
                <a:ea typeface="+mn-ea"/>
                <a:cs typeface="+mn-cs"/>
              </a:rPr>
              <a:t> jsou řazeny sestupně dle 5letého přežití.</a:t>
            </a:r>
          </a:p>
        </p:txBody>
      </p:sp>
      <p:graphicFrame>
        <p:nvGraphicFramePr>
          <p:cNvPr id="5" name="Group 392">
            <a:extLst>
              <a:ext uri="{FF2B5EF4-FFF2-40B4-BE49-F238E27FC236}">
                <a16:creationId xmlns:a16="http://schemas.microsoft.com/office/drawing/2014/main" id="{E6EBBA63-5700-4BE9-B1DC-58FC1E36FAD0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1033141" y="953332"/>
          <a:ext cx="10014989" cy="5190836"/>
        </p:xfrm>
        <a:graphic>
          <a:graphicData uri="http://schemas.openxmlformats.org/drawingml/2006/table">
            <a:tbl>
              <a:tblPr/>
              <a:tblGrid>
                <a:gridCol w="31089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372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44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34421">
                  <a:extLst>
                    <a:ext uri="{9D8B030D-6E8A-4147-A177-3AD203B41FA5}">
                      <a16:colId xmlns:a16="http://schemas.microsoft.com/office/drawing/2014/main" val="3441950630"/>
                    </a:ext>
                  </a:extLst>
                </a:gridCol>
              </a:tblGrid>
              <a:tr h="826301"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</a:pPr>
                      <a:endParaRPr lang="cs-CZ" sz="1400" b="1" i="0" u="none" strike="noStrike" dirty="0">
                        <a:solidFill>
                          <a:srgbClr val="000000"/>
                        </a:solidFill>
                        <a:latin typeface="Calibri  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</a:pPr>
                      <a:endParaRPr lang="cs-CZ" sz="1400" b="1" i="0" u="none" strike="noStrike" dirty="0">
                        <a:solidFill>
                          <a:srgbClr val="000000"/>
                        </a:solidFill>
                        <a:latin typeface="Calibri  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latin typeface="Calibri  "/>
                        </a:rPr>
                        <a:t>Počet</a:t>
                      </a:r>
                      <a:r>
                        <a:rPr lang="cs-CZ" sz="14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 pacientů</a:t>
                      </a: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latin typeface="Calibri  "/>
                        </a:rPr>
                        <a:t>Relativní přežití</a:t>
                      </a:r>
                      <a:r>
                        <a:rPr lang="cs-CZ" sz="14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 (%</a:t>
                      </a:r>
                      <a:r>
                        <a:rPr lang="en-US" sz="14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)</a:t>
                      </a:r>
                      <a:r>
                        <a:rPr lang="cs-CZ" sz="14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, </a:t>
                      </a:r>
                      <a:endParaRPr lang="cs-CZ" sz="1400" b="1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1" i="0" u="none" strike="noStrike" kern="1200" dirty="0">
                        <a:solidFill>
                          <a:schemeClr val="tx1"/>
                        </a:solidFill>
                        <a:latin typeface="Calibri  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15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4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1" i="0" u="none" strike="noStrike" kern="1200" dirty="0">
                        <a:solidFill>
                          <a:schemeClr val="tx1"/>
                        </a:solidFill>
                        <a:latin typeface="Calibri  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40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9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2954692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1" i="0" u="none" strike="noStrike" kern="1200" dirty="0">
                        <a:solidFill>
                          <a:schemeClr val="tx1"/>
                        </a:solidFill>
                        <a:latin typeface="Calibri  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79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0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0590358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1" i="0" u="none" strike="noStrike" kern="1200" dirty="0">
                        <a:solidFill>
                          <a:schemeClr val="tx1"/>
                        </a:solidFill>
                        <a:latin typeface="Calibri  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33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8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5904625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0" i="0" u="none" strike="noStrike" kern="1200" dirty="0">
                        <a:solidFill>
                          <a:schemeClr val="tx1"/>
                        </a:solidFill>
                        <a:latin typeface="Calibri  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53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2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6401143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lzeňs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>
                        <a:lnSpc>
                          <a:spcPct val="100000"/>
                        </a:lnSpc>
                      </a:pP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70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.8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3545364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ardubic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>
                        <a:lnSpc>
                          <a:spcPct val="100000"/>
                        </a:lnSpc>
                      </a:pP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75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.2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3824727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cs-CZ" sz="14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Česká republika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>
                        <a:lnSpc>
                          <a:spcPct val="100000"/>
                        </a:lnSpc>
                      </a:pPr>
                      <a:endParaRPr lang="cs-CZ" sz="1400" b="1" i="0" u="none" strike="noStrike" kern="12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51 216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91.0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tředočes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>
                        <a:lnSpc>
                          <a:spcPct val="100000"/>
                        </a:lnSpc>
                      </a:pP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48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8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1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17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0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0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07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.8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0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50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8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0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6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1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1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90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.5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0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33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9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B32EF47-F251-4798-8509-3D9DC37CC8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72591" y="160258"/>
            <a:ext cx="10515600" cy="538364"/>
          </a:xfrm>
        </p:spPr>
        <p:txBody>
          <a:bodyPr>
            <a:normAutofit/>
          </a:bodyPr>
          <a:lstStyle/>
          <a:p>
            <a:r>
              <a:rPr lang="cs-CZ" dirty="0"/>
              <a:t>5leté relativní přežití pacientek se </a:t>
            </a:r>
            <a:r>
              <a:rPr lang="cs-CZ" u="sng" dirty="0"/>
              <a:t>ZN prsu</a:t>
            </a:r>
            <a:r>
              <a:rPr lang="cs-CZ" dirty="0"/>
              <a:t> dle krajů (perioda 2020–2022)</a:t>
            </a:r>
          </a:p>
        </p:txBody>
      </p:sp>
      <p:graphicFrame>
        <p:nvGraphicFramePr>
          <p:cNvPr id="14" name="Object 2">
            <a:extLst>
              <a:ext uri="{FF2B5EF4-FFF2-40B4-BE49-F238E27FC236}">
                <a16:creationId xmlns:a16="http://schemas.microsoft.com/office/drawing/2014/main" id="{389BE572-0A6D-44CB-A7E7-2A21ACAD857A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3997666" y="1118955"/>
          <a:ext cx="5634051" cy="5291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5" name="TextovéPole 20">
            <a:extLst>
              <a:ext uri="{FF2B5EF4-FFF2-40B4-BE49-F238E27FC236}">
                <a16:creationId xmlns:a16="http://schemas.microsoft.com/office/drawing/2014/main" id="{D1EA6079-E23B-4338-BC0D-0326DB5CC6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14464" y="1004108"/>
            <a:ext cx="420045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lativní 5leté přežití pacientů s C50 [%]</a:t>
            </a:r>
          </a:p>
        </p:txBody>
      </p:sp>
    </p:spTree>
    <p:extLst>
      <p:ext uri="{BB962C8B-B14F-4D97-AF65-F5344CB8AC3E}">
        <p14:creationId xmlns:p14="http://schemas.microsoft.com/office/powerpoint/2010/main" val="37433137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56DB691D-403F-F0A0-260D-66A82C70CB6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097075" y="3736091"/>
            <a:ext cx="6010274" cy="252000"/>
          </a:xfrm>
          <a:prstGeom prst="rect">
            <a:avLst/>
          </a:prstGeom>
          <a:solidFill>
            <a:srgbClr val="97BA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3015651-E51E-DFB2-E3F6-1FA548C2BDD0}"/>
              </a:ext>
            </a:extLst>
          </p:cNvPr>
          <p:cNvGraphicFramePr>
            <a:graphicFrameLocks noGrp="1"/>
          </p:cNvGraphicFramePr>
          <p:nvPr/>
        </p:nvGraphicFramePr>
        <p:xfrm>
          <a:off x="11396302" y="2430299"/>
          <a:ext cx="710855" cy="3856200"/>
        </p:xfrm>
        <a:graphic>
          <a:graphicData uri="http://schemas.openxmlformats.org/drawingml/2006/table">
            <a:tbl>
              <a:tblPr/>
              <a:tblGrid>
                <a:gridCol w="710855">
                  <a:extLst>
                    <a:ext uri="{9D8B030D-6E8A-4147-A177-3AD203B41FA5}">
                      <a16:colId xmlns:a16="http://schemas.microsoft.com/office/drawing/2014/main" val="1752176451"/>
                    </a:ext>
                  </a:extLst>
                </a:gridCol>
              </a:tblGrid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1197353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9409465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8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7272292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9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694620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5877951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7 373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*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4536518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7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1345022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7742637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214636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3013189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3833449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1307107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12266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9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169871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1283094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1D34476E-FBB5-61F3-DACF-94481BAAD7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rimární protinádorová léčba</a:t>
            </a:r>
            <a:r>
              <a:rPr lang="cs-CZ" b="1" noProof="0" dirty="0">
                <a:solidFill>
                  <a:srgbClr val="D71440"/>
                </a:solidFill>
                <a:latin typeface="+mn-lt"/>
              </a:rPr>
              <a:t> pacientek se zhoubným novotvarem prsu</a:t>
            </a:r>
            <a:r>
              <a:rPr lang="en-US" b="1" noProof="0" dirty="0">
                <a:solidFill>
                  <a:srgbClr val="D71440"/>
                </a:solidFill>
                <a:latin typeface="+mn-lt"/>
              </a:rPr>
              <a:t> </a:t>
            </a:r>
            <a:r>
              <a:rPr lang="cs-CZ" b="1" noProof="0" dirty="0">
                <a:solidFill>
                  <a:srgbClr val="D71440"/>
                </a:solidFill>
                <a:latin typeface="+mn-lt"/>
              </a:rPr>
              <a:t>(C50) v KOC a mimo KOC: </a:t>
            </a:r>
            <a:r>
              <a:rPr lang="cs-CZ" dirty="0"/>
              <a:t>dle kraje bydliště pacientky </a:t>
            </a:r>
            <a:r>
              <a:rPr lang="cs-CZ" noProof="0" dirty="0"/>
              <a:t>(2019–2023)</a:t>
            </a:r>
            <a:endParaRPr lang="cs-CZ" dirty="0"/>
          </a:p>
        </p:txBody>
      </p:sp>
      <p:sp>
        <p:nvSpPr>
          <p:cNvPr id="3" name="TextBox 6">
            <a:extLst>
              <a:ext uri="{FF2B5EF4-FFF2-40B4-BE49-F238E27FC236}">
                <a16:creationId xmlns:a16="http://schemas.microsoft.com/office/drawing/2014/main" id="{3FB2422F-E955-3264-B4AC-910935BF7E1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8000" y="864000"/>
            <a:ext cx="118625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droj dat: NOR + NRHZS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2019–2023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; primární léčba zhoubného novotvaru (ZN) prsu u žen (C50) vykázaná v datech NRHZS u novotvarů hlášených v datech NOR u dospělých pacientek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CBB92F03-3554-1A58-A134-F116B5122C2D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57150" y="1697786"/>
          <a:ext cx="6033052" cy="480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527FC453-FB7F-DE95-C8D7-E5DCD3621B8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78464" y="1236950"/>
            <a:ext cx="486396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ční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čet primárně léčených onkologických pacientek se ZN prsu podle bydliště pacientky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8F80D6C5-988C-F262-2FB3-6CA7D1A7ACAE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5896858" y="1821725"/>
          <a:ext cx="5739156" cy="46024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FC05BBB3-A990-BB84-C4C3-E250FFA5F1B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086182" y="6251635"/>
            <a:ext cx="4815144" cy="261610"/>
          </a:xfrm>
          <a:prstGeom prst="rect">
            <a:avLst/>
          </a:prstGeom>
          <a:noFill/>
          <a:ln w="19050"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*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acientky bez místa bydliště jsou v součtu za ČR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zahrnuty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8A273CE7-A85F-51F3-BCA8-1C564706FAE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090202" y="5029946"/>
            <a:ext cx="6010274" cy="252000"/>
          </a:xfrm>
          <a:prstGeom prst="rect">
            <a:avLst/>
          </a:prstGeom>
          <a:noFill/>
          <a:ln w="19050">
            <a:solidFill>
              <a:srgbClr val="2E5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DAB78114-CEA3-3F58-69A2-1696D4D3B612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27858" y="3820139"/>
            <a:ext cx="5472000" cy="270000"/>
          </a:xfrm>
          <a:prstGeom prst="rect">
            <a:avLst/>
          </a:prstGeom>
          <a:noFill/>
          <a:ln w="19050">
            <a:solidFill>
              <a:srgbClr val="2E5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A6F94202-D27A-4048-9A15-FCEF04A7B7D1}"/>
              </a:ext>
            </a:extLst>
          </p:cNvPr>
          <p:cNvSpPr txBox="1"/>
          <p:nvPr/>
        </p:nvSpPr>
        <p:spPr>
          <a:xfrm>
            <a:off x="6704228" y="1236950"/>
            <a:ext cx="479705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primárně léčených onkologických pacientek se ZN prsu podle bydliště pacientky</a:t>
            </a:r>
          </a:p>
        </p:txBody>
      </p:sp>
    </p:spTree>
    <p:extLst>
      <p:ext uri="{BB962C8B-B14F-4D97-AF65-F5344CB8AC3E}">
        <p14:creationId xmlns:p14="http://schemas.microsoft.com/office/powerpoint/2010/main" val="31642239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7F4CB2-FFE9-8E41-D5D0-96615FE744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Onkologické pacientky se </a:t>
            </a:r>
            <a:r>
              <a:rPr lang="cs-CZ" sz="2400" u="sng" dirty="0"/>
              <a:t>ZN prsu </a:t>
            </a:r>
            <a:r>
              <a:rPr lang="cs-CZ" sz="2400" dirty="0"/>
              <a:t>s konzultací multidisciplinárního týmu (MDT)</a:t>
            </a:r>
          </a:p>
        </p:txBody>
      </p:sp>
      <p:sp>
        <p:nvSpPr>
          <p:cNvPr id="3" name="TextBox 6">
            <a:extLst>
              <a:ext uri="{FF2B5EF4-FFF2-40B4-BE49-F238E27FC236}">
                <a16:creationId xmlns:a16="http://schemas.microsoft.com/office/drawing/2014/main" id="{310C877F-A6B0-28BD-CD16-6B14EA31243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88000" y="540000"/>
            <a:ext cx="10405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droj dat: NRHZS + NOR; kód 51881 = MULTIDISCIPLINÁRNÍ INDIKAČNÍ SEMINÁŘ K URČENÍ OPTIMÁLNÍHO ZPŮSOBU LÉČBY U NEMOCNÝCH SE ZHOUBNÝM ONKOLOGICKÝM ONEMOCNĚNÍM</a:t>
            </a:r>
          </a:p>
        </p:txBody>
      </p:sp>
      <p:graphicFrame>
        <p:nvGraphicFramePr>
          <p:cNvPr id="4" name="Chart 4">
            <a:extLst>
              <a:ext uri="{FF2B5EF4-FFF2-40B4-BE49-F238E27FC236}">
                <a16:creationId xmlns:a16="http://schemas.microsoft.com/office/drawing/2014/main" id="{C04934D6-6E59-B163-430F-DB42E467764A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053526" y="1219767"/>
          <a:ext cx="7865884" cy="4597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11531D73-80F4-DD26-25DE-D83CCDEB9FA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72590" y="1521432"/>
            <a:ext cx="3347303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pacientek, které měly v daném roce </a:t>
            </a:r>
            <a:b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agnostikován zhoubný novotvar prsu (C50) </a:t>
            </a: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NOR </a:t>
            </a:r>
            <a:b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zároveň měly vykázaný výkon konzultace MDT*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6E82D288-36BA-8E62-28D6-6BBA48271A0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39913" y="6000912"/>
            <a:ext cx="1066498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Sledujeme konzultace MDT vykázané max. 93 dní před datem diagnózy a max. 370 dní po datu diagnózy v NOR</a:t>
            </a:r>
          </a:p>
        </p:txBody>
      </p:sp>
      <p:grpSp>
        <p:nvGrpSpPr>
          <p:cNvPr id="7" name="Skupina 6">
            <a:extLst>
              <a:ext uri="{FF2B5EF4-FFF2-40B4-BE49-F238E27FC236}">
                <a16:creationId xmlns:a16="http://schemas.microsoft.com/office/drawing/2014/main" id="{F43506BE-BDCC-65C3-5FF3-8C02051185FD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5228436" y="1225169"/>
            <a:ext cx="4094673" cy="215444"/>
            <a:chOff x="848492" y="1079898"/>
            <a:chExt cx="4094673" cy="215444"/>
          </a:xfrm>
        </p:grpSpPr>
        <p:sp>
          <p:nvSpPr>
            <p:cNvPr id="8" name="TextovéPole 7">
              <a:extLst>
                <a:ext uri="{FF2B5EF4-FFF2-40B4-BE49-F238E27FC236}">
                  <a16:creationId xmlns:a16="http://schemas.microsoft.com/office/drawing/2014/main" id="{725EE07E-4458-4FEE-F858-53F5965280D9}"/>
                </a:ext>
              </a:extLst>
            </p:cNvPr>
            <p:cNvSpPr txBox="1"/>
            <p:nvPr/>
          </p:nvSpPr>
          <p:spPr>
            <a:xfrm>
              <a:off x="1088773" y="1079898"/>
              <a:ext cx="3854392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ihočeský kraj	Česká republika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Obdélník 10">
              <a:extLst>
                <a:ext uri="{FF2B5EF4-FFF2-40B4-BE49-F238E27FC236}">
                  <a16:creationId xmlns:a16="http://schemas.microsoft.com/office/drawing/2014/main" id="{79E7F03F-08BC-4639-FC05-326518990B2A}"/>
                </a:ext>
              </a:extLst>
            </p:cNvPr>
            <p:cNvSpPr/>
            <p:nvPr/>
          </p:nvSpPr>
          <p:spPr>
            <a:xfrm>
              <a:off x="848492" y="1121488"/>
              <a:ext cx="144000" cy="144000"/>
            </a:xfrm>
            <a:prstGeom prst="rect">
              <a:avLst/>
            </a:prstGeom>
            <a:solidFill>
              <a:srgbClr val="6598C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B8B5EA82-A0B1-A621-13D3-B1CC318E1270}"/>
                </a:ext>
              </a:extLst>
            </p:cNvPr>
            <p:cNvSpPr/>
            <p:nvPr/>
          </p:nvSpPr>
          <p:spPr>
            <a:xfrm>
              <a:off x="2724704" y="1121488"/>
              <a:ext cx="144000" cy="144000"/>
            </a:xfrm>
            <a:prstGeom prst="rect">
              <a:avLst/>
            </a:prstGeom>
            <a:solidFill>
              <a:srgbClr val="2E598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98323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E1F1CBD8-F02C-F2E8-CCE7-F6AA3A2A495A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223765" y="3877357"/>
          <a:ext cx="3768970" cy="19212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5" name="Chart 4">
            <a:extLst>
              <a:ext uri="{FF2B5EF4-FFF2-40B4-BE49-F238E27FC236}">
                <a16:creationId xmlns:a16="http://schemas.microsoft.com/office/drawing/2014/main" id="{E626AD5B-77CE-74BA-B62E-5A694E1389F5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359870" y="3876675"/>
          <a:ext cx="3768970" cy="19219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8A64D854-E6E8-7E6F-540B-311AF771E974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8148082" y="1841095"/>
          <a:ext cx="3768970" cy="19542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4" name="Chart 4">
            <a:extLst>
              <a:ext uri="{FF2B5EF4-FFF2-40B4-BE49-F238E27FC236}">
                <a16:creationId xmlns:a16="http://schemas.microsoft.com/office/drawing/2014/main" id="{CF8F0BBD-AB55-E270-84A0-531FE82109FF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4211515" y="1871028"/>
          <a:ext cx="3768970" cy="19219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4" name="Obdélník 23">
            <a:extLst>
              <a:ext uri="{FF2B5EF4-FFF2-40B4-BE49-F238E27FC236}">
                <a16:creationId xmlns:a16="http://schemas.microsoft.com/office/drawing/2014/main" id="{AC1F86DF-CF9B-C693-B478-D22B18FC1B67}"/>
              </a:ext>
            </a:extLst>
          </p:cNvPr>
          <p:cNvSpPr/>
          <p:nvPr/>
        </p:nvSpPr>
        <p:spPr>
          <a:xfrm>
            <a:off x="8519639" y="4899522"/>
            <a:ext cx="1219925" cy="213207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3B178C8D-FDE2-4FAE-2E25-F738FC5A7D15}"/>
              </a:ext>
            </a:extLst>
          </p:cNvPr>
          <p:cNvSpPr txBox="1"/>
          <p:nvPr/>
        </p:nvSpPr>
        <p:spPr>
          <a:xfrm>
            <a:off x="8591639" y="4909209"/>
            <a:ext cx="3069318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77F4CB2-FFE9-8E41-D5D0-96615FE744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Onkologické pacientky se </a:t>
            </a:r>
            <a:r>
              <a:rPr lang="cs-CZ" sz="2400" u="sng" dirty="0"/>
              <a:t>ZN prsu </a:t>
            </a:r>
            <a:r>
              <a:rPr lang="cs-CZ" sz="2400" dirty="0"/>
              <a:t>s konzultací multidisciplinárního týmu (MDT)</a:t>
            </a:r>
          </a:p>
        </p:txBody>
      </p:sp>
      <p:sp>
        <p:nvSpPr>
          <p:cNvPr id="3" name="TextBox 6">
            <a:extLst>
              <a:ext uri="{FF2B5EF4-FFF2-40B4-BE49-F238E27FC236}">
                <a16:creationId xmlns:a16="http://schemas.microsoft.com/office/drawing/2014/main" id="{310C877F-A6B0-28BD-CD16-6B14EA31243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88000" y="540000"/>
            <a:ext cx="104907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droj dat: NRHZS + NOR; kód 51881 = MULTIDISCIPLINÁRNÍ INDIKAČNÍ SEMINÁŘ K URČENÍ OPTIMÁLNÍHO ZPŮSOBU LÉČBY U NEMOCNÝCH SE ZHOUBNÝM ONKOLOGICKÝM ONEMOCNĚNÍM</a:t>
            </a:r>
          </a:p>
        </p:txBody>
      </p:sp>
      <p:sp>
        <p:nvSpPr>
          <p:cNvPr id="7" name="TextovéPole 4">
            <a:extLst>
              <a:ext uri="{FF2B5EF4-FFF2-40B4-BE49-F238E27FC236}">
                <a16:creationId xmlns:a16="http://schemas.microsoft.com/office/drawing/2014/main" id="{565C59F1-D815-E7C0-AAFC-4F02F4783A8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72591" y="930882"/>
            <a:ext cx="116444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pacientek, které měly v daném roce </a:t>
            </a: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agnostikován zhoubný novotvar prsu (C50) </a:t>
            </a: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NOR </a:t>
            </a:r>
            <a:b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zároveň měly vykázaný výkon konzultace MDT*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98AABB64-ED13-5404-6126-9BB7AF3BD80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339913" y="6000912"/>
            <a:ext cx="1066498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Sledujeme konzultace MDT vykázané max. 93 dní před datem diagnózy a max. 370 dní po datu diagnózy v NOR</a:t>
            </a:r>
          </a:p>
        </p:txBody>
      </p:sp>
      <p:graphicFrame>
        <p:nvGraphicFramePr>
          <p:cNvPr id="9" name="Chart 4">
            <a:extLst>
              <a:ext uri="{FF2B5EF4-FFF2-40B4-BE49-F238E27FC236}">
                <a16:creationId xmlns:a16="http://schemas.microsoft.com/office/drawing/2014/main" id="{60148A20-4160-1DE4-601B-821CB039E7B9}"/>
              </a:ext>
            </a:extLst>
          </p:cNvPr>
          <p:cNvGraphicFramePr/>
          <p:nvPr>
            <p:custDataLst>
              <p:tags r:id="rId8"/>
            </p:custDataLst>
          </p:nvPr>
        </p:nvGraphicFramePr>
        <p:xfrm>
          <a:off x="345831" y="1871028"/>
          <a:ext cx="3768970" cy="19219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pSp>
        <p:nvGrpSpPr>
          <p:cNvPr id="10" name="Skupina 9">
            <a:extLst>
              <a:ext uri="{FF2B5EF4-FFF2-40B4-BE49-F238E27FC236}">
                <a16:creationId xmlns:a16="http://schemas.microsoft.com/office/drawing/2014/main" id="{07D822D5-3FA2-1871-67FA-2FF13ECD5A63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8591639" y="4634210"/>
            <a:ext cx="3806411" cy="184666"/>
            <a:chOff x="1088773" y="944455"/>
            <a:chExt cx="3806411" cy="184666"/>
          </a:xfrm>
        </p:grpSpPr>
        <p:sp>
          <p:nvSpPr>
            <p:cNvPr id="11" name="TextovéPole 10">
              <a:extLst>
                <a:ext uri="{FF2B5EF4-FFF2-40B4-BE49-F238E27FC236}">
                  <a16:creationId xmlns:a16="http://schemas.microsoft.com/office/drawing/2014/main" id="{152DDAED-03CD-CEEF-C776-EC3F8C8B26C2}"/>
                </a:ext>
              </a:extLst>
            </p:cNvPr>
            <p:cNvSpPr txBox="1"/>
            <p:nvPr/>
          </p:nvSpPr>
          <p:spPr>
            <a:xfrm>
              <a:off x="1088773" y="944455"/>
              <a:ext cx="2196552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adium:         </a:t>
              </a: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</a:t>
              </a:r>
              <a:r>
                <a:rPr kumimoji="0" lang="cs-CZ" sz="12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        </a:t>
              </a: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</a:t>
              </a:r>
              <a:r>
                <a:rPr kumimoji="0" lang="cs-CZ" sz="12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        </a:t>
              </a: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3</a:t>
              </a:r>
              <a:r>
                <a:rPr kumimoji="0" lang="cs-CZ" sz="12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        </a:t>
              </a: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4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A2397FB6-71FD-42F7-4AF2-1190C08A08A1}"/>
                </a:ext>
              </a:extLst>
            </p:cNvPr>
            <p:cNvSpPr/>
            <p:nvPr/>
          </p:nvSpPr>
          <p:spPr>
            <a:xfrm>
              <a:off x="2938412" y="971810"/>
              <a:ext cx="144000" cy="144000"/>
            </a:xfrm>
            <a:prstGeom prst="rect">
              <a:avLst/>
            </a:pr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Obdélník 12">
              <a:extLst>
                <a:ext uri="{FF2B5EF4-FFF2-40B4-BE49-F238E27FC236}">
                  <a16:creationId xmlns:a16="http://schemas.microsoft.com/office/drawing/2014/main" id="{D01C3C5D-1846-F23F-14DF-039DF06E0336}"/>
                </a:ext>
              </a:extLst>
            </p:cNvPr>
            <p:cNvSpPr/>
            <p:nvPr/>
          </p:nvSpPr>
          <p:spPr>
            <a:xfrm>
              <a:off x="2584010" y="971810"/>
              <a:ext cx="144000" cy="144000"/>
            </a:xfrm>
            <a:prstGeom prst="rect">
              <a:avLst/>
            </a:prstGeom>
            <a:solidFill>
              <a:srgbClr val="FFC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9F2B522E-E07B-1E03-27BF-3B1C130C4B10}"/>
                </a:ext>
              </a:extLst>
            </p:cNvPr>
            <p:cNvSpPr/>
            <p:nvPr/>
          </p:nvSpPr>
          <p:spPr>
            <a:xfrm>
              <a:off x="2164698" y="971810"/>
              <a:ext cx="144000" cy="144000"/>
            </a:xfrm>
            <a:prstGeom prst="rect">
              <a:avLst/>
            </a:prstGeom>
            <a:solidFill>
              <a:srgbClr val="92D05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Obdélník 14">
              <a:extLst>
                <a:ext uri="{FF2B5EF4-FFF2-40B4-BE49-F238E27FC236}">
                  <a16:creationId xmlns:a16="http://schemas.microsoft.com/office/drawing/2014/main" id="{EC0679E9-530F-E286-0E53-6496765C8A0D}"/>
                </a:ext>
              </a:extLst>
            </p:cNvPr>
            <p:cNvSpPr/>
            <p:nvPr/>
          </p:nvSpPr>
          <p:spPr>
            <a:xfrm>
              <a:off x="1779021" y="971810"/>
              <a:ext cx="144000" cy="144000"/>
            </a:xfrm>
            <a:prstGeom prst="rect">
              <a:avLst/>
            </a:prstGeom>
            <a:solidFill>
              <a:srgbClr val="00B0F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Obdélník 15">
              <a:extLst>
                <a:ext uri="{FF2B5EF4-FFF2-40B4-BE49-F238E27FC236}">
                  <a16:creationId xmlns:a16="http://schemas.microsoft.com/office/drawing/2014/main" id="{53C20F1F-374B-580C-691C-C0805C7D4531}"/>
                </a:ext>
              </a:extLst>
            </p:cNvPr>
            <p:cNvSpPr/>
            <p:nvPr/>
          </p:nvSpPr>
          <p:spPr>
            <a:xfrm>
              <a:off x="3275872" y="971810"/>
              <a:ext cx="144000" cy="144000"/>
            </a:xfrm>
            <a:prstGeom prst="rect">
              <a:avLst/>
            </a:prstGeom>
            <a:solidFill>
              <a:srgbClr val="7F7F7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4BCCEE46-EE3B-C84D-7C13-2645E862DF00}"/>
                </a:ext>
              </a:extLst>
            </p:cNvPr>
            <p:cNvSpPr txBox="1"/>
            <p:nvPr/>
          </p:nvSpPr>
          <p:spPr>
            <a:xfrm>
              <a:off x="3480440" y="944455"/>
              <a:ext cx="1414744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eznámo</a:t>
              </a:r>
            </a:p>
          </p:txBody>
        </p:sp>
      </p:grp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2CAAAE7D-9834-4A7F-1EF4-F55F33358681}"/>
              </a:ext>
            </a:extLst>
          </p:cNvPr>
          <p:cNvSpPr txBox="1"/>
          <p:nvPr/>
        </p:nvSpPr>
        <p:spPr>
          <a:xfrm>
            <a:off x="8591639" y="4308423"/>
            <a:ext cx="3069318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ihočeský</a:t>
            </a:r>
            <a:r>
              <a:rPr kumimoji="0" lang="cs-CZ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raj</a:t>
            </a:r>
          </a:p>
        </p:txBody>
      </p:sp>
    </p:spTree>
    <p:extLst>
      <p:ext uri="{BB962C8B-B14F-4D97-AF65-F5344CB8AC3E}">
        <p14:creationId xmlns:p14="http://schemas.microsoft.com/office/powerpoint/2010/main" val="18074456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Zástupný obsah 15">
            <a:extLst>
              <a:ext uri="{FF2B5EF4-FFF2-40B4-BE49-F238E27FC236}">
                <a16:creationId xmlns:a16="http://schemas.microsoft.com/office/drawing/2014/main" id="{2ACC9901-C076-6976-D0A7-2E8E217E816E}"/>
              </a:ext>
            </a:extLst>
          </p:cNvPr>
          <p:cNvGraphicFramePr>
            <a:graphicFrameLocks/>
          </p:cNvGraphicFramePr>
          <p:nvPr/>
        </p:nvGraphicFramePr>
        <p:xfrm>
          <a:off x="-13940" y="2671518"/>
          <a:ext cx="10599254" cy="2893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7" name="Obdélník 26">
            <a:extLst>
              <a:ext uri="{FF2B5EF4-FFF2-40B4-BE49-F238E27FC236}">
                <a16:creationId xmlns:a16="http://schemas.microsoft.com/office/drawing/2014/main" id="{60D0EF43-B3CB-25DA-08D3-D4625B361BB6}"/>
              </a:ext>
            </a:extLst>
          </p:cNvPr>
          <p:cNvSpPr/>
          <p:nvPr/>
        </p:nvSpPr>
        <p:spPr>
          <a:xfrm>
            <a:off x="4405156" y="1944190"/>
            <a:ext cx="4852366" cy="142499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C889B692-A36D-2C37-331C-981A16A7B468}"/>
              </a:ext>
            </a:extLst>
          </p:cNvPr>
          <p:cNvSpPr txBox="1"/>
          <p:nvPr/>
        </p:nvSpPr>
        <p:spPr>
          <a:xfrm>
            <a:off x="4465061" y="1922638"/>
            <a:ext cx="515761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ukce </a:t>
            </a:r>
            <a:r>
              <a:rPr kumimoji="0" lang="cs-CZ" sz="11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LP Jihočeského</a:t>
            </a:r>
            <a:r>
              <a:rPr lang="cs-CZ" sz="1100" b="1">
                <a:latin typeface="Calibri" panose="020F0502020204030204"/>
              </a:rPr>
              <a:t> </a:t>
            </a: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 tvoří 5 % produkce celé ČR:</a:t>
            </a:r>
          </a:p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. </a:t>
            </a: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mocnice České Budějovice, a.s. </a:t>
            </a:r>
            <a:r>
              <a:rPr lang="pl-PL" sz="1100" dirty="0">
                <a:latin typeface="Calibri" panose="020F0502020204030204"/>
              </a:rPr>
              <a:t>		237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ýkonů/rok</a:t>
            </a:r>
          </a:p>
          <a:p>
            <a:pPr marL="108000" lvl="1">
              <a:defRPr/>
            </a:pPr>
            <a:r>
              <a:rPr lang="pl-PL" sz="1100" dirty="0">
                <a:latin typeface="Calibri" panose="020F0502020204030204"/>
              </a:rPr>
              <a:t>43. Nemocnice Písek, a.s.			51 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konů/rok</a:t>
            </a:r>
          </a:p>
          <a:p>
            <a:pPr marL="108000" lvl="1"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2. Nemocnice Prachatice, a.s.		33 výkonů/rok</a:t>
            </a:r>
          </a:p>
          <a:p>
            <a:pPr marL="108000" lvl="1"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3. Nemocnice Český Krumlov, a.s.		28 výkonů/rok</a:t>
            </a:r>
          </a:p>
          <a:p>
            <a:pPr marL="108000" lvl="1"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8. Nemocnice Jindřichův Hradec, a.s.		16 výkonů/rok</a:t>
            </a:r>
          </a:p>
          <a:p>
            <a:pPr marL="108000" lvl="1"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6. Nemocnice Tábor, a.s.			8 výkonů/rok</a:t>
            </a:r>
          </a:p>
          <a:p>
            <a:pPr marL="108000" lvl="1"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9. Nemocnice Strakonice, a.s.		6 výkonů/rok</a:t>
            </a:r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9B3B291C-11E8-497B-B272-A9C42B5C36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796562" cy="538364"/>
          </a:xfrm>
        </p:spPr>
        <p:txBody>
          <a:bodyPr>
            <a:normAutofit fontScale="90000"/>
          </a:bodyPr>
          <a:lstStyle/>
          <a:p>
            <a:r>
              <a:rPr lang="cs-CZ" sz="2400" dirty="0" err="1"/>
              <a:t>Mammární</a:t>
            </a:r>
            <a:r>
              <a:rPr lang="cs-CZ" sz="2400" dirty="0"/>
              <a:t> chirurgie – průměrný roční počet HP s resekčním výkonem* na prsu pro ZN prsu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C7F993E-FCC9-4099-8F7A-5F1764D17104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54546" y="1390624"/>
            <a:ext cx="10515600" cy="855662"/>
          </a:xfrm>
        </p:spPr>
        <p:txBody>
          <a:bodyPr>
            <a:noAutofit/>
          </a:bodyPr>
          <a:lstStyle/>
          <a:p>
            <a:pPr marL="265113" lvl="1" indent="-265113">
              <a:lnSpc>
                <a:spcPct val="100000"/>
              </a:lnSpc>
              <a:spcBef>
                <a:spcPts val="0"/>
              </a:spcBef>
              <a:buSzPct val="100000"/>
            </a:pPr>
            <a:r>
              <a:rPr lang="cs-CZ" sz="1400" dirty="0"/>
              <a:t>Během let 2018-2022 je zaznamenáno celkem 99 PALP, ve kterých byla realizována alespoň 1 hospitalizace s resekčním výkonem na prsu pro ZN prsu. U 77 % poskytovatelů (N</a:t>
            </a:r>
            <a:r>
              <a:rPr lang="cs-CZ" sz="1400" baseline="-25000" dirty="0"/>
              <a:t>PALP</a:t>
            </a:r>
            <a:r>
              <a:rPr lang="cs-CZ" sz="1400" dirty="0"/>
              <a:t> = 76) je v průměru ročně méně než 100 hospitalizací, u 57 % (N</a:t>
            </a:r>
            <a:r>
              <a:rPr lang="cs-CZ" sz="1400" baseline="-25000" dirty="0"/>
              <a:t>PALP</a:t>
            </a:r>
            <a:r>
              <a:rPr lang="cs-CZ" sz="1400" dirty="0"/>
              <a:t> = 56) pak méně než 50 hospitalizací.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A008C308-354F-49A3-A147-A26AE51921C9}"/>
              </a:ext>
            </a:extLst>
          </p:cNvPr>
          <p:cNvSpPr txBox="1"/>
          <p:nvPr/>
        </p:nvSpPr>
        <p:spPr>
          <a:xfrm>
            <a:off x="3609681" y="5481764"/>
            <a:ext cx="37433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dnotliví PALP seřazení dle počtu HP </a:t>
            </a:r>
          </a:p>
        </p:txBody>
      </p:sp>
      <p:sp>
        <p:nvSpPr>
          <p:cNvPr id="21" name="Zástupný obsah 2">
            <a:extLst>
              <a:ext uri="{FF2B5EF4-FFF2-40B4-BE49-F238E27FC236}">
                <a16:creationId xmlns:a16="http://schemas.microsoft.com/office/drawing/2014/main" id="{F7BCC83D-41E4-48E6-9BAD-3A9B39C71102}"/>
              </a:ext>
            </a:extLst>
          </p:cNvPr>
          <p:cNvSpPr txBox="1">
            <a:spLocks/>
          </p:cNvSpPr>
          <p:nvPr/>
        </p:nvSpPr>
        <p:spPr>
          <a:xfrm>
            <a:off x="754546" y="804502"/>
            <a:ext cx="10515600" cy="5760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spcBef>
                <a:spcPts val="0"/>
              </a:spcBef>
              <a:buSzPct val="100000"/>
              <a:buNone/>
            </a:pPr>
            <a:r>
              <a:rPr lang="cs-CZ" sz="1400" b="1" dirty="0">
                <a:solidFill>
                  <a:prstClr val="black"/>
                </a:solidFill>
              </a:rPr>
              <a:t>Hodnocené období</a:t>
            </a:r>
            <a:r>
              <a:rPr lang="cs-CZ" sz="1400" dirty="0">
                <a:solidFill>
                  <a:prstClr val="black"/>
                </a:solidFill>
              </a:rPr>
              <a:t>: roky 2018-2022; </a:t>
            </a:r>
            <a:r>
              <a:rPr lang="cs-CZ" sz="1400" b="1" dirty="0">
                <a:solidFill>
                  <a:prstClr val="black"/>
                </a:solidFill>
              </a:rPr>
              <a:t>Zdroj dat</a:t>
            </a:r>
            <a:r>
              <a:rPr lang="cs-CZ" sz="1400" dirty="0">
                <a:solidFill>
                  <a:prstClr val="black"/>
                </a:solidFill>
              </a:rPr>
              <a:t>: Data NRHZS; </a:t>
            </a:r>
            <a:r>
              <a:rPr lang="cs-CZ" sz="1400" b="1" dirty="0">
                <a:solidFill>
                  <a:prstClr val="black"/>
                </a:solidFill>
              </a:rPr>
              <a:t>Hodnocený soubor</a:t>
            </a:r>
            <a:r>
              <a:rPr lang="cs-CZ" sz="1400" dirty="0">
                <a:solidFill>
                  <a:prstClr val="black"/>
                </a:solidFill>
              </a:rPr>
              <a:t>: všechny hospitalizace z DRG bází 09-I06, 09-I07 nebo 09-I09*, u kterých byl na pozici hlavní dg. identifikován </a:t>
            </a:r>
            <a:r>
              <a:rPr lang="cs-CZ" sz="1400" u="sng" dirty="0">
                <a:solidFill>
                  <a:prstClr val="black"/>
                </a:solidFill>
              </a:rPr>
              <a:t>MKN-10 kód pro zhoubný novotvar</a:t>
            </a:r>
            <a:r>
              <a:rPr lang="cs-CZ" sz="1400" dirty="0">
                <a:solidFill>
                  <a:prstClr val="black"/>
                </a:solidFill>
              </a:rPr>
              <a:t> (ZN)</a:t>
            </a:r>
          </a:p>
        </p:txBody>
      </p:sp>
      <p:sp>
        <p:nvSpPr>
          <p:cNvPr id="7" name="Pravá složená závorka 6">
            <a:extLst>
              <a:ext uri="{FF2B5EF4-FFF2-40B4-BE49-F238E27FC236}">
                <a16:creationId xmlns:a16="http://schemas.microsoft.com/office/drawing/2014/main" id="{A71D778E-6A4E-4469-BE61-D279E42902A4}"/>
              </a:ext>
            </a:extLst>
          </p:cNvPr>
          <p:cNvSpPr/>
          <p:nvPr/>
        </p:nvSpPr>
        <p:spPr>
          <a:xfrm flipH="1">
            <a:off x="10730548" y="2937479"/>
            <a:ext cx="169041" cy="2215366"/>
          </a:xfrm>
          <a:prstGeom prst="rightBrace">
            <a:avLst>
              <a:gd name="adj1" fmla="val 8333"/>
              <a:gd name="adj2" fmla="val 26381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67952A5B-BDFA-478F-81E0-4E0A9EEE8269}"/>
              </a:ext>
            </a:extLst>
          </p:cNvPr>
          <p:cNvSpPr txBox="1"/>
          <p:nvPr/>
        </p:nvSpPr>
        <p:spPr>
          <a:xfrm>
            <a:off x="10397838" y="1910026"/>
            <a:ext cx="1450074" cy="95410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LP</a:t>
            </a:r>
            <a:br>
              <a:rPr kumimoji="0" lang="en-US" sz="14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daném rozmezí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 celkového počtu 99 PALP 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8615FA05-3D51-EEF2-EBAF-7D8178EAFC9C}"/>
              </a:ext>
            </a:extLst>
          </p:cNvPr>
          <p:cNvSpPr txBox="1"/>
          <p:nvPr/>
        </p:nvSpPr>
        <p:spPr>
          <a:xfrm>
            <a:off x="759559" y="5761214"/>
            <a:ext cx="8371756" cy="24622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cs-CZ" sz="1000" dirty="0">
                <a:effectLst/>
              </a:rPr>
              <a:t>* </a:t>
            </a:r>
            <a:r>
              <a:rPr lang="cs-CZ" sz="1000" b="1" dirty="0">
                <a:effectLst/>
              </a:rPr>
              <a:t>09-I06</a:t>
            </a:r>
            <a:r>
              <a:rPr lang="cs-CZ" sz="1000" dirty="0">
                <a:effectLst/>
              </a:rPr>
              <a:t> Resekce prsu včetně odstranění mízních uzlin; </a:t>
            </a:r>
            <a:r>
              <a:rPr lang="cs-CZ" sz="1000" b="1" dirty="0">
                <a:effectLst/>
              </a:rPr>
              <a:t>09-I07</a:t>
            </a:r>
            <a:r>
              <a:rPr lang="cs-CZ" sz="1000" dirty="0">
                <a:effectLst/>
              </a:rPr>
              <a:t> Resekce prsu včetně rekonstrukce implantátem; </a:t>
            </a:r>
            <a:r>
              <a:rPr lang="cs-CZ" sz="1000" b="1" dirty="0">
                <a:effectLst/>
              </a:rPr>
              <a:t>09-I09</a:t>
            </a:r>
            <a:r>
              <a:rPr lang="cs-CZ" sz="1000" dirty="0">
                <a:effectLst/>
              </a:rPr>
              <a:t> Resekce prsu pro nemoci a poruchy prsu</a:t>
            </a:r>
            <a:endParaRPr lang="cs-CZ" sz="1000" dirty="0"/>
          </a:p>
        </p:txBody>
      </p:sp>
      <p:graphicFrame>
        <p:nvGraphicFramePr>
          <p:cNvPr id="22" name="Tabulka 5">
            <a:extLst>
              <a:ext uri="{FF2B5EF4-FFF2-40B4-BE49-F238E27FC236}">
                <a16:creationId xmlns:a16="http://schemas.microsoft.com/office/drawing/2014/main" id="{F5FA1225-2B87-F520-BF48-1BDBD1619497}"/>
              </a:ext>
            </a:extLst>
          </p:cNvPr>
          <p:cNvGraphicFramePr>
            <a:graphicFrameLocks noGrp="1"/>
          </p:cNvGraphicFramePr>
          <p:nvPr/>
        </p:nvGraphicFramePr>
        <p:xfrm>
          <a:off x="10869898" y="2856844"/>
          <a:ext cx="760007" cy="237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60007">
                  <a:extLst>
                    <a:ext uri="{9D8B030D-6E8A-4147-A177-3AD203B41FA5}">
                      <a16:colId xmlns:a16="http://schemas.microsoft.com/office/drawing/2014/main" val="348832873"/>
                    </a:ext>
                  </a:extLst>
                </a:gridCol>
              </a:tblGrid>
              <a:tr h="2548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N</a:t>
                      </a:r>
                      <a:r>
                        <a:rPr kumimoji="0" lang="cs-CZ" sz="1100" b="0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PALP</a:t>
                      </a: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 = 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5347928"/>
                  </a:ext>
                </a:extLst>
              </a:tr>
              <a:tr h="23568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N</a:t>
                      </a:r>
                      <a:r>
                        <a:rPr kumimoji="0" lang="cs-CZ" sz="1100" b="0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PALP</a:t>
                      </a: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 = 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5463362"/>
                  </a:ext>
                </a:extLst>
              </a:tr>
              <a:tr h="23568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N</a:t>
                      </a:r>
                      <a:r>
                        <a:rPr kumimoji="0" lang="cs-CZ" sz="1100" b="0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PALP</a:t>
                      </a: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 = 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473501"/>
                  </a:ext>
                </a:extLst>
              </a:tr>
              <a:tr h="23568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N</a:t>
                      </a:r>
                      <a:r>
                        <a:rPr kumimoji="0" lang="cs-CZ" sz="1100" b="0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PALP</a:t>
                      </a: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 = 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9487540"/>
                  </a:ext>
                </a:extLst>
              </a:tr>
              <a:tr h="23568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N</a:t>
                      </a:r>
                      <a:r>
                        <a:rPr kumimoji="0" lang="cs-CZ" sz="1100" b="0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PALP</a:t>
                      </a: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 = 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433143"/>
                  </a:ext>
                </a:extLst>
              </a:tr>
              <a:tr h="23568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N</a:t>
                      </a:r>
                      <a:r>
                        <a:rPr kumimoji="0" lang="cs-CZ" sz="1100" b="0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PALP</a:t>
                      </a: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 = 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9241668"/>
                  </a:ext>
                </a:extLst>
              </a:tr>
              <a:tr h="23568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N</a:t>
                      </a:r>
                      <a:r>
                        <a:rPr kumimoji="0" lang="cs-CZ" sz="1100" b="0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PALP</a:t>
                      </a: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 = 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7368554"/>
                  </a:ext>
                </a:extLst>
              </a:tr>
              <a:tr h="23568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N</a:t>
                      </a:r>
                      <a:r>
                        <a:rPr kumimoji="0" lang="cs-CZ" sz="1100" b="0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PALP</a:t>
                      </a: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 = 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020990"/>
                  </a:ext>
                </a:extLst>
              </a:tr>
              <a:tr h="23568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N</a:t>
                      </a:r>
                      <a:r>
                        <a:rPr kumimoji="0" lang="cs-CZ" sz="1100" b="0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PALP</a:t>
                      </a: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 = 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7652912"/>
                  </a:ext>
                </a:extLst>
              </a:tr>
              <a:tr h="23568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N</a:t>
                      </a:r>
                      <a:r>
                        <a:rPr kumimoji="0" lang="cs-CZ" sz="1100" b="0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PALP</a:t>
                      </a: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 = 7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0185498"/>
                  </a:ext>
                </a:extLst>
              </a:tr>
            </a:tbl>
          </a:graphicData>
        </a:graphic>
      </p:graphicFrame>
      <p:sp>
        <p:nvSpPr>
          <p:cNvPr id="5" name="Obdélník 4">
            <a:extLst>
              <a:ext uri="{FF2B5EF4-FFF2-40B4-BE49-F238E27FC236}">
                <a16:creationId xmlns:a16="http://schemas.microsoft.com/office/drawing/2014/main" id="{315063B5-4EB8-10C3-6E6E-5DD5DD80A264}"/>
              </a:ext>
            </a:extLst>
          </p:cNvPr>
          <p:cNvSpPr/>
          <p:nvPr/>
        </p:nvSpPr>
        <p:spPr>
          <a:xfrm>
            <a:off x="1371518" y="6067545"/>
            <a:ext cx="10610420" cy="360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B820232C-0C9A-8943-2BA0-4B8F58F4A9D9}"/>
              </a:ext>
            </a:extLst>
          </p:cNvPr>
          <p:cNvSpPr/>
          <p:nvPr/>
        </p:nvSpPr>
        <p:spPr>
          <a:xfrm>
            <a:off x="2598967" y="6142770"/>
            <a:ext cx="209550" cy="209550"/>
          </a:xfrm>
          <a:prstGeom prst="rect">
            <a:avLst/>
          </a:prstGeom>
          <a:solidFill>
            <a:srgbClr val="F4B1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4AFD5EDF-0024-8FA2-7A08-219102B30A4D}"/>
              </a:ext>
            </a:extLst>
          </p:cNvPr>
          <p:cNvSpPr/>
          <p:nvPr/>
        </p:nvSpPr>
        <p:spPr>
          <a:xfrm>
            <a:off x="4749166" y="6142770"/>
            <a:ext cx="209550" cy="209550"/>
          </a:xfrm>
          <a:prstGeom prst="rect">
            <a:avLst/>
          </a:prstGeom>
          <a:solidFill>
            <a:srgbClr val="C55A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8EB0F793-3642-79ED-941A-653470440B9D}"/>
              </a:ext>
            </a:extLst>
          </p:cNvPr>
          <p:cNvSpPr txBox="1"/>
          <p:nvPr/>
        </p:nvSpPr>
        <p:spPr>
          <a:xfrm>
            <a:off x="2802173" y="6109046"/>
            <a:ext cx="27181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kultní nemocnice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A9A7732D-5707-FAF3-44A6-7659D6611412}"/>
              </a:ext>
            </a:extLst>
          </p:cNvPr>
          <p:cNvSpPr txBox="1"/>
          <p:nvPr/>
        </p:nvSpPr>
        <p:spPr>
          <a:xfrm>
            <a:off x="4952373" y="6109046"/>
            <a:ext cx="24169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ecializované resortní ústavy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B9A8CFAC-0E72-B36A-D61E-EAA4BF5ACD43}"/>
              </a:ext>
            </a:extLst>
          </p:cNvPr>
          <p:cNvSpPr/>
          <p:nvPr/>
        </p:nvSpPr>
        <p:spPr>
          <a:xfrm>
            <a:off x="9885805" y="6142770"/>
            <a:ext cx="209550" cy="209550"/>
          </a:xfrm>
          <a:prstGeom prst="rect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5A93581E-C61F-6297-DD1D-20A35C527D34}"/>
              </a:ext>
            </a:extLst>
          </p:cNvPr>
          <p:cNvSpPr txBox="1"/>
          <p:nvPr/>
        </p:nvSpPr>
        <p:spPr>
          <a:xfrm>
            <a:off x="10060436" y="6109046"/>
            <a:ext cx="175212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tatní PALP</a:t>
            </a:r>
            <a:endParaRPr kumimoji="0" lang="cs-CZ" sz="12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336BB422-5B15-9A87-B6F3-910FC75C5601}"/>
              </a:ext>
            </a:extLst>
          </p:cNvPr>
          <p:cNvSpPr/>
          <p:nvPr/>
        </p:nvSpPr>
        <p:spPr>
          <a:xfrm>
            <a:off x="7538743" y="6142770"/>
            <a:ext cx="209550" cy="2095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EF7388D2-BA51-2D26-786D-FC53C1252A86}"/>
              </a:ext>
            </a:extLst>
          </p:cNvPr>
          <p:cNvSpPr txBox="1"/>
          <p:nvPr/>
        </p:nvSpPr>
        <p:spPr>
          <a:xfrm>
            <a:off x="7741949" y="6109046"/>
            <a:ext cx="1974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lké krajské nemocnice</a:t>
            </a:r>
            <a:endParaRPr kumimoji="0" lang="cs-CZ" sz="12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4B3FFF36-ACA5-D907-0CAD-6C352C462D1B}"/>
              </a:ext>
            </a:extLst>
          </p:cNvPr>
          <p:cNvSpPr txBox="1"/>
          <p:nvPr/>
        </p:nvSpPr>
        <p:spPr>
          <a:xfrm>
            <a:off x="1430402" y="6109046"/>
            <a:ext cx="29747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yp PALP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</a:t>
            </a:r>
          </a:p>
        </p:txBody>
      </p:sp>
      <p:cxnSp>
        <p:nvCxnSpPr>
          <p:cNvPr id="43" name="Přímá spojnice se šipkou 42">
            <a:extLst>
              <a:ext uri="{FF2B5EF4-FFF2-40B4-BE49-F238E27FC236}">
                <a16:creationId xmlns:a16="http://schemas.microsoft.com/office/drawing/2014/main" id="{738D600A-126C-85CC-DC55-4068C361AAD4}"/>
              </a:ext>
            </a:extLst>
          </p:cNvPr>
          <p:cNvCxnSpPr>
            <a:cxnSpLocks/>
          </p:cNvCxnSpPr>
          <p:nvPr/>
        </p:nvCxnSpPr>
        <p:spPr>
          <a:xfrm>
            <a:off x="1632853" y="4048345"/>
            <a:ext cx="0" cy="61192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7CEE9240-6532-4A8A-F90B-74DB3CF5D277}"/>
              </a:ext>
            </a:extLst>
          </p:cNvPr>
          <p:cNvSpPr txBox="1"/>
          <p:nvPr/>
        </p:nvSpPr>
        <p:spPr>
          <a:xfrm>
            <a:off x="1363935" y="3742014"/>
            <a:ext cx="2788917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mocnice České Budějovice, a.s.</a:t>
            </a:r>
          </a:p>
        </p:txBody>
      </p:sp>
      <p:cxnSp>
        <p:nvCxnSpPr>
          <p:cNvPr id="46" name="Přímá spojnice se šipkou 45">
            <a:extLst>
              <a:ext uri="{FF2B5EF4-FFF2-40B4-BE49-F238E27FC236}">
                <a16:creationId xmlns:a16="http://schemas.microsoft.com/office/drawing/2014/main" id="{5B533959-DC34-35E9-96E0-B7AE22AB9C0B}"/>
              </a:ext>
            </a:extLst>
          </p:cNvPr>
          <p:cNvCxnSpPr>
            <a:cxnSpLocks/>
          </p:cNvCxnSpPr>
          <p:nvPr/>
        </p:nvCxnSpPr>
        <p:spPr>
          <a:xfrm>
            <a:off x="5989026" y="4660274"/>
            <a:ext cx="0" cy="42361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Přímá spojnice se šipkou 63">
            <a:extLst>
              <a:ext uri="{FF2B5EF4-FFF2-40B4-BE49-F238E27FC236}">
                <a16:creationId xmlns:a16="http://schemas.microsoft.com/office/drawing/2014/main" id="{7BC20C85-6A26-63E0-300E-3BD88D54C4BC}"/>
              </a:ext>
            </a:extLst>
          </p:cNvPr>
          <p:cNvCxnSpPr>
            <a:cxnSpLocks/>
          </p:cNvCxnSpPr>
          <p:nvPr/>
        </p:nvCxnSpPr>
        <p:spPr>
          <a:xfrm>
            <a:off x="5014017" y="4206025"/>
            <a:ext cx="0" cy="87362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ovéPole 74">
            <a:extLst>
              <a:ext uri="{FF2B5EF4-FFF2-40B4-BE49-F238E27FC236}">
                <a16:creationId xmlns:a16="http://schemas.microsoft.com/office/drawing/2014/main" id="{D8D01026-3757-14E4-E449-D7475AE8419C}"/>
              </a:ext>
            </a:extLst>
          </p:cNvPr>
          <p:cNvSpPr txBox="1"/>
          <p:nvPr/>
        </p:nvSpPr>
        <p:spPr>
          <a:xfrm>
            <a:off x="4784759" y="4004497"/>
            <a:ext cx="148330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000" dirty="0">
                <a:latin typeface="Calibri" panose="020F0502020204030204"/>
              </a:rPr>
              <a:t>Nemocnice Písek, a.s</a:t>
            </a: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endParaRPr lang="cs-CZ" sz="1000" dirty="0">
              <a:latin typeface="Calibri" panose="020F0502020204030204"/>
            </a:endParaRPr>
          </a:p>
        </p:txBody>
      </p:sp>
      <p:cxnSp>
        <p:nvCxnSpPr>
          <p:cNvPr id="8" name="Přímá spojnice se šipkou 7">
            <a:extLst>
              <a:ext uri="{FF2B5EF4-FFF2-40B4-BE49-F238E27FC236}">
                <a16:creationId xmlns:a16="http://schemas.microsoft.com/office/drawing/2014/main" id="{15760F50-C3B0-5A28-227D-17A006442459}"/>
              </a:ext>
            </a:extLst>
          </p:cNvPr>
          <p:cNvCxnSpPr>
            <a:cxnSpLocks/>
          </p:cNvCxnSpPr>
          <p:nvPr/>
        </p:nvCxnSpPr>
        <p:spPr>
          <a:xfrm>
            <a:off x="5876355" y="4507036"/>
            <a:ext cx="0" cy="57685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B501C889-DD10-F595-5839-33BB107FAB25}"/>
              </a:ext>
            </a:extLst>
          </p:cNvPr>
          <p:cNvCxnSpPr>
            <a:cxnSpLocks/>
          </p:cNvCxnSpPr>
          <p:nvPr/>
        </p:nvCxnSpPr>
        <p:spPr>
          <a:xfrm>
            <a:off x="6480473" y="4795464"/>
            <a:ext cx="0" cy="35738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Přímá spojnice se šipkou 15">
            <a:extLst>
              <a:ext uri="{FF2B5EF4-FFF2-40B4-BE49-F238E27FC236}">
                <a16:creationId xmlns:a16="http://schemas.microsoft.com/office/drawing/2014/main" id="{98EFDF71-42B3-026A-27DE-32D9419AE0C5}"/>
              </a:ext>
            </a:extLst>
          </p:cNvPr>
          <p:cNvCxnSpPr>
            <a:cxnSpLocks/>
          </p:cNvCxnSpPr>
          <p:nvPr/>
        </p:nvCxnSpPr>
        <p:spPr>
          <a:xfrm>
            <a:off x="7228774" y="4931481"/>
            <a:ext cx="0" cy="30136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930DDD6E-3038-CCE8-9025-ACB47241F99B}"/>
              </a:ext>
            </a:extLst>
          </p:cNvPr>
          <p:cNvCxnSpPr>
            <a:cxnSpLocks/>
          </p:cNvCxnSpPr>
          <p:nvPr/>
        </p:nvCxnSpPr>
        <p:spPr>
          <a:xfrm>
            <a:off x="7538742" y="4989441"/>
            <a:ext cx="0" cy="24340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44A803AB-4140-4837-4E5F-AC8C38D75FE7}"/>
              </a:ext>
            </a:extLst>
          </p:cNvPr>
          <p:cNvSpPr txBox="1"/>
          <p:nvPr/>
        </p:nvSpPr>
        <p:spPr>
          <a:xfrm>
            <a:off x="5585811" y="4270192"/>
            <a:ext cx="19529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000" dirty="0">
                <a:latin typeface="Calibri" panose="020F0502020204030204"/>
              </a:rPr>
              <a:t>Nemocnice Prachatice, a.s</a:t>
            </a: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endParaRPr lang="cs-CZ" sz="1000" dirty="0">
              <a:latin typeface="Calibri" panose="020F0502020204030204"/>
            </a:endParaRP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01C54B84-21DF-E5DC-DCD8-3CF1A908F3C2}"/>
              </a:ext>
            </a:extLst>
          </p:cNvPr>
          <p:cNvSpPr txBox="1"/>
          <p:nvPr/>
        </p:nvSpPr>
        <p:spPr>
          <a:xfrm>
            <a:off x="5725161" y="4467945"/>
            <a:ext cx="19529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000" dirty="0">
                <a:latin typeface="Calibri" panose="020F0502020204030204"/>
              </a:rPr>
              <a:t>Nemocnice Český Krumlov, a.s</a:t>
            </a: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endParaRPr lang="cs-CZ" sz="1000" dirty="0">
              <a:latin typeface="Calibri" panose="020F0502020204030204"/>
            </a:endParaRP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320AB344-B8B6-7BF3-A514-92A789C45D3D}"/>
              </a:ext>
            </a:extLst>
          </p:cNvPr>
          <p:cNvSpPr txBox="1"/>
          <p:nvPr/>
        </p:nvSpPr>
        <p:spPr>
          <a:xfrm>
            <a:off x="6190664" y="4616496"/>
            <a:ext cx="25423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000" dirty="0">
                <a:latin typeface="Calibri" panose="020F0502020204030204"/>
              </a:rPr>
              <a:t>Nemocnice Jindřichův Hradec, a.s</a:t>
            </a: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endParaRPr lang="cs-CZ" sz="1000" dirty="0">
              <a:latin typeface="Calibri" panose="020F0502020204030204"/>
            </a:endParaRPr>
          </a:p>
        </p:txBody>
      </p: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D791840B-16FC-40F4-A91E-3F028A89951D}"/>
              </a:ext>
            </a:extLst>
          </p:cNvPr>
          <p:cNvSpPr txBox="1"/>
          <p:nvPr/>
        </p:nvSpPr>
        <p:spPr>
          <a:xfrm>
            <a:off x="6983368" y="4748260"/>
            <a:ext cx="25423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000" dirty="0">
                <a:latin typeface="Calibri" panose="020F0502020204030204"/>
              </a:rPr>
              <a:t>Nemocnice Tábor, a.s</a:t>
            </a: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endParaRPr lang="cs-CZ" sz="1000" dirty="0">
              <a:latin typeface="Calibri" panose="020F0502020204030204"/>
            </a:endParaRPr>
          </a:p>
        </p:txBody>
      </p:sp>
      <p:sp>
        <p:nvSpPr>
          <p:cNvPr id="42" name="TextovéPole 41">
            <a:extLst>
              <a:ext uri="{FF2B5EF4-FFF2-40B4-BE49-F238E27FC236}">
                <a16:creationId xmlns:a16="http://schemas.microsoft.com/office/drawing/2014/main" id="{CA245173-A4C6-0029-EEE0-F737063B9D9C}"/>
              </a:ext>
            </a:extLst>
          </p:cNvPr>
          <p:cNvSpPr txBox="1"/>
          <p:nvPr/>
        </p:nvSpPr>
        <p:spPr>
          <a:xfrm>
            <a:off x="7419723" y="4900579"/>
            <a:ext cx="25423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000" dirty="0">
                <a:latin typeface="Calibri" panose="020F0502020204030204"/>
              </a:rPr>
              <a:t>Nemocnice Strakonice, a.s</a:t>
            </a: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endParaRPr lang="cs-CZ" sz="1000" dirty="0"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7070814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897F032E-B927-27A1-1061-76FB63DA19F6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cs-CZ" dirty="0"/>
              <a:t>Screening karcinomu prsu</a:t>
            </a:r>
          </a:p>
        </p:txBody>
      </p:sp>
      <p:pic>
        <p:nvPicPr>
          <p:cNvPr id="3" name="Zástupný symbol obrázku 6">
            <a:extLst>
              <a:ext uri="{FF2B5EF4-FFF2-40B4-BE49-F238E27FC236}">
                <a16:creationId xmlns:a16="http://schemas.microsoft.com/office/drawing/2014/main" id="{593EE05E-6495-D952-6C86-2AF90DA755AD}"/>
              </a:ext>
            </a:extLst>
          </p:cNvPr>
          <p:cNvPicPr>
            <a:picLocks noGrp="1" noChangeAspect="1"/>
          </p:cNvPicPr>
          <p:nvPr>
            <p:ph type="pic" sz="quarter" idx="11"/>
            <p:custDataLst>
              <p:tags r:id="rId2"/>
            </p:custDataLst>
          </p:nvPr>
        </p:nvPicPr>
        <p:blipFill>
          <a:blip r:embed="rId5"/>
          <a:srcRect t="28733" b="28733"/>
          <a:stretch>
            <a:fillRect/>
          </a:stretch>
        </p:blipFill>
        <p:spPr>
          <a:xfrm>
            <a:off x="0" y="2297272"/>
            <a:ext cx="7983110" cy="2263455"/>
          </a:xfrm>
        </p:spPr>
      </p:pic>
    </p:spTree>
    <p:extLst>
      <p:ext uri="{BB962C8B-B14F-4D97-AF65-F5344CB8AC3E}">
        <p14:creationId xmlns:p14="http://schemas.microsoft.com/office/powerpoint/2010/main" val="6088860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>
            <a:extLst>
              <a:ext uri="{FF2B5EF4-FFF2-40B4-BE49-F238E27FC236}">
                <a16:creationId xmlns:a16="http://schemas.microsoft.com/office/drawing/2014/main" id="{8259D2F9-7B03-99A9-98C4-C4FFBE2C0E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Pokrytí cílové populace screeningem ve standardním intervalu v roce 2023 dle kraje bydliště</a:t>
            </a:r>
          </a:p>
        </p:txBody>
      </p:sp>
      <p:sp>
        <p:nvSpPr>
          <p:cNvPr id="3" name="Zástupný text 5">
            <a:extLst>
              <a:ext uri="{FF2B5EF4-FFF2-40B4-BE49-F238E27FC236}">
                <a16:creationId xmlns:a16="http://schemas.microsoft.com/office/drawing/2014/main" id="{99E42423-8753-24D7-42E3-D7C621EADFE1}"/>
              </a:ext>
            </a:extLst>
          </p:cNvPr>
          <p:cNvSpPr txBox="1">
            <a:spLocks/>
          </p:cNvSpPr>
          <p:nvPr/>
        </p:nvSpPr>
        <p:spPr>
          <a:xfrm>
            <a:off x="730800" y="5443989"/>
            <a:ext cx="10728000" cy="1034504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anchor="ctr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krytí žen ve věku 45–69 let vyšetřených screeningovou mamografií v roce 2023: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2C2F7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8,8 %</a:t>
            </a: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krytí cílové populace žen screeningem v Jihočeském kraji (63,1 %) je třetí nejvyšší v rámci ČR. </a:t>
            </a: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kátor hodnotí podíl žen, které během posledních 2 let (2022–2023) absolvovaly alespoň jednu screeningovou mamografii z celkového počtu žen, dle kraje bydliště. Ženy, které zemřely do roku 2023 (včetně), nejsou v podílu uvažovány. 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Rectangle 186">
            <a:extLst>
              <a:ext uri="{FF2B5EF4-FFF2-40B4-BE49-F238E27FC236}">
                <a16:creationId xmlns:a16="http://schemas.microsoft.com/office/drawing/2014/main" id="{7DE3DD29-9187-64C0-2B7C-05BD73F0F3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4028" y="1196931"/>
            <a:ext cx="8074800" cy="8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spcBef>
                <a:spcPct val="20000"/>
              </a:spcBef>
              <a:buChar char="•"/>
              <a:defRPr sz="2000">
                <a:solidFill>
                  <a:srgbClr val="5F3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5F3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600">
                <a:solidFill>
                  <a:srgbClr val="5F3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hrazených zdravotních služeb, ÚZIS ČR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reeningová mamografie v dispenzární péči (89178)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reeningová mamografie (89223)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2022–2023, ženy, 45–69 let, N = 1 085 803 vyšetření)</a:t>
            </a:r>
          </a:p>
        </p:txBody>
      </p:sp>
      <p:graphicFrame>
        <p:nvGraphicFramePr>
          <p:cNvPr id="7" name="Object 4">
            <a:extLst>
              <a:ext uri="{FF2B5EF4-FFF2-40B4-BE49-F238E27FC236}">
                <a16:creationId xmlns:a16="http://schemas.microsoft.com/office/drawing/2014/main" id="{B6C2CBF5-5A84-CD33-F1DB-6F45096D28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30250" y="1914526"/>
          <a:ext cx="10728325" cy="35291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7718275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8FD7A274-A0CC-F25D-A12E-D9C23F25226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6052" b="6052"/>
          <a:stretch/>
        </p:blipFill>
        <p:spPr>
          <a:xfrm>
            <a:off x="1092986" y="1031845"/>
            <a:ext cx="7531172" cy="4413048"/>
          </a:xfrm>
          <a:prstGeom prst="rect">
            <a:avLst/>
          </a:prstGeom>
        </p:spPr>
      </p:pic>
      <p:sp>
        <p:nvSpPr>
          <p:cNvPr id="5" name="Nadpis 4">
            <a:extLst>
              <a:ext uri="{FF2B5EF4-FFF2-40B4-BE49-F238E27FC236}">
                <a16:creationId xmlns:a16="http://schemas.microsoft.com/office/drawing/2014/main" id="{8259D2F9-7B03-99A9-98C4-C4FFBE2C0E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Pokrytí cílové populace screeningem ve standardním intervalu v roce 2023 dle okresu bydliště</a:t>
            </a:r>
          </a:p>
        </p:txBody>
      </p:sp>
      <p:sp>
        <p:nvSpPr>
          <p:cNvPr id="3" name="Zástupný text 5">
            <a:extLst>
              <a:ext uri="{FF2B5EF4-FFF2-40B4-BE49-F238E27FC236}">
                <a16:creationId xmlns:a16="http://schemas.microsoft.com/office/drawing/2014/main" id="{776A2D49-2D0C-C391-B45E-29FA7E044D19}"/>
              </a:ext>
            </a:extLst>
          </p:cNvPr>
          <p:cNvSpPr txBox="1">
            <a:spLocks/>
          </p:cNvSpPr>
          <p:nvPr/>
        </p:nvSpPr>
        <p:spPr>
          <a:xfrm>
            <a:off x="643676" y="5321310"/>
            <a:ext cx="10728000" cy="149445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anchor="ctr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krytí žen ve věku 45–69 let vyšetřených screeningovou mamografií v ČR v roce 2023: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2C2F7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8,8 %</a:t>
            </a: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okresech České Budějovice, Český Krumlov, Jindřichův Hradec, Písek a Tábor pozorujeme vyšší pokrytí cílové populace žen screeningem v porovnání s celorepublikovým pokrytím. Naopak v okrese Strakonice sledujeme pokrytí nižší. V okrese Prachatice dosahuje pokrytí srovnatelných hodnot s pokrytím pro celou ČR. Nejvyšší pokrytí z okresů Jihočeského kraje je pozorováno v okrese Tábor (65,7 %), naopak nejnižší v okrese Strakonice (57,5 %).</a:t>
            </a: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kátor hodnotí podíl žen, které během posledních 2 let (2022–2023) absolvovaly alespoň jednu screeningovou mamografii z celkového počtu žen, dle okresu bydliště. Ženy, které zemřely do roku 2023 (včetně), nejsou v podílu uvažovány. 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7" name="Skupina 6">
            <a:extLst>
              <a:ext uri="{FF2B5EF4-FFF2-40B4-BE49-F238E27FC236}">
                <a16:creationId xmlns:a16="http://schemas.microsoft.com/office/drawing/2014/main" id="{EB20B970-8836-367F-4265-5B3C545D51AE}"/>
              </a:ext>
            </a:extLst>
          </p:cNvPr>
          <p:cNvGrpSpPr/>
          <p:nvPr/>
        </p:nvGrpSpPr>
        <p:grpSpPr>
          <a:xfrm>
            <a:off x="373995" y="3697796"/>
            <a:ext cx="1421819" cy="1483492"/>
            <a:chOff x="7816069" y="2011747"/>
            <a:chExt cx="1421819" cy="1483492"/>
          </a:xfrm>
        </p:grpSpPr>
        <p:sp>
          <p:nvSpPr>
            <p:cNvPr id="8" name="Text Box 3">
              <a:extLst>
                <a:ext uri="{FF2B5EF4-FFF2-40B4-BE49-F238E27FC236}">
                  <a16:creationId xmlns:a16="http://schemas.microsoft.com/office/drawing/2014/main" id="{3EE4A81F-34AD-3430-5D32-0D73AB1B049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816069" y="2019239"/>
              <a:ext cx="1152000" cy="1476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" name="Text Box 3">
              <a:extLst>
                <a:ext uri="{FF2B5EF4-FFF2-40B4-BE49-F238E27FC236}">
                  <a16:creationId xmlns:a16="http://schemas.microsoft.com/office/drawing/2014/main" id="{653F8F58-EBA6-A588-F5B2-11EC656E15D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839075" y="2011747"/>
              <a:ext cx="1152138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okrytí 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v procentech</a:t>
              </a:r>
            </a:p>
          </p:txBody>
        </p:sp>
        <p:sp>
          <p:nvSpPr>
            <p:cNvPr id="10" name="Rectangle 177">
              <a:extLst>
                <a:ext uri="{FF2B5EF4-FFF2-40B4-BE49-F238E27FC236}">
                  <a16:creationId xmlns:a16="http://schemas.microsoft.com/office/drawing/2014/main" id="{FABA149F-0A59-7D8C-DBA8-11D5576624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5750" y="2501911"/>
              <a:ext cx="180000" cy="180000"/>
            </a:xfrm>
            <a:prstGeom prst="rect">
              <a:avLst/>
            </a:prstGeom>
            <a:solidFill>
              <a:srgbClr val="B5E1F7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11" name="Rectangle 177">
              <a:extLst>
                <a:ext uri="{FF2B5EF4-FFF2-40B4-BE49-F238E27FC236}">
                  <a16:creationId xmlns:a16="http://schemas.microsoft.com/office/drawing/2014/main" id="{CD88C9E0-976C-3DEA-9A02-B9DD6AB813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5750" y="2743211"/>
              <a:ext cx="180000" cy="180000"/>
            </a:xfrm>
            <a:prstGeom prst="rect">
              <a:avLst/>
            </a:prstGeom>
            <a:solidFill>
              <a:srgbClr val="79B2D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12" name="Rectangle 177">
              <a:extLst>
                <a:ext uri="{FF2B5EF4-FFF2-40B4-BE49-F238E27FC236}">
                  <a16:creationId xmlns:a16="http://schemas.microsoft.com/office/drawing/2014/main" id="{CB14F6F6-8861-F9C3-04EB-180D551D19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5750" y="2984511"/>
              <a:ext cx="180000" cy="180000"/>
            </a:xfrm>
            <a:prstGeom prst="rect">
              <a:avLst/>
            </a:prstGeom>
            <a:solidFill>
              <a:srgbClr val="1A73B7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13" name="Rectangle 177">
              <a:extLst>
                <a:ext uri="{FF2B5EF4-FFF2-40B4-BE49-F238E27FC236}">
                  <a16:creationId xmlns:a16="http://schemas.microsoft.com/office/drawing/2014/main" id="{DF993467-50BD-937D-6398-B7D17DE89D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5750" y="3225811"/>
              <a:ext cx="180000" cy="180000"/>
            </a:xfrm>
            <a:prstGeom prst="rect">
              <a:avLst/>
            </a:prstGeom>
            <a:solidFill>
              <a:srgbClr val="00308F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14" name="Text Box 3">
              <a:extLst>
                <a:ext uri="{FF2B5EF4-FFF2-40B4-BE49-F238E27FC236}">
                  <a16:creationId xmlns:a16="http://schemas.microsoft.com/office/drawing/2014/main" id="{8633B347-96CB-4CE9-A0FC-95F9D540FAA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085750" y="2453411"/>
              <a:ext cx="1152138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≤ 55,0 %</a:t>
              </a:r>
            </a:p>
          </p:txBody>
        </p:sp>
        <p:sp>
          <p:nvSpPr>
            <p:cNvPr id="15" name="Text Box 3">
              <a:extLst>
                <a:ext uri="{FF2B5EF4-FFF2-40B4-BE49-F238E27FC236}">
                  <a16:creationId xmlns:a16="http://schemas.microsoft.com/office/drawing/2014/main" id="{A92A3726-D685-C572-7EA9-31A8D96D248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085750" y="2697276"/>
              <a:ext cx="1152138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55,0–60,0 %</a:t>
              </a:r>
            </a:p>
          </p:txBody>
        </p:sp>
        <p:sp>
          <p:nvSpPr>
            <p:cNvPr id="16" name="Text Box 3">
              <a:extLst>
                <a:ext uri="{FF2B5EF4-FFF2-40B4-BE49-F238E27FC236}">
                  <a16:creationId xmlns:a16="http://schemas.microsoft.com/office/drawing/2014/main" id="{79E0E98C-FB70-D075-A8A7-60658E0DEF5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085750" y="2941141"/>
              <a:ext cx="1152138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60,0–65,0 %</a:t>
              </a:r>
            </a:p>
          </p:txBody>
        </p:sp>
        <p:sp>
          <p:nvSpPr>
            <p:cNvPr id="17" name="Text Box 3">
              <a:extLst>
                <a:ext uri="{FF2B5EF4-FFF2-40B4-BE49-F238E27FC236}">
                  <a16:creationId xmlns:a16="http://schemas.microsoft.com/office/drawing/2014/main" id="{146B5AC4-C243-4F7B-866B-203A13F415C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085750" y="3185006"/>
              <a:ext cx="1152138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&gt; 65,0 %</a:t>
              </a:r>
            </a:p>
          </p:txBody>
        </p:sp>
      </p:grpSp>
      <p:sp>
        <p:nvSpPr>
          <p:cNvPr id="18" name="Rectangle 186">
            <a:extLst>
              <a:ext uri="{FF2B5EF4-FFF2-40B4-BE49-F238E27FC236}">
                <a16:creationId xmlns:a16="http://schemas.microsoft.com/office/drawing/2014/main" id="{609191D6-E8DA-62D3-40A1-9F13AA3C02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4028" y="1196931"/>
            <a:ext cx="8074800" cy="8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spcBef>
                <a:spcPct val="20000"/>
              </a:spcBef>
              <a:buChar char="•"/>
              <a:defRPr sz="2000">
                <a:solidFill>
                  <a:srgbClr val="5F3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5F3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600">
                <a:solidFill>
                  <a:srgbClr val="5F3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hrazených zdravotních služeb, ÚZIS ČR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reeningová mamografie v dispenzární péči (89178)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reeningová mamografie (89223)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2022–2023, ženy, 45–69 let, N = 1 085 803 vyšetření)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EF8257E8-116A-7D91-5D43-E954086367D9}"/>
              </a:ext>
            </a:extLst>
          </p:cNvPr>
          <p:cNvSpPr txBox="1"/>
          <p:nvPr/>
        </p:nvSpPr>
        <p:spPr>
          <a:xfrm>
            <a:off x="8870833" y="2778422"/>
            <a:ext cx="3069340" cy="20338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14000"/>
              </a:lnSpc>
              <a:buFontTx/>
              <a:buChar char="-"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ábor: 65,7 %</a:t>
            </a:r>
          </a:p>
          <a:p>
            <a:pPr marL="285750" marR="0" lvl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é Budějovice: 65,1 %</a:t>
            </a:r>
          </a:p>
          <a:p>
            <a:pPr marL="285750" marR="0" lvl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ndřichův Hradec: 63,7 %</a:t>
            </a:r>
          </a:p>
          <a:p>
            <a:pPr marL="285750" marR="0" lvl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ísek: 63,2 %</a:t>
            </a:r>
          </a:p>
          <a:p>
            <a:pPr marL="285750" marR="0" lvl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ý Krumlov: 61,9 %</a:t>
            </a:r>
          </a:p>
          <a:p>
            <a:pPr marL="285750" marR="0" lvl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hatice: 58,8 %</a:t>
            </a:r>
          </a:p>
          <a:p>
            <a:pPr marL="285750" marR="0" lvl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akonice: 57,5 %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4A55F65C-7001-67F6-D1A4-E133E03B44F1}"/>
              </a:ext>
            </a:extLst>
          </p:cNvPr>
          <p:cNvSpPr txBox="1"/>
          <p:nvPr/>
        </p:nvSpPr>
        <p:spPr>
          <a:xfrm>
            <a:off x="8870833" y="2193647"/>
            <a:ext cx="33240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krytí v okresech Jihočeského kraje:</a:t>
            </a:r>
          </a:p>
        </p:txBody>
      </p:sp>
    </p:spTree>
    <p:extLst>
      <p:ext uri="{BB962C8B-B14F-4D97-AF65-F5344CB8AC3E}">
        <p14:creationId xmlns:p14="http://schemas.microsoft.com/office/powerpoint/2010/main" val="16294318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text 5">
            <a:extLst>
              <a:ext uri="{FF2B5EF4-FFF2-40B4-BE49-F238E27FC236}">
                <a16:creationId xmlns:a16="http://schemas.microsoft.com/office/drawing/2014/main" id="{A774953F-2723-0C99-D44E-6200DC67D14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600950" y="2047522"/>
            <a:ext cx="3821084" cy="1866899"/>
          </a:xfrm>
        </p:spPr>
        <p:txBody>
          <a:bodyPr anchor="ctr">
            <a:normAutofit/>
          </a:bodyPr>
          <a:lstStyle/>
          <a:p>
            <a:pPr algn="just"/>
            <a:r>
              <a:rPr lang="cs-CZ" sz="1300" dirty="0"/>
              <a:t>V České republice je celkem 73 screeningových mamografických center (včetně satelitních pracovišť). </a:t>
            </a:r>
            <a:r>
              <a:rPr lang="cs-CZ" sz="1300" b="1" dirty="0"/>
              <a:t>V </a:t>
            </a:r>
            <a:r>
              <a:rPr lang="cs-CZ" sz="1400" b="1" dirty="0"/>
              <a:t>Jihočeském</a:t>
            </a:r>
            <a:r>
              <a:rPr lang="cs-CZ" sz="1300" b="1" dirty="0"/>
              <a:t> kraji fungují </a:t>
            </a:r>
            <a:br>
              <a:rPr lang="cs-CZ" sz="1300" b="1" dirty="0"/>
            </a:br>
            <a:r>
              <a:rPr lang="cs-CZ" sz="1300" b="1" dirty="0"/>
              <a:t>2 screeningová centra.</a:t>
            </a:r>
          </a:p>
          <a:p>
            <a:pPr algn="just"/>
            <a:r>
              <a:rPr lang="cs-CZ" sz="1300" b="1" dirty="0"/>
              <a:t>V </a:t>
            </a:r>
            <a:r>
              <a:rPr lang="cs-CZ" sz="1400" b="1" dirty="0"/>
              <a:t>Jihočeském</a:t>
            </a:r>
            <a:r>
              <a:rPr lang="cs-CZ" sz="1300" b="1" dirty="0"/>
              <a:t> kraji připadá </a:t>
            </a:r>
            <a:br>
              <a:rPr lang="cs-CZ" sz="1300" b="1" dirty="0"/>
            </a:br>
            <a:r>
              <a:rPr lang="cs-CZ" sz="1300" b="1" dirty="0"/>
              <a:t>na 1 centrum 85 568 žen ve věku 45 a více let. Jedná se o nejvyšší počet ve srovnání s ostatními kraji ČR.</a:t>
            </a:r>
          </a:p>
        </p:txBody>
      </p:sp>
      <p:graphicFrame>
        <p:nvGraphicFramePr>
          <p:cNvPr id="7" name="Object 4">
            <a:extLst>
              <a:ext uri="{FF2B5EF4-FFF2-40B4-BE49-F238E27FC236}">
                <a16:creationId xmlns:a16="http://schemas.microsoft.com/office/drawing/2014/main" id="{AF1AD656-7BE7-AACE-F907-3BC08D1028B6}"/>
              </a:ext>
            </a:extLst>
          </p:cNvPr>
          <p:cNvGraphicFramePr>
            <a:graphicFrameLocks noGrp="1" noChangeAspect="1"/>
          </p:cNvGraphicFramePr>
          <p:nvPr>
            <p:ph type="chart" sz="quarter" idx="14"/>
            <p:custDataLst>
              <p:tags r:id="rId1"/>
            </p:custDataLst>
          </p:nvPr>
        </p:nvGraphicFramePr>
        <p:xfrm>
          <a:off x="339725" y="1288888"/>
          <a:ext cx="7089775" cy="2721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Rectangle 186">
            <a:extLst>
              <a:ext uri="{FF2B5EF4-FFF2-40B4-BE49-F238E27FC236}">
                <a16:creationId xmlns:a16="http://schemas.microsoft.com/office/drawing/2014/main" id="{3F8FB031-47C1-EC07-AEE7-63B57AA796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4028" y="1196931"/>
            <a:ext cx="8074800" cy="8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spcBef>
                <a:spcPct val="20000"/>
              </a:spcBef>
              <a:buChar char="•"/>
              <a:defRPr sz="2000">
                <a:solidFill>
                  <a:srgbClr val="5F3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5F3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600">
                <a:solidFill>
                  <a:srgbClr val="5F3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Zdroj: www.mamo.cz, ÚZIS ČR a Český statistický úřad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V ČR v roce 2023 celkem 2 802 249 žen v dané cílové populaci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Ženy ve věku od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45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 let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4" name="Object 4">
            <a:extLst>
              <a:ext uri="{FF2B5EF4-FFF2-40B4-BE49-F238E27FC236}">
                <a16:creationId xmlns:a16="http://schemas.microsoft.com/office/drawing/2014/main" id="{2FD18800-E501-68D1-6397-52F2BCA2BC9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39724" y="4092459"/>
          <a:ext cx="7089775" cy="2721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3" name="Přímá spojnice 2">
            <a:extLst>
              <a:ext uri="{FF2B5EF4-FFF2-40B4-BE49-F238E27FC236}">
                <a16:creationId xmlns:a16="http://schemas.microsoft.com/office/drawing/2014/main" id="{9C3BA07E-89D6-2788-1DCD-FE7E4E21B5FC}"/>
              </a:ext>
            </a:extLst>
          </p:cNvPr>
          <p:cNvCxnSpPr>
            <a:cxnSpLocks/>
          </p:cNvCxnSpPr>
          <p:nvPr/>
        </p:nvCxnSpPr>
        <p:spPr>
          <a:xfrm>
            <a:off x="1238263" y="5159166"/>
            <a:ext cx="5975743" cy="0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ovéPole 8">
            <a:extLst>
              <a:ext uri="{FF2B5EF4-FFF2-40B4-BE49-F238E27FC236}">
                <a16:creationId xmlns:a16="http://schemas.microsoft.com/office/drawing/2014/main" id="{22A585CF-F627-C02F-7640-454B5707951A}"/>
              </a:ext>
            </a:extLst>
          </p:cNvPr>
          <p:cNvSpPr txBox="1"/>
          <p:nvPr/>
        </p:nvSpPr>
        <p:spPr>
          <a:xfrm>
            <a:off x="7246625" y="4846161"/>
            <a:ext cx="14057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ůměrný počet žen na jedno centrum v ČR</a:t>
            </a:r>
          </a:p>
        </p:txBody>
      </p:sp>
      <p:sp>
        <p:nvSpPr>
          <p:cNvPr id="11" name="Nadpis 4">
            <a:extLst>
              <a:ext uri="{FF2B5EF4-FFF2-40B4-BE49-F238E27FC236}">
                <a16:creationId xmlns:a16="http://schemas.microsoft.com/office/drawing/2014/main" id="{082B5688-5433-7AA2-E2F6-D7D2C27449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475199"/>
            <a:ext cx="9802034" cy="720000"/>
          </a:xfrm>
        </p:spPr>
        <p:txBody>
          <a:bodyPr>
            <a:normAutofit fontScale="90000"/>
          </a:bodyPr>
          <a:lstStyle/>
          <a:p>
            <a:r>
              <a:rPr lang="cs-CZ" dirty="0"/>
              <a:t>Síť mamografických screeningových center dle kraje centra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99328691-74AA-3AC4-214A-2254F2A5C4B6}"/>
              </a:ext>
            </a:extLst>
          </p:cNvPr>
          <p:cNvSpPr txBox="1"/>
          <p:nvPr/>
        </p:nvSpPr>
        <p:spPr>
          <a:xfrm>
            <a:off x="8571894" y="4073240"/>
            <a:ext cx="33967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center v okresech Jihočeského kraje: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5698A5A4-F29A-1723-381B-712310AD3091}"/>
              </a:ext>
            </a:extLst>
          </p:cNvPr>
          <p:cNvSpPr txBox="1"/>
          <p:nvPr/>
        </p:nvSpPr>
        <p:spPr>
          <a:xfrm>
            <a:off x="8571894" y="4638815"/>
            <a:ext cx="3280382" cy="20338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é Budějovice: 1</a:t>
            </a:r>
          </a:p>
          <a:p>
            <a:pPr marL="285750" indent="-285750">
              <a:lnSpc>
                <a:spcPct val="114000"/>
              </a:lnSpc>
              <a:buFontTx/>
              <a:buChar char="-"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ísek: 1</a:t>
            </a:r>
          </a:p>
          <a:p>
            <a:pPr marL="285750" marR="0" lvl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ý Krumlov: 0</a:t>
            </a:r>
          </a:p>
          <a:p>
            <a:pPr marL="285750" marR="0" lvl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ndřichův Hradec: 0</a:t>
            </a:r>
          </a:p>
          <a:p>
            <a:pPr marL="285750" marR="0" lvl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hatice: 0</a:t>
            </a:r>
          </a:p>
          <a:p>
            <a:pPr marL="285750" marR="0" lvl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akonice: 0</a:t>
            </a:r>
          </a:p>
          <a:p>
            <a:pPr marL="285750" marR="0" lvl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ábor: 0</a:t>
            </a:r>
          </a:p>
        </p:txBody>
      </p:sp>
    </p:spTree>
    <p:extLst>
      <p:ext uri="{BB962C8B-B14F-4D97-AF65-F5344CB8AC3E}">
        <p14:creationId xmlns:p14="http://schemas.microsoft.com/office/powerpoint/2010/main" val="66211336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Obrázek 14" descr="Obsah obrázku text, mapa, atlas, diagram&#10;&#10;Popis byl vytvořen automaticky">
            <a:extLst>
              <a:ext uri="{FF2B5EF4-FFF2-40B4-BE49-F238E27FC236}">
                <a16:creationId xmlns:a16="http://schemas.microsoft.com/office/drawing/2014/main" id="{C4AC58A3-22E8-F705-3E3C-C6496702B9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8561" y="999318"/>
            <a:ext cx="8271166" cy="5850682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14B13731-1398-481A-97F6-B54E95561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sz="2300" dirty="0"/>
              <a:t>Dojezdová vzdálenost do mamografických center</a:t>
            </a:r>
          </a:p>
        </p:txBody>
      </p:sp>
      <p:sp>
        <p:nvSpPr>
          <p:cNvPr id="4" name="Rectangle 186">
            <a:extLst>
              <a:ext uri="{FF2B5EF4-FFF2-40B4-BE49-F238E27FC236}">
                <a16:creationId xmlns:a16="http://schemas.microsoft.com/office/drawing/2014/main" id="{CAEB0742-3D4E-F369-7841-3629F66057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85306" y="1182987"/>
            <a:ext cx="8074800" cy="8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www.mamo.cz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Zástupný text 5">
            <a:extLst>
              <a:ext uri="{FF2B5EF4-FFF2-40B4-BE49-F238E27FC236}">
                <a16:creationId xmlns:a16="http://schemas.microsoft.com/office/drawing/2014/main" id="{4045C601-6656-B1CC-4D0D-2074517EEADD}"/>
              </a:ext>
            </a:extLst>
          </p:cNvPr>
          <p:cNvSpPr txBox="1">
            <a:spLocks/>
          </p:cNvSpPr>
          <p:nvPr/>
        </p:nvSpPr>
        <p:spPr>
          <a:xfrm>
            <a:off x="9246996" y="3323868"/>
            <a:ext cx="2850776" cy="1110358"/>
          </a:xfrm>
          <a:prstGeom prst="rect">
            <a:avLst/>
          </a:prstGeom>
          <a:solidFill>
            <a:srgbClr val="DA2B46"/>
          </a:solidFill>
          <a:ln w="19050">
            <a:noFill/>
          </a:ln>
        </p:spPr>
        <p:txBody>
          <a:bodyPr anchor="ctr">
            <a:norm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České republice funguje síť 73 screeningových mamografických center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95798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sah 1">
            <a:extLst>
              <a:ext uri="{FF2B5EF4-FFF2-40B4-BE49-F238E27FC236}">
                <a16:creationId xmlns:a16="http://schemas.microsoft.com/office/drawing/2014/main" id="{6E4DDEDB-785B-DBF8-43E1-3460889817DC}"/>
              </a:ext>
            </a:extLst>
          </p:cNvPr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cs-CZ" sz="2200" dirty="0"/>
              <a:t>Epidemiologie nádorů prsu a onkologická léčba</a:t>
            </a:r>
          </a:p>
          <a:p>
            <a:r>
              <a:rPr lang="cs-CZ" sz="2200" dirty="0"/>
              <a:t>Screening karcinomu prsu</a:t>
            </a:r>
          </a:p>
          <a:p>
            <a:r>
              <a:rPr lang="cs-CZ" sz="2200" dirty="0"/>
              <a:t>Epidemiologie nádorů plic a onkologická léčba</a:t>
            </a:r>
          </a:p>
          <a:p>
            <a:r>
              <a:rPr lang="cs-CZ" sz="2200" dirty="0"/>
              <a:t>Screening karcinomu plic</a:t>
            </a:r>
          </a:p>
          <a:p>
            <a:r>
              <a:rPr lang="cs-CZ" sz="2200" dirty="0"/>
              <a:t>Personální zázemí</a:t>
            </a:r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F5822234-FBB1-46A0-16B3-DB65A8DA84DC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r>
              <a:rPr lang="cs-CZ" dirty="0"/>
              <a:t>Obsah prezentace</a:t>
            </a:r>
          </a:p>
        </p:txBody>
      </p:sp>
    </p:spTree>
    <p:extLst>
      <p:ext uri="{BB962C8B-B14F-4D97-AF65-F5344CB8AC3E}">
        <p14:creationId xmlns:p14="http://schemas.microsoft.com/office/powerpoint/2010/main" val="26738708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7CB73143-CF39-3D73-B4A5-82350449219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308052" y="1373151"/>
          <a:ext cx="11718000" cy="5151686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781200">
                  <a:extLst>
                    <a:ext uri="{9D8B030D-6E8A-4147-A177-3AD203B41FA5}">
                      <a16:colId xmlns:a16="http://schemas.microsoft.com/office/drawing/2014/main" val="166537727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72376352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12470062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45433169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009325056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08701115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8258890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16275743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5549188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66359888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80002450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200670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5773942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276469750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795430677"/>
                    </a:ext>
                  </a:extLst>
                </a:gridCol>
              </a:tblGrid>
              <a:tr h="326066">
                <a:tc>
                  <a:txBody>
                    <a:bodyPr/>
                    <a:lstStyle/>
                    <a:p>
                      <a:pPr algn="r" fontAlgn="b">
                        <a:lnSpc>
                          <a:spcPct val="80000"/>
                        </a:lnSpc>
                      </a:pP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PHA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STC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JHC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PL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KV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UL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LB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HK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PA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VYS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JM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OL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ZL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MS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8339403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r" fontAlgn="b">
                        <a:lnSpc>
                          <a:spcPct val="80000"/>
                        </a:lnSpc>
                      </a:pP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14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Počet (podíl)</a:t>
                      </a:r>
                      <a:r>
                        <a:rPr lang="en-US" sz="1400" b="1" dirty="0"/>
                        <a:t> </a:t>
                      </a:r>
                      <a:r>
                        <a:rPr lang="cs-CZ" sz="1400" b="1" dirty="0"/>
                        <a:t>vyšetřených žen s daným místem bydliště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217579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HA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4 447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98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33 429 </a:t>
                      </a:r>
                    </a:p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(33,4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76 (1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9 (0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7 (1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638 (2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8 (1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8 (0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7 (0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3 (0,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3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2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2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2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24296347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STC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68 (0,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4 739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64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5 (0,4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0 (1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9 (0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6 (1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0 (0,4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7 (0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6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74523369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JHC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3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0 (0,3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 090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94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6 (0,3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1 (0,3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8705672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L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3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2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 898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97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885 (4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65000726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KV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4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 299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93,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2 (0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25817302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UL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1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5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 594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93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0 (0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77438823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LB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6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1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66 (2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 984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83,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21885704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HK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7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9 (0,4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3 767 (12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 106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97,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641 (4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9096311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A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5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8 (0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 125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90,0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7 (0,3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4138253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VYS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4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13 (0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746 (3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138 (2,9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 618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95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5 (0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05794318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JM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3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8 (0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081 (2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1 746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96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6 (0,4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76 (1,3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4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96275379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OL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9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0 (1,0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761 (2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 688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96,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126 (2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997 (2,3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00506215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ZL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8 (0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92 (1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 358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86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87570946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solidFill>
                            <a:schemeClr val="bg1"/>
                          </a:solidFill>
                        </a:rPr>
                        <a:t>MSK</a:t>
                      </a:r>
                      <a:endParaRPr lang="cs-CZ" sz="1400" b="1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6 (1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4 158 (9,4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2 696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97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92984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14B13731-1398-481A-97F6-B54E95561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sz="2300" dirty="0"/>
              <a:t>Screeningové mamografie: migrace žen za vyšetřením napříč kraji ČR (2023)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B5D56F7-3A93-FDF2-C48C-51CF37AE0595}"/>
              </a:ext>
            </a:extLst>
          </p:cNvPr>
          <p:cNvSpPr txBox="1"/>
          <p:nvPr/>
        </p:nvSpPr>
        <p:spPr>
          <a:xfrm flipH="1">
            <a:off x="1129318" y="1084341"/>
            <a:ext cx="143198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 bydliště</a:t>
            </a:r>
          </a:p>
        </p:txBody>
      </p:sp>
      <p:sp>
        <p:nvSpPr>
          <p:cNvPr id="19" name="Rectangle 186">
            <a:extLst>
              <a:ext uri="{FF2B5EF4-FFF2-40B4-BE49-F238E27FC236}">
                <a16:creationId xmlns:a16="http://schemas.microsoft.com/office/drawing/2014/main" id="{F692249A-B7F7-A53A-F059-55FE73BCAA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9795" y="933063"/>
            <a:ext cx="8074800" cy="441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spcBef>
                <a:spcPct val="20000"/>
              </a:spcBef>
              <a:buChar char="•"/>
              <a:defRPr sz="2000">
                <a:solidFill>
                  <a:srgbClr val="5F3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5F3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600">
                <a:solidFill>
                  <a:srgbClr val="5F3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, ÚZIS ČR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reeningová mamografie (89178, 89223); ženy ve věku 45 a více let; 2023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5F1475AB-2F0C-D703-6D56-39F663DA01DA}"/>
              </a:ext>
            </a:extLst>
          </p:cNvPr>
          <p:cNvSpPr txBox="1"/>
          <p:nvPr/>
        </p:nvSpPr>
        <p:spPr>
          <a:xfrm>
            <a:off x="236593" y="6495090"/>
            <a:ext cx="119554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zn.: U 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108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creeningových mamografií nebylo možné určit kraj zdravotnického zařízení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zn.: </a:t>
            </a:r>
            <a:r>
              <a:rPr kumimoji="0" lang="cs-CZ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ikátor hodnotí počet žen ve věku 45 a více let, které byly v daném roce vyšetřeny screeningovou mamografií. V případě, že bylo ženě v roce provedeno více screeningových mamografií, je započteno pouze jedno vyšetření.</a:t>
            </a:r>
            <a:endParaRPr kumimoji="0" lang="cs-CZ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4A9C4FB7-C913-2B49-8070-0154F98C3D9E}"/>
              </a:ext>
            </a:extLst>
          </p:cNvPr>
          <p:cNvSpPr txBox="1"/>
          <p:nvPr/>
        </p:nvSpPr>
        <p:spPr>
          <a:xfrm rot="16200000" flipH="1">
            <a:off x="-1428523" y="3737241"/>
            <a:ext cx="31687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 zdravotnického zařízení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5979BABF-428D-EF11-D221-4D3FED7A24EF}"/>
              </a:ext>
            </a:extLst>
          </p:cNvPr>
          <p:cNvSpPr/>
          <p:nvPr/>
        </p:nvSpPr>
        <p:spPr>
          <a:xfrm>
            <a:off x="2641305" y="1374432"/>
            <a:ext cx="787645" cy="5150405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B45086E3-B72F-921D-DF15-AC9E0F398802}"/>
              </a:ext>
            </a:extLst>
          </p:cNvPr>
          <p:cNvSpPr/>
          <p:nvPr/>
        </p:nvSpPr>
        <p:spPr>
          <a:xfrm rot="16200000">
            <a:off x="6002047" y="-3025181"/>
            <a:ext cx="338553" cy="11709457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58345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4B13731-1398-481A-97F6-B54E95561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sz="2300" dirty="0"/>
              <a:t>Screeningové mamografie: migrace žen za vyšetřením napříč kraji ČR (2023)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B5D56F7-3A93-FDF2-C48C-51CF37AE0595}"/>
              </a:ext>
            </a:extLst>
          </p:cNvPr>
          <p:cNvSpPr txBox="1"/>
          <p:nvPr/>
        </p:nvSpPr>
        <p:spPr>
          <a:xfrm flipH="1">
            <a:off x="1129318" y="1084341"/>
            <a:ext cx="143198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 bydliště</a:t>
            </a:r>
          </a:p>
        </p:txBody>
      </p:sp>
      <p:sp>
        <p:nvSpPr>
          <p:cNvPr id="19" name="Rectangle 186">
            <a:extLst>
              <a:ext uri="{FF2B5EF4-FFF2-40B4-BE49-F238E27FC236}">
                <a16:creationId xmlns:a16="http://schemas.microsoft.com/office/drawing/2014/main" id="{F692249A-B7F7-A53A-F059-55FE73BCAA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9795" y="933063"/>
            <a:ext cx="8074800" cy="441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spcBef>
                <a:spcPct val="20000"/>
              </a:spcBef>
              <a:buChar char="•"/>
              <a:defRPr sz="2000">
                <a:solidFill>
                  <a:srgbClr val="5F3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5F3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600">
                <a:solidFill>
                  <a:srgbClr val="5F3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, ÚZIS ČR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reeningová mamografie (89178, 89223); ženy ve věku 45 a více let; 2023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5F1475AB-2F0C-D703-6D56-39F663DA01DA}"/>
              </a:ext>
            </a:extLst>
          </p:cNvPr>
          <p:cNvSpPr txBox="1"/>
          <p:nvPr/>
        </p:nvSpPr>
        <p:spPr>
          <a:xfrm>
            <a:off x="236593" y="6495090"/>
            <a:ext cx="119554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zn.: U 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108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creeningových mamografií nebylo možné určit kraj zdravotnického zařízení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zn.: </a:t>
            </a:r>
            <a:r>
              <a:rPr kumimoji="0" lang="cs-CZ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ikátor hodnotí počet žen ve věku 45 a více let, které byly v daném roce vyšetřeny screeningovou mamografií. V případě, že bylo ženě v roce provedeno více screeningových mamografií, je započteno pouze jedno vyšetření.</a:t>
            </a:r>
            <a:endParaRPr kumimoji="0" lang="cs-CZ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4A9C4FB7-C913-2B49-8070-0154F98C3D9E}"/>
              </a:ext>
            </a:extLst>
          </p:cNvPr>
          <p:cNvSpPr txBox="1"/>
          <p:nvPr/>
        </p:nvSpPr>
        <p:spPr>
          <a:xfrm rot="16200000" flipH="1">
            <a:off x="-1428523" y="3737241"/>
            <a:ext cx="31687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 zdravotnického zařízení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8599584E-C55A-CA3C-9BEE-57B94CB9042E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308052" y="1373151"/>
          <a:ext cx="11718000" cy="5151686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781200">
                  <a:extLst>
                    <a:ext uri="{9D8B030D-6E8A-4147-A177-3AD203B41FA5}">
                      <a16:colId xmlns:a16="http://schemas.microsoft.com/office/drawing/2014/main" val="166537727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72376352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12470062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45433169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009325056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08701115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8258890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16275743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5549188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66359888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80002450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200670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5773942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276469750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795430677"/>
                    </a:ext>
                  </a:extLst>
                </a:gridCol>
              </a:tblGrid>
              <a:tr h="326066">
                <a:tc>
                  <a:txBody>
                    <a:bodyPr/>
                    <a:lstStyle/>
                    <a:p>
                      <a:pPr algn="r" fontAlgn="b">
                        <a:lnSpc>
                          <a:spcPct val="80000"/>
                        </a:lnSpc>
                      </a:pP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PHA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STC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JHC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PL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KV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UL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LB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HK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PA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VYS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JM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OL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ZL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MS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8339403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r" fontAlgn="b">
                        <a:lnSpc>
                          <a:spcPct val="80000"/>
                        </a:lnSpc>
                      </a:pP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14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Počet (podíl)</a:t>
                      </a:r>
                      <a:r>
                        <a:rPr lang="en-US" sz="1400" b="1" dirty="0"/>
                        <a:t> </a:t>
                      </a:r>
                      <a:r>
                        <a:rPr lang="cs-CZ" sz="1400" b="1" dirty="0"/>
                        <a:t>vyšetřených žen s daným místem bydliště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217579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HA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4 447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98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33 429 </a:t>
                      </a:r>
                    </a:p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(33,4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76 (1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9 (0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7 (1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638 (2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8 (1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8 (0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7 (0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3 (0,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3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2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2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2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24296347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STC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68 (0,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4 739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64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5 (0,4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0 (1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9 (0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6 (1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0 (0,4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7 (0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6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74523369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JHC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3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0 (0,3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 090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94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6 (0,3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1 (0,3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8705672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L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3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2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 898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97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885 (4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65000726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KV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4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 299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93,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2 (0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25817302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UL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1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5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 594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93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0 (0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77438823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LB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6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1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66 (2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 984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83,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21885704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HK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7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9 (0,4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3 767 (12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 106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97,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641 (4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9096311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A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5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8 (0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 125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90,0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7 (0,3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4138253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VYS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4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13 (0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746 (3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138 (2,9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 618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95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5 (0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05794318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JM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3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8 (0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081 (2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1 746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96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6 (0,4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76 (1,3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4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96275379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OL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9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0 (1,0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761 (2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 688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96,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126 (2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997 (2,3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00506215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ZL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8 (0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92 (1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 358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86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87570946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solidFill>
                            <a:schemeClr val="bg1"/>
                          </a:solidFill>
                        </a:rPr>
                        <a:t>MSK</a:t>
                      </a:r>
                      <a:endParaRPr lang="cs-CZ" sz="1400" b="1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6 (1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4 158 (9,4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2 696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97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929841"/>
                  </a:ext>
                </a:extLst>
              </a:tr>
            </a:tbl>
          </a:graphicData>
        </a:graphic>
      </p:graphicFrame>
      <p:sp>
        <p:nvSpPr>
          <p:cNvPr id="8" name="Obdélník 7">
            <a:extLst>
              <a:ext uri="{FF2B5EF4-FFF2-40B4-BE49-F238E27FC236}">
                <a16:creationId xmlns:a16="http://schemas.microsoft.com/office/drawing/2014/main" id="{2A6530B5-EBDA-3522-2B9E-C52A00B6C2C4}"/>
              </a:ext>
            </a:extLst>
          </p:cNvPr>
          <p:cNvSpPr/>
          <p:nvPr/>
        </p:nvSpPr>
        <p:spPr>
          <a:xfrm>
            <a:off x="2641305" y="1374432"/>
            <a:ext cx="787645" cy="5150405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44CF9556-E7F7-A591-98B9-106ACC24A67F}"/>
              </a:ext>
            </a:extLst>
          </p:cNvPr>
          <p:cNvSpPr txBox="1"/>
          <p:nvPr/>
        </p:nvSpPr>
        <p:spPr>
          <a:xfrm>
            <a:off x="3954800" y="3559091"/>
            <a:ext cx="7545401" cy="1077218"/>
          </a:xfrm>
          <a:prstGeom prst="rect">
            <a:avLst/>
          </a:prstGeom>
          <a:solidFill>
            <a:schemeClr val="accent3"/>
          </a:solidFill>
          <a:ln w="28575"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Ženy z Jihočeského kraje ve většině případů podstupují screeningové vyšetření v Jihočeském kraji (94,1 %)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lá část žen dojíždí za vyšetřením do kraje Vysočina (3,5 %).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F37A6C06-C7BE-CB16-990C-1CA75D619EC7}"/>
              </a:ext>
            </a:extLst>
          </p:cNvPr>
          <p:cNvSpPr/>
          <p:nvPr/>
        </p:nvSpPr>
        <p:spPr>
          <a:xfrm rot="16200000">
            <a:off x="6002047" y="-3025181"/>
            <a:ext cx="338553" cy="11709457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64325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text 5">
            <a:extLst>
              <a:ext uri="{FF2B5EF4-FFF2-40B4-BE49-F238E27FC236}">
                <a16:creationId xmlns:a16="http://schemas.microsoft.com/office/drawing/2014/main" id="{A774953F-2723-0C99-D44E-6200DC67D14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0800" y="5443989"/>
            <a:ext cx="10728000" cy="1034504"/>
          </a:xfrm>
        </p:spPr>
        <p:txBody>
          <a:bodyPr anchor="ctr">
            <a:normAutofit/>
          </a:bodyPr>
          <a:lstStyle/>
          <a:p>
            <a:pPr algn="just"/>
            <a:r>
              <a:rPr lang="cs-CZ" sz="1400" b="1" dirty="0"/>
              <a:t>Průměrná objednávací doba v ČR: </a:t>
            </a:r>
            <a:r>
              <a:rPr lang="cs-CZ" sz="1400" b="1" dirty="0">
                <a:solidFill>
                  <a:schemeClr val="accent1"/>
                </a:solidFill>
              </a:rPr>
              <a:t>21 dní</a:t>
            </a:r>
          </a:p>
          <a:p>
            <a:pPr algn="just"/>
            <a:r>
              <a:rPr kumimoji="0" lang="cs-CZ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Jednotlivé kraje ČR se v průměrné objednací době zřetelně liší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. Průměrná objednávací doba v </a:t>
            </a:r>
            <a:r>
              <a:rPr lang="cs-CZ" sz="1200" b="1" dirty="0"/>
              <a:t>Jihočeském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kraji </a:t>
            </a:r>
            <a:r>
              <a:rPr lang="cs-CZ" sz="1200" b="1" kern="0" dirty="0"/>
              <a:t>je vyšší než celorepublikový průměr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, a to 27 dní.</a:t>
            </a:r>
          </a:p>
        </p:txBody>
      </p:sp>
      <p:sp>
        <p:nvSpPr>
          <p:cNvPr id="8" name="Nadpis 2">
            <a:extLst>
              <a:ext uri="{FF2B5EF4-FFF2-40B4-BE49-F238E27FC236}">
                <a16:creationId xmlns:a16="http://schemas.microsoft.com/office/drawing/2014/main" id="{273F8017-3A2E-1654-23B1-E41C7B0B0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475199"/>
            <a:ext cx="9802034" cy="720000"/>
          </a:xfrm>
        </p:spPr>
        <p:txBody>
          <a:bodyPr>
            <a:normAutofit fontScale="90000"/>
          </a:bodyPr>
          <a:lstStyle/>
          <a:p>
            <a:r>
              <a:rPr lang="cs-CZ" dirty="0"/>
              <a:t>Průměrná objednávací doba mamografických screeningových center dle kraje centra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27224B6B-F484-9DC0-DFE7-EC9F056A1233}"/>
              </a:ext>
            </a:extLst>
          </p:cNvPr>
          <p:cNvSpPr txBox="1"/>
          <p:nvPr/>
        </p:nvSpPr>
        <p:spPr>
          <a:xfrm>
            <a:off x="421451" y="1277302"/>
            <a:ext cx="11349099" cy="299184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2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daje byly vyexportovány k </a:t>
            </a:r>
            <a:r>
              <a:rPr kumimoji="0" lang="cs-CZ" sz="12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7. září 2024 </a:t>
            </a: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 webových stránek www.mamo.cz (včetně satelitních pracovišť): https://www.mamo.cz/centra/#seznam (hodnocen údaj „Objednací doba“)</a:t>
            </a:r>
          </a:p>
        </p:txBody>
      </p:sp>
      <p:graphicFrame>
        <p:nvGraphicFramePr>
          <p:cNvPr id="12" name="Object 4">
            <a:extLst>
              <a:ext uri="{FF2B5EF4-FFF2-40B4-BE49-F238E27FC236}">
                <a16:creationId xmlns:a16="http://schemas.microsoft.com/office/drawing/2014/main" id="{A2A0E22B-EB90-7584-D09C-620FF9B42E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30475" y="1914843"/>
          <a:ext cx="10728325" cy="35291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ovéPole 2">
            <a:extLst>
              <a:ext uri="{FF2B5EF4-FFF2-40B4-BE49-F238E27FC236}">
                <a16:creationId xmlns:a16="http://schemas.microsoft.com/office/drawing/2014/main" id="{73B0B85E-1473-A7B9-FBD8-D90AA55D0974}"/>
              </a:ext>
            </a:extLst>
          </p:cNvPr>
          <p:cNvSpPr txBox="1"/>
          <p:nvPr/>
        </p:nvSpPr>
        <p:spPr>
          <a:xfrm>
            <a:off x="10416866" y="3045731"/>
            <a:ext cx="1775134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ůměrná objednávací doba v ČR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D47BB6B7-ACF7-E127-AA43-4F011376F085}"/>
              </a:ext>
            </a:extLst>
          </p:cNvPr>
          <p:cNvSpPr txBox="1"/>
          <p:nvPr/>
        </p:nvSpPr>
        <p:spPr>
          <a:xfrm>
            <a:off x="8860848" y="1832423"/>
            <a:ext cx="2868520" cy="1015663"/>
          </a:xfrm>
          <a:prstGeom prst="rect">
            <a:avLst/>
          </a:prstGeom>
          <a:solidFill>
            <a:srgbClr val="DA2B46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le věstníku 5/2024: </a:t>
            </a:r>
            <a:b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bjednací doby na screeningové mamografické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vyšetření dlouhodobě nepřesahují 8 týdnů.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" name="Přímá spojnice 4">
            <a:extLst>
              <a:ext uri="{FF2B5EF4-FFF2-40B4-BE49-F238E27FC236}">
                <a16:creationId xmlns:a16="http://schemas.microsoft.com/office/drawing/2014/main" id="{247BC5B2-ED04-4D32-B14B-FBC7383FC3A9}"/>
              </a:ext>
            </a:extLst>
          </p:cNvPr>
          <p:cNvCxnSpPr>
            <a:cxnSpLocks/>
          </p:cNvCxnSpPr>
          <p:nvPr/>
        </p:nvCxnSpPr>
        <p:spPr>
          <a:xfrm>
            <a:off x="1620000" y="3644800"/>
            <a:ext cx="9445218" cy="0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663876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text 5">
            <a:extLst>
              <a:ext uri="{FF2B5EF4-FFF2-40B4-BE49-F238E27FC236}">
                <a16:creationId xmlns:a16="http://schemas.microsoft.com/office/drawing/2014/main" id="{A774953F-2723-0C99-D44E-6200DC67D14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0800" y="5443989"/>
            <a:ext cx="10728000" cy="1034504"/>
          </a:xfrm>
        </p:spPr>
        <p:txBody>
          <a:bodyPr anchor="ctr">
            <a:normAutofit/>
          </a:bodyPr>
          <a:lstStyle/>
          <a:p>
            <a:pPr algn="just"/>
            <a:r>
              <a:rPr lang="cs-CZ" sz="1400" b="1" dirty="0"/>
              <a:t>Průměrná objednávací doba v ČR: </a:t>
            </a:r>
            <a:r>
              <a:rPr lang="cs-CZ" sz="1400" b="1" dirty="0">
                <a:solidFill>
                  <a:schemeClr val="accent1"/>
                </a:solidFill>
              </a:rPr>
              <a:t>21 dní</a:t>
            </a:r>
          </a:p>
          <a:p>
            <a:pPr algn="just"/>
            <a:r>
              <a:rPr kumimoji="0" lang="cs-CZ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Jednotlivé kraje ČR se v průměrné objednací době zřetelně liší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. Průměrná objednávací doba v </a:t>
            </a:r>
            <a:r>
              <a:rPr lang="cs-CZ" sz="1200" b="1" dirty="0"/>
              <a:t>Jihočeském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kraji </a:t>
            </a:r>
            <a:r>
              <a:rPr lang="cs-CZ" sz="1200" b="1" kern="0" dirty="0"/>
              <a:t>odpovídá celorepublikovému průměru 21 dní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.</a:t>
            </a:r>
          </a:p>
        </p:txBody>
      </p:sp>
      <p:sp>
        <p:nvSpPr>
          <p:cNvPr id="8" name="Nadpis 2">
            <a:extLst>
              <a:ext uri="{FF2B5EF4-FFF2-40B4-BE49-F238E27FC236}">
                <a16:creationId xmlns:a16="http://schemas.microsoft.com/office/drawing/2014/main" id="{273F8017-3A2E-1654-23B1-E41C7B0B0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475199"/>
            <a:ext cx="9802034" cy="720000"/>
          </a:xfrm>
        </p:spPr>
        <p:txBody>
          <a:bodyPr>
            <a:normAutofit fontScale="90000"/>
          </a:bodyPr>
          <a:lstStyle/>
          <a:p>
            <a:r>
              <a:rPr lang="cs-CZ" dirty="0"/>
              <a:t>Průměrná objednávací doba mamografických screeningových center dle kraje centra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27224B6B-F484-9DC0-DFE7-EC9F056A1233}"/>
              </a:ext>
            </a:extLst>
          </p:cNvPr>
          <p:cNvSpPr txBox="1"/>
          <p:nvPr/>
        </p:nvSpPr>
        <p:spPr>
          <a:xfrm>
            <a:off x="421451" y="1277302"/>
            <a:ext cx="11349099" cy="299184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2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daje byly vyexportovány k </a:t>
            </a:r>
            <a:r>
              <a:rPr kumimoji="0" lang="cs-CZ" sz="12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 dubnu 2025 </a:t>
            </a: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 webových stránek www.mamo.cz (včetně satelitních pracovišť): https://www.mamo.cz/centra/#seznam (hodnocen údaj „Objednací doba“)</a:t>
            </a:r>
          </a:p>
        </p:txBody>
      </p:sp>
      <p:graphicFrame>
        <p:nvGraphicFramePr>
          <p:cNvPr id="12" name="Object 4">
            <a:extLst>
              <a:ext uri="{FF2B5EF4-FFF2-40B4-BE49-F238E27FC236}">
                <a16:creationId xmlns:a16="http://schemas.microsoft.com/office/drawing/2014/main" id="{A2A0E22B-EB90-7584-D09C-620FF9B42E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30250" y="1914526"/>
          <a:ext cx="10728325" cy="35291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2" name="Přímá spojnice 1">
            <a:extLst>
              <a:ext uri="{FF2B5EF4-FFF2-40B4-BE49-F238E27FC236}">
                <a16:creationId xmlns:a16="http://schemas.microsoft.com/office/drawing/2014/main" id="{F54E926F-8ACC-28EB-CCFB-71D97C043AFF}"/>
              </a:ext>
            </a:extLst>
          </p:cNvPr>
          <p:cNvCxnSpPr>
            <a:cxnSpLocks/>
          </p:cNvCxnSpPr>
          <p:nvPr/>
        </p:nvCxnSpPr>
        <p:spPr>
          <a:xfrm>
            <a:off x="1620000" y="3653592"/>
            <a:ext cx="9445218" cy="0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ovéPole 2">
            <a:extLst>
              <a:ext uri="{FF2B5EF4-FFF2-40B4-BE49-F238E27FC236}">
                <a16:creationId xmlns:a16="http://schemas.microsoft.com/office/drawing/2014/main" id="{73B0B85E-1473-A7B9-FBD8-D90AA55D0974}"/>
              </a:ext>
            </a:extLst>
          </p:cNvPr>
          <p:cNvSpPr txBox="1"/>
          <p:nvPr/>
        </p:nvSpPr>
        <p:spPr>
          <a:xfrm>
            <a:off x="10416866" y="3045731"/>
            <a:ext cx="1775134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ůměrná objednávací doba v ČR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D47BB6B7-ACF7-E127-AA43-4F011376F085}"/>
              </a:ext>
            </a:extLst>
          </p:cNvPr>
          <p:cNvSpPr txBox="1"/>
          <p:nvPr/>
        </p:nvSpPr>
        <p:spPr>
          <a:xfrm>
            <a:off x="8860848" y="1832423"/>
            <a:ext cx="2868520" cy="1015663"/>
          </a:xfrm>
          <a:prstGeom prst="rect">
            <a:avLst/>
          </a:prstGeom>
          <a:solidFill>
            <a:srgbClr val="DA2B46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le věstníku 5/2024: </a:t>
            </a:r>
            <a:b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bjednací doby na screeningové mamografické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vyšetření dlouhodobě nepřesahují 8 týdnů.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90020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60DF2E09-D825-4428-4FC6-0D5A6C14348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175" t="10215" r="10402" b="6729"/>
          <a:stretch/>
        </p:blipFill>
        <p:spPr>
          <a:xfrm>
            <a:off x="485087" y="1239692"/>
            <a:ext cx="7522638" cy="4370651"/>
          </a:xfrm>
          <a:prstGeom prst="rect">
            <a:avLst/>
          </a:prstGeom>
        </p:spPr>
      </p:pic>
      <p:sp>
        <p:nvSpPr>
          <p:cNvPr id="5" name="Nadpis 4">
            <a:extLst>
              <a:ext uri="{FF2B5EF4-FFF2-40B4-BE49-F238E27FC236}">
                <a16:creationId xmlns:a16="http://schemas.microsoft.com/office/drawing/2014/main" id="{8259D2F9-7B03-99A9-98C4-C4FFBE2C0E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Průměrná objednávací doba mamografických screeningových center dle okresu centra</a:t>
            </a:r>
          </a:p>
        </p:txBody>
      </p:sp>
      <p:sp>
        <p:nvSpPr>
          <p:cNvPr id="4" name="Zástupný text 5">
            <a:extLst>
              <a:ext uri="{FF2B5EF4-FFF2-40B4-BE49-F238E27FC236}">
                <a16:creationId xmlns:a16="http://schemas.microsoft.com/office/drawing/2014/main" id="{853B4672-88F7-0A79-FE39-F1CD765595E2}"/>
              </a:ext>
            </a:extLst>
          </p:cNvPr>
          <p:cNvSpPr txBox="1">
            <a:spLocks/>
          </p:cNvSpPr>
          <p:nvPr/>
        </p:nvSpPr>
        <p:spPr>
          <a:xfrm>
            <a:off x="730800" y="5443989"/>
            <a:ext cx="10728000" cy="927259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ůměrná objednávací </a:t>
            </a:r>
            <a:r>
              <a:rPr lang="cs-CZ" sz="1400" b="1" dirty="0">
                <a:solidFill>
                  <a:srgbClr val="000000"/>
                </a:solidFill>
                <a:latin typeface="Arial" panose="020B0604020202020204"/>
              </a:rPr>
              <a:t>doba v ČR: </a:t>
            </a:r>
            <a:r>
              <a:rPr lang="cs-CZ" sz="1400" b="1" dirty="0">
                <a:solidFill>
                  <a:schemeClr val="accent1"/>
                </a:solidFill>
              </a:rPr>
              <a:t>21 dní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okrese Písek (40 dní) byla pozorována výrazně vyšší průměrná objednávací doba v porovnání s celorepublikovým průměrem. Okres České Budějovice (14 dní) patří mezi okresy s výrazně nižší průměrnou objednávací dobou na mamografii v ČR. </a:t>
            </a:r>
            <a:endParaRPr kumimoji="0" lang="cs-CZ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DB887729-454A-0680-8AF4-C86F41BF8A11}"/>
              </a:ext>
            </a:extLst>
          </p:cNvPr>
          <p:cNvSpPr txBox="1"/>
          <p:nvPr/>
        </p:nvSpPr>
        <p:spPr>
          <a:xfrm>
            <a:off x="631638" y="6419140"/>
            <a:ext cx="11349099" cy="2646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2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V ČR je několik okresů, ve kterých není žádné screeningové mamografické centrum, u těchto okresů nebylo možné spočítat daný indikátor.</a:t>
            </a:r>
            <a:endParaRPr kumimoji="0" lang="cs-CZ" sz="10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Text Box 3">
            <a:extLst>
              <a:ext uri="{FF2B5EF4-FFF2-40B4-BE49-F238E27FC236}">
                <a16:creationId xmlns:a16="http://schemas.microsoft.com/office/drawing/2014/main" id="{27C4D6EE-70A8-1F96-51CC-4B7C0314F1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98155" y="2623427"/>
            <a:ext cx="1480715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Text Box 3">
            <a:extLst>
              <a:ext uri="{FF2B5EF4-FFF2-40B4-BE49-F238E27FC236}">
                <a16:creationId xmlns:a16="http://schemas.microsoft.com/office/drawing/2014/main" id="{47156D71-9854-4CF2-D892-DC25EBF9D1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14467" y="2647416"/>
            <a:ext cx="1364403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ůměrná objednávací doba ve dnech; počet center</a:t>
            </a:r>
          </a:p>
        </p:txBody>
      </p:sp>
      <p:sp>
        <p:nvSpPr>
          <p:cNvPr id="27" name="Rectangle 177">
            <a:extLst>
              <a:ext uri="{FF2B5EF4-FFF2-40B4-BE49-F238E27FC236}">
                <a16:creationId xmlns:a16="http://schemas.microsoft.com/office/drawing/2014/main" id="{941D4950-D44C-9999-58D2-2E8F02F2D5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6870" y="3515708"/>
            <a:ext cx="180000" cy="180000"/>
          </a:xfrm>
          <a:prstGeom prst="rect">
            <a:avLst/>
          </a:prstGeom>
          <a:solidFill>
            <a:srgbClr val="E4F2FF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28" name="Rectangle 177">
            <a:extLst>
              <a:ext uri="{FF2B5EF4-FFF2-40B4-BE49-F238E27FC236}">
                <a16:creationId xmlns:a16="http://schemas.microsoft.com/office/drawing/2014/main" id="{B64750F7-0574-D031-623F-48E1413BB9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6870" y="3757008"/>
            <a:ext cx="180000" cy="180000"/>
          </a:xfrm>
          <a:prstGeom prst="rect">
            <a:avLst/>
          </a:prstGeom>
          <a:solidFill>
            <a:srgbClr val="BDD8F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29" name="Rectangle 177">
            <a:extLst>
              <a:ext uri="{FF2B5EF4-FFF2-40B4-BE49-F238E27FC236}">
                <a16:creationId xmlns:a16="http://schemas.microsoft.com/office/drawing/2014/main" id="{B613A741-5BA2-2930-2C60-4C37BA2623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6870" y="3998308"/>
            <a:ext cx="180000" cy="180000"/>
          </a:xfrm>
          <a:prstGeom prst="rect">
            <a:avLst/>
          </a:prstGeom>
          <a:solidFill>
            <a:srgbClr val="73B3D8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30" name="Rectangle 177">
            <a:extLst>
              <a:ext uri="{FF2B5EF4-FFF2-40B4-BE49-F238E27FC236}">
                <a16:creationId xmlns:a16="http://schemas.microsoft.com/office/drawing/2014/main" id="{0F4CBFE7-D16A-D8E3-BF83-9F1A17C005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6870" y="4239608"/>
            <a:ext cx="180000" cy="180000"/>
          </a:xfrm>
          <a:prstGeom prst="rect">
            <a:avLst/>
          </a:prstGeom>
          <a:solidFill>
            <a:srgbClr val="2879B9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31" name="Text Box 3">
            <a:extLst>
              <a:ext uri="{FF2B5EF4-FFF2-40B4-BE49-F238E27FC236}">
                <a16:creationId xmlns:a16="http://schemas.microsoft.com/office/drawing/2014/main" id="{B41436DD-BCB1-0E71-37F8-7D309DD892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6870" y="3467208"/>
            <a:ext cx="115213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≤ 5</a:t>
            </a:r>
          </a:p>
        </p:txBody>
      </p:sp>
      <p:sp>
        <p:nvSpPr>
          <p:cNvPr id="32" name="Text Box 3">
            <a:extLst>
              <a:ext uri="{FF2B5EF4-FFF2-40B4-BE49-F238E27FC236}">
                <a16:creationId xmlns:a16="http://schemas.microsoft.com/office/drawing/2014/main" id="{8A0551C3-5546-7B30-CCD6-B29172ECEA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6870" y="3711073"/>
            <a:ext cx="115213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 až 15</a:t>
            </a:r>
          </a:p>
        </p:txBody>
      </p:sp>
      <p:sp>
        <p:nvSpPr>
          <p:cNvPr id="33" name="Text Box 3">
            <a:extLst>
              <a:ext uri="{FF2B5EF4-FFF2-40B4-BE49-F238E27FC236}">
                <a16:creationId xmlns:a16="http://schemas.microsoft.com/office/drawing/2014/main" id="{E68F598E-FD72-713F-E551-5AB1562F533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6870" y="3954938"/>
            <a:ext cx="115213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5 až 25</a:t>
            </a:r>
          </a:p>
        </p:txBody>
      </p:sp>
      <p:sp>
        <p:nvSpPr>
          <p:cNvPr id="34" name="Text Box 3">
            <a:extLst>
              <a:ext uri="{FF2B5EF4-FFF2-40B4-BE49-F238E27FC236}">
                <a16:creationId xmlns:a16="http://schemas.microsoft.com/office/drawing/2014/main" id="{4E1D7C2D-0D14-EC70-5F6C-0C5CD567F0E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6870" y="4198803"/>
            <a:ext cx="115213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 až 35</a:t>
            </a:r>
          </a:p>
        </p:txBody>
      </p:sp>
      <p:sp>
        <p:nvSpPr>
          <p:cNvPr id="23" name="Rectangle 177">
            <a:extLst>
              <a:ext uri="{FF2B5EF4-FFF2-40B4-BE49-F238E27FC236}">
                <a16:creationId xmlns:a16="http://schemas.microsoft.com/office/drawing/2014/main" id="{BAEF29C4-A425-578F-F115-D6418AEBBA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6732" y="4497108"/>
            <a:ext cx="180000" cy="180000"/>
          </a:xfrm>
          <a:prstGeom prst="rect">
            <a:avLst/>
          </a:prstGeom>
          <a:solidFill>
            <a:srgbClr val="08306B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24" name="Text Box 3">
            <a:extLst>
              <a:ext uri="{FF2B5EF4-FFF2-40B4-BE49-F238E27FC236}">
                <a16:creationId xmlns:a16="http://schemas.microsoft.com/office/drawing/2014/main" id="{6B1DBB72-2626-4146-3252-ACD596D258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6732" y="4456303"/>
            <a:ext cx="115213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35</a:t>
            </a:r>
          </a:p>
        </p:txBody>
      </p:sp>
      <p:sp>
        <p:nvSpPr>
          <p:cNvPr id="38" name="Rectangle 177">
            <a:extLst>
              <a:ext uri="{FF2B5EF4-FFF2-40B4-BE49-F238E27FC236}">
                <a16:creationId xmlns:a16="http://schemas.microsoft.com/office/drawing/2014/main" id="{2F28FAF2-FD38-DB4F-400E-D52A22A4B1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6732" y="4739272"/>
            <a:ext cx="1800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EAAF81CA-D448-19B9-66A4-9EEE62000AE6}"/>
              </a:ext>
            </a:extLst>
          </p:cNvPr>
          <p:cNvSpPr txBox="1"/>
          <p:nvPr/>
        </p:nvSpPr>
        <p:spPr>
          <a:xfrm>
            <a:off x="7910625" y="4707684"/>
            <a:ext cx="195430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ní centrum 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daném okrese*</a:t>
            </a:r>
          </a:p>
        </p:txBody>
      </p:sp>
      <p:sp>
        <p:nvSpPr>
          <p:cNvPr id="42" name="TextovéPole 41">
            <a:extLst>
              <a:ext uri="{FF2B5EF4-FFF2-40B4-BE49-F238E27FC236}">
                <a16:creationId xmlns:a16="http://schemas.microsoft.com/office/drawing/2014/main" id="{AE187962-D21B-AD40-9BF3-0A349BEA244B}"/>
              </a:ext>
            </a:extLst>
          </p:cNvPr>
          <p:cNvSpPr txBox="1"/>
          <p:nvPr/>
        </p:nvSpPr>
        <p:spPr>
          <a:xfrm>
            <a:off x="20174" y="1289898"/>
            <a:ext cx="2745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ůměrná objednávací doba (dny);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center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3488B9C3-9C1F-98F6-E63A-05D3987484F7}"/>
              </a:ext>
            </a:extLst>
          </p:cNvPr>
          <p:cNvSpPr txBox="1"/>
          <p:nvPr/>
        </p:nvSpPr>
        <p:spPr>
          <a:xfrm>
            <a:off x="8304905" y="1869740"/>
            <a:ext cx="38870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ůměrná objednávací doba v okresech Jihočeského kraje: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522B3134-7C85-8FC7-A98A-F42192D513B8}"/>
              </a:ext>
            </a:extLst>
          </p:cNvPr>
          <p:cNvSpPr txBox="1"/>
          <p:nvPr/>
        </p:nvSpPr>
        <p:spPr>
          <a:xfrm>
            <a:off x="9306768" y="13248"/>
            <a:ext cx="2868520" cy="1015663"/>
          </a:xfrm>
          <a:prstGeom prst="rect">
            <a:avLst/>
          </a:prstGeom>
          <a:solidFill>
            <a:srgbClr val="DA2B46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le věstníku 5/2024: </a:t>
            </a:r>
            <a:b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bjednací doby na screeningové mamografické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vyšetření dlouhodobě nepřesahují 8 týdnů.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125AD41D-77D8-B12D-7E5E-19917375AD4D}"/>
              </a:ext>
            </a:extLst>
          </p:cNvPr>
          <p:cNvSpPr txBox="1"/>
          <p:nvPr/>
        </p:nvSpPr>
        <p:spPr>
          <a:xfrm>
            <a:off x="5978769" y="1207231"/>
            <a:ext cx="6090719" cy="493597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2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daje byly vyexportovány k </a:t>
            </a:r>
            <a:r>
              <a:rPr kumimoji="0" lang="cs-CZ" sz="12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7. září 2024 </a:t>
            </a: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 webových stránek www.mamo.cz (včetně satelitních pracovišť): https://www.mamo.cz/centra/#seznam (hodnocen údaj „Objednací doba“)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5FF3D841-C910-F205-AE51-3FE37C2B445D}"/>
              </a:ext>
            </a:extLst>
          </p:cNvPr>
          <p:cNvSpPr txBox="1"/>
          <p:nvPr/>
        </p:nvSpPr>
        <p:spPr>
          <a:xfrm>
            <a:off x="9078870" y="2495474"/>
            <a:ext cx="3174209" cy="20338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é Budějovice: 14 dní</a:t>
            </a:r>
          </a:p>
          <a:p>
            <a:pPr marL="285750" indent="-285750">
              <a:lnSpc>
                <a:spcPct val="114000"/>
              </a:lnSpc>
              <a:buFontTx/>
              <a:buChar char="-"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ísek: 40 dní</a:t>
            </a:r>
          </a:p>
          <a:p>
            <a:pPr marL="285750" marR="0" lvl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ý Krumlov: bez centra</a:t>
            </a:r>
          </a:p>
          <a:p>
            <a:pPr marL="285750" marR="0" lvl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ndřichův Hradec: bez centra</a:t>
            </a:r>
          </a:p>
          <a:p>
            <a:pPr marL="285750" marR="0" lvl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hatice: bez centra</a:t>
            </a:r>
          </a:p>
          <a:p>
            <a:pPr marL="285750" marR="0" lvl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akonice: bez centra</a:t>
            </a:r>
          </a:p>
          <a:p>
            <a:pPr marL="285750" marR="0" lvl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ábor: bez centra</a:t>
            </a:r>
          </a:p>
        </p:txBody>
      </p:sp>
    </p:spTree>
    <p:extLst>
      <p:ext uri="{BB962C8B-B14F-4D97-AF65-F5344CB8AC3E}">
        <p14:creationId xmlns:p14="http://schemas.microsoft.com/office/powerpoint/2010/main" val="68185097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ázek 8" descr="Obsah obrázku mapa, umění&#10;&#10;Obsah vygenerovaný umělou inteligencí může být nesprávný.">
            <a:extLst>
              <a:ext uri="{FF2B5EF4-FFF2-40B4-BE49-F238E27FC236}">
                <a16:creationId xmlns:a16="http://schemas.microsoft.com/office/drawing/2014/main" id="{685D9B41-DAD9-6C55-9A3E-D246F5AF88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0" t="11236" r="8930" b="6929"/>
          <a:stretch/>
        </p:blipFill>
        <p:spPr>
          <a:xfrm>
            <a:off x="500260" y="1237971"/>
            <a:ext cx="7376369" cy="4300243"/>
          </a:xfrm>
          <a:prstGeom prst="rect">
            <a:avLst/>
          </a:prstGeom>
        </p:spPr>
      </p:pic>
      <p:sp>
        <p:nvSpPr>
          <p:cNvPr id="5" name="Nadpis 4">
            <a:extLst>
              <a:ext uri="{FF2B5EF4-FFF2-40B4-BE49-F238E27FC236}">
                <a16:creationId xmlns:a16="http://schemas.microsoft.com/office/drawing/2014/main" id="{8259D2F9-7B03-99A9-98C4-C4FFBE2C0E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Průměrná objednávací doba mamografických screeningových center dle okresu centra</a:t>
            </a:r>
          </a:p>
        </p:txBody>
      </p:sp>
      <p:sp>
        <p:nvSpPr>
          <p:cNvPr id="4" name="Zástupný text 5">
            <a:extLst>
              <a:ext uri="{FF2B5EF4-FFF2-40B4-BE49-F238E27FC236}">
                <a16:creationId xmlns:a16="http://schemas.microsoft.com/office/drawing/2014/main" id="{853B4672-88F7-0A79-FE39-F1CD765595E2}"/>
              </a:ext>
            </a:extLst>
          </p:cNvPr>
          <p:cNvSpPr txBox="1">
            <a:spLocks/>
          </p:cNvSpPr>
          <p:nvPr/>
        </p:nvSpPr>
        <p:spPr>
          <a:xfrm>
            <a:off x="730800" y="5443989"/>
            <a:ext cx="10728000" cy="927259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ůměrná objednávací doba </a:t>
            </a:r>
            <a:r>
              <a:rPr lang="cs-CZ" sz="1400" b="1" dirty="0">
                <a:solidFill>
                  <a:srgbClr val="000000"/>
                </a:solidFill>
                <a:latin typeface="Arial" panose="020B0604020202020204"/>
              </a:rPr>
              <a:t>v ČR: </a:t>
            </a:r>
            <a:r>
              <a:rPr lang="cs-CZ" sz="1400" b="1" dirty="0">
                <a:solidFill>
                  <a:schemeClr val="accent1"/>
                </a:solidFill>
              </a:rPr>
              <a:t>21 dní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okrese České Budějovice (40 dní) byla pozorována výrazně vyšší průměrná objednávací doba v porovnání s celorepublikovým průměrem. Okres Písek (1 den) patří mezi okresy s nejnižší průměrnou objednávací dobou na mamografii v ČR. </a:t>
            </a:r>
            <a:endParaRPr kumimoji="0" lang="cs-CZ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DB887729-454A-0680-8AF4-C86F41BF8A11}"/>
              </a:ext>
            </a:extLst>
          </p:cNvPr>
          <p:cNvSpPr txBox="1"/>
          <p:nvPr/>
        </p:nvSpPr>
        <p:spPr>
          <a:xfrm>
            <a:off x="631638" y="6419140"/>
            <a:ext cx="11349099" cy="2646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2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V ČR je několik okresů, ve kterých není žádné screeningové mamografické centrum, u těchto okresů nebylo možné spočítat daný indikátor.</a:t>
            </a:r>
            <a:endParaRPr kumimoji="0" lang="cs-CZ" sz="10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Text Box 3">
            <a:extLst>
              <a:ext uri="{FF2B5EF4-FFF2-40B4-BE49-F238E27FC236}">
                <a16:creationId xmlns:a16="http://schemas.microsoft.com/office/drawing/2014/main" id="{27C4D6EE-70A8-1F96-51CC-4B7C0314F1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14262" y="2638169"/>
            <a:ext cx="1480715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Text Box 3">
            <a:extLst>
              <a:ext uri="{FF2B5EF4-FFF2-40B4-BE49-F238E27FC236}">
                <a16:creationId xmlns:a16="http://schemas.microsoft.com/office/drawing/2014/main" id="{47156D71-9854-4CF2-D892-DC25EBF9D1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14467" y="2647416"/>
            <a:ext cx="1364403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ůměrná objednávací doba ve dnech; počet center</a:t>
            </a:r>
          </a:p>
        </p:txBody>
      </p:sp>
      <p:sp>
        <p:nvSpPr>
          <p:cNvPr id="27" name="Rectangle 177">
            <a:extLst>
              <a:ext uri="{FF2B5EF4-FFF2-40B4-BE49-F238E27FC236}">
                <a16:creationId xmlns:a16="http://schemas.microsoft.com/office/drawing/2014/main" id="{941D4950-D44C-9999-58D2-2E8F02F2D5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6870" y="3515708"/>
            <a:ext cx="180000" cy="180000"/>
          </a:xfrm>
          <a:prstGeom prst="rect">
            <a:avLst/>
          </a:prstGeom>
          <a:solidFill>
            <a:srgbClr val="E4F2FF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28" name="Rectangle 177">
            <a:extLst>
              <a:ext uri="{FF2B5EF4-FFF2-40B4-BE49-F238E27FC236}">
                <a16:creationId xmlns:a16="http://schemas.microsoft.com/office/drawing/2014/main" id="{B64750F7-0574-D031-623F-48E1413BB9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6870" y="3757008"/>
            <a:ext cx="180000" cy="180000"/>
          </a:xfrm>
          <a:prstGeom prst="rect">
            <a:avLst/>
          </a:prstGeom>
          <a:solidFill>
            <a:srgbClr val="BDD8F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29" name="Rectangle 177">
            <a:extLst>
              <a:ext uri="{FF2B5EF4-FFF2-40B4-BE49-F238E27FC236}">
                <a16:creationId xmlns:a16="http://schemas.microsoft.com/office/drawing/2014/main" id="{B613A741-5BA2-2930-2C60-4C37BA2623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6870" y="3998308"/>
            <a:ext cx="180000" cy="180000"/>
          </a:xfrm>
          <a:prstGeom prst="rect">
            <a:avLst/>
          </a:prstGeom>
          <a:solidFill>
            <a:srgbClr val="73B3D8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30" name="Rectangle 177">
            <a:extLst>
              <a:ext uri="{FF2B5EF4-FFF2-40B4-BE49-F238E27FC236}">
                <a16:creationId xmlns:a16="http://schemas.microsoft.com/office/drawing/2014/main" id="{0F4CBFE7-D16A-D8E3-BF83-9F1A17C005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6870" y="4239608"/>
            <a:ext cx="180000" cy="180000"/>
          </a:xfrm>
          <a:prstGeom prst="rect">
            <a:avLst/>
          </a:prstGeom>
          <a:solidFill>
            <a:srgbClr val="2879B9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31" name="Text Box 3">
            <a:extLst>
              <a:ext uri="{FF2B5EF4-FFF2-40B4-BE49-F238E27FC236}">
                <a16:creationId xmlns:a16="http://schemas.microsoft.com/office/drawing/2014/main" id="{B41436DD-BCB1-0E71-37F8-7D309DD892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6870" y="3467208"/>
            <a:ext cx="115213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≤ 5</a:t>
            </a:r>
          </a:p>
        </p:txBody>
      </p:sp>
      <p:sp>
        <p:nvSpPr>
          <p:cNvPr id="32" name="Text Box 3">
            <a:extLst>
              <a:ext uri="{FF2B5EF4-FFF2-40B4-BE49-F238E27FC236}">
                <a16:creationId xmlns:a16="http://schemas.microsoft.com/office/drawing/2014/main" id="{8A0551C3-5546-7B30-CCD6-B29172ECEA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6870" y="3711073"/>
            <a:ext cx="115213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 až 15</a:t>
            </a:r>
          </a:p>
        </p:txBody>
      </p:sp>
      <p:sp>
        <p:nvSpPr>
          <p:cNvPr id="33" name="Text Box 3">
            <a:extLst>
              <a:ext uri="{FF2B5EF4-FFF2-40B4-BE49-F238E27FC236}">
                <a16:creationId xmlns:a16="http://schemas.microsoft.com/office/drawing/2014/main" id="{E68F598E-FD72-713F-E551-5AB1562F533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6870" y="3954938"/>
            <a:ext cx="115213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5 až 25</a:t>
            </a:r>
          </a:p>
        </p:txBody>
      </p:sp>
      <p:sp>
        <p:nvSpPr>
          <p:cNvPr id="34" name="Text Box 3">
            <a:extLst>
              <a:ext uri="{FF2B5EF4-FFF2-40B4-BE49-F238E27FC236}">
                <a16:creationId xmlns:a16="http://schemas.microsoft.com/office/drawing/2014/main" id="{4E1D7C2D-0D14-EC70-5F6C-0C5CD567F0E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6870" y="4198803"/>
            <a:ext cx="115213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 až 35</a:t>
            </a:r>
          </a:p>
        </p:txBody>
      </p:sp>
      <p:sp>
        <p:nvSpPr>
          <p:cNvPr id="23" name="Rectangle 177">
            <a:extLst>
              <a:ext uri="{FF2B5EF4-FFF2-40B4-BE49-F238E27FC236}">
                <a16:creationId xmlns:a16="http://schemas.microsoft.com/office/drawing/2014/main" id="{BAEF29C4-A425-578F-F115-D6418AEBBA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6732" y="4497108"/>
            <a:ext cx="180000" cy="180000"/>
          </a:xfrm>
          <a:prstGeom prst="rect">
            <a:avLst/>
          </a:prstGeom>
          <a:solidFill>
            <a:srgbClr val="08306B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24" name="Text Box 3">
            <a:extLst>
              <a:ext uri="{FF2B5EF4-FFF2-40B4-BE49-F238E27FC236}">
                <a16:creationId xmlns:a16="http://schemas.microsoft.com/office/drawing/2014/main" id="{6B1DBB72-2626-4146-3252-ACD596D258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6732" y="4456303"/>
            <a:ext cx="115213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35</a:t>
            </a:r>
          </a:p>
        </p:txBody>
      </p:sp>
      <p:sp>
        <p:nvSpPr>
          <p:cNvPr id="38" name="Rectangle 177">
            <a:extLst>
              <a:ext uri="{FF2B5EF4-FFF2-40B4-BE49-F238E27FC236}">
                <a16:creationId xmlns:a16="http://schemas.microsoft.com/office/drawing/2014/main" id="{2F28FAF2-FD38-DB4F-400E-D52A22A4B1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6732" y="4739272"/>
            <a:ext cx="1800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EAAF81CA-D448-19B9-66A4-9EEE62000AE6}"/>
              </a:ext>
            </a:extLst>
          </p:cNvPr>
          <p:cNvSpPr txBox="1"/>
          <p:nvPr/>
        </p:nvSpPr>
        <p:spPr>
          <a:xfrm>
            <a:off x="7910625" y="4707684"/>
            <a:ext cx="195430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ní centrum 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daném okrese*</a:t>
            </a:r>
          </a:p>
        </p:txBody>
      </p:sp>
      <p:sp>
        <p:nvSpPr>
          <p:cNvPr id="42" name="TextovéPole 41">
            <a:extLst>
              <a:ext uri="{FF2B5EF4-FFF2-40B4-BE49-F238E27FC236}">
                <a16:creationId xmlns:a16="http://schemas.microsoft.com/office/drawing/2014/main" id="{AE187962-D21B-AD40-9BF3-0A349BEA244B}"/>
              </a:ext>
            </a:extLst>
          </p:cNvPr>
          <p:cNvSpPr txBox="1"/>
          <p:nvPr/>
        </p:nvSpPr>
        <p:spPr>
          <a:xfrm>
            <a:off x="20174" y="1289898"/>
            <a:ext cx="2745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ůměrná objednávací doba (dny);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center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3488B9C3-9C1F-98F6-E63A-05D3987484F7}"/>
              </a:ext>
            </a:extLst>
          </p:cNvPr>
          <p:cNvSpPr txBox="1"/>
          <p:nvPr/>
        </p:nvSpPr>
        <p:spPr>
          <a:xfrm>
            <a:off x="8304905" y="1869740"/>
            <a:ext cx="38870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ůměrná objednávací doba v okresech Jihočeského kraje: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522B3134-7C85-8FC7-A98A-F42192D513B8}"/>
              </a:ext>
            </a:extLst>
          </p:cNvPr>
          <p:cNvSpPr txBox="1"/>
          <p:nvPr/>
        </p:nvSpPr>
        <p:spPr>
          <a:xfrm>
            <a:off x="9306768" y="13248"/>
            <a:ext cx="2868520" cy="1015663"/>
          </a:xfrm>
          <a:prstGeom prst="rect">
            <a:avLst/>
          </a:prstGeom>
          <a:solidFill>
            <a:srgbClr val="DA2B46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le věstníku 5/2024: </a:t>
            </a:r>
            <a:b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bjednací doby na screeningové mamografické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vyšetření dlouhodobě nepřesahují 8 týdnů.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125AD41D-77D8-B12D-7E5E-19917375AD4D}"/>
              </a:ext>
            </a:extLst>
          </p:cNvPr>
          <p:cNvSpPr txBox="1"/>
          <p:nvPr/>
        </p:nvSpPr>
        <p:spPr>
          <a:xfrm>
            <a:off x="5978769" y="1207231"/>
            <a:ext cx="6090719" cy="493597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2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daje byly vyexportovány k </a:t>
            </a:r>
            <a:r>
              <a:rPr kumimoji="0" lang="cs-CZ" sz="12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 dubnu 2025 </a:t>
            </a: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 webových stránek www.mamo.cz (včetně satelitních pracovišť): https://www.mamo.cz/centra/#seznam (hodnocen údaj „Objednací doba“)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719B03C-5BF2-A28C-F298-B93A72CBE62A}"/>
              </a:ext>
            </a:extLst>
          </p:cNvPr>
          <p:cNvSpPr txBox="1"/>
          <p:nvPr/>
        </p:nvSpPr>
        <p:spPr>
          <a:xfrm>
            <a:off x="9078870" y="2490140"/>
            <a:ext cx="3158102" cy="20338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é Budějovice: 40 dní</a:t>
            </a:r>
          </a:p>
          <a:p>
            <a:pPr marL="285750" indent="-285750">
              <a:lnSpc>
                <a:spcPct val="114000"/>
              </a:lnSpc>
              <a:buFontTx/>
              <a:buChar char="-"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ísek: 1 den</a:t>
            </a:r>
          </a:p>
          <a:p>
            <a:pPr marL="285750" marR="0" lvl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ý Krumlov: bez centra</a:t>
            </a:r>
          </a:p>
          <a:p>
            <a:pPr marL="285750" marR="0" lvl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ndřichův Hradec: bez centra</a:t>
            </a:r>
          </a:p>
          <a:p>
            <a:pPr marL="285750" marR="0" lvl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hatice: bez centra</a:t>
            </a:r>
          </a:p>
          <a:p>
            <a:pPr marL="285750" marR="0" lvl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akonice: bez centra</a:t>
            </a:r>
          </a:p>
          <a:p>
            <a:pPr marL="285750" marR="0" lvl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ábor: bez centra</a:t>
            </a:r>
          </a:p>
        </p:txBody>
      </p:sp>
    </p:spTree>
    <p:extLst>
      <p:ext uri="{BB962C8B-B14F-4D97-AF65-F5344CB8AC3E}">
        <p14:creationId xmlns:p14="http://schemas.microsoft.com/office/powerpoint/2010/main" val="354268377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>
            <a:extLst>
              <a:ext uri="{FF2B5EF4-FFF2-40B4-BE49-F238E27FC236}">
                <a16:creationId xmlns:a16="http://schemas.microsoft.com/office/drawing/2014/main" id="{16A351A3-F0AE-0353-7E25-87EF4559BC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Epidemiologie nádorů plic a onkologická léčba</a:t>
            </a:r>
          </a:p>
        </p:txBody>
      </p:sp>
    </p:spTree>
    <p:extLst>
      <p:ext uri="{BB962C8B-B14F-4D97-AF65-F5344CB8AC3E}">
        <p14:creationId xmlns:p14="http://schemas.microsoft.com/office/powerpoint/2010/main" val="31055800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Nadpis 18">
            <a:extLst>
              <a:ext uri="{FF2B5EF4-FFF2-40B4-BE49-F238E27FC236}">
                <a16:creationId xmlns:a16="http://schemas.microsoft.com/office/drawing/2014/main" id="{D62B0AFD-F7A2-0BD9-6E71-6CF4757B8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Incidence zhoubných novotvarů v letech 2019–2023: srovnání JHC a ČR</a:t>
            </a:r>
            <a:br>
              <a:rPr lang="cs-CZ" dirty="0"/>
            </a:br>
            <a:endParaRPr lang="cs-CZ" dirty="0"/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8F4EE0BE-9611-E1C4-EC50-8EEFCEFA9A66}"/>
              </a:ext>
            </a:extLst>
          </p:cNvPr>
          <p:cNvSpPr/>
          <p:nvPr/>
        </p:nvSpPr>
        <p:spPr>
          <a:xfrm>
            <a:off x="626971" y="1982782"/>
            <a:ext cx="4558683" cy="1900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Box 20">
            <a:extLst>
              <a:ext uri="{FF2B5EF4-FFF2-40B4-BE49-F238E27FC236}">
                <a16:creationId xmlns:a16="http://schemas.microsoft.com/office/drawing/2014/main" id="{6DA2279D-3154-4FE4-9D83-F5F642B8B21E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05807" y="656647"/>
            <a:ext cx="553668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ční počet nově diagnostikovaných onemocnění na 100 000 osob</a:t>
            </a:r>
          </a:p>
        </p:txBody>
      </p:sp>
      <p:sp>
        <p:nvSpPr>
          <p:cNvPr id="11" name="Rectangle 233">
            <a:extLst>
              <a:ext uri="{FF2B5EF4-FFF2-40B4-BE49-F238E27FC236}">
                <a16:creationId xmlns:a16="http://schemas.microsoft.com/office/drawing/2014/main" id="{E9935E30-E1A0-472E-B505-FBAE12665FBB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911369" y="2987589"/>
            <a:ext cx="107950" cy="107950"/>
          </a:xfrm>
          <a:prstGeom prst="rect">
            <a:avLst/>
          </a:prstGeom>
          <a:solidFill>
            <a:srgbClr val="CC9900"/>
          </a:solidFill>
          <a:ln w="1651" algn="ctr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Rectangle 234">
            <a:extLst>
              <a:ext uri="{FF2B5EF4-FFF2-40B4-BE49-F238E27FC236}">
                <a16:creationId xmlns:a16="http://schemas.microsoft.com/office/drawing/2014/main" id="{F47512FE-66DB-457D-B5D9-C79C69E7DB89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911369" y="2818217"/>
            <a:ext cx="107950" cy="107950"/>
          </a:xfrm>
          <a:prstGeom prst="rect">
            <a:avLst/>
          </a:prstGeom>
          <a:solidFill>
            <a:srgbClr val="C00000"/>
          </a:solidFill>
          <a:ln w="1651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altLang="cs-CZ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" name="Text Box 237">
            <a:extLst>
              <a:ext uri="{FF2B5EF4-FFF2-40B4-BE49-F238E27FC236}">
                <a16:creationId xmlns:a16="http://schemas.microsoft.com/office/drawing/2014/main" id="{4C325B2C-77CB-4329-983F-A4E09D8F3DD9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063769" y="2772576"/>
            <a:ext cx="1874471" cy="383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ihočeský kraj</a:t>
            </a:r>
          </a:p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15" name="TextBox 6">
            <a:extLst>
              <a:ext uri="{FF2B5EF4-FFF2-40B4-BE49-F238E27FC236}">
                <a16:creationId xmlns:a16="http://schemas.microsoft.com/office/drawing/2014/main" id="{BFA19679-E927-A926-79F1-5DB0F2FA28A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78281" y="468586"/>
            <a:ext cx="23054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onkologický registr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B104FD49-D8D9-8F9E-E14D-5627B3FAE695}"/>
              </a:ext>
            </a:extLst>
          </p:cNvPr>
          <p:cNvGraphicFramePr>
            <a:graphicFrameLocks noGrp="1"/>
          </p:cNvGraphicFramePr>
          <p:nvPr/>
        </p:nvGraphicFramePr>
        <p:xfrm>
          <a:off x="4911369" y="3259913"/>
          <a:ext cx="6821145" cy="1524000"/>
        </p:xfrm>
        <a:graphic>
          <a:graphicData uri="http://schemas.openxmlformats.org/drawingml/2006/table">
            <a:tbl>
              <a:tblPr/>
              <a:tblGrid>
                <a:gridCol w="4951377">
                  <a:extLst>
                    <a:ext uri="{9D8B030D-6E8A-4147-A177-3AD203B41FA5}">
                      <a16:colId xmlns:a16="http://schemas.microsoft.com/office/drawing/2014/main" val="2411398723"/>
                    </a:ext>
                  </a:extLst>
                </a:gridCol>
                <a:gridCol w="934884">
                  <a:extLst>
                    <a:ext uri="{9D8B030D-6E8A-4147-A177-3AD203B41FA5}">
                      <a16:colId xmlns:a16="http://schemas.microsoft.com/office/drawing/2014/main" val="1316542829"/>
                    </a:ext>
                  </a:extLst>
                </a:gridCol>
                <a:gridCol w="934884">
                  <a:extLst>
                    <a:ext uri="{9D8B030D-6E8A-4147-A177-3AD203B41FA5}">
                      <a16:colId xmlns:a16="http://schemas.microsoft.com/office/drawing/2014/main" val="394226161"/>
                    </a:ext>
                  </a:extLst>
                </a:gridCol>
              </a:tblGrid>
              <a:tr h="144780">
                <a:tc>
                  <a:txBody>
                    <a:bodyPr/>
                    <a:lstStyle/>
                    <a:p>
                      <a:pPr algn="l" fontAlgn="auto"/>
                      <a:r>
                        <a:rPr lang="cs-CZ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  <a:endParaRPr lang="cs-CZ" b="1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  <a:endParaRPr lang="cs-CZ" b="1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601421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ově diagnostikovaných C33, C34 ročně</a:t>
                      </a:r>
                      <a:r>
                        <a:rPr lang="cs-CZ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cs-CZ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14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3167827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 fontAlgn="base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nově diagnostikovaných C33, C34 ročně na 100 000 osob</a:t>
                      </a: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,4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,8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7930776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íl ze zhoubných novotvarů</a:t>
                      </a:r>
                      <a:r>
                        <a:rPr lang="cs-CZ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cs-CZ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6 %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5 %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32626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íl ze zhoubných novotvarů bez C44</a:t>
                      </a:r>
                      <a:r>
                        <a:rPr lang="cs-CZ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cs-CZ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0 %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7 %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787466"/>
                  </a:ext>
                </a:extLst>
              </a:tr>
            </a:tbl>
          </a:graphicData>
        </a:graphic>
      </p:graphicFrame>
      <p:sp>
        <p:nvSpPr>
          <p:cNvPr id="20" name="Text Box 20">
            <a:extLst>
              <a:ext uri="{FF2B5EF4-FFF2-40B4-BE49-F238E27FC236}">
                <a16:creationId xmlns:a16="http://schemas.microsoft.com/office/drawing/2014/main" id="{358776E1-BEB7-0059-94F3-D08CC135F07A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74699" y="849915"/>
            <a:ext cx="281073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agnostická skupina:</a:t>
            </a:r>
          </a:p>
        </p:txBody>
      </p:sp>
      <p:graphicFrame>
        <p:nvGraphicFramePr>
          <p:cNvPr id="3" name="Object 35">
            <a:extLst>
              <a:ext uri="{FF2B5EF4-FFF2-40B4-BE49-F238E27FC236}">
                <a16:creationId xmlns:a16="http://schemas.microsoft.com/office/drawing/2014/main" id="{E60A90FD-C208-D724-4087-CF367D6F573F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3483839" y="905785"/>
          <a:ext cx="4186961" cy="55585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4" name="Group 91">
            <a:extLst>
              <a:ext uri="{FF2B5EF4-FFF2-40B4-BE49-F238E27FC236}">
                <a16:creationId xmlns:a16="http://schemas.microsoft.com/office/drawing/2014/main" id="{E9583E5E-CEE7-58EF-DCF4-5F5694E4BDD9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394290" y="1211040"/>
          <a:ext cx="3224099" cy="5191074"/>
        </p:xfrm>
        <a:graphic>
          <a:graphicData uri="http://schemas.openxmlformats.org/drawingml/2006/table">
            <a:tbl>
              <a:tblPr/>
              <a:tblGrid>
                <a:gridCol w="32240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elanomový kožní ZN (C4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ostaty (C61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tlustého střeva a konečníku (C18–C20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su (C50) u žen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ůdušnice, průdušky a plíce (C33, C3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ledviny (C6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houbný melanom kůže (C43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slinivky břišní (C2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močového měchýře (C67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dělohy (C54, C5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-Hodgkinův lymfom (C82–C86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pl-P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lavy a krku (C00–C14, C30–C31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žaludku (C16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štítné žlázy (C73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ukémie (C91–C9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jater a intrahepatálních žlučových cest (C2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mozku, míchy a jiných částí CNS (C70–C7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vaječníku (C56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žlučníku a žlučových cest (C23, C2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jícnu (C1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ohočetný myelom (C90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rdla děložního (C53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rtanu (C3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oj. a měk. tkání a perif. nervů (C47, C49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varlete (C6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gkinův lymfom (C81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houbné novotvary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267037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Nadpis 134">
            <a:extLst>
              <a:ext uri="{FF2B5EF4-FFF2-40B4-BE49-F238E27FC236}">
                <a16:creationId xmlns:a16="http://schemas.microsoft.com/office/drawing/2014/main" id="{C3471F7A-46E1-B470-6A2C-B33F01049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Incidence ZN </a:t>
            </a:r>
            <a:r>
              <a:rPr lang="cs-CZ" dirty="0"/>
              <a:t>průdušnice, průdušky a plíce </a:t>
            </a:r>
            <a:r>
              <a:rPr lang="es-ES" dirty="0"/>
              <a:t>(C</a:t>
            </a:r>
            <a:r>
              <a:rPr lang="cs-CZ" dirty="0"/>
              <a:t>33, C34</a:t>
            </a:r>
            <a:r>
              <a:rPr lang="es-ES" dirty="0"/>
              <a:t>)</a:t>
            </a:r>
            <a:br>
              <a:rPr lang="es-ES" dirty="0"/>
            </a:br>
            <a:endParaRPr lang="cs-CZ" dirty="0"/>
          </a:p>
        </p:txBody>
      </p:sp>
      <p:graphicFrame>
        <p:nvGraphicFramePr>
          <p:cNvPr id="3" name="Group 110">
            <a:extLst>
              <a:ext uri="{FF2B5EF4-FFF2-40B4-BE49-F238E27FC236}">
                <a16:creationId xmlns:a16="http://schemas.microsoft.com/office/drawing/2014/main" id="{0EB1675A-69A4-4717-95C6-DD9F58ADD5A1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4597801" y="1814917"/>
          <a:ext cx="1931064" cy="2510535"/>
        </p:xfrm>
        <a:graphic>
          <a:graphicData uri="http://schemas.openxmlformats.org/drawingml/2006/table">
            <a:tbl>
              <a:tblPr/>
              <a:tblGrid>
                <a:gridCol w="19310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á republik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4" name="TextBox 9">
            <a:extLst>
              <a:ext uri="{FF2B5EF4-FFF2-40B4-BE49-F238E27FC236}">
                <a16:creationId xmlns:a16="http://schemas.microsoft.com/office/drawing/2014/main" id="{0A51F226-86A0-4005-BB9C-D648577A80D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68781" y="3455017"/>
            <a:ext cx="29114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očet nově diagnostikovaných onemocně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 100 000 osob</a:t>
            </a:r>
          </a:p>
        </p:txBody>
      </p:sp>
      <p:sp>
        <p:nvSpPr>
          <p:cNvPr id="5" name="Rectangle 110">
            <a:extLst>
              <a:ext uri="{FF2B5EF4-FFF2-40B4-BE49-F238E27FC236}">
                <a16:creationId xmlns:a16="http://schemas.microsoft.com/office/drawing/2014/main" id="{6F4D1A70-A3A9-4D04-AA89-C9474BF7C1B7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97843" y="5696482"/>
            <a:ext cx="529069" cy="131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k</a:t>
            </a:r>
          </a:p>
        </p:txBody>
      </p:sp>
      <p:sp>
        <p:nvSpPr>
          <p:cNvPr id="6" name="TextovéPole 7">
            <a:extLst>
              <a:ext uri="{FF2B5EF4-FFF2-40B4-BE49-F238E27FC236}">
                <a16:creationId xmlns:a16="http://schemas.microsoft.com/office/drawing/2014/main" id="{B287C757-E904-45E7-B046-9EC04007401D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89670" y="3300109"/>
            <a:ext cx="65932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C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1,9</a:t>
            </a:r>
          </a:p>
        </p:txBody>
      </p:sp>
      <p:sp>
        <p:nvSpPr>
          <p:cNvPr id="7" name="TextBox 9">
            <a:extLst>
              <a:ext uri="{FF2B5EF4-FFF2-40B4-BE49-F238E27FC236}">
                <a16:creationId xmlns:a16="http://schemas.microsoft.com/office/drawing/2014/main" id="{33D1BF51-3B9F-493E-A550-8897179273C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241445" y="1026669"/>
            <a:ext cx="39293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očet nově diagnostikovaných onemocnění na 100 000 osob (roční průměr za období 2019–2023)</a:t>
            </a:r>
          </a:p>
        </p:txBody>
      </p:sp>
      <p:graphicFrame>
        <p:nvGraphicFramePr>
          <p:cNvPr id="8" name="Object 16">
            <a:extLst>
              <a:ext uri="{FF2B5EF4-FFF2-40B4-BE49-F238E27FC236}">
                <a16:creationId xmlns:a16="http://schemas.microsoft.com/office/drawing/2014/main" id="{CD67FA2A-DCB1-4B10-B2E7-EA42181B475C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6449966" y="1533313"/>
          <a:ext cx="2376793" cy="28147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AFD084D9-53D8-4820-929C-135EFBAF761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256137" y="747842"/>
            <a:ext cx="338230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idence: časový trend </a:t>
            </a: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2A011C0A-EFAA-464B-8FE9-A461B2CD7CD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7495098" y="747842"/>
            <a:ext cx="338230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idence: regionální srovnání </a:t>
            </a: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7">
            <a:extLst>
              <a:ext uri="{FF2B5EF4-FFF2-40B4-BE49-F238E27FC236}">
                <a16:creationId xmlns:a16="http://schemas.microsoft.com/office/drawing/2014/main" id="{D50B36CC-0574-406E-8799-2B063A4E4186}"/>
              </a:ext>
            </a:extLst>
          </p:cNvPr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589670" y="3145362"/>
            <a:ext cx="65932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2,5</a:t>
            </a:r>
          </a:p>
        </p:txBody>
      </p:sp>
      <p:grpSp>
        <p:nvGrpSpPr>
          <p:cNvPr id="14" name="Skupina 13">
            <a:extLst>
              <a:ext uri="{FF2B5EF4-FFF2-40B4-BE49-F238E27FC236}">
                <a16:creationId xmlns:a16="http://schemas.microsoft.com/office/drawing/2014/main" id="{0C6B2F2A-ABBD-4292-B8F6-D1991BA731A0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2132483" y="1181883"/>
            <a:ext cx="2106409" cy="593942"/>
            <a:chOff x="4637416" y="1161434"/>
            <a:chExt cx="2106409" cy="593942"/>
          </a:xfrm>
        </p:grpSpPr>
        <p:sp>
          <p:nvSpPr>
            <p:cNvPr id="15" name="TextovéPole 14">
              <a:extLst>
                <a:ext uri="{FF2B5EF4-FFF2-40B4-BE49-F238E27FC236}">
                  <a16:creationId xmlns:a16="http://schemas.microsoft.com/office/drawing/2014/main" id="{426CBE04-0581-4F51-8C9C-A8321D2B61B4}"/>
                </a:ext>
              </a:extLst>
            </p:cNvPr>
            <p:cNvSpPr txBox="1"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4973409" y="1570710"/>
              <a:ext cx="1770416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ozsah hodnot krajů</a:t>
              </a:r>
            </a:p>
          </p:txBody>
        </p:sp>
        <p:sp>
          <p:nvSpPr>
            <p:cNvPr id="16" name="Rectangle 53">
              <a:extLst>
                <a:ext uri="{FF2B5EF4-FFF2-40B4-BE49-F238E27FC236}">
                  <a16:creationId xmlns:a16="http://schemas.microsoft.com/office/drawing/2014/main" id="{8B14D4AE-536F-4C73-87DA-E1B5D7B78B51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>
            <a:xfrm>
              <a:off x="4709976" y="1592059"/>
              <a:ext cx="144000" cy="143777"/>
            </a:xfrm>
            <a:prstGeom prst="rect">
              <a:avLst/>
            </a:prstGeom>
            <a:solidFill>
              <a:srgbClr val="CC9900">
                <a:alpha val="30000"/>
              </a:srgb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CC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TextovéPole 7">
              <a:extLst>
                <a:ext uri="{FF2B5EF4-FFF2-40B4-BE49-F238E27FC236}">
                  <a16:creationId xmlns:a16="http://schemas.microsoft.com/office/drawing/2014/main" id="{F9FED6A7-3F97-4B3E-B397-F128EA107D43}"/>
                </a:ext>
              </a:extLst>
            </p:cNvPr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4979145" y="1355266"/>
              <a:ext cx="1414709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ihočeský kraj</a:t>
              </a:r>
            </a:p>
          </p:txBody>
        </p:sp>
        <p:cxnSp>
          <p:nvCxnSpPr>
            <p:cNvPr id="18" name="Straight Connector 35">
              <a:extLst>
                <a:ext uri="{FF2B5EF4-FFF2-40B4-BE49-F238E27FC236}">
                  <a16:creationId xmlns:a16="http://schemas.microsoft.com/office/drawing/2014/main" id="{8FF49DB3-EA1B-4E51-8DFE-A45DFF44F920}"/>
                </a:ext>
              </a:extLst>
            </p:cNvPr>
            <p:cNvCxnSpPr/>
            <p:nvPr>
              <p:custDataLst>
                <p:tags r:id="rId20"/>
              </p:custDataLst>
            </p:nvPr>
          </p:nvCxnSpPr>
          <p:spPr>
            <a:xfrm>
              <a:off x="4637416" y="1452250"/>
              <a:ext cx="287338" cy="0"/>
            </a:xfrm>
            <a:prstGeom prst="line">
              <a:avLst/>
            </a:prstGeom>
            <a:solidFill>
              <a:srgbClr val="FF6600"/>
            </a:solidFill>
            <a:ln w="25400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19" name="TextovéPole 7">
              <a:extLst>
                <a:ext uri="{FF2B5EF4-FFF2-40B4-BE49-F238E27FC236}">
                  <a16:creationId xmlns:a16="http://schemas.microsoft.com/office/drawing/2014/main" id="{DD0B0EBA-999B-4443-AE93-FE8C1F9D1030}"/>
                </a:ext>
              </a:extLst>
            </p:cNvPr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4971744" y="1161434"/>
              <a:ext cx="1302677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Česká republika</a:t>
              </a:r>
            </a:p>
          </p:txBody>
        </p:sp>
        <p:cxnSp>
          <p:nvCxnSpPr>
            <p:cNvPr id="20" name="Straight Connector 35">
              <a:extLst>
                <a:ext uri="{FF2B5EF4-FFF2-40B4-BE49-F238E27FC236}">
                  <a16:creationId xmlns:a16="http://schemas.microsoft.com/office/drawing/2014/main" id="{B46A3F8D-3055-42AA-9A3B-A03A0A8C6233}"/>
                </a:ext>
              </a:extLst>
            </p:cNvPr>
            <p:cNvCxnSpPr/>
            <p:nvPr>
              <p:custDataLst>
                <p:tags r:id="rId22"/>
              </p:custDataLst>
            </p:nvPr>
          </p:nvCxnSpPr>
          <p:spPr>
            <a:xfrm>
              <a:off x="4639346" y="1258418"/>
              <a:ext cx="287338" cy="0"/>
            </a:xfrm>
            <a:prstGeom prst="line">
              <a:avLst/>
            </a:prstGeom>
            <a:solidFill>
              <a:srgbClr val="FF6600"/>
            </a:solidFill>
            <a:ln w="25400" cap="flat" cmpd="sng" algn="ctr">
              <a:solidFill>
                <a:srgbClr val="CC9900"/>
              </a:solidFill>
              <a:prstDash val="solid"/>
              <a:miter lim="800000"/>
            </a:ln>
            <a:effectLst/>
          </p:spPr>
        </p:cxnSp>
      </p:grpSp>
      <p:sp>
        <p:nvSpPr>
          <p:cNvPr id="21" name="TextBox 6">
            <a:extLst>
              <a:ext uri="{FF2B5EF4-FFF2-40B4-BE49-F238E27FC236}">
                <a16:creationId xmlns:a16="http://schemas.microsoft.com/office/drawing/2014/main" id="{578E4CDB-52CB-4798-B12C-F19A803F9D00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78281" y="468586"/>
            <a:ext cx="23054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onkologický registr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DAD395C-5D30-51B7-D227-BCC80380EC24}"/>
              </a:ext>
            </a:extLst>
          </p:cNvPr>
          <p:cNvGrpSpPr/>
          <p:nvPr/>
        </p:nvGrpSpPr>
        <p:grpSpPr>
          <a:xfrm>
            <a:off x="10951469" y="1905027"/>
            <a:ext cx="920040" cy="839147"/>
            <a:chOff x="5368539" y="5686843"/>
            <a:chExt cx="920040" cy="839147"/>
          </a:xfrm>
        </p:grpSpPr>
        <p:sp>
          <p:nvSpPr>
            <p:cNvPr id="24" name="Text Box 58">
              <a:extLst>
                <a:ext uri="{FF2B5EF4-FFF2-40B4-BE49-F238E27FC236}">
                  <a16:creationId xmlns:a16="http://schemas.microsoft.com/office/drawing/2014/main" id="{ABA97A06-CD9E-1DB5-0B67-19AD7AC0DA2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42967" y="5694325"/>
              <a:ext cx="745612" cy="83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&gt; 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7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–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7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1–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  <a:endParaRPr kumimoji="0" lang="en-US" alt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≤ 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 </a:t>
              </a:r>
            </a:p>
          </p:txBody>
        </p:sp>
        <p:sp>
          <p:nvSpPr>
            <p:cNvPr id="25" name="Rectangle 56">
              <a:extLst>
                <a:ext uri="{FF2B5EF4-FFF2-40B4-BE49-F238E27FC236}">
                  <a16:creationId xmlns:a16="http://schemas.microsoft.com/office/drawing/2014/main" id="{66F78460-848A-AC58-4C84-992F5860CB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6183266"/>
              <a:ext cx="144000" cy="144000"/>
            </a:xfrm>
            <a:prstGeom prst="rect">
              <a:avLst/>
            </a:prstGeom>
            <a:solidFill>
              <a:srgbClr val="FFE389"/>
            </a:solidFill>
            <a:ln w="1651">
              <a:noFill/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6" name="Rectangle 56">
              <a:extLst>
                <a:ext uri="{FF2B5EF4-FFF2-40B4-BE49-F238E27FC236}">
                  <a16:creationId xmlns:a16="http://schemas.microsoft.com/office/drawing/2014/main" id="{08F54FC7-F814-B91A-ACE1-22EC858CE0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6017791"/>
              <a:ext cx="144000" cy="144000"/>
            </a:xfrm>
            <a:prstGeom prst="rect">
              <a:avLst/>
            </a:prstGeom>
            <a:solidFill>
              <a:srgbClr val="FFCC29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7" name="Rectangle 56">
              <a:extLst>
                <a:ext uri="{FF2B5EF4-FFF2-40B4-BE49-F238E27FC236}">
                  <a16:creationId xmlns:a16="http://schemas.microsoft.com/office/drawing/2014/main" id="{22D94027-6996-7AF5-B2B4-E4374B0CBE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5852317"/>
              <a:ext cx="144000" cy="144000"/>
            </a:xfrm>
            <a:prstGeom prst="rect">
              <a:avLst/>
            </a:prstGeom>
            <a:solidFill>
              <a:srgbClr val="E6AF00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8" name="Rectangle 56">
              <a:extLst>
                <a:ext uri="{FF2B5EF4-FFF2-40B4-BE49-F238E27FC236}">
                  <a16:creationId xmlns:a16="http://schemas.microsoft.com/office/drawing/2014/main" id="{CE401C00-A584-C457-214C-D466CD73D0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5686843"/>
              <a:ext cx="144000" cy="144000"/>
            </a:xfrm>
            <a:prstGeom prst="rect">
              <a:avLst/>
            </a:prstGeom>
            <a:solidFill>
              <a:srgbClr val="BC8F00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graphicFrame>
        <p:nvGraphicFramePr>
          <p:cNvPr id="42" name="Object 16">
            <a:extLst>
              <a:ext uri="{FF2B5EF4-FFF2-40B4-BE49-F238E27FC236}">
                <a16:creationId xmlns:a16="http://schemas.microsoft.com/office/drawing/2014/main" id="{02F703FC-0E33-607B-7EAD-913892D77A85}"/>
              </a:ext>
            </a:extLst>
          </p:cNvPr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6449966" y="4396195"/>
          <a:ext cx="2311760" cy="20193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grpSp>
        <p:nvGrpSpPr>
          <p:cNvPr id="145" name="Group 5">
            <a:extLst>
              <a:ext uri="{FF2B5EF4-FFF2-40B4-BE49-F238E27FC236}">
                <a16:creationId xmlns:a16="http://schemas.microsoft.com/office/drawing/2014/main" id="{F6D30733-1F96-00EF-A35D-76062EB31D9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779704" y="1850178"/>
            <a:ext cx="3308350" cy="2682875"/>
            <a:chOff x="771" y="2585"/>
            <a:chExt cx="2084" cy="1690"/>
          </a:xfrm>
        </p:grpSpPr>
        <p:sp>
          <p:nvSpPr>
            <p:cNvPr id="146" name="AutoShape 4">
              <a:extLst>
                <a:ext uri="{FF2B5EF4-FFF2-40B4-BE49-F238E27FC236}">
                  <a16:creationId xmlns:a16="http://schemas.microsoft.com/office/drawing/2014/main" id="{16D3D5E6-771A-7D43-F7DB-40F3C38F8B0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71" y="2585"/>
              <a:ext cx="2084" cy="16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Freeform 6">
              <a:extLst>
                <a:ext uri="{FF2B5EF4-FFF2-40B4-BE49-F238E27FC236}">
                  <a16:creationId xmlns:a16="http://schemas.microsoft.com/office/drawing/2014/main" id="{949CD10B-E397-3EB6-DB9E-27784E66F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4" y="3272"/>
              <a:ext cx="138" cy="106"/>
            </a:xfrm>
            <a:custGeom>
              <a:avLst/>
              <a:gdLst>
                <a:gd name="T0" fmla="*/ 88 w 138"/>
                <a:gd name="T1" fmla="*/ 1 h 106"/>
                <a:gd name="T2" fmla="*/ 90 w 138"/>
                <a:gd name="T3" fmla="*/ 4 h 106"/>
                <a:gd name="T4" fmla="*/ 99 w 138"/>
                <a:gd name="T5" fmla="*/ 11 h 106"/>
                <a:gd name="T6" fmla="*/ 105 w 138"/>
                <a:gd name="T7" fmla="*/ 13 h 106"/>
                <a:gd name="T8" fmla="*/ 108 w 138"/>
                <a:gd name="T9" fmla="*/ 19 h 106"/>
                <a:gd name="T10" fmla="*/ 112 w 138"/>
                <a:gd name="T11" fmla="*/ 22 h 106"/>
                <a:gd name="T12" fmla="*/ 124 w 138"/>
                <a:gd name="T13" fmla="*/ 27 h 106"/>
                <a:gd name="T14" fmla="*/ 128 w 138"/>
                <a:gd name="T15" fmla="*/ 32 h 106"/>
                <a:gd name="T16" fmla="*/ 135 w 138"/>
                <a:gd name="T17" fmla="*/ 38 h 106"/>
                <a:gd name="T18" fmla="*/ 138 w 138"/>
                <a:gd name="T19" fmla="*/ 43 h 106"/>
                <a:gd name="T20" fmla="*/ 136 w 138"/>
                <a:gd name="T21" fmla="*/ 48 h 106"/>
                <a:gd name="T22" fmla="*/ 126 w 138"/>
                <a:gd name="T23" fmla="*/ 54 h 106"/>
                <a:gd name="T24" fmla="*/ 123 w 138"/>
                <a:gd name="T25" fmla="*/ 57 h 106"/>
                <a:gd name="T26" fmla="*/ 123 w 138"/>
                <a:gd name="T27" fmla="*/ 61 h 106"/>
                <a:gd name="T28" fmla="*/ 126 w 138"/>
                <a:gd name="T29" fmla="*/ 64 h 106"/>
                <a:gd name="T30" fmla="*/ 127 w 138"/>
                <a:gd name="T31" fmla="*/ 74 h 106"/>
                <a:gd name="T32" fmla="*/ 124 w 138"/>
                <a:gd name="T33" fmla="*/ 79 h 106"/>
                <a:gd name="T34" fmla="*/ 118 w 138"/>
                <a:gd name="T35" fmla="*/ 83 h 106"/>
                <a:gd name="T36" fmla="*/ 112 w 138"/>
                <a:gd name="T37" fmla="*/ 82 h 106"/>
                <a:gd name="T38" fmla="*/ 104 w 138"/>
                <a:gd name="T39" fmla="*/ 78 h 106"/>
                <a:gd name="T40" fmla="*/ 97 w 138"/>
                <a:gd name="T41" fmla="*/ 77 h 106"/>
                <a:gd name="T42" fmla="*/ 89 w 138"/>
                <a:gd name="T43" fmla="*/ 79 h 106"/>
                <a:gd name="T44" fmla="*/ 85 w 138"/>
                <a:gd name="T45" fmla="*/ 82 h 106"/>
                <a:gd name="T46" fmla="*/ 78 w 138"/>
                <a:gd name="T47" fmla="*/ 86 h 106"/>
                <a:gd name="T48" fmla="*/ 67 w 138"/>
                <a:gd name="T49" fmla="*/ 93 h 106"/>
                <a:gd name="T50" fmla="*/ 58 w 138"/>
                <a:gd name="T51" fmla="*/ 97 h 106"/>
                <a:gd name="T52" fmla="*/ 50 w 138"/>
                <a:gd name="T53" fmla="*/ 99 h 106"/>
                <a:gd name="T54" fmla="*/ 46 w 138"/>
                <a:gd name="T55" fmla="*/ 105 h 106"/>
                <a:gd name="T56" fmla="*/ 44 w 138"/>
                <a:gd name="T57" fmla="*/ 106 h 106"/>
                <a:gd name="T58" fmla="*/ 34 w 138"/>
                <a:gd name="T59" fmla="*/ 105 h 106"/>
                <a:gd name="T60" fmla="*/ 30 w 138"/>
                <a:gd name="T61" fmla="*/ 103 h 106"/>
                <a:gd name="T62" fmla="*/ 29 w 138"/>
                <a:gd name="T63" fmla="*/ 99 h 106"/>
                <a:gd name="T64" fmla="*/ 30 w 138"/>
                <a:gd name="T65" fmla="*/ 95 h 106"/>
                <a:gd name="T66" fmla="*/ 29 w 138"/>
                <a:gd name="T67" fmla="*/ 91 h 106"/>
                <a:gd name="T68" fmla="*/ 29 w 138"/>
                <a:gd name="T69" fmla="*/ 87 h 106"/>
                <a:gd name="T70" fmla="*/ 23 w 138"/>
                <a:gd name="T71" fmla="*/ 84 h 106"/>
                <a:gd name="T72" fmla="*/ 20 w 138"/>
                <a:gd name="T73" fmla="*/ 81 h 106"/>
                <a:gd name="T74" fmla="*/ 21 w 138"/>
                <a:gd name="T75" fmla="*/ 77 h 106"/>
                <a:gd name="T76" fmla="*/ 21 w 138"/>
                <a:gd name="T77" fmla="*/ 73 h 106"/>
                <a:gd name="T78" fmla="*/ 13 w 138"/>
                <a:gd name="T79" fmla="*/ 65 h 106"/>
                <a:gd name="T80" fmla="*/ 9 w 138"/>
                <a:gd name="T81" fmla="*/ 58 h 106"/>
                <a:gd name="T82" fmla="*/ 6 w 138"/>
                <a:gd name="T83" fmla="*/ 53 h 106"/>
                <a:gd name="T84" fmla="*/ 10 w 138"/>
                <a:gd name="T85" fmla="*/ 49 h 106"/>
                <a:gd name="T86" fmla="*/ 13 w 138"/>
                <a:gd name="T87" fmla="*/ 45 h 106"/>
                <a:gd name="T88" fmla="*/ 7 w 138"/>
                <a:gd name="T89" fmla="*/ 38 h 106"/>
                <a:gd name="T90" fmla="*/ 1 w 138"/>
                <a:gd name="T91" fmla="*/ 34 h 106"/>
                <a:gd name="T92" fmla="*/ 0 w 138"/>
                <a:gd name="T93" fmla="*/ 33 h 106"/>
                <a:gd name="T94" fmla="*/ 9 w 138"/>
                <a:gd name="T95" fmla="*/ 28 h 106"/>
                <a:gd name="T96" fmla="*/ 20 w 138"/>
                <a:gd name="T97" fmla="*/ 24 h 106"/>
                <a:gd name="T98" fmla="*/ 23 w 138"/>
                <a:gd name="T99" fmla="*/ 25 h 106"/>
                <a:gd name="T100" fmla="*/ 30 w 138"/>
                <a:gd name="T101" fmla="*/ 27 h 106"/>
                <a:gd name="T102" fmla="*/ 35 w 138"/>
                <a:gd name="T103" fmla="*/ 26 h 106"/>
                <a:gd name="T104" fmla="*/ 37 w 138"/>
                <a:gd name="T105" fmla="*/ 19 h 106"/>
                <a:gd name="T106" fmla="*/ 41 w 138"/>
                <a:gd name="T107" fmla="*/ 16 h 106"/>
                <a:gd name="T108" fmla="*/ 49 w 138"/>
                <a:gd name="T109" fmla="*/ 14 h 106"/>
                <a:gd name="T110" fmla="*/ 61 w 138"/>
                <a:gd name="T111" fmla="*/ 9 h 106"/>
                <a:gd name="T112" fmla="*/ 73 w 138"/>
                <a:gd name="T113" fmla="*/ 4 h 106"/>
                <a:gd name="T114" fmla="*/ 87 w 138"/>
                <a:gd name="T115" fmla="*/ 1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8" h="106">
                  <a:moveTo>
                    <a:pt x="88" y="0"/>
                  </a:moveTo>
                  <a:lnTo>
                    <a:pt x="88" y="0"/>
                  </a:lnTo>
                  <a:lnTo>
                    <a:pt x="89" y="0"/>
                  </a:lnTo>
                  <a:lnTo>
                    <a:pt x="89" y="0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2"/>
                  </a:lnTo>
                  <a:lnTo>
                    <a:pt x="89" y="2"/>
                  </a:lnTo>
                  <a:lnTo>
                    <a:pt x="89" y="3"/>
                  </a:lnTo>
                  <a:lnTo>
                    <a:pt x="89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1" y="5"/>
                  </a:lnTo>
                  <a:lnTo>
                    <a:pt x="94" y="7"/>
                  </a:lnTo>
                  <a:lnTo>
                    <a:pt x="95" y="8"/>
                  </a:lnTo>
                  <a:lnTo>
                    <a:pt x="98" y="10"/>
                  </a:lnTo>
                  <a:lnTo>
                    <a:pt x="99" y="11"/>
                  </a:lnTo>
                  <a:lnTo>
                    <a:pt x="100" y="11"/>
                  </a:lnTo>
                  <a:lnTo>
                    <a:pt x="101" y="12"/>
                  </a:lnTo>
                  <a:lnTo>
                    <a:pt x="103" y="12"/>
                  </a:lnTo>
                  <a:lnTo>
                    <a:pt x="104" y="12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6" y="14"/>
                  </a:lnTo>
                  <a:lnTo>
                    <a:pt x="107" y="16"/>
                  </a:lnTo>
                  <a:lnTo>
                    <a:pt x="107" y="17"/>
                  </a:lnTo>
                  <a:lnTo>
                    <a:pt x="107" y="18"/>
                  </a:lnTo>
                  <a:lnTo>
                    <a:pt x="108" y="19"/>
                  </a:lnTo>
                  <a:lnTo>
                    <a:pt x="109" y="19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4" y="23"/>
                  </a:lnTo>
                  <a:lnTo>
                    <a:pt x="117" y="23"/>
                  </a:lnTo>
                  <a:lnTo>
                    <a:pt x="118" y="24"/>
                  </a:lnTo>
                  <a:lnTo>
                    <a:pt x="122" y="26"/>
                  </a:lnTo>
                  <a:lnTo>
                    <a:pt x="123" y="27"/>
                  </a:lnTo>
                  <a:lnTo>
                    <a:pt x="124" y="27"/>
                  </a:lnTo>
                  <a:lnTo>
                    <a:pt x="124" y="28"/>
                  </a:lnTo>
                  <a:lnTo>
                    <a:pt x="125" y="28"/>
                  </a:lnTo>
                  <a:lnTo>
                    <a:pt x="126" y="29"/>
                  </a:lnTo>
                  <a:lnTo>
                    <a:pt x="127" y="31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9" y="33"/>
                  </a:lnTo>
                  <a:lnTo>
                    <a:pt x="130" y="34"/>
                  </a:lnTo>
                  <a:lnTo>
                    <a:pt x="133" y="36"/>
                  </a:lnTo>
                  <a:lnTo>
                    <a:pt x="134" y="37"/>
                  </a:lnTo>
                  <a:lnTo>
                    <a:pt x="135" y="37"/>
                  </a:lnTo>
                  <a:lnTo>
                    <a:pt x="135" y="38"/>
                  </a:lnTo>
                  <a:lnTo>
                    <a:pt x="136" y="39"/>
                  </a:lnTo>
                  <a:lnTo>
                    <a:pt x="137" y="40"/>
                  </a:lnTo>
                  <a:lnTo>
                    <a:pt x="137" y="41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38" y="43"/>
                  </a:lnTo>
                  <a:lnTo>
                    <a:pt x="138" y="43"/>
                  </a:lnTo>
                  <a:lnTo>
                    <a:pt x="138" y="44"/>
                  </a:lnTo>
                  <a:lnTo>
                    <a:pt x="138" y="45"/>
                  </a:lnTo>
                  <a:lnTo>
                    <a:pt x="137" y="46"/>
                  </a:lnTo>
                  <a:lnTo>
                    <a:pt x="137" y="47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5" y="49"/>
                  </a:lnTo>
                  <a:lnTo>
                    <a:pt x="134" y="49"/>
                  </a:lnTo>
                  <a:lnTo>
                    <a:pt x="134" y="50"/>
                  </a:lnTo>
                  <a:lnTo>
                    <a:pt x="131" y="51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25" y="55"/>
                  </a:lnTo>
                  <a:lnTo>
                    <a:pt x="124" y="56"/>
                  </a:lnTo>
                  <a:lnTo>
                    <a:pt x="123" y="56"/>
                  </a:lnTo>
                  <a:lnTo>
                    <a:pt x="123" y="57"/>
                  </a:lnTo>
                  <a:lnTo>
                    <a:pt x="123" y="57"/>
                  </a:lnTo>
                  <a:lnTo>
                    <a:pt x="123" y="58"/>
                  </a:lnTo>
                  <a:lnTo>
                    <a:pt x="122" y="58"/>
                  </a:lnTo>
                  <a:lnTo>
                    <a:pt x="122" y="59"/>
                  </a:lnTo>
                  <a:lnTo>
                    <a:pt x="122" y="60"/>
                  </a:lnTo>
                  <a:lnTo>
                    <a:pt x="123" y="60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4" y="62"/>
                  </a:lnTo>
                  <a:lnTo>
                    <a:pt x="125" y="63"/>
                  </a:lnTo>
                  <a:lnTo>
                    <a:pt x="125" y="63"/>
                  </a:lnTo>
                  <a:lnTo>
                    <a:pt x="125" y="64"/>
                  </a:lnTo>
                  <a:lnTo>
                    <a:pt x="126" y="64"/>
                  </a:lnTo>
                  <a:lnTo>
                    <a:pt x="126" y="65"/>
                  </a:lnTo>
                  <a:lnTo>
                    <a:pt x="126" y="66"/>
                  </a:lnTo>
                  <a:lnTo>
                    <a:pt x="126" y="68"/>
                  </a:lnTo>
                  <a:lnTo>
                    <a:pt x="127" y="72"/>
                  </a:lnTo>
                  <a:lnTo>
                    <a:pt x="127" y="73"/>
                  </a:lnTo>
                  <a:lnTo>
                    <a:pt x="127" y="74"/>
                  </a:lnTo>
                  <a:lnTo>
                    <a:pt x="127" y="75"/>
                  </a:lnTo>
                  <a:lnTo>
                    <a:pt x="127" y="76"/>
                  </a:lnTo>
                  <a:lnTo>
                    <a:pt x="126" y="77"/>
                  </a:lnTo>
                  <a:lnTo>
                    <a:pt x="126" y="78"/>
                  </a:lnTo>
                  <a:lnTo>
                    <a:pt x="125" y="79"/>
                  </a:lnTo>
                  <a:lnTo>
                    <a:pt x="124" y="79"/>
                  </a:lnTo>
                  <a:lnTo>
                    <a:pt x="122" y="81"/>
                  </a:lnTo>
                  <a:lnTo>
                    <a:pt x="121" y="82"/>
                  </a:lnTo>
                  <a:lnTo>
                    <a:pt x="120" y="82"/>
                  </a:lnTo>
                  <a:lnTo>
                    <a:pt x="120" y="83"/>
                  </a:lnTo>
                  <a:lnTo>
                    <a:pt x="119" y="83"/>
                  </a:lnTo>
                  <a:lnTo>
                    <a:pt x="118" y="83"/>
                  </a:lnTo>
                  <a:lnTo>
                    <a:pt x="118" y="83"/>
                  </a:lnTo>
                  <a:lnTo>
                    <a:pt x="117" y="83"/>
                  </a:lnTo>
                  <a:lnTo>
                    <a:pt x="115" y="83"/>
                  </a:lnTo>
                  <a:lnTo>
                    <a:pt x="114" y="83"/>
                  </a:lnTo>
                  <a:lnTo>
                    <a:pt x="113" y="82"/>
                  </a:lnTo>
                  <a:lnTo>
                    <a:pt x="112" y="82"/>
                  </a:lnTo>
                  <a:lnTo>
                    <a:pt x="112" y="82"/>
                  </a:lnTo>
                  <a:lnTo>
                    <a:pt x="110" y="81"/>
                  </a:lnTo>
                  <a:lnTo>
                    <a:pt x="108" y="80"/>
                  </a:lnTo>
                  <a:lnTo>
                    <a:pt x="107" y="79"/>
                  </a:lnTo>
                  <a:lnTo>
                    <a:pt x="106" y="78"/>
                  </a:lnTo>
                  <a:lnTo>
                    <a:pt x="104" y="78"/>
                  </a:lnTo>
                  <a:lnTo>
                    <a:pt x="103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1" y="77"/>
                  </a:lnTo>
                  <a:lnTo>
                    <a:pt x="99" y="77"/>
                  </a:lnTo>
                  <a:lnTo>
                    <a:pt x="97" y="77"/>
                  </a:lnTo>
                  <a:lnTo>
                    <a:pt x="95" y="77"/>
                  </a:lnTo>
                  <a:lnTo>
                    <a:pt x="94" y="78"/>
                  </a:lnTo>
                  <a:lnTo>
                    <a:pt x="91" y="78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89" y="79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7" y="80"/>
                  </a:lnTo>
                  <a:lnTo>
                    <a:pt x="87" y="80"/>
                  </a:lnTo>
                  <a:lnTo>
                    <a:pt x="86" y="82"/>
                  </a:lnTo>
                  <a:lnTo>
                    <a:pt x="85" y="82"/>
                  </a:lnTo>
                  <a:lnTo>
                    <a:pt x="84" y="83"/>
                  </a:lnTo>
                  <a:lnTo>
                    <a:pt x="83" y="83"/>
                  </a:lnTo>
                  <a:lnTo>
                    <a:pt x="82" y="84"/>
                  </a:lnTo>
                  <a:lnTo>
                    <a:pt x="81" y="84"/>
                  </a:lnTo>
                  <a:lnTo>
                    <a:pt x="79" y="85"/>
                  </a:lnTo>
                  <a:lnTo>
                    <a:pt x="78" y="86"/>
                  </a:lnTo>
                  <a:lnTo>
                    <a:pt x="77" y="86"/>
                  </a:lnTo>
                  <a:lnTo>
                    <a:pt x="76" y="86"/>
                  </a:lnTo>
                  <a:lnTo>
                    <a:pt x="75" y="87"/>
                  </a:lnTo>
                  <a:lnTo>
                    <a:pt x="73" y="89"/>
                  </a:lnTo>
                  <a:lnTo>
                    <a:pt x="68" y="93"/>
                  </a:lnTo>
                  <a:lnTo>
                    <a:pt x="67" y="93"/>
                  </a:lnTo>
                  <a:lnTo>
                    <a:pt x="66" y="94"/>
                  </a:lnTo>
                  <a:lnTo>
                    <a:pt x="65" y="94"/>
                  </a:lnTo>
                  <a:lnTo>
                    <a:pt x="64" y="95"/>
                  </a:lnTo>
                  <a:lnTo>
                    <a:pt x="62" y="95"/>
                  </a:lnTo>
                  <a:lnTo>
                    <a:pt x="59" y="96"/>
                  </a:lnTo>
                  <a:lnTo>
                    <a:pt x="58" y="97"/>
                  </a:lnTo>
                  <a:lnTo>
                    <a:pt x="56" y="97"/>
                  </a:lnTo>
                  <a:lnTo>
                    <a:pt x="55" y="98"/>
                  </a:lnTo>
                  <a:lnTo>
                    <a:pt x="52" y="98"/>
                  </a:lnTo>
                  <a:lnTo>
                    <a:pt x="51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49" y="100"/>
                  </a:lnTo>
                  <a:lnTo>
                    <a:pt x="49" y="100"/>
                  </a:lnTo>
                  <a:lnTo>
                    <a:pt x="49" y="101"/>
                  </a:lnTo>
                  <a:lnTo>
                    <a:pt x="48" y="102"/>
                  </a:lnTo>
                  <a:lnTo>
                    <a:pt x="47" y="104"/>
                  </a:lnTo>
                  <a:lnTo>
                    <a:pt x="46" y="105"/>
                  </a:lnTo>
                  <a:lnTo>
                    <a:pt x="46" y="105"/>
                  </a:lnTo>
                  <a:lnTo>
                    <a:pt x="46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1" y="106"/>
                  </a:lnTo>
                  <a:lnTo>
                    <a:pt x="40" y="106"/>
                  </a:lnTo>
                  <a:lnTo>
                    <a:pt x="36" y="106"/>
                  </a:lnTo>
                  <a:lnTo>
                    <a:pt x="35" y="106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3" y="105"/>
                  </a:lnTo>
                  <a:lnTo>
                    <a:pt x="32" y="105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3"/>
                  </a:lnTo>
                  <a:lnTo>
                    <a:pt x="30" y="103"/>
                  </a:lnTo>
                  <a:lnTo>
                    <a:pt x="30" y="102"/>
                  </a:lnTo>
                  <a:lnTo>
                    <a:pt x="29" y="102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30" y="97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1"/>
                  </a:lnTo>
                  <a:lnTo>
                    <a:pt x="29" y="90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7"/>
                  </a:lnTo>
                  <a:lnTo>
                    <a:pt x="28" y="87"/>
                  </a:lnTo>
                  <a:lnTo>
                    <a:pt x="28" y="86"/>
                  </a:lnTo>
                  <a:lnTo>
                    <a:pt x="27" y="86"/>
                  </a:lnTo>
                  <a:lnTo>
                    <a:pt x="25" y="85"/>
                  </a:lnTo>
                  <a:lnTo>
                    <a:pt x="24" y="85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2" y="83"/>
                  </a:lnTo>
                  <a:lnTo>
                    <a:pt x="21" y="83"/>
                  </a:lnTo>
                  <a:lnTo>
                    <a:pt x="21" y="82"/>
                  </a:lnTo>
                  <a:lnTo>
                    <a:pt x="20" y="82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0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8"/>
                  </a:lnTo>
                  <a:lnTo>
                    <a:pt x="21" y="77"/>
                  </a:lnTo>
                  <a:lnTo>
                    <a:pt x="21" y="76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4"/>
                  </a:lnTo>
                  <a:lnTo>
                    <a:pt x="21" y="73"/>
                  </a:lnTo>
                  <a:lnTo>
                    <a:pt x="21" y="73"/>
                  </a:lnTo>
                  <a:lnTo>
                    <a:pt x="20" y="72"/>
                  </a:lnTo>
                  <a:lnTo>
                    <a:pt x="20" y="71"/>
                  </a:lnTo>
                  <a:lnTo>
                    <a:pt x="17" y="69"/>
                  </a:lnTo>
                  <a:lnTo>
                    <a:pt x="15" y="67"/>
                  </a:lnTo>
                  <a:lnTo>
                    <a:pt x="14" y="66"/>
                  </a:lnTo>
                  <a:lnTo>
                    <a:pt x="13" y="65"/>
                  </a:lnTo>
                  <a:lnTo>
                    <a:pt x="12" y="64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0" y="59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7" y="56"/>
                  </a:lnTo>
                  <a:lnTo>
                    <a:pt x="7" y="55"/>
                  </a:lnTo>
                  <a:lnTo>
                    <a:pt x="7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3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8" y="51"/>
                  </a:lnTo>
                  <a:lnTo>
                    <a:pt x="8" y="50"/>
                  </a:lnTo>
                  <a:lnTo>
                    <a:pt x="9" y="50"/>
                  </a:lnTo>
                  <a:lnTo>
                    <a:pt x="10" y="49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6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4"/>
                  </a:lnTo>
                  <a:lnTo>
                    <a:pt x="12" y="44"/>
                  </a:lnTo>
                  <a:lnTo>
                    <a:pt x="11" y="43"/>
                  </a:lnTo>
                  <a:lnTo>
                    <a:pt x="9" y="40"/>
                  </a:lnTo>
                  <a:lnTo>
                    <a:pt x="7" y="38"/>
                  </a:lnTo>
                  <a:lnTo>
                    <a:pt x="5" y="37"/>
                  </a:lnTo>
                  <a:lnTo>
                    <a:pt x="5" y="36"/>
                  </a:lnTo>
                  <a:lnTo>
                    <a:pt x="4" y="35"/>
                  </a:lnTo>
                  <a:lnTo>
                    <a:pt x="3" y="35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0" y="34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32"/>
                  </a:lnTo>
                  <a:lnTo>
                    <a:pt x="2" y="31"/>
                  </a:lnTo>
                  <a:lnTo>
                    <a:pt x="3" y="31"/>
                  </a:lnTo>
                  <a:lnTo>
                    <a:pt x="4" y="30"/>
                  </a:lnTo>
                  <a:lnTo>
                    <a:pt x="6" y="29"/>
                  </a:lnTo>
                  <a:lnTo>
                    <a:pt x="9" y="28"/>
                  </a:lnTo>
                  <a:lnTo>
                    <a:pt x="11" y="28"/>
                  </a:lnTo>
                  <a:lnTo>
                    <a:pt x="14" y="27"/>
                  </a:lnTo>
                  <a:lnTo>
                    <a:pt x="15" y="27"/>
                  </a:lnTo>
                  <a:lnTo>
                    <a:pt x="16" y="26"/>
                  </a:lnTo>
                  <a:lnTo>
                    <a:pt x="19" y="25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2" y="24"/>
                  </a:lnTo>
                  <a:lnTo>
                    <a:pt x="23" y="24"/>
                  </a:lnTo>
                  <a:lnTo>
                    <a:pt x="23" y="25"/>
                  </a:lnTo>
                  <a:lnTo>
                    <a:pt x="24" y="25"/>
                  </a:lnTo>
                  <a:lnTo>
                    <a:pt x="26" y="26"/>
                  </a:lnTo>
                  <a:lnTo>
                    <a:pt x="27" y="26"/>
                  </a:lnTo>
                  <a:lnTo>
                    <a:pt x="27" y="27"/>
                  </a:lnTo>
                  <a:lnTo>
                    <a:pt x="28" y="27"/>
                  </a:lnTo>
                  <a:lnTo>
                    <a:pt x="30" y="27"/>
                  </a:lnTo>
                  <a:lnTo>
                    <a:pt x="31" y="27"/>
                  </a:lnTo>
                  <a:lnTo>
                    <a:pt x="33" y="27"/>
                  </a:lnTo>
                  <a:lnTo>
                    <a:pt x="34" y="27"/>
                  </a:lnTo>
                  <a:lnTo>
                    <a:pt x="34" y="26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5" y="25"/>
                  </a:lnTo>
                  <a:lnTo>
                    <a:pt x="36" y="24"/>
                  </a:lnTo>
                  <a:lnTo>
                    <a:pt x="36" y="23"/>
                  </a:lnTo>
                  <a:lnTo>
                    <a:pt x="37" y="21"/>
                  </a:lnTo>
                  <a:lnTo>
                    <a:pt x="37" y="20"/>
                  </a:lnTo>
                  <a:lnTo>
                    <a:pt x="37" y="19"/>
                  </a:lnTo>
                  <a:lnTo>
                    <a:pt x="38" y="18"/>
                  </a:lnTo>
                  <a:lnTo>
                    <a:pt x="38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40" y="16"/>
                  </a:lnTo>
                  <a:lnTo>
                    <a:pt x="41" y="16"/>
                  </a:lnTo>
                  <a:lnTo>
                    <a:pt x="41" y="15"/>
                  </a:lnTo>
                  <a:lnTo>
                    <a:pt x="43" y="15"/>
                  </a:lnTo>
                  <a:lnTo>
                    <a:pt x="44" y="15"/>
                  </a:lnTo>
                  <a:lnTo>
                    <a:pt x="47" y="15"/>
                  </a:lnTo>
                  <a:lnTo>
                    <a:pt x="48" y="14"/>
                  </a:lnTo>
                  <a:lnTo>
                    <a:pt x="49" y="14"/>
                  </a:lnTo>
                  <a:lnTo>
                    <a:pt x="52" y="14"/>
                  </a:lnTo>
                  <a:lnTo>
                    <a:pt x="53" y="13"/>
                  </a:lnTo>
                  <a:lnTo>
                    <a:pt x="54" y="12"/>
                  </a:lnTo>
                  <a:lnTo>
                    <a:pt x="58" y="10"/>
                  </a:lnTo>
                  <a:lnTo>
                    <a:pt x="59" y="10"/>
                  </a:lnTo>
                  <a:lnTo>
                    <a:pt x="61" y="9"/>
                  </a:lnTo>
                  <a:lnTo>
                    <a:pt x="64" y="9"/>
                  </a:lnTo>
                  <a:lnTo>
                    <a:pt x="66" y="8"/>
                  </a:lnTo>
                  <a:lnTo>
                    <a:pt x="67" y="7"/>
                  </a:lnTo>
                  <a:lnTo>
                    <a:pt x="70" y="5"/>
                  </a:lnTo>
                  <a:lnTo>
                    <a:pt x="71" y="5"/>
                  </a:lnTo>
                  <a:lnTo>
                    <a:pt x="73" y="4"/>
                  </a:lnTo>
                  <a:lnTo>
                    <a:pt x="75" y="3"/>
                  </a:lnTo>
                  <a:lnTo>
                    <a:pt x="77" y="3"/>
                  </a:lnTo>
                  <a:lnTo>
                    <a:pt x="79" y="2"/>
                  </a:lnTo>
                  <a:lnTo>
                    <a:pt x="84" y="1"/>
                  </a:lnTo>
                  <a:lnTo>
                    <a:pt x="86" y="1"/>
                  </a:lnTo>
                  <a:lnTo>
                    <a:pt x="87" y="1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88" y="0"/>
                  </a:lnTo>
                  <a:close/>
                </a:path>
              </a:pathLst>
            </a:custGeom>
            <a:solidFill>
              <a:srgbClr val="C00000"/>
            </a:solidFill>
            <a:ln w="63500">
              <a:solidFill>
                <a:srgbClr val="C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7">
              <a:extLst>
                <a:ext uri="{FF2B5EF4-FFF2-40B4-BE49-F238E27FC236}">
                  <a16:creationId xmlns:a16="http://schemas.microsoft.com/office/drawing/2014/main" id="{113C2CCF-720E-CA6D-6E98-B424F0873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6" y="3069"/>
              <a:ext cx="633" cy="513"/>
            </a:xfrm>
            <a:custGeom>
              <a:avLst/>
              <a:gdLst>
                <a:gd name="T0" fmla="*/ 487 w 633"/>
                <a:gd name="T1" fmla="*/ 20 h 513"/>
                <a:gd name="T2" fmla="*/ 512 w 633"/>
                <a:gd name="T3" fmla="*/ 53 h 513"/>
                <a:gd name="T4" fmla="*/ 516 w 633"/>
                <a:gd name="T5" fmla="*/ 105 h 513"/>
                <a:gd name="T6" fmla="*/ 525 w 633"/>
                <a:gd name="T7" fmla="*/ 128 h 513"/>
                <a:gd name="T8" fmla="*/ 553 w 633"/>
                <a:gd name="T9" fmla="*/ 151 h 513"/>
                <a:gd name="T10" fmla="*/ 587 w 633"/>
                <a:gd name="T11" fmla="*/ 174 h 513"/>
                <a:gd name="T12" fmla="*/ 583 w 633"/>
                <a:gd name="T13" fmla="*/ 217 h 513"/>
                <a:gd name="T14" fmla="*/ 599 w 633"/>
                <a:gd name="T15" fmla="*/ 238 h 513"/>
                <a:gd name="T16" fmla="*/ 591 w 633"/>
                <a:gd name="T17" fmla="*/ 260 h 513"/>
                <a:gd name="T18" fmla="*/ 603 w 633"/>
                <a:gd name="T19" fmla="*/ 280 h 513"/>
                <a:gd name="T20" fmla="*/ 632 w 633"/>
                <a:gd name="T21" fmla="*/ 303 h 513"/>
                <a:gd name="T22" fmla="*/ 624 w 633"/>
                <a:gd name="T23" fmla="*/ 350 h 513"/>
                <a:gd name="T24" fmla="*/ 604 w 633"/>
                <a:gd name="T25" fmla="*/ 375 h 513"/>
                <a:gd name="T26" fmla="*/ 566 w 633"/>
                <a:gd name="T27" fmla="*/ 394 h 513"/>
                <a:gd name="T28" fmla="*/ 532 w 633"/>
                <a:gd name="T29" fmla="*/ 420 h 513"/>
                <a:gd name="T30" fmla="*/ 549 w 633"/>
                <a:gd name="T31" fmla="*/ 455 h 513"/>
                <a:gd name="T32" fmla="*/ 524 w 633"/>
                <a:gd name="T33" fmla="*/ 473 h 513"/>
                <a:gd name="T34" fmla="*/ 473 w 633"/>
                <a:gd name="T35" fmla="*/ 469 h 513"/>
                <a:gd name="T36" fmla="*/ 455 w 633"/>
                <a:gd name="T37" fmla="*/ 494 h 513"/>
                <a:gd name="T38" fmla="*/ 430 w 633"/>
                <a:gd name="T39" fmla="*/ 479 h 513"/>
                <a:gd name="T40" fmla="*/ 394 w 633"/>
                <a:gd name="T41" fmla="*/ 475 h 513"/>
                <a:gd name="T42" fmla="*/ 369 w 633"/>
                <a:gd name="T43" fmla="*/ 512 h 513"/>
                <a:gd name="T44" fmla="*/ 342 w 633"/>
                <a:gd name="T45" fmla="*/ 501 h 513"/>
                <a:gd name="T46" fmla="*/ 298 w 633"/>
                <a:gd name="T47" fmla="*/ 492 h 513"/>
                <a:gd name="T48" fmla="*/ 273 w 633"/>
                <a:gd name="T49" fmla="*/ 499 h 513"/>
                <a:gd name="T50" fmla="*/ 239 w 633"/>
                <a:gd name="T51" fmla="*/ 498 h 513"/>
                <a:gd name="T52" fmla="*/ 195 w 633"/>
                <a:gd name="T53" fmla="*/ 493 h 513"/>
                <a:gd name="T54" fmla="*/ 164 w 633"/>
                <a:gd name="T55" fmla="*/ 508 h 513"/>
                <a:gd name="T56" fmla="*/ 127 w 633"/>
                <a:gd name="T57" fmla="*/ 508 h 513"/>
                <a:gd name="T58" fmla="*/ 101 w 633"/>
                <a:gd name="T59" fmla="*/ 493 h 513"/>
                <a:gd name="T60" fmla="*/ 87 w 633"/>
                <a:gd name="T61" fmla="*/ 456 h 513"/>
                <a:gd name="T62" fmla="*/ 84 w 633"/>
                <a:gd name="T63" fmla="*/ 439 h 513"/>
                <a:gd name="T64" fmla="*/ 78 w 633"/>
                <a:gd name="T65" fmla="*/ 424 h 513"/>
                <a:gd name="T66" fmla="*/ 111 w 633"/>
                <a:gd name="T67" fmla="*/ 404 h 513"/>
                <a:gd name="T68" fmla="*/ 117 w 633"/>
                <a:gd name="T69" fmla="*/ 367 h 513"/>
                <a:gd name="T70" fmla="*/ 110 w 633"/>
                <a:gd name="T71" fmla="*/ 311 h 513"/>
                <a:gd name="T72" fmla="*/ 74 w 633"/>
                <a:gd name="T73" fmla="*/ 283 h 513"/>
                <a:gd name="T74" fmla="*/ 33 w 633"/>
                <a:gd name="T75" fmla="*/ 269 h 513"/>
                <a:gd name="T76" fmla="*/ 2 w 633"/>
                <a:gd name="T77" fmla="*/ 265 h 513"/>
                <a:gd name="T78" fmla="*/ 5 w 633"/>
                <a:gd name="T79" fmla="*/ 235 h 513"/>
                <a:gd name="T80" fmla="*/ 27 w 633"/>
                <a:gd name="T81" fmla="*/ 212 h 513"/>
                <a:gd name="T82" fmla="*/ 69 w 633"/>
                <a:gd name="T83" fmla="*/ 184 h 513"/>
                <a:gd name="T84" fmla="*/ 113 w 633"/>
                <a:gd name="T85" fmla="*/ 171 h 513"/>
                <a:gd name="T86" fmla="*/ 149 w 633"/>
                <a:gd name="T87" fmla="*/ 158 h 513"/>
                <a:gd name="T88" fmla="*/ 176 w 633"/>
                <a:gd name="T89" fmla="*/ 133 h 513"/>
                <a:gd name="T90" fmla="*/ 236 w 633"/>
                <a:gd name="T91" fmla="*/ 127 h 513"/>
                <a:gd name="T92" fmla="*/ 287 w 633"/>
                <a:gd name="T93" fmla="*/ 120 h 513"/>
                <a:gd name="T94" fmla="*/ 299 w 633"/>
                <a:gd name="T95" fmla="*/ 88 h 513"/>
                <a:gd name="T96" fmla="*/ 318 w 633"/>
                <a:gd name="T97" fmla="*/ 59 h 513"/>
                <a:gd name="T98" fmla="*/ 340 w 633"/>
                <a:gd name="T99" fmla="*/ 53 h 513"/>
                <a:gd name="T100" fmla="*/ 361 w 633"/>
                <a:gd name="T101" fmla="*/ 65 h 513"/>
                <a:gd name="T102" fmla="*/ 404 w 633"/>
                <a:gd name="T103" fmla="*/ 32 h 513"/>
                <a:gd name="T104" fmla="*/ 435 w 633"/>
                <a:gd name="T105" fmla="*/ 21 h 513"/>
                <a:gd name="T106" fmla="*/ 306 w 633"/>
                <a:gd name="T107" fmla="*/ 213 h 513"/>
                <a:gd name="T108" fmla="*/ 269 w 633"/>
                <a:gd name="T109" fmla="*/ 227 h 513"/>
                <a:gd name="T110" fmla="*/ 258 w 633"/>
                <a:gd name="T111" fmla="*/ 252 h 513"/>
                <a:gd name="T112" fmla="*/ 269 w 633"/>
                <a:gd name="T113" fmla="*/ 285 h 513"/>
                <a:gd name="T114" fmla="*/ 280 w 633"/>
                <a:gd name="T115" fmla="*/ 308 h 513"/>
                <a:gd name="T116" fmla="*/ 326 w 633"/>
                <a:gd name="T117" fmla="*/ 289 h 513"/>
                <a:gd name="T118" fmla="*/ 368 w 633"/>
                <a:gd name="T119" fmla="*/ 286 h 513"/>
                <a:gd name="T120" fmla="*/ 383 w 633"/>
                <a:gd name="T121" fmla="*/ 252 h 513"/>
                <a:gd name="T122" fmla="*/ 356 w 633"/>
                <a:gd name="T123" fmla="*/ 222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3" h="513">
                  <a:moveTo>
                    <a:pt x="451" y="0"/>
                  </a:moveTo>
                  <a:lnTo>
                    <a:pt x="451" y="0"/>
                  </a:lnTo>
                  <a:lnTo>
                    <a:pt x="452" y="0"/>
                  </a:lnTo>
                  <a:lnTo>
                    <a:pt x="452" y="1"/>
                  </a:lnTo>
                  <a:lnTo>
                    <a:pt x="453" y="1"/>
                  </a:lnTo>
                  <a:lnTo>
                    <a:pt x="455" y="3"/>
                  </a:lnTo>
                  <a:lnTo>
                    <a:pt x="456" y="4"/>
                  </a:lnTo>
                  <a:lnTo>
                    <a:pt x="457" y="5"/>
                  </a:lnTo>
                  <a:lnTo>
                    <a:pt x="459" y="6"/>
                  </a:lnTo>
                  <a:lnTo>
                    <a:pt x="460" y="7"/>
                  </a:lnTo>
                  <a:lnTo>
                    <a:pt x="460" y="7"/>
                  </a:lnTo>
                  <a:lnTo>
                    <a:pt x="461" y="8"/>
                  </a:lnTo>
                  <a:lnTo>
                    <a:pt x="461" y="9"/>
                  </a:lnTo>
                  <a:lnTo>
                    <a:pt x="462" y="9"/>
                  </a:lnTo>
                  <a:lnTo>
                    <a:pt x="463" y="9"/>
                  </a:lnTo>
                  <a:lnTo>
                    <a:pt x="463" y="10"/>
                  </a:lnTo>
                  <a:lnTo>
                    <a:pt x="464" y="10"/>
                  </a:lnTo>
                  <a:lnTo>
                    <a:pt x="465" y="10"/>
                  </a:lnTo>
                  <a:lnTo>
                    <a:pt x="465" y="10"/>
                  </a:lnTo>
                  <a:lnTo>
                    <a:pt x="465" y="9"/>
                  </a:lnTo>
                  <a:lnTo>
                    <a:pt x="466" y="9"/>
                  </a:lnTo>
                  <a:lnTo>
                    <a:pt x="467" y="8"/>
                  </a:lnTo>
                  <a:lnTo>
                    <a:pt x="468" y="8"/>
                  </a:lnTo>
                  <a:lnTo>
                    <a:pt x="468" y="8"/>
                  </a:lnTo>
                  <a:lnTo>
                    <a:pt x="469" y="7"/>
                  </a:lnTo>
                  <a:lnTo>
                    <a:pt x="470" y="7"/>
                  </a:lnTo>
                  <a:lnTo>
                    <a:pt x="471" y="7"/>
                  </a:lnTo>
                  <a:lnTo>
                    <a:pt x="471" y="7"/>
                  </a:lnTo>
                  <a:lnTo>
                    <a:pt x="474" y="8"/>
                  </a:lnTo>
                  <a:lnTo>
                    <a:pt x="475" y="8"/>
                  </a:lnTo>
                  <a:lnTo>
                    <a:pt x="476" y="8"/>
                  </a:lnTo>
                  <a:lnTo>
                    <a:pt x="476" y="8"/>
                  </a:lnTo>
                  <a:lnTo>
                    <a:pt x="476" y="9"/>
                  </a:lnTo>
                  <a:lnTo>
                    <a:pt x="477" y="9"/>
                  </a:lnTo>
                  <a:lnTo>
                    <a:pt x="479" y="10"/>
                  </a:lnTo>
                  <a:lnTo>
                    <a:pt x="481" y="14"/>
                  </a:lnTo>
                  <a:lnTo>
                    <a:pt x="485" y="18"/>
                  </a:lnTo>
                  <a:lnTo>
                    <a:pt x="487" y="20"/>
                  </a:lnTo>
                  <a:lnTo>
                    <a:pt x="488" y="21"/>
                  </a:lnTo>
                  <a:lnTo>
                    <a:pt x="488" y="21"/>
                  </a:lnTo>
                  <a:lnTo>
                    <a:pt x="489" y="22"/>
                  </a:lnTo>
                  <a:lnTo>
                    <a:pt x="490" y="22"/>
                  </a:lnTo>
                  <a:lnTo>
                    <a:pt x="491" y="22"/>
                  </a:lnTo>
                  <a:lnTo>
                    <a:pt x="493" y="23"/>
                  </a:lnTo>
                  <a:lnTo>
                    <a:pt x="494" y="24"/>
                  </a:lnTo>
                  <a:lnTo>
                    <a:pt x="495" y="24"/>
                  </a:lnTo>
                  <a:lnTo>
                    <a:pt x="496" y="25"/>
                  </a:lnTo>
                  <a:lnTo>
                    <a:pt x="497" y="26"/>
                  </a:lnTo>
                  <a:lnTo>
                    <a:pt x="499" y="27"/>
                  </a:lnTo>
                  <a:lnTo>
                    <a:pt x="500" y="28"/>
                  </a:lnTo>
                  <a:lnTo>
                    <a:pt x="501" y="29"/>
                  </a:lnTo>
                  <a:lnTo>
                    <a:pt x="501" y="30"/>
                  </a:lnTo>
                  <a:lnTo>
                    <a:pt x="502" y="31"/>
                  </a:lnTo>
                  <a:lnTo>
                    <a:pt x="503" y="32"/>
                  </a:lnTo>
                  <a:lnTo>
                    <a:pt x="505" y="35"/>
                  </a:lnTo>
                  <a:lnTo>
                    <a:pt x="505" y="36"/>
                  </a:lnTo>
                  <a:lnTo>
                    <a:pt x="505" y="37"/>
                  </a:lnTo>
                  <a:lnTo>
                    <a:pt x="506" y="37"/>
                  </a:lnTo>
                  <a:lnTo>
                    <a:pt x="507" y="38"/>
                  </a:lnTo>
                  <a:lnTo>
                    <a:pt x="508" y="38"/>
                  </a:lnTo>
                  <a:lnTo>
                    <a:pt x="508" y="39"/>
                  </a:lnTo>
                  <a:lnTo>
                    <a:pt x="509" y="39"/>
                  </a:lnTo>
                  <a:lnTo>
                    <a:pt x="511" y="40"/>
                  </a:lnTo>
                  <a:lnTo>
                    <a:pt x="512" y="41"/>
                  </a:lnTo>
                  <a:lnTo>
                    <a:pt x="517" y="43"/>
                  </a:lnTo>
                  <a:lnTo>
                    <a:pt x="518" y="43"/>
                  </a:lnTo>
                  <a:lnTo>
                    <a:pt x="519" y="44"/>
                  </a:lnTo>
                  <a:lnTo>
                    <a:pt x="518" y="45"/>
                  </a:lnTo>
                  <a:lnTo>
                    <a:pt x="517" y="46"/>
                  </a:lnTo>
                  <a:lnTo>
                    <a:pt x="515" y="48"/>
                  </a:lnTo>
                  <a:lnTo>
                    <a:pt x="514" y="49"/>
                  </a:lnTo>
                  <a:lnTo>
                    <a:pt x="513" y="50"/>
                  </a:lnTo>
                  <a:lnTo>
                    <a:pt x="512" y="51"/>
                  </a:lnTo>
                  <a:lnTo>
                    <a:pt x="512" y="52"/>
                  </a:lnTo>
                  <a:lnTo>
                    <a:pt x="512" y="52"/>
                  </a:lnTo>
                  <a:lnTo>
                    <a:pt x="512" y="53"/>
                  </a:lnTo>
                  <a:lnTo>
                    <a:pt x="512" y="54"/>
                  </a:lnTo>
                  <a:lnTo>
                    <a:pt x="512" y="54"/>
                  </a:lnTo>
                  <a:lnTo>
                    <a:pt x="512" y="55"/>
                  </a:lnTo>
                  <a:lnTo>
                    <a:pt x="512" y="56"/>
                  </a:lnTo>
                  <a:lnTo>
                    <a:pt x="513" y="58"/>
                  </a:lnTo>
                  <a:lnTo>
                    <a:pt x="514" y="60"/>
                  </a:lnTo>
                  <a:lnTo>
                    <a:pt x="514" y="61"/>
                  </a:lnTo>
                  <a:lnTo>
                    <a:pt x="515" y="63"/>
                  </a:lnTo>
                  <a:lnTo>
                    <a:pt x="516" y="65"/>
                  </a:lnTo>
                  <a:lnTo>
                    <a:pt x="516" y="66"/>
                  </a:lnTo>
                  <a:lnTo>
                    <a:pt x="516" y="66"/>
                  </a:lnTo>
                  <a:lnTo>
                    <a:pt x="516" y="67"/>
                  </a:lnTo>
                  <a:lnTo>
                    <a:pt x="516" y="69"/>
                  </a:lnTo>
                  <a:lnTo>
                    <a:pt x="516" y="74"/>
                  </a:lnTo>
                  <a:lnTo>
                    <a:pt x="516" y="75"/>
                  </a:lnTo>
                  <a:lnTo>
                    <a:pt x="516" y="76"/>
                  </a:lnTo>
                  <a:lnTo>
                    <a:pt x="517" y="77"/>
                  </a:lnTo>
                  <a:lnTo>
                    <a:pt x="517" y="78"/>
                  </a:lnTo>
                  <a:lnTo>
                    <a:pt x="517" y="78"/>
                  </a:lnTo>
                  <a:lnTo>
                    <a:pt x="518" y="80"/>
                  </a:lnTo>
                  <a:lnTo>
                    <a:pt x="519" y="81"/>
                  </a:lnTo>
                  <a:lnTo>
                    <a:pt x="519" y="82"/>
                  </a:lnTo>
                  <a:lnTo>
                    <a:pt x="520" y="83"/>
                  </a:lnTo>
                  <a:lnTo>
                    <a:pt x="520" y="84"/>
                  </a:lnTo>
                  <a:lnTo>
                    <a:pt x="521" y="87"/>
                  </a:lnTo>
                  <a:lnTo>
                    <a:pt x="522" y="89"/>
                  </a:lnTo>
                  <a:lnTo>
                    <a:pt x="522" y="90"/>
                  </a:lnTo>
                  <a:lnTo>
                    <a:pt x="522" y="91"/>
                  </a:lnTo>
                  <a:lnTo>
                    <a:pt x="522" y="93"/>
                  </a:lnTo>
                  <a:lnTo>
                    <a:pt x="521" y="94"/>
                  </a:lnTo>
                  <a:lnTo>
                    <a:pt x="521" y="95"/>
                  </a:lnTo>
                  <a:lnTo>
                    <a:pt x="520" y="96"/>
                  </a:lnTo>
                  <a:lnTo>
                    <a:pt x="520" y="97"/>
                  </a:lnTo>
                  <a:lnTo>
                    <a:pt x="518" y="99"/>
                  </a:lnTo>
                  <a:lnTo>
                    <a:pt x="518" y="100"/>
                  </a:lnTo>
                  <a:lnTo>
                    <a:pt x="517" y="101"/>
                  </a:lnTo>
                  <a:lnTo>
                    <a:pt x="516" y="104"/>
                  </a:lnTo>
                  <a:lnTo>
                    <a:pt x="516" y="105"/>
                  </a:lnTo>
                  <a:lnTo>
                    <a:pt x="516" y="105"/>
                  </a:lnTo>
                  <a:lnTo>
                    <a:pt x="515" y="105"/>
                  </a:lnTo>
                  <a:lnTo>
                    <a:pt x="515" y="106"/>
                  </a:lnTo>
                  <a:lnTo>
                    <a:pt x="514" y="106"/>
                  </a:lnTo>
                  <a:lnTo>
                    <a:pt x="512" y="108"/>
                  </a:lnTo>
                  <a:lnTo>
                    <a:pt x="511" y="108"/>
                  </a:lnTo>
                  <a:lnTo>
                    <a:pt x="511" y="108"/>
                  </a:lnTo>
                  <a:lnTo>
                    <a:pt x="510" y="109"/>
                  </a:lnTo>
                  <a:lnTo>
                    <a:pt x="510" y="110"/>
                  </a:lnTo>
                  <a:lnTo>
                    <a:pt x="510" y="110"/>
                  </a:lnTo>
                  <a:lnTo>
                    <a:pt x="509" y="111"/>
                  </a:lnTo>
                  <a:lnTo>
                    <a:pt x="509" y="111"/>
                  </a:lnTo>
                  <a:lnTo>
                    <a:pt x="509" y="112"/>
                  </a:lnTo>
                  <a:lnTo>
                    <a:pt x="509" y="113"/>
                  </a:lnTo>
                  <a:lnTo>
                    <a:pt x="510" y="114"/>
                  </a:lnTo>
                  <a:lnTo>
                    <a:pt x="510" y="114"/>
                  </a:lnTo>
                  <a:lnTo>
                    <a:pt x="510" y="115"/>
                  </a:lnTo>
                  <a:lnTo>
                    <a:pt x="511" y="117"/>
                  </a:lnTo>
                  <a:lnTo>
                    <a:pt x="512" y="118"/>
                  </a:lnTo>
                  <a:lnTo>
                    <a:pt x="512" y="119"/>
                  </a:lnTo>
                  <a:lnTo>
                    <a:pt x="513" y="120"/>
                  </a:lnTo>
                  <a:lnTo>
                    <a:pt x="513" y="121"/>
                  </a:lnTo>
                  <a:lnTo>
                    <a:pt x="513" y="122"/>
                  </a:lnTo>
                  <a:lnTo>
                    <a:pt x="514" y="123"/>
                  </a:lnTo>
                  <a:lnTo>
                    <a:pt x="514" y="124"/>
                  </a:lnTo>
                  <a:lnTo>
                    <a:pt x="515" y="124"/>
                  </a:lnTo>
                  <a:lnTo>
                    <a:pt x="515" y="125"/>
                  </a:lnTo>
                  <a:lnTo>
                    <a:pt x="516" y="125"/>
                  </a:lnTo>
                  <a:lnTo>
                    <a:pt x="517" y="126"/>
                  </a:lnTo>
                  <a:lnTo>
                    <a:pt x="518" y="126"/>
                  </a:lnTo>
                  <a:lnTo>
                    <a:pt x="518" y="126"/>
                  </a:lnTo>
                  <a:lnTo>
                    <a:pt x="519" y="127"/>
                  </a:lnTo>
                  <a:lnTo>
                    <a:pt x="519" y="127"/>
                  </a:lnTo>
                  <a:lnTo>
                    <a:pt x="520" y="127"/>
                  </a:lnTo>
                  <a:lnTo>
                    <a:pt x="521" y="127"/>
                  </a:lnTo>
                  <a:lnTo>
                    <a:pt x="524" y="127"/>
                  </a:lnTo>
                  <a:lnTo>
                    <a:pt x="525" y="128"/>
                  </a:lnTo>
                  <a:lnTo>
                    <a:pt x="525" y="128"/>
                  </a:lnTo>
                  <a:lnTo>
                    <a:pt x="527" y="128"/>
                  </a:lnTo>
                  <a:lnTo>
                    <a:pt x="528" y="129"/>
                  </a:lnTo>
                  <a:lnTo>
                    <a:pt x="529" y="129"/>
                  </a:lnTo>
                  <a:lnTo>
                    <a:pt x="529" y="130"/>
                  </a:lnTo>
                  <a:lnTo>
                    <a:pt x="530" y="130"/>
                  </a:lnTo>
                  <a:lnTo>
                    <a:pt x="531" y="132"/>
                  </a:lnTo>
                  <a:lnTo>
                    <a:pt x="531" y="132"/>
                  </a:lnTo>
                  <a:lnTo>
                    <a:pt x="532" y="133"/>
                  </a:lnTo>
                  <a:lnTo>
                    <a:pt x="533" y="134"/>
                  </a:lnTo>
                  <a:lnTo>
                    <a:pt x="534" y="135"/>
                  </a:lnTo>
                  <a:lnTo>
                    <a:pt x="536" y="137"/>
                  </a:lnTo>
                  <a:lnTo>
                    <a:pt x="536" y="137"/>
                  </a:lnTo>
                  <a:lnTo>
                    <a:pt x="537" y="138"/>
                  </a:lnTo>
                  <a:lnTo>
                    <a:pt x="537" y="139"/>
                  </a:lnTo>
                  <a:lnTo>
                    <a:pt x="538" y="139"/>
                  </a:lnTo>
                  <a:lnTo>
                    <a:pt x="538" y="140"/>
                  </a:lnTo>
                  <a:lnTo>
                    <a:pt x="538" y="142"/>
                  </a:lnTo>
                  <a:lnTo>
                    <a:pt x="538" y="144"/>
                  </a:lnTo>
                  <a:lnTo>
                    <a:pt x="538" y="144"/>
                  </a:lnTo>
                  <a:lnTo>
                    <a:pt x="538" y="145"/>
                  </a:lnTo>
                  <a:lnTo>
                    <a:pt x="538" y="146"/>
                  </a:lnTo>
                  <a:lnTo>
                    <a:pt x="539" y="147"/>
                  </a:lnTo>
                  <a:lnTo>
                    <a:pt x="539" y="148"/>
                  </a:lnTo>
                  <a:lnTo>
                    <a:pt x="539" y="148"/>
                  </a:lnTo>
                  <a:lnTo>
                    <a:pt x="540" y="149"/>
                  </a:lnTo>
                  <a:lnTo>
                    <a:pt x="540" y="149"/>
                  </a:lnTo>
                  <a:lnTo>
                    <a:pt x="541" y="150"/>
                  </a:lnTo>
                  <a:lnTo>
                    <a:pt x="542" y="150"/>
                  </a:lnTo>
                  <a:lnTo>
                    <a:pt x="542" y="151"/>
                  </a:lnTo>
                  <a:lnTo>
                    <a:pt x="543" y="151"/>
                  </a:lnTo>
                  <a:lnTo>
                    <a:pt x="544" y="151"/>
                  </a:lnTo>
                  <a:lnTo>
                    <a:pt x="545" y="152"/>
                  </a:lnTo>
                  <a:lnTo>
                    <a:pt x="545" y="152"/>
                  </a:lnTo>
                  <a:lnTo>
                    <a:pt x="546" y="152"/>
                  </a:lnTo>
                  <a:lnTo>
                    <a:pt x="547" y="152"/>
                  </a:lnTo>
                  <a:lnTo>
                    <a:pt x="548" y="152"/>
                  </a:lnTo>
                  <a:lnTo>
                    <a:pt x="552" y="151"/>
                  </a:lnTo>
                  <a:lnTo>
                    <a:pt x="553" y="151"/>
                  </a:lnTo>
                  <a:lnTo>
                    <a:pt x="554" y="151"/>
                  </a:lnTo>
                  <a:lnTo>
                    <a:pt x="558" y="152"/>
                  </a:lnTo>
                  <a:lnTo>
                    <a:pt x="561" y="152"/>
                  </a:lnTo>
                  <a:lnTo>
                    <a:pt x="564" y="153"/>
                  </a:lnTo>
                  <a:lnTo>
                    <a:pt x="565" y="153"/>
                  </a:lnTo>
                  <a:lnTo>
                    <a:pt x="566" y="153"/>
                  </a:lnTo>
                  <a:lnTo>
                    <a:pt x="567" y="153"/>
                  </a:lnTo>
                  <a:lnTo>
                    <a:pt x="568" y="152"/>
                  </a:lnTo>
                  <a:lnTo>
                    <a:pt x="572" y="151"/>
                  </a:lnTo>
                  <a:lnTo>
                    <a:pt x="574" y="150"/>
                  </a:lnTo>
                  <a:lnTo>
                    <a:pt x="575" y="150"/>
                  </a:lnTo>
                  <a:lnTo>
                    <a:pt x="577" y="149"/>
                  </a:lnTo>
                  <a:lnTo>
                    <a:pt x="577" y="149"/>
                  </a:lnTo>
                  <a:lnTo>
                    <a:pt x="578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80" y="149"/>
                  </a:lnTo>
                  <a:lnTo>
                    <a:pt x="581" y="149"/>
                  </a:lnTo>
                  <a:lnTo>
                    <a:pt x="581" y="150"/>
                  </a:lnTo>
                  <a:lnTo>
                    <a:pt x="582" y="151"/>
                  </a:lnTo>
                  <a:lnTo>
                    <a:pt x="584" y="152"/>
                  </a:lnTo>
                  <a:lnTo>
                    <a:pt x="584" y="153"/>
                  </a:lnTo>
                  <a:lnTo>
                    <a:pt x="585" y="153"/>
                  </a:lnTo>
                  <a:lnTo>
                    <a:pt x="586" y="154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7" y="156"/>
                  </a:lnTo>
                  <a:lnTo>
                    <a:pt x="587" y="158"/>
                  </a:lnTo>
                  <a:lnTo>
                    <a:pt x="587" y="158"/>
                  </a:lnTo>
                  <a:lnTo>
                    <a:pt x="587" y="160"/>
                  </a:lnTo>
                  <a:lnTo>
                    <a:pt x="587" y="162"/>
                  </a:lnTo>
                  <a:lnTo>
                    <a:pt x="588" y="165"/>
                  </a:lnTo>
                  <a:lnTo>
                    <a:pt x="588" y="167"/>
                  </a:lnTo>
                  <a:lnTo>
                    <a:pt x="587" y="168"/>
                  </a:lnTo>
                  <a:lnTo>
                    <a:pt x="587" y="171"/>
                  </a:lnTo>
                  <a:lnTo>
                    <a:pt x="587" y="172"/>
                  </a:lnTo>
                  <a:lnTo>
                    <a:pt x="587" y="173"/>
                  </a:lnTo>
                  <a:lnTo>
                    <a:pt x="587" y="174"/>
                  </a:lnTo>
                  <a:lnTo>
                    <a:pt x="587" y="176"/>
                  </a:lnTo>
                  <a:lnTo>
                    <a:pt x="587" y="178"/>
                  </a:lnTo>
                  <a:lnTo>
                    <a:pt x="587" y="179"/>
                  </a:lnTo>
                  <a:lnTo>
                    <a:pt x="587" y="179"/>
                  </a:lnTo>
                  <a:lnTo>
                    <a:pt x="587" y="180"/>
                  </a:lnTo>
                  <a:lnTo>
                    <a:pt x="588" y="182"/>
                  </a:lnTo>
                  <a:lnTo>
                    <a:pt x="589" y="183"/>
                  </a:lnTo>
                  <a:lnTo>
                    <a:pt x="591" y="185"/>
                  </a:lnTo>
                  <a:lnTo>
                    <a:pt x="591" y="186"/>
                  </a:lnTo>
                  <a:lnTo>
                    <a:pt x="592" y="188"/>
                  </a:lnTo>
                  <a:lnTo>
                    <a:pt x="592" y="189"/>
                  </a:lnTo>
                  <a:lnTo>
                    <a:pt x="593" y="191"/>
                  </a:lnTo>
                  <a:lnTo>
                    <a:pt x="593" y="191"/>
                  </a:lnTo>
                  <a:lnTo>
                    <a:pt x="593" y="192"/>
                  </a:lnTo>
                  <a:lnTo>
                    <a:pt x="593" y="192"/>
                  </a:lnTo>
                  <a:lnTo>
                    <a:pt x="593" y="193"/>
                  </a:lnTo>
                  <a:lnTo>
                    <a:pt x="593" y="194"/>
                  </a:lnTo>
                  <a:lnTo>
                    <a:pt x="592" y="195"/>
                  </a:lnTo>
                  <a:lnTo>
                    <a:pt x="592" y="196"/>
                  </a:lnTo>
                  <a:lnTo>
                    <a:pt x="591" y="198"/>
                  </a:lnTo>
                  <a:lnTo>
                    <a:pt x="591" y="199"/>
                  </a:lnTo>
                  <a:lnTo>
                    <a:pt x="590" y="200"/>
                  </a:lnTo>
                  <a:lnTo>
                    <a:pt x="589" y="202"/>
                  </a:lnTo>
                  <a:lnTo>
                    <a:pt x="588" y="203"/>
                  </a:lnTo>
                  <a:lnTo>
                    <a:pt x="587" y="204"/>
                  </a:lnTo>
                  <a:lnTo>
                    <a:pt x="586" y="206"/>
                  </a:lnTo>
                  <a:lnTo>
                    <a:pt x="585" y="207"/>
                  </a:lnTo>
                  <a:lnTo>
                    <a:pt x="584" y="208"/>
                  </a:lnTo>
                  <a:lnTo>
                    <a:pt x="584" y="209"/>
                  </a:lnTo>
                  <a:lnTo>
                    <a:pt x="583" y="210"/>
                  </a:lnTo>
                  <a:lnTo>
                    <a:pt x="583" y="210"/>
                  </a:lnTo>
                  <a:lnTo>
                    <a:pt x="583" y="211"/>
                  </a:lnTo>
                  <a:lnTo>
                    <a:pt x="584" y="212"/>
                  </a:lnTo>
                  <a:lnTo>
                    <a:pt x="584" y="213"/>
                  </a:lnTo>
                  <a:lnTo>
                    <a:pt x="584" y="214"/>
                  </a:lnTo>
                  <a:lnTo>
                    <a:pt x="584" y="214"/>
                  </a:lnTo>
                  <a:lnTo>
                    <a:pt x="583" y="217"/>
                  </a:lnTo>
                  <a:lnTo>
                    <a:pt x="583" y="217"/>
                  </a:lnTo>
                  <a:lnTo>
                    <a:pt x="583" y="217"/>
                  </a:lnTo>
                  <a:lnTo>
                    <a:pt x="583" y="218"/>
                  </a:lnTo>
                  <a:lnTo>
                    <a:pt x="583" y="218"/>
                  </a:lnTo>
                  <a:lnTo>
                    <a:pt x="584" y="218"/>
                  </a:lnTo>
                  <a:lnTo>
                    <a:pt x="585" y="219"/>
                  </a:lnTo>
                  <a:lnTo>
                    <a:pt x="588" y="220"/>
                  </a:lnTo>
                  <a:lnTo>
                    <a:pt x="592" y="221"/>
                  </a:lnTo>
                  <a:lnTo>
                    <a:pt x="593" y="221"/>
                  </a:lnTo>
                  <a:lnTo>
                    <a:pt x="594" y="221"/>
                  </a:lnTo>
                  <a:lnTo>
                    <a:pt x="596" y="222"/>
                  </a:lnTo>
                  <a:lnTo>
                    <a:pt x="597" y="222"/>
                  </a:lnTo>
                  <a:lnTo>
                    <a:pt x="598" y="222"/>
                  </a:lnTo>
                  <a:lnTo>
                    <a:pt x="599" y="223"/>
                  </a:lnTo>
                  <a:lnTo>
                    <a:pt x="600" y="223"/>
                  </a:lnTo>
                  <a:lnTo>
                    <a:pt x="602" y="225"/>
                  </a:lnTo>
                  <a:lnTo>
                    <a:pt x="603" y="226"/>
                  </a:lnTo>
                  <a:lnTo>
                    <a:pt x="605" y="226"/>
                  </a:lnTo>
                  <a:lnTo>
                    <a:pt x="605" y="227"/>
                  </a:lnTo>
                  <a:lnTo>
                    <a:pt x="605" y="227"/>
                  </a:lnTo>
                  <a:lnTo>
                    <a:pt x="606" y="228"/>
                  </a:lnTo>
                  <a:lnTo>
                    <a:pt x="606" y="228"/>
                  </a:lnTo>
                  <a:lnTo>
                    <a:pt x="606" y="229"/>
                  </a:lnTo>
                  <a:lnTo>
                    <a:pt x="606" y="229"/>
                  </a:lnTo>
                  <a:lnTo>
                    <a:pt x="606" y="230"/>
                  </a:lnTo>
                  <a:lnTo>
                    <a:pt x="606" y="231"/>
                  </a:lnTo>
                  <a:lnTo>
                    <a:pt x="606" y="231"/>
                  </a:lnTo>
                  <a:lnTo>
                    <a:pt x="606" y="233"/>
                  </a:lnTo>
                  <a:lnTo>
                    <a:pt x="606" y="234"/>
                  </a:lnTo>
                  <a:lnTo>
                    <a:pt x="606" y="235"/>
                  </a:lnTo>
                  <a:lnTo>
                    <a:pt x="605" y="235"/>
                  </a:lnTo>
                  <a:lnTo>
                    <a:pt x="605" y="236"/>
                  </a:lnTo>
                  <a:lnTo>
                    <a:pt x="605" y="236"/>
                  </a:lnTo>
                  <a:lnTo>
                    <a:pt x="604" y="236"/>
                  </a:lnTo>
                  <a:lnTo>
                    <a:pt x="603" y="236"/>
                  </a:lnTo>
                  <a:lnTo>
                    <a:pt x="603" y="237"/>
                  </a:lnTo>
                  <a:lnTo>
                    <a:pt x="602" y="237"/>
                  </a:lnTo>
                  <a:lnTo>
                    <a:pt x="600" y="237"/>
                  </a:lnTo>
                  <a:lnTo>
                    <a:pt x="599" y="238"/>
                  </a:lnTo>
                  <a:lnTo>
                    <a:pt x="599" y="238"/>
                  </a:lnTo>
                  <a:lnTo>
                    <a:pt x="598" y="238"/>
                  </a:lnTo>
                  <a:lnTo>
                    <a:pt x="598" y="239"/>
                  </a:lnTo>
                  <a:lnTo>
                    <a:pt x="597" y="239"/>
                  </a:lnTo>
                  <a:lnTo>
                    <a:pt x="597" y="239"/>
                  </a:lnTo>
                  <a:lnTo>
                    <a:pt x="597" y="240"/>
                  </a:lnTo>
                  <a:lnTo>
                    <a:pt x="597" y="240"/>
                  </a:lnTo>
                  <a:lnTo>
                    <a:pt x="597" y="241"/>
                  </a:lnTo>
                  <a:lnTo>
                    <a:pt x="597" y="241"/>
                  </a:lnTo>
                  <a:lnTo>
                    <a:pt x="597" y="241"/>
                  </a:lnTo>
                  <a:lnTo>
                    <a:pt x="598" y="242"/>
                  </a:lnTo>
                  <a:lnTo>
                    <a:pt x="599" y="243"/>
                  </a:lnTo>
                  <a:lnTo>
                    <a:pt x="599" y="243"/>
                  </a:lnTo>
                  <a:lnTo>
                    <a:pt x="599" y="244"/>
                  </a:lnTo>
                  <a:lnTo>
                    <a:pt x="599" y="244"/>
                  </a:lnTo>
                  <a:lnTo>
                    <a:pt x="599" y="245"/>
                  </a:lnTo>
                  <a:lnTo>
                    <a:pt x="599" y="245"/>
                  </a:lnTo>
                  <a:lnTo>
                    <a:pt x="598" y="246"/>
                  </a:lnTo>
                  <a:lnTo>
                    <a:pt x="598" y="247"/>
                  </a:lnTo>
                  <a:lnTo>
                    <a:pt x="598" y="247"/>
                  </a:lnTo>
                  <a:lnTo>
                    <a:pt x="598" y="249"/>
                  </a:lnTo>
                  <a:lnTo>
                    <a:pt x="597" y="251"/>
                  </a:lnTo>
                  <a:lnTo>
                    <a:pt x="597" y="252"/>
                  </a:lnTo>
                  <a:lnTo>
                    <a:pt x="597" y="253"/>
                  </a:lnTo>
                  <a:lnTo>
                    <a:pt x="597" y="254"/>
                  </a:lnTo>
                  <a:lnTo>
                    <a:pt x="596" y="254"/>
                  </a:lnTo>
                  <a:lnTo>
                    <a:pt x="596" y="255"/>
                  </a:lnTo>
                  <a:lnTo>
                    <a:pt x="596" y="255"/>
                  </a:lnTo>
                  <a:lnTo>
                    <a:pt x="595" y="256"/>
                  </a:lnTo>
                  <a:lnTo>
                    <a:pt x="594" y="256"/>
                  </a:lnTo>
                  <a:lnTo>
                    <a:pt x="592" y="258"/>
                  </a:lnTo>
                  <a:lnTo>
                    <a:pt x="591" y="259"/>
                  </a:lnTo>
                  <a:lnTo>
                    <a:pt x="591" y="259"/>
                  </a:lnTo>
                  <a:lnTo>
                    <a:pt x="591" y="259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1"/>
                  </a:lnTo>
                  <a:lnTo>
                    <a:pt x="592" y="262"/>
                  </a:lnTo>
                  <a:lnTo>
                    <a:pt x="592" y="262"/>
                  </a:lnTo>
                  <a:lnTo>
                    <a:pt x="593" y="263"/>
                  </a:lnTo>
                  <a:lnTo>
                    <a:pt x="593" y="263"/>
                  </a:lnTo>
                  <a:lnTo>
                    <a:pt x="592" y="263"/>
                  </a:lnTo>
                  <a:lnTo>
                    <a:pt x="592" y="263"/>
                  </a:lnTo>
                  <a:lnTo>
                    <a:pt x="592" y="264"/>
                  </a:lnTo>
                  <a:lnTo>
                    <a:pt x="591" y="264"/>
                  </a:lnTo>
                  <a:lnTo>
                    <a:pt x="589" y="265"/>
                  </a:lnTo>
                  <a:lnTo>
                    <a:pt x="589" y="265"/>
                  </a:lnTo>
                  <a:lnTo>
                    <a:pt x="588" y="265"/>
                  </a:lnTo>
                  <a:lnTo>
                    <a:pt x="588" y="266"/>
                  </a:lnTo>
                  <a:lnTo>
                    <a:pt x="587" y="266"/>
                  </a:lnTo>
                  <a:lnTo>
                    <a:pt x="587" y="267"/>
                  </a:lnTo>
                  <a:lnTo>
                    <a:pt x="587" y="267"/>
                  </a:lnTo>
                  <a:lnTo>
                    <a:pt x="587" y="267"/>
                  </a:lnTo>
                  <a:lnTo>
                    <a:pt x="587" y="268"/>
                  </a:lnTo>
                  <a:lnTo>
                    <a:pt x="587" y="269"/>
                  </a:lnTo>
                  <a:lnTo>
                    <a:pt x="587" y="269"/>
                  </a:lnTo>
                  <a:lnTo>
                    <a:pt x="587" y="270"/>
                  </a:lnTo>
                  <a:lnTo>
                    <a:pt x="588" y="271"/>
                  </a:lnTo>
                  <a:lnTo>
                    <a:pt x="588" y="272"/>
                  </a:lnTo>
                  <a:lnTo>
                    <a:pt x="589" y="272"/>
                  </a:lnTo>
                  <a:lnTo>
                    <a:pt x="590" y="273"/>
                  </a:lnTo>
                  <a:lnTo>
                    <a:pt x="591" y="274"/>
                  </a:lnTo>
                  <a:lnTo>
                    <a:pt x="592" y="274"/>
                  </a:lnTo>
                  <a:lnTo>
                    <a:pt x="593" y="275"/>
                  </a:lnTo>
                  <a:lnTo>
                    <a:pt x="594" y="275"/>
                  </a:lnTo>
                  <a:lnTo>
                    <a:pt x="595" y="276"/>
                  </a:lnTo>
                  <a:lnTo>
                    <a:pt x="598" y="276"/>
                  </a:lnTo>
                  <a:lnTo>
                    <a:pt x="598" y="277"/>
                  </a:lnTo>
                  <a:lnTo>
                    <a:pt x="599" y="277"/>
                  </a:lnTo>
                  <a:lnTo>
                    <a:pt x="601" y="278"/>
                  </a:lnTo>
                  <a:lnTo>
                    <a:pt x="601" y="278"/>
                  </a:lnTo>
                  <a:lnTo>
                    <a:pt x="602" y="279"/>
                  </a:lnTo>
                  <a:lnTo>
                    <a:pt x="603" y="279"/>
                  </a:lnTo>
                  <a:lnTo>
                    <a:pt x="603" y="280"/>
                  </a:lnTo>
                  <a:lnTo>
                    <a:pt x="604" y="280"/>
                  </a:lnTo>
                  <a:lnTo>
                    <a:pt x="604" y="280"/>
                  </a:lnTo>
                  <a:lnTo>
                    <a:pt x="605" y="281"/>
                  </a:lnTo>
                  <a:lnTo>
                    <a:pt x="607" y="281"/>
                  </a:lnTo>
                  <a:lnTo>
                    <a:pt x="608" y="282"/>
                  </a:lnTo>
                  <a:lnTo>
                    <a:pt x="610" y="282"/>
                  </a:lnTo>
                  <a:lnTo>
                    <a:pt x="610" y="282"/>
                  </a:lnTo>
                  <a:lnTo>
                    <a:pt x="611" y="282"/>
                  </a:lnTo>
                  <a:lnTo>
                    <a:pt x="611" y="282"/>
                  </a:lnTo>
                  <a:lnTo>
                    <a:pt x="611" y="283"/>
                  </a:lnTo>
                  <a:lnTo>
                    <a:pt x="612" y="284"/>
                  </a:lnTo>
                  <a:lnTo>
                    <a:pt x="613" y="284"/>
                  </a:lnTo>
                  <a:lnTo>
                    <a:pt x="613" y="284"/>
                  </a:lnTo>
                  <a:lnTo>
                    <a:pt x="614" y="285"/>
                  </a:lnTo>
                  <a:lnTo>
                    <a:pt x="615" y="285"/>
                  </a:lnTo>
                  <a:lnTo>
                    <a:pt x="615" y="285"/>
                  </a:lnTo>
                  <a:lnTo>
                    <a:pt x="615" y="285"/>
                  </a:lnTo>
                  <a:lnTo>
                    <a:pt x="615" y="286"/>
                  </a:lnTo>
                  <a:lnTo>
                    <a:pt x="616" y="286"/>
                  </a:lnTo>
                  <a:lnTo>
                    <a:pt x="616" y="287"/>
                  </a:lnTo>
                  <a:lnTo>
                    <a:pt x="616" y="290"/>
                  </a:lnTo>
                  <a:lnTo>
                    <a:pt x="616" y="290"/>
                  </a:lnTo>
                  <a:lnTo>
                    <a:pt x="616" y="291"/>
                  </a:lnTo>
                  <a:lnTo>
                    <a:pt x="616" y="291"/>
                  </a:lnTo>
                  <a:lnTo>
                    <a:pt x="616" y="292"/>
                  </a:lnTo>
                  <a:lnTo>
                    <a:pt x="617" y="293"/>
                  </a:lnTo>
                  <a:lnTo>
                    <a:pt x="617" y="293"/>
                  </a:lnTo>
                  <a:lnTo>
                    <a:pt x="618" y="294"/>
                  </a:lnTo>
                  <a:lnTo>
                    <a:pt x="620" y="295"/>
                  </a:lnTo>
                  <a:lnTo>
                    <a:pt x="621" y="296"/>
                  </a:lnTo>
                  <a:lnTo>
                    <a:pt x="622" y="297"/>
                  </a:lnTo>
                  <a:lnTo>
                    <a:pt x="624" y="298"/>
                  </a:lnTo>
                  <a:lnTo>
                    <a:pt x="625" y="299"/>
                  </a:lnTo>
                  <a:lnTo>
                    <a:pt x="628" y="300"/>
                  </a:lnTo>
                  <a:lnTo>
                    <a:pt x="629" y="301"/>
                  </a:lnTo>
                  <a:lnTo>
                    <a:pt x="630" y="301"/>
                  </a:lnTo>
                  <a:lnTo>
                    <a:pt x="631" y="302"/>
                  </a:lnTo>
                  <a:lnTo>
                    <a:pt x="632" y="303"/>
                  </a:lnTo>
                  <a:lnTo>
                    <a:pt x="632" y="304"/>
                  </a:lnTo>
                  <a:lnTo>
                    <a:pt x="633" y="304"/>
                  </a:lnTo>
                  <a:lnTo>
                    <a:pt x="633" y="305"/>
                  </a:lnTo>
                  <a:lnTo>
                    <a:pt x="633" y="306"/>
                  </a:lnTo>
                  <a:lnTo>
                    <a:pt x="633" y="307"/>
                  </a:lnTo>
                  <a:lnTo>
                    <a:pt x="633" y="307"/>
                  </a:lnTo>
                  <a:lnTo>
                    <a:pt x="633" y="309"/>
                  </a:lnTo>
                  <a:lnTo>
                    <a:pt x="632" y="311"/>
                  </a:lnTo>
                  <a:lnTo>
                    <a:pt x="632" y="312"/>
                  </a:lnTo>
                  <a:lnTo>
                    <a:pt x="632" y="312"/>
                  </a:lnTo>
                  <a:lnTo>
                    <a:pt x="632" y="313"/>
                  </a:lnTo>
                  <a:lnTo>
                    <a:pt x="632" y="314"/>
                  </a:lnTo>
                  <a:lnTo>
                    <a:pt x="632" y="314"/>
                  </a:lnTo>
                  <a:lnTo>
                    <a:pt x="633" y="317"/>
                  </a:lnTo>
                  <a:lnTo>
                    <a:pt x="633" y="318"/>
                  </a:lnTo>
                  <a:lnTo>
                    <a:pt x="633" y="319"/>
                  </a:lnTo>
                  <a:lnTo>
                    <a:pt x="633" y="320"/>
                  </a:lnTo>
                  <a:lnTo>
                    <a:pt x="633" y="321"/>
                  </a:lnTo>
                  <a:lnTo>
                    <a:pt x="633" y="322"/>
                  </a:lnTo>
                  <a:lnTo>
                    <a:pt x="632" y="324"/>
                  </a:lnTo>
                  <a:lnTo>
                    <a:pt x="631" y="325"/>
                  </a:lnTo>
                  <a:lnTo>
                    <a:pt x="630" y="329"/>
                  </a:lnTo>
                  <a:lnTo>
                    <a:pt x="629" y="330"/>
                  </a:lnTo>
                  <a:lnTo>
                    <a:pt x="629" y="331"/>
                  </a:lnTo>
                  <a:lnTo>
                    <a:pt x="627" y="333"/>
                  </a:lnTo>
                  <a:lnTo>
                    <a:pt x="627" y="333"/>
                  </a:lnTo>
                  <a:lnTo>
                    <a:pt x="626" y="334"/>
                  </a:lnTo>
                  <a:lnTo>
                    <a:pt x="626" y="335"/>
                  </a:lnTo>
                  <a:lnTo>
                    <a:pt x="626" y="336"/>
                  </a:lnTo>
                  <a:lnTo>
                    <a:pt x="626" y="336"/>
                  </a:lnTo>
                  <a:lnTo>
                    <a:pt x="626" y="340"/>
                  </a:lnTo>
                  <a:lnTo>
                    <a:pt x="625" y="343"/>
                  </a:lnTo>
                  <a:lnTo>
                    <a:pt x="625" y="347"/>
                  </a:lnTo>
                  <a:lnTo>
                    <a:pt x="624" y="349"/>
                  </a:lnTo>
                  <a:lnTo>
                    <a:pt x="624" y="349"/>
                  </a:lnTo>
                  <a:lnTo>
                    <a:pt x="624" y="350"/>
                  </a:lnTo>
                  <a:lnTo>
                    <a:pt x="624" y="349"/>
                  </a:lnTo>
                  <a:lnTo>
                    <a:pt x="624" y="350"/>
                  </a:lnTo>
                  <a:lnTo>
                    <a:pt x="624" y="350"/>
                  </a:lnTo>
                  <a:lnTo>
                    <a:pt x="624" y="351"/>
                  </a:lnTo>
                  <a:lnTo>
                    <a:pt x="623" y="351"/>
                  </a:lnTo>
                  <a:lnTo>
                    <a:pt x="623" y="352"/>
                  </a:lnTo>
                  <a:lnTo>
                    <a:pt x="622" y="353"/>
                  </a:lnTo>
                  <a:lnTo>
                    <a:pt x="619" y="354"/>
                  </a:lnTo>
                  <a:lnTo>
                    <a:pt x="617" y="356"/>
                  </a:lnTo>
                  <a:lnTo>
                    <a:pt x="616" y="357"/>
                  </a:lnTo>
                  <a:lnTo>
                    <a:pt x="616" y="357"/>
                  </a:lnTo>
                  <a:lnTo>
                    <a:pt x="616" y="357"/>
                  </a:lnTo>
                  <a:lnTo>
                    <a:pt x="615" y="358"/>
                  </a:lnTo>
                  <a:lnTo>
                    <a:pt x="614" y="358"/>
                  </a:lnTo>
                  <a:lnTo>
                    <a:pt x="613" y="358"/>
                  </a:lnTo>
                  <a:lnTo>
                    <a:pt x="611" y="358"/>
                  </a:lnTo>
                  <a:lnTo>
                    <a:pt x="610" y="358"/>
                  </a:lnTo>
                  <a:lnTo>
                    <a:pt x="609" y="359"/>
                  </a:lnTo>
                  <a:lnTo>
                    <a:pt x="608" y="359"/>
                  </a:lnTo>
                  <a:lnTo>
                    <a:pt x="607" y="359"/>
                  </a:lnTo>
                  <a:lnTo>
                    <a:pt x="607" y="360"/>
                  </a:lnTo>
                  <a:lnTo>
                    <a:pt x="606" y="360"/>
                  </a:lnTo>
                  <a:lnTo>
                    <a:pt x="606" y="361"/>
                  </a:lnTo>
                  <a:lnTo>
                    <a:pt x="604" y="362"/>
                  </a:lnTo>
                  <a:lnTo>
                    <a:pt x="603" y="363"/>
                  </a:lnTo>
                  <a:lnTo>
                    <a:pt x="603" y="364"/>
                  </a:lnTo>
                  <a:lnTo>
                    <a:pt x="603" y="364"/>
                  </a:lnTo>
                  <a:lnTo>
                    <a:pt x="602" y="365"/>
                  </a:lnTo>
                  <a:lnTo>
                    <a:pt x="602" y="365"/>
                  </a:lnTo>
                  <a:lnTo>
                    <a:pt x="602" y="366"/>
                  </a:lnTo>
                  <a:lnTo>
                    <a:pt x="602" y="367"/>
                  </a:lnTo>
                  <a:lnTo>
                    <a:pt x="602" y="367"/>
                  </a:lnTo>
                  <a:lnTo>
                    <a:pt x="602" y="368"/>
                  </a:lnTo>
                  <a:lnTo>
                    <a:pt x="602" y="369"/>
                  </a:lnTo>
                  <a:lnTo>
                    <a:pt x="602" y="369"/>
                  </a:lnTo>
                  <a:lnTo>
                    <a:pt x="603" y="372"/>
                  </a:lnTo>
                  <a:lnTo>
                    <a:pt x="604" y="373"/>
                  </a:lnTo>
                  <a:lnTo>
                    <a:pt x="604" y="374"/>
                  </a:lnTo>
                  <a:lnTo>
                    <a:pt x="604" y="375"/>
                  </a:lnTo>
                  <a:lnTo>
                    <a:pt x="604" y="375"/>
                  </a:lnTo>
                  <a:lnTo>
                    <a:pt x="604" y="376"/>
                  </a:lnTo>
                  <a:lnTo>
                    <a:pt x="604" y="377"/>
                  </a:lnTo>
                  <a:lnTo>
                    <a:pt x="604" y="377"/>
                  </a:lnTo>
                  <a:lnTo>
                    <a:pt x="604" y="377"/>
                  </a:lnTo>
                  <a:lnTo>
                    <a:pt x="604" y="378"/>
                  </a:lnTo>
                  <a:lnTo>
                    <a:pt x="604" y="378"/>
                  </a:lnTo>
                  <a:lnTo>
                    <a:pt x="603" y="379"/>
                  </a:lnTo>
                  <a:lnTo>
                    <a:pt x="603" y="379"/>
                  </a:lnTo>
                  <a:lnTo>
                    <a:pt x="602" y="379"/>
                  </a:lnTo>
                  <a:lnTo>
                    <a:pt x="602" y="380"/>
                  </a:lnTo>
                  <a:lnTo>
                    <a:pt x="601" y="380"/>
                  </a:lnTo>
                  <a:lnTo>
                    <a:pt x="600" y="380"/>
                  </a:lnTo>
                  <a:lnTo>
                    <a:pt x="599" y="380"/>
                  </a:lnTo>
                  <a:lnTo>
                    <a:pt x="598" y="380"/>
                  </a:lnTo>
                  <a:lnTo>
                    <a:pt x="597" y="380"/>
                  </a:lnTo>
                  <a:lnTo>
                    <a:pt x="594" y="380"/>
                  </a:lnTo>
                  <a:lnTo>
                    <a:pt x="592" y="380"/>
                  </a:lnTo>
                  <a:lnTo>
                    <a:pt x="592" y="380"/>
                  </a:lnTo>
                  <a:lnTo>
                    <a:pt x="591" y="380"/>
                  </a:lnTo>
                  <a:lnTo>
                    <a:pt x="590" y="381"/>
                  </a:lnTo>
                  <a:lnTo>
                    <a:pt x="590" y="381"/>
                  </a:lnTo>
                  <a:lnTo>
                    <a:pt x="589" y="382"/>
                  </a:lnTo>
                  <a:lnTo>
                    <a:pt x="588" y="382"/>
                  </a:lnTo>
                  <a:lnTo>
                    <a:pt x="587" y="383"/>
                  </a:lnTo>
                  <a:lnTo>
                    <a:pt x="586" y="386"/>
                  </a:lnTo>
                  <a:lnTo>
                    <a:pt x="585" y="387"/>
                  </a:lnTo>
                  <a:lnTo>
                    <a:pt x="584" y="387"/>
                  </a:lnTo>
                  <a:lnTo>
                    <a:pt x="584" y="388"/>
                  </a:lnTo>
                  <a:lnTo>
                    <a:pt x="582" y="389"/>
                  </a:lnTo>
                  <a:lnTo>
                    <a:pt x="581" y="390"/>
                  </a:lnTo>
                  <a:lnTo>
                    <a:pt x="580" y="390"/>
                  </a:lnTo>
                  <a:lnTo>
                    <a:pt x="578" y="391"/>
                  </a:lnTo>
                  <a:lnTo>
                    <a:pt x="576" y="391"/>
                  </a:lnTo>
                  <a:lnTo>
                    <a:pt x="575" y="391"/>
                  </a:lnTo>
                  <a:lnTo>
                    <a:pt x="573" y="392"/>
                  </a:lnTo>
                  <a:lnTo>
                    <a:pt x="570" y="393"/>
                  </a:lnTo>
                  <a:lnTo>
                    <a:pt x="568" y="393"/>
                  </a:lnTo>
                  <a:lnTo>
                    <a:pt x="566" y="394"/>
                  </a:lnTo>
                  <a:lnTo>
                    <a:pt x="565" y="394"/>
                  </a:lnTo>
                  <a:lnTo>
                    <a:pt x="563" y="395"/>
                  </a:lnTo>
                  <a:lnTo>
                    <a:pt x="562" y="396"/>
                  </a:lnTo>
                  <a:lnTo>
                    <a:pt x="559" y="397"/>
                  </a:lnTo>
                  <a:lnTo>
                    <a:pt x="558" y="398"/>
                  </a:lnTo>
                  <a:lnTo>
                    <a:pt x="557" y="398"/>
                  </a:lnTo>
                  <a:lnTo>
                    <a:pt x="556" y="399"/>
                  </a:lnTo>
                  <a:lnTo>
                    <a:pt x="555" y="399"/>
                  </a:lnTo>
                  <a:lnTo>
                    <a:pt x="555" y="399"/>
                  </a:lnTo>
                  <a:lnTo>
                    <a:pt x="554" y="399"/>
                  </a:lnTo>
                  <a:lnTo>
                    <a:pt x="553" y="399"/>
                  </a:lnTo>
                  <a:lnTo>
                    <a:pt x="553" y="398"/>
                  </a:lnTo>
                  <a:lnTo>
                    <a:pt x="552" y="398"/>
                  </a:lnTo>
                  <a:lnTo>
                    <a:pt x="552" y="398"/>
                  </a:lnTo>
                  <a:lnTo>
                    <a:pt x="551" y="398"/>
                  </a:lnTo>
                  <a:lnTo>
                    <a:pt x="550" y="397"/>
                  </a:lnTo>
                  <a:lnTo>
                    <a:pt x="549" y="397"/>
                  </a:lnTo>
                  <a:lnTo>
                    <a:pt x="549" y="397"/>
                  </a:lnTo>
                  <a:lnTo>
                    <a:pt x="548" y="397"/>
                  </a:lnTo>
                  <a:lnTo>
                    <a:pt x="547" y="398"/>
                  </a:lnTo>
                  <a:lnTo>
                    <a:pt x="546" y="398"/>
                  </a:lnTo>
                  <a:lnTo>
                    <a:pt x="546" y="398"/>
                  </a:lnTo>
                  <a:lnTo>
                    <a:pt x="545" y="399"/>
                  </a:lnTo>
                  <a:lnTo>
                    <a:pt x="544" y="399"/>
                  </a:lnTo>
                  <a:lnTo>
                    <a:pt x="544" y="400"/>
                  </a:lnTo>
                  <a:lnTo>
                    <a:pt x="543" y="400"/>
                  </a:lnTo>
                  <a:lnTo>
                    <a:pt x="543" y="401"/>
                  </a:lnTo>
                  <a:lnTo>
                    <a:pt x="543" y="401"/>
                  </a:lnTo>
                  <a:lnTo>
                    <a:pt x="543" y="402"/>
                  </a:lnTo>
                  <a:lnTo>
                    <a:pt x="542" y="404"/>
                  </a:lnTo>
                  <a:lnTo>
                    <a:pt x="542" y="405"/>
                  </a:lnTo>
                  <a:lnTo>
                    <a:pt x="541" y="407"/>
                  </a:lnTo>
                  <a:lnTo>
                    <a:pt x="539" y="410"/>
                  </a:lnTo>
                  <a:lnTo>
                    <a:pt x="539" y="411"/>
                  </a:lnTo>
                  <a:lnTo>
                    <a:pt x="539" y="412"/>
                  </a:lnTo>
                  <a:lnTo>
                    <a:pt x="538" y="412"/>
                  </a:lnTo>
                  <a:lnTo>
                    <a:pt x="532" y="419"/>
                  </a:lnTo>
                  <a:lnTo>
                    <a:pt x="532" y="420"/>
                  </a:lnTo>
                  <a:lnTo>
                    <a:pt x="531" y="421"/>
                  </a:lnTo>
                  <a:lnTo>
                    <a:pt x="531" y="422"/>
                  </a:lnTo>
                  <a:lnTo>
                    <a:pt x="530" y="423"/>
                  </a:lnTo>
                  <a:lnTo>
                    <a:pt x="530" y="424"/>
                  </a:lnTo>
                  <a:lnTo>
                    <a:pt x="530" y="425"/>
                  </a:lnTo>
                  <a:lnTo>
                    <a:pt x="530" y="426"/>
                  </a:lnTo>
                  <a:lnTo>
                    <a:pt x="529" y="427"/>
                  </a:lnTo>
                  <a:lnTo>
                    <a:pt x="529" y="428"/>
                  </a:lnTo>
                  <a:lnTo>
                    <a:pt x="529" y="429"/>
                  </a:lnTo>
                  <a:lnTo>
                    <a:pt x="529" y="430"/>
                  </a:lnTo>
                  <a:lnTo>
                    <a:pt x="530" y="432"/>
                  </a:lnTo>
                  <a:lnTo>
                    <a:pt x="530" y="433"/>
                  </a:lnTo>
                  <a:lnTo>
                    <a:pt x="530" y="434"/>
                  </a:lnTo>
                  <a:lnTo>
                    <a:pt x="531" y="435"/>
                  </a:lnTo>
                  <a:lnTo>
                    <a:pt x="531" y="436"/>
                  </a:lnTo>
                  <a:lnTo>
                    <a:pt x="531" y="436"/>
                  </a:lnTo>
                  <a:lnTo>
                    <a:pt x="532" y="437"/>
                  </a:lnTo>
                  <a:lnTo>
                    <a:pt x="533" y="437"/>
                  </a:lnTo>
                  <a:lnTo>
                    <a:pt x="533" y="438"/>
                  </a:lnTo>
                  <a:lnTo>
                    <a:pt x="537" y="440"/>
                  </a:lnTo>
                  <a:lnTo>
                    <a:pt x="539" y="440"/>
                  </a:lnTo>
                  <a:lnTo>
                    <a:pt x="541" y="441"/>
                  </a:lnTo>
                  <a:lnTo>
                    <a:pt x="542" y="442"/>
                  </a:lnTo>
                  <a:lnTo>
                    <a:pt x="543" y="442"/>
                  </a:lnTo>
                  <a:lnTo>
                    <a:pt x="544" y="443"/>
                  </a:lnTo>
                  <a:lnTo>
                    <a:pt x="544" y="443"/>
                  </a:lnTo>
                  <a:lnTo>
                    <a:pt x="545" y="444"/>
                  </a:lnTo>
                  <a:lnTo>
                    <a:pt x="545" y="444"/>
                  </a:lnTo>
                  <a:lnTo>
                    <a:pt x="546" y="445"/>
                  </a:lnTo>
                  <a:lnTo>
                    <a:pt x="547" y="446"/>
                  </a:lnTo>
                  <a:lnTo>
                    <a:pt x="548" y="448"/>
                  </a:lnTo>
                  <a:lnTo>
                    <a:pt x="548" y="449"/>
                  </a:lnTo>
                  <a:lnTo>
                    <a:pt x="549" y="450"/>
                  </a:lnTo>
                  <a:lnTo>
                    <a:pt x="549" y="451"/>
                  </a:lnTo>
                  <a:lnTo>
                    <a:pt x="549" y="451"/>
                  </a:lnTo>
                  <a:lnTo>
                    <a:pt x="549" y="452"/>
                  </a:lnTo>
                  <a:lnTo>
                    <a:pt x="549" y="454"/>
                  </a:lnTo>
                  <a:lnTo>
                    <a:pt x="549" y="455"/>
                  </a:lnTo>
                  <a:lnTo>
                    <a:pt x="549" y="456"/>
                  </a:lnTo>
                  <a:lnTo>
                    <a:pt x="549" y="457"/>
                  </a:lnTo>
                  <a:lnTo>
                    <a:pt x="549" y="457"/>
                  </a:lnTo>
                  <a:lnTo>
                    <a:pt x="548" y="458"/>
                  </a:lnTo>
                  <a:lnTo>
                    <a:pt x="548" y="459"/>
                  </a:lnTo>
                  <a:lnTo>
                    <a:pt x="548" y="460"/>
                  </a:lnTo>
                  <a:lnTo>
                    <a:pt x="547" y="460"/>
                  </a:lnTo>
                  <a:lnTo>
                    <a:pt x="547" y="461"/>
                  </a:lnTo>
                  <a:lnTo>
                    <a:pt x="546" y="461"/>
                  </a:lnTo>
                  <a:lnTo>
                    <a:pt x="544" y="463"/>
                  </a:lnTo>
                  <a:lnTo>
                    <a:pt x="543" y="463"/>
                  </a:lnTo>
                  <a:lnTo>
                    <a:pt x="543" y="464"/>
                  </a:lnTo>
                  <a:lnTo>
                    <a:pt x="542" y="464"/>
                  </a:lnTo>
                  <a:lnTo>
                    <a:pt x="541" y="464"/>
                  </a:lnTo>
                  <a:lnTo>
                    <a:pt x="540" y="464"/>
                  </a:lnTo>
                  <a:lnTo>
                    <a:pt x="539" y="464"/>
                  </a:lnTo>
                  <a:lnTo>
                    <a:pt x="537" y="464"/>
                  </a:lnTo>
                  <a:lnTo>
                    <a:pt x="536" y="464"/>
                  </a:lnTo>
                  <a:lnTo>
                    <a:pt x="534" y="464"/>
                  </a:lnTo>
                  <a:lnTo>
                    <a:pt x="533" y="464"/>
                  </a:lnTo>
                  <a:lnTo>
                    <a:pt x="532" y="464"/>
                  </a:lnTo>
                  <a:lnTo>
                    <a:pt x="532" y="464"/>
                  </a:lnTo>
                  <a:lnTo>
                    <a:pt x="531" y="464"/>
                  </a:lnTo>
                  <a:lnTo>
                    <a:pt x="531" y="464"/>
                  </a:lnTo>
                  <a:lnTo>
                    <a:pt x="530" y="464"/>
                  </a:lnTo>
                  <a:lnTo>
                    <a:pt x="529" y="466"/>
                  </a:lnTo>
                  <a:lnTo>
                    <a:pt x="528" y="466"/>
                  </a:lnTo>
                  <a:lnTo>
                    <a:pt x="528" y="466"/>
                  </a:lnTo>
                  <a:lnTo>
                    <a:pt x="528" y="467"/>
                  </a:lnTo>
                  <a:lnTo>
                    <a:pt x="527" y="467"/>
                  </a:lnTo>
                  <a:lnTo>
                    <a:pt x="526" y="469"/>
                  </a:lnTo>
                  <a:lnTo>
                    <a:pt x="526" y="470"/>
                  </a:lnTo>
                  <a:lnTo>
                    <a:pt x="525" y="471"/>
                  </a:lnTo>
                  <a:lnTo>
                    <a:pt x="525" y="472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3" y="473"/>
                  </a:lnTo>
                  <a:lnTo>
                    <a:pt x="523" y="473"/>
                  </a:lnTo>
                  <a:lnTo>
                    <a:pt x="522" y="473"/>
                  </a:lnTo>
                  <a:lnTo>
                    <a:pt x="521" y="473"/>
                  </a:lnTo>
                  <a:lnTo>
                    <a:pt x="519" y="471"/>
                  </a:lnTo>
                  <a:lnTo>
                    <a:pt x="519" y="471"/>
                  </a:lnTo>
                  <a:lnTo>
                    <a:pt x="518" y="470"/>
                  </a:lnTo>
                  <a:lnTo>
                    <a:pt x="517" y="470"/>
                  </a:lnTo>
                  <a:lnTo>
                    <a:pt x="515" y="470"/>
                  </a:lnTo>
                  <a:lnTo>
                    <a:pt x="514" y="469"/>
                  </a:lnTo>
                  <a:lnTo>
                    <a:pt x="512" y="469"/>
                  </a:lnTo>
                  <a:lnTo>
                    <a:pt x="510" y="468"/>
                  </a:lnTo>
                  <a:lnTo>
                    <a:pt x="510" y="468"/>
                  </a:lnTo>
                  <a:lnTo>
                    <a:pt x="509" y="468"/>
                  </a:lnTo>
                  <a:lnTo>
                    <a:pt x="509" y="468"/>
                  </a:lnTo>
                  <a:lnTo>
                    <a:pt x="508" y="468"/>
                  </a:lnTo>
                  <a:lnTo>
                    <a:pt x="507" y="468"/>
                  </a:lnTo>
                  <a:lnTo>
                    <a:pt x="505" y="469"/>
                  </a:lnTo>
                  <a:lnTo>
                    <a:pt x="502" y="470"/>
                  </a:lnTo>
                  <a:lnTo>
                    <a:pt x="500" y="471"/>
                  </a:lnTo>
                  <a:lnTo>
                    <a:pt x="500" y="471"/>
                  </a:lnTo>
                  <a:lnTo>
                    <a:pt x="498" y="471"/>
                  </a:lnTo>
                  <a:lnTo>
                    <a:pt x="496" y="472"/>
                  </a:lnTo>
                  <a:lnTo>
                    <a:pt x="495" y="472"/>
                  </a:lnTo>
                  <a:lnTo>
                    <a:pt x="494" y="472"/>
                  </a:lnTo>
                  <a:lnTo>
                    <a:pt x="492" y="472"/>
                  </a:lnTo>
                  <a:lnTo>
                    <a:pt x="491" y="472"/>
                  </a:lnTo>
                  <a:lnTo>
                    <a:pt x="487" y="471"/>
                  </a:lnTo>
                  <a:lnTo>
                    <a:pt x="486" y="471"/>
                  </a:lnTo>
                  <a:lnTo>
                    <a:pt x="483" y="471"/>
                  </a:lnTo>
                  <a:lnTo>
                    <a:pt x="482" y="471"/>
                  </a:lnTo>
                  <a:lnTo>
                    <a:pt x="481" y="470"/>
                  </a:lnTo>
                  <a:lnTo>
                    <a:pt x="480" y="470"/>
                  </a:lnTo>
                  <a:lnTo>
                    <a:pt x="476" y="469"/>
                  </a:lnTo>
                  <a:lnTo>
                    <a:pt x="475" y="469"/>
                  </a:lnTo>
                  <a:lnTo>
                    <a:pt x="474" y="469"/>
                  </a:lnTo>
                  <a:lnTo>
                    <a:pt x="474" y="469"/>
                  </a:lnTo>
                  <a:lnTo>
                    <a:pt x="473" y="469"/>
                  </a:lnTo>
                  <a:lnTo>
                    <a:pt x="472" y="469"/>
                  </a:lnTo>
                  <a:lnTo>
                    <a:pt x="471" y="469"/>
                  </a:lnTo>
                  <a:lnTo>
                    <a:pt x="471" y="470"/>
                  </a:lnTo>
                  <a:lnTo>
                    <a:pt x="470" y="470"/>
                  </a:lnTo>
                  <a:lnTo>
                    <a:pt x="470" y="471"/>
                  </a:lnTo>
                  <a:lnTo>
                    <a:pt x="470" y="471"/>
                  </a:lnTo>
                  <a:lnTo>
                    <a:pt x="469" y="472"/>
                  </a:lnTo>
                  <a:lnTo>
                    <a:pt x="469" y="472"/>
                  </a:lnTo>
                  <a:lnTo>
                    <a:pt x="469" y="473"/>
                  </a:lnTo>
                  <a:lnTo>
                    <a:pt x="469" y="473"/>
                  </a:lnTo>
                  <a:lnTo>
                    <a:pt x="469" y="474"/>
                  </a:lnTo>
                  <a:lnTo>
                    <a:pt x="470" y="476"/>
                  </a:lnTo>
                  <a:lnTo>
                    <a:pt x="470" y="477"/>
                  </a:lnTo>
                  <a:lnTo>
                    <a:pt x="470" y="477"/>
                  </a:lnTo>
                  <a:lnTo>
                    <a:pt x="470" y="478"/>
                  </a:lnTo>
                  <a:lnTo>
                    <a:pt x="470" y="478"/>
                  </a:lnTo>
                  <a:lnTo>
                    <a:pt x="470" y="478"/>
                  </a:lnTo>
                  <a:lnTo>
                    <a:pt x="469" y="479"/>
                  </a:lnTo>
                  <a:lnTo>
                    <a:pt x="469" y="479"/>
                  </a:lnTo>
                  <a:lnTo>
                    <a:pt x="468" y="479"/>
                  </a:lnTo>
                  <a:lnTo>
                    <a:pt x="468" y="480"/>
                  </a:lnTo>
                  <a:lnTo>
                    <a:pt x="467" y="480"/>
                  </a:lnTo>
                  <a:lnTo>
                    <a:pt x="466" y="480"/>
                  </a:lnTo>
                  <a:lnTo>
                    <a:pt x="461" y="482"/>
                  </a:lnTo>
                  <a:lnTo>
                    <a:pt x="460" y="482"/>
                  </a:lnTo>
                  <a:lnTo>
                    <a:pt x="460" y="482"/>
                  </a:lnTo>
                  <a:lnTo>
                    <a:pt x="459" y="482"/>
                  </a:lnTo>
                  <a:lnTo>
                    <a:pt x="459" y="483"/>
                  </a:lnTo>
                  <a:lnTo>
                    <a:pt x="459" y="483"/>
                  </a:lnTo>
                  <a:lnTo>
                    <a:pt x="458" y="484"/>
                  </a:lnTo>
                  <a:lnTo>
                    <a:pt x="458" y="484"/>
                  </a:lnTo>
                  <a:lnTo>
                    <a:pt x="458" y="485"/>
                  </a:lnTo>
                  <a:lnTo>
                    <a:pt x="457" y="486"/>
                  </a:lnTo>
                  <a:lnTo>
                    <a:pt x="457" y="487"/>
                  </a:lnTo>
                  <a:lnTo>
                    <a:pt x="457" y="490"/>
                  </a:lnTo>
                  <a:lnTo>
                    <a:pt x="456" y="491"/>
                  </a:lnTo>
                  <a:lnTo>
                    <a:pt x="456" y="492"/>
                  </a:lnTo>
                  <a:lnTo>
                    <a:pt x="455" y="494"/>
                  </a:lnTo>
                  <a:lnTo>
                    <a:pt x="455" y="494"/>
                  </a:lnTo>
                  <a:lnTo>
                    <a:pt x="455" y="494"/>
                  </a:lnTo>
                  <a:lnTo>
                    <a:pt x="454" y="495"/>
                  </a:lnTo>
                  <a:lnTo>
                    <a:pt x="453" y="495"/>
                  </a:lnTo>
                  <a:lnTo>
                    <a:pt x="453" y="495"/>
                  </a:lnTo>
                  <a:lnTo>
                    <a:pt x="452" y="495"/>
                  </a:lnTo>
                  <a:lnTo>
                    <a:pt x="451" y="495"/>
                  </a:lnTo>
                  <a:lnTo>
                    <a:pt x="451" y="495"/>
                  </a:lnTo>
                  <a:lnTo>
                    <a:pt x="450" y="495"/>
                  </a:lnTo>
                  <a:lnTo>
                    <a:pt x="449" y="495"/>
                  </a:lnTo>
                  <a:lnTo>
                    <a:pt x="449" y="495"/>
                  </a:lnTo>
                  <a:lnTo>
                    <a:pt x="447" y="494"/>
                  </a:lnTo>
                  <a:lnTo>
                    <a:pt x="447" y="494"/>
                  </a:lnTo>
                  <a:lnTo>
                    <a:pt x="446" y="494"/>
                  </a:lnTo>
                  <a:lnTo>
                    <a:pt x="445" y="493"/>
                  </a:lnTo>
                  <a:lnTo>
                    <a:pt x="445" y="492"/>
                  </a:lnTo>
                  <a:lnTo>
                    <a:pt x="444" y="492"/>
                  </a:lnTo>
                  <a:lnTo>
                    <a:pt x="443" y="491"/>
                  </a:lnTo>
                  <a:lnTo>
                    <a:pt x="442" y="489"/>
                  </a:lnTo>
                  <a:lnTo>
                    <a:pt x="441" y="487"/>
                  </a:lnTo>
                  <a:lnTo>
                    <a:pt x="440" y="484"/>
                  </a:lnTo>
                  <a:lnTo>
                    <a:pt x="439" y="482"/>
                  </a:lnTo>
                  <a:lnTo>
                    <a:pt x="438" y="481"/>
                  </a:lnTo>
                  <a:lnTo>
                    <a:pt x="438" y="479"/>
                  </a:lnTo>
                  <a:lnTo>
                    <a:pt x="437" y="478"/>
                  </a:lnTo>
                  <a:lnTo>
                    <a:pt x="437" y="478"/>
                  </a:lnTo>
                  <a:lnTo>
                    <a:pt x="437" y="477"/>
                  </a:lnTo>
                  <a:lnTo>
                    <a:pt x="437" y="477"/>
                  </a:lnTo>
                  <a:lnTo>
                    <a:pt x="436" y="477"/>
                  </a:lnTo>
                  <a:lnTo>
                    <a:pt x="436" y="477"/>
                  </a:lnTo>
                  <a:lnTo>
                    <a:pt x="435" y="477"/>
                  </a:lnTo>
                  <a:lnTo>
                    <a:pt x="435" y="477"/>
                  </a:lnTo>
                  <a:lnTo>
                    <a:pt x="434" y="477"/>
                  </a:lnTo>
                  <a:lnTo>
                    <a:pt x="433" y="478"/>
                  </a:lnTo>
                  <a:lnTo>
                    <a:pt x="432" y="478"/>
                  </a:lnTo>
                  <a:lnTo>
                    <a:pt x="431" y="479"/>
                  </a:lnTo>
                  <a:lnTo>
                    <a:pt x="430" y="479"/>
                  </a:lnTo>
                  <a:lnTo>
                    <a:pt x="430" y="479"/>
                  </a:lnTo>
                  <a:lnTo>
                    <a:pt x="429" y="479"/>
                  </a:lnTo>
                  <a:lnTo>
                    <a:pt x="429" y="479"/>
                  </a:lnTo>
                  <a:lnTo>
                    <a:pt x="428" y="479"/>
                  </a:lnTo>
                  <a:lnTo>
                    <a:pt x="428" y="479"/>
                  </a:lnTo>
                  <a:lnTo>
                    <a:pt x="427" y="478"/>
                  </a:lnTo>
                  <a:lnTo>
                    <a:pt x="426" y="477"/>
                  </a:lnTo>
                  <a:lnTo>
                    <a:pt x="425" y="477"/>
                  </a:lnTo>
                  <a:lnTo>
                    <a:pt x="423" y="475"/>
                  </a:lnTo>
                  <a:lnTo>
                    <a:pt x="420" y="473"/>
                  </a:lnTo>
                  <a:lnTo>
                    <a:pt x="419" y="472"/>
                  </a:lnTo>
                  <a:lnTo>
                    <a:pt x="418" y="471"/>
                  </a:lnTo>
                  <a:lnTo>
                    <a:pt x="417" y="471"/>
                  </a:lnTo>
                  <a:lnTo>
                    <a:pt x="416" y="470"/>
                  </a:lnTo>
                  <a:lnTo>
                    <a:pt x="412" y="468"/>
                  </a:lnTo>
                  <a:lnTo>
                    <a:pt x="411" y="467"/>
                  </a:lnTo>
                  <a:lnTo>
                    <a:pt x="410" y="467"/>
                  </a:lnTo>
                  <a:lnTo>
                    <a:pt x="408" y="465"/>
                  </a:lnTo>
                  <a:lnTo>
                    <a:pt x="407" y="465"/>
                  </a:lnTo>
                  <a:lnTo>
                    <a:pt x="406" y="464"/>
                  </a:lnTo>
                  <a:lnTo>
                    <a:pt x="405" y="464"/>
                  </a:lnTo>
                  <a:lnTo>
                    <a:pt x="405" y="464"/>
                  </a:lnTo>
                  <a:lnTo>
                    <a:pt x="405" y="464"/>
                  </a:lnTo>
                  <a:lnTo>
                    <a:pt x="404" y="465"/>
                  </a:lnTo>
                  <a:lnTo>
                    <a:pt x="404" y="465"/>
                  </a:lnTo>
                  <a:lnTo>
                    <a:pt x="402" y="466"/>
                  </a:lnTo>
                  <a:lnTo>
                    <a:pt x="400" y="467"/>
                  </a:lnTo>
                  <a:lnTo>
                    <a:pt x="399" y="468"/>
                  </a:lnTo>
                  <a:lnTo>
                    <a:pt x="399" y="469"/>
                  </a:lnTo>
                  <a:lnTo>
                    <a:pt x="398" y="469"/>
                  </a:lnTo>
                  <a:lnTo>
                    <a:pt x="398" y="471"/>
                  </a:lnTo>
                  <a:lnTo>
                    <a:pt x="397" y="471"/>
                  </a:lnTo>
                  <a:lnTo>
                    <a:pt x="397" y="472"/>
                  </a:lnTo>
                  <a:lnTo>
                    <a:pt x="396" y="473"/>
                  </a:lnTo>
                  <a:lnTo>
                    <a:pt x="395" y="473"/>
                  </a:lnTo>
                  <a:lnTo>
                    <a:pt x="395" y="474"/>
                  </a:lnTo>
                  <a:lnTo>
                    <a:pt x="394" y="474"/>
                  </a:lnTo>
                  <a:lnTo>
                    <a:pt x="394" y="475"/>
                  </a:lnTo>
                  <a:lnTo>
                    <a:pt x="394" y="475"/>
                  </a:lnTo>
                  <a:lnTo>
                    <a:pt x="394" y="477"/>
                  </a:lnTo>
                  <a:lnTo>
                    <a:pt x="394" y="478"/>
                  </a:lnTo>
                  <a:lnTo>
                    <a:pt x="394" y="479"/>
                  </a:lnTo>
                  <a:lnTo>
                    <a:pt x="393" y="481"/>
                  </a:lnTo>
                  <a:lnTo>
                    <a:pt x="393" y="482"/>
                  </a:lnTo>
                  <a:lnTo>
                    <a:pt x="393" y="484"/>
                  </a:lnTo>
                  <a:lnTo>
                    <a:pt x="393" y="484"/>
                  </a:lnTo>
                  <a:lnTo>
                    <a:pt x="393" y="485"/>
                  </a:lnTo>
                  <a:lnTo>
                    <a:pt x="394" y="487"/>
                  </a:lnTo>
                  <a:lnTo>
                    <a:pt x="394" y="489"/>
                  </a:lnTo>
                  <a:lnTo>
                    <a:pt x="395" y="491"/>
                  </a:lnTo>
                  <a:lnTo>
                    <a:pt x="395" y="492"/>
                  </a:lnTo>
                  <a:lnTo>
                    <a:pt x="395" y="492"/>
                  </a:lnTo>
                  <a:lnTo>
                    <a:pt x="395" y="493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3" y="495"/>
                  </a:lnTo>
                  <a:lnTo>
                    <a:pt x="393" y="495"/>
                  </a:lnTo>
                  <a:lnTo>
                    <a:pt x="391" y="496"/>
                  </a:lnTo>
                  <a:lnTo>
                    <a:pt x="390" y="496"/>
                  </a:lnTo>
                  <a:lnTo>
                    <a:pt x="389" y="497"/>
                  </a:lnTo>
                  <a:lnTo>
                    <a:pt x="386" y="498"/>
                  </a:lnTo>
                  <a:lnTo>
                    <a:pt x="385" y="498"/>
                  </a:lnTo>
                  <a:lnTo>
                    <a:pt x="384" y="498"/>
                  </a:lnTo>
                  <a:lnTo>
                    <a:pt x="383" y="499"/>
                  </a:lnTo>
                  <a:lnTo>
                    <a:pt x="381" y="500"/>
                  </a:lnTo>
                  <a:lnTo>
                    <a:pt x="379" y="502"/>
                  </a:lnTo>
                  <a:lnTo>
                    <a:pt x="376" y="504"/>
                  </a:lnTo>
                  <a:lnTo>
                    <a:pt x="375" y="505"/>
                  </a:lnTo>
                  <a:lnTo>
                    <a:pt x="374" y="507"/>
                  </a:lnTo>
                  <a:lnTo>
                    <a:pt x="373" y="508"/>
                  </a:lnTo>
                  <a:lnTo>
                    <a:pt x="372" y="509"/>
                  </a:lnTo>
                  <a:lnTo>
                    <a:pt x="371" y="511"/>
                  </a:lnTo>
                  <a:lnTo>
                    <a:pt x="370" y="511"/>
                  </a:lnTo>
                  <a:lnTo>
                    <a:pt x="370" y="512"/>
                  </a:lnTo>
                  <a:lnTo>
                    <a:pt x="369" y="512"/>
                  </a:lnTo>
                  <a:lnTo>
                    <a:pt x="369" y="512"/>
                  </a:lnTo>
                  <a:lnTo>
                    <a:pt x="369" y="512"/>
                  </a:lnTo>
                  <a:lnTo>
                    <a:pt x="368" y="512"/>
                  </a:lnTo>
                  <a:lnTo>
                    <a:pt x="368" y="512"/>
                  </a:lnTo>
                  <a:lnTo>
                    <a:pt x="368" y="512"/>
                  </a:lnTo>
                  <a:lnTo>
                    <a:pt x="367" y="512"/>
                  </a:lnTo>
                  <a:lnTo>
                    <a:pt x="367" y="512"/>
                  </a:lnTo>
                  <a:lnTo>
                    <a:pt x="365" y="510"/>
                  </a:lnTo>
                  <a:lnTo>
                    <a:pt x="364" y="510"/>
                  </a:lnTo>
                  <a:lnTo>
                    <a:pt x="363" y="509"/>
                  </a:lnTo>
                  <a:lnTo>
                    <a:pt x="361" y="509"/>
                  </a:lnTo>
                  <a:lnTo>
                    <a:pt x="360" y="508"/>
                  </a:lnTo>
                  <a:lnTo>
                    <a:pt x="358" y="508"/>
                  </a:lnTo>
                  <a:lnTo>
                    <a:pt x="357" y="508"/>
                  </a:lnTo>
                  <a:lnTo>
                    <a:pt x="355" y="507"/>
                  </a:lnTo>
                  <a:lnTo>
                    <a:pt x="353" y="507"/>
                  </a:lnTo>
                  <a:lnTo>
                    <a:pt x="353" y="507"/>
                  </a:lnTo>
                  <a:lnTo>
                    <a:pt x="352" y="507"/>
                  </a:lnTo>
                  <a:lnTo>
                    <a:pt x="352" y="506"/>
                  </a:lnTo>
                  <a:lnTo>
                    <a:pt x="351" y="506"/>
                  </a:lnTo>
                  <a:lnTo>
                    <a:pt x="351" y="506"/>
                  </a:lnTo>
                  <a:lnTo>
                    <a:pt x="350" y="505"/>
                  </a:lnTo>
                  <a:lnTo>
                    <a:pt x="350" y="505"/>
                  </a:lnTo>
                  <a:lnTo>
                    <a:pt x="350" y="505"/>
                  </a:lnTo>
                  <a:lnTo>
                    <a:pt x="350" y="504"/>
                  </a:lnTo>
                  <a:lnTo>
                    <a:pt x="350" y="504"/>
                  </a:lnTo>
                  <a:lnTo>
                    <a:pt x="351" y="501"/>
                  </a:lnTo>
                  <a:lnTo>
                    <a:pt x="351" y="500"/>
                  </a:lnTo>
                  <a:lnTo>
                    <a:pt x="351" y="500"/>
                  </a:lnTo>
                  <a:lnTo>
                    <a:pt x="351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48" y="500"/>
                  </a:lnTo>
                  <a:lnTo>
                    <a:pt x="346" y="500"/>
                  </a:lnTo>
                  <a:lnTo>
                    <a:pt x="345" y="500"/>
                  </a:lnTo>
                  <a:lnTo>
                    <a:pt x="343" y="501"/>
                  </a:lnTo>
                  <a:lnTo>
                    <a:pt x="342" y="501"/>
                  </a:lnTo>
                  <a:lnTo>
                    <a:pt x="341" y="501"/>
                  </a:lnTo>
                  <a:lnTo>
                    <a:pt x="339" y="501"/>
                  </a:lnTo>
                  <a:lnTo>
                    <a:pt x="338" y="501"/>
                  </a:lnTo>
                  <a:lnTo>
                    <a:pt x="334" y="500"/>
                  </a:lnTo>
                  <a:lnTo>
                    <a:pt x="332" y="500"/>
                  </a:lnTo>
                  <a:lnTo>
                    <a:pt x="331" y="500"/>
                  </a:lnTo>
                  <a:lnTo>
                    <a:pt x="330" y="499"/>
                  </a:lnTo>
                  <a:lnTo>
                    <a:pt x="329" y="499"/>
                  </a:lnTo>
                  <a:lnTo>
                    <a:pt x="327" y="498"/>
                  </a:lnTo>
                  <a:lnTo>
                    <a:pt x="327" y="498"/>
                  </a:lnTo>
                  <a:lnTo>
                    <a:pt x="326" y="498"/>
                  </a:lnTo>
                  <a:lnTo>
                    <a:pt x="325" y="498"/>
                  </a:lnTo>
                  <a:lnTo>
                    <a:pt x="324" y="497"/>
                  </a:lnTo>
                  <a:lnTo>
                    <a:pt x="322" y="497"/>
                  </a:lnTo>
                  <a:lnTo>
                    <a:pt x="321" y="497"/>
                  </a:lnTo>
                  <a:lnTo>
                    <a:pt x="320" y="497"/>
                  </a:lnTo>
                  <a:lnTo>
                    <a:pt x="320" y="497"/>
                  </a:lnTo>
                  <a:lnTo>
                    <a:pt x="319" y="498"/>
                  </a:lnTo>
                  <a:lnTo>
                    <a:pt x="318" y="498"/>
                  </a:lnTo>
                  <a:lnTo>
                    <a:pt x="317" y="499"/>
                  </a:lnTo>
                  <a:lnTo>
                    <a:pt x="316" y="500"/>
                  </a:lnTo>
                  <a:lnTo>
                    <a:pt x="315" y="500"/>
                  </a:lnTo>
                  <a:lnTo>
                    <a:pt x="315" y="500"/>
                  </a:lnTo>
                  <a:lnTo>
                    <a:pt x="314" y="500"/>
                  </a:lnTo>
                  <a:lnTo>
                    <a:pt x="314" y="500"/>
                  </a:lnTo>
                  <a:lnTo>
                    <a:pt x="313" y="500"/>
                  </a:lnTo>
                  <a:lnTo>
                    <a:pt x="312" y="499"/>
                  </a:lnTo>
                  <a:lnTo>
                    <a:pt x="311" y="499"/>
                  </a:lnTo>
                  <a:lnTo>
                    <a:pt x="308" y="496"/>
                  </a:lnTo>
                  <a:lnTo>
                    <a:pt x="307" y="496"/>
                  </a:lnTo>
                  <a:lnTo>
                    <a:pt x="306" y="495"/>
                  </a:lnTo>
                  <a:lnTo>
                    <a:pt x="304" y="495"/>
                  </a:lnTo>
                  <a:lnTo>
                    <a:pt x="303" y="494"/>
                  </a:lnTo>
                  <a:lnTo>
                    <a:pt x="302" y="494"/>
                  </a:lnTo>
                  <a:lnTo>
                    <a:pt x="300" y="492"/>
                  </a:lnTo>
                  <a:lnTo>
                    <a:pt x="299" y="492"/>
                  </a:lnTo>
                  <a:lnTo>
                    <a:pt x="298" y="492"/>
                  </a:lnTo>
                  <a:lnTo>
                    <a:pt x="298" y="492"/>
                  </a:lnTo>
                  <a:lnTo>
                    <a:pt x="297" y="492"/>
                  </a:lnTo>
                  <a:lnTo>
                    <a:pt x="297" y="492"/>
                  </a:lnTo>
                  <a:lnTo>
                    <a:pt x="297" y="493"/>
                  </a:lnTo>
                  <a:lnTo>
                    <a:pt x="297" y="493"/>
                  </a:lnTo>
                  <a:lnTo>
                    <a:pt x="297" y="493"/>
                  </a:lnTo>
                  <a:lnTo>
                    <a:pt x="297" y="494"/>
                  </a:lnTo>
                  <a:lnTo>
                    <a:pt x="297" y="496"/>
                  </a:lnTo>
                  <a:lnTo>
                    <a:pt x="297" y="497"/>
                  </a:lnTo>
                  <a:lnTo>
                    <a:pt x="297" y="497"/>
                  </a:lnTo>
                  <a:lnTo>
                    <a:pt x="297" y="498"/>
                  </a:lnTo>
                  <a:lnTo>
                    <a:pt x="297" y="498"/>
                  </a:lnTo>
                  <a:lnTo>
                    <a:pt x="296" y="498"/>
                  </a:lnTo>
                  <a:lnTo>
                    <a:pt x="296" y="498"/>
                  </a:lnTo>
                  <a:lnTo>
                    <a:pt x="296" y="498"/>
                  </a:lnTo>
                  <a:lnTo>
                    <a:pt x="294" y="498"/>
                  </a:lnTo>
                  <a:lnTo>
                    <a:pt x="293" y="498"/>
                  </a:lnTo>
                  <a:lnTo>
                    <a:pt x="292" y="498"/>
                  </a:lnTo>
                  <a:lnTo>
                    <a:pt x="291" y="498"/>
                  </a:lnTo>
                  <a:lnTo>
                    <a:pt x="290" y="499"/>
                  </a:lnTo>
                  <a:lnTo>
                    <a:pt x="289" y="499"/>
                  </a:lnTo>
                  <a:lnTo>
                    <a:pt x="288" y="500"/>
                  </a:lnTo>
                  <a:lnTo>
                    <a:pt x="285" y="502"/>
                  </a:lnTo>
                  <a:lnTo>
                    <a:pt x="285" y="502"/>
                  </a:lnTo>
                  <a:lnTo>
                    <a:pt x="284" y="502"/>
                  </a:lnTo>
                  <a:lnTo>
                    <a:pt x="284" y="503"/>
                  </a:lnTo>
                  <a:lnTo>
                    <a:pt x="282" y="503"/>
                  </a:lnTo>
                  <a:lnTo>
                    <a:pt x="281" y="503"/>
                  </a:lnTo>
                  <a:lnTo>
                    <a:pt x="280" y="503"/>
                  </a:lnTo>
                  <a:lnTo>
                    <a:pt x="279" y="503"/>
                  </a:lnTo>
                  <a:lnTo>
                    <a:pt x="277" y="503"/>
                  </a:lnTo>
                  <a:lnTo>
                    <a:pt x="276" y="503"/>
                  </a:lnTo>
                  <a:lnTo>
                    <a:pt x="275" y="502"/>
                  </a:lnTo>
                  <a:lnTo>
                    <a:pt x="275" y="502"/>
                  </a:lnTo>
                  <a:lnTo>
                    <a:pt x="275" y="502"/>
                  </a:lnTo>
                  <a:lnTo>
                    <a:pt x="274" y="502"/>
                  </a:lnTo>
                  <a:lnTo>
                    <a:pt x="274" y="501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3" y="498"/>
                  </a:lnTo>
                  <a:lnTo>
                    <a:pt x="272" y="497"/>
                  </a:lnTo>
                  <a:lnTo>
                    <a:pt x="271" y="497"/>
                  </a:lnTo>
                  <a:lnTo>
                    <a:pt x="270" y="496"/>
                  </a:lnTo>
                  <a:lnTo>
                    <a:pt x="270" y="496"/>
                  </a:lnTo>
                  <a:lnTo>
                    <a:pt x="268" y="495"/>
                  </a:lnTo>
                  <a:lnTo>
                    <a:pt x="267" y="494"/>
                  </a:lnTo>
                  <a:lnTo>
                    <a:pt x="265" y="494"/>
                  </a:lnTo>
                  <a:lnTo>
                    <a:pt x="265" y="494"/>
                  </a:lnTo>
                  <a:lnTo>
                    <a:pt x="264" y="493"/>
                  </a:lnTo>
                  <a:lnTo>
                    <a:pt x="264" y="493"/>
                  </a:lnTo>
                  <a:lnTo>
                    <a:pt x="263" y="492"/>
                  </a:lnTo>
                  <a:lnTo>
                    <a:pt x="263" y="492"/>
                  </a:lnTo>
                  <a:lnTo>
                    <a:pt x="262" y="490"/>
                  </a:lnTo>
                  <a:lnTo>
                    <a:pt x="261" y="489"/>
                  </a:lnTo>
                  <a:lnTo>
                    <a:pt x="260" y="489"/>
                  </a:lnTo>
                  <a:lnTo>
                    <a:pt x="259" y="488"/>
                  </a:lnTo>
                  <a:lnTo>
                    <a:pt x="258" y="487"/>
                  </a:lnTo>
                  <a:lnTo>
                    <a:pt x="257" y="487"/>
                  </a:lnTo>
                  <a:lnTo>
                    <a:pt x="255" y="486"/>
                  </a:lnTo>
                  <a:lnTo>
                    <a:pt x="254" y="486"/>
                  </a:lnTo>
                  <a:lnTo>
                    <a:pt x="254" y="486"/>
                  </a:lnTo>
                  <a:lnTo>
                    <a:pt x="253" y="486"/>
                  </a:lnTo>
                  <a:lnTo>
                    <a:pt x="252" y="486"/>
                  </a:lnTo>
                  <a:lnTo>
                    <a:pt x="251" y="486"/>
                  </a:lnTo>
                  <a:lnTo>
                    <a:pt x="249" y="487"/>
                  </a:lnTo>
                  <a:lnTo>
                    <a:pt x="246" y="488"/>
                  </a:lnTo>
                  <a:lnTo>
                    <a:pt x="245" y="488"/>
                  </a:lnTo>
                  <a:lnTo>
                    <a:pt x="244" y="488"/>
                  </a:lnTo>
                  <a:lnTo>
                    <a:pt x="244" y="489"/>
                  </a:lnTo>
                  <a:lnTo>
                    <a:pt x="243" y="490"/>
                  </a:lnTo>
                  <a:lnTo>
                    <a:pt x="243" y="490"/>
                  </a:lnTo>
                  <a:lnTo>
                    <a:pt x="242" y="492"/>
                  </a:lnTo>
                  <a:lnTo>
                    <a:pt x="241" y="494"/>
                  </a:lnTo>
                  <a:lnTo>
                    <a:pt x="240" y="495"/>
                  </a:lnTo>
                  <a:lnTo>
                    <a:pt x="239" y="496"/>
                  </a:lnTo>
                  <a:lnTo>
                    <a:pt x="239" y="498"/>
                  </a:lnTo>
                  <a:lnTo>
                    <a:pt x="238" y="499"/>
                  </a:lnTo>
                  <a:lnTo>
                    <a:pt x="238" y="499"/>
                  </a:lnTo>
                  <a:lnTo>
                    <a:pt x="237" y="499"/>
                  </a:lnTo>
                  <a:lnTo>
                    <a:pt x="237" y="499"/>
                  </a:lnTo>
                  <a:lnTo>
                    <a:pt x="236" y="499"/>
                  </a:lnTo>
                  <a:lnTo>
                    <a:pt x="236" y="499"/>
                  </a:lnTo>
                  <a:lnTo>
                    <a:pt x="234" y="499"/>
                  </a:lnTo>
                  <a:lnTo>
                    <a:pt x="233" y="499"/>
                  </a:lnTo>
                  <a:lnTo>
                    <a:pt x="231" y="499"/>
                  </a:lnTo>
                  <a:lnTo>
                    <a:pt x="228" y="500"/>
                  </a:lnTo>
                  <a:lnTo>
                    <a:pt x="220" y="500"/>
                  </a:lnTo>
                  <a:lnTo>
                    <a:pt x="219" y="500"/>
                  </a:lnTo>
                  <a:lnTo>
                    <a:pt x="215" y="500"/>
                  </a:lnTo>
                  <a:lnTo>
                    <a:pt x="214" y="500"/>
                  </a:lnTo>
                  <a:lnTo>
                    <a:pt x="213" y="500"/>
                  </a:lnTo>
                  <a:lnTo>
                    <a:pt x="211" y="501"/>
                  </a:lnTo>
                  <a:lnTo>
                    <a:pt x="210" y="501"/>
                  </a:lnTo>
                  <a:lnTo>
                    <a:pt x="208" y="501"/>
                  </a:lnTo>
                  <a:lnTo>
                    <a:pt x="206" y="501"/>
                  </a:lnTo>
                  <a:lnTo>
                    <a:pt x="206" y="501"/>
                  </a:lnTo>
                  <a:lnTo>
                    <a:pt x="205" y="501"/>
                  </a:lnTo>
                  <a:lnTo>
                    <a:pt x="204" y="501"/>
                  </a:lnTo>
                  <a:lnTo>
                    <a:pt x="203" y="501"/>
                  </a:lnTo>
                  <a:lnTo>
                    <a:pt x="202" y="502"/>
                  </a:lnTo>
                  <a:lnTo>
                    <a:pt x="200" y="501"/>
                  </a:lnTo>
                  <a:lnTo>
                    <a:pt x="200" y="501"/>
                  </a:lnTo>
                  <a:lnTo>
                    <a:pt x="199" y="501"/>
                  </a:lnTo>
                  <a:lnTo>
                    <a:pt x="198" y="501"/>
                  </a:lnTo>
                  <a:lnTo>
                    <a:pt x="197" y="500"/>
                  </a:lnTo>
                  <a:lnTo>
                    <a:pt x="197" y="500"/>
                  </a:lnTo>
                  <a:lnTo>
                    <a:pt x="196" y="499"/>
                  </a:lnTo>
                  <a:lnTo>
                    <a:pt x="196" y="499"/>
                  </a:lnTo>
                  <a:lnTo>
                    <a:pt x="195" y="498"/>
                  </a:lnTo>
                  <a:lnTo>
                    <a:pt x="195" y="498"/>
                  </a:lnTo>
                  <a:lnTo>
                    <a:pt x="195" y="497"/>
                  </a:lnTo>
                  <a:lnTo>
                    <a:pt x="195" y="496"/>
                  </a:lnTo>
                  <a:lnTo>
                    <a:pt x="195" y="495"/>
                  </a:lnTo>
                  <a:lnTo>
                    <a:pt x="195" y="493"/>
                  </a:lnTo>
                  <a:lnTo>
                    <a:pt x="195" y="489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2" y="487"/>
                  </a:lnTo>
                  <a:lnTo>
                    <a:pt x="190" y="488"/>
                  </a:lnTo>
                  <a:lnTo>
                    <a:pt x="189" y="488"/>
                  </a:lnTo>
                  <a:lnTo>
                    <a:pt x="188" y="489"/>
                  </a:lnTo>
                  <a:lnTo>
                    <a:pt x="185" y="490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80" y="493"/>
                  </a:lnTo>
                  <a:lnTo>
                    <a:pt x="180" y="493"/>
                  </a:lnTo>
                  <a:lnTo>
                    <a:pt x="179" y="494"/>
                  </a:lnTo>
                  <a:lnTo>
                    <a:pt x="179" y="494"/>
                  </a:lnTo>
                  <a:lnTo>
                    <a:pt x="179" y="495"/>
                  </a:lnTo>
                  <a:lnTo>
                    <a:pt x="178" y="497"/>
                  </a:lnTo>
                  <a:lnTo>
                    <a:pt x="177" y="499"/>
                  </a:lnTo>
                  <a:lnTo>
                    <a:pt x="176" y="500"/>
                  </a:lnTo>
                  <a:lnTo>
                    <a:pt x="176" y="501"/>
                  </a:lnTo>
                  <a:lnTo>
                    <a:pt x="175" y="502"/>
                  </a:lnTo>
                  <a:lnTo>
                    <a:pt x="175" y="503"/>
                  </a:lnTo>
                  <a:lnTo>
                    <a:pt x="174" y="503"/>
                  </a:lnTo>
                  <a:lnTo>
                    <a:pt x="174" y="504"/>
                  </a:lnTo>
                  <a:lnTo>
                    <a:pt x="173" y="504"/>
                  </a:lnTo>
                  <a:lnTo>
                    <a:pt x="173" y="504"/>
                  </a:lnTo>
                  <a:lnTo>
                    <a:pt x="171" y="505"/>
                  </a:lnTo>
                  <a:lnTo>
                    <a:pt x="171" y="505"/>
                  </a:lnTo>
                  <a:lnTo>
                    <a:pt x="170" y="505"/>
                  </a:lnTo>
                  <a:lnTo>
                    <a:pt x="168" y="507"/>
                  </a:lnTo>
                  <a:lnTo>
                    <a:pt x="167" y="507"/>
                  </a:lnTo>
                  <a:lnTo>
                    <a:pt x="166" y="508"/>
                  </a:lnTo>
                  <a:lnTo>
                    <a:pt x="166" y="508"/>
                  </a:lnTo>
                  <a:lnTo>
                    <a:pt x="165" y="508"/>
                  </a:lnTo>
                  <a:lnTo>
                    <a:pt x="164" y="508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59" y="509"/>
                  </a:lnTo>
                  <a:lnTo>
                    <a:pt x="158" y="510"/>
                  </a:lnTo>
                  <a:lnTo>
                    <a:pt x="157" y="510"/>
                  </a:lnTo>
                  <a:lnTo>
                    <a:pt x="155" y="511"/>
                  </a:lnTo>
                  <a:lnTo>
                    <a:pt x="155" y="512"/>
                  </a:lnTo>
                  <a:lnTo>
                    <a:pt x="154" y="512"/>
                  </a:lnTo>
                  <a:lnTo>
                    <a:pt x="153" y="513"/>
                  </a:lnTo>
                  <a:lnTo>
                    <a:pt x="152" y="513"/>
                  </a:lnTo>
                  <a:lnTo>
                    <a:pt x="151" y="513"/>
                  </a:lnTo>
                  <a:lnTo>
                    <a:pt x="150" y="513"/>
                  </a:lnTo>
                  <a:lnTo>
                    <a:pt x="149" y="513"/>
                  </a:lnTo>
                  <a:lnTo>
                    <a:pt x="148" y="512"/>
                  </a:lnTo>
                  <a:lnTo>
                    <a:pt x="147" y="512"/>
                  </a:lnTo>
                  <a:lnTo>
                    <a:pt x="147" y="512"/>
                  </a:lnTo>
                  <a:lnTo>
                    <a:pt x="145" y="511"/>
                  </a:lnTo>
                  <a:lnTo>
                    <a:pt x="144" y="511"/>
                  </a:lnTo>
                  <a:lnTo>
                    <a:pt x="144" y="510"/>
                  </a:lnTo>
                  <a:lnTo>
                    <a:pt x="143" y="510"/>
                  </a:lnTo>
                  <a:lnTo>
                    <a:pt x="143" y="509"/>
                  </a:lnTo>
                  <a:lnTo>
                    <a:pt x="142" y="509"/>
                  </a:lnTo>
                  <a:lnTo>
                    <a:pt x="142" y="509"/>
                  </a:lnTo>
                  <a:lnTo>
                    <a:pt x="140" y="508"/>
                  </a:lnTo>
                  <a:lnTo>
                    <a:pt x="140" y="507"/>
                  </a:lnTo>
                  <a:lnTo>
                    <a:pt x="137" y="506"/>
                  </a:lnTo>
                  <a:lnTo>
                    <a:pt x="137" y="505"/>
                  </a:lnTo>
                  <a:lnTo>
                    <a:pt x="136" y="505"/>
                  </a:lnTo>
                  <a:lnTo>
                    <a:pt x="136" y="505"/>
                  </a:lnTo>
                  <a:lnTo>
                    <a:pt x="135" y="505"/>
                  </a:lnTo>
                  <a:lnTo>
                    <a:pt x="134" y="505"/>
                  </a:lnTo>
                  <a:lnTo>
                    <a:pt x="133" y="505"/>
                  </a:lnTo>
                  <a:lnTo>
                    <a:pt x="132" y="505"/>
                  </a:lnTo>
                  <a:lnTo>
                    <a:pt x="130" y="507"/>
                  </a:lnTo>
                  <a:lnTo>
                    <a:pt x="129" y="507"/>
                  </a:lnTo>
                  <a:lnTo>
                    <a:pt x="128" y="507"/>
                  </a:lnTo>
                  <a:lnTo>
                    <a:pt x="128" y="508"/>
                  </a:lnTo>
                  <a:lnTo>
                    <a:pt x="127" y="508"/>
                  </a:lnTo>
                  <a:lnTo>
                    <a:pt x="127" y="508"/>
                  </a:lnTo>
                  <a:lnTo>
                    <a:pt x="126" y="507"/>
                  </a:lnTo>
                  <a:lnTo>
                    <a:pt x="125" y="507"/>
                  </a:lnTo>
                  <a:lnTo>
                    <a:pt x="125" y="507"/>
                  </a:lnTo>
                  <a:lnTo>
                    <a:pt x="124" y="507"/>
                  </a:lnTo>
                  <a:lnTo>
                    <a:pt x="122" y="505"/>
                  </a:lnTo>
                  <a:lnTo>
                    <a:pt x="122" y="504"/>
                  </a:lnTo>
                  <a:lnTo>
                    <a:pt x="121" y="504"/>
                  </a:lnTo>
                  <a:lnTo>
                    <a:pt x="121" y="504"/>
                  </a:lnTo>
                  <a:lnTo>
                    <a:pt x="120" y="504"/>
                  </a:lnTo>
                  <a:lnTo>
                    <a:pt x="120" y="504"/>
                  </a:lnTo>
                  <a:lnTo>
                    <a:pt x="119" y="504"/>
                  </a:lnTo>
                  <a:lnTo>
                    <a:pt x="119" y="504"/>
                  </a:lnTo>
                  <a:lnTo>
                    <a:pt x="117" y="505"/>
                  </a:lnTo>
                  <a:lnTo>
                    <a:pt x="115" y="506"/>
                  </a:lnTo>
                  <a:lnTo>
                    <a:pt x="112" y="507"/>
                  </a:lnTo>
                  <a:lnTo>
                    <a:pt x="109" y="508"/>
                  </a:lnTo>
                  <a:lnTo>
                    <a:pt x="108" y="508"/>
                  </a:lnTo>
                  <a:lnTo>
                    <a:pt x="106" y="508"/>
                  </a:lnTo>
                  <a:lnTo>
                    <a:pt x="105" y="508"/>
                  </a:lnTo>
                  <a:lnTo>
                    <a:pt x="105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7"/>
                  </a:lnTo>
                  <a:lnTo>
                    <a:pt x="104" y="506"/>
                  </a:lnTo>
                  <a:lnTo>
                    <a:pt x="104" y="505"/>
                  </a:lnTo>
                  <a:lnTo>
                    <a:pt x="104" y="503"/>
                  </a:lnTo>
                  <a:lnTo>
                    <a:pt x="104" y="502"/>
                  </a:lnTo>
                  <a:lnTo>
                    <a:pt x="104" y="501"/>
                  </a:lnTo>
                  <a:lnTo>
                    <a:pt x="104" y="500"/>
                  </a:lnTo>
                  <a:lnTo>
                    <a:pt x="104" y="499"/>
                  </a:lnTo>
                  <a:lnTo>
                    <a:pt x="103" y="497"/>
                  </a:lnTo>
                  <a:lnTo>
                    <a:pt x="103" y="496"/>
                  </a:lnTo>
                  <a:lnTo>
                    <a:pt x="103" y="495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1" y="493"/>
                  </a:lnTo>
                  <a:lnTo>
                    <a:pt x="100" y="492"/>
                  </a:lnTo>
                  <a:lnTo>
                    <a:pt x="99" y="492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7" y="490"/>
                  </a:lnTo>
                  <a:lnTo>
                    <a:pt x="97" y="490"/>
                  </a:lnTo>
                  <a:lnTo>
                    <a:pt x="97" y="489"/>
                  </a:lnTo>
                  <a:lnTo>
                    <a:pt x="97" y="489"/>
                  </a:lnTo>
                  <a:lnTo>
                    <a:pt x="97" y="485"/>
                  </a:lnTo>
                  <a:lnTo>
                    <a:pt x="97" y="484"/>
                  </a:lnTo>
                  <a:lnTo>
                    <a:pt x="97" y="481"/>
                  </a:lnTo>
                  <a:lnTo>
                    <a:pt x="98" y="478"/>
                  </a:lnTo>
                  <a:lnTo>
                    <a:pt x="98" y="476"/>
                  </a:lnTo>
                  <a:lnTo>
                    <a:pt x="98" y="474"/>
                  </a:lnTo>
                  <a:lnTo>
                    <a:pt x="99" y="471"/>
                  </a:lnTo>
                  <a:lnTo>
                    <a:pt x="99" y="469"/>
                  </a:lnTo>
                  <a:lnTo>
                    <a:pt x="99" y="468"/>
                  </a:lnTo>
                  <a:lnTo>
                    <a:pt x="99" y="466"/>
                  </a:lnTo>
                  <a:lnTo>
                    <a:pt x="99" y="464"/>
                  </a:lnTo>
                  <a:lnTo>
                    <a:pt x="99" y="462"/>
                  </a:lnTo>
                  <a:lnTo>
                    <a:pt x="99" y="461"/>
                  </a:lnTo>
                  <a:lnTo>
                    <a:pt x="99" y="460"/>
                  </a:lnTo>
                  <a:lnTo>
                    <a:pt x="99" y="460"/>
                  </a:lnTo>
                  <a:lnTo>
                    <a:pt x="98" y="459"/>
                  </a:lnTo>
                  <a:lnTo>
                    <a:pt x="98" y="459"/>
                  </a:lnTo>
                  <a:lnTo>
                    <a:pt x="98" y="458"/>
                  </a:lnTo>
                  <a:lnTo>
                    <a:pt x="97" y="458"/>
                  </a:lnTo>
                  <a:lnTo>
                    <a:pt x="96" y="457"/>
                  </a:lnTo>
                  <a:lnTo>
                    <a:pt x="95" y="457"/>
                  </a:lnTo>
                  <a:lnTo>
                    <a:pt x="94" y="456"/>
                  </a:lnTo>
                  <a:lnTo>
                    <a:pt x="93" y="456"/>
                  </a:lnTo>
                  <a:lnTo>
                    <a:pt x="92" y="456"/>
                  </a:lnTo>
                  <a:lnTo>
                    <a:pt x="91" y="456"/>
                  </a:lnTo>
                  <a:lnTo>
                    <a:pt x="89" y="456"/>
                  </a:lnTo>
                  <a:lnTo>
                    <a:pt x="88" y="456"/>
                  </a:lnTo>
                  <a:lnTo>
                    <a:pt x="87" y="456"/>
                  </a:lnTo>
                  <a:lnTo>
                    <a:pt x="87" y="456"/>
                  </a:lnTo>
                  <a:lnTo>
                    <a:pt x="87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4"/>
                  </a:lnTo>
                  <a:lnTo>
                    <a:pt x="86" y="453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1"/>
                  </a:lnTo>
                  <a:lnTo>
                    <a:pt x="86" y="451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49"/>
                  </a:lnTo>
                  <a:lnTo>
                    <a:pt x="82" y="449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7"/>
                  </a:lnTo>
                  <a:lnTo>
                    <a:pt x="84" y="447"/>
                  </a:lnTo>
                  <a:lnTo>
                    <a:pt x="85" y="447"/>
                  </a:lnTo>
                  <a:lnTo>
                    <a:pt x="86" y="447"/>
                  </a:lnTo>
                  <a:lnTo>
                    <a:pt x="86" y="447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8" y="445"/>
                  </a:lnTo>
                  <a:lnTo>
                    <a:pt x="88" y="445"/>
                  </a:lnTo>
                  <a:lnTo>
                    <a:pt x="88" y="444"/>
                  </a:lnTo>
                  <a:lnTo>
                    <a:pt x="87" y="443"/>
                  </a:lnTo>
                  <a:lnTo>
                    <a:pt x="87" y="443"/>
                  </a:lnTo>
                  <a:lnTo>
                    <a:pt x="86" y="442"/>
                  </a:lnTo>
                  <a:lnTo>
                    <a:pt x="86" y="441"/>
                  </a:lnTo>
                  <a:lnTo>
                    <a:pt x="84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4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5"/>
                  </a:lnTo>
                  <a:lnTo>
                    <a:pt x="88" y="434"/>
                  </a:lnTo>
                  <a:lnTo>
                    <a:pt x="89" y="433"/>
                  </a:lnTo>
                  <a:lnTo>
                    <a:pt x="90" y="433"/>
                  </a:lnTo>
                  <a:lnTo>
                    <a:pt x="90" y="432"/>
                  </a:lnTo>
                  <a:lnTo>
                    <a:pt x="90" y="432"/>
                  </a:lnTo>
                  <a:lnTo>
                    <a:pt x="91" y="431"/>
                  </a:lnTo>
                  <a:lnTo>
                    <a:pt x="90" y="431"/>
                  </a:lnTo>
                  <a:lnTo>
                    <a:pt x="90" y="431"/>
                  </a:lnTo>
                  <a:lnTo>
                    <a:pt x="90" y="430"/>
                  </a:lnTo>
                  <a:lnTo>
                    <a:pt x="90" y="430"/>
                  </a:lnTo>
                  <a:lnTo>
                    <a:pt x="89" y="430"/>
                  </a:lnTo>
                  <a:lnTo>
                    <a:pt x="89" y="430"/>
                  </a:lnTo>
                  <a:lnTo>
                    <a:pt x="88" y="429"/>
                  </a:lnTo>
                  <a:lnTo>
                    <a:pt x="86" y="429"/>
                  </a:lnTo>
                  <a:lnTo>
                    <a:pt x="85" y="429"/>
                  </a:lnTo>
                  <a:lnTo>
                    <a:pt x="84" y="429"/>
                  </a:lnTo>
                  <a:lnTo>
                    <a:pt x="83" y="429"/>
                  </a:lnTo>
                  <a:lnTo>
                    <a:pt x="81" y="430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8"/>
                  </a:lnTo>
                  <a:lnTo>
                    <a:pt x="78" y="428"/>
                  </a:lnTo>
                  <a:lnTo>
                    <a:pt x="78" y="427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8" y="425"/>
                  </a:lnTo>
                  <a:lnTo>
                    <a:pt x="78" y="424"/>
                  </a:lnTo>
                  <a:lnTo>
                    <a:pt x="79" y="423"/>
                  </a:lnTo>
                  <a:lnTo>
                    <a:pt x="79" y="422"/>
                  </a:lnTo>
                  <a:lnTo>
                    <a:pt x="79" y="421"/>
                  </a:lnTo>
                  <a:lnTo>
                    <a:pt x="80" y="420"/>
                  </a:lnTo>
                  <a:lnTo>
                    <a:pt x="83" y="417"/>
                  </a:lnTo>
                  <a:lnTo>
                    <a:pt x="84" y="415"/>
                  </a:lnTo>
                  <a:lnTo>
                    <a:pt x="84" y="414"/>
                  </a:lnTo>
                  <a:lnTo>
                    <a:pt x="85" y="414"/>
                  </a:lnTo>
                  <a:lnTo>
                    <a:pt x="86" y="413"/>
                  </a:lnTo>
                  <a:lnTo>
                    <a:pt x="87" y="412"/>
                  </a:lnTo>
                  <a:lnTo>
                    <a:pt x="88" y="411"/>
                  </a:lnTo>
                  <a:lnTo>
                    <a:pt x="89" y="411"/>
                  </a:lnTo>
                  <a:lnTo>
                    <a:pt x="90" y="410"/>
                  </a:lnTo>
                  <a:lnTo>
                    <a:pt x="92" y="409"/>
                  </a:lnTo>
                  <a:lnTo>
                    <a:pt x="93" y="409"/>
                  </a:lnTo>
                  <a:lnTo>
                    <a:pt x="94" y="408"/>
                  </a:lnTo>
                  <a:lnTo>
                    <a:pt x="95" y="408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7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101" y="410"/>
                  </a:lnTo>
                  <a:lnTo>
                    <a:pt x="102" y="410"/>
                  </a:lnTo>
                  <a:lnTo>
                    <a:pt x="103" y="411"/>
                  </a:lnTo>
                  <a:lnTo>
                    <a:pt x="103" y="411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7" y="409"/>
                  </a:lnTo>
                  <a:lnTo>
                    <a:pt x="108" y="408"/>
                  </a:lnTo>
                  <a:lnTo>
                    <a:pt x="109" y="406"/>
                  </a:lnTo>
                  <a:lnTo>
                    <a:pt x="110" y="405"/>
                  </a:lnTo>
                  <a:lnTo>
                    <a:pt x="111" y="404"/>
                  </a:lnTo>
                  <a:lnTo>
                    <a:pt x="112" y="403"/>
                  </a:lnTo>
                  <a:lnTo>
                    <a:pt x="115" y="400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17" y="398"/>
                  </a:lnTo>
                  <a:lnTo>
                    <a:pt x="117" y="398"/>
                  </a:lnTo>
                  <a:lnTo>
                    <a:pt x="118" y="397"/>
                  </a:lnTo>
                  <a:lnTo>
                    <a:pt x="118" y="397"/>
                  </a:lnTo>
                  <a:lnTo>
                    <a:pt x="118" y="396"/>
                  </a:lnTo>
                  <a:lnTo>
                    <a:pt x="118" y="395"/>
                  </a:lnTo>
                  <a:lnTo>
                    <a:pt x="117" y="395"/>
                  </a:lnTo>
                  <a:lnTo>
                    <a:pt x="117" y="394"/>
                  </a:lnTo>
                  <a:lnTo>
                    <a:pt x="116" y="394"/>
                  </a:lnTo>
                  <a:lnTo>
                    <a:pt x="116" y="393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3" y="392"/>
                  </a:lnTo>
                  <a:lnTo>
                    <a:pt x="113" y="391"/>
                  </a:lnTo>
                  <a:lnTo>
                    <a:pt x="113" y="390"/>
                  </a:lnTo>
                  <a:lnTo>
                    <a:pt x="114" y="388"/>
                  </a:lnTo>
                  <a:lnTo>
                    <a:pt x="114" y="387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5" y="384"/>
                  </a:lnTo>
                  <a:lnTo>
                    <a:pt x="115" y="383"/>
                  </a:lnTo>
                  <a:lnTo>
                    <a:pt x="115" y="380"/>
                  </a:lnTo>
                  <a:lnTo>
                    <a:pt x="115" y="379"/>
                  </a:lnTo>
                  <a:lnTo>
                    <a:pt x="115" y="378"/>
                  </a:lnTo>
                  <a:lnTo>
                    <a:pt x="115" y="377"/>
                  </a:lnTo>
                  <a:lnTo>
                    <a:pt x="115" y="376"/>
                  </a:lnTo>
                  <a:lnTo>
                    <a:pt x="115" y="376"/>
                  </a:lnTo>
                  <a:lnTo>
                    <a:pt x="116" y="373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7" y="369"/>
                  </a:lnTo>
                  <a:lnTo>
                    <a:pt x="117" y="368"/>
                  </a:lnTo>
                  <a:lnTo>
                    <a:pt x="117" y="367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7" y="361"/>
                  </a:lnTo>
                  <a:lnTo>
                    <a:pt x="118" y="356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9" y="351"/>
                  </a:lnTo>
                  <a:lnTo>
                    <a:pt x="120" y="349"/>
                  </a:lnTo>
                  <a:lnTo>
                    <a:pt x="120" y="348"/>
                  </a:lnTo>
                  <a:lnTo>
                    <a:pt x="121" y="347"/>
                  </a:lnTo>
                  <a:lnTo>
                    <a:pt x="121" y="346"/>
                  </a:lnTo>
                  <a:lnTo>
                    <a:pt x="122" y="346"/>
                  </a:lnTo>
                  <a:lnTo>
                    <a:pt x="122" y="345"/>
                  </a:lnTo>
                  <a:lnTo>
                    <a:pt x="124" y="344"/>
                  </a:lnTo>
                  <a:lnTo>
                    <a:pt x="124" y="343"/>
                  </a:lnTo>
                  <a:lnTo>
                    <a:pt x="125" y="343"/>
                  </a:lnTo>
                  <a:lnTo>
                    <a:pt x="125" y="342"/>
                  </a:lnTo>
                  <a:lnTo>
                    <a:pt x="125" y="341"/>
                  </a:lnTo>
                  <a:lnTo>
                    <a:pt x="125" y="341"/>
                  </a:lnTo>
                  <a:lnTo>
                    <a:pt x="125" y="340"/>
                  </a:lnTo>
                  <a:lnTo>
                    <a:pt x="125" y="339"/>
                  </a:lnTo>
                  <a:lnTo>
                    <a:pt x="125" y="335"/>
                  </a:lnTo>
                  <a:lnTo>
                    <a:pt x="125" y="333"/>
                  </a:lnTo>
                  <a:lnTo>
                    <a:pt x="125" y="329"/>
                  </a:lnTo>
                  <a:lnTo>
                    <a:pt x="124" y="326"/>
                  </a:lnTo>
                  <a:lnTo>
                    <a:pt x="124" y="324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8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7"/>
                  </a:lnTo>
                  <a:lnTo>
                    <a:pt x="122" y="317"/>
                  </a:lnTo>
                  <a:lnTo>
                    <a:pt x="116" y="313"/>
                  </a:lnTo>
                  <a:lnTo>
                    <a:pt x="113" y="312"/>
                  </a:lnTo>
                  <a:lnTo>
                    <a:pt x="112" y="311"/>
                  </a:lnTo>
                  <a:lnTo>
                    <a:pt x="110" y="311"/>
                  </a:lnTo>
                  <a:lnTo>
                    <a:pt x="107" y="310"/>
                  </a:lnTo>
                  <a:lnTo>
                    <a:pt x="104" y="309"/>
                  </a:lnTo>
                  <a:lnTo>
                    <a:pt x="104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2" y="308"/>
                  </a:lnTo>
                  <a:lnTo>
                    <a:pt x="102" y="307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1" y="303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0" y="301"/>
                  </a:lnTo>
                  <a:lnTo>
                    <a:pt x="100" y="301"/>
                  </a:lnTo>
                  <a:lnTo>
                    <a:pt x="99" y="300"/>
                  </a:lnTo>
                  <a:lnTo>
                    <a:pt x="98" y="300"/>
                  </a:lnTo>
                  <a:lnTo>
                    <a:pt x="98" y="299"/>
                  </a:lnTo>
                  <a:lnTo>
                    <a:pt x="97" y="299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2" y="298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6"/>
                  </a:lnTo>
                  <a:lnTo>
                    <a:pt x="85" y="294"/>
                  </a:lnTo>
                  <a:lnTo>
                    <a:pt x="83" y="292"/>
                  </a:lnTo>
                  <a:lnTo>
                    <a:pt x="82" y="291"/>
                  </a:lnTo>
                  <a:lnTo>
                    <a:pt x="80" y="289"/>
                  </a:lnTo>
                  <a:lnTo>
                    <a:pt x="78" y="286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0" y="283"/>
                  </a:lnTo>
                  <a:lnTo>
                    <a:pt x="69" y="283"/>
                  </a:lnTo>
                  <a:lnTo>
                    <a:pt x="68" y="283"/>
                  </a:lnTo>
                  <a:lnTo>
                    <a:pt x="65" y="284"/>
                  </a:lnTo>
                  <a:lnTo>
                    <a:pt x="64" y="284"/>
                  </a:lnTo>
                  <a:lnTo>
                    <a:pt x="63" y="285"/>
                  </a:lnTo>
                  <a:lnTo>
                    <a:pt x="61" y="285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7" y="285"/>
                  </a:lnTo>
                  <a:lnTo>
                    <a:pt x="56" y="285"/>
                  </a:lnTo>
                  <a:lnTo>
                    <a:pt x="55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1" y="284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48" y="282"/>
                  </a:lnTo>
                  <a:lnTo>
                    <a:pt x="47" y="281"/>
                  </a:lnTo>
                  <a:lnTo>
                    <a:pt x="44" y="279"/>
                  </a:lnTo>
                  <a:lnTo>
                    <a:pt x="42" y="277"/>
                  </a:lnTo>
                  <a:lnTo>
                    <a:pt x="40" y="276"/>
                  </a:lnTo>
                  <a:lnTo>
                    <a:pt x="37" y="275"/>
                  </a:lnTo>
                  <a:lnTo>
                    <a:pt x="36" y="274"/>
                  </a:lnTo>
                  <a:lnTo>
                    <a:pt x="35" y="273"/>
                  </a:lnTo>
                  <a:lnTo>
                    <a:pt x="34" y="273"/>
                  </a:lnTo>
                  <a:lnTo>
                    <a:pt x="33" y="272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2" y="271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6" y="267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5" y="265"/>
                  </a:lnTo>
                  <a:lnTo>
                    <a:pt x="34" y="264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0" y="263"/>
                  </a:lnTo>
                  <a:lnTo>
                    <a:pt x="19" y="263"/>
                  </a:lnTo>
                  <a:lnTo>
                    <a:pt x="17" y="263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4" y="264"/>
                  </a:lnTo>
                  <a:lnTo>
                    <a:pt x="12" y="264"/>
                  </a:lnTo>
                  <a:lnTo>
                    <a:pt x="10" y="265"/>
                  </a:lnTo>
                  <a:lnTo>
                    <a:pt x="9" y="266"/>
                  </a:lnTo>
                  <a:lnTo>
                    <a:pt x="8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5"/>
                  </a:lnTo>
                  <a:lnTo>
                    <a:pt x="2" y="265"/>
                  </a:lnTo>
                  <a:lnTo>
                    <a:pt x="1" y="265"/>
                  </a:lnTo>
                  <a:lnTo>
                    <a:pt x="1" y="265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1" y="260"/>
                  </a:lnTo>
                  <a:lnTo>
                    <a:pt x="1" y="259"/>
                  </a:lnTo>
                  <a:lnTo>
                    <a:pt x="2" y="257"/>
                  </a:lnTo>
                  <a:lnTo>
                    <a:pt x="3" y="255"/>
                  </a:lnTo>
                  <a:lnTo>
                    <a:pt x="4" y="254"/>
                  </a:lnTo>
                  <a:lnTo>
                    <a:pt x="5" y="252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0"/>
                  </a:lnTo>
                  <a:lnTo>
                    <a:pt x="6" y="249"/>
                  </a:lnTo>
                  <a:lnTo>
                    <a:pt x="6" y="248"/>
                  </a:lnTo>
                  <a:lnTo>
                    <a:pt x="6" y="247"/>
                  </a:lnTo>
                  <a:lnTo>
                    <a:pt x="6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4" y="243"/>
                  </a:lnTo>
                  <a:lnTo>
                    <a:pt x="3" y="242"/>
                  </a:lnTo>
                  <a:lnTo>
                    <a:pt x="2" y="241"/>
                  </a:lnTo>
                  <a:lnTo>
                    <a:pt x="2" y="240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8"/>
                  </a:lnTo>
                  <a:lnTo>
                    <a:pt x="2" y="237"/>
                  </a:lnTo>
                  <a:lnTo>
                    <a:pt x="3" y="237"/>
                  </a:lnTo>
                  <a:lnTo>
                    <a:pt x="4" y="236"/>
                  </a:lnTo>
                  <a:lnTo>
                    <a:pt x="5" y="235"/>
                  </a:lnTo>
                  <a:lnTo>
                    <a:pt x="6" y="234"/>
                  </a:lnTo>
                  <a:lnTo>
                    <a:pt x="7" y="233"/>
                  </a:lnTo>
                  <a:lnTo>
                    <a:pt x="8" y="233"/>
                  </a:lnTo>
                  <a:lnTo>
                    <a:pt x="9" y="232"/>
                  </a:lnTo>
                  <a:lnTo>
                    <a:pt x="10" y="232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3" y="231"/>
                  </a:lnTo>
                  <a:lnTo>
                    <a:pt x="14" y="231"/>
                  </a:lnTo>
                  <a:lnTo>
                    <a:pt x="15" y="231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7" y="231"/>
                  </a:lnTo>
                  <a:lnTo>
                    <a:pt x="17" y="230"/>
                  </a:lnTo>
                  <a:lnTo>
                    <a:pt x="18" y="230"/>
                  </a:lnTo>
                  <a:lnTo>
                    <a:pt x="19" y="228"/>
                  </a:lnTo>
                  <a:lnTo>
                    <a:pt x="19" y="227"/>
                  </a:lnTo>
                  <a:lnTo>
                    <a:pt x="20" y="226"/>
                  </a:lnTo>
                  <a:lnTo>
                    <a:pt x="21" y="224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2" y="223"/>
                  </a:lnTo>
                  <a:lnTo>
                    <a:pt x="22" y="222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6"/>
                  </a:lnTo>
                  <a:lnTo>
                    <a:pt x="26" y="215"/>
                  </a:lnTo>
                  <a:lnTo>
                    <a:pt x="26" y="215"/>
                  </a:lnTo>
                  <a:lnTo>
                    <a:pt x="26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6"/>
                  </a:lnTo>
                  <a:lnTo>
                    <a:pt x="29" y="206"/>
                  </a:lnTo>
                  <a:lnTo>
                    <a:pt x="29" y="205"/>
                  </a:lnTo>
                  <a:lnTo>
                    <a:pt x="31" y="203"/>
                  </a:lnTo>
                  <a:lnTo>
                    <a:pt x="33" y="202"/>
                  </a:lnTo>
                  <a:lnTo>
                    <a:pt x="34" y="201"/>
                  </a:lnTo>
                  <a:lnTo>
                    <a:pt x="36" y="200"/>
                  </a:lnTo>
                  <a:lnTo>
                    <a:pt x="36" y="199"/>
                  </a:lnTo>
                  <a:lnTo>
                    <a:pt x="38" y="198"/>
                  </a:lnTo>
                  <a:lnTo>
                    <a:pt x="40" y="197"/>
                  </a:lnTo>
                  <a:lnTo>
                    <a:pt x="41" y="196"/>
                  </a:lnTo>
                  <a:lnTo>
                    <a:pt x="42" y="195"/>
                  </a:lnTo>
                  <a:lnTo>
                    <a:pt x="43" y="195"/>
                  </a:lnTo>
                  <a:lnTo>
                    <a:pt x="44" y="194"/>
                  </a:lnTo>
                  <a:lnTo>
                    <a:pt x="45" y="194"/>
                  </a:lnTo>
                  <a:lnTo>
                    <a:pt x="47" y="194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51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4"/>
                  </a:lnTo>
                  <a:lnTo>
                    <a:pt x="57" y="193"/>
                  </a:lnTo>
                  <a:lnTo>
                    <a:pt x="59" y="193"/>
                  </a:lnTo>
                  <a:lnTo>
                    <a:pt x="60" y="192"/>
                  </a:lnTo>
                  <a:lnTo>
                    <a:pt x="61" y="192"/>
                  </a:lnTo>
                  <a:lnTo>
                    <a:pt x="62" y="191"/>
                  </a:lnTo>
                  <a:lnTo>
                    <a:pt x="63" y="190"/>
                  </a:lnTo>
                  <a:lnTo>
                    <a:pt x="64" y="190"/>
                  </a:lnTo>
                  <a:lnTo>
                    <a:pt x="65" y="188"/>
                  </a:lnTo>
                  <a:lnTo>
                    <a:pt x="66" y="18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9" y="184"/>
                  </a:lnTo>
                  <a:lnTo>
                    <a:pt x="72" y="182"/>
                  </a:lnTo>
                  <a:lnTo>
                    <a:pt x="76" y="178"/>
                  </a:lnTo>
                  <a:lnTo>
                    <a:pt x="77" y="177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2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4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7" y="178"/>
                  </a:lnTo>
                  <a:lnTo>
                    <a:pt x="99" y="178"/>
                  </a:lnTo>
                  <a:lnTo>
                    <a:pt x="100" y="178"/>
                  </a:lnTo>
                  <a:lnTo>
                    <a:pt x="101" y="178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1" y="173"/>
                  </a:lnTo>
                  <a:lnTo>
                    <a:pt x="111" y="173"/>
                  </a:lnTo>
                  <a:lnTo>
                    <a:pt x="113" y="172"/>
                  </a:lnTo>
                  <a:lnTo>
                    <a:pt x="113" y="171"/>
                  </a:lnTo>
                  <a:lnTo>
                    <a:pt x="115" y="170"/>
                  </a:lnTo>
                  <a:lnTo>
                    <a:pt x="118" y="167"/>
                  </a:lnTo>
                  <a:lnTo>
                    <a:pt x="119" y="166"/>
                  </a:lnTo>
                  <a:lnTo>
                    <a:pt x="120" y="165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3"/>
                  </a:lnTo>
                  <a:lnTo>
                    <a:pt x="123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7" y="164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69"/>
                  </a:lnTo>
                  <a:lnTo>
                    <a:pt x="136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8" y="167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2" y="162"/>
                  </a:lnTo>
                  <a:lnTo>
                    <a:pt x="143" y="161"/>
                  </a:lnTo>
                  <a:lnTo>
                    <a:pt x="144" y="161"/>
                  </a:lnTo>
                  <a:lnTo>
                    <a:pt x="145" y="160"/>
                  </a:lnTo>
                  <a:lnTo>
                    <a:pt x="146" y="159"/>
                  </a:lnTo>
                  <a:lnTo>
                    <a:pt x="147" y="159"/>
                  </a:lnTo>
                  <a:lnTo>
                    <a:pt x="147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1" y="157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6"/>
                  </a:lnTo>
                  <a:lnTo>
                    <a:pt x="157" y="155"/>
                  </a:lnTo>
                  <a:lnTo>
                    <a:pt x="158" y="154"/>
                  </a:lnTo>
                  <a:lnTo>
                    <a:pt x="160" y="153"/>
                  </a:lnTo>
                  <a:lnTo>
                    <a:pt x="160" y="153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4" y="150"/>
                  </a:lnTo>
                  <a:lnTo>
                    <a:pt x="164" y="149"/>
                  </a:lnTo>
                  <a:lnTo>
                    <a:pt x="165" y="148"/>
                  </a:lnTo>
                  <a:lnTo>
                    <a:pt x="165" y="147"/>
                  </a:lnTo>
                  <a:lnTo>
                    <a:pt x="166" y="146"/>
                  </a:lnTo>
                  <a:lnTo>
                    <a:pt x="166" y="145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68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4" y="143"/>
                  </a:lnTo>
                  <a:lnTo>
                    <a:pt x="174" y="142"/>
                  </a:lnTo>
                  <a:lnTo>
                    <a:pt x="175" y="142"/>
                  </a:lnTo>
                  <a:lnTo>
                    <a:pt x="175" y="142"/>
                  </a:lnTo>
                  <a:lnTo>
                    <a:pt x="175" y="141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39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6" y="134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1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7" y="129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9" y="127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4" y="125"/>
                  </a:lnTo>
                  <a:lnTo>
                    <a:pt x="185" y="125"/>
                  </a:lnTo>
                  <a:lnTo>
                    <a:pt x="186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4" y="126"/>
                  </a:lnTo>
                  <a:lnTo>
                    <a:pt x="198" y="127"/>
                  </a:lnTo>
                  <a:lnTo>
                    <a:pt x="202" y="128"/>
                  </a:lnTo>
                  <a:lnTo>
                    <a:pt x="205" y="129"/>
                  </a:lnTo>
                  <a:lnTo>
                    <a:pt x="207" y="129"/>
                  </a:lnTo>
                  <a:lnTo>
                    <a:pt x="209" y="129"/>
                  </a:lnTo>
                  <a:lnTo>
                    <a:pt x="215" y="130"/>
                  </a:lnTo>
                  <a:lnTo>
                    <a:pt x="217" y="130"/>
                  </a:lnTo>
                  <a:lnTo>
                    <a:pt x="219" y="130"/>
                  </a:lnTo>
                  <a:lnTo>
                    <a:pt x="222" y="130"/>
                  </a:lnTo>
                  <a:lnTo>
                    <a:pt x="224" y="130"/>
                  </a:lnTo>
                  <a:lnTo>
                    <a:pt x="226" y="130"/>
                  </a:lnTo>
                  <a:lnTo>
                    <a:pt x="228" y="129"/>
                  </a:lnTo>
                  <a:lnTo>
                    <a:pt x="230" y="129"/>
                  </a:lnTo>
                  <a:lnTo>
                    <a:pt x="232" y="129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5" y="127"/>
                  </a:lnTo>
                  <a:lnTo>
                    <a:pt x="236" y="127"/>
                  </a:lnTo>
                  <a:lnTo>
                    <a:pt x="236" y="127"/>
                  </a:lnTo>
                  <a:lnTo>
                    <a:pt x="237" y="127"/>
                  </a:lnTo>
                  <a:lnTo>
                    <a:pt x="239" y="128"/>
                  </a:lnTo>
                  <a:lnTo>
                    <a:pt x="241" y="128"/>
                  </a:lnTo>
                  <a:lnTo>
                    <a:pt x="245" y="129"/>
                  </a:lnTo>
                  <a:lnTo>
                    <a:pt x="248" y="130"/>
                  </a:lnTo>
                  <a:lnTo>
                    <a:pt x="250" y="130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6" y="128"/>
                  </a:lnTo>
                  <a:lnTo>
                    <a:pt x="257" y="127"/>
                  </a:lnTo>
                  <a:lnTo>
                    <a:pt x="259" y="125"/>
                  </a:lnTo>
                  <a:lnTo>
                    <a:pt x="260" y="124"/>
                  </a:lnTo>
                  <a:lnTo>
                    <a:pt x="260" y="124"/>
                  </a:lnTo>
                  <a:lnTo>
                    <a:pt x="261" y="124"/>
                  </a:lnTo>
                  <a:lnTo>
                    <a:pt x="262" y="123"/>
                  </a:lnTo>
                  <a:lnTo>
                    <a:pt x="263" y="123"/>
                  </a:lnTo>
                  <a:lnTo>
                    <a:pt x="264" y="123"/>
                  </a:lnTo>
                  <a:lnTo>
                    <a:pt x="270" y="122"/>
                  </a:lnTo>
                  <a:lnTo>
                    <a:pt x="272" y="121"/>
                  </a:lnTo>
                  <a:lnTo>
                    <a:pt x="276" y="121"/>
                  </a:lnTo>
                  <a:lnTo>
                    <a:pt x="277" y="121"/>
                  </a:lnTo>
                  <a:lnTo>
                    <a:pt x="279" y="121"/>
                  </a:lnTo>
                  <a:lnTo>
                    <a:pt x="280" y="121"/>
                  </a:lnTo>
                  <a:lnTo>
                    <a:pt x="282" y="122"/>
                  </a:lnTo>
                  <a:lnTo>
                    <a:pt x="284" y="122"/>
                  </a:lnTo>
                  <a:lnTo>
                    <a:pt x="284" y="122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0"/>
                  </a:lnTo>
                  <a:lnTo>
                    <a:pt x="288" y="120"/>
                  </a:lnTo>
                  <a:lnTo>
                    <a:pt x="288" y="119"/>
                  </a:lnTo>
                  <a:lnTo>
                    <a:pt x="289" y="118"/>
                  </a:lnTo>
                  <a:lnTo>
                    <a:pt x="289" y="117"/>
                  </a:lnTo>
                  <a:lnTo>
                    <a:pt x="289" y="116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91" y="109"/>
                  </a:lnTo>
                  <a:lnTo>
                    <a:pt x="291" y="108"/>
                  </a:lnTo>
                  <a:lnTo>
                    <a:pt x="291" y="106"/>
                  </a:lnTo>
                  <a:lnTo>
                    <a:pt x="291" y="105"/>
                  </a:lnTo>
                  <a:lnTo>
                    <a:pt x="291" y="104"/>
                  </a:lnTo>
                  <a:lnTo>
                    <a:pt x="291" y="103"/>
                  </a:lnTo>
                  <a:lnTo>
                    <a:pt x="290" y="102"/>
                  </a:lnTo>
                  <a:lnTo>
                    <a:pt x="290" y="99"/>
                  </a:lnTo>
                  <a:lnTo>
                    <a:pt x="289" y="98"/>
                  </a:lnTo>
                  <a:lnTo>
                    <a:pt x="289" y="97"/>
                  </a:lnTo>
                  <a:lnTo>
                    <a:pt x="289" y="96"/>
                  </a:lnTo>
                  <a:lnTo>
                    <a:pt x="289" y="95"/>
                  </a:lnTo>
                  <a:lnTo>
                    <a:pt x="289" y="94"/>
                  </a:lnTo>
                  <a:lnTo>
                    <a:pt x="289" y="93"/>
                  </a:lnTo>
                  <a:lnTo>
                    <a:pt x="289" y="91"/>
                  </a:lnTo>
                  <a:lnTo>
                    <a:pt x="289" y="89"/>
                  </a:lnTo>
                  <a:lnTo>
                    <a:pt x="289" y="88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90" y="86"/>
                  </a:lnTo>
                  <a:lnTo>
                    <a:pt x="291" y="86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7" y="88"/>
                  </a:lnTo>
                  <a:lnTo>
                    <a:pt x="298" y="88"/>
                  </a:lnTo>
                  <a:lnTo>
                    <a:pt x="299" y="88"/>
                  </a:lnTo>
                  <a:lnTo>
                    <a:pt x="300" y="88"/>
                  </a:lnTo>
                  <a:lnTo>
                    <a:pt x="301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3" y="88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3" y="86"/>
                  </a:lnTo>
                  <a:lnTo>
                    <a:pt x="303" y="85"/>
                  </a:lnTo>
                  <a:lnTo>
                    <a:pt x="305" y="83"/>
                  </a:lnTo>
                  <a:lnTo>
                    <a:pt x="306" y="80"/>
                  </a:lnTo>
                  <a:lnTo>
                    <a:pt x="306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8" y="78"/>
                  </a:lnTo>
                  <a:lnTo>
                    <a:pt x="311" y="78"/>
                  </a:lnTo>
                  <a:lnTo>
                    <a:pt x="314" y="77"/>
                  </a:lnTo>
                  <a:lnTo>
                    <a:pt x="316" y="76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7" y="75"/>
                  </a:lnTo>
                  <a:lnTo>
                    <a:pt x="318" y="75"/>
                  </a:lnTo>
                  <a:lnTo>
                    <a:pt x="318" y="75"/>
                  </a:lnTo>
                  <a:lnTo>
                    <a:pt x="318" y="74"/>
                  </a:lnTo>
                  <a:lnTo>
                    <a:pt x="319" y="74"/>
                  </a:lnTo>
                  <a:lnTo>
                    <a:pt x="319" y="73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1"/>
                  </a:lnTo>
                  <a:lnTo>
                    <a:pt x="319" y="70"/>
                  </a:lnTo>
                  <a:lnTo>
                    <a:pt x="319" y="67"/>
                  </a:lnTo>
                  <a:lnTo>
                    <a:pt x="319" y="66"/>
                  </a:lnTo>
                  <a:lnTo>
                    <a:pt x="319" y="64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8" y="58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19" y="55"/>
                  </a:lnTo>
                  <a:lnTo>
                    <a:pt x="319" y="54"/>
                  </a:lnTo>
                  <a:lnTo>
                    <a:pt x="320" y="53"/>
                  </a:lnTo>
                  <a:lnTo>
                    <a:pt x="321" y="53"/>
                  </a:lnTo>
                  <a:lnTo>
                    <a:pt x="321" y="52"/>
                  </a:lnTo>
                  <a:lnTo>
                    <a:pt x="322" y="52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5" y="53"/>
                  </a:lnTo>
                  <a:lnTo>
                    <a:pt x="325" y="53"/>
                  </a:lnTo>
                  <a:lnTo>
                    <a:pt x="326" y="53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7" y="54"/>
                  </a:lnTo>
                  <a:lnTo>
                    <a:pt x="328" y="54"/>
                  </a:lnTo>
                  <a:lnTo>
                    <a:pt x="328" y="53"/>
                  </a:lnTo>
                  <a:lnTo>
                    <a:pt x="329" y="53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2" y="51"/>
                  </a:lnTo>
                  <a:lnTo>
                    <a:pt x="333" y="51"/>
                  </a:lnTo>
                  <a:lnTo>
                    <a:pt x="334" y="51"/>
                  </a:lnTo>
                  <a:lnTo>
                    <a:pt x="335" y="51"/>
                  </a:lnTo>
                  <a:lnTo>
                    <a:pt x="335" y="52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0" y="53"/>
                  </a:lnTo>
                  <a:lnTo>
                    <a:pt x="340" y="53"/>
                  </a:lnTo>
                  <a:lnTo>
                    <a:pt x="341" y="53"/>
                  </a:lnTo>
                  <a:lnTo>
                    <a:pt x="341" y="53"/>
                  </a:lnTo>
                  <a:lnTo>
                    <a:pt x="342" y="53"/>
                  </a:lnTo>
                  <a:lnTo>
                    <a:pt x="343" y="53"/>
                  </a:lnTo>
                  <a:lnTo>
                    <a:pt x="344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7" y="51"/>
                  </a:lnTo>
                  <a:lnTo>
                    <a:pt x="348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49" y="51"/>
                  </a:lnTo>
                  <a:lnTo>
                    <a:pt x="350" y="51"/>
                  </a:lnTo>
                  <a:lnTo>
                    <a:pt x="350" y="52"/>
                  </a:lnTo>
                  <a:lnTo>
                    <a:pt x="350" y="52"/>
                  </a:lnTo>
                  <a:lnTo>
                    <a:pt x="350" y="53"/>
                  </a:lnTo>
                  <a:lnTo>
                    <a:pt x="351" y="54"/>
                  </a:lnTo>
                  <a:lnTo>
                    <a:pt x="351" y="55"/>
                  </a:lnTo>
                  <a:lnTo>
                    <a:pt x="352" y="57"/>
                  </a:lnTo>
                  <a:lnTo>
                    <a:pt x="352" y="59"/>
                  </a:lnTo>
                  <a:lnTo>
                    <a:pt x="352" y="60"/>
                  </a:lnTo>
                  <a:lnTo>
                    <a:pt x="353" y="61"/>
                  </a:lnTo>
                  <a:lnTo>
                    <a:pt x="353" y="62"/>
                  </a:lnTo>
                  <a:lnTo>
                    <a:pt x="353" y="62"/>
                  </a:lnTo>
                  <a:lnTo>
                    <a:pt x="354" y="63"/>
                  </a:lnTo>
                  <a:lnTo>
                    <a:pt x="354" y="63"/>
                  </a:lnTo>
                  <a:lnTo>
                    <a:pt x="355" y="64"/>
                  </a:lnTo>
                  <a:lnTo>
                    <a:pt x="355" y="64"/>
                  </a:lnTo>
                  <a:lnTo>
                    <a:pt x="356" y="64"/>
                  </a:lnTo>
                  <a:lnTo>
                    <a:pt x="356" y="65"/>
                  </a:lnTo>
                  <a:lnTo>
                    <a:pt x="357" y="65"/>
                  </a:lnTo>
                  <a:lnTo>
                    <a:pt x="358" y="65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7" y="63"/>
                  </a:lnTo>
                  <a:lnTo>
                    <a:pt x="368" y="62"/>
                  </a:lnTo>
                  <a:lnTo>
                    <a:pt x="369" y="62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81" y="61"/>
                  </a:lnTo>
                  <a:lnTo>
                    <a:pt x="382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6" y="58"/>
                  </a:lnTo>
                  <a:lnTo>
                    <a:pt x="389" y="56"/>
                  </a:lnTo>
                  <a:lnTo>
                    <a:pt x="391" y="55"/>
                  </a:lnTo>
                  <a:lnTo>
                    <a:pt x="391" y="54"/>
                  </a:lnTo>
                  <a:lnTo>
                    <a:pt x="392" y="53"/>
                  </a:lnTo>
                  <a:lnTo>
                    <a:pt x="393" y="52"/>
                  </a:lnTo>
                  <a:lnTo>
                    <a:pt x="395" y="49"/>
                  </a:lnTo>
                  <a:lnTo>
                    <a:pt x="395" y="49"/>
                  </a:lnTo>
                  <a:lnTo>
                    <a:pt x="396" y="48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9" y="46"/>
                  </a:lnTo>
                  <a:lnTo>
                    <a:pt x="400" y="45"/>
                  </a:lnTo>
                  <a:lnTo>
                    <a:pt x="400" y="44"/>
                  </a:lnTo>
                  <a:lnTo>
                    <a:pt x="401" y="44"/>
                  </a:lnTo>
                  <a:lnTo>
                    <a:pt x="401" y="43"/>
                  </a:lnTo>
                  <a:lnTo>
                    <a:pt x="402" y="42"/>
                  </a:lnTo>
                  <a:lnTo>
                    <a:pt x="402" y="41"/>
                  </a:lnTo>
                  <a:lnTo>
                    <a:pt x="402" y="40"/>
                  </a:lnTo>
                  <a:lnTo>
                    <a:pt x="403" y="39"/>
                  </a:lnTo>
                  <a:lnTo>
                    <a:pt x="403" y="35"/>
                  </a:lnTo>
                  <a:lnTo>
                    <a:pt x="403" y="34"/>
                  </a:lnTo>
                  <a:lnTo>
                    <a:pt x="403" y="33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1"/>
                  </a:lnTo>
                  <a:lnTo>
                    <a:pt x="406" y="31"/>
                  </a:lnTo>
                  <a:lnTo>
                    <a:pt x="407" y="30"/>
                  </a:lnTo>
                  <a:lnTo>
                    <a:pt x="407" y="30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1" y="30"/>
                  </a:lnTo>
                  <a:lnTo>
                    <a:pt x="413" y="31"/>
                  </a:lnTo>
                  <a:lnTo>
                    <a:pt x="415" y="31"/>
                  </a:lnTo>
                  <a:lnTo>
                    <a:pt x="417" y="32"/>
                  </a:lnTo>
                  <a:lnTo>
                    <a:pt x="420" y="33"/>
                  </a:lnTo>
                  <a:lnTo>
                    <a:pt x="422" y="33"/>
                  </a:lnTo>
                  <a:lnTo>
                    <a:pt x="423" y="33"/>
                  </a:lnTo>
                  <a:lnTo>
                    <a:pt x="423" y="33"/>
                  </a:lnTo>
                  <a:lnTo>
                    <a:pt x="424" y="33"/>
                  </a:lnTo>
                  <a:lnTo>
                    <a:pt x="425" y="33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29" y="31"/>
                  </a:lnTo>
                  <a:lnTo>
                    <a:pt x="430" y="31"/>
                  </a:lnTo>
                  <a:lnTo>
                    <a:pt x="430" y="30"/>
                  </a:lnTo>
                  <a:lnTo>
                    <a:pt x="431" y="29"/>
                  </a:lnTo>
                  <a:lnTo>
                    <a:pt x="431" y="29"/>
                  </a:lnTo>
                  <a:lnTo>
                    <a:pt x="432" y="28"/>
                  </a:lnTo>
                  <a:lnTo>
                    <a:pt x="432" y="28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3" y="24"/>
                  </a:lnTo>
                  <a:lnTo>
                    <a:pt x="433" y="23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4" y="22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7" y="20"/>
                  </a:lnTo>
                  <a:lnTo>
                    <a:pt x="437" y="19"/>
                  </a:lnTo>
                  <a:lnTo>
                    <a:pt x="439" y="18"/>
                  </a:lnTo>
                  <a:lnTo>
                    <a:pt x="443" y="16"/>
                  </a:lnTo>
                  <a:lnTo>
                    <a:pt x="444" y="16"/>
                  </a:lnTo>
                  <a:lnTo>
                    <a:pt x="445" y="15"/>
                  </a:lnTo>
                  <a:lnTo>
                    <a:pt x="445" y="15"/>
                  </a:lnTo>
                  <a:lnTo>
                    <a:pt x="446" y="14"/>
                  </a:lnTo>
                  <a:lnTo>
                    <a:pt x="446" y="14"/>
                  </a:lnTo>
                  <a:lnTo>
                    <a:pt x="447" y="13"/>
                  </a:lnTo>
                  <a:lnTo>
                    <a:pt x="447" y="12"/>
                  </a:lnTo>
                  <a:lnTo>
                    <a:pt x="447" y="11"/>
                  </a:lnTo>
                  <a:lnTo>
                    <a:pt x="447" y="9"/>
                  </a:lnTo>
                  <a:lnTo>
                    <a:pt x="447" y="8"/>
                  </a:lnTo>
                  <a:lnTo>
                    <a:pt x="448" y="6"/>
                  </a:lnTo>
                  <a:lnTo>
                    <a:pt x="449" y="4"/>
                  </a:lnTo>
                  <a:lnTo>
                    <a:pt x="450" y="3"/>
                  </a:lnTo>
                  <a:lnTo>
                    <a:pt x="45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1" y="0"/>
                  </a:lnTo>
                  <a:lnTo>
                    <a:pt x="451" y="0"/>
                  </a:lnTo>
                  <a:close/>
                  <a:moveTo>
                    <a:pt x="335" y="203"/>
                  </a:moveTo>
                  <a:lnTo>
                    <a:pt x="335" y="204"/>
                  </a:lnTo>
                  <a:lnTo>
                    <a:pt x="334" y="204"/>
                  </a:lnTo>
                  <a:lnTo>
                    <a:pt x="332" y="204"/>
                  </a:lnTo>
                  <a:lnTo>
                    <a:pt x="327" y="205"/>
                  </a:lnTo>
                  <a:lnTo>
                    <a:pt x="325" y="206"/>
                  </a:lnTo>
                  <a:lnTo>
                    <a:pt x="323" y="206"/>
                  </a:lnTo>
                  <a:lnTo>
                    <a:pt x="321" y="207"/>
                  </a:lnTo>
                  <a:lnTo>
                    <a:pt x="319" y="208"/>
                  </a:lnTo>
                  <a:lnTo>
                    <a:pt x="318" y="208"/>
                  </a:lnTo>
                  <a:lnTo>
                    <a:pt x="315" y="210"/>
                  </a:lnTo>
                  <a:lnTo>
                    <a:pt x="314" y="211"/>
                  </a:lnTo>
                  <a:lnTo>
                    <a:pt x="312" y="212"/>
                  </a:lnTo>
                  <a:lnTo>
                    <a:pt x="309" y="212"/>
                  </a:lnTo>
                  <a:lnTo>
                    <a:pt x="307" y="213"/>
                  </a:lnTo>
                  <a:lnTo>
                    <a:pt x="306" y="213"/>
                  </a:lnTo>
                  <a:lnTo>
                    <a:pt x="302" y="215"/>
                  </a:lnTo>
                  <a:lnTo>
                    <a:pt x="301" y="216"/>
                  </a:lnTo>
                  <a:lnTo>
                    <a:pt x="300" y="217"/>
                  </a:lnTo>
                  <a:lnTo>
                    <a:pt x="297" y="217"/>
                  </a:lnTo>
                  <a:lnTo>
                    <a:pt x="296" y="217"/>
                  </a:lnTo>
                  <a:lnTo>
                    <a:pt x="295" y="218"/>
                  </a:lnTo>
                  <a:lnTo>
                    <a:pt x="292" y="218"/>
                  </a:lnTo>
                  <a:lnTo>
                    <a:pt x="291" y="218"/>
                  </a:lnTo>
                  <a:lnTo>
                    <a:pt x="289" y="218"/>
                  </a:lnTo>
                  <a:lnTo>
                    <a:pt x="289" y="219"/>
                  </a:lnTo>
                  <a:lnTo>
                    <a:pt x="288" y="219"/>
                  </a:lnTo>
                  <a:lnTo>
                    <a:pt x="287" y="219"/>
                  </a:lnTo>
                  <a:lnTo>
                    <a:pt x="287" y="220"/>
                  </a:lnTo>
                  <a:lnTo>
                    <a:pt x="286" y="220"/>
                  </a:lnTo>
                  <a:lnTo>
                    <a:pt x="286" y="221"/>
                  </a:lnTo>
                  <a:lnTo>
                    <a:pt x="285" y="222"/>
                  </a:lnTo>
                  <a:lnTo>
                    <a:pt x="285" y="223"/>
                  </a:lnTo>
                  <a:lnTo>
                    <a:pt x="285" y="224"/>
                  </a:lnTo>
                  <a:lnTo>
                    <a:pt x="284" y="226"/>
                  </a:lnTo>
                  <a:lnTo>
                    <a:pt x="284" y="227"/>
                  </a:lnTo>
                  <a:lnTo>
                    <a:pt x="283" y="228"/>
                  </a:lnTo>
                  <a:lnTo>
                    <a:pt x="283" y="229"/>
                  </a:lnTo>
                  <a:lnTo>
                    <a:pt x="283" y="229"/>
                  </a:lnTo>
                  <a:lnTo>
                    <a:pt x="282" y="229"/>
                  </a:lnTo>
                  <a:lnTo>
                    <a:pt x="282" y="230"/>
                  </a:lnTo>
                  <a:lnTo>
                    <a:pt x="281" y="230"/>
                  </a:lnTo>
                  <a:lnTo>
                    <a:pt x="279" y="230"/>
                  </a:lnTo>
                  <a:lnTo>
                    <a:pt x="278" y="230"/>
                  </a:lnTo>
                  <a:lnTo>
                    <a:pt x="276" y="230"/>
                  </a:lnTo>
                  <a:lnTo>
                    <a:pt x="275" y="230"/>
                  </a:lnTo>
                  <a:lnTo>
                    <a:pt x="275" y="229"/>
                  </a:lnTo>
                  <a:lnTo>
                    <a:pt x="274" y="229"/>
                  </a:lnTo>
                  <a:lnTo>
                    <a:pt x="272" y="228"/>
                  </a:lnTo>
                  <a:lnTo>
                    <a:pt x="271" y="228"/>
                  </a:lnTo>
                  <a:lnTo>
                    <a:pt x="271" y="227"/>
                  </a:lnTo>
                  <a:lnTo>
                    <a:pt x="270" y="227"/>
                  </a:lnTo>
                  <a:lnTo>
                    <a:pt x="269" y="227"/>
                  </a:lnTo>
                  <a:lnTo>
                    <a:pt x="269" y="227"/>
                  </a:lnTo>
                  <a:lnTo>
                    <a:pt x="268" y="227"/>
                  </a:lnTo>
                  <a:lnTo>
                    <a:pt x="268" y="227"/>
                  </a:lnTo>
                  <a:lnTo>
                    <a:pt x="267" y="228"/>
                  </a:lnTo>
                  <a:lnTo>
                    <a:pt x="264" y="229"/>
                  </a:lnTo>
                  <a:lnTo>
                    <a:pt x="263" y="230"/>
                  </a:lnTo>
                  <a:lnTo>
                    <a:pt x="262" y="230"/>
                  </a:lnTo>
                  <a:lnTo>
                    <a:pt x="259" y="231"/>
                  </a:lnTo>
                  <a:lnTo>
                    <a:pt x="257" y="231"/>
                  </a:lnTo>
                  <a:lnTo>
                    <a:pt x="254" y="232"/>
                  </a:lnTo>
                  <a:lnTo>
                    <a:pt x="252" y="233"/>
                  </a:lnTo>
                  <a:lnTo>
                    <a:pt x="251" y="234"/>
                  </a:lnTo>
                  <a:lnTo>
                    <a:pt x="250" y="234"/>
                  </a:lnTo>
                  <a:lnTo>
                    <a:pt x="249" y="235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7"/>
                  </a:lnTo>
                  <a:lnTo>
                    <a:pt x="249" y="237"/>
                  </a:lnTo>
                  <a:lnTo>
                    <a:pt x="249" y="237"/>
                  </a:lnTo>
                  <a:lnTo>
                    <a:pt x="251" y="238"/>
                  </a:lnTo>
                  <a:lnTo>
                    <a:pt x="252" y="238"/>
                  </a:lnTo>
                  <a:lnTo>
                    <a:pt x="253" y="239"/>
                  </a:lnTo>
                  <a:lnTo>
                    <a:pt x="253" y="240"/>
                  </a:lnTo>
                  <a:lnTo>
                    <a:pt x="255" y="241"/>
                  </a:lnTo>
                  <a:lnTo>
                    <a:pt x="257" y="243"/>
                  </a:lnTo>
                  <a:lnTo>
                    <a:pt x="259" y="246"/>
                  </a:lnTo>
                  <a:lnTo>
                    <a:pt x="260" y="247"/>
                  </a:lnTo>
                  <a:lnTo>
                    <a:pt x="261" y="247"/>
                  </a:lnTo>
                  <a:lnTo>
                    <a:pt x="261" y="248"/>
                  </a:lnTo>
                  <a:lnTo>
                    <a:pt x="261" y="248"/>
                  </a:lnTo>
                  <a:lnTo>
                    <a:pt x="261" y="249"/>
                  </a:lnTo>
                  <a:lnTo>
                    <a:pt x="261" y="250"/>
                  </a:lnTo>
                  <a:lnTo>
                    <a:pt x="261" y="250"/>
                  </a:lnTo>
                  <a:lnTo>
                    <a:pt x="260" y="251"/>
                  </a:lnTo>
                  <a:lnTo>
                    <a:pt x="260" y="251"/>
                  </a:lnTo>
                  <a:lnTo>
                    <a:pt x="258" y="252"/>
                  </a:lnTo>
                  <a:lnTo>
                    <a:pt x="257" y="253"/>
                  </a:lnTo>
                  <a:lnTo>
                    <a:pt x="256" y="253"/>
                  </a:lnTo>
                  <a:lnTo>
                    <a:pt x="256" y="254"/>
                  </a:lnTo>
                  <a:lnTo>
                    <a:pt x="255" y="255"/>
                  </a:lnTo>
                  <a:lnTo>
                    <a:pt x="255" y="255"/>
                  </a:lnTo>
                  <a:lnTo>
                    <a:pt x="254" y="256"/>
                  </a:lnTo>
                  <a:lnTo>
                    <a:pt x="254" y="257"/>
                  </a:lnTo>
                  <a:lnTo>
                    <a:pt x="254" y="257"/>
                  </a:lnTo>
                  <a:lnTo>
                    <a:pt x="255" y="257"/>
                  </a:lnTo>
                  <a:lnTo>
                    <a:pt x="255" y="258"/>
                  </a:lnTo>
                  <a:lnTo>
                    <a:pt x="255" y="259"/>
                  </a:lnTo>
                  <a:lnTo>
                    <a:pt x="257" y="261"/>
                  </a:lnTo>
                  <a:lnTo>
                    <a:pt x="257" y="261"/>
                  </a:lnTo>
                  <a:lnTo>
                    <a:pt x="258" y="262"/>
                  </a:lnTo>
                  <a:lnTo>
                    <a:pt x="259" y="265"/>
                  </a:lnTo>
                  <a:lnTo>
                    <a:pt x="259" y="265"/>
                  </a:lnTo>
                  <a:lnTo>
                    <a:pt x="260" y="267"/>
                  </a:lnTo>
                  <a:lnTo>
                    <a:pt x="261" y="268"/>
                  </a:lnTo>
                  <a:lnTo>
                    <a:pt x="262" y="269"/>
                  </a:lnTo>
                  <a:lnTo>
                    <a:pt x="263" y="270"/>
                  </a:lnTo>
                  <a:lnTo>
                    <a:pt x="265" y="272"/>
                  </a:lnTo>
                  <a:lnTo>
                    <a:pt x="268" y="274"/>
                  </a:lnTo>
                  <a:lnTo>
                    <a:pt x="268" y="275"/>
                  </a:lnTo>
                  <a:lnTo>
                    <a:pt x="269" y="276"/>
                  </a:lnTo>
                  <a:lnTo>
                    <a:pt x="269" y="276"/>
                  </a:lnTo>
                  <a:lnTo>
                    <a:pt x="269" y="277"/>
                  </a:lnTo>
                  <a:lnTo>
                    <a:pt x="269" y="278"/>
                  </a:lnTo>
                  <a:lnTo>
                    <a:pt x="269" y="278"/>
                  </a:lnTo>
                  <a:lnTo>
                    <a:pt x="269" y="279"/>
                  </a:lnTo>
                  <a:lnTo>
                    <a:pt x="269" y="280"/>
                  </a:lnTo>
                  <a:lnTo>
                    <a:pt x="268" y="281"/>
                  </a:lnTo>
                  <a:lnTo>
                    <a:pt x="268" y="282"/>
                  </a:lnTo>
                  <a:lnTo>
                    <a:pt x="268" y="282"/>
                  </a:lnTo>
                  <a:lnTo>
                    <a:pt x="268" y="283"/>
                  </a:lnTo>
                  <a:lnTo>
                    <a:pt x="268" y="284"/>
                  </a:lnTo>
                  <a:lnTo>
                    <a:pt x="268" y="284"/>
                  </a:lnTo>
                  <a:lnTo>
                    <a:pt x="268" y="285"/>
                  </a:lnTo>
                  <a:lnTo>
                    <a:pt x="269" y="285"/>
                  </a:lnTo>
                  <a:lnTo>
                    <a:pt x="269" y="286"/>
                  </a:lnTo>
                  <a:lnTo>
                    <a:pt x="270" y="286"/>
                  </a:lnTo>
                  <a:lnTo>
                    <a:pt x="271" y="287"/>
                  </a:lnTo>
                  <a:lnTo>
                    <a:pt x="271" y="287"/>
                  </a:lnTo>
                  <a:lnTo>
                    <a:pt x="272" y="288"/>
                  </a:lnTo>
                  <a:lnTo>
                    <a:pt x="273" y="288"/>
                  </a:lnTo>
                  <a:lnTo>
                    <a:pt x="275" y="289"/>
                  </a:lnTo>
                  <a:lnTo>
                    <a:pt x="276" y="289"/>
                  </a:lnTo>
                  <a:lnTo>
                    <a:pt x="276" y="290"/>
                  </a:lnTo>
                  <a:lnTo>
                    <a:pt x="277" y="290"/>
                  </a:lnTo>
                  <a:lnTo>
                    <a:pt x="277" y="291"/>
                  </a:lnTo>
                  <a:lnTo>
                    <a:pt x="277" y="291"/>
                  </a:lnTo>
                  <a:lnTo>
                    <a:pt x="277" y="292"/>
                  </a:lnTo>
                  <a:lnTo>
                    <a:pt x="277" y="292"/>
                  </a:lnTo>
                  <a:lnTo>
                    <a:pt x="277" y="293"/>
                  </a:lnTo>
                  <a:lnTo>
                    <a:pt x="277" y="294"/>
                  </a:lnTo>
                  <a:lnTo>
                    <a:pt x="277" y="296"/>
                  </a:lnTo>
                  <a:lnTo>
                    <a:pt x="277" y="296"/>
                  </a:lnTo>
                  <a:lnTo>
                    <a:pt x="277" y="297"/>
                  </a:lnTo>
                  <a:lnTo>
                    <a:pt x="277" y="297"/>
                  </a:lnTo>
                  <a:lnTo>
                    <a:pt x="278" y="298"/>
                  </a:lnTo>
                  <a:lnTo>
                    <a:pt x="278" y="298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8" y="300"/>
                  </a:lnTo>
                  <a:lnTo>
                    <a:pt x="277" y="302"/>
                  </a:lnTo>
                  <a:lnTo>
                    <a:pt x="277" y="302"/>
                  </a:lnTo>
                  <a:lnTo>
                    <a:pt x="277" y="303"/>
                  </a:lnTo>
                  <a:lnTo>
                    <a:pt x="277" y="304"/>
                  </a:lnTo>
                  <a:lnTo>
                    <a:pt x="277" y="304"/>
                  </a:lnTo>
                  <a:lnTo>
                    <a:pt x="277" y="305"/>
                  </a:lnTo>
                  <a:lnTo>
                    <a:pt x="278" y="305"/>
                  </a:lnTo>
                  <a:lnTo>
                    <a:pt x="278" y="306"/>
                  </a:lnTo>
                  <a:lnTo>
                    <a:pt x="279" y="306"/>
                  </a:lnTo>
                  <a:lnTo>
                    <a:pt x="279" y="307"/>
                  </a:lnTo>
                  <a:lnTo>
                    <a:pt x="279" y="307"/>
                  </a:lnTo>
                  <a:lnTo>
                    <a:pt x="280" y="308"/>
                  </a:lnTo>
                  <a:lnTo>
                    <a:pt x="281" y="308"/>
                  </a:lnTo>
                  <a:lnTo>
                    <a:pt x="282" y="308"/>
                  </a:lnTo>
                  <a:lnTo>
                    <a:pt x="282" y="308"/>
                  </a:lnTo>
                  <a:lnTo>
                    <a:pt x="283" y="309"/>
                  </a:lnTo>
                  <a:lnTo>
                    <a:pt x="284" y="309"/>
                  </a:lnTo>
                  <a:lnTo>
                    <a:pt x="288" y="309"/>
                  </a:lnTo>
                  <a:lnTo>
                    <a:pt x="289" y="309"/>
                  </a:lnTo>
                  <a:lnTo>
                    <a:pt x="292" y="309"/>
                  </a:lnTo>
                  <a:lnTo>
                    <a:pt x="292" y="309"/>
                  </a:lnTo>
                  <a:lnTo>
                    <a:pt x="293" y="309"/>
                  </a:lnTo>
                  <a:lnTo>
                    <a:pt x="293" y="309"/>
                  </a:lnTo>
                  <a:lnTo>
                    <a:pt x="294" y="309"/>
                  </a:lnTo>
                  <a:lnTo>
                    <a:pt x="294" y="308"/>
                  </a:lnTo>
                  <a:lnTo>
                    <a:pt x="294" y="308"/>
                  </a:lnTo>
                  <a:lnTo>
                    <a:pt x="295" y="307"/>
                  </a:lnTo>
                  <a:lnTo>
                    <a:pt x="296" y="305"/>
                  </a:lnTo>
                  <a:lnTo>
                    <a:pt x="297" y="304"/>
                  </a:lnTo>
                  <a:lnTo>
                    <a:pt x="297" y="303"/>
                  </a:lnTo>
                  <a:lnTo>
                    <a:pt x="297" y="303"/>
                  </a:lnTo>
                  <a:lnTo>
                    <a:pt x="298" y="302"/>
                  </a:lnTo>
                  <a:lnTo>
                    <a:pt x="298" y="302"/>
                  </a:lnTo>
                  <a:lnTo>
                    <a:pt x="299" y="302"/>
                  </a:lnTo>
                  <a:lnTo>
                    <a:pt x="300" y="301"/>
                  </a:lnTo>
                  <a:lnTo>
                    <a:pt x="303" y="301"/>
                  </a:lnTo>
                  <a:lnTo>
                    <a:pt x="304" y="300"/>
                  </a:lnTo>
                  <a:lnTo>
                    <a:pt x="306" y="300"/>
                  </a:lnTo>
                  <a:lnTo>
                    <a:pt x="307" y="299"/>
                  </a:lnTo>
                  <a:lnTo>
                    <a:pt x="310" y="298"/>
                  </a:lnTo>
                  <a:lnTo>
                    <a:pt x="312" y="298"/>
                  </a:lnTo>
                  <a:lnTo>
                    <a:pt x="313" y="297"/>
                  </a:lnTo>
                  <a:lnTo>
                    <a:pt x="314" y="297"/>
                  </a:lnTo>
                  <a:lnTo>
                    <a:pt x="315" y="296"/>
                  </a:lnTo>
                  <a:lnTo>
                    <a:pt x="316" y="296"/>
                  </a:lnTo>
                  <a:lnTo>
                    <a:pt x="321" y="292"/>
                  </a:lnTo>
                  <a:lnTo>
                    <a:pt x="323" y="290"/>
                  </a:lnTo>
                  <a:lnTo>
                    <a:pt x="324" y="289"/>
                  </a:lnTo>
                  <a:lnTo>
                    <a:pt x="325" y="289"/>
                  </a:lnTo>
                  <a:lnTo>
                    <a:pt x="326" y="289"/>
                  </a:lnTo>
                  <a:lnTo>
                    <a:pt x="327" y="288"/>
                  </a:lnTo>
                  <a:lnTo>
                    <a:pt x="329" y="287"/>
                  </a:lnTo>
                  <a:lnTo>
                    <a:pt x="330" y="287"/>
                  </a:lnTo>
                  <a:lnTo>
                    <a:pt x="331" y="286"/>
                  </a:lnTo>
                  <a:lnTo>
                    <a:pt x="332" y="286"/>
                  </a:lnTo>
                  <a:lnTo>
                    <a:pt x="333" y="285"/>
                  </a:lnTo>
                  <a:lnTo>
                    <a:pt x="334" y="285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6" y="282"/>
                  </a:lnTo>
                  <a:lnTo>
                    <a:pt x="336" y="282"/>
                  </a:lnTo>
                  <a:lnTo>
                    <a:pt x="337" y="282"/>
                  </a:lnTo>
                  <a:lnTo>
                    <a:pt x="338" y="281"/>
                  </a:lnTo>
                  <a:lnTo>
                    <a:pt x="338" y="281"/>
                  </a:lnTo>
                  <a:lnTo>
                    <a:pt x="339" y="281"/>
                  </a:lnTo>
                  <a:lnTo>
                    <a:pt x="342" y="281"/>
                  </a:lnTo>
                  <a:lnTo>
                    <a:pt x="343" y="280"/>
                  </a:lnTo>
                  <a:lnTo>
                    <a:pt x="345" y="280"/>
                  </a:lnTo>
                  <a:lnTo>
                    <a:pt x="347" y="280"/>
                  </a:lnTo>
                  <a:lnTo>
                    <a:pt x="349" y="280"/>
                  </a:lnTo>
                  <a:lnTo>
                    <a:pt x="350" y="280"/>
                  </a:lnTo>
                  <a:lnTo>
                    <a:pt x="350" y="280"/>
                  </a:lnTo>
                  <a:lnTo>
                    <a:pt x="351" y="280"/>
                  </a:lnTo>
                  <a:lnTo>
                    <a:pt x="352" y="281"/>
                  </a:lnTo>
                  <a:lnTo>
                    <a:pt x="354" y="281"/>
                  </a:lnTo>
                  <a:lnTo>
                    <a:pt x="355" y="282"/>
                  </a:lnTo>
                  <a:lnTo>
                    <a:pt x="356" y="283"/>
                  </a:lnTo>
                  <a:lnTo>
                    <a:pt x="358" y="284"/>
                  </a:lnTo>
                  <a:lnTo>
                    <a:pt x="360" y="285"/>
                  </a:lnTo>
                  <a:lnTo>
                    <a:pt x="360" y="285"/>
                  </a:lnTo>
                  <a:lnTo>
                    <a:pt x="361" y="285"/>
                  </a:lnTo>
                  <a:lnTo>
                    <a:pt x="362" y="286"/>
                  </a:lnTo>
                  <a:lnTo>
                    <a:pt x="363" y="286"/>
                  </a:lnTo>
                  <a:lnTo>
                    <a:pt x="365" y="286"/>
                  </a:lnTo>
                  <a:lnTo>
                    <a:pt x="366" y="286"/>
                  </a:lnTo>
                  <a:lnTo>
                    <a:pt x="366" y="286"/>
                  </a:lnTo>
                  <a:lnTo>
                    <a:pt x="367" y="286"/>
                  </a:lnTo>
                  <a:lnTo>
                    <a:pt x="368" y="286"/>
                  </a:lnTo>
                  <a:lnTo>
                    <a:pt x="368" y="285"/>
                  </a:lnTo>
                  <a:lnTo>
                    <a:pt x="369" y="285"/>
                  </a:lnTo>
                  <a:lnTo>
                    <a:pt x="370" y="284"/>
                  </a:lnTo>
                  <a:lnTo>
                    <a:pt x="372" y="282"/>
                  </a:lnTo>
                  <a:lnTo>
                    <a:pt x="373" y="282"/>
                  </a:lnTo>
                  <a:lnTo>
                    <a:pt x="374" y="281"/>
                  </a:lnTo>
                  <a:lnTo>
                    <a:pt x="374" y="280"/>
                  </a:lnTo>
                  <a:lnTo>
                    <a:pt x="375" y="279"/>
                  </a:lnTo>
                  <a:lnTo>
                    <a:pt x="375" y="278"/>
                  </a:lnTo>
                  <a:lnTo>
                    <a:pt x="375" y="277"/>
                  </a:lnTo>
                  <a:lnTo>
                    <a:pt x="375" y="276"/>
                  </a:lnTo>
                  <a:lnTo>
                    <a:pt x="375" y="275"/>
                  </a:lnTo>
                  <a:lnTo>
                    <a:pt x="374" y="271"/>
                  </a:lnTo>
                  <a:lnTo>
                    <a:pt x="374" y="269"/>
                  </a:lnTo>
                  <a:lnTo>
                    <a:pt x="374" y="268"/>
                  </a:lnTo>
                  <a:lnTo>
                    <a:pt x="374" y="267"/>
                  </a:lnTo>
                  <a:lnTo>
                    <a:pt x="373" y="267"/>
                  </a:lnTo>
                  <a:lnTo>
                    <a:pt x="373" y="266"/>
                  </a:lnTo>
                  <a:lnTo>
                    <a:pt x="373" y="266"/>
                  </a:lnTo>
                  <a:lnTo>
                    <a:pt x="372" y="265"/>
                  </a:lnTo>
                  <a:lnTo>
                    <a:pt x="371" y="264"/>
                  </a:lnTo>
                  <a:lnTo>
                    <a:pt x="371" y="264"/>
                  </a:lnTo>
                  <a:lnTo>
                    <a:pt x="371" y="263"/>
                  </a:lnTo>
                  <a:lnTo>
                    <a:pt x="370" y="263"/>
                  </a:lnTo>
                  <a:lnTo>
                    <a:pt x="370" y="262"/>
                  </a:lnTo>
                  <a:lnTo>
                    <a:pt x="370" y="261"/>
                  </a:lnTo>
                  <a:lnTo>
                    <a:pt x="371" y="261"/>
                  </a:lnTo>
                  <a:lnTo>
                    <a:pt x="371" y="260"/>
                  </a:lnTo>
                  <a:lnTo>
                    <a:pt x="371" y="260"/>
                  </a:lnTo>
                  <a:lnTo>
                    <a:pt x="371" y="259"/>
                  </a:lnTo>
                  <a:lnTo>
                    <a:pt x="372" y="259"/>
                  </a:lnTo>
                  <a:lnTo>
                    <a:pt x="373" y="258"/>
                  </a:lnTo>
                  <a:lnTo>
                    <a:pt x="374" y="257"/>
                  </a:lnTo>
                  <a:lnTo>
                    <a:pt x="374" y="257"/>
                  </a:lnTo>
                  <a:lnTo>
                    <a:pt x="379" y="254"/>
                  </a:lnTo>
                  <a:lnTo>
                    <a:pt x="382" y="253"/>
                  </a:lnTo>
                  <a:lnTo>
                    <a:pt x="382" y="252"/>
                  </a:lnTo>
                  <a:lnTo>
                    <a:pt x="383" y="252"/>
                  </a:lnTo>
                  <a:lnTo>
                    <a:pt x="384" y="251"/>
                  </a:lnTo>
                  <a:lnTo>
                    <a:pt x="384" y="251"/>
                  </a:lnTo>
                  <a:lnTo>
                    <a:pt x="385" y="250"/>
                  </a:lnTo>
                  <a:lnTo>
                    <a:pt x="385" y="249"/>
                  </a:lnTo>
                  <a:lnTo>
                    <a:pt x="386" y="248"/>
                  </a:lnTo>
                  <a:lnTo>
                    <a:pt x="386" y="247"/>
                  </a:lnTo>
                  <a:lnTo>
                    <a:pt x="386" y="246"/>
                  </a:lnTo>
                  <a:lnTo>
                    <a:pt x="386" y="246"/>
                  </a:lnTo>
                  <a:lnTo>
                    <a:pt x="386" y="245"/>
                  </a:lnTo>
                  <a:lnTo>
                    <a:pt x="386" y="245"/>
                  </a:lnTo>
                  <a:lnTo>
                    <a:pt x="385" y="244"/>
                  </a:lnTo>
                  <a:lnTo>
                    <a:pt x="385" y="243"/>
                  </a:lnTo>
                  <a:lnTo>
                    <a:pt x="384" y="242"/>
                  </a:lnTo>
                  <a:lnTo>
                    <a:pt x="383" y="241"/>
                  </a:lnTo>
                  <a:lnTo>
                    <a:pt x="383" y="240"/>
                  </a:lnTo>
                  <a:lnTo>
                    <a:pt x="382" y="240"/>
                  </a:lnTo>
                  <a:lnTo>
                    <a:pt x="381" y="239"/>
                  </a:lnTo>
                  <a:lnTo>
                    <a:pt x="378" y="237"/>
                  </a:lnTo>
                  <a:lnTo>
                    <a:pt x="377" y="236"/>
                  </a:lnTo>
                  <a:lnTo>
                    <a:pt x="376" y="235"/>
                  </a:lnTo>
                  <a:lnTo>
                    <a:pt x="376" y="235"/>
                  </a:lnTo>
                  <a:lnTo>
                    <a:pt x="375" y="234"/>
                  </a:lnTo>
                  <a:lnTo>
                    <a:pt x="374" y="232"/>
                  </a:lnTo>
                  <a:lnTo>
                    <a:pt x="373" y="231"/>
                  </a:lnTo>
                  <a:lnTo>
                    <a:pt x="372" y="231"/>
                  </a:lnTo>
                  <a:lnTo>
                    <a:pt x="372" y="230"/>
                  </a:lnTo>
                  <a:lnTo>
                    <a:pt x="371" y="230"/>
                  </a:lnTo>
                  <a:lnTo>
                    <a:pt x="370" y="229"/>
                  </a:lnTo>
                  <a:lnTo>
                    <a:pt x="366" y="227"/>
                  </a:lnTo>
                  <a:lnTo>
                    <a:pt x="365" y="226"/>
                  </a:lnTo>
                  <a:lnTo>
                    <a:pt x="362" y="226"/>
                  </a:lnTo>
                  <a:lnTo>
                    <a:pt x="360" y="225"/>
                  </a:lnTo>
                  <a:lnTo>
                    <a:pt x="360" y="225"/>
                  </a:lnTo>
                  <a:lnTo>
                    <a:pt x="359" y="224"/>
                  </a:lnTo>
                  <a:lnTo>
                    <a:pt x="358" y="224"/>
                  </a:lnTo>
                  <a:lnTo>
                    <a:pt x="357" y="223"/>
                  </a:lnTo>
                  <a:lnTo>
                    <a:pt x="357" y="222"/>
                  </a:lnTo>
                  <a:lnTo>
                    <a:pt x="356" y="222"/>
                  </a:lnTo>
                  <a:lnTo>
                    <a:pt x="355" y="221"/>
                  </a:lnTo>
                  <a:lnTo>
                    <a:pt x="355" y="220"/>
                  </a:lnTo>
                  <a:lnTo>
                    <a:pt x="355" y="219"/>
                  </a:lnTo>
                  <a:lnTo>
                    <a:pt x="354" y="217"/>
                  </a:lnTo>
                  <a:lnTo>
                    <a:pt x="353" y="216"/>
                  </a:lnTo>
                  <a:lnTo>
                    <a:pt x="353" y="216"/>
                  </a:lnTo>
                  <a:lnTo>
                    <a:pt x="353" y="216"/>
                  </a:lnTo>
                  <a:lnTo>
                    <a:pt x="352" y="215"/>
                  </a:lnTo>
                  <a:lnTo>
                    <a:pt x="351" y="215"/>
                  </a:lnTo>
                  <a:lnTo>
                    <a:pt x="349" y="215"/>
                  </a:lnTo>
                  <a:lnTo>
                    <a:pt x="348" y="214"/>
                  </a:lnTo>
                  <a:lnTo>
                    <a:pt x="347" y="214"/>
                  </a:lnTo>
                  <a:lnTo>
                    <a:pt x="346" y="213"/>
                  </a:lnTo>
                  <a:lnTo>
                    <a:pt x="343" y="211"/>
                  </a:lnTo>
                  <a:lnTo>
                    <a:pt x="342" y="210"/>
                  </a:lnTo>
                  <a:lnTo>
                    <a:pt x="339" y="208"/>
                  </a:lnTo>
                  <a:lnTo>
                    <a:pt x="338" y="207"/>
                  </a:lnTo>
                  <a:lnTo>
                    <a:pt x="338" y="207"/>
                  </a:lnTo>
                  <a:lnTo>
                    <a:pt x="337" y="207"/>
                  </a:lnTo>
                  <a:lnTo>
                    <a:pt x="337" y="206"/>
                  </a:lnTo>
                  <a:lnTo>
                    <a:pt x="337" y="205"/>
                  </a:lnTo>
                  <a:lnTo>
                    <a:pt x="336" y="205"/>
                  </a:lnTo>
                  <a:lnTo>
                    <a:pt x="336" y="204"/>
                  </a:lnTo>
                  <a:lnTo>
                    <a:pt x="336" y="204"/>
                  </a:lnTo>
                  <a:lnTo>
                    <a:pt x="336" y="204"/>
                  </a:lnTo>
                  <a:lnTo>
                    <a:pt x="337" y="203"/>
                  </a:lnTo>
                  <a:lnTo>
                    <a:pt x="336" y="203"/>
                  </a:lnTo>
                  <a:lnTo>
                    <a:pt x="336" y="203"/>
                  </a:lnTo>
                  <a:lnTo>
                    <a:pt x="335" y="203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8">
              <a:extLst>
                <a:ext uri="{FF2B5EF4-FFF2-40B4-BE49-F238E27FC236}">
                  <a16:creationId xmlns:a16="http://schemas.microsoft.com/office/drawing/2014/main" id="{BC7F1EF3-C133-39CD-BCDD-0F6D2BF4B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1" y="3069"/>
              <a:ext cx="438" cy="512"/>
            </a:xfrm>
            <a:custGeom>
              <a:avLst/>
              <a:gdLst>
                <a:gd name="T0" fmla="*/ 269 w 438"/>
                <a:gd name="T1" fmla="*/ 10 h 512"/>
                <a:gd name="T2" fmla="*/ 282 w 438"/>
                <a:gd name="T3" fmla="*/ 9 h 512"/>
                <a:gd name="T4" fmla="*/ 306 w 438"/>
                <a:gd name="T5" fmla="*/ 29 h 512"/>
                <a:gd name="T6" fmla="*/ 323 w 438"/>
                <a:gd name="T7" fmla="*/ 45 h 512"/>
                <a:gd name="T8" fmla="*/ 321 w 438"/>
                <a:gd name="T9" fmla="*/ 65 h 512"/>
                <a:gd name="T10" fmla="*/ 327 w 438"/>
                <a:gd name="T11" fmla="*/ 89 h 512"/>
                <a:gd name="T12" fmla="*/ 317 w 438"/>
                <a:gd name="T13" fmla="*/ 108 h 512"/>
                <a:gd name="T14" fmla="*/ 318 w 438"/>
                <a:gd name="T15" fmla="*/ 121 h 512"/>
                <a:gd name="T16" fmla="*/ 332 w 438"/>
                <a:gd name="T17" fmla="*/ 128 h 512"/>
                <a:gd name="T18" fmla="*/ 343 w 438"/>
                <a:gd name="T19" fmla="*/ 144 h 512"/>
                <a:gd name="T20" fmla="*/ 352 w 438"/>
                <a:gd name="T21" fmla="*/ 152 h 512"/>
                <a:gd name="T22" fmla="*/ 383 w 438"/>
                <a:gd name="T23" fmla="*/ 149 h 512"/>
                <a:gd name="T24" fmla="*/ 392 w 438"/>
                <a:gd name="T25" fmla="*/ 162 h 512"/>
                <a:gd name="T26" fmla="*/ 397 w 438"/>
                <a:gd name="T27" fmla="*/ 188 h 512"/>
                <a:gd name="T28" fmla="*/ 390 w 438"/>
                <a:gd name="T29" fmla="*/ 207 h 512"/>
                <a:gd name="T30" fmla="*/ 393 w 438"/>
                <a:gd name="T31" fmla="*/ 220 h 512"/>
                <a:gd name="T32" fmla="*/ 411 w 438"/>
                <a:gd name="T33" fmla="*/ 229 h 512"/>
                <a:gd name="T34" fmla="*/ 403 w 438"/>
                <a:gd name="T35" fmla="*/ 238 h 512"/>
                <a:gd name="T36" fmla="*/ 403 w 438"/>
                <a:gd name="T37" fmla="*/ 247 h 512"/>
                <a:gd name="T38" fmla="*/ 396 w 438"/>
                <a:gd name="T39" fmla="*/ 260 h 512"/>
                <a:gd name="T40" fmla="*/ 392 w 438"/>
                <a:gd name="T41" fmla="*/ 267 h 512"/>
                <a:gd name="T42" fmla="*/ 403 w 438"/>
                <a:gd name="T43" fmla="*/ 277 h 512"/>
                <a:gd name="T44" fmla="*/ 417 w 438"/>
                <a:gd name="T45" fmla="*/ 284 h 512"/>
                <a:gd name="T46" fmla="*/ 423 w 438"/>
                <a:gd name="T47" fmla="*/ 294 h 512"/>
                <a:gd name="T48" fmla="*/ 438 w 438"/>
                <a:gd name="T49" fmla="*/ 309 h 512"/>
                <a:gd name="T50" fmla="*/ 434 w 438"/>
                <a:gd name="T51" fmla="*/ 331 h 512"/>
                <a:gd name="T52" fmla="*/ 428 w 438"/>
                <a:gd name="T53" fmla="*/ 351 h 512"/>
                <a:gd name="T54" fmla="*/ 411 w 438"/>
                <a:gd name="T55" fmla="*/ 360 h 512"/>
                <a:gd name="T56" fmla="*/ 409 w 438"/>
                <a:gd name="T57" fmla="*/ 375 h 512"/>
                <a:gd name="T58" fmla="*/ 399 w 438"/>
                <a:gd name="T59" fmla="*/ 380 h 512"/>
                <a:gd name="T60" fmla="*/ 381 w 438"/>
                <a:gd name="T61" fmla="*/ 391 h 512"/>
                <a:gd name="T62" fmla="*/ 358 w 438"/>
                <a:gd name="T63" fmla="*/ 398 h 512"/>
                <a:gd name="T64" fmla="*/ 348 w 438"/>
                <a:gd name="T65" fmla="*/ 402 h 512"/>
                <a:gd name="T66" fmla="*/ 334 w 438"/>
                <a:gd name="T67" fmla="*/ 428 h 512"/>
                <a:gd name="T68" fmla="*/ 349 w 438"/>
                <a:gd name="T69" fmla="*/ 443 h 512"/>
                <a:gd name="T70" fmla="*/ 353 w 438"/>
                <a:gd name="T71" fmla="*/ 458 h 512"/>
                <a:gd name="T72" fmla="*/ 337 w 438"/>
                <a:gd name="T73" fmla="*/ 464 h 512"/>
                <a:gd name="T74" fmla="*/ 329 w 438"/>
                <a:gd name="T75" fmla="*/ 473 h 512"/>
                <a:gd name="T76" fmla="*/ 312 w 438"/>
                <a:gd name="T77" fmla="*/ 468 h 512"/>
                <a:gd name="T78" fmla="*/ 281 w 438"/>
                <a:gd name="T79" fmla="*/ 469 h 512"/>
                <a:gd name="T80" fmla="*/ 275 w 438"/>
                <a:gd name="T81" fmla="*/ 477 h 512"/>
                <a:gd name="T82" fmla="*/ 263 w 438"/>
                <a:gd name="T83" fmla="*/ 484 h 512"/>
                <a:gd name="T84" fmla="*/ 255 w 438"/>
                <a:gd name="T85" fmla="*/ 495 h 512"/>
                <a:gd name="T86" fmla="*/ 242 w 438"/>
                <a:gd name="T87" fmla="*/ 478 h 512"/>
                <a:gd name="T88" fmla="*/ 232 w 438"/>
                <a:gd name="T89" fmla="*/ 478 h 512"/>
                <a:gd name="T90" fmla="*/ 210 w 438"/>
                <a:gd name="T91" fmla="*/ 464 h 512"/>
                <a:gd name="T92" fmla="*/ 199 w 438"/>
                <a:gd name="T93" fmla="*/ 477 h 512"/>
                <a:gd name="T94" fmla="*/ 198 w 438"/>
                <a:gd name="T95" fmla="*/ 495 h 512"/>
                <a:gd name="T96" fmla="*/ 175 w 438"/>
                <a:gd name="T97" fmla="*/ 511 h 512"/>
                <a:gd name="T98" fmla="*/ 160 w 438"/>
                <a:gd name="T99" fmla="*/ 507 h 512"/>
                <a:gd name="T100" fmla="*/ 155 w 438"/>
                <a:gd name="T101" fmla="*/ 499 h 512"/>
                <a:gd name="T102" fmla="*/ 132 w 438"/>
                <a:gd name="T103" fmla="*/ 498 h 512"/>
                <a:gd name="T104" fmla="*/ 117 w 438"/>
                <a:gd name="T105" fmla="*/ 499 h 512"/>
                <a:gd name="T106" fmla="*/ 102 w 438"/>
                <a:gd name="T107" fmla="*/ 494 h 512"/>
                <a:gd name="T108" fmla="*/ 90 w 438"/>
                <a:gd name="T109" fmla="*/ 502 h 512"/>
                <a:gd name="T110" fmla="*/ 78 w 438"/>
                <a:gd name="T111" fmla="*/ 498 h 512"/>
                <a:gd name="T112" fmla="*/ 63 w 438"/>
                <a:gd name="T113" fmla="*/ 487 h 512"/>
                <a:gd name="T114" fmla="*/ 45 w 438"/>
                <a:gd name="T115" fmla="*/ 495 h 512"/>
                <a:gd name="T116" fmla="*/ 18 w 438"/>
                <a:gd name="T117" fmla="*/ 500 h 512"/>
                <a:gd name="T118" fmla="*/ 1 w 438"/>
                <a:gd name="T119" fmla="*/ 499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8" h="512">
                  <a:moveTo>
                    <a:pt x="256" y="0"/>
                  </a:moveTo>
                  <a:lnTo>
                    <a:pt x="256" y="0"/>
                  </a:lnTo>
                  <a:lnTo>
                    <a:pt x="257" y="0"/>
                  </a:lnTo>
                  <a:lnTo>
                    <a:pt x="257" y="1"/>
                  </a:lnTo>
                  <a:lnTo>
                    <a:pt x="258" y="1"/>
                  </a:lnTo>
                  <a:lnTo>
                    <a:pt x="260" y="3"/>
                  </a:lnTo>
                  <a:lnTo>
                    <a:pt x="261" y="4"/>
                  </a:lnTo>
                  <a:lnTo>
                    <a:pt x="262" y="5"/>
                  </a:lnTo>
                  <a:lnTo>
                    <a:pt x="264" y="6"/>
                  </a:lnTo>
                  <a:lnTo>
                    <a:pt x="265" y="7"/>
                  </a:lnTo>
                  <a:lnTo>
                    <a:pt x="265" y="7"/>
                  </a:lnTo>
                  <a:lnTo>
                    <a:pt x="266" y="8"/>
                  </a:lnTo>
                  <a:lnTo>
                    <a:pt x="266" y="9"/>
                  </a:lnTo>
                  <a:lnTo>
                    <a:pt x="267" y="9"/>
                  </a:lnTo>
                  <a:lnTo>
                    <a:pt x="268" y="9"/>
                  </a:lnTo>
                  <a:lnTo>
                    <a:pt x="268" y="10"/>
                  </a:lnTo>
                  <a:lnTo>
                    <a:pt x="269" y="10"/>
                  </a:lnTo>
                  <a:lnTo>
                    <a:pt x="270" y="10"/>
                  </a:lnTo>
                  <a:lnTo>
                    <a:pt x="270" y="10"/>
                  </a:lnTo>
                  <a:lnTo>
                    <a:pt x="270" y="9"/>
                  </a:lnTo>
                  <a:lnTo>
                    <a:pt x="271" y="9"/>
                  </a:lnTo>
                  <a:lnTo>
                    <a:pt x="272" y="8"/>
                  </a:lnTo>
                  <a:lnTo>
                    <a:pt x="273" y="8"/>
                  </a:lnTo>
                  <a:lnTo>
                    <a:pt x="273" y="8"/>
                  </a:lnTo>
                  <a:lnTo>
                    <a:pt x="274" y="7"/>
                  </a:lnTo>
                  <a:lnTo>
                    <a:pt x="275" y="7"/>
                  </a:lnTo>
                  <a:lnTo>
                    <a:pt x="276" y="7"/>
                  </a:lnTo>
                  <a:lnTo>
                    <a:pt x="276" y="7"/>
                  </a:lnTo>
                  <a:lnTo>
                    <a:pt x="279" y="8"/>
                  </a:lnTo>
                  <a:lnTo>
                    <a:pt x="280" y="8"/>
                  </a:lnTo>
                  <a:lnTo>
                    <a:pt x="281" y="8"/>
                  </a:lnTo>
                  <a:lnTo>
                    <a:pt x="281" y="8"/>
                  </a:lnTo>
                  <a:lnTo>
                    <a:pt x="281" y="9"/>
                  </a:lnTo>
                  <a:lnTo>
                    <a:pt x="282" y="9"/>
                  </a:lnTo>
                  <a:lnTo>
                    <a:pt x="284" y="10"/>
                  </a:lnTo>
                  <a:lnTo>
                    <a:pt x="286" y="14"/>
                  </a:lnTo>
                  <a:lnTo>
                    <a:pt x="290" y="18"/>
                  </a:lnTo>
                  <a:lnTo>
                    <a:pt x="292" y="20"/>
                  </a:lnTo>
                  <a:lnTo>
                    <a:pt x="293" y="21"/>
                  </a:lnTo>
                  <a:lnTo>
                    <a:pt x="293" y="21"/>
                  </a:lnTo>
                  <a:lnTo>
                    <a:pt x="294" y="22"/>
                  </a:lnTo>
                  <a:lnTo>
                    <a:pt x="295" y="22"/>
                  </a:lnTo>
                  <a:lnTo>
                    <a:pt x="296" y="22"/>
                  </a:lnTo>
                  <a:lnTo>
                    <a:pt x="298" y="23"/>
                  </a:lnTo>
                  <a:lnTo>
                    <a:pt x="299" y="24"/>
                  </a:lnTo>
                  <a:lnTo>
                    <a:pt x="300" y="24"/>
                  </a:lnTo>
                  <a:lnTo>
                    <a:pt x="301" y="25"/>
                  </a:lnTo>
                  <a:lnTo>
                    <a:pt x="302" y="26"/>
                  </a:lnTo>
                  <a:lnTo>
                    <a:pt x="304" y="27"/>
                  </a:lnTo>
                  <a:lnTo>
                    <a:pt x="305" y="28"/>
                  </a:lnTo>
                  <a:lnTo>
                    <a:pt x="306" y="29"/>
                  </a:lnTo>
                  <a:lnTo>
                    <a:pt x="306" y="30"/>
                  </a:lnTo>
                  <a:lnTo>
                    <a:pt x="307" y="31"/>
                  </a:lnTo>
                  <a:lnTo>
                    <a:pt x="308" y="32"/>
                  </a:lnTo>
                  <a:lnTo>
                    <a:pt x="310" y="35"/>
                  </a:lnTo>
                  <a:lnTo>
                    <a:pt x="310" y="36"/>
                  </a:lnTo>
                  <a:lnTo>
                    <a:pt x="310" y="37"/>
                  </a:lnTo>
                  <a:lnTo>
                    <a:pt x="311" y="37"/>
                  </a:lnTo>
                  <a:lnTo>
                    <a:pt x="312" y="38"/>
                  </a:lnTo>
                  <a:lnTo>
                    <a:pt x="313" y="38"/>
                  </a:lnTo>
                  <a:lnTo>
                    <a:pt x="313" y="39"/>
                  </a:lnTo>
                  <a:lnTo>
                    <a:pt x="314" y="39"/>
                  </a:lnTo>
                  <a:lnTo>
                    <a:pt x="316" y="40"/>
                  </a:lnTo>
                  <a:lnTo>
                    <a:pt x="317" y="41"/>
                  </a:lnTo>
                  <a:lnTo>
                    <a:pt x="322" y="43"/>
                  </a:lnTo>
                  <a:lnTo>
                    <a:pt x="323" y="43"/>
                  </a:lnTo>
                  <a:lnTo>
                    <a:pt x="324" y="44"/>
                  </a:lnTo>
                  <a:lnTo>
                    <a:pt x="323" y="45"/>
                  </a:lnTo>
                  <a:lnTo>
                    <a:pt x="322" y="46"/>
                  </a:lnTo>
                  <a:lnTo>
                    <a:pt x="320" y="48"/>
                  </a:lnTo>
                  <a:lnTo>
                    <a:pt x="319" y="49"/>
                  </a:lnTo>
                  <a:lnTo>
                    <a:pt x="318" y="50"/>
                  </a:lnTo>
                  <a:lnTo>
                    <a:pt x="317" y="51"/>
                  </a:lnTo>
                  <a:lnTo>
                    <a:pt x="317" y="52"/>
                  </a:lnTo>
                  <a:lnTo>
                    <a:pt x="317" y="52"/>
                  </a:lnTo>
                  <a:lnTo>
                    <a:pt x="317" y="53"/>
                  </a:lnTo>
                  <a:lnTo>
                    <a:pt x="317" y="54"/>
                  </a:lnTo>
                  <a:lnTo>
                    <a:pt x="317" y="54"/>
                  </a:lnTo>
                  <a:lnTo>
                    <a:pt x="317" y="55"/>
                  </a:lnTo>
                  <a:lnTo>
                    <a:pt x="317" y="56"/>
                  </a:lnTo>
                  <a:lnTo>
                    <a:pt x="318" y="58"/>
                  </a:lnTo>
                  <a:lnTo>
                    <a:pt x="319" y="60"/>
                  </a:lnTo>
                  <a:lnTo>
                    <a:pt x="319" y="61"/>
                  </a:lnTo>
                  <a:lnTo>
                    <a:pt x="320" y="63"/>
                  </a:lnTo>
                  <a:lnTo>
                    <a:pt x="321" y="65"/>
                  </a:lnTo>
                  <a:lnTo>
                    <a:pt x="321" y="66"/>
                  </a:lnTo>
                  <a:lnTo>
                    <a:pt x="321" y="66"/>
                  </a:lnTo>
                  <a:lnTo>
                    <a:pt x="321" y="67"/>
                  </a:lnTo>
                  <a:lnTo>
                    <a:pt x="321" y="69"/>
                  </a:lnTo>
                  <a:lnTo>
                    <a:pt x="321" y="74"/>
                  </a:lnTo>
                  <a:lnTo>
                    <a:pt x="321" y="75"/>
                  </a:lnTo>
                  <a:lnTo>
                    <a:pt x="321" y="76"/>
                  </a:lnTo>
                  <a:lnTo>
                    <a:pt x="322" y="77"/>
                  </a:lnTo>
                  <a:lnTo>
                    <a:pt x="322" y="78"/>
                  </a:lnTo>
                  <a:lnTo>
                    <a:pt x="322" y="78"/>
                  </a:lnTo>
                  <a:lnTo>
                    <a:pt x="323" y="80"/>
                  </a:lnTo>
                  <a:lnTo>
                    <a:pt x="324" y="81"/>
                  </a:lnTo>
                  <a:lnTo>
                    <a:pt x="324" y="82"/>
                  </a:lnTo>
                  <a:lnTo>
                    <a:pt x="325" y="83"/>
                  </a:lnTo>
                  <a:lnTo>
                    <a:pt x="325" y="84"/>
                  </a:lnTo>
                  <a:lnTo>
                    <a:pt x="326" y="87"/>
                  </a:lnTo>
                  <a:lnTo>
                    <a:pt x="327" y="89"/>
                  </a:lnTo>
                  <a:lnTo>
                    <a:pt x="327" y="90"/>
                  </a:lnTo>
                  <a:lnTo>
                    <a:pt x="327" y="91"/>
                  </a:lnTo>
                  <a:lnTo>
                    <a:pt x="327" y="93"/>
                  </a:lnTo>
                  <a:lnTo>
                    <a:pt x="326" y="94"/>
                  </a:lnTo>
                  <a:lnTo>
                    <a:pt x="326" y="95"/>
                  </a:lnTo>
                  <a:lnTo>
                    <a:pt x="325" y="96"/>
                  </a:lnTo>
                  <a:lnTo>
                    <a:pt x="325" y="97"/>
                  </a:lnTo>
                  <a:lnTo>
                    <a:pt x="323" y="99"/>
                  </a:lnTo>
                  <a:lnTo>
                    <a:pt x="323" y="100"/>
                  </a:lnTo>
                  <a:lnTo>
                    <a:pt x="322" y="101"/>
                  </a:lnTo>
                  <a:lnTo>
                    <a:pt x="321" y="104"/>
                  </a:lnTo>
                  <a:lnTo>
                    <a:pt x="321" y="105"/>
                  </a:lnTo>
                  <a:lnTo>
                    <a:pt x="321" y="105"/>
                  </a:lnTo>
                  <a:lnTo>
                    <a:pt x="320" y="105"/>
                  </a:lnTo>
                  <a:lnTo>
                    <a:pt x="320" y="106"/>
                  </a:lnTo>
                  <a:lnTo>
                    <a:pt x="319" y="106"/>
                  </a:lnTo>
                  <a:lnTo>
                    <a:pt x="317" y="108"/>
                  </a:lnTo>
                  <a:lnTo>
                    <a:pt x="316" y="108"/>
                  </a:lnTo>
                  <a:lnTo>
                    <a:pt x="316" y="108"/>
                  </a:lnTo>
                  <a:lnTo>
                    <a:pt x="315" y="109"/>
                  </a:lnTo>
                  <a:lnTo>
                    <a:pt x="315" y="110"/>
                  </a:lnTo>
                  <a:lnTo>
                    <a:pt x="315" y="110"/>
                  </a:lnTo>
                  <a:lnTo>
                    <a:pt x="314" y="111"/>
                  </a:lnTo>
                  <a:lnTo>
                    <a:pt x="314" y="111"/>
                  </a:lnTo>
                  <a:lnTo>
                    <a:pt x="314" y="112"/>
                  </a:lnTo>
                  <a:lnTo>
                    <a:pt x="314" y="113"/>
                  </a:lnTo>
                  <a:lnTo>
                    <a:pt x="315" y="114"/>
                  </a:lnTo>
                  <a:lnTo>
                    <a:pt x="315" y="114"/>
                  </a:lnTo>
                  <a:lnTo>
                    <a:pt x="315" y="115"/>
                  </a:lnTo>
                  <a:lnTo>
                    <a:pt x="316" y="117"/>
                  </a:lnTo>
                  <a:lnTo>
                    <a:pt x="317" y="118"/>
                  </a:lnTo>
                  <a:lnTo>
                    <a:pt x="317" y="119"/>
                  </a:lnTo>
                  <a:lnTo>
                    <a:pt x="318" y="120"/>
                  </a:lnTo>
                  <a:lnTo>
                    <a:pt x="318" y="121"/>
                  </a:lnTo>
                  <a:lnTo>
                    <a:pt x="318" y="122"/>
                  </a:lnTo>
                  <a:lnTo>
                    <a:pt x="319" y="123"/>
                  </a:lnTo>
                  <a:lnTo>
                    <a:pt x="319" y="124"/>
                  </a:lnTo>
                  <a:lnTo>
                    <a:pt x="320" y="124"/>
                  </a:lnTo>
                  <a:lnTo>
                    <a:pt x="320" y="125"/>
                  </a:lnTo>
                  <a:lnTo>
                    <a:pt x="321" y="125"/>
                  </a:lnTo>
                  <a:lnTo>
                    <a:pt x="322" y="126"/>
                  </a:lnTo>
                  <a:lnTo>
                    <a:pt x="323" y="126"/>
                  </a:lnTo>
                  <a:lnTo>
                    <a:pt x="323" y="126"/>
                  </a:lnTo>
                  <a:lnTo>
                    <a:pt x="324" y="127"/>
                  </a:lnTo>
                  <a:lnTo>
                    <a:pt x="324" y="127"/>
                  </a:lnTo>
                  <a:lnTo>
                    <a:pt x="325" y="127"/>
                  </a:lnTo>
                  <a:lnTo>
                    <a:pt x="326" y="127"/>
                  </a:lnTo>
                  <a:lnTo>
                    <a:pt x="329" y="127"/>
                  </a:lnTo>
                  <a:lnTo>
                    <a:pt x="330" y="128"/>
                  </a:lnTo>
                  <a:lnTo>
                    <a:pt x="330" y="128"/>
                  </a:lnTo>
                  <a:lnTo>
                    <a:pt x="332" y="128"/>
                  </a:lnTo>
                  <a:lnTo>
                    <a:pt x="333" y="129"/>
                  </a:lnTo>
                  <a:lnTo>
                    <a:pt x="334" y="129"/>
                  </a:lnTo>
                  <a:lnTo>
                    <a:pt x="334" y="130"/>
                  </a:lnTo>
                  <a:lnTo>
                    <a:pt x="335" y="130"/>
                  </a:lnTo>
                  <a:lnTo>
                    <a:pt x="336" y="132"/>
                  </a:lnTo>
                  <a:lnTo>
                    <a:pt x="336" y="132"/>
                  </a:lnTo>
                  <a:lnTo>
                    <a:pt x="337" y="133"/>
                  </a:lnTo>
                  <a:lnTo>
                    <a:pt x="338" y="134"/>
                  </a:lnTo>
                  <a:lnTo>
                    <a:pt x="339" y="135"/>
                  </a:lnTo>
                  <a:lnTo>
                    <a:pt x="341" y="137"/>
                  </a:lnTo>
                  <a:lnTo>
                    <a:pt x="341" y="137"/>
                  </a:lnTo>
                  <a:lnTo>
                    <a:pt x="342" y="138"/>
                  </a:lnTo>
                  <a:lnTo>
                    <a:pt x="342" y="139"/>
                  </a:lnTo>
                  <a:lnTo>
                    <a:pt x="343" y="139"/>
                  </a:lnTo>
                  <a:lnTo>
                    <a:pt x="343" y="140"/>
                  </a:lnTo>
                  <a:lnTo>
                    <a:pt x="343" y="142"/>
                  </a:lnTo>
                  <a:lnTo>
                    <a:pt x="343" y="144"/>
                  </a:lnTo>
                  <a:lnTo>
                    <a:pt x="343" y="144"/>
                  </a:lnTo>
                  <a:lnTo>
                    <a:pt x="343" y="145"/>
                  </a:lnTo>
                  <a:lnTo>
                    <a:pt x="343" y="146"/>
                  </a:lnTo>
                  <a:lnTo>
                    <a:pt x="344" y="147"/>
                  </a:lnTo>
                  <a:lnTo>
                    <a:pt x="344" y="148"/>
                  </a:lnTo>
                  <a:lnTo>
                    <a:pt x="344" y="148"/>
                  </a:lnTo>
                  <a:lnTo>
                    <a:pt x="345" y="149"/>
                  </a:lnTo>
                  <a:lnTo>
                    <a:pt x="345" y="149"/>
                  </a:lnTo>
                  <a:lnTo>
                    <a:pt x="346" y="150"/>
                  </a:lnTo>
                  <a:lnTo>
                    <a:pt x="347" y="150"/>
                  </a:lnTo>
                  <a:lnTo>
                    <a:pt x="347" y="151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50" y="152"/>
                  </a:lnTo>
                  <a:lnTo>
                    <a:pt x="350" y="152"/>
                  </a:lnTo>
                  <a:lnTo>
                    <a:pt x="351" y="152"/>
                  </a:lnTo>
                  <a:lnTo>
                    <a:pt x="352" y="152"/>
                  </a:lnTo>
                  <a:lnTo>
                    <a:pt x="353" y="152"/>
                  </a:lnTo>
                  <a:lnTo>
                    <a:pt x="357" y="151"/>
                  </a:lnTo>
                  <a:lnTo>
                    <a:pt x="358" y="151"/>
                  </a:lnTo>
                  <a:lnTo>
                    <a:pt x="359" y="151"/>
                  </a:lnTo>
                  <a:lnTo>
                    <a:pt x="363" y="152"/>
                  </a:lnTo>
                  <a:lnTo>
                    <a:pt x="366" y="152"/>
                  </a:lnTo>
                  <a:lnTo>
                    <a:pt x="369" y="153"/>
                  </a:lnTo>
                  <a:lnTo>
                    <a:pt x="370" y="153"/>
                  </a:lnTo>
                  <a:lnTo>
                    <a:pt x="371" y="153"/>
                  </a:lnTo>
                  <a:lnTo>
                    <a:pt x="372" y="153"/>
                  </a:lnTo>
                  <a:lnTo>
                    <a:pt x="373" y="152"/>
                  </a:lnTo>
                  <a:lnTo>
                    <a:pt x="377" y="151"/>
                  </a:lnTo>
                  <a:lnTo>
                    <a:pt x="379" y="150"/>
                  </a:lnTo>
                  <a:lnTo>
                    <a:pt x="380" y="150"/>
                  </a:lnTo>
                  <a:lnTo>
                    <a:pt x="382" y="149"/>
                  </a:lnTo>
                  <a:lnTo>
                    <a:pt x="382" y="149"/>
                  </a:lnTo>
                  <a:lnTo>
                    <a:pt x="383" y="149"/>
                  </a:lnTo>
                  <a:lnTo>
                    <a:pt x="384" y="149"/>
                  </a:lnTo>
                  <a:lnTo>
                    <a:pt x="384" y="149"/>
                  </a:lnTo>
                  <a:lnTo>
                    <a:pt x="385" y="149"/>
                  </a:lnTo>
                  <a:lnTo>
                    <a:pt x="386" y="149"/>
                  </a:lnTo>
                  <a:lnTo>
                    <a:pt x="386" y="150"/>
                  </a:lnTo>
                  <a:lnTo>
                    <a:pt x="387" y="151"/>
                  </a:lnTo>
                  <a:lnTo>
                    <a:pt x="389" y="152"/>
                  </a:lnTo>
                  <a:lnTo>
                    <a:pt x="389" y="153"/>
                  </a:lnTo>
                  <a:lnTo>
                    <a:pt x="390" y="153"/>
                  </a:lnTo>
                  <a:lnTo>
                    <a:pt x="391" y="154"/>
                  </a:lnTo>
                  <a:lnTo>
                    <a:pt x="391" y="155"/>
                  </a:lnTo>
                  <a:lnTo>
                    <a:pt x="391" y="155"/>
                  </a:lnTo>
                  <a:lnTo>
                    <a:pt x="392" y="156"/>
                  </a:lnTo>
                  <a:lnTo>
                    <a:pt x="392" y="158"/>
                  </a:lnTo>
                  <a:lnTo>
                    <a:pt x="392" y="158"/>
                  </a:lnTo>
                  <a:lnTo>
                    <a:pt x="392" y="160"/>
                  </a:lnTo>
                  <a:lnTo>
                    <a:pt x="392" y="162"/>
                  </a:lnTo>
                  <a:lnTo>
                    <a:pt x="393" y="165"/>
                  </a:lnTo>
                  <a:lnTo>
                    <a:pt x="393" y="167"/>
                  </a:lnTo>
                  <a:lnTo>
                    <a:pt x="392" y="168"/>
                  </a:lnTo>
                  <a:lnTo>
                    <a:pt x="392" y="171"/>
                  </a:lnTo>
                  <a:lnTo>
                    <a:pt x="392" y="172"/>
                  </a:lnTo>
                  <a:lnTo>
                    <a:pt x="392" y="173"/>
                  </a:lnTo>
                  <a:lnTo>
                    <a:pt x="392" y="174"/>
                  </a:lnTo>
                  <a:lnTo>
                    <a:pt x="392" y="176"/>
                  </a:lnTo>
                  <a:lnTo>
                    <a:pt x="392" y="178"/>
                  </a:lnTo>
                  <a:lnTo>
                    <a:pt x="392" y="179"/>
                  </a:lnTo>
                  <a:lnTo>
                    <a:pt x="392" y="179"/>
                  </a:lnTo>
                  <a:lnTo>
                    <a:pt x="392" y="180"/>
                  </a:lnTo>
                  <a:lnTo>
                    <a:pt x="393" y="182"/>
                  </a:lnTo>
                  <a:lnTo>
                    <a:pt x="394" y="183"/>
                  </a:lnTo>
                  <a:lnTo>
                    <a:pt x="396" y="185"/>
                  </a:lnTo>
                  <a:lnTo>
                    <a:pt x="396" y="186"/>
                  </a:lnTo>
                  <a:lnTo>
                    <a:pt x="397" y="188"/>
                  </a:lnTo>
                  <a:lnTo>
                    <a:pt x="397" y="189"/>
                  </a:lnTo>
                  <a:lnTo>
                    <a:pt x="398" y="191"/>
                  </a:lnTo>
                  <a:lnTo>
                    <a:pt x="398" y="191"/>
                  </a:lnTo>
                  <a:lnTo>
                    <a:pt x="398" y="192"/>
                  </a:lnTo>
                  <a:lnTo>
                    <a:pt x="398" y="192"/>
                  </a:lnTo>
                  <a:lnTo>
                    <a:pt x="398" y="193"/>
                  </a:lnTo>
                  <a:lnTo>
                    <a:pt x="398" y="194"/>
                  </a:lnTo>
                  <a:lnTo>
                    <a:pt x="397" y="195"/>
                  </a:lnTo>
                  <a:lnTo>
                    <a:pt x="397" y="196"/>
                  </a:lnTo>
                  <a:lnTo>
                    <a:pt x="396" y="198"/>
                  </a:lnTo>
                  <a:lnTo>
                    <a:pt x="396" y="199"/>
                  </a:lnTo>
                  <a:lnTo>
                    <a:pt x="395" y="200"/>
                  </a:lnTo>
                  <a:lnTo>
                    <a:pt x="394" y="202"/>
                  </a:lnTo>
                  <a:lnTo>
                    <a:pt x="393" y="203"/>
                  </a:lnTo>
                  <a:lnTo>
                    <a:pt x="392" y="204"/>
                  </a:lnTo>
                  <a:lnTo>
                    <a:pt x="391" y="206"/>
                  </a:lnTo>
                  <a:lnTo>
                    <a:pt x="390" y="207"/>
                  </a:lnTo>
                  <a:lnTo>
                    <a:pt x="389" y="208"/>
                  </a:lnTo>
                  <a:lnTo>
                    <a:pt x="389" y="209"/>
                  </a:lnTo>
                  <a:lnTo>
                    <a:pt x="388" y="210"/>
                  </a:lnTo>
                  <a:lnTo>
                    <a:pt x="388" y="210"/>
                  </a:lnTo>
                  <a:lnTo>
                    <a:pt x="388" y="211"/>
                  </a:lnTo>
                  <a:lnTo>
                    <a:pt x="389" y="212"/>
                  </a:lnTo>
                  <a:lnTo>
                    <a:pt x="389" y="213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8" y="217"/>
                  </a:lnTo>
                  <a:lnTo>
                    <a:pt x="388" y="217"/>
                  </a:lnTo>
                  <a:lnTo>
                    <a:pt x="388" y="217"/>
                  </a:lnTo>
                  <a:lnTo>
                    <a:pt x="388" y="218"/>
                  </a:lnTo>
                  <a:lnTo>
                    <a:pt x="388" y="218"/>
                  </a:lnTo>
                  <a:lnTo>
                    <a:pt x="389" y="218"/>
                  </a:lnTo>
                  <a:lnTo>
                    <a:pt x="390" y="219"/>
                  </a:lnTo>
                  <a:lnTo>
                    <a:pt x="393" y="220"/>
                  </a:lnTo>
                  <a:lnTo>
                    <a:pt x="397" y="221"/>
                  </a:lnTo>
                  <a:lnTo>
                    <a:pt x="398" y="221"/>
                  </a:lnTo>
                  <a:lnTo>
                    <a:pt x="399" y="221"/>
                  </a:lnTo>
                  <a:lnTo>
                    <a:pt x="401" y="222"/>
                  </a:lnTo>
                  <a:lnTo>
                    <a:pt x="402" y="222"/>
                  </a:lnTo>
                  <a:lnTo>
                    <a:pt x="403" y="222"/>
                  </a:lnTo>
                  <a:lnTo>
                    <a:pt x="404" y="223"/>
                  </a:lnTo>
                  <a:lnTo>
                    <a:pt x="405" y="223"/>
                  </a:lnTo>
                  <a:lnTo>
                    <a:pt x="407" y="225"/>
                  </a:lnTo>
                  <a:lnTo>
                    <a:pt x="408" y="226"/>
                  </a:lnTo>
                  <a:lnTo>
                    <a:pt x="410" y="226"/>
                  </a:lnTo>
                  <a:lnTo>
                    <a:pt x="410" y="227"/>
                  </a:lnTo>
                  <a:lnTo>
                    <a:pt x="410" y="227"/>
                  </a:lnTo>
                  <a:lnTo>
                    <a:pt x="411" y="228"/>
                  </a:lnTo>
                  <a:lnTo>
                    <a:pt x="411" y="228"/>
                  </a:lnTo>
                  <a:lnTo>
                    <a:pt x="411" y="229"/>
                  </a:lnTo>
                  <a:lnTo>
                    <a:pt x="411" y="229"/>
                  </a:lnTo>
                  <a:lnTo>
                    <a:pt x="411" y="230"/>
                  </a:lnTo>
                  <a:lnTo>
                    <a:pt x="411" y="231"/>
                  </a:lnTo>
                  <a:lnTo>
                    <a:pt x="411" y="231"/>
                  </a:lnTo>
                  <a:lnTo>
                    <a:pt x="411" y="233"/>
                  </a:lnTo>
                  <a:lnTo>
                    <a:pt x="411" y="234"/>
                  </a:lnTo>
                  <a:lnTo>
                    <a:pt x="411" y="235"/>
                  </a:lnTo>
                  <a:lnTo>
                    <a:pt x="410" y="235"/>
                  </a:lnTo>
                  <a:lnTo>
                    <a:pt x="410" y="236"/>
                  </a:lnTo>
                  <a:lnTo>
                    <a:pt x="410" y="236"/>
                  </a:lnTo>
                  <a:lnTo>
                    <a:pt x="409" y="236"/>
                  </a:lnTo>
                  <a:lnTo>
                    <a:pt x="408" y="236"/>
                  </a:lnTo>
                  <a:lnTo>
                    <a:pt x="408" y="237"/>
                  </a:lnTo>
                  <a:lnTo>
                    <a:pt x="407" y="237"/>
                  </a:lnTo>
                  <a:lnTo>
                    <a:pt x="405" y="237"/>
                  </a:lnTo>
                  <a:lnTo>
                    <a:pt x="404" y="238"/>
                  </a:lnTo>
                  <a:lnTo>
                    <a:pt x="404" y="238"/>
                  </a:lnTo>
                  <a:lnTo>
                    <a:pt x="403" y="238"/>
                  </a:lnTo>
                  <a:lnTo>
                    <a:pt x="403" y="239"/>
                  </a:lnTo>
                  <a:lnTo>
                    <a:pt x="402" y="239"/>
                  </a:lnTo>
                  <a:lnTo>
                    <a:pt x="402" y="239"/>
                  </a:lnTo>
                  <a:lnTo>
                    <a:pt x="402" y="240"/>
                  </a:lnTo>
                  <a:lnTo>
                    <a:pt x="402" y="240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403" y="242"/>
                  </a:lnTo>
                  <a:lnTo>
                    <a:pt x="404" y="243"/>
                  </a:lnTo>
                  <a:lnTo>
                    <a:pt x="404" y="243"/>
                  </a:lnTo>
                  <a:lnTo>
                    <a:pt x="404" y="244"/>
                  </a:lnTo>
                  <a:lnTo>
                    <a:pt x="404" y="244"/>
                  </a:lnTo>
                  <a:lnTo>
                    <a:pt x="404" y="245"/>
                  </a:lnTo>
                  <a:lnTo>
                    <a:pt x="404" y="245"/>
                  </a:lnTo>
                  <a:lnTo>
                    <a:pt x="403" y="246"/>
                  </a:lnTo>
                  <a:lnTo>
                    <a:pt x="403" y="247"/>
                  </a:lnTo>
                  <a:lnTo>
                    <a:pt x="403" y="247"/>
                  </a:lnTo>
                  <a:lnTo>
                    <a:pt x="403" y="249"/>
                  </a:lnTo>
                  <a:lnTo>
                    <a:pt x="402" y="251"/>
                  </a:lnTo>
                  <a:lnTo>
                    <a:pt x="402" y="252"/>
                  </a:lnTo>
                  <a:lnTo>
                    <a:pt x="402" y="253"/>
                  </a:lnTo>
                  <a:lnTo>
                    <a:pt x="402" y="254"/>
                  </a:lnTo>
                  <a:lnTo>
                    <a:pt x="401" y="254"/>
                  </a:lnTo>
                  <a:lnTo>
                    <a:pt x="401" y="255"/>
                  </a:lnTo>
                  <a:lnTo>
                    <a:pt x="401" y="255"/>
                  </a:lnTo>
                  <a:lnTo>
                    <a:pt x="400" y="256"/>
                  </a:lnTo>
                  <a:lnTo>
                    <a:pt x="399" y="256"/>
                  </a:lnTo>
                  <a:lnTo>
                    <a:pt x="397" y="258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1"/>
                  </a:lnTo>
                  <a:lnTo>
                    <a:pt x="397" y="262"/>
                  </a:lnTo>
                  <a:lnTo>
                    <a:pt x="397" y="262"/>
                  </a:lnTo>
                  <a:lnTo>
                    <a:pt x="398" y="263"/>
                  </a:lnTo>
                  <a:lnTo>
                    <a:pt x="398" y="263"/>
                  </a:lnTo>
                  <a:lnTo>
                    <a:pt x="397" y="263"/>
                  </a:lnTo>
                  <a:lnTo>
                    <a:pt x="397" y="263"/>
                  </a:lnTo>
                  <a:lnTo>
                    <a:pt x="397" y="264"/>
                  </a:lnTo>
                  <a:lnTo>
                    <a:pt x="396" y="264"/>
                  </a:lnTo>
                  <a:lnTo>
                    <a:pt x="394" y="265"/>
                  </a:lnTo>
                  <a:lnTo>
                    <a:pt x="394" y="265"/>
                  </a:lnTo>
                  <a:lnTo>
                    <a:pt x="393" y="265"/>
                  </a:lnTo>
                  <a:lnTo>
                    <a:pt x="393" y="266"/>
                  </a:lnTo>
                  <a:lnTo>
                    <a:pt x="392" y="266"/>
                  </a:lnTo>
                  <a:lnTo>
                    <a:pt x="392" y="267"/>
                  </a:lnTo>
                  <a:lnTo>
                    <a:pt x="392" y="267"/>
                  </a:lnTo>
                  <a:lnTo>
                    <a:pt x="392" y="267"/>
                  </a:lnTo>
                  <a:lnTo>
                    <a:pt x="392" y="268"/>
                  </a:lnTo>
                  <a:lnTo>
                    <a:pt x="392" y="269"/>
                  </a:lnTo>
                  <a:lnTo>
                    <a:pt x="392" y="269"/>
                  </a:lnTo>
                  <a:lnTo>
                    <a:pt x="392" y="270"/>
                  </a:lnTo>
                  <a:lnTo>
                    <a:pt x="393" y="271"/>
                  </a:lnTo>
                  <a:lnTo>
                    <a:pt x="393" y="272"/>
                  </a:lnTo>
                  <a:lnTo>
                    <a:pt x="394" y="272"/>
                  </a:lnTo>
                  <a:lnTo>
                    <a:pt x="395" y="273"/>
                  </a:lnTo>
                  <a:lnTo>
                    <a:pt x="396" y="274"/>
                  </a:lnTo>
                  <a:lnTo>
                    <a:pt x="397" y="274"/>
                  </a:lnTo>
                  <a:lnTo>
                    <a:pt x="398" y="275"/>
                  </a:lnTo>
                  <a:lnTo>
                    <a:pt x="399" y="275"/>
                  </a:lnTo>
                  <a:lnTo>
                    <a:pt x="400" y="276"/>
                  </a:lnTo>
                  <a:lnTo>
                    <a:pt x="403" y="276"/>
                  </a:lnTo>
                  <a:lnTo>
                    <a:pt x="403" y="277"/>
                  </a:lnTo>
                  <a:lnTo>
                    <a:pt x="404" y="277"/>
                  </a:lnTo>
                  <a:lnTo>
                    <a:pt x="406" y="278"/>
                  </a:lnTo>
                  <a:lnTo>
                    <a:pt x="406" y="278"/>
                  </a:lnTo>
                  <a:lnTo>
                    <a:pt x="407" y="279"/>
                  </a:lnTo>
                  <a:lnTo>
                    <a:pt x="408" y="279"/>
                  </a:lnTo>
                  <a:lnTo>
                    <a:pt x="408" y="280"/>
                  </a:lnTo>
                  <a:lnTo>
                    <a:pt x="409" y="280"/>
                  </a:lnTo>
                  <a:lnTo>
                    <a:pt x="409" y="280"/>
                  </a:lnTo>
                  <a:lnTo>
                    <a:pt x="410" y="281"/>
                  </a:lnTo>
                  <a:lnTo>
                    <a:pt x="412" y="281"/>
                  </a:lnTo>
                  <a:lnTo>
                    <a:pt x="413" y="282"/>
                  </a:lnTo>
                  <a:lnTo>
                    <a:pt x="415" y="282"/>
                  </a:lnTo>
                  <a:lnTo>
                    <a:pt x="415" y="282"/>
                  </a:lnTo>
                  <a:lnTo>
                    <a:pt x="416" y="282"/>
                  </a:lnTo>
                  <a:lnTo>
                    <a:pt x="416" y="282"/>
                  </a:lnTo>
                  <a:lnTo>
                    <a:pt x="416" y="283"/>
                  </a:lnTo>
                  <a:lnTo>
                    <a:pt x="417" y="284"/>
                  </a:lnTo>
                  <a:lnTo>
                    <a:pt x="418" y="284"/>
                  </a:lnTo>
                  <a:lnTo>
                    <a:pt x="418" y="284"/>
                  </a:lnTo>
                  <a:lnTo>
                    <a:pt x="419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6"/>
                  </a:lnTo>
                  <a:lnTo>
                    <a:pt x="421" y="286"/>
                  </a:lnTo>
                  <a:lnTo>
                    <a:pt x="421" y="287"/>
                  </a:lnTo>
                  <a:lnTo>
                    <a:pt x="421" y="290"/>
                  </a:lnTo>
                  <a:lnTo>
                    <a:pt x="421" y="290"/>
                  </a:lnTo>
                  <a:lnTo>
                    <a:pt x="421" y="291"/>
                  </a:lnTo>
                  <a:lnTo>
                    <a:pt x="421" y="291"/>
                  </a:lnTo>
                  <a:lnTo>
                    <a:pt x="421" y="292"/>
                  </a:lnTo>
                  <a:lnTo>
                    <a:pt x="422" y="293"/>
                  </a:lnTo>
                  <a:lnTo>
                    <a:pt x="422" y="293"/>
                  </a:lnTo>
                  <a:lnTo>
                    <a:pt x="423" y="294"/>
                  </a:lnTo>
                  <a:lnTo>
                    <a:pt x="425" y="295"/>
                  </a:lnTo>
                  <a:lnTo>
                    <a:pt x="426" y="296"/>
                  </a:lnTo>
                  <a:lnTo>
                    <a:pt x="427" y="297"/>
                  </a:lnTo>
                  <a:lnTo>
                    <a:pt x="429" y="298"/>
                  </a:lnTo>
                  <a:lnTo>
                    <a:pt x="430" y="299"/>
                  </a:lnTo>
                  <a:lnTo>
                    <a:pt x="433" y="300"/>
                  </a:lnTo>
                  <a:lnTo>
                    <a:pt x="434" y="301"/>
                  </a:lnTo>
                  <a:lnTo>
                    <a:pt x="435" y="301"/>
                  </a:lnTo>
                  <a:lnTo>
                    <a:pt x="436" y="302"/>
                  </a:lnTo>
                  <a:lnTo>
                    <a:pt x="437" y="303"/>
                  </a:lnTo>
                  <a:lnTo>
                    <a:pt x="437" y="304"/>
                  </a:lnTo>
                  <a:lnTo>
                    <a:pt x="438" y="304"/>
                  </a:lnTo>
                  <a:lnTo>
                    <a:pt x="438" y="305"/>
                  </a:lnTo>
                  <a:lnTo>
                    <a:pt x="438" y="306"/>
                  </a:lnTo>
                  <a:lnTo>
                    <a:pt x="438" y="307"/>
                  </a:lnTo>
                  <a:lnTo>
                    <a:pt x="438" y="307"/>
                  </a:lnTo>
                  <a:lnTo>
                    <a:pt x="438" y="309"/>
                  </a:lnTo>
                  <a:lnTo>
                    <a:pt x="437" y="311"/>
                  </a:lnTo>
                  <a:lnTo>
                    <a:pt x="437" y="312"/>
                  </a:lnTo>
                  <a:lnTo>
                    <a:pt x="437" y="312"/>
                  </a:lnTo>
                  <a:lnTo>
                    <a:pt x="437" y="313"/>
                  </a:lnTo>
                  <a:lnTo>
                    <a:pt x="437" y="314"/>
                  </a:lnTo>
                  <a:lnTo>
                    <a:pt x="437" y="314"/>
                  </a:lnTo>
                  <a:lnTo>
                    <a:pt x="438" y="317"/>
                  </a:lnTo>
                  <a:lnTo>
                    <a:pt x="438" y="318"/>
                  </a:lnTo>
                  <a:lnTo>
                    <a:pt x="438" y="319"/>
                  </a:lnTo>
                  <a:lnTo>
                    <a:pt x="438" y="320"/>
                  </a:lnTo>
                  <a:lnTo>
                    <a:pt x="438" y="321"/>
                  </a:lnTo>
                  <a:lnTo>
                    <a:pt x="438" y="322"/>
                  </a:lnTo>
                  <a:lnTo>
                    <a:pt x="437" y="324"/>
                  </a:lnTo>
                  <a:lnTo>
                    <a:pt x="436" y="325"/>
                  </a:lnTo>
                  <a:lnTo>
                    <a:pt x="435" y="329"/>
                  </a:lnTo>
                  <a:lnTo>
                    <a:pt x="434" y="330"/>
                  </a:lnTo>
                  <a:lnTo>
                    <a:pt x="434" y="331"/>
                  </a:lnTo>
                  <a:lnTo>
                    <a:pt x="432" y="333"/>
                  </a:lnTo>
                  <a:lnTo>
                    <a:pt x="432" y="333"/>
                  </a:lnTo>
                  <a:lnTo>
                    <a:pt x="431" y="334"/>
                  </a:lnTo>
                  <a:lnTo>
                    <a:pt x="431" y="335"/>
                  </a:lnTo>
                  <a:lnTo>
                    <a:pt x="431" y="336"/>
                  </a:lnTo>
                  <a:lnTo>
                    <a:pt x="431" y="336"/>
                  </a:lnTo>
                  <a:lnTo>
                    <a:pt x="431" y="340"/>
                  </a:lnTo>
                  <a:lnTo>
                    <a:pt x="430" y="343"/>
                  </a:lnTo>
                  <a:lnTo>
                    <a:pt x="430" y="347"/>
                  </a:lnTo>
                  <a:lnTo>
                    <a:pt x="429" y="349"/>
                  </a:lnTo>
                  <a:lnTo>
                    <a:pt x="429" y="349"/>
                  </a:lnTo>
                  <a:lnTo>
                    <a:pt x="429" y="350"/>
                  </a:lnTo>
                  <a:lnTo>
                    <a:pt x="429" y="349"/>
                  </a:lnTo>
                  <a:lnTo>
                    <a:pt x="429" y="350"/>
                  </a:lnTo>
                  <a:lnTo>
                    <a:pt x="429" y="350"/>
                  </a:lnTo>
                  <a:lnTo>
                    <a:pt x="429" y="351"/>
                  </a:lnTo>
                  <a:lnTo>
                    <a:pt x="428" y="351"/>
                  </a:lnTo>
                  <a:lnTo>
                    <a:pt x="428" y="352"/>
                  </a:lnTo>
                  <a:lnTo>
                    <a:pt x="427" y="353"/>
                  </a:lnTo>
                  <a:lnTo>
                    <a:pt x="424" y="354"/>
                  </a:lnTo>
                  <a:lnTo>
                    <a:pt x="422" y="356"/>
                  </a:lnTo>
                  <a:lnTo>
                    <a:pt x="421" y="357"/>
                  </a:lnTo>
                  <a:lnTo>
                    <a:pt x="421" y="357"/>
                  </a:lnTo>
                  <a:lnTo>
                    <a:pt x="421" y="357"/>
                  </a:lnTo>
                  <a:lnTo>
                    <a:pt x="420" y="358"/>
                  </a:lnTo>
                  <a:lnTo>
                    <a:pt x="419" y="358"/>
                  </a:lnTo>
                  <a:lnTo>
                    <a:pt x="418" y="358"/>
                  </a:lnTo>
                  <a:lnTo>
                    <a:pt x="416" y="358"/>
                  </a:lnTo>
                  <a:lnTo>
                    <a:pt x="415" y="358"/>
                  </a:lnTo>
                  <a:lnTo>
                    <a:pt x="414" y="359"/>
                  </a:lnTo>
                  <a:lnTo>
                    <a:pt x="413" y="359"/>
                  </a:lnTo>
                  <a:lnTo>
                    <a:pt x="412" y="359"/>
                  </a:lnTo>
                  <a:lnTo>
                    <a:pt x="412" y="360"/>
                  </a:lnTo>
                  <a:lnTo>
                    <a:pt x="411" y="360"/>
                  </a:lnTo>
                  <a:lnTo>
                    <a:pt x="411" y="361"/>
                  </a:lnTo>
                  <a:lnTo>
                    <a:pt x="409" y="362"/>
                  </a:lnTo>
                  <a:lnTo>
                    <a:pt x="408" y="363"/>
                  </a:lnTo>
                  <a:lnTo>
                    <a:pt x="408" y="364"/>
                  </a:lnTo>
                  <a:lnTo>
                    <a:pt x="408" y="364"/>
                  </a:lnTo>
                  <a:lnTo>
                    <a:pt x="407" y="365"/>
                  </a:lnTo>
                  <a:lnTo>
                    <a:pt x="407" y="365"/>
                  </a:lnTo>
                  <a:lnTo>
                    <a:pt x="407" y="366"/>
                  </a:lnTo>
                  <a:lnTo>
                    <a:pt x="407" y="367"/>
                  </a:lnTo>
                  <a:lnTo>
                    <a:pt x="407" y="367"/>
                  </a:lnTo>
                  <a:lnTo>
                    <a:pt x="407" y="368"/>
                  </a:lnTo>
                  <a:lnTo>
                    <a:pt x="407" y="369"/>
                  </a:lnTo>
                  <a:lnTo>
                    <a:pt x="407" y="369"/>
                  </a:lnTo>
                  <a:lnTo>
                    <a:pt x="408" y="372"/>
                  </a:lnTo>
                  <a:lnTo>
                    <a:pt x="409" y="373"/>
                  </a:lnTo>
                  <a:lnTo>
                    <a:pt x="409" y="374"/>
                  </a:lnTo>
                  <a:lnTo>
                    <a:pt x="409" y="375"/>
                  </a:lnTo>
                  <a:lnTo>
                    <a:pt x="409" y="375"/>
                  </a:lnTo>
                  <a:lnTo>
                    <a:pt x="409" y="376"/>
                  </a:lnTo>
                  <a:lnTo>
                    <a:pt x="409" y="377"/>
                  </a:lnTo>
                  <a:lnTo>
                    <a:pt x="409" y="377"/>
                  </a:lnTo>
                  <a:lnTo>
                    <a:pt x="409" y="377"/>
                  </a:lnTo>
                  <a:lnTo>
                    <a:pt x="409" y="378"/>
                  </a:lnTo>
                  <a:lnTo>
                    <a:pt x="409" y="378"/>
                  </a:lnTo>
                  <a:lnTo>
                    <a:pt x="408" y="379"/>
                  </a:lnTo>
                  <a:lnTo>
                    <a:pt x="408" y="379"/>
                  </a:lnTo>
                  <a:lnTo>
                    <a:pt x="407" y="379"/>
                  </a:lnTo>
                  <a:lnTo>
                    <a:pt x="407" y="380"/>
                  </a:lnTo>
                  <a:lnTo>
                    <a:pt x="406" y="380"/>
                  </a:lnTo>
                  <a:lnTo>
                    <a:pt x="405" y="380"/>
                  </a:lnTo>
                  <a:lnTo>
                    <a:pt x="404" y="380"/>
                  </a:lnTo>
                  <a:lnTo>
                    <a:pt x="403" y="380"/>
                  </a:lnTo>
                  <a:lnTo>
                    <a:pt x="402" y="380"/>
                  </a:lnTo>
                  <a:lnTo>
                    <a:pt x="399" y="380"/>
                  </a:lnTo>
                  <a:lnTo>
                    <a:pt x="397" y="380"/>
                  </a:lnTo>
                  <a:lnTo>
                    <a:pt x="397" y="380"/>
                  </a:lnTo>
                  <a:lnTo>
                    <a:pt x="396" y="380"/>
                  </a:lnTo>
                  <a:lnTo>
                    <a:pt x="395" y="381"/>
                  </a:lnTo>
                  <a:lnTo>
                    <a:pt x="395" y="381"/>
                  </a:lnTo>
                  <a:lnTo>
                    <a:pt x="394" y="382"/>
                  </a:lnTo>
                  <a:lnTo>
                    <a:pt x="393" y="382"/>
                  </a:lnTo>
                  <a:lnTo>
                    <a:pt x="392" y="383"/>
                  </a:lnTo>
                  <a:lnTo>
                    <a:pt x="391" y="386"/>
                  </a:lnTo>
                  <a:lnTo>
                    <a:pt x="390" y="387"/>
                  </a:lnTo>
                  <a:lnTo>
                    <a:pt x="389" y="387"/>
                  </a:lnTo>
                  <a:lnTo>
                    <a:pt x="389" y="388"/>
                  </a:lnTo>
                  <a:lnTo>
                    <a:pt x="387" y="389"/>
                  </a:lnTo>
                  <a:lnTo>
                    <a:pt x="386" y="390"/>
                  </a:lnTo>
                  <a:lnTo>
                    <a:pt x="385" y="390"/>
                  </a:lnTo>
                  <a:lnTo>
                    <a:pt x="383" y="391"/>
                  </a:lnTo>
                  <a:lnTo>
                    <a:pt x="381" y="391"/>
                  </a:lnTo>
                  <a:lnTo>
                    <a:pt x="380" y="391"/>
                  </a:lnTo>
                  <a:lnTo>
                    <a:pt x="378" y="392"/>
                  </a:lnTo>
                  <a:lnTo>
                    <a:pt x="375" y="393"/>
                  </a:lnTo>
                  <a:lnTo>
                    <a:pt x="373" y="393"/>
                  </a:lnTo>
                  <a:lnTo>
                    <a:pt x="371" y="394"/>
                  </a:lnTo>
                  <a:lnTo>
                    <a:pt x="370" y="394"/>
                  </a:lnTo>
                  <a:lnTo>
                    <a:pt x="368" y="395"/>
                  </a:lnTo>
                  <a:lnTo>
                    <a:pt x="367" y="396"/>
                  </a:lnTo>
                  <a:lnTo>
                    <a:pt x="364" y="397"/>
                  </a:lnTo>
                  <a:lnTo>
                    <a:pt x="363" y="398"/>
                  </a:lnTo>
                  <a:lnTo>
                    <a:pt x="362" y="398"/>
                  </a:lnTo>
                  <a:lnTo>
                    <a:pt x="361" y="399"/>
                  </a:lnTo>
                  <a:lnTo>
                    <a:pt x="360" y="399"/>
                  </a:lnTo>
                  <a:lnTo>
                    <a:pt x="360" y="399"/>
                  </a:lnTo>
                  <a:lnTo>
                    <a:pt x="359" y="399"/>
                  </a:lnTo>
                  <a:lnTo>
                    <a:pt x="358" y="399"/>
                  </a:lnTo>
                  <a:lnTo>
                    <a:pt x="358" y="398"/>
                  </a:lnTo>
                  <a:lnTo>
                    <a:pt x="357" y="398"/>
                  </a:lnTo>
                  <a:lnTo>
                    <a:pt x="357" y="398"/>
                  </a:lnTo>
                  <a:lnTo>
                    <a:pt x="356" y="398"/>
                  </a:lnTo>
                  <a:lnTo>
                    <a:pt x="355" y="397"/>
                  </a:lnTo>
                  <a:lnTo>
                    <a:pt x="354" y="397"/>
                  </a:lnTo>
                  <a:lnTo>
                    <a:pt x="354" y="397"/>
                  </a:lnTo>
                  <a:lnTo>
                    <a:pt x="353" y="397"/>
                  </a:lnTo>
                  <a:lnTo>
                    <a:pt x="352" y="398"/>
                  </a:lnTo>
                  <a:lnTo>
                    <a:pt x="351" y="398"/>
                  </a:lnTo>
                  <a:lnTo>
                    <a:pt x="351" y="398"/>
                  </a:lnTo>
                  <a:lnTo>
                    <a:pt x="350" y="399"/>
                  </a:lnTo>
                  <a:lnTo>
                    <a:pt x="349" y="399"/>
                  </a:lnTo>
                  <a:lnTo>
                    <a:pt x="349" y="400"/>
                  </a:lnTo>
                  <a:lnTo>
                    <a:pt x="348" y="400"/>
                  </a:lnTo>
                  <a:lnTo>
                    <a:pt x="348" y="401"/>
                  </a:lnTo>
                  <a:lnTo>
                    <a:pt x="348" y="401"/>
                  </a:lnTo>
                  <a:lnTo>
                    <a:pt x="348" y="402"/>
                  </a:lnTo>
                  <a:lnTo>
                    <a:pt x="347" y="404"/>
                  </a:lnTo>
                  <a:lnTo>
                    <a:pt x="347" y="405"/>
                  </a:lnTo>
                  <a:lnTo>
                    <a:pt x="346" y="407"/>
                  </a:lnTo>
                  <a:lnTo>
                    <a:pt x="344" y="410"/>
                  </a:lnTo>
                  <a:lnTo>
                    <a:pt x="344" y="411"/>
                  </a:lnTo>
                  <a:lnTo>
                    <a:pt x="344" y="412"/>
                  </a:lnTo>
                  <a:lnTo>
                    <a:pt x="343" y="412"/>
                  </a:lnTo>
                  <a:lnTo>
                    <a:pt x="337" y="419"/>
                  </a:lnTo>
                  <a:lnTo>
                    <a:pt x="337" y="420"/>
                  </a:lnTo>
                  <a:lnTo>
                    <a:pt x="336" y="421"/>
                  </a:lnTo>
                  <a:lnTo>
                    <a:pt x="336" y="422"/>
                  </a:lnTo>
                  <a:lnTo>
                    <a:pt x="335" y="423"/>
                  </a:lnTo>
                  <a:lnTo>
                    <a:pt x="335" y="424"/>
                  </a:lnTo>
                  <a:lnTo>
                    <a:pt x="335" y="425"/>
                  </a:lnTo>
                  <a:lnTo>
                    <a:pt x="335" y="426"/>
                  </a:lnTo>
                  <a:lnTo>
                    <a:pt x="334" y="427"/>
                  </a:lnTo>
                  <a:lnTo>
                    <a:pt x="334" y="428"/>
                  </a:lnTo>
                  <a:lnTo>
                    <a:pt x="334" y="429"/>
                  </a:lnTo>
                  <a:lnTo>
                    <a:pt x="334" y="430"/>
                  </a:lnTo>
                  <a:lnTo>
                    <a:pt x="335" y="432"/>
                  </a:lnTo>
                  <a:lnTo>
                    <a:pt x="335" y="433"/>
                  </a:lnTo>
                  <a:lnTo>
                    <a:pt x="335" y="434"/>
                  </a:lnTo>
                  <a:lnTo>
                    <a:pt x="336" y="435"/>
                  </a:lnTo>
                  <a:lnTo>
                    <a:pt x="336" y="436"/>
                  </a:lnTo>
                  <a:lnTo>
                    <a:pt x="336" y="436"/>
                  </a:lnTo>
                  <a:lnTo>
                    <a:pt x="337" y="437"/>
                  </a:lnTo>
                  <a:lnTo>
                    <a:pt x="338" y="437"/>
                  </a:lnTo>
                  <a:lnTo>
                    <a:pt x="338" y="438"/>
                  </a:lnTo>
                  <a:lnTo>
                    <a:pt x="342" y="440"/>
                  </a:lnTo>
                  <a:lnTo>
                    <a:pt x="344" y="440"/>
                  </a:lnTo>
                  <a:lnTo>
                    <a:pt x="346" y="441"/>
                  </a:lnTo>
                  <a:lnTo>
                    <a:pt x="347" y="442"/>
                  </a:lnTo>
                  <a:lnTo>
                    <a:pt x="348" y="442"/>
                  </a:lnTo>
                  <a:lnTo>
                    <a:pt x="349" y="443"/>
                  </a:lnTo>
                  <a:lnTo>
                    <a:pt x="349" y="443"/>
                  </a:lnTo>
                  <a:lnTo>
                    <a:pt x="350" y="444"/>
                  </a:lnTo>
                  <a:lnTo>
                    <a:pt x="350" y="444"/>
                  </a:lnTo>
                  <a:lnTo>
                    <a:pt x="351" y="445"/>
                  </a:lnTo>
                  <a:lnTo>
                    <a:pt x="352" y="446"/>
                  </a:lnTo>
                  <a:lnTo>
                    <a:pt x="353" y="448"/>
                  </a:lnTo>
                  <a:lnTo>
                    <a:pt x="353" y="449"/>
                  </a:lnTo>
                  <a:lnTo>
                    <a:pt x="354" y="450"/>
                  </a:lnTo>
                  <a:lnTo>
                    <a:pt x="354" y="451"/>
                  </a:lnTo>
                  <a:lnTo>
                    <a:pt x="354" y="451"/>
                  </a:lnTo>
                  <a:lnTo>
                    <a:pt x="354" y="452"/>
                  </a:lnTo>
                  <a:lnTo>
                    <a:pt x="354" y="454"/>
                  </a:lnTo>
                  <a:lnTo>
                    <a:pt x="354" y="455"/>
                  </a:lnTo>
                  <a:lnTo>
                    <a:pt x="354" y="456"/>
                  </a:lnTo>
                  <a:lnTo>
                    <a:pt x="354" y="457"/>
                  </a:lnTo>
                  <a:lnTo>
                    <a:pt x="354" y="457"/>
                  </a:lnTo>
                  <a:lnTo>
                    <a:pt x="353" y="458"/>
                  </a:lnTo>
                  <a:lnTo>
                    <a:pt x="353" y="459"/>
                  </a:lnTo>
                  <a:lnTo>
                    <a:pt x="353" y="460"/>
                  </a:lnTo>
                  <a:lnTo>
                    <a:pt x="352" y="460"/>
                  </a:lnTo>
                  <a:lnTo>
                    <a:pt x="352" y="461"/>
                  </a:lnTo>
                  <a:lnTo>
                    <a:pt x="351" y="461"/>
                  </a:lnTo>
                  <a:lnTo>
                    <a:pt x="349" y="463"/>
                  </a:lnTo>
                  <a:lnTo>
                    <a:pt x="348" y="463"/>
                  </a:lnTo>
                  <a:lnTo>
                    <a:pt x="348" y="464"/>
                  </a:lnTo>
                  <a:lnTo>
                    <a:pt x="347" y="464"/>
                  </a:lnTo>
                  <a:lnTo>
                    <a:pt x="346" y="464"/>
                  </a:lnTo>
                  <a:lnTo>
                    <a:pt x="345" y="464"/>
                  </a:lnTo>
                  <a:lnTo>
                    <a:pt x="344" y="464"/>
                  </a:lnTo>
                  <a:lnTo>
                    <a:pt x="342" y="464"/>
                  </a:lnTo>
                  <a:lnTo>
                    <a:pt x="341" y="464"/>
                  </a:lnTo>
                  <a:lnTo>
                    <a:pt x="339" y="464"/>
                  </a:lnTo>
                  <a:lnTo>
                    <a:pt x="338" y="464"/>
                  </a:lnTo>
                  <a:lnTo>
                    <a:pt x="337" y="464"/>
                  </a:lnTo>
                  <a:lnTo>
                    <a:pt x="337" y="464"/>
                  </a:lnTo>
                  <a:lnTo>
                    <a:pt x="336" y="464"/>
                  </a:lnTo>
                  <a:lnTo>
                    <a:pt x="336" y="464"/>
                  </a:lnTo>
                  <a:lnTo>
                    <a:pt x="335" y="464"/>
                  </a:lnTo>
                  <a:lnTo>
                    <a:pt x="334" y="466"/>
                  </a:lnTo>
                  <a:lnTo>
                    <a:pt x="333" y="466"/>
                  </a:lnTo>
                  <a:lnTo>
                    <a:pt x="333" y="466"/>
                  </a:lnTo>
                  <a:lnTo>
                    <a:pt x="333" y="467"/>
                  </a:lnTo>
                  <a:lnTo>
                    <a:pt x="332" y="467"/>
                  </a:lnTo>
                  <a:lnTo>
                    <a:pt x="331" y="469"/>
                  </a:lnTo>
                  <a:lnTo>
                    <a:pt x="331" y="470"/>
                  </a:lnTo>
                  <a:lnTo>
                    <a:pt x="330" y="471"/>
                  </a:lnTo>
                  <a:lnTo>
                    <a:pt x="330" y="472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8" y="473"/>
                  </a:lnTo>
                  <a:lnTo>
                    <a:pt x="328" y="473"/>
                  </a:lnTo>
                  <a:lnTo>
                    <a:pt x="327" y="473"/>
                  </a:lnTo>
                  <a:lnTo>
                    <a:pt x="326" y="473"/>
                  </a:lnTo>
                  <a:lnTo>
                    <a:pt x="324" y="471"/>
                  </a:lnTo>
                  <a:lnTo>
                    <a:pt x="324" y="471"/>
                  </a:lnTo>
                  <a:lnTo>
                    <a:pt x="323" y="470"/>
                  </a:lnTo>
                  <a:lnTo>
                    <a:pt x="322" y="470"/>
                  </a:lnTo>
                  <a:lnTo>
                    <a:pt x="320" y="470"/>
                  </a:lnTo>
                  <a:lnTo>
                    <a:pt x="319" y="469"/>
                  </a:lnTo>
                  <a:lnTo>
                    <a:pt x="317" y="469"/>
                  </a:lnTo>
                  <a:lnTo>
                    <a:pt x="315" y="468"/>
                  </a:lnTo>
                  <a:lnTo>
                    <a:pt x="315" y="468"/>
                  </a:lnTo>
                  <a:lnTo>
                    <a:pt x="314" y="468"/>
                  </a:lnTo>
                  <a:lnTo>
                    <a:pt x="314" y="468"/>
                  </a:lnTo>
                  <a:lnTo>
                    <a:pt x="313" y="468"/>
                  </a:lnTo>
                  <a:lnTo>
                    <a:pt x="312" y="468"/>
                  </a:lnTo>
                  <a:lnTo>
                    <a:pt x="310" y="469"/>
                  </a:lnTo>
                  <a:lnTo>
                    <a:pt x="307" y="470"/>
                  </a:lnTo>
                  <a:lnTo>
                    <a:pt x="305" y="471"/>
                  </a:lnTo>
                  <a:lnTo>
                    <a:pt x="305" y="471"/>
                  </a:lnTo>
                  <a:lnTo>
                    <a:pt x="303" y="471"/>
                  </a:lnTo>
                  <a:lnTo>
                    <a:pt x="301" y="472"/>
                  </a:lnTo>
                  <a:lnTo>
                    <a:pt x="300" y="472"/>
                  </a:lnTo>
                  <a:lnTo>
                    <a:pt x="299" y="472"/>
                  </a:lnTo>
                  <a:lnTo>
                    <a:pt x="297" y="472"/>
                  </a:lnTo>
                  <a:lnTo>
                    <a:pt x="296" y="472"/>
                  </a:lnTo>
                  <a:lnTo>
                    <a:pt x="292" y="471"/>
                  </a:lnTo>
                  <a:lnTo>
                    <a:pt x="291" y="471"/>
                  </a:lnTo>
                  <a:lnTo>
                    <a:pt x="288" y="471"/>
                  </a:lnTo>
                  <a:lnTo>
                    <a:pt x="287" y="471"/>
                  </a:lnTo>
                  <a:lnTo>
                    <a:pt x="286" y="470"/>
                  </a:lnTo>
                  <a:lnTo>
                    <a:pt x="285" y="470"/>
                  </a:lnTo>
                  <a:lnTo>
                    <a:pt x="281" y="469"/>
                  </a:lnTo>
                  <a:lnTo>
                    <a:pt x="280" y="469"/>
                  </a:lnTo>
                  <a:lnTo>
                    <a:pt x="279" y="469"/>
                  </a:lnTo>
                  <a:lnTo>
                    <a:pt x="279" y="469"/>
                  </a:lnTo>
                  <a:lnTo>
                    <a:pt x="278" y="469"/>
                  </a:lnTo>
                  <a:lnTo>
                    <a:pt x="277" y="469"/>
                  </a:lnTo>
                  <a:lnTo>
                    <a:pt x="276" y="469"/>
                  </a:lnTo>
                  <a:lnTo>
                    <a:pt x="276" y="470"/>
                  </a:lnTo>
                  <a:lnTo>
                    <a:pt x="275" y="470"/>
                  </a:lnTo>
                  <a:lnTo>
                    <a:pt x="275" y="471"/>
                  </a:lnTo>
                  <a:lnTo>
                    <a:pt x="275" y="471"/>
                  </a:lnTo>
                  <a:lnTo>
                    <a:pt x="274" y="472"/>
                  </a:lnTo>
                  <a:lnTo>
                    <a:pt x="274" y="472"/>
                  </a:lnTo>
                  <a:lnTo>
                    <a:pt x="274" y="473"/>
                  </a:lnTo>
                  <a:lnTo>
                    <a:pt x="274" y="473"/>
                  </a:lnTo>
                  <a:lnTo>
                    <a:pt x="274" y="474"/>
                  </a:lnTo>
                  <a:lnTo>
                    <a:pt x="275" y="476"/>
                  </a:lnTo>
                  <a:lnTo>
                    <a:pt x="275" y="477"/>
                  </a:lnTo>
                  <a:lnTo>
                    <a:pt x="275" y="477"/>
                  </a:lnTo>
                  <a:lnTo>
                    <a:pt x="275" y="478"/>
                  </a:lnTo>
                  <a:lnTo>
                    <a:pt x="275" y="478"/>
                  </a:lnTo>
                  <a:lnTo>
                    <a:pt x="275" y="478"/>
                  </a:lnTo>
                  <a:lnTo>
                    <a:pt x="274" y="479"/>
                  </a:lnTo>
                  <a:lnTo>
                    <a:pt x="274" y="479"/>
                  </a:lnTo>
                  <a:lnTo>
                    <a:pt x="273" y="479"/>
                  </a:lnTo>
                  <a:lnTo>
                    <a:pt x="273" y="480"/>
                  </a:lnTo>
                  <a:lnTo>
                    <a:pt x="272" y="480"/>
                  </a:lnTo>
                  <a:lnTo>
                    <a:pt x="271" y="480"/>
                  </a:lnTo>
                  <a:lnTo>
                    <a:pt x="266" y="482"/>
                  </a:lnTo>
                  <a:lnTo>
                    <a:pt x="265" y="482"/>
                  </a:lnTo>
                  <a:lnTo>
                    <a:pt x="265" y="482"/>
                  </a:lnTo>
                  <a:lnTo>
                    <a:pt x="264" y="482"/>
                  </a:lnTo>
                  <a:lnTo>
                    <a:pt x="264" y="483"/>
                  </a:lnTo>
                  <a:lnTo>
                    <a:pt x="264" y="483"/>
                  </a:lnTo>
                  <a:lnTo>
                    <a:pt x="263" y="484"/>
                  </a:lnTo>
                  <a:lnTo>
                    <a:pt x="263" y="484"/>
                  </a:lnTo>
                  <a:lnTo>
                    <a:pt x="263" y="485"/>
                  </a:lnTo>
                  <a:lnTo>
                    <a:pt x="262" y="486"/>
                  </a:lnTo>
                  <a:lnTo>
                    <a:pt x="262" y="487"/>
                  </a:lnTo>
                  <a:lnTo>
                    <a:pt x="262" y="490"/>
                  </a:lnTo>
                  <a:lnTo>
                    <a:pt x="261" y="491"/>
                  </a:lnTo>
                  <a:lnTo>
                    <a:pt x="261" y="492"/>
                  </a:lnTo>
                  <a:lnTo>
                    <a:pt x="260" y="494"/>
                  </a:lnTo>
                  <a:lnTo>
                    <a:pt x="260" y="494"/>
                  </a:lnTo>
                  <a:lnTo>
                    <a:pt x="260" y="494"/>
                  </a:lnTo>
                  <a:lnTo>
                    <a:pt x="259" y="495"/>
                  </a:lnTo>
                  <a:lnTo>
                    <a:pt x="258" y="495"/>
                  </a:lnTo>
                  <a:lnTo>
                    <a:pt x="258" y="495"/>
                  </a:lnTo>
                  <a:lnTo>
                    <a:pt x="257" y="495"/>
                  </a:lnTo>
                  <a:lnTo>
                    <a:pt x="256" y="495"/>
                  </a:lnTo>
                  <a:lnTo>
                    <a:pt x="256" y="495"/>
                  </a:lnTo>
                  <a:lnTo>
                    <a:pt x="255" y="495"/>
                  </a:lnTo>
                  <a:lnTo>
                    <a:pt x="254" y="495"/>
                  </a:lnTo>
                  <a:lnTo>
                    <a:pt x="254" y="495"/>
                  </a:lnTo>
                  <a:lnTo>
                    <a:pt x="252" y="494"/>
                  </a:lnTo>
                  <a:lnTo>
                    <a:pt x="252" y="494"/>
                  </a:lnTo>
                  <a:lnTo>
                    <a:pt x="251" y="494"/>
                  </a:lnTo>
                  <a:lnTo>
                    <a:pt x="250" y="493"/>
                  </a:lnTo>
                  <a:lnTo>
                    <a:pt x="250" y="492"/>
                  </a:lnTo>
                  <a:lnTo>
                    <a:pt x="249" y="492"/>
                  </a:lnTo>
                  <a:lnTo>
                    <a:pt x="248" y="491"/>
                  </a:lnTo>
                  <a:lnTo>
                    <a:pt x="247" y="489"/>
                  </a:lnTo>
                  <a:lnTo>
                    <a:pt x="246" y="487"/>
                  </a:lnTo>
                  <a:lnTo>
                    <a:pt x="245" y="484"/>
                  </a:lnTo>
                  <a:lnTo>
                    <a:pt x="244" y="482"/>
                  </a:lnTo>
                  <a:lnTo>
                    <a:pt x="243" y="481"/>
                  </a:lnTo>
                  <a:lnTo>
                    <a:pt x="243" y="479"/>
                  </a:lnTo>
                  <a:lnTo>
                    <a:pt x="242" y="478"/>
                  </a:lnTo>
                  <a:lnTo>
                    <a:pt x="242" y="478"/>
                  </a:lnTo>
                  <a:lnTo>
                    <a:pt x="242" y="477"/>
                  </a:lnTo>
                  <a:lnTo>
                    <a:pt x="242" y="477"/>
                  </a:lnTo>
                  <a:lnTo>
                    <a:pt x="241" y="477"/>
                  </a:lnTo>
                  <a:lnTo>
                    <a:pt x="241" y="477"/>
                  </a:lnTo>
                  <a:lnTo>
                    <a:pt x="240" y="477"/>
                  </a:lnTo>
                  <a:lnTo>
                    <a:pt x="240" y="477"/>
                  </a:lnTo>
                  <a:lnTo>
                    <a:pt x="239" y="477"/>
                  </a:lnTo>
                  <a:lnTo>
                    <a:pt x="238" y="478"/>
                  </a:lnTo>
                  <a:lnTo>
                    <a:pt x="237" y="478"/>
                  </a:lnTo>
                  <a:lnTo>
                    <a:pt x="236" y="479"/>
                  </a:lnTo>
                  <a:lnTo>
                    <a:pt x="235" y="479"/>
                  </a:lnTo>
                  <a:lnTo>
                    <a:pt x="235" y="479"/>
                  </a:lnTo>
                  <a:lnTo>
                    <a:pt x="234" y="479"/>
                  </a:lnTo>
                  <a:lnTo>
                    <a:pt x="234" y="479"/>
                  </a:lnTo>
                  <a:lnTo>
                    <a:pt x="233" y="479"/>
                  </a:lnTo>
                  <a:lnTo>
                    <a:pt x="233" y="479"/>
                  </a:lnTo>
                  <a:lnTo>
                    <a:pt x="232" y="478"/>
                  </a:lnTo>
                  <a:lnTo>
                    <a:pt x="231" y="477"/>
                  </a:lnTo>
                  <a:lnTo>
                    <a:pt x="230" y="477"/>
                  </a:lnTo>
                  <a:lnTo>
                    <a:pt x="228" y="475"/>
                  </a:lnTo>
                  <a:lnTo>
                    <a:pt x="225" y="473"/>
                  </a:lnTo>
                  <a:lnTo>
                    <a:pt x="224" y="472"/>
                  </a:lnTo>
                  <a:lnTo>
                    <a:pt x="223" y="471"/>
                  </a:lnTo>
                  <a:lnTo>
                    <a:pt x="222" y="471"/>
                  </a:lnTo>
                  <a:lnTo>
                    <a:pt x="221" y="470"/>
                  </a:lnTo>
                  <a:lnTo>
                    <a:pt x="217" y="468"/>
                  </a:lnTo>
                  <a:lnTo>
                    <a:pt x="216" y="467"/>
                  </a:lnTo>
                  <a:lnTo>
                    <a:pt x="215" y="467"/>
                  </a:lnTo>
                  <a:lnTo>
                    <a:pt x="213" y="465"/>
                  </a:lnTo>
                  <a:lnTo>
                    <a:pt x="212" y="465"/>
                  </a:lnTo>
                  <a:lnTo>
                    <a:pt x="211" y="464"/>
                  </a:lnTo>
                  <a:lnTo>
                    <a:pt x="210" y="464"/>
                  </a:lnTo>
                  <a:lnTo>
                    <a:pt x="210" y="464"/>
                  </a:lnTo>
                  <a:lnTo>
                    <a:pt x="210" y="464"/>
                  </a:lnTo>
                  <a:lnTo>
                    <a:pt x="209" y="465"/>
                  </a:lnTo>
                  <a:lnTo>
                    <a:pt x="209" y="465"/>
                  </a:lnTo>
                  <a:lnTo>
                    <a:pt x="207" y="466"/>
                  </a:lnTo>
                  <a:lnTo>
                    <a:pt x="205" y="467"/>
                  </a:lnTo>
                  <a:lnTo>
                    <a:pt x="204" y="468"/>
                  </a:lnTo>
                  <a:lnTo>
                    <a:pt x="204" y="469"/>
                  </a:lnTo>
                  <a:lnTo>
                    <a:pt x="203" y="469"/>
                  </a:lnTo>
                  <a:lnTo>
                    <a:pt x="203" y="471"/>
                  </a:lnTo>
                  <a:lnTo>
                    <a:pt x="202" y="471"/>
                  </a:lnTo>
                  <a:lnTo>
                    <a:pt x="202" y="472"/>
                  </a:lnTo>
                  <a:lnTo>
                    <a:pt x="201" y="473"/>
                  </a:lnTo>
                  <a:lnTo>
                    <a:pt x="200" y="473"/>
                  </a:lnTo>
                  <a:lnTo>
                    <a:pt x="200" y="474"/>
                  </a:lnTo>
                  <a:lnTo>
                    <a:pt x="199" y="474"/>
                  </a:lnTo>
                  <a:lnTo>
                    <a:pt x="199" y="475"/>
                  </a:lnTo>
                  <a:lnTo>
                    <a:pt x="199" y="475"/>
                  </a:lnTo>
                  <a:lnTo>
                    <a:pt x="199" y="477"/>
                  </a:lnTo>
                  <a:lnTo>
                    <a:pt x="199" y="478"/>
                  </a:lnTo>
                  <a:lnTo>
                    <a:pt x="199" y="479"/>
                  </a:lnTo>
                  <a:lnTo>
                    <a:pt x="198" y="481"/>
                  </a:lnTo>
                  <a:lnTo>
                    <a:pt x="198" y="482"/>
                  </a:lnTo>
                  <a:lnTo>
                    <a:pt x="198" y="484"/>
                  </a:lnTo>
                  <a:lnTo>
                    <a:pt x="198" y="484"/>
                  </a:lnTo>
                  <a:lnTo>
                    <a:pt x="198" y="485"/>
                  </a:lnTo>
                  <a:lnTo>
                    <a:pt x="199" y="487"/>
                  </a:lnTo>
                  <a:lnTo>
                    <a:pt x="199" y="489"/>
                  </a:lnTo>
                  <a:lnTo>
                    <a:pt x="200" y="491"/>
                  </a:lnTo>
                  <a:lnTo>
                    <a:pt x="200" y="492"/>
                  </a:lnTo>
                  <a:lnTo>
                    <a:pt x="200" y="492"/>
                  </a:lnTo>
                  <a:lnTo>
                    <a:pt x="200" y="493"/>
                  </a:lnTo>
                  <a:lnTo>
                    <a:pt x="199" y="494"/>
                  </a:lnTo>
                  <a:lnTo>
                    <a:pt x="199" y="494"/>
                  </a:lnTo>
                  <a:lnTo>
                    <a:pt x="199" y="494"/>
                  </a:lnTo>
                  <a:lnTo>
                    <a:pt x="198" y="495"/>
                  </a:lnTo>
                  <a:lnTo>
                    <a:pt x="198" y="495"/>
                  </a:lnTo>
                  <a:lnTo>
                    <a:pt x="196" y="496"/>
                  </a:lnTo>
                  <a:lnTo>
                    <a:pt x="195" y="496"/>
                  </a:lnTo>
                  <a:lnTo>
                    <a:pt x="194" y="497"/>
                  </a:lnTo>
                  <a:lnTo>
                    <a:pt x="191" y="498"/>
                  </a:lnTo>
                  <a:lnTo>
                    <a:pt x="190" y="498"/>
                  </a:lnTo>
                  <a:lnTo>
                    <a:pt x="189" y="498"/>
                  </a:lnTo>
                  <a:lnTo>
                    <a:pt x="188" y="499"/>
                  </a:lnTo>
                  <a:lnTo>
                    <a:pt x="186" y="500"/>
                  </a:lnTo>
                  <a:lnTo>
                    <a:pt x="184" y="502"/>
                  </a:lnTo>
                  <a:lnTo>
                    <a:pt x="181" y="504"/>
                  </a:lnTo>
                  <a:lnTo>
                    <a:pt x="180" y="505"/>
                  </a:lnTo>
                  <a:lnTo>
                    <a:pt x="179" y="507"/>
                  </a:lnTo>
                  <a:lnTo>
                    <a:pt x="178" y="508"/>
                  </a:lnTo>
                  <a:lnTo>
                    <a:pt x="177" y="509"/>
                  </a:lnTo>
                  <a:lnTo>
                    <a:pt x="176" y="511"/>
                  </a:lnTo>
                  <a:lnTo>
                    <a:pt x="175" y="511"/>
                  </a:lnTo>
                  <a:lnTo>
                    <a:pt x="175" y="512"/>
                  </a:lnTo>
                  <a:lnTo>
                    <a:pt x="174" y="512"/>
                  </a:lnTo>
                  <a:lnTo>
                    <a:pt x="174" y="512"/>
                  </a:lnTo>
                  <a:lnTo>
                    <a:pt x="174" y="512"/>
                  </a:lnTo>
                  <a:lnTo>
                    <a:pt x="173" y="512"/>
                  </a:lnTo>
                  <a:lnTo>
                    <a:pt x="173" y="512"/>
                  </a:lnTo>
                  <a:lnTo>
                    <a:pt x="173" y="512"/>
                  </a:lnTo>
                  <a:lnTo>
                    <a:pt x="172" y="512"/>
                  </a:lnTo>
                  <a:lnTo>
                    <a:pt x="172" y="512"/>
                  </a:lnTo>
                  <a:lnTo>
                    <a:pt x="170" y="510"/>
                  </a:lnTo>
                  <a:lnTo>
                    <a:pt x="169" y="510"/>
                  </a:lnTo>
                  <a:lnTo>
                    <a:pt x="168" y="509"/>
                  </a:lnTo>
                  <a:lnTo>
                    <a:pt x="166" y="509"/>
                  </a:lnTo>
                  <a:lnTo>
                    <a:pt x="165" y="508"/>
                  </a:lnTo>
                  <a:lnTo>
                    <a:pt x="163" y="508"/>
                  </a:lnTo>
                  <a:lnTo>
                    <a:pt x="162" y="508"/>
                  </a:lnTo>
                  <a:lnTo>
                    <a:pt x="160" y="507"/>
                  </a:lnTo>
                  <a:lnTo>
                    <a:pt x="158" y="507"/>
                  </a:lnTo>
                  <a:lnTo>
                    <a:pt x="158" y="507"/>
                  </a:lnTo>
                  <a:lnTo>
                    <a:pt x="157" y="507"/>
                  </a:lnTo>
                  <a:lnTo>
                    <a:pt x="157" y="506"/>
                  </a:lnTo>
                  <a:lnTo>
                    <a:pt x="156" y="506"/>
                  </a:lnTo>
                  <a:lnTo>
                    <a:pt x="156" y="506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5" y="504"/>
                  </a:lnTo>
                  <a:lnTo>
                    <a:pt x="155" y="504"/>
                  </a:lnTo>
                  <a:lnTo>
                    <a:pt x="156" y="501"/>
                  </a:lnTo>
                  <a:lnTo>
                    <a:pt x="156" y="500"/>
                  </a:lnTo>
                  <a:lnTo>
                    <a:pt x="156" y="500"/>
                  </a:lnTo>
                  <a:lnTo>
                    <a:pt x="156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3" y="500"/>
                  </a:lnTo>
                  <a:lnTo>
                    <a:pt x="151" y="500"/>
                  </a:lnTo>
                  <a:lnTo>
                    <a:pt x="150" y="500"/>
                  </a:lnTo>
                  <a:lnTo>
                    <a:pt x="148" y="501"/>
                  </a:lnTo>
                  <a:lnTo>
                    <a:pt x="147" y="501"/>
                  </a:lnTo>
                  <a:lnTo>
                    <a:pt x="146" y="501"/>
                  </a:lnTo>
                  <a:lnTo>
                    <a:pt x="144" y="501"/>
                  </a:lnTo>
                  <a:lnTo>
                    <a:pt x="143" y="501"/>
                  </a:lnTo>
                  <a:lnTo>
                    <a:pt x="139" y="500"/>
                  </a:lnTo>
                  <a:lnTo>
                    <a:pt x="137" y="500"/>
                  </a:lnTo>
                  <a:lnTo>
                    <a:pt x="136" y="500"/>
                  </a:lnTo>
                  <a:lnTo>
                    <a:pt x="135" y="499"/>
                  </a:lnTo>
                  <a:lnTo>
                    <a:pt x="134" y="499"/>
                  </a:lnTo>
                  <a:lnTo>
                    <a:pt x="132" y="498"/>
                  </a:lnTo>
                  <a:lnTo>
                    <a:pt x="132" y="498"/>
                  </a:lnTo>
                  <a:lnTo>
                    <a:pt x="131" y="498"/>
                  </a:lnTo>
                  <a:lnTo>
                    <a:pt x="130" y="498"/>
                  </a:lnTo>
                  <a:lnTo>
                    <a:pt x="129" y="497"/>
                  </a:lnTo>
                  <a:lnTo>
                    <a:pt x="127" y="497"/>
                  </a:lnTo>
                  <a:lnTo>
                    <a:pt x="126" y="497"/>
                  </a:lnTo>
                  <a:lnTo>
                    <a:pt x="125" y="497"/>
                  </a:lnTo>
                  <a:lnTo>
                    <a:pt x="125" y="497"/>
                  </a:lnTo>
                  <a:lnTo>
                    <a:pt x="124" y="498"/>
                  </a:lnTo>
                  <a:lnTo>
                    <a:pt x="123" y="498"/>
                  </a:lnTo>
                  <a:lnTo>
                    <a:pt x="122" y="499"/>
                  </a:lnTo>
                  <a:lnTo>
                    <a:pt x="121" y="500"/>
                  </a:lnTo>
                  <a:lnTo>
                    <a:pt x="120" y="500"/>
                  </a:lnTo>
                  <a:lnTo>
                    <a:pt x="120" y="500"/>
                  </a:lnTo>
                  <a:lnTo>
                    <a:pt x="119" y="500"/>
                  </a:lnTo>
                  <a:lnTo>
                    <a:pt x="119" y="500"/>
                  </a:lnTo>
                  <a:lnTo>
                    <a:pt x="118" y="500"/>
                  </a:lnTo>
                  <a:lnTo>
                    <a:pt x="117" y="499"/>
                  </a:lnTo>
                  <a:lnTo>
                    <a:pt x="116" y="499"/>
                  </a:lnTo>
                  <a:lnTo>
                    <a:pt x="113" y="496"/>
                  </a:lnTo>
                  <a:lnTo>
                    <a:pt x="112" y="496"/>
                  </a:lnTo>
                  <a:lnTo>
                    <a:pt x="111" y="495"/>
                  </a:lnTo>
                  <a:lnTo>
                    <a:pt x="109" y="495"/>
                  </a:lnTo>
                  <a:lnTo>
                    <a:pt x="108" y="494"/>
                  </a:lnTo>
                  <a:lnTo>
                    <a:pt x="107" y="494"/>
                  </a:lnTo>
                  <a:lnTo>
                    <a:pt x="105" y="492"/>
                  </a:lnTo>
                  <a:lnTo>
                    <a:pt x="104" y="492"/>
                  </a:lnTo>
                  <a:lnTo>
                    <a:pt x="103" y="492"/>
                  </a:lnTo>
                  <a:lnTo>
                    <a:pt x="103" y="492"/>
                  </a:lnTo>
                  <a:lnTo>
                    <a:pt x="102" y="492"/>
                  </a:lnTo>
                  <a:lnTo>
                    <a:pt x="102" y="492"/>
                  </a:lnTo>
                  <a:lnTo>
                    <a:pt x="102" y="493"/>
                  </a:lnTo>
                  <a:lnTo>
                    <a:pt x="102" y="493"/>
                  </a:lnTo>
                  <a:lnTo>
                    <a:pt x="102" y="493"/>
                  </a:lnTo>
                  <a:lnTo>
                    <a:pt x="102" y="494"/>
                  </a:lnTo>
                  <a:lnTo>
                    <a:pt x="102" y="496"/>
                  </a:lnTo>
                  <a:lnTo>
                    <a:pt x="102" y="497"/>
                  </a:lnTo>
                  <a:lnTo>
                    <a:pt x="102" y="497"/>
                  </a:lnTo>
                  <a:lnTo>
                    <a:pt x="102" y="498"/>
                  </a:lnTo>
                  <a:lnTo>
                    <a:pt x="102" y="498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99" y="498"/>
                  </a:lnTo>
                  <a:lnTo>
                    <a:pt x="98" y="498"/>
                  </a:lnTo>
                  <a:lnTo>
                    <a:pt x="97" y="498"/>
                  </a:lnTo>
                  <a:lnTo>
                    <a:pt x="96" y="498"/>
                  </a:lnTo>
                  <a:lnTo>
                    <a:pt x="95" y="499"/>
                  </a:lnTo>
                  <a:lnTo>
                    <a:pt x="94" y="499"/>
                  </a:lnTo>
                  <a:lnTo>
                    <a:pt x="93" y="500"/>
                  </a:lnTo>
                  <a:lnTo>
                    <a:pt x="90" y="502"/>
                  </a:lnTo>
                  <a:lnTo>
                    <a:pt x="90" y="502"/>
                  </a:lnTo>
                  <a:lnTo>
                    <a:pt x="89" y="502"/>
                  </a:lnTo>
                  <a:lnTo>
                    <a:pt x="89" y="503"/>
                  </a:lnTo>
                  <a:lnTo>
                    <a:pt x="87" y="503"/>
                  </a:lnTo>
                  <a:lnTo>
                    <a:pt x="86" y="503"/>
                  </a:lnTo>
                  <a:lnTo>
                    <a:pt x="85" y="503"/>
                  </a:lnTo>
                  <a:lnTo>
                    <a:pt x="84" y="503"/>
                  </a:lnTo>
                  <a:lnTo>
                    <a:pt x="82" y="503"/>
                  </a:lnTo>
                  <a:lnTo>
                    <a:pt x="81" y="503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79" y="502"/>
                  </a:lnTo>
                  <a:lnTo>
                    <a:pt x="79" y="501"/>
                  </a:lnTo>
                  <a:lnTo>
                    <a:pt x="78" y="499"/>
                  </a:lnTo>
                  <a:lnTo>
                    <a:pt x="78" y="499"/>
                  </a:lnTo>
                  <a:lnTo>
                    <a:pt x="78" y="499"/>
                  </a:lnTo>
                  <a:lnTo>
                    <a:pt x="78" y="498"/>
                  </a:lnTo>
                  <a:lnTo>
                    <a:pt x="77" y="497"/>
                  </a:lnTo>
                  <a:lnTo>
                    <a:pt x="76" y="497"/>
                  </a:lnTo>
                  <a:lnTo>
                    <a:pt x="75" y="496"/>
                  </a:lnTo>
                  <a:lnTo>
                    <a:pt x="75" y="496"/>
                  </a:lnTo>
                  <a:lnTo>
                    <a:pt x="73" y="495"/>
                  </a:lnTo>
                  <a:lnTo>
                    <a:pt x="72" y="494"/>
                  </a:lnTo>
                  <a:lnTo>
                    <a:pt x="70" y="494"/>
                  </a:lnTo>
                  <a:lnTo>
                    <a:pt x="70" y="494"/>
                  </a:lnTo>
                  <a:lnTo>
                    <a:pt x="69" y="493"/>
                  </a:lnTo>
                  <a:lnTo>
                    <a:pt x="69" y="493"/>
                  </a:lnTo>
                  <a:lnTo>
                    <a:pt x="68" y="492"/>
                  </a:lnTo>
                  <a:lnTo>
                    <a:pt x="68" y="492"/>
                  </a:lnTo>
                  <a:lnTo>
                    <a:pt x="67" y="490"/>
                  </a:lnTo>
                  <a:lnTo>
                    <a:pt x="66" y="489"/>
                  </a:lnTo>
                  <a:lnTo>
                    <a:pt x="65" y="489"/>
                  </a:lnTo>
                  <a:lnTo>
                    <a:pt x="64" y="488"/>
                  </a:lnTo>
                  <a:lnTo>
                    <a:pt x="63" y="487"/>
                  </a:lnTo>
                  <a:lnTo>
                    <a:pt x="62" y="487"/>
                  </a:lnTo>
                  <a:lnTo>
                    <a:pt x="60" y="486"/>
                  </a:lnTo>
                  <a:lnTo>
                    <a:pt x="59" y="486"/>
                  </a:lnTo>
                  <a:lnTo>
                    <a:pt x="59" y="486"/>
                  </a:lnTo>
                  <a:lnTo>
                    <a:pt x="58" y="486"/>
                  </a:lnTo>
                  <a:lnTo>
                    <a:pt x="57" y="486"/>
                  </a:lnTo>
                  <a:lnTo>
                    <a:pt x="56" y="486"/>
                  </a:lnTo>
                  <a:lnTo>
                    <a:pt x="54" y="487"/>
                  </a:lnTo>
                  <a:lnTo>
                    <a:pt x="51" y="488"/>
                  </a:lnTo>
                  <a:lnTo>
                    <a:pt x="50" y="488"/>
                  </a:lnTo>
                  <a:lnTo>
                    <a:pt x="49" y="488"/>
                  </a:lnTo>
                  <a:lnTo>
                    <a:pt x="49" y="489"/>
                  </a:lnTo>
                  <a:lnTo>
                    <a:pt x="48" y="490"/>
                  </a:lnTo>
                  <a:lnTo>
                    <a:pt x="48" y="490"/>
                  </a:lnTo>
                  <a:lnTo>
                    <a:pt x="47" y="492"/>
                  </a:lnTo>
                  <a:lnTo>
                    <a:pt x="46" y="494"/>
                  </a:lnTo>
                  <a:lnTo>
                    <a:pt x="45" y="495"/>
                  </a:lnTo>
                  <a:lnTo>
                    <a:pt x="44" y="496"/>
                  </a:lnTo>
                  <a:lnTo>
                    <a:pt x="44" y="498"/>
                  </a:lnTo>
                  <a:lnTo>
                    <a:pt x="43" y="499"/>
                  </a:lnTo>
                  <a:lnTo>
                    <a:pt x="43" y="499"/>
                  </a:lnTo>
                  <a:lnTo>
                    <a:pt x="42" y="499"/>
                  </a:lnTo>
                  <a:lnTo>
                    <a:pt x="42" y="499"/>
                  </a:lnTo>
                  <a:lnTo>
                    <a:pt x="41" y="499"/>
                  </a:lnTo>
                  <a:lnTo>
                    <a:pt x="41" y="499"/>
                  </a:lnTo>
                  <a:lnTo>
                    <a:pt x="39" y="499"/>
                  </a:lnTo>
                  <a:lnTo>
                    <a:pt x="38" y="499"/>
                  </a:lnTo>
                  <a:lnTo>
                    <a:pt x="36" y="499"/>
                  </a:lnTo>
                  <a:lnTo>
                    <a:pt x="33" y="500"/>
                  </a:lnTo>
                  <a:lnTo>
                    <a:pt x="25" y="500"/>
                  </a:lnTo>
                  <a:lnTo>
                    <a:pt x="24" y="500"/>
                  </a:lnTo>
                  <a:lnTo>
                    <a:pt x="20" y="500"/>
                  </a:lnTo>
                  <a:lnTo>
                    <a:pt x="19" y="500"/>
                  </a:lnTo>
                  <a:lnTo>
                    <a:pt x="18" y="500"/>
                  </a:lnTo>
                  <a:lnTo>
                    <a:pt x="16" y="501"/>
                  </a:lnTo>
                  <a:lnTo>
                    <a:pt x="15" y="501"/>
                  </a:lnTo>
                  <a:lnTo>
                    <a:pt x="13" y="501"/>
                  </a:lnTo>
                  <a:lnTo>
                    <a:pt x="11" y="501"/>
                  </a:lnTo>
                  <a:lnTo>
                    <a:pt x="11" y="501"/>
                  </a:lnTo>
                  <a:lnTo>
                    <a:pt x="10" y="501"/>
                  </a:lnTo>
                  <a:lnTo>
                    <a:pt x="9" y="501"/>
                  </a:lnTo>
                  <a:lnTo>
                    <a:pt x="8" y="501"/>
                  </a:lnTo>
                  <a:lnTo>
                    <a:pt x="7" y="502"/>
                  </a:lnTo>
                  <a:lnTo>
                    <a:pt x="5" y="501"/>
                  </a:lnTo>
                  <a:lnTo>
                    <a:pt x="5" y="501"/>
                  </a:lnTo>
                  <a:lnTo>
                    <a:pt x="4" y="501"/>
                  </a:lnTo>
                  <a:lnTo>
                    <a:pt x="3" y="501"/>
                  </a:lnTo>
                  <a:lnTo>
                    <a:pt x="2" y="500"/>
                  </a:lnTo>
                  <a:lnTo>
                    <a:pt x="2" y="500"/>
                  </a:lnTo>
                  <a:lnTo>
                    <a:pt x="1" y="499"/>
                  </a:lnTo>
                  <a:lnTo>
                    <a:pt x="1" y="499"/>
                  </a:lnTo>
                  <a:lnTo>
                    <a:pt x="0" y="498"/>
                  </a:lnTo>
                  <a:lnTo>
                    <a:pt x="0" y="498"/>
                  </a:lnTo>
                  <a:lnTo>
                    <a:pt x="0" y="497"/>
                  </a:lnTo>
                  <a:lnTo>
                    <a:pt x="0" y="496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Freeform 9">
              <a:extLst>
                <a:ext uri="{FF2B5EF4-FFF2-40B4-BE49-F238E27FC236}">
                  <a16:creationId xmlns:a16="http://schemas.microsoft.com/office/drawing/2014/main" id="{7837A00A-345B-ABF5-4E59-0E55E5EC2F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" y="3069"/>
              <a:ext cx="451" cy="513"/>
            </a:xfrm>
            <a:custGeom>
              <a:avLst/>
              <a:gdLst>
                <a:gd name="T0" fmla="*/ 182 w 451"/>
                <a:gd name="T1" fmla="*/ 492 h 513"/>
                <a:gd name="T2" fmla="*/ 173 w 451"/>
                <a:gd name="T3" fmla="*/ 504 h 513"/>
                <a:gd name="T4" fmla="*/ 155 w 451"/>
                <a:gd name="T5" fmla="*/ 512 h 513"/>
                <a:gd name="T6" fmla="*/ 142 w 451"/>
                <a:gd name="T7" fmla="*/ 509 h 513"/>
                <a:gd name="T8" fmla="*/ 127 w 451"/>
                <a:gd name="T9" fmla="*/ 508 h 513"/>
                <a:gd name="T10" fmla="*/ 109 w 451"/>
                <a:gd name="T11" fmla="*/ 508 h 513"/>
                <a:gd name="T12" fmla="*/ 103 w 451"/>
                <a:gd name="T13" fmla="*/ 497 h 513"/>
                <a:gd name="T14" fmla="*/ 97 w 451"/>
                <a:gd name="T15" fmla="*/ 484 h 513"/>
                <a:gd name="T16" fmla="*/ 98 w 451"/>
                <a:gd name="T17" fmla="*/ 458 h 513"/>
                <a:gd name="T18" fmla="*/ 86 w 451"/>
                <a:gd name="T19" fmla="*/ 455 h 513"/>
                <a:gd name="T20" fmla="*/ 83 w 451"/>
                <a:gd name="T21" fmla="*/ 447 h 513"/>
                <a:gd name="T22" fmla="*/ 84 w 451"/>
                <a:gd name="T23" fmla="*/ 439 h 513"/>
                <a:gd name="T24" fmla="*/ 90 w 451"/>
                <a:gd name="T25" fmla="*/ 431 h 513"/>
                <a:gd name="T26" fmla="*/ 79 w 451"/>
                <a:gd name="T27" fmla="*/ 429 h 513"/>
                <a:gd name="T28" fmla="*/ 86 w 451"/>
                <a:gd name="T29" fmla="*/ 413 h 513"/>
                <a:gd name="T30" fmla="*/ 102 w 451"/>
                <a:gd name="T31" fmla="*/ 410 h 513"/>
                <a:gd name="T32" fmla="*/ 116 w 451"/>
                <a:gd name="T33" fmla="*/ 399 h 513"/>
                <a:gd name="T34" fmla="*/ 113 w 451"/>
                <a:gd name="T35" fmla="*/ 391 h 513"/>
                <a:gd name="T36" fmla="*/ 117 w 451"/>
                <a:gd name="T37" fmla="*/ 370 h 513"/>
                <a:gd name="T38" fmla="*/ 122 w 451"/>
                <a:gd name="T39" fmla="*/ 346 h 513"/>
                <a:gd name="T40" fmla="*/ 124 w 451"/>
                <a:gd name="T41" fmla="*/ 319 h 513"/>
                <a:gd name="T42" fmla="*/ 103 w 451"/>
                <a:gd name="T43" fmla="*/ 308 h 513"/>
                <a:gd name="T44" fmla="*/ 92 w 451"/>
                <a:gd name="T45" fmla="*/ 298 h 513"/>
                <a:gd name="T46" fmla="*/ 72 w 451"/>
                <a:gd name="T47" fmla="*/ 283 h 513"/>
                <a:gd name="T48" fmla="*/ 51 w 451"/>
                <a:gd name="T49" fmla="*/ 284 h 513"/>
                <a:gd name="T50" fmla="*/ 32 w 451"/>
                <a:gd name="T51" fmla="*/ 270 h 513"/>
                <a:gd name="T52" fmla="*/ 35 w 451"/>
                <a:gd name="T53" fmla="*/ 265 h 513"/>
                <a:gd name="T54" fmla="*/ 15 w 451"/>
                <a:gd name="T55" fmla="*/ 264 h 513"/>
                <a:gd name="T56" fmla="*/ 0 w 451"/>
                <a:gd name="T57" fmla="*/ 264 h 513"/>
                <a:gd name="T58" fmla="*/ 6 w 451"/>
                <a:gd name="T59" fmla="*/ 249 h 513"/>
                <a:gd name="T60" fmla="*/ 4 w 451"/>
                <a:gd name="T61" fmla="*/ 236 h 513"/>
                <a:gd name="T62" fmla="*/ 18 w 451"/>
                <a:gd name="T63" fmla="*/ 230 h 513"/>
                <a:gd name="T64" fmla="*/ 26 w 451"/>
                <a:gd name="T65" fmla="*/ 218 h 513"/>
                <a:gd name="T66" fmla="*/ 33 w 451"/>
                <a:gd name="T67" fmla="*/ 202 h 513"/>
                <a:gd name="T68" fmla="*/ 54 w 451"/>
                <a:gd name="T69" fmla="*/ 194 h 513"/>
                <a:gd name="T70" fmla="*/ 77 w 451"/>
                <a:gd name="T71" fmla="*/ 177 h 513"/>
                <a:gd name="T72" fmla="*/ 90 w 451"/>
                <a:gd name="T73" fmla="*/ 179 h 513"/>
                <a:gd name="T74" fmla="*/ 111 w 451"/>
                <a:gd name="T75" fmla="*/ 173 h 513"/>
                <a:gd name="T76" fmla="*/ 128 w 451"/>
                <a:gd name="T77" fmla="*/ 165 h 513"/>
                <a:gd name="T78" fmla="*/ 139 w 451"/>
                <a:gd name="T79" fmla="*/ 166 h 513"/>
                <a:gd name="T80" fmla="*/ 158 w 451"/>
                <a:gd name="T81" fmla="*/ 154 h 513"/>
                <a:gd name="T82" fmla="*/ 170 w 451"/>
                <a:gd name="T83" fmla="*/ 143 h 513"/>
                <a:gd name="T84" fmla="*/ 176 w 451"/>
                <a:gd name="T85" fmla="*/ 132 h 513"/>
                <a:gd name="T86" fmla="*/ 186 w 451"/>
                <a:gd name="T87" fmla="*/ 125 h 513"/>
                <a:gd name="T88" fmla="*/ 230 w 451"/>
                <a:gd name="T89" fmla="*/ 129 h 513"/>
                <a:gd name="T90" fmla="*/ 253 w 451"/>
                <a:gd name="T91" fmla="*/ 130 h 513"/>
                <a:gd name="T92" fmla="*/ 277 w 451"/>
                <a:gd name="T93" fmla="*/ 121 h 513"/>
                <a:gd name="T94" fmla="*/ 289 w 451"/>
                <a:gd name="T95" fmla="*/ 116 h 513"/>
                <a:gd name="T96" fmla="*/ 289 w 451"/>
                <a:gd name="T97" fmla="*/ 93 h 513"/>
                <a:gd name="T98" fmla="*/ 298 w 451"/>
                <a:gd name="T99" fmla="*/ 88 h 513"/>
                <a:gd name="T100" fmla="*/ 307 w 451"/>
                <a:gd name="T101" fmla="*/ 79 h 513"/>
                <a:gd name="T102" fmla="*/ 319 w 451"/>
                <a:gd name="T103" fmla="*/ 71 h 513"/>
                <a:gd name="T104" fmla="*/ 321 w 451"/>
                <a:gd name="T105" fmla="*/ 53 h 513"/>
                <a:gd name="T106" fmla="*/ 327 w 451"/>
                <a:gd name="T107" fmla="*/ 54 h 513"/>
                <a:gd name="T108" fmla="*/ 341 w 451"/>
                <a:gd name="T109" fmla="*/ 53 h 513"/>
                <a:gd name="T110" fmla="*/ 351 w 451"/>
                <a:gd name="T111" fmla="*/ 55 h 513"/>
                <a:gd name="T112" fmla="*/ 360 w 451"/>
                <a:gd name="T113" fmla="*/ 65 h 513"/>
                <a:gd name="T114" fmla="*/ 383 w 451"/>
                <a:gd name="T115" fmla="*/ 61 h 513"/>
                <a:gd name="T116" fmla="*/ 401 w 451"/>
                <a:gd name="T117" fmla="*/ 44 h 513"/>
                <a:gd name="T118" fmla="*/ 409 w 451"/>
                <a:gd name="T119" fmla="*/ 30 h 513"/>
                <a:gd name="T120" fmla="*/ 429 w 451"/>
                <a:gd name="T121" fmla="*/ 31 h 513"/>
                <a:gd name="T122" fmla="*/ 437 w 451"/>
                <a:gd name="T123" fmla="*/ 20 h 513"/>
                <a:gd name="T124" fmla="*/ 450 w 451"/>
                <a:gd name="T125" fmla="*/ 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1" h="513">
                  <a:moveTo>
                    <a:pt x="195" y="496"/>
                  </a:moveTo>
                  <a:lnTo>
                    <a:pt x="195" y="495"/>
                  </a:lnTo>
                  <a:lnTo>
                    <a:pt x="195" y="493"/>
                  </a:lnTo>
                  <a:lnTo>
                    <a:pt x="195" y="489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2" y="487"/>
                  </a:lnTo>
                  <a:lnTo>
                    <a:pt x="190" y="488"/>
                  </a:lnTo>
                  <a:lnTo>
                    <a:pt x="189" y="488"/>
                  </a:lnTo>
                  <a:lnTo>
                    <a:pt x="188" y="489"/>
                  </a:lnTo>
                  <a:lnTo>
                    <a:pt x="185" y="490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80" y="493"/>
                  </a:lnTo>
                  <a:lnTo>
                    <a:pt x="180" y="493"/>
                  </a:lnTo>
                  <a:lnTo>
                    <a:pt x="179" y="494"/>
                  </a:lnTo>
                  <a:lnTo>
                    <a:pt x="179" y="494"/>
                  </a:lnTo>
                  <a:lnTo>
                    <a:pt x="179" y="495"/>
                  </a:lnTo>
                  <a:lnTo>
                    <a:pt x="178" y="497"/>
                  </a:lnTo>
                  <a:lnTo>
                    <a:pt x="177" y="499"/>
                  </a:lnTo>
                  <a:lnTo>
                    <a:pt x="176" y="500"/>
                  </a:lnTo>
                  <a:lnTo>
                    <a:pt x="176" y="501"/>
                  </a:lnTo>
                  <a:lnTo>
                    <a:pt x="175" y="502"/>
                  </a:lnTo>
                  <a:lnTo>
                    <a:pt x="175" y="503"/>
                  </a:lnTo>
                  <a:lnTo>
                    <a:pt x="174" y="503"/>
                  </a:lnTo>
                  <a:lnTo>
                    <a:pt x="174" y="504"/>
                  </a:lnTo>
                  <a:lnTo>
                    <a:pt x="173" y="504"/>
                  </a:lnTo>
                  <a:lnTo>
                    <a:pt x="173" y="504"/>
                  </a:lnTo>
                  <a:lnTo>
                    <a:pt x="171" y="505"/>
                  </a:lnTo>
                  <a:lnTo>
                    <a:pt x="171" y="505"/>
                  </a:lnTo>
                  <a:lnTo>
                    <a:pt x="170" y="505"/>
                  </a:lnTo>
                  <a:lnTo>
                    <a:pt x="168" y="507"/>
                  </a:lnTo>
                  <a:lnTo>
                    <a:pt x="167" y="507"/>
                  </a:lnTo>
                  <a:lnTo>
                    <a:pt x="166" y="508"/>
                  </a:lnTo>
                  <a:lnTo>
                    <a:pt x="166" y="508"/>
                  </a:lnTo>
                  <a:lnTo>
                    <a:pt x="165" y="508"/>
                  </a:lnTo>
                  <a:lnTo>
                    <a:pt x="164" y="508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59" y="509"/>
                  </a:lnTo>
                  <a:lnTo>
                    <a:pt x="158" y="510"/>
                  </a:lnTo>
                  <a:lnTo>
                    <a:pt x="157" y="510"/>
                  </a:lnTo>
                  <a:lnTo>
                    <a:pt x="155" y="511"/>
                  </a:lnTo>
                  <a:lnTo>
                    <a:pt x="155" y="512"/>
                  </a:lnTo>
                  <a:lnTo>
                    <a:pt x="154" y="512"/>
                  </a:lnTo>
                  <a:lnTo>
                    <a:pt x="153" y="513"/>
                  </a:lnTo>
                  <a:lnTo>
                    <a:pt x="152" y="513"/>
                  </a:lnTo>
                  <a:lnTo>
                    <a:pt x="151" y="513"/>
                  </a:lnTo>
                  <a:lnTo>
                    <a:pt x="150" y="513"/>
                  </a:lnTo>
                  <a:lnTo>
                    <a:pt x="149" y="513"/>
                  </a:lnTo>
                  <a:lnTo>
                    <a:pt x="148" y="512"/>
                  </a:lnTo>
                  <a:lnTo>
                    <a:pt x="147" y="512"/>
                  </a:lnTo>
                  <a:lnTo>
                    <a:pt x="147" y="512"/>
                  </a:lnTo>
                  <a:lnTo>
                    <a:pt x="145" y="511"/>
                  </a:lnTo>
                  <a:lnTo>
                    <a:pt x="144" y="511"/>
                  </a:lnTo>
                  <a:lnTo>
                    <a:pt x="144" y="510"/>
                  </a:lnTo>
                  <a:lnTo>
                    <a:pt x="143" y="510"/>
                  </a:lnTo>
                  <a:lnTo>
                    <a:pt x="143" y="509"/>
                  </a:lnTo>
                  <a:lnTo>
                    <a:pt x="142" y="509"/>
                  </a:lnTo>
                  <a:lnTo>
                    <a:pt x="142" y="509"/>
                  </a:lnTo>
                  <a:lnTo>
                    <a:pt x="140" y="508"/>
                  </a:lnTo>
                  <a:lnTo>
                    <a:pt x="140" y="507"/>
                  </a:lnTo>
                  <a:lnTo>
                    <a:pt x="137" y="506"/>
                  </a:lnTo>
                  <a:lnTo>
                    <a:pt x="137" y="505"/>
                  </a:lnTo>
                  <a:lnTo>
                    <a:pt x="136" y="505"/>
                  </a:lnTo>
                  <a:lnTo>
                    <a:pt x="136" y="505"/>
                  </a:lnTo>
                  <a:lnTo>
                    <a:pt x="135" y="505"/>
                  </a:lnTo>
                  <a:lnTo>
                    <a:pt x="134" y="505"/>
                  </a:lnTo>
                  <a:lnTo>
                    <a:pt x="133" y="505"/>
                  </a:lnTo>
                  <a:lnTo>
                    <a:pt x="132" y="505"/>
                  </a:lnTo>
                  <a:lnTo>
                    <a:pt x="130" y="507"/>
                  </a:lnTo>
                  <a:lnTo>
                    <a:pt x="129" y="507"/>
                  </a:lnTo>
                  <a:lnTo>
                    <a:pt x="128" y="507"/>
                  </a:lnTo>
                  <a:lnTo>
                    <a:pt x="128" y="508"/>
                  </a:lnTo>
                  <a:lnTo>
                    <a:pt x="127" y="508"/>
                  </a:lnTo>
                  <a:lnTo>
                    <a:pt x="127" y="508"/>
                  </a:lnTo>
                  <a:lnTo>
                    <a:pt x="126" y="507"/>
                  </a:lnTo>
                  <a:lnTo>
                    <a:pt x="125" y="507"/>
                  </a:lnTo>
                  <a:lnTo>
                    <a:pt x="125" y="507"/>
                  </a:lnTo>
                  <a:lnTo>
                    <a:pt x="124" y="507"/>
                  </a:lnTo>
                  <a:lnTo>
                    <a:pt x="122" y="505"/>
                  </a:lnTo>
                  <a:lnTo>
                    <a:pt x="122" y="504"/>
                  </a:lnTo>
                  <a:lnTo>
                    <a:pt x="121" y="504"/>
                  </a:lnTo>
                  <a:lnTo>
                    <a:pt x="121" y="504"/>
                  </a:lnTo>
                  <a:lnTo>
                    <a:pt x="120" y="504"/>
                  </a:lnTo>
                  <a:lnTo>
                    <a:pt x="120" y="504"/>
                  </a:lnTo>
                  <a:lnTo>
                    <a:pt x="119" y="504"/>
                  </a:lnTo>
                  <a:lnTo>
                    <a:pt x="119" y="504"/>
                  </a:lnTo>
                  <a:lnTo>
                    <a:pt x="117" y="505"/>
                  </a:lnTo>
                  <a:lnTo>
                    <a:pt x="115" y="506"/>
                  </a:lnTo>
                  <a:lnTo>
                    <a:pt x="112" y="507"/>
                  </a:lnTo>
                  <a:lnTo>
                    <a:pt x="109" y="508"/>
                  </a:lnTo>
                  <a:lnTo>
                    <a:pt x="108" y="508"/>
                  </a:lnTo>
                  <a:lnTo>
                    <a:pt x="106" y="508"/>
                  </a:lnTo>
                  <a:lnTo>
                    <a:pt x="105" y="508"/>
                  </a:lnTo>
                  <a:lnTo>
                    <a:pt x="105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7"/>
                  </a:lnTo>
                  <a:lnTo>
                    <a:pt x="104" y="506"/>
                  </a:lnTo>
                  <a:lnTo>
                    <a:pt x="104" y="505"/>
                  </a:lnTo>
                  <a:lnTo>
                    <a:pt x="104" y="503"/>
                  </a:lnTo>
                  <a:lnTo>
                    <a:pt x="104" y="502"/>
                  </a:lnTo>
                  <a:lnTo>
                    <a:pt x="104" y="501"/>
                  </a:lnTo>
                  <a:lnTo>
                    <a:pt x="104" y="500"/>
                  </a:lnTo>
                  <a:lnTo>
                    <a:pt x="104" y="499"/>
                  </a:lnTo>
                  <a:lnTo>
                    <a:pt x="103" y="497"/>
                  </a:lnTo>
                  <a:lnTo>
                    <a:pt x="103" y="496"/>
                  </a:lnTo>
                  <a:lnTo>
                    <a:pt x="103" y="495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1" y="493"/>
                  </a:lnTo>
                  <a:lnTo>
                    <a:pt x="100" y="492"/>
                  </a:lnTo>
                  <a:lnTo>
                    <a:pt x="99" y="492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7" y="490"/>
                  </a:lnTo>
                  <a:lnTo>
                    <a:pt x="97" y="490"/>
                  </a:lnTo>
                  <a:lnTo>
                    <a:pt x="97" y="489"/>
                  </a:lnTo>
                  <a:lnTo>
                    <a:pt x="97" y="489"/>
                  </a:lnTo>
                  <a:lnTo>
                    <a:pt x="97" y="485"/>
                  </a:lnTo>
                  <a:lnTo>
                    <a:pt x="97" y="484"/>
                  </a:lnTo>
                  <a:lnTo>
                    <a:pt x="97" y="481"/>
                  </a:lnTo>
                  <a:lnTo>
                    <a:pt x="98" y="478"/>
                  </a:lnTo>
                  <a:lnTo>
                    <a:pt x="98" y="476"/>
                  </a:lnTo>
                  <a:lnTo>
                    <a:pt x="98" y="474"/>
                  </a:lnTo>
                  <a:lnTo>
                    <a:pt x="99" y="471"/>
                  </a:lnTo>
                  <a:lnTo>
                    <a:pt x="99" y="469"/>
                  </a:lnTo>
                  <a:lnTo>
                    <a:pt x="99" y="468"/>
                  </a:lnTo>
                  <a:lnTo>
                    <a:pt x="99" y="466"/>
                  </a:lnTo>
                  <a:lnTo>
                    <a:pt x="99" y="464"/>
                  </a:lnTo>
                  <a:lnTo>
                    <a:pt x="99" y="462"/>
                  </a:lnTo>
                  <a:lnTo>
                    <a:pt x="99" y="461"/>
                  </a:lnTo>
                  <a:lnTo>
                    <a:pt x="99" y="460"/>
                  </a:lnTo>
                  <a:lnTo>
                    <a:pt x="99" y="460"/>
                  </a:lnTo>
                  <a:lnTo>
                    <a:pt x="98" y="459"/>
                  </a:lnTo>
                  <a:lnTo>
                    <a:pt x="98" y="459"/>
                  </a:lnTo>
                  <a:lnTo>
                    <a:pt x="98" y="458"/>
                  </a:lnTo>
                  <a:lnTo>
                    <a:pt x="97" y="458"/>
                  </a:lnTo>
                  <a:lnTo>
                    <a:pt x="96" y="457"/>
                  </a:lnTo>
                  <a:lnTo>
                    <a:pt x="95" y="457"/>
                  </a:lnTo>
                  <a:lnTo>
                    <a:pt x="94" y="456"/>
                  </a:lnTo>
                  <a:lnTo>
                    <a:pt x="93" y="456"/>
                  </a:lnTo>
                  <a:lnTo>
                    <a:pt x="92" y="456"/>
                  </a:lnTo>
                  <a:lnTo>
                    <a:pt x="91" y="456"/>
                  </a:lnTo>
                  <a:lnTo>
                    <a:pt x="89" y="456"/>
                  </a:lnTo>
                  <a:lnTo>
                    <a:pt x="88" y="456"/>
                  </a:lnTo>
                  <a:lnTo>
                    <a:pt x="87" y="456"/>
                  </a:lnTo>
                  <a:lnTo>
                    <a:pt x="87" y="456"/>
                  </a:lnTo>
                  <a:lnTo>
                    <a:pt x="87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4"/>
                  </a:lnTo>
                  <a:lnTo>
                    <a:pt x="86" y="453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1"/>
                  </a:lnTo>
                  <a:lnTo>
                    <a:pt x="86" y="451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49"/>
                  </a:lnTo>
                  <a:lnTo>
                    <a:pt x="82" y="449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7"/>
                  </a:lnTo>
                  <a:lnTo>
                    <a:pt x="84" y="447"/>
                  </a:lnTo>
                  <a:lnTo>
                    <a:pt x="85" y="447"/>
                  </a:lnTo>
                  <a:lnTo>
                    <a:pt x="86" y="447"/>
                  </a:lnTo>
                  <a:lnTo>
                    <a:pt x="86" y="447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8" y="445"/>
                  </a:lnTo>
                  <a:lnTo>
                    <a:pt x="88" y="445"/>
                  </a:lnTo>
                  <a:lnTo>
                    <a:pt x="88" y="444"/>
                  </a:lnTo>
                  <a:lnTo>
                    <a:pt x="87" y="443"/>
                  </a:lnTo>
                  <a:lnTo>
                    <a:pt x="87" y="443"/>
                  </a:lnTo>
                  <a:lnTo>
                    <a:pt x="86" y="442"/>
                  </a:lnTo>
                  <a:lnTo>
                    <a:pt x="86" y="441"/>
                  </a:lnTo>
                  <a:lnTo>
                    <a:pt x="84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4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5"/>
                  </a:lnTo>
                  <a:lnTo>
                    <a:pt x="88" y="434"/>
                  </a:lnTo>
                  <a:lnTo>
                    <a:pt x="89" y="433"/>
                  </a:lnTo>
                  <a:lnTo>
                    <a:pt x="90" y="433"/>
                  </a:lnTo>
                  <a:lnTo>
                    <a:pt x="90" y="432"/>
                  </a:lnTo>
                  <a:lnTo>
                    <a:pt x="90" y="432"/>
                  </a:lnTo>
                  <a:lnTo>
                    <a:pt x="91" y="431"/>
                  </a:lnTo>
                  <a:lnTo>
                    <a:pt x="90" y="431"/>
                  </a:lnTo>
                  <a:lnTo>
                    <a:pt x="90" y="431"/>
                  </a:lnTo>
                  <a:lnTo>
                    <a:pt x="90" y="430"/>
                  </a:lnTo>
                  <a:lnTo>
                    <a:pt x="90" y="430"/>
                  </a:lnTo>
                  <a:lnTo>
                    <a:pt x="89" y="430"/>
                  </a:lnTo>
                  <a:lnTo>
                    <a:pt x="89" y="430"/>
                  </a:lnTo>
                  <a:lnTo>
                    <a:pt x="88" y="429"/>
                  </a:lnTo>
                  <a:lnTo>
                    <a:pt x="86" y="429"/>
                  </a:lnTo>
                  <a:lnTo>
                    <a:pt x="85" y="429"/>
                  </a:lnTo>
                  <a:lnTo>
                    <a:pt x="84" y="429"/>
                  </a:lnTo>
                  <a:lnTo>
                    <a:pt x="83" y="429"/>
                  </a:lnTo>
                  <a:lnTo>
                    <a:pt x="81" y="430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8"/>
                  </a:lnTo>
                  <a:lnTo>
                    <a:pt x="78" y="428"/>
                  </a:lnTo>
                  <a:lnTo>
                    <a:pt x="78" y="427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8" y="425"/>
                  </a:lnTo>
                  <a:lnTo>
                    <a:pt x="78" y="424"/>
                  </a:lnTo>
                  <a:lnTo>
                    <a:pt x="79" y="423"/>
                  </a:lnTo>
                  <a:lnTo>
                    <a:pt x="79" y="422"/>
                  </a:lnTo>
                  <a:lnTo>
                    <a:pt x="79" y="421"/>
                  </a:lnTo>
                  <a:lnTo>
                    <a:pt x="80" y="420"/>
                  </a:lnTo>
                  <a:lnTo>
                    <a:pt x="83" y="417"/>
                  </a:lnTo>
                  <a:lnTo>
                    <a:pt x="84" y="415"/>
                  </a:lnTo>
                  <a:lnTo>
                    <a:pt x="84" y="414"/>
                  </a:lnTo>
                  <a:lnTo>
                    <a:pt x="85" y="414"/>
                  </a:lnTo>
                  <a:lnTo>
                    <a:pt x="86" y="413"/>
                  </a:lnTo>
                  <a:lnTo>
                    <a:pt x="87" y="412"/>
                  </a:lnTo>
                  <a:lnTo>
                    <a:pt x="88" y="411"/>
                  </a:lnTo>
                  <a:lnTo>
                    <a:pt x="89" y="411"/>
                  </a:lnTo>
                  <a:lnTo>
                    <a:pt x="90" y="410"/>
                  </a:lnTo>
                  <a:lnTo>
                    <a:pt x="92" y="409"/>
                  </a:lnTo>
                  <a:lnTo>
                    <a:pt x="93" y="409"/>
                  </a:lnTo>
                  <a:lnTo>
                    <a:pt x="94" y="408"/>
                  </a:lnTo>
                  <a:lnTo>
                    <a:pt x="95" y="408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7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101" y="410"/>
                  </a:lnTo>
                  <a:lnTo>
                    <a:pt x="102" y="410"/>
                  </a:lnTo>
                  <a:lnTo>
                    <a:pt x="103" y="411"/>
                  </a:lnTo>
                  <a:lnTo>
                    <a:pt x="103" y="411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7" y="409"/>
                  </a:lnTo>
                  <a:lnTo>
                    <a:pt x="108" y="408"/>
                  </a:lnTo>
                  <a:lnTo>
                    <a:pt x="109" y="406"/>
                  </a:lnTo>
                  <a:lnTo>
                    <a:pt x="110" y="405"/>
                  </a:lnTo>
                  <a:lnTo>
                    <a:pt x="111" y="404"/>
                  </a:lnTo>
                  <a:lnTo>
                    <a:pt x="112" y="403"/>
                  </a:lnTo>
                  <a:lnTo>
                    <a:pt x="115" y="400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17" y="398"/>
                  </a:lnTo>
                  <a:lnTo>
                    <a:pt x="117" y="398"/>
                  </a:lnTo>
                  <a:lnTo>
                    <a:pt x="118" y="397"/>
                  </a:lnTo>
                  <a:lnTo>
                    <a:pt x="118" y="397"/>
                  </a:lnTo>
                  <a:lnTo>
                    <a:pt x="118" y="396"/>
                  </a:lnTo>
                  <a:lnTo>
                    <a:pt x="118" y="395"/>
                  </a:lnTo>
                  <a:lnTo>
                    <a:pt x="117" y="395"/>
                  </a:lnTo>
                  <a:lnTo>
                    <a:pt x="117" y="394"/>
                  </a:lnTo>
                  <a:lnTo>
                    <a:pt x="116" y="394"/>
                  </a:lnTo>
                  <a:lnTo>
                    <a:pt x="116" y="393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3" y="392"/>
                  </a:lnTo>
                  <a:lnTo>
                    <a:pt x="113" y="391"/>
                  </a:lnTo>
                  <a:lnTo>
                    <a:pt x="113" y="390"/>
                  </a:lnTo>
                  <a:lnTo>
                    <a:pt x="114" y="388"/>
                  </a:lnTo>
                  <a:lnTo>
                    <a:pt x="114" y="387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5" y="384"/>
                  </a:lnTo>
                  <a:lnTo>
                    <a:pt x="115" y="383"/>
                  </a:lnTo>
                  <a:lnTo>
                    <a:pt x="115" y="380"/>
                  </a:lnTo>
                  <a:lnTo>
                    <a:pt x="115" y="379"/>
                  </a:lnTo>
                  <a:lnTo>
                    <a:pt x="115" y="378"/>
                  </a:lnTo>
                  <a:lnTo>
                    <a:pt x="115" y="377"/>
                  </a:lnTo>
                  <a:lnTo>
                    <a:pt x="115" y="376"/>
                  </a:lnTo>
                  <a:lnTo>
                    <a:pt x="115" y="376"/>
                  </a:lnTo>
                  <a:lnTo>
                    <a:pt x="116" y="373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7" y="369"/>
                  </a:lnTo>
                  <a:lnTo>
                    <a:pt x="117" y="368"/>
                  </a:lnTo>
                  <a:lnTo>
                    <a:pt x="117" y="367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7" y="361"/>
                  </a:lnTo>
                  <a:lnTo>
                    <a:pt x="118" y="356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9" y="351"/>
                  </a:lnTo>
                  <a:lnTo>
                    <a:pt x="120" y="349"/>
                  </a:lnTo>
                  <a:lnTo>
                    <a:pt x="120" y="348"/>
                  </a:lnTo>
                  <a:lnTo>
                    <a:pt x="121" y="347"/>
                  </a:lnTo>
                  <a:lnTo>
                    <a:pt x="121" y="346"/>
                  </a:lnTo>
                  <a:lnTo>
                    <a:pt x="122" y="346"/>
                  </a:lnTo>
                  <a:lnTo>
                    <a:pt x="122" y="345"/>
                  </a:lnTo>
                  <a:lnTo>
                    <a:pt x="124" y="344"/>
                  </a:lnTo>
                  <a:lnTo>
                    <a:pt x="124" y="343"/>
                  </a:lnTo>
                  <a:lnTo>
                    <a:pt x="125" y="343"/>
                  </a:lnTo>
                  <a:lnTo>
                    <a:pt x="125" y="342"/>
                  </a:lnTo>
                  <a:lnTo>
                    <a:pt x="125" y="341"/>
                  </a:lnTo>
                  <a:lnTo>
                    <a:pt x="125" y="341"/>
                  </a:lnTo>
                  <a:lnTo>
                    <a:pt x="125" y="340"/>
                  </a:lnTo>
                  <a:lnTo>
                    <a:pt x="125" y="339"/>
                  </a:lnTo>
                  <a:lnTo>
                    <a:pt x="125" y="335"/>
                  </a:lnTo>
                  <a:lnTo>
                    <a:pt x="125" y="333"/>
                  </a:lnTo>
                  <a:lnTo>
                    <a:pt x="125" y="329"/>
                  </a:lnTo>
                  <a:lnTo>
                    <a:pt x="124" y="326"/>
                  </a:lnTo>
                  <a:lnTo>
                    <a:pt x="124" y="324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8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7"/>
                  </a:lnTo>
                  <a:lnTo>
                    <a:pt x="122" y="317"/>
                  </a:lnTo>
                  <a:lnTo>
                    <a:pt x="116" y="313"/>
                  </a:lnTo>
                  <a:lnTo>
                    <a:pt x="113" y="312"/>
                  </a:lnTo>
                  <a:lnTo>
                    <a:pt x="112" y="311"/>
                  </a:lnTo>
                  <a:lnTo>
                    <a:pt x="110" y="311"/>
                  </a:lnTo>
                  <a:lnTo>
                    <a:pt x="107" y="310"/>
                  </a:lnTo>
                  <a:lnTo>
                    <a:pt x="104" y="309"/>
                  </a:lnTo>
                  <a:lnTo>
                    <a:pt x="104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2" y="308"/>
                  </a:lnTo>
                  <a:lnTo>
                    <a:pt x="102" y="307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1" y="303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0" y="301"/>
                  </a:lnTo>
                  <a:lnTo>
                    <a:pt x="100" y="301"/>
                  </a:lnTo>
                  <a:lnTo>
                    <a:pt x="99" y="300"/>
                  </a:lnTo>
                  <a:lnTo>
                    <a:pt x="98" y="300"/>
                  </a:lnTo>
                  <a:lnTo>
                    <a:pt x="98" y="299"/>
                  </a:lnTo>
                  <a:lnTo>
                    <a:pt x="97" y="299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2" y="298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6"/>
                  </a:lnTo>
                  <a:lnTo>
                    <a:pt x="85" y="294"/>
                  </a:lnTo>
                  <a:lnTo>
                    <a:pt x="83" y="292"/>
                  </a:lnTo>
                  <a:lnTo>
                    <a:pt x="82" y="291"/>
                  </a:lnTo>
                  <a:lnTo>
                    <a:pt x="80" y="289"/>
                  </a:lnTo>
                  <a:lnTo>
                    <a:pt x="78" y="286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0" y="283"/>
                  </a:lnTo>
                  <a:lnTo>
                    <a:pt x="69" y="283"/>
                  </a:lnTo>
                  <a:lnTo>
                    <a:pt x="68" y="283"/>
                  </a:lnTo>
                  <a:lnTo>
                    <a:pt x="65" y="284"/>
                  </a:lnTo>
                  <a:lnTo>
                    <a:pt x="64" y="284"/>
                  </a:lnTo>
                  <a:lnTo>
                    <a:pt x="63" y="285"/>
                  </a:lnTo>
                  <a:lnTo>
                    <a:pt x="61" y="285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7" y="285"/>
                  </a:lnTo>
                  <a:lnTo>
                    <a:pt x="56" y="285"/>
                  </a:lnTo>
                  <a:lnTo>
                    <a:pt x="55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1" y="284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48" y="282"/>
                  </a:lnTo>
                  <a:lnTo>
                    <a:pt x="47" y="281"/>
                  </a:lnTo>
                  <a:lnTo>
                    <a:pt x="44" y="279"/>
                  </a:lnTo>
                  <a:lnTo>
                    <a:pt x="42" y="277"/>
                  </a:lnTo>
                  <a:lnTo>
                    <a:pt x="40" y="276"/>
                  </a:lnTo>
                  <a:lnTo>
                    <a:pt x="37" y="275"/>
                  </a:lnTo>
                  <a:lnTo>
                    <a:pt x="36" y="274"/>
                  </a:lnTo>
                  <a:lnTo>
                    <a:pt x="35" y="273"/>
                  </a:lnTo>
                  <a:lnTo>
                    <a:pt x="34" y="273"/>
                  </a:lnTo>
                  <a:lnTo>
                    <a:pt x="33" y="272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2" y="271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6" y="267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5" y="265"/>
                  </a:lnTo>
                  <a:lnTo>
                    <a:pt x="34" y="264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0" y="263"/>
                  </a:lnTo>
                  <a:lnTo>
                    <a:pt x="19" y="263"/>
                  </a:lnTo>
                  <a:lnTo>
                    <a:pt x="17" y="263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4" y="264"/>
                  </a:lnTo>
                  <a:lnTo>
                    <a:pt x="12" y="264"/>
                  </a:lnTo>
                  <a:lnTo>
                    <a:pt x="10" y="265"/>
                  </a:lnTo>
                  <a:lnTo>
                    <a:pt x="9" y="266"/>
                  </a:lnTo>
                  <a:lnTo>
                    <a:pt x="8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5"/>
                  </a:lnTo>
                  <a:lnTo>
                    <a:pt x="2" y="265"/>
                  </a:lnTo>
                  <a:lnTo>
                    <a:pt x="1" y="265"/>
                  </a:lnTo>
                  <a:lnTo>
                    <a:pt x="1" y="265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1" y="260"/>
                  </a:lnTo>
                  <a:lnTo>
                    <a:pt x="1" y="259"/>
                  </a:lnTo>
                  <a:lnTo>
                    <a:pt x="2" y="257"/>
                  </a:lnTo>
                  <a:lnTo>
                    <a:pt x="3" y="255"/>
                  </a:lnTo>
                  <a:lnTo>
                    <a:pt x="4" y="254"/>
                  </a:lnTo>
                  <a:lnTo>
                    <a:pt x="5" y="252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0"/>
                  </a:lnTo>
                  <a:lnTo>
                    <a:pt x="6" y="249"/>
                  </a:lnTo>
                  <a:lnTo>
                    <a:pt x="6" y="248"/>
                  </a:lnTo>
                  <a:lnTo>
                    <a:pt x="6" y="247"/>
                  </a:lnTo>
                  <a:lnTo>
                    <a:pt x="6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4" y="243"/>
                  </a:lnTo>
                  <a:lnTo>
                    <a:pt x="3" y="242"/>
                  </a:lnTo>
                  <a:lnTo>
                    <a:pt x="2" y="241"/>
                  </a:lnTo>
                  <a:lnTo>
                    <a:pt x="2" y="240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8"/>
                  </a:lnTo>
                  <a:lnTo>
                    <a:pt x="2" y="237"/>
                  </a:lnTo>
                  <a:lnTo>
                    <a:pt x="3" y="237"/>
                  </a:lnTo>
                  <a:lnTo>
                    <a:pt x="4" y="236"/>
                  </a:lnTo>
                  <a:lnTo>
                    <a:pt x="5" y="235"/>
                  </a:lnTo>
                  <a:lnTo>
                    <a:pt x="6" y="234"/>
                  </a:lnTo>
                  <a:lnTo>
                    <a:pt x="7" y="233"/>
                  </a:lnTo>
                  <a:lnTo>
                    <a:pt x="8" y="233"/>
                  </a:lnTo>
                  <a:lnTo>
                    <a:pt x="9" y="232"/>
                  </a:lnTo>
                  <a:lnTo>
                    <a:pt x="10" y="232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3" y="231"/>
                  </a:lnTo>
                  <a:lnTo>
                    <a:pt x="14" y="231"/>
                  </a:lnTo>
                  <a:lnTo>
                    <a:pt x="15" y="231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7" y="231"/>
                  </a:lnTo>
                  <a:lnTo>
                    <a:pt x="17" y="230"/>
                  </a:lnTo>
                  <a:lnTo>
                    <a:pt x="18" y="230"/>
                  </a:lnTo>
                  <a:lnTo>
                    <a:pt x="19" y="228"/>
                  </a:lnTo>
                  <a:lnTo>
                    <a:pt x="19" y="227"/>
                  </a:lnTo>
                  <a:lnTo>
                    <a:pt x="20" y="226"/>
                  </a:lnTo>
                  <a:lnTo>
                    <a:pt x="21" y="224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2" y="223"/>
                  </a:lnTo>
                  <a:lnTo>
                    <a:pt x="22" y="222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6"/>
                  </a:lnTo>
                  <a:lnTo>
                    <a:pt x="26" y="215"/>
                  </a:lnTo>
                  <a:lnTo>
                    <a:pt x="26" y="215"/>
                  </a:lnTo>
                  <a:lnTo>
                    <a:pt x="26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6"/>
                  </a:lnTo>
                  <a:lnTo>
                    <a:pt x="29" y="206"/>
                  </a:lnTo>
                  <a:lnTo>
                    <a:pt x="29" y="205"/>
                  </a:lnTo>
                  <a:lnTo>
                    <a:pt x="31" y="203"/>
                  </a:lnTo>
                  <a:lnTo>
                    <a:pt x="33" y="202"/>
                  </a:lnTo>
                  <a:lnTo>
                    <a:pt x="34" y="201"/>
                  </a:lnTo>
                  <a:lnTo>
                    <a:pt x="36" y="200"/>
                  </a:lnTo>
                  <a:lnTo>
                    <a:pt x="36" y="199"/>
                  </a:lnTo>
                  <a:lnTo>
                    <a:pt x="38" y="198"/>
                  </a:lnTo>
                  <a:lnTo>
                    <a:pt x="40" y="197"/>
                  </a:lnTo>
                  <a:lnTo>
                    <a:pt x="41" y="196"/>
                  </a:lnTo>
                  <a:lnTo>
                    <a:pt x="42" y="195"/>
                  </a:lnTo>
                  <a:lnTo>
                    <a:pt x="43" y="195"/>
                  </a:lnTo>
                  <a:lnTo>
                    <a:pt x="44" y="194"/>
                  </a:lnTo>
                  <a:lnTo>
                    <a:pt x="45" y="194"/>
                  </a:lnTo>
                  <a:lnTo>
                    <a:pt x="47" y="194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51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4"/>
                  </a:lnTo>
                  <a:lnTo>
                    <a:pt x="57" y="193"/>
                  </a:lnTo>
                  <a:lnTo>
                    <a:pt x="59" y="193"/>
                  </a:lnTo>
                  <a:lnTo>
                    <a:pt x="60" y="192"/>
                  </a:lnTo>
                  <a:lnTo>
                    <a:pt x="61" y="192"/>
                  </a:lnTo>
                  <a:lnTo>
                    <a:pt x="62" y="191"/>
                  </a:lnTo>
                  <a:lnTo>
                    <a:pt x="63" y="190"/>
                  </a:lnTo>
                  <a:lnTo>
                    <a:pt x="64" y="190"/>
                  </a:lnTo>
                  <a:lnTo>
                    <a:pt x="65" y="188"/>
                  </a:lnTo>
                  <a:lnTo>
                    <a:pt x="66" y="18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9" y="184"/>
                  </a:lnTo>
                  <a:lnTo>
                    <a:pt x="72" y="182"/>
                  </a:lnTo>
                  <a:lnTo>
                    <a:pt x="76" y="178"/>
                  </a:lnTo>
                  <a:lnTo>
                    <a:pt x="77" y="177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2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4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7" y="178"/>
                  </a:lnTo>
                  <a:lnTo>
                    <a:pt x="99" y="178"/>
                  </a:lnTo>
                  <a:lnTo>
                    <a:pt x="100" y="178"/>
                  </a:lnTo>
                  <a:lnTo>
                    <a:pt x="101" y="178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1" y="173"/>
                  </a:lnTo>
                  <a:lnTo>
                    <a:pt x="111" y="173"/>
                  </a:lnTo>
                  <a:lnTo>
                    <a:pt x="113" y="172"/>
                  </a:lnTo>
                  <a:lnTo>
                    <a:pt x="113" y="171"/>
                  </a:lnTo>
                  <a:lnTo>
                    <a:pt x="115" y="170"/>
                  </a:lnTo>
                  <a:lnTo>
                    <a:pt x="118" y="167"/>
                  </a:lnTo>
                  <a:lnTo>
                    <a:pt x="119" y="166"/>
                  </a:lnTo>
                  <a:lnTo>
                    <a:pt x="120" y="165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3"/>
                  </a:lnTo>
                  <a:lnTo>
                    <a:pt x="123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7" y="164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69"/>
                  </a:lnTo>
                  <a:lnTo>
                    <a:pt x="136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8" y="167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2" y="162"/>
                  </a:lnTo>
                  <a:lnTo>
                    <a:pt x="143" y="161"/>
                  </a:lnTo>
                  <a:lnTo>
                    <a:pt x="144" y="161"/>
                  </a:lnTo>
                  <a:lnTo>
                    <a:pt x="145" y="160"/>
                  </a:lnTo>
                  <a:lnTo>
                    <a:pt x="146" y="159"/>
                  </a:lnTo>
                  <a:lnTo>
                    <a:pt x="147" y="159"/>
                  </a:lnTo>
                  <a:lnTo>
                    <a:pt x="147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1" y="157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6"/>
                  </a:lnTo>
                  <a:lnTo>
                    <a:pt x="157" y="155"/>
                  </a:lnTo>
                  <a:lnTo>
                    <a:pt x="158" y="154"/>
                  </a:lnTo>
                  <a:lnTo>
                    <a:pt x="160" y="153"/>
                  </a:lnTo>
                  <a:lnTo>
                    <a:pt x="160" y="153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4" y="150"/>
                  </a:lnTo>
                  <a:lnTo>
                    <a:pt x="164" y="149"/>
                  </a:lnTo>
                  <a:lnTo>
                    <a:pt x="165" y="148"/>
                  </a:lnTo>
                  <a:lnTo>
                    <a:pt x="165" y="147"/>
                  </a:lnTo>
                  <a:lnTo>
                    <a:pt x="166" y="146"/>
                  </a:lnTo>
                  <a:lnTo>
                    <a:pt x="166" y="145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68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4" y="143"/>
                  </a:lnTo>
                  <a:lnTo>
                    <a:pt x="174" y="142"/>
                  </a:lnTo>
                  <a:lnTo>
                    <a:pt x="175" y="142"/>
                  </a:lnTo>
                  <a:lnTo>
                    <a:pt x="175" y="142"/>
                  </a:lnTo>
                  <a:lnTo>
                    <a:pt x="175" y="141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39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6" y="134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1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7" y="129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9" y="127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4" y="125"/>
                  </a:lnTo>
                  <a:lnTo>
                    <a:pt x="185" y="125"/>
                  </a:lnTo>
                  <a:lnTo>
                    <a:pt x="186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4" y="126"/>
                  </a:lnTo>
                  <a:lnTo>
                    <a:pt x="198" y="127"/>
                  </a:lnTo>
                  <a:lnTo>
                    <a:pt x="202" y="128"/>
                  </a:lnTo>
                  <a:lnTo>
                    <a:pt x="205" y="129"/>
                  </a:lnTo>
                  <a:lnTo>
                    <a:pt x="207" y="129"/>
                  </a:lnTo>
                  <a:lnTo>
                    <a:pt x="209" y="129"/>
                  </a:lnTo>
                  <a:lnTo>
                    <a:pt x="215" y="130"/>
                  </a:lnTo>
                  <a:lnTo>
                    <a:pt x="217" y="130"/>
                  </a:lnTo>
                  <a:lnTo>
                    <a:pt x="219" y="130"/>
                  </a:lnTo>
                  <a:lnTo>
                    <a:pt x="222" y="130"/>
                  </a:lnTo>
                  <a:lnTo>
                    <a:pt x="224" y="130"/>
                  </a:lnTo>
                  <a:lnTo>
                    <a:pt x="226" y="130"/>
                  </a:lnTo>
                  <a:lnTo>
                    <a:pt x="228" y="129"/>
                  </a:lnTo>
                  <a:lnTo>
                    <a:pt x="230" y="129"/>
                  </a:lnTo>
                  <a:lnTo>
                    <a:pt x="232" y="129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5" y="127"/>
                  </a:lnTo>
                  <a:lnTo>
                    <a:pt x="236" y="127"/>
                  </a:lnTo>
                  <a:lnTo>
                    <a:pt x="236" y="127"/>
                  </a:lnTo>
                  <a:lnTo>
                    <a:pt x="237" y="127"/>
                  </a:lnTo>
                  <a:lnTo>
                    <a:pt x="239" y="128"/>
                  </a:lnTo>
                  <a:lnTo>
                    <a:pt x="241" y="128"/>
                  </a:lnTo>
                  <a:lnTo>
                    <a:pt x="245" y="129"/>
                  </a:lnTo>
                  <a:lnTo>
                    <a:pt x="248" y="130"/>
                  </a:lnTo>
                  <a:lnTo>
                    <a:pt x="250" y="130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6" y="128"/>
                  </a:lnTo>
                  <a:lnTo>
                    <a:pt x="257" y="127"/>
                  </a:lnTo>
                  <a:lnTo>
                    <a:pt x="259" y="125"/>
                  </a:lnTo>
                  <a:lnTo>
                    <a:pt x="260" y="124"/>
                  </a:lnTo>
                  <a:lnTo>
                    <a:pt x="260" y="124"/>
                  </a:lnTo>
                  <a:lnTo>
                    <a:pt x="261" y="124"/>
                  </a:lnTo>
                  <a:lnTo>
                    <a:pt x="262" y="123"/>
                  </a:lnTo>
                  <a:lnTo>
                    <a:pt x="263" y="123"/>
                  </a:lnTo>
                  <a:lnTo>
                    <a:pt x="264" y="123"/>
                  </a:lnTo>
                  <a:lnTo>
                    <a:pt x="270" y="122"/>
                  </a:lnTo>
                  <a:lnTo>
                    <a:pt x="272" y="121"/>
                  </a:lnTo>
                  <a:lnTo>
                    <a:pt x="276" y="121"/>
                  </a:lnTo>
                  <a:lnTo>
                    <a:pt x="277" y="121"/>
                  </a:lnTo>
                  <a:lnTo>
                    <a:pt x="279" y="121"/>
                  </a:lnTo>
                  <a:lnTo>
                    <a:pt x="280" y="121"/>
                  </a:lnTo>
                  <a:lnTo>
                    <a:pt x="282" y="122"/>
                  </a:lnTo>
                  <a:lnTo>
                    <a:pt x="284" y="122"/>
                  </a:lnTo>
                  <a:lnTo>
                    <a:pt x="284" y="122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0"/>
                  </a:lnTo>
                  <a:lnTo>
                    <a:pt x="288" y="120"/>
                  </a:lnTo>
                  <a:lnTo>
                    <a:pt x="288" y="119"/>
                  </a:lnTo>
                  <a:lnTo>
                    <a:pt x="289" y="118"/>
                  </a:lnTo>
                  <a:lnTo>
                    <a:pt x="289" y="117"/>
                  </a:lnTo>
                  <a:lnTo>
                    <a:pt x="289" y="116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91" y="109"/>
                  </a:lnTo>
                  <a:lnTo>
                    <a:pt x="291" y="108"/>
                  </a:lnTo>
                  <a:lnTo>
                    <a:pt x="291" y="106"/>
                  </a:lnTo>
                  <a:lnTo>
                    <a:pt x="291" y="105"/>
                  </a:lnTo>
                  <a:lnTo>
                    <a:pt x="291" y="104"/>
                  </a:lnTo>
                  <a:lnTo>
                    <a:pt x="291" y="103"/>
                  </a:lnTo>
                  <a:lnTo>
                    <a:pt x="290" y="102"/>
                  </a:lnTo>
                  <a:lnTo>
                    <a:pt x="290" y="99"/>
                  </a:lnTo>
                  <a:lnTo>
                    <a:pt x="289" y="98"/>
                  </a:lnTo>
                  <a:lnTo>
                    <a:pt x="289" y="97"/>
                  </a:lnTo>
                  <a:lnTo>
                    <a:pt x="289" y="96"/>
                  </a:lnTo>
                  <a:lnTo>
                    <a:pt x="289" y="95"/>
                  </a:lnTo>
                  <a:lnTo>
                    <a:pt x="289" y="94"/>
                  </a:lnTo>
                  <a:lnTo>
                    <a:pt x="289" y="93"/>
                  </a:lnTo>
                  <a:lnTo>
                    <a:pt x="289" y="91"/>
                  </a:lnTo>
                  <a:lnTo>
                    <a:pt x="289" y="89"/>
                  </a:lnTo>
                  <a:lnTo>
                    <a:pt x="289" y="88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90" y="86"/>
                  </a:lnTo>
                  <a:lnTo>
                    <a:pt x="291" y="86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7" y="88"/>
                  </a:lnTo>
                  <a:lnTo>
                    <a:pt x="298" y="88"/>
                  </a:lnTo>
                  <a:lnTo>
                    <a:pt x="299" y="88"/>
                  </a:lnTo>
                  <a:lnTo>
                    <a:pt x="300" y="88"/>
                  </a:lnTo>
                  <a:lnTo>
                    <a:pt x="301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3" y="88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3" y="86"/>
                  </a:lnTo>
                  <a:lnTo>
                    <a:pt x="303" y="85"/>
                  </a:lnTo>
                  <a:lnTo>
                    <a:pt x="305" y="83"/>
                  </a:lnTo>
                  <a:lnTo>
                    <a:pt x="306" y="80"/>
                  </a:lnTo>
                  <a:lnTo>
                    <a:pt x="306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8" y="78"/>
                  </a:lnTo>
                  <a:lnTo>
                    <a:pt x="311" y="78"/>
                  </a:lnTo>
                  <a:lnTo>
                    <a:pt x="314" y="77"/>
                  </a:lnTo>
                  <a:lnTo>
                    <a:pt x="316" y="76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7" y="75"/>
                  </a:lnTo>
                  <a:lnTo>
                    <a:pt x="318" y="75"/>
                  </a:lnTo>
                  <a:lnTo>
                    <a:pt x="318" y="75"/>
                  </a:lnTo>
                  <a:lnTo>
                    <a:pt x="318" y="74"/>
                  </a:lnTo>
                  <a:lnTo>
                    <a:pt x="319" y="74"/>
                  </a:lnTo>
                  <a:lnTo>
                    <a:pt x="319" y="73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1"/>
                  </a:lnTo>
                  <a:lnTo>
                    <a:pt x="319" y="70"/>
                  </a:lnTo>
                  <a:lnTo>
                    <a:pt x="319" y="67"/>
                  </a:lnTo>
                  <a:lnTo>
                    <a:pt x="319" y="66"/>
                  </a:lnTo>
                  <a:lnTo>
                    <a:pt x="319" y="64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8" y="58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19" y="55"/>
                  </a:lnTo>
                  <a:lnTo>
                    <a:pt x="319" y="54"/>
                  </a:lnTo>
                  <a:lnTo>
                    <a:pt x="320" y="53"/>
                  </a:lnTo>
                  <a:lnTo>
                    <a:pt x="321" y="53"/>
                  </a:lnTo>
                  <a:lnTo>
                    <a:pt x="321" y="52"/>
                  </a:lnTo>
                  <a:lnTo>
                    <a:pt x="322" y="52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5" y="53"/>
                  </a:lnTo>
                  <a:lnTo>
                    <a:pt x="325" y="53"/>
                  </a:lnTo>
                  <a:lnTo>
                    <a:pt x="326" y="53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7" y="54"/>
                  </a:lnTo>
                  <a:lnTo>
                    <a:pt x="328" y="54"/>
                  </a:lnTo>
                  <a:lnTo>
                    <a:pt x="328" y="53"/>
                  </a:lnTo>
                  <a:lnTo>
                    <a:pt x="329" y="53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2" y="51"/>
                  </a:lnTo>
                  <a:lnTo>
                    <a:pt x="333" y="51"/>
                  </a:lnTo>
                  <a:lnTo>
                    <a:pt x="334" y="51"/>
                  </a:lnTo>
                  <a:lnTo>
                    <a:pt x="335" y="51"/>
                  </a:lnTo>
                  <a:lnTo>
                    <a:pt x="335" y="52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0" y="53"/>
                  </a:lnTo>
                  <a:lnTo>
                    <a:pt x="340" y="53"/>
                  </a:lnTo>
                  <a:lnTo>
                    <a:pt x="341" y="53"/>
                  </a:lnTo>
                  <a:lnTo>
                    <a:pt x="341" y="53"/>
                  </a:lnTo>
                  <a:lnTo>
                    <a:pt x="342" y="53"/>
                  </a:lnTo>
                  <a:lnTo>
                    <a:pt x="343" y="53"/>
                  </a:lnTo>
                  <a:lnTo>
                    <a:pt x="344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7" y="51"/>
                  </a:lnTo>
                  <a:lnTo>
                    <a:pt x="348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49" y="51"/>
                  </a:lnTo>
                  <a:lnTo>
                    <a:pt x="350" y="51"/>
                  </a:lnTo>
                  <a:lnTo>
                    <a:pt x="350" y="52"/>
                  </a:lnTo>
                  <a:lnTo>
                    <a:pt x="350" y="52"/>
                  </a:lnTo>
                  <a:lnTo>
                    <a:pt x="350" y="53"/>
                  </a:lnTo>
                  <a:lnTo>
                    <a:pt x="351" y="54"/>
                  </a:lnTo>
                  <a:lnTo>
                    <a:pt x="351" y="55"/>
                  </a:lnTo>
                  <a:lnTo>
                    <a:pt x="352" y="57"/>
                  </a:lnTo>
                  <a:lnTo>
                    <a:pt x="352" y="59"/>
                  </a:lnTo>
                  <a:lnTo>
                    <a:pt x="352" y="60"/>
                  </a:lnTo>
                  <a:lnTo>
                    <a:pt x="353" y="61"/>
                  </a:lnTo>
                  <a:lnTo>
                    <a:pt x="353" y="62"/>
                  </a:lnTo>
                  <a:lnTo>
                    <a:pt x="353" y="62"/>
                  </a:lnTo>
                  <a:lnTo>
                    <a:pt x="354" y="63"/>
                  </a:lnTo>
                  <a:lnTo>
                    <a:pt x="354" y="63"/>
                  </a:lnTo>
                  <a:lnTo>
                    <a:pt x="355" y="64"/>
                  </a:lnTo>
                  <a:lnTo>
                    <a:pt x="355" y="64"/>
                  </a:lnTo>
                  <a:lnTo>
                    <a:pt x="356" y="64"/>
                  </a:lnTo>
                  <a:lnTo>
                    <a:pt x="356" y="65"/>
                  </a:lnTo>
                  <a:lnTo>
                    <a:pt x="357" y="65"/>
                  </a:lnTo>
                  <a:lnTo>
                    <a:pt x="358" y="65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7" y="63"/>
                  </a:lnTo>
                  <a:lnTo>
                    <a:pt x="368" y="62"/>
                  </a:lnTo>
                  <a:lnTo>
                    <a:pt x="369" y="62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81" y="61"/>
                  </a:lnTo>
                  <a:lnTo>
                    <a:pt x="382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6" y="58"/>
                  </a:lnTo>
                  <a:lnTo>
                    <a:pt x="389" y="56"/>
                  </a:lnTo>
                  <a:lnTo>
                    <a:pt x="391" y="55"/>
                  </a:lnTo>
                  <a:lnTo>
                    <a:pt x="391" y="54"/>
                  </a:lnTo>
                  <a:lnTo>
                    <a:pt x="392" y="53"/>
                  </a:lnTo>
                  <a:lnTo>
                    <a:pt x="393" y="52"/>
                  </a:lnTo>
                  <a:lnTo>
                    <a:pt x="395" y="49"/>
                  </a:lnTo>
                  <a:lnTo>
                    <a:pt x="395" y="49"/>
                  </a:lnTo>
                  <a:lnTo>
                    <a:pt x="396" y="48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9" y="46"/>
                  </a:lnTo>
                  <a:lnTo>
                    <a:pt x="400" y="45"/>
                  </a:lnTo>
                  <a:lnTo>
                    <a:pt x="400" y="44"/>
                  </a:lnTo>
                  <a:lnTo>
                    <a:pt x="401" y="44"/>
                  </a:lnTo>
                  <a:lnTo>
                    <a:pt x="401" y="43"/>
                  </a:lnTo>
                  <a:lnTo>
                    <a:pt x="402" y="42"/>
                  </a:lnTo>
                  <a:lnTo>
                    <a:pt x="402" y="41"/>
                  </a:lnTo>
                  <a:lnTo>
                    <a:pt x="402" y="40"/>
                  </a:lnTo>
                  <a:lnTo>
                    <a:pt x="403" y="39"/>
                  </a:lnTo>
                  <a:lnTo>
                    <a:pt x="403" y="35"/>
                  </a:lnTo>
                  <a:lnTo>
                    <a:pt x="403" y="34"/>
                  </a:lnTo>
                  <a:lnTo>
                    <a:pt x="403" y="33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1"/>
                  </a:lnTo>
                  <a:lnTo>
                    <a:pt x="406" y="31"/>
                  </a:lnTo>
                  <a:lnTo>
                    <a:pt x="407" y="30"/>
                  </a:lnTo>
                  <a:lnTo>
                    <a:pt x="407" y="30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1" y="30"/>
                  </a:lnTo>
                  <a:lnTo>
                    <a:pt x="413" y="31"/>
                  </a:lnTo>
                  <a:lnTo>
                    <a:pt x="415" y="31"/>
                  </a:lnTo>
                  <a:lnTo>
                    <a:pt x="417" y="32"/>
                  </a:lnTo>
                  <a:lnTo>
                    <a:pt x="420" y="33"/>
                  </a:lnTo>
                  <a:lnTo>
                    <a:pt x="422" y="33"/>
                  </a:lnTo>
                  <a:lnTo>
                    <a:pt x="423" y="33"/>
                  </a:lnTo>
                  <a:lnTo>
                    <a:pt x="423" y="33"/>
                  </a:lnTo>
                  <a:lnTo>
                    <a:pt x="424" y="33"/>
                  </a:lnTo>
                  <a:lnTo>
                    <a:pt x="425" y="33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29" y="31"/>
                  </a:lnTo>
                  <a:lnTo>
                    <a:pt x="430" y="31"/>
                  </a:lnTo>
                  <a:lnTo>
                    <a:pt x="430" y="30"/>
                  </a:lnTo>
                  <a:lnTo>
                    <a:pt x="431" y="29"/>
                  </a:lnTo>
                  <a:lnTo>
                    <a:pt x="431" y="29"/>
                  </a:lnTo>
                  <a:lnTo>
                    <a:pt x="432" y="28"/>
                  </a:lnTo>
                  <a:lnTo>
                    <a:pt x="432" y="28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3" y="24"/>
                  </a:lnTo>
                  <a:lnTo>
                    <a:pt x="433" y="23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4" y="22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7" y="20"/>
                  </a:lnTo>
                  <a:lnTo>
                    <a:pt x="437" y="19"/>
                  </a:lnTo>
                  <a:lnTo>
                    <a:pt x="439" y="18"/>
                  </a:lnTo>
                  <a:lnTo>
                    <a:pt x="443" y="16"/>
                  </a:lnTo>
                  <a:lnTo>
                    <a:pt x="444" y="16"/>
                  </a:lnTo>
                  <a:lnTo>
                    <a:pt x="445" y="15"/>
                  </a:lnTo>
                  <a:lnTo>
                    <a:pt x="445" y="15"/>
                  </a:lnTo>
                  <a:lnTo>
                    <a:pt x="446" y="14"/>
                  </a:lnTo>
                  <a:lnTo>
                    <a:pt x="446" y="14"/>
                  </a:lnTo>
                  <a:lnTo>
                    <a:pt x="447" y="13"/>
                  </a:lnTo>
                  <a:lnTo>
                    <a:pt x="447" y="12"/>
                  </a:lnTo>
                  <a:lnTo>
                    <a:pt x="447" y="11"/>
                  </a:lnTo>
                  <a:lnTo>
                    <a:pt x="447" y="9"/>
                  </a:lnTo>
                  <a:lnTo>
                    <a:pt x="447" y="8"/>
                  </a:lnTo>
                  <a:lnTo>
                    <a:pt x="448" y="6"/>
                  </a:lnTo>
                  <a:lnTo>
                    <a:pt x="449" y="4"/>
                  </a:lnTo>
                  <a:lnTo>
                    <a:pt x="450" y="3"/>
                  </a:lnTo>
                  <a:lnTo>
                    <a:pt x="45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1" y="0"/>
                  </a:lnTo>
                  <a:lnTo>
                    <a:pt x="451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Freeform 10">
              <a:extLst>
                <a:ext uri="{FF2B5EF4-FFF2-40B4-BE49-F238E27FC236}">
                  <a16:creationId xmlns:a16="http://schemas.microsoft.com/office/drawing/2014/main" id="{412C054B-FD22-4193-4860-38F9B9C877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4" y="3272"/>
              <a:ext cx="138" cy="106"/>
            </a:xfrm>
            <a:custGeom>
              <a:avLst/>
              <a:gdLst>
                <a:gd name="T0" fmla="*/ 77 w 138"/>
                <a:gd name="T1" fmla="*/ 3 h 106"/>
                <a:gd name="T2" fmla="*/ 66 w 138"/>
                <a:gd name="T3" fmla="*/ 8 h 106"/>
                <a:gd name="T4" fmla="*/ 53 w 138"/>
                <a:gd name="T5" fmla="*/ 13 h 106"/>
                <a:gd name="T6" fmla="*/ 43 w 138"/>
                <a:gd name="T7" fmla="*/ 15 h 106"/>
                <a:gd name="T8" fmla="*/ 38 w 138"/>
                <a:gd name="T9" fmla="*/ 17 h 106"/>
                <a:gd name="T10" fmla="*/ 36 w 138"/>
                <a:gd name="T11" fmla="*/ 24 h 106"/>
                <a:gd name="T12" fmla="*/ 33 w 138"/>
                <a:gd name="T13" fmla="*/ 27 h 106"/>
                <a:gd name="T14" fmla="*/ 26 w 138"/>
                <a:gd name="T15" fmla="*/ 26 h 106"/>
                <a:gd name="T16" fmla="*/ 21 w 138"/>
                <a:gd name="T17" fmla="*/ 24 h 106"/>
                <a:gd name="T18" fmla="*/ 14 w 138"/>
                <a:gd name="T19" fmla="*/ 27 h 106"/>
                <a:gd name="T20" fmla="*/ 2 w 138"/>
                <a:gd name="T21" fmla="*/ 31 h 106"/>
                <a:gd name="T22" fmla="*/ 0 w 138"/>
                <a:gd name="T23" fmla="*/ 33 h 106"/>
                <a:gd name="T24" fmla="*/ 5 w 138"/>
                <a:gd name="T25" fmla="*/ 36 h 106"/>
                <a:gd name="T26" fmla="*/ 13 w 138"/>
                <a:gd name="T27" fmla="*/ 44 h 106"/>
                <a:gd name="T28" fmla="*/ 12 w 138"/>
                <a:gd name="T29" fmla="*/ 48 h 106"/>
                <a:gd name="T30" fmla="*/ 7 w 138"/>
                <a:gd name="T31" fmla="*/ 52 h 106"/>
                <a:gd name="T32" fmla="*/ 7 w 138"/>
                <a:gd name="T33" fmla="*/ 55 h 106"/>
                <a:gd name="T34" fmla="*/ 11 w 138"/>
                <a:gd name="T35" fmla="*/ 62 h 106"/>
                <a:gd name="T36" fmla="*/ 20 w 138"/>
                <a:gd name="T37" fmla="*/ 71 h 106"/>
                <a:gd name="T38" fmla="*/ 21 w 138"/>
                <a:gd name="T39" fmla="*/ 75 h 106"/>
                <a:gd name="T40" fmla="*/ 20 w 138"/>
                <a:gd name="T41" fmla="*/ 80 h 106"/>
                <a:gd name="T42" fmla="*/ 22 w 138"/>
                <a:gd name="T43" fmla="*/ 83 h 106"/>
                <a:gd name="T44" fmla="*/ 28 w 138"/>
                <a:gd name="T45" fmla="*/ 86 h 106"/>
                <a:gd name="T46" fmla="*/ 29 w 138"/>
                <a:gd name="T47" fmla="*/ 89 h 106"/>
                <a:gd name="T48" fmla="*/ 29 w 138"/>
                <a:gd name="T49" fmla="*/ 94 h 106"/>
                <a:gd name="T50" fmla="*/ 30 w 138"/>
                <a:gd name="T51" fmla="*/ 97 h 106"/>
                <a:gd name="T52" fmla="*/ 29 w 138"/>
                <a:gd name="T53" fmla="*/ 102 h 106"/>
                <a:gd name="T54" fmla="*/ 32 w 138"/>
                <a:gd name="T55" fmla="*/ 105 h 106"/>
                <a:gd name="T56" fmla="*/ 40 w 138"/>
                <a:gd name="T57" fmla="*/ 106 h 106"/>
                <a:gd name="T58" fmla="*/ 46 w 138"/>
                <a:gd name="T59" fmla="*/ 106 h 106"/>
                <a:gd name="T60" fmla="*/ 49 w 138"/>
                <a:gd name="T61" fmla="*/ 100 h 106"/>
                <a:gd name="T62" fmla="*/ 55 w 138"/>
                <a:gd name="T63" fmla="*/ 98 h 106"/>
                <a:gd name="T64" fmla="*/ 65 w 138"/>
                <a:gd name="T65" fmla="*/ 94 h 106"/>
                <a:gd name="T66" fmla="*/ 76 w 138"/>
                <a:gd name="T67" fmla="*/ 86 h 106"/>
                <a:gd name="T68" fmla="*/ 83 w 138"/>
                <a:gd name="T69" fmla="*/ 83 h 106"/>
                <a:gd name="T70" fmla="*/ 88 w 138"/>
                <a:gd name="T71" fmla="*/ 79 h 106"/>
                <a:gd name="T72" fmla="*/ 94 w 138"/>
                <a:gd name="T73" fmla="*/ 78 h 106"/>
                <a:gd name="T74" fmla="*/ 102 w 138"/>
                <a:gd name="T75" fmla="*/ 77 h 106"/>
                <a:gd name="T76" fmla="*/ 110 w 138"/>
                <a:gd name="T77" fmla="*/ 81 h 106"/>
                <a:gd name="T78" fmla="*/ 117 w 138"/>
                <a:gd name="T79" fmla="*/ 83 h 106"/>
                <a:gd name="T80" fmla="*/ 121 w 138"/>
                <a:gd name="T81" fmla="*/ 82 h 106"/>
                <a:gd name="T82" fmla="*/ 127 w 138"/>
                <a:gd name="T83" fmla="*/ 76 h 106"/>
                <a:gd name="T84" fmla="*/ 126 w 138"/>
                <a:gd name="T85" fmla="*/ 66 h 106"/>
                <a:gd name="T86" fmla="*/ 124 w 138"/>
                <a:gd name="T87" fmla="*/ 62 h 106"/>
                <a:gd name="T88" fmla="*/ 122 w 138"/>
                <a:gd name="T89" fmla="*/ 58 h 106"/>
                <a:gd name="T90" fmla="*/ 125 w 138"/>
                <a:gd name="T91" fmla="*/ 55 h 106"/>
                <a:gd name="T92" fmla="*/ 135 w 138"/>
                <a:gd name="T93" fmla="*/ 49 h 106"/>
                <a:gd name="T94" fmla="*/ 138 w 138"/>
                <a:gd name="T95" fmla="*/ 44 h 106"/>
                <a:gd name="T96" fmla="*/ 137 w 138"/>
                <a:gd name="T97" fmla="*/ 40 h 106"/>
                <a:gd name="T98" fmla="*/ 130 w 138"/>
                <a:gd name="T99" fmla="*/ 34 h 106"/>
                <a:gd name="T100" fmla="*/ 125 w 138"/>
                <a:gd name="T101" fmla="*/ 28 h 106"/>
                <a:gd name="T102" fmla="*/ 117 w 138"/>
                <a:gd name="T103" fmla="*/ 23 h 106"/>
                <a:gd name="T104" fmla="*/ 109 w 138"/>
                <a:gd name="T105" fmla="*/ 20 h 106"/>
                <a:gd name="T106" fmla="*/ 106 w 138"/>
                <a:gd name="T107" fmla="*/ 14 h 106"/>
                <a:gd name="T108" fmla="*/ 101 w 138"/>
                <a:gd name="T109" fmla="*/ 12 h 106"/>
                <a:gd name="T110" fmla="*/ 91 w 138"/>
                <a:gd name="T111" fmla="*/ 5 h 106"/>
                <a:gd name="T112" fmla="*/ 88 w 138"/>
                <a:gd name="T113" fmla="*/ 2 h 106"/>
                <a:gd name="T114" fmla="*/ 88 w 138"/>
                <a:gd name="T11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8" h="106">
                  <a:moveTo>
                    <a:pt x="87" y="0"/>
                  </a:moveTo>
                  <a:lnTo>
                    <a:pt x="87" y="1"/>
                  </a:lnTo>
                  <a:lnTo>
                    <a:pt x="86" y="1"/>
                  </a:lnTo>
                  <a:lnTo>
                    <a:pt x="84" y="1"/>
                  </a:lnTo>
                  <a:lnTo>
                    <a:pt x="79" y="2"/>
                  </a:lnTo>
                  <a:lnTo>
                    <a:pt x="77" y="3"/>
                  </a:lnTo>
                  <a:lnTo>
                    <a:pt x="75" y="3"/>
                  </a:lnTo>
                  <a:lnTo>
                    <a:pt x="73" y="4"/>
                  </a:lnTo>
                  <a:lnTo>
                    <a:pt x="71" y="5"/>
                  </a:lnTo>
                  <a:lnTo>
                    <a:pt x="70" y="5"/>
                  </a:lnTo>
                  <a:lnTo>
                    <a:pt x="67" y="7"/>
                  </a:lnTo>
                  <a:lnTo>
                    <a:pt x="66" y="8"/>
                  </a:lnTo>
                  <a:lnTo>
                    <a:pt x="64" y="9"/>
                  </a:lnTo>
                  <a:lnTo>
                    <a:pt x="61" y="9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4" y="12"/>
                  </a:lnTo>
                  <a:lnTo>
                    <a:pt x="53" y="13"/>
                  </a:lnTo>
                  <a:lnTo>
                    <a:pt x="52" y="14"/>
                  </a:lnTo>
                  <a:lnTo>
                    <a:pt x="49" y="14"/>
                  </a:lnTo>
                  <a:lnTo>
                    <a:pt x="48" y="14"/>
                  </a:lnTo>
                  <a:lnTo>
                    <a:pt x="47" y="15"/>
                  </a:lnTo>
                  <a:lnTo>
                    <a:pt x="44" y="15"/>
                  </a:lnTo>
                  <a:lnTo>
                    <a:pt x="43" y="15"/>
                  </a:lnTo>
                  <a:lnTo>
                    <a:pt x="41" y="15"/>
                  </a:lnTo>
                  <a:lnTo>
                    <a:pt x="41" y="16"/>
                  </a:lnTo>
                  <a:lnTo>
                    <a:pt x="40" y="16"/>
                  </a:lnTo>
                  <a:lnTo>
                    <a:pt x="39" y="16"/>
                  </a:lnTo>
                  <a:lnTo>
                    <a:pt x="39" y="17"/>
                  </a:lnTo>
                  <a:lnTo>
                    <a:pt x="38" y="17"/>
                  </a:lnTo>
                  <a:lnTo>
                    <a:pt x="38" y="18"/>
                  </a:lnTo>
                  <a:lnTo>
                    <a:pt x="37" y="19"/>
                  </a:lnTo>
                  <a:lnTo>
                    <a:pt x="37" y="20"/>
                  </a:lnTo>
                  <a:lnTo>
                    <a:pt x="37" y="21"/>
                  </a:lnTo>
                  <a:lnTo>
                    <a:pt x="36" y="23"/>
                  </a:lnTo>
                  <a:lnTo>
                    <a:pt x="36" y="24"/>
                  </a:lnTo>
                  <a:lnTo>
                    <a:pt x="35" y="25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4" y="26"/>
                  </a:lnTo>
                  <a:lnTo>
                    <a:pt x="34" y="27"/>
                  </a:lnTo>
                  <a:lnTo>
                    <a:pt x="33" y="27"/>
                  </a:lnTo>
                  <a:lnTo>
                    <a:pt x="31" y="27"/>
                  </a:lnTo>
                  <a:lnTo>
                    <a:pt x="30" y="27"/>
                  </a:lnTo>
                  <a:lnTo>
                    <a:pt x="28" y="27"/>
                  </a:lnTo>
                  <a:lnTo>
                    <a:pt x="27" y="27"/>
                  </a:lnTo>
                  <a:lnTo>
                    <a:pt x="27" y="26"/>
                  </a:lnTo>
                  <a:lnTo>
                    <a:pt x="26" y="26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3" y="24"/>
                  </a:lnTo>
                  <a:lnTo>
                    <a:pt x="22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9" y="25"/>
                  </a:lnTo>
                  <a:lnTo>
                    <a:pt x="16" y="26"/>
                  </a:lnTo>
                  <a:lnTo>
                    <a:pt x="15" y="27"/>
                  </a:lnTo>
                  <a:lnTo>
                    <a:pt x="14" y="27"/>
                  </a:lnTo>
                  <a:lnTo>
                    <a:pt x="11" y="28"/>
                  </a:lnTo>
                  <a:lnTo>
                    <a:pt x="9" y="28"/>
                  </a:lnTo>
                  <a:lnTo>
                    <a:pt x="6" y="29"/>
                  </a:lnTo>
                  <a:lnTo>
                    <a:pt x="4" y="30"/>
                  </a:lnTo>
                  <a:lnTo>
                    <a:pt x="3" y="31"/>
                  </a:lnTo>
                  <a:lnTo>
                    <a:pt x="2" y="31"/>
                  </a:lnTo>
                  <a:lnTo>
                    <a:pt x="1" y="32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4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3" y="35"/>
                  </a:lnTo>
                  <a:lnTo>
                    <a:pt x="4" y="35"/>
                  </a:lnTo>
                  <a:lnTo>
                    <a:pt x="5" y="36"/>
                  </a:lnTo>
                  <a:lnTo>
                    <a:pt x="5" y="37"/>
                  </a:lnTo>
                  <a:lnTo>
                    <a:pt x="7" y="38"/>
                  </a:lnTo>
                  <a:lnTo>
                    <a:pt x="9" y="40"/>
                  </a:lnTo>
                  <a:lnTo>
                    <a:pt x="11" y="43"/>
                  </a:lnTo>
                  <a:lnTo>
                    <a:pt x="12" y="44"/>
                  </a:lnTo>
                  <a:lnTo>
                    <a:pt x="13" y="44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6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0" y="49"/>
                  </a:lnTo>
                  <a:lnTo>
                    <a:pt x="9" y="50"/>
                  </a:lnTo>
                  <a:lnTo>
                    <a:pt x="8" y="50"/>
                  </a:lnTo>
                  <a:lnTo>
                    <a:pt x="8" y="51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6" y="53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7" y="54"/>
                  </a:lnTo>
                  <a:lnTo>
                    <a:pt x="7" y="55"/>
                  </a:lnTo>
                  <a:lnTo>
                    <a:pt x="7" y="56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10" y="59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2" y="64"/>
                  </a:lnTo>
                  <a:lnTo>
                    <a:pt x="13" y="65"/>
                  </a:lnTo>
                  <a:lnTo>
                    <a:pt x="14" y="66"/>
                  </a:lnTo>
                  <a:lnTo>
                    <a:pt x="15" y="67"/>
                  </a:lnTo>
                  <a:lnTo>
                    <a:pt x="17" y="69"/>
                  </a:lnTo>
                  <a:lnTo>
                    <a:pt x="20" y="71"/>
                  </a:lnTo>
                  <a:lnTo>
                    <a:pt x="20" y="72"/>
                  </a:lnTo>
                  <a:lnTo>
                    <a:pt x="21" y="73"/>
                  </a:lnTo>
                  <a:lnTo>
                    <a:pt x="21" y="73"/>
                  </a:lnTo>
                  <a:lnTo>
                    <a:pt x="21" y="74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6"/>
                  </a:lnTo>
                  <a:lnTo>
                    <a:pt x="21" y="77"/>
                  </a:lnTo>
                  <a:lnTo>
                    <a:pt x="20" y="78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80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2"/>
                  </a:lnTo>
                  <a:lnTo>
                    <a:pt x="21" y="82"/>
                  </a:lnTo>
                  <a:lnTo>
                    <a:pt x="21" y="83"/>
                  </a:lnTo>
                  <a:lnTo>
                    <a:pt x="22" y="83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4" y="85"/>
                  </a:lnTo>
                  <a:lnTo>
                    <a:pt x="25" y="85"/>
                  </a:lnTo>
                  <a:lnTo>
                    <a:pt x="27" y="86"/>
                  </a:lnTo>
                  <a:lnTo>
                    <a:pt x="28" y="86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29" y="90"/>
                  </a:lnTo>
                  <a:lnTo>
                    <a:pt x="29" y="91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7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29" y="100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102"/>
                  </a:lnTo>
                  <a:lnTo>
                    <a:pt x="30" y="102"/>
                  </a:lnTo>
                  <a:lnTo>
                    <a:pt x="30" y="103"/>
                  </a:lnTo>
                  <a:lnTo>
                    <a:pt x="31" y="103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2" y="105"/>
                  </a:lnTo>
                  <a:lnTo>
                    <a:pt x="33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5" y="106"/>
                  </a:lnTo>
                  <a:lnTo>
                    <a:pt x="36" y="106"/>
                  </a:lnTo>
                  <a:lnTo>
                    <a:pt x="40" y="106"/>
                  </a:lnTo>
                  <a:lnTo>
                    <a:pt x="41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6" y="106"/>
                  </a:lnTo>
                  <a:lnTo>
                    <a:pt x="46" y="105"/>
                  </a:lnTo>
                  <a:lnTo>
                    <a:pt x="46" y="105"/>
                  </a:lnTo>
                  <a:lnTo>
                    <a:pt x="47" y="104"/>
                  </a:lnTo>
                  <a:lnTo>
                    <a:pt x="48" y="102"/>
                  </a:lnTo>
                  <a:lnTo>
                    <a:pt x="49" y="101"/>
                  </a:lnTo>
                  <a:lnTo>
                    <a:pt x="49" y="100"/>
                  </a:lnTo>
                  <a:lnTo>
                    <a:pt x="49" y="100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1" y="99"/>
                  </a:lnTo>
                  <a:lnTo>
                    <a:pt x="52" y="98"/>
                  </a:lnTo>
                  <a:lnTo>
                    <a:pt x="55" y="98"/>
                  </a:lnTo>
                  <a:lnTo>
                    <a:pt x="56" y="97"/>
                  </a:lnTo>
                  <a:lnTo>
                    <a:pt x="58" y="97"/>
                  </a:lnTo>
                  <a:lnTo>
                    <a:pt x="59" y="96"/>
                  </a:lnTo>
                  <a:lnTo>
                    <a:pt x="62" y="95"/>
                  </a:lnTo>
                  <a:lnTo>
                    <a:pt x="64" y="95"/>
                  </a:lnTo>
                  <a:lnTo>
                    <a:pt x="65" y="94"/>
                  </a:lnTo>
                  <a:lnTo>
                    <a:pt x="66" y="94"/>
                  </a:lnTo>
                  <a:lnTo>
                    <a:pt x="67" y="93"/>
                  </a:lnTo>
                  <a:lnTo>
                    <a:pt x="68" y="93"/>
                  </a:lnTo>
                  <a:lnTo>
                    <a:pt x="73" y="89"/>
                  </a:lnTo>
                  <a:lnTo>
                    <a:pt x="75" y="87"/>
                  </a:lnTo>
                  <a:lnTo>
                    <a:pt x="76" y="86"/>
                  </a:lnTo>
                  <a:lnTo>
                    <a:pt x="77" y="86"/>
                  </a:lnTo>
                  <a:lnTo>
                    <a:pt x="78" y="86"/>
                  </a:lnTo>
                  <a:lnTo>
                    <a:pt x="79" y="85"/>
                  </a:lnTo>
                  <a:lnTo>
                    <a:pt x="81" y="84"/>
                  </a:lnTo>
                  <a:lnTo>
                    <a:pt x="82" y="84"/>
                  </a:lnTo>
                  <a:lnTo>
                    <a:pt x="83" y="83"/>
                  </a:lnTo>
                  <a:lnTo>
                    <a:pt x="84" y="83"/>
                  </a:lnTo>
                  <a:lnTo>
                    <a:pt x="85" y="82"/>
                  </a:lnTo>
                  <a:lnTo>
                    <a:pt x="86" y="82"/>
                  </a:lnTo>
                  <a:lnTo>
                    <a:pt x="87" y="80"/>
                  </a:lnTo>
                  <a:lnTo>
                    <a:pt x="87" y="80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9" y="79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91" y="78"/>
                  </a:lnTo>
                  <a:lnTo>
                    <a:pt x="94" y="78"/>
                  </a:lnTo>
                  <a:lnTo>
                    <a:pt x="95" y="77"/>
                  </a:lnTo>
                  <a:lnTo>
                    <a:pt x="97" y="77"/>
                  </a:lnTo>
                  <a:lnTo>
                    <a:pt x="99" y="77"/>
                  </a:lnTo>
                  <a:lnTo>
                    <a:pt x="101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3" y="77"/>
                  </a:lnTo>
                  <a:lnTo>
                    <a:pt x="104" y="78"/>
                  </a:lnTo>
                  <a:lnTo>
                    <a:pt x="106" y="78"/>
                  </a:lnTo>
                  <a:lnTo>
                    <a:pt x="107" y="79"/>
                  </a:lnTo>
                  <a:lnTo>
                    <a:pt x="108" y="80"/>
                  </a:lnTo>
                  <a:lnTo>
                    <a:pt x="110" y="81"/>
                  </a:lnTo>
                  <a:lnTo>
                    <a:pt x="112" y="82"/>
                  </a:lnTo>
                  <a:lnTo>
                    <a:pt x="112" y="82"/>
                  </a:lnTo>
                  <a:lnTo>
                    <a:pt x="113" y="82"/>
                  </a:lnTo>
                  <a:lnTo>
                    <a:pt x="114" y="83"/>
                  </a:lnTo>
                  <a:lnTo>
                    <a:pt x="115" y="83"/>
                  </a:lnTo>
                  <a:lnTo>
                    <a:pt x="117" y="83"/>
                  </a:lnTo>
                  <a:lnTo>
                    <a:pt x="118" y="83"/>
                  </a:lnTo>
                  <a:lnTo>
                    <a:pt x="118" y="83"/>
                  </a:lnTo>
                  <a:lnTo>
                    <a:pt x="119" y="83"/>
                  </a:lnTo>
                  <a:lnTo>
                    <a:pt x="120" y="83"/>
                  </a:lnTo>
                  <a:lnTo>
                    <a:pt x="120" y="82"/>
                  </a:lnTo>
                  <a:lnTo>
                    <a:pt x="121" y="82"/>
                  </a:lnTo>
                  <a:lnTo>
                    <a:pt x="122" y="81"/>
                  </a:lnTo>
                  <a:lnTo>
                    <a:pt x="124" y="79"/>
                  </a:lnTo>
                  <a:lnTo>
                    <a:pt x="125" y="79"/>
                  </a:lnTo>
                  <a:lnTo>
                    <a:pt x="126" y="78"/>
                  </a:lnTo>
                  <a:lnTo>
                    <a:pt x="126" y="77"/>
                  </a:lnTo>
                  <a:lnTo>
                    <a:pt x="127" y="76"/>
                  </a:lnTo>
                  <a:lnTo>
                    <a:pt x="127" y="75"/>
                  </a:lnTo>
                  <a:lnTo>
                    <a:pt x="127" y="74"/>
                  </a:lnTo>
                  <a:lnTo>
                    <a:pt x="127" y="73"/>
                  </a:lnTo>
                  <a:lnTo>
                    <a:pt x="127" y="72"/>
                  </a:lnTo>
                  <a:lnTo>
                    <a:pt x="126" y="68"/>
                  </a:lnTo>
                  <a:lnTo>
                    <a:pt x="126" y="66"/>
                  </a:lnTo>
                  <a:lnTo>
                    <a:pt x="126" y="65"/>
                  </a:lnTo>
                  <a:lnTo>
                    <a:pt x="126" y="64"/>
                  </a:lnTo>
                  <a:lnTo>
                    <a:pt x="125" y="64"/>
                  </a:lnTo>
                  <a:lnTo>
                    <a:pt x="125" y="63"/>
                  </a:lnTo>
                  <a:lnTo>
                    <a:pt x="125" y="63"/>
                  </a:lnTo>
                  <a:lnTo>
                    <a:pt x="124" y="62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3" y="60"/>
                  </a:lnTo>
                  <a:lnTo>
                    <a:pt x="122" y="60"/>
                  </a:lnTo>
                  <a:lnTo>
                    <a:pt x="122" y="59"/>
                  </a:lnTo>
                  <a:lnTo>
                    <a:pt x="122" y="58"/>
                  </a:lnTo>
                  <a:lnTo>
                    <a:pt x="123" y="58"/>
                  </a:lnTo>
                  <a:lnTo>
                    <a:pt x="123" y="57"/>
                  </a:lnTo>
                  <a:lnTo>
                    <a:pt x="123" y="57"/>
                  </a:lnTo>
                  <a:lnTo>
                    <a:pt x="123" y="56"/>
                  </a:lnTo>
                  <a:lnTo>
                    <a:pt x="124" y="56"/>
                  </a:lnTo>
                  <a:lnTo>
                    <a:pt x="125" y="55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31" y="51"/>
                  </a:lnTo>
                  <a:lnTo>
                    <a:pt x="134" y="50"/>
                  </a:lnTo>
                  <a:lnTo>
                    <a:pt x="134" y="49"/>
                  </a:lnTo>
                  <a:lnTo>
                    <a:pt x="135" y="49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7" y="47"/>
                  </a:lnTo>
                  <a:lnTo>
                    <a:pt x="137" y="46"/>
                  </a:lnTo>
                  <a:lnTo>
                    <a:pt x="138" y="45"/>
                  </a:lnTo>
                  <a:lnTo>
                    <a:pt x="138" y="44"/>
                  </a:lnTo>
                  <a:lnTo>
                    <a:pt x="138" y="43"/>
                  </a:lnTo>
                  <a:lnTo>
                    <a:pt x="138" y="43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37" y="41"/>
                  </a:lnTo>
                  <a:lnTo>
                    <a:pt x="137" y="40"/>
                  </a:lnTo>
                  <a:lnTo>
                    <a:pt x="136" y="39"/>
                  </a:lnTo>
                  <a:lnTo>
                    <a:pt x="135" y="38"/>
                  </a:lnTo>
                  <a:lnTo>
                    <a:pt x="135" y="37"/>
                  </a:lnTo>
                  <a:lnTo>
                    <a:pt x="134" y="37"/>
                  </a:lnTo>
                  <a:lnTo>
                    <a:pt x="133" y="36"/>
                  </a:lnTo>
                  <a:lnTo>
                    <a:pt x="130" y="34"/>
                  </a:lnTo>
                  <a:lnTo>
                    <a:pt x="129" y="33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7" y="31"/>
                  </a:lnTo>
                  <a:lnTo>
                    <a:pt x="126" y="29"/>
                  </a:lnTo>
                  <a:lnTo>
                    <a:pt x="125" y="28"/>
                  </a:lnTo>
                  <a:lnTo>
                    <a:pt x="124" y="28"/>
                  </a:lnTo>
                  <a:lnTo>
                    <a:pt x="124" y="27"/>
                  </a:lnTo>
                  <a:lnTo>
                    <a:pt x="123" y="27"/>
                  </a:lnTo>
                  <a:lnTo>
                    <a:pt x="122" y="26"/>
                  </a:lnTo>
                  <a:lnTo>
                    <a:pt x="118" y="24"/>
                  </a:lnTo>
                  <a:lnTo>
                    <a:pt x="117" y="23"/>
                  </a:lnTo>
                  <a:lnTo>
                    <a:pt x="114" y="23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1" y="21"/>
                  </a:lnTo>
                  <a:lnTo>
                    <a:pt x="110" y="21"/>
                  </a:lnTo>
                  <a:lnTo>
                    <a:pt x="109" y="20"/>
                  </a:lnTo>
                  <a:lnTo>
                    <a:pt x="109" y="19"/>
                  </a:lnTo>
                  <a:lnTo>
                    <a:pt x="108" y="19"/>
                  </a:lnTo>
                  <a:lnTo>
                    <a:pt x="107" y="18"/>
                  </a:lnTo>
                  <a:lnTo>
                    <a:pt x="107" y="17"/>
                  </a:lnTo>
                  <a:lnTo>
                    <a:pt x="107" y="16"/>
                  </a:lnTo>
                  <a:lnTo>
                    <a:pt x="106" y="14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4" y="12"/>
                  </a:lnTo>
                  <a:lnTo>
                    <a:pt x="103" y="12"/>
                  </a:lnTo>
                  <a:lnTo>
                    <a:pt x="101" y="12"/>
                  </a:lnTo>
                  <a:lnTo>
                    <a:pt x="100" y="11"/>
                  </a:lnTo>
                  <a:lnTo>
                    <a:pt x="99" y="11"/>
                  </a:lnTo>
                  <a:lnTo>
                    <a:pt x="98" y="10"/>
                  </a:lnTo>
                  <a:lnTo>
                    <a:pt x="95" y="8"/>
                  </a:lnTo>
                  <a:lnTo>
                    <a:pt x="94" y="7"/>
                  </a:lnTo>
                  <a:lnTo>
                    <a:pt x="91" y="5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89" y="4"/>
                  </a:lnTo>
                  <a:lnTo>
                    <a:pt x="89" y="3"/>
                  </a:lnTo>
                  <a:lnTo>
                    <a:pt x="89" y="2"/>
                  </a:lnTo>
                  <a:lnTo>
                    <a:pt x="88" y="2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9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7" y="0"/>
                  </a:lnTo>
                </a:path>
              </a:pathLst>
            </a:custGeom>
            <a:solidFill>
              <a:srgbClr val="FFCC29"/>
            </a:solidFill>
            <a:ln w="635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Freeform 11">
              <a:extLst>
                <a:ext uri="{FF2B5EF4-FFF2-40B4-BE49-F238E27FC236}">
                  <a16:creationId xmlns:a16="http://schemas.microsoft.com/office/drawing/2014/main" id="{F828F0EF-8C9B-741B-C691-74B72EC83C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3533"/>
              <a:ext cx="624" cy="488"/>
            </a:xfrm>
            <a:custGeom>
              <a:avLst/>
              <a:gdLst>
                <a:gd name="T0" fmla="*/ 178 w 624"/>
                <a:gd name="T1" fmla="*/ 37 h 488"/>
                <a:gd name="T2" fmla="*/ 217 w 624"/>
                <a:gd name="T3" fmla="*/ 23 h 488"/>
                <a:gd name="T4" fmla="*/ 241 w 624"/>
                <a:gd name="T5" fmla="*/ 35 h 488"/>
                <a:gd name="T6" fmla="*/ 265 w 624"/>
                <a:gd name="T7" fmla="*/ 33 h 488"/>
                <a:gd name="T8" fmla="*/ 286 w 624"/>
                <a:gd name="T9" fmla="*/ 34 h 488"/>
                <a:gd name="T10" fmla="*/ 319 w 624"/>
                <a:gd name="T11" fmla="*/ 35 h 488"/>
                <a:gd name="T12" fmla="*/ 337 w 624"/>
                <a:gd name="T13" fmla="*/ 48 h 488"/>
                <a:gd name="T14" fmla="*/ 363 w 624"/>
                <a:gd name="T15" fmla="*/ 27 h 488"/>
                <a:gd name="T16" fmla="*/ 373 w 624"/>
                <a:gd name="T17" fmla="*/ 0 h 488"/>
                <a:gd name="T18" fmla="*/ 403 w 624"/>
                <a:gd name="T19" fmla="*/ 13 h 488"/>
                <a:gd name="T20" fmla="*/ 422 w 624"/>
                <a:gd name="T21" fmla="*/ 31 h 488"/>
                <a:gd name="T22" fmla="*/ 417 w 624"/>
                <a:gd name="T23" fmla="*/ 47 h 488"/>
                <a:gd name="T24" fmla="*/ 415 w 624"/>
                <a:gd name="T25" fmla="*/ 88 h 488"/>
                <a:gd name="T26" fmla="*/ 421 w 624"/>
                <a:gd name="T27" fmla="*/ 120 h 488"/>
                <a:gd name="T28" fmla="*/ 435 w 624"/>
                <a:gd name="T29" fmla="*/ 153 h 488"/>
                <a:gd name="T30" fmla="*/ 468 w 624"/>
                <a:gd name="T31" fmla="*/ 159 h 488"/>
                <a:gd name="T32" fmla="*/ 473 w 624"/>
                <a:gd name="T33" fmla="*/ 171 h 488"/>
                <a:gd name="T34" fmla="*/ 502 w 624"/>
                <a:gd name="T35" fmla="*/ 178 h 488"/>
                <a:gd name="T36" fmla="*/ 542 w 624"/>
                <a:gd name="T37" fmla="*/ 184 h 488"/>
                <a:gd name="T38" fmla="*/ 551 w 624"/>
                <a:gd name="T39" fmla="*/ 212 h 488"/>
                <a:gd name="T40" fmla="*/ 591 w 624"/>
                <a:gd name="T41" fmla="*/ 227 h 488"/>
                <a:gd name="T42" fmla="*/ 614 w 624"/>
                <a:gd name="T43" fmla="*/ 228 h 488"/>
                <a:gd name="T44" fmla="*/ 621 w 624"/>
                <a:gd name="T45" fmla="*/ 249 h 488"/>
                <a:gd name="T46" fmla="*/ 600 w 624"/>
                <a:gd name="T47" fmla="*/ 276 h 488"/>
                <a:gd name="T48" fmla="*/ 605 w 624"/>
                <a:gd name="T49" fmla="*/ 293 h 488"/>
                <a:gd name="T50" fmla="*/ 617 w 624"/>
                <a:gd name="T51" fmla="*/ 312 h 488"/>
                <a:gd name="T52" fmla="*/ 606 w 624"/>
                <a:gd name="T53" fmla="*/ 325 h 488"/>
                <a:gd name="T54" fmla="*/ 560 w 624"/>
                <a:gd name="T55" fmla="*/ 297 h 488"/>
                <a:gd name="T56" fmla="*/ 529 w 624"/>
                <a:gd name="T57" fmla="*/ 291 h 488"/>
                <a:gd name="T58" fmla="*/ 496 w 624"/>
                <a:gd name="T59" fmla="*/ 309 h 488"/>
                <a:gd name="T60" fmla="*/ 484 w 624"/>
                <a:gd name="T61" fmla="*/ 286 h 488"/>
                <a:gd name="T62" fmla="*/ 448 w 624"/>
                <a:gd name="T63" fmla="*/ 277 h 488"/>
                <a:gd name="T64" fmla="*/ 438 w 624"/>
                <a:gd name="T65" fmla="*/ 313 h 488"/>
                <a:gd name="T66" fmla="*/ 432 w 624"/>
                <a:gd name="T67" fmla="*/ 370 h 488"/>
                <a:gd name="T68" fmla="*/ 425 w 624"/>
                <a:gd name="T69" fmla="*/ 394 h 488"/>
                <a:gd name="T70" fmla="*/ 386 w 624"/>
                <a:gd name="T71" fmla="*/ 391 h 488"/>
                <a:gd name="T72" fmla="*/ 358 w 624"/>
                <a:gd name="T73" fmla="*/ 437 h 488"/>
                <a:gd name="T74" fmla="*/ 350 w 624"/>
                <a:gd name="T75" fmla="*/ 476 h 488"/>
                <a:gd name="T76" fmla="*/ 326 w 624"/>
                <a:gd name="T77" fmla="*/ 461 h 488"/>
                <a:gd name="T78" fmla="*/ 291 w 624"/>
                <a:gd name="T79" fmla="*/ 458 h 488"/>
                <a:gd name="T80" fmla="*/ 273 w 624"/>
                <a:gd name="T81" fmla="*/ 465 h 488"/>
                <a:gd name="T82" fmla="*/ 253 w 624"/>
                <a:gd name="T83" fmla="*/ 481 h 488"/>
                <a:gd name="T84" fmla="*/ 211 w 624"/>
                <a:gd name="T85" fmla="*/ 477 h 488"/>
                <a:gd name="T86" fmla="*/ 158 w 624"/>
                <a:gd name="T87" fmla="*/ 467 h 488"/>
                <a:gd name="T88" fmla="*/ 145 w 624"/>
                <a:gd name="T89" fmla="*/ 446 h 488"/>
                <a:gd name="T90" fmla="*/ 142 w 624"/>
                <a:gd name="T91" fmla="*/ 422 h 488"/>
                <a:gd name="T92" fmla="*/ 101 w 624"/>
                <a:gd name="T93" fmla="*/ 392 h 488"/>
                <a:gd name="T94" fmla="*/ 73 w 624"/>
                <a:gd name="T95" fmla="*/ 361 h 488"/>
                <a:gd name="T96" fmla="*/ 46 w 624"/>
                <a:gd name="T97" fmla="*/ 336 h 488"/>
                <a:gd name="T98" fmla="*/ 20 w 624"/>
                <a:gd name="T99" fmla="*/ 306 h 488"/>
                <a:gd name="T100" fmla="*/ 0 w 624"/>
                <a:gd name="T101" fmla="*/ 286 h 488"/>
                <a:gd name="T102" fmla="*/ 17 w 624"/>
                <a:gd name="T103" fmla="*/ 255 h 488"/>
                <a:gd name="T104" fmla="*/ 18 w 624"/>
                <a:gd name="T105" fmla="*/ 214 h 488"/>
                <a:gd name="T106" fmla="*/ 47 w 624"/>
                <a:gd name="T107" fmla="*/ 201 h 488"/>
                <a:gd name="T108" fmla="*/ 49 w 624"/>
                <a:gd name="T109" fmla="*/ 174 h 488"/>
                <a:gd name="T110" fmla="*/ 52 w 624"/>
                <a:gd name="T111" fmla="*/ 157 h 488"/>
                <a:gd name="T112" fmla="*/ 59 w 624"/>
                <a:gd name="T113" fmla="*/ 140 h 488"/>
                <a:gd name="T114" fmla="*/ 74 w 624"/>
                <a:gd name="T115" fmla="*/ 107 h 488"/>
                <a:gd name="T116" fmla="*/ 71 w 624"/>
                <a:gd name="T117" fmla="*/ 67 h 488"/>
                <a:gd name="T118" fmla="*/ 73 w 624"/>
                <a:gd name="T119" fmla="*/ 44 h 488"/>
                <a:gd name="T120" fmla="*/ 102 w 624"/>
                <a:gd name="T121" fmla="*/ 41 h 488"/>
                <a:gd name="T122" fmla="*/ 127 w 624"/>
                <a:gd name="T123" fmla="*/ 45 h 488"/>
                <a:gd name="T124" fmla="*/ 150 w 624"/>
                <a:gd name="T125" fmla="*/ 28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24" h="488">
                  <a:moveTo>
                    <a:pt x="162" y="23"/>
                  </a:moveTo>
                  <a:lnTo>
                    <a:pt x="162" y="23"/>
                  </a:lnTo>
                  <a:lnTo>
                    <a:pt x="162" y="23"/>
                  </a:lnTo>
                  <a:lnTo>
                    <a:pt x="163" y="24"/>
                  </a:lnTo>
                  <a:lnTo>
                    <a:pt x="163" y="24"/>
                  </a:lnTo>
                  <a:lnTo>
                    <a:pt x="163" y="25"/>
                  </a:lnTo>
                  <a:lnTo>
                    <a:pt x="163" y="29"/>
                  </a:lnTo>
                  <a:lnTo>
                    <a:pt x="163" y="31"/>
                  </a:lnTo>
                  <a:lnTo>
                    <a:pt x="163" y="32"/>
                  </a:lnTo>
                  <a:lnTo>
                    <a:pt x="163" y="33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4" y="35"/>
                  </a:lnTo>
                  <a:lnTo>
                    <a:pt x="164" y="35"/>
                  </a:lnTo>
                  <a:lnTo>
                    <a:pt x="165" y="36"/>
                  </a:lnTo>
                  <a:lnTo>
                    <a:pt x="165" y="36"/>
                  </a:lnTo>
                  <a:lnTo>
                    <a:pt x="166" y="37"/>
                  </a:lnTo>
                  <a:lnTo>
                    <a:pt x="167" y="37"/>
                  </a:lnTo>
                  <a:lnTo>
                    <a:pt x="168" y="37"/>
                  </a:lnTo>
                  <a:lnTo>
                    <a:pt x="168" y="37"/>
                  </a:lnTo>
                  <a:lnTo>
                    <a:pt x="170" y="38"/>
                  </a:lnTo>
                  <a:lnTo>
                    <a:pt x="171" y="37"/>
                  </a:lnTo>
                  <a:lnTo>
                    <a:pt x="172" y="37"/>
                  </a:lnTo>
                  <a:lnTo>
                    <a:pt x="173" y="37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6" y="37"/>
                  </a:lnTo>
                  <a:lnTo>
                    <a:pt x="178" y="37"/>
                  </a:lnTo>
                  <a:lnTo>
                    <a:pt x="179" y="37"/>
                  </a:lnTo>
                  <a:lnTo>
                    <a:pt x="181" y="36"/>
                  </a:lnTo>
                  <a:lnTo>
                    <a:pt x="182" y="36"/>
                  </a:lnTo>
                  <a:lnTo>
                    <a:pt x="183" y="36"/>
                  </a:lnTo>
                  <a:lnTo>
                    <a:pt x="187" y="36"/>
                  </a:lnTo>
                  <a:lnTo>
                    <a:pt x="188" y="36"/>
                  </a:lnTo>
                  <a:lnTo>
                    <a:pt x="196" y="36"/>
                  </a:lnTo>
                  <a:lnTo>
                    <a:pt x="199" y="35"/>
                  </a:lnTo>
                  <a:lnTo>
                    <a:pt x="201" y="35"/>
                  </a:lnTo>
                  <a:lnTo>
                    <a:pt x="202" y="35"/>
                  </a:lnTo>
                  <a:lnTo>
                    <a:pt x="204" y="35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6" y="35"/>
                  </a:lnTo>
                  <a:lnTo>
                    <a:pt x="206" y="35"/>
                  </a:lnTo>
                  <a:lnTo>
                    <a:pt x="207" y="34"/>
                  </a:lnTo>
                  <a:lnTo>
                    <a:pt x="207" y="32"/>
                  </a:lnTo>
                  <a:lnTo>
                    <a:pt x="208" y="31"/>
                  </a:lnTo>
                  <a:lnTo>
                    <a:pt x="209" y="30"/>
                  </a:lnTo>
                  <a:lnTo>
                    <a:pt x="210" y="28"/>
                  </a:lnTo>
                  <a:lnTo>
                    <a:pt x="211" y="26"/>
                  </a:lnTo>
                  <a:lnTo>
                    <a:pt x="211" y="26"/>
                  </a:lnTo>
                  <a:lnTo>
                    <a:pt x="212" y="25"/>
                  </a:lnTo>
                  <a:lnTo>
                    <a:pt x="212" y="24"/>
                  </a:lnTo>
                  <a:lnTo>
                    <a:pt x="213" y="24"/>
                  </a:lnTo>
                  <a:lnTo>
                    <a:pt x="214" y="24"/>
                  </a:lnTo>
                  <a:lnTo>
                    <a:pt x="217" y="23"/>
                  </a:lnTo>
                  <a:lnTo>
                    <a:pt x="219" y="22"/>
                  </a:lnTo>
                  <a:lnTo>
                    <a:pt x="220" y="22"/>
                  </a:lnTo>
                  <a:lnTo>
                    <a:pt x="221" y="22"/>
                  </a:lnTo>
                  <a:lnTo>
                    <a:pt x="222" y="22"/>
                  </a:lnTo>
                  <a:lnTo>
                    <a:pt x="222" y="22"/>
                  </a:lnTo>
                  <a:lnTo>
                    <a:pt x="223" y="22"/>
                  </a:lnTo>
                  <a:lnTo>
                    <a:pt x="225" y="23"/>
                  </a:lnTo>
                  <a:lnTo>
                    <a:pt x="226" y="23"/>
                  </a:lnTo>
                  <a:lnTo>
                    <a:pt x="227" y="24"/>
                  </a:lnTo>
                  <a:lnTo>
                    <a:pt x="228" y="25"/>
                  </a:lnTo>
                  <a:lnTo>
                    <a:pt x="229" y="25"/>
                  </a:lnTo>
                  <a:lnTo>
                    <a:pt x="230" y="26"/>
                  </a:lnTo>
                  <a:lnTo>
                    <a:pt x="231" y="28"/>
                  </a:lnTo>
                  <a:lnTo>
                    <a:pt x="231" y="28"/>
                  </a:lnTo>
                  <a:lnTo>
                    <a:pt x="232" y="29"/>
                  </a:lnTo>
                  <a:lnTo>
                    <a:pt x="232" y="29"/>
                  </a:lnTo>
                  <a:lnTo>
                    <a:pt x="233" y="30"/>
                  </a:lnTo>
                  <a:lnTo>
                    <a:pt x="233" y="30"/>
                  </a:lnTo>
                  <a:lnTo>
                    <a:pt x="235" y="30"/>
                  </a:lnTo>
                  <a:lnTo>
                    <a:pt x="236" y="31"/>
                  </a:lnTo>
                  <a:lnTo>
                    <a:pt x="238" y="32"/>
                  </a:lnTo>
                  <a:lnTo>
                    <a:pt x="238" y="32"/>
                  </a:lnTo>
                  <a:lnTo>
                    <a:pt x="239" y="33"/>
                  </a:lnTo>
                  <a:lnTo>
                    <a:pt x="240" y="33"/>
                  </a:lnTo>
                  <a:lnTo>
                    <a:pt x="241" y="34"/>
                  </a:lnTo>
                  <a:lnTo>
                    <a:pt x="241" y="35"/>
                  </a:lnTo>
                  <a:lnTo>
                    <a:pt x="241" y="35"/>
                  </a:lnTo>
                  <a:lnTo>
                    <a:pt x="241" y="35"/>
                  </a:lnTo>
                  <a:lnTo>
                    <a:pt x="242" y="37"/>
                  </a:lnTo>
                  <a:lnTo>
                    <a:pt x="242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4" y="39"/>
                  </a:lnTo>
                  <a:lnTo>
                    <a:pt x="245" y="39"/>
                  </a:lnTo>
                  <a:lnTo>
                    <a:pt x="247" y="39"/>
                  </a:lnTo>
                  <a:lnTo>
                    <a:pt x="248" y="39"/>
                  </a:lnTo>
                  <a:lnTo>
                    <a:pt x="249" y="39"/>
                  </a:lnTo>
                  <a:lnTo>
                    <a:pt x="250" y="39"/>
                  </a:lnTo>
                  <a:lnTo>
                    <a:pt x="252" y="39"/>
                  </a:lnTo>
                  <a:lnTo>
                    <a:pt x="252" y="38"/>
                  </a:lnTo>
                  <a:lnTo>
                    <a:pt x="253" y="38"/>
                  </a:lnTo>
                  <a:lnTo>
                    <a:pt x="253" y="38"/>
                  </a:lnTo>
                  <a:lnTo>
                    <a:pt x="256" y="36"/>
                  </a:lnTo>
                  <a:lnTo>
                    <a:pt x="257" y="35"/>
                  </a:lnTo>
                  <a:lnTo>
                    <a:pt x="258" y="35"/>
                  </a:lnTo>
                  <a:lnTo>
                    <a:pt x="259" y="34"/>
                  </a:lnTo>
                  <a:lnTo>
                    <a:pt x="260" y="34"/>
                  </a:lnTo>
                  <a:lnTo>
                    <a:pt x="261" y="34"/>
                  </a:lnTo>
                  <a:lnTo>
                    <a:pt x="262" y="34"/>
                  </a:lnTo>
                  <a:lnTo>
                    <a:pt x="264" y="34"/>
                  </a:lnTo>
                  <a:lnTo>
                    <a:pt x="264" y="34"/>
                  </a:lnTo>
                  <a:lnTo>
                    <a:pt x="264" y="34"/>
                  </a:lnTo>
                  <a:lnTo>
                    <a:pt x="265" y="34"/>
                  </a:lnTo>
                  <a:lnTo>
                    <a:pt x="265" y="34"/>
                  </a:lnTo>
                  <a:lnTo>
                    <a:pt x="265" y="33"/>
                  </a:lnTo>
                  <a:lnTo>
                    <a:pt x="265" y="33"/>
                  </a:lnTo>
                  <a:lnTo>
                    <a:pt x="265" y="32"/>
                  </a:lnTo>
                  <a:lnTo>
                    <a:pt x="265" y="30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8"/>
                  </a:lnTo>
                  <a:lnTo>
                    <a:pt x="265" y="28"/>
                  </a:lnTo>
                  <a:lnTo>
                    <a:pt x="266" y="28"/>
                  </a:lnTo>
                  <a:lnTo>
                    <a:pt x="266" y="28"/>
                  </a:lnTo>
                  <a:lnTo>
                    <a:pt x="267" y="28"/>
                  </a:lnTo>
                  <a:lnTo>
                    <a:pt x="268" y="28"/>
                  </a:lnTo>
                  <a:lnTo>
                    <a:pt x="270" y="30"/>
                  </a:lnTo>
                  <a:lnTo>
                    <a:pt x="271" y="30"/>
                  </a:lnTo>
                  <a:lnTo>
                    <a:pt x="272" y="31"/>
                  </a:lnTo>
                  <a:lnTo>
                    <a:pt x="274" y="31"/>
                  </a:lnTo>
                  <a:lnTo>
                    <a:pt x="275" y="32"/>
                  </a:lnTo>
                  <a:lnTo>
                    <a:pt x="276" y="32"/>
                  </a:lnTo>
                  <a:lnTo>
                    <a:pt x="279" y="35"/>
                  </a:lnTo>
                  <a:lnTo>
                    <a:pt x="280" y="35"/>
                  </a:lnTo>
                  <a:lnTo>
                    <a:pt x="281" y="36"/>
                  </a:lnTo>
                  <a:lnTo>
                    <a:pt x="282" y="36"/>
                  </a:lnTo>
                  <a:lnTo>
                    <a:pt x="282" y="36"/>
                  </a:lnTo>
                  <a:lnTo>
                    <a:pt x="283" y="36"/>
                  </a:lnTo>
                  <a:lnTo>
                    <a:pt x="283" y="36"/>
                  </a:lnTo>
                  <a:lnTo>
                    <a:pt x="284" y="36"/>
                  </a:lnTo>
                  <a:lnTo>
                    <a:pt x="285" y="35"/>
                  </a:lnTo>
                  <a:lnTo>
                    <a:pt x="286" y="34"/>
                  </a:lnTo>
                  <a:lnTo>
                    <a:pt x="287" y="34"/>
                  </a:lnTo>
                  <a:lnTo>
                    <a:pt x="288" y="33"/>
                  </a:lnTo>
                  <a:lnTo>
                    <a:pt x="288" y="33"/>
                  </a:lnTo>
                  <a:lnTo>
                    <a:pt x="289" y="33"/>
                  </a:lnTo>
                  <a:lnTo>
                    <a:pt x="290" y="33"/>
                  </a:lnTo>
                  <a:lnTo>
                    <a:pt x="292" y="33"/>
                  </a:lnTo>
                  <a:lnTo>
                    <a:pt x="293" y="34"/>
                  </a:lnTo>
                  <a:lnTo>
                    <a:pt x="294" y="34"/>
                  </a:lnTo>
                  <a:lnTo>
                    <a:pt x="295" y="34"/>
                  </a:lnTo>
                  <a:lnTo>
                    <a:pt x="295" y="34"/>
                  </a:lnTo>
                  <a:lnTo>
                    <a:pt x="297" y="35"/>
                  </a:lnTo>
                  <a:lnTo>
                    <a:pt x="298" y="35"/>
                  </a:lnTo>
                  <a:lnTo>
                    <a:pt x="299" y="36"/>
                  </a:lnTo>
                  <a:lnTo>
                    <a:pt x="300" y="36"/>
                  </a:lnTo>
                  <a:lnTo>
                    <a:pt x="302" y="36"/>
                  </a:lnTo>
                  <a:lnTo>
                    <a:pt x="306" y="37"/>
                  </a:lnTo>
                  <a:lnTo>
                    <a:pt x="307" y="37"/>
                  </a:lnTo>
                  <a:lnTo>
                    <a:pt x="309" y="37"/>
                  </a:lnTo>
                  <a:lnTo>
                    <a:pt x="310" y="37"/>
                  </a:lnTo>
                  <a:lnTo>
                    <a:pt x="311" y="37"/>
                  </a:lnTo>
                  <a:lnTo>
                    <a:pt x="313" y="36"/>
                  </a:lnTo>
                  <a:lnTo>
                    <a:pt x="314" y="36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9" y="35"/>
                  </a:lnTo>
                  <a:lnTo>
                    <a:pt x="319" y="36"/>
                  </a:lnTo>
                  <a:lnTo>
                    <a:pt x="319" y="36"/>
                  </a:lnTo>
                  <a:lnTo>
                    <a:pt x="319" y="37"/>
                  </a:lnTo>
                  <a:lnTo>
                    <a:pt x="318" y="40"/>
                  </a:lnTo>
                  <a:lnTo>
                    <a:pt x="318" y="40"/>
                  </a:lnTo>
                  <a:lnTo>
                    <a:pt x="318" y="41"/>
                  </a:lnTo>
                  <a:lnTo>
                    <a:pt x="318" y="41"/>
                  </a:lnTo>
                  <a:lnTo>
                    <a:pt x="318" y="41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20" y="42"/>
                  </a:lnTo>
                  <a:lnTo>
                    <a:pt x="320" y="43"/>
                  </a:lnTo>
                  <a:lnTo>
                    <a:pt x="321" y="43"/>
                  </a:lnTo>
                  <a:lnTo>
                    <a:pt x="321" y="43"/>
                  </a:lnTo>
                  <a:lnTo>
                    <a:pt x="323" y="43"/>
                  </a:lnTo>
                  <a:lnTo>
                    <a:pt x="325" y="44"/>
                  </a:lnTo>
                  <a:lnTo>
                    <a:pt x="326" y="44"/>
                  </a:lnTo>
                  <a:lnTo>
                    <a:pt x="328" y="44"/>
                  </a:lnTo>
                  <a:lnTo>
                    <a:pt x="329" y="45"/>
                  </a:lnTo>
                  <a:lnTo>
                    <a:pt x="331" y="45"/>
                  </a:lnTo>
                  <a:lnTo>
                    <a:pt x="332" y="46"/>
                  </a:lnTo>
                  <a:lnTo>
                    <a:pt x="333" y="46"/>
                  </a:lnTo>
                  <a:lnTo>
                    <a:pt x="335" y="48"/>
                  </a:lnTo>
                  <a:lnTo>
                    <a:pt x="335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8" y="48"/>
                  </a:lnTo>
                  <a:lnTo>
                    <a:pt x="338" y="47"/>
                  </a:lnTo>
                  <a:lnTo>
                    <a:pt x="339" y="47"/>
                  </a:lnTo>
                  <a:lnTo>
                    <a:pt x="340" y="45"/>
                  </a:lnTo>
                  <a:lnTo>
                    <a:pt x="341" y="44"/>
                  </a:lnTo>
                  <a:lnTo>
                    <a:pt x="342" y="43"/>
                  </a:lnTo>
                  <a:lnTo>
                    <a:pt x="343" y="41"/>
                  </a:lnTo>
                  <a:lnTo>
                    <a:pt x="344" y="40"/>
                  </a:lnTo>
                  <a:lnTo>
                    <a:pt x="347" y="38"/>
                  </a:lnTo>
                  <a:lnTo>
                    <a:pt x="349" y="36"/>
                  </a:lnTo>
                  <a:lnTo>
                    <a:pt x="351" y="35"/>
                  </a:lnTo>
                  <a:lnTo>
                    <a:pt x="352" y="34"/>
                  </a:lnTo>
                  <a:lnTo>
                    <a:pt x="353" y="34"/>
                  </a:lnTo>
                  <a:lnTo>
                    <a:pt x="354" y="34"/>
                  </a:lnTo>
                  <a:lnTo>
                    <a:pt x="357" y="33"/>
                  </a:lnTo>
                  <a:lnTo>
                    <a:pt x="358" y="32"/>
                  </a:lnTo>
                  <a:lnTo>
                    <a:pt x="359" y="32"/>
                  </a:lnTo>
                  <a:lnTo>
                    <a:pt x="361" y="31"/>
                  </a:lnTo>
                  <a:lnTo>
                    <a:pt x="361" y="31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3" y="29"/>
                  </a:lnTo>
                  <a:lnTo>
                    <a:pt x="363" y="28"/>
                  </a:lnTo>
                  <a:lnTo>
                    <a:pt x="363" y="28"/>
                  </a:lnTo>
                  <a:lnTo>
                    <a:pt x="363" y="27"/>
                  </a:lnTo>
                  <a:lnTo>
                    <a:pt x="362" y="25"/>
                  </a:lnTo>
                  <a:lnTo>
                    <a:pt x="362" y="23"/>
                  </a:lnTo>
                  <a:lnTo>
                    <a:pt x="361" y="21"/>
                  </a:lnTo>
                  <a:lnTo>
                    <a:pt x="361" y="20"/>
                  </a:lnTo>
                  <a:lnTo>
                    <a:pt x="361" y="20"/>
                  </a:lnTo>
                  <a:lnTo>
                    <a:pt x="361" y="18"/>
                  </a:lnTo>
                  <a:lnTo>
                    <a:pt x="361" y="17"/>
                  </a:lnTo>
                  <a:lnTo>
                    <a:pt x="362" y="15"/>
                  </a:lnTo>
                  <a:lnTo>
                    <a:pt x="362" y="14"/>
                  </a:lnTo>
                  <a:lnTo>
                    <a:pt x="362" y="13"/>
                  </a:lnTo>
                  <a:lnTo>
                    <a:pt x="362" y="11"/>
                  </a:lnTo>
                  <a:lnTo>
                    <a:pt x="362" y="11"/>
                  </a:lnTo>
                  <a:lnTo>
                    <a:pt x="362" y="10"/>
                  </a:lnTo>
                  <a:lnTo>
                    <a:pt x="363" y="10"/>
                  </a:lnTo>
                  <a:lnTo>
                    <a:pt x="363" y="9"/>
                  </a:lnTo>
                  <a:lnTo>
                    <a:pt x="364" y="9"/>
                  </a:lnTo>
                  <a:lnTo>
                    <a:pt x="365" y="8"/>
                  </a:lnTo>
                  <a:lnTo>
                    <a:pt x="365" y="7"/>
                  </a:lnTo>
                  <a:lnTo>
                    <a:pt x="366" y="7"/>
                  </a:lnTo>
                  <a:lnTo>
                    <a:pt x="366" y="5"/>
                  </a:lnTo>
                  <a:lnTo>
                    <a:pt x="367" y="5"/>
                  </a:lnTo>
                  <a:lnTo>
                    <a:pt x="367" y="4"/>
                  </a:lnTo>
                  <a:lnTo>
                    <a:pt x="368" y="3"/>
                  </a:lnTo>
                  <a:lnTo>
                    <a:pt x="370" y="2"/>
                  </a:lnTo>
                  <a:lnTo>
                    <a:pt x="372" y="1"/>
                  </a:lnTo>
                  <a:lnTo>
                    <a:pt x="372" y="1"/>
                  </a:lnTo>
                  <a:lnTo>
                    <a:pt x="373" y="0"/>
                  </a:lnTo>
                  <a:lnTo>
                    <a:pt x="373" y="0"/>
                  </a:lnTo>
                  <a:lnTo>
                    <a:pt x="373" y="0"/>
                  </a:lnTo>
                  <a:lnTo>
                    <a:pt x="374" y="0"/>
                  </a:lnTo>
                  <a:lnTo>
                    <a:pt x="375" y="1"/>
                  </a:lnTo>
                  <a:lnTo>
                    <a:pt x="376" y="1"/>
                  </a:lnTo>
                  <a:lnTo>
                    <a:pt x="378" y="3"/>
                  </a:lnTo>
                  <a:lnTo>
                    <a:pt x="379" y="3"/>
                  </a:lnTo>
                  <a:lnTo>
                    <a:pt x="380" y="4"/>
                  </a:lnTo>
                  <a:lnTo>
                    <a:pt x="384" y="6"/>
                  </a:lnTo>
                  <a:lnTo>
                    <a:pt x="385" y="7"/>
                  </a:lnTo>
                  <a:lnTo>
                    <a:pt x="386" y="7"/>
                  </a:lnTo>
                  <a:lnTo>
                    <a:pt x="387" y="8"/>
                  </a:lnTo>
                  <a:lnTo>
                    <a:pt x="388" y="9"/>
                  </a:lnTo>
                  <a:lnTo>
                    <a:pt x="391" y="11"/>
                  </a:lnTo>
                  <a:lnTo>
                    <a:pt x="393" y="13"/>
                  </a:lnTo>
                  <a:lnTo>
                    <a:pt x="394" y="13"/>
                  </a:lnTo>
                  <a:lnTo>
                    <a:pt x="395" y="14"/>
                  </a:lnTo>
                  <a:lnTo>
                    <a:pt x="396" y="15"/>
                  </a:lnTo>
                  <a:lnTo>
                    <a:pt x="396" y="15"/>
                  </a:lnTo>
                  <a:lnTo>
                    <a:pt x="397" y="15"/>
                  </a:lnTo>
                  <a:lnTo>
                    <a:pt x="397" y="15"/>
                  </a:lnTo>
                  <a:lnTo>
                    <a:pt x="398" y="15"/>
                  </a:lnTo>
                  <a:lnTo>
                    <a:pt x="398" y="15"/>
                  </a:lnTo>
                  <a:lnTo>
                    <a:pt x="399" y="15"/>
                  </a:lnTo>
                  <a:lnTo>
                    <a:pt x="400" y="14"/>
                  </a:lnTo>
                  <a:lnTo>
                    <a:pt x="401" y="14"/>
                  </a:lnTo>
                  <a:lnTo>
                    <a:pt x="402" y="13"/>
                  </a:lnTo>
                  <a:lnTo>
                    <a:pt x="403" y="13"/>
                  </a:lnTo>
                  <a:lnTo>
                    <a:pt x="403" y="13"/>
                  </a:lnTo>
                  <a:lnTo>
                    <a:pt x="404" y="13"/>
                  </a:lnTo>
                  <a:lnTo>
                    <a:pt x="404" y="13"/>
                  </a:lnTo>
                  <a:lnTo>
                    <a:pt x="405" y="13"/>
                  </a:lnTo>
                  <a:lnTo>
                    <a:pt x="405" y="13"/>
                  </a:lnTo>
                  <a:lnTo>
                    <a:pt x="405" y="14"/>
                  </a:lnTo>
                  <a:lnTo>
                    <a:pt x="405" y="14"/>
                  </a:lnTo>
                  <a:lnTo>
                    <a:pt x="406" y="15"/>
                  </a:lnTo>
                  <a:lnTo>
                    <a:pt x="406" y="17"/>
                  </a:lnTo>
                  <a:lnTo>
                    <a:pt x="407" y="18"/>
                  </a:lnTo>
                  <a:lnTo>
                    <a:pt x="408" y="20"/>
                  </a:lnTo>
                  <a:lnTo>
                    <a:pt x="409" y="23"/>
                  </a:lnTo>
                  <a:lnTo>
                    <a:pt x="410" y="25"/>
                  </a:lnTo>
                  <a:lnTo>
                    <a:pt x="411" y="27"/>
                  </a:lnTo>
                  <a:lnTo>
                    <a:pt x="412" y="28"/>
                  </a:lnTo>
                  <a:lnTo>
                    <a:pt x="413" y="28"/>
                  </a:lnTo>
                  <a:lnTo>
                    <a:pt x="413" y="29"/>
                  </a:lnTo>
                  <a:lnTo>
                    <a:pt x="414" y="30"/>
                  </a:lnTo>
                  <a:lnTo>
                    <a:pt x="415" y="30"/>
                  </a:lnTo>
                  <a:lnTo>
                    <a:pt x="415" y="30"/>
                  </a:lnTo>
                  <a:lnTo>
                    <a:pt x="417" y="31"/>
                  </a:lnTo>
                  <a:lnTo>
                    <a:pt x="417" y="31"/>
                  </a:lnTo>
                  <a:lnTo>
                    <a:pt x="418" y="31"/>
                  </a:lnTo>
                  <a:lnTo>
                    <a:pt x="419" y="31"/>
                  </a:lnTo>
                  <a:lnTo>
                    <a:pt x="419" y="31"/>
                  </a:lnTo>
                  <a:lnTo>
                    <a:pt x="420" y="31"/>
                  </a:lnTo>
                  <a:lnTo>
                    <a:pt x="421" y="31"/>
                  </a:lnTo>
                  <a:lnTo>
                    <a:pt x="421" y="31"/>
                  </a:lnTo>
                  <a:lnTo>
                    <a:pt x="422" y="31"/>
                  </a:lnTo>
                  <a:lnTo>
                    <a:pt x="423" y="30"/>
                  </a:lnTo>
                  <a:lnTo>
                    <a:pt x="423" y="30"/>
                  </a:lnTo>
                  <a:lnTo>
                    <a:pt x="423" y="30"/>
                  </a:lnTo>
                  <a:lnTo>
                    <a:pt x="423" y="31"/>
                  </a:lnTo>
                  <a:lnTo>
                    <a:pt x="424" y="35"/>
                  </a:lnTo>
                  <a:lnTo>
                    <a:pt x="424" y="36"/>
                  </a:lnTo>
                  <a:lnTo>
                    <a:pt x="424" y="37"/>
                  </a:lnTo>
                  <a:lnTo>
                    <a:pt x="424" y="38"/>
                  </a:lnTo>
                  <a:lnTo>
                    <a:pt x="424" y="39"/>
                  </a:lnTo>
                  <a:lnTo>
                    <a:pt x="424" y="39"/>
                  </a:lnTo>
                  <a:lnTo>
                    <a:pt x="424" y="40"/>
                  </a:lnTo>
                  <a:lnTo>
                    <a:pt x="423" y="40"/>
                  </a:lnTo>
                  <a:lnTo>
                    <a:pt x="423" y="41"/>
                  </a:lnTo>
                  <a:lnTo>
                    <a:pt x="422" y="41"/>
                  </a:lnTo>
                  <a:lnTo>
                    <a:pt x="422" y="42"/>
                  </a:lnTo>
                  <a:lnTo>
                    <a:pt x="421" y="42"/>
                  </a:lnTo>
                  <a:lnTo>
                    <a:pt x="420" y="43"/>
                  </a:lnTo>
                  <a:lnTo>
                    <a:pt x="419" y="43"/>
                  </a:lnTo>
                  <a:lnTo>
                    <a:pt x="418" y="43"/>
                  </a:lnTo>
                  <a:lnTo>
                    <a:pt x="418" y="44"/>
                  </a:lnTo>
                  <a:lnTo>
                    <a:pt x="417" y="44"/>
                  </a:lnTo>
                  <a:lnTo>
                    <a:pt x="417" y="44"/>
                  </a:lnTo>
                  <a:lnTo>
                    <a:pt x="417" y="45"/>
                  </a:lnTo>
                  <a:lnTo>
                    <a:pt x="417" y="45"/>
                  </a:lnTo>
                  <a:lnTo>
                    <a:pt x="417" y="46"/>
                  </a:lnTo>
                  <a:lnTo>
                    <a:pt x="417" y="46"/>
                  </a:lnTo>
                  <a:lnTo>
                    <a:pt x="417" y="47"/>
                  </a:lnTo>
                  <a:lnTo>
                    <a:pt x="417" y="47"/>
                  </a:lnTo>
                  <a:lnTo>
                    <a:pt x="417" y="48"/>
                  </a:lnTo>
                  <a:lnTo>
                    <a:pt x="419" y="51"/>
                  </a:lnTo>
                  <a:lnTo>
                    <a:pt x="420" y="52"/>
                  </a:lnTo>
                  <a:lnTo>
                    <a:pt x="420" y="53"/>
                  </a:lnTo>
                  <a:lnTo>
                    <a:pt x="420" y="54"/>
                  </a:lnTo>
                  <a:lnTo>
                    <a:pt x="421" y="55"/>
                  </a:lnTo>
                  <a:lnTo>
                    <a:pt x="421" y="56"/>
                  </a:lnTo>
                  <a:lnTo>
                    <a:pt x="421" y="57"/>
                  </a:lnTo>
                  <a:lnTo>
                    <a:pt x="421" y="59"/>
                  </a:lnTo>
                  <a:lnTo>
                    <a:pt x="421" y="60"/>
                  </a:lnTo>
                  <a:lnTo>
                    <a:pt x="421" y="61"/>
                  </a:lnTo>
                  <a:lnTo>
                    <a:pt x="421" y="64"/>
                  </a:lnTo>
                  <a:lnTo>
                    <a:pt x="421" y="65"/>
                  </a:lnTo>
                  <a:lnTo>
                    <a:pt x="421" y="66"/>
                  </a:lnTo>
                  <a:lnTo>
                    <a:pt x="421" y="68"/>
                  </a:lnTo>
                  <a:lnTo>
                    <a:pt x="421" y="69"/>
                  </a:lnTo>
                  <a:lnTo>
                    <a:pt x="421" y="71"/>
                  </a:lnTo>
                  <a:lnTo>
                    <a:pt x="420" y="72"/>
                  </a:lnTo>
                  <a:lnTo>
                    <a:pt x="420" y="73"/>
                  </a:lnTo>
                  <a:lnTo>
                    <a:pt x="420" y="75"/>
                  </a:lnTo>
                  <a:lnTo>
                    <a:pt x="419" y="77"/>
                  </a:lnTo>
                  <a:lnTo>
                    <a:pt x="418" y="80"/>
                  </a:lnTo>
                  <a:lnTo>
                    <a:pt x="417" y="83"/>
                  </a:lnTo>
                  <a:lnTo>
                    <a:pt x="416" y="85"/>
                  </a:lnTo>
                  <a:lnTo>
                    <a:pt x="415" y="86"/>
                  </a:lnTo>
                  <a:lnTo>
                    <a:pt x="415" y="87"/>
                  </a:lnTo>
                  <a:lnTo>
                    <a:pt x="415" y="88"/>
                  </a:lnTo>
                  <a:lnTo>
                    <a:pt x="415" y="88"/>
                  </a:lnTo>
                  <a:lnTo>
                    <a:pt x="416" y="89"/>
                  </a:lnTo>
                  <a:lnTo>
                    <a:pt x="416" y="89"/>
                  </a:lnTo>
                  <a:lnTo>
                    <a:pt x="416" y="90"/>
                  </a:lnTo>
                  <a:lnTo>
                    <a:pt x="416" y="90"/>
                  </a:lnTo>
                  <a:lnTo>
                    <a:pt x="415" y="94"/>
                  </a:lnTo>
                  <a:lnTo>
                    <a:pt x="414" y="97"/>
                  </a:lnTo>
                  <a:lnTo>
                    <a:pt x="414" y="98"/>
                  </a:lnTo>
                  <a:lnTo>
                    <a:pt x="413" y="100"/>
                  </a:lnTo>
                  <a:lnTo>
                    <a:pt x="412" y="102"/>
                  </a:lnTo>
                  <a:lnTo>
                    <a:pt x="412" y="103"/>
                  </a:lnTo>
                  <a:lnTo>
                    <a:pt x="412" y="105"/>
                  </a:lnTo>
                  <a:lnTo>
                    <a:pt x="412" y="106"/>
                  </a:lnTo>
                  <a:lnTo>
                    <a:pt x="412" y="106"/>
                  </a:lnTo>
                  <a:lnTo>
                    <a:pt x="412" y="107"/>
                  </a:lnTo>
                  <a:lnTo>
                    <a:pt x="412" y="108"/>
                  </a:lnTo>
                  <a:lnTo>
                    <a:pt x="412" y="109"/>
                  </a:lnTo>
                  <a:lnTo>
                    <a:pt x="412" y="110"/>
                  </a:lnTo>
                  <a:lnTo>
                    <a:pt x="413" y="111"/>
                  </a:lnTo>
                  <a:lnTo>
                    <a:pt x="414" y="112"/>
                  </a:lnTo>
                  <a:lnTo>
                    <a:pt x="415" y="113"/>
                  </a:lnTo>
                  <a:lnTo>
                    <a:pt x="416" y="113"/>
                  </a:lnTo>
                  <a:lnTo>
                    <a:pt x="418" y="115"/>
                  </a:lnTo>
                  <a:lnTo>
                    <a:pt x="419" y="116"/>
                  </a:lnTo>
                  <a:lnTo>
                    <a:pt x="419" y="117"/>
                  </a:lnTo>
                  <a:lnTo>
                    <a:pt x="420" y="117"/>
                  </a:lnTo>
                  <a:lnTo>
                    <a:pt x="420" y="118"/>
                  </a:lnTo>
                  <a:lnTo>
                    <a:pt x="421" y="119"/>
                  </a:lnTo>
                  <a:lnTo>
                    <a:pt x="421" y="120"/>
                  </a:lnTo>
                  <a:lnTo>
                    <a:pt x="421" y="120"/>
                  </a:lnTo>
                  <a:lnTo>
                    <a:pt x="421" y="121"/>
                  </a:lnTo>
                  <a:lnTo>
                    <a:pt x="421" y="121"/>
                  </a:lnTo>
                  <a:lnTo>
                    <a:pt x="421" y="122"/>
                  </a:lnTo>
                  <a:lnTo>
                    <a:pt x="421" y="122"/>
                  </a:lnTo>
                  <a:lnTo>
                    <a:pt x="420" y="124"/>
                  </a:lnTo>
                  <a:lnTo>
                    <a:pt x="419" y="125"/>
                  </a:lnTo>
                  <a:lnTo>
                    <a:pt x="418" y="126"/>
                  </a:lnTo>
                  <a:lnTo>
                    <a:pt x="417" y="127"/>
                  </a:lnTo>
                  <a:lnTo>
                    <a:pt x="417" y="128"/>
                  </a:lnTo>
                  <a:lnTo>
                    <a:pt x="417" y="129"/>
                  </a:lnTo>
                  <a:lnTo>
                    <a:pt x="417" y="129"/>
                  </a:lnTo>
                  <a:lnTo>
                    <a:pt x="417" y="130"/>
                  </a:lnTo>
                  <a:lnTo>
                    <a:pt x="417" y="131"/>
                  </a:lnTo>
                  <a:lnTo>
                    <a:pt x="417" y="131"/>
                  </a:lnTo>
                  <a:lnTo>
                    <a:pt x="417" y="132"/>
                  </a:lnTo>
                  <a:lnTo>
                    <a:pt x="417" y="133"/>
                  </a:lnTo>
                  <a:lnTo>
                    <a:pt x="418" y="134"/>
                  </a:lnTo>
                  <a:lnTo>
                    <a:pt x="420" y="137"/>
                  </a:lnTo>
                  <a:lnTo>
                    <a:pt x="422" y="140"/>
                  </a:lnTo>
                  <a:lnTo>
                    <a:pt x="423" y="140"/>
                  </a:lnTo>
                  <a:lnTo>
                    <a:pt x="423" y="141"/>
                  </a:lnTo>
                  <a:lnTo>
                    <a:pt x="427" y="144"/>
                  </a:lnTo>
                  <a:lnTo>
                    <a:pt x="427" y="145"/>
                  </a:lnTo>
                  <a:lnTo>
                    <a:pt x="429" y="147"/>
                  </a:lnTo>
                  <a:lnTo>
                    <a:pt x="430" y="149"/>
                  </a:lnTo>
                  <a:lnTo>
                    <a:pt x="433" y="151"/>
                  </a:lnTo>
                  <a:lnTo>
                    <a:pt x="435" y="153"/>
                  </a:lnTo>
                  <a:lnTo>
                    <a:pt x="436" y="154"/>
                  </a:lnTo>
                  <a:lnTo>
                    <a:pt x="437" y="154"/>
                  </a:lnTo>
                  <a:lnTo>
                    <a:pt x="437" y="154"/>
                  </a:lnTo>
                  <a:lnTo>
                    <a:pt x="438" y="154"/>
                  </a:lnTo>
                  <a:lnTo>
                    <a:pt x="439" y="155"/>
                  </a:lnTo>
                  <a:lnTo>
                    <a:pt x="440" y="155"/>
                  </a:lnTo>
                  <a:lnTo>
                    <a:pt x="441" y="154"/>
                  </a:lnTo>
                  <a:lnTo>
                    <a:pt x="442" y="154"/>
                  </a:lnTo>
                  <a:lnTo>
                    <a:pt x="443" y="154"/>
                  </a:lnTo>
                  <a:lnTo>
                    <a:pt x="447" y="152"/>
                  </a:lnTo>
                  <a:lnTo>
                    <a:pt x="448" y="151"/>
                  </a:lnTo>
                  <a:lnTo>
                    <a:pt x="449" y="151"/>
                  </a:lnTo>
                  <a:lnTo>
                    <a:pt x="450" y="150"/>
                  </a:lnTo>
                  <a:lnTo>
                    <a:pt x="451" y="150"/>
                  </a:lnTo>
                  <a:lnTo>
                    <a:pt x="452" y="150"/>
                  </a:lnTo>
                  <a:lnTo>
                    <a:pt x="453" y="150"/>
                  </a:lnTo>
                  <a:lnTo>
                    <a:pt x="453" y="150"/>
                  </a:lnTo>
                  <a:lnTo>
                    <a:pt x="454" y="151"/>
                  </a:lnTo>
                  <a:lnTo>
                    <a:pt x="455" y="151"/>
                  </a:lnTo>
                  <a:lnTo>
                    <a:pt x="456" y="151"/>
                  </a:lnTo>
                  <a:lnTo>
                    <a:pt x="456" y="152"/>
                  </a:lnTo>
                  <a:lnTo>
                    <a:pt x="458" y="154"/>
                  </a:lnTo>
                  <a:lnTo>
                    <a:pt x="460" y="155"/>
                  </a:lnTo>
                  <a:lnTo>
                    <a:pt x="461" y="156"/>
                  </a:lnTo>
                  <a:lnTo>
                    <a:pt x="463" y="156"/>
                  </a:lnTo>
                  <a:lnTo>
                    <a:pt x="463" y="157"/>
                  </a:lnTo>
                  <a:lnTo>
                    <a:pt x="464" y="157"/>
                  </a:lnTo>
                  <a:lnTo>
                    <a:pt x="468" y="159"/>
                  </a:lnTo>
                  <a:lnTo>
                    <a:pt x="469" y="159"/>
                  </a:lnTo>
                  <a:lnTo>
                    <a:pt x="471" y="160"/>
                  </a:lnTo>
                  <a:lnTo>
                    <a:pt x="472" y="160"/>
                  </a:lnTo>
                  <a:lnTo>
                    <a:pt x="472" y="160"/>
                  </a:lnTo>
                  <a:lnTo>
                    <a:pt x="473" y="161"/>
                  </a:lnTo>
                  <a:lnTo>
                    <a:pt x="473" y="161"/>
                  </a:lnTo>
                  <a:lnTo>
                    <a:pt x="473" y="162"/>
                  </a:lnTo>
                  <a:lnTo>
                    <a:pt x="473" y="162"/>
                  </a:lnTo>
                  <a:lnTo>
                    <a:pt x="473" y="163"/>
                  </a:lnTo>
                  <a:lnTo>
                    <a:pt x="473" y="163"/>
                  </a:lnTo>
                  <a:lnTo>
                    <a:pt x="473" y="164"/>
                  </a:lnTo>
                  <a:lnTo>
                    <a:pt x="473" y="165"/>
                  </a:lnTo>
                  <a:lnTo>
                    <a:pt x="473" y="166"/>
                  </a:lnTo>
                  <a:lnTo>
                    <a:pt x="473" y="166"/>
                  </a:lnTo>
                  <a:lnTo>
                    <a:pt x="473" y="167"/>
                  </a:lnTo>
                  <a:lnTo>
                    <a:pt x="472" y="167"/>
                  </a:lnTo>
                  <a:lnTo>
                    <a:pt x="472" y="167"/>
                  </a:lnTo>
                  <a:lnTo>
                    <a:pt x="471" y="168"/>
                  </a:lnTo>
                  <a:lnTo>
                    <a:pt x="470" y="168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70"/>
                  </a:lnTo>
                  <a:lnTo>
                    <a:pt x="471" y="170"/>
                  </a:lnTo>
                  <a:lnTo>
                    <a:pt x="472" y="170"/>
                  </a:lnTo>
                  <a:lnTo>
                    <a:pt x="473" y="171"/>
                  </a:lnTo>
                  <a:lnTo>
                    <a:pt x="473" y="171"/>
                  </a:lnTo>
                  <a:lnTo>
                    <a:pt x="474" y="171"/>
                  </a:lnTo>
                  <a:lnTo>
                    <a:pt x="477" y="171"/>
                  </a:lnTo>
                  <a:lnTo>
                    <a:pt x="478" y="171"/>
                  </a:lnTo>
                  <a:lnTo>
                    <a:pt x="478" y="172"/>
                  </a:lnTo>
                  <a:lnTo>
                    <a:pt x="479" y="172"/>
                  </a:lnTo>
                  <a:lnTo>
                    <a:pt x="480" y="172"/>
                  </a:lnTo>
                  <a:lnTo>
                    <a:pt x="480" y="172"/>
                  </a:lnTo>
                  <a:lnTo>
                    <a:pt x="481" y="173"/>
                  </a:lnTo>
                  <a:lnTo>
                    <a:pt x="482" y="173"/>
                  </a:lnTo>
                  <a:lnTo>
                    <a:pt x="483" y="175"/>
                  </a:lnTo>
                  <a:lnTo>
                    <a:pt x="484" y="176"/>
                  </a:lnTo>
                  <a:lnTo>
                    <a:pt x="486" y="178"/>
                  </a:lnTo>
                  <a:lnTo>
                    <a:pt x="487" y="179"/>
                  </a:lnTo>
                  <a:lnTo>
                    <a:pt x="487" y="180"/>
                  </a:lnTo>
                  <a:lnTo>
                    <a:pt x="487" y="180"/>
                  </a:lnTo>
                  <a:lnTo>
                    <a:pt x="488" y="180"/>
                  </a:lnTo>
                  <a:lnTo>
                    <a:pt x="489" y="181"/>
                  </a:lnTo>
                  <a:lnTo>
                    <a:pt x="490" y="181"/>
                  </a:lnTo>
                  <a:lnTo>
                    <a:pt x="491" y="181"/>
                  </a:lnTo>
                  <a:lnTo>
                    <a:pt x="492" y="182"/>
                  </a:lnTo>
                  <a:lnTo>
                    <a:pt x="493" y="182"/>
                  </a:lnTo>
                  <a:lnTo>
                    <a:pt x="494" y="181"/>
                  </a:lnTo>
                  <a:lnTo>
                    <a:pt x="495" y="181"/>
                  </a:lnTo>
                  <a:lnTo>
                    <a:pt x="496" y="181"/>
                  </a:lnTo>
                  <a:lnTo>
                    <a:pt x="497" y="180"/>
                  </a:lnTo>
                  <a:lnTo>
                    <a:pt x="500" y="179"/>
                  </a:lnTo>
                  <a:lnTo>
                    <a:pt x="501" y="179"/>
                  </a:lnTo>
                  <a:lnTo>
                    <a:pt x="502" y="178"/>
                  </a:lnTo>
                  <a:lnTo>
                    <a:pt x="502" y="178"/>
                  </a:lnTo>
                  <a:lnTo>
                    <a:pt x="503" y="178"/>
                  </a:lnTo>
                  <a:lnTo>
                    <a:pt x="503" y="178"/>
                  </a:lnTo>
                  <a:lnTo>
                    <a:pt x="504" y="178"/>
                  </a:lnTo>
                  <a:lnTo>
                    <a:pt x="505" y="178"/>
                  </a:lnTo>
                  <a:lnTo>
                    <a:pt x="510" y="180"/>
                  </a:lnTo>
                  <a:lnTo>
                    <a:pt x="513" y="181"/>
                  </a:lnTo>
                  <a:lnTo>
                    <a:pt x="516" y="182"/>
                  </a:lnTo>
                  <a:lnTo>
                    <a:pt x="517" y="182"/>
                  </a:lnTo>
                  <a:lnTo>
                    <a:pt x="518" y="183"/>
                  </a:lnTo>
                  <a:lnTo>
                    <a:pt x="519" y="184"/>
                  </a:lnTo>
                  <a:lnTo>
                    <a:pt x="519" y="184"/>
                  </a:lnTo>
                  <a:lnTo>
                    <a:pt x="521" y="185"/>
                  </a:lnTo>
                  <a:lnTo>
                    <a:pt x="521" y="186"/>
                  </a:lnTo>
                  <a:lnTo>
                    <a:pt x="521" y="186"/>
                  </a:lnTo>
                  <a:lnTo>
                    <a:pt x="522" y="186"/>
                  </a:lnTo>
                  <a:lnTo>
                    <a:pt x="523" y="186"/>
                  </a:lnTo>
                  <a:lnTo>
                    <a:pt x="523" y="186"/>
                  </a:lnTo>
                  <a:lnTo>
                    <a:pt x="527" y="186"/>
                  </a:lnTo>
                  <a:lnTo>
                    <a:pt x="528" y="185"/>
                  </a:lnTo>
                  <a:lnTo>
                    <a:pt x="531" y="185"/>
                  </a:lnTo>
                  <a:lnTo>
                    <a:pt x="532" y="185"/>
                  </a:lnTo>
                  <a:lnTo>
                    <a:pt x="533" y="185"/>
                  </a:lnTo>
                  <a:lnTo>
                    <a:pt x="536" y="184"/>
                  </a:lnTo>
                  <a:lnTo>
                    <a:pt x="539" y="184"/>
                  </a:lnTo>
                  <a:lnTo>
                    <a:pt x="540" y="184"/>
                  </a:lnTo>
                  <a:lnTo>
                    <a:pt x="541" y="184"/>
                  </a:lnTo>
                  <a:lnTo>
                    <a:pt x="542" y="184"/>
                  </a:lnTo>
                  <a:lnTo>
                    <a:pt x="543" y="184"/>
                  </a:lnTo>
                  <a:lnTo>
                    <a:pt x="544" y="184"/>
                  </a:lnTo>
                  <a:lnTo>
                    <a:pt x="544" y="185"/>
                  </a:lnTo>
                  <a:lnTo>
                    <a:pt x="545" y="185"/>
                  </a:lnTo>
                  <a:lnTo>
                    <a:pt x="545" y="185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7" y="187"/>
                  </a:lnTo>
                  <a:lnTo>
                    <a:pt x="547" y="188"/>
                  </a:lnTo>
                  <a:lnTo>
                    <a:pt x="548" y="189"/>
                  </a:lnTo>
                  <a:lnTo>
                    <a:pt x="548" y="190"/>
                  </a:lnTo>
                  <a:lnTo>
                    <a:pt x="548" y="192"/>
                  </a:lnTo>
                  <a:lnTo>
                    <a:pt x="548" y="193"/>
                  </a:lnTo>
                  <a:lnTo>
                    <a:pt x="549" y="194"/>
                  </a:lnTo>
                  <a:lnTo>
                    <a:pt x="549" y="195"/>
                  </a:lnTo>
                  <a:lnTo>
                    <a:pt x="549" y="196"/>
                  </a:lnTo>
                  <a:lnTo>
                    <a:pt x="548" y="198"/>
                  </a:lnTo>
                  <a:lnTo>
                    <a:pt x="548" y="201"/>
                  </a:lnTo>
                  <a:lnTo>
                    <a:pt x="548" y="202"/>
                  </a:lnTo>
                  <a:lnTo>
                    <a:pt x="548" y="204"/>
                  </a:lnTo>
                  <a:lnTo>
                    <a:pt x="548" y="205"/>
                  </a:lnTo>
                  <a:lnTo>
                    <a:pt x="548" y="206"/>
                  </a:lnTo>
                  <a:lnTo>
                    <a:pt x="548" y="208"/>
                  </a:lnTo>
                  <a:lnTo>
                    <a:pt x="549" y="209"/>
                  </a:lnTo>
                  <a:lnTo>
                    <a:pt x="550" y="210"/>
                  </a:lnTo>
                  <a:lnTo>
                    <a:pt x="550" y="211"/>
                  </a:lnTo>
                  <a:lnTo>
                    <a:pt x="551" y="212"/>
                  </a:lnTo>
                  <a:lnTo>
                    <a:pt x="551" y="212"/>
                  </a:lnTo>
                  <a:lnTo>
                    <a:pt x="553" y="214"/>
                  </a:lnTo>
                  <a:lnTo>
                    <a:pt x="554" y="215"/>
                  </a:lnTo>
                  <a:lnTo>
                    <a:pt x="557" y="217"/>
                  </a:lnTo>
                  <a:lnTo>
                    <a:pt x="560" y="219"/>
                  </a:lnTo>
                  <a:lnTo>
                    <a:pt x="560" y="220"/>
                  </a:lnTo>
                  <a:lnTo>
                    <a:pt x="562" y="221"/>
                  </a:lnTo>
                  <a:lnTo>
                    <a:pt x="564" y="222"/>
                  </a:lnTo>
                  <a:lnTo>
                    <a:pt x="568" y="225"/>
                  </a:lnTo>
                  <a:lnTo>
                    <a:pt x="571" y="226"/>
                  </a:lnTo>
                  <a:lnTo>
                    <a:pt x="571" y="227"/>
                  </a:lnTo>
                  <a:lnTo>
                    <a:pt x="572" y="227"/>
                  </a:lnTo>
                  <a:lnTo>
                    <a:pt x="572" y="227"/>
                  </a:lnTo>
                  <a:lnTo>
                    <a:pt x="573" y="227"/>
                  </a:lnTo>
                  <a:lnTo>
                    <a:pt x="573" y="227"/>
                  </a:lnTo>
                  <a:lnTo>
                    <a:pt x="573" y="226"/>
                  </a:lnTo>
                  <a:lnTo>
                    <a:pt x="575" y="226"/>
                  </a:lnTo>
                  <a:lnTo>
                    <a:pt x="576" y="226"/>
                  </a:lnTo>
                  <a:lnTo>
                    <a:pt x="577" y="225"/>
                  </a:lnTo>
                  <a:lnTo>
                    <a:pt x="578" y="225"/>
                  </a:lnTo>
                  <a:lnTo>
                    <a:pt x="578" y="225"/>
                  </a:lnTo>
                  <a:lnTo>
                    <a:pt x="579" y="226"/>
                  </a:lnTo>
                  <a:lnTo>
                    <a:pt x="580" y="226"/>
                  </a:lnTo>
                  <a:lnTo>
                    <a:pt x="583" y="227"/>
                  </a:lnTo>
                  <a:lnTo>
                    <a:pt x="584" y="227"/>
                  </a:lnTo>
                  <a:lnTo>
                    <a:pt x="585" y="227"/>
                  </a:lnTo>
                  <a:lnTo>
                    <a:pt x="587" y="227"/>
                  </a:lnTo>
                  <a:lnTo>
                    <a:pt x="589" y="227"/>
                  </a:lnTo>
                  <a:lnTo>
                    <a:pt x="591" y="227"/>
                  </a:lnTo>
                  <a:lnTo>
                    <a:pt x="593" y="227"/>
                  </a:lnTo>
                  <a:lnTo>
                    <a:pt x="594" y="227"/>
                  </a:lnTo>
                  <a:lnTo>
                    <a:pt x="595" y="227"/>
                  </a:lnTo>
                  <a:lnTo>
                    <a:pt x="596" y="226"/>
                  </a:lnTo>
                  <a:lnTo>
                    <a:pt x="599" y="225"/>
                  </a:lnTo>
                  <a:lnTo>
                    <a:pt x="600" y="225"/>
                  </a:lnTo>
                  <a:lnTo>
                    <a:pt x="602" y="225"/>
                  </a:lnTo>
                  <a:lnTo>
                    <a:pt x="604" y="224"/>
                  </a:lnTo>
                  <a:lnTo>
                    <a:pt x="605" y="224"/>
                  </a:lnTo>
                  <a:lnTo>
                    <a:pt x="605" y="224"/>
                  </a:lnTo>
                  <a:lnTo>
                    <a:pt x="607" y="223"/>
                  </a:lnTo>
                  <a:lnTo>
                    <a:pt x="607" y="223"/>
                  </a:lnTo>
                  <a:lnTo>
                    <a:pt x="608" y="223"/>
                  </a:lnTo>
                  <a:lnTo>
                    <a:pt x="608" y="223"/>
                  </a:lnTo>
                  <a:lnTo>
                    <a:pt x="609" y="223"/>
                  </a:lnTo>
                  <a:lnTo>
                    <a:pt x="609" y="223"/>
                  </a:lnTo>
                  <a:lnTo>
                    <a:pt x="610" y="223"/>
                  </a:lnTo>
                  <a:lnTo>
                    <a:pt x="610" y="223"/>
                  </a:lnTo>
                  <a:lnTo>
                    <a:pt x="611" y="224"/>
                  </a:lnTo>
                  <a:lnTo>
                    <a:pt x="612" y="224"/>
                  </a:lnTo>
                  <a:lnTo>
                    <a:pt x="613" y="225"/>
                  </a:lnTo>
                  <a:lnTo>
                    <a:pt x="613" y="225"/>
                  </a:lnTo>
                  <a:lnTo>
                    <a:pt x="614" y="225"/>
                  </a:lnTo>
                  <a:lnTo>
                    <a:pt x="614" y="226"/>
                  </a:lnTo>
                  <a:lnTo>
                    <a:pt x="614" y="227"/>
                  </a:lnTo>
                  <a:lnTo>
                    <a:pt x="614" y="227"/>
                  </a:lnTo>
                  <a:lnTo>
                    <a:pt x="615" y="228"/>
                  </a:lnTo>
                  <a:lnTo>
                    <a:pt x="614" y="228"/>
                  </a:lnTo>
                  <a:lnTo>
                    <a:pt x="614" y="229"/>
                  </a:lnTo>
                  <a:lnTo>
                    <a:pt x="614" y="230"/>
                  </a:lnTo>
                  <a:lnTo>
                    <a:pt x="614" y="230"/>
                  </a:lnTo>
                  <a:lnTo>
                    <a:pt x="614" y="231"/>
                  </a:lnTo>
                  <a:lnTo>
                    <a:pt x="614" y="231"/>
                  </a:lnTo>
                  <a:lnTo>
                    <a:pt x="615" y="232"/>
                  </a:lnTo>
                  <a:lnTo>
                    <a:pt x="615" y="232"/>
                  </a:lnTo>
                  <a:lnTo>
                    <a:pt x="616" y="233"/>
                  </a:lnTo>
                  <a:lnTo>
                    <a:pt x="616" y="234"/>
                  </a:lnTo>
                  <a:lnTo>
                    <a:pt x="618" y="234"/>
                  </a:lnTo>
                  <a:lnTo>
                    <a:pt x="619" y="236"/>
                  </a:lnTo>
                  <a:lnTo>
                    <a:pt x="620" y="236"/>
                  </a:lnTo>
                  <a:lnTo>
                    <a:pt x="621" y="237"/>
                  </a:lnTo>
                  <a:lnTo>
                    <a:pt x="621" y="237"/>
                  </a:lnTo>
                  <a:lnTo>
                    <a:pt x="623" y="240"/>
                  </a:lnTo>
                  <a:lnTo>
                    <a:pt x="624" y="241"/>
                  </a:lnTo>
                  <a:lnTo>
                    <a:pt x="624" y="242"/>
                  </a:lnTo>
                  <a:lnTo>
                    <a:pt x="624" y="243"/>
                  </a:lnTo>
                  <a:lnTo>
                    <a:pt x="624" y="243"/>
                  </a:lnTo>
                  <a:lnTo>
                    <a:pt x="624" y="244"/>
                  </a:lnTo>
                  <a:lnTo>
                    <a:pt x="624" y="245"/>
                  </a:lnTo>
                  <a:lnTo>
                    <a:pt x="624" y="246"/>
                  </a:lnTo>
                  <a:lnTo>
                    <a:pt x="623" y="247"/>
                  </a:lnTo>
                  <a:lnTo>
                    <a:pt x="623" y="247"/>
                  </a:lnTo>
                  <a:lnTo>
                    <a:pt x="623" y="248"/>
                  </a:lnTo>
                  <a:lnTo>
                    <a:pt x="622" y="248"/>
                  </a:lnTo>
                  <a:lnTo>
                    <a:pt x="622" y="248"/>
                  </a:lnTo>
                  <a:lnTo>
                    <a:pt x="621" y="249"/>
                  </a:lnTo>
                  <a:lnTo>
                    <a:pt x="620" y="249"/>
                  </a:lnTo>
                  <a:lnTo>
                    <a:pt x="618" y="250"/>
                  </a:lnTo>
                  <a:lnTo>
                    <a:pt x="615" y="250"/>
                  </a:lnTo>
                  <a:lnTo>
                    <a:pt x="614" y="250"/>
                  </a:lnTo>
                  <a:lnTo>
                    <a:pt x="614" y="251"/>
                  </a:lnTo>
                  <a:lnTo>
                    <a:pt x="614" y="251"/>
                  </a:lnTo>
                  <a:lnTo>
                    <a:pt x="613" y="251"/>
                  </a:lnTo>
                  <a:lnTo>
                    <a:pt x="613" y="252"/>
                  </a:lnTo>
                  <a:lnTo>
                    <a:pt x="612" y="253"/>
                  </a:lnTo>
                  <a:lnTo>
                    <a:pt x="611" y="254"/>
                  </a:lnTo>
                  <a:lnTo>
                    <a:pt x="610" y="256"/>
                  </a:lnTo>
                  <a:lnTo>
                    <a:pt x="610" y="257"/>
                  </a:lnTo>
                  <a:lnTo>
                    <a:pt x="609" y="258"/>
                  </a:lnTo>
                  <a:lnTo>
                    <a:pt x="609" y="259"/>
                  </a:lnTo>
                  <a:lnTo>
                    <a:pt x="609" y="261"/>
                  </a:lnTo>
                  <a:lnTo>
                    <a:pt x="608" y="262"/>
                  </a:lnTo>
                  <a:lnTo>
                    <a:pt x="608" y="262"/>
                  </a:lnTo>
                  <a:lnTo>
                    <a:pt x="608" y="263"/>
                  </a:lnTo>
                  <a:lnTo>
                    <a:pt x="608" y="264"/>
                  </a:lnTo>
                  <a:lnTo>
                    <a:pt x="606" y="266"/>
                  </a:lnTo>
                  <a:lnTo>
                    <a:pt x="605" y="267"/>
                  </a:lnTo>
                  <a:lnTo>
                    <a:pt x="605" y="268"/>
                  </a:lnTo>
                  <a:lnTo>
                    <a:pt x="604" y="270"/>
                  </a:lnTo>
                  <a:lnTo>
                    <a:pt x="604" y="271"/>
                  </a:lnTo>
                  <a:lnTo>
                    <a:pt x="603" y="272"/>
                  </a:lnTo>
                  <a:lnTo>
                    <a:pt x="603" y="273"/>
                  </a:lnTo>
                  <a:lnTo>
                    <a:pt x="602" y="273"/>
                  </a:lnTo>
                  <a:lnTo>
                    <a:pt x="600" y="276"/>
                  </a:lnTo>
                  <a:lnTo>
                    <a:pt x="599" y="277"/>
                  </a:lnTo>
                  <a:lnTo>
                    <a:pt x="598" y="278"/>
                  </a:lnTo>
                  <a:lnTo>
                    <a:pt x="597" y="279"/>
                  </a:lnTo>
                  <a:lnTo>
                    <a:pt x="596" y="281"/>
                  </a:lnTo>
                  <a:lnTo>
                    <a:pt x="595" y="282"/>
                  </a:lnTo>
                  <a:lnTo>
                    <a:pt x="594" y="283"/>
                  </a:lnTo>
                  <a:lnTo>
                    <a:pt x="594" y="283"/>
                  </a:lnTo>
                  <a:lnTo>
                    <a:pt x="594" y="284"/>
                  </a:lnTo>
                  <a:lnTo>
                    <a:pt x="594" y="284"/>
                  </a:lnTo>
                  <a:lnTo>
                    <a:pt x="594" y="285"/>
                  </a:lnTo>
                  <a:lnTo>
                    <a:pt x="594" y="285"/>
                  </a:lnTo>
                  <a:lnTo>
                    <a:pt x="594" y="286"/>
                  </a:lnTo>
                  <a:lnTo>
                    <a:pt x="595" y="286"/>
                  </a:lnTo>
                  <a:lnTo>
                    <a:pt x="595" y="286"/>
                  </a:lnTo>
                  <a:lnTo>
                    <a:pt x="595" y="286"/>
                  </a:lnTo>
                  <a:lnTo>
                    <a:pt x="596" y="286"/>
                  </a:lnTo>
                  <a:lnTo>
                    <a:pt x="598" y="287"/>
                  </a:lnTo>
                  <a:lnTo>
                    <a:pt x="599" y="287"/>
                  </a:lnTo>
                  <a:lnTo>
                    <a:pt x="599" y="287"/>
                  </a:lnTo>
                  <a:lnTo>
                    <a:pt x="600" y="287"/>
                  </a:lnTo>
                  <a:lnTo>
                    <a:pt x="601" y="287"/>
                  </a:lnTo>
                  <a:lnTo>
                    <a:pt x="601" y="287"/>
                  </a:lnTo>
                  <a:lnTo>
                    <a:pt x="602" y="288"/>
                  </a:lnTo>
                  <a:lnTo>
                    <a:pt x="602" y="289"/>
                  </a:lnTo>
                  <a:lnTo>
                    <a:pt x="603" y="289"/>
                  </a:lnTo>
                  <a:lnTo>
                    <a:pt x="604" y="292"/>
                  </a:lnTo>
                  <a:lnTo>
                    <a:pt x="604" y="292"/>
                  </a:lnTo>
                  <a:lnTo>
                    <a:pt x="605" y="293"/>
                  </a:lnTo>
                  <a:lnTo>
                    <a:pt x="606" y="294"/>
                  </a:lnTo>
                  <a:lnTo>
                    <a:pt x="607" y="295"/>
                  </a:lnTo>
                  <a:lnTo>
                    <a:pt x="608" y="295"/>
                  </a:lnTo>
                  <a:lnTo>
                    <a:pt x="609" y="296"/>
                  </a:lnTo>
                  <a:lnTo>
                    <a:pt x="611" y="297"/>
                  </a:lnTo>
                  <a:lnTo>
                    <a:pt x="613" y="297"/>
                  </a:lnTo>
                  <a:lnTo>
                    <a:pt x="614" y="298"/>
                  </a:lnTo>
                  <a:lnTo>
                    <a:pt x="615" y="299"/>
                  </a:lnTo>
                  <a:lnTo>
                    <a:pt x="617" y="300"/>
                  </a:lnTo>
                  <a:lnTo>
                    <a:pt x="618" y="301"/>
                  </a:lnTo>
                  <a:lnTo>
                    <a:pt x="618" y="301"/>
                  </a:lnTo>
                  <a:lnTo>
                    <a:pt x="619" y="302"/>
                  </a:lnTo>
                  <a:lnTo>
                    <a:pt x="619" y="303"/>
                  </a:lnTo>
                  <a:lnTo>
                    <a:pt x="620" y="303"/>
                  </a:lnTo>
                  <a:lnTo>
                    <a:pt x="620" y="304"/>
                  </a:lnTo>
                  <a:lnTo>
                    <a:pt x="621" y="306"/>
                  </a:lnTo>
                  <a:lnTo>
                    <a:pt x="622" y="307"/>
                  </a:lnTo>
                  <a:lnTo>
                    <a:pt x="622" y="308"/>
                  </a:lnTo>
                  <a:lnTo>
                    <a:pt x="622" y="308"/>
                  </a:lnTo>
                  <a:lnTo>
                    <a:pt x="622" y="309"/>
                  </a:lnTo>
                  <a:lnTo>
                    <a:pt x="620" y="310"/>
                  </a:lnTo>
                  <a:lnTo>
                    <a:pt x="620" y="311"/>
                  </a:lnTo>
                  <a:lnTo>
                    <a:pt x="620" y="311"/>
                  </a:lnTo>
                  <a:lnTo>
                    <a:pt x="619" y="311"/>
                  </a:lnTo>
                  <a:lnTo>
                    <a:pt x="619" y="311"/>
                  </a:lnTo>
                  <a:lnTo>
                    <a:pt x="618" y="311"/>
                  </a:lnTo>
                  <a:lnTo>
                    <a:pt x="617" y="311"/>
                  </a:lnTo>
                  <a:lnTo>
                    <a:pt x="617" y="312"/>
                  </a:lnTo>
                  <a:lnTo>
                    <a:pt x="617" y="312"/>
                  </a:lnTo>
                  <a:lnTo>
                    <a:pt x="617" y="313"/>
                  </a:lnTo>
                  <a:lnTo>
                    <a:pt x="617" y="313"/>
                  </a:lnTo>
                  <a:lnTo>
                    <a:pt x="617" y="314"/>
                  </a:lnTo>
                  <a:lnTo>
                    <a:pt x="616" y="315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7"/>
                  </a:lnTo>
                  <a:lnTo>
                    <a:pt x="616" y="317"/>
                  </a:lnTo>
                  <a:lnTo>
                    <a:pt x="616" y="317"/>
                  </a:lnTo>
                  <a:lnTo>
                    <a:pt x="615" y="317"/>
                  </a:lnTo>
                  <a:lnTo>
                    <a:pt x="615" y="318"/>
                  </a:lnTo>
                  <a:lnTo>
                    <a:pt x="614" y="319"/>
                  </a:lnTo>
                  <a:lnTo>
                    <a:pt x="613" y="319"/>
                  </a:lnTo>
                  <a:lnTo>
                    <a:pt x="613" y="319"/>
                  </a:lnTo>
                  <a:lnTo>
                    <a:pt x="612" y="320"/>
                  </a:lnTo>
                  <a:lnTo>
                    <a:pt x="612" y="320"/>
                  </a:lnTo>
                  <a:lnTo>
                    <a:pt x="611" y="320"/>
                  </a:lnTo>
                  <a:lnTo>
                    <a:pt x="611" y="321"/>
                  </a:lnTo>
                  <a:lnTo>
                    <a:pt x="610" y="324"/>
                  </a:lnTo>
                  <a:lnTo>
                    <a:pt x="609" y="326"/>
                  </a:lnTo>
                  <a:lnTo>
                    <a:pt x="609" y="326"/>
                  </a:lnTo>
                  <a:lnTo>
                    <a:pt x="608" y="326"/>
                  </a:lnTo>
                  <a:lnTo>
                    <a:pt x="608" y="326"/>
                  </a:lnTo>
                  <a:lnTo>
                    <a:pt x="607" y="326"/>
                  </a:lnTo>
                  <a:lnTo>
                    <a:pt x="606" y="325"/>
                  </a:lnTo>
                  <a:lnTo>
                    <a:pt x="604" y="324"/>
                  </a:lnTo>
                  <a:lnTo>
                    <a:pt x="603" y="323"/>
                  </a:lnTo>
                  <a:lnTo>
                    <a:pt x="601" y="321"/>
                  </a:lnTo>
                  <a:lnTo>
                    <a:pt x="600" y="320"/>
                  </a:lnTo>
                  <a:lnTo>
                    <a:pt x="599" y="319"/>
                  </a:lnTo>
                  <a:lnTo>
                    <a:pt x="596" y="315"/>
                  </a:lnTo>
                  <a:lnTo>
                    <a:pt x="595" y="314"/>
                  </a:lnTo>
                  <a:lnTo>
                    <a:pt x="594" y="313"/>
                  </a:lnTo>
                  <a:lnTo>
                    <a:pt x="593" y="312"/>
                  </a:lnTo>
                  <a:lnTo>
                    <a:pt x="592" y="311"/>
                  </a:lnTo>
                  <a:lnTo>
                    <a:pt x="590" y="310"/>
                  </a:lnTo>
                  <a:lnTo>
                    <a:pt x="589" y="310"/>
                  </a:lnTo>
                  <a:lnTo>
                    <a:pt x="588" y="309"/>
                  </a:lnTo>
                  <a:lnTo>
                    <a:pt x="587" y="309"/>
                  </a:lnTo>
                  <a:lnTo>
                    <a:pt x="586" y="308"/>
                  </a:lnTo>
                  <a:lnTo>
                    <a:pt x="585" y="308"/>
                  </a:lnTo>
                  <a:lnTo>
                    <a:pt x="583" y="308"/>
                  </a:lnTo>
                  <a:lnTo>
                    <a:pt x="582" y="307"/>
                  </a:lnTo>
                  <a:lnTo>
                    <a:pt x="577" y="307"/>
                  </a:lnTo>
                  <a:lnTo>
                    <a:pt x="576" y="306"/>
                  </a:lnTo>
                  <a:lnTo>
                    <a:pt x="575" y="306"/>
                  </a:lnTo>
                  <a:lnTo>
                    <a:pt x="574" y="305"/>
                  </a:lnTo>
                  <a:lnTo>
                    <a:pt x="573" y="305"/>
                  </a:lnTo>
                  <a:lnTo>
                    <a:pt x="572" y="304"/>
                  </a:lnTo>
                  <a:lnTo>
                    <a:pt x="571" y="304"/>
                  </a:lnTo>
                  <a:lnTo>
                    <a:pt x="569" y="302"/>
                  </a:lnTo>
                  <a:lnTo>
                    <a:pt x="564" y="300"/>
                  </a:lnTo>
                  <a:lnTo>
                    <a:pt x="560" y="297"/>
                  </a:lnTo>
                  <a:lnTo>
                    <a:pt x="559" y="296"/>
                  </a:lnTo>
                  <a:lnTo>
                    <a:pt x="558" y="295"/>
                  </a:lnTo>
                  <a:lnTo>
                    <a:pt x="556" y="294"/>
                  </a:lnTo>
                  <a:lnTo>
                    <a:pt x="554" y="293"/>
                  </a:lnTo>
                  <a:lnTo>
                    <a:pt x="552" y="293"/>
                  </a:lnTo>
                  <a:lnTo>
                    <a:pt x="551" y="293"/>
                  </a:lnTo>
                  <a:lnTo>
                    <a:pt x="550" y="292"/>
                  </a:lnTo>
                  <a:lnTo>
                    <a:pt x="549" y="292"/>
                  </a:lnTo>
                  <a:lnTo>
                    <a:pt x="547" y="292"/>
                  </a:lnTo>
                  <a:lnTo>
                    <a:pt x="545" y="292"/>
                  </a:lnTo>
                  <a:lnTo>
                    <a:pt x="542" y="293"/>
                  </a:lnTo>
                  <a:lnTo>
                    <a:pt x="541" y="293"/>
                  </a:lnTo>
                  <a:lnTo>
                    <a:pt x="540" y="293"/>
                  </a:lnTo>
                  <a:lnTo>
                    <a:pt x="539" y="292"/>
                  </a:lnTo>
                  <a:lnTo>
                    <a:pt x="537" y="292"/>
                  </a:lnTo>
                  <a:lnTo>
                    <a:pt x="536" y="292"/>
                  </a:lnTo>
                  <a:lnTo>
                    <a:pt x="536" y="292"/>
                  </a:lnTo>
                  <a:lnTo>
                    <a:pt x="534" y="291"/>
                  </a:lnTo>
                  <a:lnTo>
                    <a:pt x="532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0" y="290"/>
                  </a:lnTo>
                  <a:lnTo>
                    <a:pt x="530" y="290"/>
                  </a:lnTo>
                  <a:lnTo>
                    <a:pt x="529" y="290"/>
                  </a:lnTo>
                  <a:lnTo>
                    <a:pt x="529" y="291"/>
                  </a:lnTo>
                  <a:lnTo>
                    <a:pt x="529" y="291"/>
                  </a:lnTo>
                  <a:lnTo>
                    <a:pt x="528" y="292"/>
                  </a:lnTo>
                  <a:lnTo>
                    <a:pt x="528" y="295"/>
                  </a:lnTo>
                  <a:lnTo>
                    <a:pt x="527" y="296"/>
                  </a:lnTo>
                  <a:lnTo>
                    <a:pt x="526" y="298"/>
                  </a:lnTo>
                  <a:lnTo>
                    <a:pt x="525" y="300"/>
                  </a:lnTo>
                  <a:lnTo>
                    <a:pt x="524" y="301"/>
                  </a:lnTo>
                  <a:lnTo>
                    <a:pt x="524" y="302"/>
                  </a:lnTo>
                  <a:lnTo>
                    <a:pt x="523" y="302"/>
                  </a:lnTo>
                  <a:lnTo>
                    <a:pt x="522" y="303"/>
                  </a:lnTo>
                  <a:lnTo>
                    <a:pt x="522" y="303"/>
                  </a:lnTo>
                  <a:lnTo>
                    <a:pt x="521" y="303"/>
                  </a:lnTo>
                  <a:lnTo>
                    <a:pt x="521" y="304"/>
                  </a:lnTo>
                  <a:lnTo>
                    <a:pt x="519" y="304"/>
                  </a:lnTo>
                  <a:lnTo>
                    <a:pt x="517" y="304"/>
                  </a:lnTo>
                  <a:lnTo>
                    <a:pt x="514" y="304"/>
                  </a:lnTo>
                  <a:lnTo>
                    <a:pt x="513" y="304"/>
                  </a:lnTo>
                  <a:lnTo>
                    <a:pt x="511" y="305"/>
                  </a:lnTo>
                  <a:lnTo>
                    <a:pt x="510" y="305"/>
                  </a:lnTo>
                  <a:lnTo>
                    <a:pt x="508" y="306"/>
                  </a:lnTo>
                  <a:lnTo>
                    <a:pt x="506" y="307"/>
                  </a:lnTo>
                  <a:lnTo>
                    <a:pt x="503" y="308"/>
                  </a:lnTo>
                  <a:lnTo>
                    <a:pt x="502" y="309"/>
                  </a:lnTo>
                  <a:lnTo>
                    <a:pt x="501" y="309"/>
                  </a:lnTo>
                  <a:lnTo>
                    <a:pt x="500" y="309"/>
                  </a:lnTo>
                  <a:lnTo>
                    <a:pt x="499" y="309"/>
                  </a:lnTo>
                  <a:lnTo>
                    <a:pt x="497" y="309"/>
                  </a:lnTo>
                  <a:lnTo>
                    <a:pt x="496" y="309"/>
                  </a:lnTo>
                  <a:lnTo>
                    <a:pt x="496" y="309"/>
                  </a:lnTo>
                  <a:lnTo>
                    <a:pt x="495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4" y="308"/>
                  </a:lnTo>
                  <a:lnTo>
                    <a:pt x="493" y="308"/>
                  </a:lnTo>
                  <a:lnTo>
                    <a:pt x="493" y="308"/>
                  </a:lnTo>
                  <a:lnTo>
                    <a:pt x="493" y="307"/>
                  </a:lnTo>
                  <a:lnTo>
                    <a:pt x="493" y="307"/>
                  </a:lnTo>
                  <a:lnTo>
                    <a:pt x="493" y="306"/>
                  </a:lnTo>
                  <a:lnTo>
                    <a:pt x="493" y="302"/>
                  </a:lnTo>
                  <a:lnTo>
                    <a:pt x="493" y="302"/>
                  </a:lnTo>
                  <a:lnTo>
                    <a:pt x="493" y="301"/>
                  </a:lnTo>
                  <a:lnTo>
                    <a:pt x="493" y="300"/>
                  </a:lnTo>
                  <a:lnTo>
                    <a:pt x="493" y="299"/>
                  </a:lnTo>
                  <a:lnTo>
                    <a:pt x="492" y="297"/>
                  </a:lnTo>
                  <a:lnTo>
                    <a:pt x="492" y="296"/>
                  </a:lnTo>
                  <a:lnTo>
                    <a:pt x="491" y="293"/>
                  </a:lnTo>
                  <a:lnTo>
                    <a:pt x="491" y="291"/>
                  </a:lnTo>
                  <a:lnTo>
                    <a:pt x="490" y="290"/>
                  </a:lnTo>
                  <a:lnTo>
                    <a:pt x="490" y="290"/>
                  </a:lnTo>
                  <a:lnTo>
                    <a:pt x="490" y="289"/>
                  </a:lnTo>
                  <a:lnTo>
                    <a:pt x="489" y="288"/>
                  </a:lnTo>
                  <a:lnTo>
                    <a:pt x="488" y="288"/>
                  </a:lnTo>
                  <a:lnTo>
                    <a:pt x="487" y="287"/>
                  </a:lnTo>
                  <a:lnTo>
                    <a:pt x="487" y="287"/>
                  </a:lnTo>
                  <a:lnTo>
                    <a:pt x="485" y="286"/>
                  </a:lnTo>
                  <a:lnTo>
                    <a:pt x="484" y="286"/>
                  </a:lnTo>
                  <a:lnTo>
                    <a:pt x="483" y="286"/>
                  </a:lnTo>
                  <a:lnTo>
                    <a:pt x="481" y="285"/>
                  </a:lnTo>
                  <a:lnTo>
                    <a:pt x="479" y="285"/>
                  </a:lnTo>
                  <a:lnTo>
                    <a:pt x="478" y="285"/>
                  </a:lnTo>
                  <a:lnTo>
                    <a:pt x="475" y="285"/>
                  </a:lnTo>
                  <a:lnTo>
                    <a:pt x="473" y="285"/>
                  </a:lnTo>
                  <a:lnTo>
                    <a:pt x="472" y="285"/>
                  </a:lnTo>
                  <a:lnTo>
                    <a:pt x="471" y="285"/>
                  </a:lnTo>
                  <a:lnTo>
                    <a:pt x="470" y="284"/>
                  </a:lnTo>
                  <a:lnTo>
                    <a:pt x="468" y="284"/>
                  </a:lnTo>
                  <a:lnTo>
                    <a:pt x="468" y="284"/>
                  </a:lnTo>
                  <a:lnTo>
                    <a:pt x="467" y="283"/>
                  </a:lnTo>
                  <a:lnTo>
                    <a:pt x="466" y="283"/>
                  </a:lnTo>
                  <a:lnTo>
                    <a:pt x="465" y="283"/>
                  </a:lnTo>
                  <a:lnTo>
                    <a:pt x="464" y="282"/>
                  </a:lnTo>
                  <a:lnTo>
                    <a:pt x="462" y="280"/>
                  </a:lnTo>
                  <a:lnTo>
                    <a:pt x="462" y="280"/>
                  </a:lnTo>
                  <a:lnTo>
                    <a:pt x="461" y="279"/>
                  </a:lnTo>
                  <a:lnTo>
                    <a:pt x="461" y="279"/>
                  </a:lnTo>
                  <a:lnTo>
                    <a:pt x="460" y="279"/>
                  </a:lnTo>
                  <a:lnTo>
                    <a:pt x="459" y="278"/>
                  </a:lnTo>
                  <a:lnTo>
                    <a:pt x="459" y="278"/>
                  </a:lnTo>
                  <a:lnTo>
                    <a:pt x="455" y="278"/>
                  </a:lnTo>
                  <a:lnTo>
                    <a:pt x="452" y="277"/>
                  </a:lnTo>
                  <a:lnTo>
                    <a:pt x="451" y="277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8" y="277"/>
                  </a:lnTo>
                  <a:lnTo>
                    <a:pt x="447" y="277"/>
                  </a:lnTo>
                  <a:lnTo>
                    <a:pt x="446" y="278"/>
                  </a:lnTo>
                  <a:lnTo>
                    <a:pt x="445" y="278"/>
                  </a:lnTo>
                  <a:lnTo>
                    <a:pt x="444" y="279"/>
                  </a:lnTo>
                  <a:lnTo>
                    <a:pt x="444" y="279"/>
                  </a:lnTo>
                  <a:lnTo>
                    <a:pt x="443" y="280"/>
                  </a:lnTo>
                  <a:lnTo>
                    <a:pt x="443" y="280"/>
                  </a:lnTo>
                  <a:lnTo>
                    <a:pt x="443" y="280"/>
                  </a:lnTo>
                  <a:lnTo>
                    <a:pt x="443" y="281"/>
                  </a:lnTo>
                  <a:lnTo>
                    <a:pt x="442" y="283"/>
                  </a:lnTo>
                  <a:lnTo>
                    <a:pt x="442" y="284"/>
                  </a:lnTo>
                  <a:lnTo>
                    <a:pt x="442" y="286"/>
                  </a:lnTo>
                  <a:lnTo>
                    <a:pt x="441" y="287"/>
                  </a:lnTo>
                  <a:lnTo>
                    <a:pt x="440" y="288"/>
                  </a:lnTo>
                  <a:lnTo>
                    <a:pt x="439" y="290"/>
                  </a:lnTo>
                  <a:lnTo>
                    <a:pt x="439" y="292"/>
                  </a:lnTo>
                  <a:lnTo>
                    <a:pt x="439" y="292"/>
                  </a:lnTo>
                  <a:lnTo>
                    <a:pt x="438" y="294"/>
                  </a:lnTo>
                  <a:lnTo>
                    <a:pt x="438" y="295"/>
                  </a:lnTo>
                  <a:lnTo>
                    <a:pt x="437" y="296"/>
                  </a:lnTo>
                  <a:lnTo>
                    <a:pt x="437" y="297"/>
                  </a:lnTo>
                  <a:lnTo>
                    <a:pt x="437" y="298"/>
                  </a:lnTo>
                  <a:lnTo>
                    <a:pt x="437" y="300"/>
                  </a:lnTo>
                  <a:lnTo>
                    <a:pt x="437" y="302"/>
                  </a:lnTo>
                  <a:lnTo>
                    <a:pt x="437" y="304"/>
                  </a:lnTo>
                  <a:lnTo>
                    <a:pt x="437" y="305"/>
                  </a:lnTo>
                  <a:lnTo>
                    <a:pt x="438" y="308"/>
                  </a:lnTo>
                  <a:lnTo>
                    <a:pt x="438" y="313"/>
                  </a:lnTo>
                  <a:lnTo>
                    <a:pt x="439" y="316"/>
                  </a:lnTo>
                  <a:lnTo>
                    <a:pt x="439" y="318"/>
                  </a:lnTo>
                  <a:lnTo>
                    <a:pt x="440" y="323"/>
                  </a:lnTo>
                  <a:lnTo>
                    <a:pt x="440" y="325"/>
                  </a:lnTo>
                  <a:lnTo>
                    <a:pt x="440" y="326"/>
                  </a:lnTo>
                  <a:lnTo>
                    <a:pt x="440" y="328"/>
                  </a:lnTo>
                  <a:lnTo>
                    <a:pt x="440" y="329"/>
                  </a:lnTo>
                  <a:lnTo>
                    <a:pt x="440" y="330"/>
                  </a:lnTo>
                  <a:lnTo>
                    <a:pt x="440" y="332"/>
                  </a:lnTo>
                  <a:lnTo>
                    <a:pt x="439" y="334"/>
                  </a:lnTo>
                  <a:lnTo>
                    <a:pt x="438" y="340"/>
                  </a:lnTo>
                  <a:lnTo>
                    <a:pt x="438" y="341"/>
                  </a:lnTo>
                  <a:lnTo>
                    <a:pt x="437" y="343"/>
                  </a:lnTo>
                  <a:lnTo>
                    <a:pt x="437" y="344"/>
                  </a:lnTo>
                  <a:lnTo>
                    <a:pt x="436" y="346"/>
                  </a:lnTo>
                  <a:lnTo>
                    <a:pt x="436" y="347"/>
                  </a:lnTo>
                  <a:lnTo>
                    <a:pt x="436" y="349"/>
                  </a:lnTo>
                  <a:lnTo>
                    <a:pt x="436" y="350"/>
                  </a:lnTo>
                  <a:lnTo>
                    <a:pt x="436" y="354"/>
                  </a:lnTo>
                  <a:lnTo>
                    <a:pt x="436" y="355"/>
                  </a:lnTo>
                  <a:lnTo>
                    <a:pt x="436" y="356"/>
                  </a:lnTo>
                  <a:lnTo>
                    <a:pt x="436" y="357"/>
                  </a:lnTo>
                  <a:lnTo>
                    <a:pt x="436" y="357"/>
                  </a:lnTo>
                  <a:lnTo>
                    <a:pt x="435" y="360"/>
                  </a:lnTo>
                  <a:lnTo>
                    <a:pt x="434" y="361"/>
                  </a:lnTo>
                  <a:lnTo>
                    <a:pt x="433" y="366"/>
                  </a:lnTo>
                  <a:lnTo>
                    <a:pt x="432" y="369"/>
                  </a:lnTo>
                  <a:lnTo>
                    <a:pt x="432" y="370"/>
                  </a:lnTo>
                  <a:lnTo>
                    <a:pt x="431" y="372"/>
                  </a:lnTo>
                  <a:lnTo>
                    <a:pt x="431" y="374"/>
                  </a:lnTo>
                  <a:lnTo>
                    <a:pt x="431" y="376"/>
                  </a:lnTo>
                  <a:lnTo>
                    <a:pt x="431" y="377"/>
                  </a:lnTo>
                  <a:lnTo>
                    <a:pt x="431" y="378"/>
                  </a:lnTo>
                  <a:lnTo>
                    <a:pt x="431" y="379"/>
                  </a:lnTo>
                  <a:lnTo>
                    <a:pt x="431" y="380"/>
                  </a:lnTo>
                  <a:lnTo>
                    <a:pt x="431" y="381"/>
                  </a:lnTo>
                  <a:lnTo>
                    <a:pt x="432" y="382"/>
                  </a:lnTo>
                  <a:lnTo>
                    <a:pt x="432" y="383"/>
                  </a:lnTo>
                  <a:lnTo>
                    <a:pt x="434" y="385"/>
                  </a:lnTo>
                  <a:lnTo>
                    <a:pt x="434" y="386"/>
                  </a:lnTo>
                  <a:lnTo>
                    <a:pt x="434" y="386"/>
                  </a:lnTo>
                  <a:lnTo>
                    <a:pt x="435" y="387"/>
                  </a:lnTo>
                  <a:lnTo>
                    <a:pt x="435" y="388"/>
                  </a:lnTo>
                  <a:lnTo>
                    <a:pt x="435" y="389"/>
                  </a:lnTo>
                  <a:lnTo>
                    <a:pt x="435" y="390"/>
                  </a:lnTo>
                  <a:lnTo>
                    <a:pt x="434" y="390"/>
                  </a:lnTo>
                  <a:lnTo>
                    <a:pt x="434" y="391"/>
                  </a:lnTo>
                  <a:lnTo>
                    <a:pt x="433" y="392"/>
                  </a:lnTo>
                  <a:lnTo>
                    <a:pt x="433" y="393"/>
                  </a:lnTo>
                  <a:lnTo>
                    <a:pt x="432" y="393"/>
                  </a:lnTo>
                  <a:lnTo>
                    <a:pt x="431" y="394"/>
                  </a:lnTo>
                  <a:lnTo>
                    <a:pt x="430" y="394"/>
                  </a:lnTo>
                  <a:lnTo>
                    <a:pt x="429" y="394"/>
                  </a:lnTo>
                  <a:lnTo>
                    <a:pt x="428" y="394"/>
                  </a:lnTo>
                  <a:lnTo>
                    <a:pt x="426" y="394"/>
                  </a:lnTo>
                  <a:lnTo>
                    <a:pt x="425" y="394"/>
                  </a:lnTo>
                  <a:lnTo>
                    <a:pt x="420" y="392"/>
                  </a:lnTo>
                  <a:lnTo>
                    <a:pt x="417" y="391"/>
                  </a:lnTo>
                  <a:lnTo>
                    <a:pt x="415" y="391"/>
                  </a:lnTo>
                  <a:lnTo>
                    <a:pt x="414" y="391"/>
                  </a:lnTo>
                  <a:lnTo>
                    <a:pt x="410" y="389"/>
                  </a:lnTo>
                  <a:lnTo>
                    <a:pt x="409" y="389"/>
                  </a:lnTo>
                  <a:lnTo>
                    <a:pt x="407" y="388"/>
                  </a:lnTo>
                  <a:lnTo>
                    <a:pt x="406" y="388"/>
                  </a:lnTo>
                  <a:lnTo>
                    <a:pt x="405" y="387"/>
                  </a:lnTo>
                  <a:lnTo>
                    <a:pt x="404" y="387"/>
                  </a:lnTo>
                  <a:lnTo>
                    <a:pt x="400" y="386"/>
                  </a:lnTo>
                  <a:lnTo>
                    <a:pt x="397" y="386"/>
                  </a:lnTo>
                  <a:lnTo>
                    <a:pt x="395" y="385"/>
                  </a:lnTo>
                  <a:lnTo>
                    <a:pt x="394" y="385"/>
                  </a:lnTo>
                  <a:lnTo>
                    <a:pt x="393" y="385"/>
                  </a:lnTo>
                  <a:lnTo>
                    <a:pt x="392" y="385"/>
                  </a:lnTo>
                  <a:lnTo>
                    <a:pt x="391" y="386"/>
                  </a:lnTo>
                  <a:lnTo>
                    <a:pt x="391" y="386"/>
                  </a:lnTo>
                  <a:lnTo>
                    <a:pt x="390" y="386"/>
                  </a:lnTo>
                  <a:lnTo>
                    <a:pt x="389" y="386"/>
                  </a:lnTo>
                  <a:lnTo>
                    <a:pt x="389" y="387"/>
                  </a:lnTo>
                  <a:lnTo>
                    <a:pt x="388" y="387"/>
                  </a:lnTo>
                  <a:lnTo>
                    <a:pt x="387" y="388"/>
                  </a:lnTo>
                  <a:lnTo>
                    <a:pt x="387" y="388"/>
                  </a:lnTo>
                  <a:lnTo>
                    <a:pt x="386" y="389"/>
                  </a:lnTo>
                  <a:lnTo>
                    <a:pt x="386" y="389"/>
                  </a:lnTo>
                  <a:lnTo>
                    <a:pt x="386" y="390"/>
                  </a:lnTo>
                  <a:lnTo>
                    <a:pt x="386" y="391"/>
                  </a:lnTo>
                  <a:lnTo>
                    <a:pt x="385" y="394"/>
                  </a:lnTo>
                  <a:lnTo>
                    <a:pt x="384" y="399"/>
                  </a:lnTo>
                  <a:lnTo>
                    <a:pt x="384" y="401"/>
                  </a:lnTo>
                  <a:lnTo>
                    <a:pt x="383" y="404"/>
                  </a:lnTo>
                  <a:lnTo>
                    <a:pt x="383" y="405"/>
                  </a:lnTo>
                  <a:lnTo>
                    <a:pt x="383" y="406"/>
                  </a:lnTo>
                  <a:lnTo>
                    <a:pt x="382" y="407"/>
                  </a:lnTo>
                  <a:lnTo>
                    <a:pt x="382" y="408"/>
                  </a:lnTo>
                  <a:lnTo>
                    <a:pt x="381" y="409"/>
                  </a:lnTo>
                  <a:lnTo>
                    <a:pt x="380" y="410"/>
                  </a:lnTo>
                  <a:lnTo>
                    <a:pt x="379" y="412"/>
                  </a:lnTo>
                  <a:lnTo>
                    <a:pt x="377" y="414"/>
                  </a:lnTo>
                  <a:lnTo>
                    <a:pt x="376" y="415"/>
                  </a:lnTo>
                  <a:lnTo>
                    <a:pt x="375" y="416"/>
                  </a:lnTo>
                  <a:lnTo>
                    <a:pt x="374" y="416"/>
                  </a:lnTo>
                  <a:lnTo>
                    <a:pt x="373" y="417"/>
                  </a:lnTo>
                  <a:lnTo>
                    <a:pt x="370" y="419"/>
                  </a:lnTo>
                  <a:lnTo>
                    <a:pt x="367" y="422"/>
                  </a:lnTo>
                  <a:lnTo>
                    <a:pt x="365" y="423"/>
                  </a:lnTo>
                  <a:lnTo>
                    <a:pt x="364" y="424"/>
                  </a:lnTo>
                  <a:lnTo>
                    <a:pt x="364" y="425"/>
                  </a:lnTo>
                  <a:lnTo>
                    <a:pt x="363" y="426"/>
                  </a:lnTo>
                  <a:lnTo>
                    <a:pt x="362" y="427"/>
                  </a:lnTo>
                  <a:lnTo>
                    <a:pt x="361" y="429"/>
                  </a:lnTo>
                  <a:lnTo>
                    <a:pt x="360" y="431"/>
                  </a:lnTo>
                  <a:lnTo>
                    <a:pt x="360" y="432"/>
                  </a:lnTo>
                  <a:lnTo>
                    <a:pt x="359" y="434"/>
                  </a:lnTo>
                  <a:lnTo>
                    <a:pt x="358" y="437"/>
                  </a:lnTo>
                  <a:lnTo>
                    <a:pt x="358" y="438"/>
                  </a:lnTo>
                  <a:lnTo>
                    <a:pt x="357" y="440"/>
                  </a:lnTo>
                  <a:lnTo>
                    <a:pt x="357" y="441"/>
                  </a:lnTo>
                  <a:lnTo>
                    <a:pt x="357" y="443"/>
                  </a:lnTo>
                  <a:lnTo>
                    <a:pt x="357" y="444"/>
                  </a:lnTo>
                  <a:lnTo>
                    <a:pt x="357" y="445"/>
                  </a:lnTo>
                  <a:lnTo>
                    <a:pt x="357" y="451"/>
                  </a:lnTo>
                  <a:lnTo>
                    <a:pt x="357" y="453"/>
                  </a:lnTo>
                  <a:lnTo>
                    <a:pt x="357" y="454"/>
                  </a:lnTo>
                  <a:lnTo>
                    <a:pt x="357" y="456"/>
                  </a:lnTo>
                  <a:lnTo>
                    <a:pt x="357" y="461"/>
                  </a:lnTo>
                  <a:lnTo>
                    <a:pt x="357" y="464"/>
                  </a:lnTo>
                  <a:lnTo>
                    <a:pt x="357" y="465"/>
                  </a:lnTo>
                  <a:lnTo>
                    <a:pt x="356" y="467"/>
                  </a:lnTo>
                  <a:lnTo>
                    <a:pt x="356" y="468"/>
                  </a:lnTo>
                  <a:lnTo>
                    <a:pt x="356" y="469"/>
                  </a:lnTo>
                  <a:lnTo>
                    <a:pt x="356" y="469"/>
                  </a:lnTo>
                  <a:lnTo>
                    <a:pt x="355" y="471"/>
                  </a:lnTo>
                  <a:lnTo>
                    <a:pt x="355" y="472"/>
                  </a:lnTo>
                  <a:lnTo>
                    <a:pt x="354" y="473"/>
                  </a:lnTo>
                  <a:lnTo>
                    <a:pt x="353" y="473"/>
                  </a:lnTo>
                  <a:lnTo>
                    <a:pt x="353" y="474"/>
                  </a:lnTo>
                  <a:lnTo>
                    <a:pt x="352" y="475"/>
                  </a:lnTo>
                  <a:lnTo>
                    <a:pt x="352" y="475"/>
                  </a:lnTo>
                  <a:lnTo>
                    <a:pt x="351" y="475"/>
                  </a:lnTo>
                  <a:lnTo>
                    <a:pt x="351" y="476"/>
                  </a:lnTo>
                  <a:lnTo>
                    <a:pt x="350" y="476"/>
                  </a:lnTo>
                  <a:lnTo>
                    <a:pt x="350" y="476"/>
                  </a:lnTo>
                  <a:lnTo>
                    <a:pt x="349" y="476"/>
                  </a:lnTo>
                  <a:lnTo>
                    <a:pt x="348" y="476"/>
                  </a:lnTo>
                  <a:lnTo>
                    <a:pt x="347" y="476"/>
                  </a:lnTo>
                  <a:lnTo>
                    <a:pt x="346" y="476"/>
                  </a:lnTo>
                  <a:lnTo>
                    <a:pt x="345" y="476"/>
                  </a:lnTo>
                  <a:lnTo>
                    <a:pt x="344" y="476"/>
                  </a:lnTo>
                  <a:lnTo>
                    <a:pt x="344" y="476"/>
                  </a:lnTo>
                  <a:lnTo>
                    <a:pt x="343" y="476"/>
                  </a:lnTo>
                  <a:lnTo>
                    <a:pt x="342" y="475"/>
                  </a:lnTo>
                  <a:lnTo>
                    <a:pt x="342" y="475"/>
                  </a:lnTo>
                  <a:lnTo>
                    <a:pt x="342" y="475"/>
                  </a:lnTo>
                  <a:lnTo>
                    <a:pt x="341" y="474"/>
                  </a:lnTo>
                  <a:lnTo>
                    <a:pt x="340" y="474"/>
                  </a:lnTo>
                  <a:lnTo>
                    <a:pt x="340" y="473"/>
                  </a:lnTo>
                  <a:lnTo>
                    <a:pt x="337" y="470"/>
                  </a:lnTo>
                  <a:lnTo>
                    <a:pt x="337" y="469"/>
                  </a:lnTo>
                  <a:lnTo>
                    <a:pt x="336" y="468"/>
                  </a:lnTo>
                  <a:lnTo>
                    <a:pt x="335" y="467"/>
                  </a:lnTo>
                  <a:lnTo>
                    <a:pt x="334" y="467"/>
                  </a:lnTo>
                  <a:lnTo>
                    <a:pt x="333" y="467"/>
                  </a:lnTo>
                  <a:lnTo>
                    <a:pt x="332" y="466"/>
                  </a:lnTo>
                  <a:lnTo>
                    <a:pt x="331" y="466"/>
                  </a:lnTo>
                  <a:lnTo>
                    <a:pt x="330" y="465"/>
                  </a:lnTo>
                  <a:lnTo>
                    <a:pt x="330" y="465"/>
                  </a:lnTo>
                  <a:lnTo>
                    <a:pt x="329" y="464"/>
                  </a:lnTo>
                  <a:lnTo>
                    <a:pt x="328" y="463"/>
                  </a:lnTo>
                  <a:lnTo>
                    <a:pt x="328" y="463"/>
                  </a:lnTo>
                  <a:lnTo>
                    <a:pt x="326" y="461"/>
                  </a:lnTo>
                  <a:lnTo>
                    <a:pt x="326" y="459"/>
                  </a:lnTo>
                  <a:lnTo>
                    <a:pt x="325" y="459"/>
                  </a:lnTo>
                  <a:lnTo>
                    <a:pt x="324" y="458"/>
                  </a:lnTo>
                  <a:lnTo>
                    <a:pt x="324" y="458"/>
                  </a:lnTo>
                  <a:lnTo>
                    <a:pt x="323" y="458"/>
                  </a:lnTo>
                  <a:lnTo>
                    <a:pt x="323" y="458"/>
                  </a:lnTo>
                  <a:lnTo>
                    <a:pt x="322" y="458"/>
                  </a:lnTo>
                  <a:lnTo>
                    <a:pt x="322" y="458"/>
                  </a:lnTo>
                  <a:lnTo>
                    <a:pt x="321" y="458"/>
                  </a:lnTo>
                  <a:lnTo>
                    <a:pt x="320" y="459"/>
                  </a:lnTo>
                  <a:lnTo>
                    <a:pt x="314" y="462"/>
                  </a:lnTo>
                  <a:lnTo>
                    <a:pt x="313" y="463"/>
                  </a:lnTo>
                  <a:lnTo>
                    <a:pt x="312" y="464"/>
                  </a:lnTo>
                  <a:lnTo>
                    <a:pt x="311" y="464"/>
                  </a:lnTo>
                  <a:lnTo>
                    <a:pt x="310" y="464"/>
                  </a:lnTo>
                  <a:lnTo>
                    <a:pt x="309" y="465"/>
                  </a:lnTo>
                  <a:lnTo>
                    <a:pt x="308" y="465"/>
                  </a:lnTo>
                  <a:lnTo>
                    <a:pt x="308" y="465"/>
                  </a:lnTo>
                  <a:lnTo>
                    <a:pt x="307" y="465"/>
                  </a:lnTo>
                  <a:lnTo>
                    <a:pt x="307" y="464"/>
                  </a:lnTo>
                  <a:lnTo>
                    <a:pt x="306" y="464"/>
                  </a:lnTo>
                  <a:lnTo>
                    <a:pt x="303" y="463"/>
                  </a:lnTo>
                  <a:lnTo>
                    <a:pt x="299" y="462"/>
                  </a:lnTo>
                  <a:lnTo>
                    <a:pt x="297" y="461"/>
                  </a:lnTo>
                  <a:lnTo>
                    <a:pt x="294" y="460"/>
                  </a:lnTo>
                  <a:lnTo>
                    <a:pt x="293" y="459"/>
                  </a:lnTo>
                  <a:lnTo>
                    <a:pt x="292" y="459"/>
                  </a:lnTo>
                  <a:lnTo>
                    <a:pt x="291" y="458"/>
                  </a:lnTo>
                  <a:lnTo>
                    <a:pt x="290" y="457"/>
                  </a:lnTo>
                  <a:lnTo>
                    <a:pt x="289" y="457"/>
                  </a:lnTo>
                  <a:lnTo>
                    <a:pt x="288" y="455"/>
                  </a:lnTo>
                  <a:lnTo>
                    <a:pt x="287" y="454"/>
                  </a:lnTo>
                  <a:lnTo>
                    <a:pt x="284" y="451"/>
                  </a:lnTo>
                  <a:lnTo>
                    <a:pt x="283" y="450"/>
                  </a:lnTo>
                  <a:lnTo>
                    <a:pt x="282" y="449"/>
                  </a:lnTo>
                  <a:lnTo>
                    <a:pt x="281" y="449"/>
                  </a:lnTo>
                  <a:lnTo>
                    <a:pt x="280" y="448"/>
                  </a:lnTo>
                  <a:lnTo>
                    <a:pt x="280" y="448"/>
                  </a:lnTo>
                  <a:lnTo>
                    <a:pt x="279" y="448"/>
                  </a:lnTo>
                  <a:lnTo>
                    <a:pt x="279" y="449"/>
                  </a:lnTo>
                  <a:lnTo>
                    <a:pt x="278" y="449"/>
                  </a:lnTo>
                  <a:lnTo>
                    <a:pt x="278" y="449"/>
                  </a:lnTo>
                  <a:lnTo>
                    <a:pt x="277" y="449"/>
                  </a:lnTo>
                  <a:lnTo>
                    <a:pt x="277" y="450"/>
                  </a:lnTo>
                  <a:lnTo>
                    <a:pt x="276" y="450"/>
                  </a:lnTo>
                  <a:lnTo>
                    <a:pt x="276" y="450"/>
                  </a:lnTo>
                  <a:lnTo>
                    <a:pt x="276" y="451"/>
                  </a:lnTo>
                  <a:lnTo>
                    <a:pt x="275" y="451"/>
                  </a:lnTo>
                  <a:lnTo>
                    <a:pt x="275" y="452"/>
                  </a:lnTo>
                  <a:lnTo>
                    <a:pt x="275" y="456"/>
                  </a:lnTo>
                  <a:lnTo>
                    <a:pt x="275" y="457"/>
                  </a:lnTo>
                  <a:lnTo>
                    <a:pt x="275" y="458"/>
                  </a:lnTo>
                  <a:lnTo>
                    <a:pt x="274" y="460"/>
                  </a:lnTo>
                  <a:lnTo>
                    <a:pt x="274" y="463"/>
                  </a:lnTo>
                  <a:lnTo>
                    <a:pt x="273" y="464"/>
                  </a:lnTo>
                  <a:lnTo>
                    <a:pt x="273" y="465"/>
                  </a:lnTo>
                  <a:lnTo>
                    <a:pt x="272" y="466"/>
                  </a:lnTo>
                  <a:lnTo>
                    <a:pt x="272" y="467"/>
                  </a:lnTo>
                  <a:lnTo>
                    <a:pt x="271" y="468"/>
                  </a:lnTo>
                  <a:lnTo>
                    <a:pt x="270" y="469"/>
                  </a:lnTo>
                  <a:lnTo>
                    <a:pt x="270" y="470"/>
                  </a:lnTo>
                  <a:lnTo>
                    <a:pt x="269" y="470"/>
                  </a:lnTo>
                  <a:lnTo>
                    <a:pt x="269" y="471"/>
                  </a:lnTo>
                  <a:lnTo>
                    <a:pt x="268" y="472"/>
                  </a:lnTo>
                  <a:lnTo>
                    <a:pt x="267" y="472"/>
                  </a:lnTo>
                  <a:lnTo>
                    <a:pt x="267" y="472"/>
                  </a:lnTo>
                  <a:lnTo>
                    <a:pt x="266" y="472"/>
                  </a:lnTo>
                  <a:lnTo>
                    <a:pt x="265" y="472"/>
                  </a:lnTo>
                  <a:lnTo>
                    <a:pt x="262" y="472"/>
                  </a:lnTo>
                  <a:lnTo>
                    <a:pt x="260" y="473"/>
                  </a:lnTo>
                  <a:lnTo>
                    <a:pt x="259" y="473"/>
                  </a:lnTo>
                  <a:lnTo>
                    <a:pt x="259" y="473"/>
                  </a:lnTo>
                  <a:lnTo>
                    <a:pt x="258" y="473"/>
                  </a:lnTo>
                  <a:lnTo>
                    <a:pt x="257" y="474"/>
                  </a:lnTo>
                  <a:lnTo>
                    <a:pt x="257" y="474"/>
                  </a:lnTo>
                  <a:lnTo>
                    <a:pt x="257" y="475"/>
                  </a:lnTo>
                  <a:lnTo>
                    <a:pt x="256" y="476"/>
                  </a:lnTo>
                  <a:lnTo>
                    <a:pt x="256" y="477"/>
                  </a:lnTo>
                  <a:lnTo>
                    <a:pt x="255" y="478"/>
                  </a:lnTo>
                  <a:lnTo>
                    <a:pt x="255" y="479"/>
                  </a:lnTo>
                  <a:lnTo>
                    <a:pt x="255" y="479"/>
                  </a:lnTo>
                  <a:lnTo>
                    <a:pt x="254" y="480"/>
                  </a:lnTo>
                  <a:lnTo>
                    <a:pt x="254" y="480"/>
                  </a:lnTo>
                  <a:lnTo>
                    <a:pt x="253" y="481"/>
                  </a:lnTo>
                  <a:lnTo>
                    <a:pt x="252" y="481"/>
                  </a:lnTo>
                  <a:lnTo>
                    <a:pt x="251" y="482"/>
                  </a:lnTo>
                  <a:lnTo>
                    <a:pt x="249" y="482"/>
                  </a:lnTo>
                  <a:lnTo>
                    <a:pt x="248" y="482"/>
                  </a:lnTo>
                  <a:lnTo>
                    <a:pt x="248" y="482"/>
                  </a:lnTo>
                  <a:lnTo>
                    <a:pt x="247" y="483"/>
                  </a:lnTo>
                  <a:lnTo>
                    <a:pt x="246" y="483"/>
                  </a:lnTo>
                  <a:lnTo>
                    <a:pt x="245" y="484"/>
                  </a:lnTo>
                  <a:lnTo>
                    <a:pt x="244" y="486"/>
                  </a:lnTo>
                  <a:lnTo>
                    <a:pt x="243" y="487"/>
                  </a:lnTo>
                  <a:lnTo>
                    <a:pt x="242" y="487"/>
                  </a:lnTo>
                  <a:lnTo>
                    <a:pt x="241" y="487"/>
                  </a:lnTo>
                  <a:lnTo>
                    <a:pt x="241" y="488"/>
                  </a:lnTo>
                  <a:lnTo>
                    <a:pt x="240" y="488"/>
                  </a:lnTo>
                  <a:lnTo>
                    <a:pt x="239" y="488"/>
                  </a:lnTo>
                  <a:lnTo>
                    <a:pt x="239" y="488"/>
                  </a:lnTo>
                  <a:lnTo>
                    <a:pt x="238" y="488"/>
                  </a:lnTo>
                  <a:lnTo>
                    <a:pt x="237" y="487"/>
                  </a:lnTo>
                  <a:lnTo>
                    <a:pt x="235" y="486"/>
                  </a:lnTo>
                  <a:lnTo>
                    <a:pt x="231" y="485"/>
                  </a:lnTo>
                  <a:lnTo>
                    <a:pt x="228" y="483"/>
                  </a:lnTo>
                  <a:lnTo>
                    <a:pt x="221" y="479"/>
                  </a:lnTo>
                  <a:lnTo>
                    <a:pt x="219" y="478"/>
                  </a:lnTo>
                  <a:lnTo>
                    <a:pt x="218" y="478"/>
                  </a:lnTo>
                  <a:lnTo>
                    <a:pt x="217" y="478"/>
                  </a:lnTo>
                  <a:lnTo>
                    <a:pt x="216" y="477"/>
                  </a:lnTo>
                  <a:lnTo>
                    <a:pt x="212" y="477"/>
                  </a:lnTo>
                  <a:lnTo>
                    <a:pt x="211" y="477"/>
                  </a:lnTo>
                  <a:lnTo>
                    <a:pt x="209" y="476"/>
                  </a:lnTo>
                  <a:lnTo>
                    <a:pt x="205" y="475"/>
                  </a:lnTo>
                  <a:lnTo>
                    <a:pt x="200" y="473"/>
                  </a:lnTo>
                  <a:lnTo>
                    <a:pt x="197" y="472"/>
                  </a:lnTo>
                  <a:lnTo>
                    <a:pt x="196" y="472"/>
                  </a:lnTo>
                  <a:lnTo>
                    <a:pt x="195" y="472"/>
                  </a:lnTo>
                  <a:lnTo>
                    <a:pt x="193" y="472"/>
                  </a:lnTo>
                  <a:lnTo>
                    <a:pt x="190" y="472"/>
                  </a:lnTo>
                  <a:lnTo>
                    <a:pt x="188" y="472"/>
                  </a:lnTo>
                  <a:lnTo>
                    <a:pt x="187" y="471"/>
                  </a:lnTo>
                  <a:lnTo>
                    <a:pt x="183" y="471"/>
                  </a:lnTo>
                  <a:lnTo>
                    <a:pt x="181" y="471"/>
                  </a:lnTo>
                  <a:lnTo>
                    <a:pt x="179" y="470"/>
                  </a:lnTo>
                  <a:lnTo>
                    <a:pt x="178" y="470"/>
                  </a:lnTo>
                  <a:lnTo>
                    <a:pt x="177" y="470"/>
                  </a:lnTo>
                  <a:lnTo>
                    <a:pt x="173" y="471"/>
                  </a:lnTo>
                  <a:lnTo>
                    <a:pt x="172" y="471"/>
                  </a:lnTo>
                  <a:lnTo>
                    <a:pt x="171" y="471"/>
                  </a:lnTo>
                  <a:lnTo>
                    <a:pt x="170" y="471"/>
                  </a:lnTo>
                  <a:lnTo>
                    <a:pt x="169" y="471"/>
                  </a:lnTo>
                  <a:lnTo>
                    <a:pt x="168" y="471"/>
                  </a:lnTo>
                  <a:lnTo>
                    <a:pt x="168" y="471"/>
                  </a:lnTo>
                  <a:lnTo>
                    <a:pt x="165" y="470"/>
                  </a:lnTo>
                  <a:lnTo>
                    <a:pt x="164" y="469"/>
                  </a:lnTo>
                  <a:lnTo>
                    <a:pt x="163" y="469"/>
                  </a:lnTo>
                  <a:lnTo>
                    <a:pt x="160" y="468"/>
                  </a:lnTo>
                  <a:lnTo>
                    <a:pt x="159" y="468"/>
                  </a:lnTo>
                  <a:lnTo>
                    <a:pt x="158" y="467"/>
                  </a:lnTo>
                  <a:lnTo>
                    <a:pt x="158" y="467"/>
                  </a:lnTo>
                  <a:lnTo>
                    <a:pt x="156" y="466"/>
                  </a:lnTo>
                  <a:lnTo>
                    <a:pt x="154" y="464"/>
                  </a:lnTo>
                  <a:lnTo>
                    <a:pt x="154" y="464"/>
                  </a:lnTo>
                  <a:lnTo>
                    <a:pt x="153" y="463"/>
                  </a:lnTo>
                  <a:lnTo>
                    <a:pt x="152" y="462"/>
                  </a:lnTo>
                  <a:lnTo>
                    <a:pt x="152" y="461"/>
                  </a:lnTo>
                  <a:lnTo>
                    <a:pt x="151" y="461"/>
                  </a:lnTo>
                  <a:lnTo>
                    <a:pt x="151" y="460"/>
                  </a:lnTo>
                  <a:lnTo>
                    <a:pt x="150" y="457"/>
                  </a:lnTo>
                  <a:lnTo>
                    <a:pt x="149" y="457"/>
                  </a:lnTo>
                  <a:lnTo>
                    <a:pt x="149" y="456"/>
                  </a:lnTo>
                  <a:lnTo>
                    <a:pt x="149" y="456"/>
                  </a:lnTo>
                  <a:lnTo>
                    <a:pt x="148" y="455"/>
                  </a:lnTo>
                  <a:lnTo>
                    <a:pt x="147" y="454"/>
                  </a:lnTo>
                  <a:lnTo>
                    <a:pt x="146" y="454"/>
                  </a:lnTo>
                  <a:lnTo>
                    <a:pt x="145" y="453"/>
                  </a:lnTo>
                  <a:lnTo>
                    <a:pt x="145" y="452"/>
                  </a:lnTo>
                  <a:lnTo>
                    <a:pt x="144" y="451"/>
                  </a:lnTo>
                  <a:lnTo>
                    <a:pt x="144" y="451"/>
                  </a:lnTo>
                  <a:lnTo>
                    <a:pt x="144" y="450"/>
                  </a:lnTo>
                  <a:lnTo>
                    <a:pt x="144" y="449"/>
                  </a:lnTo>
                  <a:lnTo>
                    <a:pt x="144" y="449"/>
                  </a:lnTo>
                  <a:lnTo>
                    <a:pt x="144" y="448"/>
                  </a:lnTo>
                  <a:lnTo>
                    <a:pt x="144" y="448"/>
                  </a:lnTo>
                  <a:lnTo>
                    <a:pt x="144" y="447"/>
                  </a:lnTo>
                  <a:lnTo>
                    <a:pt x="144" y="447"/>
                  </a:lnTo>
                  <a:lnTo>
                    <a:pt x="145" y="446"/>
                  </a:lnTo>
                  <a:lnTo>
                    <a:pt x="145" y="445"/>
                  </a:lnTo>
                  <a:lnTo>
                    <a:pt x="146" y="445"/>
                  </a:lnTo>
                  <a:lnTo>
                    <a:pt x="147" y="444"/>
                  </a:lnTo>
                  <a:lnTo>
                    <a:pt x="148" y="443"/>
                  </a:lnTo>
                  <a:lnTo>
                    <a:pt x="149" y="443"/>
                  </a:lnTo>
                  <a:lnTo>
                    <a:pt x="151" y="442"/>
                  </a:lnTo>
                  <a:lnTo>
                    <a:pt x="152" y="442"/>
                  </a:lnTo>
                  <a:lnTo>
                    <a:pt x="152" y="441"/>
                  </a:lnTo>
                  <a:lnTo>
                    <a:pt x="153" y="441"/>
                  </a:lnTo>
                  <a:lnTo>
                    <a:pt x="153" y="440"/>
                  </a:lnTo>
                  <a:lnTo>
                    <a:pt x="153" y="440"/>
                  </a:lnTo>
                  <a:lnTo>
                    <a:pt x="154" y="439"/>
                  </a:lnTo>
                  <a:lnTo>
                    <a:pt x="154" y="438"/>
                  </a:lnTo>
                  <a:lnTo>
                    <a:pt x="154" y="438"/>
                  </a:lnTo>
                  <a:lnTo>
                    <a:pt x="154" y="437"/>
                  </a:lnTo>
                  <a:lnTo>
                    <a:pt x="154" y="436"/>
                  </a:lnTo>
                  <a:lnTo>
                    <a:pt x="154" y="435"/>
                  </a:lnTo>
                  <a:lnTo>
                    <a:pt x="153" y="434"/>
                  </a:lnTo>
                  <a:lnTo>
                    <a:pt x="153" y="434"/>
                  </a:lnTo>
                  <a:lnTo>
                    <a:pt x="152" y="433"/>
                  </a:lnTo>
                  <a:lnTo>
                    <a:pt x="152" y="433"/>
                  </a:lnTo>
                  <a:lnTo>
                    <a:pt x="149" y="431"/>
                  </a:lnTo>
                  <a:lnTo>
                    <a:pt x="148" y="430"/>
                  </a:lnTo>
                  <a:lnTo>
                    <a:pt x="147" y="429"/>
                  </a:lnTo>
                  <a:lnTo>
                    <a:pt x="146" y="428"/>
                  </a:lnTo>
                  <a:lnTo>
                    <a:pt x="144" y="425"/>
                  </a:lnTo>
                  <a:lnTo>
                    <a:pt x="143" y="424"/>
                  </a:lnTo>
                  <a:lnTo>
                    <a:pt x="142" y="422"/>
                  </a:lnTo>
                  <a:lnTo>
                    <a:pt x="140" y="421"/>
                  </a:lnTo>
                  <a:lnTo>
                    <a:pt x="139" y="420"/>
                  </a:lnTo>
                  <a:lnTo>
                    <a:pt x="139" y="419"/>
                  </a:lnTo>
                  <a:lnTo>
                    <a:pt x="138" y="419"/>
                  </a:lnTo>
                  <a:lnTo>
                    <a:pt x="137" y="418"/>
                  </a:lnTo>
                  <a:lnTo>
                    <a:pt x="136" y="418"/>
                  </a:lnTo>
                  <a:lnTo>
                    <a:pt x="136" y="418"/>
                  </a:lnTo>
                  <a:lnTo>
                    <a:pt x="134" y="417"/>
                  </a:lnTo>
                  <a:lnTo>
                    <a:pt x="131" y="416"/>
                  </a:lnTo>
                  <a:lnTo>
                    <a:pt x="129" y="415"/>
                  </a:lnTo>
                  <a:lnTo>
                    <a:pt x="128" y="414"/>
                  </a:lnTo>
                  <a:lnTo>
                    <a:pt x="126" y="414"/>
                  </a:lnTo>
                  <a:lnTo>
                    <a:pt x="125" y="414"/>
                  </a:lnTo>
                  <a:lnTo>
                    <a:pt x="125" y="413"/>
                  </a:lnTo>
                  <a:lnTo>
                    <a:pt x="121" y="410"/>
                  </a:lnTo>
                  <a:lnTo>
                    <a:pt x="120" y="410"/>
                  </a:lnTo>
                  <a:lnTo>
                    <a:pt x="119" y="409"/>
                  </a:lnTo>
                  <a:lnTo>
                    <a:pt x="118" y="408"/>
                  </a:lnTo>
                  <a:lnTo>
                    <a:pt x="117" y="407"/>
                  </a:lnTo>
                  <a:lnTo>
                    <a:pt x="116" y="405"/>
                  </a:lnTo>
                  <a:lnTo>
                    <a:pt x="111" y="401"/>
                  </a:lnTo>
                  <a:lnTo>
                    <a:pt x="110" y="399"/>
                  </a:lnTo>
                  <a:lnTo>
                    <a:pt x="108" y="398"/>
                  </a:lnTo>
                  <a:lnTo>
                    <a:pt x="107" y="396"/>
                  </a:lnTo>
                  <a:lnTo>
                    <a:pt x="105" y="395"/>
                  </a:lnTo>
                  <a:lnTo>
                    <a:pt x="104" y="394"/>
                  </a:lnTo>
                  <a:lnTo>
                    <a:pt x="103" y="393"/>
                  </a:lnTo>
                  <a:lnTo>
                    <a:pt x="101" y="392"/>
                  </a:lnTo>
                  <a:lnTo>
                    <a:pt x="100" y="391"/>
                  </a:lnTo>
                  <a:lnTo>
                    <a:pt x="99" y="390"/>
                  </a:lnTo>
                  <a:lnTo>
                    <a:pt x="97" y="390"/>
                  </a:lnTo>
                  <a:lnTo>
                    <a:pt x="96" y="389"/>
                  </a:lnTo>
                  <a:lnTo>
                    <a:pt x="94" y="389"/>
                  </a:lnTo>
                  <a:lnTo>
                    <a:pt x="88" y="387"/>
                  </a:lnTo>
                  <a:lnTo>
                    <a:pt x="86" y="386"/>
                  </a:lnTo>
                  <a:lnTo>
                    <a:pt x="85" y="386"/>
                  </a:lnTo>
                  <a:lnTo>
                    <a:pt x="84" y="385"/>
                  </a:lnTo>
                  <a:lnTo>
                    <a:pt x="83" y="385"/>
                  </a:lnTo>
                  <a:lnTo>
                    <a:pt x="82" y="384"/>
                  </a:lnTo>
                  <a:lnTo>
                    <a:pt x="82" y="384"/>
                  </a:lnTo>
                  <a:lnTo>
                    <a:pt x="81" y="383"/>
                  </a:lnTo>
                  <a:lnTo>
                    <a:pt x="81" y="383"/>
                  </a:lnTo>
                  <a:lnTo>
                    <a:pt x="81" y="382"/>
                  </a:lnTo>
                  <a:lnTo>
                    <a:pt x="80" y="380"/>
                  </a:lnTo>
                  <a:lnTo>
                    <a:pt x="80" y="379"/>
                  </a:lnTo>
                  <a:lnTo>
                    <a:pt x="80" y="376"/>
                  </a:lnTo>
                  <a:lnTo>
                    <a:pt x="79" y="375"/>
                  </a:lnTo>
                  <a:lnTo>
                    <a:pt x="79" y="374"/>
                  </a:lnTo>
                  <a:lnTo>
                    <a:pt x="79" y="373"/>
                  </a:lnTo>
                  <a:lnTo>
                    <a:pt x="78" y="371"/>
                  </a:lnTo>
                  <a:lnTo>
                    <a:pt x="76" y="366"/>
                  </a:lnTo>
                  <a:lnTo>
                    <a:pt x="75" y="365"/>
                  </a:lnTo>
                  <a:lnTo>
                    <a:pt x="75" y="364"/>
                  </a:lnTo>
                  <a:lnTo>
                    <a:pt x="74" y="362"/>
                  </a:lnTo>
                  <a:lnTo>
                    <a:pt x="73" y="362"/>
                  </a:lnTo>
                  <a:lnTo>
                    <a:pt x="73" y="361"/>
                  </a:lnTo>
                  <a:lnTo>
                    <a:pt x="72" y="361"/>
                  </a:lnTo>
                  <a:lnTo>
                    <a:pt x="72" y="360"/>
                  </a:lnTo>
                  <a:lnTo>
                    <a:pt x="70" y="359"/>
                  </a:lnTo>
                  <a:lnTo>
                    <a:pt x="69" y="358"/>
                  </a:lnTo>
                  <a:lnTo>
                    <a:pt x="68" y="357"/>
                  </a:lnTo>
                  <a:lnTo>
                    <a:pt x="68" y="357"/>
                  </a:lnTo>
                  <a:lnTo>
                    <a:pt x="67" y="356"/>
                  </a:lnTo>
                  <a:lnTo>
                    <a:pt x="67" y="355"/>
                  </a:lnTo>
                  <a:lnTo>
                    <a:pt x="66" y="355"/>
                  </a:lnTo>
                  <a:lnTo>
                    <a:pt x="66" y="353"/>
                  </a:lnTo>
                  <a:lnTo>
                    <a:pt x="65" y="352"/>
                  </a:lnTo>
                  <a:lnTo>
                    <a:pt x="65" y="351"/>
                  </a:lnTo>
                  <a:lnTo>
                    <a:pt x="63" y="347"/>
                  </a:lnTo>
                  <a:lnTo>
                    <a:pt x="62" y="343"/>
                  </a:lnTo>
                  <a:lnTo>
                    <a:pt x="61" y="341"/>
                  </a:lnTo>
                  <a:lnTo>
                    <a:pt x="60" y="340"/>
                  </a:lnTo>
                  <a:lnTo>
                    <a:pt x="60" y="339"/>
                  </a:lnTo>
                  <a:lnTo>
                    <a:pt x="59" y="338"/>
                  </a:lnTo>
                  <a:lnTo>
                    <a:pt x="58" y="337"/>
                  </a:lnTo>
                  <a:lnTo>
                    <a:pt x="58" y="336"/>
                  </a:lnTo>
                  <a:lnTo>
                    <a:pt x="57" y="336"/>
                  </a:lnTo>
                  <a:lnTo>
                    <a:pt x="57" y="336"/>
                  </a:lnTo>
                  <a:lnTo>
                    <a:pt x="56" y="336"/>
                  </a:lnTo>
                  <a:lnTo>
                    <a:pt x="55" y="336"/>
                  </a:lnTo>
                  <a:lnTo>
                    <a:pt x="52" y="336"/>
                  </a:lnTo>
                  <a:lnTo>
                    <a:pt x="51" y="336"/>
                  </a:lnTo>
                  <a:lnTo>
                    <a:pt x="49" y="336"/>
                  </a:lnTo>
                  <a:lnTo>
                    <a:pt x="46" y="336"/>
                  </a:lnTo>
                  <a:lnTo>
                    <a:pt x="45" y="336"/>
                  </a:lnTo>
                  <a:lnTo>
                    <a:pt x="44" y="336"/>
                  </a:lnTo>
                  <a:lnTo>
                    <a:pt x="43" y="336"/>
                  </a:lnTo>
                  <a:lnTo>
                    <a:pt x="42" y="335"/>
                  </a:lnTo>
                  <a:lnTo>
                    <a:pt x="41" y="335"/>
                  </a:lnTo>
                  <a:lnTo>
                    <a:pt x="40" y="335"/>
                  </a:lnTo>
                  <a:lnTo>
                    <a:pt x="40" y="334"/>
                  </a:lnTo>
                  <a:lnTo>
                    <a:pt x="39" y="334"/>
                  </a:lnTo>
                  <a:lnTo>
                    <a:pt x="38" y="333"/>
                  </a:lnTo>
                  <a:lnTo>
                    <a:pt x="35" y="330"/>
                  </a:lnTo>
                  <a:lnTo>
                    <a:pt x="34" y="329"/>
                  </a:lnTo>
                  <a:lnTo>
                    <a:pt x="34" y="328"/>
                  </a:lnTo>
                  <a:lnTo>
                    <a:pt x="33" y="326"/>
                  </a:lnTo>
                  <a:lnTo>
                    <a:pt x="32" y="324"/>
                  </a:lnTo>
                  <a:lnTo>
                    <a:pt x="30" y="321"/>
                  </a:lnTo>
                  <a:lnTo>
                    <a:pt x="29" y="318"/>
                  </a:lnTo>
                  <a:lnTo>
                    <a:pt x="28" y="315"/>
                  </a:lnTo>
                  <a:lnTo>
                    <a:pt x="26" y="311"/>
                  </a:lnTo>
                  <a:lnTo>
                    <a:pt x="25" y="308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2" y="306"/>
                  </a:lnTo>
                  <a:lnTo>
                    <a:pt x="20" y="306"/>
                  </a:lnTo>
                  <a:lnTo>
                    <a:pt x="20" y="306"/>
                  </a:lnTo>
                  <a:lnTo>
                    <a:pt x="19" y="305"/>
                  </a:lnTo>
                  <a:lnTo>
                    <a:pt x="18" y="305"/>
                  </a:lnTo>
                  <a:lnTo>
                    <a:pt x="17" y="304"/>
                  </a:lnTo>
                  <a:lnTo>
                    <a:pt x="16" y="303"/>
                  </a:lnTo>
                  <a:lnTo>
                    <a:pt x="16" y="302"/>
                  </a:lnTo>
                  <a:lnTo>
                    <a:pt x="14" y="300"/>
                  </a:lnTo>
                  <a:lnTo>
                    <a:pt x="13" y="299"/>
                  </a:lnTo>
                  <a:lnTo>
                    <a:pt x="13" y="299"/>
                  </a:lnTo>
                  <a:lnTo>
                    <a:pt x="12" y="298"/>
                  </a:lnTo>
                  <a:lnTo>
                    <a:pt x="12" y="297"/>
                  </a:lnTo>
                  <a:lnTo>
                    <a:pt x="11" y="297"/>
                  </a:lnTo>
                  <a:lnTo>
                    <a:pt x="10" y="296"/>
                  </a:lnTo>
                  <a:lnTo>
                    <a:pt x="9" y="296"/>
                  </a:lnTo>
                  <a:lnTo>
                    <a:pt x="9" y="296"/>
                  </a:lnTo>
                  <a:lnTo>
                    <a:pt x="8" y="296"/>
                  </a:lnTo>
                  <a:lnTo>
                    <a:pt x="7" y="295"/>
                  </a:lnTo>
                  <a:lnTo>
                    <a:pt x="5" y="295"/>
                  </a:lnTo>
                  <a:lnTo>
                    <a:pt x="4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2" y="295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1" y="290"/>
                  </a:lnTo>
                  <a:lnTo>
                    <a:pt x="0" y="289"/>
                  </a:lnTo>
                  <a:lnTo>
                    <a:pt x="0" y="288"/>
                  </a:lnTo>
                  <a:lnTo>
                    <a:pt x="0" y="287"/>
                  </a:lnTo>
                  <a:lnTo>
                    <a:pt x="0" y="286"/>
                  </a:lnTo>
                  <a:lnTo>
                    <a:pt x="0" y="285"/>
                  </a:lnTo>
                  <a:lnTo>
                    <a:pt x="0" y="284"/>
                  </a:lnTo>
                  <a:lnTo>
                    <a:pt x="0" y="282"/>
                  </a:lnTo>
                  <a:lnTo>
                    <a:pt x="0" y="281"/>
                  </a:lnTo>
                  <a:lnTo>
                    <a:pt x="0" y="279"/>
                  </a:lnTo>
                  <a:lnTo>
                    <a:pt x="0" y="278"/>
                  </a:lnTo>
                  <a:lnTo>
                    <a:pt x="1" y="276"/>
                  </a:lnTo>
                  <a:lnTo>
                    <a:pt x="1" y="274"/>
                  </a:lnTo>
                  <a:lnTo>
                    <a:pt x="2" y="272"/>
                  </a:lnTo>
                  <a:lnTo>
                    <a:pt x="2" y="271"/>
                  </a:lnTo>
                  <a:lnTo>
                    <a:pt x="2" y="270"/>
                  </a:lnTo>
                  <a:lnTo>
                    <a:pt x="3" y="269"/>
                  </a:lnTo>
                  <a:lnTo>
                    <a:pt x="4" y="266"/>
                  </a:lnTo>
                  <a:lnTo>
                    <a:pt x="5" y="264"/>
                  </a:lnTo>
                  <a:lnTo>
                    <a:pt x="6" y="263"/>
                  </a:lnTo>
                  <a:lnTo>
                    <a:pt x="7" y="262"/>
                  </a:lnTo>
                  <a:lnTo>
                    <a:pt x="8" y="261"/>
                  </a:lnTo>
                  <a:lnTo>
                    <a:pt x="8" y="261"/>
                  </a:lnTo>
                  <a:lnTo>
                    <a:pt x="9" y="260"/>
                  </a:lnTo>
                  <a:lnTo>
                    <a:pt x="9" y="260"/>
                  </a:lnTo>
                  <a:lnTo>
                    <a:pt x="10" y="259"/>
                  </a:lnTo>
                  <a:lnTo>
                    <a:pt x="11" y="259"/>
                  </a:lnTo>
                  <a:lnTo>
                    <a:pt x="13" y="258"/>
                  </a:lnTo>
                  <a:lnTo>
                    <a:pt x="14" y="258"/>
                  </a:lnTo>
                  <a:lnTo>
                    <a:pt x="14" y="257"/>
                  </a:lnTo>
                  <a:lnTo>
                    <a:pt x="15" y="256"/>
                  </a:lnTo>
                  <a:lnTo>
                    <a:pt x="16" y="256"/>
                  </a:lnTo>
                  <a:lnTo>
                    <a:pt x="17" y="255"/>
                  </a:lnTo>
                  <a:lnTo>
                    <a:pt x="17" y="255"/>
                  </a:lnTo>
                  <a:lnTo>
                    <a:pt x="17" y="254"/>
                  </a:lnTo>
                  <a:lnTo>
                    <a:pt x="18" y="253"/>
                  </a:lnTo>
                  <a:lnTo>
                    <a:pt x="18" y="253"/>
                  </a:lnTo>
                  <a:lnTo>
                    <a:pt x="18" y="252"/>
                  </a:lnTo>
                  <a:lnTo>
                    <a:pt x="18" y="251"/>
                  </a:lnTo>
                  <a:lnTo>
                    <a:pt x="18" y="250"/>
                  </a:lnTo>
                  <a:lnTo>
                    <a:pt x="18" y="249"/>
                  </a:lnTo>
                  <a:lnTo>
                    <a:pt x="18" y="248"/>
                  </a:lnTo>
                  <a:lnTo>
                    <a:pt x="18" y="246"/>
                  </a:lnTo>
                  <a:lnTo>
                    <a:pt x="17" y="242"/>
                  </a:lnTo>
                  <a:lnTo>
                    <a:pt x="17" y="241"/>
                  </a:lnTo>
                  <a:lnTo>
                    <a:pt x="17" y="239"/>
                  </a:lnTo>
                  <a:lnTo>
                    <a:pt x="15" y="237"/>
                  </a:lnTo>
                  <a:lnTo>
                    <a:pt x="15" y="235"/>
                  </a:lnTo>
                  <a:lnTo>
                    <a:pt x="15" y="234"/>
                  </a:lnTo>
                  <a:lnTo>
                    <a:pt x="15" y="233"/>
                  </a:lnTo>
                  <a:lnTo>
                    <a:pt x="15" y="233"/>
                  </a:lnTo>
                  <a:lnTo>
                    <a:pt x="15" y="232"/>
                  </a:lnTo>
                  <a:lnTo>
                    <a:pt x="16" y="229"/>
                  </a:lnTo>
                  <a:lnTo>
                    <a:pt x="16" y="228"/>
                  </a:lnTo>
                  <a:lnTo>
                    <a:pt x="16" y="226"/>
                  </a:lnTo>
                  <a:lnTo>
                    <a:pt x="16" y="223"/>
                  </a:lnTo>
                  <a:lnTo>
                    <a:pt x="17" y="221"/>
                  </a:lnTo>
                  <a:lnTo>
                    <a:pt x="17" y="219"/>
                  </a:lnTo>
                  <a:lnTo>
                    <a:pt x="18" y="215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9" y="214"/>
                  </a:lnTo>
                  <a:lnTo>
                    <a:pt x="19" y="214"/>
                  </a:lnTo>
                  <a:lnTo>
                    <a:pt x="20" y="214"/>
                  </a:lnTo>
                  <a:lnTo>
                    <a:pt x="21" y="214"/>
                  </a:lnTo>
                  <a:lnTo>
                    <a:pt x="24" y="214"/>
                  </a:lnTo>
                  <a:lnTo>
                    <a:pt x="25" y="215"/>
                  </a:lnTo>
                  <a:lnTo>
                    <a:pt x="26" y="215"/>
                  </a:lnTo>
                  <a:lnTo>
                    <a:pt x="27" y="215"/>
                  </a:lnTo>
                  <a:lnTo>
                    <a:pt x="28" y="215"/>
                  </a:lnTo>
                  <a:lnTo>
                    <a:pt x="29" y="214"/>
                  </a:lnTo>
                  <a:lnTo>
                    <a:pt x="29" y="214"/>
                  </a:lnTo>
                  <a:lnTo>
                    <a:pt x="30" y="214"/>
                  </a:lnTo>
                  <a:lnTo>
                    <a:pt x="31" y="214"/>
                  </a:lnTo>
                  <a:lnTo>
                    <a:pt x="32" y="213"/>
                  </a:lnTo>
                  <a:lnTo>
                    <a:pt x="33" y="212"/>
                  </a:lnTo>
                  <a:lnTo>
                    <a:pt x="35" y="211"/>
                  </a:lnTo>
                  <a:lnTo>
                    <a:pt x="38" y="209"/>
                  </a:lnTo>
                  <a:lnTo>
                    <a:pt x="38" y="208"/>
                  </a:lnTo>
                  <a:lnTo>
                    <a:pt x="40" y="208"/>
                  </a:lnTo>
                  <a:lnTo>
                    <a:pt x="41" y="207"/>
                  </a:lnTo>
                  <a:lnTo>
                    <a:pt x="44" y="206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6" y="205"/>
                  </a:lnTo>
                  <a:lnTo>
                    <a:pt x="46" y="204"/>
                  </a:lnTo>
                  <a:lnTo>
                    <a:pt x="47" y="201"/>
                  </a:lnTo>
                  <a:lnTo>
                    <a:pt x="48" y="198"/>
                  </a:lnTo>
                  <a:lnTo>
                    <a:pt x="48" y="197"/>
                  </a:lnTo>
                  <a:lnTo>
                    <a:pt x="49" y="196"/>
                  </a:lnTo>
                  <a:lnTo>
                    <a:pt x="49" y="195"/>
                  </a:lnTo>
                  <a:lnTo>
                    <a:pt x="50" y="194"/>
                  </a:lnTo>
                  <a:lnTo>
                    <a:pt x="51" y="193"/>
                  </a:lnTo>
                  <a:lnTo>
                    <a:pt x="52" y="192"/>
                  </a:lnTo>
                  <a:lnTo>
                    <a:pt x="53" y="191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3" y="189"/>
                  </a:lnTo>
                  <a:lnTo>
                    <a:pt x="53" y="188"/>
                  </a:lnTo>
                  <a:lnTo>
                    <a:pt x="53" y="187"/>
                  </a:lnTo>
                  <a:lnTo>
                    <a:pt x="53" y="186"/>
                  </a:lnTo>
                  <a:lnTo>
                    <a:pt x="52" y="185"/>
                  </a:lnTo>
                  <a:lnTo>
                    <a:pt x="52" y="185"/>
                  </a:lnTo>
                  <a:lnTo>
                    <a:pt x="52" y="184"/>
                  </a:lnTo>
                  <a:lnTo>
                    <a:pt x="50" y="182"/>
                  </a:lnTo>
                  <a:lnTo>
                    <a:pt x="50" y="181"/>
                  </a:lnTo>
                  <a:lnTo>
                    <a:pt x="49" y="179"/>
                  </a:lnTo>
                  <a:lnTo>
                    <a:pt x="48" y="178"/>
                  </a:lnTo>
                  <a:lnTo>
                    <a:pt x="48" y="177"/>
                  </a:lnTo>
                  <a:lnTo>
                    <a:pt x="48" y="176"/>
                  </a:lnTo>
                  <a:lnTo>
                    <a:pt x="48" y="176"/>
                  </a:lnTo>
                  <a:lnTo>
                    <a:pt x="48" y="175"/>
                  </a:lnTo>
                  <a:lnTo>
                    <a:pt x="48" y="174"/>
                  </a:lnTo>
                  <a:lnTo>
                    <a:pt x="49" y="174"/>
                  </a:lnTo>
                  <a:lnTo>
                    <a:pt x="49" y="173"/>
                  </a:lnTo>
                  <a:lnTo>
                    <a:pt x="49" y="172"/>
                  </a:lnTo>
                  <a:lnTo>
                    <a:pt x="50" y="172"/>
                  </a:lnTo>
                  <a:lnTo>
                    <a:pt x="51" y="171"/>
                  </a:lnTo>
                  <a:lnTo>
                    <a:pt x="52" y="169"/>
                  </a:lnTo>
                  <a:lnTo>
                    <a:pt x="53" y="169"/>
                  </a:lnTo>
                  <a:lnTo>
                    <a:pt x="53" y="168"/>
                  </a:lnTo>
                  <a:lnTo>
                    <a:pt x="55" y="168"/>
                  </a:lnTo>
                  <a:lnTo>
                    <a:pt x="55" y="167"/>
                  </a:lnTo>
                  <a:lnTo>
                    <a:pt x="56" y="167"/>
                  </a:lnTo>
                  <a:lnTo>
                    <a:pt x="56" y="167"/>
                  </a:lnTo>
                  <a:lnTo>
                    <a:pt x="56" y="166"/>
                  </a:lnTo>
                  <a:lnTo>
                    <a:pt x="57" y="166"/>
                  </a:lnTo>
                  <a:lnTo>
                    <a:pt x="57" y="165"/>
                  </a:lnTo>
                  <a:lnTo>
                    <a:pt x="57" y="164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2"/>
                  </a:lnTo>
                  <a:lnTo>
                    <a:pt x="55" y="161"/>
                  </a:lnTo>
                  <a:lnTo>
                    <a:pt x="54" y="161"/>
                  </a:lnTo>
                  <a:lnTo>
                    <a:pt x="54" y="160"/>
                  </a:lnTo>
                  <a:lnTo>
                    <a:pt x="53" y="159"/>
                  </a:lnTo>
                  <a:lnTo>
                    <a:pt x="53" y="159"/>
                  </a:lnTo>
                  <a:lnTo>
                    <a:pt x="53" y="158"/>
                  </a:lnTo>
                  <a:lnTo>
                    <a:pt x="52" y="158"/>
                  </a:lnTo>
                  <a:lnTo>
                    <a:pt x="52" y="157"/>
                  </a:lnTo>
                  <a:lnTo>
                    <a:pt x="52" y="156"/>
                  </a:lnTo>
                  <a:lnTo>
                    <a:pt x="52" y="156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2" y="154"/>
                  </a:lnTo>
                  <a:lnTo>
                    <a:pt x="52" y="154"/>
                  </a:lnTo>
                  <a:lnTo>
                    <a:pt x="53" y="154"/>
                  </a:lnTo>
                  <a:lnTo>
                    <a:pt x="53" y="153"/>
                  </a:lnTo>
                  <a:lnTo>
                    <a:pt x="53" y="153"/>
                  </a:lnTo>
                  <a:lnTo>
                    <a:pt x="54" y="153"/>
                  </a:lnTo>
                  <a:lnTo>
                    <a:pt x="56" y="152"/>
                  </a:lnTo>
                  <a:lnTo>
                    <a:pt x="56" y="151"/>
                  </a:lnTo>
                  <a:lnTo>
                    <a:pt x="57" y="151"/>
                  </a:lnTo>
                  <a:lnTo>
                    <a:pt x="57" y="151"/>
                  </a:lnTo>
                  <a:lnTo>
                    <a:pt x="57" y="150"/>
                  </a:lnTo>
                  <a:lnTo>
                    <a:pt x="58" y="150"/>
                  </a:lnTo>
                  <a:lnTo>
                    <a:pt x="58" y="149"/>
                  </a:lnTo>
                  <a:lnTo>
                    <a:pt x="58" y="149"/>
                  </a:lnTo>
                  <a:lnTo>
                    <a:pt x="59" y="148"/>
                  </a:lnTo>
                  <a:lnTo>
                    <a:pt x="59" y="147"/>
                  </a:lnTo>
                  <a:lnTo>
                    <a:pt x="59" y="147"/>
                  </a:lnTo>
                  <a:lnTo>
                    <a:pt x="59" y="146"/>
                  </a:lnTo>
                  <a:lnTo>
                    <a:pt x="58" y="145"/>
                  </a:lnTo>
                  <a:lnTo>
                    <a:pt x="58" y="144"/>
                  </a:lnTo>
                  <a:lnTo>
                    <a:pt x="58" y="143"/>
                  </a:lnTo>
                  <a:lnTo>
                    <a:pt x="58" y="142"/>
                  </a:lnTo>
                  <a:lnTo>
                    <a:pt x="59" y="141"/>
                  </a:lnTo>
                  <a:lnTo>
                    <a:pt x="59" y="140"/>
                  </a:lnTo>
                  <a:lnTo>
                    <a:pt x="59" y="139"/>
                  </a:lnTo>
                  <a:lnTo>
                    <a:pt x="59" y="139"/>
                  </a:lnTo>
                  <a:lnTo>
                    <a:pt x="60" y="138"/>
                  </a:lnTo>
                  <a:lnTo>
                    <a:pt x="62" y="136"/>
                  </a:lnTo>
                  <a:lnTo>
                    <a:pt x="62" y="135"/>
                  </a:lnTo>
                  <a:lnTo>
                    <a:pt x="64" y="135"/>
                  </a:lnTo>
                  <a:lnTo>
                    <a:pt x="66" y="133"/>
                  </a:lnTo>
                  <a:lnTo>
                    <a:pt x="69" y="131"/>
                  </a:lnTo>
                  <a:lnTo>
                    <a:pt x="69" y="130"/>
                  </a:lnTo>
                  <a:lnTo>
                    <a:pt x="70" y="130"/>
                  </a:lnTo>
                  <a:lnTo>
                    <a:pt x="70" y="129"/>
                  </a:lnTo>
                  <a:lnTo>
                    <a:pt x="71" y="128"/>
                  </a:lnTo>
                  <a:lnTo>
                    <a:pt x="71" y="126"/>
                  </a:lnTo>
                  <a:lnTo>
                    <a:pt x="72" y="124"/>
                  </a:lnTo>
                  <a:lnTo>
                    <a:pt x="73" y="122"/>
                  </a:lnTo>
                  <a:lnTo>
                    <a:pt x="74" y="121"/>
                  </a:lnTo>
                  <a:lnTo>
                    <a:pt x="75" y="119"/>
                  </a:lnTo>
                  <a:lnTo>
                    <a:pt x="76" y="118"/>
                  </a:lnTo>
                  <a:lnTo>
                    <a:pt x="76" y="117"/>
                  </a:lnTo>
                  <a:lnTo>
                    <a:pt x="76" y="116"/>
                  </a:lnTo>
                  <a:lnTo>
                    <a:pt x="77" y="114"/>
                  </a:lnTo>
                  <a:lnTo>
                    <a:pt x="77" y="113"/>
                  </a:lnTo>
                  <a:lnTo>
                    <a:pt x="77" y="112"/>
                  </a:lnTo>
                  <a:lnTo>
                    <a:pt x="77" y="111"/>
                  </a:lnTo>
                  <a:lnTo>
                    <a:pt x="77" y="110"/>
                  </a:lnTo>
                  <a:lnTo>
                    <a:pt x="76" y="110"/>
                  </a:lnTo>
                  <a:lnTo>
                    <a:pt x="76" y="109"/>
                  </a:lnTo>
                  <a:lnTo>
                    <a:pt x="74" y="107"/>
                  </a:lnTo>
                  <a:lnTo>
                    <a:pt x="74" y="106"/>
                  </a:lnTo>
                  <a:lnTo>
                    <a:pt x="73" y="105"/>
                  </a:lnTo>
                  <a:lnTo>
                    <a:pt x="71" y="102"/>
                  </a:lnTo>
                  <a:lnTo>
                    <a:pt x="71" y="101"/>
                  </a:lnTo>
                  <a:lnTo>
                    <a:pt x="71" y="99"/>
                  </a:lnTo>
                  <a:lnTo>
                    <a:pt x="70" y="98"/>
                  </a:lnTo>
                  <a:lnTo>
                    <a:pt x="70" y="96"/>
                  </a:lnTo>
                  <a:lnTo>
                    <a:pt x="70" y="95"/>
                  </a:lnTo>
                  <a:lnTo>
                    <a:pt x="70" y="93"/>
                  </a:lnTo>
                  <a:lnTo>
                    <a:pt x="71" y="90"/>
                  </a:lnTo>
                  <a:lnTo>
                    <a:pt x="71" y="89"/>
                  </a:lnTo>
                  <a:lnTo>
                    <a:pt x="71" y="88"/>
                  </a:lnTo>
                  <a:lnTo>
                    <a:pt x="72" y="87"/>
                  </a:lnTo>
                  <a:lnTo>
                    <a:pt x="72" y="86"/>
                  </a:lnTo>
                  <a:lnTo>
                    <a:pt x="73" y="84"/>
                  </a:lnTo>
                  <a:lnTo>
                    <a:pt x="75" y="81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5" y="79"/>
                  </a:lnTo>
                  <a:lnTo>
                    <a:pt x="75" y="78"/>
                  </a:lnTo>
                  <a:lnTo>
                    <a:pt x="75" y="77"/>
                  </a:lnTo>
                  <a:lnTo>
                    <a:pt x="74" y="75"/>
                  </a:lnTo>
                  <a:lnTo>
                    <a:pt x="73" y="73"/>
                  </a:lnTo>
                  <a:lnTo>
                    <a:pt x="72" y="72"/>
                  </a:lnTo>
                  <a:lnTo>
                    <a:pt x="72" y="71"/>
                  </a:lnTo>
                  <a:lnTo>
                    <a:pt x="71" y="68"/>
                  </a:lnTo>
                  <a:lnTo>
                    <a:pt x="71" y="67"/>
                  </a:lnTo>
                  <a:lnTo>
                    <a:pt x="71" y="63"/>
                  </a:lnTo>
                  <a:lnTo>
                    <a:pt x="71" y="62"/>
                  </a:lnTo>
                  <a:lnTo>
                    <a:pt x="71" y="61"/>
                  </a:lnTo>
                  <a:lnTo>
                    <a:pt x="71" y="59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69" y="57"/>
                  </a:lnTo>
                  <a:lnTo>
                    <a:pt x="68" y="56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4"/>
                  </a:lnTo>
                  <a:lnTo>
                    <a:pt x="68" y="54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68" y="52"/>
                  </a:lnTo>
                  <a:lnTo>
                    <a:pt x="69" y="47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70" y="45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4" y="44"/>
                  </a:lnTo>
                  <a:lnTo>
                    <a:pt x="76" y="44"/>
                  </a:lnTo>
                  <a:lnTo>
                    <a:pt x="77" y="44"/>
                  </a:lnTo>
                  <a:lnTo>
                    <a:pt x="80" y="43"/>
                  </a:lnTo>
                  <a:lnTo>
                    <a:pt x="83" y="42"/>
                  </a:lnTo>
                  <a:lnTo>
                    <a:pt x="85" y="41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90" y="40"/>
                  </a:lnTo>
                  <a:lnTo>
                    <a:pt x="90" y="41"/>
                  </a:lnTo>
                  <a:lnTo>
                    <a:pt x="92" y="43"/>
                  </a:lnTo>
                  <a:lnTo>
                    <a:pt x="93" y="43"/>
                  </a:lnTo>
                  <a:lnTo>
                    <a:pt x="93" y="43"/>
                  </a:lnTo>
                  <a:lnTo>
                    <a:pt x="94" y="43"/>
                  </a:lnTo>
                  <a:lnTo>
                    <a:pt x="95" y="44"/>
                  </a:lnTo>
                  <a:lnTo>
                    <a:pt x="95" y="44"/>
                  </a:lnTo>
                  <a:lnTo>
                    <a:pt x="96" y="44"/>
                  </a:lnTo>
                  <a:lnTo>
                    <a:pt x="96" y="43"/>
                  </a:lnTo>
                  <a:lnTo>
                    <a:pt x="97" y="43"/>
                  </a:lnTo>
                  <a:lnTo>
                    <a:pt x="98" y="43"/>
                  </a:lnTo>
                  <a:lnTo>
                    <a:pt x="100" y="41"/>
                  </a:lnTo>
                  <a:lnTo>
                    <a:pt x="101" y="41"/>
                  </a:lnTo>
                  <a:lnTo>
                    <a:pt x="102" y="41"/>
                  </a:lnTo>
                  <a:lnTo>
                    <a:pt x="103" y="41"/>
                  </a:lnTo>
                  <a:lnTo>
                    <a:pt x="104" y="41"/>
                  </a:lnTo>
                  <a:lnTo>
                    <a:pt x="104" y="41"/>
                  </a:lnTo>
                  <a:lnTo>
                    <a:pt x="105" y="41"/>
                  </a:lnTo>
                  <a:lnTo>
                    <a:pt x="105" y="42"/>
                  </a:lnTo>
                  <a:lnTo>
                    <a:pt x="108" y="43"/>
                  </a:lnTo>
                  <a:lnTo>
                    <a:pt x="108" y="44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1" y="45"/>
                  </a:lnTo>
                  <a:lnTo>
                    <a:pt x="111" y="46"/>
                  </a:lnTo>
                  <a:lnTo>
                    <a:pt x="112" y="46"/>
                  </a:lnTo>
                  <a:lnTo>
                    <a:pt x="112" y="47"/>
                  </a:lnTo>
                  <a:lnTo>
                    <a:pt x="113" y="47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6" y="48"/>
                  </a:lnTo>
                  <a:lnTo>
                    <a:pt x="117" y="49"/>
                  </a:lnTo>
                  <a:lnTo>
                    <a:pt x="118" y="49"/>
                  </a:lnTo>
                  <a:lnTo>
                    <a:pt x="119" y="49"/>
                  </a:lnTo>
                  <a:lnTo>
                    <a:pt x="120" y="49"/>
                  </a:lnTo>
                  <a:lnTo>
                    <a:pt x="121" y="49"/>
                  </a:lnTo>
                  <a:lnTo>
                    <a:pt x="122" y="48"/>
                  </a:lnTo>
                  <a:lnTo>
                    <a:pt x="123" y="48"/>
                  </a:lnTo>
                  <a:lnTo>
                    <a:pt x="123" y="47"/>
                  </a:lnTo>
                  <a:lnTo>
                    <a:pt x="125" y="46"/>
                  </a:lnTo>
                  <a:lnTo>
                    <a:pt x="126" y="46"/>
                  </a:lnTo>
                  <a:lnTo>
                    <a:pt x="127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32" y="44"/>
                  </a:lnTo>
                  <a:lnTo>
                    <a:pt x="133" y="44"/>
                  </a:lnTo>
                  <a:lnTo>
                    <a:pt x="134" y="44"/>
                  </a:lnTo>
                  <a:lnTo>
                    <a:pt x="134" y="44"/>
                  </a:lnTo>
                  <a:lnTo>
                    <a:pt x="135" y="43"/>
                  </a:lnTo>
                  <a:lnTo>
                    <a:pt x="136" y="43"/>
                  </a:lnTo>
                  <a:lnTo>
                    <a:pt x="138" y="41"/>
                  </a:lnTo>
                  <a:lnTo>
                    <a:pt x="139" y="41"/>
                  </a:lnTo>
                  <a:lnTo>
                    <a:pt x="139" y="41"/>
                  </a:lnTo>
                  <a:lnTo>
                    <a:pt x="141" y="40"/>
                  </a:lnTo>
                  <a:lnTo>
                    <a:pt x="141" y="40"/>
                  </a:lnTo>
                  <a:lnTo>
                    <a:pt x="142" y="40"/>
                  </a:lnTo>
                  <a:lnTo>
                    <a:pt x="142" y="39"/>
                  </a:lnTo>
                  <a:lnTo>
                    <a:pt x="143" y="39"/>
                  </a:lnTo>
                  <a:lnTo>
                    <a:pt x="143" y="38"/>
                  </a:lnTo>
                  <a:lnTo>
                    <a:pt x="144" y="37"/>
                  </a:lnTo>
                  <a:lnTo>
                    <a:pt x="144" y="36"/>
                  </a:lnTo>
                  <a:lnTo>
                    <a:pt x="145" y="35"/>
                  </a:lnTo>
                  <a:lnTo>
                    <a:pt x="146" y="33"/>
                  </a:lnTo>
                  <a:lnTo>
                    <a:pt x="147" y="31"/>
                  </a:lnTo>
                  <a:lnTo>
                    <a:pt x="147" y="30"/>
                  </a:lnTo>
                  <a:lnTo>
                    <a:pt x="147" y="30"/>
                  </a:lnTo>
                  <a:lnTo>
                    <a:pt x="148" y="29"/>
                  </a:lnTo>
                  <a:lnTo>
                    <a:pt x="148" y="29"/>
                  </a:lnTo>
                  <a:lnTo>
                    <a:pt x="149" y="28"/>
                  </a:lnTo>
                  <a:lnTo>
                    <a:pt x="150" y="28"/>
                  </a:lnTo>
                  <a:lnTo>
                    <a:pt x="153" y="26"/>
                  </a:lnTo>
                  <a:lnTo>
                    <a:pt x="156" y="25"/>
                  </a:lnTo>
                  <a:lnTo>
                    <a:pt x="157" y="24"/>
                  </a:lnTo>
                  <a:lnTo>
                    <a:pt x="158" y="24"/>
                  </a:lnTo>
                  <a:lnTo>
                    <a:pt x="160" y="23"/>
                  </a:lnTo>
                  <a:lnTo>
                    <a:pt x="162" y="23"/>
                  </a:lnTo>
                  <a:lnTo>
                    <a:pt x="162" y="23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Freeform 12">
              <a:extLst>
                <a:ext uri="{FF2B5EF4-FFF2-40B4-BE49-F238E27FC236}">
                  <a16:creationId xmlns:a16="http://schemas.microsoft.com/office/drawing/2014/main" id="{5EF9D8DE-1D1D-84C1-FE53-CEA74FCA13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0" y="3533"/>
              <a:ext cx="462" cy="417"/>
            </a:xfrm>
            <a:custGeom>
              <a:avLst/>
              <a:gdLst>
                <a:gd name="T0" fmla="*/ 4 w 462"/>
                <a:gd name="T1" fmla="*/ 37 h 417"/>
                <a:gd name="T2" fmla="*/ 26 w 462"/>
                <a:gd name="T3" fmla="*/ 36 h 417"/>
                <a:gd name="T4" fmla="*/ 49 w 462"/>
                <a:gd name="T5" fmla="*/ 26 h 417"/>
                <a:gd name="T6" fmla="*/ 68 w 462"/>
                <a:gd name="T7" fmla="*/ 26 h 417"/>
                <a:gd name="T8" fmla="*/ 80 w 462"/>
                <a:gd name="T9" fmla="*/ 37 h 417"/>
                <a:gd name="T10" fmla="*/ 96 w 462"/>
                <a:gd name="T11" fmla="*/ 35 h 417"/>
                <a:gd name="T12" fmla="*/ 103 w 462"/>
                <a:gd name="T13" fmla="*/ 28 h 417"/>
                <a:gd name="T14" fmla="*/ 121 w 462"/>
                <a:gd name="T15" fmla="*/ 36 h 417"/>
                <a:gd name="T16" fmla="*/ 137 w 462"/>
                <a:gd name="T17" fmla="*/ 36 h 417"/>
                <a:gd name="T18" fmla="*/ 157 w 462"/>
                <a:gd name="T19" fmla="*/ 36 h 417"/>
                <a:gd name="T20" fmla="*/ 167 w 462"/>
                <a:gd name="T21" fmla="*/ 45 h 417"/>
                <a:gd name="T22" fmla="*/ 180 w 462"/>
                <a:gd name="T23" fmla="*/ 43 h 417"/>
                <a:gd name="T24" fmla="*/ 201 w 462"/>
                <a:gd name="T25" fmla="*/ 29 h 417"/>
                <a:gd name="T26" fmla="*/ 201 w 462"/>
                <a:gd name="T27" fmla="*/ 10 h 417"/>
                <a:gd name="T28" fmla="*/ 213 w 462"/>
                <a:gd name="T29" fmla="*/ 1 h 417"/>
                <a:gd name="T30" fmla="*/ 235 w 462"/>
                <a:gd name="T31" fmla="*/ 15 h 417"/>
                <a:gd name="T32" fmla="*/ 245 w 462"/>
                <a:gd name="T33" fmla="*/ 18 h 417"/>
                <a:gd name="T34" fmla="*/ 259 w 462"/>
                <a:gd name="T35" fmla="*/ 31 h 417"/>
                <a:gd name="T36" fmla="*/ 260 w 462"/>
                <a:gd name="T37" fmla="*/ 42 h 417"/>
                <a:gd name="T38" fmla="*/ 258 w 462"/>
                <a:gd name="T39" fmla="*/ 53 h 417"/>
                <a:gd name="T40" fmla="*/ 257 w 462"/>
                <a:gd name="T41" fmla="*/ 77 h 417"/>
                <a:gd name="T42" fmla="*/ 250 w 462"/>
                <a:gd name="T43" fmla="*/ 103 h 417"/>
                <a:gd name="T44" fmla="*/ 259 w 462"/>
                <a:gd name="T45" fmla="*/ 119 h 417"/>
                <a:gd name="T46" fmla="*/ 255 w 462"/>
                <a:gd name="T47" fmla="*/ 132 h 417"/>
                <a:gd name="T48" fmla="*/ 277 w 462"/>
                <a:gd name="T49" fmla="*/ 155 h 417"/>
                <a:gd name="T50" fmla="*/ 296 w 462"/>
                <a:gd name="T51" fmla="*/ 154 h 417"/>
                <a:gd name="T52" fmla="*/ 311 w 462"/>
                <a:gd name="T53" fmla="*/ 164 h 417"/>
                <a:gd name="T54" fmla="*/ 311 w 462"/>
                <a:gd name="T55" fmla="*/ 171 h 417"/>
                <a:gd name="T56" fmla="*/ 327 w 462"/>
                <a:gd name="T57" fmla="*/ 181 h 417"/>
                <a:gd name="T58" fmla="*/ 348 w 462"/>
                <a:gd name="T59" fmla="*/ 180 h 417"/>
                <a:gd name="T60" fmla="*/ 371 w 462"/>
                <a:gd name="T61" fmla="*/ 185 h 417"/>
                <a:gd name="T62" fmla="*/ 386 w 462"/>
                <a:gd name="T63" fmla="*/ 192 h 417"/>
                <a:gd name="T64" fmla="*/ 391 w 462"/>
                <a:gd name="T65" fmla="*/ 214 h 417"/>
                <a:gd name="T66" fmla="*/ 415 w 462"/>
                <a:gd name="T67" fmla="*/ 225 h 417"/>
                <a:gd name="T68" fmla="*/ 440 w 462"/>
                <a:gd name="T69" fmla="*/ 225 h 417"/>
                <a:gd name="T70" fmla="*/ 452 w 462"/>
                <a:gd name="T71" fmla="*/ 226 h 417"/>
                <a:gd name="T72" fmla="*/ 459 w 462"/>
                <a:gd name="T73" fmla="*/ 237 h 417"/>
                <a:gd name="T74" fmla="*/ 456 w 462"/>
                <a:gd name="T75" fmla="*/ 250 h 417"/>
                <a:gd name="T76" fmla="*/ 446 w 462"/>
                <a:gd name="T77" fmla="*/ 264 h 417"/>
                <a:gd name="T78" fmla="*/ 432 w 462"/>
                <a:gd name="T79" fmla="*/ 284 h 417"/>
                <a:gd name="T80" fmla="*/ 441 w 462"/>
                <a:gd name="T81" fmla="*/ 289 h 417"/>
                <a:gd name="T82" fmla="*/ 458 w 462"/>
                <a:gd name="T83" fmla="*/ 303 h 417"/>
                <a:gd name="T84" fmla="*/ 455 w 462"/>
                <a:gd name="T85" fmla="*/ 313 h 417"/>
                <a:gd name="T86" fmla="*/ 449 w 462"/>
                <a:gd name="T87" fmla="*/ 320 h 417"/>
                <a:gd name="T88" fmla="*/ 431 w 462"/>
                <a:gd name="T89" fmla="*/ 312 h 417"/>
                <a:gd name="T90" fmla="*/ 407 w 462"/>
                <a:gd name="T91" fmla="*/ 302 h 417"/>
                <a:gd name="T92" fmla="*/ 375 w 462"/>
                <a:gd name="T93" fmla="*/ 292 h 417"/>
                <a:gd name="T94" fmla="*/ 364 w 462"/>
                <a:gd name="T95" fmla="*/ 298 h 417"/>
                <a:gd name="T96" fmla="*/ 341 w 462"/>
                <a:gd name="T97" fmla="*/ 308 h 417"/>
                <a:gd name="T98" fmla="*/ 331 w 462"/>
                <a:gd name="T99" fmla="*/ 306 h 417"/>
                <a:gd name="T100" fmla="*/ 323 w 462"/>
                <a:gd name="T101" fmla="*/ 286 h 417"/>
                <a:gd name="T102" fmla="*/ 300 w 462"/>
                <a:gd name="T103" fmla="*/ 280 h 417"/>
                <a:gd name="T104" fmla="*/ 282 w 462"/>
                <a:gd name="T105" fmla="*/ 279 h 417"/>
                <a:gd name="T106" fmla="*/ 275 w 462"/>
                <a:gd name="T107" fmla="*/ 298 h 417"/>
                <a:gd name="T108" fmla="*/ 276 w 462"/>
                <a:gd name="T109" fmla="*/ 340 h 417"/>
                <a:gd name="T110" fmla="*/ 270 w 462"/>
                <a:gd name="T111" fmla="*/ 370 h 417"/>
                <a:gd name="T112" fmla="*/ 273 w 462"/>
                <a:gd name="T113" fmla="*/ 390 h 417"/>
                <a:gd name="T114" fmla="*/ 247 w 462"/>
                <a:gd name="T115" fmla="*/ 389 h 417"/>
                <a:gd name="T116" fmla="*/ 225 w 462"/>
                <a:gd name="T117" fmla="*/ 388 h 417"/>
                <a:gd name="T118" fmla="*/ 215 w 462"/>
                <a:gd name="T119" fmla="*/ 414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62" h="417">
                  <a:moveTo>
                    <a:pt x="0" y="23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5"/>
                  </a:lnTo>
                  <a:lnTo>
                    <a:pt x="1" y="29"/>
                  </a:lnTo>
                  <a:lnTo>
                    <a:pt x="1" y="31"/>
                  </a:lnTo>
                  <a:lnTo>
                    <a:pt x="1" y="32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4" y="37"/>
                  </a:lnTo>
                  <a:lnTo>
                    <a:pt x="5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8" y="38"/>
                  </a:lnTo>
                  <a:lnTo>
                    <a:pt x="9" y="37"/>
                  </a:lnTo>
                  <a:lnTo>
                    <a:pt x="10" y="37"/>
                  </a:lnTo>
                  <a:lnTo>
                    <a:pt x="11" y="37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4" y="37"/>
                  </a:lnTo>
                  <a:lnTo>
                    <a:pt x="16" y="37"/>
                  </a:lnTo>
                  <a:lnTo>
                    <a:pt x="17" y="37"/>
                  </a:lnTo>
                  <a:lnTo>
                    <a:pt x="19" y="36"/>
                  </a:lnTo>
                  <a:lnTo>
                    <a:pt x="20" y="36"/>
                  </a:lnTo>
                  <a:lnTo>
                    <a:pt x="21" y="36"/>
                  </a:lnTo>
                  <a:lnTo>
                    <a:pt x="25" y="36"/>
                  </a:lnTo>
                  <a:lnTo>
                    <a:pt x="26" y="36"/>
                  </a:lnTo>
                  <a:lnTo>
                    <a:pt x="34" y="36"/>
                  </a:lnTo>
                  <a:lnTo>
                    <a:pt x="37" y="35"/>
                  </a:lnTo>
                  <a:lnTo>
                    <a:pt x="39" y="35"/>
                  </a:lnTo>
                  <a:lnTo>
                    <a:pt x="40" y="35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5" y="34"/>
                  </a:lnTo>
                  <a:lnTo>
                    <a:pt x="45" y="32"/>
                  </a:lnTo>
                  <a:lnTo>
                    <a:pt x="46" y="31"/>
                  </a:lnTo>
                  <a:lnTo>
                    <a:pt x="47" y="30"/>
                  </a:lnTo>
                  <a:lnTo>
                    <a:pt x="48" y="28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50" y="25"/>
                  </a:lnTo>
                  <a:lnTo>
                    <a:pt x="50" y="24"/>
                  </a:lnTo>
                  <a:lnTo>
                    <a:pt x="51" y="24"/>
                  </a:lnTo>
                  <a:lnTo>
                    <a:pt x="52" y="24"/>
                  </a:lnTo>
                  <a:lnTo>
                    <a:pt x="55" y="23"/>
                  </a:lnTo>
                  <a:lnTo>
                    <a:pt x="57" y="22"/>
                  </a:lnTo>
                  <a:lnTo>
                    <a:pt x="58" y="22"/>
                  </a:lnTo>
                  <a:lnTo>
                    <a:pt x="59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1" y="22"/>
                  </a:lnTo>
                  <a:lnTo>
                    <a:pt x="63" y="23"/>
                  </a:lnTo>
                  <a:lnTo>
                    <a:pt x="64" y="23"/>
                  </a:lnTo>
                  <a:lnTo>
                    <a:pt x="65" y="24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8" y="26"/>
                  </a:lnTo>
                  <a:lnTo>
                    <a:pt x="69" y="28"/>
                  </a:lnTo>
                  <a:lnTo>
                    <a:pt x="69" y="28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3" y="30"/>
                  </a:lnTo>
                  <a:lnTo>
                    <a:pt x="74" y="31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7" y="33"/>
                  </a:lnTo>
                  <a:lnTo>
                    <a:pt x="78" y="33"/>
                  </a:lnTo>
                  <a:lnTo>
                    <a:pt x="79" y="34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80" y="37"/>
                  </a:lnTo>
                  <a:lnTo>
                    <a:pt x="80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2" y="39"/>
                  </a:lnTo>
                  <a:lnTo>
                    <a:pt x="83" y="39"/>
                  </a:lnTo>
                  <a:lnTo>
                    <a:pt x="85" y="39"/>
                  </a:lnTo>
                  <a:lnTo>
                    <a:pt x="86" y="39"/>
                  </a:lnTo>
                  <a:lnTo>
                    <a:pt x="87" y="39"/>
                  </a:lnTo>
                  <a:lnTo>
                    <a:pt x="88" y="39"/>
                  </a:lnTo>
                  <a:lnTo>
                    <a:pt x="90" y="39"/>
                  </a:lnTo>
                  <a:lnTo>
                    <a:pt x="90" y="38"/>
                  </a:lnTo>
                  <a:lnTo>
                    <a:pt x="91" y="38"/>
                  </a:lnTo>
                  <a:lnTo>
                    <a:pt x="91" y="38"/>
                  </a:lnTo>
                  <a:lnTo>
                    <a:pt x="94" y="36"/>
                  </a:lnTo>
                  <a:lnTo>
                    <a:pt x="95" y="35"/>
                  </a:lnTo>
                  <a:lnTo>
                    <a:pt x="96" y="35"/>
                  </a:lnTo>
                  <a:lnTo>
                    <a:pt x="97" y="34"/>
                  </a:lnTo>
                  <a:lnTo>
                    <a:pt x="98" y="34"/>
                  </a:lnTo>
                  <a:lnTo>
                    <a:pt x="99" y="34"/>
                  </a:lnTo>
                  <a:lnTo>
                    <a:pt x="100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3"/>
                  </a:lnTo>
                  <a:lnTo>
                    <a:pt x="103" y="33"/>
                  </a:lnTo>
                  <a:lnTo>
                    <a:pt x="103" y="32"/>
                  </a:lnTo>
                  <a:lnTo>
                    <a:pt x="103" y="30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5" y="28"/>
                  </a:lnTo>
                  <a:lnTo>
                    <a:pt x="106" y="28"/>
                  </a:lnTo>
                  <a:lnTo>
                    <a:pt x="108" y="30"/>
                  </a:lnTo>
                  <a:lnTo>
                    <a:pt x="109" y="30"/>
                  </a:lnTo>
                  <a:lnTo>
                    <a:pt x="110" y="31"/>
                  </a:lnTo>
                  <a:lnTo>
                    <a:pt x="112" y="31"/>
                  </a:lnTo>
                  <a:lnTo>
                    <a:pt x="113" y="32"/>
                  </a:lnTo>
                  <a:lnTo>
                    <a:pt x="114" y="32"/>
                  </a:lnTo>
                  <a:lnTo>
                    <a:pt x="117" y="35"/>
                  </a:lnTo>
                  <a:lnTo>
                    <a:pt x="118" y="35"/>
                  </a:lnTo>
                  <a:lnTo>
                    <a:pt x="119" y="36"/>
                  </a:lnTo>
                  <a:lnTo>
                    <a:pt x="120" y="36"/>
                  </a:lnTo>
                  <a:lnTo>
                    <a:pt x="120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2" y="36"/>
                  </a:lnTo>
                  <a:lnTo>
                    <a:pt x="123" y="35"/>
                  </a:lnTo>
                  <a:lnTo>
                    <a:pt x="124" y="34"/>
                  </a:lnTo>
                  <a:lnTo>
                    <a:pt x="125" y="34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7" y="33"/>
                  </a:lnTo>
                  <a:lnTo>
                    <a:pt x="128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2" y="34"/>
                  </a:lnTo>
                  <a:lnTo>
                    <a:pt x="133" y="34"/>
                  </a:lnTo>
                  <a:lnTo>
                    <a:pt x="133" y="34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7" y="36"/>
                  </a:lnTo>
                  <a:lnTo>
                    <a:pt x="138" y="36"/>
                  </a:lnTo>
                  <a:lnTo>
                    <a:pt x="140" y="36"/>
                  </a:lnTo>
                  <a:lnTo>
                    <a:pt x="144" y="37"/>
                  </a:lnTo>
                  <a:lnTo>
                    <a:pt x="145" y="37"/>
                  </a:lnTo>
                  <a:lnTo>
                    <a:pt x="147" y="37"/>
                  </a:lnTo>
                  <a:lnTo>
                    <a:pt x="148" y="37"/>
                  </a:lnTo>
                  <a:lnTo>
                    <a:pt x="149" y="37"/>
                  </a:lnTo>
                  <a:lnTo>
                    <a:pt x="151" y="36"/>
                  </a:lnTo>
                  <a:lnTo>
                    <a:pt x="152" y="36"/>
                  </a:lnTo>
                  <a:lnTo>
                    <a:pt x="154" y="36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7" y="35"/>
                  </a:lnTo>
                  <a:lnTo>
                    <a:pt x="157" y="36"/>
                  </a:lnTo>
                  <a:lnTo>
                    <a:pt x="157" y="36"/>
                  </a:lnTo>
                  <a:lnTo>
                    <a:pt x="157" y="37"/>
                  </a:lnTo>
                  <a:lnTo>
                    <a:pt x="156" y="40"/>
                  </a:lnTo>
                  <a:lnTo>
                    <a:pt x="156" y="40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7" y="42"/>
                  </a:lnTo>
                  <a:lnTo>
                    <a:pt x="157" y="42"/>
                  </a:lnTo>
                  <a:lnTo>
                    <a:pt x="158" y="42"/>
                  </a:lnTo>
                  <a:lnTo>
                    <a:pt x="158" y="43"/>
                  </a:lnTo>
                  <a:lnTo>
                    <a:pt x="159" y="43"/>
                  </a:lnTo>
                  <a:lnTo>
                    <a:pt x="159" y="43"/>
                  </a:lnTo>
                  <a:lnTo>
                    <a:pt x="161" y="43"/>
                  </a:lnTo>
                  <a:lnTo>
                    <a:pt x="163" y="44"/>
                  </a:lnTo>
                  <a:lnTo>
                    <a:pt x="164" y="44"/>
                  </a:lnTo>
                  <a:lnTo>
                    <a:pt x="166" y="44"/>
                  </a:lnTo>
                  <a:lnTo>
                    <a:pt x="167" y="45"/>
                  </a:lnTo>
                  <a:lnTo>
                    <a:pt x="169" y="45"/>
                  </a:lnTo>
                  <a:lnTo>
                    <a:pt x="170" y="46"/>
                  </a:lnTo>
                  <a:lnTo>
                    <a:pt x="171" y="46"/>
                  </a:lnTo>
                  <a:lnTo>
                    <a:pt x="173" y="48"/>
                  </a:lnTo>
                  <a:lnTo>
                    <a:pt x="173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6" y="48"/>
                  </a:lnTo>
                  <a:lnTo>
                    <a:pt x="176" y="47"/>
                  </a:lnTo>
                  <a:lnTo>
                    <a:pt x="177" y="47"/>
                  </a:lnTo>
                  <a:lnTo>
                    <a:pt x="178" y="45"/>
                  </a:lnTo>
                  <a:lnTo>
                    <a:pt x="179" y="44"/>
                  </a:lnTo>
                  <a:lnTo>
                    <a:pt x="180" y="43"/>
                  </a:lnTo>
                  <a:lnTo>
                    <a:pt x="181" y="41"/>
                  </a:lnTo>
                  <a:lnTo>
                    <a:pt x="182" y="40"/>
                  </a:lnTo>
                  <a:lnTo>
                    <a:pt x="185" y="38"/>
                  </a:lnTo>
                  <a:lnTo>
                    <a:pt x="187" y="36"/>
                  </a:lnTo>
                  <a:lnTo>
                    <a:pt x="189" y="35"/>
                  </a:lnTo>
                  <a:lnTo>
                    <a:pt x="190" y="34"/>
                  </a:lnTo>
                  <a:lnTo>
                    <a:pt x="191" y="34"/>
                  </a:lnTo>
                  <a:lnTo>
                    <a:pt x="192" y="34"/>
                  </a:lnTo>
                  <a:lnTo>
                    <a:pt x="195" y="33"/>
                  </a:lnTo>
                  <a:lnTo>
                    <a:pt x="196" y="32"/>
                  </a:lnTo>
                  <a:lnTo>
                    <a:pt x="197" y="32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1" y="29"/>
                  </a:lnTo>
                  <a:lnTo>
                    <a:pt x="201" y="28"/>
                  </a:lnTo>
                  <a:lnTo>
                    <a:pt x="201" y="28"/>
                  </a:lnTo>
                  <a:lnTo>
                    <a:pt x="201" y="27"/>
                  </a:lnTo>
                  <a:lnTo>
                    <a:pt x="200" y="25"/>
                  </a:lnTo>
                  <a:lnTo>
                    <a:pt x="200" y="23"/>
                  </a:lnTo>
                  <a:lnTo>
                    <a:pt x="199" y="21"/>
                  </a:lnTo>
                  <a:lnTo>
                    <a:pt x="199" y="20"/>
                  </a:lnTo>
                  <a:lnTo>
                    <a:pt x="199" y="20"/>
                  </a:lnTo>
                  <a:lnTo>
                    <a:pt x="199" y="18"/>
                  </a:lnTo>
                  <a:lnTo>
                    <a:pt x="199" y="17"/>
                  </a:lnTo>
                  <a:lnTo>
                    <a:pt x="200" y="15"/>
                  </a:lnTo>
                  <a:lnTo>
                    <a:pt x="200" y="14"/>
                  </a:lnTo>
                  <a:lnTo>
                    <a:pt x="200" y="13"/>
                  </a:lnTo>
                  <a:lnTo>
                    <a:pt x="200" y="11"/>
                  </a:lnTo>
                  <a:lnTo>
                    <a:pt x="200" y="11"/>
                  </a:lnTo>
                  <a:lnTo>
                    <a:pt x="200" y="10"/>
                  </a:lnTo>
                  <a:lnTo>
                    <a:pt x="201" y="10"/>
                  </a:lnTo>
                  <a:lnTo>
                    <a:pt x="201" y="9"/>
                  </a:lnTo>
                  <a:lnTo>
                    <a:pt x="202" y="9"/>
                  </a:lnTo>
                  <a:lnTo>
                    <a:pt x="203" y="8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4" y="5"/>
                  </a:lnTo>
                  <a:lnTo>
                    <a:pt x="205" y="5"/>
                  </a:lnTo>
                  <a:lnTo>
                    <a:pt x="205" y="4"/>
                  </a:lnTo>
                  <a:lnTo>
                    <a:pt x="206" y="3"/>
                  </a:lnTo>
                  <a:lnTo>
                    <a:pt x="208" y="2"/>
                  </a:lnTo>
                  <a:lnTo>
                    <a:pt x="210" y="1"/>
                  </a:lnTo>
                  <a:lnTo>
                    <a:pt x="210" y="1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2" y="0"/>
                  </a:lnTo>
                  <a:lnTo>
                    <a:pt x="213" y="1"/>
                  </a:lnTo>
                  <a:lnTo>
                    <a:pt x="214" y="1"/>
                  </a:lnTo>
                  <a:lnTo>
                    <a:pt x="216" y="3"/>
                  </a:lnTo>
                  <a:lnTo>
                    <a:pt x="217" y="3"/>
                  </a:lnTo>
                  <a:lnTo>
                    <a:pt x="218" y="4"/>
                  </a:lnTo>
                  <a:lnTo>
                    <a:pt x="222" y="6"/>
                  </a:lnTo>
                  <a:lnTo>
                    <a:pt x="223" y="7"/>
                  </a:lnTo>
                  <a:lnTo>
                    <a:pt x="224" y="7"/>
                  </a:lnTo>
                  <a:lnTo>
                    <a:pt x="225" y="8"/>
                  </a:lnTo>
                  <a:lnTo>
                    <a:pt x="226" y="9"/>
                  </a:lnTo>
                  <a:lnTo>
                    <a:pt x="229" y="11"/>
                  </a:lnTo>
                  <a:lnTo>
                    <a:pt x="231" y="13"/>
                  </a:lnTo>
                  <a:lnTo>
                    <a:pt x="232" y="13"/>
                  </a:lnTo>
                  <a:lnTo>
                    <a:pt x="233" y="14"/>
                  </a:lnTo>
                  <a:lnTo>
                    <a:pt x="234" y="15"/>
                  </a:lnTo>
                  <a:lnTo>
                    <a:pt x="234" y="15"/>
                  </a:lnTo>
                  <a:lnTo>
                    <a:pt x="235" y="15"/>
                  </a:lnTo>
                  <a:lnTo>
                    <a:pt x="235" y="15"/>
                  </a:lnTo>
                  <a:lnTo>
                    <a:pt x="236" y="15"/>
                  </a:lnTo>
                  <a:lnTo>
                    <a:pt x="236" y="15"/>
                  </a:lnTo>
                  <a:lnTo>
                    <a:pt x="237" y="15"/>
                  </a:lnTo>
                  <a:lnTo>
                    <a:pt x="238" y="14"/>
                  </a:lnTo>
                  <a:lnTo>
                    <a:pt x="239" y="14"/>
                  </a:lnTo>
                  <a:lnTo>
                    <a:pt x="240" y="13"/>
                  </a:lnTo>
                  <a:lnTo>
                    <a:pt x="241" y="13"/>
                  </a:lnTo>
                  <a:lnTo>
                    <a:pt x="241" y="13"/>
                  </a:lnTo>
                  <a:lnTo>
                    <a:pt x="242" y="13"/>
                  </a:lnTo>
                  <a:lnTo>
                    <a:pt x="242" y="13"/>
                  </a:lnTo>
                  <a:lnTo>
                    <a:pt x="243" y="13"/>
                  </a:lnTo>
                  <a:lnTo>
                    <a:pt x="243" y="13"/>
                  </a:lnTo>
                  <a:lnTo>
                    <a:pt x="243" y="14"/>
                  </a:lnTo>
                  <a:lnTo>
                    <a:pt x="243" y="14"/>
                  </a:lnTo>
                  <a:lnTo>
                    <a:pt x="244" y="15"/>
                  </a:lnTo>
                  <a:lnTo>
                    <a:pt x="244" y="17"/>
                  </a:lnTo>
                  <a:lnTo>
                    <a:pt x="245" y="18"/>
                  </a:lnTo>
                  <a:lnTo>
                    <a:pt x="246" y="20"/>
                  </a:lnTo>
                  <a:lnTo>
                    <a:pt x="247" y="23"/>
                  </a:lnTo>
                  <a:lnTo>
                    <a:pt x="248" y="25"/>
                  </a:lnTo>
                  <a:lnTo>
                    <a:pt x="249" y="27"/>
                  </a:lnTo>
                  <a:lnTo>
                    <a:pt x="250" y="28"/>
                  </a:lnTo>
                  <a:lnTo>
                    <a:pt x="251" y="28"/>
                  </a:lnTo>
                  <a:lnTo>
                    <a:pt x="251" y="29"/>
                  </a:lnTo>
                  <a:lnTo>
                    <a:pt x="252" y="30"/>
                  </a:lnTo>
                  <a:lnTo>
                    <a:pt x="253" y="30"/>
                  </a:lnTo>
                  <a:lnTo>
                    <a:pt x="253" y="30"/>
                  </a:lnTo>
                  <a:lnTo>
                    <a:pt x="255" y="31"/>
                  </a:lnTo>
                  <a:lnTo>
                    <a:pt x="255" y="31"/>
                  </a:lnTo>
                  <a:lnTo>
                    <a:pt x="256" y="31"/>
                  </a:lnTo>
                  <a:lnTo>
                    <a:pt x="257" y="31"/>
                  </a:lnTo>
                  <a:lnTo>
                    <a:pt x="257" y="31"/>
                  </a:lnTo>
                  <a:lnTo>
                    <a:pt x="258" y="31"/>
                  </a:lnTo>
                  <a:lnTo>
                    <a:pt x="259" y="31"/>
                  </a:lnTo>
                  <a:lnTo>
                    <a:pt x="259" y="31"/>
                  </a:lnTo>
                  <a:lnTo>
                    <a:pt x="260" y="31"/>
                  </a:lnTo>
                  <a:lnTo>
                    <a:pt x="261" y="30"/>
                  </a:lnTo>
                  <a:lnTo>
                    <a:pt x="261" y="30"/>
                  </a:lnTo>
                  <a:lnTo>
                    <a:pt x="261" y="30"/>
                  </a:lnTo>
                  <a:lnTo>
                    <a:pt x="261" y="31"/>
                  </a:lnTo>
                  <a:lnTo>
                    <a:pt x="262" y="35"/>
                  </a:lnTo>
                  <a:lnTo>
                    <a:pt x="262" y="36"/>
                  </a:lnTo>
                  <a:lnTo>
                    <a:pt x="262" y="37"/>
                  </a:lnTo>
                  <a:lnTo>
                    <a:pt x="262" y="38"/>
                  </a:lnTo>
                  <a:lnTo>
                    <a:pt x="262" y="39"/>
                  </a:lnTo>
                  <a:lnTo>
                    <a:pt x="262" y="39"/>
                  </a:lnTo>
                  <a:lnTo>
                    <a:pt x="262" y="40"/>
                  </a:lnTo>
                  <a:lnTo>
                    <a:pt x="261" y="40"/>
                  </a:lnTo>
                  <a:lnTo>
                    <a:pt x="261" y="41"/>
                  </a:lnTo>
                  <a:lnTo>
                    <a:pt x="260" y="41"/>
                  </a:lnTo>
                  <a:lnTo>
                    <a:pt x="260" y="42"/>
                  </a:lnTo>
                  <a:lnTo>
                    <a:pt x="259" y="42"/>
                  </a:lnTo>
                  <a:lnTo>
                    <a:pt x="258" y="43"/>
                  </a:lnTo>
                  <a:lnTo>
                    <a:pt x="257" y="43"/>
                  </a:lnTo>
                  <a:lnTo>
                    <a:pt x="256" y="43"/>
                  </a:lnTo>
                  <a:lnTo>
                    <a:pt x="256" y="44"/>
                  </a:lnTo>
                  <a:lnTo>
                    <a:pt x="255" y="44"/>
                  </a:lnTo>
                  <a:lnTo>
                    <a:pt x="255" y="44"/>
                  </a:lnTo>
                  <a:lnTo>
                    <a:pt x="255" y="45"/>
                  </a:lnTo>
                  <a:lnTo>
                    <a:pt x="255" y="45"/>
                  </a:lnTo>
                  <a:lnTo>
                    <a:pt x="255" y="46"/>
                  </a:lnTo>
                  <a:lnTo>
                    <a:pt x="255" y="46"/>
                  </a:lnTo>
                  <a:lnTo>
                    <a:pt x="255" y="47"/>
                  </a:lnTo>
                  <a:lnTo>
                    <a:pt x="255" y="47"/>
                  </a:lnTo>
                  <a:lnTo>
                    <a:pt x="255" y="48"/>
                  </a:lnTo>
                  <a:lnTo>
                    <a:pt x="257" y="51"/>
                  </a:lnTo>
                  <a:lnTo>
                    <a:pt x="258" y="52"/>
                  </a:lnTo>
                  <a:lnTo>
                    <a:pt x="258" y="53"/>
                  </a:lnTo>
                  <a:lnTo>
                    <a:pt x="258" y="54"/>
                  </a:lnTo>
                  <a:lnTo>
                    <a:pt x="259" y="55"/>
                  </a:lnTo>
                  <a:lnTo>
                    <a:pt x="259" y="56"/>
                  </a:lnTo>
                  <a:lnTo>
                    <a:pt x="259" y="57"/>
                  </a:lnTo>
                  <a:lnTo>
                    <a:pt x="259" y="59"/>
                  </a:lnTo>
                  <a:lnTo>
                    <a:pt x="259" y="60"/>
                  </a:lnTo>
                  <a:lnTo>
                    <a:pt x="259" y="61"/>
                  </a:lnTo>
                  <a:lnTo>
                    <a:pt x="259" y="64"/>
                  </a:lnTo>
                  <a:lnTo>
                    <a:pt x="259" y="65"/>
                  </a:lnTo>
                  <a:lnTo>
                    <a:pt x="259" y="66"/>
                  </a:lnTo>
                  <a:lnTo>
                    <a:pt x="259" y="68"/>
                  </a:lnTo>
                  <a:lnTo>
                    <a:pt x="259" y="69"/>
                  </a:lnTo>
                  <a:lnTo>
                    <a:pt x="259" y="71"/>
                  </a:lnTo>
                  <a:lnTo>
                    <a:pt x="258" y="72"/>
                  </a:lnTo>
                  <a:lnTo>
                    <a:pt x="258" y="73"/>
                  </a:lnTo>
                  <a:lnTo>
                    <a:pt x="258" y="75"/>
                  </a:lnTo>
                  <a:lnTo>
                    <a:pt x="257" y="77"/>
                  </a:lnTo>
                  <a:lnTo>
                    <a:pt x="256" y="80"/>
                  </a:lnTo>
                  <a:lnTo>
                    <a:pt x="255" y="83"/>
                  </a:lnTo>
                  <a:lnTo>
                    <a:pt x="254" y="85"/>
                  </a:lnTo>
                  <a:lnTo>
                    <a:pt x="253" y="86"/>
                  </a:lnTo>
                  <a:lnTo>
                    <a:pt x="253" y="87"/>
                  </a:lnTo>
                  <a:lnTo>
                    <a:pt x="253" y="88"/>
                  </a:lnTo>
                  <a:lnTo>
                    <a:pt x="253" y="88"/>
                  </a:lnTo>
                  <a:lnTo>
                    <a:pt x="254" y="89"/>
                  </a:lnTo>
                  <a:lnTo>
                    <a:pt x="254" y="89"/>
                  </a:lnTo>
                  <a:lnTo>
                    <a:pt x="254" y="90"/>
                  </a:lnTo>
                  <a:lnTo>
                    <a:pt x="254" y="90"/>
                  </a:lnTo>
                  <a:lnTo>
                    <a:pt x="253" y="94"/>
                  </a:lnTo>
                  <a:lnTo>
                    <a:pt x="252" y="97"/>
                  </a:lnTo>
                  <a:lnTo>
                    <a:pt x="252" y="98"/>
                  </a:lnTo>
                  <a:lnTo>
                    <a:pt x="251" y="100"/>
                  </a:lnTo>
                  <a:lnTo>
                    <a:pt x="250" y="102"/>
                  </a:lnTo>
                  <a:lnTo>
                    <a:pt x="250" y="103"/>
                  </a:lnTo>
                  <a:lnTo>
                    <a:pt x="250" y="105"/>
                  </a:lnTo>
                  <a:lnTo>
                    <a:pt x="250" y="106"/>
                  </a:lnTo>
                  <a:lnTo>
                    <a:pt x="250" y="106"/>
                  </a:lnTo>
                  <a:lnTo>
                    <a:pt x="250" y="107"/>
                  </a:lnTo>
                  <a:lnTo>
                    <a:pt x="250" y="108"/>
                  </a:lnTo>
                  <a:lnTo>
                    <a:pt x="250" y="109"/>
                  </a:lnTo>
                  <a:lnTo>
                    <a:pt x="250" y="110"/>
                  </a:lnTo>
                  <a:lnTo>
                    <a:pt x="251" y="111"/>
                  </a:lnTo>
                  <a:lnTo>
                    <a:pt x="252" y="112"/>
                  </a:lnTo>
                  <a:lnTo>
                    <a:pt x="253" y="113"/>
                  </a:lnTo>
                  <a:lnTo>
                    <a:pt x="254" y="113"/>
                  </a:lnTo>
                  <a:lnTo>
                    <a:pt x="256" y="115"/>
                  </a:lnTo>
                  <a:lnTo>
                    <a:pt x="257" y="116"/>
                  </a:lnTo>
                  <a:lnTo>
                    <a:pt x="257" y="117"/>
                  </a:lnTo>
                  <a:lnTo>
                    <a:pt x="258" y="117"/>
                  </a:lnTo>
                  <a:lnTo>
                    <a:pt x="258" y="118"/>
                  </a:lnTo>
                  <a:lnTo>
                    <a:pt x="259" y="119"/>
                  </a:lnTo>
                  <a:lnTo>
                    <a:pt x="259" y="120"/>
                  </a:lnTo>
                  <a:lnTo>
                    <a:pt x="259" y="120"/>
                  </a:lnTo>
                  <a:lnTo>
                    <a:pt x="259" y="121"/>
                  </a:lnTo>
                  <a:lnTo>
                    <a:pt x="259" y="121"/>
                  </a:lnTo>
                  <a:lnTo>
                    <a:pt x="259" y="122"/>
                  </a:lnTo>
                  <a:lnTo>
                    <a:pt x="259" y="122"/>
                  </a:lnTo>
                  <a:lnTo>
                    <a:pt x="258" y="124"/>
                  </a:lnTo>
                  <a:lnTo>
                    <a:pt x="257" y="125"/>
                  </a:lnTo>
                  <a:lnTo>
                    <a:pt x="256" y="126"/>
                  </a:lnTo>
                  <a:lnTo>
                    <a:pt x="255" y="127"/>
                  </a:lnTo>
                  <a:lnTo>
                    <a:pt x="255" y="128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5" y="130"/>
                  </a:lnTo>
                  <a:lnTo>
                    <a:pt x="255" y="131"/>
                  </a:lnTo>
                  <a:lnTo>
                    <a:pt x="255" y="131"/>
                  </a:lnTo>
                  <a:lnTo>
                    <a:pt x="255" y="132"/>
                  </a:lnTo>
                  <a:lnTo>
                    <a:pt x="255" y="133"/>
                  </a:lnTo>
                  <a:lnTo>
                    <a:pt x="256" y="134"/>
                  </a:lnTo>
                  <a:lnTo>
                    <a:pt x="258" y="137"/>
                  </a:lnTo>
                  <a:lnTo>
                    <a:pt x="260" y="140"/>
                  </a:lnTo>
                  <a:lnTo>
                    <a:pt x="261" y="140"/>
                  </a:lnTo>
                  <a:lnTo>
                    <a:pt x="261" y="141"/>
                  </a:lnTo>
                  <a:lnTo>
                    <a:pt x="265" y="144"/>
                  </a:lnTo>
                  <a:lnTo>
                    <a:pt x="265" y="145"/>
                  </a:lnTo>
                  <a:lnTo>
                    <a:pt x="267" y="147"/>
                  </a:lnTo>
                  <a:lnTo>
                    <a:pt x="268" y="149"/>
                  </a:lnTo>
                  <a:lnTo>
                    <a:pt x="271" y="151"/>
                  </a:lnTo>
                  <a:lnTo>
                    <a:pt x="273" y="153"/>
                  </a:lnTo>
                  <a:lnTo>
                    <a:pt x="274" y="154"/>
                  </a:lnTo>
                  <a:lnTo>
                    <a:pt x="275" y="154"/>
                  </a:lnTo>
                  <a:lnTo>
                    <a:pt x="275" y="154"/>
                  </a:lnTo>
                  <a:lnTo>
                    <a:pt x="276" y="154"/>
                  </a:lnTo>
                  <a:lnTo>
                    <a:pt x="277" y="155"/>
                  </a:lnTo>
                  <a:lnTo>
                    <a:pt x="278" y="155"/>
                  </a:lnTo>
                  <a:lnTo>
                    <a:pt x="279" y="154"/>
                  </a:lnTo>
                  <a:lnTo>
                    <a:pt x="280" y="154"/>
                  </a:lnTo>
                  <a:lnTo>
                    <a:pt x="281" y="154"/>
                  </a:lnTo>
                  <a:lnTo>
                    <a:pt x="285" y="152"/>
                  </a:lnTo>
                  <a:lnTo>
                    <a:pt x="286" y="151"/>
                  </a:lnTo>
                  <a:lnTo>
                    <a:pt x="287" y="151"/>
                  </a:lnTo>
                  <a:lnTo>
                    <a:pt x="288" y="150"/>
                  </a:lnTo>
                  <a:lnTo>
                    <a:pt x="289" y="150"/>
                  </a:lnTo>
                  <a:lnTo>
                    <a:pt x="290" y="150"/>
                  </a:lnTo>
                  <a:lnTo>
                    <a:pt x="291" y="150"/>
                  </a:lnTo>
                  <a:lnTo>
                    <a:pt x="291" y="150"/>
                  </a:lnTo>
                  <a:lnTo>
                    <a:pt x="292" y="151"/>
                  </a:lnTo>
                  <a:lnTo>
                    <a:pt x="293" y="151"/>
                  </a:lnTo>
                  <a:lnTo>
                    <a:pt x="294" y="151"/>
                  </a:lnTo>
                  <a:lnTo>
                    <a:pt x="294" y="152"/>
                  </a:lnTo>
                  <a:lnTo>
                    <a:pt x="296" y="154"/>
                  </a:lnTo>
                  <a:lnTo>
                    <a:pt x="298" y="155"/>
                  </a:lnTo>
                  <a:lnTo>
                    <a:pt x="299" y="156"/>
                  </a:lnTo>
                  <a:lnTo>
                    <a:pt x="301" y="156"/>
                  </a:lnTo>
                  <a:lnTo>
                    <a:pt x="301" y="157"/>
                  </a:lnTo>
                  <a:lnTo>
                    <a:pt x="302" y="157"/>
                  </a:lnTo>
                  <a:lnTo>
                    <a:pt x="306" y="159"/>
                  </a:lnTo>
                  <a:lnTo>
                    <a:pt x="307" y="159"/>
                  </a:lnTo>
                  <a:lnTo>
                    <a:pt x="309" y="160"/>
                  </a:lnTo>
                  <a:lnTo>
                    <a:pt x="310" y="160"/>
                  </a:lnTo>
                  <a:lnTo>
                    <a:pt x="310" y="160"/>
                  </a:lnTo>
                  <a:lnTo>
                    <a:pt x="311" y="161"/>
                  </a:lnTo>
                  <a:lnTo>
                    <a:pt x="311" y="161"/>
                  </a:lnTo>
                  <a:lnTo>
                    <a:pt x="311" y="162"/>
                  </a:lnTo>
                  <a:lnTo>
                    <a:pt x="311" y="162"/>
                  </a:lnTo>
                  <a:lnTo>
                    <a:pt x="311" y="163"/>
                  </a:lnTo>
                  <a:lnTo>
                    <a:pt x="311" y="163"/>
                  </a:lnTo>
                  <a:lnTo>
                    <a:pt x="311" y="164"/>
                  </a:lnTo>
                  <a:lnTo>
                    <a:pt x="311" y="165"/>
                  </a:lnTo>
                  <a:lnTo>
                    <a:pt x="311" y="166"/>
                  </a:lnTo>
                  <a:lnTo>
                    <a:pt x="311" y="166"/>
                  </a:lnTo>
                  <a:lnTo>
                    <a:pt x="311" y="167"/>
                  </a:lnTo>
                  <a:lnTo>
                    <a:pt x="310" y="167"/>
                  </a:lnTo>
                  <a:lnTo>
                    <a:pt x="310" y="167"/>
                  </a:lnTo>
                  <a:lnTo>
                    <a:pt x="309" y="168"/>
                  </a:lnTo>
                  <a:lnTo>
                    <a:pt x="308" y="168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70"/>
                  </a:lnTo>
                  <a:lnTo>
                    <a:pt x="309" y="170"/>
                  </a:lnTo>
                  <a:lnTo>
                    <a:pt x="310" y="170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2" y="171"/>
                  </a:lnTo>
                  <a:lnTo>
                    <a:pt x="315" y="171"/>
                  </a:lnTo>
                  <a:lnTo>
                    <a:pt x="316" y="171"/>
                  </a:lnTo>
                  <a:lnTo>
                    <a:pt x="316" y="172"/>
                  </a:lnTo>
                  <a:lnTo>
                    <a:pt x="317" y="172"/>
                  </a:lnTo>
                  <a:lnTo>
                    <a:pt x="318" y="172"/>
                  </a:lnTo>
                  <a:lnTo>
                    <a:pt x="318" y="172"/>
                  </a:lnTo>
                  <a:lnTo>
                    <a:pt x="319" y="173"/>
                  </a:lnTo>
                  <a:lnTo>
                    <a:pt x="320" y="173"/>
                  </a:lnTo>
                  <a:lnTo>
                    <a:pt x="321" y="175"/>
                  </a:lnTo>
                  <a:lnTo>
                    <a:pt x="322" y="176"/>
                  </a:lnTo>
                  <a:lnTo>
                    <a:pt x="324" y="178"/>
                  </a:lnTo>
                  <a:lnTo>
                    <a:pt x="325" y="179"/>
                  </a:lnTo>
                  <a:lnTo>
                    <a:pt x="325" y="180"/>
                  </a:lnTo>
                  <a:lnTo>
                    <a:pt x="325" y="180"/>
                  </a:lnTo>
                  <a:lnTo>
                    <a:pt x="326" y="180"/>
                  </a:lnTo>
                  <a:lnTo>
                    <a:pt x="327" y="181"/>
                  </a:lnTo>
                  <a:lnTo>
                    <a:pt x="328" y="181"/>
                  </a:lnTo>
                  <a:lnTo>
                    <a:pt x="329" y="181"/>
                  </a:lnTo>
                  <a:lnTo>
                    <a:pt x="330" y="182"/>
                  </a:lnTo>
                  <a:lnTo>
                    <a:pt x="331" y="182"/>
                  </a:lnTo>
                  <a:lnTo>
                    <a:pt x="332" y="181"/>
                  </a:lnTo>
                  <a:lnTo>
                    <a:pt x="333" y="181"/>
                  </a:lnTo>
                  <a:lnTo>
                    <a:pt x="334" y="181"/>
                  </a:lnTo>
                  <a:lnTo>
                    <a:pt x="335" y="180"/>
                  </a:lnTo>
                  <a:lnTo>
                    <a:pt x="338" y="179"/>
                  </a:lnTo>
                  <a:lnTo>
                    <a:pt x="339" y="179"/>
                  </a:lnTo>
                  <a:lnTo>
                    <a:pt x="340" y="178"/>
                  </a:lnTo>
                  <a:lnTo>
                    <a:pt x="340" y="178"/>
                  </a:lnTo>
                  <a:lnTo>
                    <a:pt x="341" y="178"/>
                  </a:lnTo>
                  <a:lnTo>
                    <a:pt x="341" y="178"/>
                  </a:lnTo>
                  <a:lnTo>
                    <a:pt x="342" y="178"/>
                  </a:lnTo>
                  <a:lnTo>
                    <a:pt x="343" y="178"/>
                  </a:lnTo>
                  <a:lnTo>
                    <a:pt x="348" y="180"/>
                  </a:lnTo>
                  <a:lnTo>
                    <a:pt x="351" y="181"/>
                  </a:lnTo>
                  <a:lnTo>
                    <a:pt x="354" y="182"/>
                  </a:lnTo>
                  <a:lnTo>
                    <a:pt x="355" y="182"/>
                  </a:lnTo>
                  <a:lnTo>
                    <a:pt x="356" y="183"/>
                  </a:lnTo>
                  <a:lnTo>
                    <a:pt x="357" y="184"/>
                  </a:lnTo>
                  <a:lnTo>
                    <a:pt x="357" y="184"/>
                  </a:lnTo>
                  <a:lnTo>
                    <a:pt x="359" y="185"/>
                  </a:lnTo>
                  <a:lnTo>
                    <a:pt x="359" y="186"/>
                  </a:lnTo>
                  <a:lnTo>
                    <a:pt x="359" y="186"/>
                  </a:lnTo>
                  <a:lnTo>
                    <a:pt x="360" y="186"/>
                  </a:lnTo>
                  <a:lnTo>
                    <a:pt x="361" y="186"/>
                  </a:lnTo>
                  <a:lnTo>
                    <a:pt x="361" y="186"/>
                  </a:lnTo>
                  <a:lnTo>
                    <a:pt x="365" y="186"/>
                  </a:lnTo>
                  <a:lnTo>
                    <a:pt x="366" y="185"/>
                  </a:lnTo>
                  <a:lnTo>
                    <a:pt x="369" y="185"/>
                  </a:lnTo>
                  <a:lnTo>
                    <a:pt x="370" y="185"/>
                  </a:lnTo>
                  <a:lnTo>
                    <a:pt x="371" y="185"/>
                  </a:lnTo>
                  <a:lnTo>
                    <a:pt x="374" y="184"/>
                  </a:lnTo>
                  <a:lnTo>
                    <a:pt x="377" y="184"/>
                  </a:lnTo>
                  <a:lnTo>
                    <a:pt x="378" y="184"/>
                  </a:lnTo>
                  <a:lnTo>
                    <a:pt x="379" y="184"/>
                  </a:lnTo>
                  <a:lnTo>
                    <a:pt x="380" y="184"/>
                  </a:lnTo>
                  <a:lnTo>
                    <a:pt x="381" y="184"/>
                  </a:lnTo>
                  <a:lnTo>
                    <a:pt x="382" y="184"/>
                  </a:lnTo>
                  <a:lnTo>
                    <a:pt x="382" y="185"/>
                  </a:lnTo>
                  <a:lnTo>
                    <a:pt x="383" y="185"/>
                  </a:lnTo>
                  <a:lnTo>
                    <a:pt x="383" y="185"/>
                  </a:lnTo>
                  <a:lnTo>
                    <a:pt x="384" y="186"/>
                  </a:lnTo>
                  <a:lnTo>
                    <a:pt x="384" y="186"/>
                  </a:lnTo>
                  <a:lnTo>
                    <a:pt x="385" y="187"/>
                  </a:lnTo>
                  <a:lnTo>
                    <a:pt x="385" y="188"/>
                  </a:lnTo>
                  <a:lnTo>
                    <a:pt x="386" y="189"/>
                  </a:lnTo>
                  <a:lnTo>
                    <a:pt x="386" y="190"/>
                  </a:lnTo>
                  <a:lnTo>
                    <a:pt x="386" y="192"/>
                  </a:lnTo>
                  <a:lnTo>
                    <a:pt x="386" y="193"/>
                  </a:lnTo>
                  <a:lnTo>
                    <a:pt x="387" y="194"/>
                  </a:lnTo>
                  <a:lnTo>
                    <a:pt x="387" y="195"/>
                  </a:lnTo>
                  <a:lnTo>
                    <a:pt x="387" y="196"/>
                  </a:lnTo>
                  <a:lnTo>
                    <a:pt x="386" y="198"/>
                  </a:lnTo>
                  <a:lnTo>
                    <a:pt x="386" y="201"/>
                  </a:lnTo>
                  <a:lnTo>
                    <a:pt x="386" y="202"/>
                  </a:lnTo>
                  <a:lnTo>
                    <a:pt x="386" y="204"/>
                  </a:lnTo>
                  <a:lnTo>
                    <a:pt x="386" y="205"/>
                  </a:lnTo>
                  <a:lnTo>
                    <a:pt x="386" y="206"/>
                  </a:lnTo>
                  <a:lnTo>
                    <a:pt x="386" y="208"/>
                  </a:lnTo>
                  <a:lnTo>
                    <a:pt x="387" y="209"/>
                  </a:lnTo>
                  <a:lnTo>
                    <a:pt x="388" y="210"/>
                  </a:lnTo>
                  <a:lnTo>
                    <a:pt x="388" y="211"/>
                  </a:lnTo>
                  <a:lnTo>
                    <a:pt x="389" y="212"/>
                  </a:lnTo>
                  <a:lnTo>
                    <a:pt x="389" y="212"/>
                  </a:lnTo>
                  <a:lnTo>
                    <a:pt x="391" y="214"/>
                  </a:lnTo>
                  <a:lnTo>
                    <a:pt x="392" y="215"/>
                  </a:lnTo>
                  <a:lnTo>
                    <a:pt x="395" y="217"/>
                  </a:lnTo>
                  <a:lnTo>
                    <a:pt x="398" y="219"/>
                  </a:lnTo>
                  <a:lnTo>
                    <a:pt x="398" y="220"/>
                  </a:lnTo>
                  <a:lnTo>
                    <a:pt x="400" y="221"/>
                  </a:lnTo>
                  <a:lnTo>
                    <a:pt x="402" y="222"/>
                  </a:lnTo>
                  <a:lnTo>
                    <a:pt x="406" y="225"/>
                  </a:lnTo>
                  <a:lnTo>
                    <a:pt x="409" y="226"/>
                  </a:lnTo>
                  <a:lnTo>
                    <a:pt x="409" y="227"/>
                  </a:lnTo>
                  <a:lnTo>
                    <a:pt x="410" y="227"/>
                  </a:lnTo>
                  <a:lnTo>
                    <a:pt x="410" y="227"/>
                  </a:lnTo>
                  <a:lnTo>
                    <a:pt x="411" y="227"/>
                  </a:lnTo>
                  <a:lnTo>
                    <a:pt x="411" y="227"/>
                  </a:lnTo>
                  <a:lnTo>
                    <a:pt x="411" y="226"/>
                  </a:lnTo>
                  <a:lnTo>
                    <a:pt x="413" y="226"/>
                  </a:lnTo>
                  <a:lnTo>
                    <a:pt x="414" y="226"/>
                  </a:lnTo>
                  <a:lnTo>
                    <a:pt x="415" y="225"/>
                  </a:lnTo>
                  <a:lnTo>
                    <a:pt x="416" y="225"/>
                  </a:lnTo>
                  <a:lnTo>
                    <a:pt x="416" y="225"/>
                  </a:lnTo>
                  <a:lnTo>
                    <a:pt x="417" y="226"/>
                  </a:lnTo>
                  <a:lnTo>
                    <a:pt x="418" y="226"/>
                  </a:lnTo>
                  <a:lnTo>
                    <a:pt x="421" y="227"/>
                  </a:lnTo>
                  <a:lnTo>
                    <a:pt x="422" y="227"/>
                  </a:lnTo>
                  <a:lnTo>
                    <a:pt x="423" y="227"/>
                  </a:lnTo>
                  <a:lnTo>
                    <a:pt x="425" y="227"/>
                  </a:lnTo>
                  <a:lnTo>
                    <a:pt x="427" y="227"/>
                  </a:lnTo>
                  <a:lnTo>
                    <a:pt x="429" y="227"/>
                  </a:lnTo>
                  <a:lnTo>
                    <a:pt x="431" y="227"/>
                  </a:lnTo>
                  <a:lnTo>
                    <a:pt x="432" y="227"/>
                  </a:lnTo>
                  <a:lnTo>
                    <a:pt x="433" y="227"/>
                  </a:lnTo>
                  <a:lnTo>
                    <a:pt x="434" y="226"/>
                  </a:lnTo>
                  <a:lnTo>
                    <a:pt x="437" y="225"/>
                  </a:lnTo>
                  <a:lnTo>
                    <a:pt x="438" y="225"/>
                  </a:lnTo>
                  <a:lnTo>
                    <a:pt x="440" y="225"/>
                  </a:lnTo>
                  <a:lnTo>
                    <a:pt x="442" y="224"/>
                  </a:lnTo>
                  <a:lnTo>
                    <a:pt x="443" y="224"/>
                  </a:lnTo>
                  <a:lnTo>
                    <a:pt x="443" y="224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6" y="223"/>
                  </a:lnTo>
                  <a:lnTo>
                    <a:pt x="446" y="223"/>
                  </a:lnTo>
                  <a:lnTo>
                    <a:pt x="447" y="223"/>
                  </a:lnTo>
                  <a:lnTo>
                    <a:pt x="447" y="223"/>
                  </a:lnTo>
                  <a:lnTo>
                    <a:pt x="448" y="223"/>
                  </a:lnTo>
                  <a:lnTo>
                    <a:pt x="448" y="223"/>
                  </a:lnTo>
                  <a:lnTo>
                    <a:pt x="449" y="224"/>
                  </a:lnTo>
                  <a:lnTo>
                    <a:pt x="450" y="224"/>
                  </a:lnTo>
                  <a:lnTo>
                    <a:pt x="451" y="225"/>
                  </a:lnTo>
                  <a:lnTo>
                    <a:pt x="451" y="225"/>
                  </a:lnTo>
                  <a:lnTo>
                    <a:pt x="452" y="225"/>
                  </a:lnTo>
                  <a:lnTo>
                    <a:pt x="452" y="226"/>
                  </a:lnTo>
                  <a:lnTo>
                    <a:pt x="452" y="227"/>
                  </a:lnTo>
                  <a:lnTo>
                    <a:pt x="452" y="227"/>
                  </a:lnTo>
                  <a:lnTo>
                    <a:pt x="453" y="228"/>
                  </a:lnTo>
                  <a:lnTo>
                    <a:pt x="452" y="228"/>
                  </a:lnTo>
                  <a:lnTo>
                    <a:pt x="452" y="229"/>
                  </a:lnTo>
                  <a:lnTo>
                    <a:pt x="452" y="230"/>
                  </a:lnTo>
                  <a:lnTo>
                    <a:pt x="452" y="230"/>
                  </a:lnTo>
                  <a:lnTo>
                    <a:pt x="452" y="231"/>
                  </a:lnTo>
                  <a:lnTo>
                    <a:pt x="452" y="231"/>
                  </a:lnTo>
                  <a:lnTo>
                    <a:pt x="453" y="232"/>
                  </a:lnTo>
                  <a:lnTo>
                    <a:pt x="453" y="232"/>
                  </a:lnTo>
                  <a:lnTo>
                    <a:pt x="454" y="233"/>
                  </a:lnTo>
                  <a:lnTo>
                    <a:pt x="454" y="234"/>
                  </a:lnTo>
                  <a:lnTo>
                    <a:pt x="456" y="234"/>
                  </a:lnTo>
                  <a:lnTo>
                    <a:pt x="457" y="236"/>
                  </a:lnTo>
                  <a:lnTo>
                    <a:pt x="458" y="236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61" y="240"/>
                  </a:lnTo>
                  <a:lnTo>
                    <a:pt x="462" y="241"/>
                  </a:lnTo>
                  <a:lnTo>
                    <a:pt x="462" y="242"/>
                  </a:lnTo>
                  <a:lnTo>
                    <a:pt x="462" y="243"/>
                  </a:lnTo>
                  <a:lnTo>
                    <a:pt x="462" y="243"/>
                  </a:lnTo>
                  <a:lnTo>
                    <a:pt x="462" y="244"/>
                  </a:lnTo>
                  <a:lnTo>
                    <a:pt x="462" y="245"/>
                  </a:lnTo>
                  <a:lnTo>
                    <a:pt x="462" y="246"/>
                  </a:lnTo>
                  <a:lnTo>
                    <a:pt x="461" y="247"/>
                  </a:lnTo>
                  <a:lnTo>
                    <a:pt x="461" y="247"/>
                  </a:lnTo>
                  <a:lnTo>
                    <a:pt x="461" y="248"/>
                  </a:lnTo>
                  <a:lnTo>
                    <a:pt x="460" y="248"/>
                  </a:lnTo>
                  <a:lnTo>
                    <a:pt x="460" y="248"/>
                  </a:lnTo>
                  <a:lnTo>
                    <a:pt x="459" y="249"/>
                  </a:lnTo>
                  <a:lnTo>
                    <a:pt x="458" y="249"/>
                  </a:lnTo>
                  <a:lnTo>
                    <a:pt x="456" y="250"/>
                  </a:lnTo>
                  <a:lnTo>
                    <a:pt x="453" y="250"/>
                  </a:lnTo>
                  <a:lnTo>
                    <a:pt x="452" y="250"/>
                  </a:lnTo>
                  <a:lnTo>
                    <a:pt x="452" y="251"/>
                  </a:lnTo>
                  <a:lnTo>
                    <a:pt x="452" y="251"/>
                  </a:lnTo>
                  <a:lnTo>
                    <a:pt x="451" y="251"/>
                  </a:lnTo>
                  <a:lnTo>
                    <a:pt x="451" y="252"/>
                  </a:lnTo>
                  <a:lnTo>
                    <a:pt x="450" y="253"/>
                  </a:lnTo>
                  <a:lnTo>
                    <a:pt x="449" y="254"/>
                  </a:lnTo>
                  <a:lnTo>
                    <a:pt x="448" y="256"/>
                  </a:lnTo>
                  <a:lnTo>
                    <a:pt x="448" y="257"/>
                  </a:lnTo>
                  <a:lnTo>
                    <a:pt x="447" y="258"/>
                  </a:lnTo>
                  <a:lnTo>
                    <a:pt x="447" y="259"/>
                  </a:lnTo>
                  <a:lnTo>
                    <a:pt x="447" y="261"/>
                  </a:lnTo>
                  <a:lnTo>
                    <a:pt x="446" y="262"/>
                  </a:lnTo>
                  <a:lnTo>
                    <a:pt x="446" y="262"/>
                  </a:lnTo>
                  <a:lnTo>
                    <a:pt x="446" y="263"/>
                  </a:lnTo>
                  <a:lnTo>
                    <a:pt x="446" y="264"/>
                  </a:lnTo>
                  <a:lnTo>
                    <a:pt x="444" y="266"/>
                  </a:lnTo>
                  <a:lnTo>
                    <a:pt x="443" y="267"/>
                  </a:lnTo>
                  <a:lnTo>
                    <a:pt x="443" y="268"/>
                  </a:lnTo>
                  <a:lnTo>
                    <a:pt x="442" y="270"/>
                  </a:lnTo>
                  <a:lnTo>
                    <a:pt x="442" y="271"/>
                  </a:lnTo>
                  <a:lnTo>
                    <a:pt x="441" y="272"/>
                  </a:lnTo>
                  <a:lnTo>
                    <a:pt x="441" y="273"/>
                  </a:lnTo>
                  <a:lnTo>
                    <a:pt x="440" y="273"/>
                  </a:lnTo>
                  <a:lnTo>
                    <a:pt x="438" y="276"/>
                  </a:lnTo>
                  <a:lnTo>
                    <a:pt x="437" y="277"/>
                  </a:lnTo>
                  <a:lnTo>
                    <a:pt x="436" y="278"/>
                  </a:lnTo>
                  <a:lnTo>
                    <a:pt x="435" y="279"/>
                  </a:lnTo>
                  <a:lnTo>
                    <a:pt x="434" y="281"/>
                  </a:lnTo>
                  <a:lnTo>
                    <a:pt x="433" y="282"/>
                  </a:lnTo>
                  <a:lnTo>
                    <a:pt x="432" y="283"/>
                  </a:lnTo>
                  <a:lnTo>
                    <a:pt x="432" y="283"/>
                  </a:lnTo>
                  <a:lnTo>
                    <a:pt x="432" y="284"/>
                  </a:lnTo>
                  <a:lnTo>
                    <a:pt x="432" y="284"/>
                  </a:lnTo>
                  <a:lnTo>
                    <a:pt x="432" y="285"/>
                  </a:lnTo>
                  <a:lnTo>
                    <a:pt x="432" y="285"/>
                  </a:lnTo>
                  <a:lnTo>
                    <a:pt x="432" y="286"/>
                  </a:lnTo>
                  <a:lnTo>
                    <a:pt x="433" y="286"/>
                  </a:lnTo>
                  <a:lnTo>
                    <a:pt x="433" y="286"/>
                  </a:lnTo>
                  <a:lnTo>
                    <a:pt x="433" y="286"/>
                  </a:lnTo>
                  <a:lnTo>
                    <a:pt x="434" y="286"/>
                  </a:lnTo>
                  <a:lnTo>
                    <a:pt x="436" y="287"/>
                  </a:lnTo>
                  <a:lnTo>
                    <a:pt x="437" y="287"/>
                  </a:lnTo>
                  <a:lnTo>
                    <a:pt x="437" y="287"/>
                  </a:lnTo>
                  <a:lnTo>
                    <a:pt x="438" y="287"/>
                  </a:lnTo>
                  <a:lnTo>
                    <a:pt x="439" y="287"/>
                  </a:lnTo>
                  <a:lnTo>
                    <a:pt x="439" y="287"/>
                  </a:lnTo>
                  <a:lnTo>
                    <a:pt x="440" y="288"/>
                  </a:lnTo>
                  <a:lnTo>
                    <a:pt x="440" y="289"/>
                  </a:lnTo>
                  <a:lnTo>
                    <a:pt x="441" y="289"/>
                  </a:lnTo>
                  <a:lnTo>
                    <a:pt x="442" y="292"/>
                  </a:lnTo>
                  <a:lnTo>
                    <a:pt x="442" y="292"/>
                  </a:lnTo>
                  <a:lnTo>
                    <a:pt x="443" y="293"/>
                  </a:lnTo>
                  <a:lnTo>
                    <a:pt x="444" y="294"/>
                  </a:lnTo>
                  <a:lnTo>
                    <a:pt x="445" y="295"/>
                  </a:lnTo>
                  <a:lnTo>
                    <a:pt x="446" y="295"/>
                  </a:lnTo>
                  <a:lnTo>
                    <a:pt x="447" y="296"/>
                  </a:lnTo>
                  <a:lnTo>
                    <a:pt x="449" y="297"/>
                  </a:lnTo>
                  <a:lnTo>
                    <a:pt x="451" y="297"/>
                  </a:lnTo>
                  <a:lnTo>
                    <a:pt x="452" y="298"/>
                  </a:lnTo>
                  <a:lnTo>
                    <a:pt x="453" y="299"/>
                  </a:lnTo>
                  <a:lnTo>
                    <a:pt x="455" y="300"/>
                  </a:lnTo>
                  <a:lnTo>
                    <a:pt x="456" y="301"/>
                  </a:lnTo>
                  <a:lnTo>
                    <a:pt x="456" y="301"/>
                  </a:lnTo>
                  <a:lnTo>
                    <a:pt x="457" y="302"/>
                  </a:lnTo>
                  <a:lnTo>
                    <a:pt x="457" y="303"/>
                  </a:lnTo>
                  <a:lnTo>
                    <a:pt x="458" y="303"/>
                  </a:lnTo>
                  <a:lnTo>
                    <a:pt x="458" y="304"/>
                  </a:lnTo>
                  <a:lnTo>
                    <a:pt x="459" y="306"/>
                  </a:lnTo>
                  <a:lnTo>
                    <a:pt x="460" y="307"/>
                  </a:lnTo>
                  <a:lnTo>
                    <a:pt x="460" y="308"/>
                  </a:lnTo>
                  <a:lnTo>
                    <a:pt x="460" y="308"/>
                  </a:lnTo>
                  <a:lnTo>
                    <a:pt x="460" y="309"/>
                  </a:lnTo>
                  <a:lnTo>
                    <a:pt x="458" y="310"/>
                  </a:lnTo>
                  <a:lnTo>
                    <a:pt x="458" y="311"/>
                  </a:lnTo>
                  <a:lnTo>
                    <a:pt x="458" y="311"/>
                  </a:lnTo>
                  <a:lnTo>
                    <a:pt x="457" y="311"/>
                  </a:lnTo>
                  <a:lnTo>
                    <a:pt x="457" y="311"/>
                  </a:lnTo>
                  <a:lnTo>
                    <a:pt x="456" y="311"/>
                  </a:lnTo>
                  <a:lnTo>
                    <a:pt x="455" y="311"/>
                  </a:lnTo>
                  <a:lnTo>
                    <a:pt x="455" y="312"/>
                  </a:lnTo>
                  <a:lnTo>
                    <a:pt x="455" y="312"/>
                  </a:lnTo>
                  <a:lnTo>
                    <a:pt x="455" y="313"/>
                  </a:lnTo>
                  <a:lnTo>
                    <a:pt x="455" y="313"/>
                  </a:lnTo>
                  <a:lnTo>
                    <a:pt x="455" y="314"/>
                  </a:lnTo>
                  <a:lnTo>
                    <a:pt x="454" y="315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7"/>
                  </a:lnTo>
                  <a:lnTo>
                    <a:pt x="454" y="317"/>
                  </a:lnTo>
                  <a:lnTo>
                    <a:pt x="454" y="317"/>
                  </a:lnTo>
                  <a:lnTo>
                    <a:pt x="453" y="317"/>
                  </a:lnTo>
                  <a:lnTo>
                    <a:pt x="453" y="318"/>
                  </a:lnTo>
                  <a:lnTo>
                    <a:pt x="452" y="319"/>
                  </a:lnTo>
                  <a:lnTo>
                    <a:pt x="451" y="319"/>
                  </a:lnTo>
                  <a:lnTo>
                    <a:pt x="451" y="319"/>
                  </a:lnTo>
                  <a:lnTo>
                    <a:pt x="450" y="320"/>
                  </a:lnTo>
                  <a:lnTo>
                    <a:pt x="450" y="320"/>
                  </a:lnTo>
                  <a:lnTo>
                    <a:pt x="449" y="320"/>
                  </a:lnTo>
                  <a:lnTo>
                    <a:pt x="449" y="321"/>
                  </a:lnTo>
                  <a:lnTo>
                    <a:pt x="448" y="324"/>
                  </a:lnTo>
                  <a:lnTo>
                    <a:pt x="447" y="326"/>
                  </a:lnTo>
                  <a:lnTo>
                    <a:pt x="447" y="326"/>
                  </a:lnTo>
                  <a:lnTo>
                    <a:pt x="446" y="326"/>
                  </a:lnTo>
                  <a:lnTo>
                    <a:pt x="446" y="326"/>
                  </a:lnTo>
                  <a:lnTo>
                    <a:pt x="445" y="326"/>
                  </a:lnTo>
                  <a:lnTo>
                    <a:pt x="444" y="325"/>
                  </a:lnTo>
                  <a:lnTo>
                    <a:pt x="442" y="324"/>
                  </a:lnTo>
                  <a:lnTo>
                    <a:pt x="441" y="323"/>
                  </a:lnTo>
                  <a:lnTo>
                    <a:pt x="439" y="321"/>
                  </a:lnTo>
                  <a:lnTo>
                    <a:pt x="438" y="320"/>
                  </a:lnTo>
                  <a:lnTo>
                    <a:pt x="437" y="319"/>
                  </a:lnTo>
                  <a:lnTo>
                    <a:pt x="434" y="315"/>
                  </a:lnTo>
                  <a:lnTo>
                    <a:pt x="433" y="314"/>
                  </a:lnTo>
                  <a:lnTo>
                    <a:pt x="432" y="313"/>
                  </a:lnTo>
                  <a:lnTo>
                    <a:pt x="431" y="312"/>
                  </a:lnTo>
                  <a:lnTo>
                    <a:pt x="430" y="311"/>
                  </a:lnTo>
                  <a:lnTo>
                    <a:pt x="428" y="310"/>
                  </a:lnTo>
                  <a:lnTo>
                    <a:pt x="427" y="310"/>
                  </a:lnTo>
                  <a:lnTo>
                    <a:pt x="426" y="309"/>
                  </a:lnTo>
                  <a:lnTo>
                    <a:pt x="425" y="309"/>
                  </a:lnTo>
                  <a:lnTo>
                    <a:pt x="424" y="308"/>
                  </a:lnTo>
                  <a:lnTo>
                    <a:pt x="423" y="308"/>
                  </a:lnTo>
                  <a:lnTo>
                    <a:pt x="421" y="308"/>
                  </a:lnTo>
                  <a:lnTo>
                    <a:pt x="420" y="307"/>
                  </a:lnTo>
                  <a:lnTo>
                    <a:pt x="415" y="307"/>
                  </a:lnTo>
                  <a:lnTo>
                    <a:pt x="414" y="306"/>
                  </a:lnTo>
                  <a:lnTo>
                    <a:pt x="413" y="306"/>
                  </a:lnTo>
                  <a:lnTo>
                    <a:pt x="412" y="305"/>
                  </a:lnTo>
                  <a:lnTo>
                    <a:pt x="411" y="305"/>
                  </a:lnTo>
                  <a:lnTo>
                    <a:pt x="410" y="304"/>
                  </a:lnTo>
                  <a:lnTo>
                    <a:pt x="409" y="304"/>
                  </a:lnTo>
                  <a:lnTo>
                    <a:pt x="407" y="302"/>
                  </a:lnTo>
                  <a:lnTo>
                    <a:pt x="402" y="300"/>
                  </a:lnTo>
                  <a:lnTo>
                    <a:pt x="398" y="297"/>
                  </a:lnTo>
                  <a:lnTo>
                    <a:pt x="397" y="296"/>
                  </a:lnTo>
                  <a:lnTo>
                    <a:pt x="396" y="295"/>
                  </a:lnTo>
                  <a:lnTo>
                    <a:pt x="394" y="294"/>
                  </a:lnTo>
                  <a:lnTo>
                    <a:pt x="392" y="293"/>
                  </a:lnTo>
                  <a:lnTo>
                    <a:pt x="390" y="293"/>
                  </a:lnTo>
                  <a:lnTo>
                    <a:pt x="389" y="293"/>
                  </a:lnTo>
                  <a:lnTo>
                    <a:pt x="388" y="292"/>
                  </a:lnTo>
                  <a:lnTo>
                    <a:pt x="387" y="292"/>
                  </a:lnTo>
                  <a:lnTo>
                    <a:pt x="385" y="292"/>
                  </a:lnTo>
                  <a:lnTo>
                    <a:pt x="383" y="292"/>
                  </a:lnTo>
                  <a:lnTo>
                    <a:pt x="380" y="293"/>
                  </a:lnTo>
                  <a:lnTo>
                    <a:pt x="379" y="293"/>
                  </a:lnTo>
                  <a:lnTo>
                    <a:pt x="378" y="293"/>
                  </a:lnTo>
                  <a:lnTo>
                    <a:pt x="377" y="292"/>
                  </a:lnTo>
                  <a:lnTo>
                    <a:pt x="375" y="292"/>
                  </a:lnTo>
                  <a:lnTo>
                    <a:pt x="374" y="292"/>
                  </a:lnTo>
                  <a:lnTo>
                    <a:pt x="374" y="292"/>
                  </a:lnTo>
                  <a:lnTo>
                    <a:pt x="372" y="291"/>
                  </a:lnTo>
                  <a:lnTo>
                    <a:pt x="370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8" y="290"/>
                  </a:lnTo>
                  <a:lnTo>
                    <a:pt x="368" y="290"/>
                  </a:lnTo>
                  <a:lnTo>
                    <a:pt x="367" y="290"/>
                  </a:lnTo>
                  <a:lnTo>
                    <a:pt x="367" y="291"/>
                  </a:lnTo>
                  <a:lnTo>
                    <a:pt x="367" y="291"/>
                  </a:lnTo>
                  <a:lnTo>
                    <a:pt x="366" y="292"/>
                  </a:lnTo>
                  <a:lnTo>
                    <a:pt x="366" y="295"/>
                  </a:lnTo>
                  <a:lnTo>
                    <a:pt x="365" y="296"/>
                  </a:lnTo>
                  <a:lnTo>
                    <a:pt x="364" y="298"/>
                  </a:lnTo>
                  <a:lnTo>
                    <a:pt x="363" y="300"/>
                  </a:lnTo>
                  <a:lnTo>
                    <a:pt x="362" y="301"/>
                  </a:lnTo>
                  <a:lnTo>
                    <a:pt x="362" y="302"/>
                  </a:lnTo>
                  <a:lnTo>
                    <a:pt x="361" y="302"/>
                  </a:lnTo>
                  <a:lnTo>
                    <a:pt x="360" y="303"/>
                  </a:lnTo>
                  <a:lnTo>
                    <a:pt x="360" y="303"/>
                  </a:lnTo>
                  <a:lnTo>
                    <a:pt x="359" y="303"/>
                  </a:lnTo>
                  <a:lnTo>
                    <a:pt x="359" y="304"/>
                  </a:lnTo>
                  <a:lnTo>
                    <a:pt x="357" y="304"/>
                  </a:lnTo>
                  <a:lnTo>
                    <a:pt x="355" y="304"/>
                  </a:lnTo>
                  <a:lnTo>
                    <a:pt x="352" y="304"/>
                  </a:lnTo>
                  <a:lnTo>
                    <a:pt x="351" y="304"/>
                  </a:lnTo>
                  <a:lnTo>
                    <a:pt x="349" y="305"/>
                  </a:lnTo>
                  <a:lnTo>
                    <a:pt x="348" y="305"/>
                  </a:lnTo>
                  <a:lnTo>
                    <a:pt x="346" y="306"/>
                  </a:lnTo>
                  <a:lnTo>
                    <a:pt x="344" y="307"/>
                  </a:lnTo>
                  <a:lnTo>
                    <a:pt x="341" y="308"/>
                  </a:lnTo>
                  <a:lnTo>
                    <a:pt x="340" y="309"/>
                  </a:lnTo>
                  <a:lnTo>
                    <a:pt x="339" y="309"/>
                  </a:lnTo>
                  <a:lnTo>
                    <a:pt x="338" y="309"/>
                  </a:lnTo>
                  <a:lnTo>
                    <a:pt x="337" y="309"/>
                  </a:lnTo>
                  <a:lnTo>
                    <a:pt x="335" y="309"/>
                  </a:lnTo>
                  <a:lnTo>
                    <a:pt x="334" y="309"/>
                  </a:lnTo>
                  <a:lnTo>
                    <a:pt x="334" y="309"/>
                  </a:lnTo>
                  <a:lnTo>
                    <a:pt x="333" y="309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2" y="308"/>
                  </a:lnTo>
                  <a:lnTo>
                    <a:pt x="331" y="308"/>
                  </a:lnTo>
                  <a:lnTo>
                    <a:pt x="331" y="308"/>
                  </a:lnTo>
                  <a:lnTo>
                    <a:pt x="331" y="307"/>
                  </a:lnTo>
                  <a:lnTo>
                    <a:pt x="331" y="307"/>
                  </a:lnTo>
                  <a:lnTo>
                    <a:pt x="331" y="306"/>
                  </a:lnTo>
                  <a:lnTo>
                    <a:pt x="331" y="302"/>
                  </a:lnTo>
                  <a:lnTo>
                    <a:pt x="331" y="302"/>
                  </a:lnTo>
                  <a:lnTo>
                    <a:pt x="331" y="301"/>
                  </a:lnTo>
                  <a:lnTo>
                    <a:pt x="331" y="300"/>
                  </a:lnTo>
                  <a:lnTo>
                    <a:pt x="331" y="299"/>
                  </a:lnTo>
                  <a:lnTo>
                    <a:pt x="330" y="297"/>
                  </a:lnTo>
                  <a:lnTo>
                    <a:pt x="330" y="296"/>
                  </a:lnTo>
                  <a:lnTo>
                    <a:pt x="329" y="293"/>
                  </a:lnTo>
                  <a:lnTo>
                    <a:pt x="329" y="291"/>
                  </a:lnTo>
                  <a:lnTo>
                    <a:pt x="328" y="290"/>
                  </a:lnTo>
                  <a:lnTo>
                    <a:pt x="328" y="290"/>
                  </a:lnTo>
                  <a:lnTo>
                    <a:pt x="328" y="289"/>
                  </a:lnTo>
                  <a:lnTo>
                    <a:pt x="327" y="288"/>
                  </a:lnTo>
                  <a:lnTo>
                    <a:pt x="326" y="288"/>
                  </a:lnTo>
                  <a:lnTo>
                    <a:pt x="325" y="287"/>
                  </a:lnTo>
                  <a:lnTo>
                    <a:pt x="325" y="287"/>
                  </a:lnTo>
                  <a:lnTo>
                    <a:pt x="323" y="286"/>
                  </a:lnTo>
                  <a:lnTo>
                    <a:pt x="322" y="286"/>
                  </a:lnTo>
                  <a:lnTo>
                    <a:pt x="321" y="286"/>
                  </a:lnTo>
                  <a:lnTo>
                    <a:pt x="319" y="285"/>
                  </a:lnTo>
                  <a:lnTo>
                    <a:pt x="317" y="285"/>
                  </a:lnTo>
                  <a:lnTo>
                    <a:pt x="316" y="285"/>
                  </a:lnTo>
                  <a:lnTo>
                    <a:pt x="313" y="285"/>
                  </a:lnTo>
                  <a:lnTo>
                    <a:pt x="311" y="285"/>
                  </a:lnTo>
                  <a:lnTo>
                    <a:pt x="310" y="285"/>
                  </a:lnTo>
                  <a:lnTo>
                    <a:pt x="309" y="285"/>
                  </a:lnTo>
                  <a:lnTo>
                    <a:pt x="308" y="284"/>
                  </a:lnTo>
                  <a:lnTo>
                    <a:pt x="306" y="284"/>
                  </a:lnTo>
                  <a:lnTo>
                    <a:pt x="306" y="284"/>
                  </a:lnTo>
                  <a:lnTo>
                    <a:pt x="305" y="283"/>
                  </a:lnTo>
                  <a:lnTo>
                    <a:pt x="304" y="283"/>
                  </a:lnTo>
                  <a:lnTo>
                    <a:pt x="303" y="283"/>
                  </a:lnTo>
                  <a:lnTo>
                    <a:pt x="302" y="282"/>
                  </a:lnTo>
                  <a:lnTo>
                    <a:pt x="300" y="280"/>
                  </a:lnTo>
                  <a:lnTo>
                    <a:pt x="300" y="280"/>
                  </a:lnTo>
                  <a:lnTo>
                    <a:pt x="299" y="279"/>
                  </a:lnTo>
                  <a:lnTo>
                    <a:pt x="299" y="279"/>
                  </a:lnTo>
                  <a:lnTo>
                    <a:pt x="298" y="279"/>
                  </a:lnTo>
                  <a:lnTo>
                    <a:pt x="297" y="278"/>
                  </a:lnTo>
                  <a:lnTo>
                    <a:pt x="297" y="278"/>
                  </a:lnTo>
                  <a:lnTo>
                    <a:pt x="293" y="278"/>
                  </a:lnTo>
                  <a:lnTo>
                    <a:pt x="290" y="277"/>
                  </a:lnTo>
                  <a:lnTo>
                    <a:pt x="289" y="277"/>
                  </a:lnTo>
                  <a:lnTo>
                    <a:pt x="288" y="277"/>
                  </a:lnTo>
                  <a:lnTo>
                    <a:pt x="287" y="277"/>
                  </a:lnTo>
                  <a:lnTo>
                    <a:pt x="286" y="277"/>
                  </a:lnTo>
                  <a:lnTo>
                    <a:pt x="285" y="277"/>
                  </a:lnTo>
                  <a:lnTo>
                    <a:pt x="284" y="278"/>
                  </a:lnTo>
                  <a:lnTo>
                    <a:pt x="283" y="278"/>
                  </a:lnTo>
                  <a:lnTo>
                    <a:pt x="282" y="279"/>
                  </a:lnTo>
                  <a:lnTo>
                    <a:pt x="282" y="279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1"/>
                  </a:lnTo>
                  <a:lnTo>
                    <a:pt x="280" y="283"/>
                  </a:lnTo>
                  <a:lnTo>
                    <a:pt x="280" y="284"/>
                  </a:lnTo>
                  <a:lnTo>
                    <a:pt x="280" y="286"/>
                  </a:lnTo>
                  <a:lnTo>
                    <a:pt x="279" y="287"/>
                  </a:lnTo>
                  <a:lnTo>
                    <a:pt x="278" y="288"/>
                  </a:lnTo>
                  <a:lnTo>
                    <a:pt x="277" y="290"/>
                  </a:lnTo>
                  <a:lnTo>
                    <a:pt x="277" y="292"/>
                  </a:lnTo>
                  <a:lnTo>
                    <a:pt x="277" y="292"/>
                  </a:lnTo>
                  <a:lnTo>
                    <a:pt x="276" y="294"/>
                  </a:lnTo>
                  <a:lnTo>
                    <a:pt x="276" y="295"/>
                  </a:lnTo>
                  <a:lnTo>
                    <a:pt x="275" y="296"/>
                  </a:lnTo>
                  <a:lnTo>
                    <a:pt x="275" y="297"/>
                  </a:lnTo>
                  <a:lnTo>
                    <a:pt x="275" y="298"/>
                  </a:lnTo>
                  <a:lnTo>
                    <a:pt x="275" y="300"/>
                  </a:lnTo>
                  <a:lnTo>
                    <a:pt x="275" y="302"/>
                  </a:lnTo>
                  <a:lnTo>
                    <a:pt x="275" y="304"/>
                  </a:lnTo>
                  <a:lnTo>
                    <a:pt x="275" y="305"/>
                  </a:lnTo>
                  <a:lnTo>
                    <a:pt x="276" y="308"/>
                  </a:lnTo>
                  <a:lnTo>
                    <a:pt x="276" y="313"/>
                  </a:lnTo>
                  <a:lnTo>
                    <a:pt x="277" y="316"/>
                  </a:lnTo>
                  <a:lnTo>
                    <a:pt x="277" y="318"/>
                  </a:lnTo>
                  <a:lnTo>
                    <a:pt x="278" y="323"/>
                  </a:lnTo>
                  <a:lnTo>
                    <a:pt x="278" y="325"/>
                  </a:lnTo>
                  <a:lnTo>
                    <a:pt x="278" y="326"/>
                  </a:lnTo>
                  <a:lnTo>
                    <a:pt x="278" y="328"/>
                  </a:lnTo>
                  <a:lnTo>
                    <a:pt x="278" y="329"/>
                  </a:lnTo>
                  <a:lnTo>
                    <a:pt x="278" y="330"/>
                  </a:lnTo>
                  <a:lnTo>
                    <a:pt x="278" y="332"/>
                  </a:lnTo>
                  <a:lnTo>
                    <a:pt x="277" y="334"/>
                  </a:lnTo>
                  <a:lnTo>
                    <a:pt x="276" y="340"/>
                  </a:lnTo>
                  <a:lnTo>
                    <a:pt x="276" y="341"/>
                  </a:lnTo>
                  <a:lnTo>
                    <a:pt x="275" y="343"/>
                  </a:lnTo>
                  <a:lnTo>
                    <a:pt x="275" y="344"/>
                  </a:lnTo>
                  <a:lnTo>
                    <a:pt x="274" y="346"/>
                  </a:lnTo>
                  <a:lnTo>
                    <a:pt x="274" y="347"/>
                  </a:lnTo>
                  <a:lnTo>
                    <a:pt x="274" y="349"/>
                  </a:lnTo>
                  <a:lnTo>
                    <a:pt x="274" y="350"/>
                  </a:lnTo>
                  <a:lnTo>
                    <a:pt x="274" y="354"/>
                  </a:lnTo>
                  <a:lnTo>
                    <a:pt x="274" y="355"/>
                  </a:lnTo>
                  <a:lnTo>
                    <a:pt x="274" y="356"/>
                  </a:lnTo>
                  <a:lnTo>
                    <a:pt x="274" y="357"/>
                  </a:lnTo>
                  <a:lnTo>
                    <a:pt x="274" y="357"/>
                  </a:lnTo>
                  <a:lnTo>
                    <a:pt x="273" y="360"/>
                  </a:lnTo>
                  <a:lnTo>
                    <a:pt x="272" y="361"/>
                  </a:lnTo>
                  <a:lnTo>
                    <a:pt x="271" y="366"/>
                  </a:lnTo>
                  <a:lnTo>
                    <a:pt x="270" y="369"/>
                  </a:lnTo>
                  <a:lnTo>
                    <a:pt x="270" y="370"/>
                  </a:lnTo>
                  <a:lnTo>
                    <a:pt x="269" y="372"/>
                  </a:lnTo>
                  <a:lnTo>
                    <a:pt x="269" y="374"/>
                  </a:lnTo>
                  <a:lnTo>
                    <a:pt x="269" y="376"/>
                  </a:lnTo>
                  <a:lnTo>
                    <a:pt x="269" y="377"/>
                  </a:lnTo>
                  <a:lnTo>
                    <a:pt x="269" y="378"/>
                  </a:lnTo>
                  <a:lnTo>
                    <a:pt x="269" y="379"/>
                  </a:lnTo>
                  <a:lnTo>
                    <a:pt x="269" y="380"/>
                  </a:lnTo>
                  <a:lnTo>
                    <a:pt x="269" y="381"/>
                  </a:lnTo>
                  <a:lnTo>
                    <a:pt x="270" y="382"/>
                  </a:lnTo>
                  <a:lnTo>
                    <a:pt x="270" y="383"/>
                  </a:lnTo>
                  <a:lnTo>
                    <a:pt x="272" y="385"/>
                  </a:lnTo>
                  <a:lnTo>
                    <a:pt x="272" y="386"/>
                  </a:lnTo>
                  <a:lnTo>
                    <a:pt x="272" y="386"/>
                  </a:lnTo>
                  <a:lnTo>
                    <a:pt x="273" y="387"/>
                  </a:lnTo>
                  <a:lnTo>
                    <a:pt x="273" y="388"/>
                  </a:lnTo>
                  <a:lnTo>
                    <a:pt x="273" y="389"/>
                  </a:lnTo>
                  <a:lnTo>
                    <a:pt x="273" y="390"/>
                  </a:lnTo>
                  <a:lnTo>
                    <a:pt x="272" y="390"/>
                  </a:lnTo>
                  <a:lnTo>
                    <a:pt x="272" y="391"/>
                  </a:lnTo>
                  <a:lnTo>
                    <a:pt x="271" y="392"/>
                  </a:lnTo>
                  <a:lnTo>
                    <a:pt x="271" y="393"/>
                  </a:lnTo>
                  <a:lnTo>
                    <a:pt x="270" y="393"/>
                  </a:lnTo>
                  <a:lnTo>
                    <a:pt x="269" y="394"/>
                  </a:lnTo>
                  <a:lnTo>
                    <a:pt x="268" y="394"/>
                  </a:lnTo>
                  <a:lnTo>
                    <a:pt x="267" y="394"/>
                  </a:lnTo>
                  <a:lnTo>
                    <a:pt x="266" y="394"/>
                  </a:lnTo>
                  <a:lnTo>
                    <a:pt x="264" y="394"/>
                  </a:lnTo>
                  <a:lnTo>
                    <a:pt x="263" y="394"/>
                  </a:lnTo>
                  <a:lnTo>
                    <a:pt x="258" y="392"/>
                  </a:lnTo>
                  <a:lnTo>
                    <a:pt x="255" y="391"/>
                  </a:lnTo>
                  <a:lnTo>
                    <a:pt x="253" y="391"/>
                  </a:lnTo>
                  <a:lnTo>
                    <a:pt x="252" y="391"/>
                  </a:lnTo>
                  <a:lnTo>
                    <a:pt x="248" y="389"/>
                  </a:lnTo>
                  <a:lnTo>
                    <a:pt x="247" y="389"/>
                  </a:lnTo>
                  <a:lnTo>
                    <a:pt x="245" y="388"/>
                  </a:lnTo>
                  <a:lnTo>
                    <a:pt x="244" y="388"/>
                  </a:lnTo>
                  <a:lnTo>
                    <a:pt x="243" y="387"/>
                  </a:lnTo>
                  <a:lnTo>
                    <a:pt x="242" y="387"/>
                  </a:lnTo>
                  <a:lnTo>
                    <a:pt x="238" y="386"/>
                  </a:lnTo>
                  <a:lnTo>
                    <a:pt x="235" y="386"/>
                  </a:lnTo>
                  <a:lnTo>
                    <a:pt x="233" y="385"/>
                  </a:lnTo>
                  <a:lnTo>
                    <a:pt x="232" y="385"/>
                  </a:lnTo>
                  <a:lnTo>
                    <a:pt x="231" y="385"/>
                  </a:lnTo>
                  <a:lnTo>
                    <a:pt x="230" y="385"/>
                  </a:lnTo>
                  <a:lnTo>
                    <a:pt x="229" y="386"/>
                  </a:lnTo>
                  <a:lnTo>
                    <a:pt x="229" y="386"/>
                  </a:lnTo>
                  <a:lnTo>
                    <a:pt x="228" y="386"/>
                  </a:lnTo>
                  <a:lnTo>
                    <a:pt x="227" y="386"/>
                  </a:lnTo>
                  <a:lnTo>
                    <a:pt x="227" y="387"/>
                  </a:lnTo>
                  <a:lnTo>
                    <a:pt x="226" y="387"/>
                  </a:lnTo>
                  <a:lnTo>
                    <a:pt x="225" y="388"/>
                  </a:lnTo>
                  <a:lnTo>
                    <a:pt x="225" y="388"/>
                  </a:lnTo>
                  <a:lnTo>
                    <a:pt x="224" y="389"/>
                  </a:lnTo>
                  <a:lnTo>
                    <a:pt x="224" y="389"/>
                  </a:lnTo>
                  <a:lnTo>
                    <a:pt x="224" y="390"/>
                  </a:lnTo>
                  <a:lnTo>
                    <a:pt x="224" y="391"/>
                  </a:lnTo>
                  <a:lnTo>
                    <a:pt x="223" y="394"/>
                  </a:lnTo>
                  <a:lnTo>
                    <a:pt x="222" y="399"/>
                  </a:lnTo>
                  <a:lnTo>
                    <a:pt x="222" y="401"/>
                  </a:lnTo>
                  <a:lnTo>
                    <a:pt x="221" y="404"/>
                  </a:lnTo>
                  <a:lnTo>
                    <a:pt x="221" y="405"/>
                  </a:lnTo>
                  <a:lnTo>
                    <a:pt x="221" y="406"/>
                  </a:lnTo>
                  <a:lnTo>
                    <a:pt x="220" y="407"/>
                  </a:lnTo>
                  <a:lnTo>
                    <a:pt x="220" y="408"/>
                  </a:lnTo>
                  <a:lnTo>
                    <a:pt x="219" y="409"/>
                  </a:lnTo>
                  <a:lnTo>
                    <a:pt x="218" y="410"/>
                  </a:lnTo>
                  <a:lnTo>
                    <a:pt x="217" y="412"/>
                  </a:lnTo>
                  <a:lnTo>
                    <a:pt x="215" y="414"/>
                  </a:lnTo>
                  <a:lnTo>
                    <a:pt x="214" y="415"/>
                  </a:lnTo>
                  <a:lnTo>
                    <a:pt x="213" y="416"/>
                  </a:lnTo>
                  <a:lnTo>
                    <a:pt x="212" y="416"/>
                  </a:lnTo>
                  <a:lnTo>
                    <a:pt x="211" y="417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Freeform 13">
              <a:extLst>
                <a:ext uri="{FF2B5EF4-FFF2-40B4-BE49-F238E27FC236}">
                  <a16:creationId xmlns:a16="http://schemas.microsoft.com/office/drawing/2014/main" id="{025D1216-EB86-27AB-886B-F67A4EBB51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3556"/>
              <a:ext cx="373" cy="465"/>
            </a:xfrm>
            <a:custGeom>
              <a:avLst/>
              <a:gdLst>
                <a:gd name="T0" fmla="*/ 359 w 373"/>
                <a:gd name="T1" fmla="*/ 411 h 465"/>
                <a:gd name="T2" fmla="*/ 357 w 373"/>
                <a:gd name="T3" fmla="*/ 438 h 465"/>
                <a:gd name="T4" fmla="*/ 352 w 373"/>
                <a:gd name="T5" fmla="*/ 452 h 465"/>
                <a:gd name="T6" fmla="*/ 344 w 373"/>
                <a:gd name="T7" fmla="*/ 453 h 465"/>
                <a:gd name="T8" fmla="*/ 334 w 373"/>
                <a:gd name="T9" fmla="*/ 444 h 465"/>
                <a:gd name="T10" fmla="*/ 324 w 373"/>
                <a:gd name="T11" fmla="*/ 435 h 465"/>
                <a:gd name="T12" fmla="*/ 310 w 373"/>
                <a:gd name="T13" fmla="*/ 441 h 465"/>
                <a:gd name="T14" fmla="*/ 292 w 373"/>
                <a:gd name="T15" fmla="*/ 436 h 465"/>
                <a:gd name="T16" fmla="*/ 279 w 373"/>
                <a:gd name="T17" fmla="*/ 425 h 465"/>
                <a:gd name="T18" fmla="*/ 275 w 373"/>
                <a:gd name="T19" fmla="*/ 434 h 465"/>
                <a:gd name="T20" fmla="*/ 269 w 373"/>
                <a:gd name="T21" fmla="*/ 448 h 465"/>
                <a:gd name="T22" fmla="*/ 257 w 373"/>
                <a:gd name="T23" fmla="*/ 451 h 465"/>
                <a:gd name="T24" fmla="*/ 249 w 373"/>
                <a:gd name="T25" fmla="*/ 459 h 465"/>
                <a:gd name="T26" fmla="*/ 239 w 373"/>
                <a:gd name="T27" fmla="*/ 465 h 465"/>
                <a:gd name="T28" fmla="*/ 212 w 373"/>
                <a:gd name="T29" fmla="*/ 454 h 465"/>
                <a:gd name="T30" fmla="*/ 183 w 373"/>
                <a:gd name="T31" fmla="*/ 448 h 465"/>
                <a:gd name="T32" fmla="*/ 165 w 373"/>
                <a:gd name="T33" fmla="*/ 447 h 465"/>
                <a:gd name="T34" fmla="*/ 152 w 373"/>
                <a:gd name="T35" fmla="*/ 438 h 465"/>
                <a:gd name="T36" fmla="*/ 144 w 373"/>
                <a:gd name="T37" fmla="*/ 428 h 465"/>
                <a:gd name="T38" fmla="*/ 147 w 373"/>
                <a:gd name="T39" fmla="*/ 421 h 465"/>
                <a:gd name="T40" fmla="*/ 154 w 373"/>
                <a:gd name="T41" fmla="*/ 414 h 465"/>
                <a:gd name="T42" fmla="*/ 143 w 373"/>
                <a:gd name="T43" fmla="*/ 401 h 465"/>
                <a:gd name="T44" fmla="*/ 128 w 373"/>
                <a:gd name="T45" fmla="*/ 391 h 465"/>
                <a:gd name="T46" fmla="*/ 108 w 373"/>
                <a:gd name="T47" fmla="*/ 375 h 465"/>
                <a:gd name="T48" fmla="*/ 86 w 373"/>
                <a:gd name="T49" fmla="*/ 363 h 465"/>
                <a:gd name="T50" fmla="*/ 79 w 373"/>
                <a:gd name="T51" fmla="*/ 352 h 465"/>
                <a:gd name="T52" fmla="*/ 70 w 373"/>
                <a:gd name="T53" fmla="*/ 336 h 465"/>
                <a:gd name="T54" fmla="*/ 61 w 373"/>
                <a:gd name="T55" fmla="*/ 318 h 465"/>
                <a:gd name="T56" fmla="*/ 49 w 373"/>
                <a:gd name="T57" fmla="*/ 313 h 465"/>
                <a:gd name="T58" fmla="*/ 34 w 373"/>
                <a:gd name="T59" fmla="*/ 306 h 465"/>
                <a:gd name="T60" fmla="*/ 23 w 373"/>
                <a:gd name="T61" fmla="*/ 283 h 465"/>
                <a:gd name="T62" fmla="*/ 13 w 373"/>
                <a:gd name="T63" fmla="*/ 276 h 465"/>
                <a:gd name="T64" fmla="*/ 3 w 373"/>
                <a:gd name="T65" fmla="*/ 272 h 465"/>
                <a:gd name="T66" fmla="*/ 0 w 373"/>
                <a:gd name="T67" fmla="*/ 259 h 465"/>
                <a:gd name="T68" fmla="*/ 6 w 373"/>
                <a:gd name="T69" fmla="*/ 240 h 465"/>
                <a:gd name="T70" fmla="*/ 16 w 373"/>
                <a:gd name="T71" fmla="*/ 233 h 465"/>
                <a:gd name="T72" fmla="*/ 17 w 373"/>
                <a:gd name="T73" fmla="*/ 219 h 465"/>
                <a:gd name="T74" fmla="*/ 16 w 373"/>
                <a:gd name="T75" fmla="*/ 200 h 465"/>
                <a:gd name="T76" fmla="*/ 25 w 373"/>
                <a:gd name="T77" fmla="*/ 192 h 465"/>
                <a:gd name="T78" fmla="*/ 38 w 373"/>
                <a:gd name="T79" fmla="*/ 185 h 465"/>
                <a:gd name="T80" fmla="*/ 49 w 373"/>
                <a:gd name="T81" fmla="*/ 173 h 465"/>
                <a:gd name="T82" fmla="*/ 53 w 373"/>
                <a:gd name="T83" fmla="*/ 163 h 465"/>
                <a:gd name="T84" fmla="*/ 48 w 373"/>
                <a:gd name="T85" fmla="*/ 151 h 465"/>
                <a:gd name="T86" fmla="*/ 56 w 373"/>
                <a:gd name="T87" fmla="*/ 144 h 465"/>
                <a:gd name="T88" fmla="*/ 54 w 373"/>
                <a:gd name="T89" fmla="*/ 137 h 465"/>
                <a:gd name="T90" fmla="*/ 53 w 373"/>
                <a:gd name="T91" fmla="*/ 131 h 465"/>
                <a:gd name="T92" fmla="*/ 59 w 373"/>
                <a:gd name="T93" fmla="*/ 125 h 465"/>
                <a:gd name="T94" fmla="*/ 60 w 373"/>
                <a:gd name="T95" fmla="*/ 115 h 465"/>
                <a:gd name="T96" fmla="*/ 73 w 373"/>
                <a:gd name="T97" fmla="*/ 99 h 465"/>
                <a:gd name="T98" fmla="*/ 76 w 373"/>
                <a:gd name="T99" fmla="*/ 86 h 465"/>
                <a:gd name="T100" fmla="*/ 71 w 373"/>
                <a:gd name="T101" fmla="*/ 66 h 465"/>
                <a:gd name="T102" fmla="*/ 74 w 373"/>
                <a:gd name="T103" fmla="*/ 52 h 465"/>
                <a:gd name="T104" fmla="*/ 70 w 373"/>
                <a:gd name="T105" fmla="*/ 35 h 465"/>
                <a:gd name="T106" fmla="*/ 70 w 373"/>
                <a:gd name="T107" fmla="*/ 23 h 465"/>
                <a:gd name="T108" fmla="*/ 76 w 373"/>
                <a:gd name="T109" fmla="*/ 21 h 465"/>
                <a:gd name="T110" fmla="*/ 90 w 373"/>
                <a:gd name="T111" fmla="*/ 18 h 465"/>
                <a:gd name="T112" fmla="*/ 101 w 373"/>
                <a:gd name="T113" fmla="*/ 18 h 465"/>
                <a:gd name="T114" fmla="*/ 111 w 373"/>
                <a:gd name="T115" fmla="*/ 23 h 465"/>
                <a:gd name="T116" fmla="*/ 122 w 373"/>
                <a:gd name="T117" fmla="*/ 25 h 465"/>
                <a:gd name="T118" fmla="*/ 135 w 373"/>
                <a:gd name="T119" fmla="*/ 20 h 465"/>
                <a:gd name="T120" fmla="*/ 144 w 373"/>
                <a:gd name="T121" fmla="*/ 13 h 465"/>
                <a:gd name="T122" fmla="*/ 157 w 373"/>
                <a:gd name="T123" fmla="*/ 1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" h="465">
                  <a:moveTo>
                    <a:pt x="373" y="394"/>
                  </a:moveTo>
                  <a:lnTo>
                    <a:pt x="370" y="396"/>
                  </a:lnTo>
                  <a:lnTo>
                    <a:pt x="367" y="399"/>
                  </a:lnTo>
                  <a:lnTo>
                    <a:pt x="365" y="400"/>
                  </a:lnTo>
                  <a:lnTo>
                    <a:pt x="364" y="401"/>
                  </a:lnTo>
                  <a:lnTo>
                    <a:pt x="364" y="402"/>
                  </a:lnTo>
                  <a:lnTo>
                    <a:pt x="363" y="403"/>
                  </a:lnTo>
                  <a:lnTo>
                    <a:pt x="362" y="404"/>
                  </a:lnTo>
                  <a:lnTo>
                    <a:pt x="361" y="406"/>
                  </a:lnTo>
                  <a:lnTo>
                    <a:pt x="360" y="408"/>
                  </a:lnTo>
                  <a:lnTo>
                    <a:pt x="360" y="409"/>
                  </a:lnTo>
                  <a:lnTo>
                    <a:pt x="359" y="411"/>
                  </a:lnTo>
                  <a:lnTo>
                    <a:pt x="358" y="414"/>
                  </a:lnTo>
                  <a:lnTo>
                    <a:pt x="358" y="415"/>
                  </a:lnTo>
                  <a:lnTo>
                    <a:pt x="357" y="417"/>
                  </a:lnTo>
                  <a:lnTo>
                    <a:pt x="357" y="418"/>
                  </a:lnTo>
                  <a:lnTo>
                    <a:pt x="357" y="420"/>
                  </a:lnTo>
                  <a:lnTo>
                    <a:pt x="357" y="421"/>
                  </a:lnTo>
                  <a:lnTo>
                    <a:pt x="357" y="422"/>
                  </a:lnTo>
                  <a:lnTo>
                    <a:pt x="357" y="428"/>
                  </a:lnTo>
                  <a:lnTo>
                    <a:pt x="357" y="430"/>
                  </a:lnTo>
                  <a:lnTo>
                    <a:pt x="357" y="431"/>
                  </a:lnTo>
                  <a:lnTo>
                    <a:pt x="357" y="433"/>
                  </a:lnTo>
                  <a:lnTo>
                    <a:pt x="357" y="438"/>
                  </a:lnTo>
                  <a:lnTo>
                    <a:pt x="357" y="441"/>
                  </a:lnTo>
                  <a:lnTo>
                    <a:pt x="357" y="442"/>
                  </a:lnTo>
                  <a:lnTo>
                    <a:pt x="356" y="444"/>
                  </a:lnTo>
                  <a:lnTo>
                    <a:pt x="356" y="445"/>
                  </a:lnTo>
                  <a:lnTo>
                    <a:pt x="356" y="446"/>
                  </a:lnTo>
                  <a:lnTo>
                    <a:pt x="356" y="446"/>
                  </a:lnTo>
                  <a:lnTo>
                    <a:pt x="355" y="448"/>
                  </a:lnTo>
                  <a:lnTo>
                    <a:pt x="355" y="449"/>
                  </a:lnTo>
                  <a:lnTo>
                    <a:pt x="354" y="450"/>
                  </a:lnTo>
                  <a:lnTo>
                    <a:pt x="353" y="450"/>
                  </a:lnTo>
                  <a:lnTo>
                    <a:pt x="353" y="451"/>
                  </a:lnTo>
                  <a:lnTo>
                    <a:pt x="352" y="452"/>
                  </a:lnTo>
                  <a:lnTo>
                    <a:pt x="352" y="452"/>
                  </a:lnTo>
                  <a:lnTo>
                    <a:pt x="351" y="452"/>
                  </a:lnTo>
                  <a:lnTo>
                    <a:pt x="351" y="453"/>
                  </a:lnTo>
                  <a:lnTo>
                    <a:pt x="350" y="453"/>
                  </a:lnTo>
                  <a:lnTo>
                    <a:pt x="350" y="453"/>
                  </a:lnTo>
                  <a:lnTo>
                    <a:pt x="349" y="453"/>
                  </a:lnTo>
                  <a:lnTo>
                    <a:pt x="348" y="453"/>
                  </a:lnTo>
                  <a:lnTo>
                    <a:pt x="347" y="453"/>
                  </a:lnTo>
                  <a:lnTo>
                    <a:pt x="346" y="453"/>
                  </a:lnTo>
                  <a:lnTo>
                    <a:pt x="345" y="453"/>
                  </a:lnTo>
                  <a:lnTo>
                    <a:pt x="344" y="453"/>
                  </a:lnTo>
                  <a:lnTo>
                    <a:pt x="344" y="453"/>
                  </a:lnTo>
                  <a:lnTo>
                    <a:pt x="343" y="453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1" y="451"/>
                  </a:lnTo>
                  <a:lnTo>
                    <a:pt x="340" y="451"/>
                  </a:lnTo>
                  <a:lnTo>
                    <a:pt x="340" y="450"/>
                  </a:lnTo>
                  <a:lnTo>
                    <a:pt x="337" y="447"/>
                  </a:lnTo>
                  <a:lnTo>
                    <a:pt x="337" y="446"/>
                  </a:lnTo>
                  <a:lnTo>
                    <a:pt x="336" y="445"/>
                  </a:lnTo>
                  <a:lnTo>
                    <a:pt x="335" y="444"/>
                  </a:lnTo>
                  <a:lnTo>
                    <a:pt x="334" y="444"/>
                  </a:lnTo>
                  <a:lnTo>
                    <a:pt x="333" y="444"/>
                  </a:lnTo>
                  <a:lnTo>
                    <a:pt x="332" y="443"/>
                  </a:lnTo>
                  <a:lnTo>
                    <a:pt x="331" y="443"/>
                  </a:lnTo>
                  <a:lnTo>
                    <a:pt x="330" y="442"/>
                  </a:lnTo>
                  <a:lnTo>
                    <a:pt x="330" y="442"/>
                  </a:lnTo>
                  <a:lnTo>
                    <a:pt x="329" y="441"/>
                  </a:lnTo>
                  <a:lnTo>
                    <a:pt x="328" y="440"/>
                  </a:lnTo>
                  <a:lnTo>
                    <a:pt x="328" y="440"/>
                  </a:lnTo>
                  <a:lnTo>
                    <a:pt x="326" y="438"/>
                  </a:lnTo>
                  <a:lnTo>
                    <a:pt x="326" y="436"/>
                  </a:lnTo>
                  <a:lnTo>
                    <a:pt x="325" y="436"/>
                  </a:lnTo>
                  <a:lnTo>
                    <a:pt x="324" y="435"/>
                  </a:lnTo>
                  <a:lnTo>
                    <a:pt x="324" y="435"/>
                  </a:lnTo>
                  <a:lnTo>
                    <a:pt x="323" y="435"/>
                  </a:lnTo>
                  <a:lnTo>
                    <a:pt x="323" y="435"/>
                  </a:lnTo>
                  <a:lnTo>
                    <a:pt x="322" y="435"/>
                  </a:lnTo>
                  <a:lnTo>
                    <a:pt x="322" y="435"/>
                  </a:lnTo>
                  <a:lnTo>
                    <a:pt x="321" y="435"/>
                  </a:lnTo>
                  <a:lnTo>
                    <a:pt x="320" y="436"/>
                  </a:lnTo>
                  <a:lnTo>
                    <a:pt x="314" y="439"/>
                  </a:lnTo>
                  <a:lnTo>
                    <a:pt x="313" y="440"/>
                  </a:lnTo>
                  <a:lnTo>
                    <a:pt x="312" y="441"/>
                  </a:lnTo>
                  <a:lnTo>
                    <a:pt x="311" y="441"/>
                  </a:lnTo>
                  <a:lnTo>
                    <a:pt x="310" y="441"/>
                  </a:lnTo>
                  <a:lnTo>
                    <a:pt x="309" y="442"/>
                  </a:lnTo>
                  <a:lnTo>
                    <a:pt x="308" y="442"/>
                  </a:lnTo>
                  <a:lnTo>
                    <a:pt x="308" y="442"/>
                  </a:lnTo>
                  <a:lnTo>
                    <a:pt x="307" y="442"/>
                  </a:lnTo>
                  <a:lnTo>
                    <a:pt x="307" y="441"/>
                  </a:lnTo>
                  <a:lnTo>
                    <a:pt x="306" y="441"/>
                  </a:lnTo>
                  <a:lnTo>
                    <a:pt x="303" y="440"/>
                  </a:lnTo>
                  <a:lnTo>
                    <a:pt x="299" y="439"/>
                  </a:lnTo>
                  <a:lnTo>
                    <a:pt x="297" y="438"/>
                  </a:lnTo>
                  <a:lnTo>
                    <a:pt x="294" y="437"/>
                  </a:lnTo>
                  <a:lnTo>
                    <a:pt x="293" y="436"/>
                  </a:lnTo>
                  <a:lnTo>
                    <a:pt x="292" y="436"/>
                  </a:lnTo>
                  <a:lnTo>
                    <a:pt x="291" y="435"/>
                  </a:lnTo>
                  <a:lnTo>
                    <a:pt x="290" y="434"/>
                  </a:lnTo>
                  <a:lnTo>
                    <a:pt x="289" y="434"/>
                  </a:lnTo>
                  <a:lnTo>
                    <a:pt x="288" y="432"/>
                  </a:lnTo>
                  <a:lnTo>
                    <a:pt x="287" y="431"/>
                  </a:lnTo>
                  <a:lnTo>
                    <a:pt x="284" y="428"/>
                  </a:lnTo>
                  <a:lnTo>
                    <a:pt x="283" y="427"/>
                  </a:lnTo>
                  <a:lnTo>
                    <a:pt x="282" y="426"/>
                  </a:lnTo>
                  <a:lnTo>
                    <a:pt x="281" y="426"/>
                  </a:lnTo>
                  <a:lnTo>
                    <a:pt x="280" y="425"/>
                  </a:lnTo>
                  <a:lnTo>
                    <a:pt x="280" y="425"/>
                  </a:lnTo>
                  <a:lnTo>
                    <a:pt x="279" y="425"/>
                  </a:lnTo>
                  <a:lnTo>
                    <a:pt x="279" y="426"/>
                  </a:lnTo>
                  <a:lnTo>
                    <a:pt x="278" y="426"/>
                  </a:lnTo>
                  <a:lnTo>
                    <a:pt x="278" y="426"/>
                  </a:lnTo>
                  <a:lnTo>
                    <a:pt x="277" y="426"/>
                  </a:lnTo>
                  <a:lnTo>
                    <a:pt x="277" y="427"/>
                  </a:lnTo>
                  <a:lnTo>
                    <a:pt x="276" y="427"/>
                  </a:lnTo>
                  <a:lnTo>
                    <a:pt x="276" y="427"/>
                  </a:lnTo>
                  <a:lnTo>
                    <a:pt x="276" y="428"/>
                  </a:lnTo>
                  <a:lnTo>
                    <a:pt x="275" y="428"/>
                  </a:lnTo>
                  <a:lnTo>
                    <a:pt x="275" y="429"/>
                  </a:lnTo>
                  <a:lnTo>
                    <a:pt x="275" y="433"/>
                  </a:lnTo>
                  <a:lnTo>
                    <a:pt x="275" y="434"/>
                  </a:lnTo>
                  <a:lnTo>
                    <a:pt x="275" y="435"/>
                  </a:lnTo>
                  <a:lnTo>
                    <a:pt x="274" y="437"/>
                  </a:lnTo>
                  <a:lnTo>
                    <a:pt x="274" y="440"/>
                  </a:lnTo>
                  <a:lnTo>
                    <a:pt x="273" y="441"/>
                  </a:lnTo>
                  <a:lnTo>
                    <a:pt x="273" y="442"/>
                  </a:lnTo>
                  <a:lnTo>
                    <a:pt x="272" y="443"/>
                  </a:lnTo>
                  <a:lnTo>
                    <a:pt x="272" y="444"/>
                  </a:lnTo>
                  <a:lnTo>
                    <a:pt x="271" y="445"/>
                  </a:lnTo>
                  <a:lnTo>
                    <a:pt x="270" y="446"/>
                  </a:lnTo>
                  <a:lnTo>
                    <a:pt x="270" y="447"/>
                  </a:lnTo>
                  <a:lnTo>
                    <a:pt x="269" y="447"/>
                  </a:lnTo>
                  <a:lnTo>
                    <a:pt x="269" y="448"/>
                  </a:lnTo>
                  <a:lnTo>
                    <a:pt x="268" y="449"/>
                  </a:lnTo>
                  <a:lnTo>
                    <a:pt x="267" y="449"/>
                  </a:lnTo>
                  <a:lnTo>
                    <a:pt x="267" y="449"/>
                  </a:lnTo>
                  <a:lnTo>
                    <a:pt x="266" y="449"/>
                  </a:lnTo>
                  <a:lnTo>
                    <a:pt x="265" y="449"/>
                  </a:lnTo>
                  <a:lnTo>
                    <a:pt x="262" y="449"/>
                  </a:lnTo>
                  <a:lnTo>
                    <a:pt x="260" y="450"/>
                  </a:lnTo>
                  <a:lnTo>
                    <a:pt x="259" y="450"/>
                  </a:lnTo>
                  <a:lnTo>
                    <a:pt x="259" y="450"/>
                  </a:lnTo>
                  <a:lnTo>
                    <a:pt x="258" y="450"/>
                  </a:lnTo>
                  <a:lnTo>
                    <a:pt x="257" y="451"/>
                  </a:lnTo>
                  <a:lnTo>
                    <a:pt x="257" y="451"/>
                  </a:lnTo>
                  <a:lnTo>
                    <a:pt x="257" y="452"/>
                  </a:lnTo>
                  <a:lnTo>
                    <a:pt x="256" y="453"/>
                  </a:lnTo>
                  <a:lnTo>
                    <a:pt x="256" y="454"/>
                  </a:lnTo>
                  <a:lnTo>
                    <a:pt x="255" y="455"/>
                  </a:lnTo>
                  <a:lnTo>
                    <a:pt x="255" y="456"/>
                  </a:lnTo>
                  <a:lnTo>
                    <a:pt x="255" y="456"/>
                  </a:lnTo>
                  <a:lnTo>
                    <a:pt x="254" y="457"/>
                  </a:lnTo>
                  <a:lnTo>
                    <a:pt x="254" y="457"/>
                  </a:lnTo>
                  <a:lnTo>
                    <a:pt x="253" y="458"/>
                  </a:lnTo>
                  <a:lnTo>
                    <a:pt x="252" y="458"/>
                  </a:lnTo>
                  <a:lnTo>
                    <a:pt x="251" y="459"/>
                  </a:lnTo>
                  <a:lnTo>
                    <a:pt x="249" y="459"/>
                  </a:lnTo>
                  <a:lnTo>
                    <a:pt x="248" y="459"/>
                  </a:lnTo>
                  <a:lnTo>
                    <a:pt x="248" y="459"/>
                  </a:lnTo>
                  <a:lnTo>
                    <a:pt x="247" y="460"/>
                  </a:lnTo>
                  <a:lnTo>
                    <a:pt x="246" y="460"/>
                  </a:lnTo>
                  <a:lnTo>
                    <a:pt x="245" y="461"/>
                  </a:lnTo>
                  <a:lnTo>
                    <a:pt x="244" y="463"/>
                  </a:lnTo>
                  <a:lnTo>
                    <a:pt x="243" y="464"/>
                  </a:lnTo>
                  <a:lnTo>
                    <a:pt x="242" y="464"/>
                  </a:lnTo>
                  <a:lnTo>
                    <a:pt x="241" y="464"/>
                  </a:lnTo>
                  <a:lnTo>
                    <a:pt x="241" y="465"/>
                  </a:lnTo>
                  <a:lnTo>
                    <a:pt x="240" y="465"/>
                  </a:lnTo>
                  <a:lnTo>
                    <a:pt x="239" y="465"/>
                  </a:lnTo>
                  <a:lnTo>
                    <a:pt x="239" y="465"/>
                  </a:lnTo>
                  <a:lnTo>
                    <a:pt x="238" y="465"/>
                  </a:lnTo>
                  <a:lnTo>
                    <a:pt x="237" y="464"/>
                  </a:lnTo>
                  <a:lnTo>
                    <a:pt x="235" y="463"/>
                  </a:lnTo>
                  <a:lnTo>
                    <a:pt x="231" y="462"/>
                  </a:lnTo>
                  <a:lnTo>
                    <a:pt x="228" y="460"/>
                  </a:lnTo>
                  <a:lnTo>
                    <a:pt x="221" y="456"/>
                  </a:lnTo>
                  <a:lnTo>
                    <a:pt x="219" y="455"/>
                  </a:lnTo>
                  <a:lnTo>
                    <a:pt x="218" y="455"/>
                  </a:lnTo>
                  <a:lnTo>
                    <a:pt x="217" y="455"/>
                  </a:lnTo>
                  <a:lnTo>
                    <a:pt x="216" y="454"/>
                  </a:lnTo>
                  <a:lnTo>
                    <a:pt x="212" y="454"/>
                  </a:lnTo>
                  <a:lnTo>
                    <a:pt x="211" y="454"/>
                  </a:lnTo>
                  <a:lnTo>
                    <a:pt x="209" y="453"/>
                  </a:lnTo>
                  <a:lnTo>
                    <a:pt x="205" y="452"/>
                  </a:lnTo>
                  <a:lnTo>
                    <a:pt x="200" y="450"/>
                  </a:lnTo>
                  <a:lnTo>
                    <a:pt x="197" y="449"/>
                  </a:lnTo>
                  <a:lnTo>
                    <a:pt x="196" y="449"/>
                  </a:lnTo>
                  <a:lnTo>
                    <a:pt x="195" y="449"/>
                  </a:lnTo>
                  <a:lnTo>
                    <a:pt x="193" y="449"/>
                  </a:lnTo>
                  <a:lnTo>
                    <a:pt x="190" y="449"/>
                  </a:lnTo>
                  <a:lnTo>
                    <a:pt x="188" y="449"/>
                  </a:lnTo>
                  <a:lnTo>
                    <a:pt x="187" y="448"/>
                  </a:lnTo>
                  <a:lnTo>
                    <a:pt x="183" y="448"/>
                  </a:lnTo>
                  <a:lnTo>
                    <a:pt x="181" y="448"/>
                  </a:lnTo>
                  <a:lnTo>
                    <a:pt x="179" y="447"/>
                  </a:lnTo>
                  <a:lnTo>
                    <a:pt x="178" y="447"/>
                  </a:lnTo>
                  <a:lnTo>
                    <a:pt x="177" y="447"/>
                  </a:lnTo>
                  <a:lnTo>
                    <a:pt x="173" y="448"/>
                  </a:lnTo>
                  <a:lnTo>
                    <a:pt x="172" y="448"/>
                  </a:lnTo>
                  <a:lnTo>
                    <a:pt x="171" y="448"/>
                  </a:lnTo>
                  <a:lnTo>
                    <a:pt x="170" y="448"/>
                  </a:lnTo>
                  <a:lnTo>
                    <a:pt x="169" y="448"/>
                  </a:lnTo>
                  <a:lnTo>
                    <a:pt x="168" y="448"/>
                  </a:lnTo>
                  <a:lnTo>
                    <a:pt x="168" y="448"/>
                  </a:lnTo>
                  <a:lnTo>
                    <a:pt x="165" y="447"/>
                  </a:lnTo>
                  <a:lnTo>
                    <a:pt x="164" y="446"/>
                  </a:lnTo>
                  <a:lnTo>
                    <a:pt x="163" y="446"/>
                  </a:lnTo>
                  <a:lnTo>
                    <a:pt x="160" y="445"/>
                  </a:lnTo>
                  <a:lnTo>
                    <a:pt x="159" y="445"/>
                  </a:lnTo>
                  <a:lnTo>
                    <a:pt x="158" y="444"/>
                  </a:lnTo>
                  <a:lnTo>
                    <a:pt x="158" y="444"/>
                  </a:lnTo>
                  <a:lnTo>
                    <a:pt x="156" y="443"/>
                  </a:lnTo>
                  <a:lnTo>
                    <a:pt x="154" y="441"/>
                  </a:lnTo>
                  <a:lnTo>
                    <a:pt x="154" y="441"/>
                  </a:lnTo>
                  <a:lnTo>
                    <a:pt x="153" y="440"/>
                  </a:lnTo>
                  <a:lnTo>
                    <a:pt x="152" y="439"/>
                  </a:lnTo>
                  <a:lnTo>
                    <a:pt x="152" y="438"/>
                  </a:lnTo>
                  <a:lnTo>
                    <a:pt x="151" y="438"/>
                  </a:lnTo>
                  <a:lnTo>
                    <a:pt x="151" y="437"/>
                  </a:lnTo>
                  <a:lnTo>
                    <a:pt x="150" y="434"/>
                  </a:lnTo>
                  <a:lnTo>
                    <a:pt x="149" y="434"/>
                  </a:lnTo>
                  <a:lnTo>
                    <a:pt x="149" y="433"/>
                  </a:lnTo>
                  <a:lnTo>
                    <a:pt x="149" y="433"/>
                  </a:lnTo>
                  <a:lnTo>
                    <a:pt x="148" y="432"/>
                  </a:lnTo>
                  <a:lnTo>
                    <a:pt x="147" y="431"/>
                  </a:lnTo>
                  <a:lnTo>
                    <a:pt x="146" y="431"/>
                  </a:lnTo>
                  <a:lnTo>
                    <a:pt x="145" y="430"/>
                  </a:lnTo>
                  <a:lnTo>
                    <a:pt x="145" y="429"/>
                  </a:lnTo>
                  <a:lnTo>
                    <a:pt x="144" y="428"/>
                  </a:lnTo>
                  <a:lnTo>
                    <a:pt x="144" y="428"/>
                  </a:lnTo>
                  <a:lnTo>
                    <a:pt x="144" y="427"/>
                  </a:lnTo>
                  <a:lnTo>
                    <a:pt x="144" y="426"/>
                  </a:lnTo>
                  <a:lnTo>
                    <a:pt x="144" y="426"/>
                  </a:lnTo>
                  <a:lnTo>
                    <a:pt x="144" y="425"/>
                  </a:lnTo>
                  <a:lnTo>
                    <a:pt x="144" y="425"/>
                  </a:lnTo>
                  <a:lnTo>
                    <a:pt x="144" y="424"/>
                  </a:lnTo>
                  <a:lnTo>
                    <a:pt x="144" y="424"/>
                  </a:lnTo>
                  <a:lnTo>
                    <a:pt x="145" y="423"/>
                  </a:lnTo>
                  <a:lnTo>
                    <a:pt x="145" y="422"/>
                  </a:lnTo>
                  <a:lnTo>
                    <a:pt x="146" y="422"/>
                  </a:lnTo>
                  <a:lnTo>
                    <a:pt x="147" y="421"/>
                  </a:lnTo>
                  <a:lnTo>
                    <a:pt x="148" y="420"/>
                  </a:lnTo>
                  <a:lnTo>
                    <a:pt x="149" y="420"/>
                  </a:lnTo>
                  <a:lnTo>
                    <a:pt x="151" y="419"/>
                  </a:lnTo>
                  <a:lnTo>
                    <a:pt x="152" y="419"/>
                  </a:lnTo>
                  <a:lnTo>
                    <a:pt x="152" y="418"/>
                  </a:lnTo>
                  <a:lnTo>
                    <a:pt x="153" y="418"/>
                  </a:lnTo>
                  <a:lnTo>
                    <a:pt x="153" y="417"/>
                  </a:lnTo>
                  <a:lnTo>
                    <a:pt x="153" y="417"/>
                  </a:lnTo>
                  <a:lnTo>
                    <a:pt x="154" y="416"/>
                  </a:lnTo>
                  <a:lnTo>
                    <a:pt x="154" y="415"/>
                  </a:lnTo>
                  <a:lnTo>
                    <a:pt x="154" y="415"/>
                  </a:lnTo>
                  <a:lnTo>
                    <a:pt x="154" y="414"/>
                  </a:lnTo>
                  <a:lnTo>
                    <a:pt x="154" y="413"/>
                  </a:lnTo>
                  <a:lnTo>
                    <a:pt x="154" y="412"/>
                  </a:lnTo>
                  <a:lnTo>
                    <a:pt x="153" y="411"/>
                  </a:lnTo>
                  <a:lnTo>
                    <a:pt x="153" y="411"/>
                  </a:lnTo>
                  <a:lnTo>
                    <a:pt x="152" y="410"/>
                  </a:lnTo>
                  <a:lnTo>
                    <a:pt x="152" y="410"/>
                  </a:lnTo>
                  <a:lnTo>
                    <a:pt x="149" y="408"/>
                  </a:lnTo>
                  <a:lnTo>
                    <a:pt x="148" y="407"/>
                  </a:lnTo>
                  <a:lnTo>
                    <a:pt x="147" y="406"/>
                  </a:lnTo>
                  <a:lnTo>
                    <a:pt x="146" y="405"/>
                  </a:lnTo>
                  <a:lnTo>
                    <a:pt x="144" y="402"/>
                  </a:lnTo>
                  <a:lnTo>
                    <a:pt x="143" y="401"/>
                  </a:lnTo>
                  <a:lnTo>
                    <a:pt x="142" y="399"/>
                  </a:lnTo>
                  <a:lnTo>
                    <a:pt x="140" y="398"/>
                  </a:lnTo>
                  <a:lnTo>
                    <a:pt x="139" y="397"/>
                  </a:lnTo>
                  <a:lnTo>
                    <a:pt x="139" y="396"/>
                  </a:lnTo>
                  <a:lnTo>
                    <a:pt x="138" y="396"/>
                  </a:lnTo>
                  <a:lnTo>
                    <a:pt x="137" y="395"/>
                  </a:lnTo>
                  <a:lnTo>
                    <a:pt x="136" y="395"/>
                  </a:lnTo>
                  <a:lnTo>
                    <a:pt x="136" y="395"/>
                  </a:lnTo>
                  <a:lnTo>
                    <a:pt x="134" y="394"/>
                  </a:lnTo>
                  <a:lnTo>
                    <a:pt x="131" y="393"/>
                  </a:lnTo>
                  <a:lnTo>
                    <a:pt x="129" y="392"/>
                  </a:lnTo>
                  <a:lnTo>
                    <a:pt x="128" y="391"/>
                  </a:lnTo>
                  <a:lnTo>
                    <a:pt x="126" y="391"/>
                  </a:lnTo>
                  <a:lnTo>
                    <a:pt x="125" y="391"/>
                  </a:lnTo>
                  <a:lnTo>
                    <a:pt x="125" y="390"/>
                  </a:lnTo>
                  <a:lnTo>
                    <a:pt x="121" y="387"/>
                  </a:lnTo>
                  <a:lnTo>
                    <a:pt x="120" y="387"/>
                  </a:lnTo>
                  <a:lnTo>
                    <a:pt x="119" y="386"/>
                  </a:lnTo>
                  <a:lnTo>
                    <a:pt x="118" y="385"/>
                  </a:lnTo>
                  <a:lnTo>
                    <a:pt x="117" y="384"/>
                  </a:lnTo>
                  <a:lnTo>
                    <a:pt x="116" y="382"/>
                  </a:lnTo>
                  <a:lnTo>
                    <a:pt x="111" y="378"/>
                  </a:lnTo>
                  <a:lnTo>
                    <a:pt x="110" y="376"/>
                  </a:lnTo>
                  <a:lnTo>
                    <a:pt x="108" y="375"/>
                  </a:lnTo>
                  <a:lnTo>
                    <a:pt x="107" y="373"/>
                  </a:lnTo>
                  <a:lnTo>
                    <a:pt x="105" y="372"/>
                  </a:lnTo>
                  <a:lnTo>
                    <a:pt x="104" y="371"/>
                  </a:lnTo>
                  <a:lnTo>
                    <a:pt x="103" y="370"/>
                  </a:lnTo>
                  <a:lnTo>
                    <a:pt x="101" y="369"/>
                  </a:lnTo>
                  <a:lnTo>
                    <a:pt x="100" y="368"/>
                  </a:lnTo>
                  <a:lnTo>
                    <a:pt x="99" y="367"/>
                  </a:lnTo>
                  <a:lnTo>
                    <a:pt x="97" y="367"/>
                  </a:lnTo>
                  <a:lnTo>
                    <a:pt x="96" y="366"/>
                  </a:lnTo>
                  <a:lnTo>
                    <a:pt x="94" y="366"/>
                  </a:lnTo>
                  <a:lnTo>
                    <a:pt x="88" y="364"/>
                  </a:lnTo>
                  <a:lnTo>
                    <a:pt x="86" y="363"/>
                  </a:lnTo>
                  <a:lnTo>
                    <a:pt x="85" y="363"/>
                  </a:lnTo>
                  <a:lnTo>
                    <a:pt x="84" y="362"/>
                  </a:lnTo>
                  <a:lnTo>
                    <a:pt x="83" y="362"/>
                  </a:lnTo>
                  <a:lnTo>
                    <a:pt x="82" y="361"/>
                  </a:lnTo>
                  <a:lnTo>
                    <a:pt x="82" y="361"/>
                  </a:lnTo>
                  <a:lnTo>
                    <a:pt x="81" y="360"/>
                  </a:lnTo>
                  <a:lnTo>
                    <a:pt x="81" y="360"/>
                  </a:lnTo>
                  <a:lnTo>
                    <a:pt x="81" y="359"/>
                  </a:lnTo>
                  <a:lnTo>
                    <a:pt x="80" y="357"/>
                  </a:lnTo>
                  <a:lnTo>
                    <a:pt x="80" y="356"/>
                  </a:lnTo>
                  <a:lnTo>
                    <a:pt x="80" y="353"/>
                  </a:lnTo>
                  <a:lnTo>
                    <a:pt x="79" y="352"/>
                  </a:lnTo>
                  <a:lnTo>
                    <a:pt x="79" y="351"/>
                  </a:lnTo>
                  <a:lnTo>
                    <a:pt x="79" y="350"/>
                  </a:lnTo>
                  <a:lnTo>
                    <a:pt x="78" y="348"/>
                  </a:lnTo>
                  <a:lnTo>
                    <a:pt x="76" y="343"/>
                  </a:lnTo>
                  <a:lnTo>
                    <a:pt x="75" y="342"/>
                  </a:lnTo>
                  <a:lnTo>
                    <a:pt x="75" y="341"/>
                  </a:lnTo>
                  <a:lnTo>
                    <a:pt x="74" y="339"/>
                  </a:lnTo>
                  <a:lnTo>
                    <a:pt x="73" y="339"/>
                  </a:lnTo>
                  <a:lnTo>
                    <a:pt x="73" y="338"/>
                  </a:lnTo>
                  <a:lnTo>
                    <a:pt x="72" y="338"/>
                  </a:lnTo>
                  <a:lnTo>
                    <a:pt x="72" y="337"/>
                  </a:lnTo>
                  <a:lnTo>
                    <a:pt x="70" y="336"/>
                  </a:lnTo>
                  <a:lnTo>
                    <a:pt x="69" y="335"/>
                  </a:lnTo>
                  <a:lnTo>
                    <a:pt x="68" y="334"/>
                  </a:lnTo>
                  <a:lnTo>
                    <a:pt x="68" y="334"/>
                  </a:lnTo>
                  <a:lnTo>
                    <a:pt x="67" y="333"/>
                  </a:lnTo>
                  <a:lnTo>
                    <a:pt x="67" y="332"/>
                  </a:lnTo>
                  <a:lnTo>
                    <a:pt x="66" y="332"/>
                  </a:lnTo>
                  <a:lnTo>
                    <a:pt x="66" y="330"/>
                  </a:lnTo>
                  <a:lnTo>
                    <a:pt x="65" y="329"/>
                  </a:lnTo>
                  <a:lnTo>
                    <a:pt x="65" y="328"/>
                  </a:lnTo>
                  <a:lnTo>
                    <a:pt x="63" y="324"/>
                  </a:lnTo>
                  <a:lnTo>
                    <a:pt x="62" y="320"/>
                  </a:lnTo>
                  <a:lnTo>
                    <a:pt x="61" y="318"/>
                  </a:lnTo>
                  <a:lnTo>
                    <a:pt x="60" y="317"/>
                  </a:lnTo>
                  <a:lnTo>
                    <a:pt x="60" y="316"/>
                  </a:lnTo>
                  <a:lnTo>
                    <a:pt x="59" y="315"/>
                  </a:lnTo>
                  <a:lnTo>
                    <a:pt x="58" y="314"/>
                  </a:lnTo>
                  <a:lnTo>
                    <a:pt x="58" y="313"/>
                  </a:lnTo>
                  <a:lnTo>
                    <a:pt x="57" y="313"/>
                  </a:lnTo>
                  <a:lnTo>
                    <a:pt x="57" y="313"/>
                  </a:lnTo>
                  <a:lnTo>
                    <a:pt x="56" y="313"/>
                  </a:lnTo>
                  <a:lnTo>
                    <a:pt x="55" y="313"/>
                  </a:lnTo>
                  <a:lnTo>
                    <a:pt x="52" y="313"/>
                  </a:lnTo>
                  <a:lnTo>
                    <a:pt x="51" y="313"/>
                  </a:lnTo>
                  <a:lnTo>
                    <a:pt x="49" y="313"/>
                  </a:lnTo>
                  <a:lnTo>
                    <a:pt x="46" y="313"/>
                  </a:lnTo>
                  <a:lnTo>
                    <a:pt x="45" y="313"/>
                  </a:lnTo>
                  <a:lnTo>
                    <a:pt x="44" y="313"/>
                  </a:lnTo>
                  <a:lnTo>
                    <a:pt x="43" y="313"/>
                  </a:lnTo>
                  <a:lnTo>
                    <a:pt x="42" y="312"/>
                  </a:lnTo>
                  <a:lnTo>
                    <a:pt x="41" y="312"/>
                  </a:lnTo>
                  <a:lnTo>
                    <a:pt x="40" y="312"/>
                  </a:lnTo>
                  <a:lnTo>
                    <a:pt x="40" y="311"/>
                  </a:lnTo>
                  <a:lnTo>
                    <a:pt x="39" y="311"/>
                  </a:lnTo>
                  <a:lnTo>
                    <a:pt x="38" y="310"/>
                  </a:lnTo>
                  <a:lnTo>
                    <a:pt x="35" y="307"/>
                  </a:lnTo>
                  <a:lnTo>
                    <a:pt x="34" y="306"/>
                  </a:lnTo>
                  <a:lnTo>
                    <a:pt x="34" y="305"/>
                  </a:lnTo>
                  <a:lnTo>
                    <a:pt x="33" y="303"/>
                  </a:lnTo>
                  <a:lnTo>
                    <a:pt x="32" y="301"/>
                  </a:lnTo>
                  <a:lnTo>
                    <a:pt x="30" y="298"/>
                  </a:lnTo>
                  <a:lnTo>
                    <a:pt x="29" y="295"/>
                  </a:lnTo>
                  <a:lnTo>
                    <a:pt x="28" y="292"/>
                  </a:lnTo>
                  <a:lnTo>
                    <a:pt x="26" y="288"/>
                  </a:lnTo>
                  <a:lnTo>
                    <a:pt x="25" y="285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2" y="283"/>
                  </a:lnTo>
                  <a:lnTo>
                    <a:pt x="20" y="283"/>
                  </a:lnTo>
                  <a:lnTo>
                    <a:pt x="20" y="283"/>
                  </a:lnTo>
                  <a:lnTo>
                    <a:pt x="19" y="282"/>
                  </a:lnTo>
                  <a:lnTo>
                    <a:pt x="18" y="282"/>
                  </a:lnTo>
                  <a:lnTo>
                    <a:pt x="17" y="281"/>
                  </a:lnTo>
                  <a:lnTo>
                    <a:pt x="16" y="280"/>
                  </a:lnTo>
                  <a:lnTo>
                    <a:pt x="16" y="279"/>
                  </a:lnTo>
                  <a:lnTo>
                    <a:pt x="14" y="277"/>
                  </a:lnTo>
                  <a:lnTo>
                    <a:pt x="13" y="276"/>
                  </a:lnTo>
                  <a:lnTo>
                    <a:pt x="13" y="276"/>
                  </a:lnTo>
                  <a:lnTo>
                    <a:pt x="12" y="275"/>
                  </a:lnTo>
                  <a:lnTo>
                    <a:pt x="12" y="274"/>
                  </a:lnTo>
                  <a:lnTo>
                    <a:pt x="11" y="274"/>
                  </a:lnTo>
                  <a:lnTo>
                    <a:pt x="10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8" y="273"/>
                  </a:lnTo>
                  <a:lnTo>
                    <a:pt x="7" y="272"/>
                  </a:lnTo>
                  <a:lnTo>
                    <a:pt x="5" y="272"/>
                  </a:lnTo>
                  <a:lnTo>
                    <a:pt x="4" y="272"/>
                  </a:lnTo>
                  <a:lnTo>
                    <a:pt x="3" y="272"/>
                  </a:lnTo>
                  <a:lnTo>
                    <a:pt x="3" y="272"/>
                  </a:lnTo>
                  <a:lnTo>
                    <a:pt x="2" y="272"/>
                  </a:lnTo>
                  <a:lnTo>
                    <a:pt x="2" y="272"/>
                  </a:lnTo>
                  <a:lnTo>
                    <a:pt x="2" y="271"/>
                  </a:lnTo>
                  <a:lnTo>
                    <a:pt x="1" y="267"/>
                  </a:lnTo>
                  <a:lnTo>
                    <a:pt x="0" y="266"/>
                  </a:lnTo>
                  <a:lnTo>
                    <a:pt x="0" y="265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59"/>
                  </a:lnTo>
                  <a:lnTo>
                    <a:pt x="0" y="258"/>
                  </a:lnTo>
                  <a:lnTo>
                    <a:pt x="0" y="256"/>
                  </a:lnTo>
                  <a:lnTo>
                    <a:pt x="0" y="255"/>
                  </a:lnTo>
                  <a:lnTo>
                    <a:pt x="1" y="253"/>
                  </a:lnTo>
                  <a:lnTo>
                    <a:pt x="1" y="251"/>
                  </a:lnTo>
                  <a:lnTo>
                    <a:pt x="2" y="249"/>
                  </a:lnTo>
                  <a:lnTo>
                    <a:pt x="2" y="248"/>
                  </a:lnTo>
                  <a:lnTo>
                    <a:pt x="2" y="247"/>
                  </a:lnTo>
                  <a:lnTo>
                    <a:pt x="3" y="246"/>
                  </a:lnTo>
                  <a:lnTo>
                    <a:pt x="4" y="243"/>
                  </a:lnTo>
                  <a:lnTo>
                    <a:pt x="5" y="241"/>
                  </a:lnTo>
                  <a:lnTo>
                    <a:pt x="6" y="240"/>
                  </a:lnTo>
                  <a:lnTo>
                    <a:pt x="7" y="239"/>
                  </a:lnTo>
                  <a:lnTo>
                    <a:pt x="8" y="238"/>
                  </a:lnTo>
                  <a:lnTo>
                    <a:pt x="8" y="238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10" y="236"/>
                  </a:lnTo>
                  <a:lnTo>
                    <a:pt x="11" y="236"/>
                  </a:lnTo>
                  <a:lnTo>
                    <a:pt x="13" y="235"/>
                  </a:lnTo>
                  <a:lnTo>
                    <a:pt x="14" y="235"/>
                  </a:lnTo>
                  <a:lnTo>
                    <a:pt x="14" y="234"/>
                  </a:lnTo>
                  <a:lnTo>
                    <a:pt x="15" y="233"/>
                  </a:lnTo>
                  <a:lnTo>
                    <a:pt x="16" y="233"/>
                  </a:lnTo>
                  <a:lnTo>
                    <a:pt x="17" y="232"/>
                  </a:lnTo>
                  <a:lnTo>
                    <a:pt x="17" y="232"/>
                  </a:lnTo>
                  <a:lnTo>
                    <a:pt x="17" y="231"/>
                  </a:lnTo>
                  <a:lnTo>
                    <a:pt x="18" y="230"/>
                  </a:lnTo>
                  <a:lnTo>
                    <a:pt x="18" y="230"/>
                  </a:lnTo>
                  <a:lnTo>
                    <a:pt x="18" y="229"/>
                  </a:lnTo>
                  <a:lnTo>
                    <a:pt x="18" y="228"/>
                  </a:lnTo>
                  <a:lnTo>
                    <a:pt x="18" y="227"/>
                  </a:lnTo>
                  <a:lnTo>
                    <a:pt x="18" y="226"/>
                  </a:lnTo>
                  <a:lnTo>
                    <a:pt x="18" y="225"/>
                  </a:lnTo>
                  <a:lnTo>
                    <a:pt x="18" y="223"/>
                  </a:lnTo>
                  <a:lnTo>
                    <a:pt x="17" y="219"/>
                  </a:lnTo>
                  <a:lnTo>
                    <a:pt x="17" y="218"/>
                  </a:lnTo>
                  <a:lnTo>
                    <a:pt x="17" y="216"/>
                  </a:lnTo>
                  <a:lnTo>
                    <a:pt x="15" y="214"/>
                  </a:lnTo>
                  <a:lnTo>
                    <a:pt x="15" y="212"/>
                  </a:lnTo>
                  <a:lnTo>
                    <a:pt x="15" y="211"/>
                  </a:lnTo>
                  <a:lnTo>
                    <a:pt x="15" y="210"/>
                  </a:lnTo>
                  <a:lnTo>
                    <a:pt x="15" y="210"/>
                  </a:lnTo>
                  <a:lnTo>
                    <a:pt x="15" y="209"/>
                  </a:lnTo>
                  <a:lnTo>
                    <a:pt x="16" y="206"/>
                  </a:lnTo>
                  <a:lnTo>
                    <a:pt x="16" y="205"/>
                  </a:lnTo>
                  <a:lnTo>
                    <a:pt x="16" y="203"/>
                  </a:lnTo>
                  <a:lnTo>
                    <a:pt x="16" y="200"/>
                  </a:lnTo>
                  <a:lnTo>
                    <a:pt x="17" y="198"/>
                  </a:lnTo>
                  <a:lnTo>
                    <a:pt x="17" y="196"/>
                  </a:lnTo>
                  <a:lnTo>
                    <a:pt x="18" y="192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9" y="191"/>
                  </a:lnTo>
                  <a:lnTo>
                    <a:pt x="19" y="191"/>
                  </a:lnTo>
                  <a:lnTo>
                    <a:pt x="20" y="191"/>
                  </a:lnTo>
                  <a:lnTo>
                    <a:pt x="21" y="191"/>
                  </a:lnTo>
                  <a:lnTo>
                    <a:pt x="24" y="191"/>
                  </a:lnTo>
                  <a:lnTo>
                    <a:pt x="25" y="192"/>
                  </a:lnTo>
                  <a:lnTo>
                    <a:pt x="26" y="192"/>
                  </a:lnTo>
                  <a:lnTo>
                    <a:pt x="27" y="192"/>
                  </a:lnTo>
                  <a:lnTo>
                    <a:pt x="28" y="192"/>
                  </a:lnTo>
                  <a:lnTo>
                    <a:pt x="29" y="191"/>
                  </a:lnTo>
                  <a:lnTo>
                    <a:pt x="29" y="191"/>
                  </a:lnTo>
                  <a:lnTo>
                    <a:pt x="30" y="191"/>
                  </a:lnTo>
                  <a:lnTo>
                    <a:pt x="31" y="191"/>
                  </a:lnTo>
                  <a:lnTo>
                    <a:pt x="32" y="190"/>
                  </a:lnTo>
                  <a:lnTo>
                    <a:pt x="33" y="189"/>
                  </a:lnTo>
                  <a:lnTo>
                    <a:pt x="35" y="188"/>
                  </a:lnTo>
                  <a:lnTo>
                    <a:pt x="38" y="186"/>
                  </a:lnTo>
                  <a:lnTo>
                    <a:pt x="38" y="185"/>
                  </a:lnTo>
                  <a:lnTo>
                    <a:pt x="40" y="185"/>
                  </a:lnTo>
                  <a:lnTo>
                    <a:pt x="41" y="184"/>
                  </a:lnTo>
                  <a:lnTo>
                    <a:pt x="44" y="183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6" y="182"/>
                  </a:lnTo>
                  <a:lnTo>
                    <a:pt x="46" y="181"/>
                  </a:lnTo>
                  <a:lnTo>
                    <a:pt x="47" y="178"/>
                  </a:lnTo>
                  <a:lnTo>
                    <a:pt x="48" y="175"/>
                  </a:lnTo>
                  <a:lnTo>
                    <a:pt x="48" y="174"/>
                  </a:lnTo>
                  <a:lnTo>
                    <a:pt x="49" y="173"/>
                  </a:lnTo>
                  <a:lnTo>
                    <a:pt x="49" y="172"/>
                  </a:lnTo>
                  <a:lnTo>
                    <a:pt x="50" y="171"/>
                  </a:lnTo>
                  <a:lnTo>
                    <a:pt x="51" y="170"/>
                  </a:lnTo>
                  <a:lnTo>
                    <a:pt x="52" y="169"/>
                  </a:lnTo>
                  <a:lnTo>
                    <a:pt x="53" y="168"/>
                  </a:lnTo>
                  <a:lnTo>
                    <a:pt x="53" y="167"/>
                  </a:lnTo>
                  <a:lnTo>
                    <a:pt x="53" y="167"/>
                  </a:lnTo>
                  <a:lnTo>
                    <a:pt x="53" y="167"/>
                  </a:lnTo>
                  <a:lnTo>
                    <a:pt x="53" y="166"/>
                  </a:lnTo>
                  <a:lnTo>
                    <a:pt x="53" y="165"/>
                  </a:lnTo>
                  <a:lnTo>
                    <a:pt x="53" y="164"/>
                  </a:lnTo>
                  <a:lnTo>
                    <a:pt x="53" y="163"/>
                  </a:lnTo>
                  <a:lnTo>
                    <a:pt x="52" y="162"/>
                  </a:lnTo>
                  <a:lnTo>
                    <a:pt x="52" y="162"/>
                  </a:lnTo>
                  <a:lnTo>
                    <a:pt x="52" y="161"/>
                  </a:lnTo>
                  <a:lnTo>
                    <a:pt x="50" y="159"/>
                  </a:lnTo>
                  <a:lnTo>
                    <a:pt x="50" y="158"/>
                  </a:lnTo>
                  <a:lnTo>
                    <a:pt x="49" y="156"/>
                  </a:lnTo>
                  <a:lnTo>
                    <a:pt x="48" y="155"/>
                  </a:lnTo>
                  <a:lnTo>
                    <a:pt x="48" y="154"/>
                  </a:lnTo>
                  <a:lnTo>
                    <a:pt x="48" y="153"/>
                  </a:lnTo>
                  <a:lnTo>
                    <a:pt x="48" y="153"/>
                  </a:lnTo>
                  <a:lnTo>
                    <a:pt x="48" y="152"/>
                  </a:lnTo>
                  <a:lnTo>
                    <a:pt x="48" y="151"/>
                  </a:lnTo>
                  <a:lnTo>
                    <a:pt x="49" y="151"/>
                  </a:lnTo>
                  <a:lnTo>
                    <a:pt x="49" y="150"/>
                  </a:lnTo>
                  <a:lnTo>
                    <a:pt x="49" y="149"/>
                  </a:lnTo>
                  <a:lnTo>
                    <a:pt x="50" y="149"/>
                  </a:lnTo>
                  <a:lnTo>
                    <a:pt x="51" y="148"/>
                  </a:lnTo>
                  <a:lnTo>
                    <a:pt x="52" y="146"/>
                  </a:lnTo>
                  <a:lnTo>
                    <a:pt x="53" y="146"/>
                  </a:lnTo>
                  <a:lnTo>
                    <a:pt x="53" y="145"/>
                  </a:lnTo>
                  <a:lnTo>
                    <a:pt x="55" y="145"/>
                  </a:lnTo>
                  <a:lnTo>
                    <a:pt x="55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3"/>
                  </a:lnTo>
                  <a:lnTo>
                    <a:pt x="57" y="143"/>
                  </a:lnTo>
                  <a:lnTo>
                    <a:pt x="57" y="142"/>
                  </a:lnTo>
                  <a:lnTo>
                    <a:pt x="57" y="141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39"/>
                  </a:lnTo>
                  <a:lnTo>
                    <a:pt x="55" y="138"/>
                  </a:lnTo>
                  <a:lnTo>
                    <a:pt x="54" y="138"/>
                  </a:lnTo>
                  <a:lnTo>
                    <a:pt x="54" y="137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5"/>
                  </a:lnTo>
                  <a:lnTo>
                    <a:pt x="52" y="135"/>
                  </a:lnTo>
                  <a:lnTo>
                    <a:pt x="52" y="134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3" y="131"/>
                  </a:lnTo>
                  <a:lnTo>
                    <a:pt x="53" y="130"/>
                  </a:lnTo>
                  <a:lnTo>
                    <a:pt x="53" y="130"/>
                  </a:lnTo>
                  <a:lnTo>
                    <a:pt x="54" y="130"/>
                  </a:lnTo>
                  <a:lnTo>
                    <a:pt x="56" y="129"/>
                  </a:lnTo>
                  <a:lnTo>
                    <a:pt x="56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7"/>
                  </a:lnTo>
                  <a:lnTo>
                    <a:pt x="58" y="127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5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3"/>
                  </a:lnTo>
                  <a:lnTo>
                    <a:pt x="58" y="122"/>
                  </a:lnTo>
                  <a:lnTo>
                    <a:pt x="58" y="121"/>
                  </a:lnTo>
                  <a:lnTo>
                    <a:pt x="58" y="120"/>
                  </a:lnTo>
                  <a:lnTo>
                    <a:pt x="58" y="119"/>
                  </a:lnTo>
                  <a:lnTo>
                    <a:pt x="59" y="118"/>
                  </a:lnTo>
                  <a:lnTo>
                    <a:pt x="59" y="117"/>
                  </a:lnTo>
                  <a:lnTo>
                    <a:pt x="59" y="116"/>
                  </a:lnTo>
                  <a:lnTo>
                    <a:pt x="59" y="116"/>
                  </a:lnTo>
                  <a:lnTo>
                    <a:pt x="60" y="115"/>
                  </a:lnTo>
                  <a:lnTo>
                    <a:pt x="62" y="113"/>
                  </a:lnTo>
                  <a:lnTo>
                    <a:pt x="62" y="112"/>
                  </a:lnTo>
                  <a:lnTo>
                    <a:pt x="64" y="112"/>
                  </a:lnTo>
                  <a:lnTo>
                    <a:pt x="66" y="110"/>
                  </a:lnTo>
                  <a:lnTo>
                    <a:pt x="69" y="108"/>
                  </a:lnTo>
                  <a:lnTo>
                    <a:pt x="69" y="107"/>
                  </a:lnTo>
                  <a:lnTo>
                    <a:pt x="70" y="107"/>
                  </a:lnTo>
                  <a:lnTo>
                    <a:pt x="70" y="106"/>
                  </a:lnTo>
                  <a:lnTo>
                    <a:pt x="71" y="105"/>
                  </a:lnTo>
                  <a:lnTo>
                    <a:pt x="71" y="103"/>
                  </a:lnTo>
                  <a:lnTo>
                    <a:pt x="72" y="101"/>
                  </a:lnTo>
                  <a:lnTo>
                    <a:pt x="73" y="99"/>
                  </a:lnTo>
                  <a:lnTo>
                    <a:pt x="74" y="98"/>
                  </a:lnTo>
                  <a:lnTo>
                    <a:pt x="75" y="96"/>
                  </a:lnTo>
                  <a:lnTo>
                    <a:pt x="76" y="95"/>
                  </a:lnTo>
                  <a:lnTo>
                    <a:pt x="76" y="94"/>
                  </a:lnTo>
                  <a:lnTo>
                    <a:pt x="76" y="93"/>
                  </a:lnTo>
                  <a:lnTo>
                    <a:pt x="77" y="91"/>
                  </a:lnTo>
                  <a:lnTo>
                    <a:pt x="77" y="90"/>
                  </a:lnTo>
                  <a:lnTo>
                    <a:pt x="77" y="89"/>
                  </a:lnTo>
                  <a:lnTo>
                    <a:pt x="77" y="88"/>
                  </a:lnTo>
                  <a:lnTo>
                    <a:pt x="77" y="87"/>
                  </a:lnTo>
                  <a:lnTo>
                    <a:pt x="76" y="87"/>
                  </a:lnTo>
                  <a:lnTo>
                    <a:pt x="76" y="86"/>
                  </a:lnTo>
                  <a:lnTo>
                    <a:pt x="74" y="84"/>
                  </a:lnTo>
                  <a:lnTo>
                    <a:pt x="74" y="83"/>
                  </a:lnTo>
                  <a:lnTo>
                    <a:pt x="73" y="82"/>
                  </a:lnTo>
                  <a:lnTo>
                    <a:pt x="71" y="79"/>
                  </a:lnTo>
                  <a:lnTo>
                    <a:pt x="71" y="78"/>
                  </a:lnTo>
                  <a:lnTo>
                    <a:pt x="71" y="76"/>
                  </a:lnTo>
                  <a:lnTo>
                    <a:pt x="70" y="75"/>
                  </a:lnTo>
                  <a:lnTo>
                    <a:pt x="70" y="73"/>
                  </a:lnTo>
                  <a:lnTo>
                    <a:pt x="70" y="72"/>
                  </a:lnTo>
                  <a:lnTo>
                    <a:pt x="70" y="70"/>
                  </a:lnTo>
                  <a:lnTo>
                    <a:pt x="71" y="67"/>
                  </a:lnTo>
                  <a:lnTo>
                    <a:pt x="71" y="66"/>
                  </a:lnTo>
                  <a:lnTo>
                    <a:pt x="71" y="65"/>
                  </a:lnTo>
                  <a:lnTo>
                    <a:pt x="72" y="64"/>
                  </a:lnTo>
                  <a:lnTo>
                    <a:pt x="72" y="63"/>
                  </a:lnTo>
                  <a:lnTo>
                    <a:pt x="73" y="61"/>
                  </a:lnTo>
                  <a:lnTo>
                    <a:pt x="75" y="58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5" y="56"/>
                  </a:lnTo>
                  <a:lnTo>
                    <a:pt x="75" y="55"/>
                  </a:lnTo>
                  <a:lnTo>
                    <a:pt x="75" y="54"/>
                  </a:lnTo>
                  <a:lnTo>
                    <a:pt x="74" y="52"/>
                  </a:lnTo>
                  <a:lnTo>
                    <a:pt x="73" y="50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1" y="45"/>
                  </a:lnTo>
                  <a:lnTo>
                    <a:pt x="71" y="44"/>
                  </a:lnTo>
                  <a:lnTo>
                    <a:pt x="71" y="40"/>
                  </a:lnTo>
                  <a:lnTo>
                    <a:pt x="71" y="39"/>
                  </a:lnTo>
                  <a:lnTo>
                    <a:pt x="71" y="38"/>
                  </a:lnTo>
                  <a:lnTo>
                    <a:pt x="71" y="36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69" y="34"/>
                  </a:lnTo>
                  <a:lnTo>
                    <a:pt x="68" y="33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8" y="29"/>
                  </a:lnTo>
                  <a:lnTo>
                    <a:pt x="69" y="24"/>
                  </a:lnTo>
                  <a:lnTo>
                    <a:pt x="70" y="23"/>
                  </a:lnTo>
                  <a:lnTo>
                    <a:pt x="70" y="23"/>
                  </a:lnTo>
                  <a:lnTo>
                    <a:pt x="70" y="22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3" y="21"/>
                  </a:lnTo>
                  <a:lnTo>
                    <a:pt x="73" y="21"/>
                  </a:lnTo>
                  <a:lnTo>
                    <a:pt x="74" y="21"/>
                  </a:lnTo>
                  <a:lnTo>
                    <a:pt x="76" y="21"/>
                  </a:lnTo>
                  <a:lnTo>
                    <a:pt x="77" y="21"/>
                  </a:lnTo>
                  <a:lnTo>
                    <a:pt x="80" y="20"/>
                  </a:lnTo>
                  <a:lnTo>
                    <a:pt x="83" y="19"/>
                  </a:lnTo>
                  <a:lnTo>
                    <a:pt x="85" y="18"/>
                  </a:lnTo>
                  <a:lnTo>
                    <a:pt x="87" y="17"/>
                  </a:lnTo>
                  <a:lnTo>
                    <a:pt x="87" y="17"/>
                  </a:lnTo>
                  <a:lnTo>
                    <a:pt x="88" y="17"/>
                  </a:lnTo>
                  <a:lnTo>
                    <a:pt x="88" y="17"/>
                  </a:lnTo>
                  <a:lnTo>
                    <a:pt x="89" y="17"/>
                  </a:lnTo>
                  <a:lnTo>
                    <a:pt x="89" y="17"/>
                  </a:lnTo>
                  <a:lnTo>
                    <a:pt x="90" y="17"/>
                  </a:lnTo>
                  <a:lnTo>
                    <a:pt x="90" y="18"/>
                  </a:lnTo>
                  <a:lnTo>
                    <a:pt x="92" y="20"/>
                  </a:lnTo>
                  <a:lnTo>
                    <a:pt x="93" y="20"/>
                  </a:lnTo>
                  <a:lnTo>
                    <a:pt x="93" y="20"/>
                  </a:lnTo>
                  <a:lnTo>
                    <a:pt x="94" y="20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6" y="21"/>
                  </a:lnTo>
                  <a:lnTo>
                    <a:pt x="96" y="20"/>
                  </a:lnTo>
                  <a:lnTo>
                    <a:pt x="97" y="20"/>
                  </a:lnTo>
                  <a:lnTo>
                    <a:pt x="98" y="20"/>
                  </a:lnTo>
                  <a:lnTo>
                    <a:pt x="100" y="18"/>
                  </a:lnTo>
                  <a:lnTo>
                    <a:pt x="101" y="18"/>
                  </a:lnTo>
                  <a:lnTo>
                    <a:pt x="102" y="18"/>
                  </a:lnTo>
                  <a:lnTo>
                    <a:pt x="103" y="18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5" y="18"/>
                  </a:lnTo>
                  <a:lnTo>
                    <a:pt x="105" y="19"/>
                  </a:lnTo>
                  <a:lnTo>
                    <a:pt x="108" y="20"/>
                  </a:lnTo>
                  <a:lnTo>
                    <a:pt x="108" y="21"/>
                  </a:lnTo>
                  <a:lnTo>
                    <a:pt x="110" y="22"/>
                  </a:lnTo>
                  <a:lnTo>
                    <a:pt x="110" y="22"/>
                  </a:lnTo>
                  <a:lnTo>
                    <a:pt x="111" y="22"/>
                  </a:lnTo>
                  <a:lnTo>
                    <a:pt x="111" y="23"/>
                  </a:lnTo>
                  <a:lnTo>
                    <a:pt x="112" y="23"/>
                  </a:lnTo>
                  <a:lnTo>
                    <a:pt x="112" y="24"/>
                  </a:lnTo>
                  <a:lnTo>
                    <a:pt x="113" y="24"/>
                  </a:lnTo>
                  <a:lnTo>
                    <a:pt x="115" y="25"/>
                  </a:lnTo>
                  <a:lnTo>
                    <a:pt x="115" y="25"/>
                  </a:lnTo>
                  <a:lnTo>
                    <a:pt x="116" y="25"/>
                  </a:lnTo>
                  <a:lnTo>
                    <a:pt x="117" y="26"/>
                  </a:lnTo>
                  <a:lnTo>
                    <a:pt x="118" y="26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6"/>
                  </a:lnTo>
                  <a:lnTo>
                    <a:pt x="122" y="25"/>
                  </a:lnTo>
                  <a:lnTo>
                    <a:pt x="123" y="25"/>
                  </a:lnTo>
                  <a:lnTo>
                    <a:pt x="123" y="24"/>
                  </a:lnTo>
                  <a:lnTo>
                    <a:pt x="125" y="23"/>
                  </a:lnTo>
                  <a:lnTo>
                    <a:pt x="126" y="23"/>
                  </a:lnTo>
                  <a:lnTo>
                    <a:pt x="127" y="22"/>
                  </a:lnTo>
                  <a:lnTo>
                    <a:pt x="128" y="22"/>
                  </a:lnTo>
                  <a:lnTo>
                    <a:pt x="128" y="22"/>
                  </a:lnTo>
                  <a:lnTo>
                    <a:pt x="132" y="21"/>
                  </a:lnTo>
                  <a:lnTo>
                    <a:pt x="133" y="21"/>
                  </a:lnTo>
                  <a:lnTo>
                    <a:pt x="134" y="21"/>
                  </a:lnTo>
                  <a:lnTo>
                    <a:pt x="134" y="21"/>
                  </a:lnTo>
                  <a:lnTo>
                    <a:pt x="135" y="20"/>
                  </a:lnTo>
                  <a:lnTo>
                    <a:pt x="136" y="20"/>
                  </a:lnTo>
                  <a:lnTo>
                    <a:pt x="138" y="18"/>
                  </a:lnTo>
                  <a:lnTo>
                    <a:pt x="139" y="18"/>
                  </a:lnTo>
                  <a:lnTo>
                    <a:pt x="139" y="18"/>
                  </a:lnTo>
                  <a:lnTo>
                    <a:pt x="141" y="17"/>
                  </a:lnTo>
                  <a:lnTo>
                    <a:pt x="141" y="17"/>
                  </a:lnTo>
                  <a:lnTo>
                    <a:pt x="142" y="17"/>
                  </a:lnTo>
                  <a:lnTo>
                    <a:pt x="142" y="16"/>
                  </a:lnTo>
                  <a:lnTo>
                    <a:pt x="143" y="16"/>
                  </a:lnTo>
                  <a:lnTo>
                    <a:pt x="143" y="15"/>
                  </a:lnTo>
                  <a:lnTo>
                    <a:pt x="144" y="14"/>
                  </a:lnTo>
                  <a:lnTo>
                    <a:pt x="144" y="13"/>
                  </a:lnTo>
                  <a:lnTo>
                    <a:pt x="145" y="12"/>
                  </a:lnTo>
                  <a:lnTo>
                    <a:pt x="146" y="10"/>
                  </a:lnTo>
                  <a:lnTo>
                    <a:pt x="147" y="8"/>
                  </a:lnTo>
                  <a:lnTo>
                    <a:pt x="147" y="7"/>
                  </a:lnTo>
                  <a:lnTo>
                    <a:pt x="147" y="7"/>
                  </a:lnTo>
                  <a:lnTo>
                    <a:pt x="148" y="6"/>
                  </a:lnTo>
                  <a:lnTo>
                    <a:pt x="148" y="6"/>
                  </a:lnTo>
                  <a:lnTo>
                    <a:pt x="149" y="5"/>
                  </a:lnTo>
                  <a:lnTo>
                    <a:pt x="150" y="5"/>
                  </a:lnTo>
                  <a:lnTo>
                    <a:pt x="153" y="3"/>
                  </a:lnTo>
                  <a:lnTo>
                    <a:pt x="156" y="2"/>
                  </a:lnTo>
                  <a:lnTo>
                    <a:pt x="157" y="1"/>
                  </a:lnTo>
                  <a:lnTo>
                    <a:pt x="158" y="1"/>
                  </a:lnTo>
                  <a:lnTo>
                    <a:pt x="160" y="0"/>
                  </a:lnTo>
                  <a:lnTo>
                    <a:pt x="162" y="0"/>
                  </a:lnTo>
                  <a:lnTo>
                    <a:pt x="162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Freeform 14">
              <a:extLst>
                <a:ext uri="{FF2B5EF4-FFF2-40B4-BE49-F238E27FC236}">
                  <a16:creationId xmlns:a16="http://schemas.microsoft.com/office/drawing/2014/main" id="{8B54BAAA-8D1F-0605-643C-F9C3105EB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301"/>
              <a:ext cx="427" cy="537"/>
            </a:xfrm>
            <a:custGeom>
              <a:avLst/>
              <a:gdLst>
                <a:gd name="T0" fmla="*/ 287 w 427"/>
                <a:gd name="T1" fmla="*/ 2 h 537"/>
                <a:gd name="T2" fmla="*/ 301 w 427"/>
                <a:gd name="T3" fmla="*/ 10 h 537"/>
                <a:gd name="T4" fmla="*/ 305 w 427"/>
                <a:gd name="T5" fmla="*/ 23 h 537"/>
                <a:gd name="T6" fmla="*/ 311 w 427"/>
                <a:gd name="T7" fmla="*/ 34 h 537"/>
                <a:gd name="T8" fmla="*/ 338 w 427"/>
                <a:gd name="T9" fmla="*/ 34 h 537"/>
                <a:gd name="T10" fmla="*/ 337 w 427"/>
                <a:gd name="T11" fmla="*/ 41 h 537"/>
                <a:gd name="T12" fmla="*/ 367 w 427"/>
                <a:gd name="T13" fmla="*/ 52 h 537"/>
                <a:gd name="T14" fmla="*/ 394 w 427"/>
                <a:gd name="T15" fmla="*/ 66 h 537"/>
                <a:gd name="T16" fmla="*/ 406 w 427"/>
                <a:gd name="T17" fmla="*/ 77 h 537"/>
                <a:gd name="T18" fmla="*/ 427 w 427"/>
                <a:gd name="T19" fmla="*/ 109 h 537"/>
                <a:gd name="T20" fmla="*/ 419 w 427"/>
                <a:gd name="T21" fmla="*/ 137 h 537"/>
                <a:gd name="T22" fmla="*/ 416 w 427"/>
                <a:gd name="T23" fmla="*/ 160 h 537"/>
                <a:gd name="T24" fmla="*/ 408 w 427"/>
                <a:gd name="T25" fmla="*/ 178 h 537"/>
                <a:gd name="T26" fmla="*/ 390 w 427"/>
                <a:gd name="T27" fmla="*/ 179 h 537"/>
                <a:gd name="T28" fmla="*/ 382 w 427"/>
                <a:gd name="T29" fmla="*/ 198 h 537"/>
                <a:gd name="T30" fmla="*/ 386 w 427"/>
                <a:gd name="T31" fmla="*/ 204 h 537"/>
                <a:gd name="T32" fmla="*/ 388 w 427"/>
                <a:gd name="T33" fmla="*/ 215 h 537"/>
                <a:gd name="T34" fmla="*/ 388 w 427"/>
                <a:gd name="T35" fmla="*/ 223 h 537"/>
                <a:gd name="T36" fmla="*/ 401 w 427"/>
                <a:gd name="T37" fmla="*/ 232 h 537"/>
                <a:gd name="T38" fmla="*/ 404 w 427"/>
                <a:gd name="T39" fmla="*/ 262 h 537"/>
                <a:gd name="T40" fmla="*/ 403 w 427"/>
                <a:gd name="T41" fmla="*/ 279 h 537"/>
                <a:gd name="T42" fmla="*/ 407 w 427"/>
                <a:gd name="T43" fmla="*/ 305 h 537"/>
                <a:gd name="T44" fmla="*/ 405 w 427"/>
                <a:gd name="T45" fmla="*/ 334 h 537"/>
                <a:gd name="T46" fmla="*/ 404 w 427"/>
                <a:gd name="T47" fmla="*/ 362 h 537"/>
                <a:gd name="T48" fmla="*/ 392 w 427"/>
                <a:gd name="T49" fmla="*/ 381 h 537"/>
                <a:gd name="T50" fmla="*/ 387 w 427"/>
                <a:gd name="T51" fmla="*/ 391 h 537"/>
                <a:gd name="T52" fmla="*/ 384 w 427"/>
                <a:gd name="T53" fmla="*/ 404 h 537"/>
                <a:gd name="T54" fmla="*/ 387 w 427"/>
                <a:gd name="T55" fmla="*/ 422 h 537"/>
                <a:gd name="T56" fmla="*/ 369 w 427"/>
                <a:gd name="T57" fmla="*/ 443 h 537"/>
                <a:gd name="T58" fmla="*/ 351 w 427"/>
                <a:gd name="T59" fmla="*/ 453 h 537"/>
                <a:gd name="T60" fmla="*/ 352 w 427"/>
                <a:gd name="T61" fmla="*/ 485 h 537"/>
                <a:gd name="T62" fmla="*/ 336 w 427"/>
                <a:gd name="T63" fmla="*/ 503 h 537"/>
                <a:gd name="T64" fmla="*/ 334 w 427"/>
                <a:gd name="T65" fmla="*/ 526 h 537"/>
                <a:gd name="T66" fmla="*/ 318 w 427"/>
                <a:gd name="T67" fmla="*/ 537 h 537"/>
                <a:gd name="T68" fmla="*/ 292 w 427"/>
                <a:gd name="T69" fmla="*/ 509 h 537"/>
                <a:gd name="T70" fmla="*/ 269 w 427"/>
                <a:gd name="T71" fmla="*/ 465 h 537"/>
                <a:gd name="T72" fmla="*/ 236 w 427"/>
                <a:gd name="T73" fmla="*/ 454 h 537"/>
                <a:gd name="T74" fmla="*/ 220 w 427"/>
                <a:gd name="T75" fmla="*/ 429 h 537"/>
                <a:gd name="T76" fmla="*/ 191 w 427"/>
                <a:gd name="T77" fmla="*/ 392 h 537"/>
                <a:gd name="T78" fmla="*/ 176 w 427"/>
                <a:gd name="T79" fmla="*/ 366 h 537"/>
                <a:gd name="T80" fmla="*/ 141 w 427"/>
                <a:gd name="T81" fmla="*/ 347 h 537"/>
                <a:gd name="T82" fmla="*/ 117 w 427"/>
                <a:gd name="T83" fmla="*/ 349 h 537"/>
                <a:gd name="T84" fmla="*/ 98 w 427"/>
                <a:gd name="T85" fmla="*/ 322 h 537"/>
                <a:gd name="T86" fmla="*/ 71 w 427"/>
                <a:gd name="T87" fmla="*/ 300 h 537"/>
                <a:gd name="T88" fmla="*/ 66 w 427"/>
                <a:gd name="T89" fmla="*/ 263 h 537"/>
                <a:gd name="T90" fmla="*/ 48 w 427"/>
                <a:gd name="T91" fmla="*/ 242 h 537"/>
                <a:gd name="T92" fmla="*/ 35 w 427"/>
                <a:gd name="T93" fmla="*/ 213 h 537"/>
                <a:gd name="T94" fmla="*/ 32 w 427"/>
                <a:gd name="T95" fmla="*/ 188 h 537"/>
                <a:gd name="T96" fmla="*/ 1 w 427"/>
                <a:gd name="T97" fmla="*/ 160 h 537"/>
                <a:gd name="T98" fmla="*/ 18 w 427"/>
                <a:gd name="T99" fmla="*/ 138 h 537"/>
                <a:gd name="T100" fmla="*/ 35 w 427"/>
                <a:gd name="T101" fmla="*/ 103 h 537"/>
                <a:gd name="T102" fmla="*/ 63 w 427"/>
                <a:gd name="T103" fmla="*/ 87 h 537"/>
                <a:gd name="T104" fmla="*/ 83 w 427"/>
                <a:gd name="T105" fmla="*/ 91 h 537"/>
                <a:gd name="T106" fmla="*/ 95 w 427"/>
                <a:gd name="T107" fmla="*/ 79 h 537"/>
                <a:gd name="T108" fmla="*/ 124 w 427"/>
                <a:gd name="T109" fmla="*/ 74 h 537"/>
                <a:gd name="T110" fmla="*/ 156 w 427"/>
                <a:gd name="T111" fmla="*/ 80 h 537"/>
                <a:gd name="T112" fmla="*/ 170 w 427"/>
                <a:gd name="T113" fmla="*/ 60 h 537"/>
                <a:gd name="T114" fmla="*/ 200 w 427"/>
                <a:gd name="T115" fmla="*/ 41 h 537"/>
                <a:gd name="T116" fmla="*/ 229 w 427"/>
                <a:gd name="T117" fmla="*/ 36 h 537"/>
                <a:gd name="T118" fmla="*/ 250 w 427"/>
                <a:gd name="T119" fmla="*/ 46 h 537"/>
                <a:gd name="T120" fmla="*/ 259 w 427"/>
                <a:gd name="T121" fmla="*/ 24 h 537"/>
                <a:gd name="T122" fmla="*/ 267 w 427"/>
                <a:gd name="T123" fmla="*/ 11 h 537"/>
                <a:gd name="T124" fmla="*/ 278 w 427"/>
                <a:gd name="T125" fmla="*/ 1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537">
                  <a:moveTo>
                    <a:pt x="279" y="1"/>
                  </a:moveTo>
                  <a:lnTo>
                    <a:pt x="279" y="1"/>
                  </a:lnTo>
                  <a:lnTo>
                    <a:pt x="279" y="1"/>
                  </a:lnTo>
                  <a:lnTo>
                    <a:pt x="279" y="2"/>
                  </a:lnTo>
                  <a:lnTo>
                    <a:pt x="279" y="4"/>
                  </a:lnTo>
                  <a:lnTo>
                    <a:pt x="279" y="4"/>
                  </a:lnTo>
                  <a:lnTo>
                    <a:pt x="280" y="5"/>
                  </a:lnTo>
                  <a:lnTo>
                    <a:pt x="280" y="5"/>
                  </a:lnTo>
                  <a:lnTo>
                    <a:pt x="280" y="6"/>
                  </a:lnTo>
                  <a:lnTo>
                    <a:pt x="281" y="6"/>
                  </a:lnTo>
                  <a:lnTo>
                    <a:pt x="281" y="6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83" y="5"/>
                  </a:lnTo>
                  <a:lnTo>
                    <a:pt x="283" y="5"/>
                  </a:lnTo>
                  <a:lnTo>
                    <a:pt x="285" y="3"/>
                  </a:lnTo>
                  <a:lnTo>
                    <a:pt x="285" y="3"/>
                  </a:lnTo>
                  <a:lnTo>
                    <a:pt x="286" y="2"/>
                  </a:lnTo>
                  <a:lnTo>
                    <a:pt x="286" y="2"/>
                  </a:lnTo>
                  <a:lnTo>
                    <a:pt x="287" y="2"/>
                  </a:lnTo>
                  <a:lnTo>
                    <a:pt x="288" y="1"/>
                  </a:lnTo>
                  <a:lnTo>
                    <a:pt x="288" y="2"/>
                  </a:lnTo>
                  <a:lnTo>
                    <a:pt x="288" y="2"/>
                  </a:lnTo>
                  <a:lnTo>
                    <a:pt x="289" y="3"/>
                  </a:lnTo>
                  <a:lnTo>
                    <a:pt x="289" y="4"/>
                  </a:lnTo>
                  <a:lnTo>
                    <a:pt x="291" y="6"/>
                  </a:lnTo>
                  <a:lnTo>
                    <a:pt x="292" y="7"/>
                  </a:lnTo>
                  <a:lnTo>
                    <a:pt x="292" y="8"/>
                  </a:lnTo>
                  <a:lnTo>
                    <a:pt x="293" y="10"/>
                  </a:lnTo>
                  <a:lnTo>
                    <a:pt x="293" y="11"/>
                  </a:lnTo>
                  <a:lnTo>
                    <a:pt x="293" y="11"/>
                  </a:lnTo>
                  <a:lnTo>
                    <a:pt x="294" y="11"/>
                  </a:lnTo>
                  <a:lnTo>
                    <a:pt x="294" y="12"/>
                  </a:lnTo>
                  <a:lnTo>
                    <a:pt x="294" y="12"/>
                  </a:lnTo>
                  <a:lnTo>
                    <a:pt x="295" y="12"/>
                  </a:lnTo>
                  <a:lnTo>
                    <a:pt x="295" y="12"/>
                  </a:lnTo>
                  <a:lnTo>
                    <a:pt x="296" y="12"/>
                  </a:lnTo>
                  <a:lnTo>
                    <a:pt x="299" y="11"/>
                  </a:lnTo>
                  <a:lnTo>
                    <a:pt x="299" y="11"/>
                  </a:lnTo>
                  <a:lnTo>
                    <a:pt x="299" y="11"/>
                  </a:lnTo>
                  <a:lnTo>
                    <a:pt x="301" y="10"/>
                  </a:lnTo>
                  <a:lnTo>
                    <a:pt x="302" y="9"/>
                  </a:lnTo>
                  <a:lnTo>
                    <a:pt x="302" y="9"/>
                  </a:lnTo>
                  <a:lnTo>
                    <a:pt x="303" y="8"/>
                  </a:lnTo>
                  <a:lnTo>
                    <a:pt x="304" y="7"/>
                  </a:lnTo>
                  <a:lnTo>
                    <a:pt x="304" y="8"/>
                  </a:lnTo>
                  <a:lnTo>
                    <a:pt x="304" y="9"/>
                  </a:lnTo>
                  <a:lnTo>
                    <a:pt x="305" y="10"/>
                  </a:lnTo>
                  <a:lnTo>
                    <a:pt x="306" y="11"/>
                  </a:lnTo>
                  <a:lnTo>
                    <a:pt x="307" y="13"/>
                  </a:lnTo>
                  <a:lnTo>
                    <a:pt x="307" y="14"/>
                  </a:lnTo>
                  <a:lnTo>
                    <a:pt x="308" y="14"/>
                  </a:lnTo>
                  <a:lnTo>
                    <a:pt x="308" y="15"/>
                  </a:lnTo>
                  <a:lnTo>
                    <a:pt x="308" y="16"/>
                  </a:lnTo>
                  <a:lnTo>
                    <a:pt x="308" y="17"/>
                  </a:lnTo>
                  <a:lnTo>
                    <a:pt x="308" y="18"/>
                  </a:lnTo>
                  <a:lnTo>
                    <a:pt x="308" y="19"/>
                  </a:lnTo>
                  <a:lnTo>
                    <a:pt x="308" y="19"/>
                  </a:lnTo>
                  <a:lnTo>
                    <a:pt x="308" y="19"/>
                  </a:lnTo>
                  <a:lnTo>
                    <a:pt x="307" y="20"/>
                  </a:lnTo>
                  <a:lnTo>
                    <a:pt x="306" y="22"/>
                  </a:lnTo>
                  <a:lnTo>
                    <a:pt x="305" y="23"/>
                  </a:lnTo>
                  <a:lnTo>
                    <a:pt x="304" y="25"/>
                  </a:lnTo>
                  <a:lnTo>
                    <a:pt x="303" y="27"/>
                  </a:lnTo>
                  <a:lnTo>
                    <a:pt x="303" y="28"/>
                  </a:lnTo>
                  <a:lnTo>
                    <a:pt x="302" y="28"/>
                  </a:lnTo>
                  <a:lnTo>
                    <a:pt x="302" y="29"/>
                  </a:lnTo>
                  <a:lnTo>
                    <a:pt x="302" y="30"/>
                  </a:lnTo>
                  <a:lnTo>
                    <a:pt x="302" y="30"/>
                  </a:lnTo>
                  <a:lnTo>
                    <a:pt x="302" y="31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3" y="33"/>
                  </a:lnTo>
                  <a:lnTo>
                    <a:pt x="303" y="33"/>
                  </a:lnTo>
                  <a:lnTo>
                    <a:pt x="304" y="33"/>
                  </a:lnTo>
                  <a:lnTo>
                    <a:pt x="305" y="33"/>
                  </a:lnTo>
                  <a:lnTo>
                    <a:pt x="308" y="34"/>
                  </a:lnTo>
                  <a:lnTo>
                    <a:pt x="308" y="34"/>
                  </a:lnTo>
                  <a:lnTo>
                    <a:pt x="309" y="34"/>
                  </a:lnTo>
                  <a:lnTo>
                    <a:pt x="309" y="34"/>
                  </a:lnTo>
                  <a:lnTo>
                    <a:pt x="310" y="34"/>
                  </a:lnTo>
                  <a:lnTo>
                    <a:pt x="311" y="34"/>
                  </a:lnTo>
                  <a:lnTo>
                    <a:pt x="312" y="33"/>
                  </a:lnTo>
                  <a:lnTo>
                    <a:pt x="314" y="32"/>
                  </a:lnTo>
                  <a:lnTo>
                    <a:pt x="316" y="32"/>
                  </a:lnTo>
                  <a:lnTo>
                    <a:pt x="317" y="32"/>
                  </a:lnTo>
                  <a:lnTo>
                    <a:pt x="317" y="31"/>
                  </a:lnTo>
                  <a:lnTo>
                    <a:pt x="319" y="31"/>
                  </a:lnTo>
                  <a:lnTo>
                    <a:pt x="321" y="31"/>
                  </a:lnTo>
                  <a:lnTo>
                    <a:pt x="322" y="31"/>
                  </a:lnTo>
                  <a:lnTo>
                    <a:pt x="323" y="32"/>
                  </a:lnTo>
                  <a:lnTo>
                    <a:pt x="326" y="32"/>
                  </a:lnTo>
                  <a:lnTo>
                    <a:pt x="327" y="32"/>
                  </a:lnTo>
                  <a:lnTo>
                    <a:pt x="328" y="32"/>
                  </a:lnTo>
                  <a:lnTo>
                    <a:pt x="328" y="32"/>
                  </a:lnTo>
                  <a:lnTo>
                    <a:pt x="331" y="32"/>
                  </a:lnTo>
                  <a:lnTo>
                    <a:pt x="333" y="32"/>
                  </a:lnTo>
                  <a:lnTo>
                    <a:pt x="334" y="32"/>
                  </a:lnTo>
                  <a:lnTo>
                    <a:pt x="334" y="32"/>
                  </a:lnTo>
                  <a:lnTo>
                    <a:pt x="335" y="32"/>
                  </a:lnTo>
                  <a:lnTo>
                    <a:pt x="336" y="32"/>
                  </a:lnTo>
                  <a:lnTo>
                    <a:pt x="337" y="33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9" y="34"/>
                  </a:lnTo>
                  <a:lnTo>
                    <a:pt x="338" y="35"/>
                  </a:lnTo>
                  <a:lnTo>
                    <a:pt x="338" y="35"/>
                  </a:lnTo>
                  <a:lnTo>
                    <a:pt x="336" y="36"/>
                  </a:lnTo>
                  <a:lnTo>
                    <a:pt x="336" y="36"/>
                  </a:lnTo>
                  <a:lnTo>
                    <a:pt x="335" y="37"/>
                  </a:lnTo>
                  <a:lnTo>
                    <a:pt x="335" y="37"/>
                  </a:lnTo>
                  <a:lnTo>
                    <a:pt x="334" y="37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9"/>
                  </a:lnTo>
                  <a:lnTo>
                    <a:pt x="335" y="39"/>
                  </a:lnTo>
                  <a:lnTo>
                    <a:pt x="335" y="39"/>
                  </a:lnTo>
                  <a:lnTo>
                    <a:pt x="335" y="40"/>
                  </a:lnTo>
                  <a:lnTo>
                    <a:pt x="336" y="41"/>
                  </a:lnTo>
                  <a:lnTo>
                    <a:pt x="337" y="41"/>
                  </a:lnTo>
                  <a:lnTo>
                    <a:pt x="338" y="42"/>
                  </a:lnTo>
                  <a:lnTo>
                    <a:pt x="339" y="43"/>
                  </a:lnTo>
                  <a:lnTo>
                    <a:pt x="342" y="44"/>
                  </a:lnTo>
                  <a:lnTo>
                    <a:pt x="344" y="45"/>
                  </a:lnTo>
                  <a:lnTo>
                    <a:pt x="346" y="47"/>
                  </a:lnTo>
                  <a:lnTo>
                    <a:pt x="349" y="49"/>
                  </a:lnTo>
                  <a:lnTo>
                    <a:pt x="350" y="50"/>
                  </a:lnTo>
                  <a:lnTo>
                    <a:pt x="352" y="51"/>
                  </a:lnTo>
                  <a:lnTo>
                    <a:pt x="352" y="51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6" y="52"/>
                  </a:lnTo>
                  <a:lnTo>
                    <a:pt x="357" y="52"/>
                  </a:lnTo>
                  <a:lnTo>
                    <a:pt x="358" y="53"/>
                  </a:lnTo>
                  <a:lnTo>
                    <a:pt x="359" y="53"/>
                  </a:lnTo>
                  <a:lnTo>
                    <a:pt x="361" y="53"/>
                  </a:lnTo>
                  <a:lnTo>
                    <a:pt x="362" y="53"/>
                  </a:lnTo>
                  <a:lnTo>
                    <a:pt x="363" y="53"/>
                  </a:lnTo>
                  <a:lnTo>
                    <a:pt x="365" y="53"/>
                  </a:lnTo>
                  <a:lnTo>
                    <a:pt x="366" y="52"/>
                  </a:lnTo>
                  <a:lnTo>
                    <a:pt x="367" y="52"/>
                  </a:lnTo>
                  <a:lnTo>
                    <a:pt x="370" y="51"/>
                  </a:lnTo>
                  <a:lnTo>
                    <a:pt x="371" y="51"/>
                  </a:lnTo>
                  <a:lnTo>
                    <a:pt x="372" y="51"/>
                  </a:lnTo>
                  <a:lnTo>
                    <a:pt x="374" y="51"/>
                  </a:lnTo>
                  <a:lnTo>
                    <a:pt x="374" y="51"/>
                  </a:lnTo>
                  <a:lnTo>
                    <a:pt x="376" y="51"/>
                  </a:lnTo>
                  <a:lnTo>
                    <a:pt x="376" y="52"/>
                  </a:lnTo>
                  <a:lnTo>
                    <a:pt x="377" y="52"/>
                  </a:lnTo>
                  <a:lnTo>
                    <a:pt x="378" y="52"/>
                  </a:lnTo>
                  <a:lnTo>
                    <a:pt x="378" y="53"/>
                  </a:lnTo>
                  <a:lnTo>
                    <a:pt x="379" y="53"/>
                  </a:lnTo>
                  <a:lnTo>
                    <a:pt x="380" y="54"/>
                  </a:lnTo>
                  <a:lnTo>
                    <a:pt x="382" y="57"/>
                  </a:lnTo>
                  <a:lnTo>
                    <a:pt x="384" y="59"/>
                  </a:lnTo>
                  <a:lnTo>
                    <a:pt x="385" y="60"/>
                  </a:lnTo>
                  <a:lnTo>
                    <a:pt x="387" y="62"/>
                  </a:lnTo>
                  <a:lnTo>
                    <a:pt x="390" y="64"/>
                  </a:lnTo>
                  <a:lnTo>
                    <a:pt x="391" y="65"/>
                  </a:lnTo>
                  <a:lnTo>
                    <a:pt x="392" y="66"/>
                  </a:lnTo>
                  <a:lnTo>
                    <a:pt x="393" y="66"/>
                  </a:lnTo>
                  <a:lnTo>
                    <a:pt x="394" y="66"/>
                  </a:lnTo>
                  <a:lnTo>
                    <a:pt x="397" y="67"/>
                  </a:lnTo>
                  <a:lnTo>
                    <a:pt x="398" y="67"/>
                  </a:lnTo>
                  <a:lnTo>
                    <a:pt x="399" y="67"/>
                  </a:lnTo>
                  <a:lnTo>
                    <a:pt x="400" y="67"/>
                  </a:lnTo>
                  <a:lnTo>
                    <a:pt x="400" y="68"/>
                  </a:lnTo>
                  <a:lnTo>
                    <a:pt x="401" y="68"/>
                  </a:lnTo>
                  <a:lnTo>
                    <a:pt x="402" y="69"/>
                  </a:lnTo>
                  <a:lnTo>
                    <a:pt x="402" y="69"/>
                  </a:lnTo>
                  <a:lnTo>
                    <a:pt x="403" y="70"/>
                  </a:lnTo>
                  <a:lnTo>
                    <a:pt x="403" y="70"/>
                  </a:lnTo>
                  <a:lnTo>
                    <a:pt x="403" y="71"/>
                  </a:lnTo>
                  <a:lnTo>
                    <a:pt x="404" y="72"/>
                  </a:lnTo>
                  <a:lnTo>
                    <a:pt x="404" y="72"/>
                  </a:lnTo>
                  <a:lnTo>
                    <a:pt x="404" y="75"/>
                  </a:lnTo>
                  <a:lnTo>
                    <a:pt x="404" y="76"/>
                  </a:lnTo>
                  <a:lnTo>
                    <a:pt x="405" y="76"/>
                  </a:lnTo>
                  <a:lnTo>
                    <a:pt x="405" y="76"/>
                  </a:lnTo>
                  <a:lnTo>
                    <a:pt x="405" y="77"/>
                  </a:lnTo>
                  <a:lnTo>
                    <a:pt x="405" y="77"/>
                  </a:lnTo>
                  <a:lnTo>
                    <a:pt x="406" y="77"/>
                  </a:lnTo>
                  <a:lnTo>
                    <a:pt x="406" y="77"/>
                  </a:lnTo>
                  <a:lnTo>
                    <a:pt x="409" y="78"/>
                  </a:lnTo>
                  <a:lnTo>
                    <a:pt x="412" y="79"/>
                  </a:lnTo>
                  <a:lnTo>
                    <a:pt x="414" y="79"/>
                  </a:lnTo>
                  <a:lnTo>
                    <a:pt x="415" y="80"/>
                  </a:lnTo>
                  <a:lnTo>
                    <a:pt x="418" y="81"/>
                  </a:lnTo>
                  <a:lnTo>
                    <a:pt x="424" y="85"/>
                  </a:lnTo>
                  <a:lnTo>
                    <a:pt x="425" y="85"/>
                  </a:lnTo>
                  <a:lnTo>
                    <a:pt x="425" y="86"/>
                  </a:lnTo>
                  <a:lnTo>
                    <a:pt x="425" y="86"/>
                  </a:lnTo>
                  <a:lnTo>
                    <a:pt x="426" y="86"/>
                  </a:lnTo>
                  <a:lnTo>
                    <a:pt x="426" y="87"/>
                  </a:lnTo>
                  <a:lnTo>
                    <a:pt x="426" y="87"/>
                  </a:lnTo>
                  <a:lnTo>
                    <a:pt x="426" y="92"/>
                  </a:lnTo>
                  <a:lnTo>
                    <a:pt x="426" y="94"/>
                  </a:lnTo>
                  <a:lnTo>
                    <a:pt x="427" y="97"/>
                  </a:lnTo>
                  <a:lnTo>
                    <a:pt x="427" y="101"/>
                  </a:lnTo>
                  <a:lnTo>
                    <a:pt x="427" y="103"/>
                  </a:lnTo>
                  <a:lnTo>
                    <a:pt x="427" y="107"/>
                  </a:lnTo>
                  <a:lnTo>
                    <a:pt x="427" y="108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7" y="110"/>
                  </a:lnTo>
                  <a:lnTo>
                    <a:pt x="427" y="111"/>
                  </a:lnTo>
                  <a:lnTo>
                    <a:pt x="426" y="111"/>
                  </a:lnTo>
                  <a:lnTo>
                    <a:pt x="426" y="112"/>
                  </a:lnTo>
                  <a:lnTo>
                    <a:pt x="424" y="113"/>
                  </a:lnTo>
                  <a:lnTo>
                    <a:pt x="424" y="114"/>
                  </a:lnTo>
                  <a:lnTo>
                    <a:pt x="423" y="114"/>
                  </a:lnTo>
                  <a:lnTo>
                    <a:pt x="423" y="115"/>
                  </a:lnTo>
                  <a:lnTo>
                    <a:pt x="422" y="116"/>
                  </a:lnTo>
                  <a:lnTo>
                    <a:pt x="422" y="117"/>
                  </a:lnTo>
                  <a:lnTo>
                    <a:pt x="421" y="119"/>
                  </a:lnTo>
                  <a:lnTo>
                    <a:pt x="420" y="122"/>
                  </a:lnTo>
                  <a:lnTo>
                    <a:pt x="420" y="123"/>
                  </a:lnTo>
                  <a:lnTo>
                    <a:pt x="420" y="124"/>
                  </a:lnTo>
                  <a:lnTo>
                    <a:pt x="419" y="129"/>
                  </a:lnTo>
                  <a:lnTo>
                    <a:pt x="419" y="130"/>
                  </a:lnTo>
                  <a:lnTo>
                    <a:pt x="419" y="131"/>
                  </a:lnTo>
                  <a:lnTo>
                    <a:pt x="419" y="134"/>
                  </a:lnTo>
                  <a:lnTo>
                    <a:pt x="419" y="135"/>
                  </a:lnTo>
                  <a:lnTo>
                    <a:pt x="419" y="136"/>
                  </a:lnTo>
                  <a:lnTo>
                    <a:pt x="419" y="137"/>
                  </a:lnTo>
                  <a:lnTo>
                    <a:pt x="419" y="138"/>
                  </a:lnTo>
                  <a:lnTo>
                    <a:pt x="419" y="139"/>
                  </a:lnTo>
                  <a:lnTo>
                    <a:pt x="418" y="141"/>
                  </a:lnTo>
                  <a:lnTo>
                    <a:pt x="417" y="144"/>
                  </a:lnTo>
                  <a:lnTo>
                    <a:pt x="417" y="144"/>
                  </a:lnTo>
                  <a:lnTo>
                    <a:pt x="417" y="145"/>
                  </a:lnTo>
                  <a:lnTo>
                    <a:pt x="417" y="146"/>
                  </a:lnTo>
                  <a:lnTo>
                    <a:pt x="417" y="147"/>
                  </a:lnTo>
                  <a:lnTo>
                    <a:pt x="417" y="148"/>
                  </a:lnTo>
                  <a:lnTo>
                    <a:pt x="417" y="151"/>
                  </a:lnTo>
                  <a:lnTo>
                    <a:pt x="417" y="152"/>
                  </a:lnTo>
                  <a:lnTo>
                    <a:pt x="416" y="153"/>
                  </a:lnTo>
                  <a:lnTo>
                    <a:pt x="416" y="154"/>
                  </a:lnTo>
                  <a:lnTo>
                    <a:pt x="416" y="155"/>
                  </a:lnTo>
                  <a:lnTo>
                    <a:pt x="416" y="156"/>
                  </a:lnTo>
                  <a:lnTo>
                    <a:pt x="415" y="158"/>
                  </a:lnTo>
                  <a:lnTo>
                    <a:pt x="415" y="159"/>
                  </a:lnTo>
                  <a:lnTo>
                    <a:pt x="415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8" y="161"/>
                  </a:lnTo>
                  <a:lnTo>
                    <a:pt x="418" y="162"/>
                  </a:lnTo>
                  <a:lnTo>
                    <a:pt x="419" y="162"/>
                  </a:lnTo>
                  <a:lnTo>
                    <a:pt x="419" y="163"/>
                  </a:lnTo>
                  <a:lnTo>
                    <a:pt x="420" y="163"/>
                  </a:lnTo>
                  <a:lnTo>
                    <a:pt x="420" y="164"/>
                  </a:lnTo>
                  <a:lnTo>
                    <a:pt x="420" y="165"/>
                  </a:lnTo>
                  <a:lnTo>
                    <a:pt x="420" y="165"/>
                  </a:lnTo>
                  <a:lnTo>
                    <a:pt x="419" y="166"/>
                  </a:lnTo>
                  <a:lnTo>
                    <a:pt x="419" y="166"/>
                  </a:lnTo>
                  <a:lnTo>
                    <a:pt x="419" y="167"/>
                  </a:lnTo>
                  <a:lnTo>
                    <a:pt x="418" y="167"/>
                  </a:lnTo>
                  <a:lnTo>
                    <a:pt x="417" y="168"/>
                  </a:lnTo>
                  <a:lnTo>
                    <a:pt x="414" y="171"/>
                  </a:lnTo>
                  <a:lnTo>
                    <a:pt x="413" y="172"/>
                  </a:lnTo>
                  <a:lnTo>
                    <a:pt x="412" y="173"/>
                  </a:lnTo>
                  <a:lnTo>
                    <a:pt x="411" y="174"/>
                  </a:lnTo>
                  <a:lnTo>
                    <a:pt x="410" y="176"/>
                  </a:lnTo>
                  <a:lnTo>
                    <a:pt x="409" y="177"/>
                  </a:lnTo>
                  <a:lnTo>
                    <a:pt x="408" y="177"/>
                  </a:lnTo>
                  <a:lnTo>
                    <a:pt x="408" y="178"/>
                  </a:lnTo>
                  <a:lnTo>
                    <a:pt x="407" y="178"/>
                  </a:lnTo>
                  <a:lnTo>
                    <a:pt x="407" y="178"/>
                  </a:lnTo>
                  <a:lnTo>
                    <a:pt x="406" y="179"/>
                  </a:lnTo>
                  <a:lnTo>
                    <a:pt x="406" y="179"/>
                  </a:lnTo>
                  <a:lnTo>
                    <a:pt x="405" y="179"/>
                  </a:lnTo>
                  <a:lnTo>
                    <a:pt x="405" y="179"/>
                  </a:lnTo>
                  <a:lnTo>
                    <a:pt x="404" y="178"/>
                  </a:lnTo>
                  <a:lnTo>
                    <a:pt x="403" y="178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399" y="176"/>
                  </a:lnTo>
                  <a:lnTo>
                    <a:pt x="398" y="176"/>
                  </a:lnTo>
                  <a:lnTo>
                    <a:pt x="397" y="176"/>
                  </a:lnTo>
                  <a:lnTo>
                    <a:pt x="397" y="176"/>
                  </a:lnTo>
                  <a:lnTo>
                    <a:pt x="396" y="176"/>
                  </a:lnTo>
                  <a:lnTo>
                    <a:pt x="395" y="177"/>
                  </a:lnTo>
                  <a:lnTo>
                    <a:pt x="394" y="177"/>
                  </a:lnTo>
                  <a:lnTo>
                    <a:pt x="392" y="178"/>
                  </a:lnTo>
                  <a:lnTo>
                    <a:pt x="391" y="179"/>
                  </a:lnTo>
                  <a:lnTo>
                    <a:pt x="390" y="179"/>
                  </a:lnTo>
                  <a:lnTo>
                    <a:pt x="389" y="180"/>
                  </a:lnTo>
                  <a:lnTo>
                    <a:pt x="388" y="181"/>
                  </a:lnTo>
                  <a:lnTo>
                    <a:pt x="387" y="182"/>
                  </a:lnTo>
                  <a:lnTo>
                    <a:pt x="386" y="182"/>
                  </a:lnTo>
                  <a:lnTo>
                    <a:pt x="386" y="183"/>
                  </a:lnTo>
                  <a:lnTo>
                    <a:pt x="385" y="185"/>
                  </a:lnTo>
                  <a:lnTo>
                    <a:pt x="382" y="188"/>
                  </a:lnTo>
                  <a:lnTo>
                    <a:pt x="381" y="189"/>
                  </a:lnTo>
                  <a:lnTo>
                    <a:pt x="381" y="190"/>
                  </a:lnTo>
                  <a:lnTo>
                    <a:pt x="381" y="191"/>
                  </a:lnTo>
                  <a:lnTo>
                    <a:pt x="380" y="192"/>
                  </a:lnTo>
                  <a:lnTo>
                    <a:pt x="380" y="193"/>
                  </a:lnTo>
                  <a:lnTo>
                    <a:pt x="380" y="194"/>
                  </a:lnTo>
                  <a:lnTo>
                    <a:pt x="380" y="195"/>
                  </a:lnTo>
                  <a:lnTo>
                    <a:pt x="380" y="195"/>
                  </a:lnTo>
                  <a:lnTo>
                    <a:pt x="380" y="196"/>
                  </a:lnTo>
                  <a:lnTo>
                    <a:pt x="381" y="196"/>
                  </a:lnTo>
                  <a:lnTo>
                    <a:pt x="381" y="197"/>
                  </a:lnTo>
                  <a:lnTo>
                    <a:pt x="381" y="197"/>
                  </a:lnTo>
                  <a:lnTo>
                    <a:pt x="381" y="197"/>
                  </a:lnTo>
                  <a:lnTo>
                    <a:pt x="382" y="198"/>
                  </a:lnTo>
                  <a:lnTo>
                    <a:pt x="382" y="198"/>
                  </a:lnTo>
                  <a:lnTo>
                    <a:pt x="383" y="198"/>
                  </a:lnTo>
                  <a:lnTo>
                    <a:pt x="385" y="197"/>
                  </a:lnTo>
                  <a:lnTo>
                    <a:pt x="386" y="197"/>
                  </a:lnTo>
                  <a:lnTo>
                    <a:pt x="387" y="197"/>
                  </a:lnTo>
                  <a:lnTo>
                    <a:pt x="388" y="197"/>
                  </a:lnTo>
                  <a:lnTo>
                    <a:pt x="390" y="197"/>
                  </a:lnTo>
                  <a:lnTo>
                    <a:pt x="391" y="198"/>
                  </a:lnTo>
                  <a:lnTo>
                    <a:pt x="391" y="198"/>
                  </a:lnTo>
                  <a:lnTo>
                    <a:pt x="392" y="198"/>
                  </a:lnTo>
                  <a:lnTo>
                    <a:pt x="392" y="198"/>
                  </a:lnTo>
                  <a:lnTo>
                    <a:pt x="392" y="199"/>
                  </a:lnTo>
                  <a:lnTo>
                    <a:pt x="392" y="199"/>
                  </a:lnTo>
                  <a:lnTo>
                    <a:pt x="393" y="199"/>
                  </a:lnTo>
                  <a:lnTo>
                    <a:pt x="392" y="200"/>
                  </a:lnTo>
                  <a:lnTo>
                    <a:pt x="392" y="200"/>
                  </a:lnTo>
                  <a:lnTo>
                    <a:pt x="392" y="201"/>
                  </a:lnTo>
                  <a:lnTo>
                    <a:pt x="391" y="201"/>
                  </a:lnTo>
                  <a:lnTo>
                    <a:pt x="390" y="202"/>
                  </a:lnTo>
                  <a:lnTo>
                    <a:pt x="386" y="203"/>
                  </a:lnTo>
                  <a:lnTo>
                    <a:pt x="386" y="204"/>
                  </a:lnTo>
                  <a:lnTo>
                    <a:pt x="386" y="204"/>
                  </a:lnTo>
                  <a:lnTo>
                    <a:pt x="386" y="204"/>
                  </a:lnTo>
                  <a:lnTo>
                    <a:pt x="385" y="204"/>
                  </a:lnTo>
                  <a:lnTo>
                    <a:pt x="385" y="205"/>
                  </a:lnTo>
                  <a:lnTo>
                    <a:pt x="385" y="206"/>
                  </a:lnTo>
                  <a:lnTo>
                    <a:pt x="386" y="206"/>
                  </a:lnTo>
                  <a:lnTo>
                    <a:pt x="386" y="207"/>
                  </a:lnTo>
                  <a:lnTo>
                    <a:pt x="386" y="207"/>
                  </a:lnTo>
                  <a:lnTo>
                    <a:pt x="386" y="208"/>
                  </a:lnTo>
                  <a:lnTo>
                    <a:pt x="388" y="209"/>
                  </a:lnTo>
                  <a:lnTo>
                    <a:pt x="388" y="210"/>
                  </a:lnTo>
                  <a:lnTo>
                    <a:pt x="389" y="211"/>
                  </a:lnTo>
                  <a:lnTo>
                    <a:pt x="389" y="211"/>
                  </a:lnTo>
                  <a:lnTo>
                    <a:pt x="390" y="212"/>
                  </a:lnTo>
                  <a:lnTo>
                    <a:pt x="390" y="213"/>
                  </a:lnTo>
                  <a:lnTo>
                    <a:pt x="390" y="213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8" y="215"/>
                  </a:lnTo>
                  <a:lnTo>
                    <a:pt x="388" y="215"/>
                  </a:lnTo>
                  <a:lnTo>
                    <a:pt x="387" y="215"/>
                  </a:lnTo>
                  <a:lnTo>
                    <a:pt x="386" y="215"/>
                  </a:lnTo>
                  <a:lnTo>
                    <a:pt x="385" y="215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7"/>
                  </a:lnTo>
                  <a:lnTo>
                    <a:pt x="385" y="217"/>
                  </a:lnTo>
                  <a:lnTo>
                    <a:pt x="386" y="218"/>
                  </a:lnTo>
                  <a:lnTo>
                    <a:pt x="387" y="219"/>
                  </a:lnTo>
                  <a:lnTo>
                    <a:pt x="388" y="219"/>
                  </a:lnTo>
                  <a:lnTo>
                    <a:pt x="388" y="219"/>
                  </a:lnTo>
                  <a:lnTo>
                    <a:pt x="388" y="220"/>
                  </a:lnTo>
                  <a:lnTo>
                    <a:pt x="388" y="220"/>
                  </a:lnTo>
                  <a:lnTo>
                    <a:pt x="388" y="221"/>
                  </a:lnTo>
                  <a:lnTo>
                    <a:pt x="388" y="222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9" y="223"/>
                  </a:lnTo>
                  <a:lnTo>
                    <a:pt x="389" y="224"/>
                  </a:lnTo>
                  <a:lnTo>
                    <a:pt x="389" y="224"/>
                  </a:lnTo>
                  <a:lnTo>
                    <a:pt x="390" y="224"/>
                  </a:lnTo>
                  <a:lnTo>
                    <a:pt x="391" y="224"/>
                  </a:lnTo>
                  <a:lnTo>
                    <a:pt x="393" y="224"/>
                  </a:lnTo>
                  <a:lnTo>
                    <a:pt x="394" y="224"/>
                  </a:lnTo>
                  <a:lnTo>
                    <a:pt x="395" y="224"/>
                  </a:lnTo>
                  <a:lnTo>
                    <a:pt x="396" y="224"/>
                  </a:lnTo>
                  <a:lnTo>
                    <a:pt x="397" y="225"/>
                  </a:lnTo>
                  <a:lnTo>
                    <a:pt x="398" y="225"/>
                  </a:lnTo>
                  <a:lnTo>
                    <a:pt x="399" y="226"/>
                  </a:lnTo>
                  <a:lnTo>
                    <a:pt x="400" y="226"/>
                  </a:lnTo>
                  <a:lnTo>
                    <a:pt x="400" y="227"/>
                  </a:lnTo>
                  <a:lnTo>
                    <a:pt x="400" y="227"/>
                  </a:lnTo>
                  <a:lnTo>
                    <a:pt x="401" y="228"/>
                  </a:lnTo>
                  <a:lnTo>
                    <a:pt x="401" y="228"/>
                  </a:lnTo>
                  <a:lnTo>
                    <a:pt x="401" y="229"/>
                  </a:lnTo>
                  <a:lnTo>
                    <a:pt x="401" y="230"/>
                  </a:lnTo>
                  <a:lnTo>
                    <a:pt x="401" y="232"/>
                  </a:lnTo>
                  <a:lnTo>
                    <a:pt x="401" y="234"/>
                  </a:lnTo>
                  <a:lnTo>
                    <a:pt x="401" y="236"/>
                  </a:lnTo>
                  <a:lnTo>
                    <a:pt x="401" y="237"/>
                  </a:lnTo>
                  <a:lnTo>
                    <a:pt x="401" y="239"/>
                  </a:lnTo>
                  <a:lnTo>
                    <a:pt x="400" y="242"/>
                  </a:lnTo>
                  <a:lnTo>
                    <a:pt x="400" y="244"/>
                  </a:lnTo>
                  <a:lnTo>
                    <a:pt x="400" y="246"/>
                  </a:lnTo>
                  <a:lnTo>
                    <a:pt x="399" y="249"/>
                  </a:lnTo>
                  <a:lnTo>
                    <a:pt x="399" y="252"/>
                  </a:lnTo>
                  <a:lnTo>
                    <a:pt x="399" y="253"/>
                  </a:lnTo>
                  <a:lnTo>
                    <a:pt x="399" y="257"/>
                  </a:lnTo>
                  <a:lnTo>
                    <a:pt x="399" y="257"/>
                  </a:lnTo>
                  <a:lnTo>
                    <a:pt x="399" y="258"/>
                  </a:lnTo>
                  <a:lnTo>
                    <a:pt x="399" y="258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1" y="260"/>
                  </a:lnTo>
                  <a:lnTo>
                    <a:pt x="402" y="260"/>
                  </a:lnTo>
                  <a:lnTo>
                    <a:pt x="403" y="261"/>
                  </a:lnTo>
                  <a:lnTo>
                    <a:pt x="404" y="262"/>
                  </a:lnTo>
                  <a:lnTo>
                    <a:pt x="404" y="262"/>
                  </a:lnTo>
                  <a:lnTo>
                    <a:pt x="405" y="263"/>
                  </a:lnTo>
                  <a:lnTo>
                    <a:pt x="405" y="264"/>
                  </a:lnTo>
                  <a:lnTo>
                    <a:pt x="405" y="265"/>
                  </a:lnTo>
                  <a:lnTo>
                    <a:pt x="406" y="267"/>
                  </a:lnTo>
                  <a:lnTo>
                    <a:pt x="406" y="268"/>
                  </a:lnTo>
                  <a:lnTo>
                    <a:pt x="406" y="269"/>
                  </a:lnTo>
                  <a:lnTo>
                    <a:pt x="406" y="270"/>
                  </a:lnTo>
                  <a:lnTo>
                    <a:pt x="406" y="271"/>
                  </a:lnTo>
                  <a:lnTo>
                    <a:pt x="406" y="273"/>
                  </a:lnTo>
                  <a:lnTo>
                    <a:pt x="406" y="274"/>
                  </a:lnTo>
                  <a:lnTo>
                    <a:pt x="406" y="275"/>
                  </a:lnTo>
                  <a:lnTo>
                    <a:pt x="406" y="276"/>
                  </a:lnTo>
                  <a:lnTo>
                    <a:pt x="406" y="276"/>
                  </a:lnTo>
                  <a:lnTo>
                    <a:pt x="405" y="276"/>
                  </a:lnTo>
                  <a:lnTo>
                    <a:pt x="405" y="276"/>
                  </a:lnTo>
                  <a:lnTo>
                    <a:pt x="405" y="276"/>
                  </a:lnTo>
                  <a:lnTo>
                    <a:pt x="404" y="277"/>
                  </a:lnTo>
                  <a:lnTo>
                    <a:pt x="404" y="278"/>
                  </a:lnTo>
                  <a:lnTo>
                    <a:pt x="404" y="278"/>
                  </a:lnTo>
                  <a:lnTo>
                    <a:pt x="403" y="279"/>
                  </a:lnTo>
                  <a:lnTo>
                    <a:pt x="402" y="284"/>
                  </a:lnTo>
                  <a:lnTo>
                    <a:pt x="402" y="285"/>
                  </a:lnTo>
                  <a:lnTo>
                    <a:pt x="402" y="285"/>
                  </a:lnTo>
                  <a:lnTo>
                    <a:pt x="402" y="286"/>
                  </a:lnTo>
                  <a:lnTo>
                    <a:pt x="402" y="286"/>
                  </a:lnTo>
                  <a:lnTo>
                    <a:pt x="402" y="287"/>
                  </a:lnTo>
                  <a:lnTo>
                    <a:pt x="402" y="287"/>
                  </a:lnTo>
                  <a:lnTo>
                    <a:pt x="402" y="288"/>
                  </a:lnTo>
                  <a:lnTo>
                    <a:pt x="403" y="289"/>
                  </a:lnTo>
                  <a:lnTo>
                    <a:pt x="404" y="290"/>
                  </a:lnTo>
                  <a:lnTo>
                    <a:pt x="404" y="290"/>
                  </a:lnTo>
                  <a:lnTo>
                    <a:pt x="404" y="290"/>
                  </a:lnTo>
                  <a:lnTo>
                    <a:pt x="405" y="291"/>
                  </a:lnTo>
                  <a:lnTo>
                    <a:pt x="405" y="293"/>
                  </a:lnTo>
                  <a:lnTo>
                    <a:pt x="405" y="294"/>
                  </a:lnTo>
                  <a:lnTo>
                    <a:pt x="405" y="295"/>
                  </a:lnTo>
                  <a:lnTo>
                    <a:pt x="405" y="299"/>
                  </a:lnTo>
                  <a:lnTo>
                    <a:pt x="405" y="300"/>
                  </a:lnTo>
                  <a:lnTo>
                    <a:pt x="406" y="303"/>
                  </a:lnTo>
                  <a:lnTo>
                    <a:pt x="406" y="304"/>
                  </a:lnTo>
                  <a:lnTo>
                    <a:pt x="407" y="305"/>
                  </a:lnTo>
                  <a:lnTo>
                    <a:pt x="408" y="307"/>
                  </a:lnTo>
                  <a:lnTo>
                    <a:pt x="409" y="309"/>
                  </a:lnTo>
                  <a:lnTo>
                    <a:pt x="409" y="310"/>
                  </a:lnTo>
                  <a:lnTo>
                    <a:pt x="409" y="311"/>
                  </a:lnTo>
                  <a:lnTo>
                    <a:pt x="410" y="312"/>
                  </a:lnTo>
                  <a:lnTo>
                    <a:pt x="410" y="312"/>
                  </a:lnTo>
                  <a:lnTo>
                    <a:pt x="410" y="312"/>
                  </a:lnTo>
                  <a:lnTo>
                    <a:pt x="409" y="313"/>
                  </a:lnTo>
                  <a:lnTo>
                    <a:pt x="407" y="316"/>
                  </a:lnTo>
                  <a:lnTo>
                    <a:pt x="406" y="318"/>
                  </a:lnTo>
                  <a:lnTo>
                    <a:pt x="406" y="319"/>
                  </a:lnTo>
                  <a:lnTo>
                    <a:pt x="405" y="320"/>
                  </a:lnTo>
                  <a:lnTo>
                    <a:pt x="405" y="321"/>
                  </a:lnTo>
                  <a:lnTo>
                    <a:pt x="405" y="322"/>
                  </a:lnTo>
                  <a:lnTo>
                    <a:pt x="404" y="325"/>
                  </a:lnTo>
                  <a:lnTo>
                    <a:pt x="404" y="327"/>
                  </a:lnTo>
                  <a:lnTo>
                    <a:pt x="404" y="328"/>
                  </a:lnTo>
                  <a:lnTo>
                    <a:pt x="404" y="330"/>
                  </a:lnTo>
                  <a:lnTo>
                    <a:pt x="405" y="331"/>
                  </a:lnTo>
                  <a:lnTo>
                    <a:pt x="405" y="333"/>
                  </a:lnTo>
                  <a:lnTo>
                    <a:pt x="405" y="334"/>
                  </a:lnTo>
                  <a:lnTo>
                    <a:pt x="407" y="337"/>
                  </a:lnTo>
                  <a:lnTo>
                    <a:pt x="408" y="338"/>
                  </a:lnTo>
                  <a:lnTo>
                    <a:pt x="408" y="339"/>
                  </a:lnTo>
                  <a:lnTo>
                    <a:pt x="410" y="341"/>
                  </a:lnTo>
                  <a:lnTo>
                    <a:pt x="410" y="342"/>
                  </a:lnTo>
                  <a:lnTo>
                    <a:pt x="411" y="342"/>
                  </a:lnTo>
                  <a:lnTo>
                    <a:pt x="411" y="343"/>
                  </a:lnTo>
                  <a:lnTo>
                    <a:pt x="411" y="344"/>
                  </a:lnTo>
                  <a:lnTo>
                    <a:pt x="411" y="345"/>
                  </a:lnTo>
                  <a:lnTo>
                    <a:pt x="411" y="346"/>
                  </a:lnTo>
                  <a:lnTo>
                    <a:pt x="410" y="348"/>
                  </a:lnTo>
                  <a:lnTo>
                    <a:pt x="410" y="349"/>
                  </a:lnTo>
                  <a:lnTo>
                    <a:pt x="410" y="350"/>
                  </a:lnTo>
                  <a:lnTo>
                    <a:pt x="409" y="351"/>
                  </a:lnTo>
                  <a:lnTo>
                    <a:pt x="408" y="353"/>
                  </a:lnTo>
                  <a:lnTo>
                    <a:pt x="407" y="354"/>
                  </a:lnTo>
                  <a:lnTo>
                    <a:pt x="406" y="356"/>
                  </a:lnTo>
                  <a:lnTo>
                    <a:pt x="405" y="358"/>
                  </a:lnTo>
                  <a:lnTo>
                    <a:pt x="405" y="360"/>
                  </a:lnTo>
                  <a:lnTo>
                    <a:pt x="404" y="361"/>
                  </a:lnTo>
                  <a:lnTo>
                    <a:pt x="404" y="362"/>
                  </a:lnTo>
                  <a:lnTo>
                    <a:pt x="403" y="362"/>
                  </a:lnTo>
                  <a:lnTo>
                    <a:pt x="403" y="363"/>
                  </a:lnTo>
                  <a:lnTo>
                    <a:pt x="400" y="365"/>
                  </a:lnTo>
                  <a:lnTo>
                    <a:pt x="398" y="367"/>
                  </a:lnTo>
                  <a:lnTo>
                    <a:pt x="396" y="367"/>
                  </a:lnTo>
                  <a:lnTo>
                    <a:pt x="396" y="368"/>
                  </a:lnTo>
                  <a:lnTo>
                    <a:pt x="394" y="370"/>
                  </a:lnTo>
                  <a:lnTo>
                    <a:pt x="393" y="371"/>
                  </a:lnTo>
                  <a:lnTo>
                    <a:pt x="393" y="371"/>
                  </a:lnTo>
                  <a:lnTo>
                    <a:pt x="393" y="372"/>
                  </a:lnTo>
                  <a:lnTo>
                    <a:pt x="393" y="373"/>
                  </a:lnTo>
                  <a:lnTo>
                    <a:pt x="392" y="374"/>
                  </a:lnTo>
                  <a:lnTo>
                    <a:pt x="392" y="375"/>
                  </a:lnTo>
                  <a:lnTo>
                    <a:pt x="392" y="376"/>
                  </a:lnTo>
                  <a:lnTo>
                    <a:pt x="392" y="377"/>
                  </a:lnTo>
                  <a:lnTo>
                    <a:pt x="393" y="378"/>
                  </a:lnTo>
                  <a:lnTo>
                    <a:pt x="393" y="379"/>
                  </a:lnTo>
                  <a:lnTo>
                    <a:pt x="393" y="379"/>
                  </a:lnTo>
                  <a:lnTo>
                    <a:pt x="393" y="380"/>
                  </a:lnTo>
                  <a:lnTo>
                    <a:pt x="392" y="381"/>
                  </a:lnTo>
                  <a:lnTo>
                    <a:pt x="392" y="381"/>
                  </a:lnTo>
                  <a:lnTo>
                    <a:pt x="392" y="382"/>
                  </a:lnTo>
                  <a:lnTo>
                    <a:pt x="391" y="382"/>
                  </a:lnTo>
                  <a:lnTo>
                    <a:pt x="391" y="383"/>
                  </a:lnTo>
                  <a:lnTo>
                    <a:pt x="391" y="383"/>
                  </a:lnTo>
                  <a:lnTo>
                    <a:pt x="390" y="383"/>
                  </a:lnTo>
                  <a:lnTo>
                    <a:pt x="390" y="384"/>
                  </a:lnTo>
                  <a:lnTo>
                    <a:pt x="388" y="385"/>
                  </a:lnTo>
                  <a:lnTo>
                    <a:pt x="387" y="385"/>
                  </a:lnTo>
                  <a:lnTo>
                    <a:pt x="387" y="385"/>
                  </a:lnTo>
                  <a:lnTo>
                    <a:pt x="387" y="386"/>
                  </a:lnTo>
                  <a:lnTo>
                    <a:pt x="386" y="386"/>
                  </a:lnTo>
                  <a:lnTo>
                    <a:pt x="386" y="386"/>
                  </a:lnTo>
                  <a:lnTo>
                    <a:pt x="386" y="387"/>
                  </a:lnTo>
                  <a:lnTo>
                    <a:pt x="386" y="387"/>
                  </a:lnTo>
                  <a:lnTo>
                    <a:pt x="386" y="388"/>
                  </a:lnTo>
                  <a:lnTo>
                    <a:pt x="386" y="388"/>
                  </a:lnTo>
                  <a:lnTo>
                    <a:pt x="386" y="389"/>
                  </a:lnTo>
                  <a:lnTo>
                    <a:pt x="386" y="390"/>
                  </a:lnTo>
                  <a:lnTo>
                    <a:pt x="387" y="390"/>
                  </a:lnTo>
                  <a:lnTo>
                    <a:pt x="387" y="391"/>
                  </a:lnTo>
                  <a:lnTo>
                    <a:pt x="387" y="391"/>
                  </a:lnTo>
                  <a:lnTo>
                    <a:pt x="388" y="392"/>
                  </a:lnTo>
                  <a:lnTo>
                    <a:pt x="388" y="393"/>
                  </a:lnTo>
                  <a:lnTo>
                    <a:pt x="389" y="393"/>
                  </a:lnTo>
                  <a:lnTo>
                    <a:pt x="391" y="394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6"/>
                  </a:lnTo>
                  <a:lnTo>
                    <a:pt x="391" y="397"/>
                  </a:lnTo>
                  <a:lnTo>
                    <a:pt x="391" y="398"/>
                  </a:lnTo>
                  <a:lnTo>
                    <a:pt x="390" y="398"/>
                  </a:lnTo>
                  <a:lnTo>
                    <a:pt x="390" y="399"/>
                  </a:lnTo>
                  <a:lnTo>
                    <a:pt x="390" y="399"/>
                  </a:lnTo>
                  <a:lnTo>
                    <a:pt x="389" y="399"/>
                  </a:lnTo>
                  <a:lnTo>
                    <a:pt x="389" y="400"/>
                  </a:lnTo>
                  <a:lnTo>
                    <a:pt x="387" y="400"/>
                  </a:lnTo>
                  <a:lnTo>
                    <a:pt x="387" y="401"/>
                  </a:lnTo>
                  <a:lnTo>
                    <a:pt x="386" y="401"/>
                  </a:lnTo>
                  <a:lnTo>
                    <a:pt x="385" y="403"/>
                  </a:lnTo>
                  <a:lnTo>
                    <a:pt x="384" y="404"/>
                  </a:lnTo>
                  <a:lnTo>
                    <a:pt x="383" y="404"/>
                  </a:lnTo>
                  <a:lnTo>
                    <a:pt x="383" y="405"/>
                  </a:lnTo>
                  <a:lnTo>
                    <a:pt x="383" y="406"/>
                  </a:lnTo>
                  <a:lnTo>
                    <a:pt x="382" y="406"/>
                  </a:lnTo>
                  <a:lnTo>
                    <a:pt x="382" y="407"/>
                  </a:lnTo>
                  <a:lnTo>
                    <a:pt x="382" y="408"/>
                  </a:lnTo>
                  <a:lnTo>
                    <a:pt x="382" y="408"/>
                  </a:lnTo>
                  <a:lnTo>
                    <a:pt x="382" y="409"/>
                  </a:lnTo>
                  <a:lnTo>
                    <a:pt x="382" y="410"/>
                  </a:lnTo>
                  <a:lnTo>
                    <a:pt x="383" y="411"/>
                  </a:lnTo>
                  <a:lnTo>
                    <a:pt x="384" y="413"/>
                  </a:lnTo>
                  <a:lnTo>
                    <a:pt x="384" y="414"/>
                  </a:lnTo>
                  <a:lnTo>
                    <a:pt x="386" y="416"/>
                  </a:lnTo>
                  <a:lnTo>
                    <a:pt x="386" y="417"/>
                  </a:lnTo>
                  <a:lnTo>
                    <a:pt x="386" y="417"/>
                  </a:lnTo>
                  <a:lnTo>
                    <a:pt x="387" y="418"/>
                  </a:lnTo>
                  <a:lnTo>
                    <a:pt x="387" y="419"/>
                  </a:lnTo>
                  <a:lnTo>
                    <a:pt x="387" y="420"/>
                  </a:lnTo>
                  <a:lnTo>
                    <a:pt x="387" y="421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3"/>
                  </a:lnTo>
                  <a:lnTo>
                    <a:pt x="386" y="424"/>
                  </a:lnTo>
                  <a:lnTo>
                    <a:pt x="385" y="425"/>
                  </a:lnTo>
                  <a:lnTo>
                    <a:pt x="384" y="426"/>
                  </a:lnTo>
                  <a:lnTo>
                    <a:pt x="383" y="427"/>
                  </a:lnTo>
                  <a:lnTo>
                    <a:pt x="383" y="428"/>
                  </a:lnTo>
                  <a:lnTo>
                    <a:pt x="382" y="429"/>
                  </a:lnTo>
                  <a:lnTo>
                    <a:pt x="382" y="430"/>
                  </a:lnTo>
                  <a:lnTo>
                    <a:pt x="381" y="433"/>
                  </a:lnTo>
                  <a:lnTo>
                    <a:pt x="380" y="436"/>
                  </a:lnTo>
                  <a:lnTo>
                    <a:pt x="380" y="437"/>
                  </a:lnTo>
                  <a:lnTo>
                    <a:pt x="379" y="437"/>
                  </a:lnTo>
                  <a:lnTo>
                    <a:pt x="379" y="437"/>
                  </a:lnTo>
                  <a:lnTo>
                    <a:pt x="379" y="437"/>
                  </a:lnTo>
                  <a:lnTo>
                    <a:pt x="378" y="438"/>
                  </a:lnTo>
                  <a:lnTo>
                    <a:pt x="375" y="439"/>
                  </a:lnTo>
                  <a:lnTo>
                    <a:pt x="374" y="440"/>
                  </a:lnTo>
                  <a:lnTo>
                    <a:pt x="372" y="440"/>
                  </a:lnTo>
                  <a:lnTo>
                    <a:pt x="372" y="441"/>
                  </a:lnTo>
                  <a:lnTo>
                    <a:pt x="369" y="443"/>
                  </a:lnTo>
                  <a:lnTo>
                    <a:pt x="367" y="444"/>
                  </a:lnTo>
                  <a:lnTo>
                    <a:pt x="366" y="445"/>
                  </a:lnTo>
                  <a:lnTo>
                    <a:pt x="365" y="446"/>
                  </a:lnTo>
                  <a:lnTo>
                    <a:pt x="364" y="446"/>
                  </a:lnTo>
                  <a:lnTo>
                    <a:pt x="363" y="446"/>
                  </a:lnTo>
                  <a:lnTo>
                    <a:pt x="363" y="446"/>
                  </a:lnTo>
                  <a:lnTo>
                    <a:pt x="362" y="447"/>
                  </a:lnTo>
                  <a:lnTo>
                    <a:pt x="361" y="447"/>
                  </a:lnTo>
                  <a:lnTo>
                    <a:pt x="360" y="447"/>
                  </a:lnTo>
                  <a:lnTo>
                    <a:pt x="359" y="447"/>
                  </a:lnTo>
                  <a:lnTo>
                    <a:pt x="358" y="446"/>
                  </a:lnTo>
                  <a:lnTo>
                    <a:pt x="355" y="446"/>
                  </a:lnTo>
                  <a:lnTo>
                    <a:pt x="354" y="446"/>
                  </a:lnTo>
                  <a:lnTo>
                    <a:pt x="353" y="446"/>
                  </a:lnTo>
                  <a:lnTo>
                    <a:pt x="353" y="446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2" y="447"/>
                  </a:lnTo>
                  <a:lnTo>
                    <a:pt x="351" y="451"/>
                  </a:lnTo>
                  <a:lnTo>
                    <a:pt x="351" y="453"/>
                  </a:lnTo>
                  <a:lnTo>
                    <a:pt x="350" y="455"/>
                  </a:lnTo>
                  <a:lnTo>
                    <a:pt x="350" y="458"/>
                  </a:lnTo>
                  <a:lnTo>
                    <a:pt x="350" y="460"/>
                  </a:lnTo>
                  <a:lnTo>
                    <a:pt x="350" y="461"/>
                  </a:lnTo>
                  <a:lnTo>
                    <a:pt x="349" y="464"/>
                  </a:lnTo>
                  <a:lnTo>
                    <a:pt x="349" y="465"/>
                  </a:lnTo>
                  <a:lnTo>
                    <a:pt x="349" y="465"/>
                  </a:lnTo>
                  <a:lnTo>
                    <a:pt x="349" y="466"/>
                  </a:lnTo>
                  <a:lnTo>
                    <a:pt x="349" y="467"/>
                  </a:lnTo>
                  <a:lnTo>
                    <a:pt x="349" y="469"/>
                  </a:lnTo>
                  <a:lnTo>
                    <a:pt x="351" y="471"/>
                  </a:lnTo>
                  <a:lnTo>
                    <a:pt x="351" y="473"/>
                  </a:lnTo>
                  <a:lnTo>
                    <a:pt x="351" y="474"/>
                  </a:lnTo>
                  <a:lnTo>
                    <a:pt x="352" y="478"/>
                  </a:lnTo>
                  <a:lnTo>
                    <a:pt x="352" y="480"/>
                  </a:lnTo>
                  <a:lnTo>
                    <a:pt x="352" y="481"/>
                  </a:lnTo>
                  <a:lnTo>
                    <a:pt x="352" y="482"/>
                  </a:lnTo>
                  <a:lnTo>
                    <a:pt x="352" y="483"/>
                  </a:lnTo>
                  <a:lnTo>
                    <a:pt x="352" y="484"/>
                  </a:lnTo>
                  <a:lnTo>
                    <a:pt x="352" y="485"/>
                  </a:lnTo>
                  <a:lnTo>
                    <a:pt x="352" y="485"/>
                  </a:lnTo>
                  <a:lnTo>
                    <a:pt x="351" y="486"/>
                  </a:lnTo>
                  <a:lnTo>
                    <a:pt x="351" y="487"/>
                  </a:lnTo>
                  <a:lnTo>
                    <a:pt x="351" y="487"/>
                  </a:lnTo>
                  <a:lnTo>
                    <a:pt x="350" y="488"/>
                  </a:lnTo>
                  <a:lnTo>
                    <a:pt x="349" y="488"/>
                  </a:lnTo>
                  <a:lnTo>
                    <a:pt x="348" y="489"/>
                  </a:lnTo>
                  <a:lnTo>
                    <a:pt x="348" y="490"/>
                  </a:lnTo>
                  <a:lnTo>
                    <a:pt x="347" y="490"/>
                  </a:lnTo>
                  <a:lnTo>
                    <a:pt x="345" y="491"/>
                  </a:lnTo>
                  <a:lnTo>
                    <a:pt x="344" y="491"/>
                  </a:lnTo>
                  <a:lnTo>
                    <a:pt x="343" y="492"/>
                  </a:lnTo>
                  <a:lnTo>
                    <a:pt x="343" y="492"/>
                  </a:lnTo>
                  <a:lnTo>
                    <a:pt x="342" y="493"/>
                  </a:lnTo>
                  <a:lnTo>
                    <a:pt x="342" y="493"/>
                  </a:lnTo>
                  <a:lnTo>
                    <a:pt x="341" y="494"/>
                  </a:lnTo>
                  <a:lnTo>
                    <a:pt x="340" y="495"/>
                  </a:lnTo>
                  <a:lnTo>
                    <a:pt x="339" y="496"/>
                  </a:lnTo>
                  <a:lnTo>
                    <a:pt x="338" y="498"/>
                  </a:lnTo>
                  <a:lnTo>
                    <a:pt x="337" y="501"/>
                  </a:lnTo>
                  <a:lnTo>
                    <a:pt x="336" y="502"/>
                  </a:lnTo>
                  <a:lnTo>
                    <a:pt x="336" y="503"/>
                  </a:lnTo>
                  <a:lnTo>
                    <a:pt x="336" y="504"/>
                  </a:lnTo>
                  <a:lnTo>
                    <a:pt x="335" y="506"/>
                  </a:lnTo>
                  <a:lnTo>
                    <a:pt x="335" y="508"/>
                  </a:lnTo>
                  <a:lnTo>
                    <a:pt x="334" y="510"/>
                  </a:lnTo>
                  <a:lnTo>
                    <a:pt x="334" y="511"/>
                  </a:lnTo>
                  <a:lnTo>
                    <a:pt x="334" y="513"/>
                  </a:lnTo>
                  <a:lnTo>
                    <a:pt x="334" y="514"/>
                  </a:lnTo>
                  <a:lnTo>
                    <a:pt x="334" y="516"/>
                  </a:lnTo>
                  <a:lnTo>
                    <a:pt x="334" y="517"/>
                  </a:lnTo>
                  <a:lnTo>
                    <a:pt x="334" y="518"/>
                  </a:lnTo>
                  <a:lnTo>
                    <a:pt x="334" y="519"/>
                  </a:lnTo>
                  <a:lnTo>
                    <a:pt x="334" y="520"/>
                  </a:lnTo>
                  <a:lnTo>
                    <a:pt x="334" y="521"/>
                  </a:lnTo>
                  <a:lnTo>
                    <a:pt x="335" y="522"/>
                  </a:lnTo>
                  <a:lnTo>
                    <a:pt x="336" y="526"/>
                  </a:lnTo>
                  <a:lnTo>
                    <a:pt x="336" y="527"/>
                  </a:lnTo>
                  <a:lnTo>
                    <a:pt x="336" y="527"/>
                  </a:lnTo>
                  <a:lnTo>
                    <a:pt x="336" y="527"/>
                  </a:lnTo>
                  <a:lnTo>
                    <a:pt x="335" y="527"/>
                  </a:lnTo>
                  <a:lnTo>
                    <a:pt x="334" y="526"/>
                  </a:lnTo>
                  <a:lnTo>
                    <a:pt x="334" y="526"/>
                  </a:lnTo>
                  <a:lnTo>
                    <a:pt x="333" y="526"/>
                  </a:lnTo>
                  <a:lnTo>
                    <a:pt x="331" y="527"/>
                  </a:lnTo>
                  <a:lnTo>
                    <a:pt x="331" y="527"/>
                  </a:lnTo>
                  <a:lnTo>
                    <a:pt x="329" y="527"/>
                  </a:lnTo>
                  <a:lnTo>
                    <a:pt x="328" y="528"/>
                  </a:lnTo>
                  <a:lnTo>
                    <a:pt x="328" y="528"/>
                  </a:lnTo>
                  <a:lnTo>
                    <a:pt x="327" y="529"/>
                  </a:lnTo>
                  <a:lnTo>
                    <a:pt x="326" y="529"/>
                  </a:lnTo>
                  <a:lnTo>
                    <a:pt x="325" y="530"/>
                  </a:lnTo>
                  <a:lnTo>
                    <a:pt x="325" y="531"/>
                  </a:lnTo>
                  <a:lnTo>
                    <a:pt x="324" y="531"/>
                  </a:lnTo>
                  <a:lnTo>
                    <a:pt x="324" y="532"/>
                  </a:lnTo>
                  <a:lnTo>
                    <a:pt x="322" y="535"/>
                  </a:lnTo>
                  <a:lnTo>
                    <a:pt x="322" y="535"/>
                  </a:lnTo>
                  <a:lnTo>
                    <a:pt x="322" y="536"/>
                  </a:lnTo>
                  <a:lnTo>
                    <a:pt x="321" y="536"/>
                  </a:lnTo>
                  <a:lnTo>
                    <a:pt x="321" y="536"/>
                  </a:lnTo>
                  <a:lnTo>
                    <a:pt x="321" y="536"/>
                  </a:lnTo>
                  <a:lnTo>
                    <a:pt x="320" y="537"/>
                  </a:lnTo>
                  <a:lnTo>
                    <a:pt x="319" y="537"/>
                  </a:lnTo>
                  <a:lnTo>
                    <a:pt x="318" y="537"/>
                  </a:lnTo>
                  <a:lnTo>
                    <a:pt x="318" y="536"/>
                  </a:lnTo>
                  <a:lnTo>
                    <a:pt x="317" y="536"/>
                  </a:lnTo>
                  <a:lnTo>
                    <a:pt x="317" y="536"/>
                  </a:lnTo>
                  <a:lnTo>
                    <a:pt x="315" y="535"/>
                  </a:lnTo>
                  <a:lnTo>
                    <a:pt x="312" y="533"/>
                  </a:lnTo>
                  <a:lnTo>
                    <a:pt x="311" y="532"/>
                  </a:lnTo>
                  <a:lnTo>
                    <a:pt x="308" y="530"/>
                  </a:lnTo>
                  <a:lnTo>
                    <a:pt x="304" y="527"/>
                  </a:lnTo>
                  <a:lnTo>
                    <a:pt x="302" y="526"/>
                  </a:lnTo>
                  <a:lnTo>
                    <a:pt x="300" y="524"/>
                  </a:lnTo>
                  <a:lnTo>
                    <a:pt x="299" y="523"/>
                  </a:lnTo>
                  <a:lnTo>
                    <a:pt x="298" y="522"/>
                  </a:lnTo>
                  <a:lnTo>
                    <a:pt x="296" y="521"/>
                  </a:lnTo>
                  <a:lnTo>
                    <a:pt x="295" y="520"/>
                  </a:lnTo>
                  <a:lnTo>
                    <a:pt x="295" y="519"/>
                  </a:lnTo>
                  <a:lnTo>
                    <a:pt x="294" y="518"/>
                  </a:lnTo>
                  <a:lnTo>
                    <a:pt x="294" y="517"/>
                  </a:lnTo>
                  <a:lnTo>
                    <a:pt x="293" y="516"/>
                  </a:lnTo>
                  <a:lnTo>
                    <a:pt x="293" y="514"/>
                  </a:lnTo>
                  <a:lnTo>
                    <a:pt x="293" y="513"/>
                  </a:lnTo>
                  <a:lnTo>
                    <a:pt x="292" y="509"/>
                  </a:lnTo>
                  <a:lnTo>
                    <a:pt x="292" y="505"/>
                  </a:lnTo>
                  <a:lnTo>
                    <a:pt x="292" y="501"/>
                  </a:lnTo>
                  <a:lnTo>
                    <a:pt x="291" y="500"/>
                  </a:lnTo>
                  <a:lnTo>
                    <a:pt x="291" y="497"/>
                  </a:lnTo>
                  <a:lnTo>
                    <a:pt x="291" y="496"/>
                  </a:lnTo>
                  <a:lnTo>
                    <a:pt x="290" y="494"/>
                  </a:lnTo>
                  <a:lnTo>
                    <a:pt x="289" y="491"/>
                  </a:lnTo>
                  <a:lnTo>
                    <a:pt x="289" y="489"/>
                  </a:lnTo>
                  <a:lnTo>
                    <a:pt x="289" y="488"/>
                  </a:lnTo>
                  <a:lnTo>
                    <a:pt x="288" y="488"/>
                  </a:lnTo>
                  <a:lnTo>
                    <a:pt x="288" y="487"/>
                  </a:lnTo>
                  <a:lnTo>
                    <a:pt x="287" y="486"/>
                  </a:lnTo>
                  <a:lnTo>
                    <a:pt x="284" y="483"/>
                  </a:lnTo>
                  <a:lnTo>
                    <a:pt x="282" y="480"/>
                  </a:lnTo>
                  <a:lnTo>
                    <a:pt x="279" y="476"/>
                  </a:lnTo>
                  <a:lnTo>
                    <a:pt x="275" y="471"/>
                  </a:lnTo>
                  <a:lnTo>
                    <a:pt x="274" y="470"/>
                  </a:lnTo>
                  <a:lnTo>
                    <a:pt x="272" y="468"/>
                  </a:lnTo>
                  <a:lnTo>
                    <a:pt x="271" y="467"/>
                  </a:lnTo>
                  <a:lnTo>
                    <a:pt x="270" y="466"/>
                  </a:lnTo>
                  <a:lnTo>
                    <a:pt x="269" y="465"/>
                  </a:lnTo>
                  <a:lnTo>
                    <a:pt x="267" y="463"/>
                  </a:lnTo>
                  <a:lnTo>
                    <a:pt x="266" y="462"/>
                  </a:lnTo>
                  <a:lnTo>
                    <a:pt x="265" y="461"/>
                  </a:lnTo>
                  <a:lnTo>
                    <a:pt x="263" y="460"/>
                  </a:lnTo>
                  <a:lnTo>
                    <a:pt x="262" y="459"/>
                  </a:lnTo>
                  <a:lnTo>
                    <a:pt x="260" y="458"/>
                  </a:lnTo>
                  <a:lnTo>
                    <a:pt x="258" y="457"/>
                  </a:lnTo>
                  <a:lnTo>
                    <a:pt x="258" y="457"/>
                  </a:lnTo>
                  <a:lnTo>
                    <a:pt x="256" y="457"/>
                  </a:lnTo>
                  <a:lnTo>
                    <a:pt x="255" y="456"/>
                  </a:lnTo>
                  <a:lnTo>
                    <a:pt x="253" y="456"/>
                  </a:lnTo>
                  <a:lnTo>
                    <a:pt x="252" y="456"/>
                  </a:lnTo>
                  <a:lnTo>
                    <a:pt x="250" y="456"/>
                  </a:lnTo>
                  <a:lnTo>
                    <a:pt x="246" y="456"/>
                  </a:lnTo>
                  <a:lnTo>
                    <a:pt x="243" y="456"/>
                  </a:lnTo>
                  <a:lnTo>
                    <a:pt x="242" y="456"/>
                  </a:lnTo>
                  <a:lnTo>
                    <a:pt x="241" y="456"/>
                  </a:lnTo>
                  <a:lnTo>
                    <a:pt x="240" y="455"/>
                  </a:lnTo>
                  <a:lnTo>
                    <a:pt x="239" y="455"/>
                  </a:lnTo>
                  <a:lnTo>
                    <a:pt x="237" y="454"/>
                  </a:lnTo>
                  <a:lnTo>
                    <a:pt x="236" y="454"/>
                  </a:lnTo>
                  <a:lnTo>
                    <a:pt x="235" y="453"/>
                  </a:lnTo>
                  <a:lnTo>
                    <a:pt x="233" y="452"/>
                  </a:lnTo>
                  <a:lnTo>
                    <a:pt x="231" y="451"/>
                  </a:lnTo>
                  <a:lnTo>
                    <a:pt x="231" y="451"/>
                  </a:lnTo>
                  <a:lnTo>
                    <a:pt x="229" y="449"/>
                  </a:lnTo>
                  <a:lnTo>
                    <a:pt x="228" y="448"/>
                  </a:lnTo>
                  <a:lnTo>
                    <a:pt x="227" y="447"/>
                  </a:lnTo>
                  <a:lnTo>
                    <a:pt x="226" y="446"/>
                  </a:lnTo>
                  <a:lnTo>
                    <a:pt x="226" y="446"/>
                  </a:lnTo>
                  <a:lnTo>
                    <a:pt x="225" y="444"/>
                  </a:lnTo>
                  <a:lnTo>
                    <a:pt x="225" y="443"/>
                  </a:lnTo>
                  <a:lnTo>
                    <a:pt x="224" y="442"/>
                  </a:lnTo>
                  <a:lnTo>
                    <a:pt x="224" y="441"/>
                  </a:lnTo>
                  <a:lnTo>
                    <a:pt x="223" y="436"/>
                  </a:lnTo>
                  <a:lnTo>
                    <a:pt x="223" y="434"/>
                  </a:lnTo>
                  <a:lnTo>
                    <a:pt x="222" y="433"/>
                  </a:lnTo>
                  <a:lnTo>
                    <a:pt x="222" y="432"/>
                  </a:lnTo>
                  <a:lnTo>
                    <a:pt x="222" y="431"/>
                  </a:lnTo>
                  <a:lnTo>
                    <a:pt x="221" y="430"/>
                  </a:lnTo>
                  <a:lnTo>
                    <a:pt x="221" y="430"/>
                  </a:lnTo>
                  <a:lnTo>
                    <a:pt x="220" y="429"/>
                  </a:lnTo>
                  <a:lnTo>
                    <a:pt x="217" y="426"/>
                  </a:lnTo>
                  <a:lnTo>
                    <a:pt x="214" y="422"/>
                  </a:lnTo>
                  <a:lnTo>
                    <a:pt x="209" y="417"/>
                  </a:lnTo>
                  <a:lnTo>
                    <a:pt x="208" y="416"/>
                  </a:lnTo>
                  <a:lnTo>
                    <a:pt x="208" y="416"/>
                  </a:lnTo>
                  <a:lnTo>
                    <a:pt x="207" y="415"/>
                  </a:lnTo>
                  <a:lnTo>
                    <a:pt x="207" y="414"/>
                  </a:lnTo>
                  <a:lnTo>
                    <a:pt x="206" y="413"/>
                  </a:lnTo>
                  <a:lnTo>
                    <a:pt x="205" y="410"/>
                  </a:lnTo>
                  <a:lnTo>
                    <a:pt x="204" y="409"/>
                  </a:lnTo>
                  <a:lnTo>
                    <a:pt x="203" y="407"/>
                  </a:lnTo>
                  <a:lnTo>
                    <a:pt x="201" y="404"/>
                  </a:lnTo>
                  <a:lnTo>
                    <a:pt x="200" y="403"/>
                  </a:lnTo>
                  <a:lnTo>
                    <a:pt x="199" y="402"/>
                  </a:lnTo>
                  <a:lnTo>
                    <a:pt x="197" y="399"/>
                  </a:lnTo>
                  <a:lnTo>
                    <a:pt x="197" y="398"/>
                  </a:lnTo>
                  <a:lnTo>
                    <a:pt x="196" y="397"/>
                  </a:lnTo>
                  <a:lnTo>
                    <a:pt x="196" y="396"/>
                  </a:lnTo>
                  <a:lnTo>
                    <a:pt x="195" y="396"/>
                  </a:lnTo>
                  <a:lnTo>
                    <a:pt x="192" y="393"/>
                  </a:lnTo>
                  <a:lnTo>
                    <a:pt x="191" y="392"/>
                  </a:lnTo>
                  <a:lnTo>
                    <a:pt x="190" y="391"/>
                  </a:lnTo>
                  <a:lnTo>
                    <a:pt x="189" y="389"/>
                  </a:lnTo>
                  <a:lnTo>
                    <a:pt x="188" y="388"/>
                  </a:lnTo>
                  <a:lnTo>
                    <a:pt x="187" y="388"/>
                  </a:lnTo>
                  <a:lnTo>
                    <a:pt x="185" y="385"/>
                  </a:lnTo>
                  <a:lnTo>
                    <a:pt x="184" y="385"/>
                  </a:lnTo>
                  <a:lnTo>
                    <a:pt x="184" y="384"/>
                  </a:lnTo>
                  <a:lnTo>
                    <a:pt x="183" y="383"/>
                  </a:lnTo>
                  <a:lnTo>
                    <a:pt x="183" y="382"/>
                  </a:lnTo>
                  <a:lnTo>
                    <a:pt x="182" y="381"/>
                  </a:lnTo>
                  <a:lnTo>
                    <a:pt x="182" y="380"/>
                  </a:lnTo>
                  <a:lnTo>
                    <a:pt x="182" y="379"/>
                  </a:lnTo>
                  <a:lnTo>
                    <a:pt x="181" y="375"/>
                  </a:lnTo>
                  <a:lnTo>
                    <a:pt x="181" y="373"/>
                  </a:lnTo>
                  <a:lnTo>
                    <a:pt x="181" y="372"/>
                  </a:lnTo>
                  <a:lnTo>
                    <a:pt x="180" y="371"/>
                  </a:lnTo>
                  <a:lnTo>
                    <a:pt x="180" y="370"/>
                  </a:lnTo>
                  <a:lnTo>
                    <a:pt x="179" y="370"/>
                  </a:lnTo>
                  <a:lnTo>
                    <a:pt x="179" y="369"/>
                  </a:lnTo>
                  <a:lnTo>
                    <a:pt x="178" y="368"/>
                  </a:lnTo>
                  <a:lnTo>
                    <a:pt x="176" y="366"/>
                  </a:lnTo>
                  <a:lnTo>
                    <a:pt x="173" y="363"/>
                  </a:lnTo>
                  <a:lnTo>
                    <a:pt x="170" y="359"/>
                  </a:lnTo>
                  <a:lnTo>
                    <a:pt x="168" y="358"/>
                  </a:lnTo>
                  <a:lnTo>
                    <a:pt x="167" y="356"/>
                  </a:lnTo>
                  <a:lnTo>
                    <a:pt x="166" y="355"/>
                  </a:lnTo>
                  <a:lnTo>
                    <a:pt x="164" y="354"/>
                  </a:lnTo>
                  <a:lnTo>
                    <a:pt x="163" y="354"/>
                  </a:lnTo>
                  <a:lnTo>
                    <a:pt x="163" y="353"/>
                  </a:lnTo>
                  <a:lnTo>
                    <a:pt x="161" y="352"/>
                  </a:lnTo>
                  <a:lnTo>
                    <a:pt x="159" y="351"/>
                  </a:lnTo>
                  <a:lnTo>
                    <a:pt x="158" y="351"/>
                  </a:lnTo>
                  <a:lnTo>
                    <a:pt x="157" y="350"/>
                  </a:lnTo>
                  <a:lnTo>
                    <a:pt x="156" y="350"/>
                  </a:lnTo>
                  <a:lnTo>
                    <a:pt x="153" y="349"/>
                  </a:lnTo>
                  <a:lnTo>
                    <a:pt x="151" y="348"/>
                  </a:lnTo>
                  <a:lnTo>
                    <a:pt x="146" y="347"/>
                  </a:lnTo>
                  <a:lnTo>
                    <a:pt x="144" y="347"/>
                  </a:lnTo>
                  <a:lnTo>
                    <a:pt x="142" y="347"/>
                  </a:lnTo>
                  <a:lnTo>
                    <a:pt x="142" y="347"/>
                  </a:lnTo>
                  <a:lnTo>
                    <a:pt x="141" y="347"/>
                  </a:lnTo>
                  <a:lnTo>
                    <a:pt x="141" y="347"/>
                  </a:lnTo>
                  <a:lnTo>
                    <a:pt x="140" y="347"/>
                  </a:lnTo>
                  <a:lnTo>
                    <a:pt x="139" y="348"/>
                  </a:lnTo>
                  <a:lnTo>
                    <a:pt x="139" y="348"/>
                  </a:lnTo>
                  <a:lnTo>
                    <a:pt x="139" y="349"/>
                  </a:lnTo>
                  <a:lnTo>
                    <a:pt x="138" y="350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36" y="351"/>
                  </a:lnTo>
                  <a:lnTo>
                    <a:pt x="135" y="352"/>
                  </a:lnTo>
                  <a:lnTo>
                    <a:pt x="135" y="352"/>
                  </a:lnTo>
                  <a:lnTo>
                    <a:pt x="134" y="351"/>
                  </a:lnTo>
                  <a:lnTo>
                    <a:pt x="133" y="351"/>
                  </a:lnTo>
                  <a:lnTo>
                    <a:pt x="130" y="351"/>
                  </a:lnTo>
                  <a:lnTo>
                    <a:pt x="128" y="350"/>
                  </a:lnTo>
                  <a:lnTo>
                    <a:pt x="126" y="350"/>
                  </a:lnTo>
                  <a:lnTo>
                    <a:pt x="125" y="349"/>
                  </a:lnTo>
                  <a:lnTo>
                    <a:pt x="122" y="349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7" y="349"/>
                  </a:lnTo>
                  <a:lnTo>
                    <a:pt x="115" y="348"/>
                  </a:lnTo>
                  <a:lnTo>
                    <a:pt x="114" y="348"/>
                  </a:lnTo>
                  <a:lnTo>
                    <a:pt x="113" y="347"/>
                  </a:lnTo>
                  <a:lnTo>
                    <a:pt x="111" y="347"/>
                  </a:lnTo>
                  <a:lnTo>
                    <a:pt x="110" y="346"/>
                  </a:lnTo>
                  <a:lnTo>
                    <a:pt x="110" y="346"/>
                  </a:lnTo>
                  <a:lnTo>
                    <a:pt x="109" y="345"/>
                  </a:lnTo>
                  <a:lnTo>
                    <a:pt x="108" y="344"/>
                  </a:lnTo>
                  <a:lnTo>
                    <a:pt x="108" y="343"/>
                  </a:lnTo>
                  <a:lnTo>
                    <a:pt x="107" y="343"/>
                  </a:lnTo>
                  <a:lnTo>
                    <a:pt x="106" y="340"/>
                  </a:lnTo>
                  <a:lnTo>
                    <a:pt x="104" y="336"/>
                  </a:lnTo>
                  <a:lnTo>
                    <a:pt x="103" y="335"/>
                  </a:lnTo>
                  <a:lnTo>
                    <a:pt x="102" y="333"/>
                  </a:lnTo>
                  <a:lnTo>
                    <a:pt x="102" y="332"/>
                  </a:lnTo>
                  <a:lnTo>
                    <a:pt x="101" y="329"/>
                  </a:lnTo>
                  <a:lnTo>
                    <a:pt x="100" y="327"/>
                  </a:lnTo>
                  <a:lnTo>
                    <a:pt x="100" y="326"/>
                  </a:lnTo>
                  <a:lnTo>
                    <a:pt x="99" y="325"/>
                  </a:lnTo>
                  <a:lnTo>
                    <a:pt x="99" y="324"/>
                  </a:lnTo>
                  <a:lnTo>
                    <a:pt x="98" y="322"/>
                  </a:lnTo>
                  <a:lnTo>
                    <a:pt x="97" y="321"/>
                  </a:lnTo>
                  <a:lnTo>
                    <a:pt x="96" y="320"/>
                  </a:lnTo>
                  <a:lnTo>
                    <a:pt x="94" y="318"/>
                  </a:lnTo>
                  <a:lnTo>
                    <a:pt x="93" y="317"/>
                  </a:lnTo>
                  <a:lnTo>
                    <a:pt x="87" y="313"/>
                  </a:lnTo>
                  <a:lnTo>
                    <a:pt x="86" y="312"/>
                  </a:lnTo>
                  <a:lnTo>
                    <a:pt x="85" y="311"/>
                  </a:lnTo>
                  <a:lnTo>
                    <a:pt x="84" y="310"/>
                  </a:lnTo>
                  <a:lnTo>
                    <a:pt x="82" y="310"/>
                  </a:lnTo>
                  <a:lnTo>
                    <a:pt x="79" y="308"/>
                  </a:lnTo>
                  <a:lnTo>
                    <a:pt x="77" y="307"/>
                  </a:lnTo>
                  <a:lnTo>
                    <a:pt x="76" y="307"/>
                  </a:lnTo>
                  <a:lnTo>
                    <a:pt x="75" y="306"/>
                  </a:lnTo>
                  <a:lnTo>
                    <a:pt x="74" y="305"/>
                  </a:lnTo>
                  <a:lnTo>
                    <a:pt x="73" y="304"/>
                  </a:lnTo>
                  <a:lnTo>
                    <a:pt x="73" y="304"/>
                  </a:lnTo>
                  <a:lnTo>
                    <a:pt x="73" y="303"/>
                  </a:lnTo>
                  <a:lnTo>
                    <a:pt x="72" y="303"/>
                  </a:lnTo>
                  <a:lnTo>
                    <a:pt x="72" y="302"/>
                  </a:lnTo>
                  <a:lnTo>
                    <a:pt x="72" y="301"/>
                  </a:lnTo>
                  <a:lnTo>
                    <a:pt x="71" y="300"/>
                  </a:lnTo>
                  <a:lnTo>
                    <a:pt x="71" y="299"/>
                  </a:lnTo>
                  <a:lnTo>
                    <a:pt x="70" y="295"/>
                  </a:lnTo>
                  <a:lnTo>
                    <a:pt x="69" y="293"/>
                  </a:lnTo>
                  <a:lnTo>
                    <a:pt x="68" y="291"/>
                  </a:lnTo>
                  <a:lnTo>
                    <a:pt x="67" y="287"/>
                  </a:lnTo>
                  <a:lnTo>
                    <a:pt x="67" y="286"/>
                  </a:lnTo>
                  <a:lnTo>
                    <a:pt x="67" y="285"/>
                  </a:lnTo>
                  <a:lnTo>
                    <a:pt x="67" y="284"/>
                  </a:lnTo>
                  <a:lnTo>
                    <a:pt x="67" y="283"/>
                  </a:lnTo>
                  <a:lnTo>
                    <a:pt x="67" y="282"/>
                  </a:lnTo>
                  <a:lnTo>
                    <a:pt x="67" y="280"/>
                  </a:lnTo>
                  <a:lnTo>
                    <a:pt x="67" y="278"/>
                  </a:lnTo>
                  <a:lnTo>
                    <a:pt x="67" y="276"/>
                  </a:lnTo>
                  <a:lnTo>
                    <a:pt x="67" y="273"/>
                  </a:lnTo>
                  <a:lnTo>
                    <a:pt x="67" y="270"/>
                  </a:lnTo>
                  <a:lnTo>
                    <a:pt x="67" y="268"/>
                  </a:lnTo>
                  <a:lnTo>
                    <a:pt x="67" y="267"/>
                  </a:lnTo>
                  <a:lnTo>
                    <a:pt x="67" y="266"/>
                  </a:lnTo>
                  <a:lnTo>
                    <a:pt x="67" y="265"/>
                  </a:lnTo>
                  <a:lnTo>
                    <a:pt x="66" y="264"/>
                  </a:lnTo>
                  <a:lnTo>
                    <a:pt x="66" y="263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4" y="261"/>
                  </a:lnTo>
                  <a:lnTo>
                    <a:pt x="62" y="260"/>
                  </a:lnTo>
                  <a:lnTo>
                    <a:pt x="60" y="260"/>
                  </a:lnTo>
                  <a:lnTo>
                    <a:pt x="58" y="259"/>
                  </a:lnTo>
                  <a:lnTo>
                    <a:pt x="57" y="258"/>
                  </a:lnTo>
                  <a:lnTo>
                    <a:pt x="57" y="258"/>
                  </a:lnTo>
                  <a:lnTo>
                    <a:pt x="56" y="257"/>
                  </a:lnTo>
                  <a:lnTo>
                    <a:pt x="55" y="257"/>
                  </a:lnTo>
                  <a:lnTo>
                    <a:pt x="55" y="256"/>
                  </a:lnTo>
                  <a:lnTo>
                    <a:pt x="54" y="255"/>
                  </a:lnTo>
                  <a:lnTo>
                    <a:pt x="53" y="254"/>
                  </a:lnTo>
                  <a:lnTo>
                    <a:pt x="52" y="252"/>
                  </a:lnTo>
                  <a:lnTo>
                    <a:pt x="51" y="250"/>
                  </a:lnTo>
                  <a:lnTo>
                    <a:pt x="50" y="249"/>
                  </a:lnTo>
                  <a:lnTo>
                    <a:pt x="50" y="247"/>
                  </a:lnTo>
                  <a:lnTo>
                    <a:pt x="49" y="246"/>
                  </a:lnTo>
                  <a:lnTo>
                    <a:pt x="49" y="245"/>
                  </a:lnTo>
                  <a:lnTo>
                    <a:pt x="48" y="243"/>
                  </a:lnTo>
                  <a:lnTo>
                    <a:pt x="48" y="242"/>
                  </a:lnTo>
                  <a:lnTo>
                    <a:pt x="48" y="241"/>
                  </a:lnTo>
                  <a:lnTo>
                    <a:pt x="47" y="235"/>
                  </a:lnTo>
                  <a:lnTo>
                    <a:pt x="47" y="234"/>
                  </a:lnTo>
                  <a:lnTo>
                    <a:pt x="47" y="232"/>
                  </a:lnTo>
                  <a:lnTo>
                    <a:pt x="47" y="230"/>
                  </a:lnTo>
                  <a:lnTo>
                    <a:pt x="45" y="226"/>
                  </a:lnTo>
                  <a:lnTo>
                    <a:pt x="45" y="224"/>
                  </a:lnTo>
                  <a:lnTo>
                    <a:pt x="44" y="223"/>
                  </a:lnTo>
                  <a:lnTo>
                    <a:pt x="43" y="222"/>
                  </a:lnTo>
                  <a:lnTo>
                    <a:pt x="43" y="221"/>
                  </a:lnTo>
                  <a:lnTo>
                    <a:pt x="42" y="220"/>
                  </a:lnTo>
                  <a:lnTo>
                    <a:pt x="42" y="219"/>
                  </a:lnTo>
                  <a:lnTo>
                    <a:pt x="41" y="219"/>
                  </a:lnTo>
                  <a:lnTo>
                    <a:pt x="40" y="218"/>
                  </a:lnTo>
                  <a:lnTo>
                    <a:pt x="38" y="217"/>
                  </a:lnTo>
                  <a:lnTo>
                    <a:pt x="38" y="217"/>
                  </a:lnTo>
                  <a:lnTo>
                    <a:pt x="37" y="217"/>
                  </a:lnTo>
                  <a:lnTo>
                    <a:pt x="37" y="216"/>
                  </a:lnTo>
                  <a:lnTo>
                    <a:pt x="36" y="215"/>
                  </a:lnTo>
                  <a:lnTo>
                    <a:pt x="35" y="214"/>
                  </a:lnTo>
                  <a:lnTo>
                    <a:pt x="35" y="213"/>
                  </a:lnTo>
                  <a:lnTo>
                    <a:pt x="34" y="212"/>
                  </a:lnTo>
                  <a:lnTo>
                    <a:pt x="34" y="211"/>
                  </a:lnTo>
                  <a:lnTo>
                    <a:pt x="34" y="209"/>
                  </a:lnTo>
                  <a:lnTo>
                    <a:pt x="34" y="208"/>
                  </a:lnTo>
                  <a:lnTo>
                    <a:pt x="33" y="206"/>
                  </a:lnTo>
                  <a:lnTo>
                    <a:pt x="33" y="206"/>
                  </a:lnTo>
                  <a:lnTo>
                    <a:pt x="33" y="205"/>
                  </a:lnTo>
                  <a:lnTo>
                    <a:pt x="34" y="204"/>
                  </a:lnTo>
                  <a:lnTo>
                    <a:pt x="34" y="202"/>
                  </a:lnTo>
                  <a:lnTo>
                    <a:pt x="34" y="199"/>
                  </a:lnTo>
                  <a:lnTo>
                    <a:pt x="35" y="197"/>
                  </a:lnTo>
                  <a:lnTo>
                    <a:pt x="35" y="196"/>
                  </a:lnTo>
                  <a:lnTo>
                    <a:pt x="35" y="195"/>
                  </a:lnTo>
                  <a:lnTo>
                    <a:pt x="35" y="194"/>
                  </a:lnTo>
                  <a:lnTo>
                    <a:pt x="35" y="193"/>
                  </a:lnTo>
                  <a:lnTo>
                    <a:pt x="34" y="192"/>
                  </a:lnTo>
                  <a:lnTo>
                    <a:pt x="34" y="190"/>
                  </a:lnTo>
                  <a:lnTo>
                    <a:pt x="33" y="189"/>
                  </a:lnTo>
                  <a:lnTo>
                    <a:pt x="33" y="189"/>
                  </a:lnTo>
                  <a:lnTo>
                    <a:pt x="32" y="188"/>
                  </a:lnTo>
                  <a:lnTo>
                    <a:pt x="32" y="188"/>
                  </a:lnTo>
                  <a:lnTo>
                    <a:pt x="31" y="187"/>
                  </a:lnTo>
                  <a:lnTo>
                    <a:pt x="30" y="187"/>
                  </a:lnTo>
                  <a:lnTo>
                    <a:pt x="26" y="185"/>
                  </a:lnTo>
                  <a:lnTo>
                    <a:pt x="25" y="185"/>
                  </a:lnTo>
                  <a:lnTo>
                    <a:pt x="24" y="184"/>
                  </a:lnTo>
                  <a:lnTo>
                    <a:pt x="21" y="183"/>
                  </a:lnTo>
                  <a:lnTo>
                    <a:pt x="17" y="180"/>
                  </a:lnTo>
                  <a:lnTo>
                    <a:pt x="14" y="179"/>
                  </a:lnTo>
                  <a:lnTo>
                    <a:pt x="14" y="178"/>
                  </a:lnTo>
                  <a:lnTo>
                    <a:pt x="13" y="177"/>
                  </a:lnTo>
                  <a:lnTo>
                    <a:pt x="12" y="177"/>
                  </a:lnTo>
                  <a:lnTo>
                    <a:pt x="11" y="176"/>
                  </a:lnTo>
                  <a:lnTo>
                    <a:pt x="10" y="175"/>
                  </a:lnTo>
                  <a:lnTo>
                    <a:pt x="10" y="174"/>
                  </a:lnTo>
                  <a:lnTo>
                    <a:pt x="9" y="174"/>
                  </a:lnTo>
                  <a:lnTo>
                    <a:pt x="8" y="173"/>
                  </a:lnTo>
                  <a:lnTo>
                    <a:pt x="7" y="170"/>
                  </a:lnTo>
                  <a:lnTo>
                    <a:pt x="5" y="167"/>
                  </a:lnTo>
                  <a:lnTo>
                    <a:pt x="3" y="163"/>
                  </a:lnTo>
                  <a:lnTo>
                    <a:pt x="2" y="162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6"/>
                  </a:lnTo>
                  <a:lnTo>
                    <a:pt x="0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6" y="147"/>
                  </a:lnTo>
                  <a:lnTo>
                    <a:pt x="9" y="146"/>
                  </a:lnTo>
                  <a:lnTo>
                    <a:pt x="14" y="143"/>
                  </a:lnTo>
                  <a:lnTo>
                    <a:pt x="15" y="142"/>
                  </a:lnTo>
                  <a:lnTo>
                    <a:pt x="16" y="141"/>
                  </a:lnTo>
                  <a:lnTo>
                    <a:pt x="17" y="140"/>
                  </a:lnTo>
                  <a:lnTo>
                    <a:pt x="18" y="140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9" y="138"/>
                  </a:lnTo>
                  <a:lnTo>
                    <a:pt x="19" y="137"/>
                  </a:lnTo>
                  <a:lnTo>
                    <a:pt x="19" y="136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21" y="128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3" y="119"/>
                  </a:lnTo>
                  <a:lnTo>
                    <a:pt x="24" y="118"/>
                  </a:lnTo>
                  <a:lnTo>
                    <a:pt x="25" y="117"/>
                  </a:lnTo>
                  <a:lnTo>
                    <a:pt x="26" y="116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9" y="112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3" y="106"/>
                  </a:lnTo>
                  <a:lnTo>
                    <a:pt x="34" y="105"/>
                  </a:lnTo>
                  <a:lnTo>
                    <a:pt x="35" y="103"/>
                  </a:lnTo>
                  <a:lnTo>
                    <a:pt x="37" y="98"/>
                  </a:lnTo>
                  <a:lnTo>
                    <a:pt x="38" y="96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2"/>
                  </a:lnTo>
                  <a:lnTo>
                    <a:pt x="44" y="88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2" y="87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89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5" y="86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8" y="84"/>
                  </a:lnTo>
                  <a:lnTo>
                    <a:pt x="69" y="84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8" y="85"/>
                  </a:lnTo>
                  <a:lnTo>
                    <a:pt x="79" y="86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1" y="89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89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7"/>
                  </a:lnTo>
                  <a:lnTo>
                    <a:pt x="86" y="86"/>
                  </a:lnTo>
                  <a:lnTo>
                    <a:pt x="87" y="86"/>
                  </a:lnTo>
                  <a:lnTo>
                    <a:pt x="88" y="85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1" y="77"/>
                  </a:lnTo>
                  <a:lnTo>
                    <a:pt x="103" y="77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9" y="75"/>
                  </a:lnTo>
                  <a:lnTo>
                    <a:pt x="110" y="75"/>
                  </a:lnTo>
                  <a:lnTo>
                    <a:pt x="112" y="75"/>
                  </a:lnTo>
                  <a:lnTo>
                    <a:pt x="113" y="75"/>
                  </a:lnTo>
                  <a:lnTo>
                    <a:pt x="114" y="75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0" y="73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7" y="75"/>
                  </a:lnTo>
                  <a:lnTo>
                    <a:pt x="132" y="76"/>
                  </a:lnTo>
                  <a:lnTo>
                    <a:pt x="133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8"/>
                  </a:lnTo>
                  <a:lnTo>
                    <a:pt x="142" y="78"/>
                  </a:lnTo>
                  <a:lnTo>
                    <a:pt x="144" y="78"/>
                  </a:lnTo>
                  <a:lnTo>
                    <a:pt x="146" y="78"/>
                  </a:lnTo>
                  <a:lnTo>
                    <a:pt x="147" y="78"/>
                  </a:lnTo>
                  <a:lnTo>
                    <a:pt x="148" y="77"/>
                  </a:lnTo>
                  <a:lnTo>
                    <a:pt x="149" y="77"/>
                  </a:lnTo>
                  <a:lnTo>
                    <a:pt x="150" y="78"/>
                  </a:lnTo>
                  <a:lnTo>
                    <a:pt x="151" y="78"/>
                  </a:lnTo>
                  <a:lnTo>
                    <a:pt x="152" y="78"/>
                  </a:lnTo>
                  <a:lnTo>
                    <a:pt x="155" y="79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7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7" y="74"/>
                  </a:lnTo>
                  <a:lnTo>
                    <a:pt x="168" y="73"/>
                  </a:lnTo>
                  <a:lnTo>
                    <a:pt x="168" y="72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70" y="66"/>
                  </a:lnTo>
                  <a:lnTo>
                    <a:pt x="170" y="65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1" y="59"/>
                  </a:lnTo>
                  <a:lnTo>
                    <a:pt x="171" y="58"/>
                  </a:lnTo>
                  <a:lnTo>
                    <a:pt x="172" y="58"/>
                  </a:lnTo>
                  <a:lnTo>
                    <a:pt x="172" y="57"/>
                  </a:lnTo>
                  <a:lnTo>
                    <a:pt x="173" y="57"/>
                  </a:lnTo>
                  <a:lnTo>
                    <a:pt x="174" y="57"/>
                  </a:lnTo>
                  <a:lnTo>
                    <a:pt x="176" y="56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92" y="47"/>
                  </a:lnTo>
                  <a:lnTo>
                    <a:pt x="194" y="45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0" y="42"/>
                  </a:lnTo>
                  <a:lnTo>
                    <a:pt x="200" y="41"/>
                  </a:lnTo>
                  <a:lnTo>
                    <a:pt x="202" y="40"/>
                  </a:lnTo>
                  <a:lnTo>
                    <a:pt x="203" y="38"/>
                  </a:lnTo>
                  <a:lnTo>
                    <a:pt x="205" y="37"/>
                  </a:lnTo>
                  <a:lnTo>
                    <a:pt x="207" y="35"/>
                  </a:lnTo>
                  <a:lnTo>
                    <a:pt x="207" y="34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7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6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2" y="38"/>
                  </a:lnTo>
                  <a:lnTo>
                    <a:pt x="233" y="39"/>
                  </a:lnTo>
                  <a:lnTo>
                    <a:pt x="235" y="41"/>
                  </a:lnTo>
                  <a:lnTo>
                    <a:pt x="236" y="41"/>
                  </a:lnTo>
                  <a:lnTo>
                    <a:pt x="237" y="42"/>
                  </a:lnTo>
                  <a:lnTo>
                    <a:pt x="240" y="44"/>
                  </a:lnTo>
                  <a:lnTo>
                    <a:pt x="241" y="45"/>
                  </a:lnTo>
                  <a:lnTo>
                    <a:pt x="242" y="46"/>
                  </a:lnTo>
                  <a:lnTo>
                    <a:pt x="243" y="46"/>
                  </a:lnTo>
                  <a:lnTo>
                    <a:pt x="244" y="47"/>
                  </a:lnTo>
                  <a:lnTo>
                    <a:pt x="245" y="47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7"/>
                  </a:lnTo>
                  <a:lnTo>
                    <a:pt x="249" y="47"/>
                  </a:lnTo>
                  <a:lnTo>
                    <a:pt x="249" y="46"/>
                  </a:lnTo>
                  <a:lnTo>
                    <a:pt x="250" y="46"/>
                  </a:lnTo>
                  <a:lnTo>
                    <a:pt x="250" y="45"/>
                  </a:lnTo>
                  <a:lnTo>
                    <a:pt x="250" y="44"/>
                  </a:lnTo>
                  <a:lnTo>
                    <a:pt x="250" y="43"/>
                  </a:lnTo>
                  <a:lnTo>
                    <a:pt x="252" y="37"/>
                  </a:lnTo>
                  <a:lnTo>
                    <a:pt x="252" y="36"/>
                  </a:lnTo>
                  <a:lnTo>
                    <a:pt x="252" y="35"/>
                  </a:lnTo>
                  <a:lnTo>
                    <a:pt x="252" y="34"/>
                  </a:lnTo>
                  <a:lnTo>
                    <a:pt x="252" y="32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2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3" y="26"/>
                  </a:lnTo>
                  <a:lnTo>
                    <a:pt x="254" y="26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7" y="25"/>
                  </a:lnTo>
                  <a:lnTo>
                    <a:pt x="259" y="24"/>
                  </a:lnTo>
                  <a:lnTo>
                    <a:pt x="262" y="23"/>
                  </a:lnTo>
                  <a:lnTo>
                    <a:pt x="263" y="23"/>
                  </a:lnTo>
                  <a:lnTo>
                    <a:pt x="264" y="22"/>
                  </a:lnTo>
                  <a:lnTo>
                    <a:pt x="265" y="21"/>
                  </a:lnTo>
                  <a:lnTo>
                    <a:pt x="266" y="21"/>
                  </a:lnTo>
                  <a:lnTo>
                    <a:pt x="267" y="20"/>
                  </a:lnTo>
                  <a:lnTo>
                    <a:pt x="268" y="20"/>
                  </a:lnTo>
                  <a:lnTo>
                    <a:pt x="268" y="19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7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4"/>
                  </a:lnTo>
                  <a:lnTo>
                    <a:pt x="268" y="14"/>
                  </a:lnTo>
                  <a:lnTo>
                    <a:pt x="268" y="12"/>
                  </a:lnTo>
                  <a:lnTo>
                    <a:pt x="267" y="12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0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8" y="7"/>
                  </a:lnTo>
                  <a:lnTo>
                    <a:pt x="268" y="6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70" y="3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6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79" y="0"/>
                  </a:lnTo>
                  <a:lnTo>
                    <a:pt x="279" y="1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Freeform 15">
              <a:extLst>
                <a:ext uri="{FF2B5EF4-FFF2-40B4-BE49-F238E27FC236}">
                  <a16:creationId xmlns:a16="http://schemas.microsoft.com/office/drawing/2014/main" id="{FD35F4A4-176F-DBA6-72E1-808DFF391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" y="3302"/>
              <a:ext cx="419" cy="536"/>
            </a:xfrm>
            <a:custGeom>
              <a:avLst/>
              <a:gdLst>
                <a:gd name="T0" fmla="*/ 277 w 419"/>
                <a:gd name="T1" fmla="*/ 2 h 536"/>
                <a:gd name="T2" fmla="*/ 286 w 419"/>
                <a:gd name="T3" fmla="*/ 11 h 536"/>
                <a:gd name="T4" fmla="*/ 299 w 419"/>
                <a:gd name="T5" fmla="*/ 12 h 536"/>
                <a:gd name="T6" fmla="*/ 294 w 419"/>
                <a:gd name="T7" fmla="*/ 28 h 536"/>
                <a:gd name="T8" fmla="*/ 304 w 419"/>
                <a:gd name="T9" fmla="*/ 32 h 536"/>
                <a:gd name="T10" fmla="*/ 327 w 419"/>
                <a:gd name="T11" fmla="*/ 31 h 536"/>
                <a:gd name="T12" fmla="*/ 326 w 419"/>
                <a:gd name="T13" fmla="*/ 37 h 536"/>
                <a:gd name="T14" fmla="*/ 345 w 419"/>
                <a:gd name="T15" fmla="*/ 51 h 536"/>
                <a:gd name="T16" fmla="*/ 368 w 419"/>
                <a:gd name="T17" fmla="*/ 50 h 536"/>
                <a:gd name="T18" fmla="*/ 390 w 419"/>
                <a:gd name="T19" fmla="*/ 66 h 536"/>
                <a:gd name="T20" fmla="*/ 397 w 419"/>
                <a:gd name="T21" fmla="*/ 76 h 536"/>
                <a:gd name="T22" fmla="*/ 419 w 419"/>
                <a:gd name="T23" fmla="*/ 96 h 536"/>
                <a:gd name="T24" fmla="*/ 413 w 419"/>
                <a:gd name="T25" fmla="*/ 118 h 536"/>
                <a:gd name="T26" fmla="*/ 409 w 419"/>
                <a:gd name="T27" fmla="*/ 145 h 536"/>
                <a:gd name="T28" fmla="*/ 411 w 419"/>
                <a:gd name="T29" fmla="*/ 161 h 536"/>
                <a:gd name="T30" fmla="*/ 400 w 419"/>
                <a:gd name="T31" fmla="*/ 176 h 536"/>
                <a:gd name="T32" fmla="*/ 388 w 419"/>
                <a:gd name="T33" fmla="*/ 175 h 536"/>
                <a:gd name="T34" fmla="*/ 372 w 419"/>
                <a:gd name="T35" fmla="*/ 192 h 536"/>
                <a:gd name="T36" fmla="*/ 383 w 419"/>
                <a:gd name="T37" fmla="*/ 197 h 536"/>
                <a:gd name="T38" fmla="*/ 377 w 419"/>
                <a:gd name="T39" fmla="*/ 204 h 536"/>
                <a:gd name="T40" fmla="*/ 380 w 419"/>
                <a:gd name="T41" fmla="*/ 214 h 536"/>
                <a:gd name="T42" fmla="*/ 380 w 419"/>
                <a:gd name="T43" fmla="*/ 220 h 536"/>
                <a:gd name="T44" fmla="*/ 391 w 419"/>
                <a:gd name="T45" fmla="*/ 225 h 536"/>
                <a:gd name="T46" fmla="*/ 391 w 419"/>
                <a:gd name="T47" fmla="*/ 251 h 536"/>
                <a:gd name="T48" fmla="*/ 398 w 419"/>
                <a:gd name="T49" fmla="*/ 266 h 536"/>
                <a:gd name="T50" fmla="*/ 394 w 419"/>
                <a:gd name="T51" fmla="*/ 283 h 536"/>
                <a:gd name="T52" fmla="*/ 397 w 419"/>
                <a:gd name="T53" fmla="*/ 299 h 536"/>
                <a:gd name="T54" fmla="*/ 397 w 419"/>
                <a:gd name="T55" fmla="*/ 321 h 536"/>
                <a:gd name="T56" fmla="*/ 403 w 419"/>
                <a:gd name="T57" fmla="*/ 345 h 536"/>
                <a:gd name="T58" fmla="*/ 388 w 419"/>
                <a:gd name="T59" fmla="*/ 367 h 536"/>
                <a:gd name="T60" fmla="*/ 383 w 419"/>
                <a:gd name="T61" fmla="*/ 381 h 536"/>
                <a:gd name="T62" fmla="*/ 379 w 419"/>
                <a:gd name="T63" fmla="*/ 389 h 536"/>
                <a:gd name="T64" fmla="*/ 381 w 419"/>
                <a:gd name="T65" fmla="*/ 398 h 536"/>
                <a:gd name="T66" fmla="*/ 376 w 419"/>
                <a:gd name="T67" fmla="*/ 412 h 536"/>
                <a:gd name="T68" fmla="*/ 375 w 419"/>
                <a:gd name="T69" fmla="*/ 427 h 536"/>
                <a:gd name="T70" fmla="*/ 357 w 419"/>
                <a:gd name="T71" fmla="*/ 445 h 536"/>
                <a:gd name="T72" fmla="*/ 343 w 419"/>
                <a:gd name="T73" fmla="*/ 450 h 536"/>
                <a:gd name="T74" fmla="*/ 344 w 419"/>
                <a:gd name="T75" fmla="*/ 480 h 536"/>
                <a:gd name="T76" fmla="*/ 335 w 419"/>
                <a:gd name="T77" fmla="*/ 491 h 536"/>
                <a:gd name="T78" fmla="*/ 326 w 419"/>
                <a:gd name="T79" fmla="*/ 515 h 536"/>
                <a:gd name="T80" fmla="*/ 321 w 419"/>
                <a:gd name="T81" fmla="*/ 526 h 536"/>
                <a:gd name="T82" fmla="*/ 310 w 419"/>
                <a:gd name="T83" fmla="*/ 536 h 536"/>
                <a:gd name="T84" fmla="*/ 286 w 419"/>
                <a:gd name="T85" fmla="*/ 516 h 536"/>
                <a:gd name="T86" fmla="*/ 276 w 419"/>
                <a:gd name="T87" fmla="*/ 482 h 536"/>
                <a:gd name="T88" fmla="*/ 248 w 419"/>
                <a:gd name="T89" fmla="*/ 456 h 536"/>
                <a:gd name="T90" fmla="*/ 221 w 419"/>
                <a:gd name="T91" fmla="*/ 448 h 536"/>
                <a:gd name="T92" fmla="*/ 209 w 419"/>
                <a:gd name="T93" fmla="*/ 425 h 536"/>
                <a:gd name="T94" fmla="*/ 188 w 419"/>
                <a:gd name="T95" fmla="*/ 395 h 536"/>
                <a:gd name="T96" fmla="*/ 173 w 419"/>
                <a:gd name="T97" fmla="*/ 372 h 536"/>
                <a:gd name="T98" fmla="*/ 151 w 419"/>
                <a:gd name="T99" fmla="*/ 350 h 536"/>
                <a:gd name="T100" fmla="*/ 129 w 419"/>
                <a:gd name="T101" fmla="*/ 350 h 536"/>
                <a:gd name="T102" fmla="*/ 106 w 419"/>
                <a:gd name="T103" fmla="*/ 347 h 536"/>
                <a:gd name="T104" fmla="*/ 91 w 419"/>
                <a:gd name="T105" fmla="*/ 324 h 536"/>
                <a:gd name="T106" fmla="*/ 65 w 419"/>
                <a:gd name="T107" fmla="*/ 303 h 536"/>
                <a:gd name="T108" fmla="*/ 59 w 419"/>
                <a:gd name="T109" fmla="*/ 279 h 536"/>
                <a:gd name="T110" fmla="*/ 49 w 419"/>
                <a:gd name="T111" fmla="*/ 257 h 536"/>
                <a:gd name="T112" fmla="*/ 39 w 419"/>
                <a:gd name="T113" fmla="*/ 233 h 536"/>
                <a:gd name="T114" fmla="*/ 27 w 419"/>
                <a:gd name="T115" fmla="*/ 213 h 536"/>
                <a:gd name="T116" fmla="*/ 26 w 419"/>
                <a:gd name="T117" fmla="*/ 191 h 536"/>
                <a:gd name="T118" fmla="*/ 3 w 419"/>
                <a:gd name="T119" fmla="*/ 175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9" h="536">
                  <a:moveTo>
                    <a:pt x="271" y="0"/>
                  </a:moveTo>
                  <a:lnTo>
                    <a:pt x="271" y="0"/>
                  </a:lnTo>
                  <a:lnTo>
                    <a:pt x="271" y="0"/>
                  </a:lnTo>
                  <a:lnTo>
                    <a:pt x="271" y="1"/>
                  </a:lnTo>
                  <a:lnTo>
                    <a:pt x="271" y="3"/>
                  </a:lnTo>
                  <a:lnTo>
                    <a:pt x="271" y="3"/>
                  </a:lnTo>
                  <a:lnTo>
                    <a:pt x="272" y="4"/>
                  </a:lnTo>
                  <a:lnTo>
                    <a:pt x="272" y="4"/>
                  </a:lnTo>
                  <a:lnTo>
                    <a:pt x="272" y="5"/>
                  </a:lnTo>
                  <a:lnTo>
                    <a:pt x="273" y="5"/>
                  </a:lnTo>
                  <a:lnTo>
                    <a:pt x="273" y="5"/>
                  </a:lnTo>
                  <a:lnTo>
                    <a:pt x="274" y="5"/>
                  </a:lnTo>
                  <a:lnTo>
                    <a:pt x="274" y="5"/>
                  </a:lnTo>
                  <a:lnTo>
                    <a:pt x="274" y="5"/>
                  </a:lnTo>
                  <a:lnTo>
                    <a:pt x="275" y="4"/>
                  </a:lnTo>
                  <a:lnTo>
                    <a:pt x="275" y="4"/>
                  </a:lnTo>
                  <a:lnTo>
                    <a:pt x="277" y="2"/>
                  </a:lnTo>
                  <a:lnTo>
                    <a:pt x="277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80" y="0"/>
                  </a:lnTo>
                  <a:lnTo>
                    <a:pt x="280" y="1"/>
                  </a:lnTo>
                  <a:lnTo>
                    <a:pt x="280" y="1"/>
                  </a:lnTo>
                  <a:lnTo>
                    <a:pt x="281" y="2"/>
                  </a:lnTo>
                  <a:lnTo>
                    <a:pt x="281" y="3"/>
                  </a:lnTo>
                  <a:lnTo>
                    <a:pt x="283" y="5"/>
                  </a:lnTo>
                  <a:lnTo>
                    <a:pt x="284" y="6"/>
                  </a:lnTo>
                  <a:lnTo>
                    <a:pt x="284" y="7"/>
                  </a:lnTo>
                  <a:lnTo>
                    <a:pt x="285" y="9"/>
                  </a:lnTo>
                  <a:lnTo>
                    <a:pt x="285" y="10"/>
                  </a:lnTo>
                  <a:lnTo>
                    <a:pt x="285" y="10"/>
                  </a:lnTo>
                  <a:lnTo>
                    <a:pt x="286" y="10"/>
                  </a:lnTo>
                  <a:lnTo>
                    <a:pt x="286" y="11"/>
                  </a:lnTo>
                  <a:lnTo>
                    <a:pt x="286" y="11"/>
                  </a:lnTo>
                  <a:lnTo>
                    <a:pt x="287" y="11"/>
                  </a:lnTo>
                  <a:lnTo>
                    <a:pt x="287" y="11"/>
                  </a:lnTo>
                  <a:lnTo>
                    <a:pt x="288" y="11"/>
                  </a:lnTo>
                  <a:lnTo>
                    <a:pt x="291" y="10"/>
                  </a:lnTo>
                  <a:lnTo>
                    <a:pt x="291" y="10"/>
                  </a:lnTo>
                  <a:lnTo>
                    <a:pt x="291" y="10"/>
                  </a:lnTo>
                  <a:lnTo>
                    <a:pt x="293" y="9"/>
                  </a:lnTo>
                  <a:lnTo>
                    <a:pt x="294" y="8"/>
                  </a:lnTo>
                  <a:lnTo>
                    <a:pt x="294" y="8"/>
                  </a:lnTo>
                  <a:lnTo>
                    <a:pt x="295" y="7"/>
                  </a:lnTo>
                  <a:lnTo>
                    <a:pt x="296" y="6"/>
                  </a:lnTo>
                  <a:lnTo>
                    <a:pt x="296" y="7"/>
                  </a:lnTo>
                  <a:lnTo>
                    <a:pt x="296" y="8"/>
                  </a:lnTo>
                  <a:lnTo>
                    <a:pt x="297" y="9"/>
                  </a:lnTo>
                  <a:lnTo>
                    <a:pt x="298" y="10"/>
                  </a:lnTo>
                  <a:lnTo>
                    <a:pt x="299" y="12"/>
                  </a:lnTo>
                  <a:lnTo>
                    <a:pt x="299" y="13"/>
                  </a:lnTo>
                  <a:lnTo>
                    <a:pt x="300" y="13"/>
                  </a:lnTo>
                  <a:lnTo>
                    <a:pt x="300" y="14"/>
                  </a:lnTo>
                  <a:lnTo>
                    <a:pt x="300" y="15"/>
                  </a:lnTo>
                  <a:lnTo>
                    <a:pt x="300" y="16"/>
                  </a:lnTo>
                  <a:lnTo>
                    <a:pt x="300" y="17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299" y="19"/>
                  </a:lnTo>
                  <a:lnTo>
                    <a:pt x="298" y="21"/>
                  </a:lnTo>
                  <a:lnTo>
                    <a:pt x="297" y="22"/>
                  </a:lnTo>
                  <a:lnTo>
                    <a:pt x="296" y="24"/>
                  </a:lnTo>
                  <a:lnTo>
                    <a:pt x="295" y="26"/>
                  </a:lnTo>
                  <a:lnTo>
                    <a:pt x="295" y="27"/>
                  </a:lnTo>
                  <a:lnTo>
                    <a:pt x="294" y="27"/>
                  </a:lnTo>
                  <a:lnTo>
                    <a:pt x="294" y="28"/>
                  </a:lnTo>
                  <a:lnTo>
                    <a:pt x="294" y="29"/>
                  </a:lnTo>
                  <a:lnTo>
                    <a:pt x="294" y="29"/>
                  </a:lnTo>
                  <a:lnTo>
                    <a:pt x="294" y="30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5" y="32"/>
                  </a:lnTo>
                  <a:lnTo>
                    <a:pt x="295" y="32"/>
                  </a:lnTo>
                  <a:lnTo>
                    <a:pt x="296" y="32"/>
                  </a:lnTo>
                  <a:lnTo>
                    <a:pt x="297" y="32"/>
                  </a:lnTo>
                  <a:lnTo>
                    <a:pt x="300" y="33"/>
                  </a:lnTo>
                  <a:lnTo>
                    <a:pt x="300" y="33"/>
                  </a:lnTo>
                  <a:lnTo>
                    <a:pt x="301" y="33"/>
                  </a:lnTo>
                  <a:lnTo>
                    <a:pt x="301" y="33"/>
                  </a:lnTo>
                  <a:lnTo>
                    <a:pt x="302" y="33"/>
                  </a:lnTo>
                  <a:lnTo>
                    <a:pt x="303" y="33"/>
                  </a:lnTo>
                  <a:lnTo>
                    <a:pt x="304" y="32"/>
                  </a:lnTo>
                  <a:lnTo>
                    <a:pt x="306" y="31"/>
                  </a:lnTo>
                  <a:lnTo>
                    <a:pt x="308" y="31"/>
                  </a:lnTo>
                  <a:lnTo>
                    <a:pt x="309" y="31"/>
                  </a:lnTo>
                  <a:lnTo>
                    <a:pt x="309" y="30"/>
                  </a:lnTo>
                  <a:lnTo>
                    <a:pt x="311" y="30"/>
                  </a:lnTo>
                  <a:lnTo>
                    <a:pt x="313" y="30"/>
                  </a:lnTo>
                  <a:lnTo>
                    <a:pt x="314" y="30"/>
                  </a:lnTo>
                  <a:lnTo>
                    <a:pt x="315" y="31"/>
                  </a:lnTo>
                  <a:lnTo>
                    <a:pt x="318" y="31"/>
                  </a:lnTo>
                  <a:lnTo>
                    <a:pt x="319" y="31"/>
                  </a:lnTo>
                  <a:lnTo>
                    <a:pt x="320" y="31"/>
                  </a:lnTo>
                  <a:lnTo>
                    <a:pt x="320" y="31"/>
                  </a:lnTo>
                  <a:lnTo>
                    <a:pt x="323" y="31"/>
                  </a:lnTo>
                  <a:lnTo>
                    <a:pt x="325" y="31"/>
                  </a:lnTo>
                  <a:lnTo>
                    <a:pt x="326" y="31"/>
                  </a:lnTo>
                  <a:lnTo>
                    <a:pt x="326" y="31"/>
                  </a:lnTo>
                  <a:lnTo>
                    <a:pt x="327" y="31"/>
                  </a:lnTo>
                  <a:lnTo>
                    <a:pt x="328" y="31"/>
                  </a:lnTo>
                  <a:lnTo>
                    <a:pt x="329" y="32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1" y="33"/>
                  </a:lnTo>
                  <a:lnTo>
                    <a:pt x="330" y="34"/>
                  </a:lnTo>
                  <a:lnTo>
                    <a:pt x="330" y="34"/>
                  </a:lnTo>
                  <a:lnTo>
                    <a:pt x="328" y="35"/>
                  </a:lnTo>
                  <a:lnTo>
                    <a:pt x="328" y="35"/>
                  </a:lnTo>
                  <a:lnTo>
                    <a:pt x="327" y="36"/>
                  </a:lnTo>
                  <a:lnTo>
                    <a:pt x="327" y="36"/>
                  </a:lnTo>
                  <a:lnTo>
                    <a:pt x="326" y="36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8"/>
                  </a:lnTo>
                  <a:lnTo>
                    <a:pt x="327" y="38"/>
                  </a:lnTo>
                  <a:lnTo>
                    <a:pt x="327" y="38"/>
                  </a:lnTo>
                  <a:lnTo>
                    <a:pt x="327" y="39"/>
                  </a:lnTo>
                  <a:lnTo>
                    <a:pt x="328" y="40"/>
                  </a:lnTo>
                  <a:lnTo>
                    <a:pt x="329" y="40"/>
                  </a:lnTo>
                  <a:lnTo>
                    <a:pt x="330" y="41"/>
                  </a:lnTo>
                  <a:lnTo>
                    <a:pt x="331" y="42"/>
                  </a:lnTo>
                  <a:lnTo>
                    <a:pt x="334" y="43"/>
                  </a:lnTo>
                  <a:lnTo>
                    <a:pt x="336" y="44"/>
                  </a:lnTo>
                  <a:lnTo>
                    <a:pt x="338" y="46"/>
                  </a:lnTo>
                  <a:lnTo>
                    <a:pt x="341" y="48"/>
                  </a:lnTo>
                  <a:lnTo>
                    <a:pt x="342" y="49"/>
                  </a:lnTo>
                  <a:lnTo>
                    <a:pt x="344" y="50"/>
                  </a:lnTo>
                  <a:lnTo>
                    <a:pt x="344" y="50"/>
                  </a:lnTo>
                  <a:lnTo>
                    <a:pt x="345" y="51"/>
                  </a:lnTo>
                  <a:lnTo>
                    <a:pt x="346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50" y="52"/>
                  </a:lnTo>
                  <a:lnTo>
                    <a:pt x="351" y="52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5" y="52"/>
                  </a:lnTo>
                  <a:lnTo>
                    <a:pt x="357" y="52"/>
                  </a:lnTo>
                  <a:lnTo>
                    <a:pt x="358" y="51"/>
                  </a:lnTo>
                  <a:lnTo>
                    <a:pt x="359" y="51"/>
                  </a:lnTo>
                  <a:lnTo>
                    <a:pt x="362" y="50"/>
                  </a:lnTo>
                  <a:lnTo>
                    <a:pt x="363" y="50"/>
                  </a:lnTo>
                  <a:lnTo>
                    <a:pt x="364" y="50"/>
                  </a:lnTo>
                  <a:lnTo>
                    <a:pt x="366" y="50"/>
                  </a:lnTo>
                  <a:lnTo>
                    <a:pt x="366" y="50"/>
                  </a:lnTo>
                  <a:lnTo>
                    <a:pt x="368" y="50"/>
                  </a:lnTo>
                  <a:lnTo>
                    <a:pt x="368" y="51"/>
                  </a:lnTo>
                  <a:lnTo>
                    <a:pt x="369" y="51"/>
                  </a:lnTo>
                  <a:lnTo>
                    <a:pt x="370" y="51"/>
                  </a:lnTo>
                  <a:lnTo>
                    <a:pt x="370" y="52"/>
                  </a:lnTo>
                  <a:lnTo>
                    <a:pt x="371" y="52"/>
                  </a:lnTo>
                  <a:lnTo>
                    <a:pt x="372" y="53"/>
                  </a:lnTo>
                  <a:lnTo>
                    <a:pt x="374" y="56"/>
                  </a:lnTo>
                  <a:lnTo>
                    <a:pt x="376" y="58"/>
                  </a:lnTo>
                  <a:lnTo>
                    <a:pt x="377" y="59"/>
                  </a:lnTo>
                  <a:lnTo>
                    <a:pt x="379" y="61"/>
                  </a:lnTo>
                  <a:lnTo>
                    <a:pt x="382" y="63"/>
                  </a:lnTo>
                  <a:lnTo>
                    <a:pt x="383" y="64"/>
                  </a:lnTo>
                  <a:lnTo>
                    <a:pt x="384" y="65"/>
                  </a:lnTo>
                  <a:lnTo>
                    <a:pt x="385" y="65"/>
                  </a:lnTo>
                  <a:lnTo>
                    <a:pt x="386" y="65"/>
                  </a:lnTo>
                  <a:lnTo>
                    <a:pt x="389" y="66"/>
                  </a:lnTo>
                  <a:lnTo>
                    <a:pt x="390" y="66"/>
                  </a:lnTo>
                  <a:lnTo>
                    <a:pt x="391" y="66"/>
                  </a:lnTo>
                  <a:lnTo>
                    <a:pt x="392" y="66"/>
                  </a:lnTo>
                  <a:lnTo>
                    <a:pt x="392" y="67"/>
                  </a:lnTo>
                  <a:lnTo>
                    <a:pt x="393" y="67"/>
                  </a:lnTo>
                  <a:lnTo>
                    <a:pt x="394" y="68"/>
                  </a:lnTo>
                  <a:lnTo>
                    <a:pt x="394" y="68"/>
                  </a:lnTo>
                  <a:lnTo>
                    <a:pt x="395" y="69"/>
                  </a:lnTo>
                  <a:lnTo>
                    <a:pt x="395" y="69"/>
                  </a:lnTo>
                  <a:lnTo>
                    <a:pt x="395" y="70"/>
                  </a:lnTo>
                  <a:lnTo>
                    <a:pt x="396" y="71"/>
                  </a:lnTo>
                  <a:lnTo>
                    <a:pt x="396" y="71"/>
                  </a:lnTo>
                  <a:lnTo>
                    <a:pt x="396" y="74"/>
                  </a:lnTo>
                  <a:lnTo>
                    <a:pt x="396" y="75"/>
                  </a:lnTo>
                  <a:lnTo>
                    <a:pt x="397" y="75"/>
                  </a:lnTo>
                  <a:lnTo>
                    <a:pt x="397" y="75"/>
                  </a:lnTo>
                  <a:lnTo>
                    <a:pt x="397" y="76"/>
                  </a:lnTo>
                  <a:lnTo>
                    <a:pt x="397" y="76"/>
                  </a:lnTo>
                  <a:lnTo>
                    <a:pt x="398" y="76"/>
                  </a:lnTo>
                  <a:lnTo>
                    <a:pt x="398" y="76"/>
                  </a:lnTo>
                  <a:lnTo>
                    <a:pt x="401" y="77"/>
                  </a:lnTo>
                  <a:lnTo>
                    <a:pt x="404" y="78"/>
                  </a:lnTo>
                  <a:lnTo>
                    <a:pt x="406" y="78"/>
                  </a:lnTo>
                  <a:lnTo>
                    <a:pt x="407" y="79"/>
                  </a:lnTo>
                  <a:lnTo>
                    <a:pt x="410" y="80"/>
                  </a:lnTo>
                  <a:lnTo>
                    <a:pt x="416" y="84"/>
                  </a:lnTo>
                  <a:lnTo>
                    <a:pt x="417" y="84"/>
                  </a:lnTo>
                  <a:lnTo>
                    <a:pt x="417" y="85"/>
                  </a:lnTo>
                  <a:lnTo>
                    <a:pt x="417" y="85"/>
                  </a:lnTo>
                  <a:lnTo>
                    <a:pt x="418" y="85"/>
                  </a:lnTo>
                  <a:lnTo>
                    <a:pt x="418" y="86"/>
                  </a:lnTo>
                  <a:lnTo>
                    <a:pt x="418" y="86"/>
                  </a:lnTo>
                  <a:lnTo>
                    <a:pt x="418" y="91"/>
                  </a:lnTo>
                  <a:lnTo>
                    <a:pt x="418" y="93"/>
                  </a:lnTo>
                  <a:lnTo>
                    <a:pt x="419" y="96"/>
                  </a:lnTo>
                  <a:lnTo>
                    <a:pt x="419" y="100"/>
                  </a:lnTo>
                  <a:lnTo>
                    <a:pt x="419" y="102"/>
                  </a:lnTo>
                  <a:lnTo>
                    <a:pt x="419" y="106"/>
                  </a:lnTo>
                  <a:lnTo>
                    <a:pt x="419" y="107"/>
                  </a:lnTo>
                  <a:lnTo>
                    <a:pt x="419" y="108"/>
                  </a:lnTo>
                  <a:lnTo>
                    <a:pt x="419" y="108"/>
                  </a:lnTo>
                  <a:lnTo>
                    <a:pt x="419" y="109"/>
                  </a:lnTo>
                  <a:lnTo>
                    <a:pt x="419" y="110"/>
                  </a:lnTo>
                  <a:lnTo>
                    <a:pt x="418" y="110"/>
                  </a:lnTo>
                  <a:lnTo>
                    <a:pt x="418" y="111"/>
                  </a:lnTo>
                  <a:lnTo>
                    <a:pt x="416" y="112"/>
                  </a:lnTo>
                  <a:lnTo>
                    <a:pt x="416" y="113"/>
                  </a:lnTo>
                  <a:lnTo>
                    <a:pt x="415" y="113"/>
                  </a:lnTo>
                  <a:lnTo>
                    <a:pt x="415" y="114"/>
                  </a:lnTo>
                  <a:lnTo>
                    <a:pt x="414" y="115"/>
                  </a:lnTo>
                  <a:lnTo>
                    <a:pt x="414" y="116"/>
                  </a:lnTo>
                  <a:lnTo>
                    <a:pt x="413" y="118"/>
                  </a:lnTo>
                  <a:lnTo>
                    <a:pt x="412" y="121"/>
                  </a:lnTo>
                  <a:lnTo>
                    <a:pt x="412" y="122"/>
                  </a:lnTo>
                  <a:lnTo>
                    <a:pt x="412" y="123"/>
                  </a:lnTo>
                  <a:lnTo>
                    <a:pt x="411" y="128"/>
                  </a:lnTo>
                  <a:lnTo>
                    <a:pt x="411" y="129"/>
                  </a:lnTo>
                  <a:lnTo>
                    <a:pt x="411" y="130"/>
                  </a:lnTo>
                  <a:lnTo>
                    <a:pt x="411" y="133"/>
                  </a:lnTo>
                  <a:lnTo>
                    <a:pt x="411" y="134"/>
                  </a:lnTo>
                  <a:lnTo>
                    <a:pt x="411" y="135"/>
                  </a:lnTo>
                  <a:lnTo>
                    <a:pt x="411" y="136"/>
                  </a:lnTo>
                  <a:lnTo>
                    <a:pt x="411" y="137"/>
                  </a:lnTo>
                  <a:lnTo>
                    <a:pt x="411" y="138"/>
                  </a:lnTo>
                  <a:lnTo>
                    <a:pt x="410" y="140"/>
                  </a:lnTo>
                  <a:lnTo>
                    <a:pt x="409" y="143"/>
                  </a:lnTo>
                  <a:lnTo>
                    <a:pt x="409" y="143"/>
                  </a:lnTo>
                  <a:lnTo>
                    <a:pt x="409" y="144"/>
                  </a:lnTo>
                  <a:lnTo>
                    <a:pt x="409" y="145"/>
                  </a:lnTo>
                  <a:lnTo>
                    <a:pt x="409" y="146"/>
                  </a:lnTo>
                  <a:lnTo>
                    <a:pt x="409" y="147"/>
                  </a:lnTo>
                  <a:lnTo>
                    <a:pt x="409" y="150"/>
                  </a:lnTo>
                  <a:lnTo>
                    <a:pt x="409" y="151"/>
                  </a:lnTo>
                  <a:lnTo>
                    <a:pt x="408" y="152"/>
                  </a:lnTo>
                  <a:lnTo>
                    <a:pt x="408" y="153"/>
                  </a:lnTo>
                  <a:lnTo>
                    <a:pt x="408" y="154"/>
                  </a:lnTo>
                  <a:lnTo>
                    <a:pt x="408" y="155"/>
                  </a:lnTo>
                  <a:lnTo>
                    <a:pt x="407" y="157"/>
                  </a:lnTo>
                  <a:lnTo>
                    <a:pt x="407" y="158"/>
                  </a:lnTo>
                  <a:lnTo>
                    <a:pt x="407" y="159"/>
                  </a:lnTo>
                  <a:lnTo>
                    <a:pt x="408" y="159"/>
                  </a:lnTo>
                  <a:lnTo>
                    <a:pt x="408" y="159"/>
                  </a:lnTo>
                  <a:lnTo>
                    <a:pt x="408" y="159"/>
                  </a:lnTo>
                  <a:lnTo>
                    <a:pt x="410" y="160"/>
                  </a:lnTo>
                  <a:lnTo>
                    <a:pt x="410" y="161"/>
                  </a:lnTo>
                  <a:lnTo>
                    <a:pt x="411" y="161"/>
                  </a:lnTo>
                  <a:lnTo>
                    <a:pt x="411" y="162"/>
                  </a:lnTo>
                  <a:lnTo>
                    <a:pt x="412" y="162"/>
                  </a:lnTo>
                  <a:lnTo>
                    <a:pt x="412" y="163"/>
                  </a:lnTo>
                  <a:lnTo>
                    <a:pt x="412" y="164"/>
                  </a:lnTo>
                  <a:lnTo>
                    <a:pt x="412" y="164"/>
                  </a:lnTo>
                  <a:lnTo>
                    <a:pt x="411" y="165"/>
                  </a:lnTo>
                  <a:lnTo>
                    <a:pt x="411" y="165"/>
                  </a:lnTo>
                  <a:lnTo>
                    <a:pt x="411" y="166"/>
                  </a:lnTo>
                  <a:lnTo>
                    <a:pt x="410" y="166"/>
                  </a:lnTo>
                  <a:lnTo>
                    <a:pt x="409" y="167"/>
                  </a:lnTo>
                  <a:lnTo>
                    <a:pt x="406" y="170"/>
                  </a:lnTo>
                  <a:lnTo>
                    <a:pt x="405" y="171"/>
                  </a:lnTo>
                  <a:lnTo>
                    <a:pt x="404" y="172"/>
                  </a:lnTo>
                  <a:lnTo>
                    <a:pt x="403" y="173"/>
                  </a:lnTo>
                  <a:lnTo>
                    <a:pt x="402" y="175"/>
                  </a:lnTo>
                  <a:lnTo>
                    <a:pt x="401" y="176"/>
                  </a:lnTo>
                  <a:lnTo>
                    <a:pt x="400" y="176"/>
                  </a:lnTo>
                  <a:lnTo>
                    <a:pt x="400" y="177"/>
                  </a:lnTo>
                  <a:lnTo>
                    <a:pt x="399" y="177"/>
                  </a:lnTo>
                  <a:lnTo>
                    <a:pt x="399" y="177"/>
                  </a:lnTo>
                  <a:lnTo>
                    <a:pt x="398" y="178"/>
                  </a:lnTo>
                  <a:lnTo>
                    <a:pt x="398" y="178"/>
                  </a:lnTo>
                  <a:lnTo>
                    <a:pt x="397" y="178"/>
                  </a:lnTo>
                  <a:lnTo>
                    <a:pt x="397" y="178"/>
                  </a:lnTo>
                  <a:lnTo>
                    <a:pt x="396" y="177"/>
                  </a:lnTo>
                  <a:lnTo>
                    <a:pt x="395" y="177"/>
                  </a:lnTo>
                  <a:lnTo>
                    <a:pt x="392" y="175"/>
                  </a:lnTo>
                  <a:lnTo>
                    <a:pt x="392" y="175"/>
                  </a:lnTo>
                  <a:lnTo>
                    <a:pt x="392" y="175"/>
                  </a:lnTo>
                  <a:lnTo>
                    <a:pt x="391" y="175"/>
                  </a:lnTo>
                  <a:lnTo>
                    <a:pt x="390" y="175"/>
                  </a:lnTo>
                  <a:lnTo>
                    <a:pt x="389" y="175"/>
                  </a:lnTo>
                  <a:lnTo>
                    <a:pt x="389" y="175"/>
                  </a:lnTo>
                  <a:lnTo>
                    <a:pt x="388" y="175"/>
                  </a:lnTo>
                  <a:lnTo>
                    <a:pt x="387" y="176"/>
                  </a:lnTo>
                  <a:lnTo>
                    <a:pt x="386" y="176"/>
                  </a:lnTo>
                  <a:lnTo>
                    <a:pt x="384" y="177"/>
                  </a:lnTo>
                  <a:lnTo>
                    <a:pt x="383" y="178"/>
                  </a:lnTo>
                  <a:lnTo>
                    <a:pt x="382" y="178"/>
                  </a:lnTo>
                  <a:lnTo>
                    <a:pt x="381" y="179"/>
                  </a:lnTo>
                  <a:lnTo>
                    <a:pt x="380" y="180"/>
                  </a:lnTo>
                  <a:lnTo>
                    <a:pt x="379" y="181"/>
                  </a:lnTo>
                  <a:lnTo>
                    <a:pt x="378" y="181"/>
                  </a:lnTo>
                  <a:lnTo>
                    <a:pt x="378" y="182"/>
                  </a:lnTo>
                  <a:lnTo>
                    <a:pt x="377" y="184"/>
                  </a:lnTo>
                  <a:lnTo>
                    <a:pt x="374" y="187"/>
                  </a:lnTo>
                  <a:lnTo>
                    <a:pt x="373" y="188"/>
                  </a:lnTo>
                  <a:lnTo>
                    <a:pt x="373" y="189"/>
                  </a:lnTo>
                  <a:lnTo>
                    <a:pt x="373" y="190"/>
                  </a:lnTo>
                  <a:lnTo>
                    <a:pt x="372" y="191"/>
                  </a:lnTo>
                  <a:lnTo>
                    <a:pt x="372" y="192"/>
                  </a:lnTo>
                  <a:lnTo>
                    <a:pt x="372" y="193"/>
                  </a:lnTo>
                  <a:lnTo>
                    <a:pt x="372" y="194"/>
                  </a:lnTo>
                  <a:lnTo>
                    <a:pt x="372" y="194"/>
                  </a:lnTo>
                  <a:lnTo>
                    <a:pt x="372" y="195"/>
                  </a:lnTo>
                  <a:lnTo>
                    <a:pt x="373" y="195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4" y="197"/>
                  </a:lnTo>
                  <a:lnTo>
                    <a:pt x="374" y="197"/>
                  </a:lnTo>
                  <a:lnTo>
                    <a:pt x="375" y="197"/>
                  </a:lnTo>
                  <a:lnTo>
                    <a:pt x="377" y="196"/>
                  </a:lnTo>
                  <a:lnTo>
                    <a:pt x="378" y="196"/>
                  </a:lnTo>
                  <a:lnTo>
                    <a:pt x="379" y="196"/>
                  </a:lnTo>
                  <a:lnTo>
                    <a:pt x="380" y="196"/>
                  </a:lnTo>
                  <a:lnTo>
                    <a:pt x="382" y="196"/>
                  </a:lnTo>
                  <a:lnTo>
                    <a:pt x="383" y="197"/>
                  </a:lnTo>
                  <a:lnTo>
                    <a:pt x="383" y="197"/>
                  </a:lnTo>
                  <a:lnTo>
                    <a:pt x="384" y="197"/>
                  </a:lnTo>
                  <a:lnTo>
                    <a:pt x="384" y="197"/>
                  </a:lnTo>
                  <a:lnTo>
                    <a:pt x="384" y="198"/>
                  </a:lnTo>
                  <a:lnTo>
                    <a:pt x="384" y="198"/>
                  </a:lnTo>
                  <a:lnTo>
                    <a:pt x="385" y="198"/>
                  </a:lnTo>
                  <a:lnTo>
                    <a:pt x="384" y="199"/>
                  </a:lnTo>
                  <a:lnTo>
                    <a:pt x="384" y="199"/>
                  </a:lnTo>
                  <a:lnTo>
                    <a:pt x="384" y="200"/>
                  </a:lnTo>
                  <a:lnTo>
                    <a:pt x="383" y="200"/>
                  </a:lnTo>
                  <a:lnTo>
                    <a:pt x="382" y="201"/>
                  </a:lnTo>
                  <a:lnTo>
                    <a:pt x="378" y="202"/>
                  </a:lnTo>
                  <a:lnTo>
                    <a:pt x="378" y="203"/>
                  </a:lnTo>
                  <a:lnTo>
                    <a:pt x="378" y="203"/>
                  </a:lnTo>
                  <a:lnTo>
                    <a:pt x="378" y="203"/>
                  </a:lnTo>
                  <a:lnTo>
                    <a:pt x="377" y="203"/>
                  </a:lnTo>
                  <a:lnTo>
                    <a:pt x="377" y="204"/>
                  </a:lnTo>
                  <a:lnTo>
                    <a:pt x="377" y="205"/>
                  </a:lnTo>
                  <a:lnTo>
                    <a:pt x="378" y="205"/>
                  </a:lnTo>
                  <a:lnTo>
                    <a:pt x="378" y="206"/>
                  </a:lnTo>
                  <a:lnTo>
                    <a:pt x="378" y="206"/>
                  </a:lnTo>
                  <a:lnTo>
                    <a:pt x="378" y="207"/>
                  </a:lnTo>
                  <a:lnTo>
                    <a:pt x="380" y="208"/>
                  </a:lnTo>
                  <a:lnTo>
                    <a:pt x="380" y="209"/>
                  </a:lnTo>
                  <a:lnTo>
                    <a:pt x="381" y="210"/>
                  </a:lnTo>
                  <a:lnTo>
                    <a:pt x="381" y="210"/>
                  </a:lnTo>
                  <a:lnTo>
                    <a:pt x="382" y="211"/>
                  </a:lnTo>
                  <a:lnTo>
                    <a:pt x="382" y="212"/>
                  </a:lnTo>
                  <a:lnTo>
                    <a:pt x="382" y="212"/>
                  </a:lnTo>
                  <a:lnTo>
                    <a:pt x="381" y="213"/>
                  </a:lnTo>
                  <a:lnTo>
                    <a:pt x="381" y="213"/>
                  </a:lnTo>
                  <a:lnTo>
                    <a:pt x="381" y="213"/>
                  </a:lnTo>
                  <a:lnTo>
                    <a:pt x="380" y="214"/>
                  </a:lnTo>
                  <a:lnTo>
                    <a:pt x="380" y="214"/>
                  </a:lnTo>
                  <a:lnTo>
                    <a:pt x="379" y="214"/>
                  </a:lnTo>
                  <a:lnTo>
                    <a:pt x="378" y="214"/>
                  </a:lnTo>
                  <a:lnTo>
                    <a:pt x="377" y="214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6"/>
                  </a:lnTo>
                  <a:lnTo>
                    <a:pt x="377" y="216"/>
                  </a:lnTo>
                  <a:lnTo>
                    <a:pt x="378" y="217"/>
                  </a:lnTo>
                  <a:lnTo>
                    <a:pt x="379" y="218"/>
                  </a:lnTo>
                  <a:lnTo>
                    <a:pt x="380" y="218"/>
                  </a:lnTo>
                  <a:lnTo>
                    <a:pt x="380" y="218"/>
                  </a:lnTo>
                  <a:lnTo>
                    <a:pt x="380" y="219"/>
                  </a:lnTo>
                  <a:lnTo>
                    <a:pt x="380" y="219"/>
                  </a:lnTo>
                  <a:lnTo>
                    <a:pt x="380" y="220"/>
                  </a:lnTo>
                  <a:lnTo>
                    <a:pt x="380" y="221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1" y="222"/>
                  </a:lnTo>
                  <a:lnTo>
                    <a:pt x="381" y="223"/>
                  </a:lnTo>
                  <a:lnTo>
                    <a:pt x="381" y="223"/>
                  </a:lnTo>
                  <a:lnTo>
                    <a:pt x="382" y="223"/>
                  </a:lnTo>
                  <a:lnTo>
                    <a:pt x="383" y="223"/>
                  </a:lnTo>
                  <a:lnTo>
                    <a:pt x="385" y="223"/>
                  </a:lnTo>
                  <a:lnTo>
                    <a:pt x="386" y="223"/>
                  </a:lnTo>
                  <a:lnTo>
                    <a:pt x="387" y="223"/>
                  </a:lnTo>
                  <a:lnTo>
                    <a:pt x="388" y="223"/>
                  </a:lnTo>
                  <a:lnTo>
                    <a:pt x="389" y="224"/>
                  </a:lnTo>
                  <a:lnTo>
                    <a:pt x="390" y="224"/>
                  </a:lnTo>
                  <a:lnTo>
                    <a:pt x="391" y="225"/>
                  </a:lnTo>
                  <a:lnTo>
                    <a:pt x="392" y="225"/>
                  </a:lnTo>
                  <a:lnTo>
                    <a:pt x="392" y="226"/>
                  </a:lnTo>
                  <a:lnTo>
                    <a:pt x="392" y="226"/>
                  </a:lnTo>
                  <a:lnTo>
                    <a:pt x="393" y="227"/>
                  </a:lnTo>
                  <a:lnTo>
                    <a:pt x="393" y="227"/>
                  </a:lnTo>
                  <a:lnTo>
                    <a:pt x="393" y="228"/>
                  </a:lnTo>
                  <a:lnTo>
                    <a:pt x="393" y="229"/>
                  </a:lnTo>
                  <a:lnTo>
                    <a:pt x="393" y="231"/>
                  </a:lnTo>
                  <a:lnTo>
                    <a:pt x="393" y="233"/>
                  </a:lnTo>
                  <a:lnTo>
                    <a:pt x="393" y="235"/>
                  </a:lnTo>
                  <a:lnTo>
                    <a:pt x="393" y="236"/>
                  </a:lnTo>
                  <a:lnTo>
                    <a:pt x="393" y="238"/>
                  </a:lnTo>
                  <a:lnTo>
                    <a:pt x="392" y="241"/>
                  </a:lnTo>
                  <a:lnTo>
                    <a:pt x="392" y="243"/>
                  </a:lnTo>
                  <a:lnTo>
                    <a:pt x="392" y="245"/>
                  </a:lnTo>
                  <a:lnTo>
                    <a:pt x="391" y="248"/>
                  </a:lnTo>
                  <a:lnTo>
                    <a:pt x="391" y="251"/>
                  </a:lnTo>
                  <a:lnTo>
                    <a:pt x="391" y="252"/>
                  </a:lnTo>
                  <a:lnTo>
                    <a:pt x="391" y="256"/>
                  </a:lnTo>
                  <a:lnTo>
                    <a:pt x="391" y="256"/>
                  </a:lnTo>
                  <a:lnTo>
                    <a:pt x="391" y="257"/>
                  </a:lnTo>
                  <a:lnTo>
                    <a:pt x="391" y="257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3" y="259"/>
                  </a:lnTo>
                  <a:lnTo>
                    <a:pt x="394" y="259"/>
                  </a:lnTo>
                  <a:lnTo>
                    <a:pt x="395" y="260"/>
                  </a:lnTo>
                  <a:lnTo>
                    <a:pt x="396" y="261"/>
                  </a:lnTo>
                  <a:lnTo>
                    <a:pt x="396" y="261"/>
                  </a:lnTo>
                  <a:lnTo>
                    <a:pt x="397" y="262"/>
                  </a:lnTo>
                  <a:lnTo>
                    <a:pt x="397" y="263"/>
                  </a:lnTo>
                  <a:lnTo>
                    <a:pt x="397" y="264"/>
                  </a:lnTo>
                  <a:lnTo>
                    <a:pt x="398" y="266"/>
                  </a:lnTo>
                  <a:lnTo>
                    <a:pt x="398" y="267"/>
                  </a:lnTo>
                  <a:lnTo>
                    <a:pt x="398" y="268"/>
                  </a:lnTo>
                  <a:lnTo>
                    <a:pt x="398" y="269"/>
                  </a:lnTo>
                  <a:lnTo>
                    <a:pt x="398" y="270"/>
                  </a:lnTo>
                  <a:lnTo>
                    <a:pt x="398" y="272"/>
                  </a:lnTo>
                  <a:lnTo>
                    <a:pt x="398" y="273"/>
                  </a:lnTo>
                  <a:lnTo>
                    <a:pt x="398" y="274"/>
                  </a:lnTo>
                  <a:lnTo>
                    <a:pt x="398" y="275"/>
                  </a:lnTo>
                  <a:lnTo>
                    <a:pt x="398" y="275"/>
                  </a:lnTo>
                  <a:lnTo>
                    <a:pt x="397" y="275"/>
                  </a:lnTo>
                  <a:lnTo>
                    <a:pt x="397" y="275"/>
                  </a:lnTo>
                  <a:lnTo>
                    <a:pt x="397" y="275"/>
                  </a:lnTo>
                  <a:lnTo>
                    <a:pt x="396" y="276"/>
                  </a:lnTo>
                  <a:lnTo>
                    <a:pt x="396" y="277"/>
                  </a:lnTo>
                  <a:lnTo>
                    <a:pt x="396" y="277"/>
                  </a:lnTo>
                  <a:lnTo>
                    <a:pt x="395" y="278"/>
                  </a:lnTo>
                  <a:lnTo>
                    <a:pt x="394" y="283"/>
                  </a:lnTo>
                  <a:lnTo>
                    <a:pt x="394" y="284"/>
                  </a:lnTo>
                  <a:lnTo>
                    <a:pt x="394" y="284"/>
                  </a:lnTo>
                  <a:lnTo>
                    <a:pt x="394" y="285"/>
                  </a:lnTo>
                  <a:lnTo>
                    <a:pt x="394" y="285"/>
                  </a:lnTo>
                  <a:lnTo>
                    <a:pt x="394" y="286"/>
                  </a:lnTo>
                  <a:lnTo>
                    <a:pt x="394" y="286"/>
                  </a:lnTo>
                  <a:lnTo>
                    <a:pt x="394" y="287"/>
                  </a:lnTo>
                  <a:lnTo>
                    <a:pt x="395" y="288"/>
                  </a:lnTo>
                  <a:lnTo>
                    <a:pt x="396" y="289"/>
                  </a:lnTo>
                  <a:lnTo>
                    <a:pt x="396" y="289"/>
                  </a:lnTo>
                  <a:lnTo>
                    <a:pt x="396" y="289"/>
                  </a:lnTo>
                  <a:lnTo>
                    <a:pt x="397" y="290"/>
                  </a:lnTo>
                  <a:lnTo>
                    <a:pt x="397" y="292"/>
                  </a:lnTo>
                  <a:lnTo>
                    <a:pt x="397" y="293"/>
                  </a:lnTo>
                  <a:lnTo>
                    <a:pt x="397" y="294"/>
                  </a:lnTo>
                  <a:lnTo>
                    <a:pt x="397" y="298"/>
                  </a:lnTo>
                  <a:lnTo>
                    <a:pt x="397" y="299"/>
                  </a:lnTo>
                  <a:lnTo>
                    <a:pt x="398" y="302"/>
                  </a:lnTo>
                  <a:lnTo>
                    <a:pt x="398" y="303"/>
                  </a:lnTo>
                  <a:lnTo>
                    <a:pt x="399" y="304"/>
                  </a:lnTo>
                  <a:lnTo>
                    <a:pt x="400" y="306"/>
                  </a:lnTo>
                  <a:lnTo>
                    <a:pt x="401" y="308"/>
                  </a:lnTo>
                  <a:lnTo>
                    <a:pt x="401" y="309"/>
                  </a:lnTo>
                  <a:lnTo>
                    <a:pt x="401" y="310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1" y="312"/>
                  </a:lnTo>
                  <a:lnTo>
                    <a:pt x="399" y="315"/>
                  </a:lnTo>
                  <a:lnTo>
                    <a:pt x="398" y="317"/>
                  </a:lnTo>
                  <a:lnTo>
                    <a:pt x="398" y="318"/>
                  </a:lnTo>
                  <a:lnTo>
                    <a:pt x="397" y="319"/>
                  </a:lnTo>
                  <a:lnTo>
                    <a:pt x="397" y="320"/>
                  </a:lnTo>
                  <a:lnTo>
                    <a:pt x="397" y="321"/>
                  </a:lnTo>
                  <a:lnTo>
                    <a:pt x="396" y="324"/>
                  </a:lnTo>
                  <a:lnTo>
                    <a:pt x="396" y="326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7" y="330"/>
                  </a:lnTo>
                  <a:lnTo>
                    <a:pt x="397" y="332"/>
                  </a:lnTo>
                  <a:lnTo>
                    <a:pt x="397" y="333"/>
                  </a:lnTo>
                  <a:lnTo>
                    <a:pt x="399" y="336"/>
                  </a:lnTo>
                  <a:lnTo>
                    <a:pt x="400" y="337"/>
                  </a:lnTo>
                  <a:lnTo>
                    <a:pt x="400" y="338"/>
                  </a:lnTo>
                  <a:lnTo>
                    <a:pt x="402" y="340"/>
                  </a:lnTo>
                  <a:lnTo>
                    <a:pt x="402" y="341"/>
                  </a:lnTo>
                  <a:lnTo>
                    <a:pt x="403" y="341"/>
                  </a:lnTo>
                  <a:lnTo>
                    <a:pt x="403" y="342"/>
                  </a:lnTo>
                  <a:lnTo>
                    <a:pt x="403" y="343"/>
                  </a:lnTo>
                  <a:lnTo>
                    <a:pt x="403" y="344"/>
                  </a:lnTo>
                  <a:lnTo>
                    <a:pt x="403" y="345"/>
                  </a:lnTo>
                  <a:lnTo>
                    <a:pt x="402" y="347"/>
                  </a:lnTo>
                  <a:lnTo>
                    <a:pt x="402" y="348"/>
                  </a:lnTo>
                  <a:lnTo>
                    <a:pt x="402" y="349"/>
                  </a:lnTo>
                  <a:lnTo>
                    <a:pt x="401" y="350"/>
                  </a:lnTo>
                  <a:lnTo>
                    <a:pt x="400" y="352"/>
                  </a:lnTo>
                  <a:lnTo>
                    <a:pt x="399" y="353"/>
                  </a:lnTo>
                  <a:lnTo>
                    <a:pt x="398" y="355"/>
                  </a:lnTo>
                  <a:lnTo>
                    <a:pt x="397" y="357"/>
                  </a:lnTo>
                  <a:lnTo>
                    <a:pt x="397" y="359"/>
                  </a:lnTo>
                  <a:lnTo>
                    <a:pt x="396" y="360"/>
                  </a:lnTo>
                  <a:lnTo>
                    <a:pt x="396" y="361"/>
                  </a:lnTo>
                  <a:lnTo>
                    <a:pt x="395" y="361"/>
                  </a:lnTo>
                  <a:lnTo>
                    <a:pt x="395" y="362"/>
                  </a:lnTo>
                  <a:lnTo>
                    <a:pt x="392" y="364"/>
                  </a:lnTo>
                  <a:lnTo>
                    <a:pt x="390" y="366"/>
                  </a:lnTo>
                  <a:lnTo>
                    <a:pt x="388" y="366"/>
                  </a:lnTo>
                  <a:lnTo>
                    <a:pt x="388" y="367"/>
                  </a:lnTo>
                  <a:lnTo>
                    <a:pt x="386" y="369"/>
                  </a:lnTo>
                  <a:lnTo>
                    <a:pt x="385" y="370"/>
                  </a:lnTo>
                  <a:lnTo>
                    <a:pt x="385" y="370"/>
                  </a:lnTo>
                  <a:lnTo>
                    <a:pt x="385" y="371"/>
                  </a:lnTo>
                  <a:lnTo>
                    <a:pt x="385" y="372"/>
                  </a:lnTo>
                  <a:lnTo>
                    <a:pt x="384" y="373"/>
                  </a:lnTo>
                  <a:lnTo>
                    <a:pt x="384" y="374"/>
                  </a:lnTo>
                  <a:lnTo>
                    <a:pt x="384" y="375"/>
                  </a:lnTo>
                  <a:lnTo>
                    <a:pt x="384" y="376"/>
                  </a:lnTo>
                  <a:lnTo>
                    <a:pt x="385" y="377"/>
                  </a:lnTo>
                  <a:lnTo>
                    <a:pt x="385" y="378"/>
                  </a:lnTo>
                  <a:lnTo>
                    <a:pt x="385" y="378"/>
                  </a:lnTo>
                  <a:lnTo>
                    <a:pt x="385" y="379"/>
                  </a:lnTo>
                  <a:lnTo>
                    <a:pt x="384" y="380"/>
                  </a:lnTo>
                  <a:lnTo>
                    <a:pt x="384" y="380"/>
                  </a:lnTo>
                  <a:lnTo>
                    <a:pt x="384" y="381"/>
                  </a:lnTo>
                  <a:lnTo>
                    <a:pt x="383" y="381"/>
                  </a:lnTo>
                  <a:lnTo>
                    <a:pt x="383" y="382"/>
                  </a:lnTo>
                  <a:lnTo>
                    <a:pt x="383" y="382"/>
                  </a:lnTo>
                  <a:lnTo>
                    <a:pt x="382" y="382"/>
                  </a:lnTo>
                  <a:lnTo>
                    <a:pt x="382" y="383"/>
                  </a:lnTo>
                  <a:lnTo>
                    <a:pt x="380" y="384"/>
                  </a:lnTo>
                  <a:lnTo>
                    <a:pt x="379" y="384"/>
                  </a:lnTo>
                  <a:lnTo>
                    <a:pt x="379" y="384"/>
                  </a:lnTo>
                  <a:lnTo>
                    <a:pt x="379" y="385"/>
                  </a:lnTo>
                  <a:lnTo>
                    <a:pt x="378" y="385"/>
                  </a:lnTo>
                  <a:lnTo>
                    <a:pt x="378" y="385"/>
                  </a:lnTo>
                  <a:lnTo>
                    <a:pt x="378" y="386"/>
                  </a:lnTo>
                  <a:lnTo>
                    <a:pt x="378" y="386"/>
                  </a:lnTo>
                  <a:lnTo>
                    <a:pt x="378" y="387"/>
                  </a:lnTo>
                  <a:lnTo>
                    <a:pt x="378" y="387"/>
                  </a:lnTo>
                  <a:lnTo>
                    <a:pt x="378" y="388"/>
                  </a:lnTo>
                  <a:lnTo>
                    <a:pt x="378" y="389"/>
                  </a:lnTo>
                  <a:lnTo>
                    <a:pt x="379" y="389"/>
                  </a:lnTo>
                  <a:lnTo>
                    <a:pt x="379" y="390"/>
                  </a:lnTo>
                  <a:lnTo>
                    <a:pt x="379" y="390"/>
                  </a:lnTo>
                  <a:lnTo>
                    <a:pt x="380" y="391"/>
                  </a:lnTo>
                  <a:lnTo>
                    <a:pt x="380" y="392"/>
                  </a:lnTo>
                  <a:lnTo>
                    <a:pt x="381" y="392"/>
                  </a:lnTo>
                  <a:lnTo>
                    <a:pt x="383" y="393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5"/>
                  </a:lnTo>
                  <a:lnTo>
                    <a:pt x="383" y="396"/>
                  </a:lnTo>
                  <a:lnTo>
                    <a:pt x="383" y="397"/>
                  </a:lnTo>
                  <a:lnTo>
                    <a:pt x="382" y="397"/>
                  </a:lnTo>
                  <a:lnTo>
                    <a:pt x="382" y="398"/>
                  </a:lnTo>
                  <a:lnTo>
                    <a:pt x="382" y="398"/>
                  </a:lnTo>
                  <a:lnTo>
                    <a:pt x="381" y="398"/>
                  </a:lnTo>
                  <a:lnTo>
                    <a:pt x="381" y="399"/>
                  </a:lnTo>
                  <a:lnTo>
                    <a:pt x="379" y="399"/>
                  </a:lnTo>
                  <a:lnTo>
                    <a:pt x="379" y="400"/>
                  </a:lnTo>
                  <a:lnTo>
                    <a:pt x="378" y="400"/>
                  </a:lnTo>
                  <a:lnTo>
                    <a:pt x="377" y="402"/>
                  </a:lnTo>
                  <a:lnTo>
                    <a:pt x="376" y="403"/>
                  </a:lnTo>
                  <a:lnTo>
                    <a:pt x="375" y="403"/>
                  </a:lnTo>
                  <a:lnTo>
                    <a:pt x="375" y="404"/>
                  </a:lnTo>
                  <a:lnTo>
                    <a:pt x="375" y="405"/>
                  </a:lnTo>
                  <a:lnTo>
                    <a:pt x="374" y="405"/>
                  </a:lnTo>
                  <a:lnTo>
                    <a:pt x="374" y="406"/>
                  </a:lnTo>
                  <a:lnTo>
                    <a:pt x="374" y="407"/>
                  </a:lnTo>
                  <a:lnTo>
                    <a:pt x="374" y="407"/>
                  </a:lnTo>
                  <a:lnTo>
                    <a:pt x="374" y="408"/>
                  </a:lnTo>
                  <a:lnTo>
                    <a:pt x="374" y="409"/>
                  </a:lnTo>
                  <a:lnTo>
                    <a:pt x="375" y="410"/>
                  </a:lnTo>
                  <a:lnTo>
                    <a:pt x="376" y="412"/>
                  </a:lnTo>
                  <a:lnTo>
                    <a:pt x="376" y="413"/>
                  </a:lnTo>
                  <a:lnTo>
                    <a:pt x="378" y="415"/>
                  </a:lnTo>
                  <a:lnTo>
                    <a:pt x="378" y="416"/>
                  </a:lnTo>
                  <a:lnTo>
                    <a:pt x="378" y="416"/>
                  </a:lnTo>
                  <a:lnTo>
                    <a:pt x="379" y="417"/>
                  </a:lnTo>
                  <a:lnTo>
                    <a:pt x="379" y="418"/>
                  </a:lnTo>
                  <a:lnTo>
                    <a:pt x="379" y="419"/>
                  </a:lnTo>
                  <a:lnTo>
                    <a:pt x="379" y="420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2"/>
                  </a:lnTo>
                  <a:lnTo>
                    <a:pt x="378" y="423"/>
                  </a:lnTo>
                  <a:lnTo>
                    <a:pt x="377" y="424"/>
                  </a:lnTo>
                  <a:lnTo>
                    <a:pt x="376" y="425"/>
                  </a:lnTo>
                  <a:lnTo>
                    <a:pt x="375" y="426"/>
                  </a:lnTo>
                  <a:lnTo>
                    <a:pt x="375" y="427"/>
                  </a:lnTo>
                  <a:lnTo>
                    <a:pt x="374" y="428"/>
                  </a:lnTo>
                  <a:lnTo>
                    <a:pt x="374" y="429"/>
                  </a:lnTo>
                  <a:lnTo>
                    <a:pt x="373" y="432"/>
                  </a:lnTo>
                  <a:lnTo>
                    <a:pt x="372" y="435"/>
                  </a:lnTo>
                  <a:lnTo>
                    <a:pt x="372" y="436"/>
                  </a:lnTo>
                  <a:lnTo>
                    <a:pt x="371" y="436"/>
                  </a:lnTo>
                  <a:lnTo>
                    <a:pt x="371" y="436"/>
                  </a:lnTo>
                  <a:lnTo>
                    <a:pt x="371" y="436"/>
                  </a:lnTo>
                  <a:lnTo>
                    <a:pt x="370" y="437"/>
                  </a:lnTo>
                  <a:lnTo>
                    <a:pt x="367" y="438"/>
                  </a:lnTo>
                  <a:lnTo>
                    <a:pt x="366" y="439"/>
                  </a:lnTo>
                  <a:lnTo>
                    <a:pt x="364" y="439"/>
                  </a:lnTo>
                  <a:lnTo>
                    <a:pt x="364" y="440"/>
                  </a:lnTo>
                  <a:lnTo>
                    <a:pt x="361" y="442"/>
                  </a:lnTo>
                  <a:lnTo>
                    <a:pt x="359" y="443"/>
                  </a:lnTo>
                  <a:lnTo>
                    <a:pt x="358" y="444"/>
                  </a:lnTo>
                  <a:lnTo>
                    <a:pt x="357" y="445"/>
                  </a:lnTo>
                  <a:lnTo>
                    <a:pt x="356" y="445"/>
                  </a:lnTo>
                  <a:lnTo>
                    <a:pt x="355" y="445"/>
                  </a:lnTo>
                  <a:lnTo>
                    <a:pt x="355" y="445"/>
                  </a:lnTo>
                  <a:lnTo>
                    <a:pt x="354" y="446"/>
                  </a:lnTo>
                  <a:lnTo>
                    <a:pt x="353" y="446"/>
                  </a:lnTo>
                  <a:lnTo>
                    <a:pt x="352" y="446"/>
                  </a:lnTo>
                  <a:lnTo>
                    <a:pt x="351" y="446"/>
                  </a:lnTo>
                  <a:lnTo>
                    <a:pt x="350" y="445"/>
                  </a:lnTo>
                  <a:lnTo>
                    <a:pt x="347" y="445"/>
                  </a:lnTo>
                  <a:lnTo>
                    <a:pt x="346" y="445"/>
                  </a:lnTo>
                  <a:lnTo>
                    <a:pt x="345" y="445"/>
                  </a:lnTo>
                  <a:lnTo>
                    <a:pt x="345" y="445"/>
                  </a:lnTo>
                  <a:lnTo>
                    <a:pt x="344" y="445"/>
                  </a:lnTo>
                  <a:lnTo>
                    <a:pt x="344" y="445"/>
                  </a:lnTo>
                  <a:lnTo>
                    <a:pt x="344" y="445"/>
                  </a:lnTo>
                  <a:lnTo>
                    <a:pt x="344" y="446"/>
                  </a:lnTo>
                  <a:lnTo>
                    <a:pt x="343" y="450"/>
                  </a:lnTo>
                  <a:lnTo>
                    <a:pt x="343" y="452"/>
                  </a:lnTo>
                  <a:lnTo>
                    <a:pt x="342" y="454"/>
                  </a:lnTo>
                  <a:lnTo>
                    <a:pt x="342" y="457"/>
                  </a:lnTo>
                  <a:lnTo>
                    <a:pt x="342" y="459"/>
                  </a:lnTo>
                  <a:lnTo>
                    <a:pt x="342" y="460"/>
                  </a:lnTo>
                  <a:lnTo>
                    <a:pt x="341" y="463"/>
                  </a:lnTo>
                  <a:lnTo>
                    <a:pt x="341" y="464"/>
                  </a:lnTo>
                  <a:lnTo>
                    <a:pt x="341" y="464"/>
                  </a:lnTo>
                  <a:lnTo>
                    <a:pt x="341" y="465"/>
                  </a:lnTo>
                  <a:lnTo>
                    <a:pt x="341" y="466"/>
                  </a:lnTo>
                  <a:lnTo>
                    <a:pt x="341" y="468"/>
                  </a:lnTo>
                  <a:lnTo>
                    <a:pt x="343" y="470"/>
                  </a:lnTo>
                  <a:lnTo>
                    <a:pt x="343" y="472"/>
                  </a:lnTo>
                  <a:lnTo>
                    <a:pt x="343" y="473"/>
                  </a:lnTo>
                  <a:lnTo>
                    <a:pt x="344" y="477"/>
                  </a:lnTo>
                  <a:lnTo>
                    <a:pt x="344" y="479"/>
                  </a:lnTo>
                  <a:lnTo>
                    <a:pt x="344" y="480"/>
                  </a:lnTo>
                  <a:lnTo>
                    <a:pt x="344" y="481"/>
                  </a:lnTo>
                  <a:lnTo>
                    <a:pt x="344" y="482"/>
                  </a:lnTo>
                  <a:lnTo>
                    <a:pt x="344" y="483"/>
                  </a:lnTo>
                  <a:lnTo>
                    <a:pt x="344" y="484"/>
                  </a:lnTo>
                  <a:lnTo>
                    <a:pt x="344" y="484"/>
                  </a:lnTo>
                  <a:lnTo>
                    <a:pt x="343" y="485"/>
                  </a:lnTo>
                  <a:lnTo>
                    <a:pt x="343" y="486"/>
                  </a:lnTo>
                  <a:lnTo>
                    <a:pt x="343" y="486"/>
                  </a:lnTo>
                  <a:lnTo>
                    <a:pt x="342" y="487"/>
                  </a:lnTo>
                  <a:lnTo>
                    <a:pt x="341" y="487"/>
                  </a:lnTo>
                  <a:lnTo>
                    <a:pt x="340" y="488"/>
                  </a:lnTo>
                  <a:lnTo>
                    <a:pt x="340" y="489"/>
                  </a:lnTo>
                  <a:lnTo>
                    <a:pt x="339" y="489"/>
                  </a:lnTo>
                  <a:lnTo>
                    <a:pt x="337" y="490"/>
                  </a:lnTo>
                  <a:lnTo>
                    <a:pt x="336" y="490"/>
                  </a:lnTo>
                  <a:lnTo>
                    <a:pt x="335" y="491"/>
                  </a:lnTo>
                  <a:lnTo>
                    <a:pt x="335" y="491"/>
                  </a:lnTo>
                  <a:lnTo>
                    <a:pt x="334" y="492"/>
                  </a:lnTo>
                  <a:lnTo>
                    <a:pt x="334" y="492"/>
                  </a:lnTo>
                  <a:lnTo>
                    <a:pt x="333" y="493"/>
                  </a:lnTo>
                  <a:lnTo>
                    <a:pt x="332" y="494"/>
                  </a:lnTo>
                  <a:lnTo>
                    <a:pt x="331" y="495"/>
                  </a:lnTo>
                  <a:lnTo>
                    <a:pt x="330" y="497"/>
                  </a:lnTo>
                  <a:lnTo>
                    <a:pt x="329" y="500"/>
                  </a:lnTo>
                  <a:lnTo>
                    <a:pt x="328" y="501"/>
                  </a:lnTo>
                  <a:lnTo>
                    <a:pt x="328" y="502"/>
                  </a:lnTo>
                  <a:lnTo>
                    <a:pt x="328" y="503"/>
                  </a:lnTo>
                  <a:lnTo>
                    <a:pt x="327" y="505"/>
                  </a:lnTo>
                  <a:lnTo>
                    <a:pt x="327" y="507"/>
                  </a:lnTo>
                  <a:lnTo>
                    <a:pt x="326" y="509"/>
                  </a:lnTo>
                  <a:lnTo>
                    <a:pt x="326" y="510"/>
                  </a:lnTo>
                  <a:lnTo>
                    <a:pt x="326" y="512"/>
                  </a:lnTo>
                  <a:lnTo>
                    <a:pt x="326" y="513"/>
                  </a:lnTo>
                  <a:lnTo>
                    <a:pt x="326" y="515"/>
                  </a:lnTo>
                  <a:lnTo>
                    <a:pt x="326" y="516"/>
                  </a:lnTo>
                  <a:lnTo>
                    <a:pt x="326" y="517"/>
                  </a:lnTo>
                  <a:lnTo>
                    <a:pt x="326" y="518"/>
                  </a:lnTo>
                  <a:lnTo>
                    <a:pt x="326" y="519"/>
                  </a:lnTo>
                  <a:lnTo>
                    <a:pt x="326" y="520"/>
                  </a:lnTo>
                  <a:lnTo>
                    <a:pt x="327" y="521"/>
                  </a:lnTo>
                  <a:lnTo>
                    <a:pt x="328" y="525"/>
                  </a:lnTo>
                  <a:lnTo>
                    <a:pt x="328" y="526"/>
                  </a:lnTo>
                  <a:lnTo>
                    <a:pt x="328" y="526"/>
                  </a:lnTo>
                  <a:lnTo>
                    <a:pt x="328" y="526"/>
                  </a:lnTo>
                  <a:lnTo>
                    <a:pt x="327" y="526"/>
                  </a:lnTo>
                  <a:lnTo>
                    <a:pt x="326" y="525"/>
                  </a:lnTo>
                  <a:lnTo>
                    <a:pt x="326" y="525"/>
                  </a:lnTo>
                  <a:lnTo>
                    <a:pt x="325" y="525"/>
                  </a:lnTo>
                  <a:lnTo>
                    <a:pt x="323" y="526"/>
                  </a:lnTo>
                  <a:lnTo>
                    <a:pt x="323" y="526"/>
                  </a:lnTo>
                  <a:lnTo>
                    <a:pt x="321" y="526"/>
                  </a:lnTo>
                  <a:lnTo>
                    <a:pt x="320" y="527"/>
                  </a:lnTo>
                  <a:lnTo>
                    <a:pt x="320" y="527"/>
                  </a:lnTo>
                  <a:lnTo>
                    <a:pt x="319" y="528"/>
                  </a:lnTo>
                  <a:lnTo>
                    <a:pt x="318" y="528"/>
                  </a:lnTo>
                  <a:lnTo>
                    <a:pt x="317" y="529"/>
                  </a:lnTo>
                  <a:lnTo>
                    <a:pt x="317" y="530"/>
                  </a:lnTo>
                  <a:lnTo>
                    <a:pt x="316" y="530"/>
                  </a:lnTo>
                  <a:lnTo>
                    <a:pt x="316" y="531"/>
                  </a:lnTo>
                  <a:lnTo>
                    <a:pt x="314" y="534"/>
                  </a:lnTo>
                  <a:lnTo>
                    <a:pt x="314" y="534"/>
                  </a:lnTo>
                  <a:lnTo>
                    <a:pt x="314" y="535"/>
                  </a:lnTo>
                  <a:lnTo>
                    <a:pt x="313" y="535"/>
                  </a:lnTo>
                  <a:lnTo>
                    <a:pt x="313" y="535"/>
                  </a:lnTo>
                  <a:lnTo>
                    <a:pt x="313" y="535"/>
                  </a:lnTo>
                  <a:lnTo>
                    <a:pt x="312" y="536"/>
                  </a:lnTo>
                  <a:lnTo>
                    <a:pt x="311" y="536"/>
                  </a:lnTo>
                  <a:lnTo>
                    <a:pt x="310" y="536"/>
                  </a:lnTo>
                  <a:lnTo>
                    <a:pt x="310" y="535"/>
                  </a:lnTo>
                  <a:lnTo>
                    <a:pt x="309" y="535"/>
                  </a:lnTo>
                  <a:lnTo>
                    <a:pt x="309" y="535"/>
                  </a:lnTo>
                  <a:lnTo>
                    <a:pt x="307" y="534"/>
                  </a:lnTo>
                  <a:lnTo>
                    <a:pt x="304" y="532"/>
                  </a:lnTo>
                  <a:lnTo>
                    <a:pt x="303" y="531"/>
                  </a:lnTo>
                  <a:lnTo>
                    <a:pt x="300" y="529"/>
                  </a:lnTo>
                  <a:lnTo>
                    <a:pt x="296" y="526"/>
                  </a:lnTo>
                  <a:lnTo>
                    <a:pt x="294" y="525"/>
                  </a:lnTo>
                  <a:lnTo>
                    <a:pt x="292" y="523"/>
                  </a:lnTo>
                  <a:lnTo>
                    <a:pt x="291" y="522"/>
                  </a:lnTo>
                  <a:lnTo>
                    <a:pt x="290" y="521"/>
                  </a:lnTo>
                  <a:lnTo>
                    <a:pt x="288" y="520"/>
                  </a:lnTo>
                  <a:lnTo>
                    <a:pt x="287" y="519"/>
                  </a:lnTo>
                  <a:lnTo>
                    <a:pt x="287" y="518"/>
                  </a:lnTo>
                  <a:lnTo>
                    <a:pt x="286" y="517"/>
                  </a:lnTo>
                  <a:lnTo>
                    <a:pt x="286" y="516"/>
                  </a:lnTo>
                  <a:lnTo>
                    <a:pt x="285" y="515"/>
                  </a:lnTo>
                  <a:lnTo>
                    <a:pt x="285" y="513"/>
                  </a:lnTo>
                  <a:lnTo>
                    <a:pt x="285" y="512"/>
                  </a:lnTo>
                  <a:lnTo>
                    <a:pt x="284" y="508"/>
                  </a:lnTo>
                  <a:lnTo>
                    <a:pt x="284" y="504"/>
                  </a:lnTo>
                  <a:lnTo>
                    <a:pt x="284" y="500"/>
                  </a:lnTo>
                  <a:lnTo>
                    <a:pt x="283" y="499"/>
                  </a:lnTo>
                  <a:lnTo>
                    <a:pt x="283" y="496"/>
                  </a:lnTo>
                  <a:lnTo>
                    <a:pt x="283" y="495"/>
                  </a:lnTo>
                  <a:lnTo>
                    <a:pt x="282" y="493"/>
                  </a:lnTo>
                  <a:lnTo>
                    <a:pt x="281" y="490"/>
                  </a:lnTo>
                  <a:lnTo>
                    <a:pt x="281" y="488"/>
                  </a:lnTo>
                  <a:lnTo>
                    <a:pt x="281" y="487"/>
                  </a:lnTo>
                  <a:lnTo>
                    <a:pt x="280" y="487"/>
                  </a:lnTo>
                  <a:lnTo>
                    <a:pt x="280" y="486"/>
                  </a:lnTo>
                  <a:lnTo>
                    <a:pt x="279" y="485"/>
                  </a:lnTo>
                  <a:lnTo>
                    <a:pt x="276" y="482"/>
                  </a:lnTo>
                  <a:lnTo>
                    <a:pt x="274" y="479"/>
                  </a:lnTo>
                  <a:lnTo>
                    <a:pt x="271" y="475"/>
                  </a:lnTo>
                  <a:lnTo>
                    <a:pt x="267" y="470"/>
                  </a:lnTo>
                  <a:lnTo>
                    <a:pt x="266" y="469"/>
                  </a:lnTo>
                  <a:lnTo>
                    <a:pt x="264" y="467"/>
                  </a:lnTo>
                  <a:lnTo>
                    <a:pt x="263" y="466"/>
                  </a:lnTo>
                  <a:lnTo>
                    <a:pt x="262" y="465"/>
                  </a:lnTo>
                  <a:lnTo>
                    <a:pt x="261" y="464"/>
                  </a:lnTo>
                  <a:lnTo>
                    <a:pt x="259" y="462"/>
                  </a:lnTo>
                  <a:lnTo>
                    <a:pt x="258" y="461"/>
                  </a:lnTo>
                  <a:lnTo>
                    <a:pt x="257" y="460"/>
                  </a:lnTo>
                  <a:lnTo>
                    <a:pt x="255" y="459"/>
                  </a:lnTo>
                  <a:lnTo>
                    <a:pt x="254" y="458"/>
                  </a:lnTo>
                  <a:lnTo>
                    <a:pt x="252" y="457"/>
                  </a:lnTo>
                  <a:lnTo>
                    <a:pt x="250" y="456"/>
                  </a:lnTo>
                  <a:lnTo>
                    <a:pt x="250" y="456"/>
                  </a:lnTo>
                  <a:lnTo>
                    <a:pt x="248" y="456"/>
                  </a:lnTo>
                  <a:lnTo>
                    <a:pt x="247" y="455"/>
                  </a:lnTo>
                  <a:lnTo>
                    <a:pt x="245" y="455"/>
                  </a:lnTo>
                  <a:lnTo>
                    <a:pt x="244" y="455"/>
                  </a:lnTo>
                  <a:lnTo>
                    <a:pt x="242" y="455"/>
                  </a:lnTo>
                  <a:lnTo>
                    <a:pt x="238" y="455"/>
                  </a:lnTo>
                  <a:lnTo>
                    <a:pt x="235" y="455"/>
                  </a:lnTo>
                  <a:lnTo>
                    <a:pt x="234" y="455"/>
                  </a:lnTo>
                  <a:lnTo>
                    <a:pt x="233" y="455"/>
                  </a:lnTo>
                  <a:lnTo>
                    <a:pt x="232" y="454"/>
                  </a:lnTo>
                  <a:lnTo>
                    <a:pt x="231" y="454"/>
                  </a:lnTo>
                  <a:lnTo>
                    <a:pt x="229" y="453"/>
                  </a:lnTo>
                  <a:lnTo>
                    <a:pt x="228" y="453"/>
                  </a:lnTo>
                  <a:lnTo>
                    <a:pt x="227" y="452"/>
                  </a:lnTo>
                  <a:lnTo>
                    <a:pt x="225" y="451"/>
                  </a:lnTo>
                  <a:lnTo>
                    <a:pt x="223" y="450"/>
                  </a:lnTo>
                  <a:lnTo>
                    <a:pt x="223" y="450"/>
                  </a:lnTo>
                  <a:lnTo>
                    <a:pt x="221" y="448"/>
                  </a:lnTo>
                  <a:lnTo>
                    <a:pt x="220" y="447"/>
                  </a:lnTo>
                  <a:lnTo>
                    <a:pt x="219" y="446"/>
                  </a:lnTo>
                  <a:lnTo>
                    <a:pt x="218" y="445"/>
                  </a:lnTo>
                  <a:lnTo>
                    <a:pt x="218" y="445"/>
                  </a:lnTo>
                  <a:lnTo>
                    <a:pt x="217" y="443"/>
                  </a:lnTo>
                  <a:lnTo>
                    <a:pt x="217" y="442"/>
                  </a:lnTo>
                  <a:lnTo>
                    <a:pt x="216" y="441"/>
                  </a:lnTo>
                  <a:lnTo>
                    <a:pt x="216" y="440"/>
                  </a:lnTo>
                  <a:lnTo>
                    <a:pt x="215" y="435"/>
                  </a:lnTo>
                  <a:lnTo>
                    <a:pt x="215" y="433"/>
                  </a:lnTo>
                  <a:lnTo>
                    <a:pt x="214" y="432"/>
                  </a:lnTo>
                  <a:lnTo>
                    <a:pt x="214" y="431"/>
                  </a:lnTo>
                  <a:lnTo>
                    <a:pt x="214" y="430"/>
                  </a:lnTo>
                  <a:lnTo>
                    <a:pt x="213" y="429"/>
                  </a:lnTo>
                  <a:lnTo>
                    <a:pt x="213" y="429"/>
                  </a:lnTo>
                  <a:lnTo>
                    <a:pt x="212" y="428"/>
                  </a:lnTo>
                  <a:lnTo>
                    <a:pt x="209" y="425"/>
                  </a:lnTo>
                  <a:lnTo>
                    <a:pt x="206" y="421"/>
                  </a:lnTo>
                  <a:lnTo>
                    <a:pt x="201" y="416"/>
                  </a:lnTo>
                  <a:lnTo>
                    <a:pt x="200" y="415"/>
                  </a:lnTo>
                  <a:lnTo>
                    <a:pt x="200" y="415"/>
                  </a:lnTo>
                  <a:lnTo>
                    <a:pt x="199" y="414"/>
                  </a:lnTo>
                  <a:lnTo>
                    <a:pt x="199" y="413"/>
                  </a:lnTo>
                  <a:lnTo>
                    <a:pt x="198" y="412"/>
                  </a:lnTo>
                  <a:lnTo>
                    <a:pt x="197" y="409"/>
                  </a:lnTo>
                  <a:lnTo>
                    <a:pt x="196" y="408"/>
                  </a:lnTo>
                  <a:lnTo>
                    <a:pt x="195" y="406"/>
                  </a:lnTo>
                  <a:lnTo>
                    <a:pt x="193" y="403"/>
                  </a:lnTo>
                  <a:lnTo>
                    <a:pt x="192" y="402"/>
                  </a:lnTo>
                  <a:lnTo>
                    <a:pt x="191" y="401"/>
                  </a:lnTo>
                  <a:lnTo>
                    <a:pt x="189" y="398"/>
                  </a:lnTo>
                  <a:lnTo>
                    <a:pt x="189" y="397"/>
                  </a:lnTo>
                  <a:lnTo>
                    <a:pt x="188" y="396"/>
                  </a:lnTo>
                  <a:lnTo>
                    <a:pt x="188" y="395"/>
                  </a:lnTo>
                  <a:lnTo>
                    <a:pt x="187" y="395"/>
                  </a:lnTo>
                  <a:lnTo>
                    <a:pt x="184" y="392"/>
                  </a:lnTo>
                  <a:lnTo>
                    <a:pt x="183" y="391"/>
                  </a:lnTo>
                  <a:lnTo>
                    <a:pt x="182" y="390"/>
                  </a:lnTo>
                  <a:lnTo>
                    <a:pt x="181" y="388"/>
                  </a:lnTo>
                  <a:lnTo>
                    <a:pt x="180" y="387"/>
                  </a:lnTo>
                  <a:lnTo>
                    <a:pt x="179" y="387"/>
                  </a:lnTo>
                  <a:lnTo>
                    <a:pt x="177" y="384"/>
                  </a:lnTo>
                  <a:lnTo>
                    <a:pt x="176" y="384"/>
                  </a:lnTo>
                  <a:lnTo>
                    <a:pt x="176" y="383"/>
                  </a:lnTo>
                  <a:lnTo>
                    <a:pt x="175" y="382"/>
                  </a:lnTo>
                  <a:lnTo>
                    <a:pt x="175" y="381"/>
                  </a:lnTo>
                  <a:lnTo>
                    <a:pt x="174" y="380"/>
                  </a:lnTo>
                  <a:lnTo>
                    <a:pt x="174" y="379"/>
                  </a:lnTo>
                  <a:lnTo>
                    <a:pt x="174" y="378"/>
                  </a:lnTo>
                  <a:lnTo>
                    <a:pt x="173" y="374"/>
                  </a:lnTo>
                  <a:lnTo>
                    <a:pt x="173" y="372"/>
                  </a:lnTo>
                  <a:lnTo>
                    <a:pt x="173" y="371"/>
                  </a:lnTo>
                  <a:lnTo>
                    <a:pt x="172" y="370"/>
                  </a:lnTo>
                  <a:lnTo>
                    <a:pt x="172" y="369"/>
                  </a:lnTo>
                  <a:lnTo>
                    <a:pt x="171" y="369"/>
                  </a:lnTo>
                  <a:lnTo>
                    <a:pt x="171" y="368"/>
                  </a:lnTo>
                  <a:lnTo>
                    <a:pt x="170" y="367"/>
                  </a:lnTo>
                  <a:lnTo>
                    <a:pt x="168" y="365"/>
                  </a:lnTo>
                  <a:lnTo>
                    <a:pt x="165" y="362"/>
                  </a:lnTo>
                  <a:lnTo>
                    <a:pt x="162" y="358"/>
                  </a:lnTo>
                  <a:lnTo>
                    <a:pt x="160" y="357"/>
                  </a:lnTo>
                  <a:lnTo>
                    <a:pt x="159" y="355"/>
                  </a:lnTo>
                  <a:lnTo>
                    <a:pt x="158" y="354"/>
                  </a:lnTo>
                  <a:lnTo>
                    <a:pt x="156" y="353"/>
                  </a:lnTo>
                  <a:lnTo>
                    <a:pt x="155" y="353"/>
                  </a:lnTo>
                  <a:lnTo>
                    <a:pt x="155" y="352"/>
                  </a:lnTo>
                  <a:lnTo>
                    <a:pt x="153" y="351"/>
                  </a:lnTo>
                  <a:lnTo>
                    <a:pt x="151" y="350"/>
                  </a:lnTo>
                  <a:lnTo>
                    <a:pt x="150" y="350"/>
                  </a:lnTo>
                  <a:lnTo>
                    <a:pt x="149" y="349"/>
                  </a:lnTo>
                  <a:lnTo>
                    <a:pt x="148" y="349"/>
                  </a:lnTo>
                  <a:lnTo>
                    <a:pt x="145" y="348"/>
                  </a:lnTo>
                  <a:lnTo>
                    <a:pt x="143" y="347"/>
                  </a:lnTo>
                  <a:lnTo>
                    <a:pt x="138" y="346"/>
                  </a:lnTo>
                  <a:lnTo>
                    <a:pt x="136" y="346"/>
                  </a:lnTo>
                  <a:lnTo>
                    <a:pt x="134" y="346"/>
                  </a:lnTo>
                  <a:lnTo>
                    <a:pt x="134" y="346"/>
                  </a:lnTo>
                  <a:lnTo>
                    <a:pt x="133" y="346"/>
                  </a:lnTo>
                  <a:lnTo>
                    <a:pt x="133" y="346"/>
                  </a:lnTo>
                  <a:lnTo>
                    <a:pt x="132" y="346"/>
                  </a:lnTo>
                  <a:lnTo>
                    <a:pt x="131" y="347"/>
                  </a:lnTo>
                  <a:lnTo>
                    <a:pt x="131" y="347"/>
                  </a:lnTo>
                  <a:lnTo>
                    <a:pt x="131" y="348"/>
                  </a:lnTo>
                  <a:lnTo>
                    <a:pt x="130" y="349"/>
                  </a:lnTo>
                  <a:lnTo>
                    <a:pt x="129" y="350"/>
                  </a:lnTo>
                  <a:lnTo>
                    <a:pt x="129" y="350"/>
                  </a:lnTo>
                  <a:lnTo>
                    <a:pt x="129" y="350"/>
                  </a:lnTo>
                  <a:lnTo>
                    <a:pt x="128" y="350"/>
                  </a:lnTo>
                  <a:lnTo>
                    <a:pt x="127" y="351"/>
                  </a:lnTo>
                  <a:lnTo>
                    <a:pt x="127" y="351"/>
                  </a:lnTo>
                  <a:lnTo>
                    <a:pt x="126" y="350"/>
                  </a:lnTo>
                  <a:lnTo>
                    <a:pt x="125" y="350"/>
                  </a:lnTo>
                  <a:lnTo>
                    <a:pt x="122" y="350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7" y="348"/>
                  </a:lnTo>
                  <a:lnTo>
                    <a:pt x="114" y="348"/>
                  </a:lnTo>
                  <a:lnTo>
                    <a:pt x="112" y="348"/>
                  </a:lnTo>
                  <a:lnTo>
                    <a:pt x="110" y="348"/>
                  </a:lnTo>
                  <a:lnTo>
                    <a:pt x="109" y="348"/>
                  </a:lnTo>
                  <a:lnTo>
                    <a:pt x="107" y="347"/>
                  </a:lnTo>
                  <a:lnTo>
                    <a:pt x="106" y="347"/>
                  </a:lnTo>
                  <a:lnTo>
                    <a:pt x="105" y="346"/>
                  </a:lnTo>
                  <a:lnTo>
                    <a:pt x="103" y="346"/>
                  </a:lnTo>
                  <a:lnTo>
                    <a:pt x="102" y="345"/>
                  </a:lnTo>
                  <a:lnTo>
                    <a:pt x="102" y="345"/>
                  </a:lnTo>
                  <a:lnTo>
                    <a:pt x="101" y="344"/>
                  </a:lnTo>
                  <a:lnTo>
                    <a:pt x="100" y="343"/>
                  </a:lnTo>
                  <a:lnTo>
                    <a:pt x="100" y="342"/>
                  </a:lnTo>
                  <a:lnTo>
                    <a:pt x="99" y="342"/>
                  </a:lnTo>
                  <a:lnTo>
                    <a:pt x="98" y="339"/>
                  </a:lnTo>
                  <a:lnTo>
                    <a:pt x="96" y="335"/>
                  </a:lnTo>
                  <a:lnTo>
                    <a:pt x="95" y="334"/>
                  </a:lnTo>
                  <a:lnTo>
                    <a:pt x="94" y="332"/>
                  </a:lnTo>
                  <a:lnTo>
                    <a:pt x="94" y="331"/>
                  </a:lnTo>
                  <a:lnTo>
                    <a:pt x="93" y="328"/>
                  </a:lnTo>
                  <a:lnTo>
                    <a:pt x="92" y="326"/>
                  </a:lnTo>
                  <a:lnTo>
                    <a:pt x="92" y="325"/>
                  </a:lnTo>
                  <a:lnTo>
                    <a:pt x="91" y="324"/>
                  </a:lnTo>
                  <a:lnTo>
                    <a:pt x="91" y="323"/>
                  </a:lnTo>
                  <a:lnTo>
                    <a:pt x="90" y="321"/>
                  </a:lnTo>
                  <a:lnTo>
                    <a:pt x="89" y="320"/>
                  </a:lnTo>
                  <a:lnTo>
                    <a:pt x="88" y="319"/>
                  </a:lnTo>
                  <a:lnTo>
                    <a:pt x="86" y="317"/>
                  </a:lnTo>
                  <a:lnTo>
                    <a:pt x="85" y="316"/>
                  </a:lnTo>
                  <a:lnTo>
                    <a:pt x="79" y="312"/>
                  </a:lnTo>
                  <a:lnTo>
                    <a:pt x="78" y="311"/>
                  </a:lnTo>
                  <a:lnTo>
                    <a:pt x="77" y="310"/>
                  </a:lnTo>
                  <a:lnTo>
                    <a:pt x="76" y="309"/>
                  </a:lnTo>
                  <a:lnTo>
                    <a:pt x="74" y="309"/>
                  </a:lnTo>
                  <a:lnTo>
                    <a:pt x="71" y="307"/>
                  </a:lnTo>
                  <a:lnTo>
                    <a:pt x="69" y="306"/>
                  </a:lnTo>
                  <a:lnTo>
                    <a:pt x="68" y="306"/>
                  </a:lnTo>
                  <a:lnTo>
                    <a:pt x="67" y="305"/>
                  </a:lnTo>
                  <a:lnTo>
                    <a:pt x="66" y="304"/>
                  </a:lnTo>
                  <a:lnTo>
                    <a:pt x="65" y="303"/>
                  </a:lnTo>
                  <a:lnTo>
                    <a:pt x="65" y="303"/>
                  </a:lnTo>
                  <a:lnTo>
                    <a:pt x="65" y="302"/>
                  </a:lnTo>
                  <a:lnTo>
                    <a:pt x="64" y="302"/>
                  </a:lnTo>
                  <a:lnTo>
                    <a:pt x="64" y="301"/>
                  </a:lnTo>
                  <a:lnTo>
                    <a:pt x="64" y="300"/>
                  </a:lnTo>
                  <a:lnTo>
                    <a:pt x="63" y="299"/>
                  </a:lnTo>
                  <a:lnTo>
                    <a:pt x="63" y="298"/>
                  </a:lnTo>
                  <a:lnTo>
                    <a:pt x="62" y="294"/>
                  </a:lnTo>
                  <a:lnTo>
                    <a:pt x="61" y="292"/>
                  </a:lnTo>
                  <a:lnTo>
                    <a:pt x="60" y="290"/>
                  </a:lnTo>
                  <a:lnTo>
                    <a:pt x="59" y="286"/>
                  </a:lnTo>
                  <a:lnTo>
                    <a:pt x="59" y="285"/>
                  </a:lnTo>
                  <a:lnTo>
                    <a:pt x="59" y="284"/>
                  </a:lnTo>
                  <a:lnTo>
                    <a:pt x="59" y="283"/>
                  </a:lnTo>
                  <a:lnTo>
                    <a:pt x="59" y="282"/>
                  </a:lnTo>
                  <a:lnTo>
                    <a:pt x="59" y="281"/>
                  </a:lnTo>
                  <a:lnTo>
                    <a:pt x="59" y="279"/>
                  </a:lnTo>
                  <a:lnTo>
                    <a:pt x="59" y="277"/>
                  </a:lnTo>
                  <a:lnTo>
                    <a:pt x="59" y="275"/>
                  </a:lnTo>
                  <a:lnTo>
                    <a:pt x="59" y="272"/>
                  </a:lnTo>
                  <a:lnTo>
                    <a:pt x="59" y="269"/>
                  </a:lnTo>
                  <a:lnTo>
                    <a:pt x="59" y="267"/>
                  </a:lnTo>
                  <a:lnTo>
                    <a:pt x="59" y="266"/>
                  </a:lnTo>
                  <a:lnTo>
                    <a:pt x="59" y="265"/>
                  </a:lnTo>
                  <a:lnTo>
                    <a:pt x="59" y="264"/>
                  </a:lnTo>
                  <a:lnTo>
                    <a:pt x="58" y="263"/>
                  </a:lnTo>
                  <a:lnTo>
                    <a:pt x="58" y="262"/>
                  </a:lnTo>
                  <a:lnTo>
                    <a:pt x="57" y="261"/>
                  </a:lnTo>
                  <a:lnTo>
                    <a:pt x="57" y="261"/>
                  </a:lnTo>
                  <a:lnTo>
                    <a:pt x="56" y="260"/>
                  </a:lnTo>
                  <a:lnTo>
                    <a:pt x="54" y="259"/>
                  </a:lnTo>
                  <a:lnTo>
                    <a:pt x="52" y="259"/>
                  </a:lnTo>
                  <a:lnTo>
                    <a:pt x="50" y="258"/>
                  </a:lnTo>
                  <a:lnTo>
                    <a:pt x="49" y="257"/>
                  </a:lnTo>
                  <a:lnTo>
                    <a:pt x="49" y="257"/>
                  </a:lnTo>
                  <a:lnTo>
                    <a:pt x="48" y="256"/>
                  </a:lnTo>
                  <a:lnTo>
                    <a:pt x="47" y="256"/>
                  </a:lnTo>
                  <a:lnTo>
                    <a:pt x="47" y="255"/>
                  </a:lnTo>
                  <a:lnTo>
                    <a:pt x="46" y="254"/>
                  </a:lnTo>
                  <a:lnTo>
                    <a:pt x="45" y="253"/>
                  </a:lnTo>
                  <a:lnTo>
                    <a:pt x="44" y="251"/>
                  </a:lnTo>
                  <a:lnTo>
                    <a:pt x="43" y="249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1" y="245"/>
                  </a:lnTo>
                  <a:lnTo>
                    <a:pt x="41" y="244"/>
                  </a:lnTo>
                  <a:lnTo>
                    <a:pt x="40" y="242"/>
                  </a:lnTo>
                  <a:lnTo>
                    <a:pt x="40" y="241"/>
                  </a:lnTo>
                  <a:lnTo>
                    <a:pt x="40" y="240"/>
                  </a:lnTo>
                  <a:lnTo>
                    <a:pt x="39" y="234"/>
                  </a:lnTo>
                  <a:lnTo>
                    <a:pt x="39" y="233"/>
                  </a:lnTo>
                  <a:lnTo>
                    <a:pt x="39" y="231"/>
                  </a:lnTo>
                  <a:lnTo>
                    <a:pt x="39" y="229"/>
                  </a:lnTo>
                  <a:lnTo>
                    <a:pt x="37" y="225"/>
                  </a:lnTo>
                  <a:lnTo>
                    <a:pt x="37" y="223"/>
                  </a:lnTo>
                  <a:lnTo>
                    <a:pt x="36" y="222"/>
                  </a:lnTo>
                  <a:lnTo>
                    <a:pt x="35" y="221"/>
                  </a:lnTo>
                  <a:lnTo>
                    <a:pt x="35" y="220"/>
                  </a:lnTo>
                  <a:lnTo>
                    <a:pt x="34" y="219"/>
                  </a:lnTo>
                  <a:lnTo>
                    <a:pt x="34" y="218"/>
                  </a:lnTo>
                  <a:lnTo>
                    <a:pt x="33" y="218"/>
                  </a:lnTo>
                  <a:lnTo>
                    <a:pt x="32" y="217"/>
                  </a:lnTo>
                  <a:lnTo>
                    <a:pt x="30" y="216"/>
                  </a:lnTo>
                  <a:lnTo>
                    <a:pt x="30" y="216"/>
                  </a:lnTo>
                  <a:lnTo>
                    <a:pt x="29" y="216"/>
                  </a:lnTo>
                  <a:lnTo>
                    <a:pt x="29" y="215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27" y="212"/>
                  </a:lnTo>
                  <a:lnTo>
                    <a:pt x="26" y="211"/>
                  </a:lnTo>
                  <a:lnTo>
                    <a:pt x="26" y="210"/>
                  </a:lnTo>
                  <a:lnTo>
                    <a:pt x="26" y="208"/>
                  </a:lnTo>
                  <a:lnTo>
                    <a:pt x="26" y="207"/>
                  </a:lnTo>
                  <a:lnTo>
                    <a:pt x="25" y="205"/>
                  </a:lnTo>
                  <a:lnTo>
                    <a:pt x="25" y="205"/>
                  </a:lnTo>
                  <a:lnTo>
                    <a:pt x="25" y="204"/>
                  </a:lnTo>
                  <a:lnTo>
                    <a:pt x="26" y="203"/>
                  </a:lnTo>
                  <a:lnTo>
                    <a:pt x="26" y="201"/>
                  </a:lnTo>
                  <a:lnTo>
                    <a:pt x="26" y="198"/>
                  </a:lnTo>
                  <a:lnTo>
                    <a:pt x="27" y="196"/>
                  </a:lnTo>
                  <a:lnTo>
                    <a:pt x="27" y="195"/>
                  </a:lnTo>
                  <a:lnTo>
                    <a:pt x="27" y="194"/>
                  </a:lnTo>
                  <a:lnTo>
                    <a:pt x="27" y="193"/>
                  </a:lnTo>
                  <a:lnTo>
                    <a:pt x="27" y="192"/>
                  </a:lnTo>
                  <a:lnTo>
                    <a:pt x="26" y="191"/>
                  </a:lnTo>
                  <a:lnTo>
                    <a:pt x="26" y="189"/>
                  </a:lnTo>
                  <a:lnTo>
                    <a:pt x="25" y="188"/>
                  </a:lnTo>
                  <a:lnTo>
                    <a:pt x="25" y="188"/>
                  </a:lnTo>
                  <a:lnTo>
                    <a:pt x="24" y="187"/>
                  </a:lnTo>
                  <a:lnTo>
                    <a:pt x="24" y="187"/>
                  </a:lnTo>
                  <a:lnTo>
                    <a:pt x="23" y="186"/>
                  </a:lnTo>
                  <a:lnTo>
                    <a:pt x="22" y="186"/>
                  </a:lnTo>
                  <a:lnTo>
                    <a:pt x="18" y="184"/>
                  </a:lnTo>
                  <a:lnTo>
                    <a:pt x="17" y="184"/>
                  </a:lnTo>
                  <a:lnTo>
                    <a:pt x="16" y="183"/>
                  </a:lnTo>
                  <a:lnTo>
                    <a:pt x="13" y="182"/>
                  </a:lnTo>
                  <a:lnTo>
                    <a:pt x="9" y="179"/>
                  </a:lnTo>
                  <a:lnTo>
                    <a:pt x="6" y="178"/>
                  </a:lnTo>
                  <a:lnTo>
                    <a:pt x="6" y="177"/>
                  </a:lnTo>
                  <a:lnTo>
                    <a:pt x="5" y="176"/>
                  </a:lnTo>
                  <a:lnTo>
                    <a:pt x="4" y="176"/>
                  </a:lnTo>
                  <a:lnTo>
                    <a:pt x="3" y="175"/>
                  </a:lnTo>
                  <a:lnTo>
                    <a:pt x="2" y="174"/>
                  </a:lnTo>
                  <a:lnTo>
                    <a:pt x="2" y="173"/>
                  </a:lnTo>
                  <a:lnTo>
                    <a:pt x="1" y="173"/>
                  </a:lnTo>
                  <a:lnTo>
                    <a:pt x="0" y="172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Freeform 16">
              <a:extLst>
                <a:ext uri="{FF2B5EF4-FFF2-40B4-BE49-F238E27FC236}">
                  <a16:creationId xmlns:a16="http://schemas.microsoft.com/office/drawing/2014/main" id="{30B3E1CB-E442-2EBA-5C94-5D58C039A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301"/>
              <a:ext cx="279" cy="173"/>
            </a:xfrm>
            <a:custGeom>
              <a:avLst/>
              <a:gdLst>
                <a:gd name="T0" fmla="*/ 2 w 279"/>
                <a:gd name="T1" fmla="*/ 162 h 173"/>
                <a:gd name="T2" fmla="*/ 0 w 279"/>
                <a:gd name="T3" fmla="*/ 155 h 173"/>
                <a:gd name="T4" fmla="*/ 2 w 279"/>
                <a:gd name="T5" fmla="*/ 151 h 173"/>
                <a:gd name="T6" fmla="*/ 9 w 279"/>
                <a:gd name="T7" fmla="*/ 146 h 173"/>
                <a:gd name="T8" fmla="*/ 18 w 279"/>
                <a:gd name="T9" fmla="*/ 140 h 173"/>
                <a:gd name="T10" fmla="*/ 19 w 279"/>
                <a:gd name="T11" fmla="*/ 136 h 173"/>
                <a:gd name="T12" fmla="*/ 23 w 279"/>
                <a:gd name="T13" fmla="*/ 120 h 173"/>
                <a:gd name="T14" fmla="*/ 27 w 279"/>
                <a:gd name="T15" fmla="*/ 114 h 173"/>
                <a:gd name="T16" fmla="*/ 31 w 279"/>
                <a:gd name="T17" fmla="*/ 108 h 173"/>
                <a:gd name="T18" fmla="*/ 38 w 279"/>
                <a:gd name="T19" fmla="*/ 96 h 173"/>
                <a:gd name="T20" fmla="*/ 45 w 279"/>
                <a:gd name="T21" fmla="*/ 87 h 173"/>
                <a:gd name="T22" fmla="*/ 52 w 279"/>
                <a:gd name="T23" fmla="*/ 87 h 173"/>
                <a:gd name="T24" fmla="*/ 60 w 279"/>
                <a:gd name="T25" fmla="*/ 89 h 173"/>
                <a:gd name="T26" fmla="*/ 65 w 279"/>
                <a:gd name="T27" fmla="*/ 86 h 173"/>
                <a:gd name="T28" fmla="*/ 71 w 279"/>
                <a:gd name="T29" fmla="*/ 83 h 173"/>
                <a:gd name="T30" fmla="*/ 76 w 279"/>
                <a:gd name="T31" fmla="*/ 84 h 173"/>
                <a:gd name="T32" fmla="*/ 80 w 279"/>
                <a:gd name="T33" fmla="*/ 87 h 173"/>
                <a:gd name="T34" fmla="*/ 83 w 279"/>
                <a:gd name="T35" fmla="*/ 91 h 173"/>
                <a:gd name="T36" fmla="*/ 84 w 279"/>
                <a:gd name="T37" fmla="*/ 90 h 173"/>
                <a:gd name="T38" fmla="*/ 86 w 279"/>
                <a:gd name="T39" fmla="*/ 86 h 173"/>
                <a:gd name="T40" fmla="*/ 91 w 279"/>
                <a:gd name="T41" fmla="*/ 83 h 173"/>
                <a:gd name="T42" fmla="*/ 94 w 279"/>
                <a:gd name="T43" fmla="*/ 80 h 173"/>
                <a:gd name="T44" fmla="*/ 101 w 279"/>
                <a:gd name="T45" fmla="*/ 77 h 173"/>
                <a:gd name="T46" fmla="*/ 110 w 279"/>
                <a:gd name="T47" fmla="*/ 75 h 173"/>
                <a:gd name="T48" fmla="*/ 118 w 279"/>
                <a:gd name="T49" fmla="*/ 73 h 173"/>
                <a:gd name="T50" fmla="*/ 123 w 279"/>
                <a:gd name="T51" fmla="*/ 73 h 173"/>
                <a:gd name="T52" fmla="*/ 132 w 279"/>
                <a:gd name="T53" fmla="*/ 76 h 173"/>
                <a:gd name="T54" fmla="*/ 139 w 279"/>
                <a:gd name="T55" fmla="*/ 78 h 173"/>
                <a:gd name="T56" fmla="*/ 146 w 279"/>
                <a:gd name="T57" fmla="*/ 78 h 173"/>
                <a:gd name="T58" fmla="*/ 151 w 279"/>
                <a:gd name="T59" fmla="*/ 78 h 173"/>
                <a:gd name="T60" fmla="*/ 157 w 279"/>
                <a:gd name="T61" fmla="*/ 80 h 173"/>
                <a:gd name="T62" fmla="*/ 162 w 279"/>
                <a:gd name="T63" fmla="*/ 78 h 173"/>
                <a:gd name="T64" fmla="*/ 168 w 279"/>
                <a:gd name="T65" fmla="*/ 73 h 173"/>
                <a:gd name="T66" fmla="*/ 170 w 279"/>
                <a:gd name="T67" fmla="*/ 65 h 173"/>
                <a:gd name="T68" fmla="*/ 170 w 279"/>
                <a:gd name="T69" fmla="*/ 60 h 173"/>
                <a:gd name="T70" fmla="*/ 173 w 279"/>
                <a:gd name="T71" fmla="*/ 57 h 173"/>
                <a:gd name="T72" fmla="*/ 182 w 279"/>
                <a:gd name="T73" fmla="*/ 53 h 173"/>
                <a:gd name="T74" fmla="*/ 192 w 279"/>
                <a:gd name="T75" fmla="*/ 47 h 173"/>
                <a:gd name="T76" fmla="*/ 200 w 279"/>
                <a:gd name="T77" fmla="*/ 41 h 173"/>
                <a:gd name="T78" fmla="*/ 207 w 279"/>
                <a:gd name="T79" fmla="*/ 34 h 173"/>
                <a:gd name="T80" fmla="*/ 210 w 279"/>
                <a:gd name="T81" fmla="*/ 33 h 173"/>
                <a:gd name="T82" fmla="*/ 217 w 279"/>
                <a:gd name="T83" fmla="*/ 35 h 173"/>
                <a:gd name="T84" fmla="*/ 228 w 279"/>
                <a:gd name="T85" fmla="*/ 36 h 173"/>
                <a:gd name="T86" fmla="*/ 233 w 279"/>
                <a:gd name="T87" fmla="*/ 39 h 173"/>
                <a:gd name="T88" fmla="*/ 241 w 279"/>
                <a:gd name="T89" fmla="*/ 45 h 173"/>
                <a:gd name="T90" fmla="*/ 245 w 279"/>
                <a:gd name="T91" fmla="*/ 47 h 173"/>
                <a:gd name="T92" fmla="*/ 249 w 279"/>
                <a:gd name="T93" fmla="*/ 47 h 173"/>
                <a:gd name="T94" fmla="*/ 250 w 279"/>
                <a:gd name="T95" fmla="*/ 43 h 173"/>
                <a:gd name="T96" fmla="*/ 252 w 279"/>
                <a:gd name="T97" fmla="*/ 32 h 173"/>
                <a:gd name="T98" fmla="*/ 252 w 279"/>
                <a:gd name="T99" fmla="*/ 27 h 173"/>
                <a:gd name="T100" fmla="*/ 255 w 279"/>
                <a:gd name="T101" fmla="*/ 25 h 173"/>
                <a:gd name="T102" fmla="*/ 263 w 279"/>
                <a:gd name="T103" fmla="*/ 23 h 173"/>
                <a:gd name="T104" fmla="*/ 268 w 279"/>
                <a:gd name="T105" fmla="*/ 20 h 173"/>
                <a:gd name="T106" fmla="*/ 269 w 279"/>
                <a:gd name="T107" fmla="*/ 16 h 173"/>
                <a:gd name="T108" fmla="*/ 268 w 279"/>
                <a:gd name="T109" fmla="*/ 14 h 173"/>
                <a:gd name="T110" fmla="*/ 267 w 279"/>
                <a:gd name="T111" fmla="*/ 10 h 173"/>
                <a:gd name="T112" fmla="*/ 269 w 279"/>
                <a:gd name="T113" fmla="*/ 4 h 173"/>
                <a:gd name="T114" fmla="*/ 271 w 279"/>
                <a:gd name="T115" fmla="*/ 2 h 173"/>
                <a:gd name="T116" fmla="*/ 274 w 279"/>
                <a:gd name="T117" fmla="*/ 2 h 173"/>
                <a:gd name="T118" fmla="*/ 278 w 279"/>
                <a:gd name="T119" fmla="*/ 1 h 173"/>
                <a:gd name="T120" fmla="*/ 279 w 279"/>
                <a:gd name="T121" fmla="*/ 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9" h="173">
                  <a:moveTo>
                    <a:pt x="8" y="173"/>
                  </a:moveTo>
                  <a:lnTo>
                    <a:pt x="7" y="170"/>
                  </a:lnTo>
                  <a:lnTo>
                    <a:pt x="5" y="167"/>
                  </a:lnTo>
                  <a:lnTo>
                    <a:pt x="3" y="163"/>
                  </a:lnTo>
                  <a:lnTo>
                    <a:pt x="2" y="162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6"/>
                  </a:lnTo>
                  <a:lnTo>
                    <a:pt x="0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6" y="147"/>
                  </a:lnTo>
                  <a:lnTo>
                    <a:pt x="9" y="146"/>
                  </a:lnTo>
                  <a:lnTo>
                    <a:pt x="14" y="143"/>
                  </a:lnTo>
                  <a:lnTo>
                    <a:pt x="15" y="142"/>
                  </a:lnTo>
                  <a:lnTo>
                    <a:pt x="16" y="141"/>
                  </a:lnTo>
                  <a:lnTo>
                    <a:pt x="17" y="140"/>
                  </a:lnTo>
                  <a:lnTo>
                    <a:pt x="18" y="140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9" y="138"/>
                  </a:lnTo>
                  <a:lnTo>
                    <a:pt x="19" y="137"/>
                  </a:lnTo>
                  <a:lnTo>
                    <a:pt x="19" y="136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21" y="128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3" y="119"/>
                  </a:lnTo>
                  <a:lnTo>
                    <a:pt x="24" y="118"/>
                  </a:lnTo>
                  <a:lnTo>
                    <a:pt x="25" y="117"/>
                  </a:lnTo>
                  <a:lnTo>
                    <a:pt x="26" y="116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9" y="112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3" y="106"/>
                  </a:lnTo>
                  <a:lnTo>
                    <a:pt x="34" y="105"/>
                  </a:lnTo>
                  <a:lnTo>
                    <a:pt x="35" y="103"/>
                  </a:lnTo>
                  <a:lnTo>
                    <a:pt x="37" y="98"/>
                  </a:lnTo>
                  <a:lnTo>
                    <a:pt x="38" y="96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2"/>
                  </a:lnTo>
                  <a:lnTo>
                    <a:pt x="44" y="88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2" y="87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89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5" y="86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8" y="84"/>
                  </a:lnTo>
                  <a:lnTo>
                    <a:pt x="69" y="84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8" y="85"/>
                  </a:lnTo>
                  <a:lnTo>
                    <a:pt x="79" y="86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1" y="89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89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7"/>
                  </a:lnTo>
                  <a:lnTo>
                    <a:pt x="86" y="86"/>
                  </a:lnTo>
                  <a:lnTo>
                    <a:pt x="87" y="86"/>
                  </a:lnTo>
                  <a:lnTo>
                    <a:pt x="88" y="85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1" y="77"/>
                  </a:lnTo>
                  <a:lnTo>
                    <a:pt x="103" y="77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9" y="75"/>
                  </a:lnTo>
                  <a:lnTo>
                    <a:pt x="110" y="75"/>
                  </a:lnTo>
                  <a:lnTo>
                    <a:pt x="112" y="75"/>
                  </a:lnTo>
                  <a:lnTo>
                    <a:pt x="113" y="75"/>
                  </a:lnTo>
                  <a:lnTo>
                    <a:pt x="114" y="75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0" y="73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7" y="75"/>
                  </a:lnTo>
                  <a:lnTo>
                    <a:pt x="132" y="76"/>
                  </a:lnTo>
                  <a:lnTo>
                    <a:pt x="133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8"/>
                  </a:lnTo>
                  <a:lnTo>
                    <a:pt x="142" y="78"/>
                  </a:lnTo>
                  <a:lnTo>
                    <a:pt x="144" y="78"/>
                  </a:lnTo>
                  <a:lnTo>
                    <a:pt x="146" y="78"/>
                  </a:lnTo>
                  <a:lnTo>
                    <a:pt x="147" y="78"/>
                  </a:lnTo>
                  <a:lnTo>
                    <a:pt x="148" y="77"/>
                  </a:lnTo>
                  <a:lnTo>
                    <a:pt x="149" y="77"/>
                  </a:lnTo>
                  <a:lnTo>
                    <a:pt x="150" y="78"/>
                  </a:lnTo>
                  <a:lnTo>
                    <a:pt x="151" y="78"/>
                  </a:lnTo>
                  <a:lnTo>
                    <a:pt x="152" y="78"/>
                  </a:lnTo>
                  <a:lnTo>
                    <a:pt x="155" y="79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7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7" y="74"/>
                  </a:lnTo>
                  <a:lnTo>
                    <a:pt x="168" y="73"/>
                  </a:lnTo>
                  <a:lnTo>
                    <a:pt x="168" y="72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70" y="66"/>
                  </a:lnTo>
                  <a:lnTo>
                    <a:pt x="170" y="65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1" y="59"/>
                  </a:lnTo>
                  <a:lnTo>
                    <a:pt x="171" y="58"/>
                  </a:lnTo>
                  <a:lnTo>
                    <a:pt x="172" y="58"/>
                  </a:lnTo>
                  <a:lnTo>
                    <a:pt x="172" y="57"/>
                  </a:lnTo>
                  <a:lnTo>
                    <a:pt x="173" y="57"/>
                  </a:lnTo>
                  <a:lnTo>
                    <a:pt x="174" y="57"/>
                  </a:lnTo>
                  <a:lnTo>
                    <a:pt x="176" y="56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92" y="47"/>
                  </a:lnTo>
                  <a:lnTo>
                    <a:pt x="194" y="45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0" y="42"/>
                  </a:lnTo>
                  <a:lnTo>
                    <a:pt x="200" y="41"/>
                  </a:lnTo>
                  <a:lnTo>
                    <a:pt x="202" y="40"/>
                  </a:lnTo>
                  <a:lnTo>
                    <a:pt x="203" y="38"/>
                  </a:lnTo>
                  <a:lnTo>
                    <a:pt x="205" y="37"/>
                  </a:lnTo>
                  <a:lnTo>
                    <a:pt x="207" y="35"/>
                  </a:lnTo>
                  <a:lnTo>
                    <a:pt x="207" y="34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7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6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2" y="38"/>
                  </a:lnTo>
                  <a:lnTo>
                    <a:pt x="233" y="39"/>
                  </a:lnTo>
                  <a:lnTo>
                    <a:pt x="235" y="41"/>
                  </a:lnTo>
                  <a:lnTo>
                    <a:pt x="236" y="41"/>
                  </a:lnTo>
                  <a:lnTo>
                    <a:pt x="237" y="42"/>
                  </a:lnTo>
                  <a:lnTo>
                    <a:pt x="240" y="44"/>
                  </a:lnTo>
                  <a:lnTo>
                    <a:pt x="241" y="45"/>
                  </a:lnTo>
                  <a:lnTo>
                    <a:pt x="242" y="46"/>
                  </a:lnTo>
                  <a:lnTo>
                    <a:pt x="243" y="46"/>
                  </a:lnTo>
                  <a:lnTo>
                    <a:pt x="244" y="47"/>
                  </a:lnTo>
                  <a:lnTo>
                    <a:pt x="245" y="47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7"/>
                  </a:lnTo>
                  <a:lnTo>
                    <a:pt x="249" y="47"/>
                  </a:lnTo>
                  <a:lnTo>
                    <a:pt x="249" y="46"/>
                  </a:lnTo>
                  <a:lnTo>
                    <a:pt x="250" y="46"/>
                  </a:lnTo>
                  <a:lnTo>
                    <a:pt x="250" y="45"/>
                  </a:lnTo>
                  <a:lnTo>
                    <a:pt x="250" y="44"/>
                  </a:lnTo>
                  <a:lnTo>
                    <a:pt x="250" y="43"/>
                  </a:lnTo>
                  <a:lnTo>
                    <a:pt x="252" y="37"/>
                  </a:lnTo>
                  <a:lnTo>
                    <a:pt x="252" y="36"/>
                  </a:lnTo>
                  <a:lnTo>
                    <a:pt x="252" y="35"/>
                  </a:lnTo>
                  <a:lnTo>
                    <a:pt x="252" y="34"/>
                  </a:lnTo>
                  <a:lnTo>
                    <a:pt x="252" y="32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2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3" y="26"/>
                  </a:lnTo>
                  <a:lnTo>
                    <a:pt x="254" y="26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7" y="25"/>
                  </a:lnTo>
                  <a:lnTo>
                    <a:pt x="259" y="24"/>
                  </a:lnTo>
                  <a:lnTo>
                    <a:pt x="262" y="23"/>
                  </a:lnTo>
                  <a:lnTo>
                    <a:pt x="263" y="23"/>
                  </a:lnTo>
                  <a:lnTo>
                    <a:pt x="264" y="22"/>
                  </a:lnTo>
                  <a:lnTo>
                    <a:pt x="265" y="21"/>
                  </a:lnTo>
                  <a:lnTo>
                    <a:pt x="266" y="21"/>
                  </a:lnTo>
                  <a:lnTo>
                    <a:pt x="267" y="20"/>
                  </a:lnTo>
                  <a:lnTo>
                    <a:pt x="268" y="20"/>
                  </a:lnTo>
                  <a:lnTo>
                    <a:pt x="268" y="19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7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4"/>
                  </a:lnTo>
                  <a:lnTo>
                    <a:pt x="268" y="14"/>
                  </a:lnTo>
                  <a:lnTo>
                    <a:pt x="268" y="12"/>
                  </a:lnTo>
                  <a:lnTo>
                    <a:pt x="267" y="12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0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8" y="7"/>
                  </a:lnTo>
                  <a:lnTo>
                    <a:pt x="268" y="6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70" y="3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6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79" y="0"/>
                  </a:lnTo>
                  <a:lnTo>
                    <a:pt x="279" y="1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Freeform 17">
              <a:extLst>
                <a:ext uri="{FF2B5EF4-FFF2-40B4-BE49-F238E27FC236}">
                  <a16:creationId xmlns:a16="http://schemas.microsoft.com/office/drawing/2014/main" id="{AAF38B95-A98F-B4B5-D8A1-071E4498F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" y="3133"/>
              <a:ext cx="354" cy="259"/>
            </a:xfrm>
            <a:custGeom>
              <a:avLst/>
              <a:gdLst>
                <a:gd name="T0" fmla="*/ 244 w 354"/>
                <a:gd name="T1" fmla="*/ 19 h 259"/>
                <a:gd name="T2" fmla="*/ 262 w 354"/>
                <a:gd name="T3" fmla="*/ 31 h 259"/>
                <a:gd name="T4" fmla="*/ 289 w 354"/>
                <a:gd name="T5" fmla="*/ 36 h 259"/>
                <a:gd name="T6" fmla="*/ 298 w 354"/>
                <a:gd name="T7" fmla="*/ 48 h 259"/>
                <a:gd name="T8" fmla="*/ 305 w 354"/>
                <a:gd name="T9" fmla="*/ 51 h 259"/>
                <a:gd name="T10" fmla="*/ 329 w 354"/>
                <a:gd name="T11" fmla="*/ 51 h 259"/>
                <a:gd name="T12" fmla="*/ 336 w 354"/>
                <a:gd name="T13" fmla="*/ 63 h 259"/>
                <a:gd name="T14" fmla="*/ 333 w 354"/>
                <a:gd name="T15" fmla="*/ 85 h 259"/>
                <a:gd name="T16" fmla="*/ 335 w 354"/>
                <a:gd name="T17" fmla="*/ 104 h 259"/>
                <a:gd name="T18" fmla="*/ 340 w 354"/>
                <a:gd name="T19" fmla="*/ 118 h 259"/>
                <a:gd name="T20" fmla="*/ 349 w 354"/>
                <a:gd name="T21" fmla="*/ 141 h 259"/>
                <a:gd name="T22" fmla="*/ 347 w 354"/>
                <a:gd name="T23" fmla="*/ 150 h 259"/>
                <a:gd name="T24" fmla="*/ 336 w 354"/>
                <a:gd name="T25" fmla="*/ 152 h 259"/>
                <a:gd name="T26" fmla="*/ 345 w 354"/>
                <a:gd name="T27" fmla="*/ 158 h 259"/>
                <a:gd name="T28" fmla="*/ 352 w 354"/>
                <a:gd name="T29" fmla="*/ 171 h 259"/>
                <a:gd name="T30" fmla="*/ 351 w 354"/>
                <a:gd name="T31" fmla="*/ 182 h 259"/>
                <a:gd name="T32" fmla="*/ 344 w 354"/>
                <a:gd name="T33" fmla="*/ 191 h 259"/>
                <a:gd name="T34" fmla="*/ 334 w 354"/>
                <a:gd name="T35" fmla="*/ 202 h 259"/>
                <a:gd name="T36" fmla="*/ 327 w 354"/>
                <a:gd name="T37" fmla="*/ 215 h 259"/>
                <a:gd name="T38" fmla="*/ 308 w 354"/>
                <a:gd name="T39" fmla="*/ 204 h 259"/>
                <a:gd name="T40" fmla="*/ 289 w 354"/>
                <a:gd name="T41" fmla="*/ 203 h 259"/>
                <a:gd name="T42" fmla="*/ 262 w 354"/>
                <a:gd name="T43" fmla="*/ 222 h 259"/>
                <a:gd name="T44" fmla="*/ 252 w 354"/>
                <a:gd name="T45" fmla="*/ 234 h 259"/>
                <a:gd name="T46" fmla="*/ 238 w 354"/>
                <a:gd name="T47" fmla="*/ 248 h 259"/>
                <a:gd name="T48" fmla="*/ 220 w 354"/>
                <a:gd name="T49" fmla="*/ 246 h 259"/>
                <a:gd name="T50" fmla="*/ 199 w 354"/>
                <a:gd name="T51" fmla="*/ 242 h 259"/>
                <a:gd name="T52" fmla="*/ 176 w 354"/>
                <a:gd name="T53" fmla="*/ 248 h 259"/>
                <a:gd name="T54" fmla="*/ 166 w 354"/>
                <a:gd name="T55" fmla="*/ 258 h 259"/>
                <a:gd name="T56" fmla="*/ 157 w 354"/>
                <a:gd name="T57" fmla="*/ 251 h 259"/>
                <a:gd name="T58" fmla="*/ 141 w 354"/>
                <a:gd name="T59" fmla="*/ 257 h 259"/>
                <a:gd name="T60" fmla="*/ 124 w 354"/>
                <a:gd name="T61" fmla="*/ 247 h 259"/>
                <a:gd name="T62" fmla="*/ 107 w 354"/>
                <a:gd name="T63" fmla="*/ 233 h 259"/>
                <a:gd name="T64" fmla="*/ 110 w 354"/>
                <a:gd name="T65" fmla="*/ 220 h 259"/>
                <a:gd name="T66" fmla="*/ 95 w 354"/>
                <a:gd name="T67" fmla="*/ 213 h 259"/>
                <a:gd name="T68" fmla="*/ 80 w 354"/>
                <a:gd name="T69" fmla="*/ 201 h 259"/>
                <a:gd name="T70" fmla="*/ 61 w 354"/>
                <a:gd name="T71" fmla="*/ 187 h 259"/>
                <a:gd name="T72" fmla="*/ 46 w 354"/>
                <a:gd name="T73" fmla="*/ 177 h 259"/>
                <a:gd name="T74" fmla="*/ 39 w 354"/>
                <a:gd name="T75" fmla="*/ 163 h 259"/>
                <a:gd name="T76" fmla="*/ 27 w 354"/>
                <a:gd name="T77" fmla="*/ 150 h 259"/>
                <a:gd name="T78" fmla="*/ 30 w 354"/>
                <a:gd name="T79" fmla="*/ 125 h 259"/>
                <a:gd name="T80" fmla="*/ 18 w 354"/>
                <a:gd name="T81" fmla="*/ 106 h 259"/>
                <a:gd name="T82" fmla="*/ 3 w 354"/>
                <a:gd name="T83" fmla="*/ 94 h 259"/>
                <a:gd name="T84" fmla="*/ 2 w 354"/>
                <a:gd name="T85" fmla="*/ 84 h 259"/>
                <a:gd name="T86" fmla="*/ 9 w 354"/>
                <a:gd name="T87" fmla="*/ 73 h 259"/>
                <a:gd name="T88" fmla="*/ 4 w 354"/>
                <a:gd name="T89" fmla="*/ 58 h 259"/>
                <a:gd name="T90" fmla="*/ 23 w 354"/>
                <a:gd name="T91" fmla="*/ 58 h 259"/>
                <a:gd name="T92" fmla="*/ 32 w 354"/>
                <a:gd name="T93" fmla="*/ 77 h 259"/>
                <a:gd name="T94" fmla="*/ 47 w 354"/>
                <a:gd name="T95" fmla="*/ 87 h 259"/>
                <a:gd name="T96" fmla="*/ 45 w 354"/>
                <a:gd name="T97" fmla="*/ 94 h 259"/>
                <a:gd name="T98" fmla="*/ 54 w 354"/>
                <a:gd name="T99" fmla="*/ 112 h 259"/>
                <a:gd name="T100" fmla="*/ 58 w 354"/>
                <a:gd name="T101" fmla="*/ 126 h 259"/>
                <a:gd name="T102" fmla="*/ 67 w 354"/>
                <a:gd name="T103" fmla="*/ 121 h 259"/>
                <a:gd name="T104" fmla="*/ 69 w 354"/>
                <a:gd name="T105" fmla="*/ 99 h 259"/>
                <a:gd name="T106" fmla="*/ 75 w 354"/>
                <a:gd name="T107" fmla="*/ 90 h 259"/>
                <a:gd name="T108" fmla="*/ 88 w 354"/>
                <a:gd name="T109" fmla="*/ 69 h 259"/>
                <a:gd name="T110" fmla="*/ 100 w 354"/>
                <a:gd name="T111" fmla="*/ 55 h 259"/>
                <a:gd name="T112" fmla="*/ 116 w 354"/>
                <a:gd name="T113" fmla="*/ 43 h 259"/>
                <a:gd name="T114" fmla="*/ 128 w 354"/>
                <a:gd name="T115" fmla="*/ 26 h 259"/>
                <a:gd name="T116" fmla="*/ 171 w 354"/>
                <a:gd name="T117" fmla="*/ 21 h 259"/>
                <a:gd name="T118" fmla="*/ 191 w 354"/>
                <a:gd name="T119" fmla="*/ 14 h 259"/>
                <a:gd name="T120" fmla="*/ 208 w 354"/>
                <a:gd name="T121" fmla="*/ 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4" h="259">
                  <a:moveTo>
                    <a:pt x="217" y="0"/>
                  </a:moveTo>
                  <a:lnTo>
                    <a:pt x="218" y="1"/>
                  </a:lnTo>
                  <a:lnTo>
                    <a:pt x="220" y="2"/>
                  </a:lnTo>
                  <a:lnTo>
                    <a:pt x="221" y="3"/>
                  </a:lnTo>
                  <a:lnTo>
                    <a:pt x="226" y="6"/>
                  </a:lnTo>
                  <a:lnTo>
                    <a:pt x="231" y="10"/>
                  </a:lnTo>
                  <a:lnTo>
                    <a:pt x="233" y="12"/>
                  </a:lnTo>
                  <a:lnTo>
                    <a:pt x="235" y="12"/>
                  </a:lnTo>
                  <a:lnTo>
                    <a:pt x="237" y="14"/>
                  </a:lnTo>
                  <a:lnTo>
                    <a:pt x="239" y="16"/>
                  </a:lnTo>
                  <a:lnTo>
                    <a:pt x="240" y="16"/>
                  </a:lnTo>
                  <a:lnTo>
                    <a:pt x="241" y="17"/>
                  </a:lnTo>
                  <a:lnTo>
                    <a:pt x="242" y="18"/>
                  </a:lnTo>
                  <a:lnTo>
                    <a:pt x="243" y="18"/>
                  </a:lnTo>
                  <a:lnTo>
                    <a:pt x="244" y="19"/>
                  </a:lnTo>
                  <a:lnTo>
                    <a:pt x="246" y="20"/>
                  </a:lnTo>
                  <a:lnTo>
                    <a:pt x="248" y="22"/>
                  </a:lnTo>
                  <a:lnTo>
                    <a:pt x="249" y="23"/>
                  </a:lnTo>
                  <a:lnTo>
                    <a:pt x="251" y="25"/>
                  </a:lnTo>
                  <a:lnTo>
                    <a:pt x="251" y="26"/>
                  </a:lnTo>
                  <a:lnTo>
                    <a:pt x="252" y="26"/>
                  </a:lnTo>
                  <a:lnTo>
                    <a:pt x="252" y="26"/>
                  </a:lnTo>
                  <a:lnTo>
                    <a:pt x="253" y="26"/>
                  </a:lnTo>
                  <a:lnTo>
                    <a:pt x="253" y="26"/>
                  </a:lnTo>
                  <a:lnTo>
                    <a:pt x="253" y="26"/>
                  </a:lnTo>
                  <a:lnTo>
                    <a:pt x="257" y="29"/>
                  </a:lnTo>
                  <a:lnTo>
                    <a:pt x="259" y="30"/>
                  </a:lnTo>
                  <a:lnTo>
                    <a:pt x="260" y="30"/>
                  </a:lnTo>
                  <a:lnTo>
                    <a:pt x="260" y="31"/>
                  </a:lnTo>
                  <a:lnTo>
                    <a:pt x="262" y="31"/>
                  </a:lnTo>
                  <a:lnTo>
                    <a:pt x="265" y="32"/>
                  </a:lnTo>
                  <a:lnTo>
                    <a:pt x="267" y="32"/>
                  </a:lnTo>
                  <a:lnTo>
                    <a:pt x="269" y="32"/>
                  </a:lnTo>
                  <a:lnTo>
                    <a:pt x="272" y="32"/>
                  </a:lnTo>
                  <a:lnTo>
                    <a:pt x="273" y="33"/>
                  </a:lnTo>
                  <a:lnTo>
                    <a:pt x="275" y="33"/>
                  </a:lnTo>
                  <a:lnTo>
                    <a:pt x="278" y="34"/>
                  </a:lnTo>
                  <a:lnTo>
                    <a:pt x="280" y="35"/>
                  </a:lnTo>
                  <a:lnTo>
                    <a:pt x="281" y="35"/>
                  </a:lnTo>
                  <a:lnTo>
                    <a:pt x="283" y="35"/>
                  </a:lnTo>
                  <a:lnTo>
                    <a:pt x="285" y="35"/>
                  </a:lnTo>
                  <a:lnTo>
                    <a:pt x="287" y="35"/>
                  </a:lnTo>
                  <a:lnTo>
                    <a:pt x="288" y="36"/>
                  </a:lnTo>
                  <a:lnTo>
                    <a:pt x="289" y="36"/>
                  </a:lnTo>
                  <a:lnTo>
                    <a:pt x="289" y="36"/>
                  </a:lnTo>
                  <a:lnTo>
                    <a:pt x="291" y="37"/>
                  </a:lnTo>
                  <a:lnTo>
                    <a:pt x="294" y="38"/>
                  </a:lnTo>
                  <a:lnTo>
                    <a:pt x="295" y="39"/>
                  </a:lnTo>
                  <a:lnTo>
                    <a:pt x="295" y="39"/>
                  </a:lnTo>
                  <a:lnTo>
                    <a:pt x="296" y="40"/>
                  </a:lnTo>
                  <a:lnTo>
                    <a:pt x="296" y="40"/>
                  </a:lnTo>
                  <a:lnTo>
                    <a:pt x="296" y="41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7" y="42"/>
                  </a:lnTo>
                  <a:lnTo>
                    <a:pt x="297" y="43"/>
                  </a:lnTo>
                  <a:lnTo>
                    <a:pt x="298" y="44"/>
                  </a:lnTo>
                  <a:lnTo>
                    <a:pt x="298" y="46"/>
                  </a:lnTo>
                  <a:lnTo>
                    <a:pt x="298" y="47"/>
                  </a:lnTo>
                  <a:lnTo>
                    <a:pt x="298" y="48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9" y="50"/>
                  </a:lnTo>
                  <a:lnTo>
                    <a:pt x="299" y="50"/>
                  </a:lnTo>
                  <a:lnTo>
                    <a:pt x="299" y="51"/>
                  </a:lnTo>
                  <a:lnTo>
                    <a:pt x="300" y="51"/>
                  </a:lnTo>
                  <a:lnTo>
                    <a:pt x="300" y="51"/>
                  </a:lnTo>
                  <a:lnTo>
                    <a:pt x="301" y="51"/>
                  </a:lnTo>
                  <a:lnTo>
                    <a:pt x="301" y="51"/>
                  </a:lnTo>
                  <a:lnTo>
                    <a:pt x="302" y="51"/>
                  </a:lnTo>
                  <a:lnTo>
                    <a:pt x="302" y="51"/>
                  </a:lnTo>
                  <a:lnTo>
                    <a:pt x="303" y="51"/>
                  </a:lnTo>
                  <a:lnTo>
                    <a:pt x="304" y="51"/>
                  </a:lnTo>
                  <a:lnTo>
                    <a:pt x="305" y="51"/>
                  </a:lnTo>
                  <a:lnTo>
                    <a:pt x="307" y="51"/>
                  </a:lnTo>
                  <a:lnTo>
                    <a:pt x="308" y="50"/>
                  </a:lnTo>
                  <a:lnTo>
                    <a:pt x="308" y="50"/>
                  </a:lnTo>
                  <a:lnTo>
                    <a:pt x="310" y="50"/>
                  </a:lnTo>
                  <a:lnTo>
                    <a:pt x="311" y="51"/>
                  </a:lnTo>
                  <a:lnTo>
                    <a:pt x="315" y="51"/>
                  </a:lnTo>
                  <a:lnTo>
                    <a:pt x="317" y="51"/>
                  </a:lnTo>
                  <a:lnTo>
                    <a:pt x="318" y="51"/>
                  </a:lnTo>
                  <a:lnTo>
                    <a:pt x="321" y="51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7" y="51"/>
                  </a:lnTo>
                  <a:lnTo>
                    <a:pt x="328" y="51"/>
                  </a:lnTo>
                  <a:lnTo>
                    <a:pt x="328" y="51"/>
                  </a:lnTo>
                  <a:lnTo>
                    <a:pt x="329" y="51"/>
                  </a:lnTo>
                  <a:lnTo>
                    <a:pt x="329" y="51"/>
                  </a:lnTo>
                  <a:lnTo>
                    <a:pt x="330" y="51"/>
                  </a:lnTo>
                  <a:lnTo>
                    <a:pt x="331" y="52"/>
                  </a:lnTo>
                  <a:lnTo>
                    <a:pt x="332" y="52"/>
                  </a:lnTo>
                  <a:lnTo>
                    <a:pt x="332" y="53"/>
                  </a:lnTo>
                  <a:lnTo>
                    <a:pt x="333" y="54"/>
                  </a:lnTo>
                  <a:lnTo>
                    <a:pt x="333" y="54"/>
                  </a:lnTo>
                  <a:lnTo>
                    <a:pt x="334" y="55"/>
                  </a:lnTo>
                  <a:lnTo>
                    <a:pt x="334" y="56"/>
                  </a:lnTo>
                  <a:lnTo>
                    <a:pt x="335" y="58"/>
                  </a:lnTo>
                  <a:lnTo>
                    <a:pt x="336" y="59"/>
                  </a:lnTo>
                  <a:lnTo>
                    <a:pt x="336" y="60"/>
                  </a:lnTo>
                  <a:lnTo>
                    <a:pt x="336" y="61"/>
                  </a:lnTo>
                  <a:lnTo>
                    <a:pt x="336" y="62"/>
                  </a:lnTo>
                  <a:lnTo>
                    <a:pt x="336" y="63"/>
                  </a:lnTo>
                  <a:lnTo>
                    <a:pt x="336" y="64"/>
                  </a:lnTo>
                  <a:lnTo>
                    <a:pt x="336" y="66"/>
                  </a:lnTo>
                  <a:lnTo>
                    <a:pt x="336" y="67"/>
                  </a:lnTo>
                  <a:lnTo>
                    <a:pt x="335" y="69"/>
                  </a:lnTo>
                  <a:lnTo>
                    <a:pt x="335" y="70"/>
                  </a:lnTo>
                  <a:lnTo>
                    <a:pt x="335" y="71"/>
                  </a:lnTo>
                  <a:lnTo>
                    <a:pt x="335" y="72"/>
                  </a:lnTo>
                  <a:lnTo>
                    <a:pt x="335" y="73"/>
                  </a:lnTo>
                  <a:lnTo>
                    <a:pt x="335" y="76"/>
                  </a:lnTo>
                  <a:lnTo>
                    <a:pt x="335" y="76"/>
                  </a:lnTo>
                  <a:lnTo>
                    <a:pt x="335" y="77"/>
                  </a:lnTo>
                  <a:lnTo>
                    <a:pt x="334" y="78"/>
                  </a:lnTo>
                  <a:lnTo>
                    <a:pt x="334" y="80"/>
                  </a:lnTo>
                  <a:lnTo>
                    <a:pt x="333" y="84"/>
                  </a:lnTo>
                  <a:lnTo>
                    <a:pt x="333" y="85"/>
                  </a:lnTo>
                  <a:lnTo>
                    <a:pt x="333" y="86"/>
                  </a:lnTo>
                  <a:lnTo>
                    <a:pt x="333" y="87"/>
                  </a:lnTo>
                  <a:lnTo>
                    <a:pt x="333" y="88"/>
                  </a:lnTo>
                  <a:lnTo>
                    <a:pt x="333" y="89"/>
                  </a:lnTo>
                  <a:lnTo>
                    <a:pt x="334" y="91"/>
                  </a:lnTo>
                  <a:lnTo>
                    <a:pt x="334" y="92"/>
                  </a:lnTo>
                  <a:lnTo>
                    <a:pt x="335" y="94"/>
                  </a:lnTo>
                  <a:lnTo>
                    <a:pt x="335" y="96"/>
                  </a:lnTo>
                  <a:lnTo>
                    <a:pt x="335" y="98"/>
                  </a:lnTo>
                  <a:lnTo>
                    <a:pt x="335" y="99"/>
                  </a:lnTo>
                  <a:lnTo>
                    <a:pt x="335" y="100"/>
                  </a:lnTo>
                  <a:lnTo>
                    <a:pt x="335" y="102"/>
                  </a:lnTo>
                  <a:lnTo>
                    <a:pt x="335" y="103"/>
                  </a:lnTo>
                  <a:lnTo>
                    <a:pt x="334" y="103"/>
                  </a:lnTo>
                  <a:lnTo>
                    <a:pt x="335" y="104"/>
                  </a:lnTo>
                  <a:lnTo>
                    <a:pt x="335" y="105"/>
                  </a:lnTo>
                  <a:lnTo>
                    <a:pt x="335" y="105"/>
                  </a:lnTo>
                  <a:lnTo>
                    <a:pt x="335" y="106"/>
                  </a:lnTo>
                  <a:lnTo>
                    <a:pt x="336" y="106"/>
                  </a:lnTo>
                  <a:lnTo>
                    <a:pt x="336" y="107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9" y="110"/>
                  </a:lnTo>
                  <a:lnTo>
                    <a:pt x="339" y="111"/>
                  </a:lnTo>
                  <a:lnTo>
                    <a:pt x="339" y="111"/>
                  </a:lnTo>
                  <a:lnTo>
                    <a:pt x="340" y="113"/>
                  </a:lnTo>
                  <a:lnTo>
                    <a:pt x="340" y="114"/>
                  </a:lnTo>
                  <a:lnTo>
                    <a:pt x="340" y="117"/>
                  </a:lnTo>
                  <a:lnTo>
                    <a:pt x="340" y="118"/>
                  </a:lnTo>
                  <a:lnTo>
                    <a:pt x="340" y="118"/>
                  </a:lnTo>
                  <a:lnTo>
                    <a:pt x="340" y="119"/>
                  </a:lnTo>
                  <a:lnTo>
                    <a:pt x="340" y="119"/>
                  </a:lnTo>
                  <a:lnTo>
                    <a:pt x="342" y="122"/>
                  </a:lnTo>
                  <a:lnTo>
                    <a:pt x="343" y="123"/>
                  </a:lnTo>
                  <a:lnTo>
                    <a:pt x="344" y="125"/>
                  </a:lnTo>
                  <a:lnTo>
                    <a:pt x="345" y="127"/>
                  </a:lnTo>
                  <a:lnTo>
                    <a:pt x="347" y="131"/>
                  </a:lnTo>
                  <a:lnTo>
                    <a:pt x="347" y="133"/>
                  </a:lnTo>
                  <a:lnTo>
                    <a:pt x="348" y="134"/>
                  </a:lnTo>
                  <a:lnTo>
                    <a:pt x="348" y="137"/>
                  </a:lnTo>
                  <a:lnTo>
                    <a:pt x="349" y="138"/>
                  </a:lnTo>
                  <a:lnTo>
                    <a:pt x="349" y="139"/>
                  </a:lnTo>
                  <a:lnTo>
                    <a:pt x="349" y="139"/>
                  </a:lnTo>
                  <a:lnTo>
                    <a:pt x="349" y="140"/>
                  </a:lnTo>
                  <a:lnTo>
                    <a:pt x="349" y="141"/>
                  </a:lnTo>
                  <a:lnTo>
                    <a:pt x="348" y="141"/>
                  </a:lnTo>
                  <a:lnTo>
                    <a:pt x="348" y="142"/>
                  </a:lnTo>
                  <a:lnTo>
                    <a:pt x="348" y="142"/>
                  </a:lnTo>
                  <a:lnTo>
                    <a:pt x="347" y="143"/>
                  </a:lnTo>
                  <a:lnTo>
                    <a:pt x="347" y="144"/>
                  </a:lnTo>
                  <a:lnTo>
                    <a:pt x="347" y="144"/>
                  </a:lnTo>
                  <a:lnTo>
                    <a:pt x="347" y="145"/>
                  </a:lnTo>
                  <a:lnTo>
                    <a:pt x="347" y="146"/>
                  </a:lnTo>
                  <a:lnTo>
                    <a:pt x="347" y="148"/>
                  </a:lnTo>
                  <a:lnTo>
                    <a:pt x="348" y="149"/>
                  </a:lnTo>
                  <a:lnTo>
                    <a:pt x="348" y="149"/>
                  </a:lnTo>
                  <a:lnTo>
                    <a:pt x="348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1"/>
                  </a:lnTo>
                  <a:lnTo>
                    <a:pt x="346" y="151"/>
                  </a:lnTo>
                  <a:lnTo>
                    <a:pt x="346" y="151"/>
                  </a:lnTo>
                  <a:lnTo>
                    <a:pt x="343" y="150"/>
                  </a:lnTo>
                  <a:lnTo>
                    <a:pt x="342" y="150"/>
                  </a:lnTo>
                  <a:lnTo>
                    <a:pt x="341" y="150"/>
                  </a:lnTo>
                  <a:lnTo>
                    <a:pt x="340" y="150"/>
                  </a:lnTo>
                  <a:lnTo>
                    <a:pt x="340" y="150"/>
                  </a:lnTo>
                  <a:lnTo>
                    <a:pt x="339" y="150"/>
                  </a:lnTo>
                  <a:lnTo>
                    <a:pt x="338" y="151"/>
                  </a:lnTo>
                  <a:lnTo>
                    <a:pt x="337" y="151"/>
                  </a:lnTo>
                  <a:lnTo>
                    <a:pt x="337" y="151"/>
                  </a:lnTo>
                  <a:lnTo>
                    <a:pt x="337" y="152"/>
                  </a:lnTo>
                  <a:lnTo>
                    <a:pt x="336" y="152"/>
                  </a:lnTo>
                  <a:lnTo>
                    <a:pt x="336" y="153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7" y="156"/>
                  </a:lnTo>
                  <a:lnTo>
                    <a:pt x="338" y="156"/>
                  </a:lnTo>
                  <a:lnTo>
                    <a:pt x="338" y="157"/>
                  </a:lnTo>
                  <a:lnTo>
                    <a:pt x="339" y="157"/>
                  </a:lnTo>
                  <a:lnTo>
                    <a:pt x="343" y="157"/>
                  </a:lnTo>
                  <a:lnTo>
                    <a:pt x="344" y="158"/>
                  </a:lnTo>
                  <a:lnTo>
                    <a:pt x="344" y="158"/>
                  </a:lnTo>
                  <a:lnTo>
                    <a:pt x="345" y="158"/>
                  </a:lnTo>
                  <a:lnTo>
                    <a:pt x="346" y="159"/>
                  </a:lnTo>
                  <a:lnTo>
                    <a:pt x="347" y="159"/>
                  </a:lnTo>
                  <a:lnTo>
                    <a:pt x="348" y="160"/>
                  </a:lnTo>
                  <a:lnTo>
                    <a:pt x="348" y="161"/>
                  </a:lnTo>
                  <a:lnTo>
                    <a:pt x="349" y="162"/>
                  </a:lnTo>
                  <a:lnTo>
                    <a:pt x="351" y="164"/>
                  </a:lnTo>
                  <a:lnTo>
                    <a:pt x="352" y="165"/>
                  </a:lnTo>
                  <a:lnTo>
                    <a:pt x="352" y="166"/>
                  </a:lnTo>
                  <a:lnTo>
                    <a:pt x="353" y="167"/>
                  </a:lnTo>
                  <a:lnTo>
                    <a:pt x="353" y="168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3" y="170"/>
                  </a:lnTo>
                  <a:lnTo>
                    <a:pt x="352" y="171"/>
                  </a:lnTo>
                  <a:lnTo>
                    <a:pt x="352" y="171"/>
                  </a:lnTo>
                  <a:lnTo>
                    <a:pt x="351" y="172"/>
                  </a:lnTo>
                  <a:lnTo>
                    <a:pt x="351" y="172"/>
                  </a:lnTo>
                  <a:lnTo>
                    <a:pt x="351" y="172"/>
                  </a:lnTo>
                  <a:lnTo>
                    <a:pt x="350" y="174"/>
                  </a:lnTo>
                  <a:lnTo>
                    <a:pt x="350" y="175"/>
                  </a:lnTo>
                  <a:lnTo>
                    <a:pt x="349" y="177"/>
                  </a:lnTo>
                  <a:lnTo>
                    <a:pt x="349" y="177"/>
                  </a:lnTo>
                  <a:lnTo>
                    <a:pt x="349" y="178"/>
                  </a:lnTo>
                  <a:lnTo>
                    <a:pt x="349" y="179"/>
                  </a:lnTo>
                  <a:lnTo>
                    <a:pt x="349" y="179"/>
                  </a:lnTo>
                  <a:lnTo>
                    <a:pt x="349" y="180"/>
                  </a:lnTo>
                  <a:lnTo>
                    <a:pt x="350" y="180"/>
                  </a:lnTo>
                  <a:lnTo>
                    <a:pt x="350" y="182"/>
                  </a:lnTo>
                  <a:lnTo>
                    <a:pt x="351" y="182"/>
                  </a:lnTo>
                  <a:lnTo>
                    <a:pt x="351" y="183"/>
                  </a:lnTo>
                  <a:lnTo>
                    <a:pt x="351" y="183"/>
                  </a:lnTo>
                  <a:lnTo>
                    <a:pt x="351" y="184"/>
                  </a:lnTo>
                  <a:lnTo>
                    <a:pt x="351" y="184"/>
                  </a:lnTo>
                  <a:lnTo>
                    <a:pt x="351" y="185"/>
                  </a:lnTo>
                  <a:lnTo>
                    <a:pt x="351" y="186"/>
                  </a:lnTo>
                  <a:lnTo>
                    <a:pt x="351" y="186"/>
                  </a:lnTo>
                  <a:lnTo>
                    <a:pt x="350" y="187"/>
                  </a:lnTo>
                  <a:lnTo>
                    <a:pt x="350" y="188"/>
                  </a:lnTo>
                  <a:lnTo>
                    <a:pt x="349" y="188"/>
                  </a:lnTo>
                  <a:lnTo>
                    <a:pt x="348" y="189"/>
                  </a:lnTo>
                  <a:lnTo>
                    <a:pt x="347" y="189"/>
                  </a:lnTo>
                  <a:lnTo>
                    <a:pt x="346" y="190"/>
                  </a:lnTo>
                  <a:lnTo>
                    <a:pt x="345" y="191"/>
                  </a:lnTo>
                  <a:lnTo>
                    <a:pt x="344" y="191"/>
                  </a:lnTo>
                  <a:lnTo>
                    <a:pt x="341" y="192"/>
                  </a:lnTo>
                  <a:lnTo>
                    <a:pt x="339" y="193"/>
                  </a:lnTo>
                  <a:lnTo>
                    <a:pt x="339" y="193"/>
                  </a:lnTo>
                  <a:lnTo>
                    <a:pt x="337" y="193"/>
                  </a:lnTo>
                  <a:lnTo>
                    <a:pt x="336" y="194"/>
                  </a:lnTo>
                  <a:lnTo>
                    <a:pt x="335" y="194"/>
                  </a:lnTo>
                  <a:lnTo>
                    <a:pt x="335" y="195"/>
                  </a:lnTo>
                  <a:lnTo>
                    <a:pt x="335" y="195"/>
                  </a:lnTo>
                  <a:lnTo>
                    <a:pt x="334" y="195"/>
                  </a:lnTo>
                  <a:lnTo>
                    <a:pt x="334" y="196"/>
                  </a:lnTo>
                  <a:lnTo>
                    <a:pt x="334" y="196"/>
                  </a:lnTo>
                  <a:lnTo>
                    <a:pt x="334" y="197"/>
                  </a:lnTo>
                  <a:lnTo>
                    <a:pt x="334" y="199"/>
                  </a:lnTo>
                  <a:lnTo>
                    <a:pt x="334" y="200"/>
                  </a:lnTo>
                  <a:lnTo>
                    <a:pt x="334" y="202"/>
                  </a:lnTo>
                  <a:lnTo>
                    <a:pt x="334" y="203"/>
                  </a:lnTo>
                  <a:lnTo>
                    <a:pt x="334" y="204"/>
                  </a:lnTo>
                  <a:lnTo>
                    <a:pt x="334" y="205"/>
                  </a:lnTo>
                  <a:lnTo>
                    <a:pt x="332" y="211"/>
                  </a:lnTo>
                  <a:lnTo>
                    <a:pt x="332" y="212"/>
                  </a:lnTo>
                  <a:lnTo>
                    <a:pt x="332" y="213"/>
                  </a:lnTo>
                  <a:lnTo>
                    <a:pt x="332" y="214"/>
                  </a:lnTo>
                  <a:lnTo>
                    <a:pt x="331" y="214"/>
                  </a:lnTo>
                  <a:lnTo>
                    <a:pt x="331" y="215"/>
                  </a:lnTo>
                  <a:lnTo>
                    <a:pt x="330" y="215"/>
                  </a:lnTo>
                  <a:lnTo>
                    <a:pt x="329" y="215"/>
                  </a:lnTo>
                  <a:lnTo>
                    <a:pt x="329" y="215"/>
                  </a:lnTo>
                  <a:lnTo>
                    <a:pt x="328" y="215"/>
                  </a:lnTo>
                  <a:lnTo>
                    <a:pt x="327" y="215"/>
                  </a:lnTo>
                  <a:lnTo>
                    <a:pt x="327" y="215"/>
                  </a:lnTo>
                  <a:lnTo>
                    <a:pt x="326" y="215"/>
                  </a:lnTo>
                  <a:lnTo>
                    <a:pt x="325" y="214"/>
                  </a:lnTo>
                  <a:lnTo>
                    <a:pt x="324" y="214"/>
                  </a:lnTo>
                  <a:lnTo>
                    <a:pt x="323" y="213"/>
                  </a:lnTo>
                  <a:lnTo>
                    <a:pt x="322" y="212"/>
                  </a:lnTo>
                  <a:lnTo>
                    <a:pt x="319" y="210"/>
                  </a:lnTo>
                  <a:lnTo>
                    <a:pt x="318" y="209"/>
                  </a:lnTo>
                  <a:lnTo>
                    <a:pt x="317" y="209"/>
                  </a:lnTo>
                  <a:lnTo>
                    <a:pt x="315" y="207"/>
                  </a:lnTo>
                  <a:lnTo>
                    <a:pt x="314" y="206"/>
                  </a:lnTo>
                  <a:lnTo>
                    <a:pt x="313" y="205"/>
                  </a:lnTo>
                  <a:lnTo>
                    <a:pt x="312" y="205"/>
                  </a:lnTo>
                  <a:lnTo>
                    <a:pt x="311" y="204"/>
                  </a:lnTo>
                  <a:lnTo>
                    <a:pt x="310" y="204"/>
                  </a:lnTo>
                  <a:lnTo>
                    <a:pt x="308" y="204"/>
                  </a:lnTo>
                  <a:lnTo>
                    <a:pt x="307" y="203"/>
                  </a:lnTo>
                  <a:lnTo>
                    <a:pt x="306" y="203"/>
                  </a:lnTo>
                  <a:lnTo>
                    <a:pt x="303" y="203"/>
                  </a:lnTo>
                  <a:lnTo>
                    <a:pt x="299" y="203"/>
                  </a:lnTo>
                  <a:lnTo>
                    <a:pt x="299" y="202"/>
                  </a:lnTo>
                  <a:lnTo>
                    <a:pt x="296" y="202"/>
                  </a:lnTo>
                  <a:lnTo>
                    <a:pt x="294" y="201"/>
                  </a:lnTo>
                  <a:lnTo>
                    <a:pt x="293" y="201"/>
                  </a:lnTo>
                  <a:lnTo>
                    <a:pt x="292" y="201"/>
                  </a:lnTo>
                  <a:lnTo>
                    <a:pt x="292" y="201"/>
                  </a:lnTo>
                  <a:lnTo>
                    <a:pt x="291" y="201"/>
                  </a:lnTo>
                  <a:lnTo>
                    <a:pt x="291" y="202"/>
                  </a:lnTo>
                  <a:lnTo>
                    <a:pt x="290" y="202"/>
                  </a:lnTo>
                  <a:lnTo>
                    <a:pt x="289" y="202"/>
                  </a:lnTo>
                  <a:lnTo>
                    <a:pt x="289" y="203"/>
                  </a:lnTo>
                  <a:lnTo>
                    <a:pt x="287" y="205"/>
                  </a:lnTo>
                  <a:lnTo>
                    <a:pt x="285" y="206"/>
                  </a:lnTo>
                  <a:lnTo>
                    <a:pt x="284" y="208"/>
                  </a:lnTo>
                  <a:lnTo>
                    <a:pt x="282" y="209"/>
                  </a:lnTo>
                  <a:lnTo>
                    <a:pt x="282" y="210"/>
                  </a:lnTo>
                  <a:lnTo>
                    <a:pt x="279" y="211"/>
                  </a:lnTo>
                  <a:lnTo>
                    <a:pt x="277" y="212"/>
                  </a:lnTo>
                  <a:lnTo>
                    <a:pt x="276" y="213"/>
                  </a:lnTo>
                  <a:lnTo>
                    <a:pt x="274" y="215"/>
                  </a:lnTo>
                  <a:lnTo>
                    <a:pt x="269" y="218"/>
                  </a:lnTo>
                  <a:lnTo>
                    <a:pt x="268" y="218"/>
                  </a:lnTo>
                  <a:lnTo>
                    <a:pt x="266" y="219"/>
                  </a:lnTo>
                  <a:lnTo>
                    <a:pt x="265" y="220"/>
                  </a:lnTo>
                  <a:lnTo>
                    <a:pt x="264" y="221"/>
                  </a:lnTo>
                  <a:lnTo>
                    <a:pt x="262" y="222"/>
                  </a:lnTo>
                  <a:lnTo>
                    <a:pt x="262" y="222"/>
                  </a:lnTo>
                  <a:lnTo>
                    <a:pt x="258" y="224"/>
                  </a:lnTo>
                  <a:lnTo>
                    <a:pt x="256" y="225"/>
                  </a:lnTo>
                  <a:lnTo>
                    <a:pt x="255" y="225"/>
                  </a:lnTo>
                  <a:lnTo>
                    <a:pt x="254" y="225"/>
                  </a:lnTo>
                  <a:lnTo>
                    <a:pt x="254" y="226"/>
                  </a:lnTo>
                  <a:lnTo>
                    <a:pt x="253" y="226"/>
                  </a:lnTo>
                  <a:lnTo>
                    <a:pt x="253" y="227"/>
                  </a:lnTo>
                  <a:lnTo>
                    <a:pt x="252" y="228"/>
                  </a:lnTo>
                  <a:lnTo>
                    <a:pt x="252" y="228"/>
                  </a:lnTo>
                  <a:lnTo>
                    <a:pt x="252" y="229"/>
                  </a:lnTo>
                  <a:lnTo>
                    <a:pt x="252" y="229"/>
                  </a:lnTo>
                  <a:lnTo>
                    <a:pt x="252" y="232"/>
                  </a:lnTo>
                  <a:lnTo>
                    <a:pt x="252" y="233"/>
                  </a:lnTo>
                  <a:lnTo>
                    <a:pt x="252" y="234"/>
                  </a:lnTo>
                  <a:lnTo>
                    <a:pt x="251" y="239"/>
                  </a:lnTo>
                  <a:lnTo>
                    <a:pt x="251" y="239"/>
                  </a:lnTo>
                  <a:lnTo>
                    <a:pt x="250" y="240"/>
                  </a:lnTo>
                  <a:lnTo>
                    <a:pt x="250" y="241"/>
                  </a:lnTo>
                  <a:lnTo>
                    <a:pt x="249" y="242"/>
                  </a:lnTo>
                  <a:lnTo>
                    <a:pt x="248" y="243"/>
                  </a:lnTo>
                  <a:lnTo>
                    <a:pt x="247" y="244"/>
                  </a:lnTo>
                  <a:lnTo>
                    <a:pt x="245" y="245"/>
                  </a:lnTo>
                  <a:lnTo>
                    <a:pt x="244" y="246"/>
                  </a:lnTo>
                  <a:lnTo>
                    <a:pt x="243" y="247"/>
                  </a:lnTo>
                  <a:lnTo>
                    <a:pt x="242" y="247"/>
                  </a:lnTo>
                  <a:lnTo>
                    <a:pt x="241" y="248"/>
                  </a:lnTo>
                  <a:lnTo>
                    <a:pt x="240" y="248"/>
                  </a:lnTo>
                  <a:lnTo>
                    <a:pt x="239" y="248"/>
                  </a:lnTo>
                  <a:lnTo>
                    <a:pt x="238" y="248"/>
                  </a:lnTo>
                  <a:lnTo>
                    <a:pt x="238" y="248"/>
                  </a:lnTo>
                  <a:lnTo>
                    <a:pt x="237" y="247"/>
                  </a:lnTo>
                  <a:lnTo>
                    <a:pt x="234" y="246"/>
                  </a:lnTo>
                  <a:lnTo>
                    <a:pt x="233" y="246"/>
                  </a:lnTo>
                  <a:lnTo>
                    <a:pt x="232" y="246"/>
                  </a:lnTo>
                  <a:lnTo>
                    <a:pt x="231" y="245"/>
                  </a:lnTo>
                  <a:lnTo>
                    <a:pt x="230" y="245"/>
                  </a:lnTo>
                  <a:lnTo>
                    <a:pt x="229" y="246"/>
                  </a:lnTo>
                  <a:lnTo>
                    <a:pt x="228" y="246"/>
                  </a:lnTo>
                  <a:lnTo>
                    <a:pt x="226" y="246"/>
                  </a:lnTo>
                  <a:lnTo>
                    <a:pt x="224" y="246"/>
                  </a:lnTo>
                  <a:lnTo>
                    <a:pt x="223" y="246"/>
                  </a:lnTo>
                  <a:lnTo>
                    <a:pt x="222" y="246"/>
                  </a:lnTo>
                  <a:lnTo>
                    <a:pt x="221" y="246"/>
                  </a:lnTo>
                  <a:lnTo>
                    <a:pt x="220" y="246"/>
                  </a:lnTo>
                  <a:lnTo>
                    <a:pt x="219" y="246"/>
                  </a:lnTo>
                  <a:lnTo>
                    <a:pt x="218" y="246"/>
                  </a:lnTo>
                  <a:lnTo>
                    <a:pt x="215" y="245"/>
                  </a:lnTo>
                  <a:lnTo>
                    <a:pt x="214" y="244"/>
                  </a:lnTo>
                  <a:lnTo>
                    <a:pt x="209" y="243"/>
                  </a:lnTo>
                  <a:lnTo>
                    <a:pt x="208" y="242"/>
                  </a:lnTo>
                  <a:lnTo>
                    <a:pt x="206" y="242"/>
                  </a:lnTo>
                  <a:lnTo>
                    <a:pt x="205" y="241"/>
                  </a:lnTo>
                  <a:lnTo>
                    <a:pt x="205" y="241"/>
                  </a:lnTo>
                  <a:lnTo>
                    <a:pt x="203" y="241"/>
                  </a:lnTo>
                  <a:lnTo>
                    <a:pt x="202" y="241"/>
                  </a:lnTo>
                  <a:lnTo>
                    <a:pt x="201" y="241"/>
                  </a:lnTo>
                  <a:lnTo>
                    <a:pt x="201" y="241"/>
                  </a:lnTo>
                  <a:lnTo>
                    <a:pt x="200" y="241"/>
                  </a:lnTo>
                  <a:lnTo>
                    <a:pt x="199" y="242"/>
                  </a:lnTo>
                  <a:lnTo>
                    <a:pt x="196" y="243"/>
                  </a:lnTo>
                  <a:lnTo>
                    <a:pt x="195" y="243"/>
                  </a:lnTo>
                  <a:lnTo>
                    <a:pt x="194" y="243"/>
                  </a:lnTo>
                  <a:lnTo>
                    <a:pt x="192" y="243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6" y="244"/>
                  </a:lnTo>
                  <a:lnTo>
                    <a:pt x="185" y="245"/>
                  </a:lnTo>
                  <a:lnTo>
                    <a:pt x="183" y="245"/>
                  </a:lnTo>
                  <a:lnTo>
                    <a:pt x="182" y="246"/>
                  </a:lnTo>
                  <a:lnTo>
                    <a:pt x="180" y="246"/>
                  </a:lnTo>
                  <a:lnTo>
                    <a:pt x="178" y="247"/>
                  </a:lnTo>
                  <a:lnTo>
                    <a:pt x="177" y="247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4" y="250"/>
                  </a:lnTo>
                  <a:lnTo>
                    <a:pt x="174" y="250"/>
                  </a:lnTo>
                  <a:lnTo>
                    <a:pt x="173" y="251"/>
                  </a:lnTo>
                  <a:lnTo>
                    <a:pt x="173" y="251"/>
                  </a:lnTo>
                  <a:lnTo>
                    <a:pt x="171" y="253"/>
                  </a:lnTo>
                  <a:lnTo>
                    <a:pt x="170" y="253"/>
                  </a:lnTo>
                  <a:lnTo>
                    <a:pt x="169" y="254"/>
                  </a:lnTo>
                  <a:lnTo>
                    <a:pt x="168" y="254"/>
                  </a:lnTo>
                  <a:lnTo>
                    <a:pt x="168" y="255"/>
                  </a:lnTo>
                  <a:lnTo>
                    <a:pt x="167" y="255"/>
                  </a:lnTo>
                  <a:lnTo>
                    <a:pt x="167" y="256"/>
                  </a:lnTo>
                  <a:lnTo>
                    <a:pt x="167" y="257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5" y="259"/>
                  </a:lnTo>
                  <a:lnTo>
                    <a:pt x="165" y="259"/>
                  </a:lnTo>
                  <a:lnTo>
                    <a:pt x="165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3" y="257"/>
                  </a:lnTo>
                  <a:lnTo>
                    <a:pt x="162" y="255"/>
                  </a:lnTo>
                  <a:lnTo>
                    <a:pt x="162" y="255"/>
                  </a:lnTo>
                  <a:lnTo>
                    <a:pt x="161" y="254"/>
                  </a:lnTo>
                  <a:lnTo>
                    <a:pt x="160" y="253"/>
                  </a:lnTo>
                  <a:lnTo>
                    <a:pt x="159" y="252"/>
                  </a:lnTo>
                  <a:lnTo>
                    <a:pt x="158" y="252"/>
                  </a:lnTo>
                  <a:lnTo>
                    <a:pt x="157" y="251"/>
                  </a:lnTo>
                  <a:lnTo>
                    <a:pt x="155" y="251"/>
                  </a:lnTo>
                  <a:lnTo>
                    <a:pt x="155" y="251"/>
                  </a:lnTo>
                  <a:lnTo>
                    <a:pt x="154" y="251"/>
                  </a:lnTo>
                  <a:lnTo>
                    <a:pt x="153" y="251"/>
                  </a:lnTo>
                  <a:lnTo>
                    <a:pt x="151" y="252"/>
                  </a:lnTo>
                  <a:lnTo>
                    <a:pt x="150" y="252"/>
                  </a:lnTo>
                  <a:lnTo>
                    <a:pt x="149" y="253"/>
                  </a:lnTo>
                  <a:lnTo>
                    <a:pt x="148" y="253"/>
                  </a:lnTo>
                  <a:lnTo>
                    <a:pt x="147" y="254"/>
                  </a:lnTo>
                  <a:lnTo>
                    <a:pt x="145" y="255"/>
                  </a:lnTo>
                  <a:lnTo>
                    <a:pt x="144" y="256"/>
                  </a:lnTo>
                  <a:lnTo>
                    <a:pt x="144" y="256"/>
                  </a:lnTo>
                  <a:lnTo>
                    <a:pt x="143" y="257"/>
                  </a:lnTo>
                  <a:lnTo>
                    <a:pt x="142" y="257"/>
                  </a:lnTo>
                  <a:lnTo>
                    <a:pt x="141" y="257"/>
                  </a:lnTo>
                  <a:lnTo>
                    <a:pt x="140" y="257"/>
                  </a:lnTo>
                  <a:lnTo>
                    <a:pt x="140" y="257"/>
                  </a:lnTo>
                  <a:lnTo>
                    <a:pt x="139" y="257"/>
                  </a:lnTo>
                  <a:lnTo>
                    <a:pt x="134" y="255"/>
                  </a:lnTo>
                  <a:lnTo>
                    <a:pt x="130" y="254"/>
                  </a:lnTo>
                  <a:lnTo>
                    <a:pt x="128" y="254"/>
                  </a:lnTo>
                  <a:lnTo>
                    <a:pt x="128" y="253"/>
                  </a:lnTo>
                  <a:lnTo>
                    <a:pt x="128" y="253"/>
                  </a:lnTo>
                  <a:lnTo>
                    <a:pt x="128" y="252"/>
                  </a:lnTo>
                  <a:lnTo>
                    <a:pt x="127" y="251"/>
                  </a:lnTo>
                  <a:lnTo>
                    <a:pt x="127" y="250"/>
                  </a:lnTo>
                  <a:lnTo>
                    <a:pt x="126" y="250"/>
                  </a:lnTo>
                  <a:lnTo>
                    <a:pt x="125" y="249"/>
                  </a:lnTo>
                  <a:lnTo>
                    <a:pt x="125" y="248"/>
                  </a:lnTo>
                  <a:lnTo>
                    <a:pt x="124" y="247"/>
                  </a:lnTo>
                  <a:lnTo>
                    <a:pt x="123" y="246"/>
                  </a:lnTo>
                  <a:lnTo>
                    <a:pt x="120" y="245"/>
                  </a:lnTo>
                  <a:lnTo>
                    <a:pt x="119" y="244"/>
                  </a:lnTo>
                  <a:lnTo>
                    <a:pt x="114" y="241"/>
                  </a:lnTo>
                  <a:lnTo>
                    <a:pt x="112" y="240"/>
                  </a:lnTo>
                  <a:lnTo>
                    <a:pt x="110" y="239"/>
                  </a:lnTo>
                  <a:lnTo>
                    <a:pt x="109" y="238"/>
                  </a:lnTo>
                  <a:lnTo>
                    <a:pt x="108" y="237"/>
                  </a:lnTo>
                  <a:lnTo>
                    <a:pt x="108" y="237"/>
                  </a:lnTo>
                  <a:lnTo>
                    <a:pt x="108" y="236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4"/>
                  </a:lnTo>
                  <a:lnTo>
                    <a:pt x="107" y="233"/>
                  </a:lnTo>
                  <a:lnTo>
                    <a:pt x="107" y="232"/>
                  </a:lnTo>
                  <a:lnTo>
                    <a:pt x="108" y="231"/>
                  </a:lnTo>
                  <a:lnTo>
                    <a:pt x="108" y="230"/>
                  </a:lnTo>
                  <a:lnTo>
                    <a:pt x="108" y="230"/>
                  </a:lnTo>
                  <a:lnTo>
                    <a:pt x="110" y="227"/>
                  </a:lnTo>
                  <a:lnTo>
                    <a:pt x="110" y="226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1" y="224"/>
                  </a:lnTo>
                  <a:lnTo>
                    <a:pt x="111" y="223"/>
                  </a:lnTo>
                  <a:lnTo>
                    <a:pt x="111" y="222"/>
                  </a:lnTo>
                  <a:lnTo>
                    <a:pt x="111" y="222"/>
                  </a:lnTo>
                  <a:lnTo>
                    <a:pt x="110" y="221"/>
                  </a:lnTo>
                  <a:lnTo>
                    <a:pt x="110" y="220"/>
                  </a:lnTo>
                  <a:lnTo>
                    <a:pt x="110" y="220"/>
                  </a:lnTo>
                  <a:lnTo>
                    <a:pt x="110" y="219"/>
                  </a:lnTo>
                  <a:lnTo>
                    <a:pt x="109" y="219"/>
                  </a:lnTo>
                  <a:lnTo>
                    <a:pt x="109" y="218"/>
                  </a:lnTo>
                  <a:lnTo>
                    <a:pt x="107" y="216"/>
                  </a:lnTo>
                  <a:lnTo>
                    <a:pt x="105" y="215"/>
                  </a:lnTo>
                  <a:lnTo>
                    <a:pt x="104" y="215"/>
                  </a:lnTo>
                  <a:lnTo>
                    <a:pt x="104" y="214"/>
                  </a:lnTo>
                  <a:lnTo>
                    <a:pt x="103" y="214"/>
                  </a:lnTo>
                  <a:lnTo>
                    <a:pt x="102" y="214"/>
                  </a:lnTo>
                  <a:lnTo>
                    <a:pt x="101" y="213"/>
                  </a:lnTo>
                  <a:lnTo>
                    <a:pt x="100" y="213"/>
                  </a:lnTo>
                  <a:lnTo>
                    <a:pt x="98" y="213"/>
                  </a:lnTo>
                  <a:lnTo>
                    <a:pt x="97" y="213"/>
                  </a:lnTo>
                  <a:lnTo>
                    <a:pt x="96" y="213"/>
                  </a:lnTo>
                  <a:lnTo>
                    <a:pt x="95" y="213"/>
                  </a:lnTo>
                  <a:lnTo>
                    <a:pt x="95" y="212"/>
                  </a:lnTo>
                  <a:lnTo>
                    <a:pt x="94" y="212"/>
                  </a:lnTo>
                  <a:lnTo>
                    <a:pt x="94" y="212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2" y="209"/>
                  </a:lnTo>
                  <a:lnTo>
                    <a:pt x="91" y="208"/>
                  </a:lnTo>
                  <a:lnTo>
                    <a:pt x="90" y="207"/>
                  </a:lnTo>
                  <a:lnTo>
                    <a:pt x="87" y="205"/>
                  </a:lnTo>
                  <a:lnTo>
                    <a:pt x="85" y="204"/>
                  </a:lnTo>
                  <a:lnTo>
                    <a:pt x="84" y="203"/>
                  </a:lnTo>
                  <a:lnTo>
                    <a:pt x="83" y="203"/>
                  </a:lnTo>
                  <a:lnTo>
                    <a:pt x="83" y="202"/>
                  </a:lnTo>
                  <a:lnTo>
                    <a:pt x="81" y="201"/>
                  </a:lnTo>
                  <a:lnTo>
                    <a:pt x="80" y="201"/>
                  </a:lnTo>
                  <a:lnTo>
                    <a:pt x="79" y="200"/>
                  </a:lnTo>
                  <a:lnTo>
                    <a:pt x="76" y="199"/>
                  </a:lnTo>
                  <a:lnTo>
                    <a:pt x="75" y="198"/>
                  </a:lnTo>
                  <a:lnTo>
                    <a:pt x="73" y="196"/>
                  </a:lnTo>
                  <a:lnTo>
                    <a:pt x="70" y="193"/>
                  </a:lnTo>
                  <a:lnTo>
                    <a:pt x="69" y="192"/>
                  </a:lnTo>
                  <a:lnTo>
                    <a:pt x="68" y="192"/>
                  </a:lnTo>
                  <a:lnTo>
                    <a:pt x="68" y="192"/>
                  </a:lnTo>
                  <a:lnTo>
                    <a:pt x="67" y="191"/>
                  </a:lnTo>
                  <a:lnTo>
                    <a:pt x="65" y="190"/>
                  </a:lnTo>
                  <a:lnTo>
                    <a:pt x="64" y="190"/>
                  </a:lnTo>
                  <a:lnTo>
                    <a:pt x="64" y="190"/>
                  </a:lnTo>
                  <a:lnTo>
                    <a:pt x="63" y="189"/>
                  </a:lnTo>
                  <a:lnTo>
                    <a:pt x="62" y="188"/>
                  </a:lnTo>
                  <a:lnTo>
                    <a:pt x="61" y="187"/>
                  </a:lnTo>
                  <a:lnTo>
                    <a:pt x="60" y="185"/>
                  </a:lnTo>
                  <a:lnTo>
                    <a:pt x="59" y="185"/>
                  </a:lnTo>
                  <a:lnTo>
                    <a:pt x="59" y="184"/>
                  </a:lnTo>
                  <a:lnTo>
                    <a:pt x="58" y="183"/>
                  </a:lnTo>
                  <a:lnTo>
                    <a:pt x="57" y="182"/>
                  </a:lnTo>
                  <a:lnTo>
                    <a:pt x="55" y="182"/>
                  </a:lnTo>
                  <a:lnTo>
                    <a:pt x="54" y="181"/>
                  </a:lnTo>
                  <a:lnTo>
                    <a:pt x="51" y="180"/>
                  </a:lnTo>
                  <a:lnTo>
                    <a:pt x="50" y="180"/>
                  </a:lnTo>
                  <a:lnTo>
                    <a:pt x="48" y="179"/>
                  </a:lnTo>
                  <a:lnTo>
                    <a:pt x="47" y="179"/>
                  </a:lnTo>
                  <a:lnTo>
                    <a:pt x="47" y="178"/>
                  </a:lnTo>
                  <a:lnTo>
                    <a:pt x="47" y="178"/>
                  </a:lnTo>
                  <a:lnTo>
                    <a:pt x="46" y="178"/>
                  </a:lnTo>
                  <a:lnTo>
                    <a:pt x="46" y="177"/>
                  </a:lnTo>
                  <a:lnTo>
                    <a:pt x="46" y="177"/>
                  </a:lnTo>
                  <a:lnTo>
                    <a:pt x="46" y="176"/>
                  </a:lnTo>
                  <a:lnTo>
                    <a:pt x="46" y="176"/>
                  </a:lnTo>
                  <a:lnTo>
                    <a:pt x="46" y="174"/>
                  </a:lnTo>
                  <a:lnTo>
                    <a:pt x="46" y="173"/>
                  </a:lnTo>
                  <a:lnTo>
                    <a:pt x="46" y="172"/>
                  </a:lnTo>
                  <a:lnTo>
                    <a:pt x="46" y="171"/>
                  </a:lnTo>
                  <a:lnTo>
                    <a:pt x="45" y="170"/>
                  </a:lnTo>
                  <a:lnTo>
                    <a:pt x="44" y="169"/>
                  </a:lnTo>
                  <a:lnTo>
                    <a:pt x="43" y="167"/>
                  </a:lnTo>
                  <a:lnTo>
                    <a:pt x="42" y="166"/>
                  </a:lnTo>
                  <a:lnTo>
                    <a:pt x="41" y="165"/>
                  </a:lnTo>
                  <a:lnTo>
                    <a:pt x="40" y="164"/>
                  </a:lnTo>
                  <a:lnTo>
                    <a:pt x="40" y="163"/>
                  </a:lnTo>
                  <a:lnTo>
                    <a:pt x="39" y="163"/>
                  </a:lnTo>
                  <a:lnTo>
                    <a:pt x="38" y="162"/>
                  </a:lnTo>
                  <a:lnTo>
                    <a:pt x="37" y="162"/>
                  </a:lnTo>
                  <a:lnTo>
                    <a:pt x="36" y="161"/>
                  </a:lnTo>
                  <a:lnTo>
                    <a:pt x="35" y="161"/>
                  </a:lnTo>
                  <a:lnTo>
                    <a:pt x="34" y="160"/>
                  </a:lnTo>
                  <a:lnTo>
                    <a:pt x="32" y="158"/>
                  </a:lnTo>
                  <a:lnTo>
                    <a:pt x="31" y="158"/>
                  </a:lnTo>
                  <a:lnTo>
                    <a:pt x="30" y="157"/>
                  </a:lnTo>
                  <a:lnTo>
                    <a:pt x="30" y="157"/>
                  </a:lnTo>
                  <a:lnTo>
                    <a:pt x="29" y="156"/>
                  </a:lnTo>
                  <a:lnTo>
                    <a:pt x="29" y="155"/>
                  </a:lnTo>
                  <a:lnTo>
                    <a:pt x="28" y="154"/>
                  </a:lnTo>
                  <a:lnTo>
                    <a:pt x="28" y="153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7" y="149"/>
                  </a:lnTo>
                  <a:lnTo>
                    <a:pt x="27" y="148"/>
                  </a:lnTo>
                  <a:lnTo>
                    <a:pt x="27" y="146"/>
                  </a:lnTo>
                  <a:lnTo>
                    <a:pt x="27" y="145"/>
                  </a:lnTo>
                  <a:lnTo>
                    <a:pt x="27" y="143"/>
                  </a:lnTo>
                  <a:lnTo>
                    <a:pt x="27" y="142"/>
                  </a:lnTo>
                  <a:lnTo>
                    <a:pt x="27" y="141"/>
                  </a:lnTo>
                  <a:lnTo>
                    <a:pt x="28" y="136"/>
                  </a:lnTo>
                  <a:lnTo>
                    <a:pt x="30" y="133"/>
                  </a:lnTo>
                  <a:lnTo>
                    <a:pt x="30" y="131"/>
                  </a:lnTo>
                  <a:lnTo>
                    <a:pt x="30" y="130"/>
                  </a:lnTo>
                  <a:lnTo>
                    <a:pt x="30" y="129"/>
                  </a:lnTo>
                  <a:lnTo>
                    <a:pt x="30" y="128"/>
                  </a:lnTo>
                  <a:lnTo>
                    <a:pt x="30" y="127"/>
                  </a:lnTo>
                  <a:lnTo>
                    <a:pt x="30" y="125"/>
                  </a:lnTo>
                  <a:lnTo>
                    <a:pt x="29" y="124"/>
                  </a:lnTo>
                  <a:lnTo>
                    <a:pt x="29" y="122"/>
                  </a:lnTo>
                  <a:lnTo>
                    <a:pt x="28" y="121"/>
                  </a:lnTo>
                  <a:lnTo>
                    <a:pt x="28" y="120"/>
                  </a:lnTo>
                  <a:lnTo>
                    <a:pt x="27" y="117"/>
                  </a:lnTo>
                  <a:lnTo>
                    <a:pt x="26" y="115"/>
                  </a:lnTo>
                  <a:lnTo>
                    <a:pt x="26" y="115"/>
                  </a:lnTo>
                  <a:lnTo>
                    <a:pt x="25" y="114"/>
                  </a:lnTo>
                  <a:lnTo>
                    <a:pt x="24" y="113"/>
                  </a:lnTo>
                  <a:lnTo>
                    <a:pt x="23" y="111"/>
                  </a:lnTo>
                  <a:lnTo>
                    <a:pt x="21" y="109"/>
                  </a:lnTo>
                  <a:lnTo>
                    <a:pt x="21" y="109"/>
                  </a:lnTo>
                  <a:lnTo>
                    <a:pt x="19" y="107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7" y="103"/>
                  </a:lnTo>
                  <a:lnTo>
                    <a:pt x="16" y="102"/>
                  </a:lnTo>
                  <a:lnTo>
                    <a:pt x="15" y="101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2" y="98"/>
                  </a:lnTo>
                  <a:lnTo>
                    <a:pt x="11" y="98"/>
                  </a:lnTo>
                  <a:lnTo>
                    <a:pt x="9" y="97"/>
                  </a:lnTo>
                  <a:lnTo>
                    <a:pt x="8" y="97"/>
                  </a:lnTo>
                  <a:lnTo>
                    <a:pt x="7" y="96"/>
                  </a:lnTo>
                  <a:lnTo>
                    <a:pt x="6" y="96"/>
                  </a:lnTo>
                  <a:lnTo>
                    <a:pt x="5" y="95"/>
                  </a:lnTo>
                  <a:lnTo>
                    <a:pt x="4" y="95"/>
                  </a:lnTo>
                  <a:lnTo>
                    <a:pt x="4" y="94"/>
                  </a:lnTo>
                  <a:lnTo>
                    <a:pt x="3" y="94"/>
                  </a:lnTo>
                  <a:lnTo>
                    <a:pt x="2" y="93"/>
                  </a:lnTo>
                  <a:lnTo>
                    <a:pt x="1" y="92"/>
                  </a:lnTo>
                  <a:lnTo>
                    <a:pt x="1" y="91"/>
                  </a:lnTo>
                  <a:lnTo>
                    <a:pt x="0" y="91"/>
                  </a:lnTo>
                  <a:lnTo>
                    <a:pt x="0" y="90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8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6"/>
                  </a:lnTo>
                  <a:lnTo>
                    <a:pt x="1" y="85"/>
                  </a:lnTo>
                  <a:lnTo>
                    <a:pt x="1" y="85"/>
                  </a:lnTo>
                  <a:lnTo>
                    <a:pt x="2" y="84"/>
                  </a:lnTo>
                  <a:lnTo>
                    <a:pt x="3" y="83"/>
                  </a:lnTo>
                  <a:lnTo>
                    <a:pt x="4" y="82"/>
                  </a:lnTo>
                  <a:lnTo>
                    <a:pt x="5" y="81"/>
                  </a:lnTo>
                  <a:lnTo>
                    <a:pt x="6" y="80"/>
                  </a:lnTo>
                  <a:lnTo>
                    <a:pt x="7" y="80"/>
                  </a:lnTo>
                  <a:lnTo>
                    <a:pt x="8" y="79"/>
                  </a:lnTo>
                  <a:lnTo>
                    <a:pt x="8" y="78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9" y="76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3"/>
                  </a:lnTo>
                  <a:lnTo>
                    <a:pt x="8" y="70"/>
                  </a:lnTo>
                  <a:lnTo>
                    <a:pt x="8" y="69"/>
                  </a:lnTo>
                  <a:lnTo>
                    <a:pt x="7" y="67"/>
                  </a:lnTo>
                  <a:lnTo>
                    <a:pt x="7" y="65"/>
                  </a:lnTo>
                  <a:lnTo>
                    <a:pt x="7" y="64"/>
                  </a:lnTo>
                  <a:lnTo>
                    <a:pt x="6" y="63"/>
                  </a:lnTo>
                  <a:lnTo>
                    <a:pt x="6" y="62"/>
                  </a:lnTo>
                  <a:lnTo>
                    <a:pt x="5" y="61"/>
                  </a:lnTo>
                  <a:lnTo>
                    <a:pt x="4" y="60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5" y="58"/>
                  </a:lnTo>
                  <a:lnTo>
                    <a:pt x="6" y="58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12" y="57"/>
                  </a:lnTo>
                  <a:lnTo>
                    <a:pt x="14" y="57"/>
                  </a:lnTo>
                  <a:lnTo>
                    <a:pt x="16" y="57"/>
                  </a:lnTo>
                  <a:lnTo>
                    <a:pt x="18" y="57"/>
                  </a:lnTo>
                  <a:lnTo>
                    <a:pt x="19" y="57"/>
                  </a:lnTo>
                  <a:lnTo>
                    <a:pt x="21" y="57"/>
                  </a:lnTo>
                  <a:lnTo>
                    <a:pt x="22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4" y="59"/>
                  </a:lnTo>
                  <a:lnTo>
                    <a:pt x="25" y="59"/>
                  </a:lnTo>
                  <a:lnTo>
                    <a:pt x="26" y="60"/>
                  </a:lnTo>
                  <a:lnTo>
                    <a:pt x="27" y="61"/>
                  </a:lnTo>
                  <a:lnTo>
                    <a:pt x="28" y="63"/>
                  </a:lnTo>
                  <a:lnTo>
                    <a:pt x="28" y="64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6"/>
                  </a:lnTo>
                  <a:lnTo>
                    <a:pt x="30" y="70"/>
                  </a:lnTo>
                  <a:lnTo>
                    <a:pt x="30" y="71"/>
                  </a:lnTo>
                  <a:lnTo>
                    <a:pt x="31" y="74"/>
                  </a:lnTo>
                  <a:lnTo>
                    <a:pt x="31" y="75"/>
                  </a:lnTo>
                  <a:lnTo>
                    <a:pt x="32" y="76"/>
                  </a:lnTo>
                  <a:lnTo>
                    <a:pt x="32" y="77"/>
                  </a:lnTo>
                  <a:lnTo>
                    <a:pt x="33" y="78"/>
                  </a:lnTo>
                  <a:lnTo>
                    <a:pt x="33" y="79"/>
                  </a:lnTo>
                  <a:lnTo>
                    <a:pt x="34" y="79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6" y="80"/>
                  </a:lnTo>
                  <a:lnTo>
                    <a:pt x="37" y="81"/>
                  </a:lnTo>
                  <a:lnTo>
                    <a:pt x="42" y="83"/>
                  </a:lnTo>
                  <a:lnTo>
                    <a:pt x="43" y="83"/>
                  </a:lnTo>
                  <a:lnTo>
                    <a:pt x="44" y="83"/>
                  </a:lnTo>
                  <a:lnTo>
                    <a:pt x="45" y="84"/>
                  </a:lnTo>
                  <a:lnTo>
                    <a:pt x="45" y="85"/>
                  </a:lnTo>
                  <a:lnTo>
                    <a:pt x="46" y="85"/>
                  </a:lnTo>
                  <a:lnTo>
                    <a:pt x="46" y="86"/>
                  </a:lnTo>
                  <a:lnTo>
                    <a:pt x="47" y="87"/>
                  </a:lnTo>
                  <a:lnTo>
                    <a:pt x="47" y="87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7" y="89"/>
                  </a:lnTo>
                  <a:lnTo>
                    <a:pt x="46" y="89"/>
                  </a:lnTo>
                  <a:lnTo>
                    <a:pt x="46" y="89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4" y="90"/>
                  </a:lnTo>
                  <a:lnTo>
                    <a:pt x="44" y="91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3"/>
                  </a:lnTo>
                  <a:lnTo>
                    <a:pt x="44" y="94"/>
                  </a:lnTo>
                  <a:lnTo>
                    <a:pt x="45" y="94"/>
                  </a:lnTo>
                  <a:lnTo>
                    <a:pt x="45" y="95"/>
                  </a:lnTo>
                  <a:lnTo>
                    <a:pt x="46" y="96"/>
                  </a:lnTo>
                  <a:lnTo>
                    <a:pt x="47" y="97"/>
                  </a:lnTo>
                  <a:lnTo>
                    <a:pt x="48" y="98"/>
                  </a:lnTo>
                  <a:lnTo>
                    <a:pt x="51" y="100"/>
                  </a:lnTo>
                  <a:lnTo>
                    <a:pt x="51" y="101"/>
                  </a:lnTo>
                  <a:lnTo>
                    <a:pt x="52" y="102"/>
                  </a:lnTo>
                  <a:lnTo>
                    <a:pt x="53" y="103"/>
                  </a:lnTo>
                  <a:lnTo>
                    <a:pt x="54" y="104"/>
                  </a:lnTo>
                  <a:lnTo>
                    <a:pt x="54" y="105"/>
                  </a:lnTo>
                  <a:lnTo>
                    <a:pt x="54" y="105"/>
                  </a:lnTo>
                  <a:lnTo>
                    <a:pt x="54" y="106"/>
                  </a:lnTo>
                  <a:lnTo>
                    <a:pt x="54" y="107"/>
                  </a:lnTo>
                  <a:lnTo>
                    <a:pt x="54" y="109"/>
                  </a:lnTo>
                  <a:lnTo>
                    <a:pt x="54" y="112"/>
                  </a:lnTo>
                  <a:lnTo>
                    <a:pt x="53" y="113"/>
                  </a:lnTo>
                  <a:lnTo>
                    <a:pt x="53" y="115"/>
                  </a:lnTo>
                  <a:lnTo>
                    <a:pt x="53" y="116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8"/>
                  </a:lnTo>
                  <a:lnTo>
                    <a:pt x="53" y="119"/>
                  </a:lnTo>
                  <a:lnTo>
                    <a:pt x="54" y="121"/>
                  </a:lnTo>
                  <a:lnTo>
                    <a:pt x="55" y="122"/>
                  </a:lnTo>
                  <a:lnTo>
                    <a:pt x="56" y="123"/>
                  </a:lnTo>
                  <a:lnTo>
                    <a:pt x="56" y="124"/>
                  </a:lnTo>
                  <a:lnTo>
                    <a:pt x="57" y="125"/>
                  </a:lnTo>
                  <a:lnTo>
                    <a:pt x="57" y="125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6"/>
                  </a:lnTo>
                  <a:lnTo>
                    <a:pt x="60" y="127"/>
                  </a:lnTo>
                  <a:lnTo>
                    <a:pt x="61" y="127"/>
                  </a:lnTo>
                  <a:lnTo>
                    <a:pt x="62" y="127"/>
                  </a:lnTo>
                  <a:lnTo>
                    <a:pt x="63" y="127"/>
                  </a:lnTo>
                  <a:lnTo>
                    <a:pt x="64" y="128"/>
                  </a:lnTo>
                  <a:lnTo>
                    <a:pt x="64" y="127"/>
                  </a:lnTo>
                  <a:lnTo>
                    <a:pt x="65" y="127"/>
                  </a:lnTo>
                  <a:lnTo>
                    <a:pt x="65" y="127"/>
                  </a:lnTo>
                  <a:lnTo>
                    <a:pt x="66" y="127"/>
                  </a:lnTo>
                  <a:lnTo>
                    <a:pt x="66" y="127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7" y="123"/>
                  </a:lnTo>
                  <a:lnTo>
                    <a:pt x="67" y="121"/>
                  </a:lnTo>
                  <a:lnTo>
                    <a:pt x="67" y="120"/>
                  </a:lnTo>
                  <a:lnTo>
                    <a:pt x="67" y="119"/>
                  </a:lnTo>
                  <a:lnTo>
                    <a:pt x="67" y="118"/>
                  </a:lnTo>
                  <a:lnTo>
                    <a:pt x="67" y="116"/>
                  </a:lnTo>
                  <a:lnTo>
                    <a:pt x="67" y="114"/>
                  </a:lnTo>
                  <a:lnTo>
                    <a:pt x="67" y="113"/>
                  </a:lnTo>
                  <a:lnTo>
                    <a:pt x="67" y="112"/>
                  </a:lnTo>
                  <a:lnTo>
                    <a:pt x="67" y="110"/>
                  </a:lnTo>
                  <a:lnTo>
                    <a:pt x="67" y="109"/>
                  </a:lnTo>
                  <a:lnTo>
                    <a:pt x="67" y="105"/>
                  </a:lnTo>
                  <a:lnTo>
                    <a:pt x="68" y="102"/>
                  </a:lnTo>
                  <a:lnTo>
                    <a:pt x="68" y="101"/>
                  </a:lnTo>
                  <a:lnTo>
                    <a:pt x="68" y="100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8"/>
                  </a:lnTo>
                  <a:lnTo>
                    <a:pt x="70" y="98"/>
                  </a:lnTo>
                  <a:lnTo>
                    <a:pt x="70" y="98"/>
                  </a:lnTo>
                  <a:lnTo>
                    <a:pt x="70" y="97"/>
                  </a:lnTo>
                  <a:lnTo>
                    <a:pt x="72" y="97"/>
                  </a:lnTo>
                  <a:lnTo>
                    <a:pt x="73" y="97"/>
                  </a:lnTo>
                  <a:lnTo>
                    <a:pt x="73" y="96"/>
                  </a:lnTo>
                  <a:lnTo>
                    <a:pt x="73" y="96"/>
                  </a:lnTo>
                  <a:lnTo>
                    <a:pt x="74" y="96"/>
                  </a:lnTo>
                  <a:lnTo>
                    <a:pt x="74" y="95"/>
                  </a:lnTo>
                  <a:lnTo>
                    <a:pt x="74" y="94"/>
                  </a:lnTo>
                  <a:lnTo>
                    <a:pt x="74" y="94"/>
                  </a:lnTo>
                  <a:lnTo>
                    <a:pt x="75" y="93"/>
                  </a:lnTo>
                  <a:lnTo>
                    <a:pt x="75" y="91"/>
                  </a:lnTo>
                  <a:lnTo>
                    <a:pt x="75" y="90"/>
                  </a:lnTo>
                  <a:lnTo>
                    <a:pt x="75" y="89"/>
                  </a:lnTo>
                  <a:lnTo>
                    <a:pt x="76" y="87"/>
                  </a:lnTo>
                  <a:lnTo>
                    <a:pt x="76" y="86"/>
                  </a:lnTo>
                  <a:lnTo>
                    <a:pt x="77" y="84"/>
                  </a:lnTo>
                  <a:lnTo>
                    <a:pt x="78" y="82"/>
                  </a:lnTo>
                  <a:lnTo>
                    <a:pt x="78" y="81"/>
                  </a:lnTo>
                  <a:lnTo>
                    <a:pt x="79" y="80"/>
                  </a:lnTo>
                  <a:lnTo>
                    <a:pt x="80" y="79"/>
                  </a:lnTo>
                  <a:lnTo>
                    <a:pt x="81" y="78"/>
                  </a:lnTo>
                  <a:lnTo>
                    <a:pt x="82" y="76"/>
                  </a:lnTo>
                  <a:lnTo>
                    <a:pt x="86" y="73"/>
                  </a:lnTo>
                  <a:lnTo>
                    <a:pt x="86" y="72"/>
                  </a:lnTo>
                  <a:lnTo>
                    <a:pt x="87" y="71"/>
                  </a:lnTo>
                  <a:lnTo>
                    <a:pt x="88" y="70"/>
                  </a:lnTo>
                  <a:lnTo>
                    <a:pt x="88" y="69"/>
                  </a:lnTo>
                  <a:lnTo>
                    <a:pt x="89" y="68"/>
                  </a:lnTo>
                  <a:lnTo>
                    <a:pt x="90" y="65"/>
                  </a:lnTo>
                  <a:lnTo>
                    <a:pt x="91" y="63"/>
                  </a:lnTo>
                  <a:lnTo>
                    <a:pt x="91" y="62"/>
                  </a:lnTo>
                  <a:lnTo>
                    <a:pt x="91" y="62"/>
                  </a:lnTo>
                  <a:lnTo>
                    <a:pt x="91" y="61"/>
                  </a:lnTo>
                  <a:lnTo>
                    <a:pt x="92" y="61"/>
                  </a:lnTo>
                  <a:lnTo>
                    <a:pt x="93" y="60"/>
                  </a:lnTo>
                  <a:lnTo>
                    <a:pt x="94" y="60"/>
                  </a:lnTo>
                  <a:lnTo>
                    <a:pt x="94" y="59"/>
                  </a:lnTo>
                  <a:lnTo>
                    <a:pt x="97" y="58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9" y="56"/>
                  </a:lnTo>
                  <a:lnTo>
                    <a:pt x="100" y="55"/>
                  </a:lnTo>
                  <a:lnTo>
                    <a:pt x="102" y="53"/>
                  </a:lnTo>
                  <a:lnTo>
                    <a:pt x="103" y="51"/>
                  </a:lnTo>
                  <a:lnTo>
                    <a:pt x="105" y="50"/>
                  </a:lnTo>
                  <a:lnTo>
                    <a:pt x="106" y="49"/>
                  </a:lnTo>
                  <a:lnTo>
                    <a:pt x="108" y="48"/>
                  </a:lnTo>
                  <a:lnTo>
                    <a:pt x="109" y="47"/>
                  </a:lnTo>
                  <a:lnTo>
                    <a:pt x="110" y="47"/>
                  </a:lnTo>
                  <a:lnTo>
                    <a:pt x="112" y="46"/>
                  </a:lnTo>
                  <a:lnTo>
                    <a:pt x="113" y="46"/>
                  </a:lnTo>
                  <a:lnTo>
                    <a:pt x="114" y="46"/>
                  </a:lnTo>
                  <a:lnTo>
                    <a:pt x="114" y="46"/>
                  </a:lnTo>
                  <a:lnTo>
                    <a:pt x="115" y="45"/>
                  </a:lnTo>
                  <a:lnTo>
                    <a:pt x="115" y="45"/>
                  </a:lnTo>
                  <a:lnTo>
                    <a:pt x="115" y="44"/>
                  </a:lnTo>
                  <a:lnTo>
                    <a:pt x="116" y="43"/>
                  </a:lnTo>
                  <a:lnTo>
                    <a:pt x="116" y="42"/>
                  </a:lnTo>
                  <a:lnTo>
                    <a:pt x="117" y="39"/>
                  </a:lnTo>
                  <a:lnTo>
                    <a:pt x="118" y="38"/>
                  </a:lnTo>
                  <a:lnTo>
                    <a:pt x="118" y="37"/>
                  </a:lnTo>
                  <a:lnTo>
                    <a:pt x="119" y="35"/>
                  </a:lnTo>
                  <a:lnTo>
                    <a:pt x="120" y="33"/>
                  </a:lnTo>
                  <a:lnTo>
                    <a:pt x="121" y="31"/>
                  </a:lnTo>
                  <a:lnTo>
                    <a:pt x="122" y="31"/>
                  </a:lnTo>
                  <a:lnTo>
                    <a:pt x="123" y="30"/>
                  </a:lnTo>
                  <a:lnTo>
                    <a:pt x="123" y="29"/>
                  </a:lnTo>
                  <a:lnTo>
                    <a:pt x="124" y="29"/>
                  </a:lnTo>
                  <a:lnTo>
                    <a:pt x="125" y="28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8" y="26"/>
                  </a:lnTo>
                  <a:lnTo>
                    <a:pt x="130" y="26"/>
                  </a:lnTo>
                  <a:lnTo>
                    <a:pt x="133" y="25"/>
                  </a:lnTo>
                  <a:lnTo>
                    <a:pt x="137" y="24"/>
                  </a:lnTo>
                  <a:lnTo>
                    <a:pt x="139" y="24"/>
                  </a:lnTo>
                  <a:lnTo>
                    <a:pt x="145" y="22"/>
                  </a:lnTo>
                  <a:lnTo>
                    <a:pt x="150" y="21"/>
                  </a:lnTo>
                  <a:lnTo>
                    <a:pt x="154" y="20"/>
                  </a:lnTo>
                  <a:lnTo>
                    <a:pt x="155" y="20"/>
                  </a:lnTo>
                  <a:lnTo>
                    <a:pt x="156" y="20"/>
                  </a:lnTo>
                  <a:lnTo>
                    <a:pt x="157" y="20"/>
                  </a:lnTo>
                  <a:lnTo>
                    <a:pt x="159" y="20"/>
                  </a:lnTo>
                  <a:lnTo>
                    <a:pt x="160" y="20"/>
                  </a:lnTo>
                  <a:lnTo>
                    <a:pt x="164" y="20"/>
                  </a:lnTo>
                  <a:lnTo>
                    <a:pt x="169" y="20"/>
                  </a:lnTo>
                  <a:lnTo>
                    <a:pt x="171" y="21"/>
                  </a:lnTo>
                  <a:lnTo>
                    <a:pt x="172" y="21"/>
                  </a:lnTo>
                  <a:lnTo>
                    <a:pt x="173" y="21"/>
                  </a:lnTo>
                  <a:lnTo>
                    <a:pt x="174" y="22"/>
                  </a:lnTo>
                  <a:lnTo>
                    <a:pt x="177" y="23"/>
                  </a:lnTo>
                  <a:lnTo>
                    <a:pt x="178" y="24"/>
                  </a:lnTo>
                  <a:lnTo>
                    <a:pt x="179" y="24"/>
                  </a:lnTo>
                  <a:lnTo>
                    <a:pt x="179" y="24"/>
                  </a:lnTo>
                  <a:lnTo>
                    <a:pt x="180" y="24"/>
                  </a:lnTo>
                  <a:lnTo>
                    <a:pt x="181" y="24"/>
                  </a:lnTo>
                  <a:lnTo>
                    <a:pt x="181" y="24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90" y="15"/>
                  </a:lnTo>
                  <a:lnTo>
                    <a:pt x="191" y="14"/>
                  </a:lnTo>
                  <a:lnTo>
                    <a:pt x="192" y="13"/>
                  </a:lnTo>
                  <a:lnTo>
                    <a:pt x="192" y="12"/>
                  </a:lnTo>
                  <a:lnTo>
                    <a:pt x="194" y="12"/>
                  </a:lnTo>
                  <a:lnTo>
                    <a:pt x="195" y="11"/>
                  </a:lnTo>
                  <a:lnTo>
                    <a:pt x="197" y="10"/>
                  </a:lnTo>
                  <a:lnTo>
                    <a:pt x="199" y="9"/>
                  </a:lnTo>
                  <a:lnTo>
                    <a:pt x="201" y="8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5" y="7"/>
                  </a:lnTo>
                  <a:lnTo>
                    <a:pt x="206" y="7"/>
                  </a:lnTo>
                  <a:lnTo>
                    <a:pt x="207" y="7"/>
                  </a:lnTo>
                  <a:lnTo>
                    <a:pt x="207" y="7"/>
                  </a:lnTo>
                  <a:lnTo>
                    <a:pt x="207" y="7"/>
                  </a:lnTo>
                  <a:lnTo>
                    <a:pt x="208" y="7"/>
                  </a:lnTo>
                  <a:lnTo>
                    <a:pt x="210" y="8"/>
                  </a:lnTo>
                  <a:lnTo>
                    <a:pt x="211" y="8"/>
                  </a:lnTo>
                  <a:lnTo>
                    <a:pt x="211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3" y="7"/>
                  </a:lnTo>
                  <a:lnTo>
                    <a:pt x="213" y="7"/>
                  </a:lnTo>
                  <a:lnTo>
                    <a:pt x="213" y="7"/>
                  </a:lnTo>
                  <a:lnTo>
                    <a:pt x="215" y="3"/>
                  </a:lnTo>
                  <a:lnTo>
                    <a:pt x="216" y="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CCCCCC"/>
            </a:solidFill>
            <a:ln w="63500">
              <a:solidFill>
                <a:srgbClr val="CCCCC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Freeform 18">
              <a:extLst>
                <a:ext uri="{FF2B5EF4-FFF2-40B4-BE49-F238E27FC236}">
                  <a16:creationId xmlns:a16="http://schemas.microsoft.com/office/drawing/2014/main" id="{89393697-C0A3-8EA4-E70A-B343AD7370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2866"/>
              <a:ext cx="504" cy="447"/>
            </a:xfrm>
            <a:custGeom>
              <a:avLst/>
              <a:gdLst>
                <a:gd name="T0" fmla="*/ 434 w 504"/>
                <a:gd name="T1" fmla="*/ 15 h 447"/>
                <a:gd name="T2" fmla="*/ 459 w 504"/>
                <a:gd name="T3" fmla="*/ 8 h 447"/>
                <a:gd name="T4" fmla="*/ 472 w 504"/>
                <a:gd name="T5" fmla="*/ 21 h 447"/>
                <a:gd name="T6" fmla="*/ 486 w 504"/>
                <a:gd name="T7" fmla="*/ 47 h 447"/>
                <a:gd name="T8" fmla="*/ 489 w 504"/>
                <a:gd name="T9" fmla="*/ 63 h 447"/>
                <a:gd name="T10" fmla="*/ 497 w 504"/>
                <a:gd name="T11" fmla="*/ 84 h 447"/>
                <a:gd name="T12" fmla="*/ 479 w 504"/>
                <a:gd name="T13" fmla="*/ 108 h 447"/>
                <a:gd name="T14" fmla="*/ 458 w 504"/>
                <a:gd name="T15" fmla="*/ 114 h 447"/>
                <a:gd name="T16" fmla="*/ 445 w 504"/>
                <a:gd name="T17" fmla="*/ 127 h 447"/>
                <a:gd name="T18" fmla="*/ 436 w 504"/>
                <a:gd name="T19" fmla="*/ 148 h 447"/>
                <a:gd name="T20" fmla="*/ 417 w 504"/>
                <a:gd name="T21" fmla="*/ 176 h 447"/>
                <a:gd name="T22" fmla="*/ 425 w 504"/>
                <a:gd name="T23" fmla="*/ 209 h 447"/>
                <a:gd name="T24" fmla="*/ 450 w 504"/>
                <a:gd name="T25" fmla="*/ 247 h 447"/>
                <a:gd name="T26" fmla="*/ 449 w 504"/>
                <a:gd name="T27" fmla="*/ 259 h 447"/>
                <a:gd name="T28" fmla="*/ 445 w 504"/>
                <a:gd name="T29" fmla="*/ 280 h 447"/>
                <a:gd name="T30" fmla="*/ 423 w 504"/>
                <a:gd name="T31" fmla="*/ 289 h 447"/>
                <a:gd name="T32" fmla="*/ 422 w 504"/>
                <a:gd name="T33" fmla="*/ 308 h 447"/>
                <a:gd name="T34" fmla="*/ 407 w 504"/>
                <a:gd name="T35" fmla="*/ 324 h 447"/>
                <a:gd name="T36" fmla="*/ 370 w 504"/>
                <a:gd name="T37" fmla="*/ 331 h 447"/>
                <a:gd name="T38" fmla="*/ 322 w 504"/>
                <a:gd name="T39" fmla="*/ 328 h 447"/>
                <a:gd name="T40" fmla="*/ 307 w 504"/>
                <a:gd name="T41" fmla="*/ 343 h 447"/>
                <a:gd name="T42" fmla="*/ 292 w 504"/>
                <a:gd name="T43" fmla="*/ 355 h 447"/>
                <a:gd name="T44" fmla="*/ 267 w 504"/>
                <a:gd name="T45" fmla="*/ 371 h 447"/>
                <a:gd name="T46" fmla="*/ 249 w 504"/>
                <a:gd name="T47" fmla="*/ 370 h 447"/>
                <a:gd name="T48" fmla="*/ 218 w 504"/>
                <a:gd name="T49" fmla="*/ 381 h 447"/>
                <a:gd name="T50" fmla="*/ 194 w 504"/>
                <a:gd name="T51" fmla="*/ 393 h 447"/>
                <a:gd name="T52" fmla="*/ 164 w 504"/>
                <a:gd name="T53" fmla="*/ 405 h 447"/>
                <a:gd name="T54" fmla="*/ 155 w 504"/>
                <a:gd name="T55" fmla="*/ 424 h 447"/>
                <a:gd name="T56" fmla="*/ 137 w 504"/>
                <a:gd name="T57" fmla="*/ 437 h 447"/>
                <a:gd name="T58" fmla="*/ 122 w 504"/>
                <a:gd name="T59" fmla="*/ 446 h 447"/>
                <a:gd name="T60" fmla="*/ 109 w 504"/>
                <a:gd name="T61" fmla="*/ 440 h 447"/>
                <a:gd name="T62" fmla="*/ 101 w 504"/>
                <a:gd name="T63" fmla="*/ 437 h 447"/>
                <a:gd name="T64" fmla="*/ 83 w 504"/>
                <a:gd name="T65" fmla="*/ 421 h 447"/>
                <a:gd name="T66" fmla="*/ 95 w 504"/>
                <a:gd name="T67" fmla="*/ 416 h 447"/>
                <a:gd name="T68" fmla="*/ 87 w 504"/>
                <a:gd name="T69" fmla="*/ 386 h 447"/>
                <a:gd name="T70" fmla="*/ 82 w 504"/>
                <a:gd name="T71" fmla="*/ 365 h 447"/>
                <a:gd name="T72" fmla="*/ 83 w 504"/>
                <a:gd name="T73" fmla="*/ 331 h 447"/>
                <a:gd name="T74" fmla="*/ 65 w 504"/>
                <a:gd name="T75" fmla="*/ 318 h 447"/>
                <a:gd name="T76" fmla="*/ 45 w 504"/>
                <a:gd name="T77" fmla="*/ 315 h 447"/>
                <a:gd name="T78" fmla="*/ 25 w 504"/>
                <a:gd name="T79" fmla="*/ 301 h 447"/>
                <a:gd name="T80" fmla="*/ 8 w 504"/>
                <a:gd name="T81" fmla="*/ 287 h 447"/>
                <a:gd name="T82" fmla="*/ 26 w 504"/>
                <a:gd name="T83" fmla="*/ 249 h 447"/>
                <a:gd name="T84" fmla="*/ 54 w 504"/>
                <a:gd name="T85" fmla="*/ 245 h 447"/>
                <a:gd name="T86" fmla="*/ 78 w 504"/>
                <a:gd name="T87" fmla="*/ 240 h 447"/>
                <a:gd name="T88" fmla="*/ 94 w 504"/>
                <a:gd name="T89" fmla="*/ 210 h 447"/>
                <a:gd name="T90" fmla="*/ 111 w 504"/>
                <a:gd name="T91" fmla="*/ 211 h 447"/>
                <a:gd name="T92" fmla="*/ 129 w 504"/>
                <a:gd name="T93" fmla="*/ 186 h 447"/>
                <a:gd name="T94" fmla="*/ 151 w 504"/>
                <a:gd name="T95" fmla="*/ 203 h 447"/>
                <a:gd name="T96" fmla="*/ 171 w 504"/>
                <a:gd name="T97" fmla="*/ 182 h 447"/>
                <a:gd name="T98" fmla="*/ 178 w 504"/>
                <a:gd name="T99" fmla="*/ 158 h 447"/>
                <a:gd name="T100" fmla="*/ 209 w 504"/>
                <a:gd name="T101" fmla="*/ 149 h 447"/>
                <a:gd name="T102" fmla="*/ 232 w 504"/>
                <a:gd name="T103" fmla="*/ 149 h 447"/>
                <a:gd name="T104" fmla="*/ 270 w 504"/>
                <a:gd name="T105" fmla="*/ 148 h 447"/>
                <a:gd name="T106" fmla="*/ 283 w 504"/>
                <a:gd name="T107" fmla="*/ 126 h 447"/>
                <a:gd name="T108" fmla="*/ 308 w 504"/>
                <a:gd name="T109" fmla="*/ 110 h 447"/>
                <a:gd name="T110" fmla="*/ 345 w 504"/>
                <a:gd name="T111" fmla="*/ 104 h 447"/>
                <a:gd name="T112" fmla="*/ 388 w 504"/>
                <a:gd name="T113" fmla="*/ 77 h 447"/>
                <a:gd name="T114" fmla="*/ 423 w 504"/>
                <a:gd name="T115" fmla="*/ 72 h 447"/>
                <a:gd name="T116" fmla="*/ 426 w 504"/>
                <a:gd name="T117" fmla="*/ 54 h 447"/>
                <a:gd name="T118" fmla="*/ 408 w 504"/>
                <a:gd name="T119" fmla="*/ 37 h 447"/>
                <a:gd name="T120" fmla="*/ 393 w 504"/>
                <a:gd name="T121" fmla="*/ 30 h 447"/>
                <a:gd name="T122" fmla="*/ 402 w 504"/>
                <a:gd name="T123" fmla="*/ 1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4" h="447">
                  <a:moveTo>
                    <a:pt x="404" y="0"/>
                  </a:moveTo>
                  <a:lnTo>
                    <a:pt x="405" y="0"/>
                  </a:lnTo>
                  <a:lnTo>
                    <a:pt x="405" y="0"/>
                  </a:lnTo>
                  <a:lnTo>
                    <a:pt x="406" y="1"/>
                  </a:lnTo>
                  <a:lnTo>
                    <a:pt x="410" y="3"/>
                  </a:lnTo>
                  <a:lnTo>
                    <a:pt x="411" y="4"/>
                  </a:lnTo>
                  <a:lnTo>
                    <a:pt x="413" y="5"/>
                  </a:lnTo>
                  <a:lnTo>
                    <a:pt x="414" y="5"/>
                  </a:lnTo>
                  <a:lnTo>
                    <a:pt x="415" y="5"/>
                  </a:lnTo>
                  <a:lnTo>
                    <a:pt x="419" y="6"/>
                  </a:lnTo>
                  <a:lnTo>
                    <a:pt x="420" y="6"/>
                  </a:lnTo>
                  <a:lnTo>
                    <a:pt x="421" y="7"/>
                  </a:lnTo>
                  <a:lnTo>
                    <a:pt x="422" y="7"/>
                  </a:lnTo>
                  <a:lnTo>
                    <a:pt x="423" y="8"/>
                  </a:lnTo>
                  <a:lnTo>
                    <a:pt x="425" y="9"/>
                  </a:lnTo>
                  <a:lnTo>
                    <a:pt x="426" y="10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0" y="13"/>
                  </a:lnTo>
                  <a:lnTo>
                    <a:pt x="431" y="14"/>
                  </a:lnTo>
                  <a:lnTo>
                    <a:pt x="432" y="14"/>
                  </a:lnTo>
                  <a:lnTo>
                    <a:pt x="433" y="15"/>
                  </a:lnTo>
                  <a:lnTo>
                    <a:pt x="434" y="15"/>
                  </a:lnTo>
                  <a:lnTo>
                    <a:pt x="435" y="15"/>
                  </a:lnTo>
                  <a:lnTo>
                    <a:pt x="436" y="15"/>
                  </a:lnTo>
                  <a:lnTo>
                    <a:pt x="437" y="15"/>
                  </a:lnTo>
                  <a:lnTo>
                    <a:pt x="438" y="14"/>
                  </a:lnTo>
                  <a:lnTo>
                    <a:pt x="439" y="14"/>
                  </a:lnTo>
                  <a:lnTo>
                    <a:pt x="440" y="14"/>
                  </a:lnTo>
                  <a:lnTo>
                    <a:pt x="444" y="12"/>
                  </a:lnTo>
                  <a:lnTo>
                    <a:pt x="445" y="12"/>
                  </a:lnTo>
                  <a:lnTo>
                    <a:pt x="447" y="11"/>
                  </a:lnTo>
                  <a:lnTo>
                    <a:pt x="448" y="11"/>
                  </a:lnTo>
                  <a:lnTo>
                    <a:pt x="449" y="11"/>
                  </a:lnTo>
                  <a:lnTo>
                    <a:pt x="450" y="11"/>
                  </a:lnTo>
                  <a:lnTo>
                    <a:pt x="451" y="11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5" y="12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8" y="10"/>
                  </a:lnTo>
                  <a:lnTo>
                    <a:pt x="459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2" y="9"/>
                  </a:lnTo>
                  <a:lnTo>
                    <a:pt x="462" y="9"/>
                  </a:lnTo>
                  <a:lnTo>
                    <a:pt x="462" y="11"/>
                  </a:lnTo>
                  <a:lnTo>
                    <a:pt x="462" y="12"/>
                  </a:lnTo>
                  <a:lnTo>
                    <a:pt x="462" y="12"/>
                  </a:lnTo>
                  <a:lnTo>
                    <a:pt x="463" y="13"/>
                  </a:lnTo>
                  <a:lnTo>
                    <a:pt x="463" y="14"/>
                  </a:lnTo>
                  <a:lnTo>
                    <a:pt x="464" y="14"/>
                  </a:lnTo>
                  <a:lnTo>
                    <a:pt x="464" y="15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9" y="18"/>
                  </a:lnTo>
                  <a:lnTo>
                    <a:pt x="470" y="19"/>
                  </a:lnTo>
                  <a:lnTo>
                    <a:pt x="471" y="21"/>
                  </a:lnTo>
                  <a:lnTo>
                    <a:pt x="472" y="21"/>
                  </a:lnTo>
                  <a:lnTo>
                    <a:pt x="473" y="22"/>
                  </a:lnTo>
                  <a:lnTo>
                    <a:pt x="474" y="22"/>
                  </a:lnTo>
                  <a:lnTo>
                    <a:pt x="475" y="22"/>
                  </a:lnTo>
                  <a:lnTo>
                    <a:pt x="478" y="23"/>
                  </a:lnTo>
                  <a:lnTo>
                    <a:pt x="478" y="23"/>
                  </a:lnTo>
                  <a:lnTo>
                    <a:pt x="479" y="24"/>
                  </a:lnTo>
                  <a:lnTo>
                    <a:pt x="480" y="24"/>
                  </a:lnTo>
                  <a:lnTo>
                    <a:pt x="481" y="25"/>
                  </a:lnTo>
                  <a:lnTo>
                    <a:pt x="482" y="26"/>
                  </a:lnTo>
                  <a:lnTo>
                    <a:pt x="483" y="26"/>
                  </a:lnTo>
                  <a:lnTo>
                    <a:pt x="484" y="28"/>
                  </a:lnTo>
                  <a:lnTo>
                    <a:pt x="486" y="30"/>
                  </a:lnTo>
                  <a:lnTo>
                    <a:pt x="487" y="31"/>
                  </a:lnTo>
                  <a:lnTo>
                    <a:pt x="487" y="32"/>
                  </a:lnTo>
                  <a:lnTo>
                    <a:pt x="488" y="34"/>
                  </a:lnTo>
                  <a:lnTo>
                    <a:pt x="488" y="35"/>
                  </a:lnTo>
                  <a:lnTo>
                    <a:pt x="488" y="36"/>
                  </a:lnTo>
                  <a:lnTo>
                    <a:pt x="488" y="38"/>
                  </a:lnTo>
                  <a:lnTo>
                    <a:pt x="488" y="39"/>
                  </a:lnTo>
                  <a:lnTo>
                    <a:pt x="488" y="41"/>
                  </a:lnTo>
                  <a:lnTo>
                    <a:pt x="487" y="43"/>
                  </a:lnTo>
                  <a:lnTo>
                    <a:pt x="487" y="45"/>
                  </a:lnTo>
                  <a:lnTo>
                    <a:pt x="486" y="47"/>
                  </a:lnTo>
                  <a:lnTo>
                    <a:pt x="485" y="50"/>
                  </a:lnTo>
                  <a:lnTo>
                    <a:pt x="484" y="51"/>
                  </a:lnTo>
                  <a:lnTo>
                    <a:pt x="482" y="55"/>
                  </a:lnTo>
                  <a:lnTo>
                    <a:pt x="482" y="56"/>
                  </a:lnTo>
                  <a:lnTo>
                    <a:pt x="481" y="57"/>
                  </a:lnTo>
                  <a:lnTo>
                    <a:pt x="481" y="57"/>
                  </a:lnTo>
                  <a:lnTo>
                    <a:pt x="481" y="59"/>
                  </a:lnTo>
                  <a:lnTo>
                    <a:pt x="481" y="59"/>
                  </a:lnTo>
                  <a:lnTo>
                    <a:pt x="481" y="60"/>
                  </a:lnTo>
                  <a:lnTo>
                    <a:pt x="481" y="60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4" y="63"/>
                  </a:lnTo>
                  <a:lnTo>
                    <a:pt x="485" y="64"/>
                  </a:lnTo>
                  <a:lnTo>
                    <a:pt x="485" y="64"/>
                  </a:lnTo>
                  <a:lnTo>
                    <a:pt x="486" y="64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2"/>
                  </a:lnTo>
                  <a:lnTo>
                    <a:pt x="495" y="61"/>
                  </a:lnTo>
                  <a:lnTo>
                    <a:pt x="497" y="61"/>
                  </a:lnTo>
                  <a:lnTo>
                    <a:pt x="498" y="60"/>
                  </a:lnTo>
                  <a:lnTo>
                    <a:pt x="499" y="60"/>
                  </a:lnTo>
                  <a:lnTo>
                    <a:pt x="500" y="60"/>
                  </a:lnTo>
                  <a:lnTo>
                    <a:pt x="501" y="60"/>
                  </a:lnTo>
                  <a:lnTo>
                    <a:pt x="501" y="60"/>
                  </a:lnTo>
                  <a:lnTo>
                    <a:pt x="502" y="60"/>
                  </a:lnTo>
                  <a:lnTo>
                    <a:pt x="502" y="61"/>
                  </a:lnTo>
                  <a:lnTo>
                    <a:pt x="503" y="61"/>
                  </a:lnTo>
                  <a:lnTo>
                    <a:pt x="503" y="62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4"/>
                  </a:lnTo>
                  <a:lnTo>
                    <a:pt x="504" y="65"/>
                  </a:lnTo>
                  <a:lnTo>
                    <a:pt x="504" y="66"/>
                  </a:lnTo>
                  <a:lnTo>
                    <a:pt x="504" y="68"/>
                  </a:lnTo>
                  <a:lnTo>
                    <a:pt x="504" y="69"/>
                  </a:lnTo>
                  <a:lnTo>
                    <a:pt x="503" y="70"/>
                  </a:lnTo>
                  <a:lnTo>
                    <a:pt x="502" y="73"/>
                  </a:lnTo>
                  <a:lnTo>
                    <a:pt x="501" y="75"/>
                  </a:lnTo>
                  <a:lnTo>
                    <a:pt x="497" y="84"/>
                  </a:lnTo>
                  <a:lnTo>
                    <a:pt x="495" y="90"/>
                  </a:lnTo>
                  <a:lnTo>
                    <a:pt x="495" y="91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4" y="93"/>
                  </a:lnTo>
                  <a:lnTo>
                    <a:pt x="494" y="93"/>
                  </a:lnTo>
                  <a:lnTo>
                    <a:pt x="493" y="95"/>
                  </a:lnTo>
                  <a:lnTo>
                    <a:pt x="491" y="96"/>
                  </a:lnTo>
                  <a:lnTo>
                    <a:pt x="490" y="97"/>
                  </a:lnTo>
                  <a:lnTo>
                    <a:pt x="489" y="98"/>
                  </a:lnTo>
                  <a:lnTo>
                    <a:pt x="487" y="99"/>
                  </a:lnTo>
                  <a:lnTo>
                    <a:pt x="485" y="100"/>
                  </a:lnTo>
                  <a:lnTo>
                    <a:pt x="484" y="101"/>
                  </a:lnTo>
                  <a:lnTo>
                    <a:pt x="482" y="102"/>
                  </a:lnTo>
                  <a:lnTo>
                    <a:pt x="482" y="102"/>
                  </a:lnTo>
                  <a:lnTo>
                    <a:pt x="482" y="103"/>
                  </a:lnTo>
                  <a:lnTo>
                    <a:pt x="481" y="104"/>
                  </a:lnTo>
                  <a:lnTo>
                    <a:pt x="481" y="104"/>
                  </a:lnTo>
                  <a:lnTo>
                    <a:pt x="480" y="105"/>
                  </a:lnTo>
                  <a:lnTo>
                    <a:pt x="480" y="107"/>
                  </a:lnTo>
                  <a:lnTo>
                    <a:pt x="479" y="108"/>
                  </a:lnTo>
                  <a:lnTo>
                    <a:pt x="478" y="114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6" y="116"/>
                  </a:lnTo>
                  <a:lnTo>
                    <a:pt x="476" y="117"/>
                  </a:lnTo>
                  <a:lnTo>
                    <a:pt x="476" y="117"/>
                  </a:lnTo>
                  <a:lnTo>
                    <a:pt x="475" y="118"/>
                  </a:lnTo>
                  <a:lnTo>
                    <a:pt x="475" y="118"/>
                  </a:lnTo>
                  <a:lnTo>
                    <a:pt x="474" y="118"/>
                  </a:lnTo>
                  <a:lnTo>
                    <a:pt x="474" y="119"/>
                  </a:lnTo>
                  <a:lnTo>
                    <a:pt x="473" y="119"/>
                  </a:lnTo>
                  <a:lnTo>
                    <a:pt x="472" y="119"/>
                  </a:lnTo>
                  <a:lnTo>
                    <a:pt x="471" y="119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69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6" y="118"/>
                  </a:lnTo>
                  <a:lnTo>
                    <a:pt x="464" y="118"/>
                  </a:lnTo>
                  <a:lnTo>
                    <a:pt x="463" y="117"/>
                  </a:lnTo>
                  <a:lnTo>
                    <a:pt x="460" y="115"/>
                  </a:lnTo>
                  <a:lnTo>
                    <a:pt x="458" y="114"/>
                  </a:lnTo>
                  <a:lnTo>
                    <a:pt x="457" y="114"/>
                  </a:lnTo>
                  <a:lnTo>
                    <a:pt x="455" y="113"/>
                  </a:lnTo>
                  <a:lnTo>
                    <a:pt x="454" y="112"/>
                  </a:lnTo>
                  <a:lnTo>
                    <a:pt x="453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1" y="112"/>
                  </a:lnTo>
                  <a:lnTo>
                    <a:pt x="450" y="112"/>
                  </a:lnTo>
                  <a:lnTo>
                    <a:pt x="448" y="113"/>
                  </a:lnTo>
                  <a:lnTo>
                    <a:pt x="447" y="113"/>
                  </a:lnTo>
                  <a:lnTo>
                    <a:pt x="447" y="113"/>
                  </a:lnTo>
                  <a:lnTo>
                    <a:pt x="446" y="113"/>
                  </a:lnTo>
                  <a:lnTo>
                    <a:pt x="446" y="113"/>
                  </a:lnTo>
                  <a:lnTo>
                    <a:pt x="446" y="114"/>
                  </a:lnTo>
                  <a:lnTo>
                    <a:pt x="446" y="114"/>
                  </a:lnTo>
                  <a:lnTo>
                    <a:pt x="446" y="115"/>
                  </a:lnTo>
                  <a:lnTo>
                    <a:pt x="446" y="116"/>
                  </a:lnTo>
                  <a:lnTo>
                    <a:pt x="446" y="119"/>
                  </a:lnTo>
                  <a:lnTo>
                    <a:pt x="446" y="121"/>
                  </a:lnTo>
                  <a:lnTo>
                    <a:pt x="446" y="122"/>
                  </a:lnTo>
                  <a:lnTo>
                    <a:pt x="446" y="123"/>
                  </a:lnTo>
                  <a:lnTo>
                    <a:pt x="446" y="126"/>
                  </a:lnTo>
                  <a:lnTo>
                    <a:pt x="445" y="127"/>
                  </a:lnTo>
                  <a:lnTo>
                    <a:pt x="445" y="128"/>
                  </a:lnTo>
                  <a:lnTo>
                    <a:pt x="445" y="128"/>
                  </a:lnTo>
                  <a:lnTo>
                    <a:pt x="444" y="129"/>
                  </a:lnTo>
                  <a:lnTo>
                    <a:pt x="444" y="130"/>
                  </a:lnTo>
                  <a:lnTo>
                    <a:pt x="442" y="132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0" y="134"/>
                  </a:lnTo>
                  <a:lnTo>
                    <a:pt x="440" y="135"/>
                  </a:lnTo>
                  <a:lnTo>
                    <a:pt x="439" y="136"/>
                  </a:lnTo>
                  <a:lnTo>
                    <a:pt x="439" y="137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7" y="141"/>
                  </a:lnTo>
                  <a:lnTo>
                    <a:pt x="437" y="142"/>
                  </a:lnTo>
                  <a:lnTo>
                    <a:pt x="437" y="143"/>
                  </a:lnTo>
                  <a:lnTo>
                    <a:pt x="437" y="144"/>
                  </a:lnTo>
                  <a:lnTo>
                    <a:pt x="437" y="146"/>
                  </a:lnTo>
                  <a:lnTo>
                    <a:pt x="437" y="146"/>
                  </a:lnTo>
                  <a:lnTo>
                    <a:pt x="437" y="147"/>
                  </a:lnTo>
                  <a:lnTo>
                    <a:pt x="436" y="147"/>
                  </a:lnTo>
                  <a:lnTo>
                    <a:pt x="436" y="147"/>
                  </a:lnTo>
                  <a:lnTo>
                    <a:pt x="436" y="148"/>
                  </a:lnTo>
                  <a:lnTo>
                    <a:pt x="435" y="148"/>
                  </a:lnTo>
                  <a:lnTo>
                    <a:pt x="434" y="149"/>
                  </a:lnTo>
                  <a:lnTo>
                    <a:pt x="433" y="149"/>
                  </a:lnTo>
                  <a:lnTo>
                    <a:pt x="433" y="149"/>
                  </a:lnTo>
                  <a:lnTo>
                    <a:pt x="430" y="152"/>
                  </a:lnTo>
                  <a:lnTo>
                    <a:pt x="427" y="154"/>
                  </a:lnTo>
                  <a:lnTo>
                    <a:pt x="426" y="155"/>
                  </a:lnTo>
                  <a:lnTo>
                    <a:pt x="425" y="156"/>
                  </a:lnTo>
                  <a:lnTo>
                    <a:pt x="425" y="156"/>
                  </a:lnTo>
                  <a:lnTo>
                    <a:pt x="424" y="157"/>
                  </a:lnTo>
                  <a:lnTo>
                    <a:pt x="424" y="158"/>
                  </a:lnTo>
                  <a:lnTo>
                    <a:pt x="423" y="159"/>
                  </a:lnTo>
                  <a:lnTo>
                    <a:pt x="423" y="160"/>
                  </a:lnTo>
                  <a:lnTo>
                    <a:pt x="422" y="162"/>
                  </a:lnTo>
                  <a:lnTo>
                    <a:pt x="422" y="163"/>
                  </a:lnTo>
                  <a:lnTo>
                    <a:pt x="422" y="164"/>
                  </a:lnTo>
                  <a:lnTo>
                    <a:pt x="421" y="167"/>
                  </a:lnTo>
                  <a:lnTo>
                    <a:pt x="421" y="168"/>
                  </a:lnTo>
                  <a:lnTo>
                    <a:pt x="421" y="169"/>
                  </a:lnTo>
                  <a:lnTo>
                    <a:pt x="420" y="170"/>
                  </a:lnTo>
                  <a:lnTo>
                    <a:pt x="420" y="171"/>
                  </a:lnTo>
                  <a:lnTo>
                    <a:pt x="418" y="174"/>
                  </a:lnTo>
                  <a:lnTo>
                    <a:pt x="417" y="176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8"/>
                  </a:lnTo>
                  <a:lnTo>
                    <a:pt x="415" y="178"/>
                  </a:lnTo>
                  <a:lnTo>
                    <a:pt x="415" y="179"/>
                  </a:lnTo>
                  <a:lnTo>
                    <a:pt x="415" y="180"/>
                  </a:lnTo>
                  <a:lnTo>
                    <a:pt x="415" y="181"/>
                  </a:lnTo>
                  <a:lnTo>
                    <a:pt x="415" y="182"/>
                  </a:lnTo>
                  <a:lnTo>
                    <a:pt x="416" y="182"/>
                  </a:lnTo>
                  <a:lnTo>
                    <a:pt x="416" y="183"/>
                  </a:lnTo>
                  <a:lnTo>
                    <a:pt x="417" y="185"/>
                  </a:lnTo>
                  <a:lnTo>
                    <a:pt x="417" y="186"/>
                  </a:lnTo>
                  <a:lnTo>
                    <a:pt x="418" y="187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19" y="193"/>
                  </a:lnTo>
                  <a:lnTo>
                    <a:pt x="419" y="196"/>
                  </a:lnTo>
                  <a:lnTo>
                    <a:pt x="420" y="196"/>
                  </a:lnTo>
                  <a:lnTo>
                    <a:pt x="420" y="198"/>
                  </a:lnTo>
                  <a:lnTo>
                    <a:pt x="421" y="199"/>
                  </a:lnTo>
                  <a:lnTo>
                    <a:pt x="422" y="201"/>
                  </a:lnTo>
                  <a:lnTo>
                    <a:pt x="423" y="205"/>
                  </a:lnTo>
                  <a:lnTo>
                    <a:pt x="425" y="209"/>
                  </a:lnTo>
                  <a:lnTo>
                    <a:pt x="426" y="210"/>
                  </a:lnTo>
                  <a:lnTo>
                    <a:pt x="427" y="211"/>
                  </a:lnTo>
                  <a:lnTo>
                    <a:pt x="428" y="213"/>
                  </a:lnTo>
                  <a:lnTo>
                    <a:pt x="428" y="214"/>
                  </a:lnTo>
                  <a:lnTo>
                    <a:pt x="430" y="216"/>
                  </a:lnTo>
                  <a:lnTo>
                    <a:pt x="430" y="217"/>
                  </a:lnTo>
                  <a:lnTo>
                    <a:pt x="431" y="218"/>
                  </a:lnTo>
                  <a:lnTo>
                    <a:pt x="432" y="220"/>
                  </a:lnTo>
                  <a:lnTo>
                    <a:pt x="433" y="222"/>
                  </a:lnTo>
                  <a:lnTo>
                    <a:pt x="433" y="223"/>
                  </a:lnTo>
                  <a:lnTo>
                    <a:pt x="436" y="230"/>
                  </a:lnTo>
                  <a:lnTo>
                    <a:pt x="436" y="230"/>
                  </a:lnTo>
                  <a:lnTo>
                    <a:pt x="437" y="231"/>
                  </a:lnTo>
                  <a:lnTo>
                    <a:pt x="439" y="236"/>
                  </a:lnTo>
                  <a:lnTo>
                    <a:pt x="441" y="240"/>
                  </a:lnTo>
                  <a:lnTo>
                    <a:pt x="442" y="240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44" y="243"/>
                  </a:lnTo>
                  <a:lnTo>
                    <a:pt x="445" y="243"/>
                  </a:lnTo>
                  <a:lnTo>
                    <a:pt x="447" y="245"/>
                  </a:lnTo>
                  <a:lnTo>
                    <a:pt x="448" y="246"/>
                  </a:lnTo>
                  <a:lnTo>
                    <a:pt x="450" y="247"/>
                  </a:lnTo>
                  <a:lnTo>
                    <a:pt x="451" y="248"/>
                  </a:lnTo>
                  <a:lnTo>
                    <a:pt x="451" y="249"/>
                  </a:lnTo>
                  <a:lnTo>
                    <a:pt x="452" y="249"/>
                  </a:lnTo>
                  <a:lnTo>
                    <a:pt x="453" y="250"/>
                  </a:lnTo>
                  <a:lnTo>
                    <a:pt x="453" y="251"/>
                  </a:lnTo>
                  <a:lnTo>
                    <a:pt x="454" y="252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5"/>
                  </a:lnTo>
                  <a:lnTo>
                    <a:pt x="455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3" y="254"/>
                  </a:lnTo>
                  <a:lnTo>
                    <a:pt x="453" y="255"/>
                  </a:lnTo>
                  <a:lnTo>
                    <a:pt x="452" y="255"/>
                  </a:lnTo>
                  <a:lnTo>
                    <a:pt x="452" y="256"/>
                  </a:lnTo>
                  <a:lnTo>
                    <a:pt x="451" y="256"/>
                  </a:lnTo>
                  <a:lnTo>
                    <a:pt x="450" y="257"/>
                  </a:lnTo>
                  <a:lnTo>
                    <a:pt x="450" y="258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60"/>
                  </a:lnTo>
                  <a:lnTo>
                    <a:pt x="449" y="260"/>
                  </a:lnTo>
                  <a:lnTo>
                    <a:pt x="449" y="261"/>
                  </a:lnTo>
                  <a:lnTo>
                    <a:pt x="449" y="262"/>
                  </a:lnTo>
                  <a:lnTo>
                    <a:pt x="449" y="262"/>
                  </a:lnTo>
                  <a:lnTo>
                    <a:pt x="449" y="264"/>
                  </a:lnTo>
                  <a:lnTo>
                    <a:pt x="450" y="267"/>
                  </a:lnTo>
                  <a:lnTo>
                    <a:pt x="450" y="269"/>
                  </a:lnTo>
                  <a:lnTo>
                    <a:pt x="450" y="270"/>
                  </a:lnTo>
                  <a:lnTo>
                    <a:pt x="450" y="273"/>
                  </a:lnTo>
                  <a:lnTo>
                    <a:pt x="450" y="274"/>
                  </a:lnTo>
                  <a:lnTo>
                    <a:pt x="450" y="275"/>
                  </a:lnTo>
                  <a:lnTo>
                    <a:pt x="450" y="275"/>
                  </a:lnTo>
                  <a:lnTo>
                    <a:pt x="450" y="276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7" y="279"/>
                  </a:lnTo>
                  <a:lnTo>
                    <a:pt x="445" y="280"/>
                  </a:lnTo>
                  <a:lnTo>
                    <a:pt x="442" y="281"/>
                  </a:lnTo>
                  <a:lnTo>
                    <a:pt x="439" y="281"/>
                  </a:lnTo>
                  <a:lnTo>
                    <a:pt x="438" y="282"/>
                  </a:lnTo>
                  <a:lnTo>
                    <a:pt x="438" y="282"/>
                  </a:lnTo>
                  <a:lnTo>
                    <a:pt x="437" y="282"/>
                  </a:lnTo>
                  <a:lnTo>
                    <a:pt x="437" y="283"/>
                  </a:lnTo>
                  <a:lnTo>
                    <a:pt x="436" y="286"/>
                  </a:lnTo>
                  <a:lnTo>
                    <a:pt x="434" y="288"/>
                  </a:lnTo>
                  <a:lnTo>
                    <a:pt x="434" y="289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2" y="291"/>
                  </a:lnTo>
                  <a:lnTo>
                    <a:pt x="431" y="291"/>
                  </a:lnTo>
                  <a:lnTo>
                    <a:pt x="430" y="291"/>
                  </a:lnTo>
                  <a:lnTo>
                    <a:pt x="429" y="291"/>
                  </a:lnTo>
                  <a:lnTo>
                    <a:pt x="428" y="291"/>
                  </a:lnTo>
                  <a:lnTo>
                    <a:pt x="424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2" y="289"/>
                  </a:lnTo>
                  <a:lnTo>
                    <a:pt x="422" y="289"/>
                  </a:lnTo>
                  <a:lnTo>
                    <a:pt x="421" y="289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1"/>
                  </a:lnTo>
                  <a:lnTo>
                    <a:pt x="420" y="292"/>
                  </a:lnTo>
                  <a:lnTo>
                    <a:pt x="420" y="294"/>
                  </a:lnTo>
                  <a:lnTo>
                    <a:pt x="420" y="296"/>
                  </a:lnTo>
                  <a:lnTo>
                    <a:pt x="420" y="297"/>
                  </a:lnTo>
                  <a:lnTo>
                    <a:pt x="420" y="298"/>
                  </a:lnTo>
                  <a:lnTo>
                    <a:pt x="420" y="299"/>
                  </a:lnTo>
                  <a:lnTo>
                    <a:pt x="420" y="300"/>
                  </a:lnTo>
                  <a:lnTo>
                    <a:pt x="420" y="301"/>
                  </a:lnTo>
                  <a:lnTo>
                    <a:pt x="421" y="302"/>
                  </a:lnTo>
                  <a:lnTo>
                    <a:pt x="421" y="305"/>
                  </a:lnTo>
                  <a:lnTo>
                    <a:pt x="422" y="306"/>
                  </a:lnTo>
                  <a:lnTo>
                    <a:pt x="422" y="307"/>
                  </a:lnTo>
                  <a:lnTo>
                    <a:pt x="422" y="308"/>
                  </a:lnTo>
                  <a:lnTo>
                    <a:pt x="422" y="309"/>
                  </a:lnTo>
                  <a:lnTo>
                    <a:pt x="422" y="311"/>
                  </a:lnTo>
                  <a:lnTo>
                    <a:pt x="422" y="312"/>
                  </a:lnTo>
                  <a:lnTo>
                    <a:pt x="421" y="313"/>
                  </a:lnTo>
                  <a:lnTo>
                    <a:pt x="421" y="315"/>
                  </a:lnTo>
                  <a:lnTo>
                    <a:pt x="420" y="319"/>
                  </a:lnTo>
                  <a:lnTo>
                    <a:pt x="420" y="320"/>
                  </a:lnTo>
                  <a:lnTo>
                    <a:pt x="420" y="321"/>
                  </a:lnTo>
                  <a:lnTo>
                    <a:pt x="419" y="322"/>
                  </a:lnTo>
                  <a:lnTo>
                    <a:pt x="419" y="323"/>
                  </a:lnTo>
                  <a:lnTo>
                    <a:pt x="418" y="323"/>
                  </a:lnTo>
                  <a:lnTo>
                    <a:pt x="418" y="324"/>
                  </a:lnTo>
                  <a:lnTo>
                    <a:pt x="418" y="324"/>
                  </a:lnTo>
                  <a:lnTo>
                    <a:pt x="417" y="324"/>
                  </a:lnTo>
                  <a:lnTo>
                    <a:pt x="417" y="325"/>
                  </a:lnTo>
                  <a:lnTo>
                    <a:pt x="416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3" y="325"/>
                  </a:lnTo>
                  <a:lnTo>
                    <a:pt x="411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4"/>
                  </a:lnTo>
                  <a:lnTo>
                    <a:pt x="401" y="325"/>
                  </a:lnTo>
                  <a:lnTo>
                    <a:pt x="395" y="326"/>
                  </a:lnTo>
                  <a:lnTo>
                    <a:pt x="394" y="326"/>
                  </a:lnTo>
                  <a:lnTo>
                    <a:pt x="393" y="326"/>
                  </a:lnTo>
                  <a:lnTo>
                    <a:pt x="392" y="327"/>
                  </a:lnTo>
                  <a:lnTo>
                    <a:pt x="391" y="327"/>
                  </a:lnTo>
                  <a:lnTo>
                    <a:pt x="391" y="327"/>
                  </a:lnTo>
                  <a:lnTo>
                    <a:pt x="390" y="328"/>
                  </a:lnTo>
                  <a:lnTo>
                    <a:pt x="388" y="330"/>
                  </a:lnTo>
                  <a:lnTo>
                    <a:pt x="387" y="331"/>
                  </a:lnTo>
                  <a:lnTo>
                    <a:pt x="386" y="332"/>
                  </a:lnTo>
                  <a:lnTo>
                    <a:pt x="385" y="332"/>
                  </a:lnTo>
                  <a:lnTo>
                    <a:pt x="384" y="333"/>
                  </a:lnTo>
                  <a:lnTo>
                    <a:pt x="384" y="333"/>
                  </a:lnTo>
                  <a:lnTo>
                    <a:pt x="383" y="333"/>
                  </a:lnTo>
                  <a:lnTo>
                    <a:pt x="383" y="333"/>
                  </a:lnTo>
                  <a:lnTo>
                    <a:pt x="382" y="333"/>
                  </a:lnTo>
                  <a:lnTo>
                    <a:pt x="381" y="333"/>
                  </a:lnTo>
                  <a:lnTo>
                    <a:pt x="379" y="333"/>
                  </a:lnTo>
                  <a:lnTo>
                    <a:pt x="376" y="332"/>
                  </a:lnTo>
                  <a:lnTo>
                    <a:pt x="372" y="331"/>
                  </a:lnTo>
                  <a:lnTo>
                    <a:pt x="370" y="331"/>
                  </a:lnTo>
                  <a:lnTo>
                    <a:pt x="368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6" y="330"/>
                  </a:lnTo>
                  <a:lnTo>
                    <a:pt x="365" y="330"/>
                  </a:lnTo>
                  <a:lnTo>
                    <a:pt x="365" y="331"/>
                  </a:lnTo>
                  <a:lnTo>
                    <a:pt x="363" y="332"/>
                  </a:lnTo>
                  <a:lnTo>
                    <a:pt x="361" y="332"/>
                  </a:lnTo>
                  <a:lnTo>
                    <a:pt x="359" y="332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3" y="333"/>
                  </a:lnTo>
                  <a:lnTo>
                    <a:pt x="350" y="333"/>
                  </a:lnTo>
                  <a:lnTo>
                    <a:pt x="348" y="333"/>
                  </a:lnTo>
                  <a:lnTo>
                    <a:pt x="346" y="333"/>
                  </a:lnTo>
                  <a:lnTo>
                    <a:pt x="340" y="332"/>
                  </a:lnTo>
                  <a:lnTo>
                    <a:pt x="338" y="332"/>
                  </a:lnTo>
                  <a:lnTo>
                    <a:pt x="336" y="332"/>
                  </a:lnTo>
                  <a:lnTo>
                    <a:pt x="333" y="331"/>
                  </a:lnTo>
                  <a:lnTo>
                    <a:pt x="329" y="330"/>
                  </a:lnTo>
                  <a:lnTo>
                    <a:pt x="325" y="329"/>
                  </a:lnTo>
                  <a:lnTo>
                    <a:pt x="323" y="328"/>
                  </a:lnTo>
                  <a:lnTo>
                    <a:pt x="322" y="328"/>
                  </a:lnTo>
                  <a:lnTo>
                    <a:pt x="317" y="328"/>
                  </a:lnTo>
                  <a:lnTo>
                    <a:pt x="316" y="328"/>
                  </a:lnTo>
                  <a:lnTo>
                    <a:pt x="315" y="328"/>
                  </a:lnTo>
                  <a:lnTo>
                    <a:pt x="314" y="328"/>
                  </a:lnTo>
                  <a:lnTo>
                    <a:pt x="313" y="328"/>
                  </a:lnTo>
                  <a:lnTo>
                    <a:pt x="313" y="328"/>
                  </a:lnTo>
                  <a:lnTo>
                    <a:pt x="312" y="329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09" y="331"/>
                  </a:lnTo>
                  <a:lnTo>
                    <a:pt x="309" y="331"/>
                  </a:lnTo>
                  <a:lnTo>
                    <a:pt x="308" y="332"/>
                  </a:lnTo>
                  <a:lnTo>
                    <a:pt x="307" y="333"/>
                  </a:lnTo>
                  <a:lnTo>
                    <a:pt x="307" y="333"/>
                  </a:lnTo>
                  <a:lnTo>
                    <a:pt x="307" y="334"/>
                  </a:lnTo>
                  <a:lnTo>
                    <a:pt x="307" y="335"/>
                  </a:lnTo>
                  <a:lnTo>
                    <a:pt x="307" y="335"/>
                  </a:lnTo>
                  <a:lnTo>
                    <a:pt x="307" y="336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4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4" y="346"/>
                  </a:lnTo>
                  <a:lnTo>
                    <a:pt x="304" y="346"/>
                  </a:lnTo>
                  <a:lnTo>
                    <a:pt x="302" y="346"/>
                  </a:lnTo>
                  <a:lnTo>
                    <a:pt x="301" y="346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298" y="347"/>
                  </a:lnTo>
                  <a:lnTo>
                    <a:pt x="298" y="347"/>
                  </a:lnTo>
                  <a:lnTo>
                    <a:pt x="297" y="347"/>
                  </a:lnTo>
                  <a:lnTo>
                    <a:pt x="297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2"/>
                  </a:lnTo>
                  <a:lnTo>
                    <a:pt x="295" y="353"/>
                  </a:lnTo>
                  <a:lnTo>
                    <a:pt x="294" y="353"/>
                  </a:lnTo>
                  <a:lnTo>
                    <a:pt x="292" y="355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89" y="357"/>
                  </a:lnTo>
                  <a:lnTo>
                    <a:pt x="288" y="358"/>
                  </a:lnTo>
                  <a:lnTo>
                    <a:pt x="287" y="359"/>
                  </a:lnTo>
                  <a:lnTo>
                    <a:pt x="286" y="359"/>
                  </a:lnTo>
                  <a:lnTo>
                    <a:pt x="285" y="359"/>
                  </a:lnTo>
                  <a:lnTo>
                    <a:pt x="282" y="360"/>
                  </a:lnTo>
                  <a:lnTo>
                    <a:pt x="281" y="361"/>
                  </a:lnTo>
                  <a:lnTo>
                    <a:pt x="280" y="361"/>
                  </a:lnTo>
                  <a:lnTo>
                    <a:pt x="278" y="361"/>
                  </a:lnTo>
                  <a:lnTo>
                    <a:pt x="278" y="362"/>
                  </a:lnTo>
                  <a:lnTo>
                    <a:pt x="277" y="362"/>
                  </a:lnTo>
                  <a:lnTo>
                    <a:pt x="276" y="363"/>
                  </a:lnTo>
                  <a:lnTo>
                    <a:pt x="275" y="364"/>
                  </a:lnTo>
                  <a:lnTo>
                    <a:pt x="274" y="364"/>
                  </a:lnTo>
                  <a:lnTo>
                    <a:pt x="273" y="365"/>
                  </a:lnTo>
                  <a:lnTo>
                    <a:pt x="272" y="367"/>
                  </a:lnTo>
                  <a:lnTo>
                    <a:pt x="270" y="369"/>
                  </a:lnTo>
                  <a:lnTo>
                    <a:pt x="269" y="370"/>
                  </a:lnTo>
                  <a:lnTo>
                    <a:pt x="268" y="371"/>
                  </a:lnTo>
                  <a:lnTo>
                    <a:pt x="268" y="371"/>
                  </a:lnTo>
                  <a:lnTo>
                    <a:pt x="267" y="371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5" y="372"/>
                  </a:lnTo>
                  <a:lnTo>
                    <a:pt x="265" y="372"/>
                  </a:lnTo>
                  <a:lnTo>
                    <a:pt x="264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3" y="371"/>
                  </a:lnTo>
                  <a:lnTo>
                    <a:pt x="262" y="371"/>
                  </a:lnTo>
                  <a:lnTo>
                    <a:pt x="261" y="370"/>
                  </a:lnTo>
                  <a:lnTo>
                    <a:pt x="259" y="368"/>
                  </a:lnTo>
                  <a:lnTo>
                    <a:pt x="259" y="368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4" y="366"/>
                  </a:lnTo>
                  <a:lnTo>
                    <a:pt x="253" y="366"/>
                  </a:lnTo>
                  <a:lnTo>
                    <a:pt x="253" y="367"/>
                  </a:lnTo>
                  <a:lnTo>
                    <a:pt x="252" y="367"/>
                  </a:lnTo>
                  <a:lnTo>
                    <a:pt x="251" y="368"/>
                  </a:lnTo>
                  <a:lnTo>
                    <a:pt x="250" y="369"/>
                  </a:lnTo>
                  <a:lnTo>
                    <a:pt x="249" y="370"/>
                  </a:lnTo>
                  <a:lnTo>
                    <a:pt x="246" y="373"/>
                  </a:lnTo>
                  <a:lnTo>
                    <a:pt x="244" y="374"/>
                  </a:lnTo>
                  <a:lnTo>
                    <a:pt x="244" y="375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8" y="378"/>
                  </a:lnTo>
                  <a:lnTo>
                    <a:pt x="236" y="380"/>
                  </a:lnTo>
                  <a:lnTo>
                    <a:pt x="235" y="380"/>
                  </a:lnTo>
                  <a:lnTo>
                    <a:pt x="234" y="381"/>
                  </a:lnTo>
                  <a:lnTo>
                    <a:pt x="233" y="381"/>
                  </a:lnTo>
                  <a:lnTo>
                    <a:pt x="232" y="381"/>
                  </a:lnTo>
                  <a:lnTo>
                    <a:pt x="231" y="381"/>
                  </a:lnTo>
                  <a:lnTo>
                    <a:pt x="230" y="381"/>
                  </a:lnTo>
                  <a:lnTo>
                    <a:pt x="228" y="381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2"/>
                  </a:lnTo>
                  <a:lnTo>
                    <a:pt x="220" y="382"/>
                  </a:lnTo>
                  <a:lnTo>
                    <a:pt x="218" y="381"/>
                  </a:lnTo>
                  <a:lnTo>
                    <a:pt x="217" y="381"/>
                  </a:lnTo>
                  <a:lnTo>
                    <a:pt x="215" y="381"/>
                  </a:lnTo>
                  <a:lnTo>
                    <a:pt x="214" y="380"/>
                  </a:lnTo>
                  <a:lnTo>
                    <a:pt x="214" y="380"/>
                  </a:lnTo>
                  <a:lnTo>
                    <a:pt x="213" y="380"/>
                  </a:lnTo>
                  <a:lnTo>
                    <a:pt x="212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09" y="379"/>
                  </a:lnTo>
                  <a:lnTo>
                    <a:pt x="208" y="380"/>
                  </a:lnTo>
                  <a:lnTo>
                    <a:pt x="207" y="381"/>
                  </a:lnTo>
                  <a:lnTo>
                    <a:pt x="203" y="385"/>
                  </a:lnTo>
                  <a:lnTo>
                    <a:pt x="200" y="387"/>
                  </a:lnTo>
                  <a:lnTo>
                    <a:pt x="198" y="389"/>
                  </a:lnTo>
                  <a:lnTo>
                    <a:pt x="198" y="389"/>
                  </a:lnTo>
                  <a:lnTo>
                    <a:pt x="197" y="390"/>
                  </a:lnTo>
                  <a:lnTo>
                    <a:pt x="196" y="391"/>
                  </a:lnTo>
                  <a:lnTo>
                    <a:pt x="195" y="393"/>
                  </a:lnTo>
                  <a:lnTo>
                    <a:pt x="194" y="393"/>
                  </a:lnTo>
                  <a:lnTo>
                    <a:pt x="193" y="394"/>
                  </a:lnTo>
                  <a:lnTo>
                    <a:pt x="192" y="395"/>
                  </a:lnTo>
                  <a:lnTo>
                    <a:pt x="191" y="395"/>
                  </a:lnTo>
                  <a:lnTo>
                    <a:pt x="190" y="396"/>
                  </a:lnTo>
                  <a:lnTo>
                    <a:pt x="188" y="396"/>
                  </a:lnTo>
                  <a:lnTo>
                    <a:pt x="186" y="397"/>
                  </a:lnTo>
                  <a:lnTo>
                    <a:pt x="185" y="397"/>
                  </a:lnTo>
                  <a:lnTo>
                    <a:pt x="183" y="397"/>
                  </a:lnTo>
                  <a:lnTo>
                    <a:pt x="182" y="397"/>
                  </a:lnTo>
                  <a:lnTo>
                    <a:pt x="181" y="397"/>
                  </a:lnTo>
                  <a:lnTo>
                    <a:pt x="179" y="397"/>
                  </a:lnTo>
                  <a:lnTo>
                    <a:pt x="178" y="397"/>
                  </a:lnTo>
                  <a:lnTo>
                    <a:pt x="176" y="397"/>
                  </a:lnTo>
                  <a:lnTo>
                    <a:pt x="175" y="397"/>
                  </a:lnTo>
                  <a:lnTo>
                    <a:pt x="174" y="398"/>
                  </a:lnTo>
                  <a:lnTo>
                    <a:pt x="173" y="398"/>
                  </a:lnTo>
                  <a:lnTo>
                    <a:pt x="172" y="399"/>
                  </a:lnTo>
                  <a:lnTo>
                    <a:pt x="171" y="400"/>
                  </a:lnTo>
                  <a:lnTo>
                    <a:pt x="169" y="401"/>
                  </a:lnTo>
                  <a:lnTo>
                    <a:pt x="167" y="402"/>
                  </a:lnTo>
                  <a:lnTo>
                    <a:pt x="167" y="403"/>
                  </a:lnTo>
                  <a:lnTo>
                    <a:pt x="165" y="404"/>
                  </a:lnTo>
                  <a:lnTo>
                    <a:pt x="164" y="405"/>
                  </a:lnTo>
                  <a:lnTo>
                    <a:pt x="162" y="406"/>
                  </a:lnTo>
                  <a:lnTo>
                    <a:pt x="160" y="408"/>
                  </a:lnTo>
                  <a:lnTo>
                    <a:pt x="160" y="409"/>
                  </a:lnTo>
                  <a:lnTo>
                    <a:pt x="159" y="409"/>
                  </a:lnTo>
                  <a:lnTo>
                    <a:pt x="159" y="410"/>
                  </a:lnTo>
                  <a:lnTo>
                    <a:pt x="159" y="410"/>
                  </a:lnTo>
                  <a:lnTo>
                    <a:pt x="158" y="411"/>
                  </a:lnTo>
                  <a:lnTo>
                    <a:pt x="158" y="412"/>
                  </a:lnTo>
                  <a:lnTo>
                    <a:pt x="158" y="415"/>
                  </a:lnTo>
                  <a:lnTo>
                    <a:pt x="158" y="415"/>
                  </a:lnTo>
                  <a:lnTo>
                    <a:pt x="157" y="416"/>
                  </a:lnTo>
                  <a:lnTo>
                    <a:pt x="157" y="418"/>
                  </a:lnTo>
                  <a:lnTo>
                    <a:pt x="157" y="418"/>
                  </a:lnTo>
                  <a:lnTo>
                    <a:pt x="157" y="419"/>
                  </a:lnTo>
                  <a:lnTo>
                    <a:pt x="157" y="420"/>
                  </a:lnTo>
                  <a:lnTo>
                    <a:pt x="157" y="421"/>
                  </a:lnTo>
                  <a:lnTo>
                    <a:pt x="157" y="422"/>
                  </a:lnTo>
                  <a:lnTo>
                    <a:pt x="156" y="423"/>
                  </a:lnTo>
                  <a:lnTo>
                    <a:pt x="156" y="423"/>
                  </a:lnTo>
                  <a:lnTo>
                    <a:pt x="156" y="424"/>
                  </a:lnTo>
                  <a:lnTo>
                    <a:pt x="156" y="424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3" y="425"/>
                  </a:lnTo>
                  <a:lnTo>
                    <a:pt x="153" y="426"/>
                  </a:lnTo>
                  <a:lnTo>
                    <a:pt x="152" y="426"/>
                  </a:lnTo>
                  <a:lnTo>
                    <a:pt x="152" y="426"/>
                  </a:lnTo>
                  <a:lnTo>
                    <a:pt x="152" y="427"/>
                  </a:lnTo>
                  <a:lnTo>
                    <a:pt x="151" y="429"/>
                  </a:lnTo>
                  <a:lnTo>
                    <a:pt x="150" y="430"/>
                  </a:lnTo>
                  <a:lnTo>
                    <a:pt x="150" y="431"/>
                  </a:lnTo>
                  <a:lnTo>
                    <a:pt x="149" y="433"/>
                  </a:lnTo>
                  <a:lnTo>
                    <a:pt x="148" y="433"/>
                  </a:lnTo>
                  <a:lnTo>
                    <a:pt x="148" y="434"/>
                  </a:lnTo>
                  <a:lnTo>
                    <a:pt x="147" y="434"/>
                  </a:lnTo>
                  <a:lnTo>
                    <a:pt x="147" y="434"/>
                  </a:lnTo>
                  <a:lnTo>
                    <a:pt x="146" y="434"/>
                  </a:lnTo>
                  <a:lnTo>
                    <a:pt x="145" y="434"/>
                  </a:lnTo>
                  <a:lnTo>
                    <a:pt x="144" y="434"/>
                  </a:lnTo>
                  <a:lnTo>
                    <a:pt x="143" y="434"/>
                  </a:lnTo>
                  <a:lnTo>
                    <a:pt x="142" y="435"/>
                  </a:lnTo>
                  <a:lnTo>
                    <a:pt x="141" y="435"/>
                  </a:lnTo>
                  <a:lnTo>
                    <a:pt x="140" y="435"/>
                  </a:lnTo>
                  <a:lnTo>
                    <a:pt x="139" y="436"/>
                  </a:lnTo>
                  <a:lnTo>
                    <a:pt x="138" y="436"/>
                  </a:lnTo>
                  <a:lnTo>
                    <a:pt x="137" y="437"/>
                  </a:lnTo>
                  <a:lnTo>
                    <a:pt x="136" y="438"/>
                  </a:lnTo>
                  <a:lnTo>
                    <a:pt x="135" y="439"/>
                  </a:lnTo>
                  <a:lnTo>
                    <a:pt x="134" y="440"/>
                  </a:lnTo>
                  <a:lnTo>
                    <a:pt x="133" y="440"/>
                  </a:lnTo>
                  <a:lnTo>
                    <a:pt x="133" y="441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2" y="443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0" y="445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5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3" y="447"/>
                  </a:lnTo>
                  <a:lnTo>
                    <a:pt x="123" y="447"/>
                  </a:lnTo>
                  <a:lnTo>
                    <a:pt x="123" y="446"/>
                  </a:lnTo>
                  <a:lnTo>
                    <a:pt x="122" y="446"/>
                  </a:lnTo>
                  <a:lnTo>
                    <a:pt x="122" y="446"/>
                  </a:lnTo>
                  <a:lnTo>
                    <a:pt x="122" y="445"/>
                  </a:lnTo>
                  <a:lnTo>
                    <a:pt x="121" y="443"/>
                  </a:lnTo>
                  <a:lnTo>
                    <a:pt x="121" y="442"/>
                  </a:lnTo>
                  <a:lnTo>
                    <a:pt x="120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7" y="436"/>
                  </a:lnTo>
                  <a:lnTo>
                    <a:pt x="116" y="437"/>
                  </a:lnTo>
                  <a:lnTo>
                    <a:pt x="115" y="437"/>
                  </a:lnTo>
                  <a:lnTo>
                    <a:pt x="115" y="437"/>
                  </a:lnTo>
                  <a:lnTo>
                    <a:pt x="114" y="438"/>
                  </a:lnTo>
                  <a:lnTo>
                    <a:pt x="114" y="438"/>
                  </a:lnTo>
                  <a:lnTo>
                    <a:pt x="112" y="440"/>
                  </a:lnTo>
                  <a:lnTo>
                    <a:pt x="112" y="440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0" y="441"/>
                  </a:lnTo>
                  <a:lnTo>
                    <a:pt x="110" y="441"/>
                  </a:lnTo>
                  <a:lnTo>
                    <a:pt x="109" y="441"/>
                  </a:lnTo>
                  <a:lnTo>
                    <a:pt x="109" y="440"/>
                  </a:lnTo>
                  <a:lnTo>
                    <a:pt x="109" y="440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8" y="437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5"/>
                  </a:lnTo>
                  <a:lnTo>
                    <a:pt x="108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5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0" y="435"/>
                  </a:lnTo>
                  <a:lnTo>
                    <a:pt x="100" y="434"/>
                  </a:lnTo>
                  <a:lnTo>
                    <a:pt x="99" y="433"/>
                  </a:lnTo>
                  <a:lnTo>
                    <a:pt x="99" y="432"/>
                  </a:lnTo>
                  <a:lnTo>
                    <a:pt x="98" y="431"/>
                  </a:lnTo>
                  <a:lnTo>
                    <a:pt x="96" y="429"/>
                  </a:lnTo>
                  <a:lnTo>
                    <a:pt x="95" y="428"/>
                  </a:lnTo>
                  <a:lnTo>
                    <a:pt x="95" y="427"/>
                  </a:lnTo>
                  <a:lnTo>
                    <a:pt x="94" y="426"/>
                  </a:lnTo>
                  <a:lnTo>
                    <a:pt x="93" y="426"/>
                  </a:lnTo>
                  <a:lnTo>
                    <a:pt x="92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0" y="424"/>
                  </a:lnTo>
                  <a:lnTo>
                    <a:pt x="86" y="424"/>
                  </a:lnTo>
                  <a:lnTo>
                    <a:pt x="85" y="424"/>
                  </a:lnTo>
                  <a:lnTo>
                    <a:pt x="85" y="423"/>
                  </a:lnTo>
                  <a:lnTo>
                    <a:pt x="84" y="423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4" y="419"/>
                  </a:lnTo>
                  <a:lnTo>
                    <a:pt x="84" y="418"/>
                  </a:lnTo>
                  <a:lnTo>
                    <a:pt x="84" y="418"/>
                  </a:lnTo>
                  <a:lnTo>
                    <a:pt x="85" y="418"/>
                  </a:lnTo>
                  <a:lnTo>
                    <a:pt x="86" y="417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8" y="417"/>
                  </a:lnTo>
                  <a:lnTo>
                    <a:pt x="89" y="417"/>
                  </a:lnTo>
                  <a:lnTo>
                    <a:pt x="90" y="417"/>
                  </a:lnTo>
                  <a:lnTo>
                    <a:pt x="93" y="418"/>
                  </a:lnTo>
                  <a:lnTo>
                    <a:pt x="93" y="418"/>
                  </a:lnTo>
                  <a:lnTo>
                    <a:pt x="94" y="418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5" y="417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4" y="415"/>
                  </a:lnTo>
                  <a:lnTo>
                    <a:pt x="94" y="413"/>
                  </a:lnTo>
                  <a:lnTo>
                    <a:pt x="94" y="412"/>
                  </a:lnTo>
                  <a:lnTo>
                    <a:pt x="94" y="411"/>
                  </a:lnTo>
                  <a:lnTo>
                    <a:pt x="94" y="411"/>
                  </a:lnTo>
                  <a:lnTo>
                    <a:pt x="94" y="410"/>
                  </a:lnTo>
                  <a:lnTo>
                    <a:pt x="95" y="409"/>
                  </a:lnTo>
                  <a:lnTo>
                    <a:pt x="95" y="409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6" y="407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6" y="405"/>
                  </a:lnTo>
                  <a:lnTo>
                    <a:pt x="95" y="404"/>
                  </a:lnTo>
                  <a:lnTo>
                    <a:pt x="95" y="401"/>
                  </a:lnTo>
                  <a:lnTo>
                    <a:pt x="94" y="400"/>
                  </a:lnTo>
                  <a:lnTo>
                    <a:pt x="94" y="398"/>
                  </a:lnTo>
                  <a:lnTo>
                    <a:pt x="92" y="394"/>
                  </a:lnTo>
                  <a:lnTo>
                    <a:pt x="91" y="392"/>
                  </a:lnTo>
                  <a:lnTo>
                    <a:pt x="90" y="390"/>
                  </a:lnTo>
                  <a:lnTo>
                    <a:pt x="89" y="389"/>
                  </a:lnTo>
                  <a:lnTo>
                    <a:pt x="87" y="386"/>
                  </a:lnTo>
                  <a:lnTo>
                    <a:pt x="87" y="386"/>
                  </a:lnTo>
                  <a:lnTo>
                    <a:pt x="87" y="385"/>
                  </a:lnTo>
                  <a:lnTo>
                    <a:pt x="87" y="385"/>
                  </a:lnTo>
                  <a:lnTo>
                    <a:pt x="87" y="384"/>
                  </a:lnTo>
                  <a:lnTo>
                    <a:pt x="87" y="381"/>
                  </a:lnTo>
                  <a:lnTo>
                    <a:pt x="87" y="380"/>
                  </a:lnTo>
                  <a:lnTo>
                    <a:pt x="86" y="378"/>
                  </a:lnTo>
                  <a:lnTo>
                    <a:pt x="86" y="378"/>
                  </a:lnTo>
                  <a:lnTo>
                    <a:pt x="86" y="377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3" y="374"/>
                  </a:lnTo>
                  <a:lnTo>
                    <a:pt x="83" y="373"/>
                  </a:lnTo>
                  <a:lnTo>
                    <a:pt x="82" y="373"/>
                  </a:lnTo>
                  <a:lnTo>
                    <a:pt x="82" y="372"/>
                  </a:lnTo>
                  <a:lnTo>
                    <a:pt x="82" y="372"/>
                  </a:lnTo>
                  <a:lnTo>
                    <a:pt x="82" y="371"/>
                  </a:lnTo>
                  <a:lnTo>
                    <a:pt x="81" y="370"/>
                  </a:lnTo>
                  <a:lnTo>
                    <a:pt x="82" y="370"/>
                  </a:lnTo>
                  <a:lnTo>
                    <a:pt x="82" y="369"/>
                  </a:lnTo>
                  <a:lnTo>
                    <a:pt x="82" y="367"/>
                  </a:lnTo>
                  <a:lnTo>
                    <a:pt x="82" y="366"/>
                  </a:lnTo>
                  <a:lnTo>
                    <a:pt x="82" y="365"/>
                  </a:lnTo>
                  <a:lnTo>
                    <a:pt x="82" y="363"/>
                  </a:lnTo>
                  <a:lnTo>
                    <a:pt x="82" y="361"/>
                  </a:lnTo>
                  <a:lnTo>
                    <a:pt x="81" y="359"/>
                  </a:lnTo>
                  <a:lnTo>
                    <a:pt x="81" y="358"/>
                  </a:lnTo>
                  <a:lnTo>
                    <a:pt x="80" y="356"/>
                  </a:lnTo>
                  <a:lnTo>
                    <a:pt x="80" y="355"/>
                  </a:lnTo>
                  <a:lnTo>
                    <a:pt x="80" y="354"/>
                  </a:lnTo>
                  <a:lnTo>
                    <a:pt x="80" y="353"/>
                  </a:lnTo>
                  <a:lnTo>
                    <a:pt x="80" y="352"/>
                  </a:lnTo>
                  <a:lnTo>
                    <a:pt x="80" y="351"/>
                  </a:lnTo>
                  <a:lnTo>
                    <a:pt x="81" y="347"/>
                  </a:lnTo>
                  <a:lnTo>
                    <a:pt x="81" y="345"/>
                  </a:lnTo>
                  <a:lnTo>
                    <a:pt x="82" y="344"/>
                  </a:lnTo>
                  <a:lnTo>
                    <a:pt x="82" y="343"/>
                  </a:lnTo>
                  <a:lnTo>
                    <a:pt x="82" y="343"/>
                  </a:lnTo>
                  <a:lnTo>
                    <a:pt x="82" y="340"/>
                  </a:lnTo>
                  <a:lnTo>
                    <a:pt x="82" y="339"/>
                  </a:lnTo>
                  <a:lnTo>
                    <a:pt x="82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3" y="334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0"/>
                  </a:lnTo>
                  <a:lnTo>
                    <a:pt x="83" y="329"/>
                  </a:lnTo>
                  <a:lnTo>
                    <a:pt x="83" y="328"/>
                  </a:lnTo>
                  <a:lnTo>
                    <a:pt x="83" y="327"/>
                  </a:lnTo>
                  <a:lnTo>
                    <a:pt x="83" y="326"/>
                  </a:lnTo>
                  <a:lnTo>
                    <a:pt x="82" y="325"/>
                  </a:lnTo>
                  <a:lnTo>
                    <a:pt x="81" y="323"/>
                  </a:lnTo>
                  <a:lnTo>
                    <a:pt x="81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9" y="319"/>
                  </a:lnTo>
                  <a:lnTo>
                    <a:pt x="78" y="319"/>
                  </a:lnTo>
                  <a:lnTo>
                    <a:pt x="77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4" y="318"/>
                  </a:lnTo>
                  <a:lnTo>
                    <a:pt x="70" y="318"/>
                  </a:lnTo>
                  <a:lnTo>
                    <a:pt x="69" y="318"/>
                  </a:lnTo>
                  <a:lnTo>
                    <a:pt x="68" y="318"/>
                  </a:lnTo>
                  <a:lnTo>
                    <a:pt x="65" y="318"/>
                  </a:lnTo>
                  <a:lnTo>
                    <a:pt x="64" y="318"/>
                  </a:lnTo>
                  <a:lnTo>
                    <a:pt x="62" y="318"/>
                  </a:lnTo>
                  <a:lnTo>
                    <a:pt x="58" y="318"/>
                  </a:lnTo>
                  <a:lnTo>
                    <a:pt x="57" y="317"/>
                  </a:lnTo>
                  <a:lnTo>
                    <a:pt x="55" y="317"/>
                  </a:lnTo>
                  <a:lnTo>
                    <a:pt x="55" y="317"/>
                  </a:lnTo>
                  <a:lnTo>
                    <a:pt x="54" y="318"/>
                  </a:lnTo>
                  <a:lnTo>
                    <a:pt x="52" y="318"/>
                  </a:lnTo>
                  <a:lnTo>
                    <a:pt x="51" y="318"/>
                  </a:lnTo>
                  <a:lnTo>
                    <a:pt x="50" y="318"/>
                  </a:lnTo>
                  <a:lnTo>
                    <a:pt x="49" y="318"/>
                  </a:lnTo>
                  <a:lnTo>
                    <a:pt x="49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6" y="318"/>
                  </a:lnTo>
                  <a:lnTo>
                    <a:pt x="46" y="317"/>
                  </a:lnTo>
                  <a:lnTo>
                    <a:pt x="46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5"/>
                  </a:lnTo>
                  <a:lnTo>
                    <a:pt x="45" y="314"/>
                  </a:lnTo>
                  <a:lnTo>
                    <a:pt x="45" y="313"/>
                  </a:lnTo>
                  <a:lnTo>
                    <a:pt x="45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4" y="309"/>
                  </a:lnTo>
                  <a:lnTo>
                    <a:pt x="44" y="308"/>
                  </a:lnTo>
                  <a:lnTo>
                    <a:pt x="43" y="308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1" y="305"/>
                  </a:lnTo>
                  <a:lnTo>
                    <a:pt x="38" y="304"/>
                  </a:lnTo>
                  <a:lnTo>
                    <a:pt x="36" y="303"/>
                  </a:lnTo>
                  <a:lnTo>
                    <a:pt x="36" y="303"/>
                  </a:lnTo>
                  <a:lnTo>
                    <a:pt x="35" y="303"/>
                  </a:lnTo>
                  <a:lnTo>
                    <a:pt x="34" y="302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5" y="301"/>
                  </a:lnTo>
                  <a:lnTo>
                    <a:pt x="22" y="300"/>
                  </a:lnTo>
                  <a:lnTo>
                    <a:pt x="20" y="300"/>
                  </a:lnTo>
                  <a:lnTo>
                    <a:pt x="19" y="299"/>
                  </a:lnTo>
                  <a:lnTo>
                    <a:pt x="16" y="299"/>
                  </a:lnTo>
                  <a:lnTo>
                    <a:pt x="14" y="299"/>
                  </a:lnTo>
                  <a:lnTo>
                    <a:pt x="12" y="299"/>
                  </a:lnTo>
                  <a:lnTo>
                    <a:pt x="9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6" y="297"/>
                  </a:lnTo>
                  <a:lnTo>
                    <a:pt x="4" y="296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1" y="291"/>
                  </a:lnTo>
                  <a:lnTo>
                    <a:pt x="1" y="291"/>
                  </a:lnTo>
                  <a:lnTo>
                    <a:pt x="2" y="290"/>
                  </a:lnTo>
                  <a:lnTo>
                    <a:pt x="6" y="288"/>
                  </a:lnTo>
                  <a:lnTo>
                    <a:pt x="8" y="287"/>
                  </a:lnTo>
                  <a:lnTo>
                    <a:pt x="10" y="286"/>
                  </a:lnTo>
                  <a:lnTo>
                    <a:pt x="11" y="285"/>
                  </a:lnTo>
                  <a:lnTo>
                    <a:pt x="12" y="284"/>
                  </a:lnTo>
                  <a:lnTo>
                    <a:pt x="13" y="283"/>
                  </a:lnTo>
                  <a:lnTo>
                    <a:pt x="18" y="278"/>
                  </a:lnTo>
                  <a:lnTo>
                    <a:pt x="19" y="276"/>
                  </a:lnTo>
                  <a:lnTo>
                    <a:pt x="20" y="275"/>
                  </a:lnTo>
                  <a:lnTo>
                    <a:pt x="21" y="274"/>
                  </a:lnTo>
                  <a:lnTo>
                    <a:pt x="21" y="273"/>
                  </a:lnTo>
                  <a:lnTo>
                    <a:pt x="21" y="272"/>
                  </a:lnTo>
                  <a:lnTo>
                    <a:pt x="22" y="271"/>
                  </a:lnTo>
                  <a:lnTo>
                    <a:pt x="22" y="269"/>
                  </a:lnTo>
                  <a:lnTo>
                    <a:pt x="22" y="264"/>
                  </a:lnTo>
                  <a:lnTo>
                    <a:pt x="22" y="261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4" y="254"/>
                  </a:lnTo>
                  <a:lnTo>
                    <a:pt x="24" y="253"/>
                  </a:lnTo>
                  <a:lnTo>
                    <a:pt x="25" y="252"/>
                  </a:lnTo>
                  <a:lnTo>
                    <a:pt x="25" y="251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8" y="248"/>
                  </a:lnTo>
                  <a:lnTo>
                    <a:pt x="28" y="248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8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7" y="247"/>
                  </a:lnTo>
                  <a:lnTo>
                    <a:pt x="51" y="246"/>
                  </a:lnTo>
                  <a:lnTo>
                    <a:pt x="52" y="245"/>
                  </a:lnTo>
                  <a:lnTo>
                    <a:pt x="53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5" y="245"/>
                  </a:lnTo>
                  <a:lnTo>
                    <a:pt x="56" y="245"/>
                  </a:lnTo>
                  <a:lnTo>
                    <a:pt x="57" y="246"/>
                  </a:lnTo>
                  <a:lnTo>
                    <a:pt x="59" y="246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4" y="246"/>
                  </a:lnTo>
                  <a:lnTo>
                    <a:pt x="75" y="245"/>
                  </a:lnTo>
                  <a:lnTo>
                    <a:pt x="77" y="241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81" y="235"/>
                  </a:lnTo>
                  <a:lnTo>
                    <a:pt x="81" y="233"/>
                  </a:lnTo>
                  <a:lnTo>
                    <a:pt x="82" y="232"/>
                  </a:lnTo>
                  <a:lnTo>
                    <a:pt x="83" y="230"/>
                  </a:lnTo>
                  <a:lnTo>
                    <a:pt x="83" y="228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4" y="222"/>
                  </a:lnTo>
                  <a:lnTo>
                    <a:pt x="85" y="221"/>
                  </a:lnTo>
                  <a:lnTo>
                    <a:pt x="87" y="216"/>
                  </a:lnTo>
                  <a:lnTo>
                    <a:pt x="87" y="215"/>
                  </a:lnTo>
                  <a:lnTo>
                    <a:pt x="88" y="215"/>
                  </a:lnTo>
                  <a:lnTo>
                    <a:pt x="88" y="214"/>
                  </a:lnTo>
                  <a:lnTo>
                    <a:pt x="89" y="213"/>
                  </a:lnTo>
                  <a:lnTo>
                    <a:pt x="89" y="212"/>
                  </a:lnTo>
                  <a:lnTo>
                    <a:pt x="90" y="212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2" y="210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4" y="210"/>
                  </a:lnTo>
                  <a:lnTo>
                    <a:pt x="95" y="210"/>
                  </a:lnTo>
                  <a:lnTo>
                    <a:pt x="95" y="210"/>
                  </a:lnTo>
                  <a:lnTo>
                    <a:pt x="96" y="210"/>
                  </a:lnTo>
                  <a:lnTo>
                    <a:pt x="98" y="210"/>
                  </a:lnTo>
                  <a:lnTo>
                    <a:pt x="99" y="211"/>
                  </a:lnTo>
                  <a:lnTo>
                    <a:pt x="99" y="211"/>
                  </a:lnTo>
                  <a:lnTo>
                    <a:pt x="100" y="211"/>
                  </a:lnTo>
                  <a:lnTo>
                    <a:pt x="102" y="213"/>
                  </a:lnTo>
                  <a:lnTo>
                    <a:pt x="103" y="213"/>
                  </a:lnTo>
                  <a:lnTo>
                    <a:pt x="104" y="214"/>
                  </a:lnTo>
                  <a:lnTo>
                    <a:pt x="104" y="214"/>
                  </a:lnTo>
                  <a:lnTo>
                    <a:pt x="105" y="214"/>
                  </a:lnTo>
                  <a:lnTo>
                    <a:pt x="106" y="214"/>
                  </a:lnTo>
                  <a:lnTo>
                    <a:pt x="107" y="214"/>
                  </a:lnTo>
                  <a:lnTo>
                    <a:pt x="107" y="214"/>
                  </a:lnTo>
                  <a:lnTo>
                    <a:pt x="108" y="214"/>
                  </a:lnTo>
                  <a:lnTo>
                    <a:pt x="109" y="214"/>
                  </a:lnTo>
                  <a:lnTo>
                    <a:pt x="109" y="213"/>
                  </a:lnTo>
                  <a:lnTo>
                    <a:pt x="110" y="213"/>
                  </a:lnTo>
                  <a:lnTo>
                    <a:pt x="110" y="213"/>
                  </a:lnTo>
                  <a:lnTo>
                    <a:pt x="111" y="212"/>
                  </a:lnTo>
                  <a:lnTo>
                    <a:pt x="111" y="212"/>
                  </a:lnTo>
                  <a:lnTo>
                    <a:pt x="111" y="211"/>
                  </a:lnTo>
                  <a:lnTo>
                    <a:pt x="112" y="210"/>
                  </a:lnTo>
                  <a:lnTo>
                    <a:pt x="113" y="207"/>
                  </a:lnTo>
                  <a:lnTo>
                    <a:pt x="113" y="206"/>
                  </a:lnTo>
                  <a:lnTo>
                    <a:pt x="114" y="205"/>
                  </a:lnTo>
                  <a:lnTo>
                    <a:pt x="115" y="204"/>
                  </a:lnTo>
                  <a:lnTo>
                    <a:pt x="115" y="204"/>
                  </a:lnTo>
                  <a:lnTo>
                    <a:pt x="116" y="202"/>
                  </a:lnTo>
                  <a:lnTo>
                    <a:pt x="118" y="201"/>
                  </a:lnTo>
                  <a:lnTo>
                    <a:pt x="119" y="200"/>
                  </a:lnTo>
                  <a:lnTo>
                    <a:pt x="122" y="198"/>
                  </a:lnTo>
                  <a:lnTo>
                    <a:pt x="123" y="197"/>
                  </a:lnTo>
                  <a:lnTo>
                    <a:pt x="124" y="196"/>
                  </a:lnTo>
                  <a:lnTo>
                    <a:pt x="125" y="196"/>
                  </a:lnTo>
                  <a:lnTo>
                    <a:pt x="125" y="195"/>
                  </a:lnTo>
                  <a:lnTo>
                    <a:pt x="126" y="195"/>
                  </a:lnTo>
                  <a:lnTo>
                    <a:pt x="127" y="193"/>
                  </a:lnTo>
                  <a:lnTo>
                    <a:pt x="127" y="192"/>
                  </a:lnTo>
                  <a:lnTo>
                    <a:pt x="128" y="191"/>
                  </a:lnTo>
                  <a:lnTo>
                    <a:pt x="128" y="188"/>
                  </a:lnTo>
                  <a:lnTo>
                    <a:pt x="129" y="187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1" y="185"/>
                  </a:lnTo>
                  <a:lnTo>
                    <a:pt x="132" y="186"/>
                  </a:lnTo>
                  <a:lnTo>
                    <a:pt x="132" y="186"/>
                  </a:lnTo>
                  <a:lnTo>
                    <a:pt x="133" y="186"/>
                  </a:lnTo>
                  <a:lnTo>
                    <a:pt x="133" y="186"/>
                  </a:lnTo>
                  <a:lnTo>
                    <a:pt x="133" y="187"/>
                  </a:lnTo>
                  <a:lnTo>
                    <a:pt x="135" y="188"/>
                  </a:lnTo>
                  <a:lnTo>
                    <a:pt x="136" y="190"/>
                  </a:lnTo>
                  <a:lnTo>
                    <a:pt x="137" y="191"/>
                  </a:lnTo>
                  <a:lnTo>
                    <a:pt x="139" y="195"/>
                  </a:lnTo>
                  <a:lnTo>
                    <a:pt x="140" y="196"/>
                  </a:lnTo>
                  <a:lnTo>
                    <a:pt x="141" y="197"/>
                  </a:lnTo>
                  <a:lnTo>
                    <a:pt x="142" y="198"/>
                  </a:lnTo>
                  <a:lnTo>
                    <a:pt x="142" y="199"/>
                  </a:lnTo>
                  <a:lnTo>
                    <a:pt x="144" y="200"/>
                  </a:lnTo>
                  <a:lnTo>
                    <a:pt x="145" y="201"/>
                  </a:lnTo>
                  <a:lnTo>
                    <a:pt x="146" y="201"/>
                  </a:lnTo>
                  <a:lnTo>
                    <a:pt x="147" y="201"/>
                  </a:lnTo>
                  <a:lnTo>
                    <a:pt x="149" y="202"/>
                  </a:lnTo>
                  <a:lnTo>
                    <a:pt x="151" y="203"/>
                  </a:lnTo>
                  <a:lnTo>
                    <a:pt x="152" y="203"/>
                  </a:lnTo>
                  <a:lnTo>
                    <a:pt x="152" y="203"/>
                  </a:lnTo>
                  <a:lnTo>
                    <a:pt x="153" y="203"/>
                  </a:lnTo>
                  <a:lnTo>
                    <a:pt x="153" y="203"/>
                  </a:lnTo>
                  <a:lnTo>
                    <a:pt x="154" y="203"/>
                  </a:lnTo>
                  <a:lnTo>
                    <a:pt x="154" y="203"/>
                  </a:lnTo>
                  <a:lnTo>
                    <a:pt x="155" y="203"/>
                  </a:lnTo>
                  <a:lnTo>
                    <a:pt x="156" y="202"/>
                  </a:lnTo>
                  <a:lnTo>
                    <a:pt x="156" y="202"/>
                  </a:lnTo>
                  <a:lnTo>
                    <a:pt x="157" y="201"/>
                  </a:lnTo>
                  <a:lnTo>
                    <a:pt x="158" y="201"/>
                  </a:lnTo>
                  <a:lnTo>
                    <a:pt x="159" y="199"/>
                  </a:lnTo>
                  <a:lnTo>
                    <a:pt x="163" y="196"/>
                  </a:lnTo>
                  <a:lnTo>
                    <a:pt x="166" y="193"/>
                  </a:lnTo>
                  <a:lnTo>
                    <a:pt x="169" y="190"/>
                  </a:lnTo>
                  <a:lnTo>
                    <a:pt x="170" y="189"/>
                  </a:lnTo>
                  <a:lnTo>
                    <a:pt x="170" y="188"/>
                  </a:lnTo>
                  <a:lnTo>
                    <a:pt x="171" y="188"/>
                  </a:lnTo>
                  <a:lnTo>
                    <a:pt x="171" y="187"/>
                  </a:lnTo>
                  <a:lnTo>
                    <a:pt x="171" y="186"/>
                  </a:lnTo>
                  <a:lnTo>
                    <a:pt x="171" y="185"/>
                  </a:lnTo>
                  <a:lnTo>
                    <a:pt x="171" y="183"/>
                  </a:lnTo>
                  <a:lnTo>
                    <a:pt x="171" y="182"/>
                  </a:lnTo>
                  <a:lnTo>
                    <a:pt x="172" y="181"/>
                  </a:lnTo>
                  <a:lnTo>
                    <a:pt x="172" y="181"/>
                  </a:lnTo>
                  <a:lnTo>
                    <a:pt x="172" y="180"/>
                  </a:lnTo>
                  <a:lnTo>
                    <a:pt x="173" y="179"/>
                  </a:lnTo>
                  <a:lnTo>
                    <a:pt x="174" y="177"/>
                  </a:lnTo>
                  <a:lnTo>
                    <a:pt x="175" y="175"/>
                  </a:lnTo>
                  <a:lnTo>
                    <a:pt x="176" y="174"/>
                  </a:lnTo>
                  <a:lnTo>
                    <a:pt x="176" y="174"/>
                  </a:lnTo>
                  <a:lnTo>
                    <a:pt x="176" y="173"/>
                  </a:lnTo>
                  <a:lnTo>
                    <a:pt x="176" y="172"/>
                  </a:lnTo>
                  <a:lnTo>
                    <a:pt x="177" y="171"/>
                  </a:lnTo>
                  <a:lnTo>
                    <a:pt x="177" y="170"/>
                  </a:lnTo>
                  <a:lnTo>
                    <a:pt x="177" y="170"/>
                  </a:lnTo>
                  <a:lnTo>
                    <a:pt x="177" y="168"/>
                  </a:lnTo>
                  <a:lnTo>
                    <a:pt x="177" y="166"/>
                  </a:lnTo>
                  <a:lnTo>
                    <a:pt x="176" y="163"/>
                  </a:lnTo>
                  <a:lnTo>
                    <a:pt x="176" y="162"/>
                  </a:lnTo>
                  <a:lnTo>
                    <a:pt x="176" y="161"/>
                  </a:lnTo>
                  <a:lnTo>
                    <a:pt x="176" y="160"/>
                  </a:lnTo>
                  <a:lnTo>
                    <a:pt x="176" y="160"/>
                  </a:lnTo>
                  <a:lnTo>
                    <a:pt x="177" y="159"/>
                  </a:lnTo>
                  <a:lnTo>
                    <a:pt x="177" y="159"/>
                  </a:lnTo>
                  <a:lnTo>
                    <a:pt x="178" y="158"/>
                  </a:lnTo>
                  <a:lnTo>
                    <a:pt x="178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80" y="156"/>
                  </a:lnTo>
                  <a:lnTo>
                    <a:pt x="181" y="156"/>
                  </a:lnTo>
                  <a:lnTo>
                    <a:pt x="182" y="156"/>
                  </a:lnTo>
                  <a:lnTo>
                    <a:pt x="183" y="155"/>
                  </a:lnTo>
                  <a:lnTo>
                    <a:pt x="184" y="155"/>
                  </a:lnTo>
                  <a:lnTo>
                    <a:pt x="185" y="155"/>
                  </a:lnTo>
                  <a:lnTo>
                    <a:pt x="187" y="155"/>
                  </a:lnTo>
                  <a:lnTo>
                    <a:pt x="192" y="155"/>
                  </a:lnTo>
                  <a:lnTo>
                    <a:pt x="194" y="155"/>
                  </a:lnTo>
                  <a:lnTo>
                    <a:pt x="196" y="155"/>
                  </a:lnTo>
                  <a:lnTo>
                    <a:pt x="197" y="154"/>
                  </a:lnTo>
                  <a:lnTo>
                    <a:pt x="199" y="154"/>
                  </a:lnTo>
                  <a:lnTo>
                    <a:pt x="200" y="153"/>
                  </a:lnTo>
                  <a:lnTo>
                    <a:pt x="201" y="153"/>
                  </a:lnTo>
                  <a:lnTo>
                    <a:pt x="202" y="152"/>
                  </a:lnTo>
                  <a:lnTo>
                    <a:pt x="204" y="151"/>
                  </a:lnTo>
                  <a:lnTo>
                    <a:pt x="205" y="151"/>
                  </a:lnTo>
                  <a:lnTo>
                    <a:pt x="206" y="150"/>
                  </a:lnTo>
                  <a:lnTo>
                    <a:pt x="208" y="149"/>
                  </a:lnTo>
                  <a:lnTo>
                    <a:pt x="209" y="149"/>
                  </a:lnTo>
                  <a:lnTo>
                    <a:pt x="210" y="148"/>
                  </a:lnTo>
                  <a:lnTo>
                    <a:pt x="211" y="148"/>
                  </a:lnTo>
                  <a:lnTo>
                    <a:pt x="212" y="148"/>
                  </a:lnTo>
                  <a:lnTo>
                    <a:pt x="213" y="148"/>
                  </a:lnTo>
                  <a:lnTo>
                    <a:pt x="214" y="148"/>
                  </a:lnTo>
                  <a:lnTo>
                    <a:pt x="215" y="148"/>
                  </a:lnTo>
                  <a:lnTo>
                    <a:pt x="215" y="148"/>
                  </a:lnTo>
                  <a:lnTo>
                    <a:pt x="216" y="149"/>
                  </a:lnTo>
                  <a:lnTo>
                    <a:pt x="217" y="149"/>
                  </a:lnTo>
                  <a:lnTo>
                    <a:pt x="220" y="151"/>
                  </a:lnTo>
                  <a:lnTo>
                    <a:pt x="222" y="151"/>
                  </a:lnTo>
                  <a:lnTo>
                    <a:pt x="223" y="151"/>
                  </a:lnTo>
                  <a:lnTo>
                    <a:pt x="223" y="152"/>
                  </a:lnTo>
                  <a:lnTo>
                    <a:pt x="224" y="152"/>
                  </a:lnTo>
                  <a:lnTo>
                    <a:pt x="225" y="152"/>
                  </a:lnTo>
                  <a:lnTo>
                    <a:pt x="225" y="152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7" y="151"/>
                  </a:lnTo>
                  <a:lnTo>
                    <a:pt x="228" y="151"/>
                  </a:lnTo>
                  <a:lnTo>
                    <a:pt x="229" y="150"/>
                  </a:lnTo>
                  <a:lnTo>
                    <a:pt x="231" y="149"/>
                  </a:lnTo>
                  <a:lnTo>
                    <a:pt x="232" y="149"/>
                  </a:lnTo>
                  <a:lnTo>
                    <a:pt x="233" y="148"/>
                  </a:lnTo>
                  <a:lnTo>
                    <a:pt x="234" y="148"/>
                  </a:lnTo>
                  <a:lnTo>
                    <a:pt x="238" y="148"/>
                  </a:lnTo>
                  <a:lnTo>
                    <a:pt x="242" y="147"/>
                  </a:lnTo>
                  <a:lnTo>
                    <a:pt x="243" y="147"/>
                  </a:lnTo>
                  <a:lnTo>
                    <a:pt x="244" y="147"/>
                  </a:lnTo>
                  <a:lnTo>
                    <a:pt x="247" y="147"/>
                  </a:lnTo>
                  <a:lnTo>
                    <a:pt x="248" y="147"/>
                  </a:lnTo>
                  <a:lnTo>
                    <a:pt x="250" y="147"/>
                  </a:lnTo>
                  <a:lnTo>
                    <a:pt x="252" y="147"/>
                  </a:lnTo>
                  <a:lnTo>
                    <a:pt x="254" y="147"/>
                  </a:lnTo>
                  <a:lnTo>
                    <a:pt x="255" y="147"/>
                  </a:lnTo>
                  <a:lnTo>
                    <a:pt x="256" y="148"/>
                  </a:lnTo>
                  <a:lnTo>
                    <a:pt x="259" y="149"/>
                  </a:lnTo>
                  <a:lnTo>
                    <a:pt x="260" y="149"/>
                  </a:lnTo>
                  <a:lnTo>
                    <a:pt x="261" y="149"/>
                  </a:lnTo>
                  <a:lnTo>
                    <a:pt x="263" y="150"/>
                  </a:lnTo>
                  <a:lnTo>
                    <a:pt x="264" y="150"/>
                  </a:lnTo>
                  <a:lnTo>
                    <a:pt x="266" y="150"/>
                  </a:lnTo>
                  <a:lnTo>
                    <a:pt x="267" y="149"/>
                  </a:lnTo>
                  <a:lnTo>
                    <a:pt x="268" y="149"/>
                  </a:lnTo>
                  <a:lnTo>
                    <a:pt x="269" y="149"/>
                  </a:lnTo>
                  <a:lnTo>
                    <a:pt x="270" y="148"/>
                  </a:lnTo>
                  <a:lnTo>
                    <a:pt x="271" y="147"/>
                  </a:lnTo>
                  <a:lnTo>
                    <a:pt x="273" y="146"/>
                  </a:lnTo>
                  <a:lnTo>
                    <a:pt x="274" y="145"/>
                  </a:lnTo>
                  <a:lnTo>
                    <a:pt x="275" y="145"/>
                  </a:lnTo>
                  <a:lnTo>
                    <a:pt x="278" y="144"/>
                  </a:lnTo>
                  <a:lnTo>
                    <a:pt x="278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80" y="142"/>
                  </a:lnTo>
                  <a:lnTo>
                    <a:pt x="281" y="142"/>
                  </a:lnTo>
                  <a:lnTo>
                    <a:pt x="281" y="141"/>
                  </a:lnTo>
                  <a:lnTo>
                    <a:pt x="282" y="140"/>
                  </a:lnTo>
                  <a:lnTo>
                    <a:pt x="282" y="139"/>
                  </a:lnTo>
                  <a:lnTo>
                    <a:pt x="282" y="138"/>
                  </a:lnTo>
                  <a:lnTo>
                    <a:pt x="282" y="138"/>
                  </a:lnTo>
                  <a:lnTo>
                    <a:pt x="282" y="136"/>
                  </a:lnTo>
                  <a:lnTo>
                    <a:pt x="282" y="133"/>
                  </a:lnTo>
                  <a:lnTo>
                    <a:pt x="282" y="132"/>
                  </a:lnTo>
                  <a:lnTo>
                    <a:pt x="282" y="130"/>
                  </a:lnTo>
                  <a:lnTo>
                    <a:pt x="282" y="129"/>
                  </a:lnTo>
                  <a:lnTo>
                    <a:pt x="282" y="128"/>
                  </a:lnTo>
                  <a:lnTo>
                    <a:pt x="283" y="127"/>
                  </a:lnTo>
                  <a:lnTo>
                    <a:pt x="283" y="126"/>
                  </a:lnTo>
                  <a:lnTo>
                    <a:pt x="283" y="125"/>
                  </a:lnTo>
                  <a:lnTo>
                    <a:pt x="284" y="124"/>
                  </a:lnTo>
                  <a:lnTo>
                    <a:pt x="284" y="124"/>
                  </a:lnTo>
                  <a:lnTo>
                    <a:pt x="284" y="123"/>
                  </a:lnTo>
                  <a:lnTo>
                    <a:pt x="285" y="123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2"/>
                  </a:lnTo>
                  <a:lnTo>
                    <a:pt x="287" y="121"/>
                  </a:lnTo>
                  <a:lnTo>
                    <a:pt x="288" y="121"/>
                  </a:lnTo>
                  <a:lnTo>
                    <a:pt x="291" y="120"/>
                  </a:lnTo>
                  <a:lnTo>
                    <a:pt x="292" y="120"/>
                  </a:lnTo>
                  <a:lnTo>
                    <a:pt x="294" y="119"/>
                  </a:lnTo>
                  <a:lnTo>
                    <a:pt x="295" y="119"/>
                  </a:lnTo>
                  <a:lnTo>
                    <a:pt x="297" y="118"/>
                  </a:lnTo>
                  <a:lnTo>
                    <a:pt x="298" y="117"/>
                  </a:lnTo>
                  <a:lnTo>
                    <a:pt x="299" y="116"/>
                  </a:lnTo>
                  <a:lnTo>
                    <a:pt x="301" y="114"/>
                  </a:lnTo>
                  <a:lnTo>
                    <a:pt x="302" y="113"/>
                  </a:lnTo>
                  <a:lnTo>
                    <a:pt x="303" y="113"/>
                  </a:lnTo>
                  <a:lnTo>
                    <a:pt x="305" y="112"/>
                  </a:lnTo>
                  <a:lnTo>
                    <a:pt x="306" y="111"/>
                  </a:lnTo>
                  <a:lnTo>
                    <a:pt x="308" y="110"/>
                  </a:lnTo>
                  <a:lnTo>
                    <a:pt x="309" y="110"/>
                  </a:lnTo>
                  <a:lnTo>
                    <a:pt x="310" y="110"/>
                  </a:lnTo>
                  <a:lnTo>
                    <a:pt x="311" y="110"/>
                  </a:lnTo>
                  <a:lnTo>
                    <a:pt x="312" y="110"/>
                  </a:lnTo>
                  <a:lnTo>
                    <a:pt x="313" y="110"/>
                  </a:lnTo>
                  <a:lnTo>
                    <a:pt x="314" y="110"/>
                  </a:lnTo>
                  <a:lnTo>
                    <a:pt x="316" y="111"/>
                  </a:lnTo>
                  <a:lnTo>
                    <a:pt x="319" y="112"/>
                  </a:lnTo>
                  <a:lnTo>
                    <a:pt x="321" y="113"/>
                  </a:lnTo>
                  <a:lnTo>
                    <a:pt x="322" y="113"/>
                  </a:lnTo>
                  <a:lnTo>
                    <a:pt x="323" y="113"/>
                  </a:lnTo>
                  <a:lnTo>
                    <a:pt x="324" y="113"/>
                  </a:lnTo>
                  <a:lnTo>
                    <a:pt x="327" y="112"/>
                  </a:lnTo>
                  <a:lnTo>
                    <a:pt x="331" y="112"/>
                  </a:lnTo>
                  <a:lnTo>
                    <a:pt x="331" y="111"/>
                  </a:lnTo>
                  <a:lnTo>
                    <a:pt x="332" y="111"/>
                  </a:lnTo>
                  <a:lnTo>
                    <a:pt x="334" y="111"/>
                  </a:lnTo>
                  <a:lnTo>
                    <a:pt x="335" y="110"/>
                  </a:lnTo>
                  <a:lnTo>
                    <a:pt x="336" y="109"/>
                  </a:lnTo>
                  <a:lnTo>
                    <a:pt x="339" y="107"/>
                  </a:lnTo>
                  <a:lnTo>
                    <a:pt x="340" y="106"/>
                  </a:lnTo>
                  <a:lnTo>
                    <a:pt x="342" y="105"/>
                  </a:lnTo>
                  <a:lnTo>
                    <a:pt x="345" y="104"/>
                  </a:lnTo>
                  <a:lnTo>
                    <a:pt x="352" y="101"/>
                  </a:lnTo>
                  <a:lnTo>
                    <a:pt x="357" y="98"/>
                  </a:lnTo>
                  <a:lnTo>
                    <a:pt x="360" y="97"/>
                  </a:lnTo>
                  <a:lnTo>
                    <a:pt x="362" y="96"/>
                  </a:lnTo>
                  <a:lnTo>
                    <a:pt x="368" y="94"/>
                  </a:lnTo>
                  <a:lnTo>
                    <a:pt x="370" y="94"/>
                  </a:lnTo>
                  <a:lnTo>
                    <a:pt x="372" y="93"/>
                  </a:lnTo>
                  <a:lnTo>
                    <a:pt x="373" y="92"/>
                  </a:lnTo>
                  <a:lnTo>
                    <a:pt x="374" y="92"/>
                  </a:lnTo>
                  <a:lnTo>
                    <a:pt x="375" y="91"/>
                  </a:lnTo>
                  <a:lnTo>
                    <a:pt x="377" y="89"/>
                  </a:lnTo>
                  <a:lnTo>
                    <a:pt x="378" y="88"/>
                  </a:lnTo>
                  <a:lnTo>
                    <a:pt x="379" y="87"/>
                  </a:lnTo>
                  <a:lnTo>
                    <a:pt x="380" y="86"/>
                  </a:lnTo>
                  <a:lnTo>
                    <a:pt x="381" y="85"/>
                  </a:lnTo>
                  <a:lnTo>
                    <a:pt x="382" y="84"/>
                  </a:lnTo>
                  <a:lnTo>
                    <a:pt x="384" y="81"/>
                  </a:lnTo>
                  <a:lnTo>
                    <a:pt x="384" y="80"/>
                  </a:lnTo>
                  <a:lnTo>
                    <a:pt x="384" y="79"/>
                  </a:lnTo>
                  <a:lnTo>
                    <a:pt x="385" y="79"/>
                  </a:lnTo>
                  <a:lnTo>
                    <a:pt x="386" y="78"/>
                  </a:lnTo>
                  <a:lnTo>
                    <a:pt x="387" y="78"/>
                  </a:lnTo>
                  <a:lnTo>
                    <a:pt x="388" y="77"/>
                  </a:lnTo>
                  <a:lnTo>
                    <a:pt x="389" y="76"/>
                  </a:lnTo>
                  <a:lnTo>
                    <a:pt x="391" y="76"/>
                  </a:lnTo>
                  <a:lnTo>
                    <a:pt x="392" y="76"/>
                  </a:lnTo>
                  <a:lnTo>
                    <a:pt x="393" y="76"/>
                  </a:lnTo>
                  <a:lnTo>
                    <a:pt x="394" y="76"/>
                  </a:lnTo>
                  <a:lnTo>
                    <a:pt x="395" y="76"/>
                  </a:lnTo>
                  <a:lnTo>
                    <a:pt x="397" y="76"/>
                  </a:lnTo>
                  <a:lnTo>
                    <a:pt x="399" y="77"/>
                  </a:lnTo>
                  <a:lnTo>
                    <a:pt x="401" y="77"/>
                  </a:lnTo>
                  <a:lnTo>
                    <a:pt x="402" y="77"/>
                  </a:lnTo>
                  <a:lnTo>
                    <a:pt x="403" y="77"/>
                  </a:lnTo>
                  <a:lnTo>
                    <a:pt x="404" y="77"/>
                  </a:lnTo>
                  <a:lnTo>
                    <a:pt x="405" y="77"/>
                  </a:lnTo>
                  <a:lnTo>
                    <a:pt x="407" y="77"/>
                  </a:lnTo>
                  <a:lnTo>
                    <a:pt x="410" y="76"/>
                  </a:lnTo>
                  <a:lnTo>
                    <a:pt x="411" y="76"/>
                  </a:lnTo>
                  <a:lnTo>
                    <a:pt x="412" y="75"/>
                  </a:lnTo>
                  <a:lnTo>
                    <a:pt x="414" y="75"/>
                  </a:lnTo>
                  <a:lnTo>
                    <a:pt x="417" y="74"/>
                  </a:lnTo>
                  <a:lnTo>
                    <a:pt x="418" y="73"/>
                  </a:lnTo>
                  <a:lnTo>
                    <a:pt x="419" y="73"/>
                  </a:lnTo>
                  <a:lnTo>
                    <a:pt x="422" y="72"/>
                  </a:lnTo>
                  <a:lnTo>
                    <a:pt x="423" y="72"/>
                  </a:lnTo>
                  <a:lnTo>
                    <a:pt x="424" y="72"/>
                  </a:lnTo>
                  <a:lnTo>
                    <a:pt x="425" y="71"/>
                  </a:lnTo>
                  <a:lnTo>
                    <a:pt x="425" y="71"/>
                  </a:lnTo>
                  <a:lnTo>
                    <a:pt x="426" y="70"/>
                  </a:lnTo>
                  <a:lnTo>
                    <a:pt x="426" y="70"/>
                  </a:lnTo>
                  <a:lnTo>
                    <a:pt x="427" y="69"/>
                  </a:lnTo>
                  <a:lnTo>
                    <a:pt x="427" y="69"/>
                  </a:lnTo>
                  <a:lnTo>
                    <a:pt x="428" y="68"/>
                  </a:lnTo>
                  <a:lnTo>
                    <a:pt x="428" y="65"/>
                  </a:lnTo>
                  <a:lnTo>
                    <a:pt x="429" y="63"/>
                  </a:lnTo>
                  <a:lnTo>
                    <a:pt x="430" y="61"/>
                  </a:lnTo>
                  <a:lnTo>
                    <a:pt x="430" y="60"/>
                  </a:lnTo>
                  <a:lnTo>
                    <a:pt x="430" y="60"/>
                  </a:lnTo>
                  <a:lnTo>
                    <a:pt x="430" y="59"/>
                  </a:lnTo>
                  <a:lnTo>
                    <a:pt x="430" y="58"/>
                  </a:lnTo>
                  <a:lnTo>
                    <a:pt x="430" y="58"/>
                  </a:lnTo>
                  <a:lnTo>
                    <a:pt x="430" y="57"/>
                  </a:lnTo>
                  <a:lnTo>
                    <a:pt x="429" y="57"/>
                  </a:lnTo>
                  <a:lnTo>
                    <a:pt x="429" y="56"/>
                  </a:lnTo>
                  <a:lnTo>
                    <a:pt x="428" y="55"/>
                  </a:lnTo>
                  <a:lnTo>
                    <a:pt x="428" y="55"/>
                  </a:lnTo>
                  <a:lnTo>
                    <a:pt x="427" y="55"/>
                  </a:lnTo>
                  <a:lnTo>
                    <a:pt x="426" y="54"/>
                  </a:lnTo>
                  <a:lnTo>
                    <a:pt x="425" y="54"/>
                  </a:lnTo>
                  <a:lnTo>
                    <a:pt x="423" y="53"/>
                  </a:lnTo>
                  <a:lnTo>
                    <a:pt x="419" y="51"/>
                  </a:lnTo>
                  <a:lnTo>
                    <a:pt x="417" y="50"/>
                  </a:lnTo>
                  <a:lnTo>
                    <a:pt x="412" y="49"/>
                  </a:lnTo>
                  <a:lnTo>
                    <a:pt x="411" y="48"/>
                  </a:lnTo>
                  <a:lnTo>
                    <a:pt x="410" y="48"/>
                  </a:lnTo>
                  <a:lnTo>
                    <a:pt x="409" y="47"/>
                  </a:lnTo>
                  <a:lnTo>
                    <a:pt x="409" y="47"/>
                  </a:lnTo>
                  <a:lnTo>
                    <a:pt x="408" y="46"/>
                  </a:lnTo>
                  <a:lnTo>
                    <a:pt x="408" y="46"/>
                  </a:lnTo>
                  <a:lnTo>
                    <a:pt x="408" y="45"/>
                  </a:lnTo>
                  <a:lnTo>
                    <a:pt x="407" y="45"/>
                  </a:lnTo>
                  <a:lnTo>
                    <a:pt x="407" y="44"/>
                  </a:lnTo>
                  <a:lnTo>
                    <a:pt x="406" y="43"/>
                  </a:lnTo>
                  <a:lnTo>
                    <a:pt x="406" y="42"/>
                  </a:lnTo>
                  <a:lnTo>
                    <a:pt x="406" y="42"/>
                  </a:lnTo>
                  <a:lnTo>
                    <a:pt x="406" y="41"/>
                  </a:lnTo>
                  <a:lnTo>
                    <a:pt x="406" y="41"/>
                  </a:lnTo>
                  <a:lnTo>
                    <a:pt x="406" y="40"/>
                  </a:lnTo>
                  <a:lnTo>
                    <a:pt x="406" y="40"/>
                  </a:lnTo>
                  <a:lnTo>
                    <a:pt x="407" y="39"/>
                  </a:lnTo>
                  <a:lnTo>
                    <a:pt x="408" y="37"/>
                  </a:lnTo>
                  <a:lnTo>
                    <a:pt x="408" y="37"/>
                  </a:lnTo>
                  <a:lnTo>
                    <a:pt x="408" y="37"/>
                  </a:lnTo>
                  <a:lnTo>
                    <a:pt x="408" y="36"/>
                  </a:lnTo>
                  <a:lnTo>
                    <a:pt x="408" y="36"/>
                  </a:lnTo>
                  <a:lnTo>
                    <a:pt x="408" y="35"/>
                  </a:lnTo>
                  <a:lnTo>
                    <a:pt x="407" y="35"/>
                  </a:lnTo>
                  <a:lnTo>
                    <a:pt x="407" y="35"/>
                  </a:lnTo>
                  <a:lnTo>
                    <a:pt x="407" y="34"/>
                  </a:lnTo>
                  <a:lnTo>
                    <a:pt x="406" y="34"/>
                  </a:lnTo>
                  <a:lnTo>
                    <a:pt x="405" y="34"/>
                  </a:lnTo>
                  <a:lnTo>
                    <a:pt x="404" y="34"/>
                  </a:lnTo>
                  <a:lnTo>
                    <a:pt x="401" y="34"/>
                  </a:lnTo>
                  <a:lnTo>
                    <a:pt x="400" y="34"/>
                  </a:lnTo>
                  <a:lnTo>
                    <a:pt x="399" y="34"/>
                  </a:lnTo>
                  <a:lnTo>
                    <a:pt x="398" y="34"/>
                  </a:lnTo>
                  <a:lnTo>
                    <a:pt x="397" y="33"/>
                  </a:lnTo>
                  <a:lnTo>
                    <a:pt x="396" y="33"/>
                  </a:lnTo>
                  <a:lnTo>
                    <a:pt x="395" y="32"/>
                  </a:lnTo>
                  <a:lnTo>
                    <a:pt x="394" y="32"/>
                  </a:lnTo>
                  <a:lnTo>
                    <a:pt x="394" y="31"/>
                  </a:lnTo>
                  <a:lnTo>
                    <a:pt x="393" y="31"/>
                  </a:lnTo>
                  <a:lnTo>
                    <a:pt x="393" y="30"/>
                  </a:lnTo>
                  <a:lnTo>
                    <a:pt x="393" y="30"/>
                  </a:lnTo>
                  <a:lnTo>
                    <a:pt x="392" y="29"/>
                  </a:lnTo>
                  <a:lnTo>
                    <a:pt x="392" y="28"/>
                  </a:lnTo>
                  <a:lnTo>
                    <a:pt x="392" y="28"/>
                  </a:lnTo>
                  <a:lnTo>
                    <a:pt x="392" y="27"/>
                  </a:lnTo>
                  <a:lnTo>
                    <a:pt x="392" y="24"/>
                  </a:lnTo>
                  <a:lnTo>
                    <a:pt x="392" y="24"/>
                  </a:lnTo>
                  <a:lnTo>
                    <a:pt x="392" y="23"/>
                  </a:lnTo>
                  <a:lnTo>
                    <a:pt x="393" y="22"/>
                  </a:lnTo>
                  <a:lnTo>
                    <a:pt x="393" y="21"/>
                  </a:lnTo>
                  <a:lnTo>
                    <a:pt x="394" y="19"/>
                  </a:lnTo>
                  <a:lnTo>
                    <a:pt x="395" y="18"/>
                  </a:lnTo>
                  <a:lnTo>
                    <a:pt x="395" y="17"/>
                  </a:lnTo>
                  <a:lnTo>
                    <a:pt x="396" y="16"/>
                  </a:lnTo>
                  <a:lnTo>
                    <a:pt x="396" y="14"/>
                  </a:lnTo>
                  <a:lnTo>
                    <a:pt x="396" y="13"/>
                  </a:lnTo>
                  <a:lnTo>
                    <a:pt x="397" y="12"/>
                  </a:lnTo>
                  <a:lnTo>
                    <a:pt x="397" y="9"/>
                  </a:lnTo>
                  <a:lnTo>
                    <a:pt x="398" y="8"/>
                  </a:lnTo>
                  <a:lnTo>
                    <a:pt x="398" y="8"/>
                  </a:lnTo>
                  <a:lnTo>
                    <a:pt x="398" y="7"/>
                  </a:lnTo>
                  <a:lnTo>
                    <a:pt x="398" y="6"/>
                  </a:lnTo>
                  <a:lnTo>
                    <a:pt x="399" y="5"/>
                  </a:lnTo>
                  <a:lnTo>
                    <a:pt x="402" y="1"/>
                  </a:lnTo>
                  <a:lnTo>
                    <a:pt x="403" y="0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04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Freeform 19">
              <a:extLst>
                <a:ext uri="{FF2B5EF4-FFF2-40B4-BE49-F238E27FC236}">
                  <a16:creationId xmlns:a16="http://schemas.microsoft.com/office/drawing/2014/main" id="{73F45412-4252-4043-213C-7005606AF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2866"/>
              <a:ext cx="504" cy="447"/>
            </a:xfrm>
            <a:custGeom>
              <a:avLst/>
              <a:gdLst>
                <a:gd name="T0" fmla="*/ 428 w 504"/>
                <a:gd name="T1" fmla="*/ 12 h 447"/>
                <a:gd name="T2" fmla="*/ 449 w 504"/>
                <a:gd name="T3" fmla="*/ 11 h 447"/>
                <a:gd name="T4" fmla="*/ 461 w 504"/>
                <a:gd name="T5" fmla="*/ 8 h 447"/>
                <a:gd name="T6" fmla="*/ 471 w 504"/>
                <a:gd name="T7" fmla="*/ 21 h 447"/>
                <a:gd name="T8" fmla="*/ 488 w 504"/>
                <a:gd name="T9" fmla="*/ 35 h 447"/>
                <a:gd name="T10" fmla="*/ 481 w 504"/>
                <a:gd name="T11" fmla="*/ 60 h 447"/>
                <a:gd name="T12" fmla="*/ 498 w 504"/>
                <a:gd name="T13" fmla="*/ 60 h 447"/>
                <a:gd name="T14" fmla="*/ 502 w 504"/>
                <a:gd name="T15" fmla="*/ 73 h 447"/>
                <a:gd name="T16" fmla="*/ 484 w 504"/>
                <a:gd name="T17" fmla="*/ 101 h 447"/>
                <a:gd name="T18" fmla="*/ 474 w 504"/>
                <a:gd name="T19" fmla="*/ 118 h 447"/>
                <a:gd name="T20" fmla="*/ 454 w 504"/>
                <a:gd name="T21" fmla="*/ 112 h 447"/>
                <a:gd name="T22" fmla="*/ 446 w 504"/>
                <a:gd name="T23" fmla="*/ 122 h 447"/>
                <a:gd name="T24" fmla="*/ 437 w 504"/>
                <a:gd name="T25" fmla="*/ 141 h 447"/>
                <a:gd name="T26" fmla="*/ 425 w 504"/>
                <a:gd name="T27" fmla="*/ 156 h 447"/>
                <a:gd name="T28" fmla="*/ 416 w 504"/>
                <a:gd name="T29" fmla="*/ 177 h 447"/>
                <a:gd name="T30" fmla="*/ 420 w 504"/>
                <a:gd name="T31" fmla="*/ 198 h 447"/>
                <a:gd name="T32" fmla="*/ 437 w 504"/>
                <a:gd name="T33" fmla="*/ 231 h 447"/>
                <a:gd name="T34" fmla="*/ 455 w 504"/>
                <a:gd name="T35" fmla="*/ 254 h 447"/>
                <a:gd name="T36" fmla="*/ 449 w 504"/>
                <a:gd name="T37" fmla="*/ 260 h 447"/>
                <a:gd name="T38" fmla="*/ 449 w 504"/>
                <a:gd name="T39" fmla="*/ 278 h 447"/>
                <a:gd name="T40" fmla="*/ 434 w 504"/>
                <a:gd name="T41" fmla="*/ 291 h 447"/>
                <a:gd name="T42" fmla="*/ 420 w 504"/>
                <a:gd name="T43" fmla="*/ 290 h 447"/>
                <a:gd name="T44" fmla="*/ 422 w 504"/>
                <a:gd name="T45" fmla="*/ 308 h 447"/>
                <a:gd name="T46" fmla="*/ 415 w 504"/>
                <a:gd name="T47" fmla="*/ 325 h 447"/>
                <a:gd name="T48" fmla="*/ 387 w 504"/>
                <a:gd name="T49" fmla="*/ 331 h 447"/>
                <a:gd name="T50" fmla="*/ 365 w 504"/>
                <a:gd name="T51" fmla="*/ 330 h 447"/>
                <a:gd name="T52" fmla="*/ 323 w 504"/>
                <a:gd name="T53" fmla="*/ 328 h 447"/>
                <a:gd name="T54" fmla="*/ 307 w 504"/>
                <a:gd name="T55" fmla="*/ 335 h 447"/>
                <a:gd name="T56" fmla="*/ 301 w 504"/>
                <a:gd name="T57" fmla="*/ 346 h 447"/>
                <a:gd name="T58" fmla="*/ 288 w 504"/>
                <a:gd name="T59" fmla="*/ 358 h 447"/>
                <a:gd name="T60" fmla="*/ 268 w 504"/>
                <a:gd name="T61" fmla="*/ 371 h 447"/>
                <a:gd name="T62" fmla="*/ 256 w 504"/>
                <a:gd name="T63" fmla="*/ 366 h 447"/>
                <a:gd name="T64" fmla="*/ 239 w 504"/>
                <a:gd name="T65" fmla="*/ 377 h 447"/>
                <a:gd name="T66" fmla="*/ 214 w 504"/>
                <a:gd name="T67" fmla="*/ 380 h 447"/>
                <a:gd name="T68" fmla="*/ 197 w 504"/>
                <a:gd name="T69" fmla="*/ 390 h 447"/>
                <a:gd name="T70" fmla="*/ 175 w 504"/>
                <a:gd name="T71" fmla="*/ 397 h 447"/>
                <a:gd name="T72" fmla="*/ 158 w 504"/>
                <a:gd name="T73" fmla="*/ 412 h 447"/>
                <a:gd name="T74" fmla="*/ 153 w 504"/>
                <a:gd name="T75" fmla="*/ 426 h 447"/>
                <a:gd name="T76" fmla="*/ 141 w 504"/>
                <a:gd name="T77" fmla="*/ 435 h 447"/>
                <a:gd name="T78" fmla="*/ 128 w 504"/>
                <a:gd name="T79" fmla="*/ 446 h 447"/>
                <a:gd name="T80" fmla="*/ 117 w 504"/>
                <a:gd name="T81" fmla="*/ 437 h 447"/>
                <a:gd name="T82" fmla="*/ 109 w 504"/>
                <a:gd name="T83" fmla="*/ 440 h 447"/>
                <a:gd name="T84" fmla="*/ 102 w 504"/>
                <a:gd name="T85" fmla="*/ 437 h 447"/>
                <a:gd name="T86" fmla="*/ 91 w 504"/>
                <a:gd name="T87" fmla="*/ 425 h 447"/>
                <a:gd name="T88" fmla="*/ 84 w 504"/>
                <a:gd name="T89" fmla="*/ 418 h 447"/>
                <a:gd name="T90" fmla="*/ 95 w 504"/>
                <a:gd name="T91" fmla="*/ 416 h 447"/>
                <a:gd name="T92" fmla="*/ 94 w 504"/>
                <a:gd name="T93" fmla="*/ 400 h 447"/>
                <a:gd name="T94" fmla="*/ 85 w 504"/>
                <a:gd name="T95" fmla="*/ 376 h 447"/>
                <a:gd name="T96" fmla="*/ 80 w 504"/>
                <a:gd name="T97" fmla="*/ 356 h 447"/>
                <a:gd name="T98" fmla="*/ 83 w 504"/>
                <a:gd name="T99" fmla="*/ 333 h 447"/>
                <a:gd name="T100" fmla="*/ 76 w 504"/>
                <a:gd name="T101" fmla="*/ 318 h 447"/>
                <a:gd name="T102" fmla="*/ 50 w 504"/>
                <a:gd name="T103" fmla="*/ 318 h 447"/>
                <a:gd name="T104" fmla="*/ 44 w 504"/>
                <a:gd name="T105" fmla="*/ 310 h 447"/>
                <a:gd name="T106" fmla="*/ 28 w 504"/>
                <a:gd name="T107" fmla="*/ 302 h 447"/>
                <a:gd name="T108" fmla="*/ 0 w 504"/>
                <a:gd name="T109" fmla="*/ 293 h 447"/>
                <a:gd name="T110" fmla="*/ 21 w 504"/>
                <a:gd name="T111" fmla="*/ 273 h 447"/>
                <a:gd name="T112" fmla="*/ 28 w 504"/>
                <a:gd name="T113" fmla="*/ 248 h 447"/>
                <a:gd name="T114" fmla="*/ 52 w 504"/>
                <a:gd name="T115" fmla="*/ 245 h 447"/>
                <a:gd name="T116" fmla="*/ 72 w 504"/>
                <a:gd name="T117" fmla="*/ 248 h 447"/>
                <a:gd name="T118" fmla="*/ 84 w 504"/>
                <a:gd name="T119" fmla="*/ 223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4" h="447">
                  <a:moveTo>
                    <a:pt x="404" y="0"/>
                  </a:moveTo>
                  <a:lnTo>
                    <a:pt x="405" y="0"/>
                  </a:lnTo>
                  <a:lnTo>
                    <a:pt x="405" y="0"/>
                  </a:lnTo>
                  <a:lnTo>
                    <a:pt x="406" y="1"/>
                  </a:lnTo>
                  <a:lnTo>
                    <a:pt x="410" y="3"/>
                  </a:lnTo>
                  <a:lnTo>
                    <a:pt x="411" y="4"/>
                  </a:lnTo>
                  <a:lnTo>
                    <a:pt x="413" y="5"/>
                  </a:lnTo>
                  <a:lnTo>
                    <a:pt x="414" y="5"/>
                  </a:lnTo>
                  <a:lnTo>
                    <a:pt x="415" y="5"/>
                  </a:lnTo>
                  <a:lnTo>
                    <a:pt x="419" y="6"/>
                  </a:lnTo>
                  <a:lnTo>
                    <a:pt x="420" y="6"/>
                  </a:lnTo>
                  <a:lnTo>
                    <a:pt x="421" y="7"/>
                  </a:lnTo>
                  <a:lnTo>
                    <a:pt x="422" y="7"/>
                  </a:lnTo>
                  <a:lnTo>
                    <a:pt x="423" y="8"/>
                  </a:lnTo>
                  <a:lnTo>
                    <a:pt x="425" y="9"/>
                  </a:lnTo>
                  <a:lnTo>
                    <a:pt x="426" y="10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0" y="13"/>
                  </a:lnTo>
                  <a:lnTo>
                    <a:pt x="431" y="14"/>
                  </a:lnTo>
                  <a:lnTo>
                    <a:pt x="432" y="14"/>
                  </a:lnTo>
                  <a:lnTo>
                    <a:pt x="433" y="15"/>
                  </a:lnTo>
                  <a:lnTo>
                    <a:pt x="434" y="15"/>
                  </a:lnTo>
                  <a:lnTo>
                    <a:pt x="435" y="15"/>
                  </a:lnTo>
                  <a:lnTo>
                    <a:pt x="436" y="15"/>
                  </a:lnTo>
                  <a:lnTo>
                    <a:pt x="437" y="15"/>
                  </a:lnTo>
                  <a:lnTo>
                    <a:pt x="438" y="14"/>
                  </a:lnTo>
                  <a:lnTo>
                    <a:pt x="439" y="14"/>
                  </a:lnTo>
                  <a:lnTo>
                    <a:pt x="440" y="14"/>
                  </a:lnTo>
                  <a:lnTo>
                    <a:pt x="444" y="12"/>
                  </a:lnTo>
                  <a:lnTo>
                    <a:pt x="445" y="12"/>
                  </a:lnTo>
                  <a:lnTo>
                    <a:pt x="447" y="11"/>
                  </a:lnTo>
                  <a:lnTo>
                    <a:pt x="448" y="11"/>
                  </a:lnTo>
                  <a:lnTo>
                    <a:pt x="449" y="11"/>
                  </a:lnTo>
                  <a:lnTo>
                    <a:pt x="450" y="11"/>
                  </a:lnTo>
                  <a:lnTo>
                    <a:pt x="451" y="11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5" y="12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8" y="10"/>
                  </a:lnTo>
                  <a:lnTo>
                    <a:pt x="459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2" y="9"/>
                  </a:lnTo>
                  <a:lnTo>
                    <a:pt x="462" y="9"/>
                  </a:lnTo>
                  <a:lnTo>
                    <a:pt x="462" y="11"/>
                  </a:lnTo>
                  <a:lnTo>
                    <a:pt x="462" y="12"/>
                  </a:lnTo>
                  <a:lnTo>
                    <a:pt x="462" y="12"/>
                  </a:lnTo>
                  <a:lnTo>
                    <a:pt x="463" y="13"/>
                  </a:lnTo>
                  <a:lnTo>
                    <a:pt x="463" y="14"/>
                  </a:lnTo>
                  <a:lnTo>
                    <a:pt x="464" y="14"/>
                  </a:lnTo>
                  <a:lnTo>
                    <a:pt x="464" y="15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9" y="18"/>
                  </a:lnTo>
                  <a:lnTo>
                    <a:pt x="470" y="19"/>
                  </a:lnTo>
                  <a:lnTo>
                    <a:pt x="471" y="21"/>
                  </a:lnTo>
                  <a:lnTo>
                    <a:pt x="472" y="21"/>
                  </a:lnTo>
                  <a:lnTo>
                    <a:pt x="473" y="22"/>
                  </a:lnTo>
                  <a:lnTo>
                    <a:pt x="474" y="22"/>
                  </a:lnTo>
                  <a:lnTo>
                    <a:pt x="475" y="22"/>
                  </a:lnTo>
                  <a:lnTo>
                    <a:pt x="478" y="23"/>
                  </a:lnTo>
                  <a:lnTo>
                    <a:pt x="478" y="23"/>
                  </a:lnTo>
                  <a:lnTo>
                    <a:pt x="479" y="24"/>
                  </a:lnTo>
                  <a:lnTo>
                    <a:pt x="480" y="24"/>
                  </a:lnTo>
                  <a:lnTo>
                    <a:pt x="481" y="25"/>
                  </a:lnTo>
                  <a:lnTo>
                    <a:pt x="482" y="26"/>
                  </a:lnTo>
                  <a:lnTo>
                    <a:pt x="483" y="26"/>
                  </a:lnTo>
                  <a:lnTo>
                    <a:pt x="484" y="28"/>
                  </a:lnTo>
                  <a:lnTo>
                    <a:pt x="486" y="30"/>
                  </a:lnTo>
                  <a:lnTo>
                    <a:pt x="487" y="31"/>
                  </a:lnTo>
                  <a:lnTo>
                    <a:pt x="487" y="32"/>
                  </a:lnTo>
                  <a:lnTo>
                    <a:pt x="488" y="34"/>
                  </a:lnTo>
                  <a:lnTo>
                    <a:pt x="488" y="35"/>
                  </a:lnTo>
                  <a:lnTo>
                    <a:pt x="488" y="36"/>
                  </a:lnTo>
                  <a:lnTo>
                    <a:pt x="488" y="38"/>
                  </a:lnTo>
                  <a:lnTo>
                    <a:pt x="488" y="39"/>
                  </a:lnTo>
                  <a:lnTo>
                    <a:pt x="488" y="41"/>
                  </a:lnTo>
                  <a:lnTo>
                    <a:pt x="487" y="43"/>
                  </a:lnTo>
                  <a:lnTo>
                    <a:pt x="487" y="45"/>
                  </a:lnTo>
                  <a:lnTo>
                    <a:pt x="486" y="47"/>
                  </a:lnTo>
                  <a:lnTo>
                    <a:pt x="485" y="50"/>
                  </a:lnTo>
                  <a:lnTo>
                    <a:pt x="484" y="51"/>
                  </a:lnTo>
                  <a:lnTo>
                    <a:pt x="482" y="55"/>
                  </a:lnTo>
                  <a:lnTo>
                    <a:pt x="482" y="56"/>
                  </a:lnTo>
                  <a:lnTo>
                    <a:pt x="481" y="57"/>
                  </a:lnTo>
                  <a:lnTo>
                    <a:pt x="481" y="57"/>
                  </a:lnTo>
                  <a:lnTo>
                    <a:pt x="481" y="59"/>
                  </a:lnTo>
                  <a:lnTo>
                    <a:pt x="481" y="59"/>
                  </a:lnTo>
                  <a:lnTo>
                    <a:pt x="481" y="60"/>
                  </a:lnTo>
                  <a:lnTo>
                    <a:pt x="481" y="60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4" y="63"/>
                  </a:lnTo>
                  <a:lnTo>
                    <a:pt x="485" y="64"/>
                  </a:lnTo>
                  <a:lnTo>
                    <a:pt x="485" y="64"/>
                  </a:lnTo>
                  <a:lnTo>
                    <a:pt x="486" y="64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2"/>
                  </a:lnTo>
                  <a:lnTo>
                    <a:pt x="495" y="61"/>
                  </a:lnTo>
                  <a:lnTo>
                    <a:pt x="497" y="61"/>
                  </a:lnTo>
                  <a:lnTo>
                    <a:pt x="498" y="60"/>
                  </a:lnTo>
                  <a:lnTo>
                    <a:pt x="499" y="60"/>
                  </a:lnTo>
                  <a:lnTo>
                    <a:pt x="500" y="60"/>
                  </a:lnTo>
                  <a:lnTo>
                    <a:pt x="501" y="60"/>
                  </a:lnTo>
                  <a:lnTo>
                    <a:pt x="501" y="60"/>
                  </a:lnTo>
                  <a:lnTo>
                    <a:pt x="502" y="60"/>
                  </a:lnTo>
                  <a:lnTo>
                    <a:pt x="502" y="61"/>
                  </a:lnTo>
                  <a:lnTo>
                    <a:pt x="503" y="61"/>
                  </a:lnTo>
                  <a:lnTo>
                    <a:pt x="503" y="62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4"/>
                  </a:lnTo>
                  <a:lnTo>
                    <a:pt x="504" y="65"/>
                  </a:lnTo>
                  <a:lnTo>
                    <a:pt x="504" y="66"/>
                  </a:lnTo>
                  <a:lnTo>
                    <a:pt x="504" y="68"/>
                  </a:lnTo>
                  <a:lnTo>
                    <a:pt x="504" y="69"/>
                  </a:lnTo>
                  <a:lnTo>
                    <a:pt x="503" y="70"/>
                  </a:lnTo>
                  <a:lnTo>
                    <a:pt x="502" y="73"/>
                  </a:lnTo>
                  <a:lnTo>
                    <a:pt x="501" y="75"/>
                  </a:lnTo>
                  <a:lnTo>
                    <a:pt x="497" y="84"/>
                  </a:lnTo>
                  <a:lnTo>
                    <a:pt x="495" y="90"/>
                  </a:lnTo>
                  <a:lnTo>
                    <a:pt x="495" y="91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4" y="93"/>
                  </a:lnTo>
                  <a:lnTo>
                    <a:pt x="494" y="93"/>
                  </a:lnTo>
                  <a:lnTo>
                    <a:pt x="493" y="95"/>
                  </a:lnTo>
                  <a:lnTo>
                    <a:pt x="491" y="96"/>
                  </a:lnTo>
                  <a:lnTo>
                    <a:pt x="490" y="97"/>
                  </a:lnTo>
                  <a:lnTo>
                    <a:pt x="489" y="98"/>
                  </a:lnTo>
                  <a:lnTo>
                    <a:pt x="487" y="99"/>
                  </a:lnTo>
                  <a:lnTo>
                    <a:pt x="485" y="100"/>
                  </a:lnTo>
                  <a:lnTo>
                    <a:pt x="484" y="101"/>
                  </a:lnTo>
                  <a:lnTo>
                    <a:pt x="482" y="102"/>
                  </a:lnTo>
                  <a:lnTo>
                    <a:pt x="482" y="102"/>
                  </a:lnTo>
                  <a:lnTo>
                    <a:pt x="482" y="103"/>
                  </a:lnTo>
                  <a:lnTo>
                    <a:pt x="481" y="104"/>
                  </a:lnTo>
                  <a:lnTo>
                    <a:pt x="481" y="104"/>
                  </a:lnTo>
                  <a:lnTo>
                    <a:pt x="480" y="105"/>
                  </a:lnTo>
                  <a:lnTo>
                    <a:pt x="480" y="107"/>
                  </a:lnTo>
                  <a:lnTo>
                    <a:pt x="479" y="108"/>
                  </a:lnTo>
                  <a:lnTo>
                    <a:pt x="478" y="114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6" y="116"/>
                  </a:lnTo>
                  <a:lnTo>
                    <a:pt x="476" y="117"/>
                  </a:lnTo>
                  <a:lnTo>
                    <a:pt x="476" y="117"/>
                  </a:lnTo>
                  <a:lnTo>
                    <a:pt x="475" y="118"/>
                  </a:lnTo>
                  <a:lnTo>
                    <a:pt x="475" y="118"/>
                  </a:lnTo>
                  <a:lnTo>
                    <a:pt x="474" y="118"/>
                  </a:lnTo>
                  <a:lnTo>
                    <a:pt x="474" y="119"/>
                  </a:lnTo>
                  <a:lnTo>
                    <a:pt x="473" y="119"/>
                  </a:lnTo>
                  <a:lnTo>
                    <a:pt x="472" y="119"/>
                  </a:lnTo>
                  <a:lnTo>
                    <a:pt x="471" y="119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69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6" y="118"/>
                  </a:lnTo>
                  <a:lnTo>
                    <a:pt x="464" y="118"/>
                  </a:lnTo>
                  <a:lnTo>
                    <a:pt x="463" y="117"/>
                  </a:lnTo>
                  <a:lnTo>
                    <a:pt x="460" y="115"/>
                  </a:lnTo>
                  <a:lnTo>
                    <a:pt x="458" y="114"/>
                  </a:lnTo>
                  <a:lnTo>
                    <a:pt x="457" y="114"/>
                  </a:lnTo>
                  <a:lnTo>
                    <a:pt x="455" y="113"/>
                  </a:lnTo>
                  <a:lnTo>
                    <a:pt x="454" y="112"/>
                  </a:lnTo>
                  <a:lnTo>
                    <a:pt x="453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1" y="112"/>
                  </a:lnTo>
                  <a:lnTo>
                    <a:pt x="450" y="112"/>
                  </a:lnTo>
                  <a:lnTo>
                    <a:pt x="448" y="113"/>
                  </a:lnTo>
                  <a:lnTo>
                    <a:pt x="447" y="113"/>
                  </a:lnTo>
                  <a:lnTo>
                    <a:pt x="447" y="113"/>
                  </a:lnTo>
                  <a:lnTo>
                    <a:pt x="446" y="113"/>
                  </a:lnTo>
                  <a:lnTo>
                    <a:pt x="446" y="113"/>
                  </a:lnTo>
                  <a:lnTo>
                    <a:pt x="446" y="114"/>
                  </a:lnTo>
                  <a:lnTo>
                    <a:pt x="446" y="114"/>
                  </a:lnTo>
                  <a:lnTo>
                    <a:pt x="446" y="115"/>
                  </a:lnTo>
                  <a:lnTo>
                    <a:pt x="446" y="116"/>
                  </a:lnTo>
                  <a:lnTo>
                    <a:pt x="446" y="119"/>
                  </a:lnTo>
                  <a:lnTo>
                    <a:pt x="446" y="121"/>
                  </a:lnTo>
                  <a:lnTo>
                    <a:pt x="446" y="122"/>
                  </a:lnTo>
                  <a:lnTo>
                    <a:pt x="446" y="123"/>
                  </a:lnTo>
                  <a:lnTo>
                    <a:pt x="446" y="126"/>
                  </a:lnTo>
                  <a:lnTo>
                    <a:pt x="445" y="127"/>
                  </a:lnTo>
                  <a:lnTo>
                    <a:pt x="445" y="128"/>
                  </a:lnTo>
                  <a:lnTo>
                    <a:pt x="445" y="128"/>
                  </a:lnTo>
                  <a:lnTo>
                    <a:pt x="444" y="129"/>
                  </a:lnTo>
                  <a:lnTo>
                    <a:pt x="444" y="130"/>
                  </a:lnTo>
                  <a:lnTo>
                    <a:pt x="442" y="132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0" y="134"/>
                  </a:lnTo>
                  <a:lnTo>
                    <a:pt x="440" y="135"/>
                  </a:lnTo>
                  <a:lnTo>
                    <a:pt x="439" y="136"/>
                  </a:lnTo>
                  <a:lnTo>
                    <a:pt x="439" y="137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7" y="141"/>
                  </a:lnTo>
                  <a:lnTo>
                    <a:pt x="437" y="142"/>
                  </a:lnTo>
                  <a:lnTo>
                    <a:pt x="437" y="143"/>
                  </a:lnTo>
                  <a:lnTo>
                    <a:pt x="437" y="144"/>
                  </a:lnTo>
                  <a:lnTo>
                    <a:pt x="437" y="146"/>
                  </a:lnTo>
                  <a:lnTo>
                    <a:pt x="437" y="146"/>
                  </a:lnTo>
                  <a:lnTo>
                    <a:pt x="437" y="147"/>
                  </a:lnTo>
                  <a:lnTo>
                    <a:pt x="436" y="147"/>
                  </a:lnTo>
                  <a:lnTo>
                    <a:pt x="436" y="147"/>
                  </a:lnTo>
                  <a:lnTo>
                    <a:pt x="436" y="148"/>
                  </a:lnTo>
                  <a:lnTo>
                    <a:pt x="435" y="148"/>
                  </a:lnTo>
                  <a:lnTo>
                    <a:pt x="434" y="149"/>
                  </a:lnTo>
                  <a:lnTo>
                    <a:pt x="433" y="149"/>
                  </a:lnTo>
                  <a:lnTo>
                    <a:pt x="433" y="149"/>
                  </a:lnTo>
                  <a:lnTo>
                    <a:pt x="430" y="152"/>
                  </a:lnTo>
                  <a:lnTo>
                    <a:pt x="427" y="154"/>
                  </a:lnTo>
                  <a:lnTo>
                    <a:pt x="426" y="155"/>
                  </a:lnTo>
                  <a:lnTo>
                    <a:pt x="425" y="156"/>
                  </a:lnTo>
                  <a:lnTo>
                    <a:pt x="425" y="156"/>
                  </a:lnTo>
                  <a:lnTo>
                    <a:pt x="424" y="157"/>
                  </a:lnTo>
                  <a:lnTo>
                    <a:pt x="424" y="158"/>
                  </a:lnTo>
                  <a:lnTo>
                    <a:pt x="423" y="159"/>
                  </a:lnTo>
                  <a:lnTo>
                    <a:pt x="423" y="160"/>
                  </a:lnTo>
                  <a:lnTo>
                    <a:pt x="422" y="162"/>
                  </a:lnTo>
                  <a:lnTo>
                    <a:pt x="422" y="163"/>
                  </a:lnTo>
                  <a:lnTo>
                    <a:pt x="422" y="164"/>
                  </a:lnTo>
                  <a:lnTo>
                    <a:pt x="421" y="167"/>
                  </a:lnTo>
                  <a:lnTo>
                    <a:pt x="421" y="168"/>
                  </a:lnTo>
                  <a:lnTo>
                    <a:pt x="421" y="169"/>
                  </a:lnTo>
                  <a:lnTo>
                    <a:pt x="420" y="170"/>
                  </a:lnTo>
                  <a:lnTo>
                    <a:pt x="420" y="171"/>
                  </a:lnTo>
                  <a:lnTo>
                    <a:pt x="418" y="174"/>
                  </a:lnTo>
                  <a:lnTo>
                    <a:pt x="417" y="176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8"/>
                  </a:lnTo>
                  <a:lnTo>
                    <a:pt x="415" y="178"/>
                  </a:lnTo>
                  <a:lnTo>
                    <a:pt x="415" y="179"/>
                  </a:lnTo>
                  <a:lnTo>
                    <a:pt x="415" y="180"/>
                  </a:lnTo>
                  <a:lnTo>
                    <a:pt x="415" y="181"/>
                  </a:lnTo>
                  <a:lnTo>
                    <a:pt x="415" y="182"/>
                  </a:lnTo>
                  <a:lnTo>
                    <a:pt x="416" y="182"/>
                  </a:lnTo>
                  <a:lnTo>
                    <a:pt x="416" y="183"/>
                  </a:lnTo>
                  <a:lnTo>
                    <a:pt x="417" y="185"/>
                  </a:lnTo>
                  <a:lnTo>
                    <a:pt x="417" y="186"/>
                  </a:lnTo>
                  <a:lnTo>
                    <a:pt x="418" y="187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19" y="193"/>
                  </a:lnTo>
                  <a:lnTo>
                    <a:pt x="419" y="196"/>
                  </a:lnTo>
                  <a:lnTo>
                    <a:pt x="420" y="196"/>
                  </a:lnTo>
                  <a:lnTo>
                    <a:pt x="420" y="198"/>
                  </a:lnTo>
                  <a:lnTo>
                    <a:pt x="421" y="199"/>
                  </a:lnTo>
                  <a:lnTo>
                    <a:pt x="422" y="201"/>
                  </a:lnTo>
                  <a:lnTo>
                    <a:pt x="423" y="205"/>
                  </a:lnTo>
                  <a:lnTo>
                    <a:pt x="425" y="209"/>
                  </a:lnTo>
                  <a:lnTo>
                    <a:pt x="426" y="210"/>
                  </a:lnTo>
                  <a:lnTo>
                    <a:pt x="427" y="211"/>
                  </a:lnTo>
                  <a:lnTo>
                    <a:pt x="428" y="213"/>
                  </a:lnTo>
                  <a:lnTo>
                    <a:pt x="428" y="214"/>
                  </a:lnTo>
                  <a:lnTo>
                    <a:pt x="430" y="216"/>
                  </a:lnTo>
                  <a:lnTo>
                    <a:pt x="430" y="217"/>
                  </a:lnTo>
                  <a:lnTo>
                    <a:pt x="431" y="218"/>
                  </a:lnTo>
                  <a:lnTo>
                    <a:pt x="432" y="220"/>
                  </a:lnTo>
                  <a:lnTo>
                    <a:pt x="433" y="222"/>
                  </a:lnTo>
                  <a:lnTo>
                    <a:pt x="433" y="223"/>
                  </a:lnTo>
                  <a:lnTo>
                    <a:pt x="436" y="230"/>
                  </a:lnTo>
                  <a:lnTo>
                    <a:pt x="436" y="230"/>
                  </a:lnTo>
                  <a:lnTo>
                    <a:pt x="437" y="231"/>
                  </a:lnTo>
                  <a:lnTo>
                    <a:pt x="439" y="236"/>
                  </a:lnTo>
                  <a:lnTo>
                    <a:pt x="441" y="240"/>
                  </a:lnTo>
                  <a:lnTo>
                    <a:pt x="442" y="240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44" y="243"/>
                  </a:lnTo>
                  <a:lnTo>
                    <a:pt x="445" y="243"/>
                  </a:lnTo>
                  <a:lnTo>
                    <a:pt x="447" y="245"/>
                  </a:lnTo>
                  <a:lnTo>
                    <a:pt x="448" y="246"/>
                  </a:lnTo>
                  <a:lnTo>
                    <a:pt x="450" y="247"/>
                  </a:lnTo>
                  <a:lnTo>
                    <a:pt x="451" y="248"/>
                  </a:lnTo>
                  <a:lnTo>
                    <a:pt x="451" y="249"/>
                  </a:lnTo>
                  <a:lnTo>
                    <a:pt x="452" y="249"/>
                  </a:lnTo>
                  <a:lnTo>
                    <a:pt x="453" y="250"/>
                  </a:lnTo>
                  <a:lnTo>
                    <a:pt x="453" y="251"/>
                  </a:lnTo>
                  <a:lnTo>
                    <a:pt x="454" y="252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5"/>
                  </a:lnTo>
                  <a:lnTo>
                    <a:pt x="455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3" y="254"/>
                  </a:lnTo>
                  <a:lnTo>
                    <a:pt x="453" y="255"/>
                  </a:lnTo>
                  <a:lnTo>
                    <a:pt x="452" y="255"/>
                  </a:lnTo>
                  <a:lnTo>
                    <a:pt x="452" y="256"/>
                  </a:lnTo>
                  <a:lnTo>
                    <a:pt x="451" y="256"/>
                  </a:lnTo>
                  <a:lnTo>
                    <a:pt x="450" y="257"/>
                  </a:lnTo>
                  <a:lnTo>
                    <a:pt x="450" y="258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60"/>
                  </a:lnTo>
                  <a:lnTo>
                    <a:pt x="449" y="260"/>
                  </a:lnTo>
                  <a:lnTo>
                    <a:pt x="449" y="261"/>
                  </a:lnTo>
                  <a:lnTo>
                    <a:pt x="449" y="262"/>
                  </a:lnTo>
                  <a:lnTo>
                    <a:pt x="449" y="262"/>
                  </a:lnTo>
                  <a:lnTo>
                    <a:pt x="449" y="264"/>
                  </a:lnTo>
                  <a:lnTo>
                    <a:pt x="450" y="267"/>
                  </a:lnTo>
                  <a:lnTo>
                    <a:pt x="450" y="269"/>
                  </a:lnTo>
                  <a:lnTo>
                    <a:pt x="450" y="270"/>
                  </a:lnTo>
                  <a:lnTo>
                    <a:pt x="450" y="273"/>
                  </a:lnTo>
                  <a:lnTo>
                    <a:pt x="450" y="274"/>
                  </a:lnTo>
                  <a:lnTo>
                    <a:pt x="450" y="275"/>
                  </a:lnTo>
                  <a:lnTo>
                    <a:pt x="450" y="275"/>
                  </a:lnTo>
                  <a:lnTo>
                    <a:pt x="450" y="276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7" y="279"/>
                  </a:lnTo>
                  <a:lnTo>
                    <a:pt x="445" y="280"/>
                  </a:lnTo>
                  <a:lnTo>
                    <a:pt x="442" y="281"/>
                  </a:lnTo>
                  <a:lnTo>
                    <a:pt x="439" y="281"/>
                  </a:lnTo>
                  <a:lnTo>
                    <a:pt x="438" y="282"/>
                  </a:lnTo>
                  <a:lnTo>
                    <a:pt x="438" y="282"/>
                  </a:lnTo>
                  <a:lnTo>
                    <a:pt x="437" y="282"/>
                  </a:lnTo>
                  <a:lnTo>
                    <a:pt x="437" y="283"/>
                  </a:lnTo>
                  <a:lnTo>
                    <a:pt x="436" y="286"/>
                  </a:lnTo>
                  <a:lnTo>
                    <a:pt x="434" y="288"/>
                  </a:lnTo>
                  <a:lnTo>
                    <a:pt x="434" y="289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2" y="291"/>
                  </a:lnTo>
                  <a:lnTo>
                    <a:pt x="431" y="291"/>
                  </a:lnTo>
                  <a:lnTo>
                    <a:pt x="430" y="291"/>
                  </a:lnTo>
                  <a:lnTo>
                    <a:pt x="429" y="291"/>
                  </a:lnTo>
                  <a:lnTo>
                    <a:pt x="428" y="291"/>
                  </a:lnTo>
                  <a:lnTo>
                    <a:pt x="424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2" y="289"/>
                  </a:lnTo>
                  <a:lnTo>
                    <a:pt x="422" y="289"/>
                  </a:lnTo>
                  <a:lnTo>
                    <a:pt x="421" y="289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1"/>
                  </a:lnTo>
                  <a:lnTo>
                    <a:pt x="420" y="292"/>
                  </a:lnTo>
                  <a:lnTo>
                    <a:pt x="420" y="294"/>
                  </a:lnTo>
                  <a:lnTo>
                    <a:pt x="420" y="296"/>
                  </a:lnTo>
                  <a:lnTo>
                    <a:pt x="420" y="297"/>
                  </a:lnTo>
                  <a:lnTo>
                    <a:pt x="420" y="298"/>
                  </a:lnTo>
                  <a:lnTo>
                    <a:pt x="420" y="299"/>
                  </a:lnTo>
                  <a:lnTo>
                    <a:pt x="420" y="300"/>
                  </a:lnTo>
                  <a:lnTo>
                    <a:pt x="420" y="301"/>
                  </a:lnTo>
                  <a:lnTo>
                    <a:pt x="421" y="302"/>
                  </a:lnTo>
                  <a:lnTo>
                    <a:pt x="421" y="305"/>
                  </a:lnTo>
                  <a:lnTo>
                    <a:pt x="422" y="306"/>
                  </a:lnTo>
                  <a:lnTo>
                    <a:pt x="422" y="307"/>
                  </a:lnTo>
                  <a:lnTo>
                    <a:pt x="422" y="308"/>
                  </a:lnTo>
                  <a:lnTo>
                    <a:pt x="422" y="309"/>
                  </a:lnTo>
                  <a:lnTo>
                    <a:pt x="422" y="311"/>
                  </a:lnTo>
                  <a:lnTo>
                    <a:pt x="422" y="312"/>
                  </a:lnTo>
                  <a:lnTo>
                    <a:pt x="421" y="313"/>
                  </a:lnTo>
                  <a:lnTo>
                    <a:pt x="421" y="315"/>
                  </a:lnTo>
                  <a:lnTo>
                    <a:pt x="420" y="319"/>
                  </a:lnTo>
                  <a:lnTo>
                    <a:pt x="420" y="320"/>
                  </a:lnTo>
                  <a:lnTo>
                    <a:pt x="420" y="321"/>
                  </a:lnTo>
                  <a:lnTo>
                    <a:pt x="419" y="322"/>
                  </a:lnTo>
                  <a:lnTo>
                    <a:pt x="419" y="323"/>
                  </a:lnTo>
                  <a:lnTo>
                    <a:pt x="418" y="323"/>
                  </a:lnTo>
                  <a:lnTo>
                    <a:pt x="418" y="324"/>
                  </a:lnTo>
                  <a:lnTo>
                    <a:pt x="418" y="324"/>
                  </a:lnTo>
                  <a:lnTo>
                    <a:pt x="417" y="324"/>
                  </a:lnTo>
                  <a:lnTo>
                    <a:pt x="417" y="325"/>
                  </a:lnTo>
                  <a:lnTo>
                    <a:pt x="416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3" y="325"/>
                  </a:lnTo>
                  <a:lnTo>
                    <a:pt x="411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4"/>
                  </a:lnTo>
                  <a:lnTo>
                    <a:pt x="401" y="325"/>
                  </a:lnTo>
                  <a:lnTo>
                    <a:pt x="395" y="326"/>
                  </a:lnTo>
                  <a:lnTo>
                    <a:pt x="394" y="326"/>
                  </a:lnTo>
                  <a:lnTo>
                    <a:pt x="393" y="326"/>
                  </a:lnTo>
                  <a:lnTo>
                    <a:pt x="392" y="327"/>
                  </a:lnTo>
                  <a:lnTo>
                    <a:pt x="391" y="327"/>
                  </a:lnTo>
                  <a:lnTo>
                    <a:pt x="391" y="327"/>
                  </a:lnTo>
                  <a:lnTo>
                    <a:pt x="390" y="328"/>
                  </a:lnTo>
                  <a:lnTo>
                    <a:pt x="388" y="330"/>
                  </a:lnTo>
                  <a:lnTo>
                    <a:pt x="387" y="331"/>
                  </a:lnTo>
                  <a:lnTo>
                    <a:pt x="386" y="332"/>
                  </a:lnTo>
                  <a:lnTo>
                    <a:pt x="385" y="332"/>
                  </a:lnTo>
                  <a:lnTo>
                    <a:pt x="384" y="333"/>
                  </a:lnTo>
                  <a:lnTo>
                    <a:pt x="384" y="333"/>
                  </a:lnTo>
                  <a:lnTo>
                    <a:pt x="383" y="333"/>
                  </a:lnTo>
                  <a:lnTo>
                    <a:pt x="383" y="333"/>
                  </a:lnTo>
                  <a:lnTo>
                    <a:pt x="382" y="333"/>
                  </a:lnTo>
                  <a:lnTo>
                    <a:pt x="381" y="333"/>
                  </a:lnTo>
                  <a:lnTo>
                    <a:pt x="379" y="333"/>
                  </a:lnTo>
                  <a:lnTo>
                    <a:pt x="376" y="332"/>
                  </a:lnTo>
                  <a:lnTo>
                    <a:pt x="372" y="331"/>
                  </a:lnTo>
                  <a:lnTo>
                    <a:pt x="370" y="331"/>
                  </a:lnTo>
                  <a:lnTo>
                    <a:pt x="368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6" y="330"/>
                  </a:lnTo>
                  <a:lnTo>
                    <a:pt x="365" y="330"/>
                  </a:lnTo>
                  <a:lnTo>
                    <a:pt x="365" y="331"/>
                  </a:lnTo>
                  <a:lnTo>
                    <a:pt x="363" y="332"/>
                  </a:lnTo>
                  <a:lnTo>
                    <a:pt x="361" y="332"/>
                  </a:lnTo>
                  <a:lnTo>
                    <a:pt x="359" y="332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3" y="333"/>
                  </a:lnTo>
                  <a:lnTo>
                    <a:pt x="350" y="333"/>
                  </a:lnTo>
                  <a:lnTo>
                    <a:pt x="348" y="333"/>
                  </a:lnTo>
                  <a:lnTo>
                    <a:pt x="346" y="333"/>
                  </a:lnTo>
                  <a:lnTo>
                    <a:pt x="340" y="332"/>
                  </a:lnTo>
                  <a:lnTo>
                    <a:pt x="338" y="332"/>
                  </a:lnTo>
                  <a:lnTo>
                    <a:pt x="336" y="332"/>
                  </a:lnTo>
                  <a:lnTo>
                    <a:pt x="333" y="331"/>
                  </a:lnTo>
                  <a:lnTo>
                    <a:pt x="329" y="330"/>
                  </a:lnTo>
                  <a:lnTo>
                    <a:pt x="325" y="329"/>
                  </a:lnTo>
                  <a:lnTo>
                    <a:pt x="323" y="328"/>
                  </a:lnTo>
                  <a:lnTo>
                    <a:pt x="322" y="328"/>
                  </a:lnTo>
                  <a:lnTo>
                    <a:pt x="317" y="328"/>
                  </a:lnTo>
                  <a:lnTo>
                    <a:pt x="316" y="328"/>
                  </a:lnTo>
                  <a:lnTo>
                    <a:pt x="315" y="328"/>
                  </a:lnTo>
                  <a:lnTo>
                    <a:pt x="314" y="328"/>
                  </a:lnTo>
                  <a:lnTo>
                    <a:pt x="313" y="328"/>
                  </a:lnTo>
                  <a:lnTo>
                    <a:pt x="313" y="328"/>
                  </a:lnTo>
                  <a:lnTo>
                    <a:pt x="312" y="329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09" y="331"/>
                  </a:lnTo>
                  <a:lnTo>
                    <a:pt x="309" y="331"/>
                  </a:lnTo>
                  <a:lnTo>
                    <a:pt x="308" y="332"/>
                  </a:lnTo>
                  <a:lnTo>
                    <a:pt x="307" y="333"/>
                  </a:lnTo>
                  <a:lnTo>
                    <a:pt x="307" y="333"/>
                  </a:lnTo>
                  <a:lnTo>
                    <a:pt x="307" y="334"/>
                  </a:lnTo>
                  <a:lnTo>
                    <a:pt x="307" y="335"/>
                  </a:lnTo>
                  <a:lnTo>
                    <a:pt x="307" y="335"/>
                  </a:lnTo>
                  <a:lnTo>
                    <a:pt x="307" y="336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4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4" y="346"/>
                  </a:lnTo>
                  <a:lnTo>
                    <a:pt x="304" y="346"/>
                  </a:lnTo>
                  <a:lnTo>
                    <a:pt x="302" y="346"/>
                  </a:lnTo>
                  <a:lnTo>
                    <a:pt x="301" y="346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298" y="347"/>
                  </a:lnTo>
                  <a:lnTo>
                    <a:pt x="298" y="347"/>
                  </a:lnTo>
                  <a:lnTo>
                    <a:pt x="297" y="347"/>
                  </a:lnTo>
                  <a:lnTo>
                    <a:pt x="297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2"/>
                  </a:lnTo>
                  <a:lnTo>
                    <a:pt x="295" y="353"/>
                  </a:lnTo>
                  <a:lnTo>
                    <a:pt x="294" y="353"/>
                  </a:lnTo>
                  <a:lnTo>
                    <a:pt x="292" y="355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89" y="357"/>
                  </a:lnTo>
                  <a:lnTo>
                    <a:pt x="288" y="358"/>
                  </a:lnTo>
                  <a:lnTo>
                    <a:pt x="287" y="359"/>
                  </a:lnTo>
                  <a:lnTo>
                    <a:pt x="286" y="359"/>
                  </a:lnTo>
                  <a:lnTo>
                    <a:pt x="285" y="359"/>
                  </a:lnTo>
                  <a:lnTo>
                    <a:pt x="282" y="360"/>
                  </a:lnTo>
                  <a:lnTo>
                    <a:pt x="281" y="361"/>
                  </a:lnTo>
                  <a:lnTo>
                    <a:pt x="280" y="361"/>
                  </a:lnTo>
                  <a:lnTo>
                    <a:pt x="278" y="361"/>
                  </a:lnTo>
                  <a:lnTo>
                    <a:pt x="278" y="362"/>
                  </a:lnTo>
                  <a:lnTo>
                    <a:pt x="277" y="362"/>
                  </a:lnTo>
                  <a:lnTo>
                    <a:pt x="276" y="363"/>
                  </a:lnTo>
                  <a:lnTo>
                    <a:pt x="275" y="364"/>
                  </a:lnTo>
                  <a:lnTo>
                    <a:pt x="274" y="364"/>
                  </a:lnTo>
                  <a:lnTo>
                    <a:pt x="273" y="365"/>
                  </a:lnTo>
                  <a:lnTo>
                    <a:pt x="272" y="367"/>
                  </a:lnTo>
                  <a:lnTo>
                    <a:pt x="270" y="369"/>
                  </a:lnTo>
                  <a:lnTo>
                    <a:pt x="269" y="370"/>
                  </a:lnTo>
                  <a:lnTo>
                    <a:pt x="268" y="371"/>
                  </a:lnTo>
                  <a:lnTo>
                    <a:pt x="268" y="371"/>
                  </a:lnTo>
                  <a:lnTo>
                    <a:pt x="267" y="371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5" y="372"/>
                  </a:lnTo>
                  <a:lnTo>
                    <a:pt x="265" y="372"/>
                  </a:lnTo>
                  <a:lnTo>
                    <a:pt x="264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3" y="371"/>
                  </a:lnTo>
                  <a:lnTo>
                    <a:pt x="262" y="371"/>
                  </a:lnTo>
                  <a:lnTo>
                    <a:pt x="261" y="370"/>
                  </a:lnTo>
                  <a:lnTo>
                    <a:pt x="259" y="368"/>
                  </a:lnTo>
                  <a:lnTo>
                    <a:pt x="259" y="368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4" y="366"/>
                  </a:lnTo>
                  <a:lnTo>
                    <a:pt x="253" y="366"/>
                  </a:lnTo>
                  <a:lnTo>
                    <a:pt x="253" y="367"/>
                  </a:lnTo>
                  <a:lnTo>
                    <a:pt x="252" y="367"/>
                  </a:lnTo>
                  <a:lnTo>
                    <a:pt x="251" y="368"/>
                  </a:lnTo>
                  <a:lnTo>
                    <a:pt x="250" y="369"/>
                  </a:lnTo>
                  <a:lnTo>
                    <a:pt x="249" y="370"/>
                  </a:lnTo>
                  <a:lnTo>
                    <a:pt x="246" y="373"/>
                  </a:lnTo>
                  <a:lnTo>
                    <a:pt x="244" y="374"/>
                  </a:lnTo>
                  <a:lnTo>
                    <a:pt x="244" y="375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8" y="378"/>
                  </a:lnTo>
                  <a:lnTo>
                    <a:pt x="236" y="380"/>
                  </a:lnTo>
                  <a:lnTo>
                    <a:pt x="235" y="380"/>
                  </a:lnTo>
                  <a:lnTo>
                    <a:pt x="234" y="381"/>
                  </a:lnTo>
                  <a:lnTo>
                    <a:pt x="233" y="381"/>
                  </a:lnTo>
                  <a:lnTo>
                    <a:pt x="232" y="381"/>
                  </a:lnTo>
                  <a:lnTo>
                    <a:pt x="231" y="381"/>
                  </a:lnTo>
                  <a:lnTo>
                    <a:pt x="230" y="381"/>
                  </a:lnTo>
                  <a:lnTo>
                    <a:pt x="228" y="381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2"/>
                  </a:lnTo>
                  <a:lnTo>
                    <a:pt x="220" y="382"/>
                  </a:lnTo>
                  <a:lnTo>
                    <a:pt x="218" y="381"/>
                  </a:lnTo>
                  <a:lnTo>
                    <a:pt x="217" y="381"/>
                  </a:lnTo>
                  <a:lnTo>
                    <a:pt x="215" y="381"/>
                  </a:lnTo>
                  <a:lnTo>
                    <a:pt x="214" y="380"/>
                  </a:lnTo>
                  <a:lnTo>
                    <a:pt x="214" y="380"/>
                  </a:lnTo>
                  <a:lnTo>
                    <a:pt x="213" y="380"/>
                  </a:lnTo>
                  <a:lnTo>
                    <a:pt x="212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09" y="379"/>
                  </a:lnTo>
                  <a:lnTo>
                    <a:pt x="208" y="380"/>
                  </a:lnTo>
                  <a:lnTo>
                    <a:pt x="207" y="381"/>
                  </a:lnTo>
                  <a:lnTo>
                    <a:pt x="203" y="385"/>
                  </a:lnTo>
                  <a:lnTo>
                    <a:pt x="200" y="387"/>
                  </a:lnTo>
                  <a:lnTo>
                    <a:pt x="198" y="389"/>
                  </a:lnTo>
                  <a:lnTo>
                    <a:pt x="198" y="389"/>
                  </a:lnTo>
                  <a:lnTo>
                    <a:pt x="197" y="390"/>
                  </a:lnTo>
                  <a:lnTo>
                    <a:pt x="196" y="391"/>
                  </a:lnTo>
                  <a:lnTo>
                    <a:pt x="195" y="393"/>
                  </a:lnTo>
                  <a:lnTo>
                    <a:pt x="194" y="393"/>
                  </a:lnTo>
                  <a:lnTo>
                    <a:pt x="193" y="394"/>
                  </a:lnTo>
                  <a:lnTo>
                    <a:pt x="192" y="395"/>
                  </a:lnTo>
                  <a:lnTo>
                    <a:pt x="191" y="395"/>
                  </a:lnTo>
                  <a:lnTo>
                    <a:pt x="190" y="396"/>
                  </a:lnTo>
                  <a:lnTo>
                    <a:pt x="188" y="396"/>
                  </a:lnTo>
                  <a:lnTo>
                    <a:pt x="186" y="397"/>
                  </a:lnTo>
                  <a:lnTo>
                    <a:pt x="185" y="397"/>
                  </a:lnTo>
                  <a:lnTo>
                    <a:pt x="183" y="397"/>
                  </a:lnTo>
                  <a:lnTo>
                    <a:pt x="182" y="397"/>
                  </a:lnTo>
                  <a:lnTo>
                    <a:pt x="181" y="397"/>
                  </a:lnTo>
                  <a:lnTo>
                    <a:pt x="179" y="397"/>
                  </a:lnTo>
                  <a:lnTo>
                    <a:pt x="178" y="397"/>
                  </a:lnTo>
                  <a:lnTo>
                    <a:pt x="176" y="397"/>
                  </a:lnTo>
                  <a:lnTo>
                    <a:pt x="175" y="397"/>
                  </a:lnTo>
                  <a:lnTo>
                    <a:pt x="174" y="398"/>
                  </a:lnTo>
                  <a:lnTo>
                    <a:pt x="173" y="398"/>
                  </a:lnTo>
                  <a:lnTo>
                    <a:pt x="172" y="399"/>
                  </a:lnTo>
                  <a:lnTo>
                    <a:pt x="171" y="400"/>
                  </a:lnTo>
                  <a:lnTo>
                    <a:pt x="169" y="401"/>
                  </a:lnTo>
                  <a:lnTo>
                    <a:pt x="167" y="402"/>
                  </a:lnTo>
                  <a:lnTo>
                    <a:pt x="167" y="403"/>
                  </a:lnTo>
                  <a:lnTo>
                    <a:pt x="165" y="404"/>
                  </a:lnTo>
                  <a:lnTo>
                    <a:pt x="164" y="405"/>
                  </a:lnTo>
                  <a:lnTo>
                    <a:pt x="162" y="406"/>
                  </a:lnTo>
                  <a:lnTo>
                    <a:pt x="160" y="408"/>
                  </a:lnTo>
                  <a:lnTo>
                    <a:pt x="160" y="409"/>
                  </a:lnTo>
                  <a:lnTo>
                    <a:pt x="159" y="409"/>
                  </a:lnTo>
                  <a:lnTo>
                    <a:pt x="159" y="410"/>
                  </a:lnTo>
                  <a:lnTo>
                    <a:pt x="159" y="410"/>
                  </a:lnTo>
                  <a:lnTo>
                    <a:pt x="158" y="411"/>
                  </a:lnTo>
                  <a:lnTo>
                    <a:pt x="158" y="412"/>
                  </a:lnTo>
                  <a:lnTo>
                    <a:pt x="158" y="415"/>
                  </a:lnTo>
                  <a:lnTo>
                    <a:pt x="158" y="415"/>
                  </a:lnTo>
                  <a:lnTo>
                    <a:pt x="157" y="416"/>
                  </a:lnTo>
                  <a:lnTo>
                    <a:pt x="157" y="418"/>
                  </a:lnTo>
                  <a:lnTo>
                    <a:pt x="157" y="418"/>
                  </a:lnTo>
                  <a:lnTo>
                    <a:pt x="157" y="419"/>
                  </a:lnTo>
                  <a:lnTo>
                    <a:pt x="157" y="420"/>
                  </a:lnTo>
                  <a:lnTo>
                    <a:pt x="157" y="421"/>
                  </a:lnTo>
                  <a:lnTo>
                    <a:pt x="157" y="422"/>
                  </a:lnTo>
                  <a:lnTo>
                    <a:pt x="156" y="423"/>
                  </a:lnTo>
                  <a:lnTo>
                    <a:pt x="156" y="423"/>
                  </a:lnTo>
                  <a:lnTo>
                    <a:pt x="156" y="424"/>
                  </a:lnTo>
                  <a:lnTo>
                    <a:pt x="156" y="424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3" y="425"/>
                  </a:lnTo>
                  <a:lnTo>
                    <a:pt x="153" y="426"/>
                  </a:lnTo>
                  <a:lnTo>
                    <a:pt x="152" y="426"/>
                  </a:lnTo>
                  <a:lnTo>
                    <a:pt x="152" y="426"/>
                  </a:lnTo>
                  <a:lnTo>
                    <a:pt x="152" y="427"/>
                  </a:lnTo>
                  <a:lnTo>
                    <a:pt x="151" y="429"/>
                  </a:lnTo>
                  <a:lnTo>
                    <a:pt x="150" y="430"/>
                  </a:lnTo>
                  <a:lnTo>
                    <a:pt x="150" y="431"/>
                  </a:lnTo>
                  <a:lnTo>
                    <a:pt x="149" y="433"/>
                  </a:lnTo>
                  <a:lnTo>
                    <a:pt x="148" y="433"/>
                  </a:lnTo>
                  <a:lnTo>
                    <a:pt x="148" y="434"/>
                  </a:lnTo>
                  <a:lnTo>
                    <a:pt x="147" y="434"/>
                  </a:lnTo>
                  <a:lnTo>
                    <a:pt x="147" y="434"/>
                  </a:lnTo>
                  <a:lnTo>
                    <a:pt x="146" y="434"/>
                  </a:lnTo>
                  <a:lnTo>
                    <a:pt x="145" y="434"/>
                  </a:lnTo>
                  <a:lnTo>
                    <a:pt x="144" y="434"/>
                  </a:lnTo>
                  <a:lnTo>
                    <a:pt x="143" y="434"/>
                  </a:lnTo>
                  <a:lnTo>
                    <a:pt x="142" y="435"/>
                  </a:lnTo>
                  <a:lnTo>
                    <a:pt x="141" y="435"/>
                  </a:lnTo>
                  <a:lnTo>
                    <a:pt x="140" y="435"/>
                  </a:lnTo>
                  <a:lnTo>
                    <a:pt x="139" y="436"/>
                  </a:lnTo>
                  <a:lnTo>
                    <a:pt x="138" y="436"/>
                  </a:lnTo>
                  <a:lnTo>
                    <a:pt x="137" y="437"/>
                  </a:lnTo>
                  <a:lnTo>
                    <a:pt x="136" y="438"/>
                  </a:lnTo>
                  <a:lnTo>
                    <a:pt x="135" y="439"/>
                  </a:lnTo>
                  <a:lnTo>
                    <a:pt x="134" y="440"/>
                  </a:lnTo>
                  <a:lnTo>
                    <a:pt x="133" y="440"/>
                  </a:lnTo>
                  <a:lnTo>
                    <a:pt x="133" y="441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2" y="443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0" y="445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5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3" y="447"/>
                  </a:lnTo>
                  <a:lnTo>
                    <a:pt x="123" y="447"/>
                  </a:lnTo>
                  <a:lnTo>
                    <a:pt x="123" y="446"/>
                  </a:lnTo>
                  <a:lnTo>
                    <a:pt x="122" y="446"/>
                  </a:lnTo>
                  <a:lnTo>
                    <a:pt x="122" y="446"/>
                  </a:lnTo>
                  <a:lnTo>
                    <a:pt x="122" y="445"/>
                  </a:lnTo>
                  <a:lnTo>
                    <a:pt x="121" y="443"/>
                  </a:lnTo>
                  <a:lnTo>
                    <a:pt x="121" y="442"/>
                  </a:lnTo>
                  <a:lnTo>
                    <a:pt x="120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7" y="436"/>
                  </a:lnTo>
                  <a:lnTo>
                    <a:pt x="116" y="437"/>
                  </a:lnTo>
                  <a:lnTo>
                    <a:pt x="115" y="437"/>
                  </a:lnTo>
                  <a:lnTo>
                    <a:pt x="115" y="437"/>
                  </a:lnTo>
                  <a:lnTo>
                    <a:pt x="114" y="438"/>
                  </a:lnTo>
                  <a:lnTo>
                    <a:pt x="114" y="438"/>
                  </a:lnTo>
                  <a:lnTo>
                    <a:pt x="112" y="440"/>
                  </a:lnTo>
                  <a:lnTo>
                    <a:pt x="112" y="440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0" y="441"/>
                  </a:lnTo>
                  <a:lnTo>
                    <a:pt x="110" y="441"/>
                  </a:lnTo>
                  <a:lnTo>
                    <a:pt x="109" y="441"/>
                  </a:lnTo>
                  <a:lnTo>
                    <a:pt x="109" y="440"/>
                  </a:lnTo>
                  <a:lnTo>
                    <a:pt x="109" y="440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8" y="437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5"/>
                  </a:lnTo>
                  <a:lnTo>
                    <a:pt x="108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5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0" y="435"/>
                  </a:lnTo>
                  <a:lnTo>
                    <a:pt x="100" y="434"/>
                  </a:lnTo>
                  <a:lnTo>
                    <a:pt x="99" y="433"/>
                  </a:lnTo>
                  <a:lnTo>
                    <a:pt x="99" y="432"/>
                  </a:lnTo>
                  <a:lnTo>
                    <a:pt x="98" y="431"/>
                  </a:lnTo>
                  <a:lnTo>
                    <a:pt x="96" y="429"/>
                  </a:lnTo>
                  <a:lnTo>
                    <a:pt x="95" y="428"/>
                  </a:lnTo>
                  <a:lnTo>
                    <a:pt x="95" y="427"/>
                  </a:lnTo>
                  <a:lnTo>
                    <a:pt x="94" y="426"/>
                  </a:lnTo>
                  <a:lnTo>
                    <a:pt x="93" y="426"/>
                  </a:lnTo>
                  <a:lnTo>
                    <a:pt x="92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0" y="424"/>
                  </a:lnTo>
                  <a:lnTo>
                    <a:pt x="86" y="424"/>
                  </a:lnTo>
                  <a:lnTo>
                    <a:pt x="85" y="424"/>
                  </a:lnTo>
                  <a:lnTo>
                    <a:pt x="85" y="423"/>
                  </a:lnTo>
                  <a:lnTo>
                    <a:pt x="84" y="423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4" y="419"/>
                  </a:lnTo>
                  <a:lnTo>
                    <a:pt x="84" y="418"/>
                  </a:lnTo>
                  <a:lnTo>
                    <a:pt x="84" y="418"/>
                  </a:lnTo>
                  <a:lnTo>
                    <a:pt x="85" y="418"/>
                  </a:lnTo>
                  <a:lnTo>
                    <a:pt x="86" y="417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8" y="417"/>
                  </a:lnTo>
                  <a:lnTo>
                    <a:pt x="89" y="417"/>
                  </a:lnTo>
                  <a:lnTo>
                    <a:pt x="90" y="417"/>
                  </a:lnTo>
                  <a:lnTo>
                    <a:pt x="93" y="418"/>
                  </a:lnTo>
                  <a:lnTo>
                    <a:pt x="93" y="418"/>
                  </a:lnTo>
                  <a:lnTo>
                    <a:pt x="94" y="418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5" y="417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4" y="415"/>
                  </a:lnTo>
                  <a:lnTo>
                    <a:pt x="94" y="413"/>
                  </a:lnTo>
                  <a:lnTo>
                    <a:pt x="94" y="412"/>
                  </a:lnTo>
                  <a:lnTo>
                    <a:pt x="94" y="411"/>
                  </a:lnTo>
                  <a:lnTo>
                    <a:pt x="94" y="411"/>
                  </a:lnTo>
                  <a:lnTo>
                    <a:pt x="94" y="410"/>
                  </a:lnTo>
                  <a:lnTo>
                    <a:pt x="95" y="409"/>
                  </a:lnTo>
                  <a:lnTo>
                    <a:pt x="95" y="409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6" y="407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6" y="405"/>
                  </a:lnTo>
                  <a:lnTo>
                    <a:pt x="95" y="404"/>
                  </a:lnTo>
                  <a:lnTo>
                    <a:pt x="95" y="401"/>
                  </a:lnTo>
                  <a:lnTo>
                    <a:pt x="94" y="400"/>
                  </a:lnTo>
                  <a:lnTo>
                    <a:pt x="94" y="398"/>
                  </a:lnTo>
                  <a:lnTo>
                    <a:pt x="92" y="394"/>
                  </a:lnTo>
                  <a:lnTo>
                    <a:pt x="91" y="392"/>
                  </a:lnTo>
                  <a:lnTo>
                    <a:pt x="90" y="390"/>
                  </a:lnTo>
                  <a:lnTo>
                    <a:pt x="89" y="389"/>
                  </a:lnTo>
                  <a:lnTo>
                    <a:pt x="87" y="386"/>
                  </a:lnTo>
                  <a:lnTo>
                    <a:pt x="87" y="386"/>
                  </a:lnTo>
                  <a:lnTo>
                    <a:pt x="87" y="385"/>
                  </a:lnTo>
                  <a:lnTo>
                    <a:pt x="87" y="385"/>
                  </a:lnTo>
                  <a:lnTo>
                    <a:pt x="87" y="384"/>
                  </a:lnTo>
                  <a:lnTo>
                    <a:pt x="87" y="381"/>
                  </a:lnTo>
                  <a:lnTo>
                    <a:pt x="87" y="380"/>
                  </a:lnTo>
                  <a:lnTo>
                    <a:pt x="86" y="378"/>
                  </a:lnTo>
                  <a:lnTo>
                    <a:pt x="86" y="378"/>
                  </a:lnTo>
                  <a:lnTo>
                    <a:pt x="86" y="377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3" y="374"/>
                  </a:lnTo>
                  <a:lnTo>
                    <a:pt x="83" y="373"/>
                  </a:lnTo>
                  <a:lnTo>
                    <a:pt x="82" y="373"/>
                  </a:lnTo>
                  <a:lnTo>
                    <a:pt x="82" y="372"/>
                  </a:lnTo>
                  <a:lnTo>
                    <a:pt x="82" y="372"/>
                  </a:lnTo>
                  <a:lnTo>
                    <a:pt x="82" y="371"/>
                  </a:lnTo>
                  <a:lnTo>
                    <a:pt x="81" y="370"/>
                  </a:lnTo>
                  <a:lnTo>
                    <a:pt x="82" y="370"/>
                  </a:lnTo>
                  <a:lnTo>
                    <a:pt x="82" y="369"/>
                  </a:lnTo>
                  <a:lnTo>
                    <a:pt x="82" y="367"/>
                  </a:lnTo>
                  <a:lnTo>
                    <a:pt x="82" y="366"/>
                  </a:lnTo>
                  <a:lnTo>
                    <a:pt x="82" y="365"/>
                  </a:lnTo>
                  <a:lnTo>
                    <a:pt x="82" y="363"/>
                  </a:lnTo>
                  <a:lnTo>
                    <a:pt x="82" y="361"/>
                  </a:lnTo>
                  <a:lnTo>
                    <a:pt x="81" y="359"/>
                  </a:lnTo>
                  <a:lnTo>
                    <a:pt x="81" y="358"/>
                  </a:lnTo>
                  <a:lnTo>
                    <a:pt x="80" y="356"/>
                  </a:lnTo>
                  <a:lnTo>
                    <a:pt x="80" y="355"/>
                  </a:lnTo>
                  <a:lnTo>
                    <a:pt x="80" y="354"/>
                  </a:lnTo>
                  <a:lnTo>
                    <a:pt x="80" y="353"/>
                  </a:lnTo>
                  <a:lnTo>
                    <a:pt x="80" y="352"/>
                  </a:lnTo>
                  <a:lnTo>
                    <a:pt x="80" y="351"/>
                  </a:lnTo>
                  <a:lnTo>
                    <a:pt x="81" y="347"/>
                  </a:lnTo>
                  <a:lnTo>
                    <a:pt x="81" y="345"/>
                  </a:lnTo>
                  <a:lnTo>
                    <a:pt x="82" y="344"/>
                  </a:lnTo>
                  <a:lnTo>
                    <a:pt x="82" y="343"/>
                  </a:lnTo>
                  <a:lnTo>
                    <a:pt x="82" y="343"/>
                  </a:lnTo>
                  <a:lnTo>
                    <a:pt x="82" y="340"/>
                  </a:lnTo>
                  <a:lnTo>
                    <a:pt x="82" y="339"/>
                  </a:lnTo>
                  <a:lnTo>
                    <a:pt x="82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3" y="334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0"/>
                  </a:lnTo>
                  <a:lnTo>
                    <a:pt x="83" y="329"/>
                  </a:lnTo>
                  <a:lnTo>
                    <a:pt x="83" y="328"/>
                  </a:lnTo>
                  <a:lnTo>
                    <a:pt x="83" y="327"/>
                  </a:lnTo>
                  <a:lnTo>
                    <a:pt x="83" y="326"/>
                  </a:lnTo>
                  <a:lnTo>
                    <a:pt x="82" y="325"/>
                  </a:lnTo>
                  <a:lnTo>
                    <a:pt x="81" y="323"/>
                  </a:lnTo>
                  <a:lnTo>
                    <a:pt x="81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9" y="319"/>
                  </a:lnTo>
                  <a:lnTo>
                    <a:pt x="78" y="319"/>
                  </a:lnTo>
                  <a:lnTo>
                    <a:pt x="77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4" y="318"/>
                  </a:lnTo>
                  <a:lnTo>
                    <a:pt x="70" y="318"/>
                  </a:lnTo>
                  <a:lnTo>
                    <a:pt x="69" y="318"/>
                  </a:lnTo>
                  <a:lnTo>
                    <a:pt x="68" y="318"/>
                  </a:lnTo>
                  <a:lnTo>
                    <a:pt x="65" y="318"/>
                  </a:lnTo>
                  <a:lnTo>
                    <a:pt x="64" y="318"/>
                  </a:lnTo>
                  <a:lnTo>
                    <a:pt x="62" y="318"/>
                  </a:lnTo>
                  <a:lnTo>
                    <a:pt x="58" y="318"/>
                  </a:lnTo>
                  <a:lnTo>
                    <a:pt x="57" y="317"/>
                  </a:lnTo>
                  <a:lnTo>
                    <a:pt x="55" y="317"/>
                  </a:lnTo>
                  <a:lnTo>
                    <a:pt x="55" y="317"/>
                  </a:lnTo>
                  <a:lnTo>
                    <a:pt x="54" y="318"/>
                  </a:lnTo>
                  <a:lnTo>
                    <a:pt x="52" y="318"/>
                  </a:lnTo>
                  <a:lnTo>
                    <a:pt x="51" y="318"/>
                  </a:lnTo>
                  <a:lnTo>
                    <a:pt x="50" y="318"/>
                  </a:lnTo>
                  <a:lnTo>
                    <a:pt x="49" y="318"/>
                  </a:lnTo>
                  <a:lnTo>
                    <a:pt x="49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6" y="318"/>
                  </a:lnTo>
                  <a:lnTo>
                    <a:pt x="46" y="317"/>
                  </a:lnTo>
                  <a:lnTo>
                    <a:pt x="46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5"/>
                  </a:lnTo>
                  <a:lnTo>
                    <a:pt x="45" y="314"/>
                  </a:lnTo>
                  <a:lnTo>
                    <a:pt x="45" y="313"/>
                  </a:lnTo>
                  <a:lnTo>
                    <a:pt x="45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4" y="309"/>
                  </a:lnTo>
                  <a:lnTo>
                    <a:pt x="44" y="308"/>
                  </a:lnTo>
                  <a:lnTo>
                    <a:pt x="43" y="308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1" y="305"/>
                  </a:lnTo>
                  <a:lnTo>
                    <a:pt x="38" y="304"/>
                  </a:lnTo>
                  <a:lnTo>
                    <a:pt x="36" y="303"/>
                  </a:lnTo>
                  <a:lnTo>
                    <a:pt x="36" y="303"/>
                  </a:lnTo>
                  <a:lnTo>
                    <a:pt x="35" y="303"/>
                  </a:lnTo>
                  <a:lnTo>
                    <a:pt x="34" y="302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5" y="301"/>
                  </a:lnTo>
                  <a:lnTo>
                    <a:pt x="22" y="300"/>
                  </a:lnTo>
                  <a:lnTo>
                    <a:pt x="20" y="300"/>
                  </a:lnTo>
                  <a:lnTo>
                    <a:pt x="19" y="299"/>
                  </a:lnTo>
                  <a:lnTo>
                    <a:pt x="16" y="299"/>
                  </a:lnTo>
                  <a:lnTo>
                    <a:pt x="14" y="299"/>
                  </a:lnTo>
                  <a:lnTo>
                    <a:pt x="12" y="299"/>
                  </a:lnTo>
                  <a:lnTo>
                    <a:pt x="9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6" y="297"/>
                  </a:lnTo>
                  <a:lnTo>
                    <a:pt x="4" y="296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1" y="291"/>
                  </a:lnTo>
                  <a:lnTo>
                    <a:pt x="1" y="291"/>
                  </a:lnTo>
                  <a:lnTo>
                    <a:pt x="2" y="290"/>
                  </a:lnTo>
                  <a:lnTo>
                    <a:pt x="6" y="288"/>
                  </a:lnTo>
                  <a:lnTo>
                    <a:pt x="8" y="287"/>
                  </a:lnTo>
                  <a:lnTo>
                    <a:pt x="10" y="286"/>
                  </a:lnTo>
                  <a:lnTo>
                    <a:pt x="11" y="285"/>
                  </a:lnTo>
                  <a:lnTo>
                    <a:pt x="12" y="284"/>
                  </a:lnTo>
                  <a:lnTo>
                    <a:pt x="13" y="283"/>
                  </a:lnTo>
                  <a:lnTo>
                    <a:pt x="18" y="278"/>
                  </a:lnTo>
                  <a:lnTo>
                    <a:pt x="19" y="276"/>
                  </a:lnTo>
                  <a:lnTo>
                    <a:pt x="20" y="275"/>
                  </a:lnTo>
                  <a:lnTo>
                    <a:pt x="21" y="274"/>
                  </a:lnTo>
                  <a:lnTo>
                    <a:pt x="21" y="273"/>
                  </a:lnTo>
                  <a:lnTo>
                    <a:pt x="21" y="272"/>
                  </a:lnTo>
                  <a:lnTo>
                    <a:pt x="22" y="271"/>
                  </a:lnTo>
                  <a:lnTo>
                    <a:pt x="22" y="269"/>
                  </a:lnTo>
                  <a:lnTo>
                    <a:pt x="22" y="264"/>
                  </a:lnTo>
                  <a:lnTo>
                    <a:pt x="22" y="261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4" y="254"/>
                  </a:lnTo>
                  <a:lnTo>
                    <a:pt x="24" y="253"/>
                  </a:lnTo>
                  <a:lnTo>
                    <a:pt x="25" y="252"/>
                  </a:lnTo>
                  <a:lnTo>
                    <a:pt x="25" y="251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8" y="248"/>
                  </a:lnTo>
                  <a:lnTo>
                    <a:pt x="28" y="248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8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7" y="247"/>
                  </a:lnTo>
                  <a:lnTo>
                    <a:pt x="51" y="246"/>
                  </a:lnTo>
                  <a:lnTo>
                    <a:pt x="52" y="245"/>
                  </a:lnTo>
                  <a:lnTo>
                    <a:pt x="53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5" y="245"/>
                  </a:lnTo>
                  <a:lnTo>
                    <a:pt x="56" y="245"/>
                  </a:lnTo>
                  <a:lnTo>
                    <a:pt x="57" y="246"/>
                  </a:lnTo>
                  <a:lnTo>
                    <a:pt x="59" y="246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4" y="246"/>
                  </a:lnTo>
                  <a:lnTo>
                    <a:pt x="75" y="245"/>
                  </a:lnTo>
                  <a:lnTo>
                    <a:pt x="77" y="241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81" y="235"/>
                  </a:lnTo>
                  <a:lnTo>
                    <a:pt x="81" y="233"/>
                  </a:lnTo>
                  <a:lnTo>
                    <a:pt x="82" y="232"/>
                  </a:lnTo>
                  <a:lnTo>
                    <a:pt x="83" y="230"/>
                  </a:lnTo>
                  <a:lnTo>
                    <a:pt x="83" y="228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4" y="222"/>
                  </a:lnTo>
                  <a:lnTo>
                    <a:pt x="85" y="221"/>
                  </a:lnTo>
                  <a:lnTo>
                    <a:pt x="87" y="216"/>
                  </a:lnTo>
                  <a:lnTo>
                    <a:pt x="87" y="215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Freeform 20">
              <a:extLst>
                <a:ext uri="{FF2B5EF4-FFF2-40B4-BE49-F238E27FC236}">
                  <a16:creationId xmlns:a16="http://schemas.microsoft.com/office/drawing/2014/main" id="{D51BAD0F-0B7A-74B9-42B5-DA5F00B4D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" y="2866"/>
              <a:ext cx="343" cy="215"/>
            </a:xfrm>
            <a:custGeom>
              <a:avLst/>
              <a:gdLst>
                <a:gd name="T0" fmla="*/ 4 w 343"/>
                <a:gd name="T1" fmla="*/ 211 h 215"/>
                <a:gd name="T2" fmla="*/ 8 w 343"/>
                <a:gd name="T3" fmla="*/ 210 h 215"/>
                <a:gd name="T4" fmla="*/ 16 w 343"/>
                <a:gd name="T5" fmla="*/ 213 h 215"/>
                <a:gd name="T6" fmla="*/ 21 w 343"/>
                <a:gd name="T7" fmla="*/ 214 h 215"/>
                <a:gd name="T8" fmla="*/ 24 w 343"/>
                <a:gd name="T9" fmla="*/ 211 h 215"/>
                <a:gd name="T10" fmla="*/ 29 w 343"/>
                <a:gd name="T11" fmla="*/ 202 h 215"/>
                <a:gd name="T12" fmla="*/ 38 w 343"/>
                <a:gd name="T13" fmla="*/ 195 h 215"/>
                <a:gd name="T14" fmla="*/ 42 w 343"/>
                <a:gd name="T15" fmla="*/ 186 h 215"/>
                <a:gd name="T16" fmla="*/ 45 w 343"/>
                <a:gd name="T17" fmla="*/ 186 h 215"/>
                <a:gd name="T18" fmla="*/ 50 w 343"/>
                <a:gd name="T19" fmla="*/ 191 h 215"/>
                <a:gd name="T20" fmla="*/ 58 w 343"/>
                <a:gd name="T21" fmla="*/ 201 h 215"/>
                <a:gd name="T22" fmla="*/ 66 w 343"/>
                <a:gd name="T23" fmla="*/ 203 h 215"/>
                <a:gd name="T24" fmla="*/ 70 w 343"/>
                <a:gd name="T25" fmla="*/ 201 h 215"/>
                <a:gd name="T26" fmla="*/ 83 w 343"/>
                <a:gd name="T27" fmla="*/ 188 h 215"/>
                <a:gd name="T28" fmla="*/ 85 w 343"/>
                <a:gd name="T29" fmla="*/ 181 h 215"/>
                <a:gd name="T30" fmla="*/ 89 w 343"/>
                <a:gd name="T31" fmla="*/ 174 h 215"/>
                <a:gd name="T32" fmla="*/ 90 w 343"/>
                <a:gd name="T33" fmla="*/ 166 h 215"/>
                <a:gd name="T34" fmla="*/ 90 w 343"/>
                <a:gd name="T35" fmla="*/ 159 h 215"/>
                <a:gd name="T36" fmla="*/ 95 w 343"/>
                <a:gd name="T37" fmla="*/ 156 h 215"/>
                <a:gd name="T38" fmla="*/ 109 w 343"/>
                <a:gd name="T39" fmla="*/ 155 h 215"/>
                <a:gd name="T40" fmla="*/ 118 w 343"/>
                <a:gd name="T41" fmla="*/ 151 h 215"/>
                <a:gd name="T42" fmla="*/ 126 w 343"/>
                <a:gd name="T43" fmla="*/ 148 h 215"/>
                <a:gd name="T44" fmla="*/ 135 w 343"/>
                <a:gd name="T45" fmla="*/ 151 h 215"/>
                <a:gd name="T46" fmla="*/ 139 w 343"/>
                <a:gd name="T47" fmla="*/ 152 h 215"/>
                <a:gd name="T48" fmla="*/ 147 w 343"/>
                <a:gd name="T49" fmla="*/ 148 h 215"/>
                <a:gd name="T50" fmla="*/ 163 w 343"/>
                <a:gd name="T51" fmla="*/ 147 h 215"/>
                <a:gd name="T52" fmla="*/ 174 w 343"/>
                <a:gd name="T53" fmla="*/ 149 h 215"/>
                <a:gd name="T54" fmla="*/ 183 w 343"/>
                <a:gd name="T55" fmla="*/ 148 h 215"/>
                <a:gd name="T56" fmla="*/ 192 w 343"/>
                <a:gd name="T57" fmla="*/ 143 h 215"/>
                <a:gd name="T58" fmla="*/ 195 w 343"/>
                <a:gd name="T59" fmla="*/ 138 h 215"/>
                <a:gd name="T60" fmla="*/ 195 w 343"/>
                <a:gd name="T61" fmla="*/ 128 h 215"/>
                <a:gd name="T62" fmla="*/ 198 w 343"/>
                <a:gd name="T63" fmla="*/ 123 h 215"/>
                <a:gd name="T64" fmla="*/ 205 w 343"/>
                <a:gd name="T65" fmla="*/ 120 h 215"/>
                <a:gd name="T66" fmla="*/ 215 w 343"/>
                <a:gd name="T67" fmla="*/ 113 h 215"/>
                <a:gd name="T68" fmla="*/ 224 w 343"/>
                <a:gd name="T69" fmla="*/ 110 h 215"/>
                <a:gd name="T70" fmla="*/ 235 w 343"/>
                <a:gd name="T71" fmla="*/ 113 h 215"/>
                <a:gd name="T72" fmla="*/ 247 w 343"/>
                <a:gd name="T73" fmla="*/ 111 h 215"/>
                <a:gd name="T74" fmla="*/ 265 w 343"/>
                <a:gd name="T75" fmla="*/ 101 h 215"/>
                <a:gd name="T76" fmla="*/ 286 w 343"/>
                <a:gd name="T77" fmla="*/ 92 h 215"/>
                <a:gd name="T78" fmla="*/ 294 w 343"/>
                <a:gd name="T79" fmla="*/ 85 h 215"/>
                <a:gd name="T80" fmla="*/ 300 w 343"/>
                <a:gd name="T81" fmla="*/ 78 h 215"/>
                <a:gd name="T82" fmla="*/ 308 w 343"/>
                <a:gd name="T83" fmla="*/ 76 h 215"/>
                <a:gd name="T84" fmla="*/ 318 w 343"/>
                <a:gd name="T85" fmla="*/ 77 h 215"/>
                <a:gd name="T86" fmla="*/ 331 w 343"/>
                <a:gd name="T87" fmla="*/ 73 h 215"/>
                <a:gd name="T88" fmla="*/ 339 w 343"/>
                <a:gd name="T89" fmla="*/ 70 h 215"/>
                <a:gd name="T90" fmla="*/ 343 w 343"/>
                <a:gd name="T91" fmla="*/ 61 h 215"/>
                <a:gd name="T92" fmla="*/ 342 w 343"/>
                <a:gd name="T93" fmla="*/ 57 h 215"/>
                <a:gd name="T94" fmla="*/ 336 w 343"/>
                <a:gd name="T95" fmla="*/ 53 h 215"/>
                <a:gd name="T96" fmla="*/ 322 w 343"/>
                <a:gd name="T97" fmla="*/ 47 h 215"/>
                <a:gd name="T98" fmla="*/ 319 w 343"/>
                <a:gd name="T99" fmla="*/ 42 h 215"/>
                <a:gd name="T100" fmla="*/ 321 w 343"/>
                <a:gd name="T101" fmla="*/ 37 h 215"/>
                <a:gd name="T102" fmla="*/ 320 w 343"/>
                <a:gd name="T103" fmla="*/ 35 h 215"/>
                <a:gd name="T104" fmla="*/ 312 w 343"/>
                <a:gd name="T105" fmla="*/ 34 h 215"/>
                <a:gd name="T106" fmla="*/ 306 w 343"/>
                <a:gd name="T107" fmla="*/ 31 h 215"/>
                <a:gd name="T108" fmla="*/ 305 w 343"/>
                <a:gd name="T109" fmla="*/ 24 h 215"/>
                <a:gd name="T110" fmla="*/ 308 w 343"/>
                <a:gd name="T111" fmla="*/ 17 h 215"/>
                <a:gd name="T112" fmla="*/ 311 w 343"/>
                <a:gd name="T113" fmla="*/ 8 h 215"/>
                <a:gd name="T114" fmla="*/ 317 w 343"/>
                <a:gd name="T115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43" h="215">
                  <a:moveTo>
                    <a:pt x="0" y="215"/>
                  </a:moveTo>
                  <a:lnTo>
                    <a:pt x="1" y="215"/>
                  </a:lnTo>
                  <a:lnTo>
                    <a:pt x="1" y="214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12"/>
                  </a:lnTo>
                  <a:lnTo>
                    <a:pt x="4" y="211"/>
                  </a:lnTo>
                  <a:lnTo>
                    <a:pt x="4" y="211"/>
                  </a:lnTo>
                  <a:lnTo>
                    <a:pt x="5" y="210"/>
                  </a:lnTo>
                  <a:lnTo>
                    <a:pt x="6" y="210"/>
                  </a:lnTo>
                  <a:lnTo>
                    <a:pt x="6" y="210"/>
                  </a:lnTo>
                  <a:lnTo>
                    <a:pt x="7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9" y="210"/>
                  </a:lnTo>
                  <a:lnTo>
                    <a:pt x="11" y="210"/>
                  </a:lnTo>
                  <a:lnTo>
                    <a:pt x="12" y="211"/>
                  </a:lnTo>
                  <a:lnTo>
                    <a:pt x="12" y="211"/>
                  </a:lnTo>
                  <a:lnTo>
                    <a:pt x="13" y="211"/>
                  </a:lnTo>
                  <a:lnTo>
                    <a:pt x="15" y="213"/>
                  </a:lnTo>
                  <a:lnTo>
                    <a:pt x="16" y="213"/>
                  </a:lnTo>
                  <a:lnTo>
                    <a:pt x="17" y="214"/>
                  </a:lnTo>
                  <a:lnTo>
                    <a:pt x="17" y="214"/>
                  </a:lnTo>
                  <a:lnTo>
                    <a:pt x="18" y="214"/>
                  </a:lnTo>
                  <a:lnTo>
                    <a:pt x="19" y="214"/>
                  </a:lnTo>
                  <a:lnTo>
                    <a:pt x="20" y="214"/>
                  </a:lnTo>
                  <a:lnTo>
                    <a:pt x="20" y="214"/>
                  </a:lnTo>
                  <a:lnTo>
                    <a:pt x="21" y="214"/>
                  </a:lnTo>
                  <a:lnTo>
                    <a:pt x="22" y="214"/>
                  </a:lnTo>
                  <a:lnTo>
                    <a:pt x="22" y="213"/>
                  </a:lnTo>
                  <a:lnTo>
                    <a:pt x="23" y="213"/>
                  </a:lnTo>
                  <a:lnTo>
                    <a:pt x="23" y="213"/>
                  </a:lnTo>
                  <a:lnTo>
                    <a:pt x="24" y="212"/>
                  </a:lnTo>
                  <a:lnTo>
                    <a:pt x="24" y="212"/>
                  </a:lnTo>
                  <a:lnTo>
                    <a:pt x="24" y="211"/>
                  </a:lnTo>
                  <a:lnTo>
                    <a:pt x="25" y="210"/>
                  </a:lnTo>
                  <a:lnTo>
                    <a:pt x="26" y="207"/>
                  </a:lnTo>
                  <a:lnTo>
                    <a:pt x="26" y="206"/>
                  </a:lnTo>
                  <a:lnTo>
                    <a:pt x="27" y="205"/>
                  </a:lnTo>
                  <a:lnTo>
                    <a:pt x="28" y="204"/>
                  </a:lnTo>
                  <a:lnTo>
                    <a:pt x="28" y="204"/>
                  </a:lnTo>
                  <a:lnTo>
                    <a:pt x="29" y="202"/>
                  </a:lnTo>
                  <a:lnTo>
                    <a:pt x="31" y="201"/>
                  </a:lnTo>
                  <a:lnTo>
                    <a:pt x="32" y="200"/>
                  </a:lnTo>
                  <a:lnTo>
                    <a:pt x="35" y="198"/>
                  </a:lnTo>
                  <a:lnTo>
                    <a:pt x="36" y="197"/>
                  </a:lnTo>
                  <a:lnTo>
                    <a:pt x="37" y="196"/>
                  </a:lnTo>
                  <a:lnTo>
                    <a:pt x="38" y="196"/>
                  </a:lnTo>
                  <a:lnTo>
                    <a:pt x="38" y="195"/>
                  </a:lnTo>
                  <a:lnTo>
                    <a:pt x="39" y="195"/>
                  </a:lnTo>
                  <a:lnTo>
                    <a:pt x="40" y="193"/>
                  </a:lnTo>
                  <a:lnTo>
                    <a:pt x="40" y="192"/>
                  </a:lnTo>
                  <a:lnTo>
                    <a:pt x="41" y="191"/>
                  </a:lnTo>
                  <a:lnTo>
                    <a:pt x="41" y="188"/>
                  </a:lnTo>
                  <a:lnTo>
                    <a:pt x="42" y="187"/>
                  </a:lnTo>
                  <a:lnTo>
                    <a:pt x="42" y="186"/>
                  </a:lnTo>
                  <a:lnTo>
                    <a:pt x="42" y="186"/>
                  </a:lnTo>
                  <a:lnTo>
                    <a:pt x="42" y="186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4" y="185"/>
                  </a:lnTo>
                  <a:lnTo>
                    <a:pt x="45" y="186"/>
                  </a:lnTo>
                  <a:lnTo>
                    <a:pt x="45" y="186"/>
                  </a:lnTo>
                  <a:lnTo>
                    <a:pt x="46" y="186"/>
                  </a:lnTo>
                  <a:lnTo>
                    <a:pt x="46" y="186"/>
                  </a:lnTo>
                  <a:lnTo>
                    <a:pt x="46" y="187"/>
                  </a:lnTo>
                  <a:lnTo>
                    <a:pt x="48" y="188"/>
                  </a:lnTo>
                  <a:lnTo>
                    <a:pt x="49" y="190"/>
                  </a:lnTo>
                  <a:lnTo>
                    <a:pt x="50" y="191"/>
                  </a:lnTo>
                  <a:lnTo>
                    <a:pt x="52" y="195"/>
                  </a:lnTo>
                  <a:lnTo>
                    <a:pt x="53" y="196"/>
                  </a:lnTo>
                  <a:lnTo>
                    <a:pt x="54" y="197"/>
                  </a:lnTo>
                  <a:lnTo>
                    <a:pt x="55" y="198"/>
                  </a:lnTo>
                  <a:lnTo>
                    <a:pt x="55" y="199"/>
                  </a:lnTo>
                  <a:lnTo>
                    <a:pt x="57" y="200"/>
                  </a:lnTo>
                  <a:lnTo>
                    <a:pt x="58" y="201"/>
                  </a:lnTo>
                  <a:lnTo>
                    <a:pt x="59" y="201"/>
                  </a:lnTo>
                  <a:lnTo>
                    <a:pt x="60" y="201"/>
                  </a:lnTo>
                  <a:lnTo>
                    <a:pt x="62" y="202"/>
                  </a:lnTo>
                  <a:lnTo>
                    <a:pt x="64" y="203"/>
                  </a:lnTo>
                  <a:lnTo>
                    <a:pt x="65" y="203"/>
                  </a:lnTo>
                  <a:lnTo>
                    <a:pt x="65" y="203"/>
                  </a:lnTo>
                  <a:lnTo>
                    <a:pt x="66" y="203"/>
                  </a:lnTo>
                  <a:lnTo>
                    <a:pt x="66" y="203"/>
                  </a:lnTo>
                  <a:lnTo>
                    <a:pt x="67" y="203"/>
                  </a:lnTo>
                  <a:lnTo>
                    <a:pt x="67" y="203"/>
                  </a:lnTo>
                  <a:lnTo>
                    <a:pt x="68" y="203"/>
                  </a:lnTo>
                  <a:lnTo>
                    <a:pt x="69" y="202"/>
                  </a:lnTo>
                  <a:lnTo>
                    <a:pt x="69" y="202"/>
                  </a:lnTo>
                  <a:lnTo>
                    <a:pt x="70" y="201"/>
                  </a:lnTo>
                  <a:lnTo>
                    <a:pt x="71" y="201"/>
                  </a:lnTo>
                  <a:lnTo>
                    <a:pt x="72" y="199"/>
                  </a:lnTo>
                  <a:lnTo>
                    <a:pt x="76" y="196"/>
                  </a:lnTo>
                  <a:lnTo>
                    <a:pt x="79" y="193"/>
                  </a:lnTo>
                  <a:lnTo>
                    <a:pt x="82" y="190"/>
                  </a:lnTo>
                  <a:lnTo>
                    <a:pt x="83" y="189"/>
                  </a:lnTo>
                  <a:lnTo>
                    <a:pt x="83" y="188"/>
                  </a:lnTo>
                  <a:lnTo>
                    <a:pt x="84" y="188"/>
                  </a:lnTo>
                  <a:lnTo>
                    <a:pt x="84" y="187"/>
                  </a:lnTo>
                  <a:lnTo>
                    <a:pt x="84" y="186"/>
                  </a:lnTo>
                  <a:lnTo>
                    <a:pt x="84" y="185"/>
                  </a:lnTo>
                  <a:lnTo>
                    <a:pt x="84" y="183"/>
                  </a:lnTo>
                  <a:lnTo>
                    <a:pt x="84" y="182"/>
                  </a:lnTo>
                  <a:lnTo>
                    <a:pt x="85" y="181"/>
                  </a:lnTo>
                  <a:lnTo>
                    <a:pt x="85" y="181"/>
                  </a:lnTo>
                  <a:lnTo>
                    <a:pt x="85" y="180"/>
                  </a:lnTo>
                  <a:lnTo>
                    <a:pt x="86" y="179"/>
                  </a:lnTo>
                  <a:lnTo>
                    <a:pt x="87" y="177"/>
                  </a:lnTo>
                  <a:lnTo>
                    <a:pt x="88" y="175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3"/>
                  </a:lnTo>
                  <a:lnTo>
                    <a:pt x="89" y="172"/>
                  </a:lnTo>
                  <a:lnTo>
                    <a:pt x="90" y="171"/>
                  </a:lnTo>
                  <a:lnTo>
                    <a:pt x="90" y="170"/>
                  </a:lnTo>
                  <a:lnTo>
                    <a:pt x="90" y="170"/>
                  </a:lnTo>
                  <a:lnTo>
                    <a:pt x="90" y="168"/>
                  </a:lnTo>
                  <a:lnTo>
                    <a:pt x="90" y="166"/>
                  </a:lnTo>
                  <a:lnTo>
                    <a:pt x="89" y="163"/>
                  </a:lnTo>
                  <a:lnTo>
                    <a:pt x="89" y="162"/>
                  </a:lnTo>
                  <a:lnTo>
                    <a:pt x="89" y="161"/>
                  </a:lnTo>
                  <a:lnTo>
                    <a:pt x="89" y="160"/>
                  </a:lnTo>
                  <a:lnTo>
                    <a:pt x="89" y="160"/>
                  </a:lnTo>
                  <a:lnTo>
                    <a:pt x="90" y="159"/>
                  </a:lnTo>
                  <a:lnTo>
                    <a:pt x="90" y="159"/>
                  </a:lnTo>
                  <a:lnTo>
                    <a:pt x="91" y="158"/>
                  </a:lnTo>
                  <a:lnTo>
                    <a:pt x="91" y="157"/>
                  </a:lnTo>
                  <a:lnTo>
                    <a:pt x="92" y="157"/>
                  </a:lnTo>
                  <a:lnTo>
                    <a:pt x="92" y="157"/>
                  </a:lnTo>
                  <a:lnTo>
                    <a:pt x="93" y="156"/>
                  </a:lnTo>
                  <a:lnTo>
                    <a:pt x="94" y="156"/>
                  </a:lnTo>
                  <a:lnTo>
                    <a:pt x="95" y="156"/>
                  </a:lnTo>
                  <a:lnTo>
                    <a:pt x="96" y="155"/>
                  </a:lnTo>
                  <a:lnTo>
                    <a:pt x="97" y="155"/>
                  </a:lnTo>
                  <a:lnTo>
                    <a:pt x="98" y="155"/>
                  </a:lnTo>
                  <a:lnTo>
                    <a:pt x="100" y="155"/>
                  </a:lnTo>
                  <a:lnTo>
                    <a:pt x="105" y="155"/>
                  </a:lnTo>
                  <a:lnTo>
                    <a:pt x="107" y="155"/>
                  </a:lnTo>
                  <a:lnTo>
                    <a:pt x="109" y="155"/>
                  </a:lnTo>
                  <a:lnTo>
                    <a:pt x="110" y="154"/>
                  </a:lnTo>
                  <a:lnTo>
                    <a:pt x="112" y="154"/>
                  </a:lnTo>
                  <a:lnTo>
                    <a:pt x="113" y="153"/>
                  </a:lnTo>
                  <a:lnTo>
                    <a:pt x="114" y="153"/>
                  </a:lnTo>
                  <a:lnTo>
                    <a:pt x="115" y="152"/>
                  </a:lnTo>
                  <a:lnTo>
                    <a:pt x="117" y="151"/>
                  </a:lnTo>
                  <a:lnTo>
                    <a:pt x="118" y="151"/>
                  </a:lnTo>
                  <a:lnTo>
                    <a:pt x="119" y="150"/>
                  </a:lnTo>
                  <a:lnTo>
                    <a:pt x="121" y="149"/>
                  </a:lnTo>
                  <a:lnTo>
                    <a:pt x="122" y="149"/>
                  </a:lnTo>
                  <a:lnTo>
                    <a:pt x="123" y="148"/>
                  </a:lnTo>
                  <a:lnTo>
                    <a:pt x="124" y="148"/>
                  </a:lnTo>
                  <a:lnTo>
                    <a:pt x="125" y="148"/>
                  </a:lnTo>
                  <a:lnTo>
                    <a:pt x="126" y="148"/>
                  </a:lnTo>
                  <a:lnTo>
                    <a:pt x="127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9" y="149"/>
                  </a:lnTo>
                  <a:lnTo>
                    <a:pt x="130" y="149"/>
                  </a:lnTo>
                  <a:lnTo>
                    <a:pt x="133" y="151"/>
                  </a:lnTo>
                  <a:lnTo>
                    <a:pt x="135" y="151"/>
                  </a:lnTo>
                  <a:lnTo>
                    <a:pt x="136" y="151"/>
                  </a:lnTo>
                  <a:lnTo>
                    <a:pt x="136" y="152"/>
                  </a:lnTo>
                  <a:lnTo>
                    <a:pt x="137" y="152"/>
                  </a:lnTo>
                  <a:lnTo>
                    <a:pt x="138" y="152"/>
                  </a:lnTo>
                  <a:lnTo>
                    <a:pt x="138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40" y="151"/>
                  </a:lnTo>
                  <a:lnTo>
                    <a:pt x="141" y="151"/>
                  </a:lnTo>
                  <a:lnTo>
                    <a:pt x="142" y="150"/>
                  </a:lnTo>
                  <a:lnTo>
                    <a:pt x="144" y="149"/>
                  </a:lnTo>
                  <a:lnTo>
                    <a:pt x="145" y="149"/>
                  </a:lnTo>
                  <a:lnTo>
                    <a:pt x="146" y="148"/>
                  </a:lnTo>
                  <a:lnTo>
                    <a:pt x="147" y="148"/>
                  </a:lnTo>
                  <a:lnTo>
                    <a:pt x="151" y="148"/>
                  </a:lnTo>
                  <a:lnTo>
                    <a:pt x="155" y="147"/>
                  </a:lnTo>
                  <a:lnTo>
                    <a:pt x="156" y="147"/>
                  </a:lnTo>
                  <a:lnTo>
                    <a:pt x="157" y="147"/>
                  </a:lnTo>
                  <a:lnTo>
                    <a:pt x="160" y="147"/>
                  </a:lnTo>
                  <a:lnTo>
                    <a:pt x="161" y="147"/>
                  </a:lnTo>
                  <a:lnTo>
                    <a:pt x="163" y="147"/>
                  </a:lnTo>
                  <a:lnTo>
                    <a:pt x="165" y="147"/>
                  </a:lnTo>
                  <a:lnTo>
                    <a:pt x="167" y="147"/>
                  </a:lnTo>
                  <a:lnTo>
                    <a:pt x="168" y="147"/>
                  </a:lnTo>
                  <a:lnTo>
                    <a:pt x="169" y="148"/>
                  </a:lnTo>
                  <a:lnTo>
                    <a:pt x="172" y="149"/>
                  </a:lnTo>
                  <a:lnTo>
                    <a:pt x="173" y="149"/>
                  </a:lnTo>
                  <a:lnTo>
                    <a:pt x="174" y="149"/>
                  </a:lnTo>
                  <a:lnTo>
                    <a:pt x="176" y="150"/>
                  </a:lnTo>
                  <a:lnTo>
                    <a:pt x="177" y="150"/>
                  </a:lnTo>
                  <a:lnTo>
                    <a:pt x="179" y="150"/>
                  </a:lnTo>
                  <a:lnTo>
                    <a:pt x="180" y="149"/>
                  </a:lnTo>
                  <a:lnTo>
                    <a:pt x="181" y="149"/>
                  </a:lnTo>
                  <a:lnTo>
                    <a:pt x="182" y="149"/>
                  </a:lnTo>
                  <a:lnTo>
                    <a:pt x="183" y="148"/>
                  </a:lnTo>
                  <a:lnTo>
                    <a:pt x="184" y="147"/>
                  </a:lnTo>
                  <a:lnTo>
                    <a:pt x="186" y="146"/>
                  </a:lnTo>
                  <a:lnTo>
                    <a:pt x="187" y="145"/>
                  </a:lnTo>
                  <a:lnTo>
                    <a:pt x="188" y="145"/>
                  </a:lnTo>
                  <a:lnTo>
                    <a:pt x="191" y="144"/>
                  </a:lnTo>
                  <a:lnTo>
                    <a:pt x="191" y="143"/>
                  </a:lnTo>
                  <a:lnTo>
                    <a:pt x="192" y="143"/>
                  </a:lnTo>
                  <a:lnTo>
                    <a:pt x="192" y="143"/>
                  </a:lnTo>
                  <a:lnTo>
                    <a:pt x="193" y="142"/>
                  </a:lnTo>
                  <a:lnTo>
                    <a:pt x="194" y="142"/>
                  </a:lnTo>
                  <a:lnTo>
                    <a:pt x="194" y="141"/>
                  </a:lnTo>
                  <a:lnTo>
                    <a:pt x="195" y="140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6"/>
                  </a:lnTo>
                  <a:lnTo>
                    <a:pt x="195" y="133"/>
                  </a:lnTo>
                  <a:lnTo>
                    <a:pt x="195" y="132"/>
                  </a:lnTo>
                  <a:lnTo>
                    <a:pt x="195" y="130"/>
                  </a:lnTo>
                  <a:lnTo>
                    <a:pt x="195" y="129"/>
                  </a:lnTo>
                  <a:lnTo>
                    <a:pt x="195" y="128"/>
                  </a:lnTo>
                  <a:lnTo>
                    <a:pt x="196" y="127"/>
                  </a:lnTo>
                  <a:lnTo>
                    <a:pt x="196" y="126"/>
                  </a:lnTo>
                  <a:lnTo>
                    <a:pt x="196" y="125"/>
                  </a:lnTo>
                  <a:lnTo>
                    <a:pt x="197" y="124"/>
                  </a:lnTo>
                  <a:lnTo>
                    <a:pt x="197" y="124"/>
                  </a:lnTo>
                  <a:lnTo>
                    <a:pt x="197" y="123"/>
                  </a:lnTo>
                  <a:lnTo>
                    <a:pt x="198" y="123"/>
                  </a:lnTo>
                  <a:lnTo>
                    <a:pt x="198" y="122"/>
                  </a:lnTo>
                  <a:lnTo>
                    <a:pt x="199" y="122"/>
                  </a:lnTo>
                  <a:lnTo>
                    <a:pt x="199" y="122"/>
                  </a:lnTo>
                  <a:lnTo>
                    <a:pt x="200" y="121"/>
                  </a:lnTo>
                  <a:lnTo>
                    <a:pt x="201" y="121"/>
                  </a:lnTo>
                  <a:lnTo>
                    <a:pt x="204" y="120"/>
                  </a:lnTo>
                  <a:lnTo>
                    <a:pt x="205" y="120"/>
                  </a:lnTo>
                  <a:lnTo>
                    <a:pt x="207" y="119"/>
                  </a:lnTo>
                  <a:lnTo>
                    <a:pt x="208" y="119"/>
                  </a:lnTo>
                  <a:lnTo>
                    <a:pt x="210" y="118"/>
                  </a:lnTo>
                  <a:lnTo>
                    <a:pt x="211" y="117"/>
                  </a:lnTo>
                  <a:lnTo>
                    <a:pt x="212" y="116"/>
                  </a:lnTo>
                  <a:lnTo>
                    <a:pt x="214" y="114"/>
                  </a:lnTo>
                  <a:lnTo>
                    <a:pt x="215" y="113"/>
                  </a:lnTo>
                  <a:lnTo>
                    <a:pt x="216" y="113"/>
                  </a:lnTo>
                  <a:lnTo>
                    <a:pt x="218" y="112"/>
                  </a:lnTo>
                  <a:lnTo>
                    <a:pt x="219" y="111"/>
                  </a:lnTo>
                  <a:lnTo>
                    <a:pt x="221" y="110"/>
                  </a:lnTo>
                  <a:lnTo>
                    <a:pt x="222" y="110"/>
                  </a:lnTo>
                  <a:lnTo>
                    <a:pt x="223" y="110"/>
                  </a:lnTo>
                  <a:lnTo>
                    <a:pt x="224" y="110"/>
                  </a:lnTo>
                  <a:lnTo>
                    <a:pt x="225" y="110"/>
                  </a:lnTo>
                  <a:lnTo>
                    <a:pt x="226" y="110"/>
                  </a:lnTo>
                  <a:lnTo>
                    <a:pt x="227" y="110"/>
                  </a:lnTo>
                  <a:lnTo>
                    <a:pt x="229" y="111"/>
                  </a:lnTo>
                  <a:lnTo>
                    <a:pt x="232" y="112"/>
                  </a:lnTo>
                  <a:lnTo>
                    <a:pt x="234" y="113"/>
                  </a:lnTo>
                  <a:lnTo>
                    <a:pt x="235" y="113"/>
                  </a:lnTo>
                  <a:lnTo>
                    <a:pt x="236" y="113"/>
                  </a:lnTo>
                  <a:lnTo>
                    <a:pt x="237" y="113"/>
                  </a:lnTo>
                  <a:lnTo>
                    <a:pt x="240" y="112"/>
                  </a:lnTo>
                  <a:lnTo>
                    <a:pt x="244" y="112"/>
                  </a:lnTo>
                  <a:lnTo>
                    <a:pt x="244" y="111"/>
                  </a:lnTo>
                  <a:lnTo>
                    <a:pt x="245" y="111"/>
                  </a:lnTo>
                  <a:lnTo>
                    <a:pt x="247" y="111"/>
                  </a:lnTo>
                  <a:lnTo>
                    <a:pt x="248" y="110"/>
                  </a:lnTo>
                  <a:lnTo>
                    <a:pt x="249" y="109"/>
                  </a:lnTo>
                  <a:lnTo>
                    <a:pt x="252" y="107"/>
                  </a:lnTo>
                  <a:lnTo>
                    <a:pt x="253" y="106"/>
                  </a:lnTo>
                  <a:lnTo>
                    <a:pt x="255" y="105"/>
                  </a:lnTo>
                  <a:lnTo>
                    <a:pt x="258" y="104"/>
                  </a:lnTo>
                  <a:lnTo>
                    <a:pt x="265" y="101"/>
                  </a:lnTo>
                  <a:lnTo>
                    <a:pt x="270" y="98"/>
                  </a:lnTo>
                  <a:lnTo>
                    <a:pt x="273" y="97"/>
                  </a:lnTo>
                  <a:lnTo>
                    <a:pt x="275" y="96"/>
                  </a:lnTo>
                  <a:lnTo>
                    <a:pt x="281" y="94"/>
                  </a:lnTo>
                  <a:lnTo>
                    <a:pt x="283" y="94"/>
                  </a:lnTo>
                  <a:lnTo>
                    <a:pt x="285" y="93"/>
                  </a:lnTo>
                  <a:lnTo>
                    <a:pt x="286" y="92"/>
                  </a:lnTo>
                  <a:lnTo>
                    <a:pt x="287" y="92"/>
                  </a:lnTo>
                  <a:lnTo>
                    <a:pt x="288" y="91"/>
                  </a:lnTo>
                  <a:lnTo>
                    <a:pt x="290" y="89"/>
                  </a:lnTo>
                  <a:lnTo>
                    <a:pt x="291" y="88"/>
                  </a:lnTo>
                  <a:lnTo>
                    <a:pt x="292" y="87"/>
                  </a:lnTo>
                  <a:lnTo>
                    <a:pt x="293" y="86"/>
                  </a:lnTo>
                  <a:lnTo>
                    <a:pt x="294" y="85"/>
                  </a:lnTo>
                  <a:lnTo>
                    <a:pt x="295" y="84"/>
                  </a:lnTo>
                  <a:lnTo>
                    <a:pt x="297" y="81"/>
                  </a:lnTo>
                  <a:lnTo>
                    <a:pt x="297" y="80"/>
                  </a:lnTo>
                  <a:lnTo>
                    <a:pt x="297" y="79"/>
                  </a:lnTo>
                  <a:lnTo>
                    <a:pt x="298" y="79"/>
                  </a:lnTo>
                  <a:lnTo>
                    <a:pt x="299" y="78"/>
                  </a:lnTo>
                  <a:lnTo>
                    <a:pt x="300" y="78"/>
                  </a:lnTo>
                  <a:lnTo>
                    <a:pt x="301" y="77"/>
                  </a:lnTo>
                  <a:lnTo>
                    <a:pt x="302" y="76"/>
                  </a:lnTo>
                  <a:lnTo>
                    <a:pt x="304" y="76"/>
                  </a:lnTo>
                  <a:lnTo>
                    <a:pt x="305" y="76"/>
                  </a:lnTo>
                  <a:lnTo>
                    <a:pt x="306" y="76"/>
                  </a:lnTo>
                  <a:lnTo>
                    <a:pt x="307" y="76"/>
                  </a:lnTo>
                  <a:lnTo>
                    <a:pt x="308" y="76"/>
                  </a:lnTo>
                  <a:lnTo>
                    <a:pt x="310" y="76"/>
                  </a:lnTo>
                  <a:lnTo>
                    <a:pt x="312" y="77"/>
                  </a:lnTo>
                  <a:lnTo>
                    <a:pt x="314" y="77"/>
                  </a:lnTo>
                  <a:lnTo>
                    <a:pt x="315" y="77"/>
                  </a:lnTo>
                  <a:lnTo>
                    <a:pt x="316" y="77"/>
                  </a:lnTo>
                  <a:lnTo>
                    <a:pt x="317" y="77"/>
                  </a:lnTo>
                  <a:lnTo>
                    <a:pt x="318" y="77"/>
                  </a:lnTo>
                  <a:lnTo>
                    <a:pt x="320" y="77"/>
                  </a:lnTo>
                  <a:lnTo>
                    <a:pt x="323" y="76"/>
                  </a:lnTo>
                  <a:lnTo>
                    <a:pt x="324" y="76"/>
                  </a:lnTo>
                  <a:lnTo>
                    <a:pt x="325" y="75"/>
                  </a:lnTo>
                  <a:lnTo>
                    <a:pt x="327" y="75"/>
                  </a:lnTo>
                  <a:lnTo>
                    <a:pt x="330" y="74"/>
                  </a:lnTo>
                  <a:lnTo>
                    <a:pt x="331" y="73"/>
                  </a:lnTo>
                  <a:lnTo>
                    <a:pt x="332" y="73"/>
                  </a:lnTo>
                  <a:lnTo>
                    <a:pt x="335" y="72"/>
                  </a:lnTo>
                  <a:lnTo>
                    <a:pt x="336" y="72"/>
                  </a:lnTo>
                  <a:lnTo>
                    <a:pt x="337" y="72"/>
                  </a:lnTo>
                  <a:lnTo>
                    <a:pt x="338" y="71"/>
                  </a:lnTo>
                  <a:lnTo>
                    <a:pt x="338" y="71"/>
                  </a:lnTo>
                  <a:lnTo>
                    <a:pt x="339" y="70"/>
                  </a:lnTo>
                  <a:lnTo>
                    <a:pt x="339" y="70"/>
                  </a:lnTo>
                  <a:lnTo>
                    <a:pt x="340" y="69"/>
                  </a:lnTo>
                  <a:lnTo>
                    <a:pt x="340" y="69"/>
                  </a:lnTo>
                  <a:lnTo>
                    <a:pt x="341" y="68"/>
                  </a:lnTo>
                  <a:lnTo>
                    <a:pt x="341" y="65"/>
                  </a:lnTo>
                  <a:lnTo>
                    <a:pt x="342" y="63"/>
                  </a:lnTo>
                  <a:lnTo>
                    <a:pt x="343" y="61"/>
                  </a:lnTo>
                  <a:lnTo>
                    <a:pt x="343" y="60"/>
                  </a:lnTo>
                  <a:lnTo>
                    <a:pt x="343" y="60"/>
                  </a:lnTo>
                  <a:lnTo>
                    <a:pt x="343" y="59"/>
                  </a:lnTo>
                  <a:lnTo>
                    <a:pt x="343" y="58"/>
                  </a:lnTo>
                  <a:lnTo>
                    <a:pt x="343" y="58"/>
                  </a:lnTo>
                  <a:lnTo>
                    <a:pt x="343" y="57"/>
                  </a:lnTo>
                  <a:lnTo>
                    <a:pt x="342" y="57"/>
                  </a:lnTo>
                  <a:lnTo>
                    <a:pt x="342" y="56"/>
                  </a:lnTo>
                  <a:lnTo>
                    <a:pt x="341" y="55"/>
                  </a:lnTo>
                  <a:lnTo>
                    <a:pt x="341" y="55"/>
                  </a:lnTo>
                  <a:lnTo>
                    <a:pt x="340" y="55"/>
                  </a:lnTo>
                  <a:lnTo>
                    <a:pt x="339" y="54"/>
                  </a:lnTo>
                  <a:lnTo>
                    <a:pt x="338" y="54"/>
                  </a:lnTo>
                  <a:lnTo>
                    <a:pt x="336" y="53"/>
                  </a:lnTo>
                  <a:lnTo>
                    <a:pt x="332" y="51"/>
                  </a:lnTo>
                  <a:lnTo>
                    <a:pt x="330" y="50"/>
                  </a:lnTo>
                  <a:lnTo>
                    <a:pt x="325" y="49"/>
                  </a:lnTo>
                  <a:lnTo>
                    <a:pt x="324" y="48"/>
                  </a:lnTo>
                  <a:lnTo>
                    <a:pt x="323" y="48"/>
                  </a:lnTo>
                  <a:lnTo>
                    <a:pt x="322" y="47"/>
                  </a:lnTo>
                  <a:lnTo>
                    <a:pt x="322" y="47"/>
                  </a:lnTo>
                  <a:lnTo>
                    <a:pt x="321" y="46"/>
                  </a:lnTo>
                  <a:lnTo>
                    <a:pt x="321" y="46"/>
                  </a:lnTo>
                  <a:lnTo>
                    <a:pt x="321" y="45"/>
                  </a:lnTo>
                  <a:lnTo>
                    <a:pt x="320" y="45"/>
                  </a:lnTo>
                  <a:lnTo>
                    <a:pt x="320" y="44"/>
                  </a:lnTo>
                  <a:lnTo>
                    <a:pt x="319" y="43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19" y="41"/>
                  </a:lnTo>
                  <a:lnTo>
                    <a:pt x="319" y="41"/>
                  </a:lnTo>
                  <a:lnTo>
                    <a:pt x="319" y="40"/>
                  </a:lnTo>
                  <a:lnTo>
                    <a:pt x="319" y="40"/>
                  </a:lnTo>
                  <a:lnTo>
                    <a:pt x="320" y="39"/>
                  </a:lnTo>
                  <a:lnTo>
                    <a:pt x="321" y="37"/>
                  </a:lnTo>
                  <a:lnTo>
                    <a:pt x="321" y="37"/>
                  </a:lnTo>
                  <a:lnTo>
                    <a:pt x="321" y="37"/>
                  </a:lnTo>
                  <a:lnTo>
                    <a:pt x="321" y="36"/>
                  </a:lnTo>
                  <a:lnTo>
                    <a:pt x="321" y="36"/>
                  </a:lnTo>
                  <a:lnTo>
                    <a:pt x="321" y="35"/>
                  </a:lnTo>
                  <a:lnTo>
                    <a:pt x="320" y="35"/>
                  </a:lnTo>
                  <a:lnTo>
                    <a:pt x="320" y="35"/>
                  </a:lnTo>
                  <a:lnTo>
                    <a:pt x="320" y="34"/>
                  </a:lnTo>
                  <a:lnTo>
                    <a:pt x="319" y="34"/>
                  </a:lnTo>
                  <a:lnTo>
                    <a:pt x="318" y="34"/>
                  </a:lnTo>
                  <a:lnTo>
                    <a:pt x="317" y="34"/>
                  </a:lnTo>
                  <a:lnTo>
                    <a:pt x="314" y="34"/>
                  </a:lnTo>
                  <a:lnTo>
                    <a:pt x="313" y="34"/>
                  </a:lnTo>
                  <a:lnTo>
                    <a:pt x="312" y="34"/>
                  </a:lnTo>
                  <a:lnTo>
                    <a:pt x="311" y="34"/>
                  </a:lnTo>
                  <a:lnTo>
                    <a:pt x="310" y="33"/>
                  </a:lnTo>
                  <a:lnTo>
                    <a:pt x="309" y="33"/>
                  </a:lnTo>
                  <a:lnTo>
                    <a:pt x="308" y="32"/>
                  </a:lnTo>
                  <a:lnTo>
                    <a:pt x="307" y="32"/>
                  </a:lnTo>
                  <a:lnTo>
                    <a:pt x="307" y="31"/>
                  </a:lnTo>
                  <a:lnTo>
                    <a:pt x="306" y="31"/>
                  </a:lnTo>
                  <a:lnTo>
                    <a:pt x="306" y="30"/>
                  </a:lnTo>
                  <a:lnTo>
                    <a:pt x="306" y="30"/>
                  </a:lnTo>
                  <a:lnTo>
                    <a:pt x="305" y="29"/>
                  </a:lnTo>
                  <a:lnTo>
                    <a:pt x="305" y="28"/>
                  </a:lnTo>
                  <a:lnTo>
                    <a:pt x="305" y="28"/>
                  </a:lnTo>
                  <a:lnTo>
                    <a:pt x="305" y="27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3"/>
                  </a:lnTo>
                  <a:lnTo>
                    <a:pt x="306" y="22"/>
                  </a:lnTo>
                  <a:lnTo>
                    <a:pt x="306" y="21"/>
                  </a:lnTo>
                  <a:lnTo>
                    <a:pt x="307" y="19"/>
                  </a:lnTo>
                  <a:lnTo>
                    <a:pt x="308" y="18"/>
                  </a:lnTo>
                  <a:lnTo>
                    <a:pt x="308" y="17"/>
                  </a:lnTo>
                  <a:lnTo>
                    <a:pt x="309" y="16"/>
                  </a:lnTo>
                  <a:lnTo>
                    <a:pt x="309" y="14"/>
                  </a:lnTo>
                  <a:lnTo>
                    <a:pt x="309" y="13"/>
                  </a:lnTo>
                  <a:lnTo>
                    <a:pt x="310" y="12"/>
                  </a:lnTo>
                  <a:lnTo>
                    <a:pt x="310" y="9"/>
                  </a:lnTo>
                  <a:lnTo>
                    <a:pt x="311" y="8"/>
                  </a:lnTo>
                  <a:lnTo>
                    <a:pt x="311" y="8"/>
                  </a:lnTo>
                  <a:lnTo>
                    <a:pt x="311" y="7"/>
                  </a:lnTo>
                  <a:lnTo>
                    <a:pt x="311" y="6"/>
                  </a:lnTo>
                  <a:lnTo>
                    <a:pt x="312" y="5"/>
                  </a:lnTo>
                  <a:lnTo>
                    <a:pt x="315" y="1"/>
                  </a:lnTo>
                  <a:lnTo>
                    <a:pt x="316" y="0"/>
                  </a:lnTo>
                  <a:lnTo>
                    <a:pt x="317" y="0"/>
                  </a:lnTo>
                  <a:lnTo>
                    <a:pt x="317" y="0"/>
                  </a:lnTo>
                  <a:lnTo>
                    <a:pt x="317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Freeform 21">
              <a:extLst>
                <a:ext uri="{FF2B5EF4-FFF2-40B4-BE49-F238E27FC236}">
                  <a16:creationId xmlns:a16="http://schemas.microsoft.com/office/drawing/2014/main" id="{E418D4A3-BC1C-E6CF-D081-114FB820D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0" y="2882"/>
              <a:ext cx="376" cy="252"/>
            </a:xfrm>
            <a:custGeom>
              <a:avLst/>
              <a:gdLst>
                <a:gd name="T0" fmla="*/ 210 w 376"/>
                <a:gd name="T1" fmla="*/ 2 h 252"/>
                <a:gd name="T2" fmla="*/ 222 w 376"/>
                <a:gd name="T3" fmla="*/ 11 h 252"/>
                <a:gd name="T4" fmla="*/ 231 w 376"/>
                <a:gd name="T5" fmla="*/ 11 h 252"/>
                <a:gd name="T6" fmla="*/ 240 w 376"/>
                <a:gd name="T7" fmla="*/ 5 h 252"/>
                <a:gd name="T8" fmla="*/ 247 w 376"/>
                <a:gd name="T9" fmla="*/ 16 h 252"/>
                <a:gd name="T10" fmla="*/ 261 w 376"/>
                <a:gd name="T11" fmla="*/ 14 h 252"/>
                <a:gd name="T12" fmla="*/ 274 w 376"/>
                <a:gd name="T13" fmla="*/ 32 h 252"/>
                <a:gd name="T14" fmla="*/ 272 w 376"/>
                <a:gd name="T15" fmla="*/ 55 h 252"/>
                <a:gd name="T16" fmla="*/ 285 w 376"/>
                <a:gd name="T17" fmla="*/ 74 h 252"/>
                <a:gd name="T18" fmla="*/ 300 w 376"/>
                <a:gd name="T19" fmla="*/ 94 h 252"/>
                <a:gd name="T20" fmla="*/ 305 w 376"/>
                <a:gd name="T21" fmla="*/ 111 h 252"/>
                <a:gd name="T22" fmla="*/ 318 w 376"/>
                <a:gd name="T23" fmla="*/ 101 h 252"/>
                <a:gd name="T24" fmla="*/ 342 w 376"/>
                <a:gd name="T25" fmla="*/ 109 h 252"/>
                <a:gd name="T26" fmla="*/ 353 w 376"/>
                <a:gd name="T27" fmla="*/ 122 h 252"/>
                <a:gd name="T28" fmla="*/ 358 w 376"/>
                <a:gd name="T29" fmla="*/ 156 h 252"/>
                <a:gd name="T30" fmla="*/ 363 w 376"/>
                <a:gd name="T31" fmla="*/ 183 h 252"/>
                <a:gd name="T32" fmla="*/ 363 w 376"/>
                <a:gd name="T33" fmla="*/ 202 h 252"/>
                <a:gd name="T34" fmla="*/ 376 w 376"/>
                <a:gd name="T35" fmla="*/ 226 h 252"/>
                <a:gd name="T36" fmla="*/ 365 w 376"/>
                <a:gd name="T37" fmla="*/ 232 h 252"/>
                <a:gd name="T38" fmla="*/ 348 w 376"/>
                <a:gd name="T39" fmla="*/ 233 h 252"/>
                <a:gd name="T40" fmla="*/ 334 w 376"/>
                <a:gd name="T41" fmla="*/ 222 h 252"/>
                <a:gd name="T42" fmla="*/ 322 w 376"/>
                <a:gd name="T43" fmla="*/ 233 h 252"/>
                <a:gd name="T44" fmla="*/ 318 w 376"/>
                <a:gd name="T45" fmla="*/ 247 h 252"/>
                <a:gd name="T46" fmla="*/ 306 w 376"/>
                <a:gd name="T47" fmla="*/ 247 h 252"/>
                <a:gd name="T48" fmla="*/ 299 w 376"/>
                <a:gd name="T49" fmla="*/ 241 h 252"/>
                <a:gd name="T50" fmla="*/ 278 w 376"/>
                <a:gd name="T51" fmla="*/ 232 h 252"/>
                <a:gd name="T52" fmla="*/ 265 w 376"/>
                <a:gd name="T53" fmla="*/ 236 h 252"/>
                <a:gd name="T54" fmla="*/ 250 w 376"/>
                <a:gd name="T55" fmla="*/ 240 h 252"/>
                <a:gd name="T56" fmla="*/ 227 w 376"/>
                <a:gd name="T57" fmla="*/ 227 h 252"/>
                <a:gd name="T58" fmla="*/ 213 w 376"/>
                <a:gd name="T59" fmla="*/ 213 h 252"/>
                <a:gd name="T60" fmla="*/ 192 w 376"/>
                <a:gd name="T61" fmla="*/ 196 h 252"/>
                <a:gd name="T62" fmla="*/ 181 w 376"/>
                <a:gd name="T63" fmla="*/ 197 h 252"/>
                <a:gd name="T64" fmla="*/ 168 w 376"/>
                <a:gd name="T65" fmla="*/ 187 h 252"/>
                <a:gd name="T66" fmla="*/ 162 w 376"/>
                <a:gd name="T67" fmla="*/ 201 h 252"/>
                <a:gd name="T68" fmla="*/ 149 w 376"/>
                <a:gd name="T69" fmla="*/ 211 h 252"/>
                <a:gd name="T70" fmla="*/ 141 w 376"/>
                <a:gd name="T71" fmla="*/ 220 h 252"/>
                <a:gd name="T72" fmla="*/ 121 w 376"/>
                <a:gd name="T73" fmla="*/ 218 h 252"/>
                <a:gd name="T74" fmla="*/ 113 w 376"/>
                <a:gd name="T75" fmla="*/ 234 h 252"/>
                <a:gd name="T76" fmla="*/ 97 w 376"/>
                <a:gd name="T77" fmla="*/ 248 h 252"/>
                <a:gd name="T78" fmla="*/ 74 w 376"/>
                <a:gd name="T79" fmla="*/ 252 h 252"/>
                <a:gd name="T80" fmla="*/ 67 w 376"/>
                <a:gd name="T81" fmla="*/ 241 h 252"/>
                <a:gd name="T82" fmla="*/ 57 w 376"/>
                <a:gd name="T83" fmla="*/ 240 h 252"/>
                <a:gd name="T84" fmla="*/ 44 w 376"/>
                <a:gd name="T85" fmla="*/ 241 h 252"/>
                <a:gd name="T86" fmla="*/ 38 w 376"/>
                <a:gd name="T87" fmla="*/ 234 h 252"/>
                <a:gd name="T88" fmla="*/ 21 w 376"/>
                <a:gd name="T89" fmla="*/ 214 h 252"/>
                <a:gd name="T90" fmla="*/ 6 w 376"/>
                <a:gd name="T91" fmla="*/ 183 h 252"/>
                <a:gd name="T92" fmla="*/ 0 w 376"/>
                <a:gd name="T93" fmla="*/ 163 h 252"/>
                <a:gd name="T94" fmla="*/ 8 w 376"/>
                <a:gd name="T95" fmla="*/ 144 h 252"/>
                <a:gd name="T96" fmla="*/ 21 w 376"/>
                <a:gd name="T97" fmla="*/ 131 h 252"/>
                <a:gd name="T98" fmla="*/ 26 w 376"/>
                <a:gd name="T99" fmla="*/ 117 h 252"/>
                <a:gd name="T100" fmla="*/ 31 w 376"/>
                <a:gd name="T101" fmla="*/ 98 h 252"/>
                <a:gd name="T102" fmla="*/ 45 w 376"/>
                <a:gd name="T103" fmla="*/ 99 h 252"/>
                <a:gd name="T104" fmla="*/ 60 w 376"/>
                <a:gd name="T105" fmla="*/ 102 h 252"/>
                <a:gd name="T106" fmla="*/ 69 w 376"/>
                <a:gd name="T107" fmla="*/ 85 h 252"/>
                <a:gd name="T108" fmla="*/ 92 w 376"/>
                <a:gd name="T109" fmla="*/ 80 h 252"/>
                <a:gd name="T110" fmla="*/ 117 w 376"/>
                <a:gd name="T111" fmla="*/ 91 h 252"/>
                <a:gd name="T112" fmla="*/ 134 w 376"/>
                <a:gd name="T113" fmla="*/ 86 h 252"/>
                <a:gd name="T114" fmla="*/ 153 w 376"/>
                <a:gd name="T115" fmla="*/ 69 h 252"/>
                <a:gd name="T116" fmla="*/ 179 w 376"/>
                <a:gd name="T117" fmla="*/ 72 h 252"/>
                <a:gd name="T118" fmla="*/ 191 w 376"/>
                <a:gd name="T119" fmla="*/ 67 h 252"/>
                <a:gd name="T120" fmla="*/ 194 w 376"/>
                <a:gd name="T121" fmla="*/ 37 h 252"/>
                <a:gd name="T122" fmla="*/ 193 w 376"/>
                <a:gd name="T123" fmla="*/ 19 h 252"/>
                <a:gd name="T124" fmla="*/ 185 w 376"/>
                <a:gd name="T125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6" h="252">
                  <a:moveTo>
                    <a:pt x="198" y="0"/>
                  </a:moveTo>
                  <a:lnTo>
                    <a:pt x="198" y="0"/>
                  </a:lnTo>
                  <a:lnTo>
                    <a:pt x="201" y="1"/>
                  </a:lnTo>
                  <a:lnTo>
                    <a:pt x="201" y="2"/>
                  </a:lnTo>
                  <a:lnTo>
                    <a:pt x="202" y="2"/>
                  </a:lnTo>
                  <a:lnTo>
                    <a:pt x="203" y="2"/>
                  </a:lnTo>
                  <a:lnTo>
                    <a:pt x="204" y="3"/>
                  </a:lnTo>
                  <a:lnTo>
                    <a:pt x="205" y="3"/>
                  </a:lnTo>
                  <a:lnTo>
                    <a:pt x="205" y="3"/>
                  </a:lnTo>
                  <a:lnTo>
                    <a:pt x="206" y="3"/>
                  </a:lnTo>
                  <a:lnTo>
                    <a:pt x="206" y="3"/>
                  </a:lnTo>
                  <a:lnTo>
                    <a:pt x="207" y="2"/>
                  </a:lnTo>
                  <a:lnTo>
                    <a:pt x="209" y="2"/>
                  </a:lnTo>
                  <a:lnTo>
                    <a:pt x="209" y="2"/>
                  </a:lnTo>
                  <a:lnTo>
                    <a:pt x="210" y="2"/>
                  </a:lnTo>
                  <a:lnTo>
                    <a:pt x="211" y="2"/>
                  </a:lnTo>
                  <a:lnTo>
                    <a:pt x="212" y="2"/>
                  </a:lnTo>
                  <a:lnTo>
                    <a:pt x="213" y="2"/>
                  </a:lnTo>
                  <a:lnTo>
                    <a:pt x="217" y="4"/>
                  </a:lnTo>
                  <a:lnTo>
                    <a:pt x="219" y="5"/>
                  </a:lnTo>
                  <a:lnTo>
                    <a:pt x="220" y="5"/>
                  </a:lnTo>
                  <a:lnTo>
                    <a:pt x="220" y="5"/>
                  </a:lnTo>
                  <a:lnTo>
                    <a:pt x="221" y="6"/>
                  </a:lnTo>
                  <a:lnTo>
                    <a:pt x="221" y="6"/>
                  </a:lnTo>
                  <a:lnTo>
                    <a:pt x="221" y="7"/>
                  </a:lnTo>
                  <a:lnTo>
                    <a:pt x="221" y="7"/>
                  </a:lnTo>
                  <a:lnTo>
                    <a:pt x="221" y="9"/>
                  </a:lnTo>
                  <a:lnTo>
                    <a:pt x="221" y="10"/>
                  </a:lnTo>
                  <a:lnTo>
                    <a:pt x="222" y="11"/>
                  </a:lnTo>
                  <a:lnTo>
                    <a:pt x="222" y="11"/>
                  </a:lnTo>
                  <a:lnTo>
                    <a:pt x="223" y="12"/>
                  </a:lnTo>
                  <a:lnTo>
                    <a:pt x="223" y="13"/>
                  </a:lnTo>
                  <a:lnTo>
                    <a:pt x="224" y="13"/>
                  </a:lnTo>
                  <a:lnTo>
                    <a:pt x="225" y="13"/>
                  </a:lnTo>
                  <a:lnTo>
                    <a:pt x="226" y="13"/>
                  </a:lnTo>
                  <a:lnTo>
                    <a:pt x="226" y="14"/>
                  </a:lnTo>
                  <a:lnTo>
                    <a:pt x="227" y="14"/>
                  </a:lnTo>
                  <a:lnTo>
                    <a:pt x="228" y="14"/>
                  </a:lnTo>
                  <a:lnTo>
                    <a:pt x="229" y="13"/>
                  </a:lnTo>
                  <a:lnTo>
                    <a:pt x="229" y="13"/>
                  </a:lnTo>
                  <a:lnTo>
                    <a:pt x="230" y="13"/>
                  </a:lnTo>
                  <a:lnTo>
                    <a:pt x="230" y="13"/>
                  </a:lnTo>
                  <a:lnTo>
                    <a:pt x="230" y="12"/>
                  </a:lnTo>
                  <a:lnTo>
                    <a:pt x="231" y="12"/>
                  </a:lnTo>
                  <a:lnTo>
                    <a:pt x="231" y="11"/>
                  </a:lnTo>
                  <a:lnTo>
                    <a:pt x="232" y="10"/>
                  </a:lnTo>
                  <a:lnTo>
                    <a:pt x="233" y="8"/>
                  </a:lnTo>
                  <a:lnTo>
                    <a:pt x="234" y="7"/>
                  </a:lnTo>
                  <a:lnTo>
                    <a:pt x="235" y="6"/>
                  </a:lnTo>
                  <a:lnTo>
                    <a:pt x="235" y="6"/>
                  </a:lnTo>
                  <a:lnTo>
                    <a:pt x="235" y="5"/>
                  </a:lnTo>
                  <a:lnTo>
                    <a:pt x="236" y="5"/>
                  </a:lnTo>
                  <a:lnTo>
                    <a:pt x="237" y="5"/>
                  </a:lnTo>
                  <a:lnTo>
                    <a:pt x="237" y="5"/>
                  </a:lnTo>
                  <a:lnTo>
                    <a:pt x="238" y="5"/>
                  </a:lnTo>
                  <a:lnTo>
                    <a:pt x="238" y="4"/>
                  </a:lnTo>
                  <a:lnTo>
                    <a:pt x="239" y="4"/>
                  </a:lnTo>
                  <a:lnTo>
                    <a:pt x="239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1" y="6"/>
                  </a:lnTo>
                  <a:lnTo>
                    <a:pt x="241" y="6"/>
                  </a:lnTo>
                  <a:lnTo>
                    <a:pt x="242" y="8"/>
                  </a:lnTo>
                  <a:lnTo>
                    <a:pt x="242" y="9"/>
                  </a:lnTo>
                  <a:lnTo>
                    <a:pt x="243" y="12"/>
                  </a:lnTo>
                  <a:lnTo>
                    <a:pt x="243" y="13"/>
                  </a:lnTo>
                  <a:lnTo>
                    <a:pt x="244" y="14"/>
                  </a:lnTo>
                  <a:lnTo>
                    <a:pt x="244" y="15"/>
                  </a:lnTo>
                  <a:lnTo>
                    <a:pt x="245" y="15"/>
                  </a:lnTo>
                  <a:lnTo>
                    <a:pt x="245" y="16"/>
                  </a:lnTo>
                  <a:lnTo>
                    <a:pt x="246" y="16"/>
                  </a:lnTo>
                  <a:lnTo>
                    <a:pt x="247" y="16"/>
                  </a:lnTo>
                  <a:lnTo>
                    <a:pt x="247" y="16"/>
                  </a:lnTo>
                  <a:lnTo>
                    <a:pt x="248" y="16"/>
                  </a:lnTo>
                  <a:lnTo>
                    <a:pt x="248" y="16"/>
                  </a:lnTo>
                  <a:lnTo>
                    <a:pt x="249" y="16"/>
                  </a:lnTo>
                  <a:lnTo>
                    <a:pt x="251" y="15"/>
                  </a:lnTo>
                  <a:lnTo>
                    <a:pt x="253" y="14"/>
                  </a:lnTo>
                  <a:lnTo>
                    <a:pt x="255" y="13"/>
                  </a:lnTo>
                  <a:lnTo>
                    <a:pt x="256" y="13"/>
                  </a:lnTo>
                  <a:lnTo>
                    <a:pt x="257" y="13"/>
                  </a:lnTo>
                  <a:lnTo>
                    <a:pt x="258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60" y="13"/>
                  </a:lnTo>
                  <a:lnTo>
                    <a:pt x="260" y="13"/>
                  </a:lnTo>
                  <a:lnTo>
                    <a:pt x="261" y="14"/>
                  </a:lnTo>
                  <a:lnTo>
                    <a:pt x="261" y="14"/>
                  </a:lnTo>
                  <a:lnTo>
                    <a:pt x="263" y="16"/>
                  </a:lnTo>
                  <a:lnTo>
                    <a:pt x="264" y="17"/>
                  </a:lnTo>
                  <a:lnTo>
                    <a:pt x="265" y="18"/>
                  </a:lnTo>
                  <a:lnTo>
                    <a:pt x="268" y="19"/>
                  </a:lnTo>
                  <a:lnTo>
                    <a:pt x="269" y="20"/>
                  </a:lnTo>
                  <a:lnTo>
                    <a:pt x="269" y="21"/>
                  </a:lnTo>
                  <a:lnTo>
                    <a:pt x="270" y="21"/>
                  </a:lnTo>
                  <a:lnTo>
                    <a:pt x="271" y="22"/>
                  </a:lnTo>
                  <a:lnTo>
                    <a:pt x="271" y="23"/>
                  </a:lnTo>
                  <a:lnTo>
                    <a:pt x="272" y="24"/>
                  </a:lnTo>
                  <a:lnTo>
                    <a:pt x="274" y="28"/>
                  </a:lnTo>
                  <a:lnTo>
                    <a:pt x="274" y="29"/>
                  </a:lnTo>
                  <a:lnTo>
                    <a:pt x="274" y="31"/>
                  </a:lnTo>
                  <a:lnTo>
                    <a:pt x="274" y="32"/>
                  </a:lnTo>
                  <a:lnTo>
                    <a:pt x="274" y="33"/>
                  </a:lnTo>
                  <a:lnTo>
                    <a:pt x="274" y="34"/>
                  </a:lnTo>
                  <a:lnTo>
                    <a:pt x="274" y="34"/>
                  </a:lnTo>
                  <a:lnTo>
                    <a:pt x="274" y="35"/>
                  </a:lnTo>
                  <a:lnTo>
                    <a:pt x="272" y="40"/>
                  </a:lnTo>
                  <a:lnTo>
                    <a:pt x="271" y="41"/>
                  </a:lnTo>
                  <a:lnTo>
                    <a:pt x="271" y="43"/>
                  </a:lnTo>
                  <a:lnTo>
                    <a:pt x="271" y="44"/>
                  </a:lnTo>
                  <a:lnTo>
                    <a:pt x="271" y="45"/>
                  </a:lnTo>
                  <a:lnTo>
                    <a:pt x="271" y="47"/>
                  </a:lnTo>
                  <a:lnTo>
                    <a:pt x="271" y="48"/>
                  </a:lnTo>
                  <a:lnTo>
                    <a:pt x="271" y="50"/>
                  </a:lnTo>
                  <a:lnTo>
                    <a:pt x="271" y="52"/>
                  </a:lnTo>
                  <a:lnTo>
                    <a:pt x="272" y="53"/>
                  </a:lnTo>
                  <a:lnTo>
                    <a:pt x="272" y="55"/>
                  </a:lnTo>
                  <a:lnTo>
                    <a:pt x="273" y="57"/>
                  </a:lnTo>
                  <a:lnTo>
                    <a:pt x="273" y="59"/>
                  </a:lnTo>
                  <a:lnTo>
                    <a:pt x="274" y="60"/>
                  </a:lnTo>
                  <a:lnTo>
                    <a:pt x="274" y="62"/>
                  </a:lnTo>
                  <a:lnTo>
                    <a:pt x="275" y="64"/>
                  </a:lnTo>
                  <a:lnTo>
                    <a:pt x="277" y="66"/>
                  </a:lnTo>
                  <a:lnTo>
                    <a:pt x="278" y="67"/>
                  </a:lnTo>
                  <a:lnTo>
                    <a:pt x="279" y="69"/>
                  </a:lnTo>
                  <a:lnTo>
                    <a:pt x="280" y="70"/>
                  </a:lnTo>
                  <a:lnTo>
                    <a:pt x="281" y="71"/>
                  </a:lnTo>
                  <a:lnTo>
                    <a:pt x="282" y="72"/>
                  </a:lnTo>
                  <a:lnTo>
                    <a:pt x="282" y="73"/>
                  </a:lnTo>
                  <a:lnTo>
                    <a:pt x="283" y="73"/>
                  </a:lnTo>
                  <a:lnTo>
                    <a:pt x="284" y="74"/>
                  </a:lnTo>
                  <a:lnTo>
                    <a:pt x="285" y="74"/>
                  </a:lnTo>
                  <a:lnTo>
                    <a:pt x="286" y="75"/>
                  </a:lnTo>
                  <a:lnTo>
                    <a:pt x="287" y="76"/>
                  </a:lnTo>
                  <a:lnTo>
                    <a:pt x="291" y="77"/>
                  </a:lnTo>
                  <a:lnTo>
                    <a:pt x="292" y="78"/>
                  </a:lnTo>
                  <a:lnTo>
                    <a:pt x="293" y="78"/>
                  </a:lnTo>
                  <a:lnTo>
                    <a:pt x="294" y="79"/>
                  </a:lnTo>
                  <a:lnTo>
                    <a:pt x="295" y="80"/>
                  </a:lnTo>
                  <a:lnTo>
                    <a:pt x="296" y="81"/>
                  </a:lnTo>
                  <a:lnTo>
                    <a:pt x="297" y="83"/>
                  </a:lnTo>
                  <a:lnTo>
                    <a:pt x="298" y="85"/>
                  </a:lnTo>
                  <a:lnTo>
                    <a:pt x="299" y="86"/>
                  </a:lnTo>
                  <a:lnTo>
                    <a:pt x="299" y="88"/>
                  </a:lnTo>
                  <a:lnTo>
                    <a:pt x="300" y="90"/>
                  </a:lnTo>
                  <a:lnTo>
                    <a:pt x="300" y="92"/>
                  </a:lnTo>
                  <a:lnTo>
                    <a:pt x="300" y="94"/>
                  </a:lnTo>
                  <a:lnTo>
                    <a:pt x="300" y="97"/>
                  </a:lnTo>
                  <a:lnTo>
                    <a:pt x="300" y="102"/>
                  </a:lnTo>
                  <a:lnTo>
                    <a:pt x="300" y="102"/>
                  </a:lnTo>
                  <a:lnTo>
                    <a:pt x="300" y="104"/>
                  </a:lnTo>
                  <a:lnTo>
                    <a:pt x="301" y="106"/>
                  </a:lnTo>
                  <a:lnTo>
                    <a:pt x="301" y="107"/>
                  </a:lnTo>
                  <a:lnTo>
                    <a:pt x="301" y="108"/>
                  </a:lnTo>
                  <a:lnTo>
                    <a:pt x="302" y="109"/>
                  </a:lnTo>
                  <a:lnTo>
                    <a:pt x="302" y="109"/>
                  </a:lnTo>
                  <a:lnTo>
                    <a:pt x="302" y="110"/>
                  </a:lnTo>
                  <a:lnTo>
                    <a:pt x="302" y="110"/>
                  </a:lnTo>
                  <a:lnTo>
                    <a:pt x="303" y="110"/>
                  </a:lnTo>
                  <a:lnTo>
                    <a:pt x="303" y="111"/>
                  </a:lnTo>
                  <a:lnTo>
                    <a:pt x="304" y="111"/>
                  </a:lnTo>
                  <a:lnTo>
                    <a:pt x="305" y="111"/>
                  </a:lnTo>
                  <a:lnTo>
                    <a:pt x="305" y="111"/>
                  </a:lnTo>
                  <a:lnTo>
                    <a:pt x="306" y="111"/>
                  </a:lnTo>
                  <a:lnTo>
                    <a:pt x="307" y="111"/>
                  </a:lnTo>
                  <a:lnTo>
                    <a:pt x="307" y="111"/>
                  </a:lnTo>
                  <a:lnTo>
                    <a:pt x="308" y="110"/>
                  </a:lnTo>
                  <a:lnTo>
                    <a:pt x="308" y="110"/>
                  </a:lnTo>
                  <a:lnTo>
                    <a:pt x="309" y="109"/>
                  </a:lnTo>
                  <a:lnTo>
                    <a:pt x="310" y="109"/>
                  </a:lnTo>
                  <a:lnTo>
                    <a:pt x="311" y="107"/>
                  </a:lnTo>
                  <a:lnTo>
                    <a:pt x="314" y="104"/>
                  </a:lnTo>
                  <a:lnTo>
                    <a:pt x="316" y="103"/>
                  </a:lnTo>
                  <a:lnTo>
                    <a:pt x="317" y="102"/>
                  </a:lnTo>
                  <a:lnTo>
                    <a:pt x="317" y="102"/>
                  </a:lnTo>
                  <a:lnTo>
                    <a:pt x="318" y="101"/>
                  </a:lnTo>
                  <a:lnTo>
                    <a:pt x="318" y="101"/>
                  </a:lnTo>
                  <a:lnTo>
                    <a:pt x="319" y="101"/>
                  </a:lnTo>
                  <a:lnTo>
                    <a:pt x="320" y="101"/>
                  </a:lnTo>
                  <a:lnTo>
                    <a:pt x="320" y="101"/>
                  </a:lnTo>
                  <a:lnTo>
                    <a:pt x="321" y="101"/>
                  </a:lnTo>
                  <a:lnTo>
                    <a:pt x="322" y="101"/>
                  </a:lnTo>
                  <a:lnTo>
                    <a:pt x="322" y="101"/>
                  </a:lnTo>
                  <a:lnTo>
                    <a:pt x="324" y="101"/>
                  </a:lnTo>
                  <a:lnTo>
                    <a:pt x="326" y="102"/>
                  </a:lnTo>
                  <a:lnTo>
                    <a:pt x="327" y="102"/>
                  </a:lnTo>
                  <a:lnTo>
                    <a:pt x="329" y="103"/>
                  </a:lnTo>
                  <a:lnTo>
                    <a:pt x="332" y="105"/>
                  </a:lnTo>
                  <a:lnTo>
                    <a:pt x="334" y="106"/>
                  </a:lnTo>
                  <a:lnTo>
                    <a:pt x="337" y="107"/>
                  </a:lnTo>
                  <a:lnTo>
                    <a:pt x="341" y="108"/>
                  </a:lnTo>
                  <a:lnTo>
                    <a:pt x="342" y="109"/>
                  </a:lnTo>
                  <a:lnTo>
                    <a:pt x="344" y="110"/>
                  </a:lnTo>
                  <a:lnTo>
                    <a:pt x="347" y="111"/>
                  </a:lnTo>
                  <a:lnTo>
                    <a:pt x="347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3"/>
                  </a:lnTo>
                  <a:lnTo>
                    <a:pt x="349" y="114"/>
                  </a:lnTo>
                  <a:lnTo>
                    <a:pt x="349" y="115"/>
                  </a:lnTo>
                  <a:lnTo>
                    <a:pt x="349" y="116"/>
                  </a:lnTo>
                  <a:lnTo>
                    <a:pt x="350" y="117"/>
                  </a:lnTo>
                  <a:lnTo>
                    <a:pt x="351" y="119"/>
                  </a:lnTo>
                  <a:lnTo>
                    <a:pt x="352" y="121"/>
                  </a:lnTo>
                  <a:lnTo>
                    <a:pt x="353" y="122"/>
                  </a:lnTo>
                  <a:lnTo>
                    <a:pt x="355" y="126"/>
                  </a:lnTo>
                  <a:lnTo>
                    <a:pt x="356" y="127"/>
                  </a:lnTo>
                  <a:lnTo>
                    <a:pt x="357" y="129"/>
                  </a:lnTo>
                  <a:lnTo>
                    <a:pt x="357" y="130"/>
                  </a:lnTo>
                  <a:lnTo>
                    <a:pt x="357" y="131"/>
                  </a:lnTo>
                  <a:lnTo>
                    <a:pt x="358" y="131"/>
                  </a:lnTo>
                  <a:lnTo>
                    <a:pt x="358" y="133"/>
                  </a:lnTo>
                  <a:lnTo>
                    <a:pt x="358" y="134"/>
                  </a:lnTo>
                  <a:lnTo>
                    <a:pt x="358" y="136"/>
                  </a:lnTo>
                  <a:lnTo>
                    <a:pt x="357" y="140"/>
                  </a:lnTo>
                  <a:lnTo>
                    <a:pt x="357" y="141"/>
                  </a:lnTo>
                  <a:lnTo>
                    <a:pt x="357" y="142"/>
                  </a:lnTo>
                  <a:lnTo>
                    <a:pt x="357" y="147"/>
                  </a:lnTo>
                  <a:lnTo>
                    <a:pt x="357" y="154"/>
                  </a:lnTo>
                  <a:lnTo>
                    <a:pt x="358" y="156"/>
                  </a:lnTo>
                  <a:lnTo>
                    <a:pt x="358" y="157"/>
                  </a:lnTo>
                  <a:lnTo>
                    <a:pt x="358" y="159"/>
                  </a:lnTo>
                  <a:lnTo>
                    <a:pt x="359" y="162"/>
                  </a:lnTo>
                  <a:lnTo>
                    <a:pt x="359" y="165"/>
                  </a:lnTo>
                  <a:lnTo>
                    <a:pt x="360" y="168"/>
                  </a:lnTo>
                  <a:lnTo>
                    <a:pt x="361" y="170"/>
                  </a:lnTo>
                  <a:lnTo>
                    <a:pt x="361" y="170"/>
                  </a:lnTo>
                  <a:lnTo>
                    <a:pt x="361" y="171"/>
                  </a:lnTo>
                  <a:lnTo>
                    <a:pt x="361" y="174"/>
                  </a:lnTo>
                  <a:lnTo>
                    <a:pt x="361" y="175"/>
                  </a:lnTo>
                  <a:lnTo>
                    <a:pt x="361" y="176"/>
                  </a:lnTo>
                  <a:lnTo>
                    <a:pt x="361" y="177"/>
                  </a:lnTo>
                  <a:lnTo>
                    <a:pt x="361" y="178"/>
                  </a:lnTo>
                  <a:lnTo>
                    <a:pt x="361" y="178"/>
                  </a:lnTo>
                  <a:lnTo>
                    <a:pt x="363" y="183"/>
                  </a:lnTo>
                  <a:lnTo>
                    <a:pt x="365" y="185"/>
                  </a:lnTo>
                  <a:lnTo>
                    <a:pt x="365" y="186"/>
                  </a:lnTo>
                  <a:lnTo>
                    <a:pt x="365" y="187"/>
                  </a:lnTo>
                  <a:lnTo>
                    <a:pt x="365" y="187"/>
                  </a:lnTo>
                  <a:lnTo>
                    <a:pt x="366" y="188"/>
                  </a:lnTo>
                  <a:lnTo>
                    <a:pt x="366" y="189"/>
                  </a:lnTo>
                  <a:lnTo>
                    <a:pt x="366" y="189"/>
                  </a:lnTo>
                  <a:lnTo>
                    <a:pt x="365" y="190"/>
                  </a:lnTo>
                  <a:lnTo>
                    <a:pt x="365" y="191"/>
                  </a:lnTo>
                  <a:lnTo>
                    <a:pt x="364" y="195"/>
                  </a:lnTo>
                  <a:lnTo>
                    <a:pt x="363" y="197"/>
                  </a:lnTo>
                  <a:lnTo>
                    <a:pt x="363" y="199"/>
                  </a:lnTo>
                  <a:lnTo>
                    <a:pt x="363" y="200"/>
                  </a:lnTo>
                  <a:lnTo>
                    <a:pt x="362" y="201"/>
                  </a:lnTo>
                  <a:lnTo>
                    <a:pt x="363" y="202"/>
                  </a:lnTo>
                  <a:lnTo>
                    <a:pt x="363" y="203"/>
                  </a:lnTo>
                  <a:lnTo>
                    <a:pt x="363" y="204"/>
                  </a:lnTo>
                  <a:lnTo>
                    <a:pt x="363" y="204"/>
                  </a:lnTo>
                  <a:lnTo>
                    <a:pt x="365" y="207"/>
                  </a:lnTo>
                  <a:lnTo>
                    <a:pt x="366" y="210"/>
                  </a:lnTo>
                  <a:lnTo>
                    <a:pt x="368" y="214"/>
                  </a:lnTo>
                  <a:lnTo>
                    <a:pt x="368" y="214"/>
                  </a:lnTo>
                  <a:lnTo>
                    <a:pt x="370" y="216"/>
                  </a:lnTo>
                  <a:lnTo>
                    <a:pt x="372" y="220"/>
                  </a:lnTo>
                  <a:lnTo>
                    <a:pt x="374" y="222"/>
                  </a:lnTo>
                  <a:lnTo>
                    <a:pt x="374" y="223"/>
                  </a:lnTo>
                  <a:lnTo>
                    <a:pt x="375" y="224"/>
                  </a:lnTo>
                  <a:lnTo>
                    <a:pt x="375" y="224"/>
                  </a:lnTo>
                  <a:lnTo>
                    <a:pt x="375" y="225"/>
                  </a:lnTo>
                  <a:lnTo>
                    <a:pt x="376" y="226"/>
                  </a:lnTo>
                  <a:lnTo>
                    <a:pt x="376" y="227"/>
                  </a:lnTo>
                  <a:lnTo>
                    <a:pt x="376" y="228"/>
                  </a:lnTo>
                  <a:lnTo>
                    <a:pt x="375" y="228"/>
                  </a:lnTo>
                  <a:lnTo>
                    <a:pt x="375" y="229"/>
                  </a:lnTo>
                  <a:lnTo>
                    <a:pt x="375" y="229"/>
                  </a:lnTo>
                  <a:lnTo>
                    <a:pt x="374" y="229"/>
                  </a:lnTo>
                  <a:lnTo>
                    <a:pt x="374" y="230"/>
                  </a:lnTo>
                  <a:lnTo>
                    <a:pt x="373" y="230"/>
                  </a:lnTo>
                  <a:lnTo>
                    <a:pt x="372" y="231"/>
                  </a:lnTo>
                  <a:lnTo>
                    <a:pt x="371" y="231"/>
                  </a:lnTo>
                  <a:lnTo>
                    <a:pt x="369" y="232"/>
                  </a:lnTo>
                  <a:lnTo>
                    <a:pt x="368" y="232"/>
                  </a:lnTo>
                  <a:lnTo>
                    <a:pt x="367" y="232"/>
                  </a:lnTo>
                  <a:lnTo>
                    <a:pt x="365" y="232"/>
                  </a:lnTo>
                  <a:lnTo>
                    <a:pt x="365" y="232"/>
                  </a:lnTo>
                  <a:lnTo>
                    <a:pt x="364" y="232"/>
                  </a:lnTo>
                  <a:lnTo>
                    <a:pt x="364" y="232"/>
                  </a:lnTo>
                  <a:lnTo>
                    <a:pt x="362" y="232"/>
                  </a:lnTo>
                  <a:lnTo>
                    <a:pt x="361" y="231"/>
                  </a:lnTo>
                  <a:lnTo>
                    <a:pt x="359" y="231"/>
                  </a:lnTo>
                  <a:lnTo>
                    <a:pt x="358" y="231"/>
                  </a:lnTo>
                  <a:lnTo>
                    <a:pt x="357" y="231"/>
                  </a:lnTo>
                  <a:lnTo>
                    <a:pt x="356" y="231"/>
                  </a:lnTo>
                  <a:lnTo>
                    <a:pt x="355" y="232"/>
                  </a:lnTo>
                  <a:lnTo>
                    <a:pt x="352" y="232"/>
                  </a:lnTo>
                  <a:lnTo>
                    <a:pt x="351" y="233"/>
                  </a:lnTo>
                  <a:lnTo>
                    <a:pt x="350" y="233"/>
                  </a:lnTo>
                  <a:lnTo>
                    <a:pt x="350" y="233"/>
                  </a:lnTo>
                  <a:lnTo>
                    <a:pt x="349" y="233"/>
                  </a:lnTo>
                  <a:lnTo>
                    <a:pt x="348" y="233"/>
                  </a:lnTo>
                  <a:lnTo>
                    <a:pt x="347" y="232"/>
                  </a:lnTo>
                  <a:lnTo>
                    <a:pt x="346" y="232"/>
                  </a:lnTo>
                  <a:lnTo>
                    <a:pt x="345" y="231"/>
                  </a:lnTo>
                  <a:lnTo>
                    <a:pt x="343" y="231"/>
                  </a:lnTo>
                  <a:lnTo>
                    <a:pt x="343" y="230"/>
                  </a:lnTo>
                  <a:lnTo>
                    <a:pt x="342" y="229"/>
                  </a:lnTo>
                  <a:lnTo>
                    <a:pt x="341" y="229"/>
                  </a:lnTo>
                  <a:lnTo>
                    <a:pt x="340" y="228"/>
                  </a:lnTo>
                  <a:lnTo>
                    <a:pt x="339" y="226"/>
                  </a:lnTo>
                  <a:lnTo>
                    <a:pt x="337" y="224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6" y="222"/>
                  </a:lnTo>
                  <a:lnTo>
                    <a:pt x="335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3" y="222"/>
                  </a:lnTo>
                  <a:lnTo>
                    <a:pt x="333" y="222"/>
                  </a:lnTo>
                  <a:lnTo>
                    <a:pt x="332" y="223"/>
                  </a:lnTo>
                  <a:lnTo>
                    <a:pt x="332" y="224"/>
                  </a:lnTo>
                  <a:lnTo>
                    <a:pt x="331" y="224"/>
                  </a:lnTo>
                  <a:lnTo>
                    <a:pt x="329" y="226"/>
                  </a:lnTo>
                  <a:lnTo>
                    <a:pt x="327" y="228"/>
                  </a:lnTo>
                  <a:lnTo>
                    <a:pt x="325" y="230"/>
                  </a:lnTo>
                  <a:lnTo>
                    <a:pt x="324" y="230"/>
                  </a:lnTo>
                  <a:lnTo>
                    <a:pt x="323" y="231"/>
                  </a:lnTo>
                  <a:lnTo>
                    <a:pt x="323" y="232"/>
                  </a:lnTo>
                  <a:lnTo>
                    <a:pt x="322" y="233"/>
                  </a:lnTo>
                  <a:lnTo>
                    <a:pt x="322" y="233"/>
                  </a:lnTo>
                  <a:lnTo>
                    <a:pt x="322" y="234"/>
                  </a:lnTo>
                  <a:lnTo>
                    <a:pt x="322" y="235"/>
                  </a:lnTo>
                  <a:lnTo>
                    <a:pt x="322" y="236"/>
                  </a:lnTo>
                  <a:lnTo>
                    <a:pt x="322" y="237"/>
                  </a:lnTo>
                  <a:lnTo>
                    <a:pt x="323" y="240"/>
                  </a:lnTo>
                  <a:lnTo>
                    <a:pt x="323" y="241"/>
                  </a:lnTo>
                  <a:lnTo>
                    <a:pt x="323" y="241"/>
                  </a:lnTo>
                  <a:lnTo>
                    <a:pt x="323" y="242"/>
                  </a:lnTo>
                  <a:lnTo>
                    <a:pt x="322" y="243"/>
                  </a:lnTo>
                  <a:lnTo>
                    <a:pt x="322" y="244"/>
                  </a:lnTo>
                  <a:lnTo>
                    <a:pt x="321" y="245"/>
                  </a:lnTo>
                  <a:lnTo>
                    <a:pt x="321" y="245"/>
                  </a:lnTo>
                  <a:lnTo>
                    <a:pt x="321" y="246"/>
                  </a:lnTo>
                  <a:lnTo>
                    <a:pt x="318" y="247"/>
                  </a:lnTo>
                  <a:lnTo>
                    <a:pt x="318" y="247"/>
                  </a:lnTo>
                  <a:lnTo>
                    <a:pt x="317" y="248"/>
                  </a:lnTo>
                  <a:lnTo>
                    <a:pt x="316" y="248"/>
                  </a:lnTo>
                  <a:lnTo>
                    <a:pt x="315" y="249"/>
                  </a:lnTo>
                  <a:lnTo>
                    <a:pt x="314" y="249"/>
                  </a:lnTo>
                  <a:lnTo>
                    <a:pt x="313" y="249"/>
                  </a:lnTo>
                  <a:lnTo>
                    <a:pt x="312" y="249"/>
                  </a:lnTo>
                  <a:lnTo>
                    <a:pt x="311" y="249"/>
                  </a:lnTo>
                  <a:lnTo>
                    <a:pt x="310" y="249"/>
                  </a:lnTo>
                  <a:lnTo>
                    <a:pt x="310" y="249"/>
                  </a:lnTo>
                  <a:lnTo>
                    <a:pt x="309" y="249"/>
                  </a:lnTo>
                  <a:lnTo>
                    <a:pt x="308" y="249"/>
                  </a:lnTo>
                  <a:lnTo>
                    <a:pt x="308" y="248"/>
                  </a:lnTo>
                  <a:lnTo>
                    <a:pt x="308" y="248"/>
                  </a:lnTo>
                  <a:lnTo>
                    <a:pt x="307" y="248"/>
                  </a:lnTo>
                  <a:lnTo>
                    <a:pt x="306" y="247"/>
                  </a:lnTo>
                  <a:lnTo>
                    <a:pt x="306" y="246"/>
                  </a:lnTo>
                  <a:lnTo>
                    <a:pt x="306" y="246"/>
                  </a:lnTo>
                  <a:lnTo>
                    <a:pt x="305" y="245"/>
                  </a:lnTo>
                  <a:lnTo>
                    <a:pt x="305" y="244"/>
                  </a:lnTo>
                  <a:lnTo>
                    <a:pt x="305" y="243"/>
                  </a:lnTo>
                  <a:lnTo>
                    <a:pt x="304" y="242"/>
                  </a:lnTo>
                  <a:lnTo>
                    <a:pt x="304" y="242"/>
                  </a:lnTo>
                  <a:lnTo>
                    <a:pt x="304" y="241"/>
                  </a:lnTo>
                  <a:lnTo>
                    <a:pt x="303" y="241"/>
                  </a:lnTo>
                  <a:lnTo>
                    <a:pt x="303" y="241"/>
                  </a:lnTo>
                  <a:lnTo>
                    <a:pt x="303" y="240"/>
                  </a:lnTo>
                  <a:lnTo>
                    <a:pt x="302" y="240"/>
                  </a:lnTo>
                  <a:lnTo>
                    <a:pt x="300" y="241"/>
                  </a:lnTo>
                  <a:lnTo>
                    <a:pt x="299" y="241"/>
                  </a:lnTo>
                  <a:lnTo>
                    <a:pt x="299" y="241"/>
                  </a:lnTo>
                  <a:lnTo>
                    <a:pt x="298" y="240"/>
                  </a:lnTo>
                  <a:lnTo>
                    <a:pt x="296" y="240"/>
                  </a:lnTo>
                  <a:lnTo>
                    <a:pt x="294" y="239"/>
                  </a:lnTo>
                  <a:lnTo>
                    <a:pt x="293" y="238"/>
                  </a:lnTo>
                  <a:lnTo>
                    <a:pt x="291" y="237"/>
                  </a:lnTo>
                  <a:lnTo>
                    <a:pt x="290" y="236"/>
                  </a:lnTo>
                  <a:lnTo>
                    <a:pt x="289" y="236"/>
                  </a:lnTo>
                  <a:lnTo>
                    <a:pt x="288" y="236"/>
                  </a:lnTo>
                  <a:lnTo>
                    <a:pt x="287" y="235"/>
                  </a:lnTo>
                  <a:lnTo>
                    <a:pt x="286" y="235"/>
                  </a:lnTo>
                  <a:lnTo>
                    <a:pt x="284" y="235"/>
                  </a:lnTo>
                  <a:lnTo>
                    <a:pt x="283" y="234"/>
                  </a:lnTo>
                  <a:lnTo>
                    <a:pt x="281" y="234"/>
                  </a:lnTo>
                  <a:lnTo>
                    <a:pt x="279" y="233"/>
                  </a:lnTo>
                  <a:lnTo>
                    <a:pt x="278" y="232"/>
                  </a:lnTo>
                  <a:lnTo>
                    <a:pt x="277" y="232"/>
                  </a:lnTo>
                  <a:lnTo>
                    <a:pt x="276" y="231"/>
                  </a:lnTo>
                  <a:lnTo>
                    <a:pt x="275" y="231"/>
                  </a:lnTo>
                  <a:lnTo>
                    <a:pt x="274" y="231"/>
                  </a:lnTo>
                  <a:lnTo>
                    <a:pt x="273" y="231"/>
                  </a:lnTo>
                  <a:lnTo>
                    <a:pt x="272" y="231"/>
                  </a:lnTo>
                  <a:lnTo>
                    <a:pt x="271" y="231"/>
                  </a:lnTo>
                  <a:lnTo>
                    <a:pt x="271" y="231"/>
                  </a:lnTo>
                  <a:lnTo>
                    <a:pt x="270" y="232"/>
                  </a:lnTo>
                  <a:lnTo>
                    <a:pt x="270" y="232"/>
                  </a:lnTo>
                  <a:lnTo>
                    <a:pt x="269" y="232"/>
                  </a:lnTo>
                  <a:lnTo>
                    <a:pt x="269" y="233"/>
                  </a:lnTo>
                  <a:lnTo>
                    <a:pt x="268" y="233"/>
                  </a:lnTo>
                  <a:lnTo>
                    <a:pt x="267" y="234"/>
                  </a:lnTo>
                  <a:lnTo>
                    <a:pt x="265" y="236"/>
                  </a:lnTo>
                  <a:lnTo>
                    <a:pt x="263" y="239"/>
                  </a:lnTo>
                  <a:lnTo>
                    <a:pt x="262" y="240"/>
                  </a:lnTo>
                  <a:lnTo>
                    <a:pt x="261" y="241"/>
                  </a:lnTo>
                  <a:lnTo>
                    <a:pt x="261" y="241"/>
                  </a:lnTo>
                  <a:lnTo>
                    <a:pt x="260" y="242"/>
                  </a:lnTo>
                  <a:lnTo>
                    <a:pt x="259" y="242"/>
                  </a:lnTo>
                  <a:lnTo>
                    <a:pt x="259" y="242"/>
                  </a:lnTo>
                  <a:lnTo>
                    <a:pt x="258" y="242"/>
                  </a:lnTo>
                  <a:lnTo>
                    <a:pt x="257" y="242"/>
                  </a:lnTo>
                  <a:lnTo>
                    <a:pt x="256" y="242"/>
                  </a:lnTo>
                  <a:lnTo>
                    <a:pt x="255" y="242"/>
                  </a:lnTo>
                  <a:lnTo>
                    <a:pt x="255" y="242"/>
                  </a:lnTo>
                  <a:lnTo>
                    <a:pt x="253" y="241"/>
                  </a:lnTo>
                  <a:lnTo>
                    <a:pt x="252" y="241"/>
                  </a:lnTo>
                  <a:lnTo>
                    <a:pt x="250" y="240"/>
                  </a:lnTo>
                  <a:lnTo>
                    <a:pt x="249" y="239"/>
                  </a:lnTo>
                  <a:lnTo>
                    <a:pt x="247" y="239"/>
                  </a:lnTo>
                  <a:lnTo>
                    <a:pt x="246" y="238"/>
                  </a:lnTo>
                  <a:lnTo>
                    <a:pt x="242" y="236"/>
                  </a:lnTo>
                  <a:lnTo>
                    <a:pt x="240" y="235"/>
                  </a:lnTo>
                  <a:lnTo>
                    <a:pt x="238" y="233"/>
                  </a:lnTo>
                  <a:lnTo>
                    <a:pt x="236" y="233"/>
                  </a:lnTo>
                  <a:lnTo>
                    <a:pt x="235" y="232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4" y="230"/>
                  </a:lnTo>
                  <a:lnTo>
                    <a:pt x="233" y="230"/>
                  </a:lnTo>
                  <a:lnTo>
                    <a:pt x="228" y="228"/>
                  </a:lnTo>
                  <a:lnTo>
                    <a:pt x="227" y="227"/>
                  </a:lnTo>
                  <a:lnTo>
                    <a:pt x="225" y="226"/>
                  </a:lnTo>
                  <a:lnTo>
                    <a:pt x="224" y="226"/>
                  </a:lnTo>
                  <a:lnTo>
                    <a:pt x="224" y="225"/>
                  </a:lnTo>
                  <a:lnTo>
                    <a:pt x="223" y="225"/>
                  </a:lnTo>
                  <a:lnTo>
                    <a:pt x="222" y="224"/>
                  </a:lnTo>
                  <a:lnTo>
                    <a:pt x="221" y="224"/>
                  </a:lnTo>
                  <a:lnTo>
                    <a:pt x="221" y="223"/>
                  </a:lnTo>
                  <a:lnTo>
                    <a:pt x="221" y="222"/>
                  </a:lnTo>
                  <a:lnTo>
                    <a:pt x="219" y="219"/>
                  </a:lnTo>
                  <a:lnTo>
                    <a:pt x="218" y="218"/>
                  </a:lnTo>
                  <a:lnTo>
                    <a:pt x="217" y="217"/>
                  </a:lnTo>
                  <a:lnTo>
                    <a:pt x="217" y="216"/>
                  </a:lnTo>
                  <a:lnTo>
                    <a:pt x="216" y="215"/>
                  </a:lnTo>
                  <a:lnTo>
                    <a:pt x="215" y="214"/>
                  </a:lnTo>
                  <a:lnTo>
                    <a:pt x="213" y="213"/>
                  </a:lnTo>
                  <a:lnTo>
                    <a:pt x="212" y="212"/>
                  </a:lnTo>
                  <a:lnTo>
                    <a:pt x="211" y="211"/>
                  </a:lnTo>
                  <a:lnTo>
                    <a:pt x="210" y="211"/>
                  </a:lnTo>
                  <a:lnTo>
                    <a:pt x="209" y="210"/>
                  </a:lnTo>
                  <a:lnTo>
                    <a:pt x="207" y="209"/>
                  </a:lnTo>
                  <a:lnTo>
                    <a:pt x="206" y="209"/>
                  </a:lnTo>
                  <a:lnTo>
                    <a:pt x="205" y="209"/>
                  </a:lnTo>
                  <a:lnTo>
                    <a:pt x="204" y="208"/>
                  </a:lnTo>
                  <a:lnTo>
                    <a:pt x="204" y="208"/>
                  </a:lnTo>
                  <a:lnTo>
                    <a:pt x="203" y="207"/>
                  </a:lnTo>
                  <a:lnTo>
                    <a:pt x="201" y="205"/>
                  </a:lnTo>
                  <a:lnTo>
                    <a:pt x="197" y="201"/>
                  </a:lnTo>
                  <a:lnTo>
                    <a:pt x="195" y="197"/>
                  </a:lnTo>
                  <a:lnTo>
                    <a:pt x="193" y="196"/>
                  </a:lnTo>
                  <a:lnTo>
                    <a:pt x="192" y="196"/>
                  </a:lnTo>
                  <a:lnTo>
                    <a:pt x="192" y="195"/>
                  </a:lnTo>
                  <a:lnTo>
                    <a:pt x="192" y="195"/>
                  </a:lnTo>
                  <a:lnTo>
                    <a:pt x="191" y="195"/>
                  </a:lnTo>
                  <a:lnTo>
                    <a:pt x="190" y="195"/>
                  </a:lnTo>
                  <a:lnTo>
                    <a:pt x="187" y="194"/>
                  </a:lnTo>
                  <a:lnTo>
                    <a:pt x="187" y="194"/>
                  </a:lnTo>
                  <a:lnTo>
                    <a:pt x="186" y="194"/>
                  </a:lnTo>
                  <a:lnTo>
                    <a:pt x="185" y="194"/>
                  </a:lnTo>
                  <a:lnTo>
                    <a:pt x="184" y="195"/>
                  </a:lnTo>
                  <a:lnTo>
                    <a:pt x="184" y="195"/>
                  </a:lnTo>
                  <a:lnTo>
                    <a:pt x="183" y="195"/>
                  </a:lnTo>
                  <a:lnTo>
                    <a:pt x="182" y="196"/>
                  </a:lnTo>
                  <a:lnTo>
                    <a:pt x="181" y="196"/>
                  </a:lnTo>
                  <a:lnTo>
                    <a:pt x="181" y="197"/>
                  </a:lnTo>
                  <a:lnTo>
                    <a:pt x="181" y="197"/>
                  </a:lnTo>
                  <a:lnTo>
                    <a:pt x="180" y="197"/>
                  </a:lnTo>
                  <a:lnTo>
                    <a:pt x="179" y="197"/>
                  </a:lnTo>
                  <a:lnTo>
                    <a:pt x="179" y="196"/>
                  </a:lnTo>
                  <a:lnTo>
                    <a:pt x="178" y="196"/>
                  </a:lnTo>
                  <a:lnTo>
                    <a:pt x="177" y="196"/>
                  </a:lnTo>
                  <a:lnTo>
                    <a:pt x="177" y="195"/>
                  </a:lnTo>
                  <a:lnTo>
                    <a:pt x="176" y="194"/>
                  </a:lnTo>
                  <a:lnTo>
                    <a:pt x="176" y="194"/>
                  </a:lnTo>
                  <a:lnTo>
                    <a:pt x="175" y="193"/>
                  </a:lnTo>
                  <a:lnTo>
                    <a:pt x="173" y="192"/>
                  </a:lnTo>
                  <a:lnTo>
                    <a:pt x="172" y="191"/>
                  </a:lnTo>
                  <a:lnTo>
                    <a:pt x="171" y="190"/>
                  </a:lnTo>
                  <a:lnTo>
                    <a:pt x="169" y="188"/>
                  </a:lnTo>
                  <a:lnTo>
                    <a:pt x="168" y="188"/>
                  </a:lnTo>
                  <a:lnTo>
                    <a:pt x="168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6" y="187"/>
                  </a:lnTo>
                  <a:lnTo>
                    <a:pt x="166" y="187"/>
                  </a:lnTo>
                  <a:lnTo>
                    <a:pt x="166" y="189"/>
                  </a:lnTo>
                  <a:lnTo>
                    <a:pt x="166" y="190"/>
                  </a:lnTo>
                  <a:lnTo>
                    <a:pt x="165" y="191"/>
                  </a:lnTo>
                  <a:lnTo>
                    <a:pt x="164" y="193"/>
                  </a:lnTo>
                  <a:lnTo>
                    <a:pt x="163" y="195"/>
                  </a:lnTo>
                  <a:lnTo>
                    <a:pt x="163" y="196"/>
                  </a:lnTo>
                  <a:lnTo>
                    <a:pt x="163" y="198"/>
                  </a:lnTo>
                  <a:lnTo>
                    <a:pt x="163" y="199"/>
                  </a:lnTo>
                  <a:lnTo>
                    <a:pt x="163" y="200"/>
                  </a:lnTo>
                  <a:lnTo>
                    <a:pt x="162" y="201"/>
                  </a:lnTo>
                  <a:lnTo>
                    <a:pt x="162" y="201"/>
                  </a:lnTo>
                  <a:lnTo>
                    <a:pt x="161" y="202"/>
                  </a:lnTo>
                  <a:lnTo>
                    <a:pt x="161" y="202"/>
                  </a:lnTo>
                  <a:lnTo>
                    <a:pt x="160" y="203"/>
                  </a:lnTo>
                  <a:lnTo>
                    <a:pt x="159" y="203"/>
                  </a:lnTo>
                  <a:lnTo>
                    <a:pt x="155" y="205"/>
                  </a:lnTo>
                  <a:lnTo>
                    <a:pt x="153" y="206"/>
                  </a:lnTo>
                  <a:lnTo>
                    <a:pt x="153" y="207"/>
                  </a:lnTo>
                  <a:lnTo>
                    <a:pt x="151" y="208"/>
                  </a:lnTo>
                  <a:lnTo>
                    <a:pt x="151" y="208"/>
                  </a:lnTo>
                  <a:lnTo>
                    <a:pt x="150" y="209"/>
                  </a:lnTo>
                  <a:lnTo>
                    <a:pt x="149" y="209"/>
                  </a:lnTo>
                  <a:lnTo>
                    <a:pt x="149" y="209"/>
                  </a:lnTo>
                  <a:lnTo>
                    <a:pt x="149" y="210"/>
                  </a:lnTo>
                  <a:lnTo>
                    <a:pt x="149" y="211"/>
                  </a:lnTo>
                  <a:lnTo>
                    <a:pt x="148" y="212"/>
                  </a:lnTo>
                  <a:lnTo>
                    <a:pt x="148" y="214"/>
                  </a:lnTo>
                  <a:lnTo>
                    <a:pt x="148" y="215"/>
                  </a:lnTo>
                  <a:lnTo>
                    <a:pt x="148" y="215"/>
                  </a:lnTo>
                  <a:lnTo>
                    <a:pt x="147" y="216"/>
                  </a:lnTo>
                  <a:lnTo>
                    <a:pt x="147" y="216"/>
                  </a:lnTo>
                  <a:lnTo>
                    <a:pt x="146" y="217"/>
                  </a:lnTo>
                  <a:lnTo>
                    <a:pt x="146" y="218"/>
                  </a:lnTo>
                  <a:lnTo>
                    <a:pt x="145" y="218"/>
                  </a:lnTo>
                  <a:lnTo>
                    <a:pt x="144" y="219"/>
                  </a:lnTo>
                  <a:lnTo>
                    <a:pt x="143" y="219"/>
                  </a:lnTo>
                  <a:lnTo>
                    <a:pt x="143" y="219"/>
                  </a:lnTo>
                  <a:lnTo>
                    <a:pt x="142" y="220"/>
                  </a:lnTo>
                  <a:lnTo>
                    <a:pt x="141" y="220"/>
                  </a:lnTo>
                  <a:lnTo>
                    <a:pt x="141" y="220"/>
                  </a:lnTo>
                  <a:lnTo>
                    <a:pt x="140" y="220"/>
                  </a:lnTo>
                  <a:lnTo>
                    <a:pt x="139" y="220"/>
                  </a:lnTo>
                  <a:lnTo>
                    <a:pt x="139" y="220"/>
                  </a:lnTo>
                  <a:lnTo>
                    <a:pt x="138" y="220"/>
                  </a:lnTo>
                  <a:lnTo>
                    <a:pt x="136" y="220"/>
                  </a:lnTo>
                  <a:lnTo>
                    <a:pt x="133" y="219"/>
                  </a:lnTo>
                  <a:lnTo>
                    <a:pt x="131" y="218"/>
                  </a:lnTo>
                  <a:lnTo>
                    <a:pt x="129" y="218"/>
                  </a:lnTo>
                  <a:lnTo>
                    <a:pt x="127" y="217"/>
                  </a:lnTo>
                  <a:lnTo>
                    <a:pt x="125" y="217"/>
                  </a:lnTo>
                  <a:lnTo>
                    <a:pt x="124" y="217"/>
                  </a:lnTo>
                  <a:lnTo>
                    <a:pt x="123" y="217"/>
                  </a:lnTo>
                  <a:lnTo>
                    <a:pt x="123" y="217"/>
                  </a:lnTo>
                  <a:lnTo>
                    <a:pt x="122" y="218"/>
                  </a:lnTo>
                  <a:lnTo>
                    <a:pt x="121" y="218"/>
                  </a:lnTo>
                  <a:lnTo>
                    <a:pt x="120" y="219"/>
                  </a:lnTo>
                  <a:lnTo>
                    <a:pt x="120" y="219"/>
                  </a:lnTo>
                  <a:lnTo>
                    <a:pt x="119" y="220"/>
                  </a:lnTo>
                  <a:lnTo>
                    <a:pt x="119" y="221"/>
                  </a:lnTo>
                  <a:lnTo>
                    <a:pt x="119" y="222"/>
                  </a:lnTo>
                  <a:lnTo>
                    <a:pt x="119" y="226"/>
                  </a:lnTo>
                  <a:lnTo>
                    <a:pt x="118" y="227"/>
                  </a:lnTo>
                  <a:lnTo>
                    <a:pt x="118" y="228"/>
                  </a:lnTo>
                  <a:lnTo>
                    <a:pt x="118" y="229"/>
                  </a:lnTo>
                  <a:lnTo>
                    <a:pt x="117" y="230"/>
                  </a:lnTo>
                  <a:lnTo>
                    <a:pt x="117" y="231"/>
                  </a:lnTo>
                  <a:lnTo>
                    <a:pt x="116" y="231"/>
                  </a:lnTo>
                  <a:lnTo>
                    <a:pt x="116" y="232"/>
                  </a:lnTo>
                  <a:lnTo>
                    <a:pt x="115" y="233"/>
                  </a:lnTo>
                  <a:lnTo>
                    <a:pt x="113" y="234"/>
                  </a:lnTo>
                  <a:lnTo>
                    <a:pt x="112" y="234"/>
                  </a:lnTo>
                  <a:lnTo>
                    <a:pt x="112" y="235"/>
                  </a:lnTo>
                  <a:lnTo>
                    <a:pt x="111" y="236"/>
                  </a:lnTo>
                  <a:lnTo>
                    <a:pt x="111" y="236"/>
                  </a:lnTo>
                  <a:lnTo>
                    <a:pt x="109" y="239"/>
                  </a:lnTo>
                  <a:lnTo>
                    <a:pt x="108" y="240"/>
                  </a:lnTo>
                  <a:lnTo>
                    <a:pt x="107" y="241"/>
                  </a:lnTo>
                  <a:lnTo>
                    <a:pt x="107" y="242"/>
                  </a:lnTo>
                  <a:lnTo>
                    <a:pt x="105" y="243"/>
                  </a:lnTo>
                  <a:lnTo>
                    <a:pt x="102" y="245"/>
                  </a:lnTo>
                  <a:lnTo>
                    <a:pt x="100" y="248"/>
                  </a:lnTo>
                  <a:lnTo>
                    <a:pt x="99" y="248"/>
                  </a:lnTo>
                  <a:lnTo>
                    <a:pt x="99" y="248"/>
                  </a:lnTo>
                  <a:lnTo>
                    <a:pt x="98" y="248"/>
                  </a:lnTo>
                  <a:lnTo>
                    <a:pt x="97" y="248"/>
                  </a:lnTo>
                  <a:lnTo>
                    <a:pt x="91" y="249"/>
                  </a:lnTo>
                  <a:lnTo>
                    <a:pt x="90" y="249"/>
                  </a:lnTo>
                  <a:lnTo>
                    <a:pt x="88" y="249"/>
                  </a:lnTo>
                  <a:lnTo>
                    <a:pt x="87" y="249"/>
                  </a:lnTo>
                  <a:lnTo>
                    <a:pt x="85" y="249"/>
                  </a:lnTo>
                  <a:lnTo>
                    <a:pt x="84" y="249"/>
                  </a:lnTo>
                  <a:lnTo>
                    <a:pt x="83" y="250"/>
                  </a:lnTo>
                  <a:lnTo>
                    <a:pt x="79" y="251"/>
                  </a:lnTo>
                  <a:lnTo>
                    <a:pt x="78" y="251"/>
                  </a:lnTo>
                  <a:lnTo>
                    <a:pt x="77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5" y="252"/>
                  </a:lnTo>
                  <a:lnTo>
                    <a:pt x="74" y="252"/>
                  </a:lnTo>
                  <a:lnTo>
                    <a:pt x="73" y="252"/>
                  </a:lnTo>
                  <a:lnTo>
                    <a:pt x="72" y="252"/>
                  </a:lnTo>
                  <a:lnTo>
                    <a:pt x="72" y="251"/>
                  </a:lnTo>
                  <a:lnTo>
                    <a:pt x="71" y="251"/>
                  </a:lnTo>
                  <a:lnTo>
                    <a:pt x="71" y="251"/>
                  </a:lnTo>
                  <a:lnTo>
                    <a:pt x="70" y="250"/>
                  </a:lnTo>
                  <a:lnTo>
                    <a:pt x="70" y="250"/>
                  </a:lnTo>
                  <a:lnTo>
                    <a:pt x="69" y="249"/>
                  </a:lnTo>
                  <a:lnTo>
                    <a:pt x="69" y="249"/>
                  </a:lnTo>
                  <a:lnTo>
                    <a:pt x="69" y="248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8" y="244"/>
                  </a:lnTo>
                  <a:lnTo>
                    <a:pt x="67" y="242"/>
                  </a:lnTo>
                  <a:lnTo>
                    <a:pt x="67" y="241"/>
                  </a:lnTo>
                  <a:lnTo>
                    <a:pt x="66" y="240"/>
                  </a:lnTo>
                  <a:lnTo>
                    <a:pt x="66" y="239"/>
                  </a:lnTo>
                  <a:lnTo>
                    <a:pt x="66" y="239"/>
                  </a:lnTo>
                  <a:lnTo>
                    <a:pt x="66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4" y="238"/>
                  </a:lnTo>
                  <a:lnTo>
                    <a:pt x="63" y="238"/>
                  </a:lnTo>
                  <a:lnTo>
                    <a:pt x="62" y="239"/>
                  </a:lnTo>
                  <a:lnTo>
                    <a:pt x="61" y="239"/>
                  </a:lnTo>
                  <a:lnTo>
                    <a:pt x="60" y="239"/>
                  </a:lnTo>
                  <a:lnTo>
                    <a:pt x="59" y="240"/>
                  </a:lnTo>
                  <a:lnTo>
                    <a:pt x="58" y="240"/>
                  </a:lnTo>
                  <a:lnTo>
                    <a:pt x="57" y="240"/>
                  </a:lnTo>
                  <a:lnTo>
                    <a:pt x="57" y="240"/>
                  </a:lnTo>
                  <a:lnTo>
                    <a:pt x="56" y="240"/>
                  </a:lnTo>
                  <a:lnTo>
                    <a:pt x="56" y="240"/>
                  </a:lnTo>
                  <a:lnTo>
                    <a:pt x="55" y="240"/>
                  </a:lnTo>
                  <a:lnTo>
                    <a:pt x="54" y="240"/>
                  </a:lnTo>
                  <a:lnTo>
                    <a:pt x="51" y="239"/>
                  </a:lnTo>
                  <a:lnTo>
                    <a:pt x="51" y="238"/>
                  </a:lnTo>
                  <a:lnTo>
                    <a:pt x="50" y="238"/>
                  </a:lnTo>
                  <a:lnTo>
                    <a:pt x="49" y="238"/>
                  </a:lnTo>
                  <a:lnTo>
                    <a:pt x="48" y="238"/>
                  </a:lnTo>
                  <a:lnTo>
                    <a:pt x="47" y="239"/>
                  </a:lnTo>
                  <a:lnTo>
                    <a:pt x="47" y="239"/>
                  </a:lnTo>
                  <a:lnTo>
                    <a:pt x="45" y="240"/>
                  </a:lnTo>
                  <a:lnTo>
                    <a:pt x="44" y="240"/>
                  </a:lnTo>
                  <a:lnTo>
                    <a:pt x="44" y="241"/>
                  </a:lnTo>
                  <a:lnTo>
                    <a:pt x="43" y="241"/>
                  </a:lnTo>
                  <a:lnTo>
                    <a:pt x="42" y="241"/>
                  </a:lnTo>
                  <a:lnTo>
                    <a:pt x="42" y="241"/>
                  </a:lnTo>
                  <a:lnTo>
                    <a:pt x="42" y="240"/>
                  </a:lnTo>
                  <a:lnTo>
                    <a:pt x="41" y="240"/>
                  </a:lnTo>
                  <a:lnTo>
                    <a:pt x="41" y="240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39" y="236"/>
                  </a:lnTo>
                  <a:lnTo>
                    <a:pt x="38" y="235"/>
                  </a:lnTo>
                  <a:lnTo>
                    <a:pt x="38" y="234"/>
                  </a:lnTo>
                  <a:lnTo>
                    <a:pt x="37" y="233"/>
                  </a:lnTo>
                  <a:lnTo>
                    <a:pt x="36" y="233"/>
                  </a:lnTo>
                  <a:lnTo>
                    <a:pt x="36" y="232"/>
                  </a:lnTo>
                  <a:lnTo>
                    <a:pt x="35" y="231"/>
                  </a:lnTo>
                  <a:lnTo>
                    <a:pt x="33" y="230"/>
                  </a:lnTo>
                  <a:lnTo>
                    <a:pt x="32" y="229"/>
                  </a:lnTo>
                  <a:lnTo>
                    <a:pt x="30" y="227"/>
                  </a:lnTo>
                  <a:lnTo>
                    <a:pt x="29" y="227"/>
                  </a:lnTo>
                  <a:lnTo>
                    <a:pt x="28" y="226"/>
                  </a:lnTo>
                  <a:lnTo>
                    <a:pt x="27" y="225"/>
                  </a:lnTo>
                  <a:lnTo>
                    <a:pt x="27" y="224"/>
                  </a:lnTo>
                  <a:lnTo>
                    <a:pt x="26" y="224"/>
                  </a:lnTo>
                  <a:lnTo>
                    <a:pt x="24" y="220"/>
                  </a:lnTo>
                  <a:lnTo>
                    <a:pt x="22" y="215"/>
                  </a:lnTo>
                  <a:lnTo>
                    <a:pt x="21" y="214"/>
                  </a:lnTo>
                  <a:lnTo>
                    <a:pt x="21" y="214"/>
                  </a:lnTo>
                  <a:lnTo>
                    <a:pt x="18" y="207"/>
                  </a:lnTo>
                  <a:lnTo>
                    <a:pt x="18" y="206"/>
                  </a:lnTo>
                  <a:lnTo>
                    <a:pt x="17" y="204"/>
                  </a:lnTo>
                  <a:lnTo>
                    <a:pt x="16" y="202"/>
                  </a:lnTo>
                  <a:lnTo>
                    <a:pt x="15" y="201"/>
                  </a:lnTo>
                  <a:lnTo>
                    <a:pt x="15" y="200"/>
                  </a:lnTo>
                  <a:lnTo>
                    <a:pt x="13" y="198"/>
                  </a:lnTo>
                  <a:lnTo>
                    <a:pt x="13" y="197"/>
                  </a:lnTo>
                  <a:lnTo>
                    <a:pt x="12" y="195"/>
                  </a:lnTo>
                  <a:lnTo>
                    <a:pt x="11" y="194"/>
                  </a:lnTo>
                  <a:lnTo>
                    <a:pt x="10" y="193"/>
                  </a:lnTo>
                  <a:lnTo>
                    <a:pt x="8" y="189"/>
                  </a:lnTo>
                  <a:lnTo>
                    <a:pt x="7" y="185"/>
                  </a:lnTo>
                  <a:lnTo>
                    <a:pt x="6" y="183"/>
                  </a:lnTo>
                  <a:lnTo>
                    <a:pt x="5" y="182"/>
                  </a:lnTo>
                  <a:lnTo>
                    <a:pt x="5" y="180"/>
                  </a:lnTo>
                  <a:lnTo>
                    <a:pt x="4" y="180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3" y="174"/>
                  </a:lnTo>
                  <a:lnTo>
                    <a:pt x="3" y="171"/>
                  </a:lnTo>
                  <a:lnTo>
                    <a:pt x="2" y="170"/>
                  </a:lnTo>
                  <a:lnTo>
                    <a:pt x="2" y="169"/>
                  </a:lnTo>
                  <a:lnTo>
                    <a:pt x="1" y="167"/>
                  </a:lnTo>
                  <a:lnTo>
                    <a:pt x="1" y="166"/>
                  </a:lnTo>
                  <a:lnTo>
                    <a:pt x="0" y="166"/>
                  </a:lnTo>
                  <a:lnTo>
                    <a:pt x="0" y="165"/>
                  </a:lnTo>
                  <a:lnTo>
                    <a:pt x="0" y="164"/>
                  </a:lnTo>
                  <a:lnTo>
                    <a:pt x="0" y="163"/>
                  </a:lnTo>
                  <a:lnTo>
                    <a:pt x="0" y="162"/>
                  </a:lnTo>
                  <a:lnTo>
                    <a:pt x="1" y="162"/>
                  </a:lnTo>
                  <a:lnTo>
                    <a:pt x="1" y="161"/>
                  </a:lnTo>
                  <a:lnTo>
                    <a:pt x="1" y="161"/>
                  </a:lnTo>
                  <a:lnTo>
                    <a:pt x="2" y="160"/>
                  </a:lnTo>
                  <a:lnTo>
                    <a:pt x="3" y="158"/>
                  </a:lnTo>
                  <a:lnTo>
                    <a:pt x="5" y="155"/>
                  </a:lnTo>
                  <a:lnTo>
                    <a:pt x="5" y="154"/>
                  </a:lnTo>
                  <a:lnTo>
                    <a:pt x="6" y="153"/>
                  </a:lnTo>
                  <a:lnTo>
                    <a:pt x="6" y="152"/>
                  </a:lnTo>
                  <a:lnTo>
                    <a:pt x="6" y="151"/>
                  </a:lnTo>
                  <a:lnTo>
                    <a:pt x="7" y="148"/>
                  </a:lnTo>
                  <a:lnTo>
                    <a:pt x="7" y="147"/>
                  </a:lnTo>
                  <a:lnTo>
                    <a:pt x="7" y="146"/>
                  </a:lnTo>
                  <a:lnTo>
                    <a:pt x="8" y="144"/>
                  </a:lnTo>
                  <a:lnTo>
                    <a:pt x="8" y="143"/>
                  </a:lnTo>
                  <a:lnTo>
                    <a:pt x="9" y="142"/>
                  </a:lnTo>
                  <a:lnTo>
                    <a:pt x="9" y="141"/>
                  </a:lnTo>
                  <a:lnTo>
                    <a:pt x="10" y="140"/>
                  </a:lnTo>
                  <a:lnTo>
                    <a:pt x="10" y="140"/>
                  </a:lnTo>
                  <a:lnTo>
                    <a:pt x="11" y="139"/>
                  </a:lnTo>
                  <a:lnTo>
                    <a:pt x="12" y="138"/>
                  </a:lnTo>
                  <a:lnTo>
                    <a:pt x="15" y="136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9" y="133"/>
                  </a:lnTo>
                  <a:lnTo>
                    <a:pt x="20" y="132"/>
                  </a:lnTo>
                  <a:lnTo>
                    <a:pt x="21" y="132"/>
                  </a:lnTo>
                  <a:lnTo>
                    <a:pt x="21" y="131"/>
                  </a:lnTo>
                  <a:lnTo>
                    <a:pt x="21" y="131"/>
                  </a:lnTo>
                  <a:lnTo>
                    <a:pt x="22" y="131"/>
                  </a:lnTo>
                  <a:lnTo>
                    <a:pt x="22" y="130"/>
                  </a:lnTo>
                  <a:lnTo>
                    <a:pt x="22" y="130"/>
                  </a:lnTo>
                  <a:lnTo>
                    <a:pt x="22" y="128"/>
                  </a:lnTo>
                  <a:lnTo>
                    <a:pt x="22" y="127"/>
                  </a:lnTo>
                  <a:lnTo>
                    <a:pt x="22" y="126"/>
                  </a:lnTo>
                  <a:lnTo>
                    <a:pt x="22" y="125"/>
                  </a:lnTo>
                  <a:lnTo>
                    <a:pt x="23" y="124"/>
                  </a:lnTo>
                  <a:lnTo>
                    <a:pt x="23" y="122"/>
                  </a:lnTo>
                  <a:lnTo>
                    <a:pt x="24" y="121"/>
                  </a:lnTo>
                  <a:lnTo>
                    <a:pt x="24" y="120"/>
                  </a:lnTo>
                  <a:lnTo>
                    <a:pt x="25" y="119"/>
                  </a:lnTo>
                  <a:lnTo>
                    <a:pt x="25" y="118"/>
                  </a:lnTo>
                  <a:lnTo>
                    <a:pt x="26" y="117"/>
                  </a:lnTo>
                  <a:lnTo>
                    <a:pt x="26" y="117"/>
                  </a:lnTo>
                  <a:lnTo>
                    <a:pt x="27" y="116"/>
                  </a:lnTo>
                  <a:lnTo>
                    <a:pt x="29" y="114"/>
                  </a:lnTo>
                  <a:lnTo>
                    <a:pt x="29" y="113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0" y="111"/>
                  </a:lnTo>
                  <a:lnTo>
                    <a:pt x="31" y="110"/>
                  </a:lnTo>
                  <a:lnTo>
                    <a:pt x="31" y="107"/>
                  </a:lnTo>
                  <a:lnTo>
                    <a:pt x="31" y="106"/>
                  </a:lnTo>
                  <a:lnTo>
                    <a:pt x="31" y="105"/>
                  </a:lnTo>
                  <a:lnTo>
                    <a:pt x="31" y="103"/>
                  </a:lnTo>
                  <a:lnTo>
                    <a:pt x="31" y="100"/>
                  </a:lnTo>
                  <a:lnTo>
                    <a:pt x="31" y="99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3" y="97"/>
                  </a:lnTo>
                  <a:lnTo>
                    <a:pt x="35" y="96"/>
                  </a:lnTo>
                  <a:lnTo>
                    <a:pt x="36" y="96"/>
                  </a:lnTo>
                  <a:lnTo>
                    <a:pt x="37" y="96"/>
                  </a:lnTo>
                  <a:lnTo>
                    <a:pt x="37" y="96"/>
                  </a:lnTo>
                  <a:lnTo>
                    <a:pt x="38" y="96"/>
                  </a:lnTo>
                  <a:lnTo>
                    <a:pt x="39" y="96"/>
                  </a:lnTo>
                  <a:lnTo>
                    <a:pt x="40" y="97"/>
                  </a:lnTo>
                  <a:lnTo>
                    <a:pt x="42" y="98"/>
                  </a:lnTo>
                  <a:lnTo>
                    <a:pt x="43" y="98"/>
                  </a:lnTo>
                  <a:lnTo>
                    <a:pt x="45" y="99"/>
                  </a:lnTo>
                  <a:lnTo>
                    <a:pt x="48" y="101"/>
                  </a:lnTo>
                  <a:lnTo>
                    <a:pt x="49" y="102"/>
                  </a:lnTo>
                  <a:lnTo>
                    <a:pt x="51" y="102"/>
                  </a:lnTo>
                  <a:lnTo>
                    <a:pt x="52" y="103"/>
                  </a:lnTo>
                  <a:lnTo>
                    <a:pt x="53" y="103"/>
                  </a:lnTo>
                  <a:lnTo>
                    <a:pt x="54" y="103"/>
                  </a:lnTo>
                  <a:lnTo>
                    <a:pt x="55" y="103"/>
                  </a:lnTo>
                  <a:lnTo>
                    <a:pt x="56" y="103"/>
                  </a:lnTo>
                  <a:lnTo>
                    <a:pt x="56" y="103"/>
                  </a:lnTo>
                  <a:lnTo>
                    <a:pt x="57" y="103"/>
                  </a:lnTo>
                  <a:lnTo>
                    <a:pt x="58" y="103"/>
                  </a:lnTo>
                  <a:lnTo>
                    <a:pt x="59" y="103"/>
                  </a:lnTo>
                  <a:lnTo>
                    <a:pt x="59" y="102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1" y="101"/>
                  </a:lnTo>
                  <a:lnTo>
                    <a:pt x="61" y="101"/>
                  </a:lnTo>
                  <a:lnTo>
                    <a:pt x="61" y="100"/>
                  </a:lnTo>
                  <a:lnTo>
                    <a:pt x="62" y="99"/>
                  </a:lnTo>
                  <a:lnTo>
                    <a:pt x="62" y="99"/>
                  </a:lnTo>
                  <a:lnTo>
                    <a:pt x="63" y="98"/>
                  </a:lnTo>
                  <a:lnTo>
                    <a:pt x="64" y="92"/>
                  </a:lnTo>
                  <a:lnTo>
                    <a:pt x="65" y="91"/>
                  </a:lnTo>
                  <a:lnTo>
                    <a:pt x="65" y="89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7" y="87"/>
                  </a:lnTo>
                  <a:lnTo>
                    <a:pt x="67" y="86"/>
                  </a:lnTo>
                  <a:lnTo>
                    <a:pt x="67" y="86"/>
                  </a:lnTo>
                  <a:lnTo>
                    <a:pt x="69" y="85"/>
                  </a:lnTo>
                  <a:lnTo>
                    <a:pt x="70" y="84"/>
                  </a:lnTo>
                  <a:lnTo>
                    <a:pt x="72" y="83"/>
                  </a:lnTo>
                  <a:lnTo>
                    <a:pt x="74" y="82"/>
                  </a:lnTo>
                  <a:lnTo>
                    <a:pt x="75" y="81"/>
                  </a:lnTo>
                  <a:lnTo>
                    <a:pt x="76" y="80"/>
                  </a:lnTo>
                  <a:lnTo>
                    <a:pt x="78" y="79"/>
                  </a:lnTo>
                  <a:lnTo>
                    <a:pt x="79" y="77"/>
                  </a:lnTo>
                  <a:lnTo>
                    <a:pt x="79" y="77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1" y="76"/>
                  </a:lnTo>
                  <a:lnTo>
                    <a:pt x="86" y="78"/>
                  </a:lnTo>
                  <a:lnTo>
                    <a:pt x="90" y="80"/>
                  </a:lnTo>
                  <a:lnTo>
                    <a:pt x="92" y="80"/>
                  </a:lnTo>
                  <a:lnTo>
                    <a:pt x="95" y="81"/>
                  </a:lnTo>
                  <a:lnTo>
                    <a:pt x="100" y="84"/>
                  </a:lnTo>
                  <a:lnTo>
                    <a:pt x="103" y="85"/>
                  </a:lnTo>
                  <a:lnTo>
                    <a:pt x="104" y="85"/>
                  </a:lnTo>
                  <a:lnTo>
                    <a:pt x="105" y="86"/>
                  </a:lnTo>
                  <a:lnTo>
                    <a:pt x="106" y="87"/>
                  </a:lnTo>
                  <a:lnTo>
                    <a:pt x="108" y="88"/>
                  </a:lnTo>
                  <a:lnTo>
                    <a:pt x="109" y="89"/>
                  </a:lnTo>
                  <a:lnTo>
                    <a:pt x="110" y="89"/>
                  </a:lnTo>
                  <a:lnTo>
                    <a:pt x="110" y="90"/>
                  </a:lnTo>
                  <a:lnTo>
                    <a:pt x="111" y="90"/>
                  </a:lnTo>
                  <a:lnTo>
                    <a:pt x="112" y="90"/>
                  </a:lnTo>
                  <a:lnTo>
                    <a:pt x="113" y="91"/>
                  </a:lnTo>
                  <a:lnTo>
                    <a:pt x="116" y="91"/>
                  </a:lnTo>
                  <a:lnTo>
                    <a:pt x="117" y="91"/>
                  </a:lnTo>
                  <a:lnTo>
                    <a:pt x="121" y="92"/>
                  </a:lnTo>
                  <a:lnTo>
                    <a:pt x="123" y="92"/>
                  </a:lnTo>
                  <a:lnTo>
                    <a:pt x="124" y="92"/>
                  </a:lnTo>
                  <a:lnTo>
                    <a:pt x="125" y="92"/>
                  </a:lnTo>
                  <a:lnTo>
                    <a:pt x="126" y="92"/>
                  </a:lnTo>
                  <a:lnTo>
                    <a:pt x="128" y="92"/>
                  </a:lnTo>
                  <a:lnTo>
                    <a:pt x="129" y="92"/>
                  </a:lnTo>
                  <a:lnTo>
                    <a:pt x="129" y="92"/>
                  </a:lnTo>
                  <a:lnTo>
                    <a:pt x="130" y="91"/>
                  </a:lnTo>
                  <a:lnTo>
                    <a:pt x="131" y="91"/>
                  </a:lnTo>
                  <a:lnTo>
                    <a:pt x="131" y="90"/>
                  </a:lnTo>
                  <a:lnTo>
                    <a:pt x="132" y="90"/>
                  </a:lnTo>
                  <a:lnTo>
                    <a:pt x="133" y="89"/>
                  </a:lnTo>
                  <a:lnTo>
                    <a:pt x="133" y="88"/>
                  </a:lnTo>
                  <a:lnTo>
                    <a:pt x="134" y="86"/>
                  </a:lnTo>
                  <a:lnTo>
                    <a:pt x="136" y="81"/>
                  </a:lnTo>
                  <a:lnTo>
                    <a:pt x="137" y="79"/>
                  </a:lnTo>
                  <a:lnTo>
                    <a:pt x="138" y="77"/>
                  </a:lnTo>
                  <a:lnTo>
                    <a:pt x="139" y="75"/>
                  </a:lnTo>
                  <a:lnTo>
                    <a:pt x="140" y="73"/>
                  </a:lnTo>
                  <a:lnTo>
                    <a:pt x="141" y="73"/>
                  </a:lnTo>
                  <a:lnTo>
                    <a:pt x="141" y="72"/>
                  </a:lnTo>
                  <a:lnTo>
                    <a:pt x="142" y="72"/>
                  </a:lnTo>
                  <a:lnTo>
                    <a:pt x="142" y="71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44" y="70"/>
                  </a:lnTo>
                  <a:lnTo>
                    <a:pt x="145" y="70"/>
                  </a:lnTo>
                  <a:lnTo>
                    <a:pt x="149" y="69"/>
                  </a:lnTo>
                  <a:lnTo>
                    <a:pt x="153" y="69"/>
                  </a:lnTo>
                  <a:lnTo>
                    <a:pt x="154" y="68"/>
                  </a:lnTo>
                  <a:lnTo>
                    <a:pt x="155" y="68"/>
                  </a:lnTo>
                  <a:lnTo>
                    <a:pt x="157" y="69"/>
                  </a:lnTo>
                  <a:lnTo>
                    <a:pt x="159" y="69"/>
                  </a:lnTo>
                  <a:lnTo>
                    <a:pt x="160" y="69"/>
                  </a:lnTo>
                  <a:lnTo>
                    <a:pt x="161" y="69"/>
                  </a:lnTo>
                  <a:lnTo>
                    <a:pt x="164" y="69"/>
                  </a:lnTo>
                  <a:lnTo>
                    <a:pt x="165" y="69"/>
                  </a:lnTo>
                  <a:lnTo>
                    <a:pt x="166" y="69"/>
                  </a:lnTo>
                  <a:lnTo>
                    <a:pt x="167" y="70"/>
                  </a:lnTo>
                  <a:lnTo>
                    <a:pt x="169" y="70"/>
                  </a:lnTo>
                  <a:lnTo>
                    <a:pt x="175" y="72"/>
                  </a:lnTo>
                  <a:lnTo>
                    <a:pt x="177" y="72"/>
                  </a:lnTo>
                  <a:lnTo>
                    <a:pt x="178" y="72"/>
                  </a:lnTo>
                  <a:lnTo>
                    <a:pt x="179" y="72"/>
                  </a:lnTo>
                  <a:lnTo>
                    <a:pt x="180" y="72"/>
                  </a:lnTo>
                  <a:lnTo>
                    <a:pt x="181" y="72"/>
                  </a:lnTo>
                  <a:lnTo>
                    <a:pt x="182" y="72"/>
                  </a:lnTo>
                  <a:lnTo>
                    <a:pt x="183" y="72"/>
                  </a:lnTo>
                  <a:lnTo>
                    <a:pt x="184" y="72"/>
                  </a:lnTo>
                  <a:lnTo>
                    <a:pt x="186" y="71"/>
                  </a:lnTo>
                  <a:lnTo>
                    <a:pt x="187" y="71"/>
                  </a:lnTo>
                  <a:lnTo>
                    <a:pt x="187" y="70"/>
                  </a:lnTo>
                  <a:lnTo>
                    <a:pt x="188" y="70"/>
                  </a:lnTo>
                  <a:lnTo>
                    <a:pt x="189" y="70"/>
                  </a:lnTo>
                  <a:lnTo>
                    <a:pt x="189" y="69"/>
                  </a:lnTo>
                  <a:lnTo>
                    <a:pt x="190" y="69"/>
                  </a:lnTo>
                  <a:lnTo>
                    <a:pt x="190" y="68"/>
                  </a:lnTo>
                  <a:lnTo>
                    <a:pt x="190" y="68"/>
                  </a:lnTo>
                  <a:lnTo>
                    <a:pt x="191" y="67"/>
                  </a:lnTo>
                  <a:lnTo>
                    <a:pt x="191" y="67"/>
                  </a:lnTo>
                  <a:lnTo>
                    <a:pt x="191" y="66"/>
                  </a:lnTo>
                  <a:lnTo>
                    <a:pt x="191" y="65"/>
                  </a:lnTo>
                  <a:lnTo>
                    <a:pt x="191" y="63"/>
                  </a:lnTo>
                  <a:lnTo>
                    <a:pt x="191" y="59"/>
                  </a:lnTo>
                  <a:lnTo>
                    <a:pt x="192" y="54"/>
                  </a:lnTo>
                  <a:lnTo>
                    <a:pt x="192" y="54"/>
                  </a:lnTo>
                  <a:lnTo>
                    <a:pt x="191" y="51"/>
                  </a:lnTo>
                  <a:lnTo>
                    <a:pt x="191" y="49"/>
                  </a:lnTo>
                  <a:lnTo>
                    <a:pt x="191" y="48"/>
                  </a:lnTo>
                  <a:lnTo>
                    <a:pt x="191" y="47"/>
                  </a:lnTo>
                  <a:lnTo>
                    <a:pt x="191" y="46"/>
                  </a:lnTo>
                  <a:lnTo>
                    <a:pt x="192" y="44"/>
                  </a:lnTo>
                  <a:lnTo>
                    <a:pt x="194" y="39"/>
                  </a:lnTo>
                  <a:lnTo>
                    <a:pt x="194" y="37"/>
                  </a:lnTo>
                  <a:lnTo>
                    <a:pt x="195" y="36"/>
                  </a:lnTo>
                  <a:lnTo>
                    <a:pt x="195" y="34"/>
                  </a:lnTo>
                  <a:lnTo>
                    <a:pt x="195" y="32"/>
                  </a:lnTo>
                  <a:lnTo>
                    <a:pt x="196" y="27"/>
                  </a:lnTo>
                  <a:lnTo>
                    <a:pt x="196" y="25"/>
                  </a:lnTo>
                  <a:lnTo>
                    <a:pt x="196" y="24"/>
                  </a:lnTo>
                  <a:lnTo>
                    <a:pt x="196" y="24"/>
                  </a:lnTo>
                  <a:lnTo>
                    <a:pt x="195" y="23"/>
                  </a:lnTo>
                  <a:lnTo>
                    <a:pt x="195" y="22"/>
                  </a:lnTo>
                  <a:lnTo>
                    <a:pt x="195" y="22"/>
                  </a:lnTo>
                  <a:lnTo>
                    <a:pt x="194" y="21"/>
                  </a:lnTo>
                  <a:lnTo>
                    <a:pt x="194" y="20"/>
                  </a:lnTo>
                  <a:lnTo>
                    <a:pt x="194" y="20"/>
                  </a:lnTo>
                  <a:lnTo>
                    <a:pt x="193" y="20"/>
                  </a:lnTo>
                  <a:lnTo>
                    <a:pt x="193" y="19"/>
                  </a:lnTo>
                  <a:lnTo>
                    <a:pt x="192" y="19"/>
                  </a:lnTo>
                  <a:lnTo>
                    <a:pt x="191" y="18"/>
                  </a:lnTo>
                  <a:lnTo>
                    <a:pt x="189" y="18"/>
                  </a:lnTo>
                  <a:lnTo>
                    <a:pt x="188" y="18"/>
                  </a:lnTo>
                  <a:lnTo>
                    <a:pt x="188" y="17"/>
                  </a:lnTo>
                  <a:lnTo>
                    <a:pt x="187" y="17"/>
                  </a:lnTo>
                  <a:lnTo>
                    <a:pt x="186" y="16"/>
                  </a:lnTo>
                  <a:lnTo>
                    <a:pt x="186" y="15"/>
                  </a:lnTo>
                  <a:lnTo>
                    <a:pt x="186" y="15"/>
                  </a:lnTo>
                  <a:lnTo>
                    <a:pt x="185" y="15"/>
                  </a:lnTo>
                  <a:lnTo>
                    <a:pt x="185" y="14"/>
                  </a:lnTo>
                  <a:lnTo>
                    <a:pt x="185" y="13"/>
                  </a:lnTo>
                  <a:lnTo>
                    <a:pt x="185" y="13"/>
                  </a:lnTo>
                  <a:lnTo>
                    <a:pt x="185" y="12"/>
                  </a:lnTo>
                  <a:lnTo>
                    <a:pt x="185" y="12"/>
                  </a:lnTo>
                  <a:lnTo>
                    <a:pt x="186" y="11"/>
                  </a:lnTo>
                  <a:lnTo>
                    <a:pt x="186" y="10"/>
                  </a:lnTo>
                  <a:lnTo>
                    <a:pt x="186" y="9"/>
                  </a:lnTo>
                  <a:lnTo>
                    <a:pt x="187" y="8"/>
                  </a:lnTo>
                  <a:lnTo>
                    <a:pt x="187" y="8"/>
                  </a:lnTo>
                  <a:lnTo>
                    <a:pt x="188" y="7"/>
                  </a:lnTo>
                  <a:lnTo>
                    <a:pt x="189" y="6"/>
                  </a:lnTo>
                  <a:lnTo>
                    <a:pt x="190" y="5"/>
                  </a:lnTo>
                  <a:lnTo>
                    <a:pt x="195" y="2"/>
                  </a:lnTo>
                  <a:lnTo>
                    <a:pt x="196" y="1"/>
                  </a:lnTo>
                  <a:lnTo>
                    <a:pt x="197" y="0"/>
                  </a:lnTo>
                  <a:lnTo>
                    <a:pt x="197" y="0"/>
                  </a:lnTo>
                  <a:lnTo>
                    <a:pt x="198" y="0"/>
                  </a:lnTo>
                  <a:close/>
                </a:path>
              </a:pathLst>
            </a:custGeom>
            <a:solidFill>
              <a:srgbClr val="CCCCCC"/>
            </a:solidFill>
            <a:ln w="63500">
              <a:solidFill>
                <a:srgbClr val="CCCCC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Freeform 22">
              <a:extLst>
                <a:ext uri="{FF2B5EF4-FFF2-40B4-BE49-F238E27FC236}">
                  <a16:creationId xmlns:a16="http://schemas.microsoft.com/office/drawing/2014/main" id="{5A1B2482-E03D-1396-1713-157443D5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993"/>
              <a:ext cx="436" cy="339"/>
            </a:xfrm>
            <a:custGeom>
              <a:avLst/>
              <a:gdLst>
                <a:gd name="T0" fmla="*/ 170 w 436"/>
                <a:gd name="T1" fmla="*/ 16 h 339"/>
                <a:gd name="T2" fmla="*/ 204 w 436"/>
                <a:gd name="T3" fmla="*/ 13 h 339"/>
                <a:gd name="T4" fmla="*/ 221 w 436"/>
                <a:gd name="T5" fmla="*/ 46 h 339"/>
                <a:gd name="T6" fmla="*/ 247 w 436"/>
                <a:gd name="T7" fmla="*/ 42 h 339"/>
                <a:gd name="T8" fmla="*/ 262 w 436"/>
                <a:gd name="T9" fmla="*/ 61 h 339"/>
                <a:gd name="T10" fmla="*/ 264 w 436"/>
                <a:gd name="T11" fmla="*/ 79 h 339"/>
                <a:gd name="T12" fmla="*/ 283 w 436"/>
                <a:gd name="T13" fmla="*/ 62 h 339"/>
                <a:gd name="T14" fmla="*/ 310 w 436"/>
                <a:gd name="T15" fmla="*/ 62 h 339"/>
                <a:gd name="T16" fmla="*/ 325 w 436"/>
                <a:gd name="T17" fmla="*/ 61 h 339"/>
                <a:gd name="T18" fmla="*/ 345 w 436"/>
                <a:gd name="T19" fmla="*/ 51 h 339"/>
                <a:gd name="T20" fmla="*/ 376 w 436"/>
                <a:gd name="T21" fmla="*/ 69 h 339"/>
                <a:gd name="T22" fmla="*/ 384 w 436"/>
                <a:gd name="T23" fmla="*/ 96 h 339"/>
                <a:gd name="T24" fmla="*/ 367 w 436"/>
                <a:gd name="T25" fmla="*/ 125 h 339"/>
                <a:gd name="T26" fmla="*/ 348 w 436"/>
                <a:gd name="T27" fmla="*/ 134 h 339"/>
                <a:gd name="T28" fmla="*/ 329 w 436"/>
                <a:gd name="T29" fmla="*/ 147 h 339"/>
                <a:gd name="T30" fmla="*/ 322 w 436"/>
                <a:gd name="T31" fmla="*/ 157 h 339"/>
                <a:gd name="T32" fmla="*/ 335 w 436"/>
                <a:gd name="T33" fmla="*/ 173 h 339"/>
                <a:gd name="T34" fmla="*/ 353 w 436"/>
                <a:gd name="T35" fmla="*/ 183 h 339"/>
                <a:gd name="T36" fmla="*/ 372 w 436"/>
                <a:gd name="T37" fmla="*/ 196 h 339"/>
                <a:gd name="T38" fmla="*/ 392 w 436"/>
                <a:gd name="T39" fmla="*/ 212 h 339"/>
                <a:gd name="T40" fmla="*/ 424 w 436"/>
                <a:gd name="T41" fmla="*/ 250 h 339"/>
                <a:gd name="T42" fmla="*/ 436 w 436"/>
                <a:gd name="T43" fmla="*/ 287 h 339"/>
                <a:gd name="T44" fmla="*/ 417 w 436"/>
                <a:gd name="T45" fmla="*/ 283 h 339"/>
                <a:gd name="T46" fmla="*/ 403 w 436"/>
                <a:gd name="T47" fmla="*/ 293 h 339"/>
                <a:gd name="T48" fmla="*/ 372 w 436"/>
                <a:gd name="T49" fmla="*/ 312 h 339"/>
                <a:gd name="T50" fmla="*/ 361 w 436"/>
                <a:gd name="T51" fmla="*/ 328 h 339"/>
                <a:gd name="T52" fmla="*/ 355 w 436"/>
                <a:gd name="T53" fmla="*/ 337 h 339"/>
                <a:gd name="T54" fmla="*/ 332 w 436"/>
                <a:gd name="T55" fmla="*/ 338 h 339"/>
                <a:gd name="T56" fmla="*/ 303 w 436"/>
                <a:gd name="T57" fmla="*/ 327 h 339"/>
                <a:gd name="T58" fmla="*/ 278 w 436"/>
                <a:gd name="T59" fmla="*/ 308 h 339"/>
                <a:gd name="T60" fmla="*/ 261 w 436"/>
                <a:gd name="T61" fmla="*/ 289 h 339"/>
                <a:gd name="T62" fmla="*/ 229 w 436"/>
                <a:gd name="T63" fmla="*/ 290 h 339"/>
                <a:gd name="T64" fmla="*/ 209 w 436"/>
                <a:gd name="T65" fmla="*/ 296 h 339"/>
                <a:gd name="T66" fmla="*/ 198 w 436"/>
                <a:gd name="T67" fmla="*/ 280 h 339"/>
                <a:gd name="T68" fmla="*/ 181 w 436"/>
                <a:gd name="T69" fmla="*/ 297 h 339"/>
                <a:gd name="T70" fmla="*/ 155 w 436"/>
                <a:gd name="T71" fmla="*/ 298 h 339"/>
                <a:gd name="T72" fmla="*/ 136 w 436"/>
                <a:gd name="T73" fmla="*/ 294 h 339"/>
                <a:gd name="T74" fmla="*/ 117 w 436"/>
                <a:gd name="T75" fmla="*/ 308 h 339"/>
                <a:gd name="T76" fmla="*/ 98 w 436"/>
                <a:gd name="T77" fmla="*/ 312 h 339"/>
                <a:gd name="T78" fmla="*/ 90 w 436"/>
                <a:gd name="T79" fmla="*/ 299 h 339"/>
                <a:gd name="T80" fmla="*/ 74 w 436"/>
                <a:gd name="T81" fmla="*/ 286 h 339"/>
                <a:gd name="T82" fmla="*/ 83 w 436"/>
                <a:gd name="T83" fmla="*/ 265 h 339"/>
                <a:gd name="T84" fmla="*/ 78 w 436"/>
                <a:gd name="T85" fmla="*/ 234 h 339"/>
                <a:gd name="T86" fmla="*/ 63 w 436"/>
                <a:gd name="T87" fmla="*/ 227 h 339"/>
                <a:gd name="T88" fmla="*/ 32 w 436"/>
                <a:gd name="T89" fmla="*/ 226 h 339"/>
                <a:gd name="T90" fmla="*/ 22 w 436"/>
                <a:gd name="T91" fmla="*/ 208 h 339"/>
                <a:gd name="T92" fmla="*/ 5 w 436"/>
                <a:gd name="T93" fmla="*/ 200 h 339"/>
                <a:gd name="T94" fmla="*/ 3 w 436"/>
                <a:gd name="T95" fmla="*/ 184 h 339"/>
                <a:gd name="T96" fmla="*/ 11 w 436"/>
                <a:gd name="T97" fmla="*/ 159 h 339"/>
                <a:gd name="T98" fmla="*/ 3 w 436"/>
                <a:gd name="T99" fmla="*/ 131 h 339"/>
                <a:gd name="T100" fmla="*/ 21 w 436"/>
                <a:gd name="T101" fmla="*/ 127 h 339"/>
                <a:gd name="T102" fmla="*/ 43 w 436"/>
                <a:gd name="T103" fmla="*/ 122 h 339"/>
                <a:gd name="T104" fmla="*/ 63 w 436"/>
                <a:gd name="T105" fmla="*/ 125 h 339"/>
                <a:gd name="T106" fmla="*/ 80 w 436"/>
                <a:gd name="T107" fmla="*/ 134 h 339"/>
                <a:gd name="T108" fmla="*/ 96 w 436"/>
                <a:gd name="T109" fmla="*/ 135 h 339"/>
                <a:gd name="T110" fmla="*/ 104 w 436"/>
                <a:gd name="T111" fmla="*/ 115 h 339"/>
                <a:gd name="T112" fmla="*/ 120 w 436"/>
                <a:gd name="T113" fmla="*/ 120 h 339"/>
                <a:gd name="T114" fmla="*/ 142 w 436"/>
                <a:gd name="T115" fmla="*/ 121 h 339"/>
                <a:gd name="T116" fmla="*/ 145 w 436"/>
                <a:gd name="T117" fmla="*/ 105 h 339"/>
                <a:gd name="T118" fmla="*/ 140 w 436"/>
                <a:gd name="T119" fmla="*/ 76 h 339"/>
                <a:gd name="T120" fmla="*/ 132 w 436"/>
                <a:gd name="T121" fmla="*/ 36 h 339"/>
                <a:gd name="T122" fmla="*/ 123 w 436"/>
                <a:gd name="T123" fmla="*/ 2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36" h="339">
                  <a:moveTo>
                    <a:pt x="127" y="1"/>
                  </a:moveTo>
                  <a:lnTo>
                    <a:pt x="129" y="1"/>
                  </a:lnTo>
                  <a:lnTo>
                    <a:pt x="135" y="1"/>
                  </a:lnTo>
                  <a:lnTo>
                    <a:pt x="137" y="2"/>
                  </a:lnTo>
                  <a:lnTo>
                    <a:pt x="139" y="2"/>
                  </a:lnTo>
                  <a:lnTo>
                    <a:pt x="141" y="2"/>
                  </a:lnTo>
                  <a:lnTo>
                    <a:pt x="143" y="3"/>
                  </a:lnTo>
                  <a:lnTo>
                    <a:pt x="144" y="3"/>
                  </a:lnTo>
                  <a:lnTo>
                    <a:pt x="145" y="4"/>
                  </a:lnTo>
                  <a:lnTo>
                    <a:pt x="146" y="4"/>
                  </a:lnTo>
                  <a:lnTo>
                    <a:pt x="150" y="6"/>
                  </a:lnTo>
                  <a:lnTo>
                    <a:pt x="152" y="7"/>
                  </a:lnTo>
                  <a:lnTo>
                    <a:pt x="155" y="9"/>
                  </a:lnTo>
                  <a:lnTo>
                    <a:pt x="160" y="10"/>
                  </a:lnTo>
                  <a:lnTo>
                    <a:pt x="161" y="11"/>
                  </a:lnTo>
                  <a:lnTo>
                    <a:pt x="163" y="12"/>
                  </a:lnTo>
                  <a:lnTo>
                    <a:pt x="164" y="12"/>
                  </a:lnTo>
                  <a:lnTo>
                    <a:pt x="165" y="13"/>
                  </a:lnTo>
                  <a:lnTo>
                    <a:pt x="166" y="14"/>
                  </a:lnTo>
                  <a:lnTo>
                    <a:pt x="170" y="16"/>
                  </a:lnTo>
                  <a:lnTo>
                    <a:pt x="170" y="17"/>
                  </a:lnTo>
                  <a:lnTo>
                    <a:pt x="171" y="17"/>
                  </a:lnTo>
                  <a:lnTo>
                    <a:pt x="173" y="18"/>
                  </a:lnTo>
                  <a:lnTo>
                    <a:pt x="174" y="18"/>
                  </a:lnTo>
                  <a:lnTo>
                    <a:pt x="175" y="18"/>
                  </a:lnTo>
                  <a:lnTo>
                    <a:pt x="175" y="19"/>
                  </a:lnTo>
                  <a:lnTo>
                    <a:pt x="176" y="19"/>
                  </a:lnTo>
                  <a:lnTo>
                    <a:pt x="178" y="19"/>
                  </a:lnTo>
                  <a:lnTo>
                    <a:pt x="181" y="19"/>
                  </a:lnTo>
                  <a:lnTo>
                    <a:pt x="183" y="19"/>
                  </a:lnTo>
                  <a:lnTo>
                    <a:pt x="184" y="19"/>
                  </a:lnTo>
                  <a:lnTo>
                    <a:pt x="184" y="19"/>
                  </a:lnTo>
                  <a:lnTo>
                    <a:pt x="187" y="18"/>
                  </a:lnTo>
                  <a:lnTo>
                    <a:pt x="194" y="16"/>
                  </a:lnTo>
                  <a:lnTo>
                    <a:pt x="196" y="16"/>
                  </a:lnTo>
                  <a:lnTo>
                    <a:pt x="199" y="14"/>
                  </a:lnTo>
                  <a:lnTo>
                    <a:pt x="200" y="14"/>
                  </a:lnTo>
                  <a:lnTo>
                    <a:pt x="201" y="14"/>
                  </a:lnTo>
                  <a:lnTo>
                    <a:pt x="203" y="13"/>
                  </a:lnTo>
                  <a:lnTo>
                    <a:pt x="204" y="13"/>
                  </a:lnTo>
                  <a:lnTo>
                    <a:pt x="204" y="14"/>
                  </a:lnTo>
                  <a:lnTo>
                    <a:pt x="205" y="14"/>
                  </a:lnTo>
                  <a:lnTo>
                    <a:pt x="206" y="14"/>
                  </a:lnTo>
                  <a:lnTo>
                    <a:pt x="206" y="15"/>
                  </a:lnTo>
                  <a:lnTo>
                    <a:pt x="207" y="15"/>
                  </a:lnTo>
                  <a:lnTo>
                    <a:pt x="208" y="16"/>
                  </a:lnTo>
                  <a:lnTo>
                    <a:pt x="209" y="17"/>
                  </a:lnTo>
                  <a:lnTo>
                    <a:pt x="209" y="18"/>
                  </a:lnTo>
                  <a:lnTo>
                    <a:pt x="210" y="19"/>
                  </a:lnTo>
                  <a:lnTo>
                    <a:pt x="210" y="20"/>
                  </a:lnTo>
                  <a:lnTo>
                    <a:pt x="211" y="24"/>
                  </a:lnTo>
                  <a:lnTo>
                    <a:pt x="212" y="26"/>
                  </a:lnTo>
                  <a:lnTo>
                    <a:pt x="213" y="28"/>
                  </a:lnTo>
                  <a:lnTo>
                    <a:pt x="216" y="34"/>
                  </a:lnTo>
                  <a:lnTo>
                    <a:pt x="217" y="38"/>
                  </a:lnTo>
                  <a:lnTo>
                    <a:pt x="219" y="41"/>
                  </a:lnTo>
                  <a:lnTo>
                    <a:pt x="219" y="43"/>
                  </a:lnTo>
                  <a:lnTo>
                    <a:pt x="220" y="44"/>
                  </a:lnTo>
                  <a:lnTo>
                    <a:pt x="221" y="45"/>
                  </a:lnTo>
                  <a:lnTo>
                    <a:pt x="221" y="46"/>
                  </a:lnTo>
                  <a:lnTo>
                    <a:pt x="222" y="46"/>
                  </a:lnTo>
                  <a:lnTo>
                    <a:pt x="222" y="46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4" y="48"/>
                  </a:lnTo>
                  <a:lnTo>
                    <a:pt x="225" y="48"/>
                  </a:lnTo>
                  <a:lnTo>
                    <a:pt x="225" y="48"/>
                  </a:lnTo>
                  <a:lnTo>
                    <a:pt x="226" y="48"/>
                  </a:lnTo>
                  <a:lnTo>
                    <a:pt x="227" y="48"/>
                  </a:lnTo>
                  <a:lnTo>
                    <a:pt x="228" y="47"/>
                  </a:lnTo>
                  <a:lnTo>
                    <a:pt x="229" y="47"/>
                  </a:lnTo>
                  <a:lnTo>
                    <a:pt x="231" y="46"/>
                  </a:lnTo>
                  <a:lnTo>
                    <a:pt x="236" y="45"/>
                  </a:lnTo>
                  <a:lnTo>
                    <a:pt x="238" y="44"/>
                  </a:lnTo>
                  <a:lnTo>
                    <a:pt x="241" y="43"/>
                  </a:lnTo>
                  <a:lnTo>
                    <a:pt x="242" y="43"/>
                  </a:lnTo>
                  <a:lnTo>
                    <a:pt x="244" y="42"/>
                  </a:lnTo>
                  <a:lnTo>
                    <a:pt x="245" y="42"/>
                  </a:lnTo>
                  <a:lnTo>
                    <a:pt x="247" y="42"/>
                  </a:lnTo>
                  <a:lnTo>
                    <a:pt x="247" y="41"/>
                  </a:lnTo>
                  <a:lnTo>
                    <a:pt x="249" y="41"/>
                  </a:lnTo>
                  <a:lnTo>
                    <a:pt x="250" y="41"/>
                  </a:lnTo>
                  <a:lnTo>
                    <a:pt x="251" y="42"/>
                  </a:lnTo>
                  <a:lnTo>
                    <a:pt x="252" y="42"/>
                  </a:lnTo>
                  <a:lnTo>
                    <a:pt x="253" y="43"/>
                  </a:lnTo>
                  <a:lnTo>
                    <a:pt x="254" y="43"/>
                  </a:lnTo>
                  <a:lnTo>
                    <a:pt x="255" y="44"/>
                  </a:lnTo>
                  <a:lnTo>
                    <a:pt x="256" y="45"/>
                  </a:lnTo>
                  <a:lnTo>
                    <a:pt x="257" y="45"/>
                  </a:lnTo>
                  <a:lnTo>
                    <a:pt x="257" y="46"/>
                  </a:lnTo>
                  <a:lnTo>
                    <a:pt x="258" y="47"/>
                  </a:lnTo>
                  <a:lnTo>
                    <a:pt x="259" y="49"/>
                  </a:lnTo>
                  <a:lnTo>
                    <a:pt x="259" y="49"/>
                  </a:lnTo>
                  <a:lnTo>
                    <a:pt x="260" y="50"/>
                  </a:lnTo>
                  <a:lnTo>
                    <a:pt x="260" y="52"/>
                  </a:lnTo>
                  <a:lnTo>
                    <a:pt x="261" y="54"/>
                  </a:lnTo>
                  <a:lnTo>
                    <a:pt x="262" y="56"/>
                  </a:lnTo>
                  <a:lnTo>
                    <a:pt x="262" y="58"/>
                  </a:lnTo>
                  <a:lnTo>
                    <a:pt x="262" y="61"/>
                  </a:lnTo>
                  <a:lnTo>
                    <a:pt x="263" y="65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3" y="68"/>
                  </a:lnTo>
                  <a:lnTo>
                    <a:pt x="263" y="68"/>
                  </a:lnTo>
                  <a:lnTo>
                    <a:pt x="263" y="69"/>
                  </a:lnTo>
                  <a:lnTo>
                    <a:pt x="263" y="69"/>
                  </a:lnTo>
                  <a:lnTo>
                    <a:pt x="263" y="70"/>
                  </a:lnTo>
                  <a:lnTo>
                    <a:pt x="261" y="73"/>
                  </a:lnTo>
                  <a:lnTo>
                    <a:pt x="261" y="74"/>
                  </a:lnTo>
                  <a:lnTo>
                    <a:pt x="261" y="74"/>
                  </a:lnTo>
                  <a:lnTo>
                    <a:pt x="260" y="75"/>
                  </a:lnTo>
                  <a:lnTo>
                    <a:pt x="260" y="76"/>
                  </a:lnTo>
                  <a:lnTo>
                    <a:pt x="261" y="76"/>
                  </a:lnTo>
                  <a:lnTo>
                    <a:pt x="261" y="77"/>
                  </a:lnTo>
                  <a:lnTo>
                    <a:pt x="261" y="77"/>
                  </a:lnTo>
                  <a:lnTo>
                    <a:pt x="262" y="78"/>
                  </a:lnTo>
                  <a:lnTo>
                    <a:pt x="262" y="79"/>
                  </a:lnTo>
                  <a:lnTo>
                    <a:pt x="263" y="79"/>
                  </a:lnTo>
                  <a:lnTo>
                    <a:pt x="264" y="79"/>
                  </a:lnTo>
                  <a:lnTo>
                    <a:pt x="265" y="80"/>
                  </a:lnTo>
                  <a:lnTo>
                    <a:pt x="266" y="80"/>
                  </a:lnTo>
                  <a:lnTo>
                    <a:pt x="267" y="80"/>
                  </a:lnTo>
                  <a:lnTo>
                    <a:pt x="267" y="80"/>
                  </a:lnTo>
                  <a:lnTo>
                    <a:pt x="268" y="80"/>
                  </a:lnTo>
                  <a:lnTo>
                    <a:pt x="269" y="79"/>
                  </a:lnTo>
                  <a:lnTo>
                    <a:pt x="270" y="79"/>
                  </a:lnTo>
                  <a:lnTo>
                    <a:pt x="272" y="78"/>
                  </a:lnTo>
                  <a:lnTo>
                    <a:pt x="274" y="76"/>
                  </a:lnTo>
                  <a:lnTo>
                    <a:pt x="275" y="76"/>
                  </a:lnTo>
                  <a:lnTo>
                    <a:pt x="276" y="75"/>
                  </a:lnTo>
                  <a:lnTo>
                    <a:pt x="276" y="75"/>
                  </a:lnTo>
                  <a:lnTo>
                    <a:pt x="276" y="74"/>
                  </a:lnTo>
                  <a:lnTo>
                    <a:pt x="277" y="74"/>
                  </a:lnTo>
                  <a:lnTo>
                    <a:pt x="277" y="73"/>
                  </a:lnTo>
                  <a:lnTo>
                    <a:pt x="278" y="72"/>
                  </a:lnTo>
                  <a:lnTo>
                    <a:pt x="280" y="68"/>
                  </a:lnTo>
                  <a:lnTo>
                    <a:pt x="281" y="65"/>
                  </a:lnTo>
                  <a:lnTo>
                    <a:pt x="282" y="64"/>
                  </a:lnTo>
                  <a:lnTo>
                    <a:pt x="283" y="62"/>
                  </a:lnTo>
                  <a:lnTo>
                    <a:pt x="285" y="61"/>
                  </a:lnTo>
                  <a:lnTo>
                    <a:pt x="286" y="59"/>
                  </a:lnTo>
                  <a:lnTo>
                    <a:pt x="287" y="58"/>
                  </a:lnTo>
                  <a:lnTo>
                    <a:pt x="289" y="57"/>
                  </a:lnTo>
                  <a:lnTo>
                    <a:pt x="290" y="56"/>
                  </a:lnTo>
                  <a:lnTo>
                    <a:pt x="291" y="55"/>
                  </a:lnTo>
                  <a:lnTo>
                    <a:pt x="291" y="55"/>
                  </a:lnTo>
                  <a:lnTo>
                    <a:pt x="292" y="55"/>
                  </a:lnTo>
                  <a:lnTo>
                    <a:pt x="293" y="54"/>
                  </a:lnTo>
                  <a:lnTo>
                    <a:pt x="295" y="54"/>
                  </a:lnTo>
                  <a:lnTo>
                    <a:pt x="296" y="55"/>
                  </a:lnTo>
                  <a:lnTo>
                    <a:pt x="297" y="55"/>
                  </a:lnTo>
                  <a:lnTo>
                    <a:pt x="298" y="55"/>
                  </a:lnTo>
                  <a:lnTo>
                    <a:pt x="299" y="56"/>
                  </a:lnTo>
                  <a:lnTo>
                    <a:pt x="304" y="58"/>
                  </a:lnTo>
                  <a:lnTo>
                    <a:pt x="305" y="58"/>
                  </a:lnTo>
                  <a:lnTo>
                    <a:pt x="306" y="59"/>
                  </a:lnTo>
                  <a:lnTo>
                    <a:pt x="307" y="60"/>
                  </a:lnTo>
                  <a:lnTo>
                    <a:pt x="309" y="61"/>
                  </a:lnTo>
                  <a:lnTo>
                    <a:pt x="310" y="62"/>
                  </a:lnTo>
                  <a:lnTo>
                    <a:pt x="313" y="65"/>
                  </a:lnTo>
                  <a:lnTo>
                    <a:pt x="314" y="65"/>
                  </a:lnTo>
                  <a:lnTo>
                    <a:pt x="315" y="66"/>
                  </a:lnTo>
                  <a:lnTo>
                    <a:pt x="315" y="66"/>
                  </a:lnTo>
                  <a:lnTo>
                    <a:pt x="316" y="66"/>
                  </a:lnTo>
                  <a:lnTo>
                    <a:pt x="316" y="66"/>
                  </a:lnTo>
                  <a:lnTo>
                    <a:pt x="317" y="66"/>
                  </a:lnTo>
                  <a:lnTo>
                    <a:pt x="318" y="66"/>
                  </a:lnTo>
                  <a:lnTo>
                    <a:pt x="319" y="66"/>
                  </a:lnTo>
                  <a:lnTo>
                    <a:pt x="319" y="66"/>
                  </a:lnTo>
                  <a:lnTo>
                    <a:pt x="320" y="66"/>
                  </a:lnTo>
                  <a:lnTo>
                    <a:pt x="321" y="66"/>
                  </a:lnTo>
                  <a:lnTo>
                    <a:pt x="322" y="65"/>
                  </a:lnTo>
                  <a:lnTo>
                    <a:pt x="322" y="65"/>
                  </a:lnTo>
                  <a:lnTo>
                    <a:pt x="323" y="64"/>
                  </a:lnTo>
                  <a:lnTo>
                    <a:pt x="323" y="64"/>
                  </a:lnTo>
                  <a:lnTo>
                    <a:pt x="324" y="63"/>
                  </a:lnTo>
                  <a:lnTo>
                    <a:pt x="324" y="63"/>
                  </a:lnTo>
                  <a:lnTo>
                    <a:pt x="325" y="62"/>
                  </a:lnTo>
                  <a:lnTo>
                    <a:pt x="325" y="61"/>
                  </a:lnTo>
                  <a:lnTo>
                    <a:pt x="326" y="57"/>
                  </a:lnTo>
                  <a:lnTo>
                    <a:pt x="327" y="55"/>
                  </a:lnTo>
                  <a:lnTo>
                    <a:pt x="328" y="54"/>
                  </a:lnTo>
                  <a:lnTo>
                    <a:pt x="329" y="53"/>
                  </a:lnTo>
                  <a:lnTo>
                    <a:pt x="329" y="53"/>
                  </a:lnTo>
                  <a:lnTo>
                    <a:pt x="330" y="52"/>
                  </a:lnTo>
                  <a:lnTo>
                    <a:pt x="330" y="52"/>
                  </a:lnTo>
                  <a:lnTo>
                    <a:pt x="330" y="51"/>
                  </a:lnTo>
                  <a:lnTo>
                    <a:pt x="331" y="51"/>
                  </a:lnTo>
                  <a:lnTo>
                    <a:pt x="332" y="50"/>
                  </a:lnTo>
                  <a:lnTo>
                    <a:pt x="332" y="50"/>
                  </a:lnTo>
                  <a:lnTo>
                    <a:pt x="333" y="50"/>
                  </a:lnTo>
                  <a:lnTo>
                    <a:pt x="334" y="50"/>
                  </a:lnTo>
                  <a:lnTo>
                    <a:pt x="335" y="50"/>
                  </a:lnTo>
                  <a:lnTo>
                    <a:pt x="336" y="50"/>
                  </a:lnTo>
                  <a:lnTo>
                    <a:pt x="338" y="50"/>
                  </a:lnTo>
                  <a:lnTo>
                    <a:pt x="339" y="50"/>
                  </a:lnTo>
                  <a:lnTo>
                    <a:pt x="340" y="50"/>
                  </a:lnTo>
                  <a:lnTo>
                    <a:pt x="341" y="50"/>
                  </a:lnTo>
                  <a:lnTo>
                    <a:pt x="345" y="51"/>
                  </a:lnTo>
                  <a:lnTo>
                    <a:pt x="346" y="51"/>
                  </a:lnTo>
                  <a:lnTo>
                    <a:pt x="347" y="51"/>
                  </a:lnTo>
                  <a:lnTo>
                    <a:pt x="348" y="52"/>
                  </a:lnTo>
                  <a:lnTo>
                    <a:pt x="350" y="52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6" y="52"/>
                  </a:lnTo>
                  <a:lnTo>
                    <a:pt x="357" y="52"/>
                  </a:lnTo>
                  <a:lnTo>
                    <a:pt x="358" y="52"/>
                  </a:lnTo>
                  <a:lnTo>
                    <a:pt x="359" y="53"/>
                  </a:lnTo>
                  <a:lnTo>
                    <a:pt x="360" y="53"/>
                  </a:lnTo>
                  <a:lnTo>
                    <a:pt x="361" y="54"/>
                  </a:lnTo>
                  <a:lnTo>
                    <a:pt x="362" y="55"/>
                  </a:lnTo>
                  <a:lnTo>
                    <a:pt x="365" y="57"/>
                  </a:lnTo>
                  <a:lnTo>
                    <a:pt x="367" y="59"/>
                  </a:lnTo>
                  <a:lnTo>
                    <a:pt x="367" y="59"/>
                  </a:lnTo>
                  <a:lnTo>
                    <a:pt x="369" y="61"/>
                  </a:lnTo>
                  <a:lnTo>
                    <a:pt x="371" y="64"/>
                  </a:lnTo>
                  <a:lnTo>
                    <a:pt x="374" y="67"/>
                  </a:lnTo>
                  <a:lnTo>
                    <a:pt x="376" y="69"/>
                  </a:lnTo>
                  <a:lnTo>
                    <a:pt x="378" y="71"/>
                  </a:lnTo>
                  <a:lnTo>
                    <a:pt x="381" y="74"/>
                  </a:lnTo>
                  <a:lnTo>
                    <a:pt x="383" y="76"/>
                  </a:lnTo>
                  <a:lnTo>
                    <a:pt x="385" y="78"/>
                  </a:lnTo>
                  <a:lnTo>
                    <a:pt x="386" y="80"/>
                  </a:lnTo>
                  <a:lnTo>
                    <a:pt x="388" y="81"/>
                  </a:lnTo>
                  <a:lnTo>
                    <a:pt x="388" y="83"/>
                  </a:lnTo>
                  <a:lnTo>
                    <a:pt x="389" y="84"/>
                  </a:lnTo>
                  <a:lnTo>
                    <a:pt x="389" y="85"/>
                  </a:lnTo>
                  <a:lnTo>
                    <a:pt x="389" y="86"/>
                  </a:lnTo>
                  <a:lnTo>
                    <a:pt x="389" y="87"/>
                  </a:lnTo>
                  <a:lnTo>
                    <a:pt x="389" y="88"/>
                  </a:lnTo>
                  <a:lnTo>
                    <a:pt x="389" y="89"/>
                  </a:lnTo>
                  <a:lnTo>
                    <a:pt x="389" y="90"/>
                  </a:lnTo>
                  <a:lnTo>
                    <a:pt x="389" y="90"/>
                  </a:lnTo>
                  <a:lnTo>
                    <a:pt x="388" y="91"/>
                  </a:lnTo>
                  <a:lnTo>
                    <a:pt x="388" y="92"/>
                  </a:lnTo>
                  <a:lnTo>
                    <a:pt x="386" y="93"/>
                  </a:lnTo>
                  <a:lnTo>
                    <a:pt x="384" y="95"/>
                  </a:lnTo>
                  <a:lnTo>
                    <a:pt x="384" y="96"/>
                  </a:lnTo>
                  <a:lnTo>
                    <a:pt x="383" y="96"/>
                  </a:lnTo>
                  <a:lnTo>
                    <a:pt x="383" y="97"/>
                  </a:lnTo>
                  <a:lnTo>
                    <a:pt x="382" y="98"/>
                  </a:lnTo>
                  <a:lnTo>
                    <a:pt x="381" y="101"/>
                  </a:lnTo>
                  <a:lnTo>
                    <a:pt x="381" y="103"/>
                  </a:lnTo>
                  <a:lnTo>
                    <a:pt x="380" y="104"/>
                  </a:lnTo>
                  <a:lnTo>
                    <a:pt x="379" y="107"/>
                  </a:lnTo>
                  <a:lnTo>
                    <a:pt x="378" y="108"/>
                  </a:lnTo>
                  <a:lnTo>
                    <a:pt x="378" y="109"/>
                  </a:lnTo>
                  <a:lnTo>
                    <a:pt x="378" y="111"/>
                  </a:lnTo>
                  <a:lnTo>
                    <a:pt x="378" y="112"/>
                  </a:lnTo>
                  <a:lnTo>
                    <a:pt x="377" y="113"/>
                  </a:lnTo>
                  <a:lnTo>
                    <a:pt x="377" y="114"/>
                  </a:lnTo>
                  <a:lnTo>
                    <a:pt x="376" y="116"/>
                  </a:lnTo>
                  <a:lnTo>
                    <a:pt x="375" y="117"/>
                  </a:lnTo>
                  <a:lnTo>
                    <a:pt x="373" y="118"/>
                  </a:lnTo>
                  <a:lnTo>
                    <a:pt x="370" y="122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7" y="125"/>
                  </a:lnTo>
                  <a:lnTo>
                    <a:pt x="366" y="125"/>
                  </a:lnTo>
                  <a:lnTo>
                    <a:pt x="366" y="126"/>
                  </a:lnTo>
                  <a:lnTo>
                    <a:pt x="365" y="126"/>
                  </a:lnTo>
                  <a:lnTo>
                    <a:pt x="364" y="126"/>
                  </a:lnTo>
                  <a:lnTo>
                    <a:pt x="363" y="127"/>
                  </a:lnTo>
                  <a:lnTo>
                    <a:pt x="362" y="127"/>
                  </a:lnTo>
                  <a:lnTo>
                    <a:pt x="361" y="127"/>
                  </a:lnTo>
                  <a:lnTo>
                    <a:pt x="359" y="126"/>
                  </a:lnTo>
                  <a:lnTo>
                    <a:pt x="357" y="126"/>
                  </a:lnTo>
                  <a:lnTo>
                    <a:pt x="357" y="126"/>
                  </a:lnTo>
                  <a:lnTo>
                    <a:pt x="356" y="126"/>
                  </a:lnTo>
                  <a:lnTo>
                    <a:pt x="356" y="127"/>
                  </a:lnTo>
                  <a:lnTo>
                    <a:pt x="355" y="127"/>
                  </a:lnTo>
                  <a:lnTo>
                    <a:pt x="355" y="127"/>
                  </a:lnTo>
                  <a:lnTo>
                    <a:pt x="354" y="128"/>
                  </a:lnTo>
                  <a:lnTo>
                    <a:pt x="354" y="128"/>
                  </a:lnTo>
                  <a:lnTo>
                    <a:pt x="352" y="130"/>
                  </a:lnTo>
                  <a:lnTo>
                    <a:pt x="350" y="132"/>
                  </a:lnTo>
                  <a:lnTo>
                    <a:pt x="349" y="133"/>
                  </a:lnTo>
                  <a:lnTo>
                    <a:pt x="348" y="134"/>
                  </a:lnTo>
                  <a:lnTo>
                    <a:pt x="347" y="135"/>
                  </a:lnTo>
                  <a:lnTo>
                    <a:pt x="346" y="135"/>
                  </a:lnTo>
                  <a:lnTo>
                    <a:pt x="345" y="135"/>
                  </a:lnTo>
                  <a:lnTo>
                    <a:pt x="343" y="136"/>
                  </a:lnTo>
                  <a:lnTo>
                    <a:pt x="343" y="136"/>
                  </a:lnTo>
                  <a:lnTo>
                    <a:pt x="342" y="136"/>
                  </a:lnTo>
                  <a:lnTo>
                    <a:pt x="341" y="137"/>
                  </a:lnTo>
                  <a:lnTo>
                    <a:pt x="339" y="138"/>
                  </a:lnTo>
                  <a:lnTo>
                    <a:pt x="338" y="139"/>
                  </a:lnTo>
                  <a:lnTo>
                    <a:pt x="337" y="139"/>
                  </a:lnTo>
                  <a:lnTo>
                    <a:pt x="337" y="140"/>
                  </a:lnTo>
                  <a:lnTo>
                    <a:pt x="335" y="141"/>
                  </a:lnTo>
                  <a:lnTo>
                    <a:pt x="335" y="142"/>
                  </a:lnTo>
                  <a:lnTo>
                    <a:pt x="334" y="143"/>
                  </a:lnTo>
                  <a:lnTo>
                    <a:pt x="332" y="144"/>
                  </a:lnTo>
                  <a:lnTo>
                    <a:pt x="332" y="144"/>
                  </a:lnTo>
                  <a:lnTo>
                    <a:pt x="331" y="145"/>
                  </a:lnTo>
                  <a:lnTo>
                    <a:pt x="330" y="146"/>
                  </a:lnTo>
                  <a:lnTo>
                    <a:pt x="330" y="147"/>
                  </a:lnTo>
                  <a:lnTo>
                    <a:pt x="329" y="147"/>
                  </a:lnTo>
                  <a:lnTo>
                    <a:pt x="329" y="148"/>
                  </a:lnTo>
                  <a:lnTo>
                    <a:pt x="329" y="149"/>
                  </a:lnTo>
                  <a:lnTo>
                    <a:pt x="329" y="150"/>
                  </a:lnTo>
                  <a:lnTo>
                    <a:pt x="329" y="151"/>
                  </a:lnTo>
                  <a:lnTo>
                    <a:pt x="328" y="151"/>
                  </a:lnTo>
                  <a:lnTo>
                    <a:pt x="328" y="152"/>
                  </a:lnTo>
                  <a:lnTo>
                    <a:pt x="327" y="152"/>
                  </a:lnTo>
                  <a:lnTo>
                    <a:pt x="327" y="152"/>
                  </a:lnTo>
                  <a:lnTo>
                    <a:pt x="326" y="152"/>
                  </a:lnTo>
                  <a:lnTo>
                    <a:pt x="325" y="152"/>
                  </a:lnTo>
                  <a:lnTo>
                    <a:pt x="325" y="152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3" y="154"/>
                  </a:lnTo>
                  <a:lnTo>
                    <a:pt x="323" y="154"/>
                  </a:lnTo>
                  <a:lnTo>
                    <a:pt x="322" y="155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9"/>
                  </a:lnTo>
                  <a:lnTo>
                    <a:pt x="322" y="160"/>
                  </a:lnTo>
                  <a:lnTo>
                    <a:pt x="322" y="160"/>
                  </a:lnTo>
                  <a:lnTo>
                    <a:pt x="323" y="161"/>
                  </a:lnTo>
                  <a:lnTo>
                    <a:pt x="324" y="164"/>
                  </a:lnTo>
                  <a:lnTo>
                    <a:pt x="325" y="166"/>
                  </a:lnTo>
                  <a:lnTo>
                    <a:pt x="326" y="167"/>
                  </a:lnTo>
                  <a:lnTo>
                    <a:pt x="326" y="167"/>
                  </a:lnTo>
                  <a:lnTo>
                    <a:pt x="327" y="168"/>
                  </a:lnTo>
                  <a:lnTo>
                    <a:pt x="327" y="168"/>
                  </a:lnTo>
                  <a:lnTo>
                    <a:pt x="328" y="168"/>
                  </a:lnTo>
                  <a:lnTo>
                    <a:pt x="329" y="169"/>
                  </a:lnTo>
                  <a:lnTo>
                    <a:pt x="331" y="169"/>
                  </a:lnTo>
                  <a:lnTo>
                    <a:pt x="331" y="169"/>
                  </a:lnTo>
                  <a:lnTo>
                    <a:pt x="332" y="170"/>
                  </a:lnTo>
                  <a:lnTo>
                    <a:pt x="333" y="171"/>
                  </a:lnTo>
                  <a:lnTo>
                    <a:pt x="334" y="171"/>
                  </a:lnTo>
                  <a:lnTo>
                    <a:pt x="335" y="172"/>
                  </a:lnTo>
                  <a:lnTo>
                    <a:pt x="335" y="173"/>
                  </a:lnTo>
                  <a:lnTo>
                    <a:pt x="337" y="176"/>
                  </a:lnTo>
                  <a:lnTo>
                    <a:pt x="338" y="176"/>
                  </a:lnTo>
                  <a:lnTo>
                    <a:pt x="339" y="178"/>
                  </a:lnTo>
                  <a:lnTo>
                    <a:pt x="339" y="178"/>
                  </a:lnTo>
                  <a:lnTo>
                    <a:pt x="340" y="180"/>
                  </a:lnTo>
                  <a:lnTo>
                    <a:pt x="342" y="181"/>
                  </a:lnTo>
                  <a:lnTo>
                    <a:pt x="342" y="182"/>
                  </a:lnTo>
                  <a:lnTo>
                    <a:pt x="343" y="183"/>
                  </a:lnTo>
                  <a:lnTo>
                    <a:pt x="344" y="184"/>
                  </a:lnTo>
                  <a:lnTo>
                    <a:pt x="344" y="185"/>
                  </a:lnTo>
                  <a:lnTo>
                    <a:pt x="345" y="185"/>
                  </a:lnTo>
                  <a:lnTo>
                    <a:pt x="346" y="186"/>
                  </a:lnTo>
                  <a:lnTo>
                    <a:pt x="346" y="186"/>
                  </a:lnTo>
                  <a:lnTo>
                    <a:pt x="347" y="186"/>
                  </a:lnTo>
                  <a:lnTo>
                    <a:pt x="348" y="186"/>
                  </a:lnTo>
                  <a:lnTo>
                    <a:pt x="348" y="186"/>
                  </a:lnTo>
                  <a:lnTo>
                    <a:pt x="349" y="185"/>
                  </a:lnTo>
                  <a:lnTo>
                    <a:pt x="352" y="184"/>
                  </a:lnTo>
                  <a:lnTo>
                    <a:pt x="353" y="183"/>
                  </a:lnTo>
                  <a:lnTo>
                    <a:pt x="353" y="183"/>
                  </a:lnTo>
                  <a:lnTo>
                    <a:pt x="354" y="183"/>
                  </a:lnTo>
                  <a:lnTo>
                    <a:pt x="355" y="183"/>
                  </a:lnTo>
                  <a:lnTo>
                    <a:pt x="356" y="183"/>
                  </a:lnTo>
                  <a:lnTo>
                    <a:pt x="358" y="183"/>
                  </a:lnTo>
                  <a:lnTo>
                    <a:pt x="359" y="183"/>
                  </a:lnTo>
                  <a:lnTo>
                    <a:pt x="361" y="183"/>
                  </a:lnTo>
                  <a:lnTo>
                    <a:pt x="362" y="183"/>
                  </a:lnTo>
                  <a:lnTo>
                    <a:pt x="363" y="183"/>
                  </a:lnTo>
                  <a:lnTo>
                    <a:pt x="365" y="183"/>
                  </a:lnTo>
                  <a:lnTo>
                    <a:pt x="365" y="184"/>
                  </a:lnTo>
                  <a:lnTo>
                    <a:pt x="366" y="184"/>
                  </a:lnTo>
                  <a:lnTo>
                    <a:pt x="367" y="185"/>
                  </a:lnTo>
                  <a:lnTo>
                    <a:pt x="368" y="185"/>
                  </a:lnTo>
                  <a:lnTo>
                    <a:pt x="368" y="185"/>
                  </a:lnTo>
                  <a:lnTo>
                    <a:pt x="368" y="186"/>
                  </a:lnTo>
                  <a:lnTo>
                    <a:pt x="369" y="187"/>
                  </a:lnTo>
                  <a:lnTo>
                    <a:pt x="370" y="189"/>
                  </a:lnTo>
                  <a:lnTo>
                    <a:pt x="370" y="190"/>
                  </a:lnTo>
                  <a:lnTo>
                    <a:pt x="371" y="194"/>
                  </a:lnTo>
                  <a:lnTo>
                    <a:pt x="372" y="196"/>
                  </a:lnTo>
                  <a:lnTo>
                    <a:pt x="372" y="197"/>
                  </a:lnTo>
                  <a:lnTo>
                    <a:pt x="373" y="198"/>
                  </a:lnTo>
                  <a:lnTo>
                    <a:pt x="373" y="200"/>
                  </a:lnTo>
                  <a:lnTo>
                    <a:pt x="374" y="201"/>
                  </a:lnTo>
                  <a:lnTo>
                    <a:pt x="375" y="203"/>
                  </a:lnTo>
                  <a:lnTo>
                    <a:pt x="376" y="203"/>
                  </a:lnTo>
                  <a:lnTo>
                    <a:pt x="377" y="205"/>
                  </a:lnTo>
                  <a:lnTo>
                    <a:pt x="378" y="205"/>
                  </a:lnTo>
                  <a:lnTo>
                    <a:pt x="379" y="206"/>
                  </a:lnTo>
                  <a:lnTo>
                    <a:pt x="380" y="207"/>
                  </a:lnTo>
                  <a:lnTo>
                    <a:pt x="381" y="208"/>
                  </a:lnTo>
                  <a:lnTo>
                    <a:pt x="382" y="208"/>
                  </a:lnTo>
                  <a:lnTo>
                    <a:pt x="383" y="208"/>
                  </a:lnTo>
                  <a:lnTo>
                    <a:pt x="386" y="208"/>
                  </a:lnTo>
                  <a:lnTo>
                    <a:pt x="387" y="209"/>
                  </a:lnTo>
                  <a:lnTo>
                    <a:pt x="388" y="209"/>
                  </a:lnTo>
                  <a:lnTo>
                    <a:pt x="389" y="210"/>
                  </a:lnTo>
                  <a:lnTo>
                    <a:pt x="390" y="210"/>
                  </a:lnTo>
                  <a:lnTo>
                    <a:pt x="391" y="211"/>
                  </a:lnTo>
                  <a:lnTo>
                    <a:pt x="392" y="212"/>
                  </a:lnTo>
                  <a:lnTo>
                    <a:pt x="394" y="213"/>
                  </a:lnTo>
                  <a:lnTo>
                    <a:pt x="395" y="215"/>
                  </a:lnTo>
                  <a:lnTo>
                    <a:pt x="397" y="218"/>
                  </a:lnTo>
                  <a:lnTo>
                    <a:pt x="399" y="220"/>
                  </a:lnTo>
                  <a:lnTo>
                    <a:pt x="400" y="222"/>
                  </a:lnTo>
                  <a:lnTo>
                    <a:pt x="402" y="225"/>
                  </a:lnTo>
                  <a:lnTo>
                    <a:pt x="404" y="229"/>
                  </a:lnTo>
                  <a:lnTo>
                    <a:pt x="406" y="231"/>
                  </a:lnTo>
                  <a:lnTo>
                    <a:pt x="408" y="234"/>
                  </a:lnTo>
                  <a:lnTo>
                    <a:pt x="409" y="234"/>
                  </a:lnTo>
                  <a:lnTo>
                    <a:pt x="410" y="235"/>
                  </a:lnTo>
                  <a:lnTo>
                    <a:pt x="413" y="238"/>
                  </a:lnTo>
                  <a:lnTo>
                    <a:pt x="416" y="243"/>
                  </a:lnTo>
                  <a:lnTo>
                    <a:pt x="417" y="244"/>
                  </a:lnTo>
                  <a:lnTo>
                    <a:pt x="418" y="245"/>
                  </a:lnTo>
                  <a:lnTo>
                    <a:pt x="419" y="246"/>
                  </a:lnTo>
                  <a:lnTo>
                    <a:pt x="422" y="248"/>
                  </a:lnTo>
                  <a:lnTo>
                    <a:pt x="423" y="249"/>
                  </a:lnTo>
                  <a:lnTo>
                    <a:pt x="423" y="249"/>
                  </a:lnTo>
                  <a:lnTo>
                    <a:pt x="424" y="250"/>
                  </a:lnTo>
                  <a:lnTo>
                    <a:pt x="425" y="252"/>
                  </a:lnTo>
                  <a:lnTo>
                    <a:pt x="426" y="253"/>
                  </a:lnTo>
                  <a:lnTo>
                    <a:pt x="426" y="254"/>
                  </a:lnTo>
                  <a:lnTo>
                    <a:pt x="427" y="255"/>
                  </a:lnTo>
                  <a:lnTo>
                    <a:pt x="428" y="256"/>
                  </a:lnTo>
                  <a:lnTo>
                    <a:pt x="428" y="259"/>
                  </a:lnTo>
                  <a:lnTo>
                    <a:pt x="429" y="260"/>
                  </a:lnTo>
                  <a:lnTo>
                    <a:pt x="429" y="262"/>
                  </a:lnTo>
                  <a:lnTo>
                    <a:pt x="429" y="266"/>
                  </a:lnTo>
                  <a:lnTo>
                    <a:pt x="429" y="269"/>
                  </a:lnTo>
                  <a:lnTo>
                    <a:pt x="430" y="271"/>
                  </a:lnTo>
                  <a:lnTo>
                    <a:pt x="430" y="273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2" y="281"/>
                  </a:lnTo>
                  <a:lnTo>
                    <a:pt x="433" y="283"/>
                  </a:lnTo>
                  <a:lnTo>
                    <a:pt x="435" y="286"/>
                  </a:lnTo>
                  <a:lnTo>
                    <a:pt x="436" y="287"/>
                  </a:lnTo>
                  <a:lnTo>
                    <a:pt x="436" y="288"/>
                  </a:lnTo>
                  <a:lnTo>
                    <a:pt x="436" y="289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5" y="291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1" y="290"/>
                  </a:lnTo>
                  <a:lnTo>
                    <a:pt x="430" y="290"/>
                  </a:lnTo>
                  <a:lnTo>
                    <a:pt x="425" y="288"/>
                  </a:lnTo>
                  <a:lnTo>
                    <a:pt x="423" y="287"/>
                  </a:lnTo>
                  <a:lnTo>
                    <a:pt x="421" y="286"/>
                  </a:lnTo>
                  <a:lnTo>
                    <a:pt x="420" y="285"/>
                  </a:lnTo>
                  <a:lnTo>
                    <a:pt x="417" y="284"/>
                  </a:lnTo>
                  <a:lnTo>
                    <a:pt x="417" y="283"/>
                  </a:lnTo>
                  <a:lnTo>
                    <a:pt x="416" y="283"/>
                  </a:lnTo>
                  <a:lnTo>
                    <a:pt x="414" y="282"/>
                  </a:lnTo>
                  <a:lnTo>
                    <a:pt x="414" y="282"/>
                  </a:lnTo>
                  <a:lnTo>
                    <a:pt x="413" y="282"/>
                  </a:lnTo>
                  <a:lnTo>
                    <a:pt x="412" y="282"/>
                  </a:lnTo>
                  <a:lnTo>
                    <a:pt x="412" y="282"/>
                  </a:lnTo>
                  <a:lnTo>
                    <a:pt x="411" y="282"/>
                  </a:lnTo>
                  <a:lnTo>
                    <a:pt x="411" y="282"/>
                  </a:lnTo>
                  <a:lnTo>
                    <a:pt x="410" y="282"/>
                  </a:lnTo>
                  <a:lnTo>
                    <a:pt x="410" y="282"/>
                  </a:lnTo>
                  <a:lnTo>
                    <a:pt x="409" y="283"/>
                  </a:lnTo>
                  <a:lnTo>
                    <a:pt x="408" y="283"/>
                  </a:lnTo>
                  <a:lnTo>
                    <a:pt x="408" y="283"/>
                  </a:lnTo>
                  <a:lnTo>
                    <a:pt x="407" y="284"/>
                  </a:lnTo>
                  <a:lnTo>
                    <a:pt x="407" y="285"/>
                  </a:lnTo>
                  <a:lnTo>
                    <a:pt x="407" y="286"/>
                  </a:lnTo>
                  <a:lnTo>
                    <a:pt x="405" y="289"/>
                  </a:lnTo>
                  <a:lnTo>
                    <a:pt x="404" y="291"/>
                  </a:lnTo>
                  <a:lnTo>
                    <a:pt x="404" y="292"/>
                  </a:lnTo>
                  <a:lnTo>
                    <a:pt x="403" y="293"/>
                  </a:lnTo>
                  <a:lnTo>
                    <a:pt x="402" y="293"/>
                  </a:lnTo>
                  <a:lnTo>
                    <a:pt x="401" y="294"/>
                  </a:lnTo>
                  <a:lnTo>
                    <a:pt x="400" y="295"/>
                  </a:lnTo>
                  <a:lnTo>
                    <a:pt x="399" y="296"/>
                  </a:lnTo>
                  <a:lnTo>
                    <a:pt x="398" y="297"/>
                  </a:lnTo>
                  <a:lnTo>
                    <a:pt x="396" y="297"/>
                  </a:lnTo>
                  <a:lnTo>
                    <a:pt x="394" y="298"/>
                  </a:lnTo>
                  <a:lnTo>
                    <a:pt x="392" y="300"/>
                  </a:lnTo>
                  <a:lnTo>
                    <a:pt x="392" y="300"/>
                  </a:lnTo>
                  <a:lnTo>
                    <a:pt x="390" y="301"/>
                  </a:lnTo>
                  <a:lnTo>
                    <a:pt x="390" y="301"/>
                  </a:lnTo>
                  <a:lnTo>
                    <a:pt x="387" y="303"/>
                  </a:lnTo>
                  <a:lnTo>
                    <a:pt x="384" y="304"/>
                  </a:lnTo>
                  <a:lnTo>
                    <a:pt x="382" y="305"/>
                  </a:lnTo>
                  <a:lnTo>
                    <a:pt x="381" y="305"/>
                  </a:lnTo>
                  <a:lnTo>
                    <a:pt x="380" y="306"/>
                  </a:lnTo>
                  <a:lnTo>
                    <a:pt x="378" y="308"/>
                  </a:lnTo>
                  <a:lnTo>
                    <a:pt x="376" y="309"/>
                  </a:lnTo>
                  <a:lnTo>
                    <a:pt x="374" y="310"/>
                  </a:lnTo>
                  <a:lnTo>
                    <a:pt x="372" y="312"/>
                  </a:lnTo>
                  <a:lnTo>
                    <a:pt x="371" y="312"/>
                  </a:lnTo>
                  <a:lnTo>
                    <a:pt x="370" y="313"/>
                  </a:lnTo>
                  <a:lnTo>
                    <a:pt x="369" y="314"/>
                  </a:lnTo>
                  <a:lnTo>
                    <a:pt x="368" y="315"/>
                  </a:lnTo>
                  <a:lnTo>
                    <a:pt x="368" y="316"/>
                  </a:lnTo>
                  <a:lnTo>
                    <a:pt x="368" y="316"/>
                  </a:lnTo>
                  <a:lnTo>
                    <a:pt x="367" y="317"/>
                  </a:lnTo>
                  <a:lnTo>
                    <a:pt x="367" y="318"/>
                  </a:lnTo>
                  <a:lnTo>
                    <a:pt x="367" y="318"/>
                  </a:lnTo>
                  <a:lnTo>
                    <a:pt x="367" y="321"/>
                  </a:lnTo>
                  <a:lnTo>
                    <a:pt x="367" y="321"/>
                  </a:lnTo>
                  <a:lnTo>
                    <a:pt x="367" y="322"/>
                  </a:lnTo>
                  <a:lnTo>
                    <a:pt x="366" y="323"/>
                  </a:lnTo>
                  <a:lnTo>
                    <a:pt x="366" y="323"/>
                  </a:lnTo>
                  <a:lnTo>
                    <a:pt x="366" y="324"/>
                  </a:lnTo>
                  <a:lnTo>
                    <a:pt x="365" y="325"/>
                  </a:lnTo>
                  <a:lnTo>
                    <a:pt x="364" y="326"/>
                  </a:lnTo>
                  <a:lnTo>
                    <a:pt x="362" y="327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60" y="329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1"/>
                  </a:lnTo>
                  <a:lnTo>
                    <a:pt x="360" y="331"/>
                  </a:lnTo>
                  <a:lnTo>
                    <a:pt x="360" y="332"/>
                  </a:lnTo>
                  <a:lnTo>
                    <a:pt x="361" y="335"/>
                  </a:lnTo>
                  <a:lnTo>
                    <a:pt x="361" y="335"/>
                  </a:lnTo>
                  <a:lnTo>
                    <a:pt x="361" y="336"/>
                  </a:lnTo>
                  <a:lnTo>
                    <a:pt x="361" y="336"/>
                  </a:lnTo>
                  <a:lnTo>
                    <a:pt x="361" y="337"/>
                  </a:lnTo>
                  <a:lnTo>
                    <a:pt x="360" y="337"/>
                  </a:lnTo>
                  <a:lnTo>
                    <a:pt x="360" y="337"/>
                  </a:lnTo>
                  <a:lnTo>
                    <a:pt x="359" y="337"/>
                  </a:lnTo>
                  <a:lnTo>
                    <a:pt x="359" y="338"/>
                  </a:lnTo>
                  <a:lnTo>
                    <a:pt x="358" y="338"/>
                  </a:lnTo>
                  <a:lnTo>
                    <a:pt x="357" y="338"/>
                  </a:lnTo>
                  <a:lnTo>
                    <a:pt x="356" y="338"/>
                  </a:lnTo>
                  <a:lnTo>
                    <a:pt x="355" y="337"/>
                  </a:lnTo>
                  <a:lnTo>
                    <a:pt x="353" y="337"/>
                  </a:lnTo>
                  <a:lnTo>
                    <a:pt x="352" y="336"/>
                  </a:lnTo>
                  <a:lnTo>
                    <a:pt x="351" y="336"/>
                  </a:lnTo>
                  <a:lnTo>
                    <a:pt x="350" y="336"/>
                  </a:lnTo>
                  <a:lnTo>
                    <a:pt x="349" y="336"/>
                  </a:lnTo>
                  <a:lnTo>
                    <a:pt x="347" y="337"/>
                  </a:lnTo>
                  <a:lnTo>
                    <a:pt x="344" y="337"/>
                  </a:lnTo>
                  <a:lnTo>
                    <a:pt x="343" y="337"/>
                  </a:lnTo>
                  <a:lnTo>
                    <a:pt x="341" y="337"/>
                  </a:lnTo>
                  <a:lnTo>
                    <a:pt x="341" y="337"/>
                  </a:lnTo>
                  <a:lnTo>
                    <a:pt x="340" y="337"/>
                  </a:lnTo>
                  <a:lnTo>
                    <a:pt x="339" y="336"/>
                  </a:lnTo>
                  <a:lnTo>
                    <a:pt x="338" y="336"/>
                  </a:lnTo>
                  <a:lnTo>
                    <a:pt x="338" y="336"/>
                  </a:lnTo>
                  <a:lnTo>
                    <a:pt x="337" y="336"/>
                  </a:lnTo>
                  <a:lnTo>
                    <a:pt x="337" y="336"/>
                  </a:lnTo>
                  <a:lnTo>
                    <a:pt x="336" y="336"/>
                  </a:lnTo>
                  <a:lnTo>
                    <a:pt x="334" y="337"/>
                  </a:lnTo>
                  <a:lnTo>
                    <a:pt x="333" y="337"/>
                  </a:lnTo>
                  <a:lnTo>
                    <a:pt x="332" y="338"/>
                  </a:lnTo>
                  <a:lnTo>
                    <a:pt x="329" y="338"/>
                  </a:lnTo>
                  <a:lnTo>
                    <a:pt x="327" y="339"/>
                  </a:lnTo>
                  <a:lnTo>
                    <a:pt x="326" y="339"/>
                  </a:lnTo>
                  <a:lnTo>
                    <a:pt x="325" y="339"/>
                  </a:lnTo>
                  <a:lnTo>
                    <a:pt x="324" y="339"/>
                  </a:lnTo>
                  <a:lnTo>
                    <a:pt x="324" y="339"/>
                  </a:lnTo>
                  <a:lnTo>
                    <a:pt x="323" y="338"/>
                  </a:lnTo>
                  <a:lnTo>
                    <a:pt x="322" y="338"/>
                  </a:lnTo>
                  <a:lnTo>
                    <a:pt x="321" y="337"/>
                  </a:lnTo>
                  <a:lnTo>
                    <a:pt x="320" y="337"/>
                  </a:lnTo>
                  <a:lnTo>
                    <a:pt x="316" y="334"/>
                  </a:lnTo>
                  <a:lnTo>
                    <a:pt x="315" y="333"/>
                  </a:lnTo>
                  <a:lnTo>
                    <a:pt x="314" y="332"/>
                  </a:lnTo>
                  <a:lnTo>
                    <a:pt x="313" y="331"/>
                  </a:lnTo>
                  <a:lnTo>
                    <a:pt x="311" y="331"/>
                  </a:lnTo>
                  <a:lnTo>
                    <a:pt x="309" y="330"/>
                  </a:lnTo>
                  <a:lnTo>
                    <a:pt x="306" y="329"/>
                  </a:lnTo>
                  <a:lnTo>
                    <a:pt x="305" y="328"/>
                  </a:lnTo>
                  <a:lnTo>
                    <a:pt x="305" y="328"/>
                  </a:lnTo>
                  <a:lnTo>
                    <a:pt x="303" y="327"/>
                  </a:lnTo>
                  <a:lnTo>
                    <a:pt x="302" y="326"/>
                  </a:lnTo>
                  <a:lnTo>
                    <a:pt x="300" y="324"/>
                  </a:lnTo>
                  <a:lnTo>
                    <a:pt x="299" y="323"/>
                  </a:lnTo>
                  <a:lnTo>
                    <a:pt x="298" y="323"/>
                  </a:lnTo>
                  <a:lnTo>
                    <a:pt x="297" y="322"/>
                  </a:lnTo>
                  <a:lnTo>
                    <a:pt x="296" y="322"/>
                  </a:lnTo>
                  <a:lnTo>
                    <a:pt x="293" y="320"/>
                  </a:lnTo>
                  <a:lnTo>
                    <a:pt x="291" y="320"/>
                  </a:lnTo>
                  <a:lnTo>
                    <a:pt x="290" y="319"/>
                  </a:lnTo>
                  <a:lnTo>
                    <a:pt x="289" y="318"/>
                  </a:lnTo>
                  <a:lnTo>
                    <a:pt x="288" y="317"/>
                  </a:lnTo>
                  <a:lnTo>
                    <a:pt x="287" y="316"/>
                  </a:lnTo>
                  <a:lnTo>
                    <a:pt x="286" y="315"/>
                  </a:lnTo>
                  <a:lnTo>
                    <a:pt x="284" y="312"/>
                  </a:lnTo>
                  <a:lnTo>
                    <a:pt x="282" y="311"/>
                  </a:lnTo>
                  <a:lnTo>
                    <a:pt x="281" y="310"/>
                  </a:lnTo>
                  <a:lnTo>
                    <a:pt x="281" y="310"/>
                  </a:lnTo>
                  <a:lnTo>
                    <a:pt x="281" y="310"/>
                  </a:lnTo>
                  <a:lnTo>
                    <a:pt x="279" y="309"/>
                  </a:lnTo>
                  <a:lnTo>
                    <a:pt x="278" y="308"/>
                  </a:lnTo>
                  <a:lnTo>
                    <a:pt x="277" y="308"/>
                  </a:lnTo>
                  <a:lnTo>
                    <a:pt x="274" y="307"/>
                  </a:lnTo>
                  <a:lnTo>
                    <a:pt x="272" y="307"/>
                  </a:lnTo>
                  <a:lnTo>
                    <a:pt x="271" y="306"/>
                  </a:lnTo>
                  <a:lnTo>
                    <a:pt x="270" y="306"/>
                  </a:lnTo>
                  <a:lnTo>
                    <a:pt x="270" y="305"/>
                  </a:lnTo>
                  <a:lnTo>
                    <a:pt x="269" y="305"/>
                  </a:lnTo>
                  <a:lnTo>
                    <a:pt x="269" y="304"/>
                  </a:lnTo>
                  <a:lnTo>
                    <a:pt x="268" y="303"/>
                  </a:lnTo>
                  <a:lnTo>
                    <a:pt x="268" y="302"/>
                  </a:lnTo>
                  <a:lnTo>
                    <a:pt x="267" y="301"/>
                  </a:lnTo>
                  <a:lnTo>
                    <a:pt x="266" y="297"/>
                  </a:lnTo>
                  <a:lnTo>
                    <a:pt x="266" y="296"/>
                  </a:lnTo>
                  <a:lnTo>
                    <a:pt x="265" y="295"/>
                  </a:lnTo>
                  <a:lnTo>
                    <a:pt x="265" y="294"/>
                  </a:lnTo>
                  <a:lnTo>
                    <a:pt x="264" y="294"/>
                  </a:lnTo>
                  <a:lnTo>
                    <a:pt x="264" y="293"/>
                  </a:lnTo>
                  <a:lnTo>
                    <a:pt x="263" y="293"/>
                  </a:lnTo>
                  <a:lnTo>
                    <a:pt x="261" y="290"/>
                  </a:lnTo>
                  <a:lnTo>
                    <a:pt x="261" y="289"/>
                  </a:lnTo>
                  <a:lnTo>
                    <a:pt x="260" y="289"/>
                  </a:lnTo>
                  <a:lnTo>
                    <a:pt x="259" y="288"/>
                  </a:lnTo>
                  <a:lnTo>
                    <a:pt x="258" y="288"/>
                  </a:lnTo>
                  <a:lnTo>
                    <a:pt x="257" y="287"/>
                  </a:lnTo>
                  <a:lnTo>
                    <a:pt x="255" y="287"/>
                  </a:lnTo>
                  <a:lnTo>
                    <a:pt x="252" y="286"/>
                  </a:lnTo>
                  <a:lnTo>
                    <a:pt x="248" y="285"/>
                  </a:lnTo>
                  <a:lnTo>
                    <a:pt x="246" y="284"/>
                  </a:lnTo>
                  <a:lnTo>
                    <a:pt x="243" y="284"/>
                  </a:lnTo>
                  <a:lnTo>
                    <a:pt x="242" y="283"/>
                  </a:lnTo>
                  <a:lnTo>
                    <a:pt x="241" y="283"/>
                  </a:lnTo>
                  <a:lnTo>
                    <a:pt x="240" y="283"/>
                  </a:lnTo>
                  <a:lnTo>
                    <a:pt x="239" y="283"/>
                  </a:lnTo>
                  <a:lnTo>
                    <a:pt x="238" y="284"/>
                  </a:lnTo>
                  <a:lnTo>
                    <a:pt x="236" y="285"/>
                  </a:lnTo>
                  <a:lnTo>
                    <a:pt x="234" y="285"/>
                  </a:lnTo>
                  <a:lnTo>
                    <a:pt x="233" y="286"/>
                  </a:lnTo>
                  <a:lnTo>
                    <a:pt x="232" y="287"/>
                  </a:lnTo>
                  <a:lnTo>
                    <a:pt x="232" y="287"/>
                  </a:lnTo>
                  <a:lnTo>
                    <a:pt x="229" y="290"/>
                  </a:lnTo>
                  <a:lnTo>
                    <a:pt x="228" y="290"/>
                  </a:lnTo>
                  <a:lnTo>
                    <a:pt x="228" y="291"/>
                  </a:lnTo>
                  <a:lnTo>
                    <a:pt x="227" y="291"/>
                  </a:lnTo>
                  <a:lnTo>
                    <a:pt x="226" y="292"/>
                  </a:lnTo>
                  <a:lnTo>
                    <a:pt x="223" y="293"/>
                  </a:lnTo>
                  <a:lnTo>
                    <a:pt x="222" y="294"/>
                  </a:lnTo>
                  <a:lnTo>
                    <a:pt x="221" y="294"/>
                  </a:lnTo>
                  <a:lnTo>
                    <a:pt x="218" y="296"/>
                  </a:lnTo>
                  <a:lnTo>
                    <a:pt x="217" y="297"/>
                  </a:lnTo>
                  <a:lnTo>
                    <a:pt x="216" y="297"/>
                  </a:lnTo>
                  <a:lnTo>
                    <a:pt x="215" y="297"/>
                  </a:lnTo>
                  <a:lnTo>
                    <a:pt x="215" y="297"/>
                  </a:lnTo>
                  <a:lnTo>
                    <a:pt x="214" y="297"/>
                  </a:lnTo>
                  <a:lnTo>
                    <a:pt x="214" y="297"/>
                  </a:lnTo>
                  <a:lnTo>
                    <a:pt x="213" y="297"/>
                  </a:lnTo>
                  <a:lnTo>
                    <a:pt x="212" y="297"/>
                  </a:lnTo>
                  <a:lnTo>
                    <a:pt x="211" y="297"/>
                  </a:lnTo>
                  <a:lnTo>
                    <a:pt x="210" y="297"/>
                  </a:lnTo>
                  <a:lnTo>
                    <a:pt x="210" y="297"/>
                  </a:lnTo>
                  <a:lnTo>
                    <a:pt x="209" y="296"/>
                  </a:lnTo>
                  <a:lnTo>
                    <a:pt x="209" y="296"/>
                  </a:lnTo>
                  <a:lnTo>
                    <a:pt x="208" y="295"/>
                  </a:lnTo>
                  <a:lnTo>
                    <a:pt x="207" y="295"/>
                  </a:lnTo>
                  <a:lnTo>
                    <a:pt x="207" y="294"/>
                  </a:lnTo>
                  <a:lnTo>
                    <a:pt x="206" y="293"/>
                  </a:lnTo>
                  <a:lnTo>
                    <a:pt x="206" y="292"/>
                  </a:lnTo>
                  <a:lnTo>
                    <a:pt x="205" y="289"/>
                  </a:lnTo>
                  <a:lnTo>
                    <a:pt x="204" y="287"/>
                  </a:lnTo>
                  <a:lnTo>
                    <a:pt x="204" y="286"/>
                  </a:lnTo>
                  <a:lnTo>
                    <a:pt x="203" y="284"/>
                  </a:lnTo>
                  <a:lnTo>
                    <a:pt x="202" y="283"/>
                  </a:lnTo>
                  <a:lnTo>
                    <a:pt x="201" y="283"/>
                  </a:lnTo>
                  <a:lnTo>
                    <a:pt x="201" y="282"/>
                  </a:lnTo>
                  <a:lnTo>
                    <a:pt x="200" y="282"/>
                  </a:lnTo>
                  <a:lnTo>
                    <a:pt x="200" y="281"/>
                  </a:lnTo>
                  <a:lnTo>
                    <a:pt x="199" y="280"/>
                  </a:lnTo>
                  <a:lnTo>
                    <a:pt x="199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6" y="281"/>
                  </a:lnTo>
                  <a:lnTo>
                    <a:pt x="194" y="282"/>
                  </a:lnTo>
                  <a:lnTo>
                    <a:pt x="193" y="283"/>
                  </a:lnTo>
                  <a:lnTo>
                    <a:pt x="192" y="284"/>
                  </a:lnTo>
                  <a:lnTo>
                    <a:pt x="191" y="285"/>
                  </a:lnTo>
                  <a:lnTo>
                    <a:pt x="190" y="286"/>
                  </a:lnTo>
                  <a:lnTo>
                    <a:pt x="189" y="286"/>
                  </a:lnTo>
                  <a:lnTo>
                    <a:pt x="189" y="287"/>
                  </a:lnTo>
                  <a:lnTo>
                    <a:pt x="188" y="288"/>
                  </a:lnTo>
                  <a:lnTo>
                    <a:pt x="188" y="288"/>
                  </a:lnTo>
                  <a:lnTo>
                    <a:pt x="187" y="289"/>
                  </a:lnTo>
                  <a:lnTo>
                    <a:pt x="186" y="292"/>
                  </a:lnTo>
                  <a:lnTo>
                    <a:pt x="186" y="293"/>
                  </a:lnTo>
                  <a:lnTo>
                    <a:pt x="185" y="293"/>
                  </a:lnTo>
                  <a:lnTo>
                    <a:pt x="185" y="294"/>
                  </a:lnTo>
                  <a:lnTo>
                    <a:pt x="184" y="295"/>
                  </a:lnTo>
                  <a:lnTo>
                    <a:pt x="184" y="295"/>
                  </a:lnTo>
                  <a:lnTo>
                    <a:pt x="183" y="296"/>
                  </a:lnTo>
                  <a:lnTo>
                    <a:pt x="182" y="297"/>
                  </a:lnTo>
                  <a:lnTo>
                    <a:pt x="181" y="297"/>
                  </a:lnTo>
                  <a:lnTo>
                    <a:pt x="180" y="297"/>
                  </a:lnTo>
                  <a:lnTo>
                    <a:pt x="178" y="298"/>
                  </a:lnTo>
                  <a:lnTo>
                    <a:pt x="176" y="298"/>
                  </a:lnTo>
                  <a:lnTo>
                    <a:pt x="175" y="299"/>
                  </a:lnTo>
                  <a:lnTo>
                    <a:pt x="172" y="300"/>
                  </a:lnTo>
                  <a:lnTo>
                    <a:pt x="171" y="301"/>
                  </a:lnTo>
                  <a:lnTo>
                    <a:pt x="170" y="301"/>
                  </a:lnTo>
                  <a:lnTo>
                    <a:pt x="170" y="301"/>
                  </a:lnTo>
                  <a:lnTo>
                    <a:pt x="168" y="301"/>
                  </a:lnTo>
                  <a:lnTo>
                    <a:pt x="167" y="301"/>
                  </a:lnTo>
                  <a:lnTo>
                    <a:pt x="167" y="301"/>
                  </a:lnTo>
                  <a:lnTo>
                    <a:pt x="165" y="300"/>
                  </a:lnTo>
                  <a:lnTo>
                    <a:pt x="163" y="299"/>
                  </a:lnTo>
                  <a:lnTo>
                    <a:pt x="161" y="299"/>
                  </a:lnTo>
                  <a:lnTo>
                    <a:pt x="161" y="298"/>
                  </a:lnTo>
                  <a:lnTo>
                    <a:pt x="160" y="298"/>
                  </a:lnTo>
                  <a:lnTo>
                    <a:pt x="159" y="298"/>
                  </a:lnTo>
                  <a:lnTo>
                    <a:pt x="158" y="298"/>
                  </a:lnTo>
                  <a:lnTo>
                    <a:pt x="156" y="298"/>
                  </a:lnTo>
                  <a:lnTo>
                    <a:pt x="155" y="298"/>
                  </a:lnTo>
                  <a:lnTo>
                    <a:pt x="153" y="298"/>
                  </a:lnTo>
                  <a:lnTo>
                    <a:pt x="152" y="298"/>
                  </a:lnTo>
                  <a:lnTo>
                    <a:pt x="151" y="298"/>
                  </a:lnTo>
                  <a:lnTo>
                    <a:pt x="148" y="298"/>
                  </a:lnTo>
                  <a:lnTo>
                    <a:pt x="147" y="298"/>
                  </a:lnTo>
                  <a:lnTo>
                    <a:pt x="146" y="298"/>
                  </a:lnTo>
                  <a:lnTo>
                    <a:pt x="144" y="298"/>
                  </a:lnTo>
                  <a:lnTo>
                    <a:pt x="144" y="298"/>
                  </a:lnTo>
                  <a:lnTo>
                    <a:pt x="143" y="298"/>
                  </a:lnTo>
                  <a:lnTo>
                    <a:pt x="142" y="297"/>
                  </a:lnTo>
                  <a:lnTo>
                    <a:pt x="141" y="297"/>
                  </a:lnTo>
                  <a:lnTo>
                    <a:pt x="140" y="297"/>
                  </a:lnTo>
                  <a:lnTo>
                    <a:pt x="139" y="295"/>
                  </a:lnTo>
                  <a:lnTo>
                    <a:pt x="138" y="295"/>
                  </a:lnTo>
                  <a:lnTo>
                    <a:pt x="138" y="295"/>
                  </a:lnTo>
                  <a:lnTo>
                    <a:pt x="137" y="294"/>
                  </a:lnTo>
                  <a:lnTo>
                    <a:pt x="137" y="294"/>
                  </a:lnTo>
                  <a:lnTo>
                    <a:pt x="136" y="294"/>
                  </a:lnTo>
                  <a:lnTo>
                    <a:pt x="136" y="294"/>
                  </a:lnTo>
                  <a:lnTo>
                    <a:pt x="136" y="294"/>
                  </a:lnTo>
                  <a:lnTo>
                    <a:pt x="135" y="294"/>
                  </a:lnTo>
                  <a:lnTo>
                    <a:pt x="132" y="296"/>
                  </a:lnTo>
                  <a:lnTo>
                    <a:pt x="131" y="297"/>
                  </a:lnTo>
                  <a:lnTo>
                    <a:pt x="130" y="297"/>
                  </a:lnTo>
                  <a:lnTo>
                    <a:pt x="128" y="297"/>
                  </a:lnTo>
                  <a:lnTo>
                    <a:pt x="127" y="297"/>
                  </a:lnTo>
                  <a:lnTo>
                    <a:pt x="126" y="298"/>
                  </a:lnTo>
                  <a:lnTo>
                    <a:pt x="125" y="298"/>
                  </a:lnTo>
                  <a:lnTo>
                    <a:pt x="125" y="299"/>
                  </a:lnTo>
                  <a:lnTo>
                    <a:pt x="124" y="299"/>
                  </a:lnTo>
                  <a:lnTo>
                    <a:pt x="123" y="300"/>
                  </a:lnTo>
                  <a:lnTo>
                    <a:pt x="123" y="301"/>
                  </a:lnTo>
                  <a:lnTo>
                    <a:pt x="122" y="301"/>
                  </a:lnTo>
                  <a:lnTo>
                    <a:pt x="122" y="302"/>
                  </a:lnTo>
                  <a:lnTo>
                    <a:pt x="121" y="304"/>
                  </a:lnTo>
                  <a:lnTo>
                    <a:pt x="121" y="304"/>
                  </a:lnTo>
                  <a:lnTo>
                    <a:pt x="120" y="305"/>
                  </a:lnTo>
                  <a:lnTo>
                    <a:pt x="120" y="306"/>
                  </a:lnTo>
                  <a:lnTo>
                    <a:pt x="118" y="307"/>
                  </a:lnTo>
                  <a:lnTo>
                    <a:pt x="117" y="308"/>
                  </a:lnTo>
                  <a:lnTo>
                    <a:pt x="116" y="308"/>
                  </a:lnTo>
                  <a:lnTo>
                    <a:pt x="115" y="309"/>
                  </a:lnTo>
                  <a:lnTo>
                    <a:pt x="114" y="309"/>
                  </a:lnTo>
                  <a:lnTo>
                    <a:pt x="112" y="311"/>
                  </a:lnTo>
                  <a:lnTo>
                    <a:pt x="111" y="311"/>
                  </a:lnTo>
                  <a:lnTo>
                    <a:pt x="110" y="312"/>
                  </a:lnTo>
                  <a:lnTo>
                    <a:pt x="109" y="312"/>
                  </a:lnTo>
                  <a:lnTo>
                    <a:pt x="108" y="313"/>
                  </a:lnTo>
                  <a:lnTo>
                    <a:pt x="107" y="313"/>
                  </a:lnTo>
                  <a:lnTo>
                    <a:pt x="106" y="313"/>
                  </a:lnTo>
                  <a:lnTo>
                    <a:pt x="105" y="313"/>
                  </a:lnTo>
                  <a:lnTo>
                    <a:pt x="104" y="314"/>
                  </a:lnTo>
                  <a:lnTo>
                    <a:pt x="103" y="314"/>
                  </a:lnTo>
                  <a:lnTo>
                    <a:pt x="102" y="314"/>
                  </a:lnTo>
                  <a:lnTo>
                    <a:pt x="102" y="314"/>
                  </a:lnTo>
                  <a:lnTo>
                    <a:pt x="101" y="313"/>
                  </a:lnTo>
                  <a:lnTo>
                    <a:pt x="100" y="313"/>
                  </a:lnTo>
                  <a:lnTo>
                    <a:pt x="99" y="313"/>
                  </a:lnTo>
                  <a:lnTo>
                    <a:pt x="98" y="312"/>
                  </a:lnTo>
                  <a:lnTo>
                    <a:pt x="98" y="312"/>
                  </a:lnTo>
                  <a:lnTo>
                    <a:pt x="97" y="312"/>
                  </a:lnTo>
                  <a:lnTo>
                    <a:pt x="97" y="311"/>
                  </a:lnTo>
                  <a:lnTo>
                    <a:pt x="97" y="311"/>
                  </a:lnTo>
                  <a:lnTo>
                    <a:pt x="97" y="311"/>
                  </a:lnTo>
                  <a:lnTo>
                    <a:pt x="97" y="310"/>
                  </a:lnTo>
                  <a:lnTo>
                    <a:pt x="97" y="309"/>
                  </a:lnTo>
                  <a:lnTo>
                    <a:pt x="97" y="307"/>
                  </a:lnTo>
                  <a:lnTo>
                    <a:pt x="97" y="307"/>
                  </a:lnTo>
                  <a:lnTo>
                    <a:pt x="97" y="306"/>
                  </a:lnTo>
                  <a:lnTo>
                    <a:pt x="97" y="305"/>
                  </a:lnTo>
                  <a:lnTo>
                    <a:pt x="97" y="305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6" y="303"/>
                  </a:lnTo>
                  <a:lnTo>
                    <a:pt x="96" y="303"/>
                  </a:lnTo>
                  <a:lnTo>
                    <a:pt x="96" y="302"/>
                  </a:lnTo>
                  <a:lnTo>
                    <a:pt x="94" y="302"/>
                  </a:lnTo>
                  <a:lnTo>
                    <a:pt x="93" y="301"/>
                  </a:lnTo>
                  <a:lnTo>
                    <a:pt x="91" y="299"/>
                  </a:lnTo>
                  <a:lnTo>
                    <a:pt x="90" y="299"/>
                  </a:lnTo>
                  <a:lnTo>
                    <a:pt x="89" y="298"/>
                  </a:lnTo>
                  <a:lnTo>
                    <a:pt x="88" y="298"/>
                  </a:lnTo>
                  <a:lnTo>
                    <a:pt x="87" y="298"/>
                  </a:lnTo>
                  <a:lnTo>
                    <a:pt x="85" y="297"/>
                  </a:lnTo>
                  <a:lnTo>
                    <a:pt x="84" y="297"/>
                  </a:lnTo>
                  <a:lnTo>
                    <a:pt x="83" y="297"/>
                  </a:lnTo>
                  <a:lnTo>
                    <a:pt x="79" y="296"/>
                  </a:lnTo>
                  <a:lnTo>
                    <a:pt x="76" y="295"/>
                  </a:lnTo>
                  <a:lnTo>
                    <a:pt x="75" y="294"/>
                  </a:lnTo>
                  <a:lnTo>
                    <a:pt x="74" y="294"/>
                  </a:lnTo>
                  <a:lnTo>
                    <a:pt x="74" y="294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5" y="290"/>
                  </a:lnTo>
                  <a:lnTo>
                    <a:pt x="75" y="290"/>
                  </a:lnTo>
                  <a:lnTo>
                    <a:pt x="75" y="289"/>
                  </a:lnTo>
                  <a:lnTo>
                    <a:pt x="75" y="288"/>
                  </a:lnTo>
                  <a:lnTo>
                    <a:pt x="74" y="287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5" y="285"/>
                  </a:lnTo>
                  <a:lnTo>
                    <a:pt x="75" y="284"/>
                  </a:lnTo>
                  <a:lnTo>
                    <a:pt x="76" y="283"/>
                  </a:lnTo>
                  <a:lnTo>
                    <a:pt x="77" y="282"/>
                  </a:lnTo>
                  <a:lnTo>
                    <a:pt x="78" y="280"/>
                  </a:lnTo>
                  <a:lnTo>
                    <a:pt x="79" y="279"/>
                  </a:lnTo>
                  <a:lnTo>
                    <a:pt x="80" y="278"/>
                  </a:lnTo>
                  <a:lnTo>
                    <a:pt x="81" y="276"/>
                  </a:lnTo>
                  <a:lnTo>
                    <a:pt x="82" y="275"/>
                  </a:lnTo>
                  <a:lnTo>
                    <a:pt x="82" y="274"/>
                  </a:lnTo>
                  <a:lnTo>
                    <a:pt x="83" y="272"/>
                  </a:lnTo>
                  <a:lnTo>
                    <a:pt x="83" y="271"/>
                  </a:lnTo>
                  <a:lnTo>
                    <a:pt x="84" y="270"/>
                  </a:lnTo>
                  <a:lnTo>
                    <a:pt x="84" y="269"/>
                  </a:lnTo>
                  <a:lnTo>
                    <a:pt x="84" y="268"/>
                  </a:lnTo>
                  <a:lnTo>
                    <a:pt x="84" y="268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3" y="265"/>
                  </a:lnTo>
                  <a:lnTo>
                    <a:pt x="83" y="264"/>
                  </a:lnTo>
                  <a:lnTo>
                    <a:pt x="82" y="262"/>
                  </a:lnTo>
                  <a:lnTo>
                    <a:pt x="82" y="261"/>
                  </a:lnTo>
                  <a:lnTo>
                    <a:pt x="80" y="259"/>
                  </a:lnTo>
                  <a:lnTo>
                    <a:pt x="79" y="258"/>
                  </a:lnTo>
                  <a:lnTo>
                    <a:pt x="78" y="256"/>
                  </a:lnTo>
                  <a:lnTo>
                    <a:pt x="78" y="255"/>
                  </a:lnTo>
                  <a:lnTo>
                    <a:pt x="78" y="255"/>
                  </a:lnTo>
                  <a:lnTo>
                    <a:pt x="78" y="254"/>
                  </a:lnTo>
                  <a:lnTo>
                    <a:pt x="78" y="252"/>
                  </a:lnTo>
                  <a:lnTo>
                    <a:pt x="78" y="250"/>
                  </a:lnTo>
                  <a:lnTo>
                    <a:pt x="78" y="249"/>
                  </a:lnTo>
                  <a:lnTo>
                    <a:pt x="78" y="248"/>
                  </a:lnTo>
                  <a:lnTo>
                    <a:pt x="78" y="247"/>
                  </a:lnTo>
                  <a:lnTo>
                    <a:pt x="78" y="244"/>
                  </a:lnTo>
                  <a:lnTo>
                    <a:pt x="79" y="243"/>
                  </a:lnTo>
                  <a:lnTo>
                    <a:pt x="79" y="241"/>
                  </a:lnTo>
                  <a:lnTo>
                    <a:pt x="78" y="238"/>
                  </a:lnTo>
                  <a:lnTo>
                    <a:pt x="78" y="236"/>
                  </a:lnTo>
                  <a:lnTo>
                    <a:pt x="78" y="234"/>
                  </a:lnTo>
                  <a:lnTo>
                    <a:pt x="78" y="234"/>
                  </a:lnTo>
                  <a:lnTo>
                    <a:pt x="78" y="232"/>
                  </a:lnTo>
                  <a:lnTo>
                    <a:pt x="77" y="231"/>
                  </a:lnTo>
                  <a:lnTo>
                    <a:pt x="77" y="231"/>
                  </a:lnTo>
                  <a:lnTo>
                    <a:pt x="77" y="230"/>
                  </a:lnTo>
                  <a:lnTo>
                    <a:pt x="76" y="229"/>
                  </a:lnTo>
                  <a:lnTo>
                    <a:pt x="75" y="229"/>
                  </a:lnTo>
                  <a:lnTo>
                    <a:pt x="75" y="228"/>
                  </a:lnTo>
                  <a:lnTo>
                    <a:pt x="73" y="227"/>
                  </a:lnTo>
                  <a:lnTo>
                    <a:pt x="72" y="226"/>
                  </a:lnTo>
                  <a:lnTo>
                    <a:pt x="72" y="225"/>
                  </a:lnTo>
                  <a:lnTo>
                    <a:pt x="71" y="225"/>
                  </a:lnTo>
                  <a:lnTo>
                    <a:pt x="70" y="225"/>
                  </a:lnTo>
                  <a:lnTo>
                    <a:pt x="70" y="225"/>
                  </a:lnTo>
                  <a:lnTo>
                    <a:pt x="69" y="225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66" y="226"/>
                  </a:lnTo>
                  <a:lnTo>
                    <a:pt x="65" y="226"/>
                  </a:lnTo>
                  <a:lnTo>
                    <a:pt x="63" y="227"/>
                  </a:lnTo>
                  <a:lnTo>
                    <a:pt x="59" y="228"/>
                  </a:lnTo>
                  <a:lnTo>
                    <a:pt x="58" y="229"/>
                  </a:lnTo>
                  <a:lnTo>
                    <a:pt x="57" y="229"/>
                  </a:lnTo>
                  <a:lnTo>
                    <a:pt x="56" y="229"/>
                  </a:lnTo>
                  <a:lnTo>
                    <a:pt x="55" y="229"/>
                  </a:lnTo>
                  <a:lnTo>
                    <a:pt x="52" y="228"/>
                  </a:lnTo>
                  <a:lnTo>
                    <a:pt x="49" y="228"/>
                  </a:lnTo>
                  <a:lnTo>
                    <a:pt x="45" y="227"/>
                  </a:lnTo>
                  <a:lnTo>
                    <a:pt x="44" y="227"/>
                  </a:lnTo>
                  <a:lnTo>
                    <a:pt x="43" y="227"/>
                  </a:lnTo>
                  <a:lnTo>
                    <a:pt x="39" y="228"/>
                  </a:lnTo>
                  <a:lnTo>
                    <a:pt x="38" y="228"/>
                  </a:lnTo>
                  <a:lnTo>
                    <a:pt x="37" y="228"/>
                  </a:lnTo>
                  <a:lnTo>
                    <a:pt x="36" y="228"/>
                  </a:lnTo>
                  <a:lnTo>
                    <a:pt x="36" y="228"/>
                  </a:lnTo>
                  <a:lnTo>
                    <a:pt x="35" y="227"/>
                  </a:lnTo>
                  <a:lnTo>
                    <a:pt x="34" y="227"/>
                  </a:lnTo>
                  <a:lnTo>
                    <a:pt x="33" y="227"/>
                  </a:lnTo>
                  <a:lnTo>
                    <a:pt x="33" y="226"/>
                  </a:lnTo>
                  <a:lnTo>
                    <a:pt x="32" y="226"/>
                  </a:lnTo>
                  <a:lnTo>
                    <a:pt x="31" y="225"/>
                  </a:lnTo>
                  <a:lnTo>
                    <a:pt x="31" y="225"/>
                  </a:lnTo>
                  <a:lnTo>
                    <a:pt x="30" y="224"/>
                  </a:lnTo>
                  <a:lnTo>
                    <a:pt x="30" y="224"/>
                  </a:lnTo>
                  <a:lnTo>
                    <a:pt x="30" y="223"/>
                  </a:lnTo>
                  <a:lnTo>
                    <a:pt x="29" y="222"/>
                  </a:lnTo>
                  <a:lnTo>
                    <a:pt x="29" y="221"/>
                  </a:lnTo>
                  <a:lnTo>
                    <a:pt x="29" y="220"/>
                  </a:lnTo>
                  <a:lnTo>
                    <a:pt x="29" y="220"/>
                  </a:lnTo>
                  <a:lnTo>
                    <a:pt x="29" y="218"/>
                  </a:lnTo>
                  <a:lnTo>
                    <a:pt x="29" y="216"/>
                  </a:lnTo>
                  <a:lnTo>
                    <a:pt x="29" y="215"/>
                  </a:lnTo>
                  <a:lnTo>
                    <a:pt x="28" y="215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27" y="213"/>
                  </a:lnTo>
                  <a:lnTo>
                    <a:pt x="25" y="211"/>
                  </a:lnTo>
                  <a:lnTo>
                    <a:pt x="24" y="210"/>
                  </a:lnTo>
                  <a:lnTo>
                    <a:pt x="23" y="209"/>
                  </a:lnTo>
                  <a:lnTo>
                    <a:pt x="22" y="208"/>
                  </a:lnTo>
                  <a:lnTo>
                    <a:pt x="22" y="208"/>
                  </a:lnTo>
                  <a:lnTo>
                    <a:pt x="21" y="206"/>
                  </a:lnTo>
                  <a:lnTo>
                    <a:pt x="20" y="206"/>
                  </a:lnTo>
                  <a:lnTo>
                    <a:pt x="20" y="205"/>
                  </a:lnTo>
                  <a:lnTo>
                    <a:pt x="19" y="205"/>
                  </a:lnTo>
                  <a:lnTo>
                    <a:pt x="18" y="204"/>
                  </a:lnTo>
                  <a:lnTo>
                    <a:pt x="16" y="204"/>
                  </a:lnTo>
                  <a:lnTo>
                    <a:pt x="16" y="204"/>
                  </a:lnTo>
                  <a:lnTo>
                    <a:pt x="15" y="203"/>
                  </a:lnTo>
                  <a:lnTo>
                    <a:pt x="12" y="203"/>
                  </a:lnTo>
                  <a:lnTo>
                    <a:pt x="11" y="203"/>
                  </a:lnTo>
                  <a:lnTo>
                    <a:pt x="10" y="203"/>
                  </a:lnTo>
                  <a:lnTo>
                    <a:pt x="10" y="203"/>
                  </a:lnTo>
                  <a:lnTo>
                    <a:pt x="9" y="202"/>
                  </a:lnTo>
                  <a:lnTo>
                    <a:pt x="9" y="202"/>
                  </a:lnTo>
                  <a:lnTo>
                    <a:pt x="8" y="202"/>
                  </a:lnTo>
                  <a:lnTo>
                    <a:pt x="7" y="201"/>
                  </a:lnTo>
                  <a:lnTo>
                    <a:pt x="6" y="201"/>
                  </a:lnTo>
                  <a:lnTo>
                    <a:pt x="6" y="200"/>
                  </a:lnTo>
                  <a:lnTo>
                    <a:pt x="5" y="200"/>
                  </a:lnTo>
                  <a:lnTo>
                    <a:pt x="5" y="199"/>
                  </a:lnTo>
                  <a:lnTo>
                    <a:pt x="4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3" y="195"/>
                  </a:lnTo>
                  <a:lnTo>
                    <a:pt x="3" y="194"/>
                  </a:lnTo>
                  <a:lnTo>
                    <a:pt x="2" y="193"/>
                  </a:lnTo>
                  <a:lnTo>
                    <a:pt x="1" y="191"/>
                  </a:lnTo>
                  <a:lnTo>
                    <a:pt x="1" y="190"/>
                  </a:lnTo>
                  <a:lnTo>
                    <a:pt x="1" y="190"/>
                  </a:lnTo>
                  <a:lnTo>
                    <a:pt x="0" y="189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0" y="187"/>
                  </a:lnTo>
                  <a:lnTo>
                    <a:pt x="1" y="186"/>
                  </a:lnTo>
                  <a:lnTo>
                    <a:pt x="1" y="186"/>
                  </a:lnTo>
                  <a:lnTo>
                    <a:pt x="1" y="185"/>
                  </a:lnTo>
                  <a:lnTo>
                    <a:pt x="2" y="184"/>
                  </a:lnTo>
                  <a:lnTo>
                    <a:pt x="2" y="184"/>
                  </a:lnTo>
                  <a:lnTo>
                    <a:pt x="3" y="184"/>
                  </a:lnTo>
                  <a:lnTo>
                    <a:pt x="5" y="182"/>
                  </a:lnTo>
                  <a:lnTo>
                    <a:pt x="6" y="182"/>
                  </a:lnTo>
                  <a:lnTo>
                    <a:pt x="6" y="181"/>
                  </a:lnTo>
                  <a:lnTo>
                    <a:pt x="7" y="181"/>
                  </a:lnTo>
                  <a:lnTo>
                    <a:pt x="7" y="181"/>
                  </a:lnTo>
                  <a:lnTo>
                    <a:pt x="7" y="180"/>
                  </a:lnTo>
                  <a:lnTo>
                    <a:pt x="8" y="177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2" y="171"/>
                  </a:lnTo>
                  <a:lnTo>
                    <a:pt x="12" y="170"/>
                  </a:lnTo>
                  <a:lnTo>
                    <a:pt x="13" y="169"/>
                  </a:lnTo>
                  <a:lnTo>
                    <a:pt x="13" y="167"/>
                  </a:lnTo>
                  <a:lnTo>
                    <a:pt x="13" y="166"/>
                  </a:lnTo>
                  <a:lnTo>
                    <a:pt x="13" y="165"/>
                  </a:lnTo>
                  <a:lnTo>
                    <a:pt x="12" y="163"/>
                  </a:lnTo>
                  <a:lnTo>
                    <a:pt x="11" y="160"/>
                  </a:lnTo>
                  <a:lnTo>
                    <a:pt x="11" y="159"/>
                  </a:lnTo>
                  <a:lnTo>
                    <a:pt x="10" y="158"/>
                  </a:lnTo>
                  <a:lnTo>
                    <a:pt x="10" y="157"/>
                  </a:lnTo>
                  <a:lnTo>
                    <a:pt x="9" y="156"/>
                  </a:lnTo>
                  <a:lnTo>
                    <a:pt x="8" y="154"/>
                  </a:lnTo>
                  <a:lnTo>
                    <a:pt x="8" y="154"/>
                  </a:lnTo>
                  <a:lnTo>
                    <a:pt x="8" y="153"/>
                  </a:lnTo>
                  <a:lnTo>
                    <a:pt x="7" y="152"/>
                  </a:lnTo>
                  <a:lnTo>
                    <a:pt x="7" y="151"/>
                  </a:lnTo>
                  <a:lnTo>
                    <a:pt x="7" y="150"/>
                  </a:lnTo>
                  <a:lnTo>
                    <a:pt x="7" y="145"/>
                  </a:lnTo>
                  <a:lnTo>
                    <a:pt x="7" y="143"/>
                  </a:lnTo>
                  <a:lnTo>
                    <a:pt x="7" y="142"/>
                  </a:lnTo>
                  <a:lnTo>
                    <a:pt x="7" y="142"/>
                  </a:lnTo>
                  <a:lnTo>
                    <a:pt x="7" y="141"/>
                  </a:lnTo>
                  <a:lnTo>
                    <a:pt x="6" y="139"/>
                  </a:lnTo>
                  <a:lnTo>
                    <a:pt x="5" y="137"/>
                  </a:lnTo>
                  <a:lnTo>
                    <a:pt x="5" y="136"/>
                  </a:lnTo>
                  <a:lnTo>
                    <a:pt x="4" y="134"/>
                  </a:lnTo>
                  <a:lnTo>
                    <a:pt x="3" y="132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4" y="126"/>
                  </a:lnTo>
                  <a:lnTo>
                    <a:pt x="5" y="125"/>
                  </a:lnTo>
                  <a:lnTo>
                    <a:pt x="6" y="124"/>
                  </a:lnTo>
                  <a:lnTo>
                    <a:pt x="8" y="122"/>
                  </a:lnTo>
                  <a:lnTo>
                    <a:pt x="9" y="121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0" y="121"/>
                  </a:lnTo>
                  <a:lnTo>
                    <a:pt x="11" y="122"/>
                  </a:lnTo>
                  <a:lnTo>
                    <a:pt x="13" y="122"/>
                  </a:lnTo>
                  <a:lnTo>
                    <a:pt x="15" y="124"/>
                  </a:lnTo>
                  <a:lnTo>
                    <a:pt x="17" y="125"/>
                  </a:lnTo>
                  <a:lnTo>
                    <a:pt x="21" y="127"/>
                  </a:lnTo>
                  <a:lnTo>
                    <a:pt x="22" y="128"/>
                  </a:lnTo>
                  <a:lnTo>
                    <a:pt x="24" y="128"/>
                  </a:lnTo>
                  <a:lnTo>
                    <a:pt x="25" y="129"/>
                  </a:lnTo>
                  <a:lnTo>
                    <a:pt x="27" y="130"/>
                  </a:lnTo>
                  <a:lnTo>
                    <a:pt x="28" y="130"/>
                  </a:lnTo>
                  <a:lnTo>
                    <a:pt x="30" y="131"/>
                  </a:lnTo>
                  <a:lnTo>
                    <a:pt x="30" y="131"/>
                  </a:lnTo>
                  <a:lnTo>
                    <a:pt x="31" y="131"/>
                  </a:lnTo>
                  <a:lnTo>
                    <a:pt x="32" y="131"/>
                  </a:lnTo>
                  <a:lnTo>
                    <a:pt x="33" y="131"/>
                  </a:lnTo>
                  <a:lnTo>
                    <a:pt x="34" y="131"/>
                  </a:lnTo>
                  <a:lnTo>
                    <a:pt x="34" y="131"/>
                  </a:lnTo>
                  <a:lnTo>
                    <a:pt x="35" y="131"/>
                  </a:lnTo>
                  <a:lnTo>
                    <a:pt x="36" y="130"/>
                  </a:lnTo>
                  <a:lnTo>
                    <a:pt x="36" y="130"/>
                  </a:lnTo>
                  <a:lnTo>
                    <a:pt x="37" y="129"/>
                  </a:lnTo>
                  <a:lnTo>
                    <a:pt x="38" y="128"/>
                  </a:lnTo>
                  <a:lnTo>
                    <a:pt x="40" y="125"/>
                  </a:lnTo>
                  <a:lnTo>
                    <a:pt x="42" y="123"/>
                  </a:lnTo>
                  <a:lnTo>
                    <a:pt x="43" y="122"/>
                  </a:lnTo>
                  <a:lnTo>
                    <a:pt x="44" y="122"/>
                  </a:lnTo>
                  <a:lnTo>
                    <a:pt x="44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6" y="120"/>
                  </a:lnTo>
                  <a:lnTo>
                    <a:pt x="46" y="120"/>
                  </a:lnTo>
                  <a:lnTo>
                    <a:pt x="47" y="120"/>
                  </a:lnTo>
                  <a:lnTo>
                    <a:pt x="48" y="120"/>
                  </a:lnTo>
                  <a:lnTo>
                    <a:pt x="49" y="120"/>
                  </a:lnTo>
                  <a:lnTo>
                    <a:pt x="50" y="120"/>
                  </a:lnTo>
                  <a:lnTo>
                    <a:pt x="51" y="120"/>
                  </a:lnTo>
                  <a:lnTo>
                    <a:pt x="52" y="121"/>
                  </a:lnTo>
                  <a:lnTo>
                    <a:pt x="53" y="121"/>
                  </a:lnTo>
                  <a:lnTo>
                    <a:pt x="54" y="122"/>
                  </a:lnTo>
                  <a:lnTo>
                    <a:pt x="56" y="123"/>
                  </a:lnTo>
                  <a:lnTo>
                    <a:pt x="58" y="123"/>
                  </a:lnTo>
                  <a:lnTo>
                    <a:pt x="59" y="124"/>
                  </a:lnTo>
                  <a:lnTo>
                    <a:pt x="61" y="124"/>
                  </a:lnTo>
                  <a:lnTo>
                    <a:pt x="62" y="124"/>
                  </a:lnTo>
                  <a:lnTo>
                    <a:pt x="63" y="125"/>
                  </a:lnTo>
                  <a:lnTo>
                    <a:pt x="64" y="125"/>
                  </a:lnTo>
                  <a:lnTo>
                    <a:pt x="65" y="125"/>
                  </a:lnTo>
                  <a:lnTo>
                    <a:pt x="66" y="126"/>
                  </a:lnTo>
                  <a:lnTo>
                    <a:pt x="68" y="127"/>
                  </a:lnTo>
                  <a:lnTo>
                    <a:pt x="69" y="128"/>
                  </a:lnTo>
                  <a:lnTo>
                    <a:pt x="71" y="129"/>
                  </a:lnTo>
                  <a:lnTo>
                    <a:pt x="73" y="129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5" y="130"/>
                  </a:lnTo>
                  <a:lnTo>
                    <a:pt x="77" y="129"/>
                  </a:lnTo>
                  <a:lnTo>
                    <a:pt x="78" y="129"/>
                  </a:lnTo>
                  <a:lnTo>
                    <a:pt x="78" y="130"/>
                  </a:lnTo>
                  <a:lnTo>
                    <a:pt x="78" y="130"/>
                  </a:lnTo>
                  <a:lnTo>
                    <a:pt x="79" y="130"/>
                  </a:lnTo>
                  <a:lnTo>
                    <a:pt x="79" y="131"/>
                  </a:lnTo>
                  <a:lnTo>
                    <a:pt x="79" y="131"/>
                  </a:lnTo>
                  <a:lnTo>
                    <a:pt x="80" y="132"/>
                  </a:lnTo>
                  <a:lnTo>
                    <a:pt x="80" y="133"/>
                  </a:lnTo>
                  <a:lnTo>
                    <a:pt x="80" y="134"/>
                  </a:lnTo>
                  <a:lnTo>
                    <a:pt x="81" y="135"/>
                  </a:lnTo>
                  <a:lnTo>
                    <a:pt x="81" y="135"/>
                  </a:lnTo>
                  <a:lnTo>
                    <a:pt x="81" y="136"/>
                  </a:lnTo>
                  <a:lnTo>
                    <a:pt x="82" y="137"/>
                  </a:lnTo>
                  <a:lnTo>
                    <a:pt x="83" y="137"/>
                  </a:lnTo>
                  <a:lnTo>
                    <a:pt x="83" y="137"/>
                  </a:lnTo>
                  <a:lnTo>
                    <a:pt x="83" y="138"/>
                  </a:lnTo>
                  <a:lnTo>
                    <a:pt x="84" y="138"/>
                  </a:lnTo>
                  <a:lnTo>
                    <a:pt x="85" y="138"/>
                  </a:lnTo>
                  <a:lnTo>
                    <a:pt x="85" y="138"/>
                  </a:lnTo>
                  <a:lnTo>
                    <a:pt x="86" y="138"/>
                  </a:lnTo>
                  <a:lnTo>
                    <a:pt x="87" y="138"/>
                  </a:lnTo>
                  <a:lnTo>
                    <a:pt x="88" y="138"/>
                  </a:lnTo>
                  <a:lnTo>
                    <a:pt x="89" y="138"/>
                  </a:lnTo>
                  <a:lnTo>
                    <a:pt x="90" y="138"/>
                  </a:lnTo>
                  <a:lnTo>
                    <a:pt x="91" y="137"/>
                  </a:lnTo>
                  <a:lnTo>
                    <a:pt x="92" y="137"/>
                  </a:lnTo>
                  <a:lnTo>
                    <a:pt x="93" y="136"/>
                  </a:lnTo>
                  <a:lnTo>
                    <a:pt x="93" y="136"/>
                  </a:lnTo>
                  <a:lnTo>
                    <a:pt x="96" y="135"/>
                  </a:lnTo>
                  <a:lnTo>
                    <a:pt x="96" y="134"/>
                  </a:lnTo>
                  <a:lnTo>
                    <a:pt x="96" y="134"/>
                  </a:lnTo>
                  <a:lnTo>
                    <a:pt x="97" y="133"/>
                  </a:lnTo>
                  <a:lnTo>
                    <a:pt x="97" y="132"/>
                  </a:lnTo>
                  <a:lnTo>
                    <a:pt x="98" y="131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98" y="129"/>
                  </a:lnTo>
                  <a:lnTo>
                    <a:pt x="97" y="126"/>
                  </a:lnTo>
                  <a:lnTo>
                    <a:pt x="97" y="125"/>
                  </a:lnTo>
                  <a:lnTo>
                    <a:pt x="97" y="124"/>
                  </a:lnTo>
                  <a:lnTo>
                    <a:pt x="97" y="123"/>
                  </a:lnTo>
                  <a:lnTo>
                    <a:pt x="97" y="122"/>
                  </a:lnTo>
                  <a:lnTo>
                    <a:pt x="97" y="122"/>
                  </a:lnTo>
                  <a:lnTo>
                    <a:pt x="98" y="121"/>
                  </a:lnTo>
                  <a:lnTo>
                    <a:pt x="98" y="120"/>
                  </a:lnTo>
                  <a:lnTo>
                    <a:pt x="99" y="119"/>
                  </a:lnTo>
                  <a:lnTo>
                    <a:pt x="100" y="119"/>
                  </a:lnTo>
                  <a:lnTo>
                    <a:pt x="102" y="117"/>
                  </a:lnTo>
                  <a:lnTo>
                    <a:pt x="104" y="115"/>
                  </a:lnTo>
                  <a:lnTo>
                    <a:pt x="106" y="113"/>
                  </a:lnTo>
                  <a:lnTo>
                    <a:pt x="107" y="113"/>
                  </a:lnTo>
                  <a:lnTo>
                    <a:pt x="107" y="112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10" y="111"/>
                  </a:lnTo>
                  <a:lnTo>
                    <a:pt x="111" y="111"/>
                  </a:lnTo>
                  <a:lnTo>
                    <a:pt x="112" y="112"/>
                  </a:lnTo>
                  <a:lnTo>
                    <a:pt x="112" y="112"/>
                  </a:lnTo>
                  <a:lnTo>
                    <a:pt x="112" y="113"/>
                  </a:lnTo>
                  <a:lnTo>
                    <a:pt x="114" y="115"/>
                  </a:lnTo>
                  <a:lnTo>
                    <a:pt x="115" y="117"/>
                  </a:lnTo>
                  <a:lnTo>
                    <a:pt x="116" y="118"/>
                  </a:lnTo>
                  <a:lnTo>
                    <a:pt x="117" y="118"/>
                  </a:lnTo>
                  <a:lnTo>
                    <a:pt x="118" y="119"/>
                  </a:lnTo>
                  <a:lnTo>
                    <a:pt x="118" y="120"/>
                  </a:lnTo>
                  <a:lnTo>
                    <a:pt x="120" y="120"/>
                  </a:lnTo>
                  <a:lnTo>
                    <a:pt x="121" y="121"/>
                  </a:lnTo>
                  <a:lnTo>
                    <a:pt x="122" y="121"/>
                  </a:lnTo>
                  <a:lnTo>
                    <a:pt x="123" y="122"/>
                  </a:lnTo>
                  <a:lnTo>
                    <a:pt x="124" y="122"/>
                  </a:lnTo>
                  <a:lnTo>
                    <a:pt x="125" y="122"/>
                  </a:lnTo>
                  <a:lnTo>
                    <a:pt x="125" y="122"/>
                  </a:lnTo>
                  <a:lnTo>
                    <a:pt x="126" y="122"/>
                  </a:lnTo>
                  <a:lnTo>
                    <a:pt x="127" y="121"/>
                  </a:lnTo>
                  <a:lnTo>
                    <a:pt x="130" y="121"/>
                  </a:lnTo>
                  <a:lnTo>
                    <a:pt x="131" y="120"/>
                  </a:lnTo>
                  <a:lnTo>
                    <a:pt x="132" y="120"/>
                  </a:lnTo>
                  <a:lnTo>
                    <a:pt x="133" y="120"/>
                  </a:lnTo>
                  <a:lnTo>
                    <a:pt x="134" y="120"/>
                  </a:lnTo>
                  <a:lnTo>
                    <a:pt x="136" y="120"/>
                  </a:lnTo>
                  <a:lnTo>
                    <a:pt x="137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40" y="121"/>
                  </a:lnTo>
                  <a:lnTo>
                    <a:pt x="140" y="121"/>
                  </a:lnTo>
                  <a:lnTo>
                    <a:pt x="142" y="121"/>
                  </a:lnTo>
                  <a:lnTo>
                    <a:pt x="143" y="121"/>
                  </a:lnTo>
                  <a:lnTo>
                    <a:pt x="144" y="121"/>
                  </a:lnTo>
                  <a:lnTo>
                    <a:pt x="146" y="120"/>
                  </a:lnTo>
                  <a:lnTo>
                    <a:pt x="147" y="120"/>
                  </a:lnTo>
                  <a:lnTo>
                    <a:pt x="148" y="119"/>
                  </a:lnTo>
                  <a:lnTo>
                    <a:pt x="149" y="119"/>
                  </a:lnTo>
                  <a:lnTo>
                    <a:pt x="149" y="118"/>
                  </a:lnTo>
                  <a:lnTo>
                    <a:pt x="150" y="118"/>
                  </a:lnTo>
                  <a:lnTo>
                    <a:pt x="150" y="118"/>
                  </a:lnTo>
                  <a:lnTo>
                    <a:pt x="150" y="117"/>
                  </a:lnTo>
                  <a:lnTo>
                    <a:pt x="151" y="117"/>
                  </a:lnTo>
                  <a:lnTo>
                    <a:pt x="151" y="116"/>
                  </a:lnTo>
                  <a:lnTo>
                    <a:pt x="151" y="115"/>
                  </a:lnTo>
                  <a:lnTo>
                    <a:pt x="150" y="114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49" y="112"/>
                  </a:lnTo>
                  <a:lnTo>
                    <a:pt x="149" y="111"/>
                  </a:lnTo>
                  <a:lnTo>
                    <a:pt x="147" y="109"/>
                  </a:lnTo>
                  <a:lnTo>
                    <a:pt x="145" y="105"/>
                  </a:lnTo>
                  <a:lnTo>
                    <a:pt x="143" y="103"/>
                  </a:lnTo>
                  <a:lnTo>
                    <a:pt x="143" y="103"/>
                  </a:lnTo>
                  <a:lnTo>
                    <a:pt x="141" y="99"/>
                  </a:lnTo>
                  <a:lnTo>
                    <a:pt x="140" y="96"/>
                  </a:lnTo>
                  <a:lnTo>
                    <a:pt x="138" y="93"/>
                  </a:lnTo>
                  <a:lnTo>
                    <a:pt x="138" y="93"/>
                  </a:lnTo>
                  <a:lnTo>
                    <a:pt x="138" y="92"/>
                  </a:lnTo>
                  <a:lnTo>
                    <a:pt x="138" y="91"/>
                  </a:lnTo>
                  <a:lnTo>
                    <a:pt x="137" y="90"/>
                  </a:lnTo>
                  <a:lnTo>
                    <a:pt x="138" y="89"/>
                  </a:lnTo>
                  <a:lnTo>
                    <a:pt x="138" y="88"/>
                  </a:lnTo>
                  <a:lnTo>
                    <a:pt x="138" y="86"/>
                  </a:lnTo>
                  <a:lnTo>
                    <a:pt x="139" y="84"/>
                  </a:lnTo>
                  <a:lnTo>
                    <a:pt x="140" y="80"/>
                  </a:lnTo>
                  <a:lnTo>
                    <a:pt x="140" y="79"/>
                  </a:lnTo>
                  <a:lnTo>
                    <a:pt x="141" y="78"/>
                  </a:lnTo>
                  <a:lnTo>
                    <a:pt x="141" y="78"/>
                  </a:lnTo>
                  <a:lnTo>
                    <a:pt x="141" y="77"/>
                  </a:lnTo>
                  <a:lnTo>
                    <a:pt x="140" y="76"/>
                  </a:lnTo>
                  <a:lnTo>
                    <a:pt x="140" y="76"/>
                  </a:lnTo>
                  <a:lnTo>
                    <a:pt x="140" y="75"/>
                  </a:lnTo>
                  <a:lnTo>
                    <a:pt x="140" y="74"/>
                  </a:lnTo>
                  <a:lnTo>
                    <a:pt x="138" y="72"/>
                  </a:lnTo>
                  <a:lnTo>
                    <a:pt x="136" y="67"/>
                  </a:lnTo>
                  <a:lnTo>
                    <a:pt x="136" y="67"/>
                  </a:lnTo>
                  <a:lnTo>
                    <a:pt x="136" y="66"/>
                  </a:lnTo>
                  <a:lnTo>
                    <a:pt x="136" y="65"/>
                  </a:lnTo>
                  <a:lnTo>
                    <a:pt x="136" y="64"/>
                  </a:lnTo>
                  <a:lnTo>
                    <a:pt x="136" y="63"/>
                  </a:lnTo>
                  <a:lnTo>
                    <a:pt x="136" y="60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5" y="57"/>
                  </a:lnTo>
                  <a:lnTo>
                    <a:pt x="134" y="54"/>
                  </a:lnTo>
                  <a:lnTo>
                    <a:pt x="134" y="51"/>
                  </a:lnTo>
                  <a:lnTo>
                    <a:pt x="133" y="48"/>
                  </a:lnTo>
                  <a:lnTo>
                    <a:pt x="133" y="46"/>
                  </a:lnTo>
                  <a:lnTo>
                    <a:pt x="133" y="45"/>
                  </a:lnTo>
                  <a:lnTo>
                    <a:pt x="132" y="43"/>
                  </a:lnTo>
                  <a:lnTo>
                    <a:pt x="132" y="36"/>
                  </a:lnTo>
                  <a:lnTo>
                    <a:pt x="132" y="31"/>
                  </a:lnTo>
                  <a:lnTo>
                    <a:pt x="132" y="30"/>
                  </a:lnTo>
                  <a:lnTo>
                    <a:pt x="132" y="29"/>
                  </a:lnTo>
                  <a:lnTo>
                    <a:pt x="133" y="25"/>
                  </a:lnTo>
                  <a:lnTo>
                    <a:pt x="133" y="23"/>
                  </a:lnTo>
                  <a:lnTo>
                    <a:pt x="133" y="22"/>
                  </a:lnTo>
                  <a:lnTo>
                    <a:pt x="133" y="20"/>
                  </a:lnTo>
                  <a:lnTo>
                    <a:pt x="132" y="20"/>
                  </a:lnTo>
                  <a:lnTo>
                    <a:pt x="132" y="19"/>
                  </a:lnTo>
                  <a:lnTo>
                    <a:pt x="132" y="18"/>
                  </a:lnTo>
                  <a:lnTo>
                    <a:pt x="131" y="16"/>
                  </a:lnTo>
                  <a:lnTo>
                    <a:pt x="130" y="15"/>
                  </a:lnTo>
                  <a:lnTo>
                    <a:pt x="128" y="11"/>
                  </a:lnTo>
                  <a:lnTo>
                    <a:pt x="127" y="10"/>
                  </a:lnTo>
                  <a:lnTo>
                    <a:pt x="126" y="8"/>
                  </a:lnTo>
                  <a:lnTo>
                    <a:pt x="125" y="6"/>
                  </a:lnTo>
                  <a:lnTo>
                    <a:pt x="124" y="5"/>
                  </a:lnTo>
                  <a:lnTo>
                    <a:pt x="124" y="4"/>
                  </a:lnTo>
                  <a:lnTo>
                    <a:pt x="124" y="3"/>
                  </a:lnTo>
                  <a:lnTo>
                    <a:pt x="123" y="2"/>
                  </a:lnTo>
                  <a:lnTo>
                    <a:pt x="123" y="1"/>
                  </a:lnTo>
                  <a:lnTo>
                    <a:pt x="123" y="1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27" y="1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Freeform 23">
              <a:extLst>
                <a:ext uri="{FF2B5EF4-FFF2-40B4-BE49-F238E27FC236}">
                  <a16:creationId xmlns:a16="http://schemas.microsoft.com/office/drawing/2014/main" id="{C007DD0F-ED80-9874-71F3-4039525D9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994"/>
              <a:ext cx="436" cy="338"/>
            </a:xfrm>
            <a:custGeom>
              <a:avLst/>
              <a:gdLst>
                <a:gd name="T0" fmla="*/ 164 w 436"/>
                <a:gd name="T1" fmla="*/ 11 h 338"/>
                <a:gd name="T2" fmla="*/ 194 w 436"/>
                <a:gd name="T3" fmla="*/ 15 h 338"/>
                <a:gd name="T4" fmla="*/ 211 w 436"/>
                <a:gd name="T5" fmla="*/ 23 h 338"/>
                <a:gd name="T6" fmla="*/ 225 w 436"/>
                <a:gd name="T7" fmla="*/ 47 h 338"/>
                <a:gd name="T8" fmla="*/ 252 w 436"/>
                <a:gd name="T9" fmla="*/ 41 h 338"/>
                <a:gd name="T10" fmla="*/ 263 w 436"/>
                <a:gd name="T11" fmla="*/ 65 h 338"/>
                <a:gd name="T12" fmla="*/ 263 w 436"/>
                <a:gd name="T13" fmla="*/ 78 h 338"/>
                <a:gd name="T14" fmla="*/ 278 w 436"/>
                <a:gd name="T15" fmla="*/ 71 h 338"/>
                <a:gd name="T16" fmla="*/ 298 w 436"/>
                <a:gd name="T17" fmla="*/ 54 h 338"/>
                <a:gd name="T18" fmla="*/ 319 w 436"/>
                <a:gd name="T19" fmla="*/ 65 h 338"/>
                <a:gd name="T20" fmla="*/ 330 w 436"/>
                <a:gd name="T21" fmla="*/ 51 h 338"/>
                <a:gd name="T22" fmla="*/ 350 w 436"/>
                <a:gd name="T23" fmla="*/ 51 h 338"/>
                <a:gd name="T24" fmla="*/ 378 w 436"/>
                <a:gd name="T25" fmla="*/ 70 h 338"/>
                <a:gd name="T26" fmla="*/ 386 w 436"/>
                <a:gd name="T27" fmla="*/ 92 h 338"/>
                <a:gd name="T28" fmla="*/ 375 w 436"/>
                <a:gd name="T29" fmla="*/ 116 h 338"/>
                <a:gd name="T30" fmla="*/ 356 w 436"/>
                <a:gd name="T31" fmla="*/ 126 h 338"/>
                <a:gd name="T32" fmla="*/ 338 w 436"/>
                <a:gd name="T33" fmla="*/ 138 h 338"/>
                <a:gd name="T34" fmla="*/ 328 w 436"/>
                <a:gd name="T35" fmla="*/ 151 h 338"/>
                <a:gd name="T36" fmla="*/ 322 w 436"/>
                <a:gd name="T37" fmla="*/ 159 h 338"/>
                <a:gd name="T38" fmla="*/ 335 w 436"/>
                <a:gd name="T39" fmla="*/ 172 h 338"/>
                <a:gd name="T40" fmla="*/ 349 w 436"/>
                <a:gd name="T41" fmla="*/ 184 h 338"/>
                <a:gd name="T42" fmla="*/ 368 w 436"/>
                <a:gd name="T43" fmla="*/ 184 h 338"/>
                <a:gd name="T44" fmla="*/ 381 w 436"/>
                <a:gd name="T45" fmla="*/ 207 h 338"/>
                <a:gd name="T46" fmla="*/ 406 w 436"/>
                <a:gd name="T47" fmla="*/ 230 h 338"/>
                <a:gd name="T48" fmla="*/ 428 w 436"/>
                <a:gd name="T49" fmla="*/ 255 h 338"/>
                <a:gd name="T50" fmla="*/ 436 w 436"/>
                <a:gd name="T51" fmla="*/ 288 h 338"/>
                <a:gd name="T52" fmla="*/ 417 w 436"/>
                <a:gd name="T53" fmla="*/ 283 h 338"/>
                <a:gd name="T54" fmla="*/ 407 w 436"/>
                <a:gd name="T55" fmla="*/ 285 h 338"/>
                <a:gd name="T56" fmla="*/ 384 w 436"/>
                <a:gd name="T57" fmla="*/ 303 h 338"/>
                <a:gd name="T58" fmla="*/ 367 w 436"/>
                <a:gd name="T59" fmla="*/ 320 h 338"/>
                <a:gd name="T60" fmla="*/ 360 w 436"/>
                <a:gd name="T61" fmla="*/ 331 h 338"/>
                <a:gd name="T62" fmla="*/ 350 w 436"/>
                <a:gd name="T63" fmla="*/ 335 h 338"/>
                <a:gd name="T64" fmla="*/ 329 w 436"/>
                <a:gd name="T65" fmla="*/ 337 h 338"/>
                <a:gd name="T66" fmla="*/ 305 w 436"/>
                <a:gd name="T67" fmla="*/ 327 h 338"/>
                <a:gd name="T68" fmla="*/ 282 w 436"/>
                <a:gd name="T69" fmla="*/ 310 h 338"/>
                <a:gd name="T70" fmla="*/ 266 w 436"/>
                <a:gd name="T71" fmla="*/ 296 h 338"/>
                <a:gd name="T72" fmla="*/ 243 w 436"/>
                <a:gd name="T73" fmla="*/ 283 h 338"/>
                <a:gd name="T74" fmla="*/ 222 w 436"/>
                <a:gd name="T75" fmla="*/ 293 h 338"/>
                <a:gd name="T76" fmla="*/ 207 w 436"/>
                <a:gd name="T77" fmla="*/ 294 h 338"/>
                <a:gd name="T78" fmla="*/ 198 w 436"/>
                <a:gd name="T79" fmla="*/ 279 h 338"/>
                <a:gd name="T80" fmla="*/ 184 w 436"/>
                <a:gd name="T81" fmla="*/ 294 h 338"/>
                <a:gd name="T82" fmla="*/ 161 w 436"/>
                <a:gd name="T83" fmla="*/ 298 h 338"/>
                <a:gd name="T84" fmla="*/ 141 w 436"/>
                <a:gd name="T85" fmla="*/ 296 h 338"/>
                <a:gd name="T86" fmla="*/ 125 w 436"/>
                <a:gd name="T87" fmla="*/ 297 h 338"/>
                <a:gd name="T88" fmla="*/ 111 w 436"/>
                <a:gd name="T89" fmla="*/ 310 h 338"/>
                <a:gd name="T90" fmla="*/ 97 w 436"/>
                <a:gd name="T91" fmla="*/ 310 h 338"/>
                <a:gd name="T92" fmla="*/ 91 w 436"/>
                <a:gd name="T93" fmla="*/ 298 h 338"/>
                <a:gd name="T94" fmla="*/ 75 w 436"/>
                <a:gd name="T95" fmla="*/ 289 h 338"/>
                <a:gd name="T96" fmla="*/ 83 w 436"/>
                <a:gd name="T97" fmla="*/ 270 h 338"/>
                <a:gd name="T98" fmla="*/ 78 w 436"/>
                <a:gd name="T99" fmla="*/ 251 h 338"/>
                <a:gd name="T100" fmla="*/ 75 w 436"/>
                <a:gd name="T101" fmla="*/ 228 h 338"/>
                <a:gd name="T102" fmla="*/ 56 w 436"/>
                <a:gd name="T103" fmla="*/ 228 h 338"/>
                <a:gd name="T104" fmla="*/ 31 w 436"/>
                <a:gd name="T105" fmla="*/ 224 h 338"/>
                <a:gd name="T106" fmla="*/ 24 w 436"/>
                <a:gd name="T107" fmla="*/ 209 h 338"/>
                <a:gd name="T108" fmla="*/ 9 w 436"/>
                <a:gd name="T109" fmla="*/ 201 h 338"/>
                <a:gd name="T110" fmla="*/ 0 w 436"/>
                <a:gd name="T111" fmla="*/ 187 h 338"/>
                <a:gd name="T112" fmla="*/ 9 w 436"/>
                <a:gd name="T113" fmla="*/ 174 h 338"/>
                <a:gd name="T114" fmla="*/ 8 w 436"/>
                <a:gd name="T115" fmla="*/ 152 h 338"/>
                <a:gd name="T116" fmla="*/ 3 w 436"/>
                <a:gd name="T117" fmla="*/ 128 h 338"/>
                <a:gd name="T118" fmla="*/ 21 w 436"/>
                <a:gd name="T119" fmla="*/ 126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6" h="338">
                  <a:moveTo>
                    <a:pt x="127" y="0"/>
                  </a:moveTo>
                  <a:lnTo>
                    <a:pt x="129" y="0"/>
                  </a:lnTo>
                  <a:lnTo>
                    <a:pt x="135" y="0"/>
                  </a:lnTo>
                  <a:lnTo>
                    <a:pt x="137" y="1"/>
                  </a:lnTo>
                  <a:lnTo>
                    <a:pt x="139" y="1"/>
                  </a:lnTo>
                  <a:lnTo>
                    <a:pt x="141" y="1"/>
                  </a:lnTo>
                  <a:lnTo>
                    <a:pt x="143" y="2"/>
                  </a:lnTo>
                  <a:lnTo>
                    <a:pt x="144" y="2"/>
                  </a:lnTo>
                  <a:lnTo>
                    <a:pt x="145" y="3"/>
                  </a:lnTo>
                  <a:lnTo>
                    <a:pt x="146" y="3"/>
                  </a:lnTo>
                  <a:lnTo>
                    <a:pt x="150" y="5"/>
                  </a:lnTo>
                  <a:lnTo>
                    <a:pt x="152" y="6"/>
                  </a:lnTo>
                  <a:lnTo>
                    <a:pt x="155" y="8"/>
                  </a:lnTo>
                  <a:lnTo>
                    <a:pt x="160" y="9"/>
                  </a:lnTo>
                  <a:lnTo>
                    <a:pt x="161" y="10"/>
                  </a:lnTo>
                  <a:lnTo>
                    <a:pt x="163" y="11"/>
                  </a:lnTo>
                  <a:lnTo>
                    <a:pt x="164" y="11"/>
                  </a:lnTo>
                  <a:lnTo>
                    <a:pt x="165" y="12"/>
                  </a:lnTo>
                  <a:lnTo>
                    <a:pt x="166" y="13"/>
                  </a:lnTo>
                  <a:lnTo>
                    <a:pt x="170" y="15"/>
                  </a:lnTo>
                  <a:lnTo>
                    <a:pt x="170" y="16"/>
                  </a:lnTo>
                  <a:lnTo>
                    <a:pt x="171" y="16"/>
                  </a:lnTo>
                  <a:lnTo>
                    <a:pt x="173" y="17"/>
                  </a:lnTo>
                  <a:lnTo>
                    <a:pt x="174" y="17"/>
                  </a:lnTo>
                  <a:lnTo>
                    <a:pt x="175" y="17"/>
                  </a:lnTo>
                  <a:lnTo>
                    <a:pt x="175" y="18"/>
                  </a:lnTo>
                  <a:lnTo>
                    <a:pt x="176" y="18"/>
                  </a:lnTo>
                  <a:lnTo>
                    <a:pt x="178" y="18"/>
                  </a:lnTo>
                  <a:lnTo>
                    <a:pt x="181" y="18"/>
                  </a:lnTo>
                  <a:lnTo>
                    <a:pt x="183" y="18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87" y="17"/>
                  </a:lnTo>
                  <a:lnTo>
                    <a:pt x="194" y="15"/>
                  </a:lnTo>
                  <a:lnTo>
                    <a:pt x="196" y="15"/>
                  </a:lnTo>
                  <a:lnTo>
                    <a:pt x="199" y="13"/>
                  </a:lnTo>
                  <a:lnTo>
                    <a:pt x="200" y="13"/>
                  </a:lnTo>
                  <a:lnTo>
                    <a:pt x="201" y="13"/>
                  </a:lnTo>
                  <a:lnTo>
                    <a:pt x="203" y="12"/>
                  </a:lnTo>
                  <a:lnTo>
                    <a:pt x="204" y="12"/>
                  </a:lnTo>
                  <a:lnTo>
                    <a:pt x="204" y="13"/>
                  </a:lnTo>
                  <a:lnTo>
                    <a:pt x="205" y="13"/>
                  </a:lnTo>
                  <a:lnTo>
                    <a:pt x="206" y="13"/>
                  </a:lnTo>
                  <a:lnTo>
                    <a:pt x="206" y="14"/>
                  </a:lnTo>
                  <a:lnTo>
                    <a:pt x="207" y="14"/>
                  </a:lnTo>
                  <a:lnTo>
                    <a:pt x="208" y="15"/>
                  </a:lnTo>
                  <a:lnTo>
                    <a:pt x="209" y="16"/>
                  </a:lnTo>
                  <a:lnTo>
                    <a:pt x="209" y="17"/>
                  </a:lnTo>
                  <a:lnTo>
                    <a:pt x="210" y="18"/>
                  </a:lnTo>
                  <a:lnTo>
                    <a:pt x="210" y="19"/>
                  </a:lnTo>
                  <a:lnTo>
                    <a:pt x="211" y="23"/>
                  </a:lnTo>
                  <a:lnTo>
                    <a:pt x="212" y="25"/>
                  </a:lnTo>
                  <a:lnTo>
                    <a:pt x="213" y="27"/>
                  </a:lnTo>
                  <a:lnTo>
                    <a:pt x="216" y="33"/>
                  </a:lnTo>
                  <a:lnTo>
                    <a:pt x="217" y="37"/>
                  </a:lnTo>
                  <a:lnTo>
                    <a:pt x="219" y="40"/>
                  </a:lnTo>
                  <a:lnTo>
                    <a:pt x="219" y="42"/>
                  </a:lnTo>
                  <a:lnTo>
                    <a:pt x="220" y="43"/>
                  </a:lnTo>
                  <a:lnTo>
                    <a:pt x="221" y="44"/>
                  </a:lnTo>
                  <a:lnTo>
                    <a:pt x="221" y="45"/>
                  </a:lnTo>
                  <a:lnTo>
                    <a:pt x="222" y="45"/>
                  </a:lnTo>
                  <a:lnTo>
                    <a:pt x="222" y="45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4" y="47"/>
                  </a:lnTo>
                  <a:lnTo>
                    <a:pt x="225" y="47"/>
                  </a:lnTo>
                  <a:lnTo>
                    <a:pt x="225" y="47"/>
                  </a:lnTo>
                  <a:lnTo>
                    <a:pt x="226" y="47"/>
                  </a:lnTo>
                  <a:lnTo>
                    <a:pt x="227" y="47"/>
                  </a:lnTo>
                  <a:lnTo>
                    <a:pt x="228" y="46"/>
                  </a:lnTo>
                  <a:lnTo>
                    <a:pt x="229" y="46"/>
                  </a:lnTo>
                  <a:lnTo>
                    <a:pt x="231" y="45"/>
                  </a:lnTo>
                  <a:lnTo>
                    <a:pt x="236" y="44"/>
                  </a:lnTo>
                  <a:lnTo>
                    <a:pt x="238" y="43"/>
                  </a:lnTo>
                  <a:lnTo>
                    <a:pt x="241" y="42"/>
                  </a:lnTo>
                  <a:lnTo>
                    <a:pt x="242" y="42"/>
                  </a:lnTo>
                  <a:lnTo>
                    <a:pt x="244" y="41"/>
                  </a:lnTo>
                  <a:lnTo>
                    <a:pt x="245" y="41"/>
                  </a:lnTo>
                  <a:lnTo>
                    <a:pt x="247" y="41"/>
                  </a:lnTo>
                  <a:lnTo>
                    <a:pt x="247" y="40"/>
                  </a:lnTo>
                  <a:lnTo>
                    <a:pt x="249" y="40"/>
                  </a:lnTo>
                  <a:lnTo>
                    <a:pt x="250" y="40"/>
                  </a:lnTo>
                  <a:lnTo>
                    <a:pt x="251" y="41"/>
                  </a:lnTo>
                  <a:lnTo>
                    <a:pt x="252" y="41"/>
                  </a:lnTo>
                  <a:lnTo>
                    <a:pt x="253" y="42"/>
                  </a:lnTo>
                  <a:lnTo>
                    <a:pt x="254" y="42"/>
                  </a:lnTo>
                  <a:lnTo>
                    <a:pt x="255" y="43"/>
                  </a:lnTo>
                  <a:lnTo>
                    <a:pt x="256" y="44"/>
                  </a:lnTo>
                  <a:lnTo>
                    <a:pt x="257" y="44"/>
                  </a:lnTo>
                  <a:lnTo>
                    <a:pt x="257" y="45"/>
                  </a:lnTo>
                  <a:lnTo>
                    <a:pt x="258" y="46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60" y="49"/>
                  </a:lnTo>
                  <a:lnTo>
                    <a:pt x="260" y="51"/>
                  </a:lnTo>
                  <a:lnTo>
                    <a:pt x="261" y="53"/>
                  </a:lnTo>
                  <a:lnTo>
                    <a:pt x="262" y="55"/>
                  </a:lnTo>
                  <a:lnTo>
                    <a:pt x="262" y="57"/>
                  </a:lnTo>
                  <a:lnTo>
                    <a:pt x="262" y="60"/>
                  </a:lnTo>
                  <a:lnTo>
                    <a:pt x="263" y="64"/>
                  </a:lnTo>
                  <a:lnTo>
                    <a:pt x="263" y="65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3" y="67"/>
                  </a:lnTo>
                  <a:lnTo>
                    <a:pt x="263" y="68"/>
                  </a:lnTo>
                  <a:lnTo>
                    <a:pt x="263" y="68"/>
                  </a:lnTo>
                  <a:lnTo>
                    <a:pt x="263" y="69"/>
                  </a:lnTo>
                  <a:lnTo>
                    <a:pt x="261" y="72"/>
                  </a:lnTo>
                  <a:lnTo>
                    <a:pt x="261" y="73"/>
                  </a:lnTo>
                  <a:lnTo>
                    <a:pt x="261" y="73"/>
                  </a:lnTo>
                  <a:lnTo>
                    <a:pt x="260" y="74"/>
                  </a:lnTo>
                  <a:lnTo>
                    <a:pt x="260" y="75"/>
                  </a:lnTo>
                  <a:lnTo>
                    <a:pt x="261" y="75"/>
                  </a:lnTo>
                  <a:lnTo>
                    <a:pt x="261" y="76"/>
                  </a:lnTo>
                  <a:lnTo>
                    <a:pt x="261" y="76"/>
                  </a:lnTo>
                  <a:lnTo>
                    <a:pt x="262" y="77"/>
                  </a:lnTo>
                  <a:lnTo>
                    <a:pt x="262" y="78"/>
                  </a:lnTo>
                  <a:lnTo>
                    <a:pt x="263" y="78"/>
                  </a:lnTo>
                  <a:lnTo>
                    <a:pt x="264" y="78"/>
                  </a:lnTo>
                  <a:lnTo>
                    <a:pt x="265" y="79"/>
                  </a:lnTo>
                  <a:lnTo>
                    <a:pt x="266" y="79"/>
                  </a:lnTo>
                  <a:lnTo>
                    <a:pt x="267" y="79"/>
                  </a:lnTo>
                  <a:lnTo>
                    <a:pt x="267" y="79"/>
                  </a:lnTo>
                  <a:lnTo>
                    <a:pt x="268" y="79"/>
                  </a:lnTo>
                  <a:lnTo>
                    <a:pt x="269" y="78"/>
                  </a:lnTo>
                  <a:lnTo>
                    <a:pt x="270" y="78"/>
                  </a:lnTo>
                  <a:lnTo>
                    <a:pt x="272" y="77"/>
                  </a:lnTo>
                  <a:lnTo>
                    <a:pt x="274" y="75"/>
                  </a:lnTo>
                  <a:lnTo>
                    <a:pt x="275" y="75"/>
                  </a:lnTo>
                  <a:lnTo>
                    <a:pt x="276" y="74"/>
                  </a:lnTo>
                  <a:lnTo>
                    <a:pt x="276" y="74"/>
                  </a:lnTo>
                  <a:lnTo>
                    <a:pt x="276" y="73"/>
                  </a:lnTo>
                  <a:lnTo>
                    <a:pt x="277" y="73"/>
                  </a:lnTo>
                  <a:lnTo>
                    <a:pt x="277" y="72"/>
                  </a:lnTo>
                  <a:lnTo>
                    <a:pt x="278" y="71"/>
                  </a:lnTo>
                  <a:lnTo>
                    <a:pt x="280" y="67"/>
                  </a:lnTo>
                  <a:lnTo>
                    <a:pt x="281" y="64"/>
                  </a:lnTo>
                  <a:lnTo>
                    <a:pt x="282" y="63"/>
                  </a:lnTo>
                  <a:lnTo>
                    <a:pt x="283" y="61"/>
                  </a:lnTo>
                  <a:lnTo>
                    <a:pt x="285" y="60"/>
                  </a:lnTo>
                  <a:lnTo>
                    <a:pt x="286" y="58"/>
                  </a:lnTo>
                  <a:lnTo>
                    <a:pt x="287" y="57"/>
                  </a:lnTo>
                  <a:lnTo>
                    <a:pt x="289" y="56"/>
                  </a:lnTo>
                  <a:lnTo>
                    <a:pt x="290" y="55"/>
                  </a:lnTo>
                  <a:lnTo>
                    <a:pt x="291" y="54"/>
                  </a:lnTo>
                  <a:lnTo>
                    <a:pt x="291" y="54"/>
                  </a:lnTo>
                  <a:lnTo>
                    <a:pt x="292" y="54"/>
                  </a:lnTo>
                  <a:lnTo>
                    <a:pt x="293" y="53"/>
                  </a:lnTo>
                  <a:lnTo>
                    <a:pt x="295" y="53"/>
                  </a:lnTo>
                  <a:lnTo>
                    <a:pt x="296" y="54"/>
                  </a:lnTo>
                  <a:lnTo>
                    <a:pt x="297" y="54"/>
                  </a:lnTo>
                  <a:lnTo>
                    <a:pt x="298" y="54"/>
                  </a:lnTo>
                  <a:lnTo>
                    <a:pt x="299" y="55"/>
                  </a:lnTo>
                  <a:lnTo>
                    <a:pt x="304" y="57"/>
                  </a:lnTo>
                  <a:lnTo>
                    <a:pt x="305" y="57"/>
                  </a:lnTo>
                  <a:lnTo>
                    <a:pt x="306" y="58"/>
                  </a:lnTo>
                  <a:lnTo>
                    <a:pt x="307" y="59"/>
                  </a:lnTo>
                  <a:lnTo>
                    <a:pt x="309" y="60"/>
                  </a:lnTo>
                  <a:lnTo>
                    <a:pt x="310" y="61"/>
                  </a:lnTo>
                  <a:lnTo>
                    <a:pt x="313" y="64"/>
                  </a:lnTo>
                  <a:lnTo>
                    <a:pt x="314" y="64"/>
                  </a:lnTo>
                  <a:lnTo>
                    <a:pt x="315" y="65"/>
                  </a:lnTo>
                  <a:lnTo>
                    <a:pt x="315" y="65"/>
                  </a:lnTo>
                  <a:lnTo>
                    <a:pt x="316" y="65"/>
                  </a:lnTo>
                  <a:lnTo>
                    <a:pt x="316" y="65"/>
                  </a:lnTo>
                  <a:lnTo>
                    <a:pt x="317" y="65"/>
                  </a:lnTo>
                  <a:lnTo>
                    <a:pt x="318" y="65"/>
                  </a:lnTo>
                  <a:lnTo>
                    <a:pt x="319" y="65"/>
                  </a:lnTo>
                  <a:lnTo>
                    <a:pt x="319" y="65"/>
                  </a:lnTo>
                  <a:lnTo>
                    <a:pt x="320" y="65"/>
                  </a:lnTo>
                  <a:lnTo>
                    <a:pt x="321" y="65"/>
                  </a:lnTo>
                  <a:lnTo>
                    <a:pt x="322" y="64"/>
                  </a:lnTo>
                  <a:lnTo>
                    <a:pt x="322" y="64"/>
                  </a:lnTo>
                  <a:lnTo>
                    <a:pt x="323" y="63"/>
                  </a:lnTo>
                  <a:lnTo>
                    <a:pt x="323" y="63"/>
                  </a:lnTo>
                  <a:lnTo>
                    <a:pt x="324" y="62"/>
                  </a:lnTo>
                  <a:lnTo>
                    <a:pt x="324" y="62"/>
                  </a:lnTo>
                  <a:lnTo>
                    <a:pt x="325" y="61"/>
                  </a:lnTo>
                  <a:lnTo>
                    <a:pt x="325" y="60"/>
                  </a:lnTo>
                  <a:lnTo>
                    <a:pt x="326" y="56"/>
                  </a:lnTo>
                  <a:lnTo>
                    <a:pt x="327" y="54"/>
                  </a:lnTo>
                  <a:lnTo>
                    <a:pt x="328" y="53"/>
                  </a:lnTo>
                  <a:lnTo>
                    <a:pt x="329" y="52"/>
                  </a:lnTo>
                  <a:lnTo>
                    <a:pt x="329" y="52"/>
                  </a:lnTo>
                  <a:lnTo>
                    <a:pt x="330" y="51"/>
                  </a:lnTo>
                  <a:lnTo>
                    <a:pt x="330" y="51"/>
                  </a:lnTo>
                  <a:lnTo>
                    <a:pt x="330" y="50"/>
                  </a:lnTo>
                  <a:lnTo>
                    <a:pt x="331" y="50"/>
                  </a:lnTo>
                  <a:lnTo>
                    <a:pt x="332" y="49"/>
                  </a:lnTo>
                  <a:lnTo>
                    <a:pt x="332" y="49"/>
                  </a:lnTo>
                  <a:lnTo>
                    <a:pt x="333" y="49"/>
                  </a:lnTo>
                  <a:lnTo>
                    <a:pt x="334" y="49"/>
                  </a:lnTo>
                  <a:lnTo>
                    <a:pt x="335" y="49"/>
                  </a:lnTo>
                  <a:lnTo>
                    <a:pt x="336" y="49"/>
                  </a:lnTo>
                  <a:lnTo>
                    <a:pt x="338" y="49"/>
                  </a:lnTo>
                  <a:lnTo>
                    <a:pt x="339" y="49"/>
                  </a:lnTo>
                  <a:lnTo>
                    <a:pt x="340" y="49"/>
                  </a:lnTo>
                  <a:lnTo>
                    <a:pt x="341" y="49"/>
                  </a:lnTo>
                  <a:lnTo>
                    <a:pt x="345" y="50"/>
                  </a:lnTo>
                  <a:lnTo>
                    <a:pt x="346" y="50"/>
                  </a:lnTo>
                  <a:lnTo>
                    <a:pt x="347" y="50"/>
                  </a:lnTo>
                  <a:lnTo>
                    <a:pt x="348" y="51"/>
                  </a:lnTo>
                  <a:lnTo>
                    <a:pt x="350" y="51"/>
                  </a:lnTo>
                  <a:lnTo>
                    <a:pt x="353" y="51"/>
                  </a:lnTo>
                  <a:lnTo>
                    <a:pt x="354" y="51"/>
                  </a:lnTo>
                  <a:lnTo>
                    <a:pt x="356" y="51"/>
                  </a:lnTo>
                  <a:lnTo>
                    <a:pt x="357" y="51"/>
                  </a:lnTo>
                  <a:lnTo>
                    <a:pt x="358" y="51"/>
                  </a:lnTo>
                  <a:lnTo>
                    <a:pt x="359" y="52"/>
                  </a:lnTo>
                  <a:lnTo>
                    <a:pt x="360" y="52"/>
                  </a:lnTo>
                  <a:lnTo>
                    <a:pt x="361" y="53"/>
                  </a:lnTo>
                  <a:lnTo>
                    <a:pt x="362" y="54"/>
                  </a:lnTo>
                  <a:lnTo>
                    <a:pt x="365" y="56"/>
                  </a:lnTo>
                  <a:lnTo>
                    <a:pt x="367" y="58"/>
                  </a:lnTo>
                  <a:lnTo>
                    <a:pt x="367" y="58"/>
                  </a:lnTo>
                  <a:lnTo>
                    <a:pt x="369" y="60"/>
                  </a:lnTo>
                  <a:lnTo>
                    <a:pt x="371" y="63"/>
                  </a:lnTo>
                  <a:lnTo>
                    <a:pt x="374" y="66"/>
                  </a:lnTo>
                  <a:lnTo>
                    <a:pt x="376" y="68"/>
                  </a:lnTo>
                  <a:lnTo>
                    <a:pt x="378" y="70"/>
                  </a:lnTo>
                  <a:lnTo>
                    <a:pt x="381" y="73"/>
                  </a:lnTo>
                  <a:lnTo>
                    <a:pt x="383" y="75"/>
                  </a:lnTo>
                  <a:lnTo>
                    <a:pt x="385" y="77"/>
                  </a:lnTo>
                  <a:lnTo>
                    <a:pt x="386" y="79"/>
                  </a:lnTo>
                  <a:lnTo>
                    <a:pt x="388" y="80"/>
                  </a:lnTo>
                  <a:lnTo>
                    <a:pt x="388" y="82"/>
                  </a:lnTo>
                  <a:lnTo>
                    <a:pt x="389" y="83"/>
                  </a:lnTo>
                  <a:lnTo>
                    <a:pt x="389" y="84"/>
                  </a:lnTo>
                  <a:lnTo>
                    <a:pt x="389" y="85"/>
                  </a:lnTo>
                  <a:lnTo>
                    <a:pt x="389" y="86"/>
                  </a:lnTo>
                  <a:lnTo>
                    <a:pt x="389" y="87"/>
                  </a:lnTo>
                  <a:lnTo>
                    <a:pt x="389" y="88"/>
                  </a:lnTo>
                  <a:lnTo>
                    <a:pt x="389" y="89"/>
                  </a:lnTo>
                  <a:lnTo>
                    <a:pt x="389" y="89"/>
                  </a:lnTo>
                  <a:lnTo>
                    <a:pt x="388" y="90"/>
                  </a:lnTo>
                  <a:lnTo>
                    <a:pt x="388" y="91"/>
                  </a:lnTo>
                  <a:lnTo>
                    <a:pt x="386" y="92"/>
                  </a:lnTo>
                  <a:lnTo>
                    <a:pt x="384" y="94"/>
                  </a:lnTo>
                  <a:lnTo>
                    <a:pt x="384" y="95"/>
                  </a:lnTo>
                  <a:lnTo>
                    <a:pt x="383" y="95"/>
                  </a:lnTo>
                  <a:lnTo>
                    <a:pt x="383" y="96"/>
                  </a:lnTo>
                  <a:lnTo>
                    <a:pt x="382" y="97"/>
                  </a:lnTo>
                  <a:lnTo>
                    <a:pt x="381" y="100"/>
                  </a:lnTo>
                  <a:lnTo>
                    <a:pt x="381" y="102"/>
                  </a:lnTo>
                  <a:lnTo>
                    <a:pt x="380" y="103"/>
                  </a:lnTo>
                  <a:lnTo>
                    <a:pt x="379" y="106"/>
                  </a:lnTo>
                  <a:lnTo>
                    <a:pt x="378" y="107"/>
                  </a:lnTo>
                  <a:lnTo>
                    <a:pt x="378" y="108"/>
                  </a:lnTo>
                  <a:lnTo>
                    <a:pt x="378" y="110"/>
                  </a:lnTo>
                  <a:lnTo>
                    <a:pt x="378" y="111"/>
                  </a:lnTo>
                  <a:lnTo>
                    <a:pt x="377" y="112"/>
                  </a:lnTo>
                  <a:lnTo>
                    <a:pt x="377" y="113"/>
                  </a:lnTo>
                  <a:lnTo>
                    <a:pt x="376" y="115"/>
                  </a:lnTo>
                  <a:lnTo>
                    <a:pt x="375" y="116"/>
                  </a:lnTo>
                  <a:lnTo>
                    <a:pt x="373" y="117"/>
                  </a:lnTo>
                  <a:lnTo>
                    <a:pt x="370" y="121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7" y="124"/>
                  </a:lnTo>
                  <a:lnTo>
                    <a:pt x="366" y="124"/>
                  </a:lnTo>
                  <a:lnTo>
                    <a:pt x="366" y="125"/>
                  </a:lnTo>
                  <a:lnTo>
                    <a:pt x="365" y="125"/>
                  </a:lnTo>
                  <a:lnTo>
                    <a:pt x="364" y="125"/>
                  </a:lnTo>
                  <a:lnTo>
                    <a:pt x="363" y="126"/>
                  </a:lnTo>
                  <a:lnTo>
                    <a:pt x="362" y="126"/>
                  </a:lnTo>
                  <a:lnTo>
                    <a:pt x="361" y="126"/>
                  </a:lnTo>
                  <a:lnTo>
                    <a:pt x="359" y="125"/>
                  </a:lnTo>
                  <a:lnTo>
                    <a:pt x="357" y="125"/>
                  </a:lnTo>
                  <a:lnTo>
                    <a:pt x="357" y="125"/>
                  </a:lnTo>
                  <a:lnTo>
                    <a:pt x="356" y="125"/>
                  </a:lnTo>
                  <a:lnTo>
                    <a:pt x="356" y="126"/>
                  </a:lnTo>
                  <a:lnTo>
                    <a:pt x="355" y="126"/>
                  </a:lnTo>
                  <a:lnTo>
                    <a:pt x="355" y="126"/>
                  </a:lnTo>
                  <a:lnTo>
                    <a:pt x="354" y="127"/>
                  </a:lnTo>
                  <a:lnTo>
                    <a:pt x="354" y="127"/>
                  </a:lnTo>
                  <a:lnTo>
                    <a:pt x="352" y="129"/>
                  </a:lnTo>
                  <a:lnTo>
                    <a:pt x="350" y="131"/>
                  </a:lnTo>
                  <a:lnTo>
                    <a:pt x="349" y="132"/>
                  </a:lnTo>
                  <a:lnTo>
                    <a:pt x="348" y="133"/>
                  </a:lnTo>
                  <a:lnTo>
                    <a:pt x="347" y="134"/>
                  </a:lnTo>
                  <a:lnTo>
                    <a:pt x="346" y="134"/>
                  </a:lnTo>
                  <a:lnTo>
                    <a:pt x="345" y="134"/>
                  </a:lnTo>
                  <a:lnTo>
                    <a:pt x="343" y="135"/>
                  </a:lnTo>
                  <a:lnTo>
                    <a:pt x="343" y="135"/>
                  </a:lnTo>
                  <a:lnTo>
                    <a:pt x="342" y="135"/>
                  </a:lnTo>
                  <a:lnTo>
                    <a:pt x="341" y="136"/>
                  </a:lnTo>
                  <a:lnTo>
                    <a:pt x="339" y="137"/>
                  </a:lnTo>
                  <a:lnTo>
                    <a:pt x="338" y="138"/>
                  </a:lnTo>
                  <a:lnTo>
                    <a:pt x="337" y="138"/>
                  </a:lnTo>
                  <a:lnTo>
                    <a:pt x="337" y="139"/>
                  </a:lnTo>
                  <a:lnTo>
                    <a:pt x="335" y="140"/>
                  </a:lnTo>
                  <a:lnTo>
                    <a:pt x="335" y="141"/>
                  </a:lnTo>
                  <a:lnTo>
                    <a:pt x="334" y="142"/>
                  </a:lnTo>
                  <a:lnTo>
                    <a:pt x="332" y="143"/>
                  </a:lnTo>
                  <a:lnTo>
                    <a:pt x="332" y="143"/>
                  </a:lnTo>
                  <a:lnTo>
                    <a:pt x="331" y="144"/>
                  </a:lnTo>
                  <a:lnTo>
                    <a:pt x="330" y="145"/>
                  </a:lnTo>
                  <a:lnTo>
                    <a:pt x="330" y="146"/>
                  </a:lnTo>
                  <a:lnTo>
                    <a:pt x="329" y="146"/>
                  </a:lnTo>
                  <a:lnTo>
                    <a:pt x="329" y="147"/>
                  </a:lnTo>
                  <a:lnTo>
                    <a:pt x="329" y="148"/>
                  </a:lnTo>
                  <a:lnTo>
                    <a:pt x="329" y="149"/>
                  </a:lnTo>
                  <a:lnTo>
                    <a:pt x="329" y="150"/>
                  </a:lnTo>
                  <a:lnTo>
                    <a:pt x="328" y="150"/>
                  </a:lnTo>
                  <a:lnTo>
                    <a:pt x="328" y="151"/>
                  </a:lnTo>
                  <a:lnTo>
                    <a:pt x="327" y="151"/>
                  </a:lnTo>
                  <a:lnTo>
                    <a:pt x="327" y="151"/>
                  </a:lnTo>
                  <a:lnTo>
                    <a:pt x="326" y="151"/>
                  </a:lnTo>
                  <a:lnTo>
                    <a:pt x="325" y="151"/>
                  </a:lnTo>
                  <a:lnTo>
                    <a:pt x="325" y="151"/>
                  </a:lnTo>
                  <a:lnTo>
                    <a:pt x="324" y="152"/>
                  </a:lnTo>
                  <a:lnTo>
                    <a:pt x="324" y="152"/>
                  </a:lnTo>
                  <a:lnTo>
                    <a:pt x="324" y="152"/>
                  </a:lnTo>
                  <a:lnTo>
                    <a:pt x="323" y="153"/>
                  </a:lnTo>
                  <a:lnTo>
                    <a:pt x="323" y="153"/>
                  </a:lnTo>
                  <a:lnTo>
                    <a:pt x="322" y="154"/>
                  </a:lnTo>
                  <a:lnTo>
                    <a:pt x="322" y="155"/>
                  </a:lnTo>
                  <a:lnTo>
                    <a:pt x="322" y="155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9"/>
                  </a:lnTo>
                  <a:lnTo>
                    <a:pt x="322" y="159"/>
                  </a:lnTo>
                  <a:lnTo>
                    <a:pt x="323" y="160"/>
                  </a:lnTo>
                  <a:lnTo>
                    <a:pt x="324" y="163"/>
                  </a:lnTo>
                  <a:lnTo>
                    <a:pt x="325" y="165"/>
                  </a:lnTo>
                  <a:lnTo>
                    <a:pt x="326" y="166"/>
                  </a:lnTo>
                  <a:lnTo>
                    <a:pt x="326" y="166"/>
                  </a:lnTo>
                  <a:lnTo>
                    <a:pt x="327" y="167"/>
                  </a:lnTo>
                  <a:lnTo>
                    <a:pt x="327" y="167"/>
                  </a:lnTo>
                  <a:lnTo>
                    <a:pt x="328" y="167"/>
                  </a:lnTo>
                  <a:lnTo>
                    <a:pt x="329" y="168"/>
                  </a:lnTo>
                  <a:lnTo>
                    <a:pt x="331" y="168"/>
                  </a:lnTo>
                  <a:lnTo>
                    <a:pt x="331" y="168"/>
                  </a:lnTo>
                  <a:lnTo>
                    <a:pt x="332" y="169"/>
                  </a:lnTo>
                  <a:lnTo>
                    <a:pt x="333" y="170"/>
                  </a:lnTo>
                  <a:lnTo>
                    <a:pt x="334" y="170"/>
                  </a:lnTo>
                  <a:lnTo>
                    <a:pt x="335" y="171"/>
                  </a:lnTo>
                  <a:lnTo>
                    <a:pt x="335" y="172"/>
                  </a:lnTo>
                  <a:lnTo>
                    <a:pt x="337" y="175"/>
                  </a:lnTo>
                  <a:lnTo>
                    <a:pt x="338" y="175"/>
                  </a:lnTo>
                  <a:lnTo>
                    <a:pt x="339" y="177"/>
                  </a:lnTo>
                  <a:lnTo>
                    <a:pt x="339" y="177"/>
                  </a:lnTo>
                  <a:lnTo>
                    <a:pt x="340" y="179"/>
                  </a:lnTo>
                  <a:lnTo>
                    <a:pt x="342" y="180"/>
                  </a:lnTo>
                  <a:lnTo>
                    <a:pt x="342" y="181"/>
                  </a:lnTo>
                  <a:lnTo>
                    <a:pt x="343" y="182"/>
                  </a:lnTo>
                  <a:lnTo>
                    <a:pt x="344" y="183"/>
                  </a:lnTo>
                  <a:lnTo>
                    <a:pt x="344" y="184"/>
                  </a:lnTo>
                  <a:lnTo>
                    <a:pt x="345" y="184"/>
                  </a:lnTo>
                  <a:lnTo>
                    <a:pt x="346" y="185"/>
                  </a:lnTo>
                  <a:lnTo>
                    <a:pt x="346" y="185"/>
                  </a:lnTo>
                  <a:lnTo>
                    <a:pt x="347" y="185"/>
                  </a:lnTo>
                  <a:lnTo>
                    <a:pt x="348" y="185"/>
                  </a:lnTo>
                  <a:lnTo>
                    <a:pt x="348" y="185"/>
                  </a:lnTo>
                  <a:lnTo>
                    <a:pt x="349" y="184"/>
                  </a:lnTo>
                  <a:lnTo>
                    <a:pt x="352" y="183"/>
                  </a:lnTo>
                  <a:lnTo>
                    <a:pt x="353" y="182"/>
                  </a:lnTo>
                  <a:lnTo>
                    <a:pt x="353" y="182"/>
                  </a:lnTo>
                  <a:lnTo>
                    <a:pt x="354" y="182"/>
                  </a:lnTo>
                  <a:lnTo>
                    <a:pt x="355" y="182"/>
                  </a:lnTo>
                  <a:lnTo>
                    <a:pt x="356" y="182"/>
                  </a:lnTo>
                  <a:lnTo>
                    <a:pt x="358" y="182"/>
                  </a:lnTo>
                  <a:lnTo>
                    <a:pt x="359" y="182"/>
                  </a:lnTo>
                  <a:lnTo>
                    <a:pt x="361" y="182"/>
                  </a:lnTo>
                  <a:lnTo>
                    <a:pt x="362" y="182"/>
                  </a:lnTo>
                  <a:lnTo>
                    <a:pt x="363" y="182"/>
                  </a:lnTo>
                  <a:lnTo>
                    <a:pt x="365" y="182"/>
                  </a:lnTo>
                  <a:lnTo>
                    <a:pt x="365" y="183"/>
                  </a:lnTo>
                  <a:lnTo>
                    <a:pt x="366" y="183"/>
                  </a:lnTo>
                  <a:lnTo>
                    <a:pt x="367" y="184"/>
                  </a:lnTo>
                  <a:lnTo>
                    <a:pt x="368" y="184"/>
                  </a:lnTo>
                  <a:lnTo>
                    <a:pt x="368" y="184"/>
                  </a:lnTo>
                  <a:lnTo>
                    <a:pt x="368" y="185"/>
                  </a:lnTo>
                  <a:lnTo>
                    <a:pt x="369" y="186"/>
                  </a:lnTo>
                  <a:lnTo>
                    <a:pt x="370" y="188"/>
                  </a:lnTo>
                  <a:lnTo>
                    <a:pt x="370" y="189"/>
                  </a:lnTo>
                  <a:lnTo>
                    <a:pt x="371" y="193"/>
                  </a:lnTo>
                  <a:lnTo>
                    <a:pt x="372" y="195"/>
                  </a:lnTo>
                  <a:lnTo>
                    <a:pt x="372" y="196"/>
                  </a:lnTo>
                  <a:lnTo>
                    <a:pt x="373" y="197"/>
                  </a:lnTo>
                  <a:lnTo>
                    <a:pt x="373" y="199"/>
                  </a:lnTo>
                  <a:lnTo>
                    <a:pt x="374" y="200"/>
                  </a:lnTo>
                  <a:lnTo>
                    <a:pt x="375" y="202"/>
                  </a:lnTo>
                  <a:lnTo>
                    <a:pt x="376" y="202"/>
                  </a:lnTo>
                  <a:lnTo>
                    <a:pt x="377" y="204"/>
                  </a:lnTo>
                  <a:lnTo>
                    <a:pt x="378" y="204"/>
                  </a:lnTo>
                  <a:lnTo>
                    <a:pt x="379" y="205"/>
                  </a:lnTo>
                  <a:lnTo>
                    <a:pt x="380" y="206"/>
                  </a:lnTo>
                  <a:lnTo>
                    <a:pt x="381" y="207"/>
                  </a:lnTo>
                  <a:lnTo>
                    <a:pt x="382" y="207"/>
                  </a:lnTo>
                  <a:lnTo>
                    <a:pt x="383" y="207"/>
                  </a:lnTo>
                  <a:lnTo>
                    <a:pt x="386" y="207"/>
                  </a:lnTo>
                  <a:lnTo>
                    <a:pt x="387" y="208"/>
                  </a:lnTo>
                  <a:lnTo>
                    <a:pt x="388" y="208"/>
                  </a:lnTo>
                  <a:lnTo>
                    <a:pt x="389" y="209"/>
                  </a:lnTo>
                  <a:lnTo>
                    <a:pt x="390" y="209"/>
                  </a:lnTo>
                  <a:lnTo>
                    <a:pt x="391" y="210"/>
                  </a:lnTo>
                  <a:lnTo>
                    <a:pt x="392" y="211"/>
                  </a:lnTo>
                  <a:lnTo>
                    <a:pt x="394" y="212"/>
                  </a:lnTo>
                  <a:lnTo>
                    <a:pt x="395" y="214"/>
                  </a:lnTo>
                  <a:lnTo>
                    <a:pt x="397" y="217"/>
                  </a:lnTo>
                  <a:lnTo>
                    <a:pt x="399" y="219"/>
                  </a:lnTo>
                  <a:lnTo>
                    <a:pt x="400" y="221"/>
                  </a:lnTo>
                  <a:lnTo>
                    <a:pt x="402" y="224"/>
                  </a:lnTo>
                  <a:lnTo>
                    <a:pt x="404" y="228"/>
                  </a:lnTo>
                  <a:lnTo>
                    <a:pt x="406" y="230"/>
                  </a:lnTo>
                  <a:lnTo>
                    <a:pt x="408" y="233"/>
                  </a:lnTo>
                  <a:lnTo>
                    <a:pt x="409" y="233"/>
                  </a:lnTo>
                  <a:lnTo>
                    <a:pt x="410" y="234"/>
                  </a:lnTo>
                  <a:lnTo>
                    <a:pt x="413" y="237"/>
                  </a:lnTo>
                  <a:lnTo>
                    <a:pt x="416" y="242"/>
                  </a:lnTo>
                  <a:lnTo>
                    <a:pt x="417" y="243"/>
                  </a:lnTo>
                  <a:lnTo>
                    <a:pt x="418" y="244"/>
                  </a:lnTo>
                  <a:lnTo>
                    <a:pt x="419" y="245"/>
                  </a:lnTo>
                  <a:lnTo>
                    <a:pt x="422" y="247"/>
                  </a:lnTo>
                  <a:lnTo>
                    <a:pt x="423" y="248"/>
                  </a:lnTo>
                  <a:lnTo>
                    <a:pt x="423" y="248"/>
                  </a:lnTo>
                  <a:lnTo>
                    <a:pt x="424" y="249"/>
                  </a:lnTo>
                  <a:lnTo>
                    <a:pt x="425" y="251"/>
                  </a:lnTo>
                  <a:lnTo>
                    <a:pt x="426" y="252"/>
                  </a:lnTo>
                  <a:lnTo>
                    <a:pt x="426" y="253"/>
                  </a:lnTo>
                  <a:lnTo>
                    <a:pt x="427" y="254"/>
                  </a:lnTo>
                  <a:lnTo>
                    <a:pt x="428" y="255"/>
                  </a:lnTo>
                  <a:lnTo>
                    <a:pt x="428" y="258"/>
                  </a:lnTo>
                  <a:lnTo>
                    <a:pt x="429" y="259"/>
                  </a:lnTo>
                  <a:lnTo>
                    <a:pt x="429" y="261"/>
                  </a:lnTo>
                  <a:lnTo>
                    <a:pt x="429" y="265"/>
                  </a:lnTo>
                  <a:lnTo>
                    <a:pt x="429" y="268"/>
                  </a:lnTo>
                  <a:lnTo>
                    <a:pt x="430" y="270"/>
                  </a:lnTo>
                  <a:lnTo>
                    <a:pt x="430" y="272"/>
                  </a:lnTo>
                  <a:lnTo>
                    <a:pt x="431" y="275"/>
                  </a:lnTo>
                  <a:lnTo>
                    <a:pt x="431" y="277"/>
                  </a:lnTo>
                  <a:lnTo>
                    <a:pt x="431" y="277"/>
                  </a:lnTo>
                  <a:lnTo>
                    <a:pt x="431" y="278"/>
                  </a:lnTo>
                  <a:lnTo>
                    <a:pt x="432" y="280"/>
                  </a:lnTo>
                  <a:lnTo>
                    <a:pt x="433" y="282"/>
                  </a:lnTo>
                  <a:lnTo>
                    <a:pt x="435" y="285"/>
                  </a:lnTo>
                  <a:lnTo>
                    <a:pt x="436" y="286"/>
                  </a:lnTo>
                  <a:lnTo>
                    <a:pt x="436" y="287"/>
                  </a:lnTo>
                  <a:lnTo>
                    <a:pt x="436" y="288"/>
                  </a:lnTo>
                  <a:lnTo>
                    <a:pt x="436" y="289"/>
                  </a:lnTo>
                  <a:lnTo>
                    <a:pt x="436" y="289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5" y="290"/>
                  </a:lnTo>
                  <a:lnTo>
                    <a:pt x="434" y="290"/>
                  </a:lnTo>
                  <a:lnTo>
                    <a:pt x="433" y="290"/>
                  </a:lnTo>
                  <a:lnTo>
                    <a:pt x="431" y="289"/>
                  </a:lnTo>
                  <a:lnTo>
                    <a:pt x="430" y="289"/>
                  </a:lnTo>
                  <a:lnTo>
                    <a:pt x="425" y="287"/>
                  </a:lnTo>
                  <a:lnTo>
                    <a:pt x="423" y="286"/>
                  </a:lnTo>
                  <a:lnTo>
                    <a:pt x="421" y="285"/>
                  </a:lnTo>
                  <a:lnTo>
                    <a:pt x="420" y="284"/>
                  </a:lnTo>
                  <a:lnTo>
                    <a:pt x="417" y="283"/>
                  </a:lnTo>
                  <a:lnTo>
                    <a:pt x="417" y="282"/>
                  </a:lnTo>
                  <a:lnTo>
                    <a:pt x="416" y="282"/>
                  </a:lnTo>
                  <a:lnTo>
                    <a:pt x="414" y="281"/>
                  </a:lnTo>
                  <a:lnTo>
                    <a:pt x="414" y="281"/>
                  </a:lnTo>
                  <a:lnTo>
                    <a:pt x="413" y="281"/>
                  </a:lnTo>
                  <a:lnTo>
                    <a:pt x="412" y="281"/>
                  </a:lnTo>
                  <a:lnTo>
                    <a:pt x="412" y="281"/>
                  </a:lnTo>
                  <a:lnTo>
                    <a:pt x="411" y="281"/>
                  </a:lnTo>
                  <a:lnTo>
                    <a:pt x="411" y="281"/>
                  </a:lnTo>
                  <a:lnTo>
                    <a:pt x="410" y="281"/>
                  </a:lnTo>
                  <a:lnTo>
                    <a:pt x="410" y="281"/>
                  </a:lnTo>
                  <a:lnTo>
                    <a:pt x="409" y="282"/>
                  </a:lnTo>
                  <a:lnTo>
                    <a:pt x="408" y="282"/>
                  </a:lnTo>
                  <a:lnTo>
                    <a:pt x="408" y="282"/>
                  </a:lnTo>
                  <a:lnTo>
                    <a:pt x="407" y="283"/>
                  </a:lnTo>
                  <a:lnTo>
                    <a:pt x="407" y="284"/>
                  </a:lnTo>
                  <a:lnTo>
                    <a:pt x="407" y="285"/>
                  </a:lnTo>
                  <a:lnTo>
                    <a:pt x="405" y="288"/>
                  </a:lnTo>
                  <a:lnTo>
                    <a:pt x="404" y="290"/>
                  </a:lnTo>
                  <a:lnTo>
                    <a:pt x="404" y="291"/>
                  </a:lnTo>
                  <a:lnTo>
                    <a:pt x="403" y="292"/>
                  </a:lnTo>
                  <a:lnTo>
                    <a:pt x="402" y="292"/>
                  </a:lnTo>
                  <a:lnTo>
                    <a:pt x="401" y="293"/>
                  </a:lnTo>
                  <a:lnTo>
                    <a:pt x="400" y="294"/>
                  </a:lnTo>
                  <a:lnTo>
                    <a:pt x="399" y="295"/>
                  </a:lnTo>
                  <a:lnTo>
                    <a:pt x="398" y="296"/>
                  </a:lnTo>
                  <a:lnTo>
                    <a:pt x="396" y="296"/>
                  </a:lnTo>
                  <a:lnTo>
                    <a:pt x="394" y="297"/>
                  </a:lnTo>
                  <a:lnTo>
                    <a:pt x="392" y="299"/>
                  </a:lnTo>
                  <a:lnTo>
                    <a:pt x="392" y="299"/>
                  </a:lnTo>
                  <a:lnTo>
                    <a:pt x="390" y="300"/>
                  </a:lnTo>
                  <a:lnTo>
                    <a:pt x="390" y="300"/>
                  </a:lnTo>
                  <a:lnTo>
                    <a:pt x="387" y="302"/>
                  </a:lnTo>
                  <a:lnTo>
                    <a:pt x="384" y="303"/>
                  </a:lnTo>
                  <a:lnTo>
                    <a:pt x="382" y="304"/>
                  </a:lnTo>
                  <a:lnTo>
                    <a:pt x="381" y="304"/>
                  </a:lnTo>
                  <a:lnTo>
                    <a:pt x="380" y="305"/>
                  </a:lnTo>
                  <a:lnTo>
                    <a:pt x="378" y="307"/>
                  </a:lnTo>
                  <a:lnTo>
                    <a:pt x="376" y="308"/>
                  </a:lnTo>
                  <a:lnTo>
                    <a:pt x="374" y="309"/>
                  </a:lnTo>
                  <a:lnTo>
                    <a:pt x="372" y="311"/>
                  </a:lnTo>
                  <a:lnTo>
                    <a:pt x="371" y="311"/>
                  </a:lnTo>
                  <a:lnTo>
                    <a:pt x="370" y="312"/>
                  </a:lnTo>
                  <a:lnTo>
                    <a:pt x="369" y="313"/>
                  </a:lnTo>
                  <a:lnTo>
                    <a:pt x="368" y="314"/>
                  </a:lnTo>
                  <a:lnTo>
                    <a:pt x="368" y="315"/>
                  </a:lnTo>
                  <a:lnTo>
                    <a:pt x="368" y="315"/>
                  </a:lnTo>
                  <a:lnTo>
                    <a:pt x="367" y="316"/>
                  </a:lnTo>
                  <a:lnTo>
                    <a:pt x="367" y="317"/>
                  </a:lnTo>
                  <a:lnTo>
                    <a:pt x="367" y="317"/>
                  </a:lnTo>
                  <a:lnTo>
                    <a:pt x="367" y="320"/>
                  </a:lnTo>
                  <a:lnTo>
                    <a:pt x="367" y="320"/>
                  </a:lnTo>
                  <a:lnTo>
                    <a:pt x="367" y="321"/>
                  </a:lnTo>
                  <a:lnTo>
                    <a:pt x="366" y="322"/>
                  </a:lnTo>
                  <a:lnTo>
                    <a:pt x="366" y="322"/>
                  </a:lnTo>
                  <a:lnTo>
                    <a:pt x="366" y="323"/>
                  </a:lnTo>
                  <a:lnTo>
                    <a:pt x="365" y="324"/>
                  </a:lnTo>
                  <a:lnTo>
                    <a:pt x="364" y="325"/>
                  </a:lnTo>
                  <a:lnTo>
                    <a:pt x="362" y="326"/>
                  </a:lnTo>
                  <a:lnTo>
                    <a:pt x="361" y="327"/>
                  </a:lnTo>
                  <a:lnTo>
                    <a:pt x="361" y="327"/>
                  </a:lnTo>
                  <a:lnTo>
                    <a:pt x="361" y="327"/>
                  </a:lnTo>
                  <a:lnTo>
                    <a:pt x="360" y="328"/>
                  </a:lnTo>
                  <a:lnTo>
                    <a:pt x="360" y="329"/>
                  </a:lnTo>
                  <a:lnTo>
                    <a:pt x="360" y="329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1"/>
                  </a:lnTo>
                  <a:lnTo>
                    <a:pt x="361" y="334"/>
                  </a:lnTo>
                  <a:lnTo>
                    <a:pt x="361" y="334"/>
                  </a:lnTo>
                  <a:lnTo>
                    <a:pt x="361" y="335"/>
                  </a:lnTo>
                  <a:lnTo>
                    <a:pt x="361" y="335"/>
                  </a:lnTo>
                  <a:lnTo>
                    <a:pt x="361" y="336"/>
                  </a:lnTo>
                  <a:lnTo>
                    <a:pt x="360" y="336"/>
                  </a:lnTo>
                  <a:lnTo>
                    <a:pt x="360" y="336"/>
                  </a:lnTo>
                  <a:lnTo>
                    <a:pt x="359" y="336"/>
                  </a:lnTo>
                  <a:lnTo>
                    <a:pt x="359" y="337"/>
                  </a:lnTo>
                  <a:lnTo>
                    <a:pt x="358" y="337"/>
                  </a:lnTo>
                  <a:lnTo>
                    <a:pt x="357" y="337"/>
                  </a:lnTo>
                  <a:lnTo>
                    <a:pt x="356" y="337"/>
                  </a:lnTo>
                  <a:lnTo>
                    <a:pt x="355" y="336"/>
                  </a:lnTo>
                  <a:lnTo>
                    <a:pt x="353" y="336"/>
                  </a:lnTo>
                  <a:lnTo>
                    <a:pt x="352" y="335"/>
                  </a:lnTo>
                  <a:lnTo>
                    <a:pt x="351" y="335"/>
                  </a:lnTo>
                  <a:lnTo>
                    <a:pt x="350" y="335"/>
                  </a:lnTo>
                  <a:lnTo>
                    <a:pt x="349" y="335"/>
                  </a:lnTo>
                  <a:lnTo>
                    <a:pt x="347" y="336"/>
                  </a:lnTo>
                  <a:lnTo>
                    <a:pt x="344" y="336"/>
                  </a:lnTo>
                  <a:lnTo>
                    <a:pt x="343" y="336"/>
                  </a:lnTo>
                  <a:lnTo>
                    <a:pt x="341" y="336"/>
                  </a:lnTo>
                  <a:lnTo>
                    <a:pt x="341" y="336"/>
                  </a:lnTo>
                  <a:lnTo>
                    <a:pt x="340" y="336"/>
                  </a:lnTo>
                  <a:lnTo>
                    <a:pt x="339" y="335"/>
                  </a:lnTo>
                  <a:lnTo>
                    <a:pt x="338" y="335"/>
                  </a:lnTo>
                  <a:lnTo>
                    <a:pt x="338" y="335"/>
                  </a:lnTo>
                  <a:lnTo>
                    <a:pt x="337" y="335"/>
                  </a:lnTo>
                  <a:lnTo>
                    <a:pt x="337" y="335"/>
                  </a:lnTo>
                  <a:lnTo>
                    <a:pt x="336" y="335"/>
                  </a:lnTo>
                  <a:lnTo>
                    <a:pt x="334" y="336"/>
                  </a:lnTo>
                  <a:lnTo>
                    <a:pt x="333" y="336"/>
                  </a:lnTo>
                  <a:lnTo>
                    <a:pt x="332" y="337"/>
                  </a:lnTo>
                  <a:lnTo>
                    <a:pt x="329" y="337"/>
                  </a:lnTo>
                  <a:lnTo>
                    <a:pt x="327" y="338"/>
                  </a:lnTo>
                  <a:lnTo>
                    <a:pt x="326" y="338"/>
                  </a:lnTo>
                  <a:lnTo>
                    <a:pt x="325" y="338"/>
                  </a:lnTo>
                  <a:lnTo>
                    <a:pt x="324" y="338"/>
                  </a:lnTo>
                  <a:lnTo>
                    <a:pt x="324" y="338"/>
                  </a:lnTo>
                  <a:lnTo>
                    <a:pt x="323" y="337"/>
                  </a:lnTo>
                  <a:lnTo>
                    <a:pt x="322" y="337"/>
                  </a:lnTo>
                  <a:lnTo>
                    <a:pt x="321" y="336"/>
                  </a:lnTo>
                  <a:lnTo>
                    <a:pt x="320" y="336"/>
                  </a:lnTo>
                  <a:lnTo>
                    <a:pt x="316" y="333"/>
                  </a:lnTo>
                  <a:lnTo>
                    <a:pt x="315" y="332"/>
                  </a:lnTo>
                  <a:lnTo>
                    <a:pt x="314" y="331"/>
                  </a:lnTo>
                  <a:lnTo>
                    <a:pt x="313" y="330"/>
                  </a:lnTo>
                  <a:lnTo>
                    <a:pt x="311" y="330"/>
                  </a:lnTo>
                  <a:lnTo>
                    <a:pt x="309" y="329"/>
                  </a:lnTo>
                  <a:lnTo>
                    <a:pt x="306" y="328"/>
                  </a:lnTo>
                  <a:lnTo>
                    <a:pt x="305" y="327"/>
                  </a:lnTo>
                  <a:lnTo>
                    <a:pt x="305" y="327"/>
                  </a:lnTo>
                  <a:lnTo>
                    <a:pt x="303" y="326"/>
                  </a:lnTo>
                  <a:lnTo>
                    <a:pt x="302" y="325"/>
                  </a:lnTo>
                  <a:lnTo>
                    <a:pt x="300" y="323"/>
                  </a:lnTo>
                  <a:lnTo>
                    <a:pt x="299" y="322"/>
                  </a:lnTo>
                  <a:lnTo>
                    <a:pt x="298" y="322"/>
                  </a:lnTo>
                  <a:lnTo>
                    <a:pt x="297" y="321"/>
                  </a:lnTo>
                  <a:lnTo>
                    <a:pt x="296" y="321"/>
                  </a:lnTo>
                  <a:lnTo>
                    <a:pt x="293" y="319"/>
                  </a:lnTo>
                  <a:lnTo>
                    <a:pt x="291" y="319"/>
                  </a:lnTo>
                  <a:lnTo>
                    <a:pt x="290" y="318"/>
                  </a:lnTo>
                  <a:lnTo>
                    <a:pt x="289" y="317"/>
                  </a:lnTo>
                  <a:lnTo>
                    <a:pt x="288" y="316"/>
                  </a:lnTo>
                  <a:lnTo>
                    <a:pt x="287" y="315"/>
                  </a:lnTo>
                  <a:lnTo>
                    <a:pt x="286" y="314"/>
                  </a:lnTo>
                  <a:lnTo>
                    <a:pt x="284" y="311"/>
                  </a:lnTo>
                  <a:lnTo>
                    <a:pt x="282" y="310"/>
                  </a:lnTo>
                  <a:lnTo>
                    <a:pt x="281" y="309"/>
                  </a:lnTo>
                  <a:lnTo>
                    <a:pt x="281" y="309"/>
                  </a:lnTo>
                  <a:lnTo>
                    <a:pt x="281" y="309"/>
                  </a:lnTo>
                  <a:lnTo>
                    <a:pt x="279" y="308"/>
                  </a:lnTo>
                  <a:lnTo>
                    <a:pt x="278" y="307"/>
                  </a:lnTo>
                  <a:lnTo>
                    <a:pt x="277" y="307"/>
                  </a:lnTo>
                  <a:lnTo>
                    <a:pt x="274" y="306"/>
                  </a:lnTo>
                  <a:lnTo>
                    <a:pt x="272" y="306"/>
                  </a:lnTo>
                  <a:lnTo>
                    <a:pt x="271" y="305"/>
                  </a:lnTo>
                  <a:lnTo>
                    <a:pt x="270" y="305"/>
                  </a:lnTo>
                  <a:lnTo>
                    <a:pt x="270" y="304"/>
                  </a:lnTo>
                  <a:lnTo>
                    <a:pt x="269" y="304"/>
                  </a:lnTo>
                  <a:lnTo>
                    <a:pt x="269" y="303"/>
                  </a:lnTo>
                  <a:lnTo>
                    <a:pt x="268" y="302"/>
                  </a:lnTo>
                  <a:lnTo>
                    <a:pt x="268" y="301"/>
                  </a:lnTo>
                  <a:lnTo>
                    <a:pt x="267" y="300"/>
                  </a:lnTo>
                  <a:lnTo>
                    <a:pt x="266" y="296"/>
                  </a:lnTo>
                  <a:lnTo>
                    <a:pt x="266" y="295"/>
                  </a:lnTo>
                  <a:lnTo>
                    <a:pt x="265" y="294"/>
                  </a:lnTo>
                  <a:lnTo>
                    <a:pt x="265" y="293"/>
                  </a:lnTo>
                  <a:lnTo>
                    <a:pt x="264" y="293"/>
                  </a:lnTo>
                  <a:lnTo>
                    <a:pt x="264" y="292"/>
                  </a:lnTo>
                  <a:lnTo>
                    <a:pt x="263" y="292"/>
                  </a:lnTo>
                  <a:lnTo>
                    <a:pt x="261" y="289"/>
                  </a:lnTo>
                  <a:lnTo>
                    <a:pt x="261" y="288"/>
                  </a:lnTo>
                  <a:lnTo>
                    <a:pt x="260" y="288"/>
                  </a:lnTo>
                  <a:lnTo>
                    <a:pt x="259" y="287"/>
                  </a:lnTo>
                  <a:lnTo>
                    <a:pt x="258" y="287"/>
                  </a:lnTo>
                  <a:lnTo>
                    <a:pt x="257" y="286"/>
                  </a:lnTo>
                  <a:lnTo>
                    <a:pt x="255" y="286"/>
                  </a:lnTo>
                  <a:lnTo>
                    <a:pt x="252" y="285"/>
                  </a:lnTo>
                  <a:lnTo>
                    <a:pt x="248" y="284"/>
                  </a:lnTo>
                  <a:lnTo>
                    <a:pt x="246" y="283"/>
                  </a:lnTo>
                  <a:lnTo>
                    <a:pt x="243" y="283"/>
                  </a:lnTo>
                  <a:lnTo>
                    <a:pt x="242" y="282"/>
                  </a:lnTo>
                  <a:lnTo>
                    <a:pt x="241" y="282"/>
                  </a:lnTo>
                  <a:lnTo>
                    <a:pt x="240" y="282"/>
                  </a:lnTo>
                  <a:lnTo>
                    <a:pt x="239" y="282"/>
                  </a:lnTo>
                  <a:lnTo>
                    <a:pt x="238" y="283"/>
                  </a:lnTo>
                  <a:lnTo>
                    <a:pt x="236" y="284"/>
                  </a:lnTo>
                  <a:lnTo>
                    <a:pt x="234" y="284"/>
                  </a:lnTo>
                  <a:lnTo>
                    <a:pt x="233" y="285"/>
                  </a:lnTo>
                  <a:lnTo>
                    <a:pt x="232" y="286"/>
                  </a:lnTo>
                  <a:lnTo>
                    <a:pt x="232" y="286"/>
                  </a:lnTo>
                  <a:lnTo>
                    <a:pt x="229" y="289"/>
                  </a:lnTo>
                  <a:lnTo>
                    <a:pt x="228" y="289"/>
                  </a:lnTo>
                  <a:lnTo>
                    <a:pt x="228" y="290"/>
                  </a:lnTo>
                  <a:lnTo>
                    <a:pt x="227" y="290"/>
                  </a:lnTo>
                  <a:lnTo>
                    <a:pt x="226" y="291"/>
                  </a:lnTo>
                  <a:lnTo>
                    <a:pt x="223" y="292"/>
                  </a:lnTo>
                  <a:lnTo>
                    <a:pt x="222" y="293"/>
                  </a:lnTo>
                  <a:lnTo>
                    <a:pt x="221" y="293"/>
                  </a:lnTo>
                  <a:lnTo>
                    <a:pt x="218" y="295"/>
                  </a:lnTo>
                  <a:lnTo>
                    <a:pt x="217" y="296"/>
                  </a:lnTo>
                  <a:lnTo>
                    <a:pt x="216" y="296"/>
                  </a:lnTo>
                  <a:lnTo>
                    <a:pt x="215" y="296"/>
                  </a:lnTo>
                  <a:lnTo>
                    <a:pt x="215" y="296"/>
                  </a:lnTo>
                  <a:lnTo>
                    <a:pt x="214" y="296"/>
                  </a:lnTo>
                  <a:lnTo>
                    <a:pt x="214" y="296"/>
                  </a:lnTo>
                  <a:lnTo>
                    <a:pt x="213" y="296"/>
                  </a:lnTo>
                  <a:lnTo>
                    <a:pt x="212" y="296"/>
                  </a:lnTo>
                  <a:lnTo>
                    <a:pt x="211" y="296"/>
                  </a:lnTo>
                  <a:lnTo>
                    <a:pt x="210" y="296"/>
                  </a:lnTo>
                  <a:lnTo>
                    <a:pt x="210" y="296"/>
                  </a:lnTo>
                  <a:lnTo>
                    <a:pt x="209" y="295"/>
                  </a:lnTo>
                  <a:lnTo>
                    <a:pt x="209" y="295"/>
                  </a:lnTo>
                  <a:lnTo>
                    <a:pt x="208" y="294"/>
                  </a:lnTo>
                  <a:lnTo>
                    <a:pt x="207" y="294"/>
                  </a:lnTo>
                  <a:lnTo>
                    <a:pt x="207" y="293"/>
                  </a:lnTo>
                  <a:lnTo>
                    <a:pt x="206" y="292"/>
                  </a:lnTo>
                  <a:lnTo>
                    <a:pt x="206" y="291"/>
                  </a:lnTo>
                  <a:lnTo>
                    <a:pt x="205" y="288"/>
                  </a:lnTo>
                  <a:lnTo>
                    <a:pt x="204" y="286"/>
                  </a:lnTo>
                  <a:lnTo>
                    <a:pt x="204" y="285"/>
                  </a:lnTo>
                  <a:lnTo>
                    <a:pt x="203" y="283"/>
                  </a:lnTo>
                  <a:lnTo>
                    <a:pt x="202" y="282"/>
                  </a:lnTo>
                  <a:lnTo>
                    <a:pt x="201" y="282"/>
                  </a:lnTo>
                  <a:lnTo>
                    <a:pt x="201" y="281"/>
                  </a:lnTo>
                  <a:lnTo>
                    <a:pt x="200" y="281"/>
                  </a:lnTo>
                  <a:lnTo>
                    <a:pt x="200" y="280"/>
                  </a:lnTo>
                  <a:lnTo>
                    <a:pt x="199" y="279"/>
                  </a:lnTo>
                  <a:lnTo>
                    <a:pt x="199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6" y="280"/>
                  </a:lnTo>
                  <a:lnTo>
                    <a:pt x="194" y="281"/>
                  </a:lnTo>
                  <a:lnTo>
                    <a:pt x="193" y="282"/>
                  </a:lnTo>
                  <a:lnTo>
                    <a:pt x="192" y="283"/>
                  </a:lnTo>
                  <a:lnTo>
                    <a:pt x="191" y="284"/>
                  </a:lnTo>
                  <a:lnTo>
                    <a:pt x="190" y="285"/>
                  </a:lnTo>
                  <a:lnTo>
                    <a:pt x="189" y="285"/>
                  </a:lnTo>
                  <a:lnTo>
                    <a:pt x="189" y="286"/>
                  </a:lnTo>
                  <a:lnTo>
                    <a:pt x="188" y="287"/>
                  </a:lnTo>
                  <a:lnTo>
                    <a:pt x="188" y="287"/>
                  </a:lnTo>
                  <a:lnTo>
                    <a:pt x="187" y="288"/>
                  </a:lnTo>
                  <a:lnTo>
                    <a:pt x="186" y="291"/>
                  </a:lnTo>
                  <a:lnTo>
                    <a:pt x="186" y="292"/>
                  </a:lnTo>
                  <a:lnTo>
                    <a:pt x="185" y="292"/>
                  </a:lnTo>
                  <a:lnTo>
                    <a:pt x="185" y="293"/>
                  </a:lnTo>
                  <a:lnTo>
                    <a:pt x="184" y="294"/>
                  </a:lnTo>
                  <a:lnTo>
                    <a:pt x="184" y="294"/>
                  </a:lnTo>
                  <a:lnTo>
                    <a:pt x="183" y="295"/>
                  </a:lnTo>
                  <a:lnTo>
                    <a:pt x="182" y="296"/>
                  </a:lnTo>
                  <a:lnTo>
                    <a:pt x="181" y="296"/>
                  </a:lnTo>
                  <a:lnTo>
                    <a:pt x="180" y="296"/>
                  </a:lnTo>
                  <a:lnTo>
                    <a:pt x="178" y="297"/>
                  </a:lnTo>
                  <a:lnTo>
                    <a:pt x="176" y="297"/>
                  </a:lnTo>
                  <a:lnTo>
                    <a:pt x="175" y="298"/>
                  </a:lnTo>
                  <a:lnTo>
                    <a:pt x="172" y="299"/>
                  </a:lnTo>
                  <a:lnTo>
                    <a:pt x="171" y="300"/>
                  </a:lnTo>
                  <a:lnTo>
                    <a:pt x="170" y="300"/>
                  </a:lnTo>
                  <a:lnTo>
                    <a:pt x="170" y="300"/>
                  </a:lnTo>
                  <a:lnTo>
                    <a:pt x="168" y="300"/>
                  </a:lnTo>
                  <a:lnTo>
                    <a:pt x="167" y="300"/>
                  </a:lnTo>
                  <a:lnTo>
                    <a:pt x="167" y="300"/>
                  </a:lnTo>
                  <a:lnTo>
                    <a:pt x="165" y="299"/>
                  </a:lnTo>
                  <a:lnTo>
                    <a:pt x="163" y="298"/>
                  </a:lnTo>
                  <a:lnTo>
                    <a:pt x="161" y="298"/>
                  </a:lnTo>
                  <a:lnTo>
                    <a:pt x="161" y="297"/>
                  </a:lnTo>
                  <a:lnTo>
                    <a:pt x="160" y="297"/>
                  </a:lnTo>
                  <a:lnTo>
                    <a:pt x="159" y="297"/>
                  </a:lnTo>
                  <a:lnTo>
                    <a:pt x="158" y="297"/>
                  </a:lnTo>
                  <a:lnTo>
                    <a:pt x="156" y="297"/>
                  </a:lnTo>
                  <a:lnTo>
                    <a:pt x="155" y="297"/>
                  </a:lnTo>
                  <a:lnTo>
                    <a:pt x="153" y="297"/>
                  </a:lnTo>
                  <a:lnTo>
                    <a:pt x="152" y="297"/>
                  </a:lnTo>
                  <a:lnTo>
                    <a:pt x="151" y="297"/>
                  </a:lnTo>
                  <a:lnTo>
                    <a:pt x="148" y="297"/>
                  </a:lnTo>
                  <a:lnTo>
                    <a:pt x="147" y="297"/>
                  </a:lnTo>
                  <a:lnTo>
                    <a:pt x="146" y="297"/>
                  </a:lnTo>
                  <a:lnTo>
                    <a:pt x="144" y="297"/>
                  </a:lnTo>
                  <a:lnTo>
                    <a:pt x="144" y="297"/>
                  </a:lnTo>
                  <a:lnTo>
                    <a:pt x="143" y="297"/>
                  </a:lnTo>
                  <a:lnTo>
                    <a:pt x="142" y="296"/>
                  </a:lnTo>
                  <a:lnTo>
                    <a:pt x="141" y="296"/>
                  </a:lnTo>
                  <a:lnTo>
                    <a:pt x="140" y="296"/>
                  </a:lnTo>
                  <a:lnTo>
                    <a:pt x="139" y="294"/>
                  </a:lnTo>
                  <a:lnTo>
                    <a:pt x="138" y="294"/>
                  </a:lnTo>
                  <a:lnTo>
                    <a:pt x="138" y="294"/>
                  </a:lnTo>
                  <a:lnTo>
                    <a:pt x="137" y="293"/>
                  </a:lnTo>
                  <a:lnTo>
                    <a:pt x="137" y="293"/>
                  </a:lnTo>
                  <a:lnTo>
                    <a:pt x="136" y="293"/>
                  </a:lnTo>
                  <a:lnTo>
                    <a:pt x="136" y="293"/>
                  </a:lnTo>
                  <a:lnTo>
                    <a:pt x="136" y="293"/>
                  </a:lnTo>
                  <a:lnTo>
                    <a:pt x="135" y="293"/>
                  </a:lnTo>
                  <a:lnTo>
                    <a:pt x="132" y="295"/>
                  </a:lnTo>
                  <a:lnTo>
                    <a:pt x="131" y="296"/>
                  </a:lnTo>
                  <a:lnTo>
                    <a:pt x="130" y="296"/>
                  </a:lnTo>
                  <a:lnTo>
                    <a:pt x="128" y="296"/>
                  </a:lnTo>
                  <a:lnTo>
                    <a:pt x="127" y="296"/>
                  </a:lnTo>
                  <a:lnTo>
                    <a:pt x="126" y="297"/>
                  </a:lnTo>
                  <a:lnTo>
                    <a:pt x="125" y="297"/>
                  </a:lnTo>
                  <a:lnTo>
                    <a:pt x="125" y="298"/>
                  </a:lnTo>
                  <a:lnTo>
                    <a:pt x="124" y="298"/>
                  </a:lnTo>
                  <a:lnTo>
                    <a:pt x="123" y="299"/>
                  </a:lnTo>
                  <a:lnTo>
                    <a:pt x="123" y="300"/>
                  </a:lnTo>
                  <a:lnTo>
                    <a:pt x="122" y="300"/>
                  </a:lnTo>
                  <a:lnTo>
                    <a:pt x="122" y="301"/>
                  </a:lnTo>
                  <a:lnTo>
                    <a:pt x="121" y="303"/>
                  </a:lnTo>
                  <a:lnTo>
                    <a:pt x="121" y="303"/>
                  </a:lnTo>
                  <a:lnTo>
                    <a:pt x="120" y="304"/>
                  </a:lnTo>
                  <a:lnTo>
                    <a:pt x="120" y="305"/>
                  </a:lnTo>
                  <a:lnTo>
                    <a:pt x="118" y="306"/>
                  </a:lnTo>
                  <a:lnTo>
                    <a:pt x="117" y="307"/>
                  </a:lnTo>
                  <a:lnTo>
                    <a:pt x="116" y="307"/>
                  </a:lnTo>
                  <a:lnTo>
                    <a:pt x="115" y="308"/>
                  </a:lnTo>
                  <a:lnTo>
                    <a:pt x="114" y="308"/>
                  </a:lnTo>
                  <a:lnTo>
                    <a:pt x="112" y="310"/>
                  </a:lnTo>
                  <a:lnTo>
                    <a:pt x="111" y="310"/>
                  </a:lnTo>
                  <a:lnTo>
                    <a:pt x="110" y="311"/>
                  </a:lnTo>
                  <a:lnTo>
                    <a:pt x="109" y="311"/>
                  </a:lnTo>
                  <a:lnTo>
                    <a:pt x="108" y="312"/>
                  </a:lnTo>
                  <a:lnTo>
                    <a:pt x="107" y="312"/>
                  </a:lnTo>
                  <a:lnTo>
                    <a:pt x="106" y="312"/>
                  </a:lnTo>
                  <a:lnTo>
                    <a:pt x="105" y="312"/>
                  </a:lnTo>
                  <a:lnTo>
                    <a:pt x="104" y="313"/>
                  </a:lnTo>
                  <a:lnTo>
                    <a:pt x="103" y="313"/>
                  </a:lnTo>
                  <a:lnTo>
                    <a:pt x="102" y="313"/>
                  </a:lnTo>
                  <a:lnTo>
                    <a:pt x="102" y="313"/>
                  </a:lnTo>
                  <a:lnTo>
                    <a:pt x="101" y="312"/>
                  </a:lnTo>
                  <a:lnTo>
                    <a:pt x="100" y="312"/>
                  </a:lnTo>
                  <a:lnTo>
                    <a:pt x="99" y="312"/>
                  </a:lnTo>
                  <a:lnTo>
                    <a:pt x="98" y="311"/>
                  </a:lnTo>
                  <a:lnTo>
                    <a:pt x="98" y="311"/>
                  </a:lnTo>
                  <a:lnTo>
                    <a:pt x="97" y="311"/>
                  </a:lnTo>
                  <a:lnTo>
                    <a:pt x="97" y="310"/>
                  </a:lnTo>
                  <a:lnTo>
                    <a:pt x="97" y="310"/>
                  </a:lnTo>
                  <a:lnTo>
                    <a:pt x="97" y="310"/>
                  </a:lnTo>
                  <a:lnTo>
                    <a:pt x="97" y="309"/>
                  </a:lnTo>
                  <a:lnTo>
                    <a:pt x="97" y="308"/>
                  </a:lnTo>
                  <a:lnTo>
                    <a:pt x="97" y="306"/>
                  </a:lnTo>
                  <a:lnTo>
                    <a:pt x="97" y="306"/>
                  </a:lnTo>
                  <a:lnTo>
                    <a:pt x="97" y="305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7" y="303"/>
                  </a:lnTo>
                  <a:lnTo>
                    <a:pt x="97" y="303"/>
                  </a:lnTo>
                  <a:lnTo>
                    <a:pt x="96" y="302"/>
                  </a:lnTo>
                  <a:lnTo>
                    <a:pt x="96" y="302"/>
                  </a:lnTo>
                  <a:lnTo>
                    <a:pt x="96" y="301"/>
                  </a:lnTo>
                  <a:lnTo>
                    <a:pt x="94" y="301"/>
                  </a:lnTo>
                  <a:lnTo>
                    <a:pt x="93" y="300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7"/>
                  </a:lnTo>
                  <a:lnTo>
                    <a:pt x="87" y="297"/>
                  </a:lnTo>
                  <a:lnTo>
                    <a:pt x="85" y="296"/>
                  </a:lnTo>
                  <a:lnTo>
                    <a:pt x="84" y="296"/>
                  </a:lnTo>
                  <a:lnTo>
                    <a:pt x="83" y="296"/>
                  </a:lnTo>
                  <a:lnTo>
                    <a:pt x="79" y="295"/>
                  </a:lnTo>
                  <a:lnTo>
                    <a:pt x="76" y="294"/>
                  </a:lnTo>
                  <a:lnTo>
                    <a:pt x="75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2"/>
                  </a:lnTo>
                  <a:lnTo>
                    <a:pt x="74" y="292"/>
                  </a:lnTo>
                  <a:lnTo>
                    <a:pt x="74" y="292"/>
                  </a:lnTo>
                  <a:lnTo>
                    <a:pt x="75" y="289"/>
                  </a:lnTo>
                  <a:lnTo>
                    <a:pt x="75" y="289"/>
                  </a:lnTo>
                  <a:lnTo>
                    <a:pt x="75" y="288"/>
                  </a:lnTo>
                  <a:lnTo>
                    <a:pt x="75" y="287"/>
                  </a:lnTo>
                  <a:lnTo>
                    <a:pt x="74" y="286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5" y="284"/>
                  </a:lnTo>
                  <a:lnTo>
                    <a:pt x="75" y="283"/>
                  </a:lnTo>
                  <a:lnTo>
                    <a:pt x="76" y="282"/>
                  </a:lnTo>
                  <a:lnTo>
                    <a:pt x="77" y="281"/>
                  </a:lnTo>
                  <a:lnTo>
                    <a:pt x="78" y="279"/>
                  </a:lnTo>
                  <a:lnTo>
                    <a:pt x="79" y="278"/>
                  </a:lnTo>
                  <a:lnTo>
                    <a:pt x="80" y="277"/>
                  </a:lnTo>
                  <a:lnTo>
                    <a:pt x="81" y="275"/>
                  </a:lnTo>
                  <a:lnTo>
                    <a:pt x="82" y="274"/>
                  </a:lnTo>
                  <a:lnTo>
                    <a:pt x="82" y="273"/>
                  </a:lnTo>
                  <a:lnTo>
                    <a:pt x="83" y="271"/>
                  </a:lnTo>
                  <a:lnTo>
                    <a:pt x="83" y="270"/>
                  </a:lnTo>
                  <a:lnTo>
                    <a:pt x="84" y="269"/>
                  </a:lnTo>
                  <a:lnTo>
                    <a:pt x="84" y="268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66"/>
                  </a:lnTo>
                  <a:lnTo>
                    <a:pt x="84" y="266"/>
                  </a:lnTo>
                  <a:lnTo>
                    <a:pt x="83" y="264"/>
                  </a:lnTo>
                  <a:lnTo>
                    <a:pt x="83" y="263"/>
                  </a:lnTo>
                  <a:lnTo>
                    <a:pt x="82" y="261"/>
                  </a:lnTo>
                  <a:lnTo>
                    <a:pt x="82" y="260"/>
                  </a:lnTo>
                  <a:lnTo>
                    <a:pt x="80" y="258"/>
                  </a:lnTo>
                  <a:lnTo>
                    <a:pt x="79" y="257"/>
                  </a:lnTo>
                  <a:lnTo>
                    <a:pt x="78" y="255"/>
                  </a:lnTo>
                  <a:lnTo>
                    <a:pt x="78" y="254"/>
                  </a:lnTo>
                  <a:lnTo>
                    <a:pt x="78" y="254"/>
                  </a:lnTo>
                  <a:lnTo>
                    <a:pt x="78" y="253"/>
                  </a:lnTo>
                  <a:lnTo>
                    <a:pt x="78" y="251"/>
                  </a:lnTo>
                  <a:lnTo>
                    <a:pt x="78" y="249"/>
                  </a:lnTo>
                  <a:lnTo>
                    <a:pt x="78" y="248"/>
                  </a:lnTo>
                  <a:lnTo>
                    <a:pt x="78" y="247"/>
                  </a:lnTo>
                  <a:lnTo>
                    <a:pt x="78" y="246"/>
                  </a:lnTo>
                  <a:lnTo>
                    <a:pt x="78" y="243"/>
                  </a:lnTo>
                  <a:lnTo>
                    <a:pt x="79" y="242"/>
                  </a:lnTo>
                  <a:lnTo>
                    <a:pt x="79" y="240"/>
                  </a:lnTo>
                  <a:lnTo>
                    <a:pt x="78" y="237"/>
                  </a:lnTo>
                  <a:lnTo>
                    <a:pt x="78" y="235"/>
                  </a:lnTo>
                  <a:lnTo>
                    <a:pt x="78" y="233"/>
                  </a:lnTo>
                  <a:lnTo>
                    <a:pt x="78" y="233"/>
                  </a:lnTo>
                  <a:lnTo>
                    <a:pt x="78" y="231"/>
                  </a:lnTo>
                  <a:lnTo>
                    <a:pt x="77" y="230"/>
                  </a:lnTo>
                  <a:lnTo>
                    <a:pt x="77" y="230"/>
                  </a:lnTo>
                  <a:lnTo>
                    <a:pt x="77" y="229"/>
                  </a:lnTo>
                  <a:lnTo>
                    <a:pt x="76" y="228"/>
                  </a:lnTo>
                  <a:lnTo>
                    <a:pt x="75" y="228"/>
                  </a:lnTo>
                  <a:lnTo>
                    <a:pt x="75" y="227"/>
                  </a:lnTo>
                  <a:lnTo>
                    <a:pt x="73" y="226"/>
                  </a:lnTo>
                  <a:lnTo>
                    <a:pt x="72" y="225"/>
                  </a:lnTo>
                  <a:lnTo>
                    <a:pt x="72" y="224"/>
                  </a:lnTo>
                  <a:lnTo>
                    <a:pt x="71" y="224"/>
                  </a:lnTo>
                  <a:lnTo>
                    <a:pt x="70" y="224"/>
                  </a:lnTo>
                  <a:lnTo>
                    <a:pt x="70" y="224"/>
                  </a:lnTo>
                  <a:lnTo>
                    <a:pt x="69" y="224"/>
                  </a:lnTo>
                  <a:lnTo>
                    <a:pt x="68" y="224"/>
                  </a:lnTo>
                  <a:lnTo>
                    <a:pt x="68" y="224"/>
                  </a:lnTo>
                  <a:lnTo>
                    <a:pt x="66" y="225"/>
                  </a:lnTo>
                  <a:lnTo>
                    <a:pt x="65" y="225"/>
                  </a:lnTo>
                  <a:lnTo>
                    <a:pt x="63" y="226"/>
                  </a:lnTo>
                  <a:lnTo>
                    <a:pt x="59" y="227"/>
                  </a:lnTo>
                  <a:lnTo>
                    <a:pt x="58" y="228"/>
                  </a:lnTo>
                  <a:lnTo>
                    <a:pt x="57" y="228"/>
                  </a:lnTo>
                  <a:lnTo>
                    <a:pt x="56" y="228"/>
                  </a:lnTo>
                  <a:lnTo>
                    <a:pt x="55" y="228"/>
                  </a:lnTo>
                  <a:lnTo>
                    <a:pt x="52" y="227"/>
                  </a:lnTo>
                  <a:lnTo>
                    <a:pt x="49" y="227"/>
                  </a:lnTo>
                  <a:lnTo>
                    <a:pt x="45" y="226"/>
                  </a:lnTo>
                  <a:lnTo>
                    <a:pt x="44" y="226"/>
                  </a:lnTo>
                  <a:lnTo>
                    <a:pt x="43" y="226"/>
                  </a:lnTo>
                  <a:lnTo>
                    <a:pt x="39" y="227"/>
                  </a:lnTo>
                  <a:lnTo>
                    <a:pt x="38" y="227"/>
                  </a:lnTo>
                  <a:lnTo>
                    <a:pt x="37" y="227"/>
                  </a:lnTo>
                  <a:lnTo>
                    <a:pt x="36" y="227"/>
                  </a:lnTo>
                  <a:lnTo>
                    <a:pt x="36" y="227"/>
                  </a:lnTo>
                  <a:lnTo>
                    <a:pt x="35" y="226"/>
                  </a:lnTo>
                  <a:lnTo>
                    <a:pt x="34" y="226"/>
                  </a:lnTo>
                  <a:lnTo>
                    <a:pt x="33" y="226"/>
                  </a:lnTo>
                  <a:lnTo>
                    <a:pt x="33" y="225"/>
                  </a:lnTo>
                  <a:lnTo>
                    <a:pt x="32" y="225"/>
                  </a:lnTo>
                  <a:lnTo>
                    <a:pt x="31" y="224"/>
                  </a:lnTo>
                  <a:lnTo>
                    <a:pt x="31" y="224"/>
                  </a:lnTo>
                  <a:lnTo>
                    <a:pt x="30" y="223"/>
                  </a:lnTo>
                  <a:lnTo>
                    <a:pt x="30" y="223"/>
                  </a:lnTo>
                  <a:lnTo>
                    <a:pt x="30" y="222"/>
                  </a:lnTo>
                  <a:lnTo>
                    <a:pt x="29" y="221"/>
                  </a:lnTo>
                  <a:lnTo>
                    <a:pt x="29" y="220"/>
                  </a:lnTo>
                  <a:lnTo>
                    <a:pt x="29" y="219"/>
                  </a:lnTo>
                  <a:lnTo>
                    <a:pt x="29" y="219"/>
                  </a:lnTo>
                  <a:lnTo>
                    <a:pt x="29" y="217"/>
                  </a:lnTo>
                  <a:lnTo>
                    <a:pt x="29" y="215"/>
                  </a:lnTo>
                  <a:lnTo>
                    <a:pt x="29" y="214"/>
                  </a:lnTo>
                  <a:lnTo>
                    <a:pt x="28" y="214"/>
                  </a:lnTo>
                  <a:lnTo>
                    <a:pt x="28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5" y="210"/>
                  </a:lnTo>
                  <a:lnTo>
                    <a:pt x="24" y="209"/>
                  </a:lnTo>
                  <a:lnTo>
                    <a:pt x="23" y="208"/>
                  </a:lnTo>
                  <a:lnTo>
                    <a:pt x="22" y="207"/>
                  </a:lnTo>
                  <a:lnTo>
                    <a:pt x="22" y="207"/>
                  </a:lnTo>
                  <a:lnTo>
                    <a:pt x="21" y="205"/>
                  </a:lnTo>
                  <a:lnTo>
                    <a:pt x="20" y="205"/>
                  </a:lnTo>
                  <a:lnTo>
                    <a:pt x="20" y="204"/>
                  </a:lnTo>
                  <a:lnTo>
                    <a:pt x="19" y="204"/>
                  </a:lnTo>
                  <a:lnTo>
                    <a:pt x="18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5" y="202"/>
                  </a:lnTo>
                  <a:lnTo>
                    <a:pt x="12" y="202"/>
                  </a:lnTo>
                  <a:lnTo>
                    <a:pt x="11" y="202"/>
                  </a:lnTo>
                  <a:lnTo>
                    <a:pt x="10" y="202"/>
                  </a:lnTo>
                  <a:lnTo>
                    <a:pt x="10" y="202"/>
                  </a:lnTo>
                  <a:lnTo>
                    <a:pt x="9" y="201"/>
                  </a:lnTo>
                  <a:lnTo>
                    <a:pt x="9" y="201"/>
                  </a:lnTo>
                  <a:lnTo>
                    <a:pt x="8" y="201"/>
                  </a:lnTo>
                  <a:lnTo>
                    <a:pt x="7" y="200"/>
                  </a:lnTo>
                  <a:lnTo>
                    <a:pt x="6" y="200"/>
                  </a:lnTo>
                  <a:lnTo>
                    <a:pt x="6" y="199"/>
                  </a:lnTo>
                  <a:lnTo>
                    <a:pt x="5" y="199"/>
                  </a:lnTo>
                  <a:lnTo>
                    <a:pt x="5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3" y="194"/>
                  </a:lnTo>
                  <a:lnTo>
                    <a:pt x="3" y="193"/>
                  </a:lnTo>
                  <a:lnTo>
                    <a:pt x="2" y="192"/>
                  </a:lnTo>
                  <a:lnTo>
                    <a:pt x="1" y="190"/>
                  </a:lnTo>
                  <a:lnTo>
                    <a:pt x="1" y="189"/>
                  </a:lnTo>
                  <a:lnTo>
                    <a:pt x="1" y="189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1" y="185"/>
                  </a:lnTo>
                  <a:lnTo>
                    <a:pt x="1" y="185"/>
                  </a:lnTo>
                  <a:lnTo>
                    <a:pt x="1" y="184"/>
                  </a:lnTo>
                  <a:lnTo>
                    <a:pt x="2" y="183"/>
                  </a:lnTo>
                  <a:lnTo>
                    <a:pt x="2" y="183"/>
                  </a:lnTo>
                  <a:lnTo>
                    <a:pt x="3" y="183"/>
                  </a:lnTo>
                  <a:lnTo>
                    <a:pt x="5" y="181"/>
                  </a:lnTo>
                  <a:lnTo>
                    <a:pt x="6" y="181"/>
                  </a:lnTo>
                  <a:lnTo>
                    <a:pt x="6" y="180"/>
                  </a:lnTo>
                  <a:lnTo>
                    <a:pt x="7" y="180"/>
                  </a:lnTo>
                  <a:lnTo>
                    <a:pt x="7" y="180"/>
                  </a:lnTo>
                  <a:lnTo>
                    <a:pt x="7" y="179"/>
                  </a:lnTo>
                  <a:lnTo>
                    <a:pt x="8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2" y="170"/>
                  </a:lnTo>
                  <a:lnTo>
                    <a:pt x="12" y="169"/>
                  </a:lnTo>
                  <a:lnTo>
                    <a:pt x="13" y="168"/>
                  </a:lnTo>
                  <a:lnTo>
                    <a:pt x="13" y="166"/>
                  </a:lnTo>
                  <a:lnTo>
                    <a:pt x="13" y="165"/>
                  </a:lnTo>
                  <a:lnTo>
                    <a:pt x="13" y="164"/>
                  </a:lnTo>
                  <a:lnTo>
                    <a:pt x="12" y="162"/>
                  </a:lnTo>
                  <a:lnTo>
                    <a:pt x="11" y="159"/>
                  </a:lnTo>
                  <a:lnTo>
                    <a:pt x="11" y="158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9" y="155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2"/>
                  </a:lnTo>
                  <a:lnTo>
                    <a:pt x="7" y="151"/>
                  </a:lnTo>
                  <a:lnTo>
                    <a:pt x="7" y="150"/>
                  </a:lnTo>
                  <a:lnTo>
                    <a:pt x="7" y="149"/>
                  </a:lnTo>
                  <a:lnTo>
                    <a:pt x="7" y="144"/>
                  </a:lnTo>
                  <a:lnTo>
                    <a:pt x="7" y="142"/>
                  </a:lnTo>
                  <a:lnTo>
                    <a:pt x="7" y="141"/>
                  </a:lnTo>
                  <a:lnTo>
                    <a:pt x="7" y="141"/>
                  </a:lnTo>
                  <a:lnTo>
                    <a:pt x="7" y="140"/>
                  </a:lnTo>
                  <a:lnTo>
                    <a:pt x="6" y="138"/>
                  </a:lnTo>
                  <a:lnTo>
                    <a:pt x="5" y="136"/>
                  </a:lnTo>
                  <a:lnTo>
                    <a:pt x="5" y="135"/>
                  </a:lnTo>
                  <a:lnTo>
                    <a:pt x="4" y="133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3" y="127"/>
                  </a:lnTo>
                  <a:lnTo>
                    <a:pt x="3" y="126"/>
                  </a:lnTo>
                  <a:lnTo>
                    <a:pt x="4" y="125"/>
                  </a:lnTo>
                  <a:lnTo>
                    <a:pt x="5" y="124"/>
                  </a:lnTo>
                  <a:lnTo>
                    <a:pt x="6" y="123"/>
                  </a:lnTo>
                  <a:lnTo>
                    <a:pt x="8" y="121"/>
                  </a:lnTo>
                  <a:lnTo>
                    <a:pt x="9" y="120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20"/>
                  </a:lnTo>
                  <a:lnTo>
                    <a:pt x="11" y="121"/>
                  </a:lnTo>
                  <a:lnTo>
                    <a:pt x="13" y="121"/>
                  </a:lnTo>
                  <a:lnTo>
                    <a:pt x="15" y="123"/>
                  </a:lnTo>
                  <a:lnTo>
                    <a:pt x="17" y="124"/>
                  </a:lnTo>
                  <a:lnTo>
                    <a:pt x="21" y="126"/>
                  </a:lnTo>
                  <a:lnTo>
                    <a:pt x="22" y="127"/>
                  </a:lnTo>
                  <a:lnTo>
                    <a:pt x="24" y="127"/>
                  </a:lnTo>
                  <a:lnTo>
                    <a:pt x="25" y="128"/>
                  </a:lnTo>
                  <a:lnTo>
                    <a:pt x="27" y="129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Freeform 24">
              <a:extLst>
                <a:ext uri="{FF2B5EF4-FFF2-40B4-BE49-F238E27FC236}">
                  <a16:creationId xmlns:a16="http://schemas.microsoft.com/office/drawing/2014/main" id="{88A46074-5AEB-4F0B-D971-F1A33FE9CF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2" y="2993"/>
              <a:ext cx="124" cy="138"/>
            </a:xfrm>
            <a:custGeom>
              <a:avLst/>
              <a:gdLst>
                <a:gd name="T0" fmla="*/ 3 w 124"/>
                <a:gd name="T1" fmla="*/ 131 h 138"/>
                <a:gd name="T2" fmla="*/ 7 w 124"/>
                <a:gd name="T3" fmla="*/ 131 h 138"/>
                <a:gd name="T4" fmla="*/ 9 w 124"/>
                <a:gd name="T5" fmla="*/ 130 h 138"/>
                <a:gd name="T6" fmla="*/ 15 w 124"/>
                <a:gd name="T7" fmla="*/ 123 h 138"/>
                <a:gd name="T8" fmla="*/ 18 w 124"/>
                <a:gd name="T9" fmla="*/ 121 h 138"/>
                <a:gd name="T10" fmla="*/ 20 w 124"/>
                <a:gd name="T11" fmla="*/ 120 h 138"/>
                <a:gd name="T12" fmla="*/ 24 w 124"/>
                <a:gd name="T13" fmla="*/ 120 h 138"/>
                <a:gd name="T14" fmla="*/ 29 w 124"/>
                <a:gd name="T15" fmla="*/ 123 h 138"/>
                <a:gd name="T16" fmla="*/ 35 w 124"/>
                <a:gd name="T17" fmla="*/ 124 h 138"/>
                <a:gd name="T18" fmla="*/ 39 w 124"/>
                <a:gd name="T19" fmla="*/ 126 h 138"/>
                <a:gd name="T20" fmla="*/ 46 w 124"/>
                <a:gd name="T21" fmla="*/ 129 h 138"/>
                <a:gd name="T22" fmla="*/ 50 w 124"/>
                <a:gd name="T23" fmla="*/ 129 h 138"/>
                <a:gd name="T24" fmla="*/ 52 w 124"/>
                <a:gd name="T25" fmla="*/ 130 h 138"/>
                <a:gd name="T26" fmla="*/ 53 w 124"/>
                <a:gd name="T27" fmla="*/ 133 h 138"/>
                <a:gd name="T28" fmla="*/ 54 w 124"/>
                <a:gd name="T29" fmla="*/ 136 h 138"/>
                <a:gd name="T30" fmla="*/ 56 w 124"/>
                <a:gd name="T31" fmla="*/ 138 h 138"/>
                <a:gd name="T32" fmla="*/ 59 w 124"/>
                <a:gd name="T33" fmla="*/ 138 h 138"/>
                <a:gd name="T34" fmla="*/ 63 w 124"/>
                <a:gd name="T35" fmla="*/ 138 h 138"/>
                <a:gd name="T36" fmla="*/ 66 w 124"/>
                <a:gd name="T37" fmla="*/ 136 h 138"/>
                <a:gd name="T38" fmla="*/ 70 w 124"/>
                <a:gd name="T39" fmla="*/ 133 h 138"/>
                <a:gd name="T40" fmla="*/ 71 w 124"/>
                <a:gd name="T41" fmla="*/ 130 h 138"/>
                <a:gd name="T42" fmla="*/ 70 w 124"/>
                <a:gd name="T43" fmla="*/ 124 h 138"/>
                <a:gd name="T44" fmla="*/ 71 w 124"/>
                <a:gd name="T45" fmla="*/ 121 h 138"/>
                <a:gd name="T46" fmla="*/ 75 w 124"/>
                <a:gd name="T47" fmla="*/ 117 h 138"/>
                <a:gd name="T48" fmla="*/ 80 w 124"/>
                <a:gd name="T49" fmla="*/ 112 h 138"/>
                <a:gd name="T50" fmla="*/ 82 w 124"/>
                <a:gd name="T51" fmla="*/ 111 h 138"/>
                <a:gd name="T52" fmla="*/ 85 w 124"/>
                <a:gd name="T53" fmla="*/ 112 h 138"/>
                <a:gd name="T54" fmla="*/ 88 w 124"/>
                <a:gd name="T55" fmla="*/ 117 h 138"/>
                <a:gd name="T56" fmla="*/ 91 w 124"/>
                <a:gd name="T57" fmla="*/ 120 h 138"/>
                <a:gd name="T58" fmla="*/ 96 w 124"/>
                <a:gd name="T59" fmla="*/ 122 h 138"/>
                <a:gd name="T60" fmla="*/ 99 w 124"/>
                <a:gd name="T61" fmla="*/ 122 h 138"/>
                <a:gd name="T62" fmla="*/ 105 w 124"/>
                <a:gd name="T63" fmla="*/ 120 h 138"/>
                <a:gd name="T64" fmla="*/ 110 w 124"/>
                <a:gd name="T65" fmla="*/ 121 h 138"/>
                <a:gd name="T66" fmla="*/ 113 w 124"/>
                <a:gd name="T67" fmla="*/ 121 h 138"/>
                <a:gd name="T68" fmla="*/ 119 w 124"/>
                <a:gd name="T69" fmla="*/ 120 h 138"/>
                <a:gd name="T70" fmla="*/ 122 w 124"/>
                <a:gd name="T71" fmla="*/ 118 h 138"/>
                <a:gd name="T72" fmla="*/ 124 w 124"/>
                <a:gd name="T73" fmla="*/ 117 h 138"/>
                <a:gd name="T74" fmla="*/ 123 w 124"/>
                <a:gd name="T75" fmla="*/ 113 h 138"/>
                <a:gd name="T76" fmla="*/ 120 w 124"/>
                <a:gd name="T77" fmla="*/ 109 h 138"/>
                <a:gd name="T78" fmla="*/ 114 w 124"/>
                <a:gd name="T79" fmla="*/ 99 h 138"/>
                <a:gd name="T80" fmla="*/ 111 w 124"/>
                <a:gd name="T81" fmla="*/ 92 h 138"/>
                <a:gd name="T82" fmla="*/ 111 w 124"/>
                <a:gd name="T83" fmla="*/ 88 h 138"/>
                <a:gd name="T84" fmla="*/ 113 w 124"/>
                <a:gd name="T85" fmla="*/ 79 h 138"/>
                <a:gd name="T86" fmla="*/ 113 w 124"/>
                <a:gd name="T87" fmla="*/ 76 h 138"/>
                <a:gd name="T88" fmla="*/ 111 w 124"/>
                <a:gd name="T89" fmla="*/ 72 h 138"/>
                <a:gd name="T90" fmla="*/ 109 w 124"/>
                <a:gd name="T91" fmla="*/ 65 h 138"/>
                <a:gd name="T92" fmla="*/ 109 w 124"/>
                <a:gd name="T93" fmla="*/ 59 h 138"/>
                <a:gd name="T94" fmla="*/ 107 w 124"/>
                <a:gd name="T95" fmla="*/ 51 h 138"/>
                <a:gd name="T96" fmla="*/ 105 w 124"/>
                <a:gd name="T97" fmla="*/ 43 h 138"/>
                <a:gd name="T98" fmla="*/ 105 w 124"/>
                <a:gd name="T99" fmla="*/ 29 h 138"/>
                <a:gd name="T100" fmla="*/ 106 w 124"/>
                <a:gd name="T101" fmla="*/ 20 h 138"/>
                <a:gd name="T102" fmla="*/ 104 w 124"/>
                <a:gd name="T103" fmla="*/ 16 h 138"/>
                <a:gd name="T104" fmla="*/ 99 w 124"/>
                <a:gd name="T105" fmla="*/ 8 h 138"/>
                <a:gd name="T106" fmla="*/ 97 w 124"/>
                <a:gd name="T107" fmla="*/ 3 h 138"/>
                <a:gd name="T108" fmla="*/ 98 w 124"/>
                <a:gd name="T10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4" h="138">
                  <a:moveTo>
                    <a:pt x="0" y="130"/>
                  </a:moveTo>
                  <a:lnTo>
                    <a:pt x="1" y="130"/>
                  </a:lnTo>
                  <a:lnTo>
                    <a:pt x="3" y="131"/>
                  </a:lnTo>
                  <a:lnTo>
                    <a:pt x="3" y="131"/>
                  </a:lnTo>
                  <a:lnTo>
                    <a:pt x="4" y="131"/>
                  </a:lnTo>
                  <a:lnTo>
                    <a:pt x="5" y="131"/>
                  </a:lnTo>
                  <a:lnTo>
                    <a:pt x="6" y="131"/>
                  </a:lnTo>
                  <a:lnTo>
                    <a:pt x="7" y="131"/>
                  </a:lnTo>
                  <a:lnTo>
                    <a:pt x="7" y="131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9" y="130"/>
                  </a:lnTo>
                  <a:lnTo>
                    <a:pt x="10" y="129"/>
                  </a:lnTo>
                  <a:lnTo>
                    <a:pt x="11" y="128"/>
                  </a:lnTo>
                  <a:lnTo>
                    <a:pt x="13" y="125"/>
                  </a:lnTo>
                  <a:lnTo>
                    <a:pt x="15" y="123"/>
                  </a:lnTo>
                  <a:lnTo>
                    <a:pt x="16" y="122"/>
                  </a:lnTo>
                  <a:lnTo>
                    <a:pt x="17" y="122"/>
                  </a:lnTo>
                  <a:lnTo>
                    <a:pt x="17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9" y="120"/>
                  </a:lnTo>
                  <a:lnTo>
                    <a:pt x="19" y="120"/>
                  </a:lnTo>
                  <a:lnTo>
                    <a:pt x="20" y="120"/>
                  </a:lnTo>
                  <a:lnTo>
                    <a:pt x="21" y="120"/>
                  </a:lnTo>
                  <a:lnTo>
                    <a:pt x="22" y="120"/>
                  </a:lnTo>
                  <a:lnTo>
                    <a:pt x="23" y="120"/>
                  </a:lnTo>
                  <a:lnTo>
                    <a:pt x="24" y="120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27" y="122"/>
                  </a:lnTo>
                  <a:lnTo>
                    <a:pt x="29" y="123"/>
                  </a:lnTo>
                  <a:lnTo>
                    <a:pt x="31" y="123"/>
                  </a:lnTo>
                  <a:lnTo>
                    <a:pt x="32" y="124"/>
                  </a:lnTo>
                  <a:lnTo>
                    <a:pt x="34" y="124"/>
                  </a:lnTo>
                  <a:lnTo>
                    <a:pt x="35" y="124"/>
                  </a:lnTo>
                  <a:lnTo>
                    <a:pt x="36" y="125"/>
                  </a:lnTo>
                  <a:lnTo>
                    <a:pt x="37" y="125"/>
                  </a:lnTo>
                  <a:lnTo>
                    <a:pt x="38" y="125"/>
                  </a:lnTo>
                  <a:lnTo>
                    <a:pt x="39" y="126"/>
                  </a:lnTo>
                  <a:lnTo>
                    <a:pt x="41" y="127"/>
                  </a:lnTo>
                  <a:lnTo>
                    <a:pt x="42" y="128"/>
                  </a:lnTo>
                  <a:lnTo>
                    <a:pt x="44" y="129"/>
                  </a:lnTo>
                  <a:lnTo>
                    <a:pt x="46" y="129"/>
                  </a:lnTo>
                  <a:lnTo>
                    <a:pt x="47" y="130"/>
                  </a:lnTo>
                  <a:lnTo>
                    <a:pt x="47" y="130"/>
                  </a:lnTo>
                  <a:lnTo>
                    <a:pt x="48" y="130"/>
                  </a:lnTo>
                  <a:lnTo>
                    <a:pt x="50" y="129"/>
                  </a:lnTo>
                  <a:lnTo>
                    <a:pt x="51" y="129"/>
                  </a:lnTo>
                  <a:lnTo>
                    <a:pt x="51" y="130"/>
                  </a:lnTo>
                  <a:lnTo>
                    <a:pt x="51" y="130"/>
                  </a:lnTo>
                  <a:lnTo>
                    <a:pt x="52" y="130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3" y="132"/>
                  </a:lnTo>
                  <a:lnTo>
                    <a:pt x="53" y="133"/>
                  </a:lnTo>
                  <a:lnTo>
                    <a:pt x="53" y="134"/>
                  </a:lnTo>
                  <a:lnTo>
                    <a:pt x="54" y="135"/>
                  </a:lnTo>
                  <a:lnTo>
                    <a:pt x="54" y="135"/>
                  </a:lnTo>
                  <a:lnTo>
                    <a:pt x="54" y="136"/>
                  </a:lnTo>
                  <a:lnTo>
                    <a:pt x="55" y="137"/>
                  </a:lnTo>
                  <a:lnTo>
                    <a:pt x="56" y="137"/>
                  </a:lnTo>
                  <a:lnTo>
                    <a:pt x="56" y="137"/>
                  </a:lnTo>
                  <a:lnTo>
                    <a:pt x="56" y="138"/>
                  </a:lnTo>
                  <a:lnTo>
                    <a:pt x="57" y="138"/>
                  </a:lnTo>
                  <a:lnTo>
                    <a:pt x="58" y="138"/>
                  </a:lnTo>
                  <a:lnTo>
                    <a:pt x="58" y="138"/>
                  </a:lnTo>
                  <a:lnTo>
                    <a:pt x="59" y="138"/>
                  </a:lnTo>
                  <a:lnTo>
                    <a:pt x="60" y="138"/>
                  </a:lnTo>
                  <a:lnTo>
                    <a:pt x="61" y="138"/>
                  </a:lnTo>
                  <a:lnTo>
                    <a:pt x="62" y="138"/>
                  </a:lnTo>
                  <a:lnTo>
                    <a:pt x="63" y="138"/>
                  </a:lnTo>
                  <a:lnTo>
                    <a:pt x="64" y="137"/>
                  </a:lnTo>
                  <a:lnTo>
                    <a:pt x="65" y="137"/>
                  </a:lnTo>
                  <a:lnTo>
                    <a:pt x="66" y="136"/>
                  </a:lnTo>
                  <a:lnTo>
                    <a:pt x="66" y="136"/>
                  </a:lnTo>
                  <a:lnTo>
                    <a:pt x="69" y="135"/>
                  </a:lnTo>
                  <a:lnTo>
                    <a:pt x="69" y="134"/>
                  </a:lnTo>
                  <a:lnTo>
                    <a:pt x="69" y="134"/>
                  </a:lnTo>
                  <a:lnTo>
                    <a:pt x="70" y="133"/>
                  </a:lnTo>
                  <a:lnTo>
                    <a:pt x="70" y="132"/>
                  </a:lnTo>
                  <a:lnTo>
                    <a:pt x="71" y="131"/>
                  </a:lnTo>
                  <a:lnTo>
                    <a:pt x="71" y="130"/>
                  </a:lnTo>
                  <a:lnTo>
                    <a:pt x="71" y="130"/>
                  </a:lnTo>
                  <a:lnTo>
                    <a:pt x="71" y="129"/>
                  </a:lnTo>
                  <a:lnTo>
                    <a:pt x="70" y="126"/>
                  </a:lnTo>
                  <a:lnTo>
                    <a:pt x="70" y="125"/>
                  </a:lnTo>
                  <a:lnTo>
                    <a:pt x="70" y="124"/>
                  </a:lnTo>
                  <a:lnTo>
                    <a:pt x="70" y="123"/>
                  </a:lnTo>
                  <a:lnTo>
                    <a:pt x="70" y="122"/>
                  </a:lnTo>
                  <a:lnTo>
                    <a:pt x="70" y="122"/>
                  </a:lnTo>
                  <a:lnTo>
                    <a:pt x="71" y="121"/>
                  </a:lnTo>
                  <a:lnTo>
                    <a:pt x="71" y="120"/>
                  </a:lnTo>
                  <a:lnTo>
                    <a:pt x="72" y="119"/>
                  </a:lnTo>
                  <a:lnTo>
                    <a:pt x="73" y="119"/>
                  </a:lnTo>
                  <a:lnTo>
                    <a:pt x="75" y="117"/>
                  </a:lnTo>
                  <a:lnTo>
                    <a:pt x="77" y="115"/>
                  </a:lnTo>
                  <a:lnTo>
                    <a:pt x="79" y="113"/>
                  </a:lnTo>
                  <a:lnTo>
                    <a:pt x="80" y="113"/>
                  </a:lnTo>
                  <a:lnTo>
                    <a:pt x="80" y="112"/>
                  </a:lnTo>
                  <a:lnTo>
                    <a:pt x="81" y="111"/>
                  </a:lnTo>
                  <a:lnTo>
                    <a:pt x="81" y="111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3" y="111"/>
                  </a:lnTo>
                  <a:lnTo>
                    <a:pt x="84" y="111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5" y="113"/>
                  </a:lnTo>
                  <a:lnTo>
                    <a:pt x="87" y="115"/>
                  </a:lnTo>
                  <a:lnTo>
                    <a:pt x="88" y="117"/>
                  </a:lnTo>
                  <a:lnTo>
                    <a:pt x="89" y="118"/>
                  </a:lnTo>
                  <a:lnTo>
                    <a:pt x="90" y="118"/>
                  </a:lnTo>
                  <a:lnTo>
                    <a:pt x="91" y="119"/>
                  </a:lnTo>
                  <a:lnTo>
                    <a:pt x="91" y="120"/>
                  </a:lnTo>
                  <a:lnTo>
                    <a:pt x="93" y="120"/>
                  </a:lnTo>
                  <a:lnTo>
                    <a:pt x="94" y="121"/>
                  </a:lnTo>
                  <a:lnTo>
                    <a:pt x="95" y="121"/>
                  </a:lnTo>
                  <a:lnTo>
                    <a:pt x="96" y="122"/>
                  </a:lnTo>
                  <a:lnTo>
                    <a:pt x="97" y="122"/>
                  </a:lnTo>
                  <a:lnTo>
                    <a:pt x="98" y="122"/>
                  </a:lnTo>
                  <a:lnTo>
                    <a:pt x="98" y="122"/>
                  </a:lnTo>
                  <a:lnTo>
                    <a:pt x="99" y="122"/>
                  </a:lnTo>
                  <a:lnTo>
                    <a:pt x="100" y="121"/>
                  </a:lnTo>
                  <a:lnTo>
                    <a:pt x="103" y="121"/>
                  </a:lnTo>
                  <a:lnTo>
                    <a:pt x="104" y="120"/>
                  </a:lnTo>
                  <a:lnTo>
                    <a:pt x="105" y="120"/>
                  </a:lnTo>
                  <a:lnTo>
                    <a:pt x="106" y="120"/>
                  </a:lnTo>
                  <a:lnTo>
                    <a:pt x="107" y="120"/>
                  </a:lnTo>
                  <a:lnTo>
                    <a:pt x="109" y="120"/>
                  </a:lnTo>
                  <a:lnTo>
                    <a:pt x="110" y="121"/>
                  </a:lnTo>
                  <a:lnTo>
                    <a:pt x="112" y="121"/>
                  </a:lnTo>
                  <a:lnTo>
                    <a:pt x="112" y="121"/>
                  </a:lnTo>
                  <a:lnTo>
                    <a:pt x="113" y="121"/>
                  </a:lnTo>
                  <a:lnTo>
                    <a:pt x="113" y="121"/>
                  </a:lnTo>
                  <a:lnTo>
                    <a:pt x="115" y="121"/>
                  </a:lnTo>
                  <a:lnTo>
                    <a:pt x="116" y="121"/>
                  </a:lnTo>
                  <a:lnTo>
                    <a:pt x="117" y="121"/>
                  </a:lnTo>
                  <a:lnTo>
                    <a:pt x="119" y="120"/>
                  </a:lnTo>
                  <a:lnTo>
                    <a:pt x="120" y="120"/>
                  </a:lnTo>
                  <a:lnTo>
                    <a:pt x="121" y="119"/>
                  </a:lnTo>
                  <a:lnTo>
                    <a:pt x="122" y="119"/>
                  </a:lnTo>
                  <a:lnTo>
                    <a:pt x="122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3" y="117"/>
                  </a:lnTo>
                  <a:lnTo>
                    <a:pt x="124" y="117"/>
                  </a:lnTo>
                  <a:lnTo>
                    <a:pt x="124" y="116"/>
                  </a:lnTo>
                  <a:lnTo>
                    <a:pt x="124" y="115"/>
                  </a:lnTo>
                  <a:lnTo>
                    <a:pt x="123" y="114"/>
                  </a:lnTo>
                  <a:lnTo>
                    <a:pt x="123" y="113"/>
                  </a:lnTo>
                  <a:lnTo>
                    <a:pt x="123" y="113"/>
                  </a:lnTo>
                  <a:lnTo>
                    <a:pt x="122" y="112"/>
                  </a:lnTo>
                  <a:lnTo>
                    <a:pt x="122" y="111"/>
                  </a:lnTo>
                  <a:lnTo>
                    <a:pt x="120" y="109"/>
                  </a:lnTo>
                  <a:lnTo>
                    <a:pt x="118" y="105"/>
                  </a:lnTo>
                  <a:lnTo>
                    <a:pt x="116" y="103"/>
                  </a:lnTo>
                  <a:lnTo>
                    <a:pt x="116" y="103"/>
                  </a:lnTo>
                  <a:lnTo>
                    <a:pt x="114" y="99"/>
                  </a:lnTo>
                  <a:lnTo>
                    <a:pt x="113" y="96"/>
                  </a:lnTo>
                  <a:lnTo>
                    <a:pt x="111" y="93"/>
                  </a:lnTo>
                  <a:lnTo>
                    <a:pt x="111" y="93"/>
                  </a:lnTo>
                  <a:lnTo>
                    <a:pt x="111" y="92"/>
                  </a:lnTo>
                  <a:lnTo>
                    <a:pt x="111" y="91"/>
                  </a:lnTo>
                  <a:lnTo>
                    <a:pt x="110" y="90"/>
                  </a:lnTo>
                  <a:lnTo>
                    <a:pt x="111" y="89"/>
                  </a:lnTo>
                  <a:lnTo>
                    <a:pt x="111" y="88"/>
                  </a:lnTo>
                  <a:lnTo>
                    <a:pt x="111" y="86"/>
                  </a:lnTo>
                  <a:lnTo>
                    <a:pt x="112" y="84"/>
                  </a:lnTo>
                  <a:lnTo>
                    <a:pt x="113" y="80"/>
                  </a:lnTo>
                  <a:lnTo>
                    <a:pt x="113" y="79"/>
                  </a:lnTo>
                  <a:lnTo>
                    <a:pt x="114" y="78"/>
                  </a:lnTo>
                  <a:lnTo>
                    <a:pt x="114" y="78"/>
                  </a:lnTo>
                  <a:lnTo>
                    <a:pt x="114" y="77"/>
                  </a:lnTo>
                  <a:lnTo>
                    <a:pt x="113" y="76"/>
                  </a:lnTo>
                  <a:lnTo>
                    <a:pt x="113" y="76"/>
                  </a:lnTo>
                  <a:lnTo>
                    <a:pt x="113" y="75"/>
                  </a:lnTo>
                  <a:lnTo>
                    <a:pt x="113" y="74"/>
                  </a:lnTo>
                  <a:lnTo>
                    <a:pt x="111" y="72"/>
                  </a:lnTo>
                  <a:lnTo>
                    <a:pt x="109" y="67"/>
                  </a:lnTo>
                  <a:lnTo>
                    <a:pt x="109" y="67"/>
                  </a:lnTo>
                  <a:lnTo>
                    <a:pt x="109" y="66"/>
                  </a:lnTo>
                  <a:lnTo>
                    <a:pt x="109" y="65"/>
                  </a:lnTo>
                  <a:lnTo>
                    <a:pt x="109" y="64"/>
                  </a:lnTo>
                  <a:lnTo>
                    <a:pt x="109" y="63"/>
                  </a:lnTo>
                  <a:lnTo>
                    <a:pt x="109" y="60"/>
                  </a:lnTo>
                  <a:lnTo>
                    <a:pt x="109" y="59"/>
                  </a:lnTo>
                  <a:lnTo>
                    <a:pt x="109" y="59"/>
                  </a:lnTo>
                  <a:lnTo>
                    <a:pt x="108" y="57"/>
                  </a:lnTo>
                  <a:lnTo>
                    <a:pt x="107" y="54"/>
                  </a:lnTo>
                  <a:lnTo>
                    <a:pt x="107" y="51"/>
                  </a:lnTo>
                  <a:lnTo>
                    <a:pt x="106" y="48"/>
                  </a:lnTo>
                  <a:lnTo>
                    <a:pt x="106" y="46"/>
                  </a:lnTo>
                  <a:lnTo>
                    <a:pt x="106" y="45"/>
                  </a:lnTo>
                  <a:lnTo>
                    <a:pt x="105" y="43"/>
                  </a:lnTo>
                  <a:lnTo>
                    <a:pt x="105" y="36"/>
                  </a:lnTo>
                  <a:lnTo>
                    <a:pt x="105" y="31"/>
                  </a:lnTo>
                  <a:lnTo>
                    <a:pt x="105" y="30"/>
                  </a:lnTo>
                  <a:lnTo>
                    <a:pt x="105" y="29"/>
                  </a:lnTo>
                  <a:lnTo>
                    <a:pt x="106" y="25"/>
                  </a:lnTo>
                  <a:lnTo>
                    <a:pt x="106" y="23"/>
                  </a:lnTo>
                  <a:lnTo>
                    <a:pt x="106" y="22"/>
                  </a:lnTo>
                  <a:lnTo>
                    <a:pt x="106" y="20"/>
                  </a:lnTo>
                  <a:lnTo>
                    <a:pt x="105" y="20"/>
                  </a:lnTo>
                  <a:lnTo>
                    <a:pt x="105" y="19"/>
                  </a:lnTo>
                  <a:lnTo>
                    <a:pt x="105" y="18"/>
                  </a:lnTo>
                  <a:lnTo>
                    <a:pt x="104" y="16"/>
                  </a:lnTo>
                  <a:lnTo>
                    <a:pt x="103" y="15"/>
                  </a:lnTo>
                  <a:lnTo>
                    <a:pt x="101" y="11"/>
                  </a:lnTo>
                  <a:lnTo>
                    <a:pt x="100" y="10"/>
                  </a:lnTo>
                  <a:lnTo>
                    <a:pt x="99" y="8"/>
                  </a:lnTo>
                  <a:lnTo>
                    <a:pt x="98" y="6"/>
                  </a:lnTo>
                  <a:lnTo>
                    <a:pt x="97" y="5"/>
                  </a:lnTo>
                  <a:lnTo>
                    <a:pt x="97" y="4"/>
                  </a:lnTo>
                  <a:lnTo>
                    <a:pt x="97" y="3"/>
                  </a:lnTo>
                  <a:lnTo>
                    <a:pt x="96" y="2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100" y="1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Freeform 25">
              <a:extLst>
                <a:ext uri="{FF2B5EF4-FFF2-40B4-BE49-F238E27FC236}">
                  <a16:creationId xmlns:a16="http://schemas.microsoft.com/office/drawing/2014/main" id="{50CFA49A-6FE1-D408-791D-6E98F4FD5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" y="3255"/>
              <a:ext cx="442" cy="291"/>
            </a:xfrm>
            <a:custGeom>
              <a:avLst/>
              <a:gdLst>
                <a:gd name="T0" fmla="*/ 131 w 442"/>
                <a:gd name="T1" fmla="*/ 34 h 291"/>
                <a:gd name="T2" fmla="*/ 150 w 442"/>
                <a:gd name="T3" fmla="*/ 29 h 291"/>
                <a:gd name="T4" fmla="*/ 179 w 442"/>
                <a:gd name="T5" fmla="*/ 25 h 291"/>
                <a:gd name="T6" fmla="*/ 192 w 442"/>
                <a:gd name="T7" fmla="*/ 43 h 291"/>
                <a:gd name="T8" fmla="*/ 213 w 442"/>
                <a:gd name="T9" fmla="*/ 58 h 291"/>
                <a:gd name="T10" fmla="*/ 242 w 442"/>
                <a:gd name="T11" fmla="*/ 75 h 291"/>
                <a:gd name="T12" fmla="*/ 261 w 442"/>
                <a:gd name="T13" fmla="*/ 74 h 291"/>
                <a:gd name="T14" fmla="*/ 282 w 442"/>
                <a:gd name="T15" fmla="*/ 75 h 291"/>
                <a:gd name="T16" fmla="*/ 287 w 442"/>
                <a:gd name="T17" fmla="*/ 63 h 291"/>
                <a:gd name="T18" fmla="*/ 298 w 442"/>
                <a:gd name="T19" fmla="*/ 47 h 291"/>
                <a:gd name="T20" fmla="*/ 325 w 442"/>
                <a:gd name="T21" fmla="*/ 31 h 291"/>
                <a:gd name="T22" fmla="*/ 336 w 442"/>
                <a:gd name="T23" fmla="*/ 20 h 291"/>
                <a:gd name="T24" fmla="*/ 359 w 442"/>
                <a:gd name="T25" fmla="*/ 29 h 291"/>
                <a:gd name="T26" fmla="*/ 389 w 442"/>
                <a:gd name="T27" fmla="*/ 47 h 291"/>
                <a:gd name="T28" fmla="*/ 408 w 442"/>
                <a:gd name="T29" fmla="*/ 34 h 291"/>
                <a:gd name="T30" fmla="*/ 427 w 442"/>
                <a:gd name="T31" fmla="*/ 6 h 291"/>
                <a:gd name="T32" fmla="*/ 441 w 442"/>
                <a:gd name="T33" fmla="*/ 1 h 291"/>
                <a:gd name="T34" fmla="*/ 430 w 442"/>
                <a:gd name="T35" fmla="*/ 40 h 291"/>
                <a:gd name="T36" fmla="*/ 426 w 442"/>
                <a:gd name="T37" fmla="*/ 62 h 291"/>
                <a:gd name="T38" fmla="*/ 416 w 442"/>
                <a:gd name="T39" fmla="*/ 87 h 291"/>
                <a:gd name="T40" fmla="*/ 402 w 442"/>
                <a:gd name="T41" fmla="*/ 96 h 291"/>
                <a:gd name="T42" fmla="*/ 412 w 442"/>
                <a:gd name="T43" fmla="*/ 133 h 291"/>
                <a:gd name="T44" fmla="*/ 409 w 442"/>
                <a:gd name="T45" fmla="*/ 161 h 291"/>
                <a:gd name="T46" fmla="*/ 416 w 442"/>
                <a:gd name="T47" fmla="*/ 185 h 291"/>
                <a:gd name="T48" fmla="*/ 429 w 442"/>
                <a:gd name="T49" fmla="*/ 210 h 291"/>
                <a:gd name="T50" fmla="*/ 436 w 442"/>
                <a:gd name="T51" fmla="*/ 220 h 291"/>
                <a:gd name="T52" fmla="*/ 440 w 442"/>
                <a:gd name="T53" fmla="*/ 241 h 291"/>
                <a:gd name="T54" fmla="*/ 433 w 442"/>
                <a:gd name="T55" fmla="*/ 265 h 291"/>
                <a:gd name="T56" fmla="*/ 423 w 442"/>
                <a:gd name="T57" fmla="*/ 278 h 291"/>
                <a:gd name="T58" fmla="*/ 390 w 442"/>
                <a:gd name="T59" fmla="*/ 267 h 291"/>
                <a:gd name="T60" fmla="*/ 363 w 442"/>
                <a:gd name="T61" fmla="*/ 268 h 291"/>
                <a:gd name="T62" fmla="*/ 351 w 442"/>
                <a:gd name="T63" fmla="*/ 283 h 291"/>
                <a:gd name="T64" fmla="*/ 325 w 442"/>
                <a:gd name="T65" fmla="*/ 284 h 291"/>
                <a:gd name="T66" fmla="*/ 311 w 442"/>
                <a:gd name="T67" fmla="*/ 290 h 291"/>
                <a:gd name="T68" fmla="*/ 290 w 442"/>
                <a:gd name="T69" fmla="*/ 275 h 291"/>
                <a:gd name="T70" fmla="*/ 261 w 442"/>
                <a:gd name="T71" fmla="*/ 255 h 291"/>
                <a:gd name="T72" fmla="*/ 224 w 442"/>
                <a:gd name="T73" fmla="*/ 242 h 291"/>
                <a:gd name="T74" fmla="*/ 207 w 442"/>
                <a:gd name="T75" fmla="*/ 230 h 291"/>
                <a:gd name="T76" fmla="*/ 188 w 442"/>
                <a:gd name="T77" fmla="*/ 221 h 291"/>
                <a:gd name="T78" fmla="*/ 173 w 442"/>
                <a:gd name="T79" fmla="*/ 241 h 291"/>
                <a:gd name="T80" fmla="*/ 148 w 442"/>
                <a:gd name="T81" fmla="*/ 233 h 291"/>
                <a:gd name="T82" fmla="*/ 143 w 442"/>
                <a:gd name="T83" fmla="*/ 218 h 291"/>
                <a:gd name="T84" fmla="*/ 123 w 442"/>
                <a:gd name="T85" fmla="*/ 209 h 291"/>
                <a:gd name="T86" fmla="*/ 109 w 442"/>
                <a:gd name="T87" fmla="*/ 199 h 291"/>
                <a:gd name="T88" fmla="*/ 89 w 442"/>
                <a:gd name="T89" fmla="*/ 186 h 291"/>
                <a:gd name="T90" fmla="*/ 68 w 442"/>
                <a:gd name="T91" fmla="*/ 186 h 291"/>
                <a:gd name="T92" fmla="*/ 38 w 442"/>
                <a:gd name="T93" fmla="*/ 157 h 291"/>
                <a:gd name="T94" fmla="*/ 46 w 442"/>
                <a:gd name="T95" fmla="*/ 131 h 291"/>
                <a:gd name="T96" fmla="*/ 41 w 442"/>
                <a:gd name="T97" fmla="*/ 114 h 291"/>
                <a:gd name="T98" fmla="*/ 28 w 442"/>
                <a:gd name="T99" fmla="*/ 99 h 291"/>
                <a:gd name="T100" fmla="*/ 15 w 442"/>
                <a:gd name="T101" fmla="*/ 93 h 291"/>
                <a:gd name="T102" fmla="*/ 0 w 442"/>
                <a:gd name="T103" fmla="*/ 82 h 291"/>
                <a:gd name="T104" fmla="*/ 4 w 442"/>
                <a:gd name="T105" fmla="*/ 74 h 291"/>
                <a:gd name="T106" fmla="*/ 11 w 442"/>
                <a:gd name="T107" fmla="*/ 61 h 291"/>
                <a:gd name="T108" fmla="*/ 11 w 442"/>
                <a:gd name="T109" fmla="*/ 52 h 291"/>
                <a:gd name="T110" fmla="*/ 22 w 442"/>
                <a:gd name="T111" fmla="*/ 51 h 291"/>
                <a:gd name="T112" fmla="*/ 40 w 442"/>
                <a:gd name="T113" fmla="*/ 45 h 291"/>
                <a:gd name="T114" fmla="*/ 57 w 442"/>
                <a:gd name="T115" fmla="*/ 32 h 291"/>
                <a:gd name="T116" fmla="*/ 73 w 442"/>
                <a:gd name="T117" fmla="*/ 36 h 291"/>
                <a:gd name="T118" fmla="*/ 94 w 442"/>
                <a:gd name="T119" fmla="*/ 38 h 291"/>
                <a:gd name="T120" fmla="*/ 111 w 442"/>
                <a:gd name="T121" fmla="*/ 24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2" h="291">
                  <a:moveTo>
                    <a:pt x="121" y="18"/>
                  </a:moveTo>
                  <a:lnTo>
                    <a:pt x="121" y="18"/>
                  </a:lnTo>
                  <a:lnTo>
                    <a:pt x="122" y="19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5" y="22"/>
                  </a:lnTo>
                  <a:lnTo>
                    <a:pt x="126" y="24"/>
                  </a:lnTo>
                  <a:lnTo>
                    <a:pt x="126" y="25"/>
                  </a:lnTo>
                  <a:lnTo>
                    <a:pt x="127" y="27"/>
                  </a:lnTo>
                  <a:lnTo>
                    <a:pt x="128" y="30"/>
                  </a:lnTo>
                  <a:lnTo>
                    <a:pt x="128" y="31"/>
                  </a:lnTo>
                  <a:lnTo>
                    <a:pt x="129" y="32"/>
                  </a:lnTo>
                  <a:lnTo>
                    <a:pt x="129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8" y="35"/>
                  </a:lnTo>
                  <a:lnTo>
                    <a:pt x="139" y="35"/>
                  </a:lnTo>
                  <a:lnTo>
                    <a:pt x="140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5" y="31"/>
                  </a:lnTo>
                  <a:lnTo>
                    <a:pt x="148" y="30"/>
                  </a:lnTo>
                  <a:lnTo>
                    <a:pt x="149" y="29"/>
                  </a:lnTo>
                  <a:lnTo>
                    <a:pt x="150" y="29"/>
                  </a:lnTo>
                  <a:lnTo>
                    <a:pt x="150" y="28"/>
                  </a:lnTo>
                  <a:lnTo>
                    <a:pt x="151" y="28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4"/>
                  </a:lnTo>
                  <a:lnTo>
                    <a:pt x="156" y="23"/>
                  </a:lnTo>
                  <a:lnTo>
                    <a:pt x="158" y="23"/>
                  </a:lnTo>
                  <a:lnTo>
                    <a:pt x="160" y="22"/>
                  </a:lnTo>
                  <a:lnTo>
                    <a:pt x="161" y="21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70" y="23"/>
                  </a:lnTo>
                  <a:lnTo>
                    <a:pt x="174" y="24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0" y="26"/>
                  </a:lnTo>
                  <a:lnTo>
                    <a:pt x="181" y="26"/>
                  </a:lnTo>
                  <a:lnTo>
                    <a:pt x="182" y="27"/>
                  </a:lnTo>
                  <a:lnTo>
                    <a:pt x="183" y="27"/>
                  </a:lnTo>
                  <a:lnTo>
                    <a:pt x="183" y="28"/>
                  </a:lnTo>
                  <a:lnTo>
                    <a:pt x="185" y="31"/>
                  </a:lnTo>
                  <a:lnTo>
                    <a:pt x="186" y="31"/>
                  </a:lnTo>
                  <a:lnTo>
                    <a:pt x="186" y="32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88" y="35"/>
                  </a:lnTo>
                  <a:lnTo>
                    <a:pt x="189" y="39"/>
                  </a:lnTo>
                  <a:lnTo>
                    <a:pt x="190" y="40"/>
                  </a:lnTo>
                  <a:lnTo>
                    <a:pt x="190" y="41"/>
                  </a:lnTo>
                  <a:lnTo>
                    <a:pt x="191" y="42"/>
                  </a:lnTo>
                  <a:lnTo>
                    <a:pt x="191" y="43"/>
                  </a:lnTo>
                  <a:lnTo>
                    <a:pt x="192" y="43"/>
                  </a:lnTo>
                  <a:lnTo>
                    <a:pt x="192" y="44"/>
                  </a:lnTo>
                  <a:lnTo>
                    <a:pt x="193" y="44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6"/>
                  </a:lnTo>
                  <a:lnTo>
                    <a:pt x="200" y="46"/>
                  </a:lnTo>
                  <a:lnTo>
                    <a:pt x="201" y="47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4" y="49"/>
                  </a:lnTo>
                  <a:lnTo>
                    <a:pt x="206" y="50"/>
                  </a:lnTo>
                  <a:lnTo>
                    <a:pt x="208" y="53"/>
                  </a:lnTo>
                  <a:lnTo>
                    <a:pt x="209" y="54"/>
                  </a:lnTo>
                  <a:lnTo>
                    <a:pt x="210" y="55"/>
                  </a:lnTo>
                  <a:lnTo>
                    <a:pt x="211" y="56"/>
                  </a:lnTo>
                  <a:lnTo>
                    <a:pt x="212" y="57"/>
                  </a:lnTo>
                  <a:lnTo>
                    <a:pt x="213" y="58"/>
                  </a:lnTo>
                  <a:lnTo>
                    <a:pt x="215" y="58"/>
                  </a:lnTo>
                  <a:lnTo>
                    <a:pt x="218" y="60"/>
                  </a:lnTo>
                  <a:lnTo>
                    <a:pt x="219" y="60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2"/>
                  </a:lnTo>
                  <a:lnTo>
                    <a:pt x="224" y="64"/>
                  </a:lnTo>
                  <a:lnTo>
                    <a:pt x="225" y="65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8" y="67"/>
                  </a:lnTo>
                  <a:lnTo>
                    <a:pt x="231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6" y="70"/>
                  </a:lnTo>
                  <a:lnTo>
                    <a:pt x="237" y="71"/>
                  </a:lnTo>
                  <a:lnTo>
                    <a:pt x="238" y="72"/>
                  </a:lnTo>
                  <a:lnTo>
                    <a:pt x="242" y="75"/>
                  </a:lnTo>
                  <a:lnTo>
                    <a:pt x="243" y="75"/>
                  </a:lnTo>
                  <a:lnTo>
                    <a:pt x="244" y="76"/>
                  </a:lnTo>
                  <a:lnTo>
                    <a:pt x="245" y="76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7" y="77"/>
                  </a:lnTo>
                  <a:lnTo>
                    <a:pt x="248" y="77"/>
                  </a:lnTo>
                  <a:lnTo>
                    <a:pt x="249" y="77"/>
                  </a:lnTo>
                  <a:lnTo>
                    <a:pt x="251" y="76"/>
                  </a:lnTo>
                  <a:lnTo>
                    <a:pt x="254" y="76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1" y="74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6" y="75"/>
                  </a:lnTo>
                  <a:lnTo>
                    <a:pt x="269" y="75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4" y="74"/>
                  </a:lnTo>
                  <a:lnTo>
                    <a:pt x="275" y="75"/>
                  </a:lnTo>
                  <a:lnTo>
                    <a:pt x="277" y="75"/>
                  </a:lnTo>
                  <a:lnTo>
                    <a:pt x="278" y="76"/>
                  </a:lnTo>
                  <a:lnTo>
                    <a:pt x="279" y="76"/>
                  </a:lnTo>
                  <a:lnTo>
                    <a:pt x="280" y="76"/>
                  </a:lnTo>
                  <a:lnTo>
                    <a:pt x="281" y="76"/>
                  </a:lnTo>
                  <a:lnTo>
                    <a:pt x="281" y="75"/>
                  </a:lnTo>
                  <a:lnTo>
                    <a:pt x="282" y="75"/>
                  </a:lnTo>
                  <a:lnTo>
                    <a:pt x="282" y="75"/>
                  </a:lnTo>
                  <a:lnTo>
                    <a:pt x="283" y="75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2" y="70"/>
                  </a:lnTo>
                  <a:lnTo>
                    <a:pt x="282" y="69"/>
                  </a:lnTo>
                  <a:lnTo>
                    <a:pt x="282" y="69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7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4" y="65"/>
                  </a:lnTo>
                  <a:lnTo>
                    <a:pt x="286" y="64"/>
                  </a:lnTo>
                  <a:lnTo>
                    <a:pt x="287" y="63"/>
                  </a:lnTo>
                  <a:lnTo>
                    <a:pt x="288" y="62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0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5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1" y="52"/>
                  </a:lnTo>
                  <a:lnTo>
                    <a:pt x="292" y="51"/>
                  </a:lnTo>
                  <a:lnTo>
                    <a:pt x="293" y="50"/>
                  </a:lnTo>
                  <a:lnTo>
                    <a:pt x="294" y="50"/>
                  </a:lnTo>
                  <a:lnTo>
                    <a:pt x="296" y="48"/>
                  </a:lnTo>
                  <a:lnTo>
                    <a:pt x="298" y="47"/>
                  </a:lnTo>
                  <a:lnTo>
                    <a:pt x="300" y="46"/>
                  </a:lnTo>
                  <a:lnTo>
                    <a:pt x="302" y="44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6" y="42"/>
                  </a:lnTo>
                  <a:lnTo>
                    <a:pt x="309" y="41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20" y="35"/>
                  </a:lnTo>
                  <a:lnTo>
                    <a:pt x="321" y="34"/>
                  </a:lnTo>
                  <a:lnTo>
                    <a:pt x="322" y="33"/>
                  </a:lnTo>
                  <a:lnTo>
                    <a:pt x="323" y="32"/>
                  </a:lnTo>
                  <a:lnTo>
                    <a:pt x="324" y="31"/>
                  </a:lnTo>
                  <a:lnTo>
                    <a:pt x="325" y="31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7" y="27"/>
                  </a:lnTo>
                  <a:lnTo>
                    <a:pt x="329" y="24"/>
                  </a:lnTo>
                  <a:lnTo>
                    <a:pt x="329" y="23"/>
                  </a:lnTo>
                  <a:lnTo>
                    <a:pt x="329" y="22"/>
                  </a:lnTo>
                  <a:lnTo>
                    <a:pt x="330" y="21"/>
                  </a:lnTo>
                  <a:lnTo>
                    <a:pt x="330" y="21"/>
                  </a:lnTo>
                  <a:lnTo>
                    <a:pt x="331" y="21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39" y="22"/>
                  </a:lnTo>
                  <a:lnTo>
                    <a:pt x="342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7" y="26"/>
                  </a:lnTo>
                  <a:lnTo>
                    <a:pt x="352" y="28"/>
                  </a:lnTo>
                  <a:lnTo>
                    <a:pt x="353" y="28"/>
                  </a:lnTo>
                  <a:lnTo>
                    <a:pt x="355" y="29"/>
                  </a:lnTo>
                  <a:lnTo>
                    <a:pt x="356" y="29"/>
                  </a:lnTo>
                  <a:lnTo>
                    <a:pt x="357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9" y="29"/>
                  </a:lnTo>
                  <a:lnTo>
                    <a:pt x="359" y="29"/>
                  </a:lnTo>
                  <a:lnTo>
                    <a:pt x="360" y="30"/>
                  </a:lnTo>
                  <a:lnTo>
                    <a:pt x="362" y="31"/>
                  </a:lnTo>
                  <a:lnTo>
                    <a:pt x="363" y="32"/>
                  </a:lnTo>
                  <a:lnTo>
                    <a:pt x="365" y="33"/>
                  </a:lnTo>
                  <a:lnTo>
                    <a:pt x="366" y="34"/>
                  </a:lnTo>
                  <a:lnTo>
                    <a:pt x="367" y="35"/>
                  </a:lnTo>
                  <a:lnTo>
                    <a:pt x="370" y="38"/>
                  </a:lnTo>
                  <a:lnTo>
                    <a:pt x="371" y="39"/>
                  </a:lnTo>
                  <a:lnTo>
                    <a:pt x="373" y="40"/>
                  </a:lnTo>
                  <a:lnTo>
                    <a:pt x="374" y="41"/>
                  </a:lnTo>
                  <a:lnTo>
                    <a:pt x="375" y="41"/>
                  </a:lnTo>
                  <a:lnTo>
                    <a:pt x="376" y="42"/>
                  </a:lnTo>
                  <a:lnTo>
                    <a:pt x="377" y="43"/>
                  </a:lnTo>
                  <a:lnTo>
                    <a:pt x="378" y="43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9" y="47"/>
                  </a:lnTo>
                  <a:lnTo>
                    <a:pt x="390" y="47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3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5" y="47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8" y="46"/>
                  </a:lnTo>
                  <a:lnTo>
                    <a:pt x="399" y="45"/>
                  </a:lnTo>
                  <a:lnTo>
                    <a:pt x="400" y="45"/>
                  </a:lnTo>
                  <a:lnTo>
                    <a:pt x="401" y="44"/>
                  </a:lnTo>
                  <a:lnTo>
                    <a:pt x="402" y="42"/>
                  </a:lnTo>
                  <a:lnTo>
                    <a:pt x="406" y="37"/>
                  </a:lnTo>
                  <a:lnTo>
                    <a:pt x="407" y="35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9" y="33"/>
                  </a:lnTo>
                  <a:lnTo>
                    <a:pt x="412" y="30"/>
                  </a:lnTo>
                  <a:lnTo>
                    <a:pt x="414" y="28"/>
                  </a:lnTo>
                  <a:lnTo>
                    <a:pt x="416" y="27"/>
                  </a:lnTo>
                  <a:lnTo>
                    <a:pt x="417" y="26"/>
                  </a:lnTo>
                  <a:lnTo>
                    <a:pt x="418" y="24"/>
                  </a:lnTo>
                  <a:lnTo>
                    <a:pt x="419" y="22"/>
                  </a:lnTo>
                  <a:lnTo>
                    <a:pt x="420" y="21"/>
                  </a:lnTo>
                  <a:lnTo>
                    <a:pt x="421" y="20"/>
                  </a:lnTo>
                  <a:lnTo>
                    <a:pt x="421" y="18"/>
                  </a:lnTo>
                  <a:lnTo>
                    <a:pt x="422" y="17"/>
                  </a:lnTo>
                  <a:lnTo>
                    <a:pt x="424" y="12"/>
                  </a:lnTo>
                  <a:lnTo>
                    <a:pt x="424" y="11"/>
                  </a:lnTo>
                  <a:lnTo>
                    <a:pt x="425" y="10"/>
                  </a:lnTo>
                  <a:lnTo>
                    <a:pt x="426" y="9"/>
                  </a:lnTo>
                  <a:lnTo>
                    <a:pt x="426" y="7"/>
                  </a:lnTo>
                  <a:lnTo>
                    <a:pt x="427" y="6"/>
                  </a:lnTo>
                  <a:lnTo>
                    <a:pt x="428" y="6"/>
                  </a:lnTo>
                  <a:lnTo>
                    <a:pt x="429" y="5"/>
                  </a:lnTo>
                  <a:lnTo>
                    <a:pt x="430" y="4"/>
                  </a:lnTo>
                  <a:lnTo>
                    <a:pt x="431" y="3"/>
                  </a:lnTo>
                  <a:lnTo>
                    <a:pt x="432" y="2"/>
                  </a:lnTo>
                  <a:lnTo>
                    <a:pt x="433" y="2"/>
                  </a:lnTo>
                  <a:lnTo>
                    <a:pt x="434" y="1"/>
                  </a:lnTo>
                  <a:lnTo>
                    <a:pt x="435" y="1"/>
                  </a:lnTo>
                  <a:lnTo>
                    <a:pt x="436" y="0"/>
                  </a:lnTo>
                  <a:lnTo>
                    <a:pt x="437" y="0"/>
                  </a:lnTo>
                  <a:lnTo>
                    <a:pt x="438" y="0"/>
                  </a:lnTo>
                  <a:lnTo>
                    <a:pt x="439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2" y="1"/>
                  </a:lnTo>
                  <a:lnTo>
                    <a:pt x="442" y="1"/>
                  </a:lnTo>
                  <a:lnTo>
                    <a:pt x="442" y="3"/>
                  </a:lnTo>
                  <a:lnTo>
                    <a:pt x="442" y="4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0" y="11"/>
                  </a:lnTo>
                  <a:lnTo>
                    <a:pt x="440" y="13"/>
                  </a:lnTo>
                  <a:lnTo>
                    <a:pt x="439" y="17"/>
                  </a:lnTo>
                  <a:lnTo>
                    <a:pt x="437" y="20"/>
                  </a:lnTo>
                  <a:lnTo>
                    <a:pt x="435" y="28"/>
                  </a:lnTo>
                  <a:lnTo>
                    <a:pt x="433" y="32"/>
                  </a:lnTo>
                  <a:lnTo>
                    <a:pt x="433" y="33"/>
                  </a:lnTo>
                  <a:lnTo>
                    <a:pt x="431" y="35"/>
                  </a:lnTo>
                  <a:lnTo>
                    <a:pt x="430" y="39"/>
                  </a:lnTo>
                  <a:lnTo>
                    <a:pt x="430" y="40"/>
                  </a:lnTo>
                  <a:lnTo>
                    <a:pt x="429" y="42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6"/>
                  </a:lnTo>
                  <a:lnTo>
                    <a:pt x="428" y="47"/>
                  </a:lnTo>
                  <a:lnTo>
                    <a:pt x="428" y="51"/>
                  </a:lnTo>
                  <a:lnTo>
                    <a:pt x="428" y="52"/>
                  </a:lnTo>
                  <a:lnTo>
                    <a:pt x="428" y="53"/>
                  </a:lnTo>
                  <a:lnTo>
                    <a:pt x="428" y="54"/>
                  </a:lnTo>
                  <a:lnTo>
                    <a:pt x="428" y="55"/>
                  </a:lnTo>
                  <a:lnTo>
                    <a:pt x="427" y="58"/>
                  </a:lnTo>
                  <a:lnTo>
                    <a:pt x="427" y="59"/>
                  </a:lnTo>
                  <a:lnTo>
                    <a:pt x="426" y="60"/>
                  </a:lnTo>
                  <a:lnTo>
                    <a:pt x="426" y="61"/>
                  </a:lnTo>
                  <a:lnTo>
                    <a:pt x="426" y="62"/>
                  </a:lnTo>
                  <a:lnTo>
                    <a:pt x="426" y="62"/>
                  </a:lnTo>
                  <a:lnTo>
                    <a:pt x="427" y="63"/>
                  </a:lnTo>
                  <a:lnTo>
                    <a:pt x="427" y="66"/>
                  </a:lnTo>
                  <a:lnTo>
                    <a:pt x="427" y="67"/>
                  </a:lnTo>
                  <a:lnTo>
                    <a:pt x="428" y="70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8" y="74"/>
                  </a:lnTo>
                  <a:lnTo>
                    <a:pt x="427" y="75"/>
                  </a:lnTo>
                  <a:lnTo>
                    <a:pt x="427" y="76"/>
                  </a:lnTo>
                  <a:lnTo>
                    <a:pt x="426" y="77"/>
                  </a:lnTo>
                  <a:lnTo>
                    <a:pt x="426" y="78"/>
                  </a:lnTo>
                  <a:lnTo>
                    <a:pt x="426" y="78"/>
                  </a:lnTo>
                  <a:lnTo>
                    <a:pt x="425" y="79"/>
                  </a:lnTo>
                  <a:lnTo>
                    <a:pt x="424" y="79"/>
                  </a:lnTo>
                  <a:lnTo>
                    <a:pt x="423" y="81"/>
                  </a:lnTo>
                  <a:lnTo>
                    <a:pt x="420" y="83"/>
                  </a:lnTo>
                  <a:lnTo>
                    <a:pt x="419" y="84"/>
                  </a:lnTo>
                  <a:lnTo>
                    <a:pt x="416" y="87"/>
                  </a:lnTo>
                  <a:lnTo>
                    <a:pt x="416" y="88"/>
                  </a:lnTo>
                  <a:lnTo>
                    <a:pt x="415" y="89"/>
                  </a:lnTo>
                  <a:lnTo>
                    <a:pt x="414" y="90"/>
                  </a:lnTo>
                  <a:lnTo>
                    <a:pt x="413" y="91"/>
                  </a:lnTo>
                  <a:lnTo>
                    <a:pt x="412" y="91"/>
                  </a:lnTo>
                  <a:lnTo>
                    <a:pt x="412" y="92"/>
                  </a:lnTo>
                  <a:lnTo>
                    <a:pt x="411" y="92"/>
                  </a:lnTo>
                  <a:lnTo>
                    <a:pt x="410" y="93"/>
                  </a:lnTo>
                  <a:lnTo>
                    <a:pt x="410" y="93"/>
                  </a:lnTo>
                  <a:lnTo>
                    <a:pt x="409" y="93"/>
                  </a:lnTo>
                  <a:lnTo>
                    <a:pt x="406" y="94"/>
                  </a:lnTo>
                  <a:lnTo>
                    <a:pt x="405" y="94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2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2" y="97"/>
                  </a:lnTo>
                  <a:lnTo>
                    <a:pt x="401" y="98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2" y="101"/>
                  </a:lnTo>
                  <a:lnTo>
                    <a:pt x="404" y="105"/>
                  </a:lnTo>
                  <a:lnTo>
                    <a:pt x="405" y="108"/>
                  </a:lnTo>
                  <a:lnTo>
                    <a:pt x="405" y="110"/>
                  </a:lnTo>
                  <a:lnTo>
                    <a:pt x="406" y="115"/>
                  </a:lnTo>
                  <a:lnTo>
                    <a:pt x="407" y="117"/>
                  </a:lnTo>
                  <a:lnTo>
                    <a:pt x="407" y="119"/>
                  </a:lnTo>
                  <a:lnTo>
                    <a:pt x="408" y="121"/>
                  </a:lnTo>
                  <a:lnTo>
                    <a:pt x="410" y="126"/>
                  </a:lnTo>
                  <a:lnTo>
                    <a:pt x="411" y="131"/>
                  </a:lnTo>
                  <a:lnTo>
                    <a:pt x="412" y="132"/>
                  </a:lnTo>
                  <a:lnTo>
                    <a:pt x="412" y="133"/>
                  </a:lnTo>
                  <a:lnTo>
                    <a:pt x="412" y="135"/>
                  </a:lnTo>
                  <a:lnTo>
                    <a:pt x="413" y="139"/>
                  </a:lnTo>
                  <a:lnTo>
                    <a:pt x="413" y="142"/>
                  </a:lnTo>
                  <a:lnTo>
                    <a:pt x="413" y="143"/>
                  </a:lnTo>
                  <a:lnTo>
                    <a:pt x="413" y="145"/>
                  </a:lnTo>
                  <a:lnTo>
                    <a:pt x="414" y="148"/>
                  </a:lnTo>
                  <a:lnTo>
                    <a:pt x="414" y="150"/>
                  </a:lnTo>
                  <a:lnTo>
                    <a:pt x="414" y="151"/>
                  </a:lnTo>
                  <a:lnTo>
                    <a:pt x="414" y="151"/>
                  </a:lnTo>
                  <a:lnTo>
                    <a:pt x="414" y="152"/>
                  </a:lnTo>
                  <a:lnTo>
                    <a:pt x="414" y="153"/>
                  </a:lnTo>
                  <a:lnTo>
                    <a:pt x="413" y="154"/>
                  </a:lnTo>
                  <a:lnTo>
                    <a:pt x="413" y="154"/>
                  </a:lnTo>
                  <a:lnTo>
                    <a:pt x="411" y="157"/>
                  </a:lnTo>
                  <a:lnTo>
                    <a:pt x="410" y="158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09" y="161"/>
                  </a:lnTo>
                  <a:lnTo>
                    <a:pt x="409" y="162"/>
                  </a:lnTo>
                  <a:lnTo>
                    <a:pt x="409" y="163"/>
                  </a:lnTo>
                  <a:lnTo>
                    <a:pt x="408" y="164"/>
                  </a:lnTo>
                  <a:lnTo>
                    <a:pt x="408" y="165"/>
                  </a:lnTo>
                  <a:lnTo>
                    <a:pt x="408" y="166"/>
                  </a:lnTo>
                  <a:lnTo>
                    <a:pt x="408" y="167"/>
                  </a:lnTo>
                  <a:lnTo>
                    <a:pt x="408" y="169"/>
                  </a:lnTo>
                  <a:lnTo>
                    <a:pt x="409" y="170"/>
                  </a:lnTo>
                  <a:lnTo>
                    <a:pt x="409" y="171"/>
                  </a:lnTo>
                  <a:lnTo>
                    <a:pt x="409" y="172"/>
                  </a:lnTo>
                  <a:lnTo>
                    <a:pt x="410" y="173"/>
                  </a:lnTo>
                  <a:lnTo>
                    <a:pt x="412" y="176"/>
                  </a:lnTo>
                  <a:lnTo>
                    <a:pt x="413" y="177"/>
                  </a:lnTo>
                  <a:lnTo>
                    <a:pt x="413" y="178"/>
                  </a:lnTo>
                  <a:lnTo>
                    <a:pt x="413" y="179"/>
                  </a:lnTo>
                  <a:lnTo>
                    <a:pt x="414" y="180"/>
                  </a:lnTo>
                  <a:lnTo>
                    <a:pt x="415" y="183"/>
                  </a:lnTo>
                  <a:lnTo>
                    <a:pt x="416" y="185"/>
                  </a:lnTo>
                  <a:lnTo>
                    <a:pt x="416" y="187"/>
                  </a:lnTo>
                  <a:lnTo>
                    <a:pt x="417" y="189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21" y="193"/>
                  </a:lnTo>
                  <a:lnTo>
                    <a:pt x="422" y="195"/>
                  </a:lnTo>
                  <a:lnTo>
                    <a:pt x="425" y="198"/>
                  </a:lnTo>
                  <a:lnTo>
                    <a:pt x="425" y="199"/>
                  </a:lnTo>
                  <a:lnTo>
                    <a:pt x="426" y="199"/>
                  </a:lnTo>
                  <a:lnTo>
                    <a:pt x="426" y="200"/>
                  </a:lnTo>
                  <a:lnTo>
                    <a:pt x="427" y="201"/>
                  </a:lnTo>
                  <a:lnTo>
                    <a:pt x="427" y="202"/>
                  </a:lnTo>
                  <a:lnTo>
                    <a:pt x="427" y="205"/>
                  </a:lnTo>
                  <a:lnTo>
                    <a:pt x="427" y="206"/>
                  </a:lnTo>
                  <a:lnTo>
                    <a:pt x="428" y="206"/>
                  </a:lnTo>
                  <a:lnTo>
                    <a:pt x="429" y="209"/>
                  </a:lnTo>
                  <a:lnTo>
                    <a:pt x="429" y="210"/>
                  </a:lnTo>
                  <a:lnTo>
                    <a:pt x="429" y="210"/>
                  </a:lnTo>
                  <a:lnTo>
                    <a:pt x="429" y="211"/>
                  </a:lnTo>
                  <a:lnTo>
                    <a:pt x="429" y="212"/>
                  </a:lnTo>
                  <a:lnTo>
                    <a:pt x="429" y="213"/>
                  </a:lnTo>
                  <a:lnTo>
                    <a:pt x="428" y="215"/>
                  </a:lnTo>
                  <a:lnTo>
                    <a:pt x="428" y="216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8"/>
                  </a:lnTo>
                  <a:lnTo>
                    <a:pt x="428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0" y="218"/>
                  </a:lnTo>
                  <a:lnTo>
                    <a:pt x="431" y="218"/>
                  </a:lnTo>
                  <a:lnTo>
                    <a:pt x="432" y="219"/>
                  </a:lnTo>
                  <a:lnTo>
                    <a:pt x="435" y="219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7" y="220"/>
                  </a:lnTo>
                  <a:lnTo>
                    <a:pt x="438" y="221"/>
                  </a:lnTo>
                  <a:lnTo>
                    <a:pt x="439" y="221"/>
                  </a:lnTo>
                  <a:lnTo>
                    <a:pt x="439" y="222"/>
                  </a:lnTo>
                  <a:lnTo>
                    <a:pt x="440" y="223"/>
                  </a:lnTo>
                  <a:lnTo>
                    <a:pt x="440" y="223"/>
                  </a:lnTo>
                  <a:lnTo>
                    <a:pt x="441" y="224"/>
                  </a:lnTo>
                  <a:lnTo>
                    <a:pt x="441" y="225"/>
                  </a:lnTo>
                  <a:lnTo>
                    <a:pt x="441" y="226"/>
                  </a:lnTo>
                  <a:lnTo>
                    <a:pt x="441" y="227"/>
                  </a:lnTo>
                  <a:lnTo>
                    <a:pt x="442" y="231"/>
                  </a:lnTo>
                  <a:lnTo>
                    <a:pt x="442" y="232"/>
                  </a:lnTo>
                  <a:lnTo>
                    <a:pt x="442" y="233"/>
                  </a:lnTo>
                  <a:lnTo>
                    <a:pt x="442" y="235"/>
                  </a:lnTo>
                  <a:lnTo>
                    <a:pt x="442" y="237"/>
                  </a:lnTo>
                  <a:lnTo>
                    <a:pt x="441" y="238"/>
                  </a:lnTo>
                  <a:lnTo>
                    <a:pt x="441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0" y="242"/>
                  </a:lnTo>
                  <a:lnTo>
                    <a:pt x="439" y="243"/>
                  </a:lnTo>
                  <a:lnTo>
                    <a:pt x="437" y="246"/>
                  </a:lnTo>
                  <a:lnTo>
                    <a:pt x="434" y="249"/>
                  </a:lnTo>
                  <a:lnTo>
                    <a:pt x="434" y="250"/>
                  </a:lnTo>
                  <a:lnTo>
                    <a:pt x="433" y="251"/>
                  </a:lnTo>
                  <a:lnTo>
                    <a:pt x="432" y="252"/>
                  </a:lnTo>
                  <a:lnTo>
                    <a:pt x="432" y="253"/>
                  </a:lnTo>
                  <a:lnTo>
                    <a:pt x="431" y="254"/>
                  </a:lnTo>
                  <a:lnTo>
                    <a:pt x="431" y="255"/>
                  </a:lnTo>
                  <a:lnTo>
                    <a:pt x="431" y="256"/>
                  </a:lnTo>
                  <a:lnTo>
                    <a:pt x="431" y="258"/>
                  </a:lnTo>
                  <a:lnTo>
                    <a:pt x="431" y="259"/>
                  </a:lnTo>
                  <a:lnTo>
                    <a:pt x="431" y="259"/>
                  </a:lnTo>
                  <a:lnTo>
                    <a:pt x="431" y="260"/>
                  </a:lnTo>
                  <a:lnTo>
                    <a:pt x="432" y="262"/>
                  </a:lnTo>
                  <a:lnTo>
                    <a:pt x="433" y="265"/>
                  </a:lnTo>
                  <a:lnTo>
                    <a:pt x="433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9"/>
                  </a:lnTo>
                  <a:lnTo>
                    <a:pt x="432" y="271"/>
                  </a:lnTo>
                  <a:lnTo>
                    <a:pt x="431" y="274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1" y="279"/>
                  </a:lnTo>
                  <a:lnTo>
                    <a:pt x="430" y="279"/>
                  </a:lnTo>
                  <a:lnTo>
                    <a:pt x="430" y="279"/>
                  </a:lnTo>
                  <a:lnTo>
                    <a:pt x="429" y="279"/>
                  </a:lnTo>
                  <a:lnTo>
                    <a:pt x="427" y="279"/>
                  </a:lnTo>
                  <a:lnTo>
                    <a:pt x="426" y="279"/>
                  </a:lnTo>
                  <a:lnTo>
                    <a:pt x="425" y="279"/>
                  </a:lnTo>
                  <a:lnTo>
                    <a:pt x="423" y="278"/>
                  </a:lnTo>
                  <a:lnTo>
                    <a:pt x="421" y="278"/>
                  </a:lnTo>
                  <a:lnTo>
                    <a:pt x="420" y="277"/>
                  </a:lnTo>
                  <a:lnTo>
                    <a:pt x="418" y="277"/>
                  </a:lnTo>
                  <a:lnTo>
                    <a:pt x="416" y="276"/>
                  </a:lnTo>
                  <a:lnTo>
                    <a:pt x="415" y="275"/>
                  </a:lnTo>
                  <a:lnTo>
                    <a:pt x="413" y="275"/>
                  </a:lnTo>
                  <a:lnTo>
                    <a:pt x="406" y="271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9"/>
                  </a:lnTo>
                  <a:lnTo>
                    <a:pt x="400" y="269"/>
                  </a:lnTo>
                  <a:lnTo>
                    <a:pt x="398" y="268"/>
                  </a:lnTo>
                  <a:lnTo>
                    <a:pt x="397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2" y="267"/>
                  </a:lnTo>
                  <a:lnTo>
                    <a:pt x="391" y="267"/>
                  </a:lnTo>
                  <a:lnTo>
                    <a:pt x="390" y="267"/>
                  </a:lnTo>
                  <a:lnTo>
                    <a:pt x="388" y="268"/>
                  </a:lnTo>
                  <a:lnTo>
                    <a:pt x="386" y="268"/>
                  </a:lnTo>
                  <a:lnTo>
                    <a:pt x="385" y="268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3" y="268"/>
                  </a:lnTo>
                  <a:lnTo>
                    <a:pt x="380" y="267"/>
                  </a:lnTo>
                  <a:lnTo>
                    <a:pt x="379" y="267"/>
                  </a:lnTo>
                  <a:lnTo>
                    <a:pt x="378" y="267"/>
                  </a:lnTo>
                  <a:lnTo>
                    <a:pt x="377" y="267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70" y="268"/>
                  </a:lnTo>
                  <a:lnTo>
                    <a:pt x="368" y="268"/>
                  </a:lnTo>
                  <a:lnTo>
                    <a:pt x="365" y="268"/>
                  </a:lnTo>
                  <a:lnTo>
                    <a:pt x="363" y="268"/>
                  </a:lnTo>
                  <a:lnTo>
                    <a:pt x="362" y="267"/>
                  </a:lnTo>
                  <a:lnTo>
                    <a:pt x="359" y="267"/>
                  </a:lnTo>
                  <a:lnTo>
                    <a:pt x="358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6" y="267"/>
                  </a:lnTo>
                  <a:lnTo>
                    <a:pt x="356" y="268"/>
                  </a:lnTo>
                  <a:lnTo>
                    <a:pt x="355" y="269"/>
                  </a:lnTo>
                  <a:lnTo>
                    <a:pt x="355" y="271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2" y="281"/>
                  </a:lnTo>
                  <a:lnTo>
                    <a:pt x="352" y="282"/>
                  </a:lnTo>
                  <a:lnTo>
                    <a:pt x="351" y="283"/>
                  </a:lnTo>
                  <a:lnTo>
                    <a:pt x="351" y="283"/>
                  </a:lnTo>
                  <a:lnTo>
                    <a:pt x="350" y="283"/>
                  </a:lnTo>
                  <a:lnTo>
                    <a:pt x="350" y="283"/>
                  </a:lnTo>
                  <a:lnTo>
                    <a:pt x="349" y="284"/>
                  </a:lnTo>
                  <a:lnTo>
                    <a:pt x="348" y="284"/>
                  </a:lnTo>
                  <a:lnTo>
                    <a:pt x="346" y="284"/>
                  </a:lnTo>
                  <a:lnTo>
                    <a:pt x="344" y="284"/>
                  </a:lnTo>
                  <a:lnTo>
                    <a:pt x="343" y="284"/>
                  </a:lnTo>
                  <a:lnTo>
                    <a:pt x="341" y="284"/>
                  </a:lnTo>
                  <a:lnTo>
                    <a:pt x="337" y="283"/>
                  </a:lnTo>
                  <a:lnTo>
                    <a:pt x="336" y="283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4" y="283"/>
                  </a:lnTo>
                  <a:lnTo>
                    <a:pt x="331" y="283"/>
                  </a:lnTo>
                  <a:lnTo>
                    <a:pt x="329" y="284"/>
                  </a:lnTo>
                  <a:lnTo>
                    <a:pt x="327" y="284"/>
                  </a:lnTo>
                  <a:lnTo>
                    <a:pt x="326" y="284"/>
                  </a:lnTo>
                  <a:lnTo>
                    <a:pt x="325" y="284"/>
                  </a:lnTo>
                  <a:lnTo>
                    <a:pt x="324" y="284"/>
                  </a:lnTo>
                  <a:lnTo>
                    <a:pt x="324" y="284"/>
                  </a:lnTo>
                  <a:lnTo>
                    <a:pt x="323" y="283"/>
                  </a:lnTo>
                  <a:lnTo>
                    <a:pt x="322" y="283"/>
                  </a:lnTo>
                  <a:lnTo>
                    <a:pt x="322" y="283"/>
                  </a:lnTo>
                  <a:lnTo>
                    <a:pt x="321" y="283"/>
                  </a:lnTo>
                  <a:lnTo>
                    <a:pt x="321" y="283"/>
                  </a:lnTo>
                  <a:lnTo>
                    <a:pt x="320" y="283"/>
                  </a:lnTo>
                  <a:lnTo>
                    <a:pt x="319" y="283"/>
                  </a:lnTo>
                  <a:lnTo>
                    <a:pt x="318" y="283"/>
                  </a:lnTo>
                  <a:lnTo>
                    <a:pt x="317" y="284"/>
                  </a:lnTo>
                  <a:lnTo>
                    <a:pt x="316" y="284"/>
                  </a:lnTo>
                  <a:lnTo>
                    <a:pt x="316" y="285"/>
                  </a:lnTo>
                  <a:lnTo>
                    <a:pt x="315" y="285"/>
                  </a:lnTo>
                  <a:lnTo>
                    <a:pt x="314" y="287"/>
                  </a:lnTo>
                  <a:lnTo>
                    <a:pt x="313" y="288"/>
                  </a:lnTo>
                  <a:lnTo>
                    <a:pt x="311" y="289"/>
                  </a:lnTo>
                  <a:lnTo>
                    <a:pt x="311" y="290"/>
                  </a:lnTo>
                  <a:lnTo>
                    <a:pt x="310" y="290"/>
                  </a:lnTo>
                  <a:lnTo>
                    <a:pt x="310" y="291"/>
                  </a:lnTo>
                  <a:lnTo>
                    <a:pt x="309" y="291"/>
                  </a:lnTo>
                  <a:lnTo>
                    <a:pt x="309" y="291"/>
                  </a:lnTo>
                  <a:lnTo>
                    <a:pt x="308" y="291"/>
                  </a:lnTo>
                  <a:lnTo>
                    <a:pt x="308" y="291"/>
                  </a:lnTo>
                  <a:lnTo>
                    <a:pt x="307" y="291"/>
                  </a:lnTo>
                  <a:lnTo>
                    <a:pt x="307" y="290"/>
                  </a:lnTo>
                  <a:lnTo>
                    <a:pt x="307" y="290"/>
                  </a:lnTo>
                  <a:lnTo>
                    <a:pt x="303" y="284"/>
                  </a:lnTo>
                  <a:lnTo>
                    <a:pt x="302" y="283"/>
                  </a:lnTo>
                  <a:lnTo>
                    <a:pt x="301" y="282"/>
                  </a:lnTo>
                  <a:lnTo>
                    <a:pt x="300" y="281"/>
                  </a:lnTo>
                  <a:lnTo>
                    <a:pt x="299" y="281"/>
                  </a:lnTo>
                  <a:lnTo>
                    <a:pt x="296" y="279"/>
                  </a:lnTo>
                  <a:lnTo>
                    <a:pt x="293" y="277"/>
                  </a:lnTo>
                  <a:lnTo>
                    <a:pt x="292" y="276"/>
                  </a:lnTo>
                  <a:lnTo>
                    <a:pt x="290" y="275"/>
                  </a:lnTo>
                  <a:lnTo>
                    <a:pt x="289" y="275"/>
                  </a:lnTo>
                  <a:lnTo>
                    <a:pt x="285" y="274"/>
                  </a:lnTo>
                  <a:lnTo>
                    <a:pt x="281" y="272"/>
                  </a:lnTo>
                  <a:lnTo>
                    <a:pt x="280" y="272"/>
                  </a:lnTo>
                  <a:lnTo>
                    <a:pt x="278" y="272"/>
                  </a:lnTo>
                  <a:lnTo>
                    <a:pt x="277" y="271"/>
                  </a:lnTo>
                  <a:lnTo>
                    <a:pt x="276" y="271"/>
                  </a:lnTo>
                  <a:lnTo>
                    <a:pt x="276" y="271"/>
                  </a:lnTo>
                  <a:lnTo>
                    <a:pt x="275" y="270"/>
                  </a:lnTo>
                  <a:lnTo>
                    <a:pt x="273" y="269"/>
                  </a:lnTo>
                  <a:lnTo>
                    <a:pt x="272" y="267"/>
                  </a:lnTo>
                  <a:lnTo>
                    <a:pt x="271" y="266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2"/>
                  </a:lnTo>
                  <a:lnTo>
                    <a:pt x="264" y="258"/>
                  </a:lnTo>
                  <a:lnTo>
                    <a:pt x="262" y="256"/>
                  </a:lnTo>
                  <a:lnTo>
                    <a:pt x="261" y="255"/>
                  </a:lnTo>
                  <a:lnTo>
                    <a:pt x="260" y="254"/>
                  </a:lnTo>
                  <a:lnTo>
                    <a:pt x="258" y="254"/>
                  </a:lnTo>
                  <a:lnTo>
                    <a:pt x="257" y="253"/>
                  </a:lnTo>
                  <a:lnTo>
                    <a:pt x="256" y="252"/>
                  </a:lnTo>
                  <a:lnTo>
                    <a:pt x="252" y="250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6" y="247"/>
                  </a:lnTo>
                  <a:lnTo>
                    <a:pt x="243" y="246"/>
                  </a:lnTo>
                  <a:lnTo>
                    <a:pt x="239" y="245"/>
                  </a:lnTo>
                  <a:lnTo>
                    <a:pt x="235" y="244"/>
                  </a:lnTo>
                  <a:lnTo>
                    <a:pt x="234" y="244"/>
                  </a:lnTo>
                  <a:lnTo>
                    <a:pt x="232" y="243"/>
                  </a:lnTo>
                  <a:lnTo>
                    <a:pt x="231" y="243"/>
                  </a:lnTo>
                  <a:lnTo>
                    <a:pt x="230" y="242"/>
                  </a:lnTo>
                  <a:lnTo>
                    <a:pt x="229" y="242"/>
                  </a:lnTo>
                  <a:lnTo>
                    <a:pt x="228" y="242"/>
                  </a:lnTo>
                  <a:lnTo>
                    <a:pt x="224" y="242"/>
                  </a:lnTo>
                  <a:lnTo>
                    <a:pt x="222" y="242"/>
                  </a:lnTo>
                  <a:lnTo>
                    <a:pt x="221" y="242"/>
                  </a:lnTo>
                  <a:lnTo>
                    <a:pt x="221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19" y="241"/>
                  </a:lnTo>
                  <a:lnTo>
                    <a:pt x="219" y="240"/>
                  </a:lnTo>
                  <a:lnTo>
                    <a:pt x="218" y="240"/>
                  </a:lnTo>
                  <a:lnTo>
                    <a:pt x="216" y="238"/>
                  </a:lnTo>
                  <a:lnTo>
                    <a:pt x="214" y="236"/>
                  </a:lnTo>
                  <a:lnTo>
                    <a:pt x="213" y="235"/>
                  </a:lnTo>
                  <a:lnTo>
                    <a:pt x="212" y="233"/>
                  </a:lnTo>
                  <a:lnTo>
                    <a:pt x="211" y="233"/>
                  </a:lnTo>
                  <a:lnTo>
                    <a:pt x="210" y="232"/>
                  </a:lnTo>
                  <a:lnTo>
                    <a:pt x="209" y="232"/>
                  </a:lnTo>
                  <a:lnTo>
                    <a:pt x="209" y="231"/>
                  </a:lnTo>
                  <a:lnTo>
                    <a:pt x="208" y="231"/>
                  </a:lnTo>
                  <a:lnTo>
                    <a:pt x="207" y="230"/>
                  </a:lnTo>
                  <a:lnTo>
                    <a:pt x="205" y="230"/>
                  </a:lnTo>
                  <a:lnTo>
                    <a:pt x="202" y="230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6" y="227"/>
                  </a:lnTo>
                  <a:lnTo>
                    <a:pt x="195" y="227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3" y="225"/>
                  </a:lnTo>
                  <a:lnTo>
                    <a:pt x="192" y="224"/>
                  </a:lnTo>
                  <a:lnTo>
                    <a:pt x="191" y="223"/>
                  </a:lnTo>
                  <a:lnTo>
                    <a:pt x="190" y="222"/>
                  </a:lnTo>
                  <a:lnTo>
                    <a:pt x="190" y="221"/>
                  </a:lnTo>
                  <a:lnTo>
                    <a:pt x="189" y="221"/>
                  </a:lnTo>
                  <a:lnTo>
                    <a:pt x="189" y="221"/>
                  </a:lnTo>
                  <a:lnTo>
                    <a:pt x="188" y="221"/>
                  </a:lnTo>
                  <a:lnTo>
                    <a:pt x="188" y="221"/>
                  </a:lnTo>
                  <a:lnTo>
                    <a:pt x="187" y="221"/>
                  </a:lnTo>
                  <a:lnTo>
                    <a:pt x="186" y="222"/>
                  </a:lnTo>
                  <a:lnTo>
                    <a:pt x="185" y="223"/>
                  </a:lnTo>
                  <a:lnTo>
                    <a:pt x="184" y="224"/>
                  </a:lnTo>
                  <a:lnTo>
                    <a:pt x="183" y="225"/>
                  </a:lnTo>
                  <a:lnTo>
                    <a:pt x="182" y="226"/>
                  </a:lnTo>
                  <a:lnTo>
                    <a:pt x="181" y="228"/>
                  </a:lnTo>
                  <a:lnTo>
                    <a:pt x="180" y="230"/>
                  </a:lnTo>
                  <a:lnTo>
                    <a:pt x="179" y="233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8" y="235"/>
                  </a:lnTo>
                  <a:lnTo>
                    <a:pt x="176" y="237"/>
                  </a:lnTo>
                  <a:lnTo>
                    <a:pt x="175" y="240"/>
                  </a:lnTo>
                  <a:lnTo>
                    <a:pt x="174" y="240"/>
                  </a:lnTo>
                  <a:lnTo>
                    <a:pt x="174" y="241"/>
                  </a:lnTo>
                  <a:lnTo>
                    <a:pt x="173" y="241"/>
                  </a:lnTo>
                  <a:lnTo>
                    <a:pt x="173" y="241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6" y="242"/>
                  </a:lnTo>
                  <a:lnTo>
                    <a:pt x="165" y="242"/>
                  </a:lnTo>
                  <a:lnTo>
                    <a:pt x="164" y="242"/>
                  </a:lnTo>
                  <a:lnTo>
                    <a:pt x="164" y="241"/>
                  </a:lnTo>
                  <a:lnTo>
                    <a:pt x="163" y="241"/>
                  </a:lnTo>
                  <a:lnTo>
                    <a:pt x="161" y="240"/>
                  </a:lnTo>
                  <a:lnTo>
                    <a:pt x="158" y="239"/>
                  </a:lnTo>
                  <a:lnTo>
                    <a:pt x="152" y="236"/>
                  </a:lnTo>
                  <a:lnTo>
                    <a:pt x="150" y="235"/>
                  </a:lnTo>
                  <a:lnTo>
                    <a:pt x="150" y="234"/>
                  </a:lnTo>
                  <a:lnTo>
                    <a:pt x="149" y="234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6" y="231"/>
                  </a:lnTo>
                  <a:lnTo>
                    <a:pt x="146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5" y="227"/>
                  </a:lnTo>
                  <a:lnTo>
                    <a:pt x="146" y="226"/>
                  </a:lnTo>
                  <a:lnTo>
                    <a:pt x="146" y="225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5" y="219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7"/>
                  </a:lnTo>
                  <a:lnTo>
                    <a:pt x="140" y="217"/>
                  </a:lnTo>
                  <a:lnTo>
                    <a:pt x="139" y="216"/>
                  </a:lnTo>
                  <a:lnTo>
                    <a:pt x="138" y="216"/>
                  </a:lnTo>
                  <a:lnTo>
                    <a:pt x="137" y="215"/>
                  </a:lnTo>
                  <a:lnTo>
                    <a:pt x="135" y="214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1" y="212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7" y="211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3" y="210"/>
                  </a:lnTo>
                  <a:lnTo>
                    <a:pt x="123" y="209"/>
                  </a:lnTo>
                  <a:lnTo>
                    <a:pt x="122" y="209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3"/>
                  </a:lnTo>
                  <a:lnTo>
                    <a:pt x="120" y="203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19" y="202"/>
                  </a:lnTo>
                  <a:lnTo>
                    <a:pt x="119" y="201"/>
                  </a:lnTo>
                  <a:lnTo>
                    <a:pt x="118" y="201"/>
                  </a:lnTo>
                  <a:lnTo>
                    <a:pt x="115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9" y="199"/>
                  </a:lnTo>
                  <a:lnTo>
                    <a:pt x="108" y="198"/>
                  </a:lnTo>
                  <a:lnTo>
                    <a:pt x="107" y="198"/>
                  </a:lnTo>
                  <a:lnTo>
                    <a:pt x="106" y="197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4" y="195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0" y="191"/>
                  </a:lnTo>
                  <a:lnTo>
                    <a:pt x="99" y="191"/>
                  </a:lnTo>
                  <a:lnTo>
                    <a:pt x="98" y="190"/>
                  </a:lnTo>
                  <a:lnTo>
                    <a:pt x="95" y="189"/>
                  </a:lnTo>
                  <a:lnTo>
                    <a:pt x="94" y="189"/>
                  </a:lnTo>
                  <a:lnTo>
                    <a:pt x="93" y="188"/>
                  </a:lnTo>
                  <a:lnTo>
                    <a:pt x="93" y="187"/>
                  </a:lnTo>
                  <a:lnTo>
                    <a:pt x="92" y="187"/>
                  </a:lnTo>
                  <a:lnTo>
                    <a:pt x="91" y="187"/>
                  </a:lnTo>
                  <a:lnTo>
                    <a:pt x="89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7" y="186"/>
                  </a:lnTo>
                  <a:lnTo>
                    <a:pt x="73" y="186"/>
                  </a:lnTo>
                  <a:lnTo>
                    <a:pt x="72" y="186"/>
                  </a:lnTo>
                  <a:lnTo>
                    <a:pt x="71" y="186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7" y="186"/>
                  </a:lnTo>
                  <a:lnTo>
                    <a:pt x="66" y="186"/>
                  </a:lnTo>
                  <a:lnTo>
                    <a:pt x="66" y="185"/>
                  </a:lnTo>
                  <a:lnTo>
                    <a:pt x="64" y="184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0"/>
                  </a:lnTo>
                  <a:lnTo>
                    <a:pt x="59" y="179"/>
                  </a:lnTo>
                  <a:lnTo>
                    <a:pt x="52" y="174"/>
                  </a:lnTo>
                  <a:lnTo>
                    <a:pt x="49" y="172"/>
                  </a:lnTo>
                  <a:lnTo>
                    <a:pt x="47" y="171"/>
                  </a:lnTo>
                  <a:lnTo>
                    <a:pt x="42" y="167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8" y="161"/>
                  </a:lnTo>
                  <a:lnTo>
                    <a:pt x="38" y="157"/>
                  </a:lnTo>
                  <a:lnTo>
                    <a:pt x="39" y="154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9" y="148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4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6" y="131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19"/>
                  </a:lnTo>
                  <a:lnTo>
                    <a:pt x="46" y="118"/>
                  </a:lnTo>
                  <a:lnTo>
                    <a:pt x="45" y="118"/>
                  </a:lnTo>
                  <a:lnTo>
                    <a:pt x="45" y="117"/>
                  </a:lnTo>
                  <a:lnTo>
                    <a:pt x="44" y="116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1" y="114"/>
                  </a:lnTo>
                  <a:lnTo>
                    <a:pt x="38" y="113"/>
                  </a:lnTo>
                  <a:lnTo>
                    <a:pt x="37" y="112"/>
                  </a:lnTo>
                  <a:lnTo>
                    <a:pt x="35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29" y="106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5" y="98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3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8"/>
                  </a:lnTo>
                  <a:lnTo>
                    <a:pt x="5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2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3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8" y="46"/>
                  </a:lnTo>
                  <a:lnTo>
                    <a:pt x="39" y="46"/>
                  </a:lnTo>
                  <a:lnTo>
                    <a:pt x="40" y="45"/>
                  </a:lnTo>
                  <a:lnTo>
                    <a:pt x="42" y="44"/>
                  </a:lnTo>
                  <a:lnTo>
                    <a:pt x="42" y="43"/>
                  </a:lnTo>
                  <a:lnTo>
                    <a:pt x="43" y="42"/>
                  </a:lnTo>
                  <a:lnTo>
                    <a:pt x="43" y="42"/>
                  </a:lnTo>
                  <a:lnTo>
                    <a:pt x="44" y="40"/>
                  </a:lnTo>
                  <a:lnTo>
                    <a:pt x="44" y="39"/>
                  </a:lnTo>
                  <a:lnTo>
                    <a:pt x="45" y="39"/>
                  </a:lnTo>
                  <a:lnTo>
                    <a:pt x="45" y="38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47" y="36"/>
                  </a:lnTo>
                  <a:lnTo>
                    <a:pt x="48" y="36"/>
                  </a:lnTo>
                  <a:lnTo>
                    <a:pt x="49" y="35"/>
                  </a:lnTo>
                  <a:lnTo>
                    <a:pt x="50" y="35"/>
                  </a:lnTo>
                  <a:lnTo>
                    <a:pt x="52" y="35"/>
                  </a:lnTo>
                  <a:lnTo>
                    <a:pt x="53" y="35"/>
                  </a:lnTo>
                  <a:lnTo>
                    <a:pt x="54" y="34"/>
                  </a:lnTo>
                  <a:lnTo>
                    <a:pt x="57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9" y="32"/>
                  </a:lnTo>
                  <a:lnTo>
                    <a:pt x="59" y="32"/>
                  </a:lnTo>
                  <a:lnTo>
                    <a:pt x="60" y="33"/>
                  </a:lnTo>
                  <a:lnTo>
                    <a:pt x="60" y="33"/>
                  </a:lnTo>
                  <a:lnTo>
                    <a:pt x="61" y="33"/>
                  </a:lnTo>
                  <a:lnTo>
                    <a:pt x="62" y="35"/>
                  </a:lnTo>
                  <a:lnTo>
                    <a:pt x="63" y="35"/>
                  </a:lnTo>
                  <a:lnTo>
                    <a:pt x="64" y="35"/>
                  </a:lnTo>
                  <a:lnTo>
                    <a:pt x="65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8" y="36"/>
                  </a:lnTo>
                  <a:lnTo>
                    <a:pt x="69" y="36"/>
                  </a:lnTo>
                  <a:lnTo>
                    <a:pt x="70" y="36"/>
                  </a:lnTo>
                  <a:lnTo>
                    <a:pt x="73" y="36"/>
                  </a:lnTo>
                  <a:lnTo>
                    <a:pt x="74" y="36"/>
                  </a:lnTo>
                  <a:lnTo>
                    <a:pt x="75" y="36"/>
                  </a:lnTo>
                  <a:lnTo>
                    <a:pt x="77" y="36"/>
                  </a:lnTo>
                  <a:lnTo>
                    <a:pt x="78" y="36"/>
                  </a:lnTo>
                  <a:lnTo>
                    <a:pt x="80" y="36"/>
                  </a:lnTo>
                  <a:lnTo>
                    <a:pt x="81" y="36"/>
                  </a:lnTo>
                  <a:lnTo>
                    <a:pt x="82" y="36"/>
                  </a:lnTo>
                  <a:lnTo>
                    <a:pt x="83" y="36"/>
                  </a:lnTo>
                  <a:lnTo>
                    <a:pt x="83" y="37"/>
                  </a:lnTo>
                  <a:lnTo>
                    <a:pt x="85" y="37"/>
                  </a:lnTo>
                  <a:lnTo>
                    <a:pt x="87" y="38"/>
                  </a:lnTo>
                  <a:lnTo>
                    <a:pt x="89" y="39"/>
                  </a:lnTo>
                  <a:lnTo>
                    <a:pt x="89" y="39"/>
                  </a:lnTo>
                  <a:lnTo>
                    <a:pt x="90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3" y="39"/>
                  </a:lnTo>
                  <a:lnTo>
                    <a:pt x="94" y="38"/>
                  </a:lnTo>
                  <a:lnTo>
                    <a:pt x="97" y="37"/>
                  </a:lnTo>
                  <a:lnTo>
                    <a:pt x="98" y="36"/>
                  </a:lnTo>
                  <a:lnTo>
                    <a:pt x="100" y="36"/>
                  </a:lnTo>
                  <a:lnTo>
                    <a:pt x="102" y="35"/>
                  </a:lnTo>
                  <a:lnTo>
                    <a:pt x="103" y="35"/>
                  </a:lnTo>
                  <a:lnTo>
                    <a:pt x="104" y="35"/>
                  </a:lnTo>
                  <a:lnTo>
                    <a:pt x="105" y="34"/>
                  </a:lnTo>
                  <a:lnTo>
                    <a:pt x="106" y="33"/>
                  </a:lnTo>
                  <a:lnTo>
                    <a:pt x="106" y="33"/>
                  </a:lnTo>
                  <a:lnTo>
                    <a:pt x="107" y="32"/>
                  </a:lnTo>
                  <a:lnTo>
                    <a:pt x="107" y="31"/>
                  </a:lnTo>
                  <a:lnTo>
                    <a:pt x="108" y="31"/>
                  </a:lnTo>
                  <a:lnTo>
                    <a:pt x="108" y="30"/>
                  </a:lnTo>
                  <a:lnTo>
                    <a:pt x="109" y="27"/>
                  </a:lnTo>
                  <a:lnTo>
                    <a:pt x="110" y="26"/>
                  </a:lnTo>
                  <a:lnTo>
                    <a:pt x="110" y="26"/>
                  </a:lnTo>
                  <a:lnTo>
                    <a:pt x="111" y="25"/>
                  </a:lnTo>
                  <a:lnTo>
                    <a:pt x="111" y="24"/>
                  </a:lnTo>
                  <a:lnTo>
                    <a:pt x="112" y="24"/>
                  </a:lnTo>
                  <a:lnTo>
                    <a:pt x="113" y="23"/>
                  </a:lnTo>
                  <a:lnTo>
                    <a:pt x="114" y="22"/>
                  </a:lnTo>
                  <a:lnTo>
                    <a:pt x="115" y="21"/>
                  </a:lnTo>
                  <a:lnTo>
                    <a:pt x="116" y="20"/>
                  </a:lnTo>
                  <a:lnTo>
                    <a:pt x="118" y="19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1" y="18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Freeform 26">
              <a:extLst>
                <a:ext uri="{FF2B5EF4-FFF2-40B4-BE49-F238E27FC236}">
                  <a16:creationId xmlns:a16="http://schemas.microsoft.com/office/drawing/2014/main" id="{107976D1-510B-6CDB-4F99-1EA7D1F1B4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" y="3255"/>
              <a:ext cx="442" cy="291"/>
            </a:xfrm>
            <a:custGeom>
              <a:avLst/>
              <a:gdLst>
                <a:gd name="T0" fmla="*/ 131 w 442"/>
                <a:gd name="T1" fmla="*/ 34 h 291"/>
                <a:gd name="T2" fmla="*/ 148 w 442"/>
                <a:gd name="T3" fmla="*/ 30 h 291"/>
                <a:gd name="T4" fmla="*/ 170 w 442"/>
                <a:gd name="T5" fmla="*/ 23 h 291"/>
                <a:gd name="T6" fmla="*/ 190 w 442"/>
                <a:gd name="T7" fmla="*/ 40 h 291"/>
                <a:gd name="T8" fmla="*/ 208 w 442"/>
                <a:gd name="T9" fmla="*/ 53 h 291"/>
                <a:gd name="T10" fmla="*/ 231 w 442"/>
                <a:gd name="T11" fmla="*/ 68 h 291"/>
                <a:gd name="T12" fmla="*/ 255 w 442"/>
                <a:gd name="T13" fmla="*/ 75 h 291"/>
                <a:gd name="T14" fmla="*/ 274 w 442"/>
                <a:gd name="T15" fmla="*/ 74 h 291"/>
                <a:gd name="T16" fmla="*/ 282 w 442"/>
                <a:gd name="T17" fmla="*/ 69 h 291"/>
                <a:gd name="T18" fmla="*/ 289 w 442"/>
                <a:gd name="T19" fmla="*/ 56 h 291"/>
                <a:gd name="T20" fmla="*/ 312 w 442"/>
                <a:gd name="T21" fmla="*/ 39 h 291"/>
                <a:gd name="T22" fmla="*/ 329 w 442"/>
                <a:gd name="T23" fmla="*/ 22 h 291"/>
                <a:gd name="T24" fmla="*/ 343 w 442"/>
                <a:gd name="T25" fmla="*/ 24 h 291"/>
                <a:gd name="T26" fmla="*/ 365 w 442"/>
                <a:gd name="T27" fmla="*/ 33 h 291"/>
                <a:gd name="T28" fmla="*/ 392 w 442"/>
                <a:gd name="T29" fmla="*/ 48 h 291"/>
                <a:gd name="T30" fmla="*/ 409 w 442"/>
                <a:gd name="T31" fmla="*/ 33 h 291"/>
                <a:gd name="T32" fmla="*/ 428 w 442"/>
                <a:gd name="T33" fmla="*/ 6 h 291"/>
                <a:gd name="T34" fmla="*/ 441 w 442"/>
                <a:gd name="T35" fmla="*/ 1 h 291"/>
                <a:gd name="T36" fmla="*/ 430 w 442"/>
                <a:gd name="T37" fmla="*/ 39 h 291"/>
                <a:gd name="T38" fmla="*/ 426 w 442"/>
                <a:gd name="T39" fmla="*/ 61 h 291"/>
                <a:gd name="T40" fmla="*/ 423 w 442"/>
                <a:gd name="T41" fmla="*/ 81 h 291"/>
                <a:gd name="T42" fmla="*/ 403 w 442"/>
                <a:gd name="T43" fmla="*/ 95 h 291"/>
                <a:gd name="T44" fmla="*/ 407 w 442"/>
                <a:gd name="T45" fmla="*/ 119 h 291"/>
                <a:gd name="T46" fmla="*/ 413 w 442"/>
                <a:gd name="T47" fmla="*/ 154 h 291"/>
                <a:gd name="T48" fmla="*/ 410 w 442"/>
                <a:gd name="T49" fmla="*/ 173 h 291"/>
                <a:gd name="T50" fmla="*/ 426 w 442"/>
                <a:gd name="T51" fmla="*/ 200 h 291"/>
                <a:gd name="T52" fmla="*/ 428 w 442"/>
                <a:gd name="T53" fmla="*/ 218 h 291"/>
                <a:gd name="T54" fmla="*/ 441 w 442"/>
                <a:gd name="T55" fmla="*/ 225 h 291"/>
                <a:gd name="T56" fmla="*/ 433 w 442"/>
                <a:gd name="T57" fmla="*/ 251 h 291"/>
                <a:gd name="T58" fmla="*/ 431 w 442"/>
                <a:gd name="T59" fmla="*/ 274 h 291"/>
                <a:gd name="T60" fmla="*/ 415 w 442"/>
                <a:gd name="T61" fmla="*/ 275 h 291"/>
                <a:gd name="T62" fmla="*/ 384 w 442"/>
                <a:gd name="T63" fmla="*/ 268 h 291"/>
                <a:gd name="T64" fmla="*/ 358 w 442"/>
                <a:gd name="T65" fmla="*/ 266 h 291"/>
                <a:gd name="T66" fmla="*/ 350 w 442"/>
                <a:gd name="T67" fmla="*/ 283 h 291"/>
                <a:gd name="T68" fmla="*/ 324 w 442"/>
                <a:gd name="T69" fmla="*/ 284 h 291"/>
                <a:gd name="T70" fmla="*/ 311 w 442"/>
                <a:gd name="T71" fmla="*/ 290 h 291"/>
                <a:gd name="T72" fmla="*/ 292 w 442"/>
                <a:gd name="T73" fmla="*/ 276 h 291"/>
                <a:gd name="T74" fmla="*/ 264 w 442"/>
                <a:gd name="T75" fmla="*/ 258 h 291"/>
                <a:gd name="T76" fmla="*/ 230 w 442"/>
                <a:gd name="T77" fmla="*/ 242 h 291"/>
                <a:gd name="T78" fmla="*/ 210 w 442"/>
                <a:gd name="T79" fmla="*/ 232 h 291"/>
                <a:gd name="T80" fmla="*/ 191 w 442"/>
                <a:gd name="T81" fmla="*/ 223 h 291"/>
                <a:gd name="T82" fmla="*/ 179 w 442"/>
                <a:gd name="T83" fmla="*/ 234 h 291"/>
                <a:gd name="T84" fmla="*/ 163 w 442"/>
                <a:gd name="T85" fmla="*/ 241 h 291"/>
                <a:gd name="T86" fmla="*/ 147 w 442"/>
                <a:gd name="T87" fmla="*/ 222 h 291"/>
                <a:gd name="T88" fmla="*/ 132 w 442"/>
                <a:gd name="T89" fmla="*/ 213 h 291"/>
                <a:gd name="T90" fmla="*/ 120 w 442"/>
                <a:gd name="T91" fmla="*/ 203 h 291"/>
                <a:gd name="T92" fmla="*/ 101 w 442"/>
                <a:gd name="T93" fmla="*/ 192 h 291"/>
                <a:gd name="T94" fmla="*/ 84 w 442"/>
                <a:gd name="T95" fmla="*/ 187 h 291"/>
                <a:gd name="T96" fmla="*/ 64 w 442"/>
                <a:gd name="T97" fmla="*/ 184 h 291"/>
                <a:gd name="T98" fmla="*/ 39 w 442"/>
                <a:gd name="T99" fmla="*/ 149 h 291"/>
                <a:gd name="T100" fmla="*/ 45 w 442"/>
                <a:gd name="T101" fmla="*/ 127 h 291"/>
                <a:gd name="T102" fmla="*/ 37 w 442"/>
                <a:gd name="T103" fmla="*/ 112 h 291"/>
                <a:gd name="T104" fmla="*/ 28 w 442"/>
                <a:gd name="T105" fmla="*/ 99 h 291"/>
                <a:gd name="T106" fmla="*/ 15 w 442"/>
                <a:gd name="T107" fmla="*/ 93 h 291"/>
                <a:gd name="T108" fmla="*/ 0 w 442"/>
                <a:gd name="T109" fmla="*/ 83 h 291"/>
                <a:gd name="T110" fmla="*/ 5 w 442"/>
                <a:gd name="T111" fmla="*/ 76 h 291"/>
                <a:gd name="T112" fmla="*/ 10 w 442"/>
                <a:gd name="T113" fmla="*/ 66 h 291"/>
                <a:gd name="T114" fmla="*/ 10 w 442"/>
                <a:gd name="T115" fmla="*/ 54 h 291"/>
                <a:gd name="T116" fmla="*/ 19 w 442"/>
                <a:gd name="T117" fmla="*/ 49 h 291"/>
                <a:gd name="T118" fmla="*/ 33 w 442"/>
                <a:gd name="T119" fmla="*/ 49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2" h="291">
                  <a:moveTo>
                    <a:pt x="121" y="18"/>
                  </a:moveTo>
                  <a:lnTo>
                    <a:pt x="121" y="18"/>
                  </a:lnTo>
                  <a:lnTo>
                    <a:pt x="122" y="19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5" y="22"/>
                  </a:lnTo>
                  <a:lnTo>
                    <a:pt x="126" y="24"/>
                  </a:lnTo>
                  <a:lnTo>
                    <a:pt x="126" y="25"/>
                  </a:lnTo>
                  <a:lnTo>
                    <a:pt x="127" y="27"/>
                  </a:lnTo>
                  <a:lnTo>
                    <a:pt x="128" y="30"/>
                  </a:lnTo>
                  <a:lnTo>
                    <a:pt x="128" y="31"/>
                  </a:lnTo>
                  <a:lnTo>
                    <a:pt x="129" y="32"/>
                  </a:lnTo>
                  <a:lnTo>
                    <a:pt x="129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8" y="35"/>
                  </a:lnTo>
                  <a:lnTo>
                    <a:pt x="139" y="35"/>
                  </a:lnTo>
                  <a:lnTo>
                    <a:pt x="140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5" y="31"/>
                  </a:lnTo>
                  <a:lnTo>
                    <a:pt x="148" y="30"/>
                  </a:lnTo>
                  <a:lnTo>
                    <a:pt x="149" y="29"/>
                  </a:lnTo>
                  <a:lnTo>
                    <a:pt x="150" y="29"/>
                  </a:lnTo>
                  <a:lnTo>
                    <a:pt x="150" y="28"/>
                  </a:lnTo>
                  <a:lnTo>
                    <a:pt x="151" y="28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4"/>
                  </a:lnTo>
                  <a:lnTo>
                    <a:pt x="156" y="23"/>
                  </a:lnTo>
                  <a:lnTo>
                    <a:pt x="158" y="23"/>
                  </a:lnTo>
                  <a:lnTo>
                    <a:pt x="160" y="22"/>
                  </a:lnTo>
                  <a:lnTo>
                    <a:pt x="161" y="21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70" y="23"/>
                  </a:lnTo>
                  <a:lnTo>
                    <a:pt x="174" y="24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0" y="26"/>
                  </a:lnTo>
                  <a:lnTo>
                    <a:pt x="181" y="26"/>
                  </a:lnTo>
                  <a:lnTo>
                    <a:pt x="182" y="27"/>
                  </a:lnTo>
                  <a:lnTo>
                    <a:pt x="183" y="27"/>
                  </a:lnTo>
                  <a:lnTo>
                    <a:pt x="183" y="28"/>
                  </a:lnTo>
                  <a:lnTo>
                    <a:pt x="185" y="31"/>
                  </a:lnTo>
                  <a:lnTo>
                    <a:pt x="186" y="31"/>
                  </a:lnTo>
                  <a:lnTo>
                    <a:pt x="186" y="32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88" y="35"/>
                  </a:lnTo>
                  <a:lnTo>
                    <a:pt x="189" y="39"/>
                  </a:lnTo>
                  <a:lnTo>
                    <a:pt x="190" y="40"/>
                  </a:lnTo>
                  <a:lnTo>
                    <a:pt x="190" y="41"/>
                  </a:lnTo>
                  <a:lnTo>
                    <a:pt x="191" y="42"/>
                  </a:lnTo>
                  <a:lnTo>
                    <a:pt x="191" y="43"/>
                  </a:lnTo>
                  <a:lnTo>
                    <a:pt x="192" y="43"/>
                  </a:lnTo>
                  <a:lnTo>
                    <a:pt x="192" y="44"/>
                  </a:lnTo>
                  <a:lnTo>
                    <a:pt x="193" y="44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6"/>
                  </a:lnTo>
                  <a:lnTo>
                    <a:pt x="200" y="46"/>
                  </a:lnTo>
                  <a:lnTo>
                    <a:pt x="201" y="47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4" y="49"/>
                  </a:lnTo>
                  <a:lnTo>
                    <a:pt x="206" y="50"/>
                  </a:lnTo>
                  <a:lnTo>
                    <a:pt x="208" y="53"/>
                  </a:lnTo>
                  <a:lnTo>
                    <a:pt x="209" y="54"/>
                  </a:lnTo>
                  <a:lnTo>
                    <a:pt x="210" y="55"/>
                  </a:lnTo>
                  <a:lnTo>
                    <a:pt x="211" y="56"/>
                  </a:lnTo>
                  <a:lnTo>
                    <a:pt x="212" y="57"/>
                  </a:lnTo>
                  <a:lnTo>
                    <a:pt x="213" y="58"/>
                  </a:lnTo>
                  <a:lnTo>
                    <a:pt x="215" y="58"/>
                  </a:lnTo>
                  <a:lnTo>
                    <a:pt x="218" y="60"/>
                  </a:lnTo>
                  <a:lnTo>
                    <a:pt x="219" y="60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2"/>
                  </a:lnTo>
                  <a:lnTo>
                    <a:pt x="224" y="64"/>
                  </a:lnTo>
                  <a:lnTo>
                    <a:pt x="225" y="65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8" y="67"/>
                  </a:lnTo>
                  <a:lnTo>
                    <a:pt x="231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6" y="70"/>
                  </a:lnTo>
                  <a:lnTo>
                    <a:pt x="237" y="71"/>
                  </a:lnTo>
                  <a:lnTo>
                    <a:pt x="238" y="72"/>
                  </a:lnTo>
                  <a:lnTo>
                    <a:pt x="242" y="75"/>
                  </a:lnTo>
                  <a:lnTo>
                    <a:pt x="243" y="75"/>
                  </a:lnTo>
                  <a:lnTo>
                    <a:pt x="244" y="76"/>
                  </a:lnTo>
                  <a:lnTo>
                    <a:pt x="245" y="76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7" y="77"/>
                  </a:lnTo>
                  <a:lnTo>
                    <a:pt x="248" y="77"/>
                  </a:lnTo>
                  <a:lnTo>
                    <a:pt x="249" y="77"/>
                  </a:lnTo>
                  <a:lnTo>
                    <a:pt x="251" y="76"/>
                  </a:lnTo>
                  <a:lnTo>
                    <a:pt x="254" y="76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1" y="74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6" y="75"/>
                  </a:lnTo>
                  <a:lnTo>
                    <a:pt x="269" y="75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4" y="74"/>
                  </a:lnTo>
                  <a:lnTo>
                    <a:pt x="275" y="75"/>
                  </a:lnTo>
                  <a:lnTo>
                    <a:pt x="277" y="75"/>
                  </a:lnTo>
                  <a:lnTo>
                    <a:pt x="278" y="76"/>
                  </a:lnTo>
                  <a:lnTo>
                    <a:pt x="279" y="76"/>
                  </a:lnTo>
                  <a:lnTo>
                    <a:pt x="280" y="76"/>
                  </a:lnTo>
                  <a:lnTo>
                    <a:pt x="281" y="76"/>
                  </a:lnTo>
                  <a:lnTo>
                    <a:pt x="281" y="75"/>
                  </a:lnTo>
                  <a:lnTo>
                    <a:pt x="282" y="75"/>
                  </a:lnTo>
                  <a:lnTo>
                    <a:pt x="282" y="75"/>
                  </a:lnTo>
                  <a:lnTo>
                    <a:pt x="283" y="75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2" y="70"/>
                  </a:lnTo>
                  <a:lnTo>
                    <a:pt x="282" y="69"/>
                  </a:lnTo>
                  <a:lnTo>
                    <a:pt x="282" y="69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7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4" y="65"/>
                  </a:lnTo>
                  <a:lnTo>
                    <a:pt x="286" y="64"/>
                  </a:lnTo>
                  <a:lnTo>
                    <a:pt x="287" y="63"/>
                  </a:lnTo>
                  <a:lnTo>
                    <a:pt x="288" y="62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0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5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1" y="52"/>
                  </a:lnTo>
                  <a:lnTo>
                    <a:pt x="292" y="51"/>
                  </a:lnTo>
                  <a:lnTo>
                    <a:pt x="293" y="50"/>
                  </a:lnTo>
                  <a:lnTo>
                    <a:pt x="294" y="50"/>
                  </a:lnTo>
                  <a:lnTo>
                    <a:pt x="296" y="48"/>
                  </a:lnTo>
                  <a:lnTo>
                    <a:pt x="298" y="47"/>
                  </a:lnTo>
                  <a:lnTo>
                    <a:pt x="300" y="46"/>
                  </a:lnTo>
                  <a:lnTo>
                    <a:pt x="302" y="44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6" y="42"/>
                  </a:lnTo>
                  <a:lnTo>
                    <a:pt x="309" y="41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20" y="35"/>
                  </a:lnTo>
                  <a:lnTo>
                    <a:pt x="321" y="34"/>
                  </a:lnTo>
                  <a:lnTo>
                    <a:pt x="322" y="33"/>
                  </a:lnTo>
                  <a:lnTo>
                    <a:pt x="323" y="32"/>
                  </a:lnTo>
                  <a:lnTo>
                    <a:pt x="324" y="31"/>
                  </a:lnTo>
                  <a:lnTo>
                    <a:pt x="325" y="31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7" y="27"/>
                  </a:lnTo>
                  <a:lnTo>
                    <a:pt x="329" y="24"/>
                  </a:lnTo>
                  <a:lnTo>
                    <a:pt x="329" y="23"/>
                  </a:lnTo>
                  <a:lnTo>
                    <a:pt x="329" y="22"/>
                  </a:lnTo>
                  <a:lnTo>
                    <a:pt x="330" y="21"/>
                  </a:lnTo>
                  <a:lnTo>
                    <a:pt x="330" y="21"/>
                  </a:lnTo>
                  <a:lnTo>
                    <a:pt x="331" y="21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39" y="22"/>
                  </a:lnTo>
                  <a:lnTo>
                    <a:pt x="342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7" y="26"/>
                  </a:lnTo>
                  <a:lnTo>
                    <a:pt x="352" y="28"/>
                  </a:lnTo>
                  <a:lnTo>
                    <a:pt x="353" y="28"/>
                  </a:lnTo>
                  <a:lnTo>
                    <a:pt x="355" y="29"/>
                  </a:lnTo>
                  <a:lnTo>
                    <a:pt x="356" y="29"/>
                  </a:lnTo>
                  <a:lnTo>
                    <a:pt x="357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9" y="29"/>
                  </a:lnTo>
                  <a:lnTo>
                    <a:pt x="359" y="29"/>
                  </a:lnTo>
                  <a:lnTo>
                    <a:pt x="360" y="30"/>
                  </a:lnTo>
                  <a:lnTo>
                    <a:pt x="362" y="31"/>
                  </a:lnTo>
                  <a:lnTo>
                    <a:pt x="363" y="32"/>
                  </a:lnTo>
                  <a:lnTo>
                    <a:pt x="365" y="33"/>
                  </a:lnTo>
                  <a:lnTo>
                    <a:pt x="366" y="34"/>
                  </a:lnTo>
                  <a:lnTo>
                    <a:pt x="367" y="35"/>
                  </a:lnTo>
                  <a:lnTo>
                    <a:pt x="370" y="38"/>
                  </a:lnTo>
                  <a:lnTo>
                    <a:pt x="371" y="39"/>
                  </a:lnTo>
                  <a:lnTo>
                    <a:pt x="373" y="40"/>
                  </a:lnTo>
                  <a:lnTo>
                    <a:pt x="374" y="41"/>
                  </a:lnTo>
                  <a:lnTo>
                    <a:pt x="375" y="41"/>
                  </a:lnTo>
                  <a:lnTo>
                    <a:pt x="376" y="42"/>
                  </a:lnTo>
                  <a:lnTo>
                    <a:pt x="377" y="43"/>
                  </a:lnTo>
                  <a:lnTo>
                    <a:pt x="378" y="43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9" y="47"/>
                  </a:lnTo>
                  <a:lnTo>
                    <a:pt x="390" y="47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3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5" y="47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8" y="46"/>
                  </a:lnTo>
                  <a:lnTo>
                    <a:pt x="399" y="45"/>
                  </a:lnTo>
                  <a:lnTo>
                    <a:pt x="400" y="45"/>
                  </a:lnTo>
                  <a:lnTo>
                    <a:pt x="401" y="44"/>
                  </a:lnTo>
                  <a:lnTo>
                    <a:pt x="402" y="42"/>
                  </a:lnTo>
                  <a:lnTo>
                    <a:pt x="406" y="37"/>
                  </a:lnTo>
                  <a:lnTo>
                    <a:pt x="407" y="35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9" y="33"/>
                  </a:lnTo>
                  <a:lnTo>
                    <a:pt x="412" y="30"/>
                  </a:lnTo>
                  <a:lnTo>
                    <a:pt x="414" y="28"/>
                  </a:lnTo>
                  <a:lnTo>
                    <a:pt x="416" y="27"/>
                  </a:lnTo>
                  <a:lnTo>
                    <a:pt x="417" y="26"/>
                  </a:lnTo>
                  <a:lnTo>
                    <a:pt x="418" y="24"/>
                  </a:lnTo>
                  <a:lnTo>
                    <a:pt x="419" y="22"/>
                  </a:lnTo>
                  <a:lnTo>
                    <a:pt x="420" y="21"/>
                  </a:lnTo>
                  <a:lnTo>
                    <a:pt x="421" y="20"/>
                  </a:lnTo>
                  <a:lnTo>
                    <a:pt x="421" y="18"/>
                  </a:lnTo>
                  <a:lnTo>
                    <a:pt x="422" y="17"/>
                  </a:lnTo>
                  <a:lnTo>
                    <a:pt x="424" y="12"/>
                  </a:lnTo>
                  <a:lnTo>
                    <a:pt x="424" y="11"/>
                  </a:lnTo>
                  <a:lnTo>
                    <a:pt x="425" y="10"/>
                  </a:lnTo>
                  <a:lnTo>
                    <a:pt x="426" y="9"/>
                  </a:lnTo>
                  <a:lnTo>
                    <a:pt x="426" y="7"/>
                  </a:lnTo>
                  <a:lnTo>
                    <a:pt x="427" y="6"/>
                  </a:lnTo>
                  <a:lnTo>
                    <a:pt x="428" y="6"/>
                  </a:lnTo>
                  <a:lnTo>
                    <a:pt x="429" y="5"/>
                  </a:lnTo>
                  <a:lnTo>
                    <a:pt x="430" y="4"/>
                  </a:lnTo>
                  <a:lnTo>
                    <a:pt x="431" y="3"/>
                  </a:lnTo>
                  <a:lnTo>
                    <a:pt x="432" y="2"/>
                  </a:lnTo>
                  <a:lnTo>
                    <a:pt x="433" y="2"/>
                  </a:lnTo>
                  <a:lnTo>
                    <a:pt x="434" y="1"/>
                  </a:lnTo>
                  <a:lnTo>
                    <a:pt x="435" y="1"/>
                  </a:lnTo>
                  <a:lnTo>
                    <a:pt x="436" y="0"/>
                  </a:lnTo>
                  <a:lnTo>
                    <a:pt x="437" y="0"/>
                  </a:lnTo>
                  <a:lnTo>
                    <a:pt x="438" y="0"/>
                  </a:lnTo>
                  <a:lnTo>
                    <a:pt x="439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2" y="1"/>
                  </a:lnTo>
                  <a:lnTo>
                    <a:pt x="442" y="1"/>
                  </a:lnTo>
                  <a:lnTo>
                    <a:pt x="442" y="3"/>
                  </a:lnTo>
                  <a:lnTo>
                    <a:pt x="442" y="4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0" y="11"/>
                  </a:lnTo>
                  <a:lnTo>
                    <a:pt x="440" y="13"/>
                  </a:lnTo>
                  <a:lnTo>
                    <a:pt x="439" y="17"/>
                  </a:lnTo>
                  <a:lnTo>
                    <a:pt x="437" y="20"/>
                  </a:lnTo>
                  <a:lnTo>
                    <a:pt x="435" y="28"/>
                  </a:lnTo>
                  <a:lnTo>
                    <a:pt x="433" y="32"/>
                  </a:lnTo>
                  <a:lnTo>
                    <a:pt x="433" y="33"/>
                  </a:lnTo>
                  <a:lnTo>
                    <a:pt x="431" y="35"/>
                  </a:lnTo>
                  <a:lnTo>
                    <a:pt x="430" y="39"/>
                  </a:lnTo>
                  <a:lnTo>
                    <a:pt x="430" y="40"/>
                  </a:lnTo>
                  <a:lnTo>
                    <a:pt x="429" y="42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6"/>
                  </a:lnTo>
                  <a:lnTo>
                    <a:pt x="428" y="47"/>
                  </a:lnTo>
                  <a:lnTo>
                    <a:pt x="428" y="51"/>
                  </a:lnTo>
                  <a:lnTo>
                    <a:pt x="428" y="52"/>
                  </a:lnTo>
                  <a:lnTo>
                    <a:pt x="428" y="53"/>
                  </a:lnTo>
                  <a:lnTo>
                    <a:pt x="428" y="54"/>
                  </a:lnTo>
                  <a:lnTo>
                    <a:pt x="428" y="55"/>
                  </a:lnTo>
                  <a:lnTo>
                    <a:pt x="427" y="58"/>
                  </a:lnTo>
                  <a:lnTo>
                    <a:pt x="427" y="59"/>
                  </a:lnTo>
                  <a:lnTo>
                    <a:pt x="426" y="60"/>
                  </a:lnTo>
                  <a:lnTo>
                    <a:pt x="426" y="61"/>
                  </a:lnTo>
                  <a:lnTo>
                    <a:pt x="426" y="62"/>
                  </a:lnTo>
                  <a:lnTo>
                    <a:pt x="426" y="62"/>
                  </a:lnTo>
                  <a:lnTo>
                    <a:pt x="427" y="63"/>
                  </a:lnTo>
                  <a:lnTo>
                    <a:pt x="427" y="66"/>
                  </a:lnTo>
                  <a:lnTo>
                    <a:pt x="427" y="67"/>
                  </a:lnTo>
                  <a:lnTo>
                    <a:pt x="428" y="70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8" y="74"/>
                  </a:lnTo>
                  <a:lnTo>
                    <a:pt x="427" y="75"/>
                  </a:lnTo>
                  <a:lnTo>
                    <a:pt x="427" y="76"/>
                  </a:lnTo>
                  <a:lnTo>
                    <a:pt x="426" y="77"/>
                  </a:lnTo>
                  <a:lnTo>
                    <a:pt x="426" y="78"/>
                  </a:lnTo>
                  <a:lnTo>
                    <a:pt x="426" y="78"/>
                  </a:lnTo>
                  <a:lnTo>
                    <a:pt x="425" y="79"/>
                  </a:lnTo>
                  <a:lnTo>
                    <a:pt x="424" y="79"/>
                  </a:lnTo>
                  <a:lnTo>
                    <a:pt x="423" y="81"/>
                  </a:lnTo>
                  <a:lnTo>
                    <a:pt x="420" y="83"/>
                  </a:lnTo>
                  <a:lnTo>
                    <a:pt x="419" y="84"/>
                  </a:lnTo>
                  <a:lnTo>
                    <a:pt x="416" y="87"/>
                  </a:lnTo>
                  <a:lnTo>
                    <a:pt x="416" y="88"/>
                  </a:lnTo>
                  <a:lnTo>
                    <a:pt x="415" y="89"/>
                  </a:lnTo>
                  <a:lnTo>
                    <a:pt x="414" y="90"/>
                  </a:lnTo>
                  <a:lnTo>
                    <a:pt x="413" y="91"/>
                  </a:lnTo>
                  <a:lnTo>
                    <a:pt x="412" y="91"/>
                  </a:lnTo>
                  <a:lnTo>
                    <a:pt x="412" y="92"/>
                  </a:lnTo>
                  <a:lnTo>
                    <a:pt x="411" y="92"/>
                  </a:lnTo>
                  <a:lnTo>
                    <a:pt x="410" y="93"/>
                  </a:lnTo>
                  <a:lnTo>
                    <a:pt x="410" y="93"/>
                  </a:lnTo>
                  <a:lnTo>
                    <a:pt x="409" y="93"/>
                  </a:lnTo>
                  <a:lnTo>
                    <a:pt x="406" y="94"/>
                  </a:lnTo>
                  <a:lnTo>
                    <a:pt x="405" y="94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2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2" y="97"/>
                  </a:lnTo>
                  <a:lnTo>
                    <a:pt x="401" y="98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2" y="101"/>
                  </a:lnTo>
                  <a:lnTo>
                    <a:pt x="404" y="105"/>
                  </a:lnTo>
                  <a:lnTo>
                    <a:pt x="405" y="108"/>
                  </a:lnTo>
                  <a:lnTo>
                    <a:pt x="405" y="110"/>
                  </a:lnTo>
                  <a:lnTo>
                    <a:pt x="406" y="115"/>
                  </a:lnTo>
                  <a:lnTo>
                    <a:pt x="407" y="117"/>
                  </a:lnTo>
                  <a:lnTo>
                    <a:pt x="407" y="119"/>
                  </a:lnTo>
                  <a:lnTo>
                    <a:pt x="408" y="121"/>
                  </a:lnTo>
                  <a:lnTo>
                    <a:pt x="410" y="126"/>
                  </a:lnTo>
                  <a:lnTo>
                    <a:pt x="411" y="131"/>
                  </a:lnTo>
                  <a:lnTo>
                    <a:pt x="412" y="132"/>
                  </a:lnTo>
                  <a:lnTo>
                    <a:pt x="412" y="133"/>
                  </a:lnTo>
                  <a:lnTo>
                    <a:pt x="412" y="135"/>
                  </a:lnTo>
                  <a:lnTo>
                    <a:pt x="413" y="139"/>
                  </a:lnTo>
                  <a:lnTo>
                    <a:pt x="413" y="142"/>
                  </a:lnTo>
                  <a:lnTo>
                    <a:pt x="413" y="143"/>
                  </a:lnTo>
                  <a:lnTo>
                    <a:pt x="413" y="145"/>
                  </a:lnTo>
                  <a:lnTo>
                    <a:pt x="414" y="148"/>
                  </a:lnTo>
                  <a:lnTo>
                    <a:pt x="414" y="150"/>
                  </a:lnTo>
                  <a:lnTo>
                    <a:pt x="414" y="151"/>
                  </a:lnTo>
                  <a:lnTo>
                    <a:pt x="414" y="151"/>
                  </a:lnTo>
                  <a:lnTo>
                    <a:pt x="414" y="152"/>
                  </a:lnTo>
                  <a:lnTo>
                    <a:pt x="414" y="153"/>
                  </a:lnTo>
                  <a:lnTo>
                    <a:pt x="413" y="154"/>
                  </a:lnTo>
                  <a:lnTo>
                    <a:pt x="413" y="154"/>
                  </a:lnTo>
                  <a:lnTo>
                    <a:pt x="411" y="157"/>
                  </a:lnTo>
                  <a:lnTo>
                    <a:pt x="410" y="158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09" y="161"/>
                  </a:lnTo>
                  <a:lnTo>
                    <a:pt x="409" y="162"/>
                  </a:lnTo>
                  <a:lnTo>
                    <a:pt x="409" y="163"/>
                  </a:lnTo>
                  <a:lnTo>
                    <a:pt x="408" y="164"/>
                  </a:lnTo>
                  <a:lnTo>
                    <a:pt x="408" y="165"/>
                  </a:lnTo>
                  <a:lnTo>
                    <a:pt x="408" y="166"/>
                  </a:lnTo>
                  <a:lnTo>
                    <a:pt x="408" y="167"/>
                  </a:lnTo>
                  <a:lnTo>
                    <a:pt x="408" y="169"/>
                  </a:lnTo>
                  <a:lnTo>
                    <a:pt x="409" y="170"/>
                  </a:lnTo>
                  <a:lnTo>
                    <a:pt x="409" y="171"/>
                  </a:lnTo>
                  <a:lnTo>
                    <a:pt x="409" y="172"/>
                  </a:lnTo>
                  <a:lnTo>
                    <a:pt x="410" y="173"/>
                  </a:lnTo>
                  <a:lnTo>
                    <a:pt x="412" y="176"/>
                  </a:lnTo>
                  <a:lnTo>
                    <a:pt x="413" y="177"/>
                  </a:lnTo>
                  <a:lnTo>
                    <a:pt x="413" y="178"/>
                  </a:lnTo>
                  <a:lnTo>
                    <a:pt x="413" y="179"/>
                  </a:lnTo>
                  <a:lnTo>
                    <a:pt x="414" y="180"/>
                  </a:lnTo>
                  <a:lnTo>
                    <a:pt x="415" y="183"/>
                  </a:lnTo>
                  <a:lnTo>
                    <a:pt x="416" y="185"/>
                  </a:lnTo>
                  <a:lnTo>
                    <a:pt x="416" y="187"/>
                  </a:lnTo>
                  <a:lnTo>
                    <a:pt x="417" y="189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21" y="193"/>
                  </a:lnTo>
                  <a:lnTo>
                    <a:pt x="422" y="195"/>
                  </a:lnTo>
                  <a:lnTo>
                    <a:pt x="425" y="198"/>
                  </a:lnTo>
                  <a:lnTo>
                    <a:pt x="425" y="199"/>
                  </a:lnTo>
                  <a:lnTo>
                    <a:pt x="426" y="199"/>
                  </a:lnTo>
                  <a:lnTo>
                    <a:pt x="426" y="200"/>
                  </a:lnTo>
                  <a:lnTo>
                    <a:pt x="427" y="201"/>
                  </a:lnTo>
                  <a:lnTo>
                    <a:pt x="427" y="202"/>
                  </a:lnTo>
                  <a:lnTo>
                    <a:pt x="427" y="205"/>
                  </a:lnTo>
                  <a:lnTo>
                    <a:pt x="427" y="206"/>
                  </a:lnTo>
                  <a:lnTo>
                    <a:pt x="428" y="206"/>
                  </a:lnTo>
                  <a:lnTo>
                    <a:pt x="429" y="209"/>
                  </a:lnTo>
                  <a:lnTo>
                    <a:pt x="429" y="210"/>
                  </a:lnTo>
                  <a:lnTo>
                    <a:pt x="429" y="210"/>
                  </a:lnTo>
                  <a:lnTo>
                    <a:pt x="429" y="211"/>
                  </a:lnTo>
                  <a:lnTo>
                    <a:pt x="429" y="212"/>
                  </a:lnTo>
                  <a:lnTo>
                    <a:pt x="429" y="213"/>
                  </a:lnTo>
                  <a:lnTo>
                    <a:pt x="428" y="215"/>
                  </a:lnTo>
                  <a:lnTo>
                    <a:pt x="428" y="216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8"/>
                  </a:lnTo>
                  <a:lnTo>
                    <a:pt x="428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0" y="218"/>
                  </a:lnTo>
                  <a:lnTo>
                    <a:pt x="431" y="218"/>
                  </a:lnTo>
                  <a:lnTo>
                    <a:pt x="432" y="219"/>
                  </a:lnTo>
                  <a:lnTo>
                    <a:pt x="435" y="219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7" y="220"/>
                  </a:lnTo>
                  <a:lnTo>
                    <a:pt x="438" y="221"/>
                  </a:lnTo>
                  <a:lnTo>
                    <a:pt x="439" y="221"/>
                  </a:lnTo>
                  <a:lnTo>
                    <a:pt x="439" y="222"/>
                  </a:lnTo>
                  <a:lnTo>
                    <a:pt x="440" y="223"/>
                  </a:lnTo>
                  <a:lnTo>
                    <a:pt x="440" y="223"/>
                  </a:lnTo>
                  <a:lnTo>
                    <a:pt x="441" y="224"/>
                  </a:lnTo>
                  <a:lnTo>
                    <a:pt x="441" y="225"/>
                  </a:lnTo>
                  <a:lnTo>
                    <a:pt x="441" y="226"/>
                  </a:lnTo>
                  <a:lnTo>
                    <a:pt x="441" y="227"/>
                  </a:lnTo>
                  <a:lnTo>
                    <a:pt x="442" y="231"/>
                  </a:lnTo>
                  <a:lnTo>
                    <a:pt x="442" y="232"/>
                  </a:lnTo>
                  <a:lnTo>
                    <a:pt x="442" y="233"/>
                  </a:lnTo>
                  <a:lnTo>
                    <a:pt x="442" y="235"/>
                  </a:lnTo>
                  <a:lnTo>
                    <a:pt x="442" y="237"/>
                  </a:lnTo>
                  <a:lnTo>
                    <a:pt x="441" y="238"/>
                  </a:lnTo>
                  <a:lnTo>
                    <a:pt x="441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0" y="242"/>
                  </a:lnTo>
                  <a:lnTo>
                    <a:pt x="439" y="243"/>
                  </a:lnTo>
                  <a:lnTo>
                    <a:pt x="437" y="246"/>
                  </a:lnTo>
                  <a:lnTo>
                    <a:pt x="434" y="249"/>
                  </a:lnTo>
                  <a:lnTo>
                    <a:pt x="434" y="250"/>
                  </a:lnTo>
                  <a:lnTo>
                    <a:pt x="433" y="251"/>
                  </a:lnTo>
                  <a:lnTo>
                    <a:pt x="432" y="252"/>
                  </a:lnTo>
                  <a:lnTo>
                    <a:pt x="432" y="253"/>
                  </a:lnTo>
                  <a:lnTo>
                    <a:pt x="431" y="254"/>
                  </a:lnTo>
                  <a:lnTo>
                    <a:pt x="431" y="255"/>
                  </a:lnTo>
                  <a:lnTo>
                    <a:pt x="431" y="256"/>
                  </a:lnTo>
                  <a:lnTo>
                    <a:pt x="431" y="258"/>
                  </a:lnTo>
                  <a:lnTo>
                    <a:pt x="431" y="259"/>
                  </a:lnTo>
                  <a:lnTo>
                    <a:pt x="431" y="259"/>
                  </a:lnTo>
                  <a:lnTo>
                    <a:pt x="431" y="260"/>
                  </a:lnTo>
                  <a:lnTo>
                    <a:pt x="432" y="262"/>
                  </a:lnTo>
                  <a:lnTo>
                    <a:pt x="433" y="265"/>
                  </a:lnTo>
                  <a:lnTo>
                    <a:pt x="433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9"/>
                  </a:lnTo>
                  <a:lnTo>
                    <a:pt x="432" y="271"/>
                  </a:lnTo>
                  <a:lnTo>
                    <a:pt x="431" y="274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1" y="279"/>
                  </a:lnTo>
                  <a:lnTo>
                    <a:pt x="430" y="279"/>
                  </a:lnTo>
                  <a:lnTo>
                    <a:pt x="430" y="279"/>
                  </a:lnTo>
                  <a:lnTo>
                    <a:pt x="429" y="279"/>
                  </a:lnTo>
                  <a:lnTo>
                    <a:pt x="427" y="279"/>
                  </a:lnTo>
                  <a:lnTo>
                    <a:pt x="426" y="279"/>
                  </a:lnTo>
                  <a:lnTo>
                    <a:pt x="425" y="279"/>
                  </a:lnTo>
                  <a:lnTo>
                    <a:pt x="423" y="278"/>
                  </a:lnTo>
                  <a:lnTo>
                    <a:pt x="421" y="278"/>
                  </a:lnTo>
                  <a:lnTo>
                    <a:pt x="420" y="277"/>
                  </a:lnTo>
                  <a:lnTo>
                    <a:pt x="418" y="277"/>
                  </a:lnTo>
                  <a:lnTo>
                    <a:pt x="416" y="276"/>
                  </a:lnTo>
                  <a:lnTo>
                    <a:pt x="415" y="275"/>
                  </a:lnTo>
                  <a:lnTo>
                    <a:pt x="413" y="275"/>
                  </a:lnTo>
                  <a:lnTo>
                    <a:pt x="406" y="271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9"/>
                  </a:lnTo>
                  <a:lnTo>
                    <a:pt x="400" y="269"/>
                  </a:lnTo>
                  <a:lnTo>
                    <a:pt x="398" y="268"/>
                  </a:lnTo>
                  <a:lnTo>
                    <a:pt x="397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2" y="267"/>
                  </a:lnTo>
                  <a:lnTo>
                    <a:pt x="391" y="267"/>
                  </a:lnTo>
                  <a:lnTo>
                    <a:pt x="390" y="267"/>
                  </a:lnTo>
                  <a:lnTo>
                    <a:pt x="388" y="268"/>
                  </a:lnTo>
                  <a:lnTo>
                    <a:pt x="386" y="268"/>
                  </a:lnTo>
                  <a:lnTo>
                    <a:pt x="385" y="268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3" y="268"/>
                  </a:lnTo>
                  <a:lnTo>
                    <a:pt x="380" y="267"/>
                  </a:lnTo>
                  <a:lnTo>
                    <a:pt x="379" y="267"/>
                  </a:lnTo>
                  <a:lnTo>
                    <a:pt x="378" y="267"/>
                  </a:lnTo>
                  <a:lnTo>
                    <a:pt x="377" y="267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70" y="268"/>
                  </a:lnTo>
                  <a:lnTo>
                    <a:pt x="368" y="268"/>
                  </a:lnTo>
                  <a:lnTo>
                    <a:pt x="365" y="268"/>
                  </a:lnTo>
                  <a:lnTo>
                    <a:pt x="363" y="268"/>
                  </a:lnTo>
                  <a:lnTo>
                    <a:pt x="362" y="267"/>
                  </a:lnTo>
                  <a:lnTo>
                    <a:pt x="359" y="267"/>
                  </a:lnTo>
                  <a:lnTo>
                    <a:pt x="358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6" y="267"/>
                  </a:lnTo>
                  <a:lnTo>
                    <a:pt x="356" y="268"/>
                  </a:lnTo>
                  <a:lnTo>
                    <a:pt x="355" y="269"/>
                  </a:lnTo>
                  <a:lnTo>
                    <a:pt x="355" y="271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2" y="281"/>
                  </a:lnTo>
                  <a:lnTo>
                    <a:pt x="352" y="282"/>
                  </a:lnTo>
                  <a:lnTo>
                    <a:pt x="351" y="283"/>
                  </a:lnTo>
                  <a:lnTo>
                    <a:pt x="351" y="283"/>
                  </a:lnTo>
                  <a:lnTo>
                    <a:pt x="350" y="283"/>
                  </a:lnTo>
                  <a:lnTo>
                    <a:pt x="350" y="283"/>
                  </a:lnTo>
                  <a:lnTo>
                    <a:pt x="349" y="284"/>
                  </a:lnTo>
                  <a:lnTo>
                    <a:pt x="348" y="284"/>
                  </a:lnTo>
                  <a:lnTo>
                    <a:pt x="346" y="284"/>
                  </a:lnTo>
                  <a:lnTo>
                    <a:pt x="344" y="284"/>
                  </a:lnTo>
                  <a:lnTo>
                    <a:pt x="343" y="284"/>
                  </a:lnTo>
                  <a:lnTo>
                    <a:pt x="341" y="284"/>
                  </a:lnTo>
                  <a:lnTo>
                    <a:pt x="337" y="283"/>
                  </a:lnTo>
                  <a:lnTo>
                    <a:pt x="336" y="283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4" y="283"/>
                  </a:lnTo>
                  <a:lnTo>
                    <a:pt x="331" y="283"/>
                  </a:lnTo>
                  <a:lnTo>
                    <a:pt x="329" y="284"/>
                  </a:lnTo>
                  <a:lnTo>
                    <a:pt x="327" y="284"/>
                  </a:lnTo>
                  <a:lnTo>
                    <a:pt x="326" y="284"/>
                  </a:lnTo>
                  <a:lnTo>
                    <a:pt x="325" y="284"/>
                  </a:lnTo>
                  <a:lnTo>
                    <a:pt x="324" y="284"/>
                  </a:lnTo>
                  <a:lnTo>
                    <a:pt x="324" y="284"/>
                  </a:lnTo>
                  <a:lnTo>
                    <a:pt x="323" y="283"/>
                  </a:lnTo>
                  <a:lnTo>
                    <a:pt x="322" y="283"/>
                  </a:lnTo>
                  <a:lnTo>
                    <a:pt x="322" y="283"/>
                  </a:lnTo>
                  <a:lnTo>
                    <a:pt x="321" y="283"/>
                  </a:lnTo>
                  <a:lnTo>
                    <a:pt x="321" y="283"/>
                  </a:lnTo>
                  <a:lnTo>
                    <a:pt x="320" y="283"/>
                  </a:lnTo>
                  <a:lnTo>
                    <a:pt x="319" y="283"/>
                  </a:lnTo>
                  <a:lnTo>
                    <a:pt x="318" y="283"/>
                  </a:lnTo>
                  <a:lnTo>
                    <a:pt x="317" y="284"/>
                  </a:lnTo>
                  <a:lnTo>
                    <a:pt x="316" y="284"/>
                  </a:lnTo>
                  <a:lnTo>
                    <a:pt x="316" y="285"/>
                  </a:lnTo>
                  <a:lnTo>
                    <a:pt x="315" y="285"/>
                  </a:lnTo>
                  <a:lnTo>
                    <a:pt x="314" y="287"/>
                  </a:lnTo>
                  <a:lnTo>
                    <a:pt x="313" y="288"/>
                  </a:lnTo>
                  <a:lnTo>
                    <a:pt x="311" y="289"/>
                  </a:lnTo>
                  <a:lnTo>
                    <a:pt x="311" y="290"/>
                  </a:lnTo>
                  <a:lnTo>
                    <a:pt x="310" y="290"/>
                  </a:lnTo>
                  <a:lnTo>
                    <a:pt x="310" y="291"/>
                  </a:lnTo>
                  <a:lnTo>
                    <a:pt x="309" y="291"/>
                  </a:lnTo>
                  <a:lnTo>
                    <a:pt x="309" y="291"/>
                  </a:lnTo>
                  <a:lnTo>
                    <a:pt x="308" y="291"/>
                  </a:lnTo>
                  <a:lnTo>
                    <a:pt x="308" y="291"/>
                  </a:lnTo>
                  <a:lnTo>
                    <a:pt x="307" y="291"/>
                  </a:lnTo>
                  <a:lnTo>
                    <a:pt x="307" y="290"/>
                  </a:lnTo>
                  <a:lnTo>
                    <a:pt x="307" y="290"/>
                  </a:lnTo>
                  <a:lnTo>
                    <a:pt x="303" y="284"/>
                  </a:lnTo>
                  <a:lnTo>
                    <a:pt x="302" y="283"/>
                  </a:lnTo>
                  <a:lnTo>
                    <a:pt x="301" y="282"/>
                  </a:lnTo>
                  <a:lnTo>
                    <a:pt x="300" y="281"/>
                  </a:lnTo>
                  <a:lnTo>
                    <a:pt x="299" y="281"/>
                  </a:lnTo>
                  <a:lnTo>
                    <a:pt x="296" y="279"/>
                  </a:lnTo>
                  <a:lnTo>
                    <a:pt x="293" y="277"/>
                  </a:lnTo>
                  <a:lnTo>
                    <a:pt x="292" y="276"/>
                  </a:lnTo>
                  <a:lnTo>
                    <a:pt x="290" y="275"/>
                  </a:lnTo>
                  <a:lnTo>
                    <a:pt x="289" y="275"/>
                  </a:lnTo>
                  <a:lnTo>
                    <a:pt x="285" y="274"/>
                  </a:lnTo>
                  <a:lnTo>
                    <a:pt x="281" y="272"/>
                  </a:lnTo>
                  <a:lnTo>
                    <a:pt x="280" y="272"/>
                  </a:lnTo>
                  <a:lnTo>
                    <a:pt x="278" y="272"/>
                  </a:lnTo>
                  <a:lnTo>
                    <a:pt x="277" y="271"/>
                  </a:lnTo>
                  <a:lnTo>
                    <a:pt x="276" y="271"/>
                  </a:lnTo>
                  <a:lnTo>
                    <a:pt x="276" y="271"/>
                  </a:lnTo>
                  <a:lnTo>
                    <a:pt x="275" y="270"/>
                  </a:lnTo>
                  <a:lnTo>
                    <a:pt x="273" y="269"/>
                  </a:lnTo>
                  <a:lnTo>
                    <a:pt x="272" y="267"/>
                  </a:lnTo>
                  <a:lnTo>
                    <a:pt x="271" y="266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2"/>
                  </a:lnTo>
                  <a:lnTo>
                    <a:pt x="264" y="258"/>
                  </a:lnTo>
                  <a:lnTo>
                    <a:pt x="262" y="256"/>
                  </a:lnTo>
                  <a:lnTo>
                    <a:pt x="261" y="255"/>
                  </a:lnTo>
                  <a:lnTo>
                    <a:pt x="260" y="254"/>
                  </a:lnTo>
                  <a:lnTo>
                    <a:pt x="258" y="254"/>
                  </a:lnTo>
                  <a:lnTo>
                    <a:pt x="257" y="253"/>
                  </a:lnTo>
                  <a:lnTo>
                    <a:pt x="256" y="252"/>
                  </a:lnTo>
                  <a:lnTo>
                    <a:pt x="252" y="250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6" y="247"/>
                  </a:lnTo>
                  <a:lnTo>
                    <a:pt x="243" y="246"/>
                  </a:lnTo>
                  <a:lnTo>
                    <a:pt x="239" y="245"/>
                  </a:lnTo>
                  <a:lnTo>
                    <a:pt x="235" y="244"/>
                  </a:lnTo>
                  <a:lnTo>
                    <a:pt x="234" y="244"/>
                  </a:lnTo>
                  <a:lnTo>
                    <a:pt x="232" y="243"/>
                  </a:lnTo>
                  <a:lnTo>
                    <a:pt x="231" y="243"/>
                  </a:lnTo>
                  <a:lnTo>
                    <a:pt x="230" y="242"/>
                  </a:lnTo>
                  <a:lnTo>
                    <a:pt x="229" y="242"/>
                  </a:lnTo>
                  <a:lnTo>
                    <a:pt x="228" y="242"/>
                  </a:lnTo>
                  <a:lnTo>
                    <a:pt x="224" y="242"/>
                  </a:lnTo>
                  <a:lnTo>
                    <a:pt x="222" y="242"/>
                  </a:lnTo>
                  <a:lnTo>
                    <a:pt x="221" y="242"/>
                  </a:lnTo>
                  <a:lnTo>
                    <a:pt x="221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19" y="241"/>
                  </a:lnTo>
                  <a:lnTo>
                    <a:pt x="219" y="240"/>
                  </a:lnTo>
                  <a:lnTo>
                    <a:pt x="218" y="240"/>
                  </a:lnTo>
                  <a:lnTo>
                    <a:pt x="216" y="238"/>
                  </a:lnTo>
                  <a:lnTo>
                    <a:pt x="214" y="236"/>
                  </a:lnTo>
                  <a:lnTo>
                    <a:pt x="213" y="235"/>
                  </a:lnTo>
                  <a:lnTo>
                    <a:pt x="212" y="233"/>
                  </a:lnTo>
                  <a:lnTo>
                    <a:pt x="211" y="233"/>
                  </a:lnTo>
                  <a:lnTo>
                    <a:pt x="210" y="232"/>
                  </a:lnTo>
                  <a:lnTo>
                    <a:pt x="209" y="232"/>
                  </a:lnTo>
                  <a:lnTo>
                    <a:pt x="209" y="231"/>
                  </a:lnTo>
                  <a:lnTo>
                    <a:pt x="208" y="231"/>
                  </a:lnTo>
                  <a:lnTo>
                    <a:pt x="207" y="230"/>
                  </a:lnTo>
                  <a:lnTo>
                    <a:pt x="205" y="230"/>
                  </a:lnTo>
                  <a:lnTo>
                    <a:pt x="202" y="230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6" y="227"/>
                  </a:lnTo>
                  <a:lnTo>
                    <a:pt x="195" y="227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3" y="225"/>
                  </a:lnTo>
                  <a:lnTo>
                    <a:pt x="192" y="224"/>
                  </a:lnTo>
                  <a:lnTo>
                    <a:pt x="191" y="223"/>
                  </a:lnTo>
                  <a:lnTo>
                    <a:pt x="190" y="222"/>
                  </a:lnTo>
                  <a:lnTo>
                    <a:pt x="190" y="221"/>
                  </a:lnTo>
                  <a:lnTo>
                    <a:pt x="189" y="221"/>
                  </a:lnTo>
                  <a:lnTo>
                    <a:pt x="189" y="221"/>
                  </a:lnTo>
                  <a:lnTo>
                    <a:pt x="188" y="221"/>
                  </a:lnTo>
                  <a:lnTo>
                    <a:pt x="188" y="221"/>
                  </a:lnTo>
                  <a:lnTo>
                    <a:pt x="187" y="221"/>
                  </a:lnTo>
                  <a:lnTo>
                    <a:pt x="186" y="222"/>
                  </a:lnTo>
                  <a:lnTo>
                    <a:pt x="185" y="223"/>
                  </a:lnTo>
                  <a:lnTo>
                    <a:pt x="184" y="224"/>
                  </a:lnTo>
                  <a:lnTo>
                    <a:pt x="183" y="225"/>
                  </a:lnTo>
                  <a:lnTo>
                    <a:pt x="182" y="226"/>
                  </a:lnTo>
                  <a:lnTo>
                    <a:pt x="181" y="228"/>
                  </a:lnTo>
                  <a:lnTo>
                    <a:pt x="180" y="230"/>
                  </a:lnTo>
                  <a:lnTo>
                    <a:pt x="179" y="233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8" y="235"/>
                  </a:lnTo>
                  <a:lnTo>
                    <a:pt x="176" y="237"/>
                  </a:lnTo>
                  <a:lnTo>
                    <a:pt x="175" y="240"/>
                  </a:lnTo>
                  <a:lnTo>
                    <a:pt x="174" y="240"/>
                  </a:lnTo>
                  <a:lnTo>
                    <a:pt x="174" y="241"/>
                  </a:lnTo>
                  <a:lnTo>
                    <a:pt x="173" y="241"/>
                  </a:lnTo>
                  <a:lnTo>
                    <a:pt x="173" y="241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6" y="242"/>
                  </a:lnTo>
                  <a:lnTo>
                    <a:pt x="165" y="242"/>
                  </a:lnTo>
                  <a:lnTo>
                    <a:pt x="164" y="242"/>
                  </a:lnTo>
                  <a:lnTo>
                    <a:pt x="164" y="241"/>
                  </a:lnTo>
                  <a:lnTo>
                    <a:pt x="163" y="241"/>
                  </a:lnTo>
                  <a:lnTo>
                    <a:pt x="161" y="240"/>
                  </a:lnTo>
                  <a:lnTo>
                    <a:pt x="158" y="239"/>
                  </a:lnTo>
                  <a:lnTo>
                    <a:pt x="152" y="236"/>
                  </a:lnTo>
                  <a:lnTo>
                    <a:pt x="150" y="235"/>
                  </a:lnTo>
                  <a:lnTo>
                    <a:pt x="150" y="234"/>
                  </a:lnTo>
                  <a:lnTo>
                    <a:pt x="149" y="234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6" y="231"/>
                  </a:lnTo>
                  <a:lnTo>
                    <a:pt x="146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5" y="227"/>
                  </a:lnTo>
                  <a:lnTo>
                    <a:pt x="146" y="226"/>
                  </a:lnTo>
                  <a:lnTo>
                    <a:pt x="146" y="225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5" y="219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7"/>
                  </a:lnTo>
                  <a:lnTo>
                    <a:pt x="140" y="217"/>
                  </a:lnTo>
                  <a:lnTo>
                    <a:pt x="139" y="216"/>
                  </a:lnTo>
                  <a:lnTo>
                    <a:pt x="138" y="216"/>
                  </a:lnTo>
                  <a:lnTo>
                    <a:pt x="137" y="215"/>
                  </a:lnTo>
                  <a:lnTo>
                    <a:pt x="135" y="214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1" y="212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7" y="211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3" y="210"/>
                  </a:lnTo>
                  <a:lnTo>
                    <a:pt x="123" y="209"/>
                  </a:lnTo>
                  <a:lnTo>
                    <a:pt x="122" y="209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3"/>
                  </a:lnTo>
                  <a:lnTo>
                    <a:pt x="120" y="203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19" y="202"/>
                  </a:lnTo>
                  <a:lnTo>
                    <a:pt x="119" y="201"/>
                  </a:lnTo>
                  <a:lnTo>
                    <a:pt x="118" y="201"/>
                  </a:lnTo>
                  <a:lnTo>
                    <a:pt x="115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9" y="199"/>
                  </a:lnTo>
                  <a:lnTo>
                    <a:pt x="108" y="198"/>
                  </a:lnTo>
                  <a:lnTo>
                    <a:pt x="107" y="198"/>
                  </a:lnTo>
                  <a:lnTo>
                    <a:pt x="106" y="197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4" y="195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0" y="191"/>
                  </a:lnTo>
                  <a:lnTo>
                    <a:pt x="99" y="191"/>
                  </a:lnTo>
                  <a:lnTo>
                    <a:pt x="98" y="190"/>
                  </a:lnTo>
                  <a:lnTo>
                    <a:pt x="95" y="189"/>
                  </a:lnTo>
                  <a:lnTo>
                    <a:pt x="94" y="189"/>
                  </a:lnTo>
                  <a:lnTo>
                    <a:pt x="93" y="188"/>
                  </a:lnTo>
                  <a:lnTo>
                    <a:pt x="93" y="187"/>
                  </a:lnTo>
                  <a:lnTo>
                    <a:pt x="92" y="187"/>
                  </a:lnTo>
                  <a:lnTo>
                    <a:pt x="91" y="187"/>
                  </a:lnTo>
                  <a:lnTo>
                    <a:pt x="89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7" y="186"/>
                  </a:lnTo>
                  <a:lnTo>
                    <a:pt x="73" y="186"/>
                  </a:lnTo>
                  <a:lnTo>
                    <a:pt x="72" y="186"/>
                  </a:lnTo>
                  <a:lnTo>
                    <a:pt x="71" y="186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7" y="186"/>
                  </a:lnTo>
                  <a:lnTo>
                    <a:pt x="66" y="186"/>
                  </a:lnTo>
                  <a:lnTo>
                    <a:pt x="66" y="185"/>
                  </a:lnTo>
                  <a:lnTo>
                    <a:pt x="64" y="184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0"/>
                  </a:lnTo>
                  <a:lnTo>
                    <a:pt x="59" y="179"/>
                  </a:lnTo>
                  <a:lnTo>
                    <a:pt x="52" y="174"/>
                  </a:lnTo>
                  <a:lnTo>
                    <a:pt x="49" y="172"/>
                  </a:lnTo>
                  <a:lnTo>
                    <a:pt x="47" y="171"/>
                  </a:lnTo>
                  <a:lnTo>
                    <a:pt x="42" y="167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8" y="161"/>
                  </a:lnTo>
                  <a:lnTo>
                    <a:pt x="38" y="157"/>
                  </a:lnTo>
                  <a:lnTo>
                    <a:pt x="39" y="154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9" y="148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4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6" y="131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19"/>
                  </a:lnTo>
                  <a:lnTo>
                    <a:pt x="46" y="118"/>
                  </a:lnTo>
                  <a:lnTo>
                    <a:pt x="45" y="118"/>
                  </a:lnTo>
                  <a:lnTo>
                    <a:pt x="45" y="117"/>
                  </a:lnTo>
                  <a:lnTo>
                    <a:pt x="44" y="116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1" y="114"/>
                  </a:lnTo>
                  <a:lnTo>
                    <a:pt x="38" y="113"/>
                  </a:lnTo>
                  <a:lnTo>
                    <a:pt x="37" y="112"/>
                  </a:lnTo>
                  <a:lnTo>
                    <a:pt x="35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29" y="106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5" y="98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3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8"/>
                  </a:lnTo>
                  <a:lnTo>
                    <a:pt x="5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2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3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8" y="46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Freeform 27">
              <a:extLst>
                <a:ext uri="{FF2B5EF4-FFF2-40B4-BE49-F238E27FC236}">
                  <a16:creationId xmlns:a16="http://schemas.microsoft.com/office/drawing/2014/main" id="{35274914-0144-62C7-682E-DEAF82A930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" y="3273"/>
              <a:ext cx="83" cy="28"/>
            </a:xfrm>
            <a:custGeom>
              <a:avLst/>
              <a:gdLst>
                <a:gd name="T0" fmla="*/ 1 w 83"/>
                <a:gd name="T1" fmla="*/ 28 h 28"/>
                <a:gd name="T2" fmla="*/ 4 w 83"/>
                <a:gd name="T3" fmla="*/ 26 h 28"/>
                <a:gd name="T4" fmla="*/ 5 w 83"/>
                <a:gd name="T5" fmla="*/ 24 h 28"/>
                <a:gd name="T6" fmla="*/ 6 w 83"/>
                <a:gd name="T7" fmla="*/ 22 h 28"/>
                <a:gd name="T8" fmla="*/ 7 w 83"/>
                <a:gd name="T9" fmla="*/ 21 h 28"/>
                <a:gd name="T10" fmla="*/ 8 w 83"/>
                <a:gd name="T11" fmla="*/ 19 h 28"/>
                <a:gd name="T12" fmla="*/ 9 w 83"/>
                <a:gd name="T13" fmla="*/ 18 h 28"/>
                <a:gd name="T14" fmla="*/ 11 w 83"/>
                <a:gd name="T15" fmla="*/ 17 h 28"/>
                <a:gd name="T16" fmla="*/ 14 w 83"/>
                <a:gd name="T17" fmla="*/ 17 h 28"/>
                <a:gd name="T18" fmla="*/ 16 w 83"/>
                <a:gd name="T19" fmla="*/ 16 h 28"/>
                <a:gd name="T20" fmla="*/ 20 w 83"/>
                <a:gd name="T21" fmla="*/ 14 h 28"/>
                <a:gd name="T22" fmla="*/ 20 w 83"/>
                <a:gd name="T23" fmla="*/ 14 h 28"/>
                <a:gd name="T24" fmla="*/ 21 w 83"/>
                <a:gd name="T25" fmla="*/ 14 h 28"/>
                <a:gd name="T26" fmla="*/ 22 w 83"/>
                <a:gd name="T27" fmla="*/ 15 h 28"/>
                <a:gd name="T28" fmla="*/ 24 w 83"/>
                <a:gd name="T29" fmla="*/ 17 h 28"/>
                <a:gd name="T30" fmla="*/ 26 w 83"/>
                <a:gd name="T31" fmla="*/ 17 h 28"/>
                <a:gd name="T32" fmla="*/ 28 w 83"/>
                <a:gd name="T33" fmla="*/ 18 h 28"/>
                <a:gd name="T34" fmla="*/ 30 w 83"/>
                <a:gd name="T35" fmla="*/ 18 h 28"/>
                <a:gd name="T36" fmla="*/ 32 w 83"/>
                <a:gd name="T37" fmla="*/ 18 h 28"/>
                <a:gd name="T38" fmla="*/ 36 w 83"/>
                <a:gd name="T39" fmla="*/ 18 h 28"/>
                <a:gd name="T40" fmla="*/ 39 w 83"/>
                <a:gd name="T41" fmla="*/ 18 h 28"/>
                <a:gd name="T42" fmla="*/ 42 w 83"/>
                <a:gd name="T43" fmla="*/ 18 h 28"/>
                <a:gd name="T44" fmla="*/ 44 w 83"/>
                <a:gd name="T45" fmla="*/ 18 h 28"/>
                <a:gd name="T46" fmla="*/ 45 w 83"/>
                <a:gd name="T47" fmla="*/ 19 h 28"/>
                <a:gd name="T48" fmla="*/ 49 w 83"/>
                <a:gd name="T49" fmla="*/ 20 h 28"/>
                <a:gd name="T50" fmla="*/ 51 w 83"/>
                <a:gd name="T51" fmla="*/ 21 h 28"/>
                <a:gd name="T52" fmla="*/ 54 w 83"/>
                <a:gd name="T53" fmla="*/ 21 h 28"/>
                <a:gd name="T54" fmla="*/ 55 w 83"/>
                <a:gd name="T55" fmla="*/ 21 h 28"/>
                <a:gd name="T56" fmla="*/ 59 w 83"/>
                <a:gd name="T57" fmla="*/ 19 h 28"/>
                <a:gd name="T58" fmla="*/ 62 w 83"/>
                <a:gd name="T59" fmla="*/ 18 h 28"/>
                <a:gd name="T60" fmla="*/ 65 w 83"/>
                <a:gd name="T61" fmla="*/ 17 h 28"/>
                <a:gd name="T62" fmla="*/ 67 w 83"/>
                <a:gd name="T63" fmla="*/ 16 h 28"/>
                <a:gd name="T64" fmla="*/ 68 w 83"/>
                <a:gd name="T65" fmla="*/ 15 h 28"/>
                <a:gd name="T66" fmla="*/ 69 w 83"/>
                <a:gd name="T67" fmla="*/ 13 h 28"/>
                <a:gd name="T68" fmla="*/ 70 w 83"/>
                <a:gd name="T69" fmla="*/ 12 h 28"/>
                <a:gd name="T70" fmla="*/ 72 w 83"/>
                <a:gd name="T71" fmla="*/ 8 h 28"/>
                <a:gd name="T72" fmla="*/ 73 w 83"/>
                <a:gd name="T73" fmla="*/ 7 h 28"/>
                <a:gd name="T74" fmla="*/ 74 w 83"/>
                <a:gd name="T75" fmla="*/ 6 h 28"/>
                <a:gd name="T76" fmla="*/ 76 w 83"/>
                <a:gd name="T77" fmla="*/ 4 h 28"/>
                <a:gd name="T78" fmla="*/ 78 w 83"/>
                <a:gd name="T79" fmla="*/ 2 h 28"/>
                <a:gd name="T80" fmla="*/ 82 w 83"/>
                <a:gd name="T81" fmla="*/ 0 h 28"/>
                <a:gd name="T82" fmla="*/ 82 w 83"/>
                <a:gd name="T8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3" h="28">
                  <a:moveTo>
                    <a:pt x="0" y="28"/>
                  </a:moveTo>
                  <a:lnTo>
                    <a:pt x="1" y="28"/>
                  </a:lnTo>
                  <a:lnTo>
                    <a:pt x="2" y="27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6" y="22"/>
                  </a:lnTo>
                  <a:lnTo>
                    <a:pt x="6" y="21"/>
                  </a:lnTo>
                  <a:lnTo>
                    <a:pt x="7" y="21"/>
                  </a:lnTo>
                  <a:lnTo>
                    <a:pt x="7" y="20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10" y="18"/>
                  </a:lnTo>
                  <a:lnTo>
                    <a:pt x="11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5" y="17"/>
                  </a:lnTo>
                  <a:lnTo>
                    <a:pt x="16" y="16"/>
                  </a:lnTo>
                  <a:lnTo>
                    <a:pt x="19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4" y="17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30" y="18"/>
                  </a:lnTo>
                  <a:lnTo>
                    <a:pt x="31" y="18"/>
                  </a:lnTo>
                  <a:lnTo>
                    <a:pt x="32" y="18"/>
                  </a:lnTo>
                  <a:lnTo>
                    <a:pt x="35" y="18"/>
                  </a:lnTo>
                  <a:lnTo>
                    <a:pt x="36" y="18"/>
                  </a:lnTo>
                  <a:lnTo>
                    <a:pt x="37" y="18"/>
                  </a:lnTo>
                  <a:lnTo>
                    <a:pt x="39" y="18"/>
                  </a:lnTo>
                  <a:lnTo>
                    <a:pt x="40" y="18"/>
                  </a:lnTo>
                  <a:lnTo>
                    <a:pt x="42" y="18"/>
                  </a:lnTo>
                  <a:lnTo>
                    <a:pt x="43" y="18"/>
                  </a:lnTo>
                  <a:lnTo>
                    <a:pt x="44" y="18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7" y="19"/>
                  </a:lnTo>
                  <a:lnTo>
                    <a:pt x="49" y="20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52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5" y="21"/>
                  </a:lnTo>
                  <a:lnTo>
                    <a:pt x="56" y="20"/>
                  </a:lnTo>
                  <a:lnTo>
                    <a:pt x="59" y="19"/>
                  </a:lnTo>
                  <a:lnTo>
                    <a:pt x="60" y="18"/>
                  </a:lnTo>
                  <a:lnTo>
                    <a:pt x="62" y="18"/>
                  </a:lnTo>
                  <a:lnTo>
                    <a:pt x="64" y="17"/>
                  </a:lnTo>
                  <a:lnTo>
                    <a:pt x="65" y="17"/>
                  </a:lnTo>
                  <a:lnTo>
                    <a:pt x="66" y="17"/>
                  </a:lnTo>
                  <a:lnTo>
                    <a:pt x="67" y="16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9" y="14"/>
                  </a:lnTo>
                  <a:lnTo>
                    <a:pt x="69" y="13"/>
                  </a:lnTo>
                  <a:lnTo>
                    <a:pt x="70" y="13"/>
                  </a:lnTo>
                  <a:lnTo>
                    <a:pt x="70" y="12"/>
                  </a:lnTo>
                  <a:lnTo>
                    <a:pt x="71" y="9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3" y="7"/>
                  </a:lnTo>
                  <a:lnTo>
                    <a:pt x="73" y="6"/>
                  </a:lnTo>
                  <a:lnTo>
                    <a:pt x="74" y="6"/>
                  </a:lnTo>
                  <a:lnTo>
                    <a:pt x="75" y="5"/>
                  </a:lnTo>
                  <a:lnTo>
                    <a:pt x="76" y="4"/>
                  </a:lnTo>
                  <a:lnTo>
                    <a:pt x="77" y="3"/>
                  </a:lnTo>
                  <a:lnTo>
                    <a:pt x="78" y="2"/>
                  </a:lnTo>
                  <a:lnTo>
                    <a:pt x="80" y="1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3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Freeform 28">
              <a:extLst>
                <a:ext uri="{FF2B5EF4-FFF2-40B4-BE49-F238E27FC236}">
                  <a16:creationId xmlns:a16="http://schemas.microsoft.com/office/drawing/2014/main" id="{EB4A1B39-A433-D3A4-B1E9-74FA974A2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" y="3418"/>
              <a:ext cx="457" cy="425"/>
            </a:xfrm>
            <a:custGeom>
              <a:avLst/>
              <a:gdLst>
                <a:gd name="T0" fmla="*/ 224 w 457"/>
                <a:gd name="T1" fmla="*/ 24 h 425"/>
                <a:gd name="T2" fmla="*/ 248 w 457"/>
                <a:gd name="T3" fmla="*/ 33 h 425"/>
                <a:gd name="T4" fmla="*/ 266 w 457"/>
                <a:gd name="T5" fmla="*/ 47 h 425"/>
                <a:gd name="T6" fmla="*/ 290 w 457"/>
                <a:gd name="T7" fmla="*/ 57 h 425"/>
                <a:gd name="T8" fmla="*/ 309 w 457"/>
                <a:gd name="T9" fmla="*/ 79 h 425"/>
                <a:gd name="T10" fmla="*/ 330 w 457"/>
                <a:gd name="T11" fmla="*/ 58 h 425"/>
                <a:gd name="T12" fmla="*/ 352 w 457"/>
                <a:gd name="T13" fmla="*/ 69 h 425"/>
                <a:gd name="T14" fmla="*/ 382 w 457"/>
                <a:gd name="T15" fmla="*/ 82 h 425"/>
                <a:gd name="T16" fmla="*/ 421 w 457"/>
                <a:gd name="T17" fmla="*/ 109 h 425"/>
                <a:gd name="T18" fmla="*/ 447 w 457"/>
                <a:gd name="T19" fmla="*/ 140 h 425"/>
                <a:gd name="T20" fmla="*/ 456 w 457"/>
                <a:gd name="T21" fmla="*/ 155 h 425"/>
                <a:gd name="T22" fmla="*/ 443 w 457"/>
                <a:gd name="T23" fmla="*/ 168 h 425"/>
                <a:gd name="T24" fmla="*/ 444 w 457"/>
                <a:gd name="T25" fmla="*/ 186 h 425"/>
                <a:gd name="T26" fmla="*/ 430 w 457"/>
                <a:gd name="T27" fmla="*/ 181 h 425"/>
                <a:gd name="T28" fmla="*/ 432 w 457"/>
                <a:gd name="T29" fmla="*/ 192 h 425"/>
                <a:gd name="T30" fmla="*/ 411 w 457"/>
                <a:gd name="T31" fmla="*/ 204 h 425"/>
                <a:gd name="T32" fmla="*/ 403 w 457"/>
                <a:gd name="T33" fmla="*/ 234 h 425"/>
                <a:gd name="T34" fmla="*/ 415 w 457"/>
                <a:gd name="T35" fmla="*/ 248 h 425"/>
                <a:gd name="T36" fmla="*/ 414 w 457"/>
                <a:gd name="T37" fmla="*/ 266 h 425"/>
                <a:gd name="T38" fmla="*/ 409 w 457"/>
                <a:gd name="T39" fmla="*/ 285 h 425"/>
                <a:gd name="T40" fmla="*/ 415 w 457"/>
                <a:gd name="T41" fmla="*/ 304 h 425"/>
                <a:gd name="T42" fmla="*/ 405 w 457"/>
                <a:gd name="T43" fmla="*/ 320 h 425"/>
                <a:gd name="T44" fmla="*/ 400 w 457"/>
                <a:gd name="T45" fmla="*/ 334 h 425"/>
                <a:gd name="T46" fmla="*/ 405 w 457"/>
                <a:gd name="T47" fmla="*/ 353 h 425"/>
                <a:gd name="T48" fmla="*/ 381 w 457"/>
                <a:gd name="T49" fmla="*/ 365 h 425"/>
                <a:gd name="T50" fmla="*/ 362 w 457"/>
                <a:gd name="T51" fmla="*/ 380 h 425"/>
                <a:gd name="T52" fmla="*/ 334 w 457"/>
                <a:gd name="T53" fmla="*/ 383 h 425"/>
                <a:gd name="T54" fmla="*/ 316 w 457"/>
                <a:gd name="T55" fmla="*/ 377 h 425"/>
                <a:gd name="T56" fmla="*/ 300 w 457"/>
                <a:gd name="T57" fmla="*/ 386 h 425"/>
                <a:gd name="T58" fmla="*/ 275 w 457"/>
                <a:gd name="T59" fmla="*/ 400 h 425"/>
                <a:gd name="T60" fmla="*/ 253 w 457"/>
                <a:gd name="T61" fmla="*/ 419 h 425"/>
                <a:gd name="T62" fmla="*/ 229 w 457"/>
                <a:gd name="T63" fmla="*/ 424 h 425"/>
                <a:gd name="T64" fmla="*/ 211 w 457"/>
                <a:gd name="T65" fmla="*/ 422 h 425"/>
                <a:gd name="T66" fmla="*/ 193 w 457"/>
                <a:gd name="T67" fmla="*/ 408 h 425"/>
                <a:gd name="T68" fmla="*/ 183 w 457"/>
                <a:gd name="T69" fmla="*/ 397 h 425"/>
                <a:gd name="T70" fmla="*/ 199 w 457"/>
                <a:gd name="T71" fmla="*/ 369 h 425"/>
                <a:gd name="T72" fmla="*/ 211 w 457"/>
                <a:gd name="T73" fmla="*/ 355 h 425"/>
                <a:gd name="T74" fmla="*/ 200 w 457"/>
                <a:gd name="T75" fmla="*/ 339 h 425"/>
                <a:gd name="T76" fmla="*/ 173 w 457"/>
                <a:gd name="T77" fmla="*/ 342 h 425"/>
                <a:gd name="T78" fmla="*/ 142 w 457"/>
                <a:gd name="T79" fmla="*/ 330 h 425"/>
                <a:gd name="T80" fmla="*/ 134 w 457"/>
                <a:gd name="T81" fmla="*/ 301 h 425"/>
                <a:gd name="T82" fmla="*/ 107 w 457"/>
                <a:gd name="T83" fmla="*/ 299 h 425"/>
                <a:gd name="T84" fmla="*/ 77 w 457"/>
                <a:gd name="T85" fmla="*/ 296 h 425"/>
                <a:gd name="T86" fmla="*/ 58 w 457"/>
                <a:gd name="T87" fmla="*/ 284 h 425"/>
                <a:gd name="T88" fmla="*/ 52 w 457"/>
                <a:gd name="T89" fmla="*/ 272 h 425"/>
                <a:gd name="T90" fmla="*/ 26 w 457"/>
                <a:gd name="T91" fmla="*/ 269 h 425"/>
                <a:gd name="T92" fmla="*/ 5 w 457"/>
                <a:gd name="T93" fmla="*/ 242 h 425"/>
                <a:gd name="T94" fmla="*/ 0 w 457"/>
                <a:gd name="T95" fmla="*/ 222 h 425"/>
                <a:gd name="T96" fmla="*/ 8 w 457"/>
                <a:gd name="T97" fmla="*/ 188 h 425"/>
                <a:gd name="T98" fmla="*/ 5 w 457"/>
                <a:gd name="T99" fmla="*/ 160 h 425"/>
                <a:gd name="T100" fmla="*/ 11 w 457"/>
                <a:gd name="T101" fmla="*/ 145 h 425"/>
                <a:gd name="T102" fmla="*/ 26 w 457"/>
                <a:gd name="T103" fmla="*/ 129 h 425"/>
                <a:gd name="T104" fmla="*/ 39 w 457"/>
                <a:gd name="T105" fmla="*/ 122 h 425"/>
                <a:gd name="T106" fmla="*/ 74 w 457"/>
                <a:gd name="T107" fmla="*/ 121 h 425"/>
                <a:gd name="T108" fmla="*/ 88 w 457"/>
                <a:gd name="T109" fmla="*/ 115 h 425"/>
                <a:gd name="T110" fmla="*/ 105 w 457"/>
                <a:gd name="T111" fmla="*/ 105 h 425"/>
                <a:gd name="T112" fmla="*/ 87 w 457"/>
                <a:gd name="T113" fmla="*/ 86 h 425"/>
                <a:gd name="T114" fmla="*/ 99 w 457"/>
                <a:gd name="T115" fmla="*/ 53 h 425"/>
                <a:gd name="T116" fmla="*/ 113 w 457"/>
                <a:gd name="T117" fmla="*/ 49 h 425"/>
                <a:gd name="T118" fmla="*/ 146 w 457"/>
                <a:gd name="T119" fmla="*/ 32 h 425"/>
                <a:gd name="T120" fmla="*/ 160 w 457"/>
                <a:gd name="T121" fmla="*/ 25 h 425"/>
                <a:gd name="T122" fmla="*/ 169 w 457"/>
                <a:gd name="T123" fmla="*/ 9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7" h="425">
                  <a:moveTo>
                    <a:pt x="185" y="4"/>
                  </a:moveTo>
                  <a:lnTo>
                    <a:pt x="190" y="8"/>
                  </a:lnTo>
                  <a:lnTo>
                    <a:pt x="192" y="9"/>
                  </a:lnTo>
                  <a:lnTo>
                    <a:pt x="195" y="11"/>
                  </a:lnTo>
                  <a:lnTo>
                    <a:pt x="202" y="16"/>
                  </a:lnTo>
                  <a:lnTo>
                    <a:pt x="203" y="17"/>
                  </a:lnTo>
                  <a:lnTo>
                    <a:pt x="205" y="19"/>
                  </a:lnTo>
                  <a:lnTo>
                    <a:pt x="206" y="19"/>
                  </a:lnTo>
                  <a:lnTo>
                    <a:pt x="207" y="21"/>
                  </a:lnTo>
                  <a:lnTo>
                    <a:pt x="209" y="22"/>
                  </a:lnTo>
                  <a:lnTo>
                    <a:pt x="209" y="23"/>
                  </a:lnTo>
                  <a:lnTo>
                    <a:pt x="210" y="23"/>
                  </a:lnTo>
                  <a:lnTo>
                    <a:pt x="211" y="23"/>
                  </a:lnTo>
                  <a:lnTo>
                    <a:pt x="211" y="23"/>
                  </a:lnTo>
                  <a:lnTo>
                    <a:pt x="212" y="23"/>
                  </a:lnTo>
                  <a:lnTo>
                    <a:pt x="214" y="23"/>
                  </a:lnTo>
                  <a:lnTo>
                    <a:pt x="215" y="23"/>
                  </a:lnTo>
                  <a:lnTo>
                    <a:pt x="216" y="23"/>
                  </a:lnTo>
                  <a:lnTo>
                    <a:pt x="220" y="23"/>
                  </a:lnTo>
                  <a:lnTo>
                    <a:pt x="221" y="23"/>
                  </a:lnTo>
                  <a:lnTo>
                    <a:pt x="221" y="23"/>
                  </a:lnTo>
                  <a:lnTo>
                    <a:pt x="222" y="23"/>
                  </a:lnTo>
                  <a:lnTo>
                    <a:pt x="224" y="24"/>
                  </a:lnTo>
                  <a:lnTo>
                    <a:pt x="225" y="24"/>
                  </a:lnTo>
                  <a:lnTo>
                    <a:pt x="226" y="24"/>
                  </a:lnTo>
                  <a:lnTo>
                    <a:pt x="227" y="24"/>
                  </a:lnTo>
                  <a:lnTo>
                    <a:pt x="227" y="23"/>
                  </a:lnTo>
                  <a:lnTo>
                    <a:pt x="229" y="23"/>
                  </a:lnTo>
                  <a:lnTo>
                    <a:pt x="230" y="23"/>
                  </a:lnTo>
                  <a:lnTo>
                    <a:pt x="230" y="23"/>
                  </a:lnTo>
                  <a:lnTo>
                    <a:pt x="231" y="23"/>
                  </a:lnTo>
                  <a:lnTo>
                    <a:pt x="232" y="23"/>
                  </a:lnTo>
                  <a:lnTo>
                    <a:pt x="234" y="24"/>
                  </a:lnTo>
                  <a:lnTo>
                    <a:pt x="235" y="24"/>
                  </a:lnTo>
                  <a:lnTo>
                    <a:pt x="236" y="24"/>
                  </a:lnTo>
                  <a:lnTo>
                    <a:pt x="236" y="25"/>
                  </a:lnTo>
                  <a:lnTo>
                    <a:pt x="237" y="26"/>
                  </a:lnTo>
                  <a:lnTo>
                    <a:pt x="238" y="26"/>
                  </a:lnTo>
                  <a:lnTo>
                    <a:pt x="241" y="27"/>
                  </a:lnTo>
                  <a:lnTo>
                    <a:pt x="242" y="28"/>
                  </a:lnTo>
                  <a:lnTo>
                    <a:pt x="243" y="28"/>
                  </a:lnTo>
                  <a:lnTo>
                    <a:pt x="244" y="29"/>
                  </a:lnTo>
                  <a:lnTo>
                    <a:pt x="244" y="29"/>
                  </a:lnTo>
                  <a:lnTo>
                    <a:pt x="247" y="32"/>
                  </a:lnTo>
                  <a:lnTo>
                    <a:pt x="248" y="33"/>
                  </a:lnTo>
                  <a:lnTo>
                    <a:pt x="248" y="33"/>
                  </a:lnTo>
                  <a:lnTo>
                    <a:pt x="249" y="34"/>
                  </a:lnTo>
                  <a:lnTo>
                    <a:pt x="250" y="35"/>
                  </a:lnTo>
                  <a:lnTo>
                    <a:pt x="251" y="35"/>
                  </a:lnTo>
                  <a:lnTo>
                    <a:pt x="252" y="36"/>
                  </a:lnTo>
                  <a:lnTo>
                    <a:pt x="254" y="36"/>
                  </a:lnTo>
                  <a:lnTo>
                    <a:pt x="254" y="36"/>
                  </a:lnTo>
                  <a:lnTo>
                    <a:pt x="257" y="37"/>
                  </a:lnTo>
                  <a:lnTo>
                    <a:pt x="258" y="37"/>
                  </a:lnTo>
                  <a:lnTo>
                    <a:pt x="261" y="38"/>
                  </a:lnTo>
                  <a:lnTo>
                    <a:pt x="262" y="38"/>
                  </a:lnTo>
                  <a:lnTo>
                    <a:pt x="262" y="39"/>
                  </a:lnTo>
                  <a:lnTo>
                    <a:pt x="263" y="39"/>
                  </a:lnTo>
                  <a:lnTo>
                    <a:pt x="263" y="39"/>
                  </a:lnTo>
                  <a:lnTo>
                    <a:pt x="263" y="40"/>
                  </a:lnTo>
                  <a:lnTo>
                    <a:pt x="264" y="40"/>
                  </a:lnTo>
                  <a:lnTo>
                    <a:pt x="264" y="41"/>
                  </a:lnTo>
                  <a:lnTo>
                    <a:pt x="264" y="41"/>
                  </a:lnTo>
                  <a:lnTo>
                    <a:pt x="264" y="43"/>
                  </a:lnTo>
                  <a:lnTo>
                    <a:pt x="265" y="45"/>
                  </a:lnTo>
                  <a:lnTo>
                    <a:pt x="265" y="45"/>
                  </a:lnTo>
                  <a:lnTo>
                    <a:pt x="265" y="46"/>
                  </a:lnTo>
                  <a:lnTo>
                    <a:pt x="266" y="46"/>
                  </a:lnTo>
                  <a:lnTo>
                    <a:pt x="266" y="47"/>
                  </a:lnTo>
                  <a:lnTo>
                    <a:pt x="267" y="47"/>
                  </a:lnTo>
                  <a:lnTo>
                    <a:pt x="268" y="47"/>
                  </a:lnTo>
                  <a:lnTo>
                    <a:pt x="268" y="47"/>
                  </a:lnTo>
                  <a:lnTo>
                    <a:pt x="270" y="48"/>
                  </a:lnTo>
                  <a:lnTo>
                    <a:pt x="271" y="48"/>
                  </a:lnTo>
                  <a:lnTo>
                    <a:pt x="273" y="48"/>
                  </a:lnTo>
                  <a:lnTo>
                    <a:pt x="274" y="49"/>
                  </a:lnTo>
                  <a:lnTo>
                    <a:pt x="275" y="50"/>
                  </a:lnTo>
                  <a:lnTo>
                    <a:pt x="277" y="50"/>
                  </a:lnTo>
                  <a:lnTo>
                    <a:pt x="278" y="51"/>
                  </a:lnTo>
                  <a:lnTo>
                    <a:pt x="280" y="52"/>
                  </a:lnTo>
                  <a:lnTo>
                    <a:pt x="281" y="53"/>
                  </a:lnTo>
                  <a:lnTo>
                    <a:pt x="282" y="53"/>
                  </a:lnTo>
                  <a:lnTo>
                    <a:pt x="283" y="54"/>
                  </a:lnTo>
                  <a:lnTo>
                    <a:pt x="284" y="54"/>
                  </a:lnTo>
                  <a:lnTo>
                    <a:pt x="286" y="55"/>
                  </a:lnTo>
                  <a:lnTo>
                    <a:pt x="286" y="55"/>
                  </a:lnTo>
                  <a:lnTo>
                    <a:pt x="288" y="56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90" y="58"/>
                  </a:lnTo>
                  <a:lnTo>
                    <a:pt x="290" y="59"/>
                  </a:lnTo>
                  <a:lnTo>
                    <a:pt x="290" y="59"/>
                  </a:lnTo>
                  <a:lnTo>
                    <a:pt x="289" y="62"/>
                  </a:lnTo>
                  <a:lnTo>
                    <a:pt x="289" y="63"/>
                  </a:lnTo>
                  <a:lnTo>
                    <a:pt x="288" y="64"/>
                  </a:lnTo>
                  <a:lnTo>
                    <a:pt x="288" y="65"/>
                  </a:lnTo>
                  <a:lnTo>
                    <a:pt x="289" y="66"/>
                  </a:lnTo>
                  <a:lnTo>
                    <a:pt x="289" y="67"/>
                  </a:lnTo>
                  <a:lnTo>
                    <a:pt x="289" y="68"/>
                  </a:lnTo>
                  <a:lnTo>
                    <a:pt x="290" y="69"/>
                  </a:lnTo>
                  <a:lnTo>
                    <a:pt x="291" y="70"/>
                  </a:lnTo>
                  <a:lnTo>
                    <a:pt x="292" y="71"/>
                  </a:lnTo>
                  <a:lnTo>
                    <a:pt x="293" y="71"/>
                  </a:lnTo>
                  <a:lnTo>
                    <a:pt x="293" y="72"/>
                  </a:lnTo>
                  <a:lnTo>
                    <a:pt x="295" y="73"/>
                  </a:lnTo>
                  <a:lnTo>
                    <a:pt x="301" y="76"/>
                  </a:lnTo>
                  <a:lnTo>
                    <a:pt x="304" y="77"/>
                  </a:lnTo>
                  <a:lnTo>
                    <a:pt x="306" y="78"/>
                  </a:lnTo>
                  <a:lnTo>
                    <a:pt x="307" y="78"/>
                  </a:lnTo>
                  <a:lnTo>
                    <a:pt x="307" y="79"/>
                  </a:lnTo>
                  <a:lnTo>
                    <a:pt x="308" y="79"/>
                  </a:lnTo>
                  <a:lnTo>
                    <a:pt x="309" y="79"/>
                  </a:lnTo>
                  <a:lnTo>
                    <a:pt x="310" y="79"/>
                  </a:lnTo>
                  <a:lnTo>
                    <a:pt x="312" y="79"/>
                  </a:lnTo>
                  <a:lnTo>
                    <a:pt x="313" y="79"/>
                  </a:lnTo>
                  <a:lnTo>
                    <a:pt x="314" y="79"/>
                  </a:lnTo>
                  <a:lnTo>
                    <a:pt x="315" y="79"/>
                  </a:lnTo>
                  <a:lnTo>
                    <a:pt x="316" y="78"/>
                  </a:lnTo>
                  <a:lnTo>
                    <a:pt x="316" y="78"/>
                  </a:lnTo>
                  <a:lnTo>
                    <a:pt x="317" y="78"/>
                  </a:lnTo>
                  <a:lnTo>
                    <a:pt x="317" y="77"/>
                  </a:lnTo>
                  <a:lnTo>
                    <a:pt x="318" y="77"/>
                  </a:lnTo>
                  <a:lnTo>
                    <a:pt x="319" y="74"/>
                  </a:lnTo>
                  <a:lnTo>
                    <a:pt x="321" y="72"/>
                  </a:lnTo>
                  <a:lnTo>
                    <a:pt x="322" y="71"/>
                  </a:lnTo>
                  <a:lnTo>
                    <a:pt x="322" y="71"/>
                  </a:lnTo>
                  <a:lnTo>
                    <a:pt x="322" y="70"/>
                  </a:lnTo>
                  <a:lnTo>
                    <a:pt x="323" y="67"/>
                  </a:lnTo>
                  <a:lnTo>
                    <a:pt x="324" y="65"/>
                  </a:lnTo>
                  <a:lnTo>
                    <a:pt x="325" y="63"/>
                  </a:lnTo>
                  <a:lnTo>
                    <a:pt x="326" y="62"/>
                  </a:lnTo>
                  <a:lnTo>
                    <a:pt x="327" y="61"/>
                  </a:lnTo>
                  <a:lnTo>
                    <a:pt x="328" y="60"/>
                  </a:lnTo>
                  <a:lnTo>
                    <a:pt x="329" y="59"/>
                  </a:lnTo>
                  <a:lnTo>
                    <a:pt x="330" y="58"/>
                  </a:lnTo>
                  <a:lnTo>
                    <a:pt x="331" y="58"/>
                  </a:lnTo>
                  <a:lnTo>
                    <a:pt x="331" y="58"/>
                  </a:lnTo>
                  <a:lnTo>
                    <a:pt x="332" y="58"/>
                  </a:lnTo>
                  <a:lnTo>
                    <a:pt x="332" y="58"/>
                  </a:lnTo>
                  <a:lnTo>
                    <a:pt x="333" y="58"/>
                  </a:lnTo>
                  <a:lnTo>
                    <a:pt x="333" y="59"/>
                  </a:lnTo>
                  <a:lnTo>
                    <a:pt x="334" y="60"/>
                  </a:lnTo>
                  <a:lnTo>
                    <a:pt x="335" y="61"/>
                  </a:lnTo>
                  <a:lnTo>
                    <a:pt x="336" y="62"/>
                  </a:lnTo>
                  <a:lnTo>
                    <a:pt x="337" y="63"/>
                  </a:lnTo>
                  <a:lnTo>
                    <a:pt x="337" y="63"/>
                  </a:lnTo>
                  <a:lnTo>
                    <a:pt x="338" y="64"/>
                  </a:lnTo>
                  <a:lnTo>
                    <a:pt x="339" y="64"/>
                  </a:lnTo>
                  <a:lnTo>
                    <a:pt x="340" y="65"/>
                  </a:lnTo>
                  <a:lnTo>
                    <a:pt x="341" y="65"/>
                  </a:lnTo>
                  <a:lnTo>
                    <a:pt x="342" y="66"/>
                  </a:lnTo>
                  <a:lnTo>
                    <a:pt x="343" y="66"/>
                  </a:lnTo>
                  <a:lnTo>
                    <a:pt x="345" y="67"/>
                  </a:lnTo>
                  <a:lnTo>
                    <a:pt x="348" y="67"/>
                  </a:lnTo>
                  <a:lnTo>
                    <a:pt x="350" y="67"/>
                  </a:lnTo>
                  <a:lnTo>
                    <a:pt x="351" y="68"/>
                  </a:lnTo>
                  <a:lnTo>
                    <a:pt x="352" y="68"/>
                  </a:lnTo>
                  <a:lnTo>
                    <a:pt x="352" y="69"/>
                  </a:lnTo>
                  <a:lnTo>
                    <a:pt x="353" y="69"/>
                  </a:lnTo>
                  <a:lnTo>
                    <a:pt x="354" y="70"/>
                  </a:lnTo>
                  <a:lnTo>
                    <a:pt x="355" y="70"/>
                  </a:lnTo>
                  <a:lnTo>
                    <a:pt x="356" y="72"/>
                  </a:lnTo>
                  <a:lnTo>
                    <a:pt x="357" y="73"/>
                  </a:lnTo>
                  <a:lnTo>
                    <a:pt x="359" y="75"/>
                  </a:lnTo>
                  <a:lnTo>
                    <a:pt x="361" y="77"/>
                  </a:lnTo>
                  <a:lnTo>
                    <a:pt x="362" y="77"/>
                  </a:lnTo>
                  <a:lnTo>
                    <a:pt x="362" y="78"/>
                  </a:lnTo>
                  <a:lnTo>
                    <a:pt x="363" y="78"/>
                  </a:lnTo>
                  <a:lnTo>
                    <a:pt x="363" y="78"/>
                  </a:lnTo>
                  <a:lnTo>
                    <a:pt x="364" y="78"/>
                  </a:lnTo>
                  <a:lnTo>
                    <a:pt x="364" y="79"/>
                  </a:lnTo>
                  <a:lnTo>
                    <a:pt x="365" y="79"/>
                  </a:lnTo>
                  <a:lnTo>
                    <a:pt x="367" y="79"/>
                  </a:lnTo>
                  <a:lnTo>
                    <a:pt x="371" y="79"/>
                  </a:lnTo>
                  <a:lnTo>
                    <a:pt x="372" y="79"/>
                  </a:lnTo>
                  <a:lnTo>
                    <a:pt x="373" y="79"/>
                  </a:lnTo>
                  <a:lnTo>
                    <a:pt x="374" y="80"/>
                  </a:lnTo>
                  <a:lnTo>
                    <a:pt x="375" y="80"/>
                  </a:lnTo>
                  <a:lnTo>
                    <a:pt x="377" y="81"/>
                  </a:lnTo>
                  <a:lnTo>
                    <a:pt x="378" y="81"/>
                  </a:lnTo>
                  <a:lnTo>
                    <a:pt x="382" y="82"/>
                  </a:lnTo>
                  <a:lnTo>
                    <a:pt x="386" y="83"/>
                  </a:lnTo>
                  <a:lnTo>
                    <a:pt x="389" y="84"/>
                  </a:lnTo>
                  <a:lnTo>
                    <a:pt x="390" y="85"/>
                  </a:lnTo>
                  <a:lnTo>
                    <a:pt x="390" y="85"/>
                  </a:lnTo>
                  <a:lnTo>
                    <a:pt x="395" y="87"/>
                  </a:lnTo>
                  <a:lnTo>
                    <a:pt x="399" y="89"/>
                  </a:lnTo>
                  <a:lnTo>
                    <a:pt x="400" y="90"/>
                  </a:lnTo>
                  <a:lnTo>
                    <a:pt x="401" y="91"/>
                  </a:lnTo>
                  <a:lnTo>
                    <a:pt x="403" y="91"/>
                  </a:lnTo>
                  <a:lnTo>
                    <a:pt x="404" y="92"/>
                  </a:lnTo>
                  <a:lnTo>
                    <a:pt x="405" y="93"/>
                  </a:lnTo>
                  <a:lnTo>
                    <a:pt x="407" y="95"/>
                  </a:lnTo>
                  <a:lnTo>
                    <a:pt x="410" y="99"/>
                  </a:lnTo>
                  <a:lnTo>
                    <a:pt x="412" y="100"/>
                  </a:lnTo>
                  <a:lnTo>
                    <a:pt x="413" y="101"/>
                  </a:lnTo>
                  <a:lnTo>
                    <a:pt x="414" y="103"/>
                  </a:lnTo>
                  <a:lnTo>
                    <a:pt x="415" y="104"/>
                  </a:lnTo>
                  <a:lnTo>
                    <a:pt x="416" y="106"/>
                  </a:lnTo>
                  <a:lnTo>
                    <a:pt x="418" y="107"/>
                  </a:lnTo>
                  <a:lnTo>
                    <a:pt x="419" y="108"/>
                  </a:lnTo>
                  <a:lnTo>
                    <a:pt x="419" y="108"/>
                  </a:lnTo>
                  <a:lnTo>
                    <a:pt x="420" y="108"/>
                  </a:lnTo>
                  <a:lnTo>
                    <a:pt x="421" y="109"/>
                  </a:lnTo>
                  <a:lnTo>
                    <a:pt x="423" y="109"/>
                  </a:lnTo>
                  <a:lnTo>
                    <a:pt x="424" y="109"/>
                  </a:lnTo>
                  <a:lnTo>
                    <a:pt x="428" y="111"/>
                  </a:lnTo>
                  <a:lnTo>
                    <a:pt x="432" y="112"/>
                  </a:lnTo>
                  <a:lnTo>
                    <a:pt x="433" y="112"/>
                  </a:lnTo>
                  <a:lnTo>
                    <a:pt x="435" y="113"/>
                  </a:lnTo>
                  <a:lnTo>
                    <a:pt x="436" y="114"/>
                  </a:lnTo>
                  <a:lnTo>
                    <a:pt x="439" y="116"/>
                  </a:lnTo>
                  <a:lnTo>
                    <a:pt x="442" y="118"/>
                  </a:lnTo>
                  <a:lnTo>
                    <a:pt x="443" y="118"/>
                  </a:lnTo>
                  <a:lnTo>
                    <a:pt x="444" y="119"/>
                  </a:lnTo>
                  <a:lnTo>
                    <a:pt x="445" y="120"/>
                  </a:lnTo>
                  <a:lnTo>
                    <a:pt x="446" y="121"/>
                  </a:lnTo>
                  <a:lnTo>
                    <a:pt x="450" y="127"/>
                  </a:lnTo>
                  <a:lnTo>
                    <a:pt x="450" y="127"/>
                  </a:lnTo>
                  <a:lnTo>
                    <a:pt x="450" y="128"/>
                  </a:lnTo>
                  <a:lnTo>
                    <a:pt x="450" y="129"/>
                  </a:lnTo>
                  <a:lnTo>
                    <a:pt x="450" y="131"/>
                  </a:lnTo>
                  <a:lnTo>
                    <a:pt x="449" y="132"/>
                  </a:lnTo>
                  <a:lnTo>
                    <a:pt x="449" y="134"/>
                  </a:lnTo>
                  <a:lnTo>
                    <a:pt x="447" y="138"/>
                  </a:lnTo>
                  <a:lnTo>
                    <a:pt x="447" y="139"/>
                  </a:lnTo>
                  <a:lnTo>
                    <a:pt x="447" y="140"/>
                  </a:lnTo>
                  <a:lnTo>
                    <a:pt x="447" y="140"/>
                  </a:lnTo>
                  <a:lnTo>
                    <a:pt x="447" y="141"/>
                  </a:lnTo>
                  <a:lnTo>
                    <a:pt x="447" y="141"/>
                  </a:lnTo>
                  <a:lnTo>
                    <a:pt x="447" y="142"/>
                  </a:lnTo>
                  <a:lnTo>
                    <a:pt x="448" y="143"/>
                  </a:lnTo>
                  <a:lnTo>
                    <a:pt x="448" y="144"/>
                  </a:lnTo>
                  <a:lnTo>
                    <a:pt x="449" y="144"/>
                  </a:lnTo>
                  <a:lnTo>
                    <a:pt x="450" y="145"/>
                  </a:lnTo>
                  <a:lnTo>
                    <a:pt x="450" y="145"/>
                  </a:lnTo>
                  <a:lnTo>
                    <a:pt x="453" y="147"/>
                  </a:lnTo>
                  <a:lnTo>
                    <a:pt x="454" y="147"/>
                  </a:lnTo>
                  <a:lnTo>
                    <a:pt x="454" y="148"/>
                  </a:lnTo>
                  <a:lnTo>
                    <a:pt x="455" y="149"/>
                  </a:lnTo>
                  <a:lnTo>
                    <a:pt x="455" y="149"/>
                  </a:lnTo>
                  <a:lnTo>
                    <a:pt x="456" y="150"/>
                  </a:lnTo>
                  <a:lnTo>
                    <a:pt x="456" y="150"/>
                  </a:lnTo>
                  <a:lnTo>
                    <a:pt x="456" y="151"/>
                  </a:lnTo>
                  <a:lnTo>
                    <a:pt x="456" y="151"/>
                  </a:lnTo>
                  <a:lnTo>
                    <a:pt x="457" y="152"/>
                  </a:lnTo>
                  <a:lnTo>
                    <a:pt x="457" y="153"/>
                  </a:lnTo>
                  <a:lnTo>
                    <a:pt x="457" y="154"/>
                  </a:lnTo>
                  <a:lnTo>
                    <a:pt x="456" y="154"/>
                  </a:lnTo>
                  <a:lnTo>
                    <a:pt x="456" y="155"/>
                  </a:lnTo>
                  <a:lnTo>
                    <a:pt x="456" y="156"/>
                  </a:lnTo>
                  <a:lnTo>
                    <a:pt x="455" y="157"/>
                  </a:lnTo>
                  <a:lnTo>
                    <a:pt x="455" y="158"/>
                  </a:lnTo>
                  <a:lnTo>
                    <a:pt x="454" y="160"/>
                  </a:lnTo>
                  <a:lnTo>
                    <a:pt x="453" y="161"/>
                  </a:lnTo>
                  <a:lnTo>
                    <a:pt x="452" y="162"/>
                  </a:lnTo>
                  <a:lnTo>
                    <a:pt x="451" y="164"/>
                  </a:lnTo>
                  <a:lnTo>
                    <a:pt x="450" y="164"/>
                  </a:lnTo>
                  <a:lnTo>
                    <a:pt x="449" y="165"/>
                  </a:lnTo>
                  <a:lnTo>
                    <a:pt x="448" y="165"/>
                  </a:lnTo>
                  <a:lnTo>
                    <a:pt x="447" y="166"/>
                  </a:lnTo>
                  <a:lnTo>
                    <a:pt x="446" y="166"/>
                  </a:lnTo>
                  <a:lnTo>
                    <a:pt x="446" y="166"/>
                  </a:lnTo>
                  <a:lnTo>
                    <a:pt x="445" y="166"/>
                  </a:lnTo>
                  <a:lnTo>
                    <a:pt x="443" y="166"/>
                  </a:lnTo>
                  <a:lnTo>
                    <a:pt x="443" y="166"/>
                  </a:lnTo>
                  <a:lnTo>
                    <a:pt x="443" y="166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2" y="167"/>
                  </a:lnTo>
                  <a:lnTo>
                    <a:pt x="442" y="167"/>
                  </a:lnTo>
                  <a:lnTo>
                    <a:pt x="443" y="168"/>
                  </a:lnTo>
                  <a:lnTo>
                    <a:pt x="443" y="169"/>
                  </a:lnTo>
                  <a:lnTo>
                    <a:pt x="443" y="169"/>
                  </a:lnTo>
                  <a:lnTo>
                    <a:pt x="444" y="170"/>
                  </a:lnTo>
                  <a:lnTo>
                    <a:pt x="444" y="171"/>
                  </a:lnTo>
                  <a:lnTo>
                    <a:pt x="446" y="172"/>
                  </a:lnTo>
                  <a:lnTo>
                    <a:pt x="446" y="173"/>
                  </a:lnTo>
                  <a:lnTo>
                    <a:pt x="447" y="174"/>
                  </a:lnTo>
                  <a:lnTo>
                    <a:pt x="448" y="175"/>
                  </a:lnTo>
                  <a:lnTo>
                    <a:pt x="448" y="176"/>
                  </a:lnTo>
                  <a:lnTo>
                    <a:pt x="448" y="177"/>
                  </a:lnTo>
                  <a:lnTo>
                    <a:pt x="448" y="177"/>
                  </a:lnTo>
                  <a:lnTo>
                    <a:pt x="448" y="178"/>
                  </a:lnTo>
                  <a:lnTo>
                    <a:pt x="448" y="178"/>
                  </a:lnTo>
                  <a:lnTo>
                    <a:pt x="448" y="179"/>
                  </a:lnTo>
                  <a:lnTo>
                    <a:pt x="448" y="180"/>
                  </a:lnTo>
                  <a:lnTo>
                    <a:pt x="447" y="181"/>
                  </a:lnTo>
                  <a:lnTo>
                    <a:pt x="447" y="183"/>
                  </a:lnTo>
                  <a:lnTo>
                    <a:pt x="446" y="184"/>
                  </a:lnTo>
                  <a:lnTo>
                    <a:pt x="446" y="185"/>
                  </a:lnTo>
                  <a:lnTo>
                    <a:pt x="446" y="185"/>
                  </a:lnTo>
                  <a:lnTo>
                    <a:pt x="445" y="185"/>
                  </a:lnTo>
                  <a:lnTo>
                    <a:pt x="444" y="186"/>
                  </a:lnTo>
                  <a:lnTo>
                    <a:pt x="444" y="186"/>
                  </a:lnTo>
                  <a:lnTo>
                    <a:pt x="443" y="186"/>
                  </a:lnTo>
                  <a:lnTo>
                    <a:pt x="443" y="186"/>
                  </a:lnTo>
                  <a:lnTo>
                    <a:pt x="442" y="186"/>
                  </a:lnTo>
                  <a:lnTo>
                    <a:pt x="441" y="186"/>
                  </a:lnTo>
                  <a:lnTo>
                    <a:pt x="441" y="186"/>
                  </a:lnTo>
                  <a:lnTo>
                    <a:pt x="440" y="185"/>
                  </a:lnTo>
                  <a:lnTo>
                    <a:pt x="440" y="185"/>
                  </a:lnTo>
                  <a:lnTo>
                    <a:pt x="439" y="184"/>
                  </a:lnTo>
                  <a:lnTo>
                    <a:pt x="439" y="184"/>
                  </a:lnTo>
                  <a:lnTo>
                    <a:pt x="439" y="183"/>
                  </a:lnTo>
                  <a:lnTo>
                    <a:pt x="438" y="182"/>
                  </a:lnTo>
                  <a:lnTo>
                    <a:pt x="438" y="181"/>
                  </a:lnTo>
                  <a:lnTo>
                    <a:pt x="437" y="181"/>
                  </a:lnTo>
                  <a:lnTo>
                    <a:pt x="437" y="180"/>
                  </a:lnTo>
                  <a:lnTo>
                    <a:pt x="436" y="180"/>
                  </a:lnTo>
                  <a:lnTo>
                    <a:pt x="436" y="180"/>
                  </a:lnTo>
                  <a:lnTo>
                    <a:pt x="435" y="180"/>
                  </a:lnTo>
                  <a:lnTo>
                    <a:pt x="434" y="180"/>
                  </a:lnTo>
                  <a:lnTo>
                    <a:pt x="433" y="180"/>
                  </a:lnTo>
                  <a:lnTo>
                    <a:pt x="433" y="180"/>
                  </a:lnTo>
                  <a:lnTo>
                    <a:pt x="432" y="180"/>
                  </a:lnTo>
                  <a:lnTo>
                    <a:pt x="431" y="180"/>
                  </a:lnTo>
                  <a:lnTo>
                    <a:pt x="430" y="181"/>
                  </a:lnTo>
                  <a:lnTo>
                    <a:pt x="429" y="182"/>
                  </a:lnTo>
                  <a:lnTo>
                    <a:pt x="428" y="182"/>
                  </a:lnTo>
                  <a:lnTo>
                    <a:pt x="428" y="183"/>
                  </a:lnTo>
                  <a:lnTo>
                    <a:pt x="426" y="184"/>
                  </a:lnTo>
                  <a:lnTo>
                    <a:pt x="425" y="185"/>
                  </a:lnTo>
                  <a:lnTo>
                    <a:pt x="425" y="186"/>
                  </a:lnTo>
                  <a:lnTo>
                    <a:pt x="424" y="186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25" y="188"/>
                  </a:lnTo>
                  <a:lnTo>
                    <a:pt x="425" y="188"/>
                  </a:lnTo>
                  <a:lnTo>
                    <a:pt x="426" y="188"/>
                  </a:lnTo>
                  <a:lnTo>
                    <a:pt x="428" y="189"/>
                  </a:lnTo>
                  <a:lnTo>
                    <a:pt x="429" y="189"/>
                  </a:lnTo>
                  <a:lnTo>
                    <a:pt x="430" y="189"/>
                  </a:lnTo>
                  <a:lnTo>
                    <a:pt x="430" y="190"/>
                  </a:lnTo>
                  <a:lnTo>
                    <a:pt x="431" y="190"/>
                  </a:lnTo>
                  <a:lnTo>
                    <a:pt x="431" y="190"/>
                  </a:lnTo>
                  <a:lnTo>
                    <a:pt x="432" y="191"/>
                  </a:lnTo>
                  <a:lnTo>
                    <a:pt x="432" y="191"/>
                  </a:lnTo>
                  <a:lnTo>
                    <a:pt x="432" y="192"/>
                  </a:lnTo>
                  <a:lnTo>
                    <a:pt x="432" y="192"/>
                  </a:lnTo>
                  <a:lnTo>
                    <a:pt x="432" y="193"/>
                  </a:lnTo>
                  <a:lnTo>
                    <a:pt x="432" y="193"/>
                  </a:lnTo>
                  <a:lnTo>
                    <a:pt x="432" y="194"/>
                  </a:lnTo>
                  <a:lnTo>
                    <a:pt x="431" y="194"/>
                  </a:lnTo>
                  <a:lnTo>
                    <a:pt x="431" y="195"/>
                  </a:lnTo>
                  <a:lnTo>
                    <a:pt x="430" y="195"/>
                  </a:lnTo>
                  <a:lnTo>
                    <a:pt x="429" y="196"/>
                  </a:lnTo>
                  <a:lnTo>
                    <a:pt x="428" y="196"/>
                  </a:lnTo>
                  <a:lnTo>
                    <a:pt x="427" y="196"/>
                  </a:lnTo>
                  <a:lnTo>
                    <a:pt x="425" y="197"/>
                  </a:lnTo>
                  <a:lnTo>
                    <a:pt x="423" y="197"/>
                  </a:lnTo>
                  <a:lnTo>
                    <a:pt x="420" y="197"/>
                  </a:lnTo>
                  <a:lnTo>
                    <a:pt x="419" y="198"/>
                  </a:lnTo>
                  <a:lnTo>
                    <a:pt x="418" y="198"/>
                  </a:lnTo>
                  <a:lnTo>
                    <a:pt x="417" y="198"/>
                  </a:lnTo>
                  <a:lnTo>
                    <a:pt x="415" y="199"/>
                  </a:lnTo>
                  <a:lnTo>
                    <a:pt x="415" y="199"/>
                  </a:lnTo>
                  <a:lnTo>
                    <a:pt x="414" y="200"/>
                  </a:lnTo>
                  <a:lnTo>
                    <a:pt x="414" y="200"/>
                  </a:lnTo>
                  <a:lnTo>
                    <a:pt x="413" y="201"/>
                  </a:lnTo>
                  <a:lnTo>
                    <a:pt x="413" y="202"/>
                  </a:lnTo>
                  <a:lnTo>
                    <a:pt x="412" y="203"/>
                  </a:lnTo>
                  <a:lnTo>
                    <a:pt x="411" y="204"/>
                  </a:lnTo>
                  <a:lnTo>
                    <a:pt x="410" y="207"/>
                  </a:lnTo>
                  <a:lnTo>
                    <a:pt x="409" y="208"/>
                  </a:lnTo>
                  <a:lnTo>
                    <a:pt x="409" y="208"/>
                  </a:lnTo>
                  <a:lnTo>
                    <a:pt x="407" y="211"/>
                  </a:lnTo>
                  <a:lnTo>
                    <a:pt x="406" y="212"/>
                  </a:lnTo>
                  <a:lnTo>
                    <a:pt x="405" y="213"/>
                  </a:lnTo>
                  <a:lnTo>
                    <a:pt x="404" y="214"/>
                  </a:lnTo>
                  <a:lnTo>
                    <a:pt x="404" y="215"/>
                  </a:lnTo>
                  <a:lnTo>
                    <a:pt x="404" y="216"/>
                  </a:lnTo>
                  <a:lnTo>
                    <a:pt x="404" y="217"/>
                  </a:lnTo>
                  <a:lnTo>
                    <a:pt x="404" y="220"/>
                  </a:lnTo>
                  <a:lnTo>
                    <a:pt x="403" y="222"/>
                  </a:lnTo>
                  <a:lnTo>
                    <a:pt x="403" y="224"/>
                  </a:lnTo>
                  <a:lnTo>
                    <a:pt x="403" y="226"/>
                  </a:lnTo>
                  <a:lnTo>
                    <a:pt x="402" y="229"/>
                  </a:lnTo>
                  <a:lnTo>
                    <a:pt x="402" y="230"/>
                  </a:lnTo>
                  <a:lnTo>
                    <a:pt x="402" y="231"/>
                  </a:lnTo>
                  <a:lnTo>
                    <a:pt x="402" y="232"/>
                  </a:lnTo>
                  <a:lnTo>
                    <a:pt x="402" y="232"/>
                  </a:lnTo>
                  <a:lnTo>
                    <a:pt x="402" y="233"/>
                  </a:lnTo>
                  <a:lnTo>
                    <a:pt x="402" y="233"/>
                  </a:lnTo>
                  <a:lnTo>
                    <a:pt x="403" y="234"/>
                  </a:lnTo>
                  <a:lnTo>
                    <a:pt x="403" y="234"/>
                  </a:lnTo>
                  <a:lnTo>
                    <a:pt x="404" y="235"/>
                  </a:lnTo>
                  <a:lnTo>
                    <a:pt x="407" y="237"/>
                  </a:lnTo>
                  <a:lnTo>
                    <a:pt x="412" y="241"/>
                  </a:lnTo>
                  <a:lnTo>
                    <a:pt x="412" y="241"/>
                  </a:lnTo>
                  <a:lnTo>
                    <a:pt x="413" y="241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2" y="243"/>
                  </a:lnTo>
                  <a:lnTo>
                    <a:pt x="411" y="243"/>
                  </a:lnTo>
                  <a:lnTo>
                    <a:pt x="411" y="244"/>
                  </a:lnTo>
                  <a:lnTo>
                    <a:pt x="411" y="244"/>
                  </a:lnTo>
                  <a:lnTo>
                    <a:pt x="410" y="244"/>
                  </a:lnTo>
                  <a:lnTo>
                    <a:pt x="410" y="245"/>
                  </a:lnTo>
                  <a:lnTo>
                    <a:pt x="410" y="245"/>
                  </a:lnTo>
                  <a:lnTo>
                    <a:pt x="410" y="245"/>
                  </a:lnTo>
                  <a:lnTo>
                    <a:pt x="411" y="246"/>
                  </a:lnTo>
                  <a:lnTo>
                    <a:pt x="411" y="246"/>
                  </a:lnTo>
                  <a:lnTo>
                    <a:pt x="412" y="247"/>
                  </a:lnTo>
                  <a:lnTo>
                    <a:pt x="413" y="247"/>
                  </a:lnTo>
                  <a:lnTo>
                    <a:pt x="413" y="247"/>
                  </a:lnTo>
                  <a:lnTo>
                    <a:pt x="414" y="248"/>
                  </a:lnTo>
                  <a:lnTo>
                    <a:pt x="415" y="248"/>
                  </a:lnTo>
                  <a:lnTo>
                    <a:pt x="418" y="249"/>
                  </a:lnTo>
                  <a:lnTo>
                    <a:pt x="419" y="249"/>
                  </a:lnTo>
                  <a:lnTo>
                    <a:pt x="419" y="249"/>
                  </a:lnTo>
                  <a:lnTo>
                    <a:pt x="419" y="250"/>
                  </a:lnTo>
                  <a:lnTo>
                    <a:pt x="420" y="250"/>
                  </a:lnTo>
                  <a:lnTo>
                    <a:pt x="420" y="250"/>
                  </a:lnTo>
                  <a:lnTo>
                    <a:pt x="420" y="251"/>
                  </a:lnTo>
                  <a:lnTo>
                    <a:pt x="420" y="252"/>
                  </a:lnTo>
                  <a:lnTo>
                    <a:pt x="420" y="252"/>
                  </a:lnTo>
                  <a:lnTo>
                    <a:pt x="420" y="253"/>
                  </a:lnTo>
                  <a:lnTo>
                    <a:pt x="420" y="253"/>
                  </a:lnTo>
                  <a:lnTo>
                    <a:pt x="420" y="254"/>
                  </a:lnTo>
                  <a:lnTo>
                    <a:pt x="419" y="255"/>
                  </a:lnTo>
                  <a:lnTo>
                    <a:pt x="419" y="256"/>
                  </a:lnTo>
                  <a:lnTo>
                    <a:pt x="418" y="258"/>
                  </a:lnTo>
                  <a:lnTo>
                    <a:pt x="415" y="261"/>
                  </a:lnTo>
                  <a:lnTo>
                    <a:pt x="415" y="262"/>
                  </a:lnTo>
                  <a:lnTo>
                    <a:pt x="414" y="262"/>
                  </a:lnTo>
                  <a:lnTo>
                    <a:pt x="414" y="263"/>
                  </a:lnTo>
                  <a:lnTo>
                    <a:pt x="414" y="264"/>
                  </a:lnTo>
                  <a:lnTo>
                    <a:pt x="414" y="265"/>
                  </a:lnTo>
                  <a:lnTo>
                    <a:pt x="414" y="266"/>
                  </a:lnTo>
                  <a:lnTo>
                    <a:pt x="414" y="266"/>
                  </a:lnTo>
                  <a:lnTo>
                    <a:pt x="414" y="267"/>
                  </a:lnTo>
                  <a:lnTo>
                    <a:pt x="414" y="268"/>
                  </a:lnTo>
                  <a:lnTo>
                    <a:pt x="415" y="269"/>
                  </a:lnTo>
                  <a:lnTo>
                    <a:pt x="415" y="269"/>
                  </a:lnTo>
                  <a:lnTo>
                    <a:pt x="417" y="271"/>
                  </a:lnTo>
                  <a:lnTo>
                    <a:pt x="418" y="272"/>
                  </a:lnTo>
                  <a:lnTo>
                    <a:pt x="418" y="273"/>
                  </a:lnTo>
                  <a:lnTo>
                    <a:pt x="418" y="274"/>
                  </a:lnTo>
                  <a:lnTo>
                    <a:pt x="419" y="274"/>
                  </a:lnTo>
                  <a:lnTo>
                    <a:pt x="419" y="275"/>
                  </a:lnTo>
                  <a:lnTo>
                    <a:pt x="419" y="275"/>
                  </a:lnTo>
                  <a:lnTo>
                    <a:pt x="419" y="276"/>
                  </a:lnTo>
                  <a:lnTo>
                    <a:pt x="418" y="276"/>
                  </a:lnTo>
                  <a:lnTo>
                    <a:pt x="418" y="277"/>
                  </a:lnTo>
                  <a:lnTo>
                    <a:pt x="418" y="277"/>
                  </a:lnTo>
                  <a:lnTo>
                    <a:pt x="417" y="278"/>
                  </a:lnTo>
                  <a:lnTo>
                    <a:pt x="416" y="278"/>
                  </a:lnTo>
                  <a:lnTo>
                    <a:pt x="414" y="280"/>
                  </a:lnTo>
                  <a:lnTo>
                    <a:pt x="413" y="281"/>
                  </a:lnTo>
                  <a:lnTo>
                    <a:pt x="412" y="281"/>
                  </a:lnTo>
                  <a:lnTo>
                    <a:pt x="411" y="283"/>
                  </a:lnTo>
                  <a:lnTo>
                    <a:pt x="410" y="284"/>
                  </a:lnTo>
                  <a:lnTo>
                    <a:pt x="409" y="285"/>
                  </a:lnTo>
                  <a:lnTo>
                    <a:pt x="409" y="286"/>
                  </a:lnTo>
                  <a:lnTo>
                    <a:pt x="409" y="287"/>
                  </a:lnTo>
                  <a:lnTo>
                    <a:pt x="408" y="288"/>
                  </a:lnTo>
                  <a:lnTo>
                    <a:pt x="408" y="289"/>
                  </a:lnTo>
                  <a:lnTo>
                    <a:pt x="407" y="290"/>
                  </a:lnTo>
                  <a:lnTo>
                    <a:pt x="407" y="291"/>
                  </a:lnTo>
                  <a:lnTo>
                    <a:pt x="407" y="292"/>
                  </a:lnTo>
                  <a:lnTo>
                    <a:pt x="407" y="293"/>
                  </a:lnTo>
                  <a:lnTo>
                    <a:pt x="407" y="294"/>
                  </a:lnTo>
                  <a:lnTo>
                    <a:pt x="407" y="295"/>
                  </a:lnTo>
                  <a:lnTo>
                    <a:pt x="407" y="295"/>
                  </a:lnTo>
                  <a:lnTo>
                    <a:pt x="407" y="296"/>
                  </a:lnTo>
                  <a:lnTo>
                    <a:pt x="407" y="296"/>
                  </a:lnTo>
                  <a:lnTo>
                    <a:pt x="408" y="297"/>
                  </a:lnTo>
                  <a:lnTo>
                    <a:pt x="408" y="297"/>
                  </a:lnTo>
                  <a:lnTo>
                    <a:pt x="409" y="298"/>
                  </a:lnTo>
                  <a:lnTo>
                    <a:pt x="410" y="299"/>
                  </a:lnTo>
                  <a:lnTo>
                    <a:pt x="412" y="301"/>
                  </a:lnTo>
                  <a:lnTo>
                    <a:pt x="414" y="301"/>
                  </a:lnTo>
                  <a:lnTo>
                    <a:pt x="414" y="302"/>
                  </a:lnTo>
                  <a:lnTo>
                    <a:pt x="414" y="303"/>
                  </a:lnTo>
                  <a:lnTo>
                    <a:pt x="415" y="303"/>
                  </a:lnTo>
                  <a:lnTo>
                    <a:pt x="415" y="304"/>
                  </a:lnTo>
                  <a:lnTo>
                    <a:pt x="415" y="304"/>
                  </a:lnTo>
                  <a:lnTo>
                    <a:pt x="416" y="305"/>
                  </a:lnTo>
                  <a:lnTo>
                    <a:pt x="416" y="305"/>
                  </a:lnTo>
                  <a:lnTo>
                    <a:pt x="416" y="306"/>
                  </a:lnTo>
                  <a:lnTo>
                    <a:pt x="416" y="308"/>
                  </a:lnTo>
                  <a:lnTo>
                    <a:pt x="416" y="309"/>
                  </a:lnTo>
                  <a:lnTo>
                    <a:pt x="416" y="310"/>
                  </a:lnTo>
                  <a:lnTo>
                    <a:pt x="416" y="311"/>
                  </a:lnTo>
                  <a:lnTo>
                    <a:pt x="416" y="311"/>
                  </a:lnTo>
                  <a:lnTo>
                    <a:pt x="415" y="312"/>
                  </a:lnTo>
                  <a:lnTo>
                    <a:pt x="414" y="313"/>
                  </a:lnTo>
                  <a:lnTo>
                    <a:pt x="413" y="314"/>
                  </a:lnTo>
                  <a:lnTo>
                    <a:pt x="412" y="314"/>
                  </a:lnTo>
                  <a:lnTo>
                    <a:pt x="411" y="315"/>
                  </a:lnTo>
                  <a:lnTo>
                    <a:pt x="409" y="316"/>
                  </a:lnTo>
                  <a:lnTo>
                    <a:pt x="408" y="316"/>
                  </a:lnTo>
                  <a:lnTo>
                    <a:pt x="408" y="317"/>
                  </a:lnTo>
                  <a:lnTo>
                    <a:pt x="407" y="317"/>
                  </a:lnTo>
                  <a:lnTo>
                    <a:pt x="407" y="318"/>
                  </a:lnTo>
                  <a:lnTo>
                    <a:pt x="406" y="318"/>
                  </a:lnTo>
                  <a:lnTo>
                    <a:pt x="406" y="319"/>
                  </a:lnTo>
                  <a:lnTo>
                    <a:pt x="406" y="320"/>
                  </a:lnTo>
                  <a:lnTo>
                    <a:pt x="405" y="320"/>
                  </a:lnTo>
                  <a:lnTo>
                    <a:pt x="405" y="321"/>
                  </a:lnTo>
                  <a:lnTo>
                    <a:pt x="405" y="322"/>
                  </a:lnTo>
                  <a:lnTo>
                    <a:pt x="405" y="322"/>
                  </a:lnTo>
                  <a:lnTo>
                    <a:pt x="406" y="325"/>
                  </a:lnTo>
                  <a:lnTo>
                    <a:pt x="406" y="326"/>
                  </a:lnTo>
                  <a:lnTo>
                    <a:pt x="407" y="327"/>
                  </a:lnTo>
                  <a:lnTo>
                    <a:pt x="407" y="327"/>
                  </a:lnTo>
                  <a:lnTo>
                    <a:pt x="407" y="328"/>
                  </a:lnTo>
                  <a:lnTo>
                    <a:pt x="406" y="329"/>
                  </a:lnTo>
                  <a:lnTo>
                    <a:pt x="406" y="329"/>
                  </a:lnTo>
                  <a:lnTo>
                    <a:pt x="406" y="330"/>
                  </a:lnTo>
                  <a:lnTo>
                    <a:pt x="405" y="330"/>
                  </a:lnTo>
                  <a:lnTo>
                    <a:pt x="405" y="331"/>
                  </a:lnTo>
                  <a:lnTo>
                    <a:pt x="404" y="331"/>
                  </a:lnTo>
                  <a:lnTo>
                    <a:pt x="404" y="332"/>
                  </a:lnTo>
                  <a:lnTo>
                    <a:pt x="403" y="332"/>
                  </a:lnTo>
                  <a:lnTo>
                    <a:pt x="402" y="333"/>
                  </a:lnTo>
                  <a:lnTo>
                    <a:pt x="401" y="333"/>
                  </a:lnTo>
                  <a:lnTo>
                    <a:pt x="400" y="333"/>
                  </a:lnTo>
                  <a:lnTo>
                    <a:pt x="400" y="333"/>
                  </a:lnTo>
                  <a:lnTo>
                    <a:pt x="400" y="334"/>
                  </a:lnTo>
                  <a:lnTo>
                    <a:pt x="400" y="334"/>
                  </a:lnTo>
                  <a:lnTo>
                    <a:pt x="400" y="334"/>
                  </a:lnTo>
                  <a:lnTo>
                    <a:pt x="399" y="334"/>
                  </a:lnTo>
                  <a:lnTo>
                    <a:pt x="400" y="335"/>
                  </a:lnTo>
                  <a:lnTo>
                    <a:pt x="400" y="336"/>
                  </a:lnTo>
                  <a:lnTo>
                    <a:pt x="400" y="336"/>
                  </a:lnTo>
                  <a:lnTo>
                    <a:pt x="401" y="337"/>
                  </a:lnTo>
                  <a:lnTo>
                    <a:pt x="402" y="339"/>
                  </a:lnTo>
                  <a:lnTo>
                    <a:pt x="404" y="339"/>
                  </a:lnTo>
                  <a:lnTo>
                    <a:pt x="406" y="342"/>
                  </a:lnTo>
                  <a:lnTo>
                    <a:pt x="407" y="343"/>
                  </a:lnTo>
                  <a:lnTo>
                    <a:pt x="408" y="344"/>
                  </a:lnTo>
                  <a:lnTo>
                    <a:pt x="409" y="344"/>
                  </a:lnTo>
                  <a:lnTo>
                    <a:pt x="409" y="345"/>
                  </a:lnTo>
                  <a:lnTo>
                    <a:pt x="409" y="346"/>
                  </a:lnTo>
                  <a:lnTo>
                    <a:pt x="409" y="346"/>
                  </a:lnTo>
                  <a:lnTo>
                    <a:pt x="409" y="347"/>
                  </a:lnTo>
                  <a:lnTo>
                    <a:pt x="409" y="348"/>
                  </a:lnTo>
                  <a:lnTo>
                    <a:pt x="409" y="348"/>
                  </a:lnTo>
                  <a:lnTo>
                    <a:pt x="409" y="349"/>
                  </a:lnTo>
                  <a:lnTo>
                    <a:pt x="408" y="349"/>
                  </a:lnTo>
                  <a:lnTo>
                    <a:pt x="408" y="350"/>
                  </a:lnTo>
                  <a:lnTo>
                    <a:pt x="407" y="350"/>
                  </a:lnTo>
                  <a:lnTo>
                    <a:pt x="405" y="352"/>
                  </a:lnTo>
                  <a:lnTo>
                    <a:pt x="405" y="353"/>
                  </a:lnTo>
                  <a:lnTo>
                    <a:pt x="404" y="353"/>
                  </a:lnTo>
                  <a:lnTo>
                    <a:pt x="404" y="354"/>
                  </a:lnTo>
                  <a:lnTo>
                    <a:pt x="404" y="354"/>
                  </a:lnTo>
                  <a:lnTo>
                    <a:pt x="403" y="356"/>
                  </a:lnTo>
                  <a:lnTo>
                    <a:pt x="403" y="357"/>
                  </a:lnTo>
                  <a:lnTo>
                    <a:pt x="402" y="358"/>
                  </a:lnTo>
                  <a:lnTo>
                    <a:pt x="401" y="359"/>
                  </a:lnTo>
                  <a:lnTo>
                    <a:pt x="401" y="359"/>
                  </a:lnTo>
                  <a:lnTo>
                    <a:pt x="400" y="360"/>
                  </a:lnTo>
                  <a:lnTo>
                    <a:pt x="400" y="360"/>
                  </a:lnTo>
                  <a:lnTo>
                    <a:pt x="399" y="361"/>
                  </a:lnTo>
                  <a:lnTo>
                    <a:pt x="399" y="361"/>
                  </a:lnTo>
                  <a:lnTo>
                    <a:pt x="398" y="362"/>
                  </a:lnTo>
                  <a:lnTo>
                    <a:pt x="397" y="362"/>
                  </a:lnTo>
                  <a:lnTo>
                    <a:pt x="397" y="362"/>
                  </a:lnTo>
                  <a:lnTo>
                    <a:pt x="395" y="363"/>
                  </a:lnTo>
                  <a:lnTo>
                    <a:pt x="393" y="363"/>
                  </a:lnTo>
                  <a:lnTo>
                    <a:pt x="390" y="363"/>
                  </a:lnTo>
                  <a:lnTo>
                    <a:pt x="386" y="364"/>
                  </a:lnTo>
                  <a:lnTo>
                    <a:pt x="385" y="364"/>
                  </a:lnTo>
                  <a:lnTo>
                    <a:pt x="383" y="364"/>
                  </a:lnTo>
                  <a:lnTo>
                    <a:pt x="382" y="365"/>
                  </a:lnTo>
                  <a:lnTo>
                    <a:pt x="381" y="365"/>
                  </a:lnTo>
                  <a:lnTo>
                    <a:pt x="380" y="366"/>
                  </a:lnTo>
                  <a:lnTo>
                    <a:pt x="379" y="366"/>
                  </a:lnTo>
                  <a:lnTo>
                    <a:pt x="378" y="367"/>
                  </a:lnTo>
                  <a:lnTo>
                    <a:pt x="378" y="368"/>
                  </a:lnTo>
                  <a:lnTo>
                    <a:pt x="377" y="368"/>
                  </a:lnTo>
                  <a:lnTo>
                    <a:pt x="377" y="369"/>
                  </a:lnTo>
                  <a:lnTo>
                    <a:pt x="377" y="370"/>
                  </a:lnTo>
                  <a:lnTo>
                    <a:pt x="377" y="371"/>
                  </a:lnTo>
                  <a:lnTo>
                    <a:pt x="377" y="373"/>
                  </a:lnTo>
                  <a:lnTo>
                    <a:pt x="377" y="373"/>
                  </a:lnTo>
                  <a:lnTo>
                    <a:pt x="377" y="374"/>
                  </a:lnTo>
                  <a:lnTo>
                    <a:pt x="377" y="374"/>
                  </a:lnTo>
                  <a:lnTo>
                    <a:pt x="376" y="375"/>
                  </a:lnTo>
                  <a:lnTo>
                    <a:pt x="376" y="375"/>
                  </a:lnTo>
                  <a:lnTo>
                    <a:pt x="376" y="376"/>
                  </a:lnTo>
                  <a:lnTo>
                    <a:pt x="375" y="376"/>
                  </a:lnTo>
                  <a:lnTo>
                    <a:pt x="372" y="378"/>
                  </a:lnTo>
                  <a:lnTo>
                    <a:pt x="372" y="378"/>
                  </a:lnTo>
                  <a:lnTo>
                    <a:pt x="371" y="378"/>
                  </a:lnTo>
                  <a:lnTo>
                    <a:pt x="370" y="379"/>
                  </a:lnTo>
                  <a:lnTo>
                    <a:pt x="368" y="379"/>
                  </a:lnTo>
                  <a:lnTo>
                    <a:pt x="364" y="380"/>
                  </a:lnTo>
                  <a:lnTo>
                    <a:pt x="362" y="380"/>
                  </a:lnTo>
                  <a:lnTo>
                    <a:pt x="361" y="380"/>
                  </a:lnTo>
                  <a:lnTo>
                    <a:pt x="360" y="380"/>
                  </a:lnTo>
                  <a:lnTo>
                    <a:pt x="358" y="380"/>
                  </a:lnTo>
                  <a:lnTo>
                    <a:pt x="356" y="380"/>
                  </a:lnTo>
                  <a:lnTo>
                    <a:pt x="355" y="379"/>
                  </a:lnTo>
                  <a:lnTo>
                    <a:pt x="352" y="379"/>
                  </a:lnTo>
                  <a:lnTo>
                    <a:pt x="351" y="379"/>
                  </a:lnTo>
                  <a:lnTo>
                    <a:pt x="349" y="378"/>
                  </a:lnTo>
                  <a:lnTo>
                    <a:pt x="348" y="378"/>
                  </a:lnTo>
                  <a:lnTo>
                    <a:pt x="347" y="378"/>
                  </a:lnTo>
                  <a:lnTo>
                    <a:pt x="346" y="378"/>
                  </a:lnTo>
                  <a:lnTo>
                    <a:pt x="346" y="379"/>
                  </a:lnTo>
                  <a:lnTo>
                    <a:pt x="345" y="379"/>
                  </a:lnTo>
                  <a:lnTo>
                    <a:pt x="344" y="380"/>
                  </a:lnTo>
                  <a:lnTo>
                    <a:pt x="343" y="381"/>
                  </a:lnTo>
                  <a:lnTo>
                    <a:pt x="341" y="382"/>
                  </a:lnTo>
                  <a:lnTo>
                    <a:pt x="340" y="382"/>
                  </a:lnTo>
                  <a:lnTo>
                    <a:pt x="339" y="383"/>
                  </a:lnTo>
                  <a:lnTo>
                    <a:pt x="338" y="383"/>
                  </a:lnTo>
                  <a:lnTo>
                    <a:pt x="336" y="383"/>
                  </a:lnTo>
                  <a:lnTo>
                    <a:pt x="335" y="383"/>
                  </a:lnTo>
                  <a:lnTo>
                    <a:pt x="335" y="383"/>
                  </a:lnTo>
                  <a:lnTo>
                    <a:pt x="334" y="383"/>
                  </a:lnTo>
                  <a:lnTo>
                    <a:pt x="333" y="382"/>
                  </a:lnTo>
                  <a:lnTo>
                    <a:pt x="332" y="382"/>
                  </a:lnTo>
                  <a:lnTo>
                    <a:pt x="331" y="381"/>
                  </a:lnTo>
                  <a:lnTo>
                    <a:pt x="329" y="379"/>
                  </a:lnTo>
                  <a:lnTo>
                    <a:pt x="328" y="379"/>
                  </a:lnTo>
                  <a:lnTo>
                    <a:pt x="327" y="378"/>
                  </a:lnTo>
                  <a:lnTo>
                    <a:pt x="327" y="378"/>
                  </a:lnTo>
                  <a:lnTo>
                    <a:pt x="326" y="376"/>
                  </a:lnTo>
                  <a:lnTo>
                    <a:pt x="325" y="375"/>
                  </a:lnTo>
                  <a:lnTo>
                    <a:pt x="325" y="375"/>
                  </a:lnTo>
                  <a:lnTo>
                    <a:pt x="324" y="374"/>
                  </a:lnTo>
                  <a:lnTo>
                    <a:pt x="324" y="374"/>
                  </a:lnTo>
                  <a:lnTo>
                    <a:pt x="323" y="374"/>
                  </a:lnTo>
                  <a:lnTo>
                    <a:pt x="323" y="374"/>
                  </a:lnTo>
                  <a:lnTo>
                    <a:pt x="322" y="374"/>
                  </a:lnTo>
                  <a:lnTo>
                    <a:pt x="322" y="374"/>
                  </a:lnTo>
                  <a:lnTo>
                    <a:pt x="320" y="374"/>
                  </a:lnTo>
                  <a:lnTo>
                    <a:pt x="320" y="375"/>
                  </a:lnTo>
                  <a:lnTo>
                    <a:pt x="318" y="375"/>
                  </a:lnTo>
                  <a:lnTo>
                    <a:pt x="317" y="376"/>
                  </a:lnTo>
                  <a:lnTo>
                    <a:pt x="317" y="376"/>
                  </a:lnTo>
                  <a:lnTo>
                    <a:pt x="316" y="376"/>
                  </a:lnTo>
                  <a:lnTo>
                    <a:pt x="316" y="377"/>
                  </a:lnTo>
                  <a:lnTo>
                    <a:pt x="314" y="379"/>
                  </a:lnTo>
                  <a:lnTo>
                    <a:pt x="313" y="380"/>
                  </a:lnTo>
                  <a:lnTo>
                    <a:pt x="312" y="380"/>
                  </a:lnTo>
                  <a:lnTo>
                    <a:pt x="312" y="381"/>
                  </a:lnTo>
                  <a:lnTo>
                    <a:pt x="311" y="381"/>
                  </a:lnTo>
                  <a:lnTo>
                    <a:pt x="310" y="382"/>
                  </a:lnTo>
                  <a:lnTo>
                    <a:pt x="310" y="382"/>
                  </a:lnTo>
                  <a:lnTo>
                    <a:pt x="309" y="382"/>
                  </a:lnTo>
                  <a:lnTo>
                    <a:pt x="309" y="382"/>
                  </a:lnTo>
                  <a:lnTo>
                    <a:pt x="308" y="382"/>
                  </a:lnTo>
                  <a:lnTo>
                    <a:pt x="307" y="382"/>
                  </a:lnTo>
                  <a:lnTo>
                    <a:pt x="305" y="382"/>
                  </a:lnTo>
                  <a:lnTo>
                    <a:pt x="304" y="382"/>
                  </a:lnTo>
                  <a:lnTo>
                    <a:pt x="304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2" y="383"/>
                  </a:lnTo>
                  <a:lnTo>
                    <a:pt x="302" y="383"/>
                  </a:lnTo>
                  <a:lnTo>
                    <a:pt x="301" y="383"/>
                  </a:lnTo>
                  <a:lnTo>
                    <a:pt x="301" y="384"/>
                  </a:lnTo>
                  <a:lnTo>
                    <a:pt x="300" y="385"/>
                  </a:lnTo>
                  <a:lnTo>
                    <a:pt x="300" y="386"/>
                  </a:lnTo>
                  <a:lnTo>
                    <a:pt x="299" y="389"/>
                  </a:lnTo>
                  <a:lnTo>
                    <a:pt x="298" y="390"/>
                  </a:lnTo>
                  <a:lnTo>
                    <a:pt x="298" y="390"/>
                  </a:lnTo>
                  <a:lnTo>
                    <a:pt x="298" y="391"/>
                  </a:lnTo>
                  <a:lnTo>
                    <a:pt x="297" y="392"/>
                  </a:lnTo>
                  <a:lnTo>
                    <a:pt x="297" y="392"/>
                  </a:lnTo>
                  <a:lnTo>
                    <a:pt x="296" y="392"/>
                  </a:lnTo>
                  <a:lnTo>
                    <a:pt x="295" y="393"/>
                  </a:lnTo>
                  <a:lnTo>
                    <a:pt x="295" y="393"/>
                  </a:lnTo>
                  <a:lnTo>
                    <a:pt x="293" y="393"/>
                  </a:lnTo>
                  <a:lnTo>
                    <a:pt x="291" y="393"/>
                  </a:lnTo>
                  <a:lnTo>
                    <a:pt x="290" y="393"/>
                  </a:lnTo>
                  <a:lnTo>
                    <a:pt x="288" y="393"/>
                  </a:lnTo>
                  <a:lnTo>
                    <a:pt x="286" y="393"/>
                  </a:lnTo>
                  <a:lnTo>
                    <a:pt x="285" y="394"/>
                  </a:lnTo>
                  <a:lnTo>
                    <a:pt x="282" y="395"/>
                  </a:lnTo>
                  <a:lnTo>
                    <a:pt x="281" y="395"/>
                  </a:lnTo>
                  <a:lnTo>
                    <a:pt x="279" y="396"/>
                  </a:lnTo>
                  <a:lnTo>
                    <a:pt x="278" y="397"/>
                  </a:lnTo>
                  <a:lnTo>
                    <a:pt x="277" y="397"/>
                  </a:lnTo>
                  <a:lnTo>
                    <a:pt x="277" y="398"/>
                  </a:lnTo>
                  <a:lnTo>
                    <a:pt x="276" y="399"/>
                  </a:lnTo>
                  <a:lnTo>
                    <a:pt x="275" y="400"/>
                  </a:lnTo>
                  <a:lnTo>
                    <a:pt x="274" y="402"/>
                  </a:lnTo>
                  <a:lnTo>
                    <a:pt x="272" y="403"/>
                  </a:lnTo>
                  <a:lnTo>
                    <a:pt x="271" y="404"/>
                  </a:lnTo>
                  <a:lnTo>
                    <a:pt x="270" y="405"/>
                  </a:lnTo>
                  <a:lnTo>
                    <a:pt x="269" y="406"/>
                  </a:lnTo>
                  <a:lnTo>
                    <a:pt x="268" y="407"/>
                  </a:lnTo>
                  <a:lnTo>
                    <a:pt x="266" y="408"/>
                  </a:lnTo>
                  <a:lnTo>
                    <a:pt x="265" y="409"/>
                  </a:lnTo>
                  <a:lnTo>
                    <a:pt x="264" y="409"/>
                  </a:lnTo>
                  <a:lnTo>
                    <a:pt x="263" y="410"/>
                  </a:lnTo>
                  <a:lnTo>
                    <a:pt x="263" y="410"/>
                  </a:lnTo>
                  <a:lnTo>
                    <a:pt x="261" y="412"/>
                  </a:lnTo>
                  <a:lnTo>
                    <a:pt x="259" y="414"/>
                  </a:lnTo>
                  <a:lnTo>
                    <a:pt x="259" y="414"/>
                  </a:lnTo>
                  <a:lnTo>
                    <a:pt x="258" y="416"/>
                  </a:lnTo>
                  <a:lnTo>
                    <a:pt x="256" y="418"/>
                  </a:lnTo>
                  <a:lnTo>
                    <a:pt x="256" y="418"/>
                  </a:lnTo>
                  <a:lnTo>
                    <a:pt x="255" y="419"/>
                  </a:lnTo>
                  <a:lnTo>
                    <a:pt x="255" y="419"/>
                  </a:lnTo>
                  <a:lnTo>
                    <a:pt x="254" y="419"/>
                  </a:lnTo>
                  <a:lnTo>
                    <a:pt x="254" y="419"/>
                  </a:lnTo>
                  <a:lnTo>
                    <a:pt x="253" y="419"/>
                  </a:lnTo>
                  <a:lnTo>
                    <a:pt x="253" y="419"/>
                  </a:lnTo>
                  <a:lnTo>
                    <a:pt x="252" y="419"/>
                  </a:lnTo>
                  <a:lnTo>
                    <a:pt x="251" y="419"/>
                  </a:lnTo>
                  <a:lnTo>
                    <a:pt x="249" y="417"/>
                  </a:lnTo>
                  <a:lnTo>
                    <a:pt x="248" y="417"/>
                  </a:lnTo>
                  <a:lnTo>
                    <a:pt x="247" y="416"/>
                  </a:lnTo>
                  <a:lnTo>
                    <a:pt x="246" y="416"/>
                  </a:lnTo>
                  <a:lnTo>
                    <a:pt x="245" y="415"/>
                  </a:lnTo>
                  <a:lnTo>
                    <a:pt x="244" y="415"/>
                  </a:lnTo>
                  <a:lnTo>
                    <a:pt x="243" y="415"/>
                  </a:lnTo>
                  <a:lnTo>
                    <a:pt x="242" y="415"/>
                  </a:lnTo>
                  <a:lnTo>
                    <a:pt x="238" y="416"/>
                  </a:lnTo>
                  <a:lnTo>
                    <a:pt x="237" y="416"/>
                  </a:lnTo>
                  <a:lnTo>
                    <a:pt x="236" y="416"/>
                  </a:lnTo>
                  <a:lnTo>
                    <a:pt x="236" y="416"/>
                  </a:lnTo>
                  <a:lnTo>
                    <a:pt x="235" y="416"/>
                  </a:lnTo>
                  <a:lnTo>
                    <a:pt x="235" y="417"/>
                  </a:lnTo>
                  <a:lnTo>
                    <a:pt x="235" y="417"/>
                  </a:lnTo>
                  <a:lnTo>
                    <a:pt x="234" y="417"/>
                  </a:lnTo>
                  <a:lnTo>
                    <a:pt x="232" y="420"/>
                  </a:lnTo>
                  <a:lnTo>
                    <a:pt x="231" y="422"/>
                  </a:lnTo>
                  <a:lnTo>
                    <a:pt x="231" y="422"/>
                  </a:lnTo>
                  <a:lnTo>
                    <a:pt x="230" y="423"/>
                  </a:lnTo>
                  <a:lnTo>
                    <a:pt x="229" y="424"/>
                  </a:lnTo>
                  <a:lnTo>
                    <a:pt x="229" y="424"/>
                  </a:lnTo>
                  <a:lnTo>
                    <a:pt x="228" y="425"/>
                  </a:lnTo>
                  <a:lnTo>
                    <a:pt x="228" y="425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26" y="425"/>
                  </a:lnTo>
                  <a:lnTo>
                    <a:pt x="225" y="425"/>
                  </a:lnTo>
                  <a:lnTo>
                    <a:pt x="224" y="424"/>
                  </a:lnTo>
                  <a:lnTo>
                    <a:pt x="223" y="424"/>
                  </a:lnTo>
                  <a:lnTo>
                    <a:pt x="222" y="424"/>
                  </a:lnTo>
                  <a:lnTo>
                    <a:pt x="222" y="423"/>
                  </a:lnTo>
                  <a:lnTo>
                    <a:pt x="220" y="422"/>
                  </a:lnTo>
                  <a:lnTo>
                    <a:pt x="219" y="421"/>
                  </a:lnTo>
                  <a:lnTo>
                    <a:pt x="218" y="421"/>
                  </a:lnTo>
                  <a:lnTo>
                    <a:pt x="217" y="421"/>
                  </a:lnTo>
                  <a:lnTo>
                    <a:pt x="217" y="421"/>
                  </a:lnTo>
                  <a:lnTo>
                    <a:pt x="216" y="421"/>
                  </a:lnTo>
                  <a:lnTo>
                    <a:pt x="215" y="421"/>
                  </a:lnTo>
                  <a:lnTo>
                    <a:pt x="214" y="421"/>
                  </a:lnTo>
                  <a:lnTo>
                    <a:pt x="213" y="421"/>
                  </a:lnTo>
                  <a:lnTo>
                    <a:pt x="212" y="421"/>
                  </a:lnTo>
                  <a:lnTo>
                    <a:pt x="211" y="422"/>
                  </a:lnTo>
                  <a:lnTo>
                    <a:pt x="211" y="422"/>
                  </a:lnTo>
                  <a:lnTo>
                    <a:pt x="210" y="422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2"/>
                  </a:lnTo>
                  <a:lnTo>
                    <a:pt x="209" y="421"/>
                  </a:lnTo>
                  <a:lnTo>
                    <a:pt x="208" y="419"/>
                  </a:lnTo>
                  <a:lnTo>
                    <a:pt x="208" y="418"/>
                  </a:lnTo>
                  <a:lnTo>
                    <a:pt x="207" y="418"/>
                  </a:lnTo>
                  <a:lnTo>
                    <a:pt x="207" y="417"/>
                  </a:lnTo>
                  <a:lnTo>
                    <a:pt x="206" y="416"/>
                  </a:lnTo>
                  <a:lnTo>
                    <a:pt x="206" y="416"/>
                  </a:lnTo>
                  <a:lnTo>
                    <a:pt x="205" y="415"/>
                  </a:lnTo>
                  <a:lnTo>
                    <a:pt x="203" y="414"/>
                  </a:lnTo>
                  <a:lnTo>
                    <a:pt x="202" y="413"/>
                  </a:lnTo>
                  <a:lnTo>
                    <a:pt x="201" y="412"/>
                  </a:lnTo>
                  <a:lnTo>
                    <a:pt x="199" y="412"/>
                  </a:lnTo>
                  <a:lnTo>
                    <a:pt x="197" y="411"/>
                  </a:lnTo>
                  <a:lnTo>
                    <a:pt x="196" y="410"/>
                  </a:lnTo>
                  <a:lnTo>
                    <a:pt x="195" y="410"/>
                  </a:lnTo>
                  <a:lnTo>
                    <a:pt x="194" y="409"/>
                  </a:lnTo>
                  <a:lnTo>
                    <a:pt x="193" y="408"/>
                  </a:lnTo>
                  <a:lnTo>
                    <a:pt x="192" y="407"/>
                  </a:lnTo>
                  <a:lnTo>
                    <a:pt x="192" y="407"/>
                  </a:lnTo>
                  <a:lnTo>
                    <a:pt x="191" y="404"/>
                  </a:lnTo>
                  <a:lnTo>
                    <a:pt x="190" y="404"/>
                  </a:lnTo>
                  <a:lnTo>
                    <a:pt x="190" y="403"/>
                  </a:lnTo>
                  <a:lnTo>
                    <a:pt x="189" y="402"/>
                  </a:lnTo>
                  <a:lnTo>
                    <a:pt x="189" y="402"/>
                  </a:lnTo>
                  <a:lnTo>
                    <a:pt x="188" y="402"/>
                  </a:lnTo>
                  <a:lnTo>
                    <a:pt x="187" y="402"/>
                  </a:lnTo>
                  <a:lnTo>
                    <a:pt x="187" y="402"/>
                  </a:lnTo>
                  <a:lnTo>
                    <a:pt x="186" y="402"/>
                  </a:lnTo>
                  <a:lnTo>
                    <a:pt x="184" y="401"/>
                  </a:lnTo>
                  <a:lnTo>
                    <a:pt x="183" y="401"/>
                  </a:lnTo>
                  <a:lnTo>
                    <a:pt x="183" y="401"/>
                  </a:lnTo>
                  <a:lnTo>
                    <a:pt x="183" y="401"/>
                  </a:lnTo>
                  <a:lnTo>
                    <a:pt x="182" y="401"/>
                  </a:lnTo>
                  <a:lnTo>
                    <a:pt x="182" y="400"/>
                  </a:lnTo>
                  <a:lnTo>
                    <a:pt x="182" y="400"/>
                  </a:lnTo>
                  <a:lnTo>
                    <a:pt x="182" y="399"/>
                  </a:lnTo>
                  <a:lnTo>
                    <a:pt x="182" y="399"/>
                  </a:lnTo>
                  <a:lnTo>
                    <a:pt x="182" y="398"/>
                  </a:lnTo>
                  <a:lnTo>
                    <a:pt x="182" y="398"/>
                  </a:lnTo>
                  <a:lnTo>
                    <a:pt x="183" y="397"/>
                  </a:lnTo>
                  <a:lnTo>
                    <a:pt x="184" y="396"/>
                  </a:lnTo>
                  <a:lnTo>
                    <a:pt x="185" y="394"/>
                  </a:lnTo>
                  <a:lnTo>
                    <a:pt x="186" y="393"/>
                  </a:lnTo>
                  <a:lnTo>
                    <a:pt x="187" y="392"/>
                  </a:lnTo>
                  <a:lnTo>
                    <a:pt x="188" y="391"/>
                  </a:lnTo>
                  <a:lnTo>
                    <a:pt x="190" y="388"/>
                  </a:lnTo>
                  <a:lnTo>
                    <a:pt x="191" y="388"/>
                  </a:lnTo>
                  <a:lnTo>
                    <a:pt x="191" y="387"/>
                  </a:lnTo>
                  <a:lnTo>
                    <a:pt x="192" y="386"/>
                  </a:lnTo>
                  <a:lnTo>
                    <a:pt x="192" y="385"/>
                  </a:lnTo>
                  <a:lnTo>
                    <a:pt x="193" y="383"/>
                  </a:lnTo>
                  <a:lnTo>
                    <a:pt x="193" y="382"/>
                  </a:lnTo>
                  <a:lnTo>
                    <a:pt x="194" y="381"/>
                  </a:lnTo>
                  <a:lnTo>
                    <a:pt x="196" y="379"/>
                  </a:lnTo>
                  <a:lnTo>
                    <a:pt x="196" y="378"/>
                  </a:lnTo>
                  <a:lnTo>
                    <a:pt x="196" y="377"/>
                  </a:lnTo>
                  <a:lnTo>
                    <a:pt x="196" y="377"/>
                  </a:lnTo>
                  <a:lnTo>
                    <a:pt x="197" y="376"/>
                  </a:lnTo>
                  <a:lnTo>
                    <a:pt x="197" y="374"/>
                  </a:lnTo>
                  <a:lnTo>
                    <a:pt x="197" y="373"/>
                  </a:lnTo>
                  <a:lnTo>
                    <a:pt x="198" y="372"/>
                  </a:lnTo>
                  <a:lnTo>
                    <a:pt x="198" y="371"/>
                  </a:lnTo>
                  <a:lnTo>
                    <a:pt x="199" y="369"/>
                  </a:lnTo>
                  <a:lnTo>
                    <a:pt x="200" y="368"/>
                  </a:lnTo>
                  <a:lnTo>
                    <a:pt x="201" y="367"/>
                  </a:lnTo>
                  <a:lnTo>
                    <a:pt x="201" y="366"/>
                  </a:lnTo>
                  <a:lnTo>
                    <a:pt x="202" y="366"/>
                  </a:lnTo>
                  <a:lnTo>
                    <a:pt x="202" y="366"/>
                  </a:lnTo>
                  <a:lnTo>
                    <a:pt x="202" y="365"/>
                  </a:lnTo>
                  <a:lnTo>
                    <a:pt x="203" y="365"/>
                  </a:lnTo>
                  <a:lnTo>
                    <a:pt x="206" y="365"/>
                  </a:lnTo>
                  <a:lnTo>
                    <a:pt x="208" y="364"/>
                  </a:lnTo>
                  <a:lnTo>
                    <a:pt x="209" y="364"/>
                  </a:lnTo>
                  <a:lnTo>
                    <a:pt x="210" y="363"/>
                  </a:lnTo>
                  <a:lnTo>
                    <a:pt x="210" y="363"/>
                  </a:lnTo>
                  <a:lnTo>
                    <a:pt x="211" y="363"/>
                  </a:lnTo>
                  <a:lnTo>
                    <a:pt x="211" y="362"/>
                  </a:lnTo>
                  <a:lnTo>
                    <a:pt x="211" y="362"/>
                  </a:lnTo>
                  <a:lnTo>
                    <a:pt x="212" y="361"/>
                  </a:lnTo>
                  <a:lnTo>
                    <a:pt x="212" y="360"/>
                  </a:lnTo>
                  <a:lnTo>
                    <a:pt x="212" y="359"/>
                  </a:lnTo>
                  <a:lnTo>
                    <a:pt x="212" y="358"/>
                  </a:lnTo>
                  <a:lnTo>
                    <a:pt x="212" y="358"/>
                  </a:lnTo>
                  <a:lnTo>
                    <a:pt x="212" y="357"/>
                  </a:lnTo>
                  <a:lnTo>
                    <a:pt x="212" y="356"/>
                  </a:lnTo>
                  <a:lnTo>
                    <a:pt x="211" y="355"/>
                  </a:lnTo>
                  <a:lnTo>
                    <a:pt x="209" y="352"/>
                  </a:lnTo>
                  <a:lnTo>
                    <a:pt x="209" y="352"/>
                  </a:lnTo>
                  <a:lnTo>
                    <a:pt x="208" y="351"/>
                  </a:lnTo>
                  <a:lnTo>
                    <a:pt x="207" y="351"/>
                  </a:lnTo>
                  <a:lnTo>
                    <a:pt x="206" y="349"/>
                  </a:lnTo>
                  <a:lnTo>
                    <a:pt x="204" y="349"/>
                  </a:lnTo>
                  <a:lnTo>
                    <a:pt x="204" y="348"/>
                  </a:lnTo>
                  <a:lnTo>
                    <a:pt x="203" y="347"/>
                  </a:lnTo>
                  <a:lnTo>
                    <a:pt x="203" y="347"/>
                  </a:lnTo>
                  <a:lnTo>
                    <a:pt x="202" y="346"/>
                  </a:lnTo>
                  <a:lnTo>
                    <a:pt x="202" y="346"/>
                  </a:lnTo>
                  <a:lnTo>
                    <a:pt x="202" y="345"/>
                  </a:lnTo>
                  <a:lnTo>
                    <a:pt x="202" y="345"/>
                  </a:lnTo>
                  <a:lnTo>
                    <a:pt x="202" y="344"/>
                  </a:lnTo>
                  <a:lnTo>
                    <a:pt x="202" y="343"/>
                  </a:lnTo>
                  <a:lnTo>
                    <a:pt x="203" y="343"/>
                  </a:lnTo>
                  <a:lnTo>
                    <a:pt x="202" y="342"/>
                  </a:lnTo>
                  <a:lnTo>
                    <a:pt x="202" y="342"/>
                  </a:lnTo>
                  <a:lnTo>
                    <a:pt x="202" y="341"/>
                  </a:lnTo>
                  <a:lnTo>
                    <a:pt x="202" y="340"/>
                  </a:lnTo>
                  <a:lnTo>
                    <a:pt x="201" y="340"/>
                  </a:lnTo>
                  <a:lnTo>
                    <a:pt x="201" y="340"/>
                  </a:lnTo>
                  <a:lnTo>
                    <a:pt x="200" y="339"/>
                  </a:lnTo>
                  <a:lnTo>
                    <a:pt x="199" y="339"/>
                  </a:lnTo>
                  <a:lnTo>
                    <a:pt x="198" y="338"/>
                  </a:lnTo>
                  <a:lnTo>
                    <a:pt x="198" y="338"/>
                  </a:lnTo>
                  <a:lnTo>
                    <a:pt x="197" y="338"/>
                  </a:lnTo>
                  <a:lnTo>
                    <a:pt x="197" y="338"/>
                  </a:lnTo>
                  <a:lnTo>
                    <a:pt x="196" y="338"/>
                  </a:lnTo>
                  <a:lnTo>
                    <a:pt x="196" y="338"/>
                  </a:lnTo>
                  <a:lnTo>
                    <a:pt x="195" y="338"/>
                  </a:lnTo>
                  <a:lnTo>
                    <a:pt x="195" y="338"/>
                  </a:lnTo>
                  <a:lnTo>
                    <a:pt x="193" y="339"/>
                  </a:lnTo>
                  <a:lnTo>
                    <a:pt x="193" y="339"/>
                  </a:lnTo>
                  <a:lnTo>
                    <a:pt x="192" y="339"/>
                  </a:lnTo>
                  <a:lnTo>
                    <a:pt x="190" y="340"/>
                  </a:lnTo>
                  <a:lnTo>
                    <a:pt x="188" y="340"/>
                  </a:lnTo>
                  <a:lnTo>
                    <a:pt x="187" y="340"/>
                  </a:lnTo>
                  <a:lnTo>
                    <a:pt x="184" y="341"/>
                  </a:lnTo>
                  <a:lnTo>
                    <a:pt x="183" y="342"/>
                  </a:lnTo>
                  <a:lnTo>
                    <a:pt x="182" y="342"/>
                  </a:lnTo>
                  <a:lnTo>
                    <a:pt x="181" y="342"/>
                  </a:lnTo>
                  <a:lnTo>
                    <a:pt x="179" y="342"/>
                  </a:lnTo>
                  <a:lnTo>
                    <a:pt x="177" y="342"/>
                  </a:lnTo>
                  <a:lnTo>
                    <a:pt x="175" y="342"/>
                  </a:lnTo>
                  <a:lnTo>
                    <a:pt x="173" y="342"/>
                  </a:lnTo>
                  <a:lnTo>
                    <a:pt x="172" y="342"/>
                  </a:lnTo>
                  <a:lnTo>
                    <a:pt x="171" y="342"/>
                  </a:lnTo>
                  <a:lnTo>
                    <a:pt x="168" y="341"/>
                  </a:lnTo>
                  <a:lnTo>
                    <a:pt x="167" y="341"/>
                  </a:lnTo>
                  <a:lnTo>
                    <a:pt x="166" y="340"/>
                  </a:lnTo>
                  <a:lnTo>
                    <a:pt x="166" y="340"/>
                  </a:lnTo>
                  <a:lnTo>
                    <a:pt x="165" y="340"/>
                  </a:lnTo>
                  <a:lnTo>
                    <a:pt x="164" y="341"/>
                  </a:lnTo>
                  <a:lnTo>
                    <a:pt x="163" y="341"/>
                  </a:lnTo>
                  <a:lnTo>
                    <a:pt x="161" y="341"/>
                  </a:lnTo>
                  <a:lnTo>
                    <a:pt x="161" y="342"/>
                  </a:lnTo>
                  <a:lnTo>
                    <a:pt x="161" y="342"/>
                  </a:lnTo>
                  <a:lnTo>
                    <a:pt x="160" y="342"/>
                  </a:lnTo>
                  <a:lnTo>
                    <a:pt x="160" y="342"/>
                  </a:lnTo>
                  <a:lnTo>
                    <a:pt x="159" y="342"/>
                  </a:lnTo>
                  <a:lnTo>
                    <a:pt x="159" y="341"/>
                  </a:lnTo>
                  <a:lnTo>
                    <a:pt x="156" y="340"/>
                  </a:lnTo>
                  <a:lnTo>
                    <a:pt x="152" y="337"/>
                  </a:lnTo>
                  <a:lnTo>
                    <a:pt x="150" y="336"/>
                  </a:lnTo>
                  <a:lnTo>
                    <a:pt x="148" y="335"/>
                  </a:lnTo>
                  <a:lnTo>
                    <a:pt x="148" y="334"/>
                  </a:lnTo>
                  <a:lnTo>
                    <a:pt x="145" y="332"/>
                  </a:lnTo>
                  <a:lnTo>
                    <a:pt x="142" y="330"/>
                  </a:lnTo>
                  <a:lnTo>
                    <a:pt x="141" y="329"/>
                  </a:lnTo>
                  <a:lnTo>
                    <a:pt x="139" y="327"/>
                  </a:lnTo>
                  <a:lnTo>
                    <a:pt x="139" y="327"/>
                  </a:lnTo>
                  <a:lnTo>
                    <a:pt x="138" y="326"/>
                  </a:lnTo>
                  <a:lnTo>
                    <a:pt x="138" y="325"/>
                  </a:lnTo>
                  <a:lnTo>
                    <a:pt x="137" y="324"/>
                  </a:lnTo>
                  <a:lnTo>
                    <a:pt x="136" y="323"/>
                  </a:lnTo>
                  <a:lnTo>
                    <a:pt x="136" y="321"/>
                  </a:lnTo>
                  <a:lnTo>
                    <a:pt x="136" y="320"/>
                  </a:lnTo>
                  <a:lnTo>
                    <a:pt x="136" y="319"/>
                  </a:lnTo>
                  <a:lnTo>
                    <a:pt x="136" y="317"/>
                  </a:lnTo>
                  <a:lnTo>
                    <a:pt x="136" y="316"/>
                  </a:lnTo>
                  <a:lnTo>
                    <a:pt x="136" y="313"/>
                  </a:lnTo>
                  <a:lnTo>
                    <a:pt x="137" y="311"/>
                  </a:lnTo>
                  <a:lnTo>
                    <a:pt x="137" y="310"/>
                  </a:lnTo>
                  <a:lnTo>
                    <a:pt x="137" y="309"/>
                  </a:lnTo>
                  <a:lnTo>
                    <a:pt x="136" y="308"/>
                  </a:lnTo>
                  <a:lnTo>
                    <a:pt x="136" y="307"/>
                  </a:lnTo>
                  <a:lnTo>
                    <a:pt x="136" y="305"/>
                  </a:lnTo>
                  <a:lnTo>
                    <a:pt x="136" y="304"/>
                  </a:lnTo>
                  <a:lnTo>
                    <a:pt x="135" y="303"/>
                  </a:lnTo>
                  <a:lnTo>
                    <a:pt x="135" y="302"/>
                  </a:lnTo>
                  <a:lnTo>
                    <a:pt x="134" y="301"/>
                  </a:lnTo>
                  <a:lnTo>
                    <a:pt x="134" y="301"/>
                  </a:lnTo>
                  <a:lnTo>
                    <a:pt x="133" y="300"/>
                  </a:lnTo>
                  <a:lnTo>
                    <a:pt x="133" y="300"/>
                  </a:lnTo>
                  <a:lnTo>
                    <a:pt x="132" y="300"/>
                  </a:lnTo>
                  <a:lnTo>
                    <a:pt x="132" y="299"/>
                  </a:lnTo>
                  <a:lnTo>
                    <a:pt x="131" y="299"/>
                  </a:lnTo>
                  <a:lnTo>
                    <a:pt x="130" y="299"/>
                  </a:lnTo>
                  <a:lnTo>
                    <a:pt x="129" y="299"/>
                  </a:lnTo>
                  <a:lnTo>
                    <a:pt x="128" y="299"/>
                  </a:lnTo>
                  <a:lnTo>
                    <a:pt x="127" y="299"/>
                  </a:lnTo>
                  <a:lnTo>
                    <a:pt x="124" y="299"/>
                  </a:lnTo>
                  <a:lnTo>
                    <a:pt x="121" y="300"/>
                  </a:lnTo>
                  <a:lnTo>
                    <a:pt x="120" y="300"/>
                  </a:lnTo>
                  <a:lnTo>
                    <a:pt x="119" y="300"/>
                  </a:lnTo>
                  <a:lnTo>
                    <a:pt x="116" y="300"/>
                  </a:lnTo>
                  <a:lnTo>
                    <a:pt x="115" y="301"/>
                  </a:lnTo>
                  <a:lnTo>
                    <a:pt x="111" y="301"/>
                  </a:lnTo>
                  <a:lnTo>
                    <a:pt x="111" y="301"/>
                  </a:lnTo>
                  <a:lnTo>
                    <a:pt x="110" y="301"/>
                  </a:lnTo>
                  <a:lnTo>
                    <a:pt x="109" y="301"/>
                  </a:lnTo>
                  <a:lnTo>
                    <a:pt x="109" y="301"/>
                  </a:lnTo>
                  <a:lnTo>
                    <a:pt x="109" y="300"/>
                  </a:lnTo>
                  <a:lnTo>
                    <a:pt x="107" y="299"/>
                  </a:lnTo>
                  <a:lnTo>
                    <a:pt x="107" y="299"/>
                  </a:lnTo>
                  <a:lnTo>
                    <a:pt x="106" y="298"/>
                  </a:lnTo>
                  <a:lnTo>
                    <a:pt x="105" y="297"/>
                  </a:lnTo>
                  <a:lnTo>
                    <a:pt x="104" y="297"/>
                  </a:lnTo>
                  <a:lnTo>
                    <a:pt x="101" y="296"/>
                  </a:lnTo>
                  <a:lnTo>
                    <a:pt x="98" y="295"/>
                  </a:lnTo>
                  <a:lnTo>
                    <a:pt x="93" y="293"/>
                  </a:lnTo>
                  <a:lnTo>
                    <a:pt x="92" y="293"/>
                  </a:lnTo>
                  <a:lnTo>
                    <a:pt x="91" y="293"/>
                  </a:lnTo>
                  <a:lnTo>
                    <a:pt x="91" y="293"/>
                  </a:lnTo>
                  <a:lnTo>
                    <a:pt x="90" y="293"/>
                  </a:lnTo>
                  <a:lnTo>
                    <a:pt x="90" y="293"/>
                  </a:lnTo>
                  <a:lnTo>
                    <a:pt x="89" y="294"/>
                  </a:lnTo>
                  <a:lnTo>
                    <a:pt x="88" y="294"/>
                  </a:lnTo>
                  <a:lnTo>
                    <a:pt x="85" y="295"/>
                  </a:lnTo>
                  <a:lnTo>
                    <a:pt x="84" y="296"/>
                  </a:lnTo>
                  <a:lnTo>
                    <a:pt x="83" y="296"/>
                  </a:lnTo>
                  <a:lnTo>
                    <a:pt x="82" y="296"/>
                  </a:lnTo>
                  <a:lnTo>
                    <a:pt x="81" y="297"/>
                  </a:lnTo>
                  <a:lnTo>
                    <a:pt x="80" y="297"/>
                  </a:lnTo>
                  <a:lnTo>
                    <a:pt x="79" y="296"/>
                  </a:lnTo>
                  <a:lnTo>
                    <a:pt x="78" y="296"/>
                  </a:lnTo>
                  <a:lnTo>
                    <a:pt x="77" y="296"/>
                  </a:lnTo>
                  <a:lnTo>
                    <a:pt x="76" y="295"/>
                  </a:lnTo>
                  <a:lnTo>
                    <a:pt x="75" y="295"/>
                  </a:lnTo>
                  <a:lnTo>
                    <a:pt x="75" y="295"/>
                  </a:lnTo>
                  <a:lnTo>
                    <a:pt x="75" y="294"/>
                  </a:lnTo>
                  <a:lnTo>
                    <a:pt x="74" y="293"/>
                  </a:lnTo>
                  <a:lnTo>
                    <a:pt x="72" y="291"/>
                  </a:lnTo>
                  <a:lnTo>
                    <a:pt x="71" y="290"/>
                  </a:lnTo>
                  <a:lnTo>
                    <a:pt x="70" y="288"/>
                  </a:lnTo>
                  <a:lnTo>
                    <a:pt x="69" y="288"/>
                  </a:lnTo>
                  <a:lnTo>
                    <a:pt x="68" y="287"/>
                  </a:lnTo>
                  <a:lnTo>
                    <a:pt x="68" y="287"/>
                  </a:lnTo>
                  <a:lnTo>
                    <a:pt x="67" y="287"/>
                  </a:lnTo>
                  <a:lnTo>
                    <a:pt x="66" y="287"/>
                  </a:lnTo>
                  <a:lnTo>
                    <a:pt x="66" y="286"/>
                  </a:lnTo>
                  <a:lnTo>
                    <a:pt x="65" y="286"/>
                  </a:lnTo>
                  <a:lnTo>
                    <a:pt x="62" y="286"/>
                  </a:lnTo>
                  <a:lnTo>
                    <a:pt x="61" y="286"/>
                  </a:lnTo>
                  <a:lnTo>
                    <a:pt x="61" y="286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8" y="285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3"/>
                  </a:lnTo>
                  <a:lnTo>
                    <a:pt x="59" y="283"/>
                  </a:lnTo>
                  <a:lnTo>
                    <a:pt x="60" y="282"/>
                  </a:lnTo>
                  <a:lnTo>
                    <a:pt x="60" y="282"/>
                  </a:lnTo>
                  <a:lnTo>
                    <a:pt x="61" y="282"/>
                  </a:lnTo>
                  <a:lnTo>
                    <a:pt x="61" y="281"/>
                  </a:lnTo>
                  <a:lnTo>
                    <a:pt x="61" y="281"/>
                  </a:lnTo>
                  <a:lnTo>
                    <a:pt x="61" y="280"/>
                  </a:lnTo>
                  <a:lnTo>
                    <a:pt x="61" y="279"/>
                  </a:lnTo>
                  <a:lnTo>
                    <a:pt x="61" y="278"/>
                  </a:lnTo>
                  <a:lnTo>
                    <a:pt x="61" y="278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9" y="275"/>
                  </a:lnTo>
                  <a:lnTo>
                    <a:pt x="57" y="274"/>
                  </a:lnTo>
                  <a:lnTo>
                    <a:pt x="56" y="274"/>
                  </a:lnTo>
                  <a:lnTo>
                    <a:pt x="52" y="272"/>
                  </a:lnTo>
                  <a:lnTo>
                    <a:pt x="51" y="272"/>
                  </a:lnTo>
                  <a:lnTo>
                    <a:pt x="51" y="271"/>
                  </a:lnTo>
                  <a:lnTo>
                    <a:pt x="49" y="271"/>
                  </a:lnTo>
                  <a:lnTo>
                    <a:pt x="48" y="270"/>
                  </a:lnTo>
                  <a:lnTo>
                    <a:pt x="46" y="269"/>
                  </a:lnTo>
                  <a:lnTo>
                    <a:pt x="44" y="267"/>
                  </a:lnTo>
                  <a:lnTo>
                    <a:pt x="44" y="266"/>
                  </a:lnTo>
                  <a:lnTo>
                    <a:pt x="43" y="266"/>
                  </a:lnTo>
                  <a:lnTo>
                    <a:pt x="42" y="266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30" y="269"/>
                  </a:lnTo>
                  <a:lnTo>
                    <a:pt x="29" y="269"/>
                  </a:lnTo>
                  <a:lnTo>
                    <a:pt x="28" y="270"/>
                  </a:lnTo>
                  <a:lnTo>
                    <a:pt x="27" y="270"/>
                  </a:lnTo>
                  <a:lnTo>
                    <a:pt x="26" y="269"/>
                  </a:lnTo>
                  <a:lnTo>
                    <a:pt x="25" y="269"/>
                  </a:lnTo>
                  <a:lnTo>
                    <a:pt x="25" y="269"/>
                  </a:lnTo>
                  <a:lnTo>
                    <a:pt x="24" y="269"/>
                  </a:lnTo>
                  <a:lnTo>
                    <a:pt x="23" y="268"/>
                  </a:lnTo>
                  <a:lnTo>
                    <a:pt x="21" y="266"/>
                  </a:lnTo>
                  <a:lnTo>
                    <a:pt x="18" y="264"/>
                  </a:lnTo>
                  <a:lnTo>
                    <a:pt x="17" y="262"/>
                  </a:lnTo>
                  <a:lnTo>
                    <a:pt x="15" y="260"/>
                  </a:lnTo>
                  <a:lnTo>
                    <a:pt x="15" y="259"/>
                  </a:lnTo>
                  <a:lnTo>
                    <a:pt x="11" y="256"/>
                  </a:lnTo>
                  <a:lnTo>
                    <a:pt x="11" y="255"/>
                  </a:lnTo>
                  <a:lnTo>
                    <a:pt x="10" y="255"/>
                  </a:lnTo>
                  <a:lnTo>
                    <a:pt x="8" y="252"/>
                  </a:lnTo>
                  <a:lnTo>
                    <a:pt x="6" y="249"/>
                  </a:lnTo>
                  <a:lnTo>
                    <a:pt x="5" y="248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5" y="243"/>
                  </a:lnTo>
                  <a:lnTo>
                    <a:pt x="5" y="242"/>
                  </a:lnTo>
                  <a:lnTo>
                    <a:pt x="6" y="241"/>
                  </a:lnTo>
                  <a:lnTo>
                    <a:pt x="7" y="240"/>
                  </a:lnTo>
                  <a:lnTo>
                    <a:pt x="8" y="239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4"/>
                  </a:lnTo>
                  <a:lnTo>
                    <a:pt x="8" y="233"/>
                  </a:lnTo>
                  <a:lnTo>
                    <a:pt x="8" y="232"/>
                  </a:lnTo>
                  <a:lnTo>
                    <a:pt x="7" y="232"/>
                  </a:lnTo>
                  <a:lnTo>
                    <a:pt x="7" y="231"/>
                  </a:lnTo>
                  <a:lnTo>
                    <a:pt x="6" y="230"/>
                  </a:lnTo>
                  <a:lnTo>
                    <a:pt x="4" y="228"/>
                  </a:lnTo>
                  <a:lnTo>
                    <a:pt x="3" y="228"/>
                  </a:lnTo>
                  <a:lnTo>
                    <a:pt x="2" y="227"/>
                  </a:lnTo>
                  <a:lnTo>
                    <a:pt x="1" y="226"/>
                  </a:lnTo>
                  <a:lnTo>
                    <a:pt x="0" y="225"/>
                  </a:lnTo>
                  <a:lnTo>
                    <a:pt x="0" y="224"/>
                  </a:lnTo>
                  <a:lnTo>
                    <a:pt x="0" y="223"/>
                  </a:lnTo>
                  <a:lnTo>
                    <a:pt x="0" y="222"/>
                  </a:lnTo>
                  <a:lnTo>
                    <a:pt x="0" y="221"/>
                  </a:lnTo>
                  <a:lnTo>
                    <a:pt x="0" y="221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1" y="215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09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1"/>
                  </a:lnTo>
                  <a:lnTo>
                    <a:pt x="4" y="200"/>
                  </a:lnTo>
                  <a:lnTo>
                    <a:pt x="5" y="198"/>
                  </a:lnTo>
                  <a:lnTo>
                    <a:pt x="6" y="195"/>
                  </a:lnTo>
                  <a:lnTo>
                    <a:pt x="7" y="192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7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9" y="180"/>
                  </a:lnTo>
                  <a:lnTo>
                    <a:pt x="9" y="179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9" y="172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8" y="169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7" y="166"/>
                  </a:lnTo>
                  <a:lnTo>
                    <a:pt x="5" y="163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9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1" y="156"/>
                  </a:lnTo>
                  <a:lnTo>
                    <a:pt x="11" y="155"/>
                  </a:lnTo>
                  <a:lnTo>
                    <a:pt x="12" y="155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1" y="146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3" y="141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7" y="133"/>
                  </a:lnTo>
                  <a:lnTo>
                    <a:pt x="22" y="131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9" y="120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0"/>
                  </a:lnTo>
                  <a:lnTo>
                    <a:pt x="32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22"/>
                  </a:lnTo>
                  <a:lnTo>
                    <a:pt x="43" y="122"/>
                  </a:lnTo>
                  <a:lnTo>
                    <a:pt x="47" y="123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8" y="121"/>
                  </a:lnTo>
                  <a:lnTo>
                    <a:pt x="61" y="120"/>
                  </a:lnTo>
                  <a:lnTo>
                    <a:pt x="63" y="119"/>
                  </a:lnTo>
                  <a:lnTo>
                    <a:pt x="64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20"/>
                  </a:lnTo>
                  <a:lnTo>
                    <a:pt x="70" y="120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7" y="124"/>
                  </a:lnTo>
                  <a:lnTo>
                    <a:pt x="78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1" y="123"/>
                  </a:lnTo>
                  <a:lnTo>
                    <a:pt x="81" y="122"/>
                  </a:lnTo>
                  <a:lnTo>
                    <a:pt x="82" y="121"/>
                  </a:lnTo>
                  <a:lnTo>
                    <a:pt x="82" y="120"/>
                  </a:lnTo>
                  <a:lnTo>
                    <a:pt x="83" y="118"/>
                  </a:lnTo>
                  <a:lnTo>
                    <a:pt x="84" y="118"/>
                  </a:lnTo>
                  <a:lnTo>
                    <a:pt x="84" y="117"/>
                  </a:lnTo>
                  <a:lnTo>
                    <a:pt x="84" y="117"/>
                  </a:lnTo>
                  <a:lnTo>
                    <a:pt x="85" y="117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9" y="115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5" y="115"/>
                  </a:lnTo>
                  <a:lnTo>
                    <a:pt x="96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100" y="114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4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5" y="101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3" y="97"/>
                  </a:lnTo>
                  <a:lnTo>
                    <a:pt x="102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3"/>
                  </a:lnTo>
                  <a:lnTo>
                    <a:pt x="98" y="93"/>
                  </a:lnTo>
                  <a:lnTo>
                    <a:pt x="97" y="92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6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3"/>
                  </a:lnTo>
                  <a:lnTo>
                    <a:pt x="85" y="81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5" y="78"/>
                  </a:lnTo>
                  <a:lnTo>
                    <a:pt x="86" y="77"/>
                  </a:lnTo>
                  <a:lnTo>
                    <a:pt x="86" y="76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8" y="71"/>
                  </a:lnTo>
                  <a:lnTo>
                    <a:pt x="88" y="70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7" y="58"/>
                  </a:lnTo>
                  <a:lnTo>
                    <a:pt x="98" y="56"/>
                  </a:lnTo>
                  <a:lnTo>
                    <a:pt x="98" y="55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3" y="49"/>
                  </a:lnTo>
                  <a:lnTo>
                    <a:pt x="104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6" y="48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4" y="49"/>
                  </a:lnTo>
                  <a:lnTo>
                    <a:pt x="115" y="48"/>
                  </a:lnTo>
                  <a:lnTo>
                    <a:pt x="118" y="47"/>
                  </a:lnTo>
                  <a:lnTo>
                    <a:pt x="119" y="46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4" y="44"/>
                  </a:lnTo>
                  <a:lnTo>
                    <a:pt x="126" y="44"/>
                  </a:lnTo>
                  <a:lnTo>
                    <a:pt x="129" y="43"/>
                  </a:lnTo>
                  <a:lnTo>
                    <a:pt x="131" y="42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6" y="41"/>
                  </a:lnTo>
                  <a:lnTo>
                    <a:pt x="137" y="41"/>
                  </a:lnTo>
                  <a:lnTo>
                    <a:pt x="138" y="40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41" y="38"/>
                  </a:lnTo>
                  <a:lnTo>
                    <a:pt x="142" y="37"/>
                  </a:lnTo>
                  <a:lnTo>
                    <a:pt x="143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7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4" y="31"/>
                  </a:lnTo>
                  <a:lnTo>
                    <a:pt x="155" y="31"/>
                  </a:lnTo>
                  <a:lnTo>
                    <a:pt x="156" y="31"/>
                  </a:lnTo>
                  <a:lnTo>
                    <a:pt x="157" y="31"/>
                  </a:lnTo>
                  <a:lnTo>
                    <a:pt x="158" y="31"/>
                  </a:lnTo>
                  <a:lnTo>
                    <a:pt x="158" y="30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7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5"/>
                  </a:lnTo>
                  <a:lnTo>
                    <a:pt x="160" y="24"/>
                  </a:lnTo>
                  <a:lnTo>
                    <a:pt x="159" y="23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7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4"/>
                  </a:lnTo>
                  <a:lnTo>
                    <a:pt x="160" y="13"/>
                  </a:lnTo>
                  <a:lnTo>
                    <a:pt x="162" y="12"/>
                  </a:lnTo>
                  <a:lnTo>
                    <a:pt x="162" y="11"/>
                  </a:lnTo>
                  <a:lnTo>
                    <a:pt x="163" y="11"/>
                  </a:lnTo>
                  <a:lnTo>
                    <a:pt x="163" y="10"/>
                  </a:lnTo>
                  <a:lnTo>
                    <a:pt x="164" y="10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9"/>
                  </a:lnTo>
                  <a:lnTo>
                    <a:pt x="170" y="9"/>
                  </a:lnTo>
                  <a:lnTo>
                    <a:pt x="171" y="9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8" y="4"/>
                  </a:lnTo>
                  <a:lnTo>
                    <a:pt x="179" y="3"/>
                  </a:lnTo>
                  <a:lnTo>
                    <a:pt x="179" y="2"/>
                  </a:lnTo>
                  <a:lnTo>
                    <a:pt x="180" y="2"/>
                  </a:lnTo>
                  <a:lnTo>
                    <a:pt x="180" y="1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80" y="1"/>
                  </a:lnTo>
                  <a:lnTo>
                    <a:pt x="185" y="4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Freeform 29">
              <a:extLst>
                <a:ext uri="{FF2B5EF4-FFF2-40B4-BE49-F238E27FC236}">
                  <a16:creationId xmlns:a16="http://schemas.microsoft.com/office/drawing/2014/main" id="{BE0A36EF-EC70-1B36-1750-F0B0C7EAB9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8" y="3422"/>
              <a:ext cx="399" cy="421"/>
            </a:xfrm>
            <a:custGeom>
              <a:avLst/>
              <a:gdLst>
                <a:gd name="T0" fmla="*/ 157 w 399"/>
                <a:gd name="T1" fmla="*/ 19 h 421"/>
                <a:gd name="T2" fmla="*/ 177 w 399"/>
                <a:gd name="T3" fmla="*/ 20 h 421"/>
                <a:gd name="T4" fmla="*/ 196 w 399"/>
                <a:gd name="T5" fmla="*/ 32 h 421"/>
                <a:gd name="T6" fmla="*/ 208 w 399"/>
                <a:gd name="T7" fmla="*/ 42 h 421"/>
                <a:gd name="T8" fmla="*/ 228 w 399"/>
                <a:gd name="T9" fmla="*/ 51 h 421"/>
                <a:gd name="T10" fmla="*/ 231 w 399"/>
                <a:gd name="T11" fmla="*/ 64 h 421"/>
                <a:gd name="T12" fmla="*/ 256 w 399"/>
                <a:gd name="T13" fmla="*/ 75 h 421"/>
                <a:gd name="T14" fmla="*/ 270 w 399"/>
                <a:gd name="T15" fmla="*/ 56 h 421"/>
                <a:gd name="T16" fmla="*/ 283 w 399"/>
                <a:gd name="T17" fmla="*/ 61 h 421"/>
                <a:gd name="T18" fmla="*/ 304 w 399"/>
                <a:gd name="T19" fmla="*/ 74 h 421"/>
                <a:gd name="T20" fmla="*/ 332 w 399"/>
                <a:gd name="T21" fmla="*/ 81 h 421"/>
                <a:gd name="T22" fmla="*/ 361 w 399"/>
                <a:gd name="T23" fmla="*/ 104 h 421"/>
                <a:gd name="T24" fmla="*/ 392 w 399"/>
                <a:gd name="T25" fmla="*/ 123 h 421"/>
                <a:gd name="T26" fmla="*/ 392 w 399"/>
                <a:gd name="T27" fmla="*/ 141 h 421"/>
                <a:gd name="T28" fmla="*/ 397 w 399"/>
                <a:gd name="T29" fmla="*/ 153 h 421"/>
                <a:gd name="T30" fmla="*/ 384 w 399"/>
                <a:gd name="T31" fmla="*/ 162 h 421"/>
                <a:gd name="T32" fmla="*/ 390 w 399"/>
                <a:gd name="T33" fmla="*/ 174 h 421"/>
                <a:gd name="T34" fmla="*/ 382 w 399"/>
                <a:gd name="T35" fmla="*/ 181 h 421"/>
                <a:gd name="T36" fmla="*/ 371 w 399"/>
                <a:gd name="T37" fmla="*/ 178 h 421"/>
                <a:gd name="T38" fmla="*/ 373 w 399"/>
                <a:gd name="T39" fmla="*/ 186 h 421"/>
                <a:gd name="T40" fmla="*/ 362 w 399"/>
                <a:gd name="T41" fmla="*/ 193 h 421"/>
                <a:gd name="T42" fmla="*/ 347 w 399"/>
                <a:gd name="T43" fmla="*/ 209 h 421"/>
                <a:gd name="T44" fmla="*/ 345 w 399"/>
                <a:gd name="T45" fmla="*/ 230 h 421"/>
                <a:gd name="T46" fmla="*/ 353 w 399"/>
                <a:gd name="T47" fmla="*/ 242 h 421"/>
                <a:gd name="T48" fmla="*/ 362 w 399"/>
                <a:gd name="T49" fmla="*/ 249 h 421"/>
                <a:gd name="T50" fmla="*/ 359 w 399"/>
                <a:gd name="T51" fmla="*/ 267 h 421"/>
                <a:gd name="T52" fmla="*/ 352 w 399"/>
                <a:gd name="T53" fmla="*/ 280 h 421"/>
                <a:gd name="T54" fmla="*/ 351 w 399"/>
                <a:gd name="T55" fmla="*/ 294 h 421"/>
                <a:gd name="T56" fmla="*/ 357 w 399"/>
                <a:gd name="T57" fmla="*/ 308 h 421"/>
                <a:gd name="T58" fmla="*/ 348 w 399"/>
                <a:gd name="T59" fmla="*/ 321 h 421"/>
                <a:gd name="T60" fmla="*/ 342 w 399"/>
                <a:gd name="T61" fmla="*/ 330 h 421"/>
                <a:gd name="T62" fmla="*/ 351 w 399"/>
                <a:gd name="T63" fmla="*/ 343 h 421"/>
                <a:gd name="T64" fmla="*/ 342 w 399"/>
                <a:gd name="T65" fmla="*/ 356 h 421"/>
                <a:gd name="T66" fmla="*/ 320 w 399"/>
                <a:gd name="T67" fmla="*/ 363 h 421"/>
                <a:gd name="T68" fmla="*/ 312 w 399"/>
                <a:gd name="T69" fmla="*/ 375 h 421"/>
                <a:gd name="T70" fmla="*/ 286 w 399"/>
                <a:gd name="T71" fmla="*/ 376 h 421"/>
                <a:gd name="T72" fmla="*/ 268 w 399"/>
                <a:gd name="T73" fmla="*/ 372 h 421"/>
                <a:gd name="T74" fmla="*/ 255 w 399"/>
                <a:gd name="T75" fmla="*/ 376 h 421"/>
                <a:gd name="T76" fmla="*/ 244 w 399"/>
                <a:gd name="T77" fmla="*/ 379 h 421"/>
                <a:gd name="T78" fmla="*/ 230 w 399"/>
                <a:gd name="T79" fmla="*/ 389 h 421"/>
                <a:gd name="T80" fmla="*/ 208 w 399"/>
                <a:gd name="T81" fmla="*/ 404 h 421"/>
                <a:gd name="T82" fmla="*/ 194 w 399"/>
                <a:gd name="T83" fmla="*/ 415 h 421"/>
                <a:gd name="T84" fmla="*/ 176 w 399"/>
                <a:gd name="T85" fmla="*/ 413 h 421"/>
                <a:gd name="T86" fmla="*/ 162 w 399"/>
                <a:gd name="T87" fmla="*/ 418 h 421"/>
                <a:gd name="T88" fmla="*/ 152 w 399"/>
                <a:gd name="T89" fmla="*/ 418 h 421"/>
                <a:gd name="T90" fmla="*/ 135 w 399"/>
                <a:gd name="T91" fmla="*/ 404 h 421"/>
                <a:gd name="T92" fmla="*/ 124 w 399"/>
                <a:gd name="T93" fmla="*/ 396 h 421"/>
                <a:gd name="T94" fmla="*/ 135 w 399"/>
                <a:gd name="T95" fmla="*/ 379 h 421"/>
                <a:gd name="T96" fmla="*/ 144 w 399"/>
                <a:gd name="T97" fmla="*/ 362 h 421"/>
                <a:gd name="T98" fmla="*/ 154 w 399"/>
                <a:gd name="T99" fmla="*/ 352 h 421"/>
                <a:gd name="T100" fmla="*/ 145 w 399"/>
                <a:gd name="T101" fmla="*/ 339 h 421"/>
                <a:gd name="T102" fmla="*/ 135 w 399"/>
                <a:gd name="T103" fmla="*/ 335 h 421"/>
                <a:gd name="T104" fmla="*/ 109 w 399"/>
                <a:gd name="T105" fmla="*/ 337 h 421"/>
                <a:gd name="T106" fmla="*/ 90 w 399"/>
                <a:gd name="T107" fmla="*/ 330 h 421"/>
                <a:gd name="T108" fmla="*/ 79 w 399"/>
                <a:gd name="T109" fmla="*/ 306 h 421"/>
                <a:gd name="T110" fmla="*/ 70 w 399"/>
                <a:gd name="T111" fmla="*/ 295 h 421"/>
                <a:gd name="T112" fmla="*/ 47 w 399"/>
                <a:gd name="T113" fmla="*/ 293 h 421"/>
                <a:gd name="T114" fmla="*/ 22 w 399"/>
                <a:gd name="T115" fmla="*/ 293 h 421"/>
                <a:gd name="T116" fmla="*/ 8 w 399"/>
                <a:gd name="T117" fmla="*/ 282 h 421"/>
                <a:gd name="T118" fmla="*/ 3 w 399"/>
                <a:gd name="T119" fmla="*/ 277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9" h="421">
                  <a:moveTo>
                    <a:pt x="127" y="0"/>
                  </a:moveTo>
                  <a:lnTo>
                    <a:pt x="132" y="4"/>
                  </a:lnTo>
                  <a:lnTo>
                    <a:pt x="134" y="5"/>
                  </a:lnTo>
                  <a:lnTo>
                    <a:pt x="137" y="7"/>
                  </a:lnTo>
                  <a:lnTo>
                    <a:pt x="144" y="12"/>
                  </a:lnTo>
                  <a:lnTo>
                    <a:pt x="145" y="13"/>
                  </a:lnTo>
                  <a:lnTo>
                    <a:pt x="147" y="15"/>
                  </a:lnTo>
                  <a:lnTo>
                    <a:pt x="148" y="15"/>
                  </a:lnTo>
                  <a:lnTo>
                    <a:pt x="149" y="17"/>
                  </a:lnTo>
                  <a:lnTo>
                    <a:pt x="151" y="18"/>
                  </a:lnTo>
                  <a:lnTo>
                    <a:pt x="151" y="19"/>
                  </a:lnTo>
                  <a:lnTo>
                    <a:pt x="152" y="1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54" y="19"/>
                  </a:lnTo>
                  <a:lnTo>
                    <a:pt x="156" y="19"/>
                  </a:lnTo>
                  <a:lnTo>
                    <a:pt x="157" y="19"/>
                  </a:lnTo>
                  <a:lnTo>
                    <a:pt x="158" y="19"/>
                  </a:lnTo>
                  <a:lnTo>
                    <a:pt x="162" y="19"/>
                  </a:lnTo>
                  <a:lnTo>
                    <a:pt x="163" y="19"/>
                  </a:lnTo>
                  <a:lnTo>
                    <a:pt x="163" y="19"/>
                  </a:lnTo>
                  <a:lnTo>
                    <a:pt x="164" y="19"/>
                  </a:lnTo>
                  <a:lnTo>
                    <a:pt x="166" y="20"/>
                  </a:lnTo>
                  <a:lnTo>
                    <a:pt x="167" y="20"/>
                  </a:lnTo>
                  <a:lnTo>
                    <a:pt x="168" y="20"/>
                  </a:lnTo>
                  <a:lnTo>
                    <a:pt x="169" y="20"/>
                  </a:lnTo>
                  <a:lnTo>
                    <a:pt x="169" y="19"/>
                  </a:lnTo>
                  <a:lnTo>
                    <a:pt x="171" y="19"/>
                  </a:lnTo>
                  <a:lnTo>
                    <a:pt x="172" y="19"/>
                  </a:lnTo>
                  <a:lnTo>
                    <a:pt x="172" y="19"/>
                  </a:lnTo>
                  <a:lnTo>
                    <a:pt x="173" y="19"/>
                  </a:lnTo>
                  <a:lnTo>
                    <a:pt x="174" y="19"/>
                  </a:lnTo>
                  <a:lnTo>
                    <a:pt x="176" y="20"/>
                  </a:lnTo>
                  <a:lnTo>
                    <a:pt x="177" y="20"/>
                  </a:lnTo>
                  <a:lnTo>
                    <a:pt x="178" y="20"/>
                  </a:lnTo>
                  <a:lnTo>
                    <a:pt x="178" y="21"/>
                  </a:lnTo>
                  <a:lnTo>
                    <a:pt x="179" y="22"/>
                  </a:lnTo>
                  <a:lnTo>
                    <a:pt x="180" y="22"/>
                  </a:lnTo>
                  <a:lnTo>
                    <a:pt x="183" y="23"/>
                  </a:lnTo>
                  <a:lnTo>
                    <a:pt x="184" y="24"/>
                  </a:lnTo>
                  <a:lnTo>
                    <a:pt x="185" y="24"/>
                  </a:lnTo>
                  <a:lnTo>
                    <a:pt x="186" y="25"/>
                  </a:lnTo>
                  <a:lnTo>
                    <a:pt x="186" y="25"/>
                  </a:lnTo>
                  <a:lnTo>
                    <a:pt x="189" y="28"/>
                  </a:lnTo>
                  <a:lnTo>
                    <a:pt x="190" y="29"/>
                  </a:lnTo>
                  <a:lnTo>
                    <a:pt x="190" y="29"/>
                  </a:lnTo>
                  <a:lnTo>
                    <a:pt x="191" y="30"/>
                  </a:lnTo>
                  <a:lnTo>
                    <a:pt x="192" y="31"/>
                  </a:lnTo>
                  <a:lnTo>
                    <a:pt x="193" y="31"/>
                  </a:lnTo>
                  <a:lnTo>
                    <a:pt x="194" y="32"/>
                  </a:lnTo>
                  <a:lnTo>
                    <a:pt x="196" y="32"/>
                  </a:lnTo>
                  <a:lnTo>
                    <a:pt x="196" y="32"/>
                  </a:lnTo>
                  <a:lnTo>
                    <a:pt x="199" y="33"/>
                  </a:lnTo>
                  <a:lnTo>
                    <a:pt x="200" y="33"/>
                  </a:lnTo>
                  <a:lnTo>
                    <a:pt x="203" y="34"/>
                  </a:lnTo>
                  <a:lnTo>
                    <a:pt x="204" y="34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5" y="36"/>
                  </a:lnTo>
                  <a:lnTo>
                    <a:pt x="206" y="36"/>
                  </a:lnTo>
                  <a:lnTo>
                    <a:pt x="206" y="37"/>
                  </a:lnTo>
                  <a:lnTo>
                    <a:pt x="206" y="37"/>
                  </a:lnTo>
                  <a:lnTo>
                    <a:pt x="206" y="39"/>
                  </a:lnTo>
                  <a:lnTo>
                    <a:pt x="207" y="41"/>
                  </a:lnTo>
                  <a:lnTo>
                    <a:pt x="207" y="41"/>
                  </a:lnTo>
                  <a:lnTo>
                    <a:pt x="207" y="42"/>
                  </a:lnTo>
                  <a:lnTo>
                    <a:pt x="208" y="42"/>
                  </a:lnTo>
                  <a:lnTo>
                    <a:pt x="208" y="43"/>
                  </a:lnTo>
                  <a:lnTo>
                    <a:pt x="209" y="43"/>
                  </a:lnTo>
                  <a:lnTo>
                    <a:pt x="210" y="43"/>
                  </a:lnTo>
                  <a:lnTo>
                    <a:pt x="210" y="43"/>
                  </a:lnTo>
                  <a:lnTo>
                    <a:pt x="212" y="44"/>
                  </a:lnTo>
                  <a:lnTo>
                    <a:pt x="213" y="44"/>
                  </a:lnTo>
                  <a:lnTo>
                    <a:pt x="215" y="44"/>
                  </a:lnTo>
                  <a:lnTo>
                    <a:pt x="216" y="45"/>
                  </a:lnTo>
                  <a:lnTo>
                    <a:pt x="217" y="46"/>
                  </a:lnTo>
                  <a:lnTo>
                    <a:pt x="219" y="46"/>
                  </a:lnTo>
                  <a:lnTo>
                    <a:pt x="220" y="47"/>
                  </a:lnTo>
                  <a:lnTo>
                    <a:pt x="222" y="48"/>
                  </a:lnTo>
                  <a:lnTo>
                    <a:pt x="223" y="49"/>
                  </a:lnTo>
                  <a:lnTo>
                    <a:pt x="224" y="49"/>
                  </a:lnTo>
                  <a:lnTo>
                    <a:pt x="225" y="50"/>
                  </a:lnTo>
                  <a:lnTo>
                    <a:pt x="226" y="50"/>
                  </a:lnTo>
                  <a:lnTo>
                    <a:pt x="228" y="51"/>
                  </a:lnTo>
                  <a:lnTo>
                    <a:pt x="228" y="51"/>
                  </a:lnTo>
                  <a:lnTo>
                    <a:pt x="230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2" y="53"/>
                  </a:lnTo>
                  <a:lnTo>
                    <a:pt x="232" y="53"/>
                  </a:lnTo>
                  <a:lnTo>
                    <a:pt x="232" y="54"/>
                  </a:lnTo>
                  <a:lnTo>
                    <a:pt x="232" y="55"/>
                  </a:lnTo>
                  <a:lnTo>
                    <a:pt x="232" y="55"/>
                  </a:lnTo>
                  <a:lnTo>
                    <a:pt x="231" y="58"/>
                  </a:lnTo>
                  <a:lnTo>
                    <a:pt x="231" y="59"/>
                  </a:lnTo>
                  <a:lnTo>
                    <a:pt x="230" y="60"/>
                  </a:lnTo>
                  <a:lnTo>
                    <a:pt x="230" y="61"/>
                  </a:lnTo>
                  <a:lnTo>
                    <a:pt x="231" y="62"/>
                  </a:lnTo>
                  <a:lnTo>
                    <a:pt x="231" y="63"/>
                  </a:lnTo>
                  <a:lnTo>
                    <a:pt x="231" y="64"/>
                  </a:lnTo>
                  <a:lnTo>
                    <a:pt x="232" y="65"/>
                  </a:lnTo>
                  <a:lnTo>
                    <a:pt x="233" y="66"/>
                  </a:lnTo>
                  <a:lnTo>
                    <a:pt x="234" y="67"/>
                  </a:lnTo>
                  <a:lnTo>
                    <a:pt x="235" y="67"/>
                  </a:lnTo>
                  <a:lnTo>
                    <a:pt x="235" y="68"/>
                  </a:lnTo>
                  <a:lnTo>
                    <a:pt x="237" y="69"/>
                  </a:lnTo>
                  <a:lnTo>
                    <a:pt x="243" y="72"/>
                  </a:lnTo>
                  <a:lnTo>
                    <a:pt x="246" y="73"/>
                  </a:lnTo>
                  <a:lnTo>
                    <a:pt x="248" y="74"/>
                  </a:lnTo>
                  <a:lnTo>
                    <a:pt x="249" y="74"/>
                  </a:lnTo>
                  <a:lnTo>
                    <a:pt x="249" y="75"/>
                  </a:lnTo>
                  <a:lnTo>
                    <a:pt x="250" y="75"/>
                  </a:lnTo>
                  <a:lnTo>
                    <a:pt x="251" y="75"/>
                  </a:lnTo>
                  <a:lnTo>
                    <a:pt x="252" y="75"/>
                  </a:lnTo>
                  <a:lnTo>
                    <a:pt x="254" y="75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7" y="75"/>
                  </a:lnTo>
                  <a:lnTo>
                    <a:pt x="258" y="74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3"/>
                  </a:lnTo>
                  <a:lnTo>
                    <a:pt x="260" y="73"/>
                  </a:lnTo>
                  <a:lnTo>
                    <a:pt x="261" y="70"/>
                  </a:lnTo>
                  <a:lnTo>
                    <a:pt x="263" y="68"/>
                  </a:lnTo>
                  <a:lnTo>
                    <a:pt x="264" y="67"/>
                  </a:lnTo>
                  <a:lnTo>
                    <a:pt x="264" y="67"/>
                  </a:lnTo>
                  <a:lnTo>
                    <a:pt x="264" y="66"/>
                  </a:lnTo>
                  <a:lnTo>
                    <a:pt x="265" y="63"/>
                  </a:lnTo>
                  <a:lnTo>
                    <a:pt x="266" y="61"/>
                  </a:lnTo>
                  <a:lnTo>
                    <a:pt x="267" y="59"/>
                  </a:lnTo>
                  <a:lnTo>
                    <a:pt x="268" y="58"/>
                  </a:lnTo>
                  <a:lnTo>
                    <a:pt x="269" y="57"/>
                  </a:lnTo>
                  <a:lnTo>
                    <a:pt x="270" y="56"/>
                  </a:lnTo>
                  <a:lnTo>
                    <a:pt x="271" y="55"/>
                  </a:lnTo>
                  <a:lnTo>
                    <a:pt x="272" y="54"/>
                  </a:lnTo>
                  <a:lnTo>
                    <a:pt x="273" y="54"/>
                  </a:lnTo>
                  <a:lnTo>
                    <a:pt x="273" y="54"/>
                  </a:lnTo>
                  <a:lnTo>
                    <a:pt x="274" y="54"/>
                  </a:lnTo>
                  <a:lnTo>
                    <a:pt x="274" y="54"/>
                  </a:lnTo>
                  <a:lnTo>
                    <a:pt x="275" y="54"/>
                  </a:lnTo>
                  <a:lnTo>
                    <a:pt x="275" y="55"/>
                  </a:lnTo>
                  <a:lnTo>
                    <a:pt x="276" y="56"/>
                  </a:lnTo>
                  <a:lnTo>
                    <a:pt x="277" y="57"/>
                  </a:lnTo>
                  <a:lnTo>
                    <a:pt x="278" y="58"/>
                  </a:lnTo>
                  <a:lnTo>
                    <a:pt x="279" y="59"/>
                  </a:lnTo>
                  <a:lnTo>
                    <a:pt x="279" y="59"/>
                  </a:lnTo>
                  <a:lnTo>
                    <a:pt x="280" y="60"/>
                  </a:lnTo>
                  <a:lnTo>
                    <a:pt x="281" y="60"/>
                  </a:lnTo>
                  <a:lnTo>
                    <a:pt x="282" y="61"/>
                  </a:lnTo>
                  <a:lnTo>
                    <a:pt x="283" y="61"/>
                  </a:lnTo>
                  <a:lnTo>
                    <a:pt x="284" y="62"/>
                  </a:lnTo>
                  <a:lnTo>
                    <a:pt x="285" y="62"/>
                  </a:lnTo>
                  <a:lnTo>
                    <a:pt x="287" y="63"/>
                  </a:lnTo>
                  <a:lnTo>
                    <a:pt x="290" y="63"/>
                  </a:lnTo>
                  <a:lnTo>
                    <a:pt x="292" y="63"/>
                  </a:lnTo>
                  <a:lnTo>
                    <a:pt x="293" y="64"/>
                  </a:lnTo>
                  <a:lnTo>
                    <a:pt x="294" y="64"/>
                  </a:lnTo>
                  <a:lnTo>
                    <a:pt x="294" y="65"/>
                  </a:lnTo>
                  <a:lnTo>
                    <a:pt x="295" y="65"/>
                  </a:lnTo>
                  <a:lnTo>
                    <a:pt x="296" y="66"/>
                  </a:lnTo>
                  <a:lnTo>
                    <a:pt x="297" y="66"/>
                  </a:lnTo>
                  <a:lnTo>
                    <a:pt x="298" y="68"/>
                  </a:lnTo>
                  <a:lnTo>
                    <a:pt x="299" y="69"/>
                  </a:lnTo>
                  <a:lnTo>
                    <a:pt x="301" y="71"/>
                  </a:lnTo>
                  <a:lnTo>
                    <a:pt x="303" y="73"/>
                  </a:lnTo>
                  <a:lnTo>
                    <a:pt x="304" y="73"/>
                  </a:lnTo>
                  <a:lnTo>
                    <a:pt x="304" y="74"/>
                  </a:lnTo>
                  <a:lnTo>
                    <a:pt x="305" y="74"/>
                  </a:lnTo>
                  <a:lnTo>
                    <a:pt x="305" y="74"/>
                  </a:lnTo>
                  <a:lnTo>
                    <a:pt x="306" y="74"/>
                  </a:lnTo>
                  <a:lnTo>
                    <a:pt x="306" y="75"/>
                  </a:lnTo>
                  <a:lnTo>
                    <a:pt x="307" y="75"/>
                  </a:lnTo>
                  <a:lnTo>
                    <a:pt x="309" y="75"/>
                  </a:lnTo>
                  <a:lnTo>
                    <a:pt x="313" y="75"/>
                  </a:lnTo>
                  <a:lnTo>
                    <a:pt x="314" y="75"/>
                  </a:lnTo>
                  <a:lnTo>
                    <a:pt x="315" y="75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9" y="77"/>
                  </a:lnTo>
                  <a:lnTo>
                    <a:pt x="320" y="77"/>
                  </a:lnTo>
                  <a:lnTo>
                    <a:pt x="324" y="78"/>
                  </a:lnTo>
                  <a:lnTo>
                    <a:pt x="328" y="79"/>
                  </a:lnTo>
                  <a:lnTo>
                    <a:pt x="331" y="80"/>
                  </a:lnTo>
                  <a:lnTo>
                    <a:pt x="332" y="81"/>
                  </a:lnTo>
                  <a:lnTo>
                    <a:pt x="332" y="81"/>
                  </a:lnTo>
                  <a:lnTo>
                    <a:pt x="337" y="83"/>
                  </a:lnTo>
                  <a:lnTo>
                    <a:pt x="341" y="85"/>
                  </a:lnTo>
                  <a:lnTo>
                    <a:pt x="342" y="86"/>
                  </a:lnTo>
                  <a:lnTo>
                    <a:pt x="343" y="87"/>
                  </a:lnTo>
                  <a:lnTo>
                    <a:pt x="345" y="87"/>
                  </a:lnTo>
                  <a:lnTo>
                    <a:pt x="346" y="88"/>
                  </a:lnTo>
                  <a:lnTo>
                    <a:pt x="347" y="89"/>
                  </a:lnTo>
                  <a:lnTo>
                    <a:pt x="349" y="91"/>
                  </a:lnTo>
                  <a:lnTo>
                    <a:pt x="352" y="95"/>
                  </a:lnTo>
                  <a:lnTo>
                    <a:pt x="354" y="96"/>
                  </a:lnTo>
                  <a:lnTo>
                    <a:pt x="355" y="97"/>
                  </a:lnTo>
                  <a:lnTo>
                    <a:pt x="356" y="99"/>
                  </a:lnTo>
                  <a:lnTo>
                    <a:pt x="357" y="100"/>
                  </a:lnTo>
                  <a:lnTo>
                    <a:pt x="358" y="102"/>
                  </a:lnTo>
                  <a:lnTo>
                    <a:pt x="360" y="103"/>
                  </a:lnTo>
                  <a:lnTo>
                    <a:pt x="361" y="104"/>
                  </a:lnTo>
                  <a:lnTo>
                    <a:pt x="361" y="104"/>
                  </a:lnTo>
                  <a:lnTo>
                    <a:pt x="362" y="104"/>
                  </a:lnTo>
                  <a:lnTo>
                    <a:pt x="363" y="105"/>
                  </a:lnTo>
                  <a:lnTo>
                    <a:pt x="365" y="105"/>
                  </a:lnTo>
                  <a:lnTo>
                    <a:pt x="366" y="105"/>
                  </a:lnTo>
                  <a:lnTo>
                    <a:pt x="370" y="107"/>
                  </a:lnTo>
                  <a:lnTo>
                    <a:pt x="374" y="108"/>
                  </a:lnTo>
                  <a:lnTo>
                    <a:pt x="375" y="108"/>
                  </a:lnTo>
                  <a:lnTo>
                    <a:pt x="377" y="109"/>
                  </a:lnTo>
                  <a:lnTo>
                    <a:pt x="378" y="110"/>
                  </a:lnTo>
                  <a:lnTo>
                    <a:pt x="381" y="112"/>
                  </a:lnTo>
                  <a:lnTo>
                    <a:pt x="384" y="114"/>
                  </a:lnTo>
                  <a:lnTo>
                    <a:pt x="385" y="114"/>
                  </a:lnTo>
                  <a:lnTo>
                    <a:pt x="386" y="115"/>
                  </a:lnTo>
                  <a:lnTo>
                    <a:pt x="387" y="116"/>
                  </a:lnTo>
                  <a:lnTo>
                    <a:pt x="388" y="117"/>
                  </a:lnTo>
                  <a:lnTo>
                    <a:pt x="392" y="123"/>
                  </a:lnTo>
                  <a:lnTo>
                    <a:pt x="392" y="123"/>
                  </a:lnTo>
                  <a:lnTo>
                    <a:pt x="392" y="124"/>
                  </a:lnTo>
                  <a:lnTo>
                    <a:pt x="392" y="125"/>
                  </a:lnTo>
                  <a:lnTo>
                    <a:pt x="392" y="127"/>
                  </a:lnTo>
                  <a:lnTo>
                    <a:pt x="391" y="128"/>
                  </a:lnTo>
                  <a:lnTo>
                    <a:pt x="391" y="130"/>
                  </a:lnTo>
                  <a:lnTo>
                    <a:pt x="389" y="134"/>
                  </a:lnTo>
                  <a:lnTo>
                    <a:pt x="389" y="135"/>
                  </a:lnTo>
                  <a:lnTo>
                    <a:pt x="389" y="136"/>
                  </a:lnTo>
                  <a:lnTo>
                    <a:pt x="389" y="136"/>
                  </a:lnTo>
                  <a:lnTo>
                    <a:pt x="389" y="137"/>
                  </a:lnTo>
                  <a:lnTo>
                    <a:pt x="389" y="137"/>
                  </a:lnTo>
                  <a:lnTo>
                    <a:pt x="389" y="138"/>
                  </a:lnTo>
                  <a:lnTo>
                    <a:pt x="390" y="139"/>
                  </a:lnTo>
                  <a:lnTo>
                    <a:pt x="390" y="140"/>
                  </a:lnTo>
                  <a:lnTo>
                    <a:pt x="391" y="140"/>
                  </a:lnTo>
                  <a:lnTo>
                    <a:pt x="392" y="141"/>
                  </a:lnTo>
                  <a:lnTo>
                    <a:pt x="392" y="141"/>
                  </a:lnTo>
                  <a:lnTo>
                    <a:pt x="395" y="143"/>
                  </a:lnTo>
                  <a:lnTo>
                    <a:pt x="396" y="143"/>
                  </a:lnTo>
                  <a:lnTo>
                    <a:pt x="396" y="144"/>
                  </a:lnTo>
                  <a:lnTo>
                    <a:pt x="397" y="145"/>
                  </a:lnTo>
                  <a:lnTo>
                    <a:pt x="397" y="145"/>
                  </a:lnTo>
                  <a:lnTo>
                    <a:pt x="398" y="146"/>
                  </a:lnTo>
                  <a:lnTo>
                    <a:pt x="398" y="146"/>
                  </a:lnTo>
                  <a:lnTo>
                    <a:pt x="398" y="147"/>
                  </a:lnTo>
                  <a:lnTo>
                    <a:pt x="398" y="147"/>
                  </a:lnTo>
                  <a:lnTo>
                    <a:pt x="399" y="148"/>
                  </a:lnTo>
                  <a:lnTo>
                    <a:pt x="399" y="149"/>
                  </a:lnTo>
                  <a:lnTo>
                    <a:pt x="399" y="150"/>
                  </a:lnTo>
                  <a:lnTo>
                    <a:pt x="398" y="150"/>
                  </a:lnTo>
                  <a:lnTo>
                    <a:pt x="398" y="151"/>
                  </a:lnTo>
                  <a:lnTo>
                    <a:pt x="398" y="152"/>
                  </a:lnTo>
                  <a:lnTo>
                    <a:pt x="397" y="153"/>
                  </a:lnTo>
                  <a:lnTo>
                    <a:pt x="397" y="154"/>
                  </a:lnTo>
                  <a:lnTo>
                    <a:pt x="396" y="156"/>
                  </a:lnTo>
                  <a:lnTo>
                    <a:pt x="395" y="157"/>
                  </a:lnTo>
                  <a:lnTo>
                    <a:pt x="394" y="158"/>
                  </a:lnTo>
                  <a:lnTo>
                    <a:pt x="393" y="160"/>
                  </a:lnTo>
                  <a:lnTo>
                    <a:pt x="392" y="160"/>
                  </a:lnTo>
                  <a:lnTo>
                    <a:pt x="391" y="161"/>
                  </a:lnTo>
                  <a:lnTo>
                    <a:pt x="390" y="161"/>
                  </a:lnTo>
                  <a:lnTo>
                    <a:pt x="389" y="162"/>
                  </a:lnTo>
                  <a:lnTo>
                    <a:pt x="388" y="162"/>
                  </a:lnTo>
                  <a:lnTo>
                    <a:pt x="388" y="162"/>
                  </a:lnTo>
                  <a:lnTo>
                    <a:pt x="387" y="162"/>
                  </a:lnTo>
                  <a:lnTo>
                    <a:pt x="385" y="162"/>
                  </a:lnTo>
                  <a:lnTo>
                    <a:pt x="385" y="162"/>
                  </a:lnTo>
                  <a:lnTo>
                    <a:pt x="385" y="162"/>
                  </a:lnTo>
                  <a:lnTo>
                    <a:pt x="384" y="162"/>
                  </a:lnTo>
                  <a:lnTo>
                    <a:pt x="384" y="162"/>
                  </a:lnTo>
                  <a:lnTo>
                    <a:pt x="384" y="162"/>
                  </a:lnTo>
                  <a:lnTo>
                    <a:pt x="384" y="163"/>
                  </a:lnTo>
                  <a:lnTo>
                    <a:pt x="384" y="163"/>
                  </a:lnTo>
                  <a:lnTo>
                    <a:pt x="385" y="164"/>
                  </a:lnTo>
                  <a:lnTo>
                    <a:pt x="385" y="165"/>
                  </a:lnTo>
                  <a:lnTo>
                    <a:pt x="385" y="165"/>
                  </a:lnTo>
                  <a:lnTo>
                    <a:pt x="386" y="166"/>
                  </a:lnTo>
                  <a:lnTo>
                    <a:pt x="386" y="167"/>
                  </a:lnTo>
                  <a:lnTo>
                    <a:pt x="388" y="168"/>
                  </a:lnTo>
                  <a:lnTo>
                    <a:pt x="388" y="169"/>
                  </a:lnTo>
                  <a:lnTo>
                    <a:pt x="389" y="170"/>
                  </a:lnTo>
                  <a:lnTo>
                    <a:pt x="390" y="171"/>
                  </a:lnTo>
                  <a:lnTo>
                    <a:pt x="390" y="172"/>
                  </a:lnTo>
                  <a:lnTo>
                    <a:pt x="390" y="173"/>
                  </a:lnTo>
                  <a:lnTo>
                    <a:pt x="390" y="173"/>
                  </a:lnTo>
                  <a:lnTo>
                    <a:pt x="390" y="174"/>
                  </a:lnTo>
                  <a:lnTo>
                    <a:pt x="390" y="174"/>
                  </a:lnTo>
                  <a:lnTo>
                    <a:pt x="390" y="175"/>
                  </a:lnTo>
                  <a:lnTo>
                    <a:pt x="390" y="176"/>
                  </a:lnTo>
                  <a:lnTo>
                    <a:pt x="389" y="177"/>
                  </a:lnTo>
                  <a:lnTo>
                    <a:pt x="389" y="179"/>
                  </a:lnTo>
                  <a:lnTo>
                    <a:pt x="388" y="180"/>
                  </a:lnTo>
                  <a:lnTo>
                    <a:pt x="388" y="181"/>
                  </a:lnTo>
                  <a:lnTo>
                    <a:pt x="388" y="181"/>
                  </a:lnTo>
                  <a:lnTo>
                    <a:pt x="387" y="181"/>
                  </a:lnTo>
                  <a:lnTo>
                    <a:pt x="386" y="182"/>
                  </a:lnTo>
                  <a:lnTo>
                    <a:pt x="386" y="182"/>
                  </a:lnTo>
                  <a:lnTo>
                    <a:pt x="385" y="182"/>
                  </a:lnTo>
                  <a:lnTo>
                    <a:pt x="385" y="182"/>
                  </a:lnTo>
                  <a:lnTo>
                    <a:pt x="384" y="182"/>
                  </a:lnTo>
                  <a:lnTo>
                    <a:pt x="383" y="182"/>
                  </a:lnTo>
                  <a:lnTo>
                    <a:pt x="383" y="182"/>
                  </a:lnTo>
                  <a:lnTo>
                    <a:pt x="382" y="181"/>
                  </a:lnTo>
                  <a:lnTo>
                    <a:pt x="382" y="181"/>
                  </a:lnTo>
                  <a:lnTo>
                    <a:pt x="381" y="180"/>
                  </a:lnTo>
                  <a:lnTo>
                    <a:pt x="381" y="180"/>
                  </a:lnTo>
                  <a:lnTo>
                    <a:pt x="381" y="179"/>
                  </a:lnTo>
                  <a:lnTo>
                    <a:pt x="380" y="178"/>
                  </a:lnTo>
                  <a:lnTo>
                    <a:pt x="380" y="177"/>
                  </a:lnTo>
                  <a:lnTo>
                    <a:pt x="379" y="177"/>
                  </a:lnTo>
                  <a:lnTo>
                    <a:pt x="379" y="176"/>
                  </a:lnTo>
                  <a:lnTo>
                    <a:pt x="378" y="176"/>
                  </a:lnTo>
                  <a:lnTo>
                    <a:pt x="378" y="176"/>
                  </a:lnTo>
                  <a:lnTo>
                    <a:pt x="377" y="176"/>
                  </a:lnTo>
                  <a:lnTo>
                    <a:pt x="376" y="176"/>
                  </a:lnTo>
                  <a:lnTo>
                    <a:pt x="375" y="176"/>
                  </a:lnTo>
                  <a:lnTo>
                    <a:pt x="375" y="176"/>
                  </a:lnTo>
                  <a:lnTo>
                    <a:pt x="374" y="176"/>
                  </a:lnTo>
                  <a:lnTo>
                    <a:pt x="373" y="176"/>
                  </a:lnTo>
                  <a:lnTo>
                    <a:pt x="372" y="177"/>
                  </a:lnTo>
                  <a:lnTo>
                    <a:pt x="371" y="178"/>
                  </a:lnTo>
                  <a:lnTo>
                    <a:pt x="370" y="178"/>
                  </a:lnTo>
                  <a:lnTo>
                    <a:pt x="370" y="179"/>
                  </a:lnTo>
                  <a:lnTo>
                    <a:pt x="368" y="180"/>
                  </a:lnTo>
                  <a:lnTo>
                    <a:pt x="367" y="181"/>
                  </a:lnTo>
                  <a:lnTo>
                    <a:pt x="367" y="182"/>
                  </a:lnTo>
                  <a:lnTo>
                    <a:pt x="366" y="182"/>
                  </a:lnTo>
                  <a:lnTo>
                    <a:pt x="366" y="183"/>
                  </a:lnTo>
                  <a:lnTo>
                    <a:pt x="366" y="183"/>
                  </a:lnTo>
                  <a:lnTo>
                    <a:pt x="366" y="183"/>
                  </a:lnTo>
                  <a:lnTo>
                    <a:pt x="367" y="184"/>
                  </a:lnTo>
                  <a:lnTo>
                    <a:pt x="367" y="184"/>
                  </a:lnTo>
                  <a:lnTo>
                    <a:pt x="368" y="184"/>
                  </a:lnTo>
                  <a:lnTo>
                    <a:pt x="370" y="185"/>
                  </a:lnTo>
                  <a:lnTo>
                    <a:pt x="371" y="185"/>
                  </a:lnTo>
                  <a:lnTo>
                    <a:pt x="372" y="185"/>
                  </a:lnTo>
                  <a:lnTo>
                    <a:pt x="372" y="186"/>
                  </a:lnTo>
                  <a:lnTo>
                    <a:pt x="373" y="186"/>
                  </a:lnTo>
                  <a:lnTo>
                    <a:pt x="373" y="186"/>
                  </a:lnTo>
                  <a:lnTo>
                    <a:pt x="374" y="187"/>
                  </a:lnTo>
                  <a:lnTo>
                    <a:pt x="374" y="187"/>
                  </a:lnTo>
                  <a:lnTo>
                    <a:pt x="374" y="188"/>
                  </a:lnTo>
                  <a:lnTo>
                    <a:pt x="374" y="188"/>
                  </a:lnTo>
                  <a:lnTo>
                    <a:pt x="374" y="189"/>
                  </a:lnTo>
                  <a:lnTo>
                    <a:pt x="374" y="189"/>
                  </a:lnTo>
                  <a:lnTo>
                    <a:pt x="374" y="190"/>
                  </a:lnTo>
                  <a:lnTo>
                    <a:pt x="373" y="190"/>
                  </a:lnTo>
                  <a:lnTo>
                    <a:pt x="373" y="191"/>
                  </a:lnTo>
                  <a:lnTo>
                    <a:pt x="372" y="191"/>
                  </a:lnTo>
                  <a:lnTo>
                    <a:pt x="371" y="192"/>
                  </a:lnTo>
                  <a:lnTo>
                    <a:pt x="370" y="192"/>
                  </a:lnTo>
                  <a:lnTo>
                    <a:pt x="369" y="192"/>
                  </a:lnTo>
                  <a:lnTo>
                    <a:pt x="367" y="193"/>
                  </a:lnTo>
                  <a:lnTo>
                    <a:pt x="365" y="193"/>
                  </a:lnTo>
                  <a:lnTo>
                    <a:pt x="362" y="193"/>
                  </a:lnTo>
                  <a:lnTo>
                    <a:pt x="361" y="194"/>
                  </a:lnTo>
                  <a:lnTo>
                    <a:pt x="360" y="194"/>
                  </a:lnTo>
                  <a:lnTo>
                    <a:pt x="359" y="194"/>
                  </a:lnTo>
                  <a:lnTo>
                    <a:pt x="357" y="195"/>
                  </a:lnTo>
                  <a:lnTo>
                    <a:pt x="357" y="195"/>
                  </a:lnTo>
                  <a:lnTo>
                    <a:pt x="356" y="196"/>
                  </a:lnTo>
                  <a:lnTo>
                    <a:pt x="356" y="196"/>
                  </a:lnTo>
                  <a:lnTo>
                    <a:pt x="355" y="197"/>
                  </a:lnTo>
                  <a:lnTo>
                    <a:pt x="355" y="198"/>
                  </a:lnTo>
                  <a:lnTo>
                    <a:pt x="354" y="199"/>
                  </a:lnTo>
                  <a:lnTo>
                    <a:pt x="353" y="200"/>
                  </a:lnTo>
                  <a:lnTo>
                    <a:pt x="352" y="203"/>
                  </a:lnTo>
                  <a:lnTo>
                    <a:pt x="351" y="204"/>
                  </a:lnTo>
                  <a:lnTo>
                    <a:pt x="351" y="204"/>
                  </a:lnTo>
                  <a:lnTo>
                    <a:pt x="349" y="207"/>
                  </a:lnTo>
                  <a:lnTo>
                    <a:pt x="348" y="208"/>
                  </a:lnTo>
                  <a:lnTo>
                    <a:pt x="347" y="209"/>
                  </a:lnTo>
                  <a:lnTo>
                    <a:pt x="346" y="210"/>
                  </a:lnTo>
                  <a:lnTo>
                    <a:pt x="346" y="211"/>
                  </a:lnTo>
                  <a:lnTo>
                    <a:pt x="346" y="212"/>
                  </a:lnTo>
                  <a:lnTo>
                    <a:pt x="346" y="213"/>
                  </a:lnTo>
                  <a:lnTo>
                    <a:pt x="346" y="216"/>
                  </a:lnTo>
                  <a:lnTo>
                    <a:pt x="345" y="218"/>
                  </a:lnTo>
                  <a:lnTo>
                    <a:pt x="345" y="220"/>
                  </a:lnTo>
                  <a:lnTo>
                    <a:pt x="345" y="222"/>
                  </a:lnTo>
                  <a:lnTo>
                    <a:pt x="344" y="225"/>
                  </a:lnTo>
                  <a:lnTo>
                    <a:pt x="344" y="226"/>
                  </a:lnTo>
                  <a:lnTo>
                    <a:pt x="344" y="227"/>
                  </a:lnTo>
                  <a:lnTo>
                    <a:pt x="344" y="228"/>
                  </a:lnTo>
                  <a:lnTo>
                    <a:pt x="344" y="228"/>
                  </a:lnTo>
                  <a:lnTo>
                    <a:pt x="344" y="229"/>
                  </a:lnTo>
                  <a:lnTo>
                    <a:pt x="344" y="229"/>
                  </a:lnTo>
                  <a:lnTo>
                    <a:pt x="345" y="230"/>
                  </a:lnTo>
                  <a:lnTo>
                    <a:pt x="345" y="230"/>
                  </a:lnTo>
                  <a:lnTo>
                    <a:pt x="346" y="231"/>
                  </a:lnTo>
                  <a:lnTo>
                    <a:pt x="349" y="233"/>
                  </a:lnTo>
                  <a:lnTo>
                    <a:pt x="354" y="237"/>
                  </a:lnTo>
                  <a:lnTo>
                    <a:pt x="354" y="237"/>
                  </a:lnTo>
                  <a:lnTo>
                    <a:pt x="355" y="237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4" y="239"/>
                  </a:lnTo>
                  <a:lnTo>
                    <a:pt x="353" y="239"/>
                  </a:lnTo>
                  <a:lnTo>
                    <a:pt x="353" y="240"/>
                  </a:lnTo>
                  <a:lnTo>
                    <a:pt x="353" y="240"/>
                  </a:lnTo>
                  <a:lnTo>
                    <a:pt x="352" y="240"/>
                  </a:lnTo>
                  <a:lnTo>
                    <a:pt x="352" y="241"/>
                  </a:lnTo>
                  <a:lnTo>
                    <a:pt x="352" y="241"/>
                  </a:lnTo>
                  <a:lnTo>
                    <a:pt x="352" y="241"/>
                  </a:lnTo>
                  <a:lnTo>
                    <a:pt x="353" y="242"/>
                  </a:lnTo>
                  <a:lnTo>
                    <a:pt x="353" y="242"/>
                  </a:lnTo>
                  <a:lnTo>
                    <a:pt x="354" y="243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6" y="244"/>
                  </a:lnTo>
                  <a:lnTo>
                    <a:pt x="357" y="244"/>
                  </a:lnTo>
                  <a:lnTo>
                    <a:pt x="360" y="245"/>
                  </a:lnTo>
                  <a:lnTo>
                    <a:pt x="361" y="245"/>
                  </a:lnTo>
                  <a:lnTo>
                    <a:pt x="361" y="245"/>
                  </a:lnTo>
                  <a:lnTo>
                    <a:pt x="361" y="246"/>
                  </a:lnTo>
                  <a:lnTo>
                    <a:pt x="362" y="246"/>
                  </a:lnTo>
                  <a:lnTo>
                    <a:pt x="362" y="246"/>
                  </a:lnTo>
                  <a:lnTo>
                    <a:pt x="362" y="247"/>
                  </a:lnTo>
                  <a:lnTo>
                    <a:pt x="362" y="248"/>
                  </a:lnTo>
                  <a:lnTo>
                    <a:pt x="362" y="248"/>
                  </a:lnTo>
                  <a:lnTo>
                    <a:pt x="362" y="249"/>
                  </a:lnTo>
                  <a:lnTo>
                    <a:pt x="362" y="249"/>
                  </a:lnTo>
                  <a:lnTo>
                    <a:pt x="362" y="250"/>
                  </a:lnTo>
                  <a:lnTo>
                    <a:pt x="361" y="251"/>
                  </a:lnTo>
                  <a:lnTo>
                    <a:pt x="361" y="252"/>
                  </a:lnTo>
                  <a:lnTo>
                    <a:pt x="360" y="254"/>
                  </a:lnTo>
                  <a:lnTo>
                    <a:pt x="357" y="257"/>
                  </a:lnTo>
                  <a:lnTo>
                    <a:pt x="357" y="258"/>
                  </a:lnTo>
                  <a:lnTo>
                    <a:pt x="356" y="258"/>
                  </a:lnTo>
                  <a:lnTo>
                    <a:pt x="356" y="259"/>
                  </a:lnTo>
                  <a:lnTo>
                    <a:pt x="356" y="260"/>
                  </a:lnTo>
                  <a:lnTo>
                    <a:pt x="356" y="261"/>
                  </a:lnTo>
                  <a:lnTo>
                    <a:pt x="356" y="262"/>
                  </a:lnTo>
                  <a:lnTo>
                    <a:pt x="356" y="262"/>
                  </a:lnTo>
                  <a:lnTo>
                    <a:pt x="356" y="263"/>
                  </a:lnTo>
                  <a:lnTo>
                    <a:pt x="356" y="264"/>
                  </a:lnTo>
                  <a:lnTo>
                    <a:pt x="357" y="265"/>
                  </a:lnTo>
                  <a:lnTo>
                    <a:pt x="357" y="265"/>
                  </a:lnTo>
                  <a:lnTo>
                    <a:pt x="359" y="267"/>
                  </a:lnTo>
                  <a:lnTo>
                    <a:pt x="360" y="268"/>
                  </a:lnTo>
                  <a:lnTo>
                    <a:pt x="360" y="269"/>
                  </a:lnTo>
                  <a:lnTo>
                    <a:pt x="360" y="270"/>
                  </a:lnTo>
                  <a:lnTo>
                    <a:pt x="361" y="270"/>
                  </a:lnTo>
                  <a:lnTo>
                    <a:pt x="361" y="271"/>
                  </a:lnTo>
                  <a:lnTo>
                    <a:pt x="361" y="271"/>
                  </a:lnTo>
                  <a:lnTo>
                    <a:pt x="361" y="272"/>
                  </a:lnTo>
                  <a:lnTo>
                    <a:pt x="360" y="272"/>
                  </a:lnTo>
                  <a:lnTo>
                    <a:pt x="360" y="273"/>
                  </a:lnTo>
                  <a:lnTo>
                    <a:pt x="360" y="273"/>
                  </a:lnTo>
                  <a:lnTo>
                    <a:pt x="359" y="274"/>
                  </a:lnTo>
                  <a:lnTo>
                    <a:pt x="358" y="274"/>
                  </a:lnTo>
                  <a:lnTo>
                    <a:pt x="356" y="276"/>
                  </a:lnTo>
                  <a:lnTo>
                    <a:pt x="355" y="277"/>
                  </a:lnTo>
                  <a:lnTo>
                    <a:pt x="354" y="277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1" y="281"/>
                  </a:lnTo>
                  <a:lnTo>
                    <a:pt x="351" y="282"/>
                  </a:lnTo>
                  <a:lnTo>
                    <a:pt x="351" y="283"/>
                  </a:lnTo>
                  <a:lnTo>
                    <a:pt x="350" y="284"/>
                  </a:lnTo>
                  <a:lnTo>
                    <a:pt x="350" y="285"/>
                  </a:lnTo>
                  <a:lnTo>
                    <a:pt x="349" y="286"/>
                  </a:lnTo>
                  <a:lnTo>
                    <a:pt x="349" y="287"/>
                  </a:lnTo>
                  <a:lnTo>
                    <a:pt x="349" y="288"/>
                  </a:lnTo>
                  <a:lnTo>
                    <a:pt x="349" y="289"/>
                  </a:lnTo>
                  <a:lnTo>
                    <a:pt x="349" y="290"/>
                  </a:lnTo>
                  <a:lnTo>
                    <a:pt x="349" y="291"/>
                  </a:lnTo>
                  <a:lnTo>
                    <a:pt x="349" y="291"/>
                  </a:lnTo>
                  <a:lnTo>
                    <a:pt x="349" y="292"/>
                  </a:lnTo>
                  <a:lnTo>
                    <a:pt x="349" y="292"/>
                  </a:lnTo>
                  <a:lnTo>
                    <a:pt x="350" y="293"/>
                  </a:lnTo>
                  <a:lnTo>
                    <a:pt x="350" y="293"/>
                  </a:lnTo>
                  <a:lnTo>
                    <a:pt x="351" y="294"/>
                  </a:lnTo>
                  <a:lnTo>
                    <a:pt x="352" y="295"/>
                  </a:lnTo>
                  <a:lnTo>
                    <a:pt x="354" y="297"/>
                  </a:lnTo>
                  <a:lnTo>
                    <a:pt x="356" y="297"/>
                  </a:lnTo>
                  <a:lnTo>
                    <a:pt x="356" y="298"/>
                  </a:lnTo>
                  <a:lnTo>
                    <a:pt x="356" y="299"/>
                  </a:lnTo>
                  <a:lnTo>
                    <a:pt x="357" y="299"/>
                  </a:lnTo>
                  <a:lnTo>
                    <a:pt x="357" y="300"/>
                  </a:lnTo>
                  <a:lnTo>
                    <a:pt x="357" y="300"/>
                  </a:lnTo>
                  <a:lnTo>
                    <a:pt x="358" y="301"/>
                  </a:lnTo>
                  <a:lnTo>
                    <a:pt x="358" y="301"/>
                  </a:lnTo>
                  <a:lnTo>
                    <a:pt x="358" y="302"/>
                  </a:lnTo>
                  <a:lnTo>
                    <a:pt x="358" y="304"/>
                  </a:lnTo>
                  <a:lnTo>
                    <a:pt x="358" y="305"/>
                  </a:lnTo>
                  <a:lnTo>
                    <a:pt x="358" y="306"/>
                  </a:lnTo>
                  <a:lnTo>
                    <a:pt x="358" y="307"/>
                  </a:lnTo>
                  <a:lnTo>
                    <a:pt x="358" y="307"/>
                  </a:lnTo>
                  <a:lnTo>
                    <a:pt x="357" y="308"/>
                  </a:lnTo>
                  <a:lnTo>
                    <a:pt x="356" y="309"/>
                  </a:lnTo>
                  <a:lnTo>
                    <a:pt x="355" y="310"/>
                  </a:lnTo>
                  <a:lnTo>
                    <a:pt x="354" y="310"/>
                  </a:lnTo>
                  <a:lnTo>
                    <a:pt x="353" y="311"/>
                  </a:lnTo>
                  <a:lnTo>
                    <a:pt x="351" y="312"/>
                  </a:lnTo>
                  <a:lnTo>
                    <a:pt x="350" y="312"/>
                  </a:lnTo>
                  <a:lnTo>
                    <a:pt x="350" y="313"/>
                  </a:lnTo>
                  <a:lnTo>
                    <a:pt x="349" y="313"/>
                  </a:lnTo>
                  <a:lnTo>
                    <a:pt x="349" y="314"/>
                  </a:lnTo>
                  <a:lnTo>
                    <a:pt x="348" y="314"/>
                  </a:lnTo>
                  <a:lnTo>
                    <a:pt x="348" y="315"/>
                  </a:lnTo>
                  <a:lnTo>
                    <a:pt x="348" y="316"/>
                  </a:lnTo>
                  <a:lnTo>
                    <a:pt x="347" y="316"/>
                  </a:lnTo>
                  <a:lnTo>
                    <a:pt x="347" y="317"/>
                  </a:lnTo>
                  <a:lnTo>
                    <a:pt x="347" y="318"/>
                  </a:lnTo>
                  <a:lnTo>
                    <a:pt x="347" y="318"/>
                  </a:lnTo>
                  <a:lnTo>
                    <a:pt x="348" y="321"/>
                  </a:lnTo>
                  <a:lnTo>
                    <a:pt x="348" y="322"/>
                  </a:lnTo>
                  <a:lnTo>
                    <a:pt x="349" y="323"/>
                  </a:lnTo>
                  <a:lnTo>
                    <a:pt x="349" y="323"/>
                  </a:lnTo>
                  <a:lnTo>
                    <a:pt x="349" y="324"/>
                  </a:lnTo>
                  <a:lnTo>
                    <a:pt x="348" y="325"/>
                  </a:lnTo>
                  <a:lnTo>
                    <a:pt x="348" y="325"/>
                  </a:lnTo>
                  <a:lnTo>
                    <a:pt x="348" y="326"/>
                  </a:lnTo>
                  <a:lnTo>
                    <a:pt x="347" y="326"/>
                  </a:lnTo>
                  <a:lnTo>
                    <a:pt x="347" y="327"/>
                  </a:lnTo>
                  <a:lnTo>
                    <a:pt x="346" y="327"/>
                  </a:lnTo>
                  <a:lnTo>
                    <a:pt x="346" y="328"/>
                  </a:lnTo>
                  <a:lnTo>
                    <a:pt x="345" y="328"/>
                  </a:lnTo>
                  <a:lnTo>
                    <a:pt x="344" y="329"/>
                  </a:lnTo>
                  <a:lnTo>
                    <a:pt x="343" y="329"/>
                  </a:lnTo>
                  <a:lnTo>
                    <a:pt x="342" y="329"/>
                  </a:lnTo>
                  <a:lnTo>
                    <a:pt x="342" y="329"/>
                  </a:lnTo>
                  <a:lnTo>
                    <a:pt x="342" y="330"/>
                  </a:lnTo>
                  <a:lnTo>
                    <a:pt x="342" y="330"/>
                  </a:lnTo>
                  <a:lnTo>
                    <a:pt x="342" y="330"/>
                  </a:lnTo>
                  <a:lnTo>
                    <a:pt x="341" y="330"/>
                  </a:lnTo>
                  <a:lnTo>
                    <a:pt x="342" y="331"/>
                  </a:lnTo>
                  <a:lnTo>
                    <a:pt x="342" y="332"/>
                  </a:lnTo>
                  <a:lnTo>
                    <a:pt x="342" y="332"/>
                  </a:lnTo>
                  <a:lnTo>
                    <a:pt x="343" y="333"/>
                  </a:lnTo>
                  <a:lnTo>
                    <a:pt x="344" y="335"/>
                  </a:lnTo>
                  <a:lnTo>
                    <a:pt x="346" y="335"/>
                  </a:lnTo>
                  <a:lnTo>
                    <a:pt x="348" y="338"/>
                  </a:lnTo>
                  <a:lnTo>
                    <a:pt x="349" y="339"/>
                  </a:lnTo>
                  <a:lnTo>
                    <a:pt x="350" y="340"/>
                  </a:lnTo>
                  <a:lnTo>
                    <a:pt x="351" y="340"/>
                  </a:lnTo>
                  <a:lnTo>
                    <a:pt x="351" y="341"/>
                  </a:lnTo>
                  <a:lnTo>
                    <a:pt x="351" y="342"/>
                  </a:lnTo>
                  <a:lnTo>
                    <a:pt x="351" y="342"/>
                  </a:lnTo>
                  <a:lnTo>
                    <a:pt x="351" y="343"/>
                  </a:lnTo>
                  <a:lnTo>
                    <a:pt x="351" y="344"/>
                  </a:lnTo>
                  <a:lnTo>
                    <a:pt x="351" y="344"/>
                  </a:lnTo>
                  <a:lnTo>
                    <a:pt x="351" y="345"/>
                  </a:lnTo>
                  <a:lnTo>
                    <a:pt x="350" y="345"/>
                  </a:lnTo>
                  <a:lnTo>
                    <a:pt x="350" y="346"/>
                  </a:lnTo>
                  <a:lnTo>
                    <a:pt x="349" y="346"/>
                  </a:lnTo>
                  <a:lnTo>
                    <a:pt x="347" y="348"/>
                  </a:lnTo>
                  <a:lnTo>
                    <a:pt x="347" y="349"/>
                  </a:lnTo>
                  <a:lnTo>
                    <a:pt x="346" y="349"/>
                  </a:lnTo>
                  <a:lnTo>
                    <a:pt x="346" y="350"/>
                  </a:lnTo>
                  <a:lnTo>
                    <a:pt x="346" y="350"/>
                  </a:lnTo>
                  <a:lnTo>
                    <a:pt x="345" y="352"/>
                  </a:lnTo>
                  <a:lnTo>
                    <a:pt x="345" y="353"/>
                  </a:lnTo>
                  <a:lnTo>
                    <a:pt x="344" y="354"/>
                  </a:lnTo>
                  <a:lnTo>
                    <a:pt x="343" y="355"/>
                  </a:lnTo>
                  <a:lnTo>
                    <a:pt x="343" y="355"/>
                  </a:lnTo>
                  <a:lnTo>
                    <a:pt x="342" y="356"/>
                  </a:lnTo>
                  <a:lnTo>
                    <a:pt x="342" y="356"/>
                  </a:lnTo>
                  <a:lnTo>
                    <a:pt x="341" y="357"/>
                  </a:lnTo>
                  <a:lnTo>
                    <a:pt x="341" y="357"/>
                  </a:lnTo>
                  <a:lnTo>
                    <a:pt x="340" y="358"/>
                  </a:lnTo>
                  <a:lnTo>
                    <a:pt x="339" y="358"/>
                  </a:lnTo>
                  <a:lnTo>
                    <a:pt x="339" y="358"/>
                  </a:lnTo>
                  <a:lnTo>
                    <a:pt x="337" y="359"/>
                  </a:lnTo>
                  <a:lnTo>
                    <a:pt x="335" y="359"/>
                  </a:lnTo>
                  <a:lnTo>
                    <a:pt x="332" y="359"/>
                  </a:lnTo>
                  <a:lnTo>
                    <a:pt x="328" y="360"/>
                  </a:lnTo>
                  <a:lnTo>
                    <a:pt x="327" y="360"/>
                  </a:lnTo>
                  <a:lnTo>
                    <a:pt x="325" y="360"/>
                  </a:lnTo>
                  <a:lnTo>
                    <a:pt x="324" y="361"/>
                  </a:lnTo>
                  <a:lnTo>
                    <a:pt x="323" y="361"/>
                  </a:lnTo>
                  <a:lnTo>
                    <a:pt x="322" y="362"/>
                  </a:lnTo>
                  <a:lnTo>
                    <a:pt x="321" y="362"/>
                  </a:lnTo>
                  <a:lnTo>
                    <a:pt x="320" y="363"/>
                  </a:lnTo>
                  <a:lnTo>
                    <a:pt x="320" y="364"/>
                  </a:lnTo>
                  <a:lnTo>
                    <a:pt x="319" y="364"/>
                  </a:lnTo>
                  <a:lnTo>
                    <a:pt x="319" y="365"/>
                  </a:lnTo>
                  <a:lnTo>
                    <a:pt x="319" y="366"/>
                  </a:lnTo>
                  <a:lnTo>
                    <a:pt x="319" y="367"/>
                  </a:lnTo>
                  <a:lnTo>
                    <a:pt x="319" y="369"/>
                  </a:lnTo>
                  <a:lnTo>
                    <a:pt x="319" y="369"/>
                  </a:lnTo>
                  <a:lnTo>
                    <a:pt x="319" y="370"/>
                  </a:lnTo>
                  <a:lnTo>
                    <a:pt x="319" y="370"/>
                  </a:lnTo>
                  <a:lnTo>
                    <a:pt x="318" y="371"/>
                  </a:lnTo>
                  <a:lnTo>
                    <a:pt x="318" y="371"/>
                  </a:lnTo>
                  <a:lnTo>
                    <a:pt x="318" y="372"/>
                  </a:lnTo>
                  <a:lnTo>
                    <a:pt x="317" y="372"/>
                  </a:lnTo>
                  <a:lnTo>
                    <a:pt x="314" y="374"/>
                  </a:lnTo>
                  <a:lnTo>
                    <a:pt x="314" y="374"/>
                  </a:lnTo>
                  <a:lnTo>
                    <a:pt x="313" y="374"/>
                  </a:lnTo>
                  <a:lnTo>
                    <a:pt x="312" y="375"/>
                  </a:lnTo>
                  <a:lnTo>
                    <a:pt x="310" y="375"/>
                  </a:lnTo>
                  <a:lnTo>
                    <a:pt x="306" y="376"/>
                  </a:lnTo>
                  <a:lnTo>
                    <a:pt x="304" y="376"/>
                  </a:lnTo>
                  <a:lnTo>
                    <a:pt x="303" y="376"/>
                  </a:lnTo>
                  <a:lnTo>
                    <a:pt x="302" y="376"/>
                  </a:lnTo>
                  <a:lnTo>
                    <a:pt x="300" y="376"/>
                  </a:lnTo>
                  <a:lnTo>
                    <a:pt x="298" y="376"/>
                  </a:lnTo>
                  <a:lnTo>
                    <a:pt x="297" y="375"/>
                  </a:lnTo>
                  <a:lnTo>
                    <a:pt x="294" y="375"/>
                  </a:lnTo>
                  <a:lnTo>
                    <a:pt x="293" y="375"/>
                  </a:lnTo>
                  <a:lnTo>
                    <a:pt x="291" y="374"/>
                  </a:lnTo>
                  <a:lnTo>
                    <a:pt x="290" y="374"/>
                  </a:lnTo>
                  <a:lnTo>
                    <a:pt x="289" y="374"/>
                  </a:lnTo>
                  <a:lnTo>
                    <a:pt x="288" y="374"/>
                  </a:lnTo>
                  <a:lnTo>
                    <a:pt x="288" y="375"/>
                  </a:lnTo>
                  <a:lnTo>
                    <a:pt x="287" y="375"/>
                  </a:lnTo>
                  <a:lnTo>
                    <a:pt x="286" y="376"/>
                  </a:lnTo>
                  <a:lnTo>
                    <a:pt x="285" y="377"/>
                  </a:lnTo>
                  <a:lnTo>
                    <a:pt x="283" y="378"/>
                  </a:lnTo>
                  <a:lnTo>
                    <a:pt x="282" y="378"/>
                  </a:lnTo>
                  <a:lnTo>
                    <a:pt x="281" y="379"/>
                  </a:lnTo>
                  <a:lnTo>
                    <a:pt x="280" y="379"/>
                  </a:lnTo>
                  <a:lnTo>
                    <a:pt x="278" y="379"/>
                  </a:lnTo>
                  <a:lnTo>
                    <a:pt x="277" y="379"/>
                  </a:lnTo>
                  <a:lnTo>
                    <a:pt x="277" y="379"/>
                  </a:lnTo>
                  <a:lnTo>
                    <a:pt x="276" y="379"/>
                  </a:lnTo>
                  <a:lnTo>
                    <a:pt x="275" y="378"/>
                  </a:lnTo>
                  <a:lnTo>
                    <a:pt x="274" y="378"/>
                  </a:lnTo>
                  <a:lnTo>
                    <a:pt x="273" y="377"/>
                  </a:lnTo>
                  <a:lnTo>
                    <a:pt x="271" y="375"/>
                  </a:lnTo>
                  <a:lnTo>
                    <a:pt x="270" y="375"/>
                  </a:lnTo>
                  <a:lnTo>
                    <a:pt x="269" y="374"/>
                  </a:lnTo>
                  <a:lnTo>
                    <a:pt x="269" y="374"/>
                  </a:lnTo>
                  <a:lnTo>
                    <a:pt x="268" y="372"/>
                  </a:lnTo>
                  <a:lnTo>
                    <a:pt x="267" y="371"/>
                  </a:lnTo>
                  <a:lnTo>
                    <a:pt x="267" y="371"/>
                  </a:lnTo>
                  <a:lnTo>
                    <a:pt x="266" y="370"/>
                  </a:lnTo>
                  <a:lnTo>
                    <a:pt x="266" y="370"/>
                  </a:lnTo>
                  <a:lnTo>
                    <a:pt x="265" y="370"/>
                  </a:lnTo>
                  <a:lnTo>
                    <a:pt x="265" y="370"/>
                  </a:lnTo>
                  <a:lnTo>
                    <a:pt x="264" y="370"/>
                  </a:lnTo>
                  <a:lnTo>
                    <a:pt x="264" y="370"/>
                  </a:lnTo>
                  <a:lnTo>
                    <a:pt x="262" y="370"/>
                  </a:lnTo>
                  <a:lnTo>
                    <a:pt x="262" y="371"/>
                  </a:lnTo>
                  <a:lnTo>
                    <a:pt x="260" y="371"/>
                  </a:lnTo>
                  <a:lnTo>
                    <a:pt x="259" y="372"/>
                  </a:lnTo>
                  <a:lnTo>
                    <a:pt x="259" y="372"/>
                  </a:lnTo>
                  <a:lnTo>
                    <a:pt x="258" y="372"/>
                  </a:lnTo>
                  <a:lnTo>
                    <a:pt x="258" y="373"/>
                  </a:lnTo>
                  <a:lnTo>
                    <a:pt x="256" y="375"/>
                  </a:lnTo>
                  <a:lnTo>
                    <a:pt x="255" y="376"/>
                  </a:lnTo>
                  <a:lnTo>
                    <a:pt x="254" y="376"/>
                  </a:lnTo>
                  <a:lnTo>
                    <a:pt x="254" y="377"/>
                  </a:lnTo>
                  <a:lnTo>
                    <a:pt x="253" y="377"/>
                  </a:lnTo>
                  <a:lnTo>
                    <a:pt x="252" y="378"/>
                  </a:lnTo>
                  <a:lnTo>
                    <a:pt x="252" y="378"/>
                  </a:lnTo>
                  <a:lnTo>
                    <a:pt x="251" y="378"/>
                  </a:lnTo>
                  <a:lnTo>
                    <a:pt x="251" y="378"/>
                  </a:lnTo>
                  <a:lnTo>
                    <a:pt x="250" y="378"/>
                  </a:lnTo>
                  <a:lnTo>
                    <a:pt x="249" y="378"/>
                  </a:lnTo>
                  <a:lnTo>
                    <a:pt x="247" y="378"/>
                  </a:lnTo>
                  <a:lnTo>
                    <a:pt x="246" y="378"/>
                  </a:lnTo>
                  <a:lnTo>
                    <a:pt x="246" y="378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4" y="379"/>
                  </a:lnTo>
                  <a:lnTo>
                    <a:pt x="244" y="379"/>
                  </a:lnTo>
                  <a:lnTo>
                    <a:pt x="243" y="379"/>
                  </a:lnTo>
                  <a:lnTo>
                    <a:pt x="243" y="380"/>
                  </a:lnTo>
                  <a:lnTo>
                    <a:pt x="242" y="381"/>
                  </a:lnTo>
                  <a:lnTo>
                    <a:pt x="242" y="382"/>
                  </a:lnTo>
                  <a:lnTo>
                    <a:pt x="241" y="385"/>
                  </a:lnTo>
                  <a:lnTo>
                    <a:pt x="240" y="386"/>
                  </a:lnTo>
                  <a:lnTo>
                    <a:pt x="240" y="386"/>
                  </a:lnTo>
                  <a:lnTo>
                    <a:pt x="240" y="387"/>
                  </a:lnTo>
                  <a:lnTo>
                    <a:pt x="239" y="388"/>
                  </a:lnTo>
                  <a:lnTo>
                    <a:pt x="239" y="388"/>
                  </a:lnTo>
                  <a:lnTo>
                    <a:pt x="238" y="388"/>
                  </a:lnTo>
                  <a:lnTo>
                    <a:pt x="237" y="389"/>
                  </a:lnTo>
                  <a:lnTo>
                    <a:pt x="237" y="389"/>
                  </a:lnTo>
                  <a:lnTo>
                    <a:pt x="235" y="389"/>
                  </a:lnTo>
                  <a:lnTo>
                    <a:pt x="233" y="389"/>
                  </a:lnTo>
                  <a:lnTo>
                    <a:pt x="232" y="389"/>
                  </a:lnTo>
                  <a:lnTo>
                    <a:pt x="230" y="389"/>
                  </a:lnTo>
                  <a:lnTo>
                    <a:pt x="228" y="389"/>
                  </a:lnTo>
                  <a:lnTo>
                    <a:pt x="227" y="390"/>
                  </a:lnTo>
                  <a:lnTo>
                    <a:pt x="224" y="391"/>
                  </a:lnTo>
                  <a:lnTo>
                    <a:pt x="223" y="391"/>
                  </a:lnTo>
                  <a:lnTo>
                    <a:pt x="221" y="392"/>
                  </a:lnTo>
                  <a:lnTo>
                    <a:pt x="220" y="393"/>
                  </a:lnTo>
                  <a:lnTo>
                    <a:pt x="219" y="393"/>
                  </a:lnTo>
                  <a:lnTo>
                    <a:pt x="219" y="394"/>
                  </a:lnTo>
                  <a:lnTo>
                    <a:pt x="218" y="395"/>
                  </a:lnTo>
                  <a:lnTo>
                    <a:pt x="217" y="396"/>
                  </a:lnTo>
                  <a:lnTo>
                    <a:pt x="216" y="398"/>
                  </a:lnTo>
                  <a:lnTo>
                    <a:pt x="214" y="399"/>
                  </a:lnTo>
                  <a:lnTo>
                    <a:pt x="213" y="400"/>
                  </a:lnTo>
                  <a:lnTo>
                    <a:pt x="212" y="401"/>
                  </a:lnTo>
                  <a:lnTo>
                    <a:pt x="211" y="402"/>
                  </a:lnTo>
                  <a:lnTo>
                    <a:pt x="210" y="403"/>
                  </a:lnTo>
                  <a:lnTo>
                    <a:pt x="208" y="404"/>
                  </a:lnTo>
                  <a:lnTo>
                    <a:pt x="207" y="405"/>
                  </a:lnTo>
                  <a:lnTo>
                    <a:pt x="206" y="405"/>
                  </a:lnTo>
                  <a:lnTo>
                    <a:pt x="205" y="406"/>
                  </a:lnTo>
                  <a:lnTo>
                    <a:pt x="205" y="406"/>
                  </a:lnTo>
                  <a:lnTo>
                    <a:pt x="203" y="408"/>
                  </a:lnTo>
                  <a:lnTo>
                    <a:pt x="201" y="410"/>
                  </a:lnTo>
                  <a:lnTo>
                    <a:pt x="201" y="410"/>
                  </a:lnTo>
                  <a:lnTo>
                    <a:pt x="200" y="412"/>
                  </a:lnTo>
                  <a:lnTo>
                    <a:pt x="198" y="414"/>
                  </a:lnTo>
                  <a:lnTo>
                    <a:pt x="198" y="414"/>
                  </a:lnTo>
                  <a:lnTo>
                    <a:pt x="197" y="415"/>
                  </a:lnTo>
                  <a:lnTo>
                    <a:pt x="197" y="415"/>
                  </a:lnTo>
                  <a:lnTo>
                    <a:pt x="196" y="415"/>
                  </a:lnTo>
                  <a:lnTo>
                    <a:pt x="196" y="415"/>
                  </a:lnTo>
                  <a:lnTo>
                    <a:pt x="195" y="415"/>
                  </a:lnTo>
                  <a:lnTo>
                    <a:pt x="195" y="415"/>
                  </a:lnTo>
                  <a:lnTo>
                    <a:pt x="194" y="415"/>
                  </a:lnTo>
                  <a:lnTo>
                    <a:pt x="193" y="415"/>
                  </a:lnTo>
                  <a:lnTo>
                    <a:pt x="191" y="413"/>
                  </a:lnTo>
                  <a:lnTo>
                    <a:pt x="190" y="413"/>
                  </a:lnTo>
                  <a:lnTo>
                    <a:pt x="189" y="412"/>
                  </a:lnTo>
                  <a:lnTo>
                    <a:pt x="188" y="412"/>
                  </a:lnTo>
                  <a:lnTo>
                    <a:pt x="187" y="411"/>
                  </a:lnTo>
                  <a:lnTo>
                    <a:pt x="186" y="411"/>
                  </a:lnTo>
                  <a:lnTo>
                    <a:pt x="185" y="411"/>
                  </a:lnTo>
                  <a:lnTo>
                    <a:pt x="184" y="411"/>
                  </a:lnTo>
                  <a:lnTo>
                    <a:pt x="180" y="412"/>
                  </a:lnTo>
                  <a:lnTo>
                    <a:pt x="179" y="412"/>
                  </a:lnTo>
                  <a:lnTo>
                    <a:pt x="178" y="412"/>
                  </a:lnTo>
                  <a:lnTo>
                    <a:pt x="178" y="412"/>
                  </a:lnTo>
                  <a:lnTo>
                    <a:pt x="177" y="412"/>
                  </a:lnTo>
                  <a:lnTo>
                    <a:pt x="177" y="413"/>
                  </a:lnTo>
                  <a:lnTo>
                    <a:pt x="177" y="413"/>
                  </a:lnTo>
                  <a:lnTo>
                    <a:pt x="176" y="413"/>
                  </a:lnTo>
                  <a:lnTo>
                    <a:pt x="174" y="416"/>
                  </a:lnTo>
                  <a:lnTo>
                    <a:pt x="173" y="418"/>
                  </a:lnTo>
                  <a:lnTo>
                    <a:pt x="173" y="418"/>
                  </a:lnTo>
                  <a:lnTo>
                    <a:pt x="172" y="419"/>
                  </a:lnTo>
                  <a:lnTo>
                    <a:pt x="171" y="420"/>
                  </a:lnTo>
                  <a:lnTo>
                    <a:pt x="171" y="420"/>
                  </a:lnTo>
                  <a:lnTo>
                    <a:pt x="170" y="421"/>
                  </a:lnTo>
                  <a:lnTo>
                    <a:pt x="170" y="421"/>
                  </a:lnTo>
                  <a:lnTo>
                    <a:pt x="169" y="421"/>
                  </a:lnTo>
                  <a:lnTo>
                    <a:pt x="169" y="421"/>
                  </a:lnTo>
                  <a:lnTo>
                    <a:pt x="168" y="421"/>
                  </a:lnTo>
                  <a:lnTo>
                    <a:pt x="167" y="421"/>
                  </a:lnTo>
                  <a:lnTo>
                    <a:pt x="166" y="420"/>
                  </a:lnTo>
                  <a:lnTo>
                    <a:pt x="165" y="420"/>
                  </a:lnTo>
                  <a:lnTo>
                    <a:pt x="164" y="420"/>
                  </a:lnTo>
                  <a:lnTo>
                    <a:pt x="164" y="419"/>
                  </a:lnTo>
                  <a:lnTo>
                    <a:pt x="162" y="418"/>
                  </a:lnTo>
                  <a:lnTo>
                    <a:pt x="161" y="417"/>
                  </a:lnTo>
                  <a:lnTo>
                    <a:pt x="160" y="417"/>
                  </a:lnTo>
                  <a:lnTo>
                    <a:pt x="159" y="417"/>
                  </a:lnTo>
                  <a:lnTo>
                    <a:pt x="159" y="417"/>
                  </a:lnTo>
                  <a:lnTo>
                    <a:pt x="158" y="417"/>
                  </a:lnTo>
                  <a:lnTo>
                    <a:pt x="157" y="417"/>
                  </a:lnTo>
                  <a:lnTo>
                    <a:pt x="156" y="417"/>
                  </a:lnTo>
                  <a:lnTo>
                    <a:pt x="155" y="417"/>
                  </a:lnTo>
                  <a:lnTo>
                    <a:pt x="154" y="417"/>
                  </a:lnTo>
                  <a:lnTo>
                    <a:pt x="153" y="418"/>
                  </a:lnTo>
                  <a:lnTo>
                    <a:pt x="153" y="418"/>
                  </a:lnTo>
                  <a:lnTo>
                    <a:pt x="152" y="418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8"/>
                  </a:lnTo>
                  <a:lnTo>
                    <a:pt x="151" y="417"/>
                  </a:lnTo>
                  <a:lnTo>
                    <a:pt x="150" y="415"/>
                  </a:lnTo>
                  <a:lnTo>
                    <a:pt x="150" y="414"/>
                  </a:lnTo>
                  <a:lnTo>
                    <a:pt x="149" y="414"/>
                  </a:lnTo>
                  <a:lnTo>
                    <a:pt x="149" y="413"/>
                  </a:lnTo>
                  <a:lnTo>
                    <a:pt x="148" y="412"/>
                  </a:lnTo>
                  <a:lnTo>
                    <a:pt x="148" y="412"/>
                  </a:lnTo>
                  <a:lnTo>
                    <a:pt x="147" y="411"/>
                  </a:lnTo>
                  <a:lnTo>
                    <a:pt x="145" y="410"/>
                  </a:lnTo>
                  <a:lnTo>
                    <a:pt x="144" y="409"/>
                  </a:lnTo>
                  <a:lnTo>
                    <a:pt x="143" y="408"/>
                  </a:lnTo>
                  <a:lnTo>
                    <a:pt x="141" y="408"/>
                  </a:lnTo>
                  <a:lnTo>
                    <a:pt x="139" y="407"/>
                  </a:lnTo>
                  <a:lnTo>
                    <a:pt x="138" y="406"/>
                  </a:lnTo>
                  <a:lnTo>
                    <a:pt x="137" y="406"/>
                  </a:lnTo>
                  <a:lnTo>
                    <a:pt x="136" y="405"/>
                  </a:lnTo>
                  <a:lnTo>
                    <a:pt x="135" y="404"/>
                  </a:lnTo>
                  <a:lnTo>
                    <a:pt x="134" y="403"/>
                  </a:lnTo>
                  <a:lnTo>
                    <a:pt x="134" y="403"/>
                  </a:lnTo>
                  <a:lnTo>
                    <a:pt x="133" y="400"/>
                  </a:lnTo>
                  <a:lnTo>
                    <a:pt x="132" y="400"/>
                  </a:lnTo>
                  <a:lnTo>
                    <a:pt x="132" y="399"/>
                  </a:lnTo>
                  <a:lnTo>
                    <a:pt x="131" y="398"/>
                  </a:lnTo>
                  <a:lnTo>
                    <a:pt x="131" y="398"/>
                  </a:lnTo>
                  <a:lnTo>
                    <a:pt x="130" y="398"/>
                  </a:lnTo>
                  <a:lnTo>
                    <a:pt x="129" y="398"/>
                  </a:lnTo>
                  <a:lnTo>
                    <a:pt x="129" y="398"/>
                  </a:lnTo>
                  <a:lnTo>
                    <a:pt x="128" y="398"/>
                  </a:lnTo>
                  <a:lnTo>
                    <a:pt x="126" y="397"/>
                  </a:lnTo>
                  <a:lnTo>
                    <a:pt x="125" y="397"/>
                  </a:lnTo>
                  <a:lnTo>
                    <a:pt x="125" y="397"/>
                  </a:lnTo>
                  <a:lnTo>
                    <a:pt x="125" y="397"/>
                  </a:lnTo>
                  <a:lnTo>
                    <a:pt x="124" y="397"/>
                  </a:lnTo>
                  <a:lnTo>
                    <a:pt x="124" y="396"/>
                  </a:lnTo>
                  <a:lnTo>
                    <a:pt x="124" y="396"/>
                  </a:lnTo>
                  <a:lnTo>
                    <a:pt x="124" y="395"/>
                  </a:lnTo>
                  <a:lnTo>
                    <a:pt x="124" y="395"/>
                  </a:lnTo>
                  <a:lnTo>
                    <a:pt x="124" y="394"/>
                  </a:lnTo>
                  <a:lnTo>
                    <a:pt x="124" y="394"/>
                  </a:lnTo>
                  <a:lnTo>
                    <a:pt x="125" y="393"/>
                  </a:lnTo>
                  <a:lnTo>
                    <a:pt x="126" y="392"/>
                  </a:lnTo>
                  <a:lnTo>
                    <a:pt x="127" y="390"/>
                  </a:lnTo>
                  <a:lnTo>
                    <a:pt x="128" y="389"/>
                  </a:lnTo>
                  <a:lnTo>
                    <a:pt x="129" y="388"/>
                  </a:lnTo>
                  <a:lnTo>
                    <a:pt x="130" y="387"/>
                  </a:lnTo>
                  <a:lnTo>
                    <a:pt x="132" y="384"/>
                  </a:lnTo>
                  <a:lnTo>
                    <a:pt x="133" y="384"/>
                  </a:lnTo>
                  <a:lnTo>
                    <a:pt x="133" y="383"/>
                  </a:lnTo>
                  <a:lnTo>
                    <a:pt x="134" y="382"/>
                  </a:lnTo>
                  <a:lnTo>
                    <a:pt x="134" y="381"/>
                  </a:lnTo>
                  <a:lnTo>
                    <a:pt x="135" y="379"/>
                  </a:lnTo>
                  <a:lnTo>
                    <a:pt x="135" y="378"/>
                  </a:lnTo>
                  <a:lnTo>
                    <a:pt x="136" y="377"/>
                  </a:lnTo>
                  <a:lnTo>
                    <a:pt x="138" y="375"/>
                  </a:lnTo>
                  <a:lnTo>
                    <a:pt x="138" y="374"/>
                  </a:lnTo>
                  <a:lnTo>
                    <a:pt x="138" y="373"/>
                  </a:lnTo>
                  <a:lnTo>
                    <a:pt x="138" y="373"/>
                  </a:lnTo>
                  <a:lnTo>
                    <a:pt x="139" y="372"/>
                  </a:lnTo>
                  <a:lnTo>
                    <a:pt x="139" y="370"/>
                  </a:lnTo>
                  <a:lnTo>
                    <a:pt x="139" y="369"/>
                  </a:lnTo>
                  <a:lnTo>
                    <a:pt x="140" y="368"/>
                  </a:lnTo>
                  <a:lnTo>
                    <a:pt x="140" y="367"/>
                  </a:lnTo>
                  <a:lnTo>
                    <a:pt x="141" y="365"/>
                  </a:lnTo>
                  <a:lnTo>
                    <a:pt x="142" y="364"/>
                  </a:lnTo>
                  <a:lnTo>
                    <a:pt x="143" y="363"/>
                  </a:lnTo>
                  <a:lnTo>
                    <a:pt x="143" y="362"/>
                  </a:lnTo>
                  <a:lnTo>
                    <a:pt x="144" y="362"/>
                  </a:lnTo>
                  <a:lnTo>
                    <a:pt x="144" y="362"/>
                  </a:lnTo>
                  <a:lnTo>
                    <a:pt x="144" y="361"/>
                  </a:lnTo>
                  <a:lnTo>
                    <a:pt x="145" y="361"/>
                  </a:lnTo>
                  <a:lnTo>
                    <a:pt x="148" y="361"/>
                  </a:lnTo>
                  <a:lnTo>
                    <a:pt x="150" y="360"/>
                  </a:lnTo>
                  <a:lnTo>
                    <a:pt x="151" y="360"/>
                  </a:lnTo>
                  <a:lnTo>
                    <a:pt x="152" y="359"/>
                  </a:lnTo>
                  <a:lnTo>
                    <a:pt x="152" y="359"/>
                  </a:lnTo>
                  <a:lnTo>
                    <a:pt x="153" y="359"/>
                  </a:lnTo>
                  <a:lnTo>
                    <a:pt x="153" y="358"/>
                  </a:lnTo>
                  <a:lnTo>
                    <a:pt x="153" y="358"/>
                  </a:lnTo>
                  <a:lnTo>
                    <a:pt x="154" y="357"/>
                  </a:lnTo>
                  <a:lnTo>
                    <a:pt x="154" y="356"/>
                  </a:lnTo>
                  <a:lnTo>
                    <a:pt x="154" y="355"/>
                  </a:lnTo>
                  <a:lnTo>
                    <a:pt x="154" y="354"/>
                  </a:lnTo>
                  <a:lnTo>
                    <a:pt x="154" y="354"/>
                  </a:lnTo>
                  <a:lnTo>
                    <a:pt x="154" y="353"/>
                  </a:lnTo>
                  <a:lnTo>
                    <a:pt x="154" y="352"/>
                  </a:lnTo>
                  <a:lnTo>
                    <a:pt x="153" y="351"/>
                  </a:lnTo>
                  <a:lnTo>
                    <a:pt x="151" y="348"/>
                  </a:lnTo>
                  <a:lnTo>
                    <a:pt x="151" y="348"/>
                  </a:lnTo>
                  <a:lnTo>
                    <a:pt x="150" y="347"/>
                  </a:lnTo>
                  <a:lnTo>
                    <a:pt x="149" y="347"/>
                  </a:lnTo>
                  <a:lnTo>
                    <a:pt x="148" y="345"/>
                  </a:lnTo>
                  <a:lnTo>
                    <a:pt x="146" y="345"/>
                  </a:lnTo>
                  <a:lnTo>
                    <a:pt x="146" y="344"/>
                  </a:lnTo>
                  <a:lnTo>
                    <a:pt x="145" y="343"/>
                  </a:lnTo>
                  <a:lnTo>
                    <a:pt x="145" y="343"/>
                  </a:lnTo>
                  <a:lnTo>
                    <a:pt x="144" y="342"/>
                  </a:lnTo>
                  <a:lnTo>
                    <a:pt x="144" y="342"/>
                  </a:lnTo>
                  <a:lnTo>
                    <a:pt x="144" y="341"/>
                  </a:lnTo>
                  <a:lnTo>
                    <a:pt x="144" y="341"/>
                  </a:lnTo>
                  <a:lnTo>
                    <a:pt x="144" y="340"/>
                  </a:lnTo>
                  <a:lnTo>
                    <a:pt x="144" y="339"/>
                  </a:lnTo>
                  <a:lnTo>
                    <a:pt x="145" y="339"/>
                  </a:lnTo>
                  <a:lnTo>
                    <a:pt x="144" y="338"/>
                  </a:lnTo>
                  <a:lnTo>
                    <a:pt x="144" y="338"/>
                  </a:lnTo>
                  <a:lnTo>
                    <a:pt x="144" y="337"/>
                  </a:lnTo>
                  <a:lnTo>
                    <a:pt x="144" y="336"/>
                  </a:lnTo>
                  <a:lnTo>
                    <a:pt x="143" y="336"/>
                  </a:lnTo>
                  <a:lnTo>
                    <a:pt x="143" y="336"/>
                  </a:lnTo>
                  <a:lnTo>
                    <a:pt x="142" y="335"/>
                  </a:lnTo>
                  <a:lnTo>
                    <a:pt x="141" y="335"/>
                  </a:lnTo>
                  <a:lnTo>
                    <a:pt x="140" y="334"/>
                  </a:lnTo>
                  <a:lnTo>
                    <a:pt x="140" y="334"/>
                  </a:lnTo>
                  <a:lnTo>
                    <a:pt x="139" y="334"/>
                  </a:lnTo>
                  <a:lnTo>
                    <a:pt x="139" y="334"/>
                  </a:lnTo>
                  <a:lnTo>
                    <a:pt x="138" y="334"/>
                  </a:lnTo>
                  <a:lnTo>
                    <a:pt x="138" y="334"/>
                  </a:lnTo>
                  <a:lnTo>
                    <a:pt x="137" y="334"/>
                  </a:lnTo>
                  <a:lnTo>
                    <a:pt x="137" y="334"/>
                  </a:lnTo>
                  <a:lnTo>
                    <a:pt x="135" y="335"/>
                  </a:lnTo>
                  <a:lnTo>
                    <a:pt x="135" y="335"/>
                  </a:lnTo>
                  <a:lnTo>
                    <a:pt x="134" y="335"/>
                  </a:lnTo>
                  <a:lnTo>
                    <a:pt x="132" y="336"/>
                  </a:lnTo>
                  <a:lnTo>
                    <a:pt x="130" y="336"/>
                  </a:lnTo>
                  <a:lnTo>
                    <a:pt x="129" y="336"/>
                  </a:lnTo>
                  <a:lnTo>
                    <a:pt x="126" y="337"/>
                  </a:lnTo>
                  <a:lnTo>
                    <a:pt x="125" y="338"/>
                  </a:lnTo>
                  <a:lnTo>
                    <a:pt x="124" y="338"/>
                  </a:lnTo>
                  <a:lnTo>
                    <a:pt x="123" y="338"/>
                  </a:lnTo>
                  <a:lnTo>
                    <a:pt x="121" y="338"/>
                  </a:lnTo>
                  <a:lnTo>
                    <a:pt x="119" y="338"/>
                  </a:lnTo>
                  <a:lnTo>
                    <a:pt x="117" y="338"/>
                  </a:lnTo>
                  <a:lnTo>
                    <a:pt x="115" y="338"/>
                  </a:lnTo>
                  <a:lnTo>
                    <a:pt x="114" y="338"/>
                  </a:lnTo>
                  <a:lnTo>
                    <a:pt x="113" y="338"/>
                  </a:lnTo>
                  <a:lnTo>
                    <a:pt x="110" y="337"/>
                  </a:lnTo>
                  <a:lnTo>
                    <a:pt x="109" y="337"/>
                  </a:lnTo>
                  <a:lnTo>
                    <a:pt x="108" y="336"/>
                  </a:lnTo>
                  <a:lnTo>
                    <a:pt x="108" y="336"/>
                  </a:lnTo>
                  <a:lnTo>
                    <a:pt x="107" y="336"/>
                  </a:lnTo>
                  <a:lnTo>
                    <a:pt x="106" y="337"/>
                  </a:lnTo>
                  <a:lnTo>
                    <a:pt x="105" y="337"/>
                  </a:lnTo>
                  <a:lnTo>
                    <a:pt x="103" y="337"/>
                  </a:lnTo>
                  <a:lnTo>
                    <a:pt x="103" y="338"/>
                  </a:lnTo>
                  <a:lnTo>
                    <a:pt x="103" y="338"/>
                  </a:lnTo>
                  <a:lnTo>
                    <a:pt x="102" y="338"/>
                  </a:lnTo>
                  <a:lnTo>
                    <a:pt x="102" y="338"/>
                  </a:lnTo>
                  <a:lnTo>
                    <a:pt x="101" y="338"/>
                  </a:lnTo>
                  <a:lnTo>
                    <a:pt x="101" y="337"/>
                  </a:lnTo>
                  <a:lnTo>
                    <a:pt x="98" y="336"/>
                  </a:lnTo>
                  <a:lnTo>
                    <a:pt x="94" y="333"/>
                  </a:lnTo>
                  <a:lnTo>
                    <a:pt x="92" y="332"/>
                  </a:lnTo>
                  <a:lnTo>
                    <a:pt x="90" y="331"/>
                  </a:lnTo>
                  <a:lnTo>
                    <a:pt x="90" y="330"/>
                  </a:lnTo>
                  <a:lnTo>
                    <a:pt x="87" y="328"/>
                  </a:lnTo>
                  <a:lnTo>
                    <a:pt x="84" y="326"/>
                  </a:lnTo>
                  <a:lnTo>
                    <a:pt x="83" y="325"/>
                  </a:lnTo>
                  <a:lnTo>
                    <a:pt x="81" y="323"/>
                  </a:lnTo>
                  <a:lnTo>
                    <a:pt x="81" y="323"/>
                  </a:lnTo>
                  <a:lnTo>
                    <a:pt x="80" y="322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8" y="319"/>
                  </a:lnTo>
                  <a:lnTo>
                    <a:pt x="78" y="317"/>
                  </a:lnTo>
                  <a:lnTo>
                    <a:pt x="78" y="316"/>
                  </a:lnTo>
                  <a:lnTo>
                    <a:pt x="78" y="315"/>
                  </a:lnTo>
                  <a:lnTo>
                    <a:pt x="78" y="313"/>
                  </a:lnTo>
                  <a:lnTo>
                    <a:pt x="78" y="312"/>
                  </a:lnTo>
                  <a:lnTo>
                    <a:pt x="78" y="309"/>
                  </a:lnTo>
                  <a:lnTo>
                    <a:pt x="79" y="307"/>
                  </a:lnTo>
                  <a:lnTo>
                    <a:pt x="79" y="306"/>
                  </a:lnTo>
                  <a:lnTo>
                    <a:pt x="79" y="305"/>
                  </a:lnTo>
                  <a:lnTo>
                    <a:pt x="78" y="304"/>
                  </a:lnTo>
                  <a:lnTo>
                    <a:pt x="78" y="303"/>
                  </a:lnTo>
                  <a:lnTo>
                    <a:pt x="78" y="301"/>
                  </a:lnTo>
                  <a:lnTo>
                    <a:pt x="78" y="300"/>
                  </a:lnTo>
                  <a:lnTo>
                    <a:pt x="77" y="299"/>
                  </a:lnTo>
                  <a:lnTo>
                    <a:pt x="77" y="298"/>
                  </a:lnTo>
                  <a:lnTo>
                    <a:pt x="76" y="297"/>
                  </a:lnTo>
                  <a:lnTo>
                    <a:pt x="76" y="297"/>
                  </a:lnTo>
                  <a:lnTo>
                    <a:pt x="75" y="296"/>
                  </a:lnTo>
                  <a:lnTo>
                    <a:pt x="75" y="296"/>
                  </a:lnTo>
                  <a:lnTo>
                    <a:pt x="74" y="296"/>
                  </a:lnTo>
                  <a:lnTo>
                    <a:pt x="74" y="295"/>
                  </a:lnTo>
                  <a:lnTo>
                    <a:pt x="73" y="295"/>
                  </a:lnTo>
                  <a:lnTo>
                    <a:pt x="72" y="295"/>
                  </a:lnTo>
                  <a:lnTo>
                    <a:pt x="71" y="295"/>
                  </a:lnTo>
                  <a:lnTo>
                    <a:pt x="70" y="295"/>
                  </a:lnTo>
                  <a:lnTo>
                    <a:pt x="69" y="295"/>
                  </a:lnTo>
                  <a:lnTo>
                    <a:pt x="66" y="295"/>
                  </a:lnTo>
                  <a:lnTo>
                    <a:pt x="63" y="296"/>
                  </a:lnTo>
                  <a:lnTo>
                    <a:pt x="62" y="296"/>
                  </a:lnTo>
                  <a:lnTo>
                    <a:pt x="61" y="296"/>
                  </a:lnTo>
                  <a:lnTo>
                    <a:pt x="58" y="296"/>
                  </a:lnTo>
                  <a:lnTo>
                    <a:pt x="57" y="297"/>
                  </a:lnTo>
                  <a:lnTo>
                    <a:pt x="53" y="297"/>
                  </a:lnTo>
                  <a:lnTo>
                    <a:pt x="53" y="297"/>
                  </a:lnTo>
                  <a:lnTo>
                    <a:pt x="52" y="297"/>
                  </a:lnTo>
                  <a:lnTo>
                    <a:pt x="51" y="297"/>
                  </a:lnTo>
                  <a:lnTo>
                    <a:pt x="51" y="297"/>
                  </a:lnTo>
                  <a:lnTo>
                    <a:pt x="51" y="296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8" y="294"/>
                  </a:lnTo>
                  <a:lnTo>
                    <a:pt x="47" y="293"/>
                  </a:lnTo>
                  <a:lnTo>
                    <a:pt x="46" y="293"/>
                  </a:lnTo>
                  <a:lnTo>
                    <a:pt x="43" y="292"/>
                  </a:lnTo>
                  <a:lnTo>
                    <a:pt x="40" y="291"/>
                  </a:lnTo>
                  <a:lnTo>
                    <a:pt x="35" y="289"/>
                  </a:lnTo>
                  <a:lnTo>
                    <a:pt x="34" y="289"/>
                  </a:lnTo>
                  <a:lnTo>
                    <a:pt x="33" y="289"/>
                  </a:lnTo>
                  <a:lnTo>
                    <a:pt x="33" y="289"/>
                  </a:lnTo>
                  <a:lnTo>
                    <a:pt x="32" y="289"/>
                  </a:lnTo>
                  <a:lnTo>
                    <a:pt x="32" y="289"/>
                  </a:lnTo>
                  <a:lnTo>
                    <a:pt x="31" y="290"/>
                  </a:lnTo>
                  <a:lnTo>
                    <a:pt x="30" y="290"/>
                  </a:lnTo>
                  <a:lnTo>
                    <a:pt x="27" y="291"/>
                  </a:lnTo>
                  <a:lnTo>
                    <a:pt x="26" y="292"/>
                  </a:lnTo>
                  <a:lnTo>
                    <a:pt x="25" y="292"/>
                  </a:lnTo>
                  <a:lnTo>
                    <a:pt x="24" y="292"/>
                  </a:lnTo>
                  <a:lnTo>
                    <a:pt x="23" y="293"/>
                  </a:lnTo>
                  <a:lnTo>
                    <a:pt x="22" y="293"/>
                  </a:lnTo>
                  <a:lnTo>
                    <a:pt x="21" y="292"/>
                  </a:lnTo>
                  <a:lnTo>
                    <a:pt x="20" y="292"/>
                  </a:lnTo>
                  <a:lnTo>
                    <a:pt x="19" y="292"/>
                  </a:lnTo>
                  <a:lnTo>
                    <a:pt x="18" y="291"/>
                  </a:lnTo>
                  <a:lnTo>
                    <a:pt x="17" y="291"/>
                  </a:lnTo>
                  <a:lnTo>
                    <a:pt x="17" y="291"/>
                  </a:lnTo>
                  <a:lnTo>
                    <a:pt x="17" y="290"/>
                  </a:lnTo>
                  <a:lnTo>
                    <a:pt x="16" y="289"/>
                  </a:lnTo>
                  <a:lnTo>
                    <a:pt x="14" y="287"/>
                  </a:lnTo>
                  <a:lnTo>
                    <a:pt x="13" y="286"/>
                  </a:lnTo>
                  <a:lnTo>
                    <a:pt x="12" y="284"/>
                  </a:lnTo>
                  <a:lnTo>
                    <a:pt x="11" y="284"/>
                  </a:lnTo>
                  <a:lnTo>
                    <a:pt x="10" y="283"/>
                  </a:lnTo>
                  <a:lnTo>
                    <a:pt x="10" y="283"/>
                  </a:lnTo>
                  <a:lnTo>
                    <a:pt x="9" y="283"/>
                  </a:lnTo>
                  <a:lnTo>
                    <a:pt x="8" y="283"/>
                  </a:lnTo>
                  <a:lnTo>
                    <a:pt x="8" y="282"/>
                  </a:lnTo>
                  <a:lnTo>
                    <a:pt x="7" y="282"/>
                  </a:lnTo>
                  <a:lnTo>
                    <a:pt x="4" y="282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2" y="281"/>
                  </a:lnTo>
                  <a:lnTo>
                    <a:pt x="1" y="281"/>
                  </a:lnTo>
                  <a:lnTo>
                    <a:pt x="0" y="281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79"/>
                  </a:lnTo>
                  <a:lnTo>
                    <a:pt x="1" y="279"/>
                  </a:lnTo>
                  <a:lnTo>
                    <a:pt x="2" y="278"/>
                  </a:lnTo>
                  <a:lnTo>
                    <a:pt x="2" y="278"/>
                  </a:lnTo>
                  <a:lnTo>
                    <a:pt x="3" y="278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6"/>
                  </a:lnTo>
                  <a:lnTo>
                    <a:pt x="3" y="275"/>
                  </a:lnTo>
                  <a:lnTo>
                    <a:pt x="3" y="274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Freeform 30">
              <a:extLst>
                <a:ext uri="{FF2B5EF4-FFF2-40B4-BE49-F238E27FC236}">
                  <a16:creationId xmlns:a16="http://schemas.microsoft.com/office/drawing/2014/main" id="{0288C28E-0091-9909-959A-9958519CCE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" y="3418"/>
              <a:ext cx="185" cy="278"/>
            </a:xfrm>
            <a:custGeom>
              <a:avLst/>
              <a:gdLst>
                <a:gd name="T0" fmla="*/ 60 w 185"/>
                <a:gd name="T1" fmla="*/ 275 h 278"/>
                <a:gd name="T2" fmla="*/ 51 w 185"/>
                <a:gd name="T3" fmla="*/ 271 h 278"/>
                <a:gd name="T4" fmla="*/ 42 w 185"/>
                <a:gd name="T5" fmla="*/ 266 h 278"/>
                <a:gd name="T6" fmla="*/ 36 w 185"/>
                <a:gd name="T7" fmla="*/ 266 h 278"/>
                <a:gd name="T8" fmla="*/ 26 w 185"/>
                <a:gd name="T9" fmla="*/ 269 h 278"/>
                <a:gd name="T10" fmla="*/ 17 w 185"/>
                <a:gd name="T11" fmla="*/ 262 h 278"/>
                <a:gd name="T12" fmla="*/ 6 w 185"/>
                <a:gd name="T13" fmla="*/ 249 h 278"/>
                <a:gd name="T14" fmla="*/ 5 w 185"/>
                <a:gd name="T15" fmla="*/ 244 h 278"/>
                <a:gd name="T16" fmla="*/ 9 w 185"/>
                <a:gd name="T17" fmla="*/ 237 h 278"/>
                <a:gd name="T18" fmla="*/ 8 w 185"/>
                <a:gd name="T19" fmla="*/ 232 h 278"/>
                <a:gd name="T20" fmla="*/ 1 w 185"/>
                <a:gd name="T21" fmla="*/ 226 h 278"/>
                <a:gd name="T22" fmla="*/ 0 w 185"/>
                <a:gd name="T23" fmla="*/ 220 h 278"/>
                <a:gd name="T24" fmla="*/ 4 w 185"/>
                <a:gd name="T25" fmla="*/ 205 h 278"/>
                <a:gd name="T26" fmla="*/ 3 w 185"/>
                <a:gd name="T27" fmla="*/ 201 h 278"/>
                <a:gd name="T28" fmla="*/ 8 w 185"/>
                <a:gd name="T29" fmla="*/ 187 h 278"/>
                <a:gd name="T30" fmla="*/ 9 w 185"/>
                <a:gd name="T31" fmla="*/ 176 h 278"/>
                <a:gd name="T32" fmla="*/ 8 w 185"/>
                <a:gd name="T33" fmla="*/ 168 h 278"/>
                <a:gd name="T34" fmla="*/ 5 w 185"/>
                <a:gd name="T35" fmla="*/ 161 h 278"/>
                <a:gd name="T36" fmla="*/ 7 w 185"/>
                <a:gd name="T37" fmla="*/ 158 h 278"/>
                <a:gd name="T38" fmla="*/ 12 w 185"/>
                <a:gd name="T39" fmla="*/ 155 h 278"/>
                <a:gd name="T40" fmla="*/ 11 w 185"/>
                <a:gd name="T41" fmla="*/ 146 h 278"/>
                <a:gd name="T42" fmla="*/ 13 w 185"/>
                <a:gd name="T43" fmla="*/ 138 h 278"/>
                <a:gd name="T44" fmla="*/ 15 w 185"/>
                <a:gd name="T45" fmla="*/ 133 h 278"/>
                <a:gd name="T46" fmla="*/ 24 w 185"/>
                <a:gd name="T47" fmla="*/ 130 h 278"/>
                <a:gd name="T48" fmla="*/ 26 w 185"/>
                <a:gd name="T49" fmla="*/ 128 h 278"/>
                <a:gd name="T50" fmla="*/ 26 w 185"/>
                <a:gd name="T51" fmla="*/ 122 h 278"/>
                <a:gd name="T52" fmla="*/ 30 w 185"/>
                <a:gd name="T53" fmla="*/ 120 h 278"/>
                <a:gd name="T54" fmla="*/ 39 w 185"/>
                <a:gd name="T55" fmla="*/ 122 h 278"/>
                <a:gd name="T56" fmla="*/ 52 w 185"/>
                <a:gd name="T57" fmla="*/ 123 h 278"/>
                <a:gd name="T58" fmla="*/ 64 w 185"/>
                <a:gd name="T59" fmla="*/ 119 h 278"/>
                <a:gd name="T60" fmla="*/ 71 w 185"/>
                <a:gd name="T61" fmla="*/ 121 h 278"/>
                <a:gd name="T62" fmla="*/ 79 w 185"/>
                <a:gd name="T63" fmla="*/ 124 h 278"/>
                <a:gd name="T64" fmla="*/ 81 w 185"/>
                <a:gd name="T65" fmla="*/ 122 h 278"/>
                <a:gd name="T66" fmla="*/ 85 w 185"/>
                <a:gd name="T67" fmla="*/ 117 h 278"/>
                <a:gd name="T68" fmla="*/ 90 w 185"/>
                <a:gd name="T69" fmla="*/ 115 h 278"/>
                <a:gd name="T70" fmla="*/ 99 w 185"/>
                <a:gd name="T71" fmla="*/ 115 h 278"/>
                <a:gd name="T72" fmla="*/ 104 w 185"/>
                <a:gd name="T73" fmla="*/ 110 h 278"/>
                <a:gd name="T74" fmla="*/ 105 w 185"/>
                <a:gd name="T75" fmla="*/ 103 h 278"/>
                <a:gd name="T76" fmla="*/ 102 w 185"/>
                <a:gd name="T77" fmla="*/ 96 h 278"/>
                <a:gd name="T78" fmla="*/ 97 w 185"/>
                <a:gd name="T79" fmla="*/ 92 h 278"/>
                <a:gd name="T80" fmla="*/ 87 w 185"/>
                <a:gd name="T81" fmla="*/ 87 h 278"/>
                <a:gd name="T82" fmla="*/ 85 w 185"/>
                <a:gd name="T83" fmla="*/ 79 h 278"/>
                <a:gd name="T84" fmla="*/ 87 w 185"/>
                <a:gd name="T85" fmla="*/ 72 h 278"/>
                <a:gd name="T86" fmla="*/ 97 w 185"/>
                <a:gd name="T87" fmla="*/ 58 h 278"/>
                <a:gd name="T88" fmla="*/ 100 w 185"/>
                <a:gd name="T89" fmla="*/ 51 h 278"/>
                <a:gd name="T90" fmla="*/ 105 w 185"/>
                <a:gd name="T91" fmla="*/ 48 h 278"/>
                <a:gd name="T92" fmla="*/ 109 w 185"/>
                <a:gd name="T93" fmla="*/ 50 h 278"/>
                <a:gd name="T94" fmla="*/ 115 w 185"/>
                <a:gd name="T95" fmla="*/ 48 h 278"/>
                <a:gd name="T96" fmla="*/ 129 w 185"/>
                <a:gd name="T97" fmla="*/ 43 h 278"/>
                <a:gd name="T98" fmla="*/ 140 w 185"/>
                <a:gd name="T99" fmla="*/ 39 h 278"/>
                <a:gd name="T100" fmla="*/ 146 w 185"/>
                <a:gd name="T101" fmla="*/ 32 h 278"/>
                <a:gd name="T102" fmla="*/ 154 w 185"/>
                <a:gd name="T103" fmla="*/ 31 h 278"/>
                <a:gd name="T104" fmla="*/ 159 w 185"/>
                <a:gd name="T105" fmla="*/ 30 h 278"/>
                <a:gd name="T106" fmla="*/ 160 w 185"/>
                <a:gd name="T107" fmla="*/ 26 h 278"/>
                <a:gd name="T108" fmla="*/ 158 w 185"/>
                <a:gd name="T109" fmla="*/ 19 h 278"/>
                <a:gd name="T110" fmla="*/ 159 w 185"/>
                <a:gd name="T111" fmla="*/ 15 h 278"/>
                <a:gd name="T112" fmla="*/ 164 w 185"/>
                <a:gd name="T113" fmla="*/ 10 h 278"/>
                <a:gd name="T114" fmla="*/ 172 w 185"/>
                <a:gd name="T115" fmla="*/ 8 h 278"/>
                <a:gd name="T116" fmla="*/ 179 w 185"/>
                <a:gd name="T117" fmla="*/ 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5" h="278">
                  <a:moveTo>
                    <a:pt x="61" y="278"/>
                  </a:moveTo>
                  <a:lnTo>
                    <a:pt x="61" y="278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9" y="275"/>
                  </a:lnTo>
                  <a:lnTo>
                    <a:pt x="57" y="274"/>
                  </a:lnTo>
                  <a:lnTo>
                    <a:pt x="56" y="274"/>
                  </a:lnTo>
                  <a:lnTo>
                    <a:pt x="52" y="272"/>
                  </a:lnTo>
                  <a:lnTo>
                    <a:pt x="51" y="272"/>
                  </a:lnTo>
                  <a:lnTo>
                    <a:pt x="51" y="271"/>
                  </a:lnTo>
                  <a:lnTo>
                    <a:pt x="49" y="271"/>
                  </a:lnTo>
                  <a:lnTo>
                    <a:pt x="48" y="270"/>
                  </a:lnTo>
                  <a:lnTo>
                    <a:pt x="46" y="269"/>
                  </a:lnTo>
                  <a:lnTo>
                    <a:pt x="44" y="267"/>
                  </a:lnTo>
                  <a:lnTo>
                    <a:pt x="44" y="266"/>
                  </a:lnTo>
                  <a:lnTo>
                    <a:pt x="43" y="266"/>
                  </a:lnTo>
                  <a:lnTo>
                    <a:pt x="42" y="266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30" y="269"/>
                  </a:lnTo>
                  <a:lnTo>
                    <a:pt x="29" y="269"/>
                  </a:lnTo>
                  <a:lnTo>
                    <a:pt x="28" y="270"/>
                  </a:lnTo>
                  <a:lnTo>
                    <a:pt x="27" y="270"/>
                  </a:lnTo>
                  <a:lnTo>
                    <a:pt x="26" y="269"/>
                  </a:lnTo>
                  <a:lnTo>
                    <a:pt x="25" y="269"/>
                  </a:lnTo>
                  <a:lnTo>
                    <a:pt x="25" y="269"/>
                  </a:lnTo>
                  <a:lnTo>
                    <a:pt x="24" y="269"/>
                  </a:lnTo>
                  <a:lnTo>
                    <a:pt x="23" y="268"/>
                  </a:lnTo>
                  <a:lnTo>
                    <a:pt x="21" y="266"/>
                  </a:lnTo>
                  <a:lnTo>
                    <a:pt x="18" y="264"/>
                  </a:lnTo>
                  <a:lnTo>
                    <a:pt x="17" y="262"/>
                  </a:lnTo>
                  <a:lnTo>
                    <a:pt x="15" y="260"/>
                  </a:lnTo>
                  <a:lnTo>
                    <a:pt x="15" y="259"/>
                  </a:lnTo>
                  <a:lnTo>
                    <a:pt x="11" y="256"/>
                  </a:lnTo>
                  <a:lnTo>
                    <a:pt x="11" y="255"/>
                  </a:lnTo>
                  <a:lnTo>
                    <a:pt x="10" y="255"/>
                  </a:lnTo>
                  <a:lnTo>
                    <a:pt x="8" y="252"/>
                  </a:lnTo>
                  <a:lnTo>
                    <a:pt x="6" y="249"/>
                  </a:lnTo>
                  <a:lnTo>
                    <a:pt x="5" y="248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5" y="243"/>
                  </a:lnTo>
                  <a:lnTo>
                    <a:pt x="5" y="242"/>
                  </a:lnTo>
                  <a:lnTo>
                    <a:pt x="6" y="241"/>
                  </a:lnTo>
                  <a:lnTo>
                    <a:pt x="7" y="240"/>
                  </a:lnTo>
                  <a:lnTo>
                    <a:pt x="8" y="239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4"/>
                  </a:lnTo>
                  <a:lnTo>
                    <a:pt x="8" y="233"/>
                  </a:lnTo>
                  <a:lnTo>
                    <a:pt x="8" y="232"/>
                  </a:lnTo>
                  <a:lnTo>
                    <a:pt x="7" y="232"/>
                  </a:lnTo>
                  <a:lnTo>
                    <a:pt x="7" y="231"/>
                  </a:lnTo>
                  <a:lnTo>
                    <a:pt x="6" y="230"/>
                  </a:lnTo>
                  <a:lnTo>
                    <a:pt x="4" y="228"/>
                  </a:lnTo>
                  <a:lnTo>
                    <a:pt x="3" y="228"/>
                  </a:lnTo>
                  <a:lnTo>
                    <a:pt x="2" y="227"/>
                  </a:lnTo>
                  <a:lnTo>
                    <a:pt x="1" y="226"/>
                  </a:lnTo>
                  <a:lnTo>
                    <a:pt x="0" y="225"/>
                  </a:lnTo>
                  <a:lnTo>
                    <a:pt x="0" y="224"/>
                  </a:lnTo>
                  <a:lnTo>
                    <a:pt x="0" y="223"/>
                  </a:lnTo>
                  <a:lnTo>
                    <a:pt x="0" y="222"/>
                  </a:lnTo>
                  <a:lnTo>
                    <a:pt x="0" y="221"/>
                  </a:lnTo>
                  <a:lnTo>
                    <a:pt x="0" y="221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1" y="215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09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1"/>
                  </a:lnTo>
                  <a:lnTo>
                    <a:pt x="4" y="200"/>
                  </a:lnTo>
                  <a:lnTo>
                    <a:pt x="5" y="198"/>
                  </a:lnTo>
                  <a:lnTo>
                    <a:pt x="6" y="195"/>
                  </a:lnTo>
                  <a:lnTo>
                    <a:pt x="7" y="192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7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9" y="180"/>
                  </a:lnTo>
                  <a:lnTo>
                    <a:pt x="9" y="179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9" y="172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8" y="169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7" y="166"/>
                  </a:lnTo>
                  <a:lnTo>
                    <a:pt x="5" y="163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9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1" y="156"/>
                  </a:lnTo>
                  <a:lnTo>
                    <a:pt x="11" y="155"/>
                  </a:lnTo>
                  <a:lnTo>
                    <a:pt x="12" y="155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1" y="146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3" y="141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7" y="133"/>
                  </a:lnTo>
                  <a:lnTo>
                    <a:pt x="22" y="131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9" y="120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0"/>
                  </a:lnTo>
                  <a:lnTo>
                    <a:pt x="32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22"/>
                  </a:lnTo>
                  <a:lnTo>
                    <a:pt x="43" y="122"/>
                  </a:lnTo>
                  <a:lnTo>
                    <a:pt x="47" y="123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8" y="121"/>
                  </a:lnTo>
                  <a:lnTo>
                    <a:pt x="61" y="120"/>
                  </a:lnTo>
                  <a:lnTo>
                    <a:pt x="63" y="119"/>
                  </a:lnTo>
                  <a:lnTo>
                    <a:pt x="64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20"/>
                  </a:lnTo>
                  <a:lnTo>
                    <a:pt x="70" y="120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7" y="124"/>
                  </a:lnTo>
                  <a:lnTo>
                    <a:pt x="78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1" y="123"/>
                  </a:lnTo>
                  <a:lnTo>
                    <a:pt x="81" y="122"/>
                  </a:lnTo>
                  <a:lnTo>
                    <a:pt x="82" y="121"/>
                  </a:lnTo>
                  <a:lnTo>
                    <a:pt x="82" y="120"/>
                  </a:lnTo>
                  <a:lnTo>
                    <a:pt x="83" y="118"/>
                  </a:lnTo>
                  <a:lnTo>
                    <a:pt x="84" y="118"/>
                  </a:lnTo>
                  <a:lnTo>
                    <a:pt x="84" y="117"/>
                  </a:lnTo>
                  <a:lnTo>
                    <a:pt x="84" y="117"/>
                  </a:lnTo>
                  <a:lnTo>
                    <a:pt x="85" y="117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9" y="115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5" y="115"/>
                  </a:lnTo>
                  <a:lnTo>
                    <a:pt x="96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100" y="114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4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5" y="101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3" y="97"/>
                  </a:lnTo>
                  <a:lnTo>
                    <a:pt x="102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3"/>
                  </a:lnTo>
                  <a:lnTo>
                    <a:pt x="98" y="93"/>
                  </a:lnTo>
                  <a:lnTo>
                    <a:pt x="97" y="92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6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3"/>
                  </a:lnTo>
                  <a:lnTo>
                    <a:pt x="85" y="81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5" y="78"/>
                  </a:lnTo>
                  <a:lnTo>
                    <a:pt x="86" y="77"/>
                  </a:lnTo>
                  <a:lnTo>
                    <a:pt x="86" y="76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8" y="71"/>
                  </a:lnTo>
                  <a:lnTo>
                    <a:pt x="88" y="70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7" y="58"/>
                  </a:lnTo>
                  <a:lnTo>
                    <a:pt x="98" y="56"/>
                  </a:lnTo>
                  <a:lnTo>
                    <a:pt x="98" y="55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3" y="49"/>
                  </a:lnTo>
                  <a:lnTo>
                    <a:pt x="104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6" y="48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4" y="49"/>
                  </a:lnTo>
                  <a:lnTo>
                    <a:pt x="115" y="48"/>
                  </a:lnTo>
                  <a:lnTo>
                    <a:pt x="118" y="47"/>
                  </a:lnTo>
                  <a:lnTo>
                    <a:pt x="119" y="46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4" y="44"/>
                  </a:lnTo>
                  <a:lnTo>
                    <a:pt x="126" y="44"/>
                  </a:lnTo>
                  <a:lnTo>
                    <a:pt x="129" y="43"/>
                  </a:lnTo>
                  <a:lnTo>
                    <a:pt x="131" y="42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6" y="41"/>
                  </a:lnTo>
                  <a:lnTo>
                    <a:pt x="137" y="41"/>
                  </a:lnTo>
                  <a:lnTo>
                    <a:pt x="138" y="40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41" y="38"/>
                  </a:lnTo>
                  <a:lnTo>
                    <a:pt x="142" y="37"/>
                  </a:lnTo>
                  <a:lnTo>
                    <a:pt x="143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7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4" y="31"/>
                  </a:lnTo>
                  <a:lnTo>
                    <a:pt x="155" y="31"/>
                  </a:lnTo>
                  <a:lnTo>
                    <a:pt x="156" y="31"/>
                  </a:lnTo>
                  <a:lnTo>
                    <a:pt x="157" y="31"/>
                  </a:lnTo>
                  <a:lnTo>
                    <a:pt x="158" y="31"/>
                  </a:lnTo>
                  <a:lnTo>
                    <a:pt x="158" y="30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7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5"/>
                  </a:lnTo>
                  <a:lnTo>
                    <a:pt x="160" y="24"/>
                  </a:lnTo>
                  <a:lnTo>
                    <a:pt x="159" y="23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7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4"/>
                  </a:lnTo>
                  <a:lnTo>
                    <a:pt x="160" y="13"/>
                  </a:lnTo>
                  <a:lnTo>
                    <a:pt x="162" y="12"/>
                  </a:lnTo>
                  <a:lnTo>
                    <a:pt x="162" y="11"/>
                  </a:lnTo>
                  <a:lnTo>
                    <a:pt x="163" y="11"/>
                  </a:lnTo>
                  <a:lnTo>
                    <a:pt x="163" y="10"/>
                  </a:lnTo>
                  <a:lnTo>
                    <a:pt x="164" y="10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9"/>
                  </a:lnTo>
                  <a:lnTo>
                    <a:pt x="170" y="9"/>
                  </a:lnTo>
                  <a:lnTo>
                    <a:pt x="171" y="9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8" y="4"/>
                  </a:lnTo>
                  <a:lnTo>
                    <a:pt x="179" y="3"/>
                  </a:lnTo>
                  <a:lnTo>
                    <a:pt x="179" y="2"/>
                  </a:lnTo>
                  <a:lnTo>
                    <a:pt x="180" y="2"/>
                  </a:lnTo>
                  <a:lnTo>
                    <a:pt x="180" y="1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80" y="1"/>
                  </a:lnTo>
                  <a:lnTo>
                    <a:pt x="185" y="4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Freeform 31">
              <a:extLst>
                <a:ext uri="{FF2B5EF4-FFF2-40B4-BE49-F238E27FC236}">
                  <a16:creationId xmlns:a16="http://schemas.microsoft.com/office/drawing/2014/main" id="{9BD4A4A8-02D7-06D8-95F6-79172992F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21"/>
              <a:ext cx="642" cy="464"/>
            </a:xfrm>
            <a:custGeom>
              <a:avLst/>
              <a:gdLst>
                <a:gd name="T0" fmla="*/ 339 w 642"/>
                <a:gd name="T1" fmla="*/ 2 h 464"/>
                <a:gd name="T2" fmla="*/ 375 w 642"/>
                <a:gd name="T3" fmla="*/ 17 h 464"/>
                <a:gd name="T4" fmla="*/ 360 w 642"/>
                <a:gd name="T5" fmla="*/ 32 h 464"/>
                <a:gd name="T6" fmla="*/ 381 w 642"/>
                <a:gd name="T7" fmla="*/ 46 h 464"/>
                <a:gd name="T8" fmla="*/ 384 w 642"/>
                <a:gd name="T9" fmla="*/ 87 h 464"/>
                <a:gd name="T10" fmla="*/ 390 w 642"/>
                <a:gd name="T11" fmla="*/ 109 h 464"/>
                <a:gd name="T12" fmla="*/ 410 w 642"/>
                <a:gd name="T13" fmla="*/ 87 h 464"/>
                <a:gd name="T14" fmla="*/ 403 w 642"/>
                <a:gd name="T15" fmla="*/ 62 h 464"/>
                <a:gd name="T16" fmla="*/ 430 w 642"/>
                <a:gd name="T17" fmla="*/ 77 h 464"/>
                <a:gd name="T18" fmla="*/ 448 w 642"/>
                <a:gd name="T19" fmla="*/ 106 h 464"/>
                <a:gd name="T20" fmla="*/ 452 w 642"/>
                <a:gd name="T21" fmla="*/ 121 h 464"/>
                <a:gd name="T22" fmla="*/ 483 w 642"/>
                <a:gd name="T23" fmla="*/ 146 h 464"/>
                <a:gd name="T24" fmla="*/ 488 w 642"/>
                <a:gd name="T25" fmla="*/ 200 h 464"/>
                <a:gd name="T26" fmla="*/ 500 w 642"/>
                <a:gd name="T27" fmla="*/ 213 h 464"/>
                <a:gd name="T28" fmla="*/ 478 w 642"/>
                <a:gd name="T29" fmla="*/ 242 h 464"/>
                <a:gd name="T30" fmla="*/ 504 w 642"/>
                <a:gd name="T31" fmla="*/ 246 h 464"/>
                <a:gd name="T32" fmla="*/ 517 w 642"/>
                <a:gd name="T33" fmla="*/ 270 h 464"/>
                <a:gd name="T34" fmla="*/ 551 w 642"/>
                <a:gd name="T35" fmla="*/ 287 h 464"/>
                <a:gd name="T36" fmla="*/ 578 w 642"/>
                <a:gd name="T37" fmla="*/ 304 h 464"/>
                <a:gd name="T38" fmla="*/ 610 w 642"/>
                <a:gd name="T39" fmla="*/ 313 h 464"/>
                <a:gd name="T40" fmla="*/ 641 w 642"/>
                <a:gd name="T41" fmla="*/ 348 h 464"/>
                <a:gd name="T42" fmla="*/ 611 w 642"/>
                <a:gd name="T43" fmla="*/ 367 h 464"/>
                <a:gd name="T44" fmla="*/ 583 w 642"/>
                <a:gd name="T45" fmla="*/ 358 h 464"/>
                <a:gd name="T46" fmla="*/ 546 w 642"/>
                <a:gd name="T47" fmla="*/ 362 h 464"/>
                <a:gd name="T48" fmla="*/ 503 w 642"/>
                <a:gd name="T49" fmla="*/ 347 h 464"/>
                <a:gd name="T50" fmla="*/ 462 w 642"/>
                <a:gd name="T51" fmla="*/ 396 h 464"/>
                <a:gd name="T52" fmla="*/ 435 w 642"/>
                <a:gd name="T53" fmla="*/ 458 h 464"/>
                <a:gd name="T54" fmla="*/ 422 w 642"/>
                <a:gd name="T55" fmla="*/ 442 h 464"/>
                <a:gd name="T56" fmla="*/ 403 w 642"/>
                <a:gd name="T57" fmla="*/ 421 h 464"/>
                <a:gd name="T58" fmla="*/ 358 w 642"/>
                <a:gd name="T59" fmla="*/ 413 h 464"/>
                <a:gd name="T60" fmla="*/ 342 w 642"/>
                <a:gd name="T61" fmla="*/ 394 h 464"/>
                <a:gd name="T62" fmla="*/ 304 w 642"/>
                <a:gd name="T63" fmla="*/ 381 h 464"/>
                <a:gd name="T64" fmla="*/ 269 w 642"/>
                <a:gd name="T65" fmla="*/ 405 h 464"/>
                <a:gd name="T66" fmla="*/ 242 w 642"/>
                <a:gd name="T67" fmla="*/ 415 h 464"/>
                <a:gd name="T68" fmla="*/ 181 w 642"/>
                <a:gd name="T69" fmla="*/ 412 h 464"/>
                <a:gd name="T70" fmla="*/ 127 w 642"/>
                <a:gd name="T71" fmla="*/ 385 h 464"/>
                <a:gd name="T72" fmla="*/ 110 w 642"/>
                <a:gd name="T73" fmla="*/ 370 h 464"/>
                <a:gd name="T74" fmla="*/ 92 w 642"/>
                <a:gd name="T75" fmla="*/ 356 h 464"/>
                <a:gd name="T76" fmla="*/ 61 w 642"/>
                <a:gd name="T77" fmla="*/ 362 h 464"/>
                <a:gd name="T78" fmla="*/ 7 w 642"/>
                <a:gd name="T79" fmla="*/ 341 h 464"/>
                <a:gd name="T80" fmla="*/ 8 w 642"/>
                <a:gd name="T81" fmla="*/ 323 h 464"/>
                <a:gd name="T82" fmla="*/ 27 w 642"/>
                <a:gd name="T83" fmla="*/ 321 h 464"/>
                <a:gd name="T84" fmla="*/ 51 w 642"/>
                <a:gd name="T85" fmla="*/ 314 h 464"/>
                <a:gd name="T86" fmla="*/ 78 w 642"/>
                <a:gd name="T87" fmla="*/ 297 h 464"/>
                <a:gd name="T88" fmla="*/ 105 w 642"/>
                <a:gd name="T89" fmla="*/ 280 h 464"/>
                <a:gd name="T90" fmla="*/ 125 w 642"/>
                <a:gd name="T91" fmla="*/ 271 h 464"/>
                <a:gd name="T92" fmla="*/ 149 w 642"/>
                <a:gd name="T93" fmla="*/ 275 h 464"/>
                <a:gd name="T94" fmla="*/ 180 w 642"/>
                <a:gd name="T95" fmla="*/ 267 h 464"/>
                <a:gd name="T96" fmla="*/ 207 w 642"/>
                <a:gd name="T97" fmla="*/ 251 h 464"/>
                <a:gd name="T98" fmla="*/ 203 w 642"/>
                <a:gd name="T99" fmla="*/ 231 h 464"/>
                <a:gd name="T100" fmla="*/ 210 w 642"/>
                <a:gd name="T101" fmla="*/ 214 h 464"/>
                <a:gd name="T102" fmla="*/ 211 w 642"/>
                <a:gd name="T103" fmla="*/ 194 h 464"/>
                <a:gd name="T104" fmla="*/ 222 w 642"/>
                <a:gd name="T105" fmla="*/ 172 h 464"/>
                <a:gd name="T106" fmla="*/ 223 w 642"/>
                <a:gd name="T107" fmla="*/ 147 h 464"/>
                <a:gd name="T108" fmla="*/ 210 w 642"/>
                <a:gd name="T109" fmla="*/ 134 h 464"/>
                <a:gd name="T110" fmla="*/ 216 w 642"/>
                <a:gd name="T111" fmla="*/ 99 h 464"/>
                <a:gd name="T112" fmla="*/ 233 w 642"/>
                <a:gd name="T113" fmla="*/ 87 h 464"/>
                <a:gd name="T114" fmla="*/ 240 w 642"/>
                <a:gd name="T115" fmla="*/ 78 h 464"/>
                <a:gd name="T116" fmla="*/ 251 w 642"/>
                <a:gd name="T117" fmla="*/ 73 h 464"/>
                <a:gd name="T118" fmla="*/ 256 w 642"/>
                <a:gd name="T119" fmla="*/ 58 h 464"/>
                <a:gd name="T120" fmla="*/ 250 w 642"/>
                <a:gd name="T121" fmla="*/ 37 h 464"/>
                <a:gd name="T122" fmla="*/ 266 w 642"/>
                <a:gd name="T123" fmla="*/ 17 h 464"/>
                <a:gd name="T124" fmla="*/ 297 w 642"/>
                <a:gd name="T125" fmla="*/ 17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42" h="464">
                  <a:moveTo>
                    <a:pt x="303" y="0"/>
                  </a:moveTo>
                  <a:lnTo>
                    <a:pt x="303" y="0"/>
                  </a:lnTo>
                  <a:lnTo>
                    <a:pt x="304" y="0"/>
                  </a:lnTo>
                  <a:lnTo>
                    <a:pt x="305" y="1"/>
                  </a:lnTo>
                  <a:lnTo>
                    <a:pt x="308" y="1"/>
                  </a:lnTo>
                  <a:lnTo>
                    <a:pt x="309" y="2"/>
                  </a:lnTo>
                  <a:lnTo>
                    <a:pt x="311" y="2"/>
                  </a:lnTo>
                  <a:lnTo>
                    <a:pt x="314" y="2"/>
                  </a:lnTo>
                  <a:lnTo>
                    <a:pt x="316" y="2"/>
                  </a:lnTo>
                  <a:lnTo>
                    <a:pt x="317" y="2"/>
                  </a:lnTo>
                  <a:lnTo>
                    <a:pt x="319" y="2"/>
                  </a:lnTo>
                  <a:lnTo>
                    <a:pt x="322" y="1"/>
                  </a:lnTo>
                  <a:lnTo>
                    <a:pt x="322" y="1"/>
                  </a:lnTo>
                  <a:lnTo>
                    <a:pt x="323" y="1"/>
                  </a:lnTo>
                  <a:lnTo>
                    <a:pt x="324" y="1"/>
                  </a:lnTo>
                  <a:lnTo>
                    <a:pt x="325" y="1"/>
                  </a:lnTo>
                  <a:lnTo>
                    <a:pt x="326" y="1"/>
                  </a:lnTo>
                  <a:lnTo>
                    <a:pt x="329" y="2"/>
                  </a:lnTo>
                  <a:lnTo>
                    <a:pt x="329" y="2"/>
                  </a:lnTo>
                  <a:lnTo>
                    <a:pt x="330" y="2"/>
                  </a:lnTo>
                  <a:lnTo>
                    <a:pt x="331" y="2"/>
                  </a:lnTo>
                  <a:lnTo>
                    <a:pt x="332" y="2"/>
                  </a:lnTo>
                  <a:lnTo>
                    <a:pt x="334" y="2"/>
                  </a:lnTo>
                  <a:lnTo>
                    <a:pt x="336" y="1"/>
                  </a:lnTo>
                  <a:lnTo>
                    <a:pt x="337" y="1"/>
                  </a:lnTo>
                  <a:lnTo>
                    <a:pt x="338" y="1"/>
                  </a:lnTo>
                  <a:lnTo>
                    <a:pt x="339" y="2"/>
                  </a:lnTo>
                  <a:lnTo>
                    <a:pt x="342" y="2"/>
                  </a:lnTo>
                  <a:lnTo>
                    <a:pt x="343" y="2"/>
                  </a:lnTo>
                  <a:lnTo>
                    <a:pt x="344" y="2"/>
                  </a:lnTo>
                  <a:lnTo>
                    <a:pt x="346" y="3"/>
                  </a:lnTo>
                  <a:lnTo>
                    <a:pt x="347" y="3"/>
                  </a:lnTo>
                  <a:lnTo>
                    <a:pt x="348" y="4"/>
                  </a:lnTo>
                  <a:lnTo>
                    <a:pt x="350" y="4"/>
                  </a:lnTo>
                  <a:lnTo>
                    <a:pt x="352" y="5"/>
                  </a:lnTo>
                  <a:lnTo>
                    <a:pt x="359" y="9"/>
                  </a:lnTo>
                  <a:lnTo>
                    <a:pt x="361" y="9"/>
                  </a:lnTo>
                  <a:lnTo>
                    <a:pt x="362" y="10"/>
                  </a:lnTo>
                  <a:lnTo>
                    <a:pt x="364" y="11"/>
                  </a:lnTo>
                  <a:lnTo>
                    <a:pt x="366" y="11"/>
                  </a:lnTo>
                  <a:lnTo>
                    <a:pt x="367" y="12"/>
                  </a:lnTo>
                  <a:lnTo>
                    <a:pt x="369" y="12"/>
                  </a:lnTo>
                  <a:lnTo>
                    <a:pt x="371" y="13"/>
                  </a:lnTo>
                  <a:lnTo>
                    <a:pt x="372" y="13"/>
                  </a:lnTo>
                  <a:lnTo>
                    <a:pt x="373" y="13"/>
                  </a:lnTo>
                  <a:lnTo>
                    <a:pt x="375" y="13"/>
                  </a:lnTo>
                  <a:lnTo>
                    <a:pt x="376" y="13"/>
                  </a:lnTo>
                  <a:lnTo>
                    <a:pt x="376" y="13"/>
                  </a:lnTo>
                  <a:lnTo>
                    <a:pt x="377" y="13"/>
                  </a:lnTo>
                  <a:lnTo>
                    <a:pt x="376" y="13"/>
                  </a:lnTo>
                  <a:lnTo>
                    <a:pt x="376" y="14"/>
                  </a:lnTo>
                  <a:lnTo>
                    <a:pt x="376" y="15"/>
                  </a:lnTo>
                  <a:lnTo>
                    <a:pt x="375" y="16"/>
                  </a:lnTo>
                  <a:lnTo>
                    <a:pt x="375" y="17"/>
                  </a:lnTo>
                  <a:lnTo>
                    <a:pt x="374" y="20"/>
                  </a:lnTo>
                  <a:lnTo>
                    <a:pt x="374" y="20"/>
                  </a:lnTo>
                  <a:lnTo>
                    <a:pt x="374" y="21"/>
                  </a:lnTo>
                  <a:lnTo>
                    <a:pt x="374" y="21"/>
                  </a:lnTo>
                  <a:lnTo>
                    <a:pt x="373" y="22"/>
                  </a:lnTo>
                  <a:lnTo>
                    <a:pt x="373" y="22"/>
                  </a:lnTo>
                  <a:lnTo>
                    <a:pt x="372" y="22"/>
                  </a:lnTo>
                  <a:lnTo>
                    <a:pt x="372" y="23"/>
                  </a:lnTo>
                  <a:lnTo>
                    <a:pt x="372" y="23"/>
                  </a:lnTo>
                  <a:lnTo>
                    <a:pt x="371" y="23"/>
                  </a:lnTo>
                  <a:lnTo>
                    <a:pt x="370" y="23"/>
                  </a:lnTo>
                  <a:lnTo>
                    <a:pt x="369" y="23"/>
                  </a:lnTo>
                  <a:lnTo>
                    <a:pt x="365" y="22"/>
                  </a:lnTo>
                  <a:lnTo>
                    <a:pt x="362" y="21"/>
                  </a:lnTo>
                  <a:lnTo>
                    <a:pt x="362" y="21"/>
                  </a:lnTo>
                  <a:lnTo>
                    <a:pt x="361" y="21"/>
                  </a:lnTo>
                  <a:lnTo>
                    <a:pt x="361" y="22"/>
                  </a:lnTo>
                  <a:lnTo>
                    <a:pt x="360" y="22"/>
                  </a:lnTo>
                  <a:lnTo>
                    <a:pt x="360" y="22"/>
                  </a:lnTo>
                  <a:lnTo>
                    <a:pt x="360" y="23"/>
                  </a:lnTo>
                  <a:lnTo>
                    <a:pt x="360" y="24"/>
                  </a:lnTo>
                  <a:lnTo>
                    <a:pt x="359" y="25"/>
                  </a:lnTo>
                  <a:lnTo>
                    <a:pt x="359" y="26"/>
                  </a:lnTo>
                  <a:lnTo>
                    <a:pt x="359" y="27"/>
                  </a:lnTo>
                  <a:lnTo>
                    <a:pt x="360" y="30"/>
                  </a:lnTo>
                  <a:lnTo>
                    <a:pt x="360" y="31"/>
                  </a:lnTo>
                  <a:lnTo>
                    <a:pt x="360" y="32"/>
                  </a:lnTo>
                  <a:lnTo>
                    <a:pt x="360" y="34"/>
                  </a:lnTo>
                  <a:lnTo>
                    <a:pt x="360" y="35"/>
                  </a:lnTo>
                  <a:lnTo>
                    <a:pt x="360" y="36"/>
                  </a:lnTo>
                  <a:lnTo>
                    <a:pt x="360" y="36"/>
                  </a:lnTo>
                  <a:lnTo>
                    <a:pt x="360" y="37"/>
                  </a:lnTo>
                  <a:lnTo>
                    <a:pt x="360" y="37"/>
                  </a:lnTo>
                  <a:lnTo>
                    <a:pt x="361" y="37"/>
                  </a:lnTo>
                  <a:lnTo>
                    <a:pt x="361" y="38"/>
                  </a:lnTo>
                  <a:lnTo>
                    <a:pt x="362" y="38"/>
                  </a:lnTo>
                  <a:lnTo>
                    <a:pt x="362" y="38"/>
                  </a:lnTo>
                  <a:lnTo>
                    <a:pt x="365" y="39"/>
                  </a:lnTo>
                  <a:lnTo>
                    <a:pt x="368" y="40"/>
                  </a:lnTo>
                  <a:lnTo>
                    <a:pt x="372" y="41"/>
                  </a:lnTo>
                  <a:lnTo>
                    <a:pt x="374" y="42"/>
                  </a:lnTo>
                  <a:lnTo>
                    <a:pt x="376" y="42"/>
                  </a:lnTo>
                  <a:lnTo>
                    <a:pt x="377" y="42"/>
                  </a:lnTo>
                  <a:lnTo>
                    <a:pt x="379" y="42"/>
                  </a:lnTo>
                  <a:lnTo>
                    <a:pt x="381" y="43"/>
                  </a:lnTo>
                  <a:lnTo>
                    <a:pt x="382" y="43"/>
                  </a:lnTo>
                  <a:lnTo>
                    <a:pt x="382" y="43"/>
                  </a:lnTo>
                  <a:lnTo>
                    <a:pt x="383" y="43"/>
                  </a:lnTo>
                  <a:lnTo>
                    <a:pt x="383" y="44"/>
                  </a:lnTo>
                  <a:lnTo>
                    <a:pt x="383" y="44"/>
                  </a:lnTo>
                  <a:lnTo>
                    <a:pt x="382" y="44"/>
                  </a:lnTo>
                  <a:lnTo>
                    <a:pt x="382" y="45"/>
                  </a:lnTo>
                  <a:lnTo>
                    <a:pt x="381" y="45"/>
                  </a:lnTo>
                  <a:lnTo>
                    <a:pt x="381" y="46"/>
                  </a:lnTo>
                  <a:lnTo>
                    <a:pt x="380" y="47"/>
                  </a:lnTo>
                  <a:lnTo>
                    <a:pt x="379" y="47"/>
                  </a:lnTo>
                  <a:lnTo>
                    <a:pt x="379" y="48"/>
                  </a:lnTo>
                  <a:lnTo>
                    <a:pt x="377" y="50"/>
                  </a:lnTo>
                  <a:lnTo>
                    <a:pt x="377" y="51"/>
                  </a:lnTo>
                  <a:lnTo>
                    <a:pt x="375" y="54"/>
                  </a:lnTo>
                  <a:lnTo>
                    <a:pt x="374" y="55"/>
                  </a:lnTo>
                  <a:lnTo>
                    <a:pt x="374" y="56"/>
                  </a:lnTo>
                  <a:lnTo>
                    <a:pt x="374" y="58"/>
                  </a:lnTo>
                  <a:lnTo>
                    <a:pt x="374" y="59"/>
                  </a:lnTo>
                  <a:lnTo>
                    <a:pt x="374" y="61"/>
                  </a:lnTo>
                  <a:lnTo>
                    <a:pt x="374" y="62"/>
                  </a:lnTo>
                  <a:lnTo>
                    <a:pt x="374" y="64"/>
                  </a:lnTo>
                  <a:lnTo>
                    <a:pt x="374" y="65"/>
                  </a:lnTo>
                  <a:lnTo>
                    <a:pt x="375" y="68"/>
                  </a:lnTo>
                  <a:lnTo>
                    <a:pt x="376" y="72"/>
                  </a:lnTo>
                  <a:lnTo>
                    <a:pt x="377" y="75"/>
                  </a:lnTo>
                  <a:lnTo>
                    <a:pt x="377" y="76"/>
                  </a:lnTo>
                  <a:lnTo>
                    <a:pt x="378" y="77"/>
                  </a:lnTo>
                  <a:lnTo>
                    <a:pt x="378" y="78"/>
                  </a:lnTo>
                  <a:lnTo>
                    <a:pt x="379" y="79"/>
                  </a:lnTo>
                  <a:lnTo>
                    <a:pt x="381" y="82"/>
                  </a:lnTo>
                  <a:lnTo>
                    <a:pt x="382" y="83"/>
                  </a:lnTo>
                  <a:lnTo>
                    <a:pt x="382" y="84"/>
                  </a:lnTo>
                  <a:lnTo>
                    <a:pt x="383" y="85"/>
                  </a:lnTo>
                  <a:lnTo>
                    <a:pt x="383" y="86"/>
                  </a:lnTo>
                  <a:lnTo>
                    <a:pt x="384" y="87"/>
                  </a:lnTo>
                  <a:lnTo>
                    <a:pt x="384" y="88"/>
                  </a:lnTo>
                  <a:lnTo>
                    <a:pt x="383" y="88"/>
                  </a:lnTo>
                  <a:lnTo>
                    <a:pt x="383" y="89"/>
                  </a:lnTo>
                  <a:lnTo>
                    <a:pt x="383" y="89"/>
                  </a:lnTo>
                  <a:lnTo>
                    <a:pt x="383" y="90"/>
                  </a:lnTo>
                  <a:lnTo>
                    <a:pt x="382" y="90"/>
                  </a:lnTo>
                  <a:lnTo>
                    <a:pt x="380" y="92"/>
                  </a:lnTo>
                  <a:lnTo>
                    <a:pt x="379" y="93"/>
                  </a:lnTo>
                  <a:lnTo>
                    <a:pt x="379" y="93"/>
                  </a:lnTo>
                  <a:lnTo>
                    <a:pt x="379" y="94"/>
                  </a:lnTo>
                  <a:lnTo>
                    <a:pt x="379" y="94"/>
                  </a:lnTo>
                  <a:lnTo>
                    <a:pt x="378" y="95"/>
                  </a:lnTo>
                  <a:lnTo>
                    <a:pt x="378" y="96"/>
                  </a:lnTo>
                  <a:lnTo>
                    <a:pt x="378" y="96"/>
                  </a:lnTo>
                  <a:lnTo>
                    <a:pt x="378" y="97"/>
                  </a:lnTo>
                  <a:lnTo>
                    <a:pt x="378" y="98"/>
                  </a:lnTo>
                  <a:lnTo>
                    <a:pt x="378" y="99"/>
                  </a:lnTo>
                  <a:lnTo>
                    <a:pt x="378" y="99"/>
                  </a:lnTo>
                  <a:lnTo>
                    <a:pt x="379" y="100"/>
                  </a:lnTo>
                  <a:lnTo>
                    <a:pt x="379" y="100"/>
                  </a:lnTo>
                  <a:lnTo>
                    <a:pt x="381" y="102"/>
                  </a:lnTo>
                  <a:lnTo>
                    <a:pt x="381" y="102"/>
                  </a:lnTo>
                  <a:lnTo>
                    <a:pt x="382" y="103"/>
                  </a:lnTo>
                  <a:lnTo>
                    <a:pt x="384" y="104"/>
                  </a:lnTo>
                  <a:lnTo>
                    <a:pt x="387" y="107"/>
                  </a:lnTo>
                  <a:lnTo>
                    <a:pt x="389" y="108"/>
                  </a:lnTo>
                  <a:lnTo>
                    <a:pt x="390" y="109"/>
                  </a:lnTo>
                  <a:lnTo>
                    <a:pt x="392" y="109"/>
                  </a:lnTo>
                  <a:lnTo>
                    <a:pt x="393" y="110"/>
                  </a:lnTo>
                  <a:lnTo>
                    <a:pt x="394" y="110"/>
                  </a:lnTo>
                  <a:lnTo>
                    <a:pt x="395" y="110"/>
                  </a:lnTo>
                  <a:lnTo>
                    <a:pt x="396" y="110"/>
                  </a:lnTo>
                  <a:lnTo>
                    <a:pt x="397" y="109"/>
                  </a:lnTo>
                  <a:lnTo>
                    <a:pt x="398" y="109"/>
                  </a:lnTo>
                  <a:lnTo>
                    <a:pt x="399" y="108"/>
                  </a:lnTo>
                  <a:lnTo>
                    <a:pt x="400" y="107"/>
                  </a:lnTo>
                  <a:lnTo>
                    <a:pt x="401" y="106"/>
                  </a:lnTo>
                  <a:lnTo>
                    <a:pt x="403" y="105"/>
                  </a:lnTo>
                  <a:lnTo>
                    <a:pt x="403" y="104"/>
                  </a:lnTo>
                  <a:lnTo>
                    <a:pt x="404" y="103"/>
                  </a:lnTo>
                  <a:lnTo>
                    <a:pt x="405" y="102"/>
                  </a:lnTo>
                  <a:lnTo>
                    <a:pt x="405" y="100"/>
                  </a:lnTo>
                  <a:lnTo>
                    <a:pt x="406" y="97"/>
                  </a:lnTo>
                  <a:lnTo>
                    <a:pt x="407" y="95"/>
                  </a:lnTo>
                  <a:lnTo>
                    <a:pt x="408" y="94"/>
                  </a:lnTo>
                  <a:lnTo>
                    <a:pt x="409" y="92"/>
                  </a:lnTo>
                  <a:lnTo>
                    <a:pt x="410" y="91"/>
                  </a:lnTo>
                  <a:lnTo>
                    <a:pt x="410" y="91"/>
                  </a:lnTo>
                  <a:lnTo>
                    <a:pt x="410" y="90"/>
                  </a:lnTo>
                  <a:lnTo>
                    <a:pt x="410" y="90"/>
                  </a:lnTo>
                  <a:lnTo>
                    <a:pt x="410" y="89"/>
                  </a:lnTo>
                  <a:lnTo>
                    <a:pt x="410" y="88"/>
                  </a:lnTo>
                  <a:lnTo>
                    <a:pt x="410" y="88"/>
                  </a:lnTo>
                  <a:lnTo>
                    <a:pt x="410" y="87"/>
                  </a:lnTo>
                  <a:lnTo>
                    <a:pt x="409" y="86"/>
                  </a:lnTo>
                  <a:lnTo>
                    <a:pt x="409" y="85"/>
                  </a:lnTo>
                  <a:lnTo>
                    <a:pt x="408" y="83"/>
                  </a:lnTo>
                  <a:lnTo>
                    <a:pt x="407" y="82"/>
                  </a:lnTo>
                  <a:lnTo>
                    <a:pt x="407" y="81"/>
                  </a:lnTo>
                  <a:lnTo>
                    <a:pt x="406" y="80"/>
                  </a:lnTo>
                  <a:lnTo>
                    <a:pt x="406" y="79"/>
                  </a:lnTo>
                  <a:lnTo>
                    <a:pt x="406" y="78"/>
                  </a:lnTo>
                  <a:lnTo>
                    <a:pt x="405" y="77"/>
                  </a:lnTo>
                  <a:lnTo>
                    <a:pt x="405" y="77"/>
                  </a:lnTo>
                  <a:lnTo>
                    <a:pt x="400" y="72"/>
                  </a:lnTo>
                  <a:lnTo>
                    <a:pt x="399" y="72"/>
                  </a:lnTo>
                  <a:lnTo>
                    <a:pt x="399" y="71"/>
                  </a:lnTo>
                  <a:lnTo>
                    <a:pt x="399" y="71"/>
                  </a:lnTo>
                  <a:lnTo>
                    <a:pt x="398" y="70"/>
                  </a:lnTo>
                  <a:lnTo>
                    <a:pt x="398" y="69"/>
                  </a:lnTo>
                  <a:lnTo>
                    <a:pt x="397" y="69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397" y="67"/>
                  </a:lnTo>
                  <a:lnTo>
                    <a:pt x="397" y="67"/>
                  </a:lnTo>
                  <a:lnTo>
                    <a:pt x="398" y="67"/>
                  </a:lnTo>
                  <a:lnTo>
                    <a:pt x="399" y="65"/>
                  </a:lnTo>
                  <a:lnTo>
                    <a:pt x="401" y="64"/>
                  </a:lnTo>
                  <a:lnTo>
                    <a:pt x="402" y="63"/>
                  </a:lnTo>
                  <a:lnTo>
                    <a:pt x="403" y="62"/>
                  </a:lnTo>
                  <a:lnTo>
                    <a:pt x="405" y="61"/>
                  </a:lnTo>
                  <a:lnTo>
                    <a:pt x="406" y="60"/>
                  </a:lnTo>
                  <a:lnTo>
                    <a:pt x="408" y="60"/>
                  </a:lnTo>
                  <a:lnTo>
                    <a:pt x="409" y="60"/>
                  </a:lnTo>
                  <a:lnTo>
                    <a:pt x="410" y="60"/>
                  </a:lnTo>
                  <a:lnTo>
                    <a:pt x="411" y="60"/>
                  </a:lnTo>
                  <a:lnTo>
                    <a:pt x="412" y="60"/>
                  </a:lnTo>
                  <a:lnTo>
                    <a:pt x="414" y="60"/>
                  </a:lnTo>
                  <a:lnTo>
                    <a:pt x="416" y="61"/>
                  </a:lnTo>
                  <a:lnTo>
                    <a:pt x="418" y="61"/>
                  </a:lnTo>
                  <a:lnTo>
                    <a:pt x="419" y="61"/>
                  </a:lnTo>
                  <a:lnTo>
                    <a:pt x="420" y="62"/>
                  </a:lnTo>
                  <a:lnTo>
                    <a:pt x="420" y="62"/>
                  </a:lnTo>
                  <a:lnTo>
                    <a:pt x="421" y="63"/>
                  </a:lnTo>
                  <a:lnTo>
                    <a:pt x="422" y="64"/>
                  </a:lnTo>
                  <a:lnTo>
                    <a:pt x="423" y="65"/>
                  </a:lnTo>
                  <a:lnTo>
                    <a:pt x="423" y="66"/>
                  </a:lnTo>
                  <a:lnTo>
                    <a:pt x="424" y="67"/>
                  </a:lnTo>
                  <a:lnTo>
                    <a:pt x="425" y="69"/>
                  </a:lnTo>
                  <a:lnTo>
                    <a:pt x="425" y="70"/>
                  </a:lnTo>
                  <a:lnTo>
                    <a:pt x="426" y="71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9" y="74"/>
                  </a:lnTo>
                  <a:lnTo>
                    <a:pt x="430" y="75"/>
                  </a:lnTo>
                  <a:lnTo>
                    <a:pt x="430" y="76"/>
                  </a:lnTo>
                  <a:lnTo>
                    <a:pt x="430" y="77"/>
                  </a:lnTo>
                  <a:lnTo>
                    <a:pt x="431" y="78"/>
                  </a:lnTo>
                  <a:lnTo>
                    <a:pt x="432" y="79"/>
                  </a:lnTo>
                  <a:lnTo>
                    <a:pt x="432" y="80"/>
                  </a:lnTo>
                  <a:lnTo>
                    <a:pt x="433" y="81"/>
                  </a:lnTo>
                  <a:lnTo>
                    <a:pt x="434" y="83"/>
                  </a:lnTo>
                  <a:lnTo>
                    <a:pt x="435" y="87"/>
                  </a:lnTo>
                  <a:lnTo>
                    <a:pt x="435" y="90"/>
                  </a:lnTo>
                  <a:lnTo>
                    <a:pt x="436" y="90"/>
                  </a:lnTo>
                  <a:lnTo>
                    <a:pt x="436" y="91"/>
                  </a:lnTo>
                  <a:lnTo>
                    <a:pt x="437" y="92"/>
                  </a:lnTo>
                  <a:lnTo>
                    <a:pt x="437" y="93"/>
                  </a:lnTo>
                  <a:lnTo>
                    <a:pt x="438" y="94"/>
                  </a:lnTo>
                  <a:lnTo>
                    <a:pt x="440" y="95"/>
                  </a:lnTo>
                  <a:lnTo>
                    <a:pt x="440" y="95"/>
                  </a:lnTo>
                  <a:lnTo>
                    <a:pt x="441" y="96"/>
                  </a:lnTo>
                  <a:lnTo>
                    <a:pt x="441" y="97"/>
                  </a:lnTo>
                  <a:lnTo>
                    <a:pt x="441" y="97"/>
                  </a:lnTo>
                  <a:lnTo>
                    <a:pt x="443" y="100"/>
                  </a:lnTo>
                  <a:lnTo>
                    <a:pt x="443" y="101"/>
                  </a:lnTo>
                  <a:lnTo>
                    <a:pt x="444" y="101"/>
                  </a:lnTo>
                  <a:lnTo>
                    <a:pt x="444" y="102"/>
                  </a:lnTo>
                  <a:lnTo>
                    <a:pt x="445" y="104"/>
                  </a:lnTo>
                  <a:lnTo>
                    <a:pt x="446" y="104"/>
                  </a:lnTo>
                  <a:lnTo>
                    <a:pt x="447" y="105"/>
                  </a:lnTo>
                  <a:lnTo>
                    <a:pt x="447" y="105"/>
                  </a:lnTo>
                  <a:lnTo>
                    <a:pt x="448" y="106"/>
                  </a:lnTo>
                  <a:lnTo>
                    <a:pt x="448" y="106"/>
                  </a:lnTo>
                  <a:lnTo>
                    <a:pt x="448" y="106"/>
                  </a:lnTo>
                  <a:lnTo>
                    <a:pt x="449" y="106"/>
                  </a:lnTo>
                  <a:lnTo>
                    <a:pt x="449" y="106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1" y="106"/>
                  </a:lnTo>
                  <a:lnTo>
                    <a:pt x="451" y="105"/>
                  </a:lnTo>
                  <a:lnTo>
                    <a:pt x="452" y="104"/>
                  </a:lnTo>
                  <a:lnTo>
                    <a:pt x="452" y="103"/>
                  </a:lnTo>
                  <a:lnTo>
                    <a:pt x="453" y="103"/>
                  </a:lnTo>
                  <a:lnTo>
                    <a:pt x="453" y="103"/>
                  </a:lnTo>
                  <a:lnTo>
                    <a:pt x="453" y="103"/>
                  </a:lnTo>
                  <a:lnTo>
                    <a:pt x="454" y="103"/>
                  </a:lnTo>
                  <a:lnTo>
                    <a:pt x="454" y="103"/>
                  </a:lnTo>
                  <a:lnTo>
                    <a:pt x="454" y="104"/>
                  </a:lnTo>
                  <a:lnTo>
                    <a:pt x="454" y="104"/>
                  </a:lnTo>
                  <a:lnTo>
                    <a:pt x="454" y="105"/>
                  </a:lnTo>
                  <a:lnTo>
                    <a:pt x="455" y="107"/>
                  </a:lnTo>
                  <a:lnTo>
                    <a:pt x="454" y="108"/>
                  </a:lnTo>
                  <a:lnTo>
                    <a:pt x="454" y="110"/>
                  </a:lnTo>
                  <a:lnTo>
                    <a:pt x="454" y="111"/>
                  </a:lnTo>
                  <a:lnTo>
                    <a:pt x="454" y="113"/>
                  </a:lnTo>
                  <a:lnTo>
                    <a:pt x="453" y="116"/>
                  </a:lnTo>
                  <a:lnTo>
                    <a:pt x="453" y="119"/>
                  </a:lnTo>
                  <a:lnTo>
                    <a:pt x="452" y="121"/>
                  </a:lnTo>
                  <a:lnTo>
                    <a:pt x="452" y="121"/>
                  </a:lnTo>
                  <a:lnTo>
                    <a:pt x="452" y="122"/>
                  </a:lnTo>
                  <a:lnTo>
                    <a:pt x="452" y="122"/>
                  </a:lnTo>
                  <a:lnTo>
                    <a:pt x="453" y="123"/>
                  </a:lnTo>
                  <a:lnTo>
                    <a:pt x="453" y="123"/>
                  </a:lnTo>
                  <a:lnTo>
                    <a:pt x="453" y="123"/>
                  </a:lnTo>
                  <a:lnTo>
                    <a:pt x="454" y="124"/>
                  </a:lnTo>
                  <a:lnTo>
                    <a:pt x="454" y="124"/>
                  </a:lnTo>
                  <a:lnTo>
                    <a:pt x="455" y="125"/>
                  </a:lnTo>
                  <a:lnTo>
                    <a:pt x="458" y="126"/>
                  </a:lnTo>
                  <a:lnTo>
                    <a:pt x="459" y="127"/>
                  </a:lnTo>
                  <a:lnTo>
                    <a:pt x="461" y="128"/>
                  </a:lnTo>
                  <a:lnTo>
                    <a:pt x="463" y="128"/>
                  </a:lnTo>
                  <a:lnTo>
                    <a:pt x="465" y="129"/>
                  </a:lnTo>
                  <a:lnTo>
                    <a:pt x="468" y="130"/>
                  </a:lnTo>
                  <a:lnTo>
                    <a:pt x="469" y="131"/>
                  </a:lnTo>
                  <a:lnTo>
                    <a:pt x="471" y="131"/>
                  </a:lnTo>
                  <a:lnTo>
                    <a:pt x="473" y="132"/>
                  </a:lnTo>
                  <a:lnTo>
                    <a:pt x="474" y="133"/>
                  </a:lnTo>
                  <a:lnTo>
                    <a:pt x="475" y="134"/>
                  </a:lnTo>
                  <a:lnTo>
                    <a:pt x="478" y="136"/>
                  </a:lnTo>
                  <a:lnTo>
                    <a:pt x="479" y="137"/>
                  </a:lnTo>
                  <a:lnTo>
                    <a:pt x="480" y="138"/>
                  </a:lnTo>
                  <a:lnTo>
                    <a:pt x="480" y="138"/>
                  </a:lnTo>
                  <a:lnTo>
                    <a:pt x="481" y="139"/>
                  </a:lnTo>
                  <a:lnTo>
                    <a:pt x="481" y="140"/>
                  </a:lnTo>
                  <a:lnTo>
                    <a:pt x="481" y="141"/>
                  </a:lnTo>
                  <a:lnTo>
                    <a:pt x="483" y="146"/>
                  </a:lnTo>
                  <a:lnTo>
                    <a:pt x="484" y="149"/>
                  </a:lnTo>
                  <a:lnTo>
                    <a:pt x="484" y="150"/>
                  </a:lnTo>
                  <a:lnTo>
                    <a:pt x="486" y="153"/>
                  </a:lnTo>
                  <a:lnTo>
                    <a:pt x="488" y="158"/>
                  </a:lnTo>
                  <a:lnTo>
                    <a:pt x="488" y="160"/>
                  </a:lnTo>
                  <a:lnTo>
                    <a:pt x="484" y="166"/>
                  </a:lnTo>
                  <a:lnTo>
                    <a:pt x="483" y="168"/>
                  </a:lnTo>
                  <a:lnTo>
                    <a:pt x="483" y="170"/>
                  </a:lnTo>
                  <a:lnTo>
                    <a:pt x="483" y="171"/>
                  </a:lnTo>
                  <a:lnTo>
                    <a:pt x="482" y="172"/>
                  </a:lnTo>
                  <a:lnTo>
                    <a:pt x="482" y="173"/>
                  </a:lnTo>
                  <a:lnTo>
                    <a:pt x="482" y="174"/>
                  </a:lnTo>
                  <a:lnTo>
                    <a:pt x="482" y="175"/>
                  </a:lnTo>
                  <a:lnTo>
                    <a:pt x="482" y="176"/>
                  </a:lnTo>
                  <a:lnTo>
                    <a:pt x="483" y="179"/>
                  </a:lnTo>
                  <a:lnTo>
                    <a:pt x="483" y="181"/>
                  </a:lnTo>
                  <a:lnTo>
                    <a:pt x="483" y="182"/>
                  </a:lnTo>
                  <a:lnTo>
                    <a:pt x="483" y="186"/>
                  </a:lnTo>
                  <a:lnTo>
                    <a:pt x="483" y="187"/>
                  </a:lnTo>
                  <a:lnTo>
                    <a:pt x="484" y="188"/>
                  </a:lnTo>
                  <a:lnTo>
                    <a:pt x="484" y="189"/>
                  </a:lnTo>
                  <a:lnTo>
                    <a:pt x="485" y="191"/>
                  </a:lnTo>
                  <a:lnTo>
                    <a:pt x="487" y="195"/>
                  </a:lnTo>
                  <a:lnTo>
                    <a:pt x="488" y="198"/>
                  </a:lnTo>
                  <a:lnTo>
                    <a:pt x="488" y="199"/>
                  </a:lnTo>
                  <a:lnTo>
                    <a:pt x="488" y="199"/>
                  </a:lnTo>
                  <a:lnTo>
                    <a:pt x="488" y="200"/>
                  </a:lnTo>
                  <a:lnTo>
                    <a:pt x="488" y="201"/>
                  </a:lnTo>
                  <a:lnTo>
                    <a:pt x="488" y="202"/>
                  </a:lnTo>
                  <a:lnTo>
                    <a:pt x="488" y="203"/>
                  </a:lnTo>
                  <a:lnTo>
                    <a:pt x="488" y="204"/>
                  </a:lnTo>
                  <a:lnTo>
                    <a:pt x="488" y="204"/>
                  </a:lnTo>
                  <a:lnTo>
                    <a:pt x="488" y="205"/>
                  </a:lnTo>
                  <a:lnTo>
                    <a:pt x="489" y="205"/>
                  </a:lnTo>
                  <a:lnTo>
                    <a:pt x="489" y="205"/>
                  </a:lnTo>
                  <a:lnTo>
                    <a:pt x="490" y="205"/>
                  </a:lnTo>
                  <a:lnTo>
                    <a:pt x="491" y="205"/>
                  </a:lnTo>
                  <a:lnTo>
                    <a:pt x="493" y="205"/>
                  </a:lnTo>
                  <a:lnTo>
                    <a:pt x="495" y="205"/>
                  </a:lnTo>
                  <a:lnTo>
                    <a:pt x="496" y="205"/>
                  </a:lnTo>
                  <a:lnTo>
                    <a:pt x="497" y="205"/>
                  </a:lnTo>
                  <a:lnTo>
                    <a:pt x="498" y="205"/>
                  </a:lnTo>
                  <a:lnTo>
                    <a:pt x="499" y="205"/>
                  </a:lnTo>
                  <a:lnTo>
                    <a:pt x="499" y="205"/>
                  </a:lnTo>
                  <a:lnTo>
                    <a:pt x="500" y="206"/>
                  </a:lnTo>
                  <a:lnTo>
                    <a:pt x="500" y="206"/>
                  </a:lnTo>
                  <a:lnTo>
                    <a:pt x="500" y="207"/>
                  </a:lnTo>
                  <a:lnTo>
                    <a:pt x="501" y="207"/>
                  </a:lnTo>
                  <a:lnTo>
                    <a:pt x="501" y="208"/>
                  </a:lnTo>
                  <a:lnTo>
                    <a:pt x="501" y="209"/>
                  </a:lnTo>
                  <a:lnTo>
                    <a:pt x="501" y="210"/>
                  </a:lnTo>
                  <a:lnTo>
                    <a:pt x="501" y="211"/>
                  </a:lnTo>
                  <a:lnTo>
                    <a:pt x="501" y="212"/>
                  </a:lnTo>
                  <a:lnTo>
                    <a:pt x="500" y="213"/>
                  </a:lnTo>
                  <a:lnTo>
                    <a:pt x="500" y="214"/>
                  </a:lnTo>
                  <a:lnTo>
                    <a:pt x="499" y="216"/>
                  </a:lnTo>
                  <a:lnTo>
                    <a:pt x="499" y="217"/>
                  </a:lnTo>
                  <a:lnTo>
                    <a:pt x="498" y="218"/>
                  </a:lnTo>
                  <a:lnTo>
                    <a:pt x="498" y="219"/>
                  </a:lnTo>
                  <a:lnTo>
                    <a:pt x="497" y="220"/>
                  </a:lnTo>
                  <a:lnTo>
                    <a:pt x="497" y="221"/>
                  </a:lnTo>
                  <a:lnTo>
                    <a:pt x="497" y="221"/>
                  </a:lnTo>
                  <a:lnTo>
                    <a:pt x="495" y="222"/>
                  </a:lnTo>
                  <a:lnTo>
                    <a:pt x="493" y="224"/>
                  </a:lnTo>
                  <a:lnTo>
                    <a:pt x="491" y="226"/>
                  </a:lnTo>
                  <a:lnTo>
                    <a:pt x="490" y="226"/>
                  </a:lnTo>
                  <a:lnTo>
                    <a:pt x="489" y="227"/>
                  </a:lnTo>
                  <a:lnTo>
                    <a:pt x="488" y="227"/>
                  </a:lnTo>
                  <a:lnTo>
                    <a:pt x="488" y="229"/>
                  </a:lnTo>
                  <a:lnTo>
                    <a:pt x="487" y="230"/>
                  </a:lnTo>
                  <a:lnTo>
                    <a:pt x="486" y="231"/>
                  </a:lnTo>
                  <a:lnTo>
                    <a:pt x="484" y="235"/>
                  </a:lnTo>
                  <a:lnTo>
                    <a:pt x="483" y="236"/>
                  </a:lnTo>
                  <a:lnTo>
                    <a:pt x="483" y="237"/>
                  </a:lnTo>
                  <a:lnTo>
                    <a:pt x="482" y="238"/>
                  </a:lnTo>
                  <a:lnTo>
                    <a:pt x="481" y="239"/>
                  </a:lnTo>
                  <a:lnTo>
                    <a:pt x="481" y="239"/>
                  </a:lnTo>
                  <a:lnTo>
                    <a:pt x="479" y="241"/>
                  </a:lnTo>
                  <a:lnTo>
                    <a:pt x="479" y="241"/>
                  </a:lnTo>
                  <a:lnTo>
                    <a:pt x="478" y="241"/>
                  </a:lnTo>
                  <a:lnTo>
                    <a:pt x="478" y="242"/>
                  </a:lnTo>
                  <a:lnTo>
                    <a:pt x="478" y="243"/>
                  </a:lnTo>
                  <a:lnTo>
                    <a:pt x="477" y="244"/>
                  </a:lnTo>
                  <a:lnTo>
                    <a:pt x="477" y="245"/>
                  </a:lnTo>
                  <a:lnTo>
                    <a:pt x="477" y="246"/>
                  </a:lnTo>
                  <a:lnTo>
                    <a:pt x="477" y="247"/>
                  </a:lnTo>
                  <a:lnTo>
                    <a:pt x="478" y="249"/>
                  </a:lnTo>
                  <a:lnTo>
                    <a:pt x="478" y="250"/>
                  </a:lnTo>
                  <a:lnTo>
                    <a:pt x="478" y="250"/>
                  </a:lnTo>
                  <a:lnTo>
                    <a:pt x="478" y="250"/>
                  </a:lnTo>
                  <a:lnTo>
                    <a:pt x="479" y="251"/>
                  </a:lnTo>
                  <a:lnTo>
                    <a:pt x="479" y="251"/>
                  </a:lnTo>
                  <a:lnTo>
                    <a:pt x="480" y="251"/>
                  </a:lnTo>
                  <a:lnTo>
                    <a:pt x="481" y="251"/>
                  </a:lnTo>
                  <a:lnTo>
                    <a:pt x="482" y="252"/>
                  </a:lnTo>
                  <a:lnTo>
                    <a:pt x="483" y="252"/>
                  </a:lnTo>
                  <a:lnTo>
                    <a:pt x="484" y="251"/>
                  </a:lnTo>
                  <a:lnTo>
                    <a:pt x="485" y="251"/>
                  </a:lnTo>
                  <a:lnTo>
                    <a:pt x="486" y="251"/>
                  </a:lnTo>
                  <a:lnTo>
                    <a:pt x="488" y="251"/>
                  </a:lnTo>
                  <a:lnTo>
                    <a:pt x="490" y="250"/>
                  </a:lnTo>
                  <a:lnTo>
                    <a:pt x="497" y="247"/>
                  </a:lnTo>
                  <a:lnTo>
                    <a:pt x="499" y="247"/>
                  </a:lnTo>
                  <a:lnTo>
                    <a:pt x="500" y="246"/>
                  </a:lnTo>
                  <a:lnTo>
                    <a:pt x="501" y="246"/>
                  </a:lnTo>
                  <a:lnTo>
                    <a:pt x="502" y="246"/>
                  </a:lnTo>
                  <a:lnTo>
                    <a:pt x="503" y="246"/>
                  </a:lnTo>
                  <a:lnTo>
                    <a:pt x="504" y="246"/>
                  </a:lnTo>
                  <a:lnTo>
                    <a:pt x="505" y="246"/>
                  </a:lnTo>
                  <a:lnTo>
                    <a:pt x="505" y="246"/>
                  </a:lnTo>
                  <a:lnTo>
                    <a:pt x="506" y="247"/>
                  </a:lnTo>
                  <a:lnTo>
                    <a:pt x="506" y="247"/>
                  </a:lnTo>
                  <a:lnTo>
                    <a:pt x="507" y="248"/>
                  </a:lnTo>
                  <a:lnTo>
                    <a:pt x="507" y="249"/>
                  </a:lnTo>
                  <a:lnTo>
                    <a:pt x="509" y="250"/>
                  </a:lnTo>
                  <a:lnTo>
                    <a:pt x="510" y="252"/>
                  </a:lnTo>
                  <a:lnTo>
                    <a:pt x="510" y="253"/>
                  </a:lnTo>
                  <a:lnTo>
                    <a:pt x="511" y="254"/>
                  </a:lnTo>
                  <a:lnTo>
                    <a:pt x="511" y="256"/>
                  </a:lnTo>
                  <a:lnTo>
                    <a:pt x="511" y="256"/>
                  </a:lnTo>
                  <a:lnTo>
                    <a:pt x="511" y="258"/>
                  </a:lnTo>
                  <a:lnTo>
                    <a:pt x="511" y="259"/>
                  </a:lnTo>
                  <a:lnTo>
                    <a:pt x="511" y="260"/>
                  </a:lnTo>
                  <a:lnTo>
                    <a:pt x="511" y="264"/>
                  </a:lnTo>
                  <a:lnTo>
                    <a:pt x="511" y="265"/>
                  </a:lnTo>
                  <a:lnTo>
                    <a:pt x="511" y="266"/>
                  </a:lnTo>
                  <a:lnTo>
                    <a:pt x="511" y="267"/>
                  </a:lnTo>
                  <a:lnTo>
                    <a:pt x="511" y="267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3" y="269"/>
                  </a:lnTo>
                  <a:lnTo>
                    <a:pt x="516" y="269"/>
                  </a:lnTo>
                  <a:lnTo>
                    <a:pt x="517" y="270"/>
                  </a:lnTo>
                  <a:lnTo>
                    <a:pt x="517" y="270"/>
                  </a:lnTo>
                  <a:lnTo>
                    <a:pt x="518" y="270"/>
                  </a:lnTo>
                  <a:lnTo>
                    <a:pt x="520" y="271"/>
                  </a:lnTo>
                  <a:lnTo>
                    <a:pt x="522" y="272"/>
                  </a:lnTo>
                  <a:lnTo>
                    <a:pt x="522" y="272"/>
                  </a:lnTo>
                  <a:lnTo>
                    <a:pt x="523" y="273"/>
                  </a:lnTo>
                  <a:lnTo>
                    <a:pt x="524" y="273"/>
                  </a:lnTo>
                  <a:lnTo>
                    <a:pt x="525" y="274"/>
                  </a:lnTo>
                  <a:lnTo>
                    <a:pt x="527" y="276"/>
                  </a:lnTo>
                  <a:lnTo>
                    <a:pt x="527" y="276"/>
                  </a:lnTo>
                  <a:lnTo>
                    <a:pt x="528" y="277"/>
                  </a:lnTo>
                  <a:lnTo>
                    <a:pt x="529" y="277"/>
                  </a:lnTo>
                  <a:lnTo>
                    <a:pt x="529" y="277"/>
                  </a:lnTo>
                  <a:lnTo>
                    <a:pt x="531" y="278"/>
                  </a:lnTo>
                  <a:lnTo>
                    <a:pt x="536" y="278"/>
                  </a:lnTo>
                  <a:lnTo>
                    <a:pt x="539" y="279"/>
                  </a:lnTo>
                  <a:lnTo>
                    <a:pt x="544" y="280"/>
                  </a:lnTo>
                  <a:lnTo>
                    <a:pt x="545" y="280"/>
                  </a:lnTo>
                  <a:lnTo>
                    <a:pt x="546" y="280"/>
                  </a:lnTo>
                  <a:lnTo>
                    <a:pt x="546" y="281"/>
                  </a:lnTo>
                  <a:lnTo>
                    <a:pt x="547" y="281"/>
                  </a:lnTo>
                  <a:lnTo>
                    <a:pt x="549" y="282"/>
                  </a:lnTo>
                  <a:lnTo>
                    <a:pt x="550" y="283"/>
                  </a:lnTo>
                  <a:lnTo>
                    <a:pt x="550" y="284"/>
                  </a:lnTo>
                  <a:lnTo>
                    <a:pt x="551" y="284"/>
                  </a:lnTo>
                  <a:lnTo>
                    <a:pt x="551" y="284"/>
                  </a:lnTo>
                  <a:lnTo>
                    <a:pt x="551" y="285"/>
                  </a:lnTo>
                  <a:lnTo>
                    <a:pt x="551" y="287"/>
                  </a:lnTo>
                  <a:lnTo>
                    <a:pt x="552" y="288"/>
                  </a:lnTo>
                  <a:lnTo>
                    <a:pt x="552" y="291"/>
                  </a:lnTo>
                  <a:lnTo>
                    <a:pt x="552" y="292"/>
                  </a:lnTo>
                  <a:lnTo>
                    <a:pt x="552" y="292"/>
                  </a:lnTo>
                  <a:lnTo>
                    <a:pt x="553" y="293"/>
                  </a:lnTo>
                  <a:lnTo>
                    <a:pt x="553" y="294"/>
                  </a:lnTo>
                  <a:lnTo>
                    <a:pt x="553" y="294"/>
                  </a:lnTo>
                  <a:lnTo>
                    <a:pt x="554" y="294"/>
                  </a:lnTo>
                  <a:lnTo>
                    <a:pt x="554" y="294"/>
                  </a:lnTo>
                  <a:lnTo>
                    <a:pt x="555" y="295"/>
                  </a:lnTo>
                  <a:lnTo>
                    <a:pt x="556" y="295"/>
                  </a:lnTo>
                  <a:lnTo>
                    <a:pt x="558" y="295"/>
                  </a:lnTo>
                  <a:lnTo>
                    <a:pt x="560" y="295"/>
                  </a:lnTo>
                  <a:lnTo>
                    <a:pt x="561" y="296"/>
                  </a:lnTo>
                  <a:lnTo>
                    <a:pt x="562" y="296"/>
                  </a:lnTo>
                  <a:lnTo>
                    <a:pt x="563" y="296"/>
                  </a:lnTo>
                  <a:lnTo>
                    <a:pt x="563" y="297"/>
                  </a:lnTo>
                  <a:lnTo>
                    <a:pt x="564" y="297"/>
                  </a:lnTo>
                  <a:lnTo>
                    <a:pt x="570" y="301"/>
                  </a:lnTo>
                  <a:lnTo>
                    <a:pt x="571" y="302"/>
                  </a:lnTo>
                  <a:lnTo>
                    <a:pt x="572" y="303"/>
                  </a:lnTo>
                  <a:lnTo>
                    <a:pt x="574" y="304"/>
                  </a:lnTo>
                  <a:lnTo>
                    <a:pt x="575" y="304"/>
                  </a:lnTo>
                  <a:lnTo>
                    <a:pt x="575" y="304"/>
                  </a:lnTo>
                  <a:lnTo>
                    <a:pt x="576" y="304"/>
                  </a:lnTo>
                  <a:lnTo>
                    <a:pt x="577" y="305"/>
                  </a:lnTo>
                  <a:lnTo>
                    <a:pt x="578" y="304"/>
                  </a:lnTo>
                  <a:lnTo>
                    <a:pt x="579" y="304"/>
                  </a:lnTo>
                  <a:lnTo>
                    <a:pt x="580" y="304"/>
                  </a:lnTo>
                  <a:lnTo>
                    <a:pt x="584" y="303"/>
                  </a:lnTo>
                  <a:lnTo>
                    <a:pt x="586" y="303"/>
                  </a:lnTo>
                  <a:lnTo>
                    <a:pt x="587" y="303"/>
                  </a:lnTo>
                  <a:lnTo>
                    <a:pt x="590" y="303"/>
                  </a:lnTo>
                  <a:lnTo>
                    <a:pt x="594" y="302"/>
                  </a:lnTo>
                  <a:lnTo>
                    <a:pt x="594" y="302"/>
                  </a:lnTo>
                  <a:lnTo>
                    <a:pt x="595" y="302"/>
                  </a:lnTo>
                  <a:lnTo>
                    <a:pt x="596" y="302"/>
                  </a:lnTo>
                  <a:lnTo>
                    <a:pt x="596" y="302"/>
                  </a:lnTo>
                  <a:lnTo>
                    <a:pt x="597" y="303"/>
                  </a:lnTo>
                  <a:lnTo>
                    <a:pt x="600" y="304"/>
                  </a:lnTo>
                  <a:lnTo>
                    <a:pt x="602" y="304"/>
                  </a:lnTo>
                  <a:lnTo>
                    <a:pt x="603" y="305"/>
                  </a:lnTo>
                  <a:lnTo>
                    <a:pt x="604" y="305"/>
                  </a:lnTo>
                  <a:lnTo>
                    <a:pt x="605" y="306"/>
                  </a:lnTo>
                  <a:lnTo>
                    <a:pt x="607" y="307"/>
                  </a:lnTo>
                  <a:lnTo>
                    <a:pt x="608" y="308"/>
                  </a:lnTo>
                  <a:lnTo>
                    <a:pt x="608" y="308"/>
                  </a:lnTo>
                  <a:lnTo>
                    <a:pt x="608" y="309"/>
                  </a:lnTo>
                  <a:lnTo>
                    <a:pt x="609" y="309"/>
                  </a:lnTo>
                  <a:lnTo>
                    <a:pt x="609" y="310"/>
                  </a:lnTo>
                  <a:lnTo>
                    <a:pt x="609" y="310"/>
                  </a:lnTo>
                  <a:lnTo>
                    <a:pt x="609" y="311"/>
                  </a:lnTo>
                  <a:lnTo>
                    <a:pt x="610" y="312"/>
                  </a:lnTo>
                  <a:lnTo>
                    <a:pt x="610" y="313"/>
                  </a:lnTo>
                  <a:lnTo>
                    <a:pt x="610" y="315"/>
                  </a:lnTo>
                  <a:lnTo>
                    <a:pt x="610" y="316"/>
                  </a:lnTo>
                  <a:lnTo>
                    <a:pt x="610" y="317"/>
                  </a:lnTo>
                  <a:lnTo>
                    <a:pt x="611" y="317"/>
                  </a:lnTo>
                  <a:lnTo>
                    <a:pt x="611" y="318"/>
                  </a:lnTo>
                  <a:lnTo>
                    <a:pt x="611" y="318"/>
                  </a:lnTo>
                  <a:lnTo>
                    <a:pt x="612" y="319"/>
                  </a:lnTo>
                  <a:lnTo>
                    <a:pt x="612" y="319"/>
                  </a:lnTo>
                  <a:lnTo>
                    <a:pt x="613" y="319"/>
                  </a:lnTo>
                  <a:lnTo>
                    <a:pt x="614" y="320"/>
                  </a:lnTo>
                  <a:lnTo>
                    <a:pt x="616" y="321"/>
                  </a:lnTo>
                  <a:lnTo>
                    <a:pt x="617" y="321"/>
                  </a:lnTo>
                  <a:lnTo>
                    <a:pt x="624" y="324"/>
                  </a:lnTo>
                  <a:lnTo>
                    <a:pt x="625" y="325"/>
                  </a:lnTo>
                  <a:lnTo>
                    <a:pt x="626" y="326"/>
                  </a:lnTo>
                  <a:lnTo>
                    <a:pt x="627" y="327"/>
                  </a:lnTo>
                  <a:lnTo>
                    <a:pt x="628" y="328"/>
                  </a:lnTo>
                  <a:lnTo>
                    <a:pt x="630" y="329"/>
                  </a:lnTo>
                  <a:lnTo>
                    <a:pt x="631" y="330"/>
                  </a:lnTo>
                  <a:lnTo>
                    <a:pt x="632" y="332"/>
                  </a:lnTo>
                  <a:lnTo>
                    <a:pt x="635" y="337"/>
                  </a:lnTo>
                  <a:lnTo>
                    <a:pt x="638" y="340"/>
                  </a:lnTo>
                  <a:lnTo>
                    <a:pt x="638" y="341"/>
                  </a:lnTo>
                  <a:lnTo>
                    <a:pt x="639" y="342"/>
                  </a:lnTo>
                  <a:lnTo>
                    <a:pt x="639" y="343"/>
                  </a:lnTo>
                  <a:lnTo>
                    <a:pt x="641" y="346"/>
                  </a:lnTo>
                  <a:lnTo>
                    <a:pt x="641" y="348"/>
                  </a:lnTo>
                  <a:lnTo>
                    <a:pt x="642" y="349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1" y="350"/>
                  </a:lnTo>
                  <a:lnTo>
                    <a:pt x="641" y="350"/>
                  </a:lnTo>
                  <a:lnTo>
                    <a:pt x="640" y="350"/>
                  </a:lnTo>
                  <a:lnTo>
                    <a:pt x="638" y="351"/>
                  </a:lnTo>
                  <a:lnTo>
                    <a:pt x="635" y="354"/>
                  </a:lnTo>
                  <a:lnTo>
                    <a:pt x="630" y="357"/>
                  </a:lnTo>
                  <a:lnTo>
                    <a:pt x="629" y="358"/>
                  </a:lnTo>
                  <a:lnTo>
                    <a:pt x="626" y="361"/>
                  </a:lnTo>
                  <a:lnTo>
                    <a:pt x="625" y="361"/>
                  </a:lnTo>
                  <a:lnTo>
                    <a:pt x="624" y="362"/>
                  </a:lnTo>
                  <a:lnTo>
                    <a:pt x="623" y="362"/>
                  </a:lnTo>
                  <a:lnTo>
                    <a:pt x="623" y="362"/>
                  </a:lnTo>
                  <a:lnTo>
                    <a:pt x="622" y="363"/>
                  </a:lnTo>
                  <a:lnTo>
                    <a:pt x="621" y="363"/>
                  </a:lnTo>
                  <a:lnTo>
                    <a:pt x="619" y="363"/>
                  </a:lnTo>
                  <a:lnTo>
                    <a:pt x="616" y="364"/>
                  </a:lnTo>
                  <a:lnTo>
                    <a:pt x="615" y="364"/>
                  </a:lnTo>
                  <a:lnTo>
                    <a:pt x="615" y="364"/>
                  </a:lnTo>
                  <a:lnTo>
                    <a:pt x="614" y="365"/>
                  </a:lnTo>
                  <a:lnTo>
                    <a:pt x="613" y="366"/>
                  </a:lnTo>
                  <a:lnTo>
                    <a:pt x="612" y="367"/>
                  </a:lnTo>
                  <a:lnTo>
                    <a:pt x="611" y="367"/>
                  </a:lnTo>
                  <a:lnTo>
                    <a:pt x="611" y="367"/>
                  </a:lnTo>
                  <a:lnTo>
                    <a:pt x="610" y="367"/>
                  </a:lnTo>
                  <a:lnTo>
                    <a:pt x="608" y="368"/>
                  </a:lnTo>
                  <a:lnTo>
                    <a:pt x="607" y="368"/>
                  </a:lnTo>
                  <a:lnTo>
                    <a:pt x="607" y="368"/>
                  </a:lnTo>
                  <a:lnTo>
                    <a:pt x="606" y="368"/>
                  </a:lnTo>
                  <a:lnTo>
                    <a:pt x="605" y="368"/>
                  </a:lnTo>
                  <a:lnTo>
                    <a:pt x="605" y="367"/>
                  </a:lnTo>
                  <a:lnTo>
                    <a:pt x="604" y="367"/>
                  </a:lnTo>
                  <a:lnTo>
                    <a:pt x="603" y="366"/>
                  </a:lnTo>
                  <a:lnTo>
                    <a:pt x="603" y="366"/>
                  </a:lnTo>
                  <a:lnTo>
                    <a:pt x="602" y="366"/>
                  </a:lnTo>
                  <a:lnTo>
                    <a:pt x="600" y="365"/>
                  </a:lnTo>
                  <a:lnTo>
                    <a:pt x="600" y="365"/>
                  </a:lnTo>
                  <a:lnTo>
                    <a:pt x="599" y="364"/>
                  </a:lnTo>
                  <a:lnTo>
                    <a:pt x="598" y="363"/>
                  </a:lnTo>
                  <a:lnTo>
                    <a:pt x="594" y="361"/>
                  </a:lnTo>
                  <a:lnTo>
                    <a:pt x="593" y="360"/>
                  </a:lnTo>
                  <a:lnTo>
                    <a:pt x="591" y="359"/>
                  </a:lnTo>
                  <a:lnTo>
                    <a:pt x="590" y="359"/>
                  </a:lnTo>
                  <a:lnTo>
                    <a:pt x="589" y="358"/>
                  </a:lnTo>
                  <a:lnTo>
                    <a:pt x="587" y="358"/>
                  </a:lnTo>
                  <a:lnTo>
                    <a:pt x="586" y="358"/>
                  </a:lnTo>
                  <a:lnTo>
                    <a:pt x="585" y="358"/>
                  </a:lnTo>
                  <a:lnTo>
                    <a:pt x="584" y="358"/>
                  </a:lnTo>
                  <a:lnTo>
                    <a:pt x="583" y="358"/>
                  </a:lnTo>
                  <a:lnTo>
                    <a:pt x="583" y="358"/>
                  </a:lnTo>
                  <a:lnTo>
                    <a:pt x="582" y="358"/>
                  </a:lnTo>
                  <a:lnTo>
                    <a:pt x="581" y="358"/>
                  </a:lnTo>
                  <a:lnTo>
                    <a:pt x="579" y="359"/>
                  </a:lnTo>
                  <a:lnTo>
                    <a:pt x="579" y="360"/>
                  </a:lnTo>
                  <a:lnTo>
                    <a:pt x="578" y="361"/>
                  </a:lnTo>
                  <a:lnTo>
                    <a:pt x="575" y="363"/>
                  </a:lnTo>
                  <a:lnTo>
                    <a:pt x="574" y="364"/>
                  </a:lnTo>
                  <a:lnTo>
                    <a:pt x="569" y="367"/>
                  </a:lnTo>
                  <a:lnTo>
                    <a:pt x="568" y="368"/>
                  </a:lnTo>
                  <a:lnTo>
                    <a:pt x="567" y="369"/>
                  </a:lnTo>
                  <a:lnTo>
                    <a:pt x="566" y="369"/>
                  </a:lnTo>
                  <a:lnTo>
                    <a:pt x="565" y="369"/>
                  </a:lnTo>
                  <a:lnTo>
                    <a:pt x="565" y="369"/>
                  </a:lnTo>
                  <a:lnTo>
                    <a:pt x="564" y="369"/>
                  </a:lnTo>
                  <a:lnTo>
                    <a:pt x="562" y="370"/>
                  </a:lnTo>
                  <a:lnTo>
                    <a:pt x="559" y="370"/>
                  </a:lnTo>
                  <a:lnTo>
                    <a:pt x="558" y="370"/>
                  </a:lnTo>
                  <a:lnTo>
                    <a:pt x="557" y="370"/>
                  </a:lnTo>
                  <a:lnTo>
                    <a:pt x="556" y="369"/>
                  </a:lnTo>
                  <a:lnTo>
                    <a:pt x="555" y="369"/>
                  </a:lnTo>
                  <a:lnTo>
                    <a:pt x="555" y="369"/>
                  </a:lnTo>
                  <a:lnTo>
                    <a:pt x="553" y="368"/>
                  </a:lnTo>
                  <a:lnTo>
                    <a:pt x="552" y="367"/>
                  </a:lnTo>
                  <a:lnTo>
                    <a:pt x="551" y="367"/>
                  </a:lnTo>
                  <a:lnTo>
                    <a:pt x="549" y="365"/>
                  </a:lnTo>
                  <a:lnTo>
                    <a:pt x="548" y="364"/>
                  </a:lnTo>
                  <a:lnTo>
                    <a:pt x="546" y="362"/>
                  </a:lnTo>
                  <a:lnTo>
                    <a:pt x="543" y="360"/>
                  </a:lnTo>
                  <a:lnTo>
                    <a:pt x="542" y="359"/>
                  </a:lnTo>
                  <a:lnTo>
                    <a:pt x="542" y="359"/>
                  </a:lnTo>
                  <a:lnTo>
                    <a:pt x="541" y="358"/>
                  </a:lnTo>
                  <a:lnTo>
                    <a:pt x="538" y="357"/>
                  </a:lnTo>
                  <a:lnTo>
                    <a:pt x="537" y="357"/>
                  </a:lnTo>
                  <a:lnTo>
                    <a:pt x="533" y="354"/>
                  </a:lnTo>
                  <a:lnTo>
                    <a:pt x="530" y="352"/>
                  </a:lnTo>
                  <a:lnTo>
                    <a:pt x="529" y="351"/>
                  </a:lnTo>
                  <a:lnTo>
                    <a:pt x="528" y="351"/>
                  </a:lnTo>
                  <a:lnTo>
                    <a:pt x="527" y="351"/>
                  </a:lnTo>
                  <a:lnTo>
                    <a:pt x="523" y="349"/>
                  </a:lnTo>
                  <a:lnTo>
                    <a:pt x="520" y="348"/>
                  </a:lnTo>
                  <a:lnTo>
                    <a:pt x="518" y="348"/>
                  </a:lnTo>
                  <a:lnTo>
                    <a:pt x="517" y="347"/>
                  </a:lnTo>
                  <a:lnTo>
                    <a:pt x="515" y="347"/>
                  </a:lnTo>
                  <a:lnTo>
                    <a:pt x="514" y="346"/>
                  </a:lnTo>
                  <a:lnTo>
                    <a:pt x="512" y="346"/>
                  </a:lnTo>
                  <a:lnTo>
                    <a:pt x="511" y="346"/>
                  </a:lnTo>
                  <a:lnTo>
                    <a:pt x="509" y="345"/>
                  </a:lnTo>
                  <a:lnTo>
                    <a:pt x="508" y="345"/>
                  </a:lnTo>
                  <a:lnTo>
                    <a:pt x="507" y="345"/>
                  </a:lnTo>
                  <a:lnTo>
                    <a:pt x="506" y="346"/>
                  </a:lnTo>
                  <a:lnTo>
                    <a:pt x="505" y="346"/>
                  </a:lnTo>
                  <a:lnTo>
                    <a:pt x="505" y="346"/>
                  </a:lnTo>
                  <a:lnTo>
                    <a:pt x="504" y="347"/>
                  </a:lnTo>
                  <a:lnTo>
                    <a:pt x="503" y="347"/>
                  </a:lnTo>
                  <a:lnTo>
                    <a:pt x="502" y="348"/>
                  </a:lnTo>
                  <a:lnTo>
                    <a:pt x="501" y="348"/>
                  </a:lnTo>
                  <a:lnTo>
                    <a:pt x="499" y="350"/>
                  </a:lnTo>
                  <a:lnTo>
                    <a:pt x="497" y="353"/>
                  </a:lnTo>
                  <a:lnTo>
                    <a:pt x="492" y="357"/>
                  </a:lnTo>
                  <a:lnTo>
                    <a:pt x="490" y="358"/>
                  </a:lnTo>
                  <a:lnTo>
                    <a:pt x="486" y="361"/>
                  </a:lnTo>
                  <a:lnTo>
                    <a:pt x="484" y="363"/>
                  </a:lnTo>
                  <a:lnTo>
                    <a:pt x="483" y="364"/>
                  </a:lnTo>
                  <a:lnTo>
                    <a:pt x="482" y="365"/>
                  </a:lnTo>
                  <a:lnTo>
                    <a:pt x="481" y="366"/>
                  </a:lnTo>
                  <a:lnTo>
                    <a:pt x="480" y="367"/>
                  </a:lnTo>
                  <a:lnTo>
                    <a:pt x="480" y="367"/>
                  </a:lnTo>
                  <a:lnTo>
                    <a:pt x="479" y="368"/>
                  </a:lnTo>
                  <a:lnTo>
                    <a:pt x="479" y="369"/>
                  </a:lnTo>
                  <a:lnTo>
                    <a:pt x="478" y="370"/>
                  </a:lnTo>
                  <a:lnTo>
                    <a:pt x="477" y="375"/>
                  </a:lnTo>
                  <a:lnTo>
                    <a:pt x="476" y="376"/>
                  </a:lnTo>
                  <a:lnTo>
                    <a:pt x="476" y="377"/>
                  </a:lnTo>
                  <a:lnTo>
                    <a:pt x="475" y="378"/>
                  </a:lnTo>
                  <a:lnTo>
                    <a:pt x="474" y="380"/>
                  </a:lnTo>
                  <a:lnTo>
                    <a:pt x="473" y="383"/>
                  </a:lnTo>
                  <a:lnTo>
                    <a:pt x="472" y="385"/>
                  </a:lnTo>
                  <a:lnTo>
                    <a:pt x="471" y="386"/>
                  </a:lnTo>
                  <a:lnTo>
                    <a:pt x="470" y="387"/>
                  </a:lnTo>
                  <a:lnTo>
                    <a:pt x="466" y="391"/>
                  </a:lnTo>
                  <a:lnTo>
                    <a:pt x="462" y="396"/>
                  </a:lnTo>
                  <a:lnTo>
                    <a:pt x="461" y="397"/>
                  </a:lnTo>
                  <a:lnTo>
                    <a:pt x="459" y="399"/>
                  </a:lnTo>
                  <a:lnTo>
                    <a:pt x="459" y="400"/>
                  </a:lnTo>
                  <a:lnTo>
                    <a:pt x="455" y="406"/>
                  </a:lnTo>
                  <a:lnTo>
                    <a:pt x="454" y="408"/>
                  </a:lnTo>
                  <a:lnTo>
                    <a:pt x="452" y="412"/>
                  </a:lnTo>
                  <a:lnTo>
                    <a:pt x="451" y="414"/>
                  </a:lnTo>
                  <a:lnTo>
                    <a:pt x="449" y="418"/>
                  </a:lnTo>
                  <a:lnTo>
                    <a:pt x="448" y="421"/>
                  </a:lnTo>
                  <a:lnTo>
                    <a:pt x="447" y="423"/>
                  </a:lnTo>
                  <a:lnTo>
                    <a:pt x="446" y="425"/>
                  </a:lnTo>
                  <a:lnTo>
                    <a:pt x="445" y="429"/>
                  </a:lnTo>
                  <a:lnTo>
                    <a:pt x="444" y="431"/>
                  </a:lnTo>
                  <a:lnTo>
                    <a:pt x="444" y="432"/>
                  </a:lnTo>
                  <a:lnTo>
                    <a:pt x="442" y="435"/>
                  </a:lnTo>
                  <a:lnTo>
                    <a:pt x="441" y="436"/>
                  </a:lnTo>
                  <a:lnTo>
                    <a:pt x="440" y="438"/>
                  </a:lnTo>
                  <a:lnTo>
                    <a:pt x="439" y="440"/>
                  </a:lnTo>
                  <a:lnTo>
                    <a:pt x="439" y="442"/>
                  </a:lnTo>
                  <a:lnTo>
                    <a:pt x="439" y="443"/>
                  </a:lnTo>
                  <a:lnTo>
                    <a:pt x="438" y="444"/>
                  </a:lnTo>
                  <a:lnTo>
                    <a:pt x="438" y="447"/>
                  </a:lnTo>
                  <a:lnTo>
                    <a:pt x="437" y="451"/>
                  </a:lnTo>
                  <a:lnTo>
                    <a:pt x="436" y="453"/>
                  </a:lnTo>
                  <a:lnTo>
                    <a:pt x="436" y="455"/>
                  </a:lnTo>
                  <a:lnTo>
                    <a:pt x="436" y="456"/>
                  </a:lnTo>
                  <a:lnTo>
                    <a:pt x="435" y="458"/>
                  </a:lnTo>
                  <a:lnTo>
                    <a:pt x="435" y="458"/>
                  </a:lnTo>
                  <a:lnTo>
                    <a:pt x="434" y="460"/>
                  </a:lnTo>
                  <a:lnTo>
                    <a:pt x="434" y="461"/>
                  </a:lnTo>
                  <a:lnTo>
                    <a:pt x="433" y="461"/>
                  </a:lnTo>
                  <a:lnTo>
                    <a:pt x="432" y="462"/>
                  </a:lnTo>
                  <a:lnTo>
                    <a:pt x="431" y="463"/>
                  </a:lnTo>
                  <a:lnTo>
                    <a:pt x="431" y="463"/>
                  </a:lnTo>
                  <a:lnTo>
                    <a:pt x="430" y="464"/>
                  </a:lnTo>
                  <a:lnTo>
                    <a:pt x="429" y="464"/>
                  </a:lnTo>
                  <a:lnTo>
                    <a:pt x="429" y="464"/>
                  </a:lnTo>
                  <a:lnTo>
                    <a:pt x="428" y="464"/>
                  </a:lnTo>
                  <a:lnTo>
                    <a:pt x="428" y="464"/>
                  </a:lnTo>
                  <a:lnTo>
                    <a:pt x="427" y="464"/>
                  </a:lnTo>
                  <a:lnTo>
                    <a:pt x="426" y="464"/>
                  </a:lnTo>
                  <a:lnTo>
                    <a:pt x="426" y="463"/>
                  </a:lnTo>
                  <a:lnTo>
                    <a:pt x="425" y="463"/>
                  </a:lnTo>
                  <a:lnTo>
                    <a:pt x="425" y="462"/>
                  </a:lnTo>
                  <a:lnTo>
                    <a:pt x="425" y="462"/>
                  </a:lnTo>
                  <a:lnTo>
                    <a:pt x="425" y="461"/>
                  </a:lnTo>
                  <a:lnTo>
                    <a:pt x="425" y="460"/>
                  </a:lnTo>
                  <a:lnTo>
                    <a:pt x="425" y="460"/>
                  </a:lnTo>
                  <a:lnTo>
                    <a:pt x="424" y="456"/>
                  </a:lnTo>
                  <a:lnTo>
                    <a:pt x="423" y="452"/>
                  </a:lnTo>
                  <a:lnTo>
                    <a:pt x="423" y="450"/>
                  </a:lnTo>
                  <a:lnTo>
                    <a:pt x="423" y="447"/>
                  </a:lnTo>
                  <a:lnTo>
                    <a:pt x="423" y="445"/>
                  </a:lnTo>
                  <a:lnTo>
                    <a:pt x="422" y="442"/>
                  </a:lnTo>
                  <a:lnTo>
                    <a:pt x="421" y="439"/>
                  </a:lnTo>
                  <a:lnTo>
                    <a:pt x="421" y="438"/>
                  </a:lnTo>
                  <a:lnTo>
                    <a:pt x="421" y="436"/>
                  </a:lnTo>
                  <a:lnTo>
                    <a:pt x="421" y="432"/>
                  </a:lnTo>
                  <a:lnTo>
                    <a:pt x="420" y="431"/>
                  </a:lnTo>
                  <a:lnTo>
                    <a:pt x="420" y="429"/>
                  </a:lnTo>
                  <a:lnTo>
                    <a:pt x="420" y="428"/>
                  </a:lnTo>
                  <a:lnTo>
                    <a:pt x="420" y="427"/>
                  </a:lnTo>
                  <a:lnTo>
                    <a:pt x="419" y="426"/>
                  </a:lnTo>
                  <a:lnTo>
                    <a:pt x="419" y="425"/>
                  </a:lnTo>
                  <a:lnTo>
                    <a:pt x="418" y="424"/>
                  </a:lnTo>
                  <a:lnTo>
                    <a:pt x="417" y="423"/>
                  </a:lnTo>
                  <a:lnTo>
                    <a:pt x="416" y="422"/>
                  </a:lnTo>
                  <a:lnTo>
                    <a:pt x="416" y="421"/>
                  </a:lnTo>
                  <a:lnTo>
                    <a:pt x="415" y="421"/>
                  </a:lnTo>
                  <a:lnTo>
                    <a:pt x="415" y="421"/>
                  </a:lnTo>
                  <a:lnTo>
                    <a:pt x="414" y="421"/>
                  </a:lnTo>
                  <a:lnTo>
                    <a:pt x="413" y="420"/>
                  </a:lnTo>
                  <a:lnTo>
                    <a:pt x="412" y="420"/>
                  </a:lnTo>
                  <a:lnTo>
                    <a:pt x="411" y="420"/>
                  </a:lnTo>
                  <a:lnTo>
                    <a:pt x="410" y="420"/>
                  </a:lnTo>
                  <a:lnTo>
                    <a:pt x="410" y="420"/>
                  </a:lnTo>
                  <a:lnTo>
                    <a:pt x="409" y="420"/>
                  </a:lnTo>
                  <a:lnTo>
                    <a:pt x="408" y="420"/>
                  </a:lnTo>
                  <a:lnTo>
                    <a:pt x="406" y="421"/>
                  </a:lnTo>
                  <a:lnTo>
                    <a:pt x="405" y="421"/>
                  </a:lnTo>
                  <a:lnTo>
                    <a:pt x="403" y="421"/>
                  </a:lnTo>
                  <a:lnTo>
                    <a:pt x="401" y="422"/>
                  </a:lnTo>
                  <a:lnTo>
                    <a:pt x="399" y="422"/>
                  </a:lnTo>
                  <a:lnTo>
                    <a:pt x="396" y="422"/>
                  </a:lnTo>
                  <a:lnTo>
                    <a:pt x="392" y="423"/>
                  </a:lnTo>
                  <a:lnTo>
                    <a:pt x="390" y="423"/>
                  </a:lnTo>
                  <a:lnTo>
                    <a:pt x="387" y="424"/>
                  </a:lnTo>
                  <a:lnTo>
                    <a:pt x="386" y="424"/>
                  </a:lnTo>
                  <a:lnTo>
                    <a:pt x="385" y="424"/>
                  </a:lnTo>
                  <a:lnTo>
                    <a:pt x="383" y="423"/>
                  </a:lnTo>
                  <a:lnTo>
                    <a:pt x="379" y="423"/>
                  </a:lnTo>
                  <a:lnTo>
                    <a:pt x="378" y="422"/>
                  </a:lnTo>
                  <a:lnTo>
                    <a:pt x="376" y="421"/>
                  </a:lnTo>
                  <a:lnTo>
                    <a:pt x="374" y="420"/>
                  </a:lnTo>
                  <a:lnTo>
                    <a:pt x="373" y="420"/>
                  </a:lnTo>
                  <a:lnTo>
                    <a:pt x="372" y="419"/>
                  </a:lnTo>
                  <a:lnTo>
                    <a:pt x="369" y="417"/>
                  </a:lnTo>
                  <a:lnTo>
                    <a:pt x="368" y="416"/>
                  </a:lnTo>
                  <a:lnTo>
                    <a:pt x="368" y="416"/>
                  </a:lnTo>
                  <a:lnTo>
                    <a:pt x="367" y="415"/>
                  </a:lnTo>
                  <a:lnTo>
                    <a:pt x="365" y="414"/>
                  </a:lnTo>
                  <a:lnTo>
                    <a:pt x="364" y="414"/>
                  </a:lnTo>
                  <a:lnTo>
                    <a:pt x="362" y="414"/>
                  </a:lnTo>
                  <a:lnTo>
                    <a:pt x="362" y="413"/>
                  </a:lnTo>
                  <a:lnTo>
                    <a:pt x="361" y="413"/>
                  </a:lnTo>
                  <a:lnTo>
                    <a:pt x="360" y="413"/>
                  </a:lnTo>
                  <a:lnTo>
                    <a:pt x="359" y="413"/>
                  </a:lnTo>
                  <a:lnTo>
                    <a:pt x="358" y="413"/>
                  </a:lnTo>
                  <a:lnTo>
                    <a:pt x="357" y="413"/>
                  </a:lnTo>
                  <a:lnTo>
                    <a:pt x="354" y="413"/>
                  </a:lnTo>
                  <a:lnTo>
                    <a:pt x="353" y="413"/>
                  </a:lnTo>
                  <a:lnTo>
                    <a:pt x="352" y="413"/>
                  </a:lnTo>
                  <a:lnTo>
                    <a:pt x="352" y="413"/>
                  </a:lnTo>
                  <a:lnTo>
                    <a:pt x="351" y="413"/>
                  </a:lnTo>
                  <a:lnTo>
                    <a:pt x="351" y="413"/>
                  </a:lnTo>
                  <a:lnTo>
                    <a:pt x="350" y="413"/>
                  </a:lnTo>
                  <a:lnTo>
                    <a:pt x="350" y="412"/>
                  </a:lnTo>
                  <a:lnTo>
                    <a:pt x="350" y="412"/>
                  </a:lnTo>
                  <a:lnTo>
                    <a:pt x="349" y="412"/>
                  </a:lnTo>
                  <a:lnTo>
                    <a:pt x="349" y="411"/>
                  </a:lnTo>
                  <a:lnTo>
                    <a:pt x="349" y="411"/>
                  </a:lnTo>
                  <a:lnTo>
                    <a:pt x="348" y="410"/>
                  </a:lnTo>
                  <a:lnTo>
                    <a:pt x="348" y="409"/>
                  </a:lnTo>
                  <a:lnTo>
                    <a:pt x="348" y="409"/>
                  </a:lnTo>
                  <a:lnTo>
                    <a:pt x="347" y="405"/>
                  </a:lnTo>
                  <a:lnTo>
                    <a:pt x="347" y="402"/>
                  </a:lnTo>
                  <a:lnTo>
                    <a:pt x="347" y="401"/>
                  </a:lnTo>
                  <a:lnTo>
                    <a:pt x="347" y="401"/>
                  </a:lnTo>
                  <a:lnTo>
                    <a:pt x="346" y="400"/>
                  </a:lnTo>
                  <a:lnTo>
                    <a:pt x="346" y="399"/>
                  </a:lnTo>
                  <a:lnTo>
                    <a:pt x="345" y="398"/>
                  </a:lnTo>
                  <a:lnTo>
                    <a:pt x="345" y="397"/>
                  </a:lnTo>
                  <a:lnTo>
                    <a:pt x="344" y="396"/>
                  </a:lnTo>
                  <a:lnTo>
                    <a:pt x="343" y="394"/>
                  </a:lnTo>
                  <a:lnTo>
                    <a:pt x="342" y="394"/>
                  </a:lnTo>
                  <a:lnTo>
                    <a:pt x="341" y="393"/>
                  </a:lnTo>
                  <a:lnTo>
                    <a:pt x="340" y="393"/>
                  </a:lnTo>
                  <a:lnTo>
                    <a:pt x="339" y="392"/>
                  </a:lnTo>
                  <a:lnTo>
                    <a:pt x="338" y="392"/>
                  </a:lnTo>
                  <a:lnTo>
                    <a:pt x="337" y="392"/>
                  </a:lnTo>
                  <a:lnTo>
                    <a:pt x="336" y="391"/>
                  </a:lnTo>
                  <a:lnTo>
                    <a:pt x="335" y="391"/>
                  </a:lnTo>
                  <a:lnTo>
                    <a:pt x="331" y="392"/>
                  </a:lnTo>
                  <a:lnTo>
                    <a:pt x="330" y="392"/>
                  </a:lnTo>
                  <a:lnTo>
                    <a:pt x="328" y="392"/>
                  </a:lnTo>
                  <a:lnTo>
                    <a:pt x="327" y="391"/>
                  </a:lnTo>
                  <a:lnTo>
                    <a:pt x="326" y="391"/>
                  </a:lnTo>
                  <a:lnTo>
                    <a:pt x="325" y="391"/>
                  </a:lnTo>
                  <a:lnTo>
                    <a:pt x="323" y="391"/>
                  </a:lnTo>
                  <a:lnTo>
                    <a:pt x="322" y="390"/>
                  </a:lnTo>
                  <a:lnTo>
                    <a:pt x="321" y="390"/>
                  </a:lnTo>
                  <a:lnTo>
                    <a:pt x="315" y="386"/>
                  </a:lnTo>
                  <a:lnTo>
                    <a:pt x="313" y="385"/>
                  </a:lnTo>
                  <a:lnTo>
                    <a:pt x="310" y="383"/>
                  </a:lnTo>
                  <a:lnTo>
                    <a:pt x="309" y="382"/>
                  </a:lnTo>
                  <a:lnTo>
                    <a:pt x="307" y="382"/>
                  </a:lnTo>
                  <a:lnTo>
                    <a:pt x="307" y="381"/>
                  </a:lnTo>
                  <a:lnTo>
                    <a:pt x="306" y="381"/>
                  </a:lnTo>
                  <a:lnTo>
                    <a:pt x="305" y="381"/>
                  </a:lnTo>
                  <a:lnTo>
                    <a:pt x="305" y="381"/>
                  </a:lnTo>
                  <a:lnTo>
                    <a:pt x="304" y="381"/>
                  </a:lnTo>
                  <a:lnTo>
                    <a:pt x="304" y="381"/>
                  </a:lnTo>
                  <a:lnTo>
                    <a:pt x="302" y="381"/>
                  </a:lnTo>
                  <a:lnTo>
                    <a:pt x="300" y="382"/>
                  </a:lnTo>
                  <a:lnTo>
                    <a:pt x="299" y="382"/>
                  </a:lnTo>
                  <a:lnTo>
                    <a:pt x="297" y="382"/>
                  </a:lnTo>
                  <a:lnTo>
                    <a:pt x="296" y="383"/>
                  </a:lnTo>
                  <a:lnTo>
                    <a:pt x="293" y="383"/>
                  </a:lnTo>
                  <a:lnTo>
                    <a:pt x="291" y="383"/>
                  </a:lnTo>
                  <a:lnTo>
                    <a:pt x="288" y="383"/>
                  </a:lnTo>
                  <a:lnTo>
                    <a:pt x="285" y="382"/>
                  </a:lnTo>
                  <a:lnTo>
                    <a:pt x="284" y="382"/>
                  </a:lnTo>
                  <a:lnTo>
                    <a:pt x="283" y="382"/>
                  </a:lnTo>
                  <a:lnTo>
                    <a:pt x="282" y="382"/>
                  </a:lnTo>
                  <a:lnTo>
                    <a:pt x="282" y="383"/>
                  </a:lnTo>
                  <a:lnTo>
                    <a:pt x="281" y="383"/>
                  </a:lnTo>
                  <a:lnTo>
                    <a:pt x="280" y="383"/>
                  </a:lnTo>
                  <a:lnTo>
                    <a:pt x="280" y="384"/>
                  </a:lnTo>
                  <a:lnTo>
                    <a:pt x="279" y="385"/>
                  </a:lnTo>
                  <a:lnTo>
                    <a:pt x="278" y="386"/>
                  </a:lnTo>
                  <a:lnTo>
                    <a:pt x="277" y="387"/>
                  </a:lnTo>
                  <a:lnTo>
                    <a:pt x="276" y="389"/>
                  </a:lnTo>
                  <a:lnTo>
                    <a:pt x="275" y="392"/>
                  </a:lnTo>
                  <a:lnTo>
                    <a:pt x="274" y="394"/>
                  </a:lnTo>
                  <a:lnTo>
                    <a:pt x="273" y="397"/>
                  </a:lnTo>
                  <a:lnTo>
                    <a:pt x="272" y="399"/>
                  </a:lnTo>
                  <a:lnTo>
                    <a:pt x="272" y="400"/>
                  </a:lnTo>
                  <a:lnTo>
                    <a:pt x="271" y="401"/>
                  </a:lnTo>
                  <a:lnTo>
                    <a:pt x="269" y="405"/>
                  </a:lnTo>
                  <a:lnTo>
                    <a:pt x="266" y="409"/>
                  </a:lnTo>
                  <a:lnTo>
                    <a:pt x="265" y="410"/>
                  </a:lnTo>
                  <a:lnTo>
                    <a:pt x="264" y="411"/>
                  </a:lnTo>
                  <a:lnTo>
                    <a:pt x="264" y="412"/>
                  </a:lnTo>
                  <a:lnTo>
                    <a:pt x="262" y="413"/>
                  </a:lnTo>
                  <a:lnTo>
                    <a:pt x="261" y="413"/>
                  </a:lnTo>
                  <a:lnTo>
                    <a:pt x="259" y="415"/>
                  </a:lnTo>
                  <a:lnTo>
                    <a:pt x="258" y="416"/>
                  </a:lnTo>
                  <a:lnTo>
                    <a:pt x="256" y="416"/>
                  </a:lnTo>
                  <a:lnTo>
                    <a:pt x="256" y="417"/>
                  </a:lnTo>
                  <a:lnTo>
                    <a:pt x="255" y="417"/>
                  </a:lnTo>
                  <a:lnTo>
                    <a:pt x="254" y="417"/>
                  </a:lnTo>
                  <a:lnTo>
                    <a:pt x="253" y="417"/>
                  </a:lnTo>
                  <a:lnTo>
                    <a:pt x="252" y="416"/>
                  </a:lnTo>
                  <a:lnTo>
                    <a:pt x="251" y="416"/>
                  </a:lnTo>
                  <a:lnTo>
                    <a:pt x="250" y="416"/>
                  </a:lnTo>
                  <a:lnTo>
                    <a:pt x="250" y="416"/>
                  </a:lnTo>
                  <a:lnTo>
                    <a:pt x="248" y="414"/>
                  </a:lnTo>
                  <a:lnTo>
                    <a:pt x="248" y="414"/>
                  </a:lnTo>
                  <a:lnTo>
                    <a:pt x="247" y="414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5" y="413"/>
                  </a:lnTo>
                  <a:lnTo>
                    <a:pt x="245" y="413"/>
                  </a:lnTo>
                  <a:lnTo>
                    <a:pt x="244" y="414"/>
                  </a:lnTo>
                  <a:lnTo>
                    <a:pt x="242" y="415"/>
                  </a:lnTo>
                  <a:lnTo>
                    <a:pt x="242" y="415"/>
                  </a:lnTo>
                  <a:lnTo>
                    <a:pt x="241" y="415"/>
                  </a:lnTo>
                  <a:lnTo>
                    <a:pt x="241" y="415"/>
                  </a:lnTo>
                  <a:lnTo>
                    <a:pt x="240" y="415"/>
                  </a:lnTo>
                  <a:lnTo>
                    <a:pt x="239" y="415"/>
                  </a:lnTo>
                  <a:lnTo>
                    <a:pt x="238" y="415"/>
                  </a:lnTo>
                  <a:lnTo>
                    <a:pt x="237" y="415"/>
                  </a:lnTo>
                  <a:lnTo>
                    <a:pt x="236" y="415"/>
                  </a:lnTo>
                  <a:lnTo>
                    <a:pt x="233" y="415"/>
                  </a:lnTo>
                  <a:lnTo>
                    <a:pt x="231" y="414"/>
                  </a:lnTo>
                  <a:lnTo>
                    <a:pt x="229" y="414"/>
                  </a:lnTo>
                  <a:lnTo>
                    <a:pt x="227" y="414"/>
                  </a:lnTo>
                  <a:lnTo>
                    <a:pt x="226" y="414"/>
                  </a:lnTo>
                  <a:lnTo>
                    <a:pt x="224" y="414"/>
                  </a:lnTo>
                  <a:lnTo>
                    <a:pt x="220" y="414"/>
                  </a:lnTo>
                  <a:lnTo>
                    <a:pt x="218" y="414"/>
                  </a:lnTo>
                  <a:lnTo>
                    <a:pt x="215" y="414"/>
                  </a:lnTo>
                  <a:lnTo>
                    <a:pt x="212" y="413"/>
                  </a:lnTo>
                  <a:lnTo>
                    <a:pt x="207" y="413"/>
                  </a:lnTo>
                  <a:lnTo>
                    <a:pt x="195" y="412"/>
                  </a:lnTo>
                  <a:lnTo>
                    <a:pt x="192" y="411"/>
                  </a:lnTo>
                  <a:lnTo>
                    <a:pt x="191" y="411"/>
                  </a:lnTo>
                  <a:lnTo>
                    <a:pt x="189" y="411"/>
                  </a:lnTo>
                  <a:lnTo>
                    <a:pt x="188" y="411"/>
                  </a:lnTo>
                  <a:lnTo>
                    <a:pt x="185" y="412"/>
                  </a:lnTo>
                  <a:lnTo>
                    <a:pt x="183" y="412"/>
                  </a:lnTo>
                  <a:lnTo>
                    <a:pt x="181" y="412"/>
                  </a:lnTo>
                  <a:lnTo>
                    <a:pt x="178" y="411"/>
                  </a:lnTo>
                  <a:lnTo>
                    <a:pt x="173" y="411"/>
                  </a:lnTo>
                  <a:lnTo>
                    <a:pt x="172" y="411"/>
                  </a:lnTo>
                  <a:lnTo>
                    <a:pt x="171" y="411"/>
                  </a:lnTo>
                  <a:lnTo>
                    <a:pt x="169" y="411"/>
                  </a:lnTo>
                  <a:lnTo>
                    <a:pt x="168" y="410"/>
                  </a:lnTo>
                  <a:lnTo>
                    <a:pt x="167" y="410"/>
                  </a:lnTo>
                  <a:lnTo>
                    <a:pt x="165" y="409"/>
                  </a:lnTo>
                  <a:lnTo>
                    <a:pt x="164" y="409"/>
                  </a:lnTo>
                  <a:lnTo>
                    <a:pt x="162" y="408"/>
                  </a:lnTo>
                  <a:lnTo>
                    <a:pt x="161" y="407"/>
                  </a:lnTo>
                  <a:lnTo>
                    <a:pt x="159" y="406"/>
                  </a:lnTo>
                  <a:lnTo>
                    <a:pt x="153" y="403"/>
                  </a:lnTo>
                  <a:lnTo>
                    <a:pt x="144" y="399"/>
                  </a:lnTo>
                  <a:lnTo>
                    <a:pt x="141" y="397"/>
                  </a:lnTo>
                  <a:lnTo>
                    <a:pt x="140" y="396"/>
                  </a:lnTo>
                  <a:lnTo>
                    <a:pt x="139" y="396"/>
                  </a:lnTo>
                  <a:lnTo>
                    <a:pt x="138" y="395"/>
                  </a:lnTo>
                  <a:lnTo>
                    <a:pt x="136" y="394"/>
                  </a:lnTo>
                  <a:lnTo>
                    <a:pt x="135" y="392"/>
                  </a:lnTo>
                  <a:lnTo>
                    <a:pt x="133" y="391"/>
                  </a:lnTo>
                  <a:lnTo>
                    <a:pt x="131" y="390"/>
                  </a:lnTo>
                  <a:lnTo>
                    <a:pt x="130" y="388"/>
                  </a:lnTo>
                  <a:lnTo>
                    <a:pt x="129" y="387"/>
                  </a:lnTo>
                  <a:lnTo>
                    <a:pt x="128" y="386"/>
                  </a:lnTo>
                  <a:lnTo>
                    <a:pt x="128" y="386"/>
                  </a:lnTo>
                  <a:lnTo>
                    <a:pt x="127" y="385"/>
                  </a:lnTo>
                  <a:lnTo>
                    <a:pt x="127" y="384"/>
                  </a:lnTo>
                  <a:lnTo>
                    <a:pt x="127" y="384"/>
                  </a:lnTo>
                  <a:lnTo>
                    <a:pt x="126" y="382"/>
                  </a:lnTo>
                  <a:lnTo>
                    <a:pt x="125" y="380"/>
                  </a:lnTo>
                  <a:lnTo>
                    <a:pt x="125" y="379"/>
                  </a:lnTo>
                  <a:lnTo>
                    <a:pt x="125" y="379"/>
                  </a:lnTo>
                  <a:lnTo>
                    <a:pt x="125" y="378"/>
                  </a:lnTo>
                  <a:lnTo>
                    <a:pt x="125" y="378"/>
                  </a:lnTo>
                  <a:lnTo>
                    <a:pt x="124" y="377"/>
                  </a:lnTo>
                  <a:lnTo>
                    <a:pt x="124" y="377"/>
                  </a:lnTo>
                  <a:lnTo>
                    <a:pt x="123" y="377"/>
                  </a:lnTo>
                  <a:lnTo>
                    <a:pt x="123" y="376"/>
                  </a:lnTo>
                  <a:lnTo>
                    <a:pt x="122" y="376"/>
                  </a:lnTo>
                  <a:lnTo>
                    <a:pt x="121" y="376"/>
                  </a:lnTo>
                  <a:lnTo>
                    <a:pt x="120" y="376"/>
                  </a:lnTo>
                  <a:lnTo>
                    <a:pt x="120" y="376"/>
                  </a:lnTo>
                  <a:lnTo>
                    <a:pt x="119" y="375"/>
                  </a:lnTo>
                  <a:lnTo>
                    <a:pt x="119" y="375"/>
                  </a:lnTo>
                  <a:lnTo>
                    <a:pt x="118" y="374"/>
                  </a:lnTo>
                  <a:lnTo>
                    <a:pt x="117" y="373"/>
                  </a:lnTo>
                  <a:lnTo>
                    <a:pt x="116" y="372"/>
                  </a:lnTo>
                  <a:lnTo>
                    <a:pt x="115" y="372"/>
                  </a:lnTo>
                  <a:lnTo>
                    <a:pt x="115" y="371"/>
                  </a:lnTo>
                  <a:lnTo>
                    <a:pt x="114" y="371"/>
                  </a:lnTo>
                  <a:lnTo>
                    <a:pt x="113" y="371"/>
                  </a:lnTo>
                  <a:lnTo>
                    <a:pt x="110" y="370"/>
                  </a:lnTo>
                  <a:lnTo>
                    <a:pt x="110" y="370"/>
                  </a:lnTo>
                  <a:lnTo>
                    <a:pt x="109" y="370"/>
                  </a:lnTo>
                  <a:lnTo>
                    <a:pt x="109" y="369"/>
                  </a:lnTo>
                  <a:lnTo>
                    <a:pt x="109" y="369"/>
                  </a:lnTo>
                  <a:lnTo>
                    <a:pt x="109" y="369"/>
                  </a:lnTo>
                  <a:lnTo>
                    <a:pt x="108" y="368"/>
                  </a:lnTo>
                  <a:lnTo>
                    <a:pt x="108" y="368"/>
                  </a:lnTo>
                  <a:lnTo>
                    <a:pt x="108" y="367"/>
                  </a:lnTo>
                  <a:lnTo>
                    <a:pt x="107" y="367"/>
                  </a:lnTo>
                  <a:lnTo>
                    <a:pt x="107" y="366"/>
                  </a:lnTo>
                  <a:lnTo>
                    <a:pt x="106" y="366"/>
                  </a:lnTo>
                  <a:lnTo>
                    <a:pt x="105" y="365"/>
                  </a:lnTo>
                  <a:lnTo>
                    <a:pt x="104" y="365"/>
                  </a:lnTo>
                  <a:lnTo>
                    <a:pt x="103" y="363"/>
                  </a:lnTo>
                  <a:lnTo>
                    <a:pt x="102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99" y="361"/>
                  </a:lnTo>
                  <a:lnTo>
                    <a:pt x="98" y="361"/>
                  </a:lnTo>
                  <a:lnTo>
                    <a:pt x="96" y="360"/>
                  </a:lnTo>
                  <a:lnTo>
                    <a:pt x="96" y="360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4" y="358"/>
                  </a:lnTo>
                  <a:lnTo>
                    <a:pt x="94" y="358"/>
                  </a:lnTo>
                  <a:lnTo>
                    <a:pt x="93" y="356"/>
                  </a:lnTo>
                  <a:lnTo>
                    <a:pt x="92" y="356"/>
                  </a:lnTo>
                  <a:lnTo>
                    <a:pt x="92" y="356"/>
                  </a:lnTo>
                  <a:lnTo>
                    <a:pt x="92" y="355"/>
                  </a:lnTo>
                  <a:lnTo>
                    <a:pt x="91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90" y="354"/>
                  </a:lnTo>
                  <a:lnTo>
                    <a:pt x="89" y="354"/>
                  </a:lnTo>
                  <a:lnTo>
                    <a:pt x="88" y="354"/>
                  </a:lnTo>
                  <a:lnTo>
                    <a:pt x="85" y="354"/>
                  </a:lnTo>
                  <a:lnTo>
                    <a:pt x="83" y="354"/>
                  </a:lnTo>
                  <a:lnTo>
                    <a:pt x="81" y="354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6" y="355"/>
                  </a:lnTo>
                  <a:lnTo>
                    <a:pt x="75" y="355"/>
                  </a:lnTo>
                  <a:lnTo>
                    <a:pt x="74" y="355"/>
                  </a:lnTo>
                  <a:lnTo>
                    <a:pt x="73" y="356"/>
                  </a:lnTo>
                  <a:lnTo>
                    <a:pt x="72" y="356"/>
                  </a:lnTo>
                  <a:lnTo>
                    <a:pt x="71" y="357"/>
                  </a:lnTo>
                  <a:lnTo>
                    <a:pt x="68" y="359"/>
                  </a:lnTo>
                  <a:lnTo>
                    <a:pt x="67" y="360"/>
                  </a:lnTo>
                  <a:lnTo>
                    <a:pt x="66" y="360"/>
                  </a:lnTo>
                  <a:lnTo>
                    <a:pt x="65" y="361"/>
                  </a:lnTo>
                  <a:lnTo>
                    <a:pt x="64" y="361"/>
                  </a:lnTo>
                  <a:lnTo>
                    <a:pt x="63" y="361"/>
                  </a:lnTo>
                  <a:lnTo>
                    <a:pt x="62" y="362"/>
                  </a:lnTo>
                  <a:lnTo>
                    <a:pt x="61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7" y="362"/>
                  </a:lnTo>
                  <a:lnTo>
                    <a:pt x="54" y="362"/>
                  </a:lnTo>
                  <a:lnTo>
                    <a:pt x="48" y="361"/>
                  </a:lnTo>
                  <a:lnTo>
                    <a:pt x="47" y="360"/>
                  </a:lnTo>
                  <a:lnTo>
                    <a:pt x="45" y="360"/>
                  </a:lnTo>
                  <a:lnTo>
                    <a:pt x="44" y="359"/>
                  </a:lnTo>
                  <a:lnTo>
                    <a:pt x="43" y="359"/>
                  </a:lnTo>
                  <a:lnTo>
                    <a:pt x="42" y="358"/>
                  </a:lnTo>
                  <a:lnTo>
                    <a:pt x="40" y="357"/>
                  </a:lnTo>
                  <a:lnTo>
                    <a:pt x="39" y="356"/>
                  </a:lnTo>
                  <a:lnTo>
                    <a:pt x="35" y="352"/>
                  </a:lnTo>
                  <a:lnTo>
                    <a:pt x="34" y="351"/>
                  </a:lnTo>
                  <a:lnTo>
                    <a:pt x="33" y="350"/>
                  </a:lnTo>
                  <a:lnTo>
                    <a:pt x="31" y="350"/>
                  </a:lnTo>
                  <a:lnTo>
                    <a:pt x="30" y="349"/>
                  </a:lnTo>
                  <a:lnTo>
                    <a:pt x="27" y="348"/>
                  </a:lnTo>
                  <a:lnTo>
                    <a:pt x="24" y="346"/>
                  </a:lnTo>
                  <a:lnTo>
                    <a:pt x="23" y="345"/>
                  </a:lnTo>
                  <a:lnTo>
                    <a:pt x="21" y="344"/>
                  </a:lnTo>
                  <a:lnTo>
                    <a:pt x="20" y="344"/>
                  </a:lnTo>
                  <a:lnTo>
                    <a:pt x="18" y="343"/>
                  </a:lnTo>
                  <a:lnTo>
                    <a:pt x="12" y="342"/>
                  </a:lnTo>
                  <a:lnTo>
                    <a:pt x="10" y="342"/>
                  </a:lnTo>
                  <a:lnTo>
                    <a:pt x="9" y="342"/>
                  </a:lnTo>
                  <a:lnTo>
                    <a:pt x="7" y="341"/>
                  </a:lnTo>
                  <a:lnTo>
                    <a:pt x="5" y="341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1" y="336"/>
                  </a:lnTo>
                  <a:lnTo>
                    <a:pt x="2" y="333"/>
                  </a:lnTo>
                  <a:lnTo>
                    <a:pt x="2" y="332"/>
                  </a:lnTo>
                  <a:lnTo>
                    <a:pt x="3" y="332"/>
                  </a:lnTo>
                  <a:lnTo>
                    <a:pt x="3" y="332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5" y="331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6" y="329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7" y="327"/>
                  </a:lnTo>
                  <a:lnTo>
                    <a:pt x="8" y="326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9" y="323"/>
                  </a:lnTo>
                  <a:lnTo>
                    <a:pt x="10" y="323"/>
                  </a:lnTo>
                  <a:lnTo>
                    <a:pt x="10" y="323"/>
                  </a:lnTo>
                  <a:lnTo>
                    <a:pt x="11" y="323"/>
                  </a:lnTo>
                  <a:lnTo>
                    <a:pt x="11" y="323"/>
                  </a:lnTo>
                  <a:lnTo>
                    <a:pt x="11" y="322"/>
                  </a:lnTo>
                  <a:lnTo>
                    <a:pt x="13" y="321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19"/>
                  </a:lnTo>
                  <a:lnTo>
                    <a:pt x="14" y="319"/>
                  </a:lnTo>
                  <a:lnTo>
                    <a:pt x="14" y="319"/>
                  </a:lnTo>
                  <a:lnTo>
                    <a:pt x="15" y="318"/>
                  </a:lnTo>
                  <a:lnTo>
                    <a:pt x="16" y="318"/>
                  </a:lnTo>
                  <a:lnTo>
                    <a:pt x="17" y="318"/>
                  </a:lnTo>
                  <a:lnTo>
                    <a:pt x="18" y="318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2" y="318"/>
                  </a:lnTo>
                  <a:lnTo>
                    <a:pt x="23" y="319"/>
                  </a:lnTo>
                  <a:lnTo>
                    <a:pt x="25" y="320"/>
                  </a:lnTo>
                  <a:lnTo>
                    <a:pt x="25" y="321"/>
                  </a:lnTo>
                  <a:lnTo>
                    <a:pt x="26" y="321"/>
                  </a:lnTo>
                  <a:lnTo>
                    <a:pt x="27" y="321"/>
                  </a:lnTo>
                  <a:lnTo>
                    <a:pt x="28" y="322"/>
                  </a:lnTo>
                  <a:lnTo>
                    <a:pt x="29" y="322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2" y="321"/>
                  </a:lnTo>
                  <a:lnTo>
                    <a:pt x="32" y="321"/>
                  </a:lnTo>
                  <a:lnTo>
                    <a:pt x="33" y="320"/>
                  </a:lnTo>
                  <a:lnTo>
                    <a:pt x="34" y="319"/>
                  </a:lnTo>
                  <a:lnTo>
                    <a:pt x="34" y="319"/>
                  </a:lnTo>
                  <a:lnTo>
                    <a:pt x="35" y="317"/>
                  </a:lnTo>
                  <a:lnTo>
                    <a:pt x="37" y="314"/>
                  </a:lnTo>
                  <a:lnTo>
                    <a:pt x="38" y="314"/>
                  </a:lnTo>
                  <a:lnTo>
                    <a:pt x="38" y="314"/>
                  </a:lnTo>
                  <a:lnTo>
                    <a:pt x="38" y="313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0" y="313"/>
                  </a:lnTo>
                  <a:lnTo>
                    <a:pt x="41" y="313"/>
                  </a:lnTo>
                  <a:lnTo>
                    <a:pt x="45" y="312"/>
                  </a:lnTo>
                  <a:lnTo>
                    <a:pt x="46" y="312"/>
                  </a:lnTo>
                  <a:lnTo>
                    <a:pt x="47" y="312"/>
                  </a:lnTo>
                  <a:lnTo>
                    <a:pt x="48" y="312"/>
                  </a:lnTo>
                  <a:lnTo>
                    <a:pt x="49" y="313"/>
                  </a:lnTo>
                  <a:lnTo>
                    <a:pt x="50" y="313"/>
                  </a:lnTo>
                  <a:lnTo>
                    <a:pt x="51" y="314"/>
                  </a:lnTo>
                  <a:lnTo>
                    <a:pt x="52" y="314"/>
                  </a:lnTo>
                  <a:lnTo>
                    <a:pt x="54" y="316"/>
                  </a:lnTo>
                  <a:lnTo>
                    <a:pt x="55" y="316"/>
                  </a:lnTo>
                  <a:lnTo>
                    <a:pt x="56" y="316"/>
                  </a:lnTo>
                  <a:lnTo>
                    <a:pt x="56" y="316"/>
                  </a:lnTo>
                  <a:lnTo>
                    <a:pt x="57" y="316"/>
                  </a:lnTo>
                  <a:lnTo>
                    <a:pt x="57" y="316"/>
                  </a:lnTo>
                  <a:lnTo>
                    <a:pt x="58" y="316"/>
                  </a:lnTo>
                  <a:lnTo>
                    <a:pt x="58" y="316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1" y="313"/>
                  </a:lnTo>
                  <a:lnTo>
                    <a:pt x="62" y="311"/>
                  </a:lnTo>
                  <a:lnTo>
                    <a:pt x="62" y="311"/>
                  </a:lnTo>
                  <a:lnTo>
                    <a:pt x="64" y="309"/>
                  </a:lnTo>
                  <a:lnTo>
                    <a:pt x="66" y="307"/>
                  </a:lnTo>
                  <a:lnTo>
                    <a:pt x="66" y="307"/>
                  </a:lnTo>
                  <a:lnTo>
                    <a:pt x="67" y="306"/>
                  </a:lnTo>
                  <a:lnTo>
                    <a:pt x="68" y="306"/>
                  </a:lnTo>
                  <a:lnTo>
                    <a:pt x="69" y="305"/>
                  </a:lnTo>
                  <a:lnTo>
                    <a:pt x="71" y="304"/>
                  </a:lnTo>
                  <a:lnTo>
                    <a:pt x="72" y="303"/>
                  </a:lnTo>
                  <a:lnTo>
                    <a:pt x="73" y="302"/>
                  </a:lnTo>
                  <a:lnTo>
                    <a:pt x="74" y="301"/>
                  </a:lnTo>
                  <a:lnTo>
                    <a:pt x="75" y="300"/>
                  </a:lnTo>
                  <a:lnTo>
                    <a:pt x="77" y="299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81" y="294"/>
                  </a:lnTo>
                  <a:lnTo>
                    <a:pt x="82" y="293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8" y="291"/>
                  </a:lnTo>
                  <a:lnTo>
                    <a:pt x="89" y="290"/>
                  </a:lnTo>
                  <a:lnTo>
                    <a:pt x="91" y="290"/>
                  </a:lnTo>
                  <a:lnTo>
                    <a:pt x="93" y="290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9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1" y="288"/>
                  </a:lnTo>
                  <a:lnTo>
                    <a:pt x="101" y="287"/>
                  </a:lnTo>
                  <a:lnTo>
                    <a:pt x="101" y="287"/>
                  </a:lnTo>
                  <a:lnTo>
                    <a:pt x="102" y="286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4" y="281"/>
                  </a:lnTo>
                  <a:lnTo>
                    <a:pt x="104" y="280"/>
                  </a:lnTo>
                  <a:lnTo>
                    <a:pt x="105" y="280"/>
                  </a:lnTo>
                  <a:lnTo>
                    <a:pt x="105" y="280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4" y="278"/>
                  </a:lnTo>
                  <a:lnTo>
                    <a:pt x="115" y="278"/>
                  </a:lnTo>
                  <a:lnTo>
                    <a:pt x="115" y="277"/>
                  </a:lnTo>
                  <a:lnTo>
                    <a:pt x="116" y="277"/>
                  </a:lnTo>
                  <a:lnTo>
                    <a:pt x="117" y="276"/>
                  </a:lnTo>
                  <a:lnTo>
                    <a:pt x="119" y="274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3"/>
                  </a:lnTo>
                  <a:lnTo>
                    <a:pt x="121" y="272"/>
                  </a:lnTo>
                  <a:lnTo>
                    <a:pt x="123" y="272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6" y="271"/>
                  </a:lnTo>
                  <a:lnTo>
                    <a:pt x="126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29" y="273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1" y="276"/>
                  </a:lnTo>
                  <a:lnTo>
                    <a:pt x="132" y="276"/>
                  </a:lnTo>
                  <a:lnTo>
                    <a:pt x="134" y="278"/>
                  </a:lnTo>
                  <a:lnTo>
                    <a:pt x="135" y="279"/>
                  </a:lnTo>
                  <a:lnTo>
                    <a:pt x="136" y="279"/>
                  </a:lnTo>
                  <a:lnTo>
                    <a:pt x="137" y="280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9" y="280"/>
                  </a:lnTo>
                  <a:lnTo>
                    <a:pt x="141" y="280"/>
                  </a:lnTo>
                  <a:lnTo>
                    <a:pt x="142" y="280"/>
                  </a:lnTo>
                  <a:lnTo>
                    <a:pt x="143" y="279"/>
                  </a:lnTo>
                  <a:lnTo>
                    <a:pt x="144" y="279"/>
                  </a:lnTo>
                  <a:lnTo>
                    <a:pt x="146" y="278"/>
                  </a:lnTo>
                  <a:lnTo>
                    <a:pt x="147" y="277"/>
                  </a:lnTo>
                  <a:lnTo>
                    <a:pt x="148" y="276"/>
                  </a:lnTo>
                  <a:lnTo>
                    <a:pt x="149" y="276"/>
                  </a:lnTo>
                  <a:lnTo>
                    <a:pt x="149" y="275"/>
                  </a:lnTo>
                  <a:lnTo>
                    <a:pt x="150" y="275"/>
                  </a:lnTo>
                  <a:lnTo>
                    <a:pt x="151" y="275"/>
                  </a:lnTo>
                  <a:lnTo>
                    <a:pt x="152" y="275"/>
                  </a:lnTo>
                  <a:lnTo>
                    <a:pt x="154" y="276"/>
                  </a:lnTo>
                  <a:lnTo>
                    <a:pt x="155" y="276"/>
                  </a:lnTo>
                  <a:lnTo>
                    <a:pt x="158" y="276"/>
                  </a:lnTo>
                  <a:lnTo>
                    <a:pt x="159" y="277"/>
                  </a:lnTo>
                  <a:lnTo>
                    <a:pt x="161" y="277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4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8" y="273"/>
                  </a:lnTo>
                  <a:lnTo>
                    <a:pt x="179" y="273"/>
                  </a:lnTo>
                  <a:lnTo>
                    <a:pt x="179" y="272"/>
                  </a:lnTo>
                  <a:lnTo>
                    <a:pt x="179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68"/>
                  </a:lnTo>
                  <a:lnTo>
                    <a:pt x="180" y="267"/>
                  </a:lnTo>
                  <a:lnTo>
                    <a:pt x="180" y="266"/>
                  </a:lnTo>
                  <a:lnTo>
                    <a:pt x="180" y="265"/>
                  </a:lnTo>
                  <a:lnTo>
                    <a:pt x="181" y="265"/>
                  </a:lnTo>
                  <a:lnTo>
                    <a:pt x="181" y="264"/>
                  </a:lnTo>
                  <a:lnTo>
                    <a:pt x="182" y="263"/>
                  </a:lnTo>
                  <a:lnTo>
                    <a:pt x="183" y="263"/>
                  </a:lnTo>
                  <a:lnTo>
                    <a:pt x="184" y="262"/>
                  </a:lnTo>
                  <a:lnTo>
                    <a:pt x="185" y="262"/>
                  </a:lnTo>
                  <a:lnTo>
                    <a:pt x="186" y="261"/>
                  </a:lnTo>
                  <a:lnTo>
                    <a:pt x="188" y="261"/>
                  </a:lnTo>
                  <a:lnTo>
                    <a:pt x="189" y="261"/>
                  </a:lnTo>
                  <a:lnTo>
                    <a:pt x="193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1" y="259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3" y="257"/>
                  </a:lnTo>
                  <a:lnTo>
                    <a:pt x="203" y="257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05" y="255"/>
                  </a:lnTo>
                  <a:lnTo>
                    <a:pt x="206" y="254"/>
                  </a:lnTo>
                  <a:lnTo>
                    <a:pt x="206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7" y="250"/>
                  </a:lnTo>
                  <a:lnTo>
                    <a:pt x="208" y="250"/>
                  </a:lnTo>
                  <a:lnTo>
                    <a:pt x="208" y="249"/>
                  </a:lnTo>
                  <a:lnTo>
                    <a:pt x="210" y="247"/>
                  </a:lnTo>
                  <a:lnTo>
                    <a:pt x="211" y="247"/>
                  </a:lnTo>
                  <a:lnTo>
                    <a:pt x="211" y="246"/>
                  </a:lnTo>
                  <a:lnTo>
                    <a:pt x="212" y="246"/>
                  </a:lnTo>
                  <a:lnTo>
                    <a:pt x="212" y="245"/>
                  </a:lnTo>
                  <a:lnTo>
                    <a:pt x="212" y="245"/>
                  </a:lnTo>
                  <a:lnTo>
                    <a:pt x="212" y="244"/>
                  </a:lnTo>
                  <a:lnTo>
                    <a:pt x="212" y="243"/>
                  </a:lnTo>
                  <a:lnTo>
                    <a:pt x="212" y="243"/>
                  </a:lnTo>
                  <a:lnTo>
                    <a:pt x="212" y="242"/>
                  </a:lnTo>
                  <a:lnTo>
                    <a:pt x="212" y="241"/>
                  </a:lnTo>
                  <a:lnTo>
                    <a:pt x="211" y="241"/>
                  </a:lnTo>
                  <a:lnTo>
                    <a:pt x="210" y="240"/>
                  </a:lnTo>
                  <a:lnTo>
                    <a:pt x="209" y="239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4" y="234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3" y="232"/>
                  </a:lnTo>
                  <a:lnTo>
                    <a:pt x="202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30"/>
                  </a:lnTo>
                  <a:lnTo>
                    <a:pt x="205" y="230"/>
                  </a:lnTo>
                  <a:lnTo>
                    <a:pt x="206" y="229"/>
                  </a:lnTo>
                  <a:lnTo>
                    <a:pt x="207" y="229"/>
                  </a:lnTo>
                  <a:lnTo>
                    <a:pt x="207" y="228"/>
                  </a:lnTo>
                  <a:lnTo>
                    <a:pt x="208" y="228"/>
                  </a:lnTo>
                  <a:lnTo>
                    <a:pt x="208" y="227"/>
                  </a:lnTo>
                  <a:lnTo>
                    <a:pt x="209" y="227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0" y="225"/>
                  </a:lnTo>
                  <a:lnTo>
                    <a:pt x="210" y="224"/>
                  </a:lnTo>
                  <a:lnTo>
                    <a:pt x="210" y="224"/>
                  </a:lnTo>
                  <a:lnTo>
                    <a:pt x="209" y="223"/>
                  </a:lnTo>
                  <a:lnTo>
                    <a:pt x="209" y="222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08" y="218"/>
                  </a:lnTo>
                  <a:lnTo>
                    <a:pt x="208" y="217"/>
                  </a:lnTo>
                  <a:lnTo>
                    <a:pt x="209" y="217"/>
                  </a:lnTo>
                  <a:lnTo>
                    <a:pt x="209" y="216"/>
                  </a:lnTo>
                  <a:lnTo>
                    <a:pt x="209" y="215"/>
                  </a:lnTo>
                  <a:lnTo>
                    <a:pt x="210" y="215"/>
                  </a:lnTo>
                  <a:lnTo>
                    <a:pt x="210" y="214"/>
                  </a:lnTo>
                  <a:lnTo>
                    <a:pt x="211" y="214"/>
                  </a:lnTo>
                  <a:lnTo>
                    <a:pt x="211" y="213"/>
                  </a:lnTo>
                  <a:lnTo>
                    <a:pt x="212" y="213"/>
                  </a:lnTo>
                  <a:lnTo>
                    <a:pt x="214" y="212"/>
                  </a:lnTo>
                  <a:lnTo>
                    <a:pt x="215" y="211"/>
                  </a:lnTo>
                  <a:lnTo>
                    <a:pt x="216" y="211"/>
                  </a:lnTo>
                  <a:lnTo>
                    <a:pt x="217" y="210"/>
                  </a:lnTo>
                  <a:lnTo>
                    <a:pt x="218" y="209"/>
                  </a:lnTo>
                  <a:lnTo>
                    <a:pt x="219" y="208"/>
                  </a:lnTo>
                  <a:lnTo>
                    <a:pt x="219" y="208"/>
                  </a:lnTo>
                  <a:lnTo>
                    <a:pt x="219" y="207"/>
                  </a:lnTo>
                  <a:lnTo>
                    <a:pt x="219" y="206"/>
                  </a:lnTo>
                  <a:lnTo>
                    <a:pt x="219" y="205"/>
                  </a:lnTo>
                  <a:lnTo>
                    <a:pt x="219" y="203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18" y="201"/>
                  </a:lnTo>
                  <a:lnTo>
                    <a:pt x="218" y="201"/>
                  </a:lnTo>
                  <a:lnTo>
                    <a:pt x="218" y="200"/>
                  </a:lnTo>
                  <a:lnTo>
                    <a:pt x="217" y="200"/>
                  </a:lnTo>
                  <a:lnTo>
                    <a:pt x="217" y="199"/>
                  </a:lnTo>
                  <a:lnTo>
                    <a:pt x="217" y="198"/>
                  </a:lnTo>
                  <a:lnTo>
                    <a:pt x="215" y="198"/>
                  </a:lnTo>
                  <a:lnTo>
                    <a:pt x="213" y="196"/>
                  </a:lnTo>
                  <a:lnTo>
                    <a:pt x="212" y="195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10" y="191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0" y="188"/>
                  </a:lnTo>
                  <a:lnTo>
                    <a:pt x="210" y="187"/>
                  </a:lnTo>
                  <a:lnTo>
                    <a:pt x="211" y="186"/>
                  </a:lnTo>
                  <a:lnTo>
                    <a:pt x="211" y="185"/>
                  </a:lnTo>
                  <a:lnTo>
                    <a:pt x="212" y="184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3" y="181"/>
                  </a:lnTo>
                  <a:lnTo>
                    <a:pt x="214" y="180"/>
                  </a:lnTo>
                  <a:lnTo>
                    <a:pt x="215" y="178"/>
                  </a:lnTo>
                  <a:lnTo>
                    <a:pt x="216" y="178"/>
                  </a:lnTo>
                  <a:lnTo>
                    <a:pt x="217" y="177"/>
                  </a:lnTo>
                  <a:lnTo>
                    <a:pt x="219" y="175"/>
                  </a:lnTo>
                  <a:lnTo>
                    <a:pt x="220" y="175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3"/>
                  </a:lnTo>
                  <a:lnTo>
                    <a:pt x="222" y="173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2" y="171"/>
                  </a:lnTo>
                  <a:lnTo>
                    <a:pt x="221" y="171"/>
                  </a:lnTo>
                  <a:lnTo>
                    <a:pt x="221" y="170"/>
                  </a:lnTo>
                  <a:lnTo>
                    <a:pt x="221" y="169"/>
                  </a:lnTo>
                  <a:lnTo>
                    <a:pt x="220" y="168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7" y="165"/>
                  </a:lnTo>
                  <a:lnTo>
                    <a:pt x="217" y="164"/>
                  </a:lnTo>
                  <a:lnTo>
                    <a:pt x="217" y="163"/>
                  </a:lnTo>
                  <a:lnTo>
                    <a:pt x="217" y="163"/>
                  </a:lnTo>
                  <a:lnTo>
                    <a:pt x="217" y="162"/>
                  </a:lnTo>
                  <a:lnTo>
                    <a:pt x="217" y="161"/>
                  </a:lnTo>
                  <a:lnTo>
                    <a:pt x="217" y="160"/>
                  </a:lnTo>
                  <a:lnTo>
                    <a:pt x="217" y="159"/>
                  </a:lnTo>
                  <a:lnTo>
                    <a:pt x="218" y="159"/>
                  </a:lnTo>
                  <a:lnTo>
                    <a:pt x="218" y="158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3" y="151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8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2" y="147"/>
                  </a:lnTo>
                  <a:lnTo>
                    <a:pt x="222" y="146"/>
                  </a:lnTo>
                  <a:lnTo>
                    <a:pt x="222" y="146"/>
                  </a:lnTo>
                  <a:lnTo>
                    <a:pt x="221" y="146"/>
                  </a:lnTo>
                  <a:lnTo>
                    <a:pt x="218" y="145"/>
                  </a:lnTo>
                  <a:lnTo>
                    <a:pt x="217" y="145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5" y="144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0"/>
                  </a:lnTo>
                  <a:lnTo>
                    <a:pt x="215" y="140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8"/>
                  </a:lnTo>
                  <a:lnTo>
                    <a:pt x="215" y="138"/>
                  </a:lnTo>
                  <a:lnTo>
                    <a:pt x="215" y="138"/>
                  </a:lnTo>
                  <a:lnTo>
                    <a:pt x="210" y="134"/>
                  </a:lnTo>
                  <a:lnTo>
                    <a:pt x="207" y="132"/>
                  </a:lnTo>
                  <a:lnTo>
                    <a:pt x="206" y="131"/>
                  </a:lnTo>
                  <a:lnTo>
                    <a:pt x="206" y="131"/>
                  </a:lnTo>
                  <a:lnTo>
                    <a:pt x="205" y="130"/>
                  </a:lnTo>
                  <a:lnTo>
                    <a:pt x="205" y="130"/>
                  </a:lnTo>
                  <a:lnTo>
                    <a:pt x="205" y="129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7"/>
                  </a:lnTo>
                  <a:lnTo>
                    <a:pt x="205" y="126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6" y="119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3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8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4"/>
                  </a:lnTo>
                  <a:lnTo>
                    <a:pt x="214" y="101"/>
                  </a:lnTo>
                  <a:lnTo>
                    <a:pt x="215" y="100"/>
                  </a:lnTo>
                  <a:lnTo>
                    <a:pt x="216" y="99"/>
                  </a:lnTo>
                  <a:lnTo>
                    <a:pt x="216" y="98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20" y="95"/>
                  </a:lnTo>
                  <a:lnTo>
                    <a:pt x="221" y="95"/>
                  </a:lnTo>
                  <a:lnTo>
                    <a:pt x="222" y="95"/>
                  </a:lnTo>
                  <a:lnTo>
                    <a:pt x="223" y="94"/>
                  </a:lnTo>
                  <a:lnTo>
                    <a:pt x="226" y="94"/>
                  </a:lnTo>
                  <a:lnTo>
                    <a:pt x="228" y="94"/>
                  </a:lnTo>
                  <a:lnTo>
                    <a:pt x="230" y="93"/>
                  </a:lnTo>
                  <a:lnTo>
                    <a:pt x="231" y="93"/>
                  </a:lnTo>
                  <a:lnTo>
                    <a:pt x="232" y="93"/>
                  </a:lnTo>
                  <a:lnTo>
                    <a:pt x="233" y="92"/>
                  </a:lnTo>
                  <a:lnTo>
                    <a:pt x="234" y="92"/>
                  </a:lnTo>
                  <a:lnTo>
                    <a:pt x="234" y="91"/>
                  </a:lnTo>
                  <a:lnTo>
                    <a:pt x="235" y="91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8"/>
                  </a:lnTo>
                  <a:lnTo>
                    <a:pt x="235" y="88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3" y="87"/>
                  </a:lnTo>
                  <a:lnTo>
                    <a:pt x="233" y="86"/>
                  </a:lnTo>
                  <a:lnTo>
                    <a:pt x="232" y="86"/>
                  </a:lnTo>
                  <a:lnTo>
                    <a:pt x="231" y="86"/>
                  </a:lnTo>
                  <a:lnTo>
                    <a:pt x="229" y="85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3"/>
                  </a:lnTo>
                  <a:lnTo>
                    <a:pt x="228" y="83"/>
                  </a:lnTo>
                  <a:lnTo>
                    <a:pt x="228" y="82"/>
                  </a:lnTo>
                  <a:lnTo>
                    <a:pt x="229" y="81"/>
                  </a:lnTo>
                  <a:lnTo>
                    <a:pt x="231" y="80"/>
                  </a:lnTo>
                  <a:lnTo>
                    <a:pt x="231" y="79"/>
                  </a:lnTo>
                  <a:lnTo>
                    <a:pt x="232" y="79"/>
                  </a:lnTo>
                  <a:lnTo>
                    <a:pt x="233" y="78"/>
                  </a:lnTo>
                  <a:lnTo>
                    <a:pt x="234" y="77"/>
                  </a:lnTo>
                  <a:lnTo>
                    <a:pt x="235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7" y="77"/>
                  </a:lnTo>
                  <a:lnTo>
                    <a:pt x="238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0" y="77"/>
                  </a:lnTo>
                  <a:lnTo>
                    <a:pt x="240" y="78"/>
                  </a:lnTo>
                  <a:lnTo>
                    <a:pt x="241" y="78"/>
                  </a:lnTo>
                  <a:lnTo>
                    <a:pt x="241" y="79"/>
                  </a:lnTo>
                  <a:lnTo>
                    <a:pt x="242" y="80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3" y="82"/>
                  </a:lnTo>
                  <a:lnTo>
                    <a:pt x="243" y="82"/>
                  </a:lnTo>
                  <a:lnTo>
                    <a:pt x="244" y="83"/>
                  </a:lnTo>
                  <a:lnTo>
                    <a:pt x="244" y="83"/>
                  </a:lnTo>
                  <a:lnTo>
                    <a:pt x="245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8" y="82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1"/>
                  </a:lnTo>
                  <a:lnTo>
                    <a:pt x="250" y="80"/>
                  </a:lnTo>
                  <a:lnTo>
                    <a:pt x="250" y="78"/>
                  </a:lnTo>
                  <a:lnTo>
                    <a:pt x="251" y="77"/>
                  </a:lnTo>
                  <a:lnTo>
                    <a:pt x="251" y="76"/>
                  </a:lnTo>
                  <a:lnTo>
                    <a:pt x="251" y="75"/>
                  </a:lnTo>
                  <a:lnTo>
                    <a:pt x="251" y="75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3"/>
                  </a:lnTo>
                  <a:lnTo>
                    <a:pt x="251" y="72"/>
                  </a:lnTo>
                  <a:lnTo>
                    <a:pt x="250" y="71"/>
                  </a:lnTo>
                  <a:lnTo>
                    <a:pt x="249" y="70"/>
                  </a:lnTo>
                  <a:lnTo>
                    <a:pt x="249" y="69"/>
                  </a:lnTo>
                  <a:lnTo>
                    <a:pt x="247" y="68"/>
                  </a:lnTo>
                  <a:lnTo>
                    <a:pt x="247" y="67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5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3"/>
                  </a:lnTo>
                  <a:lnTo>
                    <a:pt x="249" y="63"/>
                  </a:lnTo>
                  <a:lnTo>
                    <a:pt x="249" y="63"/>
                  </a:lnTo>
                  <a:lnTo>
                    <a:pt x="250" y="63"/>
                  </a:lnTo>
                  <a:lnTo>
                    <a:pt x="251" y="62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4" y="61"/>
                  </a:lnTo>
                  <a:lnTo>
                    <a:pt x="255" y="59"/>
                  </a:lnTo>
                  <a:lnTo>
                    <a:pt x="256" y="58"/>
                  </a:lnTo>
                  <a:lnTo>
                    <a:pt x="257" y="57"/>
                  </a:lnTo>
                  <a:lnTo>
                    <a:pt x="258" y="55"/>
                  </a:lnTo>
                  <a:lnTo>
                    <a:pt x="258" y="54"/>
                  </a:lnTo>
                  <a:lnTo>
                    <a:pt x="259" y="53"/>
                  </a:lnTo>
                  <a:lnTo>
                    <a:pt x="259" y="52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7" y="45"/>
                  </a:lnTo>
                  <a:lnTo>
                    <a:pt x="257" y="44"/>
                  </a:lnTo>
                  <a:lnTo>
                    <a:pt x="256" y="44"/>
                  </a:lnTo>
                  <a:lnTo>
                    <a:pt x="253" y="42"/>
                  </a:lnTo>
                  <a:lnTo>
                    <a:pt x="253" y="42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51" y="40"/>
                  </a:lnTo>
                  <a:lnTo>
                    <a:pt x="250" y="39"/>
                  </a:lnTo>
                  <a:lnTo>
                    <a:pt x="250" y="38"/>
                  </a:lnTo>
                  <a:lnTo>
                    <a:pt x="250" y="38"/>
                  </a:lnTo>
                  <a:lnTo>
                    <a:pt x="250" y="37"/>
                  </a:lnTo>
                  <a:lnTo>
                    <a:pt x="250" y="37"/>
                  </a:lnTo>
                  <a:lnTo>
                    <a:pt x="250" y="36"/>
                  </a:lnTo>
                  <a:lnTo>
                    <a:pt x="250" y="35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6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57" y="23"/>
                  </a:lnTo>
                  <a:lnTo>
                    <a:pt x="259" y="22"/>
                  </a:lnTo>
                  <a:lnTo>
                    <a:pt x="260" y="21"/>
                  </a:lnTo>
                  <a:lnTo>
                    <a:pt x="261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8"/>
                  </a:lnTo>
                  <a:lnTo>
                    <a:pt x="264" y="17"/>
                  </a:lnTo>
                  <a:lnTo>
                    <a:pt x="265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1" y="18"/>
                  </a:lnTo>
                  <a:lnTo>
                    <a:pt x="272" y="18"/>
                  </a:lnTo>
                  <a:lnTo>
                    <a:pt x="273" y="18"/>
                  </a:lnTo>
                  <a:lnTo>
                    <a:pt x="275" y="18"/>
                  </a:lnTo>
                  <a:lnTo>
                    <a:pt x="277" y="17"/>
                  </a:lnTo>
                  <a:lnTo>
                    <a:pt x="280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7" y="18"/>
                  </a:lnTo>
                  <a:lnTo>
                    <a:pt x="289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5" y="18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8" y="16"/>
                  </a:lnTo>
                  <a:lnTo>
                    <a:pt x="298" y="15"/>
                  </a:lnTo>
                  <a:lnTo>
                    <a:pt x="298" y="14"/>
                  </a:lnTo>
                  <a:lnTo>
                    <a:pt x="299" y="13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2" y="2"/>
                  </a:lnTo>
                  <a:lnTo>
                    <a:pt x="302" y="1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Freeform 32">
              <a:extLst>
                <a:ext uri="{FF2B5EF4-FFF2-40B4-BE49-F238E27FC236}">
                  <a16:creationId xmlns:a16="http://schemas.microsoft.com/office/drawing/2014/main" id="{99FC762D-3CFE-5973-4264-FF153F3FF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1" y="3521"/>
              <a:ext cx="548" cy="464"/>
            </a:xfrm>
            <a:custGeom>
              <a:avLst/>
              <a:gdLst>
                <a:gd name="T0" fmla="*/ 232 w 548"/>
                <a:gd name="T1" fmla="*/ 1 h 464"/>
                <a:gd name="T2" fmla="*/ 256 w 548"/>
                <a:gd name="T3" fmla="*/ 4 h 464"/>
                <a:gd name="T4" fmla="*/ 282 w 548"/>
                <a:gd name="T5" fmla="*/ 14 h 464"/>
                <a:gd name="T6" fmla="*/ 268 w 548"/>
                <a:gd name="T7" fmla="*/ 21 h 464"/>
                <a:gd name="T8" fmla="*/ 266 w 548"/>
                <a:gd name="T9" fmla="*/ 36 h 464"/>
                <a:gd name="T10" fmla="*/ 289 w 548"/>
                <a:gd name="T11" fmla="*/ 43 h 464"/>
                <a:gd name="T12" fmla="*/ 280 w 548"/>
                <a:gd name="T13" fmla="*/ 61 h 464"/>
                <a:gd name="T14" fmla="*/ 290 w 548"/>
                <a:gd name="T15" fmla="*/ 88 h 464"/>
                <a:gd name="T16" fmla="*/ 284 w 548"/>
                <a:gd name="T17" fmla="*/ 99 h 464"/>
                <a:gd name="T18" fmla="*/ 305 w 548"/>
                <a:gd name="T19" fmla="*/ 108 h 464"/>
                <a:gd name="T20" fmla="*/ 316 w 548"/>
                <a:gd name="T21" fmla="*/ 88 h 464"/>
                <a:gd name="T22" fmla="*/ 304 w 548"/>
                <a:gd name="T23" fmla="*/ 70 h 464"/>
                <a:gd name="T24" fmla="*/ 316 w 548"/>
                <a:gd name="T25" fmla="*/ 60 h 464"/>
                <a:gd name="T26" fmla="*/ 334 w 548"/>
                <a:gd name="T27" fmla="*/ 72 h 464"/>
                <a:gd name="T28" fmla="*/ 344 w 548"/>
                <a:gd name="T29" fmla="*/ 94 h 464"/>
                <a:gd name="T30" fmla="*/ 355 w 548"/>
                <a:gd name="T31" fmla="*/ 106 h 464"/>
                <a:gd name="T32" fmla="*/ 361 w 548"/>
                <a:gd name="T33" fmla="*/ 107 h 464"/>
                <a:gd name="T34" fmla="*/ 364 w 548"/>
                <a:gd name="T35" fmla="*/ 126 h 464"/>
                <a:gd name="T36" fmla="*/ 387 w 548"/>
                <a:gd name="T37" fmla="*/ 141 h 464"/>
                <a:gd name="T38" fmla="*/ 389 w 548"/>
                <a:gd name="T39" fmla="*/ 181 h 464"/>
                <a:gd name="T40" fmla="*/ 394 w 548"/>
                <a:gd name="T41" fmla="*/ 205 h 464"/>
                <a:gd name="T42" fmla="*/ 407 w 548"/>
                <a:gd name="T43" fmla="*/ 209 h 464"/>
                <a:gd name="T44" fmla="*/ 395 w 548"/>
                <a:gd name="T45" fmla="*/ 227 h 464"/>
                <a:gd name="T46" fmla="*/ 383 w 548"/>
                <a:gd name="T47" fmla="*/ 245 h 464"/>
                <a:gd name="T48" fmla="*/ 396 w 548"/>
                <a:gd name="T49" fmla="*/ 250 h 464"/>
                <a:gd name="T50" fmla="*/ 417 w 548"/>
                <a:gd name="T51" fmla="*/ 254 h 464"/>
                <a:gd name="T52" fmla="*/ 423 w 548"/>
                <a:gd name="T53" fmla="*/ 270 h 464"/>
                <a:gd name="T54" fmla="*/ 451 w 548"/>
                <a:gd name="T55" fmla="*/ 280 h 464"/>
                <a:gd name="T56" fmla="*/ 459 w 548"/>
                <a:gd name="T57" fmla="*/ 294 h 464"/>
                <a:gd name="T58" fmla="*/ 481 w 548"/>
                <a:gd name="T59" fmla="*/ 304 h 464"/>
                <a:gd name="T60" fmla="*/ 508 w 548"/>
                <a:gd name="T61" fmla="*/ 304 h 464"/>
                <a:gd name="T62" fmla="*/ 517 w 548"/>
                <a:gd name="T63" fmla="*/ 317 h 464"/>
                <a:gd name="T64" fmla="*/ 541 w 548"/>
                <a:gd name="T65" fmla="*/ 337 h 464"/>
                <a:gd name="T66" fmla="*/ 536 w 548"/>
                <a:gd name="T67" fmla="*/ 357 h 464"/>
                <a:gd name="T68" fmla="*/ 517 w 548"/>
                <a:gd name="T69" fmla="*/ 367 h 464"/>
                <a:gd name="T70" fmla="*/ 499 w 548"/>
                <a:gd name="T71" fmla="*/ 360 h 464"/>
                <a:gd name="T72" fmla="*/ 475 w 548"/>
                <a:gd name="T73" fmla="*/ 367 h 464"/>
                <a:gd name="T74" fmla="*/ 455 w 548"/>
                <a:gd name="T75" fmla="*/ 365 h 464"/>
                <a:gd name="T76" fmla="*/ 423 w 548"/>
                <a:gd name="T77" fmla="*/ 347 h 464"/>
                <a:gd name="T78" fmla="*/ 398 w 548"/>
                <a:gd name="T79" fmla="*/ 357 h 464"/>
                <a:gd name="T80" fmla="*/ 379 w 548"/>
                <a:gd name="T81" fmla="*/ 383 h 464"/>
                <a:gd name="T82" fmla="*/ 351 w 548"/>
                <a:gd name="T83" fmla="*/ 429 h 464"/>
                <a:gd name="T84" fmla="*/ 340 w 548"/>
                <a:gd name="T85" fmla="*/ 460 h 464"/>
                <a:gd name="T86" fmla="*/ 331 w 548"/>
                <a:gd name="T87" fmla="*/ 461 h 464"/>
                <a:gd name="T88" fmla="*/ 325 w 548"/>
                <a:gd name="T89" fmla="*/ 426 h 464"/>
                <a:gd name="T90" fmla="*/ 311 w 548"/>
                <a:gd name="T91" fmla="*/ 421 h 464"/>
                <a:gd name="T92" fmla="*/ 275 w 548"/>
                <a:gd name="T93" fmla="*/ 417 h 464"/>
                <a:gd name="T94" fmla="*/ 257 w 548"/>
                <a:gd name="T95" fmla="*/ 413 h 464"/>
                <a:gd name="T96" fmla="*/ 251 w 548"/>
                <a:gd name="T97" fmla="*/ 398 h 464"/>
                <a:gd name="T98" fmla="*/ 231 w 548"/>
                <a:gd name="T99" fmla="*/ 391 h 464"/>
                <a:gd name="T100" fmla="*/ 205 w 548"/>
                <a:gd name="T101" fmla="*/ 382 h 464"/>
                <a:gd name="T102" fmla="*/ 182 w 548"/>
                <a:gd name="T103" fmla="*/ 389 h 464"/>
                <a:gd name="T104" fmla="*/ 162 w 548"/>
                <a:gd name="T105" fmla="*/ 417 h 464"/>
                <a:gd name="T106" fmla="*/ 148 w 548"/>
                <a:gd name="T107" fmla="*/ 415 h 464"/>
                <a:gd name="T108" fmla="*/ 121 w 548"/>
                <a:gd name="T109" fmla="*/ 414 h 464"/>
                <a:gd name="T110" fmla="*/ 73 w 548"/>
                <a:gd name="T111" fmla="*/ 410 h 464"/>
                <a:gd name="T112" fmla="*/ 35 w 548"/>
                <a:gd name="T113" fmla="*/ 387 h 464"/>
                <a:gd name="T114" fmla="*/ 27 w 548"/>
                <a:gd name="T115" fmla="*/ 376 h 464"/>
                <a:gd name="T116" fmla="*/ 15 w 548"/>
                <a:gd name="T117" fmla="*/ 369 h 464"/>
                <a:gd name="T118" fmla="*/ 2 w 548"/>
                <a:gd name="T119" fmla="*/ 36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8" h="464">
                  <a:moveTo>
                    <a:pt x="209" y="0"/>
                  </a:moveTo>
                  <a:lnTo>
                    <a:pt x="209" y="0"/>
                  </a:lnTo>
                  <a:lnTo>
                    <a:pt x="210" y="0"/>
                  </a:lnTo>
                  <a:lnTo>
                    <a:pt x="211" y="1"/>
                  </a:lnTo>
                  <a:lnTo>
                    <a:pt x="214" y="1"/>
                  </a:lnTo>
                  <a:lnTo>
                    <a:pt x="215" y="2"/>
                  </a:lnTo>
                  <a:lnTo>
                    <a:pt x="217" y="2"/>
                  </a:lnTo>
                  <a:lnTo>
                    <a:pt x="220" y="2"/>
                  </a:lnTo>
                  <a:lnTo>
                    <a:pt x="222" y="2"/>
                  </a:lnTo>
                  <a:lnTo>
                    <a:pt x="223" y="2"/>
                  </a:lnTo>
                  <a:lnTo>
                    <a:pt x="225" y="2"/>
                  </a:lnTo>
                  <a:lnTo>
                    <a:pt x="228" y="1"/>
                  </a:lnTo>
                  <a:lnTo>
                    <a:pt x="228" y="1"/>
                  </a:lnTo>
                  <a:lnTo>
                    <a:pt x="229" y="1"/>
                  </a:lnTo>
                  <a:lnTo>
                    <a:pt x="230" y="1"/>
                  </a:lnTo>
                  <a:lnTo>
                    <a:pt x="231" y="1"/>
                  </a:lnTo>
                  <a:lnTo>
                    <a:pt x="232" y="1"/>
                  </a:lnTo>
                  <a:lnTo>
                    <a:pt x="235" y="2"/>
                  </a:lnTo>
                  <a:lnTo>
                    <a:pt x="235" y="2"/>
                  </a:lnTo>
                  <a:lnTo>
                    <a:pt x="236" y="2"/>
                  </a:lnTo>
                  <a:lnTo>
                    <a:pt x="237" y="2"/>
                  </a:lnTo>
                  <a:lnTo>
                    <a:pt x="238" y="2"/>
                  </a:lnTo>
                  <a:lnTo>
                    <a:pt x="240" y="2"/>
                  </a:lnTo>
                  <a:lnTo>
                    <a:pt x="242" y="1"/>
                  </a:lnTo>
                  <a:lnTo>
                    <a:pt x="243" y="1"/>
                  </a:lnTo>
                  <a:lnTo>
                    <a:pt x="244" y="1"/>
                  </a:lnTo>
                  <a:lnTo>
                    <a:pt x="245" y="2"/>
                  </a:lnTo>
                  <a:lnTo>
                    <a:pt x="248" y="2"/>
                  </a:lnTo>
                  <a:lnTo>
                    <a:pt x="249" y="2"/>
                  </a:lnTo>
                  <a:lnTo>
                    <a:pt x="250" y="2"/>
                  </a:lnTo>
                  <a:lnTo>
                    <a:pt x="252" y="3"/>
                  </a:lnTo>
                  <a:lnTo>
                    <a:pt x="253" y="3"/>
                  </a:lnTo>
                  <a:lnTo>
                    <a:pt x="254" y="4"/>
                  </a:lnTo>
                  <a:lnTo>
                    <a:pt x="256" y="4"/>
                  </a:lnTo>
                  <a:lnTo>
                    <a:pt x="258" y="5"/>
                  </a:lnTo>
                  <a:lnTo>
                    <a:pt x="265" y="9"/>
                  </a:lnTo>
                  <a:lnTo>
                    <a:pt x="267" y="9"/>
                  </a:lnTo>
                  <a:lnTo>
                    <a:pt x="268" y="10"/>
                  </a:lnTo>
                  <a:lnTo>
                    <a:pt x="270" y="11"/>
                  </a:lnTo>
                  <a:lnTo>
                    <a:pt x="272" y="11"/>
                  </a:lnTo>
                  <a:lnTo>
                    <a:pt x="273" y="12"/>
                  </a:lnTo>
                  <a:lnTo>
                    <a:pt x="275" y="12"/>
                  </a:lnTo>
                  <a:lnTo>
                    <a:pt x="277" y="13"/>
                  </a:lnTo>
                  <a:lnTo>
                    <a:pt x="278" y="13"/>
                  </a:lnTo>
                  <a:lnTo>
                    <a:pt x="279" y="13"/>
                  </a:lnTo>
                  <a:lnTo>
                    <a:pt x="281" y="13"/>
                  </a:lnTo>
                  <a:lnTo>
                    <a:pt x="282" y="13"/>
                  </a:lnTo>
                  <a:lnTo>
                    <a:pt x="282" y="13"/>
                  </a:lnTo>
                  <a:lnTo>
                    <a:pt x="283" y="13"/>
                  </a:lnTo>
                  <a:lnTo>
                    <a:pt x="282" y="13"/>
                  </a:lnTo>
                  <a:lnTo>
                    <a:pt x="282" y="14"/>
                  </a:lnTo>
                  <a:lnTo>
                    <a:pt x="282" y="15"/>
                  </a:lnTo>
                  <a:lnTo>
                    <a:pt x="281" y="16"/>
                  </a:lnTo>
                  <a:lnTo>
                    <a:pt x="281" y="17"/>
                  </a:lnTo>
                  <a:lnTo>
                    <a:pt x="280" y="20"/>
                  </a:lnTo>
                  <a:lnTo>
                    <a:pt x="280" y="20"/>
                  </a:lnTo>
                  <a:lnTo>
                    <a:pt x="280" y="21"/>
                  </a:lnTo>
                  <a:lnTo>
                    <a:pt x="280" y="21"/>
                  </a:lnTo>
                  <a:lnTo>
                    <a:pt x="279" y="22"/>
                  </a:lnTo>
                  <a:lnTo>
                    <a:pt x="279" y="22"/>
                  </a:lnTo>
                  <a:lnTo>
                    <a:pt x="278" y="22"/>
                  </a:lnTo>
                  <a:lnTo>
                    <a:pt x="278" y="23"/>
                  </a:lnTo>
                  <a:lnTo>
                    <a:pt x="278" y="23"/>
                  </a:lnTo>
                  <a:lnTo>
                    <a:pt x="277" y="23"/>
                  </a:lnTo>
                  <a:lnTo>
                    <a:pt x="276" y="23"/>
                  </a:lnTo>
                  <a:lnTo>
                    <a:pt x="275" y="23"/>
                  </a:lnTo>
                  <a:lnTo>
                    <a:pt x="271" y="22"/>
                  </a:lnTo>
                  <a:lnTo>
                    <a:pt x="268" y="21"/>
                  </a:lnTo>
                  <a:lnTo>
                    <a:pt x="268" y="21"/>
                  </a:lnTo>
                  <a:lnTo>
                    <a:pt x="267" y="21"/>
                  </a:lnTo>
                  <a:lnTo>
                    <a:pt x="267" y="22"/>
                  </a:lnTo>
                  <a:lnTo>
                    <a:pt x="266" y="22"/>
                  </a:lnTo>
                  <a:lnTo>
                    <a:pt x="266" y="22"/>
                  </a:lnTo>
                  <a:lnTo>
                    <a:pt x="266" y="23"/>
                  </a:lnTo>
                  <a:lnTo>
                    <a:pt x="266" y="24"/>
                  </a:lnTo>
                  <a:lnTo>
                    <a:pt x="265" y="25"/>
                  </a:lnTo>
                  <a:lnTo>
                    <a:pt x="265" y="26"/>
                  </a:lnTo>
                  <a:lnTo>
                    <a:pt x="265" y="27"/>
                  </a:lnTo>
                  <a:lnTo>
                    <a:pt x="266" y="30"/>
                  </a:lnTo>
                  <a:lnTo>
                    <a:pt x="266" y="31"/>
                  </a:lnTo>
                  <a:lnTo>
                    <a:pt x="266" y="32"/>
                  </a:lnTo>
                  <a:lnTo>
                    <a:pt x="266" y="34"/>
                  </a:lnTo>
                  <a:lnTo>
                    <a:pt x="266" y="35"/>
                  </a:lnTo>
                  <a:lnTo>
                    <a:pt x="266" y="36"/>
                  </a:lnTo>
                  <a:lnTo>
                    <a:pt x="266" y="36"/>
                  </a:lnTo>
                  <a:lnTo>
                    <a:pt x="266" y="37"/>
                  </a:lnTo>
                  <a:lnTo>
                    <a:pt x="266" y="37"/>
                  </a:lnTo>
                  <a:lnTo>
                    <a:pt x="267" y="37"/>
                  </a:lnTo>
                  <a:lnTo>
                    <a:pt x="267" y="38"/>
                  </a:lnTo>
                  <a:lnTo>
                    <a:pt x="268" y="38"/>
                  </a:lnTo>
                  <a:lnTo>
                    <a:pt x="268" y="38"/>
                  </a:lnTo>
                  <a:lnTo>
                    <a:pt x="271" y="39"/>
                  </a:lnTo>
                  <a:lnTo>
                    <a:pt x="274" y="40"/>
                  </a:lnTo>
                  <a:lnTo>
                    <a:pt x="278" y="41"/>
                  </a:lnTo>
                  <a:lnTo>
                    <a:pt x="280" y="42"/>
                  </a:lnTo>
                  <a:lnTo>
                    <a:pt x="282" y="42"/>
                  </a:lnTo>
                  <a:lnTo>
                    <a:pt x="283" y="42"/>
                  </a:lnTo>
                  <a:lnTo>
                    <a:pt x="285" y="42"/>
                  </a:lnTo>
                  <a:lnTo>
                    <a:pt x="287" y="43"/>
                  </a:lnTo>
                  <a:lnTo>
                    <a:pt x="288" y="43"/>
                  </a:lnTo>
                  <a:lnTo>
                    <a:pt x="288" y="43"/>
                  </a:lnTo>
                  <a:lnTo>
                    <a:pt x="289" y="43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8" y="44"/>
                  </a:lnTo>
                  <a:lnTo>
                    <a:pt x="288" y="45"/>
                  </a:lnTo>
                  <a:lnTo>
                    <a:pt x="287" y="45"/>
                  </a:lnTo>
                  <a:lnTo>
                    <a:pt x="287" y="46"/>
                  </a:lnTo>
                  <a:lnTo>
                    <a:pt x="286" y="47"/>
                  </a:lnTo>
                  <a:lnTo>
                    <a:pt x="285" y="47"/>
                  </a:lnTo>
                  <a:lnTo>
                    <a:pt x="285" y="48"/>
                  </a:lnTo>
                  <a:lnTo>
                    <a:pt x="283" y="50"/>
                  </a:lnTo>
                  <a:lnTo>
                    <a:pt x="283" y="51"/>
                  </a:lnTo>
                  <a:lnTo>
                    <a:pt x="281" y="54"/>
                  </a:lnTo>
                  <a:lnTo>
                    <a:pt x="280" y="55"/>
                  </a:lnTo>
                  <a:lnTo>
                    <a:pt x="280" y="56"/>
                  </a:lnTo>
                  <a:lnTo>
                    <a:pt x="280" y="58"/>
                  </a:lnTo>
                  <a:lnTo>
                    <a:pt x="280" y="59"/>
                  </a:lnTo>
                  <a:lnTo>
                    <a:pt x="280" y="61"/>
                  </a:lnTo>
                  <a:lnTo>
                    <a:pt x="280" y="62"/>
                  </a:lnTo>
                  <a:lnTo>
                    <a:pt x="280" y="64"/>
                  </a:lnTo>
                  <a:lnTo>
                    <a:pt x="280" y="65"/>
                  </a:lnTo>
                  <a:lnTo>
                    <a:pt x="281" y="68"/>
                  </a:lnTo>
                  <a:lnTo>
                    <a:pt x="282" y="72"/>
                  </a:lnTo>
                  <a:lnTo>
                    <a:pt x="283" y="75"/>
                  </a:lnTo>
                  <a:lnTo>
                    <a:pt x="283" y="76"/>
                  </a:lnTo>
                  <a:lnTo>
                    <a:pt x="284" y="77"/>
                  </a:lnTo>
                  <a:lnTo>
                    <a:pt x="284" y="78"/>
                  </a:lnTo>
                  <a:lnTo>
                    <a:pt x="285" y="79"/>
                  </a:lnTo>
                  <a:lnTo>
                    <a:pt x="287" y="82"/>
                  </a:lnTo>
                  <a:lnTo>
                    <a:pt x="288" y="83"/>
                  </a:lnTo>
                  <a:lnTo>
                    <a:pt x="288" y="84"/>
                  </a:lnTo>
                  <a:lnTo>
                    <a:pt x="289" y="85"/>
                  </a:lnTo>
                  <a:lnTo>
                    <a:pt x="289" y="86"/>
                  </a:lnTo>
                  <a:lnTo>
                    <a:pt x="290" y="87"/>
                  </a:lnTo>
                  <a:lnTo>
                    <a:pt x="290" y="88"/>
                  </a:lnTo>
                  <a:lnTo>
                    <a:pt x="289" y="88"/>
                  </a:lnTo>
                  <a:lnTo>
                    <a:pt x="289" y="89"/>
                  </a:lnTo>
                  <a:lnTo>
                    <a:pt x="289" y="89"/>
                  </a:lnTo>
                  <a:lnTo>
                    <a:pt x="289" y="90"/>
                  </a:lnTo>
                  <a:lnTo>
                    <a:pt x="288" y="90"/>
                  </a:lnTo>
                  <a:lnTo>
                    <a:pt x="286" y="92"/>
                  </a:lnTo>
                  <a:lnTo>
                    <a:pt x="285" y="93"/>
                  </a:lnTo>
                  <a:lnTo>
                    <a:pt x="285" y="93"/>
                  </a:lnTo>
                  <a:lnTo>
                    <a:pt x="285" y="94"/>
                  </a:lnTo>
                  <a:lnTo>
                    <a:pt x="285" y="94"/>
                  </a:lnTo>
                  <a:lnTo>
                    <a:pt x="284" y="95"/>
                  </a:lnTo>
                  <a:lnTo>
                    <a:pt x="284" y="96"/>
                  </a:lnTo>
                  <a:lnTo>
                    <a:pt x="284" y="96"/>
                  </a:lnTo>
                  <a:lnTo>
                    <a:pt x="284" y="97"/>
                  </a:lnTo>
                  <a:lnTo>
                    <a:pt x="284" y="98"/>
                  </a:lnTo>
                  <a:lnTo>
                    <a:pt x="284" y="99"/>
                  </a:lnTo>
                  <a:lnTo>
                    <a:pt x="284" y="99"/>
                  </a:lnTo>
                  <a:lnTo>
                    <a:pt x="285" y="100"/>
                  </a:lnTo>
                  <a:lnTo>
                    <a:pt x="285" y="100"/>
                  </a:lnTo>
                  <a:lnTo>
                    <a:pt x="287" y="102"/>
                  </a:lnTo>
                  <a:lnTo>
                    <a:pt x="287" y="102"/>
                  </a:lnTo>
                  <a:lnTo>
                    <a:pt x="288" y="103"/>
                  </a:lnTo>
                  <a:lnTo>
                    <a:pt x="290" y="104"/>
                  </a:lnTo>
                  <a:lnTo>
                    <a:pt x="293" y="107"/>
                  </a:lnTo>
                  <a:lnTo>
                    <a:pt x="295" y="108"/>
                  </a:lnTo>
                  <a:lnTo>
                    <a:pt x="296" y="109"/>
                  </a:lnTo>
                  <a:lnTo>
                    <a:pt x="298" y="109"/>
                  </a:lnTo>
                  <a:lnTo>
                    <a:pt x="299" y="110"/>
                  </a:lnTo>
                  <a:lnTo>
                    <a:pt x="300" y="110"/>
                  </a:lnTo>
                  <a:lnTo>
                    <a:pt x="301" y="110"/>
                  </a:lnTo>
                  <a:lnTo>
                    <a:pt x="302" y="110"/>
                  </a:lnTo>
                  <a:lnTo>
                    <a:pt x="303" y="109"/>
                  </a:lnTo>
                  <a:lnTo>
                    <a:pt x="304" y="109"/>
                  </a:lnTo>
                  <a:lnTo>
                    <a:pt x="305" y="108"/>
                  </a:lnTo>
                  <a:lnTo>
                    <a:pt x="306" y="107"/>
                  </a:lnTo>
                  <a:lnTo>
                    <a:pt x="307" y="106"/>
                  </a:lnTo>
                  <a:lnTo>
                    <a:pt x="309" y="105"/>
                  </a:lnTo>
                  <a:lnTo>
                    <a:pt x="309" y="104"/>
                  </a:lnTo>
                  <a:lnTo>
                    <a:pt x="310" y="103"/>
                  </a:lnTo>
                  <a:lnTo>
                    <a:pt x="311" y="102"/>
                  </a:lnTo>
                  <a:lnTo>
                    <a:pt x="311" y="100"/>
                  </a:lnTo>
                  <a:lnTo>
                    <a:pt x="312" y="97"/>
                  </a:lnTo>
                  <a:lnTo>
                    <a:pt x="313" y="95"/>
                  </a:lnTo>
                  <a:lnTo>
                    <a:pt x="314" y="94"/>
                  </a:lnTo>
                  <a:lnTo>
                    <a:pt x="315" y="92"/>
                  </a:lnTo>
                  <a:lnTo>
                    <a:pt x="316" y="91"/>
                  </a:lnTo>
                  <a:lnTo>
                    <a:pt x="316" y="91"/>
                  </a:lnTo>
                  <a:lnTo>
                    <a:pt x="316" y="90"/>
                  </a:lnTo>
                  <a:lnTo>
                    <a:pt x="316" y="90"/>
                  </a:lnTo>
                  <a:lnTo>
                    <a:pt x="316" y="89"/>
                  </a:lnTo>
                  <a:lnTo>
                    <a:pt x="316" y="88"/>
                  </a:lnTo>
                  <a:lnTo>
                    <a:pt x="316" y="88"/>
                  </a:lnTo>
                  <a:lnTo>
                    <a:pt x="316" y="87"/>
                  </a:lnTo>
                  <a:lnTo>
                    <a:pt x="315" y="86"/>
                  </a:lnTo>
                  <a:lnTo>
                    <a:pt x="315" y="85"/>
                  </a:lnTo>
                  <a:lnTo>
                    <a:pt x="314" y="83"/>
                  </a:lnTo>
                  <a:lnTo>
                    <a:pt x="313" y="82"/>
                  </a:lnTo>
                  <a:lnTo>
                    <a:pt x="313" y="81"/>
                  </a:lnTo>
                  <a:lnTo>
                    <a:pt x="312" y="80"/>
                  </a:lnTo>
                  <a:lnTo>
                    <a:pt x="312" y="79"/>
                  </a:lnTo>
                  <a:lnTo>
                    <a:pt x="312" y="78"/>
                  </a:lnTo>
                  <a:lnTo>
                    <a:pt x="311" y="77"/>
                  </a:lnTo>
                  <a:lnTo>
                    <a:pt x="311" y="77"/>
                  </a:lnTo>
                  <a:lnTo>
                    <a:pt x="306" y="72"/>
                  </a:lnTo>
                  <a:lnTo>
                    <a:pt x="305" y="72"/>
                  </a:lnTo>
                  <a:lnTo>
                    <a:pt x="305" y="71"/>
                  </a:lnTo>
                  <a:lnTo>
                    <a:pt x="305" y="71"/>
                  </a:lnTo>
                  <a:lnTo>
                    <a:pt x="304" y="70"/>
                  </a:lnTo>
                  <a:lnTo>
                    <a:pt x="304" y="69"/>
                  </a:lnTo>
                  <a:lnTo>
                    <a:pt x="303" y="69"/>
                  </a:lnTo>
                  <a:lnTo>
                    <a:pt x="303" y="68"/>
                  </a:lnTo>
                  <a:lnTo>
                    <a:pt x="303" y="68"/>
                  </a:lnTo>
                  <a:lnTo>
                    <a:pt x="303" y="68"/>
                  </a:lnTo>
                  <a:lnTo>
                    <a:pt x="303" y="67"/>
                  </a:lnTo>
                  <a:lnTo>
                    <a:pt x="303" y="67"/>
                  </a:lnTo>
                  <a:lnTo>
                    <a:pt x="304" y="67"/>
                  </a:lnTo>
                  <a:lnTo>
                    <a:pt x="305" y="65"/>
                  </a:lnTo>
                  <a:lnTo>
                    <a:pt x="307" y="64"/>
                  </a:lnTo>
                  <a:lnTo>
                    <a:pt x="308" y="63"/>
                  </a:lnTo>
                  <a:lnTo>
                    <a:pt x="309" y="62"/>
                  </a:lnTo>
                  <a:lnTo>
                    <a:pt x="311" y="61"/>
                  </a:lnTo>
                  <a:lnTo>
                    <a:pt x="312" y="60"/>
                  </a:lnTo>
                  <a:lnTo>
                    <a:pt x="314" y="60"/>
                  </a:lnTo>
                  <a:lnTo>
                    <a:pt x="315" y="60"/>
                  </a:lnTo>
                  <a:lnTo>
                    <a:pt x="316" y="60"/>
                  </a:lnTo>
                  <a:lnTo>
                    <a:pt x="317" y="60"/>
                  </a:lnTo>
                  <a:lnTo>
                    <a:pt x="318" y="60"/>
                  </a:lnTo>
                  <a:lnTo>
                    <a:pt x="320" y="60"/>
                  </a:lnTo>
                  <a:lnTo>
                    <a:pt x="322" y="61"/>
                  </a:lnTo>
                  <a:lnTo>
                    <a:pt x="324" y="61"/>
                  </a:lnTo>
                  <a:lnTo>
                    <a:pt x="325" y="61"/>
                  </a:lnTo>
                  <a:lnTo>
                    <a:pt x="326" y="62"/>
                  </a:lnTo>
                  <a:lnTo>
                    <a:pt x="326" y="62"/>
                  </a:lnTo>
                  <a:lnTo>
                    <a:pt x="327" y="63"/>
                  </a:lnTo>
                  <a:lnTo>
                    <a:pt x="328" y="64"/>
                  </a:lnTo>
                  <a:lnTo>
                    <a:pt x="329" y="65"/>
                  </a:lnTo>
                  <a:lnTo>
                    <a:pt x="329" y="66"/>
                  </a:lnTo>
                  <a:lnTo>
                    <a:pt x="330" y="67"/>
                  </a:lnTo>
                  <a:lnTo>
                    <a:pt x="331" y="69"/>
                  </a:lnTo>
                  <a:lnTo>
                    <a:pt x="331" y="70"/>
                  </a:lnTo>
                  <a:lnTo>
                    <a:pt x="332" y="71"/>
                  </a:lnTo>
                  <a:lnTo>
                    <a:pt x="334" y="72"/>
                  </a:lnTo>
                  <a:lnTo>
                    <a:pt x="334" y="73"/>
                  </a:lnTo>
                  <a:lnTo>
                    <a:pt x="335" y="74"/>
                  </a:lnTo>
                  <a:lnTo>
                    <a:pt x="336" y="75"/>
                  </a:lnTo>
                  <a:lnTo>
                    <a:pt x="336" y="76"/>
                  </a:lnTo>
                  <a:lnTo>
                    <a:pt x="336" y="77"/>
                  </a:lnTo>
                  <a:lnTo>
                    <a:pt x="337" y="78"/>
                  </a:lnTo>
                  <a:lnTo>
                    <a:pt x="338" y="79"/>
                  </a:lnTo>
                  <a:lnTo>
                    <a:pt x="338" y="80"/>
                  </a:lnTo>
                  <a:lnTo>
                    <a:pt x="339" y="81"/>
                  </a:lnTo>
                  <a:lnTo>
                    <a:pt x="340" y="83"/>
                  </a:lnTo>
                  <a:lnTo>
                    <a:pt x="341" y="87"/>
                  </a:lnTo>
                  <a:lnTo>
                    <a:pt x="341" y="90"/>
                  </a:lnTo>
                  <a:lnTo>
                    <a:pt x="342" y="90"/>
                  </a:lnTo>
                  <a:lnTo>
                    <a:pt x="342" y="91"/>
                  </a:lnTo>
                  <a:lnTo>
                    <a:pt x="343" y="92"/>
                  </a:lnTo>
                  <a:lnTo>
                    <a:pt x="343" y="93"/>
                  </a:lnTo>
                  <a:lnTo>
                    <a:pt x="344" y="94"/>
                  </a:lnTo>
                  <a:lnTo>
                    <a:pt x="346" y="95"/>
                  </a:lnTo>
                  <a:lnTo>
                    <a:pt x="346" y="95"/>
                  </a:lnTo>
                  <a:lnTo>
                    <a:pt x="347" y="96"/>
                  </a:lnTo>
                  <a:lnTo>
                    <a:pt x="347" y="97"/>
                  </a:lnTo>
                  <a:lnTo>
                    <a:pt x="347" y="97"/>
                  </a:lnTo>
                  <a:lnTo>
                    <a:pt x="349" y="100"/>
                  </a:lnTo>
                  <a:lnTo>
                    <a:pt x="349" y="101"/>
                  </a:lnTo>
                  <a:lnTo>
                    <a:pt x="350" y="101"/>
                  </a:lnTo>
                  <a:lnTo>
                    <a:pt x="350" y="102"/>
                  </a:lnTo>
                  <a:lnTo>
                    <a:pt x="351" y="104"/>
                  </a:lnTo>
                  <a:lnTo>
                    <a:pt x="352" y="104"/>
                  </a:lnTo>
                  <a:lnTo>
                    <a:pt x="353" y="105"/>
                  </a:lnTo>
                  <a:lnTo>
                    <a:pt x="353" y="105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5" y="106"/>
                  </a:lnTo>
                  <a:lnTo>
                    <a:pt x="355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7" y="106"/>
                  </a:lnTo>
                  <a:lnTo>
                    <a:pt x="357" y="105"/>
                  </a:lnTo>
                  <a:lnTo>
                    <a:pt x="358" y="104"/>
                  </a:lnTo>
                  <a:lnTo>
                    <a:pt x="358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60" y="103"/>
                  </a:lnTo>
                  <a:lnTo>
                    <a:pt x="360" y="103"/>
                  </a:lnTo>
                  <a:lnTo>
                    <a:pt x="360" y="104"/>
                  </a:lnTo>
                  <a:lnTo>
                    <a:pt x="360" y="104"/>
                  </a:lnTo>
                  <a:lnTo>
                    <a:pt x="360" y="105"/>
                  </a:lnTo>
                  <a:lnTo>
                    <a:pt x="361" y="107"/>
                  </a:lnTo>
                  <a:lnTo>
                    <a:pt x="360" y="108"/>
                  </a:lnTo>
                  <a:lnTo>
                    <a:pt x="360" y="110"/>
                  </a:lnTo>
                  <a:lnTo>
                    <a:pt x="360" y="111"/>
                  </a:lnTo>
                  <a:lnTo>
                    <a:pt x="360" y="113"/>
                  </a:lnTo>
                  <a:lnTo>
                    <a:pt x="359" y="116"/>
                  </a:lnTo>
                  <a:lnTo>
                    <a:pt x="359" y="119"/>
                  </a:lnTo>
                  <a:lnTo>
                    <a:pt x="358" y="121"/>
                  </a:lnTo>
                  <a:lnTo>
                    <a:pt x="358" y="121"/>
                  </a:lnTo>
                  <a:lnTo>
                    <a:pt x="358" y="122"/>
                  </a:lnTo>
                  <a:lnTo>
                    <a:pt x="358" y="122"/>
                  </a:lnTo>
                  <a:lnTo>
                    <a:pt x="359" y="123"/>
                  </a:lnTo>
                  <a:lnTo>
                    <a:pt x="359" y="123"/>
                  </a:lnTo>
                  <a:lnTo>
                    <a:pt x="359" y="123"/>
                  </a:lnTo>
                  <a:lnTo>
                    <a:pt x="360" y="124"/>
                  </a:lnTo>
                  <a:lnTo>
                    <a:pt x="360" y="124"/>
                  </a:lnTo>
                  <a:lnTo>
                    <a:pt x="361" y="125"/>
                  </a:lnTo>
                  <a:lnTo>
                    <a:pt x="364" y="126"/>
                  </a:lnTo>
                  <a:lnTo>
                    <a:pt x="365" y="127"/>
                  </a:lnTo>
                  <a:lnTo>
                    <a:pt x="367" y="128"/>
                  </a:lnTo>
                  <a:lnTo>
                    <a:pt x="369" y="128"/>
                  </a:lnTo>
                  <a:lnTo>
                    <a:pt x="371" y="129"/>
                  </a:lnTo>
                  <a:lnTo>
                    <a:pt x="374" y="130"/>
                  </a:lnTo>
                  <a:lnTo>
                    <a:pt x="375" y="131"/>
                  </a:lnTo>
                  <a:lnTo>
                    <a:pt x="377" y="131"/>
                  </a:lnTo>
                  <a:lnTo>
                    <a:pt x="379" y="132"/>
                  </a:lnTo>
                  <a:lnTo>
                    <a:pt x="380" y="133"/>
                  </a:lnTo>
                  <a:lnTo>
                    <a:pt x="381" y="134"/>
                  </a:lnTo>
                  <a:lnTo>
                    <a:pt x="384" y="136"/>
                  </a:lnTo>
                  <a:lnTo>
                    <a:pt x="385" y="137"/>
                  </a:lnTo>
                  <a:lnTo>
                    <a:pt x="386" y="138"/>
                  </a:lnTo>
                  <a:lnTo>
                    <a:pt x="386" y="138"/>
                  </a:lnTo>
                  <a:lnTo>
                    <a:pt x="387" y="139"/>
                  </a:lnTo>
                  <a:lnTo>
                    <a:pt x="387" y="140"/>
                  </a:lnTo>
                  <a:lnTo>
                    <a:pt x="387" y="141"/>
                  </a:lnTo>
                  <a:lnTo>
                    <a:pt x="389" y="146"/>
                  </a:lnTo>
                  <a:lnTo>
                    <a:pt x="390" y="149"/>
                  </a:lnTo>
                  <a:lnTo>
                    <a:pt x="390" y="150"/>
                  </a:lnTo>
                  <a:lnTo>
                    <a:pt x="392" y="153"/>
                  </a:lnTo>
                  <a:lnTo>
                    <a:pt x="394" y="158"/>
                  </a:lnTo>
                  <a:lnTo>
                    <a:pt x="394" y="160"/>
                  </a:lnTo>
                  <a:lnTo>
                    <a:pt x="390" y="166"/>
                  </a:lnTo>
                  <a:lnTo>
                    <a:pt x="389" y="168"/>
                  </a:lnTo>
                  <a:lnTo>
                    <a:pt x="389" y="170"/>
                  </a:lnTo>
                  <a:lnTo>
                    <a:pt x="389" y="171"/>
                  </a:lnTo>
                  <a:lnTo>
                    <a:pt x="388" y="172"/>
                  </a:lnTo>
                  <a:lnTo>
                    <a:pt x="388" y="173"/>
                  </a:lnTo>
                  <a:lnTo>
                    <a:pt x="388" y="174"/>
                  </a:lnTo>
                  <a:lnTo>
                    <a:pt x="388" y="175"/>
                  </a:lnTo>
                  <a:lnTo>
                    <a:pt x="388" y="176"/>
                  </a:lnTo>
                  <a:lnTo>
                    <a:pt x="389" y="179"/>
                  </a:lnTo>
                  <a:lnTo>
                    <a:pt x="389" y="181"/>
                  </a:lnTo>
                  <a:lnTo>
                    <a:pt x="389" y="182"/>
                  </a:lnTo>
                  <a:lnTo>
                    <a:pt x="389" y="186"/>
                  </a:lnTo>
                  <a:lnTo>
                    <a:pt x="389" y="187"/>
                  </a:lnTo>
                  <a:lnTo>
                    <a:pt x="390" y="188"/>
                  </a:lnTo>
                  <a:lnTo>
                    <a:pt x="390" y="189"/>
                  </a:lnTo>
                  <a:lnTo>
                    <a:pt x="391" y="191"/>
                  </a:lnTo>
                  <a:lnTo>
                    <a:pt x="393" y="195"/>
                  </a:lnTo>
                  <a:lnTo>
                    <a:pt x="394" y="198"/>
                  </a:lnTo>
                  <a:lnTo>
                    <a:pt x="394" y="199"/>
                  </a:lnTo>
                  <a:lnTo>
                    <a:pt x="394" y="199"/>
                  </a:lnTo>
                  <a:lnTo>
                    <a:pt x="394" y="200"/>
                  </a:lnTo>
                  <a:lnTo>
                    <a:pt x="394" y="201"/>
                  </a:lnTo>
                  <a:lnTo>
                    <a:pt x="394" y="202"/>
                  </a:lnTo>
                  <a:lnTo>
                    <a:pt x="394" y="203"/>
                  </a:lnTo>
                  <a:lnTo>
                    <a:pt x="394" y="204"/>
                  </a:lnTo>
                  <a:lnTo>
                    <a:pt x="394" y="204"/>
                  </a:lnTo>
                  <a:lnTo>
                    <a:pt x="394" y="205"/>
                  </a:lnTo>
                  <a:lnTo>
                    <a:pt x="395" y="205"/>
                  </a:lnTo>
                  <a:lnTo>
                    <a:pt x="395" y="205"/>
                  </a:lnTo>
                  <a:lnTo>
                    <a:pt x="396" y="205"/>
                  </a:lnTo>
                  <a:lnTo>
                    <a:pt x="397" y="205"/>
                  </a:lnTo>
                  <a:lnTo>
                    <a:pt x="399" y="205"/>
                  </a:lnTo>
                  <a:lnTo>
                    <a:pt x="401" y="205"/>
                  </a:lnTo>
                  <a:lnTo>
                    <a:pt x="402" y="205"/>
                  </a:lnTo>
                  <a:lnTo>
                    <a:pt x="403" y="205"/>
                  </a:lnTo>
                  <a:lnTo>
                    <a:pt x="404" y="205"/>
                  </a:lnTo>
                  <a:lnTo>
                    <a:pt x="405" y="205"/>
                  </a:lnTo>
                  <a:lnTo>
                    <a:pt x="405" y="205"/>
                  </a:lnTo>
                  <a:lnTo>
                    <a:pt x="406" y="206"/>
                  </a:lnTo>
                  <a:lnTo>
                    <a:pt x="406" y="206"/>
                  </a:lnTo>
                  <a:lnTo>
                    <a:pt x="406" y="207"/>
                  </a:lnTo>
                  <a:lnTo>
                    <a:pt x="407" y="207"/>
                  </a:lnTo>
                  <a:lnTo>
                    <a:pt x="407" y="208"/>
                  </a:lnTo>
                  <a:lnTo>
                    <a:pt x="407" y="209"/>
                  </a:lnTo>
                  <a:lnTo>
                    <a:pt x="407" y="210"/>
                  </a:lnTo>
                  <a:lnTo>
                    <a:pt x="407" y="211"/>
                  </a:lnTo>
                  <a:lnTo>
                    <a:pt x="407" y="212"/>
                  </a:lnTo>
                  <a:lnTo>
                    <a:pt x="406" y="213"/>
                  </a:lnTo>
                  <a:lnTo>
                    <a:pt x="406" y="214"/>
                  </a:lnTo>
                  <a:lnTo>
                    <a:pt x="405" y="216"/>
                  </a:lnTo>
                  <a:lnTo>
                    <a:pt x="405" y="217"/>
                  </a:lnTo>
                  <a:lnTo>
                    <a:pt x="404" y="218"/>
                  </a:lnTo>
                  <a:lnTo>
                    <a:pt x="404" y="219"/>
                  </a:lnTo>
                  <a:lnTo>
                    <a:pt x="403" y="220"/>
                  </a:lnTo>
                  <a:lnTo>
                    <a:pt x="403" y="221"/>
                  </a:lnTo>
                  <a:lnTo>
                    <a:pt x="403" y="221"/>
                  </a:lnTo>
                  <a:lnTo>
                    <a:pt x="401" y="222"/>
                  </a:lnTo>
                  <a:lnTo>
                    <a:pt x="399" y="224"/>
                  </a:lnTo>
                  <a:lnTo>
                    <a:pt x="397" y="226"/>
                  </a:lnTo>
                  <a:lnTo>
                    <a:pt x="396" y="226"/>
                  </a:lnTo>
                  <a:lnTo>
                    <a:pt x="395" y="227"/>
                  </a:lnTo>
                  <a:lnTo>
                    <a:pt x="394" y="227"/>
                  </a:lnTo>
                  <a:lnTo>
                    <a:pt x="394" y="229"/>
                  </a:lnTo>
                  <a:lnTo>
                    <a:pt x="393" y="230"/>
                  </a:lnTo>
                  <a:lnTo>
                    <a:pt x="392" y="231"/>
                  </a:lnTo>
                  <a:lnTo>
                    <a:pt x="390" y="235"/>
                  </a:lnTo>
                  <a:lnTo>
                    <a:pt x="389" y="236"/>
                  </a:lnTo>
                  <a:lnTo>
                    <a:pt x="389" y="237"/>
                  </a:lnTo>
                  <a:lnTo>
                    <a:pt x="388" y="238"/>
                  </a:lnTo>
                  <a:lnTo>
                    <a:pt x="387" y="239"/>
                  </a:lnTo>
                  <a:lnTo>
                    <a:pt x="387" y="239"/>
                  </a:lnTo>
                  <a:lnTo>
                    <a:pt x="385" y="241"/>
                  </a:lnTo>
                  <a:lnTo>
                    <a:pt x="385" y="241"/>
                  </a:lnTo>
                  <a:lnTo>
                    <a:pt x="384" y="241"/>
                  </a:lnTo>
                  <a:lnTo>
                    <a:pt x="384" y="242"/>
                  </a:lnTo>
                  <a:lnTo>
                    <a:pt x="384" y="243"/>
                  </a:lnTo>
                  <a:lnTo>
                    <a:pt x="383" y="244"/>
                  </a:lnTo>
                  <a:lnTo>
                    <a:pt x="383" y="245"/>
                  </a:lnTo>
                  <a:lnTo>
                    <a:pt x="383" y="246"/>
                  </a:lnTo>
                  <a:lnTo>
                    <a:pt x="383" y="247"/>
                  </a:lnTo>
                  <a:lnTo>
                    <a:pt x="384" y="249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5" y="251"/>
                  </a:lnTo>
                  <a:lnTo>
                    <a:pt x="385" y="251"/>
                  </a:lnTo>
                  <a:lnTo>
                    <a:pt x="386" y="251"/>
                  </a:lnTo>
                  <a:lnTo>
                    <a:pt x="387" y="251"/>
                  </a:lnTo>
                  <a:lnTo>
                    <a:pt x="388" y="252"/>
                  </a:lnTo>
                  <a:lnTo>
                    <a:pt x="389" y="252"/>
                  </a:lnTo>
                  <a:lnTo>
                    <a:pt x="390" y="251"/>
                  </a:lnTo>
                  <a:lnTo>
                    <a:pt x="391" y="251"/>
                  </a:lnTo>
                  <a:lnTo>
                    <a:pt x="392" y="251"/>
                  </a:lnTo>
                  <a:lnTo>
                    <a:pt x="394" y="251"/>
                  </a:lnTo>
                  <a:lnTo>
                    <a:pt x="396" y="250"/>
                  </a:lnTo>
                  <a:lnTo>
                    <a:pt x="403" y="247"/>
                  </a:lnTo>
                  <a:lnTo>
                    <a:pt x="405" y="247"/>
                  </a:lnTo>
                  <a:lnTo>
                    <a:pt x="406" y="246"/>
                  </a:lnTo>
                  <a:lnTo>
                    <a:pt x="407" y="246"/>
                  </a:lnTo>
                  <a:lnTo>
                    <a:pt x="408" y="246"/>
                  </a:lnTo>
                  <a:lnTo>
                    <a:pt x="409" y="246"/>
                  </a:lnTo>
                  <a:lnTo>
                    <a:pt x="410" y="246"/>
                  </a:lnTo>
                  <a:lnTo>
                    <a:pt x="411" y="246"/>
                  </a:lnTo>
                  <a:lnTo>
                    <a:pt x="411" y="246"/>
                  </a:lnTo>
                  <a:lnTo>
                    <a:pt x="412" y="247"/>
                  </a:lnTo>
                  <a:lnTo>
                    <a:pt x="412" y="247"/>
                  </a:lnTo>
                  <a:lnTo>
                    <a:pt x="413" y="248"/>
                  </a:lnTo>
                  <a:lnTo>
                    <a:pt x="413" y="249"/>
                  </a:lnTo>
                  <a:lnTo>
                    <a:pt x="415" y="250"/>
                  </a:lnTo>
                  <a:lnTo>
                    <a:pt x="416" y="252"/>
                  </a:lnTo>
                  <a:lnTo>
                    <a:pt x="416" y="253"/>
                  </a:lnTo>
                  <a:lnTo>
                    <a:pt x="417" y="254"/>
                  </a:lnTo>
                  <a:lnTo>
                    <a:pt x="417" y="256"/>
                  </a:lnTo>
                  <a:lnTo>
                    <a:pt x="417" y="256"/>
                  </a:lnTo>
                  <a:lnTo>
                    <a:pt x="417" y="258"/>
                  </a:lnTo>
                  <a:lnTo>
                    <a:pt x="417" y="259"/>
                  </a:lnTo>
                  <a:lnTo>
                    <a:pt x="417" y="260"/>
                  </a:lnTo>
                  <a:lnTo>
                    <a:pt x="417" y="264"/>
                  </a:lnTo>
                  <a:lnTo>
                    <a:pt x="417" y="265"/>
                  </a:lnTo>
                  <a:lnTo>
                    <a:pt x="417" y="266"/>
                  </a:lnTo>
                  <a:lnTo>
                    <a:pt x="417" y="267"/>
                  </a:lnTo>
                  <a:lnTo>
                    <a:pt x="417" y="267"/>
                  </a:lnTo>
                  <a:lnTo>
                    <a:pt x="418" y="268"/>
                  </a:lnTo>
                  <a:lnTo>
                    <a:pt x="418" y="268"/>
                  </a:lnTo>
                  <a:lnTo>
                    <a:pt x="418" y="268"/>
                  </a:lnTo>
                  <a:lnTo>
                    <a:pt x="419" y="269"/>
                  </a:lnTo>
                  <a:lnTo>
                    <a:pt x="422" y="269"/>
                  </a:lnTo>
                  <a:lnTo>
                    <a:pt x="423" y="270"/>
                  </a:lnTo>
                  <a:lnTo>
                    <a:pt x="423" y="270"/>
                  </a:lnTo>
                  <a:lnTo>
                    <a:pt x="424" y="270"/>
                  </a:lnTo>
                  <a:lnTo>
                    <a:pt x="426" y="271"/>
                  </a:lnTo>
                  <a:lnTo>
                    <a:pt x="428" y="272"/>
                  </a:lnTo>
                  <a:lnTo>
                    <a:pt x="428" y="272"/>
                  </a:lnTo>
                  <a:lnTo>
                    <a:pt x="429" y="273"/>
                  </a:lnTo>
                  <a:lnTo>
                    <a:pt x="430" y="273"/>
                  </a:lnTo>
                  <a:lnTo>
                    <a:pt x="431" y="274"/>
                  </a:lnTo>
                  <a:lnTo>
                    <a:pt x="433" y="276"/>
                  </a:lnTo>
                  <a:lnTo>
                    <a:pt x="433" y="276"/>
                  </a:lnTo>
                  <a:lnTo>
                    <a:pt x="434" y="277"/>
                  </a:lnTo>
                  <a:lnTo>
                    <a:pt x="435" y="277"/>
                  </a:lnTo>
                  <a:lnTo>
                    <a:pt x="435" y="277"/>
                  </a:lnTo>
                  <a:lnTo>
                    <a:pt x="437" y="278"/>
                  </a:lnTo>
                  <a:lnTo>
                    <a:pt x="442" y="278"/>
                  </a:lnTo>
                  <a:lnTo>
                    <a:pt x="445" y="279"/>
                  </a:lnTo>
                  <a:lnTo>
                    <a:pt x="450" y="280"/>
                  </a:lnTo>
                  <a:lnTo>
                    <a:pt x="451" y="280"/>
                  </a:lnTo>
                  <a:lnTo>
                    <a:pt x="452" y="280"/>
                  </a:lnTo>
                  <a:lnTo>
                    <a:pt x="452" y="281"/>
                  </a:lnTo>
                  <a:lnTo>
                    <a:pt x="453" y="281"/>
                  </a:lnTo>
                  <a:lnTo>
                    <a:pt x="455" y="282"/>
                  </a:lnTo>
                  <a:lnTo>
                    <a:pt x="456" y="283"/>
                  </a:lnTo>
                  <a:lnTo>
                    <a:pt x="456" y="284"/>
                  </a:lnTo>
                  <a:lnTo>
                    <a:pt x="457" y="284"/>
                  </a:lnTo>
                  <a:lnTo>
                    <a:pt x="457" y="284"/>
                  </a:lnTo>
                  <a:lnTo>
                    <a:pt x="457" y="285"/>
                  </a:lnTo>
                  <a:lnTo>
                    <a:pt x="457" y="287"/>
                  </a:lnTo>
                  <a:lnTo>
                    <a:pt x="458" y="288"/>
                  </a:lnTo>
                  <a:lnTo>
                    <a:pt x="458" y="291"/>
                  </a:lnTo>
                  <a:lnTo>
                    <a:pt x="458" y="292"/>
                  </a:lnTo>
                  <a:lnTo>
                    <a:pt x="458" y="292"/>
                  </a:lnTo>
                  <a:lnTo>
                    <a:pt x="459" y="293"/>
                  </a:lnTo>
                  <a:lnTo>
                    <a:pt x="459" y="294"/>
                  </a:lnTo>
                  <a:lnTo>
                    <a:pt x="459" y="294"/>
                  </a:lnTo>
                  <a:lnTo>
                    <a:pt x="460" y="294"/>
                  </a:lnTo>
                  <a:lnTo>
                    <a:pt x="460" y="294"/>
                  </a:lnTo>
                  <a:lnTo>
                    <a:pt x="461" y="295"/>
                  </a:lnTo>
                  <a:lnTo>
                    <a:pt x="462" y="295"/>
                  </a:lnTo>
                  <a:lnTo>
                    <a:pt x="464" y="295"/>
                  </a:lnTo>
                  <a:lnTo>
                    <a:pt x="466" y="295"/>
                  </a:lnTo>
                  <a:lnTo>
                    <a:pt x="467" y="296"/>
                  </a:lnTo>
                  <a:lnTo>
                    <a:pt x="468" y="296"/>
                  </a:lnTo>
                  <a:lnTo>
                    <a:pt x="469" y="296"/>
                  </a:lnTo>
                  <a:lnTo>
                    <a:pt x="469" y="297"/>
                  </a:lnTo>
                  <a:lnTo>
                    <a:pt x="470" y="297"/>
                  </a:lnTo>
                  <a:lnTo>
                    <a:pt x="476" y="301"/>
                  </a:lnTo>
                  <a:lnTo>
                    <a:pt x="477" y="302"/>
                  </a:lnTo>
                  <a:lnTo>
                    <a:pt x="478" y="303"/>
                  </a:lnTo>
                  <a:lnTo>
                    <a:pt x="480" y="304"/>
                  </a:lnTo>
                  <a:lnTo>
                    <a:pt x="481" y="304"/>
                  </a:lnTo>
                  <a:lnTo>
                    <a:pt x="481" y="304"/>
                  </a:lnTo>
                  <a:lnTo>
                    <a:pt x="482" y="304"/>
                  </a:lnTo>
                  <a:lnTo>
                    <a:pt x="483" y="305"/>
                  </a:lnTo>
                  <a:lnTo>
                    <a:pt x="484" y="304"/>
                  </a:lnTo>
                  <a:lnTo>
                    <a:pt x="485" y="304"/>
                  </a:lnTo>
                  <a:lnTo>
                    <a:pt x="486" y="304"/>
                  </a:lnTo>
                  <a:lnTo>
                    <a:pt x="490" y="303"/>
                  </a:lnTo>
                  <a:lnTo>
                    <a:pt x="492" y="303"/>
                  </a:lnTo>
                  <a:lnTo>
                    <a:pt x="493" y="303"/>
                  </a:lnTo>
                  <a:lnTo>
                    <a:pt x="496" y="303"/>
                  </a:lnTo>
                  <a:lnTo>
                    <a:pt x="500" y="302"/>
                  </a:lnTo>
                  <a:lnTo>
                    <a:pt x="500" y="302"/>
                  </a:lnTo>
                  <a:lnTo>
                    <a:pt x="501" y="302"/>
                  </a:lnTo>
                  <a:lnTo>
                    <a:pt x="502" y="302"/>
                  </a:lnTo>
                  <a:lnTo>
                    <a:pt x="502" y="302"/>
                  </a:lnTo>
                  <a:lnTo>
                    <a:pt x="503" y="303"/>
                  </a:lnTo>
                  <a:lnTo>
                    <a:pt x="506" y="304"/>
                  </a:lnTo>
                  <a:lnTo>
                    <a:pt x="508" y="304"/>
                  </a:lnTo>
                  <a:lnTo>
                    <a:pt x="509" y="305"/>
                  </a:lnTo>
                  <a:lnTo>
                    <a:pt x="510" y="305"/>
                  </a:lnTo>
                  <a:lnTo>
                    <a:pt x="511" y="306"/>
                  </a:lnTo>
                  <a:lnTo>
                    <a:pt x="513" y="307"/>
                  </a:lnTo>
                  <a:lnTo>
                    <a:pt x="514" y="308"/>
                  </a:lnTo>
                  <a:lnTo>
                    <a:pt x="514" y="308"/>
                  </a:lnTo>
                  <a:lnTo>
                    <a:pt x="514" y="309"/>
                  </a:lnTo>
                  <a:lnTo>
                    <a:pt x="515" y="309"/>
                  </a:lnTo>
                  <a:lnTo>
                    <a:pt x="515" y="310"/>
                  </a:lnTo>
                  <a:lnTo>
                    <a:pt x="515" y="310"/>
                  </a:lnTo>
                  <a:lnTo>
                    <a:pt x="515" y="311"/>
                  </a:lnTo>
                  <a:lnTo>
                    <a:pt x="516" y="312"/>
                  </a:lnTo>
                  <a:lnTo>
                    <a:pt x="516" y="313"/>
                  </a:lnTo>
                  <a:lnTo>
                    <a:pt x="516" y="315"/>
                  </a:lnTo>
                  <a:lnTo>
                    <a:pt x="516" y="316"/>
                  </a:lnTo>
                  <a:lnTo>
                    <a:pt x="516" y="317"/>
                  </a:lnTo>
                  <a:lnTo>
                    <a:pt x="517" y="317"/>
                  </a:lnTo>
                  <a:lnTo>
                    <a:pt x="517" y="318"/>
                  </a:lnTo>
                  <a:lnTo>
                    <a:pt x="517" y="318"/>
                  </a:lnTo>
                  <a:lnTo>
                    <a:pt x="518" y="319"/>
                  </a:lnTo>
                  <a:lnTo>
                    <a:pt x="518" y="319"/>
                  </a:lnTo>
                  <a:lnTo>
                    <a:pt x="519" y="319"/>
                  </a:lnTo>
                  <a:lnTo>
                    <a:pt x="520" y="320"/>
                  </a:lnTo>
                  <a:lnTo>
                    <a:pt x="522" y="321"/>
                  </a:lnTo>
                  <a:lnTo>
                    <a:pt x="523" y="321"/>
                  </a:lnTo>
                  <a:lnTo>
                    <a:pt x="530" y="324"/>
                  </a:lnTo>
                  <a:lnTo>
                    <a:pt x="531" y="325"/>
                  </a:lnTo>
                  <a:lnTo>
                    <a:pt x="532" y="326"/>
                  </a:lnTo>
                  <a:lnTo>
                    <a:pt x="533" y="327"/>
                  </a:lnTo>
                  <a:lnTo>
                    <a:pt x="534" y="328"/>
                  </a:lnTo>
                  <a:lnTo>
                    <a:pt x="536" y="329"/>
                  </a:lnTo>
                  <a:lnTo>
                    <a:pt x="537" y="330"/>
                  </a:lnTo>
                  <a:lnTo>
                    <a:pt x="538" y="332"/>
                  </a:lnTo>
                  <a:lnTo>
                    <a:pt x="541" y="337"/>
                  </a:lnTo>
                  <a:lnTo>
                    <a:pt x="544" y="340"/>
                  </a:lnTo>
                  <a:lnTo>
                    <a:pt x="544" y="341"/>
                  </a:lnTo>
                  <a:lnTo>
                    <a:pt x="545" y="342"/>
                  </a:lnTo>
                  <a:lnTo>
                    <a:pt x="545" y="343"/>
                  </a:lnTo>
                  <a:lnTo>
                    <a:pt x="547" y="346"/>
                  </a:lnTo>
                  <a:lnTo>
                    <a:pt x="547" y="348"/>
                  </a:lnTo>
                  <a:lnTo>
                    <a:pt x="548" y="349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7" y="350"/>
                  </a:lnTo>
                  <a:lnTo>
                    <a:pt x="547" y="350"/>
                  </a:lnTo>
                  <a:lnTo>
                    <a:pt x="546" y="350"/>
                  </a:lnTo>
                  <a:lnTo>
                    <a:pt x="544" y="351"/>
                  </a:lnTo>
                  <a:lnTo>
                    <a:pt x="541" y="354"/>
                  </a:lnTo>
                  <a:lnTo>
                    <a:pt x="536" y="357"/>
                  </a:lnTo>
                  <a:lnTo>
                    <a:pt x="535" y="358"/>
                  </a:lnTo>
                  <a:lnTo>
                    <a:pt x="532" y="361"/>
                  </a:lnTo>
                  <a:lnTo>
                    <a:pt x="531" y="361"/>
                  </a:lnTo>
                  <a:lnTo>
                    <a:pt x="530" y="362"/>
                  </a:lnTo>
                  <a:lnTo>
                    <a:pt x="529" y="362"/>
                  </a:lnTo>
                  <a:lnTo>
                    <a:pt x="529" y="362"/>
                  </a:lnTo>
                  <a:lnTo>
                    <a:pt x="528" y="363"/>
                  </a:lnTo>
                  <a:lnTo>
                    <a:pt x="527" y="363"/>
                  </a:lnTo>
                  <a:lnTo>
                    <a:pt x="525" y="363"/>
                  </a:lnTo>
                  <a:lnTo>
                    <a:pt x="522" y="364"/>
                  </a:lnTo>
                  <a:lnTo>
                    <a:pt x="521" y="364"/>
                  </a:lnTo>
                  <a:lnTo>
                    <a:pt x="521" y="364"/>
                  </a:lnTo>
                  <a:lnTo>
                    <a:pt x="520" y="365"/>
                  </a:lnTo>
                  <a:lnTo>
                    <a:pt x="519" y="366"/>
                  </a:lnTo>
                  <a:lnTo>
                    <a:pt x="518" y="367"/>
                  </a:lnTo>
                  <a:lnTo>
                    <a:pt x="517" y="367"/>
                  </a:lnTo>
                  <a:lnTo>
                    <a:pt x="517" y="367"/>
                  </a:lnTo>
                  <a:lnTo>
                    <a:pt x="516" y="367"/>
                  </a:lnTo>
                  <a:lnTo>
                    <a:pt x="514" y="368"/>
                  </a:lnTo>
                  <a:lnTo>
                    <a:pt x="513" y="368"/>
                  </a:lnTo>
                  <a:lnTo>
                    <a:pt x="513" y="368"/>
                  </a:lnTo>
                  <a:lnTo>
                    <a:pt x="512" y="368"/>
                  </a:lnTo>
                  <a:lnTo>
                    <a:pt x="511" y="368"/>
                  </a:lnTo>
                  <a:lnTo>
                    <a:pt x="511" y="367"/>
                  </a:lnTo>
                  <a:lnTo>
                    <a:pt x="510" y="367"/>
                  </a:lnTo>
                  <a:lnTo>
                    <a:pt x="509" y="366"/>
                  </a:lnTo>
                  <a:lnTo>
                    <a:pt x="509" y="366"/>
                  </a:lnTo>
                  <a:lnTo>
                    <a:pt x="508" y="366"/>
                  </a:lnTo>
                  <a:lnTo>
                    <a:pt x="506" y="365"/>
                  </a:lnTo>
                  <a:lnTo>
                    <a:pt x="506" y="365"/>
                  </a:lnTo>
                  <a:lnTo>
                    <a:pt x="505" y="364"/>
                  </a:lnTo>
                  <a:lnTo>
                    <a:pt x="504" y="363"/>
                  </a:lnTo>
                  <a:lnTo>
                    <a:pt x="500" y="361"/>
                  </a:lnTo>
                  <a:lnTo>
                    <a:pt x="499" y="360"/>
                  </a:lnTo>
                  <a:lnTo>
                    <a:pt x="497" y="359"/>
                  </a:lnTo>
                  <a:lnTo>
                    <a:pt x="496" y="359"/>
                  </a:lnTo>
                  <a:lnTo>
                    <a:pt x="495" y="358"/>
                  </a:lnTo>
                  <a:lnTo>
                    <a:pt x="493" y="358"/>
                  </a:lnTo>
                  <a:lnTo>
                    <a:pt x="492" y="358"/>
                  </a:lnTo>
                  <a:lnTo>
                    <a:pt x="491" y="358"/>
                  </a:lnTo>
                  <a:lnTo>
                    <a:pt x="490" y="358"/>
                  </a:lnTo>
                  <a:lnTo>
                    <a:pt x="489" y="358"/>
                  </a:lnTo>
                  <a:lnTo>
                    <a:pt x="489" y="358"/>
                  </a:lnTo>
                  <a:lnTo>
                    <a:pt x="488" y="358"/>
                  </a:lnTo>
                  <a:lnTo>
                    <a:pt x="487" y="358"/>
                  </a:lnTo>
                  <a:lnTo>
                    <a:pt x="485" y="359"/>
                  </a:lnTo>
                  <a:lnTo>
                    <a:pt x="485" y="360"/>
                  </a:lnTo>
                  <a:lnTo>
                    <a:pt x="484" y="361"/>
                  </a:lnTo>
                  <a:lnTo>
                    <a:pt x="481" y="363"/>
                  </a:lnTo>
                  <a:lnTo>
                    <a:pt x="480" y="364"/>
                  </a:lnTo>
                  <a:lnTo>
                    <a:pt x="475" y="367"/>
                  </a:lnTo>
                  <a:lnTo>
                    <a:pt x="474" y="368"/>
                  </a:lnTo>
                  <a:lnTo>
                    <a:pt x="473" y="369"/>
                  </a:lnTo>
                  <a:lnTo>
                    <a:pt x="472" y="369"/>
                  </a:lnTo>
                  <a:lnTo>
                    <a:pt x="471" y="369"/>
                  </a:lnTo>
                  <a:lnTo>
                    <a:pt x="471" y="369"/>
                  </a:lnTo>
                  <a:lnTo>
                    <a:pt x="470" y="369"/>
                  </a:lnTo>
                  <a:lnTo>
                    <a:pt x="468" y="370"/>
                  </a:lnTo>
                  <a:lnTo>
                    <a:pt x="465" y="370"/>
                  </a:lnTo>
                  <a:lnTo>
                    <a:pt x="464" y="370"/>
                  </a:lnTo>
                  <a:lnTo>
                    <a:pt x="463" y="370"/>
                  </a:lnTo>
                  <a:lnTo>
                    <a:pt x="462" y="369"/>
                  </a:lnTo>
                  <a:lnTo>
                    <a:pt x="461" y="369"/>
                  </a:lnTo>
                  <a:lnTo>
                    <a:pt x="461" y="369"/>
                  </a:lnTo>
                  <a:lnTo>
                    <a:pt x="459" y="368"/>
                  </a:lnTo>
                  <a:lnTo>
                    <a:pt x="458" y="367"/>
                  </a:lnTo>
                  <a:lnTo>
                    <a:pt x="457" y="367"/>
                  </a:lnTo>
                  <a:lnTo>
                    <a:pt x="455" y="365"/>
                  </a:lnTo>
                  <a:lnTo>
                    <a:pt x="454" y="364"/>
                  </a:lnTo>
                  <a:lnTo>
                    <a:pt x="452" y="362"/>
                  </a:lnTo>
                  <a:lnTo>
                    <a:pt x="449" y="360"/>
                  </a:lnTo>
                  <a:lnTo>
                    <a:pt x="448" y="359"/>
                  </a:lnTo>
                  <a:lnTo>
                    <a:pt x="448" y="359"/>
                  </a:lnTo>
                  <a:lnTo>
                    <a:pt x="447" y="358"/>
                  </a:lnTo>
                  <a:lnTo>
                    <a:pt x="444" y="357"/>
                  </a:lnTo>
                  <a:lnTo>
                    <a:pt x="443" y="357"/>
                  </a:lnTo>
                  <a:lnTo>
                    <a:pt x="439" y="354"/>
                  </a:lnTo>
                  <a:lnTo>
                    <a:pt x="436" y="352"/>
                  </a:lnTo>
                  <a:lnTo>
                    <a:pt x="435" y="351"/>
                  </a:lnTo>
                  <a:lnTo>
                    <a:pt x="434" y="351"/>
                  </a:lnTo>
                  <a:lnTo>
                    <a:pt x="433" y="351"/>
                  </a:lnTo>
                  <a:lnTo>
                    <a:pt x="429" y="349"/>
                  </a:lnTo>
                  <a:lnTo>
                    <a:pt x="426" y="348"/>
                  </a:lnTo>
                  <a:lnTo>
                    <a:pt x="424" y="348"/>
                  </a:lnTo>
                  <a:lnTo>
                    <a:pt x="423" y="347"/>
                  </a:lnTo>
                  <a:lnTo>
                    <a:pt x="421" y="347"/>
                  </a:lnTo>
                  <a:lnTo>
                    <a:pt x="420" y="346"/>
                  </a:lnTo>
                  <a:lnTo>
                    <a:pt x="418" y="346"/>
                  </a:lnTo>
                  <a:lnTo>
                    <a:pt x="417" y="346"/>
                  </a:lnTo>
                  <a:lnTo>
                    <a:pt x="415" y="345"/>
                  </a:lnTo>
                  <a:lnTo>
                    <a:pt x="414" y="345"/>
                  </a:lnTo>
                  <a:lnTo>
                    <a:pt x="413" y="345"/>
                  </a:lnTo>
                  <a:lnTo>
                    <a:pt x="412" y="346"/>
                  </a:lnTo>
                  <a:lnTo>
                    <a:pt x="411" y="346"/>
                  </a:lnTo>
                  <a:lnTo>
                    <a:pt x="411" y="346"/>
                  </a:lnTo>
                  <a:lnTo>
                    <a:pt x="410" y="347"/>
                  </a:lnTo>
                  <a:lnTo>
                    <a:pt x="409" y="347"/>
                  </a:lnTo>
                  <a:lnTo>
                    <a:pt x="408" y="348"/>
                  </a:lnTo>
                  <a:lnTo>
                    <a:pt x="407" y="348"/>
                  </a:lnTo>
                  <a:lnTo>
                    <a:pt x="405" y="350"/>
                  </a:lnTo>
                  <a:lnTo>
                    <a:pt x="403" y="353"/>
                  </a:lnTo>
                  <a:lnTo>
                    <a:pt x="398" y="357"/>
                  </a:lnTo>
                  <a:lnTo>
                    <a:pt x="396" y="358"/>
                  </a:lnTo>
                  <a:lnTo>
                    <a:pt x="392" y="361"/>
                  </a:lnTo>
                  <a:lnTo>
                    <a:pt x="390" y="363"/>
                  </a:lnTo>
                  <a:lnTo>
                    <a:pt x="389" y="364"/>
                  </a:lnTo>
                  <a:lnTo>
                    <a:pt x="388" y="365"/>
                  </a:lnTo>
                  <a:lnTo>
                    <a:pt x="387" y="366"/>
                  </a:lnTo>
                  <a:lnTo>
                    <a:pt x="386" y="367"/>
                  </a:lnTo>
                  <a:lnTo>
                    <a:pt x="386" y="367"/>
                  </a:lnTo>
                  <a:lnTo>
                    <a:pt x="385" y="368"/>
                  </a:lnTo>
                  <a:lnTo>
                    <a:pt x="385" y="369"/>
                  </a:lnTo>
                  <a:lnTo>
                    <a:pt x="384" y="370"/>
                  </a:lnTo>
                  <a:lnTo>
                    <a:pt x="383" y="375"/>
                  </a:lnTo>
                  <a:lnTo>
                    <a:pt x="382" y="376"/>
                  </a:lnTo>
                  <a:lnTo>
                    <a:pt x="382" y="377"/>
                  </a:lnTo>
                  <a:lnTo>
                    <a:pt x="381" y="378"/>
                  </a:lnTo>
                  <a:lnTo>
                    <a:pt x="380" y="380"/>
                  </a:lnTo>
                  <a:lnTo>
                    <a:pt x="379" y="383"/>
                  </a:lnTo>
                  <a:lnTo>
                    <a:pt x="378" y="385"/>
                  </a:lnTo>
                  <a:lnTo>
                    <a:pt x="377" y="386"/>
                  </a:lnTo>
                  <a:lnTo>
                    <a:pt x="376" y="387"/>
                  </a:lnTo>
                  <a:lnTo>
                    <a:pt x="372" y="391"/>
                  </a:lnTo>
                  <a:lnTo>
                    <a:pt x="368" y="396"/>
                  </a:lnTo>
                  <a:lnTo>
                    <a:pt x="367" y="397"/>
                  </a:lnTo>
                  <a:lnTo>
                    <a:pt x="365" y="399"/>
                  </a:lnTo>
                  <a:lnTo>
                    <a:pt x="365" y="400"/>
                  </a:lnTo>
                  <a:lnTo>
                    <a:pt x="361" y="406"/>
                  </a:lnTo>
                  <a:lnTo>
                    <a:pt x="360" y="408"/>
                  </a:lnTo>
                  <a:lnTo>
                    <a:pt x="358" y="412"/>
                  </a:lnTo>
                  <a:lnTo>
                    <a:pt x="357" y="414"/>
                  </a:lnTo>
                  <a:lnTo>
                    <a:pt x="355" y="418"/>
                  </a:lnTo>
                  <a:lnTo>
                    <a:pt x="354" y="421"/>
                  </a:lnTo>
                  <a:lnTo>
                    <a:pt x="353" y="423"/>
                  </a:lnTo>
                  <a:lnTo>
                    <a:pt x="352" y="425"/>
                  </a:lnTo>
                  <a:lnTo>
                    <a:pt x="351" y="429"/>
                  </a:lnTo>
                  <a:lnTo>
                    <a:pt x="350" y="431"/>
                  </a:lnTo>
                  <a:lnTo>
                    <a:pt x="350" y="432"/>
                  </a:lnTo>
                  <a:lnTo>
                    <a:pt x="348" y="435"/>
                  </a:lnTo>
                  <a:lnTo>
                    <a:pt x="347" y="436"/>
                  </a:lnTo>
                  <a:lnTo>
                    <a:pt x="346" y="438"/>
                  </a:lnTo>
                  <a:lnTo>
                    <a:pt x="345" y="440"/>
                  </a:lnTo>
                  <a:lnTo>
                    <a:pt x="345" y="442"/>
                  </a:lnTo>
                  <a:lnTo>
                    <a:pt x="345" y="443"/>
                  </a:lnTo>
                  <a:lnTo>
                    <a:pt x="344" y="444"/>
                  </a:lnTo>
                  <a:lnTo>
                    <a:pt x="344" y="447"/>
                  </a:lnTo>
                  <a:lnTo>
                    <a:pt x="343" y="451"/>
                  </a:lnTo>
                  <a:lnTo>
                    <a:pt x="342" y="453"/>
                  </a:lnTo>
                  <a:lnTo>
                    <a:pt x="342" y="455"/>
                  </a:lnTo>
                  <a:lnTo>
                    <a:pt x="342" y="456"/>
                  </a:lnTo>
                  <a:lnTo>
                    <a:pt x="341" y="458"/>
                  </a:lnTo>
                  <a:lnTo>
                    <a:pt x="341" y="458"/>
                  </a:lnTo>
                  <a:lnTo>
                    <a:pt x="340" y="460"/>
                  </a:lnTo>
                  <a:lnTo>
                    <a:pt x="340" y="461"/>
                  </a:lnTo>
                  <a:lnTo>
                    <a:pt x="339" y="461"/>
                  </a:lnTo>
                  <a:lnTo>
                    <a:pt x="338" y="462"/>
                  </a:lnTo>
                  <a:lnTo>
                    <a:pt x="337" y="463"/>
                  </a:lnTo>
                  <a:lnTo>
                    <a:pt x="337" y="463"/>
                  </a:lnTo>
                  <a:lnTo>
                    <a:pt x="336" y="464"/>
                  </a:lnTo>
                  <a:lnTo>
                    <a:pt x="335" y="464"/>
                  </a:lnTo>
                  <a:lnTo>
                    <a:pt x="335" y="464"/>
                  </a:lnTo>
                  <a:lnTo>
                    <a:pt x="334" y="464"/>
                  </a:lnTo>
                  <a:lnTo>
                    <a:pt x="334" y="464"/>
                  </a:lnTo>
                  <a:lnTo>
                    <a:pt x="333" y="464"/>
                  </a:lnTo>
                  <a:lnTo>
                    <a:pt x="332" y="464"/>
                  </a:lnTo>
                  <a:lnTo>
                    <a:pt x="332" y="463"/>
                  </a:lnTo>
                  <a:lnTo>
                    <a:pt x="331" y="463"/>
                  </a:lnTo>
                  <a:lnTo>
                    <a:pt x="331" y="462"/>
                  </a:lnTo>
                  <a:lnTo>
                    <a:pt x="331" y="462"/>
                  </a:lnTo>
                  <a:lnTo>
                    <a:pt x="331" y="461"/>
                  </a:lnTo>
                  <a:lnTo>
                    <a:pt x="331" y="460"/>
                  </a:lnTo>
                  <a:lnTo>
                    <a:pt x="331" y="460"/>
                  </a:lnTo>
                  <a:lnTo>
                    <a:pt x="330" y="456"/>
                  </a:lnTo>
                  <a:lnTo>
                    <a:pt x="329" y="452"/>
                  </a:lnTo>
                  <a:lnTo>
                    <a:pt x="329" y="450"/>
                  </a:lnTo>
                  <a:lnTo>
                    <a:pt x="329" y="447"/>
                  </a:lnTo>
                  <a:lnTo>
                    <a:pt x="329" y="445"/>
                  </a:lnTo>
                  <a:lnTo>
                    <a:pt x="328" y="442"/>
                  </a:lnTo>
                  <a:lnTo>
                    <a:pt x="327" y="439"/>
                  </a:lnTo>
                  <a:lnTo>
                    <a:pt x="327" y="438"/>
                  </a:lnTo>
                  <a:lnTo>
                    <a:pt x="327" y="436"/>
                  </a:lnTo>
                  <a:lnTo>
                    <a:pt x="327" y="432"/>
                  </a:lnTo>
                  <a:lnTo>
                    <a:pt x="326" y="431"/>
                  </a:lnTo>
                  <a:lnTo>
                    <a:pt x="326" y="429"/>
                  </a:lnTo>
                  <a:lnTo>
                    <a:pt x="326" y="428"/>
                  </a:lnTo>
                  <a:lnTo>
                    <a:pt x="326" y="427"/>
                  </a:lnTo>
                  <a:lnTo>
                    <a:pt x="325" y="426"/>
                  </a:lnTo>
                  <a:lnTo>
                    <a:pt x="325" y="425"/>
                  </a:lnTo>
                  <a:lnTo>
                    <a:pt x="324" y="424"/>
                  </a:lnTo>
                  <a:lnTo>
                    <a:pt x="323" y="423"/>
                  </a:lnTo>
                  <a:lnTo>
                    <a:pt x="322" y="422"/>
                  </a:lnTo>
                  <a:lnTo>
                    <a:pt x="322" y="421"/>
                  </a:lnTo>
                  <a:lnTo>
                    <a:pt x="321" y="421"/>
                  </a:lnTo>
                  <a:lnTo>
                    <a:pt x="321" y="421"/>
                  </a:lnTo>
                  <a:lnTo>
                    <a:pt x="320" y="421"/>
                  </a:lnTo>
                  <a:lnTo>
                    <a:pt x="319" y="420"/>
                  </a:lnTo>
                  <a:lnTo>
                    <a:pt x="318" y="420"/>
                  </a:lnTo>
                  <a:lnTo>
                    <a:pt x="317" y="420"/>
                  </a:lnTo>
                  <a:lnTo>
                    <a:pt x="316" y="420"/>
                  </a:lnTo>
                  <a:lnTo>
                    <a:pt x="316" y="420"/>
                  </a:lnTo>
                  <a:lnTo>
                    <a:pt x="315" y="420"/>
                  </a:lnTo>
                  <a:lnTo>
                    <a:pt x="314" y="420"/>
                  </a:lnTo>
                  <a:lnTo>
                    <a:pt x="312" y="421"/>
                  </a:lnTo>
                  <a:lnTo>
                    <a:pt x="311" y="421"/>
                  </a:lnTo>
                  <a:lnTo>
                    <a:pt x="309" y="421"/>
                  </a:lnTo>
                  <a:lnTo>
                    <a:pt x="307" y="422"/>
                  </a:lnTo>
                  <a:lnTo>
                    <a:pt x="305" y="422"/>
                  </a:lnTo>
                  <a:lnTo>
                    <a:pt x="302" y="422"/>
                  </a:lnTo>
                  <a:lnTo>
                    <a:pt x="298" y="423"/>
                  </a:lnTo>
                  <a:lnTo>
                    <a:pt x="296" y="423"/>
                  </a:lnTo>
                  <a:lnTo>
                    <a:pt x="293" y="424"/>
                  </a:lnTo>
                  <a:lnTo>
                    <a:pt x="292" y="424"/>
                  </a:lnTo>
                  <a:lnTo>
                    <a:pt x="291" y="424"/>
                  </a:lnTo>
                  <a:lnTo>
                    <a:pt x="289" y="423"/>
                  </a:lnTo>
                  <a:lnTo>
                    <a:pt x="285" y="423"/>
                  </a:lnTo>
                  <a:lnTo>
                    <a:pt x="284" y="422"/>
                  </a:lnTo>
                  <a:lnTo>
                    <a:pt x="282" y="421"/>
                  </a:lnTo>
                  <a:lnTo>
                    <a:pt x="280" y="420"/>
                  </a:lnTo>
                  <a:lnTo>
                    <a:pt x="279" y="420"/>
                  </a:lnTo>
                  <a:lnTo>
                    <a:pt x="278" y="419"/>
                  </a:lnTo>
                  <a:lnTo>
                    <a:pt x="275" y="417"/>
                  </a:lnTo>
                  <a:lnTo>
                    <a:pt x="274" y="416"/>
                  </a:lnTo>
                  <a:lnTo>
                    <a:pt x="274" y="416"/>
                  </a:lnTo>
                  <a:lnTo>
                    <a:pt x="273" y="415"/>
                  </a:lnTo>
                  <a:lnTo>
                    <a:pt x="271" y="414"/>
                  </a:lnTo>
                  <a:lnTo>
                    <a:pt x="270" y="414"/>
                  </a:lnTo>
                  <a:lnTo>
                    <a:pt x="268" y="414"/>
                  </a:lnTo>
                  <a:lnTo>
                    <a:pt x="268" y="413"/>
                  </a:lnTo>
                  <a:lnTo>
                    <a:pt x="267" y="413"/>
                  </a:lnTo>
                  <a:lnTo>
                    <a:pt x="266" y="413"/>
                  </a:lnTo>
                  <a:lnTo>
                    <a:pt x="265" y="413"/>
                  </a:lnTo>
                  <a:lnTo>
                    <a:pt x="264" y="413"/>
                  </a:lnTo>
                  <a:lnTo>
                    <a:pt x="263" y="413"/>
                  </a:lnTo>
                  <a:lnTo>
                    <a:pt x="260" y="413"/>
                  </a:lnTo>
                  <a:lnTo>
                    <a:pt x="259" y="413"/>
                  </a:lnTo>
                  <a:lnTo>
                    <a:pt x="258" y="413"/>
                  </a:lnTo>
                  <a:lnTo>
                    <a:pt x="258" y="413"/>
                  </a:lnTo>
                  <a:lnTo>
                    <a:pt x="257" y="413"/>
                  </a:lnTo>
                  <a:lnTo>
                    <a:pt x="257" y="413"/>
                  </a:lnTo>
                  <a:lnTo>
                    <a:pt x="256" y="413"/>
                  </a:lnTo>
                  <a:lnTo>
                    <a:pt x="256" y="412"/>
                  </a:lnTo>
                  <a:lnTo>
                    <a:pt x="256" y="412"/>
                  </a:lnTo>
                  <a:lnTo>
                    <a:pt x="255" y="412"/>
                  </a:lnTo>
                  <a:lnTo>
                    <a:pt x="255" y="411"/>
                  </a:lnTo>
                  <a:lnTo>
                    <a:pt x="255" y="411"/>
                  </a:lnTo>
                  <a:lnTo>
                    <a:pt x="254" y="410"/>
                  </a:lnTo>
                  <a:lnTo>
                    <a:pt x="254" y="409"/>
                  </a:lnTo>
                  <a:lnTo>
                    <a:pt x="254" y="409"/>
                  </a:lnTo>
                  <a:lnTo>
                    <a:pt x="253" y="405"/>
                  </a:lnTo>
                  <a:lnTo>
                    <a:pt x="253" y="402"/>
                  </a:lnTo>
                  <a:lnTo>
                    <a:pt x="253" y="401"/>
                  </a:lnTo>
                  <a:lnTo>
                    <a:pt x="253" y="401"/>
                  </a:lnTo>
                  <a:lnTo>
                    <a:pt x="252" y="400"/>
                  </a:lnTo>
                  <a:lnTo>
                    <a:pt x="252" y="399"/>
                  </a:lnTo>
                  <a:lnTo>
                    <a:pt x="251" y="398"/>
                  </a:lnTo>
                  <a:lnTo>
                    <a:pt x="251" y="397"/>
                  </a:lnTo>
                  <a:lnTo>
                    <a:pt x="250" y="396"/>
                  </a:lnTo>
                  <a:lnTo>
                    <a:pt x="249" y="394"/>
                  </a:lnTo>
                  <a:lnTo>
                    <a:pt x="248" y="394"/>
                  </a:lnTo>
                  <a:lnTo>
                    <a:pt x="247" y="393"/>
                  </a:lnTo>
                  <a:lnTo>
                    <a:pt x="246" y="393"/>
                  </a:lnTo>
                  <a:lnTo>
                    <a:pt x="245" y="392"/>
                  </a:lnTo>
                  <a:lnTo>
                    <a:pt x="244" y="392"/>
                  </a:lnTo>
                  <a:lnTo>
                    <a:pt x="243" y="392"/>
                  </a:lnTo>
                  <a:lnTo>
                    <a:pt x="242" y="391"/>
                  </a:lnTo>
                  <a:lnTo>
                    <a:pt x="241" y="391"/>
                  </a:lnTo>
                  <a:lnTo>
                    <a:pt x="237" y="392"/>
                  </a:lnTo>
                  <a:lnTo>
                    <a:pt x="236" y="392"/>
                  </a:lnTo>
                  <a:lnTo>
                    <a:pt x="234" y="392"/>
                  </a:lnTo>
                  <a:lnTo>
                    <a:pt x="233" y="391"/>
                  </a:lnTo>
                  <a:lnTo>
                    <a:pt x="232" y="391"/>
                  </a:lnTo>
                  <a:lnTo>
                    <a:pt x="231" y="391"/>
                  </a:lnTo>
                  <a:lnTo>
                    <a:pt x="229" y="391"/>
                  </a:lnTo>
                  <a:lnTo>
                    <a:pt x="228" y="390"/>
                  </a:lnTo>
                  <a:lnTo>
                    <a:pt x="227" y="390"/>
                  </a:lnTo>
                  <a:lnTo>
                    <a:pt x="221" y="386"/>
                  </a:lnTo>
                  <a:lnTo>
                    <a:pt x="219" y="385"/>
                  </a:lnTo>
                  <a:lnTo>
                    <a:pt x="216" y="383"/>
                  </a:lnTo>
                  <a:lnTo>
                    <a:pt x="215" y="382"/>
                  </a:lnTo>
                  <a:lnTo>
                    <a:pt x="213" y="382"/>
                  </a:lnTo>
                  <a:lnTo>
                    <a:pt x="213" y="381"/>
                  </a:lnTo>
                  <a:lnTo>
                    <a:pt x="212" y="381"/>
                  </a:lnTo>
                  <a:lnTo>
                    <a:pt x="211" y="381"/>
                  </a:lnTo>
                  <a:lnTo>
                    <a:pt x="211" y="381"/>
                  </a:lnTo>
                  <a:lnTo>
                    <a:pt x="210" y="381"/>
                  </a:lnTo>
                  <a:lnTo>
                    <a:pt x="210" y="381"/>
                  </a:lnTo>
                  <a:lnTo>
                    <a:pt x="208" y="381"/>
                  </a:lnTo>
                  <a:lnTo>
                    <a:pt x="206" y="382"/>
                  </a:lnTo>
                  <a:lnTo>
                    <a:pt x="205" y="382"/>
                  </a:lnTo>
                  <a:lnTo>
                    <a:pt x="203" y="382"/>
                  </a:lnTo>
                  <a:lnTo>
                    <a:pt x="202" y="383"/>
                  </a:lnTo>
                  <a:lnTo>
                    <a:pt x="199" y="383"/>
                  </a:lnTo>
                  <a:lnTo>
                    <a:pt x="197" y="383"/>
                  </a:lnTo>
                  <a:lnTo>
                    <a:pt x="194" y="383"/>
                  </a:lnTo>
                  <a:lnTo>
                    <a:pt x="191" y="382"/>
                  </a:lnTo>
                  <a:lnTo>
                    <a:pt x="190" y="382"/>
                  </a:lnTo>
                  <a:lnTo>
                    <a:pt x="189" y="382"/>
                  </a:lnTo>
                  <a:lnTo>
                    <a:pt x="188" y="382"/>
                  </a:lnTo>
                  <a:lnTo>
                    <a:pt x="188" y="383"/>
                  </a:lnTo>
                  <a:lnTo>
                    <a:pt x="187" y="383"/>
                  </a:lnTo>
                  <a:lnTo>
                    <a:pt x="186" y="383"/>
                  </a:lnTo>
                  <a:lnTo>
                    <a:pt x="186" y="384"/>
                  </a:lnTo>
                  <a:lnTo>
                    <a:pt x="185" y="385"/>
                  </a:lnTo>
                  <a:lnTo>
                    <a:pt x="184" y="386"/>
                  </a:lnTo>
                  <a:lnTo>
                    <a:pt x="183" y="387"/>
                  </a:lnTo>
                  <a:lnTo>
                    <a:pt x="182" y="389"/>
                  </a:lnTo>
                  <a:lnTo>
                    <a:pt x="181" y="392"/>
                  </a:lnTo>
                  <a:lnTo>
                    <a:pt x="180" y="394"/>
                  </a:lnTo>
                  <a:lnTo>
                    <a:pt x="179" y="397"/>
                  </a:lnTo>
                  <a:lnTo>
                    <a:pt x="178" y="399"/>
                  </a:lnTo>
                  <a:lnTo>
                    <a:pt x="178" y="400"/>
                  </a:lnTo>
                  <a:lnTo>
                    <a:pt x="177" y="401"/>
                  </a:lnTo>
                  <a:lnTo>
                    <a:pt x="175" y="405"/>
                  </a:lnTo>
                  <a:lnTo>
                    <a:pt x="172" y="409"/>
                  </a:lnTo>
                  <a:lnTo>
                    <a:pt x="171" y="410"/>
                  </a:lnTo>
                  <a:lnTo>
                    <a:pt x="170" y="411"/>
                  </a:lnTo>
                  <a:lnTo>
                    <a:pt x="170" y="412"/>
                  </a:lnTo>
                  <a:lnTo>
                    <a:pt x="168" y="413"/>
                  </a:lnTo>
                  <a:lnTo>
                    <a:pt x="167" y="413"/>
                  </a:lnTo>
                  <a:lnTo>
                    <a:pt x="165" y="415"/>
                  </a:lnTo>
                  <a:lnTo>
                    <a:pt x="164" y="416"/>
                  </a:lnTo>
                  <a:lnTo>
                    <a:pt x="162" y="416"/>
                  </a:lnTo>
                  <a:lnTo>
                    <a:pt x="162" y="417"/>
                  </a:lnTo>
                  <a:lnTo>
                    <a:pt x="161" y="417"/>
                  </a:lnTo>
                  <a:lnTo>
                    <a:pt x="160" y="417"/>
                  </a:lnTo>
                  <a:lnTo>
                    <a:pt x="159" y="417"/>
                  </a:lnTo>
                  <a:lnTo>
                    <a:pt x="158" y="416"/>
                  </a:lnTo>
                  <a:lnTo>
                    <a:pt x="157" y="416"/>
                  </a:lnTo>
                  <a:lnTo>
                    <a:pt x="156" y="416"/>
                  </a:lnTo>
                  <a:lnTo>
                    <a:pt x="156" y="416"/>
                  </a:lnTo>
                  <a:lnTo>
                    <a:pt x="154" y="414"/>
                  </a:lnTo>
                  <a:lnTo>
                    <a:pt x="154" y="414"/>
                  </a:lnTo>
                  <a:lnTo>
                    <a:pt x="153" y="414"/>
                  </a:lnTo>
                  <a:lnTo>
                    <a:pt x="152" y="413"/>
                  </a:lnTo>
                  <a:lnTo>
                    <a:pt x="152" y="413"/>
                  </a:lnTo>
                  <a:lnTo>
                    <a:pt x="152" y="413"/>
                  </a:lnTo>
                  <a:lnTo>
                    <a:pt x="151" y="413"/>
                  </a:lnTo>
                  <a:lnTo>
                    <a:pt x="151" y="413"/>
                  </a:lnTo>
                  <a:lnTo>
                    <a:pt x="150" y="414"/>
                  </a:lnTo>
                  <a:lnTo>
                    <a:pt x="148" y="415"/>
                  </a:lnTo>
                  <a:lnTo>
                    <a:pt x="148" y="415"/>
                  </a:lnTo>
                  <a:lnTo>
                    <a:pt x="147" y="415"/>
                  </a:lnTo>
                  <a:lnTo>
                    <a:pt x="147" y="415"/>
                  </a:lnTo>
                  <a:lnTo>
                    <a:pt x="146" y="415"/>
                  </a:lnTo>
                  <a:lnTo>
                    <a:pt x="145" y="415"/>
                  </a:lnTo>
                  <a:lnTo>
                    <a:pt x="144" y="415"/>
                  </a:lnTo>
                  <a:lnTo>
                    <a:pt x="143" y="415"/>
                  </a:lnTo>
                  <a:lnTo>
                    <a:pt x="142" y="415"/>
                  </a:lnTo>
                  <a:lnTo>
                    <a:pt x="139" y="415"/>
                  </a:lnTo>
                  <a:lnTo>
                    <a:pt x="137" y="414"/>
                  </a:lnTo>
                  <a:lnTo>
                    <a:pt x="135" y="414"/>
                  </a:lnTo>
                  <a:lnTo>
                    <a:pt x="133" y="414"/>
                  </a:lnTo>
                  <a:lnTo>
                    <a:pt x="132" y="414"/>
                  </a:lnTo>
                  <a:lnTo>
                    <a:pt x="130" y="414"/>
                  </a:lnTo>
                  <a:lnTo>
                    <a:pt x="126" y="414"/>
                  </a:lnTo>
                  <a:lnTo>
                    <a:pt x="124" y="414"/>
                  </a:lnTo>
                  <a:lnTo>
                    <a:pt x="121" y="414"/>
                  </a:lnTo>
                  <a:lnTo>
                    <a:pt x="118" y="413"/>
                  </a:lnTo>
                  <a:lnTo>
                    <a:pt x="113" y="413"/>
                  </a:lnTo>
                  <a:lnTo>
                    <a:pt x="101" y="412"/>
                  </a:lnTo>
                  <a:lnTo>
                    <a:pt x="98" y="411"/>
                  </a:lnTo>
                  <a:lnTo>
                    <a:pt x="97" y="411"/>
                  </a:lnTo>
                  <a:lnTo>
                    <a:pt x="95" y="411"/>
                  </a:lnTo>
                  <a:lnTo>
                    <a:pt x="94" y="411"/>
                  </a:lnTo>
                  <a:lnTo>
                    <a:pt x="91" y="412"/>
                  </a:lnTo>
                  <a:lnTo>
                    <a:pt x="89" y="412"/>
                  </a:lnTo>
                  <a:lnTo>
                    <a:pt x="87" y="412"/>
                  </a:lnTo>
                  <a:lnTo>
                    <a:pt x="84" y="411"/>
                  </a:lnTo>
                  <a:lnTo>
                    <a:pt x="79" y="411"/>
                  </a:lnTo>
                  <a:lnTo>
                    <a:pt x="78" y="411"/>
                  </a:lnTo>
                  <a:lnTo>
                    <a:pt x="77" y="411"/>
                  </a:lnTo>
                  <a:lnTo>
                    <a:pt x="75" y="411"/>
                  </a:lnTo>
                  <a:lnTo>
                    <a:pt x="74" y="410"/>
                  </a:lnTo>
                  <a:lnTo>
                    <a:pt x="73" y="410"/>
                  </a:lnTo>
                  <a:lnTo>
                    <a:pt x="71" y="409"/>
                  </a:lnTo>
                  <a:lnTo>
                    <a:pt x="70" y="409"/>
                  </a:lnTo>
                  <a:lnTo>
                    <a:pt x="68" y="408"/>
                  </a:lnTo>
                  <a:lnTo>
                    <a:pt x="67" y="407"/>
                  </a:lnTo>
                  <a:lnTo>
                    <a:pt x="65" y="406"/>
                  </a:lnTo>
                  <a:lnTo>
                    <a:pt x="59" y="403"/>
                  </a:lnTo>
                  <a:lnTo>
                    <a:pt x="50" y="399"/>
                  </a:lnTo>
                  <a:lnTo>
                    <a:pt x="47" y="397"/>
                  </a:lnTo>
                  <a:lnTo>
                    <a:pt x="46" y="396"/>
                  </a:lnTo>
                  <a:lnTo>
                    <a:pt x="45" y="396"/>
                  </a:lnTo>
                  <a:lnTo>
                    <a:pt x="44" y="395"/>
                  </a:lnTo>
                  <a:lnTo>
                    <a:pt x="42" y="394"/>
                  </a:lnTo>
                  <a:lnTo>
                    <a:pt x="41" y="392"/>
                  </a:lnTo>
                  <a:lnTo>
                    <a:pt x="39" y="391"/>
                  </a:lnTo>
                  <a:lnTo>
                    <a:pt x="37" y="390"/>
                  </a:lnTo>
                  <a:lnTo>
                    <a:pt x="36" y="388"/>
                  </a:lnTo>
                  <a:lnTo>
                    <a:pt x="35" y="387"/>
                  </a:lnTo>
                  <a:lnTo>
                    <a:pt x="34" y="386"/>
                  </a:lnTo>
                  <a:lnTo>
                    <a:pt x="34" y="386"/>
                  </a:lnTo>
                  <a:lnTo>
                    <a:pt x="33" y="385"/>
                  </a:lnTo>
                  <a:lnTo>
                    <a:pt x="33" y="384"/>
                  </a:lnTo>
                  <a:lnTo>
                    <a:pt x="33" y="384"/>
                  </a:lnTo>
                  <a:lnTo>
                    <a:pt x="32" y="382"/>
                  </a:lnTo>
                  <a:lnTo>
                    <a:pt x="31" y="380"/>
                  </a:lnTo>
                  <a:lnTo>
                    <a:pt x="31" y="379"/>
                  </a:lnTo>
                  <a:lnTo>
                    <a:pt x="31" y="379"/>
                  </a:lnTo>
                  <a:lnTo>
                    <a:pt x="31" y="378"/>
                  </a:lnTo>
                  <a:lnTo>
                    <a:pt x="31" y="378"/>
                  </a:lnTo>
                  <a:lnTo>
                    <a:pt x="30" y="377"/>
                  </a:lnTo>
                  <a:lnTo>
                    <a:pt x="30" y="377"/>
                  </a:lnTo>
                  <a:lnTo>
                    <a:pt x="29" y="377"/>
                  </a:lnTo>
                  <a:lnTo>
                    <a:pt x="29" y="376"/>
                  </a:lnTo>
                  <a:lnTo>
                    <a:pt x="28" y="376"/>
                  </a:lnTo>
                  <a:lnTo>
                    <a:pt x="27" y="376"/>
                  </a:lnTo>
                  <a:lnTo>
                    <a:pt x="26" y="376"/>
                  </a:lnTo>
                  <a:lnTo>
                    <a:pt x="26" y="376"/>
                  </a:lnTo>
                  <a:lnTo>
                    <a:pt x="25" y="375"/>
                  </a:lnTo>
                  <a:lnTo>
                    <a:pt x="25" y="375"/>
                  </a:lnTo>
                  <a:lnTo>
                    <a:pt x="24" y="374"/>
                  </a:lnTo>
                  <a:lnTo>
                    <a:pt x="23" y="373"/>
                  </a:lnTo>
                  <a:lnTo>
                    <a:pt x="22" y="372"/>
                  </a:lnTo>
                  <a:lnTo>
                    <a:pt x="21" y="372"/>
                  </a:lnTo>
                  <a:lnTo>
                    <a:pt x="21" y="371"/>
                  </a:lnTo>
                  <a:lnTo>
                    <a:pt x="20" y="371"/>
                  </a:lnTo>
                  <a:lnTo>
                    <a:pt x="19" y="371"/>
                  </a:lnTo>
                  <a:lnTo>
                    <a:pt x="16" y="370"/>
                  </a:lnTo>
                  <a:lnTo>
                    <a:pt x="16" y="370"/>
                  </a:lnTo>
                  <a:lnTo>
                    <a:pt x="15" y="370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14" y="368"/>
                  </a:lnTo>
                  <a:lnTo>
                    <a:pt x="14" y="368"/>
                  </a:lnTo>
                  <a:lnTo>
                    <a:pt x="14" y="367"/>
                  </a:lnTo>
                  <a:lnTo>
                    <a:pt x="13" y="367"/>
                  </a:lnTo>
                  <a:lnTo>
                    <a:pt x="13" y="366"/>
                  </a:lnTo>
                  <a:lnTo>
                    <a:pt x="12" y="366"/>
                  </a:lnTo>
                  <a:lnTo>
                    <a:pt x="11" y="365"/>
                  </a:lnTo>
                  <a:lnTo>
                    <a:pt x="10" y="365"/>
                  </a:lnTo>
                  <a:lnTo>
                    <a:pt x="9" y="363"/>
                  </a:lnTo>
                  <a:lnTo>
                    <a:pt x="8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5" y="361"/>
                  </a:lnTo>
                  <a:lnTo>
                    <a:pt x="4" y="361"/>
                  </a:lnTo>
                  <a:lnTo>
                    <a:pt x="2" y="360"/>
                  </a:lnTo>
                  <a:lnTo>
                    <a:pt x="2" y="360"/>
                  </a:lnTo>
                  <a:lnTo>
                    <a:pt x="1" y="359"/>
                  </a:lnTo>
                  <a:lnTo>
                    <a:pt x="1" y="359"/>
                  </a:lnTo>
                  <a:lnTo>
                    <a:pt x="0" y="358"/>
                  </a:lnTo>
                  <a:lnTo>
                    <a:pt x="0" y="358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Freeform 33">
              <a:extLst>
                <a:ext uri="{FF2B5EF4-FFF2-40B4-BE49-F238E27FC236}">
                  <a16:creationId xmlns:a16="http://schemas.microsoft.com/office/drawing/2014/main" id="{153C335B-6DA2-B20A-BE7A-301911AD1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21"/>
              <a:ext cx="303" cy="362"/>
            </a:xfrm>
            <a:custGeom>
              <a:avLst/>
              <a:gdLst>
                <a:gd name="T0" fmla="*/ 88 w 303"/>
                <a:gd name="T1" fmla="*/ 354 h 362"/>
                <a:gd name="T2" fmla="*/ 71 w 303"/>
                <a:gd name="T3" fmla="*/ 357 h 362"/>
                <a:gd name="T4" fmla="*/ 57 w 303"/>
                <a:gd name="T5" fmla="*/ 362 h 362"/>
                <a:gd name="T6" fmla="*/ 34 w 303"/>
                <a:gd name="T7" fmla="*/ 351 h 362"/>
                <a:gd name="T8" fmla="*/ 10 w 303"/>
                <a:gd name="T9" fmla="*/ 342 h 362"/>
                <a:gd name="T10" fmla="*/ 4 w 303"/>
                <a:gd name="T11" fmla="*/ 331 h 362"/>
                <a:gd name="T12" fmla="*/ 6 w 303"/>
                <a:gd name="T13" fmla="*/ 328 h 362"/>
                <a:gd name="T14" fmla="*/ 11 w 303"/>
                <a:gd name="T15" fmla="*/ 323 h 362"/>
                <a:gd name="T16" fmla="*/ 16 w 303"/>
                <a:gd name="T17" fmla="*/ 318 h 362"/>
                <a:gd name="T18" fmla="*/ 26 w 303"/>
                <a:gd name="T19" fmla="*/ 321 h 362"/>
                <a:gd name="T20" fmla="*/ 34 w 303"/>
                <a:gd name="T21" fmla="*/ 319 h 362"/>
                <a:gd name="T22" fmla="*/ 45 w 303"/>
                <a:gd name="T23" fmla="*/ 312 h 362"/>
                <a:gd name="T24" fmla="*/ 56 w 303"/>
                <a:gd name="T25" fmla="*/ 316 h 362"/>
                <a:gd name="T26" fmla="*/ 66 w 303"/>
                <a:gd name="T27" fmla="*/ 307 h 362"/>
                <a:gd name="T28" fmla="*/ 78 w 303"/>
                <a:gd name="T29" fmla="*/ 297 h 362"/>
                <a:gd name="T30" fmla="*/ 93 w 303"/>
                <a:gd name="T31" fmla="*/ 290 h 362"/>
                <a:gd name="T32" fmla="*/ 102 w 303"/>
                <a:gd name="T33" fmla="*/ 286 h 362"/>
                <a:gd name="T34" fmla="*/ 107 w 303"/>
                <a:gd name="T35" fmla="*/ 279 h 362"/>
                <a:gd name="T36" fmla="*/ 116 w 303"/>
                <a:gd name="T37" fmla="*/ 277 h 362"/>
                <a:gd name="T38" fmla="*/ 126 w 303"/>
                <a:gd name="T39" fmla="*/ 271 h 362"/>
                <a:gd name="T40" fmla="*/ 134 w 303"/>
                <a:gd name="T41" fmla="*/ 278 h 362"/>
                <a:gd name="T42" fmla="*/ 146 w 303"/>
                <a:gd name="T43" fmla="*/ 278 h 362"/>
                <a:gd name="T44" fmla="*/ 159 w 303"/>
                <a:gd name="T45" fmla="*/ 277 h 362"/>
                <a:gd name="T46" fmla="*/ 178 w 303"/>
                <a:gd name="T47" fmla="*/ 273 h 362"/>
                <a:gd name="T48" fmla="*/ 180 w 303"/>
                <a:gd name="T49" fmla="*/ 265 h 362"/>
                <a:gd name="T50" fmla="*/ 196 w 303"/>
                <a:gd name="T51" fmla="*/ 260 h 362"/>
                <a:gd name="T52" fmla="*/ 205 w 303"/>
                <a:gd name="T53" fmla="*/ 255 h 362"/>
                <a:gd name="T54" fmla="*/ 212 w 303"/>
                <a:gd name="T55" fmla="*/ 246 h 362"/>
                <a:gd name="T56" fmla="*/ 207 w 303"/>
                <a:gd name="T57" fmla="*/ 236 h 362"/>
                <a:gd name="T58" fmla="*/ 203 w 303"/>
                <a:gd name="T59" fmla="*/ 230 h 362"/>
                <a:gd name="T60" fmla="*/ 210 w 303"/>
                <a:gd name="T61" fmla="*/ 225 h 362"/>
                <a:gd name="T62" fmla="*/ 209 w 303"/>
                <a:gd name="T63" fmla="*/ 215 h 362"/>
                <a:gd name="T64" fmla="*/ 219 w 303"/>
                <a:gd name="T65" fmla="*/ 208 h 362"/>
                <a:gd name="T66" fmla="*/ 217 w 303"/>
                <a:gd name="T67" fmla="*/ 200 h 362"/>
                <a:gd name="T68" fmla="*/ 210 w 303"/>
                <a:gd name="T69" fmla="*/ 192 h 362"/>
                <a:gd name="T70" fmla="*/ 213 w 303"/>
                <a:gd name="T71" fmla="*/ 181 h 362"/>
                <a:gd name="T72" fmla="*/ 222 w 303"/>
                <a:gd name="T73" fmla="*/ 172 h 362"/>
                <a:gd name="T74" fmla="*/ 217 w 303"/>
                <a:gd name="T75" fmla="*/ 163 h 362"/>
                <a:gd name="T76" fmla="*/ 223 w 303"/>
                <a:gd name="T77" fmla="*/ 151 h 362"/>
                <a:gd name="T78" fmla="*/ 221 w 303"/>
                <a:gd name="T79" fmla="*/ 146 h 362"/>
                <a:gd name="T80" fmla="*/ 213 w 303"/>
                <a:gd name="T81" fmla="*/ 141 h 362"/>
                <a:gd name="T82" fmla="*/ 210 w 303"/>
                <a:gd name="T83" fmla="*/ 134 h 362"/>
                <a:gd name="T84" fmla="*/ 206 w 303"/>
                <a:gd name="T85" fmla="*/ 123 h 362"/>
                <a:gd name="T86" fmla="*/ 212 w 303"/>
                <a:gd name="T87" fmla="*/ 105 h 362"/>
                <a:gd name="T88" fmla="*/ 220 w 303"/>
                <a:gd name="T89" fmla="*/ 95 h 362"/>
                <a:gd name="T90" fmla="*/ 234 w 303"/>
                <a:gd name="T91" fmla="*/ 91 h 362"/>
                <a:gd name="T92" fmla="*/ 233 w 303"/>
                <a:gd name="T93" fmla="*/ 86 h 362"/>
                <a:gd name="T94" fmla="*/ 228 w 303"/>
                <a:gd name="T95" fmla="*/ 82 h 362"/>
                <a:gd name="T96" fmla="*/ 238 w 303"/>
                <a:gd name="T97" fmla="*/ 77 h 362"/>
                <a:gd name="T98" fmla="*/ 243 w 303"/>
                <a:gd name="T99" fmla="*/ 82 h 362"/>
                <a:gd name="T100" fmla="*/ 249 w 303"/>
                <a:gd name="T101" fmla="*/ 81 h 362"/>
                <a:gd name="T102" fmla="*/ 250 w 303"/>
                <a:gd name="T103" fmla="*/ 71 h 362"/>
                <a:gd name="T104" fmla="*/ 245 w 303"/>
                <a:gd name="T105" fmla="*/ 63 h 362"/>
                <a:gd name="T106" fmla="*/ 253 w 303"/>
                <a:gd name="T107" fmla="*/ 61 h 362"/>
                <a:gd name="T108" fmla="*/ 260 w 303"/>
                <a:gd name="T109" fmla="*/ 50 h 362"/>
                <a:gd name="T110" fmla="*/ 253 w 303"/>
                <a:gd name="T111" fmla="*/ 42 h 362"/>
                <a:gd name="T112" fmla="*/ 250 w 303"/>
                <a:gd name="T113" fmla="*/ 35 h 362"/>
                <a:gd name="T114" fmla="*/ 255 w 303"/>
                <a:gd name="T115" fmla="*/ 25 h 362"/>
                <a:gd name="T116" fmla="*/ 264 w 303"/>
                <a:gd name="T117" fmla="*/ 17 h 362"/>
                <a:gd name="T118" fmla="*/ 272 w 303"/>
                <a:gd name="T119" fmla="*/ 18 h 362"/>
                <a:gd name="T120" fmla="*/ 290 w 303"/>
                <a:gd name="T121" fmla="*/ 18 h 362"/>
                <a:gd name="T122" fmla="*/ 299 w 303"/>
                <a:gd name="T123" fmla="*/ 13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3" h="362">
                  <a:moveTo>
                    <a:pt x="94" y="358"/>
                  </a:moveTo>
                  <a:lnTo>
                    <a:pt x="93" y="356"/>
                  </a:lnTo>
                  <a:lnTo>
                    <a:pt x="92" y="356"/>
                  </a:lnTo>
                  <a:lnTo>
                    <a:pt x="92" y="356"/>
                  </a:lnTo>
                  <a:lnTo>
                    <a:pt x="92" y="355"/>
                  </a:lnTo>
                  <a:lnTo>
                    <a:pt x="91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90" y="354"/>
                  </a:lnTo>
                  <a:lnTo>
                    <a:pt x="89" y="354"/>
                  </a:lnTo>
                  <a:lnTo>
                    <a:pt x="88" y="354"/>
                  </a:lnTo>
                  <a:lnTo>
                    <a:pt x="85" y="354"/>
                  </a:lnTo>
                  <a:lnTo>
                    <a:pt x="83" y="354"/>
                  </a:lnTo>
                  <a:lnTo>
                    <a:pt x="81" y="354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6" y="355"/>
                  </a:lnTo>
                  <a:lnTo>
                    <a:pt x="75" y="355"/>
                  </a:lnTo>
                  <a:lnTo>
                    <a:pt x="74" y="355"/>
                  </a:lnTo>
                  <a:lnTo>
                    <a:pt x="73" y="356"/>
                  </a:lnTo>
                  <a:lnTo>
                    <a:pt x="72" y="356"/>
                  </a:lnTo>
                  <a:lnTo>
                    <a:pt x="71" y="357"/>
                  </a:lnTo>
                  <a:lnTo>
                    <a:pt x="68" y="359"/>
                  </a:lnTo>
                  <a:lnTo>
                    <a:pt x="67" y="360"/>
                  </a:lnTo>
                  <a:lnTo>
                    <a:pt x="66" y="360"/>
                  </a:lnTo>
                  <a:lnTo>
                    <a:pt x="65" y="361"/>
                  </a:lnTo>
                  <a:lnTo>
                    <a:pt x="64" y="361"/>
                  </a:lnTo>
                  <a:lnTo>
                    <a:pt x="63" y="361"/>
                  </a:lnTo>
                  <a:lnTo>
                    <a:pt x="62" y="362"/>
                  </a:lnTo>
                  <a:lnTo>
                    <a:pt x="61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7" y="362"/>
                  </a:lnTo>
                  <a:lnTo>
                    <a:pt x="54" y="362"/>
                  </a:lnTo>
                  <a:lnTo>
                    <a:pt x="48" y="361"/>
                  </a:lnTo>
                  <a:lnTo>
                    <a:pt x="47" y="360"/>
                  </a:lnTo>
                  <a:lnTo>
                    <a:pt x="45" y="360"/>
                  </a:lnTo>
                  <a:lnTo>
                    <a:pt x="44" y="359"/>
                  </a:lnTo>
                  <a:lnTo>
                    <a:pt x="43" y="359"/>
                  </a:lnTo>
                  <a:lnTo>
                    <a:pt x="42" y="358"/>
                  </a:lnTo>
                  <a:lnTo>
                    <a:pt x="40" y="357"/>
                  </a:lnTo>
                  <a:lnTo>
                    <a:pt x="39" y="356"/>
                  </a:lnTo>
                  <a:lnTo>
                    <a:pt x="35" y="352"/>
                  </a:lnTo>
                  <a:lnTo>
                    <a:pt x="34" y="351"/>
                  </a:lnTo>
                  <a:lnTo>
                    <a:pt x="33" y="350"/>
                  </a:lnTo>
                  <a:lnTo>
                    <a:pt x="31" y="350"/>
                  </a:lnTo>
                  <a:lnTo>
                    <a:pt x="30" y="349"/>
                  </a:lnTo>
                  <a:lnTo>
                    <a:pt x="27" y="348"/>
                  </a:lnTo>
                  <a:lnTo>
                    <a:pt x="24" y="346"/>
                  </a:lnTo>
                  <a:lnTo>
                    <a:pt x="23" y="345"/>
                  </a:lnTo>
                  <a:lnTo>
                    <a:pt x="21" y="344"/>
                  </a:lnTo>
                  <a:lnTo>
                    <a:pt x="20" y="344"/>
                  </a:lnTo>
                  <a:lnTo>
                    <a:pt x="18" y="343"/>
                  </a:lnTo>
                  <a:lnTo>
                    <a:pt x="12" y="342"/>
                  </a:lnTo>
                  <a:lnTo>
                    <a:pt x="10" y="342"/>
                  </a:lnTo>
                  <a:lnTo>
                    <a:pt x="9" y="342"/>
                  </a:lnTo>
                  <a:lnTo>
                    <a:pt x="7" y="341"/>
                  </a:lnTo>
                  <a:lnTo>
                    <a:pt x="5" y="341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1" y="336"/>
                  </a:lnTo>
                  <a:lnTo>
                    <a:pt x="2" y="333"/>
                  </a:lnTo>
                  <a:lnTo>
                    <a:pt x="2" y="332"/>
                  </a:lnTo>
                  <a:lnTo>
                    <a:pt x="3" y="332"/>
                  </a:lnTo>
                  <a:lnTo>
                    <a:pt x="3" y="332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5" y="331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6" y="329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7" y="327"/>
                  </a:lnTo>
                  <a:lnTo>
                    <a:pt x="8" y="326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9" y="323"/>
                  </a:lnTo>
                  <a:lnTo>
                    <a:pt x="10" y="323"/>
                  </a:lnTo>
                  <a:lnTo>
                    <a:pt x="10" y="323"/>
                  </a:lnTo>
                  <a:lnTo>
                    <a:pt x="11" y="323"/>
                  </a:lnTo>
                  <a:lnTo>
                    <a:pt x="11" y="323"/>
                  </a:lnTo>
                  <a:lnTo>
                    <a:pt x="11" y="322"/>
                  </a:lnTo>
                  <a:lnTo>
                    <a:pt x="13" y="321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19"/>
                  </a:lnTo>
                  <a:lnTo>
                    <a:pt x="14" y="319"/>
                  </a:lnTo>
                  <a:lnTo>
                    <a:pt x="14" y="319"/>
                  </a:lnTo>
                  <a:lnTo>
                    <a:pt x="15" y="318"/>
                  </a:lnTo>
                  <a:lnTo>
                    <a:pt x="16" y="318"/>
                  </a:lnTo>
                  <a:lnTo>
                    <a:pt x="17" y="318"/>
                  </a:lnTo>
                  <a:lnTo>
                    <a:pt x="18" y="318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2" y="318"/>
                  </a:lnTo>
                  <a:lnTo>
                    <a:pt x="23" y="319"/>
                  </a:lnTo>
                  <a:lnTo>
                    <a:pt x="25" y="320"/>
                  </a:lnTo>
                  <a:lnTo>
                    <a:pt x="25" y="321"/>
                  </a:lnTo>
                  <a:lnTo>
                    <a:pt x="26" y="321"/>
                  </a:lnTo>
                  <a:lnTo>
                    <a:pt x="27" y="321"/>
                  </a:lnTo>
                  <a:lnTo>
                    <a:pt x="28" y="322"/>
                  </a:lnTo>
                  <a:lnTo>
                    <a:pt x="29" y="322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2" y="321"/>
                  </a:lnTo>
                  <a:lnTo>
                    <a:pt x="32" y="321"/>
                  </a:lnTo>
                  <a:lnTo>
                    <a:pt x="33" y="320"/>
                  </a:lnTo>
                  <a:lnTo>
                    <a:pt x="34" y="319"/>
                  </a:lnTo>
                  <a:lnTo>
                    <a:pt x="34" y="319"/>
                  </a:lnTo>
                  <a:lnTo>
                    <a:pt x="35" y="317"/>
                  </a:lnTo>
                  <a:lnTo>
                    <a:pt x="37" y="314"/>
                  </a:lnTo>
                  <a:lnTo>
                    <a:pt x="38" y="314"/>
                  </a:lnTo>
                  <a:lnTo>
                    <a:pt x="38" y="314"/>
                  </a:lnTo>
                  <a:lnTo>
                    <a:pt x="38" y="313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0" y="313"/>
                  </a:lnTo>
                  <a:lnTo>
                    <a:pt x="41" y="313"/>
                  </a:lnTo>
                  <a:lnTo>
                    <a:pt x="45" y="312"/>
                  </a:lnTo>
                  <a:lnTo>
                    <a:pt x="46" y="312"/>
                  </a:lnTo>
                  <a:lnTo>
                    <a:pt x="47" y="312"/>
                  </a:lnTo>
                  <a:lnTo>
                    <a:pt x="48" y="312"/>
                  </a:lnTo>
                  <a:lnTo>
                    <a:pt x="49" y="313"/>
                  </a:lnTo>
                  <a:lnTo>
                    <a:pt x="50" y="313"/>
                  </a:lnTo>
                  <a:lnTo>
                    <a:pt x="51" y="314"/>
                  </a:lnTo>
                  <a:lnTo>
                    <a:pt x="52" y="314"/>
                  </a:lnTo>
                  <a:lnTo>
                    <a:pt x="54" y="316"/>
                  </a:lnTo>
                  <a:lnTo>
                    <a:pt x="55" y="316"/>
                  </a:lnTo>
                  <a:lnTo>
                    <a:pt x="56" y="316"/>
                  </a:lnTo>
                  <a:lnTo>
                    <a:pt x="56" y="316"/>
                  </a:lnTo>
                  <a:lnTo>
                    <a:pt x="57" y="316"/>
                  </a:lnTo>
                  <a:lnTo>
                    <a:pt x="57" y="316"/>
                  </a:lnTo>
                  <a:lnTo>
                    <a:pt x="58" y="316"/>
                  </a:lnTo>
                  <a:lnTo>
                    <a:pt x="58" y="316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1" y="313"/>
                  </a:lnTo>
                  <a:lnTo>
                    <a:pt x="62" y="311"/>
                  </a:lnTo>
                  <a:lnTo>
                    <a:pt x="62" y="311"/>
                  </a:lnTo>
                  <a:lnTo>
                    <a:pt x="64" y="309"/>
                  </a:lnTo>
                  <a:lnTo>
                    <a:pt x="66" y="307"/>
                  </a:lnTo>
                  <a:lnTo>
                    <a:pt x="66" y="307"/>
                  </a:lnTo>
                  <a:lnTo>
                    <a:pt x="67" y="306"/>
                  </a:lnTo>
                  <a:lnTo>
                    <a:pt x="68" y="306"/>
                  </a:lnTo>
                  <a:lnTo>
                    <a:pt x="69" y="305"/>
                  </a:lnTo>
                  <a:lnTo>
                    <a:pt x="71" y="304"/>
                  </a:lnTo>
                  <a:lnTo>
                    <a:pt x="72" y="303"/>
                  </a:lnTo>
                  <a:lnTo>
                    <a:pt x="73" y="302"/>
                  </a:lnTo>
                  <a:lnTo>
                    <a:pt x="74" y="301"/>
                  </a:lnTo>
                  <a:lnTo>
                    <a:pt x="75" y="300"/>
                  </a:lnTo>
                  <a:lnTo>
                    <a:pt x="77" y="299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81" y="294"/>
                  </a:lnTo>
                  <a:lnTo>
                    <a:pt x="82" y="293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8" y="291"/>
                  </a:lnTo>
                  <a:lnTo>
                    <a:pt x="89" y="290"/>
                  </a:lnTo>
                  <a:lnTo>
                    <a:pt x="91" y="290"/>
                  </a:lnTo>
                  <a:lnTo>
                    <a:pt x="93" y="290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9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1" y="288"/>
                  </a:lnTo>
                  <a:lnTo>
                    <a:pt x="101" y="287"/>
                  </a:lnTo>
                  <a:lnTo>
                    <a:pt x="101" y="287"/>
                  </a:lnTo>
                  <a:lnTo>
                    <a:pt x="102" y="286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4" y="281"/>
                  </a:lnTo>
                  <a:lnTo>
                    <a:pt x="104" y="280"/>
                  </a:lnTo>
                  <a:lnTo>
                    <a:pt x="105" y="280"/>
                  </a:lnTo>
                  <a:lnTo>
                    <a:pt x="105" y="280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4" y="278"/>
                  </a:lnTo>
                  <a:lnTo>
                    <a:pt x="115" y="278"/>
                  </a:lnTo>
                  <a:lnTo>
                    <a:pt x="115" y="277"/>
                  </a:lnTo>
                  <a:lnTo>
                    <a:pt x="116" y="277"/>
                  </a:lnTo>
                  <a:lnTo>
                    <a:pt x="117" y="276"/>
                  </a:lnTo>
                  <a:lnTo>
                    <a:pt x="119" y="274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3"/>
                  </a:lnTo>
                  <a:lnTo>
                    <a:pt x="121" y="272"/>
                  </a:lnTo>
                  <a:lnTo>
                    <a:pt x="123" y="272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6" y="271"/>
                  </a:lnTo>
                  <a:lnTo>
                    <a:pt x="126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29" y="273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1" y="276"/>
                  </a:lnTo>
                  <a:lnTo>
                    <a:pt x="132" y="276"/>
                  </a:lnTo>
                  <a:lnTo>
                    <a:pt x="134" y="278"/>
                  </a:lnTo>
                  <a:lnTo>
                    <a:pt x="135" y="279"/>
                  </a:lnTo>
                  <a:lnTo>
                    <a:pt x="136" y="279"/>
                  </a:lnTo>
                  <a:lnTo>
                    <a:pt x="137" y="280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9" y="280"/>
                  </a:lnTo>
                  <a:lnTo>
                    <a:pt x="141" y="280"/>
                  </a:lnTo>
                  <a:lnTo>
                    <a:pt x="142" y="280"/>
                  </a:lnTo>
                  <a:lnTo>
                    <a:pt x="143" y="279"/>
                  </a:lnTo>
                  <a:lnTo>
                    <a:pt x="144" y="279"/>
                  </a:lnTo>
                  <a:lnTo>
                    <a:pt x="146" y="278"/>
                  </a:lnTo>
                  <a:lnTo>
                    <a:pt x="147" y="277"/>
                  </a:lnTo>
                  <a:lnTo>
                    <a:pt x="148" y="276"/>
                  </a:lnTo>
                  <a:lnTo>
                    <a:pt x="149" y="276"/>
                  </a:lnTo>
                  <a:lnTo>
                    <a:pt x="149" y="275"/>
                  </a:lnTo>
                  <a:lnTo>
                    <a:pt x="150" y="275"/>
                  </a:lnTo>
                  <a:lnTo>
                    <a:pt x="151" y="275"/>
                  </a:lnTo>
                  <a:lnTo>
                    <a:pt x="152" y="275"/>
                  </a:lnTo>
                  <a:lnTo>
                    <a:pt x="154" y="276"/>
                  </a:lnTo>
                  <a:lnTo>
                    <a:pt x="155" y="276"/>
                  </a:lnTo>
                  <a:lnTo>
                    <a:pt x="158" y="276"/>
                  </a:lnTo>
                  <a:lnTo>
                    <a:pt x="159" y="277"/>
                  </a:lnTo>
                  <a:lnTo>
                    <a:pt x="161" y="277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4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8" y="273"/>
                  </a:lnTo>
                  <a:lnTo>
                    <a:pt x="179" y="273"/>
                  </a:lnTo>
                  <a:lnTo>
                    <a:pt x="179" y="272"/>
                  </a:lnTo>
                  <a:lnTo>
                    <a:pt x="179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68"/>
                  </a:lnTo>
                  <a:lnTo>
                    <a:pt x="180" y="267"/>
                  </a:lnTo>
                  <a:lnTo>
                    <a:pt x="180" y="266"/>
                  </a:lnTo>
                  <a:lnTo>
                    <a:pt x="180" y="265"/>
                  </a:lnTo>
                  <a:lnTo>
                    <a:pt x="181" y="265"/>
                  </a:lnTo>
                  <a:lnTo>
                    <a:pt x="181" y="264"/>
                  </a:lnTo>
                  <a:lnTo>
                    <a:pt x="182" y="263"/>
                  </a:lnTo>
                  <a:lnTo>
                    <a:pt x="183" y="263"/>
                  </a:lnTo>
                  <a:lnTo>
                    <a:pt x="184" y="262"/>
                  </a:lnTo>
                  <a:lnTo>
                    <a:pt x="185" y="262"/>
                  </a:lnTo>
                  <a:lnTo>
                    <a:pt x="186" y="261"/>
                  </a:lnTo>
                  <a:lnTo>
                    <a:pt x="188" y="261"/>
                  </a:lnTo>
                  <a:lnTo>
                    <a:pt x="189" y="261"/>
                  </a:lnTo>
                  <a:lnTo>
                    <a:pt x="193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1" y="259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3" y="257"/>
                  </a:lnTo>
                  <a:lnTo>
                    <a:pt x="203" y="257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05" y="255"/>
                  </a:lnTo>
                  <a:lnTo>
                    <a:pt x="206" y="254"/>
                  </a:lnTo>
                  <a:lnTo>
                    <a:pt x="206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7" y="250"/>
                  </a:lnTo>
                  <a:lnTo>
                    <a:pt x="208" y="250"/>
                  </a:lnTo>
                  <a:lnTo>
                    <a:pt x="208" y="249"/>
                  </a:lnTo>
                  <a:lnTo>
                    <a:pt x="210" y="247"/>
                  </a:lnTo>
                  <a:lnTo>
                    <a:pt x="211" y="247"/>
                  </a:lnTo>
                  <a:lnTo>
                    <a:pt x="211" y="246"/>
                  </a:lnTo>
                  <a:lnTo>
                    <a:pt x="212" y="246"/>
                  </a:lnTo>
                  <a:lnTo>
                    <a:pt x="212" y="245"/>
                  </a:lnTo>
                  <a:lnTo>
                    <a:pt x="212" y="245"/>
                  </a:lnTo>
                  <a:lnTo>
                    <a:pt x="212" y="244"/>
                  </a:lnTo>
                  <a:lnTo>
                    <a:pt x="212" y="243"/>
                  </a:lnTo>
                  <a:lnTo>
                    <a:pt x="212" y="243"/>
                  </a:lnTo>
                  <a:lnTo>
                    <a:pt x="212" y="242"/>
                  </a:lnTo>
                  <a:lnTo>
                    <a:pt x="212" y="241"/>
                  </a:lnTo>
                  <a:lnTo>
                    <a:pt x="211" y="241"/>
                  </a:lnTo>
                  <a:lnTo>
                    <a:pt x="210" y="240"/>
                  </a:lnTo>
                  <a:lnTo>
                    <a:pt x="209" y="239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4" y="234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3" y="232"/>
                  </a:lnTo>
                  <a:lnTo>
                    <a:pt x="202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30"/>
                  </a:lnTo>
                  <a:lnTo>
                    <a:pt x="205" y="230"/>
                  </a:lnTo>
                  <a:lnTo>
                    <a:pt x="206" y="229"/>
                  </a:lnTo>
                  <a:lnTo>
                    <a:pt x="207" y="229"/>
                  </a:lnTo>
                  <a:lnTo>
                    <a:pt x="207" y="228"/>
                  </a:lnTo>
                  <a:lnTo>
                    <a:pt x="208" y="228"/>
                  </a:lnTo>
                  <a:lnTo>
                    <a:pt x="208" y="227"/>
                  </a:lnTo>
                  <a:lnTo>
                    <a:pt x="209" y="227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0" y="225"/>
                  </a:lnTo>
                  <a:lnTo>
                    <a:pt x="210" y="224"/>
                  </a:lnTo>
                  <a:lnTo>
                    <a:pt x="210" y="224"/>
                  </a:lnTo>
                  <a:lnTo>
                    <a:pt x="209" y="223"/>
                  </a:lnTo>
                  <a:lnTo>
                    <a:pt x="209" y="222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08" y="218"/>
                  </a:lnTo>
                  <a:lnTo>
                    <a:pt x="208" y="217"/>
                  </a:lnTo>
                  <a:lnTo>
                    <a:pt x="209" y="217"/>
                  </a:lnTo>
                  <a:lnTo>
                    <a:pt x="209" y="216"/>
                  </a:lnTo>
                  <a:lnTo>
                    <a:pt x="209" y="215"/>
                  </a:lnTo>
                  <a:lnTo>
                    <a:pt x="210" y="215"/>
                  </a:lnTo>
                  <a:lnTo>
                    <a:pt x="210" y="214"/>
                  </a:lnTo>
                  <a:lnTo>
                    <a:pt x="211" y="214"/>
                  </a:lnTo>
                  <a:lnTo>
                    <a:pt x="211" y="213"/>
                  </a:lnTo>
                  <a:lnTo>
                    <a:pt x="212" y="213"/>
                  </a:lnTo>
                  <a:lnTo>
                    <a:pt x="214" y="212"/>
                  </a:lnTo>
                  <a:lnTo>
                    <a:pt x="215" y="211"/>
                  </a:lnTo>
                  <a:lnTo>
                    <a:pt x="216" y="211"/>
                  </a:lnTo>
                  <a:lnTo>
                    <a:pt x="217" y="210"/>
                  </a:lnTo>
                  <a:lnTo>
                    <a:pt x="218" y="209"/>
                  </a:lnTo>
                  <a:lnTo>
                    <a:pt x="219" y="208"/>
                  </a:lnTo>
                  <a:lnTo>
                    <a:pt x="219" y="208"/>
                  </a:lnTo>
                  <a:lnTo>
                    <a:pt x="219" y="207"/>
                  </a:lnTo>
                  <a:lnTo>
                    <a:pt x="219" y="206"/>
                  </a:lnTo>
                  <a:lnTo>
                    <a:pt x="219" y="205"/>
                  </a:lnTo>
                  <a:lnTo>
                    <a:pt x="219" y="203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18" y="201"/>
                  </a:lnTo>
                  <a:lnTo>
                    <a:pt x="218" y="201"/>
                  </a:lnTo>
                  <a:lnTo>
                    <a:pt x="218" y="200"/>
                  </a:lnTo>
                  <a:lnTo>
                    <a:pt x="217" y="200"/>
                  </a:lnTo>
                  <a:lnTo>
                    <a:pt x="217" y="199"/>
                  </a:lnTo>
                  <a:lnTo>
                    <a:pt x="217" y="198"/>
                  </a:lnTo>
                  <a:lnTo>
                    <a:pt x="215" y="198"/>
                  </a:lnTo>
                  <a:lnTo>
                    <a:pt x="213" y="196"/>
                  </a:lnTo>
                  <a:lnTo>
                    <a:pt x="212" y="195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10" y="191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0" y="188"/>
                  </a:lnTo>
                  <a:lnTo>
                    <a:pt x="210" y="187"/>
                  </a:lnTo>
                  <a:lnTo>
                    <a:pt x="211" y="186"/>
                  </a:lnTo>
                  <a:lnTo>
                    <a:pt x="211" y="185"/>
                  </a:lnTo>
                  <a:lnTo>
                    <a:pt x="212" y="184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3" y="181"/>
                  </a:lnTo>
                  <a:lnTo>
                    <a:pt x="214" y="180"/>
                  </a:lnTo>
                  <a:lnTo>
                    <a:pt x="215" y="178"/>
                  </a:lnTo>
                  <a:lnTo>
                    <a:pt x="216" y="178"/>
                  </a:lnTo>
                  <a:lnTo>
                    <a:pt x="217" y="177"/>
                  </a:lnTo>
                  <a:lnTo>
                    <a:pt x="219" y="175"/>
                  </a:lnTo>
                  <a:lnTo>
                    <a:pt x="220" y="175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3"/>
                  </a:lnTo>
                  <a:lnTo>
                    <a:pt x="222" y="173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2" y="171"/>
                  </a:lnTo>
                  <a:lnTo>
                    <a:pt x="221" y="171"/>
                  </a:lnTo>
                  <a:lnTo>
                    <a:pt x="221" y="170"/>
                  </a:lnTo>
                  <a:lnTo>
                    <a:pt x="221" y="169"/>
                  </a:lnTo>
                  <a:lnTo>
                    <a:pt x="220" y="168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7" y="165"/>
                  </a:lnTo>
                  <a:lnTo>
                    <a:pt x="217" y="164"/>
                  </a:lnTo>
                  <a:lnTo>
                    <a:pt x="217" y="163"/>
                  </a:lnTo>
                  <a:lnTo>
                    <a:pt x="217" y="163"/>
                  </a:lnTo>
                  <a:lnTo>
                    <a:pt x="217" y="162"/>
                  </a:lnTo>
                  <a:lnTo>
                    <a:pt x="217" y="161"/>
                  </a:lnTo>
                  <a:lnTo>
                    <a:pt x="217" y="160"/>
                  </a:lnTo>
                  <a:lnTo>
                    <a:pt x="217" y="159"/>
                  </a:lnTo>
                  <a:lnTo>
                    <a:pt x="218" y="159"/>
                  </a:lnTo>
                  <a:lnTo>
                    <a:pt x="218" y="158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3" y="151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8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2" y="147"/>
                  </a:lnTo>
                  <a:lnTo>
                    <a:pt x="222" y="146"/>
                  </a:lnTo>
                  <a:lnTo>
                    <a:pt x="222" y="146"/>
                  </a:lnTo>
                  <a:lnTo>
                    <a:pt x="221" y="146"/>
                  </a:lnTo>
                  <a:lnTo>
                    <a:pt x="218" y="145"/>
                  </a:lnTo>
                  <a:lnTo>
                    <a:pt x="217" y="145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5" y="144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0"/>
                  </a:lnTo>
                  <a:lnTo>
                    <a:pt x="215" y="140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8"/>
                  </a:lnTo>
                  <a:lnTo>
                    <a:pt x="215" y="138"/>
                  </a:lnTo>
                  <a:lnTo>
                    <a:pt x="215" y="138"/>
                  </a:lnTo>
                  <a:lnTo>
                    <a:pt x="210" y="134"/>
                  </a:lnTo>
                  <a:lnTo>
                    <a:pt x="207" y="132"/>
                  </a:lnTo>
                  <a:lnTo>
                    <a:pt x="206" y="131"/>
                  </a:lnTo>
                  <a:lnTo>
                    <a:pt x="206" y="131"/>
                  </a:lnTo>
                  <a:lnTo>
                    <a:pt x="205" y="130"/>
                  </a:lnTo>
                  <a:lnTo>
                    <a:pt x="205" y="130"/>
                  </a:lnTo>
                  <a:lnTo>
                    <a:pt x="205" y="129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7"/>
                  </a:lnTo>
                  <a:lnTo>
                    <a:pt x="205" y="126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6" y="119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3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8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4"/>
                  </a:lnTo>
                  <a:lnTo>
                    <a:pt x="214" y="101"/>
                  </a:lnTo>
                  <a:lnTo>
                    <a:pt x="215" y="100"/>
                  </a:lnTo>
                  <a:lnTo>
                    <a:pt x="216" y="99"/>
                  </a:lnTo>
                  <a:lnTo>
                    <a:pt x="216" y="98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20" y="95"/>
                  </a:lnTo>
                  <a:lnTo>
                    <a:pt x="221" y="95"/>
                  </a:lnTo>
                  <a:lnTo>
                    <a:pt x="222" y="95"/>
                  </a:lnTo>
                  <a:lnTo>
                    <a:pt x="223" y="94"/>
                  </a:lnTo>
                  <a:lnTo>
                    <a:pt x="226" y="94"/>
                  </a:lnTo>
                  <a:lnTo>
                    <a:pt x="228" y="94"/>
                  </a:lnTo>
                  <a:lnTo>
                    <a:pt x="230" y="93"/>
                  </a:lnTo>
                  <a:lnTo>
                    <a:pt x="231" y="93"/>
                  </a:lnTo>
                  <a:lnTo>
                    <a:pt x="232" y="93"/>
                  </a:lnTo>
                  <a:lnTo>
                    <a:pt x="233" y="92"/>
                  </a:lnTo>
                  <a:lnTo>
                    <a:pt x="234" y="92"/>
                  </a:lnTo>
                  <a:lnTo>
                    <a:pt x="234" y="91"/>
                  </a:lnTo>
                  <a:lnTo>
                    <a:pt x="235" y="91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8"/>
                  </a:lnTo>
                  <a:lnTo>
                    <a:pt x="235" y="88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3" y="87"/>
                  </a:lnTo>
                  <a:lnTo>
                    <a:pt x="233" y="86"/>
                  </a:lnTo>
                  <a:lnTo>
                    <a:pt x="232" y="86"/>
                  </a:lnTo>
                  <a:lnTo>
                    <a:pt x="231" y="86"/>
                  </a:lnTo>
                  <a:lnTo>
                    <a:pt x="229" y="85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3"/>
                  </a:lnTo>
                  <a:lnTo>
                    <a:pt x="228" y="83"/>
                  </a:lnTo>
                  <a:lnTo>
                    <a:pt x="228" y="82"/>
                  </a:lnTo>
                  <a:lnTo>
                    <a:pt x="229" y="81"/>
                  </a:lnTo>
                  <a:lnTo>
                    <a:pt x="231" y="80"/>
                  </a:lnTo>
                  <a:lnTo>
                    <a:pt x="231" y="79"/>
                  </a:lnTo>
                  <a:lnTo>
                    <a:pt x="232" y="79"/>
                  </a:lnTo>
                  <a:lnTo>
                    <a:pt x="233" y="78"/>
                  </a:lnTo>
                  <a:lnTo>
                    <a:pt x="234" y="77"/>
                  </a:lnTo>
                  <a:lnTo>
                    <a:pt x="235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7" y="77"/>
                  </a:lnTo>
                  <a:lnTo>
                    <a:pt x="238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0" y="77"/>
                  </a:lnTo>
                  <a:lnTo>
                    <a:pt x="240" y="78"/>
                  </a:lnTo>
                  <a:lnTo>
                    <a:pt x="241" y="78"/>
                  </a:lnTo>
                  <a:lnTo>
                    <a:pt x="241" y="79"/>
                  </a:lnTo>
                  <a:lnTo>
                    <a:pt x="242" y="80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3" y="82"/>
                  </a:lnTo>
                  <a:lnTo>
                    <a:pt x="243" y="82"/>
                  </a:lnTo>
                  <a:lnTo>
                    <a:pt x="244" y="83"/>
                  </a:lnTo>
                  <a:lnTo>
                    <a:pt x="244" y="83"/>
                  </a:lnTo>
                  <a:lnTo>
                    <a:pt x="245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8" y="82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1"/>
                  </a:lnTo>
                  <a:lnTo>
                    <a:pt x="250" y="80"/>
                  </a:lnTo>
                  <a:lnTo>
                    <a:pt x="250" y="78"/>
                  </a:lnTo>
                  <a:lnTo>
                    <a:pt x="251" y="77"/>
                  </a:lnTo>
                  <a:lnTo>
                    <a:pt x="251" y="76"/>
                  </a:lnTo>
                  <a:lnTo>
                    <a:pt x="251" y="75"/>
                  </a:lnTo>
                  <a:lnTo>
                    <a:pt x="251" y="75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3"/>
                  </a:lnTo>
                  <a:lnTo>
                    <a:pt x="251" y="72"/>
                  </a:lnTo>
                  <a:lnTo>
                    <a:pt x="250" y="71"/>
                  </a:lnTo>
                  <a:lnTo>
                    <a:pt x="249" y="70"/>
                  </a:lnTo>
                  <a:lnTo>
                    <a:pt x="249" y="69"/>
                  </a:lnTo>
                  <a:lnTo>
                    <a:pt x="247" y="68"/>
                  </a:lnTo>
                  <a:lnTo>
                    <a:pt x="247" y="67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5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3"/>
                  </a:lnTo>
                  <a:lnTo>
                    <a:pt x="249" y="63"/>
                  </a:lnTo>
                  <a:lnTo>
                    <a:pt x="249" y="63"/>
                  </a:lnTo>
                  <a:lnTo>
                    <a:pt x="250" y="63"/>
                  </a:lnTo>
                  <a:lnTo>
                    <a:pt x="251" y="62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4" y="61"/>
                  </a:lnTo>
                  <a:lnTo>
                    <a:pt x="255" y="59"/>
                  </a:lnTo>
                  <a:lnTo>
                    <a:pt x="256" y="58"/>
                  </a:lnTo>
                  <a:lnTo>
                    <a:pt x="257" y="57"/>
                  </a:lnTo>
                  <a:lnTo>
                    <a:pt x="258" y="55"/>
                  </a:lnTo>
                  <a:lnTo>
                    <a:pt x="258" y="54"/>
                  </a:lnTo>
                  <a:lnTo>
                    <a:pt x="259" y="53"/>
                  </a:lnTo>
                  <a:lnTo>
                    <a:pt x="259" y="52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7" y="45"/>
                  </a:lnTo>
                  <a:lnTo>
                    <a:pt x="257" y="44"/>
                  </a:lnTo>
                  <a:lnTo>
                    <a:pt x="256" y="44"/>
                  </a:lnTo>
                  <a:lnTo>
                    <a:pt x="253" y="42"/>
                  </a:lnTo>
                  <a:lnTo>
                    <a:pt x="253" y="42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51" y="40"/>
                  </a:lnTo>
                  <a:lnTo>
                    <a:pt x="250" y="39"/>
                  </a:lnTo>
                  <a:lnTo>
                    <a:pt x="250" y="38"/>
                  </a:lnTo>
                  <a:lnTo>
                    <a:pt x="250" y="38"/>
                  </a:lnTo>
                  <a:lnTo>
                    <a:pt x="250" y="37"/>
                  </a:lnTo>
                  <a:lnTo>
                    <a:pt x="250" y="37"/>
                  </a:lnTo>
                  <a:lnTo>
                    <a:pt x="250" y="36"/>
                  </a:lnTo>
                  <a:lnTo>
                    <a:pt x="250" y="35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6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57" y="23"/>
                  </a:lnTo>
                  <a:lnTo>
                    <a:pt x="259" y="22"/>
                  </a:lnTo>
                  <a:lnTo>
                    <a:pt x="260" y="21"/>
                  </a:lnTo>
                  <a:lnTo>
                    <a:pt x="261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8"/>
                  </a:lnTo>
                  <a:lnTo>
                    <a:pt x="264" y="17"/>
                  </a:lnTo>
                  <a:lnTo>
                    <a:pt x="265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1" y="18"/>
                  </a:lnTo>
                  <a:lnTo>
                    <a:pt x="272" y="18"/>
                  </a:lnTo>
                  <a:lnTo>
                    <a:pt x="273" y="18"/>
                  </a:lnTo>
                  <a:lnTo>
                    <a:pt x="275" y="18"/>
                  </a:lnTo>
                  <a:lnTo>
                    <a:pt x="277" y="17"/>
                  </a:lnTo>
                  <a:lnTo>
                    <a:pt x="280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7" y="18"/>
                  </a:lnTo>
                  <a:lnTo>
                    <a:pt x="289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5" y="18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8" y="16"/>
                  </a:lnTo>
                  <a:lnTo>
                    <a:pt x="298" y="15"/>
                  </a:lnTo>
                  <a:lnTo>
                    <a:pt x="298" y="14"/>
                  </a:lnTo>
                  <a:lnTo>
                    <a:pt x="299" y="13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2" y="2"/>
                  </a:lnTo>
                  <a:lnTo>
                    <a:pt x="302" y="1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Freeform 34">
              <a:extLst>
                <a:ext uri="{FF2B5EF4-FFF2-40B4-BE49-F238E27FC236}">
                  <a16:creationId xmlns:a16="http://schemas.microsoft.com/office/drawing/2014/main" id="{E105C7DB-F2D2-8B20-CF42-3528726D76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140"/>
              <a:ext cx="365" cy="541"/>
            </a:xfrm>
            <a:custGeom>
              <a:avLst/>
              <a:gdLst>
                <a:gd name="T0" fmla="*/ 183 w 365"/>
                <a:gd name="T1" fmla="*/ 74 h 541"/>
                <a:gd name="T2" fmla="*/ 199 w 365"/>
                <a:gd name="T3" fmla="*/ 75 h 541"/>
                <a:gd name="T4" fmla="*/ 205 w 365"/>
                <a:gd name="T5" fmla="*/ 104 h 541"/>
                <a:gd name="T6" fmla="*/ 178 w 365"/>
                <a:gd name="T7" fmla="*/ 117 h 541"/>
                <a:gd name="T8" fmla="*/ 153 w 365"/>
                <a:gd name="T9" fmla="*/ 151 h 541"/>
                <a:gd name="T10" fmla="*/ 137 w 365"/>
                <a:gd name="T11" fmla="*/ 197 h 541"/>
                <a:gd name="T12" fmla="*/ 143 w 365"/>
                <a:gd name="T13" fmla="*/ 226 h 541"/>
                <a:gd name="T14" fmla="*/ 133 w 365"/>
                <a:gd name="T15" fmla="*/ 253 h 541"/>
                <a:gd name="T16" fmla="*/ 143 w 365"/>
                <a:gd name="T17" fmla="*/ 275 h 541"/>
                <a:gd name="T18" fmla="*/ 152 w 365"/>
                <a:gd name="T19" fmla="*/ 287 h 541"/>
                <a:gd name="T20" fmla="*/ 184 w 365"/>
                <a:gd name="T21" fmla="*/ 270 h 541"/>
                <a:gd name="T22" fmla="*/ 195 w 365"/>
                <a:gd name="T23" fmla="*/ 287 h 541"/>
                <a:gd name="T24" fmla="*/ 208 w 365"/>
                <a:gd name="T25" fmla="*/ 288 h 541"/>
                <a:gd name="T26" fmla="*/ 222 w 365"/>
                <a:gd name="T27" fmla="*/ 279 h 541"/>
                <a:gd name="T28" fmla="*/ 229 w 365"/>
                <a:gd name="T29" fmla="*/ 270 h 541"/>
                <a:gd name="T30" fmla="*/ 240 w 365"/>
                <a:gd name="T31" fmla="*/ 299 h 541"/>
                <a:gd name="T32" fmla="*/ 269 w 365"/>
                <a:gd name="T33" fmla="*/ 317 h 541"/>
                <a:gd name="T34" fmla="*/ 294 w 365"/>
                <a:gd name="T35" fmla="*/ 318 h 541"/>
                <a:gd name="T36" fmla="*/ 297 w 365"/>
                <a:gd name="T37" fmla="*/ 350 h 541"/>
                <a:gd name="T38" fmla="*/ 314 w 365"/>
                <a:gd name="T39" fmla="*/ 355 h 541"/>
                <a:gd name="T40" fmla="*/ 347 w 365"/>
                <a:gd name="T41" fmla="*/ 394 h 541"/>
                <a:gd name="T42" fmla="*/ 355 w 365"/>
                <a:gd name="T43" fmla="*/ 401 h 541"/>
                <a:gd name="T44" fmla="*/ 361 w 365"/>
                <a:gd name="T45" fmla="*/ 419 h 541"/>
                <a:gd name="T46" fmla="*/ 341 w 365"/>
                <a:gd name="T47" fmla="*/ 426 h 541"/>
                <a:gd name="T48" fmla="*/ 324 w 365"/>
                <a:gd name="T49" fmla="*/ 456 h 541"/>
                <a:gd name="T50" fmla="*/ 299 w 365"/>
                <a:gd name="T51" fmla="*/ 451 h 541"/>
                <a:gd name="T52" fmla="*/ 282 w 365"/>
                <a:gd name="T53" fmla="*/ 457 h 541"/>
                <a:gd name="T54" fmla="*/ 282 w 365"/>
                <a:gd name="T55" fmla="*/ 476 h 541"/>
                <a:gd name="T56" fmla="*/ 256 w 365"/>
                <a:gd name="T57" fmla="*/ 477 h 541"/>
                <a:gd name="T58" fmla="*/ 239 w 365"/>
                <a:gd name="T59" fmla="*/ 496 h 541"/>
                <a:gd name="T60" fmla="*/ 208 w 365"/>
                <a:gd name="T61" fmla="*/ 488 h 541"/>
                <a:gd name="T62" fmla="*/ 198 w 365"/>
                <a:gd name="T63" fmla="*/ 479 h 541"/>
                <a:gd name="T64" fmla="*/ 196 w 365"/>
                <a:gd name="T65" fmla="*/ 508 h 541"/>
                <a:gd name="T66" fmla="*/ 165 w 365"/>
                <a:gd name="T67" fmla="*/ 530 h 541"/>
                <a:gd name="T68" fmla="*/ 141 w 365"/>
                <a:gd name="T69" fmla="*/ 541 h 541"/>
                <a:gd name="T70" fmla="*/ 111 w 365"/>
                <a:gd name="T71" fmla="*/ 507 h 541"/>
                <a:gd name="T72" fmla="*/ 106 w 365"/>
                <a:gd name="T73" fmla="*/ 484 h 541"/>
                <a:gd name="T74" fmla="*/ 94 w 365"/>
                <a:gd name="T75" fmla="*/ 477 h 541"/>
                <a:gd name="T76" fmla="*/ 77 w 365"/>
                <a:gd name="T77" fmla="*/ 448 h 541"/>
                <a:gd name="T78" fmla="*/ 50 w 365"/>
                <a:gd name="T79" fmla="*/ 448 h 541"/>
                <a:gd name="T80" fmla="*/ 63 w 365"/>
                <a:gd name="T81" fmla="*/ 470 h 541"/>
                <a:gd name="T82" fmla="*/ 43 w 365"/>
                <a:gd name="T83" fmla="*/ 490 h 541"/>
                <a:gd name="T84" fmla="*/ 36 w 365"/>
                <a:gd name="T85" fmla="*/ 470 h 541"/>
                <a:gd name="T86" fmla="*/ 28 w 365"/>
                <a:gd name="T87" fmla="*/ 435 h 541"/>
                <a:gd name="T88" fmla="*/ 15 w 365"/>
                <a:gd name="T89" fmla="*/ 419 h 541"/>
                <a:gd name="T90" fmla="*/ 22 w 365"/>
                <a:gd name="T91" fmla="*/ 404 h 541"/>
                <a:gd name="T92" fmla="*/ 32 w 365"/>
                <a:gd name="T93" fmla="*/ 384 h 541"/>
                <a:gd name="T94" fmla="*/ 40 w 365"/>
                <a:gd name="T95" fmla="*/ 353 h 541"/>
                <a:gd name="T96" fmla="*/ 27 w 365"/>
                <a:gd name="T97" fmla="*/ 333 h 541"/>
                <a:gd name="T98" fmla="*/ 18 w 365"/>
                <a:gd name="T99" fmla="*/ 306 h 541"/>
                <a:gd name="T100" fmla="*/ 9 w 365"/>
                <a:gd name="T101" fmla="*/ 274 h 541"/>
                <a:gd name="T102" fmla="*/ 4 w 365"/>
                <a:gd name="T103" fmla="*/ 225 h 541"/>
                <a:gd name="T104" fmla="*/ 12 w 365"/>
                <a:gd name="T105" fmla="*/ 206 h 541"/>
                <a:gd name="T106" fmla="*/ 25 w 365"/>
                <a:gd name="T107" fmla="*/ 176 h 541"/>
                <a:gd name="T108" fmla="*/ 39 w 365"/>
                <a:gd name="T109" fmla="*/ 128 h 541"/>
                <a:gd name="T110" fmla="*/ 53 w 365"/>
                <a:gd name="T111" fmla="*/ 105 h 541"/>
                <a:gd name="T112" fmla="*/ 80 w 365"/>
                <a:gd name="T113" fmla="*/ 103 h 541"/>
                <a:gd name="T114" fmla="*/ 85 w 365"/>
                <a:gd name="T115" fmla="*/ 78 h 541"/>
                <a:gd name="T116" fmla="*/ 57 w 365"/>
                <a:gd name="T117" fmla="*/ 44 h 541"/>
                <a:gd name="T118" fmla="*/ 40 w 365"/>
                <a:gd name="T119" fmla="*/ 14 h 541"/>
                <a:gd name="T120" fmla="*/ 69 w 365"/>
                <a:gd name="T121" fmla="*/ 10 h 541"/>
                <a:gd name="T122" fmla="*/ 113 w 365"/>
                <a:gd name="T123" fmla="*/ 22 h 541"/>
                <a:gd name="T124" fmla="*/ 143 w 365"/>
                <a:gd name="T125" fmla="*/ 4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5" h="541">
                  <a:moveTo>
                    <a:pt x="169" y="56"/>
                  </a:moveTo>
                  <a:lnTo>
                    <a:pt x="170" y="55"/>
                  </a:lnTo>
                  <a:lnTo>
                    <a:pt x="171" y="55"/>
                  </a:lnTo>
                  <a:lnTo>
                    <a:pt x="172" y="55"/>
                  </a:lnTo>
                  <a:lnTo>
                    <a:pt x="176" y="54"/>
                  </a:lnTo>
                  <a:lnTo>
                    <a:pt x="177" y="54"/>
                  </a:lnTo>
                  <a:lnTo>
                    <a:pt x="178" y="54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5"/>
                  </a:lnTo>
                  <a:lnTo>
                    <a:pt x="181" y="55"/>
                  </a:lnTo>
                  <a:lnTo>
                    <a:pt x="181" y="56"/>
                  </a:lnTo>
                  <a:lnTo>
                    <a:pt x="182" y="58"/>
                  </a:lnTo>
                  <a:lnTo>
                    <a:pt x="183" y="61"/>
                  </a:lnTo>
                  <a:lnTo>
                    <a:pt x="183" y="62"/>
                  </a:lnTo>
                  <a:lnTo>
                    <a:pt x="183" y="62"/>
                  </a:lnTo>
                  <a:lnTo>
                    <a:pt x="183" y="63"/>
                  </a:lnTo>
                  <a:lnTo>
                    <a:pt x="183" y="64"/>
                  </a:lnTo>
                  <a:lnTo>
                    <a:pt x="182" y="72"/>
                  </a:lnTo>
                  <a:lnTo>
                    <a:pt x="182" y="73"/>
                  </a:lnTo>
                  <a:lnTo>
                    <a:pt x="183" y="74"/>
                  </a:lnTo>
                  <a:lnTo>
                    <a:pt x="183" y="76"/>
                  </a:lnTo>
                  <a:lnTo>
                    <a:pt x="183" y="77"/>
                  </a:lnTo>
                  <a:lnTo>
                    <a:pt x="184" y="77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5" y="79"/>
                  </a:lnTo>
                  <a:lnTo>
                    <a:pt x="185" y="79"/>
                  </a:lnTo>
                  <a:lnTo>
                    <a:pt x="186" y="79"/>
                  </a:lnTo>
                  <a:lnTo>
                    <a:pt x="186" y="79"/>
                  </a:lnTo>
                  <a:lnTo>
                    <a:pt x="187" y="78"/>
                  </a:lnTo>
                  <a:lnTo>
                    <a:pt x="187" y="78"/>
                  </a:lnTo>
                  <a:lnTo>
                    <a:pt x="189" y="77"/>
                  </a:lnTo>
                  <a:lnTo>
                    <a:pt x="190" y="76"/>
                  </a:lnTo>
                  <a:lnTo>
                    <a:pt x="190" y="76"/>
                  </a:lnTo>
                  <a:lnTo>
                    <a:pt x="191" y="75"/>
                  </a:lnTo>
                  <a:lnTo>
                    <a:pt x="192" y="75"/>
                  </a:lnTo>
                  <a:lnTo>
                    <a:pt x="192" y="75"/>
                  </a:lnTo>
                  <a:lnTo>
                    <a:pt x="194" y="75"/>
                  </a:lnTo>
                  <a:lnTo>
                    <a:pt x="194" y="74"/>
                  </a:lnTo>
                  <a:lnTo>
                    <a:pt x="195" y="74"/>
                  </a:lnTo>
                  <a:lnTo>
                    <a:pt x="197" y="75"/>
                  </a:lnTo>
                  <a:lnTo>
                    <a:pt x="198" y="75"/>
                  </a:lnTo>
                  <a:lnTo>
                    <a:pt x="199" y="75"/>
                  </a:lnTo>
                  <a:lnTo>
                    <a:pt x="200" y="76"/>
                  </a:lnTo>
                  <a:lnTo>
                    <a:pt x="201" y="76"/>
                  </a:lnTo>
                  <a:lnTo>
                    <a:pt x="202" y="77"/>
                  </a:lnTo>
                  <a:lnTo>
                    <a:pt x="203" y="77"/>
                  </a:lnTo>
                  <a:lnTo>
                    <a:pt x="204" y="78"/>
                  </a:lnTo>
                  <a:lnTo>
                    <a:pt x="204" y="78"/>
                  </a:lnTo>
                  <a:lnTo>
                    <a:pt x="205" y="79"/>
                  </a:lnTo>
                  <a:lnTo>
                    <a:pt x="206" y="80"/>
                  </a:lnTo>
                  <a:lnTo>
                    <a:pt x="206" y="81"/>
                  </a:lnTo>
                  <a:lnTo>
                    <a:pt x="207" y="82"/>
                  </a:lnTo>
                  <a:lnTo>
                    <a:pt x="207" y="82"/>
                  </a:lnTo>
                  <a:lnTo>
                    <a:pt x="208" y="83"/>
                  </a:lnTo>
                  <a:lnTo>
                    <a:pt x="208" y="84"/>
                  </a:lnTo>
                  <a:lnTo>
                    <a:pt x="208" y="85"/>
                  </a:lnTo>
                  <a:lnTo>
                    <a:pt x="208" y="85"/>
                  </a:lnTo>
                  <a:lnTo>
                    <a:pt x="208" y="94"/>
                  </a:lnTo>
                  <a:lnTo>
                    <a:pt x="207" y="97"/>
                  </a:lnTo>
                  <a:lnTo>
                    <a:pt x="207" y="98"/>
                  </a:lnTo>
                  <a:lnTo>
                    <a:pt x="207" y="100"/>
                  </a:lnTo>
                  <a:lnTo>
                    <a:pt x="206" y="101"/>
                  </a:lnTo>
                  <a:lnTo>
                    <a:pt x="206" y="102"/>
                  </a:lnTo>
                  <a:lnTo>
                    <a:pt x="206" y="103"/>
                  </a:lnTo>
                  <a:lnTo>
                    <a:pt x="205" y="104"/>
                  </a:lnTo>
                  <a:lnTo>
                    <a:pt x="205" y="104"/>
                  </a:lnTo>
                  <a:lnTo>
                    <a:pt x="204" y="104"/>
                  </a:lnTo>
                  <a:lnTo>
                    <a:pt x="204" y="105"/>
                  </a:lnTo>
                  <a:lnTo>
                    <a:pt x="203" y="105"/>
                  </a:lnTo>
                  <a:lnTo>
                    <a:pt x="202" y="105"/>
                  </a:lnTo>
                  <a:lnTo>
                    <a:pt x="201" y="105"/>
                  </a:lnTo>
                  <a:lnTo>
                    <a:pt x="201" y="105"/>
                  </a:lnTo>
                  <a:lnTo>
                    <a:pt x="199" y="105"/>
                  </a:lnTo>
                  <a:lnTo>
                    <a:pt x="198" y="105"/>
                  </a:lnTo>
                  <a:lnTo>
                    <a:pt x="197" y="104"/>
                  </a:lnTo>
                  <a:lnTo>
                    <a:pt x="195" y="104"/>
                  </a:lnTo>
                  <a:lnTo>
                    <a:pt x="194" y="104"/>
                  </a:lnTo>
                  <a:lnTo>
                    <a:pt x="194" y="104"/>
                  </a:lnTo>
                  <a:lnTo>
                    <a:pt x="193" y="105"/>
                  </a:lnTo>
                  <a:lnTo>
                    <a:pt x="193" y="105"/>
                  </a:lnTo>
                  <a:lnTo>
                    <a:pt x="191" y="106"/>
                  </a:lnTo>
                  <a:lnTo>
                    <a:pt x="190" y="107"/>
                  </a:lnTo>
                  <a:lnTo>
                    <a:pt x="189" y="109"/>
                  </a:lnTo>
                  <a:lnTo>
                    <a:pt x="185" y="113"/>
                  </a:lnTo>
                  <a:lnTo>
                    <a:pt x="184" y="114"/>
                  </a:lnTo>
                  <a:lnTo>
                    <a:pt x="183" y="115"/>
                  </a:lnTo>
                  <a:lnTo>
                    <a:pt x="182" y="115"/>
                  </a:lnTo>
                  <a:lnTo>
                    <a:pt x="181" y="116"/>
                  </a:lnTo>
                  <a:lnTo>
                    <a:pt x="180" y="116"/>
                  </a:lnTo>
                  <a:lnTo>
                    <a:pt x="178" y="117"/>
                  </a:lnTo>
                  <a:lnTo>
                    <a:pt x="177" y="118"/>
                  </a:lnTo>
                  <a:lnTo>
                    <a:pt x="176" y="118"/>
                  </a:lnTo>
                  <a:lnTo>
                    <a:pt x="175" y="119"/>
                  </a:lnTo>
                  <a:lnTo>
                    <a:pt x="174" y="120"/>
                  </a:lnTo>
                  <a:lnTo>
                    <a:pt x="173" y="120"/>
                  </a:lnTo>
                  <a:lnTo>
                    <a:pt x="171" y="123"/>
                  </a:lnTo>
                  <a:lnTo>
                    <a:pt x="170" y="123"/>
                  </a:lnTo>
                  <a:lnTo>
                    <a:pt x="169" y="124"/>
                  </a:lnTo>
                  <a:lnTo>
                    <a:pt x="167" y="126"/>
                  </a:lnTo>
                  <a:lnTo>
                    <a:pt x="166" y="126"/>
                  </a:lnTo>
                  <a:lnTo>
                    <a:pt x="165" y="128"/>
                  </a:lnTo>
                  <a:lnTo>
                    <a:pt x="163" y="130"/>
                  </a:lnTo>
                  <a:lnTo>
                    <a:pt x="158" y="136"/>
                  </a:lnTo>
                  <a:lnTo>
                    <a:pt x="156" y="138"/>
                  </a:lnTo>
                  <a:lnTo>
                    <a:pt x="156" y="139"/>
                  </a:lnTo>
                  <a:lnTo>
                    <a:pt x="155" y="140"/>
                  </a:lnTo>
                  <a:lnTo>
                    <a:pt x="155" y="141"/>
                  </a:lnTo>
                  <a:lnTo>
                    <a:pt x="155" y="142"/>
                  </a:lnTo>
                  <a:lnTo>
                    <a:pt x="155" y="145"/>
                  </a:lnTo>
                  <a:lnTo>
                    <a:pt x="154" y="147"/>
                  </a:lnTo>
                  <a:lnTo>
                    <a:pt x="154" y="148"/>
                  </a:lnTo>
                  <a:lnTo>
                    <a:pt x="154" y="149"/>
                  </a:lnTo>
                  <a:lnTo>
                    <a:pt x="154" y="150"/>
                  </a:lnTo>
                  <a:lnTo>
                    <a:pt x="153" y="151"/>
                  </a:lnTo>
                  <a:lnTo>
                    <a:pt x="152" y="155"/>
                  </a:lnTo>
                  <a:lnTo>
                    <a:pt x="151" y="156"/>
                  </a:lnTo>
                  <a:lnTo>
                    <a:pt x="151" y="157"/>
                  </a:lnTo>
                  <a:lnTo>
                    <a:pt x="150" y="158"/>
                  </a:lnTo>
                  <a:lnTo>
                    <a:pt x="150" y="160"/>
                  </a:lnTo>
                  <a:lnTo>
                    <a:pt x="150" y="161"/>
                  </a:lnTo>
                  <a:lnTo>
                    <a:pt x="151" y="166"/>
                  </a:lnTo>
                  <a:lnTo>
                    <a:pt x="151" y="170"/>
                  </a:lnTo>
                  <a:lnTo>
                    <a:pt x="151" y="172"/>
                  </a:lnTo>
                  <a:lnTo>
                    <a:pt x="151" y="174"/>
                  </a:lnTo>
                  <a:lnTo>
                    <a:pt x="151" y="175"/>
                  </a:lnTo>
                  <a:lnTo>
                    <a:pt x="150" y="176"/>
                  </a:lnTo>
                  <a:lnTo>
                    <a:pt x="150" y="178"/>
                  </a:lnTo>
                  <a:lnTo>
                    <a:pt x="150" y="179"/>
                  </a:lnTo>
                  <a:lnTo>
                    <a:pt x="149" y="180"/>
                  </a:lnTo>
                  <a:lnTo>
                    <a:pt x="149" y="181"/>
                  </a:lnTo>
                  <a:lnTo>
                    <a:pt x="148" y="182"/>
                  </a:lnTo>
                  <a:lnTo>
                    <a:pt x="147" y="184"/>
                  </a:lnTo>
                  <a:lnTo>
                    <a:pt x="146" y="184"/>
                  </a:lnTo>
                  <a:lnTo>
                    <a:pt x="141" y="191"/>
                  </a:lnTo>
                  <a:lnTo>
                    <a:pt x="140" y="192"/>
                  </a:lnTo>
                  <a:lnTo>
                    <a:pt x="139" y="194"/>
                  </a:lnTo>
                  <a:lnTo>
                    <a:pt x="138" y="195"/>
                  </a:lnTo>
                  <a:lnTo>
                    <a:pt x="137" y="197"/>
                  </a:lnTo>
                  <a:lnTo>
                    <a:pt x="136" y="199"/>
                  </a:lnTo>
                  <a:lnTo>
                    <a:pt x="135" y="200"/>
                  </a:lnTo>
                  <a:lnTo>
                    <a:pt x="135" y="201"/>
                  </a:lnTo>
                  <a:lnTo>
                    <a:pt x="135" y="202"/>
                  </a:lnTo>
                  <a:lnTo>
                    <a:pt x="135" y="203"/>
                  </a:lnTo>
                  <a:lnTo>
                    <a:pt x="134" y="204"/>
                  </a:lnTo>
                  <a:lnTo>
                    <a:pt x="134" y="208"/>
                  </a:lnTo>
                  <a:lnTo>
                    <a:pt x="133" y="212"/>
                  </a:lnTo>
                  <a:lnTo>
                    <a:pt x="133" y="212"/>
                  </a:lnTo>
                  <a:lnTo>
                    <a:pt x="133" y="213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4" y="215"/>
                  </a:lnTo>
                  <a:lnTo>
                    <a:pt x="135" y="216"/>
                  </a:lnTo>
                  <a:lnTo>
                    <a:pt x="135" y="216"/>
                  </a:lnTo>
                  <a:lnTo>
                    <a:pt x="136" y="218"/>
                  </a:lnTo>
                  <a:lnTo>
                    <a:pt x="140" y="222"/>
                  </a:lnTo>
                  <a:lnTo>
                    <a:pt x="141" y="223"/>
                  </a:lnTo>
                  <a:lnTo>
                    <a:pt x="141" y="224"/>
                  </a:lnTo>
                  <a:lnTo>
                    <a:pt x="142" y="224"/>
                  </a:lnTo>
                  <a:lnTo>
                    <a:pt x="142" y="225"/>
                  </a:lnTo>
                  <a:lnTo>
                    <a:pt x="142" y="226"/>
                  </a:lnTo>
                  <a:lnTo>
                    <a:pt x="143" y="226"/>
                  </a:lnTo>
                  <a:lnTo>
                    <a:pt x="143" y="227"/>
                  </a:lnTo>
                  <a:lnTo>
                    <a:pt x="143" y="228"/>
                  </a:lnTo>
                  <a:lnTo>
                    <a:pt x="143" y="228"/>
                  </a:lnTo>
                  <a:lnTo>
                    <a:pt x="143" y="229"/>
                  </a:lnTo>
                  <a:lnTo>
                    <a:pt x="143" y="230"/>
                  </a:lnTo>
                  <a:lnTo>
                    <a:pt x="143" y="231"/>
                  </a:lnTo>
                  <a:lnTo>
                    <a:pt x="142" y="232"/>
                  </a:lnTo>
                  <a:lnTo>
                    <a:pt x="141" y="233"/>
                  </a:lnTo>
                  <a:lnTo>
                    <a:pt x="141" y="234"/>
                  </a:lnTo>
                  <a:lnTo>
                    <a:pt x="140" y="235"/>
                  </a:lnTo>
                  <a:lnTo>
                    <a:pt x="138" y="238"/>
                  </a:lnTo>
                  <a:lnTo>
                    <a:pt x="137" y="240"/>
                  </a:lnTo>
                  <a:lnTo>
                    <a:pt x="136" y="242"/>
                  </a:lnTo>
                  <a:lnTo>
                    <a:pt x="135" y="242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35" y="244"/>
                  </a:lnTo>
                  <a:lnTo>
                    <a:pt x="135" y="245"/>
                  </a:lnTo>
                  <a:lnTo>
                    <a:pt x="135" y="247"/>
                  </a:lnTo>
                  <a:lnTo>
                    <a:pt x="135" y="248"/>
                  </a:lnTo>
                  <a:lnTo>
                    <a:pt x="135" y="249"/>
                  </a:lnTo>
                  <a:lnTo>
                    <a:pt x="134" y="250"/>
                  </a:lnTo>
                  <a:lnTo>
                    <a:pt x="134" y="251"/>
                  </a:lnTo>
                  <a:lnTo>
                    <a:pt x="133" y="253"/>
                  </a:lnTo>
                  <a:lnTo>
                    <a:pt x="132" y="256"/>
                  </a:lnTo>
                  <a:lnTo>
                    <a:pt x="131" y="257"/>
                  </a:lnTo>
                  <a:lnTo>
                    <a:pt x="131" y="258"/>
                  </a:lnTo>
                  <a:lnTo>
                    <a:pt x="131" y="259"/>
                  </a:lnTo>
                  <a:lnTo>
                    <a:pt x="131" y="260"/>
                  </a:lnTo>
                  <a:lnTo>
                    <a:pt x="131" y="261"/>
                  </a:lnTo>
                  <a:lnTo>
                    <a:pt x="131" y="261"/>
                  </a:lnTo>
                  <a:lnTo>
                    <a:pt x="131" y="262"/>
                  </a:lnTo>
                  <a:lnTo>
                    <a:pt x="131" y="262"/>
                  </a:lnTo>
                  <a:lnTo>
                    <a:pt x="131" y="263"/>
                  </a:lnTo>
                  <a:lnTo>
                    <a:pt x="132" y="265"/>
                  </a:lnTo>
                  <a:lnTo>
                    <a:pt x="133" y="266"/>
                  </a:lnTo>
                  <a:lnTo>
                    <a:pt x="134" y="267"/>
                  </a:lnTo>
                  <a:lnTo>
                    <a:pt x="134" y="267"/>
                  </a:lnTo>
                  <a:lnTo>
                    <a:pt x="136" y="269"/>
                  </a:lnTo>
                  <a:lnTo>
                    <a:pt x="137" y="272"/>
                  </a:lnTo>
                  <a:lnTo>
                    <a:pt x="138" y="272"/>
                  </a:lnTo>
                  <a:lnTo>
                    <a:pt x="139" y="273"/>
                  </a:lnTo>
                  <a:lnTo>
                    <a:pt x="140" y="274"/>
                  </a:lnTo>
                  <a:lnTo>
                    <a:pt x="140" y="274"/>
                  </a:lnTo>
                  <a:lnTo>
                    <a:pt x="141" y="274"/>
                  </a:lnTo>
                  <a:lnTo>
                    <a:pt x="141" y="275"/>
                  </a:lnTo>
                  <a:lnTo>
                    <a:pt x="142" y="275"/>
                  </a:lnTo>
                  <a:lnTo>
                    <a:pt x="143" y="275"/>
                  </a:lnTo>
                  <a:lnTo>
                    <a:pt x="144" y="274"/>
                  </a:lnTo>
                  <a:lnTo>
                    <a:pt x="146" y="274"/>
                  </a:lnTo>
                  <a:lnTo>
                    <a:pt x="147" y="274"/>
                  </a:lnTo>
                  <a:lnTo>
                    <a:pt x="148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1" y="273"/>
                  </a:lnTo>
                  <a:lnTo>
                    <a:pt x="151" y="274"/>
                  </a:lnTo>
                  <a:lnTo>
                    <a:pt x="151" y="274"/>
                  </a:lnTo>
                  <a:lnTo>
                    <a:pt x="151" y="275"/>
                  </a:lnTo>
                  <a:lnTo>
                    <a:pt x="151" y="276"/>
                  </a:lnTo>
                  <a:lnTo>
                    <a:pt x="151" y="278"/>
                  </a:lnTo>
                  <a:lnTo>
                    <a:pt x="150" y="281"/>
                  </a:lnTo>
                  <a:lnTo>
                    <a:pt x="150" y="282"/>
                  </a:lnTo>
                  <a:lnTo>
                    <a:pt x="150" y="283"/>
                  </a:lnTo>
                  <a:lnTo>
                    <a:pt x="150" y="284"/>
                  </a:lnTo>
                  <a:lnTo>
                    <a:pt x="151" y="285"/>
                  </a:lnTo>
                  <a:lnTo>
                    <a:pt x="151" y="285"/>
                  </a:lnTo>
                  <a:lnTo>
                    <a:pt x="151" y="286"/>
                  </a:lnTo>
                  <a:lnTo>
                    <a:pt x="151" y="286"/>
                  </a:lnTo>
                  <a:lnTo>
                    <a:pt x="152" y="286"/>
                  </a:lnTo>
                  <a:lnTo>
                    <a:pt x="152" y="287"/>
                  </a:lnTo>
                  <a:lnTo>
                    <a:pt x="153" y="287"/>
                  </a:lnTo>
                  <a:lnTo>
                    <a:pt x="153" y="287"/>
                  </a:lnTo>
                  <a:lnTo>
                    <a:pt x="154" y="287"/>
                  </a:lnTo>
                  <a:lnTo>
                    <a:pt x="158" y="287"/>
                  </a:lnTo>
                  <a:lnTo>
                    <a:pt x="161" y="287"/>
                  </a:lnTo>
                  <a:lnTo>
                    <a:pt x="162" y="287"/>
                  </a:lnTo>
                  <a:lnTo>
                    <a:pt x="163" y="286"/>
                  </a:lnTo>
                  <a:lnTo>
                    <a:pt x="163" y="286"/>
                  </a:lnTo>
                  <a:lnTo>
                    <a:pt x="164" y="286"/>
                  </a:lnTo>
                  <a:lnTo>
                    <a:pt x="164" y="285"/>
                  </a:lnTo>
                  <a:lnTo>
                    <a:pt x="165" y="284"/>
                  </a:lnTo>
                  <a:lnTo>
                    <a:pt x="166" y="283"/>
                  </a:lnTo>
                  <a:lnTo>
                    <a:pt x="167" y="282"/>
                  </a:lnTo>
                  <a:lnTo>
                    <a:pt x="168" y="281"/>
                  </a:lnTo>
                  <a:lnTo>
                    <a:pt x="169" y="280"/>
                  </a:lnTo>
                  <a:lnTo>
                    <a:pt x="172" y="278"/>
                  </a:lnTo>
                  <a:lnTo>
                    <a:pt x="175" y="275"/>
                  </a:lnTo>
                  <a:lnTo>
                    <a:pt x="176" y="274"/>
                  </a:lnTo>
                  <a:lnTo>
                    <a:pt x="178" y="273"/>
                  </a:lnTo>
                  <a:lnTo>
                    <a:pt x="179" y="272"/>
                  </a:lnTo>
                  <a:lnTo>
                    <a:pt x="180" y="272"/>
                  </a:lnTo>
                  <a:lnTo>
                    <a:pt x="181" y="272"/>
                  </a:lnTo>
                  <a:lnTo>
                    <a:pt x="182" y="271"/>
                  </a:lnTo>
                  <a:lnTo>
                    <a:pt x="184" y="270"/>
                  </a:lnTo>
                  <a:lnTo>
                    <a:pt x="185" y="270"/>
                  </a:lnTo>
                  <a:lnTo>
                    <a:pt x="185" y="270"/>
                  </a:lnTo>
                  <a:lnTo>
                    <a:pt x="187" y="269"/>
                  </a:lnTo>
                  <a:lnTo>
                    <a:pt x="189" y="269"/>
                  </a:lnTo>
                  <a:lnTo>
                    <a:pt x="190" y="269"/>
                  </a:lnTo>
                  <a:lnTo>
                    <a:pt x="191" y="269"/>
                  </a:lnTo>
                  <a:lnTo>
                    <a:pt x="192" y="269"/>
                  </a:lnTo>
                  <a:lnTo>
                    <a:pt x="192" y="269"/>
                  </a:lnTo>
                  <a:lnTo>
                    <a:pt x="193" y="270"/>
                  </a:lnTo>
                  <a:lnTo>
                    <a:pt x="194" y="270"/>
                  </a:lnTo>
                  <a:lnTo>
                    <a:pt x="194" y="271"/>
                  </a:lnTo>
                  <a:lnTo>
                    <a:pt x="195" y="271"/>
                  </a:lnTo>
                  <a:lnTo>
                    <a:pt x="196" y="272"/>
                  </a:lnTo>
                  <a:lnTo>
                    <a:pt x="196" y="272"/>
                  </a:lnTo>
                  <a:lnTo>
                    <a:pt x="197" y="273"/>
                  </a:lnTo>
                  <a:lnTo>
                    <a:pt x="197" y="274"/>
                  </a:lnTo>
                  <a:lnTo>
                    <a:pt x="197" y="275"/>
                  </a:lnTo>
                  <a:lnTo>
                    <a:pt x="197" y="275"/>
                  </a:lnTo>
                  <a:lnTo>
                    <a:pt x="197" y="276"/>
                  </a:lnTo>
                  <a:lnTo>
                    <a:pt x="197" y="278"/>
                  </a:lnTo>
                  <a:lnTo>
                    <a:pt x="196" y="280"/>
                  </a:lnTo>
                  <a:lnTo>
                    <a:pt x="195" y="284"/>
                  </a:lnTo>
                  <a:lnTo>
                    <a:pt x="195" y="287"/>
                  </a:lnTo>
                  <a:lnTo>
                    <a:pt x="195" y="287"/>
                  </a:lnTo>
                  <a:lnTo>
                    <a:pt x="195" y="288"/>
                  </a:lnTo>
                  <a:lnTo>
                    <a:pt x="195" y="289"/>
                  </a:lnTo>
                  <a:lnTo>
                    <a:pt x="195" y="290"/>
                  </a:lnTo>
                  <a:lnTo>
                    <a:pt x="196" y="291"/>
                  </a:lnTo>
                  <a:lnTo>
                    <a:pt x="196" y="293"/>
                  </a:lnTo>
                  <a:lnTo>
                    <a:pt x="197" y="294"/>
                  </a:lnTo>
                  <a:lnTo>
                    <a:pt x="198" y="295"/>
                  </a:lnTo>
                  <a:lnTo>
                    <a:pt x="199" y="296"/>
                  </a:lnTo>
                  <a:lnTo>
                    <a:pt x="199" y="296"/>
                  </a:lnTo>
                  <a:lnTo>
                    <a:pt x="200" y="296"/>
                  </a:lnTo>
                  <a:lnTo>
                    <a:pt x="200" y="296"/>
                  </a:lnTo>
                  <a:lnTo>
                    <a:pt x="201" y="296"/>
                  </a:lnTo>
                  <a:lnTo>
                    <a:pt x="201" y="296"/>
                  </a:lnTo>
                  <a:lnTo>
                    <a:pt x="202" y="296"/>
                  </a:lnTo>
                  <a:lnTo>
                    <a:pt x="202" y="296"/>
                  </a:lnTo>
                  <a:lnTo>
                    <a:pt x="202" y="296"/>
                  </a:lnTo>
                  <a:lnTo>
                    <a:pt x="203" y="295"/>
                  </a:lnTo>
                  <a:lnTo>
                    <a:pt x="204" y="293"/>
                  </a:lnTo>
                  <a:lnTo>
                    <a:pt x="205" y="292"/>
                  </a:lnTo>
                  <a:lnTo>
                    <a:pt x="205" y="292"/>
                  </a:lnTo>
                  <a:lnTo>
                    <a:pt x="207" y="290"/>
                  </a:lnTo>
                  <a:lnTo>
                    <a:pt x="208" y="289"/>
                  </a:lnTo>
                  <a:lnTo>
                    <a:pt x="208" y="288"/>
                  </a:lnTo>
                  <a:lnTo>
                    <a:pt x="208" y="288"/>
                  </a:lnTo>
                  <a:lnTo>
                    <a:pt x="209" y="287"/>
                  </a:lnTo>
                  <a:lnTo>
                    <a:pt x="209" y="286"/>
                  </a:lnTo>
                  <a:lnTo>
                    <a:pt x="210" y="285"/>
                  </a:lnTo>
                  <a:lnTo>
                    <a:pt x="210" y="285"/>
                  </a:lnTo>
                  <a:lnTo>
                    <a:pt x="211" y="284"/>
                  </a:lnTo>
                  <a:lnTo>
                    <a:pt x="211" y="284"/>
                  </a:lnTo>
                  <a:lnTo>
                    <a:pt x="213" y="283"/>
                  </a:lnTo>
                  <a:lnTo>
                    <a:pt x="213" y="283"/>
                  </a:lnTo>
                  <a:lnTo>
                    <a:pt x="214" y="282"/>
                  </a:lnTo>
                  <a:lnTo>
                    <a:pt x="215" y="282"/>
                  </a:lnTo>
                  <a:lnTo>
                    <a:pt x="215" y="282"/>
                  </a:lnTo>
                  <a:lnTo>
                    <a:pt x="215" y="282"/>
                  </a:lnTo>
                  <a:lnTo>
                    <a:pt x="216" y="282"/>
                  </a:lnTo>
                  <a:lnTo>
                    <a:pt x="216" y="282"/>
                  </a:lnTo>
                  <a:lnTo>
                    <a:pt x="217" y="282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9" y="282"/>
                  </a:lnTo>
                  <a:lnTo>
                    <a:pt x="220" y="282"/>
                  </a:lnTo>
                  <a:lnTo>
                    <a:pt x="220" y="281"/>
                  </a:lnTo>
                  <a:lnTo>
                    <a:pt x="221" y="280"/>
                  </a:lnTo>
                  <a:lnTo>
                    <a:pt x="222" y="279"/>
                  </a:lnTo>
                  <a:lnTo>
                    <a:pt x="222" y="279"/>
                  </a:lnTo>
                  <a:lnTo>
                    <a:pt x="222" y="278"/>
                  </a:lnTo>
                  <a:lnTo>
                    <a:pt x="223" y="278"/>
                  </a:lnTo>
                  <a:lnTo>
                    <a:pt x="223" y="277"/>
                  </a:lnTo>
                  <a:lnTo>
                    <a:pt x="223" y="276"/>
                  </a:lnTo>
                  <a:lnTo>
                    <a:pt x="223" y="275"/>
                  </a:lnTo>
                  <a:lnTo>
                    <a:pt x="222" y="274"/>
                  </a:lnTo>
                  <a:lnTo>
                    <a:pt x="221" y="267"/>
                  </a:lnTo>
                  <a:lnTo>
                    <a:pt x="220" y="266"/>
                  </a:lnTo>
                  <a:lnTo>
                    <a:pt x="220" y="265"/>
                  </a:lnTo>
                  <a:lnTo>
                    <a:pt x="220" y="265"/>
                  </a:lnTo>
                  <a:lnTo>
                    <a:pt x="221" y="264"/>
                  </a:lnTo>
                  <a:lnTo>
                    <a:pt x="221" y="263"/>
                  </a:lnTo>
                  <a:lnTo>
                    <a:pt x="222" y="263"/>
                  </a:lnTo>
                  <a:lnTo>
                    <a:pt x="222" y="263"/>
                  </a:lnTo>
                  <a:lnTo>
                    <a:pt x="223" y="263"/>
                  </a:lnTo>
                  <a:lnTo>
                    <a:pt x="224" y="263"/>
                  </a:lnTo>
                  <a:lnTo>
                    <a:pt x="225" y="263"/>
                  </a:lnTo>
                  <a:lnTo>
                    <a:pt x="225" y="263"/>
                  </a:lnTo>
                  <a:lnTo>
                    <a:pt x="226" y="264"/>
                  </a:lnTo>
                  <a:lnTo>
                    <a:pt x="226" y="264"/>
                  </a:lnTo>
                  <a:lnTo>
                    <a:pt x="226" y="264"/>
                  </a:lnTo>
                  <a:lnTo>
                    <a:pt x="227" y="265"/>
                  </a:lnTo>
                  <a:lnTo>
                    <a:pt x="228" y="268"/>
                  </a:lnTo>
                  <a:lnTo>
                    <a:pt x="229" y="270"/>
                  </a:lnTo>
                  <a:lnTo>
                    <a:pt x="230" y="272"/>
                  </a:lnTo>
                  <a:lnTo>
                    <a:pt x="230" y="273"/>
                  </a:lnTo>
                  <a:lnTo>
                    <a:pt x="231" y="274"/>
                  </a:lnTo>
                  <a:lnTo>
                    <a:pt x="231" y="276"/>
                  </a:lnTo>
                  <a:lnTo>
                    <a:pt x="231" y="278"/>
                  </a:lnTo>
                  <a:lnTo>
                    <a:pt x="231" y="278"/>
                  </a:lnTo>
                  <a:lnTo>
                    <a:pt x="231" y="280"/>
                  </a:lnTo>
                  <a:lnTo>
                    <a:pt x="231" y="281"/>
                  </a:lnTo>
                  <a:lnTo>
                    <a:pt x="232" y="283"/>
                  </a:lnTo>
                  <a:lnTo>
                    <a:pt x="232" y="284"/>
                  </a:lnTo>
                  <a:lnTo>
                    <a:pt x="234" y="286"/>
                  </a:lnTo>
                  <a:lnTo>
                    <a:pt x="234" y="287"/>
                  </a:lnTo>
                  <a:lnTo>
                    <a:pt x="235" y="288"/>
                  </a:lnTo>
                  <a:lnTo>
                    <a:pt x="235" y="288"/>
                  </a:lnTo>
                  <a:lnTo>
                    <a:pt x="235" y="289"/>
                  </a:lnTo>
                  <a:lnTo>
                    <a:pt x="236" y="290"/>
                  </a:lnTo>
                  <a:lnTo>
                    <a:pt x="236" y="290"/>
                  </a:lnTo>
                  <a:lnTo>
                    <a:pt x="236" y="292"/>
                  </a:lnTo>
                  <a:lnTo>
                    <a:pt x="236" y="293"/>
                  </a:lnTo>
                  <a:lnTo>
                    <a:pt x="236" y="294"/>
                  </a:lnTo>
                  <a:lnTo>
                    <a:pt x="237" y="295"/>
                  </a:lnTo>
                  <a:lnTo>
                    <a:pt x="237" y="296"/>
                  </a:lnTo>
                  <a:lnTo>
                    <a:pt x="237" y="296"/>
                  </a:lnTo>
                  <a:lnTo>
                    <a:pt x="240" y="299"/>
                  </a:lnTo>
                  <a:lnTo>
                    <a:pt x="241" y="300"/>
                  </a:lnTo>
                  <a:lnTo>
                    <a:pt x="242" y="301"/>
                  </a:lnTo>
                  <a:lnTo>
                    <a:pt x="243" y="303"/>
                  </a:lnTo>
                  <a:lnTo>
                    <a:pt x="243" y="304"/>
                  </a:lnTo>
                  <a:lnTo>
                    <a:pt x="244" y="305"/>
                  </a:lnTo>
                  <a:lnTo>
                    <a:pt x="245" y="306"/>
                  </a:lnTo>
                  <a:lnTo>
                    <a:pt x="245" y="306"/>
                  </a:lnTo>
                  <a:lnTo>
                    <a:pt x="246" y="307"/>
                  </a:lnTo>
                  <a:lnTo>
                    <a:pt x="247" y="307"/>
                  </a:lnTo>
                  <a:lnTo>
                    <a:pt x="249" y="308"/>
                  </a:lnTo>
                  <a:lnTo>
                    <a:pt x="250" y="309"/>
                  </a:lnTo>
                  <a:lnTo>
                    <a:pt x="251" y="309"/>
                  </a:lnTo>
                  <a:lnTo>
                    <a:pt x="252" y="310"/>
                  </a:lnTo>
                  <a:lnTo>
                    <a:pt x="253" y="311"/>
                  </a:lnTo>
                  <a:lnTo>
                    <a:pt x="254" y="312"/>
                  </a:lnTo>
                  <a:lnTo>
                    <a:pt x="255" y="313"/>
                  </a:lnTo>
                  <a:lnTo>
                    <a:pt x="256" y="313"/>
                  </a:lnTo>
                  <a:lnTo>
                    <a:pt x="260" y="315"/>
                  </a:lnTo>
                  <a:lnTo>
                    <a:pt x="262" y="316"/>
                  </a:lnTo>
                  <a:lnTo>
                    <a:pt x="263" y="316"/>
                  </a:lnTo>
                  <a:lnTo>
                    <a:pt x="264" y="316"/>
                  </a:lnTo>
                  <a:lnTo>
                    <a:pt x="267" y="317"/>
                  </a:lnTo>
                  <a:lnTo>
                    <a:pt x="268" y="317"/>
                  </a:lnTo>
                  <a:lnTo>
                    <a:pt x="269" y="317"/>
                  </a:lnTo>
                  <a:lnTo>
                    <a:pt x="269" y="317"/>
                  </a:lnTo>
                  <a:lnTo>
                    <a:pt x="270" y="317"/>
                  </a:lnTo>
                  <a:lnTo>
                    <a:pt x="271" y="317"/>
                  </a:lnTo>
                  <a:lnTo>
                    <a:pt x="273" y="316"/>
                  </a:lnTo>
                  <a:lnTo>
                    <a:pt x="275" y="315"/>
                  </a:lnTo>
                  <a:lnTo>
                    <a:pt x="277" y="314"/>
                  </a:lnTo>
                  <a:lnTo>
                    <a:pt x="278" y="314"/>
                  </a:lnTo>
                  <a:lnTo>
                    <a:pt x="283" y="312"/>
                  </a:lnTo>
                  <a:lnTo>
                    <a:pt x="284" y="312"/>
                  </a:lnTo>
                  <a:lnTo>
                    <a:pt x="287" y="311"/>
                  </a:lnTo>
                  <a:lnTo>
                    <a:pt x="287" y="311"/>
                  </a:lnTo>
                  <a:lnTo>
                    <a:pt x="288" y="311"/>
                  </a:lnTo>
                  <a:lnTo>
                    <a:pt x="289" y="311"/>
                  </a:lnTo>
                  <a:lnTo>
                    <a:pt x="289" y="311"/>
                  </a:lnTo>
                  <a:lnTo>
                    <a:pt x="290" y="311"/>
                  </a:lnTo>
                  <a:lnTo>
                    <a:pt x="290" y="311"/>
                  </a:lnTo>
                  <a:lnTo>
                    <a:pt x="291" y="312"/>
                  </a:lnTo>
                  <a:lnTo>
                    <a:pt x="291" y="312"/>
                  </a:lnTo>
                  <a:lnTo>
                    <a:pt x="292" y="313"/>
                  </a:lnTo>
                  <a:lnTo>
                    <a:pt x="292" y="314"/>
                  </a:lnTo>
                  <a:lnTo>
                    <a:pt x="293" y="315"/>
                  </a:lnTo>
                  <a:lnTo>
                    <a:pt x="293" y="316"/>
                  </a:lnTo>
                  <a:lnTo>
                    <a:pt x="294" y="317"/>
                  </a:lnTo>
                  <a:lnTo>
                    <a:pt x="294" y="318"/>
                  </a:lnTo>
                  <a:lnTo>
                    <a:pt x="295" y="320"/>
                  </a:lnTo>
                  <a:lnTo>
                    <a:pt x="295" y="321"/>
                  </a:lnTo>
                  <a:lnTo>
                    <a:pt x="295" y="323"/>
                  </a:lnTo>
                  <a:lnTo>
                    <a:pt x="295" y="324"/>
                  </a:lnTo>
                  <a:lnTo>
                    <a:pt x="295" y="325"/>
                  </a:lnTo>
                  <a:lnTo>
                    <a:pt x="295" y="326"/>
                  </a:lnTo>
                  <a:lnTo>
                    <a:pt x="295" y="327"/>
                  </a:lnTo>
                  <a:lnTo>
                    <a:pt x="295" y="328"/>
                  </a:lnTo>
                  <a:lnTo>
                    <a:pt x="294" y="332"/>
                  </a:lnTo>
                  <a:lnTo>
                    <a:pt x="293" y="334"/>
                  </a:lnTo>
                  <a:lnTo>
                    <a:pt x="293" y="335"/>
                  </a:lnTo>
                  <a:lnTo>
                    <a:pt x="293" y="336"/>
                  </a:lnTo>
                  <a:lnTo>
                    <a:pt x="293" y="337"/>
                  </a:lnTo>
                  <a:lnTo>
                    <a:pt x="293" y="338"/>
                  </a:lnTo>
                  <a:lnTo>
                    <a:pt x="293" y="340"/>
                  </a:lnTo>
                  <a:lnTo>
                    <a:pt x="293" y="341"/>
                  </a:lnTo>
                  <a:lnTo>
                    <a:pt x="294" y="343"/>
                  </a:lnTo>
                  <a:lnTo>
                    <a:pt x="294" y="345"/>
                  </a:lnTo>
                  <a:lnTo>
                    <a:pt x="294" y="346"/>
                  </a:lnTo>
                  <a:lnTo>
                    <a:pt x="295" y="347"/>
                  </a:lnTo>
                  <a:lnTo>
                    <a:pt x="295" y="348"/>
                  </a:lnTo>
                  <a:lnTo>
                    <a:pt x="296" y="349"/>
                  </a:lnTo>
                  <a:lnTo>
                    <a:pt x="296" y="349"/>
                  </a:lnTo>
                  <a:lnTo>
                    <a:pt x="297" y="350"/>
                  </a:lnTo>
                  <a:lnTo>
                    <a:pt x="298" y="351"/>
                  </a:lnTo>
                  <a:lnTo>
                    <a:pt x="299" y="351"/>
                  </a:lnTo>
                  <a:lnTo>
                    <a:pt x="300" y="352"/>
                  </a:lnTo>
                  <a:lnTo>
                    <a:pt x="301" y="353"/>
                  </a:lnTo>
                  <a:lnTo>
                    <a:pt x="302" y="353"/>
                  </a:lnTo>
                  <a:lnTo>
                    <a:pt x="303" y="354"/>
                  </a:lnTo>
                  <a:lnTo>
                    <a:pt x="304" y="354"/>
                  </a:lnTo>
                  <a:lnTo>
                    <a:pt x="304" y="354"/>
                  </a:lnTo>
                  <a:lnTo>
                    <a:pt x="305" y="354"/>
                  </a:lnTo>
                  <a:lnTo>
                    <a:pt x="306" y="353"/>
                  </a:lnTo>
                  <a:lnTo>
                    <a:pt x="306" y="353"/>
                  </a:lnTo>
                  <a:lnTo>
                    <a:pt x="307" y="353"/>
                  </a:lnTo>
                  <a:lnTo>
                    <a:pt x="308" y="352"/>
                  </a:lnTo>
                  <a:lnTo>
                    <a:pt x="309" y="352"/>
                  </a:lnTo>
                  <a:lnTo>
                    <a:pt x="309" y="351"/>
                  </a:lnTo>
                  <a:lnTo>
                    <a:pt x="310" y="351"/>
                  </a:lnTo>
                  <a:lnTo>
                    <a:pt x="310" y="351"/>
                  </a:lnTo>
                  <a:lnTo>
                    <a:pt x="310" y="351"/>
                  </a:lnTo>
                  <a:lnTo>
                    <a:pt x="311" y="351"/>
                  </a:lnTo>
                  <a:lnTo>
                    <a:pt x="311" y="352"/>
                  </a:lnTo>
                  <a:lnTo>
                    <a:pt x="312" y="352"/>
                  </a:lnTo>
                  <a:lnTo>
                    <a:pt x="313" y="353"/>
                  </a:lnTo>
                  <a:lnTo>
                    <a:pt x="313" y="354"/>
                  </a:lnTo>
                  <a:lnTo>
                    <a:pt x="314" y="355"/>
                  </a:lnTo>
                  <a:lnTo>
                    <a:pt x="316" y="356"/>
                  </a:lnTo>
                  <a:lnTo>
                    <a:pt x="317" y="358"/>
                  </a:lnTo>
                  <a:lnTo>
                    <a:pt x="317" y="359"/>
                  </a:lnTo>
                  <a:lnTo>
                    <a:pt x="318" y="360"/>
                  </a:lnTo>
                  <a:lnTo>
                    <a:pt x="319" y="362"/>
                  </a:lnTo>
                  <a:lnTo>
                    <a:pt x="320" y="363"/>
                  </a:lnTo>
                  <a:lnTo>
                    <a:pt x="321" y="365"/>
                  </a:lnTo>
                  <a:lnTo>
                    <a:pt x="322" y="366"/>
                  </a:lnTo>
                  <a:lnTo>
                    <a:pt x="322" y="367"/>
                  </a:lnTo>
                  <a:lnTo>
                    <a:pt x="323" y="367"/>
                  </a:lnTo>
                  <a:lnTo>
                    <a:pt x="324" y="368"/>
                  </a:lnTo>
                  <a:lnTo>
                    <a:pt x="331" y="374"/>
                  </a:lnTo>
                  <a:lnTo>
                    <a:pt x="333" y="374"/>
                  </a:lnTo>
                  <a:lnTo>
                    <a:pt x="334" y="376"/>
                  </a:lnTo>
                  <a:lnTo>
                    <a:pt x="337" y="379"/>
                  </a:lnTo>
                  <a:lnTo>
                    <a:pt x="339" y="381"/>
                  </a:lnTo>
                  <a:lnTo>
                    <a:pt x="340" y="382"/>
                  </a:lnTo>
                  <a:lnTo>
                    <a:pt x="342" y="384"/>
                  </a:lnTo>
                  <a:lnTo>
                    <a:pt x="343" y="386"/>
                  </a:lnTo>
                  <a:lnTo>
                    <a:pt x="345" y="389"/>
                  </a:lnTo>
                  <a:lnTo>
                    <a:pt x="346" y="392"/>
                  </a:lnTo>
                  <a:lnTo>
                    <a:pt x="347" y="393"/>
                  </a:lnTo>
                  <a:lnTo>
                    <a:pt x="347" y="393"/>
                  </a:lnTo>
                  <a:lnTo>
                    <a:pt x="347" y="394"/>
                  </a:lnTo>
                  <a:lnTo>
                    <a:pt x="347" y="395"/>
                  </a:lnTo>
                  <a:lnTo>
                    <a:pt x="347" y="395"/>
                  </a:lnTo>
                  <a:lnTo>
                    <a:pt x="347" y="396"/>
                  </a:lnTo>
                  <a:lnTo>
                    <a:pt x="347" y="397"/>
                  </a:lnTo>
                  <a:lnTo>
                    <a:pt x="346" y="398"/>
                  </a:lnTo>
                  <a:lnTo>
                    <a:pt x="346" y="399"/>
                  </a:lnTo>
                  <a:lnTo>
                    <a:pt x="345" y="400"/>
                  </a:lnTo>
                  <a:lnTo>
                    <a:pt x="345" y="401"/>
                  </a:lnTo>
                  <a:lnTo>
                    <a:pt x="345" y="401"/>
                  </a:lnTo>
                  <a:lnTo>
                    <a:pt x="345" y="402"/>
                  </a:lnTo>
                  <a:lnTo>
                    <a:pt x="346" y="403"/>
                  </a:lnTo>
                  <a:lnTo>
                    <a:pt x="346" y="404"/>
                  </a:lnTo>
                  <a:lnTo>
                    <a:pt x="347" y="404"/>
                  </a:lnTo>
                  <a:lnTo>
                    <a:pt x="347" y="405"/>
                  </a:lnTo>
                  <a:lnTo>
                    <a:pt x="347" y="405"/>
                  </a:lnTo>
                  <a:lnTo>
                    <a:pt x="348" y="405"/>
                  </a:lnTo>
                  <a:lnTo>
                    <a:pt x="349" y="405"/>
                  </a:lnTo>
                  <a:lnTo>
                    <a:pt x="349" y="405"/>
                  </a:lnTo>
                  <a:lnTo>
                    <a:pt x="349" y="405"/>
                  </a:lnTo>
                  <a:lnTo>
                    <a:pt x="350" y="405"/>
                  </a:lnTo>
                  <a:lnTo>
                    <a:pt x="352" y="403"/>
                  </a:lnTo>
                  <a:lnTo>
                    <a:pt x="353" y="402"/>
                  </a:lnTo>
                  <a:lnTo>
                    <a:pt x="354" y="401"/>
                  </a:lnTo>
                  <a:lnTo>
                    <a:pt x="355" y="401"/>
                  </a:lnTo>
                  <a:lnTo>
                    <a:pt x="356" y="401"/>
                  </a:lnTo>
                  <a:lnTo>
                    <a:pt x="357" y="400"/>
                  </a:lnTo>
                  <a:lnTo>
                    <a:pt x="357" y="400"/>
                  </a:lnTo>
                  <a:lnTo>
                    <a:pt x="358" y="400"/>
                  </a:lnTo>
                  <a:lnTo>
                    <a:pt x="358" y="401"/>
                  </a:lnTo>
                  <a:lnTo>
                    <a:pt x="359" y="401"/>
                  </a:lnTo>
                  <a:lnTo>
                    <a:pt x="359" y="401"/>
                  </a:lnTo>
                  <a:lnTo>
                    <a:pt x="359" y="401"/>
                  </a:lnTo>
                  <a:lnTo>
                    <a:pt x="360" y="402"/>
                  </a:lnTo>
                  <a:lnTo>
                    <a:pt x="361" y="403"/>
                  </a:lnTo>
                  <a:lnTo>
                    <a:pt x="362" y="404"/>
                  </a:lnTo>
                  <a:lnTo>
                    <a:pt x="362" y="405"/>
                  </a:lnTo>
                  <a:lnTo>
                    <a:pt x="364" y="408"/>
                  </a:lnTo>
                  <a:lnTo>
                    <a:pt x="365" y="411"/>
                  </a:lnTo>
                  <a:lnTo>
                    <a:pt x="365" y="411"/>
                  </a:lnTo>
                  <a:lnTo>
                    <a:pt x="365" y="412"/>
                  </a:lnTo>
                  <a:lnTo>
                    <a:pt x="365" y="412"/>
                  </a:lnTo>
                  <a:lnTo>
                    <a:pt x="365" y="413"/>
                  </a:lnTo>
                  <a:lnTo>
                    <a:pt x="365" y="413"/>
                  </a:lnTo>
                  <a:lnTo>
                    <a:pt x="364" y="414"/>
                  </a:lnTo>
                  <a:lnTo>
                    <a:pt x="364" y="415"/>
                  </a:lnTo>
                  <a:lnTo>
                    <a:pt x="363" y="416"/>
                  </a:lnTo>
                  <a:lnTo>
                    <a:pt x="362" y="418"/>
                  </a:lnTo>
                  <a:lnTo>
                    <a:pt x="361" y="419"/>
                  </a:lnTo>
                  <a:lnTo>
                    <a:pt x="361" y="420"/>
                  </a:lnTo>
                  <a:lnTo>
                    <a:pt x="360" y="421"/>
                  </a:lnTo>
                  <a:lnTo>
                    <a:pt x="360" y="421"/>
                  </a:lnTo>
                  <a:lnTo>
                    <a:pt x="359" y="422"/>
                  </a:lnTo>
                  <a:lnTo>
                    <a:pt x="358" y="422"/>
                  </a:lnTo>
                  <a:lnTo>
                    <a:pt x="358" y="422"/>
                  </a:lnTo>
                  <a:lnTo>
                    <a:pt x="357" y="423"/>
                  </a:lnTo>
                  <a:lnTo>
                    <a:pt x="357" y="423"/>
                  </a:lnTo>
                  <a:lnTo>
                    <a:pt x="356" y="423"/>
                  </a:lnTo>
                  <a:lnTo>
                    <a:pt x="355" y="423"/>
                  </a:lnTo>
                  <a:lnTo>
                    <a:pt x="355" y="423"/>
                  </a:lnTo>
                  <a:lnTo>
                    <a:pt x="354" y="423"/>
                  </a:lnTo>
                  <a:lnTo>
                    <a:pt x="353" y="423"/>
                  </a:lnTo>
                  <a:lnTo>
                    <a:pt x="351" y="422"/>
                  </a:lnTo>
                  <a:lnTo>
                    <a:pt x="348" y="422"/>
                  </a:lnTo>
                  <a:lnTo>
                    <a:pt x="347" y="421"/>
                  </a:lnTo>
                  <a:lnTo>
                    <a:pt x="346" y="421"/>
                  </a:lnTo>
                  <a:lnTo>
                    <a:pt x="345" y="421"/>
                  </a:lnTo>
                  <a:lnTo>
                    <a:pt x="344" y="421"/>
                  </a:lnTo>
                  <a:lnTo>
                    <a:pt x="344" y="421"/>
                  </a:lnTo>
                  <a:lnTo>
                    <a:pt x="344" y="422"/>
                  </a:lnTo>
                  <a:lnTo>
                    <a:pt x="343" y="423"/>
                  </a:lnTo>
                  <a:lnTo>
                    <a:pt x="342" y="424"/>
                  </a:lnTo>
                  <a:lnTo>
                    <a:pt x="341" y="426"/>
                  </a:lnTo>
                  <a:lnTo>
                    <a:pt x="341" y="426"/>
                  </a:lnTo>
                  <a:lnTo>
                    <a:pt x="340" y="427"/>
                  </a:lnTo>
                  <a:lnTo>
                    <a:pt x="340" y="428"/>
                  </a:lnTo>
                  <a:lnTo>
                    <a:pt x="339" y="428"/>
                  </a:lnTo>
                  <a:lnTo>
                    <a:pt x="338" y="429"/>
                  </a:lnTo>
                  <a:lnTo>
                    <a:pt x="336" y="430"/>
                  </a:lnTo>
                  <a:lnTo>
                    <a:pt x="335" y="431"/>
                  </a:lnTo>
                  <a:lnTo>
                    <a:pt x="334" y="432"/>
                  </a:lnTo>
                  <a:lnTo>
                    <a:pt x="333" y="434"/>
                  </a:lnTo>
                  <a:lnTo>
                    <a:pt x="331" y="436"/>
                  </a:lnTo>
                  <a:lnTo>
                    <a:pt x="330" y="436"/>
                  </a:lnTo>
                  <a:lnTo>
                    <a:pt x="330" y="437"/>
                  </a:lnTo>
                  <a:lnTo>
                    <a:pt x="330" y="438"/>
                  </a:lnTo>
                  <a:lnTo>
                    <a:pt x="330" y="438"/>
                  </a:lnTo>
                  <a:lnTo>
                    <a:pt x="329" y="439"/>
                  </a:lnTo>
                  <a:lnTo>
                    <a:pt x="329" y="442"/>
                  </a:lnTo>
                  <a:lnTo>
                    <a:pt x="329" y="443"/>
                  </a:lnTo>
                  <a:lnTo>
                    <a:pt x="329" y="444"/>
                  </a:lnTo>
                  <a:lnTo>
                    <a:pt x="329" y="446"/>
                  </a:lnTo>
                  <a:lnTo>
                    <a:pt x="328" y="447"/>
                  </a:lnTo>
                  <a:lnTo>
                    <a:pt x="327" y="450"/>
                  </a:lnTo>
                  <a:lnTo>
                    <a:pt x="326" y="453"/>
                  </a:lnTo>
                  <a:lnTo>
                    <a:pt x="325" y="456"/>
                  </a:lnTo>
                  <a:lnTo>
                    <a:pt x="324" y="456"/>
                  </a:lnTo>
                  <a:lnTo>
                    <a:pt x="324" y="457"/>
                  </a:lnTo>
                  <a:lnTo>
                    <a:pt x="323" y="457"/>
                  </a:lnTo>
                  <a:lnTo>
                    <a:pt x="323" y="458"/>
                  </a:lnTo>
                  <a:lnTo>
                    <a:pt x="322" y="458"/>
                  </a:lnTo>
                  <a:lnTo>
                    <a:pt x="322" y="458"/>
                  </a:lnTo>
                  <a:lnTo>
                    <a:pt x="321" y="459"/>
                  </a:lnTo>
                  <a:lnTo>
                    <a:pt x="318" y="460"/>
                  </a:lnTo>
                  <a:lnTo>
                    <a:pt x="316" y="460"/>
                  </a:lnTo>
                  <a:lnTo>
                    <a:pt x="315" y="460"/>
                  </a:lnTo>
                  <a:lnTo>
                    <a:pt x="314" y="460"/>
                  </a:lnTo>
                  <a:lnTo>
                    <a:pt x="312" y="460"/>
                  </a:lnTo>
                  <a:lnTo>
                    <a:pt x="311" y="460"/>
                  </a:lnTo>
                  <a:lnTo>
                    <a:pt x="310" y="459"/>
                  </a:lnTo>
                  <a:lnTo>
                    <a:pt x="309" y="459"/>
                  </a:lnTo>
                  <a:lnTo>
                    <a:pt x="308" y="458"/>
                  </a:lnTo>
                  <a:lnTo>
                    <a:pt x="307" y="458"/>
                  </a:lnTo>
                  <a:lnTo>
                    <a:pt x="306" y="457"/>
                  </a:lnTo>
                  <a:lnTo>
                    <a:pt x="306" y="457"/>
                  </a:lnTo>
                  <a:lnTo>
                    <a:pt x="304" y="455"/>
                  </a:lnTo>
                  <a:lnTo>
                    <a:pt x="303" y="454"/>
                  </a:lnTo>
                  <a:lnTo>
                    <a:pt x="302" y="453"/>
                  </a:lnTo>
                  <a:lnTo>
                    <a:pt x="301" y="452"/>
                  </a:lnTo>
                  <a:lnTo>
                    <a:pt x="300" y="452"/>
                  </a:lnTo>
                  <a:lnTo>
                    <a:pt x="299" y="451"/>
                  </a:lnTo>
                  <a:lnTo>
                    <a:pt x="298" y="451"/>
                  </a:lnTo>
                  <a:lnTo>
                    <a:pt x="297" y="451"/>
                  </a:lnTo>
                  <a:lnTo>
                    <a:pt x="296" y="451"/>
                  </a:lnTo>
                  <a:lnTo>
                    <a:pt x="296" y="451"/>
                  </a:lnTo>
                  <a:lnTo>
                    <a:pt x="295" y="452"/>
                  </a:lnTo>
                  <a:lnTo>
                    <a:pt x="294" y="452"/>
                  </a:lnTo>
                  <a:lnTo>
                    <a:pt x="294" y="452"/>
                  </a:lnTo>
                  <a:lnTo>
                    <a:pt x="293" y="453"/>
                  </a:lnTo>
                  <a:lnTo>
                    <a:pt x="292" y="456"/>
                  </a:lnTo>
                  <a:lnTo>
                    <a:pt x="291" y="456"/>
                  </a:lnTo>
                  <a:lnTo>
                    <a:pt x="291" y="456"/>
                  </a:lnTo>
                  <a:lnTo>
                    <a:pt x="291" y="457"/>
                  </a:lnTo>
                  <a:lnTo>
                    <a:pt x="290" y="457"/>
                  </a:lnTo>
                  <a:lnTo>
                    <a:pt x="290" y="457"/>
                  </a:lnTo>
                  <a:lnTo>
                    <a:pt x="290" y="457"/>
                  </a:lnTo>
                  <a:lnTo>
                    <a:pt x="289" y="457"/>
                  </a:lnTo>
                  <a:lnTo>
                    <a:pt x="288" y="457"/>
                  </a:lnTo>
                  <a:lnTo>
                    <a:pt x="287" y="457"/>
                  </a:lnTo>
                  <a:lnTo>
                    <a:pt x="286" y="457"/>
                  </a:lnTo>
                  <a:lnTo>
                    <a:pt x="285" y="456"/>
                  </a:lnTo>
                  <a:lnTo>
                    <a:pt x="285" y="456"/>
                  </a:lnTo>
                  <a:lnTo>
                    <a:pt x="284" y="456"/>
                  </a:lnTo>
                  <a:lnTo>
                    <a:pt x="283" y="457"/>
                  </a:lnTo>
                  <a:lnTo>
                    <a:pt x="282" y="457"/>
                  </a:lnTo>
                  <a:lnTo>
                    <a:pt x="282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8"/>
                  </a:lnTo>
                  <a:lnTo>
                    <a:pt x="281" y="458"/>
                  </a:lnTo>
                  <a:lnTo>
                    <a:pt x="281" y="458"/>
                  </a:lnTo>
                  <a:lnTo>
                    <a:pt x="281" y="459"/>
                  </a:lnTo>
                  <a:lnTo>
                    <a:pt x="281" y="459"/>
                  </a:lnTo>
                  <a:lnTo>
                    <a:pt x="281" y="460"/>
                  </a:lnTo>
                  <a:lnTo>
                    <a:pt x="281" y="461"/>
                  </a:lnTo>
                  <a:lnTo>
                    <a:pt x="283" y="465"/>
                  </a:lnTo>
                  <a:lnTo>
                    <a:pt x="284" y="467"/>
                  </a:lnTo>
                  <a:lnTo>
                    <a:pt x="284" y="468"/>
                  </a:lnTo>
                  <a:lnTo>
                    <a:pt x="285" y="469"/>
                  </a:lnTo>
                  <a:lnTo>
                    <a:pt x="285" y="470"/>
                  </a:lnTo>
                  <a:lnTo>
                    <a:pt x="285" y="471"/>
                  </a:lnTo>
                  <a:lnTo>
                    <a:pt x="285" y="471"/>
                  </a:lnTo>
                  <a:lnTo>
                    <a:pt x="284" y="472"/>
                  </a:lnTo>
                  <a:lnTo>
                    <a:pt x="284" y="473"/>
                  </a:lnTo>
                  <a:lnTo>
                    <a:pt x="284" y="474"/>
                  </a:lnTo>
                  <a:lnTo>
                    <a:pt x="283" y="475"/>
                  </a:lnTo>
                  <a:lnTo>
                    <a:pt x="282" y="476"/>
                  </a:lnTo>
                  <a:lnTo>
                    <a:pt x="282" y="476"/>
                  </a:lnTo>
                  <a:lnTo>
                    <a:pt x="281" y="477"/>
                  </a:lnTo>
                  <a:lnTo>
                    <a:pt x="280" y="478"/>
                  </a:lnTo>
                  <a:lnTo>
                    <a:pt x="280" y="478"/>
                  </a:lnTo>
                  <a:lnTo>
                    <a:pt x="279" y="478"/>
                  </a:lnTo>
                  <a:lnTo>
                    <a:pt x="278" y="479"/>
                  </a:lnTo>
                  <a:lnTo>
                    <a:pt x="277" y="479"/>
                  </a:lnTo>
                  <a:lnTo>
                    <a:pt x="276" y="479"/>
                  </a:lnTo>
                  <a:lnTo>
                    <a:pt x="275" y="479"/>
                  </a:lnTo>
                  <a:lnTo>
                    <a:pt x="274" y="479"/>
                  </a:lnTo>
                  <a:lnTo>
                    <a:pt x="273" y="479"/>
                  </a:lnTo>
                  <a:lnTo>
                    <a:pt x="273" y="479"/>
                  </a:lnTo>
                  <a:lnTo>
                    <a:pt x="272" y="479"/>
                  </a:lnTo>
                  <a:lnTo>
                    <a:pt x="271" y="479"/>
                  </a:lnTo>
                  <a:lnTo>
                    <a:pt x="270" y="478"/>
                  </a:lnTo>
                  <a:lnTo>
                    <a:pt x="268" y="478"/>
                  </a:lnTo>
                  <a:lnTo>
                    <a:pt x="268" y="477"/>
                  </a:lnTo>
                  <a:lnTo>
                    <a:pt x="267" y="477"/>
                  </a:lnTo>
                  <a:lnTo>
                    <a:pt x="266" y="477"/>
                  </a:lnTo>
                  <a:lnTo>
                    <a:pt x="265" y="477"/>
                  </a:lnTo>
                  <a:lnTo>
                    <a:pt x="263" y="477"/>
                  </a:lnTo>
                  <a:lnTo>
                    <a:pt x="262" y="477"/>
                  </a:lnTo>
                  <a:lnTo>
                    <a:pt x="260" y="477"/>
                  </a:lnTo>
                  <a:lnTo>
                    <a:pt x="258" y="477"/>
                  </a:lnTo>
                  <a:lnTo>
                    <a:pt x="256" y="477"/>
                  </a:lnTo>
                  <a:lnTo>
                    <a:pt x="255" y="478"/>
                  </a:lnTo>
                  <a:lnTo>
                    <a:pt x="253" y="478"/>
                  </a:lnTo>
                  <a:lnTo>
                    <a:pt x="251" y="479"/>
                  </a:lnTo>
                  <a:lnTo>
                    <a:pt x="248" y="480"/>
                  </a:lnTo>
                  <a:lnTo>
                    <a:pt x="247" y="480"/>
                  </a:lnTo>
                  <a:lnTo>
                    <a:pt x="247" y="480"/>
                  </a:lnTo>
                  <a:lnTo>
                    <a:pt x="247" y="480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2"/>
                  </a:lnTo>
                  <a:lnTo>
                    <a:pt x="246" y="483"/>
                  </a:lnTo>
                  <a:lnTo>
                    <a:pt x="245" y="485"/>
                  </a:lnTo>
                  <a:lnTo>
                    <a:pt x="245" y="487"/>
                  </a:lnTo>
                  <a:lnTo>
                    <a:pt x="245" y="488"/>
                  </a:lnTo>
                  <a:lnTo>
                    <a:pt x="244" y="488"/>
                  </a:lnTo>
                  <a:lnTo>
                    <a:pt x="244" y="489"/>
                  </a:lnTo>
                  <a:lnTo>
                    <a:pt x="243" y="490"/>
                  </a:lnTo>
                  <a:lnTo>
                    <a:pt x="242" y="492"/>
                  </a:lnTo>
                  <a:lnTo>
                    <a:pt x="242" y="493"/>
                  </a:lnTo>
                  <a:lnTo>
                    <a:pt x="241" y="494"/>
                  </a:lnTo>
                  <a:lnTo>
                    <a:pt x="240" y="495"/>
                  </a:lnTo>
                  <a:lnTo>
                    <a:pt x="240" y="495"/>
                  </a:lnTo>
                  <a:lnTo>
                    <a:pt x="239" y="496"/>
                  </a:lnTo>
                  <a:lnTo>
                    <a:pt x="238" y="497"/>
                  </a:lnTo>
                  <a:lnTo>
                    <a:pt x="237" y="497"/>
                  </a:lnTo>
                  <a:lnTo>
                    <a:pt x="236" y="497"/>
                  </a:lnTo>
                  <a:lnTo>
                    <a:pt x="236" y="497"/>
                  </a:lnTo>
                  <a:lnTo>
                    <a:pt x="235" y="497"/>
                  </a:lnTo>
                  <a:lnTo>
                    <a:pt x="234" y="497"/>
                  </a:lnTo>
                  <a:lnTo>
                    <a:pt x="233" y="496"/>
                  </a:lnTo>
                  <a:lnTo>
                    <a:pt x="230" y="494"/>
                  </a:lnTo>
                  <a:lnTo>
                    <a:pt x="229" y="493"/>
                  </a:lnTo>
                  <a:lnTo>
                    <a:pt x="228" y="492"/>
                  </a:lnTo>
                  <a:lnTo>
                    <a:pt x="227" y="492"/>
                  </a:lnTo>
                  <a:lnTo>
                    <a:pt x="227" y="491"/>
                  </a:lnTo>
                  <a:lnTo>
                    <a:pt x="226" y="491"/>
                  </a:lnTo>
                  <a:lnTo>
                    <a:pt x="225" y="491"/>
                  </a:lnTo>
                  <a:lnTo>
                    <a:pt x="224" y="491"/>
                  </a:lnTo>
                  <a:lnTo>
                    <a:pt x="223" y="491"/>
                  </a:lnTo>
                  <a:lnTo>
                    <a:pt x="221" y="491"/>
                  </a:lnTo>
                  <a:lnTo>
                    <a:pt x="219" y="490"/>
                  </a:lnTo>
                  <a:lnTo>
                    <a:pt x="217" y="490"/>
                  </a:lnTo>
                  <a:lnTo>
                    <a:pt x="215" y="489"/>
                  </a:lnTo>
                  <a:lnTo>
                    <a:pt x="213" y="489"/>
                  </a:lnTo>
                  <a:lnTo>
                    <a:pt x="212" y="488"/>
                  </a:lnTo>
                  <a:lnTo>
                    <a:pt x="211" y="488"/>
                  </a:lnTo>
                  <a:lnTo>
                    <a:pt x="208" y="488"/>
                  </a:lnTo>
                  <a:lnTo>
                    <a:pt x="208" y="488"/>
                  </a:lnTo>
                  <a:lnTo>
                    <a:pt x="207" y="488"/>
                  </a:lnTo>
                  <a:lnTo>
                    <a:pt x="207" y="487"/>
                  </a:lnTo>
                  <a:lnTo>
                    <a:pt x="206" y="487"/>
                  </a:lnTo>
                  <a:lnTo>
                    <a:pt x="206" y="486"/>
                  </a:lnTo>
                  <a:lnTo>
                    <a:pt x="206" y="486"/>
                  </a:lnTo>
                  <a:lnTo>
                    <a:pt x="205" y="485"/>
                  </a:lnTo>
                  <a:lnTo>
                    <a:pt x="205" y="484"/>
                  </a:lnTo>
                  <a:lnTo>
                    <a:pt x="205" y="481"/>
                  </a:lnTo>
                  <a:lnTo>
                    <a:pt x="205" y="480"/>
                  </a:lnTo>
                  <a:lnTo>
                    <a:pt x="204" y="480"/>
                  </a:lnTo>
                  <a:lnTo>
                    <a:pt x="204" y="479"/>
                  </a:lnTo>
                  <a:lnTo>
                    <a:pt x="204" y="478"/>
                  </a:lnTo>
                  <a:lnTo>
                    <a:pt x="203" y="478"/>
                  </a:lnTo>
                  <a:lnTo>
                    <a:pt x="203" y="477"/>
                  </a:lnTo>
                  <a:lnTo>
                    <a:pt x="202" y="477"/>
                  </a:lnTo>
                  <a:lnTo>
                    <a:pt x="202" y="477"/>
                  </a:lnTo>
                  <a:lnTo>
                    <a:pt x="201" y="477"/>
                  </a:lnTo>
                  <a:lnTo>
                    <a:pt x="201" y="477"/>
                  </a:lnTo>
                  <a:lnTo>
                    <a:pt x="200" y="477"/>
                  </a:lnTo>
                  <a:lnTo>
                    <a:pt x="199" y="478"/>
                  </a:lnTo>
                  <a:lnTo>
                    <a:pt x="199" y="478"/>
                  </a:lnTo>
                  <a:lnTo>
                    <a:pt x="199" y="478"/>
                  </a:lnTo>
                  <a:lnTo>
                    <a:pt x="198" y="479"/>
                  </a:lnTo>
                  <a:lnTo>
                    <a:pt x="198" y="479"/>
                  </a:lnTo>
                  <a:lnTo>
                    <a:pt x="197" y="480"/>
                  </a:lnTo>
                  <a:lnTo>
                    <a:pt x="195" y="484"/>
                  </a:lnTo>
                  <a:lnTo>
                    <a:pt x="194" y="486"/>
                  </a:lnTo>
                  <a:lnTo>
                    <a:pt x="194" y="487"/>
                  </a:lnTo>
                  <a:lnTo>
                    <a:pt x="193" y="488"/>
                  </a:lnTo>
                  <a:lnTo>
                    <a:pt x="193" y="489"/>
                  </a:lnTo>
                  <a:lnTo>
                    <a:pt x="193" y="490"/>
                  </a:lnTo>
                  <a:lnTo>
                    <a:pt x="193" y="491"/>
                  </a:lnTo>
                  <a:lnTo>
                    <a:pt x="193" y="493"/>
                  </a:lnTo>
                  <a:lnTo>
                    <a:pt x="194" y="494"/>
                  </a:lnTo>
                  <a:lnTo>
                    <a:pt x="194" y="496"/>
                  </a:lnTo>
                  <a:lnTo>
                    <a:pt x="195" y="497"/>
                  </a:lnTo>
                  <a:lnTo>
                    <a:pt x="196" y="499"/>
                  </a:lnTo>
                  <a:lnTo>
                    <a:pt x="197" y="501"/>
                  </a:lnTo>
                  <a:lnTo>
                    <a:pt x="197" y="502"/>
                  </a:lnTo>
                  <a:lnTo>
                    <a:pt x="197" y="503"/>
                  </a:lnTo>
                  <a:lnTo>
                    <a:pt x="197" y="504"/>
                  </a:lnTo>
                  <a:lnTo>
                    <a:pt x="197" y="505"/>
                  </a:lnTo>
                  <a:lnTo>
                    <a:pt x="197" y="506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6" y="508"/>
                  </a:lnTo>
                  <a:lnTo>
                    <a:pt x="195" y="509"/>
                  </a:lnTo>
                  <a:lnTo>
                    <a:pt x="193" y="511"/>
                  </a:lnTo>
                  <a:lnTo>
                    <a:pt x="191" y="513"/>
                  </a:lnTo>
                  <a:lnTo>
                    <a:pt x="190" y="514"/>
                  </a:lnTo>
                  <a:lnTo>
                    <a:pt x="189" y="514"/>
                  </a:lnTo>
                  <a:lnTo>
                    <a:pt x="189" y="515"/>
                  </a:lnTo>
                  <a:lnTo>
                    <a:pt x="188" y="516"/>
                  </a:lnTo>
                  <a:lnTo>
                    <a:pt x="186" y="519"/>
                  </a:lnTo>
                  <a:lnTo>
                    <a:pt x="184" y="521"/>
                  </a:lnTo>
                  <a:lnTo>
                    <a:pt x="182" y="524"/>
                  </a:lnTo>
                  <a:lnTo>
                    <a:pt x="181" y="525"/>
                  </a:lnTo>
                  <a:lnTo>
                    <a:pt x="180" y="526"/>
                  </a:lnTo>
                  <a:lnTo>
                    <a:pt x="180" y="527"/>
                  </a:lnTo>
                  <a:lnTo>
                    <a:pt x="179" y="527"/>
                  </a:lnTo>
                  <a:lnTo>
                    <a:pt x="178" y="528"/>
                  </a:lnTo>
                  <a:lnTo>
                    <a:pt x="177" y="528"/>
                  </a:lnTo>
                  <a:lnTo>
                    <a:pt x="177" y="529"/>
                  </a:lnTo>
                  <a:lnTo>
                    <a:pt x="176" y="529"/>
                  </a:lnTo>
                  <a:lnTo>
                    <a:pt x="175" y="529"/>
                  </a:lnTo>
                  <a:lnTo>
                    <a:pt x="174" y="529"/>
                  </a:lnTo>
                  <a:lnTo>
                    <a:pt x="174" y="529"/>
                  </a:lnTo>
                  <a:lnTo>
                    <a:pt x="170" y="529"/>
                  </a:lnTo>
                  <a:lnTo>
                    <a:pt x="169" y="530"/>
                  </a:lnTo>
                  <a:lnTo>
                    <a:pt x="165" y="530"/>
                  </a:lnTo>
                  <a:lnTo>
                    <a:pt x="163" y="530"/>
                  </a:lnTo>
                  <a:lnTo>
                    <a:pt x="162" y="531"/>
                  </a:lnTo>
                  <a:lnTo>
                    <a:pt x="156" y="532"/>
                  </a:lnTo>
                  <a:lnTo>
                    <a:pt x="155" y="532"/>
                  </a:lnTo>
                  <a:lnTo>
                    <a:pt x="153" y="532"/>
                  </a:lnTo>
                  <a:lnTo>
                    <a:pt x="152" y="532"/>
                  </a:lnTo>
                  <a:lnTo>
                    <a:pt x="151" y="533"/>
                  </a:lnTo>
                  <a:lnTo>
                    <a:pt x="151" y="533"/>
                  </a:lnTo>
                  <a:lnTo>
                    <a:pt x="150" y="533"/>
                  </a:lnTo>
                  <a:lnTo>
                    <a:pt x="149" y="534"/>
                  </a:lnTo>
                  <a:lnTo>
                    <a:pt x="148" y="535"/>
                  </a:lnTo>
                  <a:lnTo>
                    <a:pt x="148" y="536"/>
                  </a:lnTo>
                  <a:lnTo>
                    <a:pt x="147" y="536"/>
                  </a:lnTo>
                  <a:lnTo>
                    <a:pt x="146" y="539"/>
                  </a:lnTo>
                  <a:lnTo>
                    <a:pt x="145" y="539"/>
                  </a:lnTo>
                  <a:lnTo>
                    <a:pt x="145" y="540"/>
                  </a:lnTo>
                  <a:lnTo>
                    <a:pt x="144" y="541"/>
                  </a:lnTo>
                  <a:lnTo>
                    <a:pt x="144" y="541"/>
                  </a:lnTo>
                  <a:lnTo>
                    <a:pt x="143" y="541"/>
                  </a:lnTo>
                  <a:lnTo>
                    <a:pt x="143" y="541"/>
                  </a:lnTo>
                  <a:lnTo>
                    <a:pt x="142" y="541"/>
                  </a:lnTo>
                  <a:lnTo>
                    <a:pt x="142" y="541"/>
                  </a:lnTo>
                  <a:lnTo>
                    <a:pt x="141" y="541"/>
                  </a:lnTo>
                  <a:lnTo>
                    <a:pt x="141" y="541"/>
                  </a:lnTo>
                  <a:lnTo>
                    <a:pt x="141" y="541"/>
                  </a:lnTo>
                  <a:lnTo>
                    <a:pt x="141" y="539"/>
                  </a:lnTo>
                  <a:lnTo>
                    <a:pt x="139" y="534"/>
                  </a:lnTo>
                  <a:lnTo>
                    <a:pt x="137" y="531"/>
                  </a:lnTo>
                  <a:lnTo>
                    <a:pt x="137" y="530"/>
                  </a:lnTo>
                  <a:lnTo>
                    <a:pt x="136" y="527"/>
                  </a:lnTo>
                  <a:lnTo>
                    <a:pt x="134" y="522"/>
                  </a:lnTo>
                  <a:lnTo>
                    <a:pt x="134" y="521"/>
                  </a:lnTo>
                  <a:lnTo>
                    <a:pt x="134" y="520"/>
                  </a:lnTo>
                  <a:lnTo>
                    <a:pt x="133" y="519"/>
                  </a:lnTo>
                  <a:lnTo>
                    <a:pt x="133" y="519"/>
                  </a:lnTo>
                  <a:lnTo>
                    <a:pt x="132" y="518"/>
                  </a:lnTo>
                  <a:lnTo>
                    <a:pt x="131" y="517"/>
                  </a:lnTo>
                  <a:lnTo>
                    <a:pt x="128" y="515"/>
                  </a:lnTo>
                  <a:lnTo>
                    <a:pt x="127" y="514"/>
                  </a:lnTo>
                  <a:lnTo>
                    <a:pt x="126" y="513"/>
                  </a:lnTo>
                  <a:lnTo>
                    <a:pt x="124" y="512"/>
                  </a:lnTo>
                  <a:lnTo>
                    <a:pt x="122" y="512"/>
                  </a:lnTo>
                  <a:lnTo>
                    <a:pt x="121" y="511"/>
                  </a:lnTo>
                  <a:lnTo>
                    <a:pt x="118" y="510"/>
                  </a:lnTo>
                  <a:lnTo>
                    <a:pt x="116" y="509"/>
                  </a:lnTo>
                  <a:lnTo>
                    <a:pt x="114" y="509"/>
                  </a:lnTo>
                  <a:lnTo>
                    <a:pt x="112" y="508"/>
                  </a:lnTo>
                  <a:lnTo>
                    <a:pt x="111" y="507"/>
                  </a:lnTo>
                  <a:lnTo>
                    <a:pt x="108" y="506"/>
                  </a:lnTo>
                  <a:lnTo>
                    <a:pt x="107" y="505"/>
                  </a:lnTo>
                  <a:lnTo>
                    <a:pt x="107" y="505"/>
                  </a:lnTo>
                  <a:lnTo>
                    <a:pt x="106" y="504"/>
                  </a:lnTo>
                  <a:lnTo>
                    <a:pt x="106" y="504"/>
                  </a:lnTo>
                  <a:lnTo>
                    <a:pt x="106" y="504"/>
                  </a:lnTo>
                  <a:lnTo>
                    <a:pt x="105" y="503"/>
                  </a:lnTo>
                  <a:lnTo>
                    <a:pt x="105" y="503"/>
                  </a:lnTo>
                  <a:lnTo>
                    <a:pt x="105" y="502"/>
                  </a:lnTo>
                  <a:lnTo>
                    <a:pt x="105" y="502"/>
                  </a:lnTo>
                  <a:lnTo>
                    <a:pt x="106" y="500"/>
                  </a:lnTo>
                  <a:lnTo>
                    <a:pt x="106" y="497"/>
                  </a:lnTo>
                  <a:lnTo>
                    <a:pt x="107" y="494"/>
                  </a:lnTo>
                  <a:lnTo>
                    <a:pt x="107" y="492"/>
                  </a:lnTo>
                  <a:lnTo>
                    <a:pt x="107" y="491"/>
                  </a:lnTo>
                  <a:lnTo>
                    <a:pt x="107" y="489"/>
                  </a:lnTo>
                  <a:lnTo>
                    <a:pt x="108" y="488"/>
                  </a:lnTo>
                  <a:lnTo>
                    <a:pt x="107" y="486"/>
                  </a:lnTo>
                  <a:lnTo>
                    <a:pt x="107" y="485"/>
                  </a:lnTo>
                  <a:lnTo>
                    <a:pt x="107" y="485"/>
                  </a:lnTo>
                  <a:lnTo>
                    <a:pt x="107" y="484"/>
                  </a:lnTo>
                  <a:lnTo>
                    <a:pt x="107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5" y="484"/>
                  </a:lnTo>
                  <a:lnTo>
                    <a:pt x="105" y="485"/>
                  </a:lnTo>
                  <a:lnTo>
                    <a:pt x="104" y="486"/>
                  </a:lnTo>
                  <a:lnTo>
                    <a:pt x="104" y="487"/>
                  </a:lnTo>
                  <a:lnTo>
                    <a:pt x="103" y="487"/>
                  </a:lnTo>
                  <a:lnTo>
                    <a:pt x="103" y="487"/>
                  </a:lnTo>
                  <a:lnTo>
                    <a:pt x="103" y="487"/>
                  </a:lnTo>
                  <a:lnTo>
                    <a:pt x="102" y="487"/>
                  </a:lnTo>
                  <a:lnTo>
                    <a:pt x="102" y="487"/>
                  </a:lnTo>
                  <a:lnTo>
                    <a:pt x="101" y="487"/>
                  </a:lnTo>
                  <a:lnTo>
                    <a:pt x="101" y="487"/>
                  </a:lnTo>
                  <a:lnTo>
                    <a:pt x="101" y="487"/>
                  </a:lnTo>
                  <a:lnTo>
                    <a:pt x="100" y="486"/>
                  </a:lnTo>
                  <a:lnTo>
                    <a:pt x="100" y="486"/>
                  </a:lnTo>
                  <a:lnTo>
                    <a:pt x="99" y="485"/>
                  </a:lnTo>
                  <a:lnTo>
                    <a:pt x="98" y="485"/>
                  </a:lnTo>
                  <a:lnTo>
                    <a:pt x="97" y="483"/>
                  </a:lnTo>
                  <a:lnTo>
                    <a:pt x="97" y="482"/>
                  </a:lnTo>
                  <a:lnTo>
                    <a:pt x="96" y="482"/>
                  </a:lnTo>
                  <a:lnTo>
                    <a:pt x="96" y="481"/>
                  </a:lnTo>
                  <a:lnTo>
                    <a:pt x="94" y="478"/>
                  </a:lnTo>
                  <a:lnTo>
                    <a:pt x="94" y="478"/>
                  </a:lnTo>
                  <a:lnTo>
                    <a:pt x="94" y="477"/>
                  </a:lnTo>
                  <a:lnTo>
                    <a:pt x="93" y="476"/>
                  </a:lnTo>
                  <a:lnTo>
                    <a:pt x="93" y="476"/>
                  </a:lnTo>
                  <a:lnTo>
                    <a:pt x="91" y="475"/>
                  </a:lnTo>
                  <a:lnTo>
                    <a:pt x="90" y="474"/>
                  </a:lnTo>
                  <a:lnTo>
                    <a:pt x="90" y="473"/>
                  </a:lnTo>
                  <a:lnTo>
                    <a:pt x="89" y="472"/>
                  </a:lnTo>
                  <a:lnTo>
                    <a:pt x="89" y="471"/>
                  </a:lnTo>
                  <a:lnTo>
                    <a:pt x="88" y="471"/>
                  </a:lnTo>
                  <a:lnTo>
                    <a:pt x="88" y="468"/>
                  </a:lnTo>
                  <a:lnTo>
                    <a:pt x="87" y="464"/>
                  </a:lnTo>
                  <a:lnTo>
                    <a:pt x="86" y="462"/>
                  </a:lnTo>
                  <a:lnTo>
                    <a:pt x="85" y="461"/>
                  </a:lnTo>
                  <a:lnTo>
                    <a:pt x="85" y="460"/>
                  </a:lnTo>
                  <a:lnTo>
                    <a:pt x="84" y="459"/>
                  </a:lnTo>
                  <a:lnTo>
                    <a:pt x="83" y="458"/>
                  </a:lnTo>
                  <a:lnTo>
                    <a:pt x="83" y="457"/>
                  </a:lnTo>
                  <a:lnTo>
                    <a:pt x="83" y="456"/>
                  </a:lnTo>
                  <a:lnTo>
                    <a:pt x="82" y="455"/>
                  </a:lnTo>
                  <a:lnTo>
                    <a:pt x="81" y="454"/>
                  </a:lnTo>
                  <a:lnTo>
                    <a:pt x="81" y="453"/>
                  </a:lnTo>
                  <a:lnTo>
                    <a:pt x="79" y="452"/>
                  </a:lnTo>
                  <a:lnTo>
                    <a:pt x="78" y="451"/>
                  </a:lnTo>
                  <a:lnTo>
                    <a:pt x="78" y="450"/>
                  </a:lnTo>
                  <a:lnTo>
                    <a:pt x="77" y="448"/>
                  </a:lnTo>
                  <a:lnTo>
                    <a:pt x="76" y="447"/>
                  </a:lnTo>
                  <a:lnTo>
                    <a:pt x="76" y="446"/>
                  </a:lnTo>
                  <a:lnTo>
                    <a:pt x="75" y="445"/>
                  </a:lnTo>
                  <a:lnTo>
                    <a:pt x="74" y="444"/>
                  </a:lnTo>
                  <a:lnTo>
                    <a:pt x="73" y="443"/>
                  </a:lnTo>
                  <a:lnTo>
                    <a:pt x="73" y="443"/>
                  </a:lnTo>
                  <a:lnTo>
                    <a:pt x="72" y="442"/>
                  </a:lnTo>
                  <a:lnTo>
                    <a:pt x="71" y="442"/>
                  </a:lnTo>
                  <a:lnTo>
                    <a:pt x="69" y="442"/>
                  </a:lnTo>
                  <a:lnTo>
                    <a:pt x="67" y="441"/>
                  </a:lnTo>
                  <a:lnTo>
                    <a:pt x="65" y="441"/>
                  </a:lnTo>
                  <a:lnTo>
                    <a:pt x="64" y="441"/>
                  </a:lnTo>
                  <a:lnTo>
                    <a:pt x="63" y="441"/>
                  </a:lnTo>
                  <a:lnTo>
                    <a:pt x="62" y="441"/>
                  </a:lnTo>
                  <a:lnTo>
                    <a:pt x="61" y="441"/>
                  </a:lnTo>
                  <a:lnTo>
                    <a:pt x="59" y="441"/>
                  </a:lnTo>
                  <a:lnTo>
                    <a:pt x="58" y="442"/>
                  </a:lnTo>
                  <a:lnTo>
                    <a:pt x="56" y="443"/>
                  </a:lnTo>
                  <a:lnTo>
                    <a:pt x="55" y="444"/>
                  </a:lnTo>
                  <a:lnTo>
                    <a:pt x="54" y="445"/>
                  </a:lnTo>
                  <a:lnTo>
                    <a:pt x="52" y="446"/>
                  </a:lnTo>
                  <a:lnTo>
                    <a:pt x="51" y="448"/>
                  </a:lnTo>
                  <a:lnTo>
                    <a:pt x="50" y="448"/>
                  </a:lnTo>
                  <a:lnTo>
                    <a:pt x="50" y="448"/>
                  </a:lnTo>
                  <a:lnTo>
                    <a:pt x="50" y="449"/>
                  </a:lnTo>
                  <a:lnTo>
                    <a:pt x="50" y="449"/>
                  </a:lnTo>
                  <a:lnTo>
                    <a:pt x="50" y="449"/>
                  </a:lnTo>
                  <a:lnTo>
                    <a:pt x="50" y="450"/>
                  </a:lnTo>
                  <a:lnTo>
                    <a:pt x="51" y="450"/>
                  </a:lnTo>
                  <a:lnTo>
                    <a:pt x="51" y="451"/>
                  </a:lnTo>
                  <a:lnTo>
                    <a:pt x="52" y="452"/>
                  </a:lnTo>
                  <a:lnTo>
                    <a:pt x="52" y="452"/>
                  </a:lnTo>
                  <a:lnTo>
                    <a:pt x="52" y="453"/>
                  </a:lnTo>
                  <a:lnTo>
                    <a:pt x="53" y="453"/>
                  </a:lnTo>
                  <a:lnTo>
                    <a:pt x="58" y="458"/>
                  </a:lnTo>
                  <a:lnTo>
                    <a:pt x="58" y="458"/>
                  </a:lnTo>
                  <a:lnTo>
                    <a:pt x="59" y="459"/>
                  </a:lnTo>
                  <a:lnTo>
                    <a:pt x="59" y="460"/>
                  </a:lnTo>
                  <a:lnTo>
                    <a:pt x="59" y="461"/>
                  </a:lnTo>
                  <a:lnTo>
                    <a:pt x="60" y="462"/>
                  </a:lnTo>
                  <a:lnTo>
                    <a:pt x="60" y="463"/>
                  </a:lnTo>
                  <a:lnTo>
                    <a:pt x="61" y="464"/>
                  </a:lnTo>
                  <a:lnTo>
                    <a:pt x="62" y="466"/>
                  </a:lnTo>
                  <a:lnTo>
                    <a:pt x="62" y="467"/>
                  </a:lnTo>
                  <a:lnTo>
                    <a:pt x="63" y="468"/>
                  </a:lnTo>
                  <a:lnTo>
                    <a:pt x="63" y="469"/>
                  </a:lnTo>
                  <a:lnTo>
                    <a:pt x="63" y="469"/>
                  </a:lnTo>
                  <a:lnTo>
                    <a:pt x="63" y="470"/>
                  </a:lnTo>
                  <a:lnTo>
                    <a:pt x="63" y="471"/>
                  </a:lnTo>
                  <a:lnTo>
                    <a:pt x="63" y="471"/>
                  </a:lnTo>
                  <a:lnTo>
                    <a:pt x="63" y="472"/>
                  </a:lnTo>
                  <a:lnTo>
                    <a:pt x="63" y="472"/>
                  </a:lnTo>
                  <a:lnTo>
                    <a:pt x="62" y="473"/>
                  </a:lnTo>
                  <a:lnTo>
                    <a:pt x="61" y="475"/>
                  </a:lnTo>
                  <a:lnTo>
                    <a:pt x="60" y="476"/>
                  </a:lnTo>
                  <a:lnTo>
                    <a:pt x="59" y="478"/>
                  </a:lnTo>
                  <a:lnTo>
                    <a:pt x="58" y="481"/>
                  </a:lnTo>
                  <a:lnTo>
                    <a:pt x="58" y="483"/>
                  </a:lnTo>
                  <a:lnTo>
                    <a:pt x="57" y="484"/>
                  </a:lnTo>
                  <a:lnTo>
                    <a:pt x="56" y="485"/>
                  </a:lnTo>
                  <a:lnTo>
                    <a:pt x="56" y="486"/>
                  </a:lnTo>
                  <a:lnTo>
                    <a:pt x="54" y="487"/>
                  </a:lnTo>
                  <a:lnTo>
                    <a:pt x="53" y="488"/>
                  </a:lnTo>
                  <a:lnTo>
                    <a:pt x="52" y="489"/>
                  </a:lnTo>
                  <a:lnTo>
                    <a:pt x="51" y="490"/>
                  </a:lnTo>
                  <a:lnTo>
                    <a:pt x="50" y="490"/>
                  </a:lnTo>
                  <a:lnTo>
                    <a:pt x="49" y="491"/>
                  </a:lnTo>
                  <a:lnTo>
                    <a:pt x="48" y="491"/>
                  </a:lnTo>
                  <a:lnTo>
                    <a:pt x="47" y="491"/>
                  </a:lnTo>
                  <a:lnTo>
                    <a:pt x="46" y="491"/>
                  </a:lnTo>
                  <a:lnTo>
                    <a:pt x="45" y="490"/>
                  </a:lnTo>
                  <a:lnTo>
                    <a:pt x="43" y="490"/>
                  </a:lnTo>
                  <a:lnTo>
                    <a:pt x="42" y="489"/>
                  </a:lnTo>
                  <a:lnTo>
                    <a:pt x="40" y="488"/>
                  </a:lnTo>
                  <a:lnTo>
                    <a:pt x="37" y="485"/>
                  </a:lnTo>
                  <a:lnTo>
                    <a:pt x="35" y="484"/>
                  </a:lnTo>
                  <a:lnTo>
                    <a:pt x="34" y="483"/>
                  </a:lnTo>
                  <a:lnTo>
                    <a:pt x="34" y="483"/>
                  </a:lnTo>
                  <a:lnTo>
                    <a:pt x="32" y="481"/>
                  </a:lnTo>
                  <a:lnTo>
                    <a:pt x="32" y="481"/>
                  </a:lnTo>
                  <a:lnTo>
                    <a:pt x="31" y="480"/>
                  </a:lnTo>
                  <a:lnTo>
                    <a:pt x="31" y="480"/>
                  </a:lnTo>
                  <a:lnTo>
                    <a:pt x="31" y="479"/>
                  </a:lnTo>
                  <a:lnTo>
                    <a:pt x="31" y="478"/>
                  </a:lnTo>
                  <a:lnTo>
                    <a:pt x="31" y="477"/>
                  </a:lnTo>
                  <a:lnTo>
                    <a:pt x="31" y="477"/>
                  </a:lnTo>
                  <a:lnTo>
                    <a:pt x="31" y="476"/>
                  </a:lnTo>
                  <a:lnTo>
                    <a:pt x="32" y="475"/>
                  </a:lnTo>
                  <a:lnTo>
                    <a:pt x="32" y="475"/>
                  </a:lnTo>
                  <a:lnTo>
                    <a:pt x="32" y="474"/>
                  </a:lnTo>
                  <a:lnTo>
                    <a:pt x="32" y="474"/>
                  </a:lnTo>
                  <a:lnTo>
                    <a:pt x="33" y="473"/>
                  </a:lnTo>
                  <a:lnTo>
                    <a:pt x="35" y="471"/>
                  </a:lnTo>
                  <a:lnTo>
                    <a:pt x="36" y="471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9"/>
                  </a:lnTo>
                  <a:lnTo>
                    <a:pt x="37" y="469"/>
                  </a:lnTo>
                  <a:lnTo>
                    <a:pt x="37" y="468"/>
                  </a:lnTo>
                  <a:lnTo>
                    <a:pt x="36" y="467"/>
                  </a:lnTo>
                  <a:lnTo>
                    <a:pt x="36" y="466"/>
                  </a:lnTo>
                  <a:lnTo>
                    <a:pt x="35" y="465"/>
                  </a:lnTo>
                  <a:lnTo>
                    <a:pt x="35" y="464"/>
                  </a:lnTo>
                  <a:lnTo>
                    <a:pt x="34" y="463"/>
                  </a:lnTo>
                  <a:lnTo>
                    <a:pt x="32" y="460"/>
                  </a:lnTo>
                  <a:lnTo>
                    <a:pt x="31" y="459"/>
                  </a:lnTo>
                  <a:lnTo>
                    <a:pt x="31" y="458"/>
                  </a:lnTo>
                  <a:lnTo>
                    <a:pt x="30" y="457"/>
                  </a:lnTo>
                  <a:lnTo>
                    <a:pt x="30" y="456"/>
                  </a:lnTo>
                  <a:lnTo>
                    <a:pt x="29" y="453"/>
                  </a:lnTo>
                  <a:lnTo>
                    <a:pt x="28" y="449"/>
                  </a:lnTo>
                  <a:lnTo>
                    <a:pt x="27" y="446"/>
                  </a:lnTo>
                  <a:lnTo>
                    <a:pt x="27" y="445"/>
                  </a:lnTo>
                  <a:lnTo>
                    <a:pt x="27" y="443"/>
                  </a:lnTo>
                  <a:lnTo>
                    <a:pt x="27" y="442"/>
                  </a:lnTo>
                  <a:lnTo>
                    <a:pt x="27" y="440"/>
                  </a:lnTo>
                  <a:lnTo>
                    <a:pt x="27" y="439"/>
                  </a:lnTo>
                  <a:lnTo>
                    <a:pt x="27" y="437"/>
                  </a:lnTo>
                  <a:lnTo>
                    <a:pt x="27" y="436"/>
                  </a:lnTo>
                  <a:lnTo>
                    <a:pt x="28" y="435"/>
                  </a:lnTo>
                  <a:lnTo>
                    <a:pt x="30" y="432"/>
                  </a:lnTo>
                  <a:lnTo>
                    <a:pt x="30" y="431"/>
                  </a:lnTo>
                  <a:lnTo>
                    <a:pt x="32" y="429"/>
                  </a:lnTo>
                  <a:lnTo>
                    <a:pt x="32" y="428"/>
                  </a:lnTo>
                  <a:lnTo>
                    <a:pt x="33" y="428"/>
                  </a:lnTo>
                  <a:lnTo>
                    <a:pt x="34" y="427"/>
                  </a:lnTo>
                  <a:lnTo>
                    <a:pt x="34" y="426"/>
                  </a:lnTo>
                  <a:lnTo>
                    <a:pt x="35" y="426"/>
                  </a:lnTo>
                  <a:lnTo>
                    <a:pt x="35" y="425"/>
                  </a:lnTo>
                  <a:lnTo>
                    <a:pt x="36" y="425"/>
                  </a:lnTo>
                  <a:lnTo>
                    <a:pt x="36" y="425"/>
                  </a:lnTo>
                  <a:lnTo>
                    <a:pt x="36" y="424"/>
                  </a:lnTo>
                  <a:lnTo>
                    <a:pt x="35" y="424"/>
                  </a:lnTo>
                  <a:lnTo>
                    <a:pt x="35" y="424"/>
                  </a:lnTo>
                  <a:lnTo>
                    <a:pt x="34" y="424"/>
                  </a:lnTo>
                  <a:lnTo>
                    <a:pt x="32" y="423"/>
                  </a:lnTo>
                  <a:lnTo>
                    <a:pt x="30" y="423"/>
                  </a:lnTo>
                  <a:lnTo>
                    <a:pt x="29" y="423"/>
                  </a:lnTo>
                  <a:lnTo>
                    <a:pt x="27" y="423"/>
                  </a:lnTo>
                  <a:lnTo>
                    <a:pt x="25" y="422"/>
                  </a:lnTo>
                  <a:lnTo>
                    <a:pt x="21" y="421"/>
                  </a:lnTo>
                  <a:lnTo>
                    <a:pt x="18" y="420"/>
                  </a:lnTo>
                  <a:lnTo>
                    <a:pt x="15" y="419"/>
                  </a:lnTo>
                  <a:lnTo>
                    <a:pt x="15" y="419"/>
                  </a:lnTo>
                  <a:lnTo>
                    <a:pt x="14" y="419"/>
                  </a:lnTo>
                  <a:lnTo>
                    <a:pt x="14" y="418"/>
                  </a:lnTo>
                  <a:lnTo>
                    <a:pt x="13" y="418"/>
                  </a:lnTo>
                  <a:lnTo>
                    <a:pt x="13" y="418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3" y="416"/>
                  </a:lnTo>
                  <a:lnTo>
                    <a:pt x="13" y="415"/>
                  </a:lnTo>
                  <a:lnTo>
                    <a:pt x="13" y="413"/>
                  </a:lnTo>
                  <a:lnTo>
                    <a:pt x="13" y="412"/>
                  </a:lnTo>
                  <a:lnTo>
                    <a:pt x="13" y="411"/>
                  </a:lnTo>
                  <a:lnTo>
                    <a:pt x="12" y="408"/>
                  </a:lnTo>
                  <a:lnTo>
                    <a:pt x="12" y="407"/>
                  </a:lnTo>
                  <a:lnTo>
                    <a:pt x="12" y="406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4" y="403"/>
                  </a:lnTo>
                  <a:lnTo>
                    <a:pt x="14" y="402"/>
                  </a:lnTo>
                  <a:lnTo>
                    <a:pt x="15" y="402"/>
                  </a:lnTo>
                  <a:lnTo>
                    <a:pt x="15" y="402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3" y="404"/>
                  </a:lnTo>
                  <a:lnTo>
                    <a:pt x="24" y="404"/>
                  </a:lnTo>
                  <a:lnTo>
                    <a:pt x="25" y="404"/>
                  </a:lnTo>
                  <a:lnTo>
                    <a:pt x="25" y="404"/>
                  </a:lnTo>
                  <a:lnTo>
                    <a:pt x="25" y="403"/>
                  </a:lnTo>
                  <a:lnTo>
                    <a:pt x="26" y="403"/>
                  </a:lnTo>
                  <a:lnTo>
                    <a:pt x="26" y="403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8" y="397"/>
                  </a:lnTo>
                  <a:lnTo>
                    <a:pt x="29" y="396"/>
                  </a:lnTo>
                  <a:lnTo>
                    <a:pt x="29" y="395"/>
                  </a:lnTo>
                  <a:lnTo>
                    <a:pt x="29" y="394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0" y="389"/>
                  </a:lnTo>
                  <a:lnTo>
                    <a:pt x="31" y="386"/>
                  </a:lnTo>
                  <a:lnTo>
                    <a:pt x="32" y="384"/>
                  </a:lnTo>
                  <a:lnTo>
                    <a:pt x="32" y="382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80"/>
                  </a:lnTo>
                  <a:lnTo>
                    <a:pt x="31" y="377"/>
                  </a:lnTo>
                  <a:lnTo>
                    <a:pt x="30" y="375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3"/>
                  </a:lnTo>
                  <a:lnTo>
                    <a:pt x="30" y="371"/>
                  </a:lnTo>
                  <a:lnTo>
                    <a:pt x="30" y="370"/>
                  </a:lnTo>
                  <a:lnTo>
                    <a:pt x="30" y="369"/>
                  </a:lnTo>
                  <a:lnTo>
                    <a:pt x="31" y="368"/>
                  </a:lnTo>
                  <a:lnTo>
                    <a:pt x="31" y="367"/>
                  </a:lnTo>
                  <a:lnTo>
                    <a:pt x="32" y="366"/>
                  </a:lnTo>
                  <a:lnTo>
                    <a:pt x="33" y="365"/>
                  </a:lnTo>
                  <a:lnTo>
                    <a:pt x="33" y="364"/>
                  </a:lnTo>
                  <a:lnTo>
                    <a:pt x="36" y="361"/>
                  </a:lnTo>
                  <a:lnTo>
                    <a:pt x="38" y="358"/>
                  </a:lnTo>
                  <a:lnTo>
                    <a:pt x="39" y="357"/>
                  </a:lnTo>
                  <a:lnTo>
                    <a:pt x="39" y="356"/>
                  </a:lnTo>
                  <a:lnTo>
                    <a:pt x="39" y="356"/>
                  </a:lnTo>
                  <a:lnTo>
                    <a:pt x="40" y="355"/>
                  </a:lnTo>
                  <a:lnTo>
                    <a:pt x="40" y="353"/>
                  </a:lnTo>
                  <a:lnTo>
                    <a:pt x="41" y="352"/>
                  </a:lnTo>
                  <a:lnTo>
                    <a:pt x="41" y="350"/>
                  </a:lnTo>
                  <a:lnTo>
                    <a:pt x="41" y="348"/>
                  </a:lnTo>
                  <a:lnTo>
                    <a:pt x="41" y="347"/>
                  </a:lnTo>
                  <a:lnTo>
                    <a:pt x="41" y="346"/>
                  </a:lnTo>
                  <a:lnTo>
                    <a:pt x="40" y="342"/>
                  </a:lnTo>
                  <a:lnTo>
                    <a:pt x="40" y="341"/>
                  </a:lnTo>
                  <a:lnTo>
                    <a:pt x="40" y="340"/>
                  </a:lnTo>
                  <a:lnTo>
                    <a:pt x="40" y="339"/>
                  </a:lnTo>
                  <a:lnTo>
                    <a:pt x="39" y="338"/>
                  </a:lnTo>
                  <a:lnTo>
                    <a:pt x="39" y="338"/>
                  </a:lnTo>
                  <a:lnTo>
                    <a:pt x="38" y="337"/>
                  </a:lnTo>
                  <a:lnTo>
                    <a:pt x="38" y="336"/>
                  </a:lnTo>
                  <a:lnTo>
                    <a:pt x="37" y="336"/>
                  </a:lnTo>
                  <a:lnTo>
                    <a:pt x="36" y="335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4" y="334"/>
                  </a:lnTo>
                  <a:lnTo>
                    <a:pt x="31" y="334"/>
                  </a:lnTo>
                  <a:lnTo>
                    <a:pt x="30" y="333"/>
                  </a:lnTo>
                  <a:lnTo>
                    <a:pt x="29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7" y="333"/>
                  </a:lnTo>
                  <a:lnTo>
                    <a:pt x="27" y="333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1"/>
                  </a:lnTo>
                  <a:lnTo>
                    <a:pt x="27" y="330"/>
                  </a:lnTo>
                  <a:lnTo>
                    <a:pt x="28" y="328"/>
                  </a:lnTo>
                  <a:lnTo>
                    <a:pt x="28" y="327"/>
                  </a:lnTo>
                  <a:lnTo>
                    <a:pt x="28" y="326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8" y="324"/>
                  </a:lnTo>
                  <a:lnTo>
                    <a:pt x="27" y="321"/>
                  </a:lnTo>
                  <a:lnTo>
                    <a:pt x="26" y="321"/>
                  </a:lnTo>
                  <a:lnTo>
                    <a:pt x="26" y="320"/>
                  </a:lnTo>
                  <a:lnTo>
                    <a:pt x="26" y="317"/>
                  </a:lnTo>
                  <a:lnTo>
                    <a:pt x="26" y="316"/>
                  </a:lnTo>
                  <a:lnTo>
                    <a:pt x="25" y="315"/>
                  </a:lnTo>
                  <a:lnTo>
                    <a:pt x="25" y="314"/>
                  </a:lnTo>
                  <a:lnTo>
                    <a:pt x="24" y="314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7" y="305"/>
                  </a:lnTo>
                  <a:lnTo>
                    <a:pt x="16" y="304"/>
                  </a:lnTo>
                  <a:lnTo>
                    <a:pt x="15" y="302"/>
                  </a:lnTo>
                  <a:lnTo>
                    <a:pt x="15" y="300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12" y="294"/>
                  </a:lnTo>
                  <a:lnTo>
                    <a:pt x="12" y="293"/>
                  </a:lnTo>
                  <a:lnTo>
                    <a:pt x="12" y="292"/>
                  </a:lnTo>
                  <a:lnTo>
                    <a:pt x="11" y="291"/>
                  </a:lnTo>
                  <a:lnTo>
                    <a:pt x="9" y="288"/>
                  </a:lnTo>
                  <a:lnTo>
                    <a:pt x="8" y="287"/>
                  </a:lnTo>
                  <a:lnTo>
                    <a:pt x="8" y="286"/>
                  </a:lnTo>
                  <a:lnTo>
                    <a:pt x="8" y="285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6"/>
                  </a:lnTo>
                  <a:lnTo>
                    <a:pt x="9" y="275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2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8"/>
                  </a:lnTo>
                  <a:lnTo>
                    <a:pt x="13" y="267"/>
                  </a:lnTo>
                  <a:lnTo>
                    <a:pt x="13" y="266"/>
                  </a:lnTo>
                  <a:lnTo>
                    <a:pt x="13" y="266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2" y="260"/>
                  </a:lnTo>
                  <a:lnTo>
                    <a:pt x="12" y="258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7"/>
                  </a:lnTo>
                  <a:lnTo>
                    <a:pt x="10" y="246"/>
                  </a:lnTo>
                  <a:lnTo>
                    <a:pt x="9" y="241"/>
                  </a:lnTo>
                  <a:lnTo>
                    <a:pt x="7" y="236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5" y="230"/>
                  </a:lnTo>
                  <a:lnTo>
                    <a:pt x="4" y="225"/>
                  </a:lnTo>
                  <a:lnTo>
                    <a:pt x="4" y="223"/>
                  </a:lnTo>
                  <a:lnTo>
                    <a:pt x="3" y="220"/>
                  </a:lnTo>
                  <a:lnTo>
                    <a:pt x="1" y="216"/>
                  </a:lnTo>
                  <a:lnTo>
                    <a:pt x="1" y="215"/>
                  </a:lnTo>
                  <a:lnTo>
                    <a:pt x="1" y="214"/>
                  </a:lnTo>
                  <a:lnTo>
                    <a:pt x="0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1" y="210"/>
                  </a:lnTo>
                  <a:lnTo>
                    <a:pt x="1" y="210"/>
                  </a:lnTo>
                  <a:lnTo>
                    <a:pt x="2" y="210"/>
                  </a:lnTo>
                  <a:lnTo>
                    <a:pt x="2" y="210"/>
                  </a:lnTo>
                  <a:lnTo>
                    <a:pt x="3" y="209"/>
                  </a:lnTo>
                  <a:lnTo>
                    <a:pt x="4" y="209"/>
                  </a:lnTo>
                  <a:lnTo>
                    <a:pt x="5" y="209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0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3" y="205"/>
                  </a:lnTo>
                  <a:lnTo>
                    <a:pt x="14" y="204"/>
                  </a:lnTo>
                  <a:lnTo>
                    <a:pt x="15" y="203"/>
                  </a:lnTo>
                  <a:lnTo>
                    <a:pt x="15" y="202"/>
                  </a:lnTo>
                  <a:lnTo>
                    <a:pt x="18" y="199"/>
                  </a:lnTo>
                  <a:lnTo>
                    <a:pt x="19" y="198"/>
                  </a:lnTo>
                  <a:lnTo>
                    <a:pt x="22" y="196"/>
                  </a:lnTo>
                  <a:lnTo>
                    <a:pt x="23" y="194"/>
                  </a:lnTo>
                  <a:lnTo>
                    <a:pt x="24" y="194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2"/>
                  </a:lnTo>
                  <a:lnTo>
                    <a:pt x="26" y="191"/>
                  </a:lnTo>
                  <a:lnTo>
                    <a:pt x="26" y="190"/>
                  </a:lnTo>
                  <a:lnTo>
                    <a:pt x="27" y="189"/>
                  </a:lnTo>
                  <a:lnTo>
                    <a:pt x="27" y="188"/>
                  </a:lnTo>
                  <a:lnTo>
                    <a:pt x="27" y="187"/>
                  </a:lnTo>
                  <a:lnTo>
                    <a:pt x="27" y="185"/>
                  </a:lnTo>
                  <a:lnTo>
                    <a:pt x="26" y="182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0"/>
                  </a:lnTo>
                  <a:lnTo>
                    <a:pt x="27" y="169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6"/>
                  </a:lnTo>
                  <a:lnTo>
                    <a:pt x="27" y="162"/>
                  </a:lnTo>
                  <a:lnTo>
                    <a:pt x="27" y="161"/>
                  </a:lnTo>
                  <a:lnTo>
                    <a:pt x="27" y="160"/>
                  </a:lnTo>
                  <a:lnTo>
                    <a:pt x="27" y="159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30" y="150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4" y="143"/>
                  </a:lnTo>
                  <a:lnTo>
                    <a:pt x="36" y="135"/>
                  </a:lnTo>
                  <a:lnTo>
                    <a:pt x="38" y="132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40" y="125"/>
                  </a:lnTo>
                  <a:lnTo>
                    <a:pt x="40" y="123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4" y="114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9" y="108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5" y="105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3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1"/>
                  </a:lnTo>
                  <a:lnTo>
                    <a:pt x="69" y="100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6" y="99"/>
                  </a:lnTo>
                  <a:lnTo>
                    <a:pt x="79" y="102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1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3"/>
                  </a:lnTo>
                  <a:lnTo>
                    <a:pt x="85" y="103"/>
                  </a:lnTo>
                  <a:lnTo>
                    <a:pt x="85" y="102"/>
                  </a:lnTo>
                  <a:lnTo>
                    <a:pt x="86" y="102"/>
                  </a:lnTo>
                  <a:lnTo>
                    <a:pt x="86" y="101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6" y="97"/>
                  </a:lnTo>
                  <a:lnTo>
                    <a:pt x="85" y="94"/>
                  </a:lnTo>
                  <a:lnTo>
                    <a:pt x="85" y="92"/>
                  </a:lnTo>
                  <a:lnTo>
                    <a:pt x="84" y="91"/>
                  </a:lnTo>
                  <a:lnTo>
                    <a:pt x="84" y="89"/>
                  </a:lnTo>
                  <a:lnTo>
                    <a:pt x="84" y="88"/>
                  </a:lnTo>
                  <a:lnTo>
                    <a:pt x="84" y="87"/>
                  </a:lnTo>
                  <a:lnTo>
                    <a:pt x="85" y="83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5" y="78"/>
                  </a:lnTo>
                  <a:lnTo>
                    <a:pt x="84" y="77"/>
                  </a:lnTo>
                  <a:lnTo>
                    <a:pt x="84" y="75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79" y="68"/>
                  </a:lnTo>
                  <a:lnTo>
                    <a:pt x="78" y="67"/>
                  </a:lnTo>
                  <a:lnTo>
                    <a:pt x="77" y="66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68" y="62"/>
                  </a:lnTo>
                  <a:lnTo>
                    <a:pt x="67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1" y="54"/>
                  </a:lnTo>
                  <a:lnTo>
                    <a:pt x="59" y="49"/>
                  </a:lnTo>
                  <a:lnTo>
                    <a:pt x="57" y="44"/>
                  </a:lnTo>
                  <a:lnTo>
                    <a:pt x="56" y="42"/>
                  </a:lnTo>
                  <a:lnTo>
                    <a:pt x="55" y="40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3" y="32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8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4" y="6"/>
                  </a:lnTo>
                  <a:lnTo>
                    <a:pt x="45" y="5"/>
                  </a:lnTo>
                  <a:lnTo>
                    <a:pt x="46" y="4"/>
                  </a:lnTo>
                  <a:lnTo>
                    <a:pt x="47" y="3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9" y="5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0" y="12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6" y="14"/>
                  </a:lnTo>
                  <a:lnTo>
                    <a:pt x="92" y="16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8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3" y="22"/>
                  </a:lnTo>
                  <a:lnTo>
                    <a:pt x="113" y="23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5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8" y="31"/>
                  </a:lnTo>
                  <a:lnTo>
                    <a:pt x="140" y="35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3" y="40"/>
                  </a:lnTo>
                  <a:lnTo>
                    <a:pt x="144" y="41"/>
                  </a:lnTo>
                  <a:lnTo>
                    <a:pt x="145" y="43"/>
                  </a:lnTo>
                  <a:lnTo>
                    <a:pt x="146" y="44"/>
                  </a:lnTo>
                  <a:lnTo>
                    <a:pt x="147" y="45"/>
                  </a:lnTo>
                  <a:lnTo>
                    <a:pt x="148" y="46"/>
                  </a:lnTo>
                  <a:lnTo>
                    <a:pt x="149" y="47"/>
                  </a:lnTo>
                  <a:lnTo>
                    <a:pt x="151" y="49"/>
                  </a:lnTo>
                  <a:lnTo>
                    <a:pt x="153" y="50"/>
                  </a:lnTo>
                  <a:lnTo>
                    <a:pt x="154" y="51"/>
                  </a:lnTo>
                  <a:lnTo>
                    <a:pt x="155" y="52"/>
                  </a:lnTo>
                  <a:lnTo>
                    <a:pt x="156" y="52"/>
                  </a:lnTo>
                  <a:lnTo>
                    <a:pt x="158" y="53"/>
                  </a:lnTo>
                  <a:lnTo>
                    <a:pt x="160" y="54"/>
                  </a:lnTo>
                  <a:lnTo>
                    <a:pt x="161" y="54"/>
                  </a:lnTo>
                  <a:lnTo>
                    <a:pt x="162" y="55"/>
                  </a:lnTo>
                  <a:lnTo>
                    <a:pt x="163" y="55"/>
                  </a:lnTo>
                  <a:lnTo>
                    <a:pt x="164" y="55"/>
                  </a:lnTo>
                  <a:lnTo>
                    <a:pt x="165" y="55"/>
                  </a:lnTo>
                  <a:lnTo>
                    <a:pt x="166" y="56"/>
                  </a:lnTo>
                  <a:lnTo>
                    <a:pt x="167" y="56"/>
                  </a:lnTo>
                  <a:lnTo>
                    <a:pt x="169" y="56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Freeform 35">
              <a:extLst>
                <a:ext uri="{FF2B5EF4-FFF2-40B4-BE49-F238E27FC236}">
                  <a16:creationId xmlns:a16="http://schemas.microsoft.com/office/drawing/2014/main" id="{0F49A5AF-1099-8F89-CCF8-DEFA5AC8B8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5" y="3194"/>
              <a:ext cx="334" cy="487"/>
            </a:xfrm>
            <a:custGeom>
              <a:avLst/>
              <a:gdLst>
                <a:gd name="T0" fmla="*/ 152 w 334"/>
                <a:gd name="T1" fmla="*/ 7 h 487"/>
                <a:gd name="T2" fmla="*/ 155 w 334"/>
                <a:gd name="T3" fmla="*/ 25 h 487"/>
                <a:gd name="T4" fmla="*/ 171 w 334"/>
                <a:gd name="T5" fmla="*/ 23 h 487"/>
                <a:gd name="T6" fmla="*/ 175 w 334"/>
                <a:gd name="T7" fmla="*/ 47 h 487"/>
                <a:gd name="T8" fmla="*/ 162 w 334"/>
                <a:gd name="T9" fmla="*/ 51 h 487"/>
                <a:gd name="T10" fmla="*/ 140 w 334"/>
                <a:gd name="T11" fmla="*/ 69 h 487"/>
                <a:gd name="T12" fmla="*/ 123 w 334"/>
                <a:gd name="T13" fmla="*/ 96 h 487"/>
                <a:gd name="T14" fmla="*/ 118 w 334"/>
                <a:gd name="T15" fmla="*/ 127 h 487"/>
                <a:gd name="T16" fmla="*/ 102 w 334"/>
                <a:gd name="T17" fmla="*/ 158 h 487"/>
                <a:gd name="T18" fmla="*/ 112 w 334"/>
                <a:gd name="T19" fmla="*/ 174 h 487"/>
                <a:gd name="T20" fmla="*/ 104 w 334"/>
                <a:gd name="T21" fmla="*/ 193 h 487"/>
                <a:gd name="T22" fmla="*/ 102 w 334"/>
                <a:gd name="T23" fmla="*/ 212 h 487"/>
                <a:gd name="T24" fmla="*/ 119 w 334"/>
                <a:gd name="T25" fmla="*/ 219 h 487"/>
                <a:gd name="T26" fmla="*/ 120 w 334"/>
                <a:gd name="T27" fmla="*/ 232 h 487"/>
                <a:gd name="T28" fmla="*/ 138 w 334"/>
                <a:gd name="T29" fmla="*/ 226 h 487"/>
                <a:gd name="T30" fmla="*/ 161 w 334"/>
                <a:gd name="T31" fmla="*/ 215 h 487"/>
                <a:gd name="T32" fmla="*/ 164 w 334"/>
                <a:gd name="T33" fmla="*/ 234 h 487"/>
                <a:gd name="T34" fmla="*/ 173 w 334"/>
                <a:gd name="T35" fmla="*/ 239 h 487"/>
                <a:gd name="T36" fmla="*/ 184 w 334"/>
                <a:gd name="T37" fmla="*/ 228 h 487"/>
                <a:gd name="T38" fmla="*/ 192 w 334"/>
                <a:gd name="T39" fmla="*/ 222 h 487"/>
                <a:gd name="T40" fmla="*/ 195 w 334"/>
                <a:gd name="T41" fmla="*/ 210 h 487"/>
                <a:gd name="T42" fmla="*/ 204 w 334"/>
                <a:gd name="T43" fmla="*/ 234 h 487"/>
                <a:gd name="T44" fmla="*/ 214 w 334"/>
                <a:gd name="T45" fmla="*/ 252 h 487"/>
                <a:gd name="T46" fmla="*/ 238 w 334"/>
                <a:gd name="T47" fmla="*/ 263 h 487"/>
                <a:gd name="T48" fmla="*/ 260 w 334"/>
                <a:gd name="T49" fmla="*/ 258 h 487"/>
                <a:gd name="T50" fmla="*/ 262 w 334"/>
                <a:gd name="T51" fmla="*/ 280 h 487"/>
                <a:gd name="T52" fmla="*/ 269 w 334"/>
                <a:gd name="T53" fmla="*/ 298 h 487"/>
                <a:gd name="T54" fmla="*/ 280 w 334"/>
                <a:gd name="T55" fmla="*/ 298 h 487"/>
                <a:gd name="T56" fmla="*/ 302 w 334"/>
                <a:gd name="T57" fmla="*/ 320 h 487"/>
                <a:gd name="T58" fmla="*/ 315 w 334"/>
                <a:gd name="T59" fmla="*/ 345 h 487"/>
                <a:gd name="T60" fmla="*/ 323 w 334"/>
                <a:gd name="T61" fmla="*/ 347 h 487"/>
                <a:gd name="T62" fmla="*/ 334 w 334"/>
                <a:gd name="T63" fmla="*/ 358 h 487"/>
                <a:gd name="T64" fmla="*/ 325 w 334"/>
                <a:gd name="T65" fmla="*/ 369 h 487"/>
                <a:gd name="T66" fmla="*/ 309 w 334"/>
                <a:gd name="T67" fmla="*/ 373 h 487"/>
                <a:gd name="T68" fmla="*/ 298 w 334"/>
                <a:gd name="T69" fmla="*/ 392 h 487"/>
                <a:gd name="T70" fmla="*/ 280 w 334"/>
                <a:gd name="T71" fmla="*/ 406 h 487"/>
                <a:gd name="T72" fmla="*/ 264 w 334"/>
                <a:gd name="T73" fmla="*/ 398 h 487"/>
                <a:gd name="T74" fmla="*/ 253 w 334"/>
                <a:gd name="T75" fmla="*/ 402 h 487"/>
                <a:gd name="T76" fmla="*/ 254 w 334"/>
                <a:gd name="T77" fmla="*/ 415 h 487"/>
                <a:gd name="T78" fmla="*/ 244 w 334"/>
                <a:gd name="T79" fmla="*/ 425 h 487"/>
                <a:gd name="T80" fmla="*/ 224 w 334"/>
                <a:gd name="T81" fmla="*/ 424 h 487"/>
                <a:gd name="T82" fmla="*/ 212 w 334"/>
                <a:gd name="T83" fmla="*/ 436 h 487"/>
                <a:gd name="T84" fmla="*/ 196 w 334"/>
                <a:gd name="T85" fmla="*/ 438 h 487"/>
                <a:gd name="T86" fmla="*/ 175 w 334"/>
                <a:gd name="T87" fmla="*/ 433 h 487"/>
                <a:gd name="T88" fmla="*/ 168 w 334"/>
                <a:gd name="T89" fmla="*/ 424 h 487"/>
                <a:gd name="T90" fmla="*/ 165 w 334"/>
                <a:gd name="T91" fmla="*/ 445 h 487"/>
                <a:gd name="T92" fmla="*/ 157 w 334"/>
                <a:gd name="T93" fmla="*/ 462 h 487"/>
                <a:gd name="T94" fmla="*/ 134 w 334"/>
                <a:gd name="T95" fmla="*/ 476 h 487"/>
                <a:gd name="T96" fmla="*/ 113 w 334"/>
                <a:gd name="T97" fmla="*/ 487 h 487"/>
                <a:gd name="T98" fmla="*/ 102 w 334"/>
                <a:gd name="T99" fmla="*/ 465 h 487"/>
                <a:gd name="T100" fmla="*/ 76 w 334"/>
                <a:gd name="T101" fmla="*/ 451 h 487"/>
                <a:gd name="T102" fmla="*/ 76 w 334"/>
                <a:gd name="T103" fmla="*/ 431 h 487"/>
                <a:gd name="T104" fmla="*/ 70 w 334"/>
                <a:gd name="T105" fmla="*/ 433 h 487"/>
                <a:gd name="T106" fmla="*/ 58 w 334"/>
                <a:gd name="T107" fmla="*/ 418 h 487"/>
                <a:gd name="T108" fmla="*/ 47 w 334"/>
                <a:gd name="T109" fmla="*/ 396 h 487"/>
                <a:gd name="T110" fmla="*/ 28 w 334"/>
                <a:gd name="T111" fmla="*/ 387 h 487"/>
                <a:gd name="T112" fmla="*/ 21 w 334"/>
                <a:gd name="T113" fmla="*/ 399 h 487"/>
                <a:gd name="T114" fmla="*/ 32 w 334"/>
                <a:gd name="T115" fmla="*/ 417 h 487"/>
                <a:gd name="T116" fmla="*/ 18 w 334"/>
                <a:gd name="T117" fmla="*/ 437 h 487"/>
                <a:gd name="T118" fmla="*/ 0 w 334"/>
                <a:gd name="T119" fmla="*/ 424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4" h="487">
                  <a:moveTo>
                    <a:pt x="138" y="2"/>
                  </a:moveTo>
                  <a:lnTo>
                    <a:pt x="139" y="1"/>
                  </a:lnTo>
                  <a:lnTo>
                    <a:pt x="140" y="1"/>
                  </a:lnTo>
                  <a:lnTo>
                    <a:pt x="141" y="1"/>
                  </a:lnTo>
                  <a:lnTo>
                    <a:pt x="145" y="0"/>
                  </a:lnTo>
                  <a:lnTo>
                    <a:pt x="146" y="0"/>
                  </a:lnTo>
                  <a:lnTo>
                    <a:pt x="147" y="0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9" y="1"/>
                  </a:lnTo>
                  <a:lnTo>
                    <a:pt x="150" y="1"/>
                  </a:lnTo>
                  <a:lnTo>
                    <a:pt x="150" y="2"/>
                  </a:lnTo>
                  <a:lnTo>
                    <a:pt x="151" y="4"/>
                  </a:lnTo>
                  <a:lnTo>
                    <a:pt x="152" y="7"/>
                  </a:lnTo>
                  <a:lnTo>
                    <a:pt x="152" y="8"/>
                  </a:lnTo>
                  <a:lnTo>
                    <a:pt x="152" y="8"/>
                  </a:lnTo>
                  <a:lnTo>
                    <a:pt x="152" y="9"/>
                  </a:lnTo>
                  <a:lnTo>
                    <a:pt x="152" y="10"/>
                  </a:lnTo>
                  <a:lnTo>
                    <a:pt x="151" y="18"/>
                  </a:lnTo>
                  <a:lnTo>
                    <a:pt x="151" y="19"/>
                  </a:lnTo>
                  <a:lnTo>
                    <a:pt x="152" y="20"/>
                  </a:lnTo>
                  <a:lnTo>
                    <a:pt x="152" y="22"/>
                  </a:lnTo>
                  <a:lnTo>
                    <a:pt x="152" y="23"/>
                  </a:lnTo>
                  <a:lnTo>
                    <a:pt x="153" y="23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5"/>
                  </a:lnTo>
                  <a:lnTo>
                    <a:pt x="155" y="25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8" y="23"/>
                  </a:lnTo>
                  <a:lnTo>
                    <a:pt x="159" y="22"/>
                  </a:lnTo>
                  <a:lnTo>
                    <a:pt x="159" y="22"/>
                  </a:lnTo>
                  <a:lnTo>
                    <a:pt x="160" y="21"/>
                  </a:lnTo>
                  <a:lnTo>
                    <a:pt x="161" y="21"/>
                  </a:lnTo>
                  <a:lnTo>
                    <a:pt x="161" y="21"/>
                  </a:lnTo>
                  <a:lnTo>
                    <a:pt x="163" y="21"/>
                  </a:lnTo>
                  <a:lnTo>
                    <a:pt x="163" y="20"/>
                  </a:lnTo>
                  <a:lnTo>
                    <a:pt x="164" y="20"/>
                  </a:lnTo>
                  <a:lnTo>
                    <a:pt x="166" y="21"/>
                  </a:lnTo>
                  <a:lnTo>
                    <a:pt x="167" y="21"/>
                  </a:lnTo>
                  <a:lnTo>
                    <a:pt x="168" y="21"/>
                  </a:lnTo>
                  <a:lnTo>
                    <a:pt x="169" y="22"/>
                  </a:lnTo>
                  <a:lnTo>
                    <a:pt x="170" y="22"/>
                  </a:lnTo>
                  <a:lnTo>
                    <a:pt x="171" y="23"/>
                  </a:lnTo>
                  <a:lnTo>
                    <a:pt x="172" y="23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4" y="25"/>
                  </a:lnTo>
                  <a:lnTo>
                    <a:pt x="175" y="26"/>
                  </a:lnTo>
                  <a:lnTo>
                    <a:pt x="175" y="27"/>
                  </a:lnTo>
                  <a:lnTo>
                    <a:pt x="176" y="28"/>
                  </a:lnTo>
                  <a:lnTo>
                    <a:pt x="176" y="28"/>
                  </a:lnTo>
                  <a:lnTo>
                    <a:pt x="177" y="29"/>
                  </a:lnTo>
                  <a:lnTo>
                    <a:pt x="177" y="30"/>
                  </a:lnTo>
                  <a:lnTo>
                    <a:pt x="177" y="31"/>
                  </a:lnTo>
                  <a:lnTo>
                    <a:pt x="177" y="31"/>
                  </a:lnTo>
                  <a:lnTo>
                    <a:pt x="177" y="40"/>
                  </a:lnTo>
                  <a:lnTo>
                    <a:pt x="176" y="43"/>
                  </a:lnTo>
                  <a:lnTo>
                    <a:pt x="176" y="44"/>
                  </a:lnTo>
                  <a:lnTo>
                    <a:pt x="176" y="46"/>
                  </a:lnTo>
                  <a:lnTo>
                    <a:pt x="175" y="47"/>
                  </a:lnTo>
                  <a:lnTo>
                    <a:pt x="175" y="48"/>
                  </a:lnTo>
                  <a:lnTo>
                    <a:pt x="175" y="49"/>
                  </a:lnTo>
                  <a:lnTo>
                    <a:pt x="174" y="50"/>
                  </a:lnTo>
                  <a:lnTo>
                    <a:pt x="174" y="50"/>
                  </a:lnTo>
                  <a:lnTo>
                    <a:pt x="173" y="50"/>
                  </a:lnTo>
                  <a:lnTo>
                    <a:pt x="173" y="51"/>
                  </a:lnTo>
                  <a:lnTo>
                    <a:pt x="172" y="51"/>
                  </a:lnTo>
                  <a:lnTo>
                    <a:pt x="171" y="51"/>
                  </a:lnTo>
                  <a:lnTo>
                    <a:pt x="170" y="51"/>
                  </a:lnTo>
                  <a:lnTo>
                    <a:pt x="170" y="51"/>
                  </a:lnTo>
                  <a:lnTo>
                    <a:pt x="168" y="51"/>
                  </a:lnTo>
                  <a:lnTo>
                    <a:pt x="167" y="51"/>
                  </a:lnTo>
                  <a:lnTo>
                    <a:pt x="166" y="50"/>
                  </a:lnTo>
                  <a:lnTo>
                    <a:pt x="164" y="50"/>
                  </a:lnTo>
                  <a:lnTo>
                    <a:pt x="163" y="50"/>
                  </a:lnTo>
                  <a:lnTo>
                    <a:pt x="163" y="50"/>
                  </a:lnTo>
                  <a:lnTo>
                    <a:pt x="162" y="51"/>
                  </a:lnTo>
                  <a:lnTo>
                    <a:pt x="162" y="51"/>
                  </a:lnTo>
                  <a:lnTo>
                    <a:pt x="160" y="52"/>
                  </a:lnTo>
                  <a:lnTo>
                    <a:pt x="159" y="53"/>
                  </a:lnTo>
                  <a:lnTo>
                    <a:pt x="158" y="55"/>
                  </a:lnTo>
                  <a:lnTo>
                    <a:pt x="154" y="59"/>
                  </a:lnTo>
                  <a:lnTo>
                    <a:pt x="153" y="60"/>
                  </a:lnTo>
                  <a:lnTo>
                    <a:pt x="152" y="61"/>
                  </a:lnTo>
                  <a:lnTo>
                    <a:pt x="151" y="61"/>
                  </a:lnTo>
                  <a:lnTo>
                    <a:pt x="150" y="62"/>
                  </a:lnTo>
                  <a:lnTo>
                    <a:pt x="149" y="62"/>
                  </a:lnTo>
                  <a:lnTo>
                    <a:pt x="147" y="63"/>
                  </a:lnTo>
                  <a:lnTo>
                    <a:pt x="146" y="64"/>
                  </a:lnTo>
                  <a:lnTo>
                    <a:pt x="145" y="64"/>
                  </a:lnTo>
                  <a:lnTo>
                    <a:pt x="144" y="65"/>
                  </a:lnTo>
                  <a:lnTo>
                    <a:pt x="143" y="66"/>
                  </a:lnTo>
                  <a:lnTo>
                    <a:pt x="142" y="66"/>
                  </a:lnTo>
                  <a:lnTo>
                    <a:pt x="140" y="69"/>
                  </a:lnTo>
                  <a:lnTo>
                    <a:pt x="139" y="69"/>
                  </a:lnTo>
                  <a:lnTo>
                    <a:pt x="138" y="70"/>
                  </a:lnTo>
                  <a:lnTo>
                    <a:pt x="136" y="72"/>
                  </a:lnTo>
                  <a:lnTo>
                    <a:pt x="135" y="72"/>
                  </a:lnTo>
                  <a:lnTo>
                    <a:pt x="134" y="74"/>
                  </a:lnTo>
                  <a:lnTo>
                    <a:pt x="132" y="76"/>
                  </a:lnTo>
                  <a:lnTo>
                    <a:pt x="127" y="82"/>
                  </a:lnTo>
                  <a:lnTo>
                    <a:pt x="125" y="84"/>
                  </a:lnTo>
                  <a:lnTo>
                    <a:pt x="125" y="85"/>
                  </a:lnTo>
                  <a:lnTo>
                    <a:pt x="124" y="86"/>
                  </a:lnTo>
                  <a:lnTo>
                    <a:pt x="124" y="87"/>
                  </a:lnTo>
                  <a:lnTo>
                    <a:pt x="124" y="88"/>
                  </a:lnTo>
                  <a:lnTo>
                    <a:pt x="124" y="91"/>
                  </a:lnTo>
                  <a:lnTo>
                    <a:pt x="123" y="93"/>
                  </a:lnTo>
                  <a:lnTo>
                    <a:pt x="123" y="94"/>
                  </a:lnTo>
                  <a:lnTo>
                    <a:pt x="123" y="95"/>
                  </a:lnTo>
                  <a:lnTo>
                    <a:pt x="123" y="96"/>
                  </a:lnTo>
                  <a:lnTo>
                    <a:pt x="122" y="97"/>
                  </a:lnTo>
                  <a:lnTo>
                    <a:pt x="121" y="101"/>
                  </a:lnTo>
                  <a:lnTo>
                    <a:pt x="120" y="102"/>
                  </a:lnTo>
                  <a:lnTo>
                    <a:pt x="120" y="103"/>
                  </a:lnTo>
                  <a:lnTo>
                    <a:pt x="119" y="104"/>
                  </a:lnTo>
                  <a:lnTo>
                    <a:pt x="119" y="106"/>
                  </a:lnTo>
                  <a:lnTo>
                    <a:pt x="119" y="107"/>
                  </a:lnTo>
                  <a:lnTo>
                    <a:pt x="120" y="112"/>
                  </a:lnTo>
                  <a:lnTo>
                    <a:pt x="120" y="116"/>
                  </a:lnTo>
                  <a:lnTo>
                    <a:pt x="120" y="118"/>
                  </a:lnTo>
                  <a:lnTo>
                    <a:pt x="120" y="120"/>
                  </a:lnTo>
                  <a:lnTo>
                    <a:pt x="120" y="121"/>
                  </a:lnTo>
                  <a:lnTo>
                    <a:pt x="119" y="122"/>
                  </a:lnTo>
                  <a:lnTo>
                    <a:pt x="119" y="124"/>
                  </a:lnTo>
                  <a:lnTo>
                    <a:pt x="119" y="125"/>
                  </a:lnTo>
                  <a:lnTo>
                    <a:pt x="118" y="126"/>
                  </a:lnTo>
                  <a:lnTo>
                    <a:pt x="118" y="127"/>
                  </a:lnTo>
                  <a:lnTo>
                    <a:pt x="117" y="128"/>
                  </a:lnTo>
                  <a:lnTo>
                    <a:pt x="116" y="130"/>
                  </a:lnTo>
                  <a:lnTo>
                    <a:pt x="115" y="130"/>
                  </a:lnTo>
                  <a:lnTo>
                    <a:pt x="110" y="137"/>
                  </a:lnTo>
                  <a:lnTo>
                    <a:pt x="109" y="138"/>
                  </a:lnTo>
                  <a:lnTo>
                    <a:pt x="108" y="140"/>
                  </a:lnTo>
                  <a:lnTo>
                    <a:pt x="107" y="141"/>
                  </a:lnTo>
                  <a:lnTo>
                    <a:pt x="106" y="143"/>
                  </a:lnTo>
                  <a:lnTo>
                    <a:pt x="105" y="145"/>
                  </a:lnTo>
                  <a:lnTo>
                    <a:pt x="104" y="146"/>
                  </a:lnTo>
                  <a:lnTo>
                    <a:pt x="104" y="147"/>
                  </a:lnTo>
                  <a:lnTo>
                    <a:pt x="104" y="148"/>
                  </a:lnTo>
                  <a:lnTo>
                    <a:pt x="104" y="149"/>
                  </a:lnTo>
                  <a:lnTo>
                    <a:pt x="103" y="150"/>
                  </a:lnTo>
                  <a:lnTo>
                    <a:pt x="103" y="154"/>
                  </a:lnTo>
                  <a:lnTo>
                    <a:pt x="102" y="158"/>
                  </a:lnTo>
                  <a:lnTo>
                    <a:pt x="102" y="158"/>
                  </a:lnTo>
                  <a:lnTo>
                    <a:pt x="102" y="159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5" y="164"/>
                  </a:lnTo>
                  <a:lnTo>
                    <a:pt x="109" y="168"/>
                  </a:lnTo>
                  <a:lnTo>
                    <a:pt x="110" y="169"/>
                  </a:lnTo>
                  <a:lnTo>
                    <a:pt x="110" y="170"/>
                  </a:lnTo>
                  <a:lnTo>
                    <a:pt x="111" y="170"/>
                  </a:lnTo>
                  <a:lnTo>
                    <a:pt x="111" y="171"/>
                  </a:lnTo>
                  <a:lnTo>
                    <a:pt x="111" y="172"/>
                  </a:lnTo>
                  <a:lnTo>
                    <a:pt x="112" y="172"/>
                  </a:lnTo>
                  <a:lnTo>
                    <a:pt x="112" y="173"/>
                  </a:lnTo>
                  <a:lnTo>
                    <a:pt x="112" y="174"/>
                  </a:lnTo>
                  <a:lnTo>
                    <a:pt x="112" y="174"/>
                  </a:lnTo>
                  <a:lnTo>
                    <a:pt x="112" y="175"/>
                  </a:lnTo>
                  <a:lnTo>
                    <a:pt x="112" y="176"/>
                  </a:lnTo>
                  <a:lnTo>
                    <a:pt x="112" y="177"/>
                  </a:lnTo>
                  <a:lnTo>
                    <a:pt x="111" y="178"/>
                  </a:lnTo>
                  <a:lnTo>
                    <a:pt x="110" y="179"/>
                  </a:lnTo>
                  <a:lnTo>
                    <a:pt x="110" y="180"/>
                  </a:lnTo>
                  <a:lnTo>
                    <a:pt x="109" y="181"/>
                  </a:lnTo>
                  <a:lnTo>
                    <a:pt x="107" y="184"/>
                  </a:lnTo>
                  <a:lnTo>
                    <a:pt x="106" y="186"/>
                  </a:lnTo>
                  <a:lnTo>
                    <a:pt x="105" y="188"/>
                  </a:lnTo>
                  <a:lnTo>
                    <a:pt x="104" y="188"/>
                  </a:lnTo>
                  <a:lnTo>
                    <a:pt x="104" y="189"/>
                  </a:lnTo>
                  <a:lnTo>
                    <a:pt x="104" y="189"/>
                  </a:lnTo>
                  <a:lnTo>
                    <a:pt x="104" y="190"/>
                  </a:lnTo>
                  <a:lnTo>
                    <a:pt x="104" y="191"/>
                  </a:lnTo>
                  <a:lnTo>
                    <a:pt x="104" y="193"/>
                  </a:lnTo>
                  <a:lnTo>
                    <a:pt x="104" y="194"/>
                  </a:lnTo>
                  <a:lnTo>
                    <a:pt x="104" y="195"/>
                  </a:lnTo>
                  <a:lnTo>
                    <a:pt x="103" y="196"/>
                  </a:lnTo>
                  <a:lnTo>
                    <a:pt x="103" y="197"/>
                  </a:lnTo>
                  <a:lnTo>
                    <a:pt x="102" y="199"/>
                  </a:lnTo>
                  <a:lnTo>
                    <a:pt x="101" y="202"/>
                  </a:lnTo>
                  <a:lnTo>
                    <a:pt x="100" y="203"/>
                  </a:lnTo>
                  <a:lnTo>
                    <a:pt x="100" y="204"/>
                  </a:lnTo>
                  <a:lnTo>
                    <a:pt x="100" y="205"/>
                  </a:lnTo>
                  <a:lnTo>
                    <a:pt x="100" y="206"/>
                  </a:lnTo>
                  <a:lnTo>
                    <a:pt x="100" y="207"/>
                  </a:lnTo>
                  <a:lnTo>
                    <a:pt x="100" y="207"/>
                  </a:lnTo>
                  <a:lnTo>
                    <a:pt x="100" y="208"/>
                  </a:lnTo>
                  <a:lnTo>
                    <a:pt x="100" y="208"/>
                  </a:lnTo>
                  <a:lnTo>
                    <a:pt x="100" y="209"/>
                  </a:lnTo>
                  <a:lnTo>
                    <a:pt x="101" y="211"/>
                  </a:lnTo>
                  <a:lnTo>
                    <a:pt x="102" y="212"/>
                  </a:lnTo>
                  <a:lnTo>
                    <a:pt x="103" y="213"/>
                  </a:lnTo>
                  <a:lnTo>
                    <a:pt x="103" y="213"/>
                  </a:lnTo>
                  <a:lnTo>
                    <a:pt x="105" y="215"/>
                  </a:lnTo>
                  <a:lnTo>
                    <a:pt x="106" y="218"/>
                  </a:lnTo>
                  <a:lnTo>
                    <a:pt x="107" y="218"/>
                  </a:lnTo>
                  <a:lnTo>
                    <a:pt x="108" y="219"/>
                  </a:lnTo>
                  <a:lnTo>
                    <a:pt x="109" y="220"/>
                  </a:lnTo>
                  <a:lnTo>
                    <a:pt x="109" y="220"/>
                  </a:lnTo>
                  <a:lnTo>
                    <a:pt x="110" y="220"/>
                  </a:lnTo>
                  <a:lnTo>
                    <a:pt x="110" y="221"/>
                  </a:lnTo>
                  <a:lnTo>
                    <a:pt x="111" y="221"/>
                  </a:lnTo>
                  <a:lnTo>
                    <a:pt x="112" y="221"/>
                  </a:lnTo>
                  <a:lnTo>
                    <a:pt x="113" y="220"/>
                  </a:lnTo>
                  <a:lnTo>
                    <a:pt x="115" y="220"/>
                  </a:lnTo>
                  <a:lnTo>
                    <a:pt x="116" y="220"/>
                  </a:lnTo>
                  <a:lnTo>
                    <a:pt x="117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20" y="219"/>
                  </a:lnTo>
                  <a:lnTo>
                    <a:pt x="120" y="220"/>
                  </a:lnTo>
                  <a:lnTo>
                    <a:pt x="120" y="220"/>
                  </a:lnTo>
                  <a:lnTo>
                    <a:pt x="120" y="221"/>
                  </a:lnTo>
                  <a:lnTo>
                    <a:pt x="120" y="222"/>
                  </a:lnTo>
                  <a:lnTo>
                    <a:pt x="120" y="224"/>
                  </a:lnTo>
                  <a:lnTo>
                    <a:pt x="119" y="227"/>
                  </a:lnTo>
                  <a:lnTo>
                    <a:pt x="119" y="228"/>
                  </a:lnTo>
                  <a:lnTo>
                    <a:pt x="119" y="229"/>
                  </a:lnTo>
                  <a:lnTo>
                    <a:pt x="119" y="230"/>
                  </a:lnTo>
                  <a:lnTo>
                    <a:pt x="120" y="231"/>
                  </a:lnTo>
                  <a:lnTo>
                    <a:pt x="120" y="231"/>
                  </a:lnTo>
                  <a:lnTo>
                    <a:pt x="120" y="232"/>
                  </a:lnTo>
                  <a:lnTo>
                    <a:pt x="120" y="232"/>
                  </a:lnTo>
                  <a:lnTo>
                    <a:pt x="121" y="232"/>
                  </a:lnTo>
                  <a:lnTo>
                    <a:pt x="121" y="233"/>
                  </a:lnTo>
                  <a:lnTo>
                    <a:pt x="122" y="233"/>
                  </a:lnTo>
                  <a:lnTo>
                    <a:pt x="122" y="233"/>
                  </a:lnTo>
                  <a:lnTo>
                    <a:pt x="123" y="233"/>
                  </a:lnTo>
                  <a:lnTo>
                    <a:pt x="127" y="233"/>
                  </a:lnTo>
                  <a:lnTo>
                    <a:pt x="130" y="233"/>
                  </a:lnTo>
                  <a:lnTo>
                    <a:pt x="131" y="233"/>
                  </a:lnTo>
                  <a:lnTo>
                    <a:pt x="132" y="232"/>
                  </a:lnTo>
                  <a:lnTo>
                    <a:pt x="132" y="232"/>
                  </a:lnTo>
                  <a:lnTo>
                    <a:pt x="133" y="232"/>
                  </a:lnTo>
                  <a:lnTo>
                    <a:pt x="133" y="231"/>
                  </a:lnTo>
                  <a:lnTo>
                    <a:pt x="134" y="230"/>
                  </a:lnTo>
                  <a:lnTo>
                    <a:pt x="135" y="229"/>
                  </a:lnTo>
                  <a:lnTo>
                    <a:pt x="136" y="228"/>
                  </a:lnTo>
                  <a:lnTo>
                    <a:pt x="137" y="227"/>
                  </a:lnTo>
                  <a:lnTo>
                    <a:pt x="138" y="226"/>
                  </a:lnTo>
                  <a:lnTo>
                    <a:pt x="141" y="224"/>
                  </a:lnTo>
                  <a:lnTo>
                    <a:pt x="144" y="221"/>
                  </a:lnTo>
                  <a:lnTo>
                    <a:pt x="145" y="220"/>
                  </a:lnTo>
                  <a:lnTo>
                    <a:pt x="147" y="219"/>
                  </a:lnTo>
                  <a:lnTo>
                    <a:pt x="148" y="218"/>
                  </a:lnTo>
                  <a:lnTo>
                    <a:pt x="149" y="218"/>
                  </a:lnTo>
                  <a:lnTo>
                    <a:pt x="150" y="218"/>
                  </a:lnTo>
                  <a:lnTo>
                    <a:pt x="151" y="217"/>
                  </a:lnTo>
                  <a:lnTo>
                    <a:pt x="153" y="216"/>
                  </a:lnTo>
                  <a:lnTo>
                    <a:pt x="154" y="216"/>
                  </a:lnTo>
                  <a:lnTo>
                    <a:pt x="154" y="216"/>
                  </a:lnTo>
                  <a:lnTo>
                    <a:pt x="156" y="215"/>
                  </a:lnTo>
                  <a:lnTo>
                    <a:pt x="158" y="215"/>
                  </a:lnTo>
                  <a:lnTo>
                    <a:pt x="159" y="215"/>
                  </a:lnTo>
                  <a:lnTo>
                    <a:pt x="160" y="215"/>
                  </a:lnTo>
                  <a:lnTo>
                    <a:pt x="161" y="215"/>
                  </a:lnTo>
                  <a:lnTo>
                    <a:pt x="161" y="215"/>
                  </a:lnTo>
                  <a:lnTo>
                    <a:pt x="162" y="216"/>
                  </a:lnTo>
                  <a:lnTo>
                    <a:pt x="163" y="216"/>
                  </a:lnTo>
                  <a:lnTo>
                    <a:pt x="163" y="217"/>
                  </a:lnTo>
                  <a:lnTo>
                    <a:pt x="164" y="217"/>
                  </a:lnTo>
                  <a:lnTo>
                    <a:pt x="165" y="218"/>
                  </a:lnTo>
                  <a:lnTo>
                    <a:pt x="165" y="218"/>
                  </a:lnTo>
                  <a:lnTo>
                    <a:pt x="166" y="219"/>
                  </a:lnTo>
                  <a:lnTo>
                    <a:pt x="166" y="220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2"/>
                  </a:lnTo>
                  <a:lnTo>
                    <a:pt x="166" y="224"/>
                  </a:lnTo>
                  <a:lnTo>
                    <a:pt x="165" y="226"/>
                  </a:lnTo>
                  <a:lnTo>
                    <a:pt x="164" y="230"/>
                  </a:lnTo>
                  <a:lnTo>
                    <a:pt x="164" y="233"/>
                  </a:lnTo>
                  <a:lnTo>
                    <a:pt x="164" y="233"/>
                  </a:lnTo>
                  <a:lnTo>
                    <a:pt x="164" y="234"/>
                  </a:lnTo>
                  <a:lnTo>
                    <a:pt x="164" y="235"/>
                  </a:lnTo>
                  <a:lnTo>
                    <a:pt x="164" y="236"/>
                  </a:lnTo>
                  <a:lnTo>
                    <a:pt x="165" y="237"/>
                  </a:lnTo>
                  <a:lnTo>
                    <a:pt x="165" y="239"/>
                  </a:lnTo>
                  <a:lnTo>
                    <a:pt x="166" y="240"/>
                  </a:lnTo>
                  <a:lnTo>
                    <a:pt x="167" y="241"/>
                  </a:lnTo>
                  <a:lnTo>
                    <a:pt x="168" y="242"/>
                  </a:lnTo>
                  <a:lnTo>
                    <a:pt x="168" y="242"/>
                  </a:lnTo>
                  <a:lnTo>
                    <a:pt x="169" y="242"/>
                  </a:lnTo>
                  <a:lnTo>
                    <a:pt x="169" y="242"/>
                  </a:lnTo>
                  <a:lnTo>
                    <a:pt x="170" y="242"/>
                  </a:lnTo>
                  <a:lnTo>
                    <a:pt x="170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72" y="241"/>
                  </a:lnTo>
                  <a:lnTo>
                    <a:pt x="173" y="239"/>
                  </a:lnTo>
                  <a:lnTo>
                    <a:pt x="174" y="238"/>
                  </a:lnTo>
                  <a:lnTo>
                    <a:pt x="174" y="238"/>
                  </a:lnTo>
                  <a:lnTo>
                    <a:pt x="176" y="236"/>
                  </a:lnTo>
                  <a:lnTo>
                    <a:pt x="177" y="235"/>
                  </a:lnTo>
                  <a:lnTo>
                    <a:pt x="177" y="234"/>
                  </a:lnTo>
                  <a:lnTo>
                    <a:pt x="177" y="234"/>
                  </a:lnTo>
                  <a:lnTo>
                    <a:pt x="178" y="233"/>
                  </a:lnTo>
                  <a:lnTo>
                    <a:pt x="178" y="232"/>
                  </a:lnTo>
                  <a:lnTo>
                    <a:pt x="179" y="231"/>
                  </a:lnTo>
                  <a:lnTo>
                    <a:pt x="179" y="231"/>
                  </a:lnTo>
                  <a:lnTo>
                    <a:pt x="180" y="230"/>
                  </a:lnTo>
                  <a:lnTo>
                    <a:pt x="180" y="230"/>
                  </a:lnTo>
                  <a:lnTo>
                    <a:pt x="182" y="229"/>
                  </a:lnTo>
                  <a:lnTo>
                    <a:pt x="182" y="229"/>
                  </a:lnTo>
                  <a:lnTo>
                    <a:pt x="183" y="228"/>
                  </a:lnTo>
                  <a:lnTo>
                    <a:pt x="184" y="228"/>
                  </a:lnTo>
                  <a:lnTo>
                    <a:pt x="184" y="228"/>
                  </a:lnTo>
                  <a:lnTo>
                    <a:pt x="184" y="228"/>
                  </a:lnTo>
                  <a:lnTo>
                    <a:pt x="185" y="228"/>
                  </a:lnTo>
                  <a:lnTo>
                    <a:pt x="185" y="228"/>
                  </a:lnTo>
                  <a:lnTo>
                    <a:pt x="186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8" y="228"/>
                  </a:lnTo>
                  <a:lnTo>
                    <a:pt x="189" y="228"/>
                  </a:lnTo>
                  <a:lnTo>
                    <a:pt x="189" y="227"/>
                  </a:lnTo>
                  <a:lnTo>
                    <a:pt x="190" y="226"/>
                  </a:lnTo>
                  <a:lnTo>
                    <a:pt x="191" y="225"/>
                  </a:lnTo>
                  <a:lnTo>
                    <a:pt x="191" y="225"/>
                  </a:lnTo>
                  <a:lnTo>
                    <a:pt x="191" y="224"/>
                  </a:lnTo>
                  <a:lnTo>
                    <a:pt x="192" y="224"/>
                  </a:lnTo>
                  <a:lnTo>
                    <a:pt x="192" y="223"/>
                  </a:lnTo>
                  <a:lnTo>
                    <a:pt x="192" y="222"/>
                  </a:lnTo>
                  <a:lnTo>
                    <a:pt x="192" y="221"/>
                  </a:lnTo>
                  <a:lnTo>
                    <a:pt x="191" y="220"/>
                  </a:lnTo>
                  <a:lnTo>
                    <a:pt x="190" y="213"/>
                  </a:lnTo>
                  <a:lnTo>
                    <a:pt x="189" y="212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90" y="210"/>
                  </a:lnTo>
                  <a:lnTo>
                    <a:pt x="190" y="209"/>
                  </a:lnTo>
                  <a:lnTo>
                    <a:pt x="191" y="209"/>
                  </a:lnTo>
                  <a:lnTo>
                    <a:pt x="191" y="209"/>
                  </a:lnTo>
                  <a:lnTo>
                    <a:pt x="192" y="209"/>
                  </a:lnTo>
                  <a:lnTo>
                    <a:pt x="193" y="209"/>
                  </a:lnTo>
                  <a:lnTo>
                    <a:pt x="194" y="209"/>
                  </a:lnTo>
                  <a:lnTo>
                    <a:pt x="194" y="209"/>
                  </a:lnTo>
                  <a:lnTo>
                    <a:pt x="195" y="210"/>
                  </a:lnTo>
                  <a:lnTo>
                    <a:pt x="195" y="210"/>
                  </a:lnTo>
                  <a:lnTo>
                    <a:pt x="195" y="210"/>
                  </a:lnTo>
                  <a:lnTo>
                    <a:pt x="196" y="211"/>
                  </a:lnTo>
                  <a:lnTo>
                    <a:pt x="197" y="214"/>
                  </a:lnTo>
                  <a:lnTo>
                    <a:pt x="198" y="216"/>
                  </a:lnTo>
                  <a:lnTo>
                    <a:pt x="199" y="218"/>
                  </a:lnTo>
                  <a:lnTo>
                    <a:pt x="199" y="219"/>
                  </a:lnTo>
                  <a:lnTo>
                    <a:pt x="200" y="220"/>
                  </a:lnTo>
                  <a:lnTo>
                    <a:pt x="200" y="222"/>
                  </a:lnTo>
                  <a:lnTo>
                    <a:pt x="200" y="224"/>
                  </a:lnTo>
                  <a:lnTo>
                    <a:pt x="200" y="224"/>
                  </a:lnTo>
                  <a:lnTo>
                    <a:pt x="200" y="226"/>
                  </a:lnTo>
                  <a:lnTo>
                    <a:pt x="200" y="227"/>
                  </a:lnTo>
                  <a:lnTo>
                    <a:pt x="201" y="229"/>
                  </a:lnTo>
                  <a:lnTo>
                    <a:pt x="201" y="230"/>
                  </a:lnTo>
                  <a:lnTo>
                    <a:pt x="203" y="232"/>
                  </a:lnTo>
                  <a:lnTo>
                    <a:pt x="203" y="233"/>
                  </a:lnTo>
                  <a:lnTo>
                    <a:pt x="204" y="234"/>
                  </a:lnTo>
                  <a:lnTo>
                    <a:pt x="204" y="234"/>
                  </a:lnTo>
                  <a:lnTo>
                    <a:pt x="204" y="235"/>
                  </a:lnTo>
                  <a:lnTo>
                    <a:pt x="205" y="236"/>
                  </a:lnTo>
                  <a:lnTo>
                    <a:pt x="205" y="236"/>
                  </a:lnTo>
                  <a:lnTo>
                    <a:pt x="205" y="238"/>
                  </a:lnTo>
                  <a:lnTo>
                    <a:pt x="205" y="239"/>
                  </a:lnTo>
                  <a:lnTo>
                    <a:pt x="205" y="240"/>
                  </a:lnTo>
                  <a:lnTo>
                    <a:pt x="206" y="241"/>
                  </a:lnTo>
                  <a:lnTo>
                    <a:pt x="206" y="242"/>
                  </a:lnTo>
                  <a:lnTo>
                    <a:pt x="206" y="242"/>
                  </a:lnTo>
                  <a:lnTo>
                    <a:pt x="209" y="245"/>
                  </a:lnTo>
                  <a:lnTo>
                    <a:pt x="210" y="246"/>
                  </a:lnTo>
                  <a:lnTo>
                    <a:pt x="211" y="247"/>
                  </a:lnTo>
                  <a:lnTo>
                    <a:pt x="212" y="249"/>
                  </a:lnTo>
                  <a:lnTo>
                    <a:pt x="212" y="250"/>
                  </a:lnTo>
                  <a:lnTo>
                    <a:pt x="213" y="251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5" y="253"/>
                  </a:lnTo>
                  <a:lnTo>
                    <a:pt x="216" y="253"/>
                  </a:lnTo>
                  <a:lnTo>
                    <a:pt x="218" y="254"/>
                  </a:lnTo>
                  <a:lnTo>
                    <a:pt x="219" y="255"/>
                  </a:lnTo>
                  <a:lnTo>
                    <a:pt x="220" y="255"/>
                  </a:lnTo>
                  <a:lnTo>
                    <a:pt x="221" y="256"/>
                  </a:lnTo>
                  <a:lnTo>
                    <a:pt x="222" y="257"/>
                  </a:lnTo>
                  <a:lnTo>
                    <a:pt x="223" y="258"/>
                  </a:lnTo>
                  <a:lnTo>
                    <a:pt x="224" y="259"/>
                  </a:lnTo>
                  <a:lnTo>
                    <a:pt x="225" y="259"/>
                  </a:lnTo>
                  <a:lnTo>
                    <a:pt x="229" y="261"/>
                  </a:lnTo>
                  <a:lnTo>
                    <a:pt x="231" y="262"/>
                  </a:lnTo>
                  <a:lnTo>
                    <a:pt x="232" y="262"/>
                  </a:lnTo>
                  <a:lnTo>
                    <a:pt x="233" y="262"/>
                  </a:lnTo>
                  <a:lnTo>
                    <a:pt x="236" y="263"/>
                  </a:lnTo>
                  <a:lnTo>
                    <a:pt x="237" y="263"/>
                  </a:lnTo>
                  <a:lnTo>
                    <a:pt x="238" y="263"/>
                  </a:lnTo>
                  <a:lnTo>
                    <a:pt x="238" y="263"/>
                  </a:lnTo>
                  <a:lnTo>
                    <a:pt x="239" y="263"/>
                  </a:lnTo>
                  <a:lnTo>
                    <a:pt x="240" y="263"/>
                  </a:lnTo>
                  <a:lnTo>
                    <a:pt x="242" y="262"/>
                  </a:lnTo>
                  <a:lnTo>
                    <a:pt x="244" y="261"/>
                  </a:lnTo>
                  <a:lnTo>
                    <a:pt x="246" y="260"/>
                  </a:lnTo>
                  <a:lnTo>
                    <a:pt x="247" y="260"/>
                  </a:lnTo>
                  <a:lnTo>
                    <a:pt x="252" y="258"/>
                  </a:lnTo>
                  <a:lnTo>
                    <a:pt x="253" y="258"/>
                  </a:lnTo>
                  <a:lnTo>
                    <a:pt x="256" y="257"/>
                  </a:lnTo>
                  <a:lnTo>
                    <a:pt x="256" y="257"/>
                  </a:lnTo>
                  <a:lnTo>
                    <a:pt x="257" y="257"/>
                  </a:lnTo>
                  <a:lnTo>
                    <a:pt x="258" y="257"/>
                  </a:lnTo>
                  <a:lnTo>
                    <a:pt x="258" y="257"/>
                  </a:lnTo>
                  <a:lnTo>
                    <a:pt x="259" y="257"/>
                  </a:lnTo>
                  <a:lnTo>
                    <a:pt x="259" y="257"/>
                  </a:lnTo>
                  <a:lnTo>
                    <a:pt x="260" y="258"/>
                  </a:lnTo>
                  <a:lnTo>
                    <a:pt x="260" y="258"/>
                  </a:lnTo>
                  <a:lnTo>
                    <a:pt x="261" y="259"/>
                  </a:lnTo>
                  <a:lnTo>
                    <a:pt x="261" y="260"/>
                  </a:lnTo>
                  <a:lnTo>
                    <a:pt x="262" y="261"/>
                  </a:lnTo>
                  <a:lnTo>
                    <a:pt x="262" y="262"/>
                  </a:lnTo>
                  <a:lnTo>
                    <a:pt x="263" y="263"/>
                  </a:lnTo>
                  <a:lnTo>
                    <a:pt x="263" y="264"/>
                  </a:lnTo>
                  <a:lnTo>
                    <a:pt x="264" y="266"/>
                  </a:lnTo>
                  <a:lnTo>
                    <a:pt x="264" y="267"/>
                  </a:lnTo>
                  <a:lnTo>
                    <a:pt x="264" y="269"/>
                  </a:lnTo>
                  <a:lnTo>
                    <a:pt x="264" y="270"/>
                  </a:lnTo>
                  <a:lnTo>
                    <a:pt x="264" y="271"/>
                  </a:lnTo>
                  <a:lnTo>
                    <a:pt x="264" y="272"/>
                  </a:lnTo>
                  <a:lnTo>
                    <a:pt x="264" y="273"/>
                  </a:lnTo>
                  <a:lnTo>
                    <a:pt x="264" y="274"/>
                  </a:lnTo>
                  <a:lnTo>
                    <a:pt x="263" y="278"/>
                  </a:lnTo>
                  <a:lnTo>
                    <a:pt x="262" y="280"/>
                  </a:lnTo>
                  <a:lnTo>
                    <a:pt x="262" y="281"/>
                  </a:lnTo>
                  <a:lnTo>
                    <a:pt x="262" y="282"/>
                  </a:lnTo>
                  <a:lnTo>
                    <a:pt x="262" y="283"/>
                  </a:lnTo>
                  <a:lnTo>
                    <a:pt x="262" y="284"/>
                  </a:lnTo>
                  <a:lnTo>
                    <a:pt x="262" y="286"/>
                  </a:lnTo>
                  <a:lnTo>
                    <a:pt x="262" y="287"/>
                  </a:lnTo>
                  <a:lnTo>
                    <a:pt x="263" y="289"/>
                  </a:lnTo>
                  <a:lnTo>
                    <a:pt x="263" y="291"/>
                  </a:lnTo>
                  <a:lnTo>
                    <a:pt x="263" y="292"/>
                  </a:lnTo>
                  <a:lnTo>
                    <a:pt x="264" y="293"/>
                  </a:lnTo>
                  <a:lnTo>
                    <a:pt x="264" y="294"/>
                  </a:lnTo>
                  <a:lnTo>
                    <a:pt x="265" y="295"/>
                  </a:lnTo>
                  <a:lnTo>
                    <a:pt x="265" y="295"/>
                  </a:lnTo>
                  <a:lnTo>
                    <a:pt x="266" y="296"/>
                  </a:lnTo>
                  <a:lnTo>
                    <a:pt x="267" y="297"/>
                  </a:lnTo>
                  <a:lnTo>
                    <a:pt x="268" y="297"/>
                  </a:lnTo>
                  <a:lnTo>
                    <a:pt x="269" y="298"/>
                  </a:lnTo>
                  <a:lnTo>
                    <a:pt x="270" y="299"/>
                  </a:lnTo>
                  <a:lnTo>
                    <a:pt x="271" y="299"/>
                  </a:lnTo>
                  <a:lnTo>
                    <a:pt x="272" y="300"/>
                  </a:lnTo>
                  <a:lnTo>
                    <a:pt x="273" y="300"/>
                  </a:lnTo>
                  <a:lnTo>
                    <a:pt x="273" y="300"/>
                  </a:lnTo>
                  <a:lnTo>
                    <a:pt x="274" y="300"/>
                  </a:lnTo>
                  <a:lnTo>
                    <a:pt x="275" y="299"/>
                  </a:lnTo>
                  <a:lnTo>
                    <a:pt x="275" y="299"/>
                  </a:lnTo>
                  <a:lnTo>
                    <a:pt x="276" y="299"/>
                  </a:lnTo>
                  <a:lnTo>
                    <a:pt x="277" y="298"/>
                  </a:lnTo>
                  <a:lnTo>
                    <a:pt x="278" y="298"/>
                  </a:lnTo>
                  <a:lnTo>
                    <a:pt x="278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80" y="297"/>
                  </a:lnTo>
                  <a:lnTo>
                    <a:pt x="280" y="298"/>
                  </a:lnTo>
                  <a:lnTo>
                    <a:pt x="281" y="298"/>
                  </a:lnTo>
                  <a:lnTo>
                    <a:pt x="282" y="299"/>
                  </a:lnTo>
                  <a:lnTo>
                    <a:pt x="282" y="300"/>
                  </a:lnTo>
                  <a:lnTo>
                    <a:pt x="283" y="301"/>
                  </a:lnTo>
                  <a:lnTo>
                    <a:pt x="285" y="302"/>
                  </a:lnTo>
                  <a:lnTo>
                    <a:pt x="286" y="304"/>
                  </a:lnTo>
                  <a:lnTo>
                    <a:pt x="286" y="305"/>
                  </a:lnTo>
                  <a:lnTo>
                    <a:pt x="287" y="306"/>
                  </a:lnTo>
                  <a:lnTo>
                    <a:pt x="288" y="308"/>
                  </a:lnTo>
                  <a:lnTo>
                    <a:pt x="289" y="309"/>
                  </a:lnTo>
                  <a:lnTo>
                    <a:pt x="290" y="311"/>
                  </a:lnTo>
                  <a:lnTo>
                    <a:pt x="291" y="312"/>
                  </a:lnTo>
                  <a:lnTo>
                    <a:pt x="291" y="313"/>
                  </a:lnTo>
                  <a:lnTo>
                    <a:pt x="292" y="313"/>
                  </a:lnTo>
                  <a:lnTo>
                    <a:pt x="293" y="314"/>
                  </a:lnTo>
                  <a:lnTo>
                    <a:pt x="300" y="320"/>
                  </a:lnTo>
                  <a:lnTo>
                    <a:pt x="302" y="320"/>
                  </a:lnTo>
                  <a:lnTo>
                    <a:pt x="303" y="322"/>
                  </a:lnTo>
                  <a:lnTo>
                    <a:pt x="306" y="325"/>
                  </a:lnTo>
                  <a:lnTo>
                    <a:pt x="308" y="327"/>
                  </a:lnTo>
                  <a:lnTo>
                    <a:pt x="309" y="328"/>
                  </a:lnTo>
                  <a:lnTo>
                    <a:pt x="311" y="330"/>
                  </a:lnTo>
                  <a:lnTo>
                    <a:pt x="312" y="332"/>
                  </a:lnTo>
                  <a:lnTo>
                    <a:pt x="314" y="335"/>
                  </a:lnTo>
                  <a:lnTo>
                    <a:pt x="315" y="338"/>
                  </a:lnTo>
                  <a:lnTo>
                    <a:pt x="316" y="339"/>
                  </a:lnTo>
                  <a:lnTo>
                    <a:pt x="316" y="339"/>
                  </a:lnTo>
                  <a:lnTo>
                    <a:pt x="316" y="340"/>
                  </a:lnTo>
                  <a:lnTo>
                    <a:pt x="316" y="341"/>
                  </a:lnTo>
                  <a:lnTo>
                    <a:pt x="316" y="341"/>
                  </a:lnTo>
                  <a:lnTo>
                    <a:pt x="316" y="342"/>
                  </a:lnTo>
                  <a:lnTo>
                    <a:pt x="316" y="343"/>
                  </a:lnTo>
                  <a:lnTo>
                    <a:pt x="315" y="344"/>
                  </a:lnTo>
                  <a:lnTo>
                    <a:pt x="315" y="345"/>
                  </a:lnTo>
                  <a:lnTo>
                    <a:pt x="314" y="346"/>
                  </a:lnTo>
                  <a:lnTo>
                    <a:pt x="314" y="347"/>
                  </a:lnTo>
                  <a:lnTo>
                    <a:pt x="314" y="347"/>
                  </a:lnTo>
                  <a:lnTo>
                    <a:pt x="314" y="348"/>
                  </a:lnTo>
                  <a:lnTo>
                    <a:pt x="315" y="349"/>
                  </a:lnTo>
                  <a:lnTo>
                    <a:pt x="315" y="350"/>
                  </a:lnTo>
                  <a:lnTo>
                    <a:pt x="316" y="350"/>
                  </a:lnTo>
                  <a:lnTo>
                    <a:pt x="316" y="351"/>
                  </a:lnTo>
                  <a:lnTo>
                    <a:pt x="316" y="351"/>
                  </a:lnTo>
                  <a:lnTo>
                    <a:pt x="317" y="351"/>
                  </a:lnTo>
                  <a:lnTo>
                    <a:pt x="318" y="351"/>
                  </a:lnTo>
                  <a:lnTo>
                    <a:pt x="318" y="351"/>
                  </a:lnTo>
                  <a:lnTo>
                    <a:pt x="318" y="351"/>
                  </a:lnTo>
                  <a:lnTo>
                    <a:pt x="319" y="351"/>
                  </a:lnTo>
                  <a:lnTo>
                    <a:pt x="321" y="349"/>
                  </a:lnTo>
                  <a:lnTo>
                    <a:pt x="322" y="348"/>
                  </a:lnTo>
                  <a:lnTo>
                    <a:pt x="323" y="347"/>
                  </a:lnTo>
                  <a:lnTo>
                    <a:pt x="324" y="347"/>
                  </a:lnTo>
                  <a:lnTo>
                    <a:pt x="325" y="347"/>
                  </a:lnTo>
                  <a:lnTo>
                    <a:pt x="326" y="346"/>
                  </a:lnTo>
                  <a:lnTo>
                    <a:pt x="326" y="346"/>
                  </a:lnTo>
                  <a:lnTo>
                    <a:pt x="327" y="346"/>
                  </a:lnTo>
                  <a:lnTo>
                    <a:pt x="327" y="347"/>
                  </a:lnTo>
                  <a:lnTo>
                    <a:pt x="328" y="347"/>
                  </a:lnTo>
                  <a:lnTo>
                    <a:pt x="328" y="347"/>
                  </a:lnTo>
                  <a:lnTo>
                    <a:pt x="328" y="347"/>
                  </a:lnTo>
                  <a:lnTo>
                    <a:pt x="329" y="348"/>
                  </a:lnTo>
                  <a:lnTo>
                    <a:pt x="330" y="349"/>
                  </a:lnTo>
                  <a:lnTo>
                    <a:pt x="331" y="350"/>
                  </a:lnTo>
                  <a:lnTo>
                    <a:pt x="331" y="351"/>
                  </a:lnTo>
                  <a:lnTo>
                    <a:pt x="333" y="354"/>
                  </a:lnTo>
                  <a:lnTo>
                    <a:pt x="334" y="357"/>
                  </a:lnTo>
                  <a:lnTo>
                    <a:pt x="334" y="357"/>
                  </a:lnTo>
                  <a:lnTo>
                    <a:pt x="334" y="358"/>
                  </a:lnTo>
                  <a:lnTo>
                    <a:pt x="334" y="358"/>
                  </a:lnTo>
                  <a:lnTo>
                    <a:pt x="334" y="359"/>
                  </a:lnTo>
                  <a:lnTo>
                    <a:pt x="334" y="359"/>
                  </a:lnTo>
                  <a:lnTo>
                    <a:pt x="333" y="360"/>
                  </a:lnTo>
                  <a:lnTo>
                    <a:pt x="333" y="361"/>
                  </a:lnTo>
                  <a:lnTo>
                    <a:pt x="332" y="362"/>
                  </a:lnTo>
                  <a:lnTo>
                    <a:pt x="331" y="364"/>
                  </a:lnTo>
                  <a:lnTo>
                    <a:pt x="330" y="365"/>
                  </a:lnTo>
                  <a:lnTo>
                    <a:pt x="330" y="366"/>
                  </a:lnTo>
                  <a:lnTo>
                    <a:pt x="329" y="367"/>
                  </a:lnTo>
                  <a:lnTo>
                    <a:pt x="329" y="367"/>
                  </a:lnTo>
                  <a:lnTo>
                    <a:pt x="328" y="368"/>
                  </a:lnTo>
                  <a:lnTo>
                    <a:pt x="327" y="368"/>
                  </a:lnTo>
                  <a:lnTo>
                    <a:pt x="327" y="368"/>
                  </a:lnTo>
                  <a:lnTo>
                    <a:pt x="326" y="369"/>
                  </a:lnTo>
                  <a:lnTo>
                    <a:pt x="326" y="369"/>
                  </a:lnTo>
                  <a:lnTo>
                    <a:pt x="325" y="369"/>
                  </a:lnTo>
                  <a:lnTo>
                    <a:pt x="324" y="369"/>
                  </a:lnTo>
                  <a:lnTo>
                    <a:pt x="324" y="369"/>
                  </a:lnTo>
                  <a:lnTo>
                    <a:pt x="323" y="369"/>
                  </a:lnTo>
                  <a:lnTo>
                    <a:pt x="322" y="369"/>
                  </a:lnTo>
                  <a:lnTo>
                    <a:pt x="320" y="368"/>
                  </a:lnTo>
                  <a:lnTo>
                    <a:pt x="317" y="368"/>
                  </a:lnTo>
                  <a:lnTo>
                    <a:pt x="316" y="367"/>
                  </a:lnTo>
                  <a:lnTo>
                    <a:pt x="315" y="367"/>
                  </a:lnTo>
                  <a:lnTo>
                    <a:pt x="314" y="367"/>
                  </a:lnTo>
                  <a:lnTo>
                    <a:pt x="313" y="367"/>
                  </a:lnTo>
                  <a:lnTo>
                    <a:pt x="313" y="367"/>
                  </a:lnTo>
                  <a:lnTo>
                    <a:pt x="313" y="368"/>
                  </a:lnTo>
                  <a:lnTo>
                    <a:pt x="312" y="369"/>
                  </a:lnTo>
                  <a:lnTo>
                    <a:pt x="311" y="370"/>
                  </a:lnTo>
                  <a:lnTo>
                    <a:pt x="310" y="372"/>
                  </a:lnTo>
                  <a:lnTo>
                    <a:pt x="310" y="372"/>
                  </a:lnTo>
                  <a:lnTo>
                    <a:pt x="309" y="373"/>
                  </a:lnTo>
                  <a:lnTo>
                    <a:pt x="309" y="374"/>
                  </a:lnTo>
                  <a:lnTo>
                    <a:pt x="308" y="374"/>
                  </a:lnTo>
                  <a:lnTo>
                    <a:pt x="307" y="375"/>
                  </a:lnTo>
                  <a:lnTo>
                    <a:pt x="305" y="376"/>
                  </a:lnTo>
                  <a:lnTo>
                    <a:pt x="304" y="377"/>
                  </a:lnTo>
                  <a:lnTo>
                    <a:pt x="303" y="378"/>
                  </a:lnTo>
                  <a:lnTo>
                    <a:pt x="302" y="380"/>
                  </a:lnTo>
                  <a:lnTo>
                    <a:pt x="300" y="382"/>
                  </a:lnTo>
                  <a:lnTo>
                    <a:pt x="299" y="382"/>
                  </a:lnTo>
                  <a:lnTo>
                    <a:pt x="299" y="383"/>
                  </a:lnTo>
                  <a:lnTo>
                    <a:pt x="299" y="384"/>
                  </a:lnTo>
                  <a:lnTo>
                    <a:pt x="299" y="384"/>
                  </a:lnTo>
                  <a:lnTo>
                    <a:pt x="298" y="385"/>
                  </a:lnTo>
                  <a:lnTo>
                    <a:pt x="298" y="388"/>
                  </a:lnTo>
                  <a:lnTo>
                    <a:pt x="298" y="389"/>
                  </a:lnTo>
                  <a:lnTo>
                    <a:pt x="298" y="390"/>
                  </a:lnTo>
                  <a:lnTo>
                    <a:pt x="298" y="392"/>
                  </a:lnTo>
                  <a:lnTo>
                    <a:pt x="297" y="393"/>
                  </a:lnTo>
                  <a:lnTo>
                    <a:pt x="296" y="396"/>
                  </a:lnTo>
                  <a:lnTo>
                    <a:pt x="295" y="399"/>
                  </a:lnTo>
                  <a:lnTo>
                    <a:pt x="294" y="402"/>
                  </a:lnTo>
                  <a:lnTo>
                    <a:pt x="293" y="402"/>
                  </a:lnTo>
                  <a:lnTo>
                    <a:pt x="293" y="403"/>
                  </a:lnTo>
                  <a:lnTo>
                    <a:pt x="292" y="403"/>
                  </a:lnTo>
                  <a:lnTo>
                    <a:pt x="292" y="404"/>
                  </a:lnTo>
                  <a:lnTo>
                    <a:pt x="291" y="404"/>
                  </a:lnTo>
                  <a:lnTo>
                    <a:pt x="291" y="404"/>
                  </a:lnTo>
                  <a:lnTo>
                    <a:pt x="290" y="405"/>
                  </a:lnTo>
                  <a:lnTo>
                    <a:pt x="287" y="406"/>
                  </a:lnTo>
                  <a:lnTo>
                    <a:pt x="285" y="406"/>
                  </a:lnTo>
                  <a:lnTo>
                    <a:pt x="284" y="406"/>
                  </a:lnTo>
                  <a:lnTo>
                    <a:pt x="283" y="406"/>
                  </a:lnTo>
                  <a:lnTo>
                    <a:pt x="281" y="406"/>
                  </a:lnTo>
                  <a:lnTo>
                    <a:pt x="280" y="406"/>
                  </a:lnTo>
                  <a:lnTo>
                    <a:pt x="279" y="405"/>
                  </a:lnTo>
                  <a:lnTo>
                    <a:pt x="278" y="405"/>
                  </a:lnTo>
                  <a:lnTo>
                    <a:pt x="277" y="404"/>
                  </a:lnTo>
                  <a:lnTo>
                    <a:pt x="276" y="404"/>
                  </a:lnTo>
                  <a:lnTo>
                    <a:pt x="275" y="403"/>
                  </a:lnTo>
                  <a:lnTo>
                    <a:pt x="275" y="403"/>
                  </a:lnTo>
                  <a:lnTo>
                    <a:pt x="273" y="401"/>
                  </a:lnTo>
                  <a:lnTo>
                    <a:pt x="272" y="400"/>
                  </a:lnTo>
                  <a:lnTo>
                    <a:pt x="271" y="399"/>
                  </a:lnTo>
                  <a:lnTo>
                    <a:pt x="270" y="398"/>
                  </a:lnTo>
                  <a:lnTo>
                    <a:pt x="269" y="398"/>
                  </a:lnTo>
                  <a:lnTo>
                    <a:pt x="268" y="397"/>
                  </a:lnTo>
                  <a:lnTo>
                    <a:pt x="267" y="397"/>
                  </a:lnTo>
                  <a:lnTo>
                    <a:pt x="266" y="397"/>
                  </a:lnTo>
                  <a:lnTo>
                    <a:pt x="265" y="397"/>
                  </a:lnTo>
                  <a:lnTo>
                    <a:pt x="265" y="397"/>
                  </a:lnTo>
                  <a:lnTo>
                    <a:pt x="264" y="398"/>
                  </a:lnTo>
                  <a:lnTo>
                    <a:pt x="263" y="398"/>
                  </a:lnTo>
                  <a:lnTo>
                    <a:pt x="263" y="398"/>
                  </a:lnTo>
                  <a:lnTo>
                    <a:pt x="262" y="399"/>
                  </a:lnTo>
                  <a:lnTo>
                    <a:pt x="261" y="402"/>
                  </a:lnTo>
                  <a:lnTo>
                    <a:pt x="260" y="402"/>
                  </a:lnTo>
                  <a:lnTo>
                    <a:pt x="260" y="402"/>
                  </a:lnTo>
                  <a:lnTo>
                    <a:pt x="260" y="403"/>
                  </a:lnTo>
                  <a:lnTo>
                    <a:pt x="259" y="403"/>
                  </a:lnTo>
                  <a:lnTo>
                    <a:pt x="259" y="403"/>
                  </a:lnTo>
                  <a:lnTo>
                    <a:pt x="259" y="403"/>
                  </a:lnTo>
                  <a:lnTo>
                    <a:pt x="258" y="403"/>
                  </a:lnTo>
                  <a:lnTo>
                    <a:pt x="257" y="403"/>
                  </a:lnTo>
                  <a:lnTo>
                    <a:pt x="256" y="403"/>
                  </a:lnTo>
                  <a:lnTo>
                    <a:pt x="255" y="403"/>
                  </a:lnTo>
                  <a:lnTo>
                    <a:pt x="254" y="402"/>
                  </a:lnTo>
                  <a:lnTo>
                    <a:pt x="254" y="402"/>
                  </a:lnTo>
                  <a:lnTo>
                    <a:pt x="253" y="402"/>
                  </a:lnTo>
                  <a:lnTo>
                    <a:pt x="252" y="403"/>
                  </a:lnTo>
                  <a:lnTo>
                    <a:pt x="251" y="403"/>
                  </a:lnTo>
                  <a:lnTo>
                    <a:pt x="251" y="403"/>
                  </a:lnTo>
                  <a:lnTo>
                    <a:pt x="250" y="403"/>
                  </a:lnTo>
                  <a:lnTo>
                    <a:pt x="250" y="403"/>
                  </a:lnTo>
                  <a:lnTo>
                    <a:pt x="250" y="403"/>
                  </a:lnTo>
                  <a:lnTo>
                    <a:pt x="250" y="404"/>
                  </a:lnTo>
                  <a:lnTo>
                    <a:pt x="250" y="404"/>
                  </a:lnTo>
                  <a:lnTo>
                    <a:pt x="250" y="404"/>
                  </a:lnTo>
                  <a:lnTo>
                    <a:pt x="250" y="405"/>
                  </a:lnTo>
                  <a:lnTo>
                    <a:pt x="250" y="405"/>
                  </a:lnTo>
                  <a:lnTo>
                    <a:pt x="250" y="406"/>
                  </a:lnTo>
                  <a:lnTo>
                    <a:pt x="250" y="407"/>
                  </a:lnTo>
                  <a:lnTo>
                    <a:pt x="252" y="411"/>
                  </a:lnTo>
                  <a:lnTo>
                    <a:pt x="253" y="413"/>
                  </a:lnTo>
                  <a:lnTo>
                    <a:pt x="253" y="414"/>
                  </a:lnTo>
                  <a:lnTo>
                    <a:pt x="254" y="415"/>
                  </a:lnTo>
                  <a:lnTo>
                    <a:pt x="254" y="416"/>
                  </a:lnTo>
                  <a:lnTo>
                    <a:pt x="254" y="417"/>
                  </a:lnTo>
                  <a:lnTo>
                    <a:pt x="254" y="417"/>
                  </a:lnTo>
                  <a:lnTo>
                    <a:pt x="253" y="418"/>
                  </a:lnTo>
                  <a:lnTo>
                    <a:pt x="253" y="419"/>
                  </a:lnTo>
                  <a:lnTo>
                    <a:pt x="253" y="420"/>
                  </a:lnTo>
                  <a:lnTo>
                    <a:pt x="252" y="421"/>
                  </a:lnTo>
                  <a:lnTo>
                    <a:pt x="251" y="422"/>
                  </a:lnTo>
                  <a:lnTo>
                    <a:pt x="251" y="422"/>
                  </a:lnTo>
                  <a:lnTo>
                    <a:pt x="250" y="423"/>
                  </a:lnTo>
                  <a:lnTo>
                    <a:pt x="249" y="424"/>
                  </a:lnTo>
                  <a:lnTo>
                    <a:pt x="249" y="424"/>
                  </a:lnTo>
                  <a:lnTo>
                    <a:pt x="248" y="424"/>
                  </a:lnTo>
                  <a:lnTo>
                    <a:pt x="247" y="425"/>
                  </a:lnTo>
                  <a:lnTo>
                    <a:pt x="246" y="425"/>
                  </a:lnTo>
                  <a:lnTo>
                    <a:pt x="245" y="425"/>
                  </a:lnTo>
                  <a:lnTo>
                    <a:pt x="244" y="425"/>
                  </a:lnTo>
                  <a:lnTo>
                    <a:pt x="243" y="425"/>
                  </a:lnTo>
                  <a:lnTo>
                    <a:pt x="242" y="425"/>
                  </a:lnTo>
                  <a:lnTo>
                    <a:pt x="242" y="425"/>
                  </a:lnTo>
                  <a:lnTo>
                    <a:pt x="241" y="425"/>
                  </a:lnTo>
                  <a:lnTo>
                    <a:pt x="240" y="425"/>
                  </a:lnTo>
                  <a:lnTo>
                    <a:pt x="239" y="424"/>
                  </a:lnTo>
                  <a:lnTo>
                    <a:pt x="237" y="424"/>
                  </a:lnTo>
                  <a:lnTo>
                    <a:pt x="237" y="423"/>
                  </a:lnTo>
                  <a:lnTo>
                    <a:pt x="236" y="423"/>
                  </a:lnTo>
                  <a:lnTo>
                    <a:pt x="235" y="423"/>
                  </a:lnTo>
                  <a:lnTo>
                    <a:pt x="234" y="423"/>
                  </a:lnTo>
                  <a:lnTo>
                    <a:pt x="232" y="423"/>
                  </a:lnTo>
                  <a:lnTo>
                    <a:pt x="231" y="423"/>
                  </a:lnTo>
                  <a:lnTo>
                    <a:pt x="229" y="423"/>
                  </a:lnTo>
                  <a:lnTo>
                    <a:pt x="227" y="423"/>
                  </a:lnTo>
                  <a:lnTo>
                    <a:pt x="225" y="423"/>
                  </a:lnTo>
                  <a:lnTo>
                    <a:pt x="224" y="424"/>
                  </a:lnTo>
                  <a:lnTo>
                    <a:pt x="222" y="424"/>
                  </a:lnTo>
                  <a:lnTo>
                    <a:pt x="220" y="425"/>
                  </a:lnTo>
                  <a:lnTo>
                    <a:pt x="217" y="426"/>
                  </a:lnTo>
                  <a:lnTo>
                    <a:pt x="216" y="426"/>
                  </a:lnTo>
                  <a:lnTo>
                    <a:pt x="216" y="426"/>
                  </a:lnTo>
                  <a:lnTo>
                    <a:pt x="216" y="426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8"/>
                  </a:lnTo>
                  <a:lnTo>
                    <a:pt x="215" y="429"/>
                  </a:lnTo>
                  <a:lnTo>
                    <a:pt x="214" y="431"/>
                  </a:lnTo>
                  <a:lnTo>
                    <a:pt x="214" y="433"/>
                  </a:lnTo>
                  <a:lnTo>
                    <a:pt x="214" y="434"/>
                  </a:lnTo>
                  <a:lnTo>
                    <a:pt x="213" y="434"/>
                  </a:lnTo>
                  <a:lnTo>
                    <a:pt x="213" y="435"/>
                  </a:lnTo>
                  <a:lnTo>
                    <a:pt x="212" y="436"/>
                  </a:lnTo>
                  <a:lnTo>
                    <a:pt x="211" y="438"/>
                  </a:lnTo>
                  <a:lnTo>
                    <a:pt x="211" y="439"/>
                  </a:lnTo>
                  <a:lnTo>
                    <a:pt x="210" y="440"/>
                  </a:lnTo>
                  <a:lnTo>
                    <a:pt x="209" y="441"/>
                  </a:lnTo>
                  <a:lnTo>
                    <a:pt x="209" y="441"/>
                  </a:lnTo>
                  <a:lnTo>
                    <a:pt x="208" y="442"/>
                  </a:lnTo>
                  <a:lnTo>
                    <a:pt x="207" y="443"/>
                  </a:lnTo>
                  <a:lnTo>
                    <a:pt x="206" y="443"/>
                  </a:lnTo>
                  <a:lnTo>
                    <a:pt x="205" y="443"/>
                  </a:lnTo>
                  <a:lnTo>
                    <a:pt x="205" y="443"/>
                  </a:lnTo>
                  <a:lnTo>
                    <a:pt x="204" y="443"/>
                  </a:lnTo>
                  <a:lnTo>
                    <a:pt x="203" y="443"/>
                  </a:lnTo>
                  <a:lnTo>
                    <a:pt x="202" y="442"/>
                  </a:lnTo>
                  <a:lnTo>
                    <a:pt x="199" y="440"/>
                  </a:lnTo>
                  <a:lnTo>
                    <a:pt x="198" y="439"/>
                  </a:lnTo>
                  <a:lnTo>
                    <a:pt x="197" y="438"/>
                  </a:lnTo>
                  <a:lnTo>
                    <a:pt x="196" y="438"/>
                  </a:lnTo>
                  <a:lnTo>
                    <a:pt x="196" y="437"/>
                  </a:lnTo>
                  <a:lnTo>
                    <a:pt x="195" y="437"/>
                  </a:lnTo>
                  <a:lnTo>
                    <a:pt x="194" y="437"/>
                  </a:lnTo>
                  <a:lnTo>
                    <a:pt x="193" y="437"/>
                  </a:lnTo>
                  <a:lnTo>
                    <a:pt x="192" y="437"/>
                  </a:lnTo>
                  <a:lnTo>
                    <a:pt x="190" y="437"/>
                  </a:lnTo>
                  <a:lnTo>
                    <a:pt x="188" y="436"/>
                  </a:lnTo>
                  <a:lnTo>
                    <a:pt x="186" y="436"/>
                  </a:lnTo>
                  <a:lnTo>
                    <a:pt x="184" y="435"/>
                  </a:lnTo>
                  <a:lnTo>
                    <a:pt x="182" y="435"/>
                  </a:lnTo>
                  <a:lnTo>
                    <a:pt x="181" y="434"/>
                  </a:lnTo>
                  <a:lnTo>
                    <a:pt x="180" y="434"/>
                  </a:lnTo>
                  <a:lnTo>
                    <a:pt x="177" y="434"/>
                  </a:lnTo>
                  <a:lnTo>
                    <a:pt x="177" y="434"/>
                  </a:lnTo>
                  <a:lnTo>
                    <a:pt x="176" y="434"/>
                  </a:lnTo>
                  <a:lnTo>
                    <a:pt x="176" y="433"/>
                  </a:lnTo>
                  <a:lnTo>
                    <a:pt x="175" y="433"/>
                  </a:lnTo>
                  <a:lnTo>
                    <a:pt x="175" y="432"/>
                  </a:lnTo>
                  <a:lnTo>
                    <a:pt x="175" y="432"/>
                  </a:lnTo>
                  <a:lnTo>
                    <a:pt x="174" y="431"/>
                  </a:lnTo>
                  <a:lnTo>
                    <a:pt x="174" y="430"/>
                  </a:lnTo>
                  <a:lnTo>
                    <a:pt x="174" y="427"/>
                  </a:lnTo>
                  <a:lnTo>
                    <a:pt x="174" y="426"/>
                  </a:lnTo>
                  <a:lnTo>
                    <a:pt x="173" y="426"/>
                  </a:lnTo>
                  <a:lnTo>
                    <a:pt x="173" y="425"/>
                  </a:lnTo>
                  <a:lnTo>
                    <a:pt x="173" y="424"/>
                  </a:lnTo>
                  <a:lnTo>
                    <a:pt x="172" y="424"/>
                  </a:lnTo>
                  <a:lnTo>
                    <a:pt x="172" y="423"/>
                  </a:lnTo>
                  <a:lnTo>
                    <a:pt x="171" y="423"/>
                  </a:lnTo>
                  <a:lnTo>
                    <a:pt x="171" y="423"/>
                  </a:lnTo>
                  <a:lnTo>
                    <a:pt x="170" y="423"/>
                  </a:lnTo>
                  <a:lnTo>
                    <a:pt x="170" y="423"/>
                  </a:lnTo>
                  <a:lnTo>
                    <a:pt x="169" y="423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67" y="425"/>
                  </a:lnTo>
                  <a:lnTo>
                    <a:pt x="167" y="425"/>
                  </a:lnTo>
                  <a:lnTo>
                    <a:pt x="166" y="426"/>
                  </a:lnTo>
                  <a:lnTo>
                    <a:pt x="164" y="430"/>
                  </a:lnTo>
                  <a:lnTo>
                    <a:pt x="163" y="432"/>
                  </a:lnTo>
                  <a:lnTo>
                    <a:pt x="163" y="433"/>
                  </a:lnTo>
                  <a:lnTo>
                    <a:pt x="162" y="434"/>
                  </a:lnTo>
                  <a:lnTo>
                    <a:pt x="162" y="435"/>
                  </a:lnTo>
                  <a:lnTo>
                    <a:pt x="162" y="436"/>
                  </a:lnTo>
                  <a:lnTo>
                    <a:pt x="162" y="437"/>
                  </a:lnTo>
                  <a:lnTo>
                    <a:pt x="162" y="439"/>
                  </a:lnTo>
                  <a:lnTo>
                    <a:pt x="163" y="440"/>
                  </a:lnTo>
                  <a:lnTo>
                    <a:pt x="163" y="442"/>
                  </a:lnTo>
                  <a:lnTo>
                    <a:pt x="164" y="443"/>
                  </a:lnTo>
                  <a:lnTo>
                    <a:pt x="165" y="445"/>
                  </a:lnTo>
                  <a:lnTo>
                    <a:pt x="166" y="447"/>
                  </a:lnTo>
                  <a:lnTo>
                    <a:pt x="166" y="448"/>
                  </a:lnTo>
                  <a:lnTo>
                    <a:pt x="166" y="449"/>
                  </a:lnTo>
                  <a:lnTo>
                    <a:pt x="166" y="450"/>
                  </a:lnTo>
                  <a:lnTo>
                    <a:pt x="166" y="451"/>
                  </a:lnTo>
                  <a:lnTo>
                    <a:pt x="166" y="452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65" y="454"/>
                  </a:lnTo>
                  <a:lnTo>
                    <a:pt x="164" y="455"/>
                  </a:lnTo>
                  <a:lnTo>
                    <a:pt x="162" y="457"/>
                  </a:lnTo>
                  <a:lnTo>
                    <a:pt x="160" y="459"/>
                  </a:lnTo>
                  <a:lnTo>
                    <a:pt x="159" y="460"/>
                  </a:lnTo>
                  <a:lnTo>
                    <a:pt x="158" y="460"/>
                  </a:lnTo>
                  <a:lnTo>
                    <a:pt x="158" y="461"/>
                  </a:lnTo>
                  <a:lnTo>
                    <a:pt x="157" y="462"/>
                  </a:lnTo>
                  <a:lnTo>
                    <a:pt x="155" y="465"/>
                  </a:lnTo>
                  <a:lnTo>
                    <a:pt x="153" y="467"/>
                  </a:lnTo>
                  <a:lnTo>
                    <a:pt x="151" y="470"/>
                  </a:lnTo>
                  <a:lnTo>
                    <a:pt x="150" y="471"/>
                  </a:lnTo>
                  <a:lnTo>
                    <a:pt x="149" y="472"/>
                  </a:lnTo>
                  <a:lnTo>
                    <a:pt x="149" y="473"/>
                  </a:lnTo>
                  <a:lnTo>
                    <a:pt x="148" y="473"/>
                  </a:lnTo>
                  <a:lnTo>
                    <a:pt x="147" y="474"/>
                  </a:lnTo>
                  <a:lnTo>
                    <a:pt x="146" y="474"/>
                  </a:lnTo>
                  <a:lnTo>
                    <a:pt x="146" y="475"/>
                  </a:lnTo>
                  <a:lnTo>
                    <a:pt x="145" y="475"/>
                  </a:lnTo>
                  <a:lnTo>
                    <a:pt x="144" y="475"/>
                  </a:lnTo>
                  <a:lnTo>
                    <a:pt x="143" y="475"/>
                  </a:lnTo>
                  <a:lnTo>
                    <a:pt x="143" y="475"/>
                  </a:lnTo>
                  <a:lnTo>
                    <a:pt x="139" y="475"/>
                  </a:lnTo>
                  <a:lnTo>
                    <a:pt x="138" y="476"/>
                  </a:lnTo>
                  <a:lnTo>
                    <a:pt x="134" y="476"/>
                  </a:lnTo>
                  <a:lnTo>
                    <a:pt x="132" y="476"/>
                  </a:lnTo>
                  <a:lnTo>
                    <a:pt x="131" y="477"/>
                  </a:lnTo>
                  <a:lnTo>
                    <a:pt x="125" y="478"/>
                  </a:lnTo>
                  <a:lnTo>
                    <a:pt x="124" y="478"/>
                  </a:lnTo>
                  <a:lnTo>
                    <a:pt x="122" y="478"/>
                  </a:lnTo>
                  <a:lnTo>
                    <a:pt x="121" y="478"/>
                  </a:lnTo>
                  <a:lnTo>
                    <a:pt x="120" y="479"/>
                  </a:lnTo>
                  <a:lnTo>
                    <a:pt x="120" y="479"/>
                  </a:lnTo>
                  <a:lnTo>
                    <a:pt x="119" y="479"/>
                  </a:lnTo>
                  <a:lnTo>
                    <a:pt x="118" y="480"/>
                  </a:lnTo>
                  <a:lnTo>
                    <a:pt x="117" y="481"/>
                  </a:lnTo>
                  <a:lnTo>
                    <a:pt x="117" y="482"/>
                  </a:lnTo>
                  <a:lnTo>
                    <a:pt x="116" y="482"/>
                  </a:lnTo>
                  <a:lnTo>
                    <a:pt x="115" y="485"/>
                  </a:lnTo>
                  <a:lnTo>
                    <a:pt x="114" y="485"/>
                  </a:lnTo>
                  <a:lnTo>
                    <a:pt x="114" y="486"/>
                  </a:lnTo>
                  <a:lnTo>
                    <a:pt x="113" y="487"/>
                  </a:lnTo>
                  <a:lnTo>
                    <a:pt x="113" y="487"/>
                  </a:lnTo>
                  <a:lnTo>
                    <a:pt x="112" y="487"/>
                  </a:lnTo>
                  <a:lnTo>
                    <a:pt x="112" y="487"/>
                  </a:lnTo>
                  <a:lnTo>
                    <a:pt x="111" y="487"/>
                  </a:lnTo>
                  <a:lnTo>
                    <a:pt x="111" y="487"/>
                  </a:lnTo>
                  <a:lnTo>
                    <a:pt x="110" y="487"/>
                  </a:lnTo>
                  <a:lnTo>
                    <a:pt x="110" y="487"/>
                  </a:lnTo>
                  <a:lnTo>
                    <a:pt x="110" y="487"/>
                  </a:lnTo>
                  <a:lnTo>
                    <a:pt x="110" y="485"/>
                  </a:lnTo>
                  <a:lnTo>
                    <a:pt x="108" y="480"/>
                  </a:lnTo>
                  <a:lnTo>
                    <a:pt x="106" y="477"/>
                  </a:lnTo>
                  <a:lnTo>
                    <a:pt x="106" y="476"/>
                  </a:lnTo>
                  <a:lnTo>
                    <a:pt x="105" y="473"/>
                  </a:lnTo>
                  <a:lnTo>
                    <a:pt x="103" y="468"/>
                  </a:lnTo>
                  <a:lnTo>
                    <a:pt x="103" y="467"/>
                  </a:lnTo>
                  <a:lnTo>
                    <a:pt x="103" y="466"/>
                  </a:lnTo>
                  <a:lnTo>
                    <a:pt x="102" y="465"/>
                  </a:lnTo>
                  <a:lnTo>
                    <a:pt x="102" y="465"/>
                  </a:lnTo>
                  <a:lnTo>
                    <a:pt x="101" y="464"/>
                  </a:lnTo>
                  <a:lnTo>
                    <a:pt x="100" y="463"/>
                  </a:lnTo>
                  <a:lnTo>
                    <a:pt x="97" y="461"/>
                  </a:lnTo>
                  <a:lnTo>
                    <a:pt x="96" y="460"/>
                  </a:lnTo>
                  <a:lnTo>
                    <a:pt x="95" y="459"/>
                  </a:lnTo>
                  <a:lnTo>
                    <a:pt x="93" y="458"/>
                  </a:lnTo>
                  <a:lnTo>
                    <a:pt x="91" y="458"/>
                  </a:lnTo>
                  <a:lnTo>
                    <a:pt x="90" y="457"/>
                  </a:lnTo>
                  <a:lnTo>
                    <a:pt x="87" y="456"/>
                  </a:lnTo>
                  <a:lnTo>
                    <a:pt x="85" y="455"/>
                  </a:lnTo>
                  <a:lnTo>
                    <a:pt x="83" y="455"/>
                  </a:lnTo>
                  <a:lnTo>
                    <a:pt x="81" y="454"/>
                  </a:lnTo>
                  <a:lnTo>
                    <a:pt x="80" y="453"/>
                  </a:lnTo>
                  <a:lnTo>
                    <a:pt x="77" y="452"/>
                  </a:lnTo>
                  <a:lnTo>
                    <a:pt x="76" y="451"/>
                  </a:lnTo>
                  <a:lnTo>
                    <a:pt x="76" y="451"/>
                  </a:lnTo>
                  <a:lnTo>
                    <a:pt x="75" y="450"/>
                  </a:lnTo>
                  <a:lnTo>
                    <a:pt x="75" y="450"/>
                  </a:lnTo>
                  <a:lnTo>
                    <a:pt x="75" y="450"/>
                  </a:lnTo>
                  <a:lnTo>
                    <a:pt x="74" y="449"/>
                  </a:lnTo>
                  <a:lnTo>
                    <a:pt x="74" y="449"/>
                  </a:lnTo>
                  <a:lnTo>
                    <a:pt x="74" y="448"/>
                  </a:lnTo>
                  <a:lnTo>
                    <a:pt x="74" y="448"/>
                  </a:lnTo>
                  <a:lnTo>
                    <a:pt x="75" y="446"/>
                  </a:lnTo>
                  <a:lnTo>
                    <a:pt x="75" y="443"/>
                  </a:lnTo>
                  <a:lnTo>
                    <a:pt x="76" y="440"/>
                  </a:lnTo>
                  <a:lnTo>
                    <a:pt x="76" y="438"/>
                  </a:lnTo>
                  <a:lnTo>
                    <a:pt x="76" y="437"/>
                  </a:lnTo>
                  <a:lnTo>
                    <a:pt x="76" y="435"/>
                  </a:lnTo>
                  <a:lnTo>
                    <a:pt x="77" y="434"/>
                  </a:lnTo>
                  <a:lnTo>
                    <a:pt x="76" y="432"/>
                  </a:lnTo>
                  <a:lnTo>
                    <a:pt x="76" y="431"/>
                  </a:lnTo>
                  <a:lnTo>
                    <a:pt x="76" y="431"/>
                  </a:lnTo>
                  <a:lnTo>
                    <a:pt x="76" y="430"/>
                  </a:lnTo>
                  <a:lnTo>
                    <a:pt x="76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4" y="430"/>
                  </a:lnTo>
                  <a:lnTo>
                    <a:pt x="74" y="431"/>
                  </a:lnTo>
                  <a:lnTo>
                    <a:pt x="73" y="432"/>
                  </a:lnTo>
                  <a:lnTo>
                    <a:pt x="73" y="433"/>
                  </a:lnTo>
                  <a:lnTo>
                    <a:pt x="72" y="433"/>
                  </a:lnTo>
                  <a:lnTo>
                    <a:pt x="72" y="433"/>
                  </a:lnTo>
                  <a:lnTo>
                    <a:pt x="72" y="433"/>
                  </a:lnTo>
                  <a:lnTo>
                    <a:pt x="71" y="433"/>
                  </a:lnTo>
                  <a:lnTo>
                    <a:pt x="71" y="433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69" y="432"/>
                  </a:lnTo>
                  <a:lnTo>
                    <a:pt x="69" y="432"/>
                  </a:lnTo>
                  <a:lnTo>
                    <a:pt x="68" y="431"/>
                  </a:lnTo>
                  <a:lnTo>
                    <a:pt x="67" y="431"/>
                  </a:lnTo>
                  <a:lnTo>
                    <a:pt x="66" y="429"/>
                  </a:lnTo>
                  <a:lnTo>
                    <a:pt x="66" y="428"/>
                  </a:lnTo>
                  <a:lnTo>
                    <a:pt x="65" y="428"/>
                  </a:lnTo>
                  <a:lnTo>
                    <a:pt x="65" y="427"/>
                  </a:lnTo>
                  <a:lnTo>
                    <a:pt x="63" y="424"/>
                  </a:lnTo>
                  <a:lnTo>
                    <a:pt x="63" y="424"/>
                  </a:lnTo>
                  <a:lnTo>
                    <a:pt x="63" y="423"/>
                  </a:lnTo>
                  <a:lnTo>
                    <a:pt x="62" y="422"/>
                  </a:lnTo>
                  <a:lnTo>
                    <a:pt x="62" y="422"/>
                  </a:lnTo>
                  <a:lnTo>
                    <a:pt x="60" y="421"/>
                  </a:lnTo>
                  <a:lnTo>
                    <a:pt x="59" y="420"/>
                  </a:lnTo>
                  <a:lnTo>
                    <a:pt x="59" y="419"/>
                  </a:lnTo>
                  <a:lnTo>
                    <a:pt x="58" y="418"/>
                  </a:lnTo>
                  <a:lnTo>
                    <a:pt x="58" y="417"/>
                  </a:lnTo>
                  <a:lnTo>
                    <a:pt x="57" y="417"/>
                  </a:lnTo>
                  <a:lnTo>
                    <a:pt x="57" y="414"/>
                  </a:lnTo>
                  <a:lnTo>
                    <a:pt x="56" y="410"/>
                  </a:lnTo>
                  <a:lnTo>
                    <a:pt x="55" y="408"/>
                  </a:lnTo>
                  <a:lnTo>
                    <a:pt x="54" y="407"/>
                  </a:lnTo>
                  <a:lnTo>
                    <a:pt x="54" y="406"/>
                  </a:lnTo>
                  <a:lnTo>
                    <a:pt x="53" y="405"/>
                  </a:lnTo>
                  <a:lnTo>
                    <a:pt x="52" y="404"/>
                  </a:lnTo>
                  <a:lnTo>
                    <a:pt x="52" y="403"/>
                  </a:lnTo>
                  <a:lnTo>
                    <a:pt x="52" y="402"/>
                  </a:lnTo>
                  <a:lnTo>
                    <a:pt x="51" y="401"/>
                  </a:lnTo>
                  <a:lnTo>
                    <a:pt x="50" y="400"/>
                  </a:lnTo>
                  <a:lnTo>
                    <a:pt x="50" y="399"/>
                  </a:lnTo>
                  <a:lnTo>
                    <a:pt x="48" y="398"/>
                  </a:lnTo>
                  <a:lnTo>
                    <a:pt x="47" y="397"/>
                  </a:lnTo>
                  <a:lnTo>
                    <a:pt x="47" y="396"/>
                  </a:lnTo>
                  <a:lnTo>
                    <a:pt x="46" y="394"/>
                  </a:lnTo>
                  <a:lnTo>
                    <a:pt x="45" y="393"/>
                  </a:lnTo>
                  <a:lnTo>
                    <a:pt x="45" y="392"/>
                  </a:lnTo>
                  <a:lnTo>
                    <a:pt x="44" y="391"/>
                  </a:lnTo>
                  <a:lnTo>
                    <a:pt x="43" y="390"/>
                  </a:lnTo>
                  <a:lnTo>
                    <a:pt x="42" y="389"/>
                  </a:lnTo>
                  <a:lnTo>
                    <a:pt x="42" y="389"/>
                  </a:lnTo>
                  <a:lnTo>
                    <a:pt x="41" y="388"/>
                  </a:lnTo>
                  <a:lnTo>
                    <a:pt x="40" y="388"/>
                  </a:lnTo>
                  <a:lnTo>
                    <a:pt x="38" y="388"/>
                  </a:lnTo>
                  <a:lnTo>
                    <a:pt x="36" y="387"/>
                  </a:lnTo>
                  <a:lnTo>
                    <a:pt x="34" y="387"/>
                  </a:lnTo>
                  <a:lnTo>
                    <a:pt x="33" y="387"/>
                  </a:lnTo>
                  <a:lnTo>
                    <a:pt x="32" y="387"/>
                  </a:lnTo>
                  <a:lnTo>
                    <a:pt x="31" y="387"/>
                  </a:lnTo>
                  <a:lnTo>
                    <a:pt x="30" y="387"/>
                  </a:lnTo>
                  <a:lnTo>
                    <a:pt x="28" y="387"/>
                  </a:lnTo>
                  <a:lnTo>
                    <a:pt x="27" y="388"/>
                  </a:lnTo>
                  <a:lnTo>
                    <a:pt x="25" y="389"/>
                  </a:lnTo>
                  <a:lnTo>
                    <a:pt x="24" y="390"/>
                  </a:lnTo>
                  <a:lnTo>
                    <a:pt x="23" y="391"/>
                  </a:lnTo>
                  <a:lnTo>
                    <a:pt x="21" y="392"/>
                  </a:lnTo>
                  <a:lnTo>
                    <a:pt x="20" y="394"/>
                  </a:lnTo>
                  <a:lnTo>
                    <a:pt x="19" y="394"/>
                  </a:lnTo>
                  <a:lnTo>
                    <a:pt x="19" y="394"/>
                  </a:lnTo>
                  <a:lnTo>
                    <a:pt x="19" y="395"/>
                  </a:lnTo>
                  <a:lnTo>
                    <a:pt x="19" y="395"/>
                  </a:lnTo>
                  <a:lnTo>
                    <a:pt x="19" y="395"/>
                  </a:lnTo>
                  <a:lnTo>
                    <a:pt x="19" y="396"/>
                  </a:lnTo>
                  <a:lnTo>
                    <a:pt x="20" y="396"/>
                  </a:lnTo>
                  <a:lnTo>
                    <a:pt x="20" y="397"/>
                  </a:lnTo>
                  <a:lnTo>
                    <a:pt x="21" y="398"/>
                  </a:lnTo>
                  <a:lnTo>
                    <a:pt x="21" y="398"/>
                  </a:lnTo>
                  <a:lnTo>
                    <a:pt x="21" y="399"/>
                  </a:lnTo>
                  <a:lnTo>
                    <a:pt x="22" y="399"/>
                  </a:lnTo>
                  <a:lnTo>
                    <a:pt x="27" y="404"/>
                  </a:lnTo>
                  <a:lnTo>
                    <a:pt x="27" y="404"/>
                  </a:lnTo>
                  <a:lnTo>
                    <a:pt x="28" y="405"/>
                  </a:lnTo>
                  <a:lnTo>
                    <a:pt x="28" y="406"/>
                  </a:lnTo>
                  <a:lnTo>
                    <a:pt x="28" y="407"/>
                  </a:lnTo>
                  <a:lnTo>
                    <a:pt x="29" y="408"/>
                  </a:lnTo>
                  <a:lnTo>
                    <a:pt x="29" y="409"/>
                  </a:lnTo>
                  <a:lnTo>
                    <a:pt x="30" y="410"/>
                  </a:lnTo>
                  <a:lnTo>
                    <a:pt x="31" y="412"/>
                  </a:lnTo>
                  <a:lnTo>
                    <a:pt x="31" y="413"/>
                  </a:lnTo>
                  <a:lnTo>
                    <a:pt x="32" y="414"/>
                  </a:lnTo>
                  <a:lnTo>
                    <a:pt x="32" y="415"/>
                  </a:lnTo>
                  <a:lnTo>
                    <a:pt x="32" y="415"/>
                  </a:lnTo>
                  <a:lnTo>
                    <a:pt x="32" y="416"/>
                  </a:lnTo>
                  <a:lnTo>
                    <a:pt x="32" y="417"/>
                  </a:lnTo>
                  <a:lnTo>
                    <a:pt x="32" y="417"/>
                  </a:lnTo>
                  <a:lnTo>
                    <a:pt x="32" y="418"/>
                  </a:lnTo>
                  <a:lnTo>
                    <a:pt x="32" y="418"/>
                  </a:lnTo>
                  <a:lnTo>
                    <a:pt x="31" y="419"/>
                  </a:lnTo>
                  <a:lnTo>
                    <a:pt x="30" y="421"/>
                  </a:lnTo>
                  <a:lnTo>
                    <a:pt x="29" y="422"/>
                  </a:lnTo>
                  <a:lnTo>
                    <a:pt x="28" y="424"/>
                  </a:lnTo>
                  <a:lnTo>
                    <a:pt x="27" y="427"/>
                  </a:lnTo>
                  <a:lnTo>
                    <a:pt x="27" y="429"/>
                  </a:lnTo>
                  <a:lnTo>
                    <a:pt x="26" y="430"/>
                  </a:lnTo>
                  <a:lnTo>
                    <a:pt x="25" y="431"/>
                  </a:lnTo>
                  <a:lnTo>
                    <a:pt x="25" y="432"/>
                  </a:lnTo>
                  <a:lnTo>
                    <a:pt x="23" y="433"/>
                  </a:lnTo>
                  <a:lnTo>
                    <a:pt x="22" y="434"/>
                  </a:lnTo>
                  <a:lnTo>
                    <a:pt x="21" y="435"/>
                  </a:lnTo>
                  <a:lnTo>
                    <a:pt x="20" y="436"/>
                  </a:lnTo>
                  <a:lnTo>
                    <a:pt x="19" y="436"/>
                  </a:lnTo>
                  <a:lnTo>
                    <a:pt x="18" y="437"/>
                  </a:lnTo>
                  <a:lnTo>
                    <a:pt x="17" y="437"/>
                  </a:lnTo>
                  <a:lnTo>
                    <a:pt x="16" y="437"/>
                  </a:lnTo>
                  <a:lnTo>
                    <a:pt x="15" y="437"/>
                  </a:lnTo>
                  <a:lnTo>
                    <a:pt x="14" y="436"/>
                  </a:lnTo>
                  <a:lnTo>
                    <a:pt x="12" y="436"/>
                  </a:lnTo>
                  <a:lnTo>
                    <a:pt x="11" y="435"/>
                  </a:lnTo>
                  <a:lnTo>
                    <a:pt x="9" y="434"/>
                  </a:lnTo>
                  <a:lnTo>
                    <a:pt x="6" y="431"/>
                  </a:lnTo>
                  <a:lnTo>
                    <a:pt x="4" y="430"/>
                  </a:lnTo>
                  <a:lnTo>
                    <a:pt x="3" y="429"/>
                  </a:lnTo>
                  <a:lnTo>
                    <a:pt x="3" y="429"/>
                  </a:lnTo>
                  <a:lnTo>
                    <a:pt x="1" y="427"/>
                  </a:lnTo>
                  <a:lnTo>
                    <a:pt x="1" y="427"/>
                  </a:lnTo>
                  <a:lnTo>
                    <a:pt x="0" y="426"/>
                  </a:lnTo>
                  <a:lnTo>
                    <a:pt x="0" y="426"/>
                  </a:lnTo>
                  <a:lnTo>
                    <a:pt x="0" y="425"/>
                  </a:lnTo>
                  <a:lnTo>
                    <a:pt x="0" y="424"/>
                  </a:lnTo>
                  <a:lnTo>
                    <a:pt x="0" y="423"/>
                  </a:lnTo>
                  <a:lnTo>
                    <a:pt x="0" y="423"/>
                  </a:lnTo>
                  <a:lnTo>
                    <a:pt x="0" y="422"/>
                  </a:lnTo>
                  <a:lnTo>
                    <a:pt x="1" y="421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Freeform 36">
              <a:extLst>
                <a:ext uri="{FF2B5EF4-FFF2-40B4-BE49-F238E27FC236}">
                  <a16:creationId xmlns:a16="http://schemas.microsoft.com/office/drawing/2014/main" id="{45872B3A-B518-434C-86E6-ECD9EBB989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140"/>
              <a:ext cx="169" cy="475"/>
            </a:xfrm>
            <a:custGeom>
              <a:avLst/>
              <a:gdLst>
                <a:gd name="T0" fmla="*/ 36 w 169"/>
                <a:gd name="T1" fmla="*/ 470 h 475"/>
                <a:gd name="T2" fmla="*/ 35 w 169"/>
                <a:gd name="T3" fmla="*/ 464 h 475"/>
                <a:gd name="T4" fmla="*/ 28 w 169"/>
                <a:gd name="T5" fmla="*/ 449 h 475"/>
                <a:gd name="T6" fmla="*/ 27 w 169"/>
                <a:gd name="T7" fmla="*/ 436 h 475"/>
                <a:gd name="T8" fmla="*/ 34 w 169"/>
                <a:gd name="T9" fmla="*/ 426 h 475"/>
                <a:gd name="T10" fmla="*/ 34 w 169"/>
                <a:gd name="T11" fmla="*/ 424 h 475"/>
                <a:gd name="T12" fmla="*/ 15 w 169"/>
                <a:gd name="T13" fmla="*/ 419 h 475"/>
                <a:gd name="T14" fmla="*/ 13 w 169"/>
                <a:gd name="T15" fmla="*/ 416 h 475"/>
                <a:gd name="T16" fmla="*/ 13 w 169"/>
                <a:gd name="T17" fmla="*/ 405 h 475"/>
                <a:gd name="T18" fmla="*/ 18 w 169"/>
                <a:gd name="T19" fmla="*/ 403 h 475"/>
                <a:gd name="T20" fmla="*/ 26 w 169"/>
                <a:gd name="T21" fmla="*/ 403 h 475"/>
                <a:gd name="T22" fmla="*/ 29 w 169"/>
                <a:gd name="T23" fmla="*/ 395 h 475"/>
                <a:gd name="T24" fmla="*/ 31 w 169"/>
                <a:gd name="T25" fmla="*/ 386 h 475"/>
                <a:gd name="T26" fmla="*/ 30 w 169"/>
                <a:gd name="T27" fmla="*/ 374 h 475"/>
                <a:gd name="T28" fmla="*/ 32 w 169"/>
                <a:gd name="T29" fmla="*/ 366 h 475"/>
                <a:gd name="T30" fmla="*/ 40 w 169"/>
                <a:gd name="T31" fmla="*/ 355 h 475"/>
                <a:gd name="T32" fmla="*/ 40 w 169"/>
                <a:gd name="T33" fmla="*/ 341 h 475"/>
                <a:gd name="T34" fmla="*/ 36 w 169"/>
                <a:gd name="T35" fmla="*/ 335 h 475"/>
                <a:gd name="T36" fmla="*/ 28 w 169"/>
                <a:gd name="T37" fmla="*/ 333 h 475"/>
                <a:gd name="T38" fmla="*/ 28 w 169"/>
                <a:gd name="T39" fmla="*/ 328 h 475"/>
                <a:gd name="T40" fmla="*/ 26 w 169"/>
                <a:gd name="T41" fmla="*/ 320 h 475"/>
                <a:gd name="T42" fmla="*/ 20 w 169"/>
                <a:gd name="T43" fmla="*/ 308 h 475"/>
                <a:gd name="T44" fmla="*/ 12 w 169"/>
                <a:gd name="T45" fmla="*/ 294 h 475"/>
                <a:gd name="T46" fmla="*/ 7 w 169"/>
                <a:gd name="T47" fmla="*/ 284 h 475"/>
                <a:gd name="T48" fmla="*/ 9 w 169"/>
                <a:gd name="T49" fmla="*/ 275 h 475"/>
                <a:gd name="T50" fmla="*/ 13 w 169"/>
                <a:gd name="T51" fmla="*/ 266 h 475"/>
                <a:gd name="T52" fmla="*/ 11 w 169"/>
                <a:gd name="T53" fmla="*/ 250 h 475"/>
                <a:gd name="T54" fmla="*/ 5 w 169"/>
                <a:gd name="T55" fmla="*/ 230 h 475"/>
                <a:gd name="T56" fmla="*/ 1 w 169"/>
                <a:gd name="T57" fmla="*/ 212 h 475"/>
                <a:gd name="T58" fmla="*/ 3 w 169"/>
                <a:gd name="T59" fmla="*/ 209 h 475"/>
                <a:gd name="T60" fmla="*/ 11 w 169"/>
                <a:gd name="T61" fmla="*/ 206 h 475"/>
                <a:gd name="T62" fmla="*/ 22 w 169"/>
                <a:gd name="T63" fmla="*/ 196 h 475"/>
                <a:gd name="T64" fmla="*/ 27 w 169"/>
                <a:gd name="T65" fmla="*/ 189 h 475"/>
                <a:gd name="T66" fmla="*/ 25 w 169"/>
                <a:gd name="T67" fmla="*/ 177 h 475"/>
                <a:gd name="T68" fmla="*/ 27 w 169"/>
                <a:gd name="T69" fmla="*/ 167 h 475"/>
                <a:gd name="T70" fmla="*/ 28 w 169"/>
                <a:gd name="T71" fmla="*/ 157 h 475"/>
                <a:gd name="T72" fmla="*/ 38 w 169"/>
                <a:gd name="T73" fmla="*/ 132 h 475"/>
                <a:gd name="T74" fmla="*/ 41 w 169"/>
                <a:gd name="T75" fmla="*/ 118 h 475"/>
                <a:gd name="T76" fmla="*/ 43 w 169"/>
                <a:gd name="T77" fmla="*/ 115 h 475"/>
                <a:gd name="T78" fmla="*/ 53 w 169"/>
                <a:gd name="T79" fmla="*/ 106 h 475"/>
                <a:gd name="T80" fmla="*/ 64 w 169"/>
                <a:gd name="T81" fmla="*/ 103 h 475"/>
                <a:gd name="T82" fmla="*/ 72 w 169"/>
                <a:gd name="T83" fmla="*/ 98 h 475"/>
                <a:gd name="T84" fmla="*/ 80 w 169"/>
                <a:gd name="T85" fmla="*/ 103 h 475"/>
                <a:gd name="T86" fmla="*/ 85 w 169"/>
                <a:gd name="T87" fmla="*/ 103 h 475"/>
                <a:gd name="T88" fmla="*/ 85 w 169"/>
                <a:gd name="T89" fmla="*/ 94 h 475"/>
                <a:gd name="T90" fmla="*/ 85 w 169"/>
                <a:gd name="T91" fmla="*/ 80 h 475"/>
                <a:gd name="T92" fmla="*/ 80 w 169"/>
                <a:gd name="T93" fmla="*/ 69 h 475"/>
                <a:gd name="T94" fmla="*/ 66 w 169"/>
                <a:gd name="T95" fmla="*/ 60 h 475"/>
                <a:gd name="T96" fmla="*/ 59 w 169"/>
                <a:gd name="T97" fmla="*/ 49 h 475"/>
                <a:gd name="T98" fmla="*/ 52 w 169"/>
                <a:gd name="T99" fmla="*/ 30 h 475"/>
                <a:gd name="T100" fmla="*/ 42 w 169"/>
                <a:gd name="T101" fmla="*/ 21 h 475"/>
                <a:gd name="T102" fmla="*/ 39 w 169"/>
                <a:gd name="T103" fmla="*/ 15 h 475"/>
                <a:gd name="T104" fmla="*/ 45 w 169"/>
                <a:gd name="T105" fmla="*/ 5 h 475"/>
                <a:gd name="T106" fmla="*/ 51 w 169"/>
                <a:gd name="T107" fmla="*/ 0 h 475"/>
                <a:gd name="T108" fmla="*/ 68 w 169"/>
                <a:gd name="T109" fmla="*/ 10 h 475"/>
                <a:gd name="T110" fmla="*/ 79 w 169"/>
                <a:gd name="T111" fmla="*/ 11 h 475"/>
                <a:gd name="T112" fmla="*/ 98 w 169"/>
                <a:gd name="T113" fmla="*/ 18 h 475"/>
                <a:gd name="T114" fmla="*/ 111 w 169"/>
                <a:gd name="T115" fmla="*/ 21 h 475"/>
                <a:gd name="T116" fmla="*/ 124 w 169"/>
                <a:gd name="T117" fmla="*/ 28 h 475"/>
                <a:gd name="T118" fmla="*/ 136 w 169"/>
                <a:gd name="T119" fmla="*/ 28 h 475"/>
                <a:gd name="T120" fmla="*/ 141 w 169"/>
                <a:gd name="T121" fmla="*/ 38 h 475"/>
                <a:gd name="T122" fmla="*/ 151 w 169"/>
                <a:gd name="T123" fmla="*/ 49 h 475"/>
                <a:gd name="T124" fmla="*/ 162 w 169"/>
                <a:gd name="T125" fmla="*/ 55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9" h="475">
                  <a:moveTo>
                    <a:pt x="32" y="475"/>
                  </a:moveTo>
                  <a:lnTo>
                    <a:pt x="32" y="475"/>
                  </a:lnTo>
                  <a:lnTo>
                    <a:pt x="32" y="474"/>
                  </a:lnTo>
                  <a:lnTo>
                    <a:pt x="32" y="474"/>
                  </a:lnTo>
                  <a:lnTo>
                    <a:pt x="33" y="473"/>
                  </a:lnTo>
                  <a:lnTo>
                    <a:pt x="35" y="471"/>
                  </a:lnTo>
                  <a:lnTo>
                    <a:pt x="36" y="471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9"/>
                  </a:lnTo>
                  <a:lnTo>
                    <a:pt x="37" y="469"/>
                  </a:lnTo>
                  <a:lnTo>
                    <a:pt x="37" y="468"/>
                  </a:lnTo>
                  <a:lnTo>
                    <a:pt x="36" y="467"/>
                  </a:lnTo>
                  <a:lnTo>
                    <a:pt x="36" y="466"/>
                  </a:lnTo>
                  <a:lnTo>
                    <a:pt x="35" y="465"/>
                  </a:lnTo>
                  <a:lnTo>
                    <a:pt x="35" y="464"/>
                  </a:lnTo>
                  <a:lnTo>
                    <a:pt x="34" y="463"/>
                  </a:lnTo>
                  <a:lnTo>
                    <a:pt x="32" y="460"/>
                  </a:lnTo>
                  <a:lnTo>
                    <a:pt x="31" y="459"/>
                  </a:lnTo>
                  <a:lnTo>
                    <a:pt x="31" y="458"/>
                  </a:lnTo>
                  <a:lnTo>
                    <a:pt x="30" y="457"/>
                  </a:lnTo>
                  <a:lnTo>
                    <a:pt x="30" y="456"/>
                  </a:lnTo>
                  <a:lnTo>
                    <a:pt x="29" y="453"/>
                  </a:lnTo>
                  <a:lnTo>
                    <a:pt x="28" y="449"/>
                  </a:lnTo>
                  <a:lnTo>
                    <a:pt x="27" y="446"/>
                  </a:lnTo>
                  <a:lnTo>
                    <a:pt x="27" y="445"/>
                  </a:lnTo>
                  <a:lnTo>
                    <a:pt x="27" y="443"/>
                  </a:lnTo>
                  <a:lnTo>
                    <a:pt x="27" y="442"/>
                  </a:lnTo>
                  <a:lnTo>
                    <a:pt x="27" y="440"/>
                  </a:lnTo>
                  <a:lnTo>
                    <a:pt x="27" y="439"/>
                  </a:lnTo>
                  <a:lnTo>
                    <a:pt x="27" y="437"/>
                  </a:lnTo>
                  <a:lnTo>
                    <a:pt x="27" y="436"/>
                  </a:lnTo>
                  <a:lnTo>
                    <a:pt x="28" y="435"/>
                  </a:lnTo>
                  <a:lnTo>
                    <a:pt x="30" y="432"/>
                  </a:lnTo>
                  <a:lnTo>
                    <a:pt x="30" y="431"/>
                  </a:lnTo>
                  <a:lnTo>
                    <a:pt x="32" y="429"/>
                  </a:lnTo>
                  <a:lnTo>
                    <a:pt x="32" y="428"/>
                  </a:lnTo>
                  <a:lnTo>
                    <a:pt x="33" y="428"/>
                  </a:lnTo>
                  <a:lnTo>
                    <a:pt x="34" y="427"/>
                  </a:lnTo>
                  <a:lnTo>
                    <a:pt x="34" y="426"/>
                  </a:lnTo>
                  <a:lnTo>
                    <a:pt x="35" y="426"/>
                  </a:lnTo>
                  <a:lnTo>
                    <a:pt x="35" y="425"/>
                  </a:lnTo>
                  <a:lnTo>
                    <a:pt x="36" y="425"/>
                  </a:lnTo>
                  <a:lnTo>
                    <a:pt x="36" y="425"/>
                  </a:lnTo>
                  <a:lnTo>
                    <a:pt x="36" y="424"/>
                  </a:lnTo>
                  <a:lnTo>
                    <a:pt x="35" y="424"/>
                  </a:lnTo>
                  <a:lnTo>
                    <a:pt x="35" y="424"/>
                  </a:lnTo>
                  <a:lnTo>
                    <a:pt x="34" y="424"/>
                  </a:lnTo>
                  <a:lnTo>
                    <a:pt x="32" y="423"/>
                  </a:lnTo>
                  <a:lnTo>
                    <a:pt x="30" y="423"/>
                  </a:lnTo>
                  <a:lnTo>
                    <a:pt x="29" y="423"/>
                  </a:lnTo>
                  <a:lnTo>
                    <a:pt x="27" y="423"/>
                  </a:lnTo>
                  <a:lnTo>
                    <a:pt x="25" y="422"/>
                  </a:lnTo>
                  <a:lnTo>
                    <a:pt x="21" y="421"/>
                  </a:lnTo>
                  <a:lnTo>
                    <a:pt x="18" y="420"/>
                  </a:lnTo>
                  <a:lnTo>
                    <a:pt x="15" y="419"/>
                  </a:lnTo>
                  <a:lnTo>
                    <a:pt x="15" y="419"/>
                  </a:lnTo>
                  <a:lnTo>
                    <a:pt x="14" y="419"/>
                  </a:lnTo>
                  <a:lnTo>
                    <a:pt x="14" y="418"/>
                  </a:lnTo>
                  <a:lnTo>
                    <a:pt x="13" y="418"/>
                  </a:lnTo>
                  <a:lnTo>
                    <a:pt x="13" y="418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3" y="416"/>
                  </a:lnTo>
                  <a:lnTo>
                    <a:pt x="13" y="415"/>
                  </a:lnTo>
                  <a:lnTo>
                    <a:pt x="13" y="413"/>
                  </a:lnTo>
                  <a:lnTo>
                    <a:pt x="13" y="412"/>
                  </a:lnTo>
                  <a:lnTo>
                    <a:pt x="13" y="411"/>
                  </a:lnTo>
                  <a:lnTo>
                    <a:pt x="12" y="408"/>
                  </a:lnTo>
                  <a:lnTo>
                    <a:pt x="12" y="407"/>
                  </a:lnTo>
                  <a:lnTo>
                    <a:pt x="12" y="406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4" y="403"/>
                  </a:lnTo>
                  <a:lnTo>
                    <a:pt x="14" y="402"/>
                  </a:lnTo>
                  <a:lnTo>
                    <a:pt x="15" y="402"/>
                  </a:lnTo>
                  <a:lnTo>
                    <a:pt x="15" y="402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3" y="404"/>
                  </a:lnTo>
                  <a:lnTo>
                    <a:pt x="24" y="404"/>
                  </a:lnTo>
                  <a:lnTo>
                    <a:pt x="25" y="404"/>
                  </a:lnTo>
                  <a:lnTo>
                    <a:pt x="25" y="404"/>
                  </a:lnTo>
                  <a:lnTo>
                    <a:pt x="25" y="403"/>
                  </a:lnTo>
                  <a:lnTo>
                    <a:pt x="26" y="403"/>
                  </a:lnTo>
                  <a:lnTo>
                    <a:pt x="26" y="403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8" y="397"/>
                  </a:lnTo>
                  <a:lnTo>
                    <a:pt x="29" y="396"/>
                  </a:lnTo>
                  <a:lnTo>
                    <a:pt x="29" y="395"/>
                  </a:lnTo>
                  <a:lnTo>
                    <a:pt x="29" y="394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0" y="389"/>
                  </a:lnTo>
                  <a:lnTo>
                    <a:pt x="31" y="386"/>
                  </a:lnTo>
                  <a:lnTo>
                    <a:pt x="32" y="384"/>
                  </a:lnTo>
                  <a:lnTo>
                    <a:pt x="32" y="382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80"/>
                  </a:lnTo>
                  <a:lnTo>
                    <a:pt x="31" y="377"/>
                  </a:lnTo>
                  <a:lnTo>
                    <a:pt x="30" y="375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3"/>
                  </a:lnTo>
                  <a:lnTo>
                    <a:pt x="30" y="371"/>
                  </a:lnTo>
                  <a:lnTo>
                    <a:pt x="30" y="370"/>
                  </a:lnTo>
                  <a:lnTo>
                    <a:pt x="30" y="369"/>
                  </a:lnTo>
                  <a:lnTo>
                    <a:pt x="31" y="368"/>
                  </a:lnTo>
                  <a:lnTo>
                    <a:pt x="31" y="367"/>
                  </a:lnTo>
                  <a:lnTo>
                    <a:pt x="32" y="366"/>
                  </a:lnTo>
                  <a:lnTo>
                    <a:pt x="33" y="365"/>
                  </a:lnTo>
                  <a:lnTo>
                    <a:pt x="33" y="364"/>
                  </a:lnTo>
                  <a:lnTo>
                    <a:pt x="36" y="361"/>
                  </a:lnTo>
                  <a:lnTo>
                    <a:pt x="38" y="358"/>
                  </a:lnTo>
                  <a:lnTo>
                    <a:pt x="39" y="357"/>
                  </a:lnTo>
                  <a:lnTo>
                    <a:pt x="39" y="356"/>
                  </a:lnTo>
                  <a:lnTo>
                    <a:pt x="39" y="356"/>
                  </a:lnTo>
                  <a:lnTo>
                    <a:pt x="40" y="355"/>
                  </a:lnTo>
                  <a:lnTo>
                    <a:pt x="40" y="353"/>
                  </a:lnTo>
                  <a:lnTo>
                    <a:pt x="41" y="352"/>
                  </a:lnTo>
                  <a:lnTo>
                    <a:pt x="41" y="350"/>
                  </a:lnTo>
                  <a:lnTo>
                    <a:pt x="41" y="348"/>
                  </a:lnTo>
                  <a:lnTo>
                    <a:pt x="41" y="347"/>
                  </a:lnTo>
                  <a:lnTo>
                    <a:pt x="41" y="346"/>
                  </a:lnTo>
                  <a:lnTo>
                    <a:pt x="40" y="342"/>
                  </a:lnTo>
                  <a:lnTo>
                    <a:pt x="40" y="341"/>
                  </a:lnTo>
                  <a:lnTo>
                    <a:pt x="40" y="340"/>
                  </a:lnTo>
                  <a:lnTo>
                    <a:pt x="40" y="339"/>
                  </a:lnTo>
                  <a:lnTo>
                    <a:pt x="39" y="338"/>
                  </a:lnTo>
                  <a:lnTo>
                    <a:pt x="39" y="338"/>
                  </a:lnTo>
                  <a:lnTo>
                    <a:pt x="38" y="337"/>
                  </a:lnTo>
                  <a:lnTo>
                    <a:pt x="38" y="336"/>
                  </a:lnTo>
                  <a:lnTo>
                    <a:pt x="37" y="336"/>
                  </a:lnTo>
                  <a:lnTo>
                    <a:pt x="36" y="335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4" y="334"/>
                  </a:lnTo>
                  <a:lnTo>
                    <a:pt x="31" y="334"/>
                  </a:lnTo>
                  <a:lnTo>
                    <a:pt x="30" y="333"/>
                  </a:lnTo>
                  <a:lnTo>
                    <a:pt x="29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7" y="333"/>
                  </a:lnTo>
                  <a:lnTo>
                    <a:pt x="27" y="333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1"/>
                  </a:lnTo>
                  <a:lnTo>
                    <a:pt x="27" y="330"/>
                  </a:lnTo>
                  <a:lnTo>
                    <a:pt x="28" y="328"/>
                  </a:lnTo>
                  <a:lnTo>
                    <a:pt x="28" y="327"/>
                  </a:lnTo>
                  <a:lnTo>
                    <a:pt x="28" y="326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8" y="324"/>
                  </a:lnTo>
                  <a:lnTo>
                    <a:pt x="27" y="321"/>
                  </a:lnTo>
                  <a:lnTo>
                    <a:pt x="26" y="321"/>
                  </a:lnTo>
                  <a:lnTo>
                    <a:pt x="26" y="320"/>
                  </a:lnTo>
                  <a:lnTo>
                    <a:pt x="26" y="317"/>
                  </a:lnTo>
                  <a:lnTo>
                    <a:pt x="26" y="316"/>
                  </a:lnTo>
                  <a:lnTo>
                    <a:pt x="25" y="315"/>
                  </a:lnTo>
                  <a:lnTo>
                    <a:pt x="25" y="314"/>
                  </a:lnTo>
                  <a:lnTo>
                    <a:pt x="24" y="314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7" y="305"/>
                  </a:lnTo>
                  <a:lnTo>
                    <a:pt x="16" y="304"/>
                  </a:lnTo>
                  <a:lnTo>
                    <a:pt x="15" y="302"/>
                  </a:lnTo>
                  <a:lnTo>
                    <a:pt x="15" y="300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12" y="294"/>
                  </a:lnTo>
                  <a:lnTo>
                    <a:pt x="12" y="293"/>
                  </a:lnTo>
                  <a:lnTo>
                    <a:pt x="12" y="292"/>
                  </a:lnTo>
                  <a:lnTo>
                    <a:pt x="11" y="291"/>
                  </a:lnTo>
                  <a:lnTo>
                    <a:pt x="9" y="288"/>
                  </a:lnTo>
                  <a:lnTo>
                    <a:pt x="8" y="287"/>
                  </a:lnTo>
                  <a:lnTo>
                    <a:pt x="8" y="286"/>
                  </a:lnTo>
                  <a:lnTo>
                    <a:pt x="8" y="285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6"/>
                  </a:lnTo>
                  <a:lnTo>
                    <a:pt x="9" y="275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2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8"/>
                  </a:lnTo>
                  <a:lnTo>
                    <a:pt x="13" y="267"/>
                  </a:lnTo>
                  <a:lnTo>
                    <a:pt x="13" y="266"/>
                  </a:lnTo>
                  <a:lnTo>
                    <a:pt x="13" y="266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2" y="260"/>
                  </a:lnTo>
                  <a:lnTo>
                    <a:pt x="12" y="258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7"/>
                  </a:lnTo>
                  <a:lnTo>
                    <a:pt x="10" y="246"/>
                  </a:lnTo>
                  <a:lnTo>
                    <a:pt x="9" y="241"/>
                  </a:lnTo>
                  <a:lnTo>
                    <a:pt x="7" y="236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5" y="230"/>
                  </a:lnTo>
                  <a:lnTo>
                    <a:pt x="4" y="225"/>
                  </a:lnTo>
                  <a:lnTo>
                    <a:pt x="4" y="223"/>
                  </a:lnTo>
                  <a:lnTo>
                    <a:pt x="3" y="220"/>
                  </a:lnTo>
                  <a:lnTo>
                    <a:pt x="1" y="216"/>
                  </a:lnTo>
                  <a:lnTo>
                    <a:pt x="1" y="215"/>
                  </a:lnTo>
                  <a:lnTo>
                    <a:pt x="1" y="214"/>
                  </a:lnTo>
                  <a:lnTo>
                    <a:pt x="0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1" y="210"/>
                  </a:lnTo>
                  <a:lnTo>
                    <a:pt x="1" y="210"/>
                  </a:lnTo>
                  <a:lnTo>
                    <a:pt x="2" y="210"/>
                  </a:lnTo>
                  <a:lnTo>
                    <a:pt x="2" y="210"/>
                  </a:lnTo>
                  <a:lnTo>
                    <a:pt x="3" y="209"/>
                  </a:lnTo>
                  <a:lnTo>
                    <a:pt x="4" y="209"/>
                  </a:lnTo>
                  <a:lnTo>
                    <a:pt x="5" y="209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0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3" y="205"/>
                  </a:lnTo>
                  <a:lnTo>
                    <a:pt x="14" y="204"/>
                  </a:lnTo>
                  <a:lnTo>
                    <a:pt x="15" y="203"/>
                  </a:lnTo>
                  <a:lnTo>
                    <a:pt x="15" y="202"/>
                  </a:lnTo>
                  <a:lnTo>
                    <a:pt x="18" y="199"/>
                  </a:lnTo>
                  <a:lnTo>
                    <a:pt x="19" y="198"/>
                  </a:lnTo>
                  <a:lnTo>
                    <a:pt x="22" y="196"/>
                  </a:lnTo>
                  <a:lnTo>
                    <a:pt x="23" y="194"/>
                  </a:lnTo>
                  <a:lnTo>
                    <a:pt x="24" y="194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2"/>
                  </a:lnTo>
                  <a:lnTo>
                    <a:pt x="26" y="191"/>
                  </a:lnTo>
                  <a:lnTo>
                    <a:pt x="26" y="190"/>
                  </a:lnTo>
                  <a:lnTo>
                    <a:pt x="27" y="189"/>
                  </a:lnTo>
                  <a:lnTo>
                    <a:pt x="27" y="188"/>
                  </a:lnTo>
                  <a:lnTo>
                    <a:pt x="27" y="187"/>
                  </a:lnTo>
                  <a:lnTo>
                    <a:pt x="27" y="185"/>
                  </a:lnTo>
                  <a:lnTo>
                    <a:pt x="26" y="182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0"/>
                  </a:lnTo>
                  <a:lnTo>
                    <a:pt x="27" y="169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6"/>
                  </a:lnTo>
                  <a:lnTo>
                    <a:pt x="27" y="162"/>
                  </a:lnTo>
                  <a:lnTo>
                    <a:pt x="27" y="161"/>
                  </a:lnTo>
                  <a:lnTo>
                    <a:pt x="27" y="160"/>
                  </a:lnTo>
                  <a:lnTo>
                    <a:pt x="27" y="159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30" y="150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4" y="143"/>
                  </a:lnTo>
                  <a:lnTo>
                    <a:pt x="36" y="135"/>
                  </a:lnTo>
                  <a:lnTo>
                    <a:pt x="38" y="132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40" y="125"/>
                  </a:lnTo>
                  <a:lnTo>
                    <a:pt x="40" y="123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4" y="114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9" y="108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5" y="105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3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1"/>
                  </a:lnTo>
                  <a:lnTo>
                    <a:pt x="69" y="100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6" y="99"/>
                  </a:lnTo>
                  <a:lnTo>
                    <a:pt x="79" y="102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1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3"/>
                  </a:lnTo>
                  <a:lnTo>
                    <a:pt x="85" y="103"/>
                  </a:lnTo>
                  <a:lnTo>
                    <a:pt x="85" y="102"/>
                  </a:lnTo>
                  <a:lnTo>
                    <a:pt x="86" y="102"/>
                  </a:lnTo>
                  <a:lnTo>
                    <a:pt x="86" y="101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6" y="97"/>
                  </a:lnTo>
                  <a:lnTo>
                    <a:pt x="85" y="94"/>
                  </a:lnTo>
                  <a:lnTo>
                    <a:pt x="85" y="92"/>
                  </a:lnTo>
                  <a:lnTo>
                    <a:pt x="84" y="91"/>
                  </a:lnTo>
                  <a:lnTo>
                    <a:pt x="84" y="89"/>
                  </a:lnTo>
                  <a:lnTo>
                    <a:pt x="84" y="88"/>
                  </a:lnTo>
                  <a:lnTo>
                    <a:pt x="84" y="87"/>
                  </a:lnTo>
                  <a:lnTo>
                    <a:pt x="85" y="83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5" y="78"/>
                  </a:lnTo>
                  <a:lnTo>
                    <a:pt x="84" y="77"/>
                  </a:lnTo>
                  <a:lnTo>
                    <a:pt x="84" y="75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79" y="68"/>
                  </a:lnTo>
                  <a:lnTo>
                    <a:pt x="78" y="67"/>
                  </a:lnTo>
                  <a:lnTo>
                    <a:pt x="77" y="66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68" y="62"/>
                  </a:lnTo>
                  <a:lnTo>
                    <a:pt x="67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1" y="54"/>
                  </a:lnTo>
                  <a:lnTo>
                    <a:pt x="59" y="49"/>
                  </a:lnTo>
                  <a:lnTo>
                    <a:pt x="57" y="44"/>
                  </a:lnTo>
                  <a:lnTo>
                    <a:pt x="56" y="42"/>
                  </a:lnTo>
                  <a:lnTo>
                    <a:pt x="55" y="40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3" y="32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8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4" y="6"/>
                  </a:lnTo>
                  <a:lnTo>
                    <a:pt x="45" y="5"/>
                  </a:lnTo>
                  <a:lnTo>
                    <a:pt x="46" y="4"/>
                  </a:lnTo>
                  <a:lnTo>
                    <a:pt x="47" y="3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9" y="5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0" y="12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6" y="14"/>
                  </a:lnTo>
                  <a:lnTo>
                    <a:pt x="92" y="16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8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3" y="22"/>
                  </a:lnTo>
                  <a:lnTo>
                    <a:pt x="113" y="23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5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8" y="31"/>
                  </a:lnTo>
                  <a:lnTo>
                    <a:pt x="140" y="35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3" y="40"/>
                  </a:lnTo>
                  <a:lnTo>
                    <a:pt x="144" y="41"/>
                  </a:lnTo>
                  <a:lnTo>
                    <a:pt x="145" y="43"/>
                  </a:lnTo>
                  <a:lnTo>
                    <a:pt x="146" y="44"/>
                  </a:lnTo>
                  <a:lnTo>
                    <a:pt x="147" y="45"/>
                  </a:lnTo>
                  <a:lnTo>
                    <a:pt x="148" y="46"/>
                  </a:lnTo>
                  <a:lnTo>
                    <a:pt x="149" y="47"/>
                  </a:lnTo>
                  <a:lnTo>
                    <a:pt x="151" y="49"/>
                  </a:lnTo>
                  <a:lnTo>
                    <a:pt x="153" y="50"/>
                  </a:lnTo>
                  <a:lnTo>
                    <a:pt x="154" y="51"/>
                  </a:lnTo>
                  <a:lnTo>
                    <a:pt x="155" y="52"/>
                  </a:lnTo>
                  <a:lnTo>
                    <a:pt x="156" y="52"/>
                  </a:lnTo>
                  <a:lnTo>
                    <a:pt x="158" y="53"/>
                  </a:lnTo>
                  <a:lnTo>
                    <a:pt x="160" y="54"/>
                  </a:lnTo>
                  <a:lnTo>
                    <a:pt x="161" y="54"/>
                  </a:lnTo>
                  <a:lnTo>
                    <a:pt x="162" y="55"/>
                  </a:lnTo>
                  <a:lnTo>
                    <a:pt x="163" y="55"/>
                  </a:lnTo>
                  <a:lnTo>
                    <a:pt x="164" y="55"/>
                  </a:lnTo>
                  <a:lnTo>
                    <a:pt x="165" y="55"/>
                  </a:lnTo>
                  <a:lnTo>
                    <a:pt x="166" y="56"/>
                  </a:lnTo>
                  <a:lnTo>
                    <a:pt x="167" y="56"/>
                  </a:lnTo>
                  <a:lnTo>
                    <a:pt x="169" y="56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Freeform 37">
              <a:extLst>
                <a:ext uri="{FF2B5EF4-FFF2-40B4-BE49-F238E27FC236}">
                  <a16:creationId xmlns:a16="http://schemas.microsoft.com/office/drawing/2014/main" id="{8B8AA6C0-45B6-EDFD-B774-3704C03F3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4" y="3551"/>
              <a:ext cx="387" cy="320"/>
            </a:xfrm>
            <a:custGeom>
              <a:avLst/>
              <a:gdLst>
                <a:gd name="T0" fmla="*/ 257 w 387"/>
                <a:gd name="T1" fmla="*/ 7 h 320"/>
                <a:gd name="T2" fmla="*/ 275 w 387"/>
                <a:gd name="T3" fmla="*/ 11 h 320"/>
                <a:gd name="T4" fmla="*/ 308 w 387"/>
                <a:gd name="T5" fmla="*/ 10 h 320"/>
                <a:gd name="T6" fmla="*/ 331 w 387"/>
                <a:gd name="T7" fmla="*/ 19 h 320"/>
                <a:gd name="T8" fmla="*/ 349 w 387"/>
                <a:gd name="T9" fmla="*/ 20 h 320"/>
                <a:gd name="T10" fmla="*/ 366 w 387"/>
                <a:gd name="T11" fmla="*/ 38 h 320"/>
                <a:gd name="T12" fmla="*/ 377 w 387"/>
                <a:gd name="T13" fmla="*/ 55 h 320"/>
                <a:gd name="T14" fmla="*/ 387 w 387"/>
                <a:gd name="T15" fmla="*/ 65 h 320"/>
                <a:gd name="T16" fmla="*/ 379 w 387"/>
                <a:gd name="T17" fmla="*/ 89 h 320"/>
                <a:gd name="T18" fmla="*/ 340 w 387"/>
                <a:gd name="T19" fmla="*/ 108 h 320"/>
                <a:gd name="T20" fmla="*/ 319 w 387"/>
                <a:gd name="T21" fmla="*/ 121 h 320"/>
                <a:gd name="T22" fmla="*/ 312 w 387"/>
                <a:gd name="T23" fmla="*/ 144 h 320"/>
                <a:gd name="T24" fmla="*/ 306 w 387"/>
                <a:gd name="T25" fmla="*/ 171 h 320"/>
                <a:gd name="T26" fmla="*/ 303 w 387"/>
                <a:gd name="T27" fmla="*/ 192 h 320"/>
                <a:gd name="T28" fmla="*/ 296 w 387"/>
                <a:gd name="T29" fmla="*/ 221 h 320"/>
                <a:gd name="T30" fmla="*/ 276 w 387"/>
                <a:gd name="T31" fmla="*/ 237 h 320"/>
                <a:gd name="T32" fmla="*/ 250 w 387"/>
                <a:gd name="T33" fmla="*/ 240 h 320"/>
                <a:gd name="T34" fmla="*/ 242 w 387"/>
                <a:gd name="T35" fmla="*/ 258 h 320"/>
                <a:gd name="T36" fmla="*/ 234 w 387"/>
                <a:gd name="T37" fmla="*/ 282 h 320"/>
                <a:gd name="T38" fmla="*/ 210 w 387"/>
                <a:gd name="T39" fmla="*/ 286 h 320"/>
                <a:gd name="T40" fmla="*/ 192 w 387"/>
                <a:gd name="T41" fmla="*/ 305 h 320"/>
                <a:gd name="T42" fmla="*/ 165 w 387"/>
                <a:gd name="T43" fmla="*/ 320 h 320"/>
                <a:gd name="T44" fmla="*/ 149 w 387"/>
                <a:gd name="T45" fmla="*/ 296 h 320"/>
                <a:gd name="T46" fmla="*/ 133 w 387"/>
                <a:gd name="T47" fmla="*/ 285 h 320"/>
                <a:gd name="T48" fmla="*/ 125 w 387"/>
                <a:gd name="T49" fmla="*/ 274 h 320"/>
                <a:gd name="T50" fmla="*/ 101 w 387"/>
                <a:gd name="T51" fmla="*/ 274 h 320"/>
                <a:gd name="T52" fmla="*/ 83 w 387"/>
                <a:gd name="T53" fmla="*/ 265 h 320"/>
                <a:gd name="T54" fmla="*/ 74 w 387"/>
                <a:gd name="T55" fmla="*/ 255 h 320"/>
                <a:gd name="T56" fmla="*/ 52 w 387"/>
                <a:gd name="T57" fmla="*/ 247 h 320"/>
                <a:gd name="T58" fmla="*/ 39 w 387"/>
                <a:gd name="T59" fmla="*/ 239 h 320"/>
                <a:gd name="T60" fmla="*/ 34 w 387"/>
                <a:gd name="T61" fmla="*/ 226 h 320"/>
                <a:gd name="T62" fmla="*/ 24 w 387"/>
                <a:gd name="T63" fmla="*/ 216 h 320"/>
                <a:gd name="T64" fmla="*/ 2 w 387"/>
                <a:gd name="T65" fmla="*/ 221 h 320"/>
                <a:gd name="T66" fmla="*/ 4 w 387"/>
                <a:gd name="T67" fmla="*/ 209 h 320"/>
                <a:gd name="T68" fmla="*/ 18 w 387"/>
                <a:gd name="T69" fmla="*/ 192 h 320"/>
                <a:gd name="T70" fmla="*/ 24 w 387"/>
                <a:gd name="T71" fmla="*/ 178 h 320"/>
                <a:gd name="T72" fmla="*/ 12 w 387"/>
                <a:gd name="T73" fmla="*/ 175 h 320"/>
                <a:gd name="T74" fmla="*/ 7 w 387"/>
                <a:gd name="T75" fmla="*/ 159 h 320"/>
                <a:gd name="T76" fmla="*/ 6 w 387"/>
                <a:gd name="T77" fmla="*/ 138 h 320"/>
                <a:gd name="T78" fmla="*/ 17 w 387"/>
                <a:gd name="T79" fmla="*/ 125 h 320"/>
                <a:gd name="T80" fmla="*/ 39 w 387"/>
                <a:gd name="T81" fmla="*/ 119 h 320"/>
                <a:gd name="T82" fmla="*/ 54 w 387"/>
                <a:gd name="T83" fmla="*/ 110 h 320"/>
                <a:gd name="T84" fmla="*/ 67 w 387"/>
                <a:gd name="T85" fmla="*/ 94 h 320"/>
                <a:gd name="T86" fmla="*/ 64 w 387"/>
                <a:gd name="T87" fmla="*/ 76 h 320"/>
                <a:gd name="T88" fmla="*/ 73 w 387"/>
                <a:gd name="T89" fmla="*/ 66 h 320"/>
                <a:gd name="T90" fmla="*/ 78 w 387"/>
                <a:gd name="T91" fmla="*/ 77 h 320"/>
                <a:gd name="T92" fmla="*/ 97 w 387"/>
                <a:gd name="T93" fmla="*/ 81 h 320"/>
                <a:gd name="T94" fmla="*/ 111 w 387"/>
                <a:gd name="T95" fmla="*/ 83 h 320"/>
                <a:gd name="T96" fmla="*/ 117 w 387"/>
                <a:gd name="T97" fmla="*/ 69 h 320"/>
                <a:gd name="T98" fmla="*/ 137 w 387"/>
                <a:gd name="T99" fmla="*/ 66 h 320"/>
                <a:gd name="T100" fmla="*/ 150 w 387"/>
                <a:gd name="T101" fmla="*/ 67 h 320"/>
                <a:gd name="T102" fmla="*/ 154 w 387"/>
                <a:gd name="T103" fmla="*/ 56 h 320"/>
                <a:gd name="T104" fmla="*/ 153 w 387"/>
                <a:gd name="T105" fmla="*/ 46 h 320"/>
                <a:gd name="T106" fmla="*/ 162 w 387"/>
                <a:gd name="T107" fmla="*/ 45 h 320"/>
                <a:gd name="T108" fmla="*/ 174 w 387"/>
                <a:gd name="T109" fmla="*/ 44 h 320"/>
                <a:gd name="T110" fmla="*/ 192 w 387"/>
                <a:gd name="T111" fmla="*/ 47 h 320"/>
                <a:gd name="T112" fmla="*/ 199 w 387"/>
                <a:gd name="T113" fmla="*/ 28 h 320"/>
                <a:gd name="T114" fmla="*/ 211 w 387"/>
                <a:gd name="T115" fmla="*/ 15 h 320"/>
                <a:gd name="T116" fmla="*/ 225 w 387"/>
                <a:gd name="T117" fmla="*/ 12 h 320"/>
                <a:gd name="T118" fmla="*/ 234 w 387"/>
                <a:gd name="T119" fmla="*/ 4 h 320"/>
                <a:gd name="T120" fmla="*/ 240 w 387"/>
                <a:gd name="T121" fmla="*/ 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87" h="320">
                  <a:moveTo>
                    <a:pt x="241" y="0"/>
                  </a:moveTo>
                  <a:lnTo>
                    <a:pt x="243" y="0"/>
                  </a:lnTo>
                  <a:lnTo>
                    <a:pt x="244" y="0"/>
                  </a:lnTo>
                  <a:lnTo>
                    <a:pt x="246" y="0"/>
                  </a:lnTo>
                  <a:lnTo>
                    <a:pt x="248" y="1"/>
                  </a:lnTo>
                  <a:lnTo>
                    <a:pt x="249" y="1"/>
                  </a:lnTo>
                  <a:lnTo>
                    <a:pt x="250" y="2"/>
                  </a:lnTo>
                  <a:lnTo>
                    <a:pt x="251" y="2"/>
                  </a:lnTo>
                  <a:lnTo>
                    <a:pt x="253" y="3"/>
                  </a:lnTo>
                  <a:lnTo>
                    <a:pt x="254" y="4"/>
                  </a:lnTo>
                  <a:lnTo>
                    <a:pt x="255" y="5"/>
                  </a:lnTo>
                  <a:lnTo>
                    <a:pt x="256" y="6"/>
                  </a:lnTo>
                  <a:lnTo>
                    <a:pt x="256" y="7"/>
                  </a:lnTo>
                  <a:lnTo>
                    <a:pt x="257" y="7"/>
                  </a:lnTo>
                  <a:lnTo>
                    <a:pt x="258" y="10"/>
                  </a:lnTo>
                  <a:lnTo>
                    <a:pt x="259" y="11"/>
                  </a:lnTo>
                  <a:lnTo>
                    <a:pt x="259" y="12"/>
                  </a:lnTo>
                  <a:lnTo>
                    <a:pt x="260" y="12"/>
                  </a:lnTo>
                  <a:lnTo>
                    <a:pt x="260" y="12"/>
                  </a:lnTo>
                  <a:lnTo>
                    <a:pt x="261" y="13"/>
                  </a:lnTo>
                  <a:lnTo>
                    <a:pt x="262" y="13"/>
                  </a:lnTo>
                  <a:lnTo>
                    <a:pt x="262" y="13"/>
                  </a:lnTo>
                  <a:lnTo>
                    <a:pt x="263" y="14"/>
                  </a:lnTo>
                  <a:lnTo>
                    <a:pt x="264" y="13"/>
                  </a:lnTo>
                  <a:lnTo>
                    <a:pt x="265" y="13"/>
                  </a:lnTo>
                  <a:lnTo>
                    <a:pt x="267" y="13"/>
                  </a:lnTo>
                  <a:lnTo>
                    <a:pt x="268" y="13"/>
                  </a:lnTo>
                  <a:lnTo>
                    <a:pt x="275" y="11"/>
                  </a:lnTo>
                  <a:lnTo>
                    <a:pt x="279" y="10"/>
                  </a:lnTo>
                  <a:lnTo>
                    <a:pt x="282" y="9"/>
                  </a:lnTo>
                  <a:lnTo>
                    <a:pt x="286" y="8"/>
                  </a:lnTo>
                  <a:lnTo>
                    <a:pt x="288" y="8"/>
                  </a:lnTo>
                  <a:lnTo>
                    <a:pt x="291" y="8"/>
                  </a:lnTo>
                  <a:lnTo>
                    <a:pt x="294" y="8"/>
                  </a:lnTo>
                  <a:lnTo>
                    <a:pt x="296" y="8"/>
                  </a:lnTo>
                  <a:lnTo>
                    <a:pt x="297" y="8"/>
                  </a:lnTo>
                  <a:lnTo>
                    <a:pt x="298" y="8"/>
                  </a:lnTo>
                  <a:lnTo>
                    <a:pt x="302" y="9"/>
                  </a:lnTo>
                  <a:lnTo>
                    <a:pt x="303" y="9"/>
                  </a:lnTo>
                  <a:lnTo>
                    <a:pt x="304" y="9"/>
                  </a:lnTo>
                  <a:lnTo>
                    <a:pt x="307" y="9"/>
                  </a:lnTo>
                  <a:lnTo>
                    <a:pt x="308" y="10"/>
                  </a:lnTo>
                  <a:lnTo>
                    <a:pt x="309" y="10"/>
                  </a:lnTo>
                  <a:lnTo>
                    <a:pt x="310" y="10"/>
                  </a:lnTo>
                  <a:lnTo>
                    <a:pt x="311" y="11"/>
                  </a:lnTo>
                  <a:lnTo>
                    <a:pt x="312" y="11"/>
                  </a:lnTo>
                  <a:lnTo>
                    <a:pt x="313" y="12"/>
                  </a:lnTo>
                  <a:lnTo>
                    <a:pt x="317" y="15"/>
                  </a:lnTo>
                  <a:lnTo>
                    <a:pt x="319" y="16"/>
                  </a:lnTo>
                  <a:lnTo>
                    <a:pt x="320" y="16"/>
                  </a:lnTo>
                  <a:lnTo>
                    <a:pt x="320" y="17"/>
                  </a:lnTo>
                  <a:lnTo>
                    <a:pt x="322" y="17"/>
                  </a:lnTo>
                  <a:lnTo>
                    <a:pt x="323" y="18"/>
                  </a:lnTo>
                  <a:lnTo>
                    <a:pt x="324" y="18"/>
                  </a:lnTo>
                  <a:lnTo>
                    <a:pt x="330" y="19"/>
                  </a:lnTo>
                  <a:lnTo>
                    <a:pt x="331" y="19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7" y="20"/>
                  </a:lnTo>
                  <a:lnTo>
                    <a:pt x="338" y="20"/>
                  </a:lnTo>
                  <a:lnTo>
                    <a:pt x="339" y="19"/>
                  </a:lnTo>
                  <a:lnTo>
                    <a:pt x="342" y="19"/>
                  </a:lnTo>
                  <a:lnTo>
                    <a:pt x="344" y="18"/>
                  </a:lnTo>
                  <a:lnTo>
                    <a:pt x="344" y="18"/>
                  </a:lnTo>
                  <a:lnTo>
                    <a:pt x="345" y="18"/>
                  </a:lnTo>
                  <a:lnTo>
                    <a:pt x="346" y="18"/>
                  </a:lnTo>
                  <a:lnTo>
                    <a:pt x="347" y="19"/>
                  </a:lnTo>
                  <a:lnTo>
                    <a:pt x="348" y="19"/>
                  </a:lnTo>
                  <a:lnTo>
                    <a:pt x="349" y="20"/>
                  </a:lnTo>
                  <a:lnTo>
                    <a:pt x="350" y="20"/>
                  </a:lnTo>
                  <a:lnTo>
                    <a:pt x="351" y="21"/>
                  </a:lnTo>
                  <a:lnTo>
                    <a:pt x="352" y="21"/>
                  </a:lnTo>
                  <a:lnTo>
                    <a:pt x="352" y="22"/>
                  </a:lnTo>
                  <a:lnTo>
                    <a:pt x="353" y="23"/>
                  </a:lnTo>
                  <a:lnTo>
                    <a:pt x="355" y="27"/>
                  </a:lnTo>
                  <a:lnTo>
                    <a:pt x="356" y="29"/>
                  </a:lnTo>
                  <a:lnTo>
                    <a:pt x="357" y="30"/>
                  </a:lnTo>
                  <a:lnTo>
                    <a:pt x="358" y="31"/>
                  </a:lnTo>
                  <a:lnTo>
                    <a:pt x="358" y="32"/>
                  </a:lnTo>
                  <a:lnTo>
                    <a:pt x="359" y="33"/>
                  </a:lnTo>
                  <a:lnTo>
                    <a:pt x="360" y="34"/>
                  </a:lnTo>
                  <a:lnTo>
                    <a:pt x="361" y="35"/>
                  </a:lnTo>
                  <a:lnTo>
                    <a:pt x="366" y="38"/>
                  </a:lnTo>
                  <a:lnTo>
                    <a:pt x="367" y="39"/>
                  </a:lnTo>
                  <a:lnTo>
                    <a:pt x="368" y="40"/>
                  </a:lnTo>
                  <a:lnTo>
                    <a:pt x="369" y="40"/>
                  </a:lnTo>
                  <a:lnTo>
                    <a:pt x="370" y="41"/>
                  </a:lnTo>
                  <a:lnTo>
                    <a:pt x="372" y="44"/>
                  </a:lnTo>
                  <a:lnTo>
                    <a:pt x="372" y="45"/>
                  </a:lnTo>
                  <a:lnTo>
                    <a:pt x="373" y="46"/>
                  </a:lnTo>
                  <a:lnTo>
                    <a:pt x="373" y="46"/>
                  </a:lnTo>
                  <a:lnTo>
                    <a:pt x="373" y="47"/>
                  </a:lnTo>
                  <a:lnTo>
                    <a:pt x="375" y="51"/>
                  </a:lnTo>
                  <a:lnTo>
                    <a:pt x="376" y="53"/>
                  </a:lnTo>
                  <a:lnTo>
                    <a:pt x="376" y="53"/>
                  </a:lnTo>
                  <a:lnTo>
                    <a:pt x="377" y="54"/>
                  </a:lnTo>
                  <a:lnTo>
                    <a:pt x="377" y="55"/>
                  </a:lnTo>
                  <a:lnTo>
                    <a:pt x="378" y="55"/>
                  </a:lnTo>
                  <a:lnTo>
                    <a:pt x="378" y="56"/>
                  </a:lnTo>
                  <a:lnTo>
                    <a:pt x="379" y="57"/>
                  </a:lnTo>
                  <a:lnTo>
                    <a:pt x="380" y="57"/>
                  </a:lnTo>
                  <a:lnTo>
                    <a:pt x="381" y="58"/>
                  </a:lnTo>
                  <a:lnTo>
                    <a:pt x="382" y="59"/>
                  </a:lnTo>
                  <a:lnTo>
                    <a:pt x="383" y="59"/>
                  </a:lnTo>
                  <a:lnTo>
                    <a:pt x="384" y="60"/>
                  </a:lnTo>
                  <a:lnTo>
                    <a:pt x="384" y="60"/>
                  </a:lnTo>
                  <a:lnTo>
                    <a:pt x="385" y="60"/>
                  </a:lnTo>
                  <a:lnTo>
                    <a:pt x="385" y="60"/>
                  </a:lnTo>
                  <a:lnTo>
                    <a:pt x="385" y="61"/>
                  </a:lnTo>
                  <a:lnTo>
                    <a:pt x="386" y="63"/>
                  </a:lnTo>
                  <a:lnTo>
                    <a:pt x="387" y="65"/>
                  </a:lnTo>
                  <a:lnTo>
                    <a:pt x="387" y="67"/>
                  </a:lnTo>
                  <a:lnTo>
                    <a:pt x="387" y="68"/>
                  </a:lnTo>
                  <a:lnTo>
                    <a:pt x="387" y="70"/>
                  </a:lnTo>
                  <a:lnTo>
                    <a:pt x="387" y="71"/>
                  </a:lnTo>
                  <a:lnTo>
                    <a:pt x="387" y="73"/>
                  </a:lnTo>
                  <a:lnTo>
                    <a:pt x="387" y="75"/>
                  </a:lnTo>
                  <a:lnTo>
                    <a:pt x="386" y="76"/>
                  </a:lnTo>
                  <a:lnTo>
                    <a:pt x="386" y="78"/>
                  </a:lnTo>
                  <a:lnTo>
                    <a:pt x="385" y="80"/>
                  </a:lnTo>
                  <a:lnTo>
                    <a:pt x="384" y="81"/>
                  </a:lnTo>
                  <a:lnTo>
                    <a:pt x="383" y="82"/>
                  </a:lnTo>
                  <a:lnTo>
                    <a:pt x="383" y="84"/>
                  </a:lnTo>
                  <a:lnTo>
                    <a:pt x="380" y="87"/>
                  </a:lnTo>
                  <a:lnTo>
                    <a:pt x="379" y="89"/>
                  </a:lnTo>
                  <a:lnTo>
                    <a:pt x="378" y="90"/>
                  </a:lnTo>
                  <a:lnTo>
                    <a:pt x="376" y="91"/>
                  </a:lnTo>
                  <a:lnTo>
                    <a:pt x="375" y="92"/>
                  </a:lnTo>
                  <a:lnTo>
                    <a:pt x="374" y="93"/>
                  </a:lnTo>
                  <a:lnTo>
                    <a:pt x="372" y="94"/>
                  </a:lnTo>
                  <a:lnTo>
                    <a:pt x="370" y="95"/>
                  </a:lnTo>
                  <a:lnTo>
                    <a:pt x="364" y="98"/>
                  </a:lnTo>
                  <a:lnTo>
                    <a:pt x="358" y="101"/>
                  </a:lnTo>
                  <a:lnTo>
                    <a:pt x="355" y="102"/>
                  </a:lnTo>
                  <a:lnTo>
                    <a:pt x="353" y="103"/>
                  </a:lnTo>
                  <a:lnTo>
                    <a:pt x="351" y="104"/>
                  </a:lnTo>
                  <a:lnTo>
                    <a:pt x="345" y="106"/>
                  </a:lnTo>
                  <a:lnTo>
                    <a:pt x="342" y="107"/>
                  </a:lnTo>
                  <a:lnTo>
                    <a:pt x="340" y="108"/>
                  </a:lnTo>
                  <a:lnTo>
                    <a:pt x="339" y="108"/>
                  </a:lnTo>
                  <a:lnTo>
                    <a:pt x="332" y="109"/>
                  </a:lnTo>
                  <a:lnTo>
                    <a:pt x="330" y="110"/>
                  </a:lnTo>
                  <a:lnTo>
                    <a:pt x="328" y="111"/>
                  </a:lnTo>
                  <a:lnTo>
                    <a:pt x="327" y="111"/>
                  </a:lnTo>
                  <a:lnTo>
                    <a:pt x="326" y="112"/>
                  </a:lnTo>
                  <a:lnTo>
                    <a:pt x="325" y="112"/>
                  </a:lnTo>
                  <a:lnTo>
                    <a:pt x="324" y="113"/>
                  </a:lnTo>
                  <a:lnTo>
                    <a:pt x="323" y="114"/>
                  </a:lnTo>
                  <a:lnTo>
                    <a:pt x="323" y="114"/>
                  </a:lnTo>
                  <a:lnTo>
                    <a:pt x="322" y="115"/>
                  </a:lnTo>
                  <a:lnTo>
                    <a:pt x="321" y="117"/>
                  </a:lnTo>
                  <a:lnTo>
                    <a:pt x="320" y="120"/>
                  </a:lnTo>
                  <a:lnTo>
                    <a:pt x="319" y="121"/>
                  </a:lnTo>
                  <a:lnTo>
                    <a:pt x="318" y="123"/>
                  </a:lnTo>
                  <a:lnTo>
                    <a:pt x="315" y="126"/>
                  </a:lnTo>
                  <a:lnTo>
                    <a:pt x="314" y="128"/>
                  </a:lnTo>
                  <a:lnTo>
                    <a:pt x="313" y="130"/>
                  </a:lnTo>
                  <a:lnTo>
                    <a:pt x="312" y="131"/>
                  </a:lnTo>
                  <a:lnTo>
                    <a:pt x="312" y="133"/>
                  </a:lnTo>
                  <a:lnTo>
                    <a:pt x="311" y="134"/>
                  </a:lnTo>
                  <a:lnTo>
                    <a:pt x="311" y="135"/>
                  </a:lnTo>
                  <a:lnTo>
                    <a:pt x="311" y="137"/>
                  </a:lnTo>
                  <a:lnTo>
                    <a:pt x="311" y="138"/>
                  </a:lnTo>
                  <a:lnTo>
                    <a:pt x="311" y="139"/>
                  </a:lnTo>
                  <a:lnTo>
                    <a:pt x="312" y="142"/>
                  </a:lnTo>
                  <a:lnTo>
                    <a:pt x="312" y="143"/>
                  </a:lnTo>
                  <a:lnTo>
                    <a:pt x="312" y="144"/>
                  </a:lnTo>
                  <a:lnTo>
                    <a:pt x="312" y="145"/>
                  </a:lnTo>
                  <a:lnTo>
                    <a:pt x="311" y="146"/>
                  </a:lnTo>
                  <a:lnTo>
                    <a:pt x="311" y="149"/>
                  </a:lnTo>
                  <a:lnTo>
                    <a:pt x="311" y="151"/>
                  </a:lnTo>
                  <a:lnTo>
                    <a:pt x="310" y="152"/>
                  </a:lnTo>
                  <a:lnTo>
                    <a:pt x="310" y="154"/>
                  </a:lnTo>
                  <a:lnTo>
                    <a:pt x="308" y="158"/>
                  </a:lnTo>
                  <a:lnTo>
                    <a:pt x="308" y="160"/>
                  </a:lnTo>
                  <a:lnTo>
                    <a:pt x="308" y="161"/>
                  </a:lnTo>
                  <a:lnTo>
                    <a:pt x="307" y="162"/>
                  </a:lnTo>
                  <a:lnTo>
                    <a:pt x="307" y="164"/>
                  </a:lnTo>
                  <a:lnTo>
                    <a:pt x="307" y="166"/>
                  </a:lnTo>
                  <a:lnTo>
                    <a:pt x="306" y="170"/>
                  </a:lnTo>
                  <a:lnTo>
                    <a:pt x="306" y="171"/>
                  </a:lnTo>
                  <a:lnTo>
                    <a:pt x="306" y="172"/>
                  </a:lnTo>
                  <a:lnTo>
                    <a:pt x="306" y="173"/>
                  </a:lnTo>
                  <a:lnTo>
                    <a:pt x="306" y="174"/>
                  </a:lnTo>
                  <a:lnTo>
                    <a:pt x="304" y="177"/>
                  </a:lnTo>
                  <a:lnTo>
                    <a:pt x="304" y="178"/>
                  </a:lnTo>
                  <a:lnTo>
                    <a:pt x="303" y="182"/>
                  </a:lnTo>
                  <a:lnTo>
                    <a:pt x="302" y="183"/>
                  </a:lnTo>
                  <a:lnTo>
                    <a:pt x="302" y="184"/>
                  </a:lnTo>
                  <a:lnTo>
                    <a:pt x="302" y="185"/>
                  </a:lnTo>
                  <a:lnTo>
                    <a:pt x="302" y="186"/>
                  </a:lnTo>
                  <a:lnTo>
                    <a:pt x="302" y="187"/>
                  </a:lnTo>
                  <a:lnTo>
                    <a:pt x="303" y="190"/>
                  </a:lnTo>
                  <a:lnTo>
                    <a:pt x="303" y="191"/>
                  </a:lnTo>
                  <a:lnTo>
                    <a:pt x="303" y="192"/>
                  </a:lnTo>
                  <a:lnTo>
                    <a:pt x="303" y="192"/>
                  </a:lnTo>
                  <a:lnTo>
                    <a:pt x="303" y="196"/>
                  </a:lnTo>
                  <a:lnTo>
                    <a:pt x="303" y="201"/>
                  </a:lnTo>
                  <a:lnTo>
                    <a:pt x="302" y="202"/>
                  </a:lnTo>
                  <a:lnTo>
                    <a:pt x="302" y="204"/>
                  </a:lnTo>
                  <a:lnTo>
                    <a:pt x="302" y="206"/>
                  </a:lnTo>
                  <a:lnTo>
                    <a:pt x="302" y="206"/>
                  </a:lnTo>
                  <a:lnTo>
                    <a:pt x="301" y="208"/>
                  </a:lnTo>
                  <a:lnTo>
                    <a:pt x="301" y="209"/>
                  </a:lnTo>
                  <a:lnTo>
                    <a:pt x="301" y="211"/>
                  </a:lnTo>
                  <a:lnTo>
                    <a:pt x="299" y="213"/>
                  </a:lnTo>
                  <a:lnTo>
                    <a:pt x="298" y="217"/>
                  </a:lnTo>
                  <a:lnTo>
                    <a:pt x="297" y="220"/>
                  </a:lnTo>
                  <a:lnTo>
                    <a:pt x="296" y="221"/>
                  </a:lnTo>
                  <a:lnTo>
                    <a:pt x="296" y="222"/>
                  </a:lnTo>
                  <a:lnTo>
                    <a:pt x="294" y="225"/>
                  </a:lnTo>
                  <a:lnTo>
                    <a:pt x="293" y="227"/>
                  </a:lnTo>
                  <a:lnTo>
                    <a:pt x="292" y="228"/>
                  </a:lnTo>
                  <a:lnTo>
                    <a:pt x="291" y="230"/>
                  </a:lnTo>
                  <a:lnTo>
                    <a:pt x="289" y="231"/>
                  </a:lnTo>
                  <a:lnTo>
                    <a:pt x="287" y="232"/>
                  </a:lnTo>
                  <a:lnTo>
                    <a:pt x="286" y="233"/>
                  </a:lnTo>
                  <a:lnTo>
                    <a:pt x="285" y="234"/>
                  </a:lnTo>
                  <a:lnTo>
                    <a:pt x="282" y="235"/>
                  </a:lnTo>
                  <a:lnTo>
                    <a:pt x="281" y="235"/>
                  </a:lnTo>
                  <a:lnTo>
                    <a:pt x="278" y="236"/>
                  </a:lnTo>
                  <a:lnTo>
                    <a:pt x="277" y="237"/>
                  </a:lnTo>
                  <a:lnTo>
                    <a:pt x="276" y="237"/>
                  </a:lnTo>
                  <a:lnTo>
                    <a:pt x="275" y="237"/>
                  </a:lnTo>
                  <a:lnTo>
                    <a:pt x="274" y="237"/>
                  </a:lnTo>
                  <a:lnTo>
                    <a:pt x="272" y="237"/>
                  </a:lnTo>
                  <a:lnTo>
                    <a:pt x="268" y="237"/>
                  </a:lnTo>
                  <a:lnTo>
                    <a:pt x="266" y="237"/>
                  </a:lnTo>
                  <a:lnTo>
                    <a:pt x="265" y="237"/>
                  </a:lnTo>
                  <a:lnTo>
                    <a:pt x="259" y="237"/>
                  </a:lnTo>
                  <a:lnTo>
                    <a:pt x="257" y="238"/>
                  </a:lnTo>
                  <a:lnTo>
                    <a:pt x="256" y="238"/>
                  </a:lnTo>
                  <a:lnTo>
                    <a:pt x="254" y="238"/>
                  </a:lnTo>
                  <a:lnTo>
                    <a:pt x="253" y="239"/>
                  </a:lnTo>
                  <a:lnTo>
                    <a:pt x="252" y="239"/>
                  </a:lnTo>
                  <a:lnTo>
                    <a:pt x="251" y="239"/>
                  </a:lnTo>
                  <a:lnTo>
                    <a:pt x="250" y="240"/>
                  </a:lnTo>
                  <a:lnTo>
                    <a:pt x="250" y="240"/>
                  </a:lnTo>
                  <a:lnTo>
                    <a:pt x="249" y="240"/>
                  </a:lnTo>
                  <a:lnTo>
                    <a:pt x="248" y="241"/>
                  </a:lnTo>
                  <a:lnTo>
                    <a:pt x="248" y="242"/>
                  </a:lnTo>
                  <a:lnTo>
                    <a:pt x="247" y="242"/>
                  </a:lnTo>
                  <a:lnTo>
                    <a:pt x="246" y="243"/>
                  </a:lnTo>
                  <a:lnTo>
                    <a:pt x="246" y="244"/>
                  </a:lnTo>
                  <a:lnTo>
                    <a:pt x="245" y="245"/>
                  </a:lnTo>
                  <a:lnTo>
                    <a:pt x="245" y="246"/>
                  </a:lnTo>
                  <a:lnTo>
                    <a:pt x="244" y="247"/>
                  </a:lnTo>
                  <a:lnTo>
                    <a:pt x="244" y="249"/>
                  </a:lnTo>
                  <a:lnTo>
                    <a:pt x="243" y="252"/>
                  </a:lnTo>
                  <a:lnTo>
                    <a:pt x="242" y="256"/>
                  </a:lnTo>
                  <a:lnTo>
                    <a:pt x="242" y="258"/>
                  </a:lnTo>
                  <a:lnTo>
                    <a:pt x="241" y="259"/>
                  </a:lnTo>
                  <a:lnTo>
                    <a:pt x="241" y="261"/>
                  </a:lnTo>
                  <a:lnTo>
                    <a:pt x="240" y="266"/>
                  </a:lnTo>
                  <a:lnTo>
                    <a:pt x="240" y="267"/>
                  </a:lnTo>
                  <a:lnTo>
                    <a:pt x="240" y="269"/>
                  </a:lnTo>
                  <a:lnTo>
                    <a:pt x="239" y="271"/>
                  </a:lnTo>
                  <a:lnTo>
                    <a:pt x="239" y="273"/>
                  </a:lnTo>
                  <a:lnTo>
                    <a:pt x="238" y="275"/>
                  </a:lnTo>
                  <a:lnTo>
                    <a:pt x="238" y="277"/>
                  </a:lnTo>
                  <a:lnTo>
                    <a:pt x="237" y="278"/>
                  </a:lnTo>
                  <a:lnTo>
                    <a:pt x="236" y="279"/>
                  </a:lnTo>
                  <a:lnTo>
                    <a:pt x="236" y="280"/>
                  </a:lnTo>
                  <a:lnTo>
                    <a:pt x="235" y="281"/>
                  </a:lnTo>
                  <a:lnTo>
                    <a:pt x="234" y="282"/>
                  </a:lnTo>
                  <a:lnTo>
                    <a:pt x="234" y="282"/>
                  </a:lnTo>
                  <a:lnTo>
                    <a:pt x="233" y="282"/>
                  </a:lnTo>
                  <a:lnTo>
                    <a:pt x="233" y="283"/>
                  </a:lnTo>
                  <a:lnTo>
                    <a:pt x="232" y="283"/>
                  </a:lnTo>
                  <a:lnTo>
                    <a:pt x="231" y="284"/>
                  </a:lnTo>
                  <a:lnTo>
                    <a:pt x="230" y="284"/>
                  </a:lnTo>
                  <a:lnTo>
                    <a:pt x="229" y="284"/>
                  </a:lnTo>
                  <a:lnTo>
                    <a:pt x="228" y="284"/>
                  </a:lnTo>
                  <a:lnTo>
                    <a:pt x="219" y="284"/>
                  </a:lnTo>
                  <a:lnTo>
                    <a:pt x="217" y="285"/>
                  </a:lnTo>
                  <a:lnTo>
                    <a:pt x="216" y="285"/>
                  </a:lnTo>
                  <a:lnTo>
                    <a:pt x="213" y="285"/>
                  </a:lnTo>
                  <a:lnTo>
                    <a:pt x="211" y="286"/>
                  </a:lnTo>
                  <a:lnTo>
                    <a:pt x="210" y="286"/>
                  </a:lnTo>
                  <a:lnTo>
                    <a:pt x="209" y="286"/>
                  </a:lnTo>
                  <a:lnTo>
                    <a:pt x="208" y="287"/>
                  </a:lnTo>
                  <a:lnTo>
                    <a:pt x="208" y="287"/>
                  </a:lnTo>
                  <a:lnTo>
                    <a:pt x="207" y="287"/>
                  </a:lnTo>
                  <a:lnTo>
                    <a:pt x="206" y="288"/>
                  </a:lnTo>
                  <a:lnTo>
                    <a:pt x="205" y="289"/>
                  </a:lnTo>
                  <a:lnTo>
                    <a:pt x="202" y="292"/>
                  </a:lnTo>
                  <a:lnTo>
                    <a:pt x="200" y="294"/>
                  </a:lnTo>
                  <a:lnTo>
                    <a:pt x="199" y="295"/>
                  </a:lnTo>
                  <a:lnTo>
                    <a:pt x="197" y="297"/>
                  </a:lnTo>
                  <a:lnTo>
                    <a:pt x="196" y="298"/>
                  </a:lnTo>
                  <a:lnTo>
                    <a:pt x="195" y="301"/>
                  </a:lnTo>
                  <a:lnTo>
                    <a:pt x="193" y="304"/>
                  </a:lnTo>
                  <a:lnTo>
                    <a:pt x="192" y="305"/>
                  </a:lnTo>
                  <a:lnTo>
                    <a:pt x="191" y="306"/>
                  </a:lnTo>
                  <a:lnTo>
                    <a:pt x="190" y="308"/>
                  </a:lnTo>
                  <a:lnTo>
                    <a:pt x="187" y="311"/>
                  </a:lnTo>
                  <a:lnTo>
                    <a:pt x="185" y="312"/>
                  </a:lnTo>
                  <a:lnTo>
                    <a:pt x="184" y="313"/>
                  </a:lnTo>
                  <a:lnTo>
                    <a:pt x="183" y="314"/>
                  </a:lnTo>
                  <a:lnTo>
                    <a:pt x="181" y="315"/>
                  </a:lnTo>
                  <a:lnTo>
                    <a:pt x="179" y="316"/>
                  </a:lnTo>
                  <a:lnTo>
                    <a:pt x="177" y="317"/>
                  </a:lnTo>
                  <a:lnTo>
                    <a:pt x="173" y="318"/>
                  </a:lnTo>
                  <a:lnTo>
                    <a:pt x="170" y="319"/>
                  </a:lnTo>
                  <a:lnTo>
                    <a:pt x="168" y="319"/>
                  </a:lnTo>
                  <a:lnTo>
                    <a:pt x="165" y="320"/>
                  </a:lnTo>
                  <a:lnTo>
                    <a:pt x="165" y="320"/>
                  </a:lnTo>
                  <a:lnTo>
                    <a:pt x="165" y="319"/>
                  </a:lnTo>
                  <a:lnTo>
                    <a:pt x="164" y="318"/>
                  </a:lnTo>
                  <a:lnTo>
                    <a:pt x="164" y="316"/>
                  </a:lnTo>
                  <a:lnTo>
                    <a:pt x="162" y="313"/>
                  </a:lnTo>
                  <a:lnTo>
                    <a:pt x="162" y="312"/>
                  </a:lnTo>
                  <a:lnTo>
                    <a:pt x="161" y="311"/>
                  </a:lnTo>
                  <a:lnTo>
                    <a:pt x="161" y="310"/>
                  </a:lnTo>
                  <a:lnTo>
                    <a:pt x="158" y="307"/>
                  </a:lnTo>
                  <a:lnTo>
                    <a:pt x="155" y="302"/>
                  </a:lnTo>
                  <a:lnTo>
                    <a:pt x="154" y="300"/>
                  </a:lnTo>
                  <a:lnTo>
                    <a:pt x="153" y="299"/>
                  </a:lnTo>
                  <a:lnTo>
                    <a:pt x="151" y="298"/>
                  </a:lnTo>
                  <a:lnTo>
                    <a:pt x="150" y="297"/>
                  </a:lnTo>
                  <a:lnTo>
                    <a:pt x="149" y="296"/>
                  </a:lnTo>
                  <a:lnTo>
                    <a:pt x="148" y="295"/>
                  </a:lnTo>
                  <a:lnTo>
                    <a:pt x="147" y="294"/>
                  </a:lnTo>
                  <a:lnTo>
                    <a:pt x="140" y="291"/>
                  </a:lnTo>
                  <a:lnTo>
                    <a:pt x="139" y="291"/>
                  </a:lnTo>
                  <a:lnTo>
                    <a:pt x="137" y="290"/>
                  </a:lnTo>
                  <a:lnTo>
                    <a:pt x="136" y="289"/>
                  </a:lnTo>
                  <a:lnTo>
                    <a:pt x="135" y="289"/>
                  </a:lnTo>
                  <a:lnTo>
                    <a:pt x="135" y="289"/>
                  </a:lnTo>
                  <a:lnTo>
                    <a:pt x="134" y="288"/>
                  </a:lnTo>
                  <a:lnTo>
                    <a:pt x="134" y="288"/>
                  </a:lnTo>
                  <a:lnTo>
                    <a:pt x="134" y="287"/>
                  </a:lnTo>
                  <a:lnTo>
                    <a:pt x="133" y="287"/>
                  </a:lnTo>
                  <a:lnTo>
                    <a:pt x="133" y="286"/>
                  </a:lnTo>
                  <a:lnTo>
                    <a:pt x="133" y="285"/>
                  </a:lnTo>
                  <a:lnTo>
                    <a:pt x="133" y="283"/>
                  </a:lnTo>
                  <a:lnTo>
                    <a:pt x="133" y="282"/>
                  </a:lnTo>
                  <a:lnTo>
                    <a:pt x="132" y="281"/>
                  </a:lnTo>
                  <a:lnTo>
                    <a:pt x="132" y="280"/>
                  </a:lnTo>
                  <a:lnTo>
                    <a:pt x="132" y="280"/>
                  </a:lnTo>
                  <a:lnTo>
                    <a:pt x="132" y="279"/>
                  </a:lnTo>
                  <a:lnTo>
                    <a:pt x="131" y="279"/>
                  </a:lnTo>
                  <a:lnTo>
                    <a:pt x="131" y="278"/>
                  </a:lnTo>
                  <a:lnTo>
                    <a:pt x="131" y="278"/>
                  </a:lnTo>
                  <a:lnTo>
                    <a:pt x="130" y="277"/>
                  </a:lnTo>
                  <a:lnTo>
                    <a:pt x="128" y="276"/>
                  </a:lnTo>
                  <a:lnTo>
                    <a:pt x="127" y="275"/>
                  </a:lnTo>
                  <a:lnTo>
                    <a:pt x="126" y="275"/>
                  </a:lnTo>
                  <a:lnTo>
                    <a:pt x="125" y="274"/>
                  </a:lnTo>
                  <a:lnTo>
                    <a:pt x="123" y="274"/>
                  </a:lnTo>
                  <a:lnTo>
                    <a:pt x="120" y="273"/>
                  </a:lnTo>
                  <a:lnTo>
                    <a:pt x="119" y="272"/>
                  </a:lnTo>
                  <a:lnTo>
                    <a:pt x="119" y="272"/>
                  </a:lnTo>
                  <a:lnTo>
                    <a:pt x="118" y="272"/>
                  </a:lnTo>
                  <a:lnTo>
                    <a:pt x="117" y="272"/>
                  </a:lnTo>
                  <a:lnTo>
                    <a:pt x="117" y="272"/>
                  </a:lnTo>
                  <a:lnTo>
                    <a:pt x="113" y="273"/>
                  </a:lnTo>
                  <a:lnTo>
                    <a:pt x="110" y="273"/>
                  </a:lnTo>
                  <a:lnTo>
                    <a:pt x="109" y="273"/>
                  </a:lnTo>
                  <a:lnTo>
                    <a:pt x="107" y="273"/>
                  </a:lnTo>
                  <a:lnTo>
                    <a:pt x="103" y="274"/>
                  </a:lnTo>
                  <a:lnTo>
                    <a:pt x="102" y="274"/>
                  </a:lnTo>
                  <a:lnTo>
                    <a:pt x="101" y="274"/>
                  </a:lnTo>
                  <a:lnTo>
                    <a:pt x="100" y="275"/>
                  </a:lnTo>
                  <a:lnTo>
                    <a:pt x="99" y="274"/>
                  </a:lnTo>
                  <a:lnTo>
                    <a:pt x="98" y="274"/>
                  </a:lnTo>
                  <a:lnTo>
                    <a:pt x="98" y="274"/>
                  </a:lnTo>
                  <a:lnTo>
                    <a:pt x="97" y="274"/>
                  </a:lnTo>
                  <a:lnTo>
                    <a:pt x="95" y="273"/>
                  </a:lnTo>
                  <a:lnTo>
                    <a:pt x="94" y="272"/>
                  </a:lnTo>
                  <a:lnTo>
                    <a:pt x="93" y="271"/>
                  </a:lnTo>
                  <a:lnTo>
                    <a:pt x="87" y="267"/>
                  </a:lnTo>
                  <a:lnTo>
                    <a:pt x="86" y="267"/>
                  </a:lnTo>
                  <a:lnTo>
                    <a:pt x="86" y="266"/>
                  </a:lnTo>
                  <a:lnTo>
                    <a:pt x="85" y="266"/>
                  </a:lnTo>
                  <a:lnTo>
                    <a:pt x="84" y="266"/>
                  </a:lnTo>
                  <a:lnTo>
                    <a:pt x="83" y="265"/>
                  </a:lnTo>
                  <a:lnTo>
                    <a:pt x="81" y="265"/>
                  </a:lnTo>
                  <a:lnTo>
                    <a:pt x="79" y="265"/>
                  </a:lnTo>
                  <a:lnTo>
                    <a:pt x="78" y="265"/>
                  </a:lnTo>
                  <a:lnTo>
                    <a:pt x="77" y="264"/>
                  </a:lnTo>
                  <a:lnTo>
                    <a:pt x="77" y="264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6" y="263"/>
                  </a:lnTo>
                  <a:lnTo>
                    <a:pt x="75" y="262"/>
                  </a:lnTo>
                  <a:lnTo>
                    <a:pt x="75" y="262"/>
                  </a:lnTo>
                  <a:lnTo>
                    <a:pt x="75" y="261"/>
                  </a:lnTo>
                  <a:lnTo>
                    <a:pt x="75" y="258"/>
                  </a:lnTo>
                  <a:lnTo>
                    <a:pt x="74" y="257"/>
                  </a:lnTo>
                  <a:lnTo>
                    <a:pt x="74" y="255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3" y="253"/>
                  </a:lnTo>
                  <a:lnTo>
                    <a:pt x="72" y="252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69" y="250"/>
                  </a:lnTo>
                  <a:lnTo>
                    <a:pt x="68" y="250"/>
                  </a:lnTo>
                  <a:lnTo>
                    <a:pt x="67" y="250"/>
                  </a:lnTo>
                  <a:lnTo>
                    <a:pt x="62" y="249"/>
                  </a:lnTo>
                  <a:lnTo>
                    <a:pt x="59" y="248"/>
                  </a:lnTo>
                  <a:lnTo>
                    <a:pt x="54" y="248"/>
                  </a:lnTo>
                  <a:lnTo>
                    <a:pt x="52" y="247"/>
                  </a:lnTo>
                  <a:lnTo>
                    <a:pt x="52" y="247"/>
                  </a:lnTo>
                  <a:lnTo>
                    <a:pt x="51" y="247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48" y="244"/>
                  </a:lnTo>
                  <a:lnTo>
                    <a:pt x="47" y="243"/>
                  </a:lnTo>
                  <a:lnTo>
                    <a:pt x="46" y="243"/>
                  </a:lnTo>
                  <a:lnTo>
                    <a:pt x="45" y="242"/>
                  </a:lnTo>
                  <a:lnTo>
                    <a:pt x="45" y="242"/>
                  </a:lnTo>
                  <a:lnTo>
                    <a:pt x="43" y="241"/>
                  </a:lnTo>
                  <a:lnTo>
                    <a:pt x="41" y="240"/>
                  </a:lnTo>
                  <a:lnTo>
                    <a:pt x="40" y="240"/>
                  </a:lnTo>
                  <a:lnTo>
                    <a:pt x="40" y="240"/>
                  </a:lnTo>
                  <a:lnTo>
                    <a:pt x="39" y="239"/>
                  </a:lnTo>
                  <a:lnTo>
                    <a:pt x="36" y="239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4" y="237"/>
                  </a:lnTo>
                  <a:lnTo>
                    <a:pt x="34" y="237"/>
                  </a:lnTo>
                  <a:lnTo>
                    <a:pt x="34" y="236"/>
                  </a:lnTo>
                  <a:lnTo>
                    <a:pt x="34" y="235"/>
                  </a:lnTo>
                  <a:lnTo>
                    <a:pt x="34" y="234"/>
                  </a:lnTo>
                  <a:lnTo>
                    <a:pt x="34" y="230"/>
                  </a:lnTo>
                  <a:lnTo>
                    <a:pt x="34" y="229"/>
                  </a:lnTo>
                  <a:lnTo>
                    <a:pt x="34" y="228"/>
                  </a:lnTo>
                  <a:lnTo>
                    <a:pt x="34" y="226"/>
                  </a:lnTo>
                  <a:lnTo>
                    <a:pt x="34" y="226"/>
                  </a:lnTo>
                  <a:lnTo>
                    <a:pt x="34" y="224"/>
                  </a:lnTo>
                  <a:lnTo>
                    <a:pt x="33" y="223"/>
                  </a:lnTo>
                  <a:lnTo>
                    <a:pt x="33" y="222"/>
                  </a:lnTo>
                  <a:lnTo>
                    <a:pt x="32" y="220"/>
                  </a:lnTo>
                  <a:lnTo>
                    <a:pt x="30" y="219"/>
                  </a:lnTo>
                  <a:lnTo>
                    <a:pt x="30" y="218"/>
                  </a:lnTo>
                  <a:lnTo>
                    <a:pt x="29" y="217"/>
                  </a:lnTo>
                  <a:lnTo>
                    <a:pt x="29" y="217"/>
                  </a:lnTo>
                  <a:lnTo>
                    <a:pt x="28" y="216"/>
                  </a:lnTo>
                  <a:lnTo>
                    <a:pt x="28" y="216"/>
                  </a:lnTo>
                  <a:lnTo>
                    <a:pt x="27" y="216"/>
                  </a:lnTo>
                  <a:lnTo>
                    <a:pt x="26" y="216"/>
                  </a:lnTo>
                  <a:lnTo>
                    <a:pt x="25" y="216"/>
                  </a:lnTo>
                  <a:lnTo>
                    <a:pt x="24" y="216"/>
                  </a:lnTo>
                  <a:lnTo>
                    <a:pt x="23" y="216"/>
                  </a:lnTo>
                  <a:lnTo>
                    <a:pt x="22" y="217"/>
                  </a:lnTo>
                  <a:lnTo>
                    <a:pt x="20" y="217"/>
                  </a:lnTo>
                  <a:lnTo>
                    <a:pt x="13" y="220"/>
                  </a:lnTo>
                  <a:lnTo>
                    <a:pt x="11" y="221"/>
                  </a:lnTo>
                  <a:lnTo>
                    <a:pt x="9" y="221"/>
                  </a:lnTo>
                  <a:lnTo>
                    <a:pt x="8" y="221"/>
                  </a:lnTo>
                  <a:lnTo>
                    <a:pt x="7" y="221"/>
                  </a:lnTo>
                  <a:lnTo>
                    <a:pt x="6" y="222"/>
                  </a:lnTo>
                  <a:lnTo>
                    <a:pt x="5" y="222"/>
                  </a:lnTo>
                  <a:lnTo>
                    <a:pt x="4" y="221"/>
                  </a:lnTo>
                  <a:lnTo>
                    <a:pt x="3" y="221"/>
                  </a:lnTo>
                  <a:lnTo>
                    <a:pt x="2" y="221"/>
                  </a:lnTo>
                  <a:lnTo>
                    <a:pt x="2" y="221"/>
                  </a:lnTo>
                  <a:lnTo>
                    <a:pt x="1" y="220"/>
                  </a:lnTo>
                  <a:lnTo>
                    <a:pt x="1" y="220"/>
                  </a:lnTo>
                  <a:lnTo>
                    <a:pt x="1" y="220"/>
                  </a:lnTo>
                  <a:lnTo>
                    <a:pt x="1" y="219"/>
                  </a:lnTo>
                  <a:lnTo>
                    <a:pt x="0" y="217"/>
                  </a:lnTo>
                  <a:lnTo>
                    <a:pt x="0" y="216"/>
                  </a:lnTo>
                  <a:lnTo>
                    <a:pt x="0" y="215"/>
                  </a:lnTo>
                  <a:lnTo>
                    <a:pt x="0" y="214"/>
                  </a:lnTo>
                  <a:lnTo>
                    <a:pt x="1" y="213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2" y="211"/>
                  </a:lnTo>
                  <a:lnTo>
                    <a:pt x="2" y="211"/>
                  </a:lnTo>
                  <a:lnTo>
                    <a:pt x="4" y="209"/>
                  </a:lnTo>
                  <a:lnTo>
                    <a:pt x="4" y="209"/>
                  </a:lnTo>
                  <a:lnTo>
                    <a:pt x="5" y="208"/>
                  </a:lnTo>
                  <a:lnTo>
                    <a:pt x="6" y="207"/>
                  </a:lnTo>
                  <a:lnTo>
                    <a:pt x="6" y="206"/>
                  </a:lnTo>
                  <a:lnTo>
                    <a:pt x="7" y="205"/>
                  </a:lnTo>
                  <a:lnTo>
                    <a:pt x="9" y="201"/>
                  </a:lnTo>
                  <a:lnTo>
                    <a:pt x="10" y="200"/>
                  </a:lnTo>
                  <a:lnTo>
                    <a:pt x="11" y="199"/>
                  </a:lnTo>
                  <a:lnTo>
                    <a:pt x="11" y="197"/>
                  </a:lnTo>
                  <a:lnTo>
                    <a:pt x="12" y="197"/>
                  </a:lnTo>
                  <a:lnTo>
                    <a:pt x="13" y="196"/>
                  </a:lnTo>
                  <a:lnTo>
                    <a:pt x="14" y="196"/>
                  </a:lnTo>
                  <a:lnTo>
                    <a:pt x="16" y="194"/>
                  </a:lnTo>
                  <a:lnTo>
                    <a:pt x="18" y="192"/>
                  </a:lnTo>
                  <a:lnTo>
                    <a:pt x="20" y="191"/>
                  </a:lnTo>
                  <a:lnTo>
                    <a:pt x="20" y="191"/>
                  </a:lnTo>
                  <a:lnTo>
                    <a:pt x="20" y="190"/>
                  </a:lnTo>
                  <a:lnTo>
                    <a:pt x="21" y="189"/>
                  </a:lnTo>
                  <a:lnTo>
                    <a:pt x="21" y="188"/>
                  </a:lnTo>
                  <a:lnTo>
                    <a:pt x="22" y="187"/>
                  </a:lnTo>
                  <a:lnTo>
                    <a:pt x="22" y="186"/>
                  </a:lnTo>
                  <a:lnTo>
                    <a:pt x="23" y="184"/>
                  </a:lnTo>
                  <a:lnTo>
                    <a:pt x="23" y="183"/>
                  </a:lnTo>
                  <a:lnTo>
                    <a:pt x="24" y="182"/>
                  </a:lnTo>
                  <a:lnTo>
                    <a:pt x="24" y="181"/>
                  </a:lnTo>
                  <a:lnTo>
                    <a:pt x="24" y="180"/>
                  </a:lnTo>
                  <a:lnTo>
                    <a:pt x="24" y="179"/>
                  </a:lnTo>
                  <a:lnTo>
                    <a:pt x="24" y="178"/>
                  </a:lnTo>
                  <a:lnTo>
                    <a:pt x="24" y="177"/>
                  </a:lnTo>
                  <a:lnTo>
                    <a:pt x="23" y="177"/>
                  </a:lnTo>
                  <a:lnTo>
                    <a:pt x="23" y="176"/>
                  </a:lnTo>
                  <a:lnTo>
                    <a:pt x="23" y="176"/>
                  </a:lnTo>
                  <a:lnTo>
                    <a:pt x="22" y="175"/>
                  </a:lnTo>
                  <a:lnTo>
                    <a:pt x="22" y="175"/>
                  </a:lnTo>
                  <a:lnTo>
                    <a:pt x="21" y="175"/>
                  </a:lnTo>
                  <a:lnTo>
                    <a:pt x="20" y="175"/>
                  </a:lnTo>
                  <a:lnTo>
                    <a:pt x="19" y="175"/>
                  </a:lnTo>
                  <a:lnTo>
                    <a:pt x="18" y="175"/>
                  </a:lnTo>
                  <a:lnTo>
                    <a:pt x="16" y="175"/>
                  </a:lnTo>
                  <a:lnTo>
                    <a:pt x="14" y="175"/>
                  </a:lnTo>
                  <a:lnTo>
                    <a:pt x="13" y="175"/>
                  </a:lnTo>
                  <a:lnTo>
                    <a:pt x="12" y="175"/>
                  </a:lnTo>
                  <a:lnTo>
                    <a:pt x="12" y="175"/>
                  </a:lnTo>
                  <a:lnTo>
                    <a:pt x="11" y="175"/>
                  </a:lnTo>
                  <a:lnTo>
                    <a:pt x="11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1" y="170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1" y="168"/>
                  </a:lnTo>
                  <a:lnTo>
                    <a:pt x="10" y="165"/>
                  </a:lnTo>
                  <a:lnTo>
                    <a:pt x="8" y="161"/>
                  </a:lnTo>
                  <a:lnTo>
                    <a:pt x="7" y="159"/>
                  </a:lnTo>
                  <a:lnTo>
                    <a:pt x="7" y="158"/>
                  </a:lnTo>
                  <a:lnTo>
                    <a:pt x="6" y="157"/>
                  </a:lnTo>
                  <a:lnTo>
                    <a:pt x="6" y="156"/>
                  </a:lnTo>
                  <a:lnTo>
                    <a:pt x="6" y="152"/>
                  </a:lnTo>
                  <a:lnTo>
                    <a:pt x="6" y="151"/>
                  </a:lnTo>
                  <a:lnTo>
                    <a:pt x="6" y="149"/>
                  </a:lnTo>
                  <a:lnTo>
                    <a:pt x="5" y="146"/>
                  </a:lnTo>
                  <a:lnTo>
                    <a:pt x="5" y="145"/>
                  </a:lnTo>
                  <a:lnTo>
                    <a:pt x="5" y="144"/>
                  </a:lnTo>
                  <a:lnTo>
                    <a:pt x="5" y="143"/>
                  </a:lnTo>
                  <a:lnTo>
                    <a:pt x="5" y="142"/>
                  </a:lnTo>
                  <a:lnTo>
                    <a:pt x="6" y="141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7" y="136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5" y="129"/>
                  </a:lnTo>
                  <a:lnTo>
                    <a:pt x="15" y="128"/>
                  </a:lnTo>
                  <a:lnTo>
                    <a:pt x="16" y="128"/>
                  </a:lnTo>
                  <a:lnTo>
                    <a:pt x="17" y="125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19" y="123"/>
                  </a:lnTo>
                  <a:lnTo>
                    <a:pt x="20" y="122"/>
                  </a:lnTo>
                  <a:lnTo>
                    <a:pt x="21" y="122"/>
                  </a:lnTo>
                  <a:lnTo>
                    <a:pt x="21" y="122"/>
                  </a:lnTo>
                  <a:lnTo>
                    <a:pt x="22" y="121"/>
                  </a:lnTo>
                  <a:lnTo>
                    <a:pt x="23" y="121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32" y="120"/>
                  </a:lnTo>
                  <a:lnTo>
                    <a:pt x="33" y="119"/>
                  </a:lnTo>
                  <a:lnTo>
                    <a:pt x="35" y="119"/>
                  </a:lnTo>
                  <a:lnTo>
                    <a:pt x="39" y="119"/>
                  </a:lnTo>
                  <a:lnTo>
                    <a:pt x="40" y="118"/>
                  </a:lnTo>
                  <a:lnTo>
                    <a:pt x="44" y="118"/>
                  </a:lnTo>
                  <a:lnTo>
                    <a:pt x="44" y="118"/>
                  </a:lnTo>
                  <a:lnTo>
                    <a:pt x="45" y="118"/>
                  </a:lnTo>
                  <a:lnTo>
                    <a:pt x="46" y="118"/>
                  </a:lnTo>
                  <a:lnTo>
                    <a:pt x="47" y="118"/>
                  </a:lnTo>
                  <a:lnTo>
                    <a:pt x="47" y="117"/>
                  </a:lnTo>
                  <a:lnTo>
                    <a:pt x="48" y="117"/>
                  </a:lnTo>
                  <a:lnTo>
                    <a:pt x="49" y="116"/>
                  </a:lnTo>
                  <a:lnTo>
                    <a:pt x="50" y="116"/>
                  </a:lnTo>
                  <a:lnTo>
                    <a:pt x="50" y="115"/>
                  </a:lnTo>
                  <a:lnTo>
                    <a:pt x="51" y="114"/>
                  </a:lnTo>
                  <a:lnTo>
                    <a:pt x="52" y="113"/>
                  </a:lnTo>
                  <a:lnTo>
                    <a:pt x="54" y="110"/>
                  </a:lnTo>
                  <a:lnTo>
                    <a:pt x="56" y="108"/>
                  </a:lnTo>
                  <a:lnTo>
                    <a:pt x="58" y="105"/>
                  </a:lnTo>
                  <a:lnTo>
                    <a:pt x="59" y="104"/>
                  </a:lnTo>
                  <a:lnTo>
                    <a:pt x="59" y="103"/>
                  </a:lnTo>
                  <a:lnTo>
                    <a:pt x="60" y="103"/>
                  </a:lnTo>
                  <a:lnTo>
                    <a:pt x="61" y="102"/>
                  </a:lnTo>
                  <a:lnTo>
                    <a:pt x="63" y="100"/>
                  </a:lnTo>
                  <a:lnTo>
                    <a:pt x="65" y="98"/>
                  </a:lnTo>
                  <a:lnTo>
                    <a:pt x="66" y="97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5"/>
                  </a:lnTo>
                  <a:lnTo>
                    <a:pt x="67" y="94"/>
                  </a:lnTo>
                  <a:lnTo>
                    <a:pt x="67" y="93"/>
                  </a:lnTo>
                  <a:lnTo>
                    <a:pt x="67" y="92"/>
                  </a:lnTo>
                  <a:lnTo>
                    <a:pt x="67" y="91"/>
                  </a:lnTo>
                  <a:lnTo>
                    <a:pt x="67" y="90"/>
                  </a:lnTo>
                  <a:lnTo>
                    <a:pt x="66" y="88"/>
                  </a:lnTo>
                  <a:lnTo>
                    <a:pt x="65" y="86"/>
                  </a:lnTo>
                  <a:lnTo>
                    <a:pt x="64" y="85"/>
                  </a:lnTo>
                  <a:lnTo>
                    <a:pt x="64" y="83"/>
                  </a:lnTo>
                  <a:lnTo>
                    <a:pt x="63" y="82"/>
                  </a:lnTo>
                  <a:lnTo>
                    <a:pt x="63" y="80"/>
                  </a:lnTo>
                  <a:lnTo>
                    <a:pt x="63" y="79"/>
                  </a:lnTo>
                  <a:lnTo>
                    <a:pt x="63" y="78"/>
                  </a:lnTo>
                  <a:lnTo>
                    <a:pt x="63" y="77"/>
                  </a:lnTo>
                  <a:lnTo>
                    <a:pt x="64" y="76"/>
                  </a:lnTo>
                  <a:lnTo>
                    <a:pt x="64" y="75"/>
                  </a:lnTo>
                  <a:lnTo>
                    <a:pt x="65" y="73"/>
                  </a:lnTo>
                  <a:lnTo>
                    <a:pt x="67" y="69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70" y="66"/>
                  </a:lnTo>
                  <a:lnTo>
                    <a:pt x="71" y="66"/>
                  </a:lnTo>
                  <a:lnTo>
                    <a:pt x="71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3" y="66"/>
                  </a:lnTo>
                  <a:lnTo>
                    <a:pt x="73" y="67"/>
                  </a:lnTo>
                  <a:lnTo>
                    <a:pt x="74" y="67"/>
                  </a:lnTo>
                  <a:lnTo>
                    <a:pt x="74" y="68"/>
                  </a:lnTo>
                  <a:lnTo>
                    <a:pt x="74" y="69"/>
                  </a:lnTo>
                  <a:lnTo>
                    <a:pt x="75" y="69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4"/>
                  </a:lnTo>
                  <a:lnTo>
                    <a:pt x="76" y="75"/>
                  </a:lnTo>
                  <a:lnTo>
                    <a:pt x="76" y="75"/>
                  </a:lnTo>
                  <a:lnTo>
                    <a:pt x="76" y="76"/>
                  </a:lnTo>
                  <a:lnTo>
                    <a:pt x="77" y="76"/>
                  </a:lnTo>
                  <a:lnTo>
                    <a:pt x="77" y="77"/>
                  </a:lnTo>
                  <a:lnTo>
                    <a:pt x="78" y="77"/>
                  </a:lnTo>
                  <a:lnTo>
                    <a:pt x="78" y="77"/>
                  </a:lnTo>
                  <a:lnTo>
                    <a:pt x="81" y="77"/>
                  </a:lnTo>
                  <a:lnTo>
                    <a:pt x="82" y="77"/>
                  </a:lnTo>
                  <a:lnTo>
                    <a:pt x="83" y="78"/>
                  </a:lnTo>
                  <a:lnTo>
                    <a:pt x="85" y="78"/>
                  </a:lnTo>
                  <a:lnTo>
                    <a:pt x="87" y="79"/>
                  </a:lnTo>
                  <a:lnTo>
                    <a:pt x="89" y="79"/>
                  </a:lnTo>
                  <a:lnTo>
                    <a:pt x="91" y="80"/>
                  </a:lnTo>
                  <a:lnTo>
                    <a:pt x="93" y="80"/>
                  </a:lnTo>
                  <a:lnTo>
                    <a:pt x="94" y="80"/>
                  </a:lnTo>
                  <a:lnTo>
                    <a:pt x="95" y="80"/>
                  </a:lnTo>
                  <a:lnTo>
                    <a:pt x="96" y="80"/>
                  </a:lnTo>
                  <a:lnTo>
                    <a:pt x="97" y="80"/>
                  </a:lnTo>
                  <a:lnTo>
                    <a:pt x="97" y="81"/>
                  </a:lnTo>
                  <a:lnTo>
                    <a:pt x="98" y="81"/>
                  </a:lnTo>
                  <a:lnTo>
                    <a:pt x="99" y="82"/>
                  </a:lnTo>
                  <a:lnTo>
                    <a:pt x="100" y="83"/>
                  </a:lnTo>
                  <a:lnTo>
                    <a:pt x="103" y="85"/>
                  </a:lnTo>
                  <a:lnTo>
                    <a:pt x="104" y="86"/>
                  </a:lnTo>
                  <a:lnTo>
                    <a:pt x="105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7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11" y="83"/>
                  </a:lnTo>
                  <a:lnTo>
                    <a:pt x="112" y="82"/>
                  </a:lnTo>
                  <a:lnTo>
                    <a:pt x="112" y="81"/>
                  </a:lnTo>
                  <a:lnTo>
                    <a:pt x="113" y="79"/>
                  </a:lnTo>
                  <a:lnTo>
                    <a:pt x="114" y="78"/>
                  </a:lnTo>
                  <a:lnTo>
                    <a:pt x="114" y="77"/>
                  </a:lnTo>
                  <a:lnTo>
                    <a:pt x="115" y="77"/>
                  </a:lnTo>
                  <a:lnTo>
                    <a:pt x="115" y="76"/>
                  </a:lnTo>
                  <a:lnTo>
                    <a:pt x="115" y="74"/>
                  </a:lnTo>
                  <a:lnTo>
                    <a:pt x="116" y="72"/>
                  </a:lnTo>
                  <a:lnTo>
                    <a:pt x="116" y="71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8" y="69"/>
                  </a:lnTo>
                  <a:lnTo>
                    <a:pt x="121" y="68"/>
                  </a:lnTo>
                  <a:lnTo>
                    <a:pt x="123" y="67"/>
                  </a:lnTo>
                  <a:lnTo>
                    <a:pt x="125" y="67"/>
                  </a:lnTo>
                  <a:lnTo>
                    <a:pt x="126" y="66"/>
                  </a:lnTo>
                  <a:lnTo>
                    <a:pt x="128" y="66"/>
                  </a:lnTo>
                  <a:lnTo>
                    <a:pt x="130" y="66"/>
                  </a:lnTo>
                  <a:lnTo>
                    <a:pt x="132" y="66"/>
                  </a:lnTo>
                  <a:lnTo>
                    <a:pt x="133" y="66"/>
                  </a:lnTo>
                  <a:lnTo>
                    <a:pt x="135" y="66"/>
                  </a:lnTo>
                  <a:lnTo>
                    <a:pt x="136" y="66"/>
                  </a:lnTo>
                  <a:lnTo>
                    <a:pt x="137" y="66"/>
                  </a:lnTo>
                  <a:lnTo>
                    <a:pt x="138" y="66"/>
                  </a:lnTo>
                  <a:lnTo>
                    <a:pt x="138" y="67"/>
                  </a:lnTo>
                  <a:lnTo>
                    <a:pt x="140" y="67"/>
                  </a:lnTo>
                  <a:lnTo>
                    <a:pt x="141" y="68"/>
                  </a:lnTo>
                  <a:lnTo>
                    <a:pt x="142" y="68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44" y="68"/>
                  </a:lnTo>
                  <a:lnTo>
                    <a:pt x="145" y="68"/>
                  </a:lnTo>
                  <a:lnTo>
                    <a:pt x="146" y="68"/>
                  </a:lnTo>
                  <a:lnTo>
                    <a:pt x="147" y="68"/>
                  </a:lnTo>
                  <a:lnTo>
                    <a:pt x="148" y="68"/>
                  </a:lnTo>
                  <a:lnTo>
                    <a:pt x="149" y="67"/>
                  </a:lnTo>
                  <a:lnTo>
                    <a:pt x="150" y="67"/>
                  </a:lnTo>
                  <a:lnTo>
                    <a:pt x="150" y="67"/>
                  </a:lnTo>
                  <a:lnTo>
                    <a:pt x="151" y="66"/>
                  </a:lnTo>
                  <a:lnTo>
                    <a:pt x="152" y="65"/>
                  </a:lnTo>
                  <a:lnTo>
                    <a:pt x="152" y="65"/>
                  </a:lnTo>
                  <a:lnTo>
                    <a:pt x="153" y="64"/>
                  </a:lnTo>
                  <a:lnTo>
                    <a:pt x="154" y="63"/>
                  </a:lnTo>
                  <a:lnTo>
                    <a:pt x="154" y="62"/>
                  </a:lnTo>
                  <a:lnTo>
                    <a:pt x="154" y="61"/>
                  </a:lnTo>
                  <a:lnTo>
                    <a:pt x="155" y="60"/>
                  </a:lnTo>
                  <a:lnTo>
                    <a:pt x="155" y="60"/>
                  </a:lnTo>
                  <a:lnTo>
                    <a:pt x="155" y="59"/>
                  </a:lnTo>
                  <a:lnTo>
                    <a:pt x="155" y="58"/>
                  </a:lnTo>
                  <a:lnTo>
                    <a:pt x="154" y="57"/>
                  </a:lnTo>
                  <a:lnTo>
                    <a:pt x="154" y="56"/>
                  </a:lnTo>
                  <a:lnTo>
                    <a:pt x="153" y="54"/>
                  </a:lnTo>
                  <a:lnTo>
                    <a:pt x="151" y="50"/>
                  </a:lnTo>
                  <a:lnTo>
                    <a:pt x="151" y="49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52" y="46"/>
                  </a:lnTo>
                  <a:lnTo>
                    <a:pt x="152" y="46"/>
                  </a:lnTo>
                  <a:lnTo>
                    <a:pt x="153" y="46"/>
                  </a:lnTo>
                  <a:lnTo>
                    <a:pt x="154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6" y="46"/>
                  </a:lnTo>
                  <a:lnTo>
                    <a:pt x="157" y="46"/>
                  </a:lnTo>
                  <a:lnTo>
                    <a:pt x="158" y="46"/>
                  </a:lnTo>
                  <a:lnTo>
                    <a:pt x="159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1" y="46"/>
                  </a:lnTo>
                  <a:lnTo>
                    <a:pt x="161" y="45"/>
                  </a:lnTo>
                  <a:lnTo>
                    <a:pt x="161" y="45"/>
                  </a:lnTo>
                  <a:lnTo>
                    <a:pt x="162" y="45"/>
                  </a:lnTo>
                  <a:lnTo>
                    <a:pt x="163" y="42"/>
                  </a:lnTo>
                  <a:lnTo>
                    <a:pt x="164" y="41"/>
                  </a:lnTo>
                  <a:lnTo>
                    <a:pt x="164" y="41"/>
                  </a:lnTo>
                  <a:lnTo>
                    <a:pt x="165" y="41"/>
                  </a:lnTo>
                  <a:lnTo>
                    <a:pt x="166" y="40"/>
                  </a:lnTo>
                  <a:lnTo>
                    <a:pt x="166" y="40"/>
                  </a:lnTo>
                  <a:lnTo>
                    <a:pt x="167" y="40"/>
                  </a:lnTo>
                  <a:lnTo>
                    <a:pt x="168" y="40"/>
                  </a:lnTo>
                  <a:lnTo>
                    <a:pt x="169" y="40"/>
                  </a:lnTo>
                  <a:lnTo>
                    <a:pt x="170" y="41"/>
                  </a:lnTo>
                  <a:lnTo>
                    <a:pt x="171" y="41"/>
                  </a:lnTo>
                  <a:lnTo>
                    <a:pt x="172" y="42"/>
                  </a:lnTo>
                  <a:lnTo>
                    <a:pt x="173" y="43"/>
                  </a:lnTo>
                  <a:lnTo>
                    <a:pt x="174" y="44"/>
                  </a:lnTo>
                  <a:lnTo>
                    <a:pt x="176" y="46"/>
                  </a:lnTo>
                  <a:lnTo>
                    <a:pt x="176" y="46"/>
                  </a:lnTo>
                  <a:lnTo>
                    <a:pt x="177" y="47"/>
                  </a:lnTo>
                  <a:lnTo>
                    <a:pt x="178" y="47"/>
                  </a:lnTo>
                  <a:lnTo>
                    <a:pt x="179" y="48"/>
                  </a:lnTo>
                  <a:lnTo>
                    <a:pt x="180" y="48"/>
                  </a:lnTo>
                  <a:lnTo>
                    <a:pt x="181" y="49"/>
                  </a:lnTo>
                  <a:lnTo>
                    <a:pt x="182" y="49"/>
                  </a:lnTo>
                  <a:lnTo>
                    <a:pt x="184" y="49"/>
                  </a:lnTo>
                  <a:lnTo>
                    <a:pt x="185" y="49"/>
                  </a:lnTo>
                  <a:lnTo>
                    <a:pt x="186" y="49"/>
                  </a:lnTo>
                  <a:lnTo>
                    <a:pt x="188" y="49"/>
                  </a:lnTo>
                  <a:lnTo>
                    <a:pt x="191" y="48"/>
                  </a:lnTo>
                  <a:lnTo>
                    <a:pt x="192" y="47"/>
                  </a:lnTo>
                  <a:lnTo>
                    <a:pt x="192" y="47"/>
                  </a:lnTo>
                  <a:lnTo>
                    <a:pt x="193" y="47"/>
                  </a:lnTo>
                  <a:lnTo>
                    <a:pt x="193" y="46"/>
                  </a:lnTo>
                  <a:lnTo>
                    <a:pt x="194" y="46"/>
                  </a:lnTo>
                  <a:lnTo>
                    <a:pt x="194" y="45"/>
                  </a:lnTo>
                  <a:lnTo>
                    <a:pt x="195" y="45"/>
                  </a:lnTo>
                  <a:lnTo>
                    <a:pt x="196" y="42"/>
                  </a:lnTo>
                  <a:lnTo>
                    <a:pt x="197" y="39"/>
                  </a:lnTo>
                  <a:lnTo>
                    <a:pt x="198" y="36"/>
                  </a:lnTo>
                  <a:lnTo>
                    <a:pt x="199" y="35"/>
                  </a:lnTo>
                  <a:lnTo>
                    <a:pt x="199" y="33"/>
                  </a:lnTo>
                  <a:lnTo>
                    <a:pt x="199" y="32"/>
                  </a:lnTo>
                  <a:lnTo>
                    <a:pt x="199" y="31"/>
                  </a:lnTo>
                  <a:lnTo>
                    <a:pt x="199" y="28"/>
                  </a:lnTo>
                  <a:lnTo>
                    <a:pt x="200" y="27"/>
                  </a:lnTo>
                  <a:lnTo>
                    <a:pt x="200" y="27"/>
                  </a:lnTo>
                  <a:lnTo>
                    <a:pt x="200" y="26"/>
                  </a:lnTo>
                  <a:lnTo>
                    <a:pt x="200" y="25"/>
                  </a:lnTo>
                  <a:lnTo>
                    <a:pt x="201" y="25"/>
                  </a:lnTo>
                  <a:lnTo>
                    <a:pt x="203" y="23"/>
                  </a:lnTo>
                  <a:lnTo>
                    <a:pt x="204" y="21"/>
                  </a:lnTo>
                  <a:lnTo>
                    <a:pt x="205" y="20"/>
                  </a:lnTo>
                  <a:lnTo>
                    <a:pt x="206" y="19"/>
                  </a:lnTo>
                  <a:lnTo>
                    <a:pt x="208" y="18"/>
                  </a:lnTo>
                  <a:lnTo>
                    <a:pt x="209" y="17"/>
                  </a:lnTo>
                  <a:lnTo>
                    <a:pt x="210" y="17"/>
                  </a:lnTo>
                  <a:lnTo>
                    <a:pt x="210" y="16"/>
                  </a:lnTo>
                  <a:lnTo>
                    <a:pt x="211" y="15"/>
                  </a:lnTo>
                  <a:lnTo>
                    <a:pt x="211" y="15"/>
                  </a:lnTo>
                  <a:lnTo>
                    <a:pt x="212" y="13"/>
                  </a:lnTo>
                  <a:lnTo>
                    <a:pt x="213" y="12"/>
                  </a:lnTo>
                  <a:lnTo>
                    <a:pt x="214" y="11"/>
                  </a:lnTo>
                  <a:lnTo>
                    <a:pt x="214" y="10"/>
                  </a:lnTo>
                  <a:lnTo>
                    <a:pt x="214" y="10"/>
                  </a:lnTo>
                  <a:lnTo>
                    <a:pt x="215" y="10"/>
                  </a:lnTo>
                  <a:lnTo>
                    <a:pt x="216" y="10"/>
                  </a:lnTo>
                  <a:lnTo>
                    <a:pt x="217" y="10"/>
                  </a:lnTo>
                  <a:lnTo>
                    <a:pt x="218" y="11"/>
                  </a:lnTo>
                  <a:lnTo>
                    <a:pt x="221" y="11"/>
                  </a:lnTo>
                  <a:lnTo>
                    <a:pt x="223" y="12"/>
                  </a:lnTo>
                  <a:lnTo>
                    <a:pt x="224" y="12"/>
                  </a:lnTo>
                  <a:lnTo>
                    <a:pt x="225" y="12"/>
                  </a:lnTo>
                  <a:lnTo>
                    <a:pt x="225" y="12"/>
                  </a:lnTo>
                  <a:lnTo>
                    <a:pt x="226" y="12"/>
                  </a:lnTo>
                  <a:lnTo>
                    <a:pt x="227" y="12"/>
                  </a:lnTo>
                  <a:lnTo>
                    <a:pt x="227" y="12"/>
                  </a:lnTo>
                  <a:lnTo>
                    <a:pt x="228" y="11"/>
                  </a:lnTo>
                  <a:lnTo>
                    <a:pt x="228" y="11"/>
                  </a:lnTo>
                  <a:lnTo>
                    <a:pt x="229" y="11"/>
                  </a:lnTo>
                  <a:lnTo>
                    <a:pt x="230" y="10"/>
                  </a:lnTo>
                  <a:lnTo>
                    <a:pt x="230" y="10"/>
                  </a:lnTo>
                  <a:lnTo>
                    <a:pt x="231" y="9"/>
                  </a:lnTo>
                  <a:lnTo>
                    <a:pt x="231" y="8"/>
                  </a:lnTo>
                  <a:lnTo>
                    <a:pt x="232" y="7"/>
                  </a:lnTo>
                  <a:lnTo>
                    <a:pt x="233" y="5"/>
                  </a:lnTo>
                  <a:lnTo>
                    <a:pt x="234" y="4"/>
                  </a:lnTo>
                  <a:lnTo>
                    <a:pt x="234" y="3"/>
                  </a:lnTo>
                  <a:lnTo>
                    <a:pt x="235" y="2"/>
                  </a:lnTo>
                  <a:lnTo>
                    <a:pt x="235" y="2"/>
                  </a:lnTo>
                  <a:lnTo>
                    <a:pt x="235" y="1"/>
                  </a:lnTo>
                  <a:lnTo>
                    <a:pt x="235" y="1"/>
                  </a:lnTo>
                  <a:lnTo>
                    <a:pt x="235" y="0"/>
                  </a:lnTo>
                  <a:lnTo>
                    <a:pt x="236" y="1"/>
                  </a:lnTo>
                  <a:lnTo>
                    <a:pt x="236" y="1"/>
                  </a:lnTo>
                  <a:lnTo>
                    <a:pt x="238" y="0"/>
                  </a:lnTo>
                  <a:lnTo>
                    <a:pt x="238" y="0"/>
                  </a:lnTo>
                  <a:lnTo>
                    <a:pt x="239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1" y="0"/>
                  </a:lnTo>
                  <a:close/>
                </a:path>
              </a:pathLst>
            </a:custGeom>
            <a:solidFill>
              <a:srgbClr val="CCCCCC"/>
            </a:solidFill>
            <a:ln w="63500">
              <a:solidFill>
                <a:srgbClr val="CCCCC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9" name="Freeform 38">
              <a:extLst>
                <a:ext uri="{FF2B5EF4-FFF2-40B4-BE49-F238E27FC236}">
                  <a16:creationId xmlns:a16="http://schemas.microsoft.com/office/drawing/2014/main" id="{D9F55AFD-52CD-E032-4AEB-8C65A41A6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192"/>
              <a:ext cx="516" cy="419"/>
            </a:xfrm>
            <a:custGeom>
              <a:avLst/>
              <a:gdLst>
                <a:gd name="T0" fmla="*/ 169 w 516"/>
                <a:gd name="T1" fmla="*/ 9 h 419"/>
                <a:gd name="T2" fmla="*/ 172 w 516"/>
                <a:gd name="T3" fmla="*/ 35 h 419"/>
                <a:gd name="T4" fmla="*/ 169 w 516"/>
                <a:gd name="T5" fmla="*/ 53 h 419"/>
                <a:gd name="T6" fmla="*/ 134 w 516"/>
                <a:gd name="T7" fmla="*/ 70 h 419"/>
                <a:gd name="T8" fmla="*/ 139 w 516"/>
                <a:gd name="T9" fmla="*/ 88 h 419"/>
                <a:gd name="T10" fmla="*/ 161 w 516"/>
                <a:gd name="T11" fmla="*/ 97 h 419"/>
                <a:gd name="T12" fmla="*/ 182 w 516"/>
                <a:gd name="T13" fmla="*/ 131 h 419"/>
                <a:gd name="T14" fmla="*/ 204 w 516"/>
                <a:gd name="T15" fmla="*/ 152 h 419"/>
                <a:gd name="T16" fmla="*/ 235 w 516"/>
                <a:gd name="T17" fmla="*/ 147 h 419"/>
                <a:gd name="T18" fmla="*/ 263 w 516"/>
                <a:gd name="T19" fmla="*/ 138 h 419"/>
                <a:gd name="T20" fmla="*/ 254 w 516"/>
                <a:gd name="T21" fmla="*/ 127 h 419"/>
                <a:gd name="T22" fmla="*/ 262 w 516"/>
                <a:gd name="T23" fmla="*/ 116 h 419"/>
                <a:gd name="T24" fmla="*/ 284 w 516"/>
                <a:gd name="T25" fmla="*/ 143 h 419"/>
                <a:gd name="T26" fmla="*/ 305 w 516"/>
                <a:gd name="T27" fmla="*/ 144 h 419"/>
                <a:gd name="T28" fmla="*/ 326 w 516"/>
                <a:gd name="T29" fmla="*/ 157 h 419"/>
                <a:gd name="T30" fmla="*/ 343 w 516"/>
                <a:gd name="T31" fmla="*/ 176 h 419"/>
                <a:gd name="T32" fmla="*/ 354 w 516"/>
                <a:gd name="T33" fmla="*/ 167 h 419"/>
                <a:gd name="T34" fmla="*/ 388 w 516"/>
                <a:gd name="T35" fmla="*/ 175 h 419"/>
                <a:gd name="T36" fmla="*/ 413 w 516"/>
                <a:gd name="T37" fmla="*/ 181 h 419"/>
                <a:gd name="T38" fmla="*/ 423 w 516"/>
                <a:gd name="T39" fmla="*/ 178 h 419"/>
                <a:gd name="T40" fmla="*/ 430 w 516"/>
                <a:gd name="T41" fmla="*/ 200 h 419"/>
                <a:gd name="T42" fmla="*/ 429 w 516"/>
                <a:gd name="T43" fmla="*/ 225 h 419"/>
                <a:gd name="T44" fmla="*/ 449 w 516"/>
                <a:gd name="T45" fmla="*/ 269 h 419"/>
                <a:gd name="T46" fmla="*/ 479 w 516"/>
                <a:gd name="T47" fmla="*/ 282 h 419"/>
                <a:gd name="T48" fmla="*/ 499 w 516"/>
                <a:gd name="T49" fmla="*/ 288 h 419"/>
                <a:gd name="T50" fmla="*/ 516 w 516"/>
                <a:gd name="T51" fmla="*/ 341 h 419"/>
                <a:gd name="T52" fmla="*/ 499 w 516"/>
                <a:gd name="T53" fmla="*/ 362 h 419"/>
                <a:gd name="T54" fmla="*/ 463 w 516"/>
                <a:gd name="T55" fmla="*/ 366 h 419"/>
                <a:gd name="T56" fmla="*/ 431 w 516"/>
                <a:gd name="T57" fmla="*/ 366 h 419"/>
                <a:gd name="T58" fmla="*/ 422 w 516"/>
                <a:gd name="T59" fmla="*/ 385 h 419"/>
                <a:gd name="T60" fmla="*/ 395 w 516"/>
                <a:gd name="T61" fmla="*/ 418 h 419"/>
                <a:gd name="T62" fmla="*/ 376 w 516"/>
                <a:gd name="T63" fmla="*/ 413 h 419"/>
                <a:gd name="T64" fmla="*/ 354 w 516"/>
                <a:gd name="T65" fmla="*/ 386 h 419"/>
                <a:gd name="T66" fmla="*/ 329 w 516"/>
                <a:gd name="T67" fmla="*/ 378 h 419"/>
                <a:gd name="T68" fmla="*/ 293 w 516"/>
                <a:gd name="T69" fmla="*/ 367 h 419"/>
                <a:gd name="T70" fmla="*/ 255 w 516"/>
                <a:gd name="T71" fmla="*/ 366 h 419"/>
                <a:gd name="T72" fmla="*/ 234 w 516"/>
                <a:gd name="T73" fmla="*/ 359 h 419"/>
                <a:gd name="T74" fmla="*/ 218 w 516"/>
                <a:gd name="T75" fmla="*/ 353 h 419"/>
                <a:gd name="T76" fmla="*/ 215 w 516"/>
                <a:gd name="T77" fmla="*/ 340 h 419"/>
                <a:gd name="T78" fmla="*/ 183 w 516"/>
                <a:gd name="T79" fmla="*/ 303 h 419"/>
                <a:gd name="T80" fmla="*/ 169 w 516"/>
                <a:gd name="T81" fmla="*/ 300 h 419"/>
                <a:gd name="T82" fmla="*/ 164 w 516"/>
                <a:gd name="T83" fmla="*/ 274 h 419"/>
                <a:gd name="T84" fmla="*/ 153 w 516"/>
                <a:gd name="T85" fmla="*/ 260 h 419"/>
                <a:gd name="T86" fmla="*/ 120 w 516"/>
                <a:gd name="T87" fmla="*/ 257 h 419"/>
                <a:gd name="T88" fmla="*/ 104 w 516"/>
                <a:gd name="T89" fmla="*/ 237 h 419"/>
                <a:gd name="T90" fmla="*/ 94 w 516"/>
                <a:gd name="T91" fmla="*/ 211 h 419"/>
                <a:gd name="T92" fmla="*/ 89 w 516"/>
                <a:gd name="T93" fmla="*/ 229 h 419"/>
                <a:gd name="T94" fmla="*/ 77 w 516"/>
                <a:gd name="T95" fmla="*/ 236 h 419"/>
                <a:gd name="T96" fmla="*/ 64 w 516"/>
                <a:gd name="T97" fmla="*/ 238 h 419"/>
                <a:gd name="T98" fmla="*/ 60 w 516"/>
                <a:gd name="T99" fmla="*/ 217 h 419"/>
                <a:gd name="T100" fmla="*/ 33 w 516"/>
                <a:gd name="T101" fmla="*/ 234 h 419"/>
                <a:gd name="T102" fmla="*/ 20 w 516"/>
                <a:gd name="T103" fmla="*/ 223 h 419"/>
                <a:gd name="T104" fmla="*/ 5 w 516"/>
                <a:gd name="T105" fmla="*/ 217 h 419"/>
                <a:gd name="T106" fmla="*/ 4 w 516"/>
                <a:gd name="T107" fmla="*/ 193 h 419"/>
                <a:gd name="T108" fmla="*/ 11 w 516"/>
                <a:gd name="T109" fmla="*/ 172 h 419"/>
                <a:gd name="T110" fmla="*/ 6 w 516"/>
                <a:gd name="T111" fmla="*/ 145 h 419"/>
                <a:gd name="T112" fmla="*/ 20 w 516"/>
                <a:gd name="T113" fmla="*/ 105 h 419"/>
                <a:gd name="T114" fmla="*/ 40 w 516"/>
                <a:gd name="T115" fmla="*/ 71 h 419"/>
                <a:gd name="T116" fmla="*/ 66 w 516"/>
                <a:gd name="T117" fmla="*/ 52 h 419"/>
                <a:gd name="T118" fmla="*/ 77 w 516"/>
                <a:gd name="T119" fmla="*/ 34 h 419"/>
                <a:gd name="T120" fmla="*/ 113 w 516"/>
                <a:gd name="T121" fmla="*/ 24 h 419"/>
                <a:gd name="T122" fmla="*/ 142 w 516"/>
                <a:gd name="T123" fmla="*/ 1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16" h="419">
                  <a:moveTo>
                    <a:pt x="156" y="0"/>
                  </a:moveTo>
                  <a:lnTo>
                    <a:pt x="157" y="0"/>
                  </a:lnTo>
                  <a:lnTo>
                    <a:pt x="158" y="0"/>
                  </a:lnTo>
                  <a:lnTo>
                    <a:pt x="158" y="1"/>
                  </a:lnTo>
                  <a:lnTo>
                    <a:pt x="159" y="1"/>
                  </a:lnTo>
                  <a:lnTo>
                    <a:pt x="160" y="1"/>
                  </a:lnTo>
                  <a:lnTo>
                    <a:pt x="160" y="2"/>
                  </a:lnTo>
                  <a:lnTo>
                    <a:pt x="161" y="2"/>
                  </a:lnTo>
                  <a:lnTo>
                    <a:pt x="162" y="3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64" y="5"/>
                  </a:lnTo>
                  <a:lnTo>
                    <a:pt x="164" y="6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6" y="7"/>
                  </a:lnTo>
                  <a:lnTo>
                    <a:pt x="167" y="8"/>
                  </a:lnTo>
                  <a:lnTo>
                    <a:pt x="167" y="8"/>
                  </a:lnTo>
                  <a:lnTo>
                    <a:pt x="168" y="8"/>
                  </a:lnTo>
                  <a:lnTo>
                    <a:pt x="169" y="9"/>
                  </a:lnTo>
                  <a:lnTo>
                    <a:pt x="169" y="9"/>
                  </a:lnTo>
                  <a:lnTo>
                    <a:pt x="169" y="10"/>
                  </a:lnTo>
                  <a:lnTo>
                    <a:pt x="169" y="10"/>
                  </a:lnTo>
                  <a:lnTo>
                    <a:pt x="169" y="11"/>
                  </a:lnTo>
                  <a:lnTo>
                    <a:pt x="169" y="11"/>
                  </a:lnTo>
                  <a:lnTo>
                    <a:pt x="169" y="12"/>
                  </a:lnTo>
                  <a:lnTo>
                    <a:pt x="169" y="13"/>
                  </a:lnTo>
                  <a:lnTo>
                    <a:pt x="169" y="14"/>
                  </a:lnTo>
                  <a:lnTo>
                    <a:pt x="167" y="18"/>
                  </a:lnTo>
                  <a:lnTo>
                    <a:pt x="167" y="20"/>
                  </a:lnTo>
                  <a:lnTo>
                    <a:pt x="166" y="21"/>
                  </a:lnTo>
                  <a:lnTo>
                    <a:pt x="166" y="22"/>
                  </a:lnTo>
                  <a:lnTo>
                    <a:pt x="166" y="23"/>
                  </a:lnTo>
                  <a:lnTo>
                    <a:pt x="166" y="24"/>
                  </a:lnTo>
                  <a:lnTo>
                    <a:pt x="166" y="26"/>
                  </a:lnTo>
                  <a:lnTo>
                    <a:pt x="166" y="27"/>
                  </a:lnTo>
                  <a:lnTo>
                    <a:pt x="167" y="28"/>
                  </a:lnTo>
                  <a:lnTo>
                    <a:pt x="167" y="29"/>
                  </a:lnTo>
                  <a:lnTo>
                    <a:pt x="168" y="30"/>
                  </a:lnTo>
                  <a:lnTo>
                    <a:pt x="168" y="31"/>
                  </a:lnTo>
                  <a:lnTo>
                    <a:pt x="169" y="32"/>
                  </a:lnTo>
                  <a:lnTo>
                    <a:pt x="172" y="35"/>
                  </a:lnTo>
                  <a:lnTo>
                    <a:pt x="173" y="37"/>
                  </a:lnTo>
                  <a:lnTo>
                    <a:pt x="173" y="38"/>
                  </a:lnTo>
                  <a:lnTo>
                    <a:pt x="174" y="38"/>
                  </a:lnTo>
                  <a:lnTo>
                    <a:pt x="174" y="39"/>
                  </a:lnTo>
                  <a:lnTo>
                    <a:pt x="174" y="40"/>
                  </a:lnTo>
                  <a:lnTo>
                    <a:pt x="174" y="41"/>
                  </a:lnTo>
                  <a:lnTo>
                    <a:pt x="175" y="42"/>
                  </a:lnTo>
                  <a:lnTo>
                    <a:pt x="175" y="43"/>
                  </a:lnTo>
                  <a:lnTo>
                    <a:pt x="175" y="45"/>
                  </a:lnTo>
                  <a:lnTo>
                    <a:pt x="174" y="46"/>
                  </a:lnTo>
                  <a:lnTo>
                    <a:pt x="174" y="47"/>
                  </a:lnTo>
                  <a:lnTo>
                    <a:pt x="174" y="49"/>
                  </a:lnTo>
                  <a:lnTo>
                    <a:pt x="174" y="49"/>
                  </a:lnTo>
                  <a:lnTo>
                    <a:pt x="173" y="50"/>
                  </a:lnTo>
                  <a:lnTo>
                    <a:pt x="173" y="50"/>
                  </a:lnTo>
                  <a:lnTo>
                    <a:pt x="173" y="51"/>
                  </a:lnTo>
                  <a:lnTo>
                    <a:pt x="172" y="52"/>
                  </a:lnTo>
                  <a:lnTo>
                    <a:pt x="171" y="52"/>
                  </a:lnTo>
                  <a:lnTo>
                    <a:pt x="170" y="53"/>
                  </a:lnTo>
                  <a:lnTo>
                    <a:pt x="169" y="53"/>
                  </a:lnTo>
                  <a:lnTo>
                    <a:pt x="169" y="53"/>
                  </a:lnTo>
                  <a:lnTo>
                    <a:pt x="166" y="54"/>
                  </a:lnTo>
                  <a:lnTo>
                    <a:pt x="165" y="54"/>
                  </a:lnTo>
                  <a:lnTo>
                    <a:pt x="164" y="55"/>
                  </a:lnTo>
                  <a:lnTo>
                    <a:pt x="164" y="55"/>
                  </a:lnTo>
                  <a:lnTo>
                    <a:pt x="163" y="56"/>
                  </a:lnTo>
                  <a:lnTo>
                    <a:pt x="162" y="57"/>
                  </a:lnTo>
                  <a:lnTo>
                    <a:pt x="162" y="57"/>
                  </a:lnTo>
                  <a:lnTo>
                    <a:pt x="160" y="59"/>
                  </a:lnTo>
                  <a:lnTo>
                    <a:pt x="160" y="60"/>
                  </a:lnTo>
                  <a:lnTo>
                    <a:pt x="159" y="61"/>
                  </a:lnTo>
                  <a:lnTo>
                    <a:pt x="159" y="61"/>
                  </a:lnTo>
                  <a:lnTo>
                    <a:pt x="158" y="62"/>
                  </a:lnTo>
                  <a:lnTo>
                    <a:pt x="158" y="62"/>
                  </a:lnTo>
                  <a:lnTo>
                    <a:pt x="157" y="63"/>
                  </a:lnTo>
                  <a:lnTo>
                    <a:pt x="156" y="63"/>
                  </a:lnTo>
                  <a:lnTo>
                    <a:pt x="155" y="63"/>
                  </a:lnTo>
                  <a:lnTo>
                    <a:pt x="153" y="64"/>
                  </a:lnTo>
                  <a:lnTo>
                    <a:pt x="148" y="66"/>
                  </a:lnTo>
                  <a:lnTo>
                    <a:pt x="142" y="68"/>
                  </a:lnTo>
                  <a:lnTo>
                    <a:pt x="139" y="69"/>
                  </a:lnTo>
                  <a:lnTo>
                    <a:pt x="134" y="70"/>
                  </a:lnTo>
                  <a:lnTo>
                    <a:pt x="133" y="71"/>
                  </a:lnTo>
                  <a:lnTo>
                    <a:pt x="132" y="71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0" y="73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5"/>
                  </a:lnTo>
                  <a:lnTo>
                    <a:pt x="129" y="76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30" y="78"/>
                  </a:lnTo>
                  <a:lnTo>
                    <a:pt x="130" y="79"/>
                  </a:lnTo>
                  <a:lnTo>
                    <a:pt x="131" y="80"/>
                  </a:lnTo>
                  <a:lnTo>
                    <a:pt x="131" y="81"/>
                  </a:lnTo>
                  <a:lnTo>
                    <a:pt x="132" y="82"/>
                  </a:lnTo>
                  <a:lnTo>
                    <a:pt x="132" y="82"/>
                  </a:lnTo>
                  <a:lnTo>
                    <a:pt x="133" y="83"/>
                  </a:lnTo>
                  <a:lnTo>
                    <a:pt x="134" y="84"/>
                  </a:lnTo>
                  <a:lnTo>
                    <a:pt x="135" y="85"/>
                  </a:lnTo>
                  <a:lnTo>
                    <a:pt x="139" y="88"/>
                  </a:lnTo>
                  <a:lnTo>
                    <a:pt x="140" y="89"/>
                  </a:lnTo>
                  <a:lnTo>
                    <a:pt x="141" y="91"/>
                  </a:lnTo>
                  <a:lnTo>
                    <a:pt x="143" y="93"/>
                  </a:lnTo>
                  <a:lnTo>
                    <a:pt x="144" y="94"/>
                  </a:lnTo>
                  <a:lnTo>
                    <a:pt x="145" y="95"/>
                  </a:lnTo>
                  <a:lnTo>
                    <a:pt x="146" y="96"/>
                  </a:lnTo>
                  <a:lnTo>
                    <a:pt x="147" y="97"/>
                  </a:lnTo>
                  <a:lnTo>
                    <a:pt x="149" y="97"/>
                  </a:lnTo>
                  <a:lnTo>
                    <a:pt x="150" y="98"/>
                  </a:lnTo>
                  <a:lnTo>
                    <a:pt x="151" y="98"/>
                  </a:lnTo>
                  <a:lnTo>
                    <a:pt x="152" y="98"/>
                  </a:lnTo>
                  <a:lnTo>
                    <a:pt x="152" y="98"/>
                  </a:lnTo>
                  <a:lnTo>
                    <a:pt x="153" y="97"/>
                  </a:lnTo>
                  <a:lnTo>
                    <a:pt x="155" y="97"/>
                  </a:lnTo>
                  <a:lnTo>
                    <a:pt x="156" y="97"/>
                  </a:lnTo>
                  <a:lnTo>
                    <a:pt x="157" y="97"/>
                  </a:lnTo>
                  <a:lnTo>
                    <a:pt x="158" y="97"/>
                  </a:lnTo>
                  <a:lnTo>
                    <a:pt x="159" y="97"/>
                  </a:lnTo>
                  <a:lnTo>
                    <a:pt x="159" y="97"/>
                  </a:lnTo>
                  <a:lnTo>
                    <a:pt x="160" y="97"/>
                  </a:lnTo>
                  <a:lnTo>
                    <a:pt x="161" y="97"/>
                  </a:lnTo>
                  <a:lnTo>
                    <a:pt x="161" y="98"/>
                  </a:lnTo>
                  <a:lnTo>
                    <a:pt x="163" y="98"/>
                  </a:lnTo>
                  <a:lnTo>
                    <a:pt x="163" y="99"/>
                  </a:lnTo>
                  <a:lnTo>
                    <a:pt x="164" y="99"/>
                  </a:lnTo>
                  <a:lnTo>
                    <a:pt x="165" y="100"/>
                  </a:lnTo>
                  <a:lnTo>
                    <a:pt x="166" y="101"/>
                  </a:lnTo>
                  <a:lnTo>
                    <a:pt x="167" y="102"/>
                  </a:lnTo>
                  <a:lnTo>
                    <a:pt x="168" y="103"/>
                  </a:lnTo>
                  <a:lnTo>
                    <a:pt x="170" y="106"/>
                  </a:lnTo>
                  <a:lnTo>
                    <a:pt x="171" y="108"/>
                  </a:lnTo>
                  <a:lnTo>
                    <a:pt x="174" y="112"/>
                  </a:lnTo>
                  <a:lnTo>
                    <a:pt x="175" y="113"/>
                  </a:lnTo>
                  <a:lnTo>
                    <a:pt x="176" y="115"/>
                  </a:lnTo>
                  <a:lnTo>
                    <a:pt x="177" y="116"/>
                  </a:lnTo>
                  <a:lnTo>
                    <a:pt x="177" y="117"/>
                  </a:lnTo>
                  <a:lnTo>
                    <a:pt x="178" y="119"/>
                  </a:lnTo>
                  <a:lnTo>
                    <a:pt x="178" y="120"/>
                  </a:lnTo>
                  <a:lnTo>
                    <a:pt x="180" y="124"/>
                  </a:lnTo>
                  <a:lnTo>
                    <a:pt x="181" y="126"/>
                  </a:lnTo>
                  <a:lnTo>
                    <a:pt x="181" y="127"/>
                  </a:lnTo>
                  <a:lnTo>
                    <a:pt x="182" y="131"/>
                  </a:lnTo>
                  <a:lnTo>
                    <a:pt x="184" y="134"/>
                  </a:lnTo>
                  <a:lnTo>
                    <a:pt x="184" y="135"/>
                  </a:lnTo>
                  <a:lnTo>
                    <a:pt x="185" y="136"/>
                  </a:lnTo>
                  <a:lnTo>
                    <a:pt x="185" y="137"/>
                  </a:lnTo>
                  <a:lnTo>
                    <a:pt x="186" y="137"/>
                  </a:lnTo>
                  <a:lnTo>
                    <a:pt x="187" y="138"/>
                  </a:lnTo>
                  <a:lnTo>
                    <a:pt x="188" y="138"/>
                  </a:lnTo>
                  <a:lnTo>
                    <a:pt x="190" y="140"/>
                  </a:lnTo>
                  <a:lnTo>
                    <a:pt x="192" y="141"/>
                  </a:lnTo>
                  <a:lnTo>
                    <a:pt x="195" y="142"/>
                  </a:lnTo>
                  <a:lnTo>
                    <a:pt x="196" y="142"/>
                  </a:lnTo>
                  <a:lnTo>
                    <a:pt x="197" y="143"/>
                  </a:lnTo>
                  <a:lnTo>
                    <a:pt x="198" y="144"/>
                  </a:lnTo>
                  <a:lnTo>
                    <a:pt x="198" y="145"/>
                  </a:lnTo>
                  <a:lnTo>
                    <a:pt x="199" y="146"/>
                  </a:lnTo>
                  <a:lnTo>
                    <a:pt x="200" y="147"/>
                  </a:lnTo>
                  <a:lnTo>
                    <a:pt x="201" y="148"/>
                  </a:lnTo>
                  <a:lnTo>
                    <a:pt x="201" y="149"/>
                  </a:lnTo>
                  <a:lnTo>
                    <a:pt x="202" y="150"/>
                  </a:lnTo>
                  <a:lnTo>
                    <a:pt x="202" y="151"/>
                  </a:lnTo>
                  <a:lnTo>
                    <a:pt x="204" y="152"/>
                  </a:lnTo>
                  <a:lnTo>
                    <a:pt x="205" y="153"/>
                  </a:lnTo>
                  <a:lnTo>
                    <a:pt x="207" y="154"/>
                  </a:lnTo>
                  <a:lnTo>
                    <a:pt x="208" y="155"/>
                  </a:lnTo>
                  <a:lnTo>
                    <a:pt x="209" y="156"/>
                  </a:lnTo>
                  <a:lnTo>
                    <a:pt x="211" y="156"/>
                  </a:lnTo>
                  <a:lnTo>
                    <a:pt x="212" y="157"/>
                  </a:lnTo>
                  <a:lnTo>
                    <a:pt x="213" y="157"/>
                  </a:lnTo>
                  <a:lnTo>
                    <a:pt x="213" y="157"/>
                  </a:lnTo>
                  <a:lnTo>
                    <a:pt x="214" y="157"/>
                  </a:lnTo>
                  <a:lnTo>
                    <a:pt x="215" y="157"/>
                  </a:lnTo>
                  <a:lnTo>
                    <a:pt x="216" y="157"/>
                  </a:lnTo>
                  <a:lnTo>
                    <a:pt x="220" y="156"/>
                  </a:lnTo>
                  <a:lnTo>
                    <a:pt x="222" y="156"/>
                  </a:lnTo>
                  <a:lnTo>
                    <a:pt x="223" y="156"/>
                  </a:lnTo>
                  <a:lnTo>
                    <a:pt x="224" y="155"/>
                  </a:lnTo>
                  <a:lnTo>
                    <a:pt x="225" y="155"/>
                  </a:lnTo>
                  <a:lnTo>
                    <a:pt x="227" y="154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0" y="152"/>
                  </a:lnTo>
                  <a:lnTo>
                    <a:pt x="235" y="147"/>
                  </a:lnTo>
                  <a:lnTo>
                    <a:pt x="236" y="146"/>
                  </a:lnTo>
                  <a:lnTo>
                    <a:pt x="237" y="145"/>
                  </a:lnTo>
                  <a:lnTo>
                    <a:pt x="238" y="145"/>
                  </a:lnTo>
                  <a:lnTo>
                    <a:pt x="239" y="144"/>
                  </a:lnTo>
                  <a:lnTo>
                    <a:pt x="241" y="143"/>
                  </a:lnTo>
                  <a:lnTo>
                    <a:pt x="242" y="142"/>
                  </a:lnTo>
                  <a:lnTo>
                    <a:pt x="245" y="141"/>
                  </a:lnTo>
                  <a:lnTo>
                    <a:pt x="247" y="140"/>
                  </a:lnTo>
                  <a:lnTo>
                    <a:pt x="248" y="140"/>
                  </a:lnTo>
                  <a:lnTo>
                    <a:pt x="249" y="139"/>
                  </a:lnTo>
                  <a:lnTo>
                    <a:pt x="251" y="139"/>
                  </a:lnTo>
                  <a:lnTo>
                    <a:pt x="252" y="139"/>
                  </a:lnTo>
                  <a:lnTo>
                    <a:pt x="252" y="139"/>
                  </a:lnTo>
                  <a:lnTo>
                    <a:pt x="257" y="139"/>
                  </a:lnTo>
                  <a:lnTo>
                    <a:pt x="259" y="139"/>
                  </a:lnTo>
                  <a:lnTo>
                    <a:pt x="260" y="139"/>
                  </a:lnTo>
                  <a:lnTo>
                    <a:pt x="261" y="139"/>
                  </a:lnTo>
                  <a:lnTo>
                    <a:pt x="262" y="139"/>
                  </a:lnTo>
                  <a:lnTo>
                    <a:pt x="262" y="139"/>
                  </a:lnTo>
                  <a:lnTo>
                    <a:pt x="263" y="139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7"/>
                  </a:lnTo>
                  <a:lnTo>
                    <a:pt x="264" y="136"/>
                  </a:lnTo>
                  <a:lnTo>
                    <a:pt x="264" y="135"/>
                  </a:lnTo>
                  <a:lnTo>
                    <a:pt x="263" y="134"/>
                  </a:lnTo>
                  <a:lnTo>
                    <a:pt x="263" y="133"/>
                  </a:lnTo>
                  <a:lnTo>
                    <a:pt x="263" y="132"/>
                  </a:lnTo>
                  <a:lnTo>
                    <a:pt x="263" y="132"/>
                  </a:lnTo>
                  <a:lnTo>
                    <a:pt x="262" y="131"/>
                  </a:lnTo>
                  <a:lnTo>
                    <a:pt x="262" y="130"/>
                  </a:lnTo>
                  <a:lnTo>
                    <a:pt x="261" y="130"/>
                  </a:lnTo>
                  <a:lnTo>
                    <a:pt x="261" y="129"/>
                  </a:lnTo>
                  <a:lnTo>
                    <a:pt x="260" y="129"/>
                  </a:lnTo>
                  <a:lnTo>
                    <a:pt x="259" y="129"/>
                  </a:lnTo>
                  <a:lnTo>
                    <a:pt x="258" y="128"/>
                  </a:lnTo>
                  <a:lnTo>
                    <a:pt x="256" y="128"/>
                  </a:lnTo>
                  <a:lnTo>
                    <a:pt x="256" y="128"/>
                  </a:lnTo>
                  <a:lnTo>
                    <a:pt x="255" y="128"/>
                  </a:lnTo>
                  <a:lnTo>
                    <a:pt x="255" y="127"/>
                  </a:lnTo>
                  <a:lnTo>
                    <a:pt x="254" y="127"/>
                  </a:lnTo>
                  <a:lnTo>
                    <a:pt x="254" y="127"/>
                  </a:lnTo>
                  <a:lnTo>
                    <a:pt x="254" y="126"/>
                  </a:lnTo>
                  <a:lnTo>
                    <a:pt x="253" y="126"/>
                  </a:lnTo>
                  <a:lnTo>
                    <a:pt x="253" y="125"/>
                  </a:lnTo>
                  <a:lnTo>
                    <a:pt x="253" y="124"/>
                  </a:lnTo>
                  <a:lnTo>
                    <a:pt x="253" y="124"/>
                  </a:lnTo>
                  <a:lnTo>
                    <a:pt x="253" y="123"/>
                  </a:lnTo>
                  <a:lnTo>
                    <a:pt x="253" y="122"/>
                  </a:lnTo>
                  <a:lnTo>
                    <a:pt x="253" y="121"/>
                  </a:lnTo>
                  <a:lnTo>
                    <a:pt x="254" y="121"/>
                  </a:lnTo>
                  <a:lnTo>
                    <a:pt x="254" y="120"/>
                  </a:lnTo>
                  <a:lnTo>
                    <a:pt x="255" y="119"/>
                  </a:lnTo>
                  <a:lnTo>
                    <a:pt x="255" y="118"/>
                  </a:lnTo>
                  <a:lnTo>
                    <a:pt x="256" y="118"/>
                  </a:lnTo>
                  <a:lnTo>
                    <a:pt x="257" y="117"/>
                  </a:lnTo>
                  <a:lnTo>
                    <a:pt x="257" y="117"/>
                  </a:lnTo>
                  <a:lnTo>
                    <a:pt x="258" y="117"/>
                  </a:lnTo>
                  <a:lnTo>
                    <a:pt x="259" y="116"/>
                  </a:lnTo>
                  <a:lnTo>
                    <a:pt x="260" y="116"/>
                  </a:lnTo>
                  <a:lnTo>
                    <a:pt x="261" y="116"/>
                  </a:lnTo>
                  <a:lnTo>
                    <a:pt x="261" y="116"/>
                  </a:lnTo>
                  <a:lnTo>
                    <a:pt x="262" y="116"/>
                  </a:lnTo>
                  <a:lnTo>
                    <a:pt x="263" y="117"/>
                  </a:lnTo>
                  <a:lnTo>
                    <a:pt x="265" y="117"/>
                  </a:lnTo>
                  <a:lnTo>
                    <a:pt x="266" y="118"/>
                  </a:lnTo>
                  <a:lnTo>
                    <a:pt x="267" y="118"/>
                  </a:lnTo>
                  <a:lnTo>
                    <a:pt x="268" y="119"/>
                  </a:lnTo>
                  <a:lnTo>
                    <a:pt x="269" y="120"/>
                  </a:lnTo>
                  <a:lnTo>
                    <a:pt x="272" y="122"/>
                  </a:lnTo>
                  <a:lnTo>
                    <a:pt x="273" y="123"/>
                  </a:lnTo>
                  <a:lnTo>
                    <a:pt x="274" y="124"/>
                  </a:lnTo>
                  <a:lnTo>
                    <a:pt x="275" y="125"/>
                  </a:lnTo>
                  <a:lnTo>
                    <a:pt x="276" y="126"/>
                  </a:lnTo>
                  <a:lnTo>
                    <a:pt x="278" y="132"/>
                  </a:lnTo>
                  <a:lnTo>
                    <a:pt x="279" y="133"/>
                  </a:lnTo>
                  <a:lnTo>
                    <a:pt x="279" y="134"/>
                  </a:lnTo>
                  <a:lnTo>
                    <a:pt x="280" y="137"/>
                  </a:lnTo>
                  <a:lnTo>
                    <a:pt x="281" y="138"/>
                  </a:lnTo>
                  <a:lnTo>
                    <a:pt x="281" y="139"/>
                  </a:lnTo>
                  <a:lnTo>
                    <a:pt x="282" y="140"/>
                  </a:lnTo>
                  <a:lnTo>
                    <a:pt x="282" y="142"/>
                  </a:lnTo>
                  <a:lnTo>
                    <a:pt x="283" y="142"/>
                  </a:lnTo>
                  <a:lnTo>
                    <a:pt x="284" y="143"/>
                  </a:lnTo>
                  <a:lnTo>
                    <a:pt x="285" y="143"/>
                  </a:lnTo>
                  <a:lnTo>
                    <a:pt x="285" y="144"/>
                  </a:lnTo>
                  <a:lnTo>
                    <a:pt x="286" y="144"/>
                  </a:lnTo>
                  <a:lnTo>
                    <a:pt x="287" y="145"/>
                  </a:lnTo>
                  <a:lnTo>
                    <a:pt x="287" y="145"/>
                  </a:lnTo>
                  <a:lnTo>
                    <a:pt x="290" y="146"/>
                  </a:lnTo>
                  <a:lnTo>
                    <a:pt x="295" y="148"/>
                  </a:lnTo>
                  <a:lnTo>
                    <a:pt x="296" y="148"/>
                  </a:lnTo>
                  <a:lnTo>
                    <a:pt x="297" y="148"/>
                  </a:lnTo>
                  <a:lnTo>
                    <a:pt x="297" y="148"/>
                  </a:lnTo>
                  <a:lnTo>
                    <a:pt x="298" y="148"/>
                  </a:lnTo>
                  <a:lnTo>
                    <a:pt x="299" y="148"/>
                  </a:lnTo>
                  <a:lnTo>
                    <a:pt x="299" y="147"/>
                  </a:lnTo>
                  <a:lnTo>
                    <a:pt x="300" y="147"/>
                  </a:lnTo>
                  <a:lnTo>
                    <a:pt x="300" y="147"/>
                  </a:lnTo>
                  <a:lnTo>
                    <a:pt x="302" y="146"/>
                  </a:lnTo>
                  <a:lnTo>
                    <a:pt x="303" y="145"/>
                  </a:lnTo>
                  <a:lnTo>
                    <a:pt x="304" y="145"/>
                  </a:lnTo>
                  <a:lnTo>
                    <a:pt x="304" y="145"/>
                  </a:lnTo>
                  <a:lnTo>
                    <a:pt x="305" y="144"/>
                  </a:lnTo>
                  <a:lnTo>
                    <a:pt x="305" y="144"/>
                  </a:lnTo>
                  <a:lnTo>
                    <a:pt x="306" y="144"/>
                  </a:lnTo>
                  <a:lnTo>
                    <a:pt x="307" y="144"/>
                  </a:lnTo>
                  <a:lnTo>
                    <a:pt x="308" y="144"/>
                  </a:lnTo>
                  <a:lnTo>
                    <a:pt x="309" y="145"/>
                  </a:lnTo>
                  <a:lnTo>
                    <a:pt x="310" y="145"/>
                  </a:lnTo>
                  <a:lnTo>
                    <a:pt x="310" y="145"/>
                  </a:lnTo>
                  <a:lnTo>
                    <a:pt x="311" y="146"/>
                  </a:lnTo>
                  <a:lnTo>
                    <a:pt x="311" y="146"/>
                  </a:lnTo>
                  <a:lnTo>
                    <a:pt x="312" y="146"/>
                  </a:lnTo>
                  <a:lnTo>
                    <a:pt x="313" y="147"/>
                  </a:lnTo>
                  <a:lnTo>
                    <a:pt x="313" y="148"/>
                  </a:lnTo>
                  <a:lnTo>
                    <a:pt x="314" y="149"/>
                  </a:lnTo>
                  <a:lnTo>
                    <a:pt x="315" y="151"/>
                  </a:lnTo>
                  <a:lnTo>
                    <a:pt x="316" y="152"/>
                  </a:lnTo>
                  <a:lnTo>
                    <a:pt x="317" y="153"/>
                  </a:lnTo>
                  <a:lnTo>
                    <a:pt x="318" y="153"/>
                  </a:lnTo>
                  <a:lnTo>
                    <a:pt x="318" y="154"/>
                  </a:lnTo>
                  <a:lnTo>
                    <a:pt x="319" y="154"/>
                  </a:lnTo>
                  <a:lnTo>
                    <a:pt x="320" y="155"/>
                  </a:lnTo>
                  <a:lnTo>
                    <a:pt x="321" y="155"/>
                  </a:lnTo>
                  <a:lnTo>
                    <a:pt x="326" y="157"/>
                  </a:lnTo>
                  <a:lnTo>
                    <a:pt x="327" y="157"/>
                  </a:lnTo>
                  <a:lnTo>
                    <a:pt x="328" y="157"/>
                  </a:lnTo>
                  <a:lnTo>
                    <a:pt x="329" y="158"/>
                  </a:lnTo>
                  <a:lnTo>
                    <a:pt x="330" y="159"/>
                  </a:lnTo>
                  <a:lnTo>
                    <a:pt x="331" y="159"/>
                  </a:lnTo>
                  <a:lnTo>
                    <a:pt x="332" y="160"/>
                  </a:lnTo>
                  <a:lnTo>
                    <a:pt x="332" y="160"/>
                  </a:lnTo>
                  <a:lnTo>
                    <a:pt x="333" y="161"/>
                  </a:lnTo>
                  <a:lnTo>
                    <a:pt x="334" y="162"/>
                  </a:lnTo>
                  <a:lnTo>
                    <a:pt x="334" y="163"/>
                  </a:lnTo>
                  <a:lnTo>
                    <a:pt x="335" y="164"/>
                  </a:lnTo>
                  <a:lnTo>
                    <a:pt x="336" y="168"/>
                  </a:lnTo>
                  <a:lnTo>
                    <a:pt x="337" y="169"/>
                  </a:lnTo>
                  <a:lnTo>
                    <a:pt x="337" y="170"/>
                  </a:lnTo>
                  <a:lnTo>
                    <a:pt x="338" y="171"/>
                  </a:lnTo>
                  <a:lnTo>
                    <a:pt x="339" y="172"/>
                  </a:lnTo>
                  <a:lnTo>
                    <a:pt x="339" y="173"/>
                  </a:lnTo>
                  <a:lnTo>
                    <a:pt x="340" y="173"/>
                  </a:lnTo>
                  <a:lnTo>
                    <a:pt x="341" y="174"/>
                  </a:lnTo>
                  <a:lnTo>
                    <a:pt x="342" y="175"/>
                  </a:lnTo>
                  <a:lnTo>
                    <a:pt x="343" y="176"/>
                  </a:lnTo>
                  <a:lnTo>
                    <a:pt x="343" y="176"/>
                  </a:lnTo>
                  <a:lnTo>
                    <a:pt x="344" y="176"/>
                  </a:lnTo>
                  <a:lnTo>
                    <a:pt x="345" y="177"/>
                  </a:lnTo>
                  <a:lnTo>
                    <a:pt x="346" y="177"/>
                  </a:lnTo>
                  <a:lnTo>
                    <a:pt x="347" y="177"/>
                  </a:lnTo>
                  <a:lnTo>
                    <a:pt x="348" y="177"/>
                  </a:lnTo>
                  <a:lnTo>
                    <a:pt x="348" y="177"/>
                  </a:lnTo>
                  <a:lnTo>
                    <a:pt x="349" y="177"/>
                  </a:lnTo>
                  <a:lnTo>
                    <a:pt x="350" y="176"/>
                  </a:lnTo>
                  <a:lnTo>
                    <a:pt x="351" y="175"/>
                  </a:lnTo>
                  <a:lnTo>
                    <a:pt x="353" y="174"/>
                  </a:lnTo>
                  <a:lnTo>
                    <a:pt x="353" y="174"/>
                  </a:lnTo>
                  <a:lnTo>
                    <a:pt x="354" y="173"/>
                  </a:lnTo>
                  <a:lnTo>
                    <a:pt x="354" y="172"/>
                  </a:lnTo>
                  <a:lnTo>
                    <a:pt x="354" y="172"/>
                  </a:lnTo>
                  <a:lnTo>
                    <a:pt x="354" y="171"/>
                  </a:lnTo>
                  <a:lnTo>
                    <a:pt x="354" y="170"/>
                  </a:lnTo>
                  <a:lnTo>
                    <a:pt x="354" y="169"/>
                  </a:lnTo>
                  <a:lnTo>
                    <a:pt x="354" y="168"/>
                  </a:lnTo>
                  <a:lnTo>
                    <a:pt x="354" y="168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5" y="167"/>
                  </a:lnTo>
                  <a:lnTo>
                    <a:pt x="356" y="167"/>
                  </a:lnTo>
                  <a:lnTo>
                    <a:pt x="357" y="167"/>
                  </a:lnTo>
                  <a:lnTo>
                    <a:pt x="358" y="167"/>
                  </a:lnTo>
                  <a:lnTo>
                    <a:pt x="362" y="168"/>
                  </a:lnTo>
                  <a:lnTo>
                    <a:pt x="364" y="169"/>
                  </a:lnTo>
                  <a:lnTo>
                    <a:pt x="365" y="169"/>
                  </a:lnTo>
                  <a:lnTo>
                    <a:pt x="367" y="169"/>
                  </a:lnTo>
                  <a:lnTo>
                    <a:pt x="369" y="169"/>
                  </a:lnTo>
                  <a:lnTo>
                    <a:pt x="374" y="169"/>
                  </a:lnTo>
                  <a:lnTo>
                    <a:pt x="375" y="169"/>
                  </a:lnTo>
                  <a:lnTo>
                    <a:pt x="377" y="170"/>
                  </a:lnTo>
                  <a:lnTo>
                    <a:pt x="378" y="170"/>
                  </a:lnTo>
                  <a:lnTo>
                    <a:pt x="379" y="170"/>
                  </a:lnTo>
                  <a:lnTo>
                    <a:pt x="379" y="170"/>
                  </a:lnTo>
                  <a:lnTo>
                    <a:pt x="380" y="171"/>
                  </a:lnTo>
                  <a:lnTo>
                    <a:pt x="385" y="173"/>
                  </a:lnTo>
                  <a:lnTo>
                    <a:pt x="388" y="175"/>
                  </a:lnTo>
                  <a:lnTo>
                    <a:pt x="390" y="176"/>
                  </a:lnTo>
                  <a:lnTo>
                    <a:pt x="391" y="176"/>
                  </a:lnTo>
                  <a:lnTo>
                    <a:pt x="397" y="181"/>
                  </a:lnTo>
                  <a:lnTo>
                    <a:pt x="398" y="181"/>
                  </a:lnTo>
                  <a:lnTo>
                    <a:pt x="398" y="181"/>
                  </a:lnTo>
                  <a:lnTo>
                    <a:pt x="400" y="182"/>
                  </a:lnTo>
                  <a:lnTo>
                    <a:pt x="401" y="183"/>
                  </a:lnTo>
                  <a:lnTo>
                    <a:pt x="403" y="183"/>
                  </a:lnTo>
                  <a:lnTo>
                    <a:pt x="404" y="183"/>
                  </a:lnTo>
                  <a:lnTo>
                    <a:pt x="406" y="183"/>
                  </a:lnTo>
                  <a:lnTo>
                    <a:pt x="407" y="184"/>
                  </a:lnTo>
                  <a:lnTo>
                    <a:pt x="408" y="184"/>
                  </a:lnTo>
                  <a:lnTo>
                    <a:pt x="409" y="183"/>
                  </a:lnTo>
                  <a:lnTo>
                    <a:pt x="410" y="183"/>
                  </a:lnTo>
                  <a:lnTo>
                    <a:pt x="410" y="183"/>
                  </a:lnTo>
                  <a:lnTo>
                    <a:pt x="411" y="183"/>
                  </a:lnTo>
                  <a:lnTo>
                    <a:pt x="411" y="182"/>
                  </a:lnTo>
                  <a:lnTo>
                    <a:pt x="412" y="182"/>
                  </a:lnTo>
                  <a:lnTo>
                    <a:pt x="412" y="181"/>
                  </a:lnTo>
                  <a:lnTo>
                    <a:pt x="413" y="181"/>
                  </a:lnTo>
                  <a:lnTo>
                    <a:pt x="413" y="181"/>
                  </a:lnTo>
                  <a:lnTo>
                    <a:pt x="413" y="180"/>
                  </a:lnTo>
                  <a:lnTo>
                    <a:pt x="414" y="179"/>
                  </a:lnTo>
                  <a:lnTo>
                    <a:pt x="414" y="177"/>
                  </a:lnTo>
                  <a:lnTo>
                    <a:pt x="415" y="176"/>
                  </a:lnTo>
                  <a:lnTo>
                    <a:pt x="415" y="176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7" y="174"/>
                  </a:lnTo>
                  <a:lnTo>
                    <a:pt x="417" y="174"/>
                  </a:lnTo>
                  <a:lnTo>
                    <a:pt x="418" y="174"/>
                  </a:lnTo>
                  <a:lnTo>
                    <a:pt x="419" y="175"/>
                  </a:lnTo>
                  <a:lnTo>
                    <a:pt x="420" y="175"/>
                  </a:lnTo>
                  <a:lnTo>
                    <a:pt x="420" y="175"/>
                  </a:lnTo>
                  <a:lnTo>
                    <a:pt x="421" y="175"/>
                  </a:lnTo>
                  <a:lnTo>
                    <a:pt x="421" y="176"/>
                  </a:lnTo>
                  <a:lnTo>
                    <a:pt x="422" y="176"/>
                  </a:lnTo>
                  <a:lnTo>
                    <a:pt x="422" y="176"/>
                  </a:lnTo>
                  <a:lnTo>
                    <a:pt x="423" y="177"/>
                  </a:lnTo>
                  <a:lnTo>
                    <a:pt x="423" y="178"/>
                  </a:lnTo>
                  <a:lnTo>
                    <a:pt x="423" y="178"/>
                  </a:lnTo>
                  <a:lnTo>
                    <a:pt x="424" y="179"/>
                  </a:lnTo>
                  <a:lnTo>
                    <a:pt x="424" y="181"/>
                  </a:lnTo>
                  <a:lnTo>
                    <a:pt x="424" y="182"/>
                  </a:lnTo>
                  <a:lnTo>
                    <a:pt x="424" y="183"/>
                  </a:lnTo>
                  <a:lnTo>
                    <a:pt x="424" y="187"/>
                  </a:lnTo>
                  <a:lnTo>
                    <a:pt x="424" y="189"/>
                  </a:lnTo>
                  <a:lnTo>
                    <a:pt x="424" y="191"/>
                  </a:lnTo>
                  <a:lnTo>
                    <a:pt x="424" y="191"/>
                  </a:lnTo>
                  <a:lnTo>
                    <a:pt x="424" y="192"/>
                  </a:lnTo>
                  <a:lnTo>
                    <a:pt x="424" y="192"/>
                  </a:lnTo>
                  <a:lnTo>
                    <a:pt x="425" y="193"/>
                  </a:lnTo>
                  <a:lnTo>
                    <a:pt x="425" y="194"/>
                  </a:lnTo>
                  <a:lnTo>
                    <a:pt x="425" y="195"/>
                  </a:lnTo>
                  <a:lnTo>
                    <a:pt x="426" y="195"/>
                  </a:lnTo>
                  <a:lnTo>
                    <a:pt x="426" y="196"/>
                  </a:lnTo>
                  <a:lnTo>
                    <a:pt x="427" y="196"/>
                  </a:lnTo>
                  <a:lnTo>
                    <a:pt x="427" y="197"/>
                  </a:lnTo>
                  <a:lnTo>
                    <a:pt x="428" y="198"/>
                  </a:lnTo>
                  <a:lnTo>
                    <a:pt x="429" y="199"/>
                  </a:lnTo>
                  <a:lnTo>
                    <a:pt x="430" y="200"/>
                  </a:lnTo>
                  <a:lnTo>
                    <a:pt x="431" y="200"/>
                  </a:lnTo>
                  <a:lnTo>
                    <a:pt x="431" y="201"/>
                  </a:lnTo>
                  <a:lnTo>
                    <a:pt x="431" y="201"/>
                  </a:lnTo>
                  <a:lnTo>
                    <a:pt x="431" y="201"/>
                  </a:lnTo>
                  <a:lnTo>
                    <a:pt x="431" y="202"/>
                  </a:lnTo>
                  <a:lnTo>
                    <a:pt x="431" y="202"/>
                  </a:lnTo>
                  <a:lnTo>
                    <a:pt x="431" y="203"/>
                  </a:lnTo>
                  <a:lnTo>
                    <a:pt x="431" y="204"/>
                  </a:lnTo>
                  <a:lnTo>
                    <a:pt x="429" y="206"/>
                  </a:lnTo>
                  <a:lnTo>
                    <a:pt x="428" y="209"/>
                  </a:lnTo>
                  <a:lnTo>
                    <a:pt x="427" y="212"/>
                  </a:lnTo>
                  <a:lnTo>
                    <a:pt x="427" y="213"/>
                  </a:lnTo>
                  <a:lnTo>
                    <a:pt x="427" y="214"/>
                  </a:lnTo>
                  <a:lnTo>
                    <a:pt x="426" y="215"/>
                  </a:lnTo>
                  <a:lnTo>
                    <a:pt x="426" y="216"/>
                  </a:lnTo>
                  <a:lnTo>
                    <a:pt x="426" y="217"/>
                  </a:lnTo>
                  <a:lnTo>
                    <a:pt x="427" y="219"/>
                  </a:lnTo>
                  <a:lnTo>
                    <a:pt x="427" y="220"/>
                  </a:lnTo>
                  <a:lnTo>
                    <a:pt x="428" y="223"/>
                  </a:lnTo>
                  <a:lnTo>
                    <a:pt x="429" y="224"/>
                  </a:lnTo>
                  <a:lnTo>
                    <a:pt x="429" y="225"/>
                  </a:lnTo>
                  <a:lnTo>
                    <a:pt x="430" y="227"/>
                  </a:lnTo>
                  <a:lnTo>
                    <a:pt x="431" y="230"/>
                  </a:lnTo>
                  <a:lnTo>
                    <a:pt x="433" y="233"/>
                  </a:lnTo>
                  <a:lnTo>
                    <a:pt x="434" y="237"/>
                  </a:lnTo>
                  <a:lnTo>
                    <a:pt x="437" y="243"/>
                  </a:lnTo>
                  <a:lnTo>
                    <a:pt x="440" y="249"/>
                  </a:lnTo>
                  <a:lnTo>
                    <a:pt x="441" y="253"/>
                  </a:lnTo>
                  <a:lnTo>
                    <a:pt x="442" y="254"/>
                  </a:lnTo>
                  <a:lnTo>
                    <a:pt x="442" y="255"/>
                  </a:lnTo>
                  <a:lnTo>
                    <a:pt x="443" y="256"/>
                  </a:lnTo>
                  <a:lnTo>
                    <a:pt x="444" y="261"/>
                  </a:lnTo>
                  <a:lnTo>
                    <a:pt x="444" y="262"/>
                  </a:lnTo>
                  <a:lnTo>
                    <a:pt x="445" y="263"/>
                  </a:lnTo>
                  <a:lnTo>
                    <a:pt x="445" y="264"/>
                  </a:lnTo>
                  <a:lnTo>
                    <a:pt x="445" y="265"/>
                  </a:lnTo>
                  <a:lnTo>
                    <a:pt x="446" y="265"/>
                  </a:lnTo>
                  <a:lnTo>
                    <a:pt x="446" y="266"/>
                  </a:lnTo>
                  <a:lnTo>
                    <a:pt x="447" y="267"/>
                  </a:lnTo>
                  <a:lnTo>
                    <a:pt x="448" y="267"/>
                  </a:lnTo>
                  <a:lnTo>
                    <a:pt x="449" y="268"/>
                  </a:lnTo>
                  <a:lnTo>
                    <a:pt x="449" y="269"/>
                  </a:lnTo>
                  <a:lnTo>
                    <a:pt x="450" y="269"/>
                  </a:lnTo>
                  <a:lnTo>
                    <a:pt x="451" y="269"/>
                  </a:lnTo>
                  <a:lnTo>
                    <a:pt x="452" y="270"/>
                  </a:lnTo>
                  <a:lnTo>
                    <a:pt x="453" y="270"/>
                  </a:lnTo>
                  <a:lnTo>
                    <a:pt x="457" y="272"/>
                  </a:lnTo>
                  <a:lnTo>
                    <a:pt x="459" y="272"/>
                  </a:lnTo>
                  <a:lnTo>
                    <a:pt x="463" y="273"/>
                  </a:lnTo>
                  <a:lnTo>
                    <a:pt x="464" y="273"/>
                  </a:lnTo>
                  <a:lnTo>
                    <a:pt x="465" y="273"/>
                  </a:lnTo>
                  <a:lnTo>
                    <a:pt x="465" y="273"/>
                  </a:lnTo>
                  <a:lnTo>
                    <a:pt x="467" y="274"/>
                  </a:lnTo>
                  <a:lnTo>
                    <a:pt x="468" y="274"/>
                  </a:lnTo>
                  <a:lnTo>
                    <a:pt x="469" y="275"/>
                  </a:lnTo>
                  <a:lnTo>
                    <a:pt x="470" y="277"/>
                  </a:lnTo>
                  <a:lnTo>
                    <a:pt x="472" y="279"/>
                  </a:lnTo>
                  <a:lnTo>
                    <a:pt x="473" y="279"/>
                  </a:lnTo>
                  <a:lnTo>
                    <a:pt x="474" y="280"/>
                  </a:lnTo>
                  <a:lnTo>
                    <a:pt x="474" y="280"/>
                  </a:lnTo>
                  <a:lnTo>
                    <a:pt x="476" y="281"/>
                  </a:lnTo>
                  <a:lnTo>
                    <a:pt x="477" y="282"/>
                  </a:lnTo>
                  <a:lnTo>
                    <a:pt x="479" y="282"/>
                  </a:lnTo>
                  <a:lnTo>
                    <a:pt x="479" y="282"/>
                  </a:lnTo>
                  <a:lnTo>
                    <a:pt x="481" y="282"/>
                  </a:lnTo>
                  <a:lnTo>
                    <a:pt x="481" y="282"/>
                  </a:lnTo>
                  <a:lnTo>
                    <a:pt x="482" y="282"/>
                  </a:lnTo>
                  <a:lnTo>
                    <a:pt x="483" y="282"/>
                  </a:lnTo>
                  <a:lnTo>
                    <a:pt x="486" y="282"/>
                  </a:lnTo>
                  <a:lnTo>
                    <a:pt x="488" y="282"/>
                  </a:lnTo>
                  <a:lnTo>
                    <a:pt x="489" y="282"/>
                  </a:lnTo>
                  <a:lnTo>
                    <a:pt x="490" y="282"/>
                  </a:lnTo>
                  <a:lnTo>
                    <a:pt x="491" y="282"/>
                  </a:lnTo>
                  <a:lnTo>
                    <a:pt x="492" y="282"/>
                  </a:lnTo>
                  <a:lnTo>
                    <a:pt x="493" y="282"/>
                  </a:lnTo>
                  <a:lnTo>
                    <a:pt x="494" y="283"/>
                  </a:lnTo>
                  <a:lnTo>
                    <a:pt x="495" y="283"/>
                  </a:lnTo>
                  <a:lnTo>
                    <a:pt x="496" y="284"/>
                  </a:lnTo>
                  <a:lnTo>
                    <a:pt x="496" y="284"/>
                  </a:lnTo>
                  <a:lnTo>
                    <a:pt x="497" y="285"/>
                  </a:lnTo>
                  <a:lnTo>
                    <a:pt x="498" y="285"/>
                  </a:lnTo>
                  <a:lnTo>
                    <a:pt x="498" y="286"/>
                  </a:lnTo>
                  <a:lnTo>
                    <a:pt x="498" y="287"/>
                  </a:lnTo>
                  <a:lnTo>
                    <a:pt x="499" y="288"/>
                  </a:lnTo>
                  <a:lnTo>
                    <a:pt x="499" y="290"/>
                  </a:lnTo>
                  <a:lnTo>
                    <a:pt x="500" y="292"/>
                  </a:lnTo>
                  <a:lnTo>
                    <a:pt x="501" y="296"/>
                  </a:lnTo>
                  <a:lnTo>
                    <a:pt x="502" y="301"/>
                  </a:lnTo>
                  <a:lnTo>
                    <a:pt x="504" y="310"/>
                  </a:lnTo>
                  <a:lnTo>
                    <a:pt x="506" y="315"/>
                  </a:lnTo>
                  <a:lnTo>
                    <a:pt x="506" y="317"/>
                  </a:lnTo>
                  <a:lnTo>
                    <a:pt x="507" y="318"/>
                  </a:lnTo>
                  <a:lnTo>
                    <a:pt x="507" y="319"/>
                  </a:lnTo>
                  <a:lnTo>
                    <a:pt x="508" y="321"/>
                  </a:lnTo>
                  <a:lnTo>
                    <a:pt x="509" y="322"/>
                  </a:lnTo>
                  <a:lnTo>
                    <a:pt x="509" y="324"/>
                  </a:lnTo>
                  <a:lnTo>
                    <a:pt x="510" y="328"/>
                  </a:lnTo>
                  <a:lnTo>
                    <a:pt x="510" y="329"/>
                  </a:lnTo>
                  <a:lnTo>
                    <a:pt x="510" y="331"/>
                  </a:lnTo>
                  <a:lnTo>
                    <a:pt x="511" y="333"/>
                  </a:lnTo>
                  <a:lnTo>
                    <a:pt x="512" y="335"/>
                  </a:lnTo>
                  <a:lnTo>
                    <a:pt x="513" y="336"/>
                  </a:lnTo>
                  <a:lnTo>
                    <a:pt x="514" y="338"/>
                  </a:lnTo>
                  <a:lnTo>
                    <a:pt x="515" y="340"/>
                  </a:lnTo>
                  <a:lnTo>
                    <a:pt x="516" y="341"/>
                  </a:lnTo>
                  <a:lnTo>
                    <a:pt x="516" y="343"/>
                  </a:lnTo>
                  <a:lnTo>
                    <a:pt x="516" y="344"/>
                  </a:lnTo>
                  <a:lnTo>
                    <a:pt x="516" y="345"/>
                  </a:lnTo>
                  <a:lnTo>
                    <a:pt x="516" y="346"/>
                  </a:lnTo>
                  <a:lnTo>
                    <a:pt x="516" y="346"/>
                  </a:lnTo>
                  <a:lnTo>
                    <a:pt x="515" y="348"/>
                  </a:lnTo>
                  <a:lnTo>
                    <a:pt x="515" y="350"/>
                  </a:lnTo>
                  <a:lnTo>
                    <a:pt x="514" y="352"/>
                  </a:lnTo>
                  <a:lnTo>
                    <a:pt x="513" y="355"/>
                  </a:lnTo>
                  <a:lnTo>
                    <a:pt x="513" y="355"/>
                  </a:lnTo>
                  <a:lnTo>
                    <a:pt x="513" y="356"/>
                  </a:lnTo>
                  <a:lnTo>
                    <a:pt x="513" y="356"/>
                  </a:lnTo>
                  <a:lnTo>
                    <a:pt x="512" y="356"/>
                  </a:lnTo>
                  <a:lnTo>
                    <a:pt x="511" y="357"/>
                  </a:lnTo>
                  <a:lnTo>
                    <a:pt x="511" y="357"/>
                  </a:lnTo>
                  <a:lnTo>
                    <a:pt x="510" y="357"/>
                  </a:lnTo>
                  <a:lnTo>
                    <a:pt x="507" y="358"/>
                  </a:lnTo>
                  <a:lnTo>
                    <a:pt x="505" y="359"/>
                  </a:lnTo>
                  <a:lnTo>
                    <a:pt x="504" y="359"/>
                  </a:lnTo>
                  <a:lnTo>
                    <a:pt x="503" y="360"/>
                  </a:lnTo>
                  <a:lnTo>
                    <a:pt x="499" y="362"/>
                  </a:lnTo>
                  <a:lnTo>
                    <a:pt x="497" y="363"/>
                  </a:lnTo>
                  <a:lnTo>
                    <a:pt x="495" y="364"/>
                  </a:lnTo>
                  <a:lnTo>
                    <a:pt x="491" y="367"/>
                  </a:lnTo>
                  <a:lnTo>
                    <a:pt x="490" y="368"/>
                  </a:lnTo>
                  <a:lnTo>
                    <a:pt x="489" y="368"/>
                  </a:lnTo>
                  <a:lnTo>
                    <a:pt x="487" y="369"/>
                  </a:lnTo>
                  <a:lnTo>
                    <a:pt x="486" y="369"/>
                  </a:lnTo>
                  <a:lnTo>
                    <a:pt x="485" y="369"/>
                  </a:lnTo>
                  <a:lnTo>
                    <a:pt x="484" y="369"/>
                  </a:lnTo>
                  <a:lnTo>
                    <a:pt x="484" y="369"/>
                  </a:lnTo>
                  <a:lnTo>
                    <a:pt x="483" y="369"/>
                  </a:lnTo>
                  <a:lnTo>
                    <a:pt x="482" y="369"/>
                  </a:lnTo>
                  <a:lnTo>
                    <a:pt x="480" y="369"/>
                  </a:lnTo>
                  <a:lnTo>
                    <a:pt x="476" y="367"/>
                  </a:lnTo>
                  <a:lnTo>
                    <a:pt x="475" y="367"/>
                  </a:lnTo>
                  <a:lnTo>
                    <a:pt x="474" y="367"/>
                  </a:lnTo>
                  <a:lnTo>
                    <a:pt x="472" y="367"/>
                  </a:lnTo>
                  <a:lnTo>
                    <a:pt x="469" y="366"/>
                  </a:lnTo>
                  <a:lnTo>
                    <a:pt x="466" y="366"/>
                  </a:lnTo>
                  <a:lnTo>
                    <a:pt x="464" y="366"/>
                  </a:lnTo>
                  <a:lnTo>
                    <a:pt x="463" y="366"/>
                  </a:lnTo>
                  <a:lnTo>
                    <a:pt x="461" y="366"/>
                  </a:lnTo>
                  <a:lnTo>
                    <a:pt x="458" y="366"/>
                  </a:lnTo>
                  <a:lnTo>
                    <a:pt x="452" y="368"/>
                  </a:lnTo>
                  <a:lnTo>
                    <a:pt x="450" y="368"/>
                  </a:lnTo>
                  <a:lnTo>
                    <a:pt x="448" y="368"/>
                  </a:lnTo>
                  <a:lnTo>
                    <a:pt x="447" y="368"/>
                  </a:lnTo>
                  <a:lnTo>
                    <a:pt x="446" y="368"/>
                  </a:lnTo>
                  <a:lnTo>
                    <a:pt x="445" y="368"/>
                  </a:lnTo>
                  <a:lnTo>
                    <a:pt x="444" y="368"/>
                  </a:lnTo>
                  <a:lnTo>
                    <a:pt x="443" y="368"/>
                  </a:lnTo>
                  <a:lnTo>
                    <a:pt x="442" y="367"/>
                  </a:lnTo>
                  <a:lnTo>
                    <a:pt x="440" y="366"/>
                  </a:lnTo>
                  <a:lnTo>
                    <a:pt x="439" y="366"/>
                  </a:lnTo>
                  <a:lnTo>
                    <a:pt x="438" y="366"/>
                  </a:lnTo>
                  <a:lnTo>
                    <a:pt x="437" y="366"/>
                  </a:lnTo>
                  <a:lnTo>
                    <a:pt x="436" y="366"/>
                  </a:lnTo>
                  <a:lnTo>
                    <a:pt x="435" y="366"/>
                  </a:lnTo>
                  <a:lnTo>
                    <a:pt x="434" y="366"/>
                  </a:lnTo>
                  <a:lnTo>
                    <a:pt x="433" y="366"/>
                  </a:lnTo>
                  <a:lnTo>
                    <a:pt x="432" y="366"/>
                  </a:lnTo>
                  <a:lnTo>
                    <a:pt x="431" y="366"/>
                  </a:lnTo>
                  <a:lnTo>
                    <a:pt x="430" y="366"/>
                  </a:lnTo>
                  <a:lnTo>
                    <a:pt x="430" y="367"/>
                  </a:lnTo>
                  <a:lnTo>
                    <a:pt x="429" y="367"/>
                  </a:lnTo>
                  <a:lnTo>
                    <a:pt x="428" y="368"/>
                  </a:lnTo>
                  <a:lnTo>
                    <a:pt x="427" y="369"/>
                  </a:lnTo>
                  <a:lnTo>
                    <a:pt x="426" y="370"/>
                  </a:lnTo>
                  <a:lnTo>
                    <a:pt x="425" y="370"/>
                  </a:lnTo>
                  <a:lnTo>
                    <a:pt x="425" y="371"/>
                  </a:lnTo>
                  <a:lnTo>
                    <a:pt x="424" y="372"/>
                  </a:lnTo>
                  <a:lnTo>
                    <a:pt x="424" y="373"/>
                  </a:lnTo>
                  <a:lnTo>
                    <a:pt x="424" y="374"/>
                  </a:lnTo>
                  <a:lnTo>
                    <a:pt x="423" y="374"/>
                  </a:lnTo>
                  <a:lnTo>
                    <a:pt x="423" y="375"/>
                  </a:lnTo>
                  <a:lnTo>
                    <a:pt x="423" y="376"/>
                  </a:lnTo>
                  <a:lnTo>
                    <a:pt x="423" y="377"/>
                  </a:lnTo>
                  <a:lnTo>
                    <a:pt x="423" y="380"/>
                  </a:lnTo>
                  <a:lnTo>
                    <a:pt x="423" y="381"/>
                  </a:lnTo>
                  <a:lnTo>
                    <a:pt x="423" y="382"/>
                  </a:lnTo>
                  <a:lnTo>
                    <a:pt x="423" y="383"/>
                  </a:lnTo>
                  <a:lnTo>
                    <a:pt x="423" y="384"/>
                  </a:lnTo>
                  <a:lnTo>
                    <a:pt x="422" y="385"/>
                  </a:lnTo>
                  <a:lnTo>
                    <a:pt x="422" y="386"/>
                  </a:lnTo>
                  <a:lnTo>
                    <a:pt x="421" y="387"/>
                  </a:lnTo>
                  <a:lnTo>
                    <a:pt x="420" y="389"/>
                  </a:lnTo>
                  <a:lnTo>
                    <a:pt x="418" y="392"/>
                  </a:lnTo>
                  <a:lnTo>
                    <a:pt x="417" y="393"/>
                  </a:lnTo>
                  <a:lnTo>
                    <a:pt x="414" y="397"/>
                  </a:lnTo>
                  <a:lnTo>
                    <a:pt x="411" y="400"/>
                  </a:lnTo>
                  <a:lnTo>
                    <a:pt x="410" y="401"/>
                  </a:lnTo>
                  <a:lnTo>
                    <a:pt x="409" y="403"/>
                  </a:lnTo>
                  <a:lnTo>
                    <a:pt x="407" y="406"/>
                  </a:lnTo>
                  <a:lnTo>
                    <a:pt x="405" y="410"/>
                  </a:lnTo>
                  <a:lnTo>
                    <a:pt x="404" y="411"/>
                  </a:lnTo>
                  <a:lnTo>
                    <a:pt x="403" y="412"/>
                  </a:lnTo>
                  <a:lnTo>
                    <a:pt x="402" y="413"/>
                  </a:lnTo>
                  <a:lnTo>
                    <a:pt x="401" y="414"/>
                  </a:lnTo>
                  <a:lnTo>
                    <a:pt x="400" y="415"/>
                  </a:lnTo>
                  <a:lnTo>
                    <a:pt x="399" y="416"/>
                  </a:lnTo>
                  <a:lnTo>
                    <a:pt x="398" y="416"/>
                  </a:lnTo>
                  <a:lnTo>
                    <a:pt x="397" y="417"/>
                  </a:lnTo>
                  <a:lnTo>
                    <a:pt x="396" y="418"/>
                  </a:lnTo>
                  <a:lnTo>
                    <a:pt x="395" y="418"/>
                  </a:lnTo>
                  <a:lnTo>
                    <a:pt x="394" y="418"/>
                  </a:lnTo>
                  <a:lnTo>
                    <a:pt x="392" y="419"/>
                  </a:lnTo>
                  <a:lnTo>
                    <a:pt x="391" y="419"/>
                  </a:lnTo>
                  <a:lnTo>
                    <a:pt x="390" y="419"/>
                  </a:lnTo>
                  <a:lnTo>
                    <a:pt x="389" y="419"/>
                  </a:lnTo>
                  <a:lnTo>
                    <a:pt x="388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3" y="419"/>
                  </a:lnTo>
                  <a:lnTo>
                    <a:pt x="383" y="419"/>
                  </a:lnTo>
                  <a:lnTo>
                    <a:pt x="382" y="418"/>
                  </a:lnTo>
                  <a:lnTo>
                    <a:pt x="381" y="418"/>
                  </a:lnTo>
                  <a:lnTo>
                    <a:pt x="380" y="417"/>
                  </a:lnTo>
                  <a:lnTo>
                    <a:pt x="379" y="416"/>
                  </a:lnTo>
                  <a:lnTo>
                    <a:pt x="378" y="416"/>
                  </a:lnTo>
                  <a:lnTo>
                    <a:pt x="377" y="415"/>
                  </a:lnTo>
                  <a:lnTo>
                    <a:pt x="377" y="414"/>
                  </a:lnTo>
                  <a:lnTo>
                    <a:pt x="376" y="414"/>
                  </a:lnTo>
                  <a:lnTo>
                    <a:pt x="376" y="413"/>
                  </a:lnTo>
                  <a:lnTo>
                    <a:pt x="375" y="412"/>
                  </a:lnTo>
                  <a:lnTo>
                    <a:pt x="375" y="412"/>
                  </a:lnTo>
                  <a:lnTo>
                    <a:pt x="374" y="410"/>
                  </a:lnTo>
                  <a:lnTo>
                    <a:pt x="372" y="406"/>
                  </a:lnTo>
                  <a:lnTo>
                    <a:pt x="372" y="405"/>
                  </a:lnTo>
                  <a:lnTo>
                    <a:pt x="372" y="405"/>
                  </a:lnTo>
                  <a:lnTo>
                    <a:pt x="371" y="404"/>
                  </a:lnTo>
                  <a:lnTo>
                    <a:pt x="371" y="403"/>
                  </a:lnTo>
                  <a:lnTo>
                    <a:pt x="369" y="400"/>
                  </a:lnTo>
                  <a:lnTo>
                    <a:pt x="368" y="399"/>
                  </a:lnTo>
                  <a:lnTo>
                    <a:pt x="367" y="399"/>
                  </a:lnTo>
                  <a:lnTo>
                    <a:pt x="366" y="398"/>
                  </a:lnTo>
                  <a:lnTo>
                    <a:pt x="365" y="397"/>
                  </a:lnTo>
                  <a:lnTo>
                    <a:pt x="360" y="394"/>
                  </a:lnTo>
                  <a:lnTo>
                    <a:pt x="359" y="393"/>
                  </a:lnTo>
                  <a:lnTo>
                    <a:pt x="358" y="392"/>
                  </a:lnTo>
                  <a:lnTo>
                    <a:pt x="357" y="391"/>
                  </a:lnTo>
                  <a:lnTo>
                    <a:pt x="357" y="390"/>
                  </a:lnTo>
                  <a:lnTo>
                    <a:pt x="356" y="389"/>
                  </a:lnTo>
                  <a:lnTo>
                    <a:pt x="355" y="388"/>
                  </a:lnTo>
                  <a:lnTo>
                    <a:pt x="354" y="386"/>
                  </a:lnTo>
                  <a:lnTo>
                    <a:pt x="352" y="382"/>
                  </a:lnTo>
                  <a:lnTo>
                    <a:pt x="351" y="381"/>
                  </a:lnTo>
                  <a:lnTo>
                    <a:pt x="351" y="380"/>
                  </a:lnTo>
                  <a:lnTo>
                    <a:pt x="350" y="380"/>
                  </a:lnTo>
                  <a:lnTo>
                    <a:pt x="349" y="379"/>
                  </a:lnTo>
                  <a:lnTo>
                    <a:pt x="348" y="379"/>
                  </a:lnTo>
                  <a:lnTo>
                    <a:pt x="347" y="378"/>
                  </a:lnTo>
                  <a:lnTo>
                    <a:pt x="346" y="378"/>
                  </a:lnTo>
                  <a:lnTo>
                    <a:pt x="345" y="377"/>
                  </a:lnTo>
                  <a:lnTo>
                    <a:pt x="344" y="377"/>
                  </a:lnTo>
                  <a:lnTo>
                    <a:pt x="343" y="377"/>
                  </a:lnTo>
                  <a:lnTo>
                    <a:pt x="343" y="377"/>
                  </a:lnTo>
                  <a:lnTo>
                    <a:pt x="341" y="378"/>
                  </a:lnTo>
                  <a:lnTo>
                    <a:pt x="338" y="378"/>
                  </a:lnTo>
                  <a:lnTo>
                    <a:pt x="337" y="379"/>
                  </a:lnTo>
                  <a:lnTo>
                    <a:pt x="336" y="379"/>
                  </a:lnTo>
                  <a:lnTo>
                    <a:pt x="335" y="379"/>
                  </a:lnTo>
                  <a:lnTo>
                    <a:pt x="334" y="379"/>
                  </a:lnTo>
                  <a:lnTo>
                    <a:pt x="333" y="379"/>
                  </a:lnTo>
                  <a:lnTo>
                    <a:pt x="330" y="378"/>
                  </a:lnTo>
                  <a:lnTo>
                    <a:pt x="329" y="378"/>
                  </a:lnTo>
                  <a:lnTo>
                    <a:pt x="323" y="377"/>
                  </a:lnTo>
                  <a:lnTo>
                    <a:pt x="322" y="377"/>
                  </a:lnTo>
                  <a:lnTo>
                    <a:pt x="321" y="376"/>
                  </a:lnTo>
                  <a:lnTo>
                    <a:pt x="319" y="376"/>
                  </a:lnTo>
                  <a:lnTo>
                    <a:pt x="319" y="375"/>
                  </a:lnTo>
                  <a:lnTo>
                    <a:pt x="318" y="375"/>
                  </a:lnTo>
                  <a:lnTo>
                    <a:pt x="316" y="374"/>
                  </a:lnTo>
                  <a:lnTo>
                    <a:pt x="312" y="371"/>
                  </a:lnTo>
                  <a:lnTo>
                    <a:pt x="311" y="370"/>
                  </a:lnTo>
                  <a:lnTo>
                    <a:pt x="310" y="370"/>
                  </a:lnTo>
                  <a:lnTo>
                    <a:pt x="309" y="369"/>
                  </a:lnTo>
                  <a:lnTo>
                    <a:pt x="308" y="369"/>
                  </a:lnTo>
                  <a:lnTo>
                    <a:pt x="307" y="369"/>
                  </a:lnTo>
                  <a:lnTo>
                    <a:pt x="306" y="368"/>
                  </a:lnTo>
                  <a:lnTo>
                    <a:pt x="303" y="368"/>
                  </a:lnTo>
                  <a:lnTo>
                    <a:pt x="302" y="368"/>
                  </a:lnTo>
                  <a:lnTo>
                    <a:pt x="301" y="368"/>
                  </a:lnTo>
                  <a:lnTo>
                    <a:pt x="297" y="367"/>
                  </a:lnTo>
                  <a:lnTo>
                    <a:pt x="296" y="367"/>
                  </a:lnTo>
                  <a:lnTo>
                    <a:pt x="295" y="367"/>
                  </a:lnTo>
                  <a:lnTo>
                    <a:pt x="293" y="367"/>
                  </a:lnTo>
                  <a:lnTo>
                    <a:pt x="290" y="367"/>
                  </a:lnTo>
                  <a:lnTo>
                    <a:pt x="287" y="367"/>
                  </a:lnTo>
                  <a:lnTo>
                    <a:pt x="285" y="367"/>
                  </a:lnTo>
                  <a:lnTo>
                    <a:pt x="281" y="368"/>
                  </a:lnTo>
                  <a:lnTo>
                    <a:pt x="278" y="369"/>
                  </a:lnTo>
                  <a:lnTo>
                    <a:pt x="274" y="370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2" y="373"/>
                  </a:lnTo>
                  <a:lnTo>
                    <a:pt x="261" y="372"/>
                  </a:lnTo>
                  <a:lnTo>
                    <a:pt x="261" y="372"/>
                  </a:lnTo>
                  <a:lnTo>
                    <a:pt x="260" y="372"/>
                  </a:lnTo>
                  <a:lnTo>
                    <a:pt x="259" y="371"/>
                  </a:lnTo>
                  <a:lnTo>
                    <a:pt x="259" y="371"/>
                  </a:lnTo>
                  <a:lnTo>
                    <a:pt x="258" y="371"/>
                  </a:lnTo>
                  <a:lnTo>
                    <a:pt x="258" y="370"/>
                  </a:lnTo>
                  <a:lnTo>
                    <a:pt x="257" y="369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5" y="365"/>
                  </a:lnTo>
                  <a:lnTo>
                    <a:pt x="254" y="364"/>
                  </a:lnTo>
                  <a:lnTo>
                    <a:pt x="253" y="363"/>
                  </a:lnTo>
                  <a:lnTo>
                    <a:pt x="252" y="362"/>
                  </a:lnTo>
                  <a:lnTo>
                    <a:pt x="250" y="361"/>
                  </a:lnTo>
                  <a:lnTo>
                    <a:pt x="249" y="361"/>
                  </a:lnTo>
                  <a:lnTo>
                    <a:pt x="248" y="360"/>
                  </a:lnTo>
                  <a:lnTo>
                    <a:pt x="247" y="360"/>
                  </a:lnTo>
                  <a:lnTo>
                    <a:pt x="245" y="359"/>
                  </a:lnTo>
                  <a:lnTo>
                    <a:pt x="243" y="359"/>
                  </a:lnTo>
                  <a:lnTo>
                    <a:pt x="242" y="359"/>
                  </a:lnTo>
                  <a:lnTo>
                    <a:pt x="240" y="359"/>
                  </a:lnTo>
                  <a:lnTo>
                    <a:pt x="239" y="359"/>
                  </a:lnTo>
                  <a:lnTo>
                    <a:pt x="239" y="359"/>
                  </a:lnTo>
                  <a:lnTo>
                    <a:pt x="239" y="359"/>
                  </a:lnTo>
                  <a:lnTo>
                    <a:pt x="238" y="359"/>
                  </a:lnTo>
                  <a:lnTo>
                    <a:pt x="237" y="359"/>
                  </a:lnTo>
                  <a:lnTo>
                    <a:pt x="237" y="359"/>
                  </a:lnTo>
                  <a:lnTo>
                    <a:pt x="235" y="360"/>
                  </a:lnTo>
                  <a:lnTo>
                    <a:pt x="235" y="360"/>
                  </a:lnTo>
                  <a:lnTo>
                    <a:pt x="234" y="359"/>
                  </a:lnTo>
                  <a:lnTo>
                    <a:pt x="234" y="359"/>
                  </a:lnTo>
                  <a:lnTo>
                    <a:pt x="233" y="356"/>
                  </a:lnTo>
                  <a:lnTo>
                    <a:pt x="231" y="353"/>
                  </a:lnTo>
                  <a:lnTo>
                    <a:pt x="231" y="352"/>
                  </a:lnTo>
                  <a:lnTo>
                    <a:pt x="230" y="351"/>
                  </a:lnTo>
                  <a:lnTo>
                    <a:pt x="229" y="350"/>
                  </a:lnTo>
                  <a:lnTo>
                    <a:pt x="228" y="349"/>
                  </a:lnTo>
                  <a:lnTo>
                    <a:pt x="228" y="349"/>
                  </a:lnTo>
                  <a:lnTo>
                    <a:pt x="228" y="349"/>
                  </a:lnTo>
                  <a:lnTo>
                    <a:pt x="227" y="349"/>
                  </a:lnTo>
                  <a:lnTo>
                    <a:pt x="227" y="348"/>
                  </a:lnTo>
                  <a:lnTo>
                    <a:pt x="226" y="348"/>
                  </a:lnTo>
                  <a:lnTo>
                    <a:pt x="226" y="348"/>
                  </a:lnTo>
                  <a:lnTo>
                    <a:pt x="225" y="349"/>
                  </a:lnTo>
                  <a:lnTo>
                    <a:pt x="224" y="349"/>
                  </a:lnTo>
                  <a:lnTo>
                    <a:pt x="223" y="349"/>
                  </a:lnTo>
                  <a:lnTo>
                    <a:pt x="222" y="350"/>
                  </a:lnTo>
                  <a:lnTo>
                    <a:pt x="221" y="351"/>
                  </a:lnTo>
                  <a:lnTo>
                    <a:pt x="219" y="353"/>
                  </a:lnTo>
                  <a:lnTo>
                    <a:pt x="218" y="353"/>
                  </a:lnTo>
                  <a:lnTo>
                    <a:pt x="218" y="353"/>
                  </a:lnTo>
                  <a:lnTo>
                    <a:pt x="218" y="353"/>
                  </a:lnTo>
                  <a:lnTo>
                    <a:pt x="217" y="353"/>
                  </a:lnTo>
                  <a:lnTo>
                    <a:pt x="216" y="353"/>
                  </a:lnTo>
                  <a:lnTo>
                    <a:pt x="216" y="353"/>
                  </a:lnTo>
                  <a:lnTo>
                    <a:pt x="216" y="352"/>
                  </a:lnTo>
                  <a:lnTo>
                    <a:pt x="215" y="352"/>
                  </a:lnTo>
                  <a:lnTo>
                    <a:pt x="215" y="351"/>
                  </a:lnTo>
                  <a:lnTo>
                    <a:pt x="214" y="350"/>
                  </a:lnTo>
                  <a:lnTo>
                    <a:pt x="214" y="349"/>
                  </a:lnTo>
                  <a:lnTo>
                    <a:pt x="214" y="349"/>
                  </a:lnTo>
                  <a:lnTo>
                    <a:pt x="214" y="348"/>
                  </a:lnTo>
                  <a:lnTo>
                    <a:pt x="215" y="347"/>
                  </a:lnTo>
                  <a:lnTo>
                    <a:pt x="215" y="346"/>
                  </a:lnTo>
                  <a:lnTo>
                    <a:pt x="216" y="345"/>
                  </a:lnTo>
                  <a:lnTo>
                    <a:pt x="216" y="344"/>
                  </a:lnTo>
                  <a:lnTo>
                    <a:pt x="216" y="343"/>
                  </a:lnTo>
                  <a:lnTo>
                    <a:pt x="216" y="343"/>
                  </a:lnTo>
                  <a:lnTo>
                    <a:pt x="216" y="342"/>
                  </a:lnTo>
                  <a:lnTo>
                    <a:pt x="216" y="341"/>
                  </a:lnTo>
                  <a:lnTo>
                    <a:pt x="216" y="341"/>
                  </a:lnTo>
                  <a:lnTo>
                    <a:pt x="215" y="340"/>
                  </a:lnTo>
                  <a:lnTo>
                    <a:pt x="214" y="337"/>
                  </a:lnTo>
                  <a:lnTo>
                    <a:pt x="212" y="334"/>
                  </a:lnTo>
                  <a:lnTo>
                    <a:pt x="211" y="332"/>
                  </a:lnTo>
                  <a:lnTo>
                    <a:pt x="209" y="330"/>
                  </a:lnTo>
                  <a:lnTo>
                    <a:pt x="208" y="329"/>
                  </a:lnTo>
                  <a:lnTo>
                    <a:pt x="206" y="327"/>
                  </a:lnTo>
                  <a:lnTo>
                    <a:pt x="203" y="324"/>
                  </a:lnTo>
                  <a:lnTo>
                    <a:pt x="202" y="322"/>
                  </a:lnTo>
                  <a:lnTo>
                    <a:pt x="200" y="322"/>
                  </a:lnTo>
                  <a:lnTo>
                    <a:pt x="193" y="316"/>
                  </a:lnTo>
                  <a:lnTo>
                    <a:pt x="192" y="315"/>
                  </a:lnTo>
                  <a:lnTo>
                    <a:pt x="191" y="315"/>
                  </a:lnTo>
                  <a:lnTo>
                    <a:pt x="191" y="314"/>
                  </a:lnTo>
                  <a:lnTo>
                    <a:pt x="190" y="313"/>
                  </a:lnTo>
                  <a:lnTo>
                    <a:pt x="189" y="311"/>
                  </a:lnTo>
                  <a:lnTo>
                    <a:pt x="188" y="310"/>
                  </a:lnTo>
                  <a:lnTo>
                    <a:pt x="187" y="308"/>
                  </a:lnTo>
                  <a:lnTo>
                    <a:pt x="186" y="307"/>
                  </a:lnTo>
                  <a:lnTo>
                    <a:pt x="186" y="306"/>
                  </a:lnTo>
                  <a:lnTo>
                    <a:pt x="185" y="304"/>
                  </a:lnTo>
                  <a:lnTo>
                    <a:pt x="183" y="303"/>
                  </a:lnTo>
                  <a:lnTo>
                    <a:pt x="182" y="302"/>
                  </a:lnTo>
                  <a:lnTo>
                    <a:pt x="182" y="301"/>
                  </a:lnTo>
                  <a:lnTo>
                    <a:pt x="181" y="300"/>
                  </a:lnTo>
                  <a:lnTo>
                    <a:pt x="180" y="300"/>
                  </a:lnTo>
                  <a:lnTo>
                    <a:pt x="180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78" y="299"/>
                  </a:lnTo>
                  <a:lnTo>
                    <a:pt x="178" y="300"/>
                  </a:lnTo>
                  <a:lnTo>
                    <a:pt x="177" y="300"/>
                  </a:lnTo>
                  <a:lnTo>
                    <a:pt x="176" y="301"/>
                  </a:lnTo>
                  <a:lnTo>
                    <a:pt x="175" y="301"/>
                  </a:lnTo>
                  <a:lnTo>
                    <a:pt x="175" y="301"/>
                  </a:lnTo>
                  <a:lnTo>
                    <a:pt x="174" y="302"/>
                  </a:lnTo>
                  <a:lnTo>
                    <a:pt x="173" y="302"/>
                  </a:lnTo>
                  <a:lnTo>
                    <a:pt x="173" y="302"/>
                  </a:lnTo>
                  <a:lnTo>
                    <a:pt x="172" y="302"/>
                  </a:lnTo>
                  <a:lnTo>
                    <a:pt x="171" y="301"/>
                  </a:lnTo>
                  <a:lnTo>
                    <a:pt x="170" y="301"/>
                  </a:lnTo>
                  <a:lnTo>
                    <a:pt x="169" y="300"/>
                  </a:lnTo>
                  <a:lnTo>
                    <a:pt x="168" y="299"/>
                  </a:lnTo>
                  <a:lnTo>
                    <a:pt x="167" y="299"/>
                  </a:lnTo>
                  <a:lnTo>
                    <a:pt x="166" y="298"/>
                  </a:lnTo>
                  <a:lnTo>
                    <a:pt x="165" y="297"/>
                  </a:lnTo>
                  <a:lnTo>
                    <a:pt x="165" y="297"/>
                  </a:lnTo>
                  <a:lnTo>
                    <a:pt x="164" y="296"/>
                  </a:lnTo>
                  <a:lnTo>
                    <a:pt x="164" y="295"/>
                  </a:lnTo>
                  <a:lnTo>
                    <a:pt x="163" y="294"/>
                  </a:lnTo>
                  <a:lnTo>
                    <a:pt x="163" y="293"/>
                  </a:lnTo>
                  <a:lnTo>
                    <a:pt x="163" y="291"/>
                  </a:lnTo>
                  <a:lnTo>
                    <a:pt x="162" y="289"/>
                  </a:lnTo>
                  <a:lnTo>
                    <a:pt x="162" y="288"/>
                  </a:lnTo>
                  <a:lnTo>
                    <a:pt x="162" y="286"/>
                  </a:lnTo>
                  <a:lnTo>
                    <a:pt x="162" y="285"/>
                  </a:lnTo>
                  <a:lnTo>
                    <a:pt x="162" y="284"/>
                  </a:lnTo>
                  <a:lnTo>
                    <a:pt x="162" y="283"/>
                  </a:lnTo>
                  <a:lnTo>
                    <a:pt x="162" y="282"/>
                  </a:lnTo>
                  <a:lnTo>
                    <a:pt x="163" y="280"/>
                  </a:lnTo>
                  <a:lnTo>
                    <a:pt x="164" y="276"/>
                  </a:lnTo>
                  <a:lnTo>
                    <a:pt x="164" y="275"/>
                  </a:lnTo>
                  <a:lnTo>
                    <a:pt x="164" y="274"/>
                  </a:lnTo>
                  <a:lnTo>
                    <a:pt x="164" y="273"/>
                  </a:lnTo>
                  <a:lnTo>
                    <a:pt x="164" y="272"/>
                  </a:lnTo>
                  <a:lnTo>
                    <a:pt x="164" y="271"/>
                  </a:lnTo>
                  <a:lnTo>
                    <a:pt x="164" y="269"/>
                  </a:lnTo>
                  <a:lnTo>
                    <a:pt x="164" y="268"/>
                  </a:lnTo>
                  <a:lnTo>
                    <a:pt x="163" y="266"/>
                  </a:lnTo>
                  <a:lnTo>
                    <a:pt x="163" y="265"/>
                  </a:lnTo>
                  <a:lnTo>
                    <a:pt x="162" y="264"/>
                  </a:lnTo>
                  <a:lnTo>
                    <a:pt x="162" y="263"/>
                  </a:lnTo>
                  <a:lnTo>
                    <a:pt x="161" y="262"/>
                  </a:lnTo>
                  <a:lnTo>
                    <a:pt x="161" y="261"/>
                  </a:lnTo>
                  <a:lnTo>
                    <a:pt x="160" y="260"/>
                  </a:lnTo>
                  <a:lnTo>
                    <a:pt x="160" y="260"/>
                  </a:lnTo>
                  <a:lnTo>
                    <a:pt x="159" y="259"/>
                  </a:lnTo>
                  <a:lnTo>
                    <a:pt x="159" y="259"/>
                  </a:lnTo>
                  <a:lnTo>
                    <a:pt x="158" y="259"/>
                  </a:lnTo>
                  <a:lnTo>
                    <a:pt x="158" y="259"/>
                  </a:lnTo>
                  <a:lnTo>
                    <a:pt x="157" y="259"/>
                  </a:lnTo>
                  <a:lnTo>
                    <a:pt x="156" y="259"/>
                  </a:lnTo>
                  <a:lnTo>
                    <a:pt x="156" y="259"/>
                  </a:lnTo>
                  <a:lnTo>
                    <a:pt x="153" y="260"/>
                  </a:lnTo>
                  <a:lnTo>
                    <a:pt x="152" y="260"/>
                  </a:lnTo>
                  <a:lnTo>
                    <a:pt x="147" y="262"/>
                  </a:lnTo>
                  <a:lnTo>
                    <a:pt x="146" y="262"/>
                  </a:lnTo>
                  <a:lnTo>
                    <a:pt x="144" y="263"/>
                  </a:lnTo>
                  <a:lnTo>
                    <a:pt x="142" y="264"/>
                  </a:lnTo>
                  <a:lnTo>
                    <a:pt x="140" y="265"/>
                  </a:lnTo>
                  <a:lnTo>
                    <a:pt x="139" y="265"/>
                  </a:lnTo>
                  <a:lnTo>
                    <a:pt x="138" y="265"/>
                  </a:lnTo>
                  <a:lnTo>
                    <a:pt x="138" y="265"/>
                  </a:lnTo>
                  <a:lnTo>
                    <a:pt x="137" y="265"/>
                  </a:lnTo>
                  <a:lnTo>
                    <a:pt x="136" y="265"/>
                  </a:lnTo>
                  <a:lnTo>
                    <a:pt x="133" y="264"/>
                  </a:lnTo>
                  <a:lnTo>
                    <a:pt x="132" y="264"/>
                  </a:lnTo>
                  <a:lnTo>
                    <a:pt x="131" y="264"/>
                  </a:lnTo>
                  <a:lnTo>
                    <a:pt x="129" y="263"/>
                  </a:lnTo>
                  <a:lnTo>
                    <a:pt x="125" y="261"/>
                  </a:lnTo>
                  <a:lnTo>
                    <a:pt x="124" y="261"/>
                  </a:lnTo>
                  <a:lnTo>
                    <a:pt x="123" y="260"/>
                  </a:lnTo>
                  <a:lnTo>
                    <a:pt x="122" y="259"/>
                  </a:lnTo>
                  <a:lnTo>
                    <a:pt x="121" y="258"/>
                  </a:lnTo>
                  <a:lnTo>
                    <a:pt x="120" y="257"/>
                  </a:lnTo>
                  <a:lnTo>
                    <a:pt x="119" y="257"/>
                  </a:lnTo>
                  <a:lnTo>
                    <a:pt x="118" y="256"/>
                  </a:lnTo>
                  <a:lnTo>
                    <a:pt x="116" y="255"/>
                  </a:lnTo>
                  <a:lnTo>
                    <a:pt x="115" y="255"/>
                  </a:lnTo>
                  <a:lnTo>
                    <a:pt x="114" y="254"/>
                  </a:lnTo>
                  <a:lnTo>
                    <a:pt x="114" y="254"/>
                  </a:lnTo>
                  <a:lnTo>
                    <a:pt x="113" y="253"/>
                  </a:lnTo>
                  <a:lnTo>
                    <a:pt x="112" y="252"/>
                  </a:lnTo>
                  <a:lnTo>
                    <a:pt x="112" y="251"/>
                  </a:lnTo>
                  <a:lnTo>
                    <a:pt x="111" y="249"/>
                  </a:lnTo>
                  <a:lnTo>
                    <a:pt x="110" y="248"/>
                  </a:lnTo>
                  <a:lnTo>
                    <a:pt x="109" y="247"/>
                  </a:lnTo>
                  <a:lnTo>
                    <a:pt x="106" y="244"/>
                  </a:lnTo>
                  <a:lnTo>
                    <a:pt x="106" y="244"/>
                  </a:lnTo>
                  <a:lnTo>
                    <a:pt x="106" y="243"/>
                  </a:lnTo>
                  <a:lnTo>
                    <a:pt x="105" y="242"/>
                  </a:lnTo>
                  <a:lnTo>
                    <a:pt x="105" y="241"/>
                  </a:lnTo>
                  <a:lnTo>
                    <a:pt x="105" y="240"/>
                  </a:lnTo>
                  <a:lnTo>
                    <a:pt x="105" y="238"/>
                  </a:lnTo>
                  <a:lnTo>
                    <a:pt x="105" y="238"/>
                  </a:lnTo>
                  <a:lnTo>
                    <a:pt x="104" y="237"/>
                  </a:lnTo>
                  <a:lnTo>
                    <a:pt x="104" y="236"/>
                  </a:lnTo>
                  <a:lnTo>
                    <a:pt x="104" y="236"/>
                  </a:lnTo>
                  <a:lnTo>
                    <a:pt x="103" y="235"/>
                  </a:lnTo>
                  <a:lnTo>
                    <a:pt x="103" y="234"/>
                  </a:lnTo>
                  <a:lnTo>
                    <a:pt x="101" y="232"/>
                  </a:lnTo>
                  <a:lnTo>
                    <a:pt x="101" y="231"/>
                  </a:lnTo>
                  <a:lnTo>
                    <a:pt x="100" y="229"/>
                  </a:lnTo>
                  <a:lnTo>
                    <a:pt x="100" y="228"/>
                  </a:lnTo>
                  <a:lnTo>
                    <a:pt x="100" y="226"/>
                  </a:lnTo>
                  <a:lnTo>
                    <a:pt x="100" y="226"/>
                  </a:lnTo>
                  <a:lnTo>
                    <a:pt x="100" y="224"/>
                  </a:lnTo>
                  <a:lnTo>
                    <a:pt x="100" y="222"/>
                  </a:lnTo>
                  <a:lnTo>
                    <a:pt x="99" y="221"/>
                  </a:lnTo>
                  <a:lnTo>
                    <a:pt x="99" y="220"/>
                  </a:lnTo>
                  <a:lnTo>
                    <a:pt x="98" y="218"/>
                  </a:lnTo>
                  <a:lnTo>
                    <a:pt x="97" y="216"/>
                  </a:lnTo>
                  <a:lnTo>
                    <a:pt x="96" y="213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4" y="211"/>
                  </a:lnTo>
                  <a:lnTo>
                    <a:pt x="94" y="211"/>
                  </a:lnTo>
                  <a:lnTo>
                    <a:pt x="93" y="211"/>
                  </a:lnTo>
                  <a:lnTo>
                    <a:pt x="92" y="211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0" y="211"/>
                  </a:lnTo>
                  <a:lnTo>
                    <a:pt x="90" y="212"/>
                  </a:lnTo>
                  <a:lnTo>
                    <a:pt x="89" y="213"/>
                  </a:lnTo>
                  <a:lnTo>
                    <a:pt x="89" y="213"/>
                  </a:lnTo>
                  <a:lnTo>
                    <a:pt x="89" y="214"/>
                  </a:lnTo>
                  <a:lnTo>
                    <a:pt x="90" y="215"/>
                  </a:lnTo>
                  <a:lnTo>
                    <a:pt x="91" y="222"/>
                  </a:lnTo>
                  <a:lnTo>
                    <a:pt x="92" y="223"/>
                  </a:lnTo>
                  <a:lnTo>
                    <a:pt x="92" y="224"/>
                  </a:lnTo>
                  <a:lnTo>
                    <a:pt x="92" y="225"/>
                  </a:lnTo>
                  <a:lnTo>
                    <a:pt x="92" y="226"/>
                  </a:lnTo>
                  <a:lnTo>
                    <a:pt x="91" y="226"/>
                  </a:lnTo>
                  <a:lnTo>
                    <a:pt x="91" y="227"/>
                  </a:lnTo>
                  <a:lnTo>
                    <a:pt x="91" y="227"/>
                  </a:lnTo>
                  <a:lnTo>
                    <a:pt x="90" y="228"/>
                  </a:lnTo>
                  <a:lnTo>
                    <a:pt x="89" y="229"/>
                  </a:lnTo>
                  <a:lnTo>
                    <a:pt x="89" y="230"/>
                  </a:lnTo>
                  <a:lnTo>
                    <a:pt x="88" y="230"/>
                  </a:lnTo>
                  <a:lnTo>
                    <a:pt x="87" y="230"/>
                  </a:lnTo>
                  <a:lnTo>
                    <a:pt x="87" y="230"/>
                  </a:lnTo>
                  <a:lnTo>
                    <a:pt x="87" y="230"/>
                  </a:lnTo>
                  <a:lnTo>
                    <a:pt x="86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3" y="230"/>
                  </a:lnTo>
                  <a:lnTo>
                    <a:pt x="82" y="231"/>
                  </a:lnTo>
                  <a:lnTo>
                    <a:pt x="82" y="231"/>
                  </a:lnTo>
                  <a:lnTo>
                    <a:pt x="80" y="232"/>
                  </a:lnTo>
                  <a:lnTo>
                    <a:pt x="80" y="232"/>
                  </a:lnTo>
                  <a:lnTo>
                    <a:pt x="79" y="233"/>
                  </a:lnTo>
                  <a:lnTo>
                    <a:pt x="79" y="233"/>
                  </a:lnTo>
                  <a:lnTo>
                    <a:pt x="78" y="234"/>
                  </a:lnTo>
                  <a:lnTo>
                    <a:pt x="78" y="235"/>
                  </a:lnTo>
                  <a:lnTo>
                    <a:pt x="77" y="236"/>
                  </a:lnTo>
                  <a:lnTo>
                    <a:pt x="77" y="236"/>
                  </a:lnTo>
                  <a:lnTo>
                    <a:pt x="77" y="237"/>
                  </a:lnTo>
                  <a:lnTo>
                    <a:pt x="76" y="238"/>
                  </a:lnTo>
                  <a:lnTo>
                    <a:pt x="74" y="240"/>
                  </a:lnTo>
                  <a:lnTo>
                    <a:pt x="74" y="240"/>
                  </a:lnTo>
                  <a:lnTo>
                    <a:pt x="73" y="241"/>
                  </a:lnTo>
                  <a:lnTo>
                    <a:pt x="72" y="243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0" y="244"/>
                  </a:lnTo>
                  <a:lnTo>
                    <a:pt x="70" y="244"/>
                  </a:lnTo>
                  <a:lnTo>
                    <a:pt x="69" y="244"/>
                  </a:lnTo>
                  <a:lnTo>
                    <a:pt x="69" y="244"/>
                  </a:lnTo>
                  <a:lnTo>
                    <a:pt x="68" y="244"/>
                  </a:lnTo>
                  <a:lnTo>
                    <a:pt x="68" y="244"/>
                  </a:lnTo>
                  <a:lnTo>
                    <a:pt x="67" y="243"/>
                  </a:lnTo>
                  <a:lnTo>
                    <a:pt x="66" y="242"/>
                  </a:lnTo>
                  <a:lnTo>
                    <a:pt x="65" y="241"/>
                  </a:lnTo>
                  <a:lnTo>
                    <a:pt x="65" y="239"/>
                  </a:lnTo>
                  <a:lnTo>
                    <a:pt x="64" y="238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2"/>
                  </a:lnTo>
                  <a:lnTo>
                    <a:pt x="65" y="228"/>
                  </a:lnTo>
                  <a:lnTo>
                    <a:pt x="66" y="226"/>
                  </a:lnTo>
                  <a:lnTo>
                    <a:pt x="66" y="224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2"/>
                  </a:lnTo>
                  <a:lnTo>
                    <a:pt x="66" y="221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8" y="217"/>
                  </a:lnTo>
                  <a:lnTo>
                    <a:pt x="56" y="217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3" y="218"/>
                  </a:lnTo>
                  <a:lnTo>
                    <a:pt x="51" y="219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8" y="220"/>
                  </a:lnTo>
                  <a:lnTo>
                    <a:pt x="47" y="221"/>
                  </a:lnTo>
                  <a:lnTo>
                    <a:pt x="45" y="222"/>
                  </a:lnTo>
                  <a:lnTo>
                    <a:pt x="44" y="223"/>
                  </a:lnTo>
                  <a:lnTo>
                    <a:pt x="41" y="226"/>
                  </a:lnTo>
                  <a:lnTo>
                    <a:pt x="38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5" y="231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3" y="234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1" y="235"/>
                  </a:lnTo>
                  <a:lnTo>
                    <a:pt x="30" y="235"/>
                  </a:lnTo>
                  <a:lnTo>
                    <a:pt x="27" y="235"/>
                  </a:lnTo>
                  <a:lnTo>
                    <a:pt x="23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1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19" y="232"/>
                  </a:lnTo>
                  <a:lnTo>
                    <a:pt x="19" y="231"/>
                  </a:lnTo>
                  <a:lnTo>
                    <a:pt x="19" y="230"/>
                  </a:lnTo>
                  <a:lnTo>
                    <a:pt x="19" y="229"/>
                  </a:lnTo>
                  <a:lnTo>
                    <a:pt x="20" y="226"/>
                  </a:lnTo>
                  <a:lnTo>
                    <a:pt x="20" y="224"/>
                  </a:lnTo>
                  <a:lnTo>
                    <a:pt x="20" y="223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0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6" y="222"/>
                  </a:lnTo>
                  <a:lnTo>
                    <a:pt x="15" y="222"/>
                  </a:lnTo>
                  <a:lnTo>
                    <a:pt x="13" y="222"/>
                  </a:lnTo>
                  <a:lnTo>
                    <a:pt x="12" y="223"/>
                  </a:lnTo>
                  <a:lnTo>
                    <a:pt x="11" y="223"/>
                  </a:lnTo>
                  <a:lnTo>
                    <a:pt x="10" y="223"/>
                  </a:lnTo>
                  <a:lnTo>
                    <a:pt x="10" y="222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8" y="221"/>
                  </a:lnTo>
                  <a:lnTo>
                    <a:pt x="7" y="220"/>
                  </a:lnTo>
                  <a:lnTo>
                    <a:pt x="6" y="220"/>
                  </a:lnTo>
                  <a:lnTo>
                    <a:pt x="5" y="217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0" y="206"/>
                  </a:lnTo>
                  <a:lnTo>
                    <a:pt x="0" y="205"/>
                  </a:lnTo>
                  <a:lnTo>
                    <a:pt x="1" y="204"/>
                  </a:lnTo>
                  <a:lnTo>
                    <a:pt x="2" y="201"/>
                  </a:lnTo>
                  <a:lnTo>
                    <a:pt x="3" y="199"/>
                  </a:lnTo>
                  <a:lnTo>
                    <a:pt x="3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4" y="193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6" y="188"/>
                  </a:lnTo>
                  <a:lnTo>
                    <a:pt x="7" y="186"/>
                  </a:lnTo>
                  <a:lnTo>
                    <a:pt x="9" y="183"/>
                  </a:lnTo>
                  <a:lnTo>
                    <a:pt x="10" y="182"/>
                  </a:lnTo>
                  <a:lnTo>
                    <a:pt x="10" y="181"/>
                  </a:lnTo>
                  <a:lnTo>
                    <a:pt x="11" y="180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7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5"/>
                  </a:lnTo>
                  <a:lnTo>
                    <a:pt x="12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0" y="172"/>
                  </a:lnTo>
                  <a:lnTo>
                    <a:pt x="10" y="171"/>
                  </a:lnTo>
                  <a:lnTo>
                    <a:pt x="9" y="170"/>
                  </a:lnTo>
                  <a:lnTo>
                    <a:pt x="5" y="166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3" y="156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7"/>
                  </a:lnTo>
                  <a:lnTo>
                    <a:pt x="6" y="145"/>
                  </a:lnTo>
                  <a:lnTo>
                    <a:pt x="7" y="143"/>
                  </a:lnTo>
                  <a:lnTo>
                    <a:pt x="8" y="142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18" y="129"/>
                  </a:lnTo>
                  <a:lnTo>
                    <a:pt x="18" y="128"/>
                  </a:lnTo>
                  <a:lnTo>
                    <a:pt x="19" y="127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20" y="123"/>
                  </a:lnTo>
                  <a:lnTo>
                    <a:pt x="20" y="122"/>
                  </a:lnTo>
                  <a:lnTo>
                    <a:pt x="20" y="120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9" y="106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3"/>
                  </a:lnTo>
                  <a:lnTo>
                    <a:pt x="22" y="99"/>
                  </a:lnTo>
                  <a:lnTo>
                    <a:pt x="23" y="98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7" y="84"/>
                  </a:lnTo>
                  <a:lnTo>
                    <a:pt x="32" y="78"/>
                  </a:lnTo>
                  <a:lnTo>
                    <a:pt x="34" y="76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8" y="72"/>
                  </a:lnTo>
                  <a:lnTo>
                    <a:pt x="39" y="71"/>
                  </a:lnTo>
                  <a:lnTo>
                    <a:pt x="40" y="71"/>
                  </a:lnTo>
                  <a:lnTo>
                    <a:pt x="42" y="68"/>
                  </a:lnTo>
                  <a:lnTo>
                    <a:pt x="43" y="68"/>
                  </a:lnTo>
                  <a:lnTo>
                    <a:pt x="44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8" y="57"/>
                  </a:lnTo>
                  <a:lnTo>
                    <a:pt x="59" y="55"/>
                  </a:lnTo>
                  <a:lnTo>
                    <a:pt x="60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49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5"/>
                  </a:lnTo>
                  <a:lnTo>
                    <a:pt x="77" y="42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8" y="27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7" y="23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8" y="24"/>
                  </a:lnTo>
                  <a:lnTo>
                    <a:pt x="129" y="24"/>
                  </a:lnTo>
                  <a:lnTo>
                    <a:pt x="131" y="24"/>
                  </a:lnTo>
                  <a:lnTo>
                    <a:pt x="132" y="24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6" y="23"/>
                  </a:lnTo>
                  <a:lnTo>
                    <a:pt x="137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2" y="19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9" y="12"/>
                  </a:lnTo>
                  <a:lnTo>
                    <a:pt x="150" y="11"/>
                  </a:lnTo>
                  <a:lnTo>
                    <a:pt x="151" y="10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7"/>
                  </a:lnTo>
                  <a:lnTo>
                    <a:pt x="153" y="2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0" name="Freeform 39">
              <a:extLst>
                <a:ext uri="{FF2B5EF4-FFF2-40B4-BE49-F238E27FC236}">
                  <a16:creationId xmlns:a16="http://schemas.microsoft.com/office/drawing/2014/main" id="{D70D6A38-9B50-3AFC-86A7-BA152A71E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3" y="3192"/>
              <a:ext cx="448" cy="419"/>
            </a:xfrm>
            <a:custGeom>
              <a:avLst/>
              <a:gdLst>
                <a:gd name="T0" fmla="*/ 99 w 448"/>
                <a:gd name="T1" fmla="*/ 8 h 419"/>
                <a:gd name="T2" fmla="*/ 98 w 448"/>
                <a:gd name="T3" fmla="*/ 24 h 419"/>
                <a:gd name="T4" fmla="*/ 107 w 448"/>
                <a:gd name="T5" fmla="*/ 45 h 419"/>
                <a:gd name="T6" fmla="*/ 95 w 448"/>
                <a:gd name="T7" fmla="*/ 56 h 419"/>
                <a:gd name="T8" fmla="*/ 65 w 448"/>
                <a:gd name="T9" fmla="*/ 71 h 419"/>
                <a:gd name="T10" fmla="*/ 65 w 448"/>
                <a:gd name="T11" fmla="*/ 83 h 419"/>
                <a:gd name="T12" fmla="*/ 87 w 448"/>
                <a:gd name="T13" fmla="*/ 97 h 419"/>
                <a:gd name="T14" fmla="*/ 103 w 448"/>
                <a:gd name="T15" fmla="*/ 108 h 419"/>
                <a:gd name="T16" fmla="*/ 119 w 448"/>
                <a:gd name="T17" fmla="*/ 138 h 419"/>
                <a:gd name="T18" fmla="*/ 139 w 448"/>
                <a:gd name="T19" fmla="*/ 154 h 419"/>
                <a:gd name="T20" fmla="*/ 161 w 448"/>
                <a:gd name="T21" fmla="*/ 153 h 419"/>
                <a:gd name="T22" fmla="*/ 191 w 448"/>
                <a:gd name="T23" fmla="*/ 139 h 419"/>
                <a:gd name="T24" fmla="*/ 193 w 448"/>
                <a:gd name="T25" fmla="*/ 130 h 419"/>
                <a:gd name="T26" fmla="*/ 185 w 448"/>
                <a:gd name="T27" fmla="*/ 122 h 419"/>
                <a:gd name="T28" fmla="*/ 198 w 448"/>
                <a:gd name="T29" fmla="*/ 118 h 419"/>
                <a:gd name="T30" fmla="*/ 215 w 448"/>
                <a:gd name="T31" fmla="*/ 142 h 419"/>
                <a:gd name="T32" fmla="*/ 234 w 448"/>
                <a:gd name="T33" fmla="*/ 146 h 419"/>
                <a:gd name="T34" fmla="*/ 246 w 448"/>
                <a:gd name="T35" fmla="*/ 149 h 419"/>
                <a:gd name="T36" fmla="*/ 265 w 448"/>
                <a:gd name="T37" fmla="*/ 161 h 419"/>
                <a:gd name="T38" fmla="*/ 278 w 448"/>
                <a:gd name="T39" fmla="*/ 177 h 419"/>
                <a:gd name="T40" fmla="*/ 286 w 448"/>
                <a:gd name="T41" fmla="*/ 167 h 419"/>
                <a:gd name="T42" fmla="*/ 311 w 448"/>
                <a:gd name="T43" fmla="*/ 170 h 419"/>
                <a:gd name="T44" fmla="*/ 341 w 448"/>
                <a:gd name="T45" fmla="*/ 183 h 419"/>
                <a:gd name="T46" fmla="*/ 348 w 448"/>
                <a:gd name="T47" fmla="*/ 175 h 419"/>
                <a:gd name="T48" fmla="*/ 356 w 448"/>
                <a:gd name="T49" fmla="*/ 183 h 419"/>
                <a:gd name="T50" fmla="*/ 363 w 448"/>
                <a:gd name="T51" fmla="*/ 200 h 419"/>
                <a:gd name="T52" fmla="*/ 359 w 448"/>
                <a:gd name="T53" fmla="*/ 220 h 419"/>
                <a:gd name="T54" fmla="*/ 377 w 448"/>
                <a:gd name="T55" fmla="*/ 264 h 419"/>
                <a:gd name="T56" fmla="*/ 397 w 448"/>
                <a:gd name="T57" fmla="*/ 273 h 419"/>
                <a:gd name="T58" fmla="*/ 418 w 448"/>
                <a:gd name="T59" fmla="*/ 282 h 419"/>
                <a:gd name="T60" fmla="*/ 432 w 448"/>
                <a:gd name="T61" fmla="*/ 292 h 419"/>
                <a:gd name="T62" fmla="*/ 446 w 448"/>
                <a:gd name="T63" fmla="*/ 338 h 419"/>
                <a:gd name="T64" fmla="*/ 443 w 448"/>
                <a:gd name="T65" fmla="*/ 357 h 419"/>
                <a:gd name="T66" fmla="*/ 415 w 448"/>
                <a:gd name="T67" fmla="*/ 369 h 419"/>
                <a:gd name="T68" fmla="*/ 378 w 448"/>
                <a:gd name="T69" fmla="*/ 368 h 419"/>
                <a:gd name="T70" fmla="*/ 361 w 448"/>
                <a:gd name="T71" fmla="*/ 367 h 419"/>
                <a:gd name="T72" fmla="*/ 355 w 448"/>
                <a:gd name="T73" fmla="*/ 384 h 419"/>
                <a:gd name="T74" fmla="*/ 332 w 448"/>
                <a:gd name="T75" fmla="*/ 415 h 419"/>
                <a:gd name="T76" fmla="*/ 315 w 448"/>
                <a:gd name="T77" fmla="*/ 419 h 419"/>
                <a:gd name="T78" fmla="*/ 303 w 448"/>
                <a:gd name="T79" fmla="*/ 403 h 419"/>
                <a:gd name="T80" fmla="*/ 282 w 448"/>
                <a:gd name="T81" fmla="*/ 380 h 419"/>
                <a:gd name="T82" fmla="*/ 261 w 448"/>
                <a:gd name="T83" fmla="*/ 378 h 419"/>
                <a:gd name="T84" fmla="*/ 233 w 448"/>
                <a:gd name="T85" fmla="*/ 368 h 419"/>
                <a:gd name="T86" fmla="*/ 193 w 448"/>
                <a:gd name="T87" fmla="*/ 372 h 419"/>
                <a:gd name="T88" fmla="*/ 177 w 448"/>
                <a:gd name="T89" fmla="*/ 359 h 419"/>
                <a:gd name="T90" fmla="*/ 162 w 448"/>
                <a:gd name="T91" fmla="*/ 351 h 419"/>
                <a:gd name="T92" fmla="*/ 150 w 448"/>
                <a:gd name="T93" fmla="*/ 353 h 419"/>
                <a:gd name="T94" fmla="*/ 148 w 448"/>
                <a:gd name="T95" fmla="*/ 342 h 419"/>
                <a:gd name="T96" fmla="*/ 122 w 448"/>
                <a:gd name="T97" fmla="*/ 313 h 419"/>
                <a:gd name="T98" fmla="*/ 110 w 448"/>
                <a:gd name="T99" fmla="*/ 300 h 419"/>
                <a:gd name="T100" fmla="*/ 96 w 448"/>
                <a:gd name="T101" fmla="*/ 296 h 419"/>
                <a:gd name="T102" fmla="*/ 96 w 448"/>
                <a:gd name="T103" fmla="*/ 272 h 419"/>
                <a:gd name="T104" fmla="*/ 88 w 448"/>
                <a:gd name="T105" fmla="*/ 259 h 419"/>
                <a:gd name="T106" fmla="*/ 61 w 448"/>
                <a:gd name="T107" fmla="*/ 263 h 419"/>
                <a:gd name="T108" fmla="*/ 42 w 448"/>
                <a:gd name="T109" fmla="*/ 248 h 419"/>
                <a:gd name="T110" fmla="*/ 32 w 448"/>
                <a:gd name="T111" fmla="*/ 229 h 419"/>
                <a:gd name="T112" fmla="*/ 24 w 448"/>
                <a:gd name="T113" fmla="*/ 211 h 419"/>
                <a:gd name="T114" fmla="*/ 22 w 448"/>
                <a:gd name="T115" fmla="*/ 228 h 419"/>
                <a:gd name="T116" fmla="*/ 12 w 448"/>
                <a:gd name="T117" fmla="*/ 232 h 419"/>
                <a:gd name="T118" fmla="*/ 2 w 448"/>
                <a:gd name="T119" fmla="*/ 244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8" h="419">
                  <a:moveTo>
                    <a:pt x="88" y="0"/>
                  </a:moveTo>
                  <a:lnTo>
                    <a:pt x="89" y="0"/>
                  </a:lnTo>
                  <a:lnTo>
                    <a:pt x="90" y="0"/>
                  </a:lnTo>
                  <a:lnTo>
                    <a:pt x="90" y="1"/>
                  </a:lnTo>
                  <a:lnTo>
                    <a:pt x="91" y="1"/>
                  </a:lnTo>
                  <a:lnTo>
                    <a:pt x="92" y="1"/>
                  </a:lnTo>
                  <a:lnTo>
                    <a:pt x="92" y="2"/>
                  </a:lnTo>
                  <a:lnTo>
                    <a:pt x="93" y="2"/>
                  </a:lnTo>
                  <a:lnTo>
                    <a:pt x="94" y="3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6" y="5"/>
                  </a:lnTo>
                  <a:lnTo>
                    <a:pt x="96" y="6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8" y="7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100" y="8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2"/>
                  </a:lnTo>
                  <a:lnTo>
                    <a:pt x="101" y="13"/>
                  </a:lnTo>
                  <a:lnTo>
                    <a:pt x="101" y="14"/>
                  </a:lnTo>
                  <a:lnTo>
                    <a:pt x="99" y="18"/>
                  </a:lnTo>
                  <a:lnTo>
                    <a:pt x="99" y="20"/>
                  </a:lnTo>
                  <a:lnTo>
                    <a:pt x="98" y="21"/>
                  </a:lnTo>
                  <a:lnTo>
                    <a:pt x="98" y="22"/>
                  </a:lnTo>
                  <a:lnTo>
                    <a:pt x="98" y="23"/>
                  </a:lnTo>
                  <a:lnTo>
                    <a:pt x="98" y="24"/>
                  </a:lnTo>
                  <a:lnTo>
                    <a:pt x="98" y="26"/>
                  </a:lnTo>
                  <a:lnTo>
                    <a:pt x="98" y="27"/>
                  </a:lnTo>
                  <a:lnTo>
                    <a:pt x="99" y="28"/>
                  </a:lnTo>
                  <a:lnTo>
                    <a:pt x="99" y="29"/>
                  </a:lnTo>
                  <a:lnTo>
                    <a:pt x="100" y="30"/>
                  </a:lnTo>
                  <a:lnTo>
                    <a:pt x="100" y="31"/>
                  </a:lnTo>
                  <a:lnTo>
                    <a:pt x="101" y="32"/>
                  </a:lnTo>
                  <a:lnTo>
                    <a:pt x="104" y="35"/>
                  </a:lnTo>
                  <a:lnTo>
                    <a:pt x="105" y="37"/>
                  </a:lnTo>
                  <a:lnTo>
                    <a:pt x="105" y="38"/>
                  </a:lnTo>
                  <a:lnTo>
                    <a:pt x="106" y="38"/>
                  </a:lnTo>
                  <a:lnTo>
                    <a:pt x="106" y="39"/>
                  </a:lnTo>
                  <a:lnTo>
                    <a:pt x="106" y="40"/>
                  </a:lnTo>
                  <a:lnTo>
                    <a:pt x="106" y="41"/>
                  </a:lnTo>
                  <a:lnTo>
                    <a:pt x="107" y="42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06" y="46"/>
                  </a:lnTo>
                  <a:lnTo>
                    <a:pt x="106" y="47"/>
                  </a:lnTo>
                  <a:lnTo>
                    <a:pt x="106" y="49"/>
                  </a:lnTo>
                  <a:lnTo>
                    <a:pt x="106" y="49"/>
                  </a:lnTo>
                  <a:lnTo>
                    <a:pt x="105" y="50"/>
                  </a:lnTo>
                  <a:lnTo>
                    <a:pt x="105" y="50"/>
                  </a:lnTo>
                  <a:lnTo>
                    <a:pt x="105" y="51"/>
                  </a:lnTo>
                  <a:lnTo>
                    <a:pt x="104" y="52"/>
                  </a:lnTo>
                  <a:lnTo>
                    <a:pt x="103" y="52"/>
                  </a:lnTo>
                  <a:lnTo>
                    <a:pt x="102" y="53"/>
                  </a:lnTo>
                  <a:lnTo>
                    <a:pt x="101" y="53"/>
                  </a:lnTo>
                  <a:lnTo>
                    <a:pt x="101" y="53"/>
                  </a:lnTo>
                  <a:lnTo>
                    <a:pt x="98" y="54"/>
                  </a:lnTo>
                  <a:lnTo>
                    <a:pt x="97" y="54"/>
                  </a:lnTo>
                  <a:lnTo>
                    <a:pt x="96" y="55"/>
                  </a:lnTo>
                  <a:lnTo>
                    <a:pt x="96" y="55"/>
                  </a:lnTo>
                  <a:lnTo>
                    <a:pt x="95" y="56"/>
                  </a:lnTo>
                  <a:lnTo>
                    <a:pt x="94" y="57"/>
                  </a:lnTo>
                  <a:lnTo>
                    <a:pt x="94" y="57"/>
                  </a:lnTo>
                  <a:lnTo>
                    <a:pt x="92" y="59"/>
                  </a:lnTo>
                  <a:lnTo>
                    <a:pt x="92" y="60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90" y="62"/>
                  </a:lnTo>
                  <a:lnTo>
                    <a:pt x="90" y="62"/>
                  </a:lnTo>
                  <a:lnTo>
                    <a:pt x="89" y="63"/>
                  </a:lnTo>
                  <a:lnTo>
                    <a:pt x="88" y="63"/>
                  </a:lnTo>
                  <a:lnTo>
                    <a:pt x="87" y="63"/>
                  </a:lnTo>
                  <a:lnTo>
                    <a:pt x="85" y="64"/>
                  </a:lnTo>
                  <a:lnTo>
                    <a:pt x="80" y="66"/>
                  </a:lnTo>
                  <a:lnTo>
                    <a:pt x="74" y="68"/>
                  </a:lnTo>
                  <a:lnTo>
                    <a:pt x="71" y="69"/>
                  </a:lnTo>
                  <a:lnTo>
                    <a:pt x="66" y="70"/>
                  </a:lnTo>
                  <a:lnTo>
                    <a:pt x="65" y="71"/>
                  </a:lnTo>
                  <a:lnTo>
                    <a:pt x="64" y="71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2" y="73"/>
                  </a:lnTo>
                  <a:lnTo>
                    <a:pt x="62" y="74"/>
                  </a:lnTo>
                  <a:lnTo>
                    <a:pt x="62" y="74"/>
                  </a:lnTo>
                  <a:lnTo>
                    <a:pt x="62" y="75"/>
                  </a:lnTo>
                  <a:lnTo>
                    <a:pt x="61" y="76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8"/>
                  </a:lnTo>
                  <a:lnTo>
                    <a:pt x="62" y="79"/>
                  </a:lnTo>
                  <a:lnTo>
                    <a:pt x="63" y="80"/>
                  </a:lnTo>
                  <a:lnTo>
                    <a:pt x="63" y="81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5" y="83"/>
                  </a:lnTo>
                  <a:lnTo>
                    <a:pt x="66" y="84"/>
                  </a:lnTo>
                  <a:lnTo>
                    <a:pt x="67" y="85"/>
                  </a:lnTo>
                  <a:lnTo>
                    <a:pt x="71" y="88"/>
                  </a:lnTo>
                  <a:lnTo>
                    <a:pt x="72" y="89"/>
                  </a:lnTo>
                  <a:lnTo>
                    <a:pt x="73" y="91"/>
                  </a:lnTo>
                  <a:lnTo>
                    <a:pt x="75" y="93"/>
                  </a:lnTo>
                  <a:lnTo>
                    <a:pt x="76" y="94"/>
                  </a:lnTo>
                  <a:lnTo>
                    <a:pt x="77" y="95"/>
                  </a:lnTo>
                  <a:lnTo>
                    <a:pt x="78" y="96"/>
                  </a:lnTo>
                  <a:lnTo>
                    <a:pt x="79" y="97"/>
                  </a:lnTo>
                  <a:lnTo>
                    <a:pt x="81" y="97"/>
                  </a:lnTo>
                  <a:lnTo>
                    <a:pt x="82" y="98"/>
                  </a:lnTo>
                  <a:lnTo>
                    <a:pt x="83" y="98"/>
                  </a:lnTo>
                  <a:lnTo>
                    <a:pt x="84" y="98"/>
                  </a:lnTo>
                  <a:lnTo>
                    <a:pt x="84" y="98"/>
                  </a:lnTo>
                  <a:lnTo>
                    <a:pt x="85" y="97"/>
                  </a:lnTo>
                  <a:lnTo>
                    <a:pt x="87" y="97"/>
                  </a:lnTo>
                  <a:lnTo>
                    <a:pt x="88" y="97"/>
                  </a:lnTo>
                  <a:lnTo>
                    <a:pt x="89" y="97"/>
                  </a:lnTo>
                  <a:lnTo>
                    <a:pt x="90" y="97"/>
                  </a:lnTo>
                  <a:lnTo>
                    <a:pt x="91" y="97"/>
                  </a:lnTo>
                  <a:lnTo>
                    <a:pt x="91" y="97"/>
                  </a:lnTo>
                  <a:lnTo>
                    <a:pt x="92" y="97"/>
                  </a:lnTo>
                  <a:lnTo>
                    <a:pt x="93" y="97"/>
                  </a:lnTo>
                  <a:lnTo>
                    <a:pt x="93" y="98"/>
                  </a:lnTo>
                  <a:lnTo>
                    <a:pt x="95" y="98"/>
                  </a:lnTo>
                  <a:lnTo>
                    <a:pt x="95" y="99"/>
                  </a:lnTo>
                  <a:lnTo>
                    <a:pt x="96" y="99"/>
                  </a:lnTo>
                  <a:lnTo>
                    <a:pt x="97" y="100"/>
                  </a:lnTo>
                  <a:lnTo>
                    <a:pt x="98" y="101"/>
                  </a:lnTo>
                  <a:lnTo>
                    <a:pt x="99" y="102"/>
                  </a:lnTo>
                  <a:lnTo>
                    <a:pt x="100" y="103"/>
                  </a:lnTo>
                  <a:lnTo>
                    <a:pt x="102" y="106"/>
                  </a:lnTo>
                  <a:lnTo>
                    <a:pt x="103" y="108"/>
                  </a:lnTo>
                  <a:lnTo>
                    <a:pt x="106" y="112"/>
                  </a:lnTo>
                  <a:lnTo>
                    <a:pt x="107" y="113"/>
                  </a:lnTo>
                  <a:lnTo>
                    <a:pt x="108" y="115"/>
                  </a:lnTo>
                  <a:lnTo>
                    <a:pt x="109" y="116"/>
                  </a:lnTo>
                  <a:lnTo>
                    <a:pt x="109" y="117"/>
                  </a:lnTo>
                  <a:lnTo>
                    <a:pt x="110" y="119"/>
                  </a:lnTo>
                  <a:lnTo>
                    <a:pt x="110" y="120"/>
                  </a:lnTo>
                  <a:lnTo>
                    <a:pt x="112" y="124"/>
                  </a:lnTo>
                  <a:lnTo>
                    <a:pt x="113" y="126"/>
                  </a:lnTo>
                  <a:lnTo>
                    <a:pt x="113" y="127"/>
                  </a:lnTo>
                  <a:lnTo>
                    <a:pt x="114" y="131"/>
                  </a:lnTo>
                  <a:lnTo>
                    <a:pt x="116" y="134"/>
                  </a:lnTo>
                  <a:lnTo>
                    <a:pt x="116" y="135"/>
                  </a:lnTo>
                  <a:lnTo>
                    <a:pt x="117" y="136"/>
                  </a:lnTo>
                  <a:lnTo>
                    <a:pt x="117" y="137"/>
                  </a:lnTo>
                  <a:lnTo>
                    <a:pt x="118" y="137"/>
                  </a:lnTo>
                  <a:lnTo>
                    <a:pt x="119" y="138"/>
                  </a:lnTo>
                  <a:lnTo>
                    <a:pt x="120" y="138"/>
                  </a:lnTo>
                  <a:lnTo>
                    <a:pt x="122" y="140"/>
                  </a:lnTo>
                  <a:lnTo>
                    <a:pt x="124" y="141"/>
                  </a:lnTo>
                  <a:lnTo>
                    <a:pt x="127" y="142"/>
                  </a:lnTo>
                  <a:lnTo>
                    <a:pt x="128" y="142"/>
                  </a:lnTo>
                  <a:lnTo>
                    <a:pt x="129" y="143"/>
                  </a:lnTo>
                  <a:lnTo>
                    <a:pt x="130" y="144"/>
                  </a:lnTo>
                  <a:lnTo>
                    <a:pt x="130" y="145"/>
                  </a:lnTo>
                  <a:lnTo>
                    <a:pt x="131" y="146"/>
                  </a:lnTo>
                  <a:lnTo>
                    <a:pt x="132" y="147"/>
                  </a:lnTo>
                  <a:lnTo>
                    <a:pt x="133" y="148"/>
                  </a:lnTo>
                  <a:lnTo>
                    <a:pt x="133" y="149"/>
                  </a:lnTo>
                  <a:lnTo>
                    <a:pt x="134" y="150"/>
                  </a:lnTo>
                  <a:lnTo>
                    <a:pt x="134" y="151"/>
                  </a:lnTo>
                  <a:lnTo>
                    <a:pt x="136" y="152"/>
                  </a:lnTo>
                  <a:lnTo>
                    <a:pt x="137" y="153"/>
                  </a:lnTo>
                  <a:lnTo>
                    <a:pt x="139" y="154"/>
                  </a:lnTo>
                  <a:lnTo>
                    <a:pt x="140" y="155"/>
                  </a:lnTo>
                  <a:lnTo>
                    <a:pt x="141" y="156"/>
                  </a:lnTo>
                  <a:lnTo>
                    <a:pt x="143" y="156"/>
                  </a:lnTo>
                  <a:lnTo>
                    <a:pt x="144" y="157"/>
                  </a:lnTo>
                  <a:lnTo>
                    <a:pt x="145" y="157"/>
                  </a:lnTo>
                  <a:lnTo>
                    <a:pt x="145" y="157"/>
                  </a:lnTo>
                  <a:lnTo>
                    <a:pt x="146" y="157"/>
                  </a:lnTo>
                  <a:lnTo>
                    <a:pt x="147" y="157"/>
                  </a:lnTo>
                  <a:lnTo>
                    <a:pt x="148" y="157"/>
                  </a:lnTo>
                  <a:lnTo>
                    <a:pt x="152" y="156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5"/>
                  </a:lnTo>
                  <a:lnTo>
                    <a:pt x="157" y="155"/>
                  </a:lnTo>
                  <a:lnTo>
                    <a:pt x="159" y="154"/>
                  </a:lnTo>
                  <a:lnTo>
                    <a:pt x="160" y="153"/>
                  </a:lnTo>
                  <a:lnTo>
                    <a:pt x="161" y="153"/>
                  </a:lnTo>
                  <a:lnTo>
                    <a:pt x="162" y="152"/>
                  </a:lnTo>
                  <a:lnTo>
                    <a:pt x="167" y="147"/>
                  </a:lnTo>
                  <a:lnTo>
                    <a:pt x="168" y="146"/>
                  </a:lnTo>
                  <a:lnTo>
                    <a:pt x="169" y="145"/>
                  </a:lnTo>
                  <a:lnTo>
                    <a:pt x="170" y="145"/>
                  </a:lnTo>
                  <a:lnTo>
                    <a:pt x="171" y="144"/>
                  </a:lnTo>
                  <a:lnTo>
                    <a:pt x="173" y="143"/>
                  </a:lnTo>
                  <a:lnTo>
                    <a:pt x="174" y="142"/>
                  </a:lnTo>
                  <a:lnTo>
                    <a:pt x="177" y="141"/>
                  </a:lnTo>
                  <a:lnTo>
                    <a:pt x="179" y="140"/>
                  </a:lnTo>
                  <a:lnTo>
                    <a:pt x="180" y="140"/>
                  </a:lnTo>
                  <a:lnTo>
                    <a:pt x="181" y="139"/>
                  </a:lnTo>
                  <a:lnTo>
                    <a:pt x="183" y="139"/>
                  </a:lnTo>
                  <a:lnTo>
                    <a:pt x="184" y="139"/>
                  </a:lnTo>
                  <a:lnTo>
                    <a:pt x="184" y="139"/>
                  </a:lnTo>
                  <a:lnTo>
                    <a:pt x="189" y="139"/>
                  </a:lnTo>
                  <a:lnTo>
                    <a:pt x="191" y="139"/>
                  </a:lnTo>
                  <a:lnTo>
                    <a:pt x="192" y="139"/>
                  </a:lnTo>
                  <a:lnTo>
                    <a:pt x="193" y="139"/>
                  </a:lnTo>
                  <a:lnTo>
                    <a:pt x="194" y="139"/>
                  </a:lnTo>
                  <a:lnTo>
                    <a:pt x="194" y="139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7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5" y="134"/>
                  </a:lnTo>
                  <a:lnTo>
                    <a:pt x="195" y="133"/>
                  </a:lnTo>
                  <a:lnTo>
                    <a:pt x="195" y="132"/>
                  </a:lnTo>
                  <a:lnTo>
                    <a:pt x="195" y="132"/>
                  </a:lnTo>
                  <a:lnTo>
                    <a:pt x="194" y="131"/>
                  </a:lnTo>
                  <a:lnTo>
                    <a:pt x="194" y="130"/>
                  </a:lnTo>
                  <a:lnTo>
                    <a:pt x="193" y="130"/>
                  </a:lnTo>
                  <a:lnTo>
                    <a:pt x="193" y="129"/>
                  </a:lnTo>
                  <a:lnTo>
                    <a:pt x="192" y="129"/>
                  </a:lnTo>
                  <a:lnTo>
                    <a:pt x="191" y="129"/>
                  </a:lnTo>
                  <a:lnTo>
                    <a:pt x="190" y="128"/>
                  </a:lnTo>
                  <a:lnTo>
                    <a:pt x="188" y="128"/>
                  </a:lnTo>
                  <a:lnTo>
                    <a:pt x="188" y="128"/>
                  </a:lnTo>
                  <a:lnTo>
                    <a:pt x="187" y="128"/>
                  </a:lnTo>
                  <a:lnTo>
                    <a:pt x="187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6"/>
                  </a:lnTo>
                  <a:lnTo>
                    <a:pt x="185" y="126"/>
                  </a:lnTo>
                  <a:lnTo>
                    <a:pt x="185" y="125"/>
                  </a:lnTo>
                  <a:lnTo>
                    <a:pt x="185" y="124"/>
                  </a:lnTo>
                  <a:lnTo>
                    <a:pt x="185" y="124"/>
                  </a:lnTo>
                  <a:lnTo>
                    <a:pt x="185" y="123"/>
                  </a:lnTo>
                  <a:lnTo>
                    <a:pt x="185" y="122"/>
                  </a:lnTo>
                  <a:lnTo>
                    <a:pt x="185" y="121"/>
                  </a:lnTo>
                  <a:lnTo>
                    <a:pt x="186" y="121"/>
                  </a:lnTo>
                  <a:lnTo>
                    <a:pt x="186" y="120"/>
                  </a:lnTo>
                  <a:lnTo>
                    <a:pt x="187" y="119"/>
                  </a:lnTo>
                  <a:lnTo>
                    <a:pt x="187" y="118"/>
                  </a:lnTo>
                  <a:lnTo>
                    <a:pt x="188" y="118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90" y="117"/>
                  </a:lnTo>
                  <a:lnTo>
                    <a:pt x="191" y="116"/>
                  </a:lnTo>
                  <a:lnTo>
                    <a:pt x="192" y="116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4" y="116"/>
                  </a:lnTo>
                  <a:lnTo>
                    <a:pt x="195" y="117"/>
                  </a:lnTo>
                  <a:lnTo>
                    <a:pt x="197" y="117"/>
                  </a:lnTo>
                  <a:lnTo>
                    <a:pt x="198" y="118"/>
                  </a:lnTo>
                  <a:lnTo>
                    <a:pt x="199" y="118"/>
                  </a:lnTo>
                  <a:lnTo>
                    <a:pt x="200" y="119"/>
                  </a:lnTo>
                  <a:lnTo>
                    <a:pt x="201" y="120"/>
                  </a:lnTo>
                  <a:lnTo>
                    <a:pt x="204" y="122"/>
                  </a:lnTo>
                  <a:lnTo>
                    <a:pt x="205" y="123"/>
                  </a:lnTo>
                  <a:lnTo>
                    <a:pt x="206" y="124"/>
                  </a:lnTo>
                  <a:lnTo>
                    <a:pt x="207" y="125"/>
                  </a:lnTo>
                  <a:lnTo>
                    <a:pt x="208" y="126"/>
                  </a:lnTo>
                  <a:lnTo>
                    <a:pt x="210" y="132"/>
                  </a:lnTo>
                  <a:lnTo>
                    <a:pt x="211" y="133"/>
                  </a:lnTo>
                  <a:lnTo>
                    <a:pt x="211" y="134"/>
                  </a:lnTo>
                  <a:lnTo>
                    <a:pt x="212" y="137"/>
                  </a:lnTo>
                  <a:lnTo>
                    <a:pt x="213" y="138"/>
                  </a:lnTo>
                  <a:lnTo>
                    <a:pt x="213" y="139"/>
                  </a:lnTo>
                  <a:lnTo>
                    <a:pt x="214" y="140"/>
                  </a:lnTo>
                  <a:lnTo>
                    <a:pt x="214" y="142"/>
                  </a:lnTo>
                  <a:lnTo>
                    <a:pt x="215" y="142"/>
                  </a:lnTo>
                  <a:lnTo>
                    <a:pt x="216" y="143"/>
                  </a:lnTo>
                  <a:lnTo>
                    <a:pt x="217" y="143"/>
                  </a:lnTo>
                  <a:lnTo>
                    <a:pt x="217" y="144"/>
                  </a:lnTo>
                  <a:lnTo>
                    <a:pt x="218" y="144"/>
                  </a:lnTo>
                  <a:lnTo>
                    <a:pt x="219" y="145"/>
                  </a:lnTo>
                  <a:lnTo>
                    <a:pt x="219" y="145"/>
                  </a:lnTo>
                  <a:lnTo>
                    <a:pt x="222" y="146"/>
                  </a:lnTo>
                  <a:lnTo>
                    <a:pt x="227" y="148"/>
                  </a:lnTo>
                  <a:lnTo>
                    <a:pt x="228" y="148"/>
                  </a:lnTo>
                  <a:lnTo>
                    <a:pt x="229" y="148"/>
                  </a:lnTo>
                  <a:lnTo>
                    <a:pt x="229" y="148"/>
                  </a:lnTo>
                  <a:lnTo>
                    <a:pt x="230" y="148"/>
                  </a:lnTo>
                  <a:lnTo>
                    <a:pt x="231" y="148"/>
                  </a:lnTo>
                  <a:lnTo>
                    <a:pt x="231" y="147"/>
                  </a:lnTo>
                  <a:lnTo>
                    <a:pt x="232" y="147"/>
                  </a:lnTo>
                  <a:lnTo>
                    <a:pt x="232" y="147"/>
                  </a:lnTo>
                  <a:lnTo>
                    <a:pt x="234" y="146"/>
                  </a:lnTo>
                  <a:lnTo>
                    <a:pt x="235" y="145"/>
                  </a:lnTo>
                  <a:lnTo>
                    <a:pt x="236" y="145"/>
                  </a:lnTo>
                  <a:lnTo>
                    <a:pt x="236" y="145"/>
                  </a:lnTo>
                  <a:lnTo>
                    <a:pt x="237" y="144"/>
                  </a:lnTo>
                  <a:lnTo>
                    <a:pt x="237" y="144"/>
                  </a:lnTo>
                  <a:lnTo>
                    <a:pt x="238" y="144"/>
                  </a:lnTo>
                  <a:lnTo>
                    <a:pt x="239" y="144"/>
                  </a:lnTo>
                  <a:lnTo>
                    <a:pt x="240" y="144"/>
                  </a:lnTo>
                  <a:lnTo>
                    <a:pt x="241" y="145"/>
                  </a:lnTo>
                  <a:lnTo>
                    <a:pt x="242" y="145"/>
                  </a:lnTo>
                  <a:lnTo>
                    <a:pt x="242" y="145"/>
                  </a:lnTo>
                  <a:lnTo>
                    <a:pt x="243" y="146"/>
                  </a:lnTo>
                  <a:lnTo>
                    <a:pt x="243" y="146"/>
                  </a:lnTo>
                  <a:lnTo>
                    <a:pt x="244" y="146"/>
                  </a:lnTo>
                  <a:lnTo>
                    <a:pt x="245" y="147"/>
                  </a:lnTo>
                  <a:lnTo>
                    <a:pt x="245" y="148"/>
                  </a:lnTo>
                  <a:lnTo>
                    <a:pt x="246" y="149"/>
                  </a:lnTo>
                  <a:lnTo>
                    <a:pt x="247" y="151"/>
                  </a:lnTo>
                  <a:lnTo>
                    <a:pt x="248" y="152"/>
                  </a:lnTo>
                  <a:lnTo>
                    <a:pt x="249" y="153"/>
                  </a:lnTo>
                  <a:lnTo>
                    <a:pt x="250" y="153"/>
                  </a:lnTo>
                  <a:lnTo>
                    <a:pt x="250" y="154"/>
                  </a:lnTo>
                  <a:lnTo>
                    <a:pt x="251" y="154"/>
                  </a:lnTo>
                  <a:lnTo>
                    <a:pt x="252" y="155"/>
                  </a:lnTo>
                  <a:lnTo>
                    <a:pt x="253" y="155"/>
                  </a:lnTo>
                  <a:lnTo>
                    <a:pt x="258" y="157"/>
                  </a:lnTo>
                  <a:lnTo>
                    <a:pt x="259" y="157"/>
                  </a:lnTo>
                  <a:lnTo>
                    <a:pt x="260" y="157"/>
                  </a:lnTo>
                  <a:lnTo>
                    <a:pt x="261" y="158"/>
                  </a:lnTo>
                  <a:lnTo>
                    <a:pt x="262" y="159"/>
                  </a:lnTo>
                  <a:lnTo>
                    <a:pt x="263" y="159"/>
                  </a:lnTo>
                  <a:lnTo>
                    <a:pt x="264" y="160"/>
                  </a:lnTo>
                  <a:lnTo>
                    <a:pt x="264" y="160"/>
                  </a:lnTo>
                  <a:lnTo>
                    <a:pt x="265" y="161"/>
                  </a:lnTo>
                  <a:lnTo>
                    <a:pt x="266" y="162"/>
                  </a:lnTo>
                  <a:lnTo>
                    <a:pt x="266" y="163"/>
                  </a:lnTo>
                  <a:lnTo>
                    <a:pt x="267" y="164"/>
                  </a:lnTo>
                  <a:lnTo>
                    <a:pt x="268" y="168"/>
                  </a:lnTo>
                  <a:lnTo>
                    <a:pt x="269" y="169"/>
                  </a:lnTo>
                  <a:lnTo>
                    <a:pt x="269" y="170"/>
                  </a:lnTo>
                  <a:lnTo>
                    <a:pt x="270" y="171"/>
                  </a:lnTo>
                  <a:lnTo>
                    <a:pt x="271" y="172"/>
                  </a:lnTo>
                  <a:lnTo>
                    <a:pt x="271" y="173"/>
                  </a:lnTo>
                  <a:lnTo>
                    <a:pt x="272" y="173"/>
                  </a:lnTo>
                  <a:lnTo>
                    <a:pt x="273" y="174"/>
                  </a:lnTo>
                  <a:lnTo>
                    <a:pt x="274" y="175"/>
                  </a:lnTo>
                  <a:lnTo>
                    <a:pt x="275" y="176"/>
                  </a:lnTo>
                  <a:lnTo>
                    <a:pt x="275" y="176"/>
                  </a:lnTo>
                  <a:lnTo>
                    <a:pt x="276" y="176"/>
                  </a:lnTo>
                  <a:lnTo>
                    <a:pt x="277" y="177"/>
                  </a:lnTo>
                  <a:lnTo>
                    <a:pt x="278" y="177"/>
                  </a:lnTo>
                  <a:lnTo>
                    <a:pt x="279" y="177"/>
                  </a:lnTo>
                  <a:lnTo>
                    <a:pt x="280" y="177"/>
                  </a:lnTo>
                  <a:lnTo>
                    <a:pt x="280" y="177"/>
                  </a:lnTo>
                  <a:lnTo>
                    <a:pt x="281" y="177"/>
                  </a:lnTo>
                  <a:lnTo>
                    <a:pt x="282" y="176"/>
                  </a:lnTo>
                  <a:lnTo>
                    <a:pt x="283" y="175"/>
                  </a:lnTo>
                  <a:lnTo>
                    <a:pt x="285" y="174"/>
                  </a:lnTo>
                  <a:lnTo>
                    <a:pt x="285" y="174"/>
                  </a:lnTo>
                  <a:lnTo>
                    <a:pt x="286" y="173"/>
                  </a:lnTo>
                  <a:lnTo>
                    <a:pt x="286" y="172"/>
                  </a:lnTo>
                  <a:lnTo>
                    <a:pt x="286" y="172"/>
                  </a:lnTo>
                  <a:lnTo>
                    <a:pt x="286" y="171"/>
                  </a:lnTo>
                  <a:lnTo>
                    <a:pt x="286" y="170"/>
                  </a:lnTo>
                  <a:lnTo>
                    <a:pt x="286" y="169"/>
                  </a:lnTo>
                  <a:lnTo>
                    <a:pt x="286" y="168"/>
                  </a:lnTo>
                  <a:lnTo>
                    <a:pt x="286" y="168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7" y="167"/>
                  </a:lnTo>
                  <a:lnTo>
                    <a:pt x="288" y="167"/>
                  </a:lnTo>
                  <a:lnTo>
                    <a:pt x="289" y="167"/>
                  </a:lnTo>
                  <a:lnTo>
                    <a:pt x="290" y="167"/>
                  </a:lnTo>
                  <a:lnTo>
                    <a:pt x="294" y="168"/>
                  </a:lnTo>
                  <a:lnTo>
                    <a:pt x="296" y="169"/>
                  </a:lnTo>
                  <a:lnTo>
                    <a:pt x="297" y="169"/>
                  </a:lnTo>
                  <a:lnTo>
                    <a:pt x="299" y="169"/>
                  </a:lnTo>
                  <a:lnTo>
                    <a:pt x="301" y="169"/>
                  </a:lnTo>
                  <a:lnTo>
                    <a:pt x="306" y="169"/>
                  </a:lnTo>
                  <a:lnTo>
                    <a:pt x="307" y="169"/>
                  </a:lnTo>
                  <a:lnTo>
                    <a:pt x="309" y="170"/>
                  </a:lnTo>
                  <a:lnTo>
                    <a:pt x="310" y="170"/>
                  </a:lnTo>
                  <a:lnTo>
                    <a:pt x="311" y="170"/>
                  </a:lnTo>
                  <a:lnTo>
                    <a:pt x="311" y="170"/>
                  </a:lnTo>
                  <a:lnTo>
                    <a:pt x="312" y="171"/>
                  </a:lnTo>
                  <a:lnTo>
                    <a:pt x="317" y="173"/>
                  </a:lnTo>
                  <a:lnTo>
                    <a:pt x="320" y="175"/>
                  </a:lnTo>
                  <a:lnTo>
                    <a:pt x="322" y="176"/>
                  </a:lnTo>
                  <a:lnTo>
                    <a:pt x="323" y="176"/>
                  </a:lnTo>
                  <a:lnTo>
                    <a:pt x="329" y="181"/>
                  </a:lnTo>
                  <a:lnTo>
                    <a:pt x="330" y="181"/>
                  </a:lnTo>
                  <a:lnTo>
                    <a:pt x="330" y="181"/>
                  </a:lnTo>
                  <a:lnTo>
                    <a:pt x="332" y="182"/>
                  </a:lnTo>
                  <a:lnTo>
                    <a:pt x="333" y="183"/>
                  </a:lnTo>
                  <a:lnTo>
                    <a:pt x="335" y="183"/>
                  </a:lnTo>
                  <a:lnTo>
                    <a:pt x="336" y="183"/>
                  </a:lnTo>
                  <a:lnTo>
                    <a:pt x="338" y="183"/>
                  </a:lnTo>
                  <a:lnTo>
                    <a:pt x="339" y="184"/>
                  </a:lnTo>
                  <a:lnTo>
                    <a:pt x="340" y="184"/>
                  </a:lnTo>
                  <a:lnTo>
                    <a:pt x="341" y="183"/>
                  </a:lnTo>
                  <a:lnTo>
                    <a:pt x="342" y="183"/>
                  </a:lnTo>
                  <a:lnTo>
                    <a:pt x="342" y="183"/>
                  </a:lnTo>
                  <a:lnTo>
                    <a:pt x="343" y="183"/>
                  </a:lnTo>
                  <a:lnTo>
                    <a:pt x="343" y="182"/>
                  </a:lnTo>
                  <a:lnTo>
                    <a:pt x="344" y="182"/>
                  </a:lnTo>
                  <a:lnTo>
                    <a:pt x="344" y="181"/>
                  </a:lnTo>
                  <a:lnTo>
                    <a:pt x="345" y="181"/>
                  </a:lnTo>
                  <a:lnTo>
                    <a:pt x="345" y="181"/>
                  </a:lnTo>
                  <a:lnTo>
                    <a:pt x="345" y="180"/>
                  </a:lnTo>
                  <a:lnTo>
                    <a:pt x="346" y="179"/>
                  </a:lnTo>
                  <a:lnTo>
                    <a:pt x="346" y="177"/>
                  </a:lnTo>
                  <a:lnTo>
                    <a:pt x="347" y="176"/>
                  </a:lnTo>
                  <a:lnTo>
                    <a:pt x="347" y="176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9" y="174"/>
                  </a:lnTo>
                  <a:lnTo>
                    <a:pt x="349" y="174"/>
                  </a:lnTo>
                  <a:lnTo>
                    <a:pt x="350" y="174"/>
                  </a:lnTo>
                  <a:lnTo>
                    <a:pt x="351" y="175"/>
                  </a:lnTo>
                  <a:lnTo>
                    <a:pt x="352" y="175"/>
                  </a:lnTo>
                  <a:lnTo>
                    <a:pt x="352" y="175"/>
                  </a:lnTo>
                  <a:lnTo>
                    <a:pt x="353" y="175"/>
                  </a:lnTo>
                  <a:lnTo>
                    <a:pt x="353" y="176"/>
                  </a:lnTo>
                  <a:lnTo>
                    <a:pt x="354" y="176"/>
                  </a:lnTo>
                  <a:lnTo>
                    <a:pt x="354" y="176"/>
                  </a:lnTo>
                  <a:lnTo>
                    <a:pt x="355" y="177"/>
                  </a:lnTo>
                  <a:lnTo>
                    <a:pt x="355" y="178"/>
                  </a:lnTo>
                  <a:lnTo>
                    <a:pt x="355" y="178"/>
                  </a:lnTo>
                  <a:lnTo>
                    <a:pt x="356" y="179"/>
                  </a:lnTo>
                  <a:lnTo>
                    <a:pt x="356" y="181"/>
                  </a:lnTo>
                  <a:lnTo>
                    <a:pt x="356" y="182"/>
                  </a:lnTo>
                  <a:lnTo>
                    <a:pt x="356" y="183"/>
                  </a:lnTo>
                  <a:lnTo>
                    <a:pt x="356" y="187"/>
                  </a:lnTo>
                  <a:lnTo>
                    <a:pt x="356" y="189"/>
                  </a:lnTo>
                  <a:lnTo>
                    <a:pt x="356" y="191"/>
                  </a:lnTo>
                  <a:lnTo>
                    <a:pt x="356" y="191"/>
                  </a:lnTo>
                  <a:lnTo>
                    <a:pt x="356" y="192"/>
                  </a:lnTo>
                  <a:lnTo>
                    <a:pt x="356" y="192"/>
                  </a:lnTo>
                  <a:lnTo>
                    <a:pt x="357" y="193"/>
                  </a:lnTo>
                  <a:lnTo>
                    <a:pt x="357" y="194"/>
                  </a:lnTo>
                  <a:lnTo>
                    <a:pt x="357" y="195"/>
                  </a:lnTo>
                  <a:lnTo>
                    <a:pt x="358" y="195"/>
                  </a:lnTo>
                  <a:lnTo>
                    <a:pt x="358" y="196"/>
                  </a:lnTo>
                  <a:lnTo>
                    <a:pt x="359" y="196"/>
                  </a:lnTo>
                  <a:lnTo>
                    <a:pt x="359" y="197"/>
                  </a:lnTo>
                  <a:lnTo>
                    <a:pt x="360" y="198"/>
                  </a:lnTo>
                  <a:lnTo>
                    <a:pt x="361" y="199"/>
                  </a:lnTo>
                  <a:lnTo>
                    <a:pt x="362" y="200"/>
                  </a:lnTo>
                  <a:lnTo>
                    <a:pt x="363" y="200"/>
                  </a:lnTo>
                  <a:lnTo>
                    <a:pt x="363" y="201"/>
                  </a:lnTo>
                  <a:lnTo>
                    <a:pt x="363" y="201"/>
                  </a:lnTo>
                  <a:lnTo>
                    <a:pt x="363" y="201"/>
                  </a:lnTo>
                  <a:lnTo>
                    <a:pt x="363" y="202"/>
                  </a:lnTo>
                  <a:lnTo>
                    <a:pt x="363" y="202"/>
                  </a:lnTo>
                  <a:lnTo>
                    <a:pt x="363" y="203"/>
                  </a:lnTo>
                  <a:lnTo>
                    <a:pt x="363" y="204"/>
                  </a:lnTo>
                  <a:lnTo>
                    <a:pt x="361" y="206"/>
                  </a:lnTo>
                  <a:lnTo>
                    <a:pt x="360" y="209"/>
                  </a:lnTo>
                  <a:lnTo>
                    <a:pt x="359" y="212"/>
                  </a:lnTo>
                  <a:lnTo>
                    <a:pt x="359" y="213"/>
                  </a:lnTo>
                  <a:lnTo>
                    <a:pt x="359" y="214"/>
                  </a:lnTo>
                  <a:lnTo>
                    <a:pt x="358" y="215"/>
                  </a:lnTo>
                  <a:lnTo>
                    <a:pt x="358" y="216"/>
                  </a:lnTo>
                  <a:lnTo>
                    <a:pt x="358" y="217"/>
                  </a:lnTo>
                  <a:lnTo>
                    <a:pt x="359" y="219"/>
                  </a:lnTo>
                  <a:lnTo>
                    <a:pt x="359" y="220"/>
                  </a:lnTo>
                  <a:lnTo>
                    <a:pt x="360" y="223"/>
                  </a:lnTo>
                  <a:lnTo>
                    <a:pt x="361" y="224"/>
                  </a:lnTo>
                  <a:lnTo>
                    <a:pt x="361" y="225"/>
                  </a:lnTo>
                  <a:lnTo>
                    <a:pt x="362" y="227"/>
                  </a:lnTo>
                  <a:lnTo>
                    <a:pt x="363" y="230"/>
                  </a:lnTo>
                  <a:lnTo>
                    <a:pt x="365" y="233"/>
                  </a:lnTo>
                  <a:lnTo>
                    <a:pt x="366" y="237"/>
                  </a:lnTo>
                  <a:lnTo>
                    <a:pt x="369" y="243"/>
                  </a:lnTo>
                  <a:lnTo>
                    <a:pt x="372" y="249"/>
                  </a:lnTo>
                  <a:lnTo>
                    <a:pt x="373" y="253"/>
                  </a:lnTo>
                  <a:lnTo>
                    <a:pt x="374" y="254"/>
                  </a:lnTo>
                  <a:lnTo>
                    <a:pt x="374" y="255"/>
                  </a:lnTo>
                  <a:lnTo>
                    <a:pt x="375" y="256"/>
                  </a:lnTo>
                  <a:lnTo>
                    <a:pt x="376" y="261"/>
                  </a:lnTo>
                  <a:lnTo>
                    <a:pt x="376" y="262"/>
                  </a:lnTo>
                  <a:lnTo>
                    <a:pt x="377" y="263"/>
                  </a:lnTo>
                  <a:lnTo>
                    <a:pt x="377" y="264"/>
                  </a:lnTo>
                  <a:lnTo>
                    <a:pt x="377" y="265"/>
                  </a:lnTo>
                  <a:lnTo>
                    <a:pt x="378" y="265"/>
                  </a:lnTo>
                  <a:lnTo>
                    <a:pt x="378" y="266"/>
                  </a:lnTo>
                  <a:lnTo>
                    <a:pt x="379" y="267"/>
                  </a:lnTo>
                  <a:lnTo>
                    <a:pt x="380" y="267"/>
                  </a:lnTo>
                  <a:lnTo>
                    <a:pt x="381" y="268"/>
                  </a:lnTo>
                  <a:lnTo>
                    <a:pt x="381" y="269"/>
                  </a:lnTo>
                  <a:lnTo>
                    <a:pt x="382" y="269"/>
                  </a:lnTo>
                  <a:lnTo>
                    <a:pt x="383" y="269"/>
                  </a:lnTo>
                  <a:lnTo>
                    <a:pt x="384" y="270"/>
                  </a:lnTo>
                  <a:lnTo>
                    <a:pt x="385" y="270"/>
                  </a:lnTo>
                  <a:lnTo>
                    <a:pt x="389" y="272"/>
                  </a:lnTo>
                  <a:lnTo>
                    <a:pt x="391" y="272"/>
                  </a:lnTo>
                  <a:lnTo>
                    <a:pt x="395" y="273"/>
                  </a:lnTo>
                  <a:lnTo>
                    <a:pt x="396" y="273"/>
                  </a:lnTo>
                  <a:lnTo>
                    <a:pt x="397" y="273"/>
                  </a:lnTo>
                  <a:lnTo>
                    <a:pt x="397" y="273"/>
                  </a:lnTo>
                  <a:lnTo>
                    <a:pt x="399" y="274"/>
                  </a:lnTo>
                  <a:lnTo>
                    <a:pt x="400" y="274"/>
                  </a:lnTo>
                  <a:lnTo>
                    <a:pt x="401" y="275"/>
                  </a:lnTo>
                  <a:lnTo>
                    <a:pt x="402" y="277"/>
                  </a:lnTo>
                  <a:lnTo>
                    <a:pt x="404" y="279"/>
                  </a:lnTo>
                  <a:lnTo>
                    <a:pt x="405" y="279"/>
                  </a:lnTo>
                  <a:lnTo>
                    <a:pt x="406" y="280"/>
                  </a:lnTo>
                  <a:lnTo>
                    <a:pt x="406" y="280"/>
                  </a:lnTo>
                  <a:lnTo>
                    <a:pt x="408" y="281"/>
                  </a:lnTo>
                  <a:lnTo>
                    <a:pt x="409" y="282"/>
                  </a:lnTo>
                  <a:lnTo>
                    <a:pt x="411" y="282"/>
                  </a:lnTo>
                  <a:lnTo>
                    <a:pt x="411" y="282"/>
                  </a:lnTo>
                  <a:lnTo>
                    <a:pt x="413" y="282"/>
                  </a:lnTo>
                  <a:lnTo>
                    <a:pt x="413" y="282"/>
                  </a:lnTo>
                  <a:lnTo>
                    <a:pt x="414" y="282"/>
                  </a:lnTo>
                  <a:lnTo>
                    <a:pt x="415" y="282"/>
                  </a:lnTo>
                  <a:lnTo>
                    <a:pt x="418" y="282"/>
                  </a:lnTo>
                  <a:lnTo>
                    <a:pt x="420" y="282"/>
                  </a:lnTo>
                  <a:lnTo>
                    <a:pt x="421" y="282"/>
                  </a:lnTo>
                  <a:lnTo>
                    <a:pt x="422" y="282"/>
                  </a:lnTo>
                  <a:lnTo>
                    <a:pt x="423" y="282"/>
                  </a:lnTo>
                  <a:lnTo>
                    <a:pt x="424" y="282"/>
                  </a:lnTo>
                  <a:lnTo>
                    <a:pt x="425" y="282"/>
                  </a:lnTo>
                  <a:lnTo>
                    <a:pt x="426" y="283"/>
                  </a:lnTo>
                  <a:lnTo>
                    <a:pt x="427" y="283"/>
                  </a:lnTo>
                  <a:lnTo>
                    <a:pt x="428" y="284"/>
                  </a:lnTo>
                  <a:lnTo>
                    <a:pt x="428" y="284"/>
                  </a:lnTo>
                  <a:lnTo>
                    <a:pt x="429" y="285"/>
                  </a:lnTo>
                  <a:lnTo>
                    <a:pt x="430" y="285"/>
                  </a:lnTo>
                  <a:lnTo>
                    <a:pt x="430" y="286"/>
                  </a:lnTo>
                  <a:lnTo>
                    <a:pt x="430" y="287"/>
                  </a:lnTo>
                  <a:lnTo>
                    <a:pt x="431" y="288"/>
                  </a:lnTo>
                  <a:lnTo>
                    <a:pt x="431" y="290"/>
                  </a:lnTo>
                  <a:lnTo>
                    <a:pt x="432" y="292"/>
                  </a:lnTo>
                  <a:lnTo>
                    <a:pt x="433" y="296"/>
                  </a:lnTo>
                  <a:lnTo>
                    <a:pt x="434" y="301"/>
                  </a:lnTo>
                  <a:lnTo>
                    <a:pt x="436" y="310"/>
                  </a:lnTo>
                  <a:lnTo>
                    <a:pt x="438" y="315"/>
                  </a:lnTo>
                  <a:lnTo>
                    <a:pt x="438" y="317"/>
                  </a:lnTo>
                  <a:lnTo>
                    <a:pt x="439" y="318"/>
                  </a:lnTo>
                  <a:lnTo>
                    <a:pt x="439" y="319"/>
                  </a:lnTo>
                  <a:lnTo>
                    <a:pt x="440" y="321"/>
                  </a:lnTo>
                  <a:lnTo>
                    <a:pt x="441" y="322"/>
                  </a:lnTo>
                  <a:lnTo>
                    <a:pt x="441" y="324"/>
                  </a:lnTo>
                  <a:lnTo>
                    <a:pt x="442" y="328"/>
                  </a:lnTo>
                  <a:lnTo>
                    <a:pt x="442" y="329"/>
                  </a:lnTo>
                  <a:lnTo>
                    <a:pt x="442" y="331"/>
                  </a:lnTo>
                  <a:lnTo>
                    <a:pt x="443" y="333"/>
                  </a:lnTo>
                  <a:lnTo>
                    <a:pt x="444" y="335"/>
                  </a:lnTo>
                  <a:lnTo>
                    <a:pt x="445" y="336"/>
                  </a:lnTo>
                  <a:lnTo>
                    <a:pt x="446" y="338"/>
                  </a:lnTo>
                  <a:lnTo>
                    <a:pt x="447" y="340"/>
                  </a:lnTo>
                  <a:lnTo>
                    <a:pt x="448" y="341"/>
                  </a:lnTo>
                  <a:lnTo>
                    <a:pt x="448" y="343"/>
                  </a:lnTo>
                  <a:lnTo>
                    <a:pt x="448" y="344"/>
                  </a:lnTo>
                  <a:lnTo>
                    <a:pt x="448" y="345"/>
                  </a:lnTo>
                  <a:lnTo>
                    <a:pt x="448" y="346"/>
                  </a:lnTo>
                  <a:lnTo>
                    <a:pt x="448" y="346"/>
                  </a:lnTo>
                  <a:lnTo>
                    <a:pt x="447" y="348"/>
                  </a:lnTo>
                  <a:lnTo>
                    <a:pt x="447" y="350"/>
                  </a:lnTo>
                  <a:lnTo>
                    <a:pt x="446" y="352"/>
                  </a:lnTo>
                  <a:lnTo>
                    <a:pt x="445" y="355"/>
                  </a:lnTo>
                  <a:lnTo>
                    <a:pt x="445" y="355"/>
                  </a:lnTo>
                  <a:lnTo>
                    <a:pt x="445" y="356"/>
                  </a:lnTo>
                  <a:lnTo>
                    <a:pt x="445" y="356"/>
                  </a:lnTo>
                  <a:lnTo>
                    <a:pt x="444" y="356"/>
                  </a:lnTo>
                  <a:lnTo>
                    <a:pt x="443" y="357"/>
                  </a:lnTo>
                  <a:lnTo>
                    <a:pt x="443" y="357"/>
                  </a:lnTo>
                  <a:lnTo>
                    <a:pt x="442" y="357"/>
                  </a:lnTo>
                  <a:lnTo>
                    <a:pt x="439" y="358"/>
                  </a:lnTo>
                  <a:lnTo>
                    <a:pt x="437" y="359"/>
                  </a:lnTo>
                  <a:lnTo>
                    <a:pt x="436" y="359"/>
                  </a:lnTo>
                  <a:lnTo>
                    <a:pt x="435" y="360"/>
                  </a:lnTo>
                  <a:lnTo>
                    <a:pt x="431" y="362"/>
                  </a:lnTo>
                  <a:lnTo>
                    <a:pt x="429" y="363"/>
                  </a:lnTo>
                  <a:lnTo>
                    <a:pt x="427" y="364"/>
                  </a:lnTo>
                  <a:lnTo>
                    <a:pt x="423" y="367"/>
                  </a:lnTo>
                  <a:lnTo>
                    <a:pt x="422" y="368"/>
                  </a:lnTo>
                  <a:lnTo>
                    <a:pt x="421" y="368"/>
                  </a:lnTo>
                  <a:lnTo>
                    <a:pt x="419" y="369"/>
                  </a:lnTo>
                  <a:lnTo>
                    <a:pt x="418" y="369"/>
                  </a:lnTo>
                  <a:lnTo>
                    <a:pt x="417" y="369"/>
                  </a:lnTo>
                  <a:lnTo>
                    <a:pt x="416" y="369"/>
                  </a:lnTo>
                  <a:lnTo>
                    <a:pt x="416" y="369"/>
                  </a:lnTo>
                  <a:lnTo>
                    <a:pt x="415" y="369"/>
                  </a:lnTo>
                  <a:lnTo>
                    <a:pt x="414" y="369"/>
                  </a:lnTo>
                  <a:lnTo>
                    <a:pt x="412" y="369"/>
                  </a:lnTo>
                  <a:lnTo>
                    <a:pt x="408" y="367"/>
                  </a:lnTo>
                  <a:lnTo>
                    <a:pt x="407" y="367"/>
                  </a:lnTo>
                  <a:lnTo>
                    <a:pt x="406" y="367"/>
                  </a:lnTo>
                  <a:lnTo>
                    <a:pt x="404" y="367"/>
                  </a:lnTo>
                  <a:lnTo>
                    <a:pt x="401" y="366"/>
                  </a:lnTo>
                  <a:lnTo>
                    <a:pt x="398" y="366"/>
                  </a:lnTo>
                  <a:lnTo>
                    <a:pt x="396" y="366"/>
                  </a:lnTo>
                  <a:lnTo>
                    <a:pt x="395" y="366"/>
                  </a:lnTo>
                  <a:lnTo>
                    <a:pt x="393" y="366"/>
                  </a:lnTo>
                  <a:lnTo>
                    <a:pt x="390" y="366"/>
                  </a:lnTo>
                  <a:lnTo>
                    <a:pt x="384" y="368"/>
                  </a:lnTo>
                  <a:lnTo>
                    <a:pt x="382" y="368"/>
                  </a:lnTo>
                  <a:lnTo>
                    <a:pt x="380" y="368"/>
                  </a:lnTo>
                  <a:lnTo>
                    <a:pt x="379" y="368"/>
                  </a:lnTo>
                  <a:lnTo>
                    <a:pt x="378" y="368"/>
                  </a:lnTo>
                  <a:lnTo>
                    <a:pt x="377" y="368"/>
                  </a:lnTo>
                  <a:lnTo>
                    <a:pt x="376" y="368"/>
                  </a:lnTo>
                  <a:lnTo>
                    <a:pt x="375" y="368"/>
                  </a:lnTo>
                  <a:lnTo>
                    <a:pt x="374" y="367"/>
                  </a:lnTo>
                  <a:lnTo>
                    <a:pt x="372" y="366"/>
                  </a:lnTo>
                  <a:lnTo>
                    <a:pt x="371" y="366"/>
                  </a:lnTo>
                  <a:lnTo>
                    <a:pt x="370" y="366"/>
                  </a:lnTo>
                  <a:lnTo>
                    <a:pt x="369" y="366"/>
                  </a:lnTo>
                  <a:lnTo>
                    <a:pt x="368" y="366"/>
                  </a:lnTo>
                  <a:lnTo>
                    <a:pt x="367" y="366"/>
                  </a:lnTo>
                  <a:lnTo>
                    <a:pt x="366" y="366"/>
                  </a:lnTo>
                  <a:lnTo>
                    <a:pt x="365" y="366"/>
                  </a:lnTo>
                  <a:lnTo>
                    <a:pt x="364" y="366"/>
                  </a:lnTo>
                  <a:lnTo>
                    <a:pt x="363" y="366"/>
                  </a:lnTo>
                  <a:lnTo>
                    <a:pt x="362" y="366"/>
                  </a:lnTo>
                  <a:lnTo>
                    <a:pt x="362" y="367"/>
                  </a:lnTo>
                  <a:lnTo>
                    <a:pt x="361" y="367"/>
                  </a:lnTo>
                  <a:lnTo>
                    <a:pt x="360" y="368"/>
                  </a:lnTo>
                  <a:lnTo>
                    <a:pt x="359" y="369"/>
                  </a:lnTo>
                  <a:lnTo>
                    <a:pt x="358" y="370"/>
                  </a:lnTo>
                  <a:lnTo>
                    <a:pt x="357" y="370"/>
                  </a:lnTo>
                  <a:lnTo>
                    <a:pt x="357" y="371"/>
                  </a:lnTo>
                  <a:lnTo>
                    <a:pt x="356" y="372"/>
                  </a:lnTo>
                  <a:lnTo>
                    <a:pt x="356" y="373"/>
                  </a:lnTo>
                  <a:lnTo>
                    <a:pt x="356" y="374"/>
                  </a:lnTo>
                  <a:lnTo>
                    <a:pt x="355" y="374"/>
                  </a:lnTo>
                  <a:lnTo>
                    <a:pt x="355" y="375"/>
                  </a:lnTo>
                  <a:lnTo>
                    <a:pt x="355" y="376"/>
                  </a:lnTo>
                  <a:lnTo>
                    <a:pt x="355" y="377"/>
                  </a:lnTo>
                  <a:lnTo>
                    <a:pt x="355" y="380"/>
                  </a:lnTo>
                  <a:lnTo>
                    <a:pt x="355" y="381"/>
                  </a:lnTo>
                  <a:lnTo>
                    <a:pt x="355" y="382"/>
                  </a:lnTo>
                  <a:lnTo>
                    <a:pt x="355" y="383"/>
                  </a:lnTo>
                  <a:lnTo>
                    <a:pt x="355" y="384"/>
                  </a:lnTo>
                  <a:lnTo>
                    <a:pt x="354" y="385"/>
                  </a:lnTo>
                  <a:lnTo>
                    <a:pt x="354" y="386"/>
                  </a:lnTo>
                  <a:lnTo>
                    <a:pt x="353" y="387"/>
                  </a:lnTo>
                  <a:lnTo>
                    <a:pt x="352" y="389"/>
                  </a:lnTo>
                  <a:lnTo>
                    <a:pt x="350" y="392"/>
                  </a:lnTo>
                  <a:lnTo>
                    <a:pt x="349" y="393"/>
                  </a:lnTo>
                  <a:lnTo>
                    <a:pt x="346" y="397"/>
                  </a:lnTo>
                  <a:lnTo>
                    <a:pt x="343" y="400"/>
                  </a:lnTo>
                  <a:lnTo>
                    <a:pt x="342" y="401"/>
                  </a:lnTo>
                  <a:lnTo>
                    <a:pt x="341" y="403"/>
                  </a:lnTo>
                  <a:lnTo>
                    <a:pt x="339" y="406"/>
                  </a:lnTo>
                  <a:lnTo>
                    <a:pt x="337" y="410"/>
                  </a:lnTo>
                  <a:lnTo>
                    <a:pt x="336" y="411"/>
                  </a:lnTo>
                  <a:lnTo>
                    <a:pt x="335" y="412"/>
                  </a:lnTo>
                  <a:lnTo>
                    <a:pt x="334" y="413"/>
                  </a:lnTo>
                  <a:lnTo>
                    <a:pt x="333" y="414"/>
                  </a:lnTo>
                  <a:lnTo>
                    <a:pt x="332" y="415"/>
                  </a:lnTo>
                  <a:lnTo>
                    <a:pt x="331" y="416"/>
                  </a:lnTo>
                  <a:lnTo>
                    <a:pt x="330" y="416"/>
                  </a:lnTo>
                  <a:lnTo>
                    <a:pt x="329" y="417"/>
                  </a:lnTo>
                  <a:lnTo>
                    <a:pt x="328" y="418"/>
                  </a:lnTo>
                  <a:lnTo>
                    <a:pt x="327" y="418"/>
                  </a:lnTo>
                  <a:lnTo>
                    <a:pt x="326" y="418"/>
                  </a:lnTo>
                  <a:lnTo>
                    <a:pt x="324" y="419"/>
                  </a:lnTo>
                  <a:lnTo>
                    <a:pt x="323" y="419"/>
                  </a:lnTo>
                  <a:lnTo>
                    <a:pt x="322" y="419"/>
                  </a:lnTo>
                  <a:lnTo>
                    <a:pt x="321" y="419"/>
                  </a:lnTo>
                  <a:lnTo>
                    <a:pt x="320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5" y="419"/>
                  </a:lnTo>
                  <a:lnTo>
                    <a:pt x="315" y="419"/>
                  </a:lnTo>
                  <a:lnTo>
                    <a:pt x="314" y="418"/>
                  </a:lnTo>
                  <a:lnTo>
                    <a:pt x="313" y="418"/>
                  </a:lnTo>
                  <a:lnTo>
                    <a:pt x="312" y="417"/>
                  </a:lnTo>
                  <a:lnTo>
                    <a:pt x="311" y="416"/>
                  </a:lnTo>
                  <a:lnTo>
                    <a:pt x="310" y="416"/>
                  </a:lnTo>
                  <a:lnTo>
                    <a:pt x="309" y="415"/>
                  </a:lnTo>
                  <a:lnTo>
                    <a:pt x="309" y="414"/>
                  </a:lnTo>
                  <a:lnTo>
                    <a:pt x="308" y="414"/>
                  </a:lnTo>
                  <a:lnTo>
                    <a:pt x="308" y="413"/>
                  </a:lnTo>
                  <a:lnTo>
                    <a:pt x="307" y="412"/>
                  </a:lnTo>
                  <a:lnTo>
                    <a:pt x="307" y="412"/>
                  </a:lnTo>
                  <a:lnTo>
                    <a:pt x="306" y="410"/>
                  </a:lnTo>
                  <a:lnTo>
                    <a:pt x="304" y="406"/>
                  </a:lnTo>
                  <a:lnTo>
                    <a:pt x="304" y="405"/>
                  </a:lnTo>
                  <a:lnTo>
                    <a:pt x="304" y="405"/>
                  </a:lnTo>
                  <a:lnTo>
                    <a:pt x="303" y="404"/>
                  </a:lnTo>
                  <a:lnTo>
                    <a:pt x="303" y="403"/>
                  </a:lnTo>
                  <a:lnTo>
                    <a:pt x="301" y="400"/>
                  </a:lnTo>
                  <a:lnTo>
                    <a:pt x="300" y="399"/>
                  </a:lnTo>
                  <a:lnTo>
                    <a:pt x="299" y="399"/>
                  </a:lnTo>
                  <a:lnTo>
                    <a:pt x="298" y="398"/>
                  </a:lnTo>
                  <a:lnTo>
                    <a:pt x="297" y="397"/>
                  </a:lnTo>
                  <a:lnTo>
                    <a:pt x="292" y="394"/>
                  </a:lnTo>
                  <a:lnTo>
                    <a:pt x="291" y="393"/>
                  </a:lnTo>
                  <a:lnTo>
                    <a:pt x="290" y="392"/>
                  </a:lnTo>
                  <a:lnTo>
                    <a:pt x="289" y="391"/>
                  </a:lnTo>
                  <a:lnTo>
                    <a:pt x="289" y="390"/>
                  </a:lnTo>
                  <a:lnTo>
                    <a:pt x="288" y="389"/>
                  </a:lnTo>
                  <a:lnTo>
                    <a:pt x="287" y="388"/>
                  </a:lnTo>
                  <a:lnTo>
                    <a:pt x="286" y="386"/>
                  </a:lnTo>
                  <a:lnTo>
                    <a:pt x="284" y="382"/>
                  </a:lnTo>
                  <a:lnTo>
                    <a:pt x="283" y="381"/>
                  </a:lnTo>
                  <a:lnTo>
                    <a:pt x="283" y="380"/>
                  </a:lnTo>
                  <a:lnTo>
                    <a:pt x="282" y="380"/>
                  </a:lnTo>
                  <a:lnTo>
                    <a:pt x="281" y="379"/>
                  </a:lnTo>
                  <a:lnTo>
                    <a:pt x="280" y="379"/>
                  </a:lnTo>
                  <a:lnTo>
                    <a:pt x="279" y="378"/>
                  </a:lnTo>
                  <a:lnTo>
                    <a:pt x="278" y="378"/>
                  </a:lnTo>
                  <a:lnTo>
                    <a:pt x="277" y="377"/>
                  </a:lnTo>
                  <a:lnTo>
                    <a:pt x="276" y="377"/>
                  </a:lnTo>
                  <a:lnTo>
                    <a:pt x="275" y="377"/>
                  </a:lnTo>
                  <a:lnTo>
                    <a:pt x="275" y="377"/>
                  </a:lnTo>
                  <a:lnTo>
                    <a:pt x="273" y="378"/>
                  </a:lnTo>
                  <a:lnTo>
                    <a:pt x="270" y="378"/>
                  </a:lnTo>
                  <a:lnTo>
                    <a:pt x="269" y="379"/>
                  </a:lnTo>
                  <a:lnTo>
                    <a:pt x="268" y="379"/>
                  </a:lnTo>
                  <a:lnTo>
                    <a:pt x="267" y="379"/>
                  </a:lnTo>
                  <a:lnTo>
                    <a:pt x="266" y="379"/>
                  </a:lnTo>
                  <a:lnTo>
                    <a:pt x="265" y="379"/>
                  </a:lnTo>
                  <a:lnTo>
                    <a:pt x="262" y="378"/>
                  </a:lnTo>
                  <a:lnTo>
                    <a:pt x="261" y="378"/>
                  </a:lnTo>
                  <a:lnTo>
                    <a:pt x="255" y="377"/>
                  </a:lnTo>
                  <a:lnTo>
                    <a:pt x="254" y="377"/>
                  </a:lnTo>
                  <a:lnTo>
                    <a:pt x="253" y="376"/>
                  </a:lnTo>
                  <a:lnTo>
                    <a:pt x="251" y="376"/>
                  </a:lnTo>
                  <a:lnTo>
                    <a:pt x="251" y="375"/>
                  </a:lnTo>
                  <a:lnTo>
                    <a:pt x="250" y="375"/>
                  </a:lnTo>
                  <a:lnTo>
                    <a:pt x="248" y="374"/>
                  </a:lnTo>
                  <a:lnTo>
                    <a:pt x="244" y="371"/>
                  </a:lnTo>
                  <a:lnTo>
                    <a:pt x="243" y="370"/>
                  </a:lnTo>
                  <a:lnTo>
                    <a:pt x="242" y="370"/>
                  </a:lnTo>
                  <a:lnTo>
                    <a:pt x="241" y="369"/>
                  </a:lnTo>
                  <a:lnTo>
                    <a:pt x="240" y="369"/>
                  </a:lnTo>
                  <a:lnTo>
                    <a:pt x="239" y="369"/>
                  </a:lnTo>
                  <a:lnTo>
                    <a:pt x="238" y="368"/>
                  </a:lnTo>
                  <a:lnTo>
                    <a:pt x="235" y="368"/>
                  </a:lnTo>
                  <a:lnTo>
                    <a:pt x="234" y="368"/>
                  </a:lnTo>
                  <a:lnTo>
                    <a:pt x="233" y="368"/>
                  </a:lnTo>
                  <a:lnTo>
                    <a:pt x="229" y="367"/>
                  </a:lnTo>
                  <a:lnTo>
                    <a:pt x="228" y="367"/>
                  </a:lnTo>
                  <a:lnTo>
                    <a:pt x="227" y="367"/>
                  </a:lnTo>
                  <a:lnTo>
                    <a:pt x="225" y="367"/>
                  </a:lnTo>
                  <a:lnTo>
                    <a:pt x="222" y="367"/>
                  </a:lnTo>
                  <a:lnTo>
                    <a:pt x="219" y="367"/>
                  </a:lnTo>
                  <a:lnTo>
                    <a:pt x="217" y="367"/>
                  </a:lnTo>
                  <a:lnTo>
                    <a:pt x="213" y="368"/>
                  </a:lnTo>
                  <a:lnTo>
                    <a:pt x="210" y="369"/>
                  </a:lnTo>
                  <a:lnTo>
                    <a:pt x="206" y="370"/>
                  </a:lnTo>
                  <a:lnTo>
                    <a:pt x="199" y="372"/>
                  </a:lnTo>
                  <a:lnTo>
                    <a:pt x="198" y="372"/>
                  </a:lnTo>
                  <a:lnTo>
                    <a:pt x="196" y="372"/>
                  </a:lnTo>
                  <a:lnTo>
                    <a:pt x="195" y="372"/>
                  </a:lnTo>
                  <a:lnTo>
                    <a:pt x="194" y="373"/>
                  </a:lnTo>
                  <a:lnTo>
                    <a:pt x="193" y="372"/>
                  </a:lnTo>
                  <a:lnTo>
                    <a:pt x="193" y="372"/>
                  </a:lnTo>
                  <a:lnTo>
                    <a:pt x="192" y="372"/>
                  </a:lnTo>
                  <a:lnTo>
                    <a:pt x="191" y="371"/>
                  </a:lnTo>
                  <a:lnTo>
                    <a:pt x="191" y="371"/>
                  </a:lnTo>
                  <a:lnTo>
                    <a:pt x="190" y="371"/>
                  </a:lnTo>
                  <a:lnTo>
                    <a:pt x="190" y="370"/>
                  </a:lnTo>
                  <a:lnTo>
                    <a:pt x="189" y="369"/>
                  </a:lnTo>
                  <a:lnTo>
                    <a:pt x="188" y="366"/>
                  </a:lnTo>
                  <a:lnTo>
                    <a:pt x="187" y="366"/>
                  </a:lnTo>
                  <a:lnTo>
                    <a:pt x="187" y="365"/>
                  </a:lnTo>
                  <a:lnTo>
                    <a:pt x="186" y="364"/>
                  </a:lnTo>
                  <a:lnTo>
                    <a:pt x="185" y="363"/>
                  </a:lnTo>
                  <a:lnTo>
                    <a:pt x="184" y="362"/>
                  </a:lnTo>
                  <a:lnTo>
                    <a:pt x="182" y="361"/>
                  </a:lnTo>
                  <a:lnTo>
                    <a:pt x="181" y="361"/>
                  </a:lnTo>
                  <a:lnTo>
                    <a:pt x="180" y="360"/>
                  </a:lnTo>
                  <a:lnTo>
                    <a:pt x="179" y="360"/>
                  </a:lnTo>
                  <a:lnTo>
                    <a:pt x="177" y="359"/>
                  </a:lnTo>
                  <a:lnTo>
                    <a:pt x="175" y="359"/>
                  </a:lnTo>
                  <a:lnTo>
                    <a:pt x="174" y="359"/>
                  </a:lnTo>
                  <a:lnTo>
                    <a:pt x="172" y="359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0" y="359"/>
                  </a:lnTo>
                  <a:lnTo>
                    <a:pt x="169" y="359"/>
                  </a:lnTo>
                  <a:lnTo>
                    <a:pt x="169" y="359"/>
                  </a:lnTo>
                  <a:lnTo>
                    <a:pt x="167" y="360"/>
                  </a:lnTo>
                  <a:lnTo>
                    <a:pt x="167" y="360"/>
                  </a:lnTo>
                  <a:lnTo>
                    <a:pt x="166" y="359"/>
                  </a:lnTo>
                  <a:lnTo>
                    <a:pt x="166" y="359"/>
                  </a:lnTo>
                  <a:lnTo>
                    <a:pt x="165" y="356"/>
                  </a:lnTo>
                  <a:lnTo>
                    <a:pt x="163" y="353"/>
                  </a:lnTo>
                  <a:lnTo>
                    <a:pt x="163" y="352"/>
                  </a:lnTo>
                  <a:lnTo>
                    <a:pt x="162" y="351"/>
                  </a:lnTo>
                  <a:lnTo>
                    <a:pt x="161" y="350"/>
                  </a:lnTo>
                  <a:lnTo>
                    <a:pt x="160" y="349"/>
                  </a:lnTo>
                  <a:lnTo>
                    <a:pt x="160" y="349"/>
                  </a:lnTo>
                  <a:lnTo>
                    <a:pt x="160" y="349"/>
                  </a:lnTo>
                  <a:lnTo>
                    <a:pt x="159" y="349"/>
                  </a:lnTo>
                  <a:lnTo>
                    <a:pt x="159" y="348"/>
                  </a:lnTo>
                  <a:lnTo>
                    <a:pt x="158" y="348"/>
                  </a:lnTo>
                  <a:lnTo>
                    <a:pt x="158" y="348"/>
                  </a:lnTo>
                  <a:lnTo>
                    <a:pt x="157" y="349"/>
                  </a:lnTo>
                  <a:lnTo>
                    <a:pt x="156" y="349"/>
                  </a:lnTo>
                  <a:lnTo>
                    <a:pt x="155" y="349"/>
                  </a:lnTo>
                  <a:lnTo>
                    <a:pt x="154" y="350"/>
                  </a:lnTo>
                  <a:lnTo>
                    <a:pt x="153" y="351"/>
                  </a:lnTo>
                  <a:lnTo>
                    <a:pt x="151" y="353"/>
                  </a:lnTo>
                  <a:lnTo>
                    <a:pt x="150" y="353"/>
                  </a:lnTo>
                  <a:lnTo>
                    <a:pt x="150" y="353"/>
                  </a:lnTo>
                  <a:lnTo>
                    <a:pt x="150" y="353"/>
                  </a:lnTo>
                  <a:lnTo>
                    <a:pt x="149" y="353"/>
                  </a:lnTo>
                  <a:lnTo>
                    <a:pt x="148" y="353"/>
                  </a:lnTo>
                  <a:lnTo>
                    <a:pt x="148" y="353"/>
                  </a:lnTo>
                  <a:lnTo>
                    <a:pt x="148" y="352"/>
                  </a:lnTo>
                  <a:lnTo>
                    <a:pt x="147" y="352"/>
                  </a:lnTo>
                  <a:lnTo>
                    <a:pt x="147" y="351"/>
                  </a:lnTo>
                  <a:lnTo>
                    <a:pt x="146" y="350"/>
                  </a:lnTo>
                  <a:lnTo>
                    <a:pt x="146" y="349"/>
                  </a:lnTo>
                  <a:lnTo>
                    <a:pt x="146" y="349"/>
                  </a:lnTo>
                  <a:lnTo>
                    <a:pt x="146" y="348"/>
                  </a:lnTo>
                  <a:lnTo>
                    <a:pt x="147" y="347"/>
                  </a:lnTo>
                  <a:lnTo>
                    <a:pt x="147" y="346"/>
                  </a:lnTo>
                  <a:lnTo>
                    <a:pt x="148" y="345"/>
                  </a:lnTo>
                  <a:lnTo>
                    <a:pt x="148" y="344"/>
                  </a:lnTo>
                  <a:lnTo>
                    <a:pt x="148" y="343"/>
                  </a:lnTo>
                  <a:lnTo>
                    <a:pt x="148" y="343"/>
                  </a:lnTo>
                  <a:lnTo>
                    <a:pt x="148" y="342"/>
                  </a:lnTo>
                  <a:lnTo>
                    <a:pt x="148" y="341"/>
                  </a:lnTo>
                  <a:lnTo>
                    <a:pt x="148" y="341"/>
                  </a:lnTo>
                  <a:lnTo>
                    <a:pt x="147" y="340"/>
                  </a:lnTo>
                  <a:lnTo>
                    <a:pt x="146" y="337"/>
                  </a:lnTo>
                  <a:lnTo>
                    <a:pt x="144" y="334"/>
                  </a:lnTo>
                  <a:lnTo>
                    <a:pt x="143" y="332"/>
                  </a:lnTo>
                  <a:lnTo>
                    <a:pt x="141" y="330"/>
                  </a:lnTo>
                  <a:lnTo>
                    <a:pt x="140" y="329"/>
                  </a:lnTo>
                  <a:lnTo>
                    <a:pt x="138" y="327"/>
                  </a:lnTo>
                  <a:lnTo>
                    <a:pt x="135" y="324"/>
                  </a:lnTo>
                  <a:lnTo>
                    <a:pt x="134" y="322"/>
                  </a:lnTo>
                  <a:lnTo>
                    <a:pt x="132" y="322"/>
                  </a:lnTo>
                  <a:lnTo>
                    <a:pt x="125" y="316"/>
                  </a:lnTo>
                  <a:lnTo>
                    <a:pt x="124" y="315"/>
                  </a:lnTo>
                  <a:lnTo>
                    <a:pt x="123" y="315"/>
                  </a:lnTo>
                  <a:lnTo>
                    <a:pt x="123" y="314"/>
                  </a:lnTo>
                  <a:lnTo>
                    <a:pt x="122" y="313"/>
                  </a:lnTo>
                  <a:lnTo>
                    <a:pt x="121" y="311"/>
                  </a:lnTo>
                  <a:lnTo>
                    <a:pt x="120" y="310"/>
                  </a:lnTo>
                  <a:lnTo>
                    <a:pt x="119" y="308"/>
                  </a:lnTo>
                  <a:lnTo>
                    <a:pt x="118" y="307"/>
                  </a:lnTo>
                  <a:lnTo>
                    <a:pt x="118" y="306"/>
                  </a:lnTo>
                  <a:lnTo>
                    <a:pt x="117" y="304"/>
                  </a:lnTo>
                  <a:lnTo>
                    <a:pt x="115" y="303"/>
                  </a:lnTo>
                  <a:lnTo>
                    <a:pt x="114" y="302"/>
                  </a:lnTo>
                  <a:lnTo>
                    <a:pt x="114" y="301"/>
                  </a:lnTo>
                  <a:lnTo>
                    <a:pt x="113" y="300"/>
                  </a:lnTo>
                  <a:lnTo>
                    <a:pt x="112" y="300"/>
                  </a:lnTo>
                  <a:lnTo>
                    <a:pt x="112" y="299"/>
                  </a:lnTo>
                  <a:lnTo>
                    <a:pt x="111" y="299"/>
                  </a:lnTo>
                  <a:lnTo>
                    <a:pt x="111" y="299"/>
                  </a:lnTo>
                  <a:lnTo>
                    <a:pt x="111" y="299"/>
                  </a:lnTo>
                  <a:lnTo>
                    <a:pt x="110" y="299"/>
                  </a:lnTo>
                  <a:lnTo>
                    <a:pt x="110" y="300"/>
                  </a:lnTo>
                  <a:lnTo>
                    <a:pt x="109" y="300"/>
                  </a:lnTo>
                  <a:lnTo>
                    <a:pt x="108" y="301"/>
                  </a:lnTo>
                  <a:lnTo>
                    <a:pt x="107" y="301"/>
                  </a:lnTo>
                  <a:lnTo>
                    <a:pt x="107" y="301"/>
                  </a:lnTo>
                  <a:lnTo>
                    <a:pt x="106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4" y="302"/>
                  </a:lnTo>
                  <a:lnTo>
                    <a:pt x="103" y="301"/>
                  </a:lnTo>
                  <a:lnTo>
                    <a:pt x="102" y="301"/>
                  </a:lnTo>
                  <a:lnTo>
                    <a:pt x="101" y="300"/>
                  </a:lnTo>
                  <a:lnTo>
                    <a:pt x="100" y="299"/>
                  </a:lnTo>
                  <a:lnTo>
                    <a:pt x="99" y="299"/>
                  </a:lnTo>
                  <a:lnTo>
                    <a:pt x="98" y="298"/>
                  </a:lnTo>
                  <a:lnTo>
                    <a:pt x="97" y="297"/>
                  </a:lnTo>
                  <a:lnTo>
                    <a:pt x="97" y="297"/>
                  </a:lnTo>
                  <a:lnTo>
                    <a:pt x="96" y="296"/>
                  </a:lnTo>
                  <a:lnTo>
                    <a:pt x="96" y="295"/>
                  </a:lnTo>
                  <a:lnTo>
                    <a:pt x="95" y="294"/>
                  </a:lnTo>
                  <a:lnTo>
                    <a:pt x="95" y="293"/>
                  </a:lnTo>
                  <a:lnTo>
                    <a:pt x="95" y="291"/>
                  </a:lnTo>
                  <a:lnTo>
                    <a:pt x="94" y="289"/>
                  </a:lnTo>
                  <a:lnTo>
                    <a:pt x="94" y="288"/>
                  </a:lnTo>
                  <a:lnTo>
                    <a:pt x="94" y="286"/>
                  </a:lnTo>
                  <a:lnTo>
                    <a:pt x="94" y="285"/>
                  </a:lnTo>
                  <a:lnTo>
                    <a:pt x="94" y="284"/>
                  </a:lnTo>
                  <a:lnTo>
                    <a:pt x="94" y="283"/>
                  </a:lnTo>
                  <a:lnTo>
                    <a:pt x="94" y="282"/>
                  </a:lnTo>
                  <a:lnTo>
                    <a:pt x="95" y="280"/>
                  </a:lnTo>
                  <a:lnTo>
                    <a:pt x="96" y="276"/>
                  </a:lnTo>
                  <a:lnTo>
                    <a:pt x="96" y="275"/>
                  </a:lnTo>
                  <a:lnTo>
                    <a:pt x="96" y="274"/>
                  </a:lnTo>
                  <a:lnTo>
                    <a:pt x="96" y="273"/>
                  </a:lnTo>
                  <a:lnTo>
                    <a:pt x="96" y="272"/>
                  </a:lnTo>
                  <a:lnTo>
                    <a:pt x="96" y="271"/>
                  </a:lnTo>
                  <a:lnTo>
                    <a:pt x="96" y="269"/>
                  </a:lnTo>
                  <a:lnTo>
                    <a:pt x="96" y="268"/>
                  </a:lnTo>
                  <a:lnTo>
                    <a:pt x="95" y="266"/>
                  </a:lnTo>
                  <a:lnTo>
                    <a:pt x="95" y="265"/>
                  </a:lnTo>
                  <a:lnTo>
                    <a:pt x="94" y="264"/>
                  </a:lnTo>
                  <a:lnTo>
                    <a:pt x="94" y="263"/>
                  </a:lnTo>
                  <a:lnTo>
                    <a:pt x="93" y="262"/>
                  </a:lnTo>
                  <a:lnTo>
                    <a:pt x="93" y="261"/>
                  </a:lnTo>
                  <a:lnTo>
                    <a:pt x="92" y="260"/>
                  </a:lnTo>
                  <a:lnTo>
                    <a:pt x="92" y="260"/>
                  </a:lnTo>
                  <a:lnTo>
                    <a:pt x="91" y="259"/>
                  </a:lnTo>
                  <a:lnTo>
                    <a:pt x="91" y="259"/>
                  </a:lnTo>
                  <a:lnTo>
                    <a:pt x="90" y="259"/>
                  </a:lnTo>
                  <a:lnTo>
                    <a:pt x="90" y="259"/>
                  </a:lnTo>
                  <a:lnTo>
                    <a:pt x="89" y="259"/>
                  </a:lnTo>
                  <a:lnTo>
                    <a:pt x="88" y="259"/>
                  </a:lnTo>
                  <a:lnTo>
                    <a:pt x="88" y="259"/>
                  </a:lnTo>
                  <a:lnTo>
                    <a:pt x="85" y="260"/>
                  </a:lnTo>
                  <a:lnTo>
                    <a:pt x="84" y="260"/>
                  </a:lnTo>
                  <a:lnTo>
                    <a:pt x="79" y="262"/>
                  </a:lnTo>
                  <a:lnTo>
                    <a:pt x="78" y="262"/>
                  </a:lnTo>
                  <a:lnTo>
                    <a:pt x="76" y="263"/>
                  </a:lnTo>
                  <a:lnTo>
                    <a:pt x="74" y="264"/>
                  </a:lnTo>
                  <a:lnTo>
                    <a:pt x="72" y="265"/>
                  </a:lnTo>
                  <a:lnTo>
                    <a:pt x="71" y="265"/>
                  </a:lnTo>
                  <a:lnTo>
                    <a:pt x="70" y="265"/>
                  </a:lnTo>
                  <a:lnTo>
                    <a:pt x="70" y="265"/>
                  </a:lnTo>
                  <a:lnTo>
                    <a:pt x="69" y="265"/>
                  </a:lnTo>
                  <a:lnTo>
                    <a:pt x="68" y="265"/>
                  </a:lnTo>
                  <a:lnTo>
                    <a:pt x="65" y="264"/>
                  </a:lnTo>
                  <a:lnTo>
                    <a:pt x="64" y="264"/>
                  </a:lnTo>
                  <a:lnTo>
                    <a:pt x="63" y="264"/>
                  </a:lnTo>
                  <a:lnTo>
                    <a:pt x="61" y="263"/>
                  </a:lnTo>
                  <a:lnTo>
                    <a:pt x="57" y="261"/>
                  </a:lnTo>
                  <a:lnTo>
                    <a:pt x="56" y="261"/>
                  </a:lnTo>
                  <a:lnTo>
                    <a:pt x="55" y="260"/>
                  </a:lnTo>
                  <a:lnTo>
                    <a:pt x="54" y="259"/>
                  </a:lnTo>
                  <a:lnTo>
                    <a:pt x="53" y="258"/>
                  </a:lnTo>
                  <a:lnTo>
                    <a:pt x="52" y="257"/>
                  </a:lnTo>
                  <a:lnTo>
                    <a:pt x="51" y="257"/>
                  </a:lnTo>
                  <a:lnTo>
                    <a:pt x="50" y="256"/>
                  </a:lnTo>
                  <a:lnTo>
                    <a:pt x="48" y="255"/>
                  </a:lnTo>
                  <a:lnTo>
                    <a:pt x="47" y="255"/>
                  </a:lnTo>
                  <a:lnTo>
                    <a:pt x="46" y="254"/>
                  </a:lnTo>
                  <a:lnTo>
                    <a:pt x="46" y="254"/>
                  </a:lnTo>
                  <a:lnTo>
                    <a:pt x="45" y="253"/>
                  </a:lnTo>
                  <a:lnTo>
                    <a:pt x="44" y="252"/>
                  </a:lnTo>
                  <a:lnTo>
                    <a:pt x="44" y="251"/>
                  </a:lnTo>
                  <a:lnTo>
                    <a:pt x="43" y="249"/>
                  </a:lnTo>
                  <a:lnTo>
                    <a:pt x="42" y="248"/>
                  </a:lnTo>
                  <a:lnTo>
                    <a:pt x="41" y="247"/>
                  </a:lnTo>
                  <a:lnTo>
                    <a:pt x="38" y="244"/>
                  </a:lnTo>
                  <a:lnTo>
                    <a:pt x="38" y="244"/>
                  </a:lnTo>
                  <a:lnTo>
                    <a:pt x="38" y="243"/>
                  </a:lnTo>
                  <a:lnTo>
                    <a:pt x="37" y="242"/>
                  </a:lnTo>
                  <a:lnTo>
                    <a:pt x="37" y="241"/>
                  </a:lnTo>
                  <a:lnTo>
                    <a:pt x="37" y="240"/>
                  </a:lnTo>
                  <a:lnTo>
                    <a:pt x="37" y="238"/>
                  </a:lnTo>
                  <a:lnTo>
                    <a:pt x="37" y="238"/>
                  </a:lnTo>
                  <a:lnTo>
                    <a:pt x="36" y="237"/>
                  </a:lnTo>
                  <a:lnTo>
                    <a:pt x="36" y="236"/>
                  </a:lnTo>
                  <a:lnTo>
                    <a:pt x="36" y="236"/>
                  </a:lnTo>
                  <a:lnTo>
                    <a:pt x="35" y="235"/>
                  </a:lnTo>
                  <a:lnTo>
                    <a:pt x="35" y="234"/>
                  </a:lnTo>
                  <a:lnTo>
                    <a:pt x="33" y="232"/>
                  </a:lnTo>
                  <a:lnTo>
                    <a:pt x="33" y="231"/>
                  </a:lnTo>
                  <a:lnTo>
                    <a:pt x="32" y="229"/>
                  </a:lnTo>
                  <a:lnTo>
                    <a:pt x="32" y="228"/>
                  </a:lnTo>
                  <a:lnTo>
                    <a:pt x="32" y="226"/>
                  </a:lnTo>
                  <a:lnTo>
                    <a:pt x="32" y="226"/>
                  </a:lnTo>
                  <a:lnTo>
                    <a:pt x="32" y="224"/>
                  </a:lnTo>
                  <a:lnTo>
                    <a:pt x="32" y="222"/>
                  </a:lnTo>
                  <a:lnTo>
                    <a:pt x="31" y="221"/>
                  </a:lnTo>
                  <a:lnTo>
                    <a:pt x="31" y="220"/>
                  </a:lnTo>
                  <a:lnTo>
                    <a:pt x="30" y="218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6" y="211"/>
                  </a:lnTo>
                  <a:lnTo>
                    <a:pt x="26" y="211"/>
                  </a:lnTo>
                  <a:lnTo>
                    <a:pt x="25" y="211"/>
                  </a:lnTo>
                  <a:lnTo>
                    <a:pt x="24" y="211"/>
                  </a:lnTo>
                  <a:lnTo>
                    <a:pt x="23" y="211"/>
                  </a:lnTo>
                  <a:lnTo>
                    <a:pt x="23" y="211"/>
                  </a:lnTo>
                  <a:lnTo>
                    <a:pt x="22" y="211"/>
                  </a:lnTo>
                  <a:lnTo>
                    <a:pt x="22" y="212"/>
                  </a:lnTo>
                  <a:lnTo>
                    <a:pt x="21" y="213"/>
                  </a:lnTo>
                  <a:lnTo>
                    <a:pt x="21" y="213"/>
                  </a:lnTo>
                  <a:lnTo>
                    <a:pt x="21" y="214"/>
                  </a:lnTo>
                  <a:lnTo>
                    <a:pt x="22" y="215"/>
                  </a:lnTo>
                  <a:lnTo>
                    <a:pt x="23" y="222"/>
                  </a:lnTo>
                  <a:lnTo>
                    <a:pt x="24" y="223"/>
                  </a:lnTo>
                  <a:lnTo>
                    <a:pt x="24" y="224"/>
                  </a:lnTo>
                  <a:lnTo>
                    <a:pt x="24" y="225"/>
                  </a:lnTo>
                  <a:lnTo>
                    <a:pt x="24" y="226"/>
                  </a:lnTo>
                  <a:lnTo>
                    <a:pt x="23" y="226"/>
                  </a:lnTo>
                  <a:lnTo>
                    <a:pt x="23" y="227"/>
                  </a:lnTo>
                  <a:lnTo>
                    <a:pt x="23" y="227"/>
                  </a:lnTo>
                  <a:lnTo>
                    <a:pt x="22" y="228"/>
                  </a:lnTo>
                  <a:lnTo>
                    <a:pt x="21" y="229"/>
                  </a:lnTo>
                  <a:lnTo>
                    <a:pt x="21" y="230"/>
                  </a:lnTo>
                  <a:lnTo>
                    <a:pt x="20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8" y="230"/>
                  </a:lnTo>
                  <a:lnTo>
                    <a:pt x="17" y="230"/>
                  </a:lnTo>
                  <a:lnTo>
                    <a:pt x="17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5" y="230"/>
                  </a:lnTo>
                  <a:lnTo>
                    <a:pt x="14" y="231"/>
                  </a:lnTo>
                  <a:lnTo>
                    <a:pt x="14" y="231"/>
                  </a:lnTo>
                  <a:lnTo>
                    <a:pt x="12" y="232"/>
                  </a:lnTo>
                  <a:lnTo>
                    <a:pt x="12" y="232"/>
                  </a:lnTo>
                  <a:lnTo>
                    <a:pt x="11" y="233"/>
                  </a:lnTo>
                  <a:lnTo>
                    <a:pt x="11" y="233"/>
                  </a:lnTo>
                  <a:lnTo>
                    <a:pt x="10" y="234"/>
                  </a:lnTo>
                  <a:lnTo>
                    <a:pt x="10" y="235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7"/>
                  </a:lnTo>
                  <a:lnTo>
                    <a:pt x="8" y="238"/>
                  </a:lnTo>
                  <a:lnTo>
                    <a:pt x="6" y="240"/>
                  </a:lnTo>
                  <a:lnTo>
                    <a:pt x="6" y="240"/>
                  </a:lnTo>
                  <a:lnTo>
                    <a:pt x="5" y="241"/>
                  </a:lnTo>
                  <a:lnTo>
                    <a:pt x="4" y="243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2" y="244"/>
                  </a:lnTo>
                  <a:lnTo>
                    <a:pt x="2" y="244"/>
                  </a:lnTo>
                  <a:lnTo>
                    <a:pt x="1" y="244"/>
                  </a:lnTo>
                  <a:lnTo>
                    <a:pt x="1" y="244"/>
                  </a:lnTo>
                  <a:lnTo>
                    <a:pt x="0" y="244"/>
                  </a:lnTo>
                  <a:lnTo>
                    <a:pt x="0" y="244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1" name="Freeform 40">
              <a:extLst>
                <a:ext uri="{FF2B5EF4-FFF2-40B4-BE49-F238E27FC236}">
                  <a16:creationId xmlns:a16="http://schemas.microsoft.com/office/drawing/2014/main" id="{95D70570-1CD6-5B92-D854-B78E8739CF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192"/>
              <a:ext cx="156" cy="244"/>
            </a:xfrm>
            <a:custGeom>
              <a:avLst/>
              <a:gdLst>
                <a:gd name="T0" fmla="*/ 65 w 156"/>
                <a:gd name="T1" fmla="*/ 239 h 244"/>
                <a:gd name="T2" fmla="*/ 64 w 156"/>
                <a:gd name="T3" fmla="*/ 235 h 244"/>
                <a:gd name="T4" fmla="*/ 66 w 156"/>
                <a:gd name="T5" fmla="*/ 223 h 244"/>
                <a:gd name="T6" fmla="*/ 65 w 156"/>
                <a:gd name="T7" fmla="*/ 220 h 244"/>
                <a:gd name="T8" fmla="*/ 61 w 156"/>
                <a:gd name="T9" fmla="*/ 217 h 244"/>
                <a:gd name="T10" fmla="*/ 56 w 156"/>
                <a:gd name="T11" fmla="*/ 217 h 244"/>
                <a:gd name="T12" fmla="*/ 50 w 156"/>
                <a:gd name="T13" fmla="*/ 220 h 244"/>
                <a:gd name="T14" fmla="*/ 44 w 156"/>
                <a:gd name="T15" fmla="*/ 223 h 244"/>
                <a:gd name="T16" fmla="*/ 35 w 156"/>
                <a:gd name="T17" fmla="*/ 231 h 244"/>
                <a:gd name="T18" fmla="*/ 32 w 156"/>
                <a:gd name="T19" fmla="*/ 234 h 244"/>
                <a:gd name="T20" fmla="*/ 22 w 156"/>
                <a:gd name="T21" fmla="*/ 235 h 244"/>
                <a:gd name="T22" fmla="*/ 20 w 156"/>
                <a:gd name="T23" fmla="*/ 234 h 244"/>
                <a:gd name="T24" fmla="*/ 19 w 156"/>
                <a:gd name="T25" fmla="*/ 230 h 244"/>
                <a:gd name="T26" fmla="*/ 20 w 156"/>
                <a:gd name="T27" fmla="*/ 222 h 244"/>
                <a:gd name="T28" fmla="*/ 19 w 156"/>
                <a:gd name="T29" fmla="*/ 221 h 244"/>
                <a:gd name="T30" fmla="*/ 13 w 156"/>
                <a:gd name="T31" fmla="*/ 222 h 244"/>
                <a:gd name="T32" fmla="*/ 9 w 156"/>
                <a:gd name="T33" fmla="*/ 222 h 244"/>
                <a:gd name="T34" fmla="*/ 5 w 156"/>
                <a:gd name="T35" fmla="*/ 217 h 244"/>
                <a:gd name="T36" fmla="*/ 0 w 156"/>
                <a:gd name="T37" fmla="*/ 211 h 244"/>
                <a:gd name="T38" fmla="*/ 0 w 156"/>
                <a:gd name="T39" fmla="*/ 208 h 244"/>
                <a:gd name="T40" fmla="*/ 2 w 156"/>
                <a:gd name="T41" fmla="*/ 201 h 244"/>
                <a:gd name="T42" fmla="*/ 4 w 156"/>
                <a:gd name="T43" fmla="*/ 195 h 244"/>
                <a:gd name="T44" fmla="*/ 4 w 156"/>
                <a:gd name="T45" fmla="*/ 190 h 244"/>
                <a:gd name="T46" fmla="*/ 10 w 156"/>
                <a:gd name="T47" fmla="*/ 182 h 244"/>
                <a:gd name="T48" fmla="*/ 12 w 156"/>
                <a:gd name="T49" fmla="*/ 177 h 244"/>
                <a:gd name="T50" fmla="*/ 11 w 156"/>
                <a:gd name="T51" fmla="*/ 174 h 244"/>
                <a:gd name="T52" fmla="*/ 9 w 156"/>
                <a:gd name="T53" fmla="*/ 170 h 244"/>
                <a:gd name="T54" fmla="*/ 3 w 156"/>
                <a:gd name="T55" fmla="*/ 162 h 244"/>
                <a:gd name="T56" fmla="*/ 2 w 156"/>
                <a:gd name="T57" fmla="*/ 160 h 244"/>
                <a:gd name="T58" fmla="*/ 4 w 156"/>
                <a:gd name="T59" fmla="*/ 149 h 244"/>
                <a:gd name="T60" fmla="*/ 8 w 156"/>
                <a:gd name="T61" fmla="*/ 142 h 244"/>
                <a:gd name="T62" fmla="*/ 17 w 156"/>
                <a:gd name="T63" fmla="*/ 130 h 244"/>
                <a:gd name="T64" fmla="*/ 19 w 156"/>
                <a:gd name="T65" fmla="*/ 124 h 244"/>
                <a:gd name="T66" fmla="*/ 20 w 156"/>
                <a:gd name="T67" fmla="*/ 114 h 244"/>
                <a:gd name="T68" fmla="*/ 20 w 156"/>
                <a:gd name="T69" fmla="*/ 104 h 244"/>
                <a:gd name="T70" fmla="*/ 23 w 156"/>
                <a:gd name="T71" fmla="*/ 96 h 244"/>
                <a:gd name="T72" fmla="*/ 24 w 156"/>
                <a:gd name="T73" fmla="*/ 88 h 244"/>
                <a:gd name="T74" fmla="*/ 34 w 156"/>
                <a:gd name="T75" fmla="*/ 76 h 244"/>
                <a:gd name="T76" fmla="*/ 40 w 156"/>
                <a:gd name="T77" fmla="*/ 71 h 244"/>
                <a:gd name="T78" fmla="*/ 46 w 156"/>
                <a:gd name="T79" fmla="*/ 66 h 244"/>
                <a:gd name="T80" fmla="*/ 52 w 156"/>
                <a:gd name="T81" fmla="*/ 63 h 244"/>
                <a:gd name="T82" fmla="*/ 60 w 156"/>
                <a:gd name="T83" fmla="*/ 54 h 244"/>
                <a:gd name="T84" fmla="*/ 64 w 156"/>
                <a:gd name="T85" fmla="*/ 52 h 244"/>
                <a:gd name="T86" fmla="*/ 70 w 156"/>
                <a:gd name="T87" fmla="*/ 53 h 244"/>
                <a:gd name="T88" fmla="*/ 74 w 156"/>
                <a:gd name="T89" fmla="*/ 52 h 244"/>
                <a:gd name="T90" fmla="*/ 76 w 156"/>
                <a:gd name="T91" fmla="*/ 48 h 244"/>
                <a:gd name="T92" fmla="*/ 77 w 156"/>
                <a:gd name="T93" fmla="*/ 34 h 244"/>
                <a:gd name="T94" fmla="*/ 79 w 156"/>
                <a:gd name="T95" fmla="*/ 33 h 244"/>
                <a:gd name="T96" fmla="*/ 86 w 156"/>
                <a:gd name="T97" fmla="*/ 28 h 244"/>
                <a:gd name="T98" fmla="*/ 96 w 156"/>
                <a:gd name="T99" fmla="*/ 24 h 244"/>
                <a:gd name="T100" fmla="*/ 104 w 156"/>
                <a:gd name="T101" fmla="*/ 24 h 244"/>
                <a:gd name="T102" fmla="*/ 116 w 156"/>
                <a:gd name="T103" fmla="*/ 24 h 244"/>
                <a:gd name="T104" fmla="*/ 124 w 156"/>
                <a:gd name="T105" fmla="*/ 22 h 244"/>
                <a:gd name="T106" fmla="*/ 129 w 156"/>
                <a:gd name="T107" fmla="*/ 24 h 244"/>
                <a:gd name="T108" fmla="*/ 136 w 156"/>
                <a:gd name="T109" fmla="*/ 23 h 244"/>
                <a:gd name="T110" fmla="*/ 144 w 156"/>
                <a:gd name="T111" fmla="*/ 18 h 244"/>
                <a:gd name="T112" fmla="*/ 150 w 156"/>
                <a:gd name="T113" fmla="*/ 11 h 244"/>
                <a:gd name="T114" fmla="*/ 153 w 156"/>
                <a:gd name="T115" fmla="*/ 2 h 244"/>
                <a:gd name="T116" fmla="*/ 155 w 156"/>
                <a:gd name="T117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6" h="244">
                  <a:moveTo>
                    <a:pt x="68" y="244"/>
                  </a:moveTo>
                  <a:lnTo>
                    <a:pt x="67" y="243"/>
                  </a:lnTo>
                  <a:lnTo>
                    <a:pt x="66" y="242"/>
                  </a:lnTo>
                  <a:lnTo>
                    <a:pt x="65" y="241"/>
                  </a:lnTo>
                  <a:lnTo>
                    <a:pt x="65" y="239"/>
                  </a:lnTo>
                  <a:lnTo>
                    <a:pt x="64" y="238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2"/>
                  </a:lnTo>
                  <a:lnTo>
                    <a:pt x="65" y="228"/>
                  </a:lnTo>
                  <a:lnTo>
                    <a:pt x="66" y="226"/>
                  </a:lnTo>
                  <a:lnTo>
                    <a:pt x="66" y="224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2"/>
                  </a:lnTo>
                  <a:lnTo>
                    <a:pt x="66" y="221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8" y="217"/>
                  </a:lnTo>
                  <a:lnTo>
                    <a:pt x="56" y="217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3" y="218"/>
                  </a:lnTo>
                  <a:lnTo>
                    <a:pt x="51" y="219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8" y="220"/>
                  </a:lnTo>
                  <a:lnTo>
                    <a:pt x="47" y="221"/>
                  </a:lnTo>
                  <a:lnTo>
                    <a:pt x="45" y="222"/>
                  </a:lnTo>
                  <a:lnTo>
                    <a:pt x="44" y="223"/>
                  </a:lnTo>
                  <a:lnTo>
                    <a:pt x="41" y="226"/>
                  </a:lnTo>
                  <a:lnTo>
                    <a:pt x="38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5" y="231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3" y="234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1" y="235"/>
                  </a:lnTo>
                  <a:lnTo>
                    <a:pt x="30" y="235"/>
                  </a:lnTo>
                  <a:lnTo>
                    <a:pt x="27" y="235"/>
                  </a:lnTo>
                  <a:lnTo>
                    <a:pt x="23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1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19" y="232"/>
                  </a:lnTo>
                  <a:lnTo>
                    <a:pt x="19" y="231"/>
                  </a:lnTo>
                  <a:lnTo>
                    <a:pt x="19" y="230"/>
                  </a:lnTo>
                  <a:lnTo>
                    <a:pt x="19" y="229"/>
                  </a:lnTo>
                  <a:lnTo>
                    <a:pt x="20" y="226"/>
                  </a:lnTo>
                  <a:lnTo>
                    <a:pt x="20" y="224"/>
                  </a:lnTo>
                  <a:lnTo>
                    <a:pt x="20" y="223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0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6" y="222"/>
                  </a:lnTo>
                  <a:lnTo>
                    <a:pt x="15" y="222"/>
                  </a:lnTo>
                  <a:lnTo>
                    <a:pt x="13" y="222"/>
                  </a:lnTo>
                  <a:lnTo>
                    <a:pt x="12" y="223"/>
                  </a:lnTo>
                  <a:lnTo>
                    <a:pt x="11" y="223"/>
                  </a:lnTo>
                  <a:lnTo>
                    <a:pt x="10" y="223"/>
                  </a:lnTo>
                  <a:lnTo>
                    <a:pt x="10" y="222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8" y="221"/>
                  </a:lnTo>
                  <a:lnTo>
                    <a:pt x="7" y="220"/>
                  </a:lnTo>
                  <a:lnTo>
                    <a:pt x="6" y="220"/>
                  </a:lnTo>
                  <a:lnTo>
                    <a:pt x="5" y="217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0" y="206"/>
                  </a:lnTo>
                  <a:lnTo>
                    <a:pt x="0" y="205"/>
                  </a:lnTo>
                  <a:lnTo>
                    <a:pt x="1" y="204"/>
                  </a:lnTo>
                  <a:lnTo>
                    <a:pt x="2" y="201"/>
                  </a:lnTo>
                  <a:lnTo>
                    <a:pt x="3" y="199"/>
                  </a:lnTo>
                  <a:lnTo>
                    <a:pt x="3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4" y="193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6" y="188"/>
                  </a:lnTo>
                  <a:lnTo>
                    <a:pt x="7" y="186"/>
                  </a:lnTo>
                  <a:lnTo>
                    <a:pt x="9" y="183"/>
                  </a:lnTo>
                  <a:lnTo>
                    <a:pt x="10" y="182"/>
                  </a:lnTo>
                  <a:lnTo>
                    <a:pt x="10" y="181"/>
                  </a:lnTo>
                  <a:lnTo>
                    <a:pt x="11" y="180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7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5"/>
                  </a:lnTo>
                  <a:lnTo>
                    <a:pt x="12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0" y="172"/>
                  </a:lnTo>
                  <a:lnTo>
                    <a:pt x="10" y="171"/>
                  </a:lnTo>
                  <a:lnTo>
                    <a:pt x="9" y="170"/>
                  </a:lnTo>
                  <a:lnTo>
                    <a:pt x="5" y="166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3" y="156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7"/>
                  </a:lnTo>
                  <a:lnTo>
                    <a:pt x="6" y="145"/>
                  </a:lnTo>
                  <a:lnTo>
                    <a:pt x="7" y="143"/>
                  </a:lnTo>
                  <a:lnTo>
                    <a:pt x="8" y="142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18" y="129"/>
                  </a:lnTo>
                  <a:lnTo>
                    <a:pt x="18" y="128"/>
                  </a:lnTo>
                  <a:lnTo>
                    <a:pt x="19" y="127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20" y="123"/>
                  </a:lnTo>
                  <a:lnTo>
                    <a:pt x="20" y="122"/>
                  </a:lnTo>
                  <a:lnTo>
                    <a:pt x="20" y="120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9" y="106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3"/>
                  </a:lnTo>
                  <a:lnTo>
                    <a:pt x="22" y="99"/>
                  </a:lnTo>
                  <a:lnTo>
                    <a:pt x="23" y="98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7" y="84"/>
                  </a:lnTo>
                  <a:lnTo>
                    <a:pt x="32" y="78"/>
                  </a:lnTo>
                  <a:lnTo>
                    <a:pt x="34" y="76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8" y="72"/>
                  </a:lnTo>
                  <a:lnTo>
                    <a:pt x="39" y="71"/>
                  </a:lnTo>
                  <a:lnTo>
                    <a:pt x="40" y="71"/>
                  </a:lnTo>
                  <a:lnTo>
                    <a:pt x="42" y="68"/>
                  </a:lnTo>
                  <a:lnTo>
                    <a:pt x="43" y="68"/>
                  </a:lnTo>
                  <a:lnTo>
                    <a:pt x="44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8" y="57"/>
                  </a:lnTo>
                  <a:lnTo>
                    <a:pt x="59" y="55"/>
                  </a:lnTo>
                  <a:lnTo>
                    <a:pt x="60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49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5"/>
                  </a:lnTo>
                  <a:lnTo>
                    <a:pt x="77" y="42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8" y="27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7" y="23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8" y="24"/>
                  </a:lnTo>
                  <a:lnTo>
                    <a:pt x="129" y="24"/>
                  </a:lnTo>
                  <a:lnTo>
                    <a:pt x="131" y="24"/>
                  </a:lnTo>
                  <a:lnTo>
                    <a:pt x="132" y="24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6" y="23"/>
                  </a:lnTo>
                  <a:lnTo>
                    <a:pt x="137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2" y="19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9" y="12"/>
                  </a:lnTo>
                  <a:lnTo>
                    <a:pt x="150" y="11"/>
                  </a:lnTo>
                  <a:lnTo>
                    <a:pt x="151" y="10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7"/>
                  </a:lnTo>
                  <a:lnTo>
                    <a:pt x="153" y="2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6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2" name="Freeform 42">
              <a:extLst>
                <a:ext uri="{FF2B5EF4-FFF2-40B4-BE49-F238E27FC236}">
                  <a16:creationId xmlns:a16="http://schemas.microsoft.com/office/drawing/2014/main" id="{5C6B5FE2-9D66-62CC-564F-6A138C6CBE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6" y="3069"/>
              <a:ext cx="633" cy="513"/>
            </a:xfrm>
            <a:custGeom>
              <a:avLst/>
              <a:gdLst>
                <a:gd name="T0" fmla="*/ 487 w 633"/>
                <a:gd name="T1" fmla="*/ 20 h 513"/>
                <a:gd name="T2" fmla="*/ 512 w 633"/>
                <a:gd name="T3" fmla="*/ 53 h 513"/>
                <a:gd name="T4" fmla="*/ 516 w 633"/>
                <a:gd name="T5" fmla="*/ 105 h 513"/>
                <a:gd name="T6" fmla="*/ 525 w 633"/>
                <a:gd name="T7" fmla="*/ 128 h 513"/>
                <a:gd name="T8" fmla="*/ 553 w 633"/>
                <a:gd name="T9" fmla="*/ 151 h 513"/>
                <a:gd name="T10" fmla="*/ 587 w 633"/>
                <a:gd name="T11" fmla="*/ 174 h 513"/>
                <a:gd name="T12" fmla="*/ 583 w 633"/>
                <a:gd name="T13" fmla="*/ 217 h 513"/>
                <a:gd name="T14" fmla="*/ 599 w 633"/>
                <a:gd name="T15" fmla="*/ 238 h 513"/>
                <a:gd name="T16" fmla="*/ 591 w 633"/>
                <a:gd name="T17" fmla="*/ 260 h 513"/>
                <a:gd name="T18" fmla="*/ 603 w 633"/>
                <a:gd name="T19" fmla="*/ 280 h 513"/>
                <a:gd name="T20" fmla="*/ 632 w 633"/>
                <a:gd name="T21" fmla="*/ 303 h 513"/>
                <a:gd name="T22" fmla="*/ 624 w 633"/>
                <a:gd name="T23" fmla="*/ 350 h 513"/>
                <a:gd name="T24" fmla="*/ 604 w 633"/>
                <a:gd name="T25" fmla="*/ 375 h 513"/>
                <a:gd name="T26" fmla="*/ 566 w 633"/>
                <a:gd name="T27" fmla="*/ 394 h 513"/>
                <a:gd name="T28" fmla="*/ 532 w 633"/>
                <a:gd name="T29" fmla="*/ 420 h 513"/>
                <a:gd name="T30" fmla="*/ 549 w 633"/>
                <a:gd name="T31" fmla="*/ 455 h 513"/>
                <a:gd name="T32" fmla="*/ 524 w 633"/>
                <a:gd name="T33" fmla="*/ 473 h 513"/>
                <a:gd name="T34" fmla="*/ 473 w 633"/>
                <a:gd name="T35" fmla="*/ 469 h 513"/>
                <a:gd name="T36" fmla="*/ 455 w 633"/>
                <a:gd name="T37" fmla="*/ 494 h 513"/>
                <a:gd name="T38" fmla="*/ 430 w 633"/>
                <a:gd name="T39" fmla="*/ 479 h 513"/>
                <a:gd name="T40" fmla="*/ 394 w 633"/>
                <a:gd name="T41" fmla="*/ 475 h 513"/>
                <a:gd name="T42" fmla="*/ 369 w 633"/>
                <a:gd name="T43" fmla="*/ 512 h 513"/>
                <a:gd name="T44" fmla="*/ 342 w 633"/>
                <a:gd name="T45" fmla="*/ 501 h 513"/>
                <a:gd name="T46" fmla="*/ 298 w 633"/>
                <a:gd name="T47" fmla="*/ 492 h 513"/>
                <a:gd name="T48" fmla="*/ 273 w 633"/>
                <a:gd name="T49" fmla="*/ 499 h 513"/>
                <a:gd name="T50" fmla="*/ 239 w 633"/>
                <a:gd name="T51" fmla="*/ 498 h 513"/>
                <a:gd name="T52" fmla="*/ 195 w 633"/>
                <a:gd name="T53" fmla="*/ 493 h 513"/>
                <a:gd name="T54" fmla="*/ 164 w 633"/>
                <a:gd name="T55" fmla="*/ 508 h 513"/>
                <a:gd name="T56" fmla="*/ 127 w 633"/>
                <a:gd name="T57" fmla="*/ 508 h 513"/>
                <a:gd name="T58" fmla="*/ 101 w 633"/>
                <a:gd name="T59" fmla="*/ 493 h 513"/>
                <a:gd name="T60" fmla="*/ 87 w 633"/>
                <a:gd name="T61" fmla="*/ 456 h 513"/>
                <a:gd name="T62" fmla="*/ 84 w 633"/>
                <a:gd name="T63" fmla="*/ 439 h 513"/>
                <a:gd name="T64" fmla="*/ 78 w 633"/>
                <a:gd name="T65" fmla="*/ 424 h 513"/>
                <a:gd name="T66" fmla="*/ 111 w 633"/>
                <a:gd name="T67" fmla="*/ 404 h 513"/>
                <a:gd name="T68" fmla="*/ 117 w 633"/>
                <a:gd name="T69" fmla="*/ 367 h 513"/>
                <a:gd name="T70" fmla="*/ 110 w 633"/>
                <a:gd name="T71" fmla="*/ 311 h 513"/>
                <a:gd name="T72" fmla="*/ 74 w 633"/>
                <a:gd name="T73" fmla="*/ 283 h 513"/>
                <a:gd name="T74" fmla="*/ 33 w 633"/>
                <a:gd name="T75" fmla="*/ 269 h 513"/>
                <a:gd name="T76" fmla="*/ 2 w 633"/>
                <a:gd name="T77" fmla="*/ 265 h 513"/>
                <a:gd name="T78" fmla="*/ 5 w 633"/>
                <a:gd name="T79" fmla="*/ 235 h 513"/>
                <a:gd name="T80" fmla="*/ 27 w 633"/>
                <a:gd name="T81" fmla="*/ 212 h 513"/>
                <a:gd name="T82" fmla="*/ 69 w 633"/>
                <a:gd name="T83" fmla="*/ 184 h 513"/>
                <a:gd name="T84" fmla="*/ 113 w 633"/>
                <a:gd name="T85" fmla="*/ 171 h 513"/>
                <a:gd name="T86" fmla="*/ 149 w 633"/>
                <a:gd name="T87" fmla="*/ 158 h 513"/>
                <a:gd name="T88" fmla="*/ 176 w 633"/>
                <a:gd name="T89" fmla="*/ 133 h 513"/>
                <a:gd name="T90" fmla="*/ 236 w 633"/>
                <a:gd name="T91" fmla="*/ 127 h 513"/>
                <a:gd name="T92" fmla="*/ 287 w 633"/>
                <a:gd name="T93" fmla="*/ 120 h 513"/>
                <a:gd name="T94" fmla="*/ 299 w 633"/>
                <a:gd name="T95" fmla="*/ 88 h 513"/>
                <a:gd name="T96" fmla="*/ 318 w 633"/>
                <a:gd name="T97" fmla="*/ 59 h 513"/>
                <a:gd name="T98" fmla="*/ 340 w 633"/>
                <a:gd name="T99" fmla="*/ 53 h 513"/>
                <a:gd name="T100" fmla="*/ 361 w 633"/>
                <a:gd name="T101" fmla="*/ 65 h 513"/>
                <a:gd name="T102" fmla="*/ 404 w 633"/>
                <a:gd name="T103" fmla="*/ 32 h 513"/>
                <a:gd name="T104" fmla="*/ 435 w 633"/>
                <a:gd name="T105" fmla="*/ 21 h 513"/>
                <a:gd name="T106" fmla="*/ 306 w 633"/>
                <a:gd name="T107" fmla="*/ 213 h 513"/>
                <a:gd name="T108" fmla="*/ 269 w 633"/>
                <a:gd name="T109" fmla="*/ 227 h 513"/>
                <a:gd name="T110" fmla="*/ 258 w 633"/>
                <a:gd name="T111" fmla="*/ 252 h 513"/>
                <a:gd name="T112" fmla="*/ 269 w 633"/>
                <a:gd name="T113" fmla="*/ 285 h 513"/>
                <a:gd name="T114" fmla="*/ 280 w 633"/>
                <a:gd name="T115" fmla="*/ 308 h 513"/>
                <a:gd name="T116" fmla="*/ 326 w 633"/>
                <a:gd name="T117" fmla="*/ 289 h 513"/>
                <a:gd name="T118" fmla="*/ 368 w 633"/>
                <a:gd name="T119" fmla="*/ 286 h 513"/>
                <a:gd name="T120" fmla="*/ 383 w 633"/>
                <a:gd name="T121" fmla="*/ 252 h 513"/>
                <a:gd name="T122" fmla="*/ 356 w 633"/>
                <a:gd name="T123" fmla="*/ 222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3" h="513">
                  <a:moveTo>
                    <a:pt x="451" y="0"/>
                  </a:moveTo>
                  <a:lnTo>
                    <a:pt x="451" y="0"/>
                  </a:lnTo>
                  <a:lnTo>
                    <a:pt x="452" y="0"/>
                  </a:lnTo>
                  <a:lnTo>
                    <a:pt x="452" y="1"/>
                  </a:lnTo>
                  <a:lnTo>
                    <a:pt x="453" y="1"/>
                  </a:lnTo>
                  <a:lnTo>
                    <a:pt x="455" y="3"/>
                  </a:lnTo>
                  <a:lnTo>
                    <a:pt x="456" y="4"/>
                  </a:lnTo>
                  <a:lnTo>
                    <a:pt x="457" y="5"/>
                  </a:lnTo>
                  <a:lnTo>
                    <a:pt x="459" y="6"/>
                  </a:lnTo>
                  <a:lnTo>
                    <a:pt x="460" y="7"/>
                  </a:lnTo>
                  <a:lnTo>
                    <a:pt x="460" y="7"/>
                  </a:lnTo>
                  <a:lnTo>
                    <a:pt x="461" y="8"/>
                  </a:lnTo>
                  <a:lnTo>
                    <a:pt x="461" y="9"/>
                  </a:lnTo>
                  <a:lnTo>
                    <a:pt x="462" y="9"/>
                  </a:lnTo>
                  <a:lnTo>
                    <a:pt x="463" y="9"/>
                  </a:lnTo>
                  <a:lnTo>
                    <a:pt x="463" y="10"/>
                  </a:lnTo>
                  <a:lnTo>
                    <a:pt x="464" y="10"/>
                  </a:lnTo>
                  <a:lnTo>
                    <a:pt x="465" y="10"/>
                  </a:lnTo>
                  <a:lnTo>
                    <a:pt x="465" y="10"/>
                  </a:lnTo>
                  <a:lnTo>
                    <a:pt x="465" y="9"/>
                  </a:lnTo>
                  <a:lnTo>
                    <a:pt x="466" y="9"/>
                  </a:lnTo>
                  <a:lnTo>
                    <a:pt x="467" y="8"/>
                  </a:lnTo>
                  <a:lnTo>
                    <a:pt x="468" y="8"/>
                  </a:lnTo>
                  <a:lnTo>
                    <a:pt x="468" y="8"/>
                  </a:lnTo>
                  <a:lnTo>
                    <a:pt x="469" y="7"/>
                  </a:lnTo>
                  <a:lnTo>
                    <a:pt x="470" y="7"/>
                  </a:lnTo>
                  <a:lnTo>
                    <a:pt x="471" y="7"/>
                  </a:lnTo>
                  <a:lnTo>
                    <a:pt x="471" y="7"/>
                  </a:lnTo>
                  <a:lnTo>
                    <a:pt x="474" y="8"/>
                  </a:lnTo>
                  <a:lnTo>
                    <a:pt x="475" y="8"/>
                  </a:lnTo>
                  <a:lnTo>
                    <a:pt x="476" y="8"/>
                  </a:lnTo>
                  <a:lnTo>
                    <a:pt x="476" y="8"/>
                  </a:lnTo>
                  <a:lnTo>
                    <a:pt x="476" y="9"/>
                  </a:lnTo>
                  <a:lnTo>
                    <a:pt x="477" y="9"/>
                  </a:lnTo>
                  <a:lnTo>
                    <a:pt x="479" y="10"/>
                  </a:lnTo>
                  <a:lnTo>
                    <a:pt x="481" y="14"/>
                  </a:lnTo>
                  <a:lnTo>
                    <a:pt x="485" y="18"/>
                  </a:lnTo>
                  <a:lnTo>
                    <a:pt x="487" y="20"/>
                  </a:lnTo>
                  <a:lnTo>
                    <a:pt x="488" y="21"/>
                  </a:lnTo>
                  <a:lnTo>
                    <a:pt x="488" y="21"/>
                  </a:lnTo>
                  <a:lnTo>
                    <a:pt x="489" y="22"/>
                  </a:lnTo>
                  <a:lnTo>
                    <a:pt x="490" y="22"/>
                  </a:lnTo>
                  <a:lnTo>
                    <a:pt x="491" y="22"/>
                  </a:lnTo>
                  <a:lnTo>
                    <a:pt x="493" y="23"/>
                  </a:lnTo>
                  <a:lnTo>
                    <a:pt x="494" y="24"/>
                  </a:lnTo>
                  <a:lnTo>
                    <a:pt x="495" y="24"/>
                  </a:lnTo>
                  <a:lnTo>
                    <a:pt x="496" y="25"/>
                  </a:lnTo>
                  <a:lnTo>
                    <a:pt x="497" y="26"/>
                  </a:lnTo>
                  <a:lnTo>
                    <a:pt x="499" y="27"/>
                  </a:lnTo>
                  <a:lnTo>
                    <a:pt x="500" y="28"/>
                  </a:lnTo>
                  <a:lnTo>
                    <a:pt x="501" y="29"/>
                  </a:lnTo>
                  <a:lnTo>
                    <a:pt x="501" y="30"/>
                  </a:lnTo>
                  <a:lnTo>
                    <a:pt x="502" y="31"/>
                  </a:lnTo>
                  <a:lnTo>
                    <a:pt x="503" y="32"/>
                  </a:lnTo>
                  <a:lnTo>
                    <a:pt x="505" y="35"/>
                  </a:lnTo>
                  <a:lnTo>
                    <a:pt x="505" y="36"/>
                  </a:lnTo>
                  <a:lnTo>
                    <a:pt x="505" y="37"/>
                  </a:lnTo>
                  <a:lnTo>
                    <a:pt x="506" y="37"/>
                  </a:lnTo>
                  <a:lnTo>
                    <a:pt x="507" y="38"/>
                  </a:lnTo>
                  <a:lnTo>
                    <a:pt x="508" y="38"/>
                  </a:lnTo>
                  <a:lnTo>
                    <a:pt x="508" y="39"/>
                  </a:lnTo>
                  <a:lnTo>
                    <a:pt x="509" y="39"/>
                  </a:lnTo>
                  <a:lnTo>
                    <a:pt x="511" y="40"/>
                  </a:lnTo>
                  <a:lnTo>
                    <a:pt x="512" y="41"/>
                  </a:lnTo>
                  <a:lnTo>
                    <a:pt x="517" y="43"/>
                  </a:lnTo>
                  <a:lnTo>
                    <a:pt x="518" y="43"/>
                  </a:lnTo>
                  <a:lnTo>
                    <a:pt x="519" y="44"/>
                  </a:lnTo>
                  <a:lnTo>
                    <a:pt x="518" y="45"/>
                  </a:lnTo>
                  <a:lnTo>
                    <a:pt x="517" y="46"/>
                  </a:lnTo>
                  <a:lnTo>
                    <a:pt x="515" y="48"/>
                  </a:lnTo>
                  <a:lnTo>
                    <a:pt x="514" y="49"/>
                  </a:lnTo>
                  <a:lnTo>
                    <a:pt x="513" y="50"/>
                  </a:lnTo>
                  <a:lnTo>
                    <a:pt x="512" y="51"/>
                  </a:lnTo>
                  <a:lnTo>
                    <a:pt x="512" y="52"/>
                  </a:lnTo>
                  <a:lnTo>
                    <a:pt x="512" y="52"/>
                  </a:lnTo>
                  <a:lnTo>
                    <a:pt x="512" y="53"/>
                  </a:lnTo>
                  <a:lnTo>
                    <a:pt x="512" y="54"/>
                  </a:lnTo>
                  <a:lnTo>
                    <a:pt x="512" y="54"/>
                  </a:lnTo>
                  <a:lnTo>
                    <a:pt x="512" y="55"/>
                  </a:lnTo>
                  <a:lnTo>
                    <a:pt x="512" y="56"/>
                  </a:lnTo>
                  <a:lnTo>
                    <a:pt x="513" y="58"/>
                  </a:lnTo>
                  <a:lnTo>
                    <a:pt x="514" y="60"/>
                  </a:lnTo>
                  <a:lnTo>
                    <a:pt x="514" y="61"/>
                  </a:lnTo>
                  <a:lnTo>
                    <a:pt x="515" y="63"/>
                  </a:lnTo>
                  <a:lnTo>
                    <a:pt x="516" y="65"/>
                  </a:lnTo>
                  <a:lnTo>
                    <a:pt x="516" y="66"/>
                  </a:lnTo>
                  <a:lnTo>
                    <a:pt x="516" y="66"/>
                  </a:lnTo>
                  <a:lnTo>
                    <a:pt x="516" y="67"/>
                  </a:lnTo>
                  <a:lnTo>
                    <a:pt x="516" y="69"/>
                  </a:lnTo>
                  <a:lnTo>
                    <a:pt x="516" y="74"/>
                  </a:lnTo>
                  <a:lnTo>
                    <a:pt x="516" y="75"/>
                  </a:lnTo>
                  <a:lnTo>
                    <a:pt x="516" y="76"/>
                  </a:lnTo>
                  <a:lnTo>
                    <a:pt x="517" y="77"/>
                  </a:lnTo>
                  <a:lnTo>
                    <a:pt x="517" y="78"/>
                  </a:lnTo>
                  <a:lnTo>
                    <a:pt x="517" y="78"/>
                  </a:lnTo>
                  <a:lnTo>
                    <a:pt x="518" y="80"/>
                  </a:lnTo>
                  <a:lnTo>
                    <a:pt x="519" y="81"/>
                  </a:lnTo>
                  <a:lnTo>
                    <a:pt x="519" y="82"/>
                  </a:lnTo>
                  <a:lnTo>
                    <a:pt x="520" y="83"/>
                  </a:lnTo>
                  <a:lnTo>
                    <a:pt x="520" y="84"/>
                  </a:lnTo>
                  <a:lnTo>
                    <a:pt x="521" y="87"/>
                  </a:lnTo>
                  <a:lnTo>
                    <a:pt x="522" y="89"/>
                  </a:lnTo>
                  <a:lnTo>
                    <a:pt x="522" y="90"/>
                  </a:lnTo>
                  <a:lnTo>
                    <a:pt x="522" y="91"/>
                  </a:lnTo>
                  <a:lnTo>
                    <a:pt x="522" y="93"/>
                  </a:lnTo>
                  <a:lnTo>
                    <a:pt x="521" y="94"/>
                  </a:lnTo>
                  <a:lnTo>
                    <a:pt x="521" y="95"/>
                  </a:lnTo>
                  <a:lnTo>
                    <a:pt x="520" y="96"/>
                  </a:lnTo>
                  <a:lnTo>
                    <a:pt x="520" y="97"/>
                  </a:lnTo>
                  <a:lnTo>
                    <a:pt x="518" y="99"/>
                  </a:lnTo>
                  <a:lnTo>
                    <a:pt x="518" y="100"/>
                  </a:lnTo>
                  <a:lnTo>
                    <a:pt x="517" y="101"/>
                  </a:lnTo>
                  <a:lnTo>
                    <a:pt x="516" y="104"/>
                  </a:lnTo>
                  <a:lnTo>
                    <a:pt x="516" y="105"/>
                  </a:lnTo>
                  <a:lnTo>
                    <a:pt x="516" y="105"/>
                  </a:lnTo>
                  <a:lnTo>
                    <a:pt x="515" y="105"/>
                  </a:lnTo>
                  <a:lnTo>
                    <a:pt x="515" y="106"/>
                  </a:lnTo>
                  <a:lnTo>
                    <a:pt x="514" y="106"/>
                  </a:lnTo>
                  <a:lnTo>
                    <a:pt x="512" y="108"/>
                  </a:lnTo>
                  <a:lnTo>
                    <a:pt x="511" y="108"/>
                  </a:lnTo>
                  <a:lnTo>
                    <a:pt x="511" y="108"/>
                  </a:lnTo>
                  <a:lnTo>
                    <a:pt x="510" y="109"/>
                  </a:lnTo>
                  <a:lnTo>
                    <a:pt x="510" y="110"/>
                  </a:lnTo>
                  <a:lnTo>
                    <a:pt x="510" y="110"/>
                  </a:lnTo>
                  <a:lnTo>
                    <a:pt x="509" y="111"/>
                  </a:lnTo>
                  <a:lnTo>
                    <a:pt x="509" y="111"/>
                  </a:lnTo>
                  <a:lnTo>
                    <a:pt x="509" y="112"/>
                  </a:lnTo>
                  <a:lnTo>
                    <a:pt x="509" y="113"/>
                  </a:lnTo>
                  <a:lnTo>
                    <a:pt x="510" y="114"/>
                  </a:lnTo>
                  <a:lnTo>
                    <a:pt x="510" y="114"/>
                  </a:lnTo>
                  <a:lnTo>
                    <a:pt x="510" y="115"/>
                  </a:lnTo>
                  <a:lnTo>
                    <a:pt x="511" y="117"/>
                  </a:lnTo>
                  <a:lnTo>
                    <a:pt x="512" y="118"/>
                  </a:lnTo>
                  <a:lnTo>
                    <a:pt x="512" y="119"/>
                  </a:lnTo>
                  <a:lnTo>
                    <a:pt x="513" y="120"/>
                  </a:lnTo>
                  <a:lnTo>
                    <a:pt x="513" y="121"/>
                  </a:lnTo>
                  <a:lnTo>
                    <a:pt x="513" y="122"/>
                  </a:lnTo>
                  <a:lnTo>
                    <a:pt x="514" y="123"/>
                  </a:lnTo>
                  <a:lnTo>
                    <a:pt x="514" y="124"/>
                  </a:lnTo>
                  <a:lnTo>
                    <a:pt x="515" y="124"/>
                  </a:lnTo>
                  <a:lnTo>
                    <a:pt x="515" y="125"/>
                  </a:lnTo>
                  <a:lnTo>
                    <a:pt x="516" y="125"/>
                  </a:lnTo>
                  <a:lnTo>
                    <a:pt x="517" y="126"/>
                  </a:lnTo>
                  <a:lnTo>
                    <a:pt x="518" y="126"/>
                  </a:lnTo>
                  <a:lnTo>
                    <a:pt x="518" y="126"/>
                  </a:lnTo>
                  <a:lnTo>
                    <a:pt x="519" y="127"/>
                  </a:lnTo>
                  <a:lnTo>
                    <a:pt x="519" y="127"/>
                  </a:lnTo>
                  <a:lnTo>
                    <a:pt x="520" y="127"/>
                  </a:lnTo>
                  <a:lnTo>
                    <a:pt x="521" y="127"/>
                  </a:lnTo>
                  <a:lnTo>
                    <a:pt x="524" y="127"/>
                  </a:lnTo>
                  <a:lnTo>
                    <a:pt x="525" y="128"/>
                  </a:lnTo>
                  <a:lnTo>
                    <a:pt x="525" y="128"/>
                  </a:lnTo>
                  <a:lnTo>
                    <a:pt x="527" y="128"/>
                  </a:lnTo>
                  <a:lnTo>
                    <a:pt x="528" y="129"/>
                  </a:lnTo>
                  <a:lnTo>
                    <a:pt x="529" y="129"/>
                  </a:lnTo>
                  <a:lnTo>
                    <a:pt x="529" y="130"/>
                  </a:lnTo>
                  <a:lnTo>
                    <a:pt x="530" y="130"/>
                  </a:lnTo>
                  <a:lnTo>
                    <a:pt x="531" y="132"/>
                  </a:lnTo>
                  <a:lnTo>
                    <a:pt x="531" y="132"/>
                  </a:lnTo>
                  <a:lnTo>
                    <a:pt x="532" y="133"/>
                  </a:lnTo>
                  <a:lnTo>
                    <a:pt x="533" y="134"/>
                  </a:lnTo>
                  <a:lnTo>
                    <a:pt x="534" y="135"/>
                  </a:lnTo>
                  <a:lnTo>
                    <a:pt x="536" y="137"/>
                  </a:lnTo>
                  <a:lnTo>
                    <a:pt x="536" y="137"/>
                  </a:lnTo>
                  <a:lnTo>
                    <a:pt x="537" y="138"/>
                  </a:lnTo>
                  <a:lnTo>
                    <a:pt x="537" y="139"/>
                  </a:lnTo>
                  <a:lnTo>
                    <a:pt x="538" y="139"/>
                  </a:lnTo>
                  <a:lnTo>
                    <a:pt x="538" y="140"/>
                  </a:lnTo>
                  <a:lnTo>
                    <a:pt x="538" y="142"/>
                  </a:lnTo>
                  <a:lnTo>
                    <a:pt x="538" y="144"/>
                  </a:lnTo>
                  <a:lnTo>
                    <a:pt x="538" y="144"/>
                  </a:lnTo>
                  <a:lnTo>
                    <a:pt x="538" y="145"/>
                  </a:lnTo>
                  <a:lnTo>
                    <a:pt x="538" y="146"/>
                  </a:lnTo>
                  <a:lnTo>
                    <a:pt x="539" y="147"/>
                  </a:lnTo>
                  <a:lnTo>
                    <a:pt x="539" y="148"/>
                  </a:lnTo>
                  <a:lnTo>
                    <a:pt x="539" y="148"/>
                  </a:lnTo>
                  <a:lnTo>
                    <a:pt x="540" y="149"/>
                  </a:lnTo>
                  <a:lnTo>
                    <a:pt x="540" y="149"/>
                  </a:lnTo>
                  <a:lnTo>
                    <a:pt x="541" y="150"/>
                  </a:lnTo>
                  <a:lnTo>
                    <a:pt x="542" y="150"/>
                  </a:lnTo>
                  <a:lnTo>
                    <a:pt x="542" y="151"/>
                  </a:lnTo>
                  <a:lnTo>
                    <a:pt x="543" y="151"/>
                  </a:lnTo>
                  <a:lnTo>
                    <a:pt x="544" y="151"/>
                  </a:lnTo>
                  <a:lnTo>
                    <a:pt x="545" y="152"/>
                  </a:lnTo>
                  <a:lnTo>
                    <a:pt x="545" y="152"/>
                  </a:lnTo>
                  <a:lnTo>
                    <a:pt x="546" y="152"/>
                  </a:lnTo>
                  <a:lnTo>
                    <a:pt x="547" y="152"/>
                  </a:lnTo>
                  <a:lnTo>
                    <a:pt x="548" y="152"/>
                  </a:lnTo>
                  <a:lnTo>
                    <a:pt x="552" y="151"/>
                  </a:lnTo>
                  <a:lnTo>
                    <a:pt x="553" y="151"/>
                  </a:lnTo>
                  <a:lnTo>
                    <a:pt x="554" y="151"/>
                  </a:lnTo>
                  <a:lnTo>
                    <a:pt x="558" y="152"/>
                  </a:lnTo>
                  <a:lnTo>
                    <a:pt x="561" y="152"/>
                  </a:lnTo>
                  <a:lnTo>
                    <a:pt x="564" y="153"/>
                  </a:lnTo>
                  <a:lnTo>
                    <a:pt x="565" y="153"/>
                  </a:lnTo>
                  <a:lnTo>
                    <a:pt x="566" y="153"/>
                  </a:lnTo>
                  <a:lnTo>
                    <a:pt x="567" y="153"/>
                  </a:lnTo>
                  <a:lnTo>
                    <a:pt x="568" y="152"/>
                  </a:lnTo>
                  <a:lnTo>
                    <a:pt x="572" y="151"/>
                  </a:lnTo>
                  <a:lnTo>
                    <a:pt x="574" y="150"/>
                  </a:lnTo>
                  <a:lnTo>
                    <a:pt x="575" y="150"/>
                  </a:lnTo>
                  <a:lnTo>
                    <a:pt x="577" y="149"/>
                  </a:lnTo>
                  <a:lnTo>
                    <a:pt x="577" y="149"/>
                  </a:lnTo>
                  <a:lnTo>
                    <a:pt x="578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80" y="149"/>
                  </a:lnTo>
                  <a:lnTo>
                    <a:pt x="581" y="149"/>
                  </a:lnTo>
                  <a:lnTo>
                    <a:pt x="581" y="150"/>
                  </a:lnTo>
                  <a:lnTo>
                    <a:pt x="582" y="151"/>
                  </a:lnTo>
                  <a:lnTo>
                    <a:pt x="584" y="152"/>
                  </a:lnTo>
                  <a:lnTo>
                    <a:pt x="584" y="153"/>
                  </a:lnTo>
                  <a:lnTo>
                    <a:pt x="585" y="153"/>
                  </a:lnTo>
                  <a:lnTo>
                    <a:pt x="586" y="154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7" y="156"/>
                  </a:lnTo>
                  <a:lnTo>
                    <a:pt x="587" y="158"/>
                  </a:lnTo>
                  <a:lnTo>
                    <a:pt x="587" y="158"/>
                  </a:lnTo>
                  <a:lnTo>
                    <a:pt x="587" y="160"/>
                  </a:lnTo>
                  <a:lnTo>
                    <a:pt x="587" y="162"/>
                  </a:lnTo>
                  <a:lnTo>
                    <a:pt x="588" y="165"/>
                  </a:lnTo>
                  <a:lnTo>
                    <a:pt x="588" y="167"/>
                  </a:lnTo>
                  <a:lnTo>
                    <a:pt x="587" y="168"/>
                  </a:lnTo>
                  <a:lnTo>
                    <a:pt x="587" y="171"/>
                  </a:lnTo>
                  <a:lnTo>
                    <a:pt x="587" y="172"/>
                  </a:lnTo>
                  <a:lnTo>
                    <a:pt x="587" y="173"/>
                  </a:lnTo>
                  <a:lnTo>
                    <a:pt x="587" y="174"/>
                  </a:lnTo>
                  <a:lnTo>
                    <a:pt x="587" y="176"/>
                  </a:lnTo>
                  <a:lnTo>
                    <a:pt x="587" y="178"/>
                  </a:lnTo>
                  <a:lnTo>
                    <a:pt x="587" y="179"/>
                  </a:lnTo>
                  <a:lnTo>
                    <a:pt x="587" y="179"/>
                  </a:lnTo>
                  <a:lnTo>
                    <a:pt x="587" y="180"/>
                  </a:lnTo>
                  <a:lnTo>
                    <a:pt x="588" y="182"/>
                  </a:lnTo>
                  <a:lnTo>
                    <a:pt x="589" y="183"/>
                  </a:lnTo>
                  <a:lnTo>
                    <a:pt x="591" y="185"/>
                  </a:lnTo>
                  <a:lnTo>
                    <a:pt x="591" y="186"/>
                  </a:lnTo>
                  <a:lnTo>
                    <a:pt x="592" y="188"/>
                  </a:lnTo>
                  <a:lnTo>
                    <a:pt x="592" y="189"/>
                  </a:lnTo>
                  <a:lnTo>
                    <a:pt x="593" y="191"/>
                  </a:lnTo>
                  <a:lnTo>
                    <a:pt x="593" y="191"/>
                  </a:lnTo>
                  <a:lnTo>
                    <a:pt x="593" y="192"/>
                  </a:lnTo>
                  <a:lnTo>
                    <a:pt x="593" y="192"/>
                  </a:lnTo>
                  <a:lnTo>
                    <a:pt x="593" y="193"/>
                  </a:lnTo>
                  <a:lnTo>
                    <a:pt x="593" y="194"/>
                  </a:lnTo>
                  <a:lnTo>
                    <a:pt x="592" y="195"/>
                  </a:lnTo>
                  <a:lnTo>
                    <a:pt x="592" y="196"/>
                  </a:lnTo>
                  <a:lnTo>
                    <a:pt x="591" y="198"/>
                  </a:lnTo>
                  <a:lnTo>
                    <a:pt x="591" y="199"/>
                  </a:lnTo>
                  <a:lnTo>
                    <a:pt x="590" y="200"/>
                  </a:lnTo>
                  <a:lnTo>
                    <a:pt x="589" y="202"/>
                  </a:lnTo>
                  <a:lnTo>
                    <a:pt x="588" y="203"/>
                  </a:lnTo>
                  <a:lnTo>
                    <a:pt x="587" y="204"/>
                  </a:lnTo>
                  <a:lnTo>
                    <a:pt x="586" y="206"/>
                  </a:lnTo>
                  <a:lnTo>
                    <a:pt x="585" y="207"/>
                  </a:lnTo>
                  <a:lnTo>
                    <a:pt x="584" y="208"/>
                  </a:lnTo>
                  <a:lnTo>
                    <a:pt x="584" y="209"/>
                  </a:lnTo>
                  <a:lnTo>
                    <a:pt x="583" y="210"/>
                  </a:lnTo>
                  <a:lnTo>
                    <a:pt x="583" y="210"/>
                  </a:lnTo>
                  <a:lnTo>
                    <a:pt x="583" y="211"/>
                  </a:lnTo>
                  <a:lnTo>
                    <a:pt x="584" y="212"/>
                  </a:lnTo>
                  <a:lnTo>
                    <a:pt x="584" y="213"/>
                  </a:lnTo>
                  <a:lnTo>
                    <a:pt x="584" y="214"/>
                  </a:lnTo>
                  <a:lnTo>
                    <a:pt x="584" y="214"/>
                  </a:lnTo>
                  <a:lnTo>
                    <a:pt x="583" y="217"/>
                  </a:lnTo>
                  <a:lnTo>
                    <a:pt x="583" y="217"/>
                  </a:lnTo>
                  <a:lnTo>
                    <a:pt x="583" y="217"/>
                  </a:lnTo>
                  <a:lnTo>
                    <a:pt x="583" y="218"/>
                  </a:lnTo>
                  <a:lnTo>
                    <a:pt x="583" y="218"/>
                  </a:lnTo>
                  <a:lnTo>
                    <a:pt x="584" y="218"/>
                  </a:lnTo>
                  <a:lnTo>
                    <a:pt x="585" y="219"/>
                  </a:lnTo>
                  <a:lnTo>
                    <a:pt x="588" y="220"/>
                  </a:lnTo>
                  <a:lnTo>
                    <a:pt x="592" y="221"/>
                  </a:lnTo>
                  <a:lnTo>
                    <a:pt x="593" y="221"/>
                  </a:lnTo>
                  <a:lnTo>
                    <a:pt x="594" y="221"/>
                  </a:lnTo>
                  <a:lnTo>
                    <a:pt x="596" y="222"/>
                  </a:lnTo>
                  <a:lnTo>
                    <a:pt x="597" y="222"/>
                  </a:lnTo>
                  <a:lnTo>
                    <a:pt x="598" y="222"/>
                  </a:lnTo>
                  <a:lnTo>
                    <a:pt x="599" y="223"/>
                  </a:lnTo>
                  <a:lnTo>
                    <a:pt x="600" y="223"/>
                  </a:lnTo>
                  <a:lnTo>
                    <a:pt x="602" y="225"/>
                  </a:lnTo>
                  <a:lnTo>
                    <a:pt x="603" y="226"/>
                  </a:lnTo>
                  <a:lnTo>
                    <a:pt x="605" y="226"/>
                  </a:lnTo>
                  <a:lnTo>
                    <a:pt x="605" y="227"/>
                  </a:lnTo>
                  <a:lnTo>
                    <a:pt x="605" y="227"/>
                  </a:lnTo>
                  <a:lnTo>
                    <a:pt x="606" y="228"/>
                  </a:lnTo>
                  <a:lnTo>
                    <a:pt x="606" y="228"/>
                  </a:lnTo>
                  <a:lnTo>
                    <a:pt x="606" y="229"/>
                  </a:lnTo>
                  <a:lnTo>
                    <a:pt x="606" y="229"/>
                  </a:lnTo>
                  <a:lnTo>
                    <a:pt x="606" y="230"/>
                  </a:lnTo>
                  <a:lnTo>
                    <a:pt x="606" y="231"/>
                  </a:lnTo>
                  <a:lnTo>
                    <a:pt x="606" y="231"/>
                  </a:lnTo>
                  <a:lnTo>
                    <a:pt x="606" y="233"/>
                  </a:lnTo>
                  <a:lnTo>
                    <a:pt x="606" y="234"/>
                  </a:lnTo>
                  <a:lnTo>
                    <a:pt x="606" y="235"/>
                  </a:lnTo>
                  <a:lnTo>
                    <a:pt x="605" y="235"/>
                  </a:lnTo>
                  <a:lnTo>
                    <a:pt x="605" y="236"/>
                  </a:lnTo>
                  <a:lnTo>
                    <a:pt x="605" y="236"/>
                  </a:lnTo>
                  <a:lnTo>
                    <a:pt x="604" y="236"/>
                  </a:lnTo>
                  <a:lnTo>
                    <a:pt x="603" y="236"/>
                  </a:lnTo>
                  <a:lnTo>
                    <a:pt x="603" y="237"/>
                  </a:lnTo>
                  <a:lnTo>
                    <a:pt x="602" y="237"/>
                  </a:lnTo>
                  <a:lnTo>
                    <a:pt x="600" y="237"/>
                  </a:lnTo>
                  <a:lnTo>
                    <a:pt x="599" y="238"/>
                  </a:lnTo>
                  <a:lnTo>
                    <a:pt x="599" y="238"/>
                  </a:lnTo>
                  <a:lnTo>
                    <a:pt x="598" y="238"/>
                  </a:lnTo>
                  <a:lnTo>
                    <a:pt x="598" y="239"/>
                  </a:lnTo>
                  <a:lnTo>
                    <a:pt x="597" y="239"/>
                  </a:lnTo>
                  <a:lnTo>
                    <a:pt x="597" y="239"/>
                  </a:lnTo>
                  <a:lnTo>
                    <a:pt x="597" y="240"/>
                  </a:lnTo>
                  <a:lnTo>
                    <a:pt x="597" y="240"/>
                  </a:lnTo>
                  <a:lnTo>
                    <a:pt x="597" y="241"/>
                  </a:lnTo>
                  <a:lnTo>
                    <a:pt x="597" y="241"/>
                  </a:lnTo>
                  <a:lnTo>
                    <a:pt x="597" y="241"/>
                  </a:lnTo>
                  <a:lnTo>
                    <a:pt x="598" y="242"/>
                  </a:lnTo>
                  <a:lnTo>
                    <a:pt x="599" y="243"/>
                  </a:lnTo>
                  <a:lnTo>
                    <a:pt x="599" y="243"/>
                  </a:lnTo>
                  <a:lnTo>
                    <a:pt x="599" y="244"/>
                  </a:lnTo>
                  <a:lnTo>
                    <a:pt x="599" y="244"/>
                  </a:lnTo>
                  <a:lnTo>
                    <a:pt x="599" y="245"/>
                  </a:lnTo>
                  <a:lnTo>
                    <a:pt x="599" y="245"/>
                  </a:lnTo>
                  <a:lnTo>
                    <a:pt x="598" y="246"/>
                  </a:lnTo>
                  <a:lnTo>
                    <a:pt x="598" y="247"/>
                  </a:lnTo>
                  <a:lnTo>
                    <a:pt x="598" y="247"/>
                  </a:lnTo>
                  <a:lnTo>
                    <a:pt x="598" y="249"/>
                  </a:lnTo>
                  <a:lnTo>
                    <a:pt x="597" y="251"/>
                  </a:lnTo>
                  <a:lnTo>
                    <a:pt x="597" y="252"/>
                  </a:lnTo>
                  <a:lnTo>
                    <a:pt x="597" y="253"/>
                  </a:lnTo>
                  <a:lnTo>
                    <a:pt x="597" y="254"/>
                  </a:lnTo>
                  <a:lnTo>
                    <a:pt x="596" y="254"/>
                  </a:lnTo>
                  <a:lnTo>
                    <a:pt x="596" y="255"/>
                  </a:lnTo>
                  <a:lnTo>
                    <a:pt x="596" y="255"/>
                  </a:lnTo>
                  <a:lnTo>
                    <a:pt x="595" y="256"/>
                  </a:lnTo>
                  <a:lnTo>
                    <a:pt x="594" y="256"/>
                  </a:lnTo>
                  <a:lnTo>
                    <a:pt x="592" y="258"/>
                  </a:lnTo>
                  <a:lnTo>
                    <a:pt x="591" y="259"/>
                  </a:lnTo>
                  <a:lnTo>
                    <a:pt x="591" y="259"/>
                  </a:lnTo>
                  <a:lnTo>
                    <a:pt x="591" y="259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1"/>
                  </a:lnTo>
                  <a:lnTo>
                    <a:pt x="592" y="262"/>
                  </a:lnTo>
                  <a:lnTo>
                    <a:pt x="592" y="262"/>
                  </a:lnTo>
                  <a:lnTo>
                    <a:pt x="593" y="263"/>
                  </a:lnTo>
                  <a:lnTo>
                    <a:pt x="593" y="263"/>
                  </a:lnTo>
                  <a:lnTo>
                    <a:pt x="592" y="263"/>
                  </a:lnTo>
                  <a:lnTo>
                    <a:pt x="592" y="263"/>
                  </a:lnTo>
                  <a:lnTo>
                    <a:pt x="592" y="264"/>
                  </a:lnTo>
                  <a:lnTo>
                    <a:pt x="591" y="264"/>
                  </a:lnTo>
                  <a:lnTo>
                    <a:pt x="589" y="265"/>
                  </a:lnTo>
                  <a:lnTo>
                    <a:pt x="589" y="265"/>
                  </a:lnTo>
                  <a:lnTo>
                    <a:pt x="588" y="265"/>
                  </a:lnTo>
                  <a:lnTo>
                    <a:pt x="588" y="266"/>
                  </a:lnTo>
                  <a:lnTo>
                    <a:pt x="587" y="266"/>
                  </a:lnTo>
                  <a:lnTo>
                    <a:pt x="587" y="267"/>
                  </a:lnTo>
                  <a:lnTo>
                    <a:pt x="587" y="267"/>
                  </a:lnTo>
                  <a:lnTo>
                    <a:pt x="587" y="267"/>
                  </a:lnTo>
                  <a:lnTo>
                    <a:pt x="587" y="268"/>
                  </a:lnTo>
                  <a:lnTo>
                    <a:pt x="587" y="269"/>
                  </a:lnTo>
                  <a:lnTo>
                    <a:pt x="587" y="269"/>
                  </a:lnTo>
                  <a:lnTo>
                    <a:pt x="587" y="270"/>
                  </a:lnTo>
                  <a:lnTo>
                    <a:pt x="588" y="271"/>
                  </a:lnTo>
                  <a:lnTo>
                    <a:pt x="588" y="272"/>
                  </a:lnTo>
                  <a:lnTo>
                    <a:pt x="589" y="272"/>
                  </a:lnTo>
                  <a:lnTo>
                    <a:pt x="590" y="273"/>
                  </a:lnTo>
                  <a:lnTo>
                    <a:pt x="591" y="274"/>
                  </a:lnTo>
                  <a:lnTo>
                    <a:pt x="592" y="274"/>
                  </a:lnTo>
                  <a:lnTo>
                    <a:pt x="593" y="275"/>
                  </a:lnTo>
                  <a:lnTo>
                    <a:pt x="594" y="275"/>
                  </a:lnTo>
                  <a:lnTo>
                    <a:pt x="595" y="276"/>
                  </a:lnTo>
                  <a:lnTo>
                    <a:pt x="598" y="276"/>
                  </a:lnTo>
                  <a:lnTo>
                    <a:pt x="598" y="277"/>
                  </a:lnTo>
                  <a:lnTo>
                    <a:pt x="599" y="277"/>
                  </a:lnTo>
                  <a:lnTo>
                    <a:pt x="601" y="278"/>
                  </a:lnTo>
                  <a:lnTo>
                    <a:pt x="601" y="278"/>
                  </a:lnTo>
                  <a:lnTo>
                    <a:pt x="602" y="279"/>
                  </a:lnTo>
                  <a:lnTo>
                    <a:pt x="603" y="279"/>
                  </a:lnTo>
                  <a:lnTo>
                    <a:pt x="603" y="280"/>
                  </a:lnTo>
                  <a:lnTo>
                    <a:pt x="604" y="280"/>
                  </a:lnTo>
                  <a:lnTo>
                    <a:pt x="604" y="280"/>
                  </a:lnTo>
                  <a:lnTo>
                    <a:pt x="605" y="281"/>
                  </a:lnTo>
                  <a:lnTo>
                    <a:pt x="607" y="281"/>
                  </a:lnTo>
                  <a:lnTo>
                    <a:pt x="608" y="282"/>
                  </a:lnTo>
                  <a:lnTo>
                    <a:pt x="610" y="282"/>
                  </a:lnTo>
                  <a:lnTo>
                    <a:pt x="610" y="282"/>
                  </a:lnTo>
                  <a:lnTo>
                    <a:pt x="611" y="282"/>
                  </a:lnTo>
                  <a:lnTo>
                    <a:pt x="611" y="282"/>
                  </a:lnTo>
                  <a:lnTo>
                    <a:pt x="611" y="283"/>
                  </a:lnTo>
                  <a:lnTo>
                    <a:pt x="612" y="284"/>
                  </a:lnTo>
                  <a:lnTo>
                    <a:pt x="613" y="284"/>
                  </a:lnTo>
                  <a:lnTo>
                    <a:pt x="613" y="284"/>
                  </a:lnTo>
                  <a:lnTo>
                    <a:pt x="614" y="285"/>
                  </a:lnTo>
                  <a:lnTo>
                    <a:pt x="615" y="285"/>
                  </a:lnTo>
                  <a:lnTo>
                    <a:pt x="615" y="285"/>
                  </a:lnTo>
                  <a:lnTo>
                    <a:pt x="615" y="285"/>
                  </a:lnTo>
                  <a:lnTo>
                    <a:pt x="615" y="286"/>
                  </a:lnTo>
                  <a:lnTo>
                    <a:pt x="616" y="286"/>
                  </a:lnTo>
                  <a:lnTo>
                    <a:pt x="616" y="287"/>
                  </a:lnTo>
                  <a:lnTo>
                    <a:pt x="616" y="290"/>
                  </a:lnTo>
                  <a:lnTo>
                    <a:pt x="616" y="290"/>
                  </a:lnTo>
                  <a:lnTo>
                    <a:pt x="616" y="291"/>
                  </a:lnTo>
                  <a:lnTo>
                    <a:pt x="616" y="291"/>
                  </a:lnTo>
                  <a:lnTo>
                    <a:pt x="616" y="292"/>
                  </a:lnTo>
                  <a:lnTo>
                    <a:pt x="617" y="293"/>
                  </a:lnTo>
                  <a:lnTo>
                    <a:pt x="617" y="293"/>
                  </a:lnTo>
                  <a:lnTo>
                    <a:pt x="618" y="294"/>
                  </a:lnTo>
                  <a:lnTo>
                    <a:pt x="620" y="295"/>
                  </a:lnTo>
                  <a:lnTo>
                    <a:pt x="621" y="296"/>
                  </a:lnTo>
                  <a:lnTo>
                    <a:pt x="622" y="297"/>
                  </a:lnTo>
                  <a:lnTo>
                    <a:pt x="624" y="298"/>
                  </a:lnTo>
                  <a:lnTo>
                    <a:pt x="625" y="299"/>
                  </a:lnTo>
                  <a:lnTo>
                    <a:pt x="628" y="300"/>
                  </a:lnTo>
                  <a:lnTo>
                    <a:pt x="629" y="301"/>
                  </a:lnTo>
                  <a:lnTo>
                    <a:pt x="630" y="301"/>
                  </a:lnTo>
                  <a:lnTo>
                    <a:pt x="631" y="302"/>
                  </a:lnTo>
                  <a:lnTo>
                    <a:pt x="632" y="303"/>
                  </a:lnTo>
                  <a:lnTo>
                    <a:pt x="632" y="304"/>
                  </a:lnTo>
                  <a:lnTo>
                    <a:pt x="633" y="304"/>
                  </a:lnTo>
                  <a:lnTo>
                    <a:pt x="633" y="305"/>
                  </a:lnTo>
                  <a:lnTo>
                    <a:pt x="633" y="306"/>
                  </a:lnTo>
                  <a:lnTo>
                    <a:pt x="633" y="307"/>
                  </a:lnTo>
                  <a:lnTo>
                    <a:pt x="633" y="307"/>
                  </a:lnTo>
                  <a:lnTo>
                    <a:pt x="633" y="309"/>
                  </a:lnTo>
                  <a:lnTo>
                    <a:pt x="632" y="311"/>
                  </a:lnTo>
                  <a:lnTo>
                    <a:pt x="632" y="312"/>
                  </a:lnTo>
                  <a:lnTo>
                    <a:pt x="632" y="312"/>
                  </a:lnTo>
                  <a:lnTo>
                    <a:pt x="632" y="313"/>
                  </a:lnTo>
                  <a:lnTo>
                    <a:pt x="632" y="314"/>
                  </a:lnTo>
                  <a:lnTo>
                    <a:pt x="632" y="314"/>
                  </a:lnTo>
                  <a:lnTo>
                    <a:pt x="633" y="317"/>
                  </a:lnTo>
                  <a:lnTo>
                    <a:pt x="633" y="318"/>
                  </a:lnTo>
                  <a:lnTo>
                    <a:pt x="633" y="319"/>
                  </a:lnTo>
                  <a:lnTo>
                    <a:pt x="633" y="320"/>
                  </a:lnTo>
                  <a:lnTo>
                    <a:pt x="633" y="321"/>
                  </a:lnTo>
                  <a:lnTo>
                    <a:pt x="633" y="322"/>
                  </a:lnTo>
                  <a:lnTo>
                    <a:pt x="632" y="324"/>
                  </a:lnTo>
                  <a:lnTo>
                    <a:pt x="631" y="325"/>
                  </a:lnTo>
                  <a:lnTo>
                    <a:pt x="630" y="329"/>
                  </a:lnTo>
                  <a:lnTo>
                    <a:pt x="629" y="330"/>
                  </a:lnTo>
                  <a:lnTo>
                    <a:pt x="629" y="331"/>
                  </a:lnTo>
                  <a:lnTo>
                    <a:pt x="627" y="333"/>
                  </a:lnTo>
                  <a:lnTo>
                    <a:pt x="627" y="333"/>
                  </a:lnTo>
                  <a:lnTo>
                    <a:pt x="626" y="334"/>
                  </a:lnTo>
                  <a:lnTo>
                    <a:pt x="626" y="335"/>
                  </a:lnTo>
                  <a:lnTo>
                    <a:pt x="626" y="336"/>
                  </a:lnTo>
                  <a:lnTo>
                    <a:pt x="626" y="336"/>
                  </a:lnTo>
                  <a:lnTo>
                    <a:pt x="626" y="340"/>
                  </a:lnTo>
                  <a:lnTo>
                    <a:pt x="625" y="343"/>
                  </a:lnTo>
                  <a:lnTo>
                    <a:pt x="625" y="347"/>
                  </a:lnTo>
                  <a:lnTo>
                    <a:pt x="624" y="349"/>
                  </a:lnTo>
                  <a:lnTo>
                    <a:pt x="624" y="349"/>
                  </a:lnTo>
                  <a:lnTo>
                    <a:pt x="624" y="350"/>
                  </a:lnTo>
                  <a:lnTo>
                    <a:pt x="624" y="349"/>
                  </a:lnTo>
                  <a:lnTo>
                    <a:pt x="624" y="350"/>
                  </a:lnTo>
                  <a:lnTo>
                    <a:pt x="624" y="350"/>
                  </a:lnTo>
                  <a:lnTo>
                    <a:pt x="624" y="351"/>
                  </a:lnTo>
                  <a:lnTo>
                    <a:pt x="623" y="351"/>
                  </a:lnTo>
                  <a:lnTo>
                    <a:pt x="623" y="352"/>
                  </a:lnTo>
                  <a:lnTo>
                    <a:pt x="622" y="353"/>
                  </a:lnTo>
                  <a:lnTo>
                    <a:pt x="619" y="354"/>
                  </a:lnTo>
                  <a:lnTo>
                    <a:pt x="617" y="356"/>
                  </a:lnTo>
                  <a:lnTo>
                    <a:pt x="616" y="357"/>
                  </a:lnTo>
                  <a:lnTo>
                    <a:pt x="616" y="357"/>
                  </a:lnTo>
                  <a:lnTo>
                    <a:pt x="616" y="357"/>
                  </a:lnTo>
                  <a:lnTo>
                    <a:pt x="615" y="358"/>
                  </a:lnTo>
                  <a:lnTo>
                    <a:pt x="614" y="358"/>
                  </a:lnTo>
                  <a:lnTo>
                    <a:pt x="613" y="358"/>
                  </a:lnTo>
                  <a:lnTo>
                    <a:pt x="611" y="358"/>
                  </a:lnTo>
                  <a:lnTo>
                    <a:pt x="610" y="358"/>
                  </a:lnTo>
                  <a:lnTo>
                    <a:pt x="609" y="359"/>
                  </a:lnTo>
                  <a:lnTo>
                    <a:pt x="608" y="359"/>
                  </a:lnTo>
                  <a:lnTo>
                    <a:pt x="607" y="359"/>
                  </a:lnTo>
                  <a:lnTo>
                    <a:pt x="607" y="360"/>
                  </a:lnTo>
                  <a:lnTo>
                    <a:pt x="606" y="360"/>
                  </a:lnTo>
                  <a:lnTo>
                    <a:pt x="606" y="361"/>
                  </a:lnTo>
                  <a:lnTo>
                    <a:pt x="604" y="362"/>
                  </a:lnTo>
                  <a:lnTo>
                    <a:pt x="603" y="363"/>
                  </a:lnTo>
                  <a:lnTo>
                    <a:pt x="603" y="364"/>
                  </a:lnTo>
                  <a:lnTo>
                    <a:pt x="603" y="364"/>
                  </a:lnTo>
                  <a:lnTo>
                    <a:pt x="602" y="365"/>
                  </a:lnTo>
                  <a:lnTo>
                    <a:pt x="602" y="365"/>
                  </a:lnTo>
                  <a:lnTo>
                    <a:pt x="602" y="366"/>
                  </a:lnTo>
                  <a:lnTo>
                    <a:pt x="602" y="367"/>
                  </a:lnTo>
                  <a:lnTo>
                    <a:pt x="602" y="367"/>
                  </a:lnTo>
                  <a:lnTo>
                    <a:pt x="602" y="368"/>
                  </a:lnTo>
                  <a:lnTo>
                    <a:pt x="602" y="369"/>
                  </a:lnTo>
                  <a:lnTo>
                    <a:pt x="602" y="369"/>
                  </a:lnTo>
                  <a:lnTo>
                    <a:pt x="603" y="372"/>
                  </a:lnTo>
                  <a:lnTo>
                    <a:pt x="604" y="373"/>
                  </a:lnTo>
                  <a:lnTo>
                    <a:pt x="604" y="374"/>
                  </a:lnTo>
                  <a:lnTo>
                    <a:pt x="604" y="375"/>
                  </a:lnTo>
                  <a:lnTo>
                    <a:pt x="604" y="375"/>
                  </a:lnTo>
                  <a:lnTo>
                    <a:pt x="604" y="376"/>
                  </a:lnTo>
                  <a:lnTo>
                    <a:pt x="604" y="377"/>
                  </a:lnTo>
                  <a:lnTo>
                    <a:pt x="604" y="377"/>
                  </a:lnTo>
                  <a:lnTo>
                    <a:pt x="604" y="377"/>
                  </a:lnTo>
                  <a:lnTo>
                    <a:pt x="604" y="378"/>
                  </a:lnTo>
                  <a:lnTo>
                    <a:pt x="604" y="378"/>
                  </a:lnTo>
                  <a:lnTo>
                    <a:pt x="603" y="379"/>
                  </a:lnTo>
                  <a:lnTo>
                    <a:pt x="603" y="379"/>
                  </a:lnTo>
                  <a:lnTo>
                    <a:pt x="602" y="379"/>
                  </a:lnTo>
                  <a:lnTo>
                    <a:pt x="602" y="380"/>
                  </a:lnTo>
                  <a:lnTo>
                    <a:pt x="601" y="380"/>
                  </a:lnTo>
                  <a:lnTo>
                    <a:pt x="600" y="380"/>
                  </a:lnTo>
                  <a:lnTo>
                    <a:pt x="599" y="380"/>
                  </a:lnTo>
                  <a:lnTo>
                    <a:pt x="598" y="380"/>
                  </a:lnTo>
                  <a:lnTo>
                    <a:pt x="597" y="380"/>
                  </a:lnTo>
                  <a:lnTo>
                    <a:pt x="594" y="380"/>
                  </a:lnTo>
                  <a:lnTo>
                    <a:pt x="592" y="380"/>
                  </a:lnTo>
                  <a:lnTo>
                    <a:pt x="592" y="380"/>
                  </a:lnTo>
                  <a:lnTo>
                    <a:pt x="591" y="380"/>
                  </a:lnTo>
                  <a:lnTo>
                    <a:pt x="590" y="381"/>
                  </a:lnTo>
                  <a:lnTo>
                    <a:pt x="590" y="381"/>
                  </a:lnTo>
                  <a:lnTo>
                    <a:pt x="589" y="382"/>
                  </a:lnTo>
                  <a:lnTo>
                    <a:pt x="588" y="382"/>
                  </a:lnTo>
                  <a:lnTo>
                    <a:pt x="587" y="383"/>
                  </a:lnTo>
                  <a:lnTo>
                    <a:pt x="586" y="386"/>
                  </a:lnTo>
                  <a:lnTo>
                    <a:pt x="585" y="387"/>
                  </a:lnTo>
                  <a:lnTo>
                    <a:pt x="584" y="387"/>
                  </a:lnTo>
                  <a:lnTo>
                    <a:pt x="584" y="388"/>
                  </a:lnTo>
                  <a:lnTo>
                    <a:pt x="582" y="389"/>
                  </a:lnTo>
                  <a:lnTo>
                    <a:pt x="581" y="390"/>
                  </a:lnTo>
                  <a:lnTo>
                    <a:pt x="580" y="390"/>
                  </a:lnTo>
                  <a:lnTo>
                    <a:pt x="578" y="391"/>
                  </a:lnTo>
                  <a:lnTo>
                    <a:pt x="576" y="391"/>
                  </a:lnTo>
                  <a:lnTo>
                    <a:pt x="575" y="391"/>
                  </a:lnTo>
                  <a:lnTo>
                    <a:pt x="573" y="392"/>
                  </a:lnTo>
                  <a:lnTo>
                    <a:pt x="570" y="393"/>
                  </a:lnTo>
                  <a:lnTo>
                    <a:pt x="568" y="393"/>
                  </a:lnTo>
                  <a:lnTo>
                    <a:pt x="566" y="394"/>
                  </a:lnTo>
                  <a:lnTo>
                    <a:pt x="565" y="394"/>
                  </a:lnTo>
                  <a:lnTo>
                    <a:pt x="563" y="395"/>
                  </a:lnTo>
                  <a:lnTo>
                    <a:pt x="562" y="396"/>
                  </a:lnTo>
                  <a:lnTo>
                    <a:pt x="559" y="397"/>
                  </a:lnTo>
                  <a:lnTo>
                    <a:pt x="558" y="398"/>
                  </a:lnTo>
                  <a:lnTo>
                    <a:pt x="557" y="398"/>
                  </a:lnTo>
                  <a:lnTo>
                    <a:pt x="556" y="399"/>
                  </a:lnTo>
                  <a:lnTo>
                    <a:pt x="555" y="399"/>
                  </a:lnTo>
                  <a:lnTo>
                    <a:pt x="555" y="399"/>
                  </a:lnTo>
                  <a:lnTo>
                    <a:pt x="554" y="399"/>
                  </a:lnTo>
                  <a:lnTo>
                    <a:pt x="553" y="399"/>
                  </a:lnTo>
                  <a:lnTo>
                    <a:pt x="553" y="398"/>
                  </a:lnTo>
                  <a:lnTo>
                    <a:pt x="552" y="398"/>
                  </a:lnTo>
                  <a:lnTo>
                    <a:pt x="552" y="398"/>
                  </a:lnTo>
                  <a:lnTo>
                    <a:pt x="551" y="398"/>
                  </a:lnTo>
                  <a:lnTo>
                    <a:pt x="550" y="397"/>
                  </a:lnTo>
                  <a:lnTo>
                    <a:pt x="549" y="397"/>
                  </a:lnTo>
                  <a:lnTo>
                    <a:pt x="549" y="397"/>
                  </a:lnTo>
                  <a:lnTo>
                    <a:pt x="548" y="397"/>
                  </a:lnTo>
                  <a:lnTo>
                    <a:pt x="547" y="398"/>
                  </a:lnTo>
                  <a:lnTo>
                    <a:pt x="546" y="398"/>
                  </a:lnTo>
                  <a:lnTo>
                    <a:pt x="546" y="398"/>
                  </a:lnTo>
                  <a:lnTo>
                    <a:pt x="545" y="399"/>
                  </a:lnTo>
                  <a:lnTo>
                    <a:pt x="544" y="399"/>
                  </a:lnTo>
                  <a:lnTo>
                    <a:pt x="544" y="400"/>
                  </a:lnTo>
                  <a:lnTo>
                    <a:pt x="543" y="400"/>
                  </a:lnTo>
                  <a:lnTo>
                    <a:pt x="543" y="401"/>
                  </a:lnTo>
                  <a:lnTo>
                    <a:pt x="543" y="401"/>
                  </a:lnTo>
                  <a:lnTo>
                    <a:pt x="543" y="402"/>
                  </a:lnTo>
                  <a:lnTo>
                    <a:pt x="542" y="404"/>
                  </a:lnTo>
                  <a:lnTo>
                    <a:pt x="542" y="405"/>
                  </a:lnTo>
                  <a:lnTo>
                    <a:pt x="541" y="407"/>
                  </a:lnTo>
                  <a:lnTo>
                    <a:pt x="539" y="410"/>
                  </a:lnTo>
                  <a:lnTo>
                    <a:pt x="539" y="411"/>
                  </a:lnTo>
                  <a:lnTo>
                    <a:pt x="539" y="412"/>
                  </a:lnTo>
                  <a:lnTo>
                    <a:pt x="538" y="412"/>
                  </a:lnTo>
                  <a:lnTo>
                    <a:pt x="532" y="419"/>
                  </a:lnTo>
                  <a:lnTo>
                    <a:pt x="532" y="420"/>
                  </a:lnTo>
                  <a:lnTo>
                    <a:pt x="531" y="421"/>
                  </a:lnTo>
                  <a:lnTo>
                    <a:pt x="531" y="422"/>
                  </a:lnTo>
                  <a:lnTo>
                    <a:pt x="530" y="423"/>
                  </a:lnTo>
                  <a:lnTo>
                    <a:pt x="530" y="424"/>
                  </a:lnTo>
                  <a:lnTo>
                    <a:pt x="530" y="425"/>
                  </a:lnTo>
                  <a:lnTo>
                    <a:pt x="530" y="426"/>
                  </a:lnTo>
                  <a:lnTo>
                    <a:pt x="529" y="427"/>
                  </a:lnTo>
                  <a:lnTo>
                    <a:pt x="529" y="428"/>
                  </a:lnTo>
                  <a:lnTo>
                    <a:pt x="529" y="429"/>
                  </a:lnTo>
                  <a:lnTo>
                    <a:pt x="529" y="430"/>
                  </a:lnTo>
                  <a:lnTo>
                    <a:pt x="530" y="432"/>
                  </a:lnTo>
                  <a:lnTo>
                    <a:pt x="530" y="433"/>
                  </a:lnTo>
                  <a:lnTo>
                    <a:pt x="530" y="434"/>
                  </a:lnTo>
                  <a:lnTo>
                    <a:pt x="531" y="435"/>
                  </a:lnTo>
                  <a:lnTo>
                    <a:pt x="531" y="436"/>
                  </a:lnTo>
                  <a:lnTo>
                    <a:pt x="531" y="436"/>
                  </a:lnTo>
                  <a:lnTo>
                    <a:pt x="532" y="437"/>
                  </a:lnTo>
                  <a:lnTo>
                    <a:pt x="533" y="437"/>
                  </a:lnTo>
                  <a:lnTo>
                    <a:pt x="533" y="438"/>
                  </a:lnTo>
                  <a:lnTo>
                    <a:pt x="537" y="440"/>
                  </a:lnTo>
                  <a:lnTo>
                    <a:pt x="539" y="440"/>
                  </a:lnTo>
                  <a:lnTo>
                    <a:pt x="541" y="441"/>
                  </a:lnTo>
                  <a:lnTo>
                    <a:pt x="542" y="442"/>
                  </a:lnTo>
                  <a:lnTo>
                    <a:pt x="543" y="442"/>
                  </a:lnTo>
                  <a:lnTo>
                    <a:pt x="544" y="443"/>
                  </a:lnTo>
                  <a:lnTo>
                    <a:pt x="544" y="443"/>
                  </a:lnTo>
                  <a:lnTo>
                    <a:pt x="545" y="444"/>
                  </a:lnTo>
                  <a:lnTo>
                    <a:pt x="545" y="444"/>
                  </a:lnTo>
                  <a:lnTo>
                    <a:pt x="546" y="445"/>
                  </a:lnTo>
                  <a:lnTo>
                    <a:pt x="547" y="446"/>
                  </a:lnTo>
                  <a:lnTo>
                    <a:pt x="548" y="448"/>
                  </a:lnTo>
                  <a:lnTo>
                    <a:pt x="548" y="449"/>
                  </a:lnTo>
                  <a:lnTo>
                    <a:pt x="549" y="450"/>
                  </a:lnTo>
                  <a:lnTo>
                    <a:pt x="549" y="451"/>
                  </a:lnTo>
                  <a:lnTo>
                    <a:pt x="549" y="451"/>
                  </a:lnTo>
                  <a:lnTo>
                    <a:pt x="549" y="452"/>
                  </a:lnTo>
                  <a:lnTo>
                    <a:pt x="549" y="454"/>
                  </a:lnTo>
                  <a:lnTo>
                    <a:pt x="549" y="455"/>
                  </a:lnTo>
                  <a:lnTo>
                    <a:pt x="549" y="456"/>
                  </a:lnTo>
                  <a:lnTo>
                    <a:pt x="549" y="457"/>
                  </a:lnTo>
                  <a:lnTo>
                    <a:pt x="549" y="457"/>
                  </a:lnTo>
                  <a:lnTo>
                    <a:pt x="548" y="458"/>
                  </a:lnTo>
                  <a:lnTo>
                    <a:pt x="548" y="459"/>
                  </a:lnTo>
                  <a:lnTo>
                    <a:pt x="548" y="460"/>
                  </a:lnTo>
                  <a:lnTo>
                    <a:pt x="547" y="460"/>
                  </a:lnTo>
                  <a:lnTo>
                    <a:pt x="547" y="461"/>
                  </a:lnTo>
                  <a:lnTo>
                    <a:pt x="546" y="461"/>
                  </a:lnTo>
                  <a:lnTo>
                    <a:pt x="544" y="463"/>
                  </a:lnTo>
                  <a:lnTo>
                    <a:pt x="543" y="463"/>
                  </a:lnTo>
                  <a:lnTo>
                    <a:pt x="543" y="464"/>
                  </a:lnTo>
                  <a:lnTo>
                    <a:pt x="542" y="464"/>
                  </a:lnTo>
                  <a:lnTo>
                    <a:pt x="541" y="464"/>
                  </a:lnTo>
                  <a:lnTo>
                    <a:pt x="540" y="464"/>
                  </a:lnTo>
                  <a:lnTo>
                    <a:pt x="539" y="464"/>
                  </a:lnTo>
                  <a:lnTo>
                    <a:pt x="537" y="464"/>
                  </a:lnTo>
                  <a:lnTo>
                    <a:pt x="536" y="464"/>
                  </a:lnTo>
                  <a:lnTo>
                    <a:pt x="534" y="464"/>
                  </a:lnTo>
                  <a:lnTo>
                    <a:pt x="533" y="464"/>
                  </a:lnTo>
                  <a:lnTo>
                    <a:pt x="532" y="464"/>
                  </a:lnTo>
                  <a:lnTo>
                    <a:pt x="532" y="464"/>
                  </a:lnTo>
                  <a:lnTo>
                    <a:pt x="531" y="464"/>
                  </a:lnTo>
                  <a:lnTo>
                    <a:pt x="531" y="464"/>
                  </a:lnTo>
                  <a:lnTo>
                    <a:pt x="530" y="464"/>
                  </a:lnTo>
                  <a:lnTo>
                    <a:pt x="529" y="466"/>
                  </a:lnTo>
                  <a:lnTo>
                    <a:pt x="528" y="466"/>
                  </a:lnTo>
                  <a:lnTo>
                    <a:pt x="528" y="466"/>
                  </a:lnTo>
                  <a:lnTo>
                    <a:pt x="528" y="467"/>
                  </a:lnTo>
                  <a:lnTo>
                    <a:pt x="527" y="467"/>
                  </a:lnTo>
                  <a:lnTo>
                    <a:pt x="526" y="469"/>
                  </a:lnTo>
                  <a:lnTo>
                    <a:pt x="526" y="470"/>
                  </a:lnTo>
                  <a:lnTo>
                    <a:pt x="525" y="471"/>
                  </a:lnTo>
                  <a:lnTo>
                    <a:pt x="525" y="472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3" y="473"/>
                  </a:lnTo>
                  <a:lnTo>
                    <a:pt x="523" y="473"/>
                  </a:lnTo>
                  <a:lnTo>
                    <a:pt x="522" y="473"/>
                  </a:lnTo>
                  <a:lnTo>
                    <a:pt x="521" y="473"/>
                  </a:lnTo>
                  <a:lnTo>
                    <a:pt x="519" y="471"/>
                  </a:lnTo>
                  <a:lnTo>
                    <a:pt x="519" y="471"/>
                  </a:lnTo>
                  <a:lnTo>
                    <a:pt x="518" y="470"/>
                  </a:lnTo>
                  <a:lnTo>
                    <a:pt x="517" y="470"/>
                  </a:lnTo>
                  <a:lnTo>
                    <a:pt x="515" y="470"/>
                  </a:lnTo>
                  <a:lnTo>
                    <a:pt x="514" y="469"/>
                  </a:lnTo>
                  <a:lnTo>
                    <a:pt x="512" y="469"/>
                  </a:lnTo>
                  <a:lnTo>
                    <a:pt x="510" y="468"/>
                  </a:lnTo>
                  <a:lnTo>
                    <a:pt x="510" y="468"/>
                  </a:lnTo>
                  <a:lnTo>
                    <a:pt x="509" y="468"/>
                  </a:lnTo>
                  <a:lnTo>
                    <a:pt x="509" y="468"/>
                  </a:lnTo>
                  <a:lnTo>
                    <a:pt x="508" y="468"/>
                  </a:lnTo>
                  <a:lnTo>
                    <a:pt x="507" y="468"/>
                  </a:lnTo>
                  <a:lnTo>
                    <a:pt x="505" y="469"/>
                  </a:lnTo>
                  <a:lnTo>
                    <a:pt x="502" y="470"/>
                  </a:lnTo>
                  <a:lnTo>
                    <a:pt x="500" y="471"/>
                  </a:lnTo>
                  <a:lnTo>
                    <a:pt x="500" y="471"/>
                  </a:lnTo>
                  <a:lnTo>
                    <a:pt x="498" y="471"/>
                  </a:lnTo>
                  <a:lnTo>
                    <a:pt x="496" y="472"/>
                  </a:lnTo>
                  <a:lnTo>
                    <a:pt x="495" y="472"/>
                  </a:lnTo>
                  <a:lnTo>
                    <a:pt x="494" y="472"/>
                  </a:lnTo>
                  <a:lnTo>
                    <a:pt x="492" y="472"/>
                  </a:lnTo>
                  <a:lnTo>
                    <a:pt x="491" y="472"/>
                  </a:lnTo>
                  <a:lnTo>
                    <a:pt x="487" y="471"/>
                  </a:lnTo>
                  <a:lnTo>
                    <a:pt x="486" y="471"/>
                  </a:lnTo>
                  <a:lnTo>
                    <a:pt x="483" y="471"/>
                  </a:lnTo>
                  <a:lnTo>
                    <a:pt x="482" y="471"/>
                  </a:lnTo>
                  <a:lnTo>
                    <a:pt x="481" y="470"/>
                  </a:lnTo>
                  <a:lnTo>
                    <a:pt x="480" y="470"/>
                  </a:lnTo>
                  <a:lnTo>
                    <a:pt x="476" y="469"/>
                  </a:lnTo>
                  <a:lnTo>
                    <a:pt x="475" y="469"/>
                  </a:lnTo>
                  <a:lnTo>
                    <a:pt x="474" y="469"/>
                  </a:lnTo>
                  <a:lnTo>
                    <a:pt x="474" y="469"/>
                  </a:lnTo>
                  <a:lnTo>
                    <a:pt x="473" y="469"/>
                  </a:lnTo>
                  <a:lnTo>
                    <a:pt x="472" y="469"/>
                  </a:lnTo>
                  <a:lnTo>
                    <a:pt x="471" y="469"/>
                  </a:lnTo>
                  <a:lnTo>
                    <a:pt x="471" y="470"/>
                  </a:lnTo>
                  <a:lnTo>
                    <a:pt x="470" y="470"/>
                  </a:lnTo>
                  <a:lnTo>
                    <a:pt x="470" y="471"/>
                  </a:lnTo>
                  <a:lnTo>
                    <a:pt x="470" y="471"/>
                  </a:lnTo>
                  <a:lnTo>
                    <a:pt x="469" y="472"/>
                  </a:lnTo>
                  <a:lnTo>
                    <a:pt x="469" y="472"/>
                  </a:lnTo>
                  <a:lnTo>
                    <a:pt x="469" y="473"/>
                  </a:lnTo>
                  <a:lnTo>
                    <a:pt x="469" y="473"/>
                  </a:lnTo>
                  <a:lnTo>
                    <a:pt x="469" y="474"/>
                  </a:lnTo>
                  <a:lnTo>
                    <a:pt x="470" y="476"/>
                  </a:lnTo>
                  <a:lnTo>
                    <a:pt x="470" y="477"/>
                  </a:lnTo>
                  <a:lnTo>
                    <a:pt x="470" y="477"/>
                  </a:lnTo>
                  <a:lnTo>
                    <a:pt x="470" y="478"/>
                  </a:lnTo>
                  <a:lnTo>
                    <a:pt x="470" y="478"/>
                  </a:lnTo>
                  <a:lnTo>
                    <a:pt x="470" y="478"/>
                  </a:lnTo>
                  <a:lnTo>
                    <a:pt x="469" y="479"/>
                  </a:lnTo>
                  <a:lnTo>
                    <a:pt x="469" y="479"/>
                  </a:lnTo>
                  <a:lnTo>
                    <a:pt x="468" y="479"/>
                  </a:lnTo>
                  <a:lnTo>
                    <a:pt x="468" y="480"/>
                  </a:lnTo>
                  <a:lnTo>
                    <a:pt x="467" y="480"/>
                  </a:lnTo>
                  <a:lnTo>
                    <a:pt x="466" y="480"/>
                  </a:lnTo>
                  <a:lnTo>
                    <a:pt x="461" y="482"/>
                  </a:lnTo>
                  <a:lnTo>
                    <a:pt x="460" y="482"/>
                  </a:lnTo>
                  <a:lnTo>
                    <a:pt x="460" y="482"/>
                  </a:lnTo>
                  <a:lnTo>
                    <a:pt x="459" y="482"/>
                  </a:lnTo>
                  <a:lnTo>
                    <a:pt x="459" y="483"/>
                  </a:lnTo>
                  <a:lnTo>
                    <a:pt x="459" y="483"/>
                  </a:lnTo>
                  <a:lnTo>
                    <a:pt x="458" y="484"/>
                  </a:lnTo>
                  <a:lnTo>
                    <a:pt x="458" y="484"/>
                  </a:lnTo>
                  <a:lnTo>
                    <a:pt x="458" y="485"/>
                  </a:lnTo>
                  <a:lnTo>
                    <a:pt x="457" y="486"/>
                  </a:lnTo>
                  <a:lnTo>
                    <a:pt x="457" y="487"/>
                  </a:lnTo>
                  <a:lnTo>
                    <a:pt x="457" y="490"/>
                  </a:lnTo>
                  <a:lnTo>
                    <a:pt x="456" y="491"/>
                  </a:lnTo>
                  <a:lnTo>
                    <a:pt x="456" y="492"/>
                  </a:lnTo>
                  <a:lnTo>
                    <a:pt x="455" y="494"/>
                  </a:lnTo>
                  <a:lnTo>
                    <a:pt x="455" y="494"/>
                  </a:lnTo>
                  <a:lnTo>
                    <a:pt x="455" y="494"/>
                  </a:lnTo>
                  <a:lnTo>
                    <a:pt x="454" y="495"/>
                  </a:lnTo>
                  <a:lnTo>
                    <a:pt x="453" y="495"/>
                  </a:lnTo>
                  <a:lnTo>
                    <a:pt x="453" y="495"/>
                  </a:lnTo>
                  <a:lnTo>
                    <a:pt x="452" y="495"/>
                  </a:lnTo>
                  <a:lnTo>
                    <a:pt x="451" y="495"/>
                  </a:lnTo>
                  <a:lnTo>
                    <a:pt x="451" y="495"/>
                  </a:lnTo>
                  <a:lnTo>
                    <a:pt x="450" y="495"/>
                  </a:lnTo>
                  <a:lnTo>
                    <a:pt x="449" y="495"/>
                  </a:lnTo>
                  <a:lnTo>
                    <a:pt x="449" y="495"/>
                  </a:lnTo>
                  <a:lnTo>
                    <a:pt x="447" y="494"/>
                  </a:lnTo>
                  <a:lnTo>
                    <a:pt x="447" y="494"/>
                  </a:lnTo>
                  <a:lnTo>
                    <a:pt x="446" y="494"/>
                  </a:lnTo>
                  <a:lnTo>
                    <a:pt x="445" y="493"/>
                  </a:lnTo>
                  <a:lnTo>
                    <a:pt x="445" y="492"/>
                  </a:lnTo>
                  <a:lnTo>
                    <a:pt x="444" y="492"/>
                  </a:lnTo>
                  <a:lnTo>
                    <a:pt x="443" y="491"/>
                  </a:lnTo>
                  <a:lnTo>
                    <a:pt x="442" y="489"/>
                  </a:lnTo>
                  <a:lnTo>
                    <a:pt x="441" y="487"/>
                  </a:lnTo>
                  <a:lnTo>
                    <a:pt x="440" y="484"/>
                  </a:lnTo>
                  <a:lnTo>
                    <a:pt x="439" y="482"/>
                  </a:lnTo>
                  <a:lnTo>
                    <a:pt x="438" y="481"/>
                  </a:lnTo>
                  <a:lnTo>
                    <a:pt x="438" y="479"/>
                  </a:lnTo>
                  <a:lnTo>
                    <a:pt x="437" y="478"/>
                  </a:lnTo>
                  <a:lnTo>
                    <a:pt x="437" y="478"/>
                  </a:lnTo>
                  <a:lnTo>
                    <a:pt x="437" y="477"/>
                  </a:lnTo>
                  <a:lnTo>
                    <a:pt x="437" y="477"/>
                  </a:lnTo>
                  <a:lnTo>
                    <a:pt x="436" y="477"/>
                  </a:lnTo>
                  <a:lnTo>
                    <a:pt x="436" y="477"/>
                  </a:lnTo>
                  <a:lnTo>
                    <a:pt x="435" y="477"/>
                  </a:lnTo>
                  <a:lnTo>
                    <a:pt x="435" y="477"/>
                  </a:lnTo>
                  <a:lnTo>
                    <a:pt x="434" y="477"/>
                  </a:lnTo>
                  <a:lnTo>
                    <a:pt x="433" y="478"/>
                  </a:lnTo>
                  <a:lnTo>
                    <a:pt x="432" y="478"/>
                  </a:lnTo>
                  <a:lnTo>
                    <a:pt x="431" y="479"/>
                  </a:lnTo>
                  <a:lnTo>
                    <a:pt x="430" y="479"/>
                  </a:lnTo>
                  <a:lnTo>
                    <a:pt x="430" y="479"/>
                  </a:lnTo>
                  <a:lnTo>
                    <a:pt x="429" y="479"/>
                  </a:lnTo>
                  <a:lnTo>
                    <a:pt x="429" y="479"/>
                  </a:lnTo>
                  <a:lnTo>
                    <a:pt x="428" y="479"/>
                  </a:lnTo>
                  <a:lnTo>
                    <a:pt x="428" y="479"/>
                  </a:lnTo>
                  <a:lnTo>
                    <a:pt x="427" y="478"/>
                  </a:lnTo>
                  <a:lnTo>
                    <a:pt x="426" y="477"/>
                  </a:lnTo>
                  <a:lnTo>
                    <a:pt x="425" y="477"/>
                  </a:lnTo>
                  <a:lnTo>
                    <a:pt x="423" y="475"/>
                  </a:lnTo>
                  <a:lnTo>
                    <a:pt x="420" y="473"/>
                  </a:lnTo>
                  <a:lnTo>
                    <a:pt x="419" y="472"/>
                  </a:lnTo>
                  <a:lnTo>
                    <a:pt x="418" y="471"/>
                  </a:lnTo>
                  <a:lnTo>
                    <a:pt x="417" y="471"/>
                  </a:lnTo>
                  <a:lnTo>
                    <a:pt x="416" y="470"/>
                  </a:lnTo>
                  <a:lnTo>
                    <a:pt x="412" y="468"/>
                  </a:lnTo>
                  <a:lnTo>
                    <a:pt x="411" y="467"/>
                  </a:lnTo>
                  <a:lnTo>
                    <a:pt x="410" y="467"/>
                  </a:lnTo>
                  <a:lnTo>
                    <a:pt x="408" y="465"/>
                  </a:lnTo>
                  <a:lnTo>
                    <a:pt x="407" y="465"/>
                  </a:lnTo>
                  <a:lnTo>
                    <a:pt x="406" y="464"/>
                  </a:lnTo>
                  <a:lnTo>
                    <a:pt x="405" y="464"/>
                  </a:lnTo>
                  <a:lnTo>
                    <a:pt x="405" y="464"/>
                  </a:lnTo>
                  <a:lnTo>
                    <a:pt x="405" y="464"/>
                  </a:lnTo>
                  <a:lnTo>
                    <a:pt x="404" y="465"/>
                  </a:lnTo>
                  <a:lnTo>
                    <a:pt x="404" y="465"/>
                  </a:lnTo>
                  <a:lnTo>
                    <a:pt x="402" y="466"/>
                  </a:lnTo>
                  <a:lnTo>
                    <a:pt x="400" y="467"/>
                  </a:lnTo>
                  <a:lnTo>
                    <a:pt x="399" y="468"/>
                  </a:lnTo>
                  <a:lnTo>
                    <a:pt x="399" y="469"/>
                  </a:lnTo>
                  <a:lnTo>
                    <a:pt x="398" y="469"/>
                  </a:lnTo>
                  <a:lnTo>
                    <a:pt x="398" y="471"/>
                  </a:lnTo>
                  <a:lnTo>
                    <a:pt x="397" y="471"/>
                  </a:lnTo>
                  <a:lnTo>
                    <a:pt x="397" y="472"/>
                  </a:lnTo>
                  <a:lnTo>
                    <a:pt x="396" y="473"/>
                  </a:lnTo>
                  <a:lnTo>
                    <a:pt x="395" y="473"/>
                  </a:lnTo>
                  <a:lnTo>
                    <a:pt x="395" y="474"/>
                  </a:lnTo>
                  <a:lnTo>
                    <a:pt x="394" y="474"/>
                  </a:lnTo>
                  <a:lnTo>
                    <a:pt x="394" y="475"/>
                  </a:lnTo>
                  <a:lnTo>
                    <a:pt x="394" y="475"/>
                  </a:lnTo>
                  <a:lnTo>
                    <a:pt x="394" y="477"/>
                  </a:lnTo>
                  <a:lnTo>
                    <a:pt x="394" y="478"/>
                  </a:lnTo>
                  <a:lnTo>
                    <a:pt x="394" y="479"/>
                  </a:lnTo>
                  <a:lnTo>
                    <a:pt x="393" y="481"/>
                  </a:lnTo>
                  <a:lnTo>
                    <a:pt x="393" y="482"/>
                  </a:lnTo>
                  <a:lnTo>
                    <a:pt x="393" y="484"/>
                  </a:lnTo>
                  <a:lnTo>
                    <a:pt x="393" y="484"/>
                  </a:lnTo>
                  <a:lnTo>
                    <a:pt x="393" y="485"/>
                  </a:lnTo>
                  <a:lnTo>
                    <a:pt x="394" y="487"/>
                  </a:lnTo>
                  <a:lnTo>
                    <a:pt x="394" y="489"/>
                  </a:lnTo>
                  <a:lnTo>
                    <a:pt x="395" y="491"/>
                  </a:lnTo>
                  <a:lnTo>
                    <a:pt x="395" y="492"/>
                  </a:lnTo>
                  <a:lnTo>
                    <a:pt x="395" y="492"/>
                  </a:lnTo>
                  <a:lnTo>
                    <a:pt x="395" y="493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3" y="495"/>
                  </a:lnTo>
                  <a:lnTo>
                    <a:pt x="393" y="495"/>
                  </a:lnTo>
                  <a:lnTo>
                    <a:pt x="391" y="496"/>
                  </a:lnTo>
                  <a:lnTo>
                    <a:pt x="390" y="496"/>
                  </a:lnTo>
                  <a:lnTo>
                    <a:pt x="389" y="497"/>
                  </a:lnTo>
                  <a:lnTo>
                    <a:pt x="386" y="498"/>
                  </a:lnTo>
                  <a:lnTo>
                    <a:pt x="385" y="498"/>
                  </a:lnTo>
                  <a:lnTo>
                    <a:pt x="384" y="498"/>
                  </a:lnTo>
                  <a:lnTo>
                    <a:pt x="383" y="499"/>
                  </a:lnTo>
                  <a:lnTo>
                    <a:pt x="381" y="500"/>
                  </a:lnTo>
                  <a:lnTo>
                    <a:pt x="379" y="502"/>
                  </a:lnTo>
                  <a:lnTo>
                    <a:pt x="376" y="504"/>
                  </a:lnTo>
                  <a:lnTo>
                    <a:pt x="375" y="505"/>
                  </a:lnTo>
                  <a:lnTo>
                    <a:pt x="374" y="507"/>
                  </a:lnTo>
                  <a:lnTo>
                    <a:pt x="373" y="508"/>
                  </a:lnTo>
                  <a:lnTo>
                    <a:pt x="372" y="509"/>
                  </a:lnTo>
                  <a:lnTo>
                    <a:pt x="371" y="511"/>
                  </a:lnTo>
                  <a:lnTo>
                    <a:pt x="370" y="511"/>
                  </a:lnTo>
                  <a:lnTo>
                    <a:pt x="370" y="512"/>
                  </a:lnTo>
                  <a:lnTo>
                    <a:pt x="369" y="512"/>
                  </a:lnTo>
                  <a:lnTo>
                    <a:pt x="369" y="512"/>
                  </a:lnTo>
                  <a:lnTo>
                    <a:pt x="369" y="512"/>
                  </a:lnTo>
                  <a:lnTo>
                    <a:pt x="368" y="512"/>
                  </a:lnTo>
                  <a:lnTo>
                    <a:pt x="368" y="512"/>
                  </a:lnTo>
                  <a:lnTo>
                    <a:pt x="368" y="512"/>
                  </a:lnTo>
                  <a:lnTo>
                    <a:pt x="367" y="512"/>
                  </a:lnTo>
                  <a:lnTo>
                    <a:pt x="367" y="512"/>
                  </a:lnTo>
                  <a:lnTo>
                    <a:pt x="365" y="510"/>
                  </a:lnTo>
                  <a:lnTo>
                    <a:pt x="364" y="510"/>
                  </a:lnTo>
                  <a:lnTo>
                    <a:pt x="363" y="509"/>
                  </a:lnTo>
                  <a:lnTo>
                    <a:pt x="361" y="509"/>
                  </a:lnTo>
                  <a:lnTo>
                    <a:pt x="360" y="508"/>
                  </a:lnTo>
                  <a:lnTo>
                    <a:pt x="358" y="508"/>
                  </a:lnTo>
                  <a:lnTo>
                    <a:pt x="357" y="508"/>
                  </a:lnTo>
                  <a:lnTo>
                    <a:pt x="355" y="507"/>
                  </a:lnTo>
                  <a:lnTo>
                    <a:pt x="353" y="507"/>
                  </a:lnTo>
                  <a:lnTo>
                    <a:pt x="353" y="507"/>
                  </a:lnTo>
                  <a:lnTo>
                    <a:pt x="352" y="507"/>
                  </a:lnTo>
                  <a:lnTo>
                    <a:pt x="352" y="506"/>
                  </a:lnTo>
                  <a:lnTo>
                    <a:pt x="351" y="506"/>
                  </a:lnTo>
                  <a:lnTo>
                    <a:pt x="351" y="506"/>
                  </a:lnTo>
                  <a:lnTo>
                    <a:pt x="350" y="505"/>
                  </a:lnTo>
                  <a:lnTo>
                    <a:pt x="350" y="505"/>
                  </a:lnTo>
                  <a:lnTo>
                    <a:pt x="350" y="505"/>
                  </a:lnTo>
                  <a:lnTo>
                    <a:pt x="350" y="504"/>
                  </a:lnTo>
                  <a:lnTo>
                    <a:pt x="350" y="504"/>
                  </a:lnTo>
                  <a:lnTo>
                    <a:pt x="351" y="501"/>
                  </a:lnTo>
                  <a:lnTo>
                    <a:pt x="351" y="500"/>
                  </a:lnTo>
                  <a:lnTo>
                    <a:pt x="351" y="500"/>
                  </a:lnTo>
                  <a:lnTo>
                    <a:pt x="351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48" y="500"/>
                  </a:lnTo>
                  <a:lnTo>
                    <a:pt x="346" y="500"/>
                  </a:lnTo>
                  <a:lnTo>
                    <a:pt x="345" y="500"/>
                  </a:lnTo>
                  <a:lnTo>
                    <a:pt x="343" y="501"/>
                  </a:lnTo>
                  <a:lnTo>
                    <a:pt x="342" y="501"/>
                  </a:lnTo>
                  <a:lnTo>
                    <a:pt x="341" y="501"/>
                  </a:lnTo>
                  <a:lnTo>
                    <a:pt x="339" y="501"/>
                  </a:lnTo>
                  <a:lnTo>
                    <a:pt x="338" y="501"/>
                  </a:lnTo>
                  <a:lnTo>
                    <a:pt x="334" y="500"/>
                  </a:lnTo>
                  <a:lnTo>
                    <a:pt x="332" y="500"/>
                  </a:lnTo>
                  <a:lnTo>
                    <a:pt x="331" y="500"/>
                  </a:lnTo>
                  <a:lnTo>
                    <a:pt x="330" y="499"/>
                  </a:lnTo>
                  <a:lnTo>
                    <a:pt x="329" y="499"/>
                  </a:lnTo>
                  <a:lnTo>
                    <a:pt x="327" y="498"/>
                  </a:lnTo>
                  <a:lnTo>
                    <a:pt x="327" y="498"/>
                  </a:lnTo>
                  <a:lnTo>
                    <a:pt x="326" y="498"/>
                  </a:lnTo>
                  <a:lnTo>
                    <a:pt x="325" y="498"/>
                  </a:lnTo>
                  <a:lnTo>
                    <a:pt x="324" y="497"/>
                  </a:lnTo>
                  <a:lnTo>
                    <a:pt x="322" y="497"/>
                  </a:lnTo>
                  <a:lnTo>
                    <a:pt x="321" y="497"/>
                  </a:lnTo>
                  <a:lnTo>
                    <a:pt x="320" y="497"/>
                  </a:lnTo>
                  <a:lnTo>
                    <a:pt x="320" y="497"/>
                  </a:lnTo>
                  <a:lnTo>
                    <a:pt x="319" y="498"/>
                  </a:lnTo>
                  <a:lnTo>
                    <a:pt x="318" y="498"/>
                  </a:lnTo>
                  <a:lnTo>
                    <a:pt x="317" y="499"/>
                  </a:lnTo>
                  <a:lnTo>
                    <a:pt x="316" y="500"/>
                  </a:lnTo>
                  <a:lnTo>
                    <a:pt x="315" y="500"/>
                  </a:lnTo>
                  <a:lnTo>
                    <a:pt x="315" y="500"/>
                  </a:lnTo>
                  <a:lnTo>
                    <a:pt x="314" y="500"/>
                  </a:lnTo>
                  <a:lnTo>
                    <a:pt x="314" y="500"/>
                  </a:lnTo>
                  <a:lnTo>
                    <a:pt x="313" y="500"/>
                  </a:lnTo>
                  <a:lnTo>
                    <a:pt x="312" y="499"/>
                  </a:lnTo>
                  <a:lnTo>
                    <a:pt x="311" y="499"/>
                  </a:lnTo>
                  <a:lnTo>
                    <a:pt x="308" y="496"/>
                  </a:lnTo>
                  <a:lnTo>
                    <a:pt x="307" y="496"/>
                  </a:lnTo>
                  <a:lnTo>
                    <a:pt x="306" y="495"/>
                  </a:lnTo>
                  <a:lnTo>
                    <a:pt x="304" y="495"/>
                  </a:lnTo>
                  <a:lnTo>
                    <a:pt x="303" y="494"/>
                  </a:lnTo>
                  <a:lnTo>
                    <a:pt x="302" y="494"/>
                  </a:lnTo>
                  <a:lnTo>
                    <a:pt x="300" y="492"/>
                  </a:lnTo>
                  <a:lnTo>
                    <a:pt x="299" y="492"/>
                  </a:lnTo>
                  <a:lnTo>
                    <a:pt x="298" y="492"/>
                  </a:lnTo>
                  <a:lnTo>
                    <a:pt x="298" y="492"/>
                  </a:lnTo>
                  <a:lnTo>
                    <a:pt x="297" y="492"/>
                  </a:lnTo>
                  <a:lnTo>
                    <a:pt x="297" y="492"/>
                  </a:lnTo>
                  <a:lnTo>
                    <a:pt x="297" y="493"/>
                  </a:lnTo>
                  <a:lnTo>
                    <a:pt x="297" y="493"/>
                  </a:lnTo>
                  <a:lnTo>
                    <a:pt x="297" y="493"/>
                  </a:lnTo>
                  <a:lnTo>
                    <a:pt x="297" y="494"/>
                  </a:lnTo>
                  <a:lnTo>
                    <a:pt x="297" y="496"/>
                  </a:lnTo>
                  <a:lnTo>
                    <a:pt x="297" y="497"/>
                  </a:lnTo>
                  <a:lnTo>
                    <a:pt x="297" y="497"/>
                  </a:lnTo>
                  <a:lnTo>
                    <a:pt x="297" y="498"/>
                  </a:lnTo>
                  <a:lnTo>
                    <a:pt x="297" y="498"/>
                  </a:lnTo>
                  <a:lnTo>
                    <a:pt x="296" y="498"/>
                  </a:lnTo>
                  <a:lnTo>
                    <a:pt x="296" y="498"/>
                  </a:lnTo>
                  <a:lnTo>
                    <a:pt x="296" y="498"/>
                  </a:lnTo>
                  <a:lnTo>
                    <a:pt x="294" y="498"/>
                  </a:lnTo>
                  <a:lnTo>
                    <a:pt x="293" y="498"/>
                  </a:lnTo>
                  <a:lnTo>
                    <a:pt x="292" y="498"/>
                  </a:lnTo>
                  <a:lnTo>
                    <a:pt x="291" y="498"/>
                  </a:lnTo>
                  <a:lnTo>
                    <a:pt x="290" y="499"/>
                  </a:lnTo>
                  <a:lnTo>
                    <a:pt x="289" y="499"/>
                  </a:lnTo>
                  <a:lnTo>
                    <a:pt x="288" y="500"/>
                  </a:lnTo>
                  <a:lnTo>
                    <a:pt x="285" y="502"/>
                  </a:lnTo>
                  <a:lnTo>
                    <a:pt x="285" y="502"/>
                  </a:lnTo>
                  <a:lnTo>
                    <a:pt x="284" y="502"/>
                  </a:lnTo>
                  <a:lnTo>
                    <a:pt x="284" y="503"/>
                  </a:lnTo>
                  <a:lnTo>
                    <a:pt x="282" y="503"/>
                  </a:lnTo>
                  <a:lnTo>
                    <a:pt x="281" y="503"/>
                  </a:lnTo>
                  <a:lnTo>
                    <a:pt x="280" y="503"/>
                  </a:lnTo>
                  <a:lnTo>
                    <a:pt x="279" y="503"/>
                  </a:lnTo>
                  <a:lnTo>
                    <a:pt x="277" y="503"/>
                  </a:lnTo>
                  <a:lnTo>
                    <a:pt x="276" y="503"/>
                  </a:lnTo>
                  <a:lnTo>
                    <a:pt x="275" y="502"/>
                  </a:lnTo>
                  <a:lnTo>
                    <a:pt x="275" y="502"/>
                  </a:lnTo>
                  <a:lnTo>
                    <a:pt x="275" y="502"/>
                  </a:lnTo>
                  <a:lnTo>
                    <a:pt x="274" y="502"/>
                  </a:lnTo>
                  <a:lnTo>
                    <a:pt x="274" y="501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3" y="498"/>
                  </a:lnTo>
                  <a:lnTo>
                    <a:pt x="272" y="497"/>
                  </a:lnTo>
                  <a:lnTo>
                    <a:pt x="271" y="497"/>
                  </a:lnTo>
                  <a:lnTo>
                    <a:pt x="270" y="496"/>
                  </a:lnTo>
                  <a:lnTo>
                    <a:pt x="270" y="496"/>
                  </a:lnTo>
                  <a:lnTo>
                    <a:pt x="268" y="495"/>
                  </a:lnTo>
                  <a:lnTo>
                    <a:pt x="267" y="494"/>
                  </a:lnTo>
                  <a:lnTo>
                    <a:pt x="265" y="494"/>
                  </a:lnTo>
                  <a:lnTo>
                    <a:pt x="265" y="494"/>
                  </a:lnTo>
                  <a:lnTo>
                    <a:pt x="264" y="493"/>
                  </a:lnTo>
                  <a:lnTo>
                    <a:pt x="264" y="493"/>
                  </a:lnTo>
                  <a:lnTo>
                    <a:pt x="263" y="492"/>
                  </a:lnTo>
                  <a:lnTo>
                    <a:pt x="263" y="492"/>
                  </a:lnTo>
                  <a:lnTo>
                    <a:pt x="262" y="490"/>
                  </a:lnTo>
                  <a:lnTo>
                    <a:pt x="261" y="489"/>
                  </a:lnTo>
                  <a:lnTo>
                    <a:pt x="260" y="489"/>
                  </a:lnTo>
                  <a:lnTo>
                    <a:pt x="259" y="488"/>
                  </a:lnTo>
                  <a:lnTo>
                    <a:pt x="258" y="487"/>
                  </a:lnTo>
                  <a:lnTo>
                    <a:pt x="257" y="487"/>
                  </a:lnTo>
                  <a:lnTo>
                    <a:pt x="255" y="486"/>
                  </a:lnTo>
                  <a:lnTo>
                    <a:pt x="254" y="486"/>
                  </a:lnTo>
                  <a:lnTo>
                    <a:pt x="254" y="486"/>
                  </a:lnTo>
                  <a:lnTo>
                    <a:pt x="253" y="486"/>
                  </a:lnTo>
                  <a:lnTo>
                    <a:pt x="252" y="486"/>
                  </a:lnTo>
                  <a:lnTo>
                    <a:pt x="251" y="486"/>
                  </a:lnTo>
                  <a:lnTo>
                    <a:pt x="249" y="487"/>
                  </a:lnTo>
                  <a:lnTo>
                    <a:pt x="246" y="488"/>
                  </a:lnTo>
                  <a:lnTo>
                    <a:pt x="245" y="488"/>
                  </a:lnTo>
                  <a:lnTo>
                    <a:pt x="244" y="488"/>
                  </a:lnTo>
                  <a:lnTo>
                    <a:pt x="244" y="489"/>
                  </a:lnTo>
                  <a:lnTo>
                    <a:pt x="243" y="490"/>
                  </a:lnTo>
                  <a:lnTo>
                    <a:pt x="243" y="490"/>
                  </a:lnTo>
                  <a:lnTo>
                    <a:pt x="242" y="492"/>
                  </a:lnTo>
                  <a:lnTo>
                    <a:pt x="241" y="494"/>
                  </a:lnTo>
                  <a:lnTo>
                    <a:pt x="240" y="495"/>
                  </a:lnTo>
                  <a:lnTo>
                    <a:pt x="239" y="496"/>
                  </a:lnTo>
                  <a:lnTo>
                    <a:pt x="239" y="498"/>
                  </a:lnTo>
                  <a:lnTo>
                    <a:pt x="238" y="499"/>
                  </a:lnTo>
                  <a:lnTo>
                    <a:pt x="238" y="499"/>
                  </a:lnTo>
                  <a:lnTo>
                    <a:pt x="237" y="499"/>
                  </a:lnTo>
                  <a:lnTo>
                    <a:pt x="237" y="499"/>
                  </a:lnTo>
                  <a:lnTo>
                    <a:pt x="236" y="499"/>
                  </a:lnTo>
                  <a:lnTo>
                    <a:pt x="236" y="499"/>
                  </a:lnTo>
                  <a:lnTo>
                    <a:pt x="234" y="499"/>
                  </a:lnTo>
                  <a:lnTo>
                    <a:pt x="233" y="499"/>
                  </a:lnTo>
                  <a:lnTo>
                    <a:pt x="231" y="499"/>
                  </a:lnTo>
                  <a:lnTo>
                    <a:pt x="228" y="500"/>
                  </a:lnTo>
                  <a:lnTo>
                    <a:pt x="220" y="500"/>
                  </a:lnTo>
                  <a:lnTo>
                    <a:pt x="219" y="500"/>
                  </a:lnTo>
                  <a:lnTo>
                    <a:pt x="215" y="500"/>
                  </a:lnTo>
                  <a:lnTo>
                    <a:pt x="214" y="500"/>
                  </a:lnTo>
                  <a:lnTo>
                    <a:pt x="213" y="500"/>
                  </a:lnTo>
                  <a:lnTo>
                    <a:pt x="211" y="501"/>
                  </a:lnTo>
                  <a:lnTo>
                    <a:pt x="210" y="501"/>
                  </a:lnTo>
                  <a:lnTo>
                    <a:pt x="208" y="501"/>
                  </a:lnTo>
                  <a:lnTo>
                    <a:pt x="206" y="501"/>
                  </a:lnTo>
                  <a:lnTo>
                    <a:pt x="206" y="501"/>
                  </a:lnTo>
                  <a:lnTo>
                    <a:pt x="205" y="501"/>
                  </a:lnTo>
                  <a:lnTo>
                    <a:pt x="204" y="501"/>
                  </a:lnTo>
                  <a:lnTo>
                    <a:pt x="203" y="501"/>
                  </a:lnTo>
                  <a:lnTo>
                    <a:pt x="202" y="502"/>
                  </a:lnTo>
                  <a:lnTo>
                    <a:pt x="200" y="501"/>
                  </a:lnTo>
                  <a:lnTo>
                    <a:pt x="200" y="501"/>
                  </a:lnTo>
                  <a:lnTo>
                    <a:pt x="199" y="501"/>
                  </a:lnTo>
                  <a:lnTo>
                    <a:pt x="198" y="501"/>
                  </a:lnTo>
                  <a:lnTo>
                    <a:pt x="197" y="500"/>
                  </a:lnTo>
                  <a:lnTo>
                    <a:pt x="197" y="500"/>
                  </a:lnTo>
                  <a:lnTo>
                    <a:pt x="196" y="499"/>
                  </a:lnTo>
                  <a:lnTo>
                    <a:pt x="196" y="499"/>
                  </a:lnTo>
                  <a:lnTo>
                    <a:pt x="195" y="498"/>
                  </a:lnTo>
                  <a:lnTo>
                    <a:pt x="195" y="498"/>
                  </a:lnTo>
                  <a:lnTo>
                    <a:pt x="195" y="497"/>
                  </a:lnTo>
                  <a:lnTo>
                    <a:pt x="195" y="496"/>
                  </a:lnTo>
                  <a:lnTo>
                    <a:pt x="195" y="495"/>
                  </a:lnTo>
                  <a:lnTo>
                    <a:pt x="195" y="493"/>
                  </a:lnTo>
                  <a:lnTo>
                    <a:pt x="195" y="489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2" y="487"/>
                  </a:lnTo>
                  <a:lnTo>
                    <a:pt x="190" y="488"/>
                  </a:lnTo>
                  <a:lnTo>
                    <a:pt x="189" y="488"/>
                  </a:lnTo>
                  <a:lnTo>
                    <a:pt x="188" y="489"/>
                  </a:lnTo>
                  <a:lnTo>
                    <a:pt x="185" y="490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80" y="493"/>
                  </a:lnTo>
                  <a:lnTo>
                    <a:pt x="180" y="493"/>
                  </a:lnTo>
                  <a:lnTo>
                    <a:pt x="179" y="494"/>
                  </a:lnTo>
                  <a:lnTo>
                    <a:pt x="179" y="494"/>
                  </a:lnTo>
                  <a:lnTo>
                    <a:pt x="179" y="495"/>
                  </a:lnTo>
                  <a:lnTo>
                    <a:pt x="178" y="497"/>
                  </a:lnTo>
                  <a:lnTo>
                    <a:pt x="177" y="499"/>
                  </a:lnTo>
                  <a:lnTo>
                    <a:pt x="176" y="500"/>
                  </a:lnTo>
                  <a:lnTo>
                    <a:pt x="176" y="501"/>
                  </a:lnTo>
                  <a:lnTo>
                    <a:pt x="175" y="502"/>
                  </a:lnTo>
                  <a:lnTo>
                    <a:pt x="175" y="503"/>
                  </a:lnTo>
                  <a:lnTo>
                    <a:pt x="174" y="503"/>
                  </a:lnTo>
                  <a:lnTo>
                    <a:pt x="174" y="504"/>
                  </a:lnTo>
                  <a:lnTo>
                    <a:pt x="173" y="504"/>
                  </a:lnTo>
                  <a:lnTo>
                    <a:pt x="173" y="504"/>
                  </a:lnTo>
                  <a:lnTo>
                    <a:pt x="171" y="505"/>
                  </a:lnTo>
                  <a:lnTo>
                    <a:pt x="171" y="505"/>
                  </a:lnTo>
                  <a:lnTo>
                    <a:pt x="170" y="505"/>
                  </a:lnTo>
                  <a:lnTo>
                    <a:pt x="168" y="507"/>
                  </a:lnTo>
                  <a:lnTo>
                    <a:pt x="167" y="507"/>
                  </a:lnTo>
                  <a:lnTo>
                    <a:pt x="166" y="508"/>
                  </a:lnTo>
                  <a:lnTo>
                    <a:pt x="166" y="508"/>
                  </a:lnTo>
                  <a:lnTo>
                    <a:pt x="165" y="508"/>
                  </a:lnTo>
                  <a:lnTo>
                    <a:pt x="164" y="508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59" y="509"/>
                  </a:lnTo>
                  <a:lnTo>
                    <a:pt x="158" y="510"/>
                  </a:lnTo>
                  <a:lnTo>
                    <a:pt x="157" y="510"/>
                  </a:lnTo>
                  <a:lnTo>
                    <a:pt x="155" y="511"/>
                  </a:lnTo>
                  <a:lnTo>
                    <a:pt x="155" y="512"/>
                  </a:lnTo>
                  <a:lnTo>
                    <a:pt x="154" y="512"/>
                  </a:lnTo>
                  <a:lnTo>
                    <a:pt x="153" y="513"/>
                  </a:lnTo>
                  <a:lnTo>
                    <a:pt x="152" y="513"/>
                  </a:lnTo>
                  <a:lnTo>
                    <a:pt x="151" y="513"/>
                  </a:lnTo>
                  <a:lnTo>
                    <a:pt x="150" y="513"/>
                  </a:lnTo>
                  <a:lnTo>
                    <a:pt x="149" y="513"/>
                  </a:lnTo>
                  <a:lnTo>
                    <a:pt x="148" y="512"/>
                  </a:lnTo>
                  <a:lnTo>
                    <a:pt x="147" y="512"/>
                  </a:lnTo>
                  <a:lnTo>
                    <a:pt x="147" y="512"/>
                  </a:lnTo>
                  <a:lnTo>
                    <a:pt x="145" y="511"/>
                  </a:lnTo>
                  <a:lnTo>
                    <a:pt x="144" y="511"/>
                  </a:lnTo>
                  <a:lnTo>
                    <a:pt x="144" y="510"/>
                  </a:lnTo>
                  <a:lnTo>
                    <a:pt x="143" y="510"/>
                  </a:lnTo>
                  <a:lnTo>
                    <a:pt x="143" y="509"/>
                  </a:lnTo>
                  <a:lnTo>
                    <a:pt x="142" y="509"/>
                  </a:lnTo>
                  <a:lnTo>
                    <a:pt x="142" y="509"/>
                  </a:lnTo>
                  <a:lnTo>
                    <a:pt x="140" y="508"/>
                  </a:lnTo>
                  <a:lnTo>
                    <a:pt x="140" y="507"/>
                  </a:lnTo>
                  <a:lnTo>
                    <a:pt x="137" y="506"/>
                  </a:lnTo>
                  <a:lnTo>
                    <a:pt x="137" y="505"/>
                  </a:lnTo>
                  <a:lnTo>
                    <a:pt x="136" y="505"/>
                  </a:lnTo>
                  <a:lnTo>
                    <a:pt x="136" y="505"/>
                  </a:lnTo>
                  <a:lnTo>
                    <a:pt x="135" y="505"/>
                  </a:lnTo>
                  <a:lnTo>
                    <a:pt x="134" y="505"/>
                  </a:lnTo>
                  <a:lnTo>
                    <a:pt x="133" y="505"/>
                  </a:lnTo>
                  <a:lnTo>
                    <a:pt x="132" y="505"/>
                  </a:lnTo>
                  <a:lnTo>
                    <a:pt x="130" y="507"/>
                  </a:lnTo>
                  <a:lnTo>
                    <a:pt x="129" y="507"/>
                  </a:lnTo>
                  <a:lnTo>
                    <a:pt x="128" y="507"/>
                  </a:lnTo>
                  <a:lnTo>
                    <a:pt x="128" y="508"/>
                  </a:lnTo>
                  <a:lnTo>
                    <a:pt x="127" y="508"/>
                  </a:lnTo>
                  <a:lnTo>
                    <a:pt x="127" y="508"/>
                  </a:lnTo>
                  <a:lnTo>
                    <a:pt x="126" y="507"/>
                  </a:lnTo>
                  <a:lnTo>
                    <a:pt x="125" y="507"/>
                  </a:lnTo>
                  <a:lnTo>
                    <a:pt x="125" y="507"/>
                  </a:lnTo>
                  <a:lnTo>
                    <a:pt x="124" y="507"/>
                  </a:lnTo>
                  <a:lnTo>
                    <a:pt x="122" y="505"/>
                  </a:lnTo>
                  <a:lnTo>
                    <a:pt x="122" y="504"/>
                  </a:lnTo>
                  <a:lnTo>
                    <a:pt x="121" y="504"/>
                  </a:lnTo>
                  <a:lnTo>
                    <a:pt x="121" y="504"/>
                  </a:lnTo>
                  <a:lnTo>
                    <a:pt x="120" y="504"/>
                  </a:lnTo>
                  <a:lnTo>
                    <a:pt x="120" y="504"/>
                  </a:lnTo>
                  <a:lnTo>
                    <a:pt x="119" y="504"/>
                  </a:lnTo>
                  <a:lnTo>
                    <a:pt x="119" y="504"/>
                  </a:lnTo>
                  <a:lnTo>
                    <a:pt x="117" y="505"/>
                  </a:lnTo>
                  <a:lnTo>
                    <a:pt x="115" y="506"/>
                  </a:lnTo>
                  <a:lnTo>
                    <a:pt x="112" y="507"/>
                  </a:lnTo>
                  <a:lnTo>
                    <a:pt x="109" y="508"/>
                  </a:lnTo>
                  <a:lnTo>
                    <a:pt x="108" y="508"/>
                  </a:lnTo>
                  <a:lnTo>
                    <a:pt x="106" y="508"/>
                  </a:lnTo>
                  <a:lnTo>
                    <a:pt x="105" y="508"/>
                  </a:lnTo>
                  <a:lnTo>
                    <a:pt x="105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7"/>
                  </a:lnTo>
                  <a:lnTo>
                    <a:pt x="104" y="506"/>
                  </a:lnTo>
                  <a:lnTo>
                    <a:pt x="104" y="505"/>
                  </a:lnTo>
                  <a:lnTo>
                    <a:pt x="104" y="503"/>
                  </a:lnTo>
                  <a:lnTo>
                    <a:pt x="104" y="502"/>
                  </a:lnTo>
                  <a:lnTo>
                    <a:pt x="104" y="501"/>
                  </a:lnTo>
                  <a:lnTo>
                    <a:pt x="104" y="500"/>
                  </a:lnTo>
                  <a:lnTo>
                    <a:pt x="104" y="499"/>
                  </a:lnTo>
                  <a:lnTo>
                    <a:pt x="103" y="497"/>
                  </a:lnTo>
                  <a:lnTo>
                    <a:pt x="103" y="496"/>
                  </a:lnTo>
                  <a:lnTo>
                    <a:pt x="103" y="495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1" y="493"/>
                  </a:lnTo>
                  <a:lnTo>
                    <a:pt x="100" y="492"/>
                  </a:lnTo>
                  <a:lnTo>
                    <a:pt x="99" y="492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7" y="490"/>
                  </a:lnTo>
                  <a:lnTo>
                    <a:pt x="97" y="490"/>
                  </a:lnTo>
                  <a:lnTo>
                    <a:pt x="97" y="489"/>
                  </a:lnTo>
                  <a:lnTo>
                    <a:pt x="97" y="489"/>
                  </a:lnTo>
                  <a:lnTo>
                    <a:pt x="97" y="485"/>
                  </a:lnTo>
                  <a:lnTo>
                    <a:pt x="97" y="484"/>
                  </a:lnTo>
                  <a:lnTo>
                    <a:pt x="97" y="481"/>
                  </a:lnTo>
                  <a:lnTo>
                    <a:pt x="98" y="478"/>
                  </a:lnTo>
                  <a:lnTo>
                    <a:pt x="98" y="476"/>
                  </a:lnTo>
                  <a:lnTo>
                    <a:pt x="98" y="474"/>
                  </a:lnTo>
                  <a:lnTo>
                    <a:pt x="99" y="471"/>
                  </a:lnTo>
                  <a:lnTo>
                    <a:pt x="99" y="469"/>
                  </a:lnTo>
                  <a:lnTo>
                    <a:pt x="99" y="468"/>
                  </a:lnTo>
                  <a:lnTo>
                    <a:pt x="99" y="466"/>
                  </a:lnTo>
                  <a:lnTo>
                    <a:pt x="99" y="464"/>
                  </a:lnTo>
                  <a:lnTo>
                    <a:pt x="99" y="462"/>
                  </a:lnTo>
                  <a:lnTo>
                    <a:pt x="99" y="461"/>
                  </a:lnTo>
                  <a:lnTo>
                    <a:pt x="99" y="460"/>
                  </a:lnTo>
                  <a:lnTo>
                    <a:pt x="99" y="460"/>
                  </a:lnTo>
                  <a:lnTo>
                    <a:pt x="98" y="459"/>
                  </a:lnTo>
                  <a:lnTo>
                    <a:pt x="98" y="459"/>
                  </a:lnTo>
                  <a:lnTo>
                    <a:pt x="98" y="458"/>
                  </a:lnTo>
                  <a:lnTo>
                    <a:pt x="97" y="458"/>
                  </a:lnTo>
                  <a:lnTo>
                    <a:pt x="96" y="457"/>
                  </a:lnTo>
                  <a:lnTo>
                    <a:pt x="95" y="457"/>
                  </a:lnTo>
                  <a:lnTo>
                    <a:pt x="94" y="456"/>
                  </a:lnTo>
                  <a:lnTo>
                    <a:pt x="93" y="456"/>
                  </a:lnTo>
                  <a:lnTo>
                    <a:pt x="92" y="456"/>
                  </a:lnTo>
                  <a:lnTo>
                    <a:pt x="91" y="456"/>
                  </a:lnTo>
                  <a:lnTo>
                    <a:pt x="89" y="456"/>
                  </a:lnTo>
                  <a:lnTo>
                    <a:pt x="88" y="456"/>
                  </a:lnTo>
                  <a:lnTo>
                    <a:pt x="87" y="456"/>
                  </a:lnTo>
                  <a:lnTo>
                    <a:pt x="87" y="456"/>
                  </a:lnTo>
                  <a:lnTo>
                    <a:pt x="87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4"/>
                  </a:lnTo>
                  <a:lnTo>
                    <a:pt x="86" y="453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1"/>
                  </a:lnTo>
                  <a:lnTo>
                    <a:pt x="86" y="451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49"/>
                  </a:lnTo>
                  <a:lnTo>
                    <a:pt x="82" y="449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7"/>
                  </a:lnTo>
                  <a:lnTo>
                    <a:pt x="84" y="447"/>
                  </a:lnTo>
                  <a:lnTo>
                    <a:pt x="85" y="447"/>
                  </a:lnTo>
                  <a:lnTo>
                    <a:pt x="86" y="447"/>
                  </a:lnTo>
                  <a:lnTo>
                    <a:pt x="86" y="447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8" y="445"/>
                  </a:lnTo>
                  <a:lnTo>
                    <a:pt x="88" y="445"/>
                  </a:lnTo>
                  <a:lnTo>
                    <a:pt x="88" y="444"/>
                  </a:lnTo>
                  <a:lnTo>
                    <a:pt x="87" y="443"/>
                  </a:lnTo>
                  <a:lnTo>
                    <a:pt x="87" y="443"/>
                  </a:lnTo>
                  <a:lnTo>
                    <a:pt x="86" y="442"/>
                  </a:lnTo>
                  <a:lnTo>
                    <a:pt x="86" y="441"/>
                  </a:lnTo>
                  <a:lnTo>
                    <a:pt x="84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4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5"/>
                  </a:lnTo>
                  <a:lnTo>
                    <a:pt x="88" y="434"/>
                  </a:lnTo>
                  <a:lnTo>
                    <a:pt x="89" y="433"/>
                  </a:lnTo>
                  <a:lnTo>
                    <a:pt x="90" y="433"/>
                  </a:lnTo>
                  <a:lnTo>
                    <a:pt x="90" y="432"/>
                  </a:lnTo>
                  <a:lnTo>
                    <a:pt x="90" y="432"/>
                  </a:lnTo>
                  <a:lnTo>
                    <a:pt x="91" y="431"/>
                  </a:lnTo>
                  <a:lnTo>
                    <a:pt x="90" y="431"/>
                  </a:lnTo>
                  <a:lnTo>
                    <a:pt x="90" y="431"/>
                  </a:lnTo>
                  <a:lnTo>
                    <a:pt x="90" y="430"/>
                  </a:lnTo>
                  <a:lnTo>
                    <a:pt x="90" y="430"/>
                  </a:lnTo>
                  <a:lnTo>
                    <a:pt x="89" y="430"/>
                  </a:lnTo>
                  <a:lnTo>
                    <a:pt x="89" y="430"/>
                  </a:lnTo>
                  <a:lnTo>
                    <a:pt x="88" y="429"/>
                  </a:lnTo>
                  <a:lnTo>
                    <a:pt x="86" y="429"/>
                  </a:lnTo>
                  <a:lnTo>
                    <a:pt x="85" y="429"/>
                  </a:lnTo>
                  <a:lnTo>
                    <a:pt x="84" y="429"/>
                  </a:lnTo>
                  <a:lnTo>
                    <a:pt x="83" y="429"/>
                  </a:lnTo>
                  <a:lnTo>
                    <a:pt x="81" y="430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8"/>
                  </a:lnTo>
                  <a:lnTo>
                    <a:pt x="78" y="428"/>
                  </a:lnTo>
                  <a:lnTo>
                    <a:pt x="78" y="427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8" y="425"/>
                  </a:lnTo>
                  <a:lnTo>
                    <a:pt x="78" y="424"/>
                  </a:lnTo>
                  <a:lnTo>
                    <a:pt x="79" y="423"/>
                  </a:lnTo>
                  <a:lnTo>
                    <a:pt x="79" y="422"/>
                  </a:lnTo>
                  <a:lnTo>
                    <a:pt x="79" y="421"/>
                  </a:lnTo>
                  <a:lnTo>
                    <a:pt x="80" y="420"/>
                  </a:lnTo>
                  <a:lnTo>
                    <a:pt x="83" y="417"/>
                  </a:lnTo>
                  <a:lnTo>
                    <a:pt x="84" y="415"/>
                  </a:lnTo>
                  <a:lnTo>
                    <a:pt x="84" y="414"/>
                  </a:lnTo>
                  <a:lnTo>
                    <a:pt x="85" y="414"/>
                  </a:lnTo>
                  <a:lnTo>
                    <a:pt x="86" y="413"/>
                  </a:lnTo>
                  <a:lnTo>
                    <a:pt x="87" y="412"/>
                  </a:lnTo>
                  <a:lnTo>
                    <a:pt x="88" y="411"/>
                  </a:lnTo>
                  <a:lnTo>
                    <a:pt x="89" y="411"/>
                  </a:lnTo>
                  <a:lnTo>
                    <a:pt x="90" y="410"/>
                  </a:lnTo>
                  <a:lnTo>
                    <a:pt x="92" y="409"/>
                  </a:lnTo>
                  <a:lnTo>
                    <a:pt x="93" y="409"/>
                  </a:lnTo>
                  <a:lnTo>
                    <a:pt x="94" y="408"/>
                  </a:lnTo>
                  <a:lnTo>
                    <a:pt x="95" y="408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7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101" y="410"/>
                  </a:lnTo>
                  <a:lnTo>
                    <a:pt x="102" y="410"/>
                  </a:lnTo>
                  <a:lnTo>
                    <a:pt x="103" y="411"/>
                  </a:lnTo>
                  <a:lnTo>
                    <a:pt x="103" y="411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7" y="409"/>
                  </a:lnTo>
                  <a:lnTo>
                    <a:pt x="108" y="408"/>
                  </a:lnTo>
                  <a:lnTo>
                    <a:pt x="109" y="406"/>
                  </a:lnTo>
                  <a:lnTo>
                    <a:pt x="110" y="405"/>
                  </a:lnTo>
                  <a:lnTo>
                    <a:pt x="111" y="404"/>
                  </a:lnTo>
                  <a:lnTo>
                    <a:pt x="112" y="403"/>
                  </a:lnTo>
                  <a:lnTo>
                    <a:pt x="115" y="400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17" y="398"/>
                  </a:lnTo>
                  <a:lnTo>
                    <a:pt x="117" y="398"/>
                  </a:lnTo>
                  <a:lnTo>
                    <a:pt x="118" y="397"/>
                  </a:lnTo>
                  <a:lnTo>
                    <a:pt x="118" y="397"/>
                  </a:lnTo>
                  <a:lnTo>
                    <a:pt x="118" y="396"/>
                  </a:lnTo>
                  <a:lnTo>
                    <a:pt x="118" y="395"/>
                  </a:lnTo>
                  <a:lnTo>
                    <a:pt x="117" y="395"/>
                  </a:lnTo>
                  <a:lnTo>
                    <a:pt x="117" y="394"/>
                  </a:lnTo>
                  <a:lnTo>
                    <a:pt x="116" y="394"/>
                  </a:lnTo>
                  <a:lnTo>
                    <a:pt x="116" y="393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3" y="392"/>
                  </a:lnTo>
                  <a:lnTo>
                    <a:pt x="113" y="391"/>
                  </a:lnTo>
                  <a:lnTo>
                    <a:pt x="113" y="390"/>
                  </a:lnTo>
                  <a:lnTo>
                    <a:pt x="114" y="388"/>
                  </a:lnTo>
                  <a:lnTo>
                    <a:pt x="114" y="387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5" y="384"/>
                  </a:lnTo>
                  <a:lnTo>
                    <a:pt x="115" y="383"/>
                  </a:lnTo>
                  <a:lnTo>
                    <a:pt x="115" y="380"/>
                  </a:lnTo>
                  <a:lnTo>
                    <a:pt x="115" y="379"/>
                  </a:lnTo>
                  <a:lnTo>
                    <a:pt x="115" y="378"/>
                  </a:lnTo>
                  <a:lnTo>
                    <a:pt x="115" y="377"/>
                  </a:lnTo>
                  <a:lnTo>
                    <a:pt x="115" y="376"/>
                  </a:lnTo>
                  <a:lnTo>
                    <a:pt x="115" y="376"/>
                  </a:lnTo>
                  <a:lnTo>
                    <a:pt x="116" y="373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7" y="369"/>
                  </a:lnTo>
                  <a:lnTo>
                    <a:pt x="117" y="368"/>
                  </a:lnTo>
                  <a:lnTo>
                    <a:pt x="117" y="367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7" y="361"/>
                  </a:lnTo>
                  <a:lnTo>
                    <a:pt x="118" y="356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9" y="351"/>
                  </a:lnTo>
                  <a:lnTo>
                    <a:pt x="120" y="349"/>
                  </a:lnTo>
                  <a:lnTo>
                    <a:pt x="120" y="348"/>
                  </a:lnTo>
                  <a:lnTo>
                    <a:pt x="121" y="347"/>
                  </a:lnTo>
                  <a:lnTo>
                    <a:pt x="121" y="346"/>
                  </a:lnTo>
                  <a:lnTo>
                    <a:pt x="122" y="346"/>
                  </a:lnTo>
                  <a:lnTo>
                    <a:pt x="122" y="345"/>
                  </a:lnTo>
                  <a:lnTo>
                    <a:pt x="124" y="344"/>
                  </a:lnTo>
                  <a:lnTo>
                    <a:pt x="124" y="343"/>
                  </a:lnTo>
                  <a:lnTo>
                    <a:pt x="125" y="343"/>
                  </a:lnTo>
                  <a:lnTo>
                    <a:pt x="125" y="342"/>
                  </a:lnTo>
                  <a:lnTo>
                    <a:pt x="125" y="341"/>
                  </a:lnTo>
                  <a:lnTo>
                    <a:pt x="125" y="341"/>
                  </a:lnTo>
                  <a:lnTo>
                    <a:pt x="125" y="340"/>
                  </a:lnTo>
                  <a:lnTo>
                    <a:pt x="125" y="339"/>
                  </a:lnTo>
                  <a:lnTo>
                    <a:pt x="125" y="335"/>
                  </a:lnTo>
                  <a:lnTo>
                    <a:pt x="125" y="333"/>
                  </a:lnTo>
                  <a:lnTo>
                    <a:pt x="125" y="329"/>
                  </a:lnTo>
                  <a:lnTo>
                    <a:pt x="124" y="326"/>
                  </a:lnTo>
                  <a:lnTo>
                    <a:pt x="124" y="324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8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7"/>
                  </a:lnTo>
                  <a:lnTo>
                    <a:pt x="122" y="317"/>
                  </a:lnTo>
                  <a:lnTo>
                    <a:pt x="116" y="313"/>
                  </a:lnTo>
                  <a:lnTo>
                    <a:pt x="113" y="312"/>
                  </a:lnTo>
                  <a:lnTo>
                    <a:pt x="112" y="311"/>
                  </a:lnTo>
                  <a:lnTo>
                    <a:pt x="110" y="311"/>
                  </a:lnTo>
                  <a:lnTo>
                    <a:pt x="107" y="310"/>
                  </a:lnTo>
                  <a:lnTo>
                    <a:pt x="104" y="309"/>
                  </a:lnTo>
                  <a:lnTo>
                    <a:pt x="104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2" y="308"/>
                  </a:lnTo>
                  <a:lnTo>
                    <a:pt x="102" y="307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1" y="303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0" y="301"/>
                  </a:lnTo>
                  <a:lnTo>
                    <a:pt x="100" y="301"/>
                  </a:lnTo>
                  <a:lnTo>
                    <a:pt x="99" y="300"/>
                  </a:lnTo>
                  <a:lnTo>
                    <a:pt x="98" y="300"/>
                  </a:lnTo>
                  <a:lnTo>
                    <a:pt x="98" y="299"/>
                  </a:lnTo>
                  <a:lnTo>
                    <a:pt x="97" y="299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2" y="298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6"/>
                  </a:lnTo>
                  <a:lnTo>
                    <a:pt x="85" y="294"/>
                  </a:lnTo>
                  <a:lnTo>
                    <a:pt x="83" y="292"/>
                  </a:lnTo>
                  <a:lnTo>
                    <a:pt x="82" y="291"/>
                  </a:lnTo>
                  <a:lnTo>
                    <a:pt x="80" y="289"/>
                  </a:lnTo>
                  <a:lnTo>
                    <a:pt x="78" y="286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0" y="283"/>
                  </a:lnTo>
                  <a:lnTo>
                    <a:pt x="69" y="283"/>
                  </a:lnTo>
                  <a:lnTo>
                    <a:pt x="68" y="283"/>
                  </a:lnTo>
                  <a:lnTo>
                    <a:pt x="65" y="284"/>
                  </a:lnTo>
                  <a:lnTo>
                    <a:pt x="64" y="284"/>
                  </a:lnTo>
                  <a:lnTo>
                    <a:pt x="63" y="285"/>
                  </a:lnTo>
                  <a:lnTo>
                    <a:pt x="61" y="285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7" y="285"/>
                  </a:lnTo>
                  <a:lnTo>
                    <a:pt x="56" y="285"/>
                  </a:lnTo>
                  <a:lnTo>
                    <a:pt x="55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1" y="284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48" y="282"/>
                  </a:lnTo>
                  <a:lnTo>
                    <a:pt x="47" y="281"/>
                  </a:lnTo>
                  <a:lnTo>
                    <a:pt x="44" y="279"/>
                  </a:lnTo>
                  <a:lnTo>
                    <a:pt x="42" y="277"/>
                  </a:lnTo>
                  <a:lnTo>
                    <a:pt x="40" y="276"/>
                  </a:lnTo>
                  <a:lnTo>
                    <a:pt x="37" y="275"/>
                  </a:lnTo>
                  <a:lnTo>
                    <a:pt x="36" y="274"/>
                  </a:lnTo>
                  <a:lnTo>
                    <a:pt x="35" y="273"/>
                  </a:lnTo>
                  <a:lnTo>
                    <a:pt x="34" y="273"/>
                  </a:lnTo>
                  <a:lnTo>
                    <a:pt x="33" y="272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2" y="271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6" y="267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5" y="265"/>
                  </a:lnTo>
                  <a:lnTo>
                    <a:pt x="34" y="264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0" y="263"/>
                  </a:lnTo>
                  <a:lnTo>
                    <a:pt x="19" y="263"/>
                  </a:lnTo>
                  <a:lnTo>
                    <a:pt x="17" y="263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4" y="264"/>
                  </a:lnTo>
                  <a:lnTo>
                    <a:pt x="12" y="264"/>
                  </a:lnTo>
                  <a:lnTo>
                    <a:pt x="10" y="265"/>
                  </a:lnTo>
                  <a:lnTo>
                    <a:pt x="9" y="266"/>
                  </a:lnTo>
                  <a:lnTo>
                    <a:pt x="8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5"/>
                  </a:lnTo>
                  <a:lnTo>
                    <a:pt x="2" y="265"/>
                  </a:lnTo>
                  <a:lnTo>
                    <a:pt x="1" y="265"/>
                  </a:lnTo>
                  <a:lnTo>
                    <a:pt x="1" y="265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1" y="260"/>
                  </a:lnTo>
                  <a:lnTo>
                    <a:pt x="1" y="259"/>
                  </a:lnTo>
                  <a:lnTo>
                    <a:pt x="2" y="257"/>
                  </a:lnTo>
                  <a:lnTo>
                    <a:pt x="3" y="255"/>
                  </a:lnTo>
                  <a:lnTo>
                    <a:pt x="4" y="254"/>
                  </a:lnTo>
                  <a:lnTo>
                    <a:pt x="5" y="252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0"/>
                  </a:lnTo>
                  <a:lnTo>
                    <a:pt x="6" y="249"/>
                  </a:lnTo>
                  <a:lnTo>
                    <a:pt x="6" y="248"/>
                  </a:lnTo>
                  <a:lnTo>
                    <a:pt x="6" y="247"/>
                  </a:lnTo>
                  <a:lnTo>
                    <a:pt x="6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4" y="243"/>
                  </a:lnTo>
                  <a:lnTo>
                    <a:pt x="3" y="242"/>
                  </a:lnTo>
                  <a:lnTo>
                    <a:pt x="2" y="241"/>
                  </a:lnTo>
                  <a:lnTo>
                    <a:pt x="2" y="240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8"/>
                  </a:lnTo>
                  <a:lnTo>
                    <a:pt x="2" y="237"/>
                  </a:lnTo>
                  <a:lnTo>
                    <a:pt x="3" y="237"/>
                  </a:lnTo>
                  <a:lnTo>
                    <a:pt x="4" y="236"/>
                  </a:lnTo>
                  <a:lnTo>
                    <a:pt x="5" y="235"/>
                  </a:lnTo>
                  <a:lnTo>
                    <a:pt x="6" y="234"/>
                  </a:lnTo>
                  <a:lnTo>
                    <a:pt x="7" y="233"/>
                  </a:lnTo>
                  <a:lnTo>
                    <a:pt x="8" y="233"/>
                  </a:lnTo>
                  <a:lnTo>
                    <a:pt x="9" y="232"/>
                  </a:lnTo>
                  <a:lnTo>
                    <a:pt x="10" y="232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3" y="231"/>
                  </a:lnTo>
                  <a:lnTo>
                    <a:pt x="14" y="231"/>
                  </a:lnTo>
                  <a:lnTo>
                    <a:pt x="15" y="231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7" y="231"/>
                  </a:lnTo>
                  <a:lnTo>
                    <a:pt x="17" y="230"/>
                  </a:lnTo>
                  <a:lnTo>
                    <a:pt x="18" y="230"/>
                  </a:lnTo>
                  <a:lnTo>
                    <a:pt x="19" y="228"/>
                  </a:lnTo>
                  <a:lnTo>
                    <a:pt x="19" y="227"/>
                  </a:lnTo>
                  <a:lnTo>
                    <a:pt x="20" y="226"/>
                  </a:lnTo>
                  <a:lnTo>
                    <a:pt x="21" y="224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2" y="223"/>
                  </a:lnTo>
                  <a:lnTo>
                    <a:pt x="22" y="222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6"/>
                  </a:lnTo>
                  <a:lnTo>
                    <a:pt x="26" y="215"/>
                  </a:lnTo>
                  <a:lnTo>
                    <a:pt x="26" y="215"/>
                  </a:lnTo>
                  <a:lnTo>
                    <a:pt x="26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6"/>
                  </a:lnTo>
                  <a:lnTo>
                    <a:pt x="29" y="206"/>
                  </a:lnTo>
                  <a:lnTo>
                    <a:pt x="29" y="205"/>
                  </a:lnTo>
                  <a:lnTo>
                    <a:pt x="31" y="203"/>
                  </a:lnTo>
                  <a:lnTo>
                    <a:pt x="33" y="202"/>
                  </a:lnTo>
                  <a:lnTo>
                    <a:pt x="34" y="201"/>
                  </a:lnTo>
                  <a:lnTo>
                    <a:pt x="36" y="200"/>
                  </a:lnTo>
                  <a:lnTo>
                    <a:pt x="36" y="199"/>
                  </a:lnTo>
                  <a:lnTo>
                    <a:pt x="38" y="198"/>
                  </a:lnTo>
                  <a:lnTo>
                    <a:pt x="40" y="197"/>
                  </a:lnTo>
                  <a:lnTo>
                    <a:pt x="41" y="196"/>
                  </a:lnTo>
                  <a:lnTo>
                    <a:pt x="42" y="195"/>
                  </a:lnTo>
                  <a:lnTo>
                    <a:pt x="43" y="195"/>
                  </a:lnTo>
                  <a:lnTo>
                    <a:pt x="44" y="194"/>
                  </a:lnTo>
                  <a:lnTo>
                    <a:pt x="45" y="194"/>
                  </a:lnTo>
                  <a:lnTo>
                    <a:pt x="47" y="194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51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4"/>
                  </a:lnTo>
                  <a:lnTo>
                    <a:pt x="57" y="193"/>
                  </a:lnTo>
                  <a:lnTo>
                    <a:pt x="59" y="193"/>
                  </a:lnTo>
                  <a:lnTo>
                    <a:pt x="60" y="192"/>
                  </a:lnTo>
                  <a:lnTo>
                    <a:pt x="61" y="192"/>
                  </a:lnTo>
                  <a:lnTo>
                    <a:pt x="62" y="191"/>
                  </a:lnTo>
                  <a:lnTo>
                    <a:pt x="63" y="190"/>
                  </a:lnTo>
                  <a:lnTo>
                    <a:pt x="64" y="190"/>
                  </a:lnTo>
                  <a:lnTo>
                    <a:pt x="65" y="188"/>
                  </a:lnTo>
                  <a:lnTo>
                    <a:pt x="66" y="18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9" y="184"/>
                  </a:lnTo>
                  <a:lnTo>
                    <a:pt x="72" y="182"/>
                  </a:lnTo>
                  <a:lnTo>
                    <a:pt x="76" y="178"/>
                  </a:lnTo>
                  <a:lnTo>
                    <a:pt x="77" y="177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2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4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7" y="178"/>
                  </a:lnTo>
                  <a:lnTo>
                    <a:pt x="99" y="178"/>
                  </a:lnTo>
                  <a:lnTo>
                    <a:pt x="100" y="178"/>
                  </a:lnTo>
                  <a:lnTo>
                    <a:pt x="101" y="178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1" y="173"/>
                  </a:lnTo>
                  <a:lnTo>
                    <a:pt x="111" y="173"/>
                  </a:lnTo>
                  <a:lnTo>
                    <a:pt x="113" y="172"/>
                  </a:lnTo>
                  <a:lnTo>
                    <a:pt x="113" y="171"/>
                  </a:lnTo>
                  <a:lnTo>
                    <a:pt x="115" y="170"/>
                  </a:lnTo>
                  <a:lnTo>
                    <a:pt x="118" y="167"/>
                  </a:lnTo>
                  <a:lnTo>
                    <a:pt x="119" y="166"/>
                  </a:lnTo>
                  <a:lnTo>
                    <a:pt x="120" y="165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3"/>
                  </a:lnTo>
                  <a:lnTo>
                    <a:pt x="123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7" y="164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69"/>
                  </a:lnTo>
                  <a:lnTo>
                    <a:pt x="136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8" y="167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2" y="162"/>
                  </a:lnTo>
                  <a:lnTo>
                    <a:pt x="143" y="161"/>
                  </a:lnTo>
                  <a:lnTo>
                    <a:pt x="144" y="161"/>
                  </a:lnTo>
                  <a:lnTo>
                    <a:pt x="145" y="160"/>
                  </a:lnTo>
                  <a:lnTo>
                    <a:pt x="146" y="159"/>
                  </a:lnTo>
                  <a:lnTo>
                    <a:pt x="147" y="159"/>
                  </a:lnTo>
                  <a:lnTo>
                    <a:pt x="147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1" y="157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6"/>
                  </a:lnTo>
                  <a:lnTo>
                    <a:pt x="157" y="155"/>
                  </a:lnTo>
                  <a:lnTo>
                    <a:pt x="158" y="154"/>
                  </a:lnTo>
                  <a:lnTo>
                    <a:pt x="160" y="153"/>
                  </a:lnTo>
                  <a:lnTo>
                    <a:pt x="160" y="153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4" y="150"/>
                  </a:lnTo>
                  <a:lnTo>
                    <a:pt x="164" y="149"/>
                  </a:lnTo>
                  <a:lnTo>
                    <a:pt x="165" y="148"/>
                  </a:lnTo>
                  <a:lnTo>
                    <a:pt x="165" y="147"/>
                  </a:lnTo>
                  <a:lnTo>
                    <a:pt x="166" y="146"/>
                  </a:lnTo>
                  <a:lnTo>
                    <a:pt x="166" y="145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68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4" y="143"/>
                  </a:lnTo>
                  <a:lnTo>
                    <a:pt x="174" y="142"/>
                  </a:lnTo>
                  <a:lnTo>
                    <a:pt x="175" y="142"/>
                  </a:lnTo>
                  <a:lnTo>
                    <a:pt x="175" y="142"/>
                  </a:lnTo>
                  <a:lnTo>
                    <a:pt x="175" y="141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39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6" y="134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1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7" y="129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9" y="127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4" y="125"/>
                  </a:lnTo>
                  <a:lnTo>
                    <a:pt x="185" y="125"/>
                  </a:lnTo>
                  <a:lnTo>
                    <a:pt x="186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4" y="126"/>
                  </a:lnTo>
                  <a:lnTo>
                    <a:pt x="198" y="127"/>
                  </a:lnTo>
                  <a:lnTo>
                    <a:pt x="202" y="128"/>
                  </a:lnTo>
                  <a:lnTo>
                    <a:pt x="205" y="129"/>
                  </a:lnTo>
                  <a:lnTo>
                    <a:pt x="207" y="129"/>
                  </a:lnTo>
                  <a:lnTo>
                    <a:pt x="209" y="129"/>
                  </a:lnTo>
                  <a:lnTo>
                    <a:pt x="215" y="130"/>
                  </a:lnTo>
                  <a:lnTo>
                    <a:pt x="217" y="130"/>
                  </a:lnTo>
                  <a:lnTo>
                    <a:pt x="219" y="130"/>
                  </a:lnTo>
                  <a:lnTo>
                    <a:pt x="222" y="130"/>
                  </a:lnTo>
                  <a:lnTo>
                    <a:pt x="224" y="130"/>
                  </a:lnTo>
                  <a:lnTo>
                    <a:pt x="226" y="130"/>
                  </a:lnTo>
                  <a:lnTo>
                    <a:pt x="228" y="129"/>
                  </a:lnTo>
                  <a:lnTo>
                    <a:pt x="230" y="129"/>
                  </a:lnTo>
                  <a:lnTo>
                    <a:pt x="232" y="129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5" y="127"/>
                  </a:lnTo>
                  <a:lnTo>
                    <a:pt x="236" y="127"/>
                  </a:lnTo>
                  <a:lnTo>
                    <a:pt x="236" y="127"/>
                  </a:lnTo>
                  <a:lnTo>
                    <a:pt x="237" y="127"/>
                  </a:lnTo>
                  <a:lnTo>
                    <a:pt x="239" y="128"/>
                  </a:lnTo>
                  <a:lnTo>
                    <a:pt x="241" y="128"/>
                  </a:lnTo>
                  <a:lnTo>
                    <a:pt x="245" y="129"/>
                  </a:lnTo>
                  <a:lnTo>
                    <a:pt x="248" y="130"/>
                  </a:lnTo>
                  <a:lnTo>
                    <a:pt x="250" y="130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6" y="128"/>
                  </a:lnTo>
                  <a:lnTo>
                    <a:pt x="257" y="127"/>
                  </a:lnTo>
                  <a:lnTo>
                    <a:pt x="259" y="125"/>
                  </a:lnTo>
                  <a:lnTo>
                    <a:pt x="260" y="124"/>
                  </a:lnTo>
                  <a:lnTo>
                    <a:pt x="260" y="124"/>
                  </a:lnTo>
                  <a:lnTo>
                    <a:pt x="261" y="124"/>
                  </a:lnTo>
                  <a:lnTo>
                    <a:pt x="262" y="123"/>
                  </a:lnTo>
                  <a:lnTo>
                    <a:pt x="263" y="123"/>
                  </a:lnTo>
                  <a:lnTo>
                    <a:pt x="264" y="123"/>
                  </a:lnTo>
                  <a:lnTo>
                    <a:pt x="270" y="122"/>
                  </a:lnTo>
                  <a:lnTo>
                    <a:pt x="272" y="121"/>
                  </a:lnTo>
                  <a:lnTo>
                    <a:pt x="276" y="121"/>
                  </a:lnTo>
                  <a:lnTo>
                    <a:pt x="277" y="121"/>
                  </a:lnTo>
                  <a:lnTo>
                    <a:pt x="279" y="121"/>
                  </a:lnTo>
                  <a:lnTo>
                    <a:pt x="280" y="121"/>
                  </a:lnTo>
                  <a:lnTo>
                    <a:pt x="282" y="122"/>
                  </a:lnTo>
                  <a:lnTo>
                    <a:pt x="284" y="122"/>
                  </a:lnTo>
                  <a:lnTo>
                    <a:pt x="284" y="122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0"/>
                  </a:lnTo>
                  <a:lnTo>
                    <a:pt x="288" y="120"/>
                  </a:lnTo>
                  <a:lnTo>
                    <a:pt x="288" y="119"/>
                  </a:lnTo>
                  <a:lnTo>
                    <a:pt x="289" y="118"/>
                  </a:lnTo>
                  <a:lnTo>
                    <a:pt x="289" y="117"/>
                  </a:lnTo>
                  <a:lnTo>
                    <a:pt x="289" y="116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91" y="109"/>
                  </a:lnTo>
                  <a:lnTo>
                    <a:pt x="291" y="108"/>
                  </a:lnTo>
                  <a:lnTo>
                    <a:pt x="291" y="106"/>
                  </a:lnTo>
                  <a:lnTo>
                    <a:pt x="291" y="105"/>
                  </a:lnTo>
                  <a:lnTo>
                    <a:pt x="291" y="104"/>
                  </a:lnTo>
                  <a:lnTo>
                    <a:pt x="291" y="103"/>
                  </a:lnTo>
                  <a:lnTo>
                    <a:pt x="290" y="102"/>
                  </a:lnTo>
                  <a:lnTo>
                    <a:pt x="290" y="99"/>
                  </a:lnTo>
                  <a:lnTo>
                    <a:pt x="289" y="98"/>
                  </a:lnTo>
                  <a:lnTo>
                    <a:pt x="289" y="97"/>
                  </a:lnTo>
                  <a:lnTo>
                    <a:pt x="289" y="96"/>
                  </a:lnTo>
                  <a:lnTo>
                    <a:pt x="289" y="95"/>
                  </a:lnTo>
                  <a:lnTo>
                    <a:pt x="289" y="94"/>
                  </a:lnTo>
                  <a:lnTo>
                    <a:pt x="289" y="93"/>
                  </a:lnTo>
                  <a:lnTo>
                    <a:pt x="289" y="91"/>
                  </a:lnTo>
                  <a:lnTo>
                    <a:pt x="289" y="89"/>
                  </a:lnTo>
                  <a:lnTo>
                    <a:pt x="289" y="88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90" y="86"/>
                  </a:lnTo>
                  <a:lnTo>
                    <a:pt x="291" y="86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7" y="88"/>
                  </a:lnTo>
                  <a:lnTo>
                    <a:pt x="298" y="88"/>
                  </a:lnTo>
                  <a:lnTo>
                    <a:pt x="299" y="88"/>
                  </a:lnTo>
                  <a:lnTo>
                    <a:pt x="300" y="88"/>
                  </a:lnTo>
                  <a:lnTo>
                    <a:pt x="301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3" y="88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3" y="86"/>
                  </a:lnTo>
                  <a:lnTo>
                    <a:pt x="303" y="85"/>
                  </a:lnTo>
                  <a:lnTo>
                    <a:pt x="305" y="83"/>
                  </a:lnTo>
                  <a:lnTo>
                    <a:pt x="306" y="80"/>
                  </a:lnTo>
                  <a:lnTo>
                    <a:pt x="306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8" y="78"/>
                  </a:lnTo>
                  <a:lnTo>
                    <a:pt x="311" y="78"/>
                  </a:lnTo>
                  <a:lnTo>
                    <a:pt x="314" y="77"/>
                  </a:lnTo>
                  <a:lnTo>
                    <a:pt x="316" y="76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7" y="75"/>
                  </a:lnTo>
                  <a:lnTo>
                    <a:pt x="318" y="75"/>
                  </a:lnTo>
                  <a:lnTo>
                    <a:pt x="318" y="75"/>
                  </a:lnTo>
                  <a:lnTo>
                    <a:pt x="318" y="74"/>
                  </a:lnTo>
                  <a:lnTo>
                    <a:pt x="319" y="74"/>
                  </a:lnTo>
                  <a:lnTo>
                    <a:pt x="319" y="73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1"/>
                  </a:lnTo>
                  <a:lnTo>
                    <a:pt x="319" y="70"/>
                  </a:lnTo>
                  <a:lnTo>
                    <a:pt x="319" y="67"/>
                  </a:lnTo>
                  <a:lnTo>
                    <a:pt x="319" y="66"/>
                  </a:lnTo>
                  <a:lnTo>
                    <a:pt x="319" y="64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8" y="58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19" y="55"/>
                  </a:lnTo>
                  <a:lnTo>
                    <a:pt x="319" y="54"/>
                  </a:lnTo>
                  <a:lnTo>
                    <a:pt x="320" y="53"/>
                  </a:lnTo>
                  <a:lnTo>
                    <a:pt x="321" y="53"/>
                  </a:lnTo>
                  <a:lnTo>
                    <a:pt x="321" y="52"/>
                  </a:lnTo>
                  <a:lnTo>
                    <a:pt x="322" y="52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5" y="53"/>
                  </a:lnTo>
                  <a:lnTo>
                    <a:pt x="325" y="53"/>
                  </a:lnTo>
                  <a:lnTo>
                    <a:pt x="326" y="53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7" y="54"/>
                  </a:lnTo>
                  <a:lnTo>
                    <a:pt x="328" y="54"/>
                  </a:lnTo>
                  <a:lnTo>
                    <a:pt x="328" y="53"/>
                  </a:lnTo>
                  <a:lnTo>
                    <a:pt x="329" y="53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2" y="51"/>
                  </a:lnTo>
                  <a:lnTo>
                    <a:pt x="333" y="51"/>
                  </a:lnTo>
                  <a:lnTo>
                    <a:pt x="334" y="51"/>
                  </a:lnTo>
                  <a:lnTo>
                    <a:pt x="335" y="51"/>
                  </a:lnTo>
                  <a:lnTo>
                    <a:pt x="335" y="52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0" y="53"/>
                  </a:lnTo>
                  <a:lnTo>
                    <a:pt x="340" y="53"/>
                  </a:lnTo>
                  <a:lnTo>
                    <a:pt x="341" y="53"/>
                  </a:lnTo>
                  <a:lnTo>
                    <a:pt x="341" y="53"/>
                  </a:lnTo>
                  <a:lnTo>
                    <a:pt x="342" y="53"/>
                  </a:lnTo>
                  <a:lnTo>
                    <a:pt x="343" y="53"/>
                  </a:lnTo>
                  <a:lnTo>
                    <a:pt x="344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7" y="51"/>
                  </a:lnTo>
                  <a:lnTo>
                    <a:pt x="348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49" y="51"/>
                  </a:lnTo>
                  <a:lnTo>
                    <a:pt x="350" y="51"/>
                  </a:lnTo>
                  <a:lnTo>
                    <a:pt x="350" y="52"/>
                  </a:lnTo>
                  <a:lnTo>
                    <a:pt x="350" y="52"/>
                  </a:lnTo>
                  <a:lnTo>
                    <a:pt x="350" y="53"/>
                  </a:lnTo>
                  <a:lnTo>
                    <a:pt x="351" y="54"/>
                  </a:lnTo>
                  <a:lnTo>
                    <a:pt x="351" y="55"/>
                  </a:lnTo>
                  <a:lnTo>
                    <a:pt x="352" y="57"/>
                  </a:lnTo>
                  <a:lnTo>
                    <a:pt x="352" y="59"/>
                  </a:lnTo>
                  <a:lnTo>
                    <a:pt x="352" y="60"/>
                  </a:lnTo>
                  <a:lnTo>
                    <a:pt x="353" y="61"/>
                  </a:lnTo>
                  <a:lnTo>
                    <a:pt x="353" y="62"/>
                  </a:lnTo>
                  <a:lnTo>
                    <a:pt x="353" y="62"/>
                  </a:lnTo>
                  <a:lnTo>
                    <a:pt x="354" y="63"/>
                  </a:lnTo>
                  <a:lnTo>
                    <a:pt x="354" y="63"/>
                  </a:lnTo>
                  <a:lnTo>
                    <a:pt x="355" y="64"/>
                  </a:lnTo>
                  <a:lnTo>
                    <a:pt x="355" y="64"/>
                  </a:lnTo>
                  <a:lnTo>
                    <a:pt x="356" y="64"/>
                  </a:lnTo>
                  <a:lnTo>
                    <a:pt x="356" y="65"/>
                  </a:lnTo>
                  <a:lnTo>
                    <a:pt x="357" y="65"/>
                  </a:lnTo>
                  <a:lnTo>
                    <a:pt x="358" y="65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7" y="63"/>
                  </a:lnTo>
                  <a:lnTo>
                    <a:pt x="368" y="62"/>
                  </a:lnTo>
                  <a:lnTo>
                    <a:pt x="369" y="62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81" y="61"/>
                  </a:lnTo>
                  <a:lnTo>
                    <a:pt x="382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6" y="58"/>
                  </a:lnTo>
                  <a:lnTo>
                    <a:pt x="389" y="56"/>
                  </a:lnTo>
                  <a:lnTo>
                    <a:pt x="391" y="55"/>
                  </a:lnTo>
                  <a:lnTo>
                    <a:pt x="391" y="54"/>
                  </a:lnTo>
                  <a:lnTo>
                    <a:pt x="392" y="53"/>
                  </a:lnTo>
                  <a:lnTo>
                    <a:pt x="393" y="52"/>
                  </a:lnTo>
                  <a:lnTo>
                    <a:pt x="395" y="49"/>
                  </a:lnTo>
                  <a:lnTo>
                    <a:pt x="395" y="49"/>
                  </a:lnTo>
                  <a:lnTo>
                    <a:pt x="396" y="48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9" y="46"/>
                  </a:lnTo>
                  <a:lnTo>
                    <a:pt x="400" y="45"/>
                  </a:lnTo>
                  <a:lnTo>
                    <a:pt x="400" y="44"/>
                  </a:lnTo>
                  <a:lnTo>
                    <a:pt x="401" y="44"/>
                  </a:lnTo>
                  <a:lnTo>
                    <a:pt x="401" y="43"/>
                  </a:lnTo>
                  <a:lnTo>
                    <a:pt x="402" y="42"/>
                  </a:lnTo>
                  <a:lnTo>
                    <a:pt x="402" y="41"/>
                  </a:lnTo>
                  <a:lnTo>
                    <a:pt x="402" y="40"/>
                  </a:lnTo>
                  <a:lnTo>
                    <a:pt x="403" y="39"/>
                  </a:lnTo>
                  <a:lnTo>
                    <a:pt x="403" y="35"/>
                  </a:lnTo>
                  <a:lnTo>
                    <a:pt x="403" y="34"/>
                  </a:lnTo>
                  <a:lnTo>
                    <a:pt x="403" y="33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1"/>
                  </a:lnTo>
                  <a:lnTo>
                    <a:pt x="406" y="31"/>
                  </a:lnTo>
                  <a:lnTo>
                    <a:pt x="407" y="30"/>
                  </a:lnTo>
                  <a:lnTo>
                    <a:pt x="407" y="30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1" y="30"/>
                  </a:lnTo>
                  <a:lnTo>
                    <a:pt x="413" y="31"/>
                  </a:lnTo>
                  <a:lnTo>
                    <a:pt x="415" y="31"/>
                  </a:lnTo>
                  <a:lnTo>
                    <a:pt x="417" y="32"/>
                  </a:lnTo>
                  <a:lnTo>
                    <a:pt x="420" y="33"/>
                  </a:lnTo>
                  <a:lnTo>
                    <a:pt x="422" y="33"/>
                  </a:lnTo>
                  <a:lnTo>
                    <a:pt x="423" y="33"/>
                  </a:lnTo>
                  <a:lnTo>
                    <a:pt x="423" y="33"/>
                  </a:lnTo>
                  <a:lnTo>
                    <a:pt x="424" y="33"/>
                  </a:lnTo>
                  <a:lnTo>
                    <a:pt x="425" y="33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29" y="31"/>
                  </a:lnTo>
                  <a:lnTo>
                    <a:pt x="430" y="31"/>
                  </a:lnTo>
                  <a:lnTo>
                    <a:pt x="430" y="30"/>
                  </a:lnTo>
                  <a:lnTo>
                    <a:pt x="431" y="29"/>
                  </a:lnTo>
                  <a:lnTo>
                    <a:pt x="431" y="29"/>
                  </a:lnTo>
                  <a:lnTo>
                    <a:pt x="432" y="28"/>
                  </a:lnTo>
                  <a:lnTo>
                    <a:pt x="432" y="28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3" y="24"/>
                  </a:lnTo>
                  <a:lnTo>
                    <a:pt x="433" y="23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4" y="22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7" y="20"/>
                  </a:lnTo>
                  <a:lnTo>
                    <a:pt x="437" y="19"/>
                  </a:lnTo>
                  <a:lnTo>
                    <a:pt x="439" y="18"/>
                  </a:lnTo>
                  <a:lnTo>
                    <a:pt x="443" y="16"/>
                  </a:lnTo>
                  <a:lnTo>
                    <a:pt x="444" y="16"/>
                  </a:lnTo>
                  <a:lnTo>
                    <a:pt x="445" y="15"/>
                  </a:lnTo>
                  <a:lnTo>
                    <a:pt x="445" y="15"/>
                  </a:lnTo>
                  <a:lnTo>
                    <a:pt x="446" y="14"/>
                  </a:lnTo>
                  <a:lnTo>
                    <a:pt x="446" y="14"/>
                  </a:lnTo>
                  <a:lnTo>
                    <a:pt x="447" y="13"/>
                  </a:lnTo>
                  <a:lnTo>
                    <a:pt x="447" y="12"/>
                  </a:lnTo>
                  <a:lnTo>
                    <a:pt x="447" y="11"/>
                  </a:lnTo>
                  <a:lnTo>
                    <a:pt x="447" y="9"/>
                  </a:lnTo>
                  <a:lnTo>
                    <a:pt x="447" y="8"/>
                  </a:lnTo>
                  <a:lnTo>
                    <a:pt x="448" y="6"/>
                  </a:lnTo>
                  <a:lnTo>
                    <a:pt x="449" y="4"/>
                  </a:lnTo>
                  <a:lnTo>
                    <a:pt x="450" y="3"/>
                  </a:lnTo>
                  <a:lnTo>
                    <a:pt x="45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1" y="0"/>
                  </a:lnTo>
                  <a:lnTo>
                    <a:pt x="451" y="0"/>
                  </a:lnTo>
                  <a:close/>
                  <a:moveTo>
                    <a:pt x="335" y="203"/>
                  </a:moveTo>
                  <a:lnTo>
                    <a:pt x="335" y="204"/>
                  </a:lnTo>
                  <a:lnTo>
                    <a:pt x="334" y="204"/>
                  </a:lnTo>
                  <a:lnTo>
                    <a:pt x="332" y="204"/>
                  </a:lnTo>
                  <a:lnTo>
                    <a:pt x="327" y="205"/>
                  </a:lnTo>
                  <a:lnTo>
                    <a:pt x="325" y="206"/>
                  </a:lnTo>
                  <a:lnTo>
                    <a:pt x="323" y="206"/>
                  </a:lnTo>
                  <a:lnTo>
                    <a:pt x="321" y="207"/>
                  </a:lnTo>
                  <a:lnTo>
                    <a:pt x="319" y="208"/>
                  </a:lnTo>
                  <a:lnTo>
                    <a:pt x="318" y="208"/>
                  </a:lnTo>
                  <a:lnTo>
                    <a:pt x="315" y="210"/>
                  </a:lnTo>
                  <a:lnTo>
                    <a:pt x="314" y="211"/>
                  </a:lnTo>
                  <a:lnTo>
                    <a:pt x="312" y="212"/>
                  </a:lnTo>
                  <a:lnTo>
                    <a:pt x="309" y="212"/>
                  </a:lnTo>
                  <a:lnTo>
                    <a:pt x="307" y="213"/>
                  </a:lnTo>
                  <a:lnTo>
                    <a:pt x="306" y="213"/>
                  </a:lnTo>
                  <a:lnTo>
                    <a:pt x="302" y="215"/>
                  </a:lnTo>
                  <a:lnTo>
                    <a:pt x="301" y="216"/>
                  </a:lnTo>
                  <a:lnTo>
                    <a:pt x="300" y="217"/>
                  </a:lnTo>
                  <a:lnTo>
                    <a:pt x="297" y="217"/>
                  </a:lnTo>
                  <a:lnTo>
                    <a:pt x="296" y="217"/>
                  </a:lnTo>
                  <a:lnTo>
                    <a:pt x="295" y="218"/>
                  </a:lnTo>
                  <a:lnTo>
                    <a:pt x="292" y="218"/>
                  </a:lnTo>
                  <a:lnTo>
                    <a:pt x="291" y="218"/>
                  </a:lnTo>
                  <a:lnTo>
                    <a:pt x="289" y="218"/>
                  </a:lnTo>
                  <a:lnTo>
                    <a:pt x="289" y="219"/>
                  </a:lnTo>
                  <a:lnTo>
                    <a:pt x="288" y="219"/>
                  </a:lnTo>
                  <a:lnTo>
                    <a:pt x="287" y="219"/>
                  </a:lnTo>
                  <a:lnTo>
                    <a:pt x="287" y="220"/>
                  </a:lnTo>
                  <a:lnTo>
                    <a:pt x="286" y="220"/>
                  </a:lnTo>
                  <a:lnTo>
                    <a:pt x="286" y="221"/>
                  </a:lnTo>
                  <a:lnTo>
                    <a:pt x="285" y="222"/>
                  </a:lnTo>
                  <a:lnTo>
                    <a:pt x="285" y="223"/>
                  </a:lnTo>
                  <a:lnTo>
                    <a:pt x="285" y="224"/>
                  </a:lnTo>
                  <a:lnTo>
                    <a:pt x="284" y="226"/>
                  </a:lnTo>
                  <a:lnTo>
                    <a:pt x="284" y="227"/>
                  </a:lnTo>
                  <a:lnTo>
                    <a:pt x="283" y="228"/>
                  </a:lnTo>
                  <a:lnTo>
                    <a:pt x="283" y="229"/>
                  </a:lnTo>
                  <a:lnTo>
                    <a:pt x="283" y="229"/>
                  </a:lnTo>
                  <a:lnTo>
                    <a:pt x="282" y="229"/>
                  </a:lnTo>
                  <a:lnTo>
                    <a:pt x="282" y="230"/>
                  </a:lnTo>
                  <a:lnTo>
                    <a:pt x="281" y="230"/>
                  </a:lnTo>
                  <a:lnTo>
                    <a:pt x="279" y="230"/>
                  </a:lnTo>
                  <a:lnTo>
                    <a:pt x="278" y="230"/>
                  </a:lnTo>
                  <a:lnTo>
                    <a:pt x="276" y="230"/>
                  </a:lnTo>
                  <a:lnTo>
                    <a:pt x="275" y="230"/>
                  </a:lnTo>
                  <a:lnTo>
                    <a:pt x="275" y="229"/>
                  </a:lnTo>
                  <a:lnTo>
                    <a:pt x="274" y="229"/>
                  </a:lnTo>
                  <a:lnTo>
                    <a:pt x="272" y="228"/>
                  </a:lnTo>
                  <a:lnTo>
                    <a:pt x="271" y="228"/>
                  </a:lnTo>
                  <a:lnTo>
                    <a:pt x="271" y="227"/>
                  </a:lnTo>
                  <a:lnTo>
                    <a:pt x="270" y="227"/>
                  </a:lnTo>
                  <a:lnTo>
                    <a:pt x="269" y="227"/>
                  </a:lnTo>
                  <a:lnTo>
                    <a:pt x="269" y="227"/>
                  </a:lnTo>
                  <a:lnTo>
                    <a:pt x="268" y="227"/>
                  </a:lnTo>
                  <a:lnTo>
                    <a:pt x="268" y="227"/>
                  </a:lnTo>
                  <a:lnTo>
                    <a:pt x="267" y="228"/>
                  </a:lnTo>
                  <a:lnTo>
                    <a:pt x="264" y="229"/>
                  </a:lnTo>
                  <a:lnTo>
                    <a:pt x="263" y="230"/>
                  </a:lnTo>
                  <a:lnTo>
                    <a:pt x="262" y="230"/>
                  </a:lnTo>
                  <a:lnTo>
                    <a:pt x="259" y="231"/>
                  </a:lnTo>
                  <a:lnTo>
                    <a:pt x="257" y="231"/>
                  </a:lnTo>
                  <a:lnTo>
                    <a:pt x="254" y="232"/>
                  </a:lnTo>
                  <a:lnTo>
                    <a:pt x="252" y="233"/>
                  </a:lnTo>
                  <a:lnTo>
                    <a:pt x="251" y="234"/>
                  </a:lnTo>
                  <a:lnTo>
                    <a:pt x="250" y="234"/>
                  </a:lnTo>
                  <a:lnTo>
                    <a:pt x="249" y="235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7"/>
                  </a:lnTo>
                  <a:lnTo>
                    <a:pt x="249" y="237"/>
                  </a:lnTo>
                  <a:lnTo>
                    <a:pt x="249" y="237"/>
                  </a:lnTo>
                  <a:lnTo>
                    <a:pt x="251" y="238"/>
                  </a:lnTo>
                  <a:lnTo>
                    <a:pt x="252" y="238"/>
                  </a:lnTo>
                  <a:lnTo>
                    <a:pt x="253" y="239"/>
                  </a:lnTo>
                  <a:lnTo>
                    <a:pt x="253" y="240"/>
                  </a:lnTo>
                  <a:lnTo>
                    <a:pt x="255" y="241"/>
                  </a:lnTo>
                  <a:lnTo>
                    <a:pt x="257" y="243"/>
                  </a:lnTo>
                  <a:lnTo>
                    <a:pt x="259" y="246"/>
                  </a:lnTo>
                  <a:lnTo>
                    <a:pt x="260" y="247"/>
                  </a:lnTo>
                  <a:lnTo>
                    <a:pt x="261" y="247"/>
                  </a:lnTo>
                  <a:lnTo>
                    <a:pt x="261" y="248"/>
                  </a:lnTo>
                  <a:lnTo>
                    <a:pt x="261" y="248"/>
                  </a:lnTo>
                  <a:lnTo>
                    <a:pt x="261" y="249"/>
                  </a:lnTo>
                  <a:lnTo>
                    <a:pt x="261" y="250"/>
                  </a:lnTo>
                  <a:lnTo>
                    <a:pt x="261" y="250"/>
                  </a:lnTo>
                  <a:lnTo>
                    <a:pt x="260" y="251"/>
                  </a:lnTo>
                  <a:lnTo>
                    <a:pt x="260" y="251"/>
                  </a:lnTo>
                  <a:lnTo>
                    <a:pt x="258" y="252"/>
                  </a:lnTo>
                  <a:lnTo>
                    <a:pt x="257" y="253"/>
                  </a:lnTo>
                  <a:lnTo>
                    <a:pt x="256" y="253"/>
                  </a:lnTo>
                  <a:lnTo>
                    <a:pt x="256" y="254"/>
                  </a:lnTo>
                  <a:lnTo>
                    <a:pt x="255" y="255"/>
                  </a:lnTo>
                  <a:lnTo>
                    <a:pt x="255" y="255"/>
                  </a:lnTo>
                  <a:lnTo>
                    <a:pt x="254" y="256"/>
                  </a:lnTo>
                  <a:lnTo>
                    <a:pt x="254" y="257"/>
                  </a:lnTo>
                  <a:lnTo>
                    <a:pt x="254" y="257"/>
                  </a:lnTo>
                  <a:lnTo>
                    <a:pt x="255" y="257"/>
                  </a:lnTo>
                  <a:lnTo>
                    <a:pt x="255" y="258"/>
                  </a:lnTo>
                  <a:lnTo>
                    <a:pt x="255" y="259"/>
                  </a:lnTo>
                  <a:lnTo>
                    <a:pt x="257" y="261"/>
                  </a:lnTo>
                  <a:lnTo>
                    <a:pt x="257" y="261"/>
                  </a:lnTo>
                  <a:lnTo>
                    <a:pt x="258" y="262"/>
                  </a:lnTo>
                  <a:lnTo>
                    <a:pt x="259" y="265"/>
                  </a:lnTo>
                  <a:lnTo>
                    <a:pt x="259" y="265"/>
                  </a:lnTo>
                  <a:lnTo>
                    <a:pt x="260" y="267"/>
                  </a:lnTo>
                  <a:lnTo>
                    <a:pt x="261" y="268"/>
                  </a:lnTo>
                  <a:lnTo>
                    <a:pt x="262" y="269"/>
                  </a:lnTo>
                  <a:lnTo>
                    <a:pt x="263" y="270"/>
                  </a:lnTo>
                  <a:lnTo>
                    <a:pt x="265" y="272"/>
                  </a:lnTo>
                  <a:lnTo>
                    <a:pt x="268" y="274"/>
                  </a:lnTo>
                  <a:lnTo>
                    <a:pt x="268" y="275"/>
                  </a:lnTo>
                  <a:lnTo>
                    <a:pt x="269" y="276"/>
                  </a:lnTo>
                  <a:lnTo>
                    <a:pt x="269" y="276"/>
                  </a:lnTo>
                  <a:lnTo>
                    <a:pt x="269" y="277"/>
                  </a:lnTo>
                  <a:lnTo>
                    <a:pt x="269" y="278"/>
                  </a:lnTo>
                  <a:lnTo>
                    <a:pt x="269" y="278"/>
                  </a:lnTo>
                  <a:lnTo>
                    <a:pt x="269" y="279"/>
                  </a:lnTo>
                  <a:lnTo>
                    <a:pt x="269" y="280"/>
                  </a:lnTo>
                  <a:lnTo>
                    <a:pt x="268" y="281"/>
                  </a:lnTo>
                  <a:lnTo>
                    <a:pt x="268" y="282"/>
                  </a:lnTo>
                  <a:lnTo>
                    <a:pt x="268" y="282"/>
                  </a:lnTo>
                  <a:lnTo>
                    <a:pt x="268" y="283"/>
                  </a:lnTo>
                  <a:lnTo>
                    <a:pt x="268" y="284"/>
                  </a:lnTo>
                  <a:lnTo>
                    <a:pt x="268" y="284"/>
                  </a:lnTo>
                  <a:lnTo>
                    <a:pt x="268" y="285"/>
                  </a:lnTo>
                  <a:lnTo>
                    <a:pt x="269" y="285"/>
                  </a:lnTo>
                  <a:lnTo>
                    <a:pt x="269" y="286"/>
                  </a:lnTo>
                  <a:lnTo>
                    <a:pt x="270" y="286"/>
                  </a:lnTo>
                  <a:lnTo>
                    <a:pt x="271" y="287"/>
                  </a:lnTo>
                  <a:lnTo>
                    <a:pt x="271" y="287"/>
                  </a:lnTo>
                  <a:lnTo>
                    <a:pt x="272" y="288"/>
                  </a:lnTo>
                  <a:lnTo>
                    <a:pt x="273" y="288"/>
                  </a:lnTo>
                  <a:lnTo>
                    <a:pt x="275" y="289"/>
                  </a:lnTo>
                  <a:lnTo>
                    <a:pt x="276" y="289"/>
                  </a:lnTo>
                  <a:lnTo>
                    <a:pt x="276" y="290"/>
                  </a:lnTo>
                  <a:lnTo>
                    <a:pt x="277" y="290"/>
                  </a:lnTo>
                  <a:lnTo>
                    <a:pt x="277" y="291"/>
                  </a:lnTo>
                  <a:lnTo>
                    <a:pt x="277" y="291"/>
                  </a:lnTo>
                  <a:lnTo>
                    <a:pt x="277" y="292"/>
                  </a:lnTo>
                  <a:lnTo>
                    <a:pt x="277" y="292"/>
                  </a:lnTo>
                  <a:lnTo>
                    <a:pt x="277" y="293"/>
                  </a:lnTo>
                  <a:lnTo>
                    <a:pt x="277" y="294"/>
                  </a:lnTo>
                  <a:lnTo>
                    <a:pt x="277" y="296"/>
                  </a:lnTo>
                  <a:lnTo>
                    <a:pt x="277" y="296"/>
                  </a:lnTo>
                  <a:lnTo>
                    <a:pt x="277" y="297"/>
                  </a:lnTo>
                  <a:lnTo>
                    <a:pt x="277" y="297"/>
                  </a:lnTo>
                  <a:lnTo>
                    <a:pt x="278" y="298"/>
                  </a:lnTo>
                  <a:lnTo>
                    <a:pt x="278" y="298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8" y="300"/>
                  </a:lnTo>
                  <a:lnTo>
                    <a:pt x="277" y="302"/>
                  </a:lnTo>
                  <a:lnTo>
                    <a:pt x="277" y="302"/>
                  </a:lnTo>
                  <a:lnTo>
                    <a:pt x="277" y="303"/>
                  </a:lnTo>
                  <a:lnTo>
                    <a:pt x="277" y="304"/>
                  </a:lnTo>
                  <a:lnTo>
                    <a:pt x="277" y="304"/>
                  </a:lnTo>
                  <a:lnTo>
                    <a:pt x="277" y="305"/>
                  </a:lnTo>
                  <a:lnTo>
                    <a:pt x="278" y="305"/>
                  </a:lnTo>
                  <a:lnTo>
                    <a:pt x="278" y="306"/>
                  </a:lnTo>
                  <a:lnTo>
                    <a:pt x="279" y="306"/>
                  </a:lnTo>
                  <a:lnTo>
                    <a:pt x="279" y="307"/>
                  </a:lnTo>
                  <a:lnTo>
                    <a:pt x="279" y="307"/>
                  </a:lnTo>
                  <a:lnTo>
                    <a:pt x="280" y="308"/>
                  </a:lnTo>
                  <a:lnTo>
                    <a:pt x="281" y="308"/>
                  </a:lnTo>
                  <a:lnTo>
                    <a:pt x="282" y="308"/>
                  </a:lnTo>
                  <a:lnTo>
                    <a:pt x="282" y="308"/>
                  </a:lnTo>
                  <a:lnTo>
                    <a:pt x="283" y="309"/>
                  </a:lnTo>
                  <a:lnTo>
                    <a:pt x="284" y="309"/>
                  </a:lnTo>
                  <a:lnTo>
                    <a:pt x="288" y="309"/>
                  </a:lnTo>
                  <a:lnTo>
                    <a:pt x="289" y="309"/>
                  </a:lnTo>
                  <a:lnTo>
                    <a:pt x="292" y="309"/>
                  </a:lnTo>
                  <a:lnTo>
                    <a:pt x="292" y="309"/>
                  </a:lnTo>
                  <a:lnTo>
                    <a:pt x="293" y="309"/>
                  </a:lnTo>
                  <a:lnTo>
                    <a:pt x="293" y="309"/>
                  </a:lnTo>
                  <a:lnTo>
                    <a:pt x="294" y="309"/>
                  </a:lnTo>
                  <a:lnTo>
                    <a:pt x="294" y="308"/>
                  </a:lnTo>
                  <a:lnTo>
                    <a:pt x="294" y="308"/>
                  </a:lnTo>
                  <a:lnTo>
                    <a:pt x="295" y="307"/>
                  </a:lnTo>
                  <a:lnTo>
                    <a:pt x="296" y="305"/>
                  </a:lnTo>
                  <a:lnTo>
                    <a:pt x="297" y="304"/>
                  </a:lnTo>
                  <a:lnTo>
                    <a:pt x="297" y="303"/>
                  </a:lnTo>
                  <a:lnTo>
                    <a:pt x="297" y="303"/>
                  </a:lnTo>
                  <a:lnTo>
                    <a:pt x="298" y="302"/>
                  </a:lnTo>
                  <a:lnTo>
                    <a:pt x="298" y="302"/>
                  </a:lnTo>
                  <a:lnTo>
                    <a:pt x="299" y="302"/>
                  </a:lnTo>
                  <a:lnTo>
                    <a:pt x="300" y="301"/>
                  </a:lnTo>
                  <a:lnTo>
                    <a:pt x="303" y="301"/>
                  </a:lnTo>
                  <a:lnTo>
                    <a:pt x="304" y="300"/>
                  </a:lnTo>
                  <a:lnTo>
                    <a:pt x="306" y="300"/>
                  </a:lnTo>
                  <a:lnTo>
                    <a:pt x="307" y="299"/>
                  </a:lnTo>
                  <a:lnTo>
                    <a:pt x="310" y="298"/>
                  </a:lnTo>
                  <a:lnTo>
                    <a:pt x="312" y="298"/>
                  </a:lnTo>
                  <a:lnTo>
                    <a:pt x="313" y="297"/>
                  </a:lnTo>
                  <a:lnTo>
                    <a:pt x="314" y="297"/>
                  </a:lnTo>
                  <a:lnTo>
                    <a:pt x="315" y="296"/>
                  </a:lnTo>
                  <a:lnTo>
                    <a:pt x="316" y="296"/>
                  </a:lnTo>
                  <a:lnTo>
                    <a:pt x="321" y="292"/>
                  </a:lnTo>
                  <a:lnTo>
                    <a:pt x="323" y="290"/>
                  </a:lnTo>
                  <a:lnTo>
                    <a:pt x="324" y="289"/>
                  </a:lnTo>
                  <a:lnTo>
                    <a:pt x="325" y="289"/>
                  </a:lnTo>
                  <a:lnTo>
                    <a:pt x="326" y="289"/>
                  </a:lnTo>
                  <a:lnTo>
                    <a:pt x="327" y="288"/>
                  </a:lnTo>
                  <a:lnTo>
                    <a:pt x="329" y="287"/>
                  </a:lnTo>
                  <a:lnTo>
                    <a:pt x="330" y="287"/>
                  </a:lnTo>
                  <a:lnTo>
                    <a:pt x="331" y="286"/>
                  </a:lnTo>
                  <a:lnTo>
                    <a:pt x="332" y="286"/>
                  </a:lnTo>
                  <a:lnTo>
                    <a:pt x="333" y="285"/>
                  </a:lnTo>
                  <a:lnTo>
                    <a:pt x="334" y="285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6" y="282"/>
                  </a:lnTo>
                  <a:lnTo>
                    <a:pt x="336" y="282"/>
                  </a:lnTo>
                  <a:lnTo>
                    <a:pt x="337" y="282"/>
                  </a:lnTo>
                  <a:lnTo>
                    <a:pt x="338" y="281"/>
                  </a:lnTo>
                  <a:lnTo>
                    <a:pt x="338" y="281"/>
                  </a:lnTo>
                  <a:lnTo>
                    <a:pt x="339" y="281"/>
                  </a:lnTo>
                  <a:lnTo>
                    <a:pt x="342" y="281"/>
                  </a:lnTo>
                  <a:lnTo>
                    <a:pt x="343" y="280"/>
                  </a:lnTo>
                  <a:lnTo>
                    <a:pt x="345" y="280"/>
                  </a:lnTo>
                  <a:lnTo>
                    <a:pt x="347" y="280"/>
                  </a:lnTo>
                  <a:lnTo>
                    <a:pt x="349" y="280"/>
                  </a:lnTo>
                  <a:lnTo>
                    <a:pt x="350" y="280"/>
                  </a:lnTo>
                  <a:lnTo>
                    <a:pt x="350" y="280"/>
                  </a:lnTo>
                  <a:lnTo>
                    <a:pt x="351" y="280"/>
                  </a:lnTo>
                  <a:lnTo>
                    <a:pt x="352" y="281"/>
                  </a:lnTo>
                  <a:lnTo>
                    <a:pt x="354" y="281"/>
                  </a:lnTo>
                  <a:lnTo>
                    <a:pt x="355" y="282"/>
                  </a:lnTo>
                  <a:lnTo>
                    <a:pt x="356" y="283"/>
                  </a:lnTo>
                  <a:lnTo>
                    <a:pt x="358" y="284"/>
                  </a:lnTo>
                  <a:lnTo>
                    <a:pt x="360" y="285"/>
                  </a:lnTo>
                  <a:lnTo>
                    <a:pt x="360" y="285"/>
                  </a:lnTo>
                  <a:lnTo>
                    <a:pt x="361" y="285"/>
                  </a:lnTo>
                  <a:lnTo>
                    <a:pt x="362" y="286"/>
                  </a:lnTo>
                  <a:lnTo>
                    <a:pt x="363" y="286"/>
                  </a:lnTo>
                  <a:lnTo>
                    <a:pt x="365" y="286"/>
                  </a:lnTo>
                  <a:lnTo>
                    <a:pt x="366" y="286"/>
                  </a:lnTo>
                  <a:lnTo>
                    <a:pt x="366" y="286"/>
                  </a:lnTo>
                  <a:lnTo>
                    <a:pt x="367" y="286"/>
                  </a:lnTo>
                  <a:lnTo>
                    <a:pt x="368" y="286"/>
                  </a:lnTo>
                  <a:lnTo>
                    <a:pt x="368" y="285"/>
                  </a:lnTo>
                  <a:lnTo>
                    <a:pt x="369" y="285"/>
                  </a:lnTo>
                  <a:lnTo>
                    <a:pt x="370" y="284"/>
                  </a:lnTo>
                  <a:lnTo>
                    <a:pt x="372" y="282"/>
                  </a:lnTo>
                  <a:lnTo>
                    <a:pt x="373" y="282"/>
                  </a:lnTo>
                  <a:lnTo>
                    <a:pt x="374" y="281"/>
                  </a:lnTo>
                  <a:lnTo>
                    <a:pt x="374" y="280"/>
                  </a:lnTo>
                  <a:lnTo>
                    <a:pt x="375" y="279"/>
                  </a:lnTo>
                  <a:lnTo>
                    <a:pt x="375" y="278"/>
                  </a:lnTo>
                  <a:lnTo>
                    <a:pt x="375" y="277"/>
                  </a:lnTo>
                  <a:lnTo>
                    <a:pt x="375" y="276"/>
                  </a:lnTo>
                  <a:lnTo>
                    <a:pt x="375" y="275"/>
                  </a:lnTo>
                  <a:lnTo>
                    <a:pt x="374" y="271"/>
                  </a:lnTo>
                  <a:lnTo>
                    <a:pt x="374" y="269"/>
                  </a:lnTo>
                  <a:lnTo>
                    <a:pt x="374" y="268"/>
                  </a:lnTo>
                  <a:lnTo>
                    <a:pt x="374" y="267"/>
                  </a:lnTo>
                  <a:lnTo>
                    <a:pt x="373" y="267"/>
                  </a:lnTo>
                  <a:lnTo>
                    <a:pt x="373" y="266"/>
                  </a:lnTo>
                  <a:lnTo>
                    <a:pt x="373" y="266"/>
                  </a:lnTo>
                  <a:lnTo>
                    <a:pt x="372" y="265"/>
                  </a:lnTo>
                  <a:lnTo>
                    <a:pt x="371" y="264"/>
                  </a:lnTo>
                  <a:lnTo>
                    <a:pt x="371" y="264"/>
                  </a:lnTo>
                  <a:lnTo>
                    <a:pt x="371" y="263"/>
                  </a:lnTo>
                  <a:lnTo>
                    <a:pt x="370" y="263"/>
                  </a:lnTo>
                  <a:lnTo>
                    <a:pt x="370" y="262"/>
                  </a:lnTo>
                  <a:lnTo>
                    <a:pt x="370" y="261"/>
                  </a:lnTo>
                  <a:lnTo>
                    <a:pt x="371" y="261"/>
                  </a:lnTo>
                  <a:lnTo>
                    <a:pt x="371" y="260"/>
                  </a:lnTo>
                  <a:lnTo>
                    <a:pt x="371" y="260"/>
                  </a:lnTo>
                  <a:lnTo>
                    <a:pt x="371" y="259"/>
                  </a:lnTo>
                  <a:lnTo>
                    <a:pt x="372" y="259"/>
                  </a:lnTo>
                  <a:lnTo>
                    <a:pt x="373" y="258"/>
                  </a:lnTo>
                  <a:lnTo>
                    <a:pt x="374" y="257"/>
                  </a:lnTo>
                  <a:lnTo>
                    <a:pt x="374" y="257"/>
                  </a:lnTo>
                  <a:lnTo>
                    <a:pt x="379" y="254"/>
                  </a:lnTo>
                  <a:lnTo>
                    <a:pt x="382" y="253"/>
                  </a:lnTo>
                  <a:lnTo>
                    <a:pt x="382" y="252"/>
                  </a:lnTo>
                  <a:lnTo>
                    <a:pt x="383" y="252"/>
                  </a:lnTo>
                  <a:lnTo>
                    <a:pt x="384" y="251"/>
                  </a:lnTo>
                  <a:lnTo>
                    <a:pt x="384" y="251"/>
                  </a:lnTo>
                  <a:lnTo>
                    <a:pt x="385" y="250"/>
                  </a:lnTo>
                  <a:lnTo>
                    <a:pt x="385" y="249"/>
                  </a:lnTo>
                  <a:lnTo>
                    <a:pt x="386" y="248"/>
                  </a:lnTo>
                  <a:lnTo>
                    <a:pt x="386" y="247"/>
                  </a:lnTo>
                  <a:lnTo>
                    <a:pt x="386" y="246"/>
                  </a:lnTo>
                  <a:lnTo>
                    <a:pt x="386" y="246"/>
                  </a:lnTo>
                  <a:lnTo>
                    <a:pt x="386" y="245"/>
                  </a:lnTo>
                  <a:lnTo>
                    <a:pt x="386" y="245"/>
                  </a:lnTo>
                  <a:lnTo>
                    <a:pt x="385" y="244"/>
                  </a:lnTo>
                  <a:lnTo>
                    <a:pt x="385" y="243"/>
                  </a:lnTo>
                  <a:lnTo>
                    <a:pt x="384" y="242"/>
                  </a:lnTo>
                  <a:lnTo>
                    <a:pt x="383" y="241"/>
                  </a:lnTo>
                  <a:lnTo>
                    <a:pt x="383" y="240"/>
                  </a:lnTo>
                  <a:lnTo>
                    <a:pt x="382" y="240"/>
                  </a:lnTo>
                  <a:lnTo>
                    <a:pt x="381" y="239"/>
                  </a:lnTo>
                  <a:lnTo>
                    <a:pt x="378" y="237"/>
                  </a:lnTo>
                  <a:lnTo>
                    <a:pt x="377" y="236"/>
                  </a:lnTo>
                  <a:lnTo>
                    <a:pt x="376" y="235"/>
                  </a:lnTo>
                  <a:lnTo>
                    <a:pt x="376" y="235"/>
                  </a:lnTo>
                  <a:lnTo>
                    <a:pt x="375" y="234"/>
                  </a:lnTo>
                  <a:lnTo>
                    <a:pt x="374" y="232"/>
                  </a:lnTo>
                  <a:lnTo>
                    <a:pt x="373" y="231"/>
                  </a:lnTo>
                  <a:lnTo>
                    <a:pt x="372" y="231"/>
                  </a:lnTo>
                  <a:lnTo>
                    <a:pt x="372" y="230"/>
                  </a:lnTo>
                  <a:lnTo>
                    <a:pt x="371" y="230"/>
                  </a:lnTo>
                  <a:lnTo>
                    <a:pt x="370" y="229"/>
                  </a:lnTo>
                  <a:lnTo>
                    <a:pt x="366" y="227"/>
                  </a:lnTo>
                  <a:lnTo>
                    <a:pt x="365" y="226"/>
                  </a:lnTo>
                  <a:lnTo>
                    <a:pt x="362" y="226"/>
                  </a:lnTo>
                  <a:lnTo>
                    <a:pt x="360" y="225"/>
                  </a:lnTo>
                  <a:lnTo>
                    <a:pt x="360" y="225"/>
                  </a:lnTo>
                  <a:lnTo>
                    <a:pt x="359" y="224"/>
                  </a:lnTo>
                  <a:lnTo>
                    <a:pt x="358" y="224"/>
                  </a:lnTo>
                  <a:lnTo>
                    <a:pt x="357" y="223"/>
                  </a:lnTo>
                  <a:lnTo>
                    <a:pt x="357" y="222"/>
                  </a:lnTo>
                  <a:lnTo>
                    <a:pt x="356" y="222"/>
                  </a:lnTo>
                  <a:lnTo>
                    <a:pt x="355" y="221"/>
                  </a:lnTo>
                  <a:lnTo>
                    <a:pt x="355" y="220"/>
                  </a:lnTo>
                  <a:lnTo>
                    <a:pt x="355" y="219"/>
                  </a:lnTo>
                  <a:lnTo>
                    <a:pt x="354" y="217"/>
                  </a:lnTo>
                  <a:lnTo>
                    <a:pt x="353" y="216"/>
                  </a:lnTo>
                  <a:lnTo>
                    <a:pt x="353" y="216"/>
                  </a:lnTo>
                  <a:lnTo>
                    <a:pt x="353" y="216"/>
                  </a:lnTo>
                  <a:lnTo>
                    <a:pt x="352" y="215"/>
                  </a:lnTo>
                  <a:lnTo>
                    <a:pt x="351" y="215"/>
                  </a:lnTo>
                  <a:lnTo>
                    <a:pt x="349" y="215"/>
                  </a:lnTo>
                  <a:lnTo>
                    <a:pt x="348" y="214"/>
                  </a:lnTo>
                  <a:lnTo>
                    <a:pt x="347" y="214"/>
                  </a:lnTo>
                  <a:lnTo>
                    <a:pt x="346" y="213"/>
                  </a:lnTo>
                  <a:lnTo>
                    <a:pt x="343" y="211"/>
                  </a:lnTo>
                  <a:lnTo>
                    <a:pt x="342" y="210"/>
                  </a:lnTo>
                  <a:lnTo>
                    <a:pt x="339" y="208"/>
                  </a:lnTo>
                  <a:lnTo>
                    <a:pt x="338" y="207"/>
                  </a:lnTo>
                  <a:lnTo>
                    <a:pt x="338" y="207"/>
                  </a:lnTo>
                  <a:lnTo>
                    <a:pt x="337" y="207"/>
                  </a:lnTo>
                  <a:lnTo>
                    <a:pt x="337" y="206"/>
                  </a:lnTo>
                  <a:lnTo>
                    <a:pt x="337" y="205"/>
                  </a:lnTo>
                  <a:lnTo>
                    <a:pt x="336" y="205"/>
                  </a:lnTo>
                  <a:lnTo>
                    <a:pt x="336" y="204"/>
                  </a:lnTo>
                  <a:lnTo>
                    <a:pt x="336" y="204"/>
                  </a:lnTo>
                  <a:lnTo>
                    <a:pt x="336" y="204"/>
                  </a:lnTo>
                  <a:lnTo>
                    <a:pt x="337" y="203"/>
                  </a:lnTo>
                  <a:lnTo>
                    <a:pt x="336" y="203"/>
                  </a:lnTo>
                  <a:lnTo>
                    <a:pt x="336" y="203"/>
                  </a:lnTo>
                  <a:lnTo>
                    <a:pt x="335" y="203"/>
                  </a:lnTo>
                  <a:close/>
                </a:path>
              </a:pathLst>
            </a:custGeom>
            <a:solidFill>
              <a:srgbClr val="E6A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3" name="Freeform 43">
              <a:extLst>
                <a:ext uri="{FF2B5EF4-FFF2-40B4-BE49-F238E27FC236}">
                  <a16:creationId xmlns:a16="http://schemas.microsoft.com/office/drawing/2014/main" id="{D98DDA3C-3659-2AA1-83FE-462BD958B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1" y="3069"/>
              <a:ext cx="438" cy="512"/>
            </a:xfrm>
            <a:custGeom>
              <a:avLst/>
              <a:gdLst>
                <a:gd name="T0" fmla="*/ 269 w 438"/>
                <a:gd name="T1" fmla="*/ 10 h 512"/>
                <a:gd name="T2" fmla="*/ 282 w 438"/>
                <a:gd name="T3" fmla="*/ 9 h 512"/>
                <a:gd name="T4" fmla="*/ 306 w 438"/>
                <a:gd name="T5" fmla="*/ 29 h 512"/>
                <a:gd name="T6" fmla="*/ 323 w 438"/>
                <a:gd name="T7" fmla="*/ 45 h 512"/>
                <a:gd name="T8" fmla="*/ 321 w 438"/>
                <a:gd name="T9" fmla="*/ 65 h 512"/>
                <a:gd name="T10" fmla="*/ 327 w 438"/>
                <a:gd name="T11" fmla="*/ 89 h 512"/>
                <a:gd name="T12" fmla="*/ 317 w 438"/>
                <a:gd name="T13" fmla="*/ 108 h 512"/>
                <a:gd name="T14" fmla="*/ 318 w 438"/>
                <a:gd name="T15" fmla="*/ 121 h 512"/>
                <a:gd name="T16" fmla="*/ 332 w 438"/>
                <a:gd name="T17" fmla="*/ 128 h 512"/>
                <a:gd name="T18" fmla="*/ 343 w 438"/>
                <a:gd name="T19" fmla="*/ 144 h 512"/>
                <a:gd name="T20" fmla="*/ 352 w 438"/>
                <a:gd name="T21" fmla="*/ 152 h 512"/>
                <a:gd name="T22" fmla="*/ 383 w 438"/>
                <a:gd name="T23" fmla="*/ 149 h 512"/>
                <a:gd name="T24" fmla="*/ 392 w 438"/>
                <a:gd name="T25" fmla="*/ 162 h 512"/>
                <a:gd name="T26" fmla="*/ 397 w 438"/>
                <a:gd name="T27" fmla="*/ 188 h 512"/>
                <a:gd name="T28" fmla="*/ 390 w 438"/>
                <a:gd name="T29" fmla="*/ 207 h 512"/>
                <a:gd name="T30" fmla="*/ 393 w 438"/>
                <a:gd name="T31" fmla="*/ 220 h 512"/>
                <a:gd name="T32" fmla="*/ 411 w 438"/>
                <a:gd name="T33" fmla="*/ 229 h 512"/>
                <a:gd name="T34" fmla="*/ 403 w 438"/>
                <a:gd name="T35" fmla="*/ 238 h 512"/>
                <a:gd name="T36" fmla="*/ 403 w 438"/>
                <a:gd name="T37" fmla="*/ 247 h 512"/>
                <a:gd name="T38" fmla="*/ 396 w 438"/>
                <a:gd name="T39" fmla="*/ 260 h 512"/>
                <a:gd name="T40" fmla="*/ 392 w 438"/>
                <a:gd name="T41" fmla="*/ 267 h 512"/>
                <a:gd name="T42" fmla="*/ 403 w 438"/>
                <a:gd name="T43" fmla="*/ 277 h 512"/>
                <a:gd name="T44" fmla="*/ 417 w 438"/>
                <a:gd name="T45" fmla="*/ 284 h 512"/>
                <a:gd name="T46" fmla="*/ 423 w 438"/>
                <a:gd name="T47" fmla="*/ 294 h 512"/>
                <a:gd name="T48" fmla="*/ 438 w 438"/>
                <a:gd name="T49" fmla="*/ 309 h 512"/>
                <a:gd name="T50" fmla="*/ 434 w 438"/>
                <a:gd name="T51" fmla="*/ 331 h 512"/>
                <a:gd name="T52" fmla="*/ 428 w 438"/>
                <a:gd name="T53" fmla="*/ 351 h 512"/>
                <a:gd name="T54" fmla="*/ 411 w 438"/>
                <a:gd name="T55" fmla="*/ 360 h 512"/>
                <a:gd name="T56" fmla="*/ 409 w 438"/>
                <a:gd name="T57" fmla="*/ 375 h 512"/>
                <a:gd name="T58" fmla="*/ 399 w 438"/>
                <a:gd name="T59" fmla="*/ 380 h 512"/>
                <a:gd name="T60" fmla="*/ 381 w 438"/>
                <a:gd name="T61" fmla="*/ 391 h 512"/>
                <a:gd name="T62" fmla="*/ 358 w 438"/>
                <a:gd name="T63" fmla="*/ 398 h 512"/>
                <a:gd name="T64" fmla="*/ 348 w 438"/>
                <a:gd name="T65" fmla="*/ 402 h 512"/>
                <a:gd name="T66" fmla="*/ 334 w 438"/>
                <a:gd name="T67" fmla="*/ 428 h 512"/>
                <a:gd name="T68" fmla="*/ 349 w 438"/>
                <a:gd name="T69" fmla="*/ 443 h 512"/>
                <a:gd name="T70" fmla="*/ 353 w 438"/>
                <a:gd name="T71" fmla="*/ 458 h 512"/>
                <a:gd name="T72" fmla="*/ 337 w 438"/>
                <a:gd name="T73" fmla="*/ 464 h 512"/>
                <a:gd name="T74" fmla="*/ 329 w 438"/>
                <a:gd name="T75" fmla="*/ 473 h 512"/>
                <a:gd name="T76" fmla="*/ 312 w 438"/>
                <a:gd name="T77" fmla="*/ 468 h 512"/>
                <a:gd name="T78" fmla="*/ 281 w 438"/>
                <a:gd name="T79" fmla="*/ 469 h 512"/>
                <a:gd name="T80" fmla="*/ 275 w 438"/>
                <a:gd name="T81" fmla="*/ 477 h 512"/>
                <a:gd name="T82" fmla="*/ 263 w 438"/>
                <a:gd name="T83" fmla="*/ 484 h 512"/>
                <a:gd name="T84" fmla="*/ 255 w 438"/>
                <a:gd name="T85" fmla="*/ 495 h 512"/>
                <a:gd name="T86" fmla="*/ 242 w 438"/>
                <a:gd name="T87" fmla="*/ 478 h 512"/>
                <a:gd name="T88" fmla="*/ 232 w 438"/>
                <a:gd name="T89" fmla="*/ 478 h 512"/>
                <a:gd name="T90" fmla="*/ 210 w 438"/>
                <a:gd name="T91" fmla="*/ 464 h 512"/>
                <a:gd name="T92" fmla="*/ 199 w 438"/>
                <a:gd name="T93" fmla="*/ 477 h 512"/>
                <a:gd name="T94" fmla="*/ 198 w 438"/>
                <a:gd name="T95" fmla="*/ 495 h 512"/>
                <a:gd name="T96" fmla="*/ 175 w 438"/>
                <a:gd name="T97" fmla="*/ 511 h 512"/>
                <a:gd name="T98" fmla="*/ 160 w 438"/>
                <a:gd name="T99" fmla="*/ 507 h 512"/>
                <a:gd name="T100" fmla="*/ 155 w 438"/>
                <a:gd name="T101" fmla="*/ 499 h 512"/>
                <a:gd name="T102" fmla="*/ 132 w 438"/>
                <a:gd name="T103" fmla="*/ 498 h 512"/>
                <a:gd name="T104" fmla="*/ 117 w 438"/>
                <a:gd name="T105" fmla="*/ 499 h 512"/>
                <a:gd name="T106" fmla="*/ 102 w 438"/>
                <a:gd name="T107" fmla="*/ 494 h 512"/>
                <a:gd name="T108" fmla="*/ 90 w 438"/>
                <a:gd name="T109" fmla="*/ 502 h 512"/>
                <a:gd name="T110" fmla="*/ 78 w 438"/>
                <a:gd name="T111" fmla="*/ 498 h 512"/>
                <a:gd name="T112" fmla="*/ 63 w 438"/>
                <a:gd name="T113" fmla="*/ 487 h 512"/>
                <a:gd name="T114" fmla="*/ 45 w 438"/>
                <a:gd name="T115" fmla="*/ 495 h 512"/>
                <a:gd name="T116" fmla="*/ 18 w 438"/>
                <a:gd name="T117" fmla="*/ 500 h 512"/>
                <a:gd name="T118" fmla="*/ 1 w 438"/>
                <a:gd name="T119" fmla="*/ 499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8" h="512">
                  <a:moveTo>
                    <a:pt x="256" y="0"/>
                  </a:moveTo>
                  <a:lnTo>
                    <a:pt x="256" y="0"/>
                  </a:lnTo>
                  <a:lnTo>
                    <a:pt x="257" y="0"/>
                  </a:lnTo>
                  <a:lnTo>
                    <a:pt x="257" y="1"/>
                  </a:lnTo>
                  <a:lnTo>
                    <a:pt x="258" y="1"/>
                  </a:lnTo>
                  <a:lnTo>
                    <a:pt x="260" y="3"/>
                  </a:lnTo>
                  <a:lnTo>
                    <a:pt x="261" y="4"/>
                  </a:lnTo>
                  <a:lnTo>
                    <a:pt x="262" y="5"/>
                  </a:lnTo>
                  <a:lnTo>
                    <a:pt x="264" y="6"/>
                  </a:lnTo>
                  <a:lnTo>
                    <a:pt x="265" y="7"/>
                  </a:lnTo>
                  <a:lnTo>
                    <a:pt x="265" y="7"/>
                  </a:lnTo>
                  <a:lnTo>
                    <a:pt x="266" y="8"/>
                  </a:lnTo>
                  <a:lnTo>
                    <a:pt x="266" y="9"/>
                  </a:lnTo>
                  <a:lnTo>
                    <a:pt x="267" y="9"/>
                  </a:lnTo>
                  <a:lnTo>
                    <a:pt x="268" y="9"/>
                  </a:lnTo>
                  <a:lnTo>
                    <a:pt x="268" y="10"/>
                  </a:lnTo>
                  <a:lnTo>
                    <a:pt x="269" y="10"/>
                  </a:lnTo>
                  <a:lnTo>
                    <a:pt x="270" y="10"/>
                  </a:lnTo>
                  <a:lnTo>
                    <a:pt x="270" y="10"/>
                  </a:lnTo>
                  <a:lnTo>
                    <a:pt x="270" y="9"/>
                  </a:lnTo>
                  <a:lnTo>
                    <a:pt x="271" y="9"/>
                  </a:lnTo>
                  <a:lnTo>
                    <a:pt x="272" y="8"/>
                  </a:lnTo>
                  <a:lnTo>
                    <a:pt x="273" y="8"/>
                  </a:lnTo>
                  <a:lnTo>
                    <a:pt x="273" y="8"/>
                  </a:lnTo>
                  <a:lnTo>
                    <a:pt x="274" y="7"/>
                  </a:lnTo>
                  <a:lnTo>
                    <a:pt x="275" y="7"/>
                  </a:lnTo>
                  <a:lnTo>
                    <a:pt x="276" y="7"/>
                  </a:lnTo>
                  <a:lnTo>
                    <a:pt x="276" y="7"/>
                  </a:lnTo>
                  <a:lnTo>
                    <a:pt x="279" y="8"/>
                  </a:lnTo>
                  <a:lnTo>
                    <a:pt x="280" y="8"/>
                  </a:lnTo>
                  <a:lnTo>
                    <a:pt x="281" y="8"/>
                  </a:lnTo>
                  <a:lnTo>
                    <a:pt x="281" y="8"/>
                  </a:lnTo>
                  <a:lnTo>
                    <a:pt x="281" y="9"/>
                  </a:lnTo>
                  <a:lnTo>
                    <a:pt x="282" y="9"/>
                  </a:lnTo>
                  <a:lnTo>
                    <a:pt x="284" y="10"/>
                  </a:lnTo>
                  <a:lnTo>
                    <a:pt x="286" y="14"/>
                  </a:lnTo>
                  <a:lnTo>
                    <a:pt x="290" y="18"/>
                  </a:lnTo>
                  <a:lnTo>
                    <a:pt x="292" y="20"/>
                  </a:lnTo>
                  <a:lnTo>
                    <a:pt x="293" y="21"/>
                  </a:lnTo>
                  <a:lnTo>
                    <a:pt x="293" y="21"/>
                  </a:lnTo>
                  <a:lnTo>
                    <a:pt x="294" y="22"/>
                  </a:lnTo>
                  <a:lnTo>
                    <a:pt x="295" y="22"/>
                  </a:lnTo>
                  <a:lnTo>
                    <a:pt x="296" y="22"/>
                  </a:lnTo>
                  <a:lnTo>
                    <a:pt x="298" y="23"/>
                  </a:lnTo>
                  <a:lnTo>
                    <a:pt x="299" y="24"/>
                  </a:lnTo>
                  <a:lnTo>
                    <a:pt x="300" y="24"/>
                  </a:lnTo>
                  <a:lnTo>
                    <a:pt x="301" y="25"/>
                  </a:lnTo>
                  <a:lnTo>
                    <a:pt x="302" y="26"/>
                  </a:lnTo>
                  <a:lnTo>
                    <a:pt x="304" y="27"/>
                  </a:lnTo>
                  <a:lnTo>
                    <a:pt x="305" y="28"/>
                  </a:lnTo>
                  <a:lnTo>
                    <a:pt x="306" y="29"/>
                  </a:lnTo>
                  <a:lnTo>
                    <a:pt x="306" y="30"/>
                  </a:lnTo>
                  <a:lnTo>
                    <a:pt x="307" y="31"/>
                  </a:lnTo>
                  <a:lnTo>
                    <a:pt x="308" y="32"/>
                  </a:lnTo>
                  <a:lnTo>
                    <a:pt x="310" y="35"/>
                  </a:lnTo>
                  <a:lnTo>
                    <a:pt x="310" y="36"/>
                  </a:lnTo>
                  <a:lnTo>
                    <a:pt x="310" y="37"/>
                  </a:lnTo>
                  <a:lnTo>
                    <a:pt x="311" y="37"/>
                  </a:lnTo>
                  <a:lnTo>
                    <a:pt x="312" y="38"/>
                  </a:lnTo>
                  <a:lnTo>
                    <a:pt x="313" y="38"/>
                  </a:lnTo>
                  <a:lnTo>
                    <a:pt x="313" y="39"/>
                  </a:lnTo>
                  <a:lnTo>
                    <a:pt x="314" y="39"/>
                  </a:lnTo>
                  <a:lnTo>
                    <a:pt x="316" y="40"/>
                  </a:lnTo>
                  <a:lnTo>
                    <a:pt x="317" y="41"/>
                  </a:lnTo>
                  <a:lnTo>
                    <a:pt x="322" y="43"/>
                  </a:lnTo>
                  <a:lnTo>
                    <a:pt x="323" y="43"/>
                  </a:lnTo>
                  <a:lnTo>
                    <a:pt x="324" y="44"/>
                  </a:lnTo>
                  <a:lnTo>
                    <a:pt x="323" y="45"/>
                  </a:lnTo>
                  <a:lnTo>
                    <a:pt x="322" y="46"/>
                  </a:lnTo>
                  <a:lnTo>
                    <a:pt x="320" y="48"/>
                  </a:lnTo>
                  <a:lnTo>
                    <a:pt x="319" y="49"/>
                  </a:lnTo>
                  <a:lnTo>
                    <a:pt x="318" y="50"/>
                  </a:lnTo>
                  <a:lnTo>
                    <a:pt x="317" y="51"/>
                  </a:lnTo>
                  <a:lnTo>
                    <a:pt x="317" y="52"/>
                  </a:lnTo>
                  <a:lnTo>
                    <a:pt x="317" y="52"/>
                  </a:lnTo>
                  <a:lnTo>
                    <a:pt x="317" y="53"/>
                  </a:lnTo>
                  <a:lnTo>
                    <a:pt x="317" y="54"/>
                  </a:lnTo>
                  <a:lnTo>
                    <a:pt x="317" y="54"/>
                  </a:lnTo>
                  <a:lnTo>
                    <a:pt x="317" y="55"/>
                  </a:lnTo>
                  <a:lnTo>
                    <a:pt x="317" y="56"/>
                  </a:lnTo>
                  <a:lnTo>
                    <a:pt x="318" y="58"/>
                  </a:lnTo>
                  <a:lnTo>
                    <a:pt x="319" y="60"/>
                  </a:lnTo>
                  <a:lnTo>
                    <a:pt x="319" y="61"/>
                  </a:lnTo>
                  <a:lnTo>
                    <a:pt x="320" y="63"/>
                  </a:lnTo>
                  <a:lnTo>
                    <a:pt x="321" y="65"/>
                  </a:lnTo>
                  <a:lnTo>
                    <a:pt x="321" y="66"/>
                  </a:lnTo>
                  <a:lnTo>
                    <a:pt x="321" y="66"/>
                  </a:lnTo>
                  <a:lnTo>
                    <a:pt x="321" y="67"/>
                  </a:lnTo>
                  <a:lnTo>
                    <a:pt x="321" y="69"/>
                  </a:lnTo>
                  <a:lnTo>
                    <a:pt x="321" y="74"/>
                  </a:lnTo>
                  <a:lnTo>
                    <a:pt x="321" y="75"/>
                  </a:lnTo>
                  <a:lnTo>
                    <a:pt x="321" y="76"/>
                  </a:lnTo>
                  <a:lnTo>
                    <a:pt x="322" y="77"/>
                  </a:lnTo>
                  <a:lnTo>
                    <a:pt x="322" y="78"/>
                  </a:lnTo>
                  <a:lnTo>
                    <a:pt x="322" y="78"/>
                  </a:lnTo>
                  <a:lnTo>
                    <a:pt x="323" y="80"/>
                  </a:lnTo>
                  <a:lnTo>
                    <a:pt x="324" y="81"/>
                  </a:lnTo>
                  <a:lnTo>
                    <a:pt x="324" y="82"/>
                  </a:lnTo>
                  <a:lnTo>
                    <a:pt x="325" y="83"/>
                  </a:lnTo>
                  <a:lnTo>
                    <a:pt x="325" y="84"/>
                  </a:lnTo>
                  <a:lnTo>
                    <a:pt x="326" y="87"/>
                  </a:lnTo>
                  <a:lnTo>
                    <a:pt x="327" y="89"/>
                  </a:lnTo>
                  <a:lnTo>
                    <a:pt x="327" y="90"/>
                  </a:lnTo>
                  <a:lnTo>
                    <a:pt x="327" y="91"/>
                  </a:lnTo>
                  <a:lnTo>
                    <a:pt x="327" y="93"/>
                  </a:lnTo>
                  <a:lnTo>
                    <a:pt x="326" y="94"/>
                  </a:lnTo>
                  <a:lnTo>
                    <a:pt x="326" y="95"/>
                  </a:lnTo>
                  <a:lnTo>
                    <a:pt x="325" y="96"/>
                  </a:lnTo>
                  <a:lnTo>
                    <a:pt x="325" y="97"/>
                  </a:lnTo>
                  <a:lnTo>
                    <a:pt x="323" y="99"/>
                  </a:lnTo>
                  <a:lnTo>
                    <a:pt x="323" y="100"/>
                  </a:lnTo>
                  <a:lnTo>
                    <a:pt x="322" y="101"/>
                  </a:lnTo>
                  <a:lnTo>
                    <a:pt x="321" y="104"/>
                  </a:lnTo>
                  <a:lnTo>
                    <a:pt x="321" y="105"/>
                  </a:lnTo>
                  <a:lnTo>
                    <a:pt x="321" y="105"/>
                  </a:lnTo>
                  <a:lnTo>
                    <a:pt x="320" y="105"/>
                  </a:lnTo>
                  <a:lnTo>
                    <a:pt x="320" y="106"/>
                  </a:lnTo>
                  <a:lnTo>
                    <a:pt x="319" y="106"/>
                  </a:lnTo>
                  <a:lnTo>
                    <a:pt x="317" y="108"/>
                  </a:lnTo>
                  <a:lnTo>
                    <a:pt x="316" y="108"/>
                  </a:lnTo>
                  <a:lnTo>
                    <a:pt x="316" y="108"/>
                  </a:lnTo>
                  <a:lnTo>
                    <a:pt x="315" y="109"/>
                  </a:lnTo>
                  <a:lnTo>
                    <a:pt x="315" y="110"/>
                  </a:lnTo>
                  <a:lnTo>
                    <a:pt x="315" y="110"/>
                  </a:lnTo>
                  <a:lnTo>
                    <a:pt x="314" y="111"/>
                  </a:lnTo>
                  <a:lnTo>
                    <a:pt x="314" y="111"/>
                  </a:lnTo>
                  <a:lnTo>
                    <a:pt x="314" y="112"/>
                  </a:lnTo>
                  <a:lnTo>
                    <a:pt x="314" y="113"/>
                  </a:lnTo>
                  <a:lnTo>
                    <a:pt x="315" y="114"/>
                  </a:lnTo>
                  <a:lnTo>
                    <a:pt x="315" y="114"/>
                  </a:lnTo>
                  <a:lnTo>
                    <a:pt x="315" y="115"/>
                  </a:lnTo>
                  <a:lnTo>
                    <a:pt x="316" y="117"/>
                  </a:lnTo>
                  <a:lnTo>
                    <a:pt x="317" y="118"/>
                  </a:lnTo>
                  <a:lnTo>
                    <a:pt x="317" y="119"/>
                  </a:lnTo>
                  <a:lnTo>
                    <a:pt x="318" y="120"/>
                  </a:lnTo>
                  <a:lnTo>
                    <a:pt x="318" y="121"/>
                  </a:lnTo>
                  <a:lnTo>
                    <a:pt x="318" y="122"/>
                  </a:lnTo>
                  <a:lnTo>
                    <a:pt x="319" y="123"/>
                  </a:lnTo>
                  <a:lnTo>
                    <a:pt x="319" y="124"/>
                  </a:lnTo>
                  <a:lnTo>
                    <a:pt x="320" y="124"/>
                  </a:lnTo>
                  <a:lnTo>
                    <a:pt x="320" y="125"/>
                  </a:lnTo>
                  <a:lnTo>
                    <a:pt x="321" y="125"/>
                  </a:lnTo>
                  <a:lnTo>
                    <a:pt x="322" y="126"/>
                  </a:lnTo>
                  <a:lnTo>
                    <a:pt x="323" y="126"/>
                  </a:lnTo>
                  <a:lnTo>
                    <a:pt x="323" y="126"/>
                  </a:lnTo>
                  <a:lnTo>
                    <a:pt x="324" y="127"/>
                  </a:lnTo>
                  <a:lnTo>
                    <a:pt x="324" y="127"/>
                  </a:lnTo>
                  <a:lnTo>
                    <a:pt x="325" y="127"/>
                  </a:lnTo>
                  <a:lnTo>
                    <a:pt x="326" y="127"/>
                  </a:lnTo>
                  <a:lnTo>
                    <a:pt x="329" y="127"/>
                  </a:lnTo>
                  <a:lnTo>
                    <a:pt x="330" y="128"/>
                  </a:lnTo>
                  <a:lnTo>
                    <a:pt x="330" y="128"/>
                  </a:lnTo>
                  <a:lnTo>
                    <a:pt x="332" y="128"/>
                  </a:lnTo>
                  <a:lnTo>
                    <a:pt x="333" y="129"/>
                  </a:lnTo>
                  <a:lnTo>
                    <a:pt x="334" y="129"/>
                  </a:lnTo>
                  <a:lnTo>
                    <a:pt x="334" y="130"/>
                  </a:lnTo>
                  <a:lnTo>
                    <a:pt x="335" y="130"/>
                  </a:lnTo>
                  <a:lnTo>
                    <a:pt x="336" y="132"/>
                  </a:lnTo>
                  <a:lnTo>
                    <a:pt x="336" y="132"/>
                  </a:lnTo>
                  <a:lnTo>
                    <a:pt x="337" y="133"/>
                  </a:lnTo>
                  <a:lnTo>
                    <a:pt x="338" y="134"/>
                  </a:lnTo>
                  <a:lnTo>
                    <a:pt x="339" y="135"/>
                  </a:lnTo>
                  <a:lnTo>
                    <a:pt x="341" y="137"/>
                  </a:lnTo>
                  <a:lnTo>
                    <a:pt x="341" y="137"/>
                  </a:lnTo>
                  <a:lnTo>
                    <a:pt x="342" y="138"/>
                  </a:lnTo>
                  <a:lnTo>
                    <a:pt x="342" y="139"/>
                  </a:lnTo>
                  <a:lnTo>
                    <a:pt x="343" y="139"/>
                  </a:lnTo>
                  <a:lnTo>
                    <a:pt x="343" y="140"/>
                  </a:lnTo>
                  <a:lnTo>
                    <a:pt x="343" y="142"/>
                  </a:lnTo>
                  <a:lnTo>
                    <a:pt x="343" y="144"/>
                  </a:lnTo>
                  <a:lnTo>
                    <a:pt x="343" y="144"/>
                  </a:lnTo>
                  <a:lnTo>
                    <a:pt x="343" y="145"/>
                  </a:lnTo>
                  <a:lnTo>
                    <a:pt x="343" y="146"/>
                  </a:lnTo>
                  <a:lnTo>
                    <a:pt x="344" y="147"/>
                  </a:lnTo>
                  <a:lnTo>
                    <a:pt x="344" y="148"/>
                  </a:lnTo>
                  <a:lnTo>
                    <a:pt x="344" y="148"/>
                  </a:lnTo>
                  <a:lnTo>
                    <a:pt x="345" y="149"/>
                  </a:lnTo>
                  <a:lnTo>
                    <a:pt x="345" y="149"/>
                  </a:lnTo>
                  <a:lnTo>
                    <a:pt x="346" y="150"/>
                  </a:lnTo>
                  <a:lnTo>
                    <a:pt x="347" y="150"/>
                  </a:lnTo>
                  <a:lnTo>
                    <a:pt x="347" y="151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50" y="152"/>
                  </a:lnTo>
                  <a:lnTo>
                    <a:pt x="350" y="152"/>
                  </a:lnTo>
                  <a:lnTo>
                    <a:pt x="351" y="152"/>
                  </a:lnTo>
                  <a:lnTo>
                    <a:pt x="352" y="152"/>
                  </a:lnTo>
                  <a:lnTo>
                    <a:pt x="353" y="152"/>
                  </a:lnTo>
                  <a:lnTo>
                    <a:pt x="357" y="151"/>
                  </a:lnTo>
                  <a:lnTo>
                    <a:pt x="358" y="151"/>
                  </a:lnTo>
                  <a:lnTo>
                    <a:pt x="359" y="151"/>
                  </a:lnTo>
                  <a:lnTo>
                    <a:pt x="363" y="152"/>
                  </a:lnTo>
                  <a:lnTo>
                    <a:pt x="366" y="152"/>
                  </a:lnTo>
                  <a:lnTo>
                    <a:pt x="369" y="153"/>
                  </a:lnTo>
                  <a:lnTo>
                    <a:pt x="370" y="153"/>
                  </a:lnTo>
                  <a:lnTo>
                    <a:pt x="371" y="153"/>
                  </a:lnTo>
                  <a:lnTo>
                    <a:pt x="372" y="153"/>
                  </a:lnTo>
                  <a:lnTo>
                    <a:pt x="373" y="152"/>
                  </a:lnTo>
                  <a:lnTo>
                    <a:pt x="377" y="151"/>
                  </a:lnTo>
                  <a:lnTo>
                    <a:pt x="379" y="150"/>
                  </a:lnTo>
                  <a:lnTo>
                    <a:pt x="380" y="150"/>
                  </a:lnTo>
                  <a:lnTo>
                    <a:pt x="382" y="149"/>
                  </a:lnTo>
                  <a:lnTo>
                    <a:pt x="382" y="149"/>
                  </a:lnTo>
                  <a:lnTo>
                    <a:pt x="383" y="149"/>
                  </a:lnTo>
                  <a:lnTo>
                    <a:pt x="384" y="149"/>
                  </a:lnTo>
                  <a:lnTo>
                    <a:pt x="384" y="149"/>
                  </a:lnTo>
                  <a:lnTo>
                    <a:pt x="385" y="149"/>
                  </a:lnTo>
                  <a:lnTo>
                    <a:pt x="386" y="149"/>
                  </a:lnTo>
                  <a:lnTo>
                    <a:pt x="386" y="150"/>
                  </a:lnTo>
                  <a:lnTo>
                    <a:pt x="387" y="151"/>
                  </a:lnTo>
                  <a:lnTo>
                    <a:pt x="389" y="152"/>
                  </a:lnTo>
                  <a:lnTo>
                    <a:pt x="389" y="153"/>
                  </a:lnTo>
                  <a:lnTo>
                    <a:pt x="390" y="153"/>
                  </a:lnTo>
                  <a:lnTo>
                    <a:pt x="391" y="154"/>
                  </a:lnTo>
                  <a:lnTo>
                    <a:pt x="391" y="155"/>
                  </a:lnTo>
                  <a:lnTo>
                    <a:pt x="391" y="155"/>
                  </a:lnTo>
                  <a:lnTo>
                    <a:pt x="392" y="156"/>
                  </a:lnTo>
                  <a:lnTo>
                    <a:pt x="392" y="158"/>
                  </a:lnTo>
                  <a:lnTo>
                    <a:pt x="392" y="158"/>
                  </a:lnTo>
                  <a:lnTo>
                    <a:pt x="392" y="160"/>
                  </a:lnTo>
                  <a:lnTo>
                    <a:pt x="392" y="162"/>
                  </a:lnTo>
                  <a:lnTo>
                    <a:pt x="393" y="165"/>
                  </a:lnTo>
                  <a:lnTo>
                    <a:pt x="393" y="167"/>
                  </a:lnTo>
                  <a:lnTo>
                    <a:pt x="392" y="168"/>
                  </a:lnTo>
                  <a:lnTo>
                    <a:pt x="392" y="171"/>
                  </a:lnTo>
                  <a:lnTo>
                    <a:pt x="392" y="172"/>
                  </a:lnTo>
                  <a:lnTo>
                    <a:pt x="392" y="173"/>
                  </a:lnTo>
                  <a:lnTo>
                    <a:pt x="392" y="174"/>
                  </a:lnTo>
                  <a:lnTo>
                    <a:pt x="392" y="176"/>
                  </a:lnTo>
                  <a:lnTo>
                    <a:pt x="392" y="178"/>
                  </a:lnTo>
                  <a:lnTo>
                    <a:pt x="392" y="179"/>
                  </a:lnTo>
                  <a:lnTo>
                    <a:pt x="392" y="179"/>
                  </a:lnTo>
                  <a:lnTo>
                    <a:pt x="392" y="180"/>
                  </a:lnTo>
                  <a:lnTo>
                    <a:pt x="393" y="182"/>
                  </a:lnTo>
                  <a:lnTo>
                    <a:pt x="394" y="183"/>
                  </a:lnTo>
                  <a:lnTo>
                    <a:pt x="396" y="185"/>
                  </a:lnTo>
                  <a:lnTo>
                    <a:pt x="396" y="186"/>
                  </a:lnTo>
                  <a:lnTo>
                    <a:pt x="397" y="188"/>
                  </a:lnTo>
                  <a:lnTo>
                    <a:pt x="397" y="189"/>
                  </a:lnTo>
                  <a:lnTo>
                    <a:pt x="398" y="191"/>
                  </a:lnTo>
                  <a:lnTo>
                    <a:pt x="398" y="191"/>
                  </a:lnTo>
                  <a:lnTo>
                    <a:pt x="398" y="192"/>
                  </a:lnTo>
                  <a:lnTo>
                    <a:pt x="398" y="192"/>
                  </a:lnTo>
                  <a:lnTo>
                    <a:pt x="398" y="193"/>
                  </a:lnTo>
                  <a:lnTo>
                    <a:pt x="398" y="194"/>
                  </a:lnTo>
                  <a:lnTo>
                    <a:pt x="397" y="195"/>
                  </a:lnTo>
                  <a:lnTo>
                    <a:pt x="397" y="196"/>
                  </a:lnTo>
                  <a:lnTo>
                    <a:pt x="396" y="198"/>
                  </a:lnTo>
                  <a:lnTo>
                    <a:pt x="396" y="199"/>
                  </a:lnTo>
                  <a:lnTo>
                    <a:pt x="395" y="200"/>
                  </a:lnTo>
                  <a:lnTo>
                    <a:pt x="394" y="202"/>
                  </a:lnTo>
                  <a:lnTo>
                    <a:pt x="393" y="203"/>
                  </a:lnTo>
                  <a:lnTo>
                    <a:pt x="392" y="204"/>
                  </a:lnTo>
                  <a:lnTo>
                    <a:pt x="391" y="206"/>
                  </a:lnTo>
                  <a:lnTo>
                    <a:pt x="390" y="207"/>
                  </a:lnTo>
                  <a:lnTo>
                    <a:pt x="389" y="208"/>
                  </a:lnTo>
                  <a:lnTo>
                    <a:pt x="389" y="209"/>
                  </a:lnTo>
                  <a:lnTo>
                    <a:pt x="388" y="210"/>
                  </a:lnTo>
                  <a:lnTo>
                    <a:pt x="388" y="210"/>
                  </a:lnTo>
                  <a:lnTo>
                    <a:pt x="388" y="211"/>
                  </a:lnTo>
                  <a:lnTo>
                    <a:pt x="389" y="212"/>
                  </a:lnTo>
                  <a:lnTo>
                    <a:pt x="389" y="213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8" y="217"/>
                  </a:lnTo>
                  <a:lnTo>
                    <a:pt x="388" y="217"/>
                  </a:lnTo>
                  <a:lnTo>
                    <a:pt x="388" y="217"/>
                  </a:lnTo>
                  <a:lnTo>
                    <a:pt x="388" y="218"/>
                  </a:lnTo>
                  <a:lnTo>
                    <a:pt x="388" y="218"/>
                  </a:lnTo>
                  <a:lnTo>
                    <a:pt x="389" y="218"/>
                  </a:lnTo>
                  <a:lnTo>
                    <a:pt x="390" y="219"/>
                  </a:lnTo>
                  <a:lnTo>
                    <a:pt x="393" y="220"/>
                  </a:lnTo>
                  <a:lnTo>
                    <a:pt x="397" y="221"/>
                  </a:lnTo>
                  <a:lnTo>
                    <a:pt x="398" y="221"/>
                  </a:lnTo>
                  <a:lnTo>
                    <a:pt x="399" y="221"/>
                  </a:lnTo>
                  <a:lnTo>
                    <a:pt x="401" y="222"/>
                  </a:lnTo>
                  <a:lnTo>
                    <a:pt x="402" y="222"/>
                  </a:lnTo>
                  <a:lnTo>
                    <a:pt x="403" y="222"/>
                  </a:lnTo>
                  <a:lnTo>
                    <a:pt x="404" y="223"/>
                  </a:lnTo>
                  <a:lnTo>
                    <a:pt x="405" y="223"/>
                  </a:lnTo>
                  <a:lnTo>
                    <a:pt x="407" y="225"/>
                  </a:lnTo>
                  <a:lnTo>
                    <a:pt x="408" y="226"/>
                  </a:lnTo>
                  <a:lnTo>
                    <a:pt x="410" y="226"/>
                  </a:lnTo>
                  <a:lnTo>
                    <a:pt x="410" y="227"/>
                  </a:lnTo>
                  <a:lnTo>
                    <a:pt x="410" y="227"/>
                  </a:lnTo>
                  <a:lnTo>
                    <a:pt x="411" y="228"/>
                  </a:lnTo>
                  <a:lnTo>
                    <a:pt x="411" y="228"/>
                  </a:lnTo>
                  <a:lnTo>
                    <a:pt x="411" y="229"/>
                  </a:lnTo>
                  <a:lnTo>
                    <a:pt x="411" y="229"/>
                  </a:lnTo>
                  <a:lnTo>
                    <a:pt x="411" y="230"/>
                  </a:lnTo>
                  <a:lnTo>
                    <a:pt x="411" y="231"/>
                  </a:lnTo>
                  <a:lnTo>
                    <a:pt x="411" y="231"/>
                  </a:lnTo>
                  <a:lnTo>
                    <a:pt x="411" y="233"/>
                  </a:lnTo>
                  <a:lnTo>
                    <a:pt x="411" y="234"/>
                  </a:lnTo>
                  <a:lnTo>
                    <a:pt x="411" y="235"/>
                  </a:lnTo>
                  <a:lnTo>
                    <a:pt x="410" y="235"/>
                  </a:lnTo>
                  <a:lnTo>
                    <a:pt x="410" y="236"/>
                  </a:lnTo>
                  <a:lnTo>
                    <a:pt x="410" y="236"/>
                  </a:lnTo>
                  <a:lnTo>
                    <a:pt x="409" y="236"/>
                  </a:lnTo>
                  <a:lnTo>
                    <a:pt x="408" y="236"/>
                  </a:lnTo>
                  <a:lnTo>
                    <a:pt x="408" y="237"/>
                  </a:lnTo>
                  <a:lnTo>
                    <a:pt x="407" y="237"/>
                  </a:lnTo>
                  <a:lnTo>
                    <a:pt x="405" y="237"/>
                  </a:lnTo>
                  <a:lnTo>
                    <a:pt x="404" y="238"/>
                  </a:lnTo>
                  <a:lnTo>
                    <a:pt x="404" y="238"/>
                  </a:lnTo>
                  <a:lnTo>
                    <a:pt x="403" y="238"/>
                  </a:lnTo>
                  <a:lnTo>
                    <a:pt x="403" y="239"/>
                  </a:lnTo>
                  <a:lnTo>
                    <a:pt x="402" y="239"/>
                  </a:lnTo>
                  <a:lnTo>
                    <a:pt x="402" y="239"/>
                  </a:lnTo>
                  <a:lnTo>
                    <a:pt x="402" y="240"/>
                  </a:lnTo>
                  <a:lnTo>
                    <a:pt x="402" y="240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403" y="242"/>
                  </a:lnTo>
                  <a:lnTo>
                    <a:pt x="404" y="243"/>
                  </a:lnTo>
                  <a:lnTo>
                    <a:pt x="404" y="243"/>
                  </a:lnTo>
                  <a:lnTo>
                    <a:pt x="404" y="244"/>
                  </a:lnTo>
                  <a:lnTo>
                    <a:pt x="404" y="244"/>
                  </a:lnTo>
                  <a:lnTo>
                    <a:pt x="404" y="245"/>
                  </a:lnTo>
                  <a:lnTo>
                    <a:pt x="404" y="245"/>
                  </a:lnTo>
                  <a:lnTo>
                    <a:pt x="403" y="246"/>
                  </a:lnTo>
                  <a:lnTo>
                    <a:pt x="403" y="247"/>
                  </a:lnTo>
                  <a:lnTo>
                    <a:pt x="403" y="247"/>
                  </a:lnTo>
                  <a:lnTo>
                    <a:pt x="403" y="249"/>
                  </a:lnTo>
                  <a:lnTo>
                    <a:pt x="402" y="251"/>
                  </a:lnTo>
                  <a:lnTo>
                    <a:pt x="402" y="252"/>
                  </a:lnTo>
                  <a:lnTo>
                    <a:pt x="402" y="253"/>
                  </a:lnTo>
                  <a:lnTo>
                    <a:pt x="402" y="254"/>
                  </a:lnTo>
                  <a:lnTo>
                    <a:pt x="401" y="254"/>
                  </a:lnTo>
                  <a:lnTo>
                    <a:pt x="401" y="255"/>
                  </a:lnTo>
                  <a:lnTo>
                    <a:pt x="401" y="255"/>
                  </a:lnTo>
                  <a:lnTo>
                    <a:pt x="400" y="256"/>
                  </a:lnTo>
                  <a:lnTo>
                    <a:pt x="399" y="256"/>
                  </a:lnTo>
                  <a:lnTo>
                    <a:pt x="397" y="258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1"/>
                  </a:lnTo>
                  <a:lnTo>
                    <a:pt x="397" y="262"/>
                  </a:lnTo>
                  <a:lnTo>
                    <a:pt x="397" y="262"/>
                  </a:lnTo>
                  <a:lnTo>
                    <a:pt x="398" y="263"/>
                  </a:lnTo>
                  <a:lnTo>
                    <a:pt x="398" y="263"/>
                  </a:lnTo>
                  <a:lnTo>
                    <a:pt x="397" y="263"/>
                  </a:lnTo>
                  <a:lnTo>
                    <a:pt x="397" y="263"/>
                  </a:lnTo>
                  <a:lnTo>
                    <a:pt x="397" y="264"/>
                  </a:lnTo>
                  <a:lnTo>
                    <a:pt x="396" y="264"/>
                  </a:lnTo>
                  <a:lnTo>
                    <a:pt x="394" y="265"/>
                  </a:lnTo>
                  <a:lnTo>
                    <a:pt x="394" y="265"/>
                  </a:lnTo>
                  <a:lnTo>
                    <a:pt x="393" y="265"/>
                  </a:lnTo>
                  <a:lnTo>
                    <a:pt x="393" y="266"/>
                  </a:lnTo>
                  <a:lnTo>
                    <a:pt x="392" y="266"/>
                  </a:lnTo>
                  <a:lnTo>
                    <a:pt x="392" y="267"/>
                  </a:lnTo>
                  <a:lnTo>
                    <a:pt x="392" y="267"/>
                  </a:lnTo>
                  <a:lnTo>
                    <a:pt x="392" y="267"/>
                  </a:lnTo>
                  <a:lnTo>
                    <a:pt x="392" y="268"/>
                  </a:lnTo>
                  <a:lnTo>
                    <a:pt x="392" y="269"/>
                  </a:lnTo>
                  <a:lnTo>
                    <a:pt x="392" y="269"/>
                  </a:lnTo>
                  <a:lnTo>
                    <a:pt x="392" y="270"/>
                  </a:lnTo>
                  <a:lnTo>
                    <a:pt x="393" y="271"/>
                  </a:lnTo>
                  <a:lnTo>
                    <a:pt x="393" y="272"/>
                  </a:lnTo>
                  <a:lnTo>
                    <a:pt x="394" y="272"/>
                  </a:lnTo>
                  <a:lnTo>
                    <a:pt x="395" y="273"/>
                  </a:lnTo>
                  <a:lnTo>
                    <a:pt x="396" y="274"/>
                  </a:lnTo>
                  <a:lnTo>
                    <a:pt x="397" y="274"/>
                  </a:lnTo>
                  <a:lnTo>
                    <a:pt x="398" y="275"/>
                  </a:lnTo>
                  <a:lnTo>
                    <a:pt x="399" y="275"/>
                  </a:lnTo>
                  <a:lnTo>
                    <a:pt x="400" y="276"/>
                  </a:lnTo>
                  <a:lnTo>
                    <a:pt x="403" y="276"/>
                  </a:lnTo>
                  <a:lnTo>
                    <a:pt x="403" y="277"/>
                  </a:lnTo>
                  <a:lnTo>
                    <a:pt x="404" y="277"/>
                  </a:lnTo>
                  <a:lnTo>
                    <a:pt x="406" y="278"/>
                  </a:lnTo>
                  <a:lnTo>
                    <a:pt x="406" y="278"/>
                  </a:lnTo>
                  <a:lnTo>
                    <a:pt x="407" y="279"/>
                  </a:lnTo>
                  <a:lnTo>
                    <a:pt x="408" y="279"/>
                  </a:lnTo>
                  <a:lnTo>
                    <a:pt x="408" y="280"/>
                  </a:lnTo>
                  <a:lnTo>
                    <a:pt x="409" y="280"/>
                  </a:lnTo>
                  <a:lnTo>
                    <a:pt x="409" y="280"/>
                  </a:lnTo>
                  <a:lnTo>
                    <a:pt x="410" y="281"/>
                  </a:lnTo>
                  <a:lnTo>
                    <a:pt x="412" y="281"/>
                  </a:lnTo>
                  <a:lnTo>
                    <a:pt x="413" y="282"/>
                  </a:lnTo>
                  <a:lnTo>
                    <a:pt x="415" y="282"/>
                  </a:lnTo>
                  <a:lnTo>
                    <a:pt x="415" y="282"/>
                  </a:lnTo>
                  <a:lnTo>
                    <a:pt x="416" y="282"/>
                  </a:lnTo>
                  <a:lnTo>
                    <a:pt x="416" y="282"/>
                  </a:lnTo>
                  <a:lnTo>
                    <a:pt x="416" y="283"/>
                  </a:lnTo>
                  <a:lnTo>
                    <a:pt x="417" y="284"/>
                  </a:lnTo>
                  <a:lnTo>
                    <a:pt x="418" y="284"/>
                  </a:lnTo>
                  <a:lnTo>
                    <a:pt x="418" y="284"/>
                  </a:lnTo>
                  <a:lnTo>
                    <a:pt x="419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6"/>
                  </a:lnTo>
                  <a:lnTo>
                    <a:pt x="421" y="286"/>
                  </a:lnTo>
                  <a:lnTo>
                    <a:pt x="421" y="287"/>
                  </a:lnTo>
                  <a:lnTo>
                    <a:pt x="421" y="290"/>
                  </a:lnTo>
                  <a:lnTo>
                    <a:pt x="421" y="290"/>
                  </a:lnTo>
                  <a:lnTo>
                    <a:pt x="421" y="291"/>
                  </a:lnTo>
                  <a:lnTo>
                    <a:pt x="421" y="291"/>
                  </a:lnTo>
                  <a:lnTo>
                    <a:pt x="421" y="292"/>
                  </a:lnTo>
                  <a:lnTo>
                    <a:pt x="422" y="293"/>
                  </a:lnTo>
                  <a:lnTo>
                    <a:pt x="422" y="293"/>
                  </a:lnTo>
                  <a:lnTo>
                    <a:pt x="423" y="294"/>
                  </a:lnTo>
                  <a:lnTo>
                    <a:pt x="425" y="295"/>
                  </a:lnTo>
                  <a:lnTo>
                    <a:pt x="426" y="296"/>
                  </a:lnTo>
                  <a:lnTo>
                    <a:pt x="427" y="297"/>
                  </a:lnTo>
                  <a:lnTo>
                    <a:pt x="429" y="298"/>
                  </a:lnTo>
                  <a:lnTo>
                    <a:pt x="430" y="299"/>
                  </a:lnTo>
                  <a:lnTo>
                    <a:pt x="433" y="300"/>
                  </a:lnTo>
                  <a:lnTo>
                    <a:pt x="434" y="301"/>
                  </a:lnTo>
                  <a:lnTo>
                    <a:pt x="435" y="301"/>
                  </a:lnTo>
                  <a:lnTo>
                    <a:pt x="436" y="302"/>
                  </a:lnTo>
                  <a:lnTo>
                    <a:pt x="437" y="303"/>
                  </a:lnTo>
                  <a:lnTo>
                    <a:pt x="437" y="304"/>
                  </a:lnTo>
                  <a:lnTo>
                    <a:pt x="438" y="304"/>
                  </a:lnTo>
                  <a:lnTo>
                    <a:pt x="438" y="305"/>
                  </a:lnTo>
                  <a:lnTo>
                    <a:pt x="438" y="306"/>
                  </a:lnTo>
                  <a:lnTo>
                    <a:pt x="438" y="307"/>
                  </a:lnTo>
                  <a:lnTo>
                    <a:pt x="438" y="307"/>
                  </a:lnTo>
                  <a:lnTo>
                    <a:pt x="438" y="309"/>
                  </a:lnTo>
                  <a:lnTo>
                    <a:pt x="437" y="311"/>
                  </a:lnTo>
                  <a:lnTo>
                    <a:pt x="437" y="312"/>
                  </a:lnTo>
                  <a:lnTo>
                    <a:pt x="437" y="312"/>
                  </a:lnTo>
                  <a:lnTo>
                    <a:pt x="437" y="313"/>
                  </a:lnTo>
                  <a:lnTo>
                    <a:pt x="437" y="314"/>
                  </a:lnTo>
                  <a:lnTo>
                    <a:pt x="437" y="314"/>
                  </a:lnTo>
                  <a:lnTo>
                    <a:pt x="438" y="317"/>
                  </a:lnTo>
                  <a:lnTo>
                    <a:pt x="438" y="318"/>
                  </a:lnTo>
                  <a:lnTo>
                    <a:pt x="438" y="319"/>
                  </a:lnTo>
                  <a:lnTo>
                    <a:pt x="438" y="320"/>
                  </a:lnTo>
                  <a:lnTo>
                    <a:pt x="438" y="321"/>
                  </a:lnTo>
                  <a:lnTo>
                    <a:pt x="438" y="322"/>
                  </a:lnTo>
                  <a:lnTo>
                    <a:pt x="437" y="324"/>
                  </a:lnTo>
                  <a:lnTo>
                    <a:pt x="436" y="325"/>
                  </a:lnTo>
                  <a:lnTo>
                    <a:pt x="435" y="329"/>
                  </a:lnTo>
                  <a:lnTo>
                    <a:pt x="434" y="330"/>
                  </a:lnTo>
                  <a:lnTo>
                    <a:pt x="434" y="331"/>
                  </a:lnTo>
                  <a:lnTo>
                    <a:pt x="432" y="333"/>
                  </a:lnTo>
                  <a:lnTo>
                    <a:pt x="432" y="333"/>
                  </a:lnTo>
                  <a:lnTo>
                    <a:pt x="431" y="334"/>
                  </a:lnTo>
                  <a:lnTo>
                    <a:pt x="431" y="335"/>
                  </a:lnTo>
                  <a:lnTo>
                    <a:pt x="431" y="336"/>
                  </a:lnTo>
                  <a:lnTo>
                    <a:pt x="431" y="336"/>
                  </a:lnTo>
                  <a:lnTo>
                    <a:pt x="431" y="340"/>
                  </a:lnTo>
                  <a:lnTo>
                    <a:pt x="430" y="343"/>
                  </a:lnTo>
                  <a:lnTo>
                    <a:pt x="430" y="347"/>
                  </a:lnTo>
                  <a:lnTo>
                    <a:pt x="429" y="349"/>
                  </a:lnTo>
                  <a:lnTo>
                    <a:pt x="429" y="349"/>
                  </a:lnTo>
                  <a:lnTo>
                    <a:pt x="429" y="350"/>
                  </a:lnTo>
                  <a:lnTo>
                    <a:pt x="429" y="349"/>
                  </a:lnTo>
                  <a:lnTo>
                    <a:pt x="429" y="350"/>
                  </a:lnTo>
                  <a:lnTo>
                    <a:pt x="429" y="350"/>
                  </a:lnTo>
                  <a:lnTo>
                    <a:pt x="429" y="351"/>
                  </a:lnTo>
                  <a:lnTo>
                    <a:pt x="428" y="351"/>
                  </a:lnTo>
                  <a:lnTo>
                    <a:pt x="428" y="352"/>
                  </a:lnTo>
                  <a:lnTo>
                    <a:pt x="427" y="353"/>
                  </a:lnTo>
                  <a:lnTo>
                    <a:pt x="424" y="354"/>
                  </a:lnTo>
                  <a:lnTo>
                    <a:pt x="422" y="356"/>
                  </a:lnTo>
                  <a:lnTo>
                    <a:pt x="421" y="357"/>
                  </a:lnTo>
                  <a:lnTo>
                    <a:pt x="421" y="357"/>
                  </a:lnTo>
                  <a:lnTo>
                    <a:pt x="421" y="357"/>
                  </a:lnTo>
                  <a:lnTo>
                    <a:pt x="420" y="358"/>
                  </a:lnTo>
                  <a:lnTo>
                    <a:pt x="419" y="358"/>
                  </a:lnTo>
                  <a:lnTo>
                    <a:pt x="418" y="358"/>
                  </a:lnTo>
                  <a:lnTo>
                    <a:pt x="416" y="358"/>
                  </a:lnTo>
                  <a:lnTo>
                    <a:pt x="415" y="358"/>
                  </a:lnTo>
                  <a:lnTo>
                    <a:pt x="414" y="359"/>
                  </a:lnTo>
                  <a:lnTo>
                    <a:pt x="413" y="359"/>
                  </a:lnTo>
                  <a:lnTo>
                    <a:pt x="412" y="359"/>
                  </a:lnTo>
                  <a:lnTo>
                    <a:pt x="412" y="360"/>
                  </a:lnTo>
                  <a:lnTo>
                    <a:pt x="411" y="360"/>
                  </a:lnTo>
                  <a:lnTo>
                    <a:pt x="411" y="361"/>
                  </a:lnTo>
                  <a:lnTo>
                    <a:pt x="409" y="362"/>
                  </a:lnTo>
                  <a:lnTo>
                    <a:pt x="408" y="363"/>
                  </a:lnTo>
                  <a:lnTo>
                    <a:pt x="408" y="364"/>
                  </a:lnTo>
                  <a:lnTo>
                    <a:pt x="408" y="364"/>
                  </a:lnTo>
                  <a:lnTo>
                    <a:pt x="407" y="365"/>
                  </a:lnTo>
                  <a:lnTo>
                    <a:pt x="407" y="365"/>
                  </a:lnTo>
                  <a:lnTo>
                    <a:pt x="407" y="366"/>
                  </a:lnTo>
                  <a:lnTo>
                    <a:pt x="407" y="367"/>
                  </a:lnTo>
                  <a:lnTo>
                    <a:pt x="407" y="367"/>
                  </a:lnTo>
                  <a:lnTo>
                    <a:pt x="407" y="368"/>
                  </a:lnTo>
                  <a:lnTo>
                    <a:pt x="407" y="369"/>
                  </a:lnTo>
                  <a:lnTo>
                    <a:pt x="407" y="369"/>
                  </a:lnTo>
                  <a:lnTo>
                    <a:pt x="408" y="372"/>
                  </a:lnTo>
                  <a:lnTo>
                    <a:pt x="409" y="373"/>
                  </a:lnTo>
                  <a:lnTo>
                    <a:pt x="409" y="374"/>
                  </a:lnTo>
                  <a:lnTo>
                    <a:pt x="409" y="375"/>
                  </a:lnTo>
                  <a:lnTo>
                    <a:pt x="409" y="375"/>
                  </a:lnTo>
                  <a:lnTo>
                    <a:pt x="409" y="376"/>
                  </a:lnTo>
                  <a:lnTo>
                    <a:pt x="409" y="377"/>
                  </a:lnTo>
                  <a:lnTo>
                    <a:pt x="409" y="377"/>
                  </a:lnTo>
                  <a:lnTo>
                    <a:pt x="409" y="377"/>
                  </a:lnTo>
                  <a:lnTo>
                    <a:pt x="409" y="378"/>
                  </a:lnTo>
                  <a:lnTo>
                    <a:pt x="409" y="378"/>
                  </a:lnTo>
                  <a:lnTo>
                    <a:pt x="408" y="379"/>
                  </a:lnTo>
                  <a:lnTo>
                    <a:pt x="408" y="379"/>
                  </a:lnTo>
                  <a:lnTo>
                    <a:pt x="407" y="379"/>
                  </a:lnTo>
                  <a:lnTo>
                    <a:pt x="407" y="380"/>
                  </a:lnTo>
                  <a:lnTo>
                    <a:pt x="406" y="380"/>
                  </a:lnTo>
                  <a:lnTo>
                    <a:pt x="405" y="380"/>
                  </a:lnTo>
                  <a:lnTo>
                    <a:pt x="404" y="380"/>
                  </a:lnTo>
                  <a:lnTo>
                    <a:pt x="403" y="380"/>
                  </a:lnTo>
                  <a:lnTo>
                    <a:pt x="402" y="380"/>
                  </a:lnTo>
                  <a:lnTo>
                    <a:pt x="399" y="380"/>
                  </a:lnTo>
                  <a:lnTo>
                    <a:pt x="397" y="380"/>
                  </a:lnTo>
                  <a:lnTo>
                    <a:pt x="397" y="380"/>
                  </a:lnTo>
                  <a:lnTo>
                    <a:pt x="396" y="380"/>
                  </a:lnTo>
                  <a:lnTo>
                    <a:pt x="395" y="381"/>
                  </a:lnTo>
                  <a:lnTo>
                    <a:pt x="395" y="381"/>
                  </a:lnTo>
                  <a:lnTo>
                    <a:pt x="394" y="382"/>
                  </a:lnTo>
                  <a:lnTo>
                    <a:pt x="393" y="382"/>
                  </a:lnTo>
                  <a:lnTo>
                    <a:pt x="392" y="383"/>
                  </a:lnTo>
                  <a:lnTo>
                    <a:pt x="391" y="386"/>
                  </a:lnTo>
                  <a:lnTo>
                    <a:pt x="390" y="387"/>
                  </a:lnTo>
                  <a:lnTo>
                    <a:pt x="389" y="387"/>
                  </a:lnTo>
                  <a:lnTo>
                    <a:pt x="389" y="388"/>
                  </a:lnTo>
                  <a:lnTo>
                    <a:pt x="387" y="389"/>
                  </a:lnTo>
                  <a:lnTo>
                    <a:pt x="386" y="390"/>
                  </a:lnTo>
                  <a:lnTo>
                    <a:pt x="385" y="390"/>
                  </a:lnTo>
                  <a:lnTo>
                    <a:pt x="383" y="391"/>
                  </a:lnTo>
                  <a:lnTo>
                    <a:pt x="381" y="391"/>
                  </a:lnTo>
                  <a:lnTo>
                    <a:pt x="380" y="391"/>
                  </a:lnTo>
                  <a:lnTo>
                    <a:pt x="378" y="392"/>
                  </a:lnTo>
                  <a:lnTo>
                    <a:pt x="375" y="393"/>
                  </a:lnTo>
                  <a:lnTo>
                    <a:pt x="373" y="393"/>
                  </a:lnTo>
                  <a:lnTo>
                    <a:pt x="371" y="394"/>
                  </a:lnTo>
                  <a:lnTo>
                    <a:pt x="370" y="394"/>
                  </a:lnTo>
                  <a:lnTo>
                    <a:pt x="368" y="395"/>
                  </a:lnTo>
                  <a:lnTo>
                    <a:pt x="367" y="396"/>
                  </a:lnTo>
                  <a:lnTo>
                    <a:pt x="364" y="397"/>
                  </a:lnTo>
                  <a:lnTo>
                    <a:pt x="363" y="398"/>
                  </a:lnTo>
                  <a:lnTo>
                    <a:pt x="362" y="398"/>
                  </a:lnTo>
                  <a:lnTo>
                    <a:pt x="361" y="399"/>
                  </a:lnTo>
                  <a:lnTo>
                    <a:pt x="360" y="399"/>
                  </a:lnTo>
                  <a:lnTo>
                    <a:pt x="360" y="399"/>
                  </a:lnTo>
                  <a:lnTo>
                    <a:pt x="359" y="399"/>
                  </a:lnTo>
                  <a:lnTo>
                    <a:pt x="358" y="399"/>
                  </a:lnTo>
                  <a:lnTo>
                    <a:pt x="358" y="398"/>
                  </a:lnTo>
                  <a:lnTo>
                    <a:pt x="357" y="398"/>
                  </a:lnTo>
                  <a:lnTo>
                    <a:pt x="357" y="398"/>
                  </a:lnTo>
                  <a:lnTo>
                    <a:pt x="356" y="398"/>
                  </a:lnTo>
                  <a:lnTo>
                    <a:pt x="355" y="397"/>
                  </a:lnTo>
                  <a:lnTo>
                    <a:pt x="354" y="397"/>
                  </a:lnTo>
                  <a:lnTo>
                    <a:pt x="354" y="397"/>
                  </a:lnTo>
                  <a:lnTo>
                    <a:pt x="353" y="397"/>
                  </a:lnTo>
                  <a:lnTo>
                    <a:pt x="352" y="398"/>
                  </a:lnTo>
                  <a:lnTo>
                    <a:pt x="351" y="398"/>
                  </a:lnTo>
                  <a:lnTo>
                    <a:pt x="351" y="398"/>
                  </a:lnTo>
                  <a:lnTo>
                    <a:pt x="350" y="399"/>
                  </a:lnTo>
                  <a:lnTo>
                    <a:pt x="349" y="399"/>
                  </a:lnTo>
                  <a:lnTo>
                    <a:pt x="349" y="400"/>
                  </a:lnTo>
                  <a:lnTo>
                    <a:pt x="348" y="400"/>
                  </a:lnTo>
                  <a:lnTo>
                    <a:pt x="348" y="401"/>
                  </a:lnTo>
                  <a:lnTo>
                    <a:pt x="348" y="401"/>
                  </a:lnTo>
                  <a:lnTo>
                    <a:pt x="348" y="402"/>
                  </a:lnTo>
                  <a:lnTo>
                    <a:pt x="347" y="404"/>
                  </a:lnTo>
                  <a:lnTo>
                    <a:pt x="347" y="405"/>
                  </a:lnTo>
                  <a:lnTo>
                    <a:pt x="346" y="407"/>
                  </a:lnTo>
                  <a:lnTo>
                    <a:pt x="344" y="410"/>
                  </a:lnTo>
                  <a:lnTo>
                    <a:pt x="344" y="411"/>
                  </a:lnTo>
                  <a:lnTo>
                    <a:pt x="344" y="412"/>
                  </a:lnTo>
                  <a:lnTo>
                    <a:pt x="343" y="412"/>
                  </a:lnTo>
                  <a:lnTo>
                    <a:pt x="337" y="419"/>
                  </a:lnTo>
                  <a:lnTo>
                    <a:pt x="337" y="420"/>
                  </a:lnTo>
                  <a:lnTo>
                    <a:pt x="336" y="421"/>
                  </a:lnTo>
                  <a:lnTo>
                    <a:pt x="336" y="422"/>
                  </a:lnTo>
                  <a:lnTo>
                    <a:pt x="335" y="423"/>
                  </a:lnTo>
                  <a:lnTo>
                    <a:pt x="335" y="424"/>
                  </a:lnTo>
                  <a:lnTo>
                    <a:pt x="335" y="425"/>
                  </a:lnTo>
                  <a:lnTo>
                    <a:pt x="335" y="426"/>
                  </a:lnTo>
                  <a:lnTo>
                    <a:pt x="334" y="427"/>
                  </a:lnTo>
                  <a:lnTo>
                    <a:pt x="334" y="428"/>
                  </a:lnTo>
                  <a:lnTo>
                    <a:pt x="334" y="429"/>
                  </a:lnTo>
                  <a:lnTo>
                    <a:pt x="334" y="430"/>
                  </a:lnTo>
                  <a:lnTo>
                    <a:pt x="335" y="432"/>
                  </a:lnTo>
                  <a:lnTo>
                    <a:pt x="335" y="433"/>
                  </a:lnTo>
                  <a:lnTo>
                    <a:pt x="335" y="434"/>
                  </a:lnTo>
                  <a:lnTo>
                    <a:pt x="336" y="435"/>
                  </a:lnTo>
                  <a:lnTo>
                    <a:pt x="336" y="436"/>
                  </a:lnTo>
                  <a:lnTo>
                    <a:pt x="336" y="436"/>
                  </a:lnTo>
                  <a:lnTo>
                    <a:pt x="337" y="437"/>
                  </a:lnTo>
                  <a:lnTo>
                    <a:pt x="338" y="437"/>
                  </a:lnTo>
                  <a:lnTo>
                    <a:pt x="338" y="438"/>
                  </a:lnTo>
                  <a:lnTo>
                    <a:pt x="342" y="440"/>
                  </a:lnTo>
                  <a:lnTo>
                    <a:pt x="344" y="440"/>
                  </a:lnTo>
                  <a:lnTo>
                    <a:pt x="346" y="441"/>
                  </a:lnTo>
                  <a:lnTo>
                    <a:pt x="347" y="442"/>
                  </a:lnTo>
                  <a:lnTo>
                    <a:pt x="348" y="442"/>
                  </a:lnTo>
                  <a:lnTo>
                    <a:pt x="349" y="443"/>
                  </a:lnTo>
                  <a:lnTo>
                    <a:pt x="349" y="443"/>
                  </a:lnTo>
                  <a:lnTo>
                    <a:pt x="350" y="444"/>
                  </a:lnTo>
                  <a:lnTo>
                    <a:pt x="350" y="444"/>
                  </a:lnTo>
                  <a:lnTo>
                    <a:pt x="351" y="445"/>
                  </a:lnTo>
                  <a:lnTo>
                    <a:pt x="352" y="446"/>
                  </a:lnTo>
                  <a:lnTo>
                    <a:pt x="353" y="448"/>
                  </a:lnTo>
                  <a:lnTo>
                    <a:pt x="353" y="449"/>
                  </a:lnTo>
                  <a:lnTo>
                    <a:pt x="354" y="450"/>
                  </a:lnTo>
                  <a:lnTo>
                    <a:pt x="354" y="451"/>
                  </a:lnTo>
                  <a:lnTo>
                    <a:pt x="354" y="451"/>
                  </a:lnTo>
                  <a:lnTo>
                    <a:pt x="354" y="452"/>
                  </a:lnTo>
                  <a:lnTo>
                    <a:pt x="354" y="454"/>
                  </a:lnTo>
                  <a:lnTo>
                    <a:pt x="354" y="455"/>
                  </a:lnTo>
                  <a:lnTo>
                    <a:pt x="354" y="456"/>
                  </a:lnTo>
                  <a:lnTo>
                    <a:pt x="354" y="457"/>
                  </a:lnTo>
                  <a:lnTo>
                    <a:pt x="354" y="457"/>
                  </a:lnTo>
                  <a:lnTo>
                    <a:pt x="353" y="458"/>
                  </a:lnTo>
                  <a:lnTo>
                    <a:pt x="353" y="459"/>
                  </a:lnTo>
                  <a:lnTo>
                    <a:pt x="353" y="460"/>
                  </a:lnTo>
                  <a:lnTo>
                    <a:pt x="352" y="460"/>
                  </a:lnTo>
                  <a:lnTo>
                    <a:pt x="352" y="461"/>
                  </a:lnTo>
                  <a:lnTo>
                    <a:pt x="351" y="461"/>
                  </a:lnTo>
                  <a:lnTo>
                    <a:pt x="349" y="463"/>
                  </a:lnTo>
                  <a:lnTo>
                    <a:pt x="348" y="463"/>
                  </a:lnTo>
                  <a:lnTo>
                    <a:pt x="348" y="464"/>
                  </a:lnTo>
                  <a:lnTo>
                    <a:pt x="347" y="464"/>
                  </a:lnTo>
                  <a:lnTo>
                    <a:pt x="346" y="464"/>
                  </a:lnTo>
                  <a:lnTo>
                    <a:pt x="345" y="464"/>
                  </a:lnTo>
                  <a:lnTo>
                    <a:pt x="344" y="464"/>
                  </a:lnTo>
                  <a:lnTo>
                    <a:pt x="342" y="464"/>
                  </a:lnTo>
                  <a:lnTo>
                    <a:pt x="341" y="464"/>
                  </a:lnTo>
                  <a:lnTo>
                    <a:pt x="339" y="464"/>
                  </a:lnTo>
                  <a:lnTo>
                    <a:pt x="338" y="464"/>
                  </a:lnTo>
                  <a:lnTo>
                    <a:pt x="337" y="464"/>
                  </a:lnTo>
                  <a:lnTo>
                    <a:pt x="337" y="464"/>
                  </a:lnTo>
                  <a:lnTo>
                    <a:pt x="336" y="464"/>
                  </a:lnTo>
                  <a:lnTo>
                    <a:pt x="336" y="464"/>
                  </a:lnTo>
                  <a:lnTo>
                    <a:pt x="335" y="464"/>
                  </a:lnTo>
                  <a:lnTo>
                    <a:pt x="334" y="466"/>
                  </a:lnTo>
                  <a:lnTo>
                    <a:pt x="333" y="466"/>
                  </a:lnTo>
                  <a:lnTo>
                    <a:pt x="333" y="466"/>
                  </a:lnTo>
                  <a:lnTo>
                    <a:pt x="333" y="467"/>
                  </a:lnTo>
                  <a:lnTo>
                    <a:pt x="332" y="467"/>
                  </a:lnTo>
                  <a:lnTo>
                    <a:pt x="331" y="469"/>
                  </a:lnTo>
                  <a:lnTo>
                    <a:pt x="331" y="470"/>
                  </a:lnTo>
                  <a:lnTo>
                    <a:pt x="330" y="471"/>
                  </a:lnTo>
                  <a:lnTo>
                    <a:pt x="330" y="472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8" y="473"/>
                  </a:lnTo>
                  <a:lnTo>
                    <a:pt x="328" y="473"/>
                  </a:lnTo>
                  <a:lnTo>
                    <a:pt x="327" y="473"/>
                  </a:lnTo>
                  <a:lnTo>
                    <a:pt x="326" y="473"/>
                  </a:lnTo>
                  <a:lnTo>
                    <a:pt x="324" y="471"/>
                  </a:lnTo>
                  <a:lnTo>
                    <a:pt x="324" y="471"/>
                  </a:lnTo>
                  <a:lnTo>
                    <a:pt x="323" y="470"/>
                  </a:lnTo>
                  <a:lnTo>
                    <a:pt x="322" y="470"/>
                  </a:lnTo>
                  <a:lnTo>
                    <a:pt x="320" y="470"/>
                  </a:lnTo>
                  <a:lnTo>
                    <a:pt x="319" y="469"/>
                  </a:lnTo>
                  <a:lnTo>
                    <a:pt x="317" y="469"/>
                  </a:lnTo>
                  <a:lnTo>
                    <a:pt x="315" y="468"/>
                  </a:lnTo>
                  <a:lnTo>
                    <a:pt x="315" y="468"/>
                  </a:lnTo>
                  <a:lnTo>
                    <a:pt x="314" y="468"/>
                  </a:lnTo>
                  <a:lnTo>
                    <a:pt x="314" y="468"/>
                  </a:lnTo>
                  <a:lnTo>
                    <a:pt x="313" y="468"/>
                  </a:lnTo>
                  <a:lnTo>
                    <a:pt x="312" y="468"/>
                  </a:lnTo>
                  <a:lnTo>
                    <a:pt x="310" y="469"/>
                  </a:lnTo>
                  <a:lnTo>
                    <a:pt x="307" y="470"/>
                  </a:lnTo>
                  <a:lnTo>
                    <a:pt x="305" y="471"/>
                  </a:lnTo>
                  <a:lnTo>
                    <a:pt x="305" y="471"/>
                  </a:lnTo>
                  <a:lnTo>
                    <a:pt x="303" y="471"/>
                  </a:lnTo>
                  <a:lnTo>
                    <a:pt x="301" y="472"/>
                  </a:lnTo>
                  <a:lnTo>
                    <a:pt x="300" y="472"/>
                  </a:lnTo>
                  <a:lnTo>
                    <a:pt x="299" y="472"/>
                  </a:lnTo>
                  <a:lnTo>
                    <a:pt x="297" y="472"/>
                  </a:lnTo>
                  <a:lnTo>
                    <a:pt x="296" y="472"/>
                  </a:lnTo>
                  <a:lnTo>
                    <a:pt x="292" y="471"/>
                  </a:lnTo>
                  <a:lnTo>
                    <a:pt x="291" y="471"/>
                  </a:lnTo>
                  <a:lnTo>
                    <a:pt x="288" y="471"/>
                  </a:lnTo>
                  <a:lnTo>
                    <a:pt x="287" y="471"/>
                  </a:lnTo>
                  <a:lnTo>
                    <a:pt x="286" y="470"/>
                  </a:lnTo>
                  <a:lnTo>
                    <a:pt x="285" y="470"/>
                  </a:lnTo>
                  <a:lnTo>
                    <a:pt x="281" y="469"/>
                  </a:lnTo>
                  <a:lnTo>
                    <a:pt x="280" y="469"/>
                  </a:lnTo>
                  <a:lnTo>
                    <a:pt x="279" y="469"/>
                  </a:lnTo>
                  <a:lnTo>
                    <a:pt x="279" y="469"/>
                  </a:lnTo>
                  <a:lnTo>
                    <a:pt x="278" y="469"/>
                  </a:lnTo>
                  <a:lnTo>
                    <a:pt x="277" y="469"/>
                  </a:lnTo>
                  <a:lnTo>
                    <a:pt x="276" y="469"/>
                  </a:lnTo>
                  <a:lnTo>
                    <a:pt x="276" y="470"/>
                  </a:lnTo>
                  <a:lnTo>
                    <a:pt x="275" y="470"/>
                  </a:lnTo>
                  <a:lnTo>
                    <a:pt x="275" y="471"/>
                  </a:lnTo>
                  <a:lnTo>
                    <a:pt x="275" y="471"/>
                  </a:lnTo>
                  <a:lnTo>
                    <a:pt x="274" y="472"/>
                  </a:lnTo>
                  <a:lnTo>
                    <a:pt x="274" y="472"/>
                  </a:lnTo>
                  <a:lnTo>
                    <a:pt x="274" y="473"/>
                  </a:lnTo>
                  <a:lnTo>
                    <a:pt x="274" y="473"/>
                  </a:lnTo>
                  <a:lnTo>
                    <a:pt x="274" y="474"/>
                  </a:lnTo>
                  <a:lnTo>
                    <a:pt x="275" y="476"/>
                  </a:lnTo>
                  <a:lnTo>
                    <a:pt x="275" y="477"/>
                  </a:lnTo>
                  <a:lnTo>
                    <a:pt x="275" y="477"/>
                  </a:lnTo>
                  <a:lnTo>
                    <a:pt x="275" y="478"/>
                  </a:lnTo>
                  <a:lnTo>
                    <a:pt x="275" y="478"/>
                  </a:lnTo>
                  <a:lnTo>
                    <a:pt x="275" y="478"/>
                  </a:lnTo>
                  <a:lnTo>
                    <a:pt x="274" y="479"/>
                  </a:lnTo>
                  <a:lnTo>
                    <a:pt x="274" y="479"/>
                  </a:lnTo>
                  <a:lnTo>
                    <a:pt x="273" y="479"/>
                  </a:lnTo>
                  <a:lnTo>
                    <a:pt x="273" y="480"/>
                  </a:lnTo>
                  <a:lnTo>
                    <a:pt x="272" y="480"/>
                  </a:lnTo>
                  <a:lnTo>
                    <a:pt x="271" y="480"/>
                  </a:lnTo>
                  <a:lnTo>
                    <a:pt x="266" y="482"/>
                  </a:lnTo>
                  <a:lnTo>
                    <a:pt x="265" y="482"/>
                  </a:lnTo>
                  <a:lnTo>
                    <a:pt x="265" y="482"/>
                  </a:lnTo>
                  <a:lnTo>
                    <a:pt x="264" y="482"/>
                  </a:lnTo>
                  <a:lnTo>
                    <a:pt x="264" y="483"/>
                  </a:lnTo>
                  <a:lnTo>
                    <a:pt x="264" y="483"/>
                  </a:lnTo>
                  <a:lnTo>
                    <a:pt x="263" y="484"/>
                  </a:lnTo>
                  <a:lnTo>
                    <a:pt x="263" y="484"/>
                  </a:lnTo>
                  <a:lnTo>
                    <a:pt x="263" y="485"/>
                  </a:lnTo>
                  <a:lnTo>
                    <a:pt x="262" y="486"/>
                  </a:lnTo>
                  <a:lnTo>
                    <a:pt x="262" y="487"/>
                  </a:lnTo>
                  <a:lnTo>
                    <a:pt x="262" y="490"/>
                  </a:lnTo>
                  <a:lnTo>
                    <a:pt x="261" y="491"/>
                  </a:lnTo>
                  <a:lnTo>
                    <a:pt x="261" y="492"/>
                  </a:lnTo>
                  <a:lnTo>
                    <a:pt x="260" y="494"/>
                  </a:lnTo>
                  <a:lnTo>
                    <a:pt x="260" y="494"/>
                  </a:lnTo>
                  <a:lnTo>
                    <a:pt x="260" y="494"/>
                  </a:lnTo>
                  <a:lnTo>
                    <a:pt x="259" y="495"/>
                  </a:lnTo>
                  <a:lnTo>
                    <a:pt x="258" y="495"/>
                  </a:lnTo>
                  <a:lnTo>
                    <a:pt x="258" y="495"/>
                  </a:lnTo>
                  <a:lnTo>
                    <a:pt x="257" y="495"/>
                  </a:lnTo>
                  <a:lnTo>
                    <a:pt x="256" y="495"/>
                  </a:lnTo>
                  <a:lnTo>
                    <a:pt x="256" y="495"/>
                  </a:lnTo>
                  <a:lnTo>
                    <a:pt x="255" y="495"/>
                  </a:lnTo>
                  <a:lnTo>
                    <a:pt x="254" y="495"/>
                  </a:lnTo>
                  <a:lnTo>
                    <a:pt x="254" y="495"/>
                  </a:lnTo>
                  <a:lnTo>
                    <a:pt x="252" y="494"/>
                  </a:lnTo>
                  <a:lnTo>
                    <a:pt x="252" y="494"/>
                  </a:lnTo>
                  <a:lnTo>
                    <a:pt x="251" y="494"/>
                  </a:lnTo>
                  <a:lnTo>
                    <a:pt x="250" y="493"/>
                  </a:lnTo>
                  <a:lnTo>
                    <a:pt x="250" y="492"/>
                  </a:lnTo>
                  <a:lnTo>
                    <a:pt x="249" y="492"/>
                  </a:lnTo>
                  <a:lnTo>
                    <a:pt x="248" y="491"/>
                  </a:lnTo>
                  <a:lnTo>
                    <a:pt x="247" y="489"/>
                  </a:lnTo>
                  <a:lnTo>
                    <a:pt x="246" y="487"/>
                  </a:lnTo>
                  <a:lnTo>
                    <a:pt x="245" y="484"/>
                  </a:lnTo>
                  <a:lnTo>
                    <a:pt x="244" y="482"/>
                  </a:lnTo>
                  <a:lnTo>
                    <a:pt x="243" y="481"/>
                  </a:lnTo>
                  <a:lnTo>
                    <a:pt x="243" y="479"/>
                  </a:lnTo>
                  <a:lnTo>
                    <a:pt x="242" y="478"/>
                  </a:lnTo>
                  <a:lnTo>
                    <a:pt x="242" y="478"/>
                  </a:lnTo>
                  <a:lnTo>
                    <a:pt x="242" y="477"/>
                  </a:lnTo>
                  <a:lnTo>
                    <a:pt x="242" y="477"/>
                  </a:lnTo>
                  <a:lnTo>
                    <a:pt x="241" y="477"/>
                  </a:lnTo>
                  <a:lnTo>
                    <a:pt x="241" y="477"/>
                  </a:lnTo>
                  <a:lnTo>
                    <a:pt x="240" y="477"/>
                  </a:lnTo>
                  <a:lnTo>
                    <a:pt x="240" y="477"/>
                  </a:lnTo>
                  <a:lnTo>
                    <a:pt x="239" y="477"/>
                  </a:lnTo>
                  <a:lnTo>
                    <a:pt x="238" y="478"/>
                  </a:lnTo>
                  <a:lnTo>
                    <a:pt x="237" y="478"/>
                  </a:lnTo>
                  <a:lnTo>
                    <a:pt x="236" y="479"/>
                  </a:lnTo>
                  <a:lnTo>
                    <a:pt x="235" y="479"/>
                  </a:lnTo>
                  <a:lnTo>
                    <a:pt x="235" y="479"/>
                  </a:lnTo>
                  <a:lnTo>
                    <a:pt x="234" y="479"/>
                  </a:lnTo>
                  <a:lnTo>
                    <a:pt x="234" y="479"/>
                  </a:lnTo>
                  <a:lnTo>
                    <a:pt x="233" y="479"/>
                  </a:lnTo>
                  <a:lnTo>
                    <a:pt x="233" y="479"/>
                  </a:lnTo>
                  <a:lnTo>
                    <a:pt x="232" y="478"/>
                  </a:lnTo>
                  <a:lnTo>
                    <a:pt x="231" y="477"/>
                  </a:lnTo>
                  <a:lnTo>
                    <a:pt x="230" y="477"/>
                  </a:lnTo>
                  <a:lnTo>
                    <a:pt x="228" y="475"/>
                  </a:lnTo>
                  <a:lnTo>
                    <a:pt x="225" y="473"/>
                  </a:lnTo>
                  <a:lnTo>
                    <a:pt x="224" y="472"/>
                  </a:lnTo>
                  <a:lnTo>
                    <a:pt x="223" y="471"/>
                  </a:lnTo>
                  <a:lnTo>
                    <a:pt x="222" y="471"/>
                  </a:lnTo>
                  <a:lnTo>
                    <a:pt x="221" y="470"/>
                  </a:lnTo>
                  <a:lnTo>
                    <a:pt x="217" y="468"/>
                  </a:lnTo>
                  <a:lnTo>
                    <a:pt x="216" y="467"/>
                  </a:lnTo>
                  <a:lnTo>
                    <a:pt x="215" y="467"/>
                  </a:lnTo>
                  <a:lnTo>
                    <a:pt x="213" y="465"/>
                  </a:lnTo>
                  <a:lnTo>
                    <a:pt x="212" y="465"/>
                  </a:lnTo>
                  <a:lnTo>
                    <a:pt x="211" y="464"/>
                  </a:lnTo>
                  <a:lnTo>
                    <a:pt x="210" y="464"/>
                  </a:lnTo>
                  <a:lnTo>
                    <a:pt x="210" y="464"/>
                  </a:lnTo>
                  <a:lnTo>
                    <a:pt x="210" y="464"/>
                  </a:lnTo>
                  <a:lnTo>
                    <a:pt x="209" y="465"/>
                  </a:lnTo>
                  <a:lnTo>
                    <a:pt x="209" y="465"/>
                  </a:lnTo>
                  <a:lnTo>
                    <a:pt x="207" y="466"/>
                  </a:lnTo>
                  <a:lnTo>
                    <a:pt x="205" y="467"/>
                  </a:lnTo>
                  <a:lnTo>
                    <a:pt x="204" y="468"/>
                  </a:lnTo>
                  <a:lnTo>
                    <a:pt x="204" y="469"/>
                  </a:lnTo>
                  <a:lnTo>
                    <a:pt x="203" y="469"/>
                  </a:lnTo>
                  <a:lnTo>
                    <a:pt x="203" y="471"/>
                  </a:lnTo>
                  <a:lnTo>
                    <a:pt x="202" y="471"/>
                  </a:lnTo>
                  <a:lnTo>
                    <a:pt x="202" y="472"/>
                  </a:lnTo>
                  <a:lnTo>
                    <a:pt x="201" y="473"/>
                  </a:lnTo>
                  <a:lnTo>
                    <a:pt x="200" y="473"/>
                  </a:lnTo>
                  <a:lnTo>
                    <a:pt x="200" y="474"/>
                  </a:lnTo>
                  <a:lnTo>
                    <a:pt x="199" y="474"/>
                  </a:lnTo>
                  <a:lnTo>
                    <a:pt x="199" y="475"/>
                  </a:lnTo>
                  <a:lnTo>
                    <a:pt x="199" y="475"/>
                  </a:lnTo>
                  <a:lnTo>
                    <a:pt x="199" y="477"/>
                  </a:lnTo>
                  <a:lnTo>
                    <a:pt x="199" y="478"/>
                  </a:lnTo>
                  <a:lnTo>
                    <a:pt x="199" y="479"/>
                  </a:lnTo>
                  <a:lnTo>
                    <a:pt x="198" y="481"/>
                  </a:lnTo>
                  <a:lnTo>
                    <a:pt x="198" y="482"/>
                  </a:lnTo>
                  <a:lnTo>
                    <a:pt x="198" y="484"/>
                  </a:lnTo>
                  <a:lnTo>
                    <a:pt x="198" y="484"/>
                  </a:lnTo>
                  <a:lnTo>
                    <a:pt x="198" y="485"/>
                  </a:lnTo>
                  <a:lnTo>
                    <a:pt x="199" y="487"/>
                  </a:lnTo>
                  <a:lnTo>
                    <a:pt x="199" y="489"/>
                  </a:lnTo>
                  <a:lnTo>
                    <a:pt x="200" y="491"/>
                  </a:lnTo>
                  <a:lnTo>
                    <a:pt x="200" y="492"/>
                  </a:lnTo>
                  <a:lnTo>
                    <a:pt x="200" y="492"/>
                  </a:lnTo>
                  <a:lnTo>
                    <a:pt x="200" y="493"/>
                  </a:lnTo>
                  <a:lnTo>
                    <a:pt x="199" y="494"/>
                  </a:lnTo>
                  <a:lnTo>
                    <a:pt x="199" y="494"/>
                  </a:lnTo>
                  <a:lnTo>
                    <a:pt x="199" y="494"/>
                  </a:lnTo>
                  <a:lnTo>
                    <a:pt x="198" y="495"/>
                  </a:lnTo>
                  <a:lnTo>
                    <a:pt x="198" y="495"/>
                  </a:lnTo>
                  <a:lnTo>
                    <a:pt x="196" y="496"/>
                  </a:lnTo>
                  <a:lnTo>
                    <a:pt x="195" y="496"/>
                  </a:lnTo>
                  <a:lnTo>
                    <a:pt x="194" y="497"/>
                  </a:lnTo>
                  <a:lnTo>
                    <a:pt x="191" y="498"/>
                  </a:lnTo>
                  <a:lnTo>
                    <a:pt x="190" y="498"/>
                  </a:lnTo>
                  <a:lnTo>
                    <a:pt x="189" y="498"/>
                  </a:lnTo>
                  <a:lnTo>
                    <a:pt x="188" y="499"/>
                  </a:lnTo>
                  <a:lnTo>
                    <a:pt x="186" y="500"/>
                  </a:lnTo>
                  <a:lnTo>
                    <a:pt x="184" y="502"/>
                  </a:lnTo>
                  <a:lnTo>
                    <a:pt x="181" y="504"/>
                  </a:lnTo>
                  <a:lnTo>
                    <a:pt x="180" y="505"/>
                  </a:lnTo>
                  <a:lnTo>
                    <a:pt x="179" y="507"/>
                  </a:lnTo>
                  <a:lnTo>
                    <a:pt x="178" y="508"/>
                  </a:lnTo>
                  <a:lnTo>
                    <a:pt x="177" y="509"/>
                  </a:lnTo>
                  <a:lnTo>
                    <a:pt x="176" y="511"/>
                  </a:lnTo>
                  <a:lnTo>
                    <a:pt x="175" y="511"/>
                  </a:lnTo>
                  <a:lnTo>
                    <a:pt x="175" y="512"/>
                  </a:lnTo>
                  <a:lnTo>
                    <a:pt x="174" y="512"/>
                  </a:lnTo>
                  <a:lnTo>
                    <a:pt x="174" y="512"/>
                  </a:lnTo>
                  <a:lnTo>
                    <a:pt x="174" y="512"/>
                  </a:lnTo>
                  <a:lnTo>
                    <a:pt x="173" y="512"/>
                  </a:lnTo>
                  <a:lnTo>
                    <a:pt x="173" y="512"/>
                  </a:lnTo>
                  <a:lnTo>
                    <a:pt x="173" y="512"/>
                  </a:lnTo>
                  <a:lnTo>
                    <a:pt x="172" y="512"/>
                  </a:lnTo>
                  <a:lnTo>
                    <a:pt x="172" y="512"/>
                  </a:lnTo>
                  <a:lnTo>
                    <a:pt x="170" y="510"/>
                  </a:lnTo>
                  <a:lnTo>
                    <a:pt x="169" y="510"/>
                  </a:lnTo>
                  <a:lnTo>
                    <a:pt x="168" y="509"/>
                  </a:lnTo>
                  <a:lnTo>
                    <a:pt x="166" y="509"/>
                  </a:lnTo>
                  <a:lnTo>
                    <a:pt x="165" y="508"/>
                  </a:lnTo>
                  <a:lnTo>
                    <a:pt x="163" y="508"/>
                  </a:lnTo>
                  <a:lnTo>
                    <a:pt x="162" y="508"/>
                  </a:lnTo>
                  <a:lnTo>
                    <a:pt x="160" y="507"/>
                  </a:lnTo>
                  <a:lnTo>
                    <a:pt x="158" y="507"/>
                  </a:lnTo>
                  <a:lnTo>
                    <a:pt x="158" y="507"/>
                  </a:lnTo>
                  <a:lnTo>
                    <a:pt x="157" y="507"/>
                  </a:lnTo>
                  <a:lnTo>
                    <a:pt x="157" y="506"/>
                  </a:lnTo>
                  <a:lnTo>
                    <a:pt x="156" y="506"/>
                  </a:lnTo>
                  <a:lnTo>
                    <a:pt x="156" y="506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5" y="504"/>
                  </a:lnTo>
                  <a:lnTo>
                    <a:pt x="155" y="504"/>
                  </a:lnTo>
                  <a:lnTo>
                    <a:pt x="156" y="501"/>
                  </a:lnTo>
                  <a:lnTo>
                    <a:pt x="156" y="500"/>
                  </a:lnTo>
                  <a:lnTo>
                    <a:pt x="156" y="500"/>
                  </a:lnTo>
                  <a:lnTo>
                    <a:pt x="156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3" y="500"/>
                  </a:lnTo>
                  <a:lnTo>
                    <a:pt x="151" y="500"/>
                  </a:lnTo>
                  <a:lnTo>
                    <a:pt x="150" y="500"/>
                  </a:lnTo>
                  <a:lnTo>
                    <a:pt x="148" y="501"/>
                  </a:lnTo>
                  <a:lnTo>
                    <a:pt x="147" y="501"/>
                  </a:lnTo>
                  <a:lnTo>
                    <a:pt x="146" y="501"/>
                  </a:lnTo>
                  <a:lnTo>
                    <a:pt x="144" y="501"/>
                  </a:lnTo>
                  <a:lnTo>
                    <a:pt x="143" y="501"/>
                  </a:lnTo>
                  <a:lnTo>
                    <a:pt x="139" y="500"/>
                  </a:lnTo>
                  <a:lnTo>
                    <a:pt x="137" y="500"/>
                  </a:lnTo>
                  <a:lnTo>
                    <a:pt x="136" y="500"/>
                  </a:lnTo>
                  <a:lnTo>
                    <a:pt x="135" y="499"/>
                  </a:lnTo>
                  <a:lnTo>
                    <a:pt x="134" y="499"/>
                  </a:lnTo>
                  <a:lnTo>
                    <a:pt x="132" y="498"/>
                  </a:lnTo>
                  <a:lnTo>
                    <a:pt x="132" y="498"/>
                  </a:lnTo>
                  <a:lnTo>
                    <a:pt x="131" y="498"/>
                  </a:lnTo>
                  <a:lnTo>
                    <a:pt x="130" y="498"/>
                  </a:lnTo>
                  <a:lnTo>
                    <a:pt x="129" y="497"/>
                  </a:lnTo>
                  <a:lnTo>
                    <a:pt x="127" y="497"/>
                  </a:lnTo>
                  <a:lnTo>
                    <a:pt x="126" y="497"/>
                  </a:lnTo>
                  <a:lnTo>
                    <a:pt x="125" y="497"/>
                  </a:lnTo>
                  <a:lnTo>
                    <a:pt x="125" y="497"/>
                  </a:lnTo>
                  <a:lnTo>
                    <a:pt x="124" y="498"/>
                  </a:lnTo>
                  <a:lnTo>
                    <a:pt x="123" y="498"/>
                  </a:lnTo>
                  <a:lnTo>
                    <a:pt x="122" y="499"/>
                  </a:lnTo>
                  <a:lnTo>
                    <a:pt x="121" y="500"/>
                  </a:lnTo>
                  <a:lnTo>
                    <a:pt x="120" y="500"/>
                  </a:lnTo>
                  <a:lnTo>
                    <a:pt x="120" y="500"/>
                  </a:lnTo>
                  <a:lnTo>
                    <a:pt x="119" y="500"/>
                  </a:lnTo>
                  <a:lnTo>
                    <a:pt x="119" y="500"/>
                  </a:lnTo>
                  <a:lnTo>
                    <a:pt x="118" y="500"/>
                  </a:lnTo>
                  <a:lnTo>
                    <a:pt x="117" y="499"/>
                  </a:lnTo>
                  <a:lnTo>
                    <a:pt x="116" y="499"/>
                  </a:lnTo>
                  <a:lnTo>
                    <a:pt x="113" y="496"/>
                  </a:lnTo>
                  <a:lnTo>
                    <a:pt x="112" y="496"/>
                  </a:lnTo>
                  <a:lnTo>
                    <a:pt x="111" y="495"/>
                  </a:lnTo>
                  <a:lnTo>
                    <a:pt x="109" y="495"/>
                  </a:lnTo>
                  <a:lnTo>
                    <a:pt x="108" y="494"/>
                  </a:lnTo>
                  <a:lnTo>
                    <a:pt x="107" y="494"/>
                  </a:lnTo>
                  <a:lnTo>
                    <a:pt x="105" y="492"/>
                  </a:lnTo>
                  <a:lnTo>
                    <a:pt x="104" y="492"/>
                  </a:lnTo>
                  <a:lnTo>
                    <a:pt x="103" y="492"/>
                  </a:lnTo>
                  <a:lnTo>
                    <a:pt x="103" y="492"/>
                  </a:lnTo>
                  <a:lnTo>
                    <a:pt x="102" y="492"/>
                  </a:lnTo>
                  <a:lnTo>
                    <a:pt x="102" y="492"/>
                  </a:lnTo>
                  <a:lnTo>
                    <a:pt x="102" y="493"/>
                  </a:lnTo>
                  <a:lnTo>
                    <a:pt x="102" y="493"/>
                  </a:lnTo>
                  <a:lnTo>
                    <a:pt x="102" y="493"/>
                  </a:lnTo>
                  <a:lnTo>
                    <a:pt x="102" y="494"/>
                  </a:lnTo>
                  <a:lnTo>
                    <a:pt x="102" y="496"/>
                  </a:lnTo>
                  <a:lnTo>
                    <a:pt x="102" y="497"/>
                  </a:lnTo>
                  <a:lnTo>
                    <a:pt x="102" y="497"/>
                  </a:lnTo>
                  <a:lnTo>
                    <a:pt x="102" y="498"/>
                  </a:lnTo>
                  <a:lnTo>
                    <a:pt x="102" y="498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99" y="498"/>
                  </a:lnTo>
                  <a:lnTo>
                    <a:pt x="98" y="498"/>
                  </a:lnTo>
                  <a:lnTo>
                    <a:pt x="97" y="498"/>
                  </a:lnTo>
                  <a:lnTo>
                    <a:pt x="96" y="498"/>
                  </a:lnTo>
                  <a:lnTo>
                    <a:pt x="95" y="499"/>
                  </a:lnTo>
                  <a:lnTo>
                    <a:pt x="94" y="499"/>
                  </a:lnTo>
                  <a:lnTo>
                    <a:pt x="93" y="500"/>
                  </a:lnTo>
                  <a:lnTo>
                    <a:pt x="90" y="502"/>
                  </a:lnTo>
                  <a:lnTo>
                    <a:pt x="90" y="502"/>
                  </a:lnTo>
                  <a:lnTo>
                    <a:pt x="89" y="502"/>
                  </a:lnTo>
                  <a:lnTo>
                    <a:pt x="89" y="503"/>
                  </a:lnTo>
                  <a:lnTo>
                    <a:pt x="87" y="503"/>
                  </a:lnTo>
                  <a:lnTo>
                    <a:pt x="86" y="503"/>
                  </a:lnTo>
                  <a:lnTo>
                    <a:pt x="85" y="503"/>
                  </a:lnTo>
                  <a:lnTo>
                    <a:pt x="84" y="503"/>
                  </a:lnTo>
                  <a:lnTo>
                    <a:pt x="82" y="503"/>
                  </a:lnTo>
                  <a:lnTo>
                    <a:pt x="81" y="503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79" y="502"/>
                  </a:lnTo>
                  <a:lnTo>
                    <a:pt x="79" y="501"/>
                  </a:lnTo>
                  <a:lnTo>
                    <a:pt x="78" y="499"/>
                  </a:lnTo>
                  <a:lnTo>
                    <a:pt x="78" y="499"/>
                  </a:lnTo>
                  <a:lnTo>
                    <a:pt x="78" y="499"/>
                  </a:lnTo>
                  <a:lnTo>
                    <a:pt x="78" y="498"/>
                  </a:lnTo>
                  <a:lnTo>
                    <a:pt x="77" y="497"/>
                  </a:lnTo>
                  <a:lnTo>
                    <a:pt x="76" y="497"/>
                  </a:lnTo>
                  <a:lnTo>
                    <a:pt x="75" y="496"/>
                  </a:lnTo>
                  <a:lnTo>
                    <a:pt x="75" y="496"/>
                  </a:lnTo>
                  <a:lnTo>
                    <a:pt x="73" y="495"/>
                  </a:lnTo>
                  <a:lnTo>
                    <a:pt x="72" y="494"/>
                  </a:lnTo>
                  <a:lnTo>
                    <a:pt x="70" y="494"/>
                  </a:lnTo>
                  <a:lnTo>
                    <a:pt x="70" y="494"/>
                  </a:lnTo>
                  <a:lnTo>
                    <a:pt x="69" y="493"/>
                  </a:lnTo>
                  <a:lnTo>
                    <a:pt x="69" y="493"/>
                  </a:lnTo>
                  <a:lnTo>
                    <a:pt x="68" y="492"/>
                  </a:lnTo>
                  <a:lnTo>
                    <a:pt x="68" y="492"/>
                  </a:lnTo>
                  <a:lnTo>
                    <a:pt x="67" y="490"/>
                  </a:lnTo>
                  <a:lnTo>
                    <a:pt x="66" y="489"/>
                  </a:lnTo>
                  <a:lnTo>
                    <a:pt x="65" y="489"/>
                  </a:lnTo>
                  <a:lnTo>
                    <a:pt x="64" y="488"/>
                  </a:lnTo>
                  <a:lnTo>
                    <a:pt x="63" y="487"/>
                  </a:lnTo>
                  <a:lnTo>
                    <a:pt x="62" y="487"/>
                  </a:lnTo>
                  <a:lnTo>
                    <a:pt x="60" y="486"/>
                  </a:lnTo>
                  <a:lnTo>
                    <a:pt x="59" y="486"/>
                  </a:lnTo>
                  <a:lnTo>
                    <a:pt x="59" y="486"/>
                  </a:lnTo>
                  <a:lnTo>
                    <a:pt x="58" y="486"/>
                  </a:lnTo>
                  <a:lnTo>
                    <a:pt x="57" y="486"/>
                  </a:lnTo>
                  <a:lnTo>
                    <a:pt x="56" y="486"/>
                  </a:lnTo>
                  <a:lnTo>
                    <a:pt x="54" y="487"/>
                  </a:lnTo>
                  <a:lnTo>
                    <a:pt x="51" y="488"/>
                  </a:lnTo>
                  <a:lnTo>
                    <a:pt x="50" y="488"/>
                  </a:lnTo>
                  <a:lnTo>
                    <a:pt x="49" y="488"/>
                  </a:lnTo>
                  <a:lnTo>
                    <a:pt x="49" y="489"/>
                  </a:lnTo>
                  <a:lnTo>
                    <a:pt x="48" y="490"/>
                  </a:lnTo>
                  <a:lnTo>
                    <a:pt x="48" y="490"/>
                  </a:lnTo>
                  <a:lnTo>
                    <a:pt x="47" y="492"/>
                  </a:lnTo>
                  <a:lnTo>
                    <a:pt x="46" y="494"/>
                  </a:lnTo>
                  <a:lnTo>
                    <a:pt x="45" y="495"/>
                  </a:lnTo>
                  <a:lnTo>
                    <a:pt x="44" y="496"/>
                  </a:lnTo>
                  <a:lnTo>
                    <a:pt x="44" y="498"/>
                  </a:lnTo>
                  <a:lnTo>
                    <a:pt x="43" y="499"/>
                  </a:lnTo>
                  <a:lnTo>
                    <a:pt x="43" y="499"/>
                  </a:lnTo>
                  <a:lnTo>
                    <a:pt x="42" y="499"/>
                  </a:lnTo>
                  <a:lnTo>
                    <a:pt x="42" y="499"/>
                  </a:lnTo>
                  <a:lnTo>
                    <a:pt x="41" y="499"/>
                  </a:lnTo>
                  <a:lnTo>
                    <a:pt x="41" y="499"/>
                  </a:lnTo>
                  <a:lnTo>
                    <a:pt x="39" y="499"/>
                  </a:lnTo>
                  <a:lnTo>
                    <a:pt x="38" y="499"/>
                  </a:lnTo>
                  <a:lnTo>
                    <a:pt x="36" y="499"/>
                  </a:lnTo>
                  <a:lnTo>
                    <a:pt x="33" y="500"/>
                  </a:lnTo>
                  <a:lnTo>
                    <a:pt x="25" y="500"/>
                  </a:lnTo>
                  <a:lnTo>
                    <a:pt x="24" y="500"/>
                  </a:lnTo>
                  <a:lnTo>
                    <a:pt x="20" y="500"/>
                  </a:lnTo>
                  <a:lnTo>
                    <a:pt x="19" y="500"/>
                  </a:lnTo>
                  <a:lnTo>
                    <a:pt x="18" y="500"/>
                  </a:lnTo>
                  <a:lnTo>
                    <a:pt x="16" y="501"/>
                  </a:lnTo>
                  <a:lnTo>
                    <a:pt x="15" y="501"/>
                  </a:lnTo>
                  <a:lnTo>
                    <a:pt x="13" y="501"/>
                  </a:lnTo>
                  <a:lnTo>
                    <a:pt x="11" y="501"/>
                  </a:lnTo>
                  <a:lnTo>
                    <a:pt x="11" y="501"/>
                  </a:lnTo>
                  <a:lnTo>
                    <a:pt x="10" y="501"/>
                  </a:lnTo>
                  <a:lnTo>
                    <a:pt x="9" y="501"/>
                  </a:lnTo>
                  <a:lnTo>
                    <a:pt x="8" y="501"/>
                  </a:lnTo>
                  <a:lnTo>
                    <a:pt x="7" y="502"/>
                  </a:lnTo>
                  <a:lnTo>
                    <a:pt x="5" y="501"/>
                  </a:lnTo>
                  <a:lnTo>
                    <a:pt x="5" y="501"/>
                  </a:lnTo>
                  <a:lnTo>
                    <a:pt x="4" y="501"/>
                  </a:lnTo>
                  <a:lnTo>
                    <a:pt x="3" y="501"/>
                  </a:lnTo>
                  <a:lnTo>
                    <a:pt x="2" y="500"/>
                  </a:lnTo>
                  <a:lnTo>
                    <a:pt x="2" y="500"/>
                  </a:lnTo>
                  <a:lnTo>
                    <a:pt x="1" y="499"/>
                  </a:lnTo>
                  <a:lnTo>
                    <a:pt x="1" y="499"/>
                  </a:lnTo>
                  <a:lnTo>
                    <a:pt x="0" y="498"/>
                  </a:lnTo>
                  <a:lnTo>
                    <a:pt x="0" y="498"/>
                  </a:lnTo>
                  <a:lnTo>
                    <a:pt x="0" y="497"/>
                  </a:lnTo>
                  <a:lnTo>
                    <a:pt x="0" y="496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4" name="Freeform 44">
              <a:extLst>
                <a:ext uri="{FF2B5EF4-FFF2-40B4-BE49-F238E27FC236}">
                  <a16:creationId xmlns:a16="http://schemas.microsoft.com/office/drawing/2014/main" id="{7B0CF0D7-1495-E177-659D-4028C072EA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" y="3069"/>
              <a:ext cx="451" cy="513"/>
            </a:xfrm>
            <a:custGeom>
              <a:avLst/>
              <a:gdLst>
                <a:gd name="T0" fmla="*/ 182 w 451"/>
                <a:gd name="T1" fmla="*/ 492 h 513"/>
                <a:gd name="T2" fmla="*/ 173 w 451"/>
                <a:gd name="T3" fmla="*/ 504 h 513"/>
                <a:gd name="T4" fmla="*/ 155 w 451"/>
                <a:gd name="T5" fmla="*/ 512 h 513"/>
                <a:gd name="T6" fmla="*/ 142 w 451"/>
                <a:gd name="T7" fmla="*/ 509 h 513"/>
                <a:gd name="T8" fmla="*/ 127 w 451"/>
                <a:gd name="T9" fmla="*/ 508 h 513"/>
                <a:gd name="T10" fmla="*/ 109 w 451"/>
                <a:gd name="T11" fmla="*/ 508 h 513"/>
                <a:gd name="T12" fmla="*/ 103 w 451"/>
                <a:gd name="T13" fmla="*/ 497 h 513"/>
                <a:gd name="T14" fmla="*/ 97 w 451"/>
                <a:gd name="T15" fmla="*/ 484 h 513"/>
                <a:gd name="T16" fmla="*/ 98 w 451"/>
                <a:gd name="T17" fmla="*/ 458 h 513"/>
                <a:gd name="T18" fmla="*/ 86 w 451"/>
                <a:gd name="T19" fmla="*/ 455 h 513"/>
                <a:gd name="T20" fmla="*/ 83 w 451"/>
                <a:gd name="T21" fmla="*/ 447 h 513"/>
                <a:gd name="T22" fmla="*/ 84 w 451"/>
                <a:gd name="T23" fmla="*/ 439 h 513"/>
                <a:gd name="T24" fmla="*/ 90 w 451"/>
                <a:gd name="T25" fmla="*/ 431 h 513"/>
                <a:gd name="T26" fmla="*/ 79 w 451"/>
                <a:gd name="T27" fmla="*/ 429 h 513"/>
                <a:gd name="T28" fmla="*/ 86 w 451"/>
                <a:gd name="T29" fmla="*/ 413 h 513"/>
                <a:gd name="T30" fmla="*/ 102 w 451"/>
                <a:gd name="T31" fmla="*/ 410 h 513"/>
                <a:gd name="T32" fmla="*/ 116 w 451"/>
                <a:gd name="T33" fmla="*/ 399 h 513"/>
                <a:gd name="T34" fmla="*/ 113 w 451"/>
                <a:gd name="T35" fmla="*/ 391 h 513"/>
                <a:gd name="T36" fmla="*/ 117 w 451"/>
                <a:gd name="T37" fmla="*/ 370 h 513"/>
                <a:gd name="T38" fmla="*/ 122 w 451"/>
                <a:gd name="T39" fmla="*/ 346 h 513"/>
                <a:gd name="T40" fmla="*/ 124 w 451"/>
                <a:gd name="T41" fmla="*/ 319 h 513"/>
                <a:gd name="T42" fmla="*/ 103 w 451"/>
                <a:gd name="T43" fmla="*/ 308 h 513"/>
                <a:gd name="T44" fmla="*/ 92 w 451"/>
                <a:gd name="T45" fmla="*/ 298 h 513"/>
                <a:gd name="T46" fmla="*/ 72 w 451"/>
                <a:gd name="T47" fmla="*/ 283 h 513"/>
                <a:gd name="T48" fmla="*/ 51 w 451"/>
                <a:gd name="T49" fmla="*/ 284 h 513"/>
                <a:gd name="T50" fmla="*/ 32 w 451"/>
                <a:gd name="T51" fmla="*/ 270 h 513"/>
                <a:gd name="T52" fmla="*/ 35 w 451"/>
                <a:gd name="T53" fmla="*/ 265 h 513"/>
                <a:gd name="T54" fmla="*/ 15 w 451"/>
                <a:gd name="T55" fmla="*/ 264 h 513"/>
                <a:gd name="T56" fmla="*/ 0 w 451"/>
                <a:gd name="T57" fmla="*/ 264 h 513"/>
                <a:gd name="T58" fmla="*/ 6 w 451"/>
                <a:gd name="T59" fmla="*/ 249 h 513"/>
                <a:gd name="T60" fmla="*/ 4 w 451"/>
                <a:gd name="T61" fmla="*/ 236 h 513"/>
                <a:gd name="T62" fmla="*/ 18 w 451"/>
                <a:gd name="T63" fmla="*/ 230 h 513"/>
                <a:gd name="T64" fmla="*/ 26 w 451"/>
                <a:gd name="T65" fmla="*/ 218 h 513"/>
                <a:gd name="T66" fmla="*/ 33 w 451"/>
                <a:gd name="T67" fmla="*/ 202 h 513"/>
                <a:gd name="T68" fmla="*/ 54 w 451"/>
                <a:gd name="T69" fmla="*/ 194 h 513"/>
                <a:gd name="T70" fmla="*/ 77 w 451"/>
                <a:gd name="T71" fmla="*/ 177 h 513"/>
                <a:gd name="T72" fmla="*/ 90 w 451"/>
                <a:gd name="T73" fmla="*/ 179 h 513"/>
                <a:gd name="T74" fmla="*/ 111 w 451"/>
                <a:gd name="T75" fmla="*/ 173 h 513"/>
                <a:gd name="T76" fmla="*/ 128 w 451"/>
                <a:gd name="T77" fmla="*/ 165 h 513"/>
                <a:gd name="T78" fmla="*/ 139 w 451"/>
                <a:gd name="T79" fmla="*/ 166 h 513"/>
                <a:gd name="T80" fmla="*/ 158 w 451"/>
                <a:gd name="T81" fmla="*/ 154 h 513"/>
                <a:gd name="T82" fmla="*/ 170 w 451"/>
                <a:gd name="T83" fmla="*/ 143 h 513"/>
                <a:gd name="T84" fmla="*/ 176 w 451"/>
                <a:gd name="T85" fmla="*/ 132 h 513"/>
                <a:gd name="T86" fmla="*/ 186 w 451"/>
                <a:gd name="T87" fmla="*/ 125 h 513"/>
                <a:gd name="T88" fmla="*/ 230 w 451"/>
                <a:gd name="T89" fmla="*/ 129 h 513"/>
                <a:gd name="T90" fmla="*/ 253 w 451"/>
                <a:gd name="T91" fmla="*/ 130 h 513"/>
                <a:gd name="T92" fmla="*/ 277 w 451"/>
                <a:gd name="T93" fmla="*/ 121 h 513"/>
                <a:gd name="T94" fmla="*/ 289 w 451"/>
                <a:gd name="T95" fmla="*/ 116 h 513"/>
                <a:gd name="T96" fmla="*/ 289 w 451"/>
                <a:gd name="T97" fmla="*/ 93 h 513"/>
                <a:gd name="T98" fmla="*/ 298 w 451"/>
                <a:gd name="T99" fmla="*/ 88 h 513"/>
                <a:gd name="T100" fmla="*/ 307 w 451"/>
                <a:gd name="T101" fmla="*/ 79 h 513"/>
                <a:gd name="T102" fmla="*/ 319 w 451"/>
                <a:gd name="T103" fmla="*/ 71 h 513"/>
                <a:gd name="T104" fmla="*/ 321 w 451"/>
                <a:gd name="T105" fmla="*/ 53 h 513"/>
                <a:gd name="T106" fmla="*/ 327 w 451"/>
                <a:gd name="T107" fmla="*/ 54 h 513"/>
                <a:gd name="T108" fmla="*/ 341 w 451"/>
                <a:gd name="T109" fmla="*/ 53 h 513"/>
                <a:gd name="T110" fmla="*/ 351 w 451"/>
                <a:gd name="T111" fmla="*/ 55 h 513"/>
                <a:gd name="T112" fmla="*/ 360 w 451"/>
                <a:gd name="T113" fmla="*/ 65 h 513"/>
                <a:gd name="T114" fmla="*/ 383 w 451"/>
                <a:gd name="T115" fmla="*/ 61 h 513"/>
                <a:gd name="T116" fmla="*/ 401 w 451"/>
                <a:gd name="T117" fmla="*/ 44 h 513"/>
                <a:gd name="T118" fmla="*/ 409 w 451"/>
                <a:gd name="T119" fmla="*/ 30 h 513"/>
                <a:gd name="T120" fmla="*/ 429 w 451"/>
                <a:gd name="T121" fmla="*/ 31 h 513"/>
                <a:gd name="T122" fmla="*/ 437 w 451"/>
                <a:gd name="T123" fmla="*/ 20 h 513"/>
                <a:gd name="T124" fmla="*/ 450 w 451"/>
                <a:gd name="T125" fmla="*/ 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1" h="513">
                  <a:moveTo>
                    <a:pt x="195" y="496"/>
                  </a:moveTo>
                  <a:lnTo>
                    <a:pt x="195" y="495"/>
                  </a:lnTo>
                  <a:lnTo>
                    <a:pt x="195" y="493"/>
                  </a:lnTo>
                  <a:lnTo>
                    <a:pt x="195" y="489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2" y="487"/>
                  </a:lnTo>
                  <a:lnTo>
                    <a:pt x="190" y="488"/>
                  </a:lnTo>
                  <a:lnTo>
                    <a:pt x="189" y="488"/>
                  </a:lnTo>
                  <a:lnTo>
                    <a:pt x="188" y="489"/>
                  </a:lnTo>
                  <a:lnTo>
                    <a:pt x="185" y="490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80" y="493"/>
                  </a:lnTo>
                  <a:lnTo>
                    <a:pt x="180" y="493"/>
                  </a:lnTo>
                  <a:lnTo>
                    <a:pt x="179" y="494"/>
                  </a:lnTo>
                  <a:lnTo>
                    <a:pt x="179" y="494"/>
                  </a:lnTo>
                  <a:lnTo>
                    <a:pt x="179" y="495"/>
                  </a:lnTo>
                  <a:lnTo>
                    <a:pt x="178" y="497"/>
                  </a:lnTo>
                  <a:lnTo>
                    <a:pt x="177" y="499"/>
                  </a:lnTo>
                  <a:lnTo>
                    <a:pt x="176" y="500"/>
                  </a:lnTo>
                  <a:lnTo>
                    <a:pt x="176" y="501"/>
                  </a:lnTo>
                  <a:lnTo>
                    <a:pt x="175" y="502"/>
                  </a:lnTo>
                  <a:lnTo>
                    <a:pt x="175" y="503"/>
                  </a:lnTo>
                  <a:lnTo>
                    <a:pt x="174" y="503"/>
                  </a:lnTo>
                  <a:lnTo>
                    <a:pt x="174" y="504"/>
                  </a:lnTo>
                  <a:lnTo>
                    <a:pt x="173" y="504"/>
                  </a:lnTo>
                  <a:lnTo>
                    <a:pt x="173" y="504"/>
                  </a:lnTo>
                  <a:lnTo>
                    <a:pt x="171" y="505"/>
                  </a:lnTo>
                  <a:lnTo>
                    <a:pt x="171" y="505"/>
                  </a:lnTo>
                  <a:lnTo>
                    <a:pt x="170" y="505"/>
                  </a:lnTo>
                  <a:lnTo>
                    <a:pt x="168" y="507"/>
                  </a:lnTo>
                  <a:lnTo>
                    <a:pt x="167" y="507"/>
                  </a:lnTo>
                  <a:lnTo>
                    <a:pt x="166" y="508"/>
                  </a:lnTo>
                  <a:lnTo>
                    <a:pt x="166" y="508"/>
                  </a:lnTo>
                  <a:lnTo>
                    <a:pt x="165" y="508"/>
                  </a:lnTo>
                  <a:lnTo>
                    <a:pt x="164" y="508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59" y="509"/>
                  </a:lnTo>
                  <a:lnTo>
                    <a:pt x="158" y="510"/>
                  </a:lnTo>
                  <a:lnTo>
                    <a:pt x="157" y="510"/>
                  </a:lnTo>
                  <a:lnTo>
                    <a:pt x="155" y="511"/>
                  </a:lnTo>
                  <a:lnTo>
                    <a:pt x="155" y="512"/>
                  </a:lnTo>
                  <a:lnTo>
                    <a:pt x="154" y="512"/>
                  </a:lnTo>
                  <a:lnTo>
                    <a:pt x="153" y="513"/>
                  </a:lnTo>
                  <a:lnTo>
                    <a:pt x="152" y="513"/>
                  </a:lnTo>
                  <a:lnTo>
                    <a:pt x="151" y="513"/>
                  </a:lnTo>
                  <a:lnTo>
                    <a:pt x="150" y="513"/>
                  </a:lnTo>
                  <a:lnTo>
                    <a:pt x="149" y="513"/>
                  </a:lnTo>
                  <a:lnTo>
                    <a:pt x="148" y="512"/>
                  </a:lnTo>
                  <a:lnTo>
                    <a:pt x="147" y="512"/>
                  </a:lnTo>
                  <a:lnTo>
                    <a:pt x="147" y="512"/>
                  </a:lnTo>
                  <a:lnTo>
                    <a:pt x="145" y="511"/>
                  </a:lnTo>
                  <a:lnTo>
                    <a:pt x="144" y="511"/>
                  </a:lnTo>
                  <a:lnTo>
                    <a:pt x="144" y="510"/>
                  </a:lnTo>
                  <a:lnTo>
                    <a:pt x="143" y="510"/>
                  </a:lnTo>
                  <a:lnTo>
                    <a:pt x="143" y="509"/>
                  </a:lnTo>
                  <a:lnTo>
                    <a:pt x="142" y="509"/>
                  </a:lnTo>
                  <a:lnTo>
                    <a:pt x="142" y="509"/>
                  </a:lnTo>
                  <a:lnTo>
                    <a:pt x="140" y="508"/>
                  </a:lnTo>
                  <a:lnTo>
                    <a:pt x="140" y="507"/>
                  </a:lnTo>
                  <a:lnTo>
                    <a:pt x="137" y="506"/>
                  </a:lnTo>
                  <a:lnTo>
                    <a:pt x="137" y="505"/>
                  </a:lnTo>
                  <a:lnTo>
                    <a:pt x="136" y="505"/>
                  </a:lnTo>
                  <a:lnTo>
                    <a:pt x="136" y="505"/>
                  </a:lnTo>
                  <a:lnTo>
                    <a:pt x="135" y="505"/>
                  </a:lnTo>
                  <a:lnTo>
                    <a:pt x="134" y="505"/>
                  </a:lnTo>
                  <a:lnTo>
                    <a:pt x="133" y="505"/>
                  </a:lnTo>
                  <a:lnTo>
                    <a:pt x="132" y="505"/>
                  </a:lnTo>
                  <a:lnTo>
                    <a:pt x="130" y="507"/>
                  </a:lnTo>
                  <a:lnTo>
                    <a:pt x="129" y="507"/>
                  </a:lnTo>
                  <a:lnTo>
                    <a:pt x="128" y="507"/>
                  </a:lnTo>
                  <a:lnTo>
                    <a:pt x="128" y="508"/>
                  </a:lnTo>
                  <a:lnTo>
                    <a:pt x="127" y="508"/>
                  </a:lnTo>
                  <a:lnTo>
                    <a:pt x="127" y="508"/>
                  </a:lnTo>
                  <a:lnTo>
                    <a:pt x="126" y="507"/>
                  </a:lnTo>
                  <a:lnTo>
                    <a:pt x="125" y="507"/>
                  </a:lnTo>
                  <a:lnTo>
                    <a:pt x="125" y="507"/>
                  </a:lnTo>
                  <a:lnTo>
                    <a:pt x="124" y="507"/>
                  </a:lnTo>
                  <a:lnTo>
                    <a:pt x="122" y="505"/>
                  </a:lnTo>
                  <a:lnTo>
                    <a:pt x="122" y="504"/>
                  </a:lnTo>
                  <a:lnTo>
                    <a:pt x="121" y="504"/>
                  </a:lnTo>
                  <a:lnTo>
                    <a:pt x="121" y="504"/>
                  </a:lnTo>
                  <a:lnTo>
                    <a:pt x="120" y="504"/>
                  </a:lnTo>
                  <a:lnTo>
                    <a:pt x="120" y="504"/>
                  </a:lnTo>
                  <a:lnTo>
                    <a:pt x="119" y="504"/>
                  </a:lnTo>
                  <a:lnTo>
                    <a:pt x="119" y="504"/>
                  </a:lnTo>
                  <a:lnTo>
                    <a:pt x="117" y="505"/>
                  </a:lnTo>
                  <a:lnTo>
                    <a:pt x="115" y="506"/>
                  </a:lnTo>
                  <a:lnTo>
                    <a:pt x="112" y="507"/>
                  </a:lnTo>
                  <a:lnTo>
                    <a:pt x="109" y="508"/>
                  </a:lnTo>
                  <a:lnTo>
                    <a:pt x="108" y="508"/>
                  </a:lnTo>
                  <a:lnTo>
                    <a:pt x="106" y="508"/>
                  </a:lnTo>
                  <a:lnTo>
                    <a:pt x="105" y="508"/>
                  </a:lnTo>
                  <a:lnTo>
                    <a:pt x="105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7"/>
                  </a:lnTo>
                  <a:lnTo>
                    <a:pt x="104" y="506"/>
                  </a:lnTo>
                  <a:lnTo>
                    <a:pt x="104" y="505"/>
                  </a:lnTo>
                  <a:lnTo>
                    <a:pt x="104" y="503"/>
                  </a:lnTo>
                  <a:lnTo>
                    <a:pt x="104" y="502"/>
                  </a:lnTo>
                  <a:lnTo>
                    <a:pt x="104" y="501"/>
                  </a:lnTo>
                  <a:lnTo>
                    <a:pt x="104" y="500"/>
                  </a:lnTo>
                  <a:lnTo>
                    <a:pt x="104" y="499"/>
                  </a:lnTo>
                  <a:lnTo>
                    <a:pt x="103" y="497"/>
                  </a:lnTo>
                  <a:lnTo>
                    <a:pt x="103" y="496"/>
                  </a:lnTo>
                  <a:lnTo>
                    <a:pt x="103" y="495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1" y="493"/>
                  </a:lnTo>
                  <a:lnTo>
                    <a:pt x="100" y="492"/>
                  </a:lnTo>
                  <a:lnTo>
                    <a:pt x="99" y="492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7" y="490"/>
                  </a:lnTo>
                  <a:lnTo>
                    <a:pt x="97" y="490"/>
                  </a:lnTo>
                  <a:lnTo>
                    <a:pt x="97" y="489"/>
                  </a:lnTo>
                  <a:lnTo>
                    <a:pt x="97" y="489"/>
                  </a:lnTo>
                  <a:lnTo>
                    <a:pt x="97" y="485"/>
                  </a:lnTo>
                  <a:lnTo>
                    <a:pt x="97" y="484"/>
                  </a:lnTo>
                  <a:lnTo>
                    <a:pt x="97" y="481"/>
                  </a:lnTo>
                  <a:lnTo>
                    <a:pt x="98" y="478"/>
                  </a:lnTo>
                  <a:lnTo>
                    <a:pt x="98" y="476"/>
                  </a:lnTo>
                  <a:lnTo>
                    <a:pt x="98" y="474"/>
                  </a:lnTo>
                  <a:lnTo>
                    <a:pt x="99" y="471"/>
                  </a:lnTo>
                  <a:lnTo>
                    <a:pt x="99" y="469"/>
                  </a:lnTo>
                  <a:lnTo>
                    <a:pt x="99" y="468"/>
                  </a:lnTo>
                  <a:lnTo>
                    <a:pt x="99" y="466"/>
                  </a:lnTo>
                  <a:lnTo>
                    <a:pt x="99" y="464"/>
                  </a:lnTo>
                  <a:lnTo>
                    <a:pt x="99" y="462"/>
                  </a:lnTo>
                  <a:lnTo>
                    <a:pt x="99" y="461"/>
                  </a:lnTo>
                  <a:lnTo>
                    <a:pt x="99" y="460"/>
                  </a:lnTo>
                  <a:lnTo>
                    <a:pt x="99" y="460"/>
                  </a:lnTo>
                  <a:lnTo>
                    <a:pt x="98" y="459"/>
                  </a:lnTo>
                  <a:lnTo>
                    <a:pt x="98" y="459"/>
                  </a:lnTo>
                  <a:lnTo>
                    <a:pt x="98" y="458"/>
                  </a:lnTo>
                  <a:lnTo>
                    <a:pt x="97" y="458"/>
                  </a:lnTo>
                  <a:lnTo>
                    <a:pt x="96" y="457"/>
                  </a:lnTo>
                  <a:lnTo>
                    <a:pt x="95" y="457"/>
                  </a:lnTo>
                  <a:lnTo>
                    <a:pt x="94" y="456"/>
                  </a:lnTo>
                  <a:lnTo>
                    <a:pt x="93" y="456"/>
                  </a:lnTo>
                  <a:lnTo>
                    <a:pt x="92" y="456"/>
                  </a:lnTo>
                  <a:lnTo>
                    <a:pt x="91" y="456"/>
                  </a:lnTo>
                  <a:lnTo>
                    <a:pt x="89" y="456"/>
                  </a:lnTo>
                  <a:lnTo>
                    <a:pt x="88" y="456"/>
                  </a:lnTo>
                  <a:lnTo>
                    <a:pt x="87" y="456"/>
                  </a:lnTo>
                  <a:lnTo>
                    <a:pt x="87" y="456"/>
                  </a:lnTo>
                  <a:lnTo>
                    <a:pt x="87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4"/>
                  </a:lnTo>
                  <a:lnTo>
                    <a:pt x="86" y="453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1"/>
                  </a:lnTo>
                  <a:lnTo>
                    <a:pt x="86" y="451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49"/>
                  </a:lnTo>
                  <a:lnTo>
                    <a:pt x="82" y="449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7"/>
                  </a:lnTo>
                  <a:lnTo>
                    <a:pt x="84" y="447"/>
                  </a:lnTo>
                  <a:lnTo>
                    <a:pt x="85" y="447"/>
                  </a:lnTo>
                  <a:lnTo>
                    <a:pt x="86" y="447"/>
                  </a:lnTo>
                  <a:lnTo>
                    <a:pt x="86" y="447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8" y="445"/>
                  </a:lnTo>
                  <a:lnTo>
                    <a:pt x="88" y="445"/>
                  </a:lnTo>
                  <a:lnTo>
                    <a:pt x="88" y="444"/>
                  </a:lnTo>
                  <a:lnTo>
                    <a:pt x="87" y="443"/>
                  </a:lnTo>
                  <a:lnTo>
                    <a:pt x="87" y="443"/>
                  </a:lnTo>
                  <a:lnTo>
                    <a:pt x="86" y="442"/>
                  </a:lnTo>
                  <a:lnTo>
                    <a:pt x="86" y="441"/>
                  </a:lnTo>
                  <a:lnTo>
                    <a:pt x="84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4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5"/>
                  </a:lnTo>
                  <a:lnTo>
                    <a:pt x="88" y="434"/>
                  </a:lnTo>
                  <a:lnTo>
                    <a:pt x="89" y="433"/>
                  </a:lnTo>
                  <a:lnTo>
                    <a:pt x="90" y="433"/>
                  </a:lnTo>
                  <a:lnTo>
                    <a:pt x="90" y="432"/>
                  </a:lnTo>
                  <a:lnTo>
                    <a:pt x="90" y="432"/>
                  </a:lnTo>
                  <a:lnTo>
                    <a:pt x="91" y="431"/>
                  </a:lnTo>
                  <a:lnTo>
                    <a:pt x="90" y="431"/>
                  </a:lnTo>
                  <a:lnTo>
                    <a:pt x="90" y="431"/>
                  </a:lnTo>
                  <a:lnTo>
                    <a:pt x="90" y="430"/>
                  </a:lnTo>
                  <a:lnTo>
                    <a:pt x="90" y="430"/>
                  </a:lnTo>
                  <a:lnTo>
                    <a:pt x="89" y="430"/>
                  </a:lnTo>
                  <a:lnTo>
                    <a:pt x="89" y="430"/>
                  </a:lnTo>
                  <a:lnTo>
                    <a:pt x="88" y="429"/>
                  </a:lnTo>
                  <a:lnTo>
                    <a:pt x="86" y="429"/>
                  </a:lnTo>
                  <a:lnTo>
                    <a:pt x="85" y="429"/>
                  </a:lnTo>
                  <a:lnTo>
                    <a:pt x="84" y="429"/>
                  </a:lnTo>
                  <a:lnTo>
                    <a:pt x="83" y="429"/>
                  </a:lnTo>
                  <a:lnTo>
                    <a:pt x="81" y="430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8"/>
                  </a:lnTo>
                  <a:lnTo>
                    <a:pt x="78" y="428"/>
                  </a:lnTo>
                  <a:lnTo>
                    <a:pt x="78" y="427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8" y="425"/>
                  </a:lnTo>
                  <a:lnTo>
                    <a:pt x="78" y="424"/>
                  </a:lnTo>
                  <a:lnTo>
                    <a:pt x="79" y="423"/>
                  </a:lnTo>
                  <a:lnTo>
                    <a:pt x="79" y="422"/>
                  </a:lnTo>
                  <a:lnTo>
                    <a:pt x="79" y="421"/>
                  </a:lnTo>
                  <a:lnTo>
                    <a:pt x="80" y="420"/>
                  </a:lnTo>
                  <a:lnTo>
                    <a:pt x="83" y="417"/>
                  </a:lnTo>
                  <a:lnTo>
                    <a:pt x="84" y="415"/>
                  </a:lnTo>
                  <a:lnTo>
                    <a:pt x="84" y="414"/>
                  </a:lnTo>
                  <a:lnTo>
                    <a:pt x="85" y="414"/>
                  </a:lnTo>
                  <a:lnTo>
                    <a:pt x="86" y="413"/>
                  </a:lnTo>
                  <a:lnTo>
                    <a:pt x="87" y="412"/>
                  </a:lnTo>
                  <a:lnTo>
                    <a:pt x="88" y="411"/>
                  </a:lnTo>
                  <a:lnTo>
                    <a:pt x="89" y="411"/>
                  </a:lnTo>
                  <a:lnTo>
                    <a:pt x="90" y="410"/>
                  </a:lnTo>
                  <a:lnTo>
                    <a:pt x="92" y="409"/>
                  </a:lnTo>
                  <a:lnTo>
                    <a:pt x="93" y="409"/>
                  </a:lnTo>
                  <a:lnTo>
                    <a:pt x="94" y="408"/>
                  </a:lnTo>
                  <a:lnTo>
                    <a:pt x="95" y="408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7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101" y="410"/>
                  </a:lnTo>
                  <a:lnTo>
                    <a:pt x="102" y="410"/>
                  </a:lnTo>
                  <a:lnTo>
                    <a:pt x="103" y="411"/>
                  </a:lnTo>
                  <a:lnTo>
                    <a:pt x="103" y="411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7" y="409"/>
                  </a:lnTo>
                  <a:lnTo>
                    <a:pt x="108" y="408"/>
                  </a:lnTo>
                  <a:lnTo>
                    <a:pt x="109" y="406"/>
                  </a:lnTo>
                  <a:lnTo>
                    <a:pt x="110" y="405"/>
                  </a:lnTo>
                  <a:lnTo>
                    <a:pt x="111" y="404"/>
                  </a:lnTo>
                  <a:lnTo>
                    <a:pt x="112" y="403"/>
                  </a:lnTo>
                  <a:lnTo>
                    <a:pt x="115" y="400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17" y="398"/>
                  </a:lnTo>
                  <a:lnTo>
                    <a:pt x="117" y="398"/>
                  </a:lnTo>
                  <a:lnTo>
                    <a:pt x="118" y="397"/>
                  </a:lnTo>
                  <a:lnTo>
                    <a:pt x="118" y="397"/>
                  </a:lnTo>
                  <a:lnTo>
                    <a:pt x="118" y="396"/>
                  </a:lnTo>
                  <a:lnTo>
                    <a:pt x="118" y="395"/>
                  </a:lnTo>
                  <a:lnTo>
                    <a:pt x="117" y="395"/>
                  </a:lnTo>
                  <a:lnTo>
                    <a:pt x="117" y="394"/>
                  </a:lnTo>
                  <a:lnTo>
                    <a:pt x="116" y="394"/>
                  </a:lnTo>
                  <a:lnTo>
                    <a:pt x="116" y="393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3" y="392"/>
                  </a:lnTo>
                  <a:lnTo>
                    <a:pt x="113" y="391"/>
                  </a:lnTo>
                  <a:lnTo>
                    <a:pt x="113" y="390"/>
                  </a:lnTo>
                  <a:lnTo>
                    <a:pt x="114" y="388"/>
                  </a:lnTo>
                  <a:lnTo>
                    <a:pt x="114" y="387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5" y="384"/>
                  </a:lnTo>
                  <a:lnTo>
                    <a:pt x="115" y="383"/>
                  </a:lnTo>
                  <a:lnTo>
                    <a:pt x="115" y="380"/>
                  </a:lnTo>
                  <a:lnTo>
                    <a:pt x="115" y="379"/>
                  </a:lnTo>
                  <a:lnTo>
                    <a:pt x="115" y="378"/>
                  </a:lnTo>
                  <a:lnTo>
                    <a:pt x="115" y="377"/>
                  </a:lnTo>
                  <a:lnTo>
                    <a:pt x="115" y="376"/>
                  </a:lnTo>
                  <a:lnTo>
                    <a:pt x="115" y="376"/>
                  </a:lnTo>
                  <a:lnTo>
                    <a:pt x="116" y="373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7" y="369"/>
                  </a:lnTo>
                  <a:lnTo>
                    <a:pt x="117" y="368"/>
                  </a:lnTo>
                  <a:lnTo>
                    <a:pt x="117" y="367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7" y="361"/>
                  </a:lnTo>
                  <a:lnTo>
                    <a:pt x="118" y="356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9" y="351"/>
                  </a:lnTo>
                  <a:lnTo>
                    <a:pt x="120" y="349"/>
                  </a:lnTo>
                  <a:lnTo>
                    <a:pt x="120" y="348"/>
                  </a:lnTo>
                  <a:lnTo>
                    <a:pt x="121" y="347"/>
                  </a:lnTo>
                  <a:lnTo>
                    <a:pt x="121" y="346"/>
                  </a:lnTo>
                  <a:lnTo>
                    <a:pt x="122" y="346"/>
                  </a:lnTo>
                  <a:lnTo>
                    <a:pt x="122" y="345"/>
                  </a:lnTo>
                  <a:lnTo>
                    <a:pt x="124" y="344"/>
                  </a:lnTo>
                  <a:lnTo>
                    <a:pt x="124" y="343"/>
                  </a:lnTo>
                  <a:lnTo>
                    <a:pt x="125" y="343"/>
                  </a:lnTo>
                  <a:lnTo>
                    <a:pt x="125" y="342"/>
                  </a:lnTo>
                  <a:lnTo>
                    <a:pt x="125" y="341"/>
                  </a:lnTo>
                  <a:lnTo>
                    <a:pt x="125" y="341"/>
                  </a:lnTo>
                  <a:lnTo>
                    <a:pt x="125" y="340"/>
                  </a:lnTo>
                  <a:lnTo>
                    <a:pt x="125" y="339"/>
                  </a:lnTo>
                  <a:lnTo>
                    <a:pt x="125" y="335"/>
                  </a:lnTo>
                  <a:lnTo>
                    <a:pt x="125" y="333"/>
                  </a:lnTo>
                  <a:lnTo>
                    <a:pt x="125" y="329"/>
                  </a:lnTo>
                  <a:lnTo>
                    <a:pt x="124" y="326"/>
                  </a:lnTo>
                  <a:lnTo>
                    <a:pt x="124" y="324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8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7"/>
                  </a:lnTo>
                  <a:lnTo>
                    <a:pt x="122" y="317"/>
                  </a:lnTo>
                  <a:lnTo>
                    <a:pt x="116" y="313"/>
                  </a:lnTo>
                  <a:lnTo>
                    <a:pt x="113" y="312"/>
                  </a:lnTo>
                  <a:lnTo>
                    <a:pt x="112" y="311"/>
                  </a:lnTo>
                  <a:lnTo>
                    <a:pt x="110" y="311"/>
                  </a:lnTo>
                  <a:lnTo>
                    <a:pt x="107" y="310"/>
                  </a:lnTo>
                  <a:lnTo>
                    <a:pt x="104" y="309"/>
                  </a:lnTo>
                  <a:lnTo>
                    <a:pt x="104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2" y="308"/>
                  </a:lnTo>
                  <a:lnTo>
                    <a:pt x="102" y="307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1" y="303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0" y="301"/>
                  </a:lnTo>
                  <a:lnTo>
                    <a:pt x="100" y="301"/>
                  </a:lnTo>
                  <a:lnTo>
                    <a:pt x="99" y="300"/>
                  </a:lnTo>
                  <a:lnTo>
                    <a:pt x="98" y="300"/>
                  </a:lnTo>
                  <a:lnTo>
                    <a:pt x="98" y="299"/>
                  </a:lnTo>
                  <a:lnTo>
                    <a:pt x="97" y="299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2" y="298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6"/>
                  </a:lnTo>
                  <a:lnTo>
                    <a:pt x="85" y="294"/>
                  </a:lnTo>
                  <a:lnTo>
                    <a:pt x="83" y="292"/>
                  </a:lnTo>
                  <a:lnTo>
                    <a:pt x="82" y="291"/>
                  </a:lnTo>
                  <a:lnTo>
                    <a:pt x="80" y="289"/>
                  </a:lnTo>
                  <a:lnTo>
                    <a:pt x="78" y="286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0" y="283"/>
                  </a:lnTo>
                  <a:lnTo>
                    <a:pt x="69" y="283"/>
                  </a:lnTo>
                  <a:lnTo>
                    <a:pt x="68" y="283"/>
                  </a:lnTo>
                  <a:lnTo>
                    <a:pt x="65" y="284"/>
                  </a:lnTo>
                  <a:lnTo>
                    <a:pt x="64" y="284"/>
                  </a:lnTo>
                  <a:lnTo>
                    <a:pt x="63" y="285"/>
                  </a:lnTo>
                  <a:lnTo>
                    <a:pt x="61" y="285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7" y="285"/>
                  </a:lnTo>
                  <a:lnTo>
                    <a:pt x="56" y="285"/>
                  </a:lnTo>
                  <a:lnTo>
                    <a:pt x="55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1" y="284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48" y="282"/>
                  </a:lnTo>
                  <a:lnTo>
                    <a:pt x="47" y="281"/>
                  </a:lnTo>
                  <a:lnTo>
                    <a:pt x="44" y="279"/>
                  </a:lnTo>
                  <a:lnTo>
                    <a:pt x="42" y="277"/>
                  </a:lnTo>
                  <a:lnTo>
                    <a:pt x="40" y="276"/>
                  </a:lnTo>
                  <a:lnTo>
                    <a:pt x="37" y="275"/>
                  </a:lnTo>
                  <a:lnTo>
                    <a:pt x="36" y="274"/>
                  </a:lnTo>
                  <a:lnTo>
                    <a:pt x="35" y="273"/>
                  </a:lnTo>
                  <a:lnTo>
                    <a:pt x="34" y="273"/>
                  </a:lnTo>
                  <a:lnTo>
                    <a:pt x="33" y="272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2" y="271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6" y="267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5" y="265"/>
                  </a:lnTo>
                  <a:lnTo>
                    <a:pt x="34" y="264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0" y="263"/>
                  </a:lnTo>
                  <a:lnTo>
                    <a:pt x="19" y="263"/>
                  </a:lnTo>
                  <a:lnTo>
                    <a:pt x="17" y="263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4" y="264"/>
                  </a:lnTo>
                  <a:lnTo>
                    <a:pt x="12" y="264"/>
                  </a:lnTo>
                  <a:lnTo>
                    <a:pt x="10" y="265"/>
                  </a:lnTo>
                  <a:lnTo>
                    <a:pt x="9" y="266"/>
                  </a:lnTo>
                  <a:lnTo>
                    <a:pt x="8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5"/>
                  </a:lnTo>
                  <a:lnTo>
                    <a:pt x="2" y="265"/>
                  </a:lnTo>
                  <a:lnTo>
                    <a:pt x="1" y="265"/>
                  </a:lnTo>
                  <a:lnTo>
                    <a:pt x="1" y="265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1" y="260"/>
                  </a:lnTo>
                  <a:lnTo>
                    <a:pt x="1" y="259"/>
                  </a:lnTo>
                  <a:lnTo>
                    <a:pt x="2" y="257"/>
                  </a:lnTo>
                  <a:lnTo>
                    <a:pt x="3" y="255"/>
                  </a:lnTo>
                  <a:lnTo>
                    <a:pt x="4" y="254"/>
                  </a:lnTo>
                  <a:lnTo>
                    <a:pt x="5" y="252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0"/>
                  </a:lnTo>
                  <a:lnTo>
                    <a:pt x="6" y="249"/>
                  </a:lnTo>
                  <a:lnTo>
                    <a:pt x="6" y="248"/>
                  </a:lnTo>
                  <a:lnTo>
                    <a:pt x="6" y="247"/>
                  </a:lnTo>
                  <a:lnTo>
                    <a:pt x="6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4" y="243"/>
                  </a:lnTo>
                  <a:lnTo>
                    <a:pt x="3" y="242"/>
                  </a:lnTo>
                  <a:lnTo>
                    <a:pt x="2" y="241"/>
                  </a:lnTo>
                  <a:lnTo>
                    <a:pt x="2" y="240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8"/>
                  </a:lnTo>
                  <a:lnTo>
                    <a:pt x="2" y="237"/>
                  </a:lnTo>
                  <a:lnTo>
                    <a:pt x="3" y="237"/>
                  </a:lnTo>
                  <a:lnTo>
                    <a:pt x="4" y="236"/>
                  </a:lnTo>
                  <a:lnTo>
                    <a:pt x="5" y="235"/>
                  </a:lnTo>
                  <a:lnTo>
                    <a:pt x="6" y="234"/>
                  </a:lnTo>
                  <a:lnTo>
                    <a:pt x="7" y="233"/>
                  </a:lnTo>
                  <a:lnTo>
                    <a:pt x="8" y="233"/>
                  </a:lnTo>
                  <a:lnTo>
                    <a:pt x="9" y="232"/>
                  </a:lnTo>
                  <a:lnTo>
                    <a:pt x="10" y="232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3" y="231"/>
                  </a:lnTo>
                  <a:lnTo>
                    <a:pt x="14" y="231"/>
                  </a:lnTo>
                  <a:lnTo>
                    <a:pt x="15" y="231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7" y="231"/>
                  </a:lnTo>
                  <a:lnTo>
                    <a:pt x="17" y="230"/>
                  </a:lnTo>
                  <a:lnTo>
                    <a:pt x="18" y="230"/>
                  </a:lnTo>
                  <a:lnTo>
                    <a:pt x="19" y="228"/>
                  </a:lnTo>
                  <a:lnTo>
                    <a:pt x="19" y="227"/>
                  </a:lnTo>
                  <a:lnTo>
                    <a:pt x="20" y="226"/>
                  </a:lnTo>
                  <a:lnTo>
                    <a:pt x="21" y="224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2" y="223"/>
                  </a:lnTo>
                  <a:lnTo>
                    <a:pt x="22" y="222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6"/>
                  </a:lnTo>
                  <a:lnTo>
                    <a:pt x="26" y="215"/>
                  </a:lnTo>
                  <a:lnTo>
                    <a:pt x="26" y="215"/>
                  </a:lnTo>
                  <a:lnTo>
                    <a:pt x="26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6"/>
                  </a:lnTo>
                  <a:lnTo>
                    <a:pt x="29" y="206"/>
                  </a:lnTo>
                  <a:lnTo>
                    <a:pt x="29" y="205"/>
                  </a:lnTo>
                  <a:lnTo>
                    <a:pt x="31" y="203"/>
                  </a:lnTo>
                  <a:lnTo>
                    <a:pt x="33" y="202"/>
                  </a:lnTo>
                  <a:lnTo>
                    <a:pt x="34" y="201"/>
                  </a:lnTo>
                  <a:lnTo>
                    <a:pt x="36" y="200"/>
                  </a:lnTo>
                  <a:lnTo>
                    <a:pt x="36" y="199"/>
                  </a:lnTo>
                  <a:lnTo>
                    <a:pt x="38" y="198"/>
                  </a:lnTo>
                  <a:lnTo>
                    <a:pt x="40" y="197"/>
                  </a:lnTo>
                  <a:lnTo>
                    <a:pt x="41" y="196"/>
                  </a:lnTo>
                  <a:lnTo>
                    <a:pt x="42" y="195"/>
                  </a:lnTo>
                  <a:lnTo>
                    <a:pt x="43" y="195"/>
                  </a:lnTo>
                  <a:lnTo>
                    <a:pt x="44" y="194"/>
                  </a:lnTo>
                  <a:lnTo>
                    <a:pt x="45" y="194"/>
                  </a:lnTo>
                  <a:lnTo>
                    <a:pt x="47" y="194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51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4"/>
                  </a:lnTo>
                  <a:lnTo>
                    <a:pt x="57" y="193"/>
                  </a:lnTo>
                  <a:lnTo>
                    <a:pt x="59" y="193"/>
                  </a:lnTo>
                  <a:lnTo>
                    <a:pt x="60" y="192"/>
                  </a:lnTo>
                  <a:lnTo>
                    <a:pt x="61" y="192"/>
                  </a:lnTo>
                  <a:lnTo>
                    <a:pt x="62" y="191"/>
                  </a:lnTo>
                  <a:lnTo>
                    <a:pt x="63" y="190"/>
                  </a:lnTo>
                  <a:lnTo>
                    <a:pt x="64" y="190"/>
                  </a:lnTo>
                  <a:lnTo>
                    <a:pt x="65" y="188"/>
                  </a:lnTo>
                  <a:lnTo>
                    <a:pt x="66" y="18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9" y="184"/>
                  </a:lnTo>
                  <a:lnTo>
                    <a:pt x="72" y="182"/>
                  </a:lnTo>
                  <a:lnTo>
                    <a:pt x="76" y="178"/>
                  </a:lnTo>
                  <a:lnTo>
                    <a:pt x="77" y="177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2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4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7" y="178"/>
                  </a:lnTo>
                  <a:lnTo>
                    <a:pt x="99" y="178"/>
                  </a:lnTo>
                  <a:lnTo>
                    <a:pt x="100" y="178"/>
                  </a:lnTo>
                  <a:lnTo>
                    <a:pt x="101" y="178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1" y="173"/>
                  </a:lnTo>
                  <a:lnTo>
                    <a:pt x="111" y="173"/>
                  </a:lnTo>
                  <a:lnTo>
                    <a:pt x="113" y="172"/>
                  </a:lnTo>
                  <a:lnTo>
                    <a:pt x="113" y="171"/>
                  </a:lnTo>
                  <a:lnTo>
                    <a:pt x="115" y="170"/>
                  </a:lnTo>
                  <a:lnTo>
                    <a:pt x="118" y="167"/>
                  </a:lnTo>
                  <a:lnTo>
                    <a:pt x="119" y="166"/>
                  </a:lnTo>
                  <a:lnTo>
                    <a:pt x="120" y="165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3"/>
                  </a:lnTo>
                  <a:lnTo>
                    <a:pt x="123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7" y="164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69"/>
                  </a:lnTo>
                  <a:lnTo>
                    <a:pt x="136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8" y="167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2" y="162"/>
                  </a:lnTo>
                  <a:lnTo>
                    <a:pt x="143" y="161"/>
                  </a:lnTo>
                  <a:lnTo>
                    <a:pt x="144" y="161"/>
                  </a:lnTo>
                  <a:lnTo>
                    <a:pt x="145" y="160"/>
                  </a:lnTo>
                  <a:lnTo>
                    <a:pt x="146" y="159"/>
                  </a:lnTo>
                  <a:lnTo>
                    <a:pt x="147" y="159"/>
                  </a:lnTo>
                  <a:lnTo>
                    <a:pt x="147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1" y="157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6"/>
                  </a:lnTo>
                  <a:lnTo>
                    <a:pt x="157" y="155"/>
                  </a:lnTo>
                  <a:lnTo>
                    <a:pt x="158" y="154"/>
                  </a:lnTo>
                  <a:lnTo>
                    <a:pt x="160" y="153"/>
                  </a:lnTo>
                  <a:lnTo>
                    <a:pt x="160" y="153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4" y="150"/>
                  </a:lnTo>
                  <a:lnTo>
                    <a:pt x="164" y="149"/>
                  </a:lnTo>
                  <a:lnTo>
                    <a:pt x="165" y="148"/>
                  </a:lnTo>
                  <a:lnTo>
                    <a:pt x="165" y="147"/>
                  </a:lnTo>
                  <a:lnTo>
                    <a:pt x="166" y="146"/>
                  </a:lnTo>
                  <a:lnTo>
                    <a:pt x="166" y="145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68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4" y="143"/>
                  </a:lnTo>
                  <a:lnTo>
                    <a:pt x="174" y="142"/>
                  </a:lnTo>
                  <a:lnTo>
                    <a:pt x="175" y="142"/>
                  </a:lnTo>
                  <a:lnTo>
                    <a:pt x="175" y="142"/>
                  </a:lnTo>
                  <a:lnTo>
                    <a:pt x="175" y="141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39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6" y="134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1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7" y="129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9" y="127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4" y="125"/>
                  </a:lnTo>
                  <a:lnTo>
                    <a:pt x="185" y="125"/>
                  </a:lnTo>
                  <a:lnTo>
                    <a:pt x="186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4" y="126"/>
                  </a:lnTo>
                  <a:lnTo>
                    <a:pt x="198" y="127"/>
                  </a:lnTo>
                  <a:lnTo>
                    <a:pt x="202" y="128"/>
                  </a:lnTo>
                  <a:lnTo>
                    <a:pt x="205" y="129"/>
                  </a:lnTo>
                  <a:lnTo>
                    <a:pt x="207" y="129"/>
                  </a:lnTo>
                  <a:lnTo>
                    <a:pt x="209" y="129"/>
                  </a:lnTo>
                  <a:lnTo>
                    <a:pt x="215" y="130"/>
                  </a:lnTo>
                  <a:lnTo>
                    <a:pt x="217" y="130"/>
                  </a:lnTo>
                  <a:lnTo>
                    <a:pt x="219" y="130"/>
                  </a:lnTo>
                  <a:lnTo>
                    <a:pt x="222" y="130"/>
                  </a:lnTo>
                  <a:lnTo>
                    <a:pt x="224" y="130"/>
                  </a:lnTo>
                  <a:lnTo>
                    <a:pt x="226" y="130"/>
                  </a:lnTo>
                  <a:lnTo>
                    <a:pt x="228" y="129"/>
                  </a:lnTo>
                  <a:lnTo>
                    <a:pt x="230" y="129"/>
                  </a:lnTo>
                  <a:lnTo>
                    <a:pt x="232" y="129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5" y="127"/>
                  </a:lnTo>
                  <a:lnTo>
                    <a:pt x="236" y="127"/>
                  </a:lnTo>
                  <a:lnTo>
                    <a:pt x="236" y="127"/>
                  </a:lnTo>
                  <a:lnTo>
                    <a:pt x="237" y="127"/>
                  </a:lnTo>
                  <a:lnTo>
                    <a:pt x="239" y="128"/>
                  </a:lnTo>
                  <a:lnTo>
                    <a:pt x="241" y="128"/>
                  </a:lnTo>
                  <a:lnTo>
                    <a:pt x="245" y="129"/>
                  </a:lnTo>
                  <a:lnTo>
                    <a:pt x="248" y="130"/>
                  </a:lnTo>
                  <a:lnTo>
                    <a:pt x="250" y="130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6" y="128"/>
                  </a:lnTo>
                  <a:lnTo>
                    <a:pt x="257" y="127"/>
                  </a:lnTo>
                  <a:lnTo>
                    <a:pt x="259" y="125"/>
                  </a:lnTo>
                  <a:lnTo>
                    <a:pt x="260" y="124"/>
                  </a:lnTo>
                  <a:lnTo>
                    <a:pt x="260" y="124"/>
                  </a:lnTo>
                  <a:lnTo>
                    <a:pt x="261" y="124"/>
                  </a:lnTo>
                  <a:lnTo>
                    <a:pt x="262" y="123"/>
                  </a:lnTo>
                  <a:lnTo>
                    <a:pt x="263" y="123"/>
                  </a:lnTo>
                  <a:lnTo>
                    <a:pt x="264" y="123"/>
                  </a:lnTo>
                  <a:lnTo>
                    <a:pt x="270" y="122"/>
                  </a:lnTo>
                  <a:lnTo>
                    <a:pt x="272" y="121"/>
                  </a:lnTo>
                  <a:lnTo>
                    <a:pt x="276" y="121"/>
                  </a:lnTo>
                  <a:lnTo>
                    <a:pt x="277" y="121"/>
                  </a:lnTo>
                  <a:lnTo>
                    <a:pt x="279" y="121"/>
                  </a:lnTo>
                  <a:lnTo>
                    <a:pt x="280" y="121"/>
                  </a:lnTo>
                  <a:lnTo>
                    <a:pt x="282" y="122"/>
                  </a:lnTo>
                  <a:lnTo>
                    <a:pt x="284" y="122"/>
                  </a:lnTo>
                  <a:lnTo>
                    <a:pt x="284" y="122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0"/>
                  </a:lnTo>
                  <a:lnTo>
                    <a:pt x="288" y="120"/>
                  </a:lnTo>
                  <a:lnTo>
                    <a:pt x="288" y="119"/>
                  </a:lnTo>
                  <a:lnTo>
                    <a:pt x="289" y="118"/>
                  </a:lnTo>
                  <a:lnTo>
                    <a:pt x="289" y="117"/>
                  </a:lnTo>
                  <a:lnTo>
                    <a:pt x="289" y="116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91" y="109"/>
                  </a:lnTo>
                  <a:lnTo>
                    <a:pt x="291" y="108"/>
                  </a:lnTo>
                  <a:lnTo>
                    <a:pt x="291" y="106"/>
                  </a:lnTo>
                  <a:lnTo>
                    <a:pt x="291" y="105"/>
                  </a:lnTo>
                  <a:lnTo>
                    <a:pt x="291" y="104"/>
                  </a:lnTo>
                  <a:lnTo>
                    <a:pt x="291" y="103"/>
                  </a:lnTo>
                  <a:lnTo>
                    <a:pt x="290" y="102"/>
                  </a:lnTo>
                  <a:lnTo>
                    <a:pt x="290" y="99"/>
                  </a:lnTo>
                  <a:lnTo>
                    <a:pt x="289" y="98"/>
                  </a:lnTo>
                  <a:lnTo>
                    <a:pt x="289" y="97"/>
                  </a:lnTo>
                  <a:lnTo>
                    <a:pt x="289" y="96"/>
                  </a:lnTo>
                  <a:lnTo>
                    <a:pt x="289" y="95"/>
                  </a:lnTo>
                  <a:lnTo>
                    <a:pt x="289" y="94"/>
                  </a:lnTo>
                  <a:lnTo>
                    <a:pt x="289" y="93"/>
                  </a:lnTo>
                  <a:lnTo>
                    <a:pt x="289" y="91"/>
                  </a:lnTo>
                  <a:lnTo>
                    <a:pt x="289" y="89"/>
                  </a:lnTo>
                  <a:lnTo>
                    <a:pt x="289" y="88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90" y="86"/>
                  </a:lnTo>
                  <a:lnTo>
                    <a:pt x="291" y="86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7" y="88"/>
                  </a:lnTo>
                  <a:lnTo>
                    <a:pt x="298" y="88"/>
                  </a:lnTo>
                  <a:lnTo>
                    <a:pt x="299" y="88"/>
                  </a:lnTo>
                  <a:lnTo>
                    <a:pt x="300" y="88"/>
                  </a:lnTo>
                  <a:lnTo>
                    <a:pt x="301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3" y="88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3" y="86"/>
                  </a:lnTo>
                  <a:lnTo>
                    <a:pt x="303" y="85"/>
                  </a:lnTo>
                  <a:lnTo>
                    <a:pt x="305" y="83"/>
                  </a:lnTo>
                  <a:lnTo>
                    <a:pt x="306" y="80"/>
                  </a:lnTo>
                  <a:lnTo>
                    <a:pt x="306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8" y="78"/>
                  </a:lnTo>
                  <a:lnTo>
                    <a:pt x="311" y="78"/>
                  </a:lnTo>
                  <a:lnTo>
                    <a:pt x="314" y="77"/>
                  </a:lnTo>
                  <a:lnTo>
                    <a:pt x="316" y="76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7" y="75"/>
                  </a:lnTo>
                  <a:lnTo>
                    <a:pt x="318" y="75"/>
                  </a:lnTo>
                  <a:lnTo>
                    <a:pt x="318" y="75"/>
                  </a:lnTo>
                  <a:lnTo>
                    <a:pt x="318" y="74"/>
                  </a:lnTo>
                  <a:lnTo>
                    <a:pt x="319" y="74"/>
                  </a:lnTo>
                  <a:lnTo>
                    <a:pt x="319" y="73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1"/>
                  </a:lnTo>
                  <a:lnTo>
                    <a:pt x="319" y="70"/>
                  </a:lnTo>
                  <a:lnTo>
                    <a:pt x="319" y="67"/>
                  </a:lnTo>
                  <a:lnTo>
                    <a:pt x="319" y="66"/>
                  </a:lnTo>
                  <a:lnTo>
                    <a:pt x="319" y="64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8" y="58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19" y="55"/>
                  </a:lnTo>
                  <a:lnTo>
                    <a:pt x="319" y="54"/>
                  </a:lnTo>
                  <a:lnTo>
                    <a:pt x="320" y="53"/>
                  </a:lnTo>
                  <a:lnTo>
                    <a:pt x="321" y="53"/>
                  </a:lnTo>
                  <a:lnTo>
                    <a:pt x="321" y="52"/>
                  </a:lnTo>
                  <a:lnTo>
                    <a:pt x="322" y="52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5" y="53"/>
                  </a:lnTo>
                  <a:lnTo>
                    <a:pt x="325" y="53"/>
                  </a:lnTo>
                  <a:lnTo>
                    <a:pt x="326" y="53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7" y="54"/>
                  </a:lnTo>
                  <a:lnTo>
                    <a:pt x="328" y="54"/>
                  </a:lnTo>
                  <a:lnTo>
                    <a:pt x="328" y="53"/>
                  </a:lnTo>
                  <a:lnTo>
                    <a:pt x="329" y="53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2" y="51"/>
                  </a:lnTo>
                  <a:lnTo>
                    <a:pt x="333" y="51"/>
                  </a:lnTo>
                  <a:lnTo>
                    <a:pt x="334" y="51"/>
                  </a:lnTo>
                  <a:lnTo>
                    <a:pt x="335" y="51"/>
                  </a:lnTo>
                  <a:lnTo>
                    <a:pt x="335" y="52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0" y="53"/>
                  </a:lnTo>
                  <a:lnTo>
                    <a:pt x="340" y="53"/>
                  </a:lnTo>
                  <a:lnTo>
                    <a:pt x="341" y="53"/>
                  </a:lnTo>
                  <a:lnTo>
                    <a:pt x="341" y="53"/>
                  </a:lnTo>
                  <a:lnTo>
                    <a:pt x="342" y="53"/>
                  </a:lnTo>
                  <a:lnTo>
                    <a:pt x="343" y="53"/>
                  </a:lnTo>
                  <a:lnTo>
                    <a:pt x="344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7" y="51"/>
                  </a:lnTo>
                  <a:lnTo>
                    <a:pt x="348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49" y="51"/>
                  </a:lnTo>
                  <a:lnTo>
                    <a:pt x="350" y="51"/>
                  </a:lnTo>
                  <a:lnTo>
                    <a:pt x="350" y="52"/>
                  </a:lnTo>
                  <a:lnTo>
                    <a:pt x="350" y="52"/>
                  </a:lnTo>
                  <a:lnTo>
                    <a:pt x="350" y="53"/>
                  </a:lnTo>
                  <a:lnTo>
                    <a:pt x="351" y="54"/>
                  </a:lnTo>
                  <a:lnTo>
                    <a:pt x="351" y="55"/>
                  </a:lnTo>
                  <a:lnTo>
                    <a:pt x="352" y="57"/>
                  </a:lnTo>
                  <a:lnTo>
                    <a:pt x="352" y="59"/>
                  </a:lnTo>
                  <a:lnTo>
                    <a:pt x="352" y="60"/>
                  </a:lnTo>
                  <a:lnTo>
                    <a:pt x="353" y="61"/>
                  </a:lnTo>
                  <a:lnTo>
                    <a:pt x="353" y="62"/>
                  </a:lnTo>
                  <a:lnTo>
                    <a:pt x="353" y="62"/>
                  </a:lnTo>
                  <a:lnTo>
                    <a:pt x="354" y="63"/>
                  </a:lnTo>
                  <a:lnTo>
                    <a:pt x="354" y="63"/>
                  </a:lnTo>
                  <a:lnTo>
                    <a:pt x="355" y="64"/>
                  </a:lnTo>
                  <a:lnTo>
                    <a:pt x="355" y="64"/>
                  </a:lnTo>
                  <a:lnTo>
                    <a:pt x="356" y="64"/>
                  </a:lnTo>
                  <a:lnTo>
                    <a:pt x="356" y="65"/>
                  </a:lnTo>
                  <a:lnTo>
                    <a:pt x="357" y="65"/>
                  </a:lnTo>
                  <a:lnTo>
                    <a:pt x="358" y="65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7" y="63"/>
                  </a:lnTo>
                  <a:lnTo>
                    <a:pt x="368" y="62"/>
                  </a:lnTo>
                  <a:lnTo>
                    <a:pt x="369" y="62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81" y="61"/>
                  </a:lnTo>
                  <a:lnTo>
                    <a:pt x="382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6" y="58"/>
                  </a:lnTo>
                  <a:lnTo>
                    <a:pt x="389" y="56"/>
                  </a:lnTo>
                  <a:lnTo>
                    <a:pt x="391" y="55"/>
                  </a:lnTo>
                  <a:lnTo>
                    <a:pt x="391" y="54"/>
                  </a:lnTo>
                  <a:lnTo>
                    <a:pt x="392" y="53"/>
                  </a:lnTo>
                  <a:lnTo>
                    <a:pt x="393" y="52"/>
                  </a:lnTo>
                  <a:lnTo>
                    <a:pt x="395" y="49"/>
                  </a:lnTo>
                  <a:lnTo>
                    <a:pt x="395" y="49"/>
                  </a:lnTo>
                  <a:lnTo>
                    <a:pt x="396" y="48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9" y="46"/>
                  </a:lnTo>
                  <a:lnTo>
                    <a:pt x="400" y="45"/>
                  </a:lnTo>
                  <a:lnTo>
                    <a:pt x="400" y="44"/>
                  </a:lnTo>
                  <a:lnTo>
                    <a:pt x="401" y="44"/>
                  </a:lnTo>
                  <a:lnTo>
                    <a:pt x="401" y="43"/>
                  </a:lnTo>
                  <a:lnTo>
                    <a:pt x="402" y="42"/>
                  </a:lnTo>
                  <a:lnTo>
                    <a:pt x="402" y="41"/>
                  </a:lnTo>
                  <a:lnTo>
                    <a:pt x="402" y="40"/>
                  </a:lnTo>
                  <a:lnTo>
                    <a:pt x="403" y="39"/>
                  </a:lnTo>
                  <a:lnTo>
                    <a:pt x="403" y="35"/>
                  </a:lnTo>
                  <a:lnTo>
                    <a:pt x="403" y="34"/>
                  </a:lnTo>
                  <a:lnTo>
                    <a:pt x="403" y="33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1"/>
                  </a:lnTo>
                  <a:lnTo>
                    <a:pt x="406" y="31"/>
                  </a:lnTo>
                  <a:lnTo>
                    <a:pt x="407" y="30"/>
                  </a:lnTo>
                  <a:lnTo>
                    <a:pt x="407" y="30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1" y="30"/>
                  </a:lnTo>
                  <a:lnTo>
                    <a:pt x="413" y="31"/>
                  </a:lnTo>
                  <a:lnTo>
                    <a:pt x="415" y="31"/>
                  </a:lnTo>
                  <a:lnTo>
                    <a:pt x="417" y="32"/>
                  </a:lnTo>
                  <a:lnTo>
                    <a:pt x="420" y="33"/>
                  </a:lnTo>
                  <a:lnTo>
                    <a:pt x="422" y="33"/>
                  </a:lnTo>
                  <a:lnTo>
                    <a:pt x="423" y="33"/>
                  </a:lnTo>
                  <a:lnTo>
                    <a:pt x="423" y="33"/>
                  </a:lnTo>
                  <a:lnTo>
                    <a:pt x="424" y="33"/>
                  </a:lnTo>
                  <a:lnTo>
                    <a:pt x="425" y="33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29" y="31"/>
                  </a:lnTo>
                  <a:lnTo>
                    <a:pt x="430" y="31"/>
                  </a:lnTo>
                  <a:lnTo>
                    <a:pt x="430" y="30"/>
                  </a:lnTo>
                  <a:lnTo>
                    <a:pt x="431" y="29"/>
                  </a:lnTo>
                  <a:lnTo>
                    <a:pt x="431" y="29"/>
                  </a:lnTo>
                  <a:lnTo>
                    <a:pt x="432" y="28"/>
                  </a:lnTo>
                  <a:lnTo>
                    <a:pt x="432" y="28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3" y="24"/>
                  </a:lnTo>
                  <a:lnTo>
                    <a:pt x="433" y="23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4" y="22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7" y="20"/>
                  </a:lnTo>
                  <a:lnTo>
                    <a:pt x="437" y="19"/>
                  </a:lnTo>
                  <a:lnTo>
                    <a:pt x="439" y="18"/>
                  </a:lnTo>
                  <a:lnTo>
                    <a:pt x="443" y="16"/>
                  </a:lnTo>
                  <a:lnTo>
                    <a:pt x="444" y="16"/>
                  </a:lnTo>
                  <a:lnTo>
                    <a:pt x="445" y="15"/>
                  </a:lnTo>
                  <a:lnTo>
                    <a:pt x="445" y="15"/>
                  </a:lnTo>
                  <a:lnTo>
                    <a:pt x="446" y="14"/>
                  </a:lnTo>
                  <a:lnTo>
                    <a:pt x="446" y="14"/>
                  </a:lnTo>
                  <a:lnTo>
                    <a:pt x="447" y="13"/>
                  </a:lnTo>
                  <a:lnTo>
                    <a:pt x="447" y="12"/>
                  </a:lnTo>
                  <a:lnTo>
                    <a:pt x="447" y="11"/>
                  </a:lnTo>
                  <a:lnTo>
                    <a:pt x="447" y="9"/>
                  </a:lnTo>
                  <a:lnTo>
                    <a:pt x="447" y="8"/>
                  </a:lnTo>
                  <a:lnTo>
                    <a:pt x="448" y="6"/>
                  </a:lnTo>
                  <a:lnTo>
                    <a:pt x="449" y="4"/>
                  </a:lnTo>
                  <a:lnTo>
                    <a:pt x="450" y="3"/>
                  </a:lnTo>
                  <a:lnTo>
                    <a:pt x="45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1" y="0"/>
                  </a:lnTo>
                  <a:lnTo>
                    <a:pt x="451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5" name="Freeform 45">
              <a:extLst>
                <a:ext uri="{FF2B5EF4-FFF2-40B4-BE49-F238E27FC236}">
                  <a16:creationId xmlns:a16="http://schemas.microsoft.com/office/drawing/2014/main" id="{EDBD2ECE-D590-3256-1C9A-7CBB194C8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4" y="3272"/>
              <a:ext cx="138" cy="106"/>
            </a:xfrm>
            <a:custGeom>
              <a:avLst/>
              <a:gdLst>
                <a:gd name="T0" fmla="*/ 77 w 138"/>
                <a:gd name="T1" fmla="*/ 3 h 106"/>
                <a:gd name="T2" fmla="*/ 66 w 138"/>
                <a:gd name="T3" fmla="*/ 8 h 106"/>
                <a:gd name="T4" fmla="*/ 53 w 138"/>
                <a:gd name="T5" fmla="*/ 13 h 106"/>
                <a:gd name="T6" fmla="*/ 43 w 138"/>
                <a:gd name="T7" fmla="*/ 15 h 106"/>
                <a:gd name="T8" fmla="*/ 38 w 138"/>
                <a:gd name="T9" fmla="*/ 17 h 106"/>
                <a:gd name="T10" fmla="*/ 36 w 138"/>
                <a:gd name="T11" fmla="*/ 24 h 106"/>
                <a:gd name="T12" fmla="*/ 33 w 138"/>
                <a:gd name="T13" fmla="*/ 27 h 106"/>
                <a:gd name="T14" fmla="*/ 26 w 138"/>
                <a:gd name="T15" fmla="*/ 26 h 106"/>
                <a:gd name="T16" fmla="*/ 21 w 138"/>
                <a:gd name="T17" fmla="*/ 24 h 106"/>
                <a:gd name="T18" fmla="*/ 14 w 138"/>
                <a:gd name="T19" fmla="*/ 27 h 106"/>
                <a:gd name="T20" fmla="*/ 2 w 138"/>
                <a:gd name="T21" fmla="*/ 31 h 106"/>
                <a:gd name="T22" fmla="*/ 0 w 138"/>
                <a:gd name="T23" fmla="*/ 33 h 106"/>
                <a:gd name="T24" fmla="*/ 5 w 138"/>
                <a:gd name="T25" fmla="*/ 36 h 106"/>
                <a:gd name="T26" fmla="*/ 13 w 138"/>
                <a:gd name="T27" fmla="*/ 44 h 106"/>
                <a:gd name="T28" fmla="*/ 12 w 138"/>
                <a:gd name="T29" fmla="*/ 48 h 106"/>
                <a:gd name="T30" fmla="*/ 7 w 138"/>
                <a:gd name="T31" fmla="*/ 52 h 106"/>
                <a:gd name="T32" fmla="*/ 7 w 138"/>
                <a:gd name="T33" fmla="*/ 55 h 106"/>
                <a:gd name="T34" fmla="*/ 11 w 138"/>
                <a:gd name="T35" fmla="*/ 62 h 106"/>
                <a:gd name="T36" fmla="*/ 20 w 138"/>
                <a:gd name="T37" fmla="*/ 71 h 106"/>
                <a:gd name="T38" fmla="*/ 21 w 138"/>
                <a:gd name="T39" fmla="*/ 75 h 106"/>
                <a:gd name="T40" fmla="*/ 20 w 138"/>
                <a:gd name="T41" fmla="*/ 80 h 106"/>
                <a:gd name="T42" fmla="*/ 22 w 138"/>
                <a:gd name="T43" fmla="*/ 83 h 106"/>
                <a:gd name="T44" fmla="*/ 28 w 138"/>
                <a:gd name="T45" fmla="*/ 86 h 106"/>
                <a:gd name="T46" fmla="*/ 29 w 138"/>
                <a:gd name="T47" fmla="*/ 89 h 106"/>
                <a:gd name="T48" fmla="*/ 29 w 138"/>
                <a:gd name="T49" fmla="*/ 94 h 106"/>
                <a:gd name="T50" fmla="*/ 30 w 138"/>
                <a:gd name="T51" fmla="*/ 97 h 106"/>
                <a:gd name="T52" fmla="*/ 29 w 138"/>
                <a:gd name="T53" fmla="*/ 102 h 106"/>
                <a:gd name="T54" fmla="*/ 32 w 138"/>
                <a:gd name="T55" fmla="*/ 105 h 106"/>
                <a:gd name="T56" fmla="*/ 40 w 138"/>
                <a:gd name="T57" fmla="*/ 106 h 106"/>
                <a:gd name="T58" fmla="*/ 46 w 138"/>
                <a:gd name="T59" fmla="*/ 106 h 106"/>
                <a:gd name="T60" fmla="*/ 49 w 138"/>
                <a:gd name="T61" fmla="*/ 100 h 106"/>
                <a:gd name="T62" fmla="*/ 55 w 138"/>
                <a:gd name="T63" fmla="*/ 98 h 106"/>
                <a:gd name="T64" fmla="*/ 65 w 138"/>
                <a:gd name="T65" fmla="*/ 94 h 106"/>
                <a:gd name="T66" fmla="*/ 76 w 138"/>
                <a:gd name="T67" fmla="*/ 86 h 106"/>
                <a:gd name="T68" fmla="*/ 83 w 138"/>
                <a:gd name="T69" fmla="*/ 83 h 106"/>
                <a:gd name="T70" fmla="*/ 88 w 138"/>
                <a:gd name="T71" fmla="*/ 79 h 106"/>
                <a:gd name="T72" fmla="*/ 94 w 138"/>
                <a:gd name="T73" fmla="*/ 78 h 106"/>
                <a:gd name="T74" fmla="*/ 102 w 138"/>
                <a:gd name="T75" fmla="*/ 77 h 106"/>
                <a:gd name="T76" fmla="*/ 110 w 138"/>
                <a:gd name="T77" fmla="*/ 81 h 106"/>
                <a:gd name="T78" fmla="*/ 117 w 138"/>
                <a:gd name="T79" fmla="*/ 83 h 106"/>
                <a:gd name="T80" fmla="*/ 121 w 138"/>
                <a:gd name="T81" fmla="*/ 82 h 106"/>
                <a:gd name="T82" fmla="*/ 127 w 138"/>
                <a:gd name="T83" fmla="*/ 76 h 106"/>
                <a:gd name="T84" fmla="*/ 126 w 138"/>
                <a:gd name="T85" fmla="*/ 66 h 106"/>
                <a:gd name="T86" fmla="*/ 124 w 138"/>
                <a:gd name="T87" fmla="*/ 62 h 106"/>
                <a:gd name="T88" fmla="*/ 122 w 138"/>
                <a:gd name="T89" fmla="*/ 58 h 106"/>
                <a:gd name="T90" fmla="*/ 125 w 138"/>
                <a:gd name="T91" fmla="*/ 55 h 106"/>
                <a:gd name="T92" fmla="*/ 135 w 138"/>
                <a:gd name="T93" fmla="*/ 49 h 106"/>
                <a:gd name="T94" fmla="*/ 138 w 138"/>
                <a:gd name="T95" fmla="*/ 44 h 106"/>
                <a:gd name="T96" fmla="*/ 137 w 138"/>
                <a:gd name="T97" fmla="*/ 40 h 106"/>
                <a:gd name="T98" fmla="*/ 130 w 138"/>
                <a:gd name="T99" fmla="*/ 34 h 106"/>
                <a:gd name="T100" fmla="*/ 125 w 138"/>
                <a:gd name="T101" fmla="*/ 28 h 106"/>
                <a:gd name="T102" fmla="*/ 117 w 138"/>
                <a:gd name="T103" fmla="*/ 23 h 106"/>
                <a:gd name="T104" fmla="*/ 109 w 138"/>
                <a:gd name="T105" fmla="*/ 20 h 106"/>
                <a:gd name="T106" fmla="*/ 106 w 138"/>
                <a:gd name="T107" fmla="*/ 14 h 106"/>
                <a:gd name="T108" fmla="*/ 101 w 138"/>
                <a:gd name="T109" fmla="*/ 12 h 106"/>
                <a:gd name="T110" fmla="*/ 91 w 138"/>
                <a:gd name="T111" fmla="*/ 5 h 106"/>
                <a:gd name="T112" fmla="*/ 88 w 138"/>
                <a:gd name="T113" fmla="*/ 2 h 106"/>
                <a:gd name="T114" fmla="*/ 88 w 138"/>
                <a:gd name="T11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8" h="106">
                  <a:moveTo>
                    <a:pt x="87" y="0"/>
                  </a:moveTo>
                  <a:lnTo>
                    <a:pt x="87" y="1"/>
                  </a:lnTo>
                  <a:lnTo>
                    <a:pt x="86" y="1"/>
                  </a:lnTo>
                  <a:lnTo>
                    <a:pt x="84" y="1"/>
                  </a:lnTo>
                  <a:lnTo>
                    <a:pt x="79" y="2"/>
                  </a:lnTo>
                  <a:lnTo>
                    <a:pt x="77" y="3"/>
                  </a:lnTo>
                  <a:lnTo>
                    <a:pt x="75" y="3"/>
                  </a:lnTo>
                  <a:lnTo>
                    <a:pt x="73" y="4"/>
                  </a:lnTo>
                  <a:lnTo>
                    <a:pt x="71" y="5"/>
                  </a:lnTo>
                  <a:lnTo>
                    <a:pt x="70" y="5"/>
                  </a:lnTo>
                  <a:lnTo>
                    <a:pt x="67" y="7"/>
                  </a:lnTo>
                  <a:lnTo>
                    <a:pt x="66" y="8"/>
                  </a:lnTo>
                  <a:lnTo>
                    <a:pt x="64" y="9"/>
                  </a:lnTo>
                  <a:lnTo>
                    <a:pt x="61" y="9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4" y="12"/>
                  </a:lnTo>
                  <a:lnTo>
                    <a:pt x="53" y="13"/>
                  </a:lnTo>
                  <a:lnTo>
                    <a:pt x="52" y="14"/>
                  </a:lnTo>
                  <a:lnTo>
                    <a:pt x="49" y="14"/>
                  </a:lnTo>
                  <a:lnTo>
                    <a:pt x="48" y="14"/>
                  </a:lnTo>
                  <a:lnTo>
                    <a:pt x="47" y="15"/>
                  </a:lnTo>
                  <a:lnTo>
                    <a:pt x="44" y="15"/>
                  </a:lnTo>
                  <a:lnTo>
                    <a:pt x="43" y="15"/>
                  </a:lnTo>
                  <a:lnTo>
                    <a:pt x="41" y="15"/>
                  </a:lnTo>
                  <a:lnTo>
                    <a:pt x="41" y="16"/>
                  </a:lnTo>
                  <a:lnTo>
                    <a:pt x="40" y="16"/>
                  </a:lnTo>
                  <a:lnTo>
                    <a:pt x="39" y="16"/>
                  </a:lnTo>
                  <a:lnTo>
                    <a:pt x="39" y="17"/>
                  </a:lnTo>
                  <a:lnTo>
                    <a:pt x="38" y="17"/>
                  </a:lnTo>
                  <a:lnTo>
                    <a:pt x="38" y="18"/>
                  </a:lnTo>
                  <a:lnTo>
                    <a:pt x="37" y="19"/>
                  </a:lnTo>
                  <a:lnTo>
                    <a:pt x="37" y="20"/>
                  </a:lnTo>
                  <a:lnTo>
                    <a:pt x="37" y="21"/>
                  </a:lnTo>
                  <a:lnTo>
                    <a:pt x="36" y="23"/>
                  </a:lnTo>
                  <a:lnTo>
                    <a:pt x="36" y="24"/>
                  </a:lnTo>
                  <a:lnTo>
                    <a:pt x="35" y="25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4" y="26"/>
                  </a:lnTo>
                  <a:lnTo>
                    <a:pt x="34" y="27"/>
                  </a:lnTo>
                  <a:lnTo>
                    <a:pt x="33" y="27"/>
                  </a:lnTo>
                  <a:lnTo>
                    <a:pt x="31" y="27"/>
                  </a:lnTo>
                  <a:lnTo>
                    <a:pt x="30" y="27"/>
                  </a:lnTo>
                  <a:lnTo>
                    <a:pt x="28" y="27"/>
                  </a:lnTo>
                  <a:lnTo>
                    <a:pt x="27" y="27"/>
                  </a:lnTo>
                  <a:lnTo>
                    <a:pt x="27" y="26"/>
                  </a:lnTo>
                  <a:lnTo>
                    <a:pt x="26" y="26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3" y="24"/>
                  </a:lnTo>
                  <a:lnTo>
                    <a:pt x="22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9" y="25"/>
                  </a:lnTo>
                  <a:lnTo>
                    <a:pt x="16" y="26"/>
                  </a:lnTo>
                  <a:lnTo>
                    <a:pt x="15" y="27"/>
                  </a:lnTo>
                  <a:lnTo>
                    <a:pt x="14" y="27"/>
                  </a:lnTo>
                  <a:lnTo>
                    <a:pt x="11" y="28"/>
                  </a:lnTo>
                  <a:lnTo>
                    <a:pt x="9" y="28"/>
                  </a:lnTo>
                  <a:lnTo>
                    <a:pt x="6" y="29"/>
                  </a:lnTo>
                  <a:lnTo>
                    <a:pt x="4" y="30"/>
                  </a:lnTo>
                  <a:lnTo>
                    <a:pt x="3" y="31"/>
                  </a:lnTo>
                  <a:lnTo>
                    <a:pt x="2" y="31"/>
                  </a:lnTo>
                  <a:lnTo>
                    <a:pt x="1" y="32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4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3" y="35"/>
                  </a:lnTo>
                  <a:lnTo>
                    <a:pt x="4" y="35"/>
                  </a:lnTo>
                  <a:lnTo>
                    <a:pt x="5" y="36"/>
                  </a:lnTo>
                  <a:lnTo>
                    <a:pt x="5" y="37"/>
                  </a:lnTo>
                  <a:lnTo>
                    <a:pt x="7" y="38"/>
                  </a:lnTo>
                  <a:lnTo>
                    <a:pt x="9" y="40"/>
                  </a:lnTo>
                  <a:lnTo>
                    <a:pt x="11" y="43"/>
                  </a:lnTo>
                  <a:lnTo>
                    <a:pt x="12" y="44"/>
                  </a:lnTo>
                  <a:lnTo>
                    <a:pt x="13" y="44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6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0" y="49"/>
                  </a:lnTo>
                  <a:lnTo>
                    <a:pt x="9" y="50"/>
                  </a:lnTo>
                  <a:lnTo>
                    <a:pt x="8" y="50"/>
                  </a:lnTo>
                  <a:lnTo>
                    <a:pt x="8" y="51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6" y="53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7" y="54"/>
                  </a:lnTo>
                  <a:lnTo>
                    <a:pt x="7" y="55"/>
                  </a:lnTo>
                  <a:lnTo>
                    <a:pt x="7" y="56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10" y="59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2" y="64"/>
                  </a:lnTo>
                  <a:lnTo>
                    <a:pt x="13" y="65"/>
                  </a:lnTo>
                  <a:lnTo>
                    <a:pt x="14" y="66"/>
                  </a:lnTo>
                  <a:lnTo>
                    <a:pt x="15" y="67"/>
                  </a:lnTo>
                  <a:lnTo>
                    <a:pt x="17" y="69"/>
                  </a:lnTo>
                  <a:lnTo>
                    <a:pt x="20" y="71"/>
                  </a:lnTo>
                  <a:lnTo>
                    <a:pt x="20" y="72"/>
                  </a:lnTo>
                  <a:lnTo>
                    <a:pt x="21" y="73"/>
                  </a:lnTo>
                  <a:lnTo>
                    <a:pt x="21" y="73"/>
                  </a:lnTo>
                  <a:lnTo>
                    <a:pt x="21" y="74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6"/>
                  </a:lnTo>
                  <a:lnTo>
                    <a:pt x="21" y="77"/>
                  </a:lnTo>
                  <a:lnTo>
                    <a:pt x="20" y="78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80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2"/>
                  </a:lnTo>
                  <a:lnTo>
                    <a:pt x="21" y="82"/>
                  </a:lnTo>
                  <a:lnTo>
                    <a:pt x="21" y="83"/>
                  </a:lnTo>
                  <a:lnTo>
                    <a:pt x="22" y="83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4" y="85"/>
                  </a:lnTo>
                  <a:lnTo>
                    <a:pt x="25" y="85"/>
                  </a:lnTo>
                  <a:lnTo>
                    <a:pt x="27" y="86"/>
                  </a:lnTo>
                  <a:lnTo>
                    <a:pt x="28" y="86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29" y="90"/>
                  </a:lnTo>
                  <a:lnTo>
                    <a:pt x="29" y="91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7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29" y="100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102"/>
                  </a:lnTo>
                  <a:lnTo>
                    <a:pt x="30" y="102"/>
                  </a:lnTo>
                  <a:lnTo>
                    <a:pt x="30" y="103"/>
                  </a:lnTo>
                  <a:lnTo>
                    <a:pt x="31" y="103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2" y="105"/>
                  </a:lnTo>
                  <a:lnTo>
                    <a:pt x="33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5" y="106"/>
                  </a:lnTo>
                  <a:lnTo>
                    <a:pt x="36" y="106"/>
                  </a:lnTo>
                  <a:lnTo>
                    <a:pt x="40" y="106"/>
                  </a:lnTo>
                  <a:lnTo>
                    <a:pt x="41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6" y="106"/>
                  </a:lnTo>
                  <a:lnTo>
                    <a:pt x="46" y="105"/>
                  </a:lnTo>
                  <a:lnTo>
                    <a:pt x="46" y="105"/>
                  </a:lnTo>
                  <a:lnTo>
                    <a:pt x="47" y="104"/>
                  </a:lnTo>
                  <a:lnTo>
                    <a:pt x="48" y="102"/>
                  </a:lnTo>
                  <a:lnTo>
                    <a:pt x="49" y="101"/>
                  </a:lnTo>
                  <a:lnTo>
                    <a:pt x="49" y="100"/>
                  </a:lnTo>
                  <a:lnTo>
                    <a:pt x="49" y="100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1" y="99"/>
                  </a:lnTo>
                  <a:lnTo>
                    <a:pt x="52" y="98"/>
                  </a:lnTo>
                  <a:lnTo>
                    <a:pt x="55" y="98"/>
                  </a:lnTo>
                  <a:lnTo>
                    <a:pt x="56" y="97"/>
                  </a:lnTo>
                  <a:lnTo>
                    <a:pt x="58" y="97"/>
                  </a:lnTo>
                  <a:lnTo>
                    <a:pt x="59" y="96"/>
                  </a:lnTo>
                  <a:lnTo>
                    <a:pt x="62" y="95"/>
                  </a:lnTo>
                  <a:lnTo>
                    <a:pt x="64" y="95"/>
                  </a:lnTo>
                  <a:lnTo>
                    <a:pt x="65" y="94"/>
                  </a:lnTo>
                  <a:lnTo>
                    <a:pt x="66" y="94"/>
                  </a:lnTo>
                  <a:lnTo>
                    <a:pt x="67" y="93"/>
                  </a:lnTo>
                  <a:lnTo>
                    <a:pt x="68" y="93"/>
                  </a:lnTo>
                  <a:lnTo>
                    <a:pt x="73" y="89"/>
                  </a:lnTo>
                  <a:lnTo>
                    <a:pt x="75" y="87"/>
                  </a:lnTo>
                  <a:lnTo>
                    <a:pt x="76" y="86"/>
                  </a:lnTo>
                  <a:lnTo>
                    <a:pt x="77" y="86"/>
                  </a:lnTo>
                  <a:lnTo>
                    <a:pt x="78" y="86"/>
                  </a:lnTo>
                  <a:lnTo>
                    <a:pt x="79" y="85"/>
                  </a:lnTo>
                  <a:lnTo>
                    <a:pt x="81" y="84"/>
                  </a:lnTo>
                  <a:lnTo>
                    <a:pt x="82" y="84"/>
                  </a:lnTo>
                  <a:lnTo>
                    <a:pt x="83" y="83"/>
                  </a:lnTo>
                  <a:lnTo>
                    <a:pt x="84" y="83"/>
                  </a:lnTo>
                  <a:lnTo>
                    <a:pt x="85" y="82"/>
                  </a:lnTo>
                  <a:lnTo>
                    <a:pt x="86" y="82"/>
                  </a:lnTo>
                  <a:lnTo>
                    <a:pt x="87" y="80"/>
                  </a:lnTo>
                  <a:lnTo>
                    <a:pt x="87" y="80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9" y="79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91" y="78"/>
                  </a:lnTo>
                  <a:lnTo>
                    <a:pt x="94" y="78"/>
                  </a:lnTo>
                  <a:lnTo>
                    <a:pt x="95" y="77"/>
                  </a:lnTo>
                  <a:lnTo>
                    <a:pt x="97" y="77"/>
                  </a:lnTo>
                  <a:lnTo>
                    <a:pt x="99" y="77"/>
                  </a:lnTo>
                  <a:lnTo>
                    <a:pt x="101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3" y="77"/>
                  </a:lnTo>
                  <a:lnTo>
                    <a:pt x="104" y="78"/>
                  </a:lnTo>
                  <a:lnTo>
                    <a:pt x="106" y="78"/>
                  </a:lnTo>
                  <a:lnTo>
                    <a:pt x="107" y="79"/>
                  </a:lnTo>
                  <a:lnTo>
                    <a:pt x="108" y="80"/>
                  </a:lnTo>
                  <a:lnTo>
                    <a:pt x="110" y="81"/>
                  </a:lnTo>
                  <a:lnTo>
                    <a:pt x="112" y="82"/>
                  </a:lnTo>
                  <a:lnTo>
                    <a:pt x="112" y="82"/>
                  </a:lnTo>
                  <a:lnTo>
                    <a:pt x="113" y="82"/>
                  </a:lnTo>
                  <a:lnTo>
                    <a:pt x="114" y="83"/>
                  </a:lnTo>
                  <a:lnTo>
                    <a:pt x="115" y="83"/>
                  </a:lnTo>
                  <a:lnTo>
                    <a:pt x="117" y="83"/>
                  </a:lnTo>
                  <a:lnTo>
                    <a:pt x="118" y="83"/>
                  </a:lnTo>
                  <a:lnTo>
                    <a:pt x="118" y="83"/>
                  </a:lnTo>
                  <a:lnTo>
                    <a:pt x="119" y="83"/>
                  </a:lnTo>
                  <a:lnTo>
                    <a:pt x="120" y="83"/>
                  </a:lnTo>
                  <a:lnTo>
                    <a:pt x="120" y="82"/>
                  </a:lnTo>
                  <a:lnTo>
                    <a:pt x="121" y="82"/>
                  </a:lnTo>
                  <a:lnTo>
                    <a:pt x="122" y="81"/>
                  </a:lnTo>
                  <a:lnTo>
                    <a:pt x="124" y="79"/>
                  </a:lnTo>
                  <a:lnTo>
                    <a:pt x="125" y="79"/>
                  </a:lnTo>
                  <a:lnTo>
                    <a:pt x="126" y="78"/>
                  </a:lnTo>
                  <a:lnTo>
                    <a:pt x="126" y="77"/>
                  </a:lnTo>
                  <a:lnTo>
                    <a:pt x="127" y="76"/>
                  </a:lnTo>
                  <a:lnTo>
                    <a:pt x="127" y="75"/>
                  </a:lnTo>
                  <a:lnTo>
                    <a:pt x="127" y="74"/>
                  </a:lnTo>
                  <a:lnTo>
                    <a:pt x="127" y="73"/>
                  </a:lnTo>
                  <a:lnTo>
                    <a:pt x="127" y="72"/>
                  </a:lnTo>
                  <a:lnTo>
                    <a:pt x="126" y="68"/>
                  </a:lnTo>
                  <a:lnTo>
                    <a:pt x="126" y="66"/>
                  </a:lnTo>
                  <a:lnTo>
                    <a:pt x="126" y="65"/>
                  </a:lnTo>
                  <a:lnTo>
                    <a:pt x="126" y="64"/>
                  </a:lnTo>
                  <a:lnTo>
                    <a:pt x="125" y="64"/>
                  </a:lnTo>
                  <a:lnTo>
                    <a:pt x="125" y="63"/>
                  </a:lnTo>
                  <a:lnTo>
                    <a:pt x="125" y="63"/>
                  </a:lnTo>
                  <a:lnTo>
                    <a:pt x="124" y="62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3" y="60"/>
                  </a:lnTo>
                  <a:lnTo>
                    <a:pt x="122" y="60"/>
                  </a:lnTo>
                  <a:lnTo>
                    <a:pt x="122" y="59"/>
                  </a:lnTo>
                  <a:lnTo>
                    <a:pt x="122" y="58"/>
                  </a:lnTo>
                  <a:lnTo>
                    <a:pt x="123" y="58"/>
                  </a:lnTo>
                  <a:lnTo>
                    <a:pt x="123" y="57"/>
                  </a:lnTo>
                  <a:lnTo>
                    <a:pt x="123" y="57"/>
                  </a:lnTo>
                  <a:lnTo>
                    <a:pt x="123" y="56"/>
                  </a:lnTo>
                  <a:lnTo>
                    <a:pt x="124" y="56"/>
                  </a:lnTo>
                  <a:lnTo>
                    <a:pt x="125" y="55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31" y="51"/>
                  </a:lnTo>
                  <a:lnTo>
                    <a:pt x="134" y="50"/>
                  </a:lnTo>
                  <a:lnTo>
                    <a:pt x="134" y="49"/>
                  </a:lnTo>
                  <a:lnTo>
                    <a:pt x="135" y="49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7" y="47"/>
                  </a:lnTo>
                  <a:lnTo>
                    <a:pt x="137" y="46"/>
                  </a:lnTo>
                  <a:lnTo>
                    <a:pt x="138" y="45"/>
                  </a:lnTo>
                  <a:lnTo>
                    <a:pt x="138" y="44"/>
                  </a:lnTo>
                  <a:lnTo>
                    <a:pt x="138" y="43"/>
                  </a:lnTo>
                  <a:lnTo>
                    <a:pt x="138" y="43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37" y="41"/>
                  </a:lnTo>
                  <a:lnTo>
                    <a:pt x="137" y="40"/>
                  </a:lnTo>
                  <a:lnTo>
                    <a:pt x="136" y="39"/>
                  </a:lnTo>
                  <a:lnTo>
                    <a:pt x="135" y="38"/>
                  </a:lnTo>
                  <a:lnTo>
                    <a:pt x="135" y="37"/>
                  </a:lnTo>
                  <a:lnTo>
                    <a:pt x="134" y="37"/>
                  </a:lnTo>
                  <a:lnTo>
                    <a:pt x="133" y="36"/>
                  </a:lnTo>
                  <a:lnTo>
                    <a:pt x="130" y="34"/>
                  </a:lnTo>
                  <a:lnTo>
                    <a:pt x="129" y="33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7" y="31"/>
                  </a:lnTo>
                  <a:lnTo>
                    <a:pt x="126" y="29"/>
                  </a:lnTo>
                  <a:lnTo>
                    <a:pt x="125" y="28"/>
                  </a:lnTo>
                  <a:lnTo>
                    <a:pt x="124" y="28"/>
                  </a:lnTo>
                  <a:lnTo>
                    <a:pt x="124" y="27"/>
                  </a:lnTo>
                  <a:lnTo>
                    <a:pt x="123" y="27"/>
                  </a:lnTo>
                  <a:lnTo>
                    <a:pt x="122" y="26"/>
                  </a:lnTo>
                  <a:lnTo>
                    <a:pt x="118" y="24"/>
                  </a:lnTo>
                  <a:lnTo>
                    <a:pt x="117" y="23"/>
                  </a:lnTo>
                  <a:lnTo>
                    <a:pt x="114" y="23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1" y="21"/>
                  </a:lnTo>
                  <a:lnTo>
                    <a:pt x="110" y="21"/>
                  </a:lnTo>
                  <a:lnTo>
                    <a:pt x="109" y="20"/>
                  </a:lnTo>
                  <a:lnTo>
                    <a:pt x="109" y="19"/>
                  </a:lnTo>
                  <a:lnTo>
                    <a:pt x="108" y="19"/>
                  </a:lnTo>
                  <a:lnTo>
                    <a:pt x="107" y="18"/>
                  </a:lnTo>
                  <a:lnTo>
                    <a:pt x="107" y="17"/>
                  </a:lnTo>
                  <a:lnTo>
                    <a:pt x="107" y="16"/>
                  </a:lnTo>
                  <a:lnTo>
                    <a:pt x="106" y="14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4" y="12"/>
                  </a:lnTo>
                  <a:lnTo>
                    <a:pt x="103" y="12"/>
                  </a:lnTo>
                  <a:lnTo>
                    <a:pt x="101" y="12"/>
                  </a:lnTo>
                  <a:lnTo>
                    <a:pt x="100" y="11"/>
                  </a:lnTo>
                  <a:lnTo>
                    <a:pt x="99" y="11"/>
                  </a:lnTo>
                  <a:lnTo>
                    <a:pt x="98" y="10"/>
                  </a:lnTo>
                  <a:lnTo>
                    <a:pt x="95" y="8"/>
                  </a:lnTo>
                  <a:lnTo>
                    <a:pt x="94" y="7"/>
                  </a:lnTo>
                  <a:lnTo>
                    <a:pt x="91" y="5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89" y="4"/>
                  </a:lnTo>
                  <a:lnTo>
                    <a:pt x="89" y="3"/>
                  </a:lnTo>
                  <a:lnTo>
                    <a:pt x="89" y="2"/>
                  </a:lnTo>
                  <a:lnTo>
                    <a:pt x="88" y="2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9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7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Freeform 46">
              <a:extLst>
                <a:ext uri="{FF2B5EF4-FFF2-40B4-BE49-F238E27FC236}">
                  <a16:creationId xmlns:a16="http://schemas.microsoft.com/office/drawing/2014/main" id="{DAAD85D5-8A92-16E5-E71A-A034DB26D2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3533"/>
              <a:ext cx="624" cy="488"/>
            </a:xfrm>
            <a:custGeom>
              <a:avLst/>
              <a:gdLst>
                <a:gd name="T0" fmla="*/ 178 w 624"/>
                <a:gd name="T1" fmla="*/ 37 h 488"/>
                <a:gd name="T2" fmla="*/ 217 w 624"/>
                <a:gd name="T3" fmla="*/ 23 h 488"/>
                <a:gd name="T4" fmla="*/ 241 w 624"/>
                <a:gd name="T5" fmla="*/ 35 h 488"/>
                <a:gd name="T6" fmla="*/ 265 w 624"/>
                <a:gd name="T7" fmla="*/ 33 h 488"/>
                <a:gd name="T8" fmla="*/ 286 w 624"/>
                <a:gd name="T9" fmla="*/ 34 h 488"/>
                <a:gd name="T10" fmla="*/ 319 w 624"/>
                <a:gd name="T11" fmla="*/ 35 h 488"/>
                <a:gd name="T12" fmla="*/ 337 w 624"/>
                <a:gd name="T13" fmla="*/ 48 h 488"/>
                <a:gd name="T14" fmla="*/ 363 w 624"/>
                <a:gd name="T15" fmla="*/ 27 h 488"/>
                <a:gd name="T16" fmla="*/ 373 w 624"/>
                <a:gd name="T17" fmla="*/ 0 h 488"/>
                <a:gd name="T18" fmla="*/ 403 w 624"/>
                <a:gd name="T19" fmla="*/ 13 h 488"/>
                <a:gd name="T20" fmla="*/ 422 w 624"/>
                <a:gd name="T21" fmla="*/ 31 h 488"/>
                <a:gd name="T22" fmla="*/ 417 w 624"/>
                <a:gd name="T23" fmla="*/ 47 h 488"/>
                <a:gd name="T24" fmla="*/ 415 w 624"/>
                <a:gd name="T25" fmla="*/ 88 h 488"/>
                <a:gd name="T26" fmla="*/ 421 w 624"/>
                <a:gd name="T27" fmla="*/ 120 h 488"/>
                <a:gd name="T28" fmla="*/ 435 w 624"/>
                <a:gd name="T29" fmla="*/ 153 h 488"/>
                <a:gd name="T30" fmla="*/ 468 w 624"/>
                <a:gd name="T31" fmla="*/ 159 h 488"/>
                <a:gd name="T32" fmla="*/ 473 w 624"/>
                <a:gd name="T33" fmla="*/ 171 h 488"/>
                <a:gd name="T34" fmla="*/ 502 w 624"/>
                <a:gd name="T35" fmla="*/ 178 h 488"/>
                <a:gd name="T36" fmla="*/ 542 w 624"/>
                <a:gd name="T37" fmla="*/ 184 h 488"/>
                <a:gd name="T38" fmla="*/ 551 w 624"/>
                <a:gd name="T39" fmla="*/ 212 h 488"/>
                <a:gd name="T40" fmla="*/ 591 w 624"/>
                <a:gd name="T41" fmla="*/ 227 h 488"/>
                <a:gd name="T42" fmla="*/ 614 w 624"/>
                <a:gd name="T43" fmla="*/ 228 h 488"/>
                <a:gd name="T44" fmla="*/ 621 w 624"/>
                <a:gd name="T45" fmla="*/ 249 h 488"/>
                <a:gd name="T46" fmla="*/ 600 w 624"/>
                <a:gd name="T47" fmla="*/ 276 h 488"/>
                <a:gd name="T48" fmla="*/ 605 w 624"/>
                <a:gd name="T49" fmla="*/ 293 h 488"/>
                <a:gd name="T50" fmla="*/ 617 w 624"/>
                <a:gd name="T51" fmla="*/ 312 h 488"/>
                <a:gd name="T52" fmla="*/ 606 w 624"/>
                <a:gd name="T53" fmla="*/ 325 h 488"/>
                <a:gd name="T54" fmla="*/ 560 w 624"/>
                <a:gd name="T55" fmla="*/ 297 h 488"/>
                <a:gd name="T56" fmla="*/ 529 w 624"/>
                <a:gd name="T57" fmla="*/ 291 h 488"/>
                <a:gd name="T58" fmla="*/ 496 w 624"/>
                <a:gd name="T59" fmla="*/ 309 h 488"/>
                <a:gd name="T60" fmla="*/ 484 w 624"/>
                <a:gd name="T61" fmla="*/ 286 h 488"/>
                <a:gd name="T62" fmla="*/ 448 w 624"/>
                <a:gd name="T63" fmla="*/ 277 h 488"/>
                <a:gd name="T64" fmla="*/ 438 w 624"/>
                <a:gd name="T65" fmla="*/ 313 h 488"/>
                <a:gd name="T66" fmla="*/ 432 w 624"/>
                <a:gd name="T67" fmla="*/ 370 h 488"/>
                <a:gd name="T68" fmla="*/ 425 w 624"/>
                <a:gd name="T69" fmla="*/ 394 h 488"/>
                <a:gd name="T70" fmla="*/ 386 w 624"/>
                <a:gd name="T71" fmla="*/ 391 h 488"/>
                <a:gd name="T72" fmla="*/ 358 w 624"/>
                <a:gd name="T73" fmla="*/ 437 h 488"/>
                <a:gd name="T74" fmla="*/ 350 w 624"/>
                <a:gd name="T75" fmla="*/ 476 h 488"/>
                <a:gd name="T76" fmla="*/ 326 w 624"/>
                <a:gd name="T77" fmla="*/ 461 h 488"/>
                <a:gd name="T78" fmla="*/ 291 w 624"/>
                <a:gd name="T79" fmla="*/ 458 h 488"/>
                <a:gd name="T80" fmla="*/ 273 w 624"/>
                <a:gd name="T81" fmla="*/ 465 h 488"/>
                <a:gd name="T82" fmla="*/ 253 w 624"/>
                <a:gd name="T83" fmla="*/ 481 h 488"/>
                <a:gd name="T84" fmla="*/ 211 w 624"/>
                <a:gd name="T85" fmla="*/ 477 h 488"/>
                <a:gd name="T86" fmla="*/ 158 w 624"/>
                <a:gd name="T87" fmla="*/ 467 h 488"/>
                <a:gd name="T88" fmla="*/ 145 w 624"/>
                <a:gd name="T89" fmla="*/ 446 h 488"/>
                <a:gd name="T90" fmla="*/ 142 w 624"/>
                <a:gd name="T91" fmla="*/ 422 h 488"/>
                <a:gd name="T92" fmla="*/ 101 w 624"/>
                <a:gd name="T93" fmla="*/ 392 h 488"/>
                <a:gd name="T94" fmla="*/ 73 w 624"/>
                <a:gd name="T95" fmla="*/ 361 h 488"/>
                <a:gd name="T96" fmla="*/ 46 w 624"/>
                <a:gd name="T97" fmla="*/ 336 h 488"/>
                <a:gd name="T98" fmla="*/ 20 w 624"/>
                <a:gd name="T99" fmla="*/ 306 h 488"/>
                <a:gd name="T100" fmla="*/ 0 w 624"/>
                <a:gd name="T101" fmla="*/ 286 h 488"/>
                <a:gd name="T102" fmla="*/ 17 w 624"/>
                <a:gd name="T103" fmla="*/ 255 h 488"/>
                <a:gd name="T104" fmla="*/ 18 w 624"/>
                <a:gd name="T105" fmla="*/ 214 h 488"/>
                <a:gd name="T106" fmla="*/ 47 w 624"/>
                <a:gd name="T107" fmla="*/ 201 h 488"/>
                <a:gd name="T108" fmla="*/ 49 w 624"/>
                <a:gd name="T109" fmla="*/ 174 h 488"/>
                <a:gd name="T110" fmla="*/ 52 w 624"/>
                <a:gd name="T111" fmla="*/ 157 h 488"/>
                <a:gd name="T112" fmla="*/ 59 w 624"/>
                <a:gd name="T113" fmla="*/ 140 h 488"/>
                <a:gd name="T114" fmla="*/ 74 w 624"/>
                <a:gd name="T115" fmla="*/ 107 h 488"/>
                <a:gd name="T116" fmla="*/ 71 w 624"/>
                <a:gd name="T117" fmla="*/ 67 h 488"/>
                <a:gd name="T118" fmla="*/ 73 w 624"/>
                <a:gd name="T119" fmla="*/ 44 h 488"/>
                <a:gd name="T120" fmla="*/ 102 w 624"/>
                <a:gd name="T121" fmla="*/ 41 h 488"/>
                <a:gd name="T122" fmla="*/ 127 w 624"/>
                <a:gd name="T123" fmla="*/ 45 h 488"/>
                <a:gd name="T124" fmla="*/ 150 w 624"/>
                <a:gd name="T125" fmla="*/ 28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24" h="488">
                  <a:moveTo>
                    <a:pt x="162" y="23"/>
                  </a:moveTo>
                  <a:lnTo>
                    <a:pt x="162" y="23"/>
                  </a:lnTo>
                  <a:lnTo>
                    <a:pt x="162" y="23"/>
                  </a:lnTo>
                  <a:lnTo>
                    <a:pt x="163" y="24"/>
                  </a:lnTo>
                  <a:lnTo>
                    <a:pt x="163" y="24"/>
                  </a:lnTo>
                  <a:lnTo>
                    <a:pt x="163" y="25"/>
                  </a:lnTo>
                  <a:lnTo>
                    <a:pt x="163" y="29"/>
                  </a:lnTo>
                  <a:lnTo>
                    <a:pt x="163" y="31"/>
                  </a:lnTo>
                  <a:lnTo>
                    <a:pt x="163" y="32"/>
                  </a:lnTo>
                  <a:lnTo>
                    <a:pt x="163" y="33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4" y="35"/>
                  </a:lnTo>
                  <a:lnTo>
                    <a:pt x="164" y="35"/>
                  </a:lnTo>
                  <a:lnTo>
                    <a:pt x="165" y="36"/>
                  </a:lnTo>
                  <a:lnTo>
                    <a:pt x="165" y="36"/>
                  </a:lnTo>
                  <a:lnTo>
                    <a:pt x="166" y="37"/>
                  </a:lnTo>
                  <a:lnTo>
                    <a:pt x="167" y="37"/>
                  </a:lnTo>
                  <a:lnTo>
                    <a:pt x="168" y="37"/>
                  </a:lnTo>
                  <a:lnTo>
                    <a:pt x="168" y="37"/>
                  </a:lnTo>
                  <a:lnTo>
                    <a:pt x="170" y="38"/>
                  </a:lnTo>
                  <a:lnTo>
                    <a:pt x="171" y="37"/>
                  </a:lnTo>
                  <a:lnTo>
                    <a:pt x="172" y="37"/>
                  </a:lnTo>
                  <a:lnTo>
                    <a:pt x="173" y="37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6" y="37"/>
                  </a:lnTo>
                  <a:lnTo>
                    <a:pt x="178" y="37"/>
                  </a:lnTo>
                  <a:lnTo>
                    <a:pt x="179" y="37"/>
                  </a:lnTo>
                  <a:lnTo>
                    <a:pt x="181" y="36"/>
                  </a:lnTo>
                  <a:lnTo>
                    <a:pt x="182" y="36"/>
                  </a:lnTo>
                  <a:lnTo>
                    <a:pt x="183" y="36"/>
                  </a:lnTo>
                  <a:lnTo>
                    <a:pt x="187" y="36"/>
                  </a:lnTo>
                  <a:lnTo>
                    <a:pt x="188" y="36"/>
                  </a:lnTo>
                  <a:lnTo>
                    <a:pt x="196" y="36"/>
                  </a:lnTo>
                  <a:lnTo>
                    <a:pt x="199" y="35"/>
                  </a:lnTo>
                  <a:lnTo>
                    <a:pt x="201" y="35"/>
                  </a:lnTo>
                  <a:lnTo>
                    <a:pt x="202" y="35"/>
                  </a:lnTo>
                  <a:lnTo>
                    <a:pt x="204" y="35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6" y="35"/>
                  </a:lnTo>
                  <a:lnTo>
                    <a:pt x="206" y="35"/>
                  </a:lnTo>
                  <a:lnTo>
                    <a:pt x="207" y="34"/>
                  </a:lnTo>
                  <a:lnTo>
                    <a:pt x="207" y="32"/>
                  </a:lnTo>
                  <a:lnTo>
                    <a:pt x="208" y="31"/>
                  </a:lnTo>
                  <a:lnTo>
                    <a:pt x="209" y="30"/>
                  </a:lnTo>
                  <a:lnTo>
                    <a:pt x="210" y="28"/>
                  </a:lnTo>
                  <a:lnTo>
                    <a:pt x="211" y="26"/>
                  </a:lnTo>
                  <a:lnTo>
                    <a:pt x="211" y="26"/>
                  </a:lnTo>
                  <a:lnTo>
                    <a:pt x="212" y="25"/>
                  </a:lnTo>
                  <a:lnTo>
                    <a:pt x="212" y="24"/>
                  </a:lnTo>
                  <a:lnTo>
                    <a:pt x="213" y="24"/>
                  </a:lnTo>
                  <a:lnTo>
                    <a:pt x="214" y="24"/>
                  </a:lnTo>
                  <a:lnTo>
                    <a:pt x="217" y="23"/>
                  </a:lnTo>
                  <a:lnTo>
                    <a:pt x="219" y="22"/>
                  </a:lnTo>
                  <a:lnTo>
                    <a:pt x="220" y="22"/>
                  </a:lnTo>
                  <a:lnTo>
                    <a:pt x="221" y="22"/>
                  </a:lnTo>
                  <a:lnTo>
                    <a:pt x="222" y="22"/>
                  </a:lnTo>
                  <a:lnTo>
                    <a:pt x="222" y="22"/>
                  </a:lnTo>
                  <a:lnTo>
                    <a:pt x="223" y="22"/>
                  </a:lnTo>
                  <a:lnTo>
                    <a:pt x="225" y="23"/>
                  </a:lnTo>
                  <a:lnTo>
                    <a:pt x="226" y="23"/>
                  </a:lnTo>
                  <a:lnTo>
                    <a:pt x="227" y="24"/>
                  </a:lnTo>
                  <a:lnTo>
                    <a:pt x="228" y="25"/>
                  </a:lnTo>
                  <a:lnTo>
                    <a:pt x="229" y="25"/>
                  </a:lnTo>
                  <a:lnTo>
                    <a:pt x="230" y="26"/>
                  </a:lnTo>
                  <a:lnTo>
                    <a:pt x="231" y="28"/>
                  </a:lnTo>
                  <a:lnTo>
                    <a:pt x="231" y="28"/>
                  </a:lnTo>
                  <a:lnTo>
                    <a:pt x="232" y="29"/>
                  </a:lnTo>
                  <a:lnTo>
                    <a:pt x="232" y="29"/>
                  </a:lnTo>
                  <a:lnTo>
                    <a:pt x="233" y="30"/>
                  </a:lnTo>
                  <a:lnTo>
                    <a:pt x="233" y="30"/>
                  </a:lnTo>
                  <a:lnTo>
                    <a:pt x="235" y="30"/>
                  </a:lnTo>
                  <a:lnTo>
                    <a:pt x="236" y="31"/>
                  </a:lnTo>
                  <a:lnTo>
                    <a:pt x="238" y="32"/>
                  </a:lnTo>
                  <a:lnTo>
                    <a:pt x="238" y="32"/>
                  </a:lnTo>
                  <a:lnTo>
                    <a:pt x="239" y="33"/>
                  </a:lnTo>
                  <a:lnTo>
                    <a:pt x="240" y="33"/>
                  </a:lnTo>
                  <a:lnTo>
                    <a:pt x="241" y="34"/>
                  </a:lnTo>
                  <a:lnTo>
                    <a:pt x="241" y="35"/>
                  </a:lnTo>
                  <a:lnTo>
                    <a:pt x="241" y="35"/>
                  </a:lnTo>
                  <a:lnTo>
                    <a:pt x="241" y="35"/>
                  </a:lnTo>
                  <a:lnTo>
                    <a:pt x="242" y="37"/>
                  </a:lnTo>
                  <a:lnTo>
                    <a:pt x="242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4" y="39"/>
                  </a:lnTo>
                  <a:lnTo>
                    <a:pt x="245" y="39"/>
                  </a:lnTo>
                  <a:lnTo>
                    <a:pt x="247" y="39"/>
                  </a:lnTo>
                  <a:lnTo>
                    <a:pt x="248" y="39"/>
                  </a:lnTo>
                  <a:lnTo>
                    <a:pt x="249" y="39"/>
                  </a:lnTo>
                  <a:lnTo>
                    <a:pt x="250" y="39"/>
                  </a:lnTo>
                  <a:lnTo>
                    <a:pt x="252" y="39"/>
                  </a:lnTo>
                  <a:lnTo>
                    <a:pt x="252" y="38"/>
                  </a:lnTo>
                  <a:lnTo>
                    <a:pt x="253" y="38"/>
                  </a:lnTo>
                  <a:lnTo>
                    <a:pt x="253" y="38"/>
                  </a:lnTo>
                  <a:lnTo>
                    <a:pt x="256" y="36"/>
                  </a:lnTo>
                  <a:lnTo>
                    <a:pt x="257" y="35"/>
                  </a:lnTo>
                  <a:lnTo>
                    <a:pt x="258" y="35"/>
                  </a:lnTo>
                  <a:lnTo>
                    <a:pt x="259" y="34"/>
                  </a:lnTo>
                  <a:lnTo>
                    <a:pt x="260" y="34"/>
                  </a:lnTo>
                  <a:lnTo>
                    <a:pt x="261" y="34"/>
                  </a:lnTo>
                  <a:lnTo>
                    <a:pt x="262" y="34"/>
                  </a:lnTo>
                  <a:lnTo>
                    <a:pt x="264" y="34"/>
                  </a:lnTo>
                  <a:lnTo>
                    <a:pt x="264" y="34"/>
                  </a:lnTo>
                  <a:lnTo>
                    <a:pt x="264" y="34"/>
                  </a:lnTo>
                  <a:lnTo>
                    <a:pt x="265" y="34"/>
                  </a:lnTo>
                  <a:lnTo>
                    <a:pt x="265" y="34"/>
                  </a:lnTo>
                  <a:lnTo>
                    <a:pt x="265" y="33"/>
                  </a:lnTo>
                  <a:lnTo>
                    <a:pt x="265" y="33"/>
                  </a:lnTo>
                  <a:lnTo>
                    <a:pt x="265" y="32"/>
                  </a:lnTo>
                  <a:lnTo>
                    <a:pt x="265" y="30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8"/>
                  </a:lnTo>
                  <a:lnTo>
                    <a:pt x="265" y="28"/>
                  </a:lnTo>
                  <a:lnTo>
                    <a:pt x="266" y="28"/>
                  </a:lnTo>
                  <a:lnTo>
                    <a:pt x="266" y="28"/>
                  </a:lnTo>
                  <a:lnTo>
                    <a:pt x="267" y="28"/>
                  </a:lnTo>
                  <a:lnTo>
                    <a:pt x="268" y="28"/>
                  </a:lnTo>
                  <a:lnTo>
                    <a:pt x="270" y="30"/>
                  </a:lnTo>
                  <a:lnTo>
                    <a:pt x="271" y="30"/>
                  </a:lnTo>
                  <a:lnTo>
                    <a:pt x="272" y="31"/>
                  </a:lnTo>
                  <a:lnTo>
                    <a:pt x="274" y="31"/>
                  </a:lnTo>
                  <a:lnTo>
                    <a:pt x="275" y="32"/>
                  </a:lnTo>
                  <a:lnTo>
                    <a:pt x="276" y="32"/>
                  </a:lnTo>
                  <a:lnTo>
                    <a:pt x="279" y="35"/>
                  </a:lnTo>
                  <a:lnTo>
                    <a:pt x="280" y="35"/>
                  </a:lnTo>
                  <a:lnTo>
                    <a:pt x="281" y="36"/>
                  </a:lnTo>
                  <a:lnTo>
                    <a:pt x="282" y="36"/>
                  </a:lnTo>
                  <a:lnTo>
                    <a:pt x="282" y="36"/>
                  </a:lnTo>
                  <a:lnTo>
                    <a:pt x="283" y="36"/>
                  </a:lnTo>
                  <a:lnTo>
                    <a:pt x="283" y="36"/>
                  </a:lnTo>
                  <a:lnTo>
                    <a:pt x="284" y="36"/>
                  </a:lnTo>
                  <a:lnTo>
                    <a:pt x="285" y="35"/>
                  </a:lnTo>
                  <a:lnTo>
                    <a:pt x="286" y="34"/>
                  </a:lnTo>
                  <a:lnTo>
                    <a:pt x="287" y="34"/>
                  </a:lnTo>
                  <a:lnTo>
                    <a:pt x="288" y="33"/>
                  </a:lnTo>
                  <a:lnTo>
                    <a:pt x="288" y="33"/>
                  </a:lnTo>
                  <a:lnTo>
                    <a:pt x="289" y="33"/>
                  </a:lnTo>
                  <a:lnTo>
                    <a:pt x="290" y="33"/>
                  </a:lnTo>
                  <a:lnTo>
                    <a:pt x="292" y="33"/>
                  </a:lnTo>
                  <a:lnTo>
                    <a:pt x="293" y="34"/>
                  </a:lnTo>
                  <a:lnTo>
                    <a:pt x="294" y="34"/>
                  </a:lnTo>
                  <a:lnTo>
                    <a:pt x="295" y="34"/>
                  </a:lnTo>
                  <a:lnTo>
                    <a:pt x="295" y="34"/>
                  </a:lnTo>
                  <a:lnTo>
                    <a:pt x="297" y="35"/>
                  </a:lnTo>
                  <a:lnTo>
                    <a:pt x="298" y="35"/>
                  </a:lnTo>
                  <a:lnTo>
                    <a:pt x="299" y="36"/>
                  </a:lnTo>
                  <a:lnTo>
                    <a:pt x="300" y="36"/>
                  </a:lnTo>
                  <a:lnTo>
                    <a:pt x="302" y="36"/>
                  </a:lnTo>
                  <a:lnTo>
                    <a:pt x="306" y="37"/>
                  </a:lnTo>
                  <a:lnTo>
                    <a:pt x="307" y="37"/>
                  </a:lnTo>
                  <a:lnTo>
                    <a:pt x="309" y="37"/>
                  </a:lnTo>
                  <a:lnTo>
                    <a:pt x="310" y="37"/>
                  </a:lnTo>
                  <a:lnTo>
                    <a:pt x="311" y="37"/>
                  </a:lnTo>
                  <a:lnTo>
                    <a:pt x="313" y="36"/>
                  </a:lnTo>
                  <a:lnTo>
                    <a:pt x="314" y="36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9" y="35"/>
                  </a:lnTo>
                  <a:lnTo>
                    <a:pt x="319" y="36"/>
                  </a:lnTo>
                  <a:lnTo>
                    <a:pt x="319" y="36"/>
                  </a:lnTo>
                  <a:lnTo>
                    <a:pt x="319" y="37"/>
                  </a:lnTo>
                  <a:lnTo>
                    <a:pt x="318" y="40"/>
                  </a:lnTo>
                  <a:lnTo>
                    <a:pt x="318" y="40"/>
                  </a:lnTo>
                  <a:lnTo>
                    <a:pt x="318" y="41"/>
                  </a:lnTo>
                  <a:lnTo>
                    <a:pt x="318" y="41"/>
                  </a:lnTo>
                  <a:lnTo>
                    <a:pt x="318" y="41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20" y="42"/>
                  </a:lnTo>
                  <a:lnTo>
                    <a:pt x="320" y="43"/>
                  </a:lnTo>
                  <a:lnTo>
                    <a:pt x="321" y="43"/>
                  </a:lnTo>
                  <a:lnTo>
                    <a:pt x="321" y="43"/>
                  </a:lnTo>
                  <a:lnTo>
                    <a:pt x="323" y="43"/>
                  </a:lnTo>
                  <a:lnTo>
                    <a:pt x="325" y="44"/>
                  </a:lnTo>
                  <a:lnTo>
                    <a:pt x="326" y="44"/>
                  </a:lnTo>
                  <a:lnTo>
                    <a:pt x="328" y="44"/>
                  </a:lnTo>
                  <a:lnTo>
                    <a:pt x="329" y="45"/>
                  </a:lnTo>
                  <a:lnTo>
                    <a:pt x="331" y="45"/>
                  </a:lnTo>
                  <a:lnTo>
                    <a:pt x="332" y="46"/>
                  </a:lnTo>
                  <a:lnTo>
                    <a:pt x="333" y="46"/>
                  </a:lnTo>
                  <a:lnTo>
                    <a:pt x="335" y="48"/>
                  </a:lnTo>
                  <a:lnTo>
                    <a:pt x="335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8" y="48"/>
                  </a:lnTo>
                  <a:lnTo>
                    <a:pt x="338" y="47"/>
                  </a:lnTo>
                  <a:lnTo>
                    <a:pt x="339" y="47"/>
                  </a:lnTo>
                  <a:lnTo>
                    <a:pt x="340" y="45"/>
                  </a:lnTo>
                  <a:lnTo>
                    <a:pt x="341" y="44"/>
                  </a:lnTo>
                  <a:lnTo>
                    <a:pt x="342" y="43"/>
                  </a:lnTo>
                  <a:lnTo>
                    <a:pt x="343" y="41"/>
                  </a:lnTo>
                  <a:lnTo>
                    <a:pt x="344" y="40"/>
                  </a:lnTo>
                  <a:lnTo>
                    <a:pt x="347" y="38"/>
                  </a:lnTo>
                  <a:lnTo>
                    <a:pt x="349" y="36"/>
                  </a:lnTo>
                  <a:lnTo>
                    <a:pt x="351" y="35"/>
                  </a:lnTo>
                  <a:lnTo>
                    <a:pt x="352" y="34"/>
                  </a:lnTo>
                  <a:lnTo>
                    <a:pt x="353" y="34"/>
                  </a:lnTo>
                  <a:lnTo>
                    <a:pt x="354" y="34"/>
                  </a:lnTo>
                  <a:lnTo>
                    <a:pt x="357" y="33"/>
                  </a:lnTo>
                  <a:lnTo>
                    <a:pt x="358" y="32"/>
                  </a:lnTo>
                  <a:lnTo>
                    <a:pt x="359" y="32"/>
                  </a:lnTo>
                  <a:lnTo>
                    <a:pt x="361" y="31"/>
                  </a:lnTo>
                  <a:lnTo>
                    <a:pt x="361" y="31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3" y="29"/>
                  </a:lnTo>
                  <a:lnTo>
                    <a:pt x="363" y="28"/>
                  </a:lnTo>
                  <a:lnTo>
                    <a:pt x="363" y="28"/>
                  </a:lnTo>
                  <a:lnTo>
                    <a:pt x="363" y="27"/>
                  </a:lnTo>
                  <a:lnTo>
                    <a:pt x="362" y="25"/>
                  </a:lnTo>
                  <a:lnTo>
                    <a:pt x="362" y="23"/>
                  </a:lnTo>
                  <a:lnTo>
                    <a:pt x="361" y="21"/>
                  </a:lnTo>
                  <a:lnTo>
                    <a:pt x="361" y="20"/>
                  </a:lnTo>
                  <a:lnTo>
                    <a:pt x="361" y="20"/>
                  </a:lnTo>
                  <a:lnTo>
                    <a:pt x="361" y="18"/>
                  </a:lnTo>
                  <a:lnTo>
                    <a:pt x="361" y="17"/>
                  </a:lnTo>
                  <a:lnTo>
                    <a:pt x="362" y="15"/>
                  </a:lnTo>
                  <a:lnTo>
                    <a:pt x="362" y="14"/>
                  </a:lnTo>
                  <a:lnTo>
                    <a:pt x="362" y="13"/>
                  </a:lnTo>
                  <a:lnTo>
                    <a:pt x="362" y="11"/>
                  </a:lnTo>
                  <a:lnTo>
                    <a:pt x="362" y="11"/>
                  </a:lnTo>
                  <a:lnTo>
                    <a:pt x="362" y="10"/>
                  </a:lnTo>
                  <a:lnTo>
                    <a:pt x="363" y="10"/>
                  </a:lnTo>
                  <a:lnTo>
                    <a:pt x="363" y="9"/>
                  </a:lnTo>
                  <a:lnTo>
                    <a:pt x="364" y="9"/>
                  </a:lnTo>
                  <a:lnTo>
                    <a:pt x="365" y="8"/>
                  </a:lnTo>
                  <a:lnTo>
                    <a:pt x="365" y="7"/>
                  </a:lnTo>
                  <a:lnTo>
                    <a:pt x="366" y="7"/>
                  </a:lnTo>
                  <a:lnTo>
                    <a:pt x="366" y="5"/>
                  </a:lnTo>
                  <a:lnTo>
                    <a:pt x="367" y="5"/>
                  </a:lnTo>
                  <a:lnTo>
                    <a:pt x="367" y="4"/>
                  </a:lnTo>
                  <a:lnTo>
                    <a:pt x="368" y="3"/>
                  </a:lnTo>
                  <a:lnTo>
                    <a:pt x="370" y="2"/>
                  </a:lnTo>
                  <a:lnTo>
                    <a:pt x="372" y="1"/>
                  </a:lnTo>
                  <a:lnTo>
                    <a:pt x="372" y="1"/>
                  </a:lnTo>
                  <a:lnTo>
                    <a:pt x="373" y="0"/>
                  </a:lnTo>
                  <a:lnTo>
                    <a:pt x="373" y="0"/>
                  </a:lnTo>
                  <a:lnTo>
                    <a:pt x="373" y="0"/>
                  </a:lnTo>
                  <a:lnTo>
                    <a:pt x="374" y="0"/>
                  </a:lnTo>
                  <a:lnTo>
                    <a:pt x="375" y="1"/>
                  </a:lnTo>
                  <a:lnTo>
                    <a:pt x="376" y="1"/>
                  </a:lnTo>
                  <a:lnTo>
                    <a:pt x="378" y="3"/>
                  </a:lnTo>
                  <a:lnTo>
                    <a:pt x="379" y="3"/>
                  </a:lnTo>
                  <a:lnTo>
                    <a:pt x="380" y="4"/>
                  </a:lnTo>
                  <a:lnTo>
                    <a:pt x="384" y="6"/>
                  </a:lnTo>
                  <a:lnTo>
                    <a:pt x="385" y="7"/>
                  </a:lnTo>
                  <a:lnTo>
                    <a:pt x="386" y="7"/>
                  </a:lnTo>
                  <a:lnTo>
                    <a:pt x="387" y="8"/>
                  </a:lnTo>
                  <a:lnTo>
                    <a:pt x="388" y="9"/>
                  </a:lnTo>
                  <a:lnTo>
                    <a:pt x="391" y="11"/>
                  </a:lnTo>
                  <a:lnTo>
                    <a:pt x="393" y="13"/>
                  </a:lnTo>
                  <a:lnTo>
                    <a:pt x="394" y="13"/>
                  </a:lnTo>
                  <a:lnTo>
                    <a:pt x="395" y="14"/>
                  </a:lnTo>
                  <a:lnTo>
                    <a:pt x="396" y="15"/>
                  </a:lnTo>
                  <a:lnTo>
                    <a:pt x="396" y="15"/>
                  </a:lnTo>
                  <a:lnTo>
                    <a:pt x="397" y="15"/>
                  </a:lnTo>
                  <a:lnTo>
                    <a:pt x="397" y="15"/>
                  </a:lnTo>
                  <a:lnTo>
                    <a:pt x="398" y="15"/>
                  </a:lnTo>
                  <a:lnTo>
                    <a:pt x="398" y="15"/>
                  </a:lnTo>
                  <a:lnTo>
                    <a:pt x="399" y="15"/>
                  </a:lnTo>
                  <a:lnTo>
                    <a:pt x="400" y="14"/>
                  </a:lnTo>
                  <a:lnTo>
                    <a:pt x="401" y="14"/>
                  </a:lnTo>
                  <a:lnTo>
                    <a:pt x="402" y="13"/>
                  </a:lnTo>
                  <a:lnTo>
                    <a:pt x="403" y="13"/>
                  </a:lnTo>
                  <a:lnTo>
                    <a:pt x="403" y="13"/>
                  </a:lnTo>
                  <a:lnTo>
                    <a:pt x="404" y="13"/>
                  </a:lnTo>
                  <a:lnTo>
                    <a:pt x="404" y="13"/>
                  </a:lnTo>
                  <a:lnTo>
                    <a:pt x="405" y="13"/>
                  </a:lnTo>
                  <a:lnTo>
                    <a:pt x="405" y="13"/>
                  </a:lnTo>
                  <a:lnTo>
                    <a:pt x="405" y="14"/>
                  </a:lnTo>
                  <a:lnTo>
                    <a:pt x="405" y="14"/>
                  </a:lnTo>
                  <a:lnTo>
                    <a:pt x="406" y="15"/>
                  </a:lnTo>
                  <a:lnTo>
                    <a:pt x="406" y="17"/>
                  </a:lnTo>
                  <a:lnTo>
                    <a:pt x="407" y="18"/>
                  </a:lnTo>
                  <a:lnTo>
                    <a:pt x="408" y="20"/>
                  </a:lnTo>
                  <a:lnTo>
                    <a:pt x="409" y="23"/>
                  </a:lnTo>
                  <a:lnTo>
                    <a:pt x="410" y="25"/>
                  </a:lnTo>
                  <a:lnTo>
                    <a:pt x="411" y="27"/>
                  </a:lnTo>
                  <a:lnTo>
                    <a:pt x="412" y="28"/>
                  </a:lnTo>
                  <a:lnTo>
                    <a:pt x="413" y="28"/>
                  </a:lnTo>
                  <a:lnTo>
                    <a:pt x="413" y="29"/>
                  </a:lnTo>
                  <a:lnTo>
                    <a:pt x="414" y="30"/>
                  </a:lnTo>
                  <a:lnTo>
                    <a:pt x="415" y="30"/>
                  </a:lnTo>
                  <a:lnTo>
                    <a:pt x="415" y="30"/>
                  </a:lnTo>
                  <a:lnTo>
                    <a:pt x="417" y="31"/>
                  </a:lnTo>
                  <a:lnTo>
                    <a:pt x="417" y="31"/>
                  </a:lnTo>
                  <a:lnTo>
                    <a:pt x="418" y="31"/>
                  </a:lnTo>
                  <a:lnTo>
                    <a:pt x="419" y="31"/>
                  </a:lnTo>
                  <a:lnTo>
                    <a:pt x="419" y="31"/>
                  </a:lnTo>
                  <a:lnTo>
                    <a:pt x="420" y="31"/>
                  </a:lnTo>
                  <a:lnTo>
                    <a:pt x="421" y="31"/>
                  </a:lnTo>
                  <a:lnTo>
                    <a:pt x="421" y="31"/>
                  </a:lnTo>
                  <a:lnTo>
                    <a:pt x="422" y="31"/>
                  </a:lnTo>
                  <a:lnTo>
                    <a:pt x="423" y="30"/>
                  </a:lnTo>
                  <a:lnTo>
                    <a:pt x="423" y="30"/>
                  </a:lnTo>
                  <a:lnTo>
                    <a:pt x="423" y="30"/>
                  </a:lnTo>
                  <a:lnTo>
                    <a:pt x="423" y="31"/>
                  </a:lnTo>
                  <a:lnTo>
                    <a:pt x="424" y="35"/>
                  </a:lnTo>
                  <a:lnTo>
                    <a:pt x="424" y="36"/>
                  </a:lnTo>
                  <a:lnTo>
                    <a:pt x="424" y="37"/>
                  </a:lnTo>
                  <a:lnTo>
                    <a:pt x="424" y="38"/>
                  </a:lnTo>
                  <a:lnTo>
                    <a:pt x="424" y="39"/>
                  </a:lnTo>
                  <a:lnTo>
                    <a:pt x="424" y="39"/>
                  </a:lnTo>
                  <a:lnTo>
                    <a:pt x="424" y="40"/>
                  </a:lnTo>
                  <a:lnTo>
                    <a:pt x="423" y="40"/>
                  </a:lnTo>
                  <a:lnTo>
                    <a:pt x="423" y="41"/>
                  </a:lnTo>
                  <a:lnTo>
                    <a:pt x="422" y="41"/>
                  </a:lnTo>
                  <a:lnTo>
                    <a:pt x="422" y="42"/>
                  </a:lnTo>
                  <a:lnTo>
                    <a:pt x="421" y="42"/>
                  </a:lnTo>
                  <a:lnTo>
                    <a:pt x="420" y="43"/>
                  </a:lnTo>
                  <a:lnTo>
                    <a:pt x="419" y="43"/>
                  </a:lnTo>
                  <a:lnTo>
                    <a:pt x="418" y="43"/>
                  </a:lnTo>
                  <a:lnTo>
                    <a:pt x="418" y="44"/>
                  </a:lnTo>
                  <a:lnTo>
                    <a:pt x="417" y="44"/>
                  </a:lnTo>
                  <a:lnTo>
                    <a:pt x="417" y="44"/>
                  </a:lnTo>
                  <a:lnTo>
                    <a:pt x="417" y="45"/>
                  </a:lnTo>
                  <a:lnTo>
                    <a:pt x="417" y="45"/>
                  </a:lnTo>
                  <a:lnTo>
                    <a:pt x="417" y="46"/>
                  </a:lnTo>
                  <a:lnTo>
                    <a:pt x="417" y="46"/>
                  </a:lnTo>
                  <a:lnTo>
                    <a:pt x="417" y="47"/>
                  </a:lnTo>
                  <a:lnTo>
                    <a:pt x="417" y="47"/>
                  </a:lnTo>
                  <a:lnTo>
                    <a:pt x="417" y="48"/>
                  </a:lnTo>
                  <a:lnTo>
                    <a:pt x="419" y="51"/>
                  </a:lnTo>
                  <a:lnTo>
                    <a:pt x="420" y="52"/>
                  </a:lnTo>
                  <a:lnTo>
                    <a:pt x="420" y="53"/>
                  </a:lnTo>
                  <a:lnTo>
                    <a:pt x="420" y="54"/>
                  </a:lnTo>
                  <a:lnTo>
                    <a:pt x="421" y="55"/>
                  </a:lnTo>
                  <a:lnTo>
                    <a:pt x="421" y="56"/>
                  </a:lnTo>
                  <a:lnTo>
                    <a:pt x="421" y="57"/>
                  </a:lnTo>
                  <a:lnTo>
                    <a:pt x="421" y="59"/>
                  </a:lnTo>
                  <a:lnTo>
                    <a:pt x="421" y="60"/>
                  </a:lnTo>
                  <a:lnTo>
                    <a:pt x="421" y="61"/>
                  </a:lnTo>
                  <a:lnTo>
                    <a:pt x="421" y="64"/>
                  </a:lnTo>
                  <a:lnTo>
                    <a:pt x="421" y="65"/>
                  </a:lnTo>
                  <a:lnTo>
                    <a:pt x="421" y="66"/>
                  </a:lnTo>
                  <a:lnTo>
                    <a:pt x="421" y="68"/>
                  </a:lnTo>
                  <a:lnTo>
                    <a:pt x="421" y="69"/>
                  </a:lnTo>
                  <a:lnTo>
                    <a:pt x="421" y="71"/>
                  </a:lnTo>
                  <a:lnTo>
                    <a:pt x="420" y="72"/>
                  </a:lnTo>
                  <a:lnTo>
                    <a:pt x="420" y="73"/>
                  </a:lnTo>
                  <a:lnTo>
                    <a:pt x="420" y="75"/>
                  </a:lnTo>
                  <a:lnTo>
                    <a:pt x="419" y="77"/>
                  </a:lnTo>
                  <a:lnTo>
                    <a:pt x="418" y="80"/>
                  </a:lnTo>
                  <a:lnTo>
                    <a:pt x="417" y="83"/>
                  </a:lnTo>
                  <a:lnTo>
                    <a:pt x="416" y="85"/>
                  </a:lnTo>
                  <a:lnTo>
                    <a:pt x="415" y="86"/>
                  </a:lnTo>
                  <a:lnTo>
                    <a:pt x="415" y="87"/>
                  </a:lnTo>
                  <a:lnTo>
                    <a:pt x="415" y="88"/>
                  </a:lnTo>
                  <a:lnTo>
                    <a:pt x="415" y="88"/>
                  </a:lnTo>
                  <a:lnTo>
                    <a:pt x="416" y="89"/>
                  </a:lnTo>
                  <a:lnTo>
                    <a:pt x="416" y="89"/>
                  </a:lnTo>
                  <a:lnTo>
                    <a:pt x="416" y="90"/>
                  </a:lnTo>
                  <a:lnTo>
                    <a:pt x="416" y="90"/>
                  </a:lnTo>
                  <a:lnTo>
                    <a:pt x="415" y="94"/>
                  </a:lnTo>
                  <a:lnTo>
                    <a:pt x="414" y="97"/>
                  </a:lnTo>
                  <a:lnTo>
                    <a:pt x="414" y="98"/>
                  </a:lnTo>
                  <a:lnTo>
                    <a:pt x="413" y="100"/>
                  </a:lnTo>
                  <a:lnTo>
                    <a:pt x="412" y="102"/>
                  </a:lnTo>
                  <a:lnTo>
                    <a:pt x="412" y="103"/>
                  </a:lnTo>
                  <a:lnTo>
                    <a:pt x="412" y="105"/>
                  </a:lnTo>
                  <a:lnTo>
                    <a:pt x="412" y="106"/>
                  </a:lnTo>
                  <a:lnTo>
                    <a:pt x="412" y="106"/>
                  </a:lnTo>
                  <a:lnTo>
                    <a:pt x="412" y="107"/>
                  </a:lnTo>
                  <a:lnTo>
                    <a:pt x="412" y="108"/>
                  </a:lnTo>
                  <a:lnTo>
                    <a:pt x="412" y="109"/>
                  </a:lnTo>
                  <a:lnTo>
                    <a:pt x="412" y="110"/>
                  </a:lnTo>
                  <a:lnTo>
                    <a:pt x="413" y="111"/>
                  </a:lnTo>
                  <a:lnTo>
                    <a:pt x="414" y="112"/>
                  </a:lnTo>
                  <a:lnTo>
                    <a:pt x="415" y="113"/>
                  </a:lnTo>
                  <a:lnTo>
                    <a:pt x="416" y="113"/>
                  </a:lnTo>
                  <a:lnTo>
                    <a:pt x="418" y="115"/>
                  </a:lnTo>
                  <a:lnTo>
                    <a:pt x="419" y="116"/>
                  </a:lnTo>
                  <a:lnTo>
                    <a:pt x="419" y="117"/>
                  </a:lnTo>
                  <a:lnTo>
                    <a:pt x="420" y="117"/>
                  </a:lnTo>
                  <a:lnTo>
                    <a:pt x="420" y="118"/>
                  </a:lnTo>
                  <a:lnTo>
                    <a:pt x="421" y="119"/>
                  </a:lnTo>
                  <a:lnTo>
                    <a:pt x="421" y="120"/>
                  </a:lnTo>
                  <a:lnTo>
                    <a:pt x="421" y="120"/>
                  </a:lnTo>
                  <a:lnTo>
                    <a:pt x="421" y="121"/>
                  </a:lnTo>
                  <a:lnTo>
                    <a:pt x="421" y="121"/>
                  </a:lnTo>
                  <a:lnTo>
                    <a:pt x="421" y="122"/>
                  </a:lnTo>
                  <a:lnTo>
                    <a:pt x="421" y="122"/>
                  </a:lnTo>
                  <a:lnTo>
                    <a:pt x="420" y="124"/>
                  </a:lnTo>
                  <a:lnTo>
                    <a:pt x="419" y="125"/>
                  </a:lnTo>
                  <a:lnTo>
                    <a:pt x="418" y="126"/>
                  </a:lnTo>
                  <a:lnTo>
                    <a:pt x="417" y="127"/>
                  </a:lnTo>
                  <a:lnTo>
                    <a:pt x="417" y="128"/>
                  </a:lnTo>
                  <a:lnTo>
                    <a:pt x="417" y="129"/>
                  </a:lnTo>
                  <a:lnTo>
                    <a:pt x="417" y="129"/>
                  </a:lnTo>
                  <a:lnTo>
                    <a:pt x="417" y="130"/>
                  </a:lnTo>
                  <a:lnTo>
                    <a:pt x="417" y="131"/>
                  </a:lnTo>
                  <a:lnTo>
                    <a:pt x="417" y="131"/>
                  </a:lnTo>
                  <a:lnTo>
                    <a:pt x="417" y="132"/>
                  </a:lnTo>
                  <a:lnTo>
                    <a:pt x="417" y="133"/>
                  </a:lnTo>
                  <a:lnTo>
                    <a:pt x="418" y="134"/>
                  </a:lnTo>
                  <a:lnTo>
                    <a:pt x="420" y="137"/>
                  </a:lnTo>
                  <a:lnTo>
                    <a:pt x="422" y="140"/>
                  </a:lnTo>
                  <a:lnTo>
                    <a:pt x="423" y="140"/>
                  </a:lnTo>
                  <a:lnTo>
                    <a:pt x="423" y="141"/>
                  </a:lnTo>
                  <a:lnTo>
                    <a:pt x="427" y="144"/>
                  </a:lnTo>
                  <a:lnTo>
                    <a:pt x="427" y="145"/>
                  </a:lnTo>
                  <a:lnTo>
                    <a:pt x="429" y="147"/>
                  </a:lnTo>
                  <a:lnTo>
                    <a:pt x="430" y="149"/>
                  </a:lnTo>
                  <a:lnTo>
                    <a:pt x="433" y="151"/>
                  </a:lnTo>
                  <a:lnTo>
                    <a:pt x="435" y="153"/>
                  </a:lnTo>
                  <a:lnTo>
                    <a:pt x="436" y="154"/>
                  </a:lnTo>
                  <a:lnTo>
                    <a:pt x="437" y="154"/>
                  </a:lnTo>
                  <a:lnTo>
                    <a:pt x="437" y="154"/>
                  </a:lnTo>
                  <a:lnTo>
                    <a:pt x="438" y="154"/>
                  </a:lnTo>
                  <a:lnTo>
                    <a:pt x="439" y="155"/>
                  </a:lnTo>
                  <a:lnTo>
                    <a:pt x="440" y="155"/>
                  </a:lnTo>
                  <a:lnTo>
                    <a:pt x="441" y="154"/>
                  </a:lnTo>
                  <a:lnTo>
                    <a:pt x="442" y="154"/>
                  </a:lnTo>
                  <a:lnTo>
                    <a:pt x="443" y="154"/>
                  </a:lnTo>
                  <a:lnTo>
                    <a:pt x="447" y="152"/>
                  </a:lnTo>
                  <a:lnTo>
                    <a:pt x="448" y="151"/>
                  </a:lnTo>
                  <a:lnTo>
                    <a:pt x="449" y="151"/>
                  </a:lnTo>
                  <a:lnTo>
                    <a:pt x="450" y="150"/>
                  </a:lnTo>
                  <a:lnTo>
                    <a:pt x="451" y="150"/>
                  </a:lnTo>
                  <a:lnTo>
                    <a:pt x="452" y="150"/>
                  </a:lnTo>
                  <a:lnTo>
                    <a:pt x="453" y="150"/>
                  </a:lnTo>
                  <a:lnTo>
                    <a:pt x="453" y="150"/>
                  </a:lnTo>
                  <a:lnTo>
                    <a:pt x="454" y="151"/>
                  </a:lnTo>
                  <a:lnTo>
                    <a:pt x="455" y="151"/>
                  </a:lnTo>
                  <a:lnTo>
                    <a:pt x="456" y="151"/>
                  </a:lnTo>
                  <a:lnTo>
                    <a:pt x="456" y="152"/>
                  </a:lnTo>
                  <a:lnTo>
                    <a:pt x="458" y="154"/>
                  </a:lnTo>
                  <a:lnTo>
                    <a:pt x="460" y="155"/>
                  </a:lnTo>
                  <a:lnTo>
                    <a:pt x="461" y="156"/>
                  </a:lnTo>
                  <a:lnTo>
                    <a:pt x="463" y="156"/>
                  </a:lnTo>
                  <a:lnTo>
                    <a:pt x="463" y="157"/>
                  </a:lnTo>
                  <a:lnTo>
                    <a:pt x="464" y="157"/>
                  </a:lnTo>
                  <a:lnTo>
                    <a:pt x="468" y="159"/>
                  </a:lnTo>
                  <a:lnTo>
                    <a:pt x="469" y="159"/>
                  </a:lnTo>
                  <a:lnTo>
                    <a:pt x="471" y="160"/>
                  </a:lnTo>
                  <a:lnTo>
                    <a:pt x="472" y="160"/>
                  </a:lnTo>
                  <a:lnTo>
                    <a:pt x="472" y="160"/>
                  </a:lnTo>
                  <a:lnTo>
                    <a:pt x="473" y="161"/>
                  </a:lnTo>
                  <a:lnTo>
                    <a:pt x="473" y="161"/>
                  </a:lnTo>
                  <a:lnTo>
                    <a:pt x="473" y="162"/>
                  </a:lnTo>
                  <a:lnTo>
                    <a:pt x="473" y="162"/>
                  </a:lnTo>
                  <a:lnTo>
                    <a:pt x="473" y="163"/>
                  </a:lnTo>
                  <a:lnTo>
                    <a:pt x="473" y="163"/>
                  </a:lnTo>
                  <a:lnTo>
                    <a:pt x="473" y="164"/>
                  </a:lnTo>
                  <a:lnTo>
                    <a:pt x="473" y="165"/>
                  </a:lnTo>
                  <a:lnTo>
                    <a:pt x="473" y="166"/>
                  </a:lnTo>
                  <a:lnTo>
                    <a:pt x="473" y="166"/>
                  </a:lnTo>
                  <a:lnTo>
                    <a:pt x="473" y="167"/>
                  </a:lnTo>
                  <a:lnTo>
                    <a:pt x="472" y="167"/>
                  </a:lnTo>
                  <a:lnTo>
                    <a:pt x="472" y="167"/>
                  </a:lnTo>
                  <a:lnTo>
                    <a:pt x="471" y="168"/>
                  </a:lnTo>
                  <a:lnTo>
                    <a:pt x="470" y="168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70"/>
                  </a:lnTo>
                  <a:lnTo>
                    <a:pt x="471" y="170"/>
                  </a:lnTo>
                  <a:lnTo>
                    <a:pt x="472" y="170"/>
                  </a:lnTo>
                  <a:lnTo>
                    <a:pt x="473" y="171"/>
                  </a:lnTo>
                  <a:lnTo>
                    <a:pt x="473" y="171"/>
                  </a:lnTo>
                  <a:lnTo>
                    <a:pt x="474" y="171"/>
                  </a:lnTo>
                  <a:lnTo>
                    <a:pt x="477" y="171"/>
                  </a:lnTo>
                  <a:lnTo>
                    <a:pt x="478" y="171"/>
                  </a:lnTo>
                  <a:lnTo>
                    <a:pt x="478" y="172"/>
                  </a:lnTo>
                  <a:lnTo>
                    <a:pt x="479" y="172"/>
                  </a:lnTo>
                  <a:lnTo>
                    <a:pt x="480" y="172"/>
                  </a:lnTo>
                  <a:lnTo>
                    <a:pt x="480" y="172"/>
                  </a:lnTo>
                  <a:lnTo>
                    <a:pt x="481" y="173"/>
                  </a:lnTo>
                  <a:lnTo>
                    <a:pt x="482" y="173"/>
                  </a:lnTo>
                  <a:lnTo>
                    <a:pt x="483" y="175"/>
                  </a:lnTo>
                  <a:lnTo>
                    <a:pt x="484" y="176"/>
                  </a:lnTo>
                  <a:lnTo>
                    <a:pt x="486" y="178"/>
                  </a:lnTo>
                  <a:lnTo>
                    <a:pt x="487" y="179"/>
                  </a:lnTo>
                  <a:lnTo>
                    <a:pt x="487" y="180"/>
                  </a:lnTo>
                  <a:lnTo>
                    <a:pt x="487" y="180"/>
                  </a:lnTo>
                  <a:lnTo>
                    <a:pt x="488" y="180"/>
                  </a:lnTo>
                  <a:lnTo>
                    <a:pt x="489" y="181"/>
                  </a:lnTo>
                  <a:lnTo>
                    <a:pt x="490" y="181"/>
                  </a:lnTo>
                  <a:lnTo>
                    <a:pt x="491" y="181"/>
                  </a:lnTo>
                  <a:lnTo>
                    <a:pt x="492" y="182"/>
                  </a:lnTo>
                  <a:lnTo>
                    <a:pt x="493" y="182"/>
                  </a:lnTo>
                  <a:lnTo>
                    <a:pt x="494" y="181"/>
                  </a:lnTo>
                  <a:lnTo>
                    <a:pt x="495" y="181"/>
                  </a:lnTo>
                  <a:lnTo>
                    <a:pt x="496" y="181"/>
                  </a:lnTo>
                  <a:lnTo>
                    <a:pt x="497" y="180"/>
                  </a:lnTo>
                  <a:lnTo>
                    <a:pt x="500" y="179"/>
                  </a:lnTo>
                  <a:lnTo>
                    <a:pt x="501" y="179"/>
                  </a:lnTo>
                  <a:lnTo>
                    <a:pt x="502" y="178"/>
                  </a:lnTo>
                  <a:lnTo>
                    <a:pt x="502" y="178"/>
                  </a:lnTo>
                  <a:lnTo>
                    <a:pt x="503" y="178"/>
                  </a:lnTo>
                  <a:lnTo>
                    <a:pt x="503" y="178"/>
                  </a:lnTo>
                  <a:lnTo>
                    <a:pt x="504" y="178"/>
                  </a:lnTo>
                  <a:lnTo>
                    <a:pt x="505" y="178"/>
                  </a:lnTo>
                  <a:lnTo>
                    <a:pt x="510" y="180"/>
                  </a:lnTo>
                  <a:lnTo>
                    <a:pt x="513" y="181"/>
                  </a:lnTo>
                  <a:lnTo>
                    <a:pt x="516" y="182"/>
                  </a:lnTo>
                  <a:lnTo>
                    <a:pt x="517" y="182"/>
                  </a:lnTo>
                  <a:lnTo>
                    <a:pt x="518" y="183"/>
                  </a:lnTo>
                  <a:lnTo>
                    <a:pt x="519" y="184"/>
                  </a:lnTo>
                  <a:lnTo>
                    <a:pt x="519" y="184"/>
                  </a:lnTo>
                  <a:lnTo>
                    <a:pt x="521" y="185"/>
                  </a:lnTo>
                  <a:lnTo>
                    <a:pt x="521" y="186"/>
                  </a:lnTo>
                  <a:lnTo>
                    <a:pt x="521" y="186"/>
                  </a:lnTo>
                  <a:lnTo>
                    <a:pt x="522" y="186"/>
                  </a:lnTo>
                  <a:lnTo>
                    <a:pt x="523" y="186"/>
                  </a:lnTo>
                  <a:lnTo>
                    <a:pt x="523" y="186"/>
                  </a:lnTo>
                  <a:lnTo>
                    <a:pt x="527" y="186"/>
                  </a:lnTo>
                  <a:lnTo>
                    <a:pt x="528" y="185"/>
                  </a:lnTo>
                  <a:lnTo>
                    <a:pt x="531" y="185"/>
                  </a:lnTo>
                  <a:lnTo>
                    <a:pt x="532" y="185"/>
                  </a:lnTo>
                  <a:lnTo>
                    <a:pt x="533" y="185"/>
                  </a:lnTo>
                  <a:lnTo>
                    <a:pt x="536" y="184"/>
                  </a:lnTo>
                  <a:lnTo>
                    <a:pt x="539" y="184"/>
                  </a:lnTo>
                  <a:lnTo>
                    <a:pt x="540" y="184"/>
                  </a:lnTo>
                  <a:lnTo>
                    <a:pt x="541" y="184"/>
                  </a:lnTo>
                  <a:lnTo>
                    <a:pt x="542" y="184"/>
                  </a:lnTo>
                  <a:lnTo>
                    <a:pt x="543" y="184"/>
                  </a:lnTo>
                  <a:lnTo>
                    <a:pt x="544" y="184"/>
                  </a:lnTo>
                  <a:lnTo>
                    <a:pt x="544" y="185"/>
                  </a:lnTo>
                  <a:lnTo>
                    <a:pt x="545" y="185"/>
                  </a:lnTo>
                  <a:lnTo>
                    <a:pt x="545" y="185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7" y="187"/>
                  </a:lnTo>
                  <a:lnTo>
                    <a:pt x="547" y="188"/>
                  </a:lnTo>
                  <a:lnTo>
                    <a:pt x="548" y="189"/>
                  </a:lnTo>
                  <a:lnTo>
                    <a:pt x="548" y="190"/>
                  </a:lnTo>
                  <a:lnTo>
                    <a:pt x="548" y="192"/>
                  </a:lnTo>
                  <a:lnTo>
                    <a:pt x="548" y="193"/>
                  </a:lnTo>
                  <a:lnTo>
                    <a:pt x="549" y="194"/>
                  </a:lnTo>
                  <a:lnTo>
                    <a:pt x="549" y="195"/>
                  </a:lnTo>
                  <a:lnTo>
                    <a:pt x="549" y="196"/>
                  </a:lnTo>
                  <a:lnTo>
                    <a:pt x="548" y="198"/>
                  </a:lnTo>
                  <a:lnTo>
                    <a:pt x="548" y="201"/>
                  </a:lnTo>
                  <a:lnTo>
                    <a:pt x="548" y="202"/>
                  </a:lnTo>
                  <a:lnTo>
                    <a:pt x="548" y="204"/>
                  </a:lnTo>
                  <a:lnTo>
                    <a:pt x="548" y="205"/>
                  </a:lnTo>
                  <a:lnTo>
                    <a:pt x="548" y="206"/>
                  </a:lnTo>
                  <a:lnTo>
                    <a:pt x="548" y="208"/>
                  </a:lnTo>
                  <a:lnTo>
                    <a:pt x="549" y="209"/>
                  </a:lnTo>
                  <a:lnTo>
                    <a:pt x="550" y="210"/>
                  </a:lnTo>
                  <a:lnTo>
                    <a:pt x="550" y="211"/>
                  </a:lnTo>
                  <a:lnTo>
                    <a:pt x="551" y="212"/>
                  </a:lnTo>
                  <a:lnTo>
                    <a:pt x="551" y="212"/>
                  </a:lnTo>
                  <a:lnTo>
                    <a:pt x="553" y="214"/>
                  </a:lnTo>
                  <a:lnTo>
                    <a:pt x="554" y="215"/>
                  </a:lnTo>
                  <a:lnTo>
                    <a:pt x="557" y="217"/>
                  </a:lnTo>
                  <a:lnTo>
                    <a:pt x="560" y="219"/>
                  </a:lnTo>
                  <a:lnTo>
                    <a:pt x="560" y="220"/>
                  </a:lnTo>
                  <a:lnTo>
                    <a:pt x="562" y="221"/>
                  </a:lnTo>
                  <a:lnTo>
                    <a:pt x="564" y="222"/>
                  </a:lnTo>
                  <a:lnTo>
                    <a:pt x="568" y="225"/>
                  </a:lnTo>
                  <a:lnTo>
                    <a:pt x="571" y="226"/>
                  </a:lnTo>
                  <a:lnTo>
                    <a:pt x="571" y="227"/>
                  </a:lnTo>
                  <a:lnTo>
                    <a:pt x="572" y="227"/>
                  </a:lnTo>
                  <a:lnTo>
                    <a:pt x="572" y="227"/>
                  </a:lnTo>
                  <a:lnTo>
                    <a:pt x="573" y="227"/>
                  </a:lnTo>
                  <a:lnTo>
                    <a:pt x="573" y="227"/>
                  </a:lnTo>
                  <a:lnTo>
                    <a:pt x="573" y="226"/>
                  </a:lnTo>
                  <a:lnTo>
                    <a:pt x="575" y="226"/>
                  </a:lnTo>
                  <a:lnTo>
                    <a:pt x="576" y="226"/>
                  </a:lnTo>
                  <a:lnTo>
                    <a:pt x="577" y="225"/>
                  </a:lnTo>
                  <a:lnTo>
                    <a:pt x="578" y="225"/>
                  </a:lnTo>
                  <a:lnTo>
                    <a:pt x="578" y="225"/>
                  </a:lnTo>
                  <a:lnTo>
                    <a:pt x="579" y="226"/>
                  </a:lnTo>
                  <a:lnTo>
                    <a:pt x="580" y="226"/>
                  </a:lnTo>
                  <a:lnTo>
                    <a:pt x="583" y="227"/>
                  </a:lnTo>
                  <a:lnTo>
                    <a:pt x="584" y="227"/>
                  </a:lnTo>
                  <a:lnTo>
                    <a:pt x="585" y="227"/>
                  </a:lnTo>
                  <a:lnTo>
                    <a:pt x="587" y="227"/>
                  </a:lnTo>
                  <a:lnTo>
                    <a:pt x="589" y="227"/>
                  </a:lnTo>
                  <a:lnTo>
                    <a:pt x="591" y="227"/>
                  </a:lnTo>
                  <a:lnTo>
                    <a:pt x="593" y="227"/>
                  </a:lnTo>
                  <a:lnTo>
                    <a:pt x="594" y="227"/>
                  </a:lnTo>
                  <a:lnTo>
                    <a:pt x="595" y="227"/>
                  </a:lnTo>
                  <a:lnTo>
                    <a:pt x="596" y="226"/>
                  </a:lnTo>
                  <a:lnTo>
                    <a:pt x="599" y="225"/>
                  </a:lnTo>
                  <a:lnTo>
                    <a:pt x="600" y="225"/>
                  </a:lnTo>
                  <a:lnTo>
                    <a:pt x="602" y="225"/>
                  </a:lnTo>
                  <a:lnTo>
                    <a:pt x="604" y="224"/>
                  </a:lnTo>
                  <a:lnTo>
                    <a:pt x="605" y="224"/>
                  </a:lnTo>
                  <a:lnTo>
                    <a:pt x="605" y="224"/>
                  </a:lnTo>
                  <a:lnTo>
                    <a:pt x="607" y="223"/>
                  </a:lnTo>
                  <a:lnTo>
                    <a:pt x="607" y="223"/>
                  </a:lnTo>
                  <a:lnTo>
                    <a:pt x="608" y="223"/>
                  </a:lnTo>
                  <a:lnTo>
                    <a:pt x="608" y="223"/>
                  </a:lnTo>
                  <a:lnTo>
                    <a:pt x="609" y="223"/>
                  </a:lnTo>
                  <a:lnTo>
                    <a:pt x="609" y="223"/>
                  </a:lnTo>
                  <a:lnTo>
                    <a:pt x="610" y="223"/>
                  </a:lnTo>
                  <a:lnTo>
                    <a:pt x="610" y="223"/>
                  </a:lnTo>
                  <a:lnTo>
                    <a:pt x="611" y="224"/>
                  </a:lnTo>
                  <a:lnTo>
                    <a:pt x="612" y="224"/>
                  </a:lnTo>
                  <a:lnTo>
                    <a:pt x="613" y="225"/>
                  </a:lnTo>
                  <a:lnTo>
                    <a:pt x="613" y="225"/>
                  </a:lnTo>
                  <a:lnTo>
                    <a:pt x="614" y="225"/>
                  </a:lnTo>
                  <a:lnTo>
                    <a:pt x="614" y="226"/>
                  </a:lnTo>
                  <a:lnTo>
                    <a:pt x="614" y="227"/>
                  </a:lnTo>
                  <a:lnTo>
                    <a:pt x="614" y="227"/>
                  </a:lnTo>
                  <a:lnTo>
                    <a:pt x="615" y="228"/>
                  </a:lnTo>
                  <a:lnTo>
                    <a:pt x="614" y="228"/>
                  </a:lnTo>
                  <a:lnTo>
                    <a:pt x="614" y="229"/>
                  </a:lnTo>
                  <a:lnTo>
                    <a:pt x="614" y="230"/>
                  </a:lnTo>
                  <a:lnTo>
                    <a:pt x="614" y="230"/>
                  </a:lnTo>
                  <a:lnTo>
                    <a:pt x="614" y="231"/>
                  </a:lnTo>
                  <a:lnTo>
                    <a:pt x="614" y="231"/>
                  </a:lnTo>
                  <a:lnTo>
                    <a:pt x="615" y="232"/>
                  </a:lnTo>
                  <a:lnTo>
                    <a:pt x="615" y="232"/>
                  </a:lnTo>
                  <a:lnTo>
                    <a:pt x="616" y="233"/>
                  </a:lnTo>
                  <a:lnTo>
                    <a:pt x="616" y="234"/>
                  </a:lnTo>
                  <a:lnTo>
                    <a:pt x="618" y="234"/>
                  </a:lnTo>
                  <a:lnTo>
                    <a:pt x="619" y="236"/>
                  </a:lnTo>
                  <a:lnTo>
                    <a:pt x="620" y="236"/>
                  </a:lnTo>
                  <a:lnTo>
                    <a:pt x="621" y="237"/>
                  </a:lnTo>
                  <a:lnTo>
                    <a:pt x="621" y="237"/>
                  </a:lnTo>
                  <a:lnTo>
                    <a:pt x="623" y="240"/>
                  </a:lnTo>
                  <a:lnTo>
                    <a:pt x="624" y="241"/>
                  </a:lnTo>
                  <a:lnTo>
                    <a:pt x="624" y="242"/>
                  </a:lnTo>
                  <a:lnTo>
                    <a:pt x="624" y="243"/>
                  </a:lnTo>
                  <a:lnTo>
                    <a:pt x="624" y="243"/>
                  </a:lnTo>
                  <a:lnTo>
                    <a:pt x="624" y="244"/>
                  </a:lnTo>
                  <a:lnTo>
                    <a:pt x="624" y="245"/>
                  </a:lnTo>
                  <a:lnTo>
                    <a:pt x="624" y="246"/>
                  </a:lnTo>
                  <a:lnTo>
                    <a:pt x="623" y="247"/>
                  </a:lnTo>
                  <a:lnTo>
                    <a:pt x="623" y="247"/>
                  </a:lnTo>
                  <a:lnTo>
                    <a:pt x="623" y="248"/>
                  </a:lnTo>
                  <a:lnTo>
                    <a:pt x="622" y="248"/>
                  </a:lnTo>
                  <a:lnTo>
                    <a:pt x="622" y="248"/>
                  </a:lnTo>
                  <a:lnTo>
                    <a:pt x="621" y="249"/>
                  </a:lnTo>
                  <a:lnTo>
                    <a:pt x="620" y="249"/>
                  </a:lnTo>
                  <a:lnTo>
                    <a:pt x="618" y="250"/>
                  </a:lnTo>
                  <a:lnTo>
                    <a:pt x="615" y="250"/>
                  </a:lnTo>
                  <a:lnTo>
                    <a:pt x="614" y="250"/>
                  </a:lnTo>
                  <a:lnTo>
                    <a:pt x="614" y="251"/>
                  </a:lnTo>
                  <a:lnTo>
                    <a:pt x="614" y="251"/>
                  </a:lnTo>
                  <a:lnTo>
                    <a:pt x="613" y="251"/>
                  </a:lnTo>
                  <a:lnTo>
                    <a:pt x="613" y="252"/>
                  </a:lnTo>
                  <a:lnTo>
                    <a:pt x="612" y="253"/>
                  </a:lnTo>
                  <a:lnTo>
                    <a:pt x="611" y="254"/>
                  </a:lnTo>
                  <a:lnTo>
                    <a:pt x="610" y="256"/>
                  </a:lnTo>
                  <a:lnTo>
                    <a:pt x="610" y="257"/>
                  </a:lnTo>
                  <a:lnTo>
                    <a:pt x="609" y="258"/>
                  </a:lnTo>
                  <a:lnTo>
                    <a:pt x="609" y="259"/>
                  </a:lnTo>
                  <a:lnTo>
                    <a:pt x="609" y="261"/>
                  </a:lnTo>
                  <a:lnTo>
                    <a:pt x="608" y="262"/>
                  </a:lnTo>
                  <a:lnTo>
                    <a:pt x="608" y="262"/>
                  </a:lnTo>
                  <a:lnTo>
                    <a:pt x="608" y="263"/>
                  </a:lnTo>
                  <a:lnTo>
                    <a:pt x="608" y="264"/>
                  </a:lnTo>
                  <a:lnTo>
                    <a:pt x="606" y="266"/>
                  </a:lnTo>
                  <a:lnTo>
                    <a:pt x="605" y="267"/>
                  </a:lnTo>
                  <a:lnTo>
                    <a:pt x="605" y="268"/>
                  </a:lnTo>
                  <a:lnTo>
                    <a:pt x="604" y="270"/>
                  </a:lnTo>
                  <a:lnTo>
                    <a:pt x="604" y="271"/>
                  </a:lnTo>
                  <a:lnTo>
                    <a:pt x="603" y="272"/>
                  </a:lnTo>
                  <a:lnTo>
                    <a:pt x="603" y="273"/>
                  </a:lnTo>
                  <a:lnTo>
                    <a:pt x="602" y="273"/>
                  </a:lnTo>
                  <a:lnTo>
                    <a:pt x="600" y="276"/>
                  </a:lnTo>
                  <a:lnTo>
                    <a:pt x="599" y="277"/>
                  </a:lnTo>
                  <a:lnTo>
                    <a:pt x="598" y="278"/>
                  </a:lnTo>
                  <a:lnTo>
                    <a:pt x="597" y="279"/>
                  </a:lnTo>
                  <a:lnTo>
                    <a:pt x="596" y="281"/>
                  </a:lnTo>
                  <a:lnTo>
                    <a:pt x="595" y="282"/>
                  </a:lnTo>
                  <a:lnTo>
                    <a:pt x="594" y="283"/>
                  </a:lnTo>
                  <a:lnTo>
                    <a:pt x="594" y="283"/>
                  </a:lnTo>
                  <a:lnTo>
                    <a:pt x="594" y="284"/>
                  </a:lnTo>
                  <a:lnTo>
                    <a:pt x="594" y="284"/>
                  </a:lnTo>
                  <a:lnTo>
                    <a:pt x="594" y="285"/>
                  </a:lnTo>
                  <a:lnTo>
                    <a:pt x="594" y="285"/>
                  </a:lnTo>
                  <a:lnTo>
                    <a:pt x="594" y="286"/>
                  </a:lnTo>
                  <a:lnTo>
                    <a:pt x="595" y="286"/>
                  </a:lnTo>
                  <a:lnTo>
                    <a:pt x="595" y="286"/>
                  </a:lnTo>
                  <a:lnTo>
                    <a:pt x="595" y="286"/>
                  </a:lnTo>
                  <a:lnTo>
                    <a:pt x="596" y="286"/>
                  </a:lnTo>
                  <a:lnTo>
                    <a:pt x="598" y="287"/>
                  </a:lnTo>
                  <a:lnTo>
                    <a:pt x="599" y="287"/>
                  </a:lnTo>
                  <a:lnTo>
                    <a:pt x="599" y="287"/>
                  </a:lnTo>
                  <a:lnTo>
                    <a:pt x="600" y="287"/>
                  </a:lnTo>
                  <a:lnTo>
                    <a:pt x="601" y="287"/>
                  </a:lnTo>
                  <a:lnTo>
                    <a:pt x="601" y="287"/>
                  </a:lnTo>
                  <a:lnTo>
                    <a:pt x="602" y="288"/>
                  </a:lnTo>
                  <a:lnTo>
                    <a:pt x="602" y="289"/>
                  </a:lnTo>
                  <a:lnTo>
                    <a:pt x="603" y="289"/>
                  </a:lnTo>
                  <a:lnTo>
                    <a:pt x="604" y="292"/>
                  </a:lnTo>
                  <a:lnTo>
                    <a:pt x="604" y="292"/>
                  </a:lnTo>
                  <a:lnTo>
                    <a:pt x="605" y="293"/>
                  </a:lnTo>
                  <a:lnTo>
                    <a:pt x="606" y="294"/>
                  </a:lnTo>
                  <a:lnTo>
                    <a:pt x="607" y="295"/>
                  </a:lnTo>
                  <a:lnTo>
                    <a:pt x="608" y="295"/>
                  </a:lnTo>
                  <a:lnTo>
                    <a:pt x="609" y="296"/>
                  </a:lnTo>
                  <a:lnTo>
                    <a:pt x="611" y="297"/>
                  </a:lnTo>
                  <a:lnTo>
                    <a:pt x="613" y="297"/>
                  </a:lnTo>
                  <a:lnTo>
                    <a:pt x="614" y="298"/>
                  </a:lnTo>
                  <a:lnTo>
                    <a:pt x="615" y="299"/>
                  </a:lnTo>
                  <a:lnTo>
                    <a:pt x="617" y="300"/>
                  </a:lnTo>
                  <a:lnTo>
                    <a:pt x="618" y="301"/>
                  </a:lnTo>
                  <a:lnTo>
                    <a:pt x="618" y="301"/>
                  </a:lnTo>
                  <a:lnTo>
                    <a:pt x="619" y="302"/>
                  </a:lnTo>
                  <a:lnTo>
                    <a:pt x="619" y="303"/>
                  </a:lnTo>
                  <a:lnTo>
                    <a:pt x="620" y="303"/>
                  </a:lnTo>
                  <a:lnTo>
                    <a:pt x="620" y="304"/>
                  </a:lnTo>
                  <a:lnTo>
                    <a:pt x="621" y="306"/>
                  </a:lnTo>
                  <a:lnTo>
                    <a:pt x="622" y="307"/>
                  </a:lnTo>
                  <a:lnTo>
                    <a:pt x="622" y="308"/>
                  </a:lnTo>
                  <a:lnTo>
                    <a:pt x="622" y="308"/>
                  </a:lnTo>
                  <a:lnTo>
                    <a:pt x="622" y="309"/>
                  </a:lnTo>
                  <a:lnTo>
                    <a:pt x="620" y="310"/>
                  </a:lnTo>
                  <a:lnTo>
                    <a:pt x="620" y="311"/>
                  </a:lnTo>
                  <a:lnTo>
                    <a:pt x="620" y="311"/>
                  </a:lnTo>
                  <a:lnTo>
                    <a:pt x="619" y="311"/>
                  </a:lnTo>
                  <a:lnTo>
                    <a:pt x="619" y="311"/>
                  </a:lnTo>
                  <a:lnTo>
                    <a:pt x="618" y="311"/>
                  </a:lnTo>
                  <a:lnTo>
                    <a:pt x="617" y="311"/>
                  </a:lnTo>
                  <a:lnTo>
                    <a:pt x="617" y="312"/>
                  </a:lnTo>
                  <a:lnTo>
                    <a:pt x="617" y="312"/>
                  </a:lnTo>
                  <a:lnTo>
                    <a:pt x="617" y="313"/>
                  </a:lnTo>
                  <a:lnTo>
                    <a:pt x="617" y="313"/>
                  </a:lnTo>
                  <a:lnTo>
                    <a:pt x="617" y="314"/>
                  </a:lnTo>
                  <a:lnTo>
                    <a:pt x="616" y="315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7"/>
                  </a:lnTo>
                  <a:lnTo>
                    <a:pt x="616" y="317"/>
                  </a:lnTo>
                  <a:lnTo>
                    <a:pt x="616" y="317"/>
                  </a:lnTo>
                  <a:lnTo>
                    <a:pt x="615" y="317"/>
                  </a:lnTo>
                  <a:lnTo>
                    <a:pt x="615" y="318"/>
                  </a:lnTo>
                  <a:lnTo>
                    <a:pt x="614" y="319"/>
                  </a:lnTo>
                  <a:lnTo>
                    <a:pt x="613" y="319"/>
                  </a:lnTo>
                  <a:lnTo>
                    <a:pt x="613" y="319"/>
                  </a:lnTo>
                  <a:lnTo>
                    <a:pt x="612" y="320"/>
                  </a:lnTo>
                  <a:lnTo>
                    <a:pt x="612" y="320"/>
                  </a:lnTo>
                  <a:lnTo>
                    <a:pt x="611" y="320"/>
                  </a:lnTo>
                  <a:lnTo>
                    <a:pt x="611" y="321"/>
                  </a:lnTo>
                  <a:lnTo>
                    <a:pt x="610" y="324"/>
                  </a:lnTo>
                  <a:lnTo>
                    <a:pt x="609" y="326"/>
                  </a:lnTo>
                  <a:lnTo>
                    <a:pt x="609" y="326"/>
                  </a:lnTo>
                  <a:lnTo>
                    <a:pt x="608" y="326"/>
                  </a:lnTo>
                  <a:lnTo>
                    <a:pt x="608" y="326"/>
                  </a:lnTo>
                  <a:lnTo>
                    <a:pt x="607" y="326"/>
                  </a:lnTo>
                  <a:lnTo>
                    <a:pt x="606" y="325"/>
                  </a:lnTo>
                  <a:lnTo>
                    <a:pt x="604" y="324"/>
                  </a:lnTo>
                  <a:lnTo>
                    <a:pt x="603" y="323"/>
                  </a:lnTo>
                  <a:lnTo>
                    <a:pt x="601" y="321"/>
                  </a:lnTo>
                  <a:lnTo>
                    <a:pt x="600" y="320"/>
                  </a:lnTo>
                  <a:lnTo>
                    <a:pt x="599" y="319"/>
                  </a:lnTo>
                  <a:lnTo>
                    <a:pt x="596" y="315"/>
                  </a:lnTo>
                  <a:lnTo>
                    <a:pt x="595" y="314"/>
                  </a:lnTo>
                  <a:lnTo>
                    <a:pt x="594" y="313"/>
                  </a:lnTo>
                  <a:lnTo>
                    <a:pt x="593" y="312"/>
                  </a:lnTo>
                  <a:lnTo>
                    <a:pt x="592" y="311"/>
                  </a:lnTo>
                  <a:lnTo>
                    <a:pt x="590" y="310"/>
                  </a:lnTo>
                  <a:lnTo>
                    <a:pt x="589" y="310"/>
                  </a:lnTo>
                  <a:lnTo>
                    <a:pt x="588" y="309"/>
                  </a:lnTo>
                  <a:lnTo>
                    <a:pt x="587" y="309"/>
                  </a:lnTo>
                  <a:lnTo>
                    <a:pt x="586" y="308"/>
                  </a:lnTo>
                  <a:lnTo>
                    <a:pt x="585" y="308"/>
                  </a:lnTo>
                  <a:lnTo>
                    <a:pt x="583" y="308"/>
                  </a:lnTo>
                  <a:lnTo>
                    <a:pt x="582" y="307"/>
                  </a:lnTo>
                  <a:lnTo>
                    <a:pt x="577" y="307"/>
                  </a:lnTo>
                  <a:lnTo>
                    <a:pt x="576" y="306"/>
                  </a:lnTo>
                  <a:lnTo>
                    <a:pt x="575" y="306"/>
                  </a:lnTo>
                  <a:lnTo>
                    <a:pt x="574" y="305"/>
                  </a:lnTo>
                  <a:lnTo>
                    <a:pt x="573" y="305"/>
                  </a:lnTo>
                  <a:lnTo>
                    <a:pt x="572" y="304"/>
                  </a:lnTo>
                  <a:lnTo>
                    <a:pt x="571" y="304"/>
                  </a:lnTo>
                  <a:lnTo>
                    <a:pt x="569" y="302"/>
                  </a:lnTo>
                  <a:lnTo>
                    <a:pt x="564" y="300"/>
                  </a:lnTo>
                  <a:lnTo>
                    <a:pt x="560" y="297"/>
                  </a:lnTo>
                  <a:lnTo>
                    <a:pt x="559" y="296"/>
                  </a:lnTo>
                  <a:lnTo>
                    <a:pt x="558" y="295"/>
                  </a:lnTo>
                  <a:lnTo>
                    <a:pt x="556" y="294"/>
                  </a:lnTo>
                  <a:lnTo>
                    <a:pt x="554" y="293"/>
                  </a:lnTo>
                  <a:lnTo>
                    <a:pt x="552" y="293"/>
                  </a:lnTo>
                  <a:lnTo>
                    <a:pt x="551" y="293"/>
                  </a:lnTo>
                  <a:lnTo>
                    <a:pt x="550" y="292"/>
                  </a:lnTo>
                  <a:lnTo>
                    <a:pt x="549" y="292"/>
                  </a:lnTo>
                  <a:lnTo>
                    <a:pt x="547" y="292"/>
                  </a:lnTo>
                  <a:lnTo>
                    <a:pt x="545" y="292"/>
                  </a:lnTo>
                  <a:lnTo>
                    <a:pt x="542" y="293"/>
                  </a:lnTo>
                  <a:lnTo>
                    <a:pt x="541" y="293"/>
                  </a:lnTo>
                  <a:lnTo>
                    <a:pt x="540" y="293"/>
                  </a:lnTo>
                  <a:lnTo>
                    <a:pt x="539" y="292"/>
                  </a:lnTo>
                  <a:lnTo>
                    <a:pt x="537" y="292"/>
                  </a:lnTo>
                  <a:lnTo>
                    <a:pt x="536" y="292"/>
                  </a:lnTo>
                  <a:lnTo>
                    <a:pt x="536" y="292"/>
                  </a:lnTo>
                  <a:lnTo>
                    <a:pt x="534" y="291"/>
                  </a:lnTo>
                  <a:lnTo>
                    <a:pt x="532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0" y="290"/>
                  </a:lnTo>
                  <a:lnTo>
                    <a:pt x="530" y="290"/>
                  </a:lnTo>
                  <a:lnTo>
                    <a:pt x="529" y="290"/>
                  </a:lnTo>
                  <a:lnTo>
                    <a:pt x="529" y="291"/>
                  </a:lnTo>
                  <a:lnTo>
                    <a:pt x="529" y="291"/>
                  </a:lnTo>
                  <a:lnTo>
                    <a:pt x="528" y="292"/>
                  </a:lnTo>
                  <a:lnTo>
                    <a:pt x="528" y="295"/>
                  </a:lnTo>
                  <a:lnTo>
                    <a:pt x="527" y="296"/>
                  </a:lnTo>
                  <a:lnTo>
                    <a:pt x="526" y="298"/>
                  </a:lnTo>
                  <a:lnTo>
                    <a:pt x="525" y="300"/>
                  </a:lnTo>
                  <a:lnTo>
                    <a:pt x="524" y="301"/>
                  </a:lnTo>
                  <a:lnTo>
                    <a:pt x="524" y="302"/>
                  </a:lnTo>
                  <a:lnTo>
                    <a:pt x="523" y="302"/>
                  </a:lnTo>
                  <a:lnTo>
                    <a:pt x="522" y="303"/>
                  </a:lnTo>
                  <a:lnTo>
                    <a:pt x="522" y="303"/>
                  </a:lnTo>
                  <a:lnTo>
                    <a:pt x="521" y="303"/>
                  </a:lnTo>
                  <a:lnTo>
                    <a:pt x="521" y="304"/>
                  </a:lnTo>
                  <a:lnTo>
                    <a:pt x="519" y="304"/>
                  </a:lnTo>
                  <a:lnTo>
                    <a:pt x="517" y="304"/>
                  </a:lnTo>
                  <a:lnTo>
                    <a:pt x="514" y="304"/>
                  </a:lnTo>
                  <a:lnTo>
                    <a:pt x="513" y="304"/>
                  </a:lnTo>
                  <a:lnTo>
                    <a:pt x="511" y="305"/>
                  </a:lnTo>
                  <a:lnTo>
                    <a:pt x="510" y="305"/>
                  </a:lnTo>
                  <a:lnTo>
                    <a:pt x="508" y="306"/>
                  </a:lnTo>
                  <a:lnTo>
                    <a:pt x="506" y="307"/>
                  </a:lnTo>
                  <a:lnTo>
                    <a:pt x="503" y="308"/>
                  </a:lnTo>
                  <a:lnTo>
                    <a:pt x="502" y="309"/>
                  </a:lnTo>
                  <a:lnTo>
                    <a:pt x="501" y="309"/>
                  </a:lnTo>
                  <a:lnTo>
                    <a:pt x="500" y="309"/>
                  </a:lnTo>
                  <a:lnTo>
                    <a:pt x="499" y="309"/>
                  </a:lnTo>
                  <a:lnTo>
                    <a:pt x="497" y="309"/>
                  </a:lnTo>
                  <a:lnTo>
                    <a:pt x="496" y="309"/>
                  </a:lnTo>
                  <a:lnTo>
                    <a:pt x="496" y="309"/>
                  </a:lnTo>
                  <a:lnTo>
                    <a:pt x="495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4" y="308"/>
                  </a:lnTo>
                  <a:lnTo>
                    <a:pt x="493" y="308"/>
                  </a:lnTo>
                  <a:lnTo>
                    <a:pt x="493" y="308"/>
                  </a:lnTo>
                  <a:lnTo>
                    <a:pt x="493" y="307"/>
                  </a:lnTo>
                  <a:lnTo>
                    <a:pt x="493" y="307"/>
                  </a:lnTo>
                  <a:lnTo>
                    <a:pt x="493" y="306"/>
                  </a:lnTo>
                  <a:lnTo>
                    <a:pt x="493" y="302"/>
                  </a:lnTo>
                  <a:lnTo>
                    <a:pt x="493" y="302"/>
                  </a:lnTo>
                  <a:lnTo>
                    <a:pt x="493" y="301"/>
                  </a:lnTo>
                  <a:lnTo>
                    <a:pt x="493" y="300"/>
                  </a:lnTo>
                  <a:lnTo>
                    <a:pt x="493" y="299"/>
                  </a:lnTo>
                  <a:lnTo>
                    <a:pt x="492" y="297"/>
                  </a:lnTo>
                  <a:lnTo>
                    <a:pt x="492" y="296"/>
                  </a:lnTo>
                  <a:lnTo>
                    <a:pt x="491" y="293"/>
                  </a:lnTo>
                  <a:lnTo>
                    <a:pt x="491" y="291"/>
                  </a:lnTo>
                  <a:lnTo>
                    <a:pt x="490" y="290"/>
                  </a:lnTo>
                  <a:lnTo>
                    <a:pt x="490" y="290"/>
                  </a:lnTo>
                  <a:lnTo>
                    <a:pt x="490" y="289"/>
                  </a:lnTo>
                  <a:lnTo>
                    <a:pt x="489" y="288"/>
                  </a:lnTo>
                  <a:lnTo>
                    <a:pt x="488" y="288"/>
                  </a:lnTo>
                  <a:lnTo>
                    <a:pt x="487" y="287"/>
                  </a:lnTo>
                  <a:lnTo>
                    <a:pt x="487" y="287"/>
                  </a:lnTo>
                  <a:lnTo>
                    <a:pt x="485" y="286"/>
                  </a:lnTo>
                  <a:lnTo>
                    <a:pt x="484" y="286"/>
                  </a:lnTo>
                  <a:lnTo>
                    <a:pt x="483" y="286"/>
                  </a:lnTo>
                  <a:lnTo>
                    <a:pt x="481" y="285"/>
                  </a:lnTo>
                  <a:lnTo>
                    <a:pt x="479" y="285"/>
                  </a:lnTo>
                  <a:lnTo>
                    <a:pt x="478" y="285"/>
                  </a:lnTo>
                  <a:lnTo>
                    <a:pt x="475" y="285"/>
                  </a:lnTo>
                  <a:lnTo>
                    <a:pt x="473" y="285"/>
                  </a:lnTo>
                  <a:lnTo>
                    <a:pt x="472" y="285"/>
                  </a:lnTo>
                  <a:lnTo>
                    <a:pt x="471" y="285"/>
                  </a:lnTo>
                  <a:lnTo>
                    <a:pt x="470" y="284"/>
                  </a:lnTo>
                  <a:lnTo>
                    <a:pt x="468" y="284"/>
                  </a:lnTo>
                  <a:lnTo>
                    <a:pt x="468" y="284"/>
                  </a:lnTo>
                  <a:lnTo>
                    <a:pt x="467" y="283"/>
                  </a:lnTo>
                  <a:lnTo>
                    <a:pt x="466" y="283"/>
                  </a:lnTo>
                  <a:lnTo>
                    <a:pt x="465" y="283"/>
                  </a:lnTo>
                  <a:lnTo>
                    <a:pt x="464" y="282"/>
                  </a:lnTo>
                  <a:lnTo>
                    <a:pt x="462" y="280"/>
                  </a:lnTo>
                  <a:lnTo>
                    <a:pt x="462" y="280"/>
                  </a:lnTo>
                  <a:lnTo>
                    <a:pt x="461" y="279"/>
                  </a:lnTo>
                  <a:lnTo>
                    <a:pt x="461" y="279"/>
                  </a:lnTo>
                  <a:lnTo>
                    <a:pt x="460" y="279"/>
                  </a:lnTo>
                  <a:lnTo>
                    <a:pt x="459" y="278"/>
                  </a:lnTo>
                  <a:lnTo>
                    <a:pt x="459" y="278"/>
                  </a:lnTo>
                  <a:lnTo>
                    <a:pt x="455" y="278"/>
                  </a:lnTo>
                  <a:lnTo>
                    <a:pt x="452" y="277"/>
                  </a:lnTo>
                  <a:lnTo>
                    <a:pt x="451" y="277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8" y="277"/>
                  </a:lnTo>
                  <a:lnTo>
                    <a:pt x="447" y="277"/>
                  </a:lnTo>
                  <a:lnTo>
                    <a:pt x="446" y="278"/>
                  </a:lnTo>
                  <a:lnTo>
                    <a:pt x="445" y="278"/>
                  </a:lnTo>
                  <a:lnTo>
                    <a:pt x="444" y="279"/>
                  </a:lnTo>
                  <a:lnTo>
                    <a:pt x="444" y="279"/>
                  </a:lnTo>
                  <a:lnTo>
                    <a:pt x="443" y="280"/>
                  </a:lnTo>
                  <a:lnTo>
                    <a:pt x="443" y="280"/>
                  </a:lnTo>
                  <a:lnTo>
                    <a:pt x="443" y="280"/>
                  </a:lnTo>
                  <a:lnTo>
                    <a:pt x="443" y="281"/>
                  </a:lnTo>
                  <a:lnTo>
                    <a:pt x="442" y="283"/>
                  </a:lnTo>
                  <a:lnTo>
                    <a:pt x="442" y="284"/>
                  </a:lnTo>
                  <a:lnTo>
                    <a:pt x="442" y="286"/>
                  </a:lnTo>
                  <a:lnTo>
                    <a:pt x="441" y="287"/>
                  </a:lnTo>
                  <a:lnTo>
                    <a:pt x="440" y="288"/>
                  </a:lnTo>
                  <a:lnTo>
                    <a:pt x="439" y="290"/>
                  </a:lnTo>
                  <a:lnTo>
                    <a:pt x="439" y="292"/>
                  </a:lnTo>
                  <a:lnTo>
                    <a:pt x="439" y="292"/>
                  </a:lnTo>
                  <a:lnTo>
                    <a:pt x="438" y="294"/>
                  </a:lnTo>
                  <a:lnTo>
                    <a:pt x="438" y="295"/>
                  </a:lnTo>
                  <a:lnTo>
                    <a:pt x="437" y="296"/>
                  </a:lnTo>
                  <a:lnTo>
                    <a:pt x="437" y="297"/>
                  </a:lnTo>
                  <a:lnTo>
                    <a:pt x="437" y="298"/>
                  </a:lnTo>
                  <a:lnTo>
                    <a:pt x="437" y="300"/>
                  </a:lnTo>
                  <a:lnTo>
                    <a:pt x="437" y="302"/>
                  </a:lnTo>
                  <a:lnTo>
                    <a:pt x="437" y="304"/>
                  </a:lnTo>
                  <a:lnTo>
                    <a:pt x="437" y="305"/>
                  </a:lnTo>
                  <a:lnTo>
                    <a:pt x="438" y="308"/>
                  </a:lnTo>
                  <a:lnTo>
                    <a:pt x="438" y="313"/>
                  </a:lnTo>
                  <a:lnTo>
                    <a:pt x="439" y="316"/>
                  </a:lnTo>
                  <a:lnTo>
                    <a:pt x="439" y="318"/>
                  </a:lnTo>
                  <a:lnTo>
                    <a:pt x="440" y="323"/>
                  </a:lnTo>
                  <a:lnTo>
                    <a:pt x="440" y="325"/>
                  </a:lnTo>
                  <a:lnTo>
                    <a:pt x="440" y="326"/>
                  </a:lnTo>
                  <a:lnTo>
                    <a:pt x="440" y="328"/>
                  </a:lnTo>
                  <a:lnTo>
                    <a:pt x="440" y="329"/>
                  </a:lnTo>
                  <a:lnTo>
                    <a:pt x="440" y="330"/>
                  </a:lnTo>
                  <a:lnTo>
                    <a:pt x="440" y="332"/>
                  </a:lnTo>
                  <a:lnTo>
                    <a:pt x="439" y="334"/>
                  </a:lnTo>
                  <a:lnTo>
                    <a:pt x="438" y="340"/>
                  </a:lnTo>
                  <a:lnTo>
                    <a:pt x="438" y="341"/>
                  </a:lnTo>
                  <a:lnTo>
                    <a:pt x="437" y="343"/>
                  </a:lnTo>
                  <a:lnTo>
                    <a:pt x="437" y="344"/>
                  </a:lnTo>
                  <a:lnTo>
                    <a:pt x="436" y="346"/>
                  </a:lnTo>
                  <a:lnTo>
                    <a:pt x="436" y="347"/>
                  </a:lnTo>
                  <a:lnTo>
                    <a:pt x="436" y="349"/>
                  </a:lnTo>
                  <a:lnTo>
                    <a:pt x="436" y="350"/>
                  </a:lnTo>
                  <a:lnTo>
                    <a:pt x="436" y="354"/>
                  </a:lnTo>
                  <a:lnTo>
                    <a:pt x="436" y="355"/>
                  </a:lnTo>
                  <a:lnTo>
                    <a:pt x="436" y="356"/>
                  </a:lnTo>
                  <a:lnTo>
                    <a:pt x="436" y="357"/>
                  </a:lnTo>
                  <a:lnTo>
                    <a:pt x="436" y="357"/>
                  </a:lnTo>
                  <a:lnTo>
                    <a:pt x="435" y="360"/>
                  </a:lnTo>
                  <a:lnTo>
                    <a:pt x="434" y="361"/>
                  </a:lnTo>
                  <a:lnTo>
                    <a:pt x="433" y="366"/>
                  </a:lnTo>
                  <a:lnTo>
                    <a:pt x="432" y="369"/>
                  </a:lnTo>
                  <a:lnTo>
                    <a:pt x="432" y="370"/>
                  </a:lnTo>
                  <a:lnTo>
                    <a:pt x="431" y="372"/>
                  </a:lnTo>
                  <a:lnTo>
                    <a:pt x="431" y="374"/>
                  </a:lnTo>
                  <a:lnTo>
                    <a:pt x="431" y="376"/>
                  </a:lnTo>
                  <a:lnTo>
                    <a:pt x="431" y="377"/>
                  </a:lnTo>
                  <a:lnTo>
                    <a:pt x="431" y="378"/>
                  </a:lnTo>
                  <a:lnTo>
                    <a:pt x="431" y="379"/>
                  </a:lnTo>
                  <a:lnTo>
                    <a:pt x="431" y="380"/>
                  </a:lnTo>
                  <a:lnTo>
                    <a:pt x="431" y="381"/>
                  </a:lnTo>
                  <a:lnTo>
                    <a:pt x="432" y="382"/>
                  </a:lnTo>
                  <a:lnTo>
                    <a:pt x="432" y="383"/>
                  </a:lnTo>
                  <a:lnTo>
                    <a:pt x="434" y="385"/>
                  </a:lnTo>
                  <a:lnTo>
                    <a:pt x="434" y="386"/>
                  </a:lnTo>
                  <a:lnTo>
                    <a:pt x="434" y="386"/>
                  </a:lnTo>
                  <a:lnTo>
                    <a:pt x="435" y="387"/>
                  </a:lnTo>
                  <a:lnTo>
                    <a:pt x="435" y="388"/>
                  </a:lnTo>
                  <a:lnTo>
                    <a:pt x="435" y="389"/>
                  </a:lnTo>
                  <a:lnTo>
                    <a:pt x="435" y="390"/>
                  </a:lnTo>
                  <a:lnTo>
                    <a:pt x="434" y="390"/>
                  </a:lnTo>
                  <a:lnTo>
                    <a:pt x="434" y="391"/>
                  </a:lnTo>
                  <a:lnTo>
                    <a:pt x="433" y="392"/>
                  </a:lnTo>
                  <a:lnTo>
                    <a:pt x="433" y="393"/>
                  </a:lnTo>
                  <a:lnTo>
                    <a:pt x="432" y="393"/>
                  </a:lnTo>
                  <a:lnTo>
                    <a:pt x="431" y="394"/>
                  </a:lnTo>
                  <a:lnTo>
                    <a:pt x="430" y="394"/>
                  </a:lnTo>
                  <a:lnTo>
                    <a:pt x="429" y="394"/>
                  </a:lnTo>
                  <a:lnTo>
                    <a:pt x="428" y="394"/>
                  </a:lnTo>
                  <a:lnTo>
                    <a:pt x="426" y="394"/>
                  </a:lnTo>
                  <a:lnTo>
                    <a:pt x="425" y="394"/>
                  </a:lnTo>
                  <a:lnTo>
                    <a:pt x="420" y="392"/>
                  </a:lnTo>
                  <a:lnTo>
                    <a:pt x="417" y="391"/>
                  </a:lnTo>
                  <a:lnTo>
                    <a:pt x="415" y="391"/>
                  </a:lnTo>
                  <a:lnTo>
                    <a:pt x="414" y="391"/>
                  </a:lnTo>
                  <a:lnTo>
                    <a:pt x="410" y="389"/>
                  </a:lnTo>
                  <a:lnTo>
                    <a:pt x="409" y="389"/>
                  </a:lnTo>
                  <a:lnTo>
                    <a:pt x="407" y="388"/>
                  </a:lnTo>
                  <a:lnTo>
                    <a:pt x="406" y="388"/>
                  </a:lnTo>
                  <a:lnTo>
                    <a:pt x="405" y="387"/>
                  </a:lnTo>
                  <a:lnTo>
                    <a:pt x="404" y="387"/>
                  </a:lnTo>
                  <a:lnTo>
                    <a:pt x="400" y="386"/>
                  </a:lnTo>
                  <a:lnTo>
                    <a:pt x="397" y="386"/>
                  </a:lnTo>
                  <a:lnTo>
                    <a:pt x="395" y="385"/>
                  </a:lnTo>
                  <a:lnTo>
                    <a:pt x="394" y="385"/>
                  </a:lnTo>
                  <a:lnTo>
                    <a:pt x="393" y="385"/>
                  </a:lnTo>
                  <a:lnTo>
                    <a:pt x="392" y="385"/>
                  </a:lnTo>
                  <a:lnTo>
                    <a:pt x="391" y="386"/>
                  </a:lnTo>
                  <a:lnTo>
                    <a:pt x="391" y="386"/>
                  </a:lnTo>
                  <a:lnTo>
                    <a:pt x="390" y="386"/>
                  </a:lnTo>
                  <a:lnTo>
                    <a:pt x="389" y="386"/>
                  </a:lnTo>
                  <a:lnTo>
                    <a:pt x="389" y="387"/>
                  </a:lnTo>
                  <a:lnTo>
                    <a:pt x="388" y="387"/>
                  </a:lnTo>
                  <a:lnTo>
                    <a:pt x="387" y="388"/>
                  </a:lnTo>
                  <a:lnTo>
                    <a:pt x="387" y="388"/>
                  </a:lnTo>
                  <a:lnTo>
                    <a:pt x="386" y="389"/>
                  </a:lnTo>
                  <a:lnTo>
                    <a:pt x="386" y="389"/>
                  </a:lnTo>
                  <a:lnTo>
                    <a:pt x="386" y="390"/>
                  </a:lnTo>
                  <a:lnTo>
                    <a:pt x="386" y="391"/>
                  </a:lnTo>
                  <a:lnTo>
                    <a:pt x="385" y="394"/>
                  </a:lnTo>
                  <a:lnTo>
                    <a:pt x="384" y="399"/>
                  </a:lnTo>
                  <a:lnTo>
                    <a:pt x="384" y="401"/>
                  </a:lnTo>
                  <a:lnTo>
                    <a:pt x="383" y="404"/>
                  </a:lnTo>
                  <a:lnTo>
                    <a:pt x="383" y="405"/>
                  </a:lnTo>
                  <a:lnTo>
                    <a:pt x="383" y="406"/>
                  </a:lnTo>
                  <a:lnTo>
                    <a:pt x="382" y="407"/>
                  </a:lnTo>
                  <a:lnTo>
                    <a:pt x="382" y="408"/>
                  </a:lnTo>
                  <a:lnTo>
                    <a:pt x="381" y="409"/>
                  </a:lnTo>
                  <a:lnTo>
                    <a:pt x="380" y="410"/>
                  </a:lnTo>
                  <a:lnTo>
                    <a:pt x="379" y="412"/>
                  </a:lnTo>
                  <a:lnTo>
                    <a:pt x="377" y="414"/>
                  </a:lnTo>
                  <a:lnTo>
                    <a:pt x="376" y="415"/>
                  </a:lnTo>
                  <a:lnTo>
                    <a:pt x="375" y="416"/>
                  </a:lnTo>
                  <a:lnTo>
                    <a:pt x="374" y="416"/>
                  </a:lnTo>
                  <a:lnTo>
                    <a:pt x="373" y="417"/>
                  </a:lnTo>
                  <a:lnTo>
                    <a:pt x="370" y="419"/>
                  </a:lnTo>
                  <a:lnTo>
                    <a:pt x="367" y="422"/>
                  </a:lnTo>
                  <a:lnTo>
                    <a:pt x="365" y="423"/>
                  </a:lnTo>
                  <a:lnTo>
                    <a:pt x="364" y="424"/>
                  </a:lnTo>
                  <a:lnTo>
                    <a:pt x="364" y="425"/>
                  </a:lnTo>
                  <a:lnTo>
                    <a:pt x="363" y="426"/>
                  </a:lnTo>
                  <a:lnTo>
                    <a:pt x="362" y="427"/>
                  </a:lnTo>
                  <a:lnTo>
                    <a:pt x="361" y="429"/>
                  </a:lnTo>
                  <a:lnTo>
                    <a:pt x="360" y="431"/>
                  </a:lnTo>
                  <a:lnTo>
                    <a:pt x="360" y="432"/>
                  </a:lnTo>
                  <a:lnTo>
                    <a:pt x="359" y="434"/>
                  </a:lnTo>
                  <a:lnTo>
                    <a:pt x="358" y="437"/>
                  </a:lnTo>
                  <a:lnTo>
                    <a:pt x="358" y="438"/>
                  </a:lnTo>
                  <a:lnTo>
                    <a:pt x="357" y="440"/>
                  </a:lnTo>
                  <a:lnTo>
                    <a:pt x="357" y="441"/>
                  </a:lnTo>
                  <a:lnTo>
                    <a:pt x="357" y="443"/>
                  </a:lnTo>
                  <a:lnTo>
                    <a:pt x="357" y="444"/>
                  </a:lnTo>
                  <a:lnTo>
                    <a:pt x="357" y="445"/>
                  </a:lnTo>
                  <a:lnTo>
                    <a:pt x="357" y="451"/>
                  </a:lnTo>
                  <a:lnTo>
                    <a:pt x="357" y="453"/>
                  </a:lnTo>
                  <a:lnTo>
                    <a:pt x="357" y="454"/>
                  </a:lnTo>
                  <a:lnTo>
                    <a:pt x="357" y="456"/>
                  </a:lnTo>
                  <a:lnTo>
                    <a:pt x="357" y="461"/>
                  </a:lnTo>
                  <a:lnTo>
                    <a:pt x="357" y="464"/>
                  </a:lnTo>
                  <a:lnTo>
                    <a:pt x="357" y="465"/>
                  </a:lnTo>
                  <a:lnTo>
                    <a:pt x="356" y="467"/>
                  </a:lnTo>
                  <a:lnTo>
                    <a:pt x="356" y="468"/>
                  </a:lnTo>
                  <a:lnTo>
                    <a:pt x="356" y="469"/>
                  </a:lnTo>
                  <a:lnTo>
                    <a:pt x="356" y="469"/>
                  </a:lnTo>
                  <a:lnTo>
                    <a:pt x="355" y="471"/>
                  </a:lnTo>
                  <a:lnTo>
                    <a:pt x="355" y="472"/>
                  </a:lnTo>
                  <a:lnTo>
                    <a:pt x="354" y="473"/>
                  </a:lnTo>
                  <a:lnTo>
                    <a:pt x="353" y="473"/>
                  </a:lnTo>
                  <a:lnTo>
                    <a:pt x="353" y="474"/>
                  </a:lnTo>
                  <a:lnTo>
                    <a:pt x="352" y="475"/>
                  </a:lnTo>
                  <a:lnTo>
                    <a:pt x="352" y="475"/>
                  </a:lnTo>
                  <a:lnTo>
                    <a:pt x="351" y="475"/>
                  </a:lnTo>
                  <a:lnTo>
                    <a:pt x="351" y="476"/>
                  </a:lnTo>
                  <a:lnTo>
                    <a:pt x="350" y="476"/>
                  </a:lnTo>
                  <a:lnTo>
                    <a:pt x="350" y="476"/>
                  </a:lnTo>
                  <a:lnTo>
                    <a:pt x="349" y="476"/>
                  </a:lnTo>
                  <a:lnTo>
                    <a:pt x="348" y="476"/>
                  </a:lnTo>
                  <a:lnTo>
                    <a:pt x="347" y="476"/>
                  </a:lnTo>
                  <a:lnTo>
                    <a:pt x="346" y="476"/>
                  </a:lnTo>
                  <a:lnTo>
                    <a:pt x="345" y="476"/>
                  </a:lnTo>
                  <a:lnTo>
                    <a:pt x="344" y="476"/>
                  </a:lnTo>
                  <a:lnTo>
                    <a:pt x="344" y="476"/>
                  </a:lnTo>
                  <a:lnTo>
                    <a:pt x="343" y="476"/>
                  </a:lnTo>
                  <a:lnTo>
                    <a:pt x="342" y="475"/>
                  </a:lnTo>
                  <a:lnTo>
                    <a:pt x="342" y="475"/>
                  </a:lnTo>
                  <a:lnTo>
                    <a:pt x="342" y="475"/>
                  </a:lnTo>
                  <a:lnTo>
                    <a:pt x="341" y="474"/>
                  </a:lnTo>
                  <a:lnTo>
                    <a:pt x="340" y="474"/>
                  </a:lnTo>
                  <a:lnTo>
                    <a:pt x="340" y="473"/>
                  </a:lnTo>
                  <a:lnTo>
                    <a:pt x="337" y="470"/>
                  </a:lnTo>
                  <a:lnTo>
                    <a:pt x="337" y="469"/>
                  </a:lnTo>
                  <a:lnTo>
                    <a:pt x="336" y="468"/>
                  </a:lnTo>
                  <a:lnTo>
                    <a:pt x="335" y="467"/>
                  </a:lnTo>
                  <a:lnTo>
                    <a:pt x="334" y="467"/>
                  </a:lnTo>
                  <a:lnTo>
                    <a:pt x="333" y="467"/>
                  </a:lnTo>
                  <a:lnTo>
                    <a:pt x="332" y="466"/>
                  </a:lnTo>
                  <a:lnTo>
                    <a:pt x="331" y="466"/>
                  </a:lnTo>
                  <a:lnTo>
                    <a:pt x="330" y="465"/>
                  </a:lnTo>
                  <a:lnTo>
                    <a:pt x="330" y="465"/>
                  </a:lnTo>
                  <a:lnTo>
                    <a:pt x="329" y="464"/>
                  </a:lnTo>
                  <a:lnTo>
                    <a:pt x="328" y="463"/>
                  </a:lnTo>
                  <a:lnTo>
                    <a:pt x="328" y="463"/>
                  </a:lnTo>
                  <a:lnTo>
                    <a:pt x="326" y="461"/>
                  </a:lnTo>
                  <a:lnTo>
                    <a:pt x="326" y="459"/>
                  </a:lnTo>
                  <a:lnTo>
                    <a:pt x="325" y="459"/>
                  </a:lnTo>
                  <a:lnTo>
                    <a:pt x="324" y="458"/>
                  </a:lnTo>
                  <a:lnTo>
                    <a:pt x="324" y="458"/>
                  </a:lnTo>
                  <a:lnTo>
                    <a:pt x="323" y="458"/>
                  </a:lnTo>
                  <a:lnTo>
                    <a:pt x="323" y="458"/>
                  </a:lnTo>
                  <a:lnTo>
                    <a:pt x="322" y="458"/>
                  </a:lnTo>
                  <a:lnTo>
                    <a:pt x="322" y="458"/>
                  </a:lnTo>
                  <a:lnTo>
                    <a:pt x="321" y="458"/>
                  </a:lnTo>
                  <a:lnTo>
                    <a:pt x="320" y="459"/>
                  </a:lnTo>
                  <a:lnTo>
                    <a:pt x="314" y="462"/>
                  </a:lnTo>
                  <a:lnTo>
                    <a:pt x="313" y="463"/>
                  </a:lnTo>
                  <a:lnTo>
                    <a:pt x="312" y="464"/>
                  </a:lnTo>
                  <a:lnTo>
                    <a:pt x="311" y="464"/>
                  </a:lnTo>
                  <a:lnTo>
                    <a:pt x="310" y="464"/>
                  </a:lnTo>
                  <a:lnTo>
                    <a:pt x="309" y="465"/>
                  </a:lnTo>
                  <a:lnTo>
                    <a:pt x="308" y="465"/>
                  </a:lnTo>
                  <a:lnTo>
                    <a:pt x="308" y="465"/>
                  </a:lnTo>
                  <a:lnTo>
                    <a:pt x="307" y="465"/>
                  </a:lnTo>
                  <a:lnTo>
                    <a:pt x="307" y="464"/>
                  </a:lnTo>
                  <a:lnTo>
                    <a:pt x="306" y="464"/>
                  </a:lnTo>
                  <a:lnTo>
                    <a:pt x="303" y="463"/>
                  </a:lnTo>
                  <a:lnTo>
                    <a:pt x="299" y="462"/>
                  </a:lnTo>
                  <a:lnTo>
                    <a:pt x="297" y="461"/>
                  </a:lnTo>
                  <a:lnTo>
                    <a:pt x="294" y="460"/>
                  </a:lnTo>
                  <a:lnTo>
                    <a:pt x="293" y="459"/>
                  </a:lnTo>
                  <a:lnTo>
                    <a:pt x="292" y="459"/>
                  </a:lnTo>
                  <a:lnTo>
                    <a:pt x="291" y="458"/>
                  </a:lnTo>
                  <a:lnTo>
                    <a:pt x="290" y="457"/>
                  </a:lnTo>
                  <a:lnTo>
                    <a:pt x="289" y="457"/>
                  </a:lnTo>
                  <a:lnTo>
                    <a:pt x="288" y="455"/>
                  </a:lnTo>
                  <a:lnTo>
                    <a:pt x="287" y="454"/>
                  </a:lnTo>
                  <a:lnTo>
                    <a:pt x="284" y="451"/>
                  </a:lnTo>
                  <a:lnTo>
                    <a:pt x="283" y="450"/>
                  </a:lnTo>
                  <a:lnTo>
                    <a:pt x="282" y="449"/>
                  </a:lnTo>
                  <a:lnTo>
                    <a:pt x="281" y="449"/>
                  </a:lnTo>
                  <a:lnTo>
                    <a:pt x="280" y="448"/>
                  </a:lnTo>
                  <a:lnTo>
                    <a:pt x="280" y="448"/>
                  </a:lnTo>
                  <a:lnTo>
                    <a:pt x="279" y="448"/>
                  </a:lnTo>
                  <a:lnTo>
                    <a:pt x="279" y="449"/>
                  </a:lnTo>
                  <a:lnTo>
                    <a:pt x="278" y="449"/>
                  </a:lnTo>
                  <a:lnTo>
                    <a:pt x="278" y="449"/>
                  </a:lnTo>
                  <a:lnTo>
                    <a:pt x="277" y="449"/>
                  </a:lnTo>
                  <a:lnTo>
                    <a:pt x="277" y="450"/>
                  </a:lnTo>
                  <a:lnTo>
                    <a:pt x="276" y="450"/>
                  </a:lnTo>
                  <a:lnTo>
                    <a:pt x="276" y="450"/>
                  </a:lnTo>
                  <a:lnTo>
                    <a:pt x="276" y="451"/>
                  </a:lnTo>
                  <a:lnTo>
                    <a:pt x="275" y="451"/>
                  </a:lnTo>
                  <a:lnTo>
                    <a:pt x="275" y="452"/>
                  </a:lnTo>
                  <a:lnTo>
                    <a:pt x="275" y="456"/>
                  </a:lnTo>
                  <a:lnTo>
                    <a:pt x="275" y="457"/>
                  </a:lnTo>
                  <a:lnTo>
                    <a:pt x="275" y="458"/>
                  </a:lnTo>
                  <a:lnTo>
                    <a:pt x="274" y="460"/>
                  </a:lnTo>
                  <a:lnTo>
                    <a:pt x="274" y="463"/>
                  </a:lnTo>
                  <a:lnTo>
                    <a:pt x="273" y="464"/>
                  </a:lnTo>
                  <a:lnTo>
                    <a:pt x="273" y="465"/>
                  </a:lnTo>
                  <a:lnTo>
                    <a:pt x="272" y="466"/>
                  </a:lnTo>
                  <a:lnTo>
                    <a:pt x="272" y="467"/>
                  </a:lnTo>
                  <a:lnTo>
                    <a:pt x="271" y="468"/>
                  </a:lnTo>
                  <a:lnTo>
                    <a:pt x="270" y="469"/>
                  </a:lnTo>
                  <a:lnTo>
                    <a:pt x="270" y="470"/>
                  </a:lnTo>
                  <a:lnTo>
                    <a:pt x="269" y="470"/>
                  </a:lnTo>
                  <a:lnTo>
                    <a:pt x="269" y="471"/>
                  </a:lnTo>
                  <a:lnTo>
                    <a:pt x="268" y="472"/>
                  </a:lnTo>
                  <a:lnTo>
                    <a:pt x="267" y="472"/>
                  </a:lnTo>
                  <a:lnTo>
                    <a:pt x="267" y="472"/>
                  </a:lnTo>
                  <a:lnTo>
                    <a:pt x="266" y="472"/>
                  </a:lnTo>
                  <a:lnTo>
                    <a:pt x="265" y="472"/>
                  </a:lnTo>
                  <a:lnTo>
                    <a:pt x="262" y="472"/>
                  </a:lnTo>
                  <a:lnTo>
                    <a:pt x="260" y="473"/>
                  </a:lnTo>
                  <a:lnTo>
                    <a:pt x="259" y="473"/>
                  </a:lnTo>
                  <a:lnTo>
                    <a:pt x="259" y="473"/>
                  </a:lnTo>
                  <a:lnTo>
                    <a:pt x="258" y="473"/>
                  </a:lnTo>
                  <a:lnTo>
                    <a:pt x="257" y="474"/>
                  </a:lnTo>
                  <a:lnTo>
                    <a:pt x="257" y="474"/>
                  </a:lnTo>
                  <a:lnTo>
                    <a:pt x="257" y="475"/>
                  </a:lnTo>
                  <a:lnTo>
                    <a:pt x="256" y="476"/>
                  </a:lnTo>
                  <a:lnTo>
                    <a:pt x="256" y="477"/>
                  </a:lnTo>
                  <a:lnTo>
                    <a:pt x="255" y="478"/>
                  </a:lnTo>
                  <a:lnTo>
                    <a:pt x="255" y="479"/>
                  </a:lnTo>
                  <a:lnTo>
                    <a:pt x="255" y="479"/>
                  </a:lnTo>
                  <a:lnTo>
                    <a:pt x="254" y="480"/>
                  </a:lnTo>
                  <a:lnTo>
                    <a:pt x="254" y="480"/>
                  </a:lnTo>
                  <a:lnTo>
                    <a:pt x="253" y="481"/>
                  </a:lnTo>
                  <a:lnTo>
                    <a:pt x="252" y="481"/>
                  </a:lnTo>
                  <a:lnTo>
                    <a:pt x="251" y="482"/>
                  </a:lnTo>
                  <a:lnTo>
                    <a:pt x="249" y="482"/>
                  </a:lnTo>
                  <a:lnTo>
                    <a:pt x="248" y="482"/>
                  </a:lnTo>
                  <a:lnTo>
                    <a:pt x="248" y="482"/>
                  </a:lnTo>
                  <a:lnTo>
                    <a:pt x="247" y="483"/>
                  </a:lnTo>
                  <a:lnTo>
                    <a:pt x="246" y="483"/>
                  </a:lnTo>
                  <a:lnTo>
                    <a:pt x="245" y="484"/>
                  </a:lnTo>
                  <a:lnTo>
                    <a:pt x="244" y="486"/>
                  </a:lnTo>
                  <a:lnTo>
                    <a:pt x="243" y="487"/>
                  </a:lnTo>
                  <a:lnTo>
                    <a:pt x="242" y="487"/>
                  </a:lnTo>
                  <a:lnTo>
                    <a:pt x="241" y="487"/>
                  </a:lnTo>
                  <a:lnTo>
                    <a:pt x="241" y="488"/>
                  </a:lnTo>
                  <a:lnTo>
                    <a:pt x="240" y="488"/>
                  </a:lnTo>
                  <a:lnTo>
                    <a:pt x="239" y="488"/>
                  </a:lnTo>
                  <a:lnTo>
                    <a:pt x="239" y="488"/>
                  </a:lnTo>
                  <a:lnTo>
                    <a:pt x="238" y="488"/>
                  </a:lnTo>
                  <a:lnTo>
                    <a:pt x="237" y="487"/>
                  </a:lnTo>
                  <a:lnTo>
                    <a:pt x="235" y="486"/>
                  </a:lnTo>
                  <a:lnTo>
                    <a:pt x="231" y="485"/>
                  </a:lnTo>
                  <a:lnTo>
                    <a:pt x="228" y="483"/>
                  </a:lnTo>
                  <a:lnTo>
                    <a:pt x="221" y="479"/>
                  </a:lnTo>
                  <a:lnTo>
                    <a:pt x="219" y="478"/>
                  </a:lnTo>
                  <a:lnTo>
                    <a:pt x="218" y="478"/>
                  </a:lnTo>
                  <a:lnTo>
                    <a:pt x="217" y="478"/>
                  </a:lnTo>
                  <a:lnTo>
                    <a:pt x="216" y="477"/>
                  </a:lnTo>
                  <a:lnTo>
                    <a:pt x="212" y="477"/>
                  </a:lnTo>
                  <a:lnTo>
                    <a:pt x="211" y="477"/>
                  </a:lnTo>
                  <a:lnTo>
                    <a:pt x="209" y="476"/>
                  </a:lnTo>
                  <a:lnTo>
                    <a:pt x="205" y="475"/>
                  </a:lnTo>
                  <a:lnTo>
                    <a:pt x="200" y="473"/>
                  </a:lnTo>
                  <a:lnTo>
                    <a:pt x="197" y="472"/>
                  </a:lnTo>
                  <a:lnTo>
                    <a:pt x="196" y="472"/>
                  </a:lnTo>
                  <a:lnTo>
                    <a:pt x="195" y="472"/>
                  </a:lnTo>
                  <a:lnTo>
                    <a:pt x="193" y="472"/>
                  </a:lnTo>
                  <a:lnTo>
                    <a:pt x="190" y="472"/>
                  </a:lnTo>
                  <a:lnTo>
                    <a:pt x="188" y="472"/>
                  </a:lnTo>
                  <a:lnTo>
                    <a:pt x="187" y="471"/>
                  </a:lnTo>
                  <a:lnTo>
                    <a:pt x="183" y="471"/>
                  </a:lnTo>
                  <a:lnTo>
                    <a:pt x="181" y="471"/>
                  </a:lnTo>
                  <a:lnTo>
                    <a:pt x="179" y="470"/>
                  </a:lnTo>
                  <a:lnTo>
                    <a:pt x="178" y="470"/>
                  </a:lnTo>
                  <a:lnTo>
                    <a:pt x="177" y="470"/>
                  </a:lnTo>
                  <a:lnTo>
                    <a:pt x="173" y="471"/>
                  </a:lnTo>
                  <a:lnTo>
                    <a:pt x="172" y="471"/>
                  </a:lnTo>
                  <a:lnTo>
                    <a:pt x="171" y="471"/>
                  </a:lnTo>
                  <a:lnTo>
                    <a:pt x="170" y="471"/>
                  </a:lnTo>
                  <a:lnTo>
                    <a:pt x="169" y="471"/>
                  </a:lnTo>
                  <a:lnTo>
                    <a:pt x="168" y="471"/>
                  </a:lnTo>
                  <a:lnTo>
                    <a:pt x="168" y="471"/>
                  </a:lnTo>
                  <a:lnTo>
                    <a:pt x="165" y="470"/>
                  </a:lnTo>
                  <a:lnTo>
                    <a:pt x="164" y="469"/>
                  </a:lnTo>
                  <a:lnTo>
                    <a:pt x="163" y="469"/>
                  </a:lnTo>
                  <a:lnTo>
                    <a:pt x="160" y="468"/>
                  </a:lnTo>
                  <a:lnTo>
                    <a:pt x="159" y="468"/>
                  </a:lnTo>
                  <a:lnTo>
                    <a:pt x="158" y="467"/>
                  </a:lnTo>
                  <a:lnTo>
                    <a:pt x="158" y="467"/>
                  </a:lnTo>
                  <a:lnTo>
                    <a:pt x="156" y="466"/>
                  </a:lnTo>
                  <a:lnTo>
                    <a:pt x="154" y="464"/>
                  </a:lnTo>
                  <a:lnTo>
                    <a:pt x="154" y="464"/>
                  </a:lnTo>
                  <a:lnTo>
                    <a:pt x="153" y="463"/>
                  </a:lnTo>
                  <a:lnTo>
                    <a:pt x="152" y="462"/>
                  </a:lnTo>
                  <a:lnTo>
                    <a:pt x="152" y="461"/>
                  </a:lnTo>
                  <a:lnTo>
                    <a:pt x="151" y="461"/>
                  </a:lnTo>
                  <a:lnTo>
                    <a:pt x="151" y="460"/>
                  </a:lnTo>
                  <a:lnTo>
                    <a:pt x="150" y="457"/>
                  </a:lnTo>
                  <a:lnTo>
                    <a:pt x="149" y="457"/>
                  </a:lnTo>
                  <a:lnTo>
                    <a:pt x="149" y="456"/>
                  </a:lnTo>
                  <a:lnTo>
                    <a:pt x="149" y="456"/>
                  </a:lnTo>
                  <a:lnTo>
                    <a:pt x="148" y="455"/>
                  </a:lnTo>
                  <a:lnTo>
                    <a:pt x="147" y="454"/>
                  </a:lnTo>
                  <a:lnTo>
                    <a:pt x="146" y="454"/>
                  </a:lnTo>
                  <a:lnTo>
                    <a:pt x="145" y="453"/>
                  </a:lnTo>
                  <a:lnTo>
                    <a:pt x="145" y="452"/>
                  </a:lnTo>
                  <a:lnTo>
                    <a:pt x="144" y="451"/>
                  </a:lnTo>
                  <a:lnTo>
                    <a:pt x="144" y="451"/>
                  </a:lnTo>
                  <a:lnTo>
                    <a:pt x="144" y="450"/>
                  </a:lnTo>
                  <a:lnTo>
                    <a:pt x="144" y="449"/>
                  </a:lnTo>
                  <a:lnTo>
                    <a:pt x="144" y="449"/>
                  </a:lnTo>
                  <a:lnTo>
                    <a:pt x="144" y="448"/>
                  </a:lnTo>
                  <a:lnTo>
                    <a:pt x="144" y="448"/>
                  </a:lnTo>
                  <a:lnTo>
                    <a:pt x="144" y="447"/>
                  </a:lnTo>
                  <a:lnTo>
                    <a:pt x="144" y="447"/>
                  </a:lnTo>
                  <a:lnTo>
                    <a:pt x="145" y="446"/>
                  </a:lnTo>
                  <a:lnTo>
                    <a:pt x="145" y="445"/>
                  </a:lnTo>
                  <a:lnTo>
                    <a:pt x="146" y="445"/>
                  </a:lnTo>
                  <a:lnTo>
                    <a:pt x="147" y="444"/>
                  </a:lnTo>
                  <a:lnTo>
                    <a:pt x="148" y="443"/>
                  </a:lnTo>
                  <a:lnTo>
                    <a:pt x="149" y="443"/>
                  </a:lnTo>
                  <a:lnTo>
                    <a:pt x="151" y="442"/>
                  </a:lnTo>
                  <a:lnTo>
                    <a:pt x="152" y="442"/>
                  </a:lnTo>
                  <a:lnTo>
                    <a:pt x="152" y="441"/>
                  </a:lnTo>
                  <a:lnTo>
                    <a:pt x="153" y="441"/>
                  </a:lnTo>
                  <a:lnTo>
                    <a:pt x="153" y="440"/>
                  </a:lnTo>
                  <a:lnTo>
                    <a:pt x="153" y="440"/>
                  </a:lnTo>
                  <a:lnTo>
                    <a:pt x="154" y="439"/>
                  </a:lnTo>
                  <a:lnTo>
                    <a:pt x="154" y="438"/>
                  </a:lnTo>
                  <a:lnTo>
                    <a:pt x="154" y="438"/>
                  </a:lnTo>
                  <a:lnTo>
                    <a:pt x="154" y="437"/>
                  </a:lnTo>
                  <a:lnTo>
                    <a:pt x="154" y="436"/>
                  </a:lnTo>
                  <a:lnTo>
                    <a:pt x="154" y="435"/>
                  </a:lnTo>
                  <a:lnTo>
                    <a:pt x="153" y="434"/>
                  </a:lnTo>
                  <a:lnTo>
                    <a:pt x="153" y="434"/>
                  </a:lnTo>
                  <a:lnTo>
                    <a:pt x="152" y="433"/>
                  </a:lnTo>
                  <a:lnTo>
                    <a:pt x="152" y="433"/>
                  </a:lnTo>
                  <a:lnTo>
                    <a:pt x="149" y="431"/>
                  </a:lnTo>
                  <a:lnTo>
                    <a:pt x="148" y="430"/>
                  </a:lnTo>
                  <a:lnTo>
                    <a:pt x="147" y="429"/>
                  </a:lnTo>
                  <a:lnTo>
                    <a:pt x="146" y="428"/>
                  </a:lnTo>
                  <a:lnTo>
                    <a:pt x="144" y="425"/>
                  </a:lnTo>
                  <a:lnTo>
                    <a:pt x="143" y="424"/>
                  </a:lnTo>
                  <a:lnTo>
                    <a:pt x="142" y="422"/>
                  </a:lnTo>
                  <a:lnTo>
                    <a:pt x="140" y="421"/>
                  </a:lnTo>
                  <a:lnTo>
                    <a:pt x="139" y="420"/>
                  </a:lnTo>
                  <a:lnTo>
                    <a:pt x="139" y="419"/>
                  </a:lnTo>
                  <a:lnTo>
                    <a:pt x="138" y="419"/>
                  </a:lnTo>
                  <a:lnTo>
                    <a:pt x="137" y="418"/>
                  </a:lnTo>
                  <a:lnTo>
                    <a:pt x="136" y="418"/>
                  </a:lnTo>
                  <a:lnTo>
                    <a:pt x="136" y="418"/>
                  </a:lnTo>
                  <a:lnTo>
                    <a:pt x="134" y="417"/>
                  </a:lnTo>
                  <a:lnTo>
                    <a:pt x="131" y="416"/>
                  </a:lnTo>
                  <a:lnTo>
                    <a:pt x="129" y="415"/>
                  </a:lnTo>
                  <a:lnTo>
                    <a:pt x="128" y="414"/>
                  </a:lnTo>
                  <a:lnTo>
                    <a:pt x="126" y="414"/>
                  </a:lnTo>
                  <a:lnTo>
                    <a:pt x="125" y="414"/>
                  </a:lnTo>
                  <a:lnTo>
                    <a:pt x="125" y="413"/>
                  </a:lnTo>
                  <a:lnTo>
                    <a:pt x="121" y="410"/>
                  </a:lnTo>
                  <a:lnTo>
                    <a:pt x="120" y="410"/>
                  </a:lnTo>
                  <a:lnTo>
                    <a:pt x="119" y="409"/>
                  </a:lnTo>
                  <a:lnTo>
                    <a:pt x="118" y="408"/>
                  </a:lnTo>
                  <a:lnTo>
                    <a:pt x="117" y="407"/>
                  </a:lnTo>
                  <a:lnTo>
                    <a:pt x="116" y="405"/>
                  </a:lnTo>
                  <a:lnTo>
                    <a:pt x="111" y="401"/>
                  </a:lnTo>
                  <a:lnTo>
                    <a:pt x="110" y="399"/>
                  </a:lnTo>
                  <a:lnTo>
                    <a:pt x="108" y="398"/>
                  </a:lnTo>
                  <a:lnTo>
                    <a:pt x="107" y="396"/>
                  </a:lnTo>
                  <a:lnTo>
                    <a:pt x="105" y="395"/>
                  </a:lnTo>
                  <a:lnTo>
                    <a:pt x="104" y="394"/>
                  </a:lnTo>
                  <a:lnTo>
                    <a:pt x="103" y="393"/>
                  </a:lnTo>
                  <a:lnTo>
                    <a:pt x="101" y="392"/>
                  </a:lnTo>
                  <a:lnTo>
                    <a:pt x="100" y="391"/>
                  </a:lnTo>
                  <a:lnTo>
                    <a:pt x="99" y="390"/>
                  </a:lnTo>
                  <a:lnTo>
                    <a:pt x="97" y="390"/>
                  </a:lnTo>
                  <a:lnTo>
                    <a:pt x="96" y="389"/>
                  </a:lnTo>
                  <a:lnTo>
                    <a:pt x="94" y="389"/>
                  </a:lnTo>
                  <a:lnTo>
                    <a:pt x="88" y="387"/>
                  </a:lnTo>
                  <a:lnTo>
                    <a:pt x="86" y="386"/>
                  </a:lnTo>
                  <a:lnTo>
                    <a:pt x="85" y="386"/>
                  </a:lnTo>
                  <a:lnTo>
                    <a:pt x="84" y="385"/>
                  </a:lnTo>
                  <a:lnTo>
                    <a:pt x="83" y="385"/>
                  </a:lnTo>
                  <a:lnTo>
                    <a:pt x="82" y="384"/>
                  </a:lnTo>
                  <a:lnTo>
                    <a:pt x="82" y="384"/>
                  </a:lnTo>
                  <a:lnTo>
                    <a:pt x="81" y="383"/>
                  </a:lnTo>
                  <a:lnTo>
                    <a:pt x="81" y="383"/>
                  </a:lnTo>
                  <a:lnTo>
                    <a:pt x="81" y="382"/>
                  </a:lnTo>
                  <a:lnTo>
                    <a:pt x="80" y="380"/>
                  </a:lnTo>
                  <a:lnTo>
                    <a:pt x="80" y="379"/>
                  </a:lnTo>
                  <a:lnTo>
                    <a:pt x="80" y="376"/>
                  </a:lnTo>
                  <a:lnTo>
                    <a:pt x="79" y="375"/>
                  </a:lnTo>
                  <a:lnTo>
                    <a:pt x="79" y="374"/>
                  </a:lnTo>
                  <a:lnTo>
                    <a:pt x="79" y="373"/>
                  </a:lnTo>
                  <a:lnTo>
                    <a:pt x="78" y="371"/>
                  </a:lnTo>
                  <a:lnTo>
                    <a:pt x="76" y="366"/>
                  </a:lnTo>
                  <a:lnTo>
                    <a:pt x="75" y="365"/>
                  </a:lnTo>
                  <a:lnTo>
                    <a:pt x="75" y="364"/>
                  </a:lnTo>
                  <a:lnTo>
                    <a:pt x="74" y="362"/>
                  </a:lnTo>
                  <a:lnTo>
                    <a:pt x="73" y="362"/>
                  </a:lnTo>
                  <a:lnTo>
                    <a:pt x="73" y="361"/>
                  </a:lnTo>
                  <a:lnTo>
                    <a:pt x="72" y="361"/>
                  </a:lnTo>
                  <a:lnTo>
                    <a:pt x="72" y="360"/>
                  </a:lnTo>
                  <a:lnTo>
                    <a:pt x="70" y="359"/>
                  </a:lnTo>
                  <a:lnTo>
                    <a:pt x="69" y="358"/>
                  </a:lnTo>
                  <a:lnTo>
                    <a:pt x="68" y="357"/>
                  </a:lnTo>
                  <a:lnTo>
                    <a:pt x="68" y="357"/>
                  </a:lnTo>
                  <a:lnTo>
                    <a:pt x="67" y="356"/>
                  </a:lnTo>
                  <a:lnTo>
                    <a:pt x="67" y="355"/>
                  </a:lnTo>
                  <a:lnTo>
                    <a:pt x="66" y="355"/>
                  </a:lnTo>
                  <a:lnTo>
                    <a:pt x="66" y="353"/>
                  </a:lnTo>
                  <a:lnTo>
                    <a:pt x="65" y="352"/>
                  </a:lnTo>
                  <a:lnTo>
                    <a:pt x="65" y="351"/>
                  </a:lnTo>
                  <a:lnTo>
                    <a:pt x="63" y="347"/>
                  </a:lnTo>
                  <a:lnTo>
                    <a:pt x="62" y="343"/>
                  </a:lnTo>
                  <a:lnTo>
                    <a:pt x="61" y="341"/>
                  </a:lnTo>
                  <a:lnTo>
                    <a:pt x="60" y="340"/>
                  </a:lnTo>
                  <a:lnTo>
                    <a:pt x="60" y="339"/>
                  </a:lnTo>
                  <a:lnTo>
                    <a:pt x="59" y="338"/>
                  </a:lnTo>
                  <a:lnTo>
                    <a:pt x="58" y="337"/>
                  </a:lnTo>
                  <a:lnTo>
                    <a:pt x="58" y="336"/>
                  </a:lnTo>
                  <a:lnTo>
                    <a:pt x="57" y="336"/>
                  </a:lnTo>
                  <a:lnTo>
                    <a:pt x="57" y="336"/>
                  </a:lnTo>
                  <a:lnTo>
                    <a:pt x="56" y="336"/>
                  </a:lnTo>
                  <a:lnTo>
                    <a:pt x="55" y="336"/>
                  </a:lnTo>
                  <a:lnTo>
                    <a:pt x="52" y="336"/>
                  </a:lnTo>
                  <a:lnTo>
                    <a:pt x="51" y="336"/>
                  </a:lnTo>
                  <a:lnTo>
                    <a:pt x="49" y="336"/>
                  </a:lnTo>
                  <a:lnTo>
                    <a:pt x="46" y="336"/>
                  </a:lnTo>
                  <a:lnTo>
                    <a:pt x="45" y="336"/>
                  </a:lnTo>
                  <a:lnTo>
                    <a:pt x="44" y="336"/>
                  </a:lnTo>
                  <a:lnTo>
                    <a:pt x="43" y="336"/>
                  </a:lnTo>
                  <a:lnTo>
                    <a:pt x="42" y="335"/>
                  </a:lnTo>
                  <a:lnTo>
                    <a:pt x="41" y="335"/>
                  </a:lnTo>
                  <a:lnTo>
                    <a:pt x="40" y="335"/>
                  </a:lnTo>
                  <a:lnTo>
                    <a:pt x="40" y="334"/>
                  </a:lnTo>
                  <a:lnTo>
                    <a:pt x="39" y="334"/>
                  </a:lnTo>
                  <a:lnTo>
                    <a:pt x="38" y="333"/>
                  </a:lnTo>
                  <a:lnTo>
                    <a:pt x="35" y="330"/>
                  </a:lnTo>
                  <a:lnTo>
                    <a:pt x="34" y="329"/>
                  </a:lnTo>
                  <a:lnTo>
                    <a:pt x="34" y="328"/>
                  </a:lnTo>
                  <a:lnTo>
                    <a:pt x="33" y="326"/>
                  </a:lnTo>
                  <a:lnTo>
                    <a:pt x="32" y="324"/>
                  </a:lnTo>
                  <a:lnTo>
                    <a:pt x="30" y="321"/>
                  </a:lnTo>
                  <a:lnTo>
                    <a:pt x="29" y="318"/>
                  </a:lnTo>
                  <a:lnTo>
                    <a:pt x="28" y="315"/>
                  </a:lnTo>
                  <a:lnTo>
                    <a:pt x="26" y="311"/>
                  </a:lnTo>
                  <a:lnTo>
                    <a:pt x="25" y="308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2" y="306"/>
                  </a:lnTo>
                  <a:lnTo>
                    <a:pt x="20" y="306"/>
                  </a:lnTo>
                  <a:lnTo>
                    <a:pt x="20" y="306"/>
                  </a:lnTo>
                  <a:lnTo>
                    <a:pt x="19" y="305"/>
                  </a:lnTo>
                  <a:lnTo>
                    <a:pt x="18" y="305"/>
                  </a:lnTo>
                  <a:lnTo>
                    <a:pt x="17" y="304"/>
                  </a:lnTo>
                  <a:lnTo>
                    <a:pt x="16" y="303"/>
                  </a:lnTo>
                  <a:lnTo>
                    <a:pt x="16" y="302"/>
                  </a:lnTo>
                  <a:lnTo>
                    <a:pt x="14" y="300"/>
                  </a:lnTo>
                  <a:lnTo>
                    <a:pt x="13" y="299"/>
                  </a:lnTo>
                  <a:lnTo>
                    <a:pt x="13" y="299"/>
                  </a:lnTo>
                  <a:lnTo>
                    <a:pt x="12" y="298"/>
                  </a:lnTo>
                  <a:lnTo>
                    <a:pt x="12" y="297"/>
                  </a:lnTo>
                  <a:lnTo>
                    <a:pt x="11" y="297"/>
                  </a:lnTo>
                  <a:lnTo>
                    <a:pt x="10" y="296"/>
                  </a:lnTo>
                  <a:lnTo>
                    <a:pt x="9" y="296"/>
                  </a:lnTo>
                  <a:lnTo>
                    <a:pt x="9" y="296"/>
                  </a:lnTo>
                  <a:lnTo>
                    <a:pt x="8" y="296"/>
                  </a:lnTo>
                  <a:lnTo>
                    <a:pt x="7" y="295"/>
                  </a:lnTo>
                  <a:lnTo>
                    <a:pt x="5" y="295"/>
                  </a:lnTo>
                  <a:lnTo>
                    <a:pt x="4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2" y="295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1" y="290"/>
                  </a:lnTo>
                  <a:lnTo>
                    <a:pt x="0" y="289"/>
                  </a:lnTo>
                  <a:lnTo>
                    <a:pt x="0" y="288"/>
                  </a:lnTo>
                  <a:lnTo>
                    <a:pt x="0" y="287"/>
                  </a:lnTo>
                  <a:lnTo>
                    <a:pt x="0" y="286"/>
                  </a:lnTo>
                  <a:lnTo>
                    <a:pt x="0" y="285"/>
                  </a:lnTo>
                  <a:lnTo>
                    <a:pt x="0" y="284"/>
                  </a:lnTo>
                  <a:lnTo>
                    <a:pt x="0" y="282"/>
                  </a:lnTo>
                  <a:lnTo>
                    <a:pt x="0" y="281"/>
                  </a:lnTo>
                  <a:lnTo>
                    <a:pt x="0" y="279"/>
                  </a:lnTo>
                  <a:lnTo>
                    <a:pt x="0" y="278"/>
                  </a:lnTo>
                  <a:lnTo>
                    <a:pt x="1" y="276"/>
                  </a:lnTo>
                  <a:lnTo>
                    <a:pt x="1" y="274"/>
                  </a:lnTo>
                  <a:lnTo>
                    <a:pt x="2" y="272"/>
                  </a:lnTo>
                  <a:lnTo>
                    <a:pt x="2" y="271"/>
                  </a:lnTo>
                  <a:lnTo>
                    <a:pt x="2" y="270"/>
                  </a:lnTo>
                  <a:lnTo>
                    <a:pt x="3" y="269"/>
                  </a:lnTo>
                  <a:lnTo>
                    <a:pt x="4" y="266"/>
                  </a:lnTo>
                  <a:lnTo>
                    <a:pt x="5" y="264"/>
                  </a:lnTo>
                  <a:lnTo>
                    <a:pt x="6" y="263"/>
                  </a:lnTo>
                  <a:lnTo>
                    <a:pt x="7" y="262"/>
                  </a:lnTo>
                  <a:lnTo>
                    <a:pt x="8" y="261"/>
                  </a:lnTo>
                  <a:lnTo>
                    <a:pt x="8" y="261"/>
                  </a:lnTo>
                  <a:lnTo>
                    <a:pt x="9" y="260"/>
                  </a:lnTo>
                  <a:lnTo>
                    <a:pt x="9" y="260"/>
                  </a:lnTo>
                  <a:lnTo>
                    <a:pt x="10" y="259"/>
                  </a:lnTo>
                  <a:lnTo>
                    <a:pt x="11" y="259"/>
                  </a:lnTo>
                  <a:lnTo>
                    <a:pt x="13" y="258"/>
                  </a:lnTo>
                  <a:lnTo>
                    <a:pt x="14" y="258"/>
                  </a:lnTo>
                  <a:lnTo>
                    <a:pt x="14" y="257"/>
                  </a:lnTo>
                  <a:lnTo>
                    <a:pt x="15" y="256"/>
                  </a:lnTo>
                  <a:lnTo>
                    <a:pt x="16" y="256"/>
                  </a:lnTo>
                  <a:lnTo>
                    <a:pt x="17" y="255"/>
                  </a:lnTo>
                  <a:lnTo>
                    <a:pt x="17" y="255"/>
                  </a:lnTo>
                  <a:lnTo>
                    <a:pt x="17" y="254"/>
                  </a:lnTo>
                  <a:lnTo>
                    <a:pt x="18" y="253"/>
                  </a:lnTo>
                  <a:lnTo>
                    <a:pt x="18" y="253"/>
                  </a:lnTo>
                  <a:lnTo>
                    <a:pt x="18" y="252"/>
                  </a:lnTo>
                  <a:lnTo>
                    <a:pt x="18" y="251"/>
                  </a:lnTo>
                  <a:lnTo>
                    <a:pt x="18" y="250"/>
                  </a:lnTo>
                  <a:lnTo>
                    <a:pt x="18" y="249"/>
                  </a:lnTo>
                  <a:lnTo>
                    <a:pt x="18" y="248"/>
                  </a:lnTo>
                  <a:lnTo>
                    <a:pt x="18" y="246"/>
                  </a:lnTo>
                  <a:lnTo>
                    <a:pt x="17" y="242"/>
                  </a:lnTo>
                  <a:lnTo>
                    <a:pt x="17" y="241"/>
                  </a:lnTo>
                  <a:lnTo>
                    <a:pt x="17" y="239"/>
                  </a:lnTo>
                  <a:lnTo>
                    <a:pt x="15" y="237"/>
                  </a:lnTo>
                  <a:lnTo>
                    <a:pt x="15" y="235"/>
                  </a:lnTo>
                  <a:lnTo>
                    <a:pt x="15" y="234"/>
                  </a:lnTo>
                  <a:lnTo>
                    <a:pt x="15" y="233"/>
                  </a:lnTo>
                  <a:lnTo>
                    <a:pt x="15" y="233"/>
                  </a:lnTo>
                  <a:lnTo>
                    <a:pt x="15" y="232"/>
                  </a:lnTo>
                  <a:lnTo>
                    <a:pt x="16" y="229"/>
                  </a:lnTo>
                  <a:lnTo>
                    <a:pt x="16" y="228"/>
                  </a:lnTo>
                  <a:lnTo>
                    <a:pt x="16" y="226"/>
                  </a:lnTo>
                  <a:lnTo>
                    <a:pt x="16" y="223"/>
                  </a:lnTo>
                  <a:lnTo>
                    <a:pt x="17" y="221"/>
                  </a:lnTo>
                  <a:lnTo>
                    <a:pt x="17" y="219"/>
                  </a:lnTo>
                  <a:lnTo>
                    <a:pt x="18" y="215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9" y="214"/>
                  </a:lnTo>
                  <a:lnTo>
                    <a:pt x="19" y="214"/>
                  </a:lnTo>
                  <a:lnTo>
                    <a:pt x="20" y="214"/>
                  </a:lnTo>
                  <a:lnTo>
                    <a:pt x="21" y="214"/>
                  </a:lnTo>
                  <a:lnTo>
                    <a:pt x="24" y="214"/>
                  </a:lnTo>
                  <a:lnTo>
                    <a:pt x="25" y="215"/>
                  </a:lnTo>
                  <a:lnTo>
                    <a:pt x="26" y="215"/>
                  </a:lnTo>
                  <a:lnTo>
                    <a:pt x="27" y="215"/>
                  </a:lnTo>
                  <a:lnTo>
                    <a:pt x="28" y="215"/>
                  </a:lnTo>
                  <a:lnTo>
                    <a:pt x="29" y="214"/>
                  </a:lnTo>
                  <a:lnTo>
                    <a:pt x="29" y="214"/>
                  </a:lnTo>
                  <a:lnTo>
                    <a:pt x="30" y="214"/>
                  </a:lnTo>
                  <a:lnTo>
                    <a:pt x="31" y="214"/>
                  </a:lnTo>
                  <a:lnTo>
                    <a:pt x="32" y="213"/>
                  </a:lnTo>
                  <a:lnTo>
                    <a:pt x="33" y="212"/>
                  </a:lnTo>
                  <a:lnTo>
                    <a:pt x="35" y="211"/>
                  </a:lnTo>
                  <a:lnTo>
                    <a:pt x="38" y="209"/>
                  </a:lnTo>
                  <a:lnTo>
                    <a:pt x="38" y="208"/>
                  </a:lnTo>
                  <a:lnTo>
                    <a:pt x="40" y="208"/>
                  </a:lnTo>
                  <a:lnTo>
                    <a:pt x="41" y="207"/>
                  </a:lnTo>
                  <a:lnTo>
                    <a:pt x="44" y="206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6" y="205"/>
                  </a:lnTo>
                  <a:lnTo>
                    <a:pt x="46" y="204"/>
                  </a:lnTo>
                  <a:lnTo>
                    <a:pt x="47" y="201"/>
                  </a:lnTo>
                  <a:lnTo>
                    <a:pt x="48" y="198"/>
                  </a:lnTo>
                  <a:lnTo>
                    <a:pt x="48" y="197"/>
                  </a:lnTo>
                  <a:lnTo>
                    <a:pt x="49" y="196"/>
                  </a:lnTo>
                  <a:lnTo>
                    <a:pt x="49" y="195"/>
                  </a:lnTo>
                  <a:lnTo>
                    <a:pt x="50" y="194"/>
                  </a:lnTo>
                  <a:lnTo>
                    <a:pt x="51" y="193"/>
                  </a:lnTo>
                  <a:lnTo>
                    <a:pt x="52" y="192"/>
                  </a:lnTo>
                  <a:lnTo>
                    <a:pt x="53" y="191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3" y="189"/>
                  </a:lnTo>
                  <a:lnTo>
                    <a:pt x="53" y="188"/>
                  </a:lnTo>
                  <a:lnTo>
                    <a:pt x="53" y="187"/>
                  </a:lnTo>
                  <a:lnTo>
                    <a:pt x="53" y="186"/>
                  </a:lnTo>
                  <a:lnTo>
                    <a:pt x="52" y="185"/>
                  </a:lnTo>
                  <a:lnTo>
                    <a:pt x="52" y="185"/>
                  </a:lnTo>
                  <a:lnTo>
                    <a:pt x="52" y="184"/>
                  </a:lnTo>
                  <a:lnTo>
                    <a:pt x="50" y="182"/>
                  </a:lnTo>
                  <a:lnTo>
                    <a:pt x="50" y="181"/>
                  </a:lnTo>
                  <a:lnTo>
                    <a:pt x="49" y="179"/>
                  </a:lnTo>
                  <a:lnTo>
                    <a:pt x="48" y="178"/>
                  </a:lnTo>
                  <a:lnTo>
                    <a:pt x="48" y="177"/>
                  </a:lnTo>
                  <a:lnTo>
                    <a:pt x="48" y="176"/>
                  </a:lnTo>
                  <a:lnTo>
                    <a:pt x="48" y="176"/>
                  </a:lnTo>
                  <a:lnTo>
                    <a:pt x="48" y="175"/>
                  </a:lnTo>
                  <a:lnTo>
                    <a:pt x="48" y="174"/>
                  </a:lnTo>
                  <a:lnTo>
                    <a:pt x="49" y="174"/>
                  </a:lnTo>
                  <a:lnTo>
                    <a:pt x="49" y="173"/>
                  </a:lnTo>
                  <a:lnTo>
                    <a:pt x="49" y="172"/>
                  </a:lnTo>
                  <a:lnTo>
                    <a:pt x="50" y="172"/>
                  </a:lnTo>
                  <a:lnTo>
                    <a:pt x="51" y="171"/>
                  </a:lnTo>
                  <a:lnTo>
                    <a:pt x="52" y="169"/>
                  </a:lnTo>
                  <a:lnTo>
                    <a:pt x="53" y="169"/>
                  </a:lnTo>
                  <a:lnTo>
                    <a:pt x="53" y="168"/>
                  </a:lnTo>
                  <a:lnTo>
                    <a:pt x="55" y="168"/>
                  </a:lnTo>
                  <a:lnTo>
                    <a:pt x="55" y="167"/>
                  </a:lnTo>
                  <a:lnTo>
                    <a:pt x="56" y="167"/>
                  </a:lnTo>
                  <a:lnTo>
                    <a:pt x="56" y="167"/>
                  </a:lnTo>
                  <a:lnTo>
                    <a:pt x="56" y="166"/>
                  </a:lnTo>
                  <a:lnTo>
                    <a:pt x="57" y="166"/>
                  </a:lnTo>
                  <a:lnTo>
                    <a:pt x="57" y="165"/>
                  </a:lnTo>
                  <a:lnTo>
                    <a:pt x="57" y="164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2"/>
                  </a:lnTo>
                  <a:lnTo>
                    <a:pt x="55" y="161"/>
                  </a:lnTo>
                  <a:lnTo>
                    <a:pt x="54" y="161"/>
                  </a:lnTo>
                  <a:lnTo>
                    <a:pt x="54" y="160"/>
                  </a:lnTo>
                  <a:lnTo>
                    <a:pt x="53" y="159"/>
                  </a:lnTo>
                  <a:lnTo>
                    <a:pt x="53" y="159"/>
                  </a:lnTo>
                  <a:lnTo>
                    <a:pt x="53" y="158"/>
                  </a:lnTo>
                  <a:lnTo>
                    <a:pt x="52" y="158"/>
                  </a:lnTo>
                  <a:lnTo>
                    <a:pt x="52" y="157"/>
                  </a:lnTo>
                  <a:lnTo>
                    <a:pt x="52" y="156"/>
                  </a:lnTo>
                  <a:lnTo>
                    <a:pt x="52" y="156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2" y="154"/>
                  </a:lnTo>
                  <a:lnTo>
                    <a:pt x="52" y="154"/>
                  </a:lnTo>
                  <a:lnTo>
                    <a:pt x="53" y="154"/>
                  </a:lnTo>
                  <a:lnTo>
                    <a:pt x="53" y="153"/>
                  </a:lnTo>
                  <a:lnTo>
                    <a:pt x="53" y="153"/>
                  </a:lnTo>
                  <a:lnTo>
                    <a:pt x="54" y="153"/>
                  </a:lnTo>
                  <a:lnTo>
                    <a:pt x="56" y="152"/>
                  </a:lnTo>
                  <a:lnTo>
                    <a:pt x="56" y="151"/>
                  </a:lnTo>
                  <a:lnTo>
                    <a:pt x="57" y="151"/>
                  </a:lnTo>
                  <a:lnTo>
                    <a:pt x="57" y="151"/>
                  </a:lnTo>
                  <a:lnTo>
                    <a:pt x="57" y="150"/>
                  </a:lnTo>
                  <a:lnTo>
                    <a:pt x="58" y="150"/>
                  </a:lnTo>
                  <a:lnTo>
                    <a:pt x="58" y="149"/>
                  </a:lnTo>
                  <a:lnTo>
                    <a:pt x="58" y="149"/>
                  </a:lnTo>
                  <a:lnTo>
                    <a:pt x="59" y="148"/>
                  </a:lnTo>
                  <a:lnTo>
                    <a:pt x="59" y="147"/>
                  </a:lnTo>
                  <a:lnTo>
                    <a:pt x="59" y="147"/>
                  </a:lnTo>
                  <a:lnTo>
                    <a:pt x="59" y="146"/>
                  </a:lnTo>
                  <a:lnTo>
                    <a:pt x="58" y="145"/>
                  </a:lnTo>
                  <a:lnTo>
                    <a:pt x="58" y="144"/>
                  </a:lnTo>
                  <a:lnTo>
                    <a:pt x="58" y="143"/>
                  </a:lnTo>
                  <a:lnTo>
                    <a:pt x="58" y="142"/>
                  </a:lnTo>
                  <a:lnTo>
                    <a:pt x="59" y="141"/>
                  </a:lnTo>
                  <a:lnTo>
                    <a:pt x="59" y="140"/>
                  </a:lnTo>
                  <a:lnTo>
                    <a:pt x="59" y="139"/>
                  </a:lnTo>
                  <a:lnTo>
                    <a:pt x="59" y="139"/>
                  </a:lnTo>
                  <a:lnTo>
                    <a:pt x="60" y="138"/>
                  </a:lnTo>
                  <a:lnTo>
                    <a:pt x="62" y="136"/>
                  </a:lnTo>
                  <a:lnTo>
                    <a:pt x="62" y="135"/>
                  </a:lnTo>
                  <a:lnTo>
                    <a:pt x="64" y="135"/>
                  </a:lnTo>
                  <a:lnTo>
                    <a:pt x="66" y="133"/>
                  </a:lnTo>
                  <a:lnTo>
                    <a:pt x="69" y="131"/>
                  </a:lnTo>
                  <a:lnTo>
                    <a:pt x="69" y="130"/>
                  </a:lnTo>
                  <a:lnTo>
                    <a:pt x="70" y="130"/>
                  </a:lnTo>
                  <a:lnTo>
                    <a:pt x="70" y="129"/>
                  </a:lnTo>
                  <a:lnTo>
                    <a:pt x="71" y="128"/>
                  </a:lnTo>
                  <a:lnTo>
                    <a:pt x="71" y="126"/>
                  </a:lnTo>
                  <a:lnTo>
                    <a:pt x="72" y="124"/>
                  </a:lnTo>
                  <a:lnTo>
                    <a:pt x="73" y="122"/>
                  </a:lnTo>
                  <a:lnTo>
                    <a:pt x="74" y="121"/>
                  </a:lnTo>
                  <a:lnTo>
                    <a:pt x="75" y="119"/>
                  </a:lnTo>
                  <a:lnTo>
                    <a:pt x="76" y="118"/>
                  </a:lnTo>
                  <a:lnTo>
                    <a:pt x="76" y="117"/>
                  </a:lnTo>
                  <a:lnTo>
                    <a:pt x="76" y="116"/>
                  </a:lnTo>
                  <a:lnTo>
                    <a:pt x="77" y="114"/>
                  </a:lnTo>
                  <a:lnTo>
                    <a:pt x="77" y="113"/>
                  </a:lnTo>
                  <a:lnTo>
                    <a:pt x="77" y="112"/>
                  </a:lnTo>
                  <a:lnTo>
                    <a:pt x="77" y="111"/>
                  </a:lnTo>
                  <a:lnTo>
                    <a:pt x="77" y="110"/>
                  </a:lnTo>
                  <a:lnTo>
                    <a:pt x="76" y="110"/>
                  </a:lnTo>
                  <a:lnTo>
                    <a:pt x="76" y="109"/>
                  </a:lnTo>
                  <a:lnTo>
                    <a:pt x="74" y="107"/>
                  </a:lnTo>
                  <a:lnTo>
                    <a:pt x="74" y="106"/>
                  </a:lnTo>
                  <a:lnTo>
                    <a:pt x="73" y="105"/>
                  </a:lnTo>
                  <a:lnTo>
                    <a:pt x="71" y="102"/>
                  </a:lnTo>
                  <a:lnTo>
                    <a:pt x="71" y="101"/>
                  </a:lnTo>
                  <a:lnTo>
                    <a:pt x="71" y="99"/>
                  </a:lnTo>
                  <a:lnTo>
                    <a:pt x="70" y="98"/>
                  </a:lnTo>
                  <a:lnTo>
                    <a:pt x="70" y="96"/>
                  </a:lnTo>
                  <a:lnTo>
                    <a:pt x="70" y="95"/>
                  </a:lnTo>
                  <a:lnTo>
                    <a:pt x="70" y="93"/>
                  </a:lnTo>
                  <a:lnTo>
                    <a:pt x="71" y="90"/>
                  </a:lnTo>
                  <a:lnTo>
                    <a:pt x="71" y="89"/>
                  </a:lnTo>
                  <a:lnTo>
                    <a:pt x="71" y="88"/>
                  </a:lnTo>
                  <a:lnTo>
                    <a:pt x="72" y="87"/>
                  </a:lnTo>
                  <a:lnTo>
                    <a:pt x="72" y="86"/>
                  </a:lnTo>
                  <a:lnTo>
                    <a:pt x="73" y="84"/>
                  </a:lnTo>
                  <a:lnTo>
                    <a:pt x="75" y="81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5" y="79"/>
                  </a:lnTo>
                  <a:lnTo>
                    <a:pt x="75" y="78"/>
                  </a:lnTo>
                  <a:lnTo>
                    <a:pt x="75" y="77"/>
                  </a:lnTo>
                  <a:lnTo>
                    <a:pt x="74" y="75"/>
                  </a:lnTo>
                  <a:lnTo>
                    <a:pt x="73" y="73"/>
                  </a:lnTo>
                  <a:lnTo>
                    <a:pt x="72" y="72"/>
                  </a:lnTo>
                  <a:lnTo>
                    <a:pt x="72" y="71"/>
                  </a:lnTo>
                  <a:lnTo>
                    <a:pt x="71" y="68"/>
                  </a:lnTo>
                  <a:lnTo>
                    <a:pt x="71" y="67"/>
                  </a:lnTo>
                  <a:lnTo>
                    <a:pt x="71" y="63"/>
                  </a:lnTo>
                  <a:lnTo>
                    <a:pt x="71" y="62"/>
                  </a:lnTo>
                  <a:lnTo>
                    <a:pt x="71" y="61"/>
                  </a:lnTo>
                  <a:lnTo>
                    <a:pt x="71" y="59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69" y="57"/>
                  </a:lnTo>
                  <a:lnTo>
                    <a:pt x="68" y="56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4"/>
                  </a:lnTo>
                  <a:lnTo>
                    <a:pt x="68" y="54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68" y="52"/>
                  </a:lnTo>
                  <a:lnTo>
                    <a:pt x="69" y="47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70" y="45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4" y="44"/>
                  </a:lnTo>
                  <a:lnTo>
                    <a:pt x="76" y="44"/>
                  </a:lnTo>
                  <a:lnTo>
                    <a:pt x="77" y="44"/>
                  </a:lnTo>
                  <a:lnTo>
                    <a:pt x="80" y="43"/>
                  </a:lnTo>
                  <a:lnTo>
                    <a:pt x="83" y="42"/>
                  </a:lnTo>
                  <a:lnTo>
                    <a:pt x="85" y="41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90" y="40"/>
                  </a:lnTo>
                  <a:lnTo>
                    <a:pt x="90" y="41"/>
                  </a:lnTo>
                  <a:lnTo>
                    <a:pt x="92" y="43"/>
                  </a:lnTo>
                  <a:lnTo>
                    <a:pt x="93" y="43"/>
                  </a:lnTo>
                  <a:lnTo>
                    <a:pt x="93" y="43"/>
                  </a:lnTo>
                  <a:lnTo>
                    <a:pt x="94" y="43"/>
                  </a:lnTo>
                  <a:lnTo>
                    <a:pt x="95" y="44"/>
                  </a:lnTo>
                  <a:lnTo>
                    <a:pt x="95" y="44"/>
                  </a:lnTo>
                  <a:lnTo>
                    <a:pt x="96" y="44"/>
                  </a:lnTo>
                  <a:lnTo>
                    <a:pt x="96" y="43"/>
                  </a:lnTo>
                  <a:lnTo>
                    <a:pt x="97" y="43"/>
                  </a:lnTo>
                  <a:lnTo>
                    <a:pt x="98" y="43"/>
                  </a:lnTo>
                  <a:lnTo>
                    <a:pt x="100" y="41"/>
                  </a:lnTo>
                  <a:lnTo>
                    <a:pt x="101" y="41"/>
                  </a:lnTo>
                  <a:lnTo>
                    <a:pt x="102" y="41"/>
                  </a:lnTo>
                  <a:lnTo>
                    <a:pt x="103" y="41"/>
                  </a:lnTo>
                  <a:lnTo>
                    <a:pt x="104" y="41"/>
                  </a:lnTo>
                  <a:lnTo>
                    <a:pt x="104" y="41"/>
                  </a:lnTo>
                  <a:lnTo>
                    <a:pt x="105" y="41"/>
                  </a:lnTo>
                  <a:lnTo>
                    <a:pt x="105" y="42"/>
                  </a:lnTo>
                  <a:lnTo>
                    <a:pt x="108" y="43"/>
                  </a:lnTo>
                  <a:lnTo>
                    <a:pt x="108" y="44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1" y="45"/>
                  </a:lnTo>
                  <a:lnTo>
                    <a:pt x="111" y="46"/>
                  </a:lnTo>
                  <a:lnTo>
                    <a:pt x="112" y="46"/>
                  </a:lnTo>
                  <a:lnTo>
                    <a:pt x="112" y="47"/>
                  </a:lnTo>
                  <a:lnTo>
                    <a:pt x="113" y="47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6" y="48"/>
                  </a:lnTo>
                  <a:lnTo>
                    <a:pt x="117" y="49"/>
                  </a:lnTo>
                  <a:lnTo>
                    <a:pt x="118" y="49"/>
                  </a:lnTo>
                  <a:lnTo>
                    <a:pt x="119" y="49"/>
                  </a:lnTo>
                  <a:lnTo>
                    <a:pt x="120" y="49"/>
                  </a:lnTo>
                  <a:lnTo>
                    <a:pt x="121" y="49"/>
                  </a:lnTo>
                  <a:lnTo>
                    <a:pt x="122" y="48"/>
                  </a:lnTo>
                  <a:lnTo>
                    <a:pt x="123" y="48"/>
                  </a:lnTo>
                  <a:lnTo>
                    <a:pt x="123" y="47"/>
                  </a:lnTo>
                  <a:lnTo>
                    <a:pt x="125" y="46"/>
                  </a:lnTo>
                  <a:lnTo>
                    <a:pt x="126" y="46"/>
                  </a:lnTo>
                  <a:lnTo>
                    <a:pt x="127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32" y="44"/>
                  </a:lnTo>
                  <a:lnTo>
                    <a:pt x="133" y="44"/>
                  </a:lnTo>
                  <a:lnTo>
                    <a:pt x="134" y="44"/>
                  </a:lnTo>
                  <a:lnTo>
                    <a:pt x="134" y="44"/>
                  </a:lnTo>
                  <a:lnTo>
                    <a:pt x="135" y="43"/>
                  </a:lnTo>
                  <a:lnTo>
                    <a:pt x="136" y="43"/>
                  </a:lnTo>
                  <a:lnTo>
                    <a:pt x="138" y="41"/>
                  </a:lnTo>
                  <a:lnTo>
                    <a:pt x="139" y="41"/>
                  </a:lnTo>
                  <a:lnTo>
                    <a:pt x="139" y="41"/>
                  </a:lnTo>
                  <a:lnTo>
                    <a:pt x="141" y="40"/>
                  </a:lnTo>
                  <a:lnTo>
                    <a:pt x="141" y="40"/>
                  </a:lnTo>
                  <a:lnTo>
                    <a:pt x="142" y="40"/>
                  </a:lnTo>
                  <a:lnTo>
                    <a:pt x="142" y="39"/>
                  </a:lnTo>
                  <a:lnTo>
                    <a:pt x="143" y="39"/>
                  </a:lnTo>
                  <a:lnTo>
                    <a:pt x="143" y="38"/>
                  </a:lnTo>
                  <a:lnTo>
                    <a:pt x="144" y="37"/>
                  </a:lnTo>
                  <a:lnTo>
                    <a:pt x="144" y="36"/>
                  </a:lnTo>
                  <a:lnTo>
                    <a:pt x="145" y="35"/>
                  </a:lnTo>
                  <a:lnTo>
                    <a:pt x="146" y="33"/>
                  </a:lnTo>
                  <a:lnTo>
                    <a:pt x="147" y="31"/>
                  </a:lnTo>
                  <a:lnTo>
                    <a:pt x="147" y="30"/>
                  </a:lnTo>
                  <a:lnTo>
                    <a:pt x="147" y="30"/>
                  </a:lnTo>
                  <a:lnTo>
                    <a:pt x="148" y="29"/>
                  </a:lnTo>
                  <a:lnTo>
                    <a:pt x="148" y="29"/>
                  </a:lnTo>
                  <a:lnTo>
                    <a:pt x="149" y="28"/>
                  </a:lnTo>
                  <a:lnTo>
                    <a:pt x="150" y="28"/>
                  </a:lnTo>
                  <a:lnTo>
                    <a:pt x="153" y="26"/>
                  </a:lnTo>
                  <a:lnTo>
                    <a:pt x="156" y="25"/>
                  </a:lnTo>
                  <a:lnTo>
                    <a:pt x="157" y="24"/>
                  </a:lnTo>
                  <a:lnTo>
                    <a:pt x="158" y="24"/>
                  </a:lnTo>
                  <a:lnTo>
                    <a:pt x="160" y="23"/>
                  </a:lnTo>
                  <a:lnTo>
                    <a:pt x="162" y="23"/>
                  </a:lnTo>
                  <a:lnTo>
                    <a:pt x="162" y="23"/>
                  </a:lnTo>
                  <a:close/>
                </a:path>
              </a:pathLst>
            </a:custGeom>
            <a:solidFill>
              <a:srgbClr val="E6A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Freeform 47">
              <a:extLst>
                <a:ext uri="{FF2B5EF4-FFF2-40B4-BE49-F238E27FC236}">
                  <a16:creationId xmlns:a16="http://schemas.microsoft.com/office/drawing/2014/main" id="{14C94EAA-88AD-D5CB-1403-69C1DDF9F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0" y="3533"/>
              <a:ext cx="462" cy="417"/>
            </a:xfrm>
            <a:custGeom>
              <a:avLst/>
              <a:gdLst>
                <a:gd name="T0" fmla="*/ 4 w 462"/>
                <a:gd name="T1" fmla="*/ 37 h 417"/>
                <a:gd name="T2" fmla="*/ 26 w 462"/>
                <a:gd name="T3" fmla="*/ 36 h 417"/>
                <a:gd name="T4" fmla="*/ 49 w 462"/>
                <a:gd name="T5" fmla="*/ 26 h 417"/>
                <a:gd name="T6" fmla="*/ 68 w 462"/>
                <a:gd name="T7" fmla="*/ 26 h 417"/>
                <a:gd name="T8" fmla="*/ 80 w 462"/>
                <a:gd name="T9" fmla="*/ 37 h 417"/>
                <a:gd name="T10" fmla="*/ 96 w 462"/>
                <a:gd name="T11" fmla="*/ 35 h 417"/>
                <a:gd name="T12" fmla="*/ 103 w 462"/>
                <a:gd name="T13" fmla="*/ 28 h 417"/>
                <a:gd name="T14" fmla="*/ 121 w 462"/>
                <a:gd name="T15" fmla="*/ 36 h 417"/>
                <a:gd name="T16" fmla="*/ 137 w 462"/>
                <a:gd name="T17" fmla="*/ 36 h 417"/>
                <a:gd name="T18" fmla="*/ 157 w 462"/>
                <a:gd name="T19" fmla="*/ 36 h 417"/>
                <a:gd name="T20" fmla="*/ 167 w 462"/>
                <a:gd name="T21" fmla="*/ 45 h 417"/>
                <a:gd name="T22" fmla="*/ 180 w 462"/>
                <a:gd name="T23" fmla="*/ 43 h 417"/>
                <a:gd name="T24" fmla="*/ 201 w 462"/>
                <a:gd name="T25" fmla="*/ 29 h 417"/>
                <a:gd name="T26" fmla="*/ 201 w 462"/>
                <a:gd name="T27" fmla="*/ 10 h 417"/>
                <a:gd name="T28" fmla="*/ 213 w 462"/>
                <a:gd name="T29" fmla="*/ 1 h 417"/>
                <a:gd name="T30" fmla="*/ 235 w 462"/>
                <a:gd name="T31" fmla="*/ 15 h 417"/>
                <a:gd name="T32" fmla="*/ 245 w 462"/>
                <a:gd name="T33" fmla="*/ 18 h 417"/>
                <a:gd name="T34" fmla="*/ 259 w 462"/>
                <a:gd name="T35" fmla="*/ 31 h 417"/>
                <a:gd name="T36" fmla="*/ 260 w 462"/>
                <a:gd name="T37" fmla="*/ 42 h 417"/>
                <a:gd name="T38" fmla="*/ 258 w 462"/>
                <a:gd name="T39" fmla="*/ 53 h 417"/>
                <a:gd name="T40" fmla="*/ 257 w 462"/>
                <a:gd name="T41" fmla="*/ 77 h 417"/>
                <a:gd name="T42" fmla="*/ 250 w 462"/>
                <a:gd name="T43" fmla="*/ 103 h 417"/>
                <a:gd name="T44" fmla="*/ 259 w 462"/>
                <a:gd name="T45" fmla="*/ 119 h 417"/>
                <a:gd name="T46" fmla="*/ 255 w 462"/>
                <a:gd name="T47" fmla="*/ 132 h 417"/>
                <a:gd name="T48" fmla="*/ 277 w 462"/>
                <a:gd name="T49" fmla="*/ 155 h 417"/>
                <a:gd name="T50" fmla="*/ 296 w 462"/>
                <a:gd name="T51" fmla="*/ 154 h 417"/>
                <a:gd name="T52" fmla="*/ 311 w 462"/>
                <a:gd name="T53" fmla="*/ 164 h 417"/>
                <a:gd name="T54" fmla="*/ 311 w 462"/>
                <a:gd name="T55" fmla="*/ 171 h 417"/>
                <a:gd name="T56" fmla="*/ 327 w 462"/>
                <a:gd name="T57" fmla="*/ 181 h 417"/>
                <a:gd name="T58" fmla="*/ 348 w 462"/>
                <a:gd name="T59" fmla="*/ 180 h 417"/>
                <a:gd name="T60" fmla="*/ 371 w 462"/>
                <a:gd name="T61" fmla="*/ 185 h 417"/>
                <a:gd name="T62" fmla="*/ 386 w 462"/>
                <a:gd name="T63" fmla="*/ 192 h 417"/>
                <a:gd name="T64" fmla="*/ 391 w 462"/>
                <a:gd name="T65" fmla="*/ 214 h 417"/>
                <a:gd name="T66" fmla="*/ 415 w 462"/>
                <a:gd name="T67" fmla="*/ 225 h 417"/>
                <a:gd name="T68" fmla="*/ 440 w 462"/>
                <a:gd name="T69" fmla="*/ 225 h 417"/>
                <a:gd name="T70" fmla="*/ 452 w 462"/>
                <a:gd name="T71" fmla="*/ 226 h 417"/>
                <a:gd name="T72" fmla="*/ 459 w 462"/>
                <a:gd name="T73" fmla="*/ 237 h 417"/>
                <a:gd name="T74" fmla="*/ 456 w 462"/>
                <a:gd name="T75" fmla="*/ 250 h 417"/>
                <a:gd name="T76" fmla="*/ 446 w 462"/>
                <a:gd name="T77" fmla="*/ 264 h 417"/>
                <a:gd name="T78" fmla="*/ 432 w 462"/>
                <a:gd name="T79" fmla="*/ 284 h 417"/>
                <a:gd name="T80" fmla="*/ 441 w 462"/>
                <a:gd name="T81" fmla="*/ 289 h 417"/>
                <a:gd name="T82" fmla="*/ 458 w 462"/>
                <a:gd name="T83" fmla="*/ 303 h 417"/>
                <a:gd name="T84" fmla="*/ 455 w 462"/>
                <a:gd name="T85" fmla="*/ 313 h 417"/>
                <a:gd name="T86" fmla="*/ 449 w 462"/>
                <a:gd name="T87" fmla="*/ 320 h 417"/>
                <a:gd name="T88" fmla="*/ 431 w 462"/>
                <a:gd name="T89" fmla="*/ 312 h 417"/>
                <a:gd name="T90" fmla="*/ 407 w 462"/>
                <a:gd name="T91" fmla="*/ 302 h 417"/>
                <a:gd name="T92" fmla="*/ 375 w 462"/>
                <a:gd name="T93" fmla="*/ 292 h 417"/>
                <a:gd name="T94" fmla="*/ 364 w 462"/>
                <a:gd name="T95" fmla="*/ 298 h 417"/>
                <a:gd name="T96" fmla="*/ 341 w 462"/>
                <a:gd name="T97" fmla="*/ 308 h 417"/>
                <a:gd name="T98" fmla="*/ 331 w 462"/>
                <a:gd name="T99" fmla="*/ 306 h 417"/>
                <a:gd name="T100" fmla="*/ 323 w 462"/>
                <a:gd name="T101" fmla="*/ 286 h 417"/>
                <a:gd name="T102" fmla="*/ 300 w 462"/>
                <a:gd name="T103" fmla="*/ 280 h 417"/>
                <a:gd name="T104" fmla="*/ 282 w 462"/>
                <a:gd name="T105" fmla="*/ 279 h 417"/>
                <a:gd name="T106" fmla="*/ 275 w 462"/>
                <a:gd name="T107" fmla="*/ 298 h 417"/>
                <a:gd name="T108" fmla="*/ 276 w 462"/>
                <a:gd name="T109" fmla="*/ 340 h 417"/>
                <a:gd name="T110" fmla="*/ 270 w 462"/>
                <a:gd name="T111" fmla="*/ 370 h 417"/>
                <a:gd name="T112" fmla="*/ 273 w 462"/>
                <a:gd name="T113" fmla="*/ 390 h 417"/>
                <a:gd name="T114" fmla="*/ 247 w 462"/>
                <a:gd name="T115" fmla="*/ 389 h 417"/>
                <a:gd name="T116" fmla="*/ 225 w 462"/>
                <a:gd name="T117" fmla="*/ 388 h 417"/>
                <a:gd name="T118" fmla="*/ 215 w 462"/>
                <a:gd name="T119" fmla="*/ 414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62" h="417">
                  <a:moveTo>
                    <a:pt x="0" y="23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5"/>
                  </a:lnTo>
                  <a:lnTo>
                    <a:pt x="1" y="29"/>
                  </a:lnTo>
                  <a:lnTo>
                    <a:pt x="1" y="31"/>
                  </a:lnTo>
                  <a:lnTo>
                    <a:pt x="1" y="32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4" y="37"/>
                  </a:lnTo>
                  <a:lnTo>
                    <a:pt x="5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8" y="38"/>
                  </a:lnTo>
                  <a:lnTo>
                    <a:pt x="9" y="37"/>
                  </a:lnTo>
                  <a:lnTo>
                    <a:pt x="10" y="37"/>
                  </a:lnTo>
                  <a:lnTo>
                    <a:pt x="11" y="37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4" y="37"/>
                  </a:lnTo>
                  <a:lnTo>
                    <a:pt x="16" y="37"/>
                  </a:lnTo>
                  <a:lnTo>
                    <a:pt x="17" y="37"/>
                  </a:lnTo>
                  <a:lnTo>
                    <a:pt x="19" y="36"/>
                  </a:lnTo>
                  <a:lnTo>
                    <a:pt x="20" y="36"/>
                  </a:lnTo>
                  <a:lnTo>
                    <a:pt x="21" y="36"/>
                  </a:lnTo>
                  <a:lnTo>
                    <a:pt x="25" y="36"/>
                  </a:lnTo>
                  <a:lnTo>
                    <a:pt x="26" y="36"/>
                  </a:lnTo>
                  <a:lnTo>
                    <a:pt x="34" y="36"/>
                  </a:lnTo>
                  <a:lnTo>
                    <a:pt x="37" y="35"/>
                  </a:lnTo>
                  <a:lnTo>
                    <a:pt x="39" y="35"/>
                  </a:lnTo>
                  <a:lnTo>
                    <a:pt x="40" y="35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5" y="34"/>
                  </a:lnTo>
                  <a:lnTo>
                    <a:pt x="45" y="32"/>
                  </a:lnTo>
                  <a:lnTo>
                    <a:pt x="46" y="31"/>
                  </a:lnTo>
                  <a:lnTo>
                    <a:pt x="47" y="30"/>
                  </a:lnTo>
                  <a:lnTo>
                    <a:pt x="48" y="28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50" y="25"/>
                  </a:lnTo>
                  <a:lnTo>
                    <a:pt x="50" y="24"/>
                  </a:lnTo>
                  <a:lnTo>
                    <a:pt x="51" y="24"/>
                  </a:lnTo>
                  <a:lnTo>
                    <a:pt x="52" y="24"/>
                  </a:lnTo>
                  <a:lnTo>
                    <a:pt x="55" y="23"/>
                  </a:lnTo>
                  <a:lnTo>
                    <a:pt x="57" y="22"/>
                  </a:lnTo>
                  <a:lnTo>
                    <a:pt x="58" y="22"/>
                  </a:lnTo>
                  <a:lnTo>
                    <a:pt x="59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1" y="22"/>
                  </a:lnTo>
                  <a:lnTo>
                    <a:pt x="63" y="23"/>
                  </a:lnTo>
                  <a:lnTo>
                    <a:pt x="64" y="23"/>
                  </a:lnTo>
                  <a:lnTo>
                    <a:pt x="65" y="24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8" y="26"/>
                  </a:lnTo>
                  <a:lnTo>
                    <a:pt x="69" y="28"/>
                  </a:lnTo>
                  <a:lnTo>
                    <a:pt x="69" y="28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3" y="30"/>
                  </a:lnTo>
                  <a:lnTo>
                    <a:pt x="74" y="31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7" y="33"/>
                  </a:lnTo>
                  <a:lnTo>
                    <a:pt x="78" y="33"/>
                  </a:lnTo>
                  <a:lnTo>
                    <a:pt x="79" y="34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80" y="37"/>
                  </a:lnTo>
                  <a:lnTo>
                    <a:pt x="80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2" y="39"/>
                  </a:lnTo>
                  <a:lnTo>
                    <a:pt x="83" y="39"/>
                  </a:lnTo>
                  <a:lnTo>
                    <a:pt x="85" y="39"/>
                  </a:lnTo>
                  <a:lnTo>
                    <a:pt x="86" y="39"/>
                  </a:lnTo>
                  <a:lnTo>
                    <a:pt x="87" y="39"/>
                  </a:lnTo>
                  <a:lnTo>
                    <a:pt x="88" y="39"/>
                  </a:lnTo>
                  <a:lnTo>
                    <a:pt x="90" y="39"/>
                  </a:lnTo>
                  <a:lnTo>
                    <a:pt x="90" y="38"/>
                  </a:lnTo>
                  <a:lnTo>
                    <a:pt x="91" y="38"/>
                  </a:lnTo>
                  <a:lnTo>
                    <a:pt x="91" y="38"/>
                  </a:lnTo>
                  <a:lnTo>
                    <a:pt x="94" y="36"/>
                  </a:lnTo>
                  <a:lnTo>
                    <a:pt x="95" y="35"/>
                  </a:lnTo>
                  <a:lnTo>
                    <a:pt x="96" y="35"/>
                  </a:lnTo>
                  <a:lnTo>
                    <a:pt x="97" y="34"/>
                  </a:lnTo>
                  <a:lnTo>
                    <a:pt x="98" y="34"/>
                  </a:lnTo>
                  <a:lnTo>
                    <a:pt x="99" y="34"/>
                  </a:lnTo>
                  <a:lnTo>
                    <a:pt x="100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3"/>
                  </a:lnTo>
                  <a:lnTo>
                    <a:pt x="103" y="33"/>
                  </a:lnTo>
                  <a:lnTo>
                    <a:pt x="103" y="32"/>
                  </a:lnTo>
                  <a:lnTo>
                    <a:pt x="103" y="30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5" y="28"/>
                  </a:lnTo>
                  <a:lnTo>
                    <a:pt x="106" y="28"/>
                  </a:lnTo>
                  <a:lnTo>
                    <a:pt x="108" y="30"/>
                  </a:lnTo>
                  <a:lnTo>
                    <a:pt x="109" y="30"/>
                  </a:lnTo>
                  <a:lnTo>
                    <a:pt x="110" y="31"/>
                  </a:lnTo>
                  <a:lnTo>
                    <a:pt x="112" y="31"/>
                  </a:lnTo>
                  <a:lnTo>
                    <a:pt x="113" y="32"/>
                  </a:lnTo>
                  <a:lnTo>
                    <a:pt x="114" y="32"/>
                  </a:lnTo>
                  <a:lnTo>
                    <a:pt x="117" y="35"/>
                  </a:lnTo>
                  <a:lnTo>
                    <a:pt x="118" y="35"/>
                  </a:lnTo>
                  <a:lnTo>
                    <a:pt x="119" y="36"/>
                  </a:lnTo>
                  <a:lnTo>
                    <a:pt x="120" y="36"/>
                  </a:lnTo>
                  <a:lnTo>
                    <a:pt x="120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2" y="36"/>
                  </a:lnTo>
                  <a:lnTo>
                    <a:pt x="123" y="35"/>
                  </a:lnTo>
                  <a:lnTo>
                    <a:pt x="124" y="34"/>
                  </a:lnTo>
                  <a:lnTo>
                    <a:pt x="125" y="34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7" y="33"/>
                  </a:lnTo>
                  <a:lnTo>
                    <a:pt x="128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2" y="34"/>
                  </a:lnTo>
                  <a:lnTo>
                    <a:pt x="133" y="34"/>
                  </a:lnTo>
                  <a:lnTo>
                    <a:pt x="133" y="34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7" y="36"/>
                  </a:lnTo>
                  <a:lnTo>
                    <a:pt x="138" y="36"/>
                  </a:lnTo>
                  <a:lnTo>
                    <a:pt x="140" y="36"/>
                  </a:lnTo>
                  <a:lnTo>
                    <a:pt x="144" y="37"/>
                  </a:lnTo>
                  <a:lnTo>
                    <a:pt x="145" y="37"/>
                  </a:lnTo>
                  <a:lnTo>
                    <a:pt x="147" y="37"/>
                  </a:lnTo>
                  <a:lnTo>
                    <a:pt x="148" y="37"/>
                  </a:lnTo>
                  <a:lnTo>
                    <a:pt x="149" y="37"/>
                  </a:lnTo>
                  <a:lnTo>
                    <a:pt x="151" y="36"/>
                  </a:lnTo>
                  <a:lnTo>
                    <a:pt x="152" y="36"/>
                  </a:lnTo>
                  <a:lnTo>
                    <a:pt x="154" y="36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7" y="35"/>
                  </a:lnTo>
                  <a:lnTo>
                    <a:pt x="157" y="36"/>
                  </a:lnTo>
                  <a:lnTo>
                    <a:pt x="157" y="36"/>
                  </a:lnTo>
                  <a:lnTo>
                    <a:pt x="157" y="37"/>
                  </a:lnTo>
                  <a:lnTo>
                    <a:pt x="156" y="40"/>
                  </a:lnTo>
                  <a:lnTo>
                    <a:pt x="156" y="40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7" y="42"/>
                  </a:lnTo>
                  <a:lnTo>
                    <a:pt x="157" y="42"/>
                  </a:lnTo>
                  <a:lnTo>
                    <a:pt x="158" y="42"/>
                  </a:lnTo>
                  <a:lnTo>
                    <a:pt x="158" y="43"/>
                  </a:lnTo>
                  <a:lnTo>
                    <a:pt x="159" y="43"/>
                  </a:lnTo>
                  <a:lnTo>
                    <a:pt x="159" y="43"/>
                  </a:lnTo>
                  <a:lnTo>
                    <a:pt x="161" y="43"/>
                  </a:lnTo>
                  <a:lnTo>
                    <a:pt x="163" y="44"/>
                  </a:lnTo>
                  <a:lnTo>
                    <a:pt x="164" y="44"/>
                  </a:lnTo>
                  <a:lnTo>
                    <a:pt x="166" y="44"/>
                  </a:lnTo>
                  <a:lnTo>
                    <a:pt x="167" y="45"/>
                  </a:lnTo>
                  <a:lnTo>
                    <a:pt x="169" y="45"/>
                  </a:lnTo>
                  <a:lnTo>
                    <a:pt x="170" y="46"/>
                  </a:lnTo>
                  <a:lnTo>
                    <a:pt x="171" y="46"/>
                  </a:lnTo>
                  <a:lnTo>
                    <a:pt x="173" y="48"/>
                  </a:lnTo>
                  <a:lnTo>
                    <a:pt x="173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6" y="48"/>
                  </a:lnTo>
                  <a:lnTo>
                    <a:pt x="176" y="47"/>
                  </a:lnTo>
                  <a:lnTo>
                    <a:pt x="177" y="47"/>
                  </a:lnTo>
                  <a:lnTo>
                    <a:pt x="178" y="45"/>
                  </a:lnTo>
                  <a:lnTo>
                    <a:pt x="179" y="44"/>
                  </a:lnTo>
                  <a:lnTo>
                    <a:pt x="180" y="43"/>
                  </a:lnTo>
                  <a:lnTo>
                    <a:pt x="181" y="41"/>
                  </a:lnTo>
                  <a:lnTo>
                    <a:pt x="182" y="40"/>
                  </a:lnTo>
                  <a:lnTo>
                    <a:pt x="185" y="38"/>
                  </a:lnTo>
                  <a:lnTo>
                    <a:pt x="187" y="36"/>
                  </a:lnTo>
                  <a:lnTo>
                    <a:pt x="189" y="35"/>
                  </a:lnTo>
                  <a:lnTo>
                    <a:pt x="190" y="34"/>
                  </a:lnTo>
                  <a:lnTo>
                    <a:pt x="191" y="34"/>
                  </a:lnTo>
                  <a:lnTo>
                    <a:pt x="192" y="34"/>
                  </a:lnTo>
                  <a:lnTo>
                    <a:pt x="195" y="33"/>
                  </a:lnTo>
                  <a:lnTo>
                    <a:pt x="196" y="32"/>
                  </a:lnTo>
                  <a:lnTo>
                    <a:pt x="197" y="32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1" y="29"/>
                  </a:lnTo>
                  <a:lnTo>
                    <a:pt x="201" y="28"/>
                  </a:lnTo>
                  <a:lnTo>
                    <a:pt x="201" y="28"/>
                  </a:lnTo>
                  <a:lnTo>
                    <a:pt x="201" y="27"/>
                  </a:lnTo>
                  <a:lnTo>
                    <a:pt x="200" y="25"/>
                  </a:lnTo>
                  <a:lnTo>
                    <a:pt x="200" y="23"/>
                  </a:lnTo>
                  <a:lnTo>
                    <a:pt x="199" y="21"/>
                  </a:lnTo>
                  <a:lnTo>
                    <a:pt x="199" y="20"/>
                  </a:lnTo>
                  <a:lnTo>
                    <a:pt x="199" y="20"/>
                  </a:lnTo>
                  <a:lnTo>
                    <a:pt x="199" y="18"/>
                  </a:lnTo>
                  <a:lnTo>
                    <a:pt x="199" y="17"/>
                  </a:lnTo>
                  <a:lnTo>
                    <a:pt x="200" y="15"/>
                  </a:lnTo>
                  <a:lnTo>
                    <a:pt x="200" y="14"/>
                  </a:lnTo>
                  <a:lnTo>
                    <a:pt x="200" y="13"/>
                  </a:lnTo>
                  <a:lnTo>
                    <a:pt x="200" y="11"/>
                  </a:lnTo>
                  <a:lnTo>
                    <a:pt x="200" y="11"/>
                  </a:lnTo>
                  <a:lnTo>
                    <a:pt x="200" y="10"/>
                  </a:lnTo>
                  <a:lnTo>
                    <a:pt x="201" y="10"/>
                  </a:lnTo>
                  <a:lnTo>
                    <a:pt x="201" y="9"/>
                  </a:lnTo>
                  <a:lnTo>
                    <a:pt x="202" y="9"/>
                  </a:lnTo>
                  <a:lnTo>
                    <a:pt x="203" y="8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4" y="5"/>
                  </a:lnTo>
                  <a:lnTo>
                    <a:pt x="205" y="5"/>
                  </a:lnTo>
                  <a:lnTo>
                    <a:pt x="205" y="4"/>
                  </a:lnTo>
                  <a:lnTo>
                    <a:pt x="206" y="3"/>
                  </a:lnTo>
                  <a:lnTo>
                    <a:pt x="208" y="2"/>
                  </a:lnTo>
                  <a:lnTo>
                    <a:pt x="210" y="1"/>
                  </a:lnTo>
                  <a:lnTo>
                    <a:pt x="210" y="1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2" y="0"/>
                  </a:lnTo>
                  <a:lnTo>
                    <a:pt x="213" y="1"/>
                  </a:lnTo>
                  <a:lnTo>
                    <a:pt x="214" y="1"/>
                  </a:lnTo>
                  <a:lnTo>
                    <a:pt x="216" y="3"/>
                  </a:lnTo>
                  <a:lnTo>
                    <a:pt x="217" y="3"/>
                  </a:lnTo>
                  <a:lnTo>
                    <a:pt x="218" y="4"/>
                  </a:lnTo>
                  <a:lnTo>
                    <a:pt x="222" y="6"/>
                  </a:lnTo>
                  <a:lnTo>
                    <a:pt x="223" y="7"/>
                  </a:lnTo>
                  <a:lnTo>
                    <a:pt x="224" y="7"/>
                  </a:lnTo>
                  <a:lnTo>
                    <a:pt x="225" y="8"/>
                  </a:lnTo>
                  <a:lnTo>
                    <a:pt x="226" y="9"/>
                  </a:lnTo>
                  <a:lnTo>
                    <a:pt x="229" y="11"/>
                  </a:lnTo>
                  <a:lnTo>
                    <a:pt x="231" y="13"/>
                  </a:lnTo>
                  <a:lnTo>
                    <a:pt x="232" y="13"/>
                  </a:lnTo>
                  <a:lnTo>
                    <a:pt x="233" y="14"/>
                  </a:lnTo>
                  <a:lnTo>
                    <a:pt x="234" y="15"/>
                  </a:lnTo>
                  <a:lnTo>
                    <a:pt x="234" y="15"/>
                  </a:lnTo>
                  <a:lnTo>
                    <a:pt x="235" y="15"/>
                  </a:lnTo>
                  <a:lnTo>
                    <a:pt x="235" y="15"/>
                  </a:lnTo>
                  <a:lnTo>
                    <a:pt x="236" y="15"/>
                  </a:lnTo>
                  <a:lnTo>
                    <a:pt x="236" y="15"/>
                  </a:lnTo>
                  <a:lnTo>
                    <a:pt x="237" y="15"/>
                  </a:lnTo>
                  <a:lnTo>
                    <a:pt x="238" y="14"/>
                  </a:lnTo>
                  <a:lnTo>
                    <a:pt x="239" y="14"/>
                  </a:lnTo>
                  <a:lnTo>
                    <a:pt x="240" y="13"/>
                  </a:lnTo>
                  <a:lnTo>
                    <a:pt x="241" y="13"/>
                  </a:lnTo>
                  <a:lnTo>
                    <a:pt x="241" y="13"/>
                  </a:lnTo>
                  <a:lnTo>
                    <a:pt x="242" y="13"/>
                  </a:lnTo>
                  <a:lnTo>
                    <a:pt x="242" y="13"/>
                  </a:lnTo>
                  <a:lnTo>
                    <a:pt x="243" y="13"/>
                  </a:lnTo>
                  <a:lnTo>
                    <a:pt x="243" y="13"/>
                  </a:lnTo>
                  <a:lnTo>
                    <a:pt x="243" y="14"/>
                  </a:lnTo>
                  <a:lnTo>
                    <a:pt x="243" y="14"/>
                  </a:lnTo>
                  <a:lnTo>
                    <a:pt x="244" y="15"/>
                  </a:lnTo>
                  <a:lnTo>
                    <a:pt x="244" y="17"/>
                  </a:lnTo>
                  <a:lnTo>
                    <a:pt x="245" y="18"/>
                  </a:lnTo>
                  <a:lnTo>
                    <a:pt x="246" y="20"/>
                  </a:lnTo>
                  <a:lnTo>
                    <a:pt x="247" y="23"/>
                  </a:lnTo>
                  <a:lnTo>
                    <a:pt x="248" y="25"/>
                  </a:lnTo>
                  <a:lnTo>
                    <a:pt x="249" y="27"/>
                  </a:lnTo>
                  <a:lnTo>
                    <a:pt x="250" y="28"/>
                  </a:lnTo>
                  <a:lnTo>
                    <a:pt x="251" y="28"/>
                  </a:lnTo>
                  <a:lnTo>
                    <a:pt x="251" y="29"/>
                  </a:lnTo>
                  <a:lnTo>
                    <a:pt x="252" y="30"/>
                  </a:lnTo>
                  <a:lnTo>
                    <a:pt x="253" y="30"/>
                  </a:lnTo>
                  <a:lnTo>
                    <a:pt x="253" y="30"/>
                  </a:lnTo>
                  <a:lnTo>
                    <a:pt x="255" y="31"/>
                  </a:lnTo>
                  <a:lnTo>
                    <a:pt x="255" y="31"/>
                  </a:lnTo>
                  <a:lnTo>
                    <a:pt x="256" y="31"/>
                  </a:lnTo>
                  <a:lnTo>
                    <a:pt x="257" y="31"/>
                  </a:lnTo>
                  <a:lnTo>
                    <a:pt x="257" y="31"/>
                  </a:lnTo>
                  <a:lnTo>
                    <a:pt x="258" y="31"/>
                  </a:lnTo>
                  <a:lnTo>
                    <a:pt x="259" y="31"/>
                  </a:lnTo>
                  <a:lnTo>
                    <a:pt x="259" y="31"/>
                  </a:lnTo>
                  <a:lnTo>
                    <a:pt x="260" y="31"/>
                  </a:lnTo>
                  <a:lnTo>
                    <a:pt x="261" y="30"/>
                  </a:lnTo>
                  <a:lnTo>
                    <a:pt x="261" y="30"/>
                  </a:lnTo>
                  <a:lnTo>
                    <a:pt x="261" y="30"/>
                  </a:lnTo>
                  <a:lnTo>
                    <a:pt x="261" y="31"/>
                  </a:lnTo>
                  <a:lnTo>
                    <a:pt x="262" y="35"/>
                  </a:lnTo>
                  <a:lnTo>
                    <a:pt x="262" y="36"/>
                  </a:lnTo>
                  <a:lnTo>
                    <a:pt x="262" y="37"/>
                  </a:lnTo>
                  <a:lnTo>
                    <a:pt x="262" y="38"/>
                  </a:lnTo>
                  <a:lnTo>
                    <a:pt x="262" y="39"/>
                  </a:lnTo>
                  <a:lnTo>
                    <a:pt x="262" y="39"/>
                  </a:lnTo>
                  <a:lnTo>
                    <a:pt x="262" y="40"/>
                  </a:lnTo>
                  <a:lnTo>
                    <a:pt x="261" y="40"/>
                  </a:lnTo>
                  <a:lnTo>
                    <a:pt x="261" y="41"/>
                  </a:lnTo>
                  <a:lnTo>
                    <a:pt x="260" y="41"/>
                  </a:lnTo>
                  <a:lnTo>
                    <a:pt x="260" y="42"/>
                  </a:lnTo>
                  <a:lnTo>
                    <a:pt x="259" y="42"/>
                  </a:lnTo>
                  <a:lnTo>
                    <a:pt x="258" y="43"/>
                  </a:lnTo>
                  <a:lnTo>
                    <a:pt x="257" y="43"/>
                  </a:lnTo>
                  <a:lnTo>
                    <a:pt x="256" y="43"/>
                  </a:lnTo>
                  <a:lnTo>
                    <a:pt x="256" y="44"/>
                  </a:lnTo>
                  <a:lnTo>
                    <a:pt x="255" y="44"/>
                  </a:lnTo>
                  <a:lnTo>
                    <a:pt x="255" y="44"/>
                  </a:lnTo>
                  <a:lnTo>
                    <a:pt x="255" y="45"/>
                  </a:lnTo>
                  <a:lnTo>
                    <a:pt x="255" y="45"/>
                  </a:lnTo>
                  <a:lnTo>
                    <a:pt x="255" y="46"/>
                  </a:lnTo>
                  <a:lnTo>
                    <a:pt x="255" y="46"/>
                  </a:lnTo>
                  <a:lnTo>
                    <a:pt x="255" y="47"/>
                  </a:lnTo>
                  <a:lnTo>
                    <a:pt x="255" y="47"/>
                  </a:lnTo>
                  <a:lnTo>
                    <a:pt x="255" y="48"/>
                  </a:lnTo>
                  <a:lnTo>
                    <a:pt x="257" y="51"/>
                  </a:lnTo>
                  <a:lnTo>
                    <a:pt x="258" y="52"/>
                  </a:lnTo>
                  <a:lnTo>
                    <a:pt x="258" y="53"/>
                  </a:lnTo>
                  <a:lnTo>
                    <a:pt x="258" y="54"/>
                  </a:lnTo>
                  <a:lnTo>
                    <a:pt x="259" y="55"/>
                  </a:lnTo>
                  <a:lnTo>
                    <a:pt x="259" y="56"/>
                  </a:lnTo>
                  <a:lnTo>
                    <a:pt x="259" y="57"/>
                  </a:lnTo>
                  <a:lnTo>
                    <a:pt x="259" y="59"/>
                  </a:lnTo>
                  <a:lnTo>
                    <a:pt x="259" y="60"/>
                  </a:lnTo>
                  <a:lnTo>
                    <a:pt x="259" y="61"/>
                  </a:lnTo>
                  <a:lnTo>
                    <a:pt x="259" y="64"/>
                  </a:lnTo>
                  <a:lnTo>
                    <a:pt x="259" y="65"/>
                  </a:lnTo>
                  <a:lnTo>
                    <a:pt x="259" y="66"/>
                  </a:lnTo>
                  <a:lnTo>
                    <a:pt x="259" y="68"/>
                  </a:lnTo>
                  <a:lnTo>
                    <a:pt x="259" y="69"/>
                  </a:lnTo>
                  <a:lnTo>
                    <a:pt x="259" y="71"/>
                  </a:lnTo>
                  <a:lnTo>
                    <a:pt x="258" y="72"/>
                  </a:lnTo>
                  <a:lnTo>
                    <a:pt x="258" y="73"/>
                  </a:lnTo>
                  <a:lnTo>
                    <a:pt x="258" y="75"/>
                  </a:lnTo>
                  <a:lnTo>
                    <a:pt x="257" y="77"/>
                  </a:lnTo>
                  <a:lnTo>
                    <a:pt x="256" y="80"/>
                  </a:lnTo>
                  <a:lnTo>
                    <a:pt x="255" y="83"/>
                  </a:lnTo>
                  <a:lnTo>
                    <a:pt x="254" y="85"/>
                  </a:lnTo>
                  <a:lnTo>
                    <a:pt x="253" y="86"/>
                  </a:lnTo>
                  <a:lnTo>
                    <a:pt x="253" y="87"/>
                  </a:lnTo>
                  <a:lnTo>
                    <a:pt x="253" y="88"/>
                  </a:lnTo>
                  <a:lnTo>
                    <a:pt x="253" y="88"/>
                  </a:lnTo>
                  <a:lnTo>
                    <a:pt x="254" y="89"/>
                  </a:lnTo>
                  <a:lnTo>
                    <a:pt x="254" y="89"/>
                  </a:lnTo>
                  <a:lnTo>
                    <a:pt x="254" y="90"/>
                  </a:lnTo>
                  <a:lnTo>
                    <a:pt x="254" y="90"/>
                  </a:lnTo>
                  <a:lnTo>
                    <a:pt x="253" y="94"/>
                  </a:lnTo>
                  <a:lnTo>
                    <a:pt x="252" y="97"/>
                  </a:lnTo>
                  <a:lnTo>
                    <a:pt x="252" y="98"/>
                  </a:lnTo>
                  <a:lnTo>
                    <a:pt x="251" y="100"/>
                  </a:lnTo>
                  <a:lnTo>
                    <a:pt x="250" y="102"/>
                  </a:lnTo>
                  <a:lnTo>
                    <a:pt x="250" y="103"/>
                  </a:lnTo>
                  <a:lnTo>
                    <a:pt x="250" y="105"/>
                  </a:lnTo>
                  <a:lnTo>
                    <a:pt x="250" y="106"/>
                  </a:lnTo>
                  <a:lnTo>
                    <a:pt x="250" y="106"/>
                  </a:lnTo>
                  <a:lnTo>
                    <a:pt x="250" y="107"/>
                  </a:lnTo>
                  <a:lnTo>
                    <a:pt x="250" y="108"/>
                  </a:lnTo>
                  <a:lnTo>
                    <a:pt x="250" y="109"/>
                  </a:lnTo>
                  <a:lnTo>
                    <a:pt x="250" y="110"/>
                  </a:lnTo>
                  <a:lnTo>
                    <a:pt x="251" y="111"/>
                  </a:lnTo>
                  <a:lnTo>
                    <a:pt x="252" y="112"/>
                  </a:lnTo>
                  <a:lnTo>
                    <a:pt x="253" y="113"/>
                  </a:lnTo>
                  <a:lnTo>
                    <a:pt x="254" y="113"/>
                  </a:lnTo>
                  <a:lnTo>
                    <a:pt x="256" y="115"/>
                  </a:lnTo>
                  <a:lnTo>
                    <a:pt x="257" y="116"/>
                  </a:lnTo>
                  <a:lnTo>
                    <a:pt x="257" y="117"/>
                  </a:lnTo>
                  <a:lnTo>
                    <a:pt x="258" y="117"/>
                  </a:lnTo>
                  <a:lnTo>
                    <a:pt x="258" y="118"/>
                  </a:lnTo>
                  <a:lnTo>
                    <a:pt x="259" y="119"/>
                  </a:lnTo>
                  <a:lnTo>
                    <a:pt x="259" y="120"/>
                  </a:lnTo>
                  <a:lnTo>
                    <a:pt x="259" y="120"/>
                  </a:lnTo>
                  <a:lnTo>
                    <a:pt x="259" y="121"/>
                  </a:lnTo>
                  <a:lnTo>
                    <a:pt x="259" y="121"/>
                  </a:lnTo>
                  <a:lnTo>
                    <a:pt x="259" y="122"/>
                  </a:lnTo>
                  <a:lnTo>
                    <a:pt x="259" y="122"/>
                  </a:lnTo>
                  <a:lnTo>
                    <a:pt x="258" y="124"/>
                  </a:lnTo>
                  <a:lnTo>
                    <a:pt x="257" y="125"/>
                  </a:lnTo>
                  <a:lnTo>
                    <a:pt x="256" y="126"/>
                  </a:lnTo>
                  <a:lnTo>
                    <a:pt x="255" y="127"/>
                  </a:lnTo>
                  <a:lnTo>
                    <a:pt x="255" y="128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5" y="130"/>
                  </a:lnTo>
                  <a:lnTo>
                    <a:pt x="255" y="131"/>
                  </a:lnTo>
                  <a:lnTo>
                    <a:pt x="255" y="131"/>
                  </a:lnTo>
                  <a:lnTo>
                    <a:pt x="255" y="132"/>
                  </a:lnTo>
                  <a:lnTo>
                    <a:pt x="255" y="133"/>
                  </a:lnTo>
                  <a:lnTo>
                    <a:pt x="256" y="134"/>
                  </a:lnTo>
                  <a:lnTo>
                    <a:pt x="258" y="137"/>
                  </a:lnTo>
                  <a:lnTo>
                    <a:pt x="260" y="140"/>
                  </a:lnTo>
                  <a:lnTo>
                    <a:pt x="261" y="140"/>
                  </a:lnTo>
                  <a:lnTo>
                    <a:pt x="261" y="141"/>
                  </a:lnTo>
                  <a:lnTo>
                    <a:pt x="265" y="144"/>
                  </a:lnTo>
                  <a:lnTo>
                    <a:pt x="265" y="145"/>
                  </a:lnTo>
                  <a:lnTo>
                    <a:pt x="267" y="147"/>
                  </a:lnTo>
                  <a:lnTo>
                    <a:pt x="268" y="149"/>
                  </a:lnTo>
                  <a:lnTo>
                    <a:pt x="271" y="151"/>
                  </a:lnTo>
                  <a:lnTo>
                    <a:pt x="273" y="153"/>
                  </a:lnTo>
                  <a:lnTo>
                    <a:pt x="274" y="154"/>
                  </a:lnTo>
                  <a:lnTo>
                    <a:pt x="275" y="154"/>
                  </a:lnTo>
                  <a:lnTo>
                    <a:pt x="275" y="154"/>
                  </a:lnTo>
                  <a:lnTo>
                    <a:pt x="276" y="154"/>
                  </a:lnTo>
                  <a:lnTo>
                    <a:pt x="277" y="155"/>
                  </a:lnTo>
                  <a:lnTo>
                    <a:pt x="278" y="155"/>
                  </a:lnTo>
                  <a:lnTo>
                    <a:pt x="279" y="154"/>
                  </a:lnTo>
                  <a:lnTo>
                    <a:pt x="280" y="154"/>
                  </a:lnTo>
                  <a:lnTo>
                    <a:pt x="281" y="154"/>
                  </a:lnTo>
                  <a:lnTo>
                    <a:pt x="285" y="152"/>
                  </a:lnTo>
                  <a:lnTo>
                    <a:pt x="286" y="151"/>
                  </a:lnTo>
                  <a:lnTo>
                    <a:pt x="287" y="151"/>
                  </a:lnTo>
                  <a:lnTo>
                    <a:pt x="288" y="150"/>
                  </a:lnTo>
                  <a:lnTo>
                    <a:pt x="289" y="150"/>
                  </a:lnTo>
                  <a:lnTo>
                    <a:pt x="290" y="150"/>
                  </a:lnTo>
                  <a:lnTo>
                    <a:pt x="291" y="150"/>
                  </a:lnTo>
                  <a:lnTo>
                    <a:pt x="291" y="150"/>
                  </a:lnTo>
                  <a:lnTo>
                    <a:pt x="292" y="151"/>
                  </a:lnTo>
                  <a:lnTo>
                    <a:pt x="293" y="151"/>
                  </a:lnTo>
                  <a:lnTo>
                    <a:pt x="294" y="151"/>
                  </a:lnTo>
                  <a:lnTo>
                    <a:pt x="294" y="152"/>
                  </a:lnTo>
                  <a:lnTo>
                    <a:pt x="296" y="154"/>
                  </a:lnTo>
                  <a:lnTo>
                    <a:pt x="298" y="155"/>
                  </a:lnTo>
                  <a:lnTo>
                    <a:pt x="299" y="156"/>
                  </a:lnTo>
                  <a:lnTo>
                    <a:pt x="301" y="156"/>
                  </a:lnTo>
                  <a:lnTo>
                    <a:pt x="301" y="157"/>
                  </a:lnTo>
                  <a:lnTo>
                    <a:pt x="302" y="157"/>
                  </a:lnTo>
                  <a:lnTo>
                    <a:pt x="306" y="159"/>
                  </a:lnTo>
                  <a:lnTo>
                    <a:pt x="307" y="159"/>
                  </a:lnTo>
                  <a:lnTo>
                    <a:pt x="309" y="160"/>
                  </a:lnTo>
                  <a:lnTo>
                    <a:pt x="310" y="160"/>
                  </a:lnTo>
                  <a:lnTo>
                    <a:pt x="310" y="160"/>
                  </a:lnTo>
                  <a:lnTo>
                    <a:pt x="311" y="161"/>
                  </a:lnTo>
                  <a:lnTo>
                    <a:pt x="311" y="161"/>
                  </a:lnTo>
                  <a:lnTo>
                    <a:pt x="311" y="162"/>
                  </a:lnTo>
                  <a:lnTo>
                    <a:pt x="311" y="162"/>
                  </a:lnTo>
                  <a:lnTo>
                    <a:pt x="311" y="163"/>
                  </a:lnTo>
                  <a:lnTo>
                    <a:pt x="311" y="163"/>
                  </a:lnTo>
                  <a:lnTo>
                    <a:pt x="311" y="164"/>
                  </a:lnTo>
                  <a:lnTo>
                    <a:pt x="311" y="165"/>
                  </a:lnTo>
                  <a:lnTo>
                    <a:pt x="311" y="166"/>
                  </a:lnTo>
                  <a:lnTo>
                    <a:pt x="311" y="166"/>
                  </a:lnTo>
                  <a:lnTo>
                    <a:pt x="311" y="167"/>
                  </a:lnTo>
                  <a:lnTo>
                    <a:pt x="310" y="167"/>
                  </a:lnTo>
                  <a:lnTo>
                    <a:pt x="310" y="167"/>
                  </a:lnTo>
                  <a:lnTo>
                    <a:pt x="309" y="168"/>
                  </a:lnTo>
                  <a:lnTo>
                    <a:pt x="308" y="168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70"/>
                  </a:lnTo>
                  <a:lnTo>
                    <a:pt x="309" y="170"/>
                  </a:lnTo>
                  <a:lnTo>
                    <a:pt x="310" y="170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2" y="171"/>
                  </a:lnTo>
                  <a:lnTo>
                    <a:pt x="315" y="171"/>
                  </a:lnTo>
                  <a:lnTo>
                    <a:pt x="316" y="171"/>
                  </a:lnTo>
                  <a:lnTo>
                    <a:pt x="316" y="172"/>
                  </a:lnTo>
                  <a:lnTo>
                    <a:pt x="317" y="172"/>
                  </a:lnTo>
                  <a:lnTo>
                    <a:pt x="318" y="172"/>
                  </a:lnTo>
                  <a:lnTo>
                    <a:pt x="318" y="172"/>
                  </a:lnTo>
                  <a:lnTo>
                    <a:pt x="319" y="173"/>
                  </a:lnTo>
                  <a:lnTo>
                    <a:pt x="320" y="173"/>
                  </a:lnTo>
                  <a:lnTo>
                    <a:pt x="321" y="175"/>
                  </a:lnTo>
                  <a:lnTo>
                    <a:pt x="322" y="176"/>
                  </a:lnTo>
                  <a:lnTo>
                    <a:pt x="324" y="178"/>
                  </a:lnTo>
                  <a:lnTo>
                    <a:pt x="325" y="179"/>
                  </a:lnTo>
                  <a:lnTo>
                    <a:pt x="325" y="180"/>
                  </a:lnTo>
                  <a:lnTo>
                    <a:pt x="325" y="180"/>
                  </a:lnTo>
                  <a:lnTo>
                    <a:pt x="326" y="180"/>
                  </a:lnTo>
                  <a:lnTo>
                    <a:pt x="327" y="181"/>
                  </a:lnTo>
                  <a:lnTo>
                    <a:pt x="328" y="181"/>
                  </a:lnTo>
                  <a:lnTo>
                    <a:pt x="329" y="181"/>
                  </a:lnTo>
                  <a:lnTo>
                    <a:pt x="330" y="182"/>
                  </a:lnTo>
                  <a:lnTo>
                    <a:pt x="331" y="182"/>
                  </a:lnTo>
                  <a:lnTo>
                    <a:pt x="332" y="181"/>
                  </a:lnTo>
                  <a:lnTo>
                    <a:pt x="333" y="181"/>
                  </a:lnTo>
                  <a:lnTo>
                    <a:pt x="334" y="181"/>
                  </a:lnTo>
                  <a:lnTo>
                    <a:pt x="335" y="180"/>
                  </a:lnTo>
                  <a:lnTo>
                    <a:pt x="338" y="179"/>
                  </a:lnTo>
                  <a:lnTo>
                    <a:pt x="339" y="179"/>
                  </a:lnTo>
                  <a:lnTo>
                    <a:pt x="340" y="178"/>
                  </a:lnTo>
                  <a:lnTo>
                    <a:pt x="340" y="178"/>
                  </a:lnTo>
                  <a:lnTo>
                    <a:pt x="341" y="178"/>
                  </a:lnTo>
                  <a:lnTo>
                    <a:pt x="341" y="178"/>
                  </a:lnTo>
                  <a:lnTo>
                    <a:pt x="342" y="178"/>
                  </a:lnTo>
                  <a:lnTo>
                    <a:pt x="343" y="178"/>
                  </a:lnTo>
                  <a:lnTo>
                    <a:pt x="348" y="180"/>
                  </a:lnTo>
                  <a:lnTo>
                    <a:pt x="351" y="181"/>
                  </a:lnTo>
                  <a:lnTo>
                    <a:pt x="354" y="182"/>
                  </a:lnTo>
                  <a:lnTo>
                    <a:pt x="355" y="182"/>
                  </a:lnTo>
                  <a:lnTo>
                    <a:pt x="356" y="183"/>
                  </a:lnTo>
                  <a:lnTo>
                    <a:pt x="357" y="184"/>
                  </a:lnTo>
                  <a:lnTo>
                    <a:pt x="357" y="184"/>
                  </a:lnTo>
                  <a:lnTo>
                    <a:pt x="359" y="185"/>
                  </a:lnTo>
                  <a:lnTo>
                    <a:pt x="359" y="186"/>
                  </a:lnTo>
                  <a:lnTo>
                    <a:pt x="359" y="186"/>
                  </a:lnTo>
                  <a:lnTo>
                    <a:pt x="360" y="186"/>
                  </a:lnTo>
                  <a:lnTo>
                    <a:pt x="361" y="186"/>
                  </a:lnTo>
                  <a:lnTo>
                    <a:pt x="361" y="186"/>
                  </a:lnTo>
                  <a:lnTo>
                    <a:pt x="365" y="186"/>
                  </a:lnTo>
                  <a:lnTo>
                    <a:pt x="366" y="185"/>
                  </a:lnTo>
                  <a:lnTo>
                    <a:pt x="369" y="185"/>
                  </a:lnTo>
                  <a:lnTo>
                    <a:pt x="370" y="185"/>
                  </a:lnTo>
                  <a:lnTo>
                    <a:pt x="371" y="185"/>
                  </a:lnTo>
                  <a:lnTo>
                    <a:pt x="374" y="184"/>
                  </a:lnTo>
                  <a:lnTo>
                    <a:pt x="377" y="184"/>
                  </a:lnTo>
                  <a:lnTo>
                    <a:pt x="378" y="184"/>
                  </a:lnTo>
                  <a:lnTo>
                    <a:pt x="379" y="184"/>
                  </a:lnTo>
                  <a:lnTo>
                    <a:pt x="380" y="184"/>
                  </a:lnTo>
                  <a:lnTo>
                    <a:pt x="381" y="184"/>
                  </a:lnTo>
                  <a:lnTo>
                    <a:pt x="382" y="184"/>
                  </a:lnTo>
                  <a:lnTo>
                    <a:pt x="382" y="185"/>
                  </a:lnTo>
                  <a:lnTo>
                    <a:pt x="383" y="185"/>
                  </a:lnTo>
                  <a:lnTo>
                    <a:pt x="383" y="185"/>
                  </a:lnTo>
                  <a:lnTo>
                    <a:pt x="384" y="186"/>
                  </a:lnTo>
                  <a:lnTo>
                    <a:pt x="384" y="186"/>
                  </a:lnTo>
                  <a:lnTo>
                    <a:pt x="385" y="187"/>
                  </a:lnTo>
                  <a:lnTo>
                    <a:pt x="385" y="188"/>
                  </a:lnTo>
                  <a:lnTo>
                    <a:pt x="386" y="189"/>
                  </a:lnTo>
                  <a:lnTo>
                    <a:pt x="386" y="190"/>
                  </a:lnTo>
                  <a:lnTo>
                    <a:pt x="386" y="192"/>
                  </a:lnTo>
                  <a:lnTo>
                    <a:pt x="386" y="193"/>
                  </a:lnTo>
                  <a:lnTo>
                    <a:pt x="387" y="194"/>
                  </a:lnTo>
                  <a:lnTo>
                    <a:pt x="387" y="195"/>
                  </a:lnTo>
                  <a:lnTo>
                    <a:pt x="387" y="196"/>
                  </a:lnTo>
                  <a:lnTo>
                    <a:pt x="386" y="198"/>
                  </a:lnTo>
                  <a:lnTo>
                    <a:pt x="386" y="201"/>
                  </a:lnTo>
                  <a:lnTo>
                    <a:pt x="386" y="202"/>
                  </a:lnTo>
                  <a:lnTo>
                    <a:pt x="386" y="204"/>
                  </a:lnTo>
                  <a:lnTo>
                    <a:pt x="386" y="205"/>
                  </a:lnTo>
                  <a:lnTo>
                    <a:pt x="386" y="206"/>
                  </a:lnTo>
                  <a:lnTo>
                    <a:pt x="386" y="208"/>
                  </a:lnTo>
                  <a:lnTo>
                    <a:pt x="387" y="209"/>
                  </a:lnTo>
                  <a:lnTo>
                    <a:pt x="388" y="210"/>
                  </a:lnTo>
                  <a:lnTo>
                    <a:pt x="388" y="211"/>
                  </a:lnTo>
                  <a:lnTo>
                    <a:pt x="389" y="212"/>
                  </a:lnTo>
                  <a:lnTo>
                    <a:pt x="389" y="212"/>
                  </a:lnTo>
                  <a:lnTo>
                    <a:pt x="391" y="214"/>
                  </a:lnTo>
                  <a:lnTo>
                    <a:pt x="392" y="215"/>
                  </a:lnTo>
                  <a:lnTo>
                    <a:pt x="395" y="217"/>
                  </a:lnTo>
                  <a:lnTo>
                    <a:pt x="398" y="219"/>
                  </a:lnTo>
                  <a:lnTo>
                    <a:pt x="398" y="220"/>
                  </a:lnTo>
                  <a:lnTo>
                    <a:pt x="400" y="221"/>
                  </a:lnTo>
                  <a:lnTo>
                    <a:pt x="402" y="222"/>
                  </a:lnTo>
                  <a:lnTo>
                    <a:pt x="406" y="225"/>
                  </a:lnTo>
                  <a:lnTo>
                    <a:pt x="409" y="226"/>
                  </a:lnTo>
                  <a:lnTo>
                    <a:pt x="409" y="227"/>
                  </a:lnTo>
                  <a:lnTo>
                    <a:pt x="410" y="227"/>
                  </a:lnTo>
                  <a:lnTo>
                    <a:pt x="410" y="227"/>
                  </a:lnTo>
                  <a:lnTo>
                    <a:pt x="411" y="227"/>
                  </a:lnTo>
                  <a:lnTo>
                    <a:pt x="411" y="227"/>
                  </a:lnTo>
                  <a:lnTo>
                    <a:pt x="411" y="226"/>
                  </a:lnTo>
                  <a:lnTo>
                    <a:pt x="413" y="226"/>
                  </a:lnTo>
                  <a:lnTo>
                    <a:pt x="414" y="226"/>
                  </a:lnTo>
                  <a:lnTo>
                    <a:pt x="415" y="225"/>
                  </a:lnTo>
                  <a:lnTo>
                    <a:pt x="416" y="225"/>
                  </a:lnTo>
                  <a:lnTo>
                    <a:pt x="416" y="225"/>
                  </a:lnTo>
                  <a:lnTo>
                    <a:pt x="417" y="226"/>
                  </a:lnTo>
                  <a:lnTo>
                    <a:pt x="418" y="226"/>
                  </a:lnTo>
                  <a:lnTo>
                    <a:pt x="421" y="227"/>
                  </a:lnTo>
                  <a:lnTo>
                    <a:pt x="422" y="227"/>
                  </a:lnTo>
                  <a:lnTo>
                    <a:pt x="423" y="227"/>
                  </a:lnTo>
                  <a:lnTo>
                    <a:pt x="425" y="227"/>
                  </a:lnTo>
                  <a:lnTo>
                    <a:pt x="427" y="227"/>
                  </a:lnTo>
                  <a:lnTo>
                    <a:pt x="429" y="227"/>
                  </a:lnTo>
                  <a:lnTo>
                    <a:pt x="431" y="227"/>
                  </a:lnTo>
                  <a:lnTo>
                    <a:pt x="432" y="227"/>
                  </a:lnTo>
                  <a:lnTo>
                    <a:pt x="433" y="227"/>
                  </a:lnTo>
                  <a:lnTo>
                    <a:pt x="434" y="226"/>
                  </a:lnTo>
                  <a:lnTo>
                    <a:pt x="437" y="225"/>
                  </a:lnTo>
                  <a:lnTo>
                    <a:pt x="438" y="225"/>
                  </a:lnTo>
                  <a:lnTo>
                    <a:pt x="440" y="225"/>
                  </a:lnTo>
                  <a:lnTo>
                    <a:pt x="442" y="224"/>
                  </a:lnTo>
                  <a:lnTo>
                    <a:pt x="443" y="224"/>
                  </a:lnTo>
                  <a:lnTo>
                    <a:pt x="443" y="224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6" y="223"/>
                  </a:lnTo>
                  <a:lnTo>
                    <a:pt x="446" y="223"/>
                  </a:lnTo>
                  <a:lnTo>
                    <a:pt x="447" y="223"/>
                  </a:lnTo>
                  <a:lnTo>
                    <a:pt x="447" y="223"/>
                  </a:lnTo>
                  <a:lnTo>
                    <a:pt x="448" y="223"/>
                  </a:lnTo>
                  <a:lnTo>
                    <a:pt x="448" y="223"/>
                  </a:lnTo>
                  <a:lnTo>
                    <a:pt x="449" y="224"/>
                  </a:lnTo>
                  <a:lnTo>
                    <a:pt x="450" y="224"/>
                  </a:lnTo>
                  <a:lnTo>
                    <a:pt x="451" y="225"/>
                  </a:lnTo>
                  <a:lnTo>
                    <a:pt x="451" y="225"/>
                  </a:lnTo>
                  <a:lnTo>
                    <a:pt x="452" y="225"/>
                  </a:lnTo>
                  <a:lnTo>
                    <a:pt x="452" y="226"/>
                  </a:lnTo>
                  <a:lnTo>
                    <a:pt x="452" y="227"/>
                  </a:lnTo>
                  <a:lnTo>
                    <a:pt x="452" y="227"/>
                  </a:lnTo>
                  <a:lnTo>
                    <a:pt x="453" y="228"/>
                  </a:lnTo>
                  <a:lnTo>
                    <a:pt x="452" y="228"/>
                  </a:lnTo>
                  <a:lnTo>
                    <a:pt x="452" y="229"/>
                  </a:lnTo>
                  <a:lnTo>
                    <a:pt x="452" y="230"/>
                  </a:lnTo>
                  <a:lnTo>
                    <a:pt x="452" y="230"/>
                  </a:lnTo>
                  <a:lnTo>
                    <a:pt x="452" y="231"/>
                  </a:lnTo>
                  <a:lnTo>
                    <a:pt x="452" y="231"/>
                  </a:lnTo>
                  <a:lnTo>
                    <a:pt x="453" y="232"/>
                  </a:lnTo>
                  <a:lnTo>
                    <a:pt x="453" y="232"/>
                  </a:lnTo>
                  <a:lnTo>
                    <a:pt x="454" y="233"/>
                  </a:lnTo>
                  <a:lnTo>
                    <a:pt x="454" y="234"/>
                  </a:lnTo>
                  <a:lnTo>
                    <a:pt x="456" y="234"/>
                  </a:lnTo>
                  <a:lnTo>
                    <a:pt x="457" y="236"/>
                  </a:lnTo>
                  <a:lnTo>
                    <a:pt x="458" y="236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61" y="240"/>
                  </a:lnTo>
                  <a:lnTo>
                    <a:pt x="462" y="241"/>
                  </a:lnTo>
                  <a:lnTo>
                    <a:pt x="462" y="242"/>
                  </a:lnTo>
                  <a:lnTo>
                    <a:pt x="462" y="243"/>
                  </a:lnTo>
                  <a:lnTo>
                    <a:pt x="462" y="243"/>
                  </a:lnTo>
                  <a:lnTo>
                    <a:pt x="462" y="244"/>
                  </a:lnTo>
                  <a:lnTo>
                    <a:pt x="462" y="245"/>
                  </a:lnTo>
                  <a:lnTo>
                    <a:pt x="462" y="246"/>
                  </a:lnTo>
                  <a:lnTo>
                    <a:pt x="461" y="247"/>
                  </a:lnTo>
                  <a:lnTo>
                    <a:pt x="461" y="247"/>
                  </a:lnTo>
                  <a:lnTo>
                    <a:pt x="461" y="248"/>
                  </a:lnTo>
                  <a:lnTo>
                    <a:pt x="460" y="248"/>
                  </a:lnTo>
                  <a:lnTo>
                    <a:pt x="460" y="248"/>
                  </a:lnTo>
                  <a:lnTo>
                    <a:pt x="459" y="249"/>
                  </a:lnTo>
                  <a:lnTo>
                    <a:pt x="458" y="249"/>
                  </a:lnTo>
                  <a:lnTo>
                    <a:pt x="456" y="250"/>
                  </a:lnTo>
                  <a:lnTo>
                    <a:pt x="453" y="250"/>
                  </a:lnTo>
                  <a:lnTo>
                    <a:pt x="452" y="250"/>
                  </a:lnTo>
                  <a:lnTo>
                    <a:pt x="452" y="251"/>
                  </a:lnTo>
                  <a:lnTo>
                    <a:pt x="452" y="251"/>
                  </a:lnTo>
                  <a:lnTo>
                    <a:pt x="451" y="251"/>
                  </a:lnTo>
                  <a:lnTo>
                    <a:pt x="451" y="252"/>
                  </a:lnTo>
                  <a:lnTo>
                    <a:pt x="450" y="253"/>
                  </a:lnTo>
                  <a:lnTo>
                    <a:pt x="449" y="254"/>
                  </a:lnTo>
                  <a:lnTo>
                    <a:pt x="448" y="256"/>
                  </a:lnTo>
                  <a:lnTo>
                    <a:pt x="448" y="257"/>
                  </a:lnTo>
                  <a:lnTo>
                    <a:pt x="447" y="258"/>
                  </a:lnTo>
                  <a:lnTo>
                    <a:pt x="447" y="259"/>
                  </a:lnTo>
                  <a:lnTo>
                    <a:pt x="447" y="261"/>
                  </a:lnTo>
                  <a:lnTo>
                    <a:pt x="446" y="262"/>
                  </a:lnTo>
                  <a:lnTo>
                    <a:pt x="446" y="262"/>
                  </a:lnTo>
                  <a:lnTo>
                    <a:pt x="446" y="263"/>
                  </a:lnTo>
                  <a:lnTo>
                    <a:pt x="446" y="264"/>
                  </a:lnTo>
                  <a:lnTo>
                    <a:pt x="444" y="266"/>
                  </a:lnTo>
                  <a:lnTo>
                    <a:pt x="443" y="267"/>
                  </a:lnTo>
                  <a:lnTo>
                    <a:pt x="443" y="268"/>
                  </a:lnTo>
                  <a:lnTo>
                    <a:pt x="442" y="270"/>
                  </a:lnTo>
                  <a:lnTo>
                    <a:pt x="442" y="271"/>
                  </a:lnTo>
                  <a:lnTo>
                    <a:pt x="441" y="272"/>
                  </a:lnTo>
                  <a:lnTo>
                    <a:pt x="441" y="273"/>
                  </a:lnTo>
                  <a:lnTo>
                    <a:pt x="440" y="273"/>
                  </a:lnTo>
                  <a:lnTo>
                    <a:pt x="438" y="276"/>
                  </a:lnTo>
                  <a:lnTo>
                    <a:pt x="437" y="277"/>
                  </a:lnTo>
                  <a:lnTo>
                    <a:pt x="436" y="278"/>
                  </a:lnTo>
                  <a:lnTo>
                    <a:pt x="435" y="279"/>
                  </a:lnTo>
                  <a:lnTo>
                    <a:pt x="434" y="281"/>
                  </a:lnTo>
                  <a:lnTo>
                    <a:pt x="433" y="282"/>
                  </a:lnTo>
                  <a:lnTo>
                    <a:pt x="432" y="283"/>
                  </a:lnTo>
                  <a:lnTo>
                    <a:pt x="432" y="283"/>
                  </a:lnTo>
                  <a:lnTo>
                    <a:pt x="432" y="284"/>
                  </a:lnTo>
                  <a:lnTo>
                    <a:pt x="432" y="284"/>
                  </a:lnTo>
                  <a:lnTo>
                    <a:pt x="432" y="285"/>
                  </a:lnTo>
                  <a:lnTo>
                    <a:pt x="432" y="285"/>
                  </a:lnTo>
                  <a:lnTo>
                    <a:pt x="432" y="286"/>
                  </a:lnTo>
                  <a:lnTo>
                    <a:pt x="433" y="286"/>
                  </a:lnTo>
                  <a:lnTo>
                    <a:pt x="433" y="286"/>
                  </a:lnTo>
                  <a:lnTo>
                    <a:pt x="433" y="286"/>
                  </a:lnTo>
                  <a:lnTo>
                    <a:pt x="434" y="286"/>
                  </a:lnTo>
                  <a:lnTo>
                    <a:pt x="436" y="287"/>
                  </a:lnTo>
                  <a:lnTo>
                    <a:pt x="437" y="287"/>
                  </a:lnTo>
                  <a:lnTo>
                    <a:pt x="437" y="287"/>
                  </a:lnTo>
                  <a:lnTo>
                    <a:pt x="438" y="287"/>
                  </a:lnTo>
                  <a:lnTo>
                    <a:pt x="439" y="287"/>
                  </a:lnTo>
                  <a:lnTo>
                    <a:pt x="439" y="287"/>
                  </a:lnTo>
                  <a:lnTo>
                    <a:pt x="440" y="288"/>
                  </a:lnTo>
                  <a:lnTo>
                    <a:pt x="440" y="289"/>
                  </a:lnTo>
                  <a:lnTo>
                    <a:pt x="441" y="289"/>
                  </a:lnTo>
                  <a:lnTo>
                    <a:pt x="442" y="292"/>
                  </a:lnTo>
                  <a:lnTo>
                    <a:pt x="442" y="292"/>
                  </a:lnTo>
                  <a:lnTo>
                    <a:pt x="443" y="293"/>
                  </a:lnTo>
                  <a:lnTo>
                    <a:pt x="444" y="294"/>
                  </a:lnTo>
                  <a:lnTo>
                    <a:pt x="445" y="295"/>
                  </a:lnTo>
                  <a:lnTo>
                    <a:pt x="446" y="295"/>
                  </a:lnTo>
                  <a:lnTo>
                    <a:pt x="447" y="296"/>
                  </a:lnTo>
                  <a:lnTo>
                    <a:pt x="449" y="297"/>
                  </a:lnTo>
                  <a:lnTo>
                    <a:pt x="451" y="297"/>
                  </a:lnTo>
                  <a:lnTo>
                    <a:pt x="452" y="298"/>
                  </a:lnTo>
                  <a:lnTo>
                    <a:pt x="453" y="299"/>
                  </a:lnTo>
                  <a:lnTo>
                    <a:pt x="455" y="300"/>
                  </a:lnTo>
                  <a:lnTo>
                    <a:pt x="456" y="301"/>
                  </a:lnTo>
                  <a:lnTo>
                    <a:pt x="456" y="301"/>
                  </a:lnTo>
                  <a:lnTo>
                    <a:pt x="457" y="302"/>
                  </a:lnTo>
                  <a:lnTo>
                    <a:pt x="457" y="303"/>
                  </a:lnTo>
                  <a:lnTo>
                    <a:pt x="458" y="303"/>
                  </a:lnTo>
                  <a:lnTo>
                    <a:pt x="458" y="304"/>
                  </a:lnTo>
                  <a:lnTo>
                    <a:pt x="459" y="306"/>
                  </a:lnTo>
                  <a:lnTo>
                    <a:pt x="460" y="307"/>
                  </a:lnTo>
                  <a:lnTo>
                    <a:pt x="460" y="308"/>
                  </a:lnTo>
                  <a:lnTo>
                    <a:pt x="460" y="308"/>
                  </a:lnTo>
                  <a:lnTo>
                    <a:pt x="460" y="309"/>
                  </a:lnTo>
                  <a:lnTo>
                    <a:pt x="458" y="310"/>
                  </a:lnTo>
                  <a:lnTo>
                    <a:pt x="458" y="311"/>
                  </a:lnTo>
                  <a:lnTo>
                    <a:pt x="458" y="311"/>
                  </a:lnTo>
                  <a:lnTo>
                    <a:pt x="457" y="311"/>
                  </a:lnTo>
                  <a:lnTo>
                    <a:pt x="457" y="311"/>
                  </a:lnTo>
                  <a:lnTo>
                    <a:pt x="456" y="311"/>
                  </a:lnTo>
                  <a:lnTo>
                    <a:pt x="455" y="311"/>
                  </a:lnTo>
                  <a:lnTo>
                    <a:pt x="455" y="312"/>
                  </a:lnTo>
                  <a:lnTo>
                    <a:pt x="455" y="312"/>
                  </a:lnTo>
                  <a:lnTo>
                    <a:pt x="455" y="313"/>
                  </a:lnTo>
                  <a:lnTo>
                    <a:pt x="455" y="313"/>
                  </a:lnTo>
                  <a:lnTo>
                    <a:pt x="455" y="314"/>
                  </a:lnTo>
                  <a:lnTo>
                    <a:pt x="454" y="315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7"/>
                  </a:lnTo>
                  <a:lnTo>
                    <a:pt x="454" y="317"/>
                  </a:lnTo>
                  <a:lnTo>
                    <a:pt x="454" y="317"/>
                  </a:lnTo>
                  <a:lnTo>
                    <a:pt x="453" y="317"/>
                  </a:lnTo>
                  <a:lnTo>
                    <a:pt x="453" y="318"/>
                  </a:lnTo>
                  <a:lnTo>
                    <a:pt x="452" y="319"/>
                  </a:lnTo>
                  <a:lnTo>
                    <a:pt x="451" y="319"/>
                  </a:lnTo>
                  <a:lnTo>
                    <a:pt x="451" y="319"/>
                  </a:lnTo>
                  <a:lnTo>
                    <a:pt x="450" y="320"/>
                  </a:lnTo>
                  <a:lnTo>
                    <a:pt x="450" y="320"/>
                  </a:lnTo>
                  <a:lnTo>
                    <a:pt x="449" y="320"/>
                  </a:lnTo>
                  <a:lnTo>
                    <a:pt x="449" y="321"/>
                  </a:lnTo>
                  <a:lnTo>
                    <a:pt x="448" y="324"/>
                  </a:lnTo>
                  <a:lnTo>
                    <a:pt x="447" y="326"/>
                  </a:lnTo>
                  <a:lnTo>
                    <a:pt x="447" y="326"/>
                  </a:lnTo>
                  <a:lnTo>
                    <a:pt x="446" y="326"/>
                  </a:lnTo>
                  <a:lnTo>
                    <a:pt x="446" y="326"/>
                  </a:lnTo>
                  <a:lnTo>
                    <a:pt x="445" y="326"/>
                  </a:lnTo>
                  <a:lnTo>
                    <a:pt x="444" y="325"/>
                  </a:lnTo>
                  <a:lnTo>
                    <a:pt x="442" y="324"/>
                  </a:lnTo>
                  <a:lnTo>
                    <a:pt x="441" y="323"/>
                  </a:lnTo>
                  <a:lnTo>
                    <a:pt x="439" y="321"/>
                  </a:lnTo>
                  <a:lnTo>
                    <a:pt x="438" y="320"/>
                  </a:lnTo>
                  <a:lnTo>
                    <a:pt x="437" y="319"/>
                  </a:lnTo>
                  <a:lnTo>
                    <a:pt x="434" y="315"/>
                  </a:lnTo>
                  <a:lnTo>
                    <a:pt x="433" y="314"/>
                  </a:lnTo>
                  <a:lnTo>
                    <a:pt x="432" y="313"/>
                  </a:lnTo>
                  <a:lnTo>
                    <a:pt x="431" y="312"/>
                  </a:lnTo>
                  <a:lnTo>
                    <a:pt x="430" y="311"/>
                  </a:lnTo>
                  <a:lnTo>
                    <a:pt x="428" y="310"/>
                  </a:lnTo>
                  <a:lnTo>
                    <a:pt x="427" y="310"/>
                  </a:lnTo>
                  <a:lnTo>
                    <a:pt x="426" y="309"/>
                  </a:lnTo>
                  <a:lnTo>
                    <a:pt x="425" y="309"/>
                  </a:lnTo>
                  <a:lnTo>
                    <a:pt x="424" y="308"/>
                  </a:lnTo>
                  <a:lnTo>
                    <a:pt x="423" y="308"/>
                  </a:lnTo>
                  <a:lnTo>
                    <a:pt x="421" y="308"/>
                  </a:lnTo>
                  <a:lnTo>
                    <a:pt x="420" y="307"/>
                  </a:lnTo>
                  <a:lnTo>
                    <a:pt x="415" y="307"/>
                  </a:lnTo>
                  <a:lnTo>
                    <a:pt x="414" y="306"/>
                  </a:lnTo>
                  <a:lnTo>
                    <a:pt x="413" y="306"/>
                  </a:lnTo>
                  <a:lnTo>
                    <a:pt x="412" y="305"/>
                  </a:lnTo>
                  <a:lnTo>
                    <a:pt x="411" y="305"/>
                  </a:lnTo>
                  <a:lnTo>
                    <a:pt x="410" y="304"/>
                  </a:lnTo>
                  <a:lnTo>
                    <a:pt x="409" y="304"/>
                  </a:lnTo>
                  <a:lnTo>
                    <a:pt x="407" y="302"/>
                  </a:lnTo>
                  <a:lnTo>
                    <a:pt x="402" y="300"/>
                  </a:lnTo>
                  <a:lnTo>
                    <a:pt x="398" y="297"/>
                  </a:lnTo>
                  <a:lnTo>
                    <a:pt x="397" y="296"/>
                  </a:lnTo>
                  <a:lnTo>
                    <a:pt x="396" y="295"/>
                  </a:lnTo>
                  <a:lnTo>
                    <a:pt x="394" y="294"/>
                  </a:lnTo>
                  <a:lnTo>
                    <a:pt x="392" y="293"/>
                  </a:lnTo>
                  <a:lnTo>
                    <a:pt x="390" y="293"/>
                  </a:lnTo>
                  <a:lnTo>
                    <a:pt x="389" y="293"/>
                  </a:lnTo>
                  <a:lnTo>
                    <a:pt x="388" y="292"/>
                  </a:lnTo>
                  <a:lnTo>
                    <a:pt x="387" y="292"/>
                  </a:lnTo>
                  <a:lnTo>
                    <a:pt x="385" y="292"/>
                  </a:lnTo>
                  <a:lnTo>
                    <a:pt x="383" y="292"/>
                  </a:lnTo>
                  <a:lnTo>
                    <a:pt x="380" y="293"/>
                  </a:lnTo>
                  <a:lnTo>
                    <a:pt x="379" y="293"/>
                  </a:lnTo>
                  <a:lnTo>
                    <a:pt x="378" y="293"/>
                  </a:lnTo>
                  <a:lnTo>
                    <a:pt x="377" y="292"/>
                  </a:lnTo>
                  <a:lnTo>
                    <a:pt x="375" y="292"/>
                  </a:lnTo>
                  <a:lnTo>
                    <a:pt x="374" y="292"/>
                  </a:lnTo>
                  <a:lnTo>
                    <a:pt x="374" y="292"/>
                  </a:lnTo>
                  <a:lnTo>
                    <a:pt x="372" y="291"/>
                  </a:lnTo>
                  <a:lnTo>
                    <a:pt x="370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8" y="290"/>
                  </a:lnTo>
                  <a:lnTo>
                    <a:pt x="368" y="290"/>
                  </a:lnTo>
                  <a:lnTo>
                    <a:pt x="367" y="290"/>
                  </a:lnTo>
                  <a:lnTo>
                    <a:pt x="367" y="291"/>
                  </a:lnTo>
                  <a:lnTo>
                    <a:pt x="367" y="291"/>
                  </a:lnTo>
                  <a:lnTo>
                    <a:pt x="366" y="292"/>
                  </a:lnTo>
                  <a:lnTo>
                    <a:pt x="366" y="295"/>
                  </a:lnTo>
                  <a:lnTo>
                    <a:pt x="365" y="296"/>
                  </a:lnTo>
                  <a:lnTo>
                    <a:pt x="364" y="298"/>
                  </a:lnTo>
                  <a:lnTo>
                    <a:pt x="363" y="300"/>
                  </a:lnTo>
                  <a:lnTo>
                    <a:pt x="362" y="301"/>
                  </a:lnTo>
                  <a:lnTo>
                    <a:pt x="362" y="302"/>
                  </a:lnTo>
                  <a:lnTo>
                    <a:pt x="361" y="302"/>
                  </a:lnTo>
                  <a:lnTo>
                    <a:pt x="360" y="303"/>
                  </a:lnTo>
                  <a:lnTo>
                    <a:pt x="360" y="303"/>
                  </a:lnTo>
                  <a:lnTo>
                    <a:pt x="359" y="303"/>
                  </a:lnTo>
                  <a:lnTo>
                    <a:pt x="359" y="304"/>
                  </a:lnTo>
                  <a:lnTo>
                    <a:pt x="357" y="304"/>
                  </a:lnTo>
                  <a:lnTo>
                    <a:pt x="355" y="304"/>
                  </a:lnTo>
                  <a:lnTo>
                    <a:pt x="352" y="304"/>
                  </a:lnTo>
                  <a:lnTo>
                    <a:pt x="351" y="304"/>
                  </a:lnTo>
                  <a:lnTo>
                    <a:pt x="349" y="305"/>
                  </a:lnTo>
                  <a:lnTo>
                    <a:pt x="348" y="305"/>
                  </a:lnTo>
                  <a:lnTo>
                    <a:pt x="346" y="306"/>
                  </a:lnTo>
                  <a:lnTo>
                    <a:pt x="344" y="307"/>
                  </a:lnTo>
                  <a:lnTo>
                    <a:pt x="341" y="308"/>
                  </a:lnTo>
                  <a:lnTo>
                    <a:pt x="340" y="309"/>
                  </a:lnTo>
                  <a:lnTo>
                    <a:pt x="339" y="309"/>
                  </a:lnTo>
                  <a:lnTo>
                    <a:pt x="338" y="309"/>
                  </a:lnTo>
                  <a:lnTo>
                    <a:pt x="337" y="309"/>
                  </a:lnTo>
                  <a:lnTo>
                    <a:pt x="335" y="309"/>
                  </a:lnTo>
                  <a:lnTo>
                    <a:pt x="334" y="309"/>
                  </a:lnTo>
                  <a:lnTo>
                    <a:pt x="334" y="309"/>
                  </a:lnTo>
                  <a:lnTo>
                    <a:pt x="333" y="309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2" y="308"/>
                  </a:lnTo>
                  <a:lnTo>
                    <a:pt x="331" y="308"/>
                  </a:lnTo>
                  <a:lnTo>
                    <a:pt x="331" y="308"/>
                  </a:lnTo>
                  <a:lnTo>
                    <a:pt x="331" y="307"/>
                  </a:lnTo>
                  <a:lnTo>
                    <a:pt x="331" y="307"/>
                  </a:lnTo>
                  <a:lnTo>
                    <a:pt x="331" y="306"/>
                  </a:lnTo>
                  <a:lnTo>
                    <a:pt x="331" y="302"/>
                  </a:lnTo>
                  <a:lnTo>
                    <a:pt x="331" y="302"/>
                  </a:lnTo>
                  <a:lnTo>
                    <a:pt x="331" y="301"/>
                  </a:lnTo>
                  <a:lnTo>
                    <a:pt x="331" y="300"/>
                  </a:lnTo>
                  <a:lnTo>
                    <a:pt x="331" y="299"/>
                  </a:lnTo>
                  <a:lnTo>
                    <a:pt x="330" y="297"/>
                  </a:lnTo>
                  <a:lnTo>
                    <a:pt x="330" y="296"/>
                  </a:lnTo>
                  <a:lnTo>
                    <a:pt x="329" y="293"/>
                  </a:lnTo>
                  <a:lnTo>
                    <a:pt x="329" y="291"/>
                  </a:lnTo>
                  <a:lnTo>
                    <a:pt x="328" y="290"/>
                  </a:lnTo>
                  <a:lnTo>
                    <a:pt x="328" y="290"/>
                  </a:lnTo>
                  <a:lnTo>
                    <a:pt x="328" y="289"/>
                  </a:lnTo>
                  <a:lnTo>
                    <a:pt x="327" y="288"/>
                  </a:lnTo>
                  <a:lnTo>
                    <a:pt x="326" y="288"/>
                  </a:lnTo>
                  <a:lnTo>
                    <a:pt x="325" y="287"/>
                  </a:lnTo>
                  <a:lnTo>
                    <a:pt x="325" y="287"/>
                  </a:lnTo>
                  <a:lnTo>
                    <a:pt x="323" y="286"/>
                  </a:lnTo>
                  <a:lnTo>
                    <a:pt x="322" y="286"/>
                  </a:lnTo>
                  <a:lnTo>
                    <a:pt x="321" y="286"/>
                  </a:lnTo>
                  <a:lnTo>
                    <a:pt x="319" y="285"/>
                  </a:lnTo>
                  <a:lnTo>
                    <a:pt x="317" y="285"/>
                  </a:lnTo>
                  <a:lnTo>
                    <a:pt x="316" y="285"/>
                  </a:lnTo>
                  <a:lnTo>
                    <a:pt x="313" y="285"/>
                  </a:lnTo>
                  <a:lnTo>
                    <a:pt x="311" y="285"/>
                  </a:lnTo>
                  <a:lnTo>
                    <a:pt x="310" y="285"/>
                  </a:lnTo>
                  <a:lnTo>
                    <a:pt x="309" y="285"/>
                  </a:lnTo>
                  <a:lnTo>
                    <a:pt x="308" y="284"/>
                  </a:lnTo>
                  <a:lnTo>
                    <a:pt x="306" y="284"/>
                  </a:lnTo>
                  <a:lnTo>
                    <a:pt x="306" y="284"/>
                  </a:lnTo>
                  <a:lnTo>
                    <a:pt x="305" y="283"/>
                  </a:lnTo>
                  <a:lnTo>
                    <a:pt x="304" y="283"/>
                  </a:lnTo>
                  <a:lnTo>
                    <a:pt x="303" y="283"/>
                  </a:lnTo>
                  <a:lnTo>
                    <a:pt x="302" y="282"/>
                  </a:lnTo>
                  <a:lnTo>
                    <a:pt x="300" y="280"/>
                  </a:lnTo>
                  <a:lnTo>
                    <a:pt x="300" y="280"/>
                  </a:lnTo>
                  <a:lnTo>
                    <a:pt x="299" y="279"/>
                  </a:lnTo>
                  <a:lnTo>
                    <a:pt x="299" y="279"/>
                  </a:lnTo>
                  <a:lnTo>
                    <a:pt x="298" y="279"/>
                  </a:lnTo>
                  <a:lnTo>
                    <a:pt x="297" y="278"/>
                  </a:lnTo>
                  <a:lnTo>
                    <a:pt x="297" y="278"/>
                  </a:lnTo>
                  <a:lnTo>
                    <a:pt x="293" y="278"/>
                  </a:lnTo>
                  <a:lnTo>
                    <a:pt x="290" y="277"/>
                  </a:lnTo>
                  <a:lnTo>
                    <a:pt x="289" y="277"/>
                  </a:lnTo>
                  <a:lnTo>
                    <a:pt x="288" y="277"/>
                  </a:lnTo>
                  <a:lnTo>
                    <a:pt x="287" y="277"/>
                  </a:lnTo>
                  <a:lnTo>
                    <a:pt x="286" y="277"/>
                  </a:lnTo>
                  <a:lnTo>
                    <a:pt x="285" y="277"/>
                  </a:lnTo>
                  <a:lnTo>
                    <a:pt x="284" y="278"/>
                  </a:lnTo>
                  <a:lnTo>
                    <a:pt x="283" y="278"/>
                  </a:lnTo>
                  <a:lnTo>
                    <a:pt x="282" y="279"/>
                  </a:lnTo>
                  <a:lnTo>
                    <a:pt x="282" y="279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1"/>
                  </a:lnTo>
                  <a:lnTo>
                    <a:pt x="280" y="283"/>
                  </a:lnTo>
                  <a:lnTo>
                    <a:pt x="280" y="284"/>
                  </a:lnTo>
                  <a:lnTo>
                    <a:pt x="280" y="286"/>
                  </a:lnTo>
                  <a:lnTo>
                    <a:pt x="279" y="287"/>
                  </a:lnTo>
                  <a:lnTo>
                    <a:pt x="278" y="288"/>
                  </a:lnTo>
                  <a:lnTo>
                    <a:pt x="277" y="290"/>
                  </a:lnTo>
                  <a:lnTo>
                    <a:pt x="277" y="292"/>
                  </a:lnTo>
                  <a:lnTo>
                    <a:pt x="277" y="292"/>
                  </a:lnTo>
                  <a:lnTo>
                    <a:pt x="276" y="294"/>
                  </a:lnTo>
                  <a:lnTo>
                    <a:pt x="276" y="295"/>
                  </a:lnTo>
                  <a:lnTo>
                    <a:pt x="275" y="296"/>
                  </a:lnTo>
                  <a:lnTo>
                    <a:pt x="275" y="297"/>
                  </a:lnTo>
                  <a:lnTo>
                    <a:pt x="275" y="298"/>
                  </a:lnTo>
                  <a:lnTo>
                    <a:pt x="275" y="300"/>
                  </a:lnTo>
                  <a:lnTo>
                    <a:pt x="275" y="302"/>
                  </a:lnTo>
                  <a:lnTo>
                    <a:pt x="275" y="304"/>
                  </a:lnTo>
                  <a:lnTo>
                    <a:pt x="275" y="305"/>
                  </a:lnTo>
                  <a:lnTo>
                    <a:pt x="276" y="308"/>
                  </a:lnTo>
                  <a:lnTo>
                    <a:pt x="276" y="313"/>
                  </a:lnTo>
                  <a:lnTo>
                    <a:pt x="277" y="316"/>
                  </a:lnTo>
                  <a:lnTo>
                    <a:pt x="277" y="318"/>
                  </a:lnTo>
                  <a:lnTo>
                    <a:pt x="278" y="323"/>
                  </a:lnTo>
                  <a:lnTo>
                    <a:pt x="278" y="325"/>
                  </a:lnTo>
                  <a:lnTo>
                    <a:pt x="278" y="326"/>
                  </a:lnTo>
                  <a:lnTo>
                    <a:pt x="278" y="328"/>
                  </a:lnTo>
                  <a:lnTo>
                    <a:pt x="278" y="329"/>
                  </a:lnTo>
                  <a:lnTo>
                    <a:pt x="278" y="330"/>
                  </a:lnTo>
                  <a:lnTo>
                    <a:pt x="278" y="332"/>
                  </a:lnTo>
                  <a:lnTo>
                    <a:pt x="277" y="334"/>
                  </a:lnTo>
                  <a:lnTo>
                    <a:pt x="276" y="340"/>
                  </a:lnTo>
                  <a:lnTo>
                    <a:pt x="276" y="341"/>
                  </a:lnTo>
                  <a:lnTo>
                    <a:pt x="275" y="343"/>
                  </a:lnTo>
                  <a:lnTo>
                    <a:pt x="275" y="344"/>
                  </a:lnTo>
                  <a:lnTo>
                    <a:pt x="274" y="346"/>
                  </a:lnTo>
                  <a:lnTo>
                    <a:pt x="274" y="347"/>
                  </a:lnTo>
                  <a:lnTo>
                    <a:pt x="274" y="349"/>
                  </a:lnTo>
                  <a:lnTo>
                    <a:pt x="274" y="350"/>
                  </a:lnTo>
                  <a:lnTo>
                    <a:pt x="274" y="354"/>
                  </a:lnTo>
                  <a:lnTo>
                    <a:pt x="274" y="355"/>
                  </a:lnTo>
                  <a:lnTo>
                    <a:pt x="274" y="356"/>
                  </a:lnTo>
                  <a:lnTo>
                    <a:pt x="274" y="357"/>
                  </a:lnTo>
                  <a:lnTo>
                    <a:pt x="274" y="357"/>
                  </a:lnTo>
                  <a:lnTo>
                    <a:pt x="273" y="360"/>
                  </a:lnTo>
                  <a:lnTo>
                    <a:pt x="272" y="361"/>
                  </a:lnTo>
                  <a:lnTo>
                    <a:pt x="271" y="366"/>
                  </a:lnTo>
                  <a:lnTo>
                    <a:pt x="270" y="369"/>
                  </a:lnTo>
                  <a:lnTo>
                    <a:pt x="270" y="370"/>
                  </a:lnTo>
                  <a:lnTo>
                    <a:pt x="269" y="372"/>
                  </a:lnTo>
                  <a:lnTo>
                    <a:pt x="269" y="374"/>
                  </a:lnTo>
                  <a:lnTo>
                    <a:pt x="269" y="376"/>
                  </a:lnTo>
                  <a:lnTo>
                    <a:pt x="269" y="377"/>
                  </a:lnTo>
                  <a:lnTo>
                    <a:pt x="269" y="378"/>
                  </a:lnTo>
                  <a:lnTo>
                    <a:pt x="269" y="379"/>
                  </a:lnTo>
                  <a:lnTo>
                    <a:pt x="269" y="380"/>
                  </a:lnTo>
                  <a:lnTo>
                    <a:pt x="269" y="381"/>
                  </a:lnTo>
                  <a:lnTo>
                    <a:pt x="270" y="382"/>
                  </a:lnTo>
                  <a:lnTo>
                    <a:pt x="270" y="383"/>
                  </a:lnTo>
                  <a:lnTo>
                    <a:pt x="272" y="385"/>
                  </a:lnTo>
                  <a:lnTo>
                    <a:pt x="272" y="386"/>
                  </a:lnTo>
                  <a:lnTo>
                    <a:pt x="272" y="386"/>
                  </a:lnTo>
                  <a:lnTo>
                    <a:pt x="273" y="387"/>
                  </a:lnTo>
                  <a:lnTo>
                    <a:pt x="273" y="388"/>
                  </a:lnTo>
                  <a:lnTo>
                    <a:pt x="273" y="389"/>
                  </a:lnTo>
                  <a:lnTo>
                    <a:pt x="273" y="390"/>
                  </a:lnTo>
                  <a:lnTo>
                    <a:pt x="272" y="390"/>
                  </a:lnTo>
                  <a:lnTo>
                    <a:pt x="272" y="391"/>
                  </a:lnTo>
                  <a:lnTo>
                    <a:pt x="271" y="392"/>
                  </a:lnTo>
                  <a:lnTo>
                    <a:pt x="271" y="393"/>
                  </a:lnTo>
                  <a:lnTo>
                    <a:pt x="270" y="393"/>
                  </a:lnTo>
                  <a:lnTo>
                    <a:pt x="269" y="394"/>
                  </a:lnTo>
                  <a:lnTo>
                    <a:pt x="268" y="394"/>
                  </a:lnTo>
                  <a:lnTo>
                    <a:pt x="267" y="394"/>
                  </a:lnTo>
                  <a:lnTo>
                    <a:pt x="266" y="394"/>
                  </a:lnTo>
                  <a:lnTo>
                    <a:pt x="264" y="394"/>
                  </a:lnTo>
                  <a:lnTo>
                    <a:pt x="263" y="394"/>
                  </a:lnTo>
                  <a:lnTo>
                    <a:pt x="258" y="392"/>
                  </a:lnTo>
                  <a:lnTo>
                    <a:pt x="255" y="391"/>
                  </a:lnTo>
                  <a:lnTo>
                    <a:pt x="253" y="391"/>
                  </a:lnTo>
                  <a:lnTo>
                    <a:pt x="252" y="391"/>
                  </a:lnTo>
                  <a:lnTo>
                    <a:pt x="248" y="389"/>
                  </a:lnTo>
                  <a:lnTo>
                    <a:pt x="247" y="389"/>
                  </a:lnTo>
                  <a:lnTo>
                    <a:pt x="245" y="388"/>
                  </a:lnTo>
                  <a:lnTo>
                    <a:pt x="244" y="388"/>
                  </a:lnTo>
                  <a:lnTo>
                    <a:pt x="243" y="387"/>
                  </a:lnTo>
                  <a:lnTo>
                    <a:pt x="242" y="387"/>
                  </a:lnTo>
                  <a:lnTo>
                    <a:pt x="238" y="386"/>
                  </a:lnTo>
                  <a:lnTo>
                    <a:pt x="235" y="386"/>
                  </a:lnTo>
                  <a:lnTo>
                    <a:pt x="233" y="385"/>
                  </a:lnTo>
                  <a:lnTo>
                    <a:pt x="232" y="385"/>
                  </a:lnTo>
                  <a:lnTo>
                    <a:pt x="231" y="385"/>
                  </a:lnTo>
                  <a:lnTo>
                    <a:pt x="230" y="385"/>
                  </a:lnTo>
                  <a:lnTo>
                    <a:pt x="229" y="386"/>
                  </a:lnTo>
                  <a:lnTo>
                    <a:pt x="229" y="386"/>
                  </a:lnTo>
                  <a:lnTo>
                    <a:pt x="228" y="386"/>
                  </a:lnTo>
                  <a:lnTo>
                    <a:pt x="227" y="386"/>
                  </a:lnTo>
                  <a:lnTo>
                    <a:pt x="227" y="387"/>
                  </a:lnTo>
                  <a:lnTo>
                    <a:pt x="226" y="387"/>
                  </a:lnTo>
                  <a:lnTo>
                    <a:pt x="225" y="388"/>
                  </a:lnTo>
                  <a:lnTo>
                    <a:pt x="225" y="388"/>
                  </a:lnTo>
                  <a:lnTo>
                    <a:pt x="224" y="389"/>
                  </a:lnTo>
                  <a:lnTo>
                    <a:pt x="224" y="389"/>
                  </a:lnTo>
                  <a:lnTo>
                    <a:pt x="224" y="390"/>
                  </a:lnTo>
                  <a:lnTo>
                    <a:pt x="224" y="391"/>
                  </a:lnTo>
                  <a:lnTo>
                    <a:pt x="223" y="394"/>
                  </a:lnTo>
                  <a:lnTo>
                    <a:pt x="222" y="399"/>
                  </a:lnTo>
                  <a:lnTo>
                    <a:pt x="222" y="401"/>
                  </a:lnTo>
                  <a:lnTo>
                    <a:pt x="221" y="404"/>
                  </a:lnTo>
                  <a:lnTo>
                    <a:pt x="221" y="405"/>
                  </a:lnTo>
                  <a:lnTo>
                    <a:pt x="221" y="406"/>
                  </a:lnTo>
                  <a:lnTo>
                    <a:pt x="220" y="407"/>
                  </a:lnTo>
                  <a:lnTo>
                    <a:pt x="220" y="408"/>
                  </a:lnTo>
                  <a:lnTo>
                    <a:pt x="219" y="409"/>
                  </a:lnTo>
                  <a:lnTo>
                    <a:pt x="218" y="410"/>
                  </a:lnTo>
                  <a:lnTo>
                    <a:pt x="217" y="412"/>
                  </a:lnTo>
                  <a:lnTo>
                    <a:pt x="215" y="414"/>
                  </a:lnTo>
                  <a:lnTo>
                    <a:pt x="214" y="415"/>
                  </a:lnTo>
                  <a:lnTo>
                    <a:pt x="213" y="416"/>
                  </a:lnTo>
                  <a:lnTo>
                    <a:pt x="212" y="416"/>
                  </a:lnTo>
                  <a:lnTo>
                    <a:pt x="211" y="417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Freeform 48">
              <a:extLst>
                <a:ext uri="{FF2B5EF4-FFF2-40B4-BE49-F238E27FC236}">
                  <a16:creationId xmlns:a16="http://schemas.microsoft.com/office/drawing/2014/main" id="{4E08A60D-CA27-873A-4BFD-453579634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3556"/>
              <a:ext cx="373" cy="465"/>
            </a:xfrm>
            <a:custGeom>
              <a:avLst/>
              <a:gdLst>
                <a:gd name="T0" fmla="*/ 359 w 373"/>
                <a:gd name="T1" fmla="*/ 411 h 465"/>
                <a:gd name="T2" fmla="*/ 357 w 373"/>
                <a:gd name="T3" fmla="*/ 438 h 465"/>
                <a:gd name="T4" fmla="*/ 352 w 373"/>
                <a:gd name="T5" fmla="*/ 452 h 465"/>
                <a:gd name="T6" fmla="*/ 344 w 373"/>
                <a:gd name="T7" fmla="*/ 453 h 465"/>
                <a:gd name="T8" fmla="*/ 334 w 373"/>
                <a:gd name="T9" fmla="*/ 444 h 465"/>
                <a:gd name="T10" fmla="*/ 324 w 373"/>
                <a:gd name="T11" fmla="*/ 435 h 465"/>
                <a:gd name="T12" fmla="*/ 310 w 373"/>
                <a:gd name="T13" fmla="*/ 441 h 465"/>
                <a:gd name="T14" fmla="*/ 292 w 373"/>
                <a:gd name="T15" fmla="*/ 436 h 465"/>
                <a:gd name="T16" fmla="*/ 279 w 373"/>
                <a:gd name="T17" fmla="*/ 425 h 465"/>
                <a:gd name="T18" fmla="*/ 275 w 373"/>
                <a:gd name="T19" fmla="*/ 434 h 465"/>
                <a:gd name="T20" fmla="*/ 269 w 373"/>
                <a:gd name="T21" fmla="*/ 448 h 465"/>
                <a:gd name="T22" fmla="*/ 257 w 373"/>
                <a:gd name="T23" fmla="*/ 451 h 465"/>
                <a:gd name="T24" fmla="*/ 249 w 373"/>
                <a:gd name="T25" fmla="*/ 459 h 465"/>
                <a:gd name="T26" fmla="*/ 239 w 373"/>
                <a:gd name="T27" fmla="*/ 465 h 465"/>
                <a:gd name="T28" fmla="*/ 212 w 373"/>
                <a:gd name="T29" fmla="*/ 454 h 465"/>
                <a:gd name="T30" fmla="*/ 183 w 373"/>
                <a:gd name="T31" fmla="*/ 448 h 465"/>
                <a:gd name="T32" fmla="*/ 165 w 373"/>
                <a:gd name="T33" fmla="*/ 447 h 465"/>
                <a:gd name="T34" fmla="*/ 152 w 373"/>
                <a:gd name="T35" fmla="*/ 438 h 465"/>
                <a:gd name="T36" fmla="*/ 144 w 373"/>
                <a:gd name="T37" fmla="*/ 428 h 465"/>
                <a:gd name="T38" fmla="*/ 147 w 373"/>
                <a:gd name="T39" fmla="*/ 421 h 465"/>
                <a:gd name="T40" fmla="*/ 154 w 373"/>
                <a:gd name="T41" fmla="*/ 414 h 465"/>
                <a:gd name="T42" fmla="*/ 143 w 373"/>
                <a:gd name="T43" fmla="*/ 401 h 465"/>
                <a:gd name="T44" fmla="*/ 128 w 373"/>
                <a:gd name="T45" fmla="*/ 391 h 465"/>
                <a:gd name="T46" fmla="*/ 108 w 373"/>
                <a:gd name="T47" fmla="*/ 375 h 465"/>
                <a:gd name="T48" fmla="*/ 86 w 373"/>
                <a:gd name="T49" fmla="*/ 363 h 465"/>
                <a:gd name="T50" fmla="*/ 79 w 373"/>
                <a:gd name="T51" fmla="*/ 352 h 465"/>
                <a:gd name="T52" fmla="*/ 70 w 373"/>
                <a:gd name="T53" fmla="*/ 336 h 465"/>
                <a:gd name="T54" fmla="*/ 61 w 373"/>
                <a:gd name="T55" fmla="*/ 318 h 465"/>
                <a:gd name="T56" fmla="*/ 49 w 373"/>
                <a:gd name="T57" fmla="*/ 313 h 465"/>
                <a:gd name="T58" fmla="*/ 34 w 373"/>
                <a:gd name="T59" fmla="*/ 306 h 465"/>
                <a:gd name="T60" fmla="*/ 23 w 373"/>
                <a:gd name="T61" fmla="*/ 283 h 465"/>
                <a:gd name="T62" fmla="*/ 13 w 373"/>
                <a:gd name="T63" fmla="*/ 276 h 465"/>
                <a:gd name="T64" fmla="*/ 3 w 373"/>
                <a:gd name="T65" fmla="*/ 272 h 465"/>
                <a:gd name="T66" fmla="*/ 0 w 373"/>
                <a:gd name="T67" fmla="*/ 259 h 465"/>
                <a:gd name="T68" fmla="*/ 6 w 373"/>
                <a:gd name="T69" fmla="*/ 240 h 465"/>
                <a:gd name="T70" fmla="*/ 16 w 373"/>
                <a:gd name="T71" fmla="*/ 233 h 465"/>
                <a:gd name="T72" fmla="*/ 17 w 373"/>
                <a:gd name="T73" fmla="*/ 219 h 465"/>
                <a:gd name="T74" fmla="*/ 16 w 373"/>
                <a:gd name="T75" fmla="*/ 200 h 465"/>
                <a:gd name="T76" fmla="*/ 25 w 373"/>
                <a:gd name="T77" fmla="*/ 192 h 465"/>
                <a:gd name="T78" fmla="*/ 38 w 373"/>
                <a:gd name="T79" fmla="*/ 185 h 465"/>
                <a:gd name="T80" fmla="*/ 49 w 373"/>
                <a:gd name="T81" fmla="*/ 173 h 465"/>
                <a:gd name="T82" fmla="*/ 53 w 373"/>
                <a:gd name="T83" fmla="*/ 163 h 465"/>
                <a:gd name="T84" fmla="*/ 48 w 373"/>
                <a:gd name="T85" fmla="*/ 151 h 465"/>
                <a:gd name="T86" fmla="*/ 56 w 373"/>
                <a:gd name="T87" fmla="*/ 144 h 465"/>
                <a:gd name="T88" fmla="*/ 54 w 373"/>
                <a:gd name="T89" fmla="*/ 137 h 465"/>
                <a:gd name="T90" fmla="*/ 53 w 373"/>
                <a:gd name="T91" fmla="*/ 131 h 465"/>
                <a:gd name="T92" fmla="*/ 59 w 373"/>
                <a:gd name="T93" fmla="*/ 125 h 465"/>
                <a:gd name="T94" fmla="*/ 60 w 373"/>
                <a:gd name="T95" fmla="*/ 115 h 465"/>
                <a:gd name="T96" fmla="*/ 73 w 373"/>
                <a:gd name="T97" fmla="*/ 99 h 465"/>
                <a:gd name="T98" fmla="*/ 76 w 373"/>
                <a:gd name="T99" fmla="*/ 86 h 465"/>
                <a:gd name="T100" fmla="*/ 71 w 373"/>
                <a:gd name="T101" fmla="*/ 66 h 465"/>
                <a:gd name="T102" fmla="*/ 74 w 373"/>
                <a:gd name="T103" fmla="*/ 52 h 465"/>
                <a:gd name="T104" fmla="*/ 70 w 373"/>
                <a:gd name="T105" fmla="*/ 35 h 465"/>
                <a:gd name="T106" fmla="*/ 70 w 373"/>
                <a:gd name="T107" fmla="*/ 23 h 465"/>
                <a:gd name="T108" fmla="*/ 76 w 373"/>
                <a:gd name="T109" fmla="*/ 21 h 465"/>
                <a:gd name="T110" fmla="*/ 90 w 373"/>
                <a:gd name="T111" fmla="*/ 18 h 465"/>
                <a:gd name="T112" fmla="*/ 101 w 373"/>
                <a:gd name="T113" fmla="*/ 18 h 465"/>
                <a:gd name="T114" fmla="*/ 111 w 373"/>
                <a:gd name="T115" fmla="*/ 23 h 465"/>
                <a:gd name="T116" fmla="*/ 122 w 373"/>
                <a:gd name="T117" fmla="*/ 25 h 465"/>
                <a:gd name="T118" fmla="*/ 135 w 373"/>
                <a:gd name="T119" fmla="*/ 20 h 465"/>
                <a:gd name="T120" fmla="*/ 144 w 373"/>
                <a:gd name="T121" fmla="*/ 13 h 465"/>
                <a:gd name="T122" fmla="*/ 157 w 373"/>
                <a:gd name="T123" fmla="*/ 1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" h="465">
                  <a:moveTo>
                    <a:pt x="373" y="394"/>
                  </a:moveTo>
                  <a:lnTo>
                    <a:pt x="370" y="396"/>
                  </a:lnTo>
                  <a:lnTo>
                    <a:pt x="367" y="399"/>
                  </a:lnTo>
                  <a:lnTo>
                    <a:pt x="365" y="400"/>
                  </a:lnTo>
                  <a:lnTo>
                    <a:pt x="364" y="401"/>
                  </a:lnTo>
                  <a:lnTo>
                    <a:pt x="364" y="402"/>
                  </a:lnTo>
                  <a:lnTo>
                    <a:pt x="363" y="403"/>
                  </a:lnTo>
                  <a:lnTo>
                    <a:pt x="362" y="404"/>
                  </a:lnTo>
                  <a:lnTo>
                    <a:pt x="361" y="406"/>
                  </a:lnTo>
                  <a:lnTo>
                    <a:pt x="360" y="408"/>
                  </a:lnTo>
                  <a:lnTo>
                    <a:pt x="360" y="409"/>
                  </a:lnTo>
                  <a:lnTo>
                    <a:pt x="359" y="411"/>
                  </a:lnTo>
                  <a:lnTo>
                    <a:pt x="358" y="414"/>
                  </a:lnTo>
                  <a:lnTo>
                    <a:pt x="358" y="415"/>
                  </a:lnTo>
                  <a:lnTo>
                    <a:pt x="357" y="417"/>
                  </a:lnTo>
                  <a:lnTo>
                    <a:pt x="357" y="418"/>
                  </a:lnTo>
                  <a:lnTo>
                    <a:pt x="357" y="420"/>
                  </a:lnTo>
                  <a:lnTo>
                    <a:pt x="357" y="421"/>
                  </a:lnTo>
                  <a:lnTo>
                    <a:pt x="357" y="422"/>
                  </a:lnTo>
                  <a:lnTo>
                    <a:pt x="357" y="428"/>
                  </a:lnTo>
                  <a:lnTo>
                    <a:pt x="357" y="430"/>
                  </a:lnTo>
                  <a:lnTo>
                    <a:pt x="357" y="431"/>
                  </a:lnTo>
                  <a:lnTo>
                    <a:pt x="357" y="433"/>
                  </a:lnTo>
                  <a:lnTo>
                    <a:pt x="357" y="438"/>
                  </a:lnTo>
                  <a:lnTo>
                    <a:pt x="357" y="441"/>
                  </a:lnTo>
                  <a:lnTo>
                    <a:pt x="357" y="442"/>
                  </a:lnTo>
                  <a:lnTo>
                    <a:pt x="356" y="444"/>
                  </a:lnTo>
                  <a:lnTo>
                    <a:pt x="356" y="445"/>
                  </a:lnTo>
                  <a:lnTo>
                    <a:pt x="356" y="446"/>
                  </a:lnTo>
                  <a:lnTo>
                    <a:pt x="356" y="446"/>
                  </a:lnTo>
                  <a:lnTo>
                    <a:pt x="355" y="448"/>
                  </a:lnTo>
                  <a:lnTo>
                    <a:pt x="355" y="449"/>
                  </a:lnTo>
                  <a:lnTo>
                    <a:pt x="354" y="450"/>
                  </a:lnTo>
                  <a:lnTo>
                    <a:pt x="353" y="450"/>
                  </a:lnTo>
                  <a:lnTo>
                    <a:pt x="353" y="451"/>
                  </a:lnTo>
                  <a:lnTo>
                    <a:pt x="352" y="452"/>
                  </a:lnTo>
                  <a:lnTo>
                    <a:pt x="352" y="452"/>
                  </a:lnTo>
                  <a:lnTo>
                    <a:pt x="351" y="452"/>
                  </a:lnTo>
                  <a:lnTo>
                    <a:pt x="351" y="453"/>
                  </a:lnTo>
                  <a:lnTo>
                    <a:pt x="350" y="453"/>
                  </a:lnTo>
                  <a:lnTo>
                    <a:pt x="350" y="453"/>
                  </a:lnTo>
                  <a:lnTo>
                    <a:pt x="349" y="453"/>
                  </a:lnTo>
                  <a:lnTo>
                    <a:pt x="348" y="453"/>
                  </a:lnTo>
                  <a:lnTo>
                    <a:pt x="347" y="453"/>
                  </a:lnTo>
                  <a:lnTo>
                    <a:pt x="346" y="453"/>
                  </a:lnTo>
                  <a:lnTo>
                    <a:pt x="345" y="453"/>
                  </a:lnTo>
                  <a:lnTo>
                    <a:pt x="344" y="453"/>
                  </a:lnTo>
                  <a:lnTo>
                    <a:pt x="344" y="453"/>
                  </a:lnTo>
                  <a:lnTo>
                    <a:pt x="343" y="453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1" y="451"/>
                  </a:lnTo>
                  <a:lnTo>
                    <a:pt x="340" y="451"/>
                  </a:lnTo>
                  <a:lnTo>
                    <a:pt x="340" y="450"/>
                  </a:lnTo>
                  <a:lnTo>
                    <a:pt x="337" y="447"/>
                  </a:lnTo>
                  <a:lnTo>
                    <a:pt x="337" y="446"/>
                  </a:lnTo>
                  <a:lnTo>
                    <a:pt x="336" y="445"/>
                  </a:lnTo>
                  <a:lnTo>
                    <a:pt x="335" y="444"/>
                  </a:lnTo>
                  <a:lnTo>
                    <a:pt x="334" y="444"/>
                  </a:lnTo>
                  <a:lnTo>
                    <a:pt x="333" y="444"/>
                  </a:lnTo>
                  <a:lnTo>
                    <a:pt x="332" y="443"/>
                  </a:lnTo>
                  <a:lnTo>
                    <a:pt x="331" y="443"/>
                  </a:lnTo>
                  <a:lnTo>
                    <a:pt x="330" y="442"/>
                  </a:lnTo>
                  <a:lnTo>
                    <a:pt x="330" y="442"/>
                  </a:lnTo>
                  <a:lnTo>
                    <a:pt x="329" y="441"/>
                  </a:lnTo>
                  <a:lnTo>
                    <a:pt x="328" y="440"/>
                  </a:lnTo>
                  <a:lnTo>
                    <a:pt x="328" y="440"/>
                  </a:lnTo>
                  <a:lnTo>
                    <a:pt x="326" y="438"/>
                  </a:lnTo>
                  <a:lnTo>
                    <a:pt x="326" y="436"/>
                  </a:lnTo>
                  <a:lnTo>
                    <a:pt x="325" y="436"/>
                  </a:lnTo>
                  <a:lnTo>
                    <a:pt x="324" y="435"/>
                  </a:lnTo>
                  <a:lnTo>
                    <a:pt x="324" y="435"/>
                  </a:lnTo>
                  <a:lnTo>
                    <a:pt x="323" y="435"/>
                  </a:lnTo>
                  <a:lnTo>
                    <a:pt x="323" y="435"/>
                  </a:lnTo>
                  <a:lnTo>
                    <a:pt x="322" y="435"/>
                  </a:lnTo>
                  <a:lnTo>
                    <a:pt x="322" y="435"/>
                  </a:lnTo>
                  <a:lnTo>
                    <a:pt x="321" y="435"/>
                  </a:lnTo>
                  <a:lnTo>
                    <a:pt x="320" y="436"/>
                  </a:lnTo>
                  <a:lnTo>
                    <a:pt x="314" y="439"/>
                  </a:lnTo>
                  <a:lnTo>
                    <a:pt x="313" y="440"/>
                  </a:lnTo>
                  <a:lnTo>
                    <a:pt x="312" y="441"/>
                  </a:lnTo>
                  <a:lnTo>
                    <a:pt x="311" y="441"/>
                  </a:lnTo>
                  <a:lnTo>
                    <a:pt x="310" y="441"/>
                  </a:lnTo>
                  <a:lnTo>
                    <a:pt x="309" y="442"/>
                  </a:lnTo>
                  <a:lnTo>
                    <a:pt x="308" y="442"/>
                  </a:lnTo>
                  <a:lnTo>
                    <a:pt x="308" y="442"/>
                  </a:lnTo>
                  <a:lnTo>
                    <a:pt x="307" y="442"/>
                  </a:lnTo>
                  <a:lnTo>
                    <a:pt x="307" y="441"/>
                  </a:lnTo>
                  <a:lnTo>
                    <a:pt x="306" y="441"/>
                  </a:lnTo>
                  <a:lnTo>
                    <a:pt x="303" y="440"/>
                  </a:lnTo>
                  <a:lnTo>
                    <a:pt x="299" y="439"/>
                  </a:lnTo>
                  <a:lnTo>
                    <a:pt x="297" y="438"/>
                  </a:lnTo>
                  <a:lnTo>
                    <a:pt x="294" y="437"/>
                  </a:lnTo>
                  <a:lnTo>
                    <a:pt x="293" y="436"/>
                  </a:lnTo>
                  <a:lnTo>
                    <a:pt x="292" y="436"/>
                  </a:lnTo>
                  <a:lnTo>
                    <a:pt x="291" y="435"/>
                  </a:lnTo>
                  <a:lnTo>
                    <a:pt x="290" y="434"/>
                  </a:lnTo>
                  <a:lnTo>
                    <a:pt x="289" y="434"/>
                  </a:lnTo>
                  <a:lnTo>
                    <a:pt x="288" y="432"/>
                  </a:lnTo>
                  <a:lnTo>
                    <a:pt x="287" y="431"/>
                  </a:lnTo>
                  <a:lnTo>
                    <a:pt x="284" y="428"/>
                  </a:lnTo>
                  <a:lnTo>
                    <a:pt x="283" y="427"/>
                  </a:lnTo>
                  <a:lnTo>
                    <a:pt x="282" y="426"/>
                  </a:lnTo>
                  <a:lnTo>
                    <a:pt x="281" y="426"/>
                  </a:lnTo>
                  <a:lnTo>
                    <a:pt x="280" y="425"/>
                  </a:lnTo>
                  <a:lnTo>
                    <a:pt x="280" y="425"/>
                  </a:lnTo>
                  <a:lnTo>
                    <a:pt x="279" y="425"/>
                  </a:lnTo>
                  <a:lnTo>
                    <a:pt x="279" y="426"/>
                  </a:lnTo>
                  <a:lnTo>
                    <a:pt x="278" y="426"/>
                  </a:lnTo>
                  <a:lnTo>
                    <a:pt x="278" y="426"/>
                  </a:lnTo>
                  <a:lnTo>
                    <a:pt x="277" y="426"/>
                  </a:lnTo>
                  <a:lnTo>
                    <a:pt x="277" y="427"/>
                  </a:lnTo>
                  <a:lnTo>
                    <a:pt x="276" y="427"/>
                  </a:lnTo>
                  <a:lnTo>
                    <a:pt x="276" y="427"/>
                  </a:lnTo>
                  <a:lnTo>
                    <a:pt x="276" y="428"/>
                  </a:lnTo>
                  <a:lnTo>
                    <a:pt x="275" y="428"/>
                  </a:lnTo>
                  <a:lnTo>
                    <a:pt x="275" y="429"/>
                  </a:lnTo>
                  <a:lnTo>
                    <a:pt x="275" y="433"/>
                  </a:lnTo>
                  <a:lnTo>
                    <a:pt x="275" y="434"/>
                  </a:lnTo>
                  <a:lnTo>
                    <a:pt x="275" y="435"/>
                  </a:lnTo>
                  <a:lnTo>
                    <a:pt x="274" y="437"/>
                  </a:lnTo>
                  <a:lnTo>
                    <a:pt x="274" y="440"/>
                  </a:lnTo>
                  <a:lnTo>
                    <a:pt x="273" y="441"/>
                  </a:lnTo>
                  <a:lnTo>
                    <a:pt x="273" y="442"/>
                  </a:lnTo>
                  <a:lnTo>
                    <a:pt x="272" y="443"/>
                  </a:lnTo>
                  <a:lnTo>
                    <a:pt x="272" y="444"/>
                  </a:lnTo>
                  <a:lnTo>
                    <a:pt x="271" y="445"/>
                  </a:lnTo>
                  <a:lnTo>
                    <a:pt x="270" y="446"/>
                  </a:lnTo>
                  <a:lnTo>
                    <a:pt x="270" y="447"/>
                  </a:lnTo>
                  <a:lnTo>
                    <a:pt x="269" y="447"/>
                  </a:lnTo>
                  <a:lnTo>
                    <a:pt x="269" y="448"/>
                  </a:lnTo>
                  <a:lnTo>
                    <a:pt x="268" y="449"/>
                  </a:lnTo>
                  <a:lnTo>
                    <a:pt x="267" y="449"/>
                  </a:lnTo>
                  <a:lnTo>
                    <a:pt x="267" y="449"/>
                  </a:lnTo>
                  <a:lnTo>
                    <a:pt x="266" y="449"/>
                  </a:lnTo>
                  <a:lnTo>
                    <a:pt x="265" y="449"/>
                  </a:lnTo>
                  <a:lnTo>
                    <a:pt x="262" y="449"/>
                  </a:lnTo>
                  <a:lnTo>
                    <a:pt x="260" y="450"/>
                  </a:lnTo>
                  <a:lnTo>
                    <a:pt x="259" y="450"/>
                  </a:lnTo>
                  <a:lnTo>
                    <a:pt x="259" y="450"/>
                  </a:lnTo>
                  <a:lnTo>
                    <a:pt x="258" y="450"/>
                  </a:lnTo>
                  <a:lnTo>
                    <a:pt x="257" y="451"/>
                  </a:lnTo>
                  <a:lnTo>
                    <a:pt x="257" y="451"/>
                  </a:lnTo>
                  <a:lnTo>
                    <a:pt x="257" y="452"/>
                  </a:lnTo>
                  <a:lnTo>
                    <a:pt x="256" y="453"/>
                  </a:lnTo>
                  <a:lnTo>
                    <a:pt x="256" y="454"/>
                  </a:lnTo>
                  <a:lnTo>
                    <a:pt x="255" y="455"/>
                  </a:lnTo>
                  <a:lnTo>
                    <a:pt x="255" y="456"/>
                  </a:lnTo>
                  <a:lnTo>
                    <a:pt x="255" y="456"/>
                  </a:lnTo>
                  <a:lnTo>
                    <a:pt x="254" y="457"/>
                  </a:lnTo>
                  <a:lnTo>
                    <a:pt x="254" y="457"/>
                  </a:lnTo>
                  <a:lnTo>
                    <a:pt x="253" y="458"/>
                  </a:lnTo>
                  <a:lnTo>
                    <a:pt x="252" y="458"/>
                  </a:lnTo>
                  <a:lnTo>
                    <a:pt x="251" y="459"/>
                  </a:lnTo>
                  <a:lnTo>
                    <a:pt x="249" y="459"/>
                  </a:lnTo>
                  <a:lnTo>
                    <a:pt x="248" y="459"/>
                  </a:lnTo>
                  <a:lnTo>
                    <a:pt x="248" y="459"/>
                  </a:lnTo>
                  <a:lnTo>
                    <a:pt x="247" y="460"/>
                  </a:lnTo>
                  <a:lnTo>
                    <a:pt x="246" y="460"/>
                  </a:lnTo>
                  <a:lnTo>
                    <a:pt x="245" y="461"/>
                  </a:lnTo>
                  <a:lnTo>
                    <a:pt x="244" y="463"/>
                  </a:lnTo>
                  <a:lnTo>
                    <a:pt x="243" y="464"/>
                  </a:lnTo>
                  <a:lnTo>
                    <a:pt x="242" y="464"/>
                  </a:lnTo>
                  <a:lnTo>
                    <a:pt x="241" y="464"/>
                  </a:lnTo>
                  <a:lnTo>
                    <a:pt x="241" y="465"/>
                  </a:lnTo>
                  <a:lnTo>
                    <a:pt x="240" y="465"/>
                  </a:lnTo>
                  <a:lnTo>
                    <a:pt x="239" y="465"/>
                  </a:lnTo>
                  <a:lnTo>
                    <a:pt x="239" y="465"/>
                  </a:lnTo>
                  <a:lnTo>
                    <a:pt x="238" y="465"/>
                  </a:lnTo>
                  <a:lnTo>
                    <a:pt x="237" y="464"/>
                  </a:lnTo>
                  <a:lnTo>
                    <a:pt x="235" y="463"/>
                  </a:lnTo>
                  <a:lnTo>
                    <a:pt x="231" y="462"/>
                  </a:lnTo>
                  <a:lnTo>
                    <a:pt x="228" y="460"/>
                  </a:lnTo>
                  <a:lnTo>
                    <a:pt x="221" y="456"/>
                  </a:lnTo>
                  <a:lnTo>
                    <a:pt x="219" y="455"/>
                  </a:lnTo>
                  <a:lnTo>
                    <a:pt x="218" y="455"/>
                  </a:lnTo>
                  <a:lnTo>
                    <a:pt x="217" y="455"/>
                  </a:lnTo>
                  <a:lnTo>
                    <a:pt x="216" y="454"/>
                  </a:lnTo>
                  <a:lnTo>
                    <a:pt x="212" y="454"/>
                  </a:lnTo>
                  <a:lnTo>
                    <a:pt x="211" y="454"/>
                  </a:lnTo>
                  <a:lnTo>
                    <a:pt x="209" y="453"/>
                  </a:lnTo>
                  <a:lnTo>
                    <a:pt x="205" y="452"/>
                  </a:lnTo>
                  <a:lnTo>
                    <a:pt x="200" y="450"/>
                  </a:lnTo>
                  <a:lnTo>
                    <a:pt x="197" y="449"/>
                  </a:lnTo>
                  <a:lnTo>
                    <a:pt x="196" y="449"/>
                  </a:lnTo>
                  <a:lnTo>
                    <a:pt x="195" y="449"/>
                  </a:lnTo>
                  <a:lnTo>
                    <a:pt x="193" y="449"/>
                  </a:lnTo>
                  <a:lnTo>
                    <a:pt x="190" y="449"/>
                  </a:lnTo>
                  <a:lnTo>
                    <a:pt x="188" y="449"/>
                  </a:lnTo>
                  <a:lnTo>
                    <a:pt x="187" y="448"/>
                  </a:lnTo>
                  <a:lnTo>
                    <a:pt x="183" y="448"/>
                  </a:lnTo>
                  <a:lnTo>
                    <a:pt x="181" y="448"/>
                  </a:lnTo>
                  <a:lnTo>
                    <a:pt x="179" y="447"/>
                  </a:lnTo>
                  <a:lnTo>
                    <a:pt x="178" y="447"/>
                  </a:lnTo>
                  <a:lnTo>
                    <a:pt x="177" y="447"/>
                  </a:lnTo>
                  <a:lnTo>
                    <a:pt x="173" y="448"/>
                  </a:lnTo>
                  <a:lnTo>
                    <a:pt x="172" y="448"/>
                  </a:lnTo>
                  <a:lnTo>
                    <a:pt x="171" y="448"/>
                  </a:lnTo>
                  <a:lnTo>
                    <a:pt x="170" y="448"/>
                  </a:lnTo>
                  <a:lnTo>
                    <a:pt x="169" y="448"/>
                  </a:lnTo>
                  <a:lnTo>
                    <a:pt x="168" y="448"/>
                  </a:lnTo>
                  <a:lnTo>
                    <a:pt x="168" y="448"/>
                  </a:lnTo>
                  <a:lnTo>
                    <a:pt x="165" y="447"/>
                  </a:lnTo>
                  <a:lnTo>
                    <a:pt x="164" y="446"/>
                  </a:lnTo>
                  <a:lnTo>
                    <a:pt x="163" y="446"/>
                  </a:lnTo>
                  <a:lnTo>
                    <a:pt x="160" y="445"/>
                  </a:lnTo>
                  <a:lnTo>
                    <a:pt x="159" y="445"/>
                  </a:lnTo>
                  <a:lnTo>
                    <a:pt x="158" y="444"/>
                  </a:lnTo>
                  <a:lnTo>
                    <a:pt x="158" y="444"/>
                  </a:lnTo>
                  <a:lnTo>
                    <a:pt x="156" y="443"/>
                  </a:lnTo>
                  <a:lnTo>
                    <a:pt x="154" y="441"/>
                  </a:lnTo>
                  <a:lnTo>
                    <a:pt x="154" y="441"/>
                  </a:lnTo>
                  <a:lnTo>
                    <a:pt x="153" y="440"/>
                  </a:lnTo>
                  <a:lnTo>
                    <a:pt x="152" y="439"/>
                  </a:lnTo>
                  <a:lnTo>
                    <a:pt x="152" y="438"/>
                  </a:lnTo>
                  <a:lnTo>
                    <a:pt x="151" y="438"/>
                  </a:lnTo>
                  <a:lnTo>
                    <a:pt x="151" y="437"/>
                  </a:lnTo>
                  <a:lnTo>
                    <a:pt x="150" y="434"/>
                  </a:lnTo>
                  <a:lnTo>
                    <a:pt x="149" y="434"/>
                  </a:lnTo>
                  <a:lnTo>
                    <a:pt x="149" y="433"/>
                  </a:lnTo>
                  <a:lnTo>
                    <a:pt x="149" y="433"/>
                  </a:lnTo>
                  <a:lnTo>
                    <a:pt x="148" y="432"/>
                  </a:lnTo>
                  <a:lnTo>
                    <a:pt x="147" y="431"/>
                  </a:lnTo>
                  <a:lnTo>
                    <a:pt x="146" y="431"/>
                  </a:lnTo>
                  <a:lnTo>
                    <a:pt x="145" y="430"/>
                  </a:lnTo>
                  <a:lnTo>
                    <a:pt x="145" y="429"/>
                  </a:lnTo>
                  <a:lnTo>
                    <a:pt x="144" y="428"/>
                  </a:lnTo>
                  <a:lnTo>
                    <a:pt x="144" y="428"/>
                  </a:lnTo>
                  <a:lnTo>
                    <a:pt x="144" y="427"/>
                  </a:lnTo>
                  <a:lnTo>
                    <a:pt x="144" y="426"/>
                  </a:lnTo>
                  <a:lnTo>
                    <a:pt x="144" y="426"/>
                  </a:lnTo>
                  <a:lnTo>
                    <a:pt x="144" y="425"/>
                  </a:lnTo>
                  <a:lnTo>
                    <a:pt x="144" y="425"/>
                  </a:lnTo>
                  <a:lnTo>
                    <a:pt x="144" y="424"/>
                  </a:lnTo>
                  <a:lnTo>
                    <a:pt x="144" y="424"/>
                  </a:lnTo>
                  <a:lnTo>
                    <a:pt x="145" y="423"/>
                  </a:lnTo>
                  <a:lnTo>
                    <a:pt x="145" y="422"/>
                  </a:lnTo>
                  <a:lnTo>
                    <a:pt x="146" y="422"/>
                  </a:lnTo>
                  <a:lnTo>
                    <a:pt x="147" y="421"/>
                  </a:lnTo>
                  <a:lnTo>
                    <a:pt x="148" y="420"/>
                  </a:lnTo>
                  <a:lnTo>
                    <a:pt x="149" y="420"/>
                  </a:lnTo>
                  <a:lnTo>
                    <a:pt x="151" y="419"/>
                  </a:lnTo>
                  <a:lnTo>
                    <a:pt x="152" y="419"/>
                  </a:lnTo>
                  <a:lnTo>
                    <a:pt x="152" y="418"/>
                  </a:lnTo>
                  <a:lnTo>
                    <a:pt x="153" y="418"/>
                  </a:lnTo>
                  <a:lnTo>
                    <a:pt x="153" y="417"/>
                  </a:lnTo>
                  <a:lnTo>
                    <a:pt x="153" y="417"/>
                  </a:lnTo>
                  <a:lnTo>
                    <a:pt x="154" y="416"/>
                  </a:lnTo>
                  <a:lnTo>
                    <a:pt x="154" y="415"/>
                  </a:lnTo>
                  <a:lnTo>
                    <a:pt x="154" y="415"/>
                  </a:lnTo>
                  <a:lnTo>
                    <a:pt x="154" y="414"/>
                  </a:lnTo>
                  <a:lnTo>
                    <a:pt x="154" y="413"/>
                  </a:lnTo>
                  <a:lnTo>
                    <a:pt x="154" y="412"/>
                  </a:lnTo>
                  <a:lnTo>
                    <a:pt x="153" y="411"/>
                  </a:lnTo>
                  <a:lnTo>
                    <a:pt x="153" y="411"/>
                  </a:lnTo>
                  <a:lnTo>
                    <a:pt x="152" y="410"/>
                  </a:lnTo>
                  <a:lnTo>
                    <a:pt x="152" y="410"/>
                  </a:lnTo>
                  <a:lnTo>
                    <a:pt x="149" y="408"/>
                  </a:lnTo>
                  <a:lnTo>
                    <a:pt x="148" y="407"/>
                  </a:lnTo>
                  <a:lnTo>
                    <a:pt x="147" y="406"/>
                  </a:lnTo>
                  <a:lnTo>
                    <a:pt x="146" y="405"/>
                  </a:lnTo>
                  <a:lnTo>
                    <a:pt x="144" y="402"/>
                  </a:lnTo>
                  <a:lnTo>
                    <a:pt x="143" y="401"/>
                  </a:lnTo>
                  <a:lnTo>
                    <a:pt x="142" y="399"/>
                  </a:lnTo>
                  <a:lnTo>
                    <a:pt x="140" y="398"/>
                  </a:lnTo>
                  <a:lnTo>
                    <a:pt x="139" y="397"/>
                  </a:lnTo>
                  <a:lnTo>
                    <a:pt x="139" y="396"/>
                  </a:lnTo>
                  <a:lnTo>
                    <a:pt x="138" y="396"/>
                  </a:lnTo>
                  <a:lnTo>
                    <a:pt x="137" y="395"/>
                  </a:lnTo>
                  <a:lnTo>
                    <a:pt x="136" y="395"/>
                  </a:lnTo>
                  <a:lnTo>
                    <a:pt x="136" y="395"/>
                  </a:lnTo>
                  <a:lnTo>
                    <a:pt x="134" y="394"/>
                  </a:lnTo>
                  <a:lnTo>
                    <a:pt x="131" y="393"/>
                  </a:lnTo>
                  <a:lnTo>
                    <a:pt x="129" y="392"/>
                  </a:lnTo>
                  <a:lnTo>
                    <a:pt x="128" y="391"/>
                  </a:lnTo>
                  <a:lnTo>
                    <a:pt x="126" y="391"/>
                  </a:lnTo>
                  <a:lnTo>
                    <a:pt x="125" y="391"/>
                  </a:lnTo>
                  <a:lnTo>
                    <a:pt x="125" y="390"/>
                  </a:lnTo>
                  <a:lnTo>
                    <a:pt x="121" y="387"/>
                  </a:lnTo>
                  <a:lnTo>
                    <a:pt x="120" y="387"/>
                  </a:lnTo>
                  <a:lnTo>
                    <a:pt x="119" y="386"/>
                  </a:lnTo>
                  <a:lnTo>
                    <a:pt x="118" y="385"/>
                  </a:lnTo>
                  <a:lnTo>
                    <a:pt x="117" y="384"/>
                  </a:lnTo>
                  <a:lnTo>
                    <a:pt x="116" y="382"/>
                  </a:lnTo>
                  <a:lnTo>
                    <a:pt x="111" y="378"/>
                  </a:lnTo>
                  <a:lnTo>
                    <a:pt x="110" y="376"/>
                  </a:lnTo>
                  <a:lnTo>
                    <a:pt x="108" y="375"/>
                  </a:lnTo>
                  <a:lnTo>
                    <a:pt x="107" y="373"/>
                  </a:lnTo>
                  <a:lnTo>
                    <a:pt x="105" y="372"/>
                  </a:lnTo>
                  <a:lnTo>
                    <a:pt x="104" y="371"/>
                  </a:lnTo>
                  <a:lnTo>
                    <a:pt x="103" y="370"/>
                  </a:lnTo>
                  <a:lnTo>
                    <a:pt x="101" y="369"/>
                  </a:lnTo>
                  <a:lnTo>
                    <a:pt x="100" y="368"/>
                  </a:lnTo>
                  <a:lnTo>
                    <a:pt x="99" y="367"/>
                  </a:lnTo>
                  <a:lnTo>
                    <a:pt x="97" y="367"/>
                  </a:lnTo>
                  <a:lnTo>
                    <a:pt x="96" y="366"/>
                  </a:lnTo>
                  <a:lnTo>
                    <a:pt x="94" y="366"/>
                  </a:lnTo>
                  <a:lnTo>
                    <a:pt x="88" y="364"/>
                  </a:lnTo>
                  <a:lnTo>
                    <a:pt x="86" y="363"/>
                  </a:lnTo>
                  <a:lnTo>
                    <a:pt x="85" y="363"/>
                  </a:lnTo>
                  <a:lnTo>
                    <a:pt x="84" y="362"/>
                  </a:lnTo>
                  <a:lnTo>
                    <a:pt x="83" y="362"/>
                  </a:lnTo>
                  <a:lnTo>
                    <a:pt x="82" y="361"/>
                  </a:lnTo>
                  <a:lnTo>
                    <a:pt x="82" y="361"/>
                  </a:lnTo>
                  <a:lnTo>
                    <a:pt x="81" y="360"/>
                  </a:lnTo>
                  <a:lnTo>
                    <a:pt x="81" y="360"/>
                  </a:lnTo>
                  <a:lnTo>
                    <a:pt x="81" y="359"/>
                  </a:lnTo>
                  <a:lnTo>
                    <a:pt x="80" y="357"/>
                  </a:lnTo>
                  <a:lnTo>
                    <a:pt x="80" y="356"/>
                  </a:lnTo>
                  <a:lnTo>
                    <a:pt x="80" y="353"/>
                  </a:lnTo>
                  <a:lnTo>
                    <a:pt x="79" y="352"/>
                  </a:lnTo>
                  <a:lnTo>
                    <a:pt x="79" y="351"/>
                  </a:lnTo>
                  <a:lnTo>
                    <a:pt x="79" y="350"/>
                  </a:lnTo>
                  <a:lnTo>
                    <a:pt x="78" y="348"/>
                  </a:lnTo>
                  <a:lnTo>
                    <a:pt x="76" y="343"/>
                  </a:lnTo>
                  <a:lnTo>
                    <a:pt x="75" y="342"/>
                  </a:lnTo>
                  <a:lnTo>
                    <a:pt x="75" y="341"/>
                  </a:lnTo>
                  <a:lnTo>
                    <a:pt x="74" y="339"/>
                  </a:lnTo>
                  <a:lnTo>
                    <a:pt x="73" y="339"/>
                  </a:lnTo>
                  <a:lnTo>
                    <a:pt x="73" y="338"/>
                  </a:lnTo>
                  <a:lnTo>
                    <a:pt x="72" y="338"/>
                  </a:lnTo>
                  <a:lnTo>
                    <a:pt x="72" y="337"/>
                  </a:lnTo>
                  <a:lnTo>
                    <a:pt x="70" y="336"/>
                  </a:lnTo>
                  <a:lnTo>
                    <a:pt x="69" y="335"/>
                  </a:lnTo>
                  <a:lnTo>
                    <a:pt x="68" y="334"/>
                  </a:lnTo>
                  <a:lnTo>
                    <a:pt x="68" y="334"/>
                  </a:lnTo>
                  <a:lnTo>
                    <a:pt x="67" y="333"/>
                  </a:lnTo>
                  <a:lnTo>
                    <a:pt x="67" y="332"/>
                  </a:lnTo>
                  <a:lnTo>
                    <a:pt x="66" y="332"/>
                  </a:lnTo>
                  <a:lnTo>
                    <a:pt x="66" y="330"/>
                  </a:lnTo>
                  <a:lnTo>
                    <a:pt x="65" y="329"/>
                  </a:lnTo>
                  <a:lnTo>
                    <a:pt x="65" y="328"/>
                  </a:lnTo>
                  <a:lnTo>
                    <a:pt x="63" y="324"/>
                  </a:lnTo>
                  <a:lnTo>
                    <a:pt x="62" y="320"/>
                  </a:lnTo>
                  <a:lnTo>
                    <a:pt x="61" y="318"/>
                  </a:lnTo>
                  <a:lnTo>
                    <a:pt x="60" y="317"/>
                  </a:lnTo>
                  <a:lnTo>
                    <a:pt x="60" y="316"/>
                  </a:lnTo>
                  <a:lnTo>
                    <a:pt x="59" y="315"/>
                  </a:lnTo>
                  <a:lnTo>
                    <a:pt x="58" y="314"/>
                  </a:lnTo>
                  <a:lnTo>
                    <a:pt x="58" y="313"/>
                  </a:lnTo>
                  <a:lnTo>
                    <a:pt x="57" y="313"/>
                  </a:lnTo>
                  <a:lnTo>
                    <a:pt x="57" y="313"/>
                  </a:lnTo>
                  <a:lnTo>
                    <a:pt x="56" y="313"/>
                  </a:lnTo>
                  <a:lnTo>
                    <a:pt x="55" y="313"/>
                  </a:lnTo>
                  <a:lnTo>
                    <a:pt x="52" y="313"/>
                  </a:lnTo>
                  <a:lnTo>
                    <a:pt x="51" y="313"/>
                  </a:lnTo>
                  <a:lnTo>
                    <a:pt x="49" y="313"/>
                  </a:lnTo>
                  <a:lnTo>
                    <a:pt x="46" y="313"/>
                  </a:lnTo>
                  <a:lnTo>
                    <a:pt x="45" y="313"/>
                  </a:lnTo>
                  <a:lnTo>
                    <a:pt x="44" y="313"/>
                  </a:lnTo>
                  <a:lnTo>
                    <a:pt x="43" y="313"/>
                  </a:lnTo>
                  <a:lnTo>
                    <a:pt x="42" y="312"/>
                  </a:lnTo>
                  <a:lnTo>
                    <a:pt x="41" y="312"/>
                  </a:lnTo>
                  <a:lnTo>
                    <a:pt x="40" y="312"/>
                  </a:lnTo>
                  <a:lnTo>
                    <a:pt x="40" y="311"/>
                  </a:lnTo>
                  <a:lnTo>
                    <a:pt x="39" y="311"/>
                  </a:lnTo>
                  <a:lnTo>
                    <a:pt x="38" y="310"/>
                  </a:lnTo>
                  <a:lnTo>
                    <a:pt x="35" y="307"/>
                  </a:lnTo>
                  <a:lnTo>
                    <a:pt x="34" y="306"/>
                  </a:lnTo>
                  <a:lnTo>
                    <a:pt x="34" y="305"/>
                  </a:lnTo>
                  <a:lnTo>
                    <a:pt x="33" y="303"/>
                  </a:lnTo>
                  <a:lnTo>
                    <a:pt x="32" y="301"/>
                  </a:lnTo>
                  <a:lnTo>
                    <a:pt x="30" y="298"/>
                  </a:lnTo>
                  <a:lnTo>
                    <a:pt x="29" y="295"/>
                  </a:lnTo>
                  <a:lnTo>
                    <a:pt x="28" y="292"/>
                  </a:lnTo>
                  <a:lnTo>
                    <a:pt x="26" y="288"/>
                  </a:lnTo>
                  <a:lnTo>
                    <a:pt x="25" y="285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2" y="283"/>
                  </a:lnTo>
                  <a:lnTo>
                    <a:pt x="20" y="283"/>
                  </a:lnTo>
                  <a:lnTo>
                    <a:pt x="20" y="283"/>
                  </a:lnTo>
                  <a:lnTo>
                    <a:pt x="19" y="282"/>
                  </a:lnTo>
                  <a:lnTo>
                    <a:pt x="18" y="282"/>
                  </a:lnTo>
                  <a:lnTo>
                    <a:pt x="17" y="281"/>
                  </a:lnTo>
                  <a:lnTo>
                    <a:pt x="16" y="280"/>
                  </a:lnTo>
                  <a:lnTo>
                    <a:pt x="16" y="279"/>
                  </a:lnTo>
                  <a:lnTo>
                    <a:pt x="14" y="277"/>
                  </a:lnTo>
                  <a:lnTo>
                    <a:pt x="13" y="276"/>
                  </a:lnTo>
                  <a:lnTo>
                    <a:pt x="13" y="276"/>
                  </a:lnTo>
                  <a:lnTo>
                    <a:pt x="12" y="275"/>
                  </a:lnTo>
                  <a:lnTo>
                    <a:pt x="12" y="274"/>
                  </a:lnTo>
                  <a:lnTo>
                    <a:pt x="11" y="274"/>
                  </a:lnTo>
                  <a:lnTo>
                    <a:pt x="10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8" y="273"/>
                  </a:lnTo>
                  <a:lnTo>
                    <a:pt x="7" y="272"/>
                  </a:lnTo>
                  <a:lnTo>
                    <a:pt x="5" y="272"/>
                  </a:lnTo>
                  <a:lnTo>
                    <a:pt x="4" y="272"/>
                  </a:lnTo>
                  <a:lnTo>
                    <a:pt x="3" y="272"/>
                  </a:lnTo>
                  <a:lnTo>
                    <a:pt x="3" y="272"/>
                  </a:lnTo>
                  <a:lnTo>
                    <a:pt x="2" y="272"/>
                  </a:lnTo>
                  <a:lnTo>
                    <a:pt x="2" y="272"/>
                  </a:lnTo>
                  <a:lnTo>
                    <a:pt x="2" y="271"/>
                  </a:lnTo>
                  <a:lnTo>
                    <a:pt x="1" y="267"/>
                  </a:lnTo>
                  <a:lnTo>
                    <a:pt x="0" y="266"/>
                  </a:lnTo>
                  <a:lnTo>
                    <a:pt x="0" y="265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59"/>
                  </a:lnTo>
                  <a:lnTo>
                    <a:pt x="0" y="258"/>
                  </a:lnTo>
                  <a:lnTo>
                    <a:pt x="0" y="256"/>
                  </a:lnTo>
                  <a:lnTo>
                    <a:pt x="0" y="255"/>
                  </a:lnTo>
                  <a:lnTo>
                    <a:pt x="1" y="253"/>
                  </a:lnTo>
                  <a:lnTo>
                    <a:pt x="1" y="251"/>
                  </a:lnTo>
                  <a:lnTo>
                    <a:pt x="2" y="249"/>
                  </a:lnTo>
                  <a:lnTo>
                    <a:pt x="2" y="248"/>
                  </a:lnTo>
                  <a:lnTo>
                    <a:pt x="2" y="247"/>
                  </a:lnTo>
                  <a:lnTo>
                    <a:pt x="3" y="246"/>
                  </a:lnTo>
                  <a:lnTo>
                    <a:pt x="4" y="243"/>
                  </a:lnTo>
                  <a:lnTo>
                    <a:pt x="5" y="241"/>
                  </a:lnTo>
                  <a:lnTo>
                    <a:pt x="6" y="240"/>
                  </a:lnTo>
                  <a:lnTo>
                    <a:pt x="7" y="239"/>
                  </a:lnTo>
                  <a:lnTo>
                    <a:pt x="8" y="238"/>
                  </a:lnTo>
                  <a:lnTo>
                    <a:pt x="8" y="238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10" y="236"/>
                  </a:lnTo>
                  <a:lnTo>
                    <a:pt x="11" y="236"/>
                  </a:lnTo>
                  <a:lnTo>
                    <a:pt x="13" y="235"/>
                  </a:lnTo>
                  <a:lnTo>
                    <a:pt x="14" y="235"/>
                  </a:lnTo>
                  <a:lnTo>
                    <a:pt x="14" y="234"/>
                  </a:lnTo>
                  <a:lnTo>
                    <a:pt x="15" y="233"/>
                  </a:lnTo>
                  <a:lnTo>
                    <a:pt x="16" y="233"/>
                  </a:lnTo>
                  <a:lnTo>
                    <a:pt x="17" y="232"/>
                  </a:lnTo>
                  <a:lnTo>
                    <a:pt x="17" y="232"/>
                  </a:lnTo>
                  <a:lnTo>
                    <a:pt x="17" y="231"/>
                  </a:lnTo>
                  <a:lnTo>
                    <a:pt x="18" y="230"/>
                  </a:lnTo>
                  <a:lnTo>
                    <a:pt x="18" y="230"/>
                  </a:lnTo>
                  <a:lnTo>
                    <a:pt x="18" y="229"/>
                  </a:lnTo>
                  <a:lnTo>
                    <a:pt x="18" y="228"/>
                  </a:lnTo>
                  <a:lnTo>
                    <a:pt x="18" y="227"/>
                  </a:lnTo>
                  <a:lnTo>
                    <a:pt x="18" y="226"/>
                  </a:lnTo>
                  <a:lnTo>
                    <a:pt x="18" y="225"/>
                  </a:lnTo>
                  <a:lnTo>
                    <a:pt x="18" y="223"/>
                  </a:lnTo>
                  <a:lnTo>
                    <a:pt x="17" y="219"/>
                  </a:lnTo>
                  <a:lnTo>
                    <a:pt x="17" y="218"/>
                  </a:lnTo>
                  <a:lnTo>
                    <a:pt x="17" y="216"/>
                  </a:lnTo>
                  <a:lnTo>
                    <a:pt x="15" y="214"/>
                  </a:lnTo>
                  <a:lnTo>
                    <a:pt x="15" y="212"/>
                  </a:lnTo>
                  <a:lnTo>
                    <a:pt x="15" y="211"/>
                  </a:lnTo>
                  <a:lnTo>
                    <a:pt x="15" y="210"/>
                  </a:lnTo>
                  <a:lnTo>
                    <a:pt x="15" y="210"/>
                  </a:lnTo>
                  <a:lnTo>
                    <a:pt x="15" y="209"/>
                  </a:lnTo>
                  <a:lnTo>
                    <a:pt x="16" y="206"/>
                  </a:lnTo>
                  <a:lnTo>
                    <a:pt x="16" y="205"/>
                  </a:lnTo>
                  <a:lnTo>
                    <a:pt x="16" y="203"/>
                  </a:lnTo>
                  <a:lnTo>
                    <a:pt x="16" y="200"/>
                  </a:lnTo>
                  <a:lnTo>
                    <a:pt x="17" y="198"/>
                  </a:lnTo>
                  <a:lnTo>
                    <a:pt x="17" y="196"/>
                  </a:lnTo>
                  <a:lnTo>
                    <a:pt x="18" y="192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9" y="191"/>
                  </a:lnTo>
                  <a:lnTo>
                    <a:pt x="19" y="191"/>
                  </a:lnTo>
                  <a:lnTo>
                    <a:pt x="20" y="191"/>
                  </a:lnTo>
                  <a:lnTo>
                    <a:pt x="21" y="191"/>
                  </a:lnTo>
                  <a:lnTo>
                    <a:pt x="24" y="191"/>
                  </a:lnTo>
                  <a:lnTo>
                    <a:pt x="25" y="192"/>
                  </a:lnTo>
                  <a:lnTo>
                    <a:pt x="26" y="192"/>
                  </a:lnTo>
                  <a:lnTo>
                    <a:pt x="27" y="192"/>
                  </a:lnTo>
                  <a:lnTo>
                    <a:pt x="28" y="192"/>
                  </a:lnTo>
                  <a:lnTo>
                    <a:pt x="29" y="191"/>
                  </a:lnTo>
                  <a:lnTo>
                    <a:pt x="29" y="191"/>
                  </a:lnTo>
                  <a:lnTo>
                    <a:pt x="30" y="191"/>
                  </a:lnTo>
                  <a:lnTo>
                    <a:pt x="31" y="191"/>
                  </a:lnTo>
                  <a:lnTo>
                    <a:pt x="32" y="190"/>
                  </a:lnTo>
                  <a:lnTo>
                    <a:pt x="33" y="189"/>
                  </a:lnTo>
                  <a:lnTo>
                    <a:pt x="35" y="188"/>
                  </a:lnTo>
                  <a:lnTo>
                    <a:pt x="38" y="186"/>
                  </a:lnTo>
                  <a:lnTo>
                    <a:pt x="38" y="185"/>
                  </a:lnTo>
                  <a:lnTo>
                    <a:pt x="40" y="185"/>
                  </a:lnTo>
                  <a:lnTo>
                    <a:pt x="41" y="184"/>
                  </a:lnTo>
                  <a:lnTo>
                    <a:pt x="44" y="183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6" y="182"/>
                  </a:lnTo>
                  <a:lnTo>
                    <a:pt x="46" y="181"/>
                  </a:lnTo>
                  <a:lnTo>
                    <a:pt x="47" y="178"/>
                  </a:lnTo>
                  <a:lnTo>
                    <a:pt x="48" y="175"/>
                  </a:lnTo>
                  <a:lnTo>
                    <a:pt x="48" y="174"/>
                  </a:lnTo>
                  <a:lnTo>
                    <a:pt x="49" y="173"/>
                  </a:lnTo>
                  <a:lnTo>
                    <a:pt x="49" y="172"/>
                  </a:lnTo>
                  <a:lnTo>
                    <a:pt x="50" y="171"/>
                  </a:lnTo>
                  <a:lnTo>
                    <a:pt x="51" y="170"/>
                  </a:lnTo>
                  <a:lnTo>
                    <a:pt x="52" y="169"/>
                  </a:lnTo>
                  <a:lnTo>
                    <a:pt x="53" y="168"/>
                  </a:lnTo>
                  <a:lnTo>
                    <a:pt x="53" y="167"/>
                  </a:lnTo>
                  <a:lnTo>
                    <a:pt x="53" y="167"/>
                  </a:lnTo>
                  <a:lnTo>
                    <a:pt x="53" y="167"/>
                  </a:lnTo>
                  <a:lnTo>
                    <a:pt x="53" y="166"/>
                  </a:lnTo>
                  <a:lnTo>
                    <a:pt x="53" y="165"/>
                  </a:lnTo>
                  <a:lnTo>
                    <a:pt x="53" y="164"/>
                  </a:lnTo>
                  <a:lnTo>
                    <a:pt x="53" y="163"/>
                  </a:lnTo>
                  <a:lnTo>
                    <a:pt x="52" y="162"/>
                  </a:lnTo>
                  <a:lnTo>
                    <a:pt x="52" y="162"/>
                  </a:lnTo>
                  <a:lnTo>
                    <a:pt x="52" y="161"/>
                  </a:lnTo>
                  <a:lnTo>
                    <a:pt x="50" y="159"/>
                  </a:lnTo>
                  <a:lnTo>
                    <a:pt x="50" y="158"/>
                  </a:lnTo>
                  <a:lnTo>
                    <a:pt x="49" y="156"/>
                  </a:lnTo>
                  <a:lnTo>
                    <a:pt x="48" y="155"/>
                  </a:lnTo>
                  <a:lnTo>
                    <a:pt x="48" y="154"/>
                  </a:lnTo>
                  <a:lnTo>
                    <a:pt x="48" y="153"/>
                  </a:lnTo>
                  <a:lnTo>
                    <a:pt x="48" y="153"/>
                  </a:lnTo>
                  <a:lnTo>
                    <a:pt x="48" y="152"/>
                  </a:lnTo>
                  <a:lnTo>
                    <a:pt x="48" y="151"/>
                  </a:lnTo>
                  <a:lnTo>
                    <a:pt x="49" y="151"/>
                  </a:lnTo>
                  <a:lnTo>
                    <a:pt x="49" y="150"/>
                  </a:lnTo>
                  <a:lnTo>
                    <a:pt x="49" y="149"/>
                  </a:lnTo>
                  <a:lnTo>
                    <a:pt x="50" y="149"/>
                  </a:lnTo>
                  <a:lnTo>
                    <a:pt x="51" y="148"/>
                  </a:lnTo>
                  <a:lnTo>
                    <a:pt x="52" y="146"/>
                  </a:lnTo>
                  <a:lnTo>
                    <a:pt x="53" y="146"/>
                  </a:lnTo>
                  <a:lnTo>
                    <a:pt x="53" y="145"/>
                  </a:lnTo>
                  <a:lnTo>
                    <a:pt x="55" y="145"/>
                  </a:lnTo>
                  <a:lnTo>
                    <a:pt x="55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3"/>
                  </a:lnTo>
                  <a:lnTo>
                    <a:pt x="57" y="143"/>
                  </a:lnTo>
                  <a:lnTo>
                    <a:pt x="57" y="142"/>
                  </a:lnTo>
                  <a:lnTo>
                    <a:pt x="57" y="141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39"/>
                  </a:lnTo>
                  <a:lnTo>
                    <a:pt x="55" y="138"/>
                  </a:lnTo>
                  <a:lnTo>
                    <a:pt x="54" y="138"/>
                  </a:lnTo>
                  <a:lnTo>
                    <a:pt x="54" y="137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5"/>
                  </a:lnTo>
                  <a:lnTo>
                    <a:pt x="52" y="135"/>
                  </a:lnTo>
                  <a:lnTo>
                    <a:pt x="52" y="134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3" y="131"/>
                  </a:lnTo>
                  <a:lnTo>
                    <a:pt x="53" y="130"/>
                  </a:lnTo>
                  <a:lnTo>
                    <a:pt x="53" y="130"/>
                  </a:lnTo>
                  <a:lnTo>
                    <a:pt x="54" y="130"/>
                  </a:lnTo>
                  <a:lnTo>
                    <a:pt x="56" y="129"/>
                  </a:lnTo>
                  <a:lnTo>
                    <a:pt x="56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7"/>
                  </a:lnTo>
                  <a:lnTo>
                    <a:pt x="58" y="127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5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3"/>
                  </a:lnTo>
                  <a:lnTo>
                    <a:pt x="58" y="122"/>
                  </a:lnTo>
                  <a:lnTo>
                    <a:pt x="58" y="121"/>
                  </a:lnTo>
                  <a:lnTo>
                    <a:pt x="58" y="120"/>
                  </a:lnTo>
                  <a:lnTo>
                    <a:pt x="58" y="119"/>
                  </a:lnTo>
                  <a:lnTo>
                    <a:pt x="59" y="118"/>
                  </a:lnTo>
                  <a:lnTo>
                    <a:pt x="59" y="117"/>
                  </a:lnTo>
                  <a:lnTo>
                    <a:pt x="59" y="116"/>
                  </a:lnTo>
                  <a:lnTo>
                    <a:pt x="59" y="116"/>
                  </a:lnTo>
                  <a:lnTo>
                    <a:pt x="60" y="115"/>
                  </a:lnTo>
                  <a:lnTo>
                    <a:pt x="62" y="113"/>
                  </a:lnTo>
                  <a:lnTo>
                    <a:pt x="62" y="112"/>
                  </a:lnTo>
                  <a:lnTo>
                    <a:pt x="64" y="112"/>
                  </a:lnTo>
                  <a:lnTo>
                    <a:pt x="66" y="110"/>
                  </a:lnTo>
                  <a:lnTo>
                    <a:pt x="69" y="108"/>
                  </a:lnTo>
                  <a:lnTo>
                    <a:pt x="69" y="107"/>
                  </a:lnTo>
                  <a:lnTo>
                    <a:pt x="70" y="107"/>
                  </a:lnTo>
                  <a:lnTo>
                    <a:pt x="70" y="106"/>
                  </a:lnTo>
                  <a:lnTo>
                    <a:pt x="71" y="105"/>
                  </a:lnTo>
                  <a:lnTo>
                    <a:pt x="71" y="103"/>
                  </a:lnTo>
                  <a:lnTo>
                    <a:pt x="72" y="101"/>
                  </a:lnTo>
                  <a:lnTo>
                    <a:pt x="73" y="99"/>
                  </a:lnTo>
                  <a:lnTo>
                    <a:pt x="74" y="98"/>
                  </a:lnTo>
                  <a:lnTo>
                    <a:pt x="75" y="96"/>
                  </a:lnTo>
                  <a:lnTo>
                    <a:pt x="76" y="95"/>
                  </a:lnTo>
                  <a:lnTo>
                    <a:pt x="76" y="94"/>
                  </a:lnTo>
                  <a:lnTo>
                    <a:pt x="76" y="93"/>
                  </a:lnTo>
                  <a:lnTo>
                    <a:pt x="77" y="91"/>
                  </a:lnTo>
                  <a:lnTo>
                    <a:pt x="77" y="90"/>
                  </a:lnTo>
                  <a:lnTo>
                    <a:pt x="77" y="89"/>
                  </a:lnTo>
                  <a:lnTo>
                    <a:pt x="77" y="88"/>
                  </a:lnTo>
                  <a:lnTo>
                    <a:pt x="77" y="87"/>
                  </a:lnTo>
                  <a:lnTo>
                    <a:pt x="76" y="87"/>
                  </a:lnTo>
                  <a:lnTo>
                    <a:pt x="76" y="86"/>
                  </a:lnTo>
                  <a:lnTo>
                    <a:pt x="74" y="84"/>
                  </a:lnTo>
                  <a:lnTo>
                    <a:pt x="74" y="83"/>
                  </a:lnTo>
                  <a:lnTo>
                    <a:pt x="73" y="82"/>
                  </a:lnTo>
                  <a:lnTo>
                    <a:pt x="71" y="79"/>
                  </a:lnTo>
                  <a:lnTo>
                    <a:pt x="71" y="78"/>
                  </a:lnTo>
                  <a:lnTo>
                    <a:pt x="71" y="76"/>
                  </a:lnTo>
                  <a:lnTo>
                    <a:pt x="70" y="75"/>
                  </a:lnTo>
                  <a:lnTo>
                    <a:pt x="70" y="73"/>
                  </a:lnTo>
                  <a:lnTo>
                    <a:pt x="70" y="72"/>
                  </a:lnTo>
                  <a:lnTo>
                    <a:pt x="70" y="70"/>
                  </a:lnTo>
                  <a:lnTo>
                    <a:pt x="71" y="67"/>
                  </a:lnTo>
                  <a:lnTo>
                    <a:pt x="71" y="66"/>
                  </a:lnTo>
                  <a:lnTo>
                    <a:pt x="71" y="65"/>
                  </a:lnTo>
                  <a:lnTo>
                    <a:pt x="72" y="64"/>
                  </a:lnTo>
                  <a:lnTo>
                    <a:pt x="72" y="63"/>
                  </a:lnTo>
                  <a:lnTo>
                    <a:pt x="73" y="61"/>
                  </a:lnTo>
                  <a:lnTo>
                    <a:pt x="75" y="58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5" y="56"/>
                  </a:lnTo>
                  <a:lnTo>
                    <a:pt x="75" y="55"/>
                  </a:lnTo>
                  <a:lnTo>
                    <a:pt x="75" y="54"/>
                  </a:lnTo>
                  <a:lnTo>
                    <a:pt x="74" y="52"/>
                  </a:lnTo>
                  <a:lnTo>
                    <a:pt x="73" y="50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1" y="45"/>
                  </a:lnTo>
                  <a:lnTo>
                    <a:pt x="71" y="44"/>
                  </a:lnTo>
                  <a:lnTo>
                    <a:pt x="71" y="40"/>
                  </a:lnTo>
                  <a:lnTo>
                    <a:pt x="71" y="39"/>
                  </a:lnTo>
                  <a:lnTo>
                    <a:pt x="71" y="38"/>
                  </a:lnTo>
                  <a:lnTo>
                    <a:pt x="71" y="36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69" y="34"/>
                  </a:lnTo>
                  <a:lnTo>
                    <a:pt x="68" y="33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8" y="29"/>
                  </a:lnTo>
                  <a:lnTo>
                    <a:pt x="69" y="24"/>
                  </a:lnTo>
                  <a:lnTo>
                    <a:pt x="70" y="23"/>
                  </a:lnTo>
                  <a:lnTo>
                    <a:pt x="70" y="23"/>
                  </a:lnTo>
                  <a:lnTo>
                    <a:pt x="70" y="22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3" y="21"/>
                  </a:lnTo>
                  <a:lnTo>
                    <a:pt x="73" y="21"/>
                  </a:lnTo>
                  <a:lnTo>
                    <a:pt x="74" y="21"/>
                  </a:lnTo>
                  <a:lnTo>
                    <a:pt x="76" y="21"/>
                  </a:lnTo>
                  <a:lnTo>
                    <a:pt x="77" y="21"/>
                  </a:lnTo>
                  <a:lnTo>
                    <a:pt x="80" y="20"/>
                  </a:lnTo>
                  <a:lnTo>
                    <a:pt x="83" y="19"/>
                  </a:lnTo>
                  <a:lnTo>
                    <a:pt x="85" y="18"/>
                  </a:lnTo>
                  <a:lnTo>
                    <a:pt x="87" y="17"/>
                  </a:lnTo>
                  <a:lnTo>
                    <a:pt x="87" y="17"/>
                  </a:lnTo>
                  <a:lnTo>
                    <a:pt x="88" y="17"/>
                  </a:lnTo>
                  <a:lnTo>
                    <a:pt x="88" y="17"/>
                  </a:lnTo>
                  <a:lnTo>
                    <a:pt x="89" y="17"/>
                  </a:lnTo>
                  <a:lnTo>
                    <a:pt x="89" y="17"/>
                  </a:lnTo>
                  <a:lnTo>
                    <a:pt x="90" y="17"/>
                  </a:lnTo>
                  <a:lnTo>
                    <a:pt x="90" y="18"/>
                  </a:lnTo>
                  <a:lnTo>
                    <a:pt x="92" y="20"/>
                  </a:lnTo>
                  <a:lnTo>
                    <a:pt x="93" y="20"/>
                  </a:lnTo>
                  <a:lnTo>
                    <a:pt x="93" y="20"/>
                  </a:lnTo>
                  <a:lnTo>
                    <a:pt x="94" y="20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6" y="21"/>
                  </a:lnTo>
                  <a:lnTo>
                    <a:pt x="96" y="20"/>
                  </a:lnTo>
                  <a:lnTo>
                    <a:pt x="97" y="20"/>
                  </a:lnTo>
                  <a:lnTo>
                    <a:pt x="98" y="20"/>
                  </a:lnTo>
                  <a:lnTo>
                    <a:pt x="100" y="18"/>
                  </a:lnTo>
                  <a:lnTo>
                    <a:pt x="101" y="18"/>
                  </a:lnTo>
                  <a:lnTo>
                    <a:pt x="102" y="18"/>
                  </a:lnTo>
                  <a:lnTo>
                    <a:pt x="103" y="18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5" y="18"/>
                  </a:lnTo>
                  <a:lnTo>
                    <a:pt x="105" y="19"/>
                  </a:lnTo>
                  <a:lnTo>
                    <a:pt x="108" y="20"/>
                  </a:lnTo>
                  <a:lnTo>
                    <a:pt x="108" y="21"/>
                  </a:lnTo>
                  <a:lnTo>
                    <a:pt x="110" y="22"/>
                  </a:lnTo>
                  <a:lnTo>
                    <a:pt x="110" y="22"/>
                  </a:lnTo>
                  <a:lnTo>
                    <a:pt x="111" y="22"/>
                  </a:lnTo>
                  <a:lnTo>
                    <a:pt x="111" y="23"/>
                  </a:lnTo>
                  <a:lnTo>
                    <a:pt x="112" y="23"/>
                  </a:lnTo>
                  <a:lnTo>
                    <a:pt x="112" y="24"/>
                  </a:lnTo>
                  <a:lnTo>
                    <a:pt x="113" y="24"/>
                  </a:lnTo>
                  <a:lnTo>
                    <a:pt x="115" y="25"/>
                  </a:lnTo>
                  <a:lnTo>
                    <a:pt x="115" y="25"/>
                  </a:lnTo>
                  <a:lnTo>
                    <a:pt x="116" y="25"/>
                  </a:lnTo>
                  <a:lnTo>
                    <a:pt x="117" y="26"/>
                  </a:lnTo>
                  <a:lnTo>
                    <a:pt x="118" y="26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6"/>
                  </a:lnTo>
                  <a:lnTo>
                    <a:pt x="122" y="25"/>
                  </a:lnTo>
                  <a:lnTo>
                    <a:pt x="123" y="25"/>
                  </a:lnTo>
                  <a:lnTo>
                    <a:pt x="123" y="24"/>
                  </a:lnTo>
                  <a:lnTo>
                    <a:pt x="125" y="23"/>
                  </a:lnTo>
                  <a:lnTo>
                    <a:pt x="126" y="23"/>
                  </a:lnTo>
                  <a:lnTo>
                    <a:pt x="127" y="22"/>
                  </a:lnTo>
                  <a:lnTo>
                    <a:pt x="128" y="22"/>
                  </a:lnTo>
                  <a:lnTo>
                    <a:pt x="128" y="22"/>
                  </a:lnTo>
                  <a:lnTo>
                    <a:pt x="132" y="21"/>
                  </a:lnTo>
                  <a:lnTo>
                    <a:pt x="133" y="21"/>
                  </a:lnTo>
                  <a:lnTo>
                    <a:pt x="134" y="21"/>
                  </a:lnTo>
                  <a:lnTo>
                    <a:pt x="134" y="21"/>
                  </a:lnTo>
                  <a:lnTo>
                    <a:pt x="135" y="20"/>
                  </a:lnTo>
                  <a:lnTo>
                    <a:pt x="136" y="20"/>
                  </a:lnTo>
                  <a:lnTo>
                    <a:pt x="138" y="18"/>
                  </a:lnTo>
                  <a:lnTo>
                    <a:pt x="139" y="18"/>
                  </a:lnTo>
                  <a:lnTo>
                    <a:pt x="139" y="18"/>
                  </a:lnTo>
                  <a:lnTo>
                    <a:pt x="141" y="17"/>
                  </a:lnTo>
                  <a:lnTo>
                    <a:pt x="141" y="17"/>
                  </a:lnTo>
                  <a:lnTo>
                    <a:pt x="142" y="17"/>
                  </a:lnTo>
                  <a:lnTo>
                    <a:pt x="142" y="16"/>
                  </a:lnTo>
                  <a:lnTo>
                    <a:pt x="143" y="16"/>
                  </a:lnTo>
                  <a:lnTo>
                    <a:pt x="143" y="15"/>
                  </a:lnTo>
                  <a:lnTo>
                    <a:pt x="144" y="14"/>
                  </a:lnTo>
                  <a:lnTo>
                    <a:pt x="144" y="13"/>
                  </a:lnTo>
                  <a:lnTo>
                    <a:pt x="145" y="12"/>
                  </a:lnTo>
                  <a:lnTo>
                    <a:pt x="146" y="10"/>
                  </a:lnTo>
                  <a:lnTo>
                    <a:pt x="147" y="8"/>
                  </a:lnTo>
                  <a:lnTo>
                    <a:pt x="147" y="7"/>
                  </a:lnTo>
                  <a:lnTo>
                    <a:pt x="147" y="7"/>
                  </a:lnTo>
                  <a:lnTo>
                    <a:pt x="148" y="6"/>
                  </a:lnTo>
                  <a:lnTo>
                    <a:pt x="148" y="6"/>
                  </a:lnTo>
                  <a:lnTo>
                    <a:pt x="149" y="5"/>
                  </a:lnTo>
                  <a:lnTo>
                    <a:pt x="150" y="5"/>
                  </a:lnTo>
                  <a:lnTo>
                    <a:pt x="153" y="3"/>
                  </a:lnTo>
                  <a:lnTo>
                    <a:pt x="156" y="2"/>
                  </a:lnTo>
                  <a:lnTo>
                    <a:pt x="157" y="1"/>
                  </a:lnTo>
                  <a:lnTo>
                    <a:pt x="158" y="1"/>
                  </a:lnTo>
                  <a:lnTo>
                    <a:pt x="160" y="0"/>
                  </a:lnTo>
                  <a:lnTo>
                    <a:pt x="162" y="0"/>
                  </a:lnTo>
                  <a:lnTo>
                    <a:pt x="162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Freeform 49">
              <a:extLst>
                <a:ext uri="{FF2B5EF4-FFF2-40B4-BE49-F238E27FC236}">
                  <a16:creationId xmlns:a16="http://schemas.microsoft.com/office/drawing/2014/main" id="{14B658D5-6B2A-D1C0-87D7-1E6F5529B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301"/>
              <a:ext cx="427" cy="537"/>
            </a:xfrm>
            <a:custGeom>
              <a:avLst/>
              <a:gdLst>
                <a:gd name="T0" fmla="*/ 287 w 427"/>
                <a:gd name="T1" fmla="*/ 2 h 537"/>
                <a:gd name="T2" fmla="*/ 301 w 427"/>
                <a:gd name="T3" fmla="*/ 10 h 537"/>
                <a:gd name="T4" fmla="*/ 305 w 427"/>
                <a:gd name="T5" fmla="*/ 23 h 537"/>
                <a:gd name="T6" fmla="*/ 311 w 427"/>
                <a:gd name="T7" fmla="*/ 34 h 537"/>
                <a:gd name="T8" fmla="*/ 338 w 427"/>
                <a:gd name="T9" fmla="*/ 34 h 537"/>
                <a:gd name="T10" fmla="*/ 337 w 427"/>
                <a:gd name="T11" fmla="*/ 41 h 537"/>
                <a:gd name="T12" fmla="*/ 367 w 427"/>
                <a:gd name="T13" fmla="*/ 52 h 537"/>
                <a:gd name="T14" fmla="*/ 394 w 427"/>
                <a:gd name="T15" fmla="*/ 66 h 537"/>
                <a:gd name="T16" fmla="*/ 406 w 427"/>
                <a:gd name="T17" fmla="*/ 77 h 537"/>
                <a:gd name="T18" fmla="*/ 427 w 427"/>
                <a:gd name="T19" fmla="*/ 109 h 537"/>
                <a:gd name="T20" fmla="*/ 419 w 427"/>
                <a:gd name="T21" fmla="*/ 137 h 537"/>
                <a:gd name="T22" fmla="*/ 416 w 427"/>
                <a:gd name="T23" fmla="*/ 160 h 537"/>
                <a:gd name="T24" fmla="*/ 408 w 427"/>
                <a:gd name="T25" fmla="*/ 178 h 537"/>
                <a:gd name="T26" fmla="*/ 390 w 427"/>
                <a:gd name="T27" fmla="*/ 179 h 537"/>
                <a:gd name="T28" fmla="*/ 382 w 427"/>
                <a:gd name="T29" fmla="*/ 198 h 537"/>
                <a:gd name="T30" fmla="*/ 386 w 427"/>
                <a:gd name="T31" fmla="*/ 204 h 537"/>
                <a:gd name="T32" fmla="*/ 388 w 427"/>
                <a:gd name="T33" fmla="*/ 215 h 537"/>
                <a:gd name="T34" fmla="*/ 388 w 427"/>
                <a:gd name="T35" fmla="*/ 223 h 537"/>
                <a:gd name="T36" fmla="*/ 401 w 427"/>
                <a:gd name="T37" fmla="*/ 232 h 537"/>
                <a:gd name="T38" fmla="*/ 404 w 427"/>
                <a:gd name="T39" fmla="*/ 262 h 537"/>
                <a:gd name="T40" fmla="*/ 403 w 427"/>
                <a:gd name="T41" fmla="*/ 279 h 537"/>
                <a:gd name="T42" fmla="*/ 407 w 427"/>
                <a:gd name="T43" fmla="*/ 305 h 537"/>
                <a:gd name="T44" fmla="*/ 405 w 427"/>
                <a:gd name="T45" fmla="*/ 334 h 537"/>
                <a:gd name="T46" fmla="*/ 404 w 427"/>
                <a:gd name="T47" fmla="*/ 362 h 537"/>
                <a:gd name="T48" fmla="*/ 392 w 427"/>
                <a:gd name="T49" fmla="*/ 381 h 537"/>
                <a:gd name="T50" fmla="*/ 387 w 427"/>
                <a:gd name="T51" fmla="*/ 391 h 537"/>
                <a:gd name="T52" fmla="*/ 384 w 427"/>
                <a:gd name="T53" fmla="*/ 404 h 537"/>
                <a:gd name="T54" fmla="*/ 387 w 427"/>
                <a:gd name="T55" fmla="*/ 422 h 537"/>
                <a:gd name="T56" fmla="*/ 369 w 427"/>
                <a:gd name="T57" fmla="*/ 443 h 537"/>
                <a:gd name="T58" fmla="*/ 351 w 427"/>
                <a:gd name="T59" fmla="*/ 453 h 537"/>
                <a:gd name="T60" fmla="*/ 352 w 427"/>
                <a:gd name="T61" fmla="*/ 485 h 537"/>
                <a:gd name="T62" fmla="*/ 336 w 427"/>
                <a:gd name="T63" fmla="*/ 503 h 537"/>
                <a:gd name="T64" fmla="*/ 334 w 427"/>
                <a:gd name="T65" fmla="*/ 526 h 537"/>
                <a:gd name="T66" fmla="*/ 318 w 427"/>
                <a:gd name="T67" fmla="*/ 537 h 537"/>
                <a:gd name="T68" fmla="*/ 292 w 427"/>
                <a:gd name="T69" fmla="*/ 509 h 537"/>
                <a:gd name="T70" fmla="*/ 269 w 427"/>
                <a:gd name="T71" fmla="*/ 465 h 537"/>
                <a:gd name="T72" fmla="*/ 236 w 427"/>
                <a:gd name="T73" fmla="*/ 454 h 537"/>
                <a:gd name="T74" fmla="*/ 220 w 427"/>
                <a:gd name="T75" fmla="*/ 429 h 537"/>
                <a:gd name="T76" fmla="*/ 191 w 427"/>
                <a:gd name="T77" fmla="*/ 392 h 537"/>
                <a:gd name="T78" fmla="*/ 176 w 427"/>
                <a:gd name="T79" fmla="*/ 366 h 537"/>
                <a:gd name="T80" fmla="*/ 141 w 427"/>
                <a:gd name="T81" fmla="*/ 347 h 537"/>
                <a:gd name="T82" fmla="*/ 117 w 427"/>
                <a:gd name="T83" fmla="*/ 349 h 537"/>
                <a:gd name="T84" fmla="*/ 98 w 427"/>
                <a:gd name="T85" fmla="*/ 322 h 537"/>
                <a:gd name="T86" fmla="*/ 71 w 427"/>
                <a:gd name="T87" fmla="*/ 300 h 537"/>
                <a:gd name="T88" fmla="*/ 66 w 427"/>
                <a:gd name="T89" fmla="*/ 263 h 537"/>
                <a:gd name="T90" fmla="*/ 48 w 427"/>
                <a:gd name="T91" fmla="*/ 242 h 537"/>
                <a:gd name="T92" fmla="*/ 35 w 427"/>
                <a:gd name="T93" fmla="*/ 213 h 537"/>
                <a:gd name="T94" fmla="*/ 32 w 427"/>
                <a:gd name="T95" fmla="*/ 188 h 537"/>
                <a:gd name="T96" fmla="*/ 1 w 427"/>
                <a:gd name="T97" fmla="*/ 160 h 537"/>
                <a:gd name="T98" fmla="*/ 18 w 427"/>
                <a:gd name="T99" fmla="*/ 138 h 537"/>
                <a:gd name="T100" fmla="*/ 35 w 427"/>
                <a:gd name="T101" fmla="*/ 103 h 537"/>
                <a:gd name="T102" fmla="*/ 63 w 427"/>
                <a:gd name="T103" fmla="*/ 87 h 537"/>
                <a:gd name="T104" fmla="*/ 83 w 427"/>
                <a:gd name="T105" fmla="*/ 91 h 537"/>
                <a:gd name="T106" fmla="*/ 95 w 427"/>
                <a:gd name="T107" fmla="*/ 79 h 537"/>
                <a:gd name="T108" fmla="*/ 124 w 427"/>
                <a:gd name="T109" fmla="*/ 74 h 537"/>
                <a:gd name="T110" fmla="*/ 156 w 427"/>
                <a:gd name="T111" fmla="*/ 80 h 537"/>
                <a:gd name="T112" fmla="*/ 170 w 427"/>
                <a:gd name="T113" fmla="*/ 60 h 537"/>
                <a:gd name="T114" fmla="*/ 200 w 427"/>
                <a:gd name="T115" fmla="*/ 41 h 537"/>
                <a:gd name="T116" fmla="*/ 229 w 427"/>
                <a:gd name="T117" fmla="*/ 36 h 537"/>
                <a:gd name="T118" fmla="*/ 250 w 427"/>
                <a:gd name="T119" fmla="*/ 46 h 537"/>
                <a:gd name="T120" fmla="*/ 259 w 427"/>
                <a:gd name="T121" fmla="*/ 24 h 537"/>
                <a:gd name="T122" fmla="*/ 267 w 427"/>
                <a:gd name="T123" fmla="*/ 11 h 537"/>
                <a:gd name="T124" fmla="*/ 278 w 427"/>
                <a:gd name="T125" fmla="*/ 1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537">
                  <a:moveTo>
                    <a:pt x="279" y="1"/>
                  </a:moveTo>
                  <a:lnTo>
                    <a:pt x="279" y="1"/>
                  </a:lnTo>
                  <a:lnTo>
                    <a:pt x="279" y="1"/>
                  </a:lnTo>
                  <a:lnTo>
                    <a:pt x="279" y="2"/>
                  </a:lnTo>
                  <a:lnTo>
                    <a:pt x="279" y="4"/>
                  </a:lnTo>
                  <a:lnTo>
                    <a:pt x="279" y="4"/>
                  </a:lnTo>
                  <a:lnTo>
                    <a:pt x="280" y="5"/>
                  </a:lnTo>
                  <a:lnTo>
                    <a:pt x="280" y="5"/>
                  </a:lnTo>
                  <a:lnTo>
                    <a:pt x="280" y="6"/>
                  </a:lnTo>
                  <a:lnTo>
                    <a:pt x="281" y="6"/>
                  </a:lnTo>
                  <a:lnTo>
                    <a:pt x="281" y="6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83" y="5"/>
                  </a:lnTo>
                  <a:lnTo>
                    <a:pt x="283" y="5"/>
                  </a:lnTo>
                  <a:lnTo>
                    <a:pt x="285" y="3"/>
                  </a:lnTo>
                  <a:lnTo>
                    <a:pt x="285" y="3"/>
                  </a:lnTo>
                  <a:lnTo>
                    <a:pt x="286" y="2"/>
                  </a:lnTo>
                  <a:lnTo>
                    <a:pt x="286" y="2"/>
                  </a:lnTo>
                  <a:lnTo>
                    <a:pt x="287" y="2"/>
                  </a:lnTo>
                  <a:lnTo>
                    <a:pt x="288" y="1"/>
                  </a:lnTo>
                  <a:lnTo>
                    <a:pt x="288" y="2"/>
                  </a:lnTo>
                  <a:lnTo>
                    <a:pt x="288" y="2"/>
                  </a:lnTo>
                  <a:lnTo>
                    <a:pt x="289" y="3"/>
                  </a:lnTo>
                  <a:lnTo>
                    <a:pt x="289" y="4"/>
                  </a:lnTo>
                  <a:lnTo>
                    <a:pt x="291" y="6"/>
                  </a:lnTo>
                  <a:lnTo>
                    <a:pt x="292" y="7"/>
                  </a:lnTo>
                  <a:lnTo>
                    <a:pt x="292" y="8"/>
                  </a:lnTo>
                  <a:lnTo>
                    <a:pt x="293" y="10"/>
                  </a:lnTo>
                  <a:lnTo>
                    <a:pt x="293" y="11"/>
                  </a:lnTo>
                  <a:lnTo>
                    <a:pt x="293" y="11"/>
                  </a:lnTo>
                  <a:lnTo>
                    <a:pt x="294" y="11"/>
                  </a:lnTo>
                  <a:lnTo>
                    <a:pt x="294" y="12"/>
                  </a:lnTo>
                  <a:lnTo>
                    <a:pt x="294" y="12"/>
                  </a:lnTo>
                  <a:lnTo>
                    <a:pt x="295" y="12"/>
                  </a:lnTo>
                  <a:lnTo>
                    <a:pt x="295" y="12"/>
                  </a:lnTo>
                  <a:lnTo>
                    <a:pt x="296" y="12"/>
                  </a:lnTo>
                  <a:lnTo>
                    <a:pt x="299" y="11"/>
                  </a:lnTo>
                  <a:lnTo>
                    <a:pt x="299" y="11"/>
                  </a:lnTo>
                  <a:lnTo>
                    <a:pt x="299" y="11"/>
                  </a:lnTo>
                  <a:lnTo>
                    <a:pt x="301" y="10"/>
                  </a:lnTo>
                  <a:lnTo>
                    <a:pt x="302" y="9"/>
                  </a:lnTo>
                  <a:lnTo>
                    <a:pt x="302" y="9"/>
                  </a:lnTo>
                  <a:lnTo>
                    <a:pt x="303" y="8"/>
                  </a:lnTo>
                  <a:lnTo>
                    <a:pt x="304" y="7"/>
                  </a:lnTo>
                  <a:lnTo>
                    <a:pt x="304" y="8"/>
                  </a:lnTo>
                  <a:lnTo>
                    <a:pt x="304" y="9"/>
                  </a:lnTo>
                  <a:lnTo>
                    <a:pt x="305" y="10"/>
                  </a:lnTo>
                  <a:lnTo>
                    <a:pt x="306" y="11"/>
                  </a:lnTo>
                  <a:lnTo>
                    <a:pt x="307" y="13"/>
                  </a:lnTo>
                  <a:lnTo>
                    <a:pt x="307" y="14"/>
                  </a:lnTo>
                  <a:lnTo>
                    <a:pt x="308" y="14"/>
                  </a:lnTo>
                  <a:lnTo>
                    <a:pt x="308" y="15"/>
                  </a:lnTo>
                  <a:lnTo>
                    <a:pt x="308" y="16"/>
                  </a:lnTo>
                  <a:lnTo>
                    <a:pt x="308" y="17"/>
                  </a:lnTo>
                  <a:lnTo>
                    <a:pt x="308" y="18"/>
                  </a:lnTo>
                  <a:lnTo>
                    <a:pt x="308" y="19"/>
                  </a:lnTo>
                  <a:lnTo>
                    <a:pt x="308" y="19"/>
                  </a:lnTo>
                  <a:lnTo>
                    <a:pt x="308" y="19"/>
                  </a:lnTo>
                  <a:lnTo>
                    <a:pt x="307" y="20"/>
                  </a:lnTo>
                  <a:lnTo>
                    <a:pt x="306" y="22"/>
                  </a:lnTo>
                  <a:lnTo>
                    <a:pt x="305" y="23"/>
                  </a:lnTo>
                  <a:lnTo>
                    <a:pt x="304" y="25"/>
                  </a:lnTo>
                  <a:lnTo>
                    <a:pt x="303" y="27"/>
                  </a:lnTo>
                  <a:lnTo>
                    <a:pt x="303" y="28"/>
                  </a:lnTo>
                  <a:lnTo>
                    <a:pt x="302" y="28"/>
                  </a:lnTo>
                  <a:lnTo>
                    <a:pt x="302" y="29"/>
                  </a:lnTo>
                  <a:lnTo>
                    <a:pt x="302" y="30"/>
                  </a:lnTo>
                  <a:lnTo>
                    <a:pt x="302" y="30"/>
                  </a:lnTo>
                  <a:lnTo>
                    <a:pt x="302" y="31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3" y="33"/>
                  </a:lnTo>
                  <a:lnTo>
                    <a:pt x="303" y="33"/>
                  </a:lnTo>
                  <a:lnTo>
                    <a:pt x="304" y="33"/>
                  </a:lnTo>
                  <a:lnTo>
                    <a:pt x="305" y="33"/>
                  </a:lnTo>
                  <a:lnTo>
                    <a:pt x="308" y="34"/>
                  </a:lnTo>
                  <a:lnTo>
                    <a:pt x="308" y="34"/>
                  </a:lnTo>
                  <a:lnTo>
                    <a:pt x="309" y="34"/>
                  </a:lnTo>
                  <a:lnTo>
                    <a:pt x="309" y="34"/>
                  </a:lnTo>
                  <a:lnTo>
                    <a:pt x="310" y="34"/>
                  </a:lnTo>
                  <a:lnTo>
                    <a:pt x="311" y="34"/>
                  </a:lnTo>
                  <a:lnTo>
                    <a:pt x="312" y="33"/>
                  </a:lnTo>
                  <a:lnTo>
                    <a:pt x="314" y="32"/>
                  </a:lnTo>
                  <a:lnTo>
                    <a:pt x="316" y="32"/>
                  </a:lnTo>
                  <a:lnTo>
                    <a:pt x="317" y="32"/>
                  </a:lnTo>
                  <a:lnTo>
                    <a:pt x="317" y="31"/>
                  </a:lnTo>
                  <a:lnTo>
                    <a:pt x="319" y="31"/>
                  </a:lnTo>
                  <a:lnTo>
                    <a:pt x="321" y="31"/>
                  </a:lnTo>
                  <a:lnTo>
                    <a:pt x="322" y="31"/>
                  </a:lnTo>
                  <a:lnTo>
                    <a:pt x="323" y="32"/>
                  </a:lnTo>
                  <a:lnTo>
                    <a:pt x="326" y="32"/>
                  </a:lnTo>
                  <a:lnTo>
                    <a:pt x="327" y="32"/>
                  </a:lnTo>
                  <a:lnTo>
                    <a:pt x="328" y="32"/>
                  </a:lnTo>
                  <a:lnTo>
                    <a:pt x="328" y="32"/>
                  </a:lnTo>
                  <a:lnTo>
                    <a:pt x="331" y="32"/>
                  </a:lnTo>
                  <a:lnTo>
                    <a:pt x="333" y="32"/>
                  </a:lnTo>
                  <a:lnTo>
                    <a:pt x="334" y="32"/>
                  </a:lnTo>
                  <a:lnTo>
                    <a:pt x="334" y="32"/>
                  </a:lnTo>
                  <a:lnTo>
                    <a:pt x="335" y="32"/>
                  </a:lnTo>
                  <a:lnTo>
                    <a:pt x="336" y="32"/>
                  </a:lnTo>
                  <a:lnTo>
                    <a:pt x="337" y="33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9" y="34"/>
                  </a:lnTo>
                  <a:lnTo>
                    <a:pt x="338" y="35"/>
                  </a:lnTo>
                  <a:lnTo>
                    <a:pt x="338" y="35"/>
                  </a:lnTo>
                  <a:lnTo>
                    <a:pt x="336" y="36"/>
                  </a:lnTo>
                  <a:lnTo>
                    <a:pt x="336" y="36"/>
                  </a:lnTo>
                  <a:lnTo>
                    <a:pt x="335" y="37"/>
                  </a:lnTo>
                  <a:lnTo>
                    <a:pt x="335" y="37"/>
                  </a:lnTo>
                  <a:lnTo>
                    <a:pt x="334" y="37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9"/>
                  </a:lnTo>
                  <a:lnTo>
                    <a:pt x="335" y="39"/>
                  </a:lnTo>
                  <a:lnTo>
                    <a:pt x="335" y="39"/>
                  </a:lnTo>
                  <a:lnTo>
                    <a:pt x="335" y="40"/>
                  </a:lnTo>
                  <a:lnTo>
                    <a:pt x="336" y="41"/>
                  </a:lnTo>
                  <a:lnTo>
                    <a:pt x="337" y="41"/>
                  </a:lnTo>
                  <a:lnTo>
                    <a:pt x="338" y="42"/>
                  </a:lnTo>
                  <a:lnTo>
                    <a:pt x="339" y="43"/>
                  </a:lnTo>
                  <a:lnTo>
                    <a:pt x="342" y="44"/>
                  </a:lnTo>
                  <a:lnTo>
                    <a:pt x="344" y="45"/>
                  </a:lnTo>
                  <a:lnTo>
                    <a:pt x="346" y="47"/>
                  </a:lnTo>
                  <a:lnTo>
                    <a:pt x="349" y="49"/>
                  </a:lnTo>
                  <a:lnTo>
                    <a:pt x="350" y="50"/>
                  </a:lnTo>
                  <a:lnTo>
                    <a:pt x="352" y="51"/>
                  </a:lnTo>
                  <a:lnTo>
                    <a:pt x="352" y="51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6" y="52"/>
                  </a:lnTo>
                  <a:lnTo>
                    <a:pt x="357" y="52"/>
                  </a:lnTo>
                  <a:lnTo>
                    <a:pt x="358" y="53"/>
                  </a:lnTo>
                  <a:lnTo>
                    <a:pt x="359" y="53"/>
                  </a:lnTo>
                  <a:lnTo>
                    <a:pt x="361" y="53"/>
                  </a:lnTo>
                  <a:lnTo>
                    <a:pt x="362" y="53"/>
                  </a:lnTo>
                  <a:lnTo>
                    <a:pt x="363" y="53"/>
                  </a:lnTo>
                  <a:lnTo>
                    <a:pt x="365" y="53"/>
                  </a:lnTo>
                  <a:lnTo>
                    <a:pt x="366" y="52"/>
                  </a:lnTo>
                  <a:lnTo>
                    <a:pt x="367" y="52"/>
                  </a:lnTo>
                  <a:lnTo>
                    <a:pt x="370" y="51"/>
                  </a:lnTo>
                  <a:lnTo>
                    <a:pt x="371" y="51"/>
                  </a:lnTo>
                  <a:lnTo>
                    <a:pt x="372" y="51"/>
                  </a:lnTo>
                  <a:lnTo>
                    <a:pt x="374" y="51"/>
                  </a:lnTo>
                  <a:lnTo>
                    <a:pt x="374" y="51"/>
                  </a:lnTo>
                  <a:lnTo>
                    <a:pt x="376" y="51"/>
                  </a:lnTo>
                  <a:lnTo>
                    <a:pt x="376" y="52"/>
                  </a:lnTo>
                  <a:lnTo>
                    <a:pt x="377" y="52"/>
                  </a:lnTo>
                  <a:lnTo>
                    <a:pt x="378" y="52"/>
                  </a:lnTo>
                  <a:lnTo>
                    <a:pt x="378" y="53"/>
                  </a:lnTo>
                  <a:lnTo>
                    <a:pt x="379" y="53"/>
                  </a:lnTo>
                  <a:lnTo>
                    <a:pt x="380" y="54"/>
                  </a:lnTo>
                  <a:lnTo>
                    <a:pt x="382" y="57"/>
                  </a:lnTo>
                  <a:lnTo>
                    <a:pt x="384" y="59"/>
                  </a:lnTo>
                  <a:lnTo>
                    <a:pt x="385" y="60"/>
                  </a:lnTo>
                  <a:lnTo>
                    <a:pt x="387" y="62"/>
                  </a:lnTo>
                  <a:lnTo>
                    <a:pt x="390" y="64"/>
                  </a:lnTo>
                  <a:lnTo>
                    <a:pt x="391" y="65"/>
                  </a:lnTo>
                  <a:lnTo>
                    <a:pt x="392" y="66"/>
                  </a:lnTo>
                  <a:lnTo>
                    <a:pt x="393" y="66"/>
                  </a:lnTo>
                  <a:lnTo>
                    <a:pt x="394" y="66"/>
                  </a:lnTo>
                  <a:lnTo>
                    <a:pt x="397" y="67"/>
                  </a:lnTo>
                  <a:lnTo>
                    <a:pt x="398" y="67"/>
                  </a:lnTo>
                  <a:lnTo>
                    <a:pt x="399" y="67"/>
                  </a:lnTo>
                  <a:lnTo>
                    <a:pt x="400" y="67"/>
                  </a:lnTo>
                  <a:lnTo>
                    <a:pt x="400" y="68"/>
                  </a:lnTo>
                  <a:lnTo>
                    <a:pt x="401" y="68"/>
                  </a:lnTo>
                  <a:lnTo>
                    <a:pt x="402" y="69"/>
                  </a:lnTo>
                  <a:lnTo>
                    <a:pt x="402" y="69"/>
                  </a:lnTo>
                  <a:lnTo>
                    <a:pt x="403" y="70"/>
                  </a:lnTo>
                  <a:lnTo>
                    <a:pt x="403" y="70"/>
                  </a:lnTo>
                  <a:lnTo>
                    <a:pt x="403" y="71"/>
                  </a:lnTo>
                  <a:lnTo>
                    <a:pt x="404" y="72"/>
                  </a:lnTo>
                  <a:lnTo>
                    <a:pt x="404" y="72"/>
                  </a:lnTo>
                  <a:lnTo>
                    <a:pt x="404" y="75"/>
                  </a:lnTo>
                  <a:lnTo>
                    <a:pt x="404" y="76"/>
                  </a:lnTo>
                  <a:lnTo>
                    <a:pt x="405" y="76"/>
                  </a:lnTo>
                  <a:lnTo>
                    <a:pt x="405" y="76"/>
                  </a:lnTo>
                  <a:lnTo>
                    <a:pt x="405" y="77"/>
                  </a:lnTo>
                  <a:lnTo>
                    <a:pt x="405" y="77"/>
                  </a:lnTo>
                  <a:lnTo>
                    <a:pt x="406" y="77"/>
                  </a:lnTo>
                  <a:lnTo>
                    <a:pt x="406" y="77"/>
                  </a:lnTo>
                  <a:lnTo>
                    <a:pt x="409" y="78"/>
                  </a:lnTo>
                  <a:lnTo>
                    <a:pt x="412" y="79"/>
                  </a:lnTo>
                  <a:lnTo>
                    <a:pt x="414" y="79"/>
                  </a:lnTo>
                  <a:lnTo>
                    <a:pt x="415" y="80"/>
                  </a:lnTo>
                  <a:lnTo>
                    <a:pt x="418" y="81"/>
                  </a:lnTo>
                  <a:lnTo>
                    <a:pt x="424" y="85"/>
                  </a:lnTo>
                  <a:lnTo>
                    <a:pt x="425" y="85"/>
                  </a:lnTo>
                  <a:lnTo>
                    <a:pt x="425" y="86"/>
                  </a:lnTo>
                  <a:lnTo>
                    <a:pt x="425" y="86"/>
                  </a:lnTo>
                  <a:lnTo>
                    <a:pt x="426" y="86"/>
                  </a:lnTo>
                  <a:lnTo>
                    <a:pt x="426" y="87"/>
                  </a:lnTo>
                  <a:lnTo>
                    <a:pt x="426" y="87"/>
                  </a:lnTo>
                  <a:lnTo>
                    <a:pt x="426" y="92"/>
                  </a:lnTo>
                  <a:lnTo>
                    <a:pt x="426" y="94"/>
                  </a:lnTo>
                  <a:lnTo>
                    <a:pt x="427" y="97"/>
                  </a:lnTo>
                  <a:lnTo>
                    <a:pt x="427" y="101"/>
                  </a:lnTo>
                  <a:lnTo>
                    <a:pt x="427" y="103"/>
                  </a:lnTo>
                  <a:lnTo>
                    <a:pt x="427" y="107"/>
                  </a:lnTo>
                  <a:lnTo>
                    <a:pt x="427" y="108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7" y="110"/>
                  </a:lnTo>
                  <a:lnTo>
                    <a:pt x="427" y="111"/>
                  </a:lnTo>
                  <a:lnTo>
                    <a:pt x="426" y="111"/>
                  </a:lnTo>
                  <a:lnTo>
                    <a:pt x="426" y="112"/>
                  </a:lnTo>
                  <a:lnTo>
                    <a:pt x="424" y="113"/>
                  </a:lnTo>
                  <a:lnTo>
                    <a:pt x="424" y="114"/>
                  </a:lnTo>
                  <a:lnTo>
                    <a:pt x="423" y="114"/>
                  </a:lnTo>
                  <a:lnTo>
                    <a:pt x="423" y="115"/>
                  </a:lnTo>
                  <a:lnTo>
                    <a:pt x="422" y="116"/>
                  </a:lnTo>
                  <a:lnTo>
                    <a:pt x="422" y="117"/>
                  </a:lnTo>
                  <a:lnTo>
                    <a:pt x="421" y="119"/>
                  </a:lnTo>
                  <a:lnTo>
                    <a:pt x="420" y="122"/>
                  </a:lnTo>
                  <a:lnTo>
                    <a:pt x="420" y="123"/>
                  </a:lnTo>
                  <a:lnTo>
                    <a:pt x="420" y="124"/>
                  </a:lnTo>
                  <a:lnTo>
                    <a:pt x="419" y="129"/>
                  </a:lnTo>
                  <a:lnTo>
                    <a:pt x="419" y="130"/>
                  </a:lnTo>
                  <a:lnTo>
                    <a:pt x="419" y="131"/>
                  </a:lnTo>
                  <a:lnTo>
                    <a:pt x="419" y="134"/>
                  </a:lnTo>
                  <a:lnTo>
                    <a:pt x="419" y="135"/>
                  </a:lnTo>
                  <a:lnTo>
                    <a:pt x="419" y="136"/>
                  </a:lnTo>
                  <a:lnTo>
                    <a:pt x="419" y="137"/>
                  </a:lnTo>
                  <a:lnTo>
                    <a:pt x="419" y="138"/>
                  </a:lnTo>
                  <a:lnTo>
                    <a:pt x="419" y="139"/>
                  </a:lnTo>
                  <a:lnTo>
                    <a:pt x="418" y="141"/>
                  </a:lnTo>
                  <a:lnTo>
                    <a:pt x="417" y="144"/>
                  </a:lnTo>
                  <a:lnTo>
                    <a:pt x="417" y="144"/>
                  </a:lnTo>
                  <a:lnTo>
                    <a:pt x="417" y="145"/>
                  </a:lnTo>
                  <a:lnTo>
                    <a:pt x="417" y="146"/>
                  </a:lnTo>
                  <a:lnTo>
                    <a:pt x="417" y="147"/>
                  </a:lnTo>
                  <a:lnTo>
                    <a:pt x="417" y="148"/>
                  </a:lnTo>
                  <a:lnTo>
                    <a:pt x="417" y="151"/>
                  </a:lnTo>
                  <a:lnTo>
                    <a:pt x="417" y="152"/>
                  </a:lnTo>
                  <a:lnTo>
                    <a:pt x="416" y="153"/>
                  </a:lnTo>
                  <a:lnTo>
                    <a:pt x="416" y="154"/>
                  </a:lnTo>
                  <a:lnTo>
                    <a:pt x="416" y="155"/>
                  </a:lnTo>
                  <a:lnTo>
                    <a:pt x="416" y="156"/>
                  </a:lnTo>
                  <a:lnTo>
                    <a:pt x="415" y="158"/>
                  </a:lnTo>
                  <a:lnTo>
                    <a:pt x="415" y="159"/>
                  </a:lnTo>
                  <a:lnTo>
                    <a:pt x="415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8" y="161"/>
                  </a:lnTo>
                  <a:lnTo>
                    <a:pt x="418" y="162"/>
                  </a:lnTo>
                  <a:lnTo>
                    <a:pt x="419" y="162"/>
                  </a:lnTo>
                  <a:lnTo>
                    <a:pt x="419" y="163"/>
                  </a:lnTo>
                  <a:lnTo>
                    <a:pt x="420" y="163"/>
                  </a:lnTo>
                  <a:lnTo>
                    <a:pt x="420" y="164"/>
                  </a:lnTo>
                  <a:lnTo>
                    <a:pt x="420" y="165"/>
                  </a:lnTo>
                  <a:lnTo>
                    <a:pt x="420" y="165"/>
                  </a:lnTo>
                  <a:lnTo>
                    <a:pt x="419" y="166"/>
                  </a:lnTo>
                  <a:lnTo>
                    <a:pt x="419" y="166"/>
                  </a:lnTo>
                  <a:lnTo>
                    <a:pt x="419" y="167"/>
                  </a:lnTo>
                  <a:lnTo>
                    <a:pt x="418" y="167"/>
                  </a:lnTo>
                  <a:lnTo>
                    <a:pt x="417" y="168"/>
                  </a:lnTo>
                  <a:lnTo>
                    <a:pt x="414" y="171"/>
                  </a:lnTo>
                  <a:lnTo>
                    <a:pt x="413" y="172"/>
                  </a:lnTo>
                  <a:lnTo>
                    <a:pt x="412" y="173"/>
                  </a:lnTo>
                  <a:lnTo>
                    <a:pt x="411" y="174"/>
                  </a:lnTo>
                  <a:lnTo>
                    <a:pt x="410" y="176"/>
                  </a:lnTo>
                  <a:lnTo>
                    <a:pt x="409" y="177"/>
                  </a:lnTo>
                  <a:lnTo>
                    <a:pt x="408" y="177"/>
                  </a:lnTo>
                  <a:lnTo>
                    <a:pt x="408" y="178"/>
                  </a:lnTo>
                  <a:lnTo>
                    <a:pt x="407" y="178"/>
                  </a:lnTo>
                  <a:lnTo>
                    <a:pt x="407" y="178"/>
                  </a:lnTo>
                  <a:lnTo>
                    <a:pt x="406" y="179"/>
                  </a:lnTo>
                  <a:lnTo>
                    <a:pt x="406" y="179"/>
                  </a:lnTo>
                  <a:lnTo>
                    <a:pt x="405" y="179"/>
                  </a:lnTo>
                  <a:lnTo>
                    <a:pt x="405" y="179"/>
                  </a:lnTo>
                  <a:lnTo>
                    <a:pt x="404" y="178"/>
                  </a:lnTo>
                  <a:lnTo>
                    <a:pt x="403" y="178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399" y="176"/>
                  </a:lnTo>
                  <a:lnTo>
                    <a:pt x="398" y="176"/>
                  </a:lnTo>
                  <a:lnTo>
                    <a:pt x="397" y="176"/>
                  </a:lnTo>
                  <a:lnTo>
                    <a:pt x="397" y="176"/>
                  </a:lnTo>
                  <a:lnTo>
                    <a:pt x="396" y="176"/>
                  </a:lnTo>
                  <a:lnTo>
                    <a:pt x="395" y="177"/>
                  </a:lnTo>
                  <a:lnTo>
                    <a:pt x="394" y="177"/>
                  </a:lnTo>
                  <a:lnTo>
                    <a:pt x="392" y="178"/>
                  </a:lnTo>
                  <a:lnTo>
                    <a:pt x="391" y="179"/>
                  </a:lnTo>
                  <a:lnTo>
                    <a:pt x="390" y="179"/>
                  </a:lnTo>
                  <a:lnTo>
                    <a:pt x="389" y="180"/>
                  </a:lnTo>
                  <a:lnTo>
                    <a:pt x="388" y="181"/>
                  </a:lnTo>
                  <a:lnTo>
                    <a:pt x="387" y="182"/>
                  </a:lnTo>
                  <a:lnTo>
                    <a:pt x="386" y="182"/>
                  </a:lnTo>
                  <a:lnTo>
                    <a:pt x="386" y="183"/>
                  </a:lnTo>
                  <a:lnTo>
                    <a:pt x="385" y="185"/>
                  </a:lnTo>
                  <a:lnTo>
                    <a:pt x="382" y="188"/>
                  </a:lnTo>
                  <a:lnTo>
                    <a:pt x="381" y="189"/>
                  </a:lnTo>
                  <a:lnTo>
                    <a:pt x="381" y="190"/>
                  </a:lnTo>
                  <a:lnTo>
                    <a:pt x="381" y="191"/>
                  </a:lnTo>
                  <a:lnTo>
                    <a:pt x="380" y="192"/>
                  </a:lnTo>
                  <a:lnTo>
                    <a:pt x="380" y="193"/>
                  </a:lnTo>
                  <a:lnTo>
                    <a:pt x="380" y="194"/>
                  </a:lnTo>
                  <a:lnTo>
                    <a:pt x="380" y="195"/>
                  </a:lnTo>
                  <a:lnTo>
                    <a:pt x="380" y="195"/>
                  </a:lnTo>
                  <a:lnTo>
                    <a:pt x="380" y="196"/>
                  </a:lnTo>
                  <a:lnTo>
                    <a:pt x="381" y="196"/>
                  </a:lnTo>
                  <a:lnTo>
                    <a:pt x="381" y="197"/>
                  </a:lnTo>
                  <a:lnTo>
                    <a:pt x="381" y="197"/>
                  </a:lnTo>
                  <a:lnTo>
                    <a:pt x="381" y="197"/>
                  </a:lnTo>
                  <a:lnTo>
                    <a:pt x="382" y="198"/>
                  </a:lnTo>
                  <a:lnTo>
                    <a:pt x="382" y="198"/>
                  </a:lnTo>
                  <a:lnTo>
                    <a:pt x="383" y="198"/>
                  </a:lnTo>
                  <a:lnTo>
                    <a:pt x="385" y="197"/>
                  </a:lnTo>
                  <a:lnTo>
                    <a:pt x="386" y="197"/>
                  </a:lnTo>
                  <a:lnTo>
                    <a:pt x="387" y="197"/>
                  </a:lnTo>
                  <a:lnTo>
                    <a:pt x="388" y="197"/>
                  </a:lnTo>
                  <a:lnTo>
                    <a:pt x="390" y="197"/>
                  </a:lnTo>
                  <a:lnTo>
                    <a:pt x="391" y="198"/>
                  </a:lnTo>
                  <a:lnTo>
                    <a:pt x="391" y="198"/>
                  </a:lnTo>
                  <a:lnTo>
                    <a:pt x="392" y="198"/>
                  </a:lnTo>
                  <a:lnTo>
                    <a:pt x="392" y="198"/>
                  </a:lnTo>
                  <a:lnTo>
                    <a:pt x="392" y="199"/>
                  </a:lnTo>
                  <a:lnTo>
                    <a:pt x="392" y="199"/>
                  </a:lnTo>
                  <a:lnTo>
                    <a:pt x="393" y="199"/>
                  </a:lnTo>
                  <a:lnTo>
                    <a:pt x="392" y="200"/>
                  </a:lnTo>
                  <a:lnTo>
                    <a:pt x="392" y="200"/>
                  </a:lnTo>
                  <a:lnTo>
                    <a:pt x="392" y="201"/>
                  </a:lnTo>
                  <a:lnTo>
                    <a:pt x="391" y="201"/>
                  </a:lnTo>
                  <a:lnTo>
                    <a:pt x="390" y="202"/>
                  </a:lnTo>
                  <a:lnTo>
                    <a:pt x="386" y="203"/>
                  </a:lnTo>
                  <a:lnTo>
                    <a:pt x="386" y="204"/>
                  </a:lnTo>
                  <a:lnTo>
                    <a:pt x="386" y="204"/>
                  </a:lnTo>
                  <a:lnTo>
                    <a:pt x="386" y="204"/>
                  </a:lnTo>
                  <a:lnTo>
                    <a:pt x="385" y="204"/>
                  </a:lnTo>
                  <a:lnTo>
                    <a:pt x="385" y="205"/>
                  </a:lnTo>
                  <a:lnTo>
                    <a:pt x="385" y="206"/>
                  </a:lnTo>
                  <a:lnTo>
                    <a:pt x="386" y="206"/>
                  </a:lnTo>
                  <a:lnTo>
                    <a:pt x="386" y="207"/>
                  </a:lnTo>
                  <a:lnTo>
                    <a:pt x="386" y="207"/>
                  </a:lnTo>
                  <a:lnTo>
                    <a:pt x="386" y="208"/>
                  </a:lnTo>
                  <a:lnTo>
                    <a:pt x="388" y="209"/>
                  </a:lnTo>
                  <a:lnTo>
                    <a:pt x="388" y="210"/>
                  </a:lnTo>
                  <a:lnTo>
                    <a:pt x="389" y="211"/>
                  </a:lnTo>
                  <a:lnTo>
                    <a:pt x="389" y="211"/>
                  </a:lnTo>
                  <a:lnTo>
                    <a:pt x="390" y="212"/>
                  </a:lnTo>
                  <a:lnTo>
                    <a:pt x="390" y="213"/>
                  </a:lnTo>
                  <a:lnTo>
                    <a:pt x="390" y="213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8" y="215"/>
                  </a:lnTo>
                  <a:lnTo>
                    <a:pt x="388" y="215"/>
                  </a:lnTo>
                  <a:lnTo>
                    <a:pt x="387" y="215"/>
                  </a:lnTo>
                  <a:lnTo>
                    <a:pt x="386" y="215"/>
                  </a:lnTo>
                  <a:lnTo>
                    <a:pt x="385" y="215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7"/>
                  </a:lnTo>
                  <a:lnTo>
                    <a:pt x="385" y="217"/>
                  </a:lnTo>
                  <a:lnTo>
                    <a:pt x="386" y="218"/>
                  </a:lnTo>
                  <a:lnTo>
                    <a:pt x="387" y="219"/>
                  </a:lnTo>
                  <a:lnTo>
                    <a:pt x="388" y="219"/>
                  </a:lnTo>
                  <a:lnTo>
                    <a:pt x="388" y="219"/>
                  </a:lnTo>
                  <a:lnTo>
                    <a:pt x="388" y="220"/>
                  </a:lnTo>
                  <a:lnTo>
                    <a:pt x="388" y="220"/>
                  </a:lnTo>
                  <a:lnTo>
                    <a:pt x="388" y="221"/>
                  </a:lnTo>
                  <a:lnTo>
                    <a:pt x="388" y="222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9" y="223"/>
                  </a:lnTo>
                  <a:lnTo>
                    <a:pt x="389" y="224"/>
                  </a:lnTo>
                  <a:lnTo>
                    <a:pt x="389" y="224"/>
                  </a:lnTo>
                  <a:lnTo>
                    <a:pt x="390" y="224"/>
                  </a:lnTo>
                  <a:lnTo>
                    <a:pt x="391" y="224"/>
                  </a:lnTo>
                  <a:lnTo>
                    <a:pt x="393" y="224"/>
                  </a:lnTo>
                  <a:lnTo>
                    <a:pt x="394" y="224"/>
                  </a:lnTo>
                  <a:lnTo>
                    <a:pt x="395" y="224"/>
                  </a:lnTo>
                  <a:lnTo>
                    <a:pt x="396" y="224"/>
                  </a:lnTo>
                  <a:lnTo>
                    <a:pt x="397" y="225"/>
                  </a:lnTo>
                  <a:lnTo>
                    <a:pt x="398" y="225"/>
                  </a:lnTo>
                  <a:lnTo>
                    <a:pt x="399" y="226"/>
                  </a:lnTo>
                  <a:lnTo>
                    <a:pt x="400" y="226"/>
                  </a:lnTo>
                  <a:lnTo>
                    <a:pt x="400" y="227"/>
                  </a:lnTo>
                  <a:lnTo>
                    <a:pt x="400" y="227"/>
                  </a:lnTo>
                  <a:lnTo>
                    <a:pt x="401" y="228"/>
                  </a:lnTo>
                  <a:lnTo>
                    <a:pt x="401" y="228"/>
                  </a:lnTo>
                  <a:lnTo>
                    <a:pt x="401" y="229"/>
                  </a:lnTo>
                  <a:lnTo>
                    <a:pt x="401" y="230"/>
                  </a:lnTo>
                  <a:lnTo>
                    <a:pt x="401" y="232"/>
                  </a:lnTo>
                  <a:lnTo>
                    <a:pt x="401" y="234"/>
                  </a:lnTo>
                  <a:lnTo>
                    <a:pt x="401" y="236"/>
                  </a:lnTo>
                  <a:lnTo>
                    <a:pt x="401" y="237"/>
                  </a:lnTo>
                  <a:lnTo>
                    <a:pt x="401" y="239"/>
                  </a:lnTo>
                  <a:lnTo>
                    <a:pt x="400" y="242"/>
                  </a:lnTo>
                  <a:lnTo>
                    <a:pt x="400" y="244"/>
                  </a:lnTo>
                  <a:lnTo>
                    <a:pt x="400" y="246"/>
                  </a:lnTo>
                  <a:lnTo>
                    <a:pt x="399" y="249"/>
                  </a:lnTo>
                  <a:lnTo>
                    <a:pt x="399" y="252"/>
                  </a:lnTo>
                  <a:lnTo>
                    <a:pt x="399" y="253"/>
                  </a:lnTo>
                  <a:lnTo>
                    <a:pt x="399" y="257"/>
                  </a:lnTo>
                  <a:lnTo>
                    <a:pt x="399" y="257"/>
                  </a:lnTo>
                  <a:lnTo>
                    <a:pt x="399" y="258"/>
                  </a:lnTo>
                  <a:lnTo>
                    <a:pt x="399" y="258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1" y="260"/>
                  </a:lnTo>
                  <a:lnTo>
                    <a:pt x="402" y="260"/>
                  </a:lnTo>
                  <a:lnTo>
                    <a:pt x="403" y="261"/>
                  </a:lnTo>
                  <a:lnTo>
                    <a:pt x="404" y="262"/>
                  </a:lnTo>
                  <a:lnTo>
                    <a:pt x="404" y="262"/>
                  </a:lnTo>
                  <a:lnTo>
                    <a:pt x="405" y="263"/>
                  </a:lnTo>
                  <a:lnTo>
                    <a:pt x="405" y="264"/>
                  </a:lnTo>
                  <a:lnTo>
                    <a:pt x="405" y="265"/>
                  </a:lnTo>
                  <a:lnTo>
                    <a:pt x="406" y="267"/>
                  </a:lnTo>
                  <a:lnTo>
                    <a:pt x="406" y="268"/>
                  </a:lnTo>
                  <a:lnTo>
                    <a:pt x="406" y="269"/>
                  </a:lnTo>
                  <a:lnTo>
                    <a:pt x="406" y="270"/>
                  </a:lnTo>
                  <a:lnTo>
                    <a:pt x="406" y="271"/>
                  </a:lnTo>
                  <a:lnTo>
                    <a:pt x="406" y="273"/>
                  </a:lnTo>
                  <a:lnTo>
                    <a:pt x="406" y="274"/>
                  </a:lnTo>
                  <a:lnTo>
                    <a:pt x="406" y="275"/>
                  </a:lnTo>
                  <a:lnTo>
                    <a:pt x="406" y="276"/>
                  </a:lnTo>
                  <a:lnTo>
                    <a:pt x="406" y="276"/>
                  </a:lnTo>
                  <a:lnTo>
                    <a:pt x="405" y="276"/>
                  </a:lnTo>
                  <a:lnTo>
                    <a:pt x="405" y="276"/>
                  </a:lnTo>
                  <a:lnTo>
                    <a:pt x="405" y="276"/>
                  </a:lnTo>
                  <a:lnTo>
                    <a:pt x="404" y="277"/>
                  </a:lnTo>
                  <a:lnTo>
                    <a:pt x="404" y="278"/>
                  </a:lnTo>
                  <a:lnTo>
                    <a:pt x="404" y="278"/>
                  </a:lnTo>
                  <a:lnTo>
                    <a:pt x="403" y="279"/>
                  </a:lnTo>
                  <a:lnTo>
                    <a:pt x="402" y="284"/>
                  </a:lnTo>
                  <a:lnTo>
                    <a:pt x="402" y="285"/>
                  </a:lnTo>
                  <a:lnTo>
                    <a:pt x="402" y="285"/>
                  </a:lnTo>
                  <a:lnTo>
                    <a:pt x="402" y="286"/>
                  </a:lnTo>
                  <a:lnTo>
                    <a:pt x="402" y="286"/>
                  </a:lnTo>
                  <a:lnTo>
                    <a:pt x="402" y="287"/>
                  </a:lnTo>
                  <a:lnTo>
                    <a:pt x="402" y="287"/>
                  </a:lnTo>
                  <a:lnTo>
                    <a:pt x="402" y="288"/>
                  </a:lnTo>
                  <a:lnTo>
                    <a:pt x="403" y="289"/>
                  </a:lnTo>
                  <a:lnTo>
                    <a:pt x="404" y="290"/>
                  </a:lnTo>
                  <a:lnTo>
                    <a:pt x="404" y="290"/>
                  </a:lnTo>
                  <a:lnTo>
                    <a:pt x="404" y="290"/>
                  </a:lnTo>
                  <a:lnTo>
                    <a:pt x="405" y="291"/>
                  </a:lnTo>
                  <a:lnTo>
                    <a:pt x="405" y="293"/>
                  </a:lnTo>
                  <a:lnTo>
                    <a:pt x="405" y="294"/>
                  </a:lnTo>
                  <a:lnTo>
                    <a:pt x="405" y="295"/>
                  </a:lnTo>
                  <a:lnTo>
                    <a:pt x="405" y="299"/>
                  </a:lnTo>
                  <a:lnTo>
                    <a:pt x="405" y="300"/>
                  </a:lnTo>
                  <a:lnTo>
                    <a:pt x="406" y="303"/>
                  </a:lnTo>
                  <a:lnTo>
                    <a:pt x="406" y="304"/>
                  </a:lnTo>
                  <a:lnTo>
                    <a:pt x="407" y="305"/>
                  </a:lnTo>
                  <a:lnTo>
                    <a:pt x="408" y="307"/>
                  </a:lnTo>
                  <a:lnTo>
                    <a:pt x="409" y="309"/>
                  </a:lnTo>
                  <a:lnTo>
                    <a:pt x="409" y="310"/>
                  </a:lnTo>
                  <a:lnTo>
                    <a:pt x="409" y="311"/>
                  </a:lnTo>
                  <a:lnTo>
                    <a:pt x="410" y="312"/>
                  </a:lnTo>
                  <a:lnTo>
                    <a:pt x="410" y="312"/>
                  </a:lnTo>
                  <a:lnTo>
                    <a:pt x="410" y="312"/>
                  </a:lnTo>
                  <a:lnTo>
                    <a:pt x="409" y="313"/>
                  </a:lnTo>
                  <a:lnTo>
                    <a:pt x="407" y="316"/>
                  </a:lnTo>
                  <a:lnTo>
                    <a:pt x="406" y="318"/>
                  </a:lnTo>
                  <a:lnTo>
                    <a:pt x="406" y="319"/>
                  </a:lnTo>
                  <a:lnTo>
                    <a:pt x="405" y="320"/>
                  </a:lnTo>
                  <a:lnTo>
                    <a:pt x="405" y="321"/>
                  </a:lnTo>
                  <a:lnTo>
                    <a:pt x="405" y="322"/>
                  </a:lnTo>
                  <a:lnTo>
                    <a:pt x="404" y="325"/>
                  </a:lnTo>
                  <a:lnTo>
                    <a:pt x="404" y="327"/>
                  </a:lnTo>
                  <a:lnTo>
                    <a:pt x="404" y="328"/>
                  </a:lnTo>
                  <a:lnTo>
                    <a:pt x="404" y="330"/>
                  </a:lnTo>
                  <a:lnTo>
                    <a:pt x="405" y="331"/>
                  </a:lnTo>
                  <a:lnTo>
                    <a:pt x="405" y="333"/>
                  </a:lnTo>
                  <a:lnTo>
                    <a:pt x="405" y="334"/>
                  </a:lnTo>
                  <a:lnTo>
                    <a:pt x="407" y="337"/>
                  </a:lnTo>
                  <a:lnTo>
                    <a:pt x="408" y="338"/>
                  </a:lnTo>
                  <a:lnTo>
                    <a:pt x="408" y="339"/>
                  </a:lnTo>
                  <a:lnTo>
                    <a:pt x="410" y="341"/>
                  </a:lnTo>
                  <a:lnTo>
                    <a:pt x="410" y="342"/>
                  </a:lnTo>
                  <a:lnTo>
                    <a:pt x="411" y="342"/>
                  </a:lnTo>
                  <a:lnTo>
                    <a:pt x="411" y="343"/>
                  </a:lnTo>
                  <a:lnTo>
                    <a:pt x="411" y="344"/>
                  </a:lnTo>
                  <a:lnTo>
                    <a:pt x="411" y="345"/>
                  </a:lnTo>
                  <a:lnTo>
                    <a:pt x="411" y="346"/>
                  </a:lnTo>
                  <a:lnTo>
                    <a:pt x="410" y="348"/>
                  </a:lnTo>
                  <a:lnTo>
                    <a:pt x="410" y="349"/>
                  </a:lnTo>
                  <a:lnTo>
                    <a:pt x="410" y="350"/>
                  </a:lnTo>
                  <a:lnTo>
                    <a:pt x="409" y="351"/>
                  </a:lnTo>
                  <a:lnTo>
                    <a:pt x="408" y="353"/>
                  </a:lnTo>
                  <a:lnTo>
                    <a:pt x="407" y="354"/>
                  </a:lnTo>
                  <a:lnTo>
                    <a:pt x="406" y="356"/>
                  </a:lnTo>
                  <a:lnTo>
                    <a:pt x="405" y="358"/>
                  </a:lnTo>
                  <a:lnTo>
                    <a:pt x="405" y="360"/>
                  </a:lnTo>
                  <a:lnTo>
                    <a:pt x="404" y="361"/>
                  </a:lnTo>
                  <a:lnTo>
                    <a:pt x="404" y="362"/>
                  </a:lnTo>
                  <a:lnTo>
                    <a:pt x="403" y="362"/>
                  </a:lnTo>
                  <a:lnTo>
                    <a:pt x="403" y="363"/>
                  </a:lnTo>
                  <a:lnTo>
                    <a:pt x="400" y="365"/>
                  </a:lnTo>
                  <a:lnTo>
                    <a:pt x="398" y="367"/>
                  </a:lnTo>
                  <a:lnTo>
                    <a:pt x="396" y="367"/>
                  </a:lnTo>
                  <a:lnTo>
                    <a:pt x="396" y="368"/>
                  </a:lnTo>
                  <a:lnTo>
                    <a:pt x="394" y="370"/>
                  </a:lnTo>
                  <a:lnTo>
                    <a:pt x="393" y="371"/>
                  </a:lnTo>
                  <a:lnTo>
                    <a:pt x="393" y="371"/>
                  </a:lnTo>
                  <a:lnTo>
                    <a:pt x="393" y="372"/>
                  </a:lnTo>
                  <a:lnTo>
                    <a:pt x="393" y="373"/>
                  </a:lnTo>
                  <a:lnTo>
                    <a:pt x="392" y="374"/>
                  </a:lnTo>
                  <a:lnTo>
                    <a:pt x="392" y="375"/>
                  </a:lnTo>
                  <a:lnTo>
                    <a:pt x="392" y="376"/>
                  </a:lnTo>
                  <a:lnTo>
                    <a:pt x="392" y="377"/>
                  </a:lnTo>
                  <a:lnTo>
                    <a:pt x="393" y="378"/>
                  </a:lnTo>
                  <a:lnTo>
                    <a:pt x="393" y="379"/>
                  </a:lnTo>
                  <a:lnTo>
                    <a:pt x="393" y="379"/>
                  </a:lnTo>
                  <a:lnTo>
                    <a:pt x="393" y="380"/>
                  </a:lnTo>
                  <a:lnTo>
                    <a:pt x="392" y="381"/>
                  </a:lnTo>
                  <a:lnTo>
                    <a:pt x="392" y="381"/>
                  </a:lnTo>
                  <a:lnTo>
                    <a:pt x="392" y="382"/>
                  </a:lnTo>
                  <a:lnTo>
                    <a:pt x="391" y="382"/>
                  </a:lnTo>
                  <a:lnTo>
                    <a:pt x="391" y="383"/>
                  </a:lnTo>
                  <a:lnTo>
                    <a:pt x="391" y="383"/>
                  </a:lnTo>
                  <a:lnTo>
                    <a:pt x="390" y="383"/>
                  </a:lnTo>
                  <a:lnTo>
                    <a:pt x="390" y="384"/>
                  </a:lnTo>
                  <a:lnTo>
                    <a:pt x="388" y="385"/>
                  </a:lnTo>
                  <a:lnTo>
                    <a:pt x="387" y="385"/>
                  </a:lnTo>
                  <a:lnTo>
                    <a:pt x="387" y="385"/>
                  </a:lnTo>
                  <a:lnTo>
                    <a:pt x="387" y="386"/>
                  </a:lnTo>
                  <a:lnTo>
                    <a:pt x="386" y="386"/>
                  </a:lnTo>
                  <a:lnTo>
                    <a:pt x="386" y="386"/>
                  </a:lnTo>
                  <a:lnTo>
                    <a:pt x="386" y="387"/>
                  </a:lnTo>
                  <a:lnTo>
                    <a:pt x="386" y="387"/>
                  </a:lnTo>
                  <a:lnTo>
                    <a:pt x="386" y="388"/>
                  </a:lnTo>
                  <a:lnTo>
                    <a:pt x="386" y="388"/>
                  </a:lnTo>
                  <a:lnTo>
                    <a:pt x="386" y="389"/>
                  </a:lnTo>
                  <a:lnTo>
                    <a:pt x="386" y="390"/>
                  </a:lnTo>
                  <a:lnTo>
                    <a:pt x="387" y="390"/>
                  </a:lnTo>
                  <a:lnTo>
                    <a:pt x="387" y="391"/>
                  </a:lnTo>
                  <a:lnTo>
                    <a:pt x="387" y="391"/>
                  </a:lnTo>
                  <a:lnTo>
                    <a:pt x="388" y="392"/>
                  </a:lnTo>
                  <a:lnTo>
                    <a:pt x="388" y="393"/>
                  </a:lnTo>
                  <a:lnTo>
                    <a:pt x="389" y="393"/>
                  </a:lnTo>
                  <a:lnTo>
                    <a:pt x="391" y="394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6"/>
                  </a:lnTo>
                  <a:lnTo>
                    <a:pt x="391" y="397"/>
                  </a:lnTo>
                  <a:lnTo>
                    <a:pt x="391" y="398"/>
                  </a:lnTo>
                  <a:lnTo>
                    <a:pt x="390" y="398"/>
                  </a:lnTo>
                  <a:lnTo>
                    <a:pt x="390" y="399"/>
                  </a:lnTo>
                  <a:lnTo>
                    <a:pt x="390" y="399"/>
                  </a:lnTo>
                  <a:lnTo>
                    <a:pt x="389" y="399"/>
                  </a:lnTo>
                  <a:lnTo>
                    <a:pt x="389" y="400"/>
                  </a:lnTo>
                  <a:lnTo>
                    <a:pt x="387" y="400"/>
                  </a:lnTo>
                  <a:lnTo>
                    <a:pt x="387" y="401"/>
                  </a:lnTo>
                  <a:lnTo>
                    <a:pt x="386" y="401"/>
                  </a:lnTo>
                  <a:lnTo>
                    <a:pt x="385" y="403"/>
                  </a:lnTo>
                  <a:lnTo>
                    <a:pt x="384" y="404"/>
                  </a:lnTo>
                  <a:lnTo>
                    <a:pt x="383" y="404"/>
                  </a:lnTo>
                  <a:lnTo>
                    <a:pt x="383" y="405"/>
                  </a:lnTo>
                  <a:lnTo>
                    <a:pt x="383" y="406"/>
                  </a:lnTo>
                  <a:lnTo>
                    <a:pt x="382" y="406"/>
                  </a:lnTo>
                  <a:lnTo>
                    <a:pt x="382" y="407"/>
                  </a:lnTo>
                  <a:lnTo>
                    <a:pt x="382" y="408"/>
                  </a:lnTo>
                  <a:lnTo>
                    <a:pt x="382" y="408"/>
                  </a:lnTo>
                  <a:lnTo>
                    <a:pt x="382" y="409"/>
                  </a:lnTo>
                  <a:lnTo>
                    <a:pt x="382" y="410"/>
                  </a:lnTo>
                  <a:lnTo>
                    <a:pt x="383" y="411"/>
                  </a:lnTo>
                  <a:lnTo>
                    <a:pt x="384" y="413"/>
                  </a:lnTo>
                  <a:lnTo>
                    <a:pt x="384" y="414"/>
                  </a:lnTo>
                  <a:lnTo>
                    <a:pt x="386" y="416"/>
                  </a:lnTo>
                  <a:lnTo>
                    <a:pt x="386" y="417"/>
                  </a:lnTo>
                  <a:lnTo>
                    <a:pt x="386" y="417"/>
                  </a:lnTo>
                  <a:lnTo>
                    <a:pt x="387" y="418"/>
                  </a:lnTo>
                  <a:lnTo>
                    <a:pt x="387" y="419"/>
                  </a:lnTo>
                  <a:lnTo>
                    <a:pt x="387" y="420"/>
                  </a:lnTo>
                  <a:lnTo>
                    <a:pt x="387" y="421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3"/>
                  </a:lnTo>
                  <a:lnTo>
                    <a:pt x="386" y="424"/>
                  </a:lnTo>
                  <a:lnTo>
                    <a:pt x="385" y="425"/>
                  </a:lnTo>
                  <a:lnTo>
                    <a:pt x="384" y="426"/>
                  </a:lnTo>
                  <a:lnTo>
                    <a:pt x="383" y="427"/>
                  </a:lnTo>
                  <a:lnTo>
                    <a:pt x="383" y="428"/>
                  </a:lnTo>
                  <a:lnTo>
                    <a:pt x="382" y="429"/>
                  </a:lnTo>
                  <a:lnTo>
                    <a:pt x="382" y="430"/>
                  </a:lnTo>
                  <a:lnTo>
                    <a:pt x="381" y="433"/>
                  </a:lnTo>
                  <a:lnTo>
                    <a:pt x="380" y="436"/>
                  </a:lnTo>
                  <a:lnTo>
                    <a:pt x="380" y="437"/>
                  </a:lnTo>
                  <a:lnTo>
                    <a:pt x="379" y="437"/>
                  </a:lnTo>
                  <a:lnTo>
                    <a:pt x="379" y="437"/>
                  </a:lnTo>
                  <a:lnTo>
                    <a:pt x="379" y="437"/>
                  </a:lnTo>
                  <a:lnTo>
                    <a:pt x="378" y="438"/>
                  </a:lnTo>
                  <a:lnTo>
                    <a:pt x="375" y="439"/>
                  </a:lnTo>
                  <a:lnTo>
                    <a:pt x="374" y="440"/>
                  </a:lnTo>
                  <a:lnTo>
                    <a:pt x="372" y="440"/>
                  </a:lnTo>
                  <a:lnTo>
                    <a:pt x="372" y="441"/>
                  </a:lnTo>
                  <a:lnTo>
                    <a:pt x="369" y="443"/>
                  </a:lnTo>
                  <a:lnTo>
                    <a:pt x="367" y="444"/>
                  </a:lnTo>
                  <a:lnTo>
                    <a:pt x="366" y="445"/>
                  </a:lnTo>
                  <a:lnTo>
                    <a:pt x="365" y="446"/>
                  </a:lnTo>
                  <a:lnTo>
                    <a:pt x="364" y="446"/>
                  </a:lnTo>
                  <a:lnTo>
                    <a:pt x="363" y="446"/>
                  </a:lnTo>
                  <a:lnTo>
                    <a:pt x="363" y="446"/>
                  </a:lnTo>
                  <a:lnTo>
                    <a:pt x="362" y="447"/>
                  </a:lnTo>
                  <a:lnTo>
                    <a:pt x="361" y="447"/>
                  </a:lnTo>
                  <a:lnTo>
                    <a:pt x="360" y="447"/>
                  </a:lnTo>
                  <a:lnTo>
                    <a:pt x="359" y="447"/>
                  </a:lnTo>
                  <a:lnTo>
                    <a:pt x="358" y="446"/>
                  </a:lnTo>
                  <a:lnTo>
                    <a:pt x="355" y="446"/>
                  </a:lnTo>
                  <a:lnTo>
                    <a:pt x="354" y="446"/>
                  </a:lnTo>
                  <a:lnTo>
                    <a:pt x="353" y="446"/>
                  </a:lnTo>
                  <a:lnTo>
                    <a:pt x="353" y="446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2" y="447"/>
                  </a:lnTo>
                  <a:lnTo>
                    <a:pt x="351" y="451"/>
                  </a:lnTo>
                  <a:lnTo>
                    <a:pt x="351" y="453"/>
                  </a:lnTo>
                  <a:lnTo>
                    <a:pt x="350" y="455"/>
                  </a:lnTo>
                  <a:lnTo>
                    <a:pt x="350" y="458"/>
                  </a:lnTo>
                  <a:lnTo>
                    <a:pt x="350" y="460"/>
                  </a:lnTo>
                  <a:lnTo>
                    <a:pt x="350" y="461"/>
                  </a:lnTo>
                  <a:lnTo>
                    <a:pt x="349" y="464"/>
                  </a:lnTo>
                  <a:lnTo>
                    <a:pt x="349" y="465"/>
                  </a:lnTo>
                  <a:lnTo>
                    <a:pt x="349" y="465"/>
                  </a:lnTo>
                  <a:lnTo>
                    <a:pt x="349" y="466"/>
                  </a:lnTo>
                  <a:lnTo>
                    <a:pt x="349" y="467"/>
                  </a:lnTo>
                  <a:lnTo>
                    <a:pt x="349" y="469"/>
                  </a:lnTo>
                  <a:lnTo>
                    <a:pt x="351" y="471"/>
                  </a:lnTo>
                  <a:lnTo>
                    <a:pt x="351" y="473"/>
                  </a:lnTo>
                  <a:lnTo>
                    <a:pt x="351" y="474"/>
                  </a:lnTo>
                  <a:lnTo>
                    <a:pt x="352" y="478"/>
                  </a:lnTo>
                  <a:lnTo>
                    <a:pt x="352" y="480"/>
                  </a:lnTo>
                  <a:lnTo>
                    <a:pt x="352" y="481"/>
                  </a:lnTo>
                  <a:lnTo>
                    <a:pt x="352" y="482"/>
                  </a:lnTo>
                  <a:lnTo>
                    <a:pt x="352" y="483"/>
                  </a:lnTo>
                  <a:lnTo>
                    <a:pt x="352" y="484"/>
                  </a:lnTo>
                  <a:lnTo>
                    <a:pt x="352" y="485"/>
                  </a:lnTo>
                  <a:lnTo>
                    <a:pt x="352" y="485"/>
                  </a:lnTo>
                  <a:lnTo>
                    <a:pt x="351" y="486"/>
                  </a:lnTo>
                  <a:lnTo>
                    <a:pt x="351" y="487"/>
                  </a:lnTo>
                  <a:lnTo>
                    <a:pt x="351" y="487"/>
                  </a:lnTo>
                  <a:lnTo>
                    <a:pt x="350" y="488"/>
                  </a:lnTo>
                  <a:lnTo>
                    <a:pt x="349" y="488"/>
                  </a:lnTo>
                  <a:lnTo>
                    <a:pt x="348" y="489"/>
                  </a:lnTo>
                  <a:lnTo>
                    <a:pt x="348" y="490"/>
                  </a:lnTo>
                  <a:lnTo>
                    <a:pt x="347" y="490"/>
                  </a:lnTo>
                  <a:lnTo>
                    <a:pt x="345" y="491"/>
                  </a:lnTo>
                  <a:lnTo>
                    <a:pt x="344" y="491"/>
                  </a:lnTo>
                  <a:lnTo>
                    <a:pt x="343" y="492"/>
                  </a:lnTo>
                  <a:lnTo>
                    <a:pt x="343" y="492"/>
                  </a:lnTo>
                  <a:lnTo>
                    <a:pt x="342" y="493"/>
                  </a:lnTo>
                  <a:lnTo>
                    <a:pt x="342" y="493"/>
                  </a:lnTo>
                  <a:lnTo>
                    <a:pt x="341" y="494"/>
                  </a:lnTo>
                  <a:lnTo>
                    <a:pt x="340" y="495"/>
                  </a:lnTo>
                  <a:lnTo>
                    <a:pt x="339" y="496"/>
                  </a:lnTo>
                  <a:lnTo>
                    <a:pt x="338" y="498"/>
                  </a:lnTo>
                  <a:lnTo>
                    <a:pt x="337" y="501"/>
                  </a:lnTo>
                  <a:lnTo>
                    <a:pt x="336" y="502"/>
                  </a:lnTo>
                  <a:lnTo>
                    <a:pt x="336" y="503"/>
                  </a:lnTo>
                  <a:lnTo>
                    <a:pt x="336" y="504"/>
                  </a:lnTo>
                  <a:lnTo>
                    <a:pt x="335" y="506"/>
                  </a:lnTo>
                  <a:lnTo>
                    <a:pt x="335" y="508"/>
                  </a:lnTo>
                  <a:lnTo>
                    <a:pt x="334" y="510"/>
                  </a:lnTo>
                  <a:lnTo>
                    <a:pt x="334" y="511"/>
                  </a:lnTo>
                  <a:lnTo>
                    <a:pt x="334" y="513"/>
                  </a:lnTo>
                  <a:lnTo>
                    <a:pt x="334" y="514"/>
                  </a:lnTo>
                  <a:lnTo>
                    <a:pt x="334" y="516"/>
                  </a:lnTo>
                  <a:lnTo>
                    <a:pt x="334" y="517"/>
                  </a:lnTo>
                  <a:lnTo>
                    <a:pt x="334" y="518"/>
                  </a:lnTo>
                  <a:lnTo>
                    <a:pt x="334" y="519"/>
                  </a:lnTo>
                  <a:lnTo>
                    <a:pt x="334" y="520"/>
                  </a:lnTo>
                  <a:lnTo>
                    <a:pt x="334" y="521"/>
                  </a:lnTo>
                  <a:lnTo>
                    <a:pt x="335" y="522"/>
                  </a:lnTo>
                  <a:lnTo>
                    <a:pt x="336" y="526"/>
                  </a:lnTo>
                  <a:lnTo>
                    <a:pt x="336" y="527"/>
                  </a:lnTo>
                  <a:lnTo>
                    <a:pt x="336" y="527"/>
                  </a:lnTo>
                  <a:lnTo>
                    <a:pt x="336" y="527"/>
                  </a:lnTo>
                  <a:lnTo>
                    <a:pt x="335" y="527"/>
                  </a:lnTo>
                  <a:lnTo>
                    <a:pt x="334" y="526"/>
                  </a:lnTo>
                  <a:lnTo>
                    <a:pt x="334" y="526"/>
                  </a:lnTo>
                  <a:lnTo>
                    <a:pt x="333" y="526"/>
                  </a:lnTo>
                  <a:lnTo>
                    <a:pt x="331" y="527"/>
                  </a:lnTo>
                  <a:lnTo>
                    <a:pt x="331" y="527"/>
                  </a:lnTo>
                  <a:lnTo>
                    <a:pt x="329" y="527"/>
                  </a:lnTo>
                  <a:lnTo>
                    <a:pt x="328" y="528"/>
                  </a:lnTo>
                  <a:lnTo>
                    <a:pt x="328" y="528"/>
                  </a:lnTo>
                  <a:lnTo>
                    <a:pt x="327" y="529"/>
                  </a:lnTo>
                  <a:lnTo>
                    <a:pt x="326" y="529"/>
                  </a:lnTo>
                  <a:lnTo>
                    <a:pt x="325" y="530"/>
                  </a:lnTo>
                  <a:lnTo>
                    <a:pt x="325" y="531"/>
                  </a:lnTo>
                  <a:lnTo>
                    <a:pt x="324" y="531"/>
                  </a:lnTo>
                  <a:lnTo>
                    <a:pt x="324" y="532"/>
                  </a:lnTo>
                  <a:lnTo>
                    <a:pt x="322" y="535"/>
                  </a:lnTo>
                  <a:lnTo>
                    <a:pt x="322" y="535"/>
                  </a:lnTo>
                  <a:lnTo>
                    <a:pt x="322" y="536"/>
                  </a:lnTo>
                  <a:lnTo>
                    <a:pt x="321" y="536"/>
                  </a:lnTo>
                  <a:lnTo>
                    <a:pt x="321" y="536"/>
                  </a:lnTo>
                  <a:lnTo>
                    <a:pt x="321" y="536"/>
                  </a:lnTo>
                  <a:lnTo>
                    <a:pt x="320" y="537"/>
                  </a:lnTo>
                  <a:lnTo>
                    <a:pt x="319" y="537"/>
                  </a:lnTo>
                  <a:lnTo>
                    <a:pt x="318" y="537"/>
                  </a:lnTo>
                  <a:lnTo>
                    <a:pt x="318" y="536"/>
                  </a:lnTo>
                  <a:lnTo>
                    <a:pt x="317" y="536"/>
                  </a:lnTo>
                  <a:lnTo>
                    <a:pt x="317" y="536"/>
                  </a:lnTo>
                  <a:lnTo>
                    <a:pt x="315" y="535"/>
                  </a:lnTo>
                  <a:lnTo>
                    <a:pt x="312" y="533"/>
                  </a:lnTo>
                  <a:lnTo>
                    <a:pt x="311" y="532"/>
                  </a:lnTo>
                  <a:lnTo>
                    <a:pt x="308" y="530"/>
                  </a:lnTo>
                  <a:lnTo>
                    <a:pt x="304" y="527"/>
                  </a:lnTo>
                  <a:lnTo>
                    <a:pt x="302" y="526"/>
                  </a:lnTo>
                  <a:lnTo>
                    <a:pt x="300" y="524"/>
                  </a:lnTo>
                  <a:lnTo>
                    <a:pt x="299" y="523"/>
                  </a:lnTo>
                  <a:lnTo>
                    <a:pt x="298" y="522"/>
                  </a:lnTo>
                  <a:lnTo>
                    <a:pt x="296" y="521"/>
                  </a:lnTo>
                  <a:lnTo>
                    <a:pt x="295" y="520"/>
                  </a:lnTo>
                  <a:lnTo>
                    <a:pt x="295" y="519"/>
                  </a:lnTo>
                  <a:lnTo>
                    <a:pt x="294" y="518"/>
                  </a:lnTo>
                  <a:lnTo>
                    <a:pt x="294" y="517"/>
                  </a:lnTo>
                  <a:lnTo>
                    <a:pt x="293" y="516"/>
                  </a:lnTo>
                  <a:lnTo>
                    <a:pt x="293" y="514"/>
                  </a:lnTo>
                  <a:lnTo>
                    <a:pt x="293" y="513"/>
                  </a:lnTo>
                  <a:lnTo>
                    <a:pt x="292" y="509"/>
                  </a:lnTo>
                  <a:lnTo>
                    <a:pt x="292" y="505"/>
                  </a:lnTo>
                  <a:lnTo>
                    <a:pt x="292" y="501"/>
                  </a:lnTo>
                  <a:lnTo>
                    <a:pt x="291" y="500"/>
                  </a:lnTo>
                  <a:lnTo>
                    <a:pt x="291" y="497"/>
                  </a:lnTo>
                  <a:lnTo>
                    <a:pt x="291" y="496"/>
                  </a:lnTo>
                  <a:lnTo>
                    <a:pt x="290" y="494"/>
                  </a:lnTo>
                  <a:lnTo>
                    <a:pt x="289" y="491"/>
                  </a:lnTo>
                  <a:lnTo>
                    <a:pt x="289" y="489"/>
                  </a:lnTo>
                  <a:lnTo>
                    <a:pt x="289" y="488"/>
                  </a:lnTo>
                  <a:lnTo>
                    <a:pt x="288" y="488"/>
                  </a:lnTo>
                  <a:lnTo>
                    <a:pt x="288" y="487"/>
                  </a:lnTo>
                  <a:lnTo>
                    <a:pt x="287" y="486"/>
                  </a:lnTo>
                  <a:lnTo>
                    <a:pt x="284" y="483"/>
                  </a:lnTo>
                  <a:lnTo>
                    <a:pt x="282" y="480"/>
                  </a:lnTo>
                  <a:lnTo>
                    <a:pt x="279" y="476"/>
                  </a:lnTo>
                  <a:lnTo>
                    <a:pt x="275" y="471"/>
                  </a:lnTo>
                  <a:lnTo>
                    <a:pt x="274" y="470"/>
                  </a:lnTo>
                  <a:lnTo>
                    <a:pt x="272" y="468"/>
                  </a:lnTo>
                  <a:lnTo>
                    <a:pt x="271" y="467"/>
                  </a:lnTo>
                  <a:lnTo>
                    <a:pt x="270" y="466"/>
                  </a:lnTo>
                  <a:lnTo>
                    <a:pt x="269" y="465"/>
                  </a:lnTo>
                  <a:lnTo>
                    <a:pt x="267" y="463"/>
                  </a:lnTo>
                  <a:lnTo>
                    <a:pt x="266" y="462"/>
                  </a:lnTo>
                  <a:lnTo>
                    <a:pt x="265" y="461"/>
                  </a:lnTo>
                  <a:lnTo>
                    <a:pt x="263" y="460"/>
                  </a:lnTo>
                  <a:lnTo>
                    <a:pt x="262" y="459"/>
                  </a:lnTo>
                  <a:lnTo>
                    <a:pt x="260" y="458"/>
                  </a:lnTo>
                  <a:lnTo>
                    <a:pt x="258" y="457"/>
                  </a:lnTo>
                  <a:lnTo>
                    <a:pt x="258" y="457"/>
                  </a:lnTo>
                  <a:lnTo>
                    <a:pt x="256" y="457"/>
                  </a:lnTo>
                  <a:lnTo>
                    <a:pt x="255" y="456"/>
                  </a:lnTo>
                  <a:lnTo>
                    <a:pt x="253" y="456"/>
                  </a:lnTo>
                  <a:lnTo>
                    <a:pt x="252" y="456"/>
                  </a:lnTo>
                  <a:lnTo>
                    <a:pt x="250" y="456"/>
                  </a:lnTo>
                  <a:lnTo>
                    <a:pt x="246" y="456"/>
                  </a:lnTo>
                  <a:lnTo>
                    <a:pt x="243" y="456"/>
                  </a:lnTo>
                  <a:lnTo>
                    <a:pt x="242" y="456"/>
                  </a:lnTo>
                  <a:lnTo>
                    <a:pt x="241" y="456"/>
                  </a:lnTo>
                  <a:lnTo>
                    <a:pt x="240" y="455"/>
                  </a:lnTo>
                  <a:lnTo>
                    <a:pt x="239" y="455"/>
                  </a:lnTo>
                  <a:lnTo>
                    <a:pt x="237" y="454"/>
                  </a:lnTo>
                  <a:lnTo>
                    <a:pt x="236" y="454"/>
                  </a:lnTo>
                  <a:lnTo>
                    <a:pt x="235" y="453"/>
                  </a:lnTo>
                  <a:lnTo>
                    <a:pt x="233" y="452"/>
                  </a:lnTo>
                  <a:lnTo>
                    <a:pt x="231" y="451"/>
                  </a:lnTo>
                  <a:lnTo>
                    <a:pt x="231" y="451"/>
                  </a:lnTo>
                  <a:lnTo>
                    <a:pt x="229" y="449"/>
                  </a:lnTo>
                  <a:lnTo>
                    <a:pt x="228" y="448"/>
                  </a:lnTo>
                  <a:lnTo>
                    <a:pt x="227" y="447"/>
                  </a:lnTo>
                  <a:lnTo>
                    <a:pt x="226" y="446"/>
                  </a:lnTo>
                  <a:lnTo>
                    <a:pt x="226" y="446"/>
                  </a:lnTo>
                  <a:lnTo>
                    <a:pt x="225" y="444"/>
                  </a:lnTo>
                  <a:lnTo>
                    <a:pt x="225" y="443"/>
                  </a:lnTo>
                  <a:lnTo>
                    <a:pt x="224" y="442"/>
                  </a:lnTo>
                  <a:lnTo>
                    <a:pt x="224" y="441"/>
                  </a:lnTo>
                  <a:lnTo>
                    <a:pt x="223" y="436"/>
                  </a:lnTo>
                  <a:lnTo>
                    <a:pt x="223" y="434"/>
                  </a:lnTo>
                  <a:lnTo>
                    <a:pt x="222" y="433"/>
                  </a:lnTo>
                  <a:lnTo>
                    <a:pt x="222" y="432"/>
                  </a:lnTo>
                  <a:lnTo>
                    <a:pt x="222" y="431"/>
                  </a:lnTo>
                  <a:lnTo>
                    <a:pt x="221" y="430"/>
                  </a:lnTo>
                  <a:lnTo>
                    <a:pt x="221" y="430"/>
                  </a:lnTo>
                  <a:lnTo>
                    <a:pt x="220" y="429"/>
                  </a:lnTo>
                  <a:lnTo>
                    <a:pt x="217" y="426"/>
                  </a:lnTo>
                  <a:lnTo>
                    <a:pt x="214" y="422"/>
                  </a:lnTo>
                  <a:lnTo>
                    <a:pt x="209" y="417"/>
                  </a:lnTo>
                  <a:lnTo>
                    <a:pt x="208" y="416"/>
                  </a:lnTo>
                  <a:lnTo>
                    <a:pt x="208" y="416"/>
                  </a:lnTo>
                  <a:lnTo>
                    <a:pt x="207" y="415"/>
                  </a:lnTo>
                  <a:lnTo>
                    <a:pt x="207" y="414"/>
                  </a:lnTo>
                  <a:lnTo>
                    <a:pt x="206" y="413"/>
                  </a:lnTo>
                  <a:lnTo>
                    <a:pt x="205" y="410"/>
                  </a:lnTo>
                  <a:lnTo>
                    <a:pt x="204" y="409"/>
                  </a:lnTo>
                  <a:lnTo>
                    <a:pt x="203" y="407"/>
                  </a:lnTo>
                  <a:lnTo>
                    <a:pt x="201" y="404"/>
                  </a:lnTo>
                  <a:lnTo>
                    <a:pt x="200" y="403"/>
                  </a:lnTo>
                  <a:lnTo>
                    <a:pt x="199" y="402"/>
                  </a:lnTo>
                  <a:lnTo>
                    <a:pt x="197" y="399"/>
                  </a:lnTo>
                  <a:lnTo>
                    <a:pt x="197" y="398"/>
                  </a:lnTo>
                  <a:lnTo>
                    <a:pt x="196" y="397"/>
                  </a:lnTo>
                  <a:lnTo>
                    <a:pt x="196" y="396"/>
                  </a:lnTo>
                  <a:lnTo>
                    <a:pt x="195" y="396"/>
                  </a:lnTo>
                  <a:lnTo>
                    <a:pt x="192" y="393"/>
                  </a:lnTo>
                  <a:lnTo>
                    <a:pt x="191" y="392"/>
                  </a:lnTo>
                  <a:lnTo>
                    <a:pt x="190" y="391"/>
                  </a:lnTo>
                  <a:lnTo>
                    <a:pt x="189" y="389"/>
                  </a:lnTo>
                  <a:lnTo>
                    <a:pt x="188" y="388"/>
                  </a:lnTo>
                  <a:lnTo>
                    <a:pt x="187" y="388"/>
                  </a:lnTo>
                  <a:lnTo>
                    <a:pt x="185" y="385"/>
                  </a:lnTo>
                  <a:lnTo>
                    <a:pt x="184" y="385"/>
                  </a:lnTo>
                  <a:lnTo>
                    <a:pt x="184" y="384"/>
                  </a:lnTo>
                  <a:lnTo>
                    <a:pt x="183" y="383"/>
                  </a:lnTo>
                  <a:lnTo>
                    <a:pt x="183" y="382"/>
                  </a:lnTo>
                  <a:lnTo>
                    <a:pt x="182" y="381"/>
                  </a:lnTo>
                  <a:lnTo>
                    <a:pt x="182" y="380"/>
                  </a:lnTo>
                  <a:lnTo>
                    <a:pt x="182" y="379"/>
                  </a:lnTo>
                  <a:lnTo>
                    <a:pt x="181" y="375"/>
                  </a:lnTo>
                  <a:lnTo>
                    <a:pt x="181" y="373"/>
                  </a:lnTo>
                  <a:lnTo>
                    <a:pt x="181" y="372"/>
                  </a:lnTo>
                  <a:lnTo>
                    <a:pt x="180" y="371"/>
                  </a:lnTo>
                  <a:lnTo>
                    <a:pt x="180" y="370"/>
                  </a:lnTo>
                  <a:lnTo>
                    <a:pt x="179" y="370"/>
                  </a:lnTo>
                  <a:lnTo>
                    <a:pt x="179" y="369"/>
                  </a:lnTo>
                  <a:lnTo>
                    <a:pt x="178" y="368"/>
                  </a:lnTo>
                  <a:lnTo>
                    <a:pt x="176" y="366"/>
                  </a:lnTo>
                  <a:lnTo>
                    <a:pt x="173" y="363"/>
                  </a:lnTo>
                  <a:lnTo>
                    <a:pt x="170" y="359"/>
                  </a:lnTo>
                  <a:lnTo>
                    <a:pt x="168" y="358"/>
                  </a:lnTo>
                  <a:lnTo>
                    <a:pt x="167" y="356"/>
                  </a:lnTo>
                  <a:lnTo>
                    <a:pt x="166" y="355"/>
                  </a:lnTo>
                  <a:lnTo>
                    <a:pt x="164" y="354"/>
                  </a:lnTo>
                  <a:lnTo>
                    <a:pt x="163" y="354"/>
                  </a:lnTo>
                  <a:lnTo>
                    <a:pt x="163" y="353"/>
                  </a:lnTo>
                  <a:lnTo>
                    <a:pt x="161" y="352"/>
                  </a:lnTo>
                  <a:lnTo>
                    <a:pt x="159" y="351"/>
                  </a:lnTo>
                  <a:lnTo>
                    <a:pt x="158" y="351"/>
                  </a:lnTo>
                  <a:lnTo>
                    <a:pt x="157" y="350"/>
                  </a:lnTo>
                  <a:lnTo>
                    <a:pt x="156" y="350"/>
                  </a:lnTo>
                  <a:lnTo>
                    <a:pt x="153" y="349"/>
                  </a:lnTo>
                  <a:lnTo>
                    <a:pt x="151" y="348"/>
                  </a:lnTo>
                  <a:lnTo>
                    <a:pt x="146" y="347"/>
                  </a:lnTo>
                  <a:lnTo>
                    <a:pt x="144" y="347"/>
                  </a:lnTo>
                  <a:lnTo>
                    <a:pt x="142" y="347"/>
                  </a:lnTo>
                  <a:lnTo>
                    <a:pt x="142" y="347"/>
                  </a:lnTo>
                  <a:lnTo>
                    <a:pt x="141" y="347"/>
                  </a:lnTo>
                  <a:lnTo>
                    <a:pt x="141" y="347"/>
                  </a:lnTo>
                  <a:lnTo>
                    <a:pt x="140" y="347"/>
                  </a:lnTo>
                  <a:lnTo>
                    <a:pt x="139" y="348"/>
                  </a:lnTo>
                  <a:lnTo>
                    <a:pt x="139" y="348"/>
                  </a:lnTo>
                  <a:lnTo>
                    <a:pt x="139" y="349"/>
                  </a:lnTo>
                  <a:lnTo>
                    <a:pt x="138" y="350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36" y="351"/>
                  </a:lnTo>
                  <a:lnTo>
                    <a:pt x="135" y="352"/>
                  </a:lnTo>
                  <a:lnTo>
                    <a:pt x="135" y="352"/>
                  </a:lnTo>
                  <a:lnTo>
                    <a:pt x="134" y="351"/>
                  </a:lnTo>
                  <a:lnTo>
                    <a:pt x="133" y="351"/>
                  </a:lnTo>
                  <a:lnTo>
                    <a:pt x="130" y="351"/>
                  </a:lnTo>
                  <a:lnTo>
                    <a:pt x="128" y="350"/>
                  </a:lnTo>
                  <a:lnTo>
                    <a:pt x="126" y="350"/>
                  </a:lnTo>
                  <a:lnTo>
                    <a:pt x="125" y="349"/>
                  </a:lnTo>
                  <a:lnTo>
                    <a:pt x="122" y="349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7" y="349"/>
                  </a:lnTo>
                  <a:lnTo>
                    <a:pt x="115" y="348"/>
                  </a:lnTo>
                  <a:lnTo>
                    <a:pt x="114" y="348"/>
                  </a:lnTo>
                  <a:lnTo>
                    <a:pt x="113" y="347"/>
                  </a:lnTo>
                  <a:lnTo>
                    <a:pt x="111" y="347"/>
                  </a:lnTo>
                  <a:lnTo>
                    <a:pt x="110" y="346"/>
                  </a:lnTo>
                  <a:lnTo>
                    <a:pt x="110" y="346"/>
                  </a:lnTo>
                  <a:lnTo>
                    <a:pt x="109" y="345"/>
                  </a:lnTo>
                  <a:lnTo>
                    <a:pt x="108" y="344"/>
                  </a:lnTo>
                  <a:lnTo>
                    <a:pt x="108" y="343"/>
                  </a:lnTo>
                  <a:lnTo>
                    <a:pt x="107" y="343"/>
                  </a:lnTo>
                  <a:lnTo>
                    <a:pt x="106" y="340"/>
                  </a:lnTo>
                  <a:lnTo>
                    <a:pt x="104" y="336"/>
                  </a:lnTo>
                  <a:lnTo>
                    <a:pt x="103" y="335"/>
                  </a:lnTo>
                  <a:lnTo>
                    <a:pt x="102" y="333"/>
                  </a:lnTo>
                  <a:lnTo>
                    <a:pt x="102" y="332"/>
                  </a:lnTo>
                  <a:lnTo>
                    <a:pt x="101" y="329"/>
                  </a:lnTo>
                  <a:lnTo>
                    <a:pt x="100" y="327"/>
                  </a:lnTo>
                  <a:lnTo>
                    <a:pt x="100" y="326"/>
                  </a:lnTo>
                  <a:lnTo>
                    <a:pt x="99" y="325"/>
                  </a:lnTo>
                  <a:lnTo>
                    <a:pt x="99" y="324"/>
                  </a:lnTo>
                  <a:lnTo>
                    <a:pt x="98" y="322"/>
                  </a:lnTo>
                  <a:lnTo>
                    <a:pt x="97" y="321"/>
                  </a:lnTo>
                  <a:lnTo>
                    <a:pt x="96" y="320"/>
                  </a:lnTo>
                  <a:lnTo>
                    <a:pt x="94" y="318"/>
                  </a:lnTo>
                  <a:lnTo>
                    <a:pt x="93" y="317"/>
                  </a:lnTo>
                  <a:lnTo>
                    <a:pt x="87" y="313"/>
                  </a:lnTo>
                  <a:lnTo>
                    <a:pt x="86" y="312"/>
                  </a:lnTo>
                  <a:lnTo>
                    <a:pt x="85" y="311"/>
                  </a:lnTo>
                  <a:lnTo>
                    <a:pt x="84" y="310"/>
                  </a:lnTo>
                  <a:lnTo>
                    <a:pt x="82" y="310"/>
                  </a:lnTo>
                  <a:lnTo>
                    <a:pt x="79" y="308"/>
                  </a:lnTo>
                  <a:lnTo>
                    <a:pt x="77" y="307"/>
                  </a:lnTo>
                  <a:lnTo>
                    <a:pt x="76" y="307"/>
                  </a:lnTo>
                  <a:lnTo>
                    <a:pt x="75" y="306"/>
                  </a:lnTo>
                  <a:lnTo>
                    <a:pt x="74" y="305"/>
                  </a:lnTo>
                  <a:lnTo>
                    <a:pt x="73" y="304"/>
                  </a:lnTo>
                  <a:lnTo>
                    <a:pt x="73" y="304"/>
                  </a:lnTo>
                  <a:lnTo>
                    <a:pt x="73" y="303"/>
                  </a:lnTo>
                  <a:lnTo>
                    <a:pt x="72" y="303"/>
                  </a:lnTo>
                  <a:lnTo>
                    <a:pt x="72" y="302"/>
                  </a:lnTo>
                  <a:lnTo>
                    <a:pt x="72" y="301"/>
                  </a:lnTo>
                  <a:lnTo>
                    <a:pt x="71" y="300"/>
                  </a:lnTo>
                  <a:lnTo>
                    <a:pt x="71" y="299"/>
                  </a:lnTo>
                  <a:lnTo>
                    <a:pt x="70" y="295"/>
                  </a:lnTo>
                  <a:lnTo>
                    <a:pt x="69" y="293"/>
                  </a:lnTo>
                  <a:lnTo>
                    <a:pt x="68" y="291"/>
                  </a:lnTo>
                  <a:lnTo>
                    <a:pt x="67" y="287"/>
                  </a:lnTo>
                  <a:lnTo>
                    <a:pt x="67" y="286"/>
                  </a:lnTo>
                  <a:lnTo>
                    <a:pt x="67" y="285"/>
                  </a:lnTo>
                  <a:lnTo>
                    <a:pt x="67" y="284"/>
                  </a:lnTo>
                  <a:lnTo>
                    <a:pt x="67" y="283"/>
                  </a:lnTo>
                  <a:lnTo>
                    <a:pt x="67" y="282"/>
                  </a:lnTo>
                  <a:lnTo>
                    <a:pt x="67" y="280"/>
                  </a:lnTo>
                  <a:lnTo>
                    <a:pt x="67" y="278"/>
                  </a:lnTo>
                  <a:lnTo>
                    <a:pt x="67" y="276"/>
                  </a:lnTo>
                  <a:lnTo>
                    <a:pt x="67" y="273"/>
                  </a:lnTo>
                  <a:lnTo>
                    <a:pt x="67" y="270"/>
                  </a:lnTo>
                  <a:lnTo>
                    <a:pt x="67" y="268"/>
                  </a:lnTo>
                  <a:lnTo>
                    <a:pt x="67" y="267"/>
                  </a:lnTo>
                  <a:lnTo>
                    <a:pt x="67" y="266"/>
                  </a:lnTo>
                  <a:lnTo>
                    <a:pt x="67" y="265"/>
                  </a:lnTo>
                  <a:lnTo>
                    <a:pt x="66" y="264"/>
                  </a:lnTo>
                  <a:lnTo>
                    <a:pt x="66" y="263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4" y="261"/>
                  </a:lnTo>
                  <a:lnTo>
                    <a:pt x="62" y="260"/>
                  </a:lnTo>
                  <a:lnTo>
                    <a:pt x="60" y="260"/>
                  </a:lnTo>
                  <a:lnTo>
                    <a:pt x="58" y="259"/>
                  </a:lnTo>
                  <a:lnTo>
                    <a:pt x="57" y="258"/>
                  </a:lnTo>
                  <a:lnTo>
                    <a:pt x="57" y="258"/>
                  </a:lnTo>
                  <a:lnTo>
                    <a:pt x="56" y="257"/>
                  </a:lnTo>
                  <a:lnTo>
                    <a:pt x="55" y="257"/>
                  </a:lnTo>
                  <a:lnTo>
                    <a:pt x="55" y="256"/>
                  </a:lnTo>
                  <a:lnTo>
                    <a:pt x="54" y="255"/>
                  </a:lnTo>
                  <a:lnTo>
                    <a:pt x="53" y="254"/>
                  </a:lnTo>
                  <a:lnTo>
                    <a:pt x="52" y="252"/>
                  </a:lnTo>
                  <a:lnTo>
                    <a:pt x="51" y="250"/>
                  </a:lnTo>
                  <a:lnTo>
                    <a:pt x="50" y="249"/>
                  </a:lnTo>
                  <a:lnTo>
                    <a:pt x="50" y="247"/>
                  </a:lnTo>
                  <a:lnTo>
                    <a:pt x="49" y="246"/>
                  </a:lnTo>
                  <a:lnTo>
                    <a:pt x="49" y="245"/>
                  </a:lnTo>
                  <a:lnTo>
                    <a:pt x="48" y="243"/>
                  </a:lnTo>
                  <a:lnTo>
                    <a:pt x="48" y="242"/>
                  </a:lnTo>
                  <a:lnTo>
                    <a:pt x="48" y="241"/>
                  </a:lnTo>
                  <a:lnTo>
                    <a:pt x="47" y="235"/>
                  </a:lnTo>
                  <a:lnTo>
                    <a:pt x="47" y="234"/>
                  </a:lnTo>
                  <a:lnTo>
                    <a:pt x="47" y="232"/>
                  </a:lnTo>
                  <a:lnTo>
                    <a:pt x="47" y="230"/>
                  </a:lnTo>
                  <a:lnTo>
                    <a:pt x="45" y="226"/>
                  </a:lnTo>
                  <a:lnTo>
                    <a:pt x="45" y="224"/>
                  </a:lnTo>
                  <a:lnTo>
                    <a:pt x="44" y="223"/>
                  </a:lnTo>
                  <a:lnTo>
                    <a:pt x="43" y="222"/>
                  </a:lnTo>
                  <a:lnTo>
                    <a:pt x="43" y="221"/>
                  </a:lnTo>
                  <a:lnTo>
                    <a:pt x="42" y="220"/>
                  </a:lnTo>
                  <a:lnTo>
                    <a:pt x="42" y="219"/>
                  </a:lnTo>
                  <a:lnTo>
                    <a:pt x="41" y="219"/>
                  </a:lnTo>
                  <a:lnTo>
                    <a:pt x="40" y="218"/>
                  </a:lnTo>
                  <a:lnTo>
                    <a:pt x="38" y="217"/>
                  </a:lnTo>
                  <a:lnTo>
                    <a:pt x="38" y="217"/>
                  </a:lnTo>
                  <a:lnTo>
                    <a:pt x="37" y="217"/>
                  </a:lnTo>
                  <a:lnTo>
                    <a:pt x="37" y="216"/>
                  </a:lnTo>
                  <a:lnTo>
                    <a:pt x="36" y="215"/>
                  </a:lnTo>
                  <a:lnTo>
                    <a:pt x="35" y="214"/>
                  </a:lnTo>
                  <a:lnTo>
                    <a:pt x="35" y="213"/>
                  </a:lnTo>
                  <a:lnTo>
                    <a:pt x="34" y="212"/>
                  </a:lnTo>
                  <a:lnTo>
                    <a:pt x="34" y="211"/>
                  </a:lnTo>
                  <a:lnTo>
                    <a:pt x="34" y="209"/>
                  </a:lnTo>
                  <a:lnTo>
                    <a:pt x="34" y="208"/>
                  </a:lnTo>
                  <a:lnTo>
                    <a:pt x="33" y="206"/>
                  </a:lnTo>
                  <a:lnTo>
                    <a:pt x="33" y="206"/>
                  </a:lnTo>
                  <a:lnTo>
                    <a:pt x="33" y="205"/>
                  </a:lnTo>
                  <a:lnTo>
                    <a:pt x="34" y="204"/>
                  </a:lnTo>
                  <a:lnTo>
                    <a:pt x="34" y="202"/>
                  </a:lnTo>
                  <a:lnTo>
                    <a:pt x="34" y="199"/>
                  </a:lnTo>
                  <a:lnTo>
                    <a:pt x="35" y="197"/>
                  </a:lnTo>
                  <a:lnTo>
                    <a:pt x="35" y="196"/>
                  </a:lnTo>
                  <a:lnTo>
                    <a:pt x="35" y="195"/>
                  </a:lnTo>
                  <a:lnTo>
                    <a:pt x="35" y="194"/>
                  </a:lnTo>
                  <a:lnTo>
                    <a:pt x="35" y="193"/>
                  </a:lnTo>
                  <a:lnTo>
                    <a:pt x="34" y="192"/>
                  </a:lnTo>
                  <a:lnTo>
                    <a:pt x="34" y="190"/>
                  </a:lnTo>
                  <a:lnTo>
                    <a:pt x="33" y="189"/>
                  </a:lnTo>
                  <a:lnTo>
                    <a:pt x="33" y="189"/>
                  </a:lnTo>
                  <a:lnTo>
                    <a:pt x="32" y="188"/>
                  </a:lnTo>
                  <a:lnTo>
                    <a:pt x="32" y="188"/>
                  </a:lnTo>
                  <a:lnTo>
                    <a:pt x="31" y="187"/>
                  </a:lnTo>
                  <a:lnTo>
                    <a:pt x="30" y="187"/>
                  </a:lnTo>
                  <a:lnTo>
                    <a:pt x="26" y="185"/>
                  </a:lnTo>
                  <a:lnTo>
                    <a:pt x="25" y="185"/>
                  </a:lnTo>
                  <a:lnTo>
                    <a:pt x="24" y="184"/>
                  </a:lnTo>
                  <a:lnTo>
                    <a:pt x="21" y="183"/>
                  </a:lnTo>
                  <a:lnTo>
                    <a:pt x="17" y="180"/>
                  </a:lnTo>
                  <a:lnTo>
                    <a:pt x="14" y="179"/>
                  </a:lnTo>
                  <a:lnTo>
                    <a:pt x="14" y="178"/>
                  </a:lnTo>
                  <a:lnTo>
                    <a:pt x="13" y="177"/>
                  </a:lnTo>
                  <a:lnTo>
                    <a:pt x="12" y="177"/>
                  </a:lnTo>
                  <a:lnTo>
                    <a:pt x="11" y="176"/>
                  </a:lnTo>
                  <a:lnTo>
                    <a:pt x="10" y="175"/>
                  </a:lnTo>
                  <a:lnTo>
                    <a:pt x="10" y="174"/>
                  </a:lnTo>
                  <a:lnTo>
                    <a:pt x="9" y="174"/>
                  </a:lnTo>
                  <a:lnTo>
                    <a:pt x="8" y="173"/>
                  </a:lnTo>
                  <a:lnTo>
                    <a:pt x="7" y="170"/>
                  </a:lnTo>
                  <a:lnTo>
                    <a:pt x="5" y="167"/>
                  </a:lnTo>
                  <a:lnTo>
                    <a:pt x="3" y="163"/>
                  </a:lnTo>
                  <a:lnTo>
                    <a:pt x="2" y="162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6"/>
                  </a:lnTo>
                  <a:lnTo>
                    <a:pt x="0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6" y="147"/>
                  </a:lnTo>
                  <a:lnTo>
                    <a:pt x="9" y="146"/>
                  </a:lnTo>
                  <a:lnTo>
                    <a:pt x="14" y="143"/>
                  </a:lnTo>
                  <a:lnTo>
                    <a:pt x="15" y="142"/>
                  </a:lnTo>
                  <a:lnTo>
                    <a:pt x="16" y="141"/>
                  </a:lnTo>
                  <a:lnTo>
                    <a:pt x="17" y="140"/>
                  </a:lnTo>
                  <a:lnTo>
                    <a:pt x="18" y="140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9" y="138"/>
                  </a:lnTo>
                  <a:lnTo>
                    <a:pt x="19" y="137"/>
                  </a:lnTo>
                  <a:lnTo>
                    <a:pt x="19" y="136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21" y="128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3" y="119"/>
                  </a:lnTo>
                  <a:lnTo>
                    <a:pt x="24" y="118"/>
                  </a:lnTo>
                  <a:lnTo>
                    <a:pt x="25" y="117"/>
                  </a:lnTo>
                  <a:lnTo>
                    <a:pt x="26" y="116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9" y="112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3" y="106"/>
                  </a:lnTo>
                  <a:lnTo>
                    <a:pt x="34" y="105"/>
                  </a:lnTo>
                  <a:lnTo>
                    <a:pt x="35" y="103"/>
                  </a:lnTo>
                  <a:lnTo>
                    <a:pt x="37" y="98"/>
                  </a:lnTo>
                  <a:lnTo>
                    <a:pt x="38" y="96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2"/>
                  </a:lnTo>
                  <a:lnTo>
                    <a:pt x="44" y="88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2" y="87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89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5" y="86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8" y="84"/>
                  </a:lnTo>
                  <a:lnTo>
                    <a:pt x="69" y="84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8" y="85"/>
                  </a:lnTo>
                  <a:lnTo>
                    <a:pt x="79" y="86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1" y="89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89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7"/>
                  </a:lnTo>
                  <a:lnTo>
                    <a:pt x="86" y="86"/>
                  </a:lnTo>
                  <a:lnTo>
                    <a:pt x="87" y="86"/>
                  </a:lnTo>
                  <a:lnTo>
                    <a:pt x="88" y="85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1" y="77"/>
                  </a:lnTo>
                  <a:lnTo>
                    <a:pt x="103" y="77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9" y="75"/>
                  </a:lnTo>
                  <a:lnTo>
                    <a:pt x="110" y="75"/>
                  </a:lnTo>
                  <a:lnTo>
                    <a:pt x="112" y="75"/>
                  </a:lnTo>
                  <a:lnTo>
                    <a:pt x="113" y="75"/>
                  </a:lnTo>
                  <a:lnTo>
                    <a:pt x="114" y="75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0" y="73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7" y="75"/>
                  </a:lnTo>
                  <a:lnTo>
                    <a:pt x="132" y="76"/>
                  </a:lnTo>
                  <a:lnTo>
                    <a:pt x="133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8"/>
                  </a:lnTo>
                  <a:lnTo>
                    <a:pt x="142" y="78"/>
                  </a:lnTo>
                  <a:lnTo>
                    <a:pt x="144" y="78"/>
                  </a:lnTo>
                  <a:lnTo>
                    <a:pt x="146" y="78"/>
                  </a:lnTo>
                  <a:lnTo>
                    <a:pt x="147" y="78"/>
                  </a:lnTo>
                  <a:lnTo>
                    <a:pt x="148" y="77"/>
                  </a:lnTo>
                  <a:lnTo>
                    <a:pt x="149" y="77"/>
                  </a:lnTo>
                  <a:lnTo>
                    <a:pt x="150" y="78"/>
                  </a:lnTo>
                  <a:lnTo>
                    <a:pt x="151" y="78"/>
                  </a:lnTo>
                  <a:lnTo>
                    <a:pt x="152" y="78"/>
                  </a:lnTo>
                  <a:lnTo>
                    <a:pt x="155" y="79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7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7" y="74"/>
                  </a:lnTo>
                  <a:lnTo>
                    <a:pt x="168" y="73"/>
                  </a:lnTo>
                  <a:lnTo>
                    <a:pt x="168" y="72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70" y="66"/>
                  </a:lnTo>
                  <a:lnTo>
                    <a:pt x="170" y="65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1" y="59"/>
                  </a:lnTo>
                  <a:lnTo>
                    <a:pt x="171" y="58"/>
                  </a:lnTo>
                  <a:lnTo>
                    <a:pt x="172" y="58"/>
                  </a:lnTo>
                  <a:lnTo>
                    <a:pt x="172" y="57"/>
                  </a:lnTo>
                  <a:lnTo>
                    <a:pt x="173" y="57"/>
                  </a:lnTo>
                  <a:lnTo>
                    <a:pt x="174" y="57"/>
                  </a:lnTo>
                  <a:lnTo>
                    <a:pt x="176" y="56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92" y="47"/>
                  </a:lnTo>
                  <a:lnTo>
                    <a:pt x="194" y="45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0" y="42"/>
                  </a:lnTo>
                  <a:lnTo>
                    <a:pt x="200" y="41"/>
                  </a:lnTo>
                  <a:lnTo>
                    <a:pt x="202" y="40"/>
                  </a:lnTo>
                  <a:lnTo>
                    <a:pt x="203" y="38"/>
                  </a:lnTo>
                  <a:lnTo>
                    <a:pt x="205" y="37"/>
                  </a:lnTo>
                  <a:lnTo>
                    <a:pt x="207" y="35"/>
                  </a:lnTo>
                  <a:lnTo>
                    <a:pt x="207" y="34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7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6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2" y="38"/>
                  </a:lnTo>
                  <a:lnTo>
                    <a:pt x="233" y="39"/>
                  </a:lnTo>
                  <a:lnTo>
                    <a:pt x="235" y="41"/>
                  </a:lnTo>
                  <a:lnTo>
                    <a:pt x="236" y="41"/>
                  </a:lnTo>
                  <a:lnTo>
                    <a:pt x="237" y="42"/>
                  </a:lnTo>
                  <a:lnTo>
                    <a:pt x="240" y="44"/>
                  </a:lnTo>
                  <a:lnTo>
                    <a:pt x="241" y="45"/>
                  </a:lnTo>
                  <a:lnTo>
                    <a:pt x="242" y="46"/>
                  </a:lnTo>
                  <a:lnTo>
                    <a:pt x="243" y="46"/>
                  </a:lnTo>
                  <a:lnTo>
                    <a:pt x="244" y="47"/>
                  </a:lnTo>
                  <a:lnTo>
                    <a:pt x="245" y="47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7"/>
                  </a:lnTo>
                  <a:lnTo>
                    <a:pt x="249" y="47"/>
                  </a:lnTo>
                  <a:lnTo>
                    <a:pt x="249" y="46"/>
                  </a:lnTo>
                  <a:lnTo>
                    <a:pt x="250" y="46"/>
                  </a:lnTo>
                  <a:lnTo>
                    <a:pt x="250" y="45"/>
                  </a:lnTo>
                  <a:lnTo>
                    <a:pt x="250" y="44"/>
                  </a:lnTo>
                  <a:lnTo>
                    <a:pt x="250" y="43"/>
                  </a:lnTo>
                  <a:lnTo>
                    <a:pt x="252" y="37"/>
                  </a:lnTo>
                  <a:lnTo>
                    <a:pt x="252" y="36"/>
                  </a:lnTo>
                  <a:lnTo>
                    <a:pt x="252" y="35"/>
                  </a:lnTo>
                  <a:lnTo>
                    <a:pt x="252" y="34"/>
                  </a:lnTo>
                  <a:lnTo>
                    <a:pt x="252" y="32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2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3" y="26"/>
                  </a:lnTo>
                  <a:lnTo>
                    <a:pt x="254" y="26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7" y="25"/>
                  </a:lnTo>
                  <a:lnTo>
                    <a:pt x="259" y="24"/>
                  </a:lnTo>
                  <a:lnTo>
                    <a:pt x="262" y="23"/>
                  </a:lnTo>
                  <a:lnTo>
                    <a:pt x="263" y="23"/>
                  </a:lnTo>
                  <a:lnTo>
                    <a:pt x="264" y="22"/>
                  </a:lnTo>
                  <a:lnTo>
                    <a:pt x="265" y="21"/>
                  </a:lnTo>
                  <a:lnTo>
                    <a:pt x="266" y="21"/>
                  </a:lnTo>
                  <a:lnTo>
                    <a:pt x="267" y="20"/>
                  </a:lnTo>
                  <a:lnTo>
                    <a:pt x="268" y="20"/>
                  </a:lnTo>
                  <a:lnTo>
                    <a:pt x="268" y="19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7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4"/>
                  </a:lnTo>
                  <a:lnTo>
                    <a:pt x="268" y="14"/>
                  </a:lnTo>
                  <a:lnTo>
                    <a:pt x="268" y="12"/>
                  </a:lnTo>
                  <a:lnTo>
                    <a:pt x="267" y="12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0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8" y="7"/>
                  </a:lnTo>
                  <a:lnTo>
                    <a:pt x="268" y="6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70" y="3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6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79" y="0"/>
                  </a:lnTo>
                  <a:lnTo>
                    <a:pt x="279" y="1"/>
                  </a:lnTo>
                  <a:close/>
                </a:path>
              </a:pathLst>
            </a:custGeom>
            <a:solidFill>
              <a:srgbClr val="E6A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Freeform 50">
              <a:extLst>
                <a:ext uri="{FF2B5EF4-FFF2-40B4-BE49-F238E27FC236}">
                  <a16:creationId xmlns:a16="http://schemas.microsoft.com/office/drawing/2014/main" id="{2BE2C606-BF98-D2FD-124B-C22F52B0E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" y="3302"/>
              <a:ext cx="419" cy="536"/>
            </a:xfrm>
            <a:custGeom>
              <a:avLst/>
              <a:gdLst>
                <a:gd name="T0" fmla="*/ 277 w 419"/>
                <a:gd name="T1" fmla="*/ 2 h 536"/>
                <a:gd name="T2" fmla="*/ 286 w 419"/>
                <a:gd name="T3" fmla="*/ 11 h 536"/>
                <a:gd name="T4" fmla="*/ 299 w 419"/>
                <a:gd name="T5" fmla="*/ 12 h 536"/>
                <a:gd name="T6" fmla="*/ 294 w 419"/>
                <a:gd name="T7" fmla="*/ 28 h 536"/>
                <a:gd name="T8" fmla="*/ 304 w 419"/>
                <a:gd name="T9" fmla="*/ 32 h 536"/>
                <a:gd name="T10" fmla="*/ 327 w 419"/>
                <a:gd name="T11" fmla="*/ 31 h 536"/>
                <a:gd name="T12" fmla="*/ 326 w 419"/>
                <a:gd name="T13" fmla="*/ 37 h 536"/>
                <a:gd name="T14" fmla="*/ 345 w 419"/>
                <a:gd name="T15" fmla="*/ 51 h 536"/>
                <a:gd name="T16" fmla="*/ 368 w 419"/>
                <a:gd name="T17" fmla="*/ 50 h 536"/>
                <a:gd name="T18" fmla="*/ 390 w 419"/>
                <a:gd name="T19" fmla="*/ 66 h 536"/>
                <a:gd name="T20" fmla="*/ 397 w 419"/>
                <a:gd name="T21" fmla="*/ 76 h 536"/>
                <a:gd name="T22" fmla="*/ 419 w 419"/>
                <a:gd name="T23" fmla="*/ 96 h 536"/>
                <a:gd name="T24" fmla="*/ 413 w 419"/>
                <a:gd name="T25" fmla="*/ 118 h 536"/>
                <a:gd name="T26" fmla="*/ 409 w 419"/>
                <a:gd name="T27" fmla="*/ 145 h 536"/>
                <a:gd name="T28" fmla="*/ 411 w 419"/>
                <a:gd name="T29" fmla="*/ 161 h 536"/>
                <a:gd name="T30" fmla="*/ 400 w 419"/>
                <a:gd name="T31" fmla="*/ 176 h 536"/>
                <a:gd name="T32" fmla="*/ 388 w 419"/>
                <a:gd name="T33" fmla="*/ 175 h 536"/>
                <a:gd name="T34" fmla="*/ 372 w 419"/>
                <a:gd name="T35" fmla="*/ 192 h 536"/>
                <a:gd name="T36" fmla="*/ 383 w 419"/>
                <a:gd name="T37" fmla="*/ 197 h 536"/>
                <a:gd name="T38" fmla="*/ 377 w 419"/>
                <a:gd name="T39" fmla="*/ 204 h 536"/>
                <a:gd name="T40" fmla="*/ 380 w 419"/>
                <a:gd name="T41" fmla="*/ 214 h 536"/>
                <a:gd name="T42" fmla="*/ 380 w 419"/>
                <a:gd name="T43" fmla="*/ 220 h 536"/>
                <a:gd name="T44" fmla="*/ 391 w 419"/>
                <a:gd name="T45" fmla="*/ 225 h 536"/>
                <a:gd name="T46" fmla="*/ 391 w 419"/>
                <a:gd name="T47" fmla="*/ 251 h 536"/>
                <a:gd name="T48" fmla="*/ 398 w 419"/>
                <a:gd name="T49" fmla="*/ 266 h 536"/>
                <a:gd name="T50" fmla="*/ 394 w 419"/>
                <a:gd name="T51" fmla="*/ 283 h 536"/>
                <a:gd name="T52" fmla="*/ 397 w 419"/>
                <a:gd name="T53" fmla="*/ 299 h 536"/>
                <a:gd name="T54" fmla="*/ 397 w 419"/>
                <a:gd name="T55" fmla="*/ 321 h 536"/>
                <a:gd name="T56" fmla="*/ 403 w 419"/>
                <a:gd name="T57" fmla="*/ 345 h 536"/>
                <a:gd name="T58" fmla="*/ 388 w 419"/>
                <a:gd name="T59" fmla="*/ 367 h 536"/>
                <a:gd name="T60" fmla="*/ 383 w 419"/>
                <a:gd name="T61" fmla="*/ 381 h 536"/>
                <a:gd name="T62" fmla="*/ 379 w 419"/>
                <a:gd name="T63" fmla="*/ 389 h 536"/>
                <a:gd name="T64" fmla="*/ 381 w 419"/>
                <a:gd name="T65" fmla="*/ 398 h 536"/>
                <a:gd name="T66" fmla="*/ 376 w 419"/>
                <a:gd name="T67" fmla="*/ 412 h 536"/>
                <a:gd name="T68" fmla="*/ 375 w 419"/>
                <a:gd name="T69" fmla="*/ 427 h 536"/>
                <a:gd name="T70" fmla="*/ 357 w 419"/>
                <a:gd name="T71" fmla="*/ 445 h 536"/>
                <a:gd name="T72" fmla="*/ 343 w 419"/>
                <a:gd name="T73" fmla="*/ 450 h 536"/>
                <a:gd name="T74" fmla="*/ 344 w 419"/>
                <a:gd name="T75" fmla="*/ 480 h 536"/>
                <a:gd name="T76" fmla="*/ 335 w 419"/>
                <a:gd name="T77" fmla="*/ 491 h 536"/>
                <a:gd name="T78" fmla="*/ 326 w 419"/>
                <a:gd name="T79" fmla="*/ 515 h 536"/>
                <a:gd name="T80" fmla="*/ 321 w 419"/>
                <a:gd name="T81" fmla="*/ 526 h 536"/>
                <a:gd name="T82" fmla="*/ 310 w 419"/>
                <a:gd name="T83" fmla="*/ 536 h 536"/>
                <a:gd name="T84" fmla="*/ 286 w 419"/>
                <a:gd name="T85" fmla="*/ 516 h 536"/>
                <a:gd name="T86" fmla="*/ 276 w 419"/>
                <a:gd name="T87" fmla="*/ 482 h 536"/>
                <a:gd name="T88" fmla="*/ 248 w 419"/>
                <a:gd name="T89" fmla="*/ 456 h 536"/>
                <a:gd name="T90" fmla="*/ 221 w 419"/>
                <a:gd name="T91" fmla="*/ 448 h 536"/>
                <a:gd name="T92" fmla="*/ 209 w 419"/>
                <a:gd name="T93" fmla="*/ 425 h 536"/>
                <a:gd name="T94" fmla="*/ 188 w 419"/>
                <a:gd name="T95" fmla="*/ 395 h 536"/>
                <a:gd name="T96" fmla="*/ 173 w 419"/>
                <a:gd name="T97" fmla="*/ 372 h 536"/>
                <a:gd name="T98" fmla="*/ 151 w 419"/>
                <a:gd name="T99" fmla="*/ 350 h 536"/>
                <a:gd name="T100" fmla="*/ 129 w 419"/>
                <a:gd name="T101" fmla="*/ 350 h 536"/>
                <a:gd name="T102" fmla="*/ 106 w 419"/>
                <a:gd name="T103" fmla="*/ 347 h 536"/>
                <a:gd name="T104" fmla="*/ 91 w 419"/>
                <a:gd name="T105" fmla="*/ 324 h 536"/>
                <a:gd name="T106" fmla="*/ 65 w 419"/>
                <a:gd name="T107" fmla="*/ 303 h 536"/>
                <a:gd name="T108" fmla="*/ 59 w 419"/>
                <a:gd name="T109" fmla="*/ 279 h 536"/>
                <a:gd name="T110" fmla="*/ 49 w 419"/>
                <a:gd name="T111" fmla="*/ 257 h 536"/>
                <a:gd name="T112" fmla="*/ 39 w 419"/>
                <a:gd name="T113" fmla="*/ 233 h 536"/>
                <a:gd name="T114" fmla="*/ 27 w 419"/>
                <a:gd name="T115" fmla="*/ 213 h 536"/>
                <a:gd name="T116" fmla="*/ 26 w 419"/>
                <a:gd name="T117" fmla="*/ 191 h 536"/>
                <a:gd name="T118" fmla="*/ 3 w 419"/>
                <a:gd name="T119" fmla="*/ 175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9" h="536">
                  <a:moveTo>
                    <a:pt x="271" y="0"/>
                  </a:moveTo>
                  <a:lnTo>
                    <a:pt x="271" y="0"/>
                  </a:lnTo>
                  <a:lnTo>
                    <a:pt x="271" y="0"/>
                  </a:lnTo>
                  <a:lnTo>
                    <a:pt x="271" y="1"/>
                  </a:lnTo>
                  <a:lnTo>
                    <a:pt x="271" y="3"/>
                  </a:lnTo>
                  <a:lnTo>
                    <a:pt x="271" y="3"/>
                  </a:lnTo>
                  <a:lnTo>
                    <a:pt x="272" y="4"/>
                  </a:lnTo>
                  <a:lnTo>
                    <a:pt x="272" y="4"/>
                  </a:lnTo>
                  <a:lnTo>
                    <a:pt x="272" y="5"/>
                  </a:lnTo>
                  <a:lnTo>
                    <a:pt x="273" y="5"/>
                  </a:lnTo>
                  <a:lnTo>
                    <a:pt x="273" y="5"/>
                  </a:lnTo>
                  <a:lnTo>
                    <a:pt x="274" y="5"/>
                  </a:lnTo>
                  <a:lnTo>
                    <a:pt x="274" y="5"/>
                  </a:lnTo>
                  <a:lnTo>
                    <a:pt x="274" y="5"/>
                  </a:lnTo>
                  <a:lnTo>
                    <a:pt x="275" y="4"/>
                  </a:lnTo>
                  <a:lnTo>
                    <a:pt x="275" y="4"/>
                  </a:lnTo>
                  <a:lnTo>
                    <a:pt x="277" y="2"/>
                  </a:lnTo>
                  <a:lnTo>
                    <a:pt x="277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80" y="0"/>
                  </a:lnTo>
                  <a:lnTo>
                    <a:pt x="280" y="1"/>
                  </a:lnTo>
                  <a:lnTo>
                    <a:pt x="280" y="1"/>
                  </a:lnTo>
                  <a:lnTo>
                    <a:pt x="281" y="2"/>
                  </a:lnTo>
                  <a:lnTo>
                    <a:pt x="281" y="3"/>
                  </a:lnTo>
                  <a:lnTo>
                    <a:pt x="283" y="5"/>
                  </a:lnTo>
                  <a:lnTo>
                    <a:pt x="284" y="6"/>
                  </a:lnTo>
                  <a:lnTo>
                    <a:pt x="284" y="7"/>
                  </a:lnTo>
                  <a:lnTo>
                    <a:pt x="285" y="9"/>
                  </a:lnTo>
                  <a:lnTo>
                    <a:pt x="285" y="10"/>
                  </a:lnTo>
                  <a:lnTo>
                    <a:pt x="285" y="10"/>
                  </a:lnTo>
                  <a:lnTo>
                    <a:pt x="286" y="10"/>
                  </a:lnTo>
                  <a:lnTo>
                    <a:pt x="286" y="11"/>
                  </a:lnTo>
                  <a:lnTo>
                    <a:pt x="286" y="11"/>
                  </a:lnTo>
                  <a:lnTo>
                    <a:pt x="287" y="11"/>
                  </a:lnTo>
                  <a:lnTo>
                    <a:pt x="287" y="11"/>
                  </a:lnTo>
                  <a:lnTo>
                    <a:pt x="288" y="11"/>
                  </a:lnTo>
                  <a:lnTo>
                    <a:pt x="291" y="10"/>
                  </a:lnTo>
                  <a:lnTo>
                    <a:pt x="291" y="10"/>
                  </a:lnTo>
                  <a:lnTo>
                    <a:pt x="291" y="10"/>
                  </a:lnTo>
                  <a:lnTo>
                    <a:pt x="293" y="9"/>
                  </a:lnTo>
                  <a:lnTo>
                    <a:pt x="294" y="8"/>
                  </a:lnTo>
                  <a:lnTo>
                    <a:pt x="294" y="8"/>
                  </a:lnTo>
                  <a:lnTo>
                    <a:pt x="295" y="7"/>
                  </a:lnTo>
                  <a:lnTo>
                    <a:pt x="296" y="6"/>
                  </a:lnTo>
                  <a:lnTo>
                    <a:pt x="296" y="7"/>
                  </a:lnTo>
                  <a:lnTo>
                    <a:pt x="296" y="8"/>
                  </a:lnTo>
                  <a:lnTo>
                    <a:pt x="297" y="9"/>
                  </a:lnTo>
                  <a:lnTo>
                    <a:pt x="298" y="10"/>
                  </a:lnTo>
                  <a:lnTo>
                    <a:pt x="299" y="12"/>
                  </a:lnTo>
                  <a:lnTo>
                    <a:pt x="299" y="13"/>
                  </a:lnTo>
                  <a:lnTo>
                    <a:pt x="300" y="13"/>
                  </a:lnTo>
                  <a:lnTo>
                    <a:pt x="300" y="14"/>
                  </a:lnTo>
                  <a:lnTo>
                    <a:pt x="300" y="15"/>
                  </a:lnTo>
                  <a:lnTo>
                    <a:pt x="300" y="16"/>
                  </a:lnTo>
                  <a:lnTo>
                    <a:pt x="300" y="17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299" y="19"/>
                  </a:lnTo>
                  <a:lnTo>
                    <a:pt x="298" y="21"/>
                  </a:lnTo>
                  <a:lnTo>
                    <a:pt x="297" y="22"/>
                  </a:lnTo>
                  <a:lnTo>
                    <a:pt x="296" y="24"/>
                  </a:lnTo>
                  <a:lnTo>
                    <a:pt x="295" y="26"/>
                  </a:lnTo>
                  <a:lnTo>
                    <a:pt x="295" y="27"/>
                  </a:lnTo>
                  <a:lnTo>
                    <a:pt x="294" y="27"/>
                  </a:lnTo>
                  <a:lnTo>
                    <a:pt x="294" y="28"/>
                  </a:lnTo>
                  <a:lnTo>
                    <a:pt x="294" y="29"/>
                  </a:lnTo>
                  <a:lnTo>
                    <a:pt x="294" y="29"/>
                  </a:lnTo>
                  <a:lnTo>
                    <a:pt x="294" y="30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5" y="32"/>
                  </a:lnTo>
                  <a:lnTo>
                    <a:pt x="295" y="32"/>
                  </a:lnTo>
                  <a:lnTo>
                    <a:pt x="296" y="32"/>
                  </a:lnTo>
                  <a:lnTo>
                    <a:pt x="297" y="32"/>
                  </a:lnTo>
                  <a:lnTo>
                    <a:pt x="300" y="33"/>
                  </a:lnTo>
                  <a:lnTo>
                    <a:pt x="300" y="33"/>
                  </a:lnTo>
                  <a:lnTo>
                    <a:pt x="301" y="33"/>
                  </a:lnTo>
                  <a:lnTo>
                    <a:pt x="301" y="33"/>
                  </a:lnTo>
                  <a:lnTo>
                    <a:pt x="302" y="33"/>
                  </a:lnTo>
                  <a:lnTo>
                    <a:pt x="303" y="33"/>
                  </a:lnTo>
                  <a:lnTo>
                    <a:pt x="304" y="32"/>
                  </a:lnTo>
                  <a:lnTo>
                    <a:pt x="306" y="31"/>
                  </a:lnTo>
                  <a:lnTo>
                    <a:pt x="308" y="31"/>
                  </a:lnTo>
                  <a:lnTo>
                    <a:pt x="309" y="31"/>
                  </a:lnTo>
                  <a:lnTo>
                    <a:pt x="309" y="30"/>
                  </a:lnTo>
                  <a:lnTo>
                    <a:pt x="311" y="30"/>
                  </a:lnTo>
                  <a:lnTo>
                    <a:pt x="313" y="30"/>
                  </a:lnTo>
                  <a:lnTo>
                    <a:pt x="314" y="30"/>
                  </a:lnTo>
                  <a:lnTo>
                    <a:pt x="315" y="31"/>
                  </a:lnTo>
                  <a:lnTo>
                    <a:pt x="318" y="31"/>
                  </a:lnTo>
                  <a:lnTo>
                    <a:pt x="319" y="31"/>
                  </a:lnTo>
                  <a:lnTo>
                    <a:pt x="320" y="31"/>
                  </a:lnTo>
                  <a:lnTo>
                    <a:pt x="320" y="31"/>
                  </a:lnTo>
                  <a:lnTo>
                    <a:pt x="323" y="31"/>
                  </a:lnTo>
                  <a:lnTo>
                    <a:pt x="325" y="31"/>
                  </a:lnTo>
                  <a:lnTo>
                    <a:pt x="326" y="31"/>
                  </a:lnTo>
                  <a:lnTo>
                    <a:pt x="326" y="31"/>
                  </a:lnTo>
                  <a:lnTo>
                    <a:pt x="327" y="31"/>
                  </a:lnTo>
                  <a:lnTo>
                    <a:pt x="328" y="31"/>
                  </a:lnTo>
                  <a:lnTo>
                    <a:pt x="329" y="32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1" y="33"/>
                  </a:lnTo>
                  <a:lnTo>
                    <a:pt x="330" y="34"/>
                  </a:lnTo>
                  <a:lnTo>
                    <a:pt x="330" y="34"/>
                  </a:lnTo>
                  <a:lnTo>
                    <a:pt x="328" y="35"/>
                  </a:lnTo>
                  <a:lnTo>
                    <a:pt x="328" y="35"/>
                  </a:lnTo>
                  <a:lnTo>
                    <a:pt x="327" y="36"/>
                  </a:lnTo>
                  <a:lnTo>
                    <a:pt x="327" y="36"/>
                  </a:lnTo>
                  <a:lnTo>
                    <a:pt x="326" y="36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8"/>
                  </a:lnTo>
                  <a:lnTo>
                    <a:pt x="327" y="38"/>
                  </a:lnTo>
                  <a:lnTo>
                    <a:pt x="327" y="38"/>
                  </a:lnTo>
                  <a:lnTo>
                    <a:pt x="327" y="39"/>
                  </a:lnTo>
                  <a:lnTo>
                    <a:pt x="328" y="40"/>
                  </a:lnTo>
                  <a:lnTo>
                    <a:pt x="329" y="40"/>
                  </a:lnTo>
                  <a:lnTo>
                    <a:pt x="330" y="41"/>
                  </a:lnTo>
                  <a:lnTo>
                    <a:pt x="331" y="42"/>
                  </a:lnTo>
                  <a:lnTo>
                    <a:pt x="334" y="43"/>
                  </a:lnTo>
                  <a:lnTo>
                    <a:pt x="336" y="44"/>
                  </a:lnTo>
                  <a:lnTo>
                    <a:pt x="338" y="46"/>
                  </a:lnTo>
                  <a:lnTo>
                    <a:pt x="341" y="48"/>
                  </a:lnTo>
                  <a:lnTo>
                    <a:pt x="342" y="49"/>
                  </a:lnTo>
                  <a:lnTo>
                    <a:pt x="344" y="50"/>
                  </a:lnTo>
                  <a:lnTo>
                    <a:pt x="344" y="50"/>
                  </a:lnTo>
                  <a:lnTo>
                    <a:pt x="345" y="51"/>
                  </a:lnTo>
                  <a:lnTo>
                    <a:pt x="346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50" y="52"/>
                  </a:lnTo>
                  <a:lnTo>
                    <a:pt x="351" y="52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5" y="52"/>
                  </a:lnTo>
                  <a:lnTo>
                    <a:pt x="357" y="52"/>
                  </a:lnTo>
                  <a:lnTo>
                    <a:pt x="358" y="51"/>
                  </a:lnTo>
                  <a:lnTo>
                    <a:pt x="359" y="51"/>
                  </a:lnTo>
                  <a:lnTo>
                    <a:pt x="362" y="50"/>
                  </a:lnTo>
                  <a:lnTo>
                    <a:pt x="363" y="50"/>
                  </a:lnTo>
                  <a:lnTo>
                    <a:pt x="364" y="50"/>
                  </a:lnTo>
                  <a:lnTo>
                    <a:pt x="366" y="50"/>
                  </a:lnTo>
                  <a:lnTo>
                    <a:pt x="366" y="50"/>
                  </a:lnTo>
                  <a:lnTo>
                    <a:pt x="368" y="50"/>
                  </a:lnTo>
                  <a:lnTo>
                    <a:pt x="368" y="51"/>
                  </a:lnTo>
                  <a:lnTo>
                    <a:pt x="369" y="51"/>
                  </a:lnTo>
                  <a:lnTo>
                    <a:pt x="370" y="51"/>
                  </a:lnTo>
                  <a:lnTo>
                    <a:pt x="370" y="52"/>
                  </a:lnTo>
                  <a:lnTo>
                    <a:pt x="371" y="52"/>
                  </a:lnTo>
                  <a:lnTo>
                    <a:pt x="372" y="53"/>
                  </a:lnTo>
                  <a:lnTo>
                    <a:pt x="374" y="56"/>
                  </a:lnTo>
                  <a:lnTo>
                    <a:pt x="376" y="58"/>
                  </a:lnTo>
                  <a:lnTo>
                    <a:pt x="377" y="59"/>
                  </a:lnTo>
                  <a:lnTo>
                    <a:pt x="379" y="61"/>
                  </a:lnTo>
                  <a:lnTo>
                    <a:pt x="382" y="63"/>
                  </a:lnTo>
                  <a:lnTo>
                    <a:pt x="383" y="64"/>
                  </a:lnTo>
                  <a:lnTo>
                    <a:pt x="384" y="65"/>
                  </a:lnTo>
                  <a:lnTo>
                    <a:pt x="385" y="65"/>
                  </a:lnTo>
                  <a:lnTo>
                    <a:pt x="386" y="65"/>
                  </a:lnTo>
                  <a:lnTo>
                    <a:pt x="389" y="66"/>
                  </a:lnTo>
                  <a:lnTo>
                    <a:pt x="390" y="66"/>
                  </a:lnTo>
                  <a:lnTo>
                    <a:pt x="391" y="66"/>
                  </a:lnTo>
                  <a:lnTo>
                    <a:pt x="392" y="66"/>
                  </a:lnTo>
                  <a:lnTo>
                    <a:pt x="392" y="67"/>
                  </a:lnTo>
                  <a:lnTo>
                    <a:pt x="393" y="67"/>
                  </a:lnTo>
                  <a:lnTo>
                    <a:pt x="394" y="68"/>
                  </a:lnTo>
                  <a:lnTo>
                    <a:pt x="394" y="68"/>
                  </a:lnTo>
                  <a:lnTo>
                    <a:pt x="395" y="69"/>
                  </a:lnTo>
                  <a:lnTo>
                    <a:pt x="395" y="69"/>
                  </a:lnTo>
                  <a:lnTo>
                    <a:pt x="395" y="70"/>
                  </a:lnTo>
                  <a:lnTo>
                    <a:pt x="396" y="71"/>
                  </a:lnTo>
                  <a:lnTo>
                    <a:pt x="396" y="71"/>
                  </a:lnTo>
                  <a:lnTo>
                    <a:pt x="396" y="74"/>
                  </a:lnTo>
                  <a:lnTo>
                    <a:pt x="396" y="75"/>
                  </a:lnTo>
                  <a:lnTo>
                    <a:pt x="397" y="75"/>
                  </a:lnTo>
                  <a:lnTo>
                    <a:pt x="397" y="75"/>
                  </a:lnTo>
                  <a:lnTo>
                    <a:pt x="397" y="76"/>
                  </a:lnTo>
                  <a:lnTo>
                    <a:pt x="397" y="76"/>
                  </a:lnTo>
                  <a:lnTo>
                    <a:pt x="398" y="76"/>
                  </a:lnTo>
                  <a:lnTo>
                    <a:pt x="398" y="76"/>
                  </a:lnTo>
                  <a:lnTo>
                    <a:pt x="401" y="77"/>
                  </a:lnTo>
                  <a:lnTo>
                    <a:pt x="404" y="78"/>
                  </a:lnTo>
                  <a:lnTo>
                    <a:pt x="406" y="78"/>
                  </a:lnTo>
                  <a:lnTo>
                    <a:pt x="407" y="79"/>
                  </a:lnTo>
                  <a:lnTo>
                    <a:pt x="410" y="80"/>
                  </a:lnTo>
                  <a:lnTo>
                    <a:pt x="416" y="84"/>
                  </a:lnTo>
                  <a:lnTo>
                    <a:pt x="417" y="84"/>
                  </a:lnTo>
                  <a:lnTo>
                    <a:pt x="417" y="85"/>
                  </a:lnTo>
                  <a:lnTo>
                    <a:pt x="417" y="85"/>
                  </a:lnTo>
                  <a:lnTo>
                    <a:pt x="418" y="85"/>
                  </a:lnTo>
                  <a:lnTo>
                    <a:pt x="418" y="86"/>
                  </a:lnTo>
                  <a:lnTo>
                    <a:pt x="418" y="86"/>
                  </a:lnTo>
                  <a:lnTo>
                    <a:pt x="418" y="91"/>
                  </a:lnTo>
                  <a:lnTo>
                    <a:pt x="418" y="93"/>
                  </a:lnTo>
                  <a:lnTo>
                    <a:pt x="419" y="96"/>
                  </a:lnTo>
                  <a:lnTo>
                    <a:pt x="419" y="100"/>
                  </a:lnTo>
                  <a:lnTo>
                    <a:pt x="419" y="102"/>
                  </a:lnTo>
                  <a:lnTo>
                    <a:pt x="419" y="106"/>
                  </a:lnTo>
                  <a:lnTo>
                    <a:pt x="419" y="107"/>
                  </a:lnTo>
                  <a:lnTo>
                    <a:pt x="419" y="108"/>
                  </a:lnTo>
                  <a:lnTo>
                    <a:pt x="419" y="108"/>
                  </a:lnTo>
                  <a:lnTo>
                    <a:pt x="419" y="109"/>
                  </a:lnTo>
                  <a:lnTo>
                    <a:pt x="419" y="110"/>
                  </a:lnTo>
                  <a:lnTo>
                    <a:pt x="418" y="110"/>
                  </a:lnTo>
                  <a:lnTo>
                    <a:pt x="418" y="111"/>
                  </a:lnTo>
                  <a:lnTo>
                    <a:pt x="416" y="112"/>
                  </a:lnTo>
                  <a:lnTo>
                    <a:pt x="416" y="113"/>
                  </a:lnTo>
                  <a:lnTo>
                    <a:pt x="415" y="113"/>
                  </a:lnTo>
                  <a:lnTo>
                    <a:pt x="415" y="114"/>
                  </a:lnTo>
                  <a:lnTo>
                    <a:pt x="414" y="115"/>
                  </a:lnTo>
                  <a:lnTo>
                    <a:pt x="414" y="116"/>
                  </a:lnTo>
                  <a:lnTo>
                    <a:pt x="413" y="118"/>
                  </a:lnTo>
                  <a:lnTo>
                    <a:pt x="412" y="121"/>
                  </a:lnTo>
                  <a:lnTo>
                    <a:pt x="412" y="122"/>
                  </a:lnTo>
                  <a:lnTo>
                    <a:pt x="412" y="123"/>
                  </a:lnTo>
                  <a:lnTo>
                    <a:pt x="411" y="128"/>
                  </a:lnTo>
                  <a:lnTo>
                    <a:pt x="411" y="129"/>
                  </a:lnTo>
                  <a:lnTo>
                    <a:pt x="411" y="130"/>
                  </a:lnTo>
                  <a:lnTo>
                    <a:pt x="411" y="133"/>
                  </a:lnTo>
                  <a:lnTo>
                    <a:pt x="411" y="134"/>
                  </a:lnTo>
                  <a:lnTo>
                    <a:pt x="411" y="135"/>
                  </a:lnTo>
                  <a:lnTo>
                    <a:pt x="411" y="136"/>
                  </a:lnTo>
                  <a:lnTo>
                    <a:pt x="411" y="137"/>
                  </a:lnTo>
                  <a:lnTo>
                    <a:pt x="411" y="138"/>
                  </a:lnTo>
                  <a:lnTo>
                    <a:pt x="410" y="140"/>
                  </a:lnTo>
                  <a:lnTo>
                    <a:pt x="409" y="143"/>
                  </a:lnTo>
                  <a:lnTo>
                    <a:pt x="409" y="143"/>
                  </a:lnTo>
                  <a:lnTo>
                    <a:pt x="409" y="144"/>
                  </a:lnTo>
                  <a:lnTo>
                    <a:pt x="409" y="145"/>
                  </a:lnTo>
                  <a:lnTo>
                    <a:pt x="409" y="146"/>
                  </a:lnTo>
                  <a:lnTo>
                    <a:pt x="409" y="147"/>
                  </a:lnTo>
                  <a:lnTo>
                    <a:pt x="409" y="150"/>
                  </a:lnTo>
                  <a:lnTo>
                    <a:pt x="409" y="151"/>
                  </a:lnTo>
                  <a:lnTo>
                    <a:pt x="408" y="152"/>
                  </a:lnTo>
                  <a:lnTo>
                    <a:pt x="408" y="153"/>
                  </a:lnTo>
                  <a:lnTo>
                    <a:pt x="408" y="154"/>
                  </a:lnTo>
                  <a:lnTo>
                    <a:pt x="408" y="155"/>
                  </a:lnTo>
                  <a:lnTo>
                    <a:pt x="407" y="157"/>
                  </a:lnTo>
                  <a:lnTo>
                    <a:pt x="407" y="158"/>
                  </a:lnTo>
                  <a:lnTo>
                    <a:pt x="407" y="159"/>
                  </a:lnTo>
                  <a:lnTo>
                    <a:pt x="408" y="159"/>
                  </a:lnTo>
                  <a:lnTo>
                    <a:pt x="408" y="159"/>
                  </a:lnTo>
                  <a:lnTo>
                    <a:pt x="408" y="159"/>
                  </a:lnTo>
                  <a:lnTo>
                    <a:pt x="410" y="160"/>
                  </a:lnTo>
                  <a:lnTo>
                    <a:pt x="410" y="161"/>
                  </a:lnTo>
                  <a:lnTo>
                    <a:pt x="411" y="161"/>
                  </a:lnTo>
                  <a:lnTo>
                    <a:pt x="411" y="162"/>
                  </a:lnTo>
                  <a:lnTo>
                    <a:pt x="412" y="162"/>
                  </a:lnTo>
                  <a:lnTo>
                    <a:pt x="412" y="163"/>
                  </a:lnTo>
                  <a:lnTo>
                    <a:pt x="412" y="164"/>
                  </a:lnTo>
                  <a:lnTo>
                    <a:pt x="412" y="164"/>
                  </a:lnTo>
                  <a:lnTo>
                    <a:pt x="411" y="165"/>
                  </a:lnTo>
                  <a:lnTo>
                    <a:pt x="411" y="165"/>
                  </a:lnTo>
                  <a:lnTo>
                    <a:pt x="411" y="166"/>
                  </a:lnTo>
                  <a:lnTo>
                    <a:pt x="410" y="166"/>
                  </a:lnTo>
                  <a:lnTo>
                    <a:pt x="409" y="167"/>
                  </a:lnTo>
                  <a:lnTo>
                    <a:pt x="406" y="170"/>
                  </a:lnTo>
                  <a:lnTo>
                    <a:pt x="405" y="171"/>
                  </a:lnTo>
                  <a:lnTo>
                    <a:pt x="404" y="172"/>
                  </a:lnTo>
                  <a:lnTo>
                    <a:pt x="403" y="173"/>
                  </a:lnTo>
                  <a:lnTo>
                    <a:pt x="402" y="175"/>
                  </a:lnTo>
                  <a:lnTo>
                    <a:pt x="401" y="176"/>
                  </a:lnTo>
                  <a:lnTo>
                    <a:pt x="400" y="176"/>
                  </a:lnTo>
                  <a:lnTo>
                    <a:pt x="400" y="177"/>
                  </a:lnTo>
                  <a:lnTo>
                    <a:pt x="399" y="177"/>
                  </a:lnTo>
                  <a:lnTo>
                    <a:pt x="399" y="177"/>
                  </a:lnTo>
                  <a:lnTo>
                    <a:pt x="398" y="178"/>
                  </a:lnTo>
                  <a:lnTo>
                    <a:pt x="398" y="178"/>
                  </a:lnTo>
                  <a:lnTo>
                    <a:pt x="397" y="178"/>
                  </a:lnTo>
                  <a:lnTo>
                    <a:pt x="397" y="178"/>
                  </a:lnTo>
                  <a:lnTo>
                    <a:pt x="396" y="177"/>
                  </a:lnTo>
                  <a:lnTo>
                    <a:pt x="395" y="177"/>
                  </a:lnTo>
                  <a:lnTo>
                    <a:pt x="392" y="175"/>
                  </a:lnTo>
                  <a:lnTo>
                    <a:pt x="392" y="175"/>
                  </a:lnTo>
                  <a:lnTo>
                    <a:pt x="392" y="175"/>
                  </a:lnTo>
                  <a:lnTo>
                    <a:pt x="391" y="175"/>
                  </a:lnTo>
                  <a:lnTo>
                    <a:pt x="390" y="175"/>
                  </a:lnTo>
                  <a:lnTo>
                    <a:pt x="389" y="175"/>
                  </a:lnTo>
                  <a:lnTo>
                    <a:pt x="389" y="175"/>
                  </a:lnTo>
                  <a:lnTo>
                    <a:pt x="388" y="175"/>
                  </a:lnTo>
                  <a:lnTo>
                    <a:pt x="387" y="176"/>
                  </a:lnTo>
                  <a:lnTo>
                    <a:pt x="386" y="176"/>
                  </a:lnTo>
                  <a:lnTo>
                    <a:pt x="384" y="177"/>
                  </a:lnTo>
                  <a:lnTo>
                    <a:pt x="383" y="178"/>
                  </a:lnTo>
                  <a:lnTo>
                    <a:pt x="382" y="178"/>
                  </a:lnTo>
                  <a:lnTo>
                    <a:pt x="381" y="179"/>
                  </a:lnTo>
                  <a:lnTo>
                    <a:pt x="380" y="180"/>
                  </a:lnTo>
                  <a:lnTo>
                    <a:pt x="379" y="181"/>
                  </a:lnTo>
                  <a:lnTo>
                    <a:pt x="378" y="181"/>
                  </a:lnTo>
                  <a:lnTo>
                    <a:pt x="378" y="182"/>
                  </a:lnTo>
                  <a:lnTo>
                    <a:pt x="377" y="184"/>
                  </a:lnTo>
                  <a:lnTo>
                    <a:pt x="374" y="187"/>
                  </a:lnTo>
                  <a:lnTo>
                    <a:pt x="373" y="188"/>
                  </a:lnTo>
                  <a:lnTo>
                    <a:pt x="373" y="189"/>
                  </a:lnTo>
                  <a:lnTo>
                    <a:pt x="373" y="190"/>
                  </a:lnTo>
                  <a:lnTo>
                    <a:pt x="372" y="191"/>
                  </a:lnTo>
                  <a:lnTo>
                    <a:pt x="372" y="192"/>
                  </a:lnTo>
                  <a:lnTo>
                    <a:pt x="372" y="193"/>
                  </a:lnTo>
                  <a:lnTo>
                    <a:pt x="372" y="194"/>
                  </a:lnTo>
                  <a:lnTo>
                    <a:pt x="372" y="194"/>
                  </a:lnTo>
                  <a:lnTo>
                    <a:pt x="372" y="195"/>
                  </a:lnTo>
                  <a:lnTo>
                    <a:pt x="373" y="195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4" y="197"/>
                  </a:lnTo>
                  <a:lnTo>
                    <a:pt x="374" y="197"/>
                  </a:lnTo>
                  <a:lnTo>
                    <a:pt x="375" y="197"/>
                  </a:lnTo>
                  <a:lnTo>
                    <a:pt x="377" y="196"/>
                  </a:lnTo>
                  <a:lnTo>
                    <a:pt x="378" y="196"/>
                  </a:lnTo>
                  <a:lnTo>
                    <a:pt x="379" y="196"/>
                  </a:lnTo>
                  <a:lnTo>
                    <a:pt x="380" y="196"/>
                  </a:lnTo>
                  <a:lnTo>
                    <a:pt x="382" y="196"/>
                  </a:lnTo>
                  <a:lnTo>
                    <a:pt x="383" y="197"/>
                  </a:lnTo>
                  <a:lnTo>
                    <a:pt x="383" y="197"/>
                  </a:lnTo>
                  <a:lnTo>
                    <a:pt x="384" y="197"/>
                  </a:lnTo>
                  <a:lnTo>
                    <a:pt x="384" y="197"/>
                  </a:lnTo>
                  <a:lnTo>
                    <a:pt x="384" y="198"/>
                  </a:lnTo>
                  <a:lnTo>
                    <a:pt x="384" y="198"/>
                  </a:lnTo>
                  <a:lnTo>
                    <a:pt x="385" y="198"/>
                  </a:lnTo>
                  <a:lnTo>
                    <a:pt x="384" y="199"/>
                  </a:lnTo>
                  <a:lnTo>
                    <a:pt x="384" y="199"/>
                  </a:lnTo>
                  <a:lnTo>
                    <a:pt x="384" y="200"/>
                  </a:lnTo>
                  <a:lnTo>
                    <a:pt x="383" y="200"/>
                  </a:lnTo>
                  <a:lnTo>
                    <a:pt x="382" y="201"/>
                  </a:lnTo>
                  <a:lnTo>
                    <a:pt x="378" y="202"/>
                  </a:lnTo>
                  <a:lnTo>
                    <a:pt x="378" y="203"/>
                  </a:lnTo>
                  <a:lnTo>
                    <a:pt x="378" y="203"/>
                  </a:lnTo>
                  <a:lnTo>
                    <a:pt x="378" y="203"/>
                  </a:lnTo>
                  <a:lnTo>
                    <a:pt x="377" y="203"/>
                  </a:lnTo>
                  <a:lnTo>
                    <a:pt x="377" y="204"/>
                  </a:lnTo>
                  <a:lnTo>
                    <a:pt x="377" y="205"/>
                  </a:lnTo>
                  <a:lnTo>
                    <a:pt x="378" y="205"/>
                  </a:lnTo>
                  <a:lnTo>
                    <a:pt x="378" y="206"/>
                  </a:lnTo>
                  <a:lnTo>
                    <a:pt x="378" y="206"/>
                  </a:lnTo>
                  <a:lnTo>
                    <a:pt x="378" y="207"/>
                  </a:lnTo>
                  <a:lnTo>
                    <a:pt x="380" y="208"/>
                  </a:lnTo>
                  <a:lnTo>
                    <a:pt x="380" y="209"/>
                  </a:lnTo>
                  <a:lnTo>
                    <a:pt x="381" y="210"/>
                  </a:lnTo>
                  <a:lnTo>
                    <a:pt x="381" y="210"/>
                  </a:lnTo>
                  <a:lnTo>
                    <a:pt x="382" y="211"/>
                  </a:lnTo>
                  <a:lnTo>
                    <a:pt x="382" y="212"/>
                  </a:lnTo>
                  <a:lnTo>
                    <a:pt x="382" y="212"/>
                  </a:lnTo>
                  <a:lnTo>
                    <a:pt x="381" y="213"/>
                  </a:lnTo>
                  <a:lnTo>
                    <a:pt x="381" y="213"/>
                  </a:lnTo>
                  <a:lnTo>
                    <a:pt x="381" y="213"/>
                  </a:lnTo>
                  <a:lnTo>
                    <a:pt x="380" y="214"/>
                  </a:lnTo>
                  <a:lnTo>
                    <a:pt x="380" y="214"/>
                  </a:lnTo>
                  <a:lnTo>
                    <a:pt x="379" y="214"/>
                  </a:lnTo>
                  <a:lnTo>
                    <a:pt x="378" y="214"/>
                  </a:lnTo>
                  <a:lnTo>
                    <a:pt x="377" y="214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6"/>
                  </a:lnTo>
                  <a:lnTo>
                    <a:pt x="377" y="216"/>
                  </a:lnTo>
                  <a:lnTo>
                    <a:pt x="378" y="217"/>
                  </a:lnTo>
                  <a:lnTo>
                    <a:pt x="379" y="218"/>
                  </a:lnTo>
                  <a:lnTo>
                    <a:pt x="380" y="218"/>
                  </a:lnTo>
                  <a:lnTo>
                    <a:pt x="380" y="218"/>
                  </a:lnTo>
                  <a:lnTo>
                    <a:pt x="380" y="219"/>
                  </a:lnTo>
                  <a:lnTo>
                    <a:pt x="380" y="219"/>
                  </a:lnTo>
                  <a:lnTo>
                    <a:pt x="380" y="220"/>
                  </a:lnTo>
                  <a:lnTo>
                    <a:pt x="380" y="221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1" y="222"/>
                  </a:lnTo>
                  <a:lnTo>
                    <a:pt x="381" y="223"/>
                  </a:lnTo>
                  <a:lnTo>
                    <a:pt x="381" y="223"/>
                  </a:lnTo>
                  <a:lnTo>
                    <a:pt x="382" y="223"/>
                  </a:lnTo>
                  <a:lnTo>
                    <a:pt x="383" y="223"/>
                  </a:lnTo>
                  <a:lnTo>
                    <a:pt x="385" y="223"/>
                  </a:lnTo>
                  <a:lnTo>
                    <a:pt x="386" y="223"/>
                  </a:lnTo>
                  <a:lnTo>
                    <a:pt x="387" y="223"/>
                  </a:lnTo>
                  <a:lnTo>
                    <a:pt x="388" y="223"/>
                  </a:lnTo>
                  <a:lnTo>
                    <a:pt x="389" y="224"/>
                  </a:lnTo>
                  <a:lnTo>
                    <a:pt x="390" y="224"/>
                  </a:lnTo>
                  <a:lnTo>
                    <a:pt x="391" y="225"/>
                  </a:lnTo>
                  <a:lnTo>
                    <a:pt x="392" y="225"/>
                  </a:lnTo>
                  <a:lnTo>
                    <a:pt x="392" y="226"/>
                  </a:lnTo>
                  <a:lnTo>
                    <a:pt x="392" y="226"/>
                  </a:lnTo>
                  <a:lnTo>
                    <a:pt x="393" y="227"/>
                  </a:lnTo>
                  <a:lnTo>
                    <a:pt x="393" y="227"/>
                  </a:lnTo>
                  <a:lnTo>
                    <a:pt x="393" y="228"/>
                  </a:lnTo>
                  <a:lnTo>
                    <a:pt x="393" y="229"/>
                  </a:lnTo>
                  <a:lnTo>
                    <a:pt x="393" y="231"/>
                  </a:lnTo>
                  <a:lnTo>
                    <a:pt x="393" y="233"/>
                  </a:lnTo>
                  <a:lnTo>
                    <a:pt x="393" y="235"/>
                  </a:lnTo>
                  <a:lnTo>
                    <a:pt x="393" y="236"/>
                  </a:lnTo>
                  <a:lnTo>
                    <a:pt x="393" y="238"/>
                  </a:lnTo>
                  <a:lnTo>
                    <a:pt x="392" y="241"/>
                  </a:lnTo>
                  <a:lnTo>
                    <a:pt x="392" y="243"/>
                  </a:lnTo>
                  <a:lnTo>
                    <a:pt x="392" y="245"/>
                  </a:lnTo>
                  <a:lnTo>
                    <a:pt x="391" y="248"/>
                  </a:lnTo>
                  <a:lnTo>
                    <a:pt x="391" y="251"/>
                  </a:lnTo>
                  <a:lnTo>
                    <a:pt x="391" y="252"/>
                  </a:lnTo>
                  <a:lnTo>
                    <a:pt x="391" y="256"/>
                  </a:lnTo>
                  <a:lnTo>
                    <a:pt x="391" y="256"/>
                  </a:lnTo>
                  <a:lnTo>
                    <a:pt x="391" y="257"/>
                  </a:lnTo>
                  <a:lnTo>
                    <a:pt x="391" y="257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3" y="259"/>
                  </a:lnTo>
                  <a:lnTo>
                    <a:pt x="394" y="259"/>
                  </a:lnTo>
                  <a:lnTo>
                    <a:pt x="395" y="260"/>
                  </a:lnTo>
                  <a:lnTo>
                    <a:pt x="396" y="261"/>
                  </a:lnTo>
                  <a:lnTo>
                    <a:pt x="396" y="261"/>
                  </a:lnTo>
                  <a:lnTo>
                    <a:pt x="397" y="262"/>
                  </a:lnTo>
                  <a:lnTo>
                    <a:pt x="397" y="263"/>
                  </a:lnTo>
                  <a:lnTo>
                    <a:pt x="397" y="264"/>
                  </a:lnTo>
                  <a:lnTo>
                    <a:pt x="398" y="266"/>
                  </a:lnTo>
                  <a:lnTo>
                    <a:pt x="398" y="267"/>
                  </a:lnTo>
                  <a:lnTo>
                    <a:pt x="398" y="268"/>
                  </a:lnTo>
                  <a:lnTo>
                    <a:pt x="398" y="269"/>
                  </a:lnTo>
                  <a:lnTo>
                    <a:pt x="398" y="270"/>
                  </a:lnTo>
                  <a:lnTo>
                    <a:pt x="398" y="272"/>
                  </a:lnTo>
                  <a:lnTo>
                    <a:pt x="398" y="273"/>
                  </a:lnTo>
                  <a:lnTo>
                    <a:pt x="398" y="274"/>
                  </a:lnTo>
                  <a:lnTo>
                    <a:pt x="398" y="275"/>
                  </a:lnTo>
                  <a:lnTo>
                    <a:pt x="398" y="275"/>
                  </a:lnTo>
                  <a:lnTo>
                    <a:pt x="397" y="275"/>
                  </a:lnTo>
                  <a:lnTo>
                    <a:pt x="397" y="275"/>
                  </a:lnTo>
                  <a:lnTo>
                    <a:pt x="397" y="275"/>
                  </a:lnTo>
                  <a:lnTo>
                    <a:pt x="396" y="276"/>
                  </a:lnTo>
                  <a:lnTo>
                    <a:pt x="396" y="277"/>
                  </a:lnTo>
                  <a:lnTo>
                    <a:pt x="396" y="277"/>
                  </a:lnTo>
                  <a:lnTo>
                    <a:pt x="395" y="278"/>
                  </a:lnTo>
                  <a:lnTo>
                    <a:pt x="394" y="283"/>
                  </a:lnTo>
                  <a:lnTo>
                    <a:pt x="394" y="284"/>
                  </a:lnTo>
                  <a:lnTo>
                    <a:pt x="394" y="284"/>
                  </a:lnTo>
                  <a:lnTo>
                    <a:pt x="394" y="285"/>
                  </a:lnTo>
                  <a:lnTo>
                    <a:pt x="394" y="285"/>
                  </a:lnTo>
                  <a:lnTo>
                    <a:pt x="394" y="286"/>
                  </a:lnTo>
                  <a:lnTo>
                    <a:pt x="394" y="286"/>
                  </a:lnTo>
                  <a:lnTo>
                    <a:pt x="394" y="287"/>
                  </a:lnTo>
                  <a:lnTo>
                    <a:pt x="395" y="288"/>
                  </a:lnTo>
                  <a:lnTo>
                    <a:pt x="396" y="289"/>
                  </a:lnTo>
                  <a:lnTo>
                    <a:pt x="396" y="289"/>
                  </a:lnTo>
                  <a:lnTo>
                    <a:pt x="396" y="289"/>
                  </a:lnTo>
                  <a:lnTo>
                    <a:pt x="397" y="290"/>
                  </a:lnTo>
                  <a:lnTo>
                    <a:pt x="397" y="292"/>
                  </a:lnTo>
                  <a:lnTo>
                    <a:pt x="397" y="293"/>
                  </a:lnTo>
                  <a:lnTo>
                    <a:pt x="397" y="294"/>
                  </a:lnTo>
                  <a:lnTo>
                    <a:pt x="397" y="298"/>
                  </a:lnTo>
                  <a:lnTo>
                    <a:pt x="397" y="299"/>
                  </a:lnTo>
                  <a:lnTo>
                    <a:pt x="398" y="302"/>
                  </a:lnTo>
                  <a:lnTo>
                    <a:pt x="398" y="303"/>
                  </a:lnTo>
                  <a:lnTo>
                    <a:pt x="399" y="304"/>
                  </a:lnTo>
                  <a:lnTo>
                    <a:pt x="400" y="306"/>
                  </a:lnTo>
                  <a:lnTo>
                    <a:pt x="401" y="308"/>
                  </a:lnTo>
                  <a:lnTo>
                    <a:pt x="401" y="309"/>
                  </a:lnTo>
                  <a:lnTo>
                    <a:pt x="401" y="310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1" y="312"/>
                  </a:lnTo>
                  <a:lnTo>
                    <a:pt x="399" y="315"/>
                  </a:lnTo>
                  <a:lnTo>
                    <a:pt x="398" y="317"/>
                  </a:lnTo>
                  <a:lnTo>
                    <a:pt x="398" y="318"/>
                  </a:lnTo>
                  <a:lnTo>
                    <a:pt x="397" y="319"/>
                  </a:lnTo>
                  <a:lnTo>
                    <a:pt x="397" y="320"/>
                  </a:lnTo>
                  <a:lnTo>
                    <a:pt x="397" y="321"/>
                  </a:lnTo>
                  <a:lnTo>
                    <a:pt x="396" y="324"/>
                  </a:lnTo>
                  <a:lnTo>
                    <a:pt x="396" y="326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7" y="330"/>
                  </a:lnTo>
                  <a:lnTo>
                    <a:pt x="397" y="332"/>
                  </a:lnTo>
                  <a:lnTo>
                    <a:pt x="397" y="333"/>
                  </a:lnTo>
                  <a:lnTo>
                    <a:pt x="399" y="336"/>
                  </a:lnTo>
                  <a:lnTo>
                    <a:pt x="400" y="337"/>
                  </a:lnTo>
                  <a:lnTo>
                    <a:pt x="400" y="338"/>
                  </a:lnTo>
                  <a:lnTo>
                    <a:pt x="402" y="340"/>
                  </a:lnTo>
                  <a:lnTo>
                    <a:pt x="402" y="341"/>
                  </a:lnTo>
                  <a:lnTo>
                    <a:pt x="403" y="341"/>
                  </a:lnTo>
                  <a:lnTo>
                    <a:pt x="403" y="342"/>
                  </a:lnTo>
                  <a:lnTo>
                    <a:pt x="403" y="343"/>
                  </a:lnTo>
                  <a:lnTo>
                    <a:pt x="403" y="344"/>
                  </a:lnTo>
                  <a:lnTo>
                    <a:pt x="403" y="345"/>
                  </a:lnTo>
                  <a:lnTo>
                    <a:pt x="402" y="347"/>
                  </a:lnTo>
                  <a:lnTo>
                    <a:pt x="402" y="348"/>
                  </a:lnTo>
                  <a:lnTo>
                    <a:pt x="402" y="349"/>
                  </a:lnTo>
                  <a:lnTo>
                    <a:pt x="401" y="350"/>
                  </a:lnTo>
                  <a:lnTo>
                    <a:pt x="400" y="352"/>
                  </a:lnTo>
                  <a:lnTo>
                    <a:pt x="399" y="353"/>
                  </a:lnTo>
                  <a:lnTo>
                    <a:pt x="398" y="355"/>
                  </a:lnTo>
                  <a:lnTo>
                    <a:pt x="397" y="357"/>
                  </a:lnTo>
                  <a:lnTo>
                    <a:pt x="397" y="359"/>
                  </a:lnTo>
                  <a:lnTo>
                    <a:pt x="396" y="360"/>
                  </a:lnTo>
                  <a:lnTo>
                    <a:pt x="396" y="361"/>
                  </a:lnTo>
                  <a:lnTo>
                    <a:pt x="395" y="361"/>
                  </a:lnTo>
                  <a:lnTo>
                    <a:pt x="395" y="362"/>
                  </a:lnTo>
                  <a:lnTo>
                    <a:pt x="392" y="364"/>
                  </a:lnTo>
                  <a:lnTo>
                    <a:pt x="390" y="366"/>
                  </a:lnTo>
                  <a:lnTo>
                    <a:pt x="388" y="366"/>
                  </a:lnTo>
                  <a:lnTo>
                    <a:pt x="388" y="367"/>
                  </a:lnTo>
                  <a:lnTo>
                    <a:pt x="386" y="369"/>
                  </a:lnTo>
                  <a:lnTo>
                    <a:pt x="385" y="370"/>
                  </a:lnTo>
                  <a:lnTo>
                    <a:pt x="385" y="370"/>
                  </a:lnTo>
                  <a:lnTo>
                    <a:pt x="385" y="371"/>
                  </a:lnTo>
                  <a:lnTo>
                    <a:pt x="385" y="372"/>
                  </a:lnTo>
                  <a:lnTo>
                    <a:pt x="384" y="373"/>
                  </a:lnTo>
                  <a:lnTo>
                    <a:pt x="384" y="374"/>
                  </a:lnTo>
                  <a:lnTo>
                    <a:pt x="384" y="375"/>
                  </a:lnTo>
                  <a:lnTo>
                    <a:pt x="384" y="376"/>
                  </a:lnTo>
                  <a:lnTo>
                    <a:pt x="385" y="377"/>
                  </a:lnTo>
                  <a:lnTo>
                    <a:pt x="385" y="378"/>
                  </a:lnTo>
                  <a:lnTo>
                    <a:pt x="385" y="378"/>
                  </a:lnTo>
                  <a:lnTo>
                    <a:pt x="385" y="379"/>
                  </a:lnTo>
                  <a:lnTo>
                    <a:pt x="384" y="380"/>
                  </a:lnTo>
                  <a:lnTo>
                    <a:pt x="384" y="380"/>
                  </a:lnTo>
                  <a:lnTo>
                    <a:pt x="384" y="381"/>
                  </a:lnTo>
                  <a:lnTo>
                    <a:pt x="383" y="381"/>
                  </a:lnTo>
                  <a:lnTo>
                    <a:pt x="383" y="382"/>
                  </a:lnTo>
                  <a:lnTo>
                    <a:pt x="383" y="382"/>
                  </a:lnTo>
                  <a:lnTo>
                    <a:pt x="382" y="382"/>
                  </a:lnTo>
                  <a:lnTo>
                    <a:pt x="382" y="383"/>
                  </a:lnTo>
                  <a:lnTo>
                    <a:pt x="380" y="384"/>
                  </a:lnTo>
                  <a:lnTo>
                    <a:pt x="379" y="384"/>
                  </a:lnTo>
                  <a:lnTo>
                    <a:pt x="379" y="384"/>
                  </a:lnTo>
                  <a:lnTo>
                    <a:pt x="379" y="385"/>
                  </a:lnTo>
                  <a:lnTo>
                    <a:pt x="378" y="385"/>
                  </a:lnTo>
                  <a:lnTo>
                    <a:pt x="378" y="385"/>
                  </a:lnTo>
                  <a:lnTo>
                    <a:pt x="378" y="386"/>
                  </a:lnTo>
                  <a:lnTo>
                    <a:pt x="378" y="386"/>
                  </a:lnTo>
                  <a:lnTo>
                    <a:pt x="378" y="387"/>
                  </a:lnTo>
                  <a:lnTo>
                    <a:pt x="378" y="387"/>
                  </a:lnTo>
                  <a:lnTo>
                    <a:pt x="378" y="388"/>
                  </a:lnTo>
                  <a:lnTo>
                    <a:pt x="378" y="389"/>
                  </a:lnTo>
                  <a:lnTo>
                    <a:pt x="379" y="389"/>
                  </a:lnTo>
                  <a:lnTo>
                    <a:pt x="379" y="390"/>
                  </a:lnTo>
                  <a:lnTo>
                    <a:pt x="379" y="390"/>
                  </a:lnTo>
                  <a:lnTo>
                    <a:pt x="380" y="391"/>
                  </a:lnTo>
                  <a:lnTo>
                    <a:pt x="380" y="392"/>
                  </a:lnTo>
                  <a:lnTo>
                    <a:pt x="381" y="392"/>
                  </a:lnTo>
                  <a:lnTo>
                    <a:pt x="383" y="393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5"/>
                  </a:lnTo>
                  <a:lnTo>
                    <a:pt x="383" y="396"/>
                  </a:lnTo>
                  <a:lnTo>
                    <a:pt x="383" y="397"/>
                  </a:lnTo>
                  <a:lnTo>
                    <a:pt x="382" y="397"/>
                  </a:lnTo>
                  <a:lnTo>
                    <a:pt x="382" y="398"/>
                  </a:lnTo>
                  <a:lnTo>
                    <a:pt x="382" y="398"/>
                  </a:lnTo>
                  <a:lnTo>
                    <a:pt x="381" y="398"/>
                  </a:lnTo>
                  <a:lnTo>
                    <a:pt x="381" y="399"/>
                  </a:lnTo>
                  <a:lnTo>
                    <a:pt x="379" y="399"/>
                  </a:lnTo>
                  <a:lnTo>
                    <a:pt x="379" y="400"/>
                  </a:lnTo>
                  <a:lnTo>
                    <a:pt x="378" y="400"/>
                  </a:lnTo>
                  <a:lnTo>
                    <a:pt x="377" y="402"/>
                  </a:lnTo>
                  <a:lnTo>
                    <a:pt x="376" y="403"/>
                  </a:lnTo>
                  <a:lnTo>
                    <a:pt x="375" y="403"/>
                  </a:lnTo>
                  <a:lnTo>
                    <a:pt x="375" y="404"/>
                  </a:lnTo>
                  <a:lnTo>
                    <a:pt x="375" y="405"/>
                  </a:lnTo>
                  <a:lnTo>
                    <a:pt x="374" y="405"/>
                  </a:lnTo>
                  <a:lnTo>
                    <a:pt x="374" y="406"/>
                  </a:lnTo>
                  <a:lnTo>
                    <a:pt x="374" y="407"/>
                  </a:lnTo>
                  <a:lnTo>
                    <a:pt x="374" y="407"/>
                  </a:lnTo>
                  <a:lnTo>
                    <a:pt x="374" y="408"/>
                  </a:lnTo>
                  <a:lnTo>
                    <a:pt x="374" y="409"/>
                  </a:lnTo>
                  <a:lnTo>
                    <a:pt x="375" y="410"/>
                  </a:lnTo>
                  <a:lnTo>
                    <a:pt x="376" y="412"/>
                  </a:lnTo>
                  <a:lnTo>
                    <a:pt x="376" y="413"/>
                  </a:lnTo>
                  <a:lnTo>
                    <a:pt x="378" y="415"/>
                  </a:lnTo>
                  <a:lnTo>
                    <a:pt x="378" y="416"/>
                  </a:lnTo>
                  <a:lnTo>
                    <a:pt x="378" y="416"/>
                  </a:lnTo>
                  <a:lnTo>
                    <a:pt x="379" y="417"/>
                  </a:lnTo>
                  <a:lnTo>
                    <a:pt x="379" y="418"/>
                  </a:lnTo>
                  <a:lnTo>
                    <a:pt x="379" y="419"/>
                  </a:lnTo>
                  <a:lnTo>
                    <a:pt x="379" y="420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2"/>
                  </a:lnTo>
                  <a:lnTo>
                    <a:pt x="378" y="423"/>
                  </a:lnTo>
                  <a:lnTo>
                    <a:pt x="377" y="424"/>
                  </a:lnTo>
                  <a:lnTo>
                    <a:pt x="376" y="425"/>
                  </a:lnTo>
                  <a:lnTo>
                    <a:pt x="375" y="426"/>
                  </a:lnTo>
                  <a:lnTo>
                    <a:pt x="375" y="427"/>
                  </a:lnTo>
                  <a:lnTo>
                    <a:pt x="374" y="428"/>
                  </a:lnTo>
                  <a:lnTo>
                    <a:pt x="374" y="429"/>
                  </a:lnTo>
                  <a:lnTo>
                    <a:pt x="373" y="432"/>
                  </a:lnTo>
                  <a:lnTo>
                    <a:pt x="372" y="435"/>
                  </a:lnTo>
                  <a:lnTo>
                    <a:pt x="372" y="436"/>
                  </a:lnTo>
                  <a:lnTo>
                    <a:pt x="371" y="436"/>
                  </a:lnTo>
                  <a:lnTo>
                    <a:pt x="371" y="436"/>
                  </a:lnTo>
                  <a:lnTo>
                    <a:pt x="371" y="436"/>
                  </a:lnTo>
                  <a:lnTo>
                    <a:pt x="370" y="437"/>
                  </a:lnTo>
                  <a:lnTo>
                    <a:pt x="367" y="438"/>
                  </a:lnTo>
                  <a:lnTo>
                    <a:pt x="366" y="439"/>
                  </a:lnTo>
                  <a:lnTo>
                    <a:pt x="364" y="439"/>
                  </a:lnTo>
                  <a:lnTo>
                    <a:pt x="364" y="440"/>
                  </a:lnTo>
                  <a:lnTo>
                    <a:pt x="361" y="442"/>
                  </a:lnTo>
                  <a:lnTo>
                    <a:pt x="359" y="443"/>
                  </a:lnTo>
                  <a:lnTo>
                    <a:pt x="358" y="444"/>
                  </a:lnTo>
                  <a:lnTo>
                    <a:pt x="357" y="445"/>
                  </a:lnTo>
                  <a:lnTo>
                    <a:pt x="356" y="445"/>
                  </a:lnTo>
                  <a:lnTo>
                    <a:pt x="355" y="445"/>
                  </a:lnTo>
                  <a:lnTo>
                    <a:pt x="355" y="445"/>
                  </a:lnTo>
                  <a:lnTo>
                    <a:pt x="354" y="446"/>
                  </a:lnTo>
                  <a:lnTo>
                    <a:pt x="353" y="446"/>
                  </a:lnTo>
                  <a:lnTo>
                    <a:pt x="352" y="446"/>
                  </a:lnTo>
                  <a:lnTo>
                    <a:pt x="351" y="446"/>
                  </a:lnTo>
                  <a:lnTo>
                    <a:pt x="350" y="445"/>
                  </a:lnTo>
                  <a:lnTo>
                    <a:pt x="347" y="445"/>
                  </a:lnTo>
                  <a:lnTo>
                    <a:pt x="346" y="445"/>
                  </a:lnTo>
                  <a:lnTo>
                    <a:pt x="345" y="445"/>
                  </a:lnTo>
                  <a:lnTo>
                    <a:pt x="345" y="445"/>
                  </a:lnTo>
                  <a:lnTo>
                    <a:pt x="344" y="445"/>
                  </a:lnTo>
                  <a:lnTo>
                    <a:pt x="344" y="445"/>
                  </a:lnTo>
                  <a:lnTo>
                    <a:pt x="344" y="445"/>
                  </a:lnTo>
                  <a:lnTo>
                    <a:pt x="344" y="446"/>
                  </a:lnTo>
                  <a:lnTo>
                    <a:pt x="343" y="450"/>
                  </a:lnTo>
                  <a:lnTo>
                    <a:pt x="343" y="452"/>
                  </a:lnTo>
                  <a:lnTo>
                    <a:pt x="342" y="454"/>
                  </a:lnTo>
                  <a:lnTo>
                    <a:pt x="342" y="457"/>
                  </a:lnTo>
                  <a:lnTo>
                    <a:pt x="342" y="459"/>
                  </a:lnTo>
                  <a:lnTo>
                    <a:pt x="342" y="460"/>
                  </a:lnTo>
                  <a:lnTo>
                    <a:pt x="341" y="463"/>
                  </a:lnTo>
                  <a:lnTo>
                    <a:pt x="341" y="464"/>
                  </a:lnTo>
                  <a:lnTo>
                    <a:pt x="341" y="464"/>
                  </a:lnTo>
                  <a:lnTo>
                    <a:pt x="341" y="465"/>
                  </a:lnTo>
                  <a:lnTo>
                    <a:pt x="341" y="466"/>
                  </a:lnTo>
                  <a:lnTo>
                    <a:pt x="341" y="468"/>
                  </a:lnTo>
                  <a:lnTo>
                    <a:pt x="343" y="470"/>
                  </a:lnTo>
                  <a:lnTo>
                    <a:pt x="343" y="472"/>
                  </a:lnTo>
                  <a:lnTo>
                    <a:pt x="343" y="473"/>
                  </a:lnTo>
                  <a:lnTo>
                    <a:pt x="344" y="477"/>
                  </a:lnTo>
                  <a:lnTo>
                    <a:pt x="344" y="479"/>
                  </a:lnTo>
                  <a:lnTo>
                    <a:pt x="344" y="480"/>
                  </a:lnTo>
                  <a:lnTo>
                    <a:pt x="344" y="481"/>
                  </a:lnTo>
                  <a:lnTo>
                    <a:pt x="344" y="482"/>
                  </a:lnTo>
                  <a:lnTo>
                    <a:pt x="344" y="483"/>
                  </a:lnTo>
                  <a:lnTo>
                    <a:pt x="344" y="484"/>
                  </a:lnTo>
                  <a:lnTo>
                    <a:pt x="344" y="484"/>
                  </a:lnTo>
                  <a:lnTo>
                    <a:pt x="343" y="485"/>
                  </a:lnTo>
                  <a:lnTo>
                    <a:pt x="343" y="486"/>
                  </a:lnTo>
                  <a:lnTo>
                    <a:pt x="343" y="486"/>
                  </a:lnTo>
                  <a:lnTo>
                    <a:pt x="342" y="487"/>
                  </a:lnTo>
                  <a:lnTo>
                    <a:pt x="341" y="487"/>
                  </a:lnTo>
                  <a:lnTo>
                    <a:pt x="340" y="488"/>
                  </a:lnTo>
                  <a:lnTo>
                    <a:pt x="340" y="489"/>
                  </a:lnTo>
                  <a:lnTo>
                    <a:pt x="339" y="489"/>
                  </a:lnTo>
                  <a:lnTo>
                    <a:pt x="337" y="490"/>
                  </a:lnTo>
                  <a:lnTo>
                    <a:pt x="336" y="490"/>
                  </a:lnTo>
                  <a:lnTo>
                    <a:pt x="335" y="491"/>
                  </a:lnTo>
                  <a:lnTo>
                    <a:pt x="335" y="491"/>
                  </a:lnTo>
                  <a:lnTo>
                    <a:pt x="334" y="492"/>
                  </a:lnTo>
                  <a:lnTo>
                    <a:pt x="334" y="492"/>
                  </a:lnTo>
                  <a:lnTo>
                    <a:pt x="333" y="493"/>
                  </a:lnTo>
                  <a:lnTo>
                    <a:pt x="332" y="494"/>
                  </a:lnTo>
                  <a:lnTo>
                    <a:pt x="331" y="495"/>
                  </a:lnTo>
                  <a:lnTo>
                    <a:pt x="330" y="497"/>
                  </a:lnTo>
                  <a:lnTo>
                    <a:pt x="329" y="500"/>
                  </a:lnTo>
                  <a:lnTo>
                    <a:pt x="328" y="501"/>
                  </a:lnTo>
                  <a:lnTo>
                    <a:pt x="328" y="502"/>
                  </a:lnTo>
                  <a:lnTo>
                    <a:pt x="328" y="503"/>
                  </a:lnTo>
                  <a:lnTo>
                    <a:pt x="327" y="505"/>
                  </a:lnTo>
                  <a:lnTo>
                    <a:pt x="327" y="507"/>
                  </a:lnTo>
                  <a:lnTo>
                    <a:pt x="326" y="509"/>
                  </a:lnTo>
                  <a:lnTo>
                    <a:pt x="326" y="510"/>
                  </a:lnTo>
                  <a:lnTo>
                    <a:pt x="326" y="512"/>
                  </a:lnTo>
                  <a:lnTo>
                    <a:pt x="326" y="513"/>
                  </a:lnTo>
                  <a:lnTo>
                    <a:pt x="326" y="515"/>
                  </a:lnTo>
                  <a:lnTo>
                    <a:pt x="326" y="516"/>
                  </a:lnTo>
                  <a:lnTo>
                    <a:pt x="326" y="517"/>
                  </a:lnTo>
                  <a:lnTo>
                    <a:pt x="326" y="518"/>
                  </a:lnTo>
                  <a:lnTo>
                    <a:pt x="326" y="519"/>
                  </a:lnTo>
                  <a:lnTo>
                    <a:pt x="326" y="520"/>
                  </a:lnTo>
                  <a:lnTo>
                    <a:pt x="327" y="521"/>
                  </a:lnTo>
                  <a:lnTo>
                    <a:pt x="328" y="525"/>
                  </a:lnTo>
                  <a:lnTo>
                    <a:pt x="328" y="526"/>
                  </a:lnTo>
                  <a:lnTo>
                    <a:pt x="328" y="526"/>
                  </a:lnTo>
                  <a:lnTo>
                    <a:pt x="328" y="526"/>
                  </a:lnTo>
                  <a:lnTo>
                    <a:pt x="327" y="526"/>
                  </a:lnTo>
                  <a:lnTo>
                    <a:pt x="326" y="525"/>
                  </a:lnTo>
                  <a:lnTo>
                    <a:pt x="326" y="525"/>
                  </a:lnTo>
                  <a:lnTo>
                    <a:pt x="325" y="525"/>
                  </a:lnTo>
                  <a:lnTo>
                    <a:pt x="323" y="526"/>
                  </a:lnTo>
                  <a:lnTo>
                    <a:pt x="323" y="526"/>
                  </a:lnTo>
                  <a:lnTo>
                    <a:pt x="321" y="526"/>
                  </a:lnTo>
                  <a:lnTo>
                    <a:pt x="320" y="527"/>
                  </a:lnTo>
                  <a:lnTo>
                    <a:pt x="320" y="527"/>
                  </a:lnTo>
                  <a:lnTo>
                    <a:pt x="319" y="528"/>
                  </a:lnTo>
                  <a:lnTo>
                    <a:pt x="318" y="528"/>
                  </a:lnTo>
                  <a:lnTo>
                    <a:pt x="317" y="529"/>
                  </a:lnTo>
                  <a:lnTo>
                    <a:pt x="317" y="530"/>
                  </a:lnTo>
                  <a:lnTo>
                    <a:pt x="316" y="530"/>
                  </a:lnTo>
                  <a:lnTo>
                    <a:pt x="316" y="531"/>
                  </a:lnTo>
                  <a:lnTo>
                    <a:pt x="314" y="534"/>
                  </a:lnTo>
                  <a:lnTo>
                    <a:pt x="314" y="534"/>
                  </a:lnTo>
                  <a:lnTo>
                    <a:pt x="314" y="535"/>
                  </a:lnTo>
                  <a:lnTo>
                    <a:pt x="313" y="535"/>
                  </a:lnTo>
                  <a:lnTo>
                    <a:pt x="313" y="535"/>
                  </a:lnTo>
                  <a:lnTo>
                    <a:pt x="313" y="535"/>
                  </a:lnTo>
                  <a:lnTo>
                    <a:pt x="312" y="536"/>
                  </a:lnTo>
                  <a:lnTo>
                    <a:pt x="311" y="536"/>
                  </a:lnTo>
                  <a:lnTo>
                    <a:pt x="310" y="536"/>
                  </a:lnTo>
                  <a:lnTo>
                    <a:pt x="310" y="535"/>
                  </a:lnTo>
                  <a:lnTo>
                    <a:pt x="309" y="535"/>
                  </a:lnTo>
                  <a:lnTo>
                    <a:pt x="309" y="535"/>
                  </a:lnTo>
                  <a:lnTo>
                    <a:pt x="307" y="534"/>
                  </a:lnTo>
                  <a:lnTo>
                    <a:pt x="304" y="532"/>
                  </a:lnTo>
                  <a:lnTo>
                    <a:pt x="303" y="531"/>
                  </a:lnTo>
                  <a:lnTo>
                    <a:pt x="300" y="529"/>
                  </a:lnTo>
                  <a:lnTo>
                    <a:pt x="296" y="526"/>
                  </a:lnTo>
                  <a:lnTo>
                    <a:pt x="294" y="525"/>
                  </a:lnTo>
                  <a:lnTo>
                    <a:pt x="292" y="523"/>
                  </a:lnTo>
                  <a:lnTo>
                    <a:pt x="291" y="522"/>
                  </a:lnTo>
                  <a:lnTo>
                    <a:pt x="290" y="521"/>
                  </a:lnTo>
                  <a:lnTo>
                    <a:pt x="288" y="520"/>
                  </a:lnTo>
                  <a:lnTo>
                    <a:pt x="287" y="519"/>
                  </a:lnTo>
                  <a:lnTo>
                    <a:pt x="287" y="518"/>
                  </a:lnTo>
                  <a:lnTo>
                    <a:pt x="286" y="517"/>
                  </a:lnTo>
                  <a:lnTo>
                    <a:pt x="286" y="516"/>
                  </a:lnTo>
                  <a:lnTo>
                    <a:pt x="285" y="515"/>
                  </a:lnTo>
                  <a:lnTo>
                    <a:pt x="285" y="513"/>
                  </a:lnTo>
                  <a:lnTo>
                    <a:pt x="285" y="512"/>
                  </a:lnTo>
                  <a:lnTo>
                    <a:pt x="284" y="508"/>
                  </a:lnTo>
                  <a:lnTo>
                    <a:pt x="284" y="504"/>
                  </a:lnTo>
                  <a:lnTo>
                    <a:pt x="284" y="500"/>
                  </a:lnTo>
                  <a:lnTo>
                    <a:pt x="283" y="499"/>
                  </a:lnTo>
                  <a:lnTo>
                    <a:pt x="283" y="496"/>
                  </a:lnTo>
                  <a:lnTo>
                    <a:pt x="283" y="495"/>
                  </a:lnTo>
                  <a:lnTo>
                    <a:pt x="282" y="493"/>
                  </a:lnTo>
                  <a:lnTo>
                    <a:pt x="281" y="490"/>
                  </a:lnTo>
                  <a:lnTo>
                    <a:pt x="281" y="488"/>
                  </a:lnTo>
                  <a:lnTo>
                    <a:pt x="281" y="487"/>
                  </a:lnTo>
                  <a:lnTo>
                    <a:pt x="280" y="487"/>
                  </a:lnTo>
                  <a:lnTo>
                    <a:pt x="280" y="486"/>
                  </a:lnTo>
                  <a:lnTo>
                    <a:pt x="279" y="485"/>
                  </a:lnTo>
                  <a:lnTo>
                    <a:pt x="276" y="482"/>
                  </a:lnTo>
                  <a:lnTo>
                    <a:pt x="274" y="479"/>
                  </a:lnTo>
                  <a:lnTo>
                    <a:pt x="271" y="475"/>
                  </a:lnTo>
                  <a:lnTo>
                    <a:pt x="267" y="470"/>
                  </a:lnTo>
                  <a:lnTo>
                    <a:pt x="266" y="469"/>
                  </a:lnTo>
                  <a:lnTo>
                    <a:pt x="264" y="467"/>
                  </a:lnTo>
                  <a:lnTo>
                    <a:pt x="263" y="466"/>
                  </a:lnTo>
                  <a:lnTo>
                    <a:pt x="262" y="465"/>
                  </a:lnTo>
                  <a:lnTo>
                    <a:pt x="261" y="464"/>
                  </a:lnTo>
                  <a:lnTo>
                    <a:pt x="259" y="462"/>
                  </a:lnTo>
                  <a:lnTo>
                    <a:pt x="258" y="461"/>
                  </a:lnTo>
                  <a:lnTo>
                    <a:pt x="257" y="460"/>
                  </a:lnTo>
                  <a:lnTo>
                    <a:pt x="255" y="459"/>
                  </a:lnTo>
                  <a:lnTo>
                    <a:pt x="254" y="458"/>
                  </a:lnTo>
                  <a:lnTo>
                    <a:pt x="252" y="457"/>
                  </a:lnTo>
                  <a:lnTo>
                    <a:pt x="250" y="456"/>
                  </a:lnTo>
                  <a:lnTo>
                    <a:pt x="250" y="456"/>
                  </a:lnTo>
                  <a:lnTo>
                    <a:pt x="248" y="456"/>
                  </a:lnTo>
                  <a:lnTo>
                    <a:pt x="247" y="455"/>
                  </a:lnTo>
                  <a:lnTo>
                    <a:pt x="245" y="455"/>
                  </a:lnTo>
                  <a:lnTo>
                    <a:pt x="244" y="455"/>
                  </a:lnTo>
                  <a:lnTo>
                    <a:pt x="242" y="455"/>
                  </a:lnTo>
                  <a:lnTo>
                    <a:pt x="238" y="455"/>
                  </a:lnTo>
                  <a:lnTo>
                    <a:pt x="235" y="455"/>
                  </a:lnTo>
                  <a:lnTo>
                    <a:pt x="234" y="455"/>
                  </a:lnTo>
                  <a:lnTo>
                    <a:pt x="233" y="455"/>
                  </a:lnTo>
                  <a:lnTo>
                    <a:pt x="232" y="454"/>
                  </a:lnTo>
                  <a:lnTo>
                    <a:pt x="231" y="454"/>
                  </a:lnTo>
                  <a:lnTo>
                    <a:pt x="229" y="453"/>
                  </a:lnTo>
                  <a:lnTo>
                    <a:pt x="228" y="453"/>
                  </a:lnTo>
                  <a:lnTo>
                    <a:pt x="227" y="452"/>
                  </a:lnTo>
                  <a:lnTo>
                    <a:pt x="225" y="451"/>
                  </a:lnTo>
                  <a:lnTo>
                    <a:pt x="223" y="450"/>
                  </a:lnTo>
                  <a:lnTo>
                    <a:pt x="223" y="450"/>
                  </a:lnTo>
                  <a:lnTo>
                    <a:pt x="221" y="448"/>
                  </a:lnTo>
                  <a:lnTo>
                    <a:pt x="220" y="447"/>
                  </a:lnTo>
                  <a:lnTo>
                    <a:pt x="219" y="446"/>
                  </a:lnTo>
                  <a:lnTo>
                    <a:pt x="218" y="445"/>
                  </a:lnTo>
                  <a:lnTo>
                    <a:pt x="218" y="445"/>
                  </a:lnTo>
                  <a:lnTo>
                    <a:pt x="217" y="443"/>
                  </a:lnTo>
                  <a:lnTo>
                    <a:pt x="217" y="442"/>
                  </a:lnTo>
                  <a:lnTo>
                    <a:pt x="216" y="441"/>
                  </a:lnTo>
                  <a:lnTo>
                    <a:pt x="216" y="440"/>
                  </a:lnTo>
                  <a:lnTo>
                    <a:pt x="215" y="435"/>
                  </a:lnTo>
                  <a:lnTo>
                    <a:pt x="215" y="433"/>
                  </a:lnTo>
                  <a:lnTo>
                    <a:pt x="214" y="432"/>
                  </a:lnTo>
                  <a:lnTo>
                    <a:pt x="214" y="431"/>
                  </a:lnTo>
                  <a:lnTo>
                    <a:pt x="214" y="430"/>
                  </a:lnTo>
                  <a:lnTo>
                    <a:pt x="213" y="429"/>
                  </a:lnTo>
                  <a:lnTo>
                    <a:pt x="213" y="429"/>
                  </a:lnTo>
                  <a:lnTo>
                    <a:pt x="212" y="428"/>
                  </a:lnTo>
                  <a:lnTo>
                    <a:pt x="209" y="425"/>
                  </a:lnTo>
                  <a:lnTo>
                    <a:pt x="206" y="421"/>
                  </a:lnTo>
                  <a:lnTo>
                    <a:pt x="201" y="416"/>
                  </a:lnTo>
                  <a:lnTo>
                    <a:pt x="200" y="415"/>
                  </a:lnTo>
                  <a:lnTo>
                    <a:pt x="200" y="415"/>
                  </a:lnTo>
                  <a:lnTo>
                    <a:pt x="199" y="414"/>
                  </a:lnTo>
                  <a:lnTo>
                    <a:pt x="199" y="413"/>
                  </a:lnTo>
                  <a:lnTo>
                    <a:pt x="198" y="412"/>
                  </a:lnTo>
                  <a:lnTo>
                    <a:pt x="197" y="409"/>
                  </a:lnTo>
                  <a:lnTo>
                    <a:pt x="196" y="408"/>
                  </a:lnTo>
                  <a:lnTo>
                    <a:pt x="195" y="406"/>
                  </a:lnTo>
                  <a:lnTo>
                    <a:pt x="193" y="403"/>
                  </a:lnTo>
                  <a:lnTo>
                    <a:pt x="192" y="402"/>
                  </a:lnTo>
                  <a:lnTo>
                    <a:pt x="191" y="401"/>
                  </a:lnTo>
                  <a:lnTo>
                    <a:pt x="189" y="398"/>
                  </a:lnTo>
                  <a:lnTo>
                    <a:pt x="189" y="397"/>
                  </a:lnTo>
                  <a:lnTo>
                    <a:pt x="188" y="396"/>
                  </a:lnTo>
                  <a:lnTo>
                    <a:pt x="188" y="395"/>
                  </a:lnTo>
                  <a:lnTo>
                    <a:pt x="187" y="395"/>
                  </a:lnTo>
                  <a:lnTo>
                    <a:pt x="184" y="392"/>
                  </a:lnTo>
                  <a:lnTo>
                    <a:pt x="183" y="391"/>
                  </a:lnTo>
                  <a:lnTo>
                    <a:pt x="182" y="390"/>
                  </a:lnTo>
                  <a:lnTo>
                    <a:pt x="181" y="388"/>
                  </a:lnTo>
                  <a:lnTo>
                    <a:pt x="180" y="387"/>
                  </a:lnTo>
                  <a:lnTo>
                    <a:pt x="179" y="387"/>
                  </a:lnTo>
                  <a:lnTo>
                    <a:pt x="177" y="384"/>
                  </a:lnTo>
                  <a:lnTo>
                    <a:pt x="176" y="384"/>
                  </a:lnTo>
                  <a:lnTo>
                    <a:pt x="176" y="383"/>
                  </a:lnTo>
                  <a:lnTo>
                    <a:pt x="175" y="382"/>
                  </a:lnTo>
                  <a:lnTo>
                    <a:pt x="175" y="381"/>
                  </a:lnTo>
                  <a:lnTo>
                    <a:pt x="174" y="380"/>
                  </a:lnTo>
                  <a:lnTo>
                    <a:pt x="174" y="379"/>
                  </a:lnTo>
                  <a:lnTo>
                    <a:pt x="174" y="378"/>
                  </a:lnTo>
                  <a:lnTo>
                    <a:pt x="173" y="374"/>
                  </a:lnTo>
                  <a:lnTo>
                    <a:pt x="173" y="372"/>
                  </a:lnTo>
                  <a:lnTo>
                    <a:pt x="173" y="371"/>
                  </a:lnTo>
                  <a:lnTo>
                    <a:pt x="172" y="370"/>
                  </a:lnTo>
                  <a:lnTo>
                    <a:pt x="172" y="369"/>
                  </a:lnTo>
                  <a:lnTo>
                    <a:pt x="171" y="369"/>
                  </a:lnTo>
                  <a:lnTo>
                    <a:pt x="171" y="368"/>
                  </a:lnTo>
                  <a:lnTo>
                    <a:pt x="170" y="367"/>
                  </a:lnTo>
                  <a:lnTo>
                    <a:pt x="168" y="365"/>
                  </a:lnTo>
                  <a:lnTo>
                    <a:pt x="165" y="362"/>
                  </a:lnTo>
                  <a:lnTo>
                    <a:pt x="162" y="358"/>
                  </a:lnTo>
                  <a:lnTo>
                    <a:pt x="160" y="357"/>
                  </a:lnTo>
                  <a:lnTo>
                    <a:pt x="159" y="355"/>
                  </a:lnTo>
                  <a:lnTo>
                    <a:pt x="158" y="354"/>
                  </a:lnTo>
                  <a:lnTo>
                    <a:pt x="156" y="353"/>
                  </a:lnTo>
                  <a:lnTo>
                    <a:pt x="155" y="353"/>
                  </a:lnTo>
                  <a:lnTo>
                    <a:pt x="155" y="352"/>
                  </a:lnTo>
                  <a:lnTo>
                    <a:pt x="153" y="351"/>
                  </a:lnTo>
                  <a:lnTo>
                    <a:pt x="151" y="350"/>
                  </a:lnTo>
                  <a:lnTo>
                    <a:pt x="150" y="350"/>
                  </a:lnTo>
                  <a:lnTo>
                    <a:pt x="149" y="349"/>
                  </a:lnTo>
                  <a:lnTo>
                    <a:pt x="148" y="349"/>
                  </a:lnTo>
                  <a:lnTo>
                    <a:pt x="145" y="348"/>
                  </a:lnTo>
                  <a:lnTo>
                    <a:pt x="143" y="347"/>
                  </a:lnTo>
                  <a:lnTo>
                    <a:pt x="138" y="346"/>
                  </a:lnTo>
                  <a:lnTo>
                    <a:pt x="136" y="346"/>
                  </a:lnTo>
                  <a:lnTo>
                    <a:pt x="134" y="346"/>
                  </a:lnTo>
                  <a:lnTo>
                    <a:pt x="134" y="346"/>
                  </a:lnTo>
                  <a:lnTo>
                    <a:pt x="133" y="346"/>
                  </a:lnTo>
                  <a:lnTo>
                    <a:pt x="133" y="346"/>
                  </a:lnTo>
                  <a:lnTo>
                    <a:pt x="132" y="346"/>
                  </a:lnTo>
                  <a:lnTo>
                    <a:pt x="131" y="347"/>
                  </a:lnTo>
                  <a:lnTo>
                    <a:pt x="131" y="347"/>
                  </a:lnTo>
                  <a:lnTo>
                    <a:pt x="131" y="348"/>
                  </a:lnTo>
                  <a:lnTo>
                    <a:pt x="130" y="349"/>
                  </a:lnTo>
                  <a:lnTo>
                    <a:pt x="129" y="350"/>
                  </a:lnTo>
                  <a:lnTo>
                    <a:pt x="129" y="350"/>
                  </a:lnTo>
                  <a:lnTo>
                    <a:pt x="129" y="350"/>
                  </a:lnTo>
                  <a:lnTo>
                    <a:pt x="128" y="350"/>
                  </a:lnTo>
                  <a:lnTo>
                    <a:pt x="127" y="351"/>
                  </a:lnTo>
                  <a:lnTo>
                    <a:pt x="127" y="351"/>
                  </a:lnTo>
                  <a:lnTo>
                    <a:pt x="126" y="350"/>
                  </a:lnTo>
                  <a:lnTo>
                    <a:pt x="125" y="350"/>
                  </a:lnTo>
                  <a:lnTo>
                    <a:pt x="122" y="350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7" y="348"/>
                  </a:lnTo>
                  <a:lnTo>
                    <a:pt x="114" y="348"/>
                  </a:lnTo>
                  <a:lnTo>
                    <a:pt x="112" y="348"/>
                  </a:lnTo>
                  <a:lnTo>
                    <a:pt x="110" y="348"/>
                  </a:lnTo>
                  <a:lnTo>
                    <a:pt x="109" y="348"/>
                  </a:lnTo>
                  <a:lnTo>
                    <a:pt x="107" y="347"/>
                  </a:lnTo>
                  <a:lnTo>
                    <a:pt x="106" y="347"/>
                  </a:lnTo>
                  <a:lnTo>
                    <a:pt x="105" y="346"/>
                  </a:lnTo>
                  <a:lnTo>
                    <a:pt x="103" y="346"/>
                  </a:lnTo>
                  <a:lnTo>
                    <a:pt x="102" y="345"/>
                  </a:lnTo>
                  <a:lnTo>
                    <a:pt x="102" y="345"/>
                  </a:lnTo>
                  <a:lnTo>
                    <a:pt x="101" y="344"/>
                  </a:lnTo>
                  <a:lnTo>
                    <a:pt x="100" y="343"/>
                  </a:lnTo>
                  <a:lnTo>
                    <a:pt x="100" y="342"/>
                  </a:lnTo>
                  <a:lnTo>
                    <a:pt x="99" y="342"/>
                  </a:lnTo>
                  <a:lnTo>
                    <a:pt x="98" y="339"/>
                  </a:lnTo>
                  <a:lnTo>
                    <a:pt x="96" y="335"/>
                  </a:lnTo>
                  <a:lnTo>
                    <a:pt x="95" y="334"/>
                  </a:lnTo>
                  <a:lnTo>
                    <a:pt x="94" y="332"/>
                  </a:lnTo>
                  <a:lnTo>
                    <a:pt x="94" y="331"/>
                  </a:lnTo>
                  <a:lnTo>
                    <a:pt x="93" y="328"/>
                  </a:lnTo>
                  <a:lnTo>
                    <a:pt x="92" y="326"/>
                  </a:lnTo>
                  <a:lnTo>
                    <a:pt x="92" y="325"/>
                  </a:lnTo>
                  <a:lnTo>
                    <a:pt x="91" y="324"/>
                  </a:lnTo>
                  <a:lnTo>
                    <a:pt x="91" y="323"/>
                  </a:lnTo>
                  <a:lnTo>
                    <a:pt x="90" y="321"/>
                  </a:lnTo>
                  <a:lnTo>
                    <a:pt x="89" y="320"/>
                  </a:lnTo>
                  <a:lnTo>
                    <a:pt x="88" y="319"/>
                  </a:lnTo>
                  <a:lnTo>
                    <a:pt x="86" y="317"/>
                  </a:lnTo>
                  <a:lnTo>
                    <a:pt x="85" y="316"/>
                  </a:lnTo>
                  <a:lnTo>
                    <a:pt x="79" y="312"/>
                  </a:lnTo>
                  <a:lnTo>
                    <a:pt x="78" y="311"/>
                  </a:lnTo>
                  <a:lnTo>
                    <a:pt x="77" y="310"/>
                  </a:lnTo>
                  <a:lnTo>
                    <a:pt x="76" y="309"/>
                  </a:lnTo>
                  <a:lnTo>
                    <a:pt x="74" y="309"/>
                  </a:lnTo>
                  <a:lnTo>
                    <a:pt x="71" y="307"/>
                  </a:lnTo>
                  <a:lnTo>
                    <a:pt x="69" y="306"/>
                  </a:lnTo>
                  <a:lnTo>
                    <a:pt x="68" y="306"/>
                  </a:lnTo>
                  <a:lnTo>
                    <a:pt x="67" y="305"/>
                  </a:lnTo>
                  <a:lnTo>
                    <a:pt x="66" y="304"/>
                  </a:lnTo>
                  <a:lnTo>
                    <a:pt x="65" y="303"/>
                  </a:lnTo>
                  <a:lnTo>
                    <a:pt x="65" y="303"/>
                  </a:lnTo>
                  <a:lnTo>
                    <a:pt x="65" y="302"/>
                  </a:lnTo>
                  <a:lnTo>
                    <a:pt x="64" y="302"/>
                  </a:lnTo>
                  <a:lnTo>
                    <a:pt x="64" y="301"/>
                  </a:lnTo>
                  <a:lnTo>
                    <a:pt x="64" y="300"/>
                  </a:lnTo>
                  <a:lnTo>
                    <a:pt x="63" y="299"/>
                  </a:lnTo>
                  <a:lnTo>
                    <a:pt x="63" y="298"/>
                  </a:lnTo>
                  <a:lnTo>
                    <a:pt x="62" y="294"/>
                  </a:lnTo>
                  <a:lnTo>
                    <a:pt x="61" y="292"/>
                  </a:lnTo>
                  <a:lnTo>
                    <a:pt x="60" y="290"/>
                  </a:lnTo>
                  <a:lnTo>
                    <a:pt x="59" y="286"/>
                  </a:lnTo>
                  <a:lnTo>
                    <a:pt x="59" y="285"/>
                  </a:lnTo>
                  <a:lnTo>
                    <a:pt x="59" y="284"/>
                  </a:lnTo>
                  <a:lnTo>
                    <a:pt x="59" y="283"/>
                  </a:lnTo>
                  <a:lnTo>
                    <a:pt x="59" y="282"/>
                  </a:lnTo>
                  <a:lnTo>
                    <a:pt x="59" y="281"/>
                  </a:lnTo>
                  <a:lnTo>
                    <a:pt x="59" y="279"/>
                  </a:lnTo>
                  <a:lnTo>
                    <a:pt x="59" y="277"/>
                  </a:lnTo>
                  <a:lnTo>
                    <a:pt x="59" y="275"/>
                  </a:lnTo>
                  <a:lnTo>
                    <a:pt x="59" y="272"/>
                  </a:lnTo>
                  <a:lnTo>
                    <a:pt x="59" y="269"/>
                  </a:lnTo>
                  <a:lnTo>
                    <a:pt x="59" y="267"/>
                  </a:lnTo>
                  <a:lnTo>
                    <a:pt x="59" y="266"/>
                  </a:lnTo>
                  <a:lnTo>
                    <a:pt x="59" y="265"/>
                  </a:lnTo>
                  <a:lnTo>
                    <a:pt x="59" y="264"/>
                  </a:lnTo>
                  <a:lnTo>
                    <a:pt x="58" y="263"/>
                  </a:lnTo>
                  <a:lnTo>
                    <a:pt x="58" y="262"/>
                  </a:lnTo>
                  <a:lnTo>
                    <a:pt x="57" y="261"/>
                  </a:lnTo>
                  <a:lnTo>
                    <a:pt x="57" y="261"/>
                  </a:lnTo>
                  <a:lnTo>
                    <a:pt x="56" y="260"/>
                  </a:lnTo>
                  <a:lnTo>
                    <a:pt x="54" y="259"/>
                  </a:lnTo>
                  <a:lnTo>
                    <a:pt x="52" y="259"/>
                  </a:lnTo>
                  <a:lnTo>
                    <a:pt x="50" y="258"/>
                  </a:lnTo>
                  <a:lnTo>
                    <a:pt x="49" y="257"/>
                  </a:lnTo>
                  <a:lnTo>
                    <a:pt x="49" y="257"/>
                  </a:lnTo>
                  <a:lnTo>
                    <a:pt x="48" y="256"/>
                  </a:lnTo>
                  <a:lnTo>
                    <a:pt x="47" y="256"/>
                  </a:lnTo>
                  <a:lnTo>
                    <a:pt x="47" y="255"/>
                  </a:lnTo>
                  <a:lnTo>
                    <a:pt x="46" y="254"/>
                  </a:lnTo>
                  <a:lnTo>
                    <a:pt x="45" y="253"/>
                  </a:lnTo>
                  <a:lnTo>
                    <a:pt x="44" y="251"/>
                  </a:lnTo>
                  <a:lnTo>
                    <a:pt x="43" y="249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1" y="245"/>
                  </a:lnTo>
                  <a:lnTo>
                    <a:pt x="41" y="244"/>
                  </a:lnTo>
                  <a:lnTo>
                    <a:pt x="40" y="242"/>
                  </a:lnTo>
                  <a:lnTo>
                    <a:pt x="40" y="241"/>
                  </a:lnTo>
                  <a:lnTo>
                    <a:pt x="40" y="240"/>
                  </a:lnTo>
                  <a:lnTo>
                    <a:pt x="39" y="234"/>
                  </a:lnTo>
                  <a:lnTo>
                    <a:pt x="39" y="233"/>
                  </a:lnTo>
                  <a:lnTo>
                    <a:pt x="39" y="231"/>
                  </a:lnTo>
                  <a:lnTo>
                    <a:pt x="39" y="229"/>
                  </a:lnTo>
                  <a:lnTo>
                    <a:pt x="37" y="225"/>
                  </a:lnTo>
                  <a:lnTo>
                    <a:pt x="37" y="223"/>
                  </a:lnTo>
                  <a:lnTo>
                    <a:pt x="36" y="222"/>
                  </a:lnTo>
                  <a:lnTo>
                    <a:pt x="35" y="221"/>
                  </a:lnTo>
                  <a:lnTo>
                    <a:pt x="35" y="220"/>
                  </a:lnTo>
                  <a:lnTo>
                    <a:pt x="34" y="219"/>
                  </a:lnTo>
                  <a:lnTo>
                    <a:pt x="34" y="218"/>
                  </a:lnTo>
                  <a:lnTo>
                    <a:pt x="33" y="218"/>
                  </a:lnTo>
                  <a:lnTo>
                    <a:pt x="32" y="217"/>
                  </a:lnTo>
                  <a:lnTo>
                    <a:pt x="30" y="216"/>
                  </a:lnTo>
                  <a:lnTo>
                    <a:pt x="30" y="216"/>
                  </a:lnTo>
                  <a:lnTo>
                    <a:pt x="29" y="216"/>
                  </a:lnTo>
                  <a:lnTo>
                    <a:pt x="29" y="215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27" y="212"/>
                  </a:lnTo>
                  <a:lnTo>
                    <a:pt x="26" y="211"/>
                  </a:lnTo>
                  <a:lnTo>
                    <a:pt x="26" y="210"/>
                  </a:lnTo>
                  <a:lnTo>
                    <a:pt x="26" y="208"/>
                  </a:lnTo>
                  <a:lnTo>
                    <a:pt x="26" y="207"/>
                  </a:lnTo>
                  <a:lnTo>
                    <a:pt x="25" y="205"/>
                  </a:lnTo>
                  <a:lnTo>
                    <a:pt x="25" y="205"/>
                  </a:lnTo>
                  <a:lnTo>
                    <a:pt x="25" y="204"/>
                  </a:lnTo>
                  <a:lnTo>
                    <a:pt x="26" y="203"/>
                  </a:lnTo>
                  <a:lnTo>
                    <a:pt x="26" y="201"/>
                  </a:lnTo>
                  <a:lnTo>
                    <a:pt x="26" y="198"/>
                  </a:lnTo>
                  <a:lnTo>
                    <a:pt x="27" y="196"/>
                  </a:lnTo>
                  <a:lnTo>
                    <a:pt x="27" y="195"/>
                  </a:lnTo>
                  <a:lnTo>
                    <a:pt x="27" y="194"/>
                  </a:lnTo>
                  <a:lnTo>
                    <a:pt x="27" y="193"/>
                  </a:lnTo>
                  <a:lnTo>
                    <a:pt x="27" y="192"/>
                  </a:lnTo>
                  <a:lnTo>
                    <a:pt x="26" y="191"/>
                  </a:lnTo>
                  <a:lnTo>
                    <a:pt x="26" y="189"/>
                  </a:lnTo>
                  <a:lnTo>
                    <a:pt x="25" y="188"/>
                  </a:lnTo>
                  <a:lnTo>
                    <a:pt x="25" y="188"/>
                  </a:lnTo>
                  <a:lnTo>
                    <a:pt x="24" y="187"/>
                  </a:lnTo>
                  <a:lnTo>
                    <a:pt x="24" y="187"/>
                  </a:lnTo>
                  <a:lnTo>
                    <a:pt x="23" y="186"/>
                  </a:lnTo>
                  <a:lnTo>
                    <a:pt x="22" y="186"/>
                  </a:lnTo>
                  <a:lnTo>
                    <a:pt x="18" y="184"/>
                  </a:lnTo>
                  <a:lnTo>
                    <a:pt x="17" y="184"/>
                  </a:lnTo>
                  <a:lnTo>
                    <a:pt x="16" y="183"/>
                  </a:lnTo>
                  <a:lnTo>
                    <a:pt x="13" y="182"/>
                  </a:lnTo>
                  <a:lnTo>
                    <a:pt x="9" y="179"/>
                  </a:lnTo>
                  <a:lnTo>
                    <a:pt x="6" y="178"/>
                  </a:lnTo>
                  <a:lnTo>
                    <a:pt x="6" y="177"/>
                  </a:lnTo>
                  <a:lnTo>
                    <a:pt x="5" y="176"/>
                  </a:lnTo>
                  <a:lnTo>
                    <a:pt x="4" y="176"/>
                  </a:lnTo>
                  <a:lnTo>
                    <a:pt x="3" y="175"/>
                  </a:lnTo>
                  <a:lnTo>
                    <a:pt x="2" y="174"/>
                  </a:lnTo>
                  <a:lnTo>
                    <a:pt x="2" y="173"/>
                  </a:lnTo>
                  <a:lnTo>
                    <a:pt x="1" y="173"/>
                  </a:lnTo>
                  <a:lnTo>
                    <a:pt x="0" y="172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Freeform 51">
              <a:extLst>
                <a:ext uri="{FF2B5EF4-FFF2-40B4-BE49-F238E27FC236}">
                  <a16:creationId xmlns:a16="http://schemas.microsoft.com/office/drawing/2014/main" id="{343B9CDF-61A9-C498-702F-B63C3E317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301"/>
              <a:ext cx="279" cy="173"/>
            </a:xfrm>
            <a:custGeom>
              <a:avLst/>
              <a:gdLst>
                <a:gd name="T0" fmla="*/ 2 w 279"/>
                <a:gd name="T1" fmla="*/ 162 h 173"/>
                <a:gd name="T2" fmla="*/ 0 w 279"/>
                <a:gd name="T3" fmla="*/ 155 h 173"/>
                <a:gd name="T4" fmla="*/ 2 w 279"/>
                <a:gd name="T5" fmla="*/ 151 h 173"/>
                <a:gd name="T6" fmla="*/ 9 w 279"/>
                <a:gd name="T7" fmla="*/ 146 h 173"/>
                <a:gd name="T8" fmla="*/ 18 w 279"/>
                <a:gd name="T9" fmla="*/ 140 h 173"/>
                <a:gd name="T10" fmla="*/ 19 w 279"/>
                <a:gd name="T11" fmla="*/ 136 h 173"/>
                <a:gd name="T12" fmla="*/ 23 w 279"/>
                <a:gd name="T13" fmla="*/ 120 h 173"/>
                <a:gd name="T14" fmla="*/ 27 w 279"/>
                <a:gd name="T15" fmla="*/ 114 h 173"/>
                <a:gd name="T16" fmla="*/ 31 w 279"/>
                <a:gd name="T17" fmla="*/ 108 h 173"/>
                <a:gd name="T18" fmla="*/ 38 w 279"/>
                <a:gd name="T19" fmla="*/ 96 h 173"/>
                <a:gd name="T20" fmla="*/ 45 w 279"/>
                <a:gd name="T21" fmla="*/ 87 h 173"/>
                <a:gd name="T22" fmla="*/ 52 w 279"/>
                <a:gd name="T23" fmla="*/ 87 h 173"/>
                <a:gd name="T24" fmla="*/ 60 w 279"/>
                <a:gd name="T25" fmla="*/ 89 h 173"/>
                <a:gd name="T26" fmla="*/ 65 w 279"/>
                <a:gd name="T27" fmla="*/ 86 h 173"/>
                <a:gd name="T28" fmla="*/ 71 w 279"/>
                <a:gd name="T29" fmla="*/ 83 h 173"/>
                <a:gd name="T30" fmla="*/ 76 w 279"/>
                <a:gd name="T31" fmla="*/ 84 h 173"/>
                <a:gd name="T32" fmla="*/ 80 w 279"/>
                <a:gd name="T33" fmla="*/ 87 h 173"/>
                <a:gd name="T34" fmla="*/ 83 w 279"/>
                <a:gd name="T35" fmla="*/ 91 h 173"/>
                <a:gd name="T36" fmla="*/ 84 w 279"/>
                <a:gd name="T37" fmla="*/ 90 h 173"/>
                <a:gd name="T38" fmla="*/ 86 w 279"/>
                <a:gd name="T39" fmla="*/ 86 h 173"/>
                <a:gd name="T40" fmla="*/ 91 w 279"/>
                <a:gd name="T41" fmla="*/ 83 h 173"/>
                <a:gd name="T42" fmla="*/ 94 w 279"/>
                <a:gd name="T43" fmla="*/ 80 h 173"/>
                <a:gd name="T44" fmla="*/ 101 w 279"/>
                <a:gd name="T45" fmla="*/ 77 h 173"/>
                <a:gd name="T46" fmla="*/ 110 w 279"/>
                <a:gd name="T47" fmla="*/ 75 h 173"/>
                <a:gd name="T48" fmla="*/ 118 w 279"/>
                <a:gd name="T49" fmla="*/ 73 h 173"/>
                <a:gd name="T50" fmla="*/ 123 w 279"/>
                <a:gd name="T51" fmla="*/ 73 h 173"/>
                <a:gd name="T52" fmla="*/ 132 w 279"/>
                <a:gd name="T53" fmla="*/ 76 h 173"/>
                <a:gd name="T54" fmla="*/ 139 w 279"/>
                <a:gd name="T55" fmla="*/ 78 h 173"/>
                <a:gd name="T56" fmla="*/ 146 w 279"/>
                <a:gd name="T57" fmla="*/ 78 h 173"/>
                <a:gd name="T58" fmla="*/ 151 w 279"/>
                <a:gd name="T59" fmla="*/ 78 h 173"/>
                <a:gd name="T60" fmla="*/ 157 w 279"/>
                <a:gd name="T61" fmla="*/ 80 h 173"/>
                <a:gd name="T62" fmla="*/ 162 w 279"/>
                <a:gd name="T63" fmla="*/ 78 h 173"/>
                <a:gd name="T64" fmla="*/ 168 w 279"/>
                <a:gd name="T65" fmla="*/ 73 h 173"/>
                <a:gd name="T66" fmla="*/ 170 w 279"/>
                <a:gd name="T67" fmla="*/ 65 h 173"/>
                <a:gd name="T68" fmla="*/ 170 w 279"/>
                <a:gd name="T69" fmla="*/ 60 h 173"/>
                <a:gd name="T70" fmla="*/ 173 w 279"/>
                <a:gd name="T71" fmla="*/ 57 h 173"/>
                <a:gd name="T72" fmla="*/ 182 w 279"/>
                <a:gd name="T73" fmla="*/ 53 h 173"/>
                <a:gd name="T74" fmla="*/ 192 w 279"/>
                <a:gd name="T75" fmla="*/ 47 h 173"/>
                <a:gd name="T76" fmla="*/ 200 w 279"/>
                <a:gd name="T77" fmla="*/ 41 h 173"/>
                <a:gd name="T78" fmla="*/ 207 w 279"/>
                <a:gd name="T79" fmla="*/ 34 h 173"/>
                <a:gd name="T80" fmla="*/ 210 w 279"/>
                <a:gd name="T81" fmla="*/ 33 h 173"/>
                <a:gd name="T82" fmla="*/ 217 w 279"/>
                <a:gd name="T83" fmla="*/ 35 h 173"/>
                <a:gd name="T84" fmla="*/ 228 w 279"/>
                <a:gd name="T85" fmla="*/ 36 h 173"/>
                <a:gd name="T86" fmla="*/ 233 w 279"/>
                <a:gd name="T87" fmla="*/ 39 h 173"/>
                <a:gd name="T88" fmla="*/ 241 w 279"/>
                <a:gd name="T89" fmla="*/ 45 h 173"/>
                <a:gd name="T90" fmla="*/ 245 w 279"/>
                <a:gd name="T91" fmla="*/ 47 h 173"/>
                <a:gd name="T92" fmla="*/ 249 w 279"/>
                <a:gd name="T93" fmla="*/ 47 h 173"/>
                <a:gd name="T94" fmla="*/ 250 w 279"/>
                <a:gd name="T95" fmla="*/ 43 h 173"/>
                <a:gd name="T96" fmla="*/ 252 w 279"/>
                <a:gd name="T97" fmla="*/ 32 h 173"/>
                <a:gd name="T98" fmla="*/ 252 w 279"/>
                <a:gd name="T99" fmla="*/ 27 h 173"/>
                <a:gd name="T100" fmla="*/ 255 w 279"/>
                <a:gd name="T101" fmla="*/ 25 h 173"/>
                <a:gd name="T102" fmla="*/ 263 w 279"/>
                <a:gd name="T103" fmla="*/ 23 h 173"/>
                <a:gd name="T104" fmla="*/ 268 w 279"/>
                <a:gd name="T105" fmla="*/ 20 h 173"/>
                <a:gd name="T106" fmla="*/ 269 w 279"/>
                <a:gd name="T107" fmla="*/ 16 h 173"/>
                <a:gd name="T108" fmla="*/ 268 w 279"/>
                <a:gd name="T109" fmla="*/ 14 h 173"/>
                <a:gd name="T110" fmla="*/ 267 w 279"/>
                <a:gd name="T111" fmla="*/ 10 h 173"/>
                <a:gd name="T112" fmla="*/ 269 w 279"/>
                <a:gd name="T113" fmla="*/ 4 h 173"/>
                <a:gd name="T114" fmla="*/ 271 w 279"/>
                <a:gd name="T115" fmla="*/ 2 h 173"/>
                <a:gd name="T116" fmla="*/ 274 w 279"/>
                <a:gd name="T117" fmla="*/ 2 h 173"/>
                <a:gd name="T118" fmla="*/ 278 w 279"/>
                <a:gd name="T119" fmla="*/ 1 h 173"/>
                <a:gd name="T120" fmla="*/ 279 w 279"/>
                <a:gd name="T121" fmla="*/ 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9" h="173">
                  <a:moveTo>
                    <a:pt x="8" y="173"/>
                  </a:moveTo>
                  <a:lnTo>
                    <a:pt x="7" y="170"/>
                  </a:lnTo>
                  <a:lnTo>
                    <a:pt x="5" y="167"/>
                  </a:lnTo>
                  <a:lnTo>
                    <a:pt x="3" y="163"/>
                  </a:lnTo>
                  <a:lnTo>
                    <a:pt x="2" y="162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6"/>
                  </a:lnTo>
                  <a:lnTo>
                    <a:pt x="0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6" y="147"/>
                  </a:lnTo>
                  <a:lnTo>
                    <a:pt x="9" y="146"/>
                  </a:lnTo>
                  <a:lnTo>
                    <a:pt x="14" y="143"/>
                  </a:lnTo>
                  <a:lnTo>
                    <a:pt x="15" y="142"/>
                  </a:lnTo>
                  <a:lnTo>
                    <a:pt x="16" y="141"/>
                  </a:lnTo>
                  <a:lnTo>
                    <a:pt x="17" y="140"/>
                  </a:lnTo>
                  <a:lnTo>
                    <a:pt x="18" y="140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9" y="138"/>
                  </a:lnTo>
                  <a:lnTo>
                    <a:pt x="19" y="137"/>
                  </a:lnTo>
                  <a:lnTo>
                    <a:pt x="19" y="136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21" y="128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3" y="119"/>
                  </a:lnTo>
                  <a:lnTo>
                    <a:pt x="24" y="118"/>
                  </a:lnTo>
                  <a:lnTo>
                    <a:pt x="25" y="117"/>
                  </a:lnTo>
                  <a:lnTo>
                    <a:pt x="26" y="116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9" y="112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3" y="106"/>
                  </a:lnTo>
                  <a:lnTo>
                    <a:pt x="34" y="105"/>
                  </a:lnTo>
                  <a:lnTo>
                    <a:pt x="35" y="103"/>
                  </a:lnTo>
                  <a:lnTo>
                    <a:pt x="37" y="98"/>
                  </a:lnTo>
                  <a:lnTo>
                    <a:pt x="38" y="96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2"/>
                  </a:lnTo>
                  <a:lnTo>
                    <a:pt x="44" y="88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2" y="87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89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5" y="86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8" y="84"/>
                  </a:lnTo>
                  <a:lnTo>
                    <a:pt x="69" y="84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8" y="85"/>
                  </a:lnTo>
                  <a:lnTo>
                    <a:pt x="79" y="86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1" y="89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89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7"/>
                  </a:lnTo>
                  <a:lnTo>
                    <a:pt x="86" y="86"/>
                  </a:lnTo>
                  <a:lnTo>
                    <a:pt x="87" y="86"/>
                  </a:lnTo>
                  <a:lnTo>
                    <a:pt x="88" y="85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1" y="77"/>
                  </a:lnTo>
                  <a:lnTo>
                    <a:pt x="103" y="77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9" y="75"/>
                  </a:lnTo>
                  <a:lnTo>
                    <a:pt x="110" y="75"/>
                  </a:lnTo>
                  <a:lnTo>
                    <a:pt x="112" y="75"/>
                  </a:lnTo>
                  <a:lnTo>
                    <a:pt x="113" y="75"/>
                  </a:lnTo>
                  <a:lnTo>
                    <a:pt x="114" y="75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0" y="73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7" y="75"/>
                  </a:lnTo>
                  <a:lnTo>
                    <a:pt x="132" y="76"/>
                  </a:lnTo>
                  <a:lnTo>
                    <a:pt x="133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8"/>
                  </a:lnTo>
                  <a:lnTo>
                    <a:pt x="142" y="78"/>
                  </a:lnTo>
                  <a:lnTo>
                    <a:pt x="144" y="78"/>
                  </a:lnTo>
                  <a:lnTo>
                    <a:pt x="146" y="78"/>
                  </a:lnTo>
                  <a:lnTo>
                    <a:pt x="147" y="78"/>
                  </a:lnTo>
                  <a:lnTo>
                    <a:pt x="148" y="77"/>
                  </a:lnTo>
                  <a:lnTo>
                    <a:pt x="149" y="77"/>
                  </a:lnTo>
                  <a:lnTo>
                    <a:pt x="150" y="78"/>
                  </a:lnTo>
                  <a:lnTo>
                    <a:pt x="151" y="78"/>
                  </a:lnTo>
                  <a:lnTo>
                    <a:pt x="152" y="78"/>
                  </a:lnTo>
                  <a:lnTo>
                    <a:pt x="155" y="79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7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7" y="74"/>
                  </a:lnTo>
                  <a:lnTo>
                    <a:pt x="168" y="73"/>
                  </a:lnTo>
                  <a:lnTo>
                    <a:pt x="168" y="72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70" y="66"/>
                  </a:lnTo>
                  <a:lnTo>
                    <a:pt x="170" y="65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1" y="59"/>
                  </a:lnTo>
                  <a:lnTo>
                    <a:pt x="171" y="58"/>
                  </a:lnTo>
                  <a:lnTo>
                    <a:pt x="172" y="58"/>
                  </a:lnTo>
                  <a:lnTo>
                    <a:pt x="172" y="57"/>
                  </a:lnTo>
                  <a:lnTo>
                    <a:pt x="173" y="57"/>
                  </a:lnTo>
                  <a:lnTo>
                    <a:pt x="174" y="57"/>
                  </a:lnTo>
                  <a:lnTo>
                    <a:pt x="176" y="56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92" y="47"/>
                  </a:lnTo>
                  <a:lnTo>
                    <a:pt x="194" y="45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0" y="42"/>
                  </a:lnTo>
                  <a:lnTo>
                    <a:pt x="200" y="41"/>
                  </a:lnTo>
                  <a:lnTo>
                    <a:pt x="202" y="40"/>
                  </a:lnTo>
                  <a:lnTo>
                    <a:pt x="203" y="38"/>
                  </a:lnTo>
                  <a:lnTo>
                    <a:pt x="205" y="37"/>
                  </a:lnTo>
                  <a:lnTo>
                    <a:pt x="207" y="35"/>
                  </a:lnTo>
                  <a:lnTo>
                    <a:pt x="207" y="34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7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6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2" y="38"/>
                  </a:lnTo>
                  <a:lnTo>
                    <a:pt x="233" y="39"/>
                  </a:lnTo>
                  <a:lnTo>
                    <a:pt x="235" y="41"/>
                  </a:lnTo>
                  <a:lnTo>
                    <a:pt x="236" y="41"/>
                  </a:lnTo>
                  <a:lnTo>
                    <a:pt x="237" y="42"/>
                  </a:lnTo>
                  <a:lnTo>
                    <a:pt x="240" y="44"/>
                  </a:lnTo>
                  <a:lnTo>
                    <a:pt x="241" y="45"/>
                  </a:lnTo>
                  <a:lnTo>
                    <a:pt x="242" y="46"/>
                  </a:lnTo>
                  <a:lnTo>
                    <a:pt x="243" y="46"/>
                  </a:lnTo>
                  <a:lnTo>
                    <a:pt x="244" y="47"/>
                  </a:lnTo>
                  <a:lnTo>
                    <a:pt x="245" y="47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7"/>
                  </a:lnTo>
                  <a:lnTo>
                    <a:pt x="249" y="47"/>
                  </a:lnTo>
                  <a:lnTo>
                    <a:pt x="249" y="46"/>
                  </a:lnTo>
                  <a:lnTo>
                    <a:pt x="250" y="46"/>
                  </a:lnTo>
                  <a:lnTo>
                    <a:pt x="250" y="45"/>
                  </a:lnTo>
                  <a:lnTo>
                    <a:pt x="250" y="44"/>
                  </a:lnTo>
                  <a:lnTo>
                    <a:pt x="250" y="43"/>
                  </a:lnTo>
                  <a:lnTo>
                    <a:pt x="252" y="37"/>
                  </a:lnTo>
                  <a:lnTo>
                    <a:pt x="252" y="36"/>
                  </a:lnTo>
                  <a:lnTo>
                    <a:pt x="252" y="35"/>
                  </a:lnTo>
                  <a:lnTo>
                    <a:pt x="252" y="34"/>
                  </a:lnTo>
                  <a:lnTo>
                    <a:pt x="252" y="32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2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3" y="26"/>
                  </a:lnTo>
                  <a:lnTo>
                    <a:pt x="254" y="26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7" y="25"/>
                  </a:lnTo>
                  <a:lnTo>
                    <a:pt x="259" y="24"/>
                  </a:lnTo>
                  <a:lnTo>
                    <a:pt x="262" y="23"/>
                  </a:lnTo>
                  <a:lnTo>
                    <a:pt x="263" y="23"/>
                  </a:lnTo>
                  <a:lnTo>
                    <a:pt x="264" y="22"/>
                  </a:lnTo>
                  <a:lnTo>
                    <a:pt x="265" y="21"/>
                  </a:lnTo>
                  <a:lnTo>
                    <a:pt x="266" y="21"/>
                  </a:lnTo>
                  <a:lnTo>
                    <a:pt x="267" y="20"/>
                  </a:lnTo>
                  <a:lnTo>
                    <a:pt x="268" y="20"/>
                  </a:lnTo>
                  <a:lnTo>
                    <a:pt x="268" y="19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7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4"/>
                  </a:lnTo>
                  <a:lnTo>
                    <a:pt x="268" y="14"/>
                  </a:lnTo>
                  <a:lnTo>
                    <a:pt x="268" y="12"/>
                  </a:lnTo>
                  <a:lnTo>
                    <a:pt x="267" y="12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0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8" y="7"/>
                  </a:lnTo>
                  <a:lnTo>
                    <a:pt x="268" y="6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70" y="3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6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79" y="0"/>
                  </a:lnTo>
                  <a:lnTo>
                    <a:pt x="279" y="1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Freeform 52">
              <a:extLst>
                <a:ext uri="{FF2B5EF4-FFF2-40B4-BE49-F238E27FC236}">
                  <a16:creationId xmlns:a16="http://schemas.microsoft.com/office/drawing/2014/main" id="{C60A51FF-F85E-C2E6-70A6-042AD6995B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" y="3133"/>
              <a:ext cx="354" cy="259"/>
            </a:xfrm>
            <a:custGeom>
              <a:avLst/>
              <a:gdLst>
                <a:gd name="T0" fmla="*/ 244 w 354"/>
                <a:gd name="T1" fmla="*/ 19 h 259"/>
                <a:gd name="T2" fmla="*/ 262 w 354"/>
                <a:gd name="T3" fmla="*/ 31 h 259"/>
                <a:gd name="T4" fmla="*/ 289 w 354"/>
                <a:gd name="T5" fmla="*/ 36 h 259"/>
                <a:gd name="T6" fmla="*/ 298 w 354"/>
                <a:gd name="T7" fmla="*/ 48 h 259"/>
                <a:gd name="T8" fmla="*/ 305 w 354"/>
                <a:gd name="T9" fmla="*/ 51 h 259"/>
                <a:gd name="T10" fmla="*/ 329 w 354"/>
                <a:gd name="T11" fmla="*/ 51 h 259"/>
                <a:gd name="T12" fmla="*/ 336 w 354"/>
                <a:gd name="T13" fmla="*/ 63 h 259"/>
                <a:gd name="T14" fmla="*/ 333 w 354"/>
                <a:gd name="T15" fmla="*/ 85 h 259"/>
                <a:gd name="T16" fmla="*/ 335 w 354"/>
                <a:gd name="T17" fmla="*/ 104 h 259"/>
                <a:gd name="T18" fmla="*/ 340 w 354"/>
                <a:gd name="T19" fmla="*/ 118 h 259"/>
                <a:gd name="T20" fmla="*/ 349 w 354"/>
                <a:gd name="T21" fmla="*/ 141 h 259"/>
                <a:gd name="T22" fmla="*/ 347 w 354"/>
                <a:gd name="T23" fmla="*/ 150 h 259"/>
                <a:gd name="T24" fmla="*/ 336 w 354"/>
                <a:gd name="T25" fmla="*/ 152 h 259"/>
                <a:gd name="T26" fmla="*/ 345 w 354"/>
                <a:gd name="T27" fmla="*/ 158 h 259"/>
                <a:gd name="T28" fmla="*/ 352 w 354"/>
                <a:gd name="T29" fmla="*/ 171 h 259"/>
                <a:gd name="T30" fmla="*/ 351 w 354"/>
                <a:gd name="T31" fmla="*/ 182 h 259"/>
                <a:gd name="T32" fmla="*/ 344 w 354"/>
                <a:gd name="T33" fmla="*/ 191 h 259"/>
                <a:gd name="T34" fmla="*/ 334 w 354"/>
                <a:gd name="T35" fmla="*/ 202 h 259"/>
                <a:gd name="T36" fmla="*/ 327 w 354"/>
                <a:gd name="T37" fmla="*/ 215 h 259"/>
                <a:gd name="T38" fmla="*/ 308 w 354"/>
                <a:gd name="T39" fmla="*/ 204 h 259"/>
                <a:gd name="T40" fmla="*/ 289 w 354"/>
                <a:gd name="T41" fmla="*/ 203 h 259"/>
                <a:gd name="T42" fmla="*/ 262 w 354"/>
                <a:gd name="T43" fmla="*/ 222 h 259"/>
                <a:gd name="T44" fmla="*/ 252 w 354"/>
                <a:gd name="T45" fmla="*/ 234 h 259"/>
                <a:gd name="T46" fmla="*/ 238 w 354"/>
                <a:gd name="T47" fmla="*/ 248 h 259"/>
                <a:gd name="T48" fmla="*/ 220 w 354"/>
                <a:gd name="T49" fmla="*/ 246 h 259"/>
                <a:gd name="T50" fmla="*/ 199 w 354"/>
                <a:gd name="T51" fmla="*/ 242 h 259"/>
                <a:gd name="T52" fmla="*/ 176 w 354"/>
                <a:gd name="T53" fmla="*/ 248 h 259"/>
                <a:gd name="T54" fmla="*/ 166 w 354"/>
                <a:gd name="T55" fmla="*/ 258 h 259"/>
                <a:gd name="T56" fmla="*/ 157 w 354"/>
                <a:gd name="T57" fmla="*/ 251 h 259"/>
                <a:gd name="T58" fmla="*/ 141 w 354"/>
                <a:gd name="T59" fmla="*/ 257 h 259"/>
                <a:gd name="T60" fmla="*/ 124 w 354"/>
                <a:gd name="T61" fmla="*/ 247 h 259"/>
                <a:gd name="T62" fmla="*/ 107 w 354"/>
                <a:gd name="T63" fmla="*/ 233 h 259"/>
                <a:gd name="T64" fmla="*/ 110 w 354"/>
                <a:gd name="T65" fmla="*/ 220 h 259"/>
                <a:gd name="T66" fmla="*/ 95 w 354"/>
                <a:gd name="T67" fmla="*/ 213 h 259"/>
                <a:gd name="T68" fmla="*/ 80 w 354"/>
                <a:gd name="T69" fmla="*/ 201 h 259"/>
                <a:gd name="T70" fmla="*/ 61 w 354"/>
                <a:gd name="T71" fmla="*/ 187 h 259"/>
                <a:gd name="T72" fmla="*/ 46 w 354"/>
                <a:gd name="T73" fmla="*/ 177 h 259"/>
                <a:gd name="T74" fmla="*/ 39 w 354"/>
                <a:gd name="T75" fmla="*/ 163 h 259"/>
                <a:gd name="T76" fmla="*/ 27 w 354"/>
                <a:gd name="T77" fmla="*/ 150 h 259"/>
                <a:gd name="T78" fmla="*/ 30 w 354"/>
                <a:gd name="T79" fmla="*/ 125 h 259"/>
                <a:gd name="T80" fmla="*/ 18 w 354"/>
                <a:gd name="T81" fmla="*/ 106 h 259"/>
                <a:gd name="T82" fmla="*/ 3 w 354"/>
                <a:gd name="T83" fmla="*/ 94 h 259"/>
                <a:gd name="T84" fmla="*/ 2 w 354"/>
                <a:gd name="T85" fmla="*/ 84 h 259"/>
                <a:gd name="T86" fmla="*/ 9 w 354"/>
                <a:gd name="T87" fmla="*/ 73 h 259"/>
                <a:gd name="T88" fmla="*/ 4 w 354"/>
                <a:gd name="T89" fmla="*/ 58 h 259"/>
                <a:gd name="T90" fmla="*/ 23 w 354"/>
                <a:gd name="T91" fmla="*/ 58 h 259"/>
                <a:gd name="T92" fmla="*/ 32 w 354"/>
                <a:gd name="T93" fmla="*/ 77 h 259"/>
                <a:gd name="T94" fmla="*/ 47 w 354"/>
                <a:gd name="T95" fmla="*/ 87 h 259"/>
                <a:gd name="T96" fmla="*/ 45 w 354"/>
                <a:gd name="T97" fmla="*/ 94 h 259"/>
                <a:gd name="T98" fmla="*/ 54 w 354"/>
                <a:gd name="T99" fmla="*/ 112 h 259"/>
                <a:gd name="T100" fmla="*/ 58 w 354"/>
                <a:gd name="T101" fmla="*/ 126 h 259"/>
                <a:gd name="T102" fmla="*/ 67 w 354"/>
                <a:gd name="T103" fmla="*/ 121 h 259"/>
                <a:gd name="T104" fmla="*/ 69 w 354"/>
                <a:gd name="T105" fmla="*/ 99 h 259"/>
                <a:gd name="T106" fmla="*/ 75 w 354"/>
                <a:gd name="T107" fmla="*/ 90 h 259"/>
                <a:gd name="T108" fmla="*/ 88 w 354"/>
                <a:gd name="T109" fmla="*/ 69 h 259"/>
                <a:gd name="T110" fmla="*/ 100 w 354"/>
                <a:gd name="T111" fmla="*/ 55 h 259"/>
                <a:gd name="T112" fmla="*/ 116 w 354"/>
                <a:gd name="T113" fmla="*/ 43 h 259"/>
                <a:gd name="T114" fmla="*/ 128 w 354"/>
                <a:gd name="T115" fmla="*/ 26 h 259"/>
                <a:gd name="T116" fmla="*/ 171 w 354"/>
                <a:gd name="T117" fmla="*/ 21 h 259"/>
                <a:gd name="T118" fmla="*/ 191 w 354"/>
                <a:gd name="T119" fmla="*/ 14 h 259"/>
                <a:gd name="T120" fmla="*/ 208 w 354"/>
                <a:gd name="T121" fmla="*/ 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4" h="259">
                  <a:moveTo>
                    <a:pt x="217" y="0"/>
                  </a:moveTo>
                  <a:lnTo>
                    <a:pt x="218" y="1"/>
                  </a:lnTo>
                  <a:lnTo>
                    <a:pt x="220" y="2"/>
                  </a:lnTo>
                  <a:lnTo>
                    <a:pt x="221" y="3"/>
                  </a:lnTo>
                  <a:lnTo>
                    <a:pt x="226" y="6"/>
                  </a:lnTo>
                  <a:lnTo>
                    <a:pt x="231" y="10"/>
                  </a:lnTo>
                  <a:lnTo>
                    <a:pt x="233" y="12"/>
                  </a:lnTo>
                  <a:lnTo>
                    <a:pt x="235" y="12"/>
                  </a:lnTo>
                  <a:lnTo>
                    <a:pt x="237" y="14"/>
                  </a:lnTo>
                  <a:lnTo>
                    <a:pt x="239" y="16"/>
                  </a:lnTo>
                  <a:lnTo>
                    <a:pt x="240" y="16"/>
                  </a:lnTo>
                  <a:lnTo>
                    <a:pt x="241" y="17"/>
                  </a:lnTo>
                  <a:lnTo>
                    <a:pt x="242" y="18"/>
                  </a:lnTo>
                  <a:lnTo>
                    <a:pt x="243" y="18"/>
                  </a:lnTo>
                  <a:lnTo>
                    <a:pt x="244" y="19"/>
                  </a:lnTo>
                  <a:lnTo>
                    <a:pt x="246" y="20"/>
                  </a:lnTo>
                  <a:lnTo>
                    <a:pt x="248" y="22"/>
                  </a:lnTo>
                  <a:lnTo>
                    <a:pt x="249" y="23"/>
                  </a:lnTo>
                  <a:lnTo>
                    <a:pt x="251" y="25"/>
                  </a:lnTo>
                  <a:lnTo>
                    <a:pt x="251" y="26"/>
                  </a:lnTo>
                  <a:lnTo>
                    <a:pt x="252" y="26"/>
                  </a:lnTo>
                  <a:lnTo>
                    <a:pt x="252" y="26"/>
                  </a:lnTo>
                  <a:lnTo>
                    <a:pt x="253" y="26"/>
                  </a:lnTo>
                  <a:lnTo>
                    <a:pt x="253" y="26"/>
                  </a:lnTo>
                  <a:lnTo>
                    <a:pt x="253" y="26"/>
                  </a:lnTo>
                  <a:lnTo>
                    <a:pt x="257" y="29"/>
                  </a:lnTo>
                  <a:lnTo>
                    <a:pt x="259" y="30"/>
                  </a:lnTo>
                  <a:lnTo>
                    <a:pt x="260" y="30"/>
                  </a:lnTo>
                  <a:lnTo>
                    <a:pt x="260" y="31"/>
                  </a:lnTo>
                  <a:lnTo>
                    <a:pt x="262" y="31"/>
                  </a:lnTo>
                  <a:lnTo>
                    <a:pt x="265" y="32"/>
                  </a:lnTo>
                  <a:lnTo>
                    <a:pt x="267" y="32"/>
                  </a:lnTo>
                  <a:lnTo>
                    <a:pt x="269" y="32"/>
                  </a:lnTo>
                  <a:lnTo>
                    <a:pt x="272" y="32"/>
                  </a:lnTo>
                  <a:lnTo>
                    <a:pt x="273" y="33"/>
                  </a:lnTo>
                  <a:lnTo>
                    <a:pt x="275" y="33"/>
                  </a:lnTo>
                  <a:lnTo>
                    <a:pt x="278" y="34"/>
                  </a:lnTo>
                  <a:lnTo>
                    <a:pt x="280" y="35"/>
                  </a:lnTo>
                  <a:lnTo>
                    <a:pt x="281" y="35"/>
                  </a:lnTo>
                  <a:lnTo>
                    <a:pt x="283" y="35"/>
                  </a:lnTo>
                  <a:lnTo>
                    <a:pt x="285" y="35"/>
                  </a:lnTo>
                  <a:lnTo>
                    <a:pt x="287" y="35"/>
                  </a:lnTo>
                  <a:lnTo>
                    <a:pt x="288" y="36"/>
                  </a:lnTo>
                  <a:lnTo>
                    <a:pt x="289" y="36"/>
                  </a:lnTo>
                  <a:lnTo>
                    <a:pt x="289" y="36"/>
                  </a:lnTo>
                  <a:lnTo>
                    <a:pt x="291" y="37"/>
                  </a:lnTo>
                  <a:lnTo>
                    <a:pt x="294" y="38"/>
                  </a:lnTo>
                  <a:lnTo>
                    <a:pt x="295" y="39"/>
                  </a:lnTo>
                  <a:lnTo>
                    <a:pt x="295" y="39"/>
                  </a:lnTo>
                  <a:lnTo>
                    <a:pt x="296" y="40"/>
                  </a:lnTo>
                  <a:lnTo>
                    <a:pt x="296" y="40"/>
                  </a:lnTo>
                  <a:lnTo>
                    <a:pt x="296" y="41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7" y="42"/>
                  </a:lnTo>
                  <a:lnTo>
                    <a:pt x="297" y="43"/>
                  </a:lnTo>
                  <a:lnTo>
                    <a:pt x="298" y="44"/>
                  </a:lnTo>
                  <a:lnTo>
                    <a:pt x="298" y="46"/>
                  </a:lnTo>
                  <a:lnTo>
                    <a:pt x="298" y="47"/>
                  </a:lnTo>
                  <a:lnTo>
                    <a:pt x="298" y="48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9" y="50"/>
                  </a:lnTo>
                  <a:lnTo>
                    <a:pt x="299" y="50"/>
                  </a:lnTo>
                  <a:lnTo>
                    <a:pt x="299" y="51"/>
                  </a:lnTo>
                  <a:lnTo>
                    <a:pt x="300" y="51"/>
                  </a:lnTo>
                  <a:lnTo>
                    <a:pt x="300" y="51"/>
                  </a:lnTo>
                  <a:lnTo>
                    <a:pt x="301" y="51"/>
                  </a:lnTo>
                  <a:lnTo>
                    <a:pt x="301" y="51"/>
                  </a:lnTo>
                  <a:lnTo>
                    <a:pt x="302" y="51"/>
                  </a:lnTo>
                  <a:lnTo>
                    <a:pt x="302" y="51"/>
                  </a:lnTo>
                  <a:lnTo>
                    <a:pt x="303" y="51"/>
                  </a:lnTo>
                  <a:lnTo>
                    <a:pt x="304" y="51"/>
                  </a:lnTo>
                  <a:lnTo>
                    <a:pt x="305" y="51"/>
                  </a:lnTo>
                  <a:lnTo>
                    <a:pt x="307" y="51"/>
                  </a:lnTo>
                  <a:lnTo>
                    <a:pt x="308" y="50"/>
                  </a:lnTo>
                  <a:lnTo>
                    <a:pt x="308" y="50"/>
                  </a:lnTo>
                  <a:lnTo>
                    <a:pt x="310" y="50"/>
                  </a:lnTo>
                  <a:lnTo>
                    <a:pt x="311" y="51"/>
                  </a:lnTo>
                  <a:lnTo>
                    <a:pt x="315" y="51"/>
                  </a:lnTo>
                  <a:lnTo>
                    <a:pt x="317" y="51"/>
                  </a:lnTo>
                  <a:lnTo>
                    <a:pt x="318" y="51"/>
                  </a:lnTo>
                  <a:lnTo>
                    <a:pt x="321" y="51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7" y="51"/>
                  </a:lnTo>
                  <a:lnTo>
                    <a:pt x="328" y="51"/>
                  </a:lnTo>
                  <a:lnTo>
                    <a:pt x="328" y="51"/>
                  </a:lnTo>
                  <a:lnTo>
                    <a:pt x="329" y="51"/>
                  </a:lnTo>
                  <a:lnTo>
                    <a:pt x="329" y="51"/>
                  </a:lnTo>
                  <a:lnTo>
                    <a:pt x="330" y="51"/>
                  </a:lnTo>
                  <a:lnTo>
                    <a:pt x="331" y="52"/>
                  </a:lnTo>
                  <a:lnTo>
                    <a:pt x="332" y="52"/>
                  </a:lnTo>
                  <a:lnTo>
                    <a:pt x="332" y="53"/>
                  </a:lnTo>
                  <a:lnTo>
                    <a:pt x="333" y="54"/>
                  </a:lnTo>
                  <a:lnTo>
                    <a:pt x="333" y="54"/>
                  </a:lnTo>
                  <a:lnTo>
                    <a:pt x="334" y="55"/>
                  </a:lnTo>
                  <a:lnTo>
                    <a:pt x="334" y="56"/>
                  </a:lnTo>
                  <a:lnTo>
                    <a:pt x="335" y="58"/>
                  </a:lnTo>
                  <a:lnTo>
                    <a:pt x="336" y="59"/>
                  </a:lnTo>
                  <a:lnTo>
                    <a:pt x="336" y="60"/>
                  </a:lnTo>
                  <a:lnTo>
                    <a:pt x="336" y="61"/>
                  </a:lnTo>
                  <a:lnTo>
                    <a:pt x="336" y="62"/>
                  </a:lnTo>
                  <a:lnTo>
                    <a:pt x="336" y="63"/>
                  </a:lnTo>
                  <a:lnTo>
                    <a:pt x="336" y="64"/>
                  </a:lnTo>
                  <a:lnTo>
                    <a:pt x="336" y="66"/>
                  </a:lnTo>
                  <a:lnTo>
                    <a:pt x="336" y="67"/>
                  </a:lnTo>
                  <a:lnTo>
                    <a:pt x="335" y="69"/>
                  </a:lnTo>
                  <a:lnTo>
                    <a:pt x="335" y="70"/>
                  </a:lnTo>
                  <a:lnTo>
                    <a:pt x="335" y="71"/>
                  </a:lnTo>
                  <a:lnTo>
                    <a:pt x="335" y="72"/>
                  </a:lnTo>
                  <a:lnTo>
                    <a:pt x="335" y="73"/>
                  </a:lnTo>
                  <a:lnTo>
                    <a:pt x="335" y="76"/>
                  </a:lnTo>
                  <a:lnTo>
                    <a:pt x="335" y="76"/>
                  </a:lnTo>
                  <a:lnTo>
                    <a:pt x="335" y="77"/>
                  </a:lnTo>
                  <a:lnTo>
                    <a:pt x="334" y="78"/>
                  </a:lnTo>
                  <a:lnTo>
                    <a:pt x="334" y="80"/>
                  </a:lnTo>
                  <a:lnTo>
                    <a:pt x="333" y="84"/>
                  </a:lnTo>
                  <a:lnTo>
                    <a:pt x="333" y="85"/>
                  </a:lnTo>
                  <a:lnTo>
                    <a:pt x="333" y="86"/>
                  </a:lnTo>
                  <a:lnTo>
                    <a:pt x="333" y="87"/>
                  </a:lnTo>
                  <a:lnTo>
                    <a:pt x="333" y="88"/>
                  </a:lnTo>
                  <a:lnTo>
                    <a:pt x="333" y="89"/>
                  </a:lnTo>
                  <a:lnTo>
                    <a:pt x="334" y="91"/>
                  </a:lnTo>
                  <a:lnTo>
                    <a:pt x="334" y="92"/>
                  </a:lnTo>
                  <a:lnTo>
                    <a:pt x="335" y="94"/>
                  </a:lnTo>
                  <a:lnTo>
                    <a:pt x="335" y="96"/>
                  </a:lnTo>
                  <a:lnTo>
                    <a:pt x="335" y="98"/>
                  </a:lnTo>
                  <a:lnTo>
                    <a:pt x="335" y="99"/>
                  </a:lnTo>
                  <a:lnTo>
                    <a:pt x="335" y="100"/>
                  </a:lnTo>
                  <a:lnTo>
                    <a:pt x="335" y="102"/>
                  </a:lnTo>
                  <a:lnTo>
                    <a:pt x="335" y="103"/>
                  </a:lnTo>
                  <a:lnTo>
                    <a:pt x="334" y="103"/>
                  </a:lnTo>
                  <a:lnTo>
                    <a:pt x="335" y="104"/>
                  </a:lnTo>
                  <a:lnTo>
                    <a:pt x="335" y="105"/>
                  </a:lnTo>
                  <a:lnTo>
                    <a:pt x="335" y="105"/>
                  </a:lnTo>
                  <a:lnTo>
                    <a:pt x="335" y="106"/>
                  </a:lnTo>
                  <a:lnTo>
                    <a:pt x="336" y="106"/>
                  </a:lnTo>
                  <a:lnTo>
                    <a:pt x="336" y="107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9" y="110"/>
                  </a:lnTo>
                  <a:lnTo>
                    <a:pt x="339" y="111"/>
                  </a:lnTo>
                  <a:lnTo>
                    <a:pt x="339" y="111"/>
                  </a:lnTo>
                  <a:lnTo>
                    <a:pt x="340" y="113"/>
                  </a:lnTo>
                  <a:lnTo>
                    <a:pt x="340" y="114"/>
                  </a:lnTo>
                  <a:lnTo>
                    <a:pt x="340" y="117"/>
                  </a:lnTo>
                  <a:lnTo>
                    <a:pt x="340" y="118"/>
                  </a:lnTo>
                  <a:lnTo>
                    <a:pt x="340" y="118"/>
                  </a:lnTo>
                  <a:lnTo>
                    <a:pt x="340" y="119"/>
                  </a:lnTo>
                  <a:lnTo>
                    <a:pt x="340" y="119"/>
                  </a:lnTo>
                  <a:lnTo>
                    <a:pt x="342" y="122"/>
                  </a:lnTo>
                  <a:lnTo>
                    <a:pt x="343" y="123"/>
                  </a:lnTo>
                  <a:lnTo>
                    <a:pt x="344" y="125"/>
                  </a:lnTo>
                  <a:lnTo>
                    <a:pt x="345" y="127"/>
                  </a:lnTo>
                  <a:lnTo>
                    <a:pt x="347" y="131"/>
                  </a:lnTo>
                  <a:lnTo>
                    <a:pt x="347" y="133"/>
                  </a:lnTo>
                  <a:lnTo>
                    <a:pt x="348" y="134"/>
                  </a:lnTo>
                  <a:lnTo>
                    <a:pt x="348" y="137"/>
                  </a:lnTo>
                  <a:lnTo>
                    <a:pt x="349" y="138"/>
                  </a:lnTo>
                  <a:lnTo>
                    <a:pt x="349" y="139"/>
                  </a:lnTo>
                  <a:lnTo>
                    <a:pt x="349" y="139"/>
                  </a:lnTo>
                  <a:lnTo>
                    <a:pt x="349" y="140"/>
                  </a:lnTo>
                  <a:lnTo>
                    <a:pt x="349" y="141"/>
                  </a:lnTo>
                  <a:lnTo>
                    <a:pt x="348" y="141"/>
                  </a:lnTo>
                  <a:lnTo>
                    <a:pt x="348" y="142"/>
                  </a:lnTo>
                  <a:lnTo>
                    <a:pt x="348" y="142"/>
                  </a:lnTo>
                  <a:lnTo>
                    <a:pt x="347" y="143"/>
                  </a:lnTo>
                  <a:lnTo>
                    <a:pt x="347" y="144"/>
                  </a:lnTo>
                  <a:lnTo>
                    <a:pt x="347" y="144"/>
                  </a:lnTo>
                  <a:lnTo>
                    <a:pt x="347" y="145"/>
                  </a:lnTo>
                  <a:lnTo>
                    <a:pt x="347" y="146"/>
                  </a:lnTo>
                  <a:lnTo>
                    <a:pt x="347" y="148"/>
                  </a:lnTo>
                  <a:lnTo>
                    <a:pt x="348" y="149"/>
                  </a:lnTo>
                  <a:lnTo>
                    <a:pt x="348" y="149"/>
                  </a:lnTo>
                  <a:lnTo>
                    <a:pt x="348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1"/>
                  </a:lnTo>
                  <a:lnTo>
                    <a:pt x="346" y="151"/>
                  </a:lnTo>
                  <a:lnTo>
                    <a:pt x="346" y="151"/>
                  </a:lnTo>
                  <a:lnTo>
                    <a:pt x="343" y="150"/>
                  </a:lnTo>
                  <a:lnTo>
                    <a:pt x="342" y="150"/>
                  </a:lnTo>
                  <a:lnTo>
                    <a:pt x="341" y="150"/>
                  </a:lnTo>
                  <a:lnTo>
                    <a:pt x="340" y="150"/>
                  </a:lnTo>
                  <a:lnTo>
                    <a:pt x="340" y="150"/>
                  </a:lnTo>
                  <a:lnTo>
                    <a:pt x="339" y="150"/>
                  </a:lnTo>
                  <a:lnTo>
                    <a:pt x="338" y="151"/>
                  </a:lnTo>
                  <a:lnTo>
                    <a:pt x="337" y="151"/>
                  </a:lnTo>
                  <a:lnTo>
                    <a:pt x="337" y="151"/>
                  </a:lnTo>
                  <a:lnTo>
                    <a:pt x="337" y="152"/>
                  </a:lnTo>
                  <a:lnTo>
                    <a:pt x="336" y="152"/>
                  </a:lnTo>
                  <a:lnTo>
                    <a:pt x="336" y="153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7" y="156"/>
                  </a:lnTo>
                  <a:lnTo>
                    <a:pt x="338" y="156"/>
                  </a:lnTo>
                  <a:lnTo>
                    <a:pt x="338" y="157"/>
                  </a:lnTo>
                  <a:lnTo>
                    <a:pt x="339" y="157"/>
                  </a:lnTo>
                  <a:lnTo>
                    <a:pt x="343" y="157"/>
                  </a:lnTo>
                  <a:lnTo>
                    <a:pt x="344" y="158"/>
                  </a:lnTo>
                  <a:lnTo>
                    <a:pt x="344" y="158"/>
                  </a:lnTo>
                  <a:lnTo>
                    <a:pt x="345" y="158"/>
                  </a:lnTo>
                  <a:lnTo>
                    <a:pt x="346" y="159"/>
                  </a:lnTo>
                  <a:lnTo>
                    <a:pt x="347" y="159"/>
                  </a:lnTo>
                  <a:lnTo>
                    <a:pt x="348" y="160"/>
                  </a:lnTo>
                  <a:lnTo>
                    <a:pt x="348" y="161"/>
                  </a:lnTo>
                  <a:lnTo>
                    <a:pt x="349" y="162"/>
                  </a:lnTo>
                  <a:lnTo>
                    <a:pt x="351" y="164"/>
                  </a:lnTo>
                  <a:lnTo>
                    <a:pt x="352" y="165"/>
                  </a:lnTo>
                  <a:lnTo>
                    <a:pt x="352" y="166"/>
                  </a:lnTo>
                  <a:lnTo>
                    <a:pt x="353" y="167"/>
                  </a:lnTo>
                  <a:lnTo>
                    <a:pt x="353" y="168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3" y="170"/>
                  </a:lnTo>
                  <a:lnTo>
                    <a:pt x="352" y="171"/>
                  </a:lnTo>
                  <a:lnTo>
                    <a:pt x="352" y="171"/>
                  </a:lnTo>
                  <a:lnTo>
                    <a:pt x="351" y="172"/>
                  </a:lnTo>
                  <a:lnTo>
                    <a:pt x="351" y="172"/>
                  </a:lnTo>
                  <a:lnTo>
                    <a:pt x="351" y="172"/>
                  </a:lnTo>
                  <a:lnTo>
                    <a:pt x="350" y="174"/>
                  </a:lnTo>
                  <a:lnTo>
                    <a:pt x="350" y="175"/>
                  </a:lnTo>
                  <a:lnTo>
                    <a:pt x="349" y="177"/>
                  </a:lnTo>
                  <a:lnTo>
                    <a:pt x="349" y="177"/>
                  </a:lnTo>
                  <a:lnTo>
                    <a:pt x="349" y="178"/>
                  </a:lnTo>
                  <a:lnTo>
                    <a:pt x="349" y="179"/>
                  </a:lnTo>
                  <a:lnTo>
                    <a:pt x="349" y="179"/>
                  </a:lnTo>
                  <a:lnTo>
                    <a:pt x="349" y="180"/>
                  </a:lnTo>
                  <a:lnTo>
                    <a:pt x="350" y="180"/>
                  </a:lnTo>
                  <a:lnTo>
                    <a:pt x="350" y="182"/>
                  </a:lnTo>
                  <a:lnTo>
                    <a:pt x="351" y="182"/>
                  </a:lnTo>
                  <a:lnTo>
                    <a:pt x="351" y="183"/>
                  </a:lnTo>
                  <a:lnTo>
                    <a:pt x="351" y="183"/>
                  </a:lnTo>
                  <a:lnTo>
                    <a:pt x="351" y="184"/>
                  </a:lnTo>
                  <a:lnTo>
                    <a:pt x="351" y="184"/>
                  </a:lnTo>
                  <a:lnTo>
                    <a:pt x="351" y="185"/>
                  </a:lnTo>
                  <a:lnTo>
                    <a:pt x="351" y="186"/>
                  </a:lnTo>
                  <a:lnTo>
                    <a:pt x="351" y="186"/>
                  </a:lnTo>
                  <a:lnTo>
                    <a:pt x="350" y="187"/>
                  </a:lnTo>
                  <a:lnTo>
                    <a:pt x="350" y="188"/>
                  </a:lnTo>
                  <a:lnTo>
                    <a:pt x="349" y="188"/>
                  </a:lnTo>
                  <a:lnTo>
                    <a:pt x="348" y="189"/>
                  </a:lnTo>
                  <a:lnTo>
                    <a:pt x="347" y="189"/>
                  </a:lnTo>
                  <a:lnTo>
                    <a:pt x="346" y="190"/>
                  </a:lnTo>
                  <a:lnTo>
                    <a:pt x="345" y="191"/>
                  </a:lnTo>
                  <a:lnTo>
                    <a:pt x="344" y="191"/>
                  </a:lnTo>
                  <a:lnTo>
                    <a:pt x="341" y="192"/>
                  </a:lnTo>
                  <a:lnTo>
                    <a:pt x="339" y="193"/>
                  </a:lnTo>
                  <a:lnTo>
                    <a:pt x="339" y="193"/>
                  </a:lnTo>
                  <a:lnTo>
                    <a:pt x="337" y="193"/>
                  </a:lnTo>
                  <a:lnTo>
                    <a:pt x="336" y="194"/>
                  </a:lnTo>
                  <a:lnTo>
                    <a:pt x="335" y="194"/>
                  </a:lnTo>
                  <a:lnTo>
                    <a:pt x="335" y="195"/>
                  </a:lnTo>
                  <a:lnTo>
                    <a:pt x="335" y="195"/>
                  </a:lnTo>
                  <a:lnTo>
                    <a:pt x="334" y="195"/>
                  </a:lnTo>
                  <a:lnTo>
                    <a:pt x="334" y="196"/>
                  </a:lnTo>
                  <a:lnTo>
                    <a:pt x="334" y="196"/>
                  </a:lnTo>
                  <a:lnTo>
                    <a:pt x="334" y="197"/>
                  </a:lnTo>
                  <a:lnTo>
                    <a:pt x="334" y="199"/>
                  </a:lnTo>
                  <a:lnTo>
                    <a:pt x="334" y="200"/>
                  </a:lnTo>
                  <a:lnTo>
                    <a:pt x="334" y="202"/>
                  </a:lnTo>
                  <a:lnTo>
                    <a:pt x="334" y="203"/>
                  </a:lnTo>
                  <a:lnTo>
                    <a:pt x="334" y="204"/>
                  </a:lnTo>
                  <a:lnTo>
                    <a:pt x="334" y="205"/>
                  </a:lnTo>
                  <a:lnTo>
                    <a:pt x="332" y="211"/>
                  </a:lnTo>
                  <a:lnTo>
                    <a:pt x="332" y="212"/>
                  </a:lnTo>
                  <a:lnTo>
                    <a:pt x="332" y="213"/>
                  </a:lnTo>
                  <a:lnTo>
                    <a:pt x="332" y="214"/>
                  </a:lnTo>
                  <a:lnTo>
                    <a:pt x="331" y="214"/>
                  </a:lnTo>
                  <a:lnTo>
                    <a:pt x="331" y="215"/>
                  </a:lnTo>
                  <a:lnTo>
                    <a:pt x="330" y="215"/>
                  </a:lnTo>
                  <a:lnTo>
                    <a:pt x="329" y="215"/>
                  </a:lnTo>
                  <a:lnTo>
                    <a:pt x="329" y="215"/>
                  </a:lnTo>
                  <a:lnTo>
                    <a:pt x="328" y="215"/>
                  </a:lnTo>
                  <a:lnTo>
                    <a:pt x="327" y="215"/>
                  </a:lnTo>
                  <a:lnTo>
                    <a:pt x="327" y="215"/>
                  </a:lnTo>
                  <a:lnTo>
                    <a:pt x="326" y="215"/>
                  </a:lnTo>
                  <a:lnTo>
                    <a:pt x="325" y="214"/>
                  </a:lnTo>
                  <a:lnTo>
                    <a:pt x="324" y="214"/>
                  </a:lnTo>
                  <a:lnTo>
                    <a:pt x="323" y="213"/>
                  </a:lnTo>
                  <a:lnTo>
                    <a:pt x="322" y="212"/>
                  </a:lnTo>
                  <a:lnTo>
                    <a:pt x="319" y="210"/>
                  </a:lnTo>
                  <a:lnTo>
                    <a:pt x="318" y="209"/>
                  </a:lnTo>
                  <a:lnTo>
                    <a:pt x="317" y="209"/>
                  </a:lnTo>
                  <a:lnTo>
                    <a:pt x="315" y="207"/>
                  </a:lnTo>
                  <a:lnTo>
                    <a:pt x="314" y="206"/>
                  </a:lnTo>
                  <a:lnTo>
                    <a:pt x="313" y="205"/>
                  </a:lnTo>
                  <a:lnTo>
                    <a:pt x="312" y="205"/>
                  </a:lnTo>
                  <a:lnTo>
                    <a:pt x="311" y="204"/>
                  </a:lnTo>
                  <a:lnTo>
                    <a:pt x="310" y="204"/>
                  </a:lnTo>
                  <a:lnTo>
                    <a:pt x="308" y="204"/>
                  </a:lnTo>
                  <a:lnTo>
                    <a:pt x="307" y="203"/>
                  </a:lnTo>
                  <a:lnTo>
                    <a:pt x="306" y="203"/>
                  </a:lnTo>
                  <a:lnTo>
                    <a:pt x="303" y="203"/>
                  </a:lnTo>
                  <a:lnTo>
                    <a:pt x="299" y="203"/>
                  </a:lnTo>
                  <a:lnTo>
                    <a:pt x="299" y="202"/>
                  </a:lnTo>
                  <a:lnTo>
                    <a:pt x="296" y="202"/>
                  </a:lnTo>
                  <a:lnTo>
                    <a:pt x="294" y="201"/>
                  </a:lnTo>
                  <a:lnTo>
                    <a:pt x="293" y="201"/>
                  </a:lnTo>
                  <a:lnTo>
                    <a:pt x="292" y="201"/>
                  </a:lnTo>
                  <a:lnTo>
                    <a:pt x="292" y="201"/>
                  </a:lnTo>
                  <a:lnTo>
                    <a:pt x="291" y="201"/>
                  </a:lnTo>
                  <a:lnTo>
                    <a:pt x="291" y="202"/>
                  </a:lnTo>
                  <a:lnTo>
                    <a:pt x="290" y="202"/>
                  </a:lnTo>
                  <a:lnTo>
                    <a:pt x="289" y="202"/>
                  </a:lnTo>
                  <a:lnTo>
                    <a:pt x="289" y="203"/>
                  </a:lnTo>
                  <a:lnTo>
                    <a:pt x="287" y="205"/>
                  </a:lnTo>
                  <a:lnTo>
                    <a:pt x="285" y="206"/>
                  </a:lnTo>
                  <a:lnTo>
                    <a:pt x="284" y="208"/>
                  </a:lnTo>
                  <a:lnTo>
                    <a:pt x="282" y="209"/>
                  </a:lnTo>
                  <a:lnTo>
                    <a:pt x="282" y="210"/>
                  </a:lnTo>
                  <a:lnTo>
                    <a:pt x="279" y="211"/>
                  </a:lnTo>
                  <a:lnTo>
                    <a:pt x="277" y="212"/>
                  </a:lnTo>
                  <a:lnTo>
                    <a:pt x="276" y="213"/>
                  </a:lnTo>
                  <a:lnTo>
                    <a:pt x="274" y="215"/>
                  </a:lnTo>
                  <a:lnTo>
                    <a:pt x="269" y="218"/>
                  </a:lnTo>
                  <a:lnTo>
                    <a:pt x="268" y="218"/>
                  </a:lnTo>
                  <a:lnTo>
                    <a:pt x="266" y="219"/>
                  </a:lnTo>
                  <a:lnTo>
                    <a:pt x="265" y="220"/>
                  </a:lnTo>
                  <a:lnTo>
                    <a:pt x="264" y="221"/>
                  </a:lnTo>
                  <a:lnTo>
                    <a:pt x="262" y="222"/>
                  </a:lnTo>
                  <a:lnTo>
                    <a:pt x="262" y="222"/>
                  </a:lnTo>
                  <a:lnTo>
                    <a:pt x="258" y="224"/>
                  </a:lnTo>
                  <a:lnTo>
                    <a:pt x="256" y="225"/>
                  </a:lnTo>
                  <a:lnTo>
                    <a:pt x="255" y="225"/>
                  </a:lnTo>
                  <a:lnTo>
                    <a:pt x="254" y="225"/>
                  </a:lnTo>
                  <a:lnTo>
                    <a:pt x="254" y="226"/>
                  </a:lnTo>
                  <a:lnTo>
                    <a:pt x="253" y="226"/>
                  </a:lnTo>
                  <a:lnTo>
                    <a:pt x="253" y="227"/>
                  </a:lnTo>
                  <a:lnTo>
                    <a:pt x="252" y="228"/>
                  </a:lnTo>
                  <a:lnTo>
                    <a:pt x="252" y="228"/>
                  </a:lnTo>
                  <a:lnTo>
                    <a:pt x="252" y="229"/>
                  </a:lnTo>
                  <a:lnTo>
                    <a:pt x="252" y="229"/>
                  </a:lnTo>
                  <a:lnTo>
                    <a:pt x="252" y="232"/>
                  </a:lnTo>
                  <a:lnTo>
                    <a:pt x="252" y="233"/>
                  </a:lnTo>
                  <a:lnTo>
                    <a:pt x="252" y="234"/>
                  </a:lnTo>
                  <a:lnTo>
                    <a:pt x="251" y="239"/>
                  </a:lnTo>
                  <a:lnTo>
                    <a:pt x="251" y="239"/>
                  </a:lnTo>
                  <a:lnTo>
                    <a:pt x="250" y="240"/>
                  </a:lnTo>
                  <a:lnTo>
                    <a:pt x="250" y="241"/>
                  </a:lnTo>
                  <a:lnTo>
                    <a:pt x="249" y="242"/>
                  </a:lnTo>
                  <a:lnTo>
                    <a:pt x="248" y="243"/>
                  </a:lnTo>
                  <a:lnTo>
                    <a:pt x="247" y="244"/>
                  </a:lnTo>
                  <a:lnTo>
                    <a:pt x="245" y="245"/>
                  </a:lnTo>
                  <a:lnTo>
                    <a:pt x="244" y="246"/>
                  </a:lnTo>
                  <a:lnTo>
                    <a:pt x="243" y="247"/>
                  </a:lnTo>
                  <a:lnTo>
                    <a:pt x="242" y="247"/>
                  </a:lnTo>
                  <a:lnTo>
                    <a:pt x="241" y="248"/>
                  </a:lnTo>
                  <a:lnTo>
                    <a:pt x="240" y="248"/>
                  </a:lnTo>
                  <a:lnTo>
                    <a:pt x="239" y="248"/>
                  </a:lnTo>
                  <a:lnTo>
                    <a:pt x="238" y="248"/>
                  </a:lnTo>
                  <a:lnTo>
                    <a:pt x="238" y="248"/>
                  </a:lnTo>
                  <a:lnTo>
                    <a:pt x="237" y="247"/>
                  </a:lnTo>
                  <a:lnTo>
                    <a:pt x="234" y="246"/>
                  </a:lnTo>
                  <a:lnTo>
                    <a:pt x="233" y="246"/>
                  </a:lnTo>
                  <a:lnTo>
                    <a:pt x="232" y="246"/>
                  </a:lnTo>
                  <a:lnTo>
                    <a:pt x="231" y="245"/>
                  </a:lnTo>
                  <a:lnTo>
                    <a:pt x="230" y="245"/>
                  </a:lnTo>
                  <a:lnTo>
                    <a:pt x="229" y="246"/>
                  </a:lnTo>
                  <a:lnTo>
                    <a:pt x="228" y="246"/>
                  </a:lnTo>
                  <a:lnTo>
                    <a:pt x="226" y="246"/>
                  </a:lnTo>
                  <a:lnTo>
                    <a:pt x="224" y="246"/>
                  </a:lnTo>
                  <a:lnTo>
                    <a:pt x="223" y="246"/>
                  </a:lnTo>
                  <a:lnTo>
                    <a:pt x="222" y="246"/>
                  </a:lnTo>
                  <a:lnTo>
                    <a:pt x="221" y="246"/>
                  </a:lnTo>
                  <a:lnTo>
                    <a:pt x="220" y="246"/>
                  </a:lnTo>
                  <a:lnTo>
                    <a:pt x="219" y="246"/>
                  </a:lnTo>
                  <a:lnTo>
                    <a:pt x="218" y="246"/>
                  </a:lnTo>
                  <a:lnTo>
                    <a:pt x="215" y="245"/>
                  </a:lnTo>
                  <a:lnTo>
                    <a:pt x="214" y="244"/>
                  </a:lnTo>
                  <a:lnTo>
                    <a:pt x="209" y="243"/>
                  </a:lnTo>
                  <a:lnTo>
                    <a:pt x="208" y="242"/>
                  </a:lnTo>
                  <a:lnTo>
                    <a:pt x="206" y="242"/>
                  </a:lnTo>
                  <a:lnTo>
                    <a:pt x="205" y="241"/>
                  </a:lnTo>
                  <a:lnTo>
                    <a:pt x="205" y="241"/>
                  </a:lnTo>
                  <a:lnTo>
                    <a:pt x="203" y="241"/>
                  </a:lnTo>
                  <a:lnTo>
                    <a:pt x="202" y="241"/>
                  </a:lnTo>
                  <a:lnTo>
                    <a:pt x="201" y="241"/>
                  </a:lnTo>
                  <a:lnTo>
                    <a:pt x="201" y="241"/>
                  </a:lnTo>
                  <a:lnTo>
                    <a:pt x="200" y="241"/>
                  </a:lnTo>
                  <a:lnTo>
                    <a:pt x="199" y="242"/>
                  </a:lnTo>
                  <a:lnTo>
                    <a:pt x="196" y="243"/>
                  </a:lnTo>
                  <a:lnTo>
                    <a:pt x="195" y="243"/>
                  </a:lnTo>
                  <a:lnTo>
                    <a:pt x="194" y="243"/>
                  </a:lnTo>
                  <a:lnTo>
                    <a:pt x="192" y="243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6" y="244"/>
                  </a:lnTo>
                  <a:lnTo>
                    <a:pt x="185" y="245"/>
                  </a:lnTo>
                  <a:lnTo>
                    <a:pt x="183" y="245"/>
                  </a:lnTo>
                  <a:lnTo>
                    <a:pt x="182" y="246"/>
                  </a:lnTo>
                  <a:lnTo>
                    <a:pt x="180" y="246"/>
                  </a:lnTo>
                  <a:lnTo>
                    <a:pt x="178" y="247"/>
                  </a:lnTo>
                  <a:lnTo>
                    <a:pt x="177" y="247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4" y="250"/>
                  </a:lnTo>
                  <a:lnTo>
                    <a:pt x="174" y="250"/>
                  </a:lnTo>
                  <a:lnTo>
                    <a:pt x="173" y="251"/>
                  </a:lnTo>
                  <a:lnTo>
                    <a:pt x="173" y="251"/>
                  </a:lnTo>
                  <a:lnTo>
                    <a:pt x="171" y="253"/>
                  </a:lnTo>
                  <a:lnTo>
                    <a:pt x="170" y="253"/>
                  </a:lnTo>
                  <a:lnTo>
                    <a:pt x="169" y="254"/>
                  </a:lnTo>
                  <a:lnTo>
                    <a:pt x="168" y="254"/>
                  </a:lnTo>
                  <a:lnTo>
                    <a:pt x="168" y="255"/>
                  </a:lnTo>
                  <a:lnTo>
                    <a:pt x="167" y="255"/>
                  </a:lnTo>
                  <a:lnTo>
                    <a:pt x="167" y="256"/>
                  </a:lnTo>
                  <a:lnTo>
                    <a:pt x="167" y="257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5" y="259"/>
                  </a:lnTo>
                  <a:lnTo>
                    <a:pt x="165" y="259"/>
                  </a:lnTo>
                  <a:lnTo>
                    <a:pt x="165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3" y="257"/>
                  </a:lnTo>
                  <a:lnTo>
                    <a:pt x="162" y="255"/>
                  </a:lnTo>
                  <a:lnTo>
                    <a:pt x="162" y="255"/>
                  </a:lnTo>
                  <a:lnTo>
                    <a:pt x="161" y="254"/>
                  </a:lnTo>
                  <a:lnTo>
                    <a:pt x="160" y="253"/>
                  </a:lnTo>
                  <a:lnTo>
                    <a:pt x="159" y="252"/>
                  </a:lnTo>
                  <a:lnTo>
                    <a:pt x="158" y="252"/>
                  </a:lnTo>
                  <a:lnTo>
                    <a:pt x="157" y="251"/>
                  </a:lnTo>
                  <a:lnTo>
                    <a:pt x="155" y="251"/>
                  </a:lnTo>
                  <a:lnTo>
                    <a:pt x="155" y="251"/>
                  </a:lnTo>
                  <a:lnTo>
                    <a:pt x="154" y="251"/>
                  </a:lnTo>
                  <a:lnTo>
                    <a:pt x="153" y="251"/>
                  </a:lnTo>
                  <a:lnTo>
                    <a:pt x="151" y="252"/>
                  </a:lnTo>
                  <a:lnTo>
                    <a:pt x="150" y="252"/>
                  </a:lnTo>
                  <a:lnTo>
                    <a:pt x="149" y="253"/>
                  </a:lnTo>
                  <a:lnTo>
                    <a:pt x="148" y="253"/>
                  </a:lnTo>
                  <a:lnTo>
                    <a:pt x="147" y="254"/>
                  </a:lnTo>
                  <a:lnTo>
                    <a:pt x="145" y="255"/>
                  </a:lnTo>
                  <a:lnTo>
                    <a:pt x="144" y="256"/>
                  </a:lnTo>
                  <a:lnTo>
                    <a:pt x="144" y="256"/>
                  </a:lnTo>
                  <a:lnTo>
                    <a:pt x="143" y="257"/>
                  </a:lnTo>
                  <a:lnTo>
                    <a:pt x="142" y="257"/>
                  </a:lnTo>
                  <a:lnTo>
                    <a:pt x="141" y="257"/>
                  </a:lnTo>
                  <a:lnTo>
                    <a:pt x="140" y="257"/>
                  </a:lnTo>
                  <a:lnTo>
                    <a:pt x="140" y="257"/>
                  </a:lnTo>
                  <a:lnTo>
                    <a:pt x="139" y="257"/>
                  </a:lnTo>
                  <a:lnTo>
                    <a:pt x="134" y="255"/>
                  </a:lnTo>
                  <a:lnTo>
                    <a:pt x="130" y="254"/>
                  </a:lnTo>
                  <a:lnTo>
                    <a:pt x="128" y="254"/>
                  </a:lnTo>
                  <a:lnTo>
                    <a:pt x="128" y="253"/>
                  </a:lnTo>
                  <a:lnTo>
                    <a:pt x="128" y="253"/>
                  </a:lnTo>
                  <a:lnTo>
                    <a:pt x="128" y="252"/>
                  </a:lnTo>
                  <a:lnTo>
                    <a:pt x="127" y="251"/>
                  </a:lnTo>
                  <a:lnTo>
                    <a:pt x="127" y="250"/>
                  </a:lnTo>
                  <a:lnTo>
                    <a:pt x="126" y="250"/>
                  </a:lnTo>
                  <a:lnTo>
                    <a:pt x="125" y="249"/>
                  </a:lnTo>
                  <a:lnTo>
                    <a:pt x="125" y="248"/>
                  </a:lnTo>
                  <a:lnTo>
                    <a:pt x="124" y="247"/>
                  </a:lnTo>
                  <a:lnTo>
                    <a:pt x="123" y="246"/>
                  </a:lnTo>
                  <a:lnTo>
                    <a:pt x="120" y="245"/>
                  </a:lnTo>
                  <a:lnTo>
                    <a:pt x="119" y="244"/>
                  </a:lnTo>
                  <a:lnTo>
                    <a:pt x="114" y="241"/>
                  </a:lnTo>
                  <a:lnTo>
                    <a:pt x="112" y="240"/>
                  </a:lnTo>
                  <a:lnTo>
                    <a:pt x="110" y="239"/>
                  </a:lnTo>
                  <a:lnTo>
                    <a:pt x="109" y="238"/>
                  </a:lnTo>
                  <a:lnTo>
                    <a:pt x="108" y="237"/>
                  </a:lnTo>
                  <a:lnTo>
                    <a:pt x="108" y="237"/>
                  </a:lnTo>
                  <a:lnTo>
                    <a:pt x="108" y="236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4"/>
                  </a:lnTo>
                  <a:lnTo>
                    <a:pt x="107" y="233"/>
                  </a:lnTo>
                  <a:lnTo>
                    <a:pt x="107" y="232"/>
                  </a:lnTo>
                  <a:lnTo>
                    <a:pt x="108" y="231"/>
                  </a:lnTo>
                  <a:lnTo>
                    <a:pt x="108" y="230"/>
                  </a:lnTo>
                  <a:lnTo>
                    <a:pt x="108" y="230"/>
                  </a:lnTo>
                  <a:lnTo>
                    <a:pt x="110" y="227"/>
                  </a:lnTo>
                  <a:lnTo>
                    <a:pt x="110" y="226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1" y="224"/>
                  </a:lnTo>
                  <a:lnTo>
                    <a:pt x="111" y="223"/>
                  </a:lnTo>
                  <a:lnTo>
                    <a:pt x="111" y="222"/>
                  </a:lnTo>
                  <a:lnTo>
                    <a:pt x="111" y="222"/>
                  </a:lnTo>
                  <a:lnTo>
                    <a:pt x="110" y="221"/>
                  </a:lnTo>
                  <a:lnTo>
                    <a:pt x="110" y="220"/>
                  </a:lnTo>
                  <a:lnTo>
                    <a:pt x="110" y="220"/>
                  </a:lnTo>
                  <a:lnTo>
                    <a:pt x="110" y="219"/>
                  </a:lnTo>
                  <a:lnTo>
                    <a:pt x="109" y="219"/>
                  </a:lnTo>
                  <a:lnTo>
                    <a:pt x="109" y="218"/>
                  </a:lnTo>
                  <a:lnTo>
                    <a:pt x="107" y="216"/>
                  </a:lnTo>
                  <a:lnTo>
                    <a:pt x="105" y="215"/>
                  </a:lnTo>
                  <a:lnTo>
                    <a:pt x="104" y="215"/>
                  </a:lnTo>
                  <a:lnTo>
                    <a:pt x="104" y="214"/>
                  </a:lnTo>
                  <a:lnTo>
                    <a:pt x="103" y="214"/>
                  </a:lnTo>
                  <a:lnTo>
                    <a:pt x="102" y="214"/>
                  </a:lnTo>
                  <a:lnTo>
                    <a:pt x="101" y="213"/>
                  </a:lnTo>
                  <a:lnTo>
                    <a:pt x="100" y="213"/>
                  </a:lnTo>
                  <a:lnTo>
                    <a:pt x="98" y="213"/>
                  </a:lnTo>
                  <a:lnTo>
                    <a:pt x="97" y="213"/>
                  </a:lnTo>
                  <a:lnTo>
                    <a:pt x="96" y="213"/>
                  </a:lnTo>
                  <a:lnTo>
                    <a:pt x="95" y="213"/>
                  </a:lnTo>
                  <a:lnTo>
                    <a:pt x="95" y="212"/>
                  </a:lnTo>
                  <a:lnTo>
                    <a:pt x="94" y="212"/>
                  </a:lnTo>
                  <a:lnTo>
                    <a:pt x="94" y="212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2" y="209"/>
                  </a:lnTo>
                  <a:lnTo>
                    <a:pt x="91" y="208"/>
                  </a:lnTo>
                  <a:lnTo>
                    <a:pt x="90" y="207"/>
                  </a:lnTo>
                  <a:lnTo>
                    <a:pt x="87" y="205"/>
                  </a:lnTo>
                  <a:lnTo>
                    <a:pt x="85" y="204"/>
                  </a:lnTo>
                  <a:lnTo>
                    <a:pt x="84" y="203"/>
                  </a:lnTo>
                  <a:lnTo>
                    <a:pt x="83" y="203"/>
                  </a:lnTo>
                  <a:lnTo>
                    <a:pt x="83" y="202"/>
                  </a:lnTo>
                  <a:lnTo>
                    <a:pt x="81" y="201"/>
                  </a:lnTo>
                  <a:lnTo>
                    <a:pt x="80" y="201"/>
                  </a:lnTo>
                  <a:lnTo>
                    <a:pt x="79" y="200"/>
                  </a:lnTo>
                  <a:lnTo>
                    <a:pt x="76" y="199"/>
                  </a:lnTo>
                  <a:lnTo>
                    <a:pt x="75" y="198"/>
                  </a:lnTo>
                  <a:lnTo>
                    <a:pt x="73" y="196"/>
                  </a:lnTo>
                  <a:lnTo>
                    <a:pt x="70" y="193"/>
                  </a:lnTo>
                  <a:lnTo>
                    <a:pt x="69" y="192"/>
                  </a:lnTo>
                  <a:lnTo>
                    <a:pt x="68" y="192"/>
                  </a:lnTo>
                  <a:lnTo>
                    <a:pt x="68" y="192"/>
                  </a:lnTo>
                  <a:lnTo>
                    <a:pt x="67" y="191"/>
                  </a:lnTo>
                  <a:lnTo>
                    <a:pt x="65" y="190"/>
                  </a:lnTo>
                  <a:lnTo>
                    <a:pt x="64" y="190"/>
                  </a:lnTo>
                  <a:lnTo>
                    <a:pt x="64" y="190"/>
                  </a:lnTo>
                  <a:lnTo>
                    <a:pt x="63" y="189"/>
                  </a:lnTo>
                  <a:lnTo>
                    <a:pt x="62" y="188"/>
                  </a:lnTo>
                  <a:lnTo>
                    <a:pt x="61" y="187"/>
                  </a:lnTo>
                  <a:lnTo>
                    <a:pt x="60" y="185"/>
                  </a:lnTo>
                  <a:lnTo>
                    <a:pt x="59" y="185"/>
                  </a:lnTo>
                  <a:lnTo>
                    <a:pt x="59" y="184"/>
                  </a:lnTo>
                  <a:lnTo>
                    <a:pt x="58" y="183"/>
                  </a:lnTo>
                  <a:lnTo>
                    <a:pt x="57" y="182"/>
                  </a:lnTo>
                  <a:lnTo>
                    <a:pt x="55" y="182"/>
                  </a:lnTo>
                  <a:lnTo>
                    <a:pt x="54" y="181"/>
                  </a:lnTo>
                  <a:lnTo>
                    <a:pt x="51" y="180"/>
                  </a:lnTo>
                  <a:lnTo>
                    <a:pt x="50" y="180"/>
                  </a:lnTo>
                  <a:lnTo>
                    <a:pt x="48" y="179"/>
                  </a:lnTo>
                  <a:lnTo>
                    <a:pt x="47" y="179"/>
                  </a:lnTo>
                  <a:lnTo>
                    <a:pt x="47" y="178"/>
                  </a:lnTo>
                  <a:lnTo>
                    <a:pt x="47" y="178"/>
                  </a:lnTo>
                  <a:lnTo>
                    <a:pt x="46" y="178"/>
                  </a:lnTo>
                  <a:lnTo>
                    <a:pt x="46" y="177"/>
                  </a:lnTo>
                  <a:lnTo>
                    <a:pt x="46" y="177"/>
                  </a:lnTo>
                  <a:lnTo>
                    <a:pt x="46" y="176"/>
                  </a:lnTo>
                  <a:lnTo>
                    <a:pt x="46" y="176"/>
                  </a:lnTo>
                  <a:lnTo>
                    <a:pt x="46" y="174"/>
                  </a:lnTo>
                  <a:lnTo>
                    <a:pt x="46" y="173"/>
                  </a:lnTo>
                  <a:lnTo>
                    <a:pt x="46" y="172"/>
                  </a:lnTo>
                  <a:lnTo>
                    <a:pt x="46" y="171"/>
                  </a:lnTo>
                  <a:lnTo>
                    <a:pt x="45" y="170"/>
                  </a:lnTo>
                  <a:lnTo>
                    <a:pt x="44" y="169"/>
                  </a:lnTo>
                  <a:lnTo>
                    <a:pt x="43" y="167"/>
                  </a:lnTo>
                  <a:lnTo>
                    <a:pt x="42" y="166"/>
                  </a:lnTo>
                  <a:lnTo>
                    <a:pt x="41" y="165"/>
                  </a:lnTo>
                  <a:lnTo>
                    <a:pt x="40" y="164"/>
                  </a:lnTo>
                  <a:lnTo>
                    <a:pt x="40" y="163"/>
                  </a:lnTo>
                  <a:lnTo>
                    <a:pt x="39" y="163"/>
                  </a:lnTo>
                  <a:lnTo>
                    <a:pt x="38" y="162"/>
                  </a:lnTo>
                  <a:lnTo>
                    <a:pt x="37" y="162"/>
                  </a:lnTo>
                  <a:lnTo>
                    <a:pt x="36" y="161"/>
                  </a:lnTo>
                  <a:lnTo>
                    <a:pt x="35" y="161"/>
                  </a:lnTo>
                  <a:lnTo>
                    <a:pt x="34" y="160"/>
                  </a:lnTo>
                  <a:lnTo>
                    <a:pt x="32" y="158"/>
                  </a:lnTo>
                  <a:lnTo>
                    <a:pt x="31" y="158"/>
                  </a:lnTo>
                  <a:lnTo>
                    <a:pt x="30" y="157"/>
                  </a:lnTo>
                  <a:lnTo>
                    <a:pt x="30" y="157"/>
                  </a:lnTo>
                  <a:lnTo>
                    <a:pt x="29" y="156"/>
                  </a:lnTo>
                  <a:lnTo>
                    <a:pt x="29" y="155"/>
                  </a:lnTo>
                  <a:lnTo>
                    <a:pt x="28" y="154"/>
                  </a:lnTo>
                  <a:lnTo>
                    <a:pt x="28" y="153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7" y="149"/>
                  </a:lnTo>
                  <a:lnTo>
                    <a:pt x="27" y="148"/>
                  </a:lnTo>
                  <a:lnTo>
                    <a:pt x="27" y="146"/>
                  </a:lnTo>
                  <a:lnTo>
                    <a:pt x="27" y="145"/>
                  </a:lnTo>
                  <a:lnTo>
                    <a:pt x="27" y="143"/>
                  </a:lnTo>
                  <a:lnTo>
                    <a:pt x="27" y="142"/>
                  </a:lnTo>
                  <a:lnTo>
                    <a:pt x="27" y="141"/>
                  </a:lnTo>
                  <a:lnTo>
                    <a:pt x="28" y="136"/>
                  </a:lnTo>
                  <a:lnTo>
                    <a:pt x="30" y="133"/>
                  </a:lnTo>
                  <a:lnTo>
                    <a:pt x="30" y="131"/>
                  </a:lnTo>
                  <a:lnTo>
                    <a:pt x="30" y="130"/>
                  </a:lnTo>
                  <a:lnTo>
                    <a:pt x="30" y="129"/>
                  </a:lnTo>
                  <a:lnTo>
                    <a:pt x="30" y="128"/>
                  </a:lnTo>
                  <a:lnTo>
                    <a:pt x="30" y="127"/>
                  </a:lnTo>
                  <a:lnTo>
                    <a:pt x="30" y="125"/>
                  </a:lnTo>
                  <a:lnTo>
                    <a:pt x="29" y="124"/>
                  </a:lnTo>
                  <a:lnTo>
                    <a:pt x="29" y="122"/>
                  </a:lnTo>
                  <a:lnTo>
                    <a:pt x="28" y="121"/>
                  </a:lnTo>
                  <a:lnTo>
                    <a:pt x="28" y="120"/>
                  </a:lnTo>
                  <a:lnTo>
                    <a:pt x="27" y="117"/>
                  </a:lnTo>
                  <a:lnTo>
                    <a:pt x="26" y="115"/>
                  </a:lnTo>
                  <a:lnTo>
                    <a:pt x="26" y="115"/>
                  </a:lnTo>
                  <a:lnTo>
                    <a:pt x="25" y="114"/>
                  </a:lnTo>
                  <a:lnTo>
                    <a:pt x="24" y="113"/>
                  </a:lnTo>
                  <a:lnTo>
                    <a:pt x="23" y="111"/>
                  </a:lnTo>
                  <a:lnTo>
                    <a:pt x="21" y="109"/>
                  </a:lnTo>
                  <a:lnTo>
                    <a:pt x="21" y="109"/>
                  </a:lnTo>
                  <a:lnTo>
                    <a:pt x="19" y="107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7" y="103"/>
                  </a:lnTo>
                  <a:lnTo>
                    <a:pt x="16" y="102"/>
                  </a:lnTo>
                  <a:lnTo>
                    <a:pt x="15" y="101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2" y="98"/>
                  </a:lnTo>
                  <a:lnTo>
                    <a:pt x="11" y="98"/>
                  </a:lnTo>
                  <a:lnTo>
                    <a:pt x="9" y="97"/>
                  </a:lnTo>
                  <a:lnTo>
                    <a:pt x="8" y="97"/>
                  </a:lnTo>
                  <a:lnTo>
                    <a:pt x="7" y="96"/>
                  </a:lnTo>
                  <a:lnTo>
                    <a:pt x="6" y="96"/>
                  </a:lnTo>
                  <a:lnTo>
                    <a:pt x="5" y="95"/>
                  </a:lnTo>
                  <a:lnTo>
                    <a:pt x="4" y="95"/>
                  </a:lnTo>
                  <a:lnTo>
                    <a:pt x="4" y="94"/>
                  </a:lnTo>
                  <a:lnTo>
                    <a:pt x="3" y="94"/>
                  </a:lnTo>
                  <a:lnTo>
                    <a:pt x="2" y="93"/>
                  </a:lnTo>
                  <a:lnTo>
                    <a:pt x="1" y="92"/>
                  </a:lnTo>
                  <a:lnTo>
                    <a:pt x="1" y="91"/>
                  </a:lnTo>
                  <a:lnTo>
                    <a:pt x="0" y="91"/>
                  </a:lnTo>
                  <a:lnTo>
                    <a:pt x="0" y="90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8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6"/>
                  </a:lnTo>
                  <a:lnTo>
                    <a:pt x="1" y="85"/>
                  </a:lnTo>
                  <a:lnTo>
                    <a:pt x="1" y="85"/>
                  </a:lnTo>
                  <a:lnTo>
                    <a:pt x="2" y="84"/>
                  </a:lnTo>
                  <a:lnTo>
                    <a:pt x="3" y="83"/>
                  </a:lnTo>
                  <a:lnTo>
                    <a:pt x="4" y="82"/>
                  </a:lnTo>
                  <a:lnTo>
                    <a:pt x="5" y="81"/>
                  </a:lnTo>
                  <a:lnTo>
                    <a:pt x="6" y="80"/>
                  </a:lnTo>
                  <a:lnTo>
                    <a:pt x="7" y="80"/>
                  </a:lnTo>
                  <a:lnTo>
                    <a:pt x="8" y="79"/>
                  </a:lnTo>
                  <a:lnTo>
                    <a:pt x="8" y="78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9" y="76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3"/>
                  </a:lnTo>
                  <a:lnTo>
                    <a:pt x="8" y="70"/>
                  </a:lnTo>
                  <a:lnTo>
                    <a:pt x="8" y="69"/>
                  </a:lnTo>
                  <a:lnTo>
                    <a:pt x="7" y="67"/>
                  </a:lnTo>
                  <a:lnTo>
                    <a:pt x="7" y="65"/>
                  </a:lnTo>
                  <a:lnTo>
                    <a:pt x="7" y="64"/>
                  </a:lnTo>
                  <a:lnTo>
                    <a:pt x="6" y="63"/>
                  </a:lnTo>
                  <a:lnTo>
                    <a:pt x="6" y="62"/>
                  </a:lnTo>
                  <a:lnTo>
                    <a:pt x="5" y="61"/>
                  </a:lnTo>
                  <a:lnTo>
                    <a:pt x="4" y="60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5" y="58"/>
                  </a:lnTo>
                  <a:lnTo>
                    <a:pt x="6" y="58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12" y="57"/>
                  </a:lnTo>
                  <a:lnTo>
                    <a:pt x="14" y="57"/>
                  </a:lnTo>
                  <a:lnTo>
                    <a:pt x="16" y="57"/>
                  </a:lnTo>
                  <a:lnTo>
                    <a:pt x="18" y="57"/>
                  </a:lnTo>
                  <a:lnTo>
                    <a:pt x="19" y="57"/>
                  </a:lnTo>
                  <a:lnTo>
                    <a:pt x="21" y="57"/>
                  </a:lnTo>
                  <a:lnTo>
                    <a:pt x="22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4" y="59"/>
                  </a:lnTo>
                  <a:lnTo>
                    <a:pt x="25" y="59"/>
                  </a:lnTo>
                  <a:lnTo>
                    <a:pt x="26" y="60"/>
                  </a:lnTo>
                  <a:lnTo>
                    <a:pt x="27" y="61"/>
                  </a:lnTo>
                  <a:lnTo>
                    <a:pt x="28" y="63"/>
                  </a:lnTo>
                  <a:lnTo>
                    <a:pt x="28" y="64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6"/>
                  </a:lnTo>
                  <a:lnTo>
                    <a:pt x="30" y="70"/>
                  </a:lnTo>
                  <a:lnTo>
                    <a:pt x="30" y="71"/>
                  </a:lnTo>
                  <a:lnTo>
                    <a:pt x="31" y="74"/>
                  </a:lnTo>
                  <a:lnTo>
                    <a:pt x="31" y="75"/>
                  </a:lnTo>
                  <a:lnTo>
                    <a:pt x="32" y="76"/>
                  </a:lnTo>
                  <a:lnTo>
                    <a:pt x="32" y="77"/>
                  </a:lnTo>
                  <a:lnTo>
                    <a:pt x="33" y="78"/>
                  </a:lnTo>
                  <a:lnTo>
                    <a:pt x="33" y="79"/>
                  </a:lnTo>
                  <a:lnTo>
                    <a:pt x="34" y="79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6" y="80"/>
                  </a:lnTo>
                  <a:lnTo>
                    <a:pt x="37" y="81"/>
                  </a:lnTo>
                  <a:lnTo>
                    <a:pt x="42" y="83"/>
                  </a:lnTo>
                  <a:lnTo>
                    <a:pt x="43" y="83"/>
                  </a:lnTo>
                  <a:lnTo>
                    <a:pt x="44" y="83"/>
                  </a:lnTo>
                  <a:lnTo>
                    <a:pt x="45" y="84"/>
                  </a:lnTo>
                  <a:lnTo>
                    <a:pt x="45" y="85"/>
                  </a:lnTo>
                  <a:lnTo>
                    <a:pt x="46" y="85"/>
                  </a:lnTo>
                  <a:lnTo>
                    <a:pt x="46" y="86"/>
                  </a:lnTo>
                  <a:lnTo>
                    <a:pt x="47" y="87"/>
                  </a:lnTo>
                  <a:lnTo>
                    <a:pt x="47" y="87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7" y="89"/>
                  </a:lnTo>
                  <a:lnTo>
                    <a:pt x="46" y="89"/>
                  </a:lnTo>
                  <a:lnTo>
                    <a:pt x="46" y="89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4" y="90"/>
                  </a:lnTo>
                  <a:lnTo>
                    <a:pt x="44" y="91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3"/>
                  </a:lnTo>
                  <a:lnTo>
                    <a:pt x="44" y="94"/>
                  </a:lnTo>
                  <a:lnTo>
                    <a:pt x="45" y="94"/>
                  </a:lnTo>
                  <a:lnTo>
                    <a:pt x="45" y="95"/>
                  </a:lnTo>
                  <a:lnTo>
                    <a:pt x="46" y="96"/>
                  </a:lnTo>
                  <a:lnTo>
                    <a:pt x="47" y="97"/>
                  </a:lnTo>
                  <a:lnTo>
                    <a:pt x="48" y="98"/>
                  </a:lnTo>
                  <a:lnTo>
                    <a:pt x="51" y="100"/>
                  </a:lnTo>
                  <a:lnTo>
                    <a:pt x="51" y="101"/>
                  </a:lnTo>
                  <a:lnTo>
                    <a:pt x="52" y="102"/>
                  </a:lnTo>
                  <a:lnTo>
                    <a:pt x="53" y="103"/>
                  </a:lnTo>
                  <a:lnTo>
                    <a:pt x="54" y="104"/>
                  </a:lnTo>
                  <a:lnTo>
                    <a:pt x="54" y="105"/>
                  </a:lnTo>
                  <a:lnTo>
                    <a:pt x="54" y="105"/>
                  </a:lnTo>
                  <a:lnTo>
                    <a:pt x="54" y="106"/>
                  </a:lnTo>
                  <a:lnTo>
                    <a:pt x="54" y="107"/>
                  </a:lnTo>
                  <a:lnTo>
                    <a:pt x="54" y="109"/>
                  </a:lnTo>
                  <a:lnTo>
                    <a:pt x="54" y="112"/>
                  </a:lnTo>
                  <a:lnTo>
                    <a:pt x="53" y="113"/>
                  </a:lnTo>
                  <a:lnTo>
                    <a:pt x="53" y="115"/>
                  </a:lnTo>
                  <a:lnTo>
                    <a:pt x="53" y="116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8"/>
                  </a:lnTo>
                  <a:lnTo>
                    <a:pt x="53" y="119"/>
                  </a:lnTo>
                  <a:lnTo>
                    <a:pt x="54" y="121"/>
                  </a:lnTo>
                  <a:lnTo>
                    <a:pt x="55" y="122"/>
                  </a:lnTo>
                  <a:lnTo>
                    <a:pt x="56" y="123"/>
                  </a:lnTo>
                  <a:lnTo>
                    <a:pt x="56" y="124"/>
                  </a:lnTo>
                  <a:lnTo>
                    <a:pt x="57" y="125"/>
                  </a:lnTo>
                  <a:lnTo>
                    <a:pt x="57" y="125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6"/>
                  </a:lnTo>
                  <a:lnTo>
                    <a:pt x="60" y="127"/>
                  </a:lnTo>
                  <a:lnTo>
                    <a:pt x="61" y="127"/>
                  </a:lnTo>
                  <a:lnTo>
                    <a:pt x="62" y="127"/>
                  </a:lnTo>
                  <a:lnTo>
                    <a:pt x="63" y="127"/>
                  </a:lnTo>
                  <a:lnTo>
                    <a:pt x="64" y="128"/>
                  </a:lnTo>
                  <a:lnTo>
                    <a:pt x="64" y="127"/>
                  </a:lnTo>
                  <a:lnTo>
                    <a:pt x="65" y="127"/>
                  </a:lnTo>
                  <a:lnTo>
                    <a:pt x="65" y="127"/>
                  </a:lnTo>
                  <a:lnTo>
                    <a:pt x="66" y="127"/>
                  </a:lnTo>
                  <a:lnTo>
                    <a:pt x="66" y="127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7" y="123"/>
                  </a:lnTo>
                  <a:lnTo>
                    <a:pt x="67" y="121"/>
                  </a:lnTo>
                  <a:lnTo>
                    <a:pt x="67" y="120"/>
                  </a:lnTo>
                  <a:lnTo>
                    <a:pt x="67" y="119"/>
                  </a:lnTo>
                  <a:lnTo>
                    <a:pt x="67" y="118"/>
                  </a:lnTo>
                  <a:lnTo>
                    <a:pt x="67" y="116"/>
                  </a:lnTo>
                  <a:lnTo>
                    <a:pt x="67" y="114"/>
                  </a:lnTo>
                  <a:lnTo>
                    <a:pt x="67" y="113"/>
                  </a:lnTo>
                  <a:lnTo>
                    <a:pt x="67" y="112"/>
                  </a:lnTo>
                  <a:lnTo>
                    <a:pt x="67" y="110"/>
                  </a:lnTo>
                  <a:lnTo>
                    <a:pt x="67" y="109"/>
                  </a:lnTo>
                  <a:lnTo>
                    <a:pt x="67" y="105"/>
                  </a:lnTo>
                  <a:lnTo>
                    <a:pt x="68" y="102"/>
                  </a:lnTo>
                  <a:lnTo>
                    <a:pt x="68" y="101"/>
                  </a:lnTo>
                  <a:lnTo>
                    <a:pt x="68" y="100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8"/>
                  </a:lnTo>
                  <a:lnTo>
                    <a:pt x="70" y="98"/>
                  </a:lnTo>
                  <a:lnTo>
                    <a:pt x="70" y="98"/>
                  </a:lnTo>
                  <a:lnTo>
                    <a:pt x="70" y="97"/>
                  </a:lnTo>
                  <a:lnTo>
                    <a:pt x="72" y="97"/>
                  </a:lnTo>
                  <a:lnTo>
                    <a:pt x="73" y="97"/>
                  </a:lnTo>
                  <a:lnTo>
                    <a:pt x="73" y="96"/>
                  </a:lnTo>
                  <a:lnTo>
                    <a:pt x="73" y="96"/>
                  </a:lnTo>
                  <a:lnTo>
                    <a:pt x="74" y="96"/>
                  </a:lnTo>
                  <a:lnTo>
                    <a:pt x="74" y="95"/>
                  </a:lnTo>
                  <a:lnTo>
                    <a:pt x="74" y="94"/>
                  </a:lnTo>
                  <a:lnTo>
                    <a:pt x="74" y="94"/>
                  </a:lnTo>
                  <a:lnTo>
                    <a:pt x="75" y="93"/>
                  </a:lnTo>
                  <a:lnTo>
                    <a:pt x="75" y="91"/>
                  </a:lnTo>
                  <a:lnTo>
                    <a:pt x="75" y="90"/>
                  </a:lnTo>
                  <a:lnTo>
                    <a:pt x="75" y="89"/>
                  </a:lnTo>
                  <a:lnTo>
                    <a:pt x="76" y="87"/>
                  </a:lnTo>
                  <a:lnTo>
                    <a:pt x="76" y="86"/>
                  </a:lnTo>
                  <a:lnTo>
                    <a:pt x="77" y="84"/>
                  </a:lnTo>
                  <a:lnTo>
                    <a:pt x="78" y="82"/>
                  </a:lnTo>
                  <a:lnTo>
                    <a:pt x="78" y="81"/>
                  </a:lnTo>
                  <a:lnTo>
                    <a:pt x="79" y="80"/>
                  </a:lnTo>
                  <a:lnTo>
                    <a:pt x="80" y="79"/>
                  </a:lnTo>
                  <a:lnTo>
                    <a:pt x="81" y="78"/>
                  </a:lnTo>
                  <a:lnTo>
                    <a:pt x="82" y="76"/>
                  </a:lnTo>
                  <a:lnTo>
                    <a:pt x="86" y="73"/>
                  </a:lnTo>
                  <a:lnTo>
                    <a:pt x="86" y="72"/>
                  </a:lnTo>
                  <a:lnTo>
                    <a:pt x="87" y="71"/>
                  </a:lnTo>
                  <a:lnTo>
                    <a:pt x="88" y="70"/>
                  </a:lnTo>
                  <a:lnTo>
                    <a:pt x="88" y="69"/>
                  </a:lnTo>
                  <a:lnTo>
                    <a:pt x="89" y="68"/>
                  </a:lnTo>
                  <a:lnTo>
                    <a:pt x="90" y="65"/>
                  </a:lnTo>
                  <a:lnTo>
                    <a:pt x="91" y="63"/>
                  </a:lnTo>
                  <a:lnTo>
                    <a:pt x="91" y="62"/>
                  </a:lnTo>
                  <a:lnTo>
                    <a:pt x="91" y="62"/>
                  </a:lnTo>
                  <a:lnTo>
                    <a:pt x="91" y="61"/>
                  </a:lnTo>
                  <a:lnTo>
                    <a:pt x="92" y="61"/>
                  </a:lnTo>
                  <a:lnTo>
                    <a:pt x="93" y="60"/>
                  </a:lnTo>
                  <a:lnTo>
                    <a:pt x="94" y="60"/>
                  </a:lnTo>
                  <a:lnTo>
                    <a:pt x="94" y="59"/>
                  </a:lnTo>
                  <a:lnTo>
                    <a:pt x="97" y="58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9" y="56"/>
                  </a:lnTo>
                  <a:lnTo>
                    <a:pt x="100" y="55"/>
                  </a:lnTo>
                  <a:lnTo>
                    <a:pt x="102" y="53"/>
                  </a:lnTo>
                  <a:lnTo>
                    <a:pt x="103" y="51"/>
                  </a:lnTo>
                  <a:lnTo>
                    <a:pt x="105" y="50"/>
                  </a:lnTo>
                  <a:lnTo>
                    <a:pt x="106" y="49"/>
                  </a:lnTo>
                  <a:lnTo>
                    <a:pt x="108" y="48"/>
                  </a:lnTo>
                  <a:lnTo>
                    <a:pt x="109" y="47"/>
                  </a:lnTo>
                  <a:lnTo>
                    <a:pt x="110" y="47"/>
                  </a:lnTo>
                  <a:lnTo>
                    <a:pt x="112" y="46"/>
                  </a:lnTo>
                  <a:lnTo>
                    <a:pt x="113" y="46"/>
                  </a:lnTo>
                  <a:lnTo>
                    <a:pt x="114" y="46"/>
                  </a:lnTo>
                  <a:lnTo>
                    <a:pt x="114" y="46"/>
                  </a:lnTo>
                  <a:lnTo>
                    <a:pt x="115" y="45"/>
                  </a:lnTo>
                  <a:lnTo>
                    <a:pt x="115" y="45"/>
                  </a:lnTo>
                  <a:lnTo>
                    <a:pt x="115" y="44"/>
                  </a:lnTo>
                  <a:lnTo>
                    <a:pt x="116" y="43"/>
                  </a:lnTo>
                  <a:lnTo>
                    <a:pt x="116" y="42"/>
                  </a:lnTo>
                  <a:lnTo>
                    <a:pt x="117" y="39"/>
                  </a:lnTo>
                  <a:lnTo>
                    <a:pt x="118" y="38"/>
                  </a:lnTo>
                  <a:lnTo>
                    <a:pt x="118" y="37"/>
                  </a:lnTo>
                  <a:lnTo>
                    <a:pt x="119" y="35"/>
                  </a:lnTo>
                  <a:lnTo>
                    <a:pt x="120" y="33"/>
                  </a:lnTo>
                  <a:lnTo>
                    <a:pt x="121" y="31"/>
                  </a:lnTo>
                  <a:lnTo>
                    <a:pt x="122" y="31"/>
                  </a:lnTo>
                  <a:lnTo>
                    <a:pt x="123" y="30"/>
                  </a:lnTo>
                  <a:lnTo>
                    <a:pt x="123" y="29"/>
                  </a:lnTo>
                  <a:lnTo>
                    <a:pt x="124" y="29"/>
                  </a:lnTo>
                  <a:lnTo>
                    <a:pt x="125" y="28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8" y="26"/>
                  </a:lnTo>
                  <a:lnTo>
                    <a:pt x="130" y="26"/>
                  </a:lnTo>
                  <a:lnTo>
                    <a:pt x="133" y="25"/>
                  </a:lnTo>
                  <a:lnTo>
                    <a:pt x="137" y="24"/>
                  </a:lnTo>
                  <a:lnTo>
                    <a:pt x="139" y="24"/>
                  </a:lnTo>
                  <a:lnTo>
                    <a:pt x="145" y="22"/>
                  </a:lnTo>
                  <a:lnTo>
                    <a:pt x="150" y="21"/>
                  </a:lnTo>
                  <a:lnTo>
                    <a:pt x="154" y="20"/>
                  </a:lnTo>
                  <a:lnTo>
                    <a:pt x="155" y="20"/>
                  </a:lnTo>
                  <a:lnTo>
                    <a:pt x="156" y="20"/>
                  </a:lnTo>
                  <a:lnTo>
                    <a:pt x="157" y="20"/>
                  </a:lnTo>
                  <a:lnTo>
                    <a:pt x="159" y="20"/>
                  </a:lnTo>
                  <a:lnTo>
                    <a:pt x="160" y="20"/>
                  </a:lnTo>
                  <a:lnTo>
                    <a:pt x="164" y="20"/>
                  </a:lnTo>
                  <a:lnTo>
                    <a:pt x="169" y="20"/>
                  </a:lnTo>
                  <a:lnTo>
                    <a:pt x="171" y="21"/>
                  </a:lnTo>
                  <a:lnTo>
                    <a:pt x="172" y="21"/>
                  </a:lnTo>
                  <a:lnTo>
                    <a:pt x="173" y="21"/>
                  </a:lnTo>
                  <a:lnTo>
                    <a:pt x="174" y="22"/>
                  </a:lnTo>
                  <a:lnTo>
                    <a:pt x="177" y="23"/>
                  </a:lnTo>
                  <a:lnTo>
                    <a:pt x="178" y="24"/>
                  </a:lnTo>
                  <a:lnTo>
                    <a:pt x="179" y="24"/>
                  </a:lnTo>
                  <a:lnTo>
                    <a:pt x="179" y="24"/>
                  </a:lnTo>
                  <a:lnTo>
                    <a:pt x="180" y="24"/>
                  </a:lnTo>
                  <a:lnTo>
                    <a:pt x="181" y="24"/>
                  </a:lnTo>
                  <a:lnTo>
                    <a:pt x="181" y="24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90" y="15"/>
                  </a:lnTo>
                  <a:lnTo>
                    <a:pt x="191" y="14"/>
                  </a:lnTo>
                  <a:lnTo>
                    <a:pt x="192" y="13"/>
                  </a:lnTo>
                  <a:lnTo>
                    <a:pt x="192" y="12"/>
                  </a:lnTo>
                  <a:lnTo>
                    <a:pt x="194" y="12"/>
                  </a:lnTo>
                  <a:lnTo>
                    <a:pt x="195" y="11"/>
                  </a:lnTo>
                  <a:lnTo>
                    <a:pt x="197" y="10"/>
                  </a:lnTo>
                  <a:lnTo>
                    <a:pt x="199" y="9"/>
                  </a:lnTo>
                  <a:lnTo>
                    <a:pt x="201" y="8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5" y="7"/>
                  </a:lnTo>
                  <a:lnTo>
                    <a:pt x="206" y="7"/>
                  </a:lnTo>
                  <a:lnTo>
                    <a:pt x="207" y="7"/>
                  </a:lnTo>
                  <a:lnTo>
                    <a:pt x="207" y="7"/>
                  </a:lnTo>
                  <a:lnTo>
                    <a:pt x="207" y="7"/>
                  </a:lnTo>
                  <a:lnTo>
                    <a:pt x="208" y="7"/>
                  </a:lnTo>
                  <a:lnTo>
                    <a:pt x="210" y="8"/>
                  </a:lnTo>
                  <a:lnTo>
                    <a:pt x="211" y="8"/>
                  </a:lnTo>
                  <a:lnTo>
                    <a:pt x="211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3" y="7"/>
                  </a:lnTo>
                  <a:lnTo>
                    <a:pt x="213" y="7"/>
                  </a:lnTo>
                  <a:lnTo>
                    <a:pt x="213" y="7"/>
                  </a:lnTo>
                  <a:lnTo>
                    <a:pt x="215" y="3"/>
                  </a:lnTo>
                  <a:lnTo>
                    <a:pt x="216" y="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BC8F00"/>
            </a:solidFill>
            <a:ln w="20638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Freeform 53">
              <a:extLst>
                <a:ext uri="{FF2B5EF4-FFF2-40B4-BE49-F238E27FC236}">
                  <a16:creationId xmlns:a16="http://schemas.microsoft.com/office/drawing/2014/main" id="{65148A5F-12BD-2020-E251-20C3F46B25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2866"/>
              <a:ext cx="504" cy="447"/>
            </a:xfrm>
            <a:custGeom>
              <a:avLst/>
              <a:gdLst>
                <a:gd name="T0" fmla="*/ 434 w 504"/>
                <a:gd name="T1" fmla="*/ 15 h 447"/>
                <a:gd name="T2" fmla="*/ 459 w 504"/>
                <a:gd name="T3" fmla="*/ 8 h 447"/>
                <a:gd name="T4" fmla="*/ 472 w 504"/>
                <a:gd name="T5" fmla="*/ 21 h 447"/>
                <a:gd name="T6" fmla="*/ 486 w 504"/>
                <a:gd name="T7" fmla="*/ 47 h 447"/>
                <a:gd name="T8" fmla="*/ 489 w 504"/>
                <a:gd name="T9" fmla="*/ 63 h 447"/>
                <a:gd name="T10" fmla="*/ 497 w 504"/>
                <a:gd name="T11" fmla="*/ 84 h 447"/>
                <a:gd name="T12" fmla="*/ 479 w 504"/>
                <a:gd name="T13" fmla="*/ 108 h 447"/>
                <a:gd name="T14" fmla="*/ 458 w 504"/>
                <a:gd name="T15" fmla="*/ 114 h 447"/>
                <a:gd name="T16" fmla="*/ 445 w 504"/>
                <a:gd name="T17" fmla="*/ 127 h 447"/>
                <a:gd name="T18" fmla="*/ 436 w 504"/>
                <a:gd name="T19" fmla="*/ 148 h 447"/>
                <a:gd name="T20" fmla="*/ 417 w 504"/>
                <a:gd name="T21" fmla="*/ 176 h 447"/>
                <a:gd name="T22" fmla="*/ 425 w 504"/>
                <a:gd name="T23" fmla="*/ 209 h 447"/>
                <a:gd name="T24" fmla="*/ 450 w 504"/>
                <a:gd name="T25" fmla="*/ 247 h 447"/>
                <a:gd name="T26" fmla="*/ 449 w 504"/>
                <a:gd name="T27" fmla="*/ 259 h 447"/>
                <a:gd name="T28" fmla="*/ 445 w 504"/>
                <a:gd name="T29" fmla="*/ 280 h 447"/>
                <a:gd name="T30" fmla="*/ 423 w 504"/>
                <a:gd name="T31" fmla="*/ 289 h 447"/>
                <a:gd name="T32" fmla="*/ 422 w 504"/>
                <a:gd name="T33" fmla="*/ 308 h 447"/>
                <a:gd name="T34" fmla="*/ 407 w 504"/>
                <a:gd name="T35" fmla="*/ 324 h 447"/>
                <a:gd name="T36" fmla="*/ 370 w 504"/>
                <a:gd name="T37" fmla="*/ 331 h 447"/>
                <a:gd name="T38" fmla="*/ 322 w 504"/>
                <a:gd name="T39" fmla="*/ 328 h 447"/>
                <a:gd name="T40" fmla="*/ 307 w 504"/>
                <a:gd name="T41" fmla="*/ 343 h 447"/>
                <a:gd name="T42" fmla="*/ 292 w 504"/>
                <a:gd name="T43" fmla="*/ 355 h 447"/>
                <a:gd name="T44" fmla="*/ 267 w 504"/>
                <a:gd name="T45" fmla="*/ 371 h 447"/>
                <a:gd name="T46" fmla="*/ 249 w 504"/>
                <a:gd name="T47" fmla="*/ 370 h 447"/>
                <a:gd name="T48" fmla="*/ 218 w 504"/>
                <a:gd name="T49" fmla="*/ 381 h 447"/>
                <a:gd name="T50" fmla="*/ 194 w 504"/>
                <a:gd name="T51" fmla="*/ 393 h 447"/>
                <a:gd name="T52" fmla="*/ 164 w 504"/>
                <a:gd name="T53" fmla="*/ 405 h 447"/>
                <a:gd name="T54" fmla="*/ 155 w 504"/>
                <a:gd name="T55" fmla="*/ 424 h 447"/>
                <a:gd name="T56" fmla="*/ 137 w 504"/>
                <a:gd name="T57" fmla="*/ 437 h 447"/>
                <a:gd name="T58" fmla="*/ 122 w 504"/>
                <a:gd name="T59" fmla="*/ 446 h 447"/>
                <a:gd name="T60" fmla="*/ 109 w 504"/>
                <a:gd name="T61" fmla="*/ 440 h 447"/>
                <a:gd name="T62" fmla="*/ 101 w 504"/>
                <a:gd name="T63" fmla="*/ 437 h 447"/>
                <a:gd name="T64" fmla="*/ 83 w 504"/>
                <a:gd name="T65" fmla="*/ 421 h 447"/>
                <a:gd name="T66" fmla="*/ 95 w 504"/>
                <a:gd name="T67" fmla="*/ 416 h 447"/>
                <a:gd name="T68" fmla="*/ 87 w 504"/>
                <a:gd name="T69" fmla="*/ 386 h 447"/>
                <a:gd name="T70" fmla="*/ 82 w 504"/>
                <a:gd name="T71" fmla="*/ 365 h 447"/>
                <a:gd name="T72" fmla="*/ 83 w 504"/>
                <a:gd name="T73" fmla="*/ 331 h 447"/>
                <a:gd name="T74" fmla="*/ 65 w 504"/>
                <a:gd name="T75" fmla="*/ 318 h 447"/>
                <a:gd name="T76" fmla="*/ 45 w 504"/>
                <a:gd name="T77" fmla="*/ 315 h 447"/>
                <a:gd name="T78" fmla="*/ 25 w 504"/>
                <a:gd name="T79" fmla="*/ 301 h 447"/>
                <a:gd name="T80" fmla="*/ 8 w 504"/>
                <a:gd name="T81" fmla="*/ 287 h 447"/>
                <a:gd name="T82" fmla="*/ 26 w 504"/>
                <a:gd name="T83" fmla="*/ 249 h 447"/>
                <a:gd name="T84" fmla="*/ 54 w 504"/>
                <a:gd name="T85" fmla="*/ 245 h 447"/>
                <a:gd name="T86" fmla="*/ 78 w 504"/>
                <a:gd name="T87" fmla="*/ 240 h 447"/>
                <a:gd name="T88" fmla="*/ 94 w 504"/>
                <a:gd name="T89" fmla="*/ 210 h 447"/>
                <a:gd name="T90" fmla="*/ 111 w 504"/>
                <a:gd name="T91" fmla="*/ 211 h 447"/>
                <a:gd name="T92" fmla="*/ 129 w 504"/>
                <a:gd name="T93" fmla="*/ 186 h 447"/>
                <a:gd name="T94" fmla="*/ 151 w 504"/>
                <a:gd name="T95" fmla="*/ 203 h 447"/>
                <a:gd name="T96" fmla="*/ 171 w 504"/>
                <a:gd name="T97" fmla="*/ 182 h 447"/>
                <a:gd name="T98" fmla="*/ 178 w 504"/>
                <a:gd name="T99" fmla="*/ 158 h 447"/>
                <a:gd name="T100" fmla="*/ 209 w 504"/>
                <a:gd name="T101" fmla="*/ 149 h 447"/>
                <a:gd name="T102" fmla="*/ 232 w 504"/>
                <a:gd name="T103" fmla="*/ 149 h 447"/>
                <a:gd name="T104" fmla="*/ 270 w 504"/>
                <a:gd name="T105" fmla="*/ 148 h 447"/>
                <a:gd name="T106" fmla="*/ 283 w 504"/>
                <a:gd name="T107" fmla="*/ 126 h 447"/>
                <a:gd name="T108" fmla="*/ 308 w 504"/>
                <a:gd name="T109" fmla="*/ 110 h 447"/>
                <a:gd name="T110" fmla="*/ 345 w 504"/>
                <a:gd name="T111" fmla="*/ 104 h 447"/>
                <a:gd name="T112" fmla="*/ 388 w 504"/>
                <a:gd name="T113" fmla="*/ 77 h 447"/>
                <a:gd name="T114" fmla="*/ 423 w 504"/>
                <a:gd name="T115" fmla="*/ 72 h 447"/>
                <a:gd name="T116" fmla="*/ 426 w 504"/>
                <a:gd name="T117" fmla="*/ 54 h 447"/>
                <a:gd name="T118" fmla="*/ 408 w 504"/>
                <a:gd name="T119" fmla="*/ 37 h 447"/>
                <a:gd name="T120" fmla="*/ 393 w 504"/>
                <a:gd name="T121" fmla="*/ 30 h 447"/>
                <a:gd name="T122" fmla="*/ 402 w 504"/>
                <a:gd name="T123" fmla="*/ 1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4" h="447">
                  <a:moveTo>
                    <a:pt x="404" y="0"/>
                  </a:moveTo>
                  <a:lnTo>
                    <a:pt x="405" y="0"/>
                  </a:lnTo>
                  <a:lnTo>
                    <a:pt x="405" y="0"/>
                  </a:lnTo>
                  <a:lnTo>
                    <a:pt x="406" y="1"/>
                  </a:lnTo>
                  <a:lnTo>
                    <a:pt x="410" y="3"/>
                  </a:lnTo>
                  <a:lnTo>
                    <a:pt x="411" y="4"/>
                  </a:lnTo>
                  <a:lnTo>
                    <a:pt x="413" y="5"/>
                  </a:lnTo>
                  <a:lnTo>
                    <a:pt x="414" y="5"/>
                  </a:lnTo>
                  <a:lnTo>
                    <a:pt x="415" y="5"/>
                  </a:lnTo>
                  <a:lnTo>
                    <a:pt x="419" y="6"/>
                  </a:lnTo>
                  <a:lnTo>
                    <a:pt x="420" y="6"/>
                  </a:lnTo>
                  <a:lnTo>
                    <a:pt x="421" y="7"/>
                  </a:lnTo>
                  <a:lnTo>
                    <a:pt x="422" y="7"/>
                  </a:lnTo>
                  <a:lnTo>
                    <a:pt x="423" y="8"/>
                  </a:lnTo>
                  <a:lnTo>
                    <a:pt x="425" y="9"/>
                  </a:lnTo>
                  <a:lnTo>
                    <a:pt x="426" y="10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0" y="13"/>
                  </a:lnTo>
                  <a:lnTo>
                    <a:pt x="431" y="14"/>
                  </a:lnTo>
                  <a:lnTo>
                    <a:pt x="432" y="14"/>
                  </a:lnTo>
                  <a:lnTo>
                    <a:pt x="433" y="15"/>
                  </a:lnTo>
                  <a:lnTo>
                    <a:pt x="434" y="15"/>
                  </a:lnTo>
                  <a:lnTo>
                    <a:pt x="435" y="15"/>
                  </a:lnTo>
                  <a:lnTo>
                    <a:pt x="436" y="15"/>
                  </a:lnTo>
                  <a:lnTo>
                    <a:pt x="437" y="15"/>
                  </a:lnTo>
                  <a:lnTo>
                    <a:pt x="438" y="14"/>
                  </a:lnTo>
                  <a:lnTo>
                    <a:pt x="439" y="14"/>
                  </a:lnTo>
                  <a:lnTo>
                    <a:pt x="440" y="14"/>
                  </a:lnTo>
                  <a:lnTo>
                    <a:pt x="444" y="12"/>
                  </a:lnTo>
                  <a:lnTo>
                    <a:pt x="445" y="12"/>
                  </a:lnTo>
                  <a:lnTo>
                    <a:pt x="447" y="11"/>
                  </a:lnTo>
                  <a:lnTo>
                    <a:pt x="448" y="11"/>
                  </a:lnTo>
                  <a:lnTo>
                    <a:pt x="449" y="11"/>
                  </a:lnTo>
                  <a:lnTo>
                    <a:pt x="450" y="11"/>
                  </a:lnTo>
                  <a:lnTo>
                    <a:pt x="451" y="11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5" y="12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8" y="10"/>
                  </a:lnTo>
                  <a:lnTo>
                    <a:pt x="459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2" y="9"/>
                  </a:lnTo>
                  <a:lnTo>
                    <a:pt x="462" y="9"/>
                  </a:lnTo>
                  <a:lnTo>
                    <a:pt x="462" y="11"/>
                  </a:lnTo>
                  <a:lnTo>
                    <a:pt x="462" y="12"/>
                  </a:lnTo>
                  <a:lnTo>
                    <a:pt x="462" y="12"/>
                  </a:lnTo>
                  <a:lnTo>
                    <a:pt x="463" y="13"/>
                  </a:lnTo>
                  <a:lnTo>
                    <a:pt x="463" y="14"/>
                  </a:lnTo>
                  <a:lnTo>
                    <a:pt x="464" y="14"/>
                  </a:lnTo>
                  <a:lnTo>
                    <a:pt x="464" y="15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9" y="18"/>
                  </a:lnTo>
                  <a:lnTo>
                    <a:pt x="470" y="19"/>
                  </a:lnTo>
                  <a:lnTo>
                    <a:pt x="471" y="21"/>
                  </a:lnTo>
                  <a:lnTo>
                    <a:pt x="472" y="21"/>
                  </a:lnTo>
                  <a:lnTo>
                    <a:pt x="473" y="22"/>
                  </a:lnTo>
                  <a:lnTo>
                    <a:pt x="474" y="22"/>
                  </a:lnTo>
                  <a:lnTo>
                    <a:pt x="475" y="22"/>
                  </a:lnTo>
                  <a:lnTo>
                    <a:pt x="478" y="23"/>
                  </a:lnTo>
                  <a:lnTo>
                    <a:pt x="478" y="23"/>
                  </a:lnTo>
                  <a:lnTo>
                    <a:pt x="479" y="24"/>
                  </a:lnTo>
                  <a:lnTo>
                    <a:pt x="480" y="24"/>
                  </a:lnTo>
                  <a:lnTo>
                    <a:pt x="481" y="25"/>
                  </a:lnTo>
                  <a:lnTo>
                    <a:pt x="482" y="26"/>
                  </a:lnTo>
                  <a:lnTo>
                    <a:pt x="483" y="26"/>
                  </a:lnTo>
                  <a:lnTo>
                    <a:pt x="484" y="28"/>
                  </a:lnTo>
                  <a:lnTo>
                    <a:pt x="486" y="30"/>
                  </a:lnTo>
                  <a:lnTo>
                    <a:pt x="487" y="31"/>
                  </a:lnTo>
                  <a:lnTo>
                    <a:pt x="487" y="32"/>
                  </a:lnTo>
                  <a:lnTo>
                    <a:pt x="488" y="34"/>
                  </a:lnTo>
                  <a:lnTo>
                    <a:pt x="488" y="35"/>
                  </a:lnTo>
                  <a:lnTo>
                    <a:pt x="488" y="36"/>
                  </a:lnTo>
                  <a:lnTo>
                    <a:pt x="488" y="38"/>
                  </a:lnTo>
                  <a:lnTo>
                    <a:pt x="488" y="39"/>
                  </a:lnTo>
                  <a:lnTo>
                    <a:pt x="488" y="41"/>
                  </a:lnTo>
                  <a:lnTo>
                    <a:pt x="487" y="43"/>
                  </a:lnTo>
                  <a:lnTo>
                    <a:pt x="487" y="45"/>
                  </a:lnTo>
                  <a:lnTo>
                    <a:pt x="486" y="47"/>
                  </a:lnTo>
                  <a:lnTo>
                    <a:pt x="485" y="50"/>
                  </a:lnTo>
                  <a:lnTo>
                    <a:pt x="484" y="51"/>
                  </a:lnTo>
                  <a:lnTo>
                    <a:pt x="482" y="55"/>
                  </a:lnTo>
                  <a:lnTo>
                    <a:pt x="482" y="56"/>
                  </a:lnTo>
                  <a:lnTo>
                    <a:pt x="481" y="57"/>
                  </a:lnTo>
                  <a:lnTo>
                    <a:pt x="481" y="57"/>
                  </a:lnTo>
                  <a:lnTo>
                    <a:pt x="481" y="59"/>
                  </a:lnTo>
                  <a:lnTo>
                    <a:pt x="481" y="59"/>
                  </a:lnTo>
                  <a:lnTo>
                    <a:pt x="481" y="60"/>
                  </a:lnTo>
                  <a:lnTo>
                    <a:pt x="481" y="60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4" y="63"/>
                  </a:lnTo>
                  <a:lnTo>
                    <a:pt x="485" y="64"/>
                  </a:lnTo>
                  <a:lnTo>
                    <a:pt x="485" y="64"/>
                  </a:lnTo>
                  <a:lnTo>
                    <a:pt x="486" y="64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2"/>
                  </a:lnTo>
                  <a:lnTo>
                    <a:pt x="495" y="61"/>
                  </a:lnTo>
                  <a:lnTo>
                    <a:pt x="497" y="61"/>
                  </a:lnTo>
                  <a:lnTo>
                    <a:pt x="498" y="60"/>
                  </a:lnTo>
                  <a:lnTo>
                    <a:pt x="499" y="60"/>
                  </a:lnTo>
                  <a:lnTo>
                    <a:pt x="500" y="60"/>
                  </a:lnTo>
                  <a:lnTo>
                    <a:pt x="501" y="60"/>
                  </a:lnTo>
                  <a:lnTo>
                    <a:pt x="501" y="60"/>
                  </a:lnTo>
                  <a:lnTo>
                    <a:pt x="502" y="60"/>
                  </a:lnTo>
                  <a:lnTo>
                    <a:pt x="502" y="61"/>
                  </a:lnTo>
                  <a:lnTo>
                    <a:pt x="503" y="61"/>
                  </a:lnTo>
                  <a:lnTo>
                    <a:pt x="503" y="62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4"/>
                  </a:lnTo>
                  <a:lnTo>
                    <a:pt x="504" y="65"/>
                  </a:lnTo>
                  <a:lnTo>
                    <a:pt x="504" y="66"/>
                  </a:lnTo>
                  <a:lnTo>
                    <a:pt x="504" y="68"/>
                  </a:lnTo>
                  <a:lnTo>
                    <a:pt x="504" y="69"/>
                  </a:lnTo>
                  <a:lnTo>
                    <a:pt x="503" y="70"/>
                  </a:lnTo>
                  <a:lnTo>
                    <a:pt x="502" y="73"/>
                  </a:lnTo>
                  <a:lnTo>
                    <a:pt x="501" y="75"/>
                  </a:lnTo>
                  <a:lnTo>
                    <a:pt x="497" y="84"/>
                  </a:lnTo>
                  <a:lnTo>
                    <a:pt x="495" y="90"/>
                  </a:lnTo>
                  <a:lnTo>
                    <a:pt x="495" y="91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4" y="93"/>
                  </a:lnTo>
                  <a:lnTo>
                    <a:pt x="494" y="93"/>
                  </a:lnTo>
                  <a:lnTo>
                    <a:pt x="493" y="95"/>
                  </a:lnTo>
                  <a:lnTo>
                    <a:pt x="491" y="96"/>
                  </a:lnTo>
                  <a:lnTo>
                    <a:pt x="490" y="97"/>
                  </a:lnTo>
                  <a:lnTo>
                    <a:pt x="489" y="98"/>
                  </a:lnTo>
                  <a:lnTo>
                    <a:pt x="487" y="99"/>
                  </a:lnTo>
                  <a:lnTo>
                    <a:pt x="485" y="100"/>
                  </a:lnTo>
                  <a:lnTo>
                    <a:pt x="484" y="101"/>
                  </a:lnTo>
                  <a:lnTo>
                    <a:pt x="482" y="102"/>
                  </a:lnTo>
                  <a:lnTo>
                    <a:pt x="482" y="102"/>
                  </a:lnTo>
                  <a:lnTo>
                    <a:pt x="482" y="103"/>
                  </a:lnTo>
                  <a:lnTo>
                    <a:pt x="481" y="104"/>
                  </a:lnTo>
                  <a:lnTo>
                    <a:pt x="481" y="104"/>
                  </a:lnTo>
                  <a:lnTo>
                    <a:pt x="480" y="105"/>
                  </a:lnTo>
                  <a:lnTo>
                    <a:pt x="480" y="107"/>
                  </a:lnTo>
                  <a:lnTo>
                    <a:pt x="479" y="108"/>
                  </a:lnTo>
                  <a:lnTo>
                    <a:pt x="478" y="114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6" y="116"/>
                  </a:lnTo>
                  <a:lnTo>
                    <a:pt x="476" y="117"/>
                  </a:lnTo>
                  <a:lnTo>
                    <a:pt x="476" y="117"/>
                  </a:lnTo>
                  <a:lnTo>
                    <a:pt x="475" y="118"/>
                  </a:lnTo>
                  <a:lnTo>
                    <a:pt x="475" y="118"/>
                  </a:lnTo>
                  <a:lnTo>
                    <a:pt x="474" y="118"/>
                  </a:lnTo>
                  <a:lnTo>
                    <a:pt x="474" y="119"/>
                  </a:lnTo>
                  <a:lnTo>
                    <a:pt x="473" y="119"/>
                  </a:lnTo>
                  <a:lnTo>
                    <a:pt x="472" y="119"/>
                  </a:lnTo>
                  <a:lnTo>
                    <a:pt x="471" y="119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69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6" y="118"/>
                  </a:lnTo>
                  <a:lnTo>
                    <a:pt x="464" y="118"/>
                  </a:lnTo>
                  <a:lnTo>
                    <a:pt x="463" y="117"/>
                  </a:lnTo>
                  <a:lnTo>
                    <a:pt x="460" y="115"/>
                  </a:lnTo>
                  <a:lnTo>
                    <a:pt x="458" y="114"/>
                  </a:lnTo>
                  <a:lnTo>
                    <a:pt x="457" y="114"/>
                  </a:lnTo>
                  <a:lnTo>
                    <a:pt x="455" y="113"/>
                  </a:lnTo>
                  <a:lnTo>
                    <a:pt x="454" y="112"/>
                  </a:lnTo>
                  <a:lnTo>
                    <a:pt x="453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1" y="112"/>
                  </a:lnTo>
                  <a:lnTo>
                    <a:pt x="450" y="112"/>
                  </a:lnTo>
                  <a:lnTo>
                    <a:pt x="448" y="113"/>
                  </a:lnTo>
                  <a:lnTo>
                    <a:pt x="447" y="113"/>
                  </a:lnTo>
                  <a:lnTo>
                    <a:pt x="447" y="113"/>
                  </a:lnTo>
                  <a:lnTo>
                    <a:pt x="446" y="113"/>
                  </a:lnTo>
                  <a:lnTo>
                    <a:pt x="446" y="113"/>
                  </a:lnTo>
                  <a:lnTo>
                    <a:pt x="446" y="114"/>
                  </a:lnTo>
                  <a:lnTo>
                    <a:pt x="446" y="114"/>
                  </a:lnTo>
                  <a:lnTo>
                    <a:pt x="446" y="115"/>
                  </a:lnTo>
                  <a:lnTo>
                    <a:pt x="446" y="116"/>
                  </a:lnTo>
                  <a:lnTo>
                    <a:pt x="446" y="119"/>
                  </a:lnTo>
                  <a:lnTo>
                    <a:pt x="446" y="121"/>
                  </a:lnTo>
                  <a:lnTo>
                    <a:pt x="446" y="122"/>
                  </a:lnTo>
                  <a:lnTo>
                    <a:pt x="446" y="123"/>
                  </a:lnTo>
                  <a:lnTo>
                    <a:pt x="446" y="126"/>
                  </a:lnTo>
                  <a:lnTo>
                    <a:pt x="445" y="127"/>
                  </a:lnTo>
                  <a:lnTo>
                    <a:pt x="445" y="128"/>
                  </a:lnTo>
                  <a:lnTo>
                    <a:pt x="445" y="128"/>
                  </a:lnTo>
                  <a:lnTo>
                    <a:pt x="444" y="129"/>
                  </a:lnTo>
                  <a:lnTo>
                    <a:pt x="444" y="130"/>
                  </a:lnTo>
                  <a:lnTo>
                    <a:pt x="442" y="132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0" y="134"/>
                  </a:lnTo>
                  <a:lnTo>
                    <a:pt x="440" y="135"/>
                  </a:lnTo>
                  <a:lnTo>
                    <a:pt x="439" y="136"/>
                  </a:lnTo>
                  <a:lnTo>
                    <a:pt x="439" y="137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7" y="141"/>
                  </a:lnTo>
                  <a:lnTo>
                    <a:pt x="437" y="142"/>
                  </a:lnTo>
                  <a:lnTo>
                    <a:pt x="437" y="143"/>
                  </a:lnTo>
                  <a:lnTo>
                    <a:pt x="437" y="144"/>
                  </a:lnTo>
                  <a:lnTo>
                    <a:pt x="437" y="146"/>
                  </a:lnTo>
                  <a:lnTo>
                    <a:pt x="437" y="146"/>
                  </a:lnTo>
                  <a:lnTo>
                    <a:pt x="437" y="147"/>
                  </a:lnTo>
                  <a:lnTo>
                    <a:pt x="436" y="147"/>
                  </a:lnTo>
                  <a:lnTo>
                    <a:pt x="436" y="147"/>
                  </a:lnTo>
                  <a:lnTo>
                    <a:pt x="436" y="148"/>
                  </a:lnTo>
                  <a:lnTo>
                    <a:pt x="435" y="148"/>
                  </a:lnTo>
                  <a:lnTo>
                    <a:pt x="434" y="149"/>
                  </a:lnTo>
                  <a:lnTo>
                    <a:pt x="433" y="149"/>
                  </a:lnTo>
                  <a:lnTo>
                    <a:pt x="433" y="149"/>
                  </a:lnTo>
                  <a:lnTo>
                    <a:pt x="430" y="152"/>
                  </a:lnTo>
                  <a:lnTo>
                    <a:pt x="427" y="154"/>
                  </a:lnTo>
                  <a:lnTo>
                    <a:pt x="426" y="155"/>
                  </a:lnTo>
                  <a:lnTo>
                    <a:pt x="425" y="156"/>
                  </a:lnTo>
                  <a:lnTo>
                    <a:pt x="425" y="156"/>
                  </a:lnTo>
                  <a:lnTo>
                    <a:pt x="424" y="157"/>
                  </a:lnTo>
                  <a:lnTo>
                    <a:pt x="424" y="158"/>
                  </a:lnTo>
                  <a:lnTo>
                    <a:pt x="423" y="159"/>
                  </a:lnTo>
                  <a:lnTo>
                    <a:pt x="423" y="160"/>
                  </a:lnTo>
                  <a:lnTo>
                    <a:pt x="422" y="162"/>
                  </a:lnTo>
                  <a:lnTo>
                    <a:pt x="422" y="163"/>
                  </a:lnTo>
                  <a:lnTo>
                    <a:pt x="422" y="164"/>
                  </a:lnTo>
                  <a:lnTo>
                    <a:pt x="421" y="167"/>
                  </a:lnTo>
                  <a:lnTo>
                    <a:pt x="421" y="168"/>
                  </a:lnTo>
                  <a:lnTo>
                    <a:pt x="421" y="169"/>
                  </a:lnTo>
                  <a:lnTo>
                    <a:pt x="420" y="170"/>
                  </a:lnTo>
                  <a:lnTo>
                    <a:pt x="420" y="171"/>
                  </a:lnTo>
                  <a:lnTo>
                    <a:pt x="418" y="174"/>
                  </a:lnTo>
                  <a:lnTo>
                    <a:pt x="417" y="176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8"/>
                  </a:lnTo>
                  <a:lnTo>
                    <a:pt x="415" y="178"/>
                  </a:lnTo>
                  <a:lnTo>
                    <a:pt x="415" y="179"/>
                  </a:lnTo>
                  <a:lnTo>
                    <a:pt x="415" y="180"/>
                  </a:lnTo>
                  <a:lnTo>
                    <a:pt x="415" y="181"/>
                  </a:lnTo>
                  <a:lnTo>
                    <a:pt x="415" y="182"/>
                  </a:lnTo>
                  <a:lnTo>
                    <a:pt x="416" y="182"/>
                  </a:lnTo>
                  <a:lnTo>
                    <a:pt x="416" y="183"/>
                  </a:lnTo>
                  <a:lnTo>
                    <a:pt x="417" y="185"/>
                  </a:lnTo>
                  <a:lnTo>
                    <a:pt x="417" y="186"/>
                  </a:lnTo>
                  <a:lnTo>
                    <a:pt x="418" y="187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19" y="193"/>
                  </a:lnTo>
                  <a:lnTo>
                    <a:pt x="419" y="196"/>
                  </a:lnTo>
                  <a:lnTo>
                    <a:pt x="420" y="196"/>
                  </a:lnTo>
                  <a:lnTo>
                    <a:pt x="420" y="198"/>
                  </a:lnTo>
                  <a:lnTo>
                    <a:pt x="421" y="199"/>
                  </a:lnTo>
                  <a:lnTo>
                    <a:pt x="422" y="201"/>
                  </a:lnTo>
                  <a:lnTo>
                    <a:pt x="423" y="205"/>
                  </a:lnTo>
                  <a:lnTo>
                    <a:pt x="425" y="209"/>
                  </a:lnTo>
                  <a:lnTo>
                    <a:pt x="426" y="210"/>
                  </a:lnTo>
                  <a:lnTo>
                    <a:pt x="427" y="211"/>
                  </a:lnTo>
                  <a:lnTo>
                    <a:pt x="428" y="213"/>
                  </a:lnTo>
                  <a:lnTo>
                    <a:pt x="428" y="214"/>
                  </a:lnTo>
                  <a:lnTo>
                    <a:pt x="430" y="216"/>
                  </a:lnTo>
                  <a:lnTo>
                    <a:pt x="430" y="217"/>
                  </a:lnTo>
                  <a:lnTo>
                    <a:pt x="431" y="218"/>
                  </a:lnTo>
                  <a:lnTo>
                    <a:pt x="432" y="220"/>
                  </a:lnTo>
                  <a:lnTo>
                    <a:pt x="433" y="222"/>
                  </a:lnTo>
                  <a:lnTo>
                    <a:pt x="433" y="223"/>
                  </a:lnTo>
                  <a:lnTo>
                    <a:pt x="436" y="230"/>
                  </a:lnTo>
                  <a:lnTo>
                    <a:pt x="436" y="230"/>
                  </a:lnTo>
                  <a:lnTo>
                    <a:pt x="437" y="231"/>
                  </a:lnTo>
                  <a:lnTo>
                    <a:pt x="439" y="236"/>
                  </a:lnTo>
                  <a:lnTo>
                    <a:pt x="441" y="240"/>
                  </a:lnTo>
                  <a:lnTo>
                    <a:pt x="442" y="240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44" y="243"/>
                  </a:lnTo>
                  <a:lnTo>
                    <a:pt x="445" y="243"/>
                  </a:lnTo>
                  <a:lnTo>
                    <a:pt x="447" y="245"/>
                  </a:lnTo>
                  <a:lnTo>
                    <a:pt x="448" y="246"/>
                  </a:lnTo>
                  <a:lnTo>
                    <a:pt x="450" y="247"/>
                  </a:lnTo>
                  <a:lnTo>
                    <a:pt x="451" y="248"/>
                  </a:lnTo>
                  <a:lnTo>
                    <a:pt x="451" y="249"/>
                  </a:lnTo>
                  <a:lnTo>
                    <a:pt x="452" y="249"/>
                  </a:lnTo>
                  <a:lnTo>
                    <a:pt x="453" y="250"/>
                  </a:lnTo>
                  <a:lnTo>
                    <a:pt x="453" y="251"/>
                  </a:lnTo>
                  <a:lnTo>
                    <a:pt x="454" y="252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5"/>
                  </a:lnTo>
                  <a:lnTo>
                    <a:pt x="455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3" y="254"/>
                  </a:lnTo>
                  <a:lnTo>
                    <a:pt x="453" y="255"/>
                  </a:lnTo>
                  <a:lnTo>
                    <a:pt x="452" y="255"/>
                  </a:lnTo>
                  <a:lnTo>
                    <a:pt x="452" y="256"/>
                  </a:lnTo>
                  <a:lnTo>
                    <a:pt x="451" y="256"/>
                  </a:lnTo>
                  <a:lnTo>
                    <a:pt x="450" y="257"/>
                  </a:lnTo>
                  <a:lnTo>
                    <a:pt x="450" y="258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60"/>
                  </a:lnTo>
                  <a:lnTo>
                    <a:pt x="449" y="260"/>
                  </a:lnTo>
                  <a:lnTo>
                    <a:pt x="449" y="261"/>
                  </a:lnTo>
                  <a:lnTo>
                    <a:pt x="449" y="262"/>
                  </a:lnTo>
                  <a:lnTo>
                    <a:pt x="449" y="262"/>
                  </a:lnTo>
                  <a:lnTo>
                    <a:pt x="449" y="264"/>
                  </a:lnTo>
                  <a:lnTo>
                    <a:pt x="450" y="267"/>
                  </a:lnTo>
                  <a:lnTo>
                    <a:pt x="450" y="269"/>
                  </a:lnTo>
                  <a:lnTo>
                    <a:pt x="450" y="270"/>
                  </a:lnTo>
                  <a:lnTo>
                    <a:pt x="450" y="273"/>
                  </a:lnTo>
                  <a:lnTo>
                    <a:pt x="450" y="274"/>
                  </a:lnTo>
                  <a:lnTo>
                    <a:pt x="450" y="275"/>
                  </a:lnTo>
                  <a:lnTo>
                    <a:pt x="450" y="275"/>
                  </a:lnTo>
                  <a:lnTo>
                    <a:pt x="450" y="276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7" y="279"/>
                  </a:lnTo>
                  <a:lnTo>
                    <a:pt x="445" y="280"/>
                  </a:lnTo>
                  <a:lnTo>
                    <a:pt x="442" y="281"/>
                  </a:lnTo>
                  <a:lnTo>
                    <a:pt x="439" y="281"/>
                  </a:lnTo>
                  <a:lnTo>
                    <a:pt x="438" y="282"/>
                  </a:lnTo>
                  <a:lnTo>
                    <a:pt x="438" y="282"/>
                  </a:lnTo>
                  <a:lnTo>
                    <a:pt x="437" y="282"/>
                  </a:lnTo>
                  <a:lnTo>
                    <a:pt x="437" y="283"/>
                  </a:lnTo>
                  <a:lnTo>
                    <a:pt x="436" y="286"/>
                  </a:lnTo>
                  <a:lnTo>
                    <a:pt x="434" y="288"/>
                  </a:lnTo>
                  <a:lnTo>
                    <a:pt x="434" y="289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2" y="291"/>
                  </a:lnTo>
                  <a:lnTo>
                    <a:pt x="431" y="291"/>
                  </a:lnTo>
                  <a:lnTo>
                    <a:pt x="430" y="291"/>
                  </a:lnTo>
                  <a:lnTo>
                    <a:pt x="429" y="291"/>
                  </a:lnTo>
                  <a:lnTo>
                    <a:pt x="428" y="291"/>
                  </a:lnTo>
                  <a:lnTo>
                    <a:pt x="424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2" y="289"/>
                  </a:lnTo>
                  <a:lnTo>
                    <a:pt x="422" y="289"/>
                  </a:lnTo>
                  <a:lnTo>
                    <a:pt x="421" y="289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1"/>
                  </a:lnTo>
                  <a:lnTo>
                    <a:pt x="420" y="292"/>
                  </a:lnTo>
                  <a:lnTo>
                    <a:pt x="420" y="294"/>
                  </a:lnTo>
                  <a:lnTo>
                    <a:pt x="420" y="296"/>
                  </a:lnTo>
                  <a:lnTo>
                    <a:pt x="420" y="297"/>
                  </a:lnTo>
                  <a:lnTo>
                    <a:pt x="420" y="298"/>
                  </a:lnTo>
                  <a:lnTo>
                    <a:pt x="420" y="299"/>
                  </a:lnTo>
                  <a:lnTo>
                    <a:pt x="420" y="300"/>
                  </a:lnTo>
                  <a:lnTo>
                    <a:pt x="420" y="301"/>
                  </a:lnTo>
                  <a:lnTo>
                    <a:pt x="421" y="302"/>
                  </a:lnTo>
                  <a:lnTo>
                    <a:pt x="421" y="305"/>
                  </a:lnTo>
                  <a:lnTo>
                    <a:pt x="422" y="306"/>
                  </a:lnTo>
                  <a:lnTo>
                    <a:pt x="422" y="307"/>
                  </a:lnTo>
                  <a:lnTo>
                    <a:pt x="422" y="308"/>
                  </a:lnTo>
                  <a:lnTo>
                    <a:pt x="422" y="309"/>
                  </a:lnTo>
                  <a:lnTo>
                    <a:pt x="422" y="311"/>
                  </a:lnTo>
                  <a:lnTo>
                    <a:pt x="422" y="312"/>
                  </a:lnTo>
                  <a:lnTo>
                    <a:pt x="421" y="313"/>
                  </a:lnTo>
                  <a:lnTo>
                    <a:pt x="421" y="315"/>
                  </a:lnTo>
                  <a:lnTo>
                    <a:pt x="420" y="319"/>
                  </a:lnTo>
                  <a:lnTo>
                    <a:pt x="420" y="320"/>
                  </a:lnTo>
                  <a:lnTo>
                    <a:pt x="420" y="321"/>
                  </a:lnTo>
                  <a:lnTo>
                    <a:pt x="419" y="322"/>
                  </a:lnTo>
                  <a:lnTo>
                    <a:pt x="419" y="323"/>
                  </a:lnTo>
                  <a:lnTo>
                    <a:pt x="418" y="323"/>
                  </a:lnTo>
                  <a:lnTo>
                    <a:pt x="418" y="324"/>
                  </a:lnTo>
                  <a:lnTo>
                    <a:pt x="418" y="324"/>
                  </a:lnTo>
                  <a:lnTo>
                    <a:pt x="417" y="324"/>
                  </a:lnTo>
                  <a:lnTo>
                    <a:pt x="417" y="325"/>
                  </a:lnTo>
                  <a:lnTo>
                    <a:pt x="416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3" y="325"/>
                  </a:lnTo>
                  <a:lnTo>
                    <a:pt x="411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4"/>
                  </a:lnTo>
                  <a:lnTo>
                    <a:pt x="401" y="325"/>
                  </a:lnTo>
                  <a:lnTo>
                    <a:pt x="395" y="326"/>
                  </a:lnTo>
                  <a:lnTo>
                    <a:pt x="394" y="326"/>
                  </a:lnTo>
                  <a:lnTo>
                    <a:pt x="393" y="326"/>
                  </a:lnTo>
                  <a:lnTo>
                    <a:pt x="392" y="327"/>
                  </a:lnTo>
                  <a:lnTo>
                    <a:pt x="391" y="327"/>
                  </a:lnTo>
                  <a:lnTo>
                    <a:pt x="391" y="327"/>
                  </a:lnTo>
                  <a:lnTo>
                    <a:pt x="390" y="328"/>
                  </a:lnTo>
                  <a:lnTo>
                    <a:pt x="388" y="330"/>
                  </a:lnTo>
                  <a:lnTo>
                    <a:pt x="387" y="331"/>
                  </a:lnTo>
                  <a:lnTo>
                    <a:pt x="386" y="332"/>
                  </a:lnTo>
                  <a:lnTo>
                    <a:pt x="385" y="332"/>
                  </a:lnTo>
                  <a:lnTo>
                    <a:pt x="384" y="333"/>
                  </a:lnTo>
                  <a:lnTo>
                    <a:pt x="384" y="333"/>
                  </a:lnTo>
                  <a:lnTo>
                    <a:pt x="383" y="333"/>
                  </a:lnTo>
                  <a:lnTo>
                    <a:pt x="383" y="333"/>
                  </a:lnTo>
                  <a:lnTo>
                    <a:pt x="382" y="333"/>
                  </a:lnTo>
                  <a:lnTo>
                    <a:pt x="381" y="333"/>
                  </a:lnTo>
                  <a:lnTo>
                    <a:pt x="379" y="333"/>
                  </a:lnTo>
                  <a:lnTo>
                    <a:pt x="376" y="332"/>
                  </a:lnTo>
                  <a:lnTo>
                    <a:pt x="372" y="331"/>
                  </a:lnTo>
                  <a:lnTo>
                    <a:pt x="370" y="331"/>
                  </a:lnTo>
                  <a:lnTo>
                    <a:pt x="368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6" y="330"/>
                  </a:lnTo>
                  <a:lnTo>
                    <a:pt x="365" y="330"/>
                  </a:lnTo>
                  <a:lnTo>
                    <a:pt x="365" y="331"/>
                  </a:lnTo>
                  <a:lnTo>
                    <a:pt x="363" y="332"/>
                  </a:lnTo>
                  <a:lnTo>
                    <a:pt x="361" y="332"/>
                  </a:lnTo>
                  <a:lnTo>
                    <a:pt x="359" y="332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3" y="333"/>
                  </a:lnTo>
                  <a:lnTo>
                    <a:pt x="350" y="333"/>
                  </a:lnTo>
                  <a:lnTo>
                    <a:pt x="348" y="333"/>
                  </a:lnTo>
                  <a:lnTo>
                    <a:pt x="346" y="333"/>
                  </a:lnTo>
                  <a:lnTo>
                    <a:pt x="340" y="332"/>
                  </a:lnTo>
                  <a:lnTo>
                    <a:pt x="338" y="332"/>
                  </a:lnTo>
                  <a:lnTo>
                    <a:pt x="336" y="332"/>
                  </a:lnTo>
                  <a:lnTo>
                    <a:pt x="333" y="331"/>
                  </a:lnTo>
                  <a:lnTo>
                    <a:pt x="329" y="330"/>
                  </a:lnTo>
                  <a:lnTo>
                    <a:pt x="325" y="329"/>
                  </a:lnTo>
                  <a:lnTo>
                    <a:pt x="323" y="328"/>
                  </a:lnTo>
                  <a:lnTo>
                    <a:pt x="322" y="328"/>
                  </a:lnTo>
                  <a:lnTo>
                    <a:pt x="317" y="328"/>
                  </a:lnTo>
                  <a:lnTo>
                    <a:pt x="316" y="328"/>
                  </a:lnTo>
                  <a:lnTo>
                    <a:pt x="315" y="328"/>
                  </a:lnTo>
                  <a:lnTo>
                    <a:pt x="314" y="328"/>
                  </a:lnTo>
                  <a:lnTo>
                    <a:pt x="313" y="328"/>
                  </a:lnTo>
                  <a:lnTo>
                    <a:pt x="313" y="328"/>
                  </a:lnTo>
                  <a:lnTo>
                    <a:pt x="312" y="329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09" y="331"/>
                  </a:lnTo>
                  <a:lnTo>
                    <a:pt x="309" y="331"/>
                  </a:lnTo>
                  <a:lnTo>
                    <a:pt x="308" y="332"/>
                  </a:lnTo>
                  <a:lnTo>
                    <a:pt x="307" y="333"/>
                  </a:lnTo>
                  <a:lnTo>
                    <a:pt x="307" y="333"/>
                  </a:lnTo>
                  <a:lnTo>
                    <a:pt x="307" y="334"/>
                  </a:lnTo>
                  <a:lnTo>
                    <a:pt x="307" y="335"/>
                  </a:lnTo>
                  <a:lnTo>
                    <a:pt x="307" y="335"/>
                  </a:lnTo>
                  <a:lnTo>
                    <a:pt x="307" y="336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4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4" y="346"/>
                  </a:lnTo>
                  <a:lnTo>
                    <a:pt x="304" y="346"/>
                  </a:lnTo>
                  <a:lnTo>
                    <a:pt x="302" y="346"/>
                  </a:lnTo>
                  <a:lnTo>
                    <a:pt x="301" y="346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298" y="347"/>
                  </a:lnTo>
                  <a:lnTo>
                    <a:pt x="298" y="347"/>
                  </a:lnTo>
                  <a:lnTo>
                    <a:pt x="297" y="347"/>
                  </a:lnTo>
                  <a:lnTo>
                    <a:pt x="297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2"/>
                  </a:lnTo>
                  <a:lnTo>
                    <a:pt x="295" y="353"/>
                  </a:lnTo>
                  <a:lnTo>
                    <a:pt x="294" y="353"/>
                  </a:lnTo>
                  <a:lnTo>
                    <a:pt x="292" y="355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89" y="357"/>
                  </a:lnTo>
                  <a:lnTo>
                    <a:pt x="288" y="358"/>
                  </a:lnTo>
                  <a:lnTo>
                    <a:pt x="287" y="359"/>
                  </a:lnTo>
                  <a:lnTo>
                    <a:pt x="286" y="359"/>
                  </a:lnTo>
                  <a:lnTo>
                    <a:pt x="285" y="359"/>
                  </a:lnTo>
                  <a:lnTo>
                    <a:pt x="282" y="360"/>
                  </a:lnTo>
                  <a:lnTo>
                    <a:pt x="281" y="361"/>
                  </a:lnTo>
                  <a:lnTo>
                    <a:pt x="280" y="361"/>
                  </a:lnTo>
                  <a:lnTo>
                    <a:pt x="278" y="361"/>
                  </a:lnTo>
                  <a:lnTo>
                    <a:pt x="278" y="362"/>
                  </a:lnTo>
                  <a:lnTo>
                    <a:pt x="277" y="362"/>
                  </a:lnTo>
                  <a:lnTo>
                    <a:pt x="276" y="363"/>
                  </a:lnTo>
                  <a:lnTo>
                    <a:pt x="275" y="364"/>
                  </a:lnTo>
                  <a:lnTo>
                    <a:pt x="274" y="364"/>
                  </a:lnTo>
                  <a:lnTo>
                    <a:pt x="273" y="365"/>
                  </a:lnTo>
                  <a:lnTo>
                    <a:pt x="272" y="367"/>
                  </a:lnTo>
                  <a:lnTo>
                    <a:pt x="270" y="369"/>
                  </a:lnTo>
                  <a:lnTo>
                    <a:pt x="269" y="370"/>
                  </a:lnTo>
                  <a:lnTo>
                    <a:pt x="268" y="371"/>
                  </a:lnTo>
                  <a:lnTo>
                    <a:pt x="268" y="371"/>
                  </a:lnTo>
                  <a:lnTo>
                    <a:pt x="267" y="371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5" y="372"/>
                  </a:lnTo>
                  <a:lnTo>
                    <a:pt x="265" y="372"/>
                  </a:lnTo>
                  <a:lnTo>
                    <a:pt x="264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3" y="371"/>
                  </a:lnTo>
                  <a:lnTo>
                    <a:pt x="262" y="371"/>
                  </a:lnTo>
                  <a:lnTo>
                    <a:pt x="261" y="370"/>
                  </a:lnTo>
                  <a:lnTo>
                    <a:pt x="259" y="368"/>
                  </a:lnTo>
                  <a:lnTo>
                    <a:pt x="259" y="368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4" y="366"/>
                  </a:lnTo>
                  <a:lnTo>
                    <a:pt x="253" y="366"/>
                  </a:lnTo>
                  <a:lnTo>
                    <a:pt x="253" y="367"/>
                  </a:lnTo>
                  <a:lnTo>
                    <a:pt x="252" y="367"/>
                  </a:lnTo>
                  <a:lnTo>
                    <a:pt x="251" y="368"/>
                  </a:lnTo>
                  <a:lnTo>
                    <a:pt x="250" y="369"/>
                  </a:lnTo>
                  <a:lnTo>
                    <a:pt x="249" y="370"/>
                  </a:lnTo>
                  <a:lnTo>
                    <a:pt x="246" y="373"/>
                  </a:lnTo>
                  <a:lnTo>
                    <a:pt x="244" y="374"/>
                  </a:lnTo>
                  <a:lnTo>
                    <a:pt x="244" y="375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8" y="378"/>
                  </a:lnTo>
                  <a:lnTo>
                    <a:pt x="236" y="380"/>
                  </a:lnTo>
                  <a:lnTo>
                    <a:pt x="235" y="380"/>
                  </a:lnTo>
                  <a:lnTo>
                    <a:pt x="234" y="381"/>
                  </a:lnTo>
                  <a:lnTo>
                    <a:pt x="233" y="381"/>
                  </a:lnTo>
                  <a:lnTo>
                    <a:pt x="232" y="381"/>
                  </a:lnTo>
                  <a:lnTo>
                    <a:pt x="231" y="381"/>
                  </a:lnTo>
                  <a:lnTo>
                    <a:pt x="230" y="381"/>
                  </a:lnTo>
                  <a:lnTo>
                    <a:pt x="228" y="381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2"/>
                  </a:lnTo>
                  <a:lnTo>
                    <a:pt x="220" y="382"/>
                  </a:lnTo>
                  <a:lnTo>
                    <a:pt x="218" y="381"/>
                  </a:lnTo>
                  <a:lnTo>
                    <a:pt x="217" y="381"/>
                  </a:lnTo>
                  <a:lnTo>
                    <a:pt x="215" y="381"/>
                  </a:lnTo>
                  <a:lnTo>
                    <a:pt x="214" y="380"/>
                  </a:lnTo>
                  <a:lnTo>
                    <a:pt x="214" y="380"/>
                  </a:lnTo>
                  <a:lnTo>
                    <a:pt x="213" y="380"/>
                  </a:lnTo>
                  <a:lnTo>
                    <a:pt x="212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09" y="379"/>
                  </a:lnTo>
                  <a:lnTo>
                    <a:pt x="208" y="380"/>
                  </a:lnTo>
                  <a:lnTo>
                    <a:pt x="207" y="381"/>
                  </a:lnTo>
                  <a:lnTo>
                    <a:pt x="203" y="385"/>
                  </a:lnTo>
                  <a:lnTo>
                    <a:pt x="200" y="387"/>
                  </a:lnTo>
                  <a:lnTo>
                    <a:pt x="198" y="389"/>
                  </a:lnTo>
                  <a:lnTo>
                    <a:pt x="198" y="389"/>
                  </a:lnTo>
                  <a:lnTo>
                    <a:pt x="197" y="390"/>
                  </a:lnTo>
                  <a:lnTo>
                    <a:pt x="196" y="391"/>
                  </a:lnTo>
                  <a:lnTo>
                    <a:pt x="195" y="393"/>
                  </a:lnTo>
                  <a:lnTo>
                    <a:pt x="194" y="393"/>
                  </a:lnTo>
                  <a:lnTo>
                    <a:pt x="193" y="394"/>
                  </a:lnTo>
                  <a:lnTo>
                    <a:pt x="192" y="395"/>
                  </a:lnTo>
                  <a:lnTo>
                    <a:pt x="191" y="395"/>
                  </a:lnTo>
                  <a:lnTo>
                    <a:pt x="190" y="396"/>
                  </a:lnTo>
                  <a:lnTo>
                    <a:pt x="188" y="396"/>
                  </a:lnTo>
                  <a:lnTo>
                    <a:pt x="186" y="397"/>
                  </a:lnTo>
                  <a:lnTo>
                    <a:pt x="185" y="397"/>
                  </a:lnTo>
                  <a:lnTo>
                    <a:pt x="183" y="397"/>
                  </a:lnTo>
                  <a:lnTo>
                    <a:pt x="182" y="397"/>
                  </a:lnTo>
                  <a:lnTo>
                    <a:pt x="181" y="397"/>
                  </a:lnTo>
                  <a:lnTo>
                    <a:pt x="179" y="397"/>
                  </a:lnTo>
                  <a:lnTo>
                    <a:pt x="178" y="397"/>
                  </a:lnTo>
                  <a:lnTo>
                    <a:pt x="176" y="397"/>
                  </a:lnTo>
                  <a:lnTo>
                    <a:pt x="175" y="397"/>
                  </a:lnTo>
                  <a:lnTo>
                    <a:pt x="174" y="398"/>
                  </a:lnTo>
                  <a:lnTo>
                    <a:pt x="173" y="398"/>
                  </a:lnTo>
                  <a:lnTo>
                    <a:pt x="172" y="399"/>
                  </a:lnTo>
                  <a:lnTo>
                    <a:pt x="171" y="400"/>
                  </a:lnTo>
                  <a:lnTo>
                    <a:pt x="169" y="401"/>
                  </a:lnTo>
                  <a:lnTo>
                    <a:pt x="167" y="402"/>
                  </a:lnTo>
                  <a:lnTo>
                    <a:pt x="167" y="403"/>
                  </a:lnTo>
                  <a:lnTo>
                    <a:pt x="165" y="404"/>
                  </a:lnTo>
                  <a:lnTo>
                    <a:pt x="164" y="405"/>
                  </a:lnTo>
                  <a:lnTo>
                    <a:pt x="162" y="406"/>
                  </a:lnTo>
                  <a:lnTo>
                    <a:pt x="160" y="408"/>
                  </a:lnTo>
                  <a:lnTo>
                    <a:pt x="160" y="409"/>
                  </a:lnTo>
                  <a:lnTo>
                    <a:pt x="159" y="409"/>
                  </a:lnTo>
                  <a:lnTo>
                    <a:pt x="159" y="410"/>
                  </a:lnTo>
                  <a:lnTo>
                    <a:pt x="159" y="410"/>
                  </a:lnTo>
                  <a:lnTo>
                    <a:pt x="158" y="411"/>
                  </a:lnTo>
                  <a:lnTo>
                    <a:pt x="158" y="412"/>
                  </a:lnTo>
                  <a:lnTo>
                    <a:pt x="158" y="415"/>
                  </a:lnTo>
                  <a:lnTo>
                    <a:pt x="158" y="415"/>
                  </a:lnTo>
                  <a:lnTo>
                    <a:pt x="157" y="416"/>
                  </a:lnTo>
                  <a:lnTo>
                    <a:pt x="157" y="418"/>
                  </a:lnTo>
                  <a:lnTo>
                    <a:pt x="157" y="418"/>
                  </a:lnTo>
                  <a:lnTo>
                    <a:pt x="157" y="419"/>
                  </a:lnTo>
                  <a:lnTo>
                    <a:pt x="157" y="420"/>
                  </a:lnTo>
                  <a:lnTo>
                    <a:pt x="157" y="421"/>
                  </a:lnTo>
                  <a:lnTo>
                    <a:pt x="157" y="422"/>
                  </a:lnTo>
                  <a:lnTo>
                    <a:pt x="156" y="423"/>
                  </a:lnTo>
                  <a:lnTo>
                    <a:pt x="156" y="423"/>
                  </a:lnTo>
                  <a:lnTo>
                    <a:pt x="156" y="424"/>
                  </a:lnTo>
                  <a:lnTo>
                    <a:pt x="156" y="424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3" y="425"/>
                  </a:lnTo>
                  <a:lnTo>
                    <a:pt x="153" y="426"/>
                  </a:lnTo>
                  <a:lnTo>
                    <a:pt x="152" y="426"/>
                  </a:lnTo>
                  <a:lnTo>
                    <a:pt x="152" y="426"/>
                  </a:lnTo>
                  <a:lnTo>
                    <a:pt x="152" y="427"/>
                  </a:lnTo>
                  <a:lnTo>
                    <a:pt x="151" y="429"/>
                  </a:lnTo>
                  <a:lnTo>
                    <a:pt x="150" y="430"/>
                  </a:lnTo>
                  <a:lnTo>
                    <a:pt x="150" y="431"/>
                  </a:lnTo>
                  <a:lnTo>
                    <a:pt x="149" y="433"/>
                  </a:lnTo>
                  <a:lnTo>
                    <a:pt x="148" y="433"/>
                  </a:lnTo>
                  <a:lnTo>
                    <a:pt x="148" y="434"/>
                  </a:lnTo>
                  <a:lnTo>
                    <a:pt x="147" y="434"/>
                  </a:lnTo>
                  <a:lnTo>
                    <a:pt x="147" y="434"/>
                  </a:lnTo>
                  <a:lnTo>
                    <a:pt x="146" y="434"/>
                  </a:lnTo>
                  <a:lnTo>
                    <a:pt x="145" y="434"/>
                  </a:lnTo>
                  <a:lnTo>
                    <a:pt x="144" y="434"/>
                  </a:lnTo>
                  <a:lnTo>
                    <a:pt x="143" y="434"/>
                  </a:lnTo>
                  <a:lnTo>
                    <a:pt x="142" y="435"/>
                  </a:lnTo>
                  <a:lnTo>
                    <a:pt x="141" y="435"/>
                  </a:lnTo>
                  <a:lnTo>
                    <a:pt x="140" y="435"/>
                  </a:lnTo>
                  <a:lnTo>
                    <a:pt x="139" y="436"/>
                  </a:lnTo>
                  <a:lnTo>
                    <a:pt x="138" y="436"/>
                  </a:lnTo>
                  <a:lnTo>
                    <a:pt x="137" y="437"/>
                  </a:lnTo>
                  <a:lnTo>
                    <a:pt x="136" y="438"/>
                  </a:lnTo>
                  <a:lnTo>
                    <a:pt x="135" y="439"/>
                  </a:lnTo>
                  <a:lnTo>
                    <a:pt x="134" y="440"/>
                  </a:lnTo>
                  <a:lnTo>
                    <a:pt x="133" y="440"/>
                  </a:lnTo>
                  <a:lnTo>
                    <a:pt x="133" y="441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2" y="443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0" y="445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5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3" y="447"/>
                  </a:lnTo>
                  <a:lnTo>
                    <a:pt x="123" y="447"/>
                  </a:lnTo>
                  <a:lnTo>
                    <a:pt x="123" y="446"/>
                  </a:lnTo>
                  <a:lnTo>
                    <a:pt x="122" y="446"/>
                  </a:lnTo>
                  <a:lnTo>
                    <a:pt x="122" y="446"/>
                  </a:lnTo>
                  <a:lnTo>
                    <a:pt x="122" y="445"/>
                  </a:lnTo>
                  <a:lnTo>
                    <a:pt x="121" y="443"/>
                  </a:lnTo>
                  <a:lnTo>
                    <a:pt x="121" y="442"/>
                  </a:lnTo>
                  <a:lnTo>
                    <a:pt x="120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7" y="436"/>
                  </a:lnTo>
                  <a:lnTo>
                    <a:pt x="116" y="437"/>
                  </a:lnTo>
                  <a:lnTo>
                    <a:pt x="115" y="437"/>
                  </a:lnTo>
                  <a:lnTo>
                    <a:pt x="115" y="437"/>
                  </a:lnTo>
                  <a:lnTo>
                    <a:pt x="114" y="438"/>
                  </a:lnTo>
                  <a:lnTo>
                    <a:pt x="114" y="438"/>
                  </a:lnTo>
                  <a:lnTo>
                    <a:pt x="112" y="440"/>
                  </a:lnTo>
                  <a:lnTo>
                    <a:pt x="112" y="440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0" y="441"/>
                  </a:lnTo>
                  <a:lnTo>
                    <a:pt x="110" y="441"/>
                  </a:lnTo>
                  <a:lnTo>
                    <a:pt x="109" y="441"/>
                  </a:lnTo>
                  <a:lnTo>
                    <a:pt x="109" y="440"/>
                  </a:lnTo>
                  <a:lnTo>
                    <a:pt x="109" y="440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8" y="437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5"/>
                  </a:lnTo>
                  <a:lnTo>
                    <a:pt x="108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5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0" y="435"/>
                  </a:lnTo>
                  <a:lnTo>
                    <a:pt x="100" y="434"/>
                  </a:lnTo>
                  <a:lnTo>
                    <a:pt x="99" y="433"/>
                  </a:lnTo>
                  <a:lnTo>
                    <a:pt x="99" y="432"/>
                  </a:lnTo>
                  <a:lnTo>
                    <a:pt x="98" y="431"/>
                  </a:lnTo>
                  <a:lnTo>
                    <a:pt x="96" y="429"/>
                  </a:lnTo>
                  <a:lnTo>
                    <a:pt x="95" y="428"/>
                  </a:lnTo>
                  <a:lnTo>
                    <a:pt x="95" y="427"/>
                  </a:lnTo>
                  <a:lnTo>
                    <a:pt x="94" y="426"/>
                  </a:lnTo>
                  <a:lnTo>
                    <a:pt x="93" y="426"/>
                  </a:lnTo>
                  <a:lnTo>
                    <a:pt x="92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0" y="424"/>
                  </a:lnTo>
                  <a:lnTo>
                    <a:pt x="86" y="424"/>
                  </a:lnTo>
                  <a:lnTo>
                    <a:pt x="85" y="424"/>
                  </a:lnTo>
                  <a:lnTo>
                    <a:pt x="85" y="423"/>
                  </a:lnTo>
                  <a:lnTo>
                    <a:pt x="84" y="423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4" y="419"/>
                  </a:lnTo>
                  <a:lnTo>
                    <a:pt x="84" y="418"/>
                  </a:lnTo>
                  <a:lnTo>
                    <a:pt x="84" y="418"/>
                  </a:lnTo>
                  <a:lnTo>
                    <a:pt x="85" y="418"/>
                  </a:lnTo>
                  <a:lnTo>
                    <a:pt x="86" y="417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8" y="417"/>
                  </a:lnTo>
                  <a:lnTo>
                    <a:pt x="89" y="417"/>
                  </a:lnTo>
                  <a:lnTo>
                    <a:pt x="90" y="417"/>
                  </a:lnTo>
                  <a:lnTo>
                    <a:pt x="93" y="418"/>
                  </a:lnTo>
                  <a:lnTo>
                    <a:pt x="93" y="418"/>
                  </a:lnTo>
                  <a:lnTo>
                    <a:pt x="94" y="418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5" y="417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4" y="415"/>
                  </a:lnTo>
                  <a:lnTo>
                    <a:pt x="94" y="413"/>
                  </a:lnTo>
                  <a:lnTo>
                    <a:pt x="94" y="412"/>
                  </a:lnTo>
                  <a:lnTo>
                    <a:pt x="94" y="411"/>
                  </a:lnTo>
                  <a:lnTo>
                    <a:pt x="94" y="411"/>
                  </a:lnTo>
                  <a:lnTo>
                    <a:pt x="94" y="410"/>
                  </a:lnTo>
                  <a:lnTo>
                    <a:pt x="95" y="409"/>
                  </a:lnTo>
                  <a:lnTo>
                    <a:pt x="95" y="409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6" y="407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6" y="405"/>
                  </a:lnTo>
                  <a:lnTo>
                    <a:pt x="95" y="404"/>
                  </a:lnTo>
                  <a:lnTo>
                    <a:pt x="95" y="401"/>
                  </a:lnTo>
                  <a:lnTo>
                    <a:pt x="94" y="400"/>
                  </a:lnTo>
                  <a:lnTo>
                    <a:pt x="94" y="398"/>
                  </a:lnTo>
                  <a:lnTo>
                    <a:pt x="92" y="394"/>
                  </a:lnTo>
                  <a:lnTo>
                    <a:pt x="91" y="392"/>
                  </a:lnTo>
                  <a:lnTo>
                    <a:pt x="90" y="390"/>
                  </a:lnTo>
                  <a:lnTo>
                    <a:pt x="89" y="389"/>
                  </a:lnTo>
                  <a:lnTo>
                    <a:pt x="87" y="386"/>
                  </a:lnTo>
                  <a:lnTo>
                    <a:pt x="87" y="386"/>
                  </a:lnTo>
                  <a:lnTo>
                    <a:pt x="87" y="385"/>
                  </a:lnTo>
                  <a:lnTo>
                    <a:pt x="87" y="385"/>
                  </a:lnTo>
                  <a:lnTo>
                    <a:pt x="87" y="384"/>
                  </a:lnTo>
                  <a:lnTo>
                    <a:pt x="87" y="381"/>
                  </a:lnTo>
                  <a:lnTo>
                    <a:pt x="87" y="380"/>
                  </a:lnTo>
                  <a:lnTo>
                    <a:pt x="86" y="378"/>
                  </a:lnTo>
                  <a:lnTo>
                    <a:pt x="86" y="378"/>
                  </a:lnTo>
                  <a:lnTo>
                    <a:pt x="86" y="377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3" y="374"/>
                  </a:lnTo>
                  <a:lnTo>
                    <a:pt x="83" y="373"/>
                  </a:lnTo>
                  <a:lnTo>
                    <a:pt x="82" y="373"/>
                  </a:lnTo>
                  <a:lnTo>
                    <a:pt x="82" y="372"/>
                  </a:lnTo>
                  <a:lnTo>
                    <a:pt x="82" y="372"/>
                  </a:lnTo>
                  <a:lnTo>
                    <a:pt x="82" y="371"/>
                  </a:lnTo>
                  <a:lnTo>
                    <a:pt x="81" y="370"/>
                  </a:lnTo>
                  <a:lnTo>
                    <a:pt x="82" y="370"/>
                  </a:lnTo>
                  <a:lnTo>
                    <a:pt x="82" y="369"/>
                  </a:lnTo>
                  <a:lnTo>
                    <a:pt x="82" y="367"/>
                  </a:lnTo>
                  <a:lnTo>
                    <a:pt x="82" y="366"/>
                  </a:lnTo>
                  <a:lnTo>
                    <a:pt x="82" y="365"/>
                  </a:lnTo>
                  <a:lnTo>
                    <a:pt x="82" y="363"/>
                  </a:lnTo>
                  <a:lnTo>
                    <a:pt x="82" y="361"/>
                  </a:lnTo>
                  <a:lnTo>
                    <a:pt x="81" y="359"/>
                  </a:lnTo>
                  <a:lnTo>
                    <a:pt x="81" y="358"/>
                  </a:lnTo>
                  <a:lnTo>
                    <a:pt x="80" y="356"/>
                  </a:lnTo>
                  <a:lnTo>
                    <a:pt x="80" y="355"/>
                  </a:lnTo>
                  <a:lnTo>
                    <a:pt x="80" y="354"/>
                  </a:lnTo>
                  <a:lnTo>
                    <a:pt x="80" y="353"/>
                  </a:lnTo>
                  <a:lnTo>
                    <a:pt x="80" y="352"/>
                  </a:lnTo>
                  <a:lnTo>
                    <a:pt x="80" y="351"/>
                  </a:lnTo>
                  <a:lnTo>
                    <a:pt x="81" y="347"/>
                  </a:lnTo>
                  <a:lnTo>
                    <a:pt x="81" y="345"/>
                  </a:lnTo>
                  <a:lnTo>
                    <a:pt x="82" y="344"/>
                  </a:lnTo>
                  <a:lnTo>
                    <a:pt x="82" y="343"/>
                  </a:lnTo>
                  <a:lnTo>
                    <a:pt x="82" y="343"/>
                  </a:lnTo>
                  <a:lnTo>
                    <a:pt x="82" y="340"/>
                  </a:lnTo>
                  <a:lnTo>
                    <a:pt x="82" y="339"/>
                  </a:lnTo>
                  <a:lnTo>
                    <a:pt x="82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3" y="334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0"/>
                  </a:lnTo>
                  <a:lnTo>
                    <a:pt x="83" y="329"/>
                  </a:lnTo>
                  <a:lnTo>
                    <a:pt x="83" y="328"/>
                  </a:lnTo>
                  <a:lnTo>
                    <a:pt x="83" y="327"/>
                  </a:lnTo>
                  <a:lnTo>
                    <a:pt x="83" y="326"/>
                  </a:lnTo>
                  <a:lnTo>
                    <a:pt x="82" y="325"/>
                  </a:lnTo>
                  <a:lnTo>
                    <a:pt x="81" y="323"/>
                  </a:lnTo>
                  <a:lnTo>
                    <a:pt x="81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9" y="319"/>
                  </a:lnTo>
                  <a:lnTo>
                    <a:pt x="78" y="319"/>
                  </a:lnTo>
                  <a:lnTo>
                    <a:pt x="77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4" y="318"/>
                  </a:lnTo>
                  <a:lnTo>
                    <a:pt x="70" y="318"/>
                  </a:lnTo>
                  <a:lnTo>
                    <a:pt x="69" y="318"/>
                  </a:lnTo>
                  <a:lnTo>
                    <a:pt x="68" y="318"/>
                  </a:lnTo>
                  <a:lnTo>
                    <a:pt x="65" y="318"/>
                  </a:lnTo>
                  <a:lnTo>
                    <a:pt x="64" y="318"/>
                  </a:lnTo>
                  <a:lnTo>
                    <a:pt x="62" y="318"/>
                  </a:lnTo>
                  <a:lnTo>
                    <a:pt x="58" y="318"/>
                  </a:lnTo>
                  <a:lnTo>
                    <a:pt x="57" y="317"/>
                  </a:lnTo>
                  <a:lnTo>
                    <a:pt x="55" y="317"/>
                  </a:lnTo>
                  <a:lnTo>
                    <a:pt x="55" y="317"/>
                  </a:lnTo>
                  <a:lnTo>
                    <a:pt x="54" y="318"/>
                  </a:lnTo>
                  <a:lnTo>
                    <a:pt x="52" y="318"/>
                  </a:lnTo>
                  <a:lnTo>
                    <a:pt x="51" y="318"/>
                  </a:lnTo>
                  <a:lnTo>
                    <a:pt x="50" y="318"/>
                  </a:lnTo>
                  <a:lnTo>
                    <a:pt x="49" y="318"/>
                  </a:lnTo>
                  <a:lnTo>
                    <a:pt x="49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6" y="318"/>
                  </a:lnTo>
                  <a:lnTo>
                    <a:pt x="46" y="317"/>
                  </a:lnTo>
                  <a:lnTo>
                    <a:pt x="46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5"/>
                  </a:lnTo>
                  <a:lnTo>
                    <a:pt x="45" y="314"/>
                  </a:lnTo>
                  <a:lnTo>
                    <a:pt x="45" y="313"/>
                  </a:lnTo>
                  <a:lnTo>
                    <a:pt x="45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4" y="309"/>
                  </a:lnTo>
                  <a:lnTo>
                    <a:pt x="44" y="308"/>
                  </a:lnTo>
                  <a:lnTo>
                    <a:pt x="43" y="308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1" y="305"/>
                  </a:lnTo>
                  <a:lnTo>
                    <a:pt x="38" y="304"/>
                  </a:lnTo>
                  <a:lnTo>
                    <a:pt x="36" y="303"/>
                  </a:lnTo>
                  <a:lnTo>
                    <a:pt x="36" y="303"/>
                  </a:lnTo>
                  <a:lnTo>
                    <a:pt x="35" y="303"/>
                  </a:lnTo>
                  <a:lnTo>
                    <a:pt x="34" y="302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5" y="301"/>
                  </a:lnTo>
                  <a:lnTo>
                    <a:pt x="22" y="300"/>
                  </a:lnTo>
                  <a:lnTo>
                    <a:pt x="20" y="300"/>
                  </a:lnTo>
                  <a:lnTo>
                    <a:pt x="19" y="299"/>
                  </a:lnTo>
                  <a:lnTo>
                    <a:pt x="16" y="299"/>
                  </a:lnTo>
                  <a:lnTo>
                    <a:pt x="14" y="299"/>
                  </a:lnTo>
                  <a:lnTo>
                    <a:pt x="12" y="299"/>
                  </a:lnTo>
                  <a:lnTo>
                    <a:pt x="9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6" y="297"/>
                  </a:lnTo>
                  <a:lnTo>
                    <a:pt x="4" y="296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1" y="291"/>
                  </a:lnTo>
                  <a:lnTo>
                    <a:pt x="1" y="291"/>
                  </a:lnTo>
                  <a:lnTo>
                    <a:pt x="2" y="290"/>
                  </a:lnTo>
                  <a:lnTo>
                    <a:pt x="6" y="288"/>
                  </a:lnTo>
                  <a:lnTo>
                    <a:pt x="8" y="287"/>
                  </a:lnTo>
                  <a:lnTo>
                    <a:pt x="10" y="286"/>
                  </a:lnTo>
                  <a:lnTo>
                    <a:pt x="11" y="285"/>
                  </a:lnTo>
                  <a:lnTo>
                    <a:pt x="12" y="284"/>
                  </a:lnTo>
                  <a:lnTo>
                    <a:pt x="13" y="283"/>
                  </a:lnTo>
                  <a:lnTo>
                    <a:pt x="18" y="278"/>
                  </a:lnTo>
                  <a:lnTo>
                    <a:pt x="19" y="276"/>
                  </a:lnTo>
                  <a:lnTo>
                    <a:pt x="20" y="275"/>
                  </a:lnTo>
                  <a:lnTo>
                    <a:pt x="21" y="274"/>
                  </a:lnTo>
                  <a:lnTo>
                    <a:pt x="21" y="273"/>
                  </a:lnTo>
                  <a:lnTo>
                    <a:pt x="21" y="272"/>
                  </a:lnTo>
                  <a:lnTo>
                    <a:pt x="22" y="271"/>
                  </a:lnTo>
                  <a:lnTo>
                    <a:pt x="22" y="269"/>
                  </a:lnTo>
                  <a:lnTo>
                    <a:pt x="22" y="264"/>
                  </a:lnTo>
                  <a:lnTo>
                    <a:pt x="22" y="261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4" y="254"/>
                  </a:lnTo>
                  <a:lnTo>
                    <a:pt x="24" y="253"/>
                  </a:lnTo>
                  <a:lnTo>
                    <a:pt x="25" y="252"/>
                  </a:lnTo>
                  <a:lnTo>
                    <a:pt x="25" y="251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8" y="248"/>
                  </a:lnTo>
                  <a:lnTo>
                    <a:pt x="28" y="248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8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7" y="247"/>
                  </a:lnTo>
                  <a:lnTo>
                    <a:pt x="51" y="246"/>
                  </a:lnTo>
                  <a:lnTo>
                    <a:pt x="52" y="245"/>
                  </a:lnTo>
                  <a:lnTo>
                    <a:pt x="53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5" y="245"/>
                  </a:lnTo>
                  <a:lnTo>
                    <a:pt x="56" y="245"/>
                  </a:lnTo>
                  <a:lnTo>
                    <a:pt x="57" y="246"/>
                  </a:lnTo>
                  <a:lnTo>
                    <a:pt x="59" y="246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4" y="246"/>
                  </a:lnTo>
                  <a:lnTo>
                    <a:pt x="75" y="245"/>
                  </a:lnTo>
                  <a:lnTo>
                    <a:pt x="77" y="241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81" y="235"/>
                  </a:lnTo>
                  <a:lnTo>
                    <a:pt x="81" y="233"/>
                  </a:lnTo>
                  <a:lnTo>
                    <a:pt x="82" y="232"/>
                  </a:lnTo>
                  <a:lnTo>
                    <a:pt x="83" y="230"/>
                  </a:lnTo>
                  <a:lnTo>
                    <a:pt x="83" y="228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4" y="222"/>
                  </a:lnTo>
                  <a:lnTo>
                    <a:pt x="85" y="221"/>
                  </a:lnTo>
                  <a:lnTo>
                    <a:pt x="87" y="216"/>
                  </a:lnTo>
                  <a:lnTo>
                    <a:pt x="87" y="215"/>
                  </a:lnTo>
                  <a:lnTo>
                    <a:pt x="88" y="215"/>
                  </a:lnTo>
                  <a:lnTo>
                    <a:pt x="88" y="214"/>
                  </a:lnTo>
                  <a:lnTo>
                    <a:pt x="89" y="213"/>
                  </a:lnTo>
                  <a:lnTo>
                    <a:pt x="89" y="212"/>
                  </a:lnTo>
                  <a:lnTo>
                    <a:pt x="90" y="212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2" y="210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4" y="210"/>
                  </a:lnTo>
                  <a:lnTo>
                    <a:pt x="95" y="210"/>
                  </a:lnTo>
                  <a:lnTo>
                    <a:pt x="95" y="210"/>
                  </a:lnTo>
                  <a:lnTo>
                    <a:pt x="96" y="210"/>
                  </a:lnTo>
                  <a:lnTo>
                    <a:pt x="98" y="210"/>
                  </a:lnTo>
                  <a:lnTo>
                    <a:pt x="99" y="211"/>
                  </a:lnTo>
                  <a:lnTo>
                    <a:pt x="99" y="211"/>
                  </a:lnTo>
                  <a:lnTo>
                    <a:pt x="100" y="211"/>
                  </a:lnTo>
                  <a:lnTo>
                    <a:pt x="102" y="213"/>
                  </a:lnTo>
                  <a:lnTo>
                    <a:pt x="103" y="213"/>
                  </a:lnTo>
                  <a:lnTo>
                    <a:pt x="104" y="214"/>
                  </a:lnTo>
                  <a:lnTo>
                    <a:pt x="104" y="214"/>
                  </a:lnTo>
                  <a:lnTo>
                    <a:pt x="105" y="214"/>
                  </a:lnTo>
                  <a:lnTo>
                    <a:pt x="106" y="214"/>
                  </a:lnTo>
                  <a:lnTo>
                    <a:pt x="107" y="214"/>
                  </a:lnTo>
                  <a:lnTo>
                    <a:pt x="107" y="214"/>
                  </a:lnTo>
                  <a:lnTo>
                    <a:pt x="108" y="214"/>
                  </a:lnTo>
                  <a:lnTo>
                    <a:pt x="109" y="214"/>
                  </a:lnTo>
                  <a:lnTo>
                    <a:pt x="109" y="213"/>
                  </a:lnTo>
                  <a:lnTo>
                    <a:pt x="110" y="213"/>
                  </a:lnTo>
                  <a:lnTo>
                    <a:pt x="110" y="213"/>
                  </a:lnTo>
                  <a:lnTo>
                    <a:pt x="111" y="212"/>
                  </a:lnTo>
                  <a:lnTo>
                    <a:pt x="111" y="212"/>
                  </a:lnTo>
                  <a:lnTo>
                    <a:pt x="111" y="211"/>
                  </a:lnTo>
                  <a:lnTo>
                    <a:pt x="112" y="210"/>
                  </a:lnTo>
                  <a:lnTo>
                    <a:pt x="113" y="207"/>
                  </a:lnTo>
                  <a:lnTo>
                    <a:pt x="113" y="206"/>
                  </a:lnTo>
                  <a:lnTo>
                    <a:pt x="114" y="205"/>
                  </a:lnTo>
                  <a:lnTo>
                    <a:pt x="115" y="204"/>
                  </a:lnTo>
                  <a:lnTo>
                    <a:pt x="115" y="204"/>
                  </a:lnTo>
                  <a:lnTo>
                    <a:pt x="116" y="202"/>
                  </a:lnTo>
                  <a:lnTo>
                    <a:pt x="118" y="201"/>
                  </a:lnTo>
                  <a:lnTo>
                    <a:pt x="119" y="200"/>
                  </a:lnTo>
                  <a:lnTo>
                    <a:pt x="122" y="198"/>
                  </a:lnTo>
                  <a:lnTo>
                    <a:pt x="123" y="197"/>
                  </a:lnTo>
                  <a:lnTo>
                    <a:pt x="124" y="196"/>
                  </a:lnTo>
                  <a:lnTo>
                    <a:pt x="125" y="196"/>
                  </a:lnTo>
                  <a:lnTo>
                    <a:pt x="125" y="195"/>
                  </a:lnTo>
                  <a:lnTo>
                    <a:pt x="126" y="195"/>
                  </a:lnTo>
                  <a:lnTo>
                    <a:pt x="127" y="193"/>
                  </a:lnTo>
                  <a:lnTo>
                    <a:pt x="127" y="192"/>
                  </a:lnTo>
                  <a:lnTo>
                    <a:pt x="128" y="191"/>
                  </a:lnTo>
                  <a:lnTo>
                    <a:pt x="128" y="188"/>
                  </a:lnTo>
                  <a:lnTo>
                    <a:pt x="129" y="187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1" y="185"/>
                  </a:lnTo>
                  <a:lnTo>
                    <a:pt x="132" y="186"/>
                  </a:lnTo>
                  <a:lnTo>
                    <a:pt x="132" y="186"/>
                  </a:lnTo>
                  <a:lnTo>
                    <a:pt x="133" y="186"/>
                  </a:lnTo>
                  <a:lnTo>
                    <a:pt x="133" y="186"/>
                  </a:lnTo>
                  <a:lnTo>
                    <a:pt x="133" y="187"/>
                  </a:lnTo>
                  <a:lnTo>
                    <a:pt x="135" y="188"/>
                  </a:lnTo>
                  <a:lnTo>
                    <a:pt x="136" y="190"/>
                  </a:lnTo>
                  <a:lnTo>
                    <a:pt x="137" y="191"/>
                  </a:lnTo>
                  <a:lnTo>
                    <a:pt x="139" y="195"/>
                  </a:lnTo>
                  <a:lnTo>
                    <a:pt x="140" y="196"/>
                  </a:lnTo>
                  <a:lnTo>
                    <a:pt x="141" y="197"/>
                  </a:lnTo>
                  <a:lnTo>
                    <a:pt x="142" y="198"/>
                  </a:lnTo>
                  <a:lnTo>
                    <a:pt x="142" y="199"/>
                  </a:lnTo>
                  <a:lnTo>
                    <a:pt x="144" y="200"/>
                  </a:lnTo>
                  <a:lnTo>
                    <a:pt x="145" y="201"/>
                  </a:lnTo>
                  <a:lnTo>
                    <a:pt x="146" y="201"/>
                  </a:lnTo>
                  <a:lnTo>
                    <a:pt x="147" y="201"/>
                  </a:lnTo>
                  <a:lnTo>
                    <a:pt x="149" y="202"/>
                  </a:lnTo>
                  <a:lnTo>
                    <a:pt x="151" y="203"/>
                  </a:lnTo>
                  <a:lnTo>
                    <a:pt x="152" y="203"/>
                  </a:lnTo>
                  <a:lnTo>
                    <a:pt x="152" y="203"/>
                  </a:lnTo>
                  <a:lnTo>
                    <a:pt x="153" y="203"/>
                  </a:lnTo>
                  <a:lnTo>
                    <a:pt x="153" y="203"/>
                  </a:lnTo>
                  <a:lnTo>
                    <a:pt x="154" y="203"/>
                  </a:lnTo>
                  <a:lnTo>
                    <a:pt x="154" y="203"/>
                  </a:lnTo>
                  <a:lnTo>
                    <a:pt x="155" y="203"/>
                  </a:lnTo>
                  <a:lnTo>
                    <a:pt x="156" y="202"/>
                  </a:lnTo>
                  <a:lnTo>
                    <a:pt x="156" y="202"/>
                  </a:lnTo>
                  <a:lnTo>
                    <a:pt x="157" y="201"/>
                  </a:lnTo>
                  <a:lnTo>
                    <a:pt x="158" y="201"/>
                  </a:lnTo>
                  <a:lnTo>
                    <a:pt x="159" y="199"/>
                  </a:lnTo>
                  <a:lnTo>
                    <a:pt x="163" y="196"/>
                  </a:lnTo>
                  <a:lnTo>
                    <a:pt x="166" y="193"/>
                  </a:lnTo>
                  <a:lnTo>
                    <a:pt x="169" y="190"/>
                  </a:lnTo>
                  <a:lnTo>
                    <a:pt x="170" y="189"/>
                  </a:lnTo>
                  <a:lnTo>
                    <a:pt x="170" y="188"/>
                  </a:lnTo>
                  <a:lnTo>
                    <a:pt x="171" y="188"/>
                  </a:lnTo>
                  <a:lnTo>
                    <a:pt x="171" y="187"/>
                  </a:lnTo>
                  <a:lnTo>
                    <a:pt x="171" y="186"/>
                  </a:lnTo>
                  <a:lnTo>
                    <a:pt x="171" y="185"/>
                  </a:lnTo>
                  <a:lnTo>
                    <a:pt x="171" y="183"/>
                  </a:lnTo>
                  <a:lnTo>
                    <a:pt x="171" y="182"/>
                  </a:lnTo>
                  <a:lnTo>
                    <a:pt x="172" y="181"/>
                  </a:lnTo>
                  <a:lnTo>
                    <a:pt x="172" y="181"/>
                  </a:lnTo>
                  <a:lnTo>
                    <a:pt x="172" y="180"/>
                  </a:lnTo>
                  <a:lnTo>
                    <a:pt x="173" y="179"/>
                  </a:lnTo>
                  <a:lnTo>
                    <a:pt x="174" y="177"/>
                  </a:lnTo>
                  <a:lnTo>
                    <a:pt x="175" y="175"/>
                  </a:lnTo>
                  <a:lnTo>
                    <a:pt x="176" y="174"/>
                  </a:lnTo>
                  <a:lnTo>
                    <a:pt x="176" y="174"/>
                  </a:lnTo>
                  <a:lnTo>
                    <a:pt x="176" y="173"/>
                  </a:lnTo>
                  <a:lnTo>
                    <a:pt x="176" y="172"/>
                  </a:lnTo>
                  <a:lnTo>
                    <a:pt x="177" y="171"/>
                  </a:lnTo>
                  <a:lnTo>
                    <a:pt x="177" y="170"/>
                  </a:lnTo>
                  <a:lnTo>
                    <a:pt x="177" y="170"/>
                  </a:lnTo>
                  <a:lnTo>
                    <a:pt x="177" y="168"/>
                  </a:lnTo>
                  <a:lnTo>
                    <a:pt x="177" y="166"/>
                  </a:lnTo>
                  <a:lnTo>
                    <a:pt x="176" y="163"/>
                  </a:lnTo>
                  <a:lnTo>
                    <a:pt x="176" y="162"/>
                  </a:lnTo>
                  <a:lnTo>
                    <a:pt x="176" y="161"/>
                  </a:lnTo>
                  <a:lnTo>
                    <a:pt x="176" y="160"/>
                  </a:lnTo>
                  <a:lnTo>
                    <a:pt x="176" y="160"/>
                  </a:lnTo>
                  <a:lnTo>
                    <a:pt x="177" y="159"/>
                  </a:lnTo>
                  <a:lnTo>
                    <a:pt x="177" y="159"/>
                  </a:lnTo>
                  <a:lnTo>
                    <a:pt x="178" y="158"/>
                  </a:lnTo>
                  <a:lnTo>
                    <a:pt x="178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80" y="156"/>
                  </a:lnTo>
                  <a:lnTo>
                    <a:pt x="181" y="156"/>
                  </a:lnTo>
                  <a:lnTo>
                    <a:pt x="182" y="156"/>
                  </a:lnTo>
                  <a:lnTo>
                    <a:pt x="183" y="155"/>
                  </a:lnTo>
                  <a:lnTo>
                    <a:pt x="184" y="155"/>
                  </a:lnTo>
                  <a:lnTo>
                    <a:pt x="185" y="155"/>
                  </a:lnTo>
                  <a:lnTo>
                    <a:pt x="187" y="155"/>
                  </a:lnTo>
                  <a:lnTo>
                    <a:pt x="192" y="155"/>
                  </a:lnTo>
                  <a:lnTo>
                    <a:pt x="194" y="155"/>
                  </a:lnTo>
                  <a:lnTo>
                    <a:pt x="196" y="155"/>
                  </a:lnTo>
                  <a:lnTo>
                    <a:pt x="197" y="154"/>
                  </a:lnTo>
                  <a:lnTo>
                    <a:pt x="199" y="154"/>
                  </a:lnTo>
                  <a:lnTo>
                    <a:pt x="200" y="153"/>
                  </a:lnTo>
                  <a:lnTo>
                    <a:pt x="201" y="153"/>
                  </a:lnTo>
                  <a:lnTo>
                    <a:pt x="202" y="152"/>
                  </a:lnTo>
                  <a:lnTo>
                    <a:pt x="204" y="151"/>
                  </a:lnTo>
                  <a:lnTo>
                    <a:pt x="205" y="151"/>
                  </a:lnTo>
                  <a:lnTo>
                    <a:pt x="206" y="150"/>
                  </a:lnTo>
                  <a:lnTo>
                    <a:pt x="208" y="149"/>
                  </a:lnTo>
                  <a:lnTo>
                    <a:pt x="209" y="149"/>
                  </a:lnTo>
                  <a:lnTo>
                    <a:pt x="210" y="148"/>
                  </a:lnTo>
                  <a:lnTo>
                    <a:pt x="211" y="148"/>
                  </a:lnTo>
                  <a:lnTo>
                    <a:pt x="212" y="148"/>
                  </a:lnTo>
                  <a:lnTo>
                    <a:pt x="213" y="148"/>
                  </a:lnTo>
                  <a:lnTo>
                    <a:pt x="214" y="148"/>
                  </a:lnTo>
                  <a:lnTo>
                    <a:pt x="215" y="148"/>
                  </a:lnTo>
                  <a:lnTo>
                    <a:pt x="215" y="148"/>
                  </a:lnTo>
                  <a:lnTo>
                    <a:pt x="216" y="149"/>
                  </a:lnTo>
                  <a:lnTo>
                    <a:pt x="217" y="149"/>
                  </a:lnTo>
                  <a:lnTo>
                    <a:pt x="220" y="151"/>
                  </a:lnTo>
                  <a:lnTo>
                    <a:pt x="222" y="151"/>
                  </a:lnTo>
                  <a:lnTo>
                    <a:pt x="223" y="151"/>
                  </a:lnTo>
                  <a:lnTo>
                    <a:pt x="223" y="152"/>
                  </a:lnTo>
                  <a:lnTo>
                    <a:pt x="224" y="152"/>
                  </a:lnTo>
                  <a:lnTo>
                    <a:pt x="225" y="152"/>
                  </a:lnTo>
                  <a:lnTo>
                    <a:pt x="225" y="152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7" y="151"/>
                  </a:lnTo>
                  <a:lnTo>
                    <a:pt x="228" y="151"/>
                  </a:lnTo>
                  <a:lnTo>
                    <a:pt x="229" y="150"/>
                  </a:lnTo>
                  <a:lnTo>
                    <a:pt x="231" y="149"/>
                  </a:lnTo>
                  <a:lnTo>
                    <a:pt x="232" y="149"/>
                  </a:lnTo>
                  <a:lnTo>
                    <a:pt x="233" y="148"/>
                  </a:lnTo>
                  <a:lnTo>
                    <a:pt x="234" y="148"/>
                  </a:lnTo>
                  <a:lnTo>
                    <a:pt x="238" y="148"/>
                  </a:lnTo>
                  <a:lnTo>
                    <a:pt x="242" y="147"/>
                  </a:lnTo>
                  <a:lnTo>
                    <a:pt x="243" y="147"/>
                  </a:lnTo>
                  <a:lnTo>
                    <a:pt x="244" y="147"/>
                  </a:lnTo>
                  <a:lnTo>
                    <a:pt x="247" y="147"/>
                  </a:lnTo>
                  <a:lnTo>
                    <a:pt x="248" y="147"/>
                  </a:lnTo>
                  <a:lnTo>
                    <a:pt x="250" y="147"/>
                  </a:lnTo>
                  <a:lnTo>
                    <a:pt x="252" y="147"/>
                  </a:lnTo>
                  <a:lnTo>
                    <a:pt x="254" y="147"/>
                  </a:lnTo>
                  <a:lnTo>
                    <a:pt x="255" y="147"/>
                  </a:lnTo>
                  <a:lnTo>
                    <a:pt x="256" y="148"/>
                  </a:lnTo>
                  <a:lnTo>
                    <a:pt x="259" y="149"/>
                  </a:lnTo>
                  <a:lnTo>
                    <a:pt x="260" y="149"/>
                  </a:lnTo>
                  <a:lnTo>
                    <a:pt x="261" y="149"/>
                  </a:lnTo>
                  <a:lnTo>
                    <a:pt x="263" y="150"/>
                  </a:lnTo>
                  <a:lnTo>
                    <a:pt x="264" y="150"/>
                  </a:lnTo>
                  <a:lnTo>
                    <a:pt x="266" y="150"/>
                  </a:lnTo>
                  <a:lnTo>
                    <a:pt x="267" y="149"/>
                  </a:lnTo>
                  <a:lnTo>
                    <a:pt x="268" y="149"/>
                  </a:lnTo>
                  <a:lnTo>
                    <a:pt x="269" y="149"/>
                  </a:lnTo>
                  <a:lnTo>
                    <a:pt x="270" y="148"/>
                  </a:lnTo>
                  <a:lnTo>
                    <a:pt x="271" y="147"/>
                  </a:lnTo>
                  <a:lnTo>
                    <a:pt x="273" y="146"/>
                  </a:lnTo>
                  <a:lnTo>
                    <a:pt x="274" y="145"/>
                  </a:lnTo>
                  <a:lnTo>
                    <a:pt x="275" y="145"/>
                  </a:lnTo>
                  <a:lnTo>
                    <a:pt x="278" y="144"/>
                  </a:lnTo>
                  <a:lnTo>
                    <a:pt x="278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80" y="142"/>
                  </a:lnTo>
                  <a:lnTo>
                    <a:pt x="281" y="142"/>
                  </a:lnTo>
                  <a:lnTo>
                    <a:pt x="281" y="141"/>
                  </a:lnTo>
                  <a:lnTo>
                    <a:pt x="282" y="140"/>
                  </a:lnTo>
                  <a:lnTo>
                    <a:pt x="282" y="139"/>
                  </a:lnTo>
                  <a:lnTo>
                    <a:pt x="282" y="138"/>
                  </a:lnTo>
                  <a:lnTo>
                    <a:pt x="282" y="138"/>
                  </a:lnTo>
                  <a:lnTo>
                    <a:pt x="282" y="136"/>
                  </a:lnTo>
                  <a:lnTo>
                    <a:pt x="282" y="133"/>
                  </a:lnTo>
                  <a:lnTo>
                    <a:pt x="282" y="132"/>
                  </a:lnTo>
                  <a:lnTo>
                    <a:pt x="282" y="130"/>
                  </a:lnTo>
                  <a:lnTo>
                    <a:pt x="282" y="129"/>
                  </a:lnTo>
                  <a:lnTo>
                    <a:pt x="282" y="128"/>
                  </a:lnTo>
                  <a:lnTo>
                    <a:pt x="283" y="127"/>
                  </a:lnTo>
                  <a:lnTo>
                    <a:pt x="283" y="126"/>
                  </a:lnTo>
                  <a:lnTo>
                    <a:pt x="283" y="125"/>
                  </a:lnTo>
                  <a:lnTo>
                    <a:pt x="284" y="124"/>
                  </a:lnTo>
                  <a:lnTo>
                    <a:pt x="284" y="124"/>
                  </a:lnTo>
                  <a:lnTo>
                    <a:pt x="284" y="123"/>
                  </a:lnTo>
                  <a:lnTo>
                    <a:pt x="285" y="123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2"/>
                  </a:lnTo>
                  <a:lnTo>
                    <a:pt x="287" y="121"/>
                  </a:lnTo>
                  <a:lnTo>
                    <a:pt x="288" y="121"/>
                  </a:lnTo>
                  <a:lnTo>
                    <a:pt x="291" y="120"/>
                  </a:lnTo>
                  <a:lnTo>
                    <a:pt x="292" y="120"/>
                  </a:lnTo>
                  <a:lnTo>
                    <a:pt x="294" y="119"/>
                  </a:lnTo>
                  <a:lnTo>
                    <a:pt x="295" y="119"/>
                  </a:lnTo>
                  <a:lnTo>
                    <a:pt x="297" y="118"/>
                  </a:lnTo>
                  <a:lnTo>
                    <a:pt x="298" y="117"/>
                  </a:lnTo>
                  <a:lnTo>
                    <a:pt x="299" y="116"/>
                  </a:lnTo>
                  <a:lnTo>
                    <a:pt x="301" y="114"/>
                  </a:lnTo>
                  <a:lnTo>
                    <a:pt x="302" y="113"/>
                  </a:lnTo>
                  <a:lnTo>
                    <a:pt x="303" y="113"/>
                  </a:lnTo>
                  <a:lnTo>
                    <a:pt x="305" y="112"/>
                  </a:lnTo>
                  <a:lnTo>
                    <a:pt x="306" y="111"/>
                  </a:lnTo>
                  <a:lnTo>
                    <a:pt x="308" y="110"/>
                  </a:lnTo>
                  <a:lnTo>
                    <a:pt x="309" y="110"/>
                  </a:lnTo>
                  <a:lnTo>
                    <a:pt x="310" y="110"/>
                  </a:lnTo>
                  <a:lnTo>
                    <a:pt x="311" y="110"/>
                  </a:lnTo>
                  <a:lnTo>
                    <a:pt x="312" y="110"/>
                  </a:lnTo>
                  <a:lnTo>
                    <a:pt x="313" y="110"/>
                  </a:lnTo>
                  <a:lnTo>
                    <a:pt x="314" y="110"/>
                  </a:lnTo>
                  <a:lnTo>
                    <a:pt x="316" y="111"/>
                  </a:lnTo>
                  <a:lnTo>
                    <a:pt x="319" y="112"/>
                  </a:lnTo>
                  <a:lnTo>
                    <a:pt x="321" y="113"/>
                  </a:lnTo>
                  <a:lnTo>
                    <a:pt x="322" y="113"/>
                  </a:lnTo>
                  <a:lnTo>
                    <a:pt x="323" y="113"/>
                  </a:lnTo>
                  <a:lnTo>
                    <a:pt x="324" y="113"/>
                  </a:lnTo>
                  <a:lnTo>
                    <a:pt x="327" y="112"/>
                  </a:lnTo>
                  <a:lnTo>
                    <a:pt x="331" y="112"/>
                  </a:lnTo>
                  <a:lnTo>
                    <a:pt x="331" y="111"/>
                  </a:lnTo>
                  <a:lnTo>
                    <a:pt x="332" y="111"/>
                  </a:lnTo>
                  <a:lnTo>
                    <a:pt x="334" y="111"/>
                  </a:lnTo>
                  <a:lnTo>
                    <a:pt x="335" y="110"/>
                  </a:lnTo>
                  <a:lnTo>
                    <a:pt x="336" y="109"/>
                  </a:lnTo>
                  <a:lnTo>
                    <a:pt x="339" y="107"/>
                  </a:lnTo>
                  <a:lnTo>
                    <a:pt x="340" y="106"/>
                  </a:lnTo>
                  <a:lnTo>
                    <a:pt x="342" y="105"/>
                  </a:lnTo>
                  <a:lnTo>
                    <a:pt x="345" y="104"/>
                  </a:lnTo>
                  <a:lnTo>
                    <a:pt x="352" y="101"/>
                  </a:lnTo>
                  <a:lnTo>
                    <a:pt x="357" y="98"/>
                  </a:lnTo>
                  <a:lnTo>
                    <a:pt x="360" y="97"/>
                  </a:lnTo>
                  <a:lnTo>
                    <a:pt x="362" y="96"/>
                  </a:lnTo>
                  <a:lnTo>
                    <a:pt x="368" y="94"/>
                  </a:lnTo>
                  <a:lnTo>
                    <a:pt x="370" y="94"/>
                  </a:lnTo>
                  <a:lnTo>
                    <a:pt x="372" y="93"/>
                  </a:lnTo>
                  <a:lnTo>
                    <a:pt x="373" y="92"/>
                  </a:lnTo>
                  <a:lnTo>
                    <a:pt x="374" y="92"/>
                  </a:lnTo>
                  <a:lnTo>
                    <a:pt x="375" y="91"/>
                  </a:lnTo>
                  <a:lnTo>
                    <a:pt x="377" y="89"/>
                  </a:lnTo>
                  <a:lnTo>
                    <a:pt x="378" y="88"/>
                  </a:lnTo>
                  <a:lnTo>
                    <a:pt x="379" y="87"/>
                  </a:lnTo>
                  <a:lnTo>
                    <a:pt x="380" y="86"/>
                  </a:lnTo>
                  <a:lnTo>
                    <a:pt x="381" y="85"/>
                  </a:lnTo>
                  <a:lnTo>
                    <a:pt x="382" y="84"/>
                  </a:lnTo>
                  <a:lnTo>
                    <a:pt x="384" y="81"/>
                  </a:lnTo>
                  <a:lnTo>
                    <a:pt x="384" y="80"/>
                  </a:lnTo>
                  <a:lnTo>
                    <a:pt x="384" y="79"/>
                  </a:lnTo>
                  <a:lnTo>
                    <a:pt x="385" y="79"/>
                  </a:lnTo>
                  <a:lnTo>
                    <a:pt x="386" y="78"/>
                  </a:lnTo>
                  <a:lnTo>
                    <a:pt x="387" y="78"/>
                  </a:lnTo>
                  <a:lnTo>
                    <a:pt x="388" y="77"/>
                  </a:lnTo>
                  <a:lnTo>
                    <a:pt x="389" y="76"/>
                  </a:lnTo>
                  <a:lnTo>
                    <a:pt x="391" y="76"/>
                  </a:lnTo>
                  <a:lnTo>
                    <a:pt x="392" y="76"/>
                  </a:lnTo>
                  <a:lnTo>
                    <a:pt x="393" y="76"/>
                  </a:lnTo>
                  <a:lnTo>
                    <a:pt x="394" y="76"/>
                  </a:lnTo>
                  <a:lnTo>
                    <a:pt x="395" y="76"/>
                  </a:lnTo>
                  <a:lnTo>
                    <a:pt x="397" y="76"/>
                  </a:lnTo>
                  <a:lnTo>
                    <a:pt x="399" y="77"/>
                  </a:lnTo>
                  <a:lnTo>
                    <a:pt x="401" y="77"/>
                  </a:lnTo>
                  <a:lnTo>
                    <a:pt x="402" y="77"/>
                  </a:lnTo>
                  <a:lnTo>
                    <a:pt x="403" y="77"/>
                  </a:lnTo>
                  <a:lnTo>
                    <a:pt x="404" y="77"/>
                  </a:lnTo>
                  <a:lnTo>
                    <a:pt x="405" y="77"/>
                  </a:lnTo>
                  <a:lnTo>
                    <a:pt x="407" y="77"/>
                  </a:lnTo>
                  <a:lnTo>
                    <a:pt x="410" y="76"/>
                  </a:lnTo>
                  <a:lnTo>
                    <a:pt x="411" y="76"/>
                  </a:lnTo>
                  <a:lnTo>
                    <a:pt x="412" y="75"/>
                  </a:lnTo>
                  <a:lnTo>
                    <a:pt x="414" y="75"/>
                  </a:lnTo>
                  <a:lnTo>
                    <a:pt x="417" y="74"/>
                  </a:lnTo>
                  <a:lnTo>
                    <a:pt x="418" y="73"/>
                  </a:lnTo>
                  <a:lnTo>
                    <a:pt x="419" y="73"/>
                  </a:lnTo>
                  <a:lnTo>
                    <a:pt x="422" y="72"/>
                  </a:lnTo>
                  <a:lnTo>
                    <a:pt x="423" y="72"/>
                  </a:lnTo>
                  <a:lnTo>
                    <a:pt x="424" y="72"/>
                  </a:lnTo>
                  <a:lnTo>
                    <a:pt x="425" y="71"/>
                  </a:lnTo>
                  <a:lnTo>
                    <a:pt x="425" y="71"/>
                  </a:lnTo>
                  <a:lnTo>
                    <a:pt x="426" y="70"/>
                  </a:lnTo>
                  <a:lnTo>
                    <a:pt x="426" y="70"/>
                  </a:lnTo>
                  <a:lnTo>
                    <a:pt x="427" y="69"/>
                  </a:lnTo>
                  <a:lnTo>
                    <a:pt x="427" y="69"/>
                  </a:lnTo>
                  <a:lnTo>
                    <a:pt x="428" y="68"/>
                  </a:lnTo>
                  <a:lnTo>
                    <a:pt x="428" y="65"/>
                  </a:lnTo>
                  <a:lnTo>
                    <a:pt x="429" y="63"/>
                  </a:lnTo>
                  <a:lnTo>
                    <a:pt x="430" y="61"/>
                  </a:lnTo>
                  <a:lnTo>
                    <a:pt x="430" y="60"/>
                  </a:lnTo>
                  <a:lnTo>
                    <a:pt x="430" y="60"/>
                  </a:lnTo>
                  <a:lnTo>
                    <a:pt x="430" y="59"/>
                  </a:lnTo>
                  <a:lnTo>
                    <a:pt x="430" y="58"/>
                  </a:lnTo>
                  <a:lnTo>
                    <a:pt x="430" y="58"/>
                  </a:lnTo>
                  <a:lnTo>
                    <a:pt x="430" y="57"/>
                  </a:lnTo>
                  <a:lnTo>
                    <a:pt x="429" y="57"/>
                  </a:lnTo>
                  <a:lnTo>
                    <a:pt x="429" y="56"/>
                  </a:lnTo>
                  <a:lnTo>
                    <a:pt x="428" y="55"/>
                  </a:lnTo>
                  <a:lnTo>
                    <a:pt x="428" y="55"/>
                  </a:lnTo>
                  <a:lnTo>
                    <a:pt x="427" y="55"/>
                  </a:lnTo>
                  <a:lnTo>
                    <a:pt x="426" y="54"/>
                  </a:lnTo>
                  <a:lnTo>
                    <a:pt x="425" y="54"/>
                  </a:lnTo>
                  <a:lnTo>
                    <a:pt x="423" y="53"/>
                  </a:lnTo>
                  <a:lnTo>
                    <a:pt x="419" y="51"/>
                  </a:lnTo>
                  <a:lnTo>
                    <a:pt x="417" y="50"/>
                  </a:lnTo>
                  <a:lnTo>
                    <a:pt x="412" y="49"/>
                  </a:lnTo>
                  <a:lnTo>
                    <a:pt x="411" y="48"/>
                  </a:lnTo>
                  <a:lnTo>
                    <a:pt x="410" y="48"/>
                  </a:lnTo>
                  <a:lnTo>
                    <a:pt x="409" y="47"/>
                  </a:lnTo>
                  <a:lnTo>
                    <a:pt x="409" y="47"/>
                  </a:lnTo>
                  <a:lnTo>
                    <a:pt x="408" y="46"/>
                  </a:lnTo>
                  <a:lnTo>
                    <a:pt x="408" y="46"/>
                  </a:lnTo>
                  <a:lnTo>
                    <a:pt x="408" y="45"/>
                  </a:lnTo>
                  <a:lnTo>
                    <a:pt x="407" y="45"/>
                  </a:lnTo>
                  <a:lnTo>
                    <a:pt x="407" y="44"/>
                  </a:lnTo>
                  <a:lnTo>
                    <a:pt x="406" y="43"/>
                  </a:lnTo>
                  <a:lnTo>
                    <a:pt x="406" y="42"/>
                  </a:lnTo>
                  <a:lnTo>
                    <a:pt x="406" y="42"/>
                  </a:lnTo>
                  <a:lnTo>
                    <a:pt x="406" y="41"/>
                  </a:lnTo>
                  <a:lnTo>
                    <a:pt x="406" y="41"/>
                  </a:lnTo>
                  <a:lnTo>
                    <a:pt x="406" y="40"/>
                  </a:lnTo>
                  <a:lnTo>
                    <a:pt x="406" y="40"/>
                  </a:lnTo>
                  <a:lnTo>
                    <a:pt x="407" y="39"/>
                  </a:lnTo>
                  <a:lnTo>
                    <a:pt x="408" y="37"/>
                  </a:lnTo>
                  <a:lnTo>
                    <a:pt x="408" y="37"/>
                  </a:lnTo>
                  <a:lnTo>
                    <a:pt x="408" y="37"/>
                  </a:lnTo>
                  <a:lnTo>
                    <a:pt x="408" y="36"/>
                  </a:lnTo>
                  <a:lnTo>
                    <a:pt x="408" y="36"/>
                  </a:lnTo>
                  <a:lnTo>
                    <a:pt x="408" y="35"/>
                  </a:lnTo>
                  <a:lnTo>
                    <a:pt x="407" y="35"/>
                  </a:lnTo>
                  <a:lnTo>
                    <a:pt x="407" y="35"/>
                  </a:lnTo>
                  <a:lnTo>
                    <a:pt x="407" y="34"/>
                  </a:lnTo>
                  <a:lnTo>
                    <a:pt x="406" y="34"/>
                  </a:lnTo>
                  <a:lnTo>
                    <a:pt x="405" y="34"/>
                  </a:lnTo>
                  <a:lnTo>
                    <a:pt x="404" y="34"/>
                  </a:lnTo>
                  <a:lnTo>
                    <a:pt x="401" y="34"/>
                  </a:lnTo>
                  <a:lnTo>
                    <a:pt x="400" y="34"/>
                  </a:lnTo>
                  <a:lnTo>
                    <a:pt x="399" y="34"/>
                  </a:lnTo>
                  <a:lnTo>
                    <a:pt x="398" y="34"/>
                  </a:lnTo>
                  <a:lnTo>
                    <a:pt x="397" y="33"/>
                  </a:lnTo>
                  <a:lnTo>
                    <a:pt x="396" y="33"/>
                  </a:lnTo>
                  <a:lnTo>
                    <a:pt x="395" y="32"/>
                  </a:lnTo>
                  <a:lnTo>
                    <a:pt x="394" y="32"/>
                  </a:lnTo>
                  <a:lnTo>
                    <a:pt x="394" y="31"/>
                  </a:lnTo>
                  <a:lnTo>
                    <a:pt x="393" y="31"/>
                  </a:lnTo>
                  <a:lnTo>
                    <a:pt x="393" y="30"/>
                  </a:lnTo>
                  <a:lnTo>
                    <a:pt x="393" y="30"/>
                  </a:lnTo>
                  <a:lnTo>
                    <a:pt x="392" y="29"/>
                  </a:lnTo>
                  <a:lnTo>
                    <a:pt x="392" y="28"/>
                  </a:lnTo>
                  <a:lnTo>
                    <a:pt x="392" y="28"/>
                  </a:lnTo>
                  <a:lnTo>
                    <a:pt x="392" y="27"/>
                  </a:lnTo>
                  <a:lnTo>
                    <a:pt x="392" y="24"/>
                  </a:lnTo>
                  <a:lnTo>
                    <a:pt x="392" y="24"/>
                  </a:lnTo>
                  <a:lnTo>
                    <a:pt x="392" y="23"/>
                  </a:lnTo>
                  <a:lnTo>
                    <a:pt x="393" y="22"/>
                  </a:lnTo>
                  <a:lnTo>
                    <a:pt x="393" y="21"/>
                  </a:lnTo>
                  <a:lnTo>
                    <a:pt x="394" y="19"/>
                  </a:lnTo>
                  <a:lnTo>
                    <a:pt x="395" y="18"/>
                  </a:lnTo>
                  <a:lnTo>
                    <a:pt x="395" y="17"/>
                  </a:lnTo>
                  <a:lnTo>
                    <a:pt x="396" y="16"/>
                  </a:lnTo>
                  <a:lnTo>
                    <a:pt x="396" y="14"/>
                  </a:lnTo>
                  <a:lnTo>
                    <a:pt x="396" y="13"/>
                  </a:lnTo>
                  <a:lnTo>
                    <a:pt x="397" y="12"/>
                  </a:lnTo>
                  <a:lnTo>
                    <a:pt x="397" y="9"/>
                  </a:lnTo>
                  <a:lnTo>
                    <a:pt x="398" y="8"/>
                  </a:lnTo>
                  <a:lnTo>
                    <a:pt x="398" y="8"/>
                  </a:lnTo>
                  <a:lnTo>
                    <a:pt x="398" y="7"/>
                  </a:lnTo>
                  <a:lnTo>
                    <a:pt x="398" y="6"/>
                  </a:lnTo>
                  <a:lnTo>
                    <a:pt x="399" y="5"/>
                  </a:lnTo>
                  <a:lnTo>
                    <a:pt x="402" y="1"/>
                  </a:lnTo>
                  <a:lnTo>
                    <a:pt x="403" y="0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04" y="0"/>
                  </a:lnTo>
                  <a:close/>
                </a:path>
              </a:pathLst>
            </a:custGeom>
            <a:solidFill>
              <a:srgbClr val="BC8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 54">
              <a:extLst>
                <a:ext uri="{FF2B5EF4-FFF2-40B4-BE49-F238E27FC236}">
                  <a16:creationId xmlns:a16="http://schemas.microsoft.com/office/drawing/2014/main" id="{919F6BC6-43AA-6AA3-EEB4-16AE0A3E0E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2866"/>
              <a:ext cx="504" cy="447"/>
            </a:xfrm>
            <a:custGeom>
              <a:avLst/>
              <a:gdLst>
                <a:gd name="T0" fmla="*/ 428 w 504"/>
                <a:gd name="T1" fmla="*/ 12 h 447"/>
                <a:gd name="T2" fmla="*/ 449 w 504"/>
                <a:gd name="T3" fmla="*/ 11 h 447"/>
                <a:gd name="T4" fmla="*/ 461 w 504"/>
                <a:gd name="T5" fmla="*/ 8 h 447"/>
                <a:gd name="T6" fmla="*/ 471 w 504"/>
                <a:gd name="T7" fmla="*/ 21 h 447"/>
                <a:gd name="T8" fmla="*/ 488 w 504"/>
                <a:gd name="T9" fmla="*/ 35 h 447"/>
                <a:gd name="T10" fmla="*/ 481 w 504"/>
                <a:gd name="T11" fmla="*/ 60 h 447"/>
                <a:gd name="T12" fmla="*/ 498 w 504"/>
                <a:gd name="T13" fmla="*/ 60 h 447"/>
                <a:gd name="T14" fmla="*/ 502 w 504"/>
                <a:gd name="T15" fmla="*/ 73 h 447"/>
                <a:gd name="T16" fmla="*/ 484 w 504"/>
                <a:gd name="T17" fmla="*/ 101 h 447"/>
                <a:gd name="T18" fmla="*/ 474 w 504"/>
                <a:gd name="T19" fmla="*/ 118 h 447"/>
                <a:gd name="T20" fmla="*/ 454 w 504"/>
                <a:gd name="T21" fmla="*/ 112 h 447"/>
                <a:gd name="T22" fmla="*/ 446 w 504"/>
                <a:gd name="T23" fmla="*/ 122 h 447"/>
                <a:gd name="T24" fmla="*/ 437 w 504"/>
                <a:gd name="T25" fmla="*/ 141 h 447"/>
                <a:gd name="T26" fmla="*/ 425 w 504"/>
                <a:gd name="T27" fmla="*/ 156 h 447"/>
                <a:gd name="T28" fmla="*/ 416 w 504"/>
                <a:gd name="T29" fmla="*/ 177 h 447"/>
                <a:gd name="T30" fmla="*/ 420 w 504"/>
                <a:gd name="T31" fmla="*/ 198 h 447"/>
                <a:gd name="T32" fmla="*/ 437 w 504"/>
                <a:gd name="T33" fmla="*/ 231 h 447"/>
                <a:gd name="T34" fmla="*/ 455 w 504"/>
                <a:gd name="T35" fmla="*/ 254 h 447"/>
                <a:gd name="T36" fmla="*/ 449 w 504"/>
                <a:gd name="T37" fmla="*/ 260 h 447"/>
                <a:gd name="T38" fmla="*/ 449 w 504"/>
                <a:gd name="T39" fmla="*/ 278 h 447"/>
                <a:gd name="T40" fmla="*/ 434 w 504"/>
                <a:gd name="T41" fmla="*/ 291 h 447"/>
                <a:gd name="T42" fmla="*/ 420 w 504"/>
                <a:gd name="T43" fmla="*/ 290 h 447"/>
                <a:gd name="T44" fmla="*/ 422 w 504"/>
                <a:gd name="T45" fmla="*/ 308 h 447"/>
                <a:gd name="T46" fmla="*/ 415 w 504"/>
                <a:gd name="T47" fmla="*/ 325 h 447"/>
                <a:gd name="T48" fmla="*/ 387 w 504"/>
                <a:gd name="T49" fmla="*/ 331 h 447"/>
                <a:gd name="T50" fmla="*/ 365 w 504"/>
                <a:gd name="T51" fmla="*/ 330 h 447"/>
                <a:gd name="T52" fmla="*/ 323 w 504"/>
                <a:gd name="T53" fmla="*/ 328 h 447"/>
                <a:gd name="T54" fmla="*/ 307 w 504"/>
                <a:gd name="T55" fmla="*/ 335 h 447"/>
                <a:gd name="T56" fmla="*/ 301 w 504"/>
                <a:gd name="T57" fmla="*/ 346 h 447"/>
                <a:gd name="T58" fmla="*/ 288 w 504"/>
                <a:gd name="T59" fmla="*/ 358 h 447"/>
                <a:gd name="T60" fmla="*/ 268 w 504"/>
                <a:gd name="T61" fmla="*/ 371 h 447"/>
                <a:gd name="T62" fmla="*/ 256 w 504"/>
                <a:gd name="T63" fmla="*/ 366 h 447"/>
                <a:gd name="T64" fmla="*/ 239 w 504"/>
                <a:gd name="T65" fmla="*/ 377 h 447"/>
                <a:gd name="T66" fmla="*/ 214 w 504"/>
                <a:gd name="T67" fmla="*/ 380 h 447"/>
                <a:gd name="T68" fmla="*/ 197 w 504"/>
                <a:gd name="T69" fmla="*/ 390 h 447"/>
                <a:gd name="T70" fmla="*/ 175 w 504"/>
                <a:gd name="T71" fmla="*/ 397 h 447"/>
                <a:gd name="T72" fmla="*/ 158 w 504"/>
                <a:gd name="T73" fmla="*/ 412 h 447"/>
                <a:gd name="T74" fmla="*/ 153 w 504"/>
                <a:gd name="T75" fmla="*/ 426 h 447"/>
                <a:gd name="T76" fmla="*/ 141 w 504"/>
                <a:gd name="T77" fmla="*/ 435 h 447"/>
                <a:gd name="T78" fmla="*/ 128 w 504"/>
                <a:gd name="T79" fmla="*/ 446 h 447"/>
                <a:gd name="T80" fmla="*/ 117 w 504"/>
                <a:gd name="T81" fmla="*/ 437 h 447"/>
                <a:gd name="T82" fmla="*/ 109 w 504"/>
                <a:gd name="T83" fmla="*/ 440 h 447"/>
                <a:gd name="T84" fmla="*/ 102 w 504"/>
                <a:gd name="T85" fmla="*/ 437 h 447"/>
                <a:gd name="T86" fmla="*/ 91 w 504"/>
                <a:gd name="T87" fmla="*/ 425 h 447"/>
                <a:gd name="T88" fmla="*/ 84 w 504"/>
                <a:gd name="T89" fmla="*/ 418 h 447"/>
                <a:gd name="T90" fmla="*/ 95 w 504"/>
                <a:gd name="T91" fmla="*/ 416 h 447"/>
                <a:gd name="T92" fmla="*/ 94 w 504"/>
                <a:gd name="T93" fmla="*/ 400 h 447"/>
                <a:gd name="T94" fmla="*/ 85 w 504"/>
                <a:gd name="T95" fmla="*/ 376 h 447"/>
                <a:gd name="T96" fmla="*/ 80 w 504"/>
                <a:gd name="T97" fmla="*/ 356 h 447"/>
                <a:gd name="T98" fmla="*/ 83 w 504"/>
                <a:gd name="T99" fmla="*/ 333 h 447"/>
                <a:gd name="T100" fmla="*/ 76 w 504"/>
                <a:gd name="T101" fmla="*/ 318 h 447"/>
                <a:gd name="T102" fmla="*/ 50 w 504"/>
                <a:gd name="T103" fmla="*/ 318 h 447"/>
                <a:gd name="T104" fmla="*/ 44 w 504"/>
                <a:gd name="T105" fmla="*/ 310 h 447"/>
                <a:gd name="T106" fmla="*/ 28 w 504"/>
                <a:gd name="T107" fmla="*/ 302 h 447"/>
                <a:gd name="T108" fmla="*/ 0 w 504"/>
                <a:gd name="T109" fmla="*/ 293 h 447"/>
                <a:gd name="T110" fmla="*/ 21 w 504"/>
                <a:gd name="T111" fmla="*/ 273 h 447"/>
                <a:gd name="T112" fmla="*/ 28 w 504"/>
                <a:gd name="T113" fmla="*/ 248 h 447"/>
                <a:gd name="T114" fmla="*/ 52 w 504"/>
                <a:gd name="T115" fmla="*/ 245 h 447"/>
                <a:gd name="T116" fmla="*/ 72 w 504"/>
                <a:gd name="T117" fmla="*/ 248 h 447"/>
                <a:gd name="T118" fmla="*/ 84 w 504"/>
                <a:gd name="T119" fmla="*/ 223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4" h="447">
                  <a:moveTo>
                    <a:pt x="404" y="0"/>
                  </a:moveTo>
                  <a:lnTo>
                    <a:pt x="405" y="0"/>
                  </a:lnTo>
                  <a:lnTo>
                    <a:pt x="405" y="0"/>
                  </a:lnTo>
                  <a:lnTo>
                    <a:pt x="406" y="1"/>
                  </a:lnTo>
                  <a:lnTo>
                    <a:pt x="410" y="3"/>
                  </a:lnTo>
                  <a:lnTo>
                    <a:pt x="411" y="4"/>
                  </a:lnTo>
                  <a:lnTo>
                    <a:pt x="413" y="5"/>
                  </a:lnTo>
                  <a:lnTo>
                    <a:pt x="414" y="5"/>
                  </a:lnTo>
                  <a:lnTo>
                    <a:pt x="415" y="5"/>
                  </a:lnTo>
                  <a:lnTo>
                    <a:pt x="419" y="6"/>
                  </a:lnTo>
                  <a:lnTo>
                    <a:pt x="420" y="6"/>
                  </a:lnTo>
                  <a:lnTo>
                    <a:pt x="421" y="7"/>
                  </a:lnTo>
                  <a:lnTo>
                    <a:pt x="422" y="7"/>
                  </a:lnTo>
                  <a:lnTo>
                    <a:pt x="423" y="8"/>
                  </a:lnTo>
                  <a:lnTo>
                    <a:pt x="425" y="9"/>
                  </a:lnTo>
                  <a:lnTo>
                    <a:pt x="426" y="10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0" y="13"/>
                  </a:lnTo>
                  <a:lnTo>
                    <a:pt x="431" y="14"/>
                  </a:lnTo>
                  <a:lnTo>
                    <a:pt x="432" y="14"/>
                  </a:lnTo>
                  <a:lnTo>
                    <a:pt x="433" y="15"/>
                  </a:lnTo>
                  <a:lnTo>
                    <a:pt x="434" y="15"/>
                  </a:lnTo>
                  <a:lnTo>
                    <a:pt x="435" y="15"/>
                  </a:lnTo>
                  <a:lnTo>
                    <a:pt x="436" y="15"/>
                  </a:lnTo>
                  <a:lnTo>
                    <a:pt x="437" y="15"/>
                  </a:lnTo>
                  <a:lnTo>
                    <a:pt x="438" y="14"/>
                  </a:lnTo>
                  <a:lnTo>
                    <a:pt x="439" y="14"/>
                  </a:lnTo>
                  <a:lnTo>
                    <a:pt x="440" y="14"/>
                  </a:lnTo>
                  <a:lnTo>
                    <a:pt x="444" y="12"/>
                  </a:lnTo>
                  <a:lnTo>
                    <a:pt x="445" y="12"/>
                  </a:lnTo>
                  <a:lnTo>
                    <a:pt x="447" y="11"/>
                  </a:lnTo>
                  <a:lnTo>
                    <a:pt x="448" y="11"/>
                  </a:lnTo>
                  <a:lnTo>
                    <a:pt x="449" y="11"/>
                  </a:lnTo>
                  <a:lnTo>
                    <a:pt x="450" y="11"/>
                  </a:lnTo>
                  <a:lnTo>
                    <a:pt x="451" y="11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5" y="12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8" y="10"/>
                  </a:lnTo>
                  <a:lnTo>
                    <a:pt x="459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2" y="9"/>
                  </a:lnTo>
                  <a:lnTo>
                    <a:pt x="462" y="9"/>
                  </a:lnTo>
                  <a:lnTo>
                    <a:pt x="462" y="11"/>
                  </a:lnTo>
                  <a:lnTo>
                    <a:pt x="462" y="12"/>
                  </a:lnTo>
                  <a:lnTo>
                    <a:pt x="462" y="12"/>
                  </a:lnTo>
                  <a:lnTo>
                    <a:pt x="463" y="13"/>
                  </a:lnTo>
                  <a:lnTo>
                    <a:pt x="463" y="14"/>
                  </a:lnTo>
                  <a:lnTo>
                    <a:pt x="464" y="14"/>
                  </a:lnTo>
                  <a:lnTo>
                    <a:pt x="464" y="15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9" y="18"/>
                  </a:lnTo>
                  <a:lnTo>
                    <a:pt x="470" y="19"/>
                  </a:lnTo>
                  <a:lnTo>
                    <a:pt x="471" y="21"/>
                  </a:lnTo>
                  <a:lnTo>
                    <a:pt x="472" y="21"/>
                  </a:lnTo>
                  <a:lnTo>
                    <a:pt x="473" y="22"/>
                  </a:lnTo>
                  <a:lnTo>
                    <a:pt x="474" y="22"/>
                  </a:lnTo>
                  <a:lnTo>
                    <a:pt x="475" y="22"/>
                  </a:lnTo>
                  <a:lnTo>
                    <a:pt x="478" y="23"/>
                  </a:lnTo>
                  <a:lnTo>
                    <a:pt x="478" y="23"/>
                  </a:lnTo>
                  <a:lnTo>
                    <a:pt x="479" y="24"/>
                  </a:lnTo>
                  <a:lnTo>
                    <a:pt x="480" y="24"/>
                  </a:lnTo>
                  <a:lnTo>
                    <a:pt x="481" y="25"/>
                  </a:lnTo>
                  <a:lnTo>
                    <a:pt x="482" y="26"/>
                  </a:lnTo>
                  <a:lnTo>
                    <a:pt x="483" y="26"/>
                  </a:lnTo>
                  <a:lnTo>
                    <a:pt x="484" y="28"/>
                  </a:lnTo>
                  <a:lnTo>
                    <a:pt x="486" y="30"/>
                  </a:lnTo>
                  <a:lnTo>
                    <a:pt x="487" y="31"/>
                  </a:lnTo>
                  <a:lnTo>
                    <a:pt x="487" y="32"/>
                  </a:lnTo>
                  <a:lnTo>
                    <a:pt x="488" y="34"/>
                  </a:lnTo>
                  <a:lnTo>
                    <a:pt x="488" y="35"/>
                  </a:lnTo>
                  <a:lnTo>
                    <a:pt x="488" y="36"/>
                  </a:lnTo>
                  <a:lnTo>
                    <a:pt x="488" y="38"/>
                  </a:lnTo>
                  <a:lnTo>
                    <a:pt x="488" y="39"/>
                  </a:lnTo>
                  <a:lnTo>
                    <a:pt x="488" y="41"/>
                  </a:lnTo>
                  <a:lnTo>
                    <a:pt x="487" y="43"/>
                  </a:lnTo>
                  <a:lnTo>
                    <a:pt x="487" y="45"/>
                  </a:lnTo>
                  <a:lnTo>
                    <a:pt x="486" y="47"/>
                  </a:lnTo>
                  <a:lnTo>
                    <a:pt x="485" y="50"/>
                  </a:lnTo>
                  <a:lnTo>
                    <a:pt x="484" y="51"/>
                  </a:lnTo>
                  <a:lnTo>
                    <a:pt x="482" y="55"/>
                  </a:lnTo>
                  <a:lnTo>
                    <a:pt x="482" y="56"/>
                  </a:lnTo>
                  <a:lnTo>
                    <a:pt x="481" y="57"/>
                  </a:lnTo>
                  <a:lnTo>
                    <a:pt x="481" y="57"/>
                  </a:lnTo>
                  <a:lnTo>
                    <a:pt x="481" y="59"/>
                  </a:lnTo>
                  <a:lnTo>
                    <a:pt x="481" y="59"/>
                  </a:lnTo>
                  <a:lnTo>
                    <a:pt x="481" y="60"/>
                  </a:lnTo>
                  <a:lnTo>
                    <a:pt x="481" y="60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4" y="63"/>
                  </a:lnTo>
                  <a:lnTo>
                    <a:pt x="485" y="64"/>
                  </a:lnTo>
                  <a:lnTo>
                    <a:pt x="485" y="64"/>
                  </a:lnTo>
                  <a:lnTo>
                    <a:pt x="486" y="64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2"/>
                  </a:lnTo>
                  <a:lnTo>
                    <a:pt x="495" y="61"/>
                  </a:lnTo>
                  <a:lnTo>
                    <a:pt x="497" y="61"/>
                  </a:lnTo>
                  <a:lnTo>
                    <a:pt x="498" y="60"/>
                  </a:lnTo>
                  <a:lnTo>
                    <a:pt x="499" y="60"/>
                  </a:lnTo>
                  <a:lnTo>
                    <a:pt x="500" y="60"/>
                  </a:lnTo>
                  <a:lnTo>
                    <a:pt x="501" y="60"/>
                  </a:lnTo>
                  <a:lnTo>
                    <a:pt x="501" y="60"/>
                  </a:lnTo>
                  <a:lnTo>
                    <a:pt x="502" y="60"/>
                  </a:lnTo>
                  <a:lnTo>
                    <a:pt x="502" y="61"/>
                  </a:lnTo>
                  <a:lnTo>
                    <a:pt x="503" y="61"/>
                  </a:lnTo>
                  <a:lnTo>
                    <a:pt x="503" y="62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4"/>
                  </a:lnTo>
                  <a:lnTo>
                    <a:pt x="504" y="65"/>
                  </a:lnTo>
                  <a:lnTo>
                    <a:pt x="504" y="66"/>
                  </a:lnTo>
                  <a:lnTo>
                    <a:pt x="504" y="68"/>
                  </a:lnTo>
                  <a:lnTo>
                    <a:pt x="504" y="69"/>
                  </a:lnTo>
                  <a:lnTo>
                    <a:pt x="503" y="70"/>
                  </a:lnTo>
                  <a:lnTo>
                    <a:pt x="502" y="73"/>
                  </a:lnTo>
                  <a:lnTo>
                    <a:pt x="501" y="75"/>
                  </a:lnTo>
                  <a:lnTo>
                    <a:pt x="497" y="84"/>
                  </a:lnTo>
                  <a:lnTo>
                    <a:pt x="495" y="90"/>
                  </a:lnTo>
                  <a:lnTo>
                    <a:pt x="495" y="91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4" y="93"/>
                  </a:lnTo>
                  <a:lnTo>
                    <a:pt x="494" y="93"/>
                  </a:lnTo>
                  <a:lnTo>
                    <a:pt x="493" y="95"/>
                  </a:lnTo>
                  <a:lnTo>
                    <a:pt x="491" y="96"/>
                  </a:lnTo>
                  <a:lnTo>
                    <a:pt x="490" y="97"/>
                  </a:lnTo>
                  <a:lnTo>
                    <a:pt x="489" y="98"/>
                  </a:lnTo>
                  <a:lnTo>
                    <a:pt x="487" y="99"/>
                  </a:lnTo>
                  <a:lnTo>
                    <a:pt x="485" y="100"/>
                  </a:lnTo>
                  <a:lnTo>
                    <a:pt x="484" y="101"/>
                  </a:lnTo>
                  <a:lnTo>
                    <a:pt x="482" y="102"/>
                  </a:lnTo>
                  <a:lnTo>
                    <a:pt x="482" y="102"/>
                  </a:lnTo>
                  <a:lnTo>
                    <a:pt x="482" y="103"/>
                  </a:lnTo>
                  <a:lnTo>
                    <a:pt x="481" y="104"/>
                  </a:lnTo>
                  <a:lnTo>
                    <a:pt x="481" y="104"/>
                  </a:lnTo>
                  <a:lnTo>
                    <a:pt x="480" y="105"/>
                  </a:lnTo>
                  <a:lnTo>
                    <a:pt x="480" y="107"/>
                  </a:lnTo>
                  <a:lnTo>
                    <a:pt x="479" y="108"/>
                  </a:lnTo>
                  <a:lnTo>
                    <a:pt x="478" y="114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6" y="116"/>
                  </a:lnTo>
                  <a:lnTo>
                    <a:pt x="476" y="117"/>
                  </a:lnTo>
                  <a:lnTo>
                    <a:pt x="476" y="117"/>
                  </a:lnTo>
                  <a:lnTo>
                    <a:pt x="475" y="118"/>
                  </a:lnTo>
                  <a:lnTo>
                    <a:pt x="475" y="118"/>
                  </a:lnTo>
                  <a:lnTo>
                    <a:pt x="474" y="118"/>
                  </a:lnTo>
                  <a:lnTo>
                    <a:pt x="474" y="119"/>
                  </a:lnTo>
                  <a:lnTo>
                    <a:pt x="473" y="119"/>
                  </a:lnTo>
                  <a:lnTo>
                    <a:pt x="472" y="119"/>
                  </a:lnTo>
                  <a:lnTo>
                    <a:pt x="471" y="119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69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6" y="118"/>
                  </a:lnTo>
                  <a:lnTo>
                    <a:pt x="464" y="118"/>
                  </a:lnTo>
                  <a:lnTo>
                    <a:pt x="463" y="117"/>
                  </a:lnTo>
                  <a:lnTo>
                    <a:pt x="460" y="115"/>
                  </a:lnTo>
                  <a:lnTo>
                    <a:pt x="458" y="114"/>
                  </a:lnTo>
                  <a:lnTo>
                    <a:pt x="457" y="114"/>
                  </a:lnTo>
                  <a:lnTo>
                    <a:pt x="455" y="113"/>
                  </a:lnTo>
                  <a:lnTo>
                    <a:pt x="454" y="112"/>
                  </a:lnTo>
                  <a:lnTo>
                    <a:pt x="453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1" y="112"/>
                  </a:lnTo>
                  <a:lnTo>
                    <a:pt x="450" y="112"/>
                  </a:lnTo>
                  <a:lnTo>
                    <a:pt x="448" y="113"/>
                  </a:lnTo>
                  <a:lnTo>
                    <a:pt x="447" y="113"/>
                  </a:lnTo>
                  <a:lnTo>
                    <a:pt x="447" y="113"/>
                  </a:lnTo>
                  <a:lnTo>
                    <a:pt x="446" y="113"/>
                  </a:lnTo>
                  <a:lnTo>
                    <a:pt x="446" y="113"/>
                  </a:lnTo>
                  <a:lnTo>
                    <a:pt x="446" y="114"/>
                  </a:lnTo>
                  <a:lnTo>
                    <a:pt x="446" y="114"/>
                  </a:lnTo>
                  <a:lnTo>
                    <a:pt x="446" y="115"/>
                  </a:lnTo>
                  <a:lnTo>
                    <a:pt x="446" y="116"/>
                  </a:lnTo>
                  <a:lnTo>
                    <a:pt x="446" y="119"/>
                  </a:lnTo>
                  <a:lnTo>
                    <a:pt x="446" y="121"/>
                  </a:lnTo>
                  <a:lnTo>
                    <a:pt x="446" y="122"/>
                  </a:lnTo>
                  <a:lnTo>
                    <a:pt x="446" y="123"/>
                  </a:lnTo>
                  <a:lnTo>
                    <a:pt x="446" y="126"/>
                  </a:lnTo>
                  <a:lnTo>
                    <a:pt x="445" y="127"/>
                  </a:lnTo>
                  <a:lnTo>
                    <a:pt x="445" y="128"/>
                  </a:lnTo>
                  <a:lnTo>
                    <a:pt x="445" y="128"/>
                  </a:lnTo>
                  <a:lnTo>
                    <a:pt x="444" y="129"/>
                  </a:lnTo>
                  <a:lnTo>
                    <a:pt x="444" y="130"/>
                  </a:lnTo>
                  <a:lnTo>
                    <a:pt x="442" y="132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0" y="134"/>
                  </a:lnTo>
                  <a:lnTo>
                    <a:pt x="440" y="135"/>
                  </a:lnTo>
                  <a:lnTo>
                    <a:pt x="439" y="136"/>
                  </a:lnTo>
                  <a:lnTo>
                    <a:pt x="439" y="137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7" y="141"/>
                  </a:lnTo>
                  <a:lnTo>
                    <a:pt x="437" y="142"/>
                  </a:lnTo>
                  <a:lnTo>
                    <a:pt x="437" y="143"/>
                  </a:lnTo>
                  <a:lnTo>
                    <a:pt x="437" y="144"/>
                  </a:lnTo>
                  <a:lnTo>
                    <a:pt x="437" y="146"/>
                  </a:lnTo>
                  <a:lnTo>
                    <a:pt x="437" y="146"/>
                  </a:lnTo>
                  <a:lnTo>
                    <a:pt x="437" y="147"/>
                  </a:lnTo>
                  <a:lnTo>
                    <a:pt x="436" y="147"/>
                  </a:lnTo>
                  <a:lnTo>
                    <a:pt x="436" y="147"/>
                  </a:lnTo>
                  <a:lnTo>
                    <a:pt x="436" y="148"/>
                  </a:lnTo>
                  <a:lnTo>
                    <a:pt x="435" y="148"/>
                  </a:lnTo>
                  <a:lnTo>
                    <a:pt x="434" y="149"/>
                  </a:lnTo>
                  <a:lnTo>
                    <a:pt x="433" y="149"/>
                  </a:lnTo>
                  <a:lnTo>
                    <a:pt x="433" y="149"/>
                  </a:lnTo>
                  <a:lnTo>
                    <a:pt x="430" y="152"/>
                  </a:lnTo>
                  <a:lnTo>
                    <a:pt x="427" y="154"/>
                  </a:lnTo>
                  <a:lnTo>
                    <a:pt x="426" y="155"/>
                  </a:lnTo>
                  <a:lnTo>
                    <a:pt x="425" y="156"/>
                  </a:lnTo>
                  <a:lnTo>
                    <a:pt x="425" y="156"/>
                  </a:lnTo>
                  <a:lnTo>
                    <a:pt x="424" y="157"/>
                  </a:lnTo>
                  <a:lnTo>
                    <a:pt x="424" y="158"/>
                  </a:lnTo>
                  <a:lnTo>
                    <a:pt x="423" y="159"/>
                  </a:lnTo>
                  <a:lnTo>
                    <a:pt x="423" y="160"/>
                  </a:lnTo>
                  <a:lnTo>
                    <a:pt x="422" y="162"/>
                  </a:lnTo>
                  <a:lnTo>
                    <a:pt x="422" y="163"/>
                  </a:lnTo>
                  <a:lnTo>
                    <a:pt x="422" y="164"/>
                  </a:lnTo>
                  <a:lnTo>
                    <a:pt x="421" y="167"/>
                  </a:lnTo>
                  <a:lnTo>
                    <a:pt x="421" y="168"/>
                  </a:lnTo>
                  <a:lnTo>
                    <a:pt x="421" y="169"/>
                  </a:lnTo>
                  <a:lnTo>
                    <a:pt x="420" y="170"/>
                  </a:lnTo>
                  <a:lnTo>
                    <a:pt x="420" y="171"/>
                  </a:lnTo>
                  <a:lnTo>
                    <a:pt x="418" y="174"/>
                  </a:lnTo>
                  <a:lnTo>
                    <a:pt x="417" y="176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8"/>
                  </a:lnTo>
                  <a:lnTo>
                    <a:pt x="415" y="178"/>
                  </a:lnTo>
                  <a:lnTo>
                    <a:pt x="415" y="179"/>
                  </a:lnTo>
                  <a:lnTo>
                    <a:pt x="415" y="180"/>
                  </a:lnTo>
                  <a:lnTo>
                    <a:pt x="415" y="181"/>
                  </a:lnTo>
                  <a:lnTo>
                    <a:pt x="415" y="182"/>
                  </a:lnTo>
                  <a:lnTo>
                    <a:pt x="416" y="182"/>
                  </a:lnTo>
                  <a:lnTo>
                    <a:pt x="416" y="183"/>
                  </a:lnTo>
                  <a:lnTo>
                    <a:pt x="417" y="185"/>
                  </a:lnTo>
                  <a:lnTo>
                    <a:pt x="417" y="186"/>
                  </a:lnTo>
                  <a:lnTo>
                    <a:pt x="418" y="187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19" y="193"/>
                  </a:lnTo>
                  <a:lnTo>
                    <a:pt x="419" y="196"/>
                  </a:lnTo>
                  <a:lnTo>
                    <a:pt x="420" y="196"/>
                  </a:lnTo>
                  <a:lnTo>
                    <a:pt x="420" y="198"/>
                  </a:lnTo>
                  <a:lnTo>
                    <a:pt x="421" y="199"/>
                  </a:lnTo>
                  <a:lnTo>
                    <a:pt x="422" y="201"/>
                  </a:lnTo>
                  <a:lnTo>
                    <a:pt x="423" y="205"/>
                  </a:lnTo>
                  <a:lnTo>
                    <a:pt x="425" y="209"/>
                  </a:lnTo>
                  <a:lnTo>
                    <a:pt x="426" y="210"/>
                  </a:lnTo>
                  <a:lnTo>
                    <a:pt x="427" y="211"/>
                  </a:lnTo>
                  <a:lnTo>
                    <a:pt x="428" y="213"/>
                  </a:lnTo>
                  <a:lnTo>
                    <a:pt x="428" y="214"/>
                  </a:lnTo>
                  <a:lnTo>
                    <a:pt x="430" y="216"/>
                  </a:lnTo>
                  <a:lnTo>
                    <a:pt x="430" y="217"/>
                  </a:lnTo>
                  <a:lnTo>
                    <a:pt x="431" y="218"/>
                  </a:lnTo>
                  <a:lnTo>
                    <a:pt x="432" y="220"/>
                  </a:lnTo>
                  <a:lnTo>
                    <a:pt x="433" y="222"/>
                  </a:lnTo>
                  <a:lnTo>
                    <a:pt x="433" y="223"/>
                  </a:lnTo>
                  <a:lnTo>
                    <a:pt x="436" y="230"/>
                  </a:lnTo>
                  <a:lnTo>
                    <a:pt x="436" y="230"/>
                  </a:lnTo>
                  <a:lnTo>
                    <a:pt x="437" y="231"/>
                  </a:lnTo>
                  <a:lnTo>
                    <a:pt x="439" y="236"/>
                  </a:lnTo>
                  <a:lnTo>
                    <a:pt x="441" y="240"/>
                  </a:lnTo>
                  <a:lnTo>
                    <a:pt x="442" y="240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44" y="243"/>
                  </a:lnTo>
                  <a:lnTo>
                    <a:pt x="445" y="243"/>
                  </a:lnTo>
                  <a:lnTo>
                    <a:pt x="447" y="245"/>
                  </a:lnTo>
                  <a:lnTo>
                    <a:pt x="448" y="246"/>
                  </a:lnTo>
                  <a:lnTo>
                    <a:pt x="450" y="247"/>
                  </a:lnTo>
                  <a:lnTo>
                    <a:pt x="451" y="248"/>
                  </a:lnTo>
                  <a:lnTo>
                    <a:pt x="451" y="249"/>
                  </a:lnTo>
                  <a:lnTo>
                    <a:pt x="452" y="249"/>
                  </a:lnTo>
                  <a:lnTo>
                    <a:pt x="453" y="250"/>
                  </a:lnTo>
                  <a:lnTo>
                    <a:pt x="453" y="251"/>
                  </a:lnTo>
                  <a:lnTo>
                    <a:pt x="454" y="252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5"/>
                  </a:lnTo>
                  <a:lnTo>
                    <a:pt x="455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3" y="254"/>
                  </a:lnTo>
                  <a:lnTo>
                    <a:pt x="453" y="255"/>
                  </a:lnTo>
                  <a:lnTo>
                    <a:pt x="452" y="255"/>
                  </a:lnTo>
                  <a:lnTo>
                    <a:pt x="452" y="256"/>
                  </a:lnTo>
                  <a:lnTo>
                    <a:pt x="451" y="256"/>
                  </a:lnTo>
                  <a:lnTo>
                    <a:pt x="450" y="257"/>
                  </a:lnTo>
                  <a:lnTo>
                    <a:pt x="450" y="258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60"/>
                  </a:lnTo>
                  <a:lnTo>
                    <a:pt x="449" y="260"/>
                  </a:lnTo>
                  <a:lnTo>
                    <a:pt x="449" y="261"/>
                  </a:lnTo>
                  <a:lnTo>
                    <a:pt x="449" y="262"/>
                  </a:lnTo>
                  <a:lnTo>
                    <a:pt x="449" y="262"/>
                  </a:lnTo>
                  <a:lnTo>
                    <a:pt x="449" y="264"/>
                  </a:lnTo>
                  <a:lnTo>
                    <a:pt x="450" y="267"/>
                  </a:lnTo>
                  <a:lnTo>
                    <a:pt x="450" y="269"/>
                  </a:lnTo>
                  <a:lnTo>
                    <a:pt x="450" y="270"/>
                  </a:lnTo>
                  <a:lnTo>
                    <a:pt x="450" y="273"/>
                  </a:lnTo>
                  <a:lnTo>
                    <a:pt x="450" y="274"/>
                  </a:lnTo>
                  <a:lnTo>
                    <a:pt x="450" y="275"/>
                  </a:lnTo>
                  <a:lnTo>
                    <a:pt x="450" y="275"/>
                  </a:lnTo>
                  <a:lnTo>
                    <a:pt x="450" y="276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7" y="279"/>
                  </a:lnTo>
                  <a:lnTo>
                    <a:pt x="445" y="280"/>
                  </a:lnTo>
                  <a:lnTo>
                    <a:pt x="442" y="281"/>
                  </a:lnTo>
                  <a:lnTo>
                    <a:pt x="439" y="281"/>
                  </a:lnTo>
                  <a:lnTo>
                    <a:pt x="438" y="282"/>
                  </a:lnTo>
                  <a:lnTo>
                    <a:pt x="438" y="282"/>
                  </a:lnTo>
                  <a:lnTo>
                    <a:pt x="437" y="282"/>
                  </a:lnTo>
                  <a:lnTo>
                    <a:pt x="437" y="283"/>
                  </a:lnTo>
                  <a:lnTo>
                    <a:pt x="436" y="286"/>
                  </a:lnTo>
                  <a:lnTo>
                    <a:pt x="434" y="288"/>
                  </a:lnTo>
                  <a:lnTo>
                    <a:pt x="434" y="289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2" y="291"/>
                  </a:lnTo>
                  <a:lnTo>
                    <a:pt x="431" y="291"/>
                  </a:lnTo>
                  <a:lnTo>
                    <a:pt x="430" y="291"/>
                  </a:lnTo>
                  <a:lnTo>
                    <a:pt x="429" y="291"/>
                  </a:lnTo>
                  <a:lnTo>
                    <a:pt x="428" y="291"/>
                  </a:lnTo>
                  <a:lnTo>
                    <a:pt x="424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2" y="289"/>
                  </a:lnTo>
                  <a:lnTo>
                    <a:pt x="422" y="289"/>
                  </a:lnTo>
                  <a:lnTo>
                    <a:pt x="421" y="289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1"/>
                  </a:lnTo>
                  <a:lnTo>
                    <a:pt x="420" y="292"/>
                  </a:lnTo>
                  <a:lnTo>
                    <a:pt x="420" y="294"/>
                  </a:lnTo>
                  <a:lnTo>
                    <a:pt x="420" y="296"/>
                  </a:lnTo>
                  <a:lnTo>
                    <a:pt x="420" y="297"/>
                  </a:lnTo>
                  <a:lnTo>
                    <a:pt x="420" y="298"/>
                  </a:lnTo>
                  <a:lnTo>
                    <a:pt x="420" y="299"/>
                  </a:lnTo>
                  <a:lnTo>
                    <a:pt x="420" y="300"/>
                  </a:lnTo>
                  <a:lnTo>
                    <a:pt x="420" y="301"/>
                  </a:lnTo>
                  <a:lnTo>
                    <a:pt x="421" y="302"/>
                  </a:lnTo>
                  <a:lnTo>
                    <a:pt x="421" y="305"/>
                  </a:lnTo>
                  <a:lnTo>
                    <a:pt x="422" y="306"/>
                  </a:lnTo>
                  <a:lnTo>
                    <a:pt x="422" y="307"/>
                  </a:lnTo>
                  <a:lnTo>
                    <a:pt x="422" y="308"/>
                  </a:lnTo>
                  <a:lnTo>
                    <a:pt x="422" y="309"/>
                  </a:lnTo>
                  <a:lnTo>
                    <a:pt x="422" y="311"/>
                  </a:lnTo>
                  <a:lnTo>
                    <a:pt x="422" y="312"/>
                  </a:lnTo>
                  <a:lnTo>
                    <a:pt x="421" y="313"/>
                  </a:lnTo>
                  <a:lnTo>
                    <a:pt x="421" y="315"/>
                  </a:lnTo>
                  <a:lnTo>
                    <a:pt x="420" y="319"/>
                  </a:lnTo>
                  <a:lnTo>
                    <a:pt x="420" y="320"/>
                  </a:lnTo>
                  <a:lnTo>
                    <a:pt x="420" y="321"/>
                  </a:lnTo>
                  <a:lnTo>
                    <a:pt x="419" y="322"/>
                  </a:lnTo>
                  <a:lnTo>
                    <a:pt x="419" y="323"/>
                  </a:lnTo>
                  <a:lnTo>
                    <a:pt x="418" y="323"/>
                  </a:lnTo>
                  <a:lnTo>
                    <a:pt x="418" y="324"/>
                  </a:lnTo>
                  <a:lnTo>
                    <a:pt x="418" y="324"/>
                  </a:lnTo>
                  <a:lnTo>
                    <a:pt x="417" y="324"/>
                  </a:lnTo>
                  <a:lnTo>
                    <a:pt x="417" y="325"/>
                  </a:lnTo>
                  <a:lnTo>
                    <a:pt x="416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3" y="325"/>
                  </a:lnTo>
                  <a:lnTo>
                    <a:pt x="411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4"/>
                  </a:lnTo>
                  <a:lnTo>
                    <a:pt x="401" y="325"/>
                  </a:lnTo>
                  <a:lnTo>
                    <a:pt x="395" y="326"/>
                  </a:lnTo>
                  <a:lnTo>
                    <a:pt x="394" y="326"/>
                  </a:lnTo>
                  <a:lnTo>
                    <a:pt x="393" y="326"/>
                  </a:lnTo>
                  <a:lnTo>
                    <a:pt x="392" y="327"/>
                  </a:lnTo>
                  <a:lnTo>
                    <a:pt x="391" y="327"/>
                  </a:lnTo>
                  <a:lnTo>
                    <a:pt x="391" y="327"/>
                  </a:lnTo>
                  <a:lnTo>
                    <a:pt x="390" y="328"/>
                  </a:lnTo>
                  <a:lnTo>
                    <a:pt x="388" y="330"/>
                  </a:lnTo>
                  <a:lnTo>
                    <a:pt x="387" y="331"/>
                  </a:lnTo>
                  <a:lnTo>
                    <a:pt x="386" y="332"/>
                  </a:lnTo>
                  <a:lnTo>
                    <a:pt x="385" y="332"/>
                  </a:lnTo>
                  <a:lnTo>
                    <a:pt x="384" y="333"/>
                  </a:lnTo>
                  <a:lnTo>
                    <a:pt x="384" y="333"/>
                  </a:lnTo>
                  <a:lnTo>
                    <a:pt x="383" y="333"/>
                  </a:lnTo>
                  <a:lnTo>
                    <a:pt x="383" y="333"/>
                  </a:lnTo>
                  <a:lnTo>
                    <a:pt x="382" y="333"/>
                  </a:lnTo>
                  <a:lnTo>
                    <a:pt x="381" y="333"/>
                  </a:lnTo>
                  <a:lnTo>
                    <a:pt x="379" y="333"/>
                  </a:lnTo>
                  <a:lnTo>
                    <a:pt x="376" y="332"/>
                  </a:lnTo>
                  <a:lnTo>
                    <a:pt x="372" y="331"/>
                  </a:lnTo>
                  <a:lnTo>
                    <a:pt x="370" y="331"/>
                  </a:lnTo>
                  <a:lnTo>
                    <a:pt x="368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6" y="330"/>
                  </a:lnTo>
                  <a:lnTo>
                    <a:pt x="365" y="330"/>
                  </a:lnTo>
                  <a:lnTo>
                    <a:pt x="365" y="331"/>
                  </a:lnTo>
                  <a:lnTo>
                    <a:pt x="363" y="332"/>
                  </a:lnTo>
                  <a:lnTo>
                    <a:pt x="361" y="332"/>
                  </a:lnTo>
                  <a:lnTo>
                    <a:pt x="359" y="332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3" y="333"/>
                  </a:lnTo>
                  <a:lnTo>
                    <a:pt x="350" y="333"/>
                  </a:lnTo>
                  <a:lnTo>
                    <a:pt x="348" y="333"/>
                  </a:lnTo>
                  <a:lnTo>
                    <a:pt x="346" y="333"/>
                  </a:lnTo>
                  <a:lnTo>
                    <a:pt x="340" y="332"/>
                  </a:lnTo>
                  <a:lnTo>
                    <a:pt x="338" y="332"/>
                  </a:lnTo>
                  <a:lnTo>
                    <a:pt x="336" y="332"/>
                  </a:lnTo>
                  <a:lnTo>
                    <a:pt x="333" y="331"/>
                  </a:lnTo>
                  <a:lnTo>
                    <a:pt x="329" y="330"/>
                  </a:lnTo>
                  <a:lnTo>
                    <a:pt x="325" y="329"/>
                  </a:lnTo>
                  <a:lnTo>
                    <a:pt x="323" y="328"/>
                  </a:lnTo>
                  <a:lnTo>
                    <a:pt x="322" y="328"/>
                  </a:lnTo>
                  <a:lnTo>
                    <a:pt x="317" y="328"/>
                  </a:lnTo>
                  <a:lnTo>
                    <a:pt x="316" y="328"/>
                  </a:lnTo>
                  <a:lnTo>
                    <a:pt x="315" y="328"/>
                  </a:lnTo>
                  <a:lnTo>
                    <a:pt x="314" y="328"/>
                  </a:lnTo>
                  <a:lnTo>
                    <a:pt x="313" y="328"/>
                  </a:lnTo>
                  <a:lnTo>
                    <a:pt x="313" y="328"/>
                  </a:lnTo>
                  <a:lnTo>
                    <a:pt x="312" y="329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09" y="331"/>
                  </a:lnTo>
                  <a:lnTo>
                    <a:pt x="309" y="331"/>
                  </a:lnTo>
                  <a:lnTo>
                    <a:pt x="308" y="332"/>
                  </a:lnTo>
                  <a:lnTo>
                    <a:pt x="307" y="333"/>
                  </a:lnTo>
                  <a:lnTo>
                    <a:pt x="307" y="333"/>
                  </a:lnTo>
                  <a:lnTo>
                    <a:pt x="307" y="334"/>
                  </a:lnTo>
                  <a:lnTo>
                    <a:pt x="307" y="335"/>
                  </a:lnTo>
                  <a:lnTo>
                    <a:pt x="307" y="335"/>
                  </a:lnTo>
                  <a:lnTo>
                    <a:pt x="307" y="336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4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4" y="346"/>
                  </a:lnTo>
                  <a:lnTo>
                    <a:pt x="304" y="346"/>
                  </a:lnTo>
                  <a:lnTo>
                    <a:pt x="302" y="346"/>
                  </a:lnTo>
                  <a:lnTo>
                    <a:pt x="301" y="346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298" y="347"/>
                  </a:lnTo>
                  <a:lnTo>
                    <a:pt x="298" y="347"/>
                  </a:lnTo>
                  <a:lnTo>
                    <a:pt x="297" y="347"/>
                  </a:lnTo>
                  <a:lnTo>
                    <a:pt x="297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2"/>
                  </a:lnTo>
                  <a:lnTo>
                    <a:pt x="295" y="353"/>
                  </a:lnTo>
                  <a:lnTo>
                    <a:pt x="294" y="353"/>
                  </a:lnTo>
                  <a:lnTo>
                    <a:pt x="292" y="355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89" y="357"/>
                  </a:lnTo>
                  <a:lnTo>
                    <a:pt x="288" y="358"/>
                  </a:lnTo>
                  <a:lnTo>
                    <a:pt x="287" y="359"/>
                  </a:lnTo>
                  <a:lnTo>
                    <a:pt x="286" y="359"/>
                  </a:lnTo>
                  <a:lnTo>
                    <a:pt x="285" y="359"/>
                  </a:lnTo>
                  <a:lnTo>
                    <a:pt x="282" y="360"/>
                  </a:lnTo>
                  <a:lnTo>
                    <a:pt x="281" y="361"/>
                  </a:lnTo>
                  <a:lnTo>
                    <a:pt x="280" y="361"/>
                  </a:lnTo>
                  <a:lnTo>
                    <a:pt x="278" y="361"/>
                  </a:lnTo>
                  <a:lnTo>
                    <a:pt x="278" y="362"/>
                  </a:lnTo>
                  <a:lnTo>
                    <a:pt x="277" y="362"/>
                  </a:lnTo>
                  <a:lnTo>
                    <a:pt x="276" y="363"/>
                  </a:lnTo>
                  <a:lnTo>
                    <a:pt x="275" y="364"/>
                  </a:lnTo>
                  <a:lnTo>
                    <a:pt x="274" y="364"/>
                  </a:lnTo>
                  <a:lnTo>
                    <a:pt x="273" y="365"/>
                  </a:lnTo>
                  <a:lnTo>
                    <a:pt x="272" y="367"/>
                  </a:lnTo>
                  <a:lnTo>
                    <a:pt x="270" y="369"/>
                  </a:lnTo>
                  <a:lnTo>
                    <a:pt x="269" y="370"/>
                  </a:lnTo>
                  <a:lnTo>
                    <a:pt x="268" y="371"/>
                  </a:lnTo>
                  <a:lnTo>
                    <a:pt x="268" y="371"/>
                  </a:lnTo>
                  <a:lnTo>
                    <a:pt x="267" y="371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5" y="372"/>
                  </a:lnTo>
                  <a:lnTo>
                    <a:pt x="265" y="372"/>
                  </a:lnTo>
                  <a:lnTo>
                    <a:pt x="264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3" y="371"/>
                  </a:lnTo>
                  <a:lnTo>
                    <a:pt x="262" y="371"/>
                  </a:lnTo>
                  <a:lnTo>
                    <a:pt x="261" y="370"/>
                  </a:lnTo>
                  <a:lnTo>
                    <a:pt x="259" y="368"/>
                  </a:lnTo>
                  <a:lnTo>
                    <a:pt x="259" y="368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4" y="366"/>
                  </a:lnTo>
                  <a:lnTo>
                    <a:pt x="253" y="366"/>
                  </a:lnTo>
                  <a:lnTo>
                    <a:pt x="253" y="367"/>
                  </a:lnTo>
                  <a:lnTo>
                    <a:pt x="252" y="367"/>
                  </a:lnTo>
                  <a:lnTo>
                    <a:pt x="251" y="368"/>
                  </a:lnTo>
                  <a:lnTo>
                    <a:pt x="250" y="369"/>
                  </a:lnTo>
                  <a:lnTo>
                    <a:pt x="249" y="370"/>
                  </a:lnTo>
                  <a:lnTo>
                    <a:pt x="246" y="373"/>
                  </a:lnTo>
                  <a:lnTo>
                    <a:pt x="244" y="374"/>
                  </a:lnTo>
                  <a:lnTo>
                    <a:pt x="244" y="375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8" y="378"/>
                  </a:lnTo>
                  <a:lnTo>
                    <a:pt x="236" y="380"/>
                  </a:lnTo>
                  <a:lnTo>
                    <a:pt x="235" y="380"/>
                  </a:lnTo>
                  <a:lnTo>
                    <a:pt x="234" y="381"/>
                  </a:lnTo>
                  <a:lnTo>
                    <a:pt x="233" y="381"/>
                  </a:lnTo>
                  <a:lnTo>
                    <a:pt x="232" y="381"/>
                  </a:lnTo>
                  <a:lnTo>
                    <a:pt x="231" y="381"/>
                  </a:lnTo>
                  <a:lnTo>
                    <a:pt x="230" y="381"/>
                  </a:lnTo>
                  <a:lnTo>
                    <a:pt x="228" y="381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2"/>
                  </a:lnTo>
                  <a:lnTo>
                    <a:pt x="220" y="382"/>
                  </a:lnTo>
                  <a:lnTo>
                    <a:pt x="218" y="381"/>
                  </a:lnTo>
                  <a:lnTo>
                    <a:pt x="217" y="381"/>
                  </a:lnTo>
                  <a:lnTo>
                    <a:pt x="215" y="381"/>
                  </a:lnTo>
                  <a:lnTo>
                    <a:pt x="214" y="380"/>
                  </a:lnTo>
                  <a:lnTo>
                    <a:pt x="214" y="380"/>
                  </a:lnTo>
                  <a:lnTo>
                    <a:pt x="213" y="380"/>
                  </a:lnTo>
                  <a:lnTo>
                    <a:pt x="212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09" y="379"/>
                  </a:lnTo>
                  <a:lnTo>
                    <a:pt x="208" y="380"/>
                  </a:lnTo>
                  <a:lnTo>
                    <a:pt x="207" y="381"/>
                  </a:lnTo>
                  <a:lnTo>
                    <a:pt x="203" y="385"/>
                  </a:lnTo>
                  <a:lnTo>
                    <a:pt x="200" y="387"/>
                  </a:lnTo>
                  <a:lnTo>
                    <a:pt x="198" y="389"/>
                  </a:lnTo>
                  <a:lnTo>
                    <a:pt x="198" y="389"/>
                  </a:lnTo>
                  <a:lnTo>
                    <a:pt x="197" y="390"/>
                  </a:lnTo>
                  <a:lnTo>
                    <a:pt x="196" y="391"/>
                  </a:lnTo>
                  <a:lnTo>
                    <a:pt x="195" y="393"/>
                  </a:lnTo>
                  <a:lnTo>
                    <a:pt x="194" y="393"/>
                  </a:lnTo>
                  <a:lnTo>
                    <a:pt x="193" y="394"/>
                  </a:lnTo>
                  <a:lnTo>
                    <a:pt x="192" y="395"/>
                  </a:lnTo>
                  <a:lnTo>
                    <a:pt x="191" y="395"/>
                  </a:lnTo>
                  <a:lnTo>
                    <a:pt x="190" y="396"/>
                  </a:lnTo>
                  <a:lnTo>
                    <a:pt x="188" y="396"/>
                  </a:lnTo>
                  <a:lnTo>
                    <a:pt x="186" y="397"/>
                  </a:lnTo>
                  <a:lnTo>
                    <a:pt x="185" y="397"/>
                  </a:lnTo>
                  <a:lnTo>
                    <a:pt x="183" y="397"/>
                  </a:lnTo>
                  <a:lnTo>
                    <a:pt x="182" y="397"/>
                  </a:lnTo>
                  <a:lnTo>
                    <a:pt x="181" y="397"/>
                  </a:lnTo>
                  <a:lnTo>
                    <a:pt x="179" y="397"/>
                  </a:lnTo>
                  <a:lnTo>
                    <a:pt x="178" y="397"/>
                  </a:lnTo>
                  <a:lnTo>
                    <a:pt x="176" y="397"/>
                  </a:lnTo>
                  <a:lnTo>
                    <a:pt x="175" y="397"/>
                  </a:lnTo>
                  <a:lnTo>
                    <a:pt x="174" y="398"/>
                  </a:lnTo>
                  <a:lnTo>
                    <a:pt x="173" y="398"/>
                  </a:lnTo>
                  <a:lnTo>
                    <a:pt x="172" y="399"/>
                  </a:lnTo>
                  <a:lnTo>
                    <a:pt x="171" y="400"/>
                  </a:lnTo>
                  <a:lnTo>
                    <a:pt x="169" y="401"/>
                  </a:lnTo>
                  <a:lnTo>
                    <a:pt x="167" y="402"/>
                  </a:lnTo>
                  <a:lnTo>
                    <a:pt x="167" y="403"/>
                  </a:lnTo>
                  <a:lnTo>
                    <a:pt x="165" y="404"/>
                  </a:lnTo>
                  <a:lnTo>
                    <a:pt x="164" y="405"/>
                  </a:lnTo>
                  <a:lnTo>
                    <a:pt x="162" y="406"/>
                  </a:lnTo>
                  <a:lnTo>
                    <a:pt x="160" y="408"/>
                  </a:lnTo>
                  <a:lnTo>
                    <a:pt x="160" y="409"/>
                  </a:lnTo>
                  <a:lnTo>
                    <a:pt x="159" y="409"/>
                  </a:lnTo>
                  <a:lnTo>
                    <a:pt x="159" y="410"/>
                  </a:lnTo>
                  <a:lnTo>
                    <a:pt x="159" y="410"/>
                  </a:lnTo>
                  <a:lnTo>
                    <a:pt x="158" y="411"/>
                  </a:lnTo>
                  <a:lnTo>
                    <a:pt x="158" y="412"/>
                  </a:lnTo>
                  <a:lnTo>
                    <a:pt x="158" y="415"/>
                  </a:lnTo>
                  <a:lnTo>
                    <a:pt x="158" y="415"/>
                  </a:lnTo>
                  <a:lnTo>
                    <a:pt x="157" y="416"/>
                  </a:lnTo>
                  <a:lnTo>
                    <a:pt x="157" y="418"/>
                  </a:lnTo>
                  <a:lnTo>
                    <a:pt x="157" y="418"/>
                  </a:lnTo>
                  <a:lnTo>
                    <a:pt x="157" y="419"/>
                  </a:lnTo>
                  <a:lnTo>
                    <a:pt x="157" y="420"/>
                  </a:lnTo>
                  <a:lnTo>
                    <a:pt x="157" y="421"/>
                  </a:lnTo>
                  <a:lnTo>
                    <a:pt x="157" y="422"/>
                  </a:lnTo>
                  <a:lnTo>
                    <a:pt x="156" y="423"/>
                  </a:lnTo>
                  <a:lnTo>
                    <a:pt x="156" y="423"/>
                  </a:lnTo>
                  <a:lnTo>
                    <a:pt x="156" y="424"/>
                  </a:lnTo>
                  <a:lnTo>
                    <a:pt x="156" y="424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3" y="425"/>
                  </a:lnTo>
                  <a:lnTo>
                    <a:pt x="153" y="426"/>
                  </a:lnTo>
                  <a:lnTo>
                    <a:pt x="152" y="426"/>
                  </a:lnTo>
                  <a:lnTo>
                    <a:pt x="152" y="426"/>
                  </a:lnTo>
                  <a:lnTo>
                    <a:pt x="152" y="427"/>
                  </a:lnTo>
                  <a:lnTo>
                    <a:pt x="151" y="429"/>
                  </a:lnTo>
                  <a:lnTo>
                    <a:pt x="150" y="430"/>
                  </a:lnTo>
                  <a:lnTo>
                    <a:pt x="150" y="431"/>
                  </a:lnTo>
                  <a:lnTo>
                    <a:pt x="149" y="433"/>
                  </a:lnTo>
                  <a:lnTo>
                    <a:pt x="148" y="433"/>
                  </a:lnTo>
                  <a:lnTo>
                    <a:pt x="148" y="434"/>
                  </a:lnTo>
                  <a:lnTo>
                    <a:pt x="147" y="434"/>
                  </a:lnTo>
                  <a:lnTo>
                    <a:pt x="147" y="434"/>
                  </a:lnTo>
                  <a:lnTo>
                    <a:pt x="146" y="434"/>
                  </a:lnTo>
                  <a:lnTo>
                    <a:pt x="145" y="434"/>
                  </a:lnTo>
                  <a:lnTo>
                    <a:pt x="144" y="434"/>
                  </a:lnTo>
                  <a:lnTo>
                    <a:pt x="143" y="434"/>
                  </a:lnTo>
                  <a:lnTo>
                    <a:pt x="142" y="435"/>
                  </a:lnTo>
                  <a:lnTo>
                    <a:pt x="141" y="435"/>
                  </a:lnTo>
                  <a:lnTo>
                    <a:pt x="140" y="435"/>
                  </a:lnTo>
                  <a:lnTo>
                    <a:pt x="139" y="436"/>
                  </a:lnTo>
                  <a:lnTo>
                    <a:pt x="138" y="436"/>
                  </a:lnTo>
                  <a:lnTo>
                    <a:pt x="137" y="437"/>
                  </a:lnTo>
                  <a:lnTo>
                    <a:pt x="136" y="438"/>
                  </a:lnTo>
                  <a:lnTo>
                    <a:pt x="135" y="439"/>
                  </a:lnTo>
                  <a:lnTo>
                    <a:pt x="134" y="440"/>
                  </a:lnTo>
                  <a:lnTo>
                    <a:pt x="133" y="440"/>
                  </a:lnTo>
                  <a:lnTo>
                    <a:pt x="133" y="441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2" y="443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0" y="445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5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3" y="447"/>
                  </a:lnTo>
                  <a:lnTo>
                    <a:pt x="123" y="447"/>
                  </a:lnTo>
                  <a:lnTo>
                    <a:pt x="123" y="446"/>
                  </a:lnTo>
                  <a:lnTo>
                    <a:pt x="122" y="446"/>
                  </a:lnTo>
                  <a:lnTo>
                    <a:pt x="122" y="446"/>
                  </a:lnTo>
                  <a:lnTo>
                    <a:pt x="122" y="445"/>
                  </a:lnTo>
                  <a:lnTo>
                    <a:pt x="121" y="443"/>
                  </a:lnTo>
                  <a:lnTo>
                    <a:pt x="121" y="442"/>
                  </a:lnTo>
                  <a:lnTo>
                    <a:pt x="120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7" y="436"/>
                  </a:lnTo>
                  <a:lnTo>
                    <a:pt x="116" y="437"/>
                  </a:lnTo>
                  <a:lnTo>
                    <a:pt x="115" y="437"/>
                  </a:lnTo>
                  <a:lnTo>
                    <a:pt x="115" y="437"/>
                  </a:lnTo>
                  <a:lnTo>
                    <a:pt x="114" y="438"/>
                  </a:lnTo>
                  <a:lnTo>
                    <a:pt x="114" y="438"/>
                  </a:lnTo>
                  <a:lnTo>
                    <a:pt x="112" y="440"/>
                  </a:lnTo>
                  <a:lnTo>
                    <a:pt x="112" y="440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0" y="441"/>
                  </a:lnTo>
                  <a:lnTo>
                    <a:pt x="110" y="441"/>
                  </a:lnTo>
                  <a:lnTo>
                    <a:pt x="109" y="441"/>
                  </a:lnTo>
                  <a:lnTo>
                    <a:pt x="109" y="440"/>
                  </a:lnTo>
                  <a:lnTo>
                    <a:pt x="109" y="440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8" y="437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5"/>
                  </a:lnTo>
                  <a:lnTo>
                    <a:pt x="108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5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0" y="435"/>
                  </a:lnTo>
                  <a:lnTo>
                    <a:pt x="100" y="434"/>
                  </a:lnTo>
                  <a:lnTo>
                    <a:pt x="99" y="433"/>
                  </a:lnTo>
                  <a:lnTo>
                    <a:pt x="99" y="432"/>
                  </a:lnTo>
                  <a:lnTo>
                    <a:pt x="98" y="431"/>
                  </a:lnTo>
                  <a:lnTo>
                    <a:pt x="96" y="429"/>
                  </a:lnTo>
                  <a:lnTo>
                    <a:pt x="95" y="428"/>
                  </a:lnTo>
                  <a:lnTo>
                    <a:pt x="95" y="427"/>
                  </a:lnTo>
                  <a:lnTo>
                    <a:pt x="94" y="426"/>
                  </a:lnTo>
                  <a:lnTo>
                    <a:pt x="93" y="426"/>
                  </a:lnTo>
                  <a:lnTo>
                    <a:pt x="92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0" y="424"/>
                  </a:lnTo>
                  <a:lnTo>
                    <a:pt x="86" y="424"/>
                  </a:lnTo>
                  <a:lnTo>
                    <a:pt x="85" y="424"/>
                  </a:lnTo>
                  <a:lnTo>
                    <a:pt x="85" y="423"/>
                  </a:lnTo>
                  <a:lnTo>
                    <a:pt x="84" y="423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4" y="419"/>
                  </a:lnTo>
                  <a:lnTo>
                    <a:pt x="84" y="418"/>
                  </a:lnTo>
                  <a:lnTo>
                    <a:pt x="84" y="418"/>
                  </a:lnTo>
                  <a:lnTo>
                    <a:pt x="85" y="418"/>
                  </a:lnTo>
                  <a:lnTo>
                    <a:pt x="86" y="417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8" y="417"/>
                  </a:lnTo>
                  <a:lnTo>
                    <a:pt x="89" y="417"/>
                  </a:lnTo>
                  <a:lnTo>
                    <a:pt x="90" y="417"/>
                  </a:lnTo>
                  <a:lnTo>
                    <a:pt x="93" y="418"/>
                  </a:lnTo>
                  <a:lnTo>
                    <a:pt x="93" y="418"/>
                  </a:lnTo>
                  <a:lnTo>
                    <a:pt x="94" y="418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5" y="417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4" y="415"/>
                  </a:lnTo>
                  <a:lnTo>
                    <a:pt x="94" y="413"/>
                  </a:lnTo>
                  <a:lnTo>
                    <a:pt x="94" y="412"/>
                  </a:lnTo>
                  <a:lnTo>
                    <a:pt x="94" y="411"/>
                  </a:lnTo>
                  <a:lnTo>
                    <a:pt x="94" y="411"/>
                  </a:lnTo>
                  <a:lnTo>
                    <a:pt x="94" y="410"/>
                  </a:lnTo>
                  <a:lnTo>
                    <a:pt x="95" y="409"/>
                  </a:lnTo>
                  <a:lnTo>
                    <a:pt x="95" y="409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6" y="407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6" y="405"/>
                  </a:lnTo>
                  <a:lnTo>
                    <a:pt x="95" y="404"/>
                  </a:lnTo>
                  <a:lnTo>
                    <a:pt x="95" y="401"/>
                  </a:lnTo>
                  <a:lnTo>
                    <a:pt x="94" y="400"/>
                  </a:lnTo>
                  <a:lnTo>
                    <a:pt x="94" y="398"/>
                  </a:lnTo>
                  <a:lnTo>
                    <a:pt x="92" y="394"/>
                  </a:lnTo>
                  <a:lnTo>
                    <a:pt x="91" y="392"/>
                  </a:lnTo>
                  <a:lnTo>
                    <a:pt x="90" y="390"/>
                  </a:lnTo>
                  <a:lnTo>
                    <a:pt x="89" y="389"/>
                  </a:lnTo>
                  <a:lnTo>
                    <a:pt x="87" y="386"/>
                  </a:lnTo>
                  <a:lnTo>
                    <a:pt x="87" y="386"/>
                  </a:lnTo>
                  <a:lnTo>
                    <a:pt x="87" y="385"/>
                  </a:lnTo>
                  <a:lnTo>
                    <a:pt x="87" y="385"/>
                  </a:lnTo>
                  <a:lnTo>
                    <a:pt x="87" y="384"/>
                  </a:lnTo>
                  <a:lnTo>
                    <a:pt x="87" y="381"/>
                  </a:lnTo>
                  <a:lnTo>
                    <a:pt x="87" y="380"/>
                  </a:lnTo>
                  <a:lnTo>
                    <a:pt x="86" y="378"/>
                  </a:lnTo>
                  <a:lnTo>
                    <a:pt x="86" y="378"/>
                  </a:lnTo>
                  <a:lnTo>
                    <a:pt x="86" y="377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3" y="374"/>
                  </a:lnTo>
                  <a:lnTo>
                    <a:pt x="83" y="373"/>
                  </a:lnTo>
                  <a:lnTo>
                    <a:pt x="82" y="373"/>
                  </a:lnTo>
                  <a:lnTo>
                    <a:pt x="82" y="372"/>
                  </a:lnTo>
                  <a:lnTo>
                    <a:pt x="82" y="372"/>
                  </a:lnTo>
                  <a:lnTo>
                    <a:pt x="82" y="371"/>
                  </a:lnTo>
                  <a:lnTo>
                    <a:pt x="81" y="370"/>
                  </a:lnTo>
                  <a:lnTo>
                    <a:pt x="82" y="370"/>
                  </a:lnTo>
                  <a:lnTo>
                    <a:pt x="82" y="369"/>
                  </a:lnTo>
                  <a:lnTo>
                    <a:pt x="82" y="367"/>
                  </a:lnTo>
                  <a:lnTo>
                    <a:pt x="82" y="366"/>
                  </a:lnTo>
                  <a:lnTo>
                    <a:pt x="82" y="365"/>
                  </a:lnTo>
                  <a:lnTo>
                    <a:pt x="82" y="363"/>
                  </a:lnTo>
                  <a:lnTo>
                    <a:pt x="82" y="361"/>
                  </a:lnTo>
                  <a:lnTo>
                    <a:pt x="81" y="359"/>
                  </a:lnTo>
                  <a:lnTo>
                    <a:pt x="81" y="358"/>
                  </a:lnTo>
                  <a:lnTo>
                    <a:pt x="80" y="356"/>
                  </a:lnTo>
                  <a:lnTo>
                    <a:pt x="80" y="355"/>
                  </a:lnTo>
                  <a:lnTo>
                    <a:pt x="80" y="354"/>
                  </a:lnTo>
                  <a:lnTo>
                    <a:pt x="80" y="353"/>
                  </a:lnTo>
                  <a:lnTo>
                    <a:pt x="80" y="352"/>
                  </a:lnTo>
                  <a:lnTo>
                    <a:pt x="80" y="351"/>
                  </a:lnTo>
                  <a:lnTo>
                    <a:pt x="81" y="347"/>
                  </a:lnTo>
                  <a:lnTo>
                    <a:pt x="81" y="345"/>
                  </a:lnTo>
                  <a:lnTo>
                    <a:pt x="82" y="344"/>
                  </a:lnTo>
                  <a:lnTo>
                    <a:pt x="82" y="343"/>
                  </a:lnTo>
                  <a:lnTo>
                    <a:pt x="82" y="343"/>
                  </a:lnTo>
                  <a:lnTo>
                    <a:pt x="82" y="340"/>
                  </a:lnTo>
                  <a:lnTo>
                    <a:pt x="82" y="339"/>
                  </a:lnTo>
                  <a:lnTo>
                    <a:pt x="82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3" y="334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0"/>
                  </a:lnTo>
                  <a:lnTo>
                    <a:pt x="83" y="329"/>
                  </a:lnTo>
                  <a:lnTo>
                    <a:pt x="83" y="328"/>
                  </a:lnTo>
                  <a:lnTo>
                    <a:pt x="83" y="327"/>
                  </a:lnTo>
                  <a:lnTo>
                    <a:pt x="83" y="326"/>
                  </a:lnTo>
                  <a:lnTo>
                    <a:pt x="82" y="325"/>
                  </a:lnTo>
                  <a:lnTo>
                    <a:pt x="81" y="323"/>
                  </a:lnTo>
                  <a:lnTo>
                    <a:pt x="81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9" y="319"/>
                  </a:lnTo>
                  <a:lnTo>
                    <a:pt x="78" y="319"/>
                  </a:lnTo>
                  <a:lnTo>
                    <a:pt x="77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4" y="318"/>
                  </a:lnTo>
                  <a:lnTo>
                    <a:pt x="70" y="318"/>
                  </a:lnTo>
                  <a:lnTo>
                    <a:pt x="69" y="318"/>
                  </a:lnTo>
                  <a:lnTo>
                    <a:pt x="68" y="318"/>
                  </a:lnTo>
                  <a:lnTo>
                    <a:pt x="65" y="318"/>
                  </a:lnTo>
                  <a:lnTo>
                    <a:pt x="64" y="318"/>
                  </a:lnTo>
                  <a:lnTo>
                    <a:pt x="62" y="318"/>
                  </a:lnTo>
                  <a:lnTo>
                    <a:pt x="58" y="318"/>
                  </a:lnTo>
                  <a:lnTo>
                    <a:pt x="57" y="317"/>
                  </a:lnTo>
                  <a:lnTo>
                    <a:pt x="55" y="317"/>
                  </a:lnTo>
                  <a:lnTo>
                    <a:pt x="55" y="317"/>
                  </a:lnTo>
                  <a:lnTo>
                    <a:pt x="54" y="318"/>
                  </a:lnTo>
                  <a:lnTo>
                    <a:pt x="52" y="318"/>
                  </a:lnTo>
                  <a:lnTo>
                    <a:pt x="51" y="318"/>
                  </a:lnTo>
                  <a:lnTo>
                    <a:pt x="50" y="318"/>
                  </a:lnTo>
                  <a:lnTo>
                    <a:pt x="49" y="318"/>
                  </a:lnTo>
                  <a:lnTo>
                    <a:pt x="49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6" y="318"/>
                  </a:lnTo>
                  <a:lnTo>
                    <a:pt x="46" y="317"/>
                  </a:lnTo>
                  <a:lnTo>
                    <a:pt x="46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5"/>
                  </a:lnTo>
                  <a:lnTo>
                    <a:pt x="45" y="314"/>
                  </a:lnTo>
                  <a:lnTo>
                    <a:pt x="45" y="313"/>
                  </a:lnTo>
                  <a:lnTo>
                    <a:pt x="45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4" y="309"/>
                  </a:lnTo>
                  <a:lnTo>
                    <a:pt x="44" y="308"/>
                  </a:lnTo>
                  <a:lnTo>
                    <a:pt x="43" y="308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1" y="305"/>
                  </a:lnTo>
                  <a:lnTo>
                    <a:pt x="38" y="304"/>
                  </a:lnTo>
                  <a:lnTo>
                    <a:pt x="36" y="303"/>
                  </a:lnTo>
                  <a:lnTo>
                    <a:pt x="36" y="303"/>
                  </a:lnTo>
                  <a:lnTo>
                    <a:pt x="35" y="303"/>
                  </a:lnTo>
                  <a:lnTo>
                    <a:pt x="34" y="302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5" y="301"/>
                  </a:lnTo>
                  <a:lnTo>
                    <a:pt x="22" y="300"/>
                  </a:lnTo>
                  <a:lnTo>
                    <a:pt x="20" y="300"/>
                  </a:lnTo>
                  <a:lnTo>
                    <a:pt x="19" y="299"/>
                  </a:lnTo>
                  <a:lnTo>
                    <a:pt x="16" y="299"/>
                  </a:lnTo>
                  <a:lnTo>
                    <a:pt x="14" y="299"/>
                  </a:lnTo>
                  <a:lnTo>
                    <a:pt x="12" y="299"/>
                  </a:lnTo>
                  <a:lnTo>
                    <a:pt x="9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6" y="297"/>
                  </a:lnTo>
                  <a:lnTo>
                    <a:pt x="4" y="296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1" y="291"/>
                  </a:lnTo>
                  <a:lnTo>
                    <a:pt x="1" y="291"/>
                  </a:lnTo>
                  <a:lnTo>
                    <a:pt x="2" y="290"/>
                  </a:lnTo>
                  <a:lnTo>
                    <a:pt x="6" y="288"/>
                  </a:lnTo>
                  <a:lnTo>
                    <a:pt x="8" y="287"/>
                  </a:lnTo>
                  <a:lnTo>
                    <a:pt x="10" y="286"/>
                  </a:lnTo>
                  <a:lnTo>
                    <a:pt x="11" y="285"/>
                  </a:lnTo>
                  <a:lnTo>
                    <a:pt x="12" y="284"/>
                  </a:lnTo>
                  <a:lnTo>
                    <a:pt x="13" y="283"/>
                  </a:lnTo>
                  <a:lnTo>
                    <a:pt x="18" y="278"/>
                  </a:lnTo>
                  <a:lnTo>
                    <a:pt x="19" y="276"/>
                  </a:lnTo>
                  <a:lnTo>
                    <a:pt x="20" y="275"/>
                  </a:lnTo>
                  <a:lnTo>
                    <a:pt x="21" y="274"/>
                  </a:lnTo>
                  <a:lnTo>
                    <a:pt x="21" y="273"/>
                  </a:lnTo>
                  <a:lnTo>
                    <a:pt x="21" y="272"/>
                  </a:lnTo>
                  <a:lnTo>
                    <a:pt x="22" y="271"/>
                  </a:lnTo>
                  <a:lnTo>
                    <a:pt x="22" y="269"/>
                  </a:lnTo>
                  <a:lnTo>
                    <a:pt x="22" y="264"/>
                  </a:lnTo>
                  <a:lnTo>
                    <a:pt x="22" y="261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4" y="254"/>
                  </a:lnTo>
                  <a:lnTo>
                    <a:pt x="24" y="253"/>
                  </a:lnTo>
                  <a:lnTo>
                    <a:pt x="25" y="252"/>
                  </a:lnTo>
                  <a:lnTo>
                    <a:pt x="25" y="251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8" y="248"/>
                  </a:lnTo>
                  <a:lnTo>
                    <a:pt x="28" y="248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8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7" y="247"/>
                  </a:lnTo>
                  <a:lnTo>
                    <a:pt x="51" y="246"/>
                  </a:lnTo>
                  <a:lnTo>
                    <a:pt x="52" y="245"/>
                  </a:lnTo>
                  <a:lnTo>
                    <a:pt x="53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5" y="245"/>
                  </a:lnTo>
                  <a:lnTo>
                    <a:pt x="56" y="245"/>
                  </a:lnTo>
                  <a:lnTo>
                    <a:pt x="57" y="246"/>
                  </a:lnTo>
                  <a:lnTo>
                    <a:pt x="59" y="246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4" y="246"/>
                  </a:lnTo>
                  <a:lnTo>
                    <a:pt x="75" y="245"/>
                  </a:lnTo>
                  <a:lnTo>
                    <a:pt x="77" y="241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81" y="235"/>
                  </a:lnTo>
                  <a:lnTo>
                    <a:pt x="81" y="233"/>
                  </a:lnTo>
                  <a:lnTo>
                    <a:pt x="82" y="232"/>
                  </a:lnTo>
                  <a:lnTo>
                    <a:pt x="83" y="230"/>
                  </a:lnTo>
                  <a:lnTo>
                    <a:pt x="83" y="228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4" y="222"/>
                  </a:lnTo>
                  <a:lnTo>
                    <a:pt x="85" y="221"/>
                  </a:lnTo>
                  <a:lnTo>
                    <a:pt x="87" y="216"/>
                  </a:lnTo>
                  <a:lnTo>
                    <a:pt x="87" y="215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Freeform 55">
              <a:extLst>
                <a:ext uri="{FF2B5EF4-FFF2-40B4-BE49-F238E27FC236}">
                  <a16:creationId xmlns:a16="http://schemas.microsoft.com/office/drawing/2014/main" id="{022E9A53-72B3-1826-BF41-CD5BB3C12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" y="2866"/>
              <a:ext cx="343" cy="215"/>
            </a:xfrm>
            <a:custGeom>
              <a:avLst/>
              <a:gdLst>
                <a:gd name="T0" fmla="*/ 4 w 343"/>
                <a:gd name="T1" fmla="*/ 211 h 215"/>
                <a:gd name="T2" fmla="*/ 8 w 343"/>
                <a:gd name="T3" fmla="*/ 210 h 215"/>
                <a:gd name="T4" fmla="*/ 16 w 343"/>
                <a:gd name="T5" fmla="*/ 213 h 215"/>
                <a:gd name="T6" fmla="*/ 21 w 343"/>
                <a:gd name="T7" fmla="*/ 214 h 215"/>
                <a:gd name="T8" fmla="*/ 24 w 343"/>
                <a:gd name="T9" fmla="*/ 211 h 215"/>
                <a:gd name="T10" fmla="*/ 29 w 343"/>
                <a:gd name="T11" fmla="*/ 202 h 215"/>
                <a:gd name="T12" fmla="*/ 38 w 343"/>
                <a:gd name="T13" fmla="*/ 195 h 215"/>
                <a:gd name="T14" fmla="*/ 42 w 343"/>
                <a:gd name="T15" fmla="*/ 186 h 215"/>
                <a:gd name="T16" fmla="*/ 45 w 343"/>
                <a:gd name="T17" fmla="*/ 186 h 215"/>
                <a:gd name="T18" fmla="*/ 50 w 343"/>
                <a:gd name="T19" fmla="*/ 191 h 215"/>
                <a:gd name="T20" fmla="*/ 58 w 343"/>
                <a:gd name="T21" fmla="*/ 201 h 215"/>
                <a:gd name="T22" fmla="*/ 66 w 343"/>
                <a:gd name="T23" fmla="*/ 203 h 215"/>
                <a:gd name="T24" fmla="*/ 70 w 343"/>
                <a:gd name="T25" fmla="*/ 201 h 215"/>
                <a:gd name="T26" fmla="*/ 83 w 343"/>
                <a:gd name="T27" fmla="*/ 188 h 215"/>
                <a:gd name="T28" fmla="*/ 85 w 343"/>
                <a:gd name="T29" fmla="*/ 181 h 215"/>
                <a:gd name="T30" fmla="*/ 89 w 343"/>
                <a:gd name="T31" fmla="*/ 174 h 215"/>
                <a:gd name="T32" fmla="*/ 90 w 343"/>
                <a:gd name="T33" fmla="*/ 166 h 215"/>
                <a:gd name="T34" fmla="*/ 90 w 343"/>
                <a:gd name="T35" fmla="*/ 159 h 215"/>
                <a:gd name="T36" fmla="*/ 95 w 343"/>
                <a:gd name="T37" fmla="*/ 156 h 215"/>
                <a:gd name="T38" fmla="*/ 109 w 343"/>
                <a:gd name="T39" fmla="*/ 155 h 215"/>
                <a:gd name="T40" fmla="*/ 118 w 343"/>
                <a:gd name="T41" fmla="*/ 151 h 215"/>
                <a:gd name="T42" fmla="*/ 126 w 343"/>
                <a:gd name="T43" fmla="*/ 148 h 215"/>
                <a:gd name="T44" fmla="*/ 135 w 343"/>
                <a:gd name="T45" fmla="*/ 151 h 215"/>
                <a:gd name="T46" fmla="*/ 139 w 343"/>
                <a:gd name="T47" fmla="*/ 152 h 215"/>
                <a:gd name="T48" fmla="*/ 147 w 343"/>
                <a:gd name="T49" fmla="*/ 148 h 215"/>
                <a:gd name="T50" fmla="*/ 163 w 343"/>
                <a:gd name="T51" fmla="*/ 147 h 215"/>
                <a:gd name="T52" fmla="*/ 174 w 343"/>
                <a:gd name="T53" fmla="*/ 149 h 215"/>
                <a:gd name="T54" fmla="*/ 183 w 343"/>
                <a:gd name="T55" fmla="*/ 148 h 215"/>
                <a:gd name="T56" fmla="*/ 192 w 343"/>
                <a:gd name="T57" fmla="*/ 143 h 215"/>
                <a:gd name="T58" fmla="*/ 195 w 343"/>
                <a:gd name="T59" fmla="*/ 138 h 215"/>
                <a:gd name="T60" fmla="*/ 195 w 343"/>
                <a:gd name="T61" fmla="*/ 128 h 215"/>
                <a:gd name="T62" fmla="*/ 198 w 343"/>
                <a:gd name="T63" fmla="*/ 123 h 215"/>
                <a:gd name="T64" fmla="*/ 205 w 343"/>
                <a:gd name="T65" fmla="*/ 120 h 215"/>
                <a:gd name="T66" fmla="*/ 215 w 343"/>
                <a:gd name="T67" fmla="*/ 113 h 215"/>
                <a:gd name="T68" fmla="*/ 224 w 343"/>
                <a:gd name="T69" fmla="*/ 110 h 215"/>
                <a:gd name="T70" fmla="*/ 235 w 343"/>
                <a:gd name="T71" fmla="*/ 113 h 215"/>
                <a:gd name="T72" fmla="*/ 247 w 343"/>
                <a:gd name="T73" fmla="*/ 111 h 215"/>
                <a:gd name="T74" fmla="*/ 265 w 343"/>
                <a:gd name="T75" fmla="*/ 101 h 215"/>
                <a:gd name="T76" fmla="*/ 286 w 343"/>
                <a:gd name="T77" fmla="*/ 92 h 215"/>
                <a:gd name="T78" fmla="*/ 294 w 343"/>
                <a:gd name="T79" fmla="*/ 85 h 215"/>
                <a:gd name="T80" fmla="*/ 300 w 343"/>
                <a:gd name="T81" fmla="*/ 78 h 215"/>
                <a:gd name="T82" fmla="*/ 308 w 343"/>
                <a:gd name="T83" fmla="*/ 76 h 215"/>
                <a:gd name="T84" fmla="*/ 318 w 343"/>
                <a:gd name="T85" fmla="*/ 77 h 215"/>
                <a:gd name="T86" fmla="*/ 331 w 343"/>
                <a:gd name="T87" fmla="*/ 73 h 215"/>
                <a:gd name="T88" fmla="*/ 339 w 343"/>
                <a:gd name="T89" fmla="*/ 70 h 215"/>
                <a:gd name="T90" fmla="*/ 343 w 343"/>
                <a:gd name="T91" fmla="*/ 61 h 215"/>
                <a:gd name="T92" fmla="*/ 342 w 343"/>
                <a:gd name="T93" fmla="*/ 57 h 215"/>
                <a:gd name="T94" fmla="*/ 336 w 343"/>
                <a:gd name="T95" fmla="*/ 53 h 215"/>
                <a:gd name="T96" fmla="*/ 322 w 343"/>
                <a:gd name="T97" fmla="*/ 47 h 215"/>
                <a:gd name="T98" fmla="*/ 319 w 343"/>
                <a:gd name="T99" fmla="*/ 42 h 215"/>
                <a:gd name="T100" fmla="*/ 321 w 343"/>
                <a:gd name="T101" fmla="*/ 37 h 215"/>
                <a:gd name="T102" fmla="*/ 320 w 343"/>
                <a:gd name="T103" fmla="*/ 35 h 215"/>
                <a:gd name="T104" fmla="*/ 312 w 343"/>
                <a:gd name="T105" fmla="*/ 34 h 215"/>
                <a:gd name="T106" fmla="*/ 306 w 343"/>
                <a:gd name="T107" fmla="*/ 31 h 215"/>
                <a:gd name="T108" fmla="*/ 305 w 343"/>
                <a:gd name="T109" fmla="*/ 24 h 215"/>
                <a:gd name="T110" fmla="*/ 308 w 343"/>
                <a:gd name="T111" fmla="*/ 17 h 215"/>
                <a:gd name="T112" fmla="*/ 311 w 343"/>
                <a:gd name="T113" fmla="*/ 8 h 215"/>
                <a:gd name="T114" fmla="*/ 317 w 343"/>
                <a:gd name="T115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43" h="215">
                  <a:moveTo>
                    <a:pt x="0" y="215"/>
                  </a:moveTo>
                  <a:lnTo>
                    <a:pt x="1" y="215"/>
                  </a:lnTo>
                  <a:lnTo>
                    <a:pt x="1" y="214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12"/>
                  </a:lnTo>
                  <a:lnTo>
                    <a:pt x="4" y="211"/>
                  </a:lnTo>
                  <a:lnTo>
                    <a:pt x="4" y="211"/>
                  </a:lnTo>
                  <a:lnTo>
                    <a:pt x="5" y="210"/>
                  </a:lnTo>
                  <a:lnTo>
                    <a:pt x="6" y="210"/>
                  </a:lnTo>
                  <a:lnTo>
                    <a:pt x="6" y="210"/>
                  </a:lnTo>
                  <a:lnTo>
                    <a:pt x="7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9" y="210"/>
                  </a:lnTo>
                  <a:lnTo>
                    <a:pt x="11" y="210"/>
                  </a:lnTo>
                  <a:lnTo>
                    <a:pt x="12" y="211"/>
                  </a:lnTo>
                  <a:lnTo>
                    <a:pt x="12" y="211"/>
                  </a:lnTo>
                  <a:lnTo>
                    <a:pt x="13" y="211"/>
                  </a:lnTo>
                  <a:lnTo>
                    <a:pt x="15" y="213"/>
                  </a:lnTo>
                  <a:lnTo>
                    <a:pt x="16" y="213"/>
                  </a:lnTo>
                  <a:lnTo>
                    <a:pt x="17" y="214"/>
                  </a:lnTo>
                  <a:lnTo>
                    <a:pt x="17" y="214"/>
                  </a:lnTo>
                  <a:lnTo>
                    <a:pt x="18" y="214"/>
                  </a:lnTo>
                  <a:lnTo>
                    <a:pt x="19" y="214"/>
                  </a:lnTo>
                  <a:lnTo>
                    <a:pt x="20" y="214"/>
                  </a:lnTo>
                  <a:lnTo>
                    <a:pt x="20" y="214"/>
                  </a:lnTo>
                  <a:lnTo>
                    <a:pt x="21" y="214"/>
                  </a:lnTo>
                  <a:lnTo>
                    <a:pt x="22" y="214"/>
                  </a:lnTo>
                  <a:lnTo>
                    <a:pt x="22" y="213"/>
                  </a:lnTo>
                  <a:lnTo>
                    <a:pt x="23" y="213"/>
                  </a:lnTo>
                  <a:lnTo>
                    <a:pt x="23" y="213"/>
                  </a:lnTo>
                  <a:lnTo>
                    <a:pt x="24" y="212"/>
                  </a:lnTo>
                  <a:lnTo>
                    <a:pt x="24" y="212"/>
                  </a:lnTo>
                  <a:lnTo>
                    <a:pt x="24" y="211"/>
                  </a:lnTo>
                  <a:lnTo>
                    <a:pt x="25" y="210"/>
                  </a:lnTo>
                  <a:lnTo>
                    <a:pt x="26" y="207"/>
                  </a:lnTo>
                  <a:lnTo>
                    <a:pt x="26" y="206"/>
                  </a:lnTo>
                  <a:lnTo>
                    <a:pt x="27" y="205"/>
                  </a:lnTo>
                  <a:lnTo>
                    <a:pt x="28" y="204"/>
                  </a:lnTo>
                  <a:lnTo>
                    <a:pt x="28" y="204"/>
                  </a:lnTo>
                  <a:lnTo>
                    <a:pt x="29" y="202"/>
                  </a:lnTo>
                  <a:lnTo>
                    <a:pt x="31" y="201"/>
                  </a:lnTo>
                  <a:lnTo>
                    <a:pt x="32" y="200"/>
                  </a:lnTo>
                  <a:lnTo>
                    <a:pt x="35" y="198"/>
                  </a:lnTo>
                  <a:lnTo>
                    <a:pt x="36" y="197"/>
                  </a:lnTo>
                  <a:lnTo>
                    <a:pt x="37" y="196"/>
                  </a:lnTo>
                  <a:lnTo>
                    <a:pt x="38" y="196"/>
                  </a:lnTo>
                  <a:lnTo>
                    <a:pt x="38" y="195"/>
                  </a:lnTo>
                  <a:lnTo>
                    <a:pt x="39" y="195"/>
                  </a:lnTo>
                  <a:lnTo>
                    <a:pt x="40" y="193"/>
                  </a:lnTo>
                  <a:lnTo>
                    <a:pt x="40" y="192"/>
                  </a:lnTo>
                  <a:lnTo>
                    <a:pt x="41" y="191"/>
                  </a:lnTo>
                  <a:lnTo>
                    <a:pt x="41" y="188"/>
                  </a:lnTo>
                  <a:lnTo>
                    <a:pt x="42" y="187"/>
                  </a:lnTo>
                  <a:lnTo>
                    <a:pt x="42" y="186"/>
                  </a:lnTo>
                  <a:lnTo>
                    <a:pt x="42" y="186"/>
                  </a:lnTo>
                  <a:lnTo>
                    <a:pt x="42" y="186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4" y="185"/>
                  </a:lnTo>
                  <a:lnTo>
                    <a:pt x="45" y="186"/>
                  </a:lnTo>
                  <a:lnTo>
                    <a:pt x="45" y="186"/>
                  </a:lnTo>
                  <a:lnTo>
                    <a:pt x="46" y="186"/>
                  </a:lnTo>
                  <a:lnTo>
                    <a:pt x="46" y="186"/>
                  </a:lnTo>
                  <a:lnTo>
                    <a:pt x="46" y="187"/>
                  </a:lnTo>
                  <a:lnTo>
                    <a:pt x="48" y="188"/>
                  </a:lnTo>
                  <a:lnTo>
                    <a:pt x="49" y="190"/>
                  </a:lnTo>
                  <a:lnTo>
                    <a:pt x="50" y="191"/>
                  </a:lnTo>
                  <a:lnTo>
                    <a:pt x="52" y="195"/>
                  </a:lnTo>
                  <a:lnTo>
                    <a:pt x="53" y="196"/>
                  </a:lnTo>
                  <a:lnTo>
                    <a:pt x="54" y="197"/>
                  </a:lnTo>
                  <a:lnTo>
                    <a:pt x="55" y="198"/>
                  </a:lnTo>
                  <a:lnTo>
                    <a:pt x="55" y="199"/>
                  </a:lnTo>
                  <a:lnTo>
                    <a:pt x="57" y="200"/>
                  </a:lnTo>
                  <a:lnTo>
                    <a:pt x="58" y="201"/>
                  </a:lnTo>
                  <a:lnTo>
                    <a:pt x="59" y="201"/>
                  </a:lnTo>
                  <a:lnTo>
                    <a:pt x="60" y="201"/>
                  </a:lnTo>
                  <a:lnTo>
                    <a:pt x="62" y="202"/>
                  </a:lnTo>
                  <a:lnTo>
                    <a:pt x="64" y="203"/>
                  </a:lnTo>
                  <a:lnTo>
                    <a:pt x="65" y="203"/>
                  </a:lnTo>
                  <a:lnTo>
                    <a:pt x="65" y="203"/>
                  </a:lnTo>
                  <a:lnTo>
                    <a:pt x="66" y="203"/>
                  </a:lnTo>
                  <a:lnTo>
                    <a:pt x="66" y="203"/>
                  </a:lnTo>
                  <a:lnTo>
                    <a:pt x="67" y="203"/>
                  </a:lnTo>
                  <a:lnTo>
                    <a:pt x="67" y="203"/>
                  </a:lnTo>
                  <a:lnTo>
                    <a:pt x="68" y="203"/>
                  </a:lnTo>
                  <a:lnTo>
                    <a:pt x="69" y="202"/>
                  </a:lnTo>
                  <a:lnTo>
                    <a:pt x="69" y="202"/>
                  </a:lnTo>
                  <a:lnTo>
                    <a:pt x="70" y="201"/>
                  </a:lnTo>
                  <a:lnTo>
                    <a:pt x="71" y="201"/>
                  </a:lnTo>
                  <a:lnTo>
                    <a:pt x="72" y="199"/>
                  </a:lnTo>
                  <a:lnTo>
                    <a:pt x="76" y="196"/>
                  </a:lnTo>
                  <a:lnTo>
                    <a:pt x="79" y="193"/>
                  </a:lnTo>
                  <a:lnTo>
                    <a:pt x="82" y="190"/>
                  </a:lnTo>
                  <a:lnTo>
                    <a:pt x="83" y="189"/>
                  </a:lnTo>
                  <a:lnTo>
                    <a:pt x="83" y="188"/>
                  </a:lnTo>
                  <a:lnTo>
                    <a:pt x="84" y="188"/>
                  </a:lnTo>
                  <a:lnTo>
                    <a:pt x="84" y="187"/>
                  </a:lnTo>
                  <a:lnTo>
                    <a:pt x="84" y="186"/>
                  </a:lnTo>
                  <a:lnTo>
                    <a:pt x="84" y="185"/>
                  </a:lnTo>
                  <a:lnTo>
                    <a:pt x="84" y="183"/>
                  </a:lnTo>
                  <a:lnTo>
                    <a:pt x="84" y="182"/>
                  </a:lnTo>
                  <a:lnTo>
                    <a:pt x="85" y="181"/>
                  </a:lnTo>
                  <a:lnTo>
                    <a:pt x="85" y="181"/>
                  </a:lnTo>
                  <a:lnTo>
                    <a:pt x="85" y="180"/>
                  </a:lnTo>
                  <a:lnTo>
                    <a:pt x="86" y="179"/>
                  </a:lnTo>
                  <a:lnTo>
                    <a:pt x="87" y="177"/>
                  </a:lnTo>
                  <a:lnTo>
                    <a:pt x="88" y="175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3"/>
                  </a:lnTo>
                  <a:lnTo>
                    <a:pt x="89" y="172"/>
                  </a:lnTo>
                  <a:lnTo>
                    <a:pt x="90" y="171"/>
                  </a:lnTo>
                  <a:lnTo>
                    <a:pt x="90" y="170"/>
                  </a:lnTo>
                  <a:lnTo>
                    <a:pt x="90" y="170"/>
                  </a:lnTo>
                  <a:lnTo>
                    <a:pt x="90" y="168"/>
                  </a:lnTo>
                  <a:lnTo>
                    <a:pt x="90" y="166"/>
                  </a:lnTo>
                  <a:lnTo>
                    <a:pt x="89" y="163"/>
                  </a:lnTo>
                  <a:lnTo>
                    <a:pt x="89" y="162"/>
                  </a:lnTo>
                  <a:lnTo>
                    <a:pt x="89" y="161"/>
                  </a:lnTo>
                  <a:lnTo>
                    <a:pt x="89" y="160"/>
                  </a:lnTo>
                  <a:lnTo>
                    <a:pt x="89" y="160"/>
                  </a:lnTo>
                  <a:lnTo>
                    <a:pt x="90" y="159"/>
                  </a:lnTo>
                  <a:lnTo>
                    <a:pt x="90" y="159"/>
                  </a:lnTo>
                  <a:lnTo>
                    <a:pt x="91" y="158"/>
                  </a:lnTo>
                  <a:lnTo>
                    <a:pt x="91" y="157"/>
                  </a:lnTo>
                  <a:lnTo>
                    <a:pt x="92" y="157"/>
                  </a:lnTo>
                  <a:lnTo>
                    <a:pt x="92" y="157"/>
                  </a:lnTo>
                  <a:lnTo>
                    <a:pt x="93" y="156"/>
                  </a:lnTo>
                  <a:lnTo>
                    <a:pt x="94" y="156"/>
                  </a:lnTo>
                  <a:lnTo>
                    <a:pt x="95" y="156"/>
                  </a:lnTo>
                  <a:lnTo>
                    <a:pt x="96" y="155"/>
                  </a:lnTo>
                  <a:lnTo>
                    <a:pt x="97" y="155"/>
                  </a:lnTo>
                  <a:lnTo>
                    <a:pt x="98" y="155"/>
                  </a:lnTo>
                  <a:lnTo>
                    <a:pt x="100" y="155"/>
                  </a:lnTo>
                  <a:lnTo>
                    <a:pt x="105" y="155"/>
                  </a:lnTo>
                  <a:lnTo>
                    <a:pt x="107" y="155"/>
                  </a:lnTo>
                  <a:lnTo>
                    <a:pt x="109" y="155"/>
                  </a:lnTo>
                  <a:lnTo>
                    <a:pt x="110" y="154"/>
                  </a:lnTo>
                  <a:lnTo>
                    <a:pt x="112" y="154"/>
                  </a:lnTo>
                  <a:lnTo>
                    <a:pt x="113" y="153"/>
                  </a:lnTo>
                  <a:lnTo>
                    <a:pt x="114" y="153"/>
                  </a:lnTo>
                  <a:lnTo>
                    <a:pt x="115" y="152"/>
                  </a:lnTo>
                  <a:lnTo>
                    <a:pt x="117" y="151"/>
                  </a:lnTo>
                  <a:lnTo>
                    <a:pt x="118" y="151"/>
                  </a:lnTo>
                  <a:lnTo>
                    <a:pt x="119" y="150"/>
                  </a:lnTo>
                  <a:lnTo>
                    <a:pt x="121" y="149"/>
                  </a:lnTo>
                  <a:lnTo>
                    <a:pt x="122" y="149"/>
                  </a:lnTo>
                  <a:lnTo>
                    <a:pt x="123" y="148"/>
                  </a:lnTo>
                  <a:lnTo>
                    <a:pt x="124" y="148"/>
                  </a:lnTo>
                  <a:lnTo>
                    <a:pt x="125" y="148"/>
                  </a:lnTo>
                  <a:lnTo>
                    <a:pt x="126" y="148"/>
                  </a:lnTo>
                  <a:lnTo>
                    <a:pt x="127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9" y="149"/>
                  </a:lnTo>
                  <a:lnTo>
                    <a:pt x="130" y="149"/>
                  </a:lnTo>
                  <a:lnTo>
                    <a:pt x="133" y="151"/>
                  </a:lnTo>
                  <a:lnTo>
                    <a:pt x="135" y="151"/>
                  </a:lnTo>
                  <a:lnTo>
                    <a:pt x="136" y="151"/>
                  </a:lnTo>
                  <a:lnTo>
                    <a:pt x="136" y="152"/>
                  </a:lnTo>
                  <a:lnTo>
                    <a:pt x="137" y="152"/>
                  </a:lnTo>
                  <a:lnTo>
                    <a:pt x="138" y="152"/>
                  </a:lnTo>
                  <a:lnTo>
                    <a:pt x="138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40" y="151"/>
                  </a:lnTo>
                  <a:lnTo>
                    <a:pt x="141" y="151"/>
                  </a:lnTo>
                  <a:lnTo>
                    <a:pt x="142" y="150"/>
                  </a:lnTo>
                  <a:lnTo>
                    <a:pt x="144" y="149"/>
                  </a:lnTo>
                  <a:lnTo>
                    <a:pt x="145" y="149"/>
                  </a:lnTo>
                  <a:lnTo>
                    <a:pt x="146" y="148"/>
                  </a:lnTo>
                  <a:lnTo>
                    <a:pt x="147" y="148"/>
                  </a:lnTo>
                  <a:lnTo>
                    <a:pt x="151" y="148"/>
                  </a:lnTo>
                  <a:lnTo>
                    <a:pt x="155" y="147"/>
                  </a:lnTo>
                  <a:lnTo>
                    <a:pt x="156" y="147"/>
                  </a:lnTo>
                  <a:lnTo>
                    <a:pt x="157" y="147"/>
                  </a:lnTo>
                  <a:lnTo>
                    <a:pt x="160" y="147"/>
                  </a:lnTo>
                  <a:lnTo>
                    <a:pt x="161" y="147"/>
                  </a:lnTo>
                  <a:lnTo>
                    <a:pt x="163" y="147"/>
                  </a:lnTo>
                  <a:lnTo>
                    <a:pt x="165" y="147"/>
                  </a:lnTo>
                  <a:lnTo>
                    <a:pt x="167" y="147"/>
                  </a:lnTo>
                  <a:lnTo>
                    <a:pt x="168" y="147"/>
                  </a:lnTo>
                  <a:lnTo>
                    <a:pt x="169" y="148"/>
                  </a:lnTo>
                  <a:lnTo>
                    <a:pt x="172" y="149"/>
                  </a:lnTo>
                  <a:lnTo>
                    <a:pt x="173" y="149"/>
                  </a:lnTo>
                  <a:lnTo>
                    <a:pt x="174" y="149"/>
                  </a:lnTo>
                  <a:lnTo>
                    <a:pt x="176" y="150"/>
                  </a:lnTo>
                  <a:lnTo>
                    <a:pt x="177" y="150"/>
                  </a:lnTo>
                  <a:lnTo>
                    <a:pt x="179" y="150"/>
                  </a:lnTo>
                  <a:lnTo>
                    <a:pt x="180" y="149"/>
                  </a:lnTo>
                  <a:lnTo>
                    <a:pt x="181" y="149"/>
                  </a:lnTo>
                  <a:lnTo>
                    <a:pt x="182" y="149"/>
                  </a:lnTo>
                  <a:lnTo>
                    <a:pt x="183" y="148"/>
                  </a:lnTo>
                  <a:lnTo>
                    <a:pt x="184" y="147"/>
                  </a:lnTo>
                  <a:lnTo>
                    <a:pt x="186" y="146"/>
                  </a:lnTo>
                  <a:lnTo>
                    <a:pt x="187" y="145"/>
                  </a:lnTo>
                  <a:lnTo>
                    <a:pt x="188" y="145"/>
                  </a:lnTo>
                  <a:lnTo>
                    <a:pt x="191" y="144"/>
                  </a:lnTo>
                  <a:lnTo>
                    <a:pt x="191" y="143"/>
                  </a:lnTo>
                  <a:lnTo>
                    <a:pt x="192" y="143"/>
                  </a:lnTo>
                  <a:lnTo>
                    <a:pt x="192" y="143"/>
                  </a:lnTo>
                  <a:lnTo>
                    <a:pt x="193" y="142"/>
                  </a:lnTo>
                  <a:lnTo>
                    <a:pt x="194" y="142"/>
                  </a:lnTo>
                  <a:lnTo>
                    <a:pt x="194" y="141"/>
                  </a:lnTo>
                  <a:lnTo>
                    <a:pt x="195" y="140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6"/>
                  </a:lnTo>
                  <a:lnTo>
                    <a:pt x="195" y="133"/>
                  </a:lnTo>
                  <a:lnTo>
                    <a:pt x="195" y="132"/>
                  </a:lnTo>
                  <a:lnTo>
                    <a:pt x="195" y="130"/>
                  </a:lnTo>
                  <a:lnTo>
                    <a:pt x="195" y="129"/>
                  </a:lnTo>
                  <a:lnTo>
                    <a:pt x="195" y="128"/>
                  </a:lnTo>
                  <a:lnTo>
                    <a:pt x="196" y="127"/>
                  </a:lnTo>
                  <a:lnTo>
                    <a:pt x="196" y="126"/>
                  </a:lnTo>
                  <a:lnTo>
                    <a:pt x="196" y="125"/>
                  </a:lnTo>
                  <a:lnTo>
                    <a:pt x="197" y="124"/>
                  </a:lnTo>
                  <a:lnTo>
                    <a:pt x="197" y="124"/>
                  </a:lnTo>
                  <a:lnTo>
                    <a:pt x="197" y="123"/>
                  </a:lnTo>
                  <a:lnTo>
                    <a:pt x="198" y="123"/>
                  </a:lnTo>
                  <a:lnTo>
                    <a:pt x="198" y="122"/>
                  </a:lnTo>
                  <a:lnTo>
                    <a:pt x="199" y="122"/>
                  </a:lnTo>
                  <a:lnTo>
                    <a:pt x="199" y="122"/>
                  </a:lnTo>
                  <a:lnTo>
                    <a:pt x="200" y="121"/>
                  </a:lnTo>
                  <a:lnTo>
                    <a:pt x="201" y="121"/>
                  </a:lnTo>
                  <a:lnTo>
                    <a:pt x="204" y="120"/>
                  </a:lnTo>
                  <a:lnTo>
                    <a:pt x="205" y="120"/>
                  </a:lnTo>
                  <a:lnTo>
                    <a:pt x="207" y="119"/>
                  </a:lnTo>
                  <a:lnTo>
                    <a:pt x="208" y="119"/>
                  </a:lnTo>
                  <a:lnTo>
                    <a:pt x="210" y="118"/>
                  </a:lnTo>
                  <a:lnTo>
                    <a:pt x="211" y="117"/>
                  </a:lnTo>
                  <a:lnTo>
                    <a:pt x="212" y="116"/>
                  </a:lnTo>
                  <a:lnTo>
                    <a:pt x="214" y="114"/>
                  </a:lnTo>
                  <a:lnTo>
                    <a:pt x="215" y="113"/>
                  </a:lnTo>
                  <a:lnTo>
                    <a:pt x="216" y="113"/>
                  </a:lnTo>
                  <a:lnTo>
                    <a:pt x="218" y="112"/>
                  </a:lnTo>
                  <a:lnTo>
                    <a:pt x="219" y="111"/>
                  </a:lnTo>
                  <a:lnTo>
                    <a:pt x="221" y="110"/>
                  </a:lnTo>
                  <a:lnTo>
                    <a:pt x="222" y="110"/>
                  </a:lnTo>
                  <a:lnTo>
                    <a:pt x="223" y="110"/>
                  </a:lnTo>
                  <a:lnTo>
                    <a:pt x="224" y="110"/>
                  </a:lnTo>
                  <a:lnTo>
                    <a:pt x="225" y="110"/>
                  </a:lnTo>
                  <a:lnTo>
                    <a:pt x="226" y="110"/>
                  </a:lnTo>
                  <a:lnTo>
                    <a:pt x="227" y="110"/>
                  </a:lnTo>
                  <a:lnTo>
                    <a:pt x="229" y="111"/>
                  </a:lnTo>
                  <a:lnTo>
                    <a:pt x="232" y="112"/>
                  </a:lnTo>
                  <a:lnTo>
                    <a:pt x="234" y="113"/>
                  </a:lnTo>
                  <a:lnTo>
                    <a:pt x="235" y="113"/>
                  </a:lnTo>
                  <a:lnTo>
                    <a:pt x="236" y="113"/>
                  </a:lnTo>
                  <a:lnTo>
                    <a:pt x="237" y="113"/>
                  </a:lnTo>
                  <a:lnTo>
                    <a:pt x="240" y="112"/>
                  </a:lnTo>
                  <a:lnTo>
                    <a:pt x="244" y="112"/>
                  </a:lnTo>
                  <a:lnTo>
                    <a:pt x="244" y="111"/>
                  </a:lnTo>
                  <a:lnTo>
                    <a:pt x="245" y="111"/>
                  </a:lnTo>
                  <a:lnTo>
                    <a:pt x="247" y="111"/>
                  </a:lnTo>
                  <a:lnTo>
                    <a:pt x="248" y="110"/>
                  </a:lnTo>
                  <a:lnTo>
                    <a:pt x="249" y="109"/>
                  </a:lnTo>
                  <a:lnTo>
                    <a:pt x="252" y="107"/>
                  </a:lnTo>
                  <a:lnTo>
                    <a:pt x="253" y="106"/>
                  </a:lnTo>
                  <a:lnTo>
                    <a:pt x="255" y="105"/>
                  </a:lnTo>
                  <a:lnTo>
                    <a:pt x="258" y="104"/>
                  </a:lnTo>
                  <a:lnTo>
                    <a:pt x="265" y="101"/>
                  </a:lnTo>
                  <a:lnTo>
                    <a:pt x="270" y="98"/>
                  </a:lnTo>
                  <a:lnTo>
                    <a:pt x="273" y="97"/>
                  </a:lnTo>
                  <a:lnTo>
                    <a:pt x="275" y="96"/>
                  </a:lnTo>
                  <a:lnTo>
                    <a:pt x="281" y="94"/>
                  </a:lnTo>
                  <a:lnTo>
                    <a:pt x="283" y="94"/>
                  </a:lnTo>
                  <a:lnTo>
                    <a:pt x="285" y="93"/>
                  </a:lnTo>
                  <a:lnTo>
                    <a:pt x="286" y="92"/>
                  </a:lnTo>
                  <a:lnTo>
                    <a:pt x="287" y="92"/>
                  </a:lnTo>
                  <a:lnTo>
                    <a:pt x="288" y="91"/>
                  </a:lnTo>
                  <a:lnTo>
                    <a:pt x="290" y="89"/>
                  </a:lnTo>
                  <a:lnTo>
                    <a:pt x="291" y="88"/>
                  </a:lnTo>
                  <a:lnTo>
                    <a:pt x="292" y="87"/>
                  </a:lnTo>
                  <a:lnTo>
                    <a:pt x="293" y="86"/>
                  </a:lnTo>
                  <a:lnTo>
                    <a:pt x="294" y="85"/>
                  </a:lnTo>
                  <a:lnTo>
                    <a:pt x="295" y="84"/>
                  </a:lnTo>
                  <a:lnTo>
                    <a:pt x="297" y="81"/>
                  </a:lnTo>
                  <a:lnTo>
                    <a:pt x="297" y="80"/>
                  </a:lnTo>
                  <a:lnTo>
                    <a:pt x="297" y="79"/>
                  </a:lnTo>
                  <a:lnTo>
                    <a:pt x="298" y="79"/>
                  </a:lnTo>
                  <a:lnTo>
                    <a:pt x="299" y="78"/>
                  </a:lnTo>
                  <a:lnTo>
                    <a:pt x="300" y="78"/>
                  </a:lnTo>
                  <a:lnTo>
                    <a:pt x="301" y="77"/>
                  </a:lnTo>
                  <a:lnTo>
                    <a:pt x="302" y="76"/>
                  </a:lnTo>
                  <a:lnTo>
                    <a:pt x="304" y="76"/>
                  </a:lnTo>
                  <a:lnTo>
                    <a:pt x="305" y="76"/>
                  </a:lnTo>
                  <a:lnTo>
                    <a:pt x="306" y="76"/>
                  </a:lnTo>
                  <a:lnTo>
                    <a:pt x="307" y="76"/>
                  </a:lnTo>
                  <a:lnTo>
                    <a:pt x="308" y="76"/>
                  </a:lnTo>
                  <a:lnTo>
                    <a:pt x="310" y="76"/>
                  </a:lnTo>
                  <a:lnTo>
                    <a:pt x="312" y="77"/>
                  </a:lnTo>
                  <a:lnTo>
                    <a:pt x="314" y="77"/>
                  </a:lnTo>
                  <a:lnTo>
                    <a:pt x="315" y="77"/>
                  </a:lnTo>
                  <a:lnTo>
                    <a:pt x="316" y="77"/>
                  </a:lnTo>
                  <a:lnTo>
                    <a:pt x="317" y="77"/>
                  </a:lnTo>
                  <a:lnTo>
                    <a:pt x="318" y="77"/>
                  </a:lnTo>
                  <a:lnTo>
                    <a:pt x="320" y="77"/>
                  </a:lnTo>
                  <a:lnTo>
                    <a:pt x="323" y="76"/>
                  </a:lnTo>
                  <a:lnTo>
                    <a:pt x="324" y="76"/>
                  </a:lnTo>
                  <a:lnTo>
                    <a:pt x="325" y="75"/>
                  </a:lnTo>
                  <a:lnTo>
                    <a:pt x="327" y="75"/>
                  </a:lnTo>
                  <a:lnTo>
                    <a:pt x="330" y="74"/>
                  </a:lnTo>
                  <a:lnTo>
                    <a:pt x="331" y="73"/>
                  </a:lnTo>
                  <a:lnTo>
                    <a:pt x="332" y="73"/>
                  </a:lnTo>
                  <a:lnTo>
                    <a:pt x="335" y="72"/>
                  </a:lnTo>
                  <a:lnTo>
                    <a:pt x="336" y="72"/>
                  </a:lnTo>
                  <a:lnTo>
                    <a:pt x="337" y="72"/>
                  </a:lnTo>
                  <a:lnTo>
                    <a:pt x="338" y="71"/>
                  </a:lnTo>
                  <a:lnTo>
                    <a:pt x="338" y="71"/>
                  </a:lnTo>
                  <a:lnTo>
                    <a:pt x="339" y="70"/>
                  </a:lnTo>
                  <a:lnTo>
                    <a:pt x="339" y="70"/>
                  </a:lnTo>
                  <a:lnTo>
                    <a:pt x="340" y="69"/>
                  </a:lnTo>
                  <a:lnTo>
                    <a:pt x="340" y="69"/>
                  </a:lnTo>
                  <a:lnTo>
                    <a:pt x="341" y="68"/>
                  </a:lnTo>
                  <a:lnTo>
                    <a:pt x="341" y="65"/>
                  </a:lnTo>
                  <a:lnTo>
                    <a:pt x="342" y="63"/>
                  </a:lnTo>
                  <a:lnTo>
                    <a:pt x="343" y="61"/>
                  </a:lnTo>
                  <a:lnTo>
                    <a:pt x="343" y="60"/>
                  </a:lnTo>
                  <a:lnTo>
                    <a:pt x="343" y="60"/>
                  </a:lnTo>
                  <a:lnTo>
                    <a:pt x="343" y="59"/>
                  </a:lnTo>
                  <a:lnTo>
                    <a:pt x="343" y="58"/>
                  </a:lnTo>
                  <a:lnTo>
                    <a:pt x="343" y="58"/>
                  </a:lnTo>
                  <a:lnTo>
                    <a:pt x="343" y="57"/>
                  </a:lnTo>
                  <a:lnTo>
                    <a:pt x="342" y="57"/>
                  </a:lnTo>
                  <a:lnTo>
                    <a:pt x="342" y="56"/>
                  </a:lnTo>
                  <a:lnTo>
                    <a:pt x="341" y="55"/>
                  </a:lnTo>
                  <a:lnTo>
                    <a:pt x="341" y="55"/>
                  </a:lnTo>
                  <a:lnTo>
                    <a:pt x="340" y="55"/>
                  </a:lnTo>
                  <a:lnTo>
                    <a:pt x="339" y="54"/>
                  </a:lnTo>
                  <a:lnTo>
                    <a:pt x="338" y="54"/>
                  </a:lnTo>
                  <a:lnTo>
                    <a:pt x="336" y="53"/>
                  </a:lnTo>
                  <a:lnTo>
                    <a:pt x="332" y="51"/>
                  </a:lnTo>
                  <a:lnTo>
                    <a:pt x="330" y="50"/>
                  </a:lnTo>
                  <a:lnTo>
                    <a:pt x="325" y="49"/>
                  </a:lnTo>
                  <a:lnTo>
                    <a:pt x="324" y="48"/>
                  </a:lnTo>
                  <a:lnTo>
                    <a:pt x="323" y="48"/>
                  </a:lnTo>
                  <a:lnTo>
                    <a:pt x="322" y="47"/>
                  </a:lnTo>
                  <a:lnTo>
                    <a:pt x="322" y="47"/>
                  </a:lnTo>
                  <a:lnTo>
                    <a:pt x="321" y="46"/>
                  </a:lnTo>
                  <a:lnTo>
                    <a:pt x="321" y="46"/>
                  </a:lnTo>
                  <a:lnTo>
                    <a:pt x="321" y="45"/>
                  </a:lnTo>
                  <a:lnTo>
                    <a:pt x="320" y="45"/>
                  </a:lnTo>
                  <a:lnTo>
                    <a:pt x="320" y="44"/>
                  </a:lnTo>
                  <a:lnTo>
                    <a:pt x="319" y="43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19" y="41"/>
                  </a:lnTo>
                  <a:lnTo>
                    <a:pt x="319" y="41"/>
                  </a:lnTo>
                  <a:lnTo>
                    <a:pt x="319" y="40"/>
                  </a:lnTo>
                  <a:lnTo>
                    <a:pt x="319" y="40"/>
                  </a:lnTo>
                  <a:lnTo>
                    <a:pt x="320" y="39"/>
                  </a:lnTo>
                  <a:lnTo>
                    <a:pt x="321" y="37"/>
                  </a:lnTo>
                  <a:lnTo>
                    <a:pt x="321" y="37"/>
                  </a:lnTo>
                  <a:lnTo>
                    <a:pt x="321" y="37"/>
                  </a:lnTo>
                  <a:lnTo>
                    <a:pt x="321" y="36"/>
                  </a:lnTo>
                  <a:lnTo>
                    <a:pt x="321" y="36"/>
                  </a:lnTo>
                  <a:lnTo>
                    <a:pt x="321" y="35"/>
                  </a:lnTo>
                  <a:lnTo>
                    <a:pt x="320" y="35"/>
                  </a:lnTo>
                  <a:lnTo>
                    <a:pt x="320" y="35"/>
                  </a:lnTo>
                  <a:lnTo>
                    <a:pt x="320" y="34"/>
                  </a:lnTo>
                  <a:lnTo>
                    <a:pt x="319" y="34"/>
                  </a:lnTo>
                  <a:lnTo>
                    <a:pt x="318" y="34"/>
                  </a:lnTo>
                  <a:lnTo>
                    <a:pt x="317" y="34"/>
                  </a:lnTo>
                  <a:lnTo>
                    <a:pt x="314" y="34"/>
                  </a:lnTo>
                  <a:lnTo>
                    <a:pt x="313" y="34"/>
                  </a:lnTo>
                  <a:lnTo>
                    <a:pt x="312" y="34"/>
                  </a:lnTo>
                  <a:lnTo>
                    <a:pt x="311" y="34"/>
                  </a:lnTo>
                  <a:lnTo>
                    <a:pt x="310" y="33"/>
                  </a:lnTo>
                  <a:lnTo>
                    <a:pt x="309" y="33"/>
                  </a:lnTo>
                  <a:lnTo>
                    <a:pt x="308" y="32"/>
                  </a:lnTo>
                  <a:lnTo>
                    <a:pt x="307" y="32"/>
                  </a:lnTo>
                  <a:lnTo>
                    <a:pt x="307" y="31"/>
                  </a:lnTo>
                  <a:lnTo>
                    <a:pt x="306" y="31"/>
                  </a:lnTo>
                  <a:lnTo>
                    <a:pt x="306" y="30"/>
                  </a:lnTo>
                  <a:lnTo>
                    <a:pt x="306" y="30"/>
                  </a:lnTo>
                  <a:lnTo>
                    <a:pt x="305" y="29"/>
                  </a:lnTo>
                  <a:lnTo>
                    <a:pt x="305" y="28"/>
                  </a:lnTo>
                  <a:lnTo>
                    <a:pt x="305" y="28"/>
                  </a:lnTo>
                  <a:lnTo>
                    <a:pt x="305" y="27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3"/>
                  </a:lnTo>
                  <a:lnTo>
                    <a:pt x="306" y="22"/>
                  </a:lnTo>
                  <a:lnTo>
                    <a:pt x="306" y="21"/>
                  </a:lnTo>
                  <a:lnTo>
                    <a:pt x="307" y="19"/>
                  </a:lnTo>
                  <a:lnTo>
                    <a:pt x="308" y="18"/>
                  </a:lnTo>
                  <a:lnTo>
                    <a:pt x="308" y="17"/>
                  </a:lnTo>
                  <a:lnTo>
                    <a:pt x="309" y="16"/>
                  </a:lnTo>
                  <a:lnTo>
                    <a:pt x="309" y="14"/>
                  </a:lnTo>
                  <a:lnTo>
                    <a:pt x="309" y="13"/>
                  </a:lnTo>
                  <a:lnTo>
                    <a:pt x="310" y="12"/>
                  </a:lnTo>
                  <a:lnTo>
                    <a:pt x="310" y="9"/>
                  </a:lnTo>
                  <a:lnTo>
                    <a:pt x="311" y="8"/>
                  </a:lnTo>
                  <a:lnTo>
                    <a:pt x="311" y="8"/>
                  </a:lnTo>
                  <a:lnTo>
                    <a:pt x="311" y="7"/>
                  </a:lnTo>
                  <a:lnTo>
                    <a:pt x="311" y="6"/>
                  </a:lnTo>
                  <a:lnTo>
                    <a:pt x="312" y="5"/>
                  </a:lnTo>
                  <a:lnTo>
                    <a:pt x="315" y="1"/>
                  </a:lnTo>
                  <a:lnTo>
                    <a:pt x="316" y="0"/>
                  </a:lnTo>
                  <a:lnTo>
                    <a:pt x="317" y="0"/>
                  </a:lnTo>
                  <a:lnTo>
                    <a:pt x="317" y="0"/>
                  </a:lnTo>
                  <a:lnTo>
                    <a:pt x="317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Freeform 56">
              <a:extLst>
                <a:ext uri="{FF2B5EF4-FFF2-40B4-BE49-F238E27FC236}">
                  <a16:creationId xmlns:a16="http://schemas.microsoft.com/office/drawing/2014/main" id="{EB6469A9-CFCB-F88B-71EE-0611DAD71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0" y="2882"/>
              <a:ext cx="376" cy="252"/>
            </a:xfrm>
            <a:custGeom>
              <a:avLst/>
              <a:gdLst>
                <a:gd name="T0" fmla="*/ 210 w 376"/>
                <a:gd name="T1" fmla="*/ 2 h 252"/>
                <a:gd name="T2" fmla="*/ 222 w 376"/>
                <a:gd name="T3" fmla="*/ 11 h 252"/>
                <a:gd name="T4" fmla="*/ 231 w 376"/>
                <a:gd name="T5" fmla="*/ 11 h 252"/>
                <a:gd name="T6" fmla="*/ 240 w 376"/>
                <a:gd name="T7" fmla="*/ 5 h 252"/>
                <a:gd name="T8" fmla="*/ 247 w 376"/>
                <a:gd name="T9" fmla="*/ 16 h 252"/>
                <a:gd name="T10" fmla="*/ 261 w 376"/>
                <a:gd name="T11" fmla="*/ 14 h 252"/>
                <a:gd name="T12" fmla="*/ 274 w 376"/>
                <a:gd name="T13" fmla="*/ 32 h 252"/>
                <a:gd name="T14" fmla="*/ 272 w 376"/>
                <a:gd name="T15" fmla="*/ 55 h 252"/>
                <a:gd name="T16" fmla="*/ 285 w 376"/>
                <a:gd name="T17" fmla="*/ 74 h 252"/>
                <a:gd name="T18" fmla="*/ 300 w 376"/>
                <a:gd name="T19" fmla="*/ 94 h 252"/>
                <a:gd name="T20" fmla="*/ 305 w 376"/>
                <a:gd name="T21" fmla="*/ 111 h 252"/>
                <a:gd name="T22" fmla="*/ 318 w 376"/>
                <a:gd name="T23" fmla="*/ 101 h 252"/>
                <a:gd name="T24" fmla="*/ 342 w 376"/>
                <a:gd name="T25" fmla="*/ 109 h 252"/>
                <a:gd name="T26" fmla="*/ 353 w 376"/>
                <a:gd name="T27" fmla="*/ 122 h 252"/>
                <a:gd name="T28" fmla="*/ 358 w 376"/>
                <a:gd name="T29" fmla="*/ 156 h 252"/>
                <a:gd name="T30" fmla="*/ 363 w 376"/>
                <a:gd name="T31" fmla="*/ 183 h 252"/>
                <a:gd name="T32" fmla="*/ 363 w 376"/>
                <a:gd name="T33" fmla="*/ 202 h 252"/>
                <a:gd name="T34" fmla="*/ 376 w 376"/>
                <a:gd name="T35" fmla="*/ 226 h 252"/>
                <a:gd name="T36" fmla="*/ 365 w 376"/>
                <a:gd name="T37" fmla="*/ 232 h 252"/>
                <a:gd name="T38" fmla="*/ 348 w 376"/>
                <a:gd name="T39" fmla="*/ 233 h 252"/>
                <a:gd name="T40" fmla="*/ 334 w 376"/>
                <a:gd name="T41" fmla="*/ 222 h 252"/>
                <a:gd name="T42" fmla="*/ 322 w 376"/>
                <a:gd name="T43" fmla="*/ 233 h 252"/>
                <a:gd name="T44" fmla="*/ 318 w 376"/>
                <a:gd name="T45" fmla="*/ 247 h 252"/>
                <a:gd name="T46" fmla="*/ 306 w 376"/>
                <a:gd name="T47" fmla="*/ 247 h 252"/>
                <a:gd name="T48" fmla="*/ 299 w 376"/>
                <a:gd name="T49" fmla="*/ 241 h 252"/>
                <a:gd name="T50" fmla="*/ 278 w 376"/>
                <a:gd name="T51" fmla="*/ 232 h 252"/>
                <a:gd name="T52" fmla="*/ 265 w 376"/>
                <a:gd name="T53" fmla="*/ 236 h 252"/>
                <a:gd name="T54" fmla="*/ 250 w 376"/>
                <a:gd name="T55" fmla="*/ 240 h 252"/>
                <a:gd name="T56" fmla="*/ 227 w 376"/>
                <a:gd name="T57" fmla="*/ 227 h 252"/>
                <a:gd name="T58" fmla="*/ 213 w 376"/>
                <a:gd name="T59" fmla="*/ 213 h 252"/>
                <a:gd name="T60" fmla="*/ 192 w 376"/>
                <a:gd name="T61" fmla="*/ 196 h 252"/>
                <a:gd name="T62" fmla="*/ 181 w 376"/>
                <a:gd name="T63" fmla="*/ 197 h 252"/>
                <a:gd name="T64" fmla="*/ 168 w 376"/>
                <a:gd name="T65" fmla="*/ 187 h 252"/>
                <a:gd name="T66" fmla="*/ 162 w 376"/>
                <a:gd name="T67" fmla="*/ 201 h 252"/>
                <a:gd name="T68" fmla="*/ 149 w 376"/>
                <a:gd name="T69" fmla="*/ 211 h 252"/>
                <a:gd name="T70" fmla="*/ 141 w 376"/>
                <a:gd name="T71" fmla="*/ 220 h 252"/>
                <a:gd name="T72" fmla="*/ 121 w 376"/>
                <a:gd name="T73" fmla="*/ 218 h 252"/>
                <a:gd name="T74" fmla="*/ 113 w 376"/>
                <a:gd name="T75" fmla="*/ 234 h 252"/>
                <a:gd name="T76" fmla="*/ 97 w 376"/>
                <a:gd name="T77" fmla="*/ 248 h 252"/>
                <a:gd name="T78" fmla="*/ 74 w 376"/>
                <a:gd name="T79" fmla="*/ 252 h 252"/>
                <a:gd name="T80" fmla="*/ 67 w 376"/>
                <a:gd name="T81" fmla="*/ 241 h 252"/>
                <a:gd name="T82" fmla="*/ 57 w 376"/>
                <a:gd name="T83" fmla="*/ 240 h 252"/>
                <a:gd name="T84" fmla="*/ 44 w 376"/>
                <a:gd name="T85" fmla="*/ 241 h 252"/>
                <a:gd name="T86" fmla="*/ 38 w 376"/>
                <a:gd name="T87" fmla="*/ 234 h 252"/>
                <a:gd name="T88" fmla="*/ 21 w 376"/>
                <a:gd name="T89" fmla="*/ 214 h 252"/>
                <a:gd name="T90" fmla="*/ 6 w 376"/>
                <a:gd name="T91" fmla="*/ 183 h 252"/>
                <a:gd name="T92" fmla="*/ 0 w 376"/>
                <a:gd name="T93" fmla="*/ 163 h 252"/>
                <a:gd name="T94" fmla="*/ 8 w 376"/>
                <a:gd name="T95" fmla="*/ 144 h 252"/>
                <a:gd name="T96" fmla="*/ 21 w 376"/>
                <a:gd name="T97" fmla="*/ 131 h 252"/>
                <a:gd name="T98" fmla="*/ 26 w 376"/>
                <a:gd name="T99" fmla="*/ 117 h 252"/>
                <a:gd name="T100" fmla="*/ 31 w 376"/>
                <a:gd name="T101" fmla="*/ 98 h 252"/>
                <a:gd name="T102" fmla="*/ 45 w 376"/>
                <a:gd name="T103" fmla="*/ 99 h 252"/>
                <a:gd name="T104" fmla="*/ 60 w 376"/>
                <a:gd name="T105" fmla="*/ 102 h 252"/>
                <a:gd name="T106" fmla="*/ 69 w 376"/>
                <a:gd name="T107" fmla="*/ 85 h 252"/>
                <a:gd name="T108" fmla="*/ 92 w 376"/>
                <a:gd name="T109" fmla="*/ 80 h 252"/>
                <a:gd name="T110" fmla="*/ 117 w 376"/>
                <a:gd name="T111" fmla="*/ 91 h 252"/>
                <a:gd name="T112" fmla="*/ 134 w 376"/>
                <a:gd name="T113" fmla="*/ 86 h 252"/>
                <a:gd name="T114" fmla="*/ 153 w 376"/>
                <a:gd name="T115" fmla="*/ 69 h 252"/>
                <a:gd name="T116" fmla="*/ 179 w 376"/>
                <a:gd name="T117" fmla="*/ 72 h 252"/>
                <a:gd name="T118" fmla="*/ 191 w 376"/>
                <a:gd name="T119" fmla="*/ 67 h 252"/>
                <a:gd name="T120" fmla="*/ 194 w 376"/>
                <a:gd name="T121" fmla="*/ 37 h 252"/>
                <a:gd name="T122" fmla="*/ 193 w 376"/>
                <a:gd name="T123" fmla="*/ 19 h 252"/>
                <a:gd name="T124" fmla="*/ 185 w 376"/>
                <a:gd name="T125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6" h="252">
                  <a:moveTo>
                    <a:pt x="198" y="0"/>
                  </a:moveTo>
                  <a:lnTo>
                    <a:pt x="198" y="0"/>
                  </a:lnTo>
                  <a:lnTo>
                    <a:pt x="201" y="1"/>
                  </a:lnTo>
                  <a:lnTo>
                    <a:pt x="201" y="2"/>
                  </a:lnTo>
                  <a:lnTo>
                    <a:pt x="202" y="2"/>
                  </a:lnTo>
                  <a:lnTo>
                    <a:pt x="203" y="2"/>
                  </a:lnTo>
                  <a:lnTo>
                    <a:pt x="204" y="3"/>
                  </a:lnTo>
                  <a:lnTo>
                    <a:pt x="205" y="3"/>
                  </a:lnTo>
                  <a:lnTo>
                    <a:pt x="205" y="3"/>
                  </a:lnTo>
                  <a:lnTo>
                    <a:pt x="206" y="3"/>
                  </a:lnTo>
                  <a:lnTo>
                    <a:pt x="206" y="3"/>
                  </a:lnTo>
                  <a:lnTo>
                    <a:pt x="207" y="2"/>
                  </a:lnTo>
                  <a:lnTo>
                    <a:pt x="209" y="2"/>
                  </a:lnTo>
                  <a:lnTo>
                    <a:pt x="209" y="2"/>
                  </a:lnTo>
                  <a:lnTo>
                    <a:pt x="210" y="2"/>
                  </a:lnTo>
                  <a:lnTo>
                    <a:pt x="211" y="2"/>
                  </a:lnTo>
                  <a:lnTo>
                    <a:pt x="212" y="2"/>
                  </a:lnTo>
                  <a:lnTo>
                    <a:pt x="213" y="2"/>
                  </a:lnTo>
                  <a:lnTo>
                    <a:pt x="217" y="4"/>
                  </a:lnTo>
                  <a:lnTo>
                    <a:pt x="219" y="5"/>
                  </a:lnTo>
                  <a:lnTo>
                    <a:pt x="220" y="5"/>
                  </a:lnTo>
                  <a:lnTo>
                    <a:pt x="220" y="5"/>
                  </a:lnTo>
                  <a:lnTo>
                    <a:pt x="221" y="6"/>
                  </a:lnTo>
                  <a:lnTo>
                    <a:pt x="221" y="6"/>
                  </a:lnTo>
                  <a:lnTo>
                    <a:pt x="221" y="7"/>
                  </a:lnTo>
                  <a:lnTo>
                    <a:pt x="221" y="7"/>
                  </a:lnTo>
                  <a:lnTo>
                    <a:pt x="221" y="9"/>
                  </a:lnTo>
                  <a:lnTo>
                    <a:pt x="221" y="10"/>
                  </a:lnTo>
                  <a:lnTo>
                    <a:pt x="222" y="11"/>
                  </a:lnTo>
                  <a:lnTo>
                    <a:pt x="222" y="11"/>
                  </a:lnTo>
                  <a:lnTo>
                    <a:pt x="223" y="12"/>
                  </a:lnTo>
                  <a:lnTo>
                    <a:pt x="223" y="13"/>
                  </a:lnTo>
                  <a:lnTo>
                    <a:pt x="224" y="13"/>
                  </a:lnTo>
                  <a:lnTo>
                    <a:pt x="225" y="13"/>
                  </a:lnTo>
                  <a:lnTo>
                    <a:pt x="226" y="13"/>
                  </a:lnTo>
                  <a:lnTo>
                    <a:pt x="226" y="14"/>
                  </a:lnTo>
                  <a:lnTo>
                    <a:pt x="227" y="14"/>
                  </a:lnTo>
                  <a:lnTo>
                    <a:pt x="228" y="14"/>
                  </a:lnTo>
                  <a:lnTo>
                    <a:pt x="229" y="13"/>
                  </a:lnTo>
                  <a:lnTo>
                    <a:pt x="229" y="13"/>
                  </a:lnTo>
                  <a:lnTo>
                    <a:pt x="230" y="13"/>
                  </a:lnTo>
                  <a:lnTo>
                    <a:pt x="230" y="13"/>
                  </a:lnTo>
                  <a:lnTo>
                    <a:pt x="230" y="12"/>
                  </a:lnTo>
                  <a:lnTo>
                    <a:pt x="231" y="12"/>
                  </a:lnTo>
                  <a:lnTo>
                    <a:pt x="231" y="11"/>
                  </a:lnTo>
                  <a:lnTo>
                    <a:pt x="232" y="10"/>
                  </a:lnTo>
                  <a:lnTo>
                    <a:pt x="233" y="8"/>
                  </a:lnTo>
                  <a:lnTo>
                    <a:pt x="234" y="7"/>
                  </a:lnTo>
                  <a:lnTo>
                    <a:pt x="235" y="6"/>
                  </a:lnTo>
                  <a:lnTo>
                    <a:pt x="235" y="6"/>
                  </a:lnTo>
                  <a:lnTo>
                    <a:pt x="235" y="5"/>
                  </a:lnTo>
                  <a:lnTo>
                    <a:pt x="236" y="5"/>
                  </a:lnTo>
                  <a:lnTo>
                    <a:pt x="237" y="5"/>
                  </a:lnTo>
                  <a:lnTo>
                    <a:pt x="237" y="5"/>
                  </a:lnTo>
                  <a:lnTo>
                    <a:pt x="238" y="5"/>
                  </a:lnTo>
                  <a:lnTo>
                    <a:pt x="238" y="4"/>
                  </a:lnTo>
                  <a:lnTo>
                    <a:pt x="239" y="4"/>
                  </a:lnTo>
                  <a:lnTo>
                    <a:pt x="239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1" y="6"/>
                  </a:lnTo>
                  <a:lnTo>
                    <a:pt x="241" y="6"/>
                  </a:lnTo>
                  <a:lnTo>
                    <a:pt x="242" y="8"/>
                  </a:lnTo>
                  <a:lnTo>
                    <a:pt x="242" y="9"/>
                  </a:lnTo>
                  <a:lnTo>
                    <a:pt x="243" y="12"/>
                  </a:lnTo>
                  <a:lnTo>
                    <a:pt x="243" y="13"/>
                  </a:lnTo>
                  <a:lnTo>
                    <a:pt x="244" y="14"/>
                  </a:lnTo>
                  <a:lnTo>
                    <a:pt x="244" y="15"/>
                  </a:lnTo>
                  <a:lnTo>
                    <a:pt x="245" y="15"/>
                  </a:lnTo>
                  <a:lnTo>
                    <a:pt x="245" y="16"/>
                  </a:lnTo>
                  <a:lnTo>
                    <a:pt x="246" y="16"/>
                  </a:lnTo>
                  <a:lnTo>
                    <a:pt x="247" y="16"/>
                  </a:lnTo>
                  <a:lnTo>
                    <a:pt x="247" y="16"/>
                  </a:lnTo>
                  <a:lnTo>
                    <a:pt x="248" y="16"/>
                  </a:lnTo>
                  <a:lnTo>
                    <a:pt x="248" y="16"/>
                  </a:lnTo>
                  <a:lnTo>
                    <a:pt x="249" y="16"/>
                  </a:lnTo>
                  <a:lnTo>
                    <a:pt x="251" y="15"/>
                  </a:lnTo>
                  <a:lnTo>
                    <a:pt x="253" y="14"/>
                  </a:lnTo>
                  <a:lnTo>
                    <a:pt x="255" y="13"/>
                  </a:lnTo>
                  <a:lnTo>
                    <a:pt x="256" y="13"/>
                  </a:lnTo>
                  <a:lnTo>
                    <a:pt x="257" y="13"/>
                  </a:lnTo>
                  <a:lnTo>
                    <a:pt x="258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60" y="13"/>
                  </a:lnTo>
                  <a:lnTo>
                    <a:pt x="260" y="13"/>
                  </a:lnTo>
                  <a:lnTo>
                    <a:pt x="261" y="14"/>
                  </a:lnTo>
                  <a:lnTo>
                    <a:pt x="261" y="14"/>
                  </a:lnTo>
                  <a:lnTo>
                    <a:pt x="263" y="16"/>
                  </a:lnTo>
                  <a:lnTo>
                    <a:pt x="264" y="17"/>
                  </a:lnTo>
                  <a:lnTo>
                    <a:pt x="265" y="18"/>
                  </a:lnTo>
                  <a:lnTo>
                    <a:pt x="268" y="19"/>
                  </a:lnTo>
                  <a:lnTo>
                    <a:pt x="269" y="20"/>
                  </a:lnTo>
                  <a:lnTo>
                    <a:pt x="269" y="21"/>
                  </a:lnTo>
                  <a:lnTo>
                    <a:pt x="270" y="21"/>
                  </a:lnTo>
                  <a:lnTo>
                    <a:pt x="271" y="22"/>
                  </a:lnTo>
                  <a:lnTo>
                    <a:pt x="271" y="23"/>
                  </a:lnTo>
                  <a:lnTo>
                    <a:pt x="272" y="24"/>
                  </a:lnTo>
                  <a:lnTo>
                    <a:pt x="274" y="28"/>
                  </a:lnTo>
                  <a:lnTo>
                    <a:pt x="274" y="29"/>
                  </a:lnTo>
                  <a:lnTo>
                    <a:pt x="274" y="31"/>
                  </a:lnTo>
                  <a:lnTo>
                    <a:pt x="274" y="32"/>
                  </a:lnTo>
                  <a:lnTo>
                    <a:pt x="274" y="33"/>
                  </a:lnTo>
                  <a:lnTo>
                    <a:pt x="274" y="34"/>
                  </a:lnTo>
                  <a:lnTo>
                    <a:pt x="274" y="34"/>
                  </a:lnTo>
                  <a:lnTo>
                    <a:pt x="274" y="35"/>
                  </a:lnTo>
                  <a:lnTo>
                    <a:pt x="272" y="40"/>
                  </a:lnTo>
                  <a:lnTo>
                    <a:pt x="271" y="41"/>
                  </a:lnTo>
                  <a:lnTo>
                    <a:pt x="271" y="43"/>
                  </a:lnTo>
                  <a:lnTo>
                    <a:pt x="271" y="44"/>
                  </a:lnTo>
                  <a:lnTo>
                    <a:pt x="271" y="45"/>
                  </a:lnTo>
                  <a:lnTo>
                    <a:pt x="271" y="47"/>
                  </a:lnTo>
                  <a:lnTo>
                    <a:pt x="271" y="48"/>
                  </a:lnTo>
                  <a:lnTo>
                    <a:pt x="271" y="50"/>
                  </a:lnTo>
                  <a:lnTo>
                    <a:pt x="271" y="52"/>
                  </a:lnTo>
                  <a:lnTo>
                    <a:pt x="272" y="53"/>
                  </a:lnTo>
                  <a:lnTo>
                    <a:pt x="272" y="55"/>
                  </a:lnTo>
                  <a:lnTo>
                    <a:pt x="273" y="57"/>
                  </a:lnTo>
                  <a:lnTo>
                    <a:pt x="273" y="59"/>
                  </a:lnTo>
                  <a:lnTo>
                    <a:pt x="274" y="60"/>
                  </a:lnTo>
                  <a:lnTo>
                    <a:pt x="274" y="62"/>
                  </a:lnTo>
                  <a:lnTo>
                    <a:pt x="275" y="64"/>
                  </a:lnTo>
                  <a:lnTo>
                    <a:pt x="277" y="66"/>
                  </a:lnTo>
                  <a:lnTo>
                    <a:pt x="278" y="67"/>
                  </a:lnTo>
                  <a:lnTo>
                    <a:pt x="279" y="69"/>
                  </a:lnTo>
                  <a:lnTo>
                    <a:pt x="280" y="70"/>
                  </a:lnTo>
                  <a:lnTo>
                    <a:pt x="281" y="71"/>
                  </a:lnTo>
                  <a:lnTo>
                    <a:pt x="282" y="72"/>
                  </a:lnTo>
                  <a:lnTo>
                    <a:pt x="282" y="73"/>
                  </a:lnTo>
                  <a:lnTo>
                    <a:pt x="283" y="73"/>
                  </a:lnTo>
                  <a:lnTo>
                    <a:pt x="284" y="74"/>
                  </a:lnTo>
                  <a:lnTo>
                    <a:pt x="285" y="74"/>
                  </a:lnTo>
                  <a:lnTo>
                    <a:pt x="286" y="75"/>
                  </a:lnTo>
                  <a:lnTo>
                    <a:pt x="287" y="76"/>
                  </a:lnTo>
                  <a:lnTo>
                    <a:pt x="291" y="77"/>
                  </a:lnTo>
                  <a:lnTo>
                    <a:pt x="292" y="78"/>
                  </a:lnTo>
                  <a:lnTo>
                    <a:pt x="293" y="78"/>
                  </a:lnTo>
                  <a:lnTo>
                    <a:pt x="294" y="79"/>
                  </a:lnTo>
                  <a:lnTo>
                    <a:pt x="295" y="80"/>
                  </a:lnTo>
                  <a:lnTo>
                    <a:pt x="296" y="81"/>
                  </a:lnTo>
                  <a:lnTo>
                    <a:pt x="297" y="83"/>
                  </a:lnTo>
                  <a:lnTo>
                    <a:pt x="298" y="85"/>
                  </a:lnTo>
                  <a:lnTo>
                    <a:pt x="299" y="86"/>
                  </a:lnTo>
                  <a:lnTo>
                    <a:pt x="299" y="88"/>
                  </a:lnTo>
                  <a:lnTo>
                    <a:pt x="300" y="90"/>
                  </a:lnTo>
                  <a:lnTo>
                    <a:pt x="300" y="92"/>
                  </a:lnTo>
                  <a:lnTo>
                    <a:pt x="300" y="94"/>
                  </a:lnTo>
                  <a:lnTo>
                    <a:pt x="300" y="97"/>
                  </a:lnTo>
                  <a:lnTo>
                    <a:pt x="300" y="102"/>
                  </a:lnTo>
                  <a:lnTo>
                    <a:pt x="300" y="102"/>
                  </a:lnTo>
                  <a:lnTo>
                    <a:pt x="300" y="104"/>
                  </a:lnTo>
                  <a:lnTo>
                    <a:pt x="301" y="106"/>
                  </a:lnTo>
                  <a:lnTo>
                    <a:pt x="301" y="107"/>
                  </a:lnTo>
                  <a:lnTo>
                    <a:pt x="301" y="108"/>
                  </a:lnTo>
                  <a:lnTo>
                    <a:pt x="302" y="109"/>
                  </a:lnTo>
                  <a:lnTo>
                    <a:pt x="302" y="109"/>
                  </a:lnTo>
                  <a:lnTo>
                    <a:pt x="302" y="110"/>
                  </a:lnTo>
                  <a:lnTo>
                    <a:pt x="302" y="110"/>
                  </a:lnTo>
                  <a:lnTo>
                    <a:pt x="303" y="110"/>
                  </a:lnTo>
                  <a:lnTo>
                    <a:pt x="303" y="111"/>
                  </a:lnTo>
                  <a:lnTo>
                    <a:pt x="304" y="111"/>
                  </a:lnTo>
                  <a:lnTo>
                    <a:pt x="305" y="111"/>
                  </a:lnTo>
                  <a:lnTo>
                    <a:pt x="305" y="111"/>
                  </a:lnTo>
                  <a:lnTo>
                    <a:pt x="306" y="111"/>
                  </a:lnTo>
                  <a:lnTo>
                    <a:pt x="307" y="111"/>
                  </a:lnTo>
                  <a:lnTo>
                    <a:pt x="307" y="111"/>
                  </a:lnTo>
                  <a:lnTo>
                    <a:pt x="308" y="110"/>
                  </a:lnTo>
                  <a:lnTo>
                    <a:pt x="308" y="110"/>
                  </a:lnTo>
                  <a:lnTo>
                    <a:pt x="309" y="109"/>
                  </a:lnTo>
                  <a:lnTo>
                    <a:pt x="310" y="109"/>
                  </a:lnTo>
                  <a:lnTo>
                    <a:pt x="311" y="107"/>
                  </a:lnTo>
                  <a:lnTo>
                    <a:pt x="314" y="104"/>
                  </a:lnTo>
                  <a:lnTo>
                    <a:pt x="316" y="103"/>
                  </a:lnTo>
                  <a:lnTo>
                    <a:pt x="317" y="102"/>
                  </a:lnTo>
                  <a:lnTo>
                    <a:pt x="317" y="102"/>
                  </a:lnTo>
                  <a:lnTo>
                    <a:pt x="318" y="101"/>
                  </a:lnTo>
                  <a:lnTo>
                    <a:pt x="318" y="101"/>
                  </a:lnTo>
                  <a:lnTo>
                    <a:pt x="319" y="101"/>
                  </a:lnTo>
                  <a:lnTo>
                    <a:pt x="320" y="101"/>
                  </a:lnTo>
                  <a:lnTo>
                    <a:pt x="320" y="101"/>
                  </a:lnTo>
                  <a:lnTo>
                    <a:pt x="321" y="101"/>
                  </a:lnTo>
                  <a:lnTo>
                    <a:pt x="322" y="101"/>
                  </a:lnTo>
                  <a:lnTo>
                    <a:pt x="322" y="101"/>
                  </a:lnTo>
                  <a:lnTo>
                    <a:pt x="324" y="101"/>
                  </a:lnTo>
                  <a:lnTo>
                    <a:pt x="326" y="102"/>
                  </a:lnTo>
                  <a:lnTo>
                    <a:pt x="327" y="102"/>
                  </a:lnTo>
                  <a:lnTo>
                    <a:pt x="329" y="103"/>
                  </a:lnTo>
                  <a:lnTo>
                    <a:pt x="332" y="105"/>
                  </a:lnTo>
                  <a:lnTo>
                    <a:pt x="334" y="106"/>
                  </a:lnTo>
                  <a:lnTo>
                    <a:pt x="337" y="107"/>
                  </a:lnTo>
                  <a:lnTo>
                    <a:pt x="341" y="108"/>
                  </a:lnTo>
                  <a:lnTo>
                    <a:pt x="342" y="109"/>
                  </a:lnTo>
                  <a:lnTo>
                    <a:pt x="344" y="110"/>
                  </a:lnTo>
                  <a:lnTo>
                    <a:pt x="347" y="111"/>
                  </a:lnTo>
                  <a:lnTo>
                    <a:pt x="347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3"/>
                  </a:lnTo>
                  <a:lnTo>
                    <a:pt x="349" y="114"/>
                  </a:lnTo>
                  <a:lnTo>
                    <a:pt x="349" y="115"/>
                  </a:lnTo>
                  <a:lnTo>
                    <a:pt x="349" y="116"/>
                  </a:lnTo>
                  <a:lnTo>
                    <a:pt x="350" y="117"/>
                  </a:lnTo>
                  <a:lnTo>
                    <a:pt x="351" y="119"/>
                  </a:lnTo>
                  <a:lnTo>
                    <a:pt x="352" y="121"/>
                  </a:lnTo>
                  <a:lnTo>
                    <a:pt x="353" y="122"/>
                  </a:lnTo>
                  <a:lnTo>
                    <a:pt x="355" y="126"/>
                  </a:lnTo>
                  <a:lnTo>
                    <a:pt x="356" y="127"/>
                  </a:lnTo>
                  <a:lnTo>
                    <a:pt x="357" y="129"/>
                  </a:lnTo>
                  <a:lnTo>
                    <a:pt x="357" y="130"/>
                  </a:lnTo>
                  <a:lnTo>
                    <a:pt x="357" y="131"/>
                  </a:lnTo>
                  <a:lnTo>
                    <a:pt x="358" y="131"/>
                  </a:lnTo>
                  <a:lnTo>
                    <a:pt x="358" y="133"/>
                  </a:lnTo>
                  <a:lnTo>
                    <a:pt x="358" y="134"/>
                  </a:lnTo>
                  <a:lnTo>
                    <a:pt x="358" y="136"/>
                  </a:lnTo>
                  <a:lnTo>
                    <a:pt x="357" y="140"/>
                  </a:lnTo>
                  <a:lnTo>
                    <a:pt x="357" y="141"/>
                  </a:lnTo>
                  <a:lnTo>
                    <a:pt x="357" y="142"/>
                  </a:lnTo>
                  <a:lnTo>
                    <a:pt x="357" y="147"/>
                  </a:lnTo>
                  <a:lnTo>
                    <a:pt x="357" y="154"/>
                  </a:lnTo>
                  <a:lnTo>
                    <a:pt x="358" y="156"/>
                  </a:lnTo>
                  <a:lnTo>
                    <a:pt x="358" y="157"/>
                  </a:lnTo>
                  <a:lnTo>
                    <a:pt x="358" y="159"/>
                  </a:lnTo>
                  <a:lnTo>
                    <a:pt x="359" y="162"/>
                  </a:lnTo>
                  <a:lnTo>
                    <a:pt x="359" y="165"/>
                  </a:lnTo>
                  <a:lnTo>
                    <a:pt x="360" y="168"/>
                  </a:lnTo>
                  <a:lnTo>
                    <a:pt x="361" y="170"/>
                  </a:lnTo>
                  <a:lnTo>
                    <a:pt x="361" y="170"/>
                  </a:lnTo>
                  <a:lnTo>
                    <a:pt x="361" y="171"/>
                  </a:lnTo>
                  <a:lnTo>
                    <a:pt x="361" y="174"/>
                  </a:lnTo>
                  <a:lnTo>
                    <a:pt x="361" y="175"/>
                  </a:lnTo>
                  <a:lnTo>
                    <a:pt x="361" y="176"/>
                  </a:lnTo>
                  <a:lnTo>
                    <a:pt x="361" y="177"/>
                  </a:lnTo>
                  <a:lnTo>
                    <a:pt x="361" y="178"/>
                  </a:lnTo>
                  <a:lnTo>
                    <a:pt x="361" y="178"/>
                  </a:lnTo>
                  <a:lnTo>
                    <a:pt x="363" y="183"/>
                  </a:lnTo>
                  <a:lnTo>
                    <a:pt x="365" y="185"/>
                  </a:lnTo>
                  <a:lnTo>
                    <a:pt x="365" y="186"/>
                  </a:lnTo>
                  <a:lnTo>
                    <a:pt x="365" y="187"/>
                  </a:lnTo>
                  <a:lnTo>
                    <a:pt x="365" y="187"/>
                  </a:lnTo>
                  <a:lnTo>
                    <a:pt x="366" y="188"/>
                  </a:lnTo>
                  <a:lnTo>
                    <a:pt x="366" y="189"/>
                  </a:lnTo>
                  <a:lnTo>
                    <a:pt x="366" y="189"/>
                  </a:lnTo>
                  <a:lnTo>
                    <a:pt x="365" y="190"/>
                  </a:lnTo>
                  <a:lnTo>
                    <a:pt x="365" y="191"/>
                  </a:lnTo>
                  <a:lnTo>
                    <a:pt x="364" y="195"/>
                  </a:lnTo>
                  <a:lnTo>
                    <a:pt x="363" y="197"/>
                  </a:lnTo>
                  <a:lnTo>
                    <a:pt x="363" y="199"/>
                  </a:lnTo>
                  <a:lnTo>
                    <a:pt x="363" y="200"/>
                  </a:lnTo>
                  <a:lnTo>
                    <a:pt x="362" y="201"/>
                  </a:lnTo>
                  <a:lnTo>
                    <a:pt x="363" y="202"/>
                  </a:lnTo>
                  <a:lnTo>
                    <a:pt x="363" y="203"/>
                  </a:lnTo>
                  <a:lnTo>
                    <a:pt x="363" y="204"/>
                  </a:lnTo>
                  <a:lnTo>
                    <a:pt x="363" y="204"/>
                  </a:lnTo>
                  <a:lnTo>
                    <a:pt x="365" y="207"/>
                  </a:lnTo>
                  <a:lnTo>
                    <a:pt x="366" y="210"/>
                  </a:lnTo>
                  <a:lnTo>
                    <a:pt x="368" y="214"/>
                  </a:lnTo>
                  <a:lnTo>
                    <a:pt x="368" y="214"/>
                  </a:lnTo>
                  <a:lnTo>
                    <a:pt x="370" y="216"/>
                  </a:lnTo>
                  <a:lnTo>
                    <a:pt x="372" y="220"/>
                  </a:lnTo>
                  <a:lnTo>
                    <a:pt x="374" y="222"/>
                  </a:lnTo>
                  <a:lnTo>
                    <a:pt x="374" y="223"/>
                  </a:lnTo>
                  <a:lnTo>
                    <a:pt x="375" y="224"/>
                  </a:lnTo>
                  <a:lnTo>
                    <a:pt x="375" y="224"/>
                  </a:lnTo>
                  <a:lnTo>
                    <a:pt x="375" y="225"/>
                  </a:lnTo>
                  <a:lnTo>
                    <a:pt x="376" y="226"/>
                  </a:lnTo>
                  <a:lnTo>
                    <a:pt x="376" y="227"/>
                  </a:lnTo>
                  <a:lnTo>
                    <a:pt x="376" y="228"/>
                  </a:lnTo>
                  <a:lnTo>
                    <a:pt x="375" y="228"/>
                  </a:lnTo>
                  <a:lnTo>
                    <a:pt x="375" y="229"/>
                  </a:lnTo>
                  <a:lnTo>
                    <a:pt x="375" y="229"/>
                  </a:lnTo>
                  <a:lnTo>
                    <a:pt x="374" y="229"/>
                  </a:lnTo>
                  <a:lnTo>
                    <a:pt x="374" y="230"/>
                  </a:lnTo>
                  <a:lnTo>
                    <a:pt x="373" y="230"/>
                  </a:lnTo>
                  <a:lnTo>
                    <a:pt x="372" y="231"/>
                  </a:lnTo>
                  <a:lnTo>
                    <a:pt x="371" y="231"/>
                  </a:lnTo>
                  <a:lnTo>
                    <a:pt x="369" y="232"/>
                  </a:lnTo>
                  <a:lnTo>
                    <a:pt x="368" y="232"/>
                  </a:lnTo>
                  <a:lnTo>
                    <a:pt x="367" y="232"/>
                  </a:lnTo>
                  <a:lnTo>
                    <a:pt x="365" y="232"/>
                  </a:lnTo>
                  <a:lnTo>
                    <a:pt x="365" y="232"/>
                  </a:lnTo>
                  <a:lnTo>
                    <a:pt x="364" y="232"/>
                  </a:lnTo>
                  <a:lnTo>
                    <a:pt x="364" y="232"/>
                  </a:lnTo>
                  <a:lnTo>
                    <a:pt x="362" y="232"/>
                  </a:lnTo>
                  <a:lnTo>
                    <a:pt x="361" y="231"/>
                  </a:lnTo>
                  <a:lnTo>
                    <a:pt x="359" y="231"/>
                  </a:lnTo>
                  <a:lnTo>
                    <a:pt x="358" y="231"/>
                  </a:lnTo>
                  <a:lnTo>
                    <a:pt x="357" y="231"/>
                  </a:lnTo>
                  <a:lnTo>
                    <a:pt x="356" y="231"/>
                  </a:lnTo>
                  <a:lnTo>
                    <a:pt x="355" y="232"/>
                  </a:lnTo>
                  <a:lnTo>
                    <a:pt x="352" y="232"/>
                  </a:lnTo>
                  <a:lnTo>
                    <a:pt x="351" y="233"/>
                  </a:lnTo>
                  <a:lnTo>
                    <a:pt x="350" y="233"/>
                  </a:lnTo>
                  <a:lnTo>
                    <a:pt x="350" y="233"/>
                  </a:lnTo>
                  <a:lnTo>
                    <a:pt x="349" y="233"/>
                  </a:lnTo>
                  <a:lnTo>
                    <a:pt x="348" y="233"/>
                  </a:lnTo>
                  <a:lnTo>
                    <a:pt x="347" y="232"/>
                  </a:lnTo>
                  <a:lnTo>
                    <a:pt x="346" y="232"/>
                  </a:lnTo>
                  <a:lnTo>
                    <a:pt x="345" y="231"/>
                  </a:lnTo>
                  <a:lnTo>
                    <a:pt x="343" y="231"/>
                  </a:lnTo>
                  <a:lnTo>
                    <a:pt x="343" y="230"/>
                  </a:lnTo>
                  <a:lnTo>
                    <a:pt x="342" y="229"/>
                  </a:lnTo>
                  <a:lnTo>
                    <a:pt x="341" y="229"/>
                  </a:lnTo>
                  <a:lnTo>
                    <a:pt x="340" y="228"/>
                  </a:lnTo>
                  <a:lnTo>
                    <a:pt x="339" y="226"/>
                  </a:lnTo>
                  <a:lnTo>
                    <a:pt x="337" y="224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6" y="222"/>
                  </a:lnTo>
                  <a:lnTo>
                    <a:pt x="335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3" y="222"/>
                  </a:lnTo>
                  <a:lnTo>
                    <a:pt x="333" y="222"/>
                  </a:lnTo>
                  <a:lnTo>
                    <a:pt x="332" y="223"/>
                  </a:lnTo>
                  <a:lnTo>
                    <a:pt x="332" y="224"/>
                  </a:lnTo>
                  <a:lnTo>
                    <a:pt x="331" y="224"/>
                  </a:lnTo>
                  <a:lnTo>
                    <a:pt x="329" y="226"/>
                  </a:lnTo>
                  <a:lnTo>
                    <a:pt x="327" y="228"/>
                  </a:lnTo>
                  <a:lnTo>
                    <a:pt x="325" y="230"/>
                  </a:lnTo>
                  <a:lnTo>
                    <a:pt x="324" y="230"/>
                  </a:lnTo>
                  <a:lnTo>
                    <a:pt x="323" y="231"/>
                  </a:lnTo>
                  <a:lnTo>
                    <a:pt x="323" y="232"/>
                  </a:lnTo>
                  <a:lnTo>
                    <a:pt x="322" y="233"/>
                  </a:lnTo>
                  <a:lnTo>
                    <a:pt x="322" y="233"/>
                  </a:lnTo>
                  <a:lnTo>
                    <a:pt x="322" y="234"/>
                  </a:lnTo>
                  <a:lnTo>
                    <a:pt x="322" y="235"/>
                  </a:lnTo>
                  <a:lnTo>
                    <a:pt x="322" y="236"/>
                  </a:lnTo>
                  <a:lnTo>
                    <a:pt x="322" y="237"/>
                  </a:lnTo>
                  <a:lnTo>
                    <a:pt x="323" y="240"/>
                  </a:lnTo>
                  <a:lnTo>
                    <a:pt x="323" y="241"/>
                  </a:lnTo>
                  <a:lnTo>
                    <a:pt x="323" y="241"/>
                  </a:lnTo>
                  <a:lnTo>
                    <a:pt x="323" y="242"/>
                  </a:lnTo>
                  <a:lnTo>
                    <a:pt x="322" y="243"/>
                  </a:lnTo>
                  <a:lnTo>
                    <a:pt x="322" y="244"/>
                  </a:lnTo>
                  <a:lnTo>
                    <a:pt x="321" y="245"/>
                  </a:lnTo>
                  <a:lnTo>
                    <a:pt x="321" y="245"/>
                  </a:lnTo>
                  <a:lnTo>
                    <a:pt x="321" y="246"/>
                  </a:lnTo>
                  <a:lnTo>
                    <a:pt x="318" y="247"/>
                  </a:lnTo>
                  <a:lnTo>
                    <a:pt x="318" y="247"/>
                  </a:lnTo>
                  <a:lnTo>
                    <a:pt x="317" y="248"/>
                  </a:lnTo>
                  <a:lnTo>
                    <a:pt x="316" y="248"/>
                  </a:lnTo>
                  <a:lnTo>
                    <a:pt x="315" y="249"/>
                  </a:lnTo>
                  <a:lnTo>
                    <a:pt x="314" y="249"/>
                  </a:lnTo>
                  <a:lnTo>
                    <a:pt x="313" y="249"/>
                  </a:lnTo>
                  <a:lnTo>
                    <a:pt x="312" y="249"/>
                  </a:lnTo>
                  <a:lnTo>
                    <a:pt x="311" y="249"/>
                  </a:lnTo>
                  <a:lnTo>
                    <a:pt x="310" y="249"/>
                  </a:lnTo>
                  <a:lnTo>
                    <a:pt x="310" y="249"/>
                  </a:lnTo>
                  <a:lnTo>
                    <a:pt x="309" y="249"/>
                  </a:lnTo>
                  <a:lnTo>
                    <a:pt x="308" y="249"/>
                  </a:lnTo>
                  <a:lnTo>
                    <a:pt x="308" y="248"/>
                  </a:lnTo>
                  <a:lnTo>
                    <a:pt x="308" y="248"/>
                  </a:lnTo>
                  <a:lnTo>
                    <a:pt x="307" y="248"/>
                  </a:lnTo>
                  <a:lnTo>
                    <a:pt x="306" y="247"/>
                  </a:lnTo>
                  <a:lnTo>
                    <a:pt x="306" y="246"/>
                  </a:lnTo>
                  <a:lnTo>
                    <a:pt x="306" y="246"/>
                  </a:lnTo>
                  <a:lnTo>
                    <a:pt x="305" y="245"/>
                  </a:lnTo>
                  <a:lnTo>
                    <a:pt x="305" y="244"/>
                  </a:lnTo>
                  <a:lnTo>
                    <a:pt x="305" y="243"/>
                  </a:lnTo>
                  <a:lnTo>
                    <a:pt x="304" y="242"/>
                  </a:lnTo>
                  <a:lnTo>
                    <a:pt x="304" y="242"/>
                  </a:lnTo>
                  <a:lnTo>
                    <a:pt x="304" y="241"/>
                  </a:lnTo>
                  <a:lnTo>
                    <a:pt x="303" y="241"/>
                  </a:lnTo>
                  <a:lnTo>
                    <a:pt x="303" y="241"/>
                  </a:lnTo>
                  <a:lnTo>
                    <a:pt x="303" y="240"/>
                  </a:lnTo>
                  <a:lnTo>
                    <a:pt x="302" y="240"/>
                  </a:lnTo>
                  <a:lnTo>
                    <a:pt x="300" y="241"/>
                  </a:lnTo>
                  <a:lnTo>
                    <a:pt x="299" y="241"/>
                  </a:lnTo>
                  <a:lnTo>
                    <a:pt x="299" y="241"/>
                  </a:lnTo>
                  <a:lnTo>
                    <a:pt x="298" y="240"/>
                  </a:lnTo>
                  <a:lnTo>
                    <a:pt x="296" y="240"/>
                  </a:lnTo>
                  <a:lnTo>
                    <a:pt x="294" y="239"/>
                  </a:lnTo>
                  <a:lnTo>
                    <a:pt x="293" y="238"/>
                  </a:lnTo>
                  <a:lnTo>
                    <a:pt x="291" y="237"/>
                  </a:lnTo>
                  <a:lnTo>
                    <a:pt x="290" y="236"/>
                  </a:lnTo>
                  <a:lnTo>
                    <a:pt x="289" y="236"/>
                  </a:lnTo>
                  <a:lnTo>
                    <a:pt x="288" y="236"/>
                  </a:lnTo>
                  <a:lnTo>
                    <a:pt x="287" y="235"/>
                  </a:lnTo>
                  <a:lnTo>
                    <a:pt x="286" y="235"/>
                  </a:lnTo>
                  <a:lnTo>
                    <a:pt x="284" y="235"/>
                  </a:lnTo>
                  <a:lnTo>
                    <a:pt x="283" y="234"/>
                  </a:lnTo>
                  <a:lnTo>
                    <a:pt x="281" y="234"/>
                  </a:lnTo>
                  <a:lnTo>
                    <a:pt x="279" y="233"/>
                  </a:lnTo>
                  <a:lnTo>
                    <a:pt x="278" y="232"/>
                  </a:lnTo>
                  <a:lnTo>
                    <a:pt x="277" y="232"/>
                  </a:lnTo>
                  <a:lnTo>
                    <a:pt x="276" y="231"/>
                  </a:lnTo>
                  <a:lnTo>
                    <a:pt x="275" y="231"/>
                  </a:lnTo>
                  <a:lnTo>
                    <a:pt x="274" y="231"/>
                  </a:lnTo>
                  <a:lnTo>
                    <a:pt x="273" y="231"/>
                  </a:lnTo>
                  <a:lnTo>
                    <a:pt x="272" y="231"/>
                  </a:lnTo>
                  <a:lnTo>
                    <a:pt x="271" y="231"/>
                  </a:lnTo>
                  <a:lnTo>
                    <a:pt x="271" y="231"/>
                  </a:lnTo>
                  <a:lnTo>
                    <a:pt x="270" y="232"/>
                  </a:lnTo>
                  <a:lnTo>
                    <a:pt x="270" y="232"/>
                  </a:lnTo>
                  <a:lnTo>
                    <a:pt x="269" y="232"/>
                  </a:lnTo>
                  <a:lnTo>
                    <a:pt x="269" y="233"/>
                  </a:lnTo>
                  <a:lnTo>
                    <a:pt x="268" y="233"/>
                  </a:lnTo>
                  <a:lnTo>
                    <a:pt x="267" y="234"/>
                  </a:lnTo>
                  <a:lnTo>
                    <a:pt x="265" y="236"/>
                  </a:lnTo>
                  <a:lnTo>
                    <a:pt x="263" y="239"/>
                  </a:lnTo>
                  <a:lnTo>
                    <a:pt x="262" y="240"/>
                  </a:lnTo>
                  <a:lnTo>
                    <a:pt x="261" y="241"/>
                  </a:lnTo>
                  <a:lnTo>
                    <a:pt x="261" y="241"/>
                  </a:lnTo>
                  <a:lnTo>
                    <a:pt x="260" y="242"/>
                  </a:lnTo>
                  <a:lnTo>
                    <a:pt x="259" y="242"/>
                  </a:lnTo>
                  <a:lnTo>
                    <a:pt x="259" y="242"/>
                  </a:lnTo>
                  <a:lnTo>
                    <a:pt x="258" y="242"/>
                  </a:lnTo>
                  <a:lnTo>
                    <a:pt x="257" y="242"/>
                  </a:lnTo>
                  <a:lnTo>
                    <a:pt x="256" y="242"/>
                  </a:lnTo>
                  <a:lnTo>
                    <a:pt x="255" y="242"/>
                  </a:lnTo>
                  <a:lnTo>
                    <a:pt x="255" y="242"/>
                  </a:lnTo>
                  <a:lnTo>
                    <a:pt x="253" y="241"/>
                  </a:lnTo>
                  <a:lnTo>
                    <a:pt x="252" y="241"/>
                  </a:lnTo>
                  <a:lnTo>
                    <a:pt x="250" y="240"/>
                  </a:lnTo>
                  <a:lnTo>
                    <a:pt x="249" y="239"/>
                  </a:lnTo>
                  <a:lnTo>
                    <a:pt x="247" y="239"/>
                  </a:lnTo>
                  <a:lnTo>
                    <a:pt x="246" y="238"/>
                  </a:lnTo>
                  <a:lnTo>
                    <a:pt x="242" y="236"/>
                  </a:lnTo>
                  <a:lnTo>
                    <a:pt x="240" y="235"/>
                  </a:lnTo>
                  <a:lnTo>
                    <a:pt x="238" y="233"/>
                  </a:lnTo>
                  <a:lnTo>
                    <a:pt x="236" y="233"/>
                  </a:lnTo>
                  <a:lnTo>
                    <a:pt x="235" y="232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4" y="230"/>
                  </a:lnTo>
                  <a:lnTo>
                    <a:pt x="233" y="230"/>
                  </a:lnTo>
                  <a:lnTo>
                    <a:pt x="228" y="228"/>
                  </a:lnTo>
                  <a:lnTo>
                    <a:pt x="227" y="227"/>
                  </a:lnTo>
                  <a:lnTo>
                    <a:pt x="225" y="226"/>
                  </a:lnTo>
                  <a:lnTo>
                    <a:pt x="224" y="226"/>
                  </a:lnTo>
                  <a:lnTo>
                    <a:pt x="224" y="225"/>
                  </a:lnTo>
                  <a:lnTo>
                    <a:pt x="223" y="225"/>
                  </a:lnTo>
                  <a:lnTo>
                    <a:pt x="222" y="224"/>
                  </a:lnTo>
                  <a:lnTo>
                    <a:pt x="221" y="224"/>
                  </a:lnTo>
                  <a:lnTo>
                    <a:pt x="221" y="223"/>
                  </a:lnTo>
                  <a:lnTo>
                    <a:pt x="221" y="222"/>
                  </a:lnTo>
                  <a:lnTo>
                    <a:pt x="219" y="219"/>
                  </a:lnTo>
                  <a:lnTo>
                    <a:pt x="218" y="218"/>
                  </a:lnTo>
                  <a:lnTo>
                    <a:pt x="217" y="217"/>
                  </a:lnTo>
                  <a:lnTo>
                    <a:pt x="217" y="216"/>
                  </a:lnTo>
                  <a:lnTo>
                    <a:pt x="216" y="215"/>
                  </a:lnTo>
                  <a:lnTo>
                    <a:pt x="215" y="214"/>
                  </a:lnTo>
                  <a:lnTo>
                    <a:pt x="213" y="213"/>
                  </a:lnTo>
                  <a:lnTo>
                    <a:pt x="212" y="212"/>
                  </a:lnTo>
                  <a:lnTo>
                    <a:pt x="211" y="211"/>
                  </a:lnTo>
                  <a:lnTo>
                    <a:pt x="210" y="211"/>
                  </a:lnTo>
                  <a:lnTo>
                    <a:pt x="209" y="210"/>
                  </a:lnTo>
                  <a:lnTo>
                    <a:pt x="207" y="209"/>
                  </a:lnTo>
                  <a:lnTo>
                    <a:pt x="206" y="209"/>
                  </a:lnTo>
                  <a:lnTo>
                    <a:pt x="205" y="209"/>
                  </a:lnTo>
                  <a:lnTo>
                    <a:pt x="204" y="208"/>
                  </a:lnTo>
                  <a:lnTo>
                    <a:pt x="204" y="208"/>
                  </a:lnTo>
                  <a:lnTo>
                    <a:pt x="203" y="207"/>
                  </a:lnTo>
                  <a:lnTo>
                    <a:pt x="201" y="205"/>
                  </a:lnTo>
                  <a:lnTo>
                    <a:pt x="197" y="201"/>
                  </a:lnTo>
                  <a:lnTo>
                    <a:pt x="195" y="197"/>
                  </a:lnTo>
                  <a:lnTo>
                    <a:pt x="193" y="196"/>
                  </a:lnTo>
                  <a:lnTo>
                    <a:pt x="192" y="196"/>
                  </a:lnTo>
                  <a:lnTo>
                    <a:pt x="192" y="195"/>
                  </a:lnTo>
                  <a:lnTo>
                    <a:pt x="192" y="195"/>
                  </a:lnTo>
                  <a:lnTo>
                    <a:pt x="191" y="195"/>
                  </a:lnTo>
                  <a:lnTo>
                    <a:pt x="190" y="195"/>
                  </a:lnTo>
                  <a:lnTo>
                    <a:pt x="187" y="194"/>
                  </a:lnTo>
                  <a:lnTo>
                    <a:pt x="187" y="194"/>
                  </a:lnTo>
                  <a:lnTo>
                    <a:pt x="186" y="194"/>
                  </a:lnTo>
                  <a:lnTo>
                    <a:pt x="185" y="194"/>
                  </a:lnTo>
                  <a:lnTo>
                    <a:pt x="184" y="195"/>
                  </a:lnTo>
                  <a:lnTo>
                    <a:pt x="184" y="195"/>
                  </a:lnTo>
                  <a:lnTo>
                    <a:pt x="183" y="195"/>
                  </a:lnTo>
                  <a:lnTo>
                    <a:pt x="182" y="196"/>
                  </a:lnTo>
                  <a:lnTo>
                    <a:pt x="181" y="196"/>
                  </a:lnTo>
                  <a:lnTo>
                    <a:pt x="181" y="197"/>
                  </a:lnTo>
                  <a:lnTo>
                    <a:pt x="181" y="197"/>
                  </a:lnTo>
                  <a:lnTo>
                    <a:pt x="180" y="197"/>
                  </a:lnTo>
                  <a:lnTo>
                    <a:pt x="179" y="197"/>
                  </a:lnTo>
                  <a:lnTo>
                    <a:pt x="179" y="196"/>
                  </a:lnTo>
                  <a:lnTo>
                    <a:pt x="178" y="196"/>
                  </a:lnTo>
                  <a:lnTo>
                    <a:pt x="177" y="196"/>
                  </a:lnTo>
                  <a:lnTo>
                    <a:pt x="177" y="195"/>
                  </a:lnTo>
                  <a:lnTo>
                    <a:pt x="176" y="194"/>
                  </a:lnTo>
                  <a:lnTo>
                    <a:pt x="176" y="194"/>
                  </a:lnTo>
                  <a:lnTo>
                    <a:pt x="175" y="193"/>
                  </a:lnTo>
                  <a:lnTo>
                    <a:pt x="173" y="192"/>
                  </a:lnTo>
                  <a:lnTo>
                    <a:pt x="172" y="191"/>
                  </a:lnTo>
                  <a:lnTo>
                    <a:pt x="171" y="190"/>
                  </a:lnTo>
                  <a:lnTo>
                    <a:pt x="169" y="188"/>
                  </a:lnTo>
                  <a:lnTo>
                    <a:pt x="168" y="188"/>
                  </a:lnTo>
                  <a:lnTo>
                    <a:pt x="168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6" y="187"/>
                  </a:lnTo>
                  <a:lnTo>
                    <a:pt x="166" y="187"/>
                  </a:lnTo>
                  <a:lnTo>
                    <a:pt x="166" y="189"/>
                  </a:lnTo>
                  <a:lnTo>
                    <a:pt x="166" y="190"/>
                  </a:lnTo>
                  <a:lnTo>
                    <a:pt x="165" y="191"/>
                  </a:lnTo>
                  <a:lnTo>
                    <a:pt x="164" y="193"/>
                  </a:lnTo>
                  <a:lnTo>
                    <a:pt x="163" y="195"/>
                  </a:lnTo>
                  <a:lnTo>
                    <a:pt x="163" y="196"/>
                  </a:lnTo>
                  <a:lnTo>
                    <a:pt x="163" y="198"/>
                  </a:lnTo>
                  <a:lnTo>
                    <a:pt x="163" y="199"/>
                  </a:lnTo>
                  <a:lnTo>
                    <a:pt x="163" y="200"/>
                  </a:lnTo>
                  <a:lnTo>
                    <a:pt x="162" y="201"/>
                  </a:lnTo>
                  <a:lnTo>
                    <a:pt x="162" y="201"/>
                  </a:lnTo>
                  <a:lnTo>
                    <a:pt x="161" y="202"/>
                  </a:lnTo>
                  <a:lnTo>
                    <a:pt x="161" y="202"/>
                  </a:lnTo>
                  <a:lnTo>
                    <a:pt x="160" y="203"/>
                  </a:lnTo>
                  <a:lnTo>
                    <a:pt x="159" y="203"/>
                  </a:lnTo>
                  <a:lnTo>
                    <a:pt x="155" y="205"/>
                  </a:lnTo>
                  <a:lnTo>
                    <a:pt x="153" y="206"/>
                  </a:lnTo>
                  <a:lnTo>
                    <a:pt x="153" y="207"/>
                  </a:lnTo>
                  <a:lnTo>
                    <a:pt x="151" y="208"/>
                  </a:lnTo>
                  <a:lnTo>
                    <a:pt x="151" y="208"/>
                  </a:lnTo>
                  <a:lnTo>
                    <a:pt x="150" y="209"/>
                  </a:lnTo>
                  <a:lnTo>
                    <a:pt x="149" y="209"/>
                  </a:lnTo>
                  <a:lnTo>
                    <a:pt x="149" y="209"/>
                  </a:lnTo>
                  <a:lnTo>
                    <a:pt x="149" y="210"/>
                  </a:lnTo>
                  <a:lnTo>
                    <a:pt x="149" y="211"/>
                  </a:lnTo>
                  <a:lnTo>
                    <a:pt x="148" y="212"/>
                  </a:lnTo>
                  <a:lnTo>
                    <a:pt x="148" y="214"/>
                  </a:lnTo>
                  <a:lnTo>
                    <a:pt x="148" y="215"/>
                  </a:lnTo>
                  <a:lnTo>
                    <a:pt x="148" y="215"/>
                  </a:lnTo>
                  <a:lnTo>
                    <a:pt x="147" y="216"/>
                  </a:lnTo>
                  <a:lnTo>
                    <a:pt x="147" y="216"/>
                  </a:lnTo>
                  <a:lnTo>
                    <a:pt x="146" y="217"/>
                  </a:lnTo>
                  <a:lnTo>
                    <a:pt x="146" y="218"/>
                  </a:lnTo>
                  <a:lnTo>
                    <a:pt x="145" y="218"/>
                  </a:lnTo>
                  <a:lnTo>
                    <a:pt x="144" y="219"/>
                  </a:lnTo>
                  <a:lnTo>
                    <a:pt x="143" y="219"/>
                  </a:lnTo>
                  <a:lnTo>
                    <a:pt x="143" y="219"/>
                  </a:lnTo>
                  <a:lnTo>
                    <a:pt x="142" y="220"/>
                  </a:lnTo>
                  <a:lnTo>
                    <a:pt x="141" y="220"/>
                  </a:lnTo>
                  <a:lnTo>
                    <a:pt x="141" y="220"/>
                  </a:lnTo>
                  <a:lnTo>
                    <a:pt x="140" y="220"/>
                  </a:lnTo>
                  <a:lnTo>
                    <a:pt x="139" y="220"/>
                  </a:lnTo>
                  <a:lnTo>
                    <a:pt x="139" y="220"/>
                  </a:lnTo>
                  <a:lnTo>
                    <a:pt x="138" y="220"/>
                  </a:lnTo>
                  <a:lnTo>
                    <a:pt x="136" y="220"/>
                  </a:lnTo>
                  <a:lnTo>
                    <a:pt x="133" y="219"/>
                  </a:lnTo>
                  <a:lnTo>
                    <a:pt x="131" y="218"/>
                  </a:lnTo>
                  <a:lnTo>
                    <a:pt x="129" y="218"/>
                  </a:lnTo>
                  <a:lnTo>
                    <a:pt x="127" y="217"/>
                  </a:lnTo>
                  <a:lnTo>
                    <a:pt x="125" y="217"/>
                  </a:lnTo>
                  <a:lnTo>
                    <a:pt x="124" y="217"/>
                  </a:lnTo>
                  <a:lnTo>
                    <a:pt x="123" y="217"/>
                  </a:lnTo>
                  <a:lnTo>
                    <a:pt x="123" y="217"/>
                  </a:lnTo>
                  <a:lnTo>
                    <a:pt x="122" y="218"/>
                  </a:lnTo>
                  <a:lnTo>
                    <a:pt x="121" y="218"/>
                  </a:lnTo>
                  <a:lnTo>
                    <a:pt x="120" y="219"/>
                  </a:lnTo>
                  <a:lnTo>
                    <a:pt x="120" y="219"/>
                  </a:lnTo>
                  <a:lnTo>
                    <a:pt x="119" y="220"/>
                  </a:lnTo>
                  <a:lnTo>
                    <a:pt x="119" y="221"/>
                  </a:lnTo>
                  <a:lnTo>
                    <a:pt x="119" y="222"/>
                  </a:lnTo>
                  <a:lnTo>
                    <a:pt x="119" y="226"/>
                  </a:lnTo>
                  <a:lnTo>
                    <a:pt x="118" y="227"/>
                  </a:lnTo>
                  <a:lnTo>
                    <a:pt x="118" y="228"/>
                  </a:lnTo>
                  <a:lnTo>
                    <a:pt x="118" y="229"/>
                  </a:lnTo>
                  <a:lnTo>
                    <a:pt x="117" y="230"/>
                  </a:lnTo>
                  <a:lnTo>
                    <a:pt x="117" y="231"/>
                  </a:lnTo>
                  <a:lnTo>
                    <a:pt x="116" y="231"/>
                  </a:lnTo>
                  <a:lnTo>
                    <a:pt x="116" y="232"/>
                  </a:lnTo>
                  <a:lnTo>
                    <a:pt x="115" y="233"/>
                  </a:lnTo>
                  <a:lnTo>
                    <a:pt x="113" y="234"/>
                  </a:lnTo>
                  <a:lnTo>
                    <a:pt x="112" y="234"/>
                  </a:lnTo>
                  <a:lnTo>
                    <a:pt x="112" y="235"/>
                  </a:lnTo>
                  <a:lnTo>
                    <a:pt x="111" y="236"/>
                  </a:lnTo>
                  <a:lnTo>
                    <a:pt x="111" y="236"/>
                  </a:lnTo>
                  <a:lnTo>
                    <a:pt x="109" y="239"/>
                  </a:lnTo>
                  <a:lnTo>
                    <a:pt x="108" y="240"/>
                  </a:lnTo>
                  <a:lnTo>
                    <a:pt x="107" y="241"/>
                  </a:lnTo>
                  <a:lnTo>
                    <a:pt x="107" y="242"/>
                  </a:lnTo>
                  <a:lnTo>
                    <a:pt x="105" y="243"/>
                  </a:lnTo>
                  <a:lnTo>
                    <a:pt x="102" y="245"/>
                  </a:lnTo>
                  <a:lnTo>
                    <a:pt x="100" y="248"/>
                  </a:lnTo>
                  <a:lnTo>
                    <a:pt x="99" y="248"/>
                  </a:lnTo>
                  <a:lnTo>
                    <a:pt x="99" y="248"/>
                  </a:lnTo>
                  <a:lnTo>
                    <a:pt x="98" y="248"/>
                  </a:lnTo>
                  <a:lnTo>
                    <a:pt x="97" y="248"/>
                  </a:lnTo>
                  <a:lnTo>
                    <a:pt x="91" y="249"/>
                  </a:lnTo>
                  <a:lnTo>
                    <a:pt x="90" y="249"/>
                  </a:lnTo>
                  <a:lnTo>
                    <a:pt x="88" y="249"/>
                  </a:lnTo>
                  <a:lnTo>
                    <a:pt x="87" y="249"/>
                  </a:lnTo>
                  <a:lnTo>
                    <a:pt x="85" y="249"/>
                  </a:lnTo>
                  <a:lnTo>
                    <a:pt x="84" y="249"/>
                  </a:lnTo>
                  <a:lnTo>
                    <a:pt x="83" y="250"/>
                  </a:lnTo>
                  <a:lnTo>
                    <a:pt x="79" y="251"/>
                  </a:lnTo>
                  <a:lnTo>
                    <a:pt x="78" y="251"/>
                  </a:lnTo>
                  <a:lnTo>
                    <a:pt x="77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5" y="252"/>
                  </a:lnTo>
                  <a:lnTo>
                    <a:pt x="74" y="252"/>
                  </a:lnTo>
                  <a:lnTo>
                    <a:pt x="73" y="252"/>
                  </a:lnTo>
                  <a:lnTo>
                    <a:pt x="72" y="252"/>
                  </a:lnTo>
                  <a:lnTo>
                    <a:pt x="72" y="251"/>
                  </a:lnTo>
                  <a:lnTo>
                    <a:pt x="71" y="251"/>
                  </a:lnTo>
                  <a:lnTo>
                    <a:pt x="71" y="251"/>
                  </a:lnTo>
                  <a:lnTo>
                    <a:pt x="70" y="250"/>
                  </a:lnTo>
                  <a:lnTo>
                    <a:pt x="70" y="250"/>
                  </a:lnTo>
                  <a:lnTo>
                    <a:pt x="69" y="249"/>
                  </a:lnTo>
                  <a:lnTo>
                    <a:pt x="69" y="249"/>
                  </a:lnTo>
                  <a:lnTo>
                    <a:pt x="69" y="248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8" y="244"/>
                  </a:lnTo>
                  <a:lnTo>
                    <a:pt x="67" y="242"/>
                  </a:lnTo>
                  <a:lnTo>
                    <a:pt x="67" y="241"/>
                  </a:lnTo>
                  <a:lnTo>
                    <a:pt x="66" y="240"/>
                  </a:lnTo>
                  <a:lnTo>
                    <a:pt x="66" y="239"/>
                  </a:lnTo>
                  <a:lnTo>
                    <a:pt x="66" y="239"/>
                  </a:lnTo>
                  <a:lnTo>
                    <a:pt x="66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4" y="238"/>
                  </a:lnTo>
                  <a:lnTo>
                    <a:pt x="63" y="238"/>
                  </a:lnTo>
                  <a:lnTo>
                    <a:pt x="62" y="239"/>
                  </a:lnTo>
                  <a:lnTo>
                    <a:pt x="61" y="239"/>
                  </a:lnTo>
                  <a:lnTo>
                    <a:pt x="60" y="239"/>
                  </a:lnTo>
                  <a:lnTo>
                    <a:pt x="59" y="240"/>
                  </a:lnTo>
                  <a:lnTo>
                    <a:pt x="58" y="240"/>
                  </a:lnTo>
                  <a:lnTo>
                    <a:pt x="57" y="240"/>
                  </a:lnTo>
                  <a:lnTo>
                    <a:pt x="57" y="240"/>
                  </a:lnTo>
                  <a:lnTo>
                    <a:pt x="56" y="240"/>
                  </a:lnTo>
                  <a:lnTo>
                    <a:pt x="56" y="240"/>
                  </a:lnTo>
                  <a:lnTo>
                    <a:pt x="55" y="240"/>
                  </a:lnTo>
                  <a:lnTo>
                    <a:pt x="54" y="240"/>
                  </a:lnTo>
                  <a:lnTo>
                    <a:pt x="51" y="239"/>
                  </a:lnTo>
                  <a:lnTo>
                    <a:pt x="51" y="238"/>
                  </a:lnTo>
                  <a:lnTo>
                    <a:pt x="50" y="238"/>
                  </a:lnTo>
                  <a:lnTo>
                    <a:pt x="49" y="238"/>
                  </a:lnTo>
                  <a:lnTo>
                    <a:pt x="48" y="238"/>
                  </a:lnTo>
                  <a:lnTo>
                    <a:pt x="47" y="239"/>
                  </a:lnTo>
                  <a:lnTo>
                    <a:pt x="47" y="239"/>
                  </a:lnTo>
                  <a:lnTo>
                    <a:pt x="45" y="240"/>
                  </a:lnTo>
                  <a:lnTo>
                    <a:pt x="44" y="240"/>
                  </a:lnTo>
                  <a:lnTo>
                    <a:pt x="44" y="241"/>
                  </a:lnTo>
                  <a:lnTo>
                    <a:pt x="43" y="241"/>
                  </a:lnTo>
                  <a:lnTo>
                    <a:pt x="42" y="241"/>
                  </a:lnTo>
                  <a:lnTo>
                    <a:pt x="42" y="241"/>
                  </a:lnTo>
                  <a:lnTo>
                    <a:pt x="42" y="240"/>
                  </a:lnTo>
                  <a:lnTo>
                    <a:pt x="41" y="240"/>
                  </a:lnTo>
                  <a:lnTo>
                    <a:pt x="41" y="240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39" y="236"/>
                  </a:lnTo>
                  <a:lnTo>
                    <a:pt x="38" y="235"/>
                  </a:lnTo>
                  <a:lnTo>
                    <a:pt x="38" y="234"/>
                  </a:lnTo>
                  <a:lnTo>
                    <a:pt x="37" y="233"/>
                  </a:lnTo>
                  <a:lnTo>
                    <a:pt x="36" y="233"/>
                  </a:lnTo>
                  <a:lnTo>
                    <a:pt x="36" y="232"/>
                  </a:lnTo>
                  <a:lnTo>
                    <a:pt x="35" y="231"/>
                  </a:lnTo>
                  <a:lnTo>
                    <a:pt x="33" y="230"/>
                  </a:lnTo>
                  <a:lnTo>
                    <a:pt x="32" y="229"/>
                  </a:lnTo>
                  <a:lnTo>
                    <a:pt x="30" y="227"/>
                  </a:lnTo>
                  <a:lnTo>
                    <a:pt x="29" y="227"/>
                  </a:lnTo>
                  <a:lnTo>
                    <a:pt x="28" y="226"/>
                  </a:lnTo>
                  <a:lnTo>
                    <a:pt x="27" y="225"/>
                  </a:lnTo>
                  <a:lnTo>
                    <a:pt x="27" y="224"/>
                  </a:lnTo>
                  <a:lnTo>
                    <a:pt x="26" y="224"/>
                  </a:lnTo>
                  <a:lnTo>
                    <a:pt x="24" y="220"/>
                  </a:lnTo>
                  <a:lnTo>
                    <a:pt x="22" y="215"/>
                  </a:lnTo>
                  <a:lnTo>
                    <a:pt x="21" y="214"/>
                  </a:lnTo>
                  <a:lnTo>
                    <a:pt x="21" y="214"/>
                  </a:lnTo>
                  <a:lnTo>
                    <a:pt x="18" y="207"/>
                  </a:lnTo>
                  <a:lnTo>
                    <a:pt x="18" y="206"/>
                  </a:lnTo>
                  <a:lnTo>
                    <a:pt x="17" y="204"/>
                  </a:lnTo>
                  <a:lnTo>
                    <a:pt x="16" y="202"/>
                  </a:lnTo>
                  <a:lnTo>
                    <a:pt x="15" y="201"/>
                  </a:lnTo>
                  <a:lnTo>
                    <a:pt x="15" y="200"/>
                  </a:lnTo>
                  <a:lnTo>
                    <a:pt x="13" y="198"/>
                  </a:lnTo>
                  <a:lnTo>
                    <a:pt x="13" y="197"/>
                  </a:lnTo>
                  <a:lnTo>
                    <a:pt x="12" y="195"/>
                  </a:lnTo>
                  <a:lnTo>
                    <a:pt x="11" y="194"/>
                  </a:lnTo>
                  <a:lnTo>
                    <a:pt x="10" y="193"/>
                  </a:lnTo>
                  <a:lnTo>
                    <a:pt x="8" y="189"/>
                  </a:lnTo>
                  <a:lnTo>
                    <a:pt x="7" y="185"/>
                  </a:lnTo>
                  <a:lnTo>
                    <a:pt x="6" y="183"/>
                  </a:lnTo>
                  <a:lnTo>
                    <a:pt x="5" y="182"/>
                  </a:lnTo>
                  <a:lnTo>
                    <a:pt x="5" y="180"/>
                  </a:lnTo>
                  <a:lnTo>
                    <a:pt x="4" y="180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3" y="174"/>
                  </a:lnTo>
                  <a:lnTo>
                    <a:pt x="3" y="171"/>
                  </a:lnTo>
                  <a:lnTo>
                    <a:pt x="2" y="170"/>
                  </a:lnTo>
                  <a:lnTo>
                    <a:pt x="2" y="169"/>
                  </a:lnTo>
                  <a:lnTo>
                    <a:pt x="1" y="167"/>
                  </a:lnTo>
                  <a:lnTo>
                    <a:pt x="1" y="166"/>
                  </a:lnTo>
                  <a:lnTo>
                    <a:pt x="0" y="166"/>
                  </a:lnTo>
                  <a:lnTo>
                    <a:pt x="0" y="165"/>
                  </a:lnTo>
                  <a:lnTo>
                    <a:pt x="0" y="164"/>
                  </a:lnTo>
                  <a:lnTo>
                    <a:pt x="0" y="163"/>
                  </a:lnTo>
                  <a:lnTo>
                    <a:pt x="0" y="162"/>
                  </a:lnTo>
                  <a:lnTo>
                    <a:pt x="1" y="162"/>
                  </a:lnTo>
                  <a:lnTo>
                    <a:pt x="1" y="161"/>
                  </a:lnTo>
                  <a:lnTo>
                    <a:pt x="1" y="161"/>
                  </a:lnTo>
                  <a:lnTo>
                    <a:pt x="2" y="160"/>
                  </a:lnTo>
                  <a:lnTo>
                    <a:pt x="3" y="158"/>
                  </a:lnTo>
                  <a:lnTo>
                    <a:pt x="5" y="155"/>
                  </a:lnTo>
                  <a:lnTo>
                    <a:pt x="5" y="154"/>
                  </a:lnTo>
                  <a:lnTo>
                    <a:pt x="6" y="153"/>
                  </a:lnTo>
                  <a:lnTo>
                    <a:pt x="6" y="152"/>
                  </a:lnTo>
                  <a:lnTo>
                    <a:pt x="6" y="151"/>
                  </a:lnTo>
                  <a:lnTo>
                    <a:pt x="7" y="148"/>
                  </a:lnTo>
                  <a:lnTo>
                    <a:pt x="7" y="147"/>
                  </a:lnTo>
                  <a:lnTo>
                    <a:pt x="7" y="146"/>
                  </a:lnTo>
                  <a:lnTo>
                    <a:pt x="8" y="144"/>
                  </a:lnTo>
                  <a:lnTo>
                    <a:pt x="8" y="143"/>
                  </a:lnTo>
                  <a:lnTo>
                    <a:pt x="9" y="142"/>
                  </a:lnTo>
                  <a:lnTo>
                    <a:pt x="9" y="141"/>
                  </a:lnTo>
                  <a:lnTo>
                    <a:pt x="10" y="140"/>
                  </a:lnTo>
                  <a:lnTo>
                    <a:pt x="10" y="140"/>
                  </a:lnTo>
                  <a:lnTo>
                    <a:pt x="11" y="139"/>
                  </a:lnTo>
                  <a:lnTo>
                    <a:pt x="12" y="138"/>
                  </a:lnTo>
                  <a:lnTo>
                    <a:pt x="15" y="136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9" y="133"/>
                  </a:lnTo>
                  <a:lnTo>
                    <a:pt x="20" y="132"/>
                  </a:lnTo>
                  <a:lnTo>
                    <a:pt x="21" y="132"/>
                  </a:lnTo>
                  <a:lnTo>
                    <a:pt x="21" y="131"/>
                  </a:lnTo>
                  <a:lnTo>
                    <a:pt x="21" y="131"/>
                  </a:lnTo>
                  <a:lnTo>
                    <a:pt x="22" y="131"/>
                  </a:lnTo>
                  <a:lnTo>
                    <a:pt x="22" y="130"/>
                  </a:lnTo>
                  <a:lnTo>
                    <a:pt x="22" y="130"/>
                  </a:lnTo>
                  <a:lnTo>
                    <a:pt x="22" y="128"/>
                  </a:lnTo>
                  <a:lnTo>
                    <a:pt x="22" y="127"/>
                  </a:lnTo>
                  <a:lnTo>
                    <a:pt x="22" y="126"/>
                  </a:lnTo>
                  <a:lnTo>
                    <a:pt x="22" y="125"/>
                  </a:lnTo>
                  <a:lnTo>
                    <a:pt x="23" y="124"/>
                  </a:lnTo>
                  <a:lnTo>
                    <a:pt x="23" y="122"/>
                  </a:lnTo>
                  <a:lnTo>
                    <a:pt x="24" y="121"/>
                  </a:lnTo>
                  <a:lnTo>
                    <a:pt x="24" y="120"/>
                  </a:lnTo>
                  <a:lnTo>
                    <a:pt x="25" y="119"/>
                  </a:lnTo>
                  <a:lnTo>
                    <a:pt x="25" y="118"/>
                  </a:lnTo>
                  <a:lnTo>
                    <a:pt x="26" y="117"/>
                  </a:lnTo>
                  <a:lnTo>
                    <a:pt x="26" y="117"/>
                  </a:lnTo>
                  <a:lnTo>
                    <a:pt x="27" y="116"/>
                  </a:lnTo>
                  <a:lnTo>
                    <a:pt x="29" y="114"/>
                  </a:lnTo>
                  <a:lnTo>
                    <a:pt x="29" y="113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0" y="111"/>
                  </a:lnTo>
                  <a:lnTo>
                    <a:pt x="31" y="110"/>
                  </a:lnTo>
                  <a:lnTo>
                    <a:pt x="31" y="107"/>
                  </a:lnTo>
                  <a:lnTo>
                    <a:pt x="31" y="106"/>
                  </a:lnTo>
                  <a:lnTo>
                    <a:pt x="31" y="105"/>
                  </a:lnTo>
                  <a:lnTo>
                    <a:pt x="31" y="103"/>
                  </a:lnTo>
                  <a:lnTo>
                    <a:pt x="31" y="100"/>
                  </a:lnTo>
                  <a:lnTo>
                    <a:pt x="31" y="99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3" y="97"/>
                  </a:lnTo>
                  <a:lnTo>
                    <a:pt x="35" y="96"/>
                  </a:lnTo>
                  <a:lnTo>
                    <a:pt x="36" y="96"/>
                  </a:lnTo>
                  <a:lnTo>
                    <a:pt x="37" y="96"/>
                  </a:lnTo>
                  <a:lnTo>
                    <a:pt x="37" y="96"/>
                  </a:lnTo>
                  <a:lnTo>
                    <a:pt x="38" y="96"/>
                  </a:lnTo>
                  <a:lnTo>
                    <a:pt x="39" y="96"/>
                  </a:lnTo>
                  <a:lnTo>
                    <a:pt x="40" y="97"/>
                  </a:lnTo>
                  <a:lnTo>
                    <a:pt x="42" y="98"/>
                  </a:lnTo>
                  <a:lnTo>
                    <a:pt x="43" y="98"/>
                  </a:lnTo>
                  <a:lnTo>
                    <a:pt x="45" y="99"/>
                  </a:lnTo>
                  <a:lnTo>
                    <a:pt x="48" y="101"/>
                  </a:lnTo>
                  <a:lnTo>
                    <a:pt x="49" y="102"/>
                  </a:lnTo>
                  <a:lnTo>
                    <a:pt x="51" y="102"/>
                  </a:lnTo>
                  <a:lnTo>
                    <a:pt x="52" y="103"/>
                  </a:lnTo>
                  <a:lnTo>
                    <a:pt x="53" y="103"/>
                  </a:lnTo>
                  <a:lnTo>
                    <a:pt x="54" y="103"/>
                  </a:lnTo>
                  <a:lnTo>
                    <a:pt x="55" y="103"/>
                  </a:lnTo>
                  <a:lnTo>
                    <a:pt x="56" y="103"/>
                  </a:lnTo>
                  <a:lnTo>
                    <a:pt x="56" y="103"/>
                  </a:lnTo>
                  <a:lnTo>
                    <a:pt x="57" y="103"/>
                  </a:lnTo>
                  <a:lnTo>
                    <a:pt x="58" y="103"/>
                  </a:lnTo>
                  <a:lnTo>
                    <a:pt x="59" y="103"/>
                  </a:lnTo>
                  <a:lnTo>
                    <a:pt x="59" y="102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1" y="101"/>
                  </a:lnTo>
                  <a:lnTo>
                    <a:pt x="61" y="101"/>
                  </a:lnTo>
                  <a:lnTo>
                    <a:pt x="61" y="100"/>
                  </a:lnTo>
                  <a:lnTo>
                    <a:pt x="62" y="99"/>
                  </a:lnTo>
                  <a:lnTo>
                    <a:pt x="62" y="99"/>
                  </a:lnTo>
                  <a:lnTo>
                    <a:pt x="63" y="98"/>
                  </a:lnTo>
                  <a:lnTo>
                    <a:pt x="64" y="92"/>
                  </a:lnTo>
                  <a:lnTo>
                    <a:pt x="65" y="91"/>
                  </a:lnTo>
                  <a:lnTo>
                    <a:pt x="65" y="89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7" y="87"/>
                  </a:lnTo>
                  <a:lnTo>
                    <a:pt x="67" y="86"/>
                  </a:lnTo>
                  <a:lnTo>
                    <a:pt x="67" y="86"/>
                  </a:lnTo>
                  <a:lnTo>
                    <a:pt x="69" y="85"/>
                  </a:lnTo>
                  <a:lnTo>
                    <a:pt x="70" y="84"/>
                  </a:lnTo>
                  <a:lnTo>
                    <a:pt x="72" y="83"/>
                  </a:lnTo>
                  <a:lnTo>
                    <a:pt x="74" y="82"/>
                  </a:lnTo>
                  <a:lnTo>
                    <a:pt x="75" y="81"/>
                  </a:lnTo>
                  <a:lnTo>
                    <a:pt x="76" y="80"/>
                  </a:lnTo>
                  <a:lnTo>
                    <a:pt x="78" y="79"/>
                  </a:lnTo>
                  <a:lnTo>
                    <a:pt x="79" y="77"/>
                  </a:lnTo>
                  <a:lnTo>
                    <a:pt x="79" y="77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1" y="76"/>
                  </a:lnTo>
                  <a:lnTo>
                    <a:pt x="86" y="78"/>
                  </a:lnTo>
                  <a:lnTo>
                    <a:pt x="90" y="80"/>
                  </a:lnTo>
                  <a:lnTo>
                    <a:pt x="92" y="80"/>
                  </a:lnTo>
                  <a:lnTo>
                    <a:pt x="95" y="81"/>
                  </a:lnTo>
                  <a:lnTo>
                    <a:pt x="100" y="84"/>
                  </a:lnTo>
                  <a:lnTo>
                    <a:pt x="103" y="85"/>
                  </a:lnTo>
                  <a:lnTo>
                    <a:pt x="104" y="85"/>
                  </a:lnTo>
                  <a:lnTo>
                    <a:pt x="105" y="86"/>
                  </a:lnTo>
                  <a:lnTo>
                    <a:pt x="106" y="87"/>
                  </a:lnTo>
                  <a:lnTo>
                    <a:pt x="108" y="88"/>
                  </a:lnTo>
                  <a:lnTo>
                    <a:pt x="109" y="89"/>
                  </a:lnTo>
                  <a:lnTo>
                    <a:pt x="110" y="89"/>
                  </a:lnTo>
                  <a:lnTo>
                    <a:pt x="110" y="90"/>
                  </a:lnTo>
                  <a:lnTo>
                    <a:pt x="111" y="90"/>
                  </a:lnTo>
                  <a:lnTo>
                    <a:pt x="112" y="90"/>
                  </a:lnTo>
                  <a:lnTo>
                    <a:pt x="113" y="91"/>
                  </a:lnTo>
                  <a:lnTo>
                    <a:pt x="116" y="91"/>
                  </a:lnTo>
                  <a:lnTo>
                    <a:pt x="117" y="91"/>
                  </a:lnTo>
                  <a:lnTo>
                    <a:pt x="121" y="92"/>
                  </a:lnTo>
                  <a:lnTo>
                    <a:pt x="123" y="92"/>
                  </a:lnTo>
                  <a:lnTo>
                    <a:pt x="124" y="92"/>
                  </a:lnTo>
                  <a:lnTo>
                    <a:pt x="125" y="92"/>
                  </a:lnTo>
                  <a:lnTo>
                    <a:pt x="126" y="92"/>
                  </a:lnTo>
                  <a:lnTo>
                    <a:pt x="128" y="92"/>
                  </a:lnTo>
                  <a:lnTo>
                    <a:pt x="129" y="92"/>
                  </a:lnTo>
                  <a:lnTo>
                    <a:pt x="129" y="92"/>
                  </a:lnTo>
                  <a:lnTo>
                    <a:pt x="130" y="91"/>
                  </a:lnTo>
                  <a:lnTo>
                    <a:pt x="131" y="91"/>
                  </a:lnTo>
                  <a:lnTo>
                    <a:pt x="131" y="90"/>
                  </a:lnTo>
                  <a:lnTo>
                    <a:pt x="132" y="90"/>
                  </a:lnTo>
                  <a:lnTo>
                    <a:pt x="133" y="89"/>
                  </a:lnTo>
                  <a:lnTo>
                    <a:pt x="133" y="88"/>
                  </a:lnTo>
                  <a:lnTo>
                    <a:pt x="134" y="86"/>
                  </a:lnTo>
                  <a:lnTo>
                    <a:pt x="136" y="81"/>
                  </a:lnTo>
                  <a:lnTo>
                    <a:pt x="137" y="79"/>
                  </a:lnTo>
                  <a:lnTo>
                    <a:pt x="138" y="77"/>
                  </a:lnTo>
                  <a:lnTo>
                    <a:pt x="139" y="75"/>
                  </a:lnTo>
                  <a:lnTo>
                    <a:pt x="140" y="73"/>
                  </a:lnTo>
                  <a:lnTo>
                    <a:pt x="141" y="73"/>
                  </a:lnTo>
                  <a:lnTo>
                    <a:pt x="141" y="72"/>
                  </a:lnTo>
                  <a:lnTo>
                    <a:pt x="142" y="72"/>
                  </a:lnTo>
                  <a:lnTo>
                    <a:pt x="142" y="71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44" y="70"/>
                  </a:lnTo>
                  <a:lnTo>
                    <a:pt x="145" y="70"/>
                  </a:lnTo>
                  <a:lnTo>
                    <a:pt x="149" y="69"/>
                  </a:lnTo>
                  <a:lnTo>
                    <a:pt x="153" y="69"/>
                  </a:lnTo>
                  <a:lnTo>
                    <a:pt x="154" y="68"/>
                  </a:lnTo>
                  <a:lnTo>
                    <a:pt x="155" y="68"/>
                  </a:lnTo>
                  <a:lnTo>
                    <a:pt x="157" y="69"/>
                  </a:lnTo>
                  <a:lnTo>
                    <a:pt x="159" y="69"/>
                  </a:lnTo>
                  <a:lnTo>
                    <a:pt x="160" y="69"/>
                  </a:lnTo>
                  <a:lnTo>
                    <a:pt x="161" y="69"/>
                  </a:lnTo>
                  <a:lnTo>
                    <a:pt x="164" y="69"/>
                  </a:lnTo>
                  <a:lnTo>
                    <a:pt x="165" y="69"/>
                  </a:lnTo>
                  <a:lnTo>
                    <a:pt x="166" y="69"/>
                  </a:lnTo>
                  <a:lnTo>
                    <a:pt x="167" y="70"/>
                  </a:lnTo>
                  <a:lnTo>
                    <a:pt x="169" y="70"/>
                  </a:lnTo>
                  <a:lnTo>
                    <a:pt x="175" y="72"/>
                  </a:lnTo>
                  <a:lnTo>
                    <a:pt x="177" y="72"/>
                  </a:lnTo>
                  <a:lnTo>
                    <a:pt x="178" y="72"/>
                  </a:lnTo>
                  <a:lnTo>
                    <a:pt x="179" y="72"/>
                  </a:lnTo>
                  <a:lnTo>
                    <a:pt x="180" y="72"/>
                  </a:lnTo>
                  <a:lnTo>
                    <a:pt x="181" y="72"/>
                  </a:lnTo>
                  <a:lnTo>
                    <a:pt x="182" y="72"/>
                  </a:lnTo>
                  <a:lnTo>
                    <a:pt x="183" y="72"/>
                  </a:lnTo>
                  <a:lnTo>
                    <a:pt x="184" y="72"/>
                  </a:lnTo>
                  <a:lnTo>
                    <a:pt x="186" y="71"/>
                  </a:lnTo>
                  <a:lnTo>
                    <a:pt x="187" y="71"/>
                  </a:lnTo>
                  <a:lnTo>
                    <a:pt x="187" y="70"/>
                  </a:lnTo>
                  <a:lnTo>
                    <a:pt x="188" y="70"/>
                  </a:lnTo>
                  <a:lnTo>
                    <a:pt x="189" y="70"/>
                  </a:lnTo>
                  <a:lnTo>
                    <a:pt x="189" y="69"/>
                  </a:lnTo>
                  <a:lnTo>
                    <a:pt x="190" y="69"/>
                  </a:lnTo>
                  <a:lnTo>
                    <a:pt x="190" y="68"/>
                  </a:lnTo>
                  <a:lnTo>
                    <a:pt x="190" y="68"/>
                  </a:lnTo>
                  <a:lnTo>
                    <a:pt x="191" y="67"/>
                  </a:lnTo>
                  <a:lnTo>
                    <a:pt x="191" y="67"/>
                  </a:lnTo>
                  <a:lnTo>
                    <a:pt x="191" y="66"/>
                  </a:lnTo>
                  <a:lnTo>
                    <a:pt x="191" y="65"/>
                  </a:lnTo>
                  <a:lnTo>
                    <a:pt x="191" y="63"/>
                  </a:lnTo>
                  <a:lnTo>
                    <a:pt x="191" y="59"/>
                  </a:lnTo>
                  <a:lnTo>
                    <a:pt x="192" y="54"/>
                  </a:lnTo>
                  <a:lnTo>
                    <a:pt x="192" y="54"/>
                  </a:lnTo>
                  <a:lnTo>
                    <a:pt x="191" y="51"/>
                  </a:lnTo>
                  <a:lnTo>
                    <a:pt x="191" y="49"/>
                  </a:lnTo>
                  <a:lnTo>
                    <a:pt x="191" y="48"/>
                  </a:lnTo>
                  <a:lnTo>
                    <a:pt x="191" y="47"/>
                  </a:lnTo>
                  <a:lnTo>
                    <a:pt x="191" y="46"/>
                  </a:lnTo>
                  <a:lnTo>
                    <a:pt x="192" y="44"/>
                  </a:lnTo>
                  <a:lnTo>
                    <a:pt x="194" y="39"/>
                  </a:lnTo>
                  <a:lnTo>
                    <a:pt x="194" y="37"/>
                  </a:lnTo>
                  <a:lnTo>
                    <a:pt x="195" y="36"/>
                  </a:lnTo>
                  <a:lnTo>
                    <a:pt x="195" y="34"/>
                  </a:lnTo>
                  <a:lnTo>
                    <a:pt x="195" y="32"/>
                  </a:lnTo>
                  <a:lnTo>
                    <a:pt x="196" y="27"/>
                  </a:lnTo>
                  <a:lnTo>
                    <a:pt x="196" y="25"/>
                  </a:lnTo>
                  <a:lnTo>
                    <a:pt x="196" y="24"/>
                  </a:lnTo>
                  <a:lnTo>
                    <a:pt x="196" y="24"/>
                  </a:lnTo>
                  <a:lnTo>
                    <a:pt x="195" y="23"/>
                  </a:lnTo>
                  <a:lnTo>
                    <a:pt x="195" y="22"/>
                  </a:lnTo>
                  <a:lnTo>
                    <a:pt x="195" y="22"/>
                  </a:lnTo>
                  <a:lnTo>
                    <a:pt x="194" y="21"/>
                  </a:lnTo>
                  <a:lnTo>
                    <a:pt x="194" y="20"/>
                  </a:lnTo>
                  <a:lnTo>
                    <a:pt x="194" y="20"/>
                  </a:lnTo>
                  <a:lnTo>
                    <a:pt x="193" y="20"/>
                  </a:lnTo>
                  <a:lnTo>
                    <a:pt x="193" y="19"/>
                  </a:lnTo>
                  <a:lnTo>
                    <a:pt x="192" y="19"/>
                  </a:lnTo>
                  <a:lnTo>
                    <a:pt x="191" y="18"/>
                  </a:lnTo>
                  <a:lnTo>
                    <a:pt x="189" y="18"/>
                  </a:lnTo>
                  <a:lnTo>
                    <a:pt x="188" y="18"/>
                  </a:lnTo>
                  <a:lnTo>
                    <a:pt x="188" y="17"/>
                  </a:lnTo>
                  <a:lnTo>
                    <a:pt x="187" y="17"/>
                  </a:lnTo>
                  <a:lnTo>
                    <a:pt x="186" y="16"/>
                  </a:lnTo>
                  <a:lnTo>
                    <a:pt x="186" y="15"/>
                  </a:lnTo>
                  <a:lnTo>
                    <a:pt x="186" y="15"/>
                  </a:lnTo>
                  <a:lnTo>
                    <a:pt x="185" y="15"/>
                  </a:lnTo>
                  <a:lnTo>
                    <a:pt x="185" y="14"/>
                  </a:lnTo>
                  <a:lnTo>
                    <a:pt x="185" y="13"/>
                  </a:lnTo>
                  <a:lnTo>
                    <a:pt x="185" y="13"/>
                  </a:lnTo>
                  <a:lnTo>
                    <a:pt x="185" y="12"/>
                  </a:lnTo>
                  <a:lnTo>
                    <a:pt x="185" y="12"/>
                  </a:lnTo>
                  <a:lnTo>
                    <a:pt x="186" y="11"/>
                  </a:lnTo>
                  <a:lnTo>
                    <a:pt x="186" y="10"/>
                  </a:lnTo>
                  <a:lnTo>
                    <a:pt x="186" y="9"/>
                  </a:lnTo>
                  <a:lnTo>
                    <a:pt x="187" y="8"/>
                  </a:lnTo>
                  <a:lnTo>
                    <a:pt x="187" y="8"/>
                  </a:lnTo>
                  <a:lnTo>
                    <a:pt x="188" y="7"/>
                  </a:lnTo>
                  <a:lnTo>
                    <a:pt x="189" y="6"/>
                  </a:lnTo>
                  <a:lnTo>
                    <a:pt x="190" y="5"/>
                  </a:lnTo>
                  <a:lnTo>
                    <a:pt x="195" y="2"/>
                  </a:lnTo>
                  <a:lnTo>
                    <a:pt x="196" y="1"/>
                  </a:lnTo>
                  <a:lnTo>
                    <a:pt x="197" y="0"/>
                  </a:lnTo>
                  <a:lnTo>
                    <a:pt x="197" y="0"/>
                  </a:lnTo>
                  <a:lnTo>
                    <a:pt x="198" y="0"/>
                  </a:lnTo>
                  <a:close/>
                </a:path>
              </a:pathLst>
            </a:custGeom>
            <a:solidFill>
              <a:srgbClr val="BC8F00"/>
            </a:solidFill>
            <a:ln w="20638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Freeform 57">
              <a:extLst>
                <a:ext uri="{FF2B5EF4-FFF2-40B4-BE49-F238E27FC236}">
                  <a16:creationId xmlns:a16="http://schemas.microsoft.com/office/drawing/2014/main" id="{CA38D769-7915-E9BE-92CA-A2A2EEEDB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993"/>
              <a:ext cx="436" cy="339"/>
            </a:xfrm>
            <a:custGeom>
              <a:avLst/>
              <a:gdLst>
                <a:gd name="T0" fmla="*/ 170 w 436"/>
                <a:gd name="T1" fmla="*/ 16 h 339"/>
                <a:gd name="T2" fmla="*/ 204 w 436"/>
                <a:gd name="T3" fmla="*/ 13 h 339"/>
                <a:gd name="T4" fmla="*/ 221 w 436"/>
                <a:gd name="T5" fmla="*/ 46 h 339"/>
                <a:gd name="T6" fmla="*/ 247 w 436"/>
                <a:gd name="T7" fmla="*/ 42 h 339"/>
                <a:gd name="T8" fmla="*/ 262 w 436"/>
                <a:gd name="T9" fmla="*/ 61 h 339"/>
                <a:gd name="T10" fmla="*/ 264 w 436"/>
                <a:gd name="T11" fmla="*/ 79 h 339"/>
                <a:gd name="T12" fmla="*/ 283 w 436"/>
                <a:gd name="T13" fmla="*/ 62 h 339"/>
                <a:gd name="T14" fmla="*/ 310 w 436"/>
                <a:gd name="T15" fmla="*/ 62 h 339"/>
                <a:gd name="T16" fmla="*/ 325 w 436"/>
                <a:gd name="T17" fmla="*/ 61 h 339"/>
                <a:gd name="T18" fmla="*/ 345 w 436"/>
                <a:gd name="T19" fmla="*/ 51 h 339"/>
                <a:gd name="T20" fmla="*/ 376 w 436"/>
                <a:gd name="T21" fmla="*/ 69 h 339"/>
                <a:gd name="T22" fmla="*/ 384 w 436"/>
                <a:gd name="T23" fmla="*/ 96 h 339"/>
                <a:gd name="T24" fmla="*/ 367 w 436"/>
                <a:gd name="T25" fmla="*/ 125 h 339"/>
                <a:gd name="T26" fmla="*/ 348 w 436"/>
                <a:gd name="T27" fmla="*/ 134 h 339"/>
                <a:gd name="T28" fmla="*/ 329 w 436"/>
                <a:gd name="T29" fmla="*/ 147 h 339"/>
                <a:gd name="T30" fmla="*/ 322 w 436"/>
                <a:gd name="T31" fmla="*/ 157 h 339"/>
                <a:gd name="T32" fmla="*/ 335 w 436"/>
                <a:gd name="T33" fmla="*/ 173 h 339"/>
                <a:gd name="T34" fmla="*/ 353 w 436"/>
                <a:gd name="T35" fmla="*/ 183 h 339"/>
                <a:gd name="T36" fmla="*/ 372 w 436"/>
                <a:gd name="T37" fmla="*/ 196 h 339"/>
                <a:gd name="T38" fmla="*/ 392 w 436"/>
                <a:gd name="T39" fmla="*/ 212 h 339"/>
                <a:gd name="T40" fmla="*/ 424 w 436"/>
                <a:gd name="T41" fmla="*/ 250 h 339"/>
                <a:gd name="T42" fmla="*/ 436 w 436"/>
                <a:gd name="T43" fmla="*/ 287 h 339"/>
                <a:gd name="T44" fmla="*/ 417 w 436"/>
                <a:gd name="T45" fmla="*/ 283 h 339"/>
                <a:gd name="T46" fmla="*/ 403 w 436"/>
                <a:gd name="T47" fmla="*/ 293 h 339"/>
                <a:gd name="T48" fmla="*/ 372 w 436"/>
                <a:gd name="T49" fmla="*/ 312 h 339"/>
                <a:gd name="T50" fmla="*/ 361 w 436"/>
                <a:gd name="T51" fmla="*/ 328 h 339"/>
                <a:gd name="T52" fmla="*/ 355 w 436"/>
                <a:gd name="T53" fmla="*/ 337 h 339"/>
                <a:gd name="T54" fmla="*/ 332 w 436"/>
                <a:gd name="T55" fmla="*/ 338 h 339"/>
                <a:gd name="T56" fmla="*/ 303 w 436"/>
                <a:gd name="T57" fmla="*/ 327 h 339"/>
                <a:gd name="T58" fmla="*/ 278 w 436"/>
                <a:gd name="T59" fmla="*/ 308 h 339"/>
                <a:gd name="T60" fmla="*/ 261 w 436"/>
                <a:gd name="T61" fmla="*/ 289 h 339"/>
                <a:gd name="T62" fmla="*/ 229 w 436"/>
                <a:gd name="T63" fmla="*/ 290 h 339"/>
                <a:gd name="T64" fmla="*/ 209 w 436"/>
                <a:gd name="T65" fmla="*/ 296 h 339"/>
                <a:gd name="T66" fmla="*/ 198 w 436"/>
                <a:gd name="T67" fmla="*/ 280 h 339"/>
                <a:gd name="T68" fmla="*/ 181 w 436"/>
                <a:gd name="T69" fmla="*/ 297 h 339"/>
                <a:gd name="T70" fmla="*/ 155 w 436"/>
                <a:gd name="T71" fmla="*/ 298 h 339"/>
                <a:gd name="T72" fmla="*/ 136 w 436"/>
                <a:gd name="T73" fmla="*/ 294 h 339"/>
                <a:gd name="T74" fmla="*/ 117 w 436"/>
                <a:gd name="T75" fmla="*/ 308 h 339"/>
                <a:gd name="T76" fmla="*/ 98 w 436"/>
                <a:gd name="T77" fmla="*/ 312 h 339"/>
                <a:gd name="T78" fmla="*/ 90 w 436"/>
                <a:gd name="T79" fmla="*/ 299 h 339"/>
                <a:gd name="T80" fmla="*/ 74 w 436"/>
                <a:gd name="T81" fmla="*/ 286 h 339"/>
                <a:gd name="T82" fmla="*/ 83 w 436"/>
                <a:gd name="T83" fmla="*/ 265 h 339"/>
                <a:gd name="T84" fmla="*/ 78 w 436"/>
                <a:gd name="T85" fmla="*/ 234 h 339"/>
                <a:gd name="T86" fmla="*/ 63 w 436"/>
                <a:gd name="T87" fmla="*/ 227 h 339"/>
                <a:gd name="T88" fmla="*/ 32 w 436"/>
                <a:gd name="T89" fmla="*/ 226 h 339"/>
                <a:gd name="T90" fmla="*/ 22 w 436"/>
                <a:gd name="T91" fmla="*/ 208 h 339"/>
                <a:gd name="T92" fmla="*/ 5 w 436"/>
                <a:gd name="T93" fmla="*/ 200 h 339"/>
                <a:gd name="T94" fmla="*/ 3 w 436"/>
                <a:gd name="T95" fmla="*/ 184 h 339"/>
                <a:gd name="T96" fmla="*/ 11 w 436"/>
                <a:gd name="T97" fmla="*/ 159 h 339"/>
                <a:gd name="T98" fmla="*/ 3 w 436"/>
                <a:gd name="T99" fmla="*/ 131 h 339"/>
                <a:gd name="T100" fmla="*/ 21 w 436"/>
                <a:gd name="T101" fmla="*/ 127 h 339"/>
                <a:gd name="T102" fmla="*/ 43 w 436"/>
                <a:gd name="T103" fmla="*/ 122 h 339"/>
                <a:gd name="T104" fmla="*/ 63 w 436"/>
                <a:gd name="T105" fmla="*/ 125 h 339"/>
                <a:gd name="T106" fmla="*/ 80 w 436"/>
                <a:gd name="T107" fmla="*/ 134 h 339"/>
                <a:gd name="T108" fmla="*/ 96 w 436"/>
                <a:gd name="T109" fmla="*/ 135 h 339"/>
                <a:gd name="T110" fmla="*/ 104 w 436"/>
                <a:gd name="T111" fmla="*/ 115 h 339"/>
                <a:gd name="T112" fmla="*/ 120 w 436"/>
                <a:gd name="T113" fmla="*/ 120 h 339"/>
                <a:gd name="T114" fmla="*/ 142 w 436"/>
                <a:gd name="T115" fmla="*/ 121 h 339"/>
                <a:gd name="T116" fmla="*/ 145 w 436"/>
                <a:gd name="T117" fmla="*/ 105 h 339"/>
                <a:gd name="T118" fmla="*/ 140 w 436"/>
                <a:gd name="T119" fmla="*/ 76 h 339"/>
                <a:gd name="T120" fmla="*/ 132 w 436"/>
                <a:gd name="T121" fmla="*/ 36 h 339"/>
                <a:gd name="T122" fmla="*/ 123 w 436"/>
                <a:gd name="T123" fmla="*/ 2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36" h="339">
                  <a:moveTo>
                    <a:pt x="127" y="1"/>
                  </a:moveTo>
                  <a:lnTo>
                    <a:pt x="129" y="1"/>
                  </a:lnTo>
                  <a:lnTo>
                    <a:pt x="135" y="1"/>
                  </a:lnTo>
                  <a:lnTo>
                    <a:pt x="137" y="2"/>
                  </a:lnTo>
                  <a:lnTo>
                    <a:pt x="139" y="2"/>
                  </a:lnTo>
                  <a:lnTo>
                    <a:pt x="141" y="2"/>
                  </a:lnTo>
                  <a:lnTo>
                    <a:pt x="143" y="3"/>
                  </a:lnTo>
                  <a:lnTo>
                    <a:pt x="144" y="3"/>
                  </a:lnTo>
                  <a:lnTo>
                    <a:pt x="145" y="4"/>
                  </a:lnTo>
                  <a:lnTo>
                    <a:pt x="146" y="4"/>
                  </a:lnTo>
                  <a:lnTo>
                    <a:pt x="150" y="6"/>
                  </a:lnTo>
                  <a:lnTo>
                    <a:pt x="152" y="7"/>
                  </a:lnTo>
                  <a:lnTo>
                    <a:pt x="155" y="9"/>
                  </a:lnTo>
                  <a:lnTo>
                    <a:pt x="160" y="10"/>
                  </a:lnTo>
                  <a:lnTo>
                    <a:pt x="161" y="11"/>
                  </a:lnTo>
                  <a:lnTo>
                    <a:pt x="163" y="12"/>
                  </a:lnTo>
                  <a:lnTo>
                    <a:pt x="164" y="12"/>
                  </a:lnTo>
                  <a:lnTo>
                    <a:pt x="165" y="13"/>
                  </a:lnTo>
                  <a:lnTo>
                    <a:pt x="166" y="14"/>
                  </a:lnTo>
                  <a:lnTo>
                    <a:pt x="170" y="16"/>
                  </a:lnTo>
                  <a:lnTo>
                    <a:pt x="170" y="17"/>
                  </a:lnTo>
                  <a:lnTo>
                    <a:pt x="171" y="17"/>
                  </a:lnTo>
                  <a:lnTo>
                    <a:pt x="173" y="18"/>
                  </a:lnTo>
                  <a:lnTo>
                    <a:pt x="174" y="18"/>
                  </a:lnTo>
                  <a:lnTo>
                    <a:pt x="175" y="18"/>
                  </a:lnTo>
                  <a:lnTo>
                    <a:pt x="175" y="19"/>
                  </a:lnTo>
                  <a:lnTo>
                    <a:pt x="176" y="19"/>
                  </a:lnTo>
                  <a:lnTo>
                    <a:pt x="178" y="19"/>
                  </a:lnTo>
                  <a:lnTo>
                    <a:pt x="181" y="19"/>
                  </a:lnTo>
                  <a:lnTo>
                    <a:pt x="183" y="19"/>
                  </a:lnTo>
                  <a:lnTo>
                    <a:pt x="184" y="19"/>
                  </a:lnTo>
                  <a:lnTo>
                    <a:pt x="184" y="19"/>
                  </a:lnTo>
                  <a:lnTo>
                    <a:pt x="187" y="18"/>
                  </a:lnTo>
                  <a:lnTo>
                    <a:pt x="194" y="16"/>
                  </a:lnTo>
                  <a:lnTo>
                    <a:pt x="196" y="16"/>
                  </a:lnTo>
                  <a:lnTo>
                    <a:pt x="199" y="14"/>
                  </a:lnTo>
                  <a:lnTo>
                    <a:pt x="200" y="14"/>
                  </a:lnTo>
                  <a:lnTo>
                    <a:pt x="201" y="14"/>
                  </a:lnTo>
                  <a:lnTo>
                    <a:pt x="203" y="13"/>
                  </a:lnTo>
                  <a:lnTo>
                    <a:pt x="204" y="13"/>
                  </a:lnTo>
                  <a:lnTo>
                    <a:pt x="204" y="14"/>
                  </a:lnTo>
                  <a:lnTo>
                    <a:pt x="205" y="14"/>
                  </a:lnTo>
                  <a:lnTo>
                    <a:pt x="206" y="14"/>
                  </a:lnTo>
                  <a:lnTo>
                    <a:pt x="206" y="15"/>
                  </a:lnTo>
                  <a:lnTo>
                    <a:pt x="207" y="15"/>
                  </a:lnTo>
                  <a:lnTo>
                    <a:pt x="208" y="16"/>
                  </a:lnTo>
                  <a:lnTo>
                    <a:pt x="209" y="17"/>
                  </a:lnTo>
                  <a:lnTo>
                    <a:pt x="209" y="18"/>
                  </a:lnTo>
                  <a:lnTo>
                    <a:pt x="210" y="19"/>
                  </a:lnTo>
                  <a:lnTo>
                    <a:pt x="210" y="20"/>
                  </a:lnTo>
                  <a:lnTo>
                    <a:pt x="211" y="24"/>
                  </a:lnTo>
                  <a:lnTo>
                    <a:pt x="212" y="26"/>
                  </a:lnTo>
                  <a:lnTo>
                    <a:pt x="213" y="28"/>
                  </a:lnTo>
                  <a:lnTo>
                    <a:pt x="216" y="34"/>
                  </a:lnTo>
                  <a:lnTo>
                    <a:pt x="217" y="38"/>
                  </a:lnTo>
                  <a:lnTo>
                    <a:pt x="219" y="41"/>
                  </a:lnTo>
                  <a:lnTo>
                    <a:pt x="219" y="43"/>
                  </a:lnTo>
                  <a:lnTo>
                    <a:pt x="220" y="44"/>
                  </a:lnTo>
                  <a:lnTo>
                    <a:pt x="221" y="45"/>
                  </a:lnTo>
                  <a:lnTo>
                    <a:pt x="221" y="46"/>
                  </a:lnTo>
                  <a:lnTo>
                    <a:pt x="222" y="46"/>
                  </a:lnTo>
                  <a:lnTo>
                    <a:pt x="222" y="46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4" y="48"/>
                  </a:lnTo>
                  <a:lnTo>
                    <a:pt x="225" y="48"/>
                  </a:lnTo>
                  <a:lnTo>
                    <a:pt x="225" y="48"/>
                  </a:lnTo>
                  <a:lnTo>
                    <a:pt x="226" y="48"/>
                  </a:lnTo>
                  <a:lnTo>
                    <a:pt x="227" y="48"/>
                  </a:lnTo>
                  <a:lnTo>
                    <a:pt x="228" y="47"/>
                  </a:lnTo>
                  <a:lnTo>
                    <a:pt x="229" y="47"/>
                  </a:lnTo>
                  <a:lnTo>
                    <a:pt x="231" y="46"/>
                  </a:lnTo>
                  <a:lnTo>
                    <a:pt x="236" y="45"/>
                  </a:lnTo>
                  <a:lnTo>
                    <a:pt x="238" y="44"/>
                  </a:lnTo>
                  <a:lnTo>
                    <a:pt x="241" y="43"/>
                  </a:lnTo>
                  <a:lnTo>
                    <a:pt x="242" y="43"/>
                  </a:lnTo>
                  <a:lnTo>
                    <a:pt x="244" y="42"/>
                  </a:lnTo>
                  <a:lnTo>
                    <a:pt x="245" y="42"/>
                  </a:lnTo>
                  <a:lnTo>
                    <a:pt x="247" y="42"/>
                  </a:lnTo>
                  <a:lnTo>
                    <a:pt x="247" y="41"/>
                  </a:lnTo>
                  <a:lnTo>
                    <a:pt x="249" y="41"/>
                  </a:lnTo>
                  <a:lnTo>
                    <a:pt x="250" y="41"/>
                  </a:lnTo>
                  <a:lnTo>
                    <a:pt x="251" y="42"/>
                  </a:lnTo>
                  <a:lnTo>
                    <a:pt x="252" y="42"/>
                  </a:lnTo>
                  <a:lnTo>
                    <a:pt x="253" y="43"/>
                  </a:lnTo>
                  <a:lnTo>
                    <a:pt x="254" y="43"/>
                  </a:lnTo>
                  <a:lnTo>
                    <a:pt x="255" y="44"/>
                  </a:lnTo>
                  <a:lnTo>
                    <a:pt x="256" y="45"/>
                  </a:lnTo>
                  <a:lnTo>
                    <a:pt x="257" y="45"/>
                  </a:lnTo>
                  <a:lnTo>
                    <a:pt x="257" y="46"/>
                  </a:lnTo>
                  <a:lnTo>
                    <a:pt x="258" y="47"/>
                  </a:lnTo>
                  <a:lnTo>
                    <a:pt x="259" y="49"/>
                  </a:lnTo>
                  <a:lnTo>
                    <a:pt x="259" y="49"/>
                  </a:lnTo>
                  <a:lnTo>
                    <a:pt x="260" y="50"/>
                  </a:lnTo>
                  <a:lnTo>
                    <a:pt x="260" y="52"/>
                  </a:lnTo>
                  <a:lnTo>
                    <a:pt x="261" y="54"/>
                  </a:lnTo>
                  <a:lnTo>
                    <a:pt x="262" y="56"/>
                  </a:lnTo>
                  <a:lnTo>
                    <a:pt x="262" y="58"/>
                  </a:lnTo>
                  <a:lnTo>
                    <a:pt x="262" y="61"/>
                  </a:lnTo>
                  <a:lnTo>
                    <a:pt x="263" y="65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3" y="68"/>
                  </a:lnTo>
                  <a:lnTo>
                    <a:pt x="263" y="68"/>
                  </a:lnTo>
                  <a:lnTo>
                    <a:pt x="263" y="69"/>
                  </a:lnTo>
                  <a:lnTo>
                    <a:pt x="263" y="69"/>
                  </a:lnTo>
                  <a:lnTo>
                    <a:pt x="263" y="70"/>
                  </a:lnTo>
                  <a:lnTo>
                    <a:pt x="261" y="73"/>
                  </a:lnTo>
                  <a:lnTo>
                    <a:pt x="261" y="74"/>
                  </a:lnTo>
                  <a:lnTo>
                    <a:pt x="261" y="74"/>
                  </a:lnTo>
                  <a:lnTo>
                    <a:pt x="260" y="75"/>
                  </a:lnTo>
                  <a:lnTo>
                    <a:pt x="260" y="76"/>
                  </a:lnTo>
                  <a:lnTo>
                    <a:pt x="261" y="76"/>
                  </a:lnTo>
                  <a:lnTo>
                    <a:pt x="261" y="77"/>
                  </a:lnTo>
                  <a:lnTo>
                    <a:pt x="261" y="77"/>
                  </a:lnTo>
                  <a:lnTo>
                    <a:pt x="262" y="78"/>
                  </a:lnTo>
                  <a:lnTo>
                    <a:pt x="262" y="79"/>
                  </a:lnTo>
                  <a:lnTo>
                    <a:pt x="263" y="79"/>
                  </a:lnTo>
                  <a:lnTo>
                    <a:pt x="264" y="79"/>
                  </a:lnTo>
                  <a:lnTo>
                    <a:pt x="265" y="80"/>
                  </a:lnTo>
                  <a:lnTo>
                    <a:pt x="266" y="80"/>
                  </a:lnTo>
                  <a:lnTo>
                    <a:pt x="267" y="80"/>
                  </a:lnTo>
                  <a:lnTo>
                    <a:pt x="267" y="80"/>
                  </a:lnTo>
                  <a:lnTo>
                    <a:pt x="268" y="80"/>
                  </a:lnTo>
                  <a:lnTo>
                    <a:pt x="269" y="79"/>
                  </a:lnTo>
                  <a:lnTo>
                    <a:pt x="270" y="79"/>
                  </a:lnTo>
                  <a:lnTo>
                    <a:pt x="272" y="78"/>
                  </a:lnTo>
                  <a:lnTo>
                    <a:pt x="274" y="76"/>
                  </a:lnTo>
                  <a:lnTo>
                    <a:pt x="275" y="76"/>
                  </a:lnTo>
                  <a:lnTo>
                    <a:pt x="276" y="75"/>
                  </a:lnTo>
                  <a:lnTo>
                    <a:pt x="276" y="75"/>
                  </a:lnTo>
                  <a:lnTo>
                    <a:pt x="276" y="74"/>
                  </a:lnTo>
                  <a:lnTo>
                    <a:pt x="277" y="74"/>
                  </a:lnTo>
                  <a:lnTo>
                    <a:pt x="277" y="73"/>
                  </a:lnTo>
                  <a:lnTo>
                    <a:pt x="278" y="72"/>
                  </a:lnTo>
                  <a:lnTo>
                    <a:pt x="280" y="68"/>
                  </a:lnTo>
                  <a:lnTo>
                    <a:pt x="281" y="65"/>
                  </a:lnTo>
                  <a:lnTo>
                    <a:pt x="282" y="64"/>
                  </a:lnTo>
                  <a:lnTo>
                    <a:pt x="283" y="62"/>
                  </a:lnTo>
                  <a:lnTo>
                    <a:pt x="285" y="61"/>
                  </a:lnTo>
                  <a:lnTo>
                    <a:pt x="286" y="59"/>
                  </a:lnTo>
                  <a:lnTo>
                    <a:pt x="287" y="58"/>
                  </a:lnTo>
                  <a:lnTo>
                    <a:pt x="289" y="57"/>
                  </a:lnTo>
                  <a:lnTo>
                    <a:pt x="290" y="56"/>
                  </a:lnTo>
                  <a:lnTo>
                    <a:pt x="291" y="55"/>
                  </a:lnTo>
                  <a:lnTo>
                    <a:pt x="291" y="55"/>
                  </a:lnTo>
                  <a:lnTo>
                    <a:pt x="292" y="55"/>
                  </a:lnTo>
                  <a:lnTo>
                    <a:pt x="293" y="54"/>
                  </a:lnTo>
                  <a:lnTo>
                    <a:pt x="295" y="54"/>
                  </a:lnTo>
                  <a:lnTo>
                    <a:pt x="296" y="55"/>
                  </a:lnTo>
                  <a:lnTo>
                    <a:pt x="297" y="55"/>
                  </a:lnTo>
                  <a:lnTo>
                    <a:pt x="298" y="55"/>
                  </a:lnTo>
                  <a:lnTo>
                    <a:pt x="299" y="56"/>
                  </a:lnTo>
                  <a:lnTo>
                    <a:pt x="304" y="58"/>
                  </a:lnTo>
                  <a:lnTo>
                    <a:pt x="305" y="58"/>
                  </a:lnTo>
                  <a:lnTo>
                    <a:pt x="306" y="59"/>
                  </a:lnTo>
                  <a:lnTo>
                    <a:pt x="307" y="60"/>
                  </a:lnTo>
                  <a:lnTo>
                    <a:pt x="309" y="61"/>
                  </a:lnTo>
                  <a:lnTo>
                    <a:pt x="310" y="62"/>
                  </a:lnTo>
                  <a:lnTo>
                    <a:pt x="313" y="65"/>
                  </a:lnTo>
                  <a:lnTo>
                    <a:pt x="314" y="65"/>
                  </a:lnTo>
                  <a:lnTo>
                    <a:pt x="315" y="66"/>
                  </a:lnTo>
                  <a:lnTo>
                    <a:pt x="315" y="66"/>
                  </a:lnTo>
                  <a:lnTo>
                    <a:pt x="316" y="66"/>
                  </a:lnTo>
                  <a:lnTo>
                    <a:pt x="316" y="66"/>
                  </a:lnTo>
                  <a:lnTo>
                    <a:pt x="317" y="66"/>
                  </a:lnTo>
                  <a:lnTo>
                    <a:pt x="318" y="66"/>
                  </a:lnTo>
                  <a:lnTo>
                    <a:pt x="319" y="66"/>
                  </a:lnTo>
                  <a:lnTo>
                    <a:pt x="319" y="66"/>
                  </a:lnTo>
                  <a:lnTo>
                    <a:pt x="320" y="66"/>
                  </a:lnTo>
                  <a:lnTo>
                    <a:pt x="321" y="66"/>
                  </a:lnTo>
                  <a:lnTo>
                    <a:pt x="322" y="65"/>
                  </a:lnTo>
                  <a:lnTo>
                    <a:pt x="322" y="65"/>
                  </a:lnTo>
                  <a:lnTo>
                    <a:pt x="323" y="64"/>
                  </a:lnTo>
                  <a:lnTo>
                    <a:pt x="323" y="64"/>
                  </a:lnTo>
                  <a:lnTo>
                    <a:pt x="324" y="63"/>
                  </a:lnTo>
                  <a:lnTo>
                    <a:pt x="324" y="63"/>
                  </a:lnTo>
                  <a:lnTo>
                    <a:pt x="325" y="62"/>
                  </a:lnTo>
                  <a:lnTo>
                    <a:pt x="325" y="61"/>
                  </a:lnTo>
                  <a:lnTo>
                    <a:pt x="326" y="57"/>
                  </a:lnTo>
                  <a:lnTo>
                    <a:pt x="327" y="55"/>
                  </a:lnTo>
                  <a:lnTo>
                    <a:pt x="328" y="54"/>
                  </a:lnTo>
                  <a:lnTo>
                    <a:pt x="329" y="53"/>
                  </a:lnTo>
                  <a:lnTo>
                    <a:pt x="329" y="53"/>
                  </a:lnTo>
                  <a:lnTo>
                    <a:pt x="330" y="52"/>
                  </a:lnTo>
                  <a:lnTo>
                    <a:pt x="330" y="52"/>
                  </a:lnTo>
                  <a:lnTo>
                    <a:pt x="330" y="51"/>
                  </a:lnTo>
                  <a:lnTo>
                    <a:pt x="331" y="51"/>
                  </a:lnTo>
                  <a:lnTo>
                    <a:pt x="332" y="50"/>
                  </a:lnTo>
                  <a:lnTo>
                    <a:pt x="332" y="50"/>
                  </a:lnTo>
                  <a:lnTo>
                    <a:pt x="333" y="50"/>
                  </a:lnTo>
                  <a:lnTo>
                    <a:pt x="334" y="50"/>
                  </a:lnTo>
                  <a:lnTo>
                    <a:pt x="335" y="50"/>
                  </a:lnTo>
                  <a:lnTo>
                    <a:pt x="336" y="50"/>
                  </a:lnTo>
                  <a:lnTo>
                    <a:pt x="338" y="50"/>
                  </a:lnTo>
                  <a:lnTo>
                    <a:pt x="339" y="50"/>
                  </a:lnTo>
                  <a:lnTo>
                    <a:pt x="340" y="50"/>
                  </a:lnTo>
                  <a:lnTo>
                    <a:pt x="341" y="50"/>
                  </a:lnTo>
                  <a:lnTo>
                    <a:pt x="345" y="51"/>
                  </a:lnTo>
                  <a:lnTo>
                    <a:pt x="346" y="51"/>
                  </a:lnTo>
                  <a:lnTo>
                    <a:pt x="347" y="51"/>
                  </a:lnTo>
                  <a:lnTo>
                    <a:pt x="348" y="52"/>
                  </a:lnTo>
                  <a:lnTo>
                    <a:pt x="350" y="52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6" y="52"/>
                  </a:lnTo>
                  <a:lnTo>
                    <a:pt x="357" y="52"/>
                  </a:lnTo>
                  <a:lnTo>
                    <a:pt x="358" y="52"/>
                  </a:lnTo>
                  <a:lnTo>
                    <a:pt x="359" y="53"/>
                  </a:lnTo>
                  <a:lnTo>
                    <a:pt x="360" y="53"/>
                  </a:lnTo>
                  <a:lnTo>
                    <a:pt x="361" y="54"/>
                  </a:lnTo>
                  <a:lnTo>
                    <a:pt x="362" y="55"/>
                  </a:lnTo>
                  <a:lnTo>
                    <a:pt x="365" y="57"/>
                  </a:lnTo>
                  <a:lnTo>
                    <a:pt x="367" y="59"/>
                  </a:lnTo>
                  <a:lnTo>
                    <a:pt x="367" y="59"/>
                  </a:lnTo>
                  <a:lnTo>
                    <a:pt x="369" y="61"/>
                  </a:lnTo>
                  <a:lnTo>
                    <a:pt x="371" y="64"/>
                  </a:lnTo>
                  <a:lnTo>
                    <a:pt x="374" y="67"/>
                  </a:lnTo>
                  <a:lnTo>
                    <a:pt x="376" y="69"/>
                  </a:lnTo>
                  <a:lnTo>
                    <a:pt x="378" y="71"/>
                  </a:lnTo>
                  <a:lnTo>
                    <a:pt x="381" y="74"/>
                  </a:lnTo>
                  <a:lnTo>
                    <a:pt x="383" y="76"/>
                  </a:lnTo>
                  <a:lnTo>
                    <a:pt x="385" y="78"/>
                  </a:lnTo>
                  <a:lnTo>
                    <a:pt x="386" y="80"/>
                  </a:lnTo>
                  <a:lnTo>
                    <a:pt x="388" y="81"/>
                  </a:lnTo>
                  <a:lnTo>
                    <a:pt x="388" y="83"/>
                  </a:lnTo>
                  <a:lnTo>
                    <a:pt x="389" y="84"/>
                  </a:lnTo>
                  <a:lnTo>
                    <a:pt x="389" y="85"/>
                  </a:lnTo>
                  <a:lnTo>
                    <a:pt x="389" y="86"/>
                  </a:lnTo>
                  <a:lnTo>
                    <a:pt x="389" y="87"/>
                  </a:lnTo>
                  <a:lnTo>
                    <a:pt x="389" y="88"/>
                  </a:lnTo>
                  <a:lnTo>
                    <a:pt x="389" y="89"/>
                  </a:lnTo>
                  <a:lnTo>
                    <a:pt x="389" y="90"/>
                  </a:lnTo>
                  <a:lnTo>
                    <a:pt x="389" y="90"/>
                  </a:lnTo>
                  <a:lnTo>
                    <a:pt x="388" y="91"/>
                  </a:lnTo>
                  <a:lnTo>
                    <a:pt x="388" y="92"/>
                  </a:lnTo>
                  <a:lnTo>
                    <a:pt x="386" y="93"/>
                  </a:lnTo>
                  <a:lnTo>
                    <a:pt x="384" y="95"/>
                  </a:lnTo>
                  <a:lnTo>
                    <a:pt x="384" y="96"/>
                  </a:lnTo>
                  <a:lnTo>
                    <a:pt x="383" y="96"/>
                  </a:lnTo>
                  <a:lnTo>
                    <a:pt x="383" y="97"/>
                  </a:lnTo>
                  <a:lnTo>
                    <a:pt x="382" y="98"/>
                  </a:lnTo>
                  <a:lnTo>
                    <a:pt x="381" y="101"/>
                  </a:lnTo>
                  <a:lnTo>
                    <a:pt x="381" y="103"/>
                  </a:lnTo>
                  <a:lnTo>
                    <a:pt x="380" y="104"/>
                  </a:lnTo>
                  <a:lnTo>
                    <a:pt x="379" y="107"/>
                  </a:lnTo>
                  <a:lnTo>
                    <a:pt x="378" y="108"/>
                  </a:lnTo>
                  <a:lnTo>
                    <a:pt x="378" y="109"/>
                  </a:lnTo>
                  <a:lnTo>
                    <a:pt x="378" y="111"/>
                  </a:lnTo>
                  <a:lnTo>
                    <a:pt x="378" y="112"/>
                  </a:lnTo>
                  <a:lnTo>
                    <a:pt x="377" y="113"/>
                  </a:lnTo>
                  <a:lnTo>
                    <a:pt x="377" y="114"/>
                  </a:lnTo>
                  <a:lnTo>
                    <a:pt x="376" y="116"/>
                  </a:lnTo>
                  <a:lnTo>
                    <a:pt x="375" y="117"/>
                  </a:lnTo>
                  <a:lnTo>
                    <a:pt x="373" y="118"/>
                  </a:lnTo>
                  <a:lnTo>
                    <a:pt x="370" y="122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7" y="125"/>
                  </a:lnTo>
                  <a:lnTo>
                    <a:pt x="366" y="125"/>
                  </a:lnTo>
                  <a:lnTo>
                    <a:pt x="366" y="126"/>
                  </a:lnTo>
                  <a:lnTo>
                    <a:pt x="365" y="126"/>
                  </a:lnTo>
                  <a:lnTo>
                    <a:pt x="364" y="126"/>
                  </a:lnTo>
                  <a:lnTo>
                    <a:pt x="363" y="127"/>
                  </a:lnTo>
                  <a:lnTo>
                    <a:pt x="362" y="127"/>
                  </a:lnTo>
                  <a:lnTo>
                    <a:pt x="361" y="127"/>
                  </a:lnTo>
                  <a:lnTo>
                    <a:pt x="359" y="126"/>
                  </a:lnTo>
                  <a:lnTo>
                    <a:pt x="357" y="126"/>
                  </a:lnTo>
                  <a:lnTo>
                    <a:pt x="357" y="126"/>
                  </a:lnTo>
                  <a:lnTo>
                    <a:pt x="356" y="126"/>
                  </a:lnTo>
                  <a:lnTo>
                    <a:pt x="356" y="127"/>
                  </a:lnTo>
                  <a:lnTo>
                    <a:pt x="355" y="127"/>
                  </a:lnTo>
                  <a:lnTo>
                    <a:pt x="355" y="127"/>
                  </a:lnTo>
                  <a:lnTo>
                    <a:pt x="354" y="128"/>
                  </a:lnTo>
                  <a:lnTo>
                    <a:pt x="354" y="128"/>
                  </a:lnTo>
                  <a:lnTo>
                    <a:pt x="352" y="130"/>
                  </a:lnTo>
                  <a:lnTo>
                    <a:pt x="350" y="132"/>
                  </a:lnTo>
                  <a:lnTo>
                    <a:pt x="349" y="133"/>
                  </a:lnTo>
                  <a:lnTo>
                    <a:pt x="348" y="134"/>
                  </a:lnTo>
                  <a:lnTo>
                    <a:pt x="347" y="135"/>
                  </a:lnTo>
                  <a:lnTo>
                    <a:pt x="346" y="135"/>
                  </a:lnTo>
                  <a:lnTo>
                    <a:pt x="345" y="135"/>
                  </a:lnTo>
                  <a:lnTo>
                    <a:pt x="343" y="136"/>
                  </a:lnTo>
                  <a:lnTo>
                    <a:pt x="343" y="136"/>
                  </a:lnTo>
                  <a:lnTo>
                    <a:pt x="342" y="136"/>
                  </a:lnTo>
                  <a:lnTo>
                    <a:pt x="341" y="137"/>
                  </a:lnTo>
                  <a:lnTo>
                    <a:pt x="339" y="138"/>
                  </a:lnTo>
                  <a:lnTo>
                    <a:pt x="338" y="139"/>
                  </a:lnTo>
                  <a:lnTo>
                    <a:pt x="337" y="139"/>
                  </a:lnTo>
                  <a:lnTo>
                    <a:pt x="337" y="140"/>
                  </a:lnTo>
                  <a:lnTo>
                    <a:pt x="335" y="141"/>
                  </a:lnTo>
                  <a:lnTo>
                    <a:pt x="335" y="142"/>
                  </a:lnTo>
                  <a:lnTo>
                    <a:pt x="334" y="143"/>
                  </a:lnTo>
                  <a:lnTo>
                    <a:pt x="332" y="144"/>
                  </a:lnTo>
                  <a:lnTo>
                    <a:pt x="332" y="144"/>
                  </a:lnTo>
                  <a:lnTo>
                    <a:pt x="331" y="145"/>
                  </a:lnTo>
                  <a:lnTo>
                    <a:pt x="330" y="146"/>
                  </a:lnTo>
                  <a:lnTo>
                    <a:pt x="330" y="147"/>
                  </a:lnTo>
                  <a:lnTo>
                    <a:pt x="329" y="147"/>
                  </a:lnTo>
                  <a:lnTo>
                    <a:pt x="329" y="148"/>
                  </a:lnTo>
                  <a:lnTo>
                    <a:pt x="329" y="149"/>
                  </a:lnTo>
                  <a:lnTo>
                    <a:pt x="329" y="150"/>
                  </a:lnTo>
                  <a:lnTo>
                    <a:pt x="329" y="151"/>
                  </a:lnTo>
                  <a:lnTo>
                    <a:pt x="328" y="151"/>
                  </a:lnTo>
                  <a:lnTo>
                    <a:pt x="328" y="152"/>
                  </a:lnTo>
                  <a:lnTo>
                    <a:pt x="327" y="152"/>
                  </a:lnTo>
                  <a:lnTo>
                    <a:pt x="327" y="152"/>
                  </a:lnTo>
                  <a:lnTo>
                    <a:pt x="326" y="152"/>
                  </a:lnTo>
                  <a:lnTo>
                    <a:pt x="325" y="152"/>
                  </a:lnTo>
                  <a:lnTo>
                    <a:pt x="325" y="152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3" y="154"/>
                  </a:lnTo>
                  <a:lnTo>
                    <a:pt x="323" y="154"/>
                  </a:lnTo>
                  <a:lnTo>
                    <a:pt x="322" y="155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9"/>
                  </a:lnTo>
                  <a:lnTo>
                    <a:pt x="322" y="160"/>
                  </a:lnTo>
                  <a:lnTo>
                    <a:pt x="322" y="160"/>
                  </a:lnTo>
                  <a:lnTo>
                    <a:pt x="323" y="161"/>
                  </a:lnTo>
                  <a:lnTo>
                    <a:pt x="324" y="164"/>
                  </a:lnTo>
                  <a:lnTo>
                    <a:pt x="325" y="166"/>
                  </a:lnTo>
                  <a:lnTo>
                    <a:pt x="326" y="167"/>
                  </a:lnTo>
                  <a:lnTo>
                    <a:pt x="326" y="167"/>
                  </a:lnTo>
                  <a:lnTo>
                    <a:pt x="327" y="168"/>
                  </a:lnTo>
                  <a:lnTo>
                    <a:pt x="327" y="168"/>
                  </a:lnTo>
                  <a:lnTo>
                    <a:pt x="328" y="168"/>
                  </a:lnTo>
                  <a:lnTo>
                    <a:pt x="329" y="169"/>
                  </a:lnTo>
                  <a:lnTo>
                    <a:pt x="331" y="169"/>
                  </a:lnTo>
                  <a:lnTo>
                    <a:pt x="331" y="169"/>
                  </a:lnTo>
                  <a:lnTo>
                    <a:pt x="332" y="170"/>
                  </a:lnTo>
                  <a:lnTo>
                    <a:pt x="333" y="171"/>
                  </a:lnTo>
                  <a:lnTo>
                    <a:pt x="334" y="171"/>
                  </a:lnTo>
                  <a:lnTo>
                    <a:pt x="335" y="172"/>
                  </a:lnTo>
                  <a:lnTo>
                    <a:pt x="335" y="173"/>
                  </a:lnTo>
                  <a:lnTo>
                    <a:pt x="337" y="176"/>
                  </a:lnTo>
                  <a:lnTo>
                    <a:pt x="338" y="176"/>
                  </a:lnTo>
                  <a:lnTo>
                    <a:pt x="339" y="178"/>
                  </a:lnTo>
                  <a:lnTo>
                    <a:pt x="339" y="178"/>
                  </a:lnTo>
                  <a:lnTo>
                    <a:pt x="340" y="180"/>
                  </a:lnTo>
                  <a:lnTo>
                    <a:pt x="342" y="181"/>
                  </a:lnTo>
                  <a:lnTo>
                    <a:pt x="342" y="182"/>
                  </a:lnTo>
                  <a:lnTo>
                    <a:pt x="343" y="183"/>
                  </a:lnTo>
                  <a:lnTo>
                    <a:pt x="344" y="184"/>
                  </a:lnTo>
                  <a:lnTo>
                    <a:pt x="344" y="185"/>
                  </a:lnTo>
                  <a:lnTo>
                    <a:pt x="345" y="185"/>
                  </a:lnTo>
                  <a:lnTo>
                    <a:pt x="346" y="186"/>
                  </a:lnTo>
                  <a:lnTo>
                    <a:pt x="346" y="186"/>
                  </a:lnTo>
                  <a:lnTo>
                    <a:pt x="347" y="186"/>
                  </a:lnTo>
                  <a:lnTo>
                    <a:pt x="348" y="186"/>
                  </a:lnTo>
                  <a:lnTo>
                    <a:pt x="348" y="186"/>
                  </a:lnTo>
                  <a:lnTo>
                    <a:pt x="349" y="185"/>
                  </a:lnTo>
                  <a:lnTo>
                    <a:pt x="352" y="184"/>
                  </a:lnTo>
                  <a:lnTo>
                    <a:pt x="353" y="183"/>
                  </a:lnTo>
                  <a:lnTo>
                    <a:pt x="353" y="183"/>
                  </a:lnTo>
                  <a:lnTo>
                    <a:pt x="354" y="183"/>
                  </a:lnTo>
                  <a:lnTo>
                    <a:pt x="355" y="183"/>
                  </a:lnTo>
                  <a:lnTo>
                    <a:pt x="356" y="183"/>
                  </a:lnTo>
                  <a:lnTo>
                    <a:pt x="358" y="183"/>
                  </a:lnTo>
                  <a:lnTo>
                    <a:pt x="359" y="183"/>
                  </a:lnTo>
                  <a:lnTo>
                    <a:pt x="361" y="183"/>
                  </a:lnTo>
                  <a:lnTo>
                    <a:pt x="362" y="183"/>
                  </a:lnTo>
                  <a:lnTo>
                    <a:pt x="363" y="183"/>
                  </a:lnTo>
                  <a:lnTo>
                    <a:pt x="365" y="183"/>
                  </a:lnTo>
                  <a:lnTo>
                    <a:pt x="365" y="184"/>
                  </a:lnTo>
                  <a:lnTo>
                    <a:pt x="366" y="184"/>
                  </a:lnTo>
                  <a:lnTo>
                    <a:pt x="367" y="185"/>
                  </a:lnTo>
                  <a:lnTo>
                    <a:pt x="368" y="185"/>
                  </a:lnTo>
                  <a:lnTo>
                    <a:pt x="368" y="185"/>
                  </a:lnTo>
                  <a:lnTo>
                    <a:pt x="368" y="186"/>
                  </a:lnTo>
                  <a:lnTo>
                    <a:pt x="369" y="187"/>
                  </a:lnTo>
                  <a:lnTo>
                    <a:pt x="370" y="189"/>
                  </a:lnTo>
                  <a:lnTo>
                    <a:pt x="370" y="190"/>
                  </a:lnTo>
                  <a:lnTo>
                    <a:pt x="371" y="194"/>
                  </a:lnTo>
                  <a:lnTo>
                    <a:pt x="372" y="196"/>
                  </a:lnTo>
                  <a:lnTo>
                    <a:pt x="372" y="197"/>
                  </a:lnTo>
                  <a:lnTo>
                    <a:pt x="373" y="198"/>
                  </a:lnTo>
                  <a:lnTo>
                    <a:pt x="373" y="200"/>
                  </a:lnTo>
                  <a:lnTo>
                    <a:pt x="374" y="201"/>
                  </a:lnTo>
                  <a:lnTo>
                    <a:pt x="375" y="203"/>
                  </a:lnTo>
                  <a:lnTo>
                    <a:pt x="376" y="203"/>
                  </a:lnTo>
                  <a:lnTo>
                    <a:pt x="377" y="205"/>
                  </a:lnTo>
                  <a:lnTo>
                    <a:pt x="378" y="205"/>
                  </a:lnTo>
                  <a:lnTo>
                    <a:pt x="379" y="206"/>
                  </a:lnTo>
                  <a:lnTo>
                    <a:pt x="380" y="207"/>
                  </a:lnTo>
                  <a:lnTo>
                    <a:pt x="381" y="208"/>
                  </a:lnTo>
                  <a:lnTo>
                    <a:pt x="382" y="208"/>
                  </a:lnTo>
                  <a:lnTo>
                    <a:pt x="383" y="208"/>
                  </a:lnTo>
                  <a:lnTo>
                    <a:pt x="386" y="208"/>
                  </a:lnTo>
                  <a:lnTo>
                    <a:pt x="387" y="209"/>
                  </a:lnTo>
                  <a:lnTo>
                    <a:pt x="388" y="209"/>
                  </a:lnTo>
                  <a:lnTo>
                    <a:pt x="389" y="210"/>
                  </a:lnTo>
                  <a:lnTo>
                    <a:pt x="390" y="210"/>
                  </a:lnTo>
                  <a:lnTo>
                    <a:pt x="391" y="211"/>
                  </a:lnTo>
                  <a:lnTo>
                    <a:pt x="392" y="212"/>
                  </a:lnTo>
                  <a:lnTo>
                    <a:pt x="394" y="213"/>
                  </a:lnTo>
                  <a:lnTo>
                    <a:pt x="395" y="215"/>
                  </a:lnTo>
                  <a:lnTo>
                    <a:pt x="397" y="218"/>
                  </a:lnTo>
                  <a:lnTo>
                    <a:pt x="399" y="220"/>
                  </a:lnTo>
                  <a:lnTo>
                    <a:pt x="400" y="222"/>
                  </a:lnTo>
                  <a:lnTo>
                    <a:pt x="402" y="225"/>
                  </a:lnTo>
                  <a:lnTo>
                    <a:pt x="404" y="229"/>
                  </a:lnTo>
                  <a:lnTo>
                    <a:pt x="406" y="231"/>
                  </a:lnTo>
                  <a:lnTo>
                    <a:pt x="408" y="234"/>
                  </a:lnTo>
                  <a:lnTo>
                    <a:pt x="409" y="234"/>
                  </a:lnTo>
                  <a:lnTo>
                    <a:pt x="410" y="235"/>
                  </a:lnTo>
                  <a:lnTo>
                    <a:pt x="413" y="238"/>
                  </a:lnTo>
                  <a:lnTo>
                    <a:pt x="416" y="243"/>
                  </a:lnTo>
                  <a:lnTo>
                    <a:pt x="417" y="244"/>
                  </a:lnTo>
                  <a:lnTo>
                    <a:pt x="418" y="245"/>
                  </a:lnTo>
                  <a:lnTo>
                    <a:pt x="419" y="246"/>
                  </a:lnTo>
                  <a:lnTo>
                    <a:pt x="422" y="248"/>
                  </a:lnTo>
                  <a:lnTo>
                    <a:pt x="423" y="249"/>
                  </a:lnTo>
                  <a:lnTo>
                    <a:pt x="423" y="249"/>
                  </a:lnTo>
                  <a:lnTo>
                    <a:pt x="424" y="250"/>
                  </a:lnTo>
                  <a:lnTo>
                    <a:pt x="425" y="252"/>
                  </a:lnTo>
                  <a:lnTo>
                    <a:pt x="426" y="253"/>
                  </a:lnTo>
                  <a:lnTo>
                    <a:pt x="426" y="254"/>
                  </a:lnTo>
                  <a:lnTo>
                    <a:pt x="427" y="255"/>
                  </a:lnTo>
                  <a:lnTo>
                    <a:pt x="428" y="256"/>
                  </a:lnTo>
                  <a:lnTo>
                    <a:pt x="428" y="259"/>
                  </a:lnTo>
                  <a:lnTo>
                    <a:pt x="429" y="260"/>
                  </a:lnTo>
                  <a:lnTo>
                    <a:pt x="429" y="262"/>
                  </a:lnTo>
                  <a:lnTo>
                    <a:pt x="429" y="266"/>
                  </a:lnTo>
                  <a:lnTo>
                    <a:pt x="429" y="269"/>
                  </a:lnTo>
                  <a:lnTo>
                    <a:pt x="430" y="271"/>
                  </a:lnTo>
                  <a:lnTo>
                    <a:pt x="430" y="273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2" y="281"/>
                  </a:lnTo>
                  <a:lnTo>
                    <a:pt x="433" y="283"/>
                  </a:lnTo>
                  <a:lnTo>
                    <a:pt x="435" y="286"/>
                  </a:lnTo>
                  <a:lnTo>
                    <a:pt x="436" y="287"/>
                  </a:lnTo>
                  <a:lnTo>
                    <a:pt x="436" y="288"/>
                  </a:lnTo>
                  <a:lnTo>
                    <a:pt x="436" y="289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5" y="291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1" y="290"/>
                  </a:lnTo>
                  <a:lnTo>
                    <a:pt x="430" y="290"/>
                  </a:lnTo>
                  <a:lnTo>
                    <a:pt x="425" y="288"/>
                  </a:lnTo>
                  <a:lnTo>
                    <a:pt x="423" y="287"/>
                  </a:lnTo>
                  <a:lnTo>
                    <a:pt x="421" y="286"/>
                  </a:lnTo>
                  <a:lnTo>
                    <a:pt x="420" y="285"/>
                  </a:lnTo>
                  <a:lnTo>
                    <a:pt x="417" y="284"/>
                  </a:lnTo>
                  <a:lnTo>
                    <a:pt x="417" y="283"/>
                  </a:lnTo>
                  <a:lnTo>
                    <a:pt x="416" y="283"/>
                  </a:lnTo>
                  <a:lnTo>
                    <a:pt x="414" y="282"/>
                  </a:lnTo>
                  <a:lnTo>
                    <a:pt x="414" y="282"/>
                  </a:lnTo>
                  <a:lnTo>
                    <a:pt x="413" y="282"/>
                  </a:lnTo>
                  <a:lnTo>
                    <a:pt x="412" y="282"/>
                  </a:lnTo>
                  <a:lnTo>
                    <a:pt x="412" y="282"/>
                  </a:lnTo>
                  <a:lnTo>
                    <a:pt x="411" y="282"/>
                  </a:lnTo>
                  <a:lnTo>
                    <a:pt x="411" y="282"/>
                  </a:lnTo>
                  <a:lnTo>
                    <a:pt x="410" y="282"/>
                  </a:lnTo>
                  <a:lnTo>
                    <a:pt x="410" y="282"/>
                  </a:lnTo>
                  <a:lnTo>
                    <a:pt x="409" y="283"/>
                  </a:lnTo>
                  <a:lnTo>
                    <a:pt x="408" y="283"/>
                  </a:lnTo>
                  <a:lnTo>
                    <a:pt x="408" y="283"/>
                  </a:lnTo>
                  <a:lnTo>
                    <a:pt x="407" y="284"/>
                  </a:lnTo>
                  <a:lnTo>
                    <a:pt x="407" y="285"/>
                  </a:lnTo>
                  <a:lnTo>
                    <a:pt x="407" y="286"/>
                  </a:lnTo>
                  <a:lnTo>
                    <a:pt x="405" y="289"/>
                  </a:lnTo>
                  <a:lnTo>
                    <a:pt x="404" y="291"/>
                  </a:lnTo>
                  <a:lnTo>
                    <a:pt x="404" y="292"/>
                  </a:lnTo>
                  <a:lnTo>
                    <a:pt x="403" y="293"/>
                  </a:lnTo>
                  <a:lnTo>
                    <a:pt x="402" y="293"/>
                  </a:lnTo>
                  <a:lnTo>
                    <a:pt x="401" y="294"/>
                  </a:lnTo>
                  <a:lnTo>
                    <a:pt x="400" y="295"/>
                  </a:lnTo>
                  <a:lnTo>
                    <a:pt x="399" y="296"/>
                  </a:lnTo>
                  <a:lnTo>
                    <a:pt x="398" y="297"/>
                  </a:lnTo>
                  <a:lnTo>
                    <a:pt x="396" y="297"/>
                  </a:lnTo>
                  <a:lnTo>
                    <a:pt x="394" y="298"/>
                  </a:lnTo>
                  <a:lnTo>
                    <a:pt x="392" y="300"/>
                  </a:lnTo>
                  <a:lnTo>
                    <a:pt x="392" y="300"/>
                  </a:lnTo>
                  <a:lnTo>
                    <a:pt x="390" y="301"/>
                  </a:lnTo>
                  <a:lnTo>
                    <a:pt x="390" y="301"/>
                  </a:lnTo>
                  <a:lnTo>
                    <a:pt x="387" y="303"/>
                  </a:lnTo>
                  <a:lnTo>
                    <a:pt x="384" y="304"/>
                  </a:lnTo>
                  <a:lnTo>
                    <a:pt x="382" y="305"/>
                  </a:lnTo>
                  <a:lnTo>
                    <a:pt x="381" y="305"/>
                  </a:lnTo>
                  <a:lnTo>
                    <a:pt x="380" y="306"/>
                  </a:lnTo>
                  <a:lnTo>
                    <a:pt x="378" y="308"/>
                  </a:lnTo>
                  <a:lnTo>
                    <a:pt x="376" y="309"/>
                  </a:lnTo>
                  <a:lnTo>
                    <a:pt x="374" y="310"/>
                  </a:lnTo>
                  <a:lnTo>
                    <a:pt x="372" y="312"/>
                  </a:lnTo>
                  <a:lnTo>
                    <a:pt x="371" y="312"/>
                  </a:lnTo>
                  <a:lnTo>
                    <a:pt x="370" y="313"/>
                  </a:lnTo>
                  <a:lnTo>
                    <a:pt x="369" y="314"/>
                  </a:lnTo>
                  <a:lnTo>
                    <a:pt x="368" y="315"/>
                  </a:lnTo>
                  <a:lnTo>
                    <a:pt x="368" y="316"/>
                  </a:lnTo>
                  <a:lnTo>
                    <a:pt x="368" y="316"/>
                  </a:lnTo>
                  <a:lnTo>
                    <a:pt x="367" y="317"/>
                  </a:lnTo>
                  <a:lnTo>
                    <a:pt x="367" y="318"/>
                  </a:lnTo>
                  <a:lnTo>
                    <a:pt x="367" y="318"/>
                  </a:lnTo>
                  <a:lnTo>
                    <a:pt x="367" y="321"/>
                  </a:lnTo>
                  <a:lnTo>
                    <a:pt x="367" y="321"/>
                  </a:lnTo>
                  <a:lnTo>
                    <a:pt x="367" y="322"/>
                  </a:lnTo>
                  <a:lnTo>
                    <a:pt x="366" y="323"/>
                  </a:lnTo>
                  <a:lnTo>
                    <a:pt x="366" y="323"/>
                  </a:lnTo>
                  <a:lnTo>
                    <a:pt x="366" y="324"/>
                  </a:lnTo>
                  <a:lnTo>
                    <a:pt x="365" y="325"/>
                  </a:lnTo>
                  <a:lnTo>
                    <a:pt x="364" y="326"/>
                  </a:lnTo>
                  <a:lnTo>
                    <a:pt x="362" y="327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60" y="329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1"/>
                  </a:lnTo>
                  <a:lnTo>
                    <a:pt x="360" y="331"/>
                  </a:lnTo>
                  <a:lnTo>
                    <a:pt x="360" y="332"/>
                  </a:lnTo>
                  <a:lnTo>
                    <a:pt x="361" y="335"/>
                  </a:lnTo>
                  <a:lnTo>
                    <a:pt x="361" y="335"/>
                  </a:lnTo>
                  <a:lnTo>
                    <a:pt x="361" y="336"/>
                  </a:lnTo>
                  <a:lnTo>
                    <a:pt x="361" y="336"/>
                  </a:lnTo>
                  <a:lnTo>
                    <a:pt x="361" y="337"/>
                  </a:lnTo>
                  <a:lnTo>
                    <a:pt x="360" y="337"/>
                  </a:lnTo>
                  <a:lnTo>
                    <a:pt x="360" y="337"/>
                  </a:lnTo>
                  <a:lnTo>
                    <a:pt x="359" y="337"/>
                  </a:lnTo>
                  <a:lnTo>
                    <a:pt x="359" y="338"/>
                  </a:lnTo>
                  <a:lnTo>
                    <a:pt x="358" y="338"/>
                  </a:lnTo>
                  <a:lnTo>
                    <a:pt x="357" y="338"/>
                  </a:lnTo>
                  <a:lnTo>
                    <a:pt x="356" y="338"/>
                  </a:lnTo>
                  <a:lnTo>
                    <a:pt x="355" y="337"/>
                  </a:lnTo>
                  <a:lnTo>
                    <a:pt x="353" y="337"/>
                  </a:lnTo>
                  <a:lnTo>
                    <a:pt x="352" y="336"/>
                  </a:lnTo>
                  <a:lnTo>
                    <a:pt x="351" y="336"/>
                  </a:lnTo>
                  <a:lnTo>
                    <a:pt x="350" y="336"/>
                  </a:lnTo>
                  <a:lnTo>
                    <a:pt x="349" y="336"/>
                  </a:lnTo>
                  <a:lnTo>
                    <a:pt x="347" y="337"/>
                  </a:lnTo>
                  <a:lnTo>
                    <a:pt x="344" y="337"/>
                  </a:lnTo>
                  <a:lnTo>
                    <a:pt x="343" y="337"/>
                  </a:lnTo>
                  <a:lnTo>
                    <a:pt x="341" y="337"/>
                  </a:lnTo>
                  <a:lnTo>
                    <a:pt x="341" y="337"/>
                  </a:lnTo>
                  <a:lnTo>
                    <a:pt x="340" y="337"/>
                  </a:lnTo>
                  <a:lnTo>
                    <a:pt x="339" y="336"/>
                  </a:lnTo>
                  <a:lnTo>
                    <a:pt x="338" y="336"/>
                  </a:lnTo>
                  <a:lnTo>
                    <a:pt x="338" y="336"/>
                  </a:lnTo>
                  <a:lnTo>
                    <a:pt x="337" y="336"/>
                  </a:lnTo>
                  <a:lnTo>
                    <a:pt x="337" y="336"/>
                  </a:lnTo>
                  <a:lnTo>
                    <a:pt x="336" y="336"/>
                  </a:lnTo>
                  <a:lnTo>
                    <a:pt x="334" y="337"/>
                  </a:lnTo>
                  <a:lnTo>
                    <a:pt x="333" y="337"/>
                  </a:lnTo>
                  <a:lnTo>
                    <a:pt x="332" y="338"/>
                  </a:lnTo>
                  <a:lnTo>
                    <a:pt x="329" y="338"/>
                  </a:lnTo>
                  <a:lnTo>
                    <a:pt x="327" y="339"/>
                  </a:lnTo>
                  <a:lnTo>
                    <a:pt x="326" y="339"/>
                  </a:lnTo>
                  <a:lnTo>
                    <a:pt x="325" y="339"/>
                  </a:lnTo>
                  <a:lnTo>
                    <a:pt x="324" y="339"/>
                  </a:lnTo>
                  <a:lnTo>
                    <a:pt x="324" y="339"/>
                  </a:lnTo>
                  <a:lnTo>
                    <a:pt x="323" y="338"/>
                  </a:lnTo>
                  <a:lnTo>
                    <a:pt x="322" y="338"/>
                  </a:lnTo>
                  <a:lnTo>
                    <a:pt x="321" y="337"/>
                  </a:lnTo>
                  <a:lnTo>
                    <a:pt x="320" y="337"/>
                  </a:lnTo>
                  <a:lnTo>
                    <a:pt x="316" y="334"/>
                  </a:lnTo>
                  <a:lnTo>
                    <a:pt x="315" y="333"/>
                  </a:lnTo>
                  <a:lnTo>
                    <a:pt x="314" y="332"/>
                  </a:lnTo>
                  <a:lnTo>
                    <a:pt x="313" y="331"/>
                  </a:lnTo>
                  <a:lnTo>
                    <a:pt x="311" y="331"/>
                  </a:lnTo>
                  <a:lnTo>
                    <a:pt x="309" y="330"/>
                  </a:lnTo>
                  <a:lnTo>
                    <a:pt x="306" y="329"/>
                  </a:lnTo>
                  <a:lnTo>
                    <a:pt x="305" y="328"/>
                  </a:lnTo>
                  <a:lnTo>
                    <a:pt x="305" y="328"/>
                  </a:lnTo>
                  <a:lnTo>
                    <a:pt x="303" y="327"/>
                  </a:lnTo>
                  <a:lnTo>
                    <a:pt x="302" y="326"/>
                  </a:lnTo>
                  <a:lnTo>
                    <a:pt x="300" y="324"/>
                  </a:lnTo>
                  <a:lnTo>
                    <a:pt x="299" y="323"/>
                  </a:lnTo>
                  <a:lnTo>
                    <a:pt x="298" y="323"/>
                  </a:lnTo>
                  <a:lnTo>
                    <a:pt x="297" y="322"/>
                  </a:lnTo>
                  <a:lnTo>
                    <a:pt x="296" y="322"/>
                  </a:lnTo>
                  <a:lnTo>
                    <a:pt x="293" y="320"/>
                  </a:lnTo>
                  <a:lnTo>
                    <a:pt x="291" y="320"/>
                  </a:lnTo>
                  <a:lnTo>
                    <a:pt x="290" y="319"/>
                  </a:lnTo>
                  <a:lnTo>
                    <a:pt x="289" y="318"/>
                  </a:lnTo>
                  <a:lnTo>
                    <a:pt x="288" y="317"/>
                  </a:lnTo>
                  <a:lnTo>
                    <a:pt x="287" y="316"/>
                  </a:lnTo>
                  <a:lnTo>
                    <a:pt x="286" y="315"/>
                  </a:lnTo>
                  <a:lnTo>
                    <a:pt x="284" y="312"/>
                  </a:lnTo>
                  <a:lnTo>
                    <a:pt x="282" y="311"/>
                  </a:lnTo>
                  <a:lnTo>
                    <a:pt x="281" y="310"/>
                  </a:lnTo>
                  <a:lnTo>
                    <a:pt x="281" y="310"/>
                  </a:lnTo>
                  <a:lnTo>
                    <a:pt x="281" y="310"/>
                  </a:lnTo>
                  <a:lnTo>
                    <a:pt x="279" y="309"/>
                  </a:lnTo>
                  <a:lnTo>
                    <a:pt x="278" y="308"/>
                  </a:lnTo>
                  <a:lnTo>
                    <a:pt x="277" y="308"/>
                  </a:lnTo>
                  <a:lnTo>
                    <a:pt x="274" y="307"/>
                  </a:lnTo>
                  <a:lnTo>
                    <a:pt x="272" y="307"/>
                  </a:lnTo>
                  <a:lnTo>
                    <a:pt x="271" y="306"/>
                  </a:lnTo>
                  <a:lnTo>
                    <a:pt x="270" y="306"/>
                  </a:lnTo>
                  <a:lnTo>
                    <a:pt x="270" y="305"/>
                  </a:lnTo>
                  <a:lnTo>
                    <a:pt x="269" y="305"/>
                  </a:lnTo>
                  <a:lnTo>
                    <a:pt x="269" y="304"/>
                  </a:lnTo>
                  <a:lnTo>
                    <a:pt x="268" y="303"/>
                  </a:lnTo>
                  <a:lnTo>
                    <a:pt x="268" y="302"/>
                  </a:lnTo>
                  <a:lnTo>
                    <a:pt x="267" y="301"/>
                  </a:lnTo>
                  <a:lnTo>
                    <a:pt x="266" y="297"/>
                  </a:lnTo>
                  <a:lnTo>
                    <a:pt x="266" y="296"/>
                  </a:lnTo>
                  <a:lnTo>
                    <a:pt x="265" y="295"/>
                  </a:lnTo>
                  <a:lnTo>
                    <a:pt x="265" y="294"/>
                  </a:lnTo>
                  <a:lnTo>
                    <a:pt x="264" y="294"/>
                  </a:lnTo>
                  <a:lnTo>
                    <a:pt x="264" y="293"/>
                  </a:lnTo>
                  <a:lnTo>
                    <a:pt x="263" y="293"/>
                  </a:lnTo>
                  <a:lnTo>
                    <a:pt x="261" y="290"/>
                  </a:lnTo>
                  <a:lnTo>
                    <a:pt x="261" y="289"/>
                  </a:lnTo>
                  <a:lnTo>
                    <a:pt x="260" y="289"/>
                  </a:lnTo>
                  <a:lnTo>
                    <a:pt x="259" y="288"/>
                  </a:lnTo>
                  <a:lnTo>
                    <a:pt x="258" y="288"/>
                  </a:lnTo>
                  <a:lnTo>
                    <a:pt x="257" y="287"/>
                  </a:lnTo>
                  <a:lnTo>
                    <a:pt x="255" y="287"/>
                  </a:lnTo>
                  <a:lnTo>
                    <a:pt x="252" y="286"/>
                  </a:lnTo>
                  <a:lnTo>
                    <a:pt x="248" y="285"/>
                  </a:lnTo>
                  <a:lnTo>
                    <a:pt x="246" y="284"/>
                  </a:lnTo>
                  <a:lnTo>
                    <a:pt x="243" y="284"/>
                  </a:lnTo>
                  <a:lnTo>
                    <a:pt x="242" y="283"/>
                  </a:lnTo>
                  <a:lnTo>
                    <a:pt x="241" y="283"/>
                  </a:lnTo>
                  <a:lnTo>
                    <a:pt x="240" y="283"/>
                  </a:lnTo>
                  <a:lnTo>
                    <a:pt x="239" y="283"/>
                  </a:lnTo>
                  <a:lnTo>
                    <a:pt x="238" y="284"/>
                  </a:lnTo>
                  <a:lnTo>
                    <a:pt x="236" y="285"/>
                  </a:lnTo>
                  <a:lnTo>
                    <a:pt x="234" y="285"/>
                  </a:lnTo>
                  <a:lnTo>
                    <a:pt x="233" y="286"/>
                  </a:lnTo>
                  <a:lnTo>
                    <a:pt x="232" y="287"/>
                  </a:lnTo>
                  <a:lnTo>
                    <a:pt x="232" y="287"/>
                  </a:lnTo>
                  <a:lnTo>
                    <a:pt x="229" y="290"/>
                  </a:lnTo>
                  <a:lnTo>
                    <a:pt x="228" y="290"/>
                  </a:lnTo>
                  <a:lnTo>
                    <a:pt x="228" y="291"/>
                  </a:lnTo>
                  <a:lnTo>
                    <a:pt x="227" y="291"/>
                  </a:lnTo>
                  <a:lnTo>
                    <a:pt x="226" y="292"/>
                  </a:lnTo>
                  <a:lnTo>
                    <a:pt x="223" y="293"/>
                  </a:lnTo>
                  <a:lnTo>
                    <a:pt x="222" y="294"/>
                  </a:lnTo>
                  <a:lnTo>
                    <a:pt x="221" y="294"/>
                  </a:lnTo>
                  <a:lnTo>
                    <a:pt x="218" y="296"/>
                  </a:lnTo>
                  <a:lnTo>
                    <a:pt x="217" y="297"/>
                  </a:lnTo>
                  <a:lnTo>
                    <a:pt x="216" y="297"/>
                  </a:lnTo>
                  <a:lnTo>
                    <a:pt x="215" y="297"/>
                  </a:lnTo>
                  <a:lnTo>
                    <a:pt x="215" y="297"/>
                  </a:lnTo>
                  <a:lnTo>
                    <a:pt x="214" y="297"/>
                  </a:lnTo>
                  <a:lnTo>
                    <a:pt x="214" y="297"/>
                  </a:lnTo>
                  <a:lnTo>
                    <a:pt x="213" y="297"/>
                  </a:lnTo>
                  <a:lnTo>
                    <a:pt x="212" y="297"/>
                  </a:lnTo>
                  <a:lnTo>
                    <a:pt x="211" y="297"/>
                  </a:lnTo>
                  <a:lnTo>
                    <a:pt x="210" y="297"/>
                  </a:lnTo>
                  <a:lnTo>
                    <a:pt x="210" y="297"/>
                  </a:lnTo>
                  <a:lnTo>
                    <a:pt x="209" y="296"/>
                  </a:lnTo>
                  <a:lnTo>
                    <a:pt x="209" y="296"/>
                  </a:lnTo>
                  <a:lnTo>
                    <a:pt x="208" y="295"/>
                  </a:lnTo>
                  <a:lnTo>
                    <a:pt x="207" y="295"/>
                  </a:lnTo>
                  <a:lnTo>
                    <a:pt x="207" y="294"/>
                  </a:lnTo>
                  <a:lnTo>
                    <a:pt x="206" y="293"/>
                  </a:lnTo>
                  <a:lnTo>
                    <a:pt x="206" y="292"/>
                  </a:lnTo>
                  <a:lnTo>
                    <a:pt x="205" y="289"/>
                  </a:lnTo>
                  <a:lnTo>
                    <a:pt x="204" y="287"/>
                  </a:lnTo>
                  <a:lnTo>
                    <a:pt x="204" y="286"/>
                  </a:lnTo>
                  <a:lnTo>
                    <a:pt x="203" y="284"/>
                  </a:lnTo>
                  <a:lnTo>
                    <a:pt x="202" y="283"/>
                  </a:lnTo>
                  <a:lnTo>
                    <a:pt x="201" y="283"/>
                  </a:lnTo>
                  <a:lnTo>
                    <a:pt x="201" y="282"/>
                  </a:lnTo>
                  <a:lnTo>
                    <a:pt x="200" y="282"/>
                  </a:lnTo>
                  <a:lnTo>
                    <a:pt x="200" y="281"/>
                  </a:lnTo>
                  <a:lnTo>
                    <a:pt x="199" y="280"/>
                  </a:lnTo>
                  <a:lnTo>
                    <a:pt x="199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6" y="281"/>
                  </a:lnTo>
                  <a:lnTo>
                    <a:pt x="194" y="282"/>
                  </a:lnTo>
                  <a:lnTo>
                    <a:pt x="193" y="283"/>
                  </a:lnTo>
                  <a:lnTo>
                    <a:pt x="192" y="284"/>
                  </a:lnTo>
                  <a:lnTo>
                    <a:pt x="191" y="285"/>
                  </a:lnTo>
                  <a:lnTo>
                    <a:pt x="190" y="286"/>
                  </a:lnTo>
                  <a:lnTo>
                    <a:pt x="189" y="286"/>
                  </a:lnTo>
                  <a:lnTo>
                    <a:pt x="189" y="287"/>
                  </a:lnTo>
                  <a:lnTo>
                    <a:pt x="188" y="288"/>
                  </a:lnTo>
                  <a:lnTo>
                    <a:pt x="188" y="288"/>
                  </a:lnTo>
                  <a:lnTo>
                    <a:pt x="187" y="289"/>
                  </a:lnTo>
                  <a:lnTo>
                    <a:pt x="186" y="292"/>
                  </a:lnTo>
                  <a:lnTo>
                    <a:pt x="186" y="293"/>
                  </a:lnTo>
                  <a:lnTo>
                    <a:pt x="185" y="293"/>
                  </a:lnTo>
                  <a:lnTo>
                    <a:pt x="185" y="294"/>
                  </a:lnTo>
                  <a:lnTo>
                    <a:pt x="184" y="295"/>
                  </a:lnTo>
                  <a:lnTo>
                    <a:pt x="184" y="295"/>
                  </a:lnTo>
                  <a:lnTo>
                    <a:pt x="183" y="296"/>
                  </a:lnTo>
                  <a:lnTo>
                    <a:pt x="182" y="297"/>
                  </a:lnTo>
                  <a:lnTo>
                    <a:pt x="181" y="297"/>
                  </a:lnTo>
                  <a:lnTo>
                    <a:pt x="180" y="297"/>
                  </a:lnTo>
                  <a:lnTo>
                    <a:pt x="178" y="298"/>
                  </a:lnTo>
                  <a:lnTo>
                    <a:pt x="176" y="298"/>
                  </a:lnTo>
                  <a:lnTo>
                    <a:pt x="175" y="299"/>
                  </a:lnTo>
                  <a:lnTo>
                    <a:pt x="172" y="300"/>
                  </a:lnTo>
                  <a:lnTo>
                    <a:pt x="171" y="301"/>
                  </a:lnTo>
                  <a:lnTo>
                    <a:pt x="170" y="301"/>
                  </a:lnTo>
                  <a:lnTo>
                    <a:pt x="170" y="301"/>
                  </a:lnTo>
                  <a:lnTo>
                    <a:pt x="168" y="301"/>
                  </a:lnTo>
                  <a:lnTo>
                    <a:pt x="167" y="301"/>
                  </a:lnTo>
                  <a:lnTo>
                    <a:pt x="167" y="301"/>
                  </a:lnTo>
                  <a:lnTo>
                    <a:pt x="165" y="300"/>
                  </a:lnTo>
                  <a:lnTo>
                    <a:pt x="163" y="299"/>
                  </a:lnTo>
                  <a:lnTo>
                    <a:pt x="161" y="299"/>
                  </a:lnTo>
                  <a:lnTo>
                    <a:pt x="161" y="298"/>
                  </a:lnTo>
                  <a:lnTo>
                    <a:pt x="160" y="298"/>
                  </a:lnTo>
                  <a:lnTo>
                    <a:pt x="159" y="298"/>
                  </a:lnTo>
                  <a:lnTo>
                    <a:pt x="158" y="298"/>
                  </a:lnTo>
                  <a:lnTo>
                    <a:pt x="156" y="298"/>
                  </a:lnTo>
                  <a:lnTo>
                    <a:pt x="155" y="298"/>
                  </a:lnTo>
                  <a:lnTo>
                    <a:pt x="153" y="298"/>
                  </a:lnTo>
                  <a:lnTo>
                    <a:pt x="152" y="298"/>
                  </a:lnTo>
                  <a:lnTo>
                    <a:pt x="151" y="298"/>
                  </a:lnTo>
                  <a:lnTo>
                    <a:pt x="148" y="298"/>
                  </a:lnTo>
                  <a:lnTo>
                    <a:pt x="147" y="298"/>
                  </a:lnTo>
                  <a:lnTo>
                    <a:pt x="146" y="298"/>
                  </a:lnTo>
                  <a:lnTo>
                    <a:pt x="144" y="298"/>
                  </a:lnTo>
                  <a:lnTo>
                    <a:pt x="144" y="298"/>
                  </a:lnTo>
                  <a:lnTo>
                    <a:pt x="143" y="298"/>
                  </a:lnTo>
                  <a:lnTo>
                    <a:pt x="142" y="297"/>
                  </a:lnTo>
                  <a:lnTo>
                    <a:pt x="141" y="297"/>
                  </a:lnTo>
                  <a:lnTo>
                    <a:pt x="140" y="297"/>
                  </a:lnTo>
                  <a:lnTo>
                    <a:pt x="139" y="295"/>
                  </a:lnTo>
                  <a:lnTo>
                    <a:pt x="138" y="295"/>
                  </a:lnTo>
                  <a:lnTo>
                    <a:pt x="138" y="295"/>
                  </a:lnTo>
                  <a:lnTo>
                    <a:pt x="137" y="294"/>
                  </a:lnTo>
                  <a:lnTo>
                    <a:pt x="137" y="294"/>
                  </a:lnTo>
                  <a:lnTo>
                    <a:pt x="136" y="294"/>
                  </a:lnTo>
                  <a:lnTo>
                    <a:pt x="136" y="294"/>
                  </a:lnTo>
                  <a:lnTo>
                    <a:pt x="136" y="294"/>
                  </a:lnTo>
                  <a:lnTo>
                    <a:pt x="135" y="294"/>
                  </a:lnTo>
                  <a:lnTo>
                    <a:pt x="132" y="296"/>
                  </a:lnTo>
                  <a:lnTo>
                    <a:pt x="131" y="297"/>
                  </a:lnTo>
                  <a:lnTo>
                    <a:pt x="130" y="297"/>
                  </a:lnTo>
                  <a:lnTo>
                    <a:pt x="128" y="297"/>
                  </a:lnTo>
                  <a:lnTo>
                    <a:pt x="127" y="297"/>
                  </a:lnTo>
                  <a:lnTo>
                    <a:pt x="126" y="298"/>
                  </a:lnTo>
                  <a:lnTo>
                    <a:pt x="125" y="298"/>
                  </a:lnTo>
                  <a:lnTo>
                    <a:pt x="125" y="299"/>
                  </a:lnTo>
                  <a:lnTo>
                    <a:pt x="124" y="299"/>
                  </a:lnTo>
                  <a:lnTo>
                    <a:pt x="123" y="300"/>
                  </a:lnTo>
                  <a:lnTo>
                    <a:pt x="123" y="301"/>
                  </a:lnTo>
                  <a:lnTo>
                    <a:pt x="122" y="301"/>
                  </a:lnTo>
                  <a:lnTo>
                    <a:pt x="122" y="302"/>
                  </a:lnTo>
                  <a:lnTo>
                    <a:pt x="121" y="304"/>
                  </a:lnTo>
                  <a:lnTo>
                    <a:pt x="121" y="304"/>
                  </a:lnTo>
                  <a:lnTo>
                    <a:pt x="120" y="305"/>
                  </a:lnTo>
                  <a:lnTo>
                    <a:pt x="120" y="306"/>
                  </a:lnTo>
                  <a:lnTo>
                    <a:pt x="118" y="307"/>
                  </a:lnTo>
                  <a:lnTo>
                    <a:pt x="117" y="308"/>
                  </a:lnTo>
                  <a:lnTo>
                    <a:pt x="116" y="308"/>
                  </a:lnTo>
                  <a:lnTo>
                    <a:pt x="115" y="309"/>
                  </a:lnTo>
                  <a:lnTo>
                    <a:pt x="114" y="309"/>
                  </a:lnTo>
                  <a:lnTo>
                    <a:pt x="112" y="311"/>
                  </a:lnTo>
                  <a:lnTo>
                    <a:pt x="111" y="311"/>
                  </a:lnTo>
                  <a:lnTo>
                    <a:pt x="110" y="312"/>
                  </a:lnTo>
                  <a:lnTo>
                    <a:pt x="109" y="312"/>
                  </a:lnTo>
                  <a:lnTo>
                    <a:pt x="108" y="313"/>
                  </a:lnTo>
                  <a:lnTo>
                    <a:pt x="107" y="313"/>
                  </a:lnTo>
                  <a:lnTo>
                    <a:pt x="106" y="313"/>
                  </a:lnTo>
                  <a:lnTo>
                    <a:pt x="105" y="313"/>
                  </a:lnTo>
                  <a:lnTo>
                    <a:pt x="104" y="314"/>
                  </a:lnTo>
                  <a:lnTo>
                    <a:pt x="103" y="314"/>
                  </a:lnTo>
                  <a:lnTo>
                    <a:pt x="102" y="314"/>
                  </a:lnTo>
                  <a:lnTo>
                    <a:pt x="102" y="314"/>
                  </a:lnTo>
                  <a:lnTo>
                    <a:pt x="101" y="313"/>
                  </a:lnTo>
                  <a:lnTo>
                    <a:pt x="100" y="313"/>
                  </a:lnTo>
                  <a:lnTo>
                    <a:pt x="99" y="313"/>
                  </a:lnTo>
                  <a:lnTo>
                    <a:pt x="98" y="312"/>
                  </a:lnTo>
                  <a:lnTo>
                    <a:pt x="98" y="312"/>
                  </a:lnTo>
                  <a:lnTo>
                    <a:pt x="97" y="312"/>
                  </a:lnTo>
                  <a:lnTo>
                    <a:pt x="97" y="311"/>
                  </a:lnTo>
                  <a:lnTo>
                    <a:pt x="97" y="311"/>
                  </a:lnTo>
                  <a:lnTo>
                    <a:pt x="97" y="311"/>
                  </a:lnTo>
                  <a:lnTo>
                    <a:pt x="97" y="310"/>
                  </a:lnTo>
                  <a:lnTo>
                    <a:pt x="97" y="309"/>
                  </a:lnTo>
                  <a:lnTo>
                    <a:pt x="97" y="307"/>
                  </a:lnTo>
                  <a:lnTo>
                    <a:pt x="97" y="307"/>
                  </a:lnTo>
                  <a:lnTo>
                    <a:pt x="97" y="306"/>
                  </a:lnTo>
                  <a:lnTo>
                    <a:pt x="97" y="305"/>
                  </a:lnTo>
                  <a:lnTo>
                    <a:pt x="97" y="305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6" y="303"/>
                  </a:lnTo>
                  <a:lnTo>
                    <a:pt x="96" y="303"/>
                  </a:lnTo>
                  <a:lnTo>
                    <a:pt x="96" y="302"/>
                  </a:lnTo>
                  <a:lnTo>
                    <a:pt x="94" y="302"/>
                  </a:lnTo>
                  <a:lnTo>
                    <a:pt x="93" y="301"/>
                  </a:lnTo>
                  <a:lnTo>
                    <a:pt x="91" y="299"/>
                  </a:lnTo>
                  <a:lnTo>
                    <a:pt x="90" y="299"/>
                  </a:lnTo>
                  <a:lnTo>
                    <a:pt x="89" y="298"/>
                  </a:lnTo>
                  <a:lnTo>
                    <a:pt x="88" y="298"/>
                  </a:lnTo>
                  <a:lnTo>
                    <a:pt x="87" y="298"/>
                  </a:lnTo>
                  <a:lnTo>
                    <a:pt x="85" y="297"/>
                  </a:lnTo>
                  <a:lnTo>
                    <a:pt x="84" y="297"/>
                  </a:lnTo>
                  <a:lnTo>
                    <a:pt x="83" y="297"/>
                  </a:lnTo>
                  <a:lnTo>
                    <a:pt x="79" y="296"/>
                  </a:lnTo>
                  <a:lnTo>
                    <a:pt x="76" y="295"/>
                  </a:lnTo>
                  <a:lnTo>
                    <a:pt x="75" y="294"/>
                  </a:lnTo>
                  <a:lnTo>
                    <a:pt x="74" y="294"/>
                  </a:lnTo>
                  <a:lnTo>
                    <a:pt x="74" y="294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5" y="290"/>
                  </a:lnTo>
                  <a:lnTo>
                    <a:pt x="75" y="290"/>
                  </a:lnTo>
                  <a:lnTo>
                    <a:pt x="75" y="289"/>
                  </a:lnTo>
                  <a:lnTo>
                    <a:pt x="75" y="288"/>
                  </a:lnTo>
                  <a:lnTo>
                    <a:pt x="74" y="287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5" y="285"/>
                  </a:lnTo>
                  <a:lnTo>
                    <a:pt x="75" y="284"/>
                  </a:lnTo>
                  <a:lnTo>
                    <a:pt x="76" y="283"/>
                  </a:lnTo>
                  <a:lnTo>
                    <a:pt x="77" y="282"/>
                  </a:lnTo>
                  <a:lnTo>
                    <a:pt x="78" y="280"/>
                  </a:lnTo>
                  <a:lnTo>
                    <a:pt x="79" y="279"/>
                  </a:lnTo>
                  <a:lnTo>
                    <a:pt x="80" y="278"/>
                  </a:lnTo>
                  <a:lnTo>
                    <a:pt x="81" y="276"/>
                  </a:lnTo>
                  <a:lnTo>
                    <a:pt x="82" y="275"/>
                  </a:lnTo>
                  <a:lnTo>
                    <a:pt x="82" y="274"/>
                  </a:lnTo>
                  <a:lnTo>
                    <a:pt x="83" y="272"/>
                  </a:lnTo>
                  <a:lnTo>
                    <a:pt x="83" y="271"/>
                  </a:lnTo>
                  <a:lnTo>
                    <a:pt x="84" y="270"/>
                  </a:lnTo>
                  <a:lnTo>
                    <a:pt x="84" y="269"/>
                  </a:lnTo>
                  <a:lnTo>
                    <a:pt x="84" y="268"/>
                  </a:lnTo>
                  <a:lnTo>
                    <a:pt x="84" y="268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3" y="265"/>
                  </a:lnTo>
                  <a:lnTo>
                    <a:pt x="83" y="264"/>
                  </a:lnTo>
                  <a:lnTo>
                    <a:pt x="82" y="262"/>
                  </a:lnTo>
                  <a:lnTo>
                    <a:pt x="82" y="261"/>
                  </a:lnTo>
                  <a:lnTo>
                    <a:pt x="80" y="259"/>
                  </a:lnTo>
                  <a:lnTo>
                    <a:pt x="79" y="258"/>
                  </a:lnTo>
                  <a:lnTo>
                    <a:pt x="78" y="256"/>
                  </a:lnTo>
                  <a:lnTo>
                    <a:pt x="78" y="255"/>
                  </a:lnTo>
                  <a:lnTo>
                    <a:pt x="78" y="255"/>
                  </a:lnTo>
                  <a:lnTo>
                    <a:pt x="78" y="254"/>
                  </a:lnTo>
                  <a:lnTo>
                    <a:pt x="78" y="252"/>
                  </a:lnTo>
                  <a:lnTo>
                    <a:pt x="78" y="250"/>
                  </a:lnTo>
                  <a:lnTo>
                    <a:pt x="78" y="249"/>
                  </a:lnTo>
                  <a:lnTo>
                    <a:pt x="78" y="248"/>
                  </a:lnTo>
                  <a:lnTo>
                    <a:pt x="78" y="247"/>
                  </a:lnTo>
                  <a:lnTo>
                    <a:pt x="78" y="244"/>
                  </a:lnTo>
                  <a:lnTo>
                    <a:pt x="79" y="243"/>
                  </a:lnTo>
                  <a:lnTo>
                    <a:pt x="79" y="241"/>
                  </a:lnTo>
                  <a:lnTo>
                    <a:pt x="78" y="238"/>
                  </a:lnTo>
                  <a:lnTo>
                    <a:pt x="78" y="236"/>
                  </a:lnTo>
                  <a:lnTo>
                    <a:pt x="78" y="234"/>
                  </a:lnTo>
                  <a:lnTo>
                    <a:pt x="78" y="234"/>
                  </a:lnTo>
                  <a:lnTo>
                    <a:pt x="78" y="232"/>
                  </a:lnTo>
                  <a:lnTo>
                    <a:pt x="77" y="231"/>
                  </a:lnTo>
                  <a:lnTo>
                    <a:pt x="77" y="231"/>
                  </a:lnTo>
                  <a:lnTo>
                    <a:pt x="77" y="230"/>
                  </a:lnTo>
                  <a:lnTo>
                    <a:pt x="76" y="229"/>
                  </a:lnTo>
                  <a:lnTo>
                    <a:pt x="75" y="229"/>
                  </a:lnTo>
                  <a:lnTo>
                    <a:pt x="75" y="228"/>
                  </a:lnTo>
                  <a:lnTo>
                    <a:pt x="73" y="227"/>
                  </a:lnTo>
                  <a:lnTo>
                    <a:pt x="72" y="226"/>
                  </a:lnTo>
                  <a:lnTo>
                    <a:pt x="72" y="225"/>
                  </a:lnTo>
                  <a:lnTo>
                    <a:pt x="71" y="225"/>
                  </a:lnTo>
                  <a:lnTo>
                    <a:pt x="70" y="225"/>
                  </a:lnTo>
                  <a:lnTo>
                    <a:pt x="70" y="225"/>
                  </a:lnTo>
                  <a:lnTo>
                    <a:pt x="69" y="225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66" y="226"/>
                  </a:lnTo>
                  <a:lnTo>
                    <a:pt x="65" y="226"/>
                  </a:lnTo>
                  <a:lnTo>
                    <a:pt x="63" y="227"/>
                  </a:lnTo>
                  <a:lnTo>
                    <a:pt x="59" y="228"/>
                  </a:lnTo>
                  <a:lnTo>
                    <a:pt x="58" y="229"/>
                  </a:lnTo>
                  <a:lnTo>
                    <a:pt x="57" y="229"/>
                  </a:lnTo>
                  <a:lnTo>
                    <a:pt x="56" y="229"/>
                  </a:lnTo>
                  <a:lnTo>
                    <a:pt x="55" y="229"/>
                  </a:lnTo>
                  <a:lnTo>
                    <a:pt x="52" y="228"/>
                  </a:lnTo>
                  <a:lnTo>
                    <a:pt x="49" y="228"/>
                  </a:lnTo>
                  <a:lnTo>
                    <a:pt x="45" y="227"/>
                  </a:lnTo>
                  <a:lnTo>
                    <a:pt x="44" y="227"/>
                  </a:lnTo>
                  <a:lnTo>
                    <a:pt x="43" y="227"/>
                  </a:lnTo>
                  <a:lnTo>
                    <a:pt x="39" y="228"/>
                  </a:lnTo>
                  <a:lnTo>
                    <a:pt x="38" y="228"/>
                  </a:lnTo>
                  <a:lnTo>
                    <a:pt x="37" y="228"/>
                  </a:lnTo>
                  <a:lnTo>
                    <a:pt x="36" y="228"/>
                  </a:lnTo>
                  <a:lnTo>
                    <a:pt x="36" y="228"/>
                  </a:lnTo>
                  <a:lnTo>
                    <a:pt x="35" y="227"/>
                  </a:lnTo>
                  <a:lnTo>
                    <a:pt x="34" y="227"/>
                  </a:lnTo>
                  <a:lnTo>
                    <a:pt x="33" y="227"/>
                  </a:lnTo>
                  <a:lnTo>
                    <a:pt x="33" y="226"/>
                  </a:lnTo>
                  <a:lnTo>
                    <a:pt x="32" y="226"/>
                  </a:lnTo>
                  <a:lnTo>
                    <a:pt x="31" y="225"/>
                  </a:lnTo>
                  <a:lnTo>
                    <a:pt x="31" y="225"/>
                  </a:lnTo>
                  <a:lnTo>
                    <a:pt x="30" y="224"/>
                  </a:lnTo>
                  <a:lnTo>
                    <a:pt x="30" y="224"/>
                  </a:lnTo>
                  <a:lnTo>
                    <a:pt x="30" y="223"/>
                  </a:lnTo>
                  <a:lnTo>
                    <a:pt x="29" y="222"/>
                  </a:lnTo>
                  <a:lnTo>
                    <a:pt x="29" y="221"/>
                  </a:lnTo>
                  <a:lnTo>
                    <a:pt x="29" y="220"/>
                  </a:lnTo>
                  <a:lnTo>
                    <a:pt x="29" y="220"/>
                  </a:lnTo>
                  <a:lnTo>
                    <a:pt x="29" y="218"/>
                  </a:lnTo>
                  <a:lnTo>
                    <a:pt x="29" y="216"/>
                  </a:lnTo>
                  <a:lnTo>
                    <a:pt x="29" y="215"/>
                  </a:lnTo>
                  <a:lnTo>
                    <a:pt x="28" y="215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27" y="213"/>
                  </a:lnTo>
                  <a:lnTo>
                    <a:pt x="25" y="211"/>
                  </a:lnTo>
                  <a:lnTo>
                    <a:pt x="24" y="210"/>
                  </a:lnTo>
                  <a:lnTo>
                    <a:pt x="23" y="209"/>
                  </a:lnTo>
                  <a:lnTo>
                    <a:pt x="22" y="208"/>
                  </a:lnTo>
                  <a:lnTo>
                    <a:pt x="22" y="208"/>
                  </a:lnTo>
                  <a:lnTo>
                    <a:pt x="21" y="206"/>
                  </a:lnTo>
                  <a:lnTo>
                    <a:pt x="20" y="206"/>
                  </a:lnTo>
                  <a:lnTo>
                    <a:pt x="20" y="205"/>
                  </a:lnTo>
                  <a:lnTo>
                    <a:pt x="19" y="205"/>
                  </a:lnTo>
                  <a:lnTo>
                    <a:pt x="18" y="204"/>
                  </a:lnTo>
                  <a:lnTo>
                    <a:pt x="16" y="204"/>
                  </a:lnTo>
                  <a:lnTo>
                    <a:pt x="16" y="204"/>
                  </a:lnTo>
                  <a:lnTo>
                    <a:pt x="15" y="203"/>
                  </a:lnTo>
                  <a:lnTo>
                    <a:pt x="12" y="203"/>
                  </a:lnTo>
                  <a:lnTo>
                    <a:pt x="11" y="203"/>
                  </a:lnTo>
                  <a:lnTo>
                    <a:pt x="10" y="203"/>
                  </a:lnTo>
                  <a:lnTo>
                    <a:pt x="10" y="203"/>
                  </a:lnTo>
                  <a:lnTo>
                    <a:pt x="9" y="202"/>
                  </a:lnTo>
                  <a:lnTo>
                    <a:pt x="9" y="202"/>
                  </a:lnTo>
                  <a:lnTo>
                    <a:pt x="8" y="202"/>
                  </a:lnTo>
                  <a:lnTo>
                    <a:pt x="7" y="201"/>
                  </a:lnTo>
                  <a:lnTo>
                    <a:pt x="6" y="201"/>
                  </a:lnTo>
                  <a:lnTo>
                    <a:pt x="6" y="200"/>
                  </a:lnTo>
                  <a:lnTo>
                    <a:pt x="5" y="200"/>
                  </a:lnTo>
                  <a:lnTo>
                    <a:pt x="5" y="199"/>
                  </a:lnTo>
                  <a:lnTo>
                    <a:pt x="4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3" y="195"/>
                  </a:lnTo>
                  <a:lnTo>
                    <a:pt x="3" y="194"/>
                  </a:lnTo>
                  <a:lnTo>
                    <a:pt x="2" y="193"/>
                  </a:lnTo>
                  <a:lnTo>
                    <a:pt x="1" y="191"/>
                  </a:lnTo>
                  <a:lnTo>
                    <a:pt x="1" y="190"/>
                  </a:lnTo>
                  <a:lnTo>
                    <a:pt x="1" y="190"/>
                  </a:lnTo>
                  <a:lnTo>
                    <a:pt x="0" y="189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0" y="187"/>
                  </a:lnTo>
                  <a:lnTo>
                    <a:pt x="1" y="186"/>
                  </a:lnTo>
                  <a:lnTo>
                    <a:pt x="1" y="186"/>
                  </a:lnTo>
                  <a:lnTo>
                    <a:pt x="1" y="185"/>
                  </a:lnTo>
                  <a:lnTo>
                    <a:pt x="2" y="184"/>
                  </a:lnTo>
                  <a:lnTo>
                    <a:pt x="2" y="184"/>
                  </a:lnTo>
                  <a:lnTo>
                    <a:pt x="3" y="184"/>
                  </a:lnTo>
                  <a:lnTo>
                    <a:pt x="5" y="182"/>
                  </a:lnTo>
                  <a:lnTo>
                    <a:pt x="6" y="182"/>
                  </a:lnTo>
                  <a:lnTo>
                    <a:pt x="6" y="181"/>
                  </a:lnTo>
                  <a:lnTo>
                    <a:pt x="7" y="181"/>
                  </a:lnTo>
                  <a:lnTo>
                    <a:pt x="7" y="181"/>
                  </a:lnTo>
                  <a:lnTo>
                    <a:pt x="7" y="180"/>
                  </a:lnTo>
                  <a:lnTo>
                    <a:pt x="8" y="177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2" y="171"/>
                  </a:lnTo>
                  <a:lnTo>
                    <a:pt x="12" y="170"/>
                  </a:lnTo>
                  <a:lnTo>
                    <a:pt x="13" y="169"/>
                  </a:lnTo>
                  <a:lnTo>
                    <a:pt x="13" y="167"/>
                  </a:lnTo>
                  <a:lnTo>
                    <a:pt x="13" y="166"/>
                  </a:lnTo>
                  <a:lnTo>
                    <a:pt x="13" y="165"/>
                  </a:lnTo>
                  <a:lnTo>
                    <a:pt x="12" y="163"/>
                  </a:lnTo>
                  <a:lnTo>
                    <a:pt x="11" y="160"/>
                  </a:lnTo>
                  <a:lnTo>
                    <a:pt x="11" y="159"/>
                  </a:lnTo>
                  <a:lnTo>
                    <a:pt x="10" y="158"/>
                  </a:lnTo>
                  <a:lnTo>
                    <a:pt x="10" y="157"/>
                  </a:lnTo>
                  <a:lnTo>
                    <a:pt x="9" y="156"/>
                  </a:lnTo>
                  <a:lnTo>
                    <a:pt x="8" y="154"/>
                  </a:lnTo>
                  <a:lnTo>
                    <a:pt x="8" y="154"/>
                  </a:lnTo>
                  <a:lnTo>
                    <a:pt x="8" y="153"/>
                  </a:lnTo>
                  <a:lnTo>
                    <a:pt x="7" y="152"/>
                  </a:lnTo>
                  <a:lnTo>
                    <a:pt x="7" y="151"/>
                  </a:lnTo>
                  <a:lnTo>
                    <a:pt x="7" y="150"/>
                  </a:lnTo>
                  <a:lnTo>
                    <a:pt x="7" y="145"/>
                  </a:lnTo>
                  <a:lnTo>
                    <a:pt x="7" y="143"/>
                  </a:lnTo>
                  <a:lnTo>
                    <a:pt x="7" y="142"/>
                  </a:lnTo>
                  <a:lnTo>
                    <a:pt x="7" y="142"/>
                  </a:lnTo>
                  <a:lnTo>
                    <a:pt x="7" y="141"/>
                  </a:lnTo>
                  <a:lnTo>
                    <a:pt x="6" y="139"/>
                  </a:lnTo>
                  <a:lnTo>
                    <a:pt x="5" y="137"/>
                  </a:lnTo>
                  <a:lnTo>
                    <a:pt x="5" y="136"/>
                  </a:lnTo>
                  <a:lnTo>
                    <a:pt x="4" y="134"/>
                  </a:lnTo>
                  <a:lnTo>
                    <a:pt x="3" y="132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4" y="126"/>
                  </a:lnTo>
                  <a:lnTo>
                    <a:pt x="5" y="125"/>
                  </a:lnTo>
                  <a:lnTo>
                    <a:pt x="6" y="124"/>
                  </a:lnTo>
                  <a:lnTo>
                    <a:pt x="8" y="122"/>
                  </a:lnTo>
                  <a:lnTo>
                    <a:pt x="9" y="121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0" y="121"/>
                  </a:lnTo>
                  <a:lnTo>
                    <a:pt x="11" y="122"/>
                  </a:lnTo>
                  <a:lnTo>
                    <a:pt x="13" y="122"/>
                  </a:lnTo>
                  <a:lnTo>
                    <a:pt x="15" y="124"/>
                  </a:lnTo>
                  <a:lnTo>
                    <a:pt x="17" y="125"/>
                  </a:lnTo>
                  <a:lnTo>
                    <a:pt x="21" y="127"/>
                  </a:lnTo>
                  <a:lnTo>
                    <a:pt x="22" y="128"/>
                  </a:lnTo>
                  <a:lnTo>
                    <a:pt x="24" y="128"/>
                  </a:lnTo>
                  <a:lnTo>
                    <a:pt x="25" y="129"/>
                  </a:lnTo>
                  <a:lnTo>
                    <a:pt x="27" y="130"/>
                  </a:lnTo>
                  <a:lnTo>
                    <a:pt x="28" y="130"/>
                  </a:lnTo>
                  <a:lnTo>
                    <a:pt x="30" y="131"/>
                  </a:lnTo>
                  <a:lnTo>
                    <a:pt x="30" y="131"/>
                  </a:lnTo>
                  <a:lnTo>
                    <a:pt x="31" y="131"/>
                  </a:lnTo>
                  <a:lnTo>
                    <a:pt x="32" y="131"/>
                  </a:lnTo>
                  <a:lnTo>
                    <a:pt x="33" y="131"/>
                  </a:lnTo>
                  <a:lnTo>
                    <a:pt x="34" y="131"/>
                  </a:lnTo>
                  <a:lnTo>
                    <a:pt x="34" y="131"/>
                  </a:lnTo>
                  <a:lnTo>
                    <a:pt x="35" y="131"/>
                  </a:lnTo>
                  <a:lnTo>
                    <a:pt x="36" y="130"/>
                  </a:lnTo>
                  <a:lnTo>
                    <a:pt x="36" y="130"/>
                  </a:lnTo>
                  <a:lnTo>
                    <a:pt x="37" y="129"/>
                  </a:lnTo>
                  <a:lnTo>
                    <a:pt x="38" y="128"/>
                  </a:lnTo>
                  <a:lnTo>
                    <a:pt x="40" y="125"/>
                  </a:lnTo>
                  <a:lnTo>
                    <a:pt x="42" y="123"/>
                  </a:lnTo>
                  <a:lnTo>
                    <a:pt x="43" y="122"/>
                  </a:lnTo>
                  <a:lnTo>
                    <a:pt x="44" y="122"/>
                  </a:lnTo>
                  <a:lnTo>
                    <a:pt x="44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6" y="120"/>
                  </a:lnTo>
                  <a:lnTo>
                    <a:pt x="46" y="120"/>
                  </a:lnTo>
                  <a:lnTo>
                    <a:pt x="47" y="120"/>
                  </a:lnTo>
                  <a:lnTo>
                    <a:pt x="48" y="120"/>
                  </a:lnTo>
                  <a:lnTo>
                    <a:pt x="49" y="120"/>
                  </a:lnTo>
                  <a:lnTo>
                    <a:pt x="50" y="120"/>
                  </a:lnTo>
                  <a:lnTo>
                    <a:pt x="51" y="120"/>
                  </a:lnTo>
                  <a:lnTo>
                    <a:pt x="52" y="121"/>
                  </a:lnTo>
                  <a:lnTo>
                    <a:pt x="53" y="121"/>
                  </a:lnTo>
                  <a:lnTo>
                    <a:pt x="54" y="122"/>
                  </a:lnTo>
                  <a:lnTo>
                    <a:pt x="56" y="123"/>
                  </a:lnTo>
                  <a:lnTo>
                    <a:pt x="58" y="123"/>
                  </a:lnTo>
                  <a:lnTo>
                    <a:pt x="59" y="124"/>
                  </a:lnTo>
                  <a:lnTo>
                    <a:pt x="61" y="124"/>
                  </a:lnTo>
                  <a:lnTo>
                    <a:pt x="62" y="124"/>
                  </a:lnTo>
                  <a:lnTo>
                    <a:pt x="63" y="125"/>
                  </a:lnTo>
                  <a:lnTo>
                    <a:pt x="64" y="125"/>
                  </a:lnTo>
                  <a:lnTo>
                    <a:pt x="65" y="125"/>
                  </a:lnTo>
                  <a:lnTo>
                    <a:pt x="66" y="126"/>
                  </a:lnTo>
                  <a:lnTo>
                    <a:pt x="68" y="127"/>
                  </a:lnTo>
                  <a:lnTo>
                    <a:pt x="69" y="128"/>
                  </a:lnTo>
                  <a:lnTo>
                    <a:pt x="71" y="129"/>
                  </a:lnTo>
                  <a:lnTo>
                    <a:pt x="73" y="129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5" y="130"/>
                  </a:lnTo>
                  <a:lnTo>
                    <a:pt x="77" y="129"/>
                  </a:lnTo>
                  <a:lnTo>
                    <a:pt x="78" y="129"/>
                  </a:lnTo>
                  <a:lnTo>
                    <a:pt x="78" y="130"/>
                  </a:lnTo>
                  <a:lnTo>
                    <a:pt x="78" y="130"/>
                  </a:lnTo>
                  <a:lnTo>
                    <a:pt x="79" y="130"/>
                  </a:lnTo>
                  <a:lnTo>
                    <a:pt x="79" y="131"/>
                  </a:lnTo>
                  <a:lnTo>
                    <a:pt x="79" y="131"/>
                  </a:lnTo>
                  <a:lnTo>
                    <a:pt x="80" y="132"/>
                  </a:lnTo>
                  <a:lnTo>
                    <a:pt x="80" y="133"/>
                  </a:lnTo>
                  <a:lnTo>
                    <a:pt x="80" y="134"/>
                  </a:lnTo>
                  <a:lnTo>
                    <a:pt x="81" y="135"/>
                  </a:lnTo>
                  <a:lnTo>
                    <a:pt x="81" y="135"/>
                  </a:lnTo>
                  <a:lnTo>
                    <a:pt x="81" y="136"/>
                  </a:lnTo>
                  <a:lnTo>
                    <a:pt x="82" y="137"/>
                  </a:lnTo>
                  <a:lnTo>
                    <a:pt x="83" y="137"/>
                  </a:lnTo>
                  <a:lnTo>
                    <a:pt x="83" y="137"/>
                  </a:lnTo>
                  <a:lnTo>
                    <a:pt x="83" y="138"/>
                  </a:lnTo>
                  <a:lnTo>
                    <a:pt x="84" y="138"/>
                  </a:lnTo>
                  <a:lnTo>
                    <a:pt x="85" y="138"/>
                  </a:lnTo>
                  <a:lnTo>
                    <a:pt x="85" y="138"/>
                  </a:lnTo>
                  <a:lnTo>
                    <a:pt x="86" y="138"/>
                  </a:lnTo>
                  <a:lnTo>
                    <a:pt x="87" y="138"/>
                  </a:lnTo>
                  <a:lnTo>
                    <a:pt x="88" y="138"/>
                  </a:lnTo>
                  <a:lnTo>
                    <a:pt x="89" y="138"/>
                  </a:lnTo>
                  <a:lnTo>
                    <a:pt x="90" y="138"/>
                  </a:lnTo>
                  <a:lnTo>
                    <a:pt x="91" y="137"/>
                  </a:lnTo>
                  <a:lnTo>
                    <a:pt x="92" y="137"/>
                  </a:lnTo>
                  <a:lnTo>
                    <a:pt x="93" y="136"/>
                  </a:lnTo>
                  <a:lnTo>
                    <a:pt x="93" y="136"/>
                  </a:lnTo>
                  <a:lnTo>
                    <a:pt x="96" y="135"/>
                  </a:lnTo>
                  <a:lnTo>
                    <a:pt x="96" y="134"/>
                  </a:lnTo>
                  <a:lnTo>
                    <a:pt x="96" y="134"/>
                  </a:lnTo>
                  <a:lnTo>
                    <a:pt x="97" y="133"/>
                  </a:lnTo>
                  <a:lnTo>
                    <a:pt x="97" y="132"/>
                  </a:lnTo>
                  <a:lnTo>
                    <a:pt x="98" y="131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98" y="129"/>
                  </a:lnTo>
                  <a:lnTo>
                    <a:pt x="97" y="126"/>
                  </a:lnTo>
                  <a:lnTo>
                    <a:pt x="97" y="125"/>
                  </a:lnTo>
                  <a:lnTo>
                    <a:pt x="97" y="124"/>
                  </a:lnTo>
                  <a:lnTo>
                    <a:pt x="97" y="123"/>
                  </a:lnTo>
                  <a:lnTo>
                    <a:pt x="97" y="122"/>
                  </a:lnTo>
                  <a:lnTo>
                    <a:pt x="97" y="122"/>
                  </a:lnTo>
                  <a:lnTo>
                    <a:pt x="98" y="121"/>
                  </a:lnTo>
                  <a:lnTo>
                    <a:pt x="98" y="120"/>
                  </a:lnTo>
                  <a:lnTo>
                    <a:pt x="99" y="119"/>
                  </a:lnTo>
                  <a:lnTo>
                    <a:pt x="100" y="119"/>
                  </a:lnTo>
                  <a:lnTo>
                    <a:pt x="102" y="117"/>
                  </a:lnTo>
                  <a:lnTo>
                    <a:pt x="104" y="115"/>
                  </a:lnTo>
                  <a:lnTo>
                    <a:pt x="106" y="113"/>
                  </a:lnTo>
                  <a:lnTo>
                    <a:pt x="107" y="113"/>
                  </a:lnTo>
                  <a:lnTo>
                    <a:pt x="107" y="112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10" y="111"/>
                  </a:lnTo>
                  <a:lnTo>
                    <a:pt x="111" y="111"/>
                  </a:lnTo>
                  <a:lnTo>
                    <a:pt x="112" y="112"/>
                  </a:lnTo>
                  <a:lnTo>
                    <a:pt x="112" y="112"/>
                  </a:lnTo>
                  <a:lnTo>
                    <a:pt x="112" y="113"/>
                  </a:lnTo>
                  <a:lnTo>
                    <a:pt x="114" y="115"/>
                  </a:lnTo>
                  <a:lnTo>
                    <a:pt x="115" y="117"/>
                  </a:lnTo>
                  <a:lnTo>
                    <a:pt x="116" y="118"/>
                  </a:lnTo>
                  <a:lnTo>
                    <a:pt x="117" y="118"/>
                  </a:lnTo>
                  <a:lnTo>
                    <a:pt x="118" y="119"/>
                  </a:lnTo>
                  <a:lnTo>
                    <a:pt x="118" y="120"/>
                  </a:lnTo>
                  <a:lnTo>
                    <a:pt x="120" y="120"/>
                  </a:lnTo>
                  <a:lnTo>
                    <a:pt x="121" y="121"/>
                  </a:lnTo>
                  <a:lnTo>
                    <a:pt x="122" y="121"/>
                  </a:lnTo>
                  <a:lnTo>
                    <a:pt x="123" y="122"/>
                  </a:lnTo>
                  <a:lnTo>
                    <a:pt x="124" y="122"/>
                  </a:lnTo>
                  <a:lnTo>
                    <a:pt x="125" y="122"/>
                  </a:lnTo>
                  <a:lnTo>
                    <a:pt x="125" y="122"/>
                  </a:lnTo>
                  <a:lnTo>
                    <a:pt x="126" y="122"/>
                  </a:lnTo>
                  <a:lnTo>
                    <a:pt x="127" y="121"/>
                  </a:lnTo>
                  <a:lnTo>
                    <a:pt x="130" y="121"/>
                  </a:lnTo>
                  <a:lnTo>
                    <a:pt x="131" y="120"/>
                  </a:lnTo>
                  <a:lnTo>
                    <a:pt x="132" y="120"/>
                  </a:lnTo>
                  <a:lnTo>
                    <a:pt x="133" y="120"/>
                  </a:lnTo>
                  <a:lnTo>
                    <a:pt x="134" y="120"/>
                  </a:lnTo>
                  <a:lnTo>
                    <a:pt x="136" y="120"/>
                  </a:lnTo>
                  <a:lnTo>
                    <a:pt x="137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40" y="121"/>
                  </a:lnTo>
                  <a:lnTo>
                    <a:pt x="140" y="121"/>
                  </a:lnTo>
                  <a:lnTo>
                    <a:pt x="142" y="121"/>
                  </a:lnTo>
                  <a:lnTo>
                    <a:pt x="143" y="121"/>
                  </a:lnTo>
                  <a:lnTo>
                    <a:pt x="144" y="121"/>
                  </a:lnTo>
                  <a:lnTo>
                    <a:pt x="146" y="120"/>
                  </a:lnTo>
                  <a:lnTo>
                    <a:pt x="147" y="120"/>
                  </a:lnTo>
                  <a:lnTo>
                    <a:pt x="148" y="119"/>
                  </a:lnTo>
                  <a:lnTo>
                    <a:pt x="149" y="119"/>
                  </a:lnTo>
                  <a:lnTo>
                    <a:pt x="149" y="118"/>
                  </a:lnTo>
                  <a:lnTo>
                    <a:pt x="150" y="118"/>
                  </a:lnTo>
                  <a:lnTo>
                    <a:pt x="150" y="118"/>
                  </a:lnTo>
                  <a:lnTo>
                    <a:pt x="150" y="117"/>
                  </a:lnTo>
                  <a:lnTo>
                    <a:pt x="151" y="117"/>
                  </a:lnTo>
                  <a:lnTo>
                    <a:pt x="151" y="116"/>
                  </a:lnTo>
                  <a:lnTo>
                    <a:pt x="151" y="115"/>
                  </a:lnTo>
                  <a:lnTo>
                    <a:pt x="150" y="114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49" y="112"/>
                  </a:lnTo>
                  <a:lnTo>
                    <a:pt x="149" y="111"/>
                  </a:lnTo>
                  <a:lnTo>
                    <a:pt x="147" y="109"/>
                  </a:lnTo>
                  <a:lnTo>
                    <a:pt x="145" y="105"/>
                  </a:lnTo>
                  <a:lnTo>
                    <a:pt x="143" y="103"/>
                  </a:lnTo>
                  <a:lnTo>
                    <a:pt x="143" y="103"/>
                  </a:lnTo>
                  <a:lnTo>
                    <a:pt x="141" y="99"/>
                  </a:lnTo>
                  <a:lnTo>
                    <a:pt x="140" y="96"/>
                  </a:lnTo>
                  <a:lnTo>
                    <a:pt x="138" y="93"/>
                  </a:lnTo>
                  <a:lnTo>
                    <a:pt x="138" y="93"/>
                  </a:lnTo>
                  <a:lnTo>
                    <a:pt x="138" y="92"/>
                  </a:lnTo>
                  <a:lnTo>
                    <a:pt x="138" y="91"/>
                  </a:lnTo>
                  <a:lnTo>
                    <a:pt x="137" y="90"/>
                  </a:lnTo>
                  <a:lnTo>
                    <a:pt x="138" y="89"/>
                  </a:lnTo>
                  <a:lnTo>
                    <a:pt x="138" y="88"/>
                  </a:lnTo>
                  <a:lnTo>
                    <a:pt x="138" y="86"/>
                  </a:lnTo>
                  <a:lnTo>
                    <a:pt x="139" y="84"/>
                  </a:lnTo>
                  <a:lnTo>
                    <a:pt x="140" y="80"/>
                  </a:lnTo>
                  <a:lnTo>
                    <a:pt x="140" y="79"/>
                  </a:lnTo>
                  <a:lnTo>
                    <a:pt x="141" y="78"/>
                  </a:lnTo>
                  <a:lnTo>
                    <a:pt x="141" y="78"/>
                  </a:lnTo>
                  <a:lnTo>
                    <a:pt x="141" y="77"/>
                  </a:lnTo>
                  <a:lnTo>
                    <a:pt x="140" y="76"/>
                  </a:lnTo>
                  <a:lnTo>
                    <a:pt x="140" y="76"/>
                  </a:lnTo>
                  <a:lnTo>
                    <a:pt x="140" y="75"/>
                  </a:lnTo>
                  <a:lnTo>
                    <a:pt x="140" y="74"/>
                  </a:lnTo>
                  <a:lnTo>
                    <a:pt x="138" y="72"/>
                  </a:lnTo>
                  <a:lnTo>
                    <a:pt x="136" y="67"/>
                  </a:lnTo>
                  <a:lnTo>
                    <a:pt x="136" y="67"/>
                  </a:lnTo>
                  <a:lnTo>
                    <a:pt x="136" y="66"/>
                  </a:lnTo>
                  <a:lnTo>
                    <a:pt x="136" y="65"/>
                  </a:lnTo>
                  <a:lnTo>
                    <a:pt x="136" y="64"/>
                  </a:lnTo>
                  <a:lnTo>
                    <a:pt x="136" y="63"/>
                  </a:lnTo>
                  <a:lnTo>
                    <a:pt x="136" y="60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5" y="57"/>
                  </a:lnTo>
                  <a:lnTo>
                    <a:pt x="134" y="54"/>
                  </a:lnTo>
                  <a:lnTo>
                    <a:pt x="134" y="51"/>
                  </a:lnTo>
                  <a:lnTo>
                    <a:pt x="133" y="48"/>
                  </a:lnTo>
                  <a:lnTo>
                    <a:pt x="133" y="46"/>
                  </a:lnTo>
                  <a:lnTo>
                    <a:pt x="133" y="45"/>
                  </a:lnTo>
                  <a:lnTo>
                    <a:pt x="132" y="43"/>
                  </a:lnTo>
                  <a:lnTo>
                    <a:pt x="132" y="36"/>
                  </a:lnTo>
                  <a:lnTo>
                    <a:pt x="132" y="31"/>
                  </a:lnTo>
                  <a:lnTo>
                    <a:pt x="132" y="30"/>
                  </a:lnTo>
                  <a:lnTo>
                    <a:pt x="132" y="29"/>
                  </a:lnTo>
                  <a:lnTo>
                    <a:pt x="133" y="25"/>
                  </a:lnTo>
                  <a:lnTo>
                    <a:pt x="133" y="23"/>
                  </a:lnTo>
                  <a:lnTo>
                    <a:pt x="133" y="22"/>
                  </a:lnTo>
                  <a:lnTo>
                    <a:pt x="133" y="20"/>
                  </a:lnTo>
                  <a:lnTo>
                    <a:pt x="132" y="20"/>
                  </a:lnTo>
                  <a:lnTo>
                    <a:pt x="132" y="19"/>
                  </a:lnTo>
                  <a:lnTo>
                    <a:pt x="132" y="18"/>
                  </a:lnTo>
                  <a:lnTo>
                    <a:pt x="131" y="16"/>
                  </a:lnTo>
                  <a:lnTo>
                    <a:pt x="130" y="15"/>
                  </a:lnTo>
                  <a:lnTo>
                    <a:pt x="128" y="11"/>
                  </a:lnTo>
                  <a:lnTo>
                    <a:pt x="127" y="10"/>
                  </a:lnTo>
                  <a:lnTo>
                    <a:pt x="126" y="8"/>
                  </a:lnTo>
                  <a:lnTo>
                    <a:pt x="125" y="6"/>
                  </a:lnTo>
                  <a:lnTo>
                    <a:pt x="124" y="5"/>
                  </a:lnTo>
                  <a:lnTo>
                    <a:pt x="124" y="4"/>
                  </a:lnTo>
                  <a:lnTo>
                    <a:pt x="124" y="3"/>
                  </a:lnTo>
                  <a:lnTo>
                    <a:pt x="123" y="2"/>
                  </a:lnTo>
                  <a:lnTo>
                    <a:pt x="123" y="1"/>
                  </a:lnTo>
                  <a:lnTo>
                    <a:pt x="123" y="1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27" y="1"/>
                  </a:lnTo>
                  <a:close/>
                </a:path>
              </a:pathLst>
            </a:custGeom>
            <a:solidFill>
              <a:srgbClr val="E6A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 58">
              <a:extLst>
                <a:ext uri="{FF2B5EF4-FFF2-40B4-BE49-F238E27FC236}">
                  <a16:creationId xmlns:a16="http://schemas.microsoft.com/office/drawing/2014/main" id="{C2148246-71C8-16CA-44C2-3C29F3CD6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994"/>
              <a:ext cx="436" cy="338"/>
            </a:xfrm>
            <a:custGeom>
              <a:avLst/>
              <a:gdLst>
                <a:gd name="T0" fmla="*/ 164 w 436"/>
                <a:gd name="T1" fmla="*/ 11 h 338"/>
                <a:gd name="T2" fmla="*/ 194 w 436"/>
                <a:gd name="T3" fmla="*/ 15 h 338"/>
                <a:gd name="T4" fmla="*/ 211 w 436"/>
                <a:gd name="T5" fmla="*/ 23 h 338"/>
                <a:gd name="T6" fmla="*/ 225 w 436"/>
                <a:gd name="T7" fmla="*/ 47 h 338"/>
                <a:gd name="T8" fmla="*/ 252 w 436"/>
                <a:gd name="T9" fmla="*/ 41 h 338"/>
                <a:gd name="T10" fmla="*/ 263 w 436"/>
                <a:gd name="T11" fmla="*/ 65 h 338"/>
                <a:gd name="T12" fmla="*/ 263 w 436"/>
                <a:gd name="T13" fmla="*/ 78 h 338"/>
                <a:gd name="T14" fmla="*/ 278 w 436"/>
                <a:gd name="T15" fmla="*/ 71 h 338"/>
                <a:gd name="T16" fmla="*/ 298 w 436"/>
                <a:gd name="T17" fmla="*/ 54 h 338"/>
                <a:gd name="T18" fmla="*/ 319 w 436"/>
                <a:gd name="T19" fmla="*/ 65 h 338"/>
                <a:gd name="T20" fmla="*/ 330 w 436"/>
                <a:gd name="T21" fmla="*/ 51 h 338"/>
                <a:gd name="T22" fmla="*/ 350 w 436"/>
                <a:gd name="T23" fmla="*/ 51 h 338"/>
                <a:gd name="T24" fmla="*/ 378 w 436"/>
                <a:gd name="T25" fmla="*/ 70 h 338"/>
                <a:gd name="T26" fmla="*/ 386 w 436"/>
                <a:gd name="T27" fmla="*/ 92 h 338"/>
                <a:gd name="T28" fmla="*/ 375 w 436"/>
                <a:gd name="T29" fmla="*/ 116 h 338"/>
                <a:gd name="T30" fmla="*/ 356 w 436"/>
                <a:gd name="T31" fmla="*/ 126 h 338"/>
                <a:gd name="T32" fmla="*/ 338 w 436"/>
                <a:gd name="T33" fmla="*/ 138 h 338"/>
                <a:gd name="T34" fmla="*/ 328 w 436"/>
                <a:gd name="T35" fmla="*/ 151 h 338"/>
                <a:gd name="T36" fmla="*/ 322 w 436"/>
                <a:gd name="T37" fmla="*/ 159 h 338"/>
                <a:gd name="T38" fmla="*/ 335 w 436"/>
                <a:gd name="T39" fmla="*/ 172 h 338"/>
                <a:gd name="T40" fmla="*/ 349 w 436"/>
                <a:gd name="T41" fmla="*/ 184 h 338"/>
                <a:gd name="T42" fmla="*/ 368 w 436"/>
                <a:gd name="T43" fmla="*/ 184 h 338"/>
                <a:gd name="T44" fmla="*/ 381 w 436"/>
                <a:gd name="T45" fmla="*/ 207 h 338"/>
                <a:gd name="T46" fmla="*/ 406 w 436"/>
                <a:gd name="T47" fmla="*/ 230 h 338"/>
                <a:gd name="T48" fmla="*/ 428 w 436"/>
                <a:gd name="T49" fmla="*/ 255 h 338"/>
                <a:gd name="T50" fmla="*/ 436 w 436"/>
                <a:gd name="T51" fmla="*/ 288 h 338"/>
                <a:gd name="T52" fmla="*/ 417 w 436"/>
                <a:gd name="T53" fmla="*/ 283 h 338"/>
                <a:gd name="T54" fmla="*/ 407 w 436"/>
                <a:gd name="T55" fmla="*/ 285 h 338"/>
                <a:gd name="T56" fmla="*/ 384 w 436"/>
                <a:gd name="T57" fmla="*/ 303 h 338"/>
                <a:gd name="T58" fmla="*/ 367 w 436"/>
                <a:gd name="T59" fmla="*/ 320 h 338"/>
                <a:gd name="T60" fmla="*/ 360 w 436"/>
                <a:gd name="T61" fmla="*/ 331 h 338"/>
                <a:gd name="T62" fmla="*/ 350 w 436"/>
                <a:gd name="T63" fmla="*/ 335 h 338"/>
                <a:gd name="T64" fmla="*/ 329 w 436"/>
                <a:gd name="T65" fmla="*/ 337 h 338"/>
                <a:gd name="T66" fmla="*/ 305 w 436"/>
                <a:gd name="T67" fmla="*/ 327 h 338"/>
                <a:gd name="T68" fmla="*/ 282 w 436"/>
                <a:gd name="T69" fmla="*/ 310 h 338"/>
                <a:gd name="T70" fmla="*/ 266 w 436"/>
                <a:gd name="T71" fmla="*/ 296 h 338"/>
                <a:gd name="T72" fmla="*/ 243 w 436"/>
                <a:gd name="T73" fmla="*/ 283 h 338"/>
                <a:gd name="T74" fmla="*/ 222 w 436"/>
                <a:gd name="T75" fmla="*/ 293 h 338"/>
                <a:gd name="T76" fmla="*/ 207 w 436"/>
                <a:gd name="T77" fmla="*/ 294 h 338"/>
                <a:gd name="T78" fmla="*/ 198 w 436"/>
                <a:gd name="T79" fmla="*/ 279 h 338"/>
                <a:gd name="T80" fmla="*/ 184 w 436"/>
                <a:gd name="T81" fmla="*/ 294 h 338"/>
                <a:gd name="T82" fmla="*/ 161 w 436"/>
                <a:gd name="T83" fmla="*/ 298 h 338"/>
                <a:gd name="T84" fmla="*/ 141 w 436"/>
                <a:gd name="T85" fmla="*/ 296 h 338"/>
                <a:gd name="T86" fmla="*/ 125 w 436"/>
                <a:gd name="T87" fmla="*/ 297 h 338"/>
                <a:gd name="T88" fmla="*/ 111 w 436"/>
                <a:gd name="T89" fmla="*/ 310 h 338"/>
                <a:gd name="T90" fmla="*/ 97 w 436"/>
                <a:gd name="T91" fmla="*/ 310 h 338"/>
                <a:gd name="T92" fmla="*/ 91 w 436"/>
                <a:gd name="T93" fmla="*/ 298 h 338"/>
                <a:gd name="T94" fmla="*/ 75 w 436"/>
                <a:gd name="T95" fmla="*/ 289 h 338"/>
                <a:gd name="T96" fmla="*/ 83 w 436"/>
                <a:gd name="T97" fmla="*/ 270 h 338"/>
                <a:gd name="T98" fmla="*/ 78 w 436"/>
                <a:gd name="T99" fmla="*/ 251 h 338"/>
                <a:gd name="T100" fmla="*/ 75 w 436"/>
                <a:gd name="T101" fmla="*/ 228 h 338"/>
                <a:gd name="T102" fmla="*/ 56 w 436"/>
                <a:gd name="T103" fmla="*/ 228 h 338"/>
                <a:gd name="T104" fmla="*/ 31 w 436"/>
                <a:gd name="T105" fmla="*/ 224 h 338"/>
                <a:gd name="T106" fmla="*/ 24 w 436"/>
                <a:gd name="T107" fmla="*/ 209 h 338"/>
                <a:gd name="T108" fmla="*/ 9 w 436"/>
                <a:gd name="T109" fmla="*/ 201 h 338"/>
                <a:gd name="T110" fmla="*/ 0 w 436"/>
                <a:gd name="T111" fmla="*/ 187 h 338"/>
                <a:gd name="T112" fmla="*/ 9 w 436"/>
                <a:gd name="T113" fmla="*/ 174 h 338"/>
                <a:gd name="T114" fmla="*/ 8 w 436"/>
                <a:gd name="T115" fmla="*/ 152 h 338"/>
                <a:gd name="T116" fmla="*/ 3 w 436"/>
                <a:gd name="T117" fmla="*/ 128 h 338"/>
                <a:gd name="T118" fmla="*/ 21 w 436"/>
                <a:gd name="T119" fmla="*/ 126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6" h="338">
                  <a:moveTo>
                    <a:pt x="127" y="0"/>
                  </a:moveTo>
                  <a:lnTo>
                    <a:pt x="129" y="0"/>
                  </a:lnTo>
                  <a:lnTo>
                    <a:pt x="135" y="0"/>
                  </a:lnTo>
                  <a:lnTo>
                    <a:pt x="137" y="1"/>
                  </a:lnTo>
                  <a:lnTo>
                    <a:pt x="139" y="1"/>
                  </a:lnTo>
                  <a:lnTo>
                    <a:pt x="141" y="1"/>
                  </a:lnTo>
                  <a:lnTo>
                    <a:pt x="143" y="2"/>
                  </a:lnTo>
                  <a:lnTo>
                    <a:pt x="144" y="2"/>
                  </a:lnTo>
                  <a:lnTo>
                    <a:pt x="145" y="3"/>
                  </a:lnTo>
                  <a:lnTo>
                    <a:pt x="146" y="3"/>
                  </a:lnTo>
                  <a:lnTo>
                    <a:pt x="150" y="5"/>
                  </a:lnTo>
                  <a:lnTo>
                    <a:pt x="152" y="6"/>
                  </a:lnTo>
                  <a:lnTo>
                    <a:pt x="155" y="8"/>
                  </a:lnTo>
                  <a:lnTo>
                    <a:pt x="160" y="9"/>
                  </a:lnTo>
                  <a:lnTo>
                    <a:pt x="161" y="10"/>
                  </a:lnTo>
                  <a:lnTo>
                    <a:pt x="163" y="11"/>
                  </a:lnTo>
                  <a:lnTo>
                    <a:pt x="164" y="11"/>
                  </a:lnTo>
                  <a:lnTo>
                    <a:pt x="165" y="12"/>
                  </a:lnTo>
                  <a:lnTo>
                    <a:pt x="166" y="13"/>
                  </a:lnTo>
                  <a:lnTo>
                    <a:pt x="170" y="15"/>
                  </a:lnTo>
                  <a:lnTo>
                    <a:pt x="170" y="16"/>
                  </a:lnTo>
                  <a:lnTo>
                    <a:pt x="171" y="16"/>
                  </a:lnTo>
                  <a:lnTo>
                    <a:pt x="173" y="17"/>
                  </a:lnTo>
                  <a:lnTo>
                    <a:pt x="174" y="17"/>
                  </a:lnTo>
                  <a:lnTo>
                    <a:pt x="175" y="17"/>
                  </a:lnTo>
                  <a:lnTo>
                    <a:pt x="175" y="18"/>
                  </a:lnTo>
                  <a:lnTo>
                    <a:pt x="176" y="18"/>
                  </a:lnTo>
                  <a:lnTo>
                    <a:pt x="178" y="18"/>
                  </a:lnTo>
                  <a:lnTo>
                    <a:pt x="181" y="18"/>
                  </a:lnTo>
                  <a:lnTo>
                    <a:pt x="183" y="18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87" y="17"/>
                  </a:lnTo>
                  <a:lnTo>
                    <a:pt x="194" y="15"/>
                  </a:lnTo>
                  <a:lnTo>
                    <a:pt x="196" y="15"/>
                  </a:lnTo>
                  <a:lnTo>
                    <a:pt x="199" y="13"/>
                  </a:lnTo>
                  <a:lnTo>
                    <a:pt x="200" y="13"/>
                  </a:lnTo>
                  <a:lnTo>
                    <a:pt x="201" y="13"/>
                  </a:lnTo>
                  <a:lnTo>
                    <a:pt x="203" y="12"/>
                  </a:lnTo>
                  <a:lnTo>
                    <a:pt x="204" y="12"/>
                  </a:lnTo>
                  <a:lnTo>
                    <a:pt x="204" y="13"/>
                  </a:lnTo>
                  <a:lnTo>
                    <a:pt x="205" y="13"/>
                  </a:lnTo>
                  <a:lnTo>
                    <a:pt x="206" y="13"/>
                  </a:lnTo>
                  <a:lnTo>
                    <a:pt x="206" y="14"/>
                  </a:lnTo>
                  <a:lnTo>
                    <a:pt x="207" y="14"/>
                  </a:lnTo>
                  <a:lnTo>
                    <a:pt x="208" y="15"/>
                  </a:lnTo>
                  <a:lnTo>
                    <a:pt x="209" y="16"/>
                  </a:lnTo>
                  <a:lnTo>
                    <a:pt x="209" y="17"/>
                  </a:lnTo>
                  <a:lnTo>
                    <a:pt x="210" y="18"/>
                  </a:lnTo>
                  <a:lnTo>
                    <a:pt x="210" y="19"/>
                  </a:lnTo>
                  <a:lnTo>
                    <a:pt x="211" y="23"/>
                  </a:lnTo>
                  <a:lnTo>
                    <a:pt x="212" y="25"/>
                  </a:lnTo>
                  <a:lnTo>
                    <a:pt x="213" y="27"/>
                  </a:lnTo>
                  <a:lnTo>
                    <a:pt x="216" y="33"/>
                  </a:lnTo>
                  <a:lnTo>
                    <a:pt x="217" y="37"/>
                  </a:lnTo>
                  <a:lnTo>
                    <a:pt x="219" y="40"/>
                  </a:lnTo>
                  <a:lnTo>
                    <a:pt x="219" y="42"/>
                  </a:lnTo>
                  <a:lnTo>
                    <a:pt x="220" y="43"/>
                  </a:lnTo>
                  <a:lnTo>
                    <a:pt x="221" y="44"/>
                  </a:lnTo>
                  <a:lnTo>
                    <a:pt x="221" y="45"/>
                  </a:lnTo>
                  <a:lnTo>
                    <a:pt x="222" y="45"/>
                  </a:lnTo>
                  <a:lnTo>
                    <a:pt x="222" y="45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4" y="47"/>
                  </a:lnTo>
                  <a:lnTo>
                    <a:pt x="225" y="47"/>
                  </a:lnTo>
                  <a:lnTo>
                    <a:pt x="225" y="47"/>
                  </a:lnTo>
                  <a:lnTo>
                    <a:pt x="226" y="47"/>
                  </a:lnTo>
                  <a:lnTo>
                    <a:pt x="227" y="47"/>
                  </a:lnTo>
                  <a:lnTo>
                    <a:pt x="228" y="46"/>
                  </a:lnTo>
                  <a:lnTo>
                    <a:pt x="229" y="46"/>
                  </a:lnTo>
                  <a:lnTo>
                    <a:pt x="231" y="45"/>
                  </a:lnTo>
                  <a:lnTo>
                    <a:pt x="236" y="44"/>
                  </a:lnTo>
                  <a:lnTo>
                    <a:pt x="238" y="43"/>
                  </a:lnTo>
                  <a:lnTo>
                    <a:pt x="241" y="42"/>
                  </a:lnTo>
                  <a:lnTo>
                    <a:pt x="242" y="42"/>
                  </a:lnTo>
                  <a:lnTo>
                    <a:pt x="244" y="41"/>
                  </a:lnTo>
                  <a:lnTo>
                    <a:pt x="245" y="41"/>
                  </a:lnTo>
                  <a:lnTo>
                    <a:pt x="247" y="41"/>
                  </a:lnTo>
                  <a:lnTo>
                    <a:pt x="247" y="40"/>
                  </a:lnTo>
                  <a:lnTo>
                    <a:pt x="249" y="40"/>
                  </a:lnTo>
                  <a:lnTo>
                    <a:pt x="250" y="40"/>
                  </a:lnTo>
                  <a:lnTo>
                    <a:pt x="251" y="41"/>
                  </a:lnTo>
                  <a:lnTo>
                    <a:pt x="252" y="41"/>
                  </a:lnTo>
                  <a:lnTo>
                    <a:pt x="253" y="42"/>
                  </a:lnTo>
                  <a:lnTo>
                    <a:pt x="254" y="42"/>
                  </a:lnTo>
                  <a:lnTo>
                    <a:pt x="255" y="43"/>
                  </a:lnTo>
                  <a:lnTo>
                    <a:pt x="256" y="44"/>
                  </a:lnTo>
                  <a:lnTo>
                    <a:pt x="257" y="44"/>
                  </a:lnTo>
                  <a:lnTo>
                    <a:pt x="257" y="45"/>
                  </a:lnTo>
                  <a:lnTo>
                    <a:pt x="258" y="46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60" y="49"/>
                  </a:lnTo>
                  <a:lnTo>
                    <a:pt x="260" y="51"/>
                  </a:lnTo>
                  <a:lnTo>
                    <a:pt x="261" y="53"/>
                  </a:lnTo>
                  <a:lnTo>
                    <a:pt x="262" y="55"/>
                  </a:lnTo>
                  <a:lnTo>
                    <a:pt x="262" y="57"/>
                  </a:lnTo>
                  <a:lnTo>
                    <a:pt x="262" y="60"/>
                  </a:lnTo>
                  <a:lnTo>
                    <a:pt x="263" y="64"/>
                  </a:lnTo>
                  <a:lnTo>
                    <a:pt x="263" y="65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3" y="67"/>
                  </a:lnTo>
                  <a:lnTo>
                    <a:pt x="263" y="68"/>
                  </a:lnTo>
                  <a:lnTo>
                    <a:pt x="263" y="68"/>
                  </a:lnTo>
                  <a:lnTo>
                    <a:pt x="263" y="69"/>
                  </a:lnTo>
                  <a:lnTo>
                    <a:pt x="261" y="72"/>
                  </a:lnTo>
                  <a:lnTo>
                    <a:pt x="261" y="73"/>
                  </a:lnTo>
                  <a:lnTo>
                    <a:pt x="261" y="73"/>
                  </a:lnTo>
                  <a:lnTo>
                    <a:pt x="260" y="74"/>
                  </a:lnTo>
                  <a:lnTo>
                    <a:pt x="260" y="75"/>
                  </a:lnTo>
                  <a:lnTo>
                    <a:pt x="261" y="75"/>
                  </a:lnTo>
                  <a:lnTo>
                    <a:pt x="261" y="76"/>
                  </a:lnTo>
                  <a:lnTo>
                    <a:pt x="261" y="76"/>
                  </a:lnTo>
                  <a:lnTo>
                    <a:pt x="262" y="77"/>
                  </a:lnTo>
                  <a:lnTo>
                    <a:pt x="262" y="78"/>
                  </a:lnTo>
                  <a:lnTo>
                    <a:pt x="263" y="78"/>
                  </a:lnTo>
                  <a:lnTo>
                    <a:pt x="264" y="78"/>
                  </a:lnTo>
                  <a:lnTo>
                    <a:pt x="265" y="79"/>
                  </a:lnTo>
                  <a:lnTo>
                    <a:pt x="266" y="79"/>
                  </a:lnTo>
                  <a:lnTo>
                    <a:pt x="267" y="79"/>
                  </a:lnTo>
                  <a:lnTo>
                    <a:pt x="267" y="79"/>
                  </a:lnTo>
                  <a:lnTo>
                    <a:pt x="268" y="79"/>
                  </a:lnTo>
                  <a:lnTo>
                    <a:pt x="269" y="78"/>
                  </a:lnTo>
                  <a:lnTo>
                    <a:pt x="270" y="78"/>
                  </a:lnTo>
                  <a:lnTo>
                    <a:pt x="272" y="77"/>
                  </a:lnTo>
                  <a:lnTo>
                    <a:pt x="274" y="75"/>
                  </a:lnTo>
                  <a:lnTo>
                    <a:pt x="275" y="75"/>
                  </a:lnTo>
                  <a:lnTo>
                    <a:pt x="276" y="74"/>
                  </a:lnTo>
                  <a:lnTo>
                    <a:pt x="276" y="74"/>
                  </a:lnTo>
                  <a:lnTo>
                    <a:pt x="276" y="73"/>
                  </a:lnTo>
                  <a:lnTo>
                    <a:pt x="277" y="73"/>
                  </a:lnTo>
                  <a:lnTo>
                    <a:pt x="277" y="72"/>
                  </a:lnTo>
                  <a:lnTo>
                    <a:pt x="278" y="71"/>
                  </a:lnTo>
                  <a:lnTo>
                    <a:pt x="280" y="67"/>
                  </a:lnTo>
                  <a:lnTo>
                    <a:pt x="281" y="64"/>
                  </a:lnTo>
                  <a:lnTo>
                    <a:pt x="282" y="63"/>
                  </a:lnTo>
                  <a:lnTo>
                    <a:pt x="283" y="61"/>
                  </a:lnTo>
                  <a:lnTo>
                    <a:pt x="285" y="60"/>
                  </a:lnTo>
                  <a:lnTo>
                    <a:pt x="286" y="58"/>
                  </a:lnTo>
                  <a:lnTo>
                    <a:pt x="287" y="57"/>
                  </a:lnTo>
                  <a:lnTo>
                    <a:pt x="289" y="56"/>
                  </a:lnTo>
                  <a:lnTo>
                    <a:pt x="290" y="55"/>
                  </a:lnTo>
                  <a:lnTo>
                    <a:pt x="291" y="54"/>
                  </a:lnTo>
                  <a:lnTo>
                    <a:pt x="291" y="54"/>
                  </a:lnTo>
                  <a:lnTo>
                    <a:pt x="292" y="54"/>
                  </a:lnTo>
                  <a:lnTo>
                    <a:pt x="293" y="53"/>
                  </a:lnTo>
                  <a:lnTo>
                    <a:pt x="295" y="53"/>
                  </a:lnTo>
                  <a:lnTo>
                    <a:pt x="296" y="54"/>
                  </a:lnTo>
                  <a:lnTo>
                    <a:pt x="297" y="54"/>
                  </a:lnTo>
                  <a:lnTo>
                    <a:pt x="298" y="54"/>
                  </a:lnTo>
                  <a:lnTo>
                    <a:pt x="299" y="55"/>
                  </a:lnTo>
                  <a:lnTo>
                    <a:pt x="304" y="57"/>
                  </a:lnTo>
                  <a:lnTo>
                    <a:pt x="305" y="57"/>
                  </a:lnTo>
                  <a:lnTo>
                    <a:pt x="306" y="58"/>
                  </a:lnTo>
                  <a:lnTo>
                    <a:pt x="307" y="59"/>
                  </a:lnTo>
                  <a:lnTo>
                    <a:pt x="309" y="60"/>
                  </a:lnTo>
                  <a:lnTo>
                    <a:pt x="310" y="61"/>
                  </a:lnTo>
                  <a:lnTo>
                    <a:pt x="313" y="64"/>
                  </a:lnTo>
                  <a:lnTo>
                    <a:pt x="314" y="64"/>
                  </a:lnTo>
                  <a:lnTo>
                    <a:pt x="315" y="65"/>
                  </a:lnTo>
                  <a:lnTo>
                    <a:pt x="315" y="65"/>
                  </a:lnTo>
                  <a:lnTo>
                    <a:pt x="316" y="65"/>
                  </a:lnTo>
                  <a:lnTo>
                    <a:pt x="316" y="65"/>
                  </a:lnTo>
                  <a:lnTo>
                    <a:pt x="317" y="65"/>
                  </a:lnTo>
                  <a:lnTo>
                    <a:pt x="318" y="65"/>
                  </a:lnTo>
                  <a:lnTo>
                    <a:pt x="319" y="65"/>
                  </a:lnTo>
                  <a:lnTo>
                    <a:pt x="319" y="65"/>
                  </a:lnTo>
                  <a:lnTo>
                    <a:pt x="320" y="65"/>
                  </a:lnTo>
                  <a:lnTo>
                    <a:pt x="321" y="65"/>
                  </a:lnTo>
                  <a:lnTo>
                    <a:pt x="322" y="64"/>
                  </a:lnTo>
                  <a:lnTo>
                    <a:pt x="322" y="64"/>
                  </a:lnTo>
                  <a:lnTo>
                    <a:pt x="323" y="63"/>
                  </a:lnTo>
                  <a:lnTo>
                    <a:pt x="323" y="63"/>
                  </a:lnTo>
                  <a:lnTo>
                    <a:pt x="324" y="62"/>
                  </a:lnTo>
                  <a:lnTo>
                    <a:pt x="324" y="62"/>
                  </a:lnTo>
                  <a:lnTo>
                    <a:pt x="325" y="61"/>
                  </a:lnTo>
                  <a:lnTo>
                    <a:pt x="325" y="60"/>
                  </a:lnTo>
                  <a:lnTo>
                    <a:pt x="326" y="56"/>
                  </a:lnTo>
                  <a:lnTo>
                    <a:pt x="327" y="54"/>
                  </a:lnTo>
                  <a:lnTo>
                    <a:pt x="328" y="53"/>
                  </a:lnTo>
                  <a:lnTo>
                    <a:pt x="329" y="52"/>
                  </a:lnTo>
                  <a:lnTo>
                    <a:pt x="329" y="52"/>
                  </a:lnTo>
                  <a:lnTo>
                    <a:pt x="330" y="51"/>
                  </a:lnTo>
                  <a:lnTo>
                    <a:pt x="330" y="51"/>
                  </a:lnTo>
                  <a:lnTo>
                    <a:pt x="330" y="50"/>
                  </a:lnTo>
                  <a:lnTo>
                    <a:pt x="331" y="50"/>
                  </a:lnTo>
                  <a:lnTo>
                    <a:pt x="332" y="49"/>
                  </a:lnTo>
                  <a:lnTo>
                    <a:pt x="332" y="49"/>
                  </a:lnTo>
                  <a:lnTo>
                    <a:pt x="333" y="49"/>
                  </a:lnTo>
                  <a:lnTo>
                    <a:pt x="334" y="49"/>
                  </a:lnTo>
                  <a:lnTo>
                    <a:pt x="335" y="49"/>
                  </a:lnTo>
                  <a:lnTo>
                    <a:pt x="336" y="49"/>
                  </a:lnTo>
                  <a:lnTo>
                    <a:pt x="338" y="49"/>
                  </a:lnTo>
                  <a:lnTo>
                    <a:pt x="339" y="49"/>
                  </a:lnTo>
                  <a:lnTo>
                    <a:pt x="340" y="49"/>
                  </a:lnTo>
                  <a:lnTo>
                    <a:pt x="341" y="49"/>
                  </a:lnTo>
                  <a:lnTo>
                    <a:pt x="345" y="50"/>
                  </a:lnTo>
                  <a:lnTo>
                    <a:pt x="346" y="50"/>
                  </a:lnTo>
                  <a:lnTo>
                    <a:pt x="347" y="50"/>
                  </a:lnTo>
                  <a:lnTo>
                    <a:pt x="348" y="51"/>
                  </a:lnTo>
                  <a:lnTo>
                    <a:pt x="350" y="51"/>
                  </a:lnTo>
                  <a:lnTo>
                    <a:pt x="353" y="51"/>
                  </a:lnTo>
                  <a:lnTo>
                    <a:pt x="354" y="51"/>
                  </a:lnTo>
                  <a:lnTo>
                    <a:pt x="356" y="51"/>
                  </a:lnTo>
                  <a:lnTo>
                    <a:pt x="357" y="51"/>
                  </a:lnTo>
                  <a:lnTo>
                    <a:pt x="358" y="51"/>
                  </a:lnTo>
                  <a:lnTo>
                    <a:pt x="359" y="52"/>
                  </a:lnTo>
                  <a:lnTo>
                    <a:pt x="360" y="52"/>
                  </a:lnTo>
                  <a:lnTo>
                    <a:pt x="361" y="53"/>
                  </a:lnTo>
                  <a:lnTo>
                    <a:pt x="362" y="54"/>
                  </a:lnTo>
                  <a:lnTo>
                    <a:pt x="365" y="56"/>
                  </a:lnTo>
                  <a:lnTo>
                    <a:pt x="367" y="58"/>
                  </a:lnTo>
                  <a:lnTo>
                    <a:pt x="367" y="58"/>
                  </a:lnTo>
                  <a:lnTo>
                    <a:pt x="369" y="60"/>
                  </a:lnTo>
                  <a:lnTo>
                    <a:pt x="371" y="63"/>
                  </a:lnTo>
                  <a:lnTo>
                    <a:pt x="374" y="66"/>
                  </a:lnTo>
                  <a:lnTo>
                    <a:pt x="376" y="68"/>
                  </a:lnTo>
                  <a:lnTo>
                    <a:pt x="378" y="70"/>
                  </a:lnTo>
                  <a:lnTo>
                    <a:pt x="381" y="73"/>
                  </a:lnTo>
                  <a:lnTo>
                    <a:pt x="383" y="75"/>
                  </a:lnTo>
                  <a:lnTo>
                    <a:pt x="385" y="77"/>
                  </a:lnTo>
                  <a:lnTo>
                    <a:pt x="386" y="79"/>
                  </a:lnTo>
                  <a:lnTo>
                    <a:pt x="388" y="80"/>
                  </a:lnTo>
                  <a:lnTo>
                    <a:pt x="388" y="82"/>
                  </a:lnTo>
                  <a:lnTo>
                    <a:pt x="389" y="83"/>
                  </a:lnTo>
                  <a:lnTo>
                    <a:pt x="389" y="84"/>
                  </a:lnTo>
                  <a:lnTo>
                    <a:pt x="389" y="85"/>
                  </a:lnTo>
                  <a:lnTo>
                    <a:pt x="389" y="86"/>
                  </a:lnTo>
                  <a:lnTo>
                    <a:pt x="389" y="87"/>
                  </a:lnTo>
                  <a:lnTo>
                    <a:pt x="389" y="88"/>
                  </a:lnTo>
                  <a:lnTo>
                    <a:pt x="389" y="89"/>
                  </a:lnTo>
                  <a:lnTo>
                    <a:pt x="389" y="89"/>
                  </a:lnTo>
                  <a:lnTo>
                    <a:pt x="388" y="90"/>
                  </a:lnTo>
                  <a:lnTo>
                    <a:pt x="388" y="91"/>
                  </a:lnTo>
                  <a:lnTo>
                    <a:pt x="386" y="92"/>
                  </a:lnTo>
                  <a:lnTo>
                    <a:pt x="384" y="94"/>
                  </a:lnTo>
                  <a:lnTo>
                    <a:pt x="384" y="95"/>
                  </a:lnTo>
                  <a:lnTo>
                    <a:pt x="383" y="95"/>
                  </a:lnTo>
                  <a:lnTo>
                    <a:pt x="383" y="96"/>
                  </a:lnTo>
                  <a:lnTo>
                    <a:pt x="382" y="97"/>
                  </a:lnTo>
                  <a:lnTo>
                    <a:pt x="381" y="100"/>
                  </a:lnTo>
                  <a:lnTo>
                    <a:pt x="381" y="102"/>
                  </a:lnTo>
                  <a:lnTo>
                    <a:pt x="380" y="103"/>
                  </a:lnTo>
                  <a:lnTo>
                    <a:pt x="379" y="106"/>
                  </a:lnTo>
                  <a:lnTo>
                    <a:pt x="378" y="107"/>
                  </a:lnTo>
                  <a:lnTo>
                    <a:pt x="378" y="108"/>
                  </a:lnTo>
                  <a:lnTo>
                    <a:pt x="378" y="110"/>
                  </a:lnTo>
                  <a:lnTo>
                    <a:pt x="378" y="111"/>
                  </a:lnTo>
                  <a:lnTo>
                    <a:pt x="377" y="112"/>
                  </a:lnTo>
                  <a:lnTo>
                    <a:pt x="377" y="113"/>
                  </a:lnTo>
                  <a:lnTo>
                    <a:pt x="376" y="115"/>
                  </a:lnTo>
                  <a:lnTo>
                    <a:pt x="375" y="116"/>
                  </a:lnTo>
                  <a:lnTo>
                    <a:pt x="373" y="117"/>
                  </a:lnTo>
                  <a:lnTo>
                    <a:pt x="370" y="121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7" y="124"/>
                  </a:lnTo>
                  <a:lnTo>
                    <a:pt x="366" y="124"/>
                  </a:lnTo>
                  <a:lnTo>
                    <a:pt x="366" y="125"/>
                  </a:lnTo>
                  <a:lnTo>
                    <a:pt x="365" y="125"/>
                  </a:lnTo>
                  <a:lnTo>
                    <a:pt x="364" y="125"/>
                  </a:lnTo>
                  <a:lnTo>
                    <a:pt x="363" y="126"/>
                  </a:lnTo>
                  <a:lnTo>
                    <a:pt x="362" y="126"/>
                  </a:lnTo>
                  <a:lnTo>
                    <a:pt x="361" y="126"/>
                  </a:lnTo>
                  <a:lnTo>
                    <a:pt x="359" y="125"/>
                  </a:lnTo>
                  <a:lnTo>
                    <a:pt x="357" y="125"/>
                  </a:lnTo>
                  <a:lnTo>
                    <a:pt x="357" y="125"/>
                  </a:lnTo>
                  <a:lnTo>
                    <a:pt x="356" y="125"/>
                  </a:lnTo>
                  <a:lnTo>
                    <a:pt x="356" y="126"/>
                  </a:lnTo>
                  <a:lnTo>
                    <a:pt x="355" y="126"/>
                  </a:lnTo>
                  <a:lnTo>
                    <a:pt x="355" y="126"/>
                  </a:lnTo>
                  <a:lnTo>
                    <a:pt x="354" y="127"/>
                  </a:lnTo>
                  <a:lnTo>
                    <a:pt x="354" y="127"/>
                  </a:lnTo>
                  <a:lnTo>
                    <a:pt x="352" y="129"/>
                  </a:lnTo>
                  <a:lnTo>
                    <a:pt x="350" y="131"/>
                  </a:lnTo>
                  <a:lnTo>
                    <a:pt x="349" y="132"/>
                  </a:lnTo>
                  <a:lnTo>
                    <a:pt x="348" y="133"/>
                  </a:lnTo>
                  <a:lnTo>
                    <a:pt x="347" y="134"/>
                  </a:lnTo>
                  <a:lnTo>
                    <a:pt x="346" y="134"/>
                  </a:lnTo>
                  <a:lnTo>
                    <a:pt x="345" y="134"/>
                  </a:lnTo>
                  <a:lnTo>
                    <a:pt x="343" y="135"/>
                  </a:lnTo>
                  <a:lnTo>
                    <a:pt x="343" y="135"/>
                  </a:lnTo>
                  <a:lnTo>
                    <a:pt x="342" y="135"/>
                  </a:lnTo>
                  <a:lnTo>
                    <a:pt x="341" y="136"/>
                  </a:lnTo>
                  <a:lnTo>
                    <a:pt x="339" y="137"/>
                  </a:lnTo>
                  <a:lnTo>
                    <a:pt x="338" y="138"/>
                  </a:lnTo>
                  <a:lnTo>
                    <a:pt x="337" y="138"/>
                  </a:lnTo>
                  <a:lnTo>
                    <a:pt x="337" y="139"/>
                  </a:lnTo>
                  <a:lnTo>
                    <a:pt x="335" y="140"/>
                  </a:lnTo>
                  <a:lnTo>
                    <a:pt x="335" y="141"/>
                  </a:lnTo>
                  <a:lnTo>
                    <a:pt x="334" y="142"/>
                  </a:lnTo>
                  <a:lnTo>
                    <a:pt x="332" y="143"/>
                  </a:lnTo>
                  <a:lnTo>
                    <a:pt x="332" y="143"/>
                  </a:lnTo>
                  <a:lnTo>
                    <a:pt x="331" y="144"/>
                  </a:lnTo>
                  <a:lnTo>
                    <a:pt x="330" y="145"/>
                  </a:lnTo>
                  <a:lnTo>
                    <a:pt x="330" y="146"/>
                  </a:lnTo>
                  <a:lnTo>
                    <a:pt x="329" y="146"/>
                  </a:lnTo>
                  <a:lnTo>
                    <a:pt x="329" y="147"/>
                  </a:lnTo>
                  <a:lnTo>
                    <a:pt x="329" y="148"/>
                  </a:lnTo>
                  <a:lnTo>
                    <a:pt x="329" y="149"/>
                  </a:lnTo>
                  <a:lnTo>
                    <a:pt x="329" y="150"/>
                  </a:lnTo>
                  <a:lnTo>
                    <a:pt x="328" y="150"/>
                  </a:lnTo>
                  <a:lnTo>
                    <a:pt x="328" y="151"/>
                  </a:lnTo>
                  <a:lnTo>
                    <a:pt x="327" y="151"/>
                  </a:lnTo>
                  <a:lnTo>
                    <a:pt x="327" y="151"/>
                  </a:lnTo>
                  <a:lnTo>
                    <a:pt x="326" y="151"/>
                  </a:lnTo>
                  <a:lnTo>
                    <a:pt x="325" y="151"/>
                  </a:lnTo>
                  <a:lnTo>
                    <a:pt x="325" y="151"/>
                  </a:lnTo>
                  <a:lnTo>
                    <a:pt x="324" y="152"/>
                  </a:lnTo>
                  <a:lnTo>
                    <a:pt x="324" y="152"/>
                  </a:lnTo>
                  <a:lnTo>
                    <a:pt x="324" y="152"/>
                  </a:lnTo>
                  <a:lnTo>
                    <a:pt x="323" y="153"/>
                  </a:lnTo>
                  <a:lnTo>
                    <a:pt x="323" y="153"/>
                  </a:lnTo>
                  <a:lnTo>
                    <a:pt x="322" y="154"/>
                  </a:lnTo>
                  <a:lnTo>
                    <a:pt x="322" y="155"/>
                  </a:lnTo>
                  <a:lnTo>
                    <a:pt x="322" y="155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9"/>
                  </a:lnTo>
                  <a:lnTo>
                    <a:pt x="322" y="159"/>
                  </a:lnTo>
                  <a:lnTo>
                    <a:pt x="323" y="160"/>
                  </a:lnTo>
                  <a:lnTo>
                    <a:pt x="324" y="163"/>
                  </a:lnTo>
                  <a:lnTo>
                    <a:pt x="325" y="165"/>
                  </a:lnTo>
                  <a:lnTo>
                    <a:pt x="326" y="166"/>
                  </a:lnTo>
                  <a:lnTo>
                    <a:pt x="326" y="166"/>
                  </a:lnTo>
                  <a:lnTo>
                    <a:pt x="327" y="167"/>
                  </a:lnTo>
                  <a:lnTo>
                    <a:pt x="327" y="167"/>
                  </a:lnTo>
                  <a:lnTo>
                    <a:pt x="328" y="167"/>
                  </a:lnTo>
                  <a:lnTo>
                    <a:pt x="329" y="168"/>
                  </a:lnTo>
                  <a:lnTo>
                    <a:pt x="331" y="168"/>
                  </a:lnTo>
                  <a:lnTo>
                    <a:pt x="331" y="168"/>
                  </a:lnTo>
                  <a:lnTo>
                    <a:pt x="332" y="169"/>
                  </a:lnTo>
                  <a:lnTo>
                    <a:pt x="333" y="170"/>
                  </a:lnTo>
                  <a:lnTo>
                    <a:pt x="334" y="170"/>
                  </a:lnTo>
                  <a:lnTo>
                    <a:pt x="335" y="171"/>
                  </a:lnTo>
                  <a:lnTo>
                    <a:pt x="335" y="172"/>
                  </a:lnTo>
                  <a:lnTo>
                    <a:pt x="337" y="175"/>
                  </a:lnTo>
                  <a:lnTo>
                    <a:pt x="338" y="175"/>
                  </a:lnTo>
                  <a:lnTo>
                    <a:pt x="339" y="177"/>
                  </a:lnTo>
                  <a:lnTo>
                    <a:pt x="339" y="177"/>
                  </a:lnTo>
                  <a:lnTo>
                    <a:pt x="340" y="179"/>
                  </a:lnTo>
                  <a:lnTo>
                    <a:pt x="342" y="180"/>
                  </a:lnTo>
                  <a:lnTo>
                    <a:pt x="342" y="181"/>
                  </a:lnTo>
                  <a:lnTo>
                    <a:pt x="343" y="182"/>
                  </a:lnTo>
                  <a:lnTo>
                    <a:pt x="344" y="183"/>
                  </a:lnTo>
                  <a:lnTo>
                    <a:pt x="344" y="184"/>
                  </a:lnTo>
                  <a:lnTo>
                    <a:pt x="345" y="184"/>
                  </a:lnTo>
                  <a:lnTo>
                    <a:pt x="346" y="185"/>
                  </a:lnTo>
                  <a:lnTo>
                    <a:pt x="346" y="185"/>
                  </a:lnTo>
                  <a:lnTo>
                    <a:pt x="347" y="185"/>
                  </a:lnTo>
                  <a:lnTo>
                    <a:pt x="348" y="185"/>
                  </a:lnTo>
                  <a:lnTo>
                    <a:pt x="348" y="185"/>
                  </a:lnTo>
                  <a:lnTo>
                    <a:pt x="349" y="184"/>
                  </a:lnTo>
                  <a:lnTo>
                    <a:pt x="352" y="183"/>
                  </a:lnTo>
                  <a:lnTo>
                    <a:pt x="353" y="182"/>
                  </a:lnTo>
                  <a:lnTo>
                    <a:pt x="353" y="182"/>
                  </a:lnTo>
                  <a:lnTo>
                    <a:pt x="354" y="182"/>
                  </a:lnTo>
                  <a:lnTo>
                    <a:pt x="355" y="182"/>
                  </a:lnTo>
                  <a:lnTo>
                    <a:pt x="356" y="182"/>
                  </a:lnTo>
                  <a:lnTo>
                    <a:pt x="358" y="182"/>
                  </a:lnTo>
                  <a:lnTo>
                    <a:pt x="359" y="182"/>
                  </a:lnTo>
                  <a:lnTo>
                    <a:pt x="361" y="182"/>
                  </a:lnTo>
                  <a:lnTo>
                    <a:pt x="362" y="182"/>
                  </a:lnTo>
                  <a:lnTo>
                    <a:pt x="363" y="182"/>
                  </a:lnTo>
                  <a:lnTo>
                    <a:pt x="365" y="182"/>
                  </a:lnTo>
                  <a:lnTo>
                    <a:pt x="365" y="183"/>
                  </a:lnTo>
                  <a:lnTo>
                    <a:pt x="366" y="183"/>
                  </a:lnTo>
                  <a:lnTo>
                    <a:pt x="367" y="184"/>
                  </a:lnTo>
                  <a:lnTo>
                    <a:pt x="368" y="184"/>
                  </a:lnTo>
                  <a:lnTo>
                    <a:pt x="368" y="184"/>
                  </a:lnTo>
                  <a:lnTo>
                    <a:pt x="368" y="185"/>
                  </a:lnTo>
                  <a:lnTo>
                    <a:pt x="369" y="186"/>
                  </a:lnTo>
                  <a:lnTo>
                    <a:pt x="370" y="188"/>
                  </a:lnTo>
                  <a:lnTo>
                    <a:pt x="370" y="189"/>
                  </a:lnTo>
                  <a:lnTo>
                    <a:pt x="371" y="193"/>
                  </a:lnTo>
                  <a:lnTo>
                    <a:pt x="372" y="195"/>
                  </a:lnTo>
                  <a:lnTo>
                    <a:pt x="372" y="196"/>
                  </a:lnTo>
                  <a:lnTo>
                    <a:pt x="373" y="197"/>
                  </a:lnTo>
                  <a:lnTo>
                    <a:pt x="373" y="199"/>
                  </a:lnTo>
                  <a:lnTo>
                    <a:pt x="374" y="200"/>
                  </a:lnTo>
                  <a:lnTo>
                    <a:pt x="375" y="202"/>
                  </a:lnTo>
                  <a:lnTo>
                    <a:pt x="376" y="202"/>
                  </a:lnTo>
                  <a:lnTo>
                    <a:pt x="377" y="204"/>
                  </a:lnTo>
                  <a:lnTo>
                    <a:pt x="378" y="204"/>
                  </a:lnTo>
                  <a:lnTo>
                    <a:pt x="379" y="205"/>
                  </a:lnTo>
                  <a:lnTo>
                    <a:pt x="380" y="206"/>
                  </a:lnTo>
                  <a:lnTo>
                    <a:pt x="381" y="207"/>
                  </a:lnTo>
                  <a:lnTo>
                    <a:pt x="382" y="207"/>
                  </a:lnTo>
                  <a:lnTo>
                    <a:pt x="383" y="207"/>
                  </a:lnTo>
                  <a:lnTo>
                    <a:pt x="386" y="207"/>
                  </a:lnTo>
                  <a:lnTo>
                    <a:pt x="387" y="208"/>
                  </a:lnTo>
                  <a:lnTo>
                    <a:pt x="388" y="208"/>
                  </a:lnTo>
                  <a:lnTo>
                    <a:pt x="389" y="209"/>
                  </a:lnTo>
                  <a:lnTo>
                    <a:pt x="390" y="209"/>
                  </a:lnTo>
                  <a:lnTo>
                    <a:pt x="391" y="210"/>
                  </a:lnTo>
                  <a:lnTo>
                    <a:pt x="392" y="211"/>
                  </a:lnTo>
                  <a:lnTo>
                    <a:pt x="394" y="212"/>
                  </a:lnTo>
                  <a:lnTo>
                    <a:pt x="395" y="214"/>
                  </a:lnTo>
                  <a:lnTo>
                    <a:pt x="397" y="217"/>
                  </a:lnTo>
                  <a:lnTo>
                    <a:pt x="399" y="219"/>
                  </a:lnTo>
                  <a:lnTo>
                    <a:pt x="400" y="221"/>
                  </a:lnTo>
                  <a:lnTo>
                    <a:pt x="402" y="224"/>
                  </a:lnTo>
                  <a:lnTo>
                    <a:pt x="404" y="228"/>
                  </a:lnTo>
                  <a:lnTo>
                    <a:pt x="406" y="230"/>
                  </a:lnTo>
                  <a:lnTo>
                    <a:pt x="408" y="233"/>
                  </a:lnTo>
                  <a:lnTo>
                    <a:pt x="409" y="233"/>
                  </a:lnTo>
                  <a:lnTo>
                    <a:pt x="410" y="234"/>
                  </a:lnTo>
                  <a:lnTo>
                    <a:pt x="413" y="237"/>
                  </a:lnTo>
                  <a:lnTo>
                    <a:pt x="416" y="242"/>
                  </a:lnTo>
                  <a:lnTo>
                    <a:pt x="417" y="243"/>
                  </a:lnTo>
                  <a:lnTo>
                    <a:pt x="418" y="244"/>
                  </a:lnTo>
                  <a:lnTo>
                    <a:pt x="419" y="245"/>
                  </a:lnTo>
                  <a:lnTo>
                    <a:pt x="422" y="247"/>
                  </a:lnTo>
                  <a:lnTo>
                    <a:pt x="423" y="248"/>
                  </a:lnTo>
                  <a:lnTo>
                    <a:pt x="423" y="248"/>
                  </a:lnTo>
                  <a:lnTo>
                    <a:pt x="424" y="249"/>
                  </a:lnTo>
                  <a:lnTo>
                    <a:pt x="425" y="251"/>
                  </a:lnTo>
                  <a:lnTo>
                    <a:pt x="426" y="252"/>
                  </a:lnTo>
                  <a:lnTo>
                    <a:pt x="426" y="253"/>
                  </a:lnTo>
                  <a:lnTo>
                    <a:pt x="427" y="254"/>
                  </a:lnTo>
                  <a:lnTo>
                    <a:pt x="428" y="255"/>
                  </a:lnTo>
                  <a:lnTo>
                    <a:pt x="428" y="258"/>
                  </a:lnTo>
                  <a:lnTo>
                    <a:pt x="429" y="259"/>
                  </a:lnTo>
                  <a:lnTo>
                    <a:pt x="429" y="261"/>
                  </a:lnTo>
                  <a:lnTo>
                    <a:pt x="429" y="265"/>
                  </a:lnTo>
                  <a:lnTo>
                    <a:pt x="429" y="268"/>
                  </a:lnTo>
                  <a:lnTo>
                    <a:pt x="430" y="270"/>
                  </a:lnTo>
                  <a:lnTo>
                    <a:pt x="430" y="272"/>
                  </a:lnTo>
                  <a:lnTo>
                    <a:pt x="431" y="275"/>
                  </a:lnTo>
                  <a:lnTo>
                    <a:pt x="431" y="277"/>
                  </a:lnTo>
                  <a:lnTo>
                    <a:pt x="431" y="277"/>
                  </a:lnTo>
                  <a:lnTo>
                    <a:pt x="431" y="278"/>
                  </a:lnTo>
                  <a:lnTo>
                    <a:pt x="432" y="280"/>
                  </a:lnTo>
                  <a:lnTo>
                    <a:pt x="433" y="282"/>
                  </a:lnTo>
                  <a:lnTo>
                    <a:pt x="435" y="285"/>
                  </a:lnTo>
                  <a:lnTo>
                    <a:pt x="436" y="286"/>
                  </a:lnTo>
                  <a:lnTo>
                    <a:pt x="436" y="287"/>
                  </a:lnTo>
                  <a:lnTo>
                    <a:pt x="436" y="288"/>
                  </a:lnTo>
                  <a:lnTo>
                    <a:pt x="436" y="289"/>
                  </a:lnTo>
                  <a:lnTo>
                    <a:pt x="436" y="289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5" y="290"/>
                  </a:lnTo>
                  <a:lnTo>
                    <a:pt x="434" y="290"/>
                  </a:lnTo>
                  <a:lnTo>
                    <a:pt x="433" y="290"/>
                  </a:lnTo>
                  <a:lnTo>
                    <a:pt x="431" y="289"/>
                  </a:lnTo>
                  <a:lnTo>
                    <a:pt x="430" y="289"/>
                  </a:lnTo>
                  <a:lnTo>
                    <a:pt x="425" y="287"/>
                  </a:lnTo>
                  <a:lnTo>
                    <a:pt x="423" y="286"/>
                  </a:lnTo>
                  <a:lnTo>
                    <a:pt x="421" y="285"/>
                  </a:lnTo>
                  <a:lnTo>
                    <a:pt x="420" y="284"/>
                  </a:lnTo>
                  <a:lnTo>
                    <a:pt x="417" y="283"/>
                  </a:lnTo>
                  <a:lnTo>
                    <a:pt x="417" y="282"/>
                  </a:lnTo>
                  <a:lnTo>
                    <a:pt x="416" y="282"/>
                  </a:lnTo>
                  <a:lnTo>
                    <a:pt x="414" y="281"/>
                  </a:lnTo>
                  <a:lnTo>
                    <a:pt x="414" y="281"/>
                  </a:lnTo>
                  <a:lnTo>
                    <a:pt x="413" y="281"/>
                  </a:lnTo>
                  <a:lnTo>
                    <a:pt x="412" y="281"/>
                  </a:lnTo>
                  <a:lnTo>
                    <a:pt x="412" y="281"/>
                  </a:lnTo>
                  <a:lnTo>
                    <a:pt x="411" y="281"/>
                  </a:lnTo>
                  <a:lnTo>
                    <a:pt x="411" y="281"/>
                  </a:lnTo>
                  <a:lnTo>
                    <a:pt x="410" y="281"/>
                  </a:lnTo>
                  <a:lnTo>
                    <a:pt x="410" y="281"/>
                  </a:lnTo>
                  <a:lnTo>
                    <a:pt x="409" y="282"/>
                  </a:lnTo>
                  <a:lnTo>
                    <a:pt x="408" y="282"/>
                  </a:lnTo>
                  <a:lnTo>
                    <a:pt x="408" y="282"/>
                  </a:lnTo>
                  <a:lnTo>
                    <a:pt x="407" y="283"/>
                  </a:lnTo>
                  <a:lnTo>
                    <a:pt x="407" y="284"/>
                  </a:lnTo>
                  <a:lnTo>
                    <a:pt x="407" y="285"/>
                  </a:lnTo>
                  <a:lnTo>
                    <a:pt x="405" y="288"/>
                  </a:lnTo>
                  <a:lnTo>
                    <a:pt x="404" y="290"/>
                  </a:lnTo>
                  <a:lnTo>
                    <a:pt x="404" y="291"/>
                  </a:lnTo>
                  <a:lnTo>
                    <a:pt x="403" y="292"/>
                  </a:lnTo>
                  <a:lnTo>
                    <a:pt x="402" y="292"/>
                  </a:lnTo>
                  <a:lnTo>
                    <a:pt x="401" y="293"/>
                  </a:lnTo>
                  <a:lnTo>
                    <a:pt x="400" y="294"/>
                  </a:lnTo>
                  <a:lnTo>
                    <a:pt x="399" y="295"/>
                  </a:lnTo>
                  <a:lnTo>
                    <a:pt x="398" y="296"/>
                  </a:lnTo>
                  <a:lnTo>
                    <a:pt x="396" y="296"/>
                  </a:lnTo>
                  <a:lnTo>
                    <a:pt x="394" y="297"/>
                  </a:lnTo>
                  <a:lnTo>
                    <a:pt x="392" y="299"/>
                  </a:lnTo>
                  <a:lnTo>
                    <a:pt x="392" y="299"/>
                  </a:lnTo>
                  <a:lnTo>
                    <a:pt x="390" y="300"/>
                  </a:lnTo>
                  <a:lnTo>
                    <a:pt x="390" y="300"/>
                  </a:lnTo>
                  <a:lnTo>
                    <a:pt x="387" y="302"/>
                  </a:lnTo>
                  <a:lnTo>
                    <a:pt x="384" y="303"/>
                  </a:lnTo>
                  <a:lnTo>
                    <a:pt x="382" y="304"/>
                  </a:lnTo>
                  <a:lnTo>
                    <a:pt x="381" y="304"/>
                  </a:lnTo>
                  <a:lnTo>
                    <a:pt x="380" y="305"/>
                  </a:lnTo>
                  <a:lnTo>
                    <a:pt x="378" y="307"/>
                  </a:lnTo>
                  <a:lnTo>
                    <a:pt x="376" y="308"/>
                  </a:lnTo>
                  <a:lnTo>
                    <a:pt x="374" y="309"/>
                  </a:lnTo>
                  <a:lnTo>
                    <a:pt x="372" y="311"/>
                  </a:lnTo>
                  <a:lnTo>
                    <a:pt x="371" y="311"/>
                  </a:lnTo>
                  <a:lnTo>
                    <a:pt x="370" y="312"/>
                  </a:lnTo>
                  <a:lnTo>
                    <a:pt x="369" y="313"/>
                  </a:lnTo>
                  <a:lnTo>
                    <a:pt x="368" y="314"/>
                  </a:lnTo>
                  <a:lnTo>
                    <a:pt x="368" y="315"/>
                  </a:lnTo>
                  <a:lnTo>
                    <a:pt x="368" y="315"/>
                  </a:lnTo>
                  <a:lnTo>
                    <a:pt x="367" y="316"/>
                  </a:lnTo>
                  <a:lnTo>
                    <a:pt x="367" y="317"/>
                  </a:lnTo>
                  <a:lnTo>
                    <a:pt x="367" y="317"/>
                  </a:lnTo>
                  <a:lnTo>
                    <a:pt x="367" y="320"/>
                  </a:lnTo>
                  <a:lnTo>
                    <a:pt x="367" y="320"/>
                  </a:lnTo>
                  <a:lnTo>
                    <a:pt x="367" y="321"/>
                  </a:lnTo>
                  <a:lnTo>
                    <a:pt x="366" y="322"/>
                  </a:lnTo>
                  <a:lnTo>
                    <a:pt x="366" y="322"/>
                  </a:lnTo>
                  <a:lnTo>
                    <a:pt x="366" y="323"/>
                  </a:lnTo>
                  <a:lnTo>
                    <a:pt x="365" y="324"/>
                  </a:lnTo>
                  <a:lnTo>
                    <a:pt x="364" y="325"/>
                  </a:lnTo>
                  <a:lnTo>
                    <a:pt x="362" y="326"/>
                  </a:lnTo>
                  <a:lnTo>
                    <a:pt x="361" y="327"/>
                  </a:lnTo>
                  <a:lnTo>
                    <a:pt x="361" y="327"/>
                  </a:lnTo>
                  <a:lnTo>
                    <a:pt x="361" y="327"/>
                  </a:lnTo>
                  <a:lnTo>
                    <a:pt x="360" y="328"/>
                  </a:lnTo>
                  <a:lnTo>
                    <a:pt x="360" y="329"/>
                  </a:lnTo>
                  <a:lnTo>
                    <a:pt x="360" y="329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1"/>
                  </a:lnTo>
                  <a:lnTo>
                    <a:pt x="361" y="334"/>
                  </a:lnTo>
                  <a:lnTo>
                    <a:pt x="361" y="334"/>
                  </a:lnTo>
                  <a:lnTo>
                    <a:pt x="361" y="335"/>
                  </a:lnTo>
                  <a:lnTo>
                    <a:pt x="361" y="335"/>
                  </a:lnTo>
                  <a:lnTo>
                    <a:pt x="361" y="336"/>
                  </a:lnTo>
                  <a:lnTo>
                    <a:pt x="360" y="336"/>
                  </a:lnTo>
                  <a:lnTo>
                    <a:pt x="360" y="336"/>
                  </a:lnTo>
                  <a:lnTo>
                    <a:pt x="359" y="336"/>
                  </a:lnTo>
                  <a:lnTo>
                    <a:pt x="359" y="337"/>
                  </a:lnTo>
                  <a:lnTo>
                    <a:pt x="358" y="337"/>
                  </a:lnTo>
                  <a:lnTo>
                    <a:pt x="357" y="337"/>
                  </a:lnTo>
                  <a:lnTo>
                    <a:pt x="356" y="337"/>
                  </a:lnTo>
                  <a:lnTo>
                    <a:pt x="355" y="336"/>
                  </a:lnTo>
                  <a:lnTo>
                    <a:pt x="353" y="336"/>
                  </a:lnTo>
                  <a:lnTo>
                    <a:pt x="352" y="335"/>
                  </a:lnTo>
                  <a:lnTo>
                    <a:pt x="351" y="335"/>
                  </a:lnTo>
                  <a:lnTo>
                    <a:pt x="350" y="335"/>
                  </a:lnTo>
                  <a:lnTo>
                    <a:pt x="349" y="335"/>
                  </a:lnTo>
                  <a:lnTo>
                    <a:pt x="347" y="336"/>
                  </a:lnTo>
                  <a:lnTo>
                    <a:pt x="344" y="336"/>
                  </a:lnTo>
                  <a:lnTo>
                    <a:pt x="343" y="336"/>
                  </a:lnTo>
                  <a:lnTo>
                    <a:pt x="341" y="336"/>
                  </a:lnTo>
                  <a:lnTo>
                    <a:pt x="341" y="336"/>
                  </a:lnTo>
                  <a:lnTo>
                    <a:pt x="340" y="336"/>
                  </a:lnTo>
                  <a:lnTo>
                    <a:pt x="339" y="335"/>
                  </a:lnTo>
                  <a:lnTo>
                    <a:pt x="338" y="335"/>
                  </a:lnTo>
                  <a:lnTo>
                    <a:pt x="338" y="335"/>
                  </a:lnTo>
                  <a:lnTo>
                    <a:pt x="337" y="335"/>
                  </a:lnTo>
                  <a:lnTo>
                    <a:pt x="337" y="335"/>
                  </a:lnTo>
                  <a:lnTo>
                    <a:pt x="336" y="335"/>
                  </a:lnTo>
                  <a:lnTo>
                    <a:pt x="334" y="336"/>
                  </a:lnTo>
                  <a:lnTo>
                    <a:pt x="333" y="336"/>
                  </a:lnTo>
                  <a:lnTo>
                    <a:pt x="332" y="337"/>
                  </a:lnTo>
                  <a:lnTo>
                    <a:pt x="329" y="337"/>
                  </a:lnTo>
                  <a:lnTo>
                    <a:pt x="327" y="338"/>
                  </a:lnTo>
                  <a:lnTo>
                    <a:pt x="326" y="338"/>
                  </a:lnTo>
                  <a:lnTo>
                    <a:pt x="325" y="338"/>
                  </a:lnTo>
                  <a:lnTo>
                    <a:pt x="324" y="338"/>
                  </a:lnTo>
                  <a:lnTo>
                    <a:pt x="324" y="338"/>
                  </a:lnTo>
                  <a:lnTo>
                    <a:pt x="323" y="337"/>
                  </a:lnTo>
                  <a:lnTo>
                    <a:pt x="322" y="337"/>
                  </a:lnTo>
                  <a:lnTo>
                    <a:pt x="321" y="336"/>
                  </a:lnTo>
                  <a:lnTo>
                    <a:pt x="320" y="336"/>
                  </a:lnTo>
                  <a:lnTo>
                    <a:pt x="316" y="333"/>
                  </a:lnTo>
                  <a:lnTo>
                    <a:pt x="315" y="332"/>
                  </a:lnTo>
                  <a:lnTo>
                    <a:pt x="314" y="331"/>
                  </a:lnTo>
                  <a:lnTo>
                    <a:pt x="313" y="330"/>
                  </a:lnTo>
                  <a:lnTo>
                    <a:pt x="311" y="330"/>
                  </a:lnTo>
                  <a:lnTo>
                    <a:pt x="309" y="329"/>
                  </a:lnTo>
                  <a:lnTo>
                    <a:pt x="306" y="328"/>
                  </a:lnTo>
                  <a:lnTo>
                    <a:pt x="305" y="327"/>
                  </a:lnTo>
                  <a:lnTo>
                    <a:pt x="305" y="327"/>
                  </a:lnTo>
                  <a:lnTo>
                    <a:pt x="303" y="326"/>
                  </a:lnTo>
                  <a:lnTo>
                    <a:pt x="302" y="325"/>
                  </a:lnTo>
                  <a:lnTo>
                    <a:pt x="300" y="323"/>
                  </a:lnTo>
                  <a:lnTo>
                    <a:pt x="299" y="322"/>
                  </a:lnTo>
                  <a:lnTo>
                    <a:pt x="298" y="322"/>
                  </a:lnTo>
                  <a:lnTo>
                    <a:pt x="297" y="321"/>
                  </a:lnTo>
                  <a:lnTo>
                    <a:pt x="296" y="321"/>
                  </a:lnTo>
                  <a:lnTo>
                    <a:pt x="293" y="319"/>
                  </a:lnTo>
                  <a:lnTo>
                    <a:pt x="291" y="319"/>
                  </a:lnTo>
                  <a:lnTo>
                    <a:pt x="290" y="318"/>
                  </a:lnTo>
                  <a:lnTo>
                    <a:pt x="289" y="317"/>
                  </a:lnTo>
                  <a:lnTo>
                    <a:pt x="288" y="316"/>
                  </a:lnTo>
                  <a:lnTo>
                    <a:pt x="287" y="315"/>
                  </a:lnTo>
                  <a:lnTo>
                    <a:pt x="286" y="314"/>
                  </a:lnTo>
                  <a:lnTo>
                    <a:pt x="284" y="311"/>
                  </a:lnTo>
                  <a:lnTo>
                    <a:pt x="282" y="310"/>
                  </a:lnTo>
                  <a:lnTo>
                    <a:pt x="281" y="309"/>
                  </a:lnTo>
                  <a:lnTo>
                    <a:pt x="281" y="309"/>
                  </a:lnTo>
                  <a:lnTo>
                    <a:pt x="281" y="309"/>
                  </a:lnTo>
                  <a:lnTo>
                    <a:pt x="279" y="308"/>
                  </a:lnTo>
                  <a:lnTo>
                    <a:pt x="278" y="307"/>
                  </a:lnTo>
                  <a:lnTo>
                    <a:pt x="277" y="307"/>
                  </a:lnTo>
                  <a:lnTo>
                    <a:pt x="274" y="306"/>
                  </a:lnTo>
                  <a:lnTo>
                    <a:pt x="272" y="306"/>
                  </a:lnTo>
                  <a:lnTo>
                    <a:pt x="271" y="305"/>
                  </a:lnTo>
                  <a:lnTo>
                    <a:pt x="270" y="305"/>
                  </a:lnTo>
                  <a:lnTo>
                    <a:pt x="270" y="304"/>
                  </a:lnTo>
                  <a:lnTo>
                    <a:pt x="269" y="304"/>
                  </a:lnTo>
                  <a:lnTo>
                    <a:pt x="269" y="303"/>
                  </a:lnTo>
                  <a:lnTo>
                    <a:pt x="268" y="302"/>
                  </a:lnTo>
                  <a:lnTo>
                    <a:pt x="268" y="301"/>
                  </a:lnTo>
                  <a:lnTo>
                    <a:pt x="267" y="300"/>
                  </a:lnTo>
                  <a:lnTo>
                    <a:pt x="266" y="296"/>
                  </a:lnTo>
                  <a:lnTo>
                    <a:pt x="266" y="295"/>
                  </a:lnTo>
                  <a:lnTo>
                    <a:pt x="265" y="294"/>
                  </a:lnTo>
                  <a:lnTo>
                    <a:pt x="265" y="293"/>
                  </a:lnTo>
                  <a:lnTo>
                    <a:pt x="264" y="293"/>
                  </a:lnTo>
                  <a:lnTo>
                    <a:pt x="264" y="292"/>
                  </a:lnTo>
                  <a:lnTo>
                    <a:pt x="263" y="292"/>
                  </a:lnTo>
                  <a:lnTo>
                    <a:pt x="261" y="289"/>
                  </a:lnTo>
                  <a:lnTo>
                    <a:pt x="261" y="288"/>
                  </a:lnTo>
                  <a:lnTo>
                    <a:pt x="260" y="288"/>
                  </a:lnTo>
                  <a:lnTo>
                    <a:pt x="259" y="287"/>
                  </a:lnTo>
                  <a:lnTo>
                    <a:pt x="258" y="287"/>
                  </a:lnTo>
                  <a:lnTo>
                    <a:pt x="257" y="286"/>
                  </a:lnTo>
                  <a:lnTo>
                    <a:pt x="255" y="286"/>
                  </a:lnTo>
                  <a:lnTo>
                    <a:pt x="252" y="285"/>
                  </a:lnTo>
                  <a:lnTo>
                    <a:pt x="248" y="284"/>
                  </a:lnTo>
                  <a:lnTo>
                    <a:pt x="246" y="283"/>
                  </a:lnTo>
                  <a:lnTo>
                    <a:pt x="243" y="283"/>
                  </a:lnTo>
                  <a:lnTo>
                    <a:pt x="242" y="282"/>
                  </a:lnTo>
                  <a:lnTo>
                    <a:pt x="241" y="282"/>
                  </a:lnTo>
                  <a:lnTo>
                    <a:pt x="240" y="282"/>
                  </a:lnTo>
                  <a:lnTo>
                    <a:pt x="239" y="282"/>
                  </a:lnTo>
                  <a:lnTo>
                    <a:pt x="238" y="283"/>
                  </a:lnTo>
                  <a:lnTo>
                    <a:pt x="236" y="284"/>
                  </a:lnTo>
                  <a:lnTo>
                    <a:pt x="234" y="284"/>
                  </a:lnTo>
                  <a:lnTo>
                    <a:pt x="233" y="285"/>
                  </a:lnTo>
                  <a:lnTo>
                    <a:pt x="232" y="286"/>
                  </a:lnTo>
                  <a:lnTo>
                    <a:pt x="232" y="286"/>
                  </a:lnTo>
                  <a:lnTo>
                    <a:pt x="229" y="289"/>
                  </a:lnTo>
                  <a:lnTo>
                    <a:pt x="228" y="289"/>
                  </a:lnTo>
                  <a:lnTo>
                    <a:pt x="228" y="290"/>
                  </a:lnTo>
                  <a:lnTo>
                    <a:pt x="227" y="290"/>
                  </a:lnTo>
                  <a:lnTo>
                    <a:pt x="226" y="291"/>
                  </a:lnTo>
                  <a:lnTo>
                    <a:pt x="223" y="292"/>
                  </a:lnTo>
                  <a:lnTo>
                    <a:pt x="222" y="293"/>
                  </a:lnTo>
                  <a:lnTo>
                    <a:pt x="221" y="293"/>
                  </a:lnTo>
                  <a:lnTo>
                    <a:pt x="218" y="295"/>
                  </a:lnTo>
                  <a:lnTo>
                    <a:pt x="217" y="296"/>
                  </a:lnTo>
                  <a:lnTo>
                    <a:pt x="216" y="296"/>
                  </a:lnTo>
                  <a:lnTo>
                    <a:pt x="215" y="296"/>
                  </a:lnTo>
                  <a:lnTo>
                    <a:pt x="215" y="296"/>
                  </a:lnTo>
                  <a:lnTo>
                    <a:pt x="214" y="296"/>
                  </a:lnTo>
                  <a:lnTo>
                    <a:pt x="214" y="296"/>
                  </a:lnTo>
                  <a:lnTo>
                    <a:pt x="213" y="296"/>
                  </a:lnTo>
                  <a:lnTo>
                    <a:pt x="212" y="296"/>
                  </a:lnTo>
                  <a:lnTo>
                    <a:pt x="211" y="296"/>
                  </a:lnTo>
                  <a:lnTo>
                    <a:pt x="210" y="296"/>
                  </a:lnTo>
                  <a:lnTo>
                    <a:pt x="210" y="296"/>
                  </a:lnTo>
                  <a:lnTo>
                    <a:pt x="209" y="295"/>
                  </a:lnTo>
                  <a:lnTo>
                    <a:pt x="209" y="295"/>
                  </a:lnTo>
                  <a:lnTo>
                    <a:pt x="208" y="294"/>
                  </a:lnTo>
                  <a:lnTo>
                    <a:pt x="207" y="294"/>
                  </a:lnTo>
                  <a:lnTo>
                    <a:pt x="207" y="293"/>
                  </a:lnTo>
                  <a:lnTo>
                    <a:pt x="206" y="292"/>
                  </a:lnTo>
                  <a:lnTo>
                    <a:pt x="206" y="291"/>
                  </a:lnTo>
                  <a:lnTo>
                    <a:pt x="205" y="288"/>
                  </a:lnTo>
                  <a:lnTo>
                    <a:pt x="204" y="286"/>
                  </a:lnTo>
                  <a:lnTo>
                    <a:pt x="204" y="285"/>
                  </a:lnTo>
                  <a:lnTo>
                    <a:pt x="203" y="283"/>
                  </a:lnTo>
                  <a:lnTo>
                    <a:pt x="202" y="282"/>
                  </a:lnTo>
                  <a:lnTo>
                    <a:pt x="201" y="282"/>
                  </a:lnTo>
                  <a:lnTo>
                    <a:pt x="201" y="281"/>
                  </a:lnTo>
                  <a:lnTo>
                    <a:pt x="200" y="281"/>
                  </a:lnTo>
                  <a:lnTo>
                    <a:pt x="200" y="280"/>
                  </a:lnTo>
                  <a:lnTo>
                    <a:pt x="199" y="279"/>
                  </a:lnTo>
                  <a:lnTo>
                    <a:pt x="199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6" y="280"/>
                  </a:lnTo>
                  <a:lnTo>
                    <a:pt x="194" y="281"/>
                  </a:lnTo>
                  <a:lnTo>
                    <a:pt x="193" y="282"/>
                  </a:lnTo>
                  <a:lnTo>
                    <a:pt x="192" y="283"/>
                  </a:lnTo>
                  <a:lnTo>
                    <a:pt x="191" y="284"/>
                  </a:lnTo>
                  <a:lnTo>
                    <a:pt x="190" y="285"/>
                  </a:lnTo>
                  <a:lnTo>
                    <a:pt x="189" y="285"/>
                  </a:lnTo>
                  <a:lnTo>
                    <a:pt x="189" y="286"/>
                  </a:lnTo>
                  <a:lnTo>
                    <a:pt x="188" y="287"/>
                  </a:lnTo>
                  <a:lnTo>
                    <a:pt x="188" y="287"/>
                  </a:lnTo>
                  <a:lnTo>
                    <a:pt x="187" y="288"/>
                  </a:lnTo>
                  <a:lnTo>
                    <a:pt x="186" y="291"/>
                  </a:lnTo>
                  <a:lnTo>
                    <a:pt x="186" y="292"/>
                  </a:lnTo>
                  <a:lnTo>
                    <a:pt x="185" y="292"/>
                  </a:lnTo>
                  <a:lnTo>
                    <a:pt x="185" y="293"/>
                  </a:lnTo>
                  <a:lnTo>
                    <a:pt x="184" y="294"/>
                  </a:lnTo>
                  <a:lnTo>
                    <a:pt x="184" y="294"/>
                  </a:lnTo>
                  <a:lnTo>
                    <a:pt x="183" y="295"/>
                  </a:lnTo>
                  <a:lnTo>
                    <a:pt x="182" y="296"/>
                  </a:lnTo>
                  <a:lnTo>
                    <a:pt x="181" y="296"/>
                  </a:lnTo>
                  <a:lnTo>
                    <a:pt x="180" y="296"/>
                  </a:lnTo>
                  <a:lnTo>
                    <a:pt x="178" y="297"/>
                  </a:lnTo>
                  <a:lnTo>
                    <a:pt x="176" y="297"/>
                  </a:lnTo>
                  <a:lnTo>
                    <a:pt x="175" y="298"/>
                  </a:lnTo>
                  <a:lnTo>
                    <a:pt x="172" y="299"/>
                  </a:lnTo>
                  <a:lnTo>
                    <a:pt x="171" y="300"/>
                  </a:lnTo>
                  <a:lnTo>
                    <a:pt x="170" y="300"/>
                  </a:lnTo>
                  <a:lnTo>
                    <a:pt x="170" y="300"/>
                  </a:lnTo>
                  <a:lnTo>
                    <a:pt x="168" y="300"/>
                  </a:lnTo>
                  <a:lnTo>
                    <a:pt x="167" y="300"/>
                  </a:lnTo>
                  <a:lnTo>
                    <a:pt x="167" y="300"/>
                  </a:lnTo>
                  <a:lnTo>
                    <a:pt x="165" y="299"/>
                  </a:lnTo>
                  <a:lnTo>
                    <a:pt x="163" y="298"/>
                  </a:lnTo>
                  <a:lnTo>
                    <a:pt x="161" y="298"/>
                  </a:lnTo>
                  <a:lnTo>
                    <a:pt x="161" y="297"/>
                  </a:lnTo>
                  <a:lnTo>
                    <a:pt x="160" y="297"/>
                  </a:lnTo>
                  <a:lnTo>
                    <a:pt x="159" y="297"/>
                  </a:lnTo>
                  <a:lnTo>
                    <a:pt x="158" y="297"/>
                  </a:lnTo>
                  <a:lnTo>
                    <a:pt x="156" y="297"/>
                  </a:lnTo>
                  <a:lnTo>
                    <a:pt x="155" y="297"/>
                  </a:lnTo>
                  <a:lnTo>
                    <a:pt x="153" y="297"/>
                  </a:lnTo>
                  <a:lnTo>
                    <a:pt x="152" y="297"/>
                  </a:lnTo>
                  <a:lnTo>
                    <a:pt x="151" y="297"/>
                  </a:lnTo>
                  <a:lnTo>
                    <a:pt x="148" y="297"/>
                  </a:lnTo>
                  <a:lnTo>
                    <a:pt x="147" y="297"/>
                  </a:lnTo>
                  <a:lnTo>
                    <a:pt x="146" y="297"/>
                  </a:lnTo>
                  <a:lnTo>
                    <a:pt x="144" y="297"/>
                  </a:lnTo>
                  <a:lnTo>
                    <a:pt x="144" y="297"/>
                  </a:lnTo>
                  <a:lnTo>
                    <a:pt x="143" y="297"/>
                  </a:lnTo>
                  <a:lnTo>
                    <a:pt x="142" y="296"/>
                  </a:lnTo>
                  <a:lnTo>
                    <a:pt x="141" y="296"/>
                  </a:lnTo>
                  <a:lnTo>
                    <a:pt x="140" y="296"/>
                  </a:lnTo>
                  <a:lnTo>
                    <a:pt x="139" y="294"/>
                  </a:lnTo>
                  <a:lnTo>
                    <a:pt x="138" y="294"/>
                  </a:lnTo>
                  <a:lnTo>
                    <a:pt x="138" y="294"/>
                  </a:lnTo>
                  <a:lnTo>
                    <a:pt x="137" y="293"/>
                  </a:lnTo>
                  <a:lnTo>
                    <a:pt x="137" y="293"/>
                  </a:lnTo>
                  <a:lnTo>
                    <a:pt x="136" y="293"/>
                  </a:lnTo>
                  <a:lnTo>
                    <a:pt x="136" y="293"/>
                  </a:lnTo>
                  <a:lnTo>
                    <a:pt x="136" y="293"/>
                  </a:lnTo>
                  <a:lnTo>
                    <a:pt x="135" y="293"/>
                  </a:lnTo>
                  <a:lnTo>
                    <a:pt x="132" y="295"/>
                  </a:lnTo>
                  <a:lnTo>
                    <a:pt x="131" y="296"/>
                  </a:lnTo>
                  <a:lnTo>
                    <a:pt x="130" y="296"/>
                  </a:lnTo>
                  <a:lnTo>
                    <a:pt x="128" y="296"/>
                  </a:lnTo>
                  <a:lnTo>
                    <a:pt x="127" y="296"/>
                  </a:lnTo>
                  <a:lnTo>
                    <a:pt x="126" y="297"/>
                  </a:lnTo>
                  <a:lnTo>
                    <a:pt x="125" y="297"/>
                  </a:lnTo>
                  <a:lnTo>
                    <a:pt x="125" y="298"/>
                  </a:lnTo>
                  <a:lnTo>
                    <a:pt x="124" y="298"/>
                  </a:lnTo>
                  <a:lnTo>
                    <a:pt x="123" y="299"/>
                  </a:lnTo>
                  <a:lnTo>
                    <a:pt x="123" y="300"/>
                  </a:lnTo>
                  <a:lnTo>
                    <a:pt x="122" y="300"/>
                  </a:lnTo>
                  <a:lnTo>
                    <a:pt x="122" y="301"/>
                  </a:lnTo>
                  <a:lnTo>
                    <a:pt x="121" y="303"/>
                  </a:lnTo>
                  <a:lnTo>
                    <a:pt x="121" y="303"/>
                  </a:lnTo>
                  <a:lnTo>
                    <a:pt x="120" y="304"/>
                  </a:lnTo>
                  <a:lnTo>
                    <a:pt x="120" y="305"/>
                  </a:lnTo>
                  <a:lnTo>
                    <a:pt x="118" y="306"/>
                  </a:lnTo>
                  <a:lnTo>
                    <a:pt x="117" y="307"/>
                  </a:lnTo>
                  <a:lnTo>
                    <a:pt x="116" y="307"/>
                  </a:lnTo>
                  <a:lnTo>
                    <a:pt x="115" y="308"/>
                  </a:lnTo>
                  <a:lnTo>
                    <a:pt x="114" y="308"/>
                  </a:lnTo>
                  <a:lnTo>
                    <a:pt x="112" y="310"/>
                  </a:lnTo>
                  <a:lnTo>
                    <a:pt x="111" y="310"/>
                  </a:lnTo>
                  <a:lnTo>
                    <a:pt x="110" y="311"/>
                  </a:lnTo>
                  <a:lnTo>
                    <a:pt x="109" y="311"/>
                  </a:lnTo>
                  <a:lnTo>
                    <a:pt x="108" y="312"/>
                  </a:lnTo>
                  <a:lnTo>
                    <a:pt x="107" y="312"/>
                  </a:lnTo>
                  <a:lnTo>
                    <a:pt x="106" y="312"/>
                  </a:lnTo>
                  <a:lnTo>
                    <a:pt x="105" y="312"/>
                  </a:lnTo>
                  <a:lnTo>
                    <a:pt x="104" y="313"/>
                  </a:lnTo>
                  <a:lnTo>
                    <a:pt x="103" y="313"/>
                  </a:lnTo>
                  <a:lnTo>
                    <a:pt x="102" y="313"/>
                  </a:lnTo>
                  <a:lnTo>
                    <a:pt x="102" y="313"/>
                  </a:lnTo>
                  <a:lnTo>
                    <a:pt x="101" y="312"/>
                  </a:lnTo>
                  <a:lnTo>
                    <a:pt x="100" y="312"/>
                  </a:lnTo>
                  <a:lnTo>
                    <a:pt x="99" y="312"/>
                  </a:lnTo>
                  <a:lnTo>
                    <a:pt x="98" y="311"/>
                  </a:lnTo>
                  <a:lnTo>
                    <a:pt x="98" y="311"/>
                  </a:lnTo>
                  <a:lnTo>
                    <a:pt x="97" y="311"/>
                  </a:lnTo>
                  <a:lnTo>
                    <a:pt x="97" y="310"/>
                  </a:lnTo>
                  <a:lnTo>
                    <a:pt x="97" y="310"/>
                  </a:lnTo>
                  <a:lnTo>
                    <a:pt x="97" y="310"/>
                  </a:lnTo>
                  <a:lnTo>
                    <a:pt x="97" y="309"/>
                  </a:lnTo>
                  <a:lnTo>
                    <a:pt x="97" y="308"/>
                  </a:lnTo>
                  <a:lnTo>
                    <a:pt x="97" y="306"/>
                  </a:lnTo>
                  <a:lnTo>
                    <a:pt x="97" y="306"/>
                  </a:lnTo>
                  <a:lnTo>
                    <a:pt x="97" y="305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7" y="303"/>
                  </a:lnTo>
                  <a:lnTo>
                    <a:pt x="97" y="303"/>
                  </a:lnTo>
                  <a:lnTo>
                    <a:pt x="96" y="302"/>
                  </a:lnTo>
                  <a:lnTo>
                    <a:pt x="96" y="302"/>
                  </a:lnTo>
                  <a:lnTo>
                    <a:pt x="96" y="301"/>
                  </a:lnTo>
                  <a:lnTo>
                    <a:pt x="94" y="301"/>
                  </a:lnTo>
                  <a:lnTo>
                    <a:pt x="93" y="300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7"/>
                  </a:lnTo>
                  <a:lnTo>
                    <a:pt x="87" y="297"/>
                  </a:lnTo>
                  <a:lnTo>
                    <a:pt x="85" y="296"/>
                  </a:lnTo>
                  <a:lnTo>
                    <a:pt x="84" y="296"/>
                  </a:lnTo>
                  <a:lnTo>
                    <a:pt x="83" y="296"/>
                  </a:lnTo>
                  <a:lnTo>
                    <a:pt x="79" y="295"/>
                  </a:lnTo>
                  <a:lnTo>
                    <a:pt x="76" y="294"/>
                  </a:lnTo>
                  <a:lnTo>
                    <a:pt x="75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2"/>
                  </a:lnTo>
                  <a:lnTo>
                    <a:pt x="74" y="292"/>
                  </a:lnTo>
                  <a:lnTo>
                    <a:pt x="74" y="292"/>
                  </a:lnTo>
                  <a:lnTo>
                    <a:pt x="75" y="289"/>
                  </a:lnTo>
                  <a:lnTo>
                    <a:pt x="75" y="289"/>
                  </a:lnTo>
                  <a:lnTo>
                    <a:pt x="75" y="288"/>
                  </a:lnTo>
                  <a:lnTo>
                    <a:pt x="75" y="287"/>
                  </a:lnTo>
                  <a:lnTo>
                    <a:pt x="74" y="286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5" y="284"/>
                  </a:lnTo>
                  <a:lnTo>
                    <a:pt x="75" y="283"/>
                  </a:lnTo>
                  <a:lnTo>
                    <a:pt x="76" y="282"/>
                  </a:lnTo>
                  <a:lnTo>
                    <a:pt x="77" y="281"/>
                  </a:lnTo>
                  <a:lnTo>
                    <a:pt x="78" y="279"/>
                  </a:lnTo>
                  <a:lnTo>
                    <a:pt x="79" y="278"/>
                  </a:lnTo>
                  <a:lnTo>
                    <a:pt x="80" y="277"/>
                  </a:lnTo>
                  <a:lnTo>
                    <a:pt x="81" y="275"/>
                  </a:lnTo>
                  <a:lnTo>
                    <a:pt x="82" y="274"/>
                  </a:lnTo>
                  <a:lnTo>
                    <a:pt x="82" y="273"/>
                  </a:lnTo>
                  <a:lnTo>
                    <a:pt x="83" y="271"/>
                  </a:lnTo>
                  <a:lnTo>
                    <a:pt x="83" y="270"/>
                  </a:lnTo>
                  <a:lnTo>
                    <a:pt x="84" y="269"/>
                  </a:lnTo>
                  <a:lnTo>
                    <a:pt x="84" y="268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66"/>
                  </a:lnTo>
                  <a:lnTo>
                    <a:pt x="84" y="266"/>
                  </a:lnTo>
                  <a:lnTo>
                    <a:pt x="83" y="264"/>
                  </a:lnTo>
                  <a:lnTo>
                    <a:pt x="83" y="263"/>
                  </a:lnTo>
                  <a:lnTo>
                    <a:pt x="82" y="261"/>
                  </a:lnTo>
                  <a:lnTo>
                    <a:pt x="82" y="260"/>
                  </a:lnTo>
                  <a:lnTo>
                    <a:pt x="80" y="258"/>
                  </a:lnTo>
                  <a:lnTo>
                    <a:pt x="79" y="257"/>
                  </a:lnTo>
                  <a:lnTo>
                    <a:pt x="78" y="255"/>
                  </a:lnTo>
                  <a:lnTo>
                    <a:pt x="78" y="254"/>
                  </a:lnTo>
                  <a:lnTo>
                    <a:pt x="78" y="254"/>
                  </a:lnTo>
                  <a:lnTo>
                    <a:pt x="78" y="253"/>
                  </a:lnTo>
                  <a:lnTo>
                    <a:pt x="78" y="251"/>
                  </a:lnTo>
                  <a:lnTo>
                    <a:pt x="78" y="249"/>
                  </a:lnTo>
                  <a:lnTo>
                    <a:pt x="78" y="248"/>
                  </a:lnTo>
                  <a:lnTo>
                    <a:pt x="78" y="247"/>
                  </a:lnTo>
                  <a:lnTo>
                    <a:pt x="78" y="246"/>
                  </a:lnTo>
                  <a:lnTo>
                    <a:pt x="78" y="243"/>
                  </a:lnTo>
                  <a:lnTo>
                    <a:pt x="79" y="242"/>
                  </a:lnTo>
                  <a:lnTo>
                    <a:pt x="79" y="240"/>
                  </a:lnTo>
                  <a:lnTo>
                    <a:pt x="78" y="237"/>
                  </a:lnTo>
                  <a:lnTo>
                    <a:pt x="78" y="235"/>
                  </a:lnTo>
                  <a:lnTo>
                    <a:pt x="78" y="233"/>
                  </a:lnTo>
                  <a:lnTo>
                    <a:pt x="78" y="233"/>
                  </a:lnTo>
                  <a:lnTo>
                    <a:pt x="78" y="231"/>
                  </a:lnTo>
                  <a:lnTo>
                    <a:pt x="77" y="230"/>
                  </a:lnTo>
                  <a:lnTo>
                    <a:pt x="77" y="230"/>
                  </a:lnTo>
                  <a:lnTo>
                    <a:pt x="77" y="229"/>
                  </a:lnTo>
                  <a:lnTo>
                    <a:pt x="76" y="228"/>
                  </a:lnTo>
                  <a:lnTo>
                    <a:pt x="75" y="228"/>
                  </a:lnTo>
                  <a:lnTo>
                    <a:pt x="75" y="227"/>
                  </a:lnTo>
                  <a:lnTo>
                    <a:pt x="73" y="226"/>
                  </a:lnTo>
                  <a:lnTo>
                    <a:pt x="72" y="225"/>
                  </a:lnTo>
                  <a:lnTo>
                    <a:pt x="72" y="224"/>
                  </a:lnTo>
                  <a:lnTo>
                    <a:pt x="71" y="224"/>
                  </a:lnTo>
                  <a:lnTo>
                    <a:pt x="70" y="224"/>
                  </a:lnTo>
                  <a:lnTo>
                    <a:pt x="70" y="224"/>
                  </a:lnTo>
                  <a:lnTo>
                    <a:pt x="69" y="224"/>
                  </a:lnTo>
                  <a:lnTo>
                    <a:pt x="68" y="224"/>
                  </a:lnTo>
                  <a:lnTo>
                    <a:pt x="68" y="224"/>
                  </a:lnTo>
                  <a:lnTo>
                    <a:pt x="66" y="225"/>
                  </a:lnTo>
                  <a:lnTo>
                    <a:pt x="65" y="225"/>
                  </a:lnTo>
                  <a:lnTo>
                    <a:pt x="63" y="226"/>
                  </a:lnTo>
                  <a:lnTo>
                    <a:pt x="59" y="227"/>
                  </a:lnTo>
                  <a:lnTo>
                    <a:pt x="58" y="228"/>
                  </a:lnTo>
                  <a:lnTo>
                    <a:pt x="57" y="228"/>
                  </a:lnTo>
                  <a:lnTo>
                    <a:pt x="56" y="228"/>
                  </a:lnTo>
                  <a:lnTo>
                    <a:pt x="55" y="228"/>
                  </a:lnTo>
                  <a:lnTo>
                    <a:pt x="52" y="227"/>
                  </a:lnTo>
                  <a:lnTo>
                    <a:pt x="49" y="227"/>
                  </a:lnTo>
                  <a:lnTo>
                    <a:pt x="45" y="226"/>
                  </a:lnTo>
                  <a:lnTo>
                    <a:pt x="44" y="226"/>
                  </a:lnTo>
                  <a:lnTo>
                    <a:pt x="43" y="226"/>
                  </a:lnTo>
                  <a:lnTo>
                    <a:pt x="39" y="227"/>
                  </a:lnTo>
                  <a:lnTo>
                    <a:pt x="38" y="227"/>
                  </a:lnTo>
                  <a:lnTo>
                    <a:pt x="37" y="227"/>
                  </a:lnTo>
                  <a:lnTo>
                    <a:pt x="36" y="227"/>
                  </a:lnTo>
                  <a:lnTo>
                    <a:pt x="36" y="227"/>
                  </a:lnTo>
                  <a:lnTo>
                    <a:pt x="35" y="226"/>
                  </a:lnTo>
                  <a:lnTo>
                    <a:pt x="34" y="226"/>
                  </a:lnTo>
                  <a:lnTo>
                    <a:pt x="33" y="226"/>
                  </a:lnTo>
                  <a:lnTo>
                    <a:pt x="33" y="225"/>
                  </a:lnTo>
                  <a:lnTo>
                    <a:pt x="32" y="225"/>
                  </a:lnTo>
                  <a:lnTo>
                    <a:pt x="31" y="224"/>
                  </a:lnTo>
                  <a:lnTo>
                    <a:pt x="31" y="224"/>
                  </a:lnTo>
                  <a:lnTo>
                    <a:pt x="30" y="223"/>
                  </a:lnTo>
                  <a:lnTo>
                    <a:pt x="30" y="223"/>
                  </a:lnTo>
                  <a:lnTo>
                    <a:pt x="30" y="222"/>
                  </a:lnTo>
                  <a:lnTo>
                    <a:pt x="29" y="221"/>
                  </a:lnTo>
                  <a:lnTo>
                    <a:pt x="29" y="220"/>
                  </a:lnTo>
                  <a:lnTo>
                    <a:pt x="29" y="219"/>
                  </a:lnTo>
                  <a:lnTo>
                    <a:pt x="29" y="219"/>
                  </a:lnTo>
                  <a:lnTo>
                    <a:pt x="29" y="217"/>
                  </a:lnTo>
                  <a:lnTo>
                    <a:pt x="29" y="215"/>
                  </a:lnTo>
                  <a:lnTo>
                    <a:pt x="29" y="214"/>
                  </a:lnTo>
                  <a:lnTo>
                    <a:pt x="28" y="214"/>
                  </a:lnTo>
                  <a:lnTo>
                    <a:pt x="28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5" y="210"/>
                  </a:lnTo>
                  <a:lnTo>
                    <a:pt x="24" y="209"/>
                  </a:lnTo>
                  <a:lnTo>
                    <a:pt x="23" y="208"/>
                  </a:lnTo>
                  <a:lnTo>
                    <a:pt x="22" y="207"/>
                  </a:lnTo>
                  <a:lnTo>
                    <a:pt x="22" y="207"/>
                  </a:lnTo>
                  <a:lnTo>
                    <a:pt x="21" y="205"/>
                  </a:lnTo>
                  <a:lnTo>
                    <a:pt x="20" y="205"/>
                  </a:lnTo>
                  <a:lnTo>
                    <a:pt x="20" y="204"/>
                  </a:lnTo>
                  <a:lnTo>
                    <a:pt x="19" y="204"/>
                  </a:lnTo>
                  <a:lnTo>
                    <a:pt x="18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5" y="202"/>
                  </a:lnTo>
                  <a:lnTo>
                    <a:pt x="12" y="202"/>
                  </a:lnTo>
                  <a:lnTo>
                    <a:pt x="11" y="202"/>
                  </a:lnTo>
                  <a:lnTo>
                    <a:pt x="10" y="202"/>
                  </a:lnTo>
                  <a:lnTo>
                    <a:pt x="10" y="202"/>
                  </a:lnTo>
                  <a:lnTo>
                    <a:pt x="9" y="201"/>
                  </a:lnTo>
                  <a:lnTo>
                    <a:pt x="9" y="201"/>
                  </a:lnTo>
                  <a:lnTo>
                    <a:pt x="8" y="201"/>
                  </a:lnTo>
                  <a:lnTo>
                    <a:pt x="7" y="200"/>
                  </a:lnTo>
                  <a:lnTo>
                    <a:pt x="6" y="200"/>
                  </a:lnTo>
                  <a:lnTo>
                    <a:pt x="6" y="199"/>
                  </a:lnTo>
                  <a:lnTo>
                    <a:pt x="5" y="199"/>
                  </a:lnTo>
                  <a:lnTo>
                    <a:pt x="5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3" y="194"/>
                  </a:lnTo>
                  <a:lnTo>
                    <a:pt x="3" y="193"/>
                  </a:lnTo>
                  <a:lnTo>
                    <a:pt x="2" y="192"/>
                  </a:lnTo>
                  <a:lnTo>
                    <a:pt x="1" y="190"/>
                  </a:lnTo>
                  <a:lnTo>
                    <a:pt x="1" y="189"/>
                  </a:lnTo>
                  <a:lnTo>
                    <a:pt x="1" y="189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1" y="185"/>
                  </a:lnTo>
                  <a:lnTo>
                    <a:pt x="1" y="185"/>
                  </a:lnTo>
                  <a:lnTo>
                    <a:pt x="1" y="184"/>
                  </a:lnTo>
                  <a:lnTo>
                    <a:pt x="2" y="183"/>
                  </a:lnTo>
                  <a:lnTo>
                    <a:pt x="2" y="183"/>
                  </a:lnTo>
                  <a:lnTo>
                    <a:pt x="3" y="183"/>
                  </a:lnTo>
                  <a:lnTo>
                    <a:pt x="5" y="181"/>
                  </a:lnTo>
                  <a:lnTo>
                    <a:pt x="6" y="181"/>
                  </a:lnTo>
                  <a:lnTo>
                    <a:pt x="6" y="180"/>
                  </a:lnTo>
                  <a:lnTo>
                    <a:pt x="7" y="180"/>
                  </a:lnTo>
                  <a:lnTo>
                    <a:pt x="7" y="180"/>
                  </a:lnTo>
                  <a:lnTo>
                    <a:pt x="7" y="179"/>
                  </a:lnTo>
                  <a:lnTo>
                    <a:pt x="8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2" y="170"/>
                  </a:lnTo>
                  <a:lnTo>
                    <a:pt x="12" y="169"/>
                  </a:lnTo>
                  <a:lnTo>
                    <a:pt x="13" y="168"/>
                  </a:lnTo>
                  <a:lnTo>
                    <a:pt x="13" y="166"/>
                  </a:lnTo>
                  <a:lnTo>
                    <a:pt x="13" y="165"/>
                  </a:lnTo>
                  <a:lnTo>
                    <a:pt x="13" y="164"/>
                  </a:lnTo>
                  <a:lnTo>
                    <a:pt x="12" y="162"/>
                  </a:lnTo>
                  <a:lnTo>
                    <a:pt x="11" y="159"/>
                  </a:lnTo>
                  <a:lnTo>
                    <a:pt x="11" y="158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9" y="155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2"/>
                  </a:lnTo>
                  <a:lnTo>
                    <a:pt x="7" y="151"/>
                  </a:lnTo>
                  <a:lnTo>
                    <a:pt x="7" y="150"/>
                  </a:lnTo>
                  <a:lnTo>
                    <a:pt x="7" y="149"/>
                  </a:lnTo>
                  <a:lnTo>
                    <a:pt x="7" y="144"/>
                  </a:lnTo>
                  <a:lnTo>
                    <a:pt x="7" y="142"/>
                  </a:lnTo>
                  <a:lnTo>
                    <a:pt x="7" y="141"/>
                  </a:lnTo>
                  <a:lnTo>
                    <a:pt x="7" y="141"/>
                  </a:lnTo>
                  <a:lnTo>
                    <a:pt x="7" y="140"/>
                  </a:lnTo>
                  <a:lnTo>
                    <a:pt x="6" y="138"/>
                  </a:lnTo>
                  <a:lnTo>
                    <a:pt x="5" y="136"/>
                  </a:lnTo>
                  <a:lnTo>
                    <a:pt x="5" y="135"/>
                  </a:lnTo>
                  <a:lnTo>
                    <a:pt x="4" y="133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3" y="127"/>
                  </a:lnTo>
                  <a:lnTo>
                    <a:pt x="3" y="126"/>
                  </a:lnTo>
                  <a:lnTo>
                    <a:pt x="4" y="125"/>
                  </a:lnTo>
                  <a:lnTo>
                    <a:pt x="5" y="124"/>
                  </a:lnTo>
                  <a:lnTo>
                    <a:pt x="6" y="123"/>
                  </a:lnTo>
                  <a:lnTo>
                    <a:pt x="8" y="121"/>
                  </a:lnTo>
                  <a:lnTo>
                    <a:pt x="9" y="120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20"/>
                  </a:lnTo>
                  <a:lnTo>
                    <a:pt x="11" y="121"/>
                  </a:lnTo>
                  <a:lnTo>
                    <a:pt x="13" y="121"/>
                  </a:lnTo>
                  <a:lnTo>
                    <a:pt x="15" y="123"/>
                  </a:lnTo>
                  <a:lnTo>
                    <a:pt x="17" y="124"/>
                  </a:lnTo>
                  <a:lnTo>
                    <a:pt x="21" y="126"/>
                  </a:lnTo>
                  <a:lnTo>
                    <a:pt x="22" y="127"/>
                  </a:lnTo>
                  <a:lnTo>
                    <a:pt x="24" y="127"/>
                  </a:lnTo>
                  <a:lnTo>
                    <a:pt x="25" y="128"/>
                  </a:lnTo>
                  <a:lnTo>
                    <a:pt x="27" y="129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 59">
              <a:extLst>
                <a:ext uri="{FF2B5EF4-FFF2-40B4-BE49-F238E27FC236}">
                  <a16:creationId xmlns:a16="http://schemas.microsoft.com/office/drawing/2014/main" id="{FBEC1A1C-D6CE-B2DD-30F8-6DED8A6D10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2" y="2993"/>
              <a:ext cx="124" cy="138"/>
            </a:xfrm>
            <a:custGeom>
              <a:avLst/>
              <a:gdLst>
                <a:gd name="T0" fmla="*/ 3 w 124"/>
                <a:gd name="T1" fmla="*/ 131 h 138"/>
                <a:gd name="T2" fmla="*/ 7 w 124"/>
                <a:gd name="T3" fmla="*/ 131 h 138"/>
                <a:gd name="T4" fmla="*/ 9 w 124"/>
                <a:gd name="T5" fmla="*/ 130 h 138"/>
                <a:gd name="T6" fmla="*/ 15 w 124"/>
                <a:gd name="T7" fmla="*/ 123 h 138"/>
                <a:gd name="T8" fmla="*/ 18 w 124"/>
                <a:gd name="T9" fmla="*/ 121 h 138"/>
                <a:gd name="T10" fmla="*/ 20 w 124"/>
                <a:gd name="T11" fmla="*/ 120 h 138"/>
                <a:gd name="T12" fmla="*/ 24 w 124"/>
                <a:gd name="T13" fmla="*/ 120 h 138"/>
                <a:gd name="T14" fmla="*/ 29 w 124"/>
                <a:gd name="T15" fmla="*/ 123 h 138"/>
                <a:gd name="T16" fmla="*/ 35 w 124"/>
                <a:gd name="T17" fmla="*/ 124 h 138"/>
                <a:gd name="T18" fmla="*/ 39 w 124"/>
                <a:gd name="T19" fmla="*/ 126 h 138"/>
                <a:gd name="T20" fmla="*/ 46 w 124"/>
                <a:gd name="T21" fmla="*/ 129 h 138"/>
                <a:gd name="T22" fmla="*/ 50 w 124"/>
                <a:gd name="T23" fmla="*/ 129 h 138"/>
                <a:gd name="T24" fmla="*/ 52 w 124"/>
                <a:gd name="T25" fmla="*/ 130 h 138"/>
                <a:gd name="T26" fmla="*/ 53 w 124"/>
                <a:gd name="T27" fmla="*/ 133 h 138"/>
                <a:gd name="T28" fmla="*/ 54 w 124"/>
                <a:gd name="T29" fmla="*/ 136 h 138"/>
                <a:gd name="T30" fmla="*/ 56 w 124"/>
                <a:gd name="T31" fmla="*/ 138 h 138"/>
                <a:gd name="T32" fmla="*/ 59 w 124"/>
                <a:gd name="T33" fmla="*/ 138 h 138"/>
                <a:gd name="T34" fmla="*/ 63 w 124"/>
                <a:gd name="T35" fmla="*/ 138 h 138"/>
                <a:gd name="T36" fmla="*/ 66 w 124"/>
                <a:gd name="T37" fmla="*/ 136 h 138"/>
                <a:gd name="T38" fmla="*/ 70 w 124"/>
                <a:gd name="T39" fmla="*/ 133 h 138"/>
                <a:gd name="T40" fmla="*/ 71 w 124"/>
                <a:gd name="T41" fmla="*/ 130 h 138"/>
                <a:gd name="T42" fmla="*/ 70 w 124"/>
                <a:gd name="T43" fmla="*/ 124 h 138"/>
                <a:gd name="T44" fmla="*/ 71 w 124"/>
                <a:gd name="T45" fmla="*/ 121 h 138"/>
                <a:gd name="T46" fmla="*/ 75 w 124"/>
                <a:gd name="T47" fmla="*/ 117 h 138"/>
                <a:gd name="T48" fmla="*/ 80 w 124"/>
                <a:gd name="T49" fmla="*/ 112 h 138"/>
                <a:gd name="T50" fmla="*/ 82 w 124"/>
                <a:gd name="T51" fmla="*/ 111 h 138"/>
                <a:gd name="T52" fmla="*/ 85 w 124"/>
                <a:gd name="T53" fmla="*/ 112 h 138"/>
                <a:gd name="T54" fmla="*/ 88 w 124"/>
                <a:gd name="T55" fmla="*/ 117 h 138"/>
                <a:gd name="T56" fmla="*/ 91 w 124"/>
                <a:gd name="T57" fmla="*/ 120 h 138"/>
                <a:gd name="T58" fmla="*/ 96 w 124"/>
                <a:gd name="T59" fmla="*/ 122 h 138"/>
                <a:gd name="T60" fmla="*/ 99 w 124"/>
                <a:gd name="T61" fmla="*/ 122 h 138"/>
                <a:gd name="T62" fmla="*/ 105 w 124"/>
                <a:gd name="T63" fmla="*/ 120 h 138"/>
                <a:gd name="T64" fmla="*/ 110 w 124"/>
                <a:gd name="T65" fmla="*/ 121 h 138"/>
                <a:gd name="T66" fmla="*/ 113 w 124"/>
                <a:gd name="T67" fmla="*/ 121 h 138"/>
                <a:gd name="T68" fmla="*/ 119 w 124"/>
                <a:gd name="T69" fmla="*/ 120 h 138"/>
                <a:gd name="T70" fmla="*/ 122 w 124"/>
                <a:gd name="T71" fmla="*/ 118 h 138"/>
                <a:gd name="T72" fmla="*/ 124 w 124"/>
                <a:gd name="T73" fmla="*/ 117 h 138"/>
                <a:gd name="T74" fmla="*/ 123 w 124"/>
                <a:gd name="T75" fmla="*/ 113 h 138"/>
                <a:gd name="T76" fmla="*/ 120 w 124"/>
                <a:gd name="T77" fmla="*/ 109 h 138"/>
                <a:gd name="T78" fmla="*/ 114 w 124"/>
                <a:gd name="T79" fmla="*/ 99 h 138"/>
                <a:gd name="T80" fmla="*/ 111 w 124"/>
                <a:gd name="T81" fmla="*/ 92 h 138"/>
                <a:gd name="T82" fmla="*/ 111 w 124"/>
                <a:gd name="T83" fmla="*/ 88 h 138"/>
                <a:gd name="T84" fmla="*/ 113 w 124"/>
                <a:gd name="T85" fmla="*/ 79 h 138"/>
                <a:gd name="T86" fmla="*/ 113 w 124"/>
                <a:gd name="T87" fmla="*/ 76 h 138"/>
                <a:gd name="T88" fmla="*/ 111 w 124"/>
                <a:gd name="T89" fmla="*/ 72 h 138"/>
                <a:gd name="T90" fmla="*/ 109 w 124"/>
                <a:gd name="T91" fmla="*/ 65 h 138"/>
                <a:gd name="T92" fmla="*/ 109 w 124"/>
                <a:gd name="T93" fmla="*/ 59 h 138"/>
                <a:gd name="T94" fmla="*/ 107 w 124"/>
                <a:gd name="T95" fmla="*/ 51 h 138"/>
                <a:gd name="T96" fmla="*/ 105 w 124"/>
                <a:gd name="T97" fmla="*/ 43 h 138"/>
                <a:gd name="T98" fmla="*/ 105 w 124"/>
                <a:gd name="T99" fmla="*/ 29 h 138"/>
                <a:gd name="T100" fmla="*/ 106 w 124"/>
                <a:gd name="T101" fmla="*/ 20 h 138"/>
                <a:gd name="T102" fmla="*/ 104 w 124"/>
                <a:gd name="T103" fmla="*/ 16 h 138"/>
                <a:gd name="T104" fmla="*/ 99 w 124"/>
                <a:gd name="T105" fmla="*/ 8 h 138"/>
                <a:gd name="T106" fmla="*/ 97 w 124"/>
                <a:gd name="T107" fmla="*/ 3 h 138"/>
                <a:gd name="T108" fmla="*/ 98 w 124"/>
                <a:gd name="T10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4" h="138">
                  <a:moveTo>
                    <a:pt x="0" y="130"/>
                  </a:moveTo>
                  <a:lnTo>
                    <a:pt x="1" y="130"/>
                  </a:lnTo>
                  <a:lnTo>
                    <a:pt x="3" y="131"/>
                  </a:lnTo>
                  <a:lnTo>
                    <a:pt x="3" y="131"/>
                  </a:lnTo>
                  <a:lnTo>
                    <a:pt x="4" y="131"/>
                  </a:lnTo>
                  <a:lnTo>
                    <a:pt x="5" y="131"/>
                  </a:lnTo>
                  <a:lnTo>
                    <a:pt x="6" y="131"/>
                  </a:lnTo>
                  <a:lnTo>
                    <a:pt x="7" y="131"/>
                  </a:lnTo>
                  <a:lnTo>
                    <a:pt x="7" y="131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9" y="130"/>
                  </a:lnTo>
                  <a:lnTo>
                    <a:pt x="10" y="129"/>
                  </a:lnTo>
                  <a:lnTo>
                    <a:pt x="11" y="128"/>
                  </a:lnTo>
                  <a:lnTo>
                    <a:pt x="13" y="125"/>
                  </a:lnTo>
                  <a:lnTo>
                    <a:pt x="15" y="123"/>
                  </a:lnTo>
                  <a:lnTo>
                    <a:pt x="16" y="122"/>
                  </a:lnTo>
                  <a:lnTo>
                    <a:pt x="17" y="122"/>
                  </a:lnTo>
                  <a:lnTo>
                    <a:pt x="17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9" y="120"/>
                  </a:lnTo>
                  <a:lnTo>
                    <a:pt x="19" y="120"/>
                  </a:lnTo>
                  <a:lnTo>
                    <a:pt x="20" y="120"/>
                  </a:lnTo>
                  <a:lnTo>
                    <a:pt x="21" y="120"/>
                  </a:lnTo>
                  <a:lnTo>
                    <a:pt x="22" y="120"/>
                  </a:lnTo>
                  <a:lnTo>
                    <a:pt x="23" y="120"/>
                  </a:lnTo>
                  <a:lnTo>
                    <a:pt x="24" y="120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27" y="122"/>
                  </a:lnTo>
                  <a:lnTo>
                    <a:pt x="29" y="123"/>
                  </a:lnTo>
                  <a:lnTo>
                    <a:pt x="31" y="123"/>
                  </a:lnTo>
                  <a:lnTo>
                    <a:pt x="32" y="124"/>
                  </a:lnTo>
                  <a:lnTo>
                    <a:pt x="34" y="124"/>
                  </a:lnTo>
                  <a:lnTo>
                    <a:pt x="35" y="124"/>
                  </a:lnTo>
                  <a:lnTo>
                    <a:pt x="36" y="125"/>
                  </a:lnTo>
                  <a:lnTo>
                    <a:pt x="37" y="125"/>
                  </a:lnTo>
                  <a:lnTo>
                    <a:pt x="38" y="125"/>
                  </a:lnTo>
                  <a:lnTo>
                    <a:pt x="39" y="126"/>
                  </a:lnTo>
                  <a:lnTo>
                    <a:pt x="41" y="127"/>
                  </a:lnTo>
                  <a:lnTo>
                    <a:pt x="42" y="128"/>
                  </a:lnTo>
                  <a:lnTo>
                    <a:pt x="44" y="129"/>
                  </a:lnTo>
                  <a:lnTo>
                    <a:pt x="46" y="129"/>
                  </a:lnTo>
                  <a:lnTo>
                    <a:pt x="47" y="130"/>
                  </a:lnTo>
                  <a:lnTo>
                    <a:pt x="47" y="130"/>
                  </a:lnTo>
                  <a:lnTo>
                    <a:pt x="48" y="130"/>
                  </a:lnTo>
                  <a:lnTo>
                    <a:pt x="50" y="129"/>
                  </a:lnTo>
                  <a:lnTo>
                    <a:pt x="51" y="129"/>
                  </a:lnTo>
                  <a:lnTo>
                    <a:pt x="51" y="130"/>
                  </a:lnTo>
                  <a:lnTo>
                    <a:pt x="51" y="130"/>
                  </a:lnTo>
                  <a:lnTo>
                    <a:pt x="52" y="130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3" y="132"/>
                  </a:lnTo>
                  <a:lnTo>
                    <a:pt x="53" y="133"/>
                  </a:lnTo>
                  <a:lnTo>
                    <a:pt x="53" y="134"/>
                  </a:lnTo>
                  <a:lnTo>
                    <a:pt x="54" y="135"/>
                  </a:lnTo>
                  <a:lnTo>
                    <a:pt x="54" y="135"/>
                  </a:lnTo>
                  <a:lnTo>
                    <a:pt x="54" y="136"/>
                  </a:lnTo>
                  <a:lnTo>
                    <a:pt x="55" y="137"/>
                  </a:lnTo>
                  <a:lnTo>
                    <a:pt x="56" y="137"/>
                  </a:lnTo>
                  <a:lnTo>
                    <a:pt x="56" y="137"/>
                  </a:lnTo>
                  <a:lnTo>
                    <a:pt x="56" y="138"/>
                  </a:lnTo>
                  <a:lnTo>
                    <a:pt x="57" y="138"/>
                  </a:lnTo>
                  <a:lnTo>
                    <a:pt x="58" y="138"/>
                  </a:lnTo>
                  <a:lnTo>
                    <a:pt x="58" y="138"/>
                  </a:lnTo>
                  <a:lnTo>
                    <a:pt x="59" y="138"/>
                  </a:lnTo>
                  <a:lnTo>
                    <a:pt x="60" y="138"/>
                  </a:lnTo>
                  <a:lnTo>
                    <a:pt x="61" y="138"/>
                  </a:lnTo>
                  <a:lnTo>
                    <a:pt x="62" y="138"/>
                  </a:lnTo>
                  <a:lnTo>
                    <a:pt x="63" y="138"/>
                  </a:lnTo>
                  <a:lnTo>
                    <a:pt x="64" y="137"/>
                  </a:lnTo>
                  <a:lnTo>
                    <a:pt x="65" y="137"/>
                  </a:lnTo>
                  <a:lnTo>
                    <a:pt x="66" y="136"/>
                  </a:lnTo>
                  <a:lnTo>
                    <a:pt x="66" y="136"/>
                  </a:lnTo>
                  <a:lnTo>
                    <a:pt x="69" y="135"/>
                  </a:lnTo>
                  <a:lnTo>
                    <a:pt x="69" y="134"/>
                  </a:lnTo>
                  <a:lnTo>
                    <a:pt x="69" y="134"/>
                  </a:lnTo>
                  <a:lnTo>
                    <a:pt x="70" y="133"/>
                  </a:lnTo>
                  <a:lnTo>
                    <a:pt x="70" y="132"/>
                  </a:lnTo>
                  <a:lnTo>
                    <a:pt x="71" y="131"/>
                  </a:lnTo>
                  <a:lnTo>
                    <a:pt x="71" y="130"/>
                  </a:lnTo>
                  <a:lnTo>
                    <a:pt x="71" y="130"/>
                  </a:lnTo>
                  <a:lnTo>
                    <a:pt x="71" y="129"/>
                  </a:lnTo>
                  <a:lnTo>
                    <a:pt x="70" y="126"/>
                  </a:lnTo>
                  <a:lnTo>
                    <a:pt x="70" y="125"/>
                  </a:lnTo>
                  <a:lnTo>
                    <a:pt x="70" y="124"/>
                  </a:lnTo>
                  <a:lnTo>
                    <a:pt x="70" y="123"/>
                  </a:lnTo>
                  <a:lnTo>
                    <a:pt x="70" y="122"/>
                  </a:lnTo>
                  <a:lnTo>
                    <a:pt x="70" y="122"/>
                  </a:lnTo>
                  <a:lnTo>
                    <a:pt x="71" y="121"/>
                  </a:lnTo>
                  <a:lnTo>
                    <a:pt x="71" y="120"/>
                  </a:lnTo>
                  <a:lnTo>
                    <a:pt x="72" y="119"/>
                  </a:lnTo>
                  <a:lnTo>
                    <a:pt x="73" y="119"/>
                  </a:lnTo>
                  <a:lnTo>
                    <a:pt x="75" y="117"/>
                  </a:lnTo>
                  <a:lnTo>
                    <a:pt x="77" y="115"/>
                  </a:lnTo>
                  <a:lnTo>
                    <a:pt x="79" y="113"/>
                  </a:lnTo>
                  <a:lnTo>
                    <a:pt x="80" y="113"/>
                  </a:lnTo>
                  <a:lnTo>
                    <a:pt x="80" y="112"/>
                  </a:lnTo>
                  <a:lnTo>
                    <a:pt x="81" y="111"/>
                  </a:lnTo>
                  <a:lnTo>
                    <a:pt x="81" y="111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3" y="111"/>
                  </a:lnTo>
                  <a:lnTo>
                    <a:pt x="84" y="111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5" y="113"/>
                  </a:lnTo>
                  <a:lnTo>
                    <a:pt x="87" y="115"/>
                  </a:lnTo>
                  <a:lnTo>
                    <a:pt x="88" y="117"/>
                  </a:lnTo>
                  <a:lnTo>
                    <a:pt x="89" y="118"/>
                  </a:lnTo>
                  <a:lnTo>
                    <a:pt x="90" y="118"/>
                  </a:lnTo>
                  <a:lnTo>
                    <a:pt x="91" y="119"/>
                  </a:lnTo>
                  <a:lnTo>
                    <a:pt x="91" y="120"/>
                  </a:lnTo>
                  <a:lnTo>
                    <a:pt x="93" y="120"/>
                  </a:lnTo>
                  <a:lnTo>
                    <a:pt x="94" y="121"/>
                  </a:lnTo>
                  <a:lnTo>
                    <a:pt x="95" y="121"/>
                  </a:lnTo>
                  <a:lnTo>
                    <a:pt x="96" y="122"/>
                  </a:lnTo>
                  <a:lnTo>
                    <a:pt x="97" y="122"/>
                  </a:lnTo>
                  <a:lnTo>
                    <a:pt x="98" y="122"/>
                  </a:lnTo>
                  <a:lnTo>
                    <a:pt x="98" y="122"/>
                  </a:lnTo>
                  <a:lnTo>
                    <a:pt x="99" y="122"/>
                  </a:lnTo>
                  <a:lnTo>
                    <a:pt x="100" y="121"/>
                  </a:lnTo>
                  <a:lnTo>
                    <a:pt x="103" y="121"/>
                  </a:lnTo>
                  <a:lnTo>
                    <a:pt x="104" y="120"/>
                  </a:lnTo>
                  <a:lnTo>
                    <a:pt x="105" y="120"/>
                  </a:lnTo>
                  <a:lnTo>
                    <a:pt x="106" y="120"/>
                  </a:lnTo>
                  <a:lnTo>
                    <a:pt x="107" y="120"/>
                  </a:lnTo>
                  <a:lnTo>
                    <a:pt x="109" y="120"/>
                  </a:lnTo>
                  <a:lnTo>
                    <a:pt x="110" y="121"/>
                  </a:lnTo>
                  <a:lnTo>
                    <a:pt x="112" y="121"/>
                  </a:lnTo>
                  <a:lnTo>
                    <a:pt x="112" y="121"/>
                  </a:lnTo>
                  <a:lnTo>
                    <a:pt x="113" y="121"/>
                  </a:lnTo>
                  <a:lnTo>
                    <a:pt x="113" y="121"/>
                  </a:lnTo>
                  <a:lnTo>
                    <a:pt x="115" y="121"/>
                  </a:lnTo>
                  <a:lnTo>
                    <a:pt x="116" y="121"/>
                  </a:lnTo>
                  <a:lnTo>
                    <a:pt x="117" y="121"/>
                  </a:lnTo>
                  <a:lnTo>
                    <a:pt x="119" y="120"/>
                  </a:lnTo>
                  <a:lnTo>
                    <a:pt x="120" y="120"/>
                  </a:lnTo>
                  <a:lnTo>
                    <a:pt x="121" y="119"/>
                  </a:lnTo>
                  <a:lnTo>
                    <a:pt x="122" y="119"/>
                  </a:lnTo>
                  <a:lnTo>
                    <a:pt x="122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3" y="117"/>
                  </a:lnTo>
                  <a:lnTo>
                    <a:pt x="124" y="117"/>
                  </a:lnTo>
                  <a:lnTo>
                    <a:pt x="124" y="116"/>
                  </a:lnTo>
                  <a:lnTo>
                    <a:pt x="124" y="115"/>
                  </a:lnTo>
                  <a:lnTo>
                    <a:pt x="123" y="114"/>
                  </a:lnTo>
                  <a:lnTo>
                    <a:pt x="123" y="113"/>
                  </a:lnTo>
                  <a:lnTo>
                    <a:pt x="123" y="113"/>
                  </a:lnTo>
                  <a:lnTo>
                    <a:pt x="122" y="112"/>
                  </a:lnTo>
                  <a:lnTo>
                    <a:pt x="122" y="111"/>
                  </a:lnTo>
                  <a:lnTo>
                    <a:pt x="120" y="109"/>
                  </a:lnTo>
                  <a:lnTo>
                    <a:pt x="118" y="105"/>
                  </a:lnTo>
                  <a:lnTo>
                    <a:pt x="116" y="103"/>
                  </a:lnTo>
                  <a:lnTo>
                    <a:pt x="116" y="103"/>
                  </a:lnTo>
                  <a:lnTo>
                    <a:pt x="114" y="99"/>
                  </a:lnTo>
                  <a:lnTo>
                    <a:pt x="113" y="96"/>
                  </a:lnTo>
                  <a:lnTo>
                    <a:pt x="111" y="93"/>
                  </a:lnTo>
                  <a:lnTo>
                    <a:pt x="111" y="93"/>
                  </a:lnTo>
                  <a:lnTo>
                    <a:pt x="111" y="92"/>
                  </a:lnTo>
                  <a:lnTo>
                    <a:pt x="111" y="91"/>
                  </a:lnTo>
                  <a:lnTo>
                    <a:pt x="110" y="90"/>
                  </a:lnTo>
                  <a:lnTo>
                    <a:pt x="111" y="89"/>
                  </a:lnTo>
                  <a:lnTo>
                    <a:pt x="111" y="88"/>
                  </a:lnTo>
                  <a:lnTo>
                    <a:pt x="111" y="86"/>
                  </a:lnTo>
                  <a:lnTo>
                    <a:pt x="112" y="84"/>
                  </a:lnTo>
                  <a:lnTo>
                    <a:pt x="113" y="80"/>
                  </a:lnTo>
                  <a:lnTo>
                    <a:pt x="113" y="79"/>
                  </a:lnTo>
                  <a:lnTo>
                    <a:pt x="114" y="78"/>
                  </a:lnTo>
                  <a:lnTo>
                    <a:pt x="114" y="78"/>
                  </a:lnTo>
                  <a:lnTo>
                    <a:pt x="114" y="77"/>
                  </a:lnTo>
                  <a:lnTo>
                    <a:pt x="113" y="76"/>
                  </a:lnTo>
                  <a:lnTo>
                    <a:pt x="113" y="76"/>
                  </a:lnTo>
                  <a:lnTo>
                    <a:pt x="113" y="75"/>
                  </a:lnTo>
                  <a:lnTo>
                    <a:pt x="113" y="74"/>
                  </a:lnTo>
                  <a:lnTo>
                    <a:pt x="111" y="72"/>
                  </a:lnTo>
                  <a:lnTo>
                    <a:pt x="109" y="67"/>
                  </a:lnTo>
                  <a:lnTo>
                    <a:pt x="109" y="67"/>
                  </a:lnTo>
                  <a:lnTo>
                    <a:pt x="109" y="66"/>
                  </a:lnTo>
                  <a:lnTo>
                    <a:pt x="109" y="65"/>
                  </a:lnTo>
                  <a:lnTo>
                    <a:pt x="109" y="64"/>
                  </a:lnTo>
                  <a:lnTo>
                    <a:pt x="109" y="63"/>
                  </a:lnTo>
                  <a:lnTo>
                    <a:pt x="109" y="60"/>
                  </a:lnTo>
                  <a:lnTo>
                    <a:pt x="109" y="59"/>
                  </a:lnTo>
                  <a:lnTo>
                    <a:pt x="109" y="59"/>
                  </a:lnTo>
                  <a:lnTo>
                    <a:pt x="108" y="57"/>
                  </a:lnTo>
                  <a:lnTo>
                    <a:pt x="107" y="54"/>
                  </a:lnTo>
                  <a:lnTo>
                    <a:pt x="107" y="51"/>
                  </a:lnTo>
                  <a:lnTo>
                    <a:pt x="106" y="48"/>
                  </a:lnTo>
                  <a:lnTo>
                    <a:pt x="106" y="46"/>
                  </a:lnTo>
                  <a:lnTo>
                    <a:pt x="106" y="45"/>
                  </a:lnTo>
                  <a:lnTo>
                    <a:pt x="105" y="43"/>
                  </a:lnTo>
                  <a:lnTo>
                    <a:pt x="105" y="36"/>
                  </a:lnTo>
                  <a:lnTo>
                    <a:pt x="105" y="31"/>
                  </a:lnTo>
                  <a:lnTo>
                    <a:pt x="105" y="30"/>
                  </a:lnTo>
                  <a:lnTo>
                    <a:pt x="105" y="29"/>
                  </a:lnTo>
                  <a:lnTo>
                    <a:pt x="106" y="25"/>
                  </a:lnTo>
                  <a:lnTo>
                    <a:pt x="106" y="23"/>
                  </a:lnTo>
                  <a:lnTo>
                    <a:pt x="106" y="22"/>
                  </a:lnTo>
                  <a:lnTo>
                    <a:pt x="106" y="20"/>
                  </a:lnTo>
                  <a:lnTo>
                    <a:pt x="105" y="20"/>
                  </a:lnTo>
                  <a:lnTo>
                    <a:pt x="105" y="19"/>
                  </a:lnTo>
                  <a:lnTo>
                    <a:pt x="105" y="18"/>
                  </a:lnTo>
                  <a:lnTo>
                    <a:pt x="104" y="16"/>
                  </a:lnTo>
                  <a:lnTo>
                    <a:pt x="103" y="15"/>
                  </a:lnTo>
                  <a:lnTo>
                    <a:pt x="101" y="11"/>
                  </a:lnTo>
                  <a:lnTo>
                    <a:pt x="100" y="10"/>
                  </a:lnTo>
                  <a:lnTo>
                    <a:pt x="99" y="8"/>
                  </a:lnTo>
                  <a:lnTo>
                    <a:pt x="98" y="6"/>
                  </a:lnTo>
                  <a:lnTo>
                    <a:pt x="97" y="5"/>
                  </a:lnTo>
                  <a:lnTo>
                    <a:pt x="97" y="4"/>
                  </a:lnTo>
                  <a:lnTo>
                    <a:pt x="97" y="3"/>
                  </a:lnTo>
                  <a:lnTo>
                    <a:pt x="96" y="2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100" y="1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 60">
              <a:extLst>
                <a:ext uri="{FF2B5EF4-FFF2-40B4-BE49-F238E27FC236}">
                  <a16:creationId xmlns:a16="http://schemas.microsoft.com/office/drawing/2014/main" id="{1336E8A5-3392-18FE-30D2-143BC88FB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" y="3255"/>
              <a:ext cx="442" cy="291"/>
            </a:xfrm>
            <a:custGeom>
              <a:avLst/>
              <a:gdLst>
                <a:gd name="T0" fmla="*/ 131 w 442"/>
                <a:gd name="T1" fmla="*/ 34 h 291"/>
                <a:gd name="T2" fmla="*/ 150 w 442"/>
                <a:gd name="T3" fmla="*/ 29 h 291"/>
                <a:gd name="T4" fmla="*/ 179 w 442"/>
                <a:gd name="T5" fmla="*/ 25 h 291"/>
                <a:gd name="T6" fmla="*/ 192 w 442"/>
                <a:gd name="T7" fmla="*/ 43 h 291"/>
                <a:gd name="T8" fmla="*/ 213 w 442"/>
                <a:gd name="T9" fmla="*/ 58 h 291"/>
                <a:gd name="T10" fmla="*/ 242 w 442"/>
                <a:gd name="T11" fmla="*/ 75 h 291"/>
                <a:gd name="T12" fmla="*/ 261 w 442"/>
                <a:gd name="T13" fmla="*/ 74 h 291"/>
                <a:gd name="T14" fmla="*/ 282 w 442"/>
                <a:gd name="T15" fmla="*/ 75 h 291"/>
                <a:gd name="T16" fmla="*/ 287 w 442"/>
                <a:gd name="T17" fmla="*/ 63 h 291"/>
                <a:gd name="T18" fmla="*/ 298 w 442"/>
                <a:gd name="T19" fmla="*/ 47 h 291"/>
                <a:gd name="T20" fmla="*/ 325 w 442"/>
                <a:gd name="T21" fmla="*/ 31 h 291"/>
                <a:gd name="T22" fmla="*/ 336 w 442"/>
                <a:gd name="T23" fmla="*/ 20 h 291"/>
                <a:gd name="T24" fmla="*/ 359 w 442"/>
                <a:gd name="T25" fmla="*/ 29 h 291"/>
                <a:gd name="T26" fmla="*/ 389 w 442"/>
                <a:gd name="T27" fmla="*/ 47 h 291"/>
                <a:gd name="T28" fmla="*/ 408 w 442"/>
                <a:gd name="T29" fmla="*/ 34 h 291"/>
                <a:gd name="T30" fmla="*/ 427 w 442"/>
                <a:gd name="T31" fmla="*/ 6 h 291"/>
                <a:gd name="T32" fmla="*/ 441 w 442"/>
                <a:gd name="T33" fmla="*/ 1 h 291"/>
                <a:gd name="T34" fmla="*/ 430 w 442"/>
                <a:gd name="T35" fmla="*/ 40 h 291"/>
                <a:gd name="T36" fmla="*/ 426 w 442"/>
                <a:gd name="T37" fmla="*/ 62 h 291"/>
                <a:gd name="T38" fmla="*/ 416 w 442"/>
                <a:gd name="T39" fmla="*/ 87 h 291"/>
                <a:gd name="T40" fmla="*/ 402 w 442"/>
                <a:gd name="T41" fmla="*/ 96 h 291"/>
                <a:gd name="T42" fmla="*/ 412 w 442"/>
                <a:gd name="T43" fmla="*/ 133 h 291"/>
                <a:gd name="T44" fmla="*/ 409 w 442"/>
                <a:gd name="T45" fmla="*/ 161 h 291"/>
                <a:gd name="T46" fmla="*/ 416 w 442"/>
                <a:gd name="T47" fmla="*/ 185 h 291"/>
                <a:gd name="T48" fmla="*/ 429 w 442"/>
                <a:gd name="T49" fmla="*/ 210 h 291"/>
                <a:gd name="T50" fmla="*/ 436 w 442"/>
                <a:gd name="T51" fmla="*/ 220 h 291"/>
                <a:gd name="T52" fmla="*/ 440 w 442"/>
                <a:gd name="T53" fmla="*/ 241 h 291"/>
                <a:gd name="T54" fmla="*/ 433 w 442"/>
                <a:gd name="T55" fmla="*/ 265 h 291"/>
                <a:gd name="T56" fmla="*/ 423 w 442"/>
                <a:gd name="T57" fmla="*/ 278 h 291"/>
                <a:gd name="T58" fmla="*/ 390 w 442"/>
                <a:gd name="T59" fmla="*/ 267 h 291"/>
                <a:gd name="T60" fmla="*/ 363 w 442"/>
                <a:gd name="T61" fmla="*/ 268 h 291"/>
                <a:gd name="T62" fmla="*/ 351 w 442"/>
                <a:gd name="T63" fmla="*/ 283 h 291"/>
                <a:gd name="T64" fmla="*/ 325 w 442"/>
                <a:gd name="T65" fmla="*/ 284 h 291"/>
                <a:gd name="T66" fmla="*/ 311 w 442"/>
                <a:gd name="T67" fmla="*/ 290 h 291"/>
                <a:gd name="T68" fmla="*/ 290 w 442"/>
                <a:gd name="T69" fmla="*/ 275 h 291"/>
                <a:gd name="T70" fmla="*/ 261 w 442"/>
                <a:gd name="T71" fmla="*/ 255 h 291"/>
                <a:gd name="T72" fmla="*/ 224 w 442"/>
                <a:gd name="T73" fmla="*/ 242 h 291"/>
                <a:gd name="T74" fmla="*/ 207 w 442"/>
                <a:gd name="T75" fmla="*/ 230 h 291"/>
                <a:gd name="T76" fmla="*/ 188 w 442"/>
                <a:gd name="T77" fmla="*/ 221 h 291"/>
                <a:gd name="T78" fmla="*/ 173 w 442"/>
                <a:gd name="T79" fmla="*/ 241 h 291"/>
                <a:gd name="T80" fmla="*/ 148 w 442"/>
                <a:gd name="T81" fmla="*/ 233 h 291"/>
                <a:gd name="T82" fmla="*/ 143 w 442"/>
                <a:gd name="T83" fmla="*/ 218 h 291"/>
                <a:gd name="T84" fmla="*/ 123 w 442"/>
                <a:gd name="T85" fmla="*/ 209 h 291"/>
                <a:gd name="T86" fmla="*/ 109 w 442"/>
                <a:gd name="T87" fmla="*/ 199 h 291"/>
                <a:gd name="T88" fmla="*/ 89 w 442"/>
                <a:gd name="T89" fmla="*/ 186 h 291"/>
                <a:gd name="T90" fmla="*/ 68 w 442"/>
                <a:gd name="T91" fmla="*/ 186 h 291"/>
                <a:gd name="T92" fmla="*/ 38 w 442"/>
                <a:gd name="T93" fmla="*/ 157 h 291"/>
                <a:gd name="T94" fmla="*/ 46 w 442"/>
                <a:gd name="T95" fmla="*/ 131 h 291"/>
                <a:gd name="T96" fmla="*/ 41 w 442"/>
                <a:gd name="T97" fmla="*/ 114 h 291"/>
                <a:gd name="T98" fmla="*/ 28 w 442"/>
                <a:gd name="T99" fmla="*/ 99 h 291"/>
                <a:gd name="T100" fmla="*/ 15 w 442"/>
                <a:gd name="T101" fmla="*/ 93 h 291"/>
                <a:gd name="T102" fmla="*/ 0 w 442"/>
                <a:gd name="T103" fmla="*/ 82 h 291"/>
                <a:gd name="T104" fmla="*/ 4 w 442"/>
                <a:gd name="T105" fmla="*/ 74 h 291"/>
                <a:gd name="T106" fmla="*/ 11 w 442"/>
                <a:gd name="T107" fmla="*/ 61 h 291"/>
                <a:gd name="T108" fmla="*/ 11 w 442"/>
                <a:gd name="T109" fmla="*/ 52 h 291"/>
                <a:gd name="T110" fmla="*/ 22 w 442"/>
                <a:gd name="T111" fmla="*/ 51 h 291"/>
                <a:gd name="T112" fmla="*/ 40 w 442"/>
                <a:gd name="T113" fmla="*/ 45 h 291"/>
                <a:gd name="T114" fmla="*/ 57 w 442"/>
                <a:gd name="T115" fmla="*/ 32 h 291"/>
                <a:gd name="T116" fmla="*/ 73 w 442"/>
                <a:gd name="T117" fmla="*/ 36 h 291"/>
                <a:gd name="T118" fmla="*/ 94 w 442"/>
                <a:gd name="T119" fmla="*/ 38 h 291"/>
                <a:gd name="T120" fmla="*/ 111 w 442"/>
                <a:gd name="T121" fmla="*/ 24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2" h="291">
                  <a:moveTo>
                    <a:pt x="121" y="18"/>
                  </a:moveTo>
                  <a:lnTo>
                    <a:pt x="121" y="18"/>
                  </a:lnTo>
                  <a:lnTo>
                    <a:pt x="122" y="19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5" y="22"/>
                  </a:lnTo>
                  <a:lnTo>
                    <a:pt x="126" y="24"/>
                  </a:lnTo>
                  <a:lnTo>
                    <a:pt x="126" y="25"/>
                  </a:lnTo>
                  <a:lnTo>
                    <a:pt x="127" y="27"/>
                  </a:lnTo>
                  <a:lnTo>
                    <a:pt x="128" y="30"/>
                  </a:lnTo>
                  <a:lnTo>
                    <a:pt x="128" y="31"/>
                  </a:lnTo>
                  <a:lnTo>
                    <a:pt x="129" y="32"/>
                  </a:lnTo>
                  <a:lnTo>
                    <a:pt x="129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8" y="35"/>
                  </a:lnTo>
                  <a:lnTo>
                    <a:pt x="139" y="35"/>
                  </a:lnTo>
                  <a:lnTo>
                    <a:pt x="140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5" y="31"/>
                  </a:lnTo>
                  <a:lnTo>
                    <a:pt x="148" y="30"/>
                  </a:lnTo>
                  <a:lnTo>
                    <a:pt x="149" y="29"/>
                  </a:lnTo>
                  <a:lnTo>
                    <a:pt x="150" y="29"/>
                  </a:lnTo>
                  <a:lnTo>
                    <a:pt x="150" y="28"/>
                  </a:lnTo>
                  <a:lnTo>
                    <a:pt x="151" y="28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4"/>
                  </a:lnTo>
                  <a:lnTo>
                    <a:pt x="156" y="23"/>
                  </a:lnTo>
                  <a:lnTo>
                    <a:pt x="158" y="23"/>
                  </a:lnTo>
                  <a:lnTo>
                    <a:pt x="160" y="22"/>
                  </a:lnTo>
                  <a:lnTo>
                    <a:pt x="161" y="21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70" y="23"/>
                  </a:lnTo>
                  <a:lnTo>
                    <a:pt x="174" y="24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0" y="26"/>
                  </a:lnTo>
                  <a:lnTo>
                    <a:pt x="181" y="26"/>
                  </a:lnTo>
                  <a:lnTo>
                    <a:pt x="182" y="27"/>
                  </a:lnTo>
                  <a:lnTo>
                    <a:pt x="183" y="27"/>
                  </a:lnTo>
                  <a:lnTo>
                    <a:pt x="183" y="28"/>
                  </a:lnTo>
                  <a:lnTo>
                    <a:pt x="185" y="31"/>
                  </a:lnTo>
                  <a:lnTo>
                    <a:pt x="186" y="31"/>
                  </a:lnTo>
                  <a:lnTo>
                    <a:pt x="186" y="32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88" y="35"/>
                  </a:lnTo>
                  <a:lnTo>
                    <a:pt x="189" y="39"/>
                  </a:lnTo>
                  <a:lnTo>
                    <a:pt x="190" y="40"/>
                  </a:lnTo>
                  <a:lnTo>
                    <a:pt x="190" y="41"/>
                  </a:lnTo>
                  <a:lnTo>
                    <a:pt x="191" y="42"/>
                  </a:lnTo>
                  <a:lnTo>
                    <a:pt x="191" y="43"/>
                  </a:lnTo>
                  <a:lnTo>
                    <a:pt x="192" y="43"/>
                  </a:lnTo>
                  <a:lnTo>
                    <a:pt x="192" y="44"/>
                  </a:lnTo>
                  <a:lnTo>
                    <a:pt x="193" y="44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6"/>
                  </a:lnTo>
                  <a:lnTo>
                    <a:pt x="200" y="46"/>
                  </a:lnTo>
                  <a:lnTo>
                    <a:pt x="201" y="47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4" y="49"/>
                  </a:lnTo>
                  <a:lnTo>
                    <a:pt x="206" y="50"/>
                  </a:lnTo>
                  <a:lnTo>
                    <a:pt x="208" y="53"/>
                  </a:lnTo>
                  <a:lnTo>
                    <a:pt x="209" y="54"/>
                  </a:lnTo>
                  <a:lnTo>
                    <a:pt x="210" y="55"/>
                  </a:lnTo>
                  <a:lnTo>
                    <a:pt x="211" y="56"/>
                  </a:lnTo>
                  <a:lnTo>
                    <a:pt x="212" y="57"/>
                  </a:lnTo>
                  <a:lnTo>
                    <a:pt x="213" y="58"/>
                  </a:lnTo>
                  <a:lnTo>
                    <a:pt x="215" y="58"/>
                  </a:lnTo>
                  <a:lnTo>
                    <a:pt x="218" y="60"/>
                  </a:lnTo>
                  <a:lnTo>
                    <a:pt x="219" y="60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2"/>
                  </a:lnTo>
                  <a:lnTo>
                    <a:pt x="224" y="64"/>
                  </a:lnTo>
                  <a:lnTo>
                    <a:pt x="225" y="65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8" y="67"/>
                  </a:lnTo>
                  <a:lnTo>
                    <a:pt x="231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6" y="70"/>
                  </a:lnTo>
                  <a:lnTo>
                    <a:pt x="237" y="71"/>
                  </a:lnTo>
                  <a:lnTo>
                    <a:pt x="238" y="72"/>
                  </a:lnTo>
                  <a:lnTo>
                    <a:pt x="242" y="75"/>
                  </a:lnTo>
                  <a:lnTo>
                    <a:pt x="243" y="75"/>
                  </a:lnTo>
                  <a:lnTo>
                    <a:pt x="244" y="76"/>
                  </a:lnTo>
                  <a:lnTo>
                    <a:pt x="245" y="76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7" y="77"/>
                  </a:lnTo>
                  <a:lnTo>
                    <a:pt x="248" y="77"/>
                  </a:lnTo>
                  <a:lnTo>
                    <a:pt x="249" y="77"/>
                  </a:lnTo>
                  <a:lnTo>
                    <a:pt x="251" y="76"/>
                  </a:lnTo>
                  <a:lnTo>
                    <a:pt x="254" y="76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1" y="74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6" y="75"/>
                  </a:lnTo>
                  <a:lnTo>
                    <a:pt x="269" y="75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4" y="74"/>
                  </a:lnTo>
                  <a:lnTo>
                    <a:pt x="275" y="75"/>
                  </a:lnTo>
                  <a:lnTo>
                    <a:pt x="277" y="75"/>
                  </a:lnTo>
                  <a:lnTo>
                    <a:pt x="278" y="76"/>
                  </a:lnTo>
                  <a:lnTo>
                    <a:pt x="279" y="76"/>
                  </a:lnTo>
                  <a:lnTo>
                    <a:pt x="280" y="76"/>
                  </a:lnTo>
                  <a:lnTo>
                    <a:pt x="281" y="76"/>
                  </a:lnTo>
                  <a:lnTo>
                    <a:pt x="281" y="75"/>
                  </a:lnTo>
                  <a:lnTo>
                    <a:pt x="282" y="75"/>
                  </a:lnTo>
                  <a:lnTo>
                    <a:pt x="282" y="75"/>
                  </a:lnTo>
                  <a:lnTo>
                    <a:pt x="283" y="75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2" y="70"/>
                  </a:lnTo>
                  <a:lnTo>
                    <a:pt x="282" y="69"/>
                  </a:lnTo>
                  <a:lnTo>
                    <a:pt x="282" y="69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7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4" y="65"/>
                  </a:lnTo>
                  <a:lnTo>
                    <a:pt x="286" y="64"/>
                  </a:lnTo>
                  <a:lnTo>
                    <a:pt x="287" y="63"/>
                  </a:lnTo>
                  <a:lnTo>
                    <a:pt x="288" y="62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0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5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1" y="52"/>
                  </a:lnTo>
                  <a:lnTo>
                    <a:pt x="292" y="51"/>
                  </a:lnTo>
                  <a:lnTo>
                    <a:pt x="293" y="50"/>
                  </a:lnTo>
                  <a:lnTo>
                    <a:pt x="294" y="50"/>
                  </a:lnTo>
                  <a:lnTo>
                    <a:pt x="296" y="48"/>
                  </a:lnTo>
                  <a:lnTo>
                    <a:pt x="298" y="47"/>
                  </a:lnTo>
                  <a:lnTo>
                    <a:pt x="300" y="46"/>
                  </a:lnTo>
                  <a:lnTo>
                    <a:pt x="302" y="44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6" y="42"/>
                  </a:lnTo>
                  <a:lnTo>
                    <a:pt x="309" y="41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20" y="35"/>
                  </a:lnTo>
                  <a:lnTo>
                    <a:pt x="321" y="34"/>
                  </a:lnTo>
                  <a:lnTo>
                    <a:pt x="322" y="33"/>
                  </a:lnTo>
                  <a:lnTo>
                    <a:pt x="323" y="32"/>
                  </a:lnTo>
                  <a:lnTo>
                    <a:pt x="324" y="31"/>
                  </a:lnTo>
                  <a:lnTo>
                    <a:pt x="325" y="31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7" y="27"/>
                  </a:lnTo>
                  <a:lnTo>
                    <a:pt x="329" y="24"/>
                  </a:lnTo>
                  <a:lnTo>
                    <a:pt x="329" y="23"/>
                  </a:lnTo>
                  <a:lnTo>
                    <a:pt x="329" y="22"/>
                  </a:lnTo>
                  <a:lnTo>
                    <a:pt x="330" y="21"/>
                  </a:lnTo>
                  <a:lnTo>
                    <a:pt x="330" y="21"/>
                  </a:lnTo>
                  <a:lnTo>
                    <a:pt x="331" y="21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39" y="22"/>
                  </a:lnTo>
                  <a:lnTo>
                    <a:pt x="342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7" y="26"/>
                  </a:lnTo>
                  <a:lnTo>
                    <a:pt x="352" y="28"/>
                  </a:lnTo>
                  <a:lnTo>
                    <a:pt x="353" y="28"/>
                  </a:lnTo>
                  <a:lnTo>
                    <a:pt x="355" y="29"/>
                  </a:lnTo>
                  <a:lnTo>
                    <a:pt x="356" y="29"/>
                  </a:lnTo>
                  <a:lnTo>
                    <a:pt x="357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9" y="29"/>
                  </a:lnTo>
                  <a:lnTo>
                    <a:pt x="359" y="29"/>
                  </a:lnTo>
                  <a:lnTo>
                    <a:pt x="360" y="30"/>
                  </a:lnTo>
                  <a:lnTo>
                    <a:pt x="362" y="31"/>
                  </a:lnTo>
                  <a:lnTo>
                    <a:pt x="363" y="32"/>
                  </a:lnTo>
                  <a:lnTo>
                    <a:pt x="365" y="33"/>
                  </a:lnTo>
                  <a:lnTo>
                    <a:pt x="366" y="34"/>
                  </a:lnTo>
                  <a:lnTo>
                    <a:pt x="367" y="35"/>
                  </a:lnTo>
                  <a:lnTo>
                    <a:pt x="370" y="38"/>
                  </a:lnTo>
                  <a:lnTo>
                    <a:pt x="371" y="39"/>
                  </a:lnTo>
                  <a:lnTo>
                    <a:pt x="373" y="40"/>
                  </a:lnTo>
                  <a:lnTo>
                    <a:pt x="374" y="41"/>
                  </a:lnTo>
                  <a:lnTo>
                    <a:pt x="375" y="41"/>
                  </a:lnTo>
                  <a:lnTo>
                    <a:pt x="376" y="42"/>
                  </a:lnTo>
                  <a:lnTo>
                    <a:pt x="377" y="43"/>
                  </a:lnTo>
                  <a:lnTo>
                    <a:pt x="378" y="43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9" y="47"/>
                  </a:lnTo>
                  <a:lnTo>
                    <a:pt x="390" y="47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3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5" y="47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8" y="46"/>
                  </a:lnTo>
                  <a:lnTo>
                    <a:pt x="399" y="45"/>
                  </a:lnTo>
                  <a:lnTo>
                    <a:pt x="400" y="45"/>
                  </a:lnTo>
                  <a:lnTo>
                    <a:pt x="401" y="44"/>
                  </a:lnTo>
                  <a:lnTo>
                    <a:pt x="402" y="42"/>
                  </a:lnTo>
                  <a:lnTo>
                    <a:pt x="406" y="37"/>
                  </a:lnTo>
                  <a:lnTo>
                    <a:pt x="407" y="35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9" y="33"/>
                  </a:lnTo>
                  <a:lnTo>
                    <a:pt x="412" y="30"/>
                  </a:lnTo>
                  <a:lnTo>
                    <a:pt x="414" y="28"/>
                  </a:lnTo>
                  <a:lnTo>
                    <a:pt x="416" y="27"/>
                  </a:lnTo>
                  <a:lnTo>
                    <a:pt x="417" y="26"/>
                  </a:lnTo>
                  <a:lnTo>
                    <a:pt x="418" y="24"/>
                  </a:lnTo>
                  <a:lnTo>
                    <a:pt x="419" y="22"/>
                  </a:lnTo>
                  <a:lnTo>
                    <a:pt x="420" y="21"/>
                  </a:lnTo>
                  <a:lnTo>
                    <a:pt x="421" y="20"/>
                  </a:lnTo>
                  <a:lnTo>
                    <a:pt x="421" y="18"/>
                  </a:lnTo>
                  <a:lnTo>
                    <a:pt x="422" y="17"/>
                  </a:lnTo>
                  <a:lnTo>
                    <a:pt x="424" y="12"/>
                  </a:lnTo>
                  <a:lnTo>
                    <a:pt x="424" y="11"/>
                  </a:lnTo>
                  <a:lnTo>
                    <a:pt x="425" y="10"/>
                  </a:lnTo>
                  <a:lnTo>
                    <a:pt x="426" y="9"/>
                  </a:lnTo>
                  <a:lnTo>
                    <a:pt x="426" y="7"/>
                  </a:lnTo>
                  <a:lnTo>
                    <a:pt x="427" y="6"/>
                  </a:lnTo>
                  <a:lnTo>
                    <a:pt x="428" y="6"/>
                  </a:lnTo>
                  <a:lnTo>
                    <a:pt x="429" y="5"/>
                  </a:lnTo>
                  <a:lnTo>
                    <a:pt x="430" y="4"/>
                  </a:lnTo>
                  <a:lnTo>
                    <a:pt x="431" y="3"/>
                  </a:lnTo>
                  <a:lnTo>
                    <a:pt x="432" y="2"/>
                  </a:lnTo>
                  <a:lnTo>
                    <a:pt x="433" y="2"/>
                  </a:lnTo>
                  <a:lnTo>
                    <a:pt x="434" y="1"/>
                  </a:lnTo>
                  <a:lnTo>
                    <a:pt x="435" y="1"/>
                  </a:lnTo>
                  <a:lnTo>
                    <a:pt x="436" y="0"/>
                  </a:lnTo>
                  <a:lnTo>
                    <a:pt x="437" y="0"/>
                  </a:lnTo>
                  <a:lnTo>
                    <a:pt x="438" y="0"/>
                  </a:lnTo>
                  <a:lnTo>
                    <a:pt x="439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2" y="1"/>
                  </a:lnTo>
                  <a:lnTo>
                    <a:pt x="442" y="1"/>
                  </a:lnTo>
                  <a:lnTo>
                    <a:pt x="442" y="3"/>
                  </a:lnTo>
                  <a:lnTo>
                    <a:pt x="442" y="4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0" y="11"/>
                  </a:lnTo>
                  <a:lnTo>
                    <a:pt x="440" y="13"/>
                  </a:lnTo>
                  <a:lnTo>
                    <a:pt x="439" y="17"/>
                  </a:lnTo>
                  <a:lnTo>
                    <a:pt x="437" y="20"/>
                  </a:lnTo>
                  <a:lnTo>
                    <a:pt x="435" y="28"/>
                  </a:lnTo>
                  <a:lnTo>
                    <a:pt x="433" y="32"/>
                  </a:lnTo>
                  <a:lnTo>
                    <a:pt x="433" y="33"/>
                  </a:lnTo>
                  <a:lnTo>
                    <a:pt x="431" y="35"/>
                  </a:lnTo>
                  <a:lnTo>
                    <a:pt x="430" y="39"/>
                  </a:lnTo>
                  <a:lnTo>
                    <a:pt x="430" y="40"/>
                  </a:lnTo>
                  <a:lnTo>
                    <a:pt x="429" y="42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6"/>
                  </a:lnTo>
                  <a:lnTo>
                    <a:pt x="428" y="47"/>
                  </a:lnTo>
                  <a:lnTo>
                    <a:pt x="428" y="51"/>
                  </a:lnTo>
                  <a:lnTo>
                    <a:pt x="428" y="52"/>
                  </a:lnTo>
                  <a:lnTo>
                    <a:pt x="428" y="53"/>
                  </a:lnTo>
                  <a:lnTo>
                    <a:pt x="428" y="54"/>
                  </a:lnTo>
                  <a:lnTo>
                    <a:pt x="428" y="55"/>
                  </a:lnTo>
                  <a:lnTo>
                    <a:pt x="427" y="58"/>
                  </a:lnTo>
                  <a:lnTo>
                    <a:pt x="427" y="59"/>
                  </a:lnTo>
                  <a:lnTo>
                    <a:pt x="426" y="60"/>
                  </a:lnTo>
                  <a:lnTo>
                    <a:pt x="426" y="61"/>
                  </a:lnTo>
                  <a:lnTo>
                    <a:pt x="426" y="62"/>
                  </a:lnTo>
                  <a:lnTo>
                    <a:pt x="426" y="62"/>
                  </a:lnTo>
                  <a:lnTo>
                    <a:pt x="427" y="63"/>
                  </a:lnTo>
                  <a:lnTo>
                    <a:pt x="427" y="66"/>
                  </a:lnTo>
                  <a:lnTo>
                    <a:pt x="427" y="67"/>
                  </a:lnTo>
                  <a:lnTo>
                    <a:pt x="428" y="70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8" y="74"/>
                  </a:lnTo>
                  <a:lnTo>
                    <a:pt x="427" y="75"/>
                  </a:lnTo>
                  <a:lnTo>
                    <a:pt x="427" y="76"/>
                  </a:lnTo>
                  <a:lnTo>
                    <a:pt x="426" y="77"/>
                  </a:lnTo>
                  <a:lnTo>
                    <a:pt x="426" y="78"/>
                  </a:lnTo>
                  <a:lnTo>
                    <a:pt x="426" y="78"/>
                  </a:lnTo>
                  <a:lnTo>
                    <a:pt x="425" y="79"/>
                  </a:lnTo>
                  <a:lnTo>
                    <a:pt x="424" y="79"/>
                  </a:lnTo>
                  <a:lnTo>
                    <a:pt x="423" y="81"/>
                  </a:lnTo>
                  <a:lnTo>
                    <a:pt x="420" y="83"/>
                  </a:lnTo>
                  <a:lnTo>
                    <a:pt x="419" y="84"/>
                  </a:lnTo>
                  <a:lnTo>
                    <a:pt x="416" y="87"/>
                  </a:lnTo>
                  <a:lnTo>
                    <a:pt x="416" y="88"/>
                  </a:lnTo>
                  <a:lnTo>
                    <a:pt x="415" y="89"/>
                  </a:lnTo>
                  <a:lnTo>
                    <a:pt x="414" y="90"/>
                  </a:lnTo>
                  <a:lnTo>
                    <a:pt x="413" y="91"/>
                  </a:lnTo>
                  <a:lnTo>
                    <a:pt x="412" y="91"/>
                  </a:lnTo>
                  <a:lnTo>
                    <a:pt x="412" y="92"/>
                  </a:lnTo>
                  <a:lnTo>
                    <a:pt x="411" y="92"/>
                  </a:lnTo>
                  <a:lnTo>
                    <a:pt x="410" y="93"/>
                  </a:lnTo>
                  <a:lnTo>
                    <a:pt x="410" y="93"/>
                  </a:lnTo>
                  <a:lnTo>
                    <a:pt x="409" y="93"/>
                  </a:lnTo>
                  <a:lnTo>
                    <a:pt x="406" y="94"/>
                  </a:lnTo>
                  <a:lnTo>
                    <a:pt x="405" y="94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2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2" y="97"/>
                  </a:lnTo>
                  <a:lnTo>
                    <a:pt x="401" y="98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2" y="101"/>
                  </a:lnTo>
                  <a:lnTo>
                    <a:pt x="404" y="105"/>
                  </a:lnTo>
                  <a:lnTo>
                    <a:pt x="405" y="108"/>
                  </a:lnTo>
                  <a:lnTo>
                    <a:pt x="405" y="110"/>
                  </a:lnTo>
                  <a:lnTo>
                    <a:pt x="406" y="115"/>
                  </a:lnTo>
                  <a:lnTo>
                    <a:pt x="407" y="117"/>
                  </a:lnTo>
                  <a:lnTo>
                    <a:pt x="407" y="119"/>
                  </a:lnTo>
                  <a:lnTo>
                    <a:pt x="408" y="121"/>
                  </a:lnTo>
                  <a:lnTo>
                    <a:pt x="410" y="126"/>
                  </a:lnTo>
                  <a:lnTo>
                    <a:pt x="411" y="131"/>
                  </a:lnTo>
                  <a:lnTo>
                    <a:pt x="412" y="132"/>
                  </a:lnTo>
                  <a:lnTo>
                    <a:pt x="412" y="133"/>
                  </a:lnTo>
                  <a:lnTo>
                    <a:pt x="412" y="135"/>
                  </a:lnTo>
                  <a:lnTo>
                    <a:pt x="413" y="139"/>
                  </a:lnTo>
                  <a:lnTo>
                    <a:pt x="413" y="142"/>
                  </a:lnTo>
                  <a:lnTo>
                    <a:pt x="413" y="143"/>
                  </a:lnTo>
                  <a:lnTo>
                    <a:pt x="413" y="145"/>
                  </a:lnTo>
                  <a:lnTo>
                    <a:pt x="414" y="148"/>
                  </a:lnTo>
                  <a:lnTo>
                    <a:pt x="414" y="150"/>
                  </a:lnTo>
                  <a:lnTo>
                    <a:pt x="414" y="151"/>
                  </a:lnTo>
                  <a:lnTo>
                    <a:pt x="414" y="151"/>
                  </a:lnTo>
                  <a:lnTo>
                    <a:pt x="414" y="152"/>
                  </a:lnTo>
                  <a:lnTo>
                    <a:pt x="414" y="153"/>
                  </a:lnTo>
                  <a:lnTo>
                    <a:pt x="413" y="154"/>
                  </a:lnTo>
                  <a:lnTo>
                    <a:pt x="413" y="154"/>
                  </a:lnTo>
                  <a:lnTo>
                    <a:pt x="411" y="157"/>
                  </a:lnTo>
                  <a:lnTo>
                    <a:pt x="410" y="158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09" y="161"/>
                  </a:lnTo>
                  <a:lnTo>
                    <a:pt x="409" y="162"/>
                  </a:lnTo>
                  <a:lnTo>
                    <a:pt x="409" y="163"/>
                  </a:lnTo>
                  <a:lnTo>
                    <a:pt x="408" y="164"/>
                  </a:lnTo>
                  <a:lnTo>
                    <a:pt x="408" y="165"/>
                  </a:lnTo>
                  <a:lnTo>
                    <a:pt x="408" y="166"/>
                  </a:lnTo>
                  <a:lnTo>
                    <a:pt x="408" y="167"/>
                  </a:lnTo>
                  <a:lnTo>
                    <a:pt x="408" y="169"/>
                  </a:lnTo>
                  <a:lnTo>
                    <a:pt x="409" y="170"/>
                  </a:lnTo>
                  <a:lnTo>
                    <a:pt x="409" y="171"/>
                  </a:lnTo>
                  <a:lnTo>
                    <a:pt x="409" y="172"/>
                  </a:lnTo>
                  <a:lnTo>
                    <a:pt x="410" y="173"/>
                  </a:lnTo>
                  <a:lnTo>
                    <a:pt x="412" y="176"/>
                  </a:lnTo>
                  <a:lnTo>
                    <a:pt x="413" y="177"/>
                  </a:lnTo>
                  <a:lnTo>
                    <a:pt x="413" y="178"/>
                  </a:lnTo>
                  <a:lnTo>
                    <a:pt x="413" y="179"/>
                  </a:lnTo>
                  <a:lnTo>
                    <a:pt x="414" y="180"/>
                  </a:lnTo>
                  <a:lnTo>
                    <a:pt x="415" y="183"/>
                  </a:lnTo>
                  <a:lnTo>
                    <a:pt x="416" y="185"/>
                  </a:lnTo>
                  <a:lnTo>
                    <a:pt x="416" y="187"/>
                  </a:lnTo>
                  <a:lnTo>
                    <a:pt x="417" y="189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21" y="193"/>
                  </a:lnTo>
                  <a:lnTo>
                    <a:pt x="422" y="195"/>
                  </a:lnTo>
                  <a:lnTo>
                    <a:pt x="425" y="198"/>
                  </a:lnTo>
                  <a:lnTo>
                    <a:pt x="425" y="199"/>
                  </a:lnTo>
                  <a:lnTo>
                    <a:pt x="426" y="199"/>
                  </a:lnTo>
                  <a:lnTo>
                    <a:pt x="426" y="200"/>
                  </a:lnTo>
                  <a:lnTo>
                    <a:pt x="427" y="201"/>
                  </a:lnTo>
                  <a:lnTo>
                    <a:pt x="427" y="202"/>
                  </a:lnTo>
                  <a:lnTo>
                    <a:pt x="427" y="205"/>
                  </a:lnTo>
                  <a:lnTo>
                    <a:pt x="427" y="206"/>
                  </a:lnTo>
                  <a:lnTo>
                    <a:pt x="428" y="206"/>
                  </a:lnTo>
                  <a:lnTo>
                    <a:pt x="429" y="209"/>
                  </a:lnTo>
                  <a:lnTo>
                    <a:pt x="429" y="210"/>
                  </a:lnTo>
                  <a:lnTo>
                    <a:pt x="429" y="210"/>
                  </a:lnTo>
                  <a:lnTo>
                    <a:pt x="429" y="211"/>
                  </a:lnTo>
                  <a:lnTo>
                    <a:pt x="429" y="212"/>
                  </a:lnTo>
                  <a:lnTo>
                    <a:pt x="429" y="213"/>
                  </a:lnTo>
                  <a:lnTo>
                    <a:pt x="428" y="215"/>
                  </a:lnTo>
                  <a:lnTo>
                    <a:pt x="428" y="216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8"/>
                  </a:lnTo>
                  <a:lnTo>
                    <a:pt x="428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0" y="218"/>
                  </a:lnTo>
                  <a:lnTo>
                    <a:pt x="431" y="218"/>
                  </a:lnTo>
                  <a:lnTo>
                    <a:pt x="432" y="219"/>
                  </a:lnTo>
                  <a:lnTo>
                    <a:pt x="435" y="219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7" y="220"/>
                  </a:lnTo>
                  <a:lnTo>
                    <a:pt x="438" y="221"/>
                  </a:lnTo>
                  <a:lnTo>
                    <a:pt x="439" y="221"/>
                  </a:lnTo>
                  <a:lnTo>
                    <a:pt x="439" y="222"/>
                  </a:lnTo>
                  <a:lnTo>
                    <a:pt x="440" y="223"/>
                  </a:lnTo>
                  <a:lnTo>
                    <a:pt x="440" y="223"/>
                  </a:lnTo>
                  <a:lnTo>
                    <a:pt x="441" y="224"/>
                  </a:lnTo>
                  <a:lnTo>
                    <a:pt x="441" y="225"/>
                  </a:lnTo>
                  <a:lnTo>
                    <a:pt x="441" y="226"/>
                  </a:lnTo>
                  <a:lnTo>
                    <a:pt x="441" y="227"/>
                  </a:lnTo>
                  <a:lnTo>
                    <a:pt x="442" y="231"/>
                  </a:lnTo>
                  <a:lnTo>
                    <a:pt x="442" y="232"/>
                  </a:lnTo>
                  <a:lnTo>
                    <a:pt x="442" y="233"/>
                  </a:lnTo>
                  <a:lnTo>
                    <a:pt x="442" y="235"/>
                  </a:lnTo>
                  <a:lnTo>
                    <a:pt x="442" y="237"/>
                  </a:lnTo>
                  <a:lnTo>
                    <a:pt x="441" y="238"/>
                  </a:lnTo>
                  <a:lnTo>
                    <a:pt x="441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0" y="242"/>
                  </a:lnTo>
                  <a:lnTo>
                    <a:pt x="439" y="243"/>
                  </a:lnTo>
                  <a:lnTo>
                    <a:pt x="437" y="246"/>
                  </a:lnTo>
                  <a:lnTo>
                    <a:pt x="434" y="249"/>
                  </a:lnTo>
                  <a:lnTo>
                    <a:pt x="434" y="250"/>
                  </a:lnTo>
                  <a:lnTo>
                    <a:pt x="433" y="251"/>
                  </a:lnTo>
                  <a:lnTo>
                    <a:pt x="432" y="252"/>
                  </a:lnTo>
                  <a:lnTo>
                    <a:pt x="432" y="253"/>
                  </a:lnTo>
                  <a:lnTo>
                    <a:pt x="431" y="254"/>
                  </a:lnTo>
                  <a:lnTo>
                    <a:pt x="431" y="255"/>
                  </a:lnTo>
                  <a:lnTo>
                    <a:pt x="431" y="256"/>
                  </a:lnTo>
                  <a:lnTo>
                    <a:pt x="431" y="258"/>
                  </a:lnTo>
                  <a:lnTo>
                    <a:pt x="431" y="259"/>
                  </a:lnTo>
                  <a:lnTo>
                    <a:pt x="431" y="259"/>
                  </a:lnTo>
                  <a:lnTo>
                    <a:pt x="431" y="260"/>
                  </a:lnTo>
                  <a:lnTo>
                    <a:pt x="432" y="262"/>
                  </a:lnTo>
                  <a:lnTo>
                    <a:pt x="433" y="265"/>
                  </a:lnTo>
                  <a:lnTo>
                    <a:pt x="433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9"/>
                  </a:lnTo>
                  <a:lnTo>
                    <a:pt x="432" y="271"/>
                  </a:lnTo>
                  <a:lnTo>
                    <a:pt x="431" y="274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1" y="279"/>
                  </a:lnTo>
                  <a:lnTo>
                    <a:pt x="430" y="279"/>
                  </a:lnTo>
                  <a:lnTo>
                    <a:pt x="430" y="279"/>
                  </a:lnTo>
                  <a:lnTo>
                    <a:pt x="429" y="279"/>
                  </a:lnTo>
                  <a:lnTo>
                    <a:pt x="427" y="279"/>
                  </a:lnTo>
                  <a:lnTo>
                    <a:pt x="426" y="279"/>
                  </a:lnTo>
                  <a:lnTo>
                    <a:pt x="425" y="279"/>
                  </a:lnTo>
                  <a:lnTo>
                    <a:pt x="423" y="278"/>
                  </a:lnTo>
                  <a:lnTo>
                    <a:pt x="421" y="278"/>
                  </a:lnTo>
                  <a:lnTo>
                    <a:pt x="420" y="277"/>
                  </a:lnTo>
                  <a:lnTo>
                    <a:pt x="418" y="277"/>
                  </a:lnTo>
                  <a:lnTo>
                    <a:pt x="416" y="276"/>
                  </a:lnTo>
                  <a:lnTo>
                    <a:pt x="415" y="275"/>
                  </a:lnTo>
                  <a:lnTo>
                    <a:pt x="413" y="275"/>
                  </a:lnTo>
                  <a:lnTo>
                    <a:pt x="406" y="271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9"/>
                  </a:lnTo>
                  <a:lnTo>
                    <a:pt x="400" y="269"/>
                  </a:lnTo>
                  <a:lnTo>
                    <a:pt x="398" y="268"/>
                  </a:lnTo>
                  <a:lnTo>
                    <a:pt x="397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2" y="267"/>
                  </a:lnTo>
                  <a:lnTo>
                    <a:pt x="391" y="267"/>
                  </a:lnTo>
                  <a:lnTo>
                    <a:pt x="390" y="267"/>
                  </a:lnTo>
                  <a:lnTo>
                    <a:pt x="388" y="268"/>
                  </a:lnTo>
                  <a:lnTo>
                    <a:pt x="386" y="268"/>
                  </a:lnTo>
                  <a:lnTo>
                    <a:pt x="385" y="268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3" y="268"/>
                  </a:lnTo>
                  <a:lnTo>
                    <a:pt x="380" y="267"/>
                  </a:lnTo>
                  <a:lnTo>
                    <a:pt x="379" y="267"/>
                  </a:lnTo>
                  <a:lnTo>
                    <a:pt x="378" y="267"/>
                  </a:lnTo>
                  <a:lnTo>
                    <a:pt x="377" y="267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70" y="268"/>
                  </a:lnTo>
                  <a:lnTo>
                    <a:pt x="368" y="268"/>
                  </a:lnTo>
                  <a:lnTo>
                    <a:pt x="365" y="268"/>
                  </a:lnTo>
                  <a:lnTo>
                    <a:pt x="363" y="268"/>
                  </a:lnTo>
                  <a:lnTo>
                    <a:pt x="362" y="267"/>
                  </a:lnTo>
                  <a:lnTo>
                    <a:pt x="359" y="267"/>
                  </a:lnTo>
                  <a:lnTo>
                    <a:pt x="358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6" y="267"/>
                  </a:lnTo>
                  <a:lnTo>
                    <a:pt x="356" y="268"/>
                  </a:lnTo>
                  <a:lnTo>
                    <a:pt x="355" y="269"/>
                  </a:lnTo>
                  <a:lnTo>
                    <a:pt x="355" y="271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2" y="281"/>
                  </a:lnTo>
                  <a:lnTo>
                    <a:pt x="352" y="282"/>
                  </a:lnTo>
                  <a:lnTo>
                    <a:pt x="351" y="283"/>
                  </a:lnTo>
                  <a:lnTo>
                    <a:pt x="351" y="283"/>
                  </a:lnTo>
                  <a:lnTo>
                    <a:pt x="350" y="283"/>
                  </a:lnTo>
                  <a:lnTo>
                    <a:pt x="350" y="283"/>
                  </a:lnTo>
                  <a:lnTo>
                    <a:pt x="349" y="284"/>
                  </a:lnTo>
                  <a:lnTo>
                    <a:pt x="348" y="284"/>
                  </a:lnTo>
                  <a:lnTo>
                    <a:pt x="346" y="284"/>
                  </a:lnTo>
                  <a:lnTo>
                    <a:pt x="344" y="284"/>
                  </a:lnTo>
                  <a:lnTo>
                    <a:pt x="343" y="284"/>
                  </a:lnTo>
                  <a:lnTo>
                    <a:pt x="341" y="284"/>
                  </a:lnTo>
                  <a:lnTo>
                    <a:pt x="337" y="283"/>
                  </a:lnTo>
                  <a:lnTo>
                    <a:pt x="336" y="283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4" y="283"/>
                  </a:lnTo>
                  <a:lnTo>
                    <a:pt x="331" y="283"/>
                  </a:lnTo>
                  <a:lnTo>
                    <a:pt x="329" y="284"/>
                  </a:lnTo>
                  <a:lnTo>
                    <a:pt x="327" y="284"/>
                  </a:lnTo>
                  <a:lnTo>
                    <a:pt x="326" y="284"/>
                  </a:lnTo>
                  <a:lnTo>
                    <a:pt x="325" y="284"/>
                  </a:lnTo>
                  <a:lnTo>
                    <a:pt x="324" y="284"/>
                  </a:lnTo>
                  <a:lnTo>
                    <a:pt x="324" y="284"/>
                  </a:lnTo>
                  <a:lnTo>
                    <a:pt x="323" y="283"/>
                  </a:lnTo>
                  <a:lnTo>
                    <a:pt x="322" y="283"/>
                  </a:lnTo>
                  <a:lnTo>
                    <a:pt x="322" y="283"/>
                  </a:lnTo>
                  <a:lnTo>
                    <a:pt x="321" y="283"/>
                  </a:lnTo>
                  <a:lnTo>
                    <a:pt x="321" y="283"/>
                  </a:lnTo>
                  <a:lnTo>
                    <a:pt x="320" y="283"/>
                  </a:lnTo>
                  <a:lnTo>
                    <a:pt x="319" y="283"/>
                  </a:lnTo>
                  <a:lnTo>
                    <a:pt x="318" y="283"/>
                  </a:lnTo>
                  <a:lnTo>
                    <a:pt x="317" y="284"/>
                  </a:lnTo>
                  <a:lnTo>
                    <a:pt x="316" y="284"/>
                  </a:lnTo>
                  <a:lnTo>
                    <a:pt x="316" y="285"/>
                  </a:lnTo>
                  <a:lnTo>
                    <a:pt x="315" y="285"/>
                  </a:lnTo>
                  <a:lnTo>
                    <a:pt x="314" y="287"/>
                  </a:lnTo>
                  <a:lnTo>
                    <a:pt x="313" y="288"/>
                  </a:lnTo>
                  <a:lnTo>
                    <a:pt x="311" y="289"/>
                  </a:lnTo>
                  <a:lnTo>
                    <a:pt x="311" y="290"/>
                  </a:lnTo>
                  <a:lnTo>
                    <a:pt x="310" y="290"/>
                  </a:lnTo>
                  <a:lnTo>
                    <a:pt x="310" y="291"/>
                  </a:lnTo>
                  <a:lnTo>
                    <a:pt x="309" y="291"/>
                  </a:lnTo>
                  <a:lnTo>
                    <a:pt x="309" y="291"/>
                  </a:lnTo>
                  <a:lnTo>
                    <a:pt x="308" y="291"/>
                  </a:lnTo>
                  <a:lnTo>
                    <a:pt x="308" y="291"/>
                  </a:lnTo>
                  <a:lnTo>
                    <a:pt x="307" y="291"/>
                  </a:lnTo>
                  <a:lnTo>
                    <a:pt x="307" y="290"/>
                  </a:lnTo>
                  <a:lnTo>
                    <a:pt x="307" y="290"/>
                  </a:lnTo>
                  <a:lnTo>
                    <a:pt x="303" y="284"/>
                  </a:lnTo>
                  <a:lnTo>
                    <a:pt x="302" y="283"/>
                  </a:lnTo>
                  <a:lnTo>
                    <a:pt x="301" y="282"/>
                  </a:lnTo>
                  <a:lnTo>
                    <a:pt x="300" y="281"/>
                  </a:lnTo>
                  <a:lnTo>
                    <a:pt x="299" y="281"/>
                  </a:lnTo>
                  <a:lnTo>
                    <a:pt x="296" y="279"/>
                  </a:lnTo>
                  <a:lnTo>
                    <a:pt x="293" y="277"/>
                  </a:lnTo>
                  <a:lnTo>
                    <a:pt x="292" y="276"/>
                  </a:lnTo>
                  <a:lnTo>
                    <a:pt x="290" y="275"/>
                  </a:lnTo>
                  <a:lnTo>
                    <a:pt x="289" y="275"/>
                  </a:lnTo>
                  <a:lnTo>
                    <a:pt x="285" y="274"/>
                  </a:lnTo>
                  <a:lnTo>
                    <a:pt x="281" y="272"/>
                  </a:lnTo>
                  <a:lnTo>
                    <a:pt x="280" y="272"/>
                  </a:lnTo>
                  <a:lnTo>
                    <a:pt x="278" y="272"/>
                  </a:lnTo>
                  <a:lnTo>
                    <a:pt x="277" y="271"/>
                  </a:lnTo>
                  <a:lnTo>
                    <a:pt x="276" y="271"/>
                  </a:lnTo>
                  <a:lnTo>
                    <a:pt x="276" y="271"/>
                  </a:lnTo>
                  <a:lnTo>
                    <a:pt x="275" y="270"/>
                  </a:lnTo>
                  <a:lnTo>
                    <a:pt x="273" y="269"/>
                  </a:lnTo>
                  <a:lnTo>
                    <a:pt x="272" y="267"/>
                  </a:lnTo>
                  <a:lnTo>
                    <a:pt x="271" y="266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2"/>
                  </a:lnTo>
                  <a:lnTo>
                    <a:pt x="264" y="258"/>
                  </a:lnTo>
                  <a:lnTo>
                    <a:pt x="262" y="256"/>
                  </a:lnTo>
                  <a:lnTo>
                    <a:pt x="261" y="255"/>
                  </a:lnTo>
                  <a:lnTo>
                    <a:pt x="260" y="254"/>
                  </a:lnTo>
                  <a:lnTo>
                    <a:pt x="258" y="254"/>
                  </a:lnTo>
                  <a:lnTo>
                    <a:pt x="257" y="253"/>
                  </a:lnTo>
                  <a:lnTo>
                    <a:pt x="256" y="252"/>
                  </a:lnTo>
                  <a:lnTo>
                    <a:pt x="252" y="250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6" y="247"/>
                  </a:lnTo>
                  <a:lnTo>
                    <a:pt x="243" y="246"/>
                  </a:lnTo>
                  <a:lnTo>
                    <a:pt x="239" y="245"/>
                  </a:lnTo>
                  <a:lnTo>
                    <a:pt x="235" y="244"/>
                  </a:lnTo>
                  <a:lnTo>
                    <a:pt x="234" y="244"/>
                  </a:lnTo>
                  <a:lnTo>
                    <a:pt x="232" y="243"/>
                  </a:lnTo>
                  <a:lnTo>
                    <a:pt x="231" y="243"/>
                  </a:lnTo>
                  <a:lnTo>
                    <a:pt x="230" y="242"/>
                  </a:lnTo>
                  <a:lnTo>
                    <a:pt x="229" y="242"/>
                  </a:lnTo>
                  <a:lnTo>
                    <a:pt x="228" y="242"/>
                  </a:lnTo>
                  <a:lnTo>
                    <a:pt x="224" y="242"/>
                  </a:lnTo>
                  <a:lnTo>
                    <a:pt x="222" y="242"/>
                  </a:lnTo>
                  <a:lnTo>
                    <a:pt x="221" y="242"/>
                  </a:lnTo>
                  <a:lnTo>
                    <a:pt x="221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19" y="241"/>
                  </a:lnTo>
                  <a:lnTo>
                    <a:pt x="219" y="240"/>
                  </a:lnTo>
                  <a:lnTo>
                    <a:pt x="218" y="240"/>
                  </a:lnTo>
                  <a:lnTo>
                    <a:pt x="216" y="238"/>
                  </a:lnTo>
                  <a:lnTo>
                    <a:pt x="214" y="236"/>
                  </a:lnTo>
                  <a:lnTo>
                    <a:pt x="213" y="235"/>
                  </a:lnTo>
                  <a:lnTo>
                    <a:pt x="212" y="233"/>
                  </a:lnTo>
                  <a:lnTo>
                    <a:pt x="211" y="233"/>
                  </a:lnTo>
                  <a:lnTo>
                    <a:pt x="210" y="232"/>
                  </a:lnTo>
                  <a:lnTo>
                    <a:pt x="209" y="232"/>
                  </a:lnTo>
                  <a:lnTo>
                    <a:pt x="209" y="231"/>
                  </a:lnTo>
                  <a:lnTo>
                    <a:pt x="208" y="231"/>
                  </a:lnTo>
                  <a:lnTo>
                    <a:pt x="207" y="230"/>
                  </a:lnTo>
                  <a:lnTo>
                    <a:pt x="205" y="230"/>
                  </a:lnTo>
                  <a:lnTo>
                    <a:pt x="202" y="230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6" y="227"/>
                  </a:lnTo>
                  <a:lnTo>
                    <a:pt x="195" y="227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3" y="225"/>
                  </a:lnTo>
                  <a:lnTo>
                    <a:pt x="192" y="224"/>
                  </a:lnTo>
                  <a:lnTo>
                    <a:pt x="191" y="223"/>
                  </a:lnTo>
                  <a:lnTo>
                    <a:pt x="190" y="222"/>
                  </a:lnTo>
                  <a:lnTo>
                    <a:pt x="190" y="221"/>
                  </a:lnTo>
                  <a:lnTo>
                    <a:pt x="189" y="221"/>
                  </a:lnTo>
                  <a:lnTo>
                    <a:pt x="189" y="221"/>
                  </a:lnTo>
                  <a:lnTo>
                    <a:pt x="188" y="221"/>
                  </a:lnTo>
                  <a:lnTo>
                    <a:pt x="188" y="221"/>
                  </a:lnTo>
                  <a:lnTo>
                    <a:pt x="187" y="221"/>
                  </a:lnTo>
                  <a:lnTo>
                    <a:pt x="186" y="222"/>
                  </a:lnTo>
                  <a:lnTo>
                    <a:pt x="185" y="223"/>
                  </a:lnTo>
                  <a:lnTo>
                    <a:pt x="184" y="224"/>
                  </a:lnTo>
                  <a:lnTo>
                    <a:pt x="183" y="225"/>
                  </a:lnTo>
                  <a:lnTo>
                    <a:pt x="182" y="226"/>
                  </a:lnTo>
                  <a:lnTo>
                    <a:pt x="181" y="228"/>
                  </a:lnTo>
                  <a:lnTo>
                    <a:pt x="180" y="230"/>
                  </a:lnTo>
                  <a:lnTo>
                    <a:pt x="179" y="233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8" y="235"/>
                  </a:lnTo>
                  <a:lnTo>
                    <a:pt x="176" y="237"/>
                  </a:lnTo>
                  <a:lnTo>
                    <a:pt x="175" y="240"/>
                  </a:lnTo>
                  <a:lnTo>
                    <a:pt x="174" y="240"/>
                  </a:lnTo>
                  <a:lnTo>
                    <a:pt x="174" y="241"/>
                  </a:lnTo>
                  <a:lnTo>
                    <a:pt x="173" y="241"/>
                  </a:lnTo>
                  <a:lnTo>
                    <a:pt x="173" y="241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6" y="242"/>
                  </a:lnTo>
                  <a:lnTo>
                    <a:pt x="165" y="242"/>
                  </a:lnTo>
                  <a:lnTo>
                    <a:pt x="164" y="242"/>
                  </a:lnTo>
                  <a:lnTo>
                    <a:pt x="164" y="241"/>
                  </a:lnTo>
                  <a:lnTo>
                    <a:pt x="163" y="241"/>
                  </a:lnTo>
                  <a:lnTo>
                    <a:pt x="161" y="240"/>
                  </a:lnTo>
                  <a:lnTo>
                    <a:pt x="158" y="239"/>
                  </a:lnTo>
                  <a:lnTo>
                    <a:pt x="152" y="236"/>
                  </a:lnTo>
                  <a:lnTo>
                    <a:pt x="150" y="235"/>
                  </a:lnTo>
                  <a:lnTo>
                    <a:pt x="150" y="234"/>
                  </a:lnTo>
                  <a:lnTo>
                    <a:pt x="149" y="234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6" y="231"/>
                  </a:lnTo>
                  <a:lnTo>
                    <a:pt x="146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5" y="227"/>
                  </a:lnTo>
                  <a:lnTo>
                    <a:pt x="146" y="226"/>
                  </a:lnTo>
                  <a:lnTo>
                    <a:pt x="146" y="225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5" y="219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7"/>
                  </a:lnTo>
                  <a:lnTo>
                    <a:pt x="140" y="217"/>
                  </a:lnTo>
                  <a:lnTo>
                    <a:pt x="139" y="216"/>
                  </a:lnTo>
                  <a:lnTo>
                    <a:pt x="138" y="216"/>
                  </a:lnTo>
                  <a:lnTo>
                    <a:pt x="137" y="215"/>
                  </a:lnTo>
                  <a:lnTo>
                    <a:pt x="135" y="214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1" y="212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7" y="211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3" y="210"/>
                  </a:lnTo>
                  <a:lnTo>
                    <a:pt x="123" y="209"/>
                  </a:lnTo>
                  <a:lnTo>
                    <a:pt x="122" y="209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3"/>
                  </a:lnTo>
                  <a:lnTo>
                    <a:pt x="120" y="203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19" y="202"/>
                  </a:lnTo>
                  <a:lnTo>
                    <a:pt x="119" y="201"/>
                  </a:lnTo>
                  <a:lnTo>
                    <a:pt x="118" y="201"/>
                  </a:lnTo>
                  <a:lnTo>
                    <a:pt x="115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9" y="199"/>
                  </a:lnTo>
                  <a:lnTo>
                    <a:pt x="108" y="198"/>
                  </a:lnTo>
                  <a:lnTo>
                    <a:pt x="107" y="198"/>
                  </a:lnTo>
                  <a:lnTo>
                    <a:pt x="106" y="197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4" y="195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0" y="191"/>
                  </a:lnTo>
                  <a:lnTo>
                    <a:pt x="99" y="191"/>
                  </a:lnTo>
                  <a:lnTo>
                    <a:pt x="98" y="190"/>
                  </a:lnTo>
                  <a:lnTo>
                    <a:pt x="95" y="189"/>
                  </a:lnTo>
                  <a:lnTo>
                    <a:pt x="94" y="189"/>
                  </a:lnTo>
                  <a:lnTo>
                    <a:pt x="93" y="188"/>
                  </a:lnTo>
                  <a:lnTo>
                    <a:pt x="93" y="187"/>
                  </a:lnTo>
                  <a:lnTo>
                    <a:pt x="92" y="187"/>
                  </a:lnTo>
                  <a:lnTo>
                    <a:pt x="91" y="187"/>
                  </a:lnTo>
                  <a:lnTo>
                    <a:pt x="89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7" y="186"/>
                  </a:lnTo>
                  <a:lnTo>
                    <a:pt x="73" y="186"/>
                  </a:lnTo>
                  <a:lnTo>
                    <a:pt x="72" y="186"/>
                  </a:lnTo>
                  <a:lnTo>
                    <a:pt x="71" y="186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7" y="186"/>
                  </a:lnTo>
                  <a:lnTo>
                    <a:pt x="66" y="186"/>
                  </a:lnTo>
                  <a:lnTo>
                    <a:pt x="66" y="185"/>
                  </a:lnTo>
                  <a:lnTo>
                    <a:pt x="64" y="184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0"/>
                  </a:lnTo>
                  <a:lnTo>
                    <a:pt x="59" y="179"/>
                  </a:lnTo>
                  <a:lnTo>
                    <a:pt x="52" y="174"/>
                  </a:lnTo>
                  <a:lnTo>
                    <a:pt x="49" y="172"/>
                  </a:lnTo>
                  <a:lnTo>
                    <a:pt x="47" y="171"/>
                  </a:lnTo>
                  <a:lnTo>
                    <a:pt x="42" y="167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8" y="161"/>
                  </a:lnTo>
                  <a:lnTo>
                    <a:pt x="38" y="157"/>
                  </a:lnTo>
                  <a:lnTo>
                    <a:pt x="39" y="154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9" y="148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4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6" y="131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19"/>
                  </a:lnTo>
                  <a:lnTo>
                    <a:pt x="46" y="118"/>
                  </a:lnTo>
                  <a:lnTo>
                    <a:pt x="45" y="118"/>
                  </a:lnTo>
                  <a:lnTo>
                    <a:pt x="45" y="117"/>
                  </a:lnTo>
                  <a:lnTo>
                    <a:pt x="44" y="116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1" y="114"/>
                  </a:lnTo>
                  <a:lnTo>
                    <a:pt x="38" y="113"/>
                  </a:lnTo>
                  <a:lnTo>
                    <a:pt x="37" y="112"/>
                  </a:lnTo>
                  <a:lnTo>
                    <a:pt x="35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29" y="106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5" y="98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3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8"/>
                  </a:lnTo>
                  <a:lnTo>
                    <a:pt x="5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2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3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8" y="46"/>
                  </a:lnTo>
                  <a:lnTo>
                    <a:pt x="39" y="46"/>
                  </a:lnTo>
                  <a:lnTo>
                    <a:pt x="40" y="45"/>
                  </a:lnTo>
                  <a:lnTo>
                    <a:pt x="42" y="44"/>
                  </a:lnTo>
                  <a:lnTo>
                    <a:pt x="42" y="43"/>
                  </a:lnTo>
                  <a:lnTo>
                    <a:pt x="43" y="42"/>
                  </a:lnTo>
                  <a:lnTo>
                    <a:pt x="43" y="42"/>
                  </a:lnTo>
                  <a:lnTo>
                    <a:pt x="44" y="40"/>
                  </a:lnTo>
                  <a:lnTo>
                    <a:pt x="44" y="39"/>
                  </a:lnTo>
                  <a:lnTo>
                    <a:pt x="45" y="39"/>
                  </a:lnTo>
                  <a:lnTo>
                    <a:pt x="45" y="38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47" y="36"/>
                  </a:lnTo>
                  <a:lnTo>
                    <a:pt x="48" y="36"/>
                  </a:lnTo>
                  <a:lnTo>
                    <a:pt x="49" y="35"/>
                  </a:lnTo>
                  <a:lnTo>
                    <a:pt x="50" y="35"/>
                  </a:lnTo>
                  <a:lnTo>
                    <a:pt x="52" y="35"/>
                  </a:lnTo>
                  <a:lnTo>
                    <a:pt x="53" y="35"/>
                  </a:lnTo>
                  <a:lnTo>
                    <a:pt x="54" y="34"/>
                  </a:lnTo>
                  <a:lnTo>
                    <a:pt x="57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9" y="32"/>
                  </a:lnTo>
                  <a:lnTo>
                    <a:pt x="59" y="32"/>
                  </a:lnTo>
                  <a:lnTo>
                    <a:pt x="60" y="33"/>
                  </a:lnTo>
                  <a:lnTo>
                    <a:pt x="60" y="33"/>
                  </a:lnTo>
                  <a:lnTo>
                    <a:pt x="61" y="33"/>
                  </a:lnTo>
                  <a:lnTo>
                    <a:pt x="62" y="35"/>
                  </a:lnTo>
                  <a:lnTo>
                    <a:pt x="63" y="35"/>
                  </a:lnTo>
                  <a:lnTo>
                    <a:pt x="64" y="35"/>
                  </a:lnTo>
                  <a:lnTo>
                    <a:pt x="65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8" y="36"/>
                  </a:lnTo>
                  <a:lnTo>
                    <a:pt x="69" y="36"/>
                  </a:lnTo>
                  <a:lnTo>
                    <a:pt x="70" y="36"/>
                  </a:lnTo>
                  <a:lnTo>
                    <a:pt x="73" y="36"/>
                  </a:lnTo>
                  <a:lnTo>
                    <a:pt x="74" y="36"/>
                  </a:lnTo>
                  <a:lnTo>
                    <a:pt x="75" y="36"/>
                  </a:lnTo>
                  <a:lnTo>
                    <a:pt x="77" y="36"/>
                  </a:lnTo>
                  <a:lnTo>
                    <a:pt x="78" y="36"/>
                  </a:lnTo>
                  <a:lnTo>
                    <a:pt x="80" y="36"/>
                  </a:lnTo>
                  <a:lnTo>
                    <a:pt x="81" y="36"/>
                  </a:lnTo>
                  <a:lnTo>
                    <a:pt x="82" y="36"/>
                  </a:lnTo>
                  <a:lnTo>
                    <a:pt x="83" y="36"/>
                  </a:lnTo>
                  <a:lnTo>
                    <a:pt x="83" y="37"/>
                  </a:lnTo>
                  <a:lnTo>
                    <a:pt x="85" y="37"/>
                  </a:lnTo>
                  <a:lnTo>
                    <a:pt x="87" y="38"/>
                  </a:lnTo>
                  <a:lnTo>
                    <a:pt x="89" y="39"/>
                  </a:lnTo>
                  <a:lnTo>
                    <a:pt x="89" y="39"/>
                  </a:lnTo>
                  <a:lnTo>
                    <a:pt x="90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3" y="39"/>
                  </a:lnTo>
                  <a:lnTo>
                    <a:pt x="94" y="38"/>
                  </a:lnTo>
                  <a:lnTo>
                    <a:pt x="97" y="37"/>
                  </a:lnTo>
                  <a:lnTo>
                    <a:pt x="98" y="36"/>
                  </a:lnTo>
                  <a:lnTo>
                    <a:pt x="100" y="36"/>
                  </a:lnTo>
                  <a:lnTo>
                    <a:pt x="102" y="35"/>
                  </a:lnTo>
                  <a:lnTo>
                    <a:pt x="103" y="35"/>
                  </a:lnTo>
                  <a:lnTo>
                    <a:pt x="104" y="35"/>
                  </a:lnTo>
                  <a:lnTo>
                    <a:pt x="105" y="34"/>
                  </a:lnTo>
                  <a:lnTo>
                    <a:pt x="106" y="33"/>
                  </a:lnTo>
                  <a:lnTo>
                    <a:pt x="106" y="33"/>
                  </a:lnTo>
                  <a:lnTo>
                    <a:pt x="107" y="32"/>
                  </a:lnTo>
                  <a:lnTo>
                    <a:pt x="107" y="31"/>
                  </a:lnTo>
                  <a:lnTo>
                    <a:pt x="108" y="31"/>
                  </a:lnTo>
                  <a:lnTo>
                    <a:pt x="108" y="30"/>
                  </a:lnTo>
                  <a:lnTo>
                    <a:pt x="109" y="27"/>
                  </a:lnTo>
                  <a:lnTo>
                    <a:pt x="110" y="26"/>
                  </a:lnTo>
                  <a:lnTo>
                    <a:pt x="110" y="26"/>
                  </a:lnTo>
                  <a:lnTo>
                    <a:pt x="111" y="25"/>
                  </a:lnTo>
                  <a:lnTo>
                    <a:pt x="111" y="24"/>
                  </a:lnTo>
                  <a:lnTo>
                    <a:pt x="112" y="24"/>
                  </a:lnTo>
                  <a:lnTo>
                    <a:pt x="113" y="23"/>
                  </a:lnTo>
                  <a:lnTo>
                    <a:pt x="114" y="22"/>
                  </a:lnTo>
                  <a:lnTo>
                    <a:pt x="115" y="21"/>
                  </a:lnTo>
                  <a:lnTo>
                    <a:pt x="116" y="20"/>
                  </a:lnTo>
                  <a:lnTo>
                    <a:pt x="118" y="19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1" y="18"/>
                  </a:lnTo>
                  <a:close/>
                </a:path>
              </a:pathLst>
            </a:custGeom>
            <a:solidFill>
              <a:srgbClr val="FFCC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reeform 61">
              <a:extLst>
                <a:ext uri="{FF2B5EF4-FFF2-40B4-BE49-F238E27FC236}">
                  <a16:creationId xmlns:a16="http://schemas.microsoft.com/office/drawing/2014/main" id="{8329A828-A62B-C6EA-612B-2339D152E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" y="3255"/>
              <a:ext cx="442" cy="291"/>
            </a:xfrm>
            <a:custGeom>
              <a:avLst/>
              <a:gdLst>
                <a:gd name="T0" fmla="*/ 131 w 442"/>
                <a:gd name="T1" fmla="*/ 34 h 291"/>
                <a:gd name="T2" fmla="*/ 148 w 442"/>
                <a:gd name="T3" fmla="*/ 30 h 291"/>
                <a:gd name="T4" fmla="*/ 170 w 442"/>
                <a:gd name="T5" fmla="*/ 23 h 291"/>
                <a:gd name="T6" fmla="*/ 190 w 442"/>
                <a:gd name="T7" fmla="*/ 40 h 291"/>
                <a:gd name="T8" fmla="*/ 208 w 442"/>
                <a:gd name="T9" fmla="*/ 53 h 291"/>
                <a:gd name="T10" fmla="*/ 231 w 442"/>
                <a:gd name="T11" fmla="*/ 68 h 291"/>
                <a:gd name="T12" fmla="*/ 255 w 442"/>
                <a:gd name="T13" fmla="*/ 75 h 291"/>
                <a:gd name="T14" fmla="*/ 274 w 442"/>
                <a:gd name="T15" fmla="*/ 74 h 291"/>
                <a:gd name="T16" fmla="*/ 282 w 442"/>
                <a:gd name="T17" fmla="*/ 69 h 291"/>
                <a:gd name="T18" fmla="*/ 289 w 442"/>
                <a:gd name="T19" fmla="*/ 56 h 291"/>
                <a:gd name="T20" fmla="*/ 312 w 442"/>
                <a:gd name="T21" fmla="*/ 39 h 291"/>
                <a:gd name="T22" fmla="*/ 329 w 442"/>
                <a:gd name="T23" fmla="*/ 22 h 291"/>
                <a:gd name="T24" fmla="*/ 343 w 442"/>
                <a:gd name="T25" fmla="*/ 24 h 291"/>
                <a:gd name="T26" fmla="*/ 365 w 442"/>
                <a:gd name="T27" fmla="*/ 33 h 291"/>
                <a:gd name="T28" fmla="*/ 392 w 442"/>
                <a:gd name="T29" fmla="*/ 48 h 291"/>
                <a:gd name="T30" fmla="*/ 409 w 442"/>
                <a:gd name="T31" fmla="*/ 33 h 291"/>
                <a:gd name="T32" fmla="*/ 428 w 442"/>
                <a:gd name="T33" fmla="*/ 6 h 291"/>
                <a:gd name="T34" fmla="*/ 441 w 442"/>
                <a:gd name="T35" fmla="*/ 1 h 291"/>
                <a:gd name="T36" fmla="*/ 430 w 442"/>
                <a:gd name="T37" fmla="*/ 39 h 291"/>
                <a:gd name="T38" fmla="*/ 426 w 442"/>
                <a:gd name="T39" fmla="*/ 61 h 291"/>
                <a:gd name="T40" fmla="*/ 423 w 442"/>
                <a:gd name="T41" fmla="*/ 81 h 291"/>
                <a:gd name="T42" fmla="*/ 403 w 442"/>
                <a:gd name="T43" fmla="*/ 95 h 291"/>
                <a:gd name="T44" fmla="*/ 407 w 442"/>
                <a:gd name="T45" fmla="*/ 119 h 291"/>
                <a:gd name="T46" fmla="*/ 413 w 442"/>
                <a:gd name="T47" fmla="*/ 154 h 291"/>
                <a:gd name="T48" fmla="*/ 410 w 442"/>
                <a:gd name="T49" fmla="*/ 173 h 291"/>
                <a:gd name="T50" fmla="*/ 426 w 442"/>
                <a:gd name="T51" fmla="*/ 200 h 291"/>
                <a:gd name="T52" fmla="*/ 428 w 442"/>
                <a:gd name="T53" fmla="*/ 218 h 291"/>
                <a:gd name="T54" fmla="*/ 441 w 442"/>
                <a:gd name="T55" fmla="*/ 225 h 291"/>
                <a:gd name="T56" fmla="*/ 433 w 442"/>
                <a:gd name="T57" fmla="*/ 251 h 291"/>
                <a:gd name="T58" fmla="*/ 431 w 442"/>
                <a:gd name="T59" fmla="*/ 274 h 291"/>
                <a:gd name="T60" fmla="*/ 415 w 442"/>
                <a:gd name="T61" fmla="*/ 275 h 291"/>
                <a:gd name="T62" fmla="*/ 384 w 442"/>
                <a:gd name="T63" fmla="*/ 268 h 291"/>
                <a:gd name="T64" fmla="*/ 358 w 442"/>
                <a:gd name="T65" fmla="*/ 266 h 291"/>
                <a:gd name="T66" fmla="*/ 350 w 442"/>
                <a:gd name="T67" fmla="*/ 283 h 291"/>
                <a:gd name="T68" fmla="*/ 324 w 442"/>
                <a:gd name="T69" fmla="*/ 284 h 291"/>
                <a:gd name="T70" fmla="*/ 311 w 442"/>
                <a:gd name="T71" fmla="*/ 290 h 291"/>
                <a:gd name="T72" fmla="*/ 292 w 442"/>
                <a:gd name="T73" fmla="*/ 276 h 291"/>
                <a:gd name="T74" fmla="*/ 264 w 442"/>
                <a:gd name="T75" fmla="*/ 258 h 291"/>
                <a:gd name="T76" fmla="*/ 230 w 442"/>
                <a:gd name="T77" fmla="*/ 242 h 291"/>
                <a:gd name="T78" fmla="*/ 210 w 442"/>
                <a:gd name="T79" fmla="*/ 232 h 291"/>
                <a:gd name="T80" fmla="*/ 191 w 442"/>
                <a:gd name="T81" fmla="*/ 223 h 291"/>
                <a:gd name="T82" fmla="*/ 179 w 442"/>
                <a:gd name="T83" fmla="*/ 234 h 291"/>
                <a:gd name="T84" fmla="*/ 163 w 442"/>
                <a:gd name="T85" fmla="*/ 241 h 291"/>
                <a:gd name="T86" fmla="*/ 147 w 442"/>
                <a:gd name="T87" fmla="*/ 222 h 291"/>
                <a:gd name="T88" fmla="*/ 132 w 442"/>
                <a:gd name="T89" fmla="*/ 213 h 291"/>
                <a:gd name="T90" fmla="*/ 120 w 442"/>
                <a:gd name="T91" fmla="*/ 203 h 291"/>
                <a:gd name="T92" fmla="*/ 101 w 442"/>
                <a:gd name="T93" fmla="*/ 192 h 291"/>
                <a:gd name="T94" fmla="*/ 84 w 442"/>
                <a:gd name="T95" fmla="*/ 187 h 291"/>
                <a:gd name="T96" fmla="*/ 64 w 442"/>
                <a:gd name="T97" fmla="*/ 184 h 291"/>
                <a:gd name="T98" fmla="*/ 39 w 442"/>
                <a:gd name="T99" fmla="*/ 149 h 291"/>
                <a:gd name="T100" fmla="*/ 45 w 442"/>
                <a:gd name="T101" fmla="*/ 127 h 291"/>
                <a:gd name="T102" fmla="*/ 37 w 442"/>
                <a:gd name="T103" fmla="*/ 112 h 291"/>
                <a:gd name="T104" fmla="*/ 28 w 442"/>
                <a:gd name="T105" fmla="*/ 99 h 291"/>
                <a:gd name="T106" fmla="*/ 15 w 442"/>
                <a:gd name="T107" fmla="*/ 93 h 291"/>
                <a:gd name="T108" fmla="*/ 0 w 442"/>
                <a:gd name="T109" fmla="*/ 83 h 291"/>
                <a:gd name="T110" fmla="*/ 5 w 442"/>
                <a:gd name="T111" fmla="*/ 76 h 291"/>
                <a:gd name="T112" fmla="*/ 10 w 442"/>
                <a:gd name="T113" fmla="*/ 66 h 291"/>
                <a:gd name="T114" fmla="*/ 10 w 442"/>
                <a:gd name="T115" fmla="*/ 54 h 291"/>
                <a:gd name="T116" fmla="*/ 19 w 442"/>
                <a:gd name="T117" fmla="*/ 49 h 291"/>
                <a:gd name="T118" fmla="*/ 33 w 442"/>
                <a:gd name="T119" fmla="*/ 49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2" h="291">
                  <a:moveTo>
                    <a:pt x="121" y="18"/>
                  </a:moveTo>
                  <a:lnTo>
                    <a:pt x="121" y="18"/>
                  </a:lnTo>
                  <a:lnTo>
                    <a:pt x="122" y="19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5" y="22"/>
                  </a:lnTo>
                  <a:lnTo>
                    <a:pt x="126" y="24"/>
                  </a:lnTo>
                  <a:lnTo>
                    <a:pt x="126" y="25"/>
                  </a:lnTo>
                  <a:lnTo>
                    <a:pt x="127" y="27"/>
                  </a:lnTo>
                  <a:lnTo>
                    <a:pt x="128" y="30"/>
                  </a:lnTo>
                  <a:lnTo>
                    <a:pt x="128" y="31"/>
                  </a:lnTo>
                  <a:lnTo>
                    <a:pt x="129" y="32"/>
                  </a:lnTo>
                  <a:lnTo>
                    <a:pt x="129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8" y="35"/>
                  </a:lnTo>
                  <a:lnTo>
                    <a:pt x="139" y="35"/>
                  </a:lnTo>
                  <a:lnTo>
                    <a:pt x="140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5" y="31"/>
                  </a:lnTo>
                  <a:lnTo>
                    <a:pt x="148" y="30"/>
                  </a:lnTo>
                  <a:lnTo>
                    <a:pt x="149" y="29"/>
                  </a:lnTo>
                  <a:lnTo>
                    <a:pt x="150" y="29"/>
                  </a:lnTo>
                  <a:lnTo>
                    <a:pt x="150" y="28"/>
                  </a:lnTo>
                  <a:lnTo>
                    <a:pt x="151" y="28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4"/>
                  </a:lnTo>
                  <a:lnTo>
                    <a:pt x="156" y="23"/>
                  </a:lnTo>
                  <a:lnTo>
                    <a:pt x="158" y="23"/>
                  </a:lnTo>
                  <a:lnTo>
                    <a:pt x="160" y="22"/>
                  </a:lnTo>
                  <a:lnTo>
                    <a:pt x="161" y="21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70" y="23"/>
                  </a:lnTo>
                  <a:lnTo>
                    <a:pt x="174" y="24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0" y="26"/>
                  </a:lnTo>
                  <a:lnTo>
                    <a:pt x="181" y="26"/>
                  </a:lnTo>
                  <a:lnTo>
                    <a:pt x="182" y="27"/>
                  </a:lnTo>
                  <a:lnTo>
                    <a:pt x="183" y="27"/>
                  </a:lnTo>
                  <a:lnTo>
                    <a:pt x="183" y="28"/>
                  </a:lnTo>
                  <a:lnTo>
                    <a:pt x="185" y="31"/>
                  </a:lnTo>
                  <a:lnTo>
                    <a:pt x="186" y="31"/>
                  </a:lnTo>
                  <a:lnTo>
                    <a:pt x="186" y="32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88" y="35"/>
                  </a:lnTo>
                  <a:lnTo>
                    <a:pt x="189" y="39"/>
                  </a:lnTo>
                  <a:lnTo>
                    <a:pt x="190" y="40"/>
                  </a:lnTo>
                  <a:lnTo>
                    <a:pt x="190" y="41"/>
                  </a:lnTo>
                  <a:lnTo>
                    <a:pt x="191" y="42"/>
                  </a:lnTo>
                  <a:lnTo>
                    <a:pt x="191" y="43"/>
                  </a:lnTo>
                  <a:lnTo>
                    <a:pt x="192" y="43"/>
                  </a:lnTo>
                  <a:lnTo>
                    <a:pt x="192" y="44"/>
                  </a:lnTo>
                  <a:lnTo>
                    <a:pt x="193" y="44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6"/>
                  </a:lnTo>
                  <a:lnTo>
                    <a:pt x="200" y="46"/>
                  </a:lnTo>
                  <a:lnTo>
                    <a:pt x="201" y="47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4" y="49"/>
                  </a:lnTo>
                  <a:lnTo>
                    <a:pt x="206" y="50"/>
                  </a:lnTo>
                  <a:lnTo>
                    <a:pt x="208" y="53"/>
                  </a:lnTo>
                  <a:lnTo>
                    <a:pt x="209" y="54"/>
                  </a:lnTo>
                  <a:lnTo>
                    <a:pt x="210" y="55"/>
                  </a:lnTo>
                  <a:lnTo>
                    <a:pt x="211" y="56"/>
                  </a:lnTo>
                  <a:lnTo>
                    <a:pt x="212" y="57"/>
                  </a:lnTo>
                  <a:lnTo>
                    <a:pt x="213" y="58"/>
                  </a:lnTo>
                  <a:lnTo>
                    <a:pt x="215" y="58"/>
                  </a:lnTo>
                  <a:lnTo>
                    <a:pt x="218" y="60"/>
                  </a:lnTo>
                  <a:lnTo>
                    <a:pt x="219" y="60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2"/>
                  </a:lnTo>
                  <a:lnTo>
                    <a:pt x="224" y="64"/>
                  </a:lnTo>
                  <a:lnTo>
                    <a:pt x="225" y="65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8" y="67"/>
                  </a:lnTo>
                  <a:lnTo>
                    <a:pt x="231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6" y="70"/>
                  </a:lnTo>
                  <a:lnTo>
                    <a:pt x="237" y="71"/>
                  </a:lnTo>
                  <a:lnTo>
                    <a:pt x="238" y="72"/>
                  </a:lnTo>
                  <a:lnTo>
                    <a:pt x="242" y="75"/>
                  </a:lnTo>
                  <a:lnTo>
                    <a:pt x="243" y="75"/>
                  </a:lnTo>
                  <a:lnTo>
                    <a:pt x="244" y="76"/>
                  </a:lnTo>
                  <a:lnTo>
                    <a:pt x="245" y="76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7" y="77"/>
                  </a:lnTo>
                  <a:lnTo>
                    <a:pt x="248" y="77"/>
                  </a:lnTo>
                  <a:lnTo>
                    <a:pt x="249" y="77"/>
                  </a:lnTo>
                  <a:lnTo>
                    <a:pt x="251" y="76"/>
                  </a:lnTo>
                  <a:lnTo>
                    <a:pt x="254" y="76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1" y="74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6" y="75"/>
                  </a:lnTo>
                  <a:lnTo>
                    <a:pt x="269" y="75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4" y="74"/>
                  </a:lnTo>
                  <a:lnTo>
                    <a:pt x="275" y="75"/>
                  </a:lnTo>
                  <a:lnTo>
                    <a:pt x="277" y="75"/>
                  </a:lnTo>
                  <a:lnTo>
                    <a:pt x="278" y="76"/>
                  </a:lnTo>
                  <a:lnTo>
                    <a:pt x="279" y="76"/>
                  </a:lnTo>
                  <a:lnTo>
                    <a:pt x="280" y="76"/>
                  </a:lnTo>
                  <a:lnTo>
                    <a:pt x="281" y="76"/>
                  </a:lnTo>
                  <a:lnTo>
                    <a:pt x="281" y="75"/>
                  </a:lnTo>
                  <a:lnTo>
                    <a:pt x="282" y="75"/>
                  </a:lnTo>
                  <a:lnTo>
                    <a:pt x="282" y="75"/>
                  </a:lnTo>
                  <a:lnTo>
                    <a:pt x="283" y="75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2" y="70"/>
                  </a:lnTo>
                  <a:lnTo>
                    <a:pt x="282" y="69"/>
                  </a:lnTo>
                  <a:lnTo>
                    <a:pt x="282" y="69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7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4" y="65"/>
                  </a:lnTo>
                  <a:lnTo>
                    <a:pt x="286" y="64"/>
                  </a:lnTo>
                  <a:lnTo>
                    <a:pt x="287" y="63"/>
                  </a:lnTo>
                  <a:lnTo>
                    <a:pt x="288" y="62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0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5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1" y="52"/>
                  </a:lnTo>
                  <a:lnTo>
                    <a:pt x="292" y="51"/>
                  </a:lnTo>
                  <a:lnTo>
                    <a:pt x="293" y="50"/>
                  </a:lnTo>
                  <a:lnTo>
                    <a:pt x="294" y="50"/>
                  </a:lnTo>
                  <a:lnTo>
                    <a:pt x="296" y="48"/>
                  </a:lnTo>
                  <a:lnTo>
                    <a:pt x="298" y="47"/>
                  </a:lnTo>
                  <a:lnTo>
                    <a:pt x="300" y="46"/>
                  </a:lnTo>
                  <a:lnTo>
                    <a:pt x="302" y="44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6" y="42"/>
                  </a:lnTo>
                  <a:lnTo>
                    <a:pt x="309" y="41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20" y="35"/>
                  </a:lnTo>
                  <a:lnTo>
                    <a:pt x="321" y="34"/>
                  </a:lnTo>
                  <a:lnTo>
                    <a:pt x="322" y="33"/>
                  </a:lnTo>
                  <a:lnTo>
                    <a:pt x="323" y="32"/>
                  </a:lnTo>
                  <a:lnTo>
                    <a:pt x="324" y="31"/>
                  </a:lnTo>
                  <a:lnTo>
                    <a:pt x="325" y="31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7" y="27"/>
                  </a:lnTo>
                  <a:lnTo>
                    <a:pt x="329" y="24"/>
                  </a:lnTo>
                  <a:lnTo>
                    <a:pt x="329" y="23"/>
                  </a:lnTo>
                  <a:lnTo>
                    <a:pt x="329" y="22"/>
                  </a:lnTo>
                  <a:lnTo>
                    <a:pt x="330" y="21"/>
                  </a:lnTo>
                  <a:lnTo>
                    <a:pt x="330" y="21"/>
                  </a:lnTo>
                  <a:lnTo>
                    <a:pt x="331" y="21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39" y="22"/>
                  </a:lnTo>
                  <a:lnTo>
                    <a:pt x="342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7" y="26"/>
                  </a:lnTo>
                  <a:lnTo>
                    <a:pt x="352" y="28"/>
                  </a:lnTo>
                  <a:lnTo>
                    <a:pt x="353" y="28"/>
                  </a:lnTo>
                  <a:lnTo>
                    <a:pt x="355" y="29"/>
                  </a:lnTo>
                  <a:lnTo>
                    <a:pt x="356" y="29"/>
                  </a:lnTo>
                  <a:lnTo>
                    <a:pt x="357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9" y="29"/>
                  </a:lnTo>
                  <a:lnTo>
                    <a:pt x="359" y="29"/>
                  </a:lnTo>
                  <a:lnTo>
                    <a:pt x="360" y="30"/>
                  </a:lnTo>
                  <a:lnTo>
                    <a:pt x="362" y="31"/>
                  </a:lnTo>
                  <a:lnTo>
                    <a:pt x="363" y="32"/>
                  </a:lnTo>
                  <a:lnTo>
                    <a:pt x="365" y="33"/>
                  </a:lnTo>
                  <a:lnTo>
                    <a:pt x="366" y="34"/>
                  </a:lnTo>
                  <a:lnTo>
                    <a:pt x="367" y="35"/>
                  </a:lnTo>
                  <a:lnTo>
                    <a:pt x="370" y="38"/>
                  </a:lnTo>
                  <a:lnTo>
                    <a:pt x="371" y="39"/>
                  </a:lnTo>
                  <a:lnTo>
                    <a:pt x="373" y="40"/>
                  </a:lnTo>
                  <a:lnTo>
                    <a:pt x="374" y="41"/>
                  </a:lnTo>
                  <a:lnTo>
                    <a:pt x="375" y="41"/>
                  </a:lnTo>
                  <a:lnTo>
                    <a:pt x="376" y="42"/>
                  </a:lnTo>
                  <a:lnTo>
                    <a:pt x="377" y="43"/>
                  </a:lnTo>
                  <a:lnTo>
                    <a:pt x="378" y="43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9" y="47"/>
                  </a:lnTo>
                  <a:lnTo>
                    <a:pt x="390" y="47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3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5" y="47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8" y="46"/>
                  </a:lnTo>
                  <a:lnTo>
                    <a:pt x="399" y="45"/>
                  </a:lnTo>
                  <a:lnTo>
                    <a:pt x="400" y="45"/>
                  </a:lnTo>
                  <a:lnTo>
                    <a:pt x="401" y="44"/>
                  </a:lnTo>
                  <a:lnTo>
                    <a:pt x="402" y="42"/>
                  </a:lnTo>
                  <a:lnTo>
                    <a:pt x="406" y="37"/>
                  </a:lnTo>
                  <a:lnTo>
                    <a:pt x="407" y="35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9" y="33"/>
                  </a:lnTo>
                  <a:lnTo>
                    <a:pt x="412" y="30"/>
                  </a:lnTo>
                  <a:lnTo>
                    <a:pt x="414" y="28"/>
                  </a:lnTo>
                  <a:lnTo>
                    <a:pt x="416" y="27"/>
                  </a:lnTo>
                  <a:lnTo>
                    <a:pt x="417" y="26"/>
                  </a:lnTo>
                  <a:lnTo>
                    <a:pt x="418" y="24"/>
                  </a:lnTo>
                  <a:lnTo>
                    <a:pt x="419" y="22"/>
                  </a:lnTo>
                  <a:lnTo>
                    <a:pt x="420" y="21"/>
                  </a:lnTo>
                  <a:lnTo>
                    <a:pt x="421" y="20"/>
                  </a:lnTo>
                  <a:lnTo>
                    <a:pt x="421" y="18"/>
                  </a:lnTo>
                  <a:lnTo>
                    <a:pt x="422" y="17"/>
                  </a:lnTo>
                  <a:lnTo>
                    <a:pt x="424" y="12"/>
                  </a:lnTo>
                  <a:lnTo>
                    <a:pt x="424" y="11"/>
                  </a:lnTo>
                  <a:lnTo>
                    <a:pt x="425" y="10"/>
                  </a:lnTo>
                  <a:lnTo>
                    <a:pt x="426" y="9"/>
                  </a:lnTo>
                  <a:lnTo>
                    <a:pt x="426" y="7"/>
                  </a:lnTo>
                  <a:lnTo>
                    <a:pt x="427" y="6"/>
                  </a:lnTo>
                  <a:lnTo>
                    <a:pt x="428" y="6"/>
                  </a:lnTo>
                  <a:lnTo>
                    <a:pt x="429" y="5"/>
                  </a:lnTo>
                  <a:lnTo>
                    <a:pt x="430" y="4"/>
                  </a:lnTo>
                  <a:lnTo>
                    <a:pt x="431" y="3"/>
                  </a:lnTo>
                  <a:lnTo>
                    <a:pt x="432" y="2"/>
                  </a:lnTo>
                  <a:lnTo>
                    <a:pt x="433" y="2"/>
                  </a:lnTo>
                  <a:lnTo>
                    <a:pt x="434" y="1"/>
                  </a:lnTo>
                  <a:lnTo>
                    <a:pt x="435" y="1"/>
                  </a:lnTo>
                  <a:lnTo>
                    <a:pt x="436" y="0"/>
                  </a:lnTo>
                  <a:lnTo>
                    <a:pt x="437" y="0"/>
                  </a:lnTo>
                  <a:lnTo>
                    <a:pt x="438" y="0"/>
                  </a:lnTo>
                  <a:lnTo>
                    <a:pt x="439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2" y="1"/>
                  </a:lnTo>
                  <a:lnTo>
                    <a:pt x="442" y="1"/>
                  </a:lnTo>
                  <a:lnTo>
                    <a:pt x="442" y="3"/>
                  </a:lnTo>
                  <a:lnTo>
                    <a:pt x="442" y="4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0" y="11"/>
                  </a:lnTo>
                  <a:lnTo>
                    <a:pt x="440" y="13"/>
                  </a:lnTo>
                  <a:lnTo>
                    <a:pt x="439" y="17"/>
                  </a:lnTo>
                  <a:lnTo>
                    <a:pt x="437" y="20"/>
                  </a:lnTo>
                  <a:lnTo>
                    <a:pt x="435" y="28"/>
                  </a:lnTo>
                  <a:lnTo>
                    <a:pt x="433" y="32"/>
                  </a:lnTo>
                  <a:lnTo>
                    <a:pt x="433" y="33"/>
                  </a:lnTo>
                  <a:lnTo>
                    <a:pt x="431" y="35"/>
                  </a:lnTo>
                  <a:lnTo>
                    <a:pt x="430" y="39"/>
                  </a:lnTo>
                  <a:lnTo>
                    <a:pt x="430" y="40"/>
                  </a:lnTo>
                  <a:lnTo>
                    <a:pt x="429" y="42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6"/>
                  </a:lnTo>
                  <a:lnTo>
                    <a:pt x="428" y="47"/>
                  </a:lnTo>
                  <a:lnTo>
                    <a:pt x="428" y="51"/>
                  </a:lnTo>
                  <a:lnTo>
                    <a:pt x="428" y="52"/>
                  </a:lnTo>
                  <a:lnTo>
                    <a:pt x="428" y="53"/>
                  </a:lnTo>
                  <a:lnTo>
                    <a:pt x="428" y="54"/>
                  </a:lnTo>
                  <a:lnTo>
                    <a:pt x="428" y="55"/>
                  </a:lnTo>
                  <a:lnTo>
                    <a:pt x="427" y="58"/>
                  </a:lnTo>
                  <a:lnTo>
                    <a:pt x="427" y="59"/>
                  </a:lnTo>
                  <a:lnTo>
                    <a:pt x="426" y="60"/>
                  </a:lnTo>
                  <a:lnTo>
                    <a:pt x="426" y="61"/>
                  </a:lnTo>
                  <a:lnTo>
                    <a:pt x="426" y="62"/>
                  </a:lnTo>
                  <a:lnTo>
                    <a:pt x="426" y="62"/>
                  </a:lnTo>
                  <a:lnTo>
                    <a:pt x="427" y="63"/>
                  </a:lnTo>
                  <a:lnTo>
                    <a:pt x="427" y="66"/>
                  </a:lnTo>
                  <a:lnTo>
                    <a:pt x="427" y="67"/>
                  </a:lnTo>
                  <a:lnTo>
                    <a:pt x="428" y="70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8" y="74"/>
                  </a:lnTo>
                  <a:lnTo>
                    <a:pt x="427" y="75"/>
                  </a:lnTo>
                  <a:lnTo>
                    <a:pt x="427" y="76"/>
                  </a:lnTo>
                  <a:lnTo>
                    <a:pt x="426" y="77"/>
                  </a:lnTo>
                  <a:lnTo>
                    <a:pt x="426" y="78"/>
                  </a:lnTo>
                  <a:lnTo>
                    <a:pt x="426" y="78"/>
                  </a:lnTo>
                  <a:lnTo>
                    <a:pt x="425" y="79"/>
                  </a:lnTo>
                  <a:lnTo>
                    <a:pt x="424" y="79"/>
                  </a:lnTo>
                  <a:lnTo>
                    <a:pt x="423" y="81"/>
                  </a:lnTo>
                  <a:lnTo>
                    <a:pt x="420" y="83"/>
                  </a:lnTo>
                  <a:lnTo>
                    <a:pt x="419" y="84"/>
                  </a:lnTo>
                  <a:lnTo>
                    <a:pt x="416" y="87"/>
                  </a:lnTo>
                  <a:lnTo>
                    <a:pt x="416" y="88"/>
                  </a:lnTo>
                  <a:lnTo>
                    <a:pt x="415" y="89"/>
                  </a:lnTo>
                  <a:lnTo>
                    <a:pt x="414" y="90"/>
                  </a:lnTo>
                  <a:lnTo>
                    <a:pt x="413" y="91"/>
                  </a:lnTo>
                  <a:lnTo>
                    <a:pt x="412" y="91"/>
                  </a:lnTo>
                  <a:lnTo>
                    <a:pt x="412" y="92"/>
                  </a:lnTo>
                  <a:lnTo>
                    <a:pt x="411" y="92"/>
                  </a:lnTo>
                  <a:lnTo>
                    <a:pt x="410" y="93"/>
                  </a:lnTo>
                  <a:lnTo>
                    <a:pt x="410" y="93"/>
                  </a:lnTo>
                  <a:lnTo>
                    <a:pt x="409" y="93"/>
                  </a:lnTo>
                  <a:lnTo>
                    <a:pt x="406" y="94"/>
                  </a:lnTo>
                  <a:lnTo>
                    <a:pt x="405" y="94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2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2" y="97"/>
                  </a:lnTo>
                  <a:lnTo>
                    <a:pt x="401" y="98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2" y="101"/>
                  </a:lnTo>
                  <a:lnTo>
                    <a:pt x="404" y="105"/>
                  </a:lnTo>
                  <a:lnTo>
                    <a:pt x="405" y="108"/>
                  </a:lnTo>
                  <a:lnTo>
                    <a:pt x="405" y="110"/>
                  </a:lnTo>
                  <a:lnTo>
                    <a:pt x="406" y="115"/>
                  </a:lnTo>
                  <a:lnTo>
                    <a:pt x="407" y="117"/>
                  </a:lnTo>
                  <a:lnTo>
                    <a:pt x="407" y="119"/>
                  </a:lnTo>
                  <a:lnTo>
                    <a:pt x="408" y="121"/>
                  </a:lnTo>
                  <a:lnTo>
                    <a:pt x="410" y="126"/>
                  </a:lnTo>
                  <a:lnTo>
                    <a:pt x="411" y="131"/>
                  </a:lnTo>
                  <a:lnTo>
                    <a:pt x="412" y="132"/>
                  </a:lnTo>
                  <a:lnTo>
                    <a:pt x="412" y="133"/>
                  </a:lnTo>
                  <a:lnTo>
                    <a:pt x="412" y="135"/>
                  </a:lnTo>
                  <a:lnTo>
                    <a:pt x="413" y="139"/>
                  </a:lnTo>
                  <a:lnTo>
                    <a:pt x="413" y="142"/>
                  </a:lnTo>
                  <a:lnTo>
                    <a:pt x="413" y="143"/>
                  </a:lnTo>
                  <a:lnTo>
                    <a:pt x="413" y="145"/>
                  </a:lnTo>
                  <a:lnTo>
                    <a:pt x="414" y="148"/>
                  </a:lnTo>
                  <a:lnTo>
                    <a:pt x="414" y="150"/>
                  </a:lnTo>
                  <a:lnTo>
                    <a:pt x="414" y="151"/>
                  </a:lnTo>
                  <a:lnTo>
                    <a:pt x="414" y="151"/>
                  </a:lnTo>
                  <a:lnTo>
                    <a:pt x="414" y="152"/>
                  </a:lnTo>
                  <a:lnTo>
                    <a:pt x="414" y="153"/>
                  </a:lnTo>
                  <a:lnTo>
                    <a:pt x="413" y="154"/>
                  </a:lnTo>
                  <a:lnTo>
                    <a:pt x="413" y="154"/>
                  </a:lnTo>
                  <a:lnTo>
                    <a:pt x="411" y="157"/>
                  </a:lnTo>
                  <a:lnTo>
                    <a:pt x="410" y="158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09" y="161"/>
                  </a:lnTo>
                  <a:lnTo>
                    <a:pt x="409" y="162"/>
                  </a:lnTo>
                  <a:lnTo>
                    <a:pt x="409" y="163"/>
                  </a:lnTo>
                  <a:lnTo>
                    <a:pt x="408" y="164"/>
                  </a:lnTo>
                  <a:lnTo>
                    <a:pt x="408" y="165"/>
                  </a:lnTo>
                  <a:lnTo>
                    <a:pt x="408" y="166"/>
                  </a:lnTo>
                  <a:lnTo>
                    <a:pt x="408" y="167"/>
                  </a:lnTo>
                  <a:lnTo>
                    <a:pt x="408" y="169"/>
                  </a:lnTo>
                  <a:lnTo>
                    <a:pt x="409" y="170"/>
                  </a:lnTo>
                  <a:lnTo>
                    <a:pt x="409" y="171"/>
                  </a:lnTo>
                  <a:lnTo>
                    <a:pt x="409" y="172"/>
                  </a:lnTo>
                  <a:lnTo>
                    <a:pt x="410" y="173"/>
                  </a:lnTo>
                  <a:lnTo>
                    <a:pt x="412" y="176"/>
                  </a:lnTo>
                  <a:lnTo>
                    <a:pt x="413" y="177"/>
                  </a:lnTo>
                  <a:lnTo>
                    <a:pt x="413" y="178"/>
                  </a:lnTo>
                  <a:lnTo>
                    <a:pt x="413" y="179"/>
                  </a:lnTo>
                  <a:lnTo>
                    <a:pt x="414" y="180"/>
                  </a:lnTo>
                  <a:lnTo>
                    <a:pt x="415" y="183"/>
                  </a:lnTo>
                  <a:lnTo>
                    <a:pt x="416" y="185"/>
                  </a:lnTo>
                  <a:lnTo>
                    <a:pt x="416" y="187"/>
                  </a:lnTo>
                  <a:lnTo>
                    <a:pt x="417" y="189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21" y="193"/>
                  </a:lnTo>
                  <a:lnTo>
                    <a:pt x="422" y="195"/>
                  </a:lnTo>
                  <a:lnTo>
                    <a:pt x="425" y="198"/>
                  </a:lnTo>
                  <a:lnTo>
                    <a:pt x="425" y="199"/>
                  </a:lnTo>
                  <a:lnTo>
                    <a:pt x="426" y="199"/>
                  </a:lnTo>
                  <a:lnTo>
                    <a:pt x="426" y="200"/>
                  </a:lnTo>
                  <a:lnTo>
                    <a:pt x="427" y="201"/>
                  </a:lnTo>
                  <a:lnTo>
                    <a:pt x="427" y="202"/>
                  </a:lnTo>
                  <a:lnTo>
                    <a:pt x="427" y="205"/>
                  </a:lnTo>
                  <a:lnTo>
                    <a:pt x="427" y="206"/>
                  </a:lnTo>
                  <a:lnTo>
                    <a:pt x="428" y="206"/>
                  </a:lnTo>
                  <a:lnTo>
                    <a:pt x="429" y="209"/>
                  </a:lnTo>
                  <a:lnTo>
                    <a:pt x="429" y="210"/>
                  </a:lnTo>
                  <a:lnTo>
                    <a:pt x="429" y="210"/>
                  </a:lnTo>
                  <a:lnTo>
                    <a:pt x="429" y="211"/>
                  </a:lnTo>
                  <a:lnTo>
                    <a:pt x="429" y="212"/>
                  </a:lnTo>
                  <a:lnTo>
                    <a:pt x="429" y="213"/>
                  </a:lnTo>
                  <a:lnTo>
                    <a:pt x="428" y="215"/>
                  </a:lnTo>
                  <a:lnTo>
                    <a:pt x="428" y="216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8"/>
                  </a:lnTo>
                  <a:lnTo>
                    <a:pt x="428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0" y="218"/>
                  </a:lnTo>
                  <a:lnTo>
                    <a:pt x="431" y="218"/>
                  </a:lnTo>
                  <a:lnTo>
                    <a:pt x="432" y="219"/>
                  </a:lnTo>
                  <a:lnTo>
                    <a:pt x="435" y="219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7" y="220"/>
                  </a:lnTo>
                  <a:lnTo>
                    <a:pt x="438" y="221"/>
                  </a:lnTo>
                  <a:lnTo>
                    <a:pt x="439" y="221"/>
                  </a:lnTo>
                  <a:lnTo>
                    <a:pt x="439" y="222"/>
                  </a:lnTo>
                  <a:lnTo>
                    <a:pt x="440" y="223"/>
                  </a:lnTo>
                  <a:lnTo>
                    <a:pt x="440" y="223"/>
                  </a:lnTo>
                  <a:lnTo>
                    <a:pt x="441" y="224"/>
                  </a:lnTo>
                  <a:lnTo>
                    <a:pt x="441" y="225"/>
                  </a:lnTo>
                  <a:lnTo>
                    <a:pt x="441" y="226"/>
                  </a:lnTo>
                  <a:lnTo>
                    <a:pt x="441" y="227"/>
                  </a:lnTo>
                  <a:lnTo>
                    <a:pt x="442" y="231"/>
                  </a:lnTo>
                  <a:lnTo>
                    <a:pt x="442" y="232"/>
                  </a:lnTo>
                  <a:lnTo>
                    <a:pt x="442" y="233"/>
                  </a:lnTo>
                  <a:lnTo>
                    <a:pt x="442" y="235"/>
                  </a:lnTo>
                  <a:lnTo>
                    <a:pt x="442" y="237"/>
                  </a:lnTo>
                  <a:lnTo>
                    <a:pt x="441" y="238"/>
                  </a:lnTo>
                  <a:lnTo>
                    <a:pt x="441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0" y="242"/>
                  </a:lnTo>
                  <a:lnTo>
                    <a:pt x="439" y="243"/>
                  </a:lnTo>
                  <a:lnTo>
                    <a:pt x="437" y="246"/>
                  </a:lnTo>
                  <a:lnTo>
                    <a:pt x="434" y="249"/>
                  </a:lnTo>
                  <a:lnTo>
                    <a:pt x="434" y="250"/>
                  </a:lnTo>
                  <a:lnTo>
                    <a:pt x="433" y="251"/>
                  </a:lnTo>
                  <a:lnTo>
                    <a:pt x="432" y="252"/>
                  </a:lnTo>
                  <a:lnTo>
                    <a:pt x="432" y="253"/>
                  </a:lnTo>
                  <a:lnTo>
                    <a:pt x="431" y="254"/>
                  </a:lnTo>
                  <a:lnTo>
                    <a:pt x="431" y="255"/>
                  </a:lnTo>
                  <a:lnTo>
                    <a:pt x="431" y="256"/>
                  </a:lnTo>
                  <a:lnTo>
                    <a:pt x="431" y="258"/>
                  </a:lnTo>
                  <a:lnTo>
                    <a:pt x="431" y="259"/>
                  </a:lnTo>
                  <a:lnTo>
                    <a:pt x="431" y="259"/>
                  </a:lnTo>
                  <a:lnTo>
                    <a:pt x="431" y="260"/>
                  </a:lnTo>
                  <a:lnTo>
                    <a:pt x="432" y="262"/>
                  </a:lnTo>
                  <a:lnTo>
                    <a:pt x="433" y="265"/>
                  </a:lnTo>
                  <a:lnTo>
                    <a:pt x="433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9"/>
                  </a:lnTo>
                  <a:lnTo>
                    <a:pt x="432" y="271"/>
                  </a:lnTo>
                  <a:lnTo>
                    <a:pt x="431" y="274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1" y="279"/>
                  </a:lnTo>
                  <a:lnTo>
                    <a:pt x="430" y="279"/>
                  </a:lnTo>
                  <a:lnTo>
                    <a:pt x="430" y="279"/>
                  </a:lnTo>
                  <a:lnTo>
                    <a:pt x="429" y="279"/>
                  </a:lnTo>
                  <a:lnTo>
                    <a:pt x="427" y="279"/>
                  </a:lnTo>
                  <a:lnTo>
                    <a:pt x="426" y="279"/>
                  </a:lnTo>
                  <a:lnTo>
                    <a:pt x="425" y="279"/>
                  </a:lnTo>
                  <a:lnTo>
                    <a:pt x="423" y="278"/>
                  </a:lnTo>
                  <a:lnTo>
                    <a:pt x="421" y="278"/>
                  </a:lnTo>
                  <a:lnTo>
                    <a:pt x="420" y="277"/>
                  </a:lnTo>
                  <a:lnTo>
                    <a:pt x="418" y="277"/>
                  </a:lnTo>
                  <a:lnTo>
                    <a:pt x="416" y="276"/>
                  </a:lnTo>
                  <a:lnTo>
                    <a:pt x="415" y="275"/>
                  </a:lnTo>
                  <a:lnTo>
                    <a:pt x="413" y="275"/>
                  </a:lnTo>
                  <a:lnTo>
                    <a:pt x="406" y="271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9"/>
                  </a:lnTo>
                  <a:lnTo>
                    <a:pt x="400" y="269"/>
                  </a:lnTo>
                  <a:lnTo>
                    <a:pt x="398" y="268"/>
                  </a:lnTo>
                  <a:lnTo>
                    <a:pt x="397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2" y="267"/>
                  </a:lnTo>
                  <a:lnTo>
                    <a:pt x="391" y="267"/>
                  </a:lnTo>
                  <a:lnTo>
                    <a:pt x="390" y="267"/>
                  </a:lnTo>
                  <a:lnTo>
                    <a:pt x="388" y="268"/>
                  </a:lnTo>
                  <a:lnTo>
                    <a:pt x="386" y="268"/>
                  </a:lnTo>
                  <a:lnTo>
                    <a:pt x="385" y="268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3" y="268"/>
                  </a:lnTo>
                  <a:lnTo>
                    <a:pt x="380" y="267"/>
                  </a:lnTo>
                  <a:lnTo>
                    <a:pt x="379" y="267"/>
                  </a:lnTo>
                  <a:lnTo>
                    <a:pt x="378" y="267"/>
                  </a:lnTo>
                  <a:lnTo>
                    <a:pt x="377" y="267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70" y="268"/>
                  </a:lnTo>
                  <a:lnTo>
                    <a:pt x="368" y="268"/>
                  </a:lnTo>
                  <a:lnTo>
                    <a:pt x="365" y="268"/>
                  </a:lnTo>
                  <a:lnTo>
                    <a:pt x="363" y="268"/>
                  </a:lnTo>
                  <a:lnTo>
                    <a:pt x="362" y="267"/>
                  </a:lnTo>
                  <a:lnTo>
                    <a:pt x="359" y="267"/>
                  </a:lnTo>
                  <a:lnTo>
                    <a:pt x="358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6" y="267"/>
                  </a:lnTo>
                  <a:lnTo>
                    <a:pt x="356" y="268"/>
                  </a:lnTo>
                  <a:lnTo>
                    <a:pt x="355" y="269"/>
                  </a:lnTo>
                  <a:lnTo>
                    <a:pt x="355" y="271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2" y="281"/>
                  </a:lnTo>
                  <a:lnTo>
                    <a:pt x="352" y="282"/>
                  </a:lnTo>
                  <a:lnTo>
                    <a:pt x="351" y="283"/>
                  </a:lnTo>
                  <a:lnTo>
                    <a:pt x="351" y="283"/>
                  </a:lnTo>
                  <a:lnTo>
                    <a:pt x="350" y="283"/>
                  </a:lnTo>
                  <a:lnTo>
                    <a:pt x="350" y="283"/>
                  </a:lnTo>
                  <a:lnTo>
                    <a:pt x="349" y="284"/>
                  </a:lnTo>
                  <a:lnTo>
                    <a:pt x="348" y="284"/>
                  </a:lnTo>
                  <a:lnTo>
                    <a:pt x="346" y="284"/>
                  </a:lnTo>
                  <a:lnTo>
                    <a:pt x="344" y="284"/>
                  </a:lnTo>
                  <a:lnTo>
                    <a:pt x="343" y="284"/>
                  </a:lnTo>
                  <a:lnTo>
                    <a:pt x="341" y="284"/>
                  </a:lnTo>
                  <a:lnTo>
                    <a:pt x="337" y="283"/>
                  </a:lnTo>
                  <a:lnTo>
                    <a:pt x="336" y="283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4" y="283"/>
                  </a:lnTo>
                  <a:lnTo>
                    <a:pt x="331" y="283"/>
                  </a:lnTo>
                  <a:lnTo>
                    <a:pt x="329" y="284"/>
                  </a:lnTo>
                  <a:lnTo>
                    <a:pt x="327" y="284"/>
                  </a:lnTo>
                  <a:lnTo>
                    <a:pt x="326" y="284"/>
                  </a:lnTo>
                  <a:lnTo>
                    <a:pt x="325" y="284"/>
                  </a:lnTo>
                  <a:lnTo>
                    <a:pt x="324" y="284"/>
                  </a:lnTo>
                  <a:lnTo>
                    <a:pt x="324" y="284"/>
                  </a:lnTo>
                  <a:lnTo>
                    <a:pt x="323" y="283"/>
                  </a:lnTo>
                  <a:lnTo>
                    <a:pt x="322" y="283"/>
                  </a:lnTo>
                  <a:lnTo>
                    <a:pt x="322" y="283"/>
                  </a:lnTo>
                  <a:lnTo>
                    <a:pt x="321" y="283"/>
                  </a:lnTo>
                  <a:lnTo>
                    <a:pt x="321" y="283"/>
                  </a:lnTo>
                  <a:lnTo>
                    <a:pt x="320" y="283"/>
                  </a:lnTo>
                  <a:lnTo>
                    <a:pt x="319" y="283"/>
                  </a:lnTo>
                  <a:lnTo>
                    <a:pt x="318" y="283"/>
                  </a:lnTo>
                  <a:lnTo>
                    <a:pt x="317" y="284"/>
                  </a:lnTo>
                  <a:lnTo>
                    <a:pt x="316" y="284"/>
                  </a:lnTo>
                  <a:lnTo>
                    <a:pt x="316" y="285"/>
                  </a:lnTo>
                  <a:lnTo>
                    <a:pt x="315" y="285"/>
                  </a:lnTo>
                  <a:lnTo>
                    <a:pt x="314" y="287"/>
                  </a:lnTo>
                  <a:lnTo>
                    <a:pt x="313" y="288"/>
                  </a:lnTo>
                  <a:lnTo>
                    <a:pt x="311" y="289"/>
                  </a:lnTo>
                  <a:lnTo>
                    <a:pt x="311" y="290"/>
                  </a:lnTo>
                  <a:lnTo>
                    <a:pt x="310" y="290"/>
                  </a:lnTo>
                  <a:lnTo>
                    <a:pt x="310" y="291"/>
                  </a:lnTo>
                  <a:lnTo>
                    <a:pt x="309" y="291"/>
                  </a:lnTo>
                  <a:lnTo>
                    <a:pt x="309" y="291"/>
                  </a:lnTo>
                  <a:lnTo>
                    <a:pt x="308" y="291"/>
                  </a:lnTo>
                  <a:lnTo>
                    <a:pt x="308" y="291"/>
                  </a:lnTo>
                  <a:lnTo>
                    <a:pt x="307" y="291"/>
                  </a:lnTo>
                  <a:lnTo>
                    <a:pt x="307" y="290"/>
                  </a:lnTo>
                  <a:lnTo>
                    <a:pt x="307" y="290"/>
                  </a:lnTo>
                  <a:lnTo>
                    <a:pt x="303" y="284"/>
                  </a:lnTo>
                  <a:lnTo>
                    <a:pt x="302" y="283"/>
                  </a:lnTo>
                  <a:lnTo>
                    <a:pt x="301" y="282"/>
                  </a:lnTo>
                  <a:lnTo>
                    <a:pt x="300" y="281"/>
                  </a:lnTo>
                  <a:lnTo>
                    <a:pt x="299" y="281"/>
                  </a:lnTo>
                  <a:lnTo>
                    <a:pt x="296" y="279"/>
                  </a:lnTo>
                  <a:lnTo>
                    <a:pt x="293" y="277"/>
                  </a:lnTo>
                  <a:lnTo>
                    <a:pt x="292" y="276"/>
                  </a:lnTo>
                  <a:lnTo>
                    <a:pt x="290" y="275"/>
                  </a:lnTo>
                  <a:lnTo>
                    <a:pt x="289" y="275"/>
                  </a:lnTo>
                  <a:lnTo>
                    <a:pt x="285" y="274"/>
                  </a:lnTo>
                  <a:lnTo>
                    <a:pt x="281" y="272"/>
                  </a:lnTo>
                  <a:lnTo>
                    <a:pt x="280" y="272"/>
                  </a:lnTo>
                  <a:lnTo>
                    <a:pt x="278" y="272"/>
                  </a:lnTo>
                  <a:lnTo>
                    <a:pt x="277" y="271"/>
                  </a:lnTo>
                  <a:lnTo>
                    <a:pt x="276" y="271"/>
                  </a:lnTo>
                  <a:lnTo>
                    <a:pt x="276" y="271"/>
                  </a:lnTo>
                  <a:lnTo>
                    <a:pt x="275" y="270"/>
                  </a:lnTo>
                  <a:lnTo>
                    <a:pt x="273" y="269"/>
                  </a:lnTo>
                  <a:lnTo>
                    <a:pt x="272" y="267"/>
                  </a:lnTo>
                  <a:lnTo>
                    <a:pt x="271" y="266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2"/>
                  </a:lnTo>
                  <a:lnTo>
                    <a:pt x="264" y="258"/>
                  </a:lnTo>
                  <a:lnTo>
                    <a:pt x="262" y="256"/>
                  </a:lnTo>
                  <a:lnTo>
                    <a:pt x="261" y="255"/>
                  </a:lnTo>
                  <a:lnTo>
                    <a:pt x="260" y="254"/>
                  </a:lnTo>
                  <a:lnTo>
                    <a:pt x="258" y="254"/>
                  </a:lnTo>
                  <a:lnTo>
                    <a:pt x="257" y="253"/>
                  </a:lnTo>
                  <a:lnTo>
                    <a:pt x="256" y="252"/>
                  </a:lnTo>
                  <a:lnTo>
                    <a:pt x="252" y="250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6" y="247"/>
                  </a:lnTo>
                  <a:lnTo>
                    <a:pt x="243" y="246"/>
                  </a:lnTo>
                  <a:lnTo>
                    <a:pt x="239" y="245"/>
                  </a:lnTo>
                  <a:lnTo>
                    <a:pt x="235" y="244"/>
                  </a:lnTo>
                  <a:lnTo>
                    <a:pt x="234" y="244"/>
                  </a:lnTo>
                  <a:lnTo>
                    <a:pt x="232" y="243"/>
                  </a:lnTo>
                  <a:lnTo>
                    <a:pt x="231" y="243"/>
                  </a:lnTo>
                  <a:lnTo>
                    <a:pt x="230" y="242"/>
                  </a:lnTo>
                  <a:lnTo>
                    <a:pt x="229" y="242"/>
                  </a:lnTo>
                  <a:lnTo>
                    <a:pt x="228" y="242"/>
                  </a:lnTo>
                  <a:lnTo>
                    <a:pt x="224" y="242"/>
                  </a:lnTo>
                  <a:lnTo>
                    <a:pt x="222" y="242"/>
                  </a:lnTo>
                  <a:lnTo>
                    <a:pt x="221" y="242"/>
                  </a:lnTo>
                  <a:lnTo>
                    <a:pt x="221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19" y="241"/>
                  </a:lnTo>
                  <a:lnTo>
                    <a:pt x="219" y="240"/>
                  </a:lnTo>
                  <a:lnTo>
                    <a:pt x="218" y="240"/>
                  </a:lnTo>
                  <a:lnTo>
                    <a:pt x="216" y="238"/>
                  </a:lnTo>
                  <a:lnTo>
                    <a:pt x="214" y="236"/>
                  </a:lnTo>
                  <a:lnTo>
                    <a:pt x="213" y="235"/>
                  </a:lnTo>
                  <a:lnTo>
                    <a:pt x="212" y="233"/>
                  </a:lnTo>
                  <a:lnTo>
                    <a:pt x="211" y="233"/>
                  </a:lnTo>
                  <a:lnTo>
                    <a:pt x="210" y="232"/>
                  </a:lnTo>
                  <a:lnTo>
                    <a:pt x="209" y="232"/>
                  </a:lnTo>
                  <a:lnTo>
                    <a:pt x="209" y="231"/>
                  </a:lnTo>
                  <a:lnTo>
                    <a:pt x="208" y="231"/>
                  </a:lnTo>
                  <a:lnTo>
                    <a:pt x="207" y="230"/>
                  </a:lnTo>
                  <a:lnTo>
                    <a:pt x="205" y="230"/>
                  </a:lnTo>
                  <a:lnTo>
                    <a:pt x="202" y="230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6" y="227"/>
                  </a:lnTo>
                  <a:lnTo>
                    <a:pt x="195" y="227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3" y="225"/>
                  </a:lnTo>
                  <a:lnTo>
                    <a:pt x="192" y="224"/>
                  </a:lnTo>
                  <a:lnTo>
                    <a:pt x="191" y="223"/>
                  </a:lnTo>
                  <a:lnTo>
                    <a:pt x="190" y="222"/>
                  </a:lnTo>
                  <a:lnTo>
                    <a:pt x="190" y="221"/>
                  </a:lnTo>
                  <a:lnTo>
                    <a:pt x="189" y="221"/>
                  </a:lnTo>
                  <a:lnTo>
                    <a:pt x="189" y="221"/>
                  </a:lnTo>
                  <a:lnTo>
                    <a:pt x="188" y="221"/>
                  </a:lnTo>
                  <a:lnTo>
                    <a:pt x="188" y="221"/>
                  </a:lnTo>
                  <a:lnTo>
                    <a:pt x="187" y="221"/>
                  </a:lnTo>
                  <a:lnTo>
                    <a:pt x="186" y="222"/>
                  </a:lnTo>
                  <a:lnTo>
                    <a:pt x="185" y="223"/>
                  </a:lnTo>
                  <a:lnTo>
                    <a:pt x="184" y="224"/>
                  </a:lnTo>
                  <a:lnTo>
                    <a:pt x="183" y="225"/>
                  </a:lnTo>
                  <a:lnTo>
                    <a:pt x="182" y="226"/>
                  </a:lnTo>
                  <a:lnTo>
                    <a:pt x="181" y="228"/>
                  </a:lnTo>
                  <a:lnTo>
                    <a:pt x="180" y="230"/>
                  </a:lnTo>
                  <a:lnTo>
                    <a:pt x="179" y="233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8" y="235"/>
                  </a:lnTo>
                  <a:lnTo>
                    <a:pt x="176" y="237"/>
                  </a:lnTo>
                  <a:lnTo>
                    <a:pt x="175" y="240"/>
                  </a:lnTo>
                  <a:lnTo>
                    <a:pt x="174" y="240"/>
                  </a:lnTo>
                  <a:lnTo>
                    <a:pt x="174" y="241"/>
                  </a:lnTo>
                  <a:lnTo>
                    <a:pt x="173" y="241"/>
                  </a:lnTo>
                  <a:lnTo>
                    <a:pt x="173" y="241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6" y="242"/>
                  </a:lnTo>
                  <a:lnTo>
                    <a:pt x="165" y="242"/>
                  </a:lnTo>
                  <a:lnTo>
                    <a:pt x="164" y="242"/>
                  </a:lnTo>
                  <a:lnTo>
                    <a:pt x="164" y="241"/>
                  </a:lnTo>
                  <a:lnTo>
                    <a:pt x="163" y="241"/>
                  </a:lnTo>
                  <a:lnTo>
                    <a:pt x="161" y="240"/>
                  </a:lnTo>
                  <a:lnTo>
                    <a:pt x="158" y="239"/>
                  </a:lnTo>
                  <a:lnTo>
                    <a:pt x="152" y="236"/>
                  </a:lnTo>
                  <a:lnTo>
                    <a:pt x="150" y="235"/>
                  </a:lnTo>
                  <a:lnTo>
                    <a:pt x="150" y="234"/>
                  </a:lnTo>
                  <a:lnTo>
                    <a:pt x="149" y="234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6" y="231"/>
                  </a:lnTo>
                  <a:lnTo>
                    <a:pt x="146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5" y="227"/>
                  </a:lnTo>
                  <a:lnTo>
                    <a:pt x="146" y="226"/>
                  </a:lnTo>
                  <a:lnTo>
                    <a:pt x="146" y="225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5" y="219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7"/>
                  </a:lnTo>
                  <a:lnTo>
                    <a:pt x="140" y="217"/>
                  </a:lnTo>
                  <a:lnTo>
                    <a:pt x="139" y="216"/>
                  </a:lnTo>
                  <a:lnTo>
                    <a:pt x="138" y="216"/>
                  </a:lnTo>
                  <a:lnTo>
                    <a:pt x="137" y="215"/>
                  </a:lnTo>
                  <a:lnTo>
                    <a:pt x="135" y="214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1" y="212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7" y="211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3" y="210"/>
                  </a:lnTo>
                  <a:lnTo>
                    <a:pt x="123" y="209"/>
                  </a:lnTo>
                  <a:lnTo>
                    <a:pt x="122" y="209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3"/>
                  </a:lnTo>
                  <a:lnTo>
                    <a:pt x="120" y="203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19" y="202"/>
                  </a:lnTo>
                  <a:lnTo>
                    <a:pt x="119" y="201"/>
                  </a:lnTo>
                  <a:lnTo>
                    <a:pt x="118" y="201"/>
                  </a:lnTo>
                  <a:lnTo>
                    <a:pt x="115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9" y="199"/>
                  </a:lnTo>
                  <a:lnTo>
                    <a:pt x="108" y="198"/>
                  </a:lnTo>
                  <a:lnTo>
                    <a:pt x="107" y="198"/>
                  </a:lnTo>
                  <a:lnTo>
                    <a:pt x="106" y="197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4" y="195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0" y="191"/>
                  </a:lnTo>
                  <a:lnTo>
                    <a:pt x="99" y="191"/>
                  </a:lnTo>
                  <a:lnTo>
                    <a:pt x="98" y="190"/>
                  </a:lnTo>
                  <a:lnTo>
                    <a:pt x="95" y="189"/>
                  </a:lnTo>
                  <a:lnTo>
                    <a:pt x="94" y="189"/>
                  </a:lnTo>
                  <a:lnTo>
                    <a:pt x="93" y="188"/>
                  </a:lnTo>
                  <a:lnTo>
                    <a:pt x="93" y="187"/>
                  </a:lnTo>
                  <a:lnTo>
                    <a:pt x="92" y="187"/>
                  </a:lnTo>
                  <a:lnTo>
                    <a:pt x="91" y="187"/>
                  </a:lnTo>
                  <a:lnTo>
                    <a:pt x="89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7" y="186"/>
                  </a:lnTo>
                  <a:lnTo>
                    <a:pt x="73" y="186"/>
                  </a:lnTo>
                  <a:lnTo>
                    <a:pt x="72" y="186"/>
                  </a:lnTo>
                  <a:lnTo>
                    <a:pt x="71" y="186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7" y="186"/>
                  </a:lnTo>
                  <a:lnTo>
                    <a:pt x="66" y="186"/>
                  </a:lnTo>
                  <a:lnTo>
                    <a:pt x="66" y="185"/>
                  </a:lnTo>
                  <a:lnTo>
                    <a:pt x="64" y="184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0"/>
                  </a:lnTo>
                  <a:lnTo>
                    <a:pt x="59" y="179"/>
                  </a:lnTo>
                  <a:lnTo>
                    <a:pt x="52" y="174"/>
                  </a:lnTo>
                  <a:lnTo>
                    <a:pt x="49" y="172"/>
                  </a:lnTo>
                  <a:lnTo>
                    <a:pt x="47" y="171"/>
                  </a:lnTo>
                  <a:lnTo>
                    <a:pt x="42" y="167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8" y="161"/>
                  </a:lnTo>
                  <a:lnTo>
                    <a:pt x="38" y="157"/>
                  </a:lnTo>
                  <a:lnTo>
                    <a:pt x="39" y="154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9" y="148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4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6" y="131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19"/>
                  </a:lnTo>
                  <a:lnTo>
                    <a:pt x="46" y="118"/>
                  </a:lnTo>
                  <a:lnTo>
                    <a:pt x="45" y="118"/>
                  </a:lnTo>
                  <a:lnTo>
                    <a:pt x="45" y="117"/>
                  </a:lnTo>
                  <a:lnTo>
                    <a:pt x="44" y="116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1" y="114"/>
                  </a:lnTo>
                  <a:lnTo>
                    <a:pt x="38" y="113"/>
                  </a:lnTo>
                  <a:lnTo>
                    <a:pt x="37" y="112"/>
                  </a:lnTo>
                  <a:lnTo>
                    <a:pt x="35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29" y="106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5" y="98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3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8"/>
                  </a:lnTo>
                  <a:lnTo>
                    <a:pt x="5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2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3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8" y="46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62">
              <a:extLst>
                <a:ext uri="{FF2B5EF4-FFF2-40B4-BE49-F238E27FC236}">
                  <a16:creationId xmlns:a16="http://schemas.microsoft.com/office/drawing/2014/main" id="{E3E7B398-844C-20AC-7E7B-1C3226E359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" y="3273"/>
              <a:ext cx="83" cy="28"/>
            </a:xfrm>
            <a:custGeom>
              <a:avLst/>
              <a:gdLst>
                <a:gd name="T0" fmla="*/ 1 w 83"/>
                <a:gd name="T1" fmla="*/ 28 h 28"/>
                <a:gd name="T2" fmla="*/ 4 w 83"/>
                <a:gd name="T3" fmla="*/ 26 h 28"/>
                <a:gd name="T4" fmla="*/ 5 w 83"/>
                <a:gd name="T5" fmla="*/ 24 h 28"/>
                <a:gd name="T6" fmla="*/ 6 w 83"/>
                <a:gd name="T7" fmla="*/ 22 h 28"/>
                <a:gd name="T8" fmla="*/ 7 w 83"/>
                <a:gd name="T9" fmla="*/ 21 h 28"/>
                <a:gd name="T10" fmla="*/ 8 w 83"/>
                <a:gd name="T11" fmla="*/ 19 h 28"/>
                <a:gd name="T12" fmla="*/ 9 w 83"/>
                <a:gd name="T13" fmla="*/ 18 h 28"/>
                <a:gd name="T14" fmla="*/ 11 w 83"/>
                <a:gd name="T15" fmla="*/ 17 h 28"/>
                <a:gd name="T16" fmla="*/ 14 w 83"/>
                <a:gd name="T17" fmla="*/ 17 h 28"/>
                <a:gd name="T18" fmla="*/ 16 w 83"/>
                <a:gd name="T19" fmla="*/ 16 h 28"/>
                <a:gd name="T20" fmla="*/ 20 w 83"/>
                <a:gd name="T21" fmla="*/ 14 h 28"/>
                <a:gd name="T22" fmla="*/ 20 w 83"/>
                <a:gd name="T23" fmla="*/ 14 h 28"/>
                <a:gd name="T24" fmla="*/ 21 w 83"/>
                <a:gd name="T25" fmla="*/ 14 h 28"/>
                <a:gd name="T26" fmla="*/ 22 w 83"/>
                <a:gd name="T27" fmla="*/ 15 h 28"/>
                <a:gd name="T28" fmla="*/ 24 w 83"/>
                <a:gd name="T29" fmla="*/ 17 h 28"/>
                <a:gd name="T30" fmla="*/ 26 w 83"/>
                <a:gd name="T31" fmla="*/ 17 h 28"/>
                <a:gd name="T32" fmla="*/ 28 w 83"/>
                <a:gd name="T33" fmla="*/ 18 h 28"/>
                <a:gd name="T34" fmla="*/ 30 w 83"/>
                <a:gd name="T35" fmla="*/ 18 h 28"/>
                <a:gd name="T36" fmla="*/ 32 w 83"/>
                <a:gd name="T37" fmla="*/ 18 h 28"/>
                <a:gd name="T38" fmla="*/ 36 w 83"/>
                <a:gd name="T39" fmla="*/ 18 h 28"/>
                <a:gd name="T40" fmla="*/ 39 w 83"/>
                <a:gd name="T41" fmla="*/ 18 h 28"/>
                <a:gd name="T42" fmla="*/ 42 w 83"/>
                <a:gd name="T43" fmla="*/ 18 h 28"/>
                <a:gd name="T44" fmla="*/ 44 w 83"/>
                <a:gd name="T45" fmla="*/ 18 h 28"/>
                <a:gd name="T46" fmla="*/ 45 w 83"/>
                <a:gd name="T47" fmla="*/ 19 h 28"/>
                <a:gd name="T48" fmla="*/ 49 w 83"/>
                <a:gd name="T49" fmla="*/ 20 h 28"/>
                <a:gd name="T50" fmla="*/ 51 w 83"/>
                <a:gd name="T51" fmla="*/ 21 h 28"/>
                <a:gd name="T52" fmla="*/ 54 w 83"/>
                <a:gd name="T53" fmla="*/ 21 h 28"/>
                <a:gd name="T54" fmla="*/ 55 w 83"/>
                <a:gd name="T55" fmla="*/ 21 h 28"/>
                <a:gd name="T56" fmla="*/ 59 w 83"/>
                <a:gd name="T57" fmla="*/ 19 h 28"/>
                <a:gd name="T58" fmla="*/ 62 w 83"/>
                <a:gd name="T59" fmla="*/ 18 h 28"/>
                <a:gd name="T60" fmla="*/ 65 w 83"/>
                <a:gd name="T61" fmla="*/ 17 h 28"/>
                <a:gd name="T62" fmla="*/ 67 w 83"/>
                <a:gd name="T63" fmla="*/ 16 h 28"/>
                <a:gd name="T64" fmla="*/ 68 w 83"/>
                <a:gd name="T65" fmla="*/ 15 h 28"/>
                <a:gd name="T66" fmla="*/ 69 w 83"/>
                <a:gd name="T67" fmla="*/ 13 h 28"/>
                <a:gd name="T68" fmla="*/ 70 w 83"/>
                <a:gd name="T69" fmla="*/ 12 h 28"/>
                <a:gd name="T70" fmla="*/ 72 w 83"/>
                <a:gd name="T71" fmla="*/ 8 h 28"/>
                <a:gd name="T72" fmla="*/ 73 w 83"/>
                <a:gd name="T73" fmla="*/ 7 h 28"/>
                <a:gd name="T74" fmla="*/ 74 w 83"/>
                <a:gd name="T75" fmla="*/ 6 h 28"/>
                <a:gd name="T76" fmla="*/ 76 w 83"/>
                <a:gd name="T77" fmla="*/ 4 h 28"/>
                <a:gd name="T78" fmla="*/ 78 w 83"/>
                <a:gd name="T79" fmla="*/ 2 h 28"/>
                <a:gd name="T80" fmla="*/ 82 w 83"/>
                <a:gd name="T81" fmla="*/ 0 h 28"/>
                <a:gd name="T82" fmla="*/ 82 w 83"/>
                <a:gd name="T8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3" h="28">
                  <a:moveTo>
                    <a:pt x="0" y="28"/>
                  </a:moveTo>
                  <a:lnTo>
                    <a:pt x="1" y="28"/>
                  </a:lnTo>
                  <a:lnTo>
                    <a:pt x="2" y="27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6" y="22"/>
                  </a:lnTo>
                  <a:lnTo>
                    <a:pt x="6" y="21"/>
                  </a:lnTo>
                  <a:lnTo>
                    <a:pt x="7" y="21"/>
                  </a:lnTo>
                  <a:lnTo>
                    <a:pt x="7" y="20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10" y="18"/>
                  </a:lnTo>
                  <a:lnTo>
                    <a:pt x="11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5" y="17"/>
                  </a:lnTo>
                  <a:lnTo>
                    <a:pt x="16" y="16"/>
                  </a:lnTo>
                  <a:lnTo>
                    <a:pt x="19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4" y="17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30" y="18"/>
                  </a:lnTo>
                  <a:lnTo>
                    <a:pt x="31" y="18"/>
                  </a:lnTo>
                  <a:lnTo>
                    <a:pt x="32" y="18"/>
                  </a:lnTo>
                  <a:lnTo>
                    <a:pt x="35" y="18"/>
                  </a:lnTo>
                  <a:lnTo>
                    <a:pt x="36" y="18"/>
                  </a:lnTo>
                  <a:lnTo>
                    <a:pt x="37" y="18"/>
                  </a:lnTo>
                  <a:lnTo>
                    <a:pt x="39" y="18"/>
                  </a:lnTo>
                  <a:lnTo>
                    <a:pt x="40" y="18"/>
                  </a:lnTo>
                  <a:lnTo>
                    <a:pt x="42" y="18"/>
                  </a:lnTo>
                  <a:lnTo>
                    <a:pt x="43" y="18"/>
                  </a:lnTo>
                  <a:lnTo>
                    <a:pt x="44" y="18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7" y="19"/>
                  </a:lnTo>
                  <a:lnTo>
                    <a:pt x="49" y="20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52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5" y="21"/>
                  </a:lnTo>
                  <a:lnTo>
                    <a:pt x="56" y="20"/>
                  </a:lnTo>
                  <a:lnTo>
                    <a:pt x="59" y="19"/>
                  </a:lnTo>
                  <a:lnTo>
                    <a:pt x="60" y="18"/>
                  </a:lnTo>
                  <a:lnTo>
                    <a:pt x="62" y="18"/>
                  </a:lnTo>
                  <a:lnTo>
                    <a:pt x="64" y="17"/>
                  </a:lnTo>
                  <a:lnTo>
                    <a:pt x="65" y="17"/>
                  </a:lnTo>
                  <a:lnTo>
                    <a:pt x="66" y="17"/>
                  </a:lnTo>
                  <a:lnTo>
                    <a:pt x="67" y="16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9" y="14"/>
                  </a:lnTo>
                  <a:lnTo>
                    <a:pt x="69" y="13"/>
                  </a:lnTo>
                  <a:lnTo>
                    <a:pt x="70" y="13"/>
                  </a:lnTo>
                  <a:lnTo>
                    <a:pt x="70" y="12"/>
                  </a:lnTo>
                  <a:lnTo>
                    <a:pt x="71" y="9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3" y="7"/>
                  </a:lnTo>
                  <a:lnTo>
                    <a:pt x="73" y="6"/>
                  </a:lnTo>
                  <a:lnTo>
                    <a:pt x="74" y="6"/>
                  </a:lnTo>
                  <a:lnTo>
                    <a:pt x="75" y="5"/>
                  </a:lnTo>
                  <a:lnTo>
                    <a:pt x="76" y="4"/>
                  </a:lnTo>
                  <a:lnTo>
                    <a:pt x="77" y="3"/>
                  </a:lnTo>
                  <a:lnTo>
                    <a:pt x="78" y="2"/>
                  </a:lnTo>
                  <a:lnTo>
                    <a:pt x="80" y="1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3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Freeform 63">
              <a:extLst>
                <a:ext uri="{FF2B5EF4-FFF2-40B4-BE49-F238E27FC236}">
                  <a16:creationId xmlns:a16="http://schemas.microsoft.com/office/drawing/2014/main" id="{1414E6A3-7514-7172-83FE-38A3ABDE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" y="3418"/>
              <a:ext cx="457" cy="425"/>
            </a:xfrm>
            <a:custGeom>
              <a:avLst/>
              <a:gdLst>
                <a:gd name="T0" fmla="*/ 224 w 457"/>
                <a:gd name="T1" fmla="*/ 24 h 425"/>
                <a:gd name="T2" fmla="*/ 248 w 457"/>
                <a:gd name="T3" fmla="*/ 33 h 425"/>
                <a:gd name="T4" fmla="*/ 266 w 457"/>
                <a:gd name="T5" fmla="*/ 47 h 425"/>
                <a:gd name="T6" fmla="*/ 290 w 457"/>
                <a:gd name="T7" fmla="*/ 57 h 425"/>
                <a:gd name="T8" fmla="*/ 309 w 457"/>
                <a:gd name="T9" fmla="*/ 79 h 425"/>
                <a:gd name="T10" fmla="*/ 330 w 457"/>
                <a:gd name="T11" fmla="*/ 58 h 425"/>
                <a:gd name="T12" fmla="*/ 352 w 457"/>
                <a:gd name="T13" fmla="*/ 69 h 425"/>
                <a:gd name="T14" fmla="*/ 382 w 457"/>
                <a:gd name="T15" fmla="*/ 82 h 425"/>
                <a:gd name="T16" fmla="*/ 421 w 457"/>
                <a:gd name="T17" fmla="*/ 109 h 425"/>
                <a:gd name="T18" fmla="*/ 447 w 457"/>
                <a:gd name="T19" fmla="*/ 140 h 425"/>
                <a:gd name="T20" fmla="*/ 456 w 457"/>
                <a:gd name="T21" fmla="*/ 155 h 425"/>
                <a:gd name="T22" fmla="*/ 443 w 457"/>
                <a:gd name="T23" fmla="*/ 168 h 425"/>
                <a:gd name="T24" fmla="*/ 444 w 457"/>
                <a:gd name="T25" fmla="*/ 186 h 425"/>
                <a:gd name="T26" fmla="*/ 430 w 457"/>
                <a:gd name="T27" fmla="*/ 181 h 425"/>
                <a:gd name="T28" fmla="*/ 432 w 457"/>
                <a:gd name="T29" fmla="*/ 192 h 425"/>
                <a:gd name="T30" fmla="*/ 411 w 457"/>
                <a:gd name="T31" fmla="*/ 204 h 425"/>
                <a:gd name="T32" fmla="*/ 403 w 457"/>
                <a:gd name="T33" fmla="*/ 234 h 425"/>
                <a:gd name="T34" fmla="*/ 415 w 457"/>
                <a:gd name="T35" fmla="*/ 248 h 425"/>
                <a:gd name="T36" fmla="*/ 414 w 457"/>
                <a:gd name="T37" fmla="*/ 266 h 425"/>
                <a:gd name="T38" fmla="*/ 409 w 457"/>
                <a:gd name="T39" fmla="*/ 285 h 425"/>
                <a:gd name="T40" fmla="*/ 415 w 457"/>
                <a:gd name="T41" fmla="*/ 304 h 425"/>
                <a:gd name="T42" fmla="*/ 405 w 457"/>
                <a:gd name="T43" fmla="*/ 320 h 425"/>
                <a:gd name="T44" fmla="*/ 400 w 457"/>
                <a:gd name="T45" fmla="*/ 334 h 425"/>
                <a:gd name="T46" fmla="*/ 405 w 457"/>
                <a:gd name="T47" fmla="*/ 353 h 425"/>
                <a:gd name="T48" fmla="*/ 381 w 457"/>
                <a:gd name="T49" fmla="*/ 365 h 425"/>
                <a:gd name="T50" fmla="*/ 362 w 457"/>
                <a:gd name="T51" fmla="*/ 380 h 425"/>
                <a:gd name="T52" fmla="*/ 334 w 457"/>
                <a:gd name="T53" fmla="*/ 383 h 425"/>
                <a:gd name="T54" fmla="*/ 316 w 457"/>
                <a:gd name="T55" fmla="*/ 377 h 425"/>
                <a:gd name="T56" fmla="*/ 300 w 457"/>
                <a:gd name="T57" fmla="*/ 386 h 425"/>
                <a:gd name="T58" fmla="*/ 275 w 457"/>
                <a:gd name="T59" fmla="*/ 400 h 425"/>
                <a:gd name="T60" fmla="*/ 253 w 457"/>
                <a:gd name="T61" fmla="*/ 419 h 425"/>
                <a:gd name="T62" fmla="*/ 229 w 457"/>
                <a:gd name="T63" fmla="*/ 424 h 425"/>
                <a:gd name="T64" fmla="*/ 211 w 457"/>
                <a:gd name="T65" fmla="*/ 422 h 425"/>
                <a:gd name="T66" fmla="*/ 193 w 457"/>
                <a:gd name="T67" fmla="*/ 408 h 425"/>
                <a:gd name="T68" fmla="*/ 183 w 457"/>
                <a:gd name="T69" fmla="*/ 397 h 425"/>
                <a:gd name="T70" fmla="*/ 199 w 457"/>
                <a:gd name="T71" fmla="*/ 369 h 425"/>
                <a:gd name="T72" fmla="*/ 211 w 457"/>
                <a:gd name="T73" fmla="*/ 355 h 425"/>
                <a:gd name="T74" fmla="*/ 200 w 457"/>
                <a:gd name="T75" fmla="*/ 339 h 425"/>
                <a:gd name="T76" fmla="*/ 173 w 457"/>
                <a:gd name="T77" fmla="*/ 342 h 425"/>
                <a:gd name="T78" fmla="*/ 142 w 457"/>
                <a:gd name="T79" fmla="*/ 330 h 425"/>
                <a:gd name="T80" fmla="*/ 134 w 457"/>
                <a:gd name="T81" fmla="*/ 301 h 425"/>
                <a:gd name="T82" fmla="*/ 107 w 457"/>
                <a:gd name="T83" fmla="*/ 299 h 425"/>
                <a:gd name="T84" fmla="*/ 77 w 457"/>
                <a:gd name="T85" fmla="*/ 296 h 425"/>
                <a:gd name="T86" fmla="*/ 58 w 457"/>
                <a:gd name="T87" fmla="*/ 284 h 425"/>
                <a:gd name="T88" fmla="*/ 52 w 457"/>
                <a:gd name="T89" fmla="*/ 272 h 425"/>
                <a:gd name="T90" fmla="*/ 26 w 457"/>
                <a:gd name="T91" fmla="*/ 269 h 425"/>
                <a:gd name="T92" fmla="*/ 5 w 457"/>
                <a:gd name="T93" fmla="*/ 242 h 425"/>
                <a:gd name="T94" fmla="*/ 0 w 457"/>
                <a:gd name="T95" fmla="*/ 222 h 425"/>
                <a:gd name="T96" fmla="*/ 8 w 457"/>
                <a:gd name="T97" fmla="*/ 188 h 425"/>
                <a:gd name="T98" fmla="*/ 5 w 457"/>
                <a:gd name="T99" fmla="*/ 160 h 425"/>
                <a:gd name="T100" fmla="*/ 11 w 457"/>
                <a:gd name="T101" fmla="*/ 145 h 425"/>
                <a:gd name="T102" fmla="*/ 26 w 457"/>
                <a:gd name="T103" fmla="*/ 129 h 425"/>
                <a:gd name="T104" fmla="*/ 39 w 457"/>
                <a:gd name="T105" fmla="*/ 122 h 425"/>
                <a:gd name="T106" fmla="*/ 74 w 457"/>
                <a:gd name="T107" fmla="*/ 121 h 425"/>
                <a:gd name="T108" fmla="*/ 88 w 457"/>
                <a:gd name="T109" fmla="*/ 115 h 425"/>
                <a:gd name="T110" fmla="*/ 105 w 457"/>
                <a:gd name="T111" fmla="*/ 105 h 425"/>
                <a:gd name="T112" fmla="*/ 87 w 457"/>
                <a:gd name="T113" fmla="*/ 86 h 425"/>
                <a:gd name="T114" fmla="*/ 99 w 457"/>
                <a:gd name="T115" fmla="*/ 53 h 425"/>
                <a:gd name="T116" fmla="*/ 113 w 457"/>
                <a:gd name="T117" fmla="*/ 49 h 425"/>
                <a:gd name="T118" fmla="*/ 146 w 457"/>
                <a:gd name="T119" fmla="*/ 32 h 425"/>
                <a:gd name="T120" fmla="*/ 160 w 457"/>
                <a:gd name="T121" fmla="*/ 25 h 425"/>
                <a:gd name="T122" fmla="*/ 169 w 457"/>
                <a:gd name="T123" fmla="*/ 9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7" h="425">
                  <a:moveTo>
                    <a:pt x="185" y="4"/>
                  </a:moveTo>
                  <a:lnTo>
                    <a:pt x="190" y="8"/>
                  </a:lnTo>
                  <a:lnTo>
                    <a:pt x="192" y="9"/>
                  </a:lnTo>
                  <a:lnTo>
                    <a:pt x="195" y="11"/>
                  </a:lnTo>
                  <a:lnTo>
                    <a:pt x="202" y="16"/>
                  </a:lnTo>
                  <a:lnTo>
                    <a:pt x="203" y="17"/>
                  </a:lnTo>
                  <a:lnTo>
                    <a:pt x="205" y="19"/>
                  </a:lnTo>
                  <a:lnTo>
                    <a:pt x="206" y="19"/>
                  </a:lnTo>
                  <a:lnTo>
                    <a:pt x="207" y="21"/>
                  </a:lnTo>
                  <a:lnTo>
                    <a:pt x="209" y="22"/>
                  </a:lnTo>
                  <a:lnTo>
                    <a:pt x="209" y="23"/>
                  </a:lnTo>
                  <a:lnTo>
                    <a:pt x="210" y="23"/>
                  </a:lnTo>
                  <a:lnTo>
                    <a:pt x="211" y="23"/>
                  </a:lnTo>
                  <a:lnTo>
                    <a:pt x="211" y="23"/>
                  </a:lnTo>
                  <a:lnTo>
                    <a:pt x="212" y="23"/>
                  </a:lnTo>
                  <a:lnTo>
                    <a:pt x="214" y="23"/>
                  </a:lnTo>
                  <a:lnTo>
                    <a:pt x="215" y="23"/>
                  </a:lnTo>
                  <a:lnTo>
                    <a:pt x="216" y="23"/>
                  </a:lnTo>
                  <a:lnTo>
                    <a:pt x="220" y="23"/>
                  </a:lnTo>
                  <a:lnTo>
                    <a:pt x="221" y="23"/>
                  </a:lnTo>
                  <a:lnTo>
                    <a:pt x="221" y="23"/>
                  </a:lnTo>
                  <a:lnTo>
                    <a:pt x="222" y="23"/>
                  </a:lnTo>
                  <a:lnTo>
                    <a:pt x="224" y="24"/>
                  </a:lnTo>
                  <a:lnTo>
                    <a:pt x="225" y="24"/>
                  </a:lnTo>
                  <a:lnTo>
                    <a:pt x="226" y="24"/>
                  </a:lnTo>
                  <a:lnTo>
                    <a:pt x="227" y="24"/>
                  </a:lnTo>
                  <a:lnTo>
                    <a:pt x="227" y="23"/>
                  </a:lnTo>
                  <a:lnTo>
                    <a:pt x="229" y="23"/>
                  </a:lnTo>
                  <a:lnTo>
                    <a:pt x="230" y="23"/>
                  </a:lnTo>
                  <a:lnTo>
                    <a:pt x="230" y="23"/>
                  </a:lnTo>
                  <a:lnTo>
                    <a:pt x="231" y="23"/>
                  </a:lnTo>
                  <a:lnTo>
                    <a:pt x="232" y="23"/>
                  </a:lnTo>
                  <a:lnTo>
                    <a:pt x="234" y="24"/>
                  </a:lnTo>
                  <a:lnTo>
                    <a:pt x="235" y="24"/>
                  </a:lnTo>
                  <a:lnTo>
                    <a:pt x="236" y="24"/>
                  </a:lnTo>
                  <a:lnTo>
                    <a:pt x="236" y="25"/>
                  </a:lnTo>
                  <a:lnTo>
                    <a:pt x="237" y="26"/>
                  </a:lnTo>
                  <a:lnTo>
                    <a:pt x="238" y="26"/>
                  </a:lnTo>
                  <a:lnTo>
                    <a:pt x="241" y="27"/>
                  </a:lnTo>
                  <a:lnTo>
                    <a:pt x="242" y="28"/>
                  </a:lnTo>
                  <a:lnTo>
                    <a:pt x="243" y="28"/>
                  </a:lnTo>
                  <a:lnTo>
                    <a:pt x="244" y="29"/>
                  </a:lnTo>
                  <a:lnTo>
                    <a:pt x="244" y="29"/>
                  </a:lnTo>
                  <a:lnTo>
                    <a:pt x="247" y="32"/>
                  </a:lnTo>
                  <a:lnTo>
                    <a:pt x="248" y="33"/>
                  </a:lnTo>
                  <a:lnTo>
                    <a:pt x="248" y="33"/>
                  </a:lnTo>
                  <a:lnTo>
                    <a:pt x="249" y="34"/>
                  </a:lnTo>
                  <a:lnTo>
                    <a:pt x="250" y="35"/>
                  </a:lnTo>
                  <a:lnTo>
                    <a:pt x="251" y="35"/>
                  </a:lnTo>
                  <a:lnTo>
                    <a:pt x="252" y="36"/>
                  </a:lnTo>
                  <a:lnTo>
                    <a:pt x="254" y="36"/>
                  </a:lnTo>
                  <a:lnTo>
                    <a:pt x="254" y="36"/>
                  </a:lnTo>
                  <a:lnTo>
                    <a:pt x="257" y="37"/>
                  </a:lnTo>
                  <a:lnTo>
                    <a:pt x="258" y="37"/>
                  </a:lnTo>
                  <a:lnTo>
                    <a:pt x="261" y="38"/>
                  </a:lnTo>
                  <a:lnTo>
                    <a:pt x="262" y="38"/>
                  </a:lnTo>
                  <a:lnTo>
                    <a:pt x="262" y="39"/>
                  </a:lnTo>
                  <a:lnTo>
                    <a:pt x="263" y="39"/>
                  </a:lnTo>
                  <a:lnTo>
                    <a:pt x="263" y="39"/>
                  </a:lnTo>
                  <a:lnTo>
                    <a:pt x="263" y="40"/>
                  </a:lnTo>
                  <a:lnTo>
                    <a:pt x="264" y="40"/>
                  </a:lnTo>
                  <a:lnTo>
                    <a:pt x="264" y="41"/>
                  </a:lnTo>
                  <a:lnTo>
                    <a:pt x="264" y="41"/>
                  </a:lnTo>
                  <a:lnTo>
                    <a:pt x="264" y="43"/>
                  </a:lnTo>
                  <a:lnTo>
                    <a:pt x="265" y="45"/>
                  </a:lnTo>
                  <a:lnTo>
                    <a:pt x="265" y="45"/>
                  </a:lnTo>
                  <a:lnTo>
                    <a:pt x="265" y="46"/>
                  </a:lnTo>
                  <a:lnTo>
                    <a:pt x="266" y="46"/>
                  </a:lnTo>
                  <a:lnTo>
                    <a:pt x="266" y="47"/>
                  </a:lnTo>
                  <a:lnTo>
                    <a:pt x="267" y="47"/>
                  </a:lnTo>
                  <a:lnTo>
                    <a:pt x="268" y="47"/>
                  </a:lnTo>
                  <a:lnTo>
                    <a:pt x="268" y="47"/>
                  </a:lnTo>
                  <a:lnTo>
                    <a:pt x="270" y="48"/>
                  </a:lnTo>
                  <a:lnTo>
                    <a:pt x="271" y="48"/>
                  </a:lnTo>
                  <a:lnTo>
                    <a:pt x="273" y="48"/>
                  </a:lnTo>
                  <a:lnTo>
                    <a:pt x="274" y="49"/>
                  </a:lnTo>
                  <a:lnTo>
                    <a:pt x="275" y="50"/>
                  </a:lnTo>
                  <a:lnTo>
                    <a:pt x="277" y="50"/>
                  </a:lnTo>
                  <a:lnTo>
                    <a:pt x="278" y="51"/>
                  </a:lnTo>
                  <a:lnTo>
                    <a:pt x="280" y="52"/>
                  </a:lnTo>
                  <a:lnTo>
                    <a:pt x="281" y="53"/>
                  </a:lnTo>
                  <a:lnTo>
                    <a:pt x="282" y="53"/>
                  </a:lnTo>
                  <a:lnTo>
                    <a:pt x="283" y="54"/>
                  </a:lnTo>
                  <a:lnTo>
                    <a:pt x="284" y="54"/>
                  </a:lnTo>
                  <a:lnTo>
                    <a:pt x="286" y="55"/>
                  </a:lnTo>
                  <a:lnTo>
                    <a:pt x="286" y="55"/>
                  </a:lnTo>
                  <a:lnTo>
                    <a:pt x="288" y="56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90" y="58"/>
                  </a:lnTo>
                  <a:lnTo>
                    <a:pt x="290" y="59"/>
                  </a:lnTo>
                  <a:lnTo>
                    <a:pt x="290" y="59"/>
                  </a:lnTo>
                  <a:lnTo>
                    <a:pt x="289" y="62"/>
                  </a:lnTo>
                  <a:lnTo>
                    <a:pt x="289" y="63"/>
                  </a:lnTo>
                  <a:lnTo>
                    <a:pt x="288" y="64"/>
                  </a:lnTo>
                  <a:lnTo>
                    <a:pt x="288" y="65"/>
                  </a:lnTo>
                  <a:lnTo>
                    <a:pt x="289" y="66"/>
                  </a:lnTo>
                  <a:lnTo>
                    <a:pt x="289" y="67"/>
                  </a:lnTo>
                  <a:lnTo>
                    <a:pt x="289" y="68"/>
                  </a:lnTo>
                  <a:lnTo>
                    <a:pt x="290" y="69"/>
                  </a:lnTo>
                  <a:lnTo>
                    <a:pt x="291" y="70"/>
                  </a:lnTo>
                  <a:lnTo>
                    <a:pt x="292" y="71"/>
                  </a:lnTo>
                  <a:lnTo>
                    <a:pt x="293" y="71"/>
                  </a:lnTo>
                  <a:lnTo>
                    <a:pt x="293" y="72"/>
                  </a:lnTo>
                  <a:lnTo>
                    <a:pt x="295" y="73"/>
                  </a:lnTo>
                  <a:lnTo>
                    <a:pt x="301" y="76"/>
                  </a:lnTo>
                  <a:lnTo>
                    <a:pt x="304" y="77"/>
                  </a:lnTo>
                  <a:lnTo>
                    <a:pt x="306" y="78"/>
                  </a:lnTo>
                  <a:lnTo>
                    <a:pt x="307" y="78"/>
                  </a:lnTo>
                  <a:lnTo>
                    <a:pt x="307" y="79"/>
                  </a:lnTo>
                  <a:lnTo>
                    <a:pt x="308" y="79"/>
                  </a:lnTo>
                  <a:lnTo>
                    <a:pt x="309" y="79"/>
                  </a:lnTo>
                  <a:lnTo>
                    <a:pt x="310" y="79"/>
                  </a:lnTo>
                  <a:lnTo>
                    <a:pt x="312" y="79"/>
                  </a:lnTo>
                  <a:lnTo>
                    <a:pt x="313" y="79"/>
                  </a:lnTo>
                  <a:lnTo>
                    <a:pt x="314" y="79"/>
                  </a:lnTo>
                  <a:lnTo>
                    <a:pt x="315" y="79"/>
                  </a:lnTo>
                  <a:lnTo>
                    <a:pt x="316" y="78"/>
                  </a:lnTo>
                  <a:lnTo>
                    <a:pt x="316" y="78"/>
                  </a:lnTo>
                  <a:lnTo>
                    <a:pt x="317" y="78"/>
                  </a:lnTo>
                  <a:lnTo>
                    <a:pt x="317" y="77"/>
                  </a:lnTo>
                  <a:lnTo>
                    <a:pt x="318" y="77"/>
                  </a:lnTo>
                  <a:lnTo>
                    <a:pt x="319" y="74"/>
                  </a:lnTo>
                  <a:lnTo>
                    <a:pt x="321" y="72"/>
                  </a:lnTo>
                  <a:lnTo>
                    <a:pt x="322" y="71"/>
                  </a:lnTo>
                  <a:lnTo>
                    <a:pt x="322" y="71"/>
                  </a:lnTo>
                  <a:lnTo>
                    <a:pt x="322" y="70"/>
                  </a:lnTo>
                  <a:lnTo>
                    <a:pt x="323" y="67"/>
                  </a:lnTo>
                  <a:lnTo>
                    <a:pt x="324" y="65"/>
                  </a:lnTo>
                  <a:lnTo>
                    <a:pt x="325" y="63"/>
                  </a:lnTo>
                  <a:lnTo>
                    <a:pt x="326" y="62"/>
                  </a:lnTo>
                  <a:lnTo>
                    <a:pt x="327" y="61"/>
                  </a:lnTo>
                  <a:lnTo>
                    <a:pt x="328" y="60"/>
                  </a:lnTo>
                  <a:lnTo>
                    <a:pt x="329" y="59"/>
                  </a:lnTo>
                  <a:lnTo>
                    <a:pt x="330" y="58"/>
                  </a:lnTo>
                  <a:lnTo>
                    <a:pt x="331" y="58"/>
                  </a:lnTo>
                  <a:lnTo>
                    <a:pt x="331" y="58"/>
                  </a:lnTo>
                  <a:lnTo>
                    <a:pt x="332" y="58"/>
                  </a:lnTo>
                  <a:lnTo>
                    <a:pt x="332" y="58"/>
                  </a:lnTo>
                  <a:lnTo>
                    <a:pt x="333" y="58"/>
                  </a:lnTo>
                  <a:lnTo>
                    <a:pt x="333" y="59"/>
                  </a:lnTo>
                  <a:lnTo>
                    <a:pt x="334" y="60"/>
                  </a:lnTo>
                  <a:lnTo>
                    <a:pt x="335" y="61"/>
                  </a:lnTo>
                  <a:lnTo>
                    <a:pt x="336" y="62"/>
                  </a:lnTo>
                  <a:lnTo>
                    <a:pt x="337" y="63"/>
                  </a:lnTo>
                  <a:lnTo>
                    <a:pt x="337" y="63"/>
                  </a:lnTo>
                  <a:lnTo>
                    <a:pt x="338" y="64"/>
                  </a:lnTo>
                  <a:lnTo>
                    <a:pt x="339" y="64"/>
                  </a:lnTo>
                  <a:lnTo>
                    <a:pt x="340" y="65"/>
                  </a:lnTo>
                  <a:lnTo>
                    <a:pt x="341" y="65"/>
                  </a:lnTo>
                  <a:lnTo>
                    <a:pt x="342" y="66"/>
                  </a:lnTo>
                  <a:lnTo>
                    <a:pt x="343" y="66"/>
                  </a:lnTo>
                  <a:lnTo>
                    <a:pt x="345" y="67"/>
                  </a:lnTo>
                  <a:lnTo>
                    <a:pt x="348" y="67"/>
                  </a:lnTo>
                  <a:lnTo>
                    <a:pt x="350" y="67"/>
                  </a:lnTo>
                  <a:lnTo>
                    <a:pt x="351" y="68"/>
                  </a:lnTo>
                  <a:lnTo>
                    <a:pt x="352" y="68"/>
                  </a:lnTo>
                  <a:lnTo>
                    <a:pt x="352" y="69"/>
                  </a:lnTo>
                  <a:lnTo>
                    <a:pt x="353" y="69"/>
                  </a:lnTo>
                  <a:lnTo>
                    <a:pt x="354" y="70"/>
                  </a:lnTo>
                  <a:lnTo>
                    <a:pt x="355" y="70"/>
                  </a:lnTo>
                  <a:lnTo>
                    <a:pt x="356" y="72"/>
                  </a:lnTo>
                  <a:lnTo>
                    <a:pt x="357" y="73"/>
                  </a:lnTo>
                  <a:lnTo>
                    <a:pt x="359" y="75"/>
                  </a:lnTo>
                  <a:lnTo>
                    <a:pt x="361" y="77"/>
                  </a:lnTo>
                  <a:lnTo>
                    <a:pt x="362" y="77"/>
                  </a:lnTo>
                  <a:lnTo>
                    <a:pt x="362" y="78"/>
                  </a:lnTo>
                  <a:lnTo>
                    <a:pt x="363" y="78"/>
                  </a:lnTo>
                  <a:lnTo>
                    <a:pt x="363" y="78"/>
                  </a:lnTo>
                  <a:lnTo>
                    <a:pt x="364" y="78"/>
                  </a:lnTo>
                  <a:lnTo>
                    <a:pt x="364" y="79"/>
                  </a:lnTo>
                  <a:lnTo>
                    <a:pt x="365" y="79"/>
                  </a:lnTo>
                  <a:lnTo>
                    <a:pt x="367" y="79"/>
                  </a:lnTo>
                  <a:lnTo>
                    <a:pt x="371" y="79"/>
                  </a:lnTo>
                  <a:lnTo>
                    <a:pt x="372" y="79"/>
                  </a:lnTo>
                  <a:lnTo>
                    <a:pt x="373" y="79"/>
                  </a:lnTo>
                  <a:lnTo>
                    <a:pt x="374" y="80"/>
                  </a:lnTo>
                  <a:lnTo>
                    <a:pt x="375" y="80"/>
                  </a:lnTo>
                  <a:lnTo>
                    <a:pt x="377" y="81"/>
                  </a:lnTo>
                  <a:lnTo>
                    <a:pt x="378" y="81"/>
                  </a:lnTo>
                  <a:lnTo>
                    <a:pt x="382" y="82"/>
                  </a:lnTo>
                  <a:lnTo>
                    <a:pt x="386" y="83"/>
                  </a:lnTo>
                  <a:lnTo>
                    <a:pt x="389" y="84"/>
                  </a:lnTo>
                  <a:lnTo>
                    <a:pt x="390" y="85"/>
                  </a:lnTo>
                  <a:lnTo>
                    <a:pt x="390" y="85"/>
                  </a:lnTo>
                  <a:lnTo>
                    <a:pt x="395" y="87"/>
                  </a:lnTo>
                  <a:lnTo>
                    <a:pt x="399" y="89"/>
                  </a:lnTo>
                  <a:lnTo>
                    <a:pt x="400" y="90"/>
                  </a:lnTo>
                  <a:lnTo>
                    <a:pt x="401" y="91"/>
                  </a:lnTo>
                  <a:lnTo>
                    <a:pt x="403" y="91"/>
                  </a:lnTo>
                  <a:lnTo>
                    <a:pt x="404" y="92"/>
                  </a:lnTo>
                  <a:lnTo>
                    <a:pt x="405" y="93"/>
                  </a:lnTo>
                  <a:lnTo>
                    <a:pt x="407" y="95"/>
                  </a:lnTo>
                  <a:lnTo>
                    <a:pt x="410" y="99"/>
                  </a:lnTo>
                  <a:lnTo>
                    <a:pt x="412" y="100"/>
                  </a:lnTo>
                  <a:lnTo>
                    <a:pt x="413" y="101"/>
                  </a:lnTo>
                  <a:lnTo>
                    <a:pt x="414" y="103"/>
                  </a:lnTo>
                  <a:lnTo>
                    <a:pt x="415" y="104"/>
                  </a:lnTo>
                  <a:lnTo>
                    <a:pt x="416" y="106"/>
                  </a:lnTo>
                  <a:lnTo>
                    <a:pt x="418" y="107"/>
                  </a:lnTo>
                  <a:lnTo>
                    <a:pt x="419" y="108"/>
                  </a:lnTo>
                  <a:lnTo>
                    <a:pt x="419" y="108"/>
                  </a:lnTo>
                  <a:lnTo>
                    <a:pt x="420" y="108"/>
                  </a:lnTo>
                  <a:lnTo>
                    <a:pt x="421" y="109"/>
                  </a:lnTo>
                  <a:lnTo>
                    <a:pt x="423" y="109"/>
                  </a:lnTo>
                  <a:lnTo>
                    <a:pt x="424" y="109"/>
                  </a:lnTo>
                  <a:lnTo>
                    <a:pt x="428" y="111"/>
                  </a:lnTo>
                  <a:lnTo>
                    <a:pt x="432" y="112"/>
                  </a:lnTo>
                  <a:lnTo>
                    <a:pt x="433" y="112"/>
                  </a:lnTo>
                  <a:lnTo>
                    <a:pt x="435" y="113"/>
                  </a:lnTo>
                  <a:lnTo>
                    <a:pt x="436" y="114"/>
                  </a:lnTo>
                  <a:lnTo>
                    <a:pt x="439" y="116"/>
                  </a:lnTo>
                  <a:lnTo>
                    <a:pt x="442" y="118"/>
                  </a:lnTo>
                  <a:lnTo>
                    <a:pt x="443" y="118"/>
                  </a:lnTo>
                  <a:lnTo>
                    <a:pt x="444" y="119"/>
                  </a:lnTo>
                  <a:lnTo>
                    <a:pt x="445" y="120"/>
                  </a:lnTo>
                  <a:lnTo>
                    <a:pt x="446" y="121"/>
                  </a:lnTo>
                  <a:lnTo>
                    <a:pt x="450" y="127"/>
                  </a:lnTo>
                  <a:lnTo>
                    <a:pt x="450" y="127"/>
                  </a:lnTo>
                  <a:lnTo>
                    <a:pt x="450" y="128"/>
                  </a:lnTo>
                  <a:lnTo>
                    <a:pt x="450" y="129"/>
                  </a:lnTo>
                  <a:lnTo>
                    <a:pt x="450" y="131"/>
                  </a:lnTo>
                  <a:lnTo>
                    <a:pt x="449" y="132"/>
                  </a:lnTo>
                  <a:lnTo>
                    <a:pt x="449" y="134"/>
                  </a:lnTo>
                  <a:lnTo>
                    <a:pt x="447" y="138"/>
                  </a:lnTo>
                  <a:lnTo>
                    <a:pt x="447" y="139"/>
                  </a:lnTo>
                  <a:lnTo>
                    <a:pt x="447" y="140"/>
                  </a:lnTo>
                  <a:lnTo>
                    <a:pt x="447" y="140"/>
                  </a:lnTo>
                  <a:lnTo>
                    <a:pt x="447" y="141"/>
                  </a:lnTo>
                  <a:lnTo>
                    <a:pt x="447" y="141"/>
                  </a:lnTo>
                  <a:lnTo>
                    <a:pt x="447" y="142"/>
                  </a:lnTo>
                  <a:lnTo>
                    <a:pt x="448" y="143"/>
                  </a:lnTo>
                  <a:lnTo>
                    <a:pt x="448" y="144"/>
                  </a:lnTo>
                  <a:lnTo>
                    <a:pt x="449" y="144"/>
                  </a:lnTo>
                  <a:lnTo>
                    <a:pt x="450" y="145"/>
                  </a:lnTo>
                  <a:lnTo>
                    <a:pt x="450" y="145"/>
                  </a:lnTo>
                  <a:lnTo>
                    <a:pt x="453" y="147"/>
                  </a:lnTo>
                  <a:lnTo>
                    <a:pt x="454" y="147"/>
                  </a:lnTo>
                  <a:lnTo>
                    <a:pt x="454" y="148"/>
                  </a:lnTo>
                  <a:lnTo>
                    <a:pt x="455" y="149"/>
                  </a:lnTo>
                  <a:lnTo>
                    <a:pt x="455" y="149"/>
                  </a:lnTo>
                  <a:lnTo>
                    <a:pt x="456" y="150"/>
                  </a:lnTo>
                  <a:lnTo>
                    <a:pt x="456" y="150"/>
                  </a:lnTo>
                  <a:lnTo>
                    <a:pt x="456" y="151"/>
                  </a:lnTo>
                  <a:lnTo>
                    <a:pt x="456" y="151"/>
                  </a:lnTo>
                  <a:lnTo>
                    <a:pt x="457" y="152"/>
                  </a:lnTo>
                  <a:lnTo>
                    <a:pt x="457" y="153"/>
                  </a:lnTo>
                  <a:lnTo>
                    <a:pt x="457" y="154"/>
                  </a:lnTo>
                  <a:lnTo>
                    <a:pt x="456" y="154"/>
                  </a:lnTo>
                  <a:lnTo>
                    <a:pt x="456" y="155"/>
                  </a:lnTo>
                  <a:lnTo>
                    <a:pt x="456" y="156"/>
                  </a:lnTo>
                  <a:lnTo>
                    <a:pt x="455" y="157"/>
                  </a:lnTo>
                  <a:lnTo>
                    <a:pt x="455" y="158"/>
                  </a:lnTo>
                  <a:lnTo>
                    <a:pt x="454" y="160"/>
                  </a:lnTo>
                  <a:lnTo>
                    <a:pt x="453" y="161"/>
                  </a:lnTo>
                  <a:lnTo>
                    <a:pt x="452" y="162"/>
                  </a:lnTo>
                  <a:lnTo>
                    <a:pt x="451" y="164"/>
                  </a:lnTo>
                  <a:lnTo>
                    <a:pt x="450" y="164"/>
                  </a:lnTo>
                  <a:lnTo>
                    <a:pt x="449" y="165"/>
                  </a:lnTo>
                  <a:lnTo>
                    <a:pt x="448" y="165"/>
                  </a:lnTo>
                  <a:lnTo>
                    <a:pt x="447" y="166"/>
                  </a:lnTo>
                  <a:lnTo>
                    <a:pt x="446" y="166"/>
                  </a:lnTo>
                  <a:lnTo>
                    <a:pt x="446" y="166"/>
                  </a:lnTo>
                  <a:lnTo>
                    <a:pt x="445" y="166"/>
                  </a:lnTo>
                  <a:lnTo>
                    <a:pt x="443" y="166"/>
                  </a:lnTo>
                  <a:lnTo>
                    <a:pt x="443" y="166"/>
                  </a:lnTo>
                  <a:lnTo>
                    <a:pt x="443" y="166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2" y="167"/>
                  </a:lnTo>
                  <a:lnTo>
                    <a:pt x="442" y="167"/>
                  </a:lnTo>
                  <a:lnTo>
                    <a:pt x="443" y="168"/>
                  </a:lnTo>
                  <a:lnTo>
                    <a:pt x="443" y="169"/>
                  </a:lnTo>
                  <a:lnTo>
                    <a:pt x="443" y="169"/>
                  </a:lnTo>
                  <a:lnTo>
                    <a:pt x="444" y="170"/>
                  </a:lnTo>
                  <a:lnTo>
                    <a:pt x="444" y="171"/>
                  </a:lnTo>
                  <a:lnTo>
                    <a:pt x="446" y="172"/>
                  </a:lnTo>
                  <a:lnTo>
                    <a:pt x="446" y="173"/>
                  </a:lnTo>
                  <a:lnTo>
                    <a:pt x="447" y="174"/>
                  </a:lnTo>
                  <a:lnTo>
                    <a:pt x="448" y="175"/>
                  </a:lnTo>
                  <a:lnTo>
                    <a:pt x="448" y="176"/>
                  </a:lnTo>
                  <a:lnTo>
                    <a:pt x="448" y="177"/>
                  </a:lnTo>
                  <a:lnTo>
                    <a:pt x="448" y="177"/>
                  </a:lnTo>
                  <a:lnTo>
                    <a:pt x="448" y="178"/>
                  </a:lnTo>
                  <a:lnTo>
                    <a:pt x="448" y="178"/>
                  </a:lnTo>
                  <a:lnTo>
                    <a:pt x="448" y="179"/>
                  </a:lnTo>
                  <a:lnTo>
                    <a:pt x="448" y="180"/>
                  </a:lnTo>
                  <a:lnTo>
                    <a:pt x="447" y="181"/>
                  </a:lnTo>
                  <a:lnTo>
                    <a:pt x="447" y="183"/>
                  </a:lnTo>
                  <a:lnTo>
                    <a:pt x="446" y="184"/>
                  </a:lnTo>
                  <a:lnTo>
                    <a:pt x="446" y="185"/>
                  </a:lnTo>
                  <a:lnTo>
                    <a:pt x="446" y="185"/>
                  </a:lnTo>
                  <a:lnTo>
                    <a:pt x="445" y="185"/>
                  </a:lnTo>
                  <a:lnTo>
                    <a:pt x="444" y="186"/>
                  </a:lnTo>
                  <a:lnTo>
                    <a:pt x="444" y="186"/>
                  </a:lnTo>
                  <a:lnTo>
                    <a:pt x="443" y="186"/>
                  </a:lnTo>
                  <a:lnTo>
                    <a:pt x="443" y="186"/>
                  </a:lnTo>
                  <a:lnTo>
                    <a:pt x="442" y="186"/>
                  </a:lnTo>
                  <a:lnTo>
                    <a:pt x="441" y="186"/>
                  </a:lnTo>
                  <a:lnTo>
                    <a:pt x="441" y="186"/>
                  </a:lnTo>
                  <a:lnTo>
                    <a:pt x="440" y="185"/>
                  </a:lnTo>
                  <a:lnTo>
                    <a:pt x="440" y="185"/>
                  </a:lnTo>
                  <a:lnTo>
                    <a:pt x="439" y="184"/>
                  </a:lnTo>
                  <a:lnTo>
                    <a:pt x="439" y="184"/>
                  </a:lnTo>
                  <a:lnTo>
                    <a:pt x="439" y="183"/>
                  </a:lnTo>
                  <a:lnTo>
                    <a:pt x="438" y="182"/>
                  </a:lnTo>
                  <a:lnTo>
                    <a:pt x="438" y="181"/>
                  </a:lnTo>
                  <a:lnTo>
                    <a:pt x="437" y="181"/>
                  </a:lnTo>
                  <a:lnTo>
                    <a:pt x="437" y="180"/>
                  </a:lnTo>
                  <a:lnTo>
                    <a:pt x="436" y="180"/>
                  </a:lnTo>
                  <a:lnTo>
                    <a:pt x="436" y="180"/>
                  </a:lnTo>
                  <a:lnTo>
                    <a:pt x="435" y="180"/>
                  </a:lnTo>
                  <a:lnTo>
                    <a:pt x="434" y="180"/>
                  </a:lnTo>
                  <a:lnTo>
                    <a:pt x="433" y="180"/>
                  </a:lnTo>
                  <a:lnTo>
                    <a:pt x="433" y="180"/>
                  </a:lnTo>
                  <a:lnTo>
                    <a:pt x="432" y="180"/>
                  </a:lnTo>
                  <a:lnTo>
                    <a:pt x="431" y="180"/>
                  </a:lnTo>
                  <a:lnTo>
                    <a:pt x="430" y="181"/>
                  </a:lnTo>
                  <a:lnTo>
                    <a:pt x="429" y="182"/>
                  </a:lnTo>
                  <a:lnTo>
                    <a:pt x="428" y="182"/>
                  </a:lnTo>
                  <a:lnTo>
                    <a:pt x="428" y="183"/>
                  </a:lnTo>
                  <a:lnTo>
                    <a:pt x="426" y="184"/>
                  </a:lnTo>
                  <a:lnTo>
                    <a:pt x="425" y="185"/>
                  </a:lnTo>
                  <a:lnTo>
                    <a:pt x="425" y="186"/>
                  </a:lnTo>
                  <a:lnTo>
                    <a:pt x="424" y="186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25" y="188"/>
                  </a:lnTo>
                  <a:lnTo>
                    <a:pt x="425" y="188"/>
                  </a:lnTo>
                  <a:lnTo>
                    <a:pt x="426" y="188"/>
                  </a:lnTo>
                  <a:lnTo>
                    <a:pt x="428" y="189"/>
                  </a:lnTo>
                  <a:lnTo>
                    <a:pt x="429" y="189"/>
                  </a:lnTo>
                  <a:lnTo>
                    <a:pt x="430" y="189"/>
                  </a:lnTo>
                  <a:lnTo>
                    <a:pt x="430" y="190"/>
                  </a:lnTo>
                  <a:lnTo>
                    <a:pt x="431" y="190"/>
                  </a:lnTo>
                  <a:lnTo>
                    <a:pt x="431" y="190"/>
                  </a:lnTo>
                  <a:lnTo>
                    <a:pt x="432" y="191"/>
                  </a:lnTo>
                  <a:lnTo>
                    <a:pt x="432" y="191"/>
                  </a:lnTo>
                  <a:lnTo>
                    <a:pt x="432" y="192"/>
                  </a:lnTo>
                  <a:lnTo>
                    <a:pt x="432" y="192"/>
                  </a:lnTo>
                  <a:lnTo>
                    <a:pt x="432" y="193"/>
                  </a:lnTo>
                  <a:lnTo>
                    <a:pt x="432" y="193"/>
                  </a:lnTo>
                  <a:lnTo>
                    <a:pt x="432" y="194"/>
                  </a:lnTo>
                  <a:lnTo>
                    <a:pt x="431" y="194"/>
                  </a:lnTo>
                  <a:lnTo>
                    <a:pt x="431" y="195"/>
                  </a:lnTo>
                  <a:lnTo>
                    <a:pt x="430" y="195"/>
                  </a:lnTo>
                  <a:lnTo>
                    <a:pt x="429" y="196"/>
                  </a:lnTo>
                  <a:lnTo>
                    <a:pt x="428" y="196"/>
                  </a:lnTo>
                  <a:lnTo>
                    <a:pt x="427" y="196"/>
                  </a:lnTo>
                  <a:lnTo>
                    <a:pt x="425" y="197"/>
                  </a:lnTo>
                  <a:lnTo>
                    <a:pt x="423" y="197"/>
                  </a:lnTo>
                  <a:lnTo>
                    <a:pt x="420" y="197"/>
                  </a:lnTo>
                  <a:lnTo>
                    <a:pt x="419" y="198"/>
                  </a:lnTo>
                  <a:lnTo>
                    <a:pt x="418" y="198"/>
                  </a:lnTo>
                  <a:lnTo>
                    <a:pt x="417" y="198"/>
                  </a:lnTo>
                  <a:lnTo>
                    <a:pt x="415" y="199"/>
                  </a:lnTo>
                  <a:lnTo>
                    <a:pt x="415" y="199"/>
                  </a:lnTo>
                  <a:lnTo>
                    <a:pt x="414" y="200"/>
                  </a:lnTo>
                  <a:lnTo>
                    <a:pt x="414" y="200"/>
                  </a:lnTo>
                  <a:lnTo>
                    <a:pt x="413" y="201"/>
                  </a:lnTo>
                  <a:lnTo>
                    <a:pt x="413" y="202"/>
                  </a:lnTo>
                  <a:lnTo>
                    <a:pt x="412" y="203"/>
                  </a:lnTo>
                  <a:lnTo>
                    <a:pt x="411" y="204"/>
                  </a:lnTo>
                  <a:lnTo>
                    <a:pt x="410" y="207"/>
                  </a:lnTo>
                  <a:lnTo>
                    <a:pt x="409" y="208"/>
                  </a:lnTo>
                  <a:lnTo>
                    <a:pt x="409" y="208"/>
                  </a:lnTo>
                  <a:lnTo>
                    <a:pt x="407" y="211"/>
                  </a:lnTo>
                  <a:lnTo>
                    <a:pt x="406" y="212"/>
                  </a:lnTo>
                  <a:lnTo>
                    <a:pt x="405" y="213"/>
                  </a:lnTo>
                  <a:lnTo>
                    <a:pt x="404" y="214"/>
                  </a:lnTo>
                  <a:lnTo>
                    <a:pt x="404" y="215"/>
                  </a:lnTo>
                  <a:lnTo>
                    <a:pt x="404" y="216"/>
                  </a:lnTo>
                  <a:lnTo>
                    <a:pt x="404" y="217"/>
                  </a:lnTo>
                  <a:lnTo>
                    <a:pt x="404" y="220"/>
                  </a:lnTo>
                  <a:lnTo>
                    <a:pt x="403" y="222"/>
                  </a:lnTo>
                  <a:lnTo>
                    <a:pt x="403" y="224"/>
                  </a:lnTo>
                  <a:lnTo>
                    <a:pt x="403" y="226"/>
                  </a:lnTo>
                  <a:lnTo>
                    <a:pt x="402" y="229"/>
                  </a:lnTo>
                  <a:lnTo>
                    <a:pt x="402" y="230"/>
                  </a:lnTo>
                  <a:lnTo>
                    <a:pt x="402" y="231"/>
                  </a:lnTo>
                  <a:lnTo>
                    <a:pt x="402" y="232"/>
                  </a:lnTo>
                  <a:lnTo>
                    <a:pt x="402" y="232"/>
                  </a:lnTo>
                  <a:lnTo>
                    <a:pt x="402" y="233"/>
                  </a:lnTo>
                  <a:lnTo>
                    <a:pt x="402" y="233"/>
                  </a:lnTo>
                  <a:lnTo>
                    <a:pt x="403" y="234"/>
                  </a:lnTo>
                  <a:lnTo>
                    <a:pt x="403" y="234"/>
                  </a:lnTo>
                  <a:lnTo>
                    <a:pt x="404" y="235"/>
                  </a:lnTo>
                  <a:lnTo>
                    <a:pt x="407" y="237"/>
                  </a:lnTo>
                  <a:lnTo>
                    <a:pt x="412" y="241"/>
                  </a:lnTo>
                  <a:lnTo>
                    <a:pt x="412" y="241"/>
                  </a:lnTo>
                  <a:lnTo>
                    <a:pt x="413" y="241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2" y="243"/>
                  </a:lnTo>
                  <a:lnTo>
                    <a:pt x="411" y="243"/>
                  </a:lnTo>
                  <a:lnTo>
                    <a:pt x="411" y="244"/>
                  </a:lnTo>
                  <a:lnTo>
                    <a:pt x="411" y="244"/>
                  </a:lnTo>
                  <a:lnTo>
                    <a:pt x="410" y="244"/>
                  </a:lnTo>
                  <a:lnTo>
                    <a:pt x="410" y="245"/>
                  </a:lnTo>
                  <a:lnTo>
                    <a:pt x="410" y="245"/>
                  </a:lnTo>
                  <a:lnTo>
                    <a:pt x="410" y="245"/>
                  </a:lnTo>
                  <a:lnTo>
                    <a:pt x="411" y="246"/>
                  </a:lnTo>
                  <a:lnTo>
                    <a:pt x="411" y="246"/>
                  </a:lnTo>
                  <a:lnTo>
                    <a:pt x="412" y="247"/>
                  </a:lnTo>
                  <a:lnTo>
                    <a:pt x="413" y="247"/>
                  </a:lnTo>
                  <a:lnTo>
                    <a:pt x="413" y="247"/>
                  </a:lnTo>
                  <a:lnTo>
                    <a:pt x="414" y="248"/>
                  </a:lnTo>
                  <a:lnTo>
                    <a:pt x="415" y="248"/>
                  </a:lnTo>
                  <a:lnTo>
                    <a:pt x="418" y="249"/>
                  </a:lnTo>
                  <a:lnTo>
                    <a:pt x="419" y="249"/>
                  </a:lnTo>
                  <a:lnTo>
                    <a:pt x="419" y="249"/>
                  </a:lnTo>
                  <a:lnTo>
                    <a:pt x="419" y="250"/>
                  </a:lnTo>
                  <a:lnTo>
                    <a:pt x="420" y="250"/>
                  </a:lnTo>
                  <a:lnTo>
                    <a:pt x="420" y="250"/>
                  </a:lnTo>
                  <a:lnTo>
                    <a:pt x="420" y="251"/>
                  </a:lnTo>
                  <a:lnTo>
                    <a:pt x="420" y="252"/>
                  </a:lnTo>
                  <a:lnTo>
                    <a:pt x="420" y="252"/>
                  </a:lnTo>
                  <a:lnTo>
                    <a:pt x="420" y="253"/>
                  </a:lnTo>
                  <a:lnTo>
                    <a:pt x="420" y="253"/>
                  </a:lnTo>
                  <a:lnTo>
                    <a:pt x="420" y="254"/>
                  </a:lnTo>
                  <a:lnTo>
                    <a:pt x="419" y="255"/>
                  </a:lnTo>
                  <a:lnTo>
                    <a:pt x="419" y="256"/>
                  </a:lnTo>
                  <a:lnTo>
                    <a:pt x="418" y="258"/>
                  </a:lnTo>
                  <a:lnTo>
                    <a:pt x="415" y="261"/>
                  </a:lnTo>
                  <a:lnTo>
                    <a:pt x="415" y="262"/>
                  </a:lnTo>
                  <a:lnTo>
                    <a:pt x="414" y="262"/>
                  </a:lnTo>
                  <a:lnTo>
                    <a:pt x="414" y="263"/>
                  </a:lnTo>
                  <a:lnTo>
                    <a:pt x="414" y="264"/>
                  </a:lnTo>
                  <a:lnTo>
                    <a:pt x="414" y="265"/>
                  </a:lnTo>
                  <a:lnTo>
                    <a:pt x="414" y="266"/>
                  </a:lnTo>
                  <a:lnTo>
                    <a:pt x="414" y="266"/>
                  </a:lnTo>
                  <a:lnTo>
                    <a:pt x="414" y="267"/>
                  </a:lnTo>
                  <a:lnTo>
                    <a:pt x="414" y="268"/>
                  </a:lnTo>
                  <a:lnTo>
                    <a:pt x="415" y="269"/>
                  </a:lnTo>
                  <a:lnTo>
                    <a:pt x="415" y="269"/>
                  </a:lnTo>
                  <a:lnTo>
                    <a:pt x="417" y="271"/>
                  </a:lnTo>
                  <a:lnTo>
                    <a:pt x="418" y="272"/>
                  </a:lnTo>
                  <a:lnTo>
                    <a:pt x="418" y="273"/>
                  </a:lnTo>
                  <a:lnTo>
                    <a:pt x="418" y="274"/>
                  </a:lnTo>
                  <a:lnTo>
                    <a:pt x="419" y="274"/>
                  </a:lnTo>
                  <a:lnTo>
                    <a:pt x="419" y="275"/>
                  </a:lnTo>
                  <a:lnTo>
                    <a:pt x="419" y="275"/>
                  </a:lnTo>
                  <a:lnTo>
                    <a:pt x="419" y="276"/>
                  </a:lnTo>
                  <a:lnTo>
                    <a:pt x="418" y="276"/>
                  </a:lnTo>
                  <a:lnTo>
                    <a:pt x="418" y="277"/>
                  </a:lnTo>
                  <a:lnTo>
                    <a:pt x="418" y="277"/>
                  </a:lnTo>
                  <a:lnTo>
                    <a:pt x="417" y="278"/>
                  </a:lnTo>
                  <a:lnTo>
                    <a:pt x="416" y="278"/>
                  </a:lnTo>
                  <a:lnTo>
                    <a:pt x="414" y="280"/>
                  </a:lnTo>
                  <a:lnTo>
                    <a:pt x="413" y="281"/>
                  </a:lnTo>
                  <a:lnTo>
                    <a:pt x="412" y="281"/>
                  </a:lnTo>
                  <a:lnTo>
                    <a:pt x="411" y="283"/>
                  </a:lnTo>
                  <a:lnTo>
                    <a:pt x="410" y="284"/>
                  </a:lnTo>
                  <a:lnTo>
                    <a:pt x="409" y="285"/>
                  </a:lnTo>
                  <a:lnTo>
                    <a:pt x="409" y="286"/>
                  </a:lnTo>
                  <a:lnTo>
                    <a:pt x="409" y="287"/>
                  </a:lnTo>
                  <a:lnTo>
                    <a:pt x="408" y="288"/>
                  </a:lnTo>
                  <a:lnTo>
                    <a:pt x="408" y="289"/>
                  </a:lnTo>
                  <a:lnTo>
                    <a:pt x="407" y="290"/>
                  </a:lnTo>
                  <a:lnTo>
                    <a:pt x="407" y="291"/>
                  </a:lnTo>
                  <a:lnTo>
                    <a:pt x="407" y="292"/>
                  </a:lnTo>
                  <a:lnTo>
                    <a:pt x="407" y="293"/>
                  </a:lnTo>
                  <a:lnTo>
                    <a:pt x="407" y="294"/>
                  </a:lnTo>
                  <a:lnTo>
                    <a:pt x="407" y="295"/>
                  </a:lnTo>
                  <a:lnTo>
                    <a:pt x="407" y="295"/>
                  </a:lnTo>
                  <a:lnTo>
                    <a:pt x="407" y="296"/>
                  </a:lnTo>
                  <a:lnTo>
                    <a:pt x="407" y="296"/>
                  </a:lnTo>
                  <a:lnTo>
                    <a:pt x="408" y="297"/>
                  </a:lnTo>
                  <a:lnTo>
                    <a:pt x="408" y="297"/>
                  </a:lnTo>
                  <a:lnTo>
                    <a:pt x="409" y="298"/>
                  </a:lnTo>
                  <a:lnTo>
                    <a:pt x="410" y="299"/>
                  </a:lnTo>
                  <a:lnTo>
                    <a:pt x="412" y="301"/>
                  </a:lnTo>
                  <a:lnTo>
                    <a:pt x="414" y="301"/>
                  </a:lnTo>
                  <a:lnTo>
                    <a:pt x="414" y="302"/>
                  </a:lnTo>
                  <a:lnTo>
                    <a:pt x="414" y="303"/>
                  </a:lnTo>
                  <a:lnTo>
                    <a:pt x="415" y="303"/>
                  </a:lnTo>
                  <a:lnTo>
                    <a:pt x="415" y="304"/>
                  </a:lnTo>
                  <a:lnTo>
                    <a:pt x="415" y="304"/>
                  </a:lnTo>
                  <a:lnTo>
                    <a:pt x="416" y="305"/>
                  </a:lnTo>
                  <a:lnTo>
                    <a:pt x="416" y="305"/>
                  </a:lnTo>
                  <a:lnTo>
                    <a:pt x="416" y="306"/>
                  </a:lnTo>
                  <a:lnTo>
                    <a:pt x="416" y="308"/>
                  </a:lnTo>
                  <a:lnTo>
                    <a:pt x="416" y="309"/>
                  </a:lnTo>
                  <a:lnTo>
                    <a:pt x="416" y="310"/>
                  </a:lnTo>
                  <a:lnTo>
                    <a:pt x="416" y="311"/>
                  </a:lnTo>
                  <a:lnTo>
                    <a:pt x="416" y="311"/>
                  </a:lnTo>
                  <a:lnTo>
                    <a:pt x="415" y="312"/>
                  </a:lnTo>
                  <a:lnTo>
                    <a:pt x="414" y="313"/>
                  </a:lnTo>
                  <a:lnTo>
                    <a:pt x="413" y="314"/>
                  </a:lnTo>
                  <a:lnTo>
                    <a:pt x="412" y="314"/>
                  </a:lnTo>
                  <a:lnTo>
                    <a:pt x="411" y="315"/>
                  </a:lnTo>
                  <a:lnTo>
                    <a:pt x="409" y="316"/>
                  </a:lnTo>
                  <a:lnTo>
                    <a:pt x="408" y="316"/>
                  </a:lnTo>
                  <a:lnTo>
                    <a:pt x="408" y="317"/>
                  </a:lnTo>
                  <a:lnTo>
                    <a:pt x="407" y="317"/>
                  </a:lnTo>
                  <a:lnTo>
                    <a:pt x="407" y="318"/>
                  </a:lnTo>
                  <a:lnTo>
                    <a:pt x="406" y="318"/>
                  </a:lnTo>
                  <a:lnTo>
                    <a:pt x="406" y="319"/>
                  </a:lnTo>
                  <a:lnTo>
                    <a:pt x="406" y="320"/>
                  </a:lnTo>
                  <a:lnTo>
                    <a:pt x="405" y="320"/>
                  </a:lnTo>
                  <a:lnTo>
                    <a:pt x="405" y="321"/>
                  </a:lnTo>
                  <a:lnTo>
                    <a:pt x="405" y="322"/>
                  </a:lnTo>
                  <a:lnTo>
                    <a:pt x="405" y="322"/>
                  </a:lnTo>
                  <a:lnTo>
                    <a:pt x="406" y="325"/>
                  </a:lnTo>
                  <a:lnTo>
                    <a:pt x="406" y="326"/>
                  </a:lnTo>
                  <a:lnTo>
                    <a:pt x="407" y="327"/>
                  </a:lnTo>
                  <a:lnTo>
                    <a:pt x="407" y="327"/>
                  </a:lnTo>
                  <a:lnTo>
                    <a:pt x="407" y="328"/>
                  </a:lnTo>
                  <a:lnTo>
                    <a:pt x="406" y="329"/>
                  </a:lnTo>
                  <a:lnTo>
                    <a:pt x="406" y="329"/>
                  </a:lnTo>
                  <a:lnTo>
                    <a:pt x="406" y="330"/>
                  </a:lnTo>
                  <a:lnTo>
                    <a:pt x="405" y="330"/>
                  </a:lnTo>
                  <a:lnTo>
                    <a:pt x="405" y="331"/>
                  </a:lnTo>
                  <a:lnTo>
                    <a:pt x="404" y="331"/>
                  </a:lnTo>
                  <a:lnTo>
                    <a:pt x="404" y="332"/>
                  </a:lnTo>
                  <a:lnTo>
                    <a:pt x="403" y="332"/>
                  </a:lnTo>
                  <a:lnTo>
                    <a:pt x="402" y="333"/>
                  </a:lnTo>
                  <a:lnTo>
                    <a:pt x="401" y="333"/>
                  </a:lnTo>
                  <a:lnTo>
                    <a:pt x="400" y="333"/>
                  </a:lnTo>
                  <a:lnTo>
                    <a:pt x="400" y="333"/>
                  </a:lnTo>
                  <a:lnTo>
                    <a:pt x="400" y="334"/>
                  </a:lnTo>
                  <a:lnTo>
                    <a:pt x="400" y="334"/>
                  </a:lnTo>
                  <a:lnTo>
                    <a:pt x="400" y="334"/>
                  </a:lnTo>
                  <a:lnTo>
                    <a:pt x="399" y="334"/>
                  </a:lnTo>
                  <a:lnTo>
                    <a:pt x="400" y="335"/>
                  </a:lnTo>
                  <a:lnTo>
                    <a:pt x="400" y="336"/>
                  </a:lnTo>
                  <a:lnTo>
                    <a:pt x="400" y="336"/>
                  </a:lnTo>
                  <a:lnTo>
                    <a:pt x="401" y="337"/>
                  </a:lnTo>
                  <a:lnTo>
                    <a:pt x="402" y="339"/>
                  </a:lnTo>
                  <a:lnTo>
                    <a:pt x="404" y="339"/>
                  </a:lnTo>
                  <a:lnTo>
                    <a:pt x="406" y="342"/>
                  </a:lnTo>
                  <a:lnTo>
                    <a:pt x="407" y="343"/>
                  </a:lnTo>
                  <a:lnTo>
                    <a:pt x="408" y="344"/>
                  </a:lnTo>
                  <a:lnTo>
                    <a:pt x="409" y="344"/>
                  </a:lnTo>
                  <a:lnTo>
                    <a:pt x="409" y="345"/>
                  </a:lnTo>
                  <a:lnTo>
                    <a:pt x="409" y="346"/>
                  </a:lnTo>
                  <a:lnTo>
                    <a:pt x="409" y="346"/>
                  </a:lnTo>
                  <a:lnTo>
                    <a:pt x="409" y="347"/>
                  </a:lnTo>
                  <a:lnTo>
                    <a:pt x="409" y="348"/>
                  </a:lnTo>
                  <a:lnTo>
                    <a:pt x="409" y="348"/>
                  </a:lnTo>
                  <a:lnTo>
                    <a:pt x="409" y="349"/>
                  </a:lnTo>
                  <a:lnTo>
                    <a:pt x="408" y="349"/>
                  </a:lnTo>
                  <a:lnTo>
                    <a:pt x="408" y="350"/>
                  </a:lnTo>
                  <a:lnTo>
                    <a:pt x="407" y="350"/>
                  </a:lnTo>
                  <a:lnTo>
                    <a:pt x="405" y="352"/>
                  </a:lnTo>
                  <a:lnTo>
                    <a:pt x="405" y="353"/>
                  </a:lnTo>
                  <a:lnTo>
                    <a:pt x="404" y="353"/>
                  </a:lnTo>
                  <a:lnTo>
                    <a:pt x="404" y="354"/>
                  </a:lnTo>
                  <a:lnTo>
                    <a:pt x="404" y="354"/>
                  </a:lnTo>
                  <a:lnTo>
                    <a:pt x="403" y="356"/>
                  </a:lnTo>
                  <a:lnTo>
                    <a:pt x="403" y="357"/>
                  </a:lnTo>
                  <a:lnTo>
                    <a:pt x="402" y="358"/>
                  </a:lnTo>
                  <a:lnTo>
                    <a:pt x="401" y="359"/>
                  </a:lnTo>
                  <a:lnTo>
                    <a:pt x="401" y="359"/>
                  </a:lnTo>
                  <a:lnTo>
                    <a:pt x="400" y="360"/>
                  </a:lnTo>
                  <a:lnTo>
                    <a:pt x="400" y="360"/>
                  </a:lnTo>
                  <a:lnTo>
                    <a:pt x="399" y="361"/>
                  </a:lnTo>
                  <a:lnTo>
                    <a:pt x="399" y="361"/>
                  </a:lnTo>
                  <a:lnTo>
                    <a:pt x="398" y="362"/>
                  </a:lnTo>
                  <a:lnTo>
                    <a:pt x="397" y="362"/>
                  </a:lnTo>
                  <a:lnTo>
                    <a:pt x="397" y="362"/>
                  </a:lnTo>
                  <a:lnTo>
                    <a:pt x="395" y="363"/>
                  </a:lnTo>
                  <a:lnTo>
                    <a:pt x="393" y="363"/>
                  </a:lnTo>
                  <a:lnTo>
                    <a:pt x="390" y="363"/>
                  </a:lnTo>
                  <a:lnTo>
                    <a:pt x="386" y="364"/>
                  </a:lnTo>
                  <a:lnTo>
                    <a:pt x="385" y="364"/>
                  </a:lnTo>
                  <a:lnTo>
                    <a:pt x="383" y="364"/>
                  </a:lnTo>
                  <a:lnTo>
                    <a:pt x="382" y="365"/>
                  </a:lnTo>
                  <a:lnTo>
                    <a:pt x="381" y="365"/>
                  </a:lnTo>
                  <a:lnTo>
                    <a:pt x="380" y="366"/>
                  </a:lnTo>
                  <a:lnTo>
                    <a:pt x="379" y="366"/>
                  </a:lnTo>
                  <a:lnTo>
                    <a:pt x="378" y="367"/>
                  </a:lnTo>
                  <a:lnTo>
                    <a:pt x="378" y="368"/>
                  </a:lnTo>
                  <a:lnTo>
                    <a:pt x="377" y="368"/>
                  </a:lnTo>
                  <a:lnTo>
                    <a:pt x="377" y="369"/>
                  </a:lnTo>
                  <a:lnTo>
                    <a:pt x="377" y="370"/>
                  </a:lnTo>
                  <a:lnTo>
                    <a:pt x="377" y="371"/>
                  </a:lnTo>
                  <a:lnTo>
                    <a:pt x="377" y="373"/>
                  </a:lnTo>
                  <a:lnTo>
                    <a:pt x="377" y="373"/>
                  </a:lnTo>
                  <a:lnTo>
                    <a:pt x="377" y="374"/>
                  </a:lnTo>
                  <a:lnTo>
                    <a:pt x="377" y="374"/>
                  </a:lnTo>
                  <a:lnTo>
                    <a:pt x="376" y="375"/>
                  </a:lnTo>
                  <a:lnTo>
                    <a:pt x="376" y="375"/>
                  </a:lnTo>
                  <a:lnTo>
                    <a:pt x="376" y="376"/>
                  </a:lnTo>
                  <a:lnTo>
                    <a:pt x="375" y="376"/>
                  </a:lnTo>
                  <a:lnTo>
                    <a:pt x="372" y="378"/>
                  </a:lnTo>
                  <a:lnTo>
                    <a:pt x="372" y="378"/>
                  </a:lnTo>
                  <a:lnTo>
                    <a:pt x="371" y="378"/>
                  </a:lnTo>
                  <a:lnTo>
                    <a:pt x="370" y="379"/>
                  </a:lnTo>
                  <a:lnTo>
                    <a:pt x="368" y="379"/>
                  </a:lnTo>
                  <a:lnTo>
                    <a:pt x="364" y="380"/>
                  </a:lnTo>
                  <a:lnTo>
                    <a:pt x="362" y="380"/>
                  </a:lnTo>
                  <a:lnTo>
                    <a:pt x="361" y="380"/>
                  </a:lnTo>
                  <a:lnTo>
                    <a:pt x="360" y="380"/>
                  </a:lnTo>
                  <a:lnTo>
                    <a:pt x="358" y="380"/>
                  </a:lnTo>
                  <a:lnTo>
                    <a:pt x="356" y="380"/>
                  </a:lnTo>
                  <a:lnTo>
                    <a:pt x="355" y="379"/>
                  </a:lnTo>
                  <a:lnTo>
                    <a:pt x="352" y="379"/>
                  </a:lnTo>
                  <a:lnTo>
                    <a:pt x="351" y="379"/>
                  </a:lnTo>
                  <a:lnTo>
                    <a:pt x="349" y="378"/>
                  </a:lnTo>
                  <a:lnTo>
                    <a:pt x="348" y="378"/>
                  </a:lnTo>
                  <a:lnTo>
                    <a:pt x="347" y="378"/>
                  </a:lnTo>
                  <a:lnTo>
                    <a:pt x="346" y="378"/>
                  </a:lnTo>
                  <a:lnTo>
                    <a:pt x="346" y="379"/>
                  </a:lnTo>
                  <a:lnTo>
                    <a:pt x="345" y="379"/>
                  </a:lnTo>
                  <a:lnTo>
                    <a:pt x="344" y="380"/>
                  </a:lnTo>
                  <a:lnTo>
                    <a:pt x="343" y="381"/>
                  </a:lnTo>
                  <a:lnTo>
                    <a:pt x="341" y="382"/>
                  </a:lnTo>
                  <a:lnTo>
                    <a:pt x="340" y="382"/>
                  </a:lnTo>
                  <a:lnTo>
                    <a:pt x="339" y="383"/>
                  </a:lnTo>
                  <a:lnTo>
                    <a:pt x="338" y="383"/>
                  </a:lnTo>
                  <a:lnTo>
                    <a:pt x="336" y="383"/>
                  </a:lnTo>
                  <a:lnTo>
                    <a:pt x="335" y="383"/>
                  </a:lnTo>
                  <a:lnTo>
                    <a:pt x="335" y="383"/>
                  </a:lnTo>
                  <a:lnTo>
                    <a:pt x="334" y="383"/>
                  </a:lnTo>
                  <a:lnTo>
                    <a:pt x="333" y="382"/>
                  </a:lnTo>
                  <a:lnTo>
                    <a:pt x="332" y="382"/>
                  </a:lnTo>
                  <a:lnTo>
                    <a:pt x="331" y="381"/>
                  </a:lnTo>
                  <a:lnTo>
                    <a:pt x="329" y="379"/>
                  </a:lnTo>
                  <a:lnTo>
                    <a:pt x="328" y="379"/>
                  </a:lnTo>
                  <a:lnTo>
                    <a:pt x="327" y="378"/>
                  </a:lnTo>
                  <a:lnTo>
                    <a:pt x="327" y="378"/>
                  </a:lnTo>
                  <a:lnTo>
                    <a:pt x="326" y="376"/>
                  </a:lnTo>
                  <a:lnTo>
                    <a:pt x="325" y="375"/>
                  </a:lnTo>
                  <a:lnTo>
                    <a:pt x="325" y="375"/>
                  </a:lnTo>
                  <a:lnTo>
                    <a:pt x="324" y="374"/>
                  </a:lnTo>
                  <a:lnTo>
                    <a:pt x="324" y="374"/>
                  </a:lnTo>
                  <a:lnTo>
                    <a:pt x="323" y="374"/>
                  </a:lnTo>
                  <a:lnTo>
                    <a:pt x="323" y="374"/>
                  </a:lnTo>
                  <a:lnTo>
                    <a:pt x="322" y="374"/>
                  </a:lnTo>
                  <a:lnTo>
                    <a:pt x="322" y="374"/>
                  </a:lnTo>
                  <a:lnTo>
                    <a:pt x="320" y="374"/>
                  </a:lnTo>
                  <a:lnTo>
                    <a:pt x="320" y="375"/>
                  </a:lnTo>
                  <a:lnTo>
                    <a:pt x="318" y="375"/>
                  </a:lnTo>
                  <a:lnTo>
                    <a:pt x="317" y="376"/>
                  </a:lnTo>
                  <a:lnTo>
                    <a:pt x="317" y="376"/>
                  </a:lnTo>
                  <a:lnTo>
                    <a:pt x="316" y="376"/>
                  </a:lnTo>
                  <a:lnTo>
                    <a:pt x="316" y="377"/>
                  </a:lnTo>
                  <a:lnTo>
                    <a:pt x="314" y="379"/>
                  </a:lnTo>
                  <a:lnTo>
                    <a:pt x="313" y="380"/>
                  </a:lnTo>
                  <a:lnTo>
                    <a:pt x="312" y="380"/>
                  </a:lnTo>
                  <a:lnTo>
                    <a:pt x="312" y="381"/>
                  </a:lnTo>
                  <a:lnTo>
                    <a:pt x="311" y="381"/>
                  </a:lnTo>
                  <a:lnTo>
                    <a:pt x="310" y="382"/>
                  </a:lnTo>
                  <a:lnTo>
                    <a:pt x="310" y="382"/>
                  </a:lnTo>
                  <a:lnTo>
                    <a:pt x="309" y="382"/>
                  </a:lnTo>
                  <a:lnTo>
                    <a:pt x="309" y="382"/>
                  </a:lnTo>
                  <a:lnTo>
                    <a:pt x="308" y="382"/>
                  </a:lnTo>
                  <a:lnTo>
                    <a:pt x="307" y="382"/>
                  </a:lnTo>
                  <a:lnTo>
                    <a:pt x="305" y="382"/>
                  </a:lnTo>
                  <a:lnTo>
                    <a:pt x="304" y="382"/>
                  </a:lnTo>
                  <a:lnTo>
                    <a:pt x="304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2" y="383"/>
                  </a:lnTo>
                  <a:lnTo>
                    <a:pt x="302" y="383"/>
                  </a:lnTo>
                  <a:lnTo>
                    <a:pt x="301" y="383"/>
                  </a:lnTo>
                  <a:lnTo>
                    <a:pt x="301" y="384"/>
                  </a:lnTo>
                  <a:lnTo>
                    <a:pt x="300" y="385"/>
                  </a:lnTo>
                  <a:lnTo>
                    <a:pt x="300" y="386"/>
                  </a:lnTo>
                  <a:lnTo>
                    <a:pt x="299" y="389"/>
                  </a:lnTo>
                  <a:lnTo>
                    <a:pt x="298" y="390"/>
                  </a:lnTo>
                  <a:lnTo>
                    <a:pt x="298" y="390"/>
                  </a:lnTo>
                  <a:lnTo>
                    <a:pt x="298" y="391"/>
                  </a:lnTo>
                  <a:lnTo>
                    <a:pt x="297" y="392"/>
                  </a:lnTo>
                  <a:lnTo>
                    <a:pt x="297" y="392"/>
                  </a:lnTo>
                  <a:lnTo>
                    <a:pt x="296" y="392"/>
                  </a:lnTo>
                  <a:lnTo>
                    <a:pt x="295" y="393"/>
                  </a:lnTo>
                  <a:lnTo>
                    <a:pt x="295" y="393"/>
                  </a:lnTo>
                  <a:lnTo>
                    <a:pt x="293" y="393"/>
                  </a:lnTo>
                  <a:lnTo>
                    <a:pt x="291" y="393"/>
                  </a:lnTo>
                  <a:lnTo>
                    <a:pt x="290" y="393"/>
                  </a:lnTo>
                  <a:lnTo>
                    <a:pt x="288" y="393"/>
                  </a:lnTo>
                  <a:lnTo>
                    <a:pt x="286" y="393"/>
                  </a:lnTo>
                  <a:lnTo>
                    <a:pt x="285" y="394"/>
                  </a:lnTo>
                  <a:lnTo>
                    <a:pt x="282" y="395"/>
                  </a:lnTo>
                  <a:lnTo>
                    <a:pt x="281" y="395"/>
                  </a:lnTo>
                  <a:lnTo>
                    <a:pt x="279" y="396"/>
                  </a:lnTo>
                  <a:lnTo>
                    <a:pt x="278" y="397"/>
                  </a:lnTo>
                  <a:lnTo>
                    <a:pt x="277" y="397"/>
                  </a:lnTo>
                  <a:lnTo>
                    <a:pt x="277" y="398"/>
                  </a:lnTo>
                  <a:lnTo>
                    <a:pt x="276" y="399"/>
                  </a:lnTo>
                  <a:lnTo>
                    <a:pt x="275" y="400"/>
                  </a:lnTo>
                  <a:lnTo>
                    <a:pt x="274" y="402"/>
                  </a:lnTo>
                  <a:lnTo>
                    <a:pt x="272" y="403"/>
                  </a:lnTo>
                  <a:lnTo>
                    <a:pt x="271" y="404"/>
                  </a:lnTo>
                  <a:lnTo>
                    <a:pt x="270" y="405"/>
                  </a:lnTo>
                  <a:lnTo>
                    <a:pt x="269" y="406"/>
                  </a:lnTo>
                  <a:lnTo>
                    <a:pt x="268" y="407"/>
                  </a:lnTo>
                  <a:lnTo>
                    <a:pt x="266" y="408"/>
                  </a:lnTo>
                  <a:lnTo>
                    <a:pt x="265" y="409"/>
                  </a:lnTo>
                  <a:lnTo>
                    <a:pt x="264" y="409"/>
                  </a:lnTo>
                  <a:lnTo>
                    <a:pt x="263" y="410"/>
                  </a:lnTo>
                  <a:lnTo>
                    <a:pt x="263" y="410"/>
                  </a:lnTo>
                  <a:lnTo>
                    <a:pt x="261" y="412"/>
                  </a:lnTo>
                  <a:lnTo>
                    <a:pt x="259" y="414"/>
                  </a:lnTo>
                  <a:lnTo>
                    <a:pt x="259" y="414"/>
                  </a:lnTo>
                  <a:lnTo>
                    <a:pt x="258" y="416"/>
                  </a:lnTo>
                  <a:lnTo>
                    <a:pt x="256" y="418"/>
                  </a:lnTo>
                  <a:lnTo>
                    <a:pt x="256" y="418"/>
                  </a:lnTo>
                  <a:lnTo>
                    <a:pt x="255" y="419"/>
                  </a:lnTo>
                  <a:lnTo>
                    <a:pt x="255" y="419"/>
                  </a:lnTo>
                  <a:lnTo>
                    <a:pt x="254" y="419"/>
                  </a:lnTo>
                  <a:lnTo>
                    <a:pt x="254" y="419"/>
                  </a:lnTo>
                  <a:lnTo>
                    <a:pt x="253" y="419"/>
                  </a:lnTo>
                  <a:lnTo>
                    <a:pt x="253" y="419"/>
                  </a:lnTo>
                  <a:lnTo>
                    <a:pt x="252" y="419"/>
                  </a:lnTo>
                  <a:lnTo>
                    <a:pt x="251" y="419"/>
                  </a:lnTo>
                  <a:lnTo>
                    <a:pt x="249" y="417"/>
                  </a:lnTo>
                  <a:lnTo>
                    <a:pt x="248" y="417"/>
                  </a:lnTo>
                  <a:lnTo>
                    <a:pt x="247" y="416"/>
                  </a:lnTo>
                  <a:lnTo>
                    <a:pt x="246" y="416"/>
                  </a:lnTo>
                  <a:lnTo>
                    <a:pt x="245" y="415"/>
                  </a:lnTo>
                  <a:lnTo>
                    <a:pt x="244" y="415"/>
                  </a:lnTo>
                  <a:lnTo>
                    <a:pt x="243" y="415"/>
                  </a:lnTo>
                  <a:lnTo>
                    <a:pt x="242" y="415"/>
                  </a:lnTo>
                  <a:lnTo>
                    <a:pt x="238" y="416"/>
                  </a:lnTo>
                  <a:lnTo>
                    <a:pt x="237" y="416"/>
                  </a:lnTo>
                  <a:lnTo>
                    <a:pt x="236" y="416"/>
                  </a:lnTo>
                  <a:lnTo>
                    <a:pt x="236" y="416"/>
                  </a:lnTo>
                  <a:lnTo>
                    <a:pt x="235" y="416"/>
                  </a:lnTo>
                  <a:lnTo>
                    <a:pt x="235" y="417"/>
                  </a:lnTo>
                  <a:lnTo>
                    <a:pt x="235" y="417"/>
                  </a:lnTo>
                  <a:lnTo>
                    <a:pt x="234" y="417"/>
                  </a:lnTo>
                  <a:lnTo>
                    <a:pt x="232" y="420"/>
                  </a:lnTo>
                  <a:lnTo>
                    <a:pt x="231" y="422"/>
                  </a:lnTo>
                  <a:lnTo>
                    <a:pt x="231" y="422"/>
                  </a:lnTo>
                  <a:lnTo>
                    <a:pt x="230" y="423"/>
                  </a:lnTo>
                  <a:lnTo>
                    <a:pt x="229" y="424"/>
                  </a:lnTo>
                  <a:lnTo>
                    <a:pt x="229" y="424"/>
                  </a:lnTo>
                  <a:lnTo>
                    <a:pt x="228" y="425"/>
                  </a:lnTo>
                  <a:lnTo>
                    <a:pt x="228" y="425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26" y="425"/>
                  </a:lnTo>
                  <a:lnTo>
                    <a:pt x="225" y="425"/>
                  </a:lnTo>
                  <a:lnTo>
                    <a:pt x="224" y="424"/>
                  </a:lnTo>
                  <a:lnTo>
                    <a:pt x="223" y="424"/>
                  </a:lnTo>
                  <a:lnTo>
                    <a:pt x="222" y="424"/>
                  </a:lnTo>
                  <a:lnTo>
                    <a:pt x="222" y="423"/>
                  </a:lnTo>
                  <a:lnTo>
                    <a:pt x="220" y="422"/>
                  </a:lnTo>
                  <a:lnTo>
                    <a:pt x="219" y="421"/>
                  </a:lnTo>
                  <a:lnTo>
                    <a:pt x="218" y="421"/>
                  </a:lnTo>
                  <a:lnTo>
                    <a:pt x="217" y="421"/>
                  </a:lnTo>
                  <a:lnTo>
                    <a:pt x="217" y="421"/>
                  </a:lnTo>
                  <a:lnTo>
                    <a:pt x="216" y="421"/>
                  </a:lnTo>
                  <a:lnTo>
                    <a:pt x="215" y="421"/>
                  </a:lnTo>
                  <a:lnTo>
                    <a:pt x="214" y="421"/>
                  </a:lnTo>
                  <a:lnTo>
                    <a:pt x="213" y="421"/>
                  </a:lnTo>
                  <a:lnTo>
                    <a:pt x="212" y="421"/>
                  </a:lnTo>
                  <a:lnTo>
                    <a:pt x="211" y="422"/>
                  </a:lnTo>
                  <a:lnTo>
                    <a:pt x="211" y="422"/>
                  </a:lnTo>
                  <a:lnTo>
                    <a:pt x="210" y="422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2"/>
                  </a:lnTo>
                  <a:lnTo>
                    <a:pt x="209" y="421"/>
                  </a:lnTo>
                  <a:lnTo>
                    <a:pt x="208" y="419"/>
                  </a:lnTo>
                  <a:lnTo>
                    <a:pt x="208" y="418"/>
                  </a:lnTo>
                  <a:lnTo>
                    <a:pt x="207" y="418"/>
                  </a:lnTo>
                  <a:lnTo>
                    <a:pt x="207" y="417"/>
                  </a:lnTo>
                  <a:lnTo>
                    <a:pt x="206" y="416"/>
                  </a:lnTo>
                  <a:lnTo>
                    <a:pt x="206" y="416"/>
                  </a:lnTo>
                  <a:lnTo>
                    <a:pt x="205" y="415"/>
                  </a:lnTo>
                  <a:lnTo>
                    <a:pt x="203" y="414"/>
                  </a:lnTo>
                  <a:lnTo>
                    <a:pt x="202" y="413"/>
                  </a:lnTo>
                  <a:lnTo>
                    <a:pt x="201" y="412"/>
                  </a:lnTo>
                  <a:lnTo>
                    <a:pt x="199" y="412"/>
                  </a:lnTo>
                  <a:lnTo>
                    <a:pt x="197" y="411"/>
                  </a:lnTo>
                  <a:lnTo>
                    <a:pt x="196" y="410"/>
                  </a:lnTo>
                  <a:lnTo>
                    <a:pt x="195" y="410"/>
                  </a:lnTo>
                  <a:lnTo>
                    <a:pt x="194" y="409"/>
                  </a:lnTo>
                  <a:lnTo>
                    <a:pt x="193" y="408"/>
                  </a:lnTo>
                  <a:lnTo>
                    <a:pt x="192" y="407"/>
                  </a:lnTo>
                  <a:lnTo>
                    <a:pt x="192" y="407"/>
                  </a:lnTo>
                  <a:lnTo>
                    <a:pt x="191" y="404"/>
                  </a:lnTo>
                  <a:lnTo>
                    <a:pt x="190" y="404"/>
                  </a:lnTo>
                  <a:lnTo>
                    <a:pt x="190" y="403"/>
                  </a:lnTo>
                  <a:lnTo>
                    <a:pt x="189" y="402"/>
                  </a:lnTo>
                  <a:lnTo>
                    <a:pt x="189" y="402"/>
                  </a:lnTo>
                  <a:lnTo>
                    <a:pt x="188" y="402"/>
                  </a:lnTo>
                  <a:lnTo>
                    <a:pt x="187" y="402"/>
                  </a:lnTo>
                  <a:lnTo>
                    <a:pt x="187" y="402"/>
                  </a:lnTo>
                  <a:lnTo>
                    <a:pt x="186" y="402"/>
                  </a:lnTo>
                  <a:lnTo>
                    <a:pt x="184" y="401"/>
                  </a:lnTo>
                  <a:lnTo>
                    <a:pt x="183" y="401"/>
                  </a:lnTo>
                  <a:lnTo>
                    <a:pt x="183" y="401"/>
                  </a:lnTo>
                  <a:lnTo>
                    <a:pt x="183" y="401"/>
                  </a:lnTo>
                  <a:lnTo>
                    <a:pt x="182" y="401"/>
                  </a:lnTo>
                  <a:lnTo>
                    <a:pt x="182" y="400"/>
                  </a:lnTo>
                  <a:lnTo>
                    <a:pt x="182" y="400"/>
                  </a:lnTo>
                  <a:lnTo>
                    <a:pt x="182" y="399"/>
                  </a:lnTo>
                  <a:lnTo>
                    <a:pt x="182" y="399"/>
                  </a:lnTo>
                  <a:lnTo>
                    <a:pt x="182" y="398"/>
                  </a:lnTo>
                  <a:lnTo>
                    <a:pt x="182" y="398"/>
                  </a:lnTo>
                  <a:lnTo>
                    <a:pt x="183" y="397"/>
                  </a:lnTo>
                  <a:lnTo>
                    <a:pt x="184" y="396"/>
                  </a:lnTo>
                  <a:lnTo>
                    <a:pt x="185" y="394"/>
                  </a:lnTo>
                  <a:lnTo>
                    <a:pt x="186" y="393"/>
                  </a:lnTo>
                  <a:lnTo>
                    <a:pt x="187" y="392"/>
                  </a:lnTo>
                  <a:lnTo>
                    <a:pt x="188" y="391"/>
                  </a:lnTo>
                  <a:lnTo>
                    <a:pt x="190" y="388"/>
                  </a:lnTo>
                  <a:lnTo>
                    <a:pt x="191" y="388"/>
                  </a:lnTo>
                  <a:lnTo>
                    <a:pt x="191" y="387"/>
                  </a:lnTo>
                  <a:lnTo>
                    <a:pt x="192" y="386"/>
                  </a:lnTo>
                  <a:lnTo>
                    <a:pt x="192" y="385"/>
                  </a:lnTo>
                  <a:lnTo>
                    <a:pt x="193" y="383"/>
                  </a:lnTo>
                  <a:lnTo>
                    <a:pt x="193" y="382"/>
                  </a:lnTo>
                  <a:lnTo>
                    <a:pt x="194" y="381"/>
                  </a:lnTo>
                  <a:lnTo>
                    <a:pt x="196" y="379"/>
                  </a:lnTo>
                  <a:lnTo>
                    <a:pt x="196" y="378"/>
                  </a:lnTo>
                  <a:lnTo>
                    <a:pt x="196" y="377"/>
                  </a:lnTo>
                  <a:lnTo>
                    <a:pt x="196" y="377"/>
                  </a:lnTo>
                  <a:lnTo>
                    <a:pt x="197" y="376"/>
                  </a:lnTo>
                  <a:lnTo>
                    <a:pt x="197" y="374"/>
                  </a:lnTo>
                  <a:lnTo>
                    <a:pt x="197" y="373"/>
                  </a:lnTo>
                  <a:lnTo>
                    <a:pt x="198" y="372"/>
                  </a:lnTo>
                  <a:lnTo>
                    <a:pt x="198" y="371"/>
                  </a:lnTo>
                  <a:lnTo>
                    <a:pt x="199" y="369"/>
                  </a:lnTo>
                  <a:lnTo>
                    <a:pt x="200" y="368"/>
                  </a:lnTo>
                  <a:lnTo>
                    <a:pt x="201" y="367"/>
                  </a:lnTo>
                  <a:lnTo>
                    <a:pt x="201" y="366"/>
                  </a:lnTo>
                  <a:lnTo>
                    <a:pt x="202" y="366"/>
                  </a:lnTo>
                  <a:lnTo>
                    <a:pt x="202" y="366"/>
                  </a:lnTo>
                  <a:lnTo>
                    <a:pt x="202" y="365"/>
                  </a:lnTo>
                  <a:lnTo>
                    <a:pt x="203" y="365"/>
                  </a:lnTo>
                  <a:lnTo>
                    <a:pt x="206" y="365"/>
                  </a:lnTo>
                  <a:lnTo>
                    <a:pt x="208" y="364"/>
                  </a:lnTo>
                  <a:lnTo>
                    <a:pt x="209" y="364"/>
                  </a:lnTo>
                  <a:lnTo>
                    <a:pt x="210" y="363"/>
                  </a:lnTo>
                  <a:lnTo>
                    <a:pt x="210" y="363"/>
                  </a:lnTo>
                  <a:lnTo>
                    <a:pt x="211" y="363"/>
                  </a:lnTo>
                  <a:lnTo>
                    <a:pt x="211" y="362"/>
                  </a:lnTo>
                  <a:lnTo>
                    <a:pt x="211" y="362"/>
                  </a:lnTo>
                  <a:lnTo>
                    <a:pt x="212" y="361"/>
                  </a:lnTo>
                  <a:lnTo>
                    <a:pt x="212" y="360"/>
                  </a:lnTo>
                  <a:lnTo>
                    <a:pt x="212" y="359"/>
                  </a:lnTo>
                  <a:lnTo>
                    <a:pt x="212" y="358"/>
                  </a:lnTo>
                  <a:lnTo>
                    <a:pt x="212" y="358"/>
                  </a:lnTo>
                  <a:lnTo>
                    <a:pt x="212" y="357"/>
                  </a:lnTo>
                  <a:lnTo>
                    <a:pt x="212" y="356"/>
                  </a:lnTo>
                  <a:lnTo>
                    <a:pt x="211" y="355"/>
                  </a:lnTo>
                  <a:lnTo>
                    <a:pt x="209" y="352"/>
                  </a:lnTo>
                  <a:lnTo>
                    <a:pt x="209" y="352"/>
                  </a:lnTo>
                  <a:lnTo>
                    <a:pt x="208" y="351"/>
                  </a:lnTo>
                  <a:lnTo>
                    <a:pt x="207" y="351"/>
                  </a:lnTo>
                  <a:lnTo>
                    <a:pt x="206" y="349"/>
                  </a:lnTo>
                  <a:lnTo>
                    <a:pt x="204" y="349"/>
                  </a:lnTo>
                  <a:lnTo>
                    <a:pt x="204" y="348"/>
                  </a:lnTo>
                  <a:lnTo>
                    <a:pt x="203" y="347"/>
                  </a:lnTo>
                  <a:lnTo>
                    <a:pt x="203" y="347"/>
                  </a:lnTo>
                  <a:lnTo>
                    <a:pt x="202" y="346"/>
                  </a:lnTo>
                  <a:lnTo>
                    <a:pt x="202" y="346"/>
                  </a:lnTo>
                  <a:lnTo>
                    <a:pt x="202" y="345"/>
                  </a:lnTo>
                  <a:lnTo>
                    <a:pt x="202" y="345"/>
                  </a:lnTo>
                  <a:lnTo>
                    <a:pt x="202" y="344"/>
                  </a:lnTo>
                  <a:lnTo>
                    <a:pt x="202" y="343"/>
                  </a:lnTo>
                  <a:lnTo>
                    <a:pt x="203" y="343"/>
                  </a:lnTo>
                  <a:lnTo>
                    <a:pt x="202" y="342"/>
                  </a:lnTo>
                  <a:lnTo>
                    <a:pt x="202" y="342"/>
                  </a:lnTo>
                  <a:lnTo>
                    <a:pt x="202" y="341"/>
                  </a:lnTo>
                  <a:lnTo>
                    <a:pt x="202" y="340"/>
                  </a:lnTo>
                  <a:lnTo>
                    <a:pt x="201" y="340"/>
                  </a:lnTo>
                  <a:lnTo>
                    <a:pt x="201" y="340"/>
                  </a:lnTo>
                  <a:lnTo>
                    <a:pt x="200" y="339"/>
                  </a:lnTo>
                  <a:lnTo>
                    <a:pt x="199" y="339"/>
                  </a:lnTo>
                  <a:lnTo>
                    <a:pt x="198" y="338"/>
                  </a:lnTo>
                  <a:lnTo>
                    <a:pt x="198" y="338"/>
                  </a:lnTo>
                  <a:lnTo>
                    <a:pt x="197" y="338"/>
                  </a:lnTo>
                  <a:lnTo>
                    <a:pt x="197" y="338"/>
                  </a:lnTo>
                  <a:lnTo>
                    <a:pt x="196" y="338"/>
                  </a:lnTo>
                  <a:lnTo>
                    <a:pt x="196" y="338"/>
                  </a:lnTo>
                  <a:lnTo>
                    <a:pt x="195" y="338"/>
                  </a:lnTo>
                  <a:lnTo>
                    <a:pt x="195" y="338"/>
                  </a:lnTo>
                  <a:lnTo>
                    <a:pt x="193" y="339"/>
                  </a:lnTo>
                  <a:lnTo>
                    <a:pt x="193" y="339"/>
                  </a:lnTo>
                  <a:lnTo>
                    <a:pt x="192" y="339"/>
                  </a:lnTo>
                  <a:lnTo>
                    <a:pt x="190" y="340"/>
                  </a:lnTo>
                  <a:lnTo>
                    <a:pt x="188" y="340"/>
                  </a:lnTo>
                  <a:lnTo>
                    <a:pt x="187" y="340"/>
                  </a:lnTo>
                  <a:lnTo>
                    <a:pt x="184" y="341"/>
                  </a:lnTo>
                  <a:lnTo>
                    <a:pt x="183" y="342"/>
                  </a:lnTo>
                  <a:lnTo>
                    <a:pt x="182" y="342"/>
                  </a:lnTo>
                  <a:lnTo>
                    <a:pt x="181" y="342"/>
                  </a:lnTo>
                  <a:lnTo>
                    <a:pt x="179" y="342"/>
                  </a:lnTo>
                  <a:lnTo>
                    <a:pt x="177" y="342"/>
                  </a:lnTo>
                  <a:lnTo>
                    <a:pt x="175" y="342"/>
                  </a:lnTo>
                  <a:lnTo>
                    <a:pt x="173" y="342"/>
                  </a:lnTo>
                  <a:lnTo>
                    <a:pt x="172" y="342"/>
                  </a:lnTo>
                  <a:lnTo>
                    <a:pt x="171" y="342"/>
                  </a:lnTo>
                  <a:lnTo>
                    <a:pt x="168" y="341"/>
                  </a:lnTo>
                  <a:lnTo>
                    <a:pt x="167" y="341"/>
                  </a:lnTo>
                  <a:lnTo>
                    <a:pt x="166" y="340"/>
                  </a:lnTo>
                  <a:lnTo>
                    <a:pt x="166" y="340"/>
                  </a:lnTo>
                  <a:lnTo>
                    <a:pt x="165" y="340"/>
                  </a:lnTo>
                  <a:lnTo>
                    <a:pt x="164" y="341"/>
                  </a:lnTo>
                  <a:lnTo>
                    <a:pt x="163" y="341"/>
                  </a:lnTo>
                  <a:lnTo>
                    <a:pt x="161" y="341"/>
                  </a:lnTo>
                  <a:lnTo>
                    <a:pt x="161" y="342"/>
                  </a:lnTo>
                  <a:lnTo>
                    <a:pt x="161" y="342"/>
                  </a:lnTo>
                  <a:lnTo>
                    <a:pt x="160" y="342"/>
                  </a:lnTo>
                  <a:lnTo>
                    <a:pt x="160" y="342"/>
                  </a:lnTo>
                  <a:lnTo>
                    <a:pt x="159" y="342"/>
                  </a:lnTo>
                  <a:lnTo>
                    <a:pt x="159" y="341"/>
                  </a:lnTo>
                  <a:lnTo>
                    <a:pt x="156" y="340"/>
                  </a:lnTo>
                  <a:lnTo>
                    <a:pt x="152" y="337"/>
                  </a:lnTo>
                  <a:lnTo>
                    <a:pt x="150" y="336"/>
                  </a:lnTo>
                  <a:lnTo>
                    <a:pt x="148" y="335"/>
                  </a:lnTo>
                  <a:lnTo>
                    <a:pt x="148" y="334"/>
                  </a:lnTo>
                  <a:lnTo>
                    <a:pt x="145" y="332"/>
                  </a:lnTo>
                  <a:lnTo>
                    <a:pt x="142" y="330"/>
                  </a:lnTo>
                  <a:lnTo>
                    <a:pt x="141" y="329"/>
                  </a:lnTo>
                  <a:lnTo>
                    <a:pt x="139" y="327"/>
                  </a:lnTo>
                  <a:lnTo>
                    <a:pt x="139" y="327"/>
                  </a:lnTo>
                  <a:lnTo>
                    <a:pt x="138" y="326"/>
                  </a:lnTo>
                  <a:lnTo>
                    <a:pt x="138" y="325"/>
                  </a:lnTo>
                  <a:lnTo>
                    <a:pt x="137" y="324"/>
                  </a:lnTo>
                  <a:lnTo>
                    <a:pt x="136" y="323"/>
                  </a:lnTo>
                  <a:lnTo>
                    <a:pt x="136" y="321"/>
                  </a:lnTo>
                  <a:lnTo>
                    <a:pt x="136" y="320"/>
                  </a:lnTo>
                  <a:lnTo>
                    <a:pt x="136" y="319"/>
                  </a:lnTo>
                  <a:lnTo>
                    <a:pt x="136" y="317"/>
                  </a:lnTo>
                  <a:lnTo>
                    <a:pt x="136" y="316"/>
                  </a:lnTo>
                  <a:lnTo>
                    <a:pt x="136" y="313"/>
                  </a:lnTo>
                  <a:lnTo>
                    <a:pt x="137" y="311"/>
                  </a:lnTo>
                  <a:lnTo>
                    <a:pt x="137" y="310"/>
                  </a:lnTo>
                  <a:lnTo>
                    <a:pt x="137" y="309"/>
                  </a:lnTo>
                  <a:lnTo>
                    <a:pt x="136" y="308"/>
                  </a:lnTo>
                  <a:lnTo>
                    <a:pt x="136" y="307"/>
                  </a:lnTo>
                  <a:lnTo>
                    <a:pt x="136" y="305"/>
                  </a:lnTo>
                  <a:lnTo>
                    <a:pt x="136" y="304"/>
                  </a:lnTo>
                  <a:lnTo>
                    <a:pt x="135" y="303"/>
                  </a:lnTo>
                  <a:lnTo>
                    <a:pt x="135" y="302"/>
                  </a:lnTo>
                  <a:lnTo>
                    <a:pt x="134" y="301"/>
                  </a:lnTo>
                  <a:lnTo>
                    <a:pt x="134" y="301"/>
                  </a:lnTo>
                  <a:lnTo>
                    <a:pt x="133" y="300"/>
                  </a:lnTo>
                  <a:lnTo>
                    <a:pt x="133" y="300"/>
                  </a:lnTo>
                  <a:lnTo>
                    <a:pt x="132" y="300"/>
                  </a:lnTo>
                  <a:lnTo>
                    <a:pt x="132" y="299"/>
                  </a:lnTo>
                  <a:lnTo>
                    <a:pt x="131" y="299"/>
                  </a:lnTo>
                  <a:lnTo>
                    <a:pt x="130" y="299"/>
                  </a:lnTo>
                  <a:lnTo>
                    <a:pt x="129" y="299"/>
                  </a:lnTo>
                  <a:lnTo>
                    <a:pt x="128" y="299"/>
                  </a:lnTo>
                  <a:lnTo>
                    <a:pt x="127" y="299"/>
                  </a:lnTo>
                  <a:lnTo>
                    <a:pt x="124" y="299"/>
                  </a:lnTo>
                  <a:lnTo>
                    <a:pt x="121" y="300"/>
                  </a:lnTo>
                  <a:lnTo>
                    <a:pt x="120" y="300"/>
                  </a:lnTo>
                  <a:lnTo>
                    <a:pt x="119" y="300"/>
                  </a:lnTo>
                  <a:lnTo>
                    <a:pt x="116" y="300"/>
                  </a:lnTo>
                  <a:lnTo>
                    <a:pt x="115" y="301"/>
                  </a:lnTo>
                  <a:lnTo>
                    <a:pt x="111" y="301"/>
                  </a:lnTo>
                  <a:lnTo>
                    <a:pt x="111" y="301"/>
                  </a:lnTo>
                  <a:lnTo>
                    <a:pt x="110" y="301"/>
                  </a:lnTo>
                  <a:lnTo>
                    <a:pt x="109" y="301"/>
                  </a:lnTo>
                  <a:lnTo>
                    <a:pt x="109" y="301"/>
                  </a:lnTo>
                  <a:lnTo>
                    <a:pt x="109" y="300"/>
                  </a:lnTo>
                  <a:lnTo>
                    <a:pt x="107" y="299"/>
                  </a:lnTo>
                  <a:lnTo>
                    <a:pt x="107" y="299"/>
                  </a:lnTo>
                  <a:lnTo>
                    <a:pt x="106" y="298"/>
                  </a:lnTo>
                  <a:lnTo>
                    <a:pt x="105" y="297"/>
                  </a:lnTo>
                  <a:lnTo>
                    <a:pt x="104" y="297"/>
                  </a:lnTo>
                  <a:lnTo>
                    <a:pt x="101" y="296"/>
                  </a:lnTo>
                  <a:lnTo>
                    <a:pt x="98" y="295"/>
                  </a:lnTo>
                  <a:lnTo>
                    <a:pt x="93" y="293"/>
                  </a:lnTo>
                  <a:lnTo>
                    <a:pt x="92" y="293"/>
                  </a:lnTo>
                  <a:lnTo>
                    <a:pt x="91" y="293"/>
                  </a:lnTo>
                  <a:lnTo>
                    <a:pt x="91" y="293"/>
                  </a:lnTo>
                  <a:lnTo>
                    <a:pt x="90" y="293"/>
                  </a:lnTo>
                  <a:lnTo>
                    <a:pt x="90" y="293"/>
                  </a:lnTo>
                  <a:lnTo>
                    <a:pt x="89" y="294"/>
                  </a:lnTo>
                  <a:lnTo>
                    <a:pt x="88" y="294"/>
                  </a:lnTo>
                  <a:lnTo>
                    <a:pt x="85" y="295"/>
                  </a:lnTo>
                  <a:lnTo>
                    <a:pt x="84" y="296"/>
                  </a:lnTo>
                  <a:lnTo>
                    <a:pt x="83" y="296"/>
                  </a:lnTo>
                  <a:lnTo>
                    <a:pt x="82" y="296"/>
                  </a:lnTo>
                  <a:lnTo>
                    <a:pt x="81" y="297"/>
                  </a:lnTo>
                  <a:lnTo>
                    <a:pt x="80" y="297"/>
                  </a:lnTo>
                  <a:lnTo>
                    <a:pt x="79" y="296"/>
                  </a:lnTo>
                  <a:lnTo>
                    <a:pt x="78" y="296"/>
                  </a:lnTo>
                  <a:lnTo>
                    <a:pt x="77" y="296"/>
                  </a:lnTo>
                  <a:lnTo>
                    <a:pt x="76" y="295"/>
                  </a:lnTo>
                  <a:lnTo>
                    <a:pt x="75" y="295"/>
                  </a:lnTo>
                  <a:lnTo>
                    <a:pt x="75" y="295"/>
                  </a:lnTo>
                  <a:lnTo>
                    <a:pt x="75" y="294"/>
                  </a:lnTo>
                  <a:lnTo>
                    <a:pt x="74" y="293"/>
                  </a:lnTo>
                  <a:lnTo>
                    <a:pt x="72" y="291"/>
                  </a:lnTo>
                  <a:lnTo>
                    <a:pt x="71" y="290"/>
                  </a:lnTo>
                  <a:lnTo>
                    <a:pt x="70" y="288"/>
                  </a:lnTo>
                  <a:lnTo>
                    <a:pt x="69" y="288"/>
                  </a:lnTo>
                  <a:lnTo>
                    <a:pt x="68" y="287"/>
                  </a:lnTo>
                  <a:lnTo>
                    <a:pt x="68" y="287"/>
                  </a:lnTo>
                  <a:lnTo>
                    <a:pt x="67" y="287"/>
                  </a:lnTo>
                  <a:lnTo>
                    <a:pt x="66" y="287"/>
                  </a:lnTo>
                  <a:lnTo>
                    <a:pt x="66" y="286"/>
                  </a:lnTo>
                  <a:lnTo>
                    <a:pt x="65" y="286"/>
                  </a:lnTo>
                  <a:lnTo>
                    <a:pt x="62" y="286"/>
                  </a:lnTo>
                  <a:lnTo>
                    <a:pt x="61" y="286"/>
                  </a:lnTo>
                  <a:lnTo>
                    <a:pt x="61" y="286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8" y="285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3"/>
                  </a:lnTo>
                  <a:lnTo>
                    <a:pt x="59" y="283"/>
                  </a:lnTo>
                  <a:lnTo>
                    <a:pt x="60" y="282"/>
                  </a:lnTo>
                  <a:lnTo>
                    <a:pt x="60" y="282"/>
                  </a:lnTo>
                  <a:lnTo>
                    <a:pt x="61" y="282"/>
                  </a:lnTo>
                  <a:lnTo>
                    <a:pt x="61" y="281"/>
                  </a:lnTo>
                  <a:lnTo>
                    <a:pt x="61" y="281"/>
                  </a:lnTo>
                  <a:lnTo>
                    <a:pt x="61" y="280"/>
                  </a:lnTo>
                  <a:lnTo>
                    <a:pt x="61" y="279"/>
                  </a:lnTo>
                  <a:lnTo>
                    <a:pt x="61" y="278"/>
                  </a:lnTo>
                  <a:lnTo>
                    <a:pt x="61" y="278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9" y="275"/>
                  </a:lnTo>
                  <a:lnTo>
                    <a:pt x="57" y="274"/>
                  </a:lnTo>
                  <a:lnTo>
                    <a:pt x="56" y="274"/>
                  </a:lnTo>
                  <a:lnTo>
                    <a:pt x="52" y="272"/>
                  </a:lnTo>
                  <a:lnTo>
                    <a:pt x="51" y="272"/>
                  </a:lnTo>
                  <a:lnTo>
                    <a:pt x="51" y="271"/>
                  </a:lnTo>
                  <a:lnTo>
                    <a:pt x="49" y="271"/>
                  </a:lnTo>
                  <a:lnTo>
                    <a:pt x="48" y="270"/>
                  </a:lnTo>
                  <a:lnTo>
                    <a:pt x="46" y="269"/>
                  </a:lnTo>
                  <a:lnTo>
                    <a:pt x="44" y="267"/>
                  </a:lnTo>
                  <a:lnTo>
                    <a:pt x="44" y="266"/>
                  </a:lnTo>
                  <a:lnTo>
                    <a:pt x="43" y="266"/>
                  </a:lnTo>
                  <a:lnTo>
                    <a:pt x="42" y="266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30" y="269"/>
                  </a:lnTo>
                  <a:lnTo>
                    <a:pt x="29" y="269"/>
                  </a:lnTo>
                  <a:lnTo>
                    <a:pt x="28" y="270"/>
                  </a:lnTo>
                  <a:lnTo>
                    <a:pt x="27" y="270"/>
                  </a:lnTo>
                  <a:lnTo>
                    <a:pt x="26" y="269"/>
                  </a:lnTo>
                  <a:lnTo>
                    <a:pt x="25" y="269"/>
                  </a:lnTo>
                  <a:lnTo>
                    <a:pt x="25" y="269"/>
                  </a:lnTo>
                  <a:lnTo>
                    <a:pt x="24" y="269"/>
                  </a:lnTo>
                  <a:lnTo>
                    <a:pt x="23" y="268"/>
                  </a:lnTo>
                  <a:lnTo>
                    <a:pt x="21" y="266"/>
                  </a:lnTo>
                  <a:lnTo>
                    <a:pt x="18" y="264"/>
                  </a:lnTo>
                  <a:lnTo>
                    <a:pt x="17" y="262"/>
                  </a:lnTo>
                  <a:lnTo>
                    <a:pt x="15" y="260"/>
                  </a:lnTo>
                  <a:lnTo>
                    <a:pt x="15" y="259"/>
                  </a:lnTo>
                  <a:lnTo>
                    <a:pt x="11" y="256"/>
                  </a:lnTo>
                  <a:lnTo>
                    <a:pt x="11" y="255"/>
                  </a:lnTo>
                  <a:lnTo>
                    <a:pt x="10" y="255"/>
                  </a:lnTo>
                  <a:lnTo>
                    <a:pt x="8" y="252"/>
                  </a:lnTo>
                  <a:lnTo>
                    <a:pt x="6" y="249"/>
                  </a:lnTo>
                  <a:lnTo>
                    <a:pt x="5" y="248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5" y="243"/>
                  </a:lnTo>
                  <a:lnTo>
                    <a:pt x="5" y="242"/>
                  </a:lnTo>
                  <a:lnTo>
                    <a:pt x="6" y="241"/>
                  </a:lnTo>
                  <a:lnTo>
                    <a:pt x="7" y="240"/>
                  </a:lnTo>
                  <a:lnTo>
                    <a:pt x="8" y="239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4"/>
                  </a:lnTo>
                  <a:lnTo>
                    <a:pt x="8" y="233"/>
                  </a:lnTo>
                  <a:lnTo>
                    <a:pt x="8" y="232"/>
                  </a:lnTo>
                  <a:lnTo>
                    <a:pt x="7" y="232"/>
                  </a:lnTo>
                  <a:lnTo>
                    <a:pt x="7" y="231"/>
                  </a:lnTo>
                  <a:lnTo>
                    <a:pt x="6" y="230"/>
                  </a:lnTo>
                  <a:lnTo>
                    <a:pt x="4" y="228"/>
                  </a:lnTo>
                  <a:lnTo>
                    <a:pt x="3" y="228"/>
                  </a:lnTo>
                  <a:lnTo>
                    <a:pt x="2" y="227"/>
                  </a:lnTo>
                  <a:lnTo>
                    <a:pt x="1" y="226"/>
                  </a:lnTo>
                  <a:lnTo>
                    <a:pt x="0" y="225"/>
                  </a:lnTo>
                  <a:lnTo>
                    <a:pt x="0" y="224"/>
                  </a:lnTo>
                  <a:lnTo>
                    <a:pt x="0" y="223"/>
                  </a:lnTo>
                  <a:lnTo>
                    <a:pt x="0" y="222"/>
                  </a:lnTo>
                  <a:lnTo>
                    <a:pt x="0" y="221"/>
                  </a:lnTo>
                  <a:lnTo>
                    <a:pt x="0" y="221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1" y="215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09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1"/>
                  </a:lnTo>
                  <a:lnTo>
                    <a:pt x="4" y="200"/>
                  </a:lnTo>
                  <a:lnTo>
                    <a:pt x="5" y="198"/>
                  </a:lnTo>
                  <a:lnTo>
                    <a:pt x="6" y="195"/>
                  </a:lnTo>
                  <a:lnTo>
                    <a:pt x="7" y="192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7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9" y="180"/>
                  </a:lnTo>
                  <a:lnTo>
                    <a:pt x="9" y="179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9" y="172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8" y="169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7" y="166"/>
                  </a:lnTo>
                  <a:lnTo>
                    <a:pt x="5" y="163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9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1" y="156"/>
                  </a:lnTo>
                  <a:lnTo>
                    <a:pt x="11" y="155"/>
                  </a:lnTo>
                  <a:lnTo>
                    <a:pt x="12" y="155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1" y="146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3" y="141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7" y="133"/>
                  </a:lnTo>
                  <a:lnTo>
                    <a:pt x="22" y="131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9" y="120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0"/>
                  </a:lnTo>
                  <a:lnTo>
                    <a:pt x="32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22"/>
                  </a:lnTo>
                  <a:lnTo>
                    <a:pt x="43" y="122"/>
                  </a:lnTo>
                  <a:lnTo>
                    <a:pt x="47" y="123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8" y="121"/>
                  </a:lnTo>
                  <a:lnTo>
                    <a:pt x="61" y="120"/>
                  </a:lnTo>
                  <a:lnTo>
                    <a:pt x="63" y="119"/>
                  </a:lnTo>
                  <a:lnTo>
                    <a:pt x="64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20"/>
                  </a:lnTo>
                  <a:lnTo>
                    <a:pt x="70" y="120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7" y="124"/>
                  </a:lnTo>
                  <a:lnTo>
                    <a:pt x="78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1" y="123"/>
                  </a:lnTo>
                  <a:lnTo>
                    <a:pt x="81" y="122"/>
                  </a:lnTo>
                  <a:lnTo>
                    <a:pt x="82" y="121"/>
                  </a:lnTo>
                  <a:lnTo>
                    <a:pt x="82" y="120"/>
                  </a:lnTo>
                  <a:lnTo>
                    <a:pt x="83" y="118"/>
                  </a:lnTo>
                  <a:lnTo>
                    <a:pt x="84" y="118"/>
                  </a:lnTo>
                  <a:lnTo>
                    <a:pt x="84" y="117"/>
                  </a:lnTo>
                  <a:lnTo>
                    <a:pt x="84" y="117"/>
                  </a:lnTo>
                  <a:lnTo>
                    <a:pt x="85" y="117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9" y="115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5" y="115"/>
                  </a:lnTo>
                  <a:lnTo>
                    <a:pt x="96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100" y="114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4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5" y="101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3" y="97"/>
                  </a:lnTo>
                  <a:lnTo>
                    <a:pt x="102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3"/>
                  </a:lnTo>
                  <a:lnTo>
                    <a:pt x="98" y="93"/>
                  </a:lnTo>
                  <a:lnTo>
                    <a:pt x="97" y="92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6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3"/>
                  </a:lnTo>
                  <a:lnTo>
                    <a:pt x="85" y="81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5" y="78"/>
                  </a:lnTo>
                  <a:lnTo>
                    <a:pt x="86" y="77"/>
                  </a:lnTo>
                  <a:lnTo>
                    <a:pt x="86" y="76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8" y="71"/>
                  </a:lnTo>
                  <a:lnTo>
                    <a:pt x="88" y="70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7" y="58"/>
                  </a:lnTo>
                  <a:lnTo>
                    <a:pt x="98" y="56"/>
                  </a:lnTo>
                  <a:lnTo>
                    <a:pt x="98" y="55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3" y="49"/>
                  </a:lnTo>
                  <a:lnTo>
                    <a:pt x="104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6" y="48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4" y="49"/>
                  </a:lnTo>
                  <a:lnTo>
                    <a:pt x="115" y="48"/>
                  </a:lnTo>
                  <a:lnTo>
                    <a:pt x="118" y="47"/>
                  </a:lnTo>
                  <a:lnTo>
                    <a:pt x="119" y="46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4" y="44"/>
                  </a:lnTo>
                  <a:lnTo>
                    <a:pt x="126" y="44"/>
                  </a:lnTo>
                  <a:lnTo>
                    <a:pt x="129" y="43"/>
                  </a:lnTo>
                  <a:lnTo>
                    <a:pt x="131" y="42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6" y="41"/>
                  </a:lnTo>
                  <a:lnTo>
                    <a:pt x="137" y="41"/>
                  </a:lnTo>
                  <a:lnTo>
                    <a:pt x="138" y="40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41" y="38"/>
                  </a:lnTo>
                  <a:lnTo>
                    <a:pt x="142" y="37"/>
                  </a:lnTo>
                  <a:lnTo>
                    <a:pt x="143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7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4" y="31"/>
                  </a:lnTo>
                  <a:lnTo>
                    <a:pt x="155" y="31"/>
                  </a:lnTo>
                  <a:lnTo>
                    <a:pt x="156" y="31"/>
                  </a:lnTo>
                  <a:lnTo>
                    <a:pt x="157" y="31"/>
                  </a:lnTo>
                  <a:lnTo>
                    <a:pt x="158" y="31"/>
                  </a:lnTo>
                  <a:lnTo>
                    <a:pt x="158" y="30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7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5"/>
                  </a:lnTo>
                  <a:lnTo>
                    <a:pt x="160" y="24"/>
                  </a:lnTo>
                  <a:lnTo>
                    <a:pt x="159" y="23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7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4"/>
                  </a:lnTo>
                  <a:lnTo>
                    <a:pt x="160" y="13"/>
                  </a:lnTo>
                  <a:lnTo>
                    <a:pt x="162" y="12"/>
                  </a:lnTo>
                  <a:lnTo>
                    <a:pt x="162" y="11"/>
                  </a:lnTo>
                  <a:lnTo>
                    <a:pt x="163" y="11"/>
                  </a:lnTo>
                  <a:lnTo>
                    <a:pt x="163" y="10"/>
                  </a:lnTo>
                  <a:lnTo>
                    <a:pt x="164" y="10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9"/>
                  </a:lnTo>
                  <a:lnTo>
                    <a:pt x="170" y="9"/>
                  </a:lnTo>
                  <a:lnTo>
                    <a:pt x="171" y="9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8" y="4"/>
                  </a:lnTo>
                  <a:lnTo>
                    <a:pt x="179" y="3"/>
                  </a:lnTo>
                  <a:lnTo>
                    <a:pt x="179" y="2"/>
                  </a:lnTo>
                  <a:lnTo>
                    <a:pt x="180" y="2"/>
                  </a:lnTo>
                  <a:lnTo>
                    <a:pt x="180" y="1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80" y="1"/>
                  </a:lnTo>
                  <a:lnTo>
                    <a:pt x="185" y="4"/>
                  </a:lnTo>
                  <a:close/>
                </a:path>
              </a:pathLst>
            </a:custGeom>
            <a:solidFill>
              <a:srgbClr val="FFCC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 64">
              <a:extLst>
                <a:ext uri="{FF2B5EF4-FFF2-40B4-BE49-F238E27FC236}">
                  <a16:creationId xmlns:a16="http://schemas.microsoft.com/office/drawing/2014/main" id="{2D4EB088-F2C8-AE2A-8CDC-F81DC77D7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8" y="3422"/>
              <a:ext cx="399" cy="421"/>
            </a:xfrm>
            <a:custGeom>
              <a:avLst/>
              <a:gdLst>
                <a:gd name="T0" fmla="*/ 157 w 399"/>
                <a:gd name="T1" fmla="*/ 19 h 421"/>
                <a:gd name="T2" fmla="*/ 177 w 399"/>
                <a:gd name="T3" fmla="*/ 20 h 421"/>
                <a:gd name="T4" fmla="*/ 196 w 399"/>
                <a:gd name="T5" fmla="*/ 32 h 421"/>
                <a:gd name="T6" fmla="*/ 208 w 399"/>
                <a:gd name="T7" fmla="*/ 42 h 421"/>
                <a:gd name="T8" fmla="*/ 228 w 399"/>
                <a:gd name="T9" fmla="*/ 51 h 421"/>
                <a:gd name="T10" fmla="*/ 231 w 399"/>
                <a:gd name="T11" fmla="*/ 64 h 421"/>
                <a:gd name="T12" fmla="*/ 256 w 399"/>
                <a:gd name="T13" fmla="*/ 75 h 421"/>
                <a:gd name="T14" fmla="*/ 270 w 399"/>
                <a:gd name="T15" fmla="*/ 56 h 421"/>
                <a:gd name="T16" fmla="*/ 283 w 399"/>
                <a:gd name="T17" fmla="*/ 61 h 421"/>
                <a:gd name="T18" fmla="*/ 304 w 399"/>
                <a:gd name="T19" fmla="*/ 74 h 421"/>
                <a:gd name="T20" fmla="*/ 332 w 399"/>
                <a:gd name="T21" fmla="*/ 81 h 421"/>
                <a:gd name="T22" fmla="*/ 361 w 399"/>
                <a:gd name="T23" fmla="*/ 104 h 421"/>
                <a:gd name="T24" fmla="*/ 392 w 399"/>
                <a:gd name="T25" fmla="*/ 123 h 421"/>
                <a:gd name="T26" fmla="*/ 392 w 399"/>
                <a:gd name="T27" fmla="*/ 141 h 421"/>
                <a:gd name="T28" fmla="*/ 397 w 399"/>
                <a:gd name="T29" fmla="*/ 153 h 421"/>
                <a:gd name="T30" fmla="*/ 384 w 399"/>
                <a:gd name="T31" fmla="*/ 162 h 421"/>
                <a:gd name="T32" fmla="*/ 390 w 399"/>
                <a:gd name="T33" fmla="*/ 174 h 421"/>
                <a:gd name="T34" fmla="*/ 382 w 399"/>
                <a:gd name="T35" fmla="*/ 181 h 421"/>
                <a:gd name="T36" fmla="*/ 371 w 399"/>
                <a:gd name="T37" fmla="*/ 178 h 421"/>
                <a:gd name="T38" fmla="*/ 373 w 399"/>
                <a:gd name="T39" fmla="*/ 186 h 421"/>
                <a:gd name="T40" fmla="*/ 362 w 399"/>
                <a:gd name="T41" fmla="*/ 193 h 421"/>
                <a:gd name="T42" fmla="*/ 347 w 399"/>
                <a:gd name="T43" fmla="*/ 209 h 421"/>
                <a:gd name="T44" fmla="*/ 345 w 399"/>
                <a:gd name="T45" fmla="*/ 230 h 421"/>
                <a:gd name="T46" fmla="*/ 353 w 399"/>
                <a:gd name="T47" fmla="*/ 242 h 421"/>
                <a:gd name="T48" fmla="*/ 362 w 399"/>
                <a:gd name="T49" fmla="*/ 249 h 421"/>
                <a:gd name="T50" fmla="*/ 359 w 399"/>
                <a:gd name="T51" fmla="*/ 267 h 421"/>
                <a:gd name="T52" fmla="*/ 352 w 399"/>
                <a:gd name="T53" fmla="*/ 280 h 421"/>
                <a:gd name="T54" fmla="*/ 351 w 399"/>
                <a:gd name="T55" fmla="*/ 294 h 421"/>
                <a:gd name="T56" fmla="*/ 357 w 399"/>
                <a:gd name="T57" fmla="*/ 308 h 421"/>
                <a:gd name="T58" fmla="*/ 348 w 399"/>
                <a:gd name="T59" fmla="*/ 321 h 421"/>
                <a:gd name="T60" fmla="*/ 342 w 399"/>
                <a:gd name="T61" fmla="*/ 330 h 421"/>
                <a:gd name="T62" fmla="*/ 351 w 399"/>
                <a:gd name="T63" fmla="*/ 343 h 421"/>
                <a:gd name="T64" fmla="*/ 342 w 399"/>
                <a:gd name="T65" fmla="*/ 356 h 421"/>
                <a:gd name="T66" fmla="*/ 320 w 399"/>
                <a:gd name="T67" fmla="*/ 363 h 421"/>
                <a:gd name="T68" fmla="*/ 312 w 399"/>
                <a:gd name="T69" fmla="*/ 375 h 421"/>
                <a:gd name="T70" fmla="*/ 286 w 399"/>
                <a:gd name="T71" fmla="*/ 376 h 421"/>
                <a:gd name="T72" fmla="*/ 268 w 399"/>
                <a:gd name="T73" fmla="*/ 372 h 421"/>
                <a:gd name="T74" fmla="*/ 255 w 399"/>
                <a:gd name="T75" fmla="*/ 376 h 421"/>
                <a:gd name="T76" fmla="*/ 244 w 399"/>
                <a:gd name="T77" fmla="*/ 379 h 421"/>
                <a:gd name="T78" fmla="*/ 230 w 399"/>
                <a:gd name="T79" fmla="*/ 389 h 421"/>
                <a:gd name="T80" fmla="*/ 208 w 399"/>
                <a:gd name="T81" fmla="*/ 404 h 421"/>
                <a:gd name="T82" fmla="*/ 194 w 399"/>
                <a:gd name="T83" fmla="*/ 415 h 421"/>
                <a:gd name="T84" fmla="*/ 176 w 399"/>
                <a:gd name="T85" fmla="*/ 413 h 421"/>
                <a:gd name="T86" fmla="*/ 162 w 399"/>
                <a:gd name="T87" fmla="*/ 418 h 421"/>
                <a:gd name="T88" fmla="*/ 152 w 399"/>
                <a:gd name="T89" fmla="*/ 418 h 421"/>
                <a:gd name="T90" fmla="*/ 135 w 399"/>
                <a:gd name="T91" fmla="*/ 404 h 421"/>
                <a:gd name="T92" fmla="*/ 124 w 399"/>
                <a:gd name="T93" fmla="*/ 396 h 421"/>
                <a:gd name="T94" fmla="*/ 135 w 399"/>
                <a:gd name="T95" fmla="*/ 379 h 421"/>
                <a:gd name="T96" fmla="*/ 144 w 399"/>
                <a:gd name="T97" fmla="*/ 362 h 421"/>
                <a:gd name="T98" fmla="*/ 154 w 399"/>
                <a:gd name="T99" fmla="*/ 352 h 421"/>
                <a:gd name="T100" fmla="*/ 145 w 399"/>
                <a:gd name="T101" fmla="*/ 339 h 421"/>
                <a:gd name="T102" fmla="*/ 135 w 399"/>
                <a:gd name="T103" fmla="*/ 335 h 421"/>
                <a:gd name="T104" fmla="*/ 109 w 399"/>
                <a:gd name="T105" fmla="*/ 337 h 421"/>
                <a:gd name="T106" fmla="*/ 90 w 399"/>
                <a:gd name="T107" fmla="*/ 330 h 421"/>
                <a:gd name="T108" fmla="*/ 79 w 399"/>
                <a:gd name="T109" fmla="*/ 306 h 421"/>
                <a:gd name="T110" fmla="*/ 70 w 399"/>
                <a:gd name="T111" fmla="*/ 295 h 421"/>
                <a:gd name="T112" fmla="*/ 47 w 399"/>
                <a:gd name="T113" fmla="*/ 293 h 421"/>
                <a:gd name="T114" fmla="*/ 22 w 399"/>
                <a:gd name="T115" fmla="*/ 293 h 421"/>
                <a:gd name="T116" fmla="*/ 8 w 399"/>
                <a:gd name="T117" fmla="*/ 282 h 421"/>
                <a:gd name="T118" fmla="*/ 3 w 399"/>
                <a:gd name="T119" fmla="*/ 277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9" h="421">
                  <a:moveTo>
                    <a:pt x="127" y="0"/>
                  </a:moveTo>
                  <a:lnTo>
                    <a:pt x="132" y="4"/>
                  </a:lnTo>
                  <a:lnTo>
                    <a:pt x="134" y="5"/>
                  </a:lnTo>
                  <a:lnTo>
                    <a:pt x="137" y="7"/>
                  </a:lnTo>
                  <a:lnTo>
                    <a:pt x="144" y="12"/>
                  </a:lnTo>
                  <a:lnTo>
                    <a:pt x="145" y="13"/>
                  </a:lnTo>
                  <a:lnTo>
                    <a:pt x="147" y="15"/>
                  </a:lnTo>
                  <a:lnTo>
                    <a:pt x="148" y="15"/>
                  </a:lnTo>
                  <a:lnTo>
                    <a:pt x="149" y="17"/>
                  </a:lnTo>
                  <a:lnTo>
                    <a:pt x="151" y="18"/>
                  </a:lnTo>
                  <a:lnTo>
                    <a:pt x="151" y="19"/>
                  </a:lnTo>
                  <a:lnTo>
                    <a:pt x="152" y="1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54" y="19"/>
                  </a:lnTo>
                  <a:lnTo>
                    <a:pt x="156" y="19"/>
                  </a:lnTo>
                  <a:lnTo>
                    <a:pt x="157" y="19"/>
                  </a:lnTo>
                  <a:lnTo>
                    <a:pt x="158" y="19"/>
                  </a:lnTo>
                  <a:lnTo>
                    <a:pt x="162" y="19"/>
                  </a:lnTo>
                  <a:lnTo>
                    <a:pt x="163" y="19"/>
                  </a:lnTo>
                  <a:lnTo>
                    <a:pt x="163" y="19"/>
                  </a:lnTo>
                  <a:lnTo>
                    <a:pt x="164" y="19"/>
                  </a:lnTo>
                  <a:lnTo>
                    <a:pt x="166" y="20"/>
                  </a:lnTo>
                  <a:lnTo>
                    <a:pt x="167" y="20"/>
                  </a:lnTo>
                  <a:lnTo>
                    <a:pt x="168" y="20"/>
                  </a:lnTo>
                  <a:lnTo>
                    <a:pt x="169" y="20"/>
                  </a:lnTo>
                  <a:lnTo>
                    <a:pt x="169" y="19"/>
                  </a:lnTo>
                  <a:lnTo>
                    <a:pt x="171" y="19"/>
                  </a:lnTo>
                  <a:lnTo>
                    <a:pt x="172" y="19"/>
                  </a:lnTo>
                  <a:lnTo>
                    <a:pt x="172" y="19"/>
                  </a:lnTo>
                  <a:lnTo>
                    <a:pt x="173" y="19"/>
                  </a:lnTo>
                  <a:lnTo>
                    <a:pt x="174" y="19"/>
                  </a:lnTo>
                  <a:lnTo>
                    <a:pt x="176" y="20"/>
                  </a:lnTo>
                  <a:lnTo>
                    <a:pt x="177" y="20"/>
                  </a:lnTo>
                  <a:lnTo>
                    <a:pt x="178" y="20"/>
                  </a:lnTo>
                  <a:lnTo>
                    <a:pt x="178" y="21"/>
                  </a:lnTo>
                  <a:lnTo>
                    <a:pt x="179" y="22"/>
                  </a:lnTo>
                  <a:lnTo>
                    <a:pt x="180" y="22"/>
                  </a:lnTo>
                  <a:lnTo>
                    <a:pt x="183" y="23"/>
                  </a:lnTo>
                  <a:lnTo>
                    <a:pt x="184" y="24"/>
                  </a:lnTo>
                  <a:lnTo>
                    <a:pt x="185" y="24"/>
                  </a:lnTo>
                  <a:lnTo>
                    <a:pt x="186" y="25"/>
                  </a:lnTo>
                  <a:lnTo>
                    <a:pt x="186" y="25"/>
                  </a:lnTo>
                  <a:lnTo>
                    <a:pt x="189" y="28"/>
                  </a:lnTo>
                  <a:lnTo>
                    <a:pt x="190" y="29"/>
                  </a:lnTo>
                  <a:lnTo>
                    <a:pt x="190" y="29"/>
                  </a:lnTo>
                  <a:lnTo>
                    <a:pt x="191" y="30"/>
                  </a:lnTo>
                  <a:lnTo>
                    <a:pt x="192" y="31"/>
                  </a:lnTo>
                  <a:lnTo>
                    <a:pt x="193" y="31"/>
                  </a:lnTo>
                  <a:lnTo>
                    <a:pt x="194" y="32"/>
                  </a:lnTo>
                  <a:lnTo>
                    <a:pt x="196" y="32"/>
                  </a:lnTo>
                  <a:lnTo>
                    <a:pt x="196" y="32"/>
                  </a:lnTo>
                  <a:lnTo>
                    <a:pt x="199" y="33"/>
                  </a:lnTo>
                  <a:lnTo>
                    <a:pt x="200" y="33"/>
                  </a:lnTo>
                  <a:lnTo>
                    <a:pt x="203" y="34"/>
                  </a:lnTo>
                  <a:lnTo>
                    <a:pt x="204" y="34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5" y="36"/>
                  </a:lnTo>
                  <a:lnTo>
                    <a:pt x="206" y="36"/>
                  </a:lnTo>
                  <a:lnTo>
                    <a:pt x="206" y="37"/>
                  </a:lnTo>
                  <a:lnTo>
                    <a:pt x="206" y="37"/>
                  </a:lnTo>
                  <a:lnTo>
                    <a:pt x="206" y="39"/>
                  </a:lnTo>
                  <a:lnTo>
                    <a:pt x="207" y="41"/>
                  </a:lnTo>
                  <a:lnTo>
                    <a:pt x="207" y="41"/>
                  </a:lnTo>
                  <a:lnTo>
                    <a:pt x="207" y="42"/>
                  </a:lnTo>
                  <a:lnTo>
                    <a:pt x="208" y="42"/>
                  </a:lnTo>
                  <a:lnTo>
                    <a:pt x="208" y="43"/>
                  </a:lnTo>
                  <a:lnTo>
                    <a:pt x="209" y="43"/>
                  </a:lnTo>
                  <a:lnTo>
                    <a:pt x="210" y="43"/>
                  </a:lnTo>
                  <a:lnTo>
                    <a:pt x="210" y="43"/>
                  </a:lnTo>
                  <a:lnTo>
                    <a:pt x="212" y="44"/>
                  </a:lnTo>
                  <a:lnTo>
                    <a:pt x="213" y="44"/>
                  </a:lnTo>
                  <a:lnTo>
                    <a:pt x="215" y="44"/>
                  </a:lnTo>
                  <a:lnTo>
                    <a:pt x="216" y="45"/>
                  </a:lnTo>
                  <a:lnTo>
                    <a:pt x="217" y="46"/>
                  </a:lnTo>
                  <a:lnTo>
                    <a:pt x="219" y="46"/>
                  </a:lnTo>
                  <a:lnTo>
                    <a:pt x="220" y="47"/>
                  </a:lnTo>
                  <a:lnTo>
                    <a:pt x="222" y="48"/>
                  </a:lnTo>
                  <a:lnTo>
                    <a:pt x="223" y="49"/>
                  </a:lnTo>
                  <a:lnTo>
                    <a:pt x="224" y="49"/>
                  </a:lnTo>
                  <a:lnTo>
                    <a:pt x="225" y="50"/>
                  </a:lnTo>
                  <a:lnTo>
                    <a:pt x="226" y="50"/>
                  </a:lnTo>
                  <a:lnTo>
                    <a:pt x="228" y="51"/>
                  </a:lnTo>
                  <a:lnTo>
                    <a:pt x="228" y="51"/>
                  </a:lnTo>
                  <a:lnTo>
                    <a:pt x="230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2" y="53"/>
                  </a:lnTo>
                  <a:lnTo>
                    <a:pt x="232" y="53"/>
                  </a:lnTo>
                  <a:lnTo>
                    <a:pt x="232" y="54"/>
                  </a:lnTo>
                  <a:lnTo>
                    <a:pt x="232" y="55"/>
                  </a:lnTo>
                  <a:lnTo>
                    <a:pt x="232" y="55"/>
                  </a:lnTo>
                  <a:lnTo>
                    <a:pt x="231" y="58"/>
                  </a:lnTo>
                  <a:lnTo>
                    <a:pt x="231" y="59"/>
                  </a:lnTo>
                  <a:lnTo>
                    <a:pt x="230" y="60"/>
                  </a:lnTo>
                  <a:lnTo>
                    <a:pt x="230" y="61"/>
                  </a:lnTo>
                  <a:lnTo>
                    <a:pt x="231" y="62"/>
                  </a:lnTo>
                  <a:lnTo>
                    <a:pt x="231" y="63"/>
                  </a:lnTo>
                  <a:lnTo>
                    <a:pt x="231" y="64"/>
                  </a:lnTo>
                  <a:lnTo>
                    <a:pt x="232" y="65"/>
                  </a:lnTo>
                  <a:lnTo>
                    <a:pt x="233" y="66"/>
                  </a:lnTo>
                  <a:lnTo>
                    <a:pt x="234" y="67"/>
                  </a:lnTo>
                  <a:lnTo>
                    <a:pt x="235" y="67"/>
                  </a:lnTo>
                  <a:lnTo>
                    <a:pt x="235" y="68"/>
                  </a:lnTo>
                  <a:lnTo>
                    <a:pt x="237" y="69"/>
                  </a:lnTo>
                  <a:lnTo>
                    <a:pt x="243" y="72"/>
                  </a:lnTo>
                  <a:lnTo>
                    <a:pt x="246" y="73"/>
                  </a:lnTo>
                  <a:lnTo>
                    <a:pt x="248" y="74"/>
                  </a:lnTo>
                  <a:lnTo>
                    <a:pt x="249" y="74"/>
                  </a:lnTo>
                  <a:lnTo>
                    <a:pt x="249" y="75"/>
                  </a:lnTo>
                  <a:lnTo>
                    <a:pt x="250" y="75"/>
                  </a:lnTo>
                  <a:lnTo>
                    <a:pt x="251" y="75"/>
                  </a:lnTo>
                  <a:lnTo>
                    <a:pt x="252" y="75"/>
                  </a:lnTo>
                  <a:lnTo>
                    <a:pt x="254" y="75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7" y="75"/>
                  </a:lnTo>
                  <a:lnTo>
                    <a:pt x="258" y="74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3"/>
                  </a:lnTo>
                  <a:lnTo>
                    <a:pt x="260" y="73"/>
                  </a:lnTo>
                  <a:lnTo>
                    <a:pt x="261" y="70"/>
                  </a:lnTo>
                  <a:lnTo>
                    <a:pt x="263" y="68"/>
                  </a:lnTo>
                  <a:lnTo>
                    <a:pt x="264" y="67"/>
                  </a:lnTo>
                  <a:lnTo>
                    <a:pt x="264" y="67"/>
                  </a:lnTo>
                  <a:lnTo>
                    <a:pt x="264" y="66"/>
                  </a:lnTo>
                  <a:lnTo>
                    <a:pt x="265" y="63"/>
                  </a:lnTo>
                  <a:lnTo>
                    <a:pt x="266" y="61"/>
                  </a:lnTo>
                  <a:lnTo>
                    <a:pt x="267" y="59"/>
                  </a:lnTo>
                  <a:lnTo>
                    <a:pt x="268" y="58"/>
                  </a:lnTo>
                  <a:lnTo>
                    <a:pt x="269" y="57"/>
                  </a:lnTo>
                  <a:lnTo>
                    <a:pt x="270" y="56"/>
                  </a:lnTo>
                  <a:lnTo>
                    <a:pt x="271" y="55"/>
                  </a:lnTo>
                  <a:lnTo>
                    <a:pt x="272" y="54"/>
                  </a:lnTo>
                  <a:lnTo>
                    <a:pt x="273" y="54"/>
                  </a:lnTo>
                  <a:lnTo>
                    <a:pt x="273" y="54"/>
                  </a:lnTo>
                  <a:lnTo>
                    <a:pt x="274" y="54"/>
                  </a:lnTo>
                  <a:lnTo>
                    <a:pt x="274" y="54"/>
                  </a:lnTo>
                  <a:lnTo>
                    <a:pt x="275" y="54"/>
                  </a:lnTo>
                  <a:lnTo>
                    <a:pt x="275" y="55"/>
                  </a:lnTo>
                  <a:lnTo>
                    <a:pt x="276" y="56"/>
                  </a:lnTo>
                  <a:lnTo>
                    <a:pt x="277" y="57"/>
                  </a:lnTo>
                  <a:lnTo>
                    <a:pt x="278" y="58"/>
                  </a:lnTo>
                  <a:lnTo>
                    <a:pt x="279" y="59"/>
                  </a:lnTo>
                  <a:lnTo>
                    <a:pt x="279" y="59"/>
                  </a:lnTo>
                  <a:lnTo>
                    <a:pt x="280" y="60"/>
                  </a:lnTo>
                  <a:lnTo>
                    <a:pt x="281" y="60"/>
                  </a:lnTo>
                  <a:lnTo>
                    <a:pt x="282" y="61"/>
                  </a:lnTo>
                  <a:lnTo>
                    <a:pt x="283" y="61"/>
                  </a:lnTo>
                  <a:lnTo>
                    <a:pt x="284" y="62"/>
                  </a:lnTo>
                  <a:lnTo>
                    <a:pt x="285" y="62"/>
                  </a:lnTo>
                  <a:lnTo>
                    <a:pt x="287" y="63"/>
                  </a:lnTo>
                  <a:lnTo>
                    <a:pt x="290" y="63"/>
                  </a:lnTo>
                  <a:lnTo>
                    <a:pt x="292" y="63"/>
                  </a:lnTo>
                  <a:lnTo>
                    <a:pt x="293" y="64"/>
                  </a:lnTo>
                  <a:lnTo>
                    <a:pt x="294" y="64"/>
                  </a:lnTo>
                  <a:lnTo>
                    <a:pt x="294" y="65"/>
                  </a:lnTo>
                  <a:lnTo>
                    <a:pt x="295" y="65"/>
                  </a:lnTo>
                  <a:lnTo>
                    <a:pt x="296" y="66"/>
                  </a:lnTo>
                  <a:lnTo>
                    <a:pt x="297" y="66"/>
                  </a:lnTo>
                  <a:lnTo>
                    <a:pt x="298" y="68"/>
                  </a:lnTo>
                  <a:lnTo>
                    <a:pt x="299" y="69"/>
                  </a:lnTo>
                  <a:lnTo>
                    <a:pt x="301" y="71"/>
                  </a:lnTo>
                  <a:lnTo>
                    <a:pt x="303" y="73"/>
                  </a:lnTo>
                  <a:lnTo>
                    <a:pt x="304" y="73"/>
                  </a:lnTo>
                  <a:lnTo>
                    <a:pt x="304" y="74"/>
                  </a:lnTo>
                  <a:lnTo>
                    <a:pt x="305" y="74"/>
                  </a:lnTo>
                  <a:lnTo>
                    <a:pt x="305" y="74"/>
                  </a:lnTo>
                  <a:lnTo>
                    <a:pt x="306" y="74"/>
                  </a:lnTo>
                  <a:lnTo>
                    <a:pt x="306" y="75"/>
                  </a:lnTo>
                  <a:lnTo>
                    <a:pt x="307" y="75"/>
                  </a:lnTo>
                  <a:lnTo>
                    <a:pt x="309" y="75"/>
                  </a:lnTo>
                  <a:lnTo>
                    <a:pt x="313" y="75"/>
                  </a:lnTo>
                  <a:lnTo>
                    <a:pt x="314" y="75"/>
                  </a:lnTo>
                  <a:lnTo>
                    <a:pt x="315" y="75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9" y="77"/>
                  </a:lnTo>
                  <a:lnTo>
                    <a:pt x="320" y="77"/>
                  </a:lnTo>
                  <a:lnTo>
                    <a:pt x="324" y="78"/>
                  </a:lnTo>
                  <a:lnTo>
                    <a:pt x="328" y="79"/>
                  </a:lnTo>
                  <a:lnTo>
                    <a:pt x="331" y="80"/>
                  </a:lnTo>
                  <a:lnTo>
                    <a:pt x="332" y="81"/>
                  </a:lnTo>
                  <a:lnTo>
                    <a:pt x="332" y="81"/>
                  </a:lnTo>
                  <a:lnTo>
                    <a:pt x="337" y="83"/>
                  </a:lnTo>
                  <a:lnTo>
                    <a:pt x="341" y="85"/>
                  </a:lnTo>
                  <a:lnTo>
                    <a:pt x="342" y="86"/>
                  </a:lnTo>
                  <a:lnTo>
                    <a:pt x="343" y="87"/>
                  </a:lnTo>
                  <a:lnTo>
                    <a:pt x="345" y="87"/>
                  </a:lnTo>
                  <a:lnTo>
                    <a:pt x="346" y="88"/>
                  </a:lnTo>
                  <a:lnTo>
                    <a:pt x="347" y="89"/>
                  </a:lnTo>
                  <a:lnTo>
                    <a:pt x="349" y="91"/>
                  </a:lnTo>
                  <a:lnTo>
                    <a:pt x="352" y="95"/>
                  </a:lnTo>
                  <a:lnTo>
                    <a:pt x="354" y="96"/>
                  </a:lnTo>
                  <a:lnTo>
                    <a:pt x="355" y="97"/>
                  </a:lnTo>
                  <a:lnTo>
                    <a:pt x="356" y="99"/>
                  </a:lnTo>
                  <a:lnTo>
                    <a:pt x="357" y="100"/>
                  </a:lnTo>
                  <a:lnTo>
                    <a:pt x="358" y="102"/>
                  </a:lnTo>
                  <a:lnTo>
                    <a:pt x="360" y="103"/>
                  </a:lnTo>
                  <a:lnTo>
                    <a:pt x="361" y="104"/>
                  </a:lnTo>
                  <a:lnTo>
                    <a:pt x="361" y="104"/>
                  </a:lnTo>
                  <a:lnTo>
                    <a:pt x="362" y="104"/>
                  </a:lnTo>
                  <a:lnTo>
                    <a:pt x="363" y="105"/>
                  </a:lnTo>
                  <a:lnTo>
                    <a:pt x="365" y="105"/>
                  </a:lnTo>
                  <a:lnTo>
                    <a:pt x="366" y="105"/>
                  </a:lnTo>
                  <a:lnTo>
                    <a:pt x="370" y="107"/>
                  </a:lnTo>
                  <a:lnTo>
                    <a:pt x="374" y="108"/>
                  </a:lnTo>
                  <a:lnTo>
                    <a:pt x="375" y="108"/>
                  </a:lnTo>
                  <a:lnTo>
                    <a:pt x="377" y="109"/>
                  </a:lnTo>
                  <a:lnTo>
                    <a:pt x="378" y="110"/>
                  </a:lnTo>
                  <a:lnTo>
                    <a:pt x="381" y="112"/>
                  </a:lnTo>
                  <a:lnTo>
                    <a:pt x="384" y="114"/>
                  </a:lnTo>
                  <a:lnTo>
                    <a:pt x="385" y="114"/>
                  </a:lnTo>
                  <a:lnTo>
                    <a:pt x="386" y="115"/>
                  </a:lnTo>
                  <a:lnTo>
                    <a:pt x="387" y="116"/>
                  </a:lnTo>
                  <a:lnTo>
                    <a:pt x="388" y="117"/>
                  </a:lnTo>
                  <a:lnTo>
                    <a:pt x="392" y="123"/>
                  </a:lnTo>
                  <a:lnTo>
                    <a:pt x="392" y="123"/>
                  </a:lnTo>
                  <a:lnTo>
                    <a:pt x="392" y="124"/>
                  </a:lnTo>
                  <a:lnTo>
                    <a:pt x="392" y="125"/>
                  </a:lnTo>
                  <a:lnTo>
                    <a:pt x="392" y="127"/>
                  </a:lnTo>
                  <a:lnTo>
                    <a:pt x="391" y="128"/>
                  </a:lnTo>
                  <a:lnTo>
                    <a:pt x="391" y="130"/>
                  </a:lnTo>
                  <a:lnTo>
                    <a:pt x="389" y="134"/>
                  </a:lnTo>
                  <a:lnTo>
                    <a:pt x="389" y="135"/>
                  </a:lnTo>
                  <a:lnTo>
                    <a:pt x="389" y="136"/>
                  </a:lnTo>
                  <a:lnTo>
                    <a:pt x="389" y="136"/>
                  </a:lnTo>
                  <a:lnTo>
                    <a:pt x="389" y="137"/>
                  </a:lnTo>
                  <a:lnTo>
                    <a:pt x="389" y="137"/>
                  </a:lnTo>
                  <a:lnTo>
                    <a:pt x="389" y="138"/>
                  </a:lnTo>
                  <a:lnTo>
                    <a:pt x="390" y="139"/>
                  </a:lnTo>
                  <a:lnTo>
                    <a:pt x="390" y="140"/>
                  </a:lnTo>
                  <a:lnTo>
                    <a:pt x="391" y="140"/>
                  </a:lnTo>
                  <a:lnTo>
                    <a:pt x="392" y="141"/>
                  </a:lnTo>
                  <a:lnTo>
                    <a:pt x="392" y="141"/>
                  </a:lnTo>
                  <a:lnTo>
                    <a:pt x="395" y="143"/>
                  </a:lnTo>
                  <a:lnTo>
                    <a:pt x="396" y="143"/>
                  </a:lnTo>
                  <a:lnTo>
                    <a:pt x="396" y="144"/>
                  </a:lnTo>
                  <a:lnTo>
                    <a:pt x="397" y="145"/>
                  </a:lnTo>
                  <a:lnTo>
                    <a:pt x="397" y="145"/>
                  </a:lnTo>
                  <a:lnTo>
                    <a:pt x="398" y="146"/>
                  </a:lnTo>
                  <a:lnTo>
                    <a:pt x="398" y="146"/>
                  </a:lnTo>
                  <a:lnTo>
                    <a:pt x="398" y="147"/>
                  </a:lnTo>
                  <a:lnTo>
                    <a:pt x="398" y="147"/>
                  </a:lnTo>
                  <a:lnTo>
                    <a:pt x="399" y="148"/>
                  </a:lnTo>
                  <a:lnTo>
                    <a:pt x="399" y="149"/>
                  </a:lnTo>
                  <a:lnTo>
                    <a:pt x="399" y="150"/>
                  </a:lnTo>
                  <a:lnTo>
                    <a:pt x="398" y="150"/>
                  </a:lnTo>
                  <a:lnTo>
                    <a:pt x="398" y="151"/>
                  </a:lnTo>
                  <a:lnTo>
                    <a:pt x="398" y="152"/>
                  </a:lnTo>
                  <a:lnTo>
                    <a:pt x="397" y="153"/>
                  </a:lnTo>
                  <a:lnTo>
                    <a:pt x="397" y="154"/>
                  </a:lnTo>
                  <a:lnTo>
                    <a:pt x="396" y="156"/>
                  </a:lnTo>
                  <a:lnTo>
                    <a:pt x="395" y="157"/>
                  </a:lnTo>
                  <a:lnTo>
                    <a:pt x="394" y="158"/>
                  </a:lnTo>
                  <a:lnTo>
                    <a:pt x="393" y="160"/>
                  </a:lnTo>
                  <a:lnTo>
                    <a:pt x="392" y="160"/>
                  </a:lnTo>
                  <a:lnTo>
                    <a:pt x="391" y="161"/>
                  </a:lnTo>
                  <a:lnTo>
                    <a:pt x="390" y="161"/>
                  </a:lnTo>
                  <a:lnTo>
                    <a:pt x="389" y="162"/>
                  </a:lnTo>
                  <a:lnTo>
                    <a:pt x="388" y="162"/>
                  </a:lnTo>
                  <a:lnTo>
                    <a:pt x="388" y="162"/>
                  </a:lnTo>
                  <a:lnTo>
                    <a:pt x="387" y="162"/>
                  </a:lnTo>
                  <a:lnTo>
                    <a:pt x="385" y="162"/>
                  </a:lnTo>
                  <a:lnTo>
                    <a:pt x="385" y="162"/>
                  </a:lnTo>
                  <a:lnTo>
                    <a:pt x="385" y="162"/>
                  </a:lnTo>
                  <a:lnTo>
                    <a:pt x="384" y="162"/>
                  </a:lnTo>
                  <a:lnTo>
                    <a:pt x="384" y="162"/>
                  </a:lnTo>
                  <a:lnTo>
                    <a:pt x="384" y="162"/>
                  </a:lnTo>
                  <a:lnTo>
                    <a:pt x="384" y="163"/>
                  </a:lnTo>
                  <a:lnTo>
                    <a:pt x="384" y="163"/>
                  </a:lnTo>
                  <a:lnTo>
                    <a:pt x="385" y="164"/>
                  </a:lnTo>
                  <a:lnTo>
                    <a:pt x="385" y="165"/>
                  </a:lnTo>
                  <a:lnTo>
                    <a:pt x="385" y="165"/>
                  </a:lnTo>
                  <a:lnTo>
                    <a:pt x="386" y="166"/>
                  </a:lnTo>
                  <a:lnTo>
                    <a:pt x="386" y="167"/>
                  </a:lnTo>
                  <a:lnTo>
                    <a:pt x="388" y="168"/>
                  </a:lnTo>
                  <a:lnTo>
                    <a:pt x="388" y="169"/>
                  </a:lnTo>
                  <a:lnTo>
                    <a:pt x="389" y="170"/>
                  </a:lnTo>
                  <a:lnTo>
                    <a:pt x="390" y="171"/>
                  </a:lnTo>
                  <a:lnTo>
                    <a:pt x="390" y="172"/>
                  </a:lnTo>
                  <a:lnTo>
                    <a:pt x="390" y="173"/>
                  </a:lnTo>
                  <a:lnTo>
                    <a:pt x="390" y="173"/>
                  </a:lnTo>
                  <a:lnTo>
                    <a:pt x="390" y="174"/>
                  </a:lnTo>
                  <a:lnTo>
                    <a:pt x="390" y="174"/>
                  </a:lnTo>
                  <a:lnTo>
                    <a:pt x="390" y="175"/>
                  </a:lnTo>
                  <a:lnTo>
                    <a:pt x="390" y="176"/>
                  </a:lnTo>
                  <a:lnTo>
                    <a:pt x="389" y="177"/>
                  </a:lnTo>
                  <a:lnTo>
                    <a:pt x="389" y="179"/>
                  </a:lnTo>
                  <a:lnTo>
                    <a:pt x="388" y="180"/>
                  </a:lnTo>
                  <a:lnTo>
                    <a:pt x="388" y="181"/>
                  </a:lnTo>
                  <a:lnTo>
                    <a:pt x="388" y="181"/>
                  </a:lnTo>
                  <a:lnTo>
                    <a:pt x="387" y="181"/>
                  </a:lnTo>
                  <a:lnTo>
                    <a:pt x="386" y="182"/>
                  </a:lnTo>
                  <a:lnTo>
                    <a:pt x="386" y="182"/>
                  </a:lnTo>
                  <a:lnTo>
                    <a:pt x="385" y="182"/>
                  </a:lnTo>
                  <a:lnTo>
                    <a:pt x="385" y="182"/>
                  </a:lnTo>
                  <a:lnTo>
                    <a:pt x="384" y="182"/>
                  </a:lnTo>
                  <a:lnTo>
                    <a:pt x="383" y="182"/>
                  </a:lnTo>
                  <a:lnTo>
                    <a:pt x="383" y="182"/>
                  </a:lnTo>
                  <a:lnTo>
                    <a:pt x="382" y="181"/>
                  </a:lnTo>
                  <a:lnTo>
                    <a:pt x="382" y="181"/>
                  </a:lnTo>
                  <a:lnTo>
                    <a:pt x="381" y="180"/>
                  </a:lnTo>
                  <a:lnTo>
                    <a:pt x="381" y="180"/>
                  </a:lnTo>
                  <a:lnTo>
                    <a:pt x="381" y="179"/>
                  </a:lnTo>
                  <a:lnTo>
                    <a:pt x="380" y="178"/>
                  </a:lnTo>
                  <a:lnTo>
                    <a:pt x="380" y="177"/>
                  </a:lnTo>
                  <a:lnTo>
                    <a:pt x="379" y="177"/>
                  </a:lnTo>
                  <a:lnTo>
                    <a:pt x="379" y="176"/>
                  </a:lnTo>
                  <a:lnTo>
                    <a:pt x="378" y="176"/>
                  </a:lnTo>
                  <a:lnTo>
                    <a:pt x="378" y="176"/>
                  </a:lnTo>
                  <a:lnTo>
                    <a:pt x="377" y="176"/>
                  </a:lnTo>
                  <a:lnTo>
                    <a:pt x="376" y="176"/>
                  </a:lnTo>
                  <a:lnTo>
                    <a:pt x="375" y="176"/>
                  </a:lnTo>
                  <a:lnTo>
                    <a:pt x="375" y="176"/>
                  </a:lnTo>
                  <a:lnTo>
                    <a:pt x="374" y="176"/>
                  </a:lnTo>
                  <a:lnTo>
                    <a:pt x="373" y="176"/>
                  </a:lnTo>
                  <a:lnTo>
                    <a:pt x="372" y="177"/>
                  </a:lnTo>
                  <a:lnTo>
                    <a:pt x="371" y="178"/>
                  </a:lnTo>
                  <a:lnTo>
                    <a:pt x="370" y="178"/>
                  </a:lnTo>
                  <a:lnTo>
                    <a:pt x="370" y="179"/>
                  </a:lnTo>
                  <a:lnTo>
                    <a:pt x="368" y="180"/>
                  </a:lnTo>
                  <a:lnTo>
                    <a:pt x="367" y="181"/>
                  </a:lnTo>
                  <a:lnTo>
                    <a:pt x="367" y="182"/>
                  </a:lnTo>
                  <a:lnTo>
                    <a:pt x="366" y="182"/>
                  </a:lnTo>
                  <a:lnTo>
                    <a:pt x="366" y="183"/>
                  </a:lnTo>
                  <a:lnTo>
                    <a:pt x="366" y="183"/>
                  </a:lnTo>
                  <a:lnTo>
                    <a:pt x="366" y="183"/>
                  </a:lnTo>
                  <a:lnTo>
                    <a:pt x="367" y="184"/>
                  </a:lnTo>
                  <a:lnTo>
                    <a:pt x="367" y="184"/>
                  </a:lnTo>
                  <a:lnTo>
                    <a:pt x="368" y="184"/>
                  </a:lnTo>
                  <a:lnTo>
                    <a:pt x="370" y="185"/>
                  </a:lnTo>
                  <a:lnTo>
                    <a:pt x="371" y="185"/>
                  </a:lnTo>
                  <a:lnTo>
                    <a:pt x="372" y="185"/>
                  </a:lnTo>
                  <a:lnTo>
                    <a:pt x="372" y="186"/>
                  </a:lnTo>
                  <a:lnTo>
                    <a:pt x="373" y="186"/>
                  </a:lnTo>
                  <a:lnTo>
                    <a:pt x="373" y="186"/>
                  </a:lnTo>
                  <a:lnTo>
                    <a:pt x="374" y="187"/>
                  </a:lnTo>
                  <a:lnTo>
                    <a:pt x="374" y="187"/>
                  </a:lnTo>
                  <a:lnTo>
                    <a:pt x="374" y="188"/>
                  </a:lnTo>
                  <a:lnTo>
                    <a:pt x="374" y="188"/>
                  </a:lnTo>
                  <a:lnTo>
                    <a:pt x="374" y="189"/>
                  </a:lnTo>
                  <a:lnTo>
                    <a:pt x="374" y="189"/>
                  </a:lnTo>
                  <a:lnTo>
                    <a:pt x="374" y="190"/>
                  </a:lnTo>
                  <a:lnTo>
                    <a:pt x="373" y="190"/>
                  </a:lnTo>
                  <a:lnTo>
                    <a:pt x="373" y="191"/>
                  </a:lnTo>
                  <a:lnTo>
                    <a:pt x="372" y="191"/>
                  </a:lnTo>
                  <a:lnTo>
                    <a:pt x="371" y="192"/>
                  </a:lnTo>
                  <a:lnTo>
                    <a:pt x="370" y="192"/>
                  </a:lnTo>
                  <a:lnTo>
                    <a:pt x="369" y="192"/>
                  </a:lnTo>
                  <a:lnTo>
                    <a:pt x="367" y="193"/>
                  </a:lnTo>
                  <a:lnTo>
                    <a:pt x="365" y="193"/>
                  </a:lnTo>
                  <a:lnTo>
                    <a:pt x="362" y="193"/>
                  </a:lnTo>
                  <a:lnTo>
                    <a:pt x="361" y="194"/>
                  </a:lnTo>
                  <a:lnTo>
                    <a:pt x="360" y="194"/>
                  </a:lnTo>
                  <a:lnTo>
                    <a:pt x="359" y="194"/>
                  </a:lnTo>
                  <a:lnTo>
                    <a:pt x="357" y="195"/>
                  </a:lnTo>
                  <a:lnTo>
                    <a:pt x="357" y="195"/>
                  </a:lnTo>
                  <a:lnTo>
                    <a:pt x="356" y="196"/>
                  </a:lnTo>
                  <a:lnTo>
                    <a:pt x="356" y="196"/>
                  </a:lnTo>
                  <a:lnTo>
                    <a:pt x="355" y="197"/>
                  </a:lnTo>
                  <a:lnTo>
                    <a:pt x="355" y="198"/>
                  </a:lnTo>
                  <a:lnTo>
                    <a:pt x="354" y="199"/>
                  </a:lnTo>
                  <a:lnTo>
                    <a:pt x="353" y="200"/>
                  </a:lnTo>
                  <a:lnTo>
                    <a:pt x="352" y="203"/>
                  </a:lnTo>
                  <a:lnTo>
                    <a:pt x="351" y="204"/>
                  </a:lnTo>
                  <a:lnTo>
                    <a:pt x="351" y="204"/>
                  </a:lnTo>
                  <a:lnTo>
                    <a:pt x="349" y="207"/>
                  </a:lnTo>
                  <a:lnTo>
                    <a:pt x="348" y="208"/>
                  </a:lnTo>
                  <a:lnTo>
                    <a:pt x="347" y="209"/>
                  </a:lnTo>
                  <a:lnTo>
                    <a:pt x="346" y="210"/>
                  </a:lnTo>
                  <a:lnTo>
                    <a:pt x="346" y="211"/>
                  </a:lnTo>
                  <a:lnTo>
                    <a:pt x="346" y="212"/>
                  </a:lnTo>
                  <a:lnTo>
                    <a:pt x="346" y="213"/>
                  </a:lnTo>
                  <a:lnTo>
                    <a:pt x="346" y="216"/>
                  </a:lnTo>
                  <a:lnTo>
                    <a:pt x="345" y="218"/>
                  </a:lnTo>
                  <a:lnTo>
                    <a:pt x="345" y="220"/>
                  </a:lnTo>
                  <a:lnTo>
                    <a:pt x="345" y="222"/>
                  </a:lnTo>
                  <a:lnTo>
                    <a:pt x="344" y="225"/>
                  </a:lnTo>
                  <a:lnTo>
                    <a:pt x="344" y="226"/>
                  </a:lnTo>
                  <a:lnTo>
                    <a:pt x="344" y="227"/>
                  </a:lnTo>
                  <a:lnTo>
                    <a:pt x="344" y="228"/>
                  </a:lnTo>
                  <a:lnTo>
                    <a:pt x="344" y="228"/>
                  </a:lnTo>
                  <a:lnTo>
                    <a:pt x="344" y="229"/>
                  </a:lnTo>
                  <a:lnTo>
                    <a:pt x="344" y="229"/>
                  </a:lnTo>
                  <a:lnTo>
                    <a:pt x="345" y="230"/>
                  </a:lnTo>
                  <a:lnTo>
                    <a:pt x="345" y="230"/>
                  </a:lnTo>
                  <a:lnTo>
                    <a:pt x="346" y="231"/>
                  </a:lnTo>
                  <a:lnTo>
                    <a:pt x="349" y="233"/>
                  </a:lnTo>
                  <a:lnTo>
                    <a:pt x="354" y="237"/>
                  </a:lnTo>
                  <a:lnTo>
                    <a:pt x="354" y="237"/>
                  </a:lnTo>
                  <a:lnTo>
                    <a:pt x="355" y="237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4" y="239"/>
                  </a:lnTo>
                  <a:lnTo>
                    <a:pt x="353" y="239"/>
                  </a:lnTo>
                  <a:lnTo>
                    <a:pt x="353" y="240"/>
                  </a:lnTo>
                  <a:lnTo>
                    <a:pt x="353" y="240"/>
                  </a:lnTo>
                  <a:lnTo>
                    <a:pt x="352" y="240"/>
                  </a:lnTo>
                  <a:lnTo>
                    <a:pt x="352" y="241"/>
                  </a:lnTo>
                  <a:lnTo>
                    <a:pt x="352" y="241"/>
                  </a:lnTo>
                  <a:lnTo>
                    <a:pt x="352" y="241"/>
                  </a:lnTo>
                  <a:lnTo>
                    <a:pt x="353" y="242"/>
                  </a:lnTo>
                  <a:lnTo>
                    <a:pt x="353" y="242"/>
                  </a:lnTo>
                  <a:lnTo>
                    <a:pt x="354" y="243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6" y="244"/>
                  </a:lnTo>
                  <a:lnTo>
                    <a:pt x="357" y="244"/>
                  </a:lnTo>
                  <a:lnTo>
                    <a:pt x="360" y="245"/>
                  </a:lnTo>
                  <a:lnTo>
                    <a:pt x="361" y="245"/>
                  </a:lnTo>
                  <a:lnTo>
                    <a:pt x="361" y="245"/>
                  </a:lnTo>
                  <a:lnTo>
                    <a:pt x="361" y="246"/>
                  </a:lnTo>
                  <a:lnTo>
                    <a:pt x="362" y="246"/>
                  </a:lnTo>
                  <a:lnTo>
                    <a:pt x="362" y="246"/>
                  </a:lnTo>
                  <a:lnTo>
                    <a:pt x="362" y="247"/>
                  </a:lnTo>
                  <a:lnTo>
                    <a:pt x="362" y="248"/>
                  </a:lnTo>
                  <a:lnTo>
                    <a:pt x="362" y="248"/>
                  </a:lnTo>
                  <a:lnTo>
                    <a:pt x="362" y="249"/>
                  </a:lnTo>
                  <a:lnTo>
                    <a:pt x="362" y="249"/>
                  </a:lnTo>
                  <a:lnTo>
                    <a:pt x="362" y="250"/>
                  </a:lnTo>
                  <a:lnTo>
                    <a:pt x="361" y="251"/>
                  </a:lnTo>
                  <a:lnTo>
                    <a:pt x="361" y="252"/>
                  </a:lnTo>
                  <a:lnTo>
                    <a:pt x="360" y="254"/>
                  </a:lnTo>
                  <a:lnTo>
                    <a:pt x="357" y="257"/>
                  </a:lnTo>
                  <a:lnTo>
                    <a:pt x="357" y="258"/>
                  </a:lnTo>
                  <a:lnTo>
                    <a:pt x="356" y="258"/>
                  </a:lnTo>
                  <a:lnTo>
                    <a:pt x="356" y="259"/>
                  </a:lnTo>
                  <a:lnTo>
                    <a:pt x="356" y="260"/>
                  </a:lnTo>
                  <a:lnTo>
                    <a:pt x="356" y="261"/>
                  </a:lnTo>
                  <a:lnTo>
                    <a:pt x="356" y="262"/>
                  </a:lnTo>
                  <a:lnTo>
                    <a:pt x="356" y="262"/>
                  </a:lnTo>
                  <a:lnTo>
                    <a:pt x="356" y="263"/>
                  </a:lnTo>
                  <a:lnTo>
                    <a:pt x="356" y="264"/>
                  </a:lnTo>
                  <a:lnTo>
                    <a:pt x="357" y="265"/>
                  </a:lnTo>
                  <a:lnTo>
                    <a:pt x="357" y="265"/>
                  </a:lnTo>
                  <a:lnTo>
                    <a:pt x="359" y="267"/>
                  </a:lnTo>
                  <a:lnTo>
                    <a:pt x="360" y="268"/>
                  </a:lnTo>
                  <a:lnTo>
                    <a:pt x="360" y="269"/>
                  </a:lnTo>
                  <a:lnTo>
                    <a:pt x="360" y="270"/>
                  </a:lnTo>
                  <a:lnTo>
                    <a:pt x="361" y="270"/>
                  </a:lnTo>
                  <a:lnTo>
                    <a:pt x="361" y="271"/>
                  </a:lnTo>
                  <a:lnTo>
                    <a:pt x="361" y="271"/>
                  </a:lnTo>
                  <a:lnTo>
                    <a:pt x="361" y="272"/>
                  </a:lnTo>
                  <a:lnTo>
                    <a:pt x="360" y="272"/>
                  </a:lnTo>
                  <a:lnTo>
                    <a:pt x="360" y="273"/>
                  </a:lnTo>
                  <a:lnTo>
                    <a:pt x="360" y="273"/>
                  </a:lnTo>
                  <a:lnTo>
                    <a:pt x="359" y="274"/>
                  </a:lnTo>
                  <a:lnTo>
                    <a:pt x="358" y="274"/>
                  </a:lnTo>
                  <a:lnTo>
                    <a:pt x="356" y="276"/>
                  </a:lnTo>
                  <a:lnTo>
                    <a:pt x="355" y="277"/>
                  </a:lnTo>
                  <a:lnTo>
                    <a:pt x="354" y="277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1" y="281"/>
                  </a:lnTo>
                  <a:lnTo>
                    <a:pt x="351" y="282"/>
                  </a:lnTo>
                  <a:lnTo>
                    <a:pt x="351" y="283"/>
                  </a:lnTo>
                  <a:lnTo>
                    <a:pt x="350" y="284"/>
                  </a:lnTo>
                  <a:lnTo>
                    <a:pt x="350" y="285"/>
                  </a:lnTo>
                  <a:lnTo>
                    <a:pt x="349" y="286"/>
                  </a:lnTo>
                  <a:lnTo>
                    <a:pt x="349" y="287"/>
                  </a:lnTo>
                  <a:lnTo>
                    <a:pt x="349" y="288"/>
                  </a:lnTo>
                  <a:lnTo>
                    <a:pt x="349" y="289"/>
                  </a:lnTo>
                  <a:lnTo>
                    <a:pt x="349" y="290"/>
                  </a:lnTo>
                  <a:lnTo>
                    <a:pt x="349" y="291"/>
                  </a:lnTo>
                  <a:lnTo>
                    <a:pt x="349" y="291"/>
                  </a:lnTo>
                  <a:lnTo>
                    <a:pt x="349" y="292"/>
                  </a:lnTo>
                  <a:lnTo>
                    <a:pt x="349" y="292"/>
                  </a:lnTo>
                  <a:lnTo>
                    <a:pt x="350" y="293"/>
                  </a:lnTo>
                  <a:lnTo>
                    <a:pt x="350" y="293"/>
                  </a:lnTo>
                  <a:lnTo>
                    <a:pt x="351" y="294"/>
                  </a:lnTo>
                  <a:lnTo>
                    <a:pt x="352" y="295"/>
                  </a:lnTo>
                  <a:lnTo>
                    <a:pt x="354" y="297"/>
                  </a:lnTo>
                  <a:lnTo>
                    <a:pt x="356" y="297"/>
                  </a:lnTo>
                  <a:lnTo>
                    <a:pt x="356" y="298"/>
                  </a:lnTo>
                  <a:lnTo>
                    <a:pt x="356" y="299"/>
                  </a:lnTo>
                  <a:lnTo>
                    <a:pt x="357" y="299"/>
                  </a:lnTo>
                  <a:lnTo>
                    <a:pt x="357" y="300"/>
                  </a:lnTo>
                  <a:lnTo>
                    <a:pt x="357" y="300"/>
                  </a:lnTo>
                  <a:lnTo>
                    <a:pt x="358" y="301"/>
                  </a:lnTo>
                  <a:lnTo>
                    <a:pt x="358" y="301"/>
                  </a:lnTo>
                  <a:lnTo>
                    <a:pt x="358" y="302"/>
                  </a:lnTo>
                  <a:lnTo>
                    <a:pt x="358" y="304"/>
                  </a:lnTo>
                  <a:lnTo>
                    <a:pt x="358" y="305"/>
                  </a:lnTo>
                  <a:lnTo>
                    <a:pt x="358" y="306"/>
                  </a:lnTo>
                  <a:lnTo>
                    <a:pt x="358" y="307"/>
                  </a:lnTo>
                  <a:lnTo>
                    <a:pt x="358" y="307"/>
                  </a:lnTo>
                  <a:lnTo>
                    <a:pt x="357" y="308"/>
                  </a:lnTo>
                  <a:lnTo>
                    <a:pt x="356" y="309"/>
                  </a:lnTo>
                  <a:lnTo>
                    <a:pt x="355" y="310"/>
                  </a:lnTo>
                  <a:lnTo>
                    <a:pt x="354" y="310"/>
                  </a:lnTo>
                  <a:lnTo>
                    <a:pt x="353" y="311"/>
                  </a:lnTo>
                  <a:lnTo>
                    <a:pt x="351" y="312"/>
                  </a:lnTo>
                  <a:lnTo>
                    <a:pt x="350" y="312"/>
                  </a:lnTo>
                  <a:lnTo>
                    <a:pt x="350" y="313"/>
                  </a:lnTo>
                  <a:lnTo>
                    <a:pt x="349" y="313"/>
                  </a:lnTo>
                  <a:lnTo>
                    <a:pt x="349" y="314"/>
                  </a:lnTo>
                  <a:lnTo>
                    <a:pt x="348" y="314"/>
                  </a:lnTo>
                  <a:lnTo>
                    <a:pt x="348" y="315"/>
                  </a:lnTo>
                  <a:lnTo>
                    <a:pt x="348" y="316"/>
                  </a:lnTo>
                  <a:lnTo>
                    <a:pt x="347" y="316"/>
                  </a:lnTo>
                  <a:lnTo>
                    <a:pt x="347" y="317"/>
                  </a:lnTo>
                  <a:lnTo>
                    <a:pt x="347" y="318"/>
                  </a:lnTo>
                  <a:lnTo>
                    <a:pt x="347" y="318"/>
                  </a:lnTo>
                  <a:lnTo>
                    <a:pt x="348" y="321"/>
                  </a:lnTo>
                  <a:lnTo>
                    <a:pt x="348" y="322"/>
                  </a:lnTo>
                  <a:lnTo>
                    <a:pt x="349" y="323"/>
                  </a:lnTo>
                  <a:lnTo>
                    <a:pt x="349" y="323"/>
                  </a:lnTo>
                  <a:lnTo>
                    <a:pt x="349" y="324"/>
                  </a:lnTo>
                  <a:lnTo>
                    <a:pt x="348" y="325"/>
                  </a:lnTo>
                  <a:lnTo>
                    <a:pt x="348" y="325"/>
                  </a:lnTo>
                  <a:lnTo>
                    <a:pt x="348" y="326"/>
                  </a:lnTo>
                  <a:lnTo>
                    <a:pt x="347" y="326"/>
                  </a:lnTo>
                  <a:lnTo>
                    <a:pt x="347" y="327"/>
                  </a:lnTo>
                  <a:lnTo>
                    <a:pt x="346" y="327"/>
                  </a:lnTo>
                  <a:lnTo>
                    <a:pt x="346" y="328"/>
                  </a:lnTo>
                  <a:lnTo>
                    <a:pt x="345" y="328"/>
                  </a:lnTo>
                  <a:lnTo>
                    <a:pt x="344" y="329"/>
                  </a:lnTo>
                  <a:lnTo>
                    <a:pt x="343" y="329"/>
                  </a:lnTo>
                  <a:lnTo>
                    <a:pt x="342" y="329"/>
                  </a:lnTo>
                  <a:lnTo>
                    <a:pt x="342" y="329"/>
                  </a:lnTo>
                  <a:lnTo>
                    <a:pt x="342" y="330"/>
                  </a:lnTo>
                  <a:lnTo>
                    <a:pt x="342" y="330"/>
                  </a:lnTo>
                  <a:lnTo>
                    <a:pt x="342" y="330"/>
                  </a:lnTo>
                  <a:lnTo>
                    <a:pt x="341" y="330"/>
                  </a:lnTo>
                  <a:lnTo>
                    <a:pt x="342" y="331"/>
                  </a:lnTo>
                  <a:lnTo>
                    <a:pt x="342" y="332"/>
                  </a:lnTo>
                  <a:lnTo>
                    <a:pt x="342" y="332"/>
                  </a:lnTo>
                  <a:lnTo>
                    <a:pt x="343" y="333"/>
                  </a:lnTo>
                  <a:lnTo>
                    <a:pt x="344" y="335"/>
                  </a:lnTo>
                  <a:lnTo>
                    <a:pt x="346" y="335"/>
                  </a:lnTo>
                  <a:lnTo>
                    <a:pt x="348" y="338"/>
                  </a:lnTo>
                  <a:lnTo>
                    <a:pt x="349" y="339"/>
                  </a:lnTo>
                  <a:lnTo>
                    <a:pt x="350" y="340"/>
                  </a:lnTo>
                  <a:lnTo>
                    <a:pt x="351" y="340"/>
                  </a:lnTo>
                  <a:lnTo>
                    <a:pt x="351" y="341"/>
                  </a:lnTo>
                  <a:lnTo>
                    <a:pt x="351" y="342"/>
                  </a:lnTo>
                  <a:lnTo>
                    <a:pt x="351" y="342"/>
                  </a:lnTo>
                  <a:lnTo>
                    <a:pt x="351" y="343"/>
                  </a:lnTo>
                  <a:lnTo>
                    <a:pt x="351" y="344"/>
                  </a:lnTo>
                  <a:lnTo>
                    <a:pt x="351" y="344"/>
                  </a:lnTo>
                  <a:lnTo>
                    <a:pt x="351" y="345"/>
                  </a:lnTo>
                  <a:lnTo>
                    <a:pt x="350" y="345"/>
                  </a:lnTo>
                  <a:lnTo>
                    <a:pt x="350" y="346"/>
                  </a:lnTo>
                  <a:lnTo>
                    <a:pt x="349" y="346"/>
                  </a:lnTo>
                  <a:lnTo>
                    <a:pt x="347" y="348"/>
                  </a:lnTo>
                  <a:lnTo>
                    <a:pt x="347" y="349"/>
                  </a:lnTo>
                  <a:lnTo>
                    <a:pt x="346" y="349"/>
                  </a:lnTo>
                  <a:lnTo>
                    <a:pt x="346" y="350"/>
                  </a:lnTo>
                  <a:lnTo>
                    <a:pt x="346" y="350"/>
                  </a:lnTo>
                  <a:lnTo>
                    <a:pt x="345" y="352"/>
                  </a:lnTo>
                  <a:lnTo>
                    <a:pt x="345" y="353"/>
                  </a:lnTo>
                  <a:lnTo>
                    <a:pt x="344" y="354"/>
                  </a:lnTo>
                  <a:lnTo>
                    <a:pt x="343" y="355"/>
                  </a:lnTo>
                  <a:lnTo>
                    <a:pt x="343" y="355"/>
                  </a:lnTo>
                  <a:lnTo>
                    <a:pt x="342" y="356"/>
                  </a:lnTo>
                  <a:lnTo>
                    <a:pt x="342" y="356"/>
                  </a:lnTo>
                  <a:lnTo>
                    <a:pt x="341" y="357"/>
                  </a:lnTo>
                  <a:lnTo>
                    <a:pt x="341" y="357"/>
                  </a:lnTo>
                  <a:lnTo>
                    <a:pt x="340" y="358"/>
                  </a:lnTo>
                  <a:lnTo>
                    <a:pt x="339" y="358"/>
                  </a:lnTo>
                  <a:lnTo>
                    <a:pt x="339" y="358"/>
                  </a:lnTo>
                  <a:lnTo>
                    <a:pt x="337" y="359"/>
                  </a:lnTo>
                  <a:lnTo>
                    <a:pt x="335" y="359"/>
                  </a:lnTo>
                  <a:lnTo>
                    <a:pt x="332" y="359"/>
                  </a:lnTo>
                  <a:lnTo>
                    <a:pt x="328" y="360"/>
                  </a:lnTo>
                  <a:lnTo>
                    <a:pt x="327" y="360"/>
                  </a:lnTo>
                  <a:lnTo>
                    <a:pt x="325" y="360"/>
                  </a:lnTo>
                  <a:lnTo>
                    <a:pt x="324" y="361"/>
                  </a:lnTo>
                  <a:lnTo>
                    <a:pt x="323" y="361"/>
                  </a:lnTo>
                  <a:lnTo>
                    <a:pt x="322" y="362"/>
                  </a:lnTo>
                  <a:lnTo>
                    <a:pt x="321" y="362"/>
                  </a:lnTo>
                  <a:lnTo>
                    <a:pt x="320" y="363"/>
                  </a:lnTo>
                  <a:lnTo>
                    <a:pt x="320" y="364"/>
                  </a:lnTo>
                  <a:lnTo>
                    <a:pt x="319" y="364"/>
                  </a:lnTo>
                  <a:lnTo>
                    <a:pt x="319" y="365"/>
                  </a:lnTo>
                  <a:lnTo>
                    <a:pt x="319" y="366"/>
                  </a:lnTo>
                  <a:lnTo>
                    <a:pt x="319" y="367"/>
                  </a:lnTo>
                  <a:lnTo>
                    <a:pt x="319" y="369"/>
                  </a:lnTo>
                  <a:lnTo>
                    <a:pt x="319" y="369"/>
                  </a:lnTo>
                  <a:lnTo>
                    <a:pt x="319" y="370"/>
                  </a:lnTo>
                  <a:lnTo>
                    <a:pt x="319" y="370"/>
                  </a:lnTo>
                  <a:lnTo>
                    <a:pt x="318" y="371"/>
                  </a:lnTo>
                  <a:lnTo>
                    <a:pt x="318" y="371"/>
                  </a:lnTo>
                  <a:lnTo>
                    <a:pt x="318" y="372"/>
                  </a:lnTo>
                  <a:lnTo>
                    <a:pt x="317" y="372"/>
                  </a:lnTo>
                  <a:lnTo>
                    <a:pt x="314" y="374"/>
                  </a:lnTo>
                  <a:lnTo>
                    <a:pt x="314" y="374"/>
                  </a:lnTo>
                  <a:lnTo>
                    <a:pt x="313" y="374"/>
                  </a:lnTo>
                  <a:lnTo>
                    <a:pt x="312" y="375"/>
                  </a:lnTo>
                  <a:lnTo>
                    <a:pt x="310" y="375"/>
                  </a:lnTo>
                  <a:lnTo>
                    <a:pt x="306" y="376"/>
                  </a:lnTo>
                  <a:lnTo>
                    <a:pt x="304" y="376"/>
                  </a:lnTo>
                  <a:lnTo>
                    <a:pt x="303" y="376"/>
                  </a:lnTo>
                  <a:lnTo>
                    <a:pt x="302" y="376"/>
                  </a:lnTo>
                  <a:lnTo>
                    <a:pt x="300" y="376"/>
                  </a:lnTo>
                  <a:lnTo>
                    <a:pt x="298" y="376"/>
                  </a:lnTo>
                  <a:lnTo>
                    <a:pt x="297" y="375"/>
                  </a:lnTo>
                  <a:lnTo>
                    <a:pt x="294" y="375"/>
                  </a:lnTo>
                  <a:lnTo>
                    <a:pt x="293" y="375"/>
                  </a:lnTo>
                  <a:lnTo>
                    <a:pt x="291" y="374"/>
                  </a:lnTo>
                  <a:lnTo>
                    <a:pt x="290" y="374"/>
                  </a:lnTo>
                  <a:lnTo>
                    <a:pt x="289" y="374"/>
                  </a:lnTo>
                  <a:lnTo>
                    <a:pt x="288" y="374"/>
                  </a:lnTo>
                  <a:lnTo>
                    <a:pt x="288" y="375"/>
                  </a:lnTo>
                  <a:lnTo>
                    <a:pt x="287" y="375"/>
                  </a:lnTo>
                  <a:lnTo>
                    <a:pt x="286" y="376"/>
                  </a:lnTo>
                  <a:lnTo>
                    <a:pt x="285" y="377"/>
                  </a:lnTo>
                  <a:lnTo>
                    <a:pt x="283" y="378"/>
                  </a:lnTo>
                  <a:lnTo>
                    <a:pt x="282" y="378"/>
                  </a:lnTo>
                  <a:lnTo>
                    <a:pt x="281" y="379"/>
                  </a:lnTo>
                  <a:lnTo>
                    <a:pt x="280" y="379"/>
                  </a:lnTo>
                  <a:lnTo>
                    <a:pt x="278" y="379"/>
                  </a:lnTo>
                  <a:lnTo>
                    <a:pt x="277" y="379"/>
                  </a:lnTo>
                  <a:lnTo>
                    <a:pt x="277" y="379"/>
                  </a:lnTo>
                  <a:lnTo>
                    <a:pt x="276" y="379"/>
                  </a:lnTo>
                  <a:lnTo>
                    <a:pt x="275" y="378"/>
                  </a:lnTo>
                  <a:lnTo>
                    <a:pt x="274" y="378"/>
                  </a:lnTo>
                  <a:lnTo>
                    <a:pt x="273" y="377"/>
                  </a:lnTo>
                  <a:lnTo>
                    <a:pt x="271" y="375"/>
                  </a:lnTo>
                  <a:lnTo>
                    <a:pt x="270" y="375"/>
                  </a:lnTo>
                  <a:lnTo>
                    <a:pt x="269" y="374"/>
                  </a:lnTo>
                  <a:lnTo>
                    <a:pt x="269" y="374"/>
                  </a:lnTo>
                  <a:lnTo>
                    <a:pt x="268" y="372"/>
                  </a:lnTo>
                  <a:lnTo>
                    <a:pt x="267" y="371"/>
                  </a:lnTo>
                  <a:lnTo>
                    <a:pt x="267" y="371"/>
                  </a:lnTo>
                  <a:lnTo>
                    <a:pt x="266" y="370"/>
                  </a:lnTo>
                  <a:lnTo>
                    <a:pt x="266" y="370"/>
                  </a:lnTo>
                  <a:lnTo>
                    <a:pt x="265" y="370"/>
                  </a:lnTo>
                  <a:lnTo>
                    <a:pt x="265" y="370"/>
                  </a:lnTo>
                  <a:lnTo>
                    <a:pt x="264" y="370"/>
                  </a:lnTo>
                  <a:lnTo>
                    <a:pt x="264" y="370"/>
                  </a:lnTo>
                  <a:lnTo>
                    <a:pt x="262" y="370"/>
                  </a:lnTo>
                  <a:lnTo>
                    <a:pt x="262" y="371"/>
                  </a:lnTo>
                  <a:lnTo>
                    <a:pt x="260" y="371"/>
                  </a:lnTo>
                  <a:lnTo>
                    <a:pt x="259" y="372"/>
                  </a:lnTo>
                  <a:lnTo>
                    <a:pt x="259" y="372"/>
                  </a:lnTo>
                  <a:lnTo>
                    <a:pt x="258" y="372"/>
                  </a:lnTo>
                  <a:lnTo>
                    <a:pt x="258" y="373"/>
                  </a:lnTo>
                  <a:lnTo>
                    <a:pt x="256" y="375"/>
                  </a:lnTo>
                  <a:lnTo>
                    <a:pt x="255" y="376"/>
                  </a:lnTo>
                  <a:lnTo>
                    <a:pt x="254" y="376"/>
                  </a:lnTo>
                  <a:lnTo>
                    <a:pt x="254" y="377"/>
                  </a:lnTo>
                  <a:lnTo>
                    <a:pt x="253" y="377"/>
                  </a:lnTo>
                  <a:lnTo>
                    <a:pt x="252" y="378"/>
                  </a:lnTo>
                  <a:lnTo>
                    <a:pt x="252" y="378"/>
                  </a:lnTo>
                  <a:lnTo>
                    <a:pt x="251" y="378"/>
                  </a:lnTo>
                  <a:lnTo>
                    <a:pt x="251" y="378"/>
                  </a:lnTo>
                  <a:lnTo>
                    <a:pt x="250" y="378"/>
                  </a:lnTo>
                  <a:lnTo>
                    <a:pt x="249" y="378"/>
                  </a:lnTo>
                  <a:lnTo>
                    <a:pt x="247" y="378"/>
                  </a:lnTo>
                  <a:lnTo>
                    <a:pt x="246" y="378"/>
                  </a:lnTo>
                  <a:lnTo>
                    <a:pt x="246" y="378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4" y="379"/>
                  </a:lnTo>
                  <a:lnTo>
                    <a:pt x="244" y="379"/>
                  </a:lnTo>
                  <a:lnTo>
                    <a:pt x="243" y="379"/>
                  </a:lnTo>
                  <a:lnTo>
                    <a:pt x="243" y="380"/>
                  </a:lnTo>
                  <a:lnTo>
                    <a:pt x="242" y="381"/>
                  </a:lnTo>
                  <a:lnTo>
                    <a:pt x="242" y="382"/>
                  </a:lnTo>
                  <a:lnTo>
                    <a:pt x="241" y="385"/>
                  </a:lnTo>
                  <a:lnTo>
                    <a:pt x="240" y="386"/>
                  </a:lnTo>
                  <a:lnTo>
                    <a:pt x="240" y="386"/>
                  </a:lnTo>
                  <a:lnTo>
                    <a:pt x="240" y="387"/>
                  </a:lnTo>
                  <a:lnTo>
                    <a:pt x="239" y="388"/>
                  </a:lnTo>
                  <a:lnTo>
                    <a:pt x="239" y="388"/>
                  </a:lnTo>
                  <a:lnTo>
                    <a:pt x="238" y="388"/>
                  </a:lnTo>
                  <a:lnTo>
                    <a:pt x="237" y="389"/>
                  </a:lnTo>
                  <a:lnTo>
                    <a:pt x="237" y="389"/>
                  </a:lnTo>
                  <a:lnTo>
                    <a:pt x="235" y="389"/>
                  </a:lnTo>
                  <a:lnTo>
                    <a:pt x="233" y="389"/>
                  </a:lnTo>
                  <a:lnTo>
                    <a:pt x="232" y="389"/>
                  </a:lnTo>
                  <a:lnTo>
                    <a:pt x="230" y="389"/>
                  </a:lnTo>
                  <a:lnTo>
                    <a:pt x="228" y="389"/>
                  </a:lnTo>
                  <a:lnTo>
                    <a:pt x="227" y="390"/>
                  </a:lnTo>
                  <a:lnTo>
                    <a:pt x="224" y="391"/>
                  </a:lnTo>
                  <a:lnTo>
                    <a:pt x="223" y="391"/>
                  </a:lnTo>
                  <a:lnTo>
                    <a:pt x="221" y="392"/>
                  </a:lnTo>
                  <a:lnTo>
                    <a:pt x="220" y="393"/>
                  </a:lnTo>
                  <a:lnTo>
                    <a:pt x="219" y="393"/>
                  </a:lnTo>
                  <a:lnTo>
                    <a:pt x="219" y="394"/>
                  </a:lnTo>
                  <a:lnTo>
                    <a:pt x="218" y="395"/>
                  </a:lnTo>
                  <a:lnTo>
                    <a:pt x="217" y="396"/>
                  </a:lnTo>
                  <a:lnTo>
                    <a:pt x="216" y="398"/>
                  </a:lnTo>
                  <a:lnTo>
                    <a:pt x="214" y="399"/>
                  </a:lnTo>
                  <a:lnTo>
                    <a:pt x="213" y="400"/>
                  </a:lnTo>
                  <a:lnTo>
                    <a:pt x="212" y="401"/>
                  </a:lnTo>
                  <a:lnTo>
                    <a:pt x="211" y="402"/>
                  </a:lnTo>
                  <a:lnTo>
                    <a:pt x="210" y="403"/>
                  </a:lnTo>
                  <a:lnTo>
                    <a:pt x="208" y="404"/>
                  </a:lnTo>
                  <a:lnTo>
                    <a:pt x="207" y="405"/>
                  </a:lnTo>
                  <a:lnTo>
                    <a:pt x="206" y="405"/>
                  </a:lnTo>
                  <a:lnTo>
                    <a:pt x="205" y="406"/>
                  </a:lnTo>
                  <a:lnTo>
                    <a:pt x="205" y="406"/>
                  </a:lnTo>
                  <a:lnTo>
                    <a:pt x="203" y="408"/>
                  </a:lnTo>
                  <a:lnTo>
                    <a:pt x="201" y="410"/>
                  </a:lnTo>
                  <a:lnTo>
                    <a:pt x="201" y="410"/>
                  </a:lnTo>
                  <a:lnTo>
                    <a:pt x="200" y="412"/>
                  </a:lnTo>
                  <a:lnTo>
                    <a:pt x="198" y="414"/>
                  </a:lnTo>
                  <a:lnTo>
                    <a:pt x="198" y="414"/>
                  </a:lnTo>
                  <a:lnTo>
                    <a:pt x="197" y="415"/>
                  </a:lnTo>
                  <a:lnTo>
                    <a:pt x="197" y="415"/>
                  </a:lnTo>
                  <a:lnTo>
                    <a:pt x="196" y="415"/>
                  </a:lnTo>
                  <a:lnTo>
                    <a:pt x="196" y="415"/>
                  </a:lnTo>
                  <a:lnTo>
                    <a:pt x="195" y="415"/>
                  </a:lnTo>
                  <a:lnTo>
                    <a:pt x="195" y="415"/>
                  </a:lnTo>
                  <a:lnTo>
                    <a:pt x="194" y="415"/>
                  </a:lnTo>
                  <a:lnTo>
                    <a:pt x="193" y="415"/>
                  </a:lnTo>
                  <a:lnTo>
                    <a:pt x="191" y="413"/>
                  </a:lnTo>
                  <a:lnTo>
                    <a:pt x="190" y="413"/>
                  </a:lnTo>
                  <a:lnTo>
                    <a:pt x="189" y="412"/>
                  </a:lnTo>
                  <a:lnTo>
                    <a:pt x="188" y="412"/>
                  </a:lnTo>
                  <a:lnTo>
                    <a:pt x="187" y="411"/>
                  </a:lnTo>
                  <a:lnTo>
                    <a:pt x="186" y="411"/>
                  </a:lnTo>
                  <a:lnTo>
                    <a:pt x="185" y="411"/>
                  </a:lnTo>
                  <a:lnTo>
                    <a:pt x="184" y="411"/>
                  </a:lnTo>
                  <a:lnTo>
                    <a:pt x="180" y="412"/>
                  </a:lnTo>
                  <a:lnTo>
                    <a:pt x="179" y="412"/>
                  </a:lnTo>
                  <a:lnTo>
                    <a:pt x="178" y="412"/>
                  </a:lnTo>
                  <a:lnTo>
                    <a:pt x="178" y="412"/>
                  </a:lnTo>
                  <a:lnTo>
                    <a:pt x="177" y="412"/>
                  </a:lnTo>
                  <a:lnTo>
                    <a:pt x="177" y="413"/>
                  </a:lnTo>
                  <a:lnTo>
                    <a:pt x="177" y="413"/>
                  </a:lnTo>
                  <a:lnTo>
                    <a:pt x="176" y="413"/>
                  </a:lnTo>
                  <a:lnTo>
                    <a:pt x="174" y="416"/>
                  </a:lnTo>
                  <a:lnTo>
                    <a:pt x="173" y="418"/>
                  </a:lnTo>
                  <a:lnTo>
                    <a:pt x="173" y="418"/>
                  </a:lnTo>
                  <a:lnTo>
                    <a:pt x="172" y="419"/>
                  </a:lnTo>
                  <a:lnTo>
                    <a:pt x="171" y="420"/>
                  </a:lnTo>
                  <a:lnTo>
                    <a:pt x="171" y="420"/>
                  </a:lnTo>
                  <a:lnTo>
                    <a:pt x="170" y="421"/>
                  </a:lnTo>
                  <a:lnTo>
                    <a:pt x="170" y="421"/>
                  </a:lnTo>
                  <a:lnTo>
                    <a:pt x="169" y="421"/>
                  </a:lnTo>
                  <a:lnTo>
                    <a:pt x="169" y="421"/>
                  </a:lnTo>
                  <a:lnTo>
                    <a:pt x="168" y="421"/>
                  </a:lnTo>
                  <a:lnTo>
                    <a:pt x="167" y="421"/>
                  </a:lnTo>
                  <a:lnTo>
                    <a:pt x="166" y="420"/>
                  </a:lnTo>
                  <a:lnTo>
                    <a:pt x="165" y="420"/>
                  </a:lnTo>
                  <a:lnTo>
                    <a:pt x="164" y="420"/>
                  </a:lnTo>
                  <a:lnTo>
                    <a:pt x="164" y="419"/>
                  </a:lnTo>
                  <a:lnTo>
                    <a:pt x="162" y="418"/>
                  </a:lnTo>
                  <a:lnTo>
                    <a:pt x="161" y="417"/>
                  </a:lnTo>
                  <a:lnTo>
                    <a:pt x="160" y="417"/>
                  </a:lnTo>
                  <a:lnTo>
                    <a:pt x="159" y="417"/>
                  </a:lnTo>
                  <a:lnTo>
                    <a:pt x="159" y="417"/>
                  </a:lnTo>
                  <a:lnTo>
                    <a:pt x="158" y="417"/>
                  </a:lnTo>
                  <a:lnTo>
                    <a:pt x="157" y="417"/>
                  </a:lnTo>
                  <a:lnTo>
                    <a:pt x="156" y="417"/>
                  </a:lnTo>
                  <a:lnTo>
                    <a:pt x="155" y="417"/>
                  </a:lnTo>
                  <a:lnTo>
                    <a:pt x="154" y="417"/>
                  </a:lnTo>
                  <a:lnTo>
                    <a:pt x="153" y="418"/>
                  </a:lnTo>
                  <a:lnTo>
                    <a:pt x="153" y="418"/>
                  </a:lnTo>
                  <a:lnTo>
                    <a:pt x="152" y="418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8"/>
                  </a:lnTo>
                  <a:lnTo>
                    <a:pt x="151" y="417"/>
                  </a:lnTo>
                  <a:lnTo>
                    <a:pt x="150" y="415"/>
                  </a:lnTo>
                  <a:lnTo>
                    <a:pt x="150" y="414"/>
                  </a:lnTo>
                  <a:lnTo>
                    <a:pt x="149" y="414"/>
                  </a:lnTo>
                  <a:lnTo>
                    <a:pt x="149" y="413"/>
                  </a:lnTo>
                  <a:lnTo>
                    <a:pt x="148" y="412"/>
                  </a:lnTo>
                  <a:lnTo>
                    <a:pt x="148" y="412"/>
                  </a:lnTo>
                  <a:lnTo>
                    <a:pt x="147" y="411"/>
                  </a:lnTo>
                  <a:lnTo>
                    <a:pt x="145" y="410"/>
                  </a:lnTo>
                  <a:lnTo>
                    <a:pt x="144" y="409"/>
                  </a:lnTo>
                  <a:lnTo>
                    <a:pt x="143" y="408"/>
                  </a:lnTo>
                  <a:lnTo>
                    <a:pt x="141" y="408"/>
                  </a:lnTo>
                  <a:lnTo>
                    <a:pt x="139" y="407"/>
                  </a:lnTo>
                  <a:lnTo>
                    <a:pt x="138" y="406"/>
                  </a:lnTo>
                  <a:lnTo>
                    <a:pt x="137" y="406"/>
                  </a:lnTo>
                  <a:lnTo>
                    <a:pt x="136" y="405"/>
                  </a:lnTo>
                  <a:lnTo>
                    <a:pt x="135" y="404"/>
                  </a:lnTo>
                  <a:lnTo>
                    <a:pt x="134" y="403"/>
                  </a:lnTo>
                  <a:lnTo>
                    <a:pt x="134" y="403"/>
                  </a:lnTo>
                  <a:lnTo>
                    <a:pt x="133" y="400"/>
                  </a:lnTo>
                  <a:lnTo>
                    <a:pt x="132" y="400"/>
                  </a:lnTo>
                  <a:lnTo>
                    <a:pt x="132" y="399"/>
                  </a:lnTo>
                  <a:lnTo>
                    <a:pt x="131" y="398"/>
                  </a:lnTo>
                  <a:lnTo>
                    <a:pt x="131" y="398"/>
                  </a:lnTo>
                  <a:lnTo>
                    <a:pt x="130" y="398"/>
                  </a:lnTo>
                  <a:lnTo>
                    <a:pt x="129" y="398"/>
                  </a:lnTo>
                  <a:lnTo>
                    <a:pt x="129" y="398"/>
                  </a:lnTo>
                  <a:lnTo>
                    <a:pt x="128" y="398"/>
                  </a:lnTo>
                  <a:lnTo>
                    <a:pt x="126" y="397"/>
                  </a:lnTo>
                  <a:lnTo>
                    <a:pt x="125" y="397"/>
                  </a:lnTo>
                  <a:lnTo>
                    <a:pt x="125" y="397"/>
                  </a:lnTo>
                  <a:lnTo>
                    <a:pt x="125" y="397"/>
                  </a:lnTo>
                  <a:lnTo>
                    <a:pt x="124" y="397"/>
                  </a:lnTo>
                  <a:lnTo>
                    <a:pt x="124" y="396"/>
                  </a:lnTo>
                  <a:lnTo>
                    <a:pt x="124" y="396"/>
                  </a:lnTo>
                  <a:lnTo>
                    <a:pt x="124" y="395"/>
                  </a:lnTo>
                  <a:lnTo>
                    <a:pt x="124" y="395"/>
                  </a:lnTo>
                  <a:lnTo>
                    <a:pt x="124" y="394"/>
                  </a:lnTo>
                  <a:lnTo>
                    <a:pt x="124" y="394"/>
                  </a:lnTo>
                  <a:lnTo>
                    <a:pt x="125" y="393"/>
                  </a:lnTo>
                  <a:lnTo>
                    <a:pt x="126" y="392"/>
                  </a:lnTo>
                  <a:lnTo>
                    <a:pt x="127" y="390"/>
                  </a:lnTo>
                  <a:lnTo>
                    <a:pt x="128" y="389"/>
                  </a:lnTo>
                  <a:lnTo>
                    <a:pt x="129" y="388"/>
                  </a:lnTo>
                  <a:lnTo>
                    <a:pt x="130" y="387"/>
                  </a:lnTo>
                  <a:lnTo>
                    <a:pt x="132" y="384"/>
                  </a:lnTo>
                  <a:lnTo>
                    <a:pt x="133" y="384"/>
                  </a:lnTo>
                  <a:lnTo>
                    <a:pt x="133" y="383"/>
                  </a:lnTo>
                  <a:lnTo>
                    <a:pt x="134" y="382"/>
                  </a:lnTo>
                  <a:lnTo>
                    <a:pt x="134" y="381"/>
                  </a:lnTo>
                  <a:lnTo>
                    <a:pt x="135" y="379"/>
                  </a:lnTo>
                  <a:lnTo>
                    <a:pt x="135" y="378"/>
                  </a:lnTo>
                  <a:lnTo>
                    <a:pt x="136" y="377"/>
                  </a:lnTo>
                  <a:lnTo>
                    <a:pt x="138" y="375"/>
                  </a:lnTo>
                  <a:lnTo>
                    <a:pt x="138" y="374"/>
                  </a:lnTo>
                  <a:lnTo>
                    <a:pt x="138" y="373"/>
                  </a:lnTo>
                  <a:lnTo>
                    <a:pt x="138" y="373"/>
                  </a:lnTo>
                  <a:lnTo>
                    <a:pt x="139" y="372"/>
                  </a:lnTo>
                  <a:lnTo>
                    <a:pt x="139" y="370"/>
                  </a:lnTo>
                  <a:lnTo>
                    <a:pt x="139" y="369"/>
                  </a:lnTo>
                  <a:lnTo>
                    <a:pt x="140" y="368"/>
                  </a:lnTo>
                  <a:lnTo>
                    <a:pt x="140" y="367"/>
                  </a:lnTo>
                  <a:lnTo>
                    <a:pt x="141" y="365"/>
                  </a:lnTo>
                  <a:lnTo>
                    <a:pt x="142" y="364"/>
                  </a:lnTo>
                  <a:lnTo>
                    <a:pt x="143" y="363"/>
                  </a:lnTo>
                  <a:lnTo>
                    <a:pt x="143" y="362"/>
                  </a:lnTo>
                  <a:lnTo>
                    <a:pt x="144" y="362"/>
                  </a:lnTo>
                  <a:lnTo>
                    <a:pt x="144" y="362"/>
                  </a:lnTo>
                  <a:lnTo>
                    <a:pt x="144" y="361"/>
                  </a:lnTo>
                  <a:lnTo>
                    <a:pt x="145" y="361"/>
                  </a:lnTo>
                  <a:lnTo>
                    <a:pt x="148" y="361"/>
                  </a:lnTo>
                  <a:lnTo>
                    <a:pt x="150" y="360"/>
                  </a:lnTo>
                  <a:lnTo>
                    <a:pt x="151" y="360"/>
                  </a:lnTo>
                  <a:lnTo>
                    <a:pt x="152" y="359"/>
                  </a:lnTo>
                  <a:lnTo>
                    <a:pt x="152" y="359"/>
                  </a:lnTo>
                  <a:lnTo>
                    <a:pt x="153" y="359"/>
                  </a:lnTo>
                  <a:lnTo>
                    <a:pt x="153" y="358"/>
                  </a:lnTo>
                  <a:lnTo>
                    <a:pt x="153" y="358"/>
                  </a:lnTo>
                  <a:lnTo>
                    <a:pt x="154" y="357"/>
                  </a:lnTo>
                  <a:lnTo>
                    <a:pt x="154" y="356"/>
                  </a:lnTo>
                  <a:lnTo>
                    <a:pt x="154" y="355"/>
                  </a:lnTo>
                  <a:lnTo>
                    <a:pt x="154" y="354"/>
                  </a:lnTo>
                  <a:lnTo>
                    <a:pt x="154" y="354"/>
                  </a:lnTo>
                  <a:lnTo>
                    <a:pt x="154" y="353"/>
                  </a:lnTo>
                  <a:lnTo>
                    <a:pt x="154" y="352"/>
                  </a:lnTo>
                  <a:lnTo>
                    <a:pt x="153" y="351"/>
                  </a:lnTo>
                  <a:lnTo>
                    <a:pt x="151" y="348"/>
                  </a:lnTo>
                  <a:lnTo>
                    <a:pt x="151" y="348"/>
                  </a:lnTo>
                  <a:lnTo>
                    <a:pt x="150" y="347"/>
                  </a:lnTo>
                  <a:lnTo>
                    <a:pt x="149" y="347"/>
                  </a:lnTo>
                  <a:lnTo>
                    <a:pt x="148" y="345"/>
                  </a:lnTo>
                  <a:lnTo>
                    <a:pt x="146" y="345"/>
                  </a:lnTo>
                  <a:lnTo>
                    <a:pt x="146" y="344"/>
                  </a:lnTo>
                  <a:lnTo>
                    <a:pt x="145" y="343"/>
                  </a:lnTo>
                  <a:lnTo>
                    <a:pt x="145" y="343"/>
                  </a:lnTo>
                  <a:lnTo>
                    <a:pt x="144" y="342"/>
                  </a:lnTo>
                  <a:lnTo>
                    <a:pt x="144" y="342"/>
                  </a:lnTo>
                  <a:lnTo>
                    <a:pt x="144" y="341"/>
                  </a:lnTo>
                  <a:lnTo>
                    <a:pt x="144" y="341"/>
                  </a:lnTo>
                  <a:lnTo>
                    <a:pt x="144" y="340"/>
                  </a:lnTo>
                  <a:lnTo>
                    <a:pt x="144" y="339"/>
                  </a:lnTo>
                  <a:lnTo>
                    <a:pt x="145" y="339"/>
                  </a:lnTo>
                  <a:lnTo>
                    <a:pt x="144" y="338"/>
                  </a:lnTo>
                  <a:lnTo>
                    <a:pt x="144" y="338"/>
                  </a:lnTo>
                  <a:lnTo>
                    <a:pt x="144" y="337"/>
                  </a:lnTo>
                  <a:lnTo>
                    <a:pt x="144" y="336"/>
                  </a:lnTo>
                  <a:lnTo>
                    <a:pt x="143" y="336"/>
                  </a:lnTo>
                  <a:lnTo>
                    <a:pt x="143" y="336"/>
                  </a:lnTo>
                  <a:lnTo>
                    <a:pt x="142" y="335"/>
                  </a:lnTo>
                  <a:lnTo>
                    <a:pt x="141" y="335"/>
                  </a:lnTo>
                  <a:lnTo>
                    <a:pt x="140" y="334"/>
                  </a:lnTo>
                  <a:lnTo>
                    <a:pt x="140" y="334"/>
                  </a:lnTo>
                  <a:lnTo>
                    <a:pt x="139" y="334"/>
                  </a:lnTo>
                  <a:lnTo>
                    <a:pt x="139" y="334"/>
                  </a:lnTo>
                  <a:lnTo>
                    <a:pt x="138" y="334"/>
                  </a:lnTo>
                  <a:lnTo>
                    <a:pt x="138" y="334"/>
                  </a:lnTo>
                  <a:lnTo>
                    <a:pt x="137" y="334"/>
                  </a:lnTo>
                  <a:lnTo>
                    <a:pt x="137" y="334"/>
                  </a:lnTo>
                  <a:lnTo>
                    <a:pt x="135" y="335"/>
                  </a:lnTo>
                  <a:lnTo>
                    <a:pt x="135" y="335"/>
                  </a:lnTo>
                  <a:lnTo>
                    <a:pt x="134" y="335"/>
                  </a:lnTo>
                  <a:lnTo>
                    <a:pt x="132" y="336"/>
                  </a:lnTo>
                  <a:lnTo>
                    <a:pt x="130" y="336"/>
                  </a:lnTo>
                  <a:lnTo>
                    <a:pt x="129" y="336"/>
                  </a:lnTo>
                  <a:lnTo>
                    <a:pt x="126" y="337"/>
                  </a:lnTo>
                  <a:lnTo>
                    <a:pt x="125" y="338"/>
                  </a:lnTo>
                  <a:lnTo>
                    <a:pt x="124" y="338"/>
                  </a:lnTo>
                  <a:lnTo>
                    <a:pt x="123" y="338"/>
                  </a:lnTo>
                  <a:lnTo>
                    <a:pt x="121" y="338"/>
                  </a:lnTo>
                  <a:lnTo>
                    <a:pt x="119" y="338"/>
                  </a:lnTo>
                  <a:lnTo>
                    <a:pt x="117" y="338"/>
                  </a:lnTo>
                  <a:lnTo>
                    <a:pt x="115" y="338"/>
                  </a:lnTo>
                  <a:lnTo>
                    <a:pt x="114" y="338"/>
                  </a:lnTo>
                  <a:lnTo>
                    <a:pt x="113" y="338"/>
                  </a:lnTo>
                  <a:lnTo>
                    <a:pt x="110" y="337"/>
                  </a:lnTo>
                  <a:lnTo>
                    <a:pt x="109" y="337"/>
                  </a:lnTo>
                  <a:lnTo>
                    <a:pt x="108" y="336"/>
                  </a:lnTo>
                  <a:lnTo>
                    <a:pt x="108" y="336"/>
                  </a:lnTo>
                  <a:lnTo>
                    <a:pt x="107" y="336"/>
                  </a:lnTo>
                  <a:lnTo>
                    <a:pt x="106" y="337"/>
                  </a:lnTo>
                  <a:lnTo>
                    <a:pt x="105" y="337"/>
                  </a:lnTo>
                  <a:lnTo>
                    <a:pt x="103" y="337"/>
                  </a:lnTo>
                  <a:lnTo>
                    <a:pt x="103" y="338"/>
                  </a:lnTo>
                  <a:lnTo>
                    <a:pt x="103" y="338"/>
                  </a:lnTo>
                  <a:lnTo>
                    <a:pt x="102" y="338"/>
                  </a:lnTo>
                  <a:lnTo>
                    <a:pt x="102" y="338"/>
                  </a:lnTo>
                  <a:lnTo>
                    <a:pt x="101" y="338"/>
                  </a:lnTo>
                  <a:lnTo>
                    <a:pt x="101" y="337"/>
                  </a:lnTo>
                  <a:lnTo>
                    <a:pt x="98" y="336"/>
                  </a:lnTo>
                  <a:lnTo>
                    <a:pt x="94" y="333"/>
                  </a:lnTo>
                  <a:lnTo>
                    <a:pt x="92" y="332"/>
                  </a:lnTo>
                  <a:lnTo>
                    <a:pt x="90" y="331"/>
                  </a:lnTo>
                  <a:lnTo>
                    <a:pt x="90" y="330"/>
                  </a:lnTo>
                  <a:lnTo>
                    <a:pt x="87" y="328"/>
                  </a:lnTo>
                  <a:lnTo>
                    <a:pt x="84" y="326"/>
                  </a:lnTo>
                  <a:lnTo>
                    <a:pt x="83" y="325"/>
                  </a:lnTo>
                  <a:lnTo>
                    <a:pt x="81" y="323"/>
                  </a:lnTo>
                  <a:lnTo>
                    <a:pt x="81" y="323"/>
                  </a:lnTo>
                  <a:lnTo>
                    <a:pt x="80" y="322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8" y="319"/>
                  </a:lnTo>
                  <a:lnTo>
                    <a:pt x="78" y="317"/>
                  </a:lnTo>
                  <a:lnTo>
                    <a:pt x="78" y="316"/>
                  </a:lnTo>
                  <a:lnTo>
                    <a:pt x="78" y="315"/>
                  </a:lnTo>
                  <a:lnTo>
                    <a:pt x="78" y="313"/>
                  </a:lnTo>
                  <a:lnTo>
                    <a:pt x="78" y="312"/>
                  </a:lnTo>
                  <a:lnTo>
                    <a:pt x="78" y="309"/>
                  </a:lnTo>
                  <a:lnTo>
                    <a:pt x="79" y="307"/>
                  </a:lnTo>
                  <a:lnTo>
                    <a:pt x="79" y="306"/>
                  </a:lnTo>
                  <a:lnTo>
                    <a:pt x="79" y="305"/>
                  </a:lnTo>
                  <a:lnTo>
                    <a:pt x="78" y="304"/>
                  </a:lnTo>
                  <a:lnTo>
                    <a:pt x="78" y="303"/>
                  </a:lnTo>
                  <a:lnTo>
                    <a:pt x="78" y="301"/>
                  </a:lnTo>
                  <a:lnTo>
                    <a:pt x="78" y="300"/>
                  </a:lnTo>
                  <a:lnTo>
                    <a:pt x="77" y="299"/>
                  </a:lnTo>
                  <a:lnTo>
                    <a:pt x="77" y="298"/>
                  </a:lnTo>
                  <a:lnTo>
                    <a:pt x="76" y="297"/>
                  </a:lnTo>
                  <a:lnTo>
                    <a:pt x="76" y="297"/>
                  </a:lnTo>
                  <a:lnTo>
                    <a:pt x="75" y="296"/>
                  </a:lnTo>
                  <a:lnTo>
                    <a:pt x="75" y="296"/>
                  </a:lnTo>
                  <a:lnTo>
                    <a:pt x="74" y="296"/>
                  </a:lnTo>
                  <a:lnTo>
                    <a:pt x="74" y="295"/>
                  </a:lnTo>
                  <a:lnTo>
                    <a:pt x="73" y="295"/>
                  </a:lnTo>
                  <a:lnTo>
                    <a:pt x="72" y="295"/>
                  </a:lnTo>
                  <a:lnTo>
                    <a:pt x="71" y="295"/>
                  </a:lnTo>
                  <a:lnTo>
                    <a:pt x="70" y="295"/>
                  </a:lnTo>
                  <a:lnTo>
                    <a:pt x="69" y="295"/>
                  </a:lnTo>
                  <a:lnTo>
                    <a:pt x="66" y="295"/>
                  </a:lnTo>
                  <a:lnTo>
                    <a:pt x="63" y="296"/>
                  </a:lnTo>
                  <a:lnTo>
                    <a:pt x="62" y="296"/>
                  </a:lnTo>
                  <a:lnTo>
                    <a:pt x="61" y="296"/>
                  </a:lnTo>
                  <a:lnTo>
                    <a:pt x="58" y="296"/>
                  </a:lnTo>
                  <a:lnTo>
                    <a:pt x="57" y="297"/>
                  </a:lnTo>
                  <a:lnTo>
                    <a:pt x="53" y="297"/>
                  </a:lnTo>
                  <a:lnTo>
                    <a:pt x="53" y="297"/>
                  </a:lnTo>
                  <a:lnTo>
                    <a:pt x="52" y="297"/>
                  </a:lnTo>
                  <a:lnTo>
                    <a:pt x="51" y="297"/>
                  </a:lnTo>
                  <a:lnTo>
                    <a:pt x="51" y="297"/>
                  </a:lnTo>
                  <a:lnTo>
                    <a:pt x="51" y="296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8" y="294"/>
                  </a:lnTo>
                  <a:lnTo>
                    <a:pt x="47" y="293"/>
                  </a:lnTo>
                  <a:lnTo>
                    <a:pt x="46" y="293"/>
                  </a:lnTo>
                  <a:lnTo>
                    <a:pt x="43" y="292"/>
                  </a:lnTo>
                  <a:lnTo>
                    <a:pt x="40" y="291"/>
                  </a:lnTo>
                  <a:lnTo>
                    <a:pt x="35" y="289"/>
                  </a:lnTo>
                  <a:lnTo>
                    <a:pt x="34" y="289"/>
                  </a:lnTo>
                  <a:lnTo>
                    <a:pt x="33" y="289"/>
                  </a:lnTo>
                  <a:lnTo>
                    <a:pt x="33" y="289"/>
                  </a:lnTo>
                  <a:lnTo>
                    <a:pt x="32" y="289"/>
                  </a:lnTo>
                  <a:lnTo>
                    <a:pt x="32" y="289"/>
                  </a:lnTo>
                  <a:lnTo>
                    <a:pt x="31" y="290"/>
                  </a:lnTo>
                  <a:lnTo>
                    <a:pt x="30" y="290"/>
                  </a:lnTo>
                  <a:lnTo>
                    <a:pt x="27" y="291"/>
                  </a:lnTo>
                  <a:lnTo>
                    <a:pt x="26" y="292"/>
                  </a:lnTo>
                  <a:lnTo>
                    <a:pt x="25" y="292"/>
                  </a:lnTo>
                  <a:lnTo>
                    <a:pt x="24" y="292"/>
                  </a:lnTo>
                  <a:lnTo>
                    <a:pt x="23" y="293"/>
                  </a:lnTo>
                  <a:lnTo>
                    <a:pt x="22" y="293"/>
                  </a:lnTo>
                  <a:lnTo>
                    <a:pt x="21" y="292"/>
                  </a:lnTo>
                  <a:lnTo>
                    <a:pt x="20" y="292"/>
                  </a:lnTo>
                  <a:lnTo>
                    <a:pt x="19" y="292"/>
                  </a:lnTo>
                  <a:lnTo>
                    <a:pt x="18" y="291"/>
                  </a:lnTo>
                  <a:lnTo>
                    <a:pt x="17" y="291"/>
                  </a:lnTo>
                  <a:lnTo>
                    <a:pt x="17" y="291"/>
                  </a:lnTo>
                  <a:lnTo>
                    <a:pt x="17" y="290"/>
                  </a:lnTo>
                  <a:lnTo>
                    <a:pt x="16" y="289"/>
                  </a:lnTo>
                  <a:lnTo>
                    <a:pt x="14" y="287"/>
                  </a:lnTo>
                  <a:lnTo>
                    <a:pt x="13" y="286"/>
                  </a:lnTo>
                  <a:lnTo>
                    <a:pt x="12" y="284"/>
                  </a:lnTo>
                  <a:lnTo>
                    <a:pt x="11" y="284"/>
                  </a:lnTo>
                  <a:lnTo>
                    <a:pt x="10" y="283"/>
                  </a:lnTo>
                  <a:lnTo>
                    <a:pt x="10" y="283"/>
                  </a:lnTo>
                  <a:lnTo>
                    <a:pt x="9" y="283"/>
                  </a:lnTo>
                  <a:lnTo>
                    <a:pt x="8" y="283"/>
                  </a:lnTo>
                  <a:lnTo>
                    <a:pt x="8" y="282"/>
                  </a:lnTo>
                  <a:lnTo>
                    <a:pt x="7" y="282"/>
                  </a:lnTo>
                  <a:lnTo>
                    <a:pt x="4" y="282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2" y="281"/>
                  </a:lnTo>
                  <a:lnTo>
                    <a:pt x="1" y="281"/>
                  </a:lnTo>
                  <a:lnTo>
                    <a:pt x="0" y="281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79"/>
                  </a:lnTo>
                  <a:lnTo>
                    <a:pt x="1" y="279"/>
                  </a:lnTo>
                  <a:lnTo>
                    <a:pt x="2" y="278"/>
                  </a:lnTo>
                  <a:lnTo>
                    <a:pt x="2" y="278"/>
                  </a:lnTo>
                  <a:lnTo>
                    <a:pt x="3" y="278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6"/>
                  </a:lnTo>
                  <a:lnTo>
                    <a:pt x="3" y="275"/>
                  </a:lnTo>
                  <a:lnTo>
                    <a:pt x="3" y="274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Freeform 65">
              <a:extLst>
                <a:ext uri="{FF2B5EF4-FFF2-40B4-BE49-F238E27FC236}">
                  <a16:creationId xmlns:a16="http://schemas.microsoft.com/office/drawing/2014/main" id="{1166AD9F-E91B-BA62-DDF0-38FD49ED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" y="3418"/>
              <a:ext cx="185" cy="278"/>
            </a:xfrm>
            <a:custGeom>
              <a:avLst/>
              <a:gdLst>
                <a:gd name="T0" fmla="*/ 60 w 185"/>
                <a:gd name="T1" fmla="*/ 275 h 278"/>
                <a:gd name="T2" fmla="*/ 51 w 185"/>
                <a:gd name="T3" fmla="*/ 271 h 278"/>
                <a:gd name="T4" fmla="*/ 42 w 185"/>
                <a:gd name="T5" fmla="*/ 266 h 278"/>
                <a:gd name="T6" fmla="*/ 36 w 185"/>
                <a:gd name="T7" fmla="*/ 266 h 278"/>
                <a:gd name="T8" fmla="*/ 26 w 185"/>
                <a:gd name="T9" fmla="*/ 269 h 278"/>
                <a:gd name="T10" fmla="*/ 17 w 185"/>
                <a:gd name="T11" fmla="*/ 262 h 278"/>
                <a:gd name="T12" fmla="*/ 6 w 185"/>
                <a:gd name="T13" fmla="*/ 249 h 278"/>
                <a:gd name="T14" fmla="*/ 5 w 185"/>
                <a:gd name="T15" fmla="*/ 244 h 278"/>
                <a:gd name="T16" fmla="*/ 9 w 185"/>
                <a:gd name="T17" fmla="*/ 237 h 278"/>
                <a:gd name="T18" fmla="*/ 8 w 185"/>
                <a:gd name="T19" fmla="*/ 232 h 278"/>
                <a:gd name="T20" fmla="*/ 1 w 185"/>
                <a:gd name="T21" fmla="*/ 226 h 278"/>
                <a:gd name="T22" fmla="*/ 0 w 185"/>
                <a:gd name="T23" fmla="*/ 220 h 278"/>
                <a:gd name="T24" fmla="*/ 4 w 185"/>
                <a:gd name="T25" fmla="*/ 205 h 278"/>
                <a:gd name="T26" fmla="*/ 3 w 185"/>
                <a:gd name="T27" fmla="*/ 201 h 278"/>
                <a:gd name="T28" fmla="*/ 8 w 185"/>
                <a:gd name="T29" fmla="*/ 187 h 278"/>
                <a:gd name="T30" fmla="*/ 9 w 185"/>
                <a:gd name="T31" fmla="*/ 176 h 278"/>
                <a:gd name="T32" fmla="*/ 8 w 185"/>
                <a:gd name="T33" fmla="*/ 168 h 278"/>
                <a:gd name="T34" fmla="*/ 5 w 185"/>
                <a:gd name="T35" fmla="*/ 161 h 278"/>
                <a:gd name="T36" fmla="*/ 7 w 185"/>
                <a:gd name="T37" fmla="*/ 158 h 278"/>
                <a:gd name="T38" fmla="*/ 12 w 185"/>
                <a:gd name="T39" fmla="*/ 155 h 278"/>
                <a:gd name="T40" fmla="*/ 11 w 185"/>
                <a:gd name="T41" fmla="*/ 146 h 278"/>
                <a:gd name="T42" fmla="*/ 13 w 185"/>
                <a:gd name="T43" fmla="*/ 138 h 278"/>
                <a:gd name="T44" fmla="*/ 15 w 185"/>
                <a:gd name="T45" fmla="*/ 133 h 278"/>
                <a:gd name="T46" fmla="*/ 24 w 185"/>
                <a:gd name="T47" fmla="*/ 130 h 278"/>
                <a:gd name="T48" fmla="*/ 26 w 185"/>
                <a:gd name="T49" fmla="*/ 128 h 278"/>
                <a:gd name="T50" fmla="*/ 26 w 185"/>
                <a:gd name="T51" fmla="*/ 122 h 278"/>
                <a:gd name="T52" fmla="*/ 30 w 185"/>
                <a:gd name="T53" fmla="*/ 120 h 278"/>
                <a:gd name="T54" fmla="*/ 39 w 185"/>
                <a:gd name="T55" fmla="*/ 122 h 278"/>
                <a:gd name="T56" fmla="*/ 52 w 185"/>
                <a:gd name="T57" fmla="*/ 123 h 278"/>
                <a:gd name="T58" fmla="*/ 64 w 185"/>
                <a:gd name="T59" fmla="*/ 119 h 278"/>
                <a:gd name="T60" fmla="*/ 71 w 185"/>
                <a:gd name="T61" fmla="*/ 121 h 278"/>
                <a:gd name="T62" fmla="*/ 79 w 185"/>
                <a:gd name="T63" fmla="*/ 124 h 278"/>
                <a:gd name="T64" fmla="*/ 81 w 185"/>
                <a:gd name="T65" fmla="*/ 122 h 278"/>
                <a:gd name="T66" fmla="*/ 85 w 185"/>
                <a:gd name="T67" fmla="*/ 117 h 278"/>
                <a:gd name="T68" fmla="*/ 90 w 185"/>
                <a:gd name="T69" fmla="*/ 115 h 278"/>
                <a:gd name="T70" fmla="*/ 99 w 185"/>
                <a:gd name="T71" fmla="*/ 115 h 278"/>
                <a:gd name="T72" fmla="*/ 104 w 185"/>
                <a:gd name="T73" fmla="*/ 110 h 278"/>
                <a:gd name="T74" fmla="*/ 105 w 185"/>
                <a:gd name="T75" fmla="*/ 103 h 278"/>
                <a:gd name="T76" fmla="*/ 102 w 185"/>
                <a:gd name="T77" fmla="*/ 96 h 278"/>
                <a:gd name="T78" fmla="*/ 97 w 185"/>
                <a:gd name="T79" fmla="*/ 92 h 278"/>
                <a:gd name="T80" fmla="*/ 87 w 185"/>
                <a:gd name="T81" fmla="*/ 87 h 278"/>
                <a:gd name="T82" fmla="*/ 85 w 185"/>
                <a:gd name="T83" fmla="*/ 79 h 278"/>
                <a:gd name="T84" fmla="*/ 87 w 185"/>
                <a:gd name="T85" fmla="*/ 72 h 278"/>
                <a:gd name="T86" fmla="*/ 97 w 185"/>
                <a:gd name="T87" fmla="*/ 58 h 278"/>
                <a:gd name="T88" fmla="*/ 100 w 185"/>
                <a:gd name="T89" fmla="*/ 51 h 278"/>
                <a:gd name="T90" fmla="*/ 105 w 185"/>
                <a:gd name="T91" fmla="*/ 48 h 278"/>
                <a:gd name="T92" fmla="*/ 109 w 185"/>
                <a:gd name="T93" fmla="*/ 50 h 278"/>
                <a:gd name="T94" fmla="*/ 115 w 185"/>
                <a:gd name="T95" fmla="*/ 48 h 278"/>
                <a:gd name="T96" fmla="*/ 129 w 185"/>
                <a:gd name="T97" fmla="*/ 43 h 278"/>
                <a:gd name="T98" fmla="*/ 140 w 185"/>
                <a:gd name="T99" fmla="*/ 39 h 278"/>
                <a:gd name="T100" fmla="*/ 146 w 185"/>
                <a:gd name="T101" fmla="*/ 32 h 278"/>
                <a:gd name="T102" fmla="*/ 154 w 185"/>
                <a:gd name="T103" fmla="*/ 31 h 278"/>
                <a:gd name="T104" fmla="*/ 159 w 185"/>
                <a:gd name="T105" fmla="*/ 30 h 278"/>
                <a:gd name="T106" fmla="*/ 160 w 185"/>
                <a:gd name="T107" fmla="*/ 26 h 278"/>
                <a:gd name="T108" fmla="*/ 158 w 185"/>
                <a:gd name="T109" fmla="*/ 19 h 278"/>
                <a:gd name="T110" fmla="*/ 159 w 185"/>
                <a:gd name="T111" fmla="*/ 15 h 278"/>
                <a:gd name="T112" fmla="*/ 164 w 185"/>
                <a:gd name="T113" fmla="*/ 10 h 278"/>
                <a:gd name="T114" fmla="*/ 172 w 185"/>
                <a:gd name="T115" fmla="*/ 8 h 278"/>
                <a:gd name="T116" fmla="*/ 179 w 185"/>
                <a:gd name="T117" fmla="*/ 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5" h="278">
                  <a:moveTo>
                    <a:pt x="61" y="278"/>
                  </a:moveTo>
                  <a:lnTo>
                    <a:pt x="61" y="278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9" y="275"/>
                  </a:lnTo>
                  <a:lnTo>
                    <a:pt x="57" y="274"/>
                  </a:lnTo>
                  <a:lnTo>
                    <a:pt x="56" y="274"/>
                  </a:lnTo>
                  <a:lnTo>
                    <a:pt x="52" y="272"/>
                  </a:lnTo>
                  <a:lnTo>
                    <a:pt x="51" y="272"/>
                  </a:lnTo>
                  <a:lnTo>
                    <a:pt x="51" y="271"/>
                  </a:lnTo>
                  <a:lnTo>
                    <a:pt x="49" y="271"/>
                  </a:lnTo>
                  <a:lnTo>
                    <a:pt x="48" y="270"/>
                  </a:lnTo>
                  <a:lnTo>
                    <a:pt x="46" y="269"/>
                  </a:lnTo>
                  <a:lnTo>
                    <a:pt x="44" y="267"/>
                  </a:lnTo>
                  <a:lnTo>
                    <a:pt x="44" y="266"/>
                  </a:lnTo>
                  <a:lnTo>
                    <a:pt x="43" y="266"/>
                  </a:lnTo>
                  <a:lnTo>
                    <a:pt x="42" y="266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30" y="269"/>
                  </a:lnTo>
                  <a:lnTo>
                    <a:pt x="29" y="269"/>
                  </a:lnTo>
                  <a:lnTo>
                    <a:pt x="28" y="270"/>
                  </a:lnTo>
                  <a:lnTo>
                    <a:pt x="27" y="270"/>
                  </a:lnTo>
                  <a:lnTo>
                    <a:pt x="26" y="269"/>
                  </a:lnTo>
                  <a:lnTo>
                    <a:pt x="25" y="269"/>
                  </a:lnTo>
                  <a:lnTo>
                    <a:pt x="25" y="269"/>
                  </a:lnTo>
                  <a:lnTo>
                    <a:pt x="24" y="269"/>
                  </a:lnTo>
                  <a:lnTo>
                    <a:pt x="23" y="268"/>
                  </a:lnTo>
                  <a:lnTo>
                    <a:pt x="21" y="266"/>
                  </a:lnTo>
                  <a:lnTo>
                    <a:pt x="18" y="264"/>
                  </a:lnTo>
                  <a:lnTo>
                    <a:pt x="17" y="262"/>
                  </a:lnTo>
                  <a:lnTo>
                    <a:pt x="15" y="260"/>
                  </a:lnTo>
                  <a:lnTo>
                    <a:pt x="15" y="259"/>
                  </a:lnTo>
                  <a:lnTo>
                    <a:pt x="11" y="256"/>
                  </a:lnTo>
                  <a:lnTo>
                    <a:pt x="11" y="255"/>
                  </a:lnTo>
                  <a:lnTo>
                    <a:pt x="10" y="255"/>
                  </a:lnTo>
                  <a:lnTo>
                    <a:pt x="8" y="252"/>
                  </a:lnTo>
                  <a:lnTo>
                    <a:pt x="6" y="249"/>
                  </a:lnTo>
                  <a:lnTo>
                    <a:pt x="5" y="248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5" y="243"/>
                  </a:lnTo>
                  <a:lnTo>
                    <a:pt x="5" y="242"/>
                  </a:lnTo>
                  <a:lnTo>
                    <a:pt x="6" y="241"/>
                  </a:lnTo>
                  <a:lnTo>
                    <a:pt x="7" y="240"/>
                  </a:lnTo>
                  <a:lnTo>
                    <a:pt x="8" y="239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4"/>
                  </a:lnTo>
                  <a:lnTo>
                    <a:pt x="8" y="233"/>
                  </a:lnTo>
                  <a:lnTo>
                    <a:pt x="8" y="232"/>
                  </a:lnTo>
                  <a:lnTo>
                    <a:pt x="7" y="232"/>
                  </a:lnTo>
                  <a:lnTo>
                    <a:pt x="7" y="231"/>
                  </a:lnTo>
                  <a:lnTo>
                    <a:pt x="6" y="230"/>
                  </a:lnTo>
                  <a:lnTo>
                    <a:pt x="4" y="228"/>
                  </a:lnTo>
                  <a:lnTo>
                    <a:pt x="3" y="228"/>
                  </a:lnTo>
                  <a:lnTo>
                    <a:pt x="2" y="227"/>
                  </a:lnTo>
                  <a:lnTo>
                    <a:pt x="1" y="226"/>
                  </a:lnTo>
                  <a:lnTo>
                    <a:pt x="0" y="225"/>
                  </a:lnTo>
                  <a:lnTo>
                    <a:pt x="0" y="224"/>
                  </a:lnTo>
                  <a:lnTo>
                    <a:pt x="0" y="223"/>
                  </a:lnTo>
                  <a:lnTo>
                    <a:pt x="0" y="222"/>
                  </a:lnTo>
                  <a:lnTo>
                    <a:pt x="0" y="221"/>
                  </a:lnTo>
                  <a:lnTo>
                    <a:pt x="0" y="221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1" y="215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09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1"/>
                  </a:lnTo>
                  <a:lnTo>
                    <a:pt x="4" y="200"/>
                  </a:lnTo>
                  <a:lnTo>
                    <a:pt x="5" y="198"/>
                  </a:lnTo>
                  <a:lnTo>
                    <a:pt x="6" y="195"/>
                  </a:lnTo>
                  <a:lnTo>
                    <a:pt x="7" y="192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7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9" y="180"/>
                  </a:lnTo>
                  <a:lnTo>
                    <a:pt x="9" y="179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9" y="172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8" y="169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7" y="166"/>
                  </a:lnTo>
                  <a:lnTo>
                    <a:pt x="5" y="163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9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1" y="156"/>
                  </a:lnTo>
                  <a:lnTo>
                    <a:pt x="11" y="155"/>
                  </a:lnTo>
                  <a:lnTo>
                    <a:pt x="12" y="155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1" y="146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3" y="141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7" y="133"/>
                  </a:lnTo>
                  <a:lnTo>
                    <a:pt x="22" y="131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9" y="120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0"/>
                  </a:lnTo>
                  <a:lnTo>
                    <a:pt x="32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22"/>
                  </a:lnTo>
                  <a:lnTo>
                    <a:pt x="43" y="122"/>
                  </a:lnTo>
                  <a:lnTo>
                    <a:pt x="47" y="123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8" y="121"/>
                  </a:lnTo>
                  <a:lnTo>
                    <a:pt x="61" y="120"/>
                  </a:lnTo>
                  <a:lnTo>
                    <a:pt x="63" y="119"/>
                  </a:lnTo>
                  <a:lnTo>
                    <a:pt x="64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20"/>
                  </a:lnTo>
                  <a:lnTo>
                    <a:pt x="70" y="120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7" y="124"/>
                  </a:lnTo>
                  <a:lnTo>
                    <a:pt x="78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1" y="123"/>
                  </a:lnTo>
                  <a:lnTo>
                    <a:pt x="81" y="122"/>
                  </a:lnTo>
                  <a:lnTo>
                    <a:pt x="82" y="121"/>
                  </a:lnTo>
                  <a:lnTo>
                    <a:pt x="82" y="120"/>
                  </a:lnTo>
                  <a:lnTo>
                    <a:pt x="83" y="118"/>
                  </a:lnTo>
                  <a:lnTo>
                    <a:pt x="84" y="118"/>
                  </a:lnTo>
                  <a:lnTo>
                    <a:pt x="84" y="117"/>
                  </a:lnTo>
                  <a:lnTo>
                    <a:pt x="84" y="117"/>
                  </a:lnTo>
                  <a:lnTo>
                    <a:pt x="85" y="117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9" y="115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5" y="115"/>
                  </a:lnTo>
                  <a:lnTo>
                    <a:pt x="96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100" y="114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4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5" y="101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3" y="97"/>
                  </a:lnTo>
                  <a:lnTo>
                    <a:pt x="102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3"/>
                  </a:lnTo>
                  <a:lnTo>
                    <a:pt x="98" y="93"/>
                  </a:lnTo>
                  <a:lnTo>
                    <a:pt x="97" y="92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6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3"/>
                  </a:lnTo>
                  <a:lnTo>
                    <a:pt x="85" y="81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5" y="78"/>
                  </a:lnTo>
                  <a:lnTo>
                    <a:pt x="86" y="77"/>
                  </a:lnTo>
                  <a:lnTo>
                    <a:pt x="86" y="76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8" y="71"/>
                  </a:lnTo>
                  <a:lnTo>
                    <a:pt x="88" y="70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7" y="58"/>
                  </a:lnTo>
                  <a:lnTo>
                    <a:pt x="98" y="56"/>
                  </a:lnTo>
                  <a:lnTo>
                    <a:pt x="98" y="55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3" y="49"/>
                  </a:lnTo>
                  <a:lnTo>
                    <a:pt x="104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6" y="48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4" y="49"/>
                  </a:lnTo>
                  <a:lnTo>
                    <a:pt x="115" y="48"/>
                  </a:lnTo>
                  <a:lnTo>
                    <a:pt x="118" y="47"/>
                  </a:lnTo>
                  <a:lnTo>
                    <a:pt x="119" y="46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4" y="44"/>
                  </a:lnTo>
                  <a:lnTo>
                    <a:pt x="126" y="44"/>
                  </a:lnTo>
                  <a:lnTo>
                    <a:pt x="129" y="43"/>
                  </a:lnTo>
                  <a:lnTo>
                    <a:pt x="131" y="42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6" y="41"/>
                  </a:lnTo>
                  <a:lnTo>
                    <a:pt x="137" y="41"/>
                  </a:lnTo>
                  <a:lnTo>
                    <a:pt x="138" y="40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41" y="38"/>
                  </a:lnTo>
                  <a:lnTo>
                    <a:pt x="142" y="37"/>
                  </a:lnTo>
                  <a:lnTo>
                    <a:pt x="143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7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4" y="31"/>
                  </a:lnTo>
                  <a:lnTo>
                    <a:pt x="155" y="31"/>
                  </a:lnTo>
                  <a:lnTo>
                    <a:pt x="156" y="31"/>
                  </a:lnTo>
                  <a:lnTo>
                    <a:pt x="157" y="31"/>
                  </a:lnTo>
                  <a:lnTo>
                    <a:pt x="158" y="31"/>
                  </a:lnTo>
                  <a:lnTo>
                    <a:pt x="158" y="30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7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5"/>
                  </a:lnTo>
                  <a:lnTo>
                    <a:pt x="160" y="24"/>
                  </a:lnTo>
                  <a:lnTo>
                    <a:pt x="159" y="23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7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4"/>
                  </a:lnTo>
                  <a:lnTo>
                    <a:pt x="160" y="13"/>
                  </a:lnTo>
                  <a:lnTo>
                    <a:pt x="162" y="12"/>
                  </a:lnTo>
                  <a:lnTo>
                    <a:pt x="162" y="11"/>
                  </a:lnTo>
                  <a:lnTo>
                    <a:pt x="163" y="11"/>
                  </a:lnTo>
                  <a:lnTo>
                    <a:pt x="163" y="10"/>
                  </a:lnTo>
                  <a:lnTo>
                    <a:pt x="164" y="10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9"/>
                  </a:lnTo>
                  <a:lnTo>
                    <a:pt x="170" y="9"/>
                  </a:lnTo>
                  <a:lnTo>
                    <a:pt x="171" y="9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8" y="4"/>
                  </a:lnTo>
                  <a:lnTo>
                    <a:pt x="179" y="3"/>
                  </a:lnTo>
                  <a:lnTo>
                    <a:pt x="179" y="2"/>
                  </a:lnTo>
                  <a:lnTo>
                    <a:pt x="180" y="2"/>
                  </a:lnTo>
                  <a:lnTo>
                    <a:pt x="180" y="1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80" y="1"/>
                  </a:lnTo>
                  <a:lnTo>
                    <a:pt x="185" y="4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Freeform 66">
              <a:extLst>
                <a:ext uri="{FF2B5EF4-FFF2-40B4-BE49-F238E27FC236}">
                  <a16:creationId xmlns:a16="http://schemas.microsoft.com/office/drawing/2014/main" id="{BFF3E21E-E0AD-D96A-A165-73C98A358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21"/>
              <a:ext cx="642" cy="464"/>
            </a:xfrm>
            <a:custGeom>
              <a:avLst/>
              <a:gdLst>
                <a:gd name="T0" fmla="*/ 339 w 642"/>
                <a:gd name="T1" fmla="*/ 2 h 464"/>
                <a:gd name="T2" fmla="*/ 375 w 642"/>
                <a:gd name="T3" fmla="*/ 17 h 464"/>
                <a:gd name="T4" fmla="*/ 360 w 642"/>
                <a:gd name="T5" fmla="*/ 32 h 464"/>
                <a:gd name="T6" fmla="*/ 381 w 642"/>
                <a:gd name="T7" fmla="*/ 46 h 464"/>
                <a:gd name="T8" fmla="*/ 384 w 642"/>
                <a:gd name="T9" fmla="*/ 87 h 464"/>
                <a:gd name="T10" fmla="*/ 390 w 642"/>
                <a:gd name="T11" fmla="*/ 109 h 464"/>
                <a:gd name="T12" fmla="*/ 410 w 642"/>
                <a:gd name="T13" fmla="*/ 87 h 464"/>
                <a:gd name="T14" fmla="*/ 403 w 642"/>
                <a:gd name="T15" fmla="*/ 62 h 464"/>
                <a:gd name="T16" fmla="*/ 430 w 642"/>
                <a:gd name="T17" fmla="*/ 77 h 464"/>
                <a:gd name="T18" fmla="*/ 448 w 642"/>
                <a:gd name="T19" fmla="*/ 106 h 464"/>
                <a:gd name="T20" fmla="*/ 452 w 642"/>
                <a:gd name="T21" fmla="*/ 121 h 464"/>
                <a:gd name="T22" fmla="*/ 483 w 642"/>
                <a:gd name="T23" fmla="*/ 146 h 464"/>
                <a:gd name="T24" fmla="*/ 488 w 642"/>
                <a:gd name="T25" fmla="*/ 200 h 464"/>
                <a:gd name="T26" fmla="*/ 500 w 642"/>
                <a:gd name="T27" fmla="*/ 213 h 464"/>
                <a:gd name="T28" fmla="*/ 478 w 642"/>
                <a:gd name="T29" fmla="*/ 242 h 464"/>
                <a:gd name="T30" fmla="*/ 504 w 642"/>
                <a:gd name="T31" fmla="*/ 246 h 464"/>
                <a:gd name="T32" fmla="*/ 517 w 642"/>
                <a:gd name="T33" fmla="*/ 270 h 464"/>
                <a:gd name="T34" fmla="*/ 551 w 642"/>
                <a:gd name="T35" fmla="*/ 287 h 464"/>
                <a:gd name="T36" fmla="*/ 578 w 642"/>
                <a:gd name="T37" fmla="*/ 304 h 464"/>
                <a:gd name="T38" fmla="*/ 610 w 642"/>
                <a:gd name="T39" fmla="*/ 313 h 464"/>
                <a:gd name="T40" fmla="*/ 641 w 642"/>
                <a:gd name="T41" fmla="*/ 348 h 464"/>
                <a:gd name="T42" fmla="*/ 611 w 642"/>
                <a:gd name="T43" fmla="*/ 367 h 464"/>
                <a:gd name="T44" fmla="*/ 583 w 642"/>
                <a:gd name="T45" fmla="*/ 358 h 464"/>
                <a:gd name="T46" fmla="*/ 546 w 642"/>
                <a:gd name="T47" fmla="*/ 362 h 464"/>
                <a:gd name="T48" fmla="*/ 503 w 642"/>
                <a:gd name="T49" fmla="*/ 347 h 464"/>
                <a:gd name="T50" fmla="*/ 462 w 642"/>
                <a:gd name="T51" fmla="*/ 396 h 464"/>
                <a:gd name="T52" fmla="*/ 435 w 642"/>
                <a:gd name="T53" fmla="*/ 458 h 464"/>
                <a:gd name="T54" fmla="*/ 422 w 642"/>
                <a:gd name="T55" fmla="*/ 442 h 464"/>
                <a:gd name="T56" fmla="*/ 403 w 642"/>
                <a:gd name="T57" fmla="*/ 421 h 464"/>
                <a:gd name="T58" fmla="*/ 358 w 642"/>
                <a:gd name="T59" fmla="*/ 413 h 464"/>
                <a:gd name="T60" fmla="*/ 342 w 642"/>
                <a:gd name="T61" fmla="*/ 394 h 464"/>
                <a:gd name="T62" fmla="*/ 304 w 642"/>
                <a:gd name="T63" fmla="*/ 381 h 464"/>
                <a:gd name="T64" fmla="*/ 269 w 642"/>
                <a:gd name="T65" fmla="*/ 405 h 464"/>
                <a:gd name="T66" fmla="*/ 242 w 642"/>
                <a:gd name="T67" fmla="*/ 415 h 464"/>
                <a:gd name="T68" fmla="*/ 181 w 642"/>
                <a:gd name="T69" fmla="*/ 412 h 464"/>
                <a:gd name="T70" fmla="*/ 127 w 642"/>
                <a:gd name="T71" fmla="*/ 385 h 464"/>
                <a:gd name="T72" fmla="*/ 110 w 642"/>
                <a:gd name="T73" fmla="*/ 370 h 464"/>
                <a:gd name="T74" fmla="*/ 92 w 642"/>
                <a:gd name="T75" fmla="*/ 356 h 464"/>
                <a:gd name="T76" fmla="*/ 61 w 642"/>
                <a:gd name="T77" fmla="*/ 362 h 464"/>
                <a:gd name="T78" fmla="*/ 7 w 642"/>
                <a:gd name="T79" fmla="*/ 341 h 464"/>
                <a:gd name="T80" fmla="*/ 8 w 642"/>
                <a:gd name="T81" fmla="*/ 323 h 464"/>
                <a:gd name="T82" fmla="*/ 27 w 642"/>
                <a:gd name="T83" fmla="*/ 321 h 464"/>
                <a:gd name="T84" fmla="*/ 51 w 642"/>
                <a:gd name="T85" fmla="*/ 314 h 464"/>
                <a:gd name="T86" fmla="*/ 78 w 642"/>
                <a:gd name="T87" fmla="*/ 297 h 464"/>
                <a:gd name="T88" fmla="*/ 105 w 642"/>
                <a:gd name="T89" fmla="*/ 280 h 464"/>
                <a:gd name="T90" fmla="*/ 125 w 642"/>
                <a:gd name="T91" fmla="*/ 271 h 464"/>
                <a:gd name="T92" fmla="*/ 149 w 642"/>
                <a:gd name="T93" fmla="*/ 275 h 464"/>
                <a:gd name="T94" fmla="*/ 180 w 642"/>
                <a:gd name="T95" fmla="*/ 267 h 464"/>
                <a:gd name="T96" fmla="*/ 207 w 642"/>
                <a:gd name="T97" fmla="*/ 251 h 464"/>
                <a:gd name="T98" fmla="*/ 203 w 642"/>
                <a:gd name="T99" fmla="*/ 231 h 464"/>
                <a:gd name="T100" fmla="*/ 210 w 642"/>
                <a:gd name="T101" fmla="*/ 214 h 464"/>
                <a:gd name="T102" fmla="*/ 211 w 642"/>
                <a:gd name="T103" fmla="*/ 194 h 464"/>
                <a:gd name="T104" fmla="*/ 222 w 642"/>
                <a:gd name="T105" fmla="*/ 172 h 464"/>
                <a:gd name="T106" fmla="*/ 223 w 642"/>
                <a:gd name="T107" fmla="*/ 147 h 464"/>
                <a:gd name="T108" fmla="*/ 210 w 642"/>
                <a:gd name="T109" fmla="*/ 134 h 464"/>
                <a:gd name="T110" fmla="*/ 216 w 642"/>
                <a:gd name="T111" fmla="*/ 99 h 464"/>
                <a:gd name="T112" fmla="*/ 233 w 642"/>
                <a:gd name="T113" fmla="*/ 87 h 464"/>
                <a:gd name="T114" fmla="*/ 240 w 642"/>
                <a:gd name="T115" fmla="*/ 78 h 464"/>
                <a:gd name="T116" fmla="*/ 251 w 642"/>
                <a:gd name="T117" fmla="*/ 73 h 464"/>
                <a:gd name="T118" fmla="*/ 256 w 642"/>
                <a:gd name="T119" fmla="*/ 58 h 464"/>
                <a:gd name="T120" fmla="*/ 250 w 642"/>
                <a:gd name="T121" fmla="*/ 37 h 464"/>
                <a:gd name="T122" fmla="*/ 266 w 642"/>
                <a:gd name="T123" fmla="*/ 17 h 464"/>
                <a:gd name="T124" fmla="*/ 297 w 642"/>
                <a:gd name="T125" fmla="*/ 17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42" h="464">
                  <a:moveTo>
                    <a:pt x="303" y="0"/>
                  </a:moveTo>
                  <a:lnTo>
                    <a:pt x="303" y="0"/>
                  </a:lnTo>
                  <a:lnTo>
                    <a:pt x="304" y="0"/>
                  </a:lnTo>
                  <a:lnTo>
                    <a:pt x="305" y="1"/>
                  </a:lnTo>
                  <a:lnTo>
                    <a:pt x="308" y="1"/>
                  </a:lnTo>
                  <a:lnTo>
                    <a:pt x="309" y="2"/>
                  </a:lnTo>
                  <a:lnTo>
                    <a:pt x="311" y="2"/>
                  </a:lnTo>
                  <a:lnTo>
                    <a:pt x="314" y="2"/>
                  </a:lnTo>
                  <a:lnTo>
                    <a:pt x="316" y="2"/>
                  </a:lnTo>
                  <a:lnTo>
                    <a:pt x="317" y="2"/>
                  </a:lnTo>
                  <a:lnTo>
                    <a:pt x="319" y="2"/>
                  </a:lnTo>
                  <a:lnTo>
                    <a:pt x="322" y="1"/>
                  </a:lnTo>
                  <a:lnTo>
                    <a:pt x="322" y="1"/>
                  </a:lnTo>
                  <a:lnTo>
                    <a:pt x="323" y="1"/>
                  </a:lnTo>
                  <a:lnTo>
                    <a:pt x="324" y="1"/>
                  </a:lnTo>
                  <a:lnTo>
                    <a:pt x="325" y="1"/>
                  </a:lnTo>
                  <a:lnTo>
                    <a:pt x="326" y="1"/>
                  </a:lnTo>
                  <a:lnTo>
                    <a:pt x="329" y="2"/>
                  </a:lnTo>
                  <a:lnTo>
                    <a:pt x="329" y="2"/>
                  </a:lnTo>
                  <a:lnTo>
                    <a:pt x="330" y="2"/>
                  </a:lnTo>
                  <a:lnTo>
                    <a:pt x="331" y="2"/>
                  </a:lnTo>
                  <a:lnTo>
                    <a:pt x="332" y="2"/>
                  </a:lnTo>
                  <a:lnTo>
                    <a:pt x="334" y="2"/>
                  </a:lnTo>
                  <a:lnTo>
                    <a:pt x="336" y="1"/>
                  </a:lnTo>
                  <a:lnTo>
                    <a:pt x="337" y="1"/>
                  </a:lnTo>
                  <a:lnTo>
                    <a:pt x="338" y="1"/>
                  </a:lnTo>
                  <a:lnTo>
                    <a:pt x="339" y="2"/>
                  </a:lnTo>
                  <a:lnTo>
                    <a:pt x="342" y="2"/>
                  </a:lnTo>
                  <a:lnTo>
                    <a:pt x="343" y="2"/>
                  </a:lnTo>
                  <a:lnTo>
                    <a:pt x="344" y="2"/>
                  </a:lnTo>
                  <a:lnTo>
                    <a:pt x="346" y="3"/>
                  </a:lnTo>
                  <a:lnTo>
                    <a:pt x="347" y="3"/>
                  </a:lnTo>
                  <a:lnTo>
                    <a:pt x="348" y="4"/>
                  </a:lnTo>
                  <a:lnTo>
                    <a:pt x="350" y="4"/>
                  </a:lnTo>
                  <a:lnTo>
                    <a:pt x="352" y="5"/>
                  </a:lnTo>
                  <a:lnTo>
                    <a:pt x="359" y="9"/>
                  </a:lnTo>
                  <a:lnTo>
                    <a:pt x="361" y="9"/>
                  </a:lnTo>
                  <a:lnTo>
                    <a:pt x="362" y="10"/>
                  </a:lnTo>
                  <a:lnTo>
                    <a:pt x="364" y="11"/>
                  </a:lnTo>
                  <a:lnTo>
                    <a:pt x="366" y="11"/>
                  </a:lnTo>
                  <a:lnTo>
                    <a:pt x="367" y="12"/>
                  </a:lnTo>
                  <a:lnTo>
                    <a:pt x="369" y="12"/>
                  </a:lnTo>
                  <a:lnTo>
                    <a:pt x="371" y="13"/>
                  </a:lnTo>
                  <a:lnTo>
                    <a:pt x="372" y="13"/>
                  </a:lnTo>
                  <a:lnTo>
                    <a:pt x="373" y="13"/>
                  </a:lnTo>
                  <a:lnTo>
                    <a:pt x="375" y="13"/>
                  </a:lnTo>
                  <a:lnTo>
                    <a:pt x="376" y="13"/>
                  </a:lnTo>
                  <a:lnTo>
                    <a:pt x="376" y="13"/>
                  </a:lnTo>
                  <a:lnTo>
                    <a:pt x="377" y="13"/>
                  </a:lnTo>
                  <a:lnTo>
                    <a:pt x="376" y="13"/>
                  </a:lnTo>
                  <a:lnTo>
                    <a:pt x="376" y="14"/>
                  </a:lnTo>
                  <a:lnTo>
                    <a:pt x="376" y="15"/>
                  </a:lnTo>
                  <a:lnTo>
                    <a:pt x="375" y="16"/>
                  </a:lnTo>
                  <a:lnTo>
                    <a:pt x="375" y="17"/>
                  </a:lnTo>
                  <a:lnTo>
                    <a:pt x="374" y="20"/>
                  </a:lnTo>
                  <a:lnTo>
                    <a:pt x="374" y="20"/>
                  </a:lnTo>
                  <a:lnTo>
                    <a:pt x="374" y="21"/>
                  </a:lnTo>
                  <a:lnTo>
                    <a:pt x="374" y="21"/>
                  </a:lnTo>
                  <a:lnTo>
                    <a:pt x="373" y="22"/>
                  </a:lnTo>
                  <a:lnTo>
                    <a:pt x="373" y="22"/>
                  </a:lnTo>
                  <a:lnTo>
                    <a:pt x="372" y="22"/>
                  </a:lnTo>
                  <a:lnTo>
                    <a:pt x="372" y="23"/>
                  </a:lnTo>
                  <a:lnTo>
                    <a:pt x="372" y="23"/>
                  </a:lnTo>
                  <a:lnTo>
                    <a:pt x="371" y="23"/>
                  </a:lnTo>
                  <a:lnTo>
                    <a:pt x="370" y="23"/>
                  </a:lnTo>
                  <a:lnTo>
                    <a:pt x="369" y="23"/>
                  </a:lnTo>
                  <a:lnTo>
                    <a:pt x="365" y="22"/>
                  </a:lnTo>
                  <a:lnTo>
                    <a:pt x="362" y="21"/>
                  </a:lnTo>
                  <a:lnTo>
                    <a:pt x="362" y="21"/>
                  </a:lnTo>
                  <a:lnTo>
                    <a:pt x="361" y="21"/>
                  </a:lnTo>
                  <a:lnTo>
                    <a:pt x="361" y="22"/>
                  </a:lnTo>
                  <a:lnTo>
                    <a:pt x="360" y="22"/>
                  </a:lnTo>
                  <a:lnTo>
                    <a:pt x="360" y="22"/>
                  </a:lnTo>
                  <a:lnTo>
                    <a:pt x="360" y="23"/>
                  </a:lnTo>
                  <a:lnTo>
                    <a:pt x="360" y="24"/>
                  </a:lnTo>
                  <a:lnTo>
                    <a:pt x="359" y="25"/>
                  </a:lnTo>
                  <a:lnTo>
                    <a:pt x="359" y="26"/>
                  </a:lnTo>
                  <a:lnTo>
                    <a:pt x="359" y="27"/>
                  </a:lnTo>
                  <a:lnTo>
                    <a:pt x="360" y="30"/>
                  </a:lnTo>
                  <a:lnTo>
                    <a:pt x="360" y="31"/>
                  </a:lnTo>
                  <a:lnTo>
                    <a:pt x="360" y="32"/>
                  </a:lnTo>
                  <a:lnTo>
                    <a:pt x="360" y="34"/>
                  </a:lnTo>
                  <a:lnTo>
                    <a:pt x="360" y="35"/>
                  </a:lnTo>
                  <a:lnTo>
                    <a:pt x="360" y="36"/>
                  </a:lnTo>
                  <a:lnTo>
                    <a:pt x="360" y="36"/>
                  </a:lnTo>
                  <a:lnTo>
                    <a:pt x="360" y="37"/>
                  </a:lnTo>
                  <a:lnTo>
                    <a:pt x="360" y="37"/>
                  </a:lnTo>
                  <a:lnTo>
                    <a:pt x="361" y="37"/>
                  </a:lnTo>
                  <a:lnTo>
                    <a:pt x="361" y="38"/>
                  </a:lnTo>
                  <a:lnTo>
                    <a:pt x="362" y="38"/>
                  </a:lnTo>
                  <a:lnTo>
                    <a:pt x="362" y="38"/>
                  </a:lnTo>
                  <a:lnTo>
                    <a:pt x="365" y="39"/>
                  </a:lnTo>
                  <a:lnTo>
                    <a:pt x="368" y="40"/>
                  </a:lnTo>
                  <a:lnTo>
                    <a:pt x="372" y="41"/>
                  </a:lnTo>
                  <a:lnTo>
                    <a:pt x="374" y="42"/>
                  </a:lnTo>
                  <a:lnTo>
                    <a:pt x="376" y="42"/>
                  </a:lnTo>
                  <a:lnTo>
                    <a:pt x="377" y="42"/>
                  </a:lnTo>
                  <a:lnTo>
                    <a:pt x="379" y="42"/>
                  </a:lnTo>
                  <a:lnTo>
                    <a:pt x="381" y="43"/>
                  </a:lnTo>
                  <a:lnTo>
                    <a:pt x="382" y="43"/>
                  </a:lnTo>
                  <a:lnTo>
                    <a:pt x="382" y="43"/>
                  </a:lnTo>
                  <a:lnTo>
                    <a:pt x="383" y="43"/>
                  </a:lnTo>
                  <a:lnTo>
                    <a:pt x="383" y="44"/>
                  </a:lnTo>
                  <a:lnTo>
                    <a:pt x="383" y="44"/>
                  </a:lnTo>
                  <a:lnTo>
                    <a:pt x="382" y="44"/>
                  </a:lnTo>
                  <a:lnTo>
                    <a:pt x="382" y="45"/>
                  </a:lnTo>
                  <a:lnTo>
                    <a:pt x="381" y="45"/>
                  </a:lnTo>
                  <a:lnTo>
                    <a:pt x="381" y="46"/>
                  </a:lnTo>
                  <a:lnTo>
                    <a:pt x="380" y="47"/>
                  </a:lnTo>
                  <a:lnTo>
                    <a:pt x="379" y="47"/>
                  </a:lnTo>
                  <a:lnTo>
                    <a:pt x="379" y="48"/>
                  </a:lnTo>
                  <a:lnTo>
                    <a:pt x="377" y="50"/>
                  </a:lnTo>
                  <a:lnTo>
                    <a:pt x="377" y="51"/>
                  </a:lnTo>
                  <a:lnTo>
                    <a:pt x="375" y="54"/>
                  </a:lnTo>
                  <a:lnTo>
                    <a:pt x="374" y="55"/>
                  </a:lnTo>
                  <a:lnTo>
                    <a:pt x="374" y="56"/>
                  </a:lnTo>
                  <a:lnTo>
                    <a:pt x="374" y="58"/>
                  </a:lnTo>
                  <a:lnTo>
                    <a:pt x="374" y="59"/>
                  </a:lnTo>
                  <a:lnTo>
                    <a:pt x="374" y="61"/>
                  </a:lnTo>
                  <a:lnTo>
                    <a:pt x="374" y="62"/>
                  </a:lnTo>
                  <a:lnTo>
                    <a:pt x="374" y="64"/>
                  </a:lnTo>
                  <a:lnTo>
                    <a:pt x="374" y="65"/>
                  </a:lnTo>
                  <a:lnTo>
                    <a:pt x="375" y="68"/>
                  </a:lnTo>
                  <a:lnTo>
                    <a:pt x="376" y="72"/>
                  </a:lnTo>
                  <a:lnTo>
                    <a:pt x="377" y="75"/>
                  </a:lnTo>
                  <a:lnTo>
                    <a:pt x="377" y="76"/>
                  </a:lnTo>
                  <a:lnTo>
                    <a:pt x="378" y="77"/>
                  </a:lnTo>
                  <a:lnTo>
                    <a:pt x="378" y="78"/>
                  </a:lnTo>
                  <a:lnTo>
                    <a:pt x="379" y="79"/>
                  </a:lnTo>
                  <a:lnTo>
                    <a:pt x="381" y="82"/>
                  </a:lnTo>
                  <a:lnTo>
                    <a:pt x="382" y="83"/>
                  </a:lnTo>
                  <a:lnTo>
                    <a:pt x="382" y="84"/>
                  </a:lnTo>
                  <a:lnTo>
                    <a:pt x="383" y="85"/>
                  </a:lnTo>
                  <a:lnTo>
                    <a:pt x="383" y="86"/>
                  </a:lnTo>
                  <a:lnTo>
                    <a:pt x="384" y="87"/>
                  </a:lnTo>
                  <a:lnTo>
                    <a:pt x="384" y="88"/>
                  </a:lnTo>
                  <a:lnTo>
                    <a:pt x="383" y="88"/>
                  </a:lnTo>
                  <a:lnTo>
                    <a:pt x="383" y="89"/>
                  </a:lnTo>
                  <a:lnTo>
                    <a:pt x="383" y="89"/>
                  </a:lnTo>
                  <a:lnTo>
                    <a:pt x="383" y="90"/>
                  </a:lnTo>
                  <a:lnTo>
                    <a:pt x="382" y="90"/>
                  </a:lnTo>
                  <a:lnTo>
                    <a:pt x="380" y="92"/>
                  </a:lnTo>
                  <a:lnTo>
                    <a:pt x="379" y="93"/>
                  </a:lnTo>
                  <a:lnTo>
                    <a:pt x="379" y="93"/>
                  </a:lnTo>
                  <a:lnTo>
                    <a:pt x="379" y="94"/>
                  </a:lnTo>
                  <a:lnTo>
                    <a:pt x="379" y="94"/>
                  </a:lnTo>
                  <a:lnTo>
                    <a:pt x="378" y="95"/>
                  </a:lnTo>
                  <a:lnTo>
                    <a:pt x="378" y="96"/>
                  </a:lnTo>
                  <a:lnTo>
                    <a:pt x="378" y="96"/>
                  </a:lnTo>
                  <a:lnTo>
                    <a:pt x="378" y="97"/>
                  </a:lnTo>
                  <a:lnTo>
                    <a:pt x="378" y="98"/>
                  </a:lnTo>
                  <a:lnTo>
                    <a:pt x="378" y="99"/>
                  </a:lnTo>
                  <a:lnTo>
                    <a:pt x="378" y="99"/>
                  </a:lnTo>
                  <a:lnTo>
                    <a:pt x="379" y="100"/>
                  </a:lnTo>
                  <a:lnTo>
                    <a:pt x="379" y="100"/>
                  </a:lnTo>
                  <a:lnTo>
                    <a:pt x="381" y="102"/>
                  </a:lnTo>
                  <a:lnTo>
                    <a:pt x="381" y="102"/>
                  </a:lnTo>
                  <a:lnTo>
                    <a:pt x="382" y="103"/>
                  </a:lnTo>
                  <a:lnTo>
                    <a:pt x="384" y="104"/>
                  </a:lnTo>
                  <a:lnTo>
                    <a:pt x="387" y="107"/>
                  </a:lnTo>
                  <a:lnTo>
                    <a:pt x="389" y="108"/>
                  </a:lnTo>
                  <a:lnTo>
                    <a:pt x="390" y="109"/>
                  </a:lnTo>
                  <a:lnTo>
                    <a:pt x="392" y="109"/>
                  </a:lnTo>
                  <a:lnTo>
                    <a:pt x="393" y="110"/>
                  </a:lnTo>
                  <a:lnTo>
                    <a:pt x="394" y="110"/>
                  </a:lnTo>
                  <a:lnTo>
                    <a:pt x="395" y="110"/>
                  </a:lnTo>
                  <a:lnTo>
                    <a:pt x="396" y="110"/>
                  </a:lnTo>
                  <a:lnTo>
                    <a:pt x="397" y="109"/>
                  </a:lnTo>
                  <a:lnTo>
                    <a:pt x="398" y="109"/>
                  </a:lnTo>
                  <a:lnTo>
                    <a:pt x="399" y="108"/>
                  </a:lnTo>
                  <a:lnTo>
                    <a:pt x="400" y="107"/>
                  </a:lnTo>
                  <a:lnTo>
                    <a:pt x="401" y="106"/>
                  </a:lnTo>
                  <a:lnTo>
                    <a:pt x="403" y="105"/>
                  </a:lnTo>
                  <a:lnTo>
                    <a:pt x="403" y="104"/>
                  </a:lnTo>
                  <a:lnTo>
                    <a:pt x="404" y="103"/>
                  </a:lnTo>
                  <a:lnTo>
                    <a:pt x="405" y="102"/>
                  </a:lnTo>
                  <a:lnTo>
                    <a:pt x="405" y="100"/>
                  </a:lnTo>
                  <a:lnTo>
                    <a:pt x="406" y="97"/>
                  </a:lnTo>
                  <a:lnTo>
                    <a:pt x="407" y="95"/>
                  </a:lnTo>
                  <a:lnTo>
                    <a:pt x="408" y="94"/>
                  </a:lnTo>
                  <a:lnTo>
                    <a:pt x="409" y="92"/>
                  </a:lnTo>
                  <a:lnTo>
                    <a:pt x="410" y="91"/>
                  </a:lnTo>
                  <a:lnTo>
                    <a:pt x="410" y="91"/>
                  </a:lnTo>
                  <a:lnTo>
                    <a:pt x="410" y="90"/>
                  </a:lnTo>
                  <a:lnTo>
                    <a:pt x="410" y="90"/>
                  </a:lnTo>
                  <a:lnTo>
                    <a:pt x="410" y="89"/>
                  </a:lnTo>
                  <a:lnTo>
                    <a:pt x="410" y="88"/>
                  </a:lnTo>
                  <a:lnTo>
                    <a:pt x="410" y="88"/>
                  </a:lnTo>
                  <a:lnTo>
                    <a:pt x="410" y="87"/>
                  </a:lnTo>
                  <a:lnTo>
                    <a:pt x="409" y="86"/>
                  </a:lnTo>
                  <a:lnTo>
                    <a:pt x="409" y="85"/>
                  </a:lnTo>
                  <a:lnTo>
                    <a:pt x="408" y="83"/>
                  </a:lnTo>
                  <a:lnTo>
                    <a:pt x="407" y="82"/>
                  </a:lnTo>
                  <a:lnTo>
                    <a:pt x="407" y="81"/>
                  </a:lnTo>
                  <a:lnTo>
                    <a:pt x="406" y="80"/>
                  </a:lnTo>
                  <a:lnTo>
                    <a:pt x="406" y="79"/>
                  </a:lnTo>
                  <a:lnTo>
                    <a:pt x="406" y="78"/>
                  </a:lnTo>
                  <a:lnTo>
                    <a:pt x="405" y="77"/>
                  </a:lnTo>
                  <a:lnTo>
                    <a:pt x="405" y="77"/>
                  </a:lnTo>
                  <a:lnTo>
                    <a:pt x="400" y="72"/>
                  </a:lnTo>
                  <a:lnTo>
                    <a:pt x="399" y="72"/>
                  </a:lnTo>
                  <a:lnTo>
                    <a:pt x="399" y="71"/>
                  </a:lnTo>
                  <a:lnTo>
                    <a:pt x="399" y="71"/>
                  </a:lnTo>
                  <a:lnTo>
                    <a:pt x="398" y="70"/>
                  </a:lnTo>
                  <a:lnTo>
                    <a:pt x="398" y="69"/>
                  </a:lnTo>
                  <a:lnTo>
                    <a:pt x="397" y="69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397" y="67"/>
                  </a:lnTo>
                  <a:lnTo>
                    <a:pt x="397" y="67"/>
                  </a:lnTo>
                  <a:lnTo>
                    <a:pt x="398" y="67"/>
                  </a:lnTo>
                  <a:lnTo>
                    <a:pt x="399" y="65"/>
                  </a:lnTo>
                  <a:lnTo>
                    <a:pt x="401" y="64"/>
                  </a:lnTo>
                  <a:lnTo>
                    <a:pt x="402" y="63"/>
                  </a:lnTo>
                  <a:lnTo>
                    <a:pt x="403" y="62"/>
                  </a:lnTo>
                  <a:lnTo>
                    <a:pt x="405" y="61"/>
                  </a:lnTo>
                  <a:lnTo>
                    <a:pt x="406" y="60"/>
                  </a:lnTo>
                  <a:lnTo>
                    <a:pt x="408" y="60"/>
                  </a:lnTo>
                  <a:lnTo>
                    <a:pt x="409" y="60"/>
                  </a:lnTo>
                  <a:lnTo>
                    <a:pt x="410" y="60"/>
                  </a:lnTo>
                  <a:lnTo>
                    <a:pt x="411" y="60"/>
                  </a:lnTo>
                  <a:lnTo>
                    <a:pt x="412" y="60"/>
                  </a:lnTo>
                  <a:lnTo>
                    <a:pt x="414" y="60"/>
                  </a:lnTo>
                  <a:lnTo>
                    <a:pt x="416" y="61"/>
                  </a:lnTo>
                  <a:lnTo>
                    <a:pt x="418" y="61"/>
                  </a:lnTo>
                  <a:lnTo>
                    <a:pt x="419" y="61"/>
                  </a:lnTo>
                  <a:lnTo>
                    <a:pt x="420" y="62"/>
                  </a:lnTo>
                  <a:lnTo>
                    <a:pt x="420" y="62"/>
                  </a:lnTo>
                  <a:lnTo>
                    <a:pt x="421" y="63"/>
                  </a:lnTo>
                  <a:lnTo>
                    <a:pt x="422" y="64"/>
                  </a:lnTo>
                  <a:lnTo>
                    <a:pt x="423" y="65"/>
                  </a:lnTo>
                  <a:lnTo>
                    <a:pt x="423" y="66"/>
                  </a:lnTo>
                  <a:lnTo>
                    <a:pt x="424" y="67"/>
                  </a:lnTo>
                  <a:lnTo>
                    <a:pt x="425" y="69"/>
                  </a:lnTo>
                  <a:lnTo>
                    <a:pt x="425" y="70"/>
                  </a:lnTo>
                  <a:lnTo>
                    <a:pt x="426" y="71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9" y="74"/>
                  </a:lnTo>
                  <a:lnTo>
                    <a:pt x="430" y="75"/>
                  </a:lnTo>
                  <a:lnTo>
                    <a:pt x="430" y="76"/>
                  </a:lnTo>
                  <a:lnTo>
                    <a:pt x="430" y="77"/>
                  </a:lnTo>
                  <a:lnTo>
                    <a:pt x="431" y="78"/>
                  </a:lnTo>
                  <a:lnTo>
                    <a:pt x="432" y="79"/>
                  </a:lnTo>
                  <a:lnTo>
                    <a:pt x="432" y="80"/>
                  </a:lnTo>
                  <a:lnTo>
                    <a:pt x="433" y="81"/>
                  </a:lnTo>
                  <a:lnTo>
                    <a:pt x="434" y="83"/>
                  </a:lnTo>
                  <a:lnTo>
                    <a:pt x="435" y="87"/>
                  </a:lnTo>
                  <a:lnTo>
                    <a:pt x="435" y="90"/>
                  </a:lnTo>
                  <a:lnTo>
                    <a:pt x="436" y="90"/>
                  </a:lnTo>
                  <a:lnTo>
                    <a:pt x="436" y="91"/>
                  </a:lnTo>
                  <a:lnTo>
                    <a:pt x="437" y="92"/>
                  </a:lnTo>
                  <a:lnTo>
                    <a:pt x="437" y="93"/>
                  </a:lnTo>
                  <a:lnTo>
                    <a:pt x="438" y="94"/>
                  </a:lnTo>
                  <a:lnTo>
                    <a:pt x="440" y="95"/>
                  </a:lnTo>
                  <a:lnTo>
                    <a:pt x="440" y="95"/>
                  </a:lnTo>
                  <a:lnTo>
                    <a:pt x="441" y="96"/>
                  </a:lnTo>
                  <a:lnTo>
                    <a:pt x="441" y="97"/>
                  </a:lnTo>
                  <a:lnTo>
                    <a:pt x="441" y="97"/>
                  </a:lnTo>
                  <a:lnTo>
                    <a:pt x="443" y="100"/>
                  </a:lnTo>
                  <a:lnTo>
                    <a:pt x="443" y="101"/>
                  </a:lnTo>
                  <a:lnTo>
                    <a:pt x="444" y="101"/>
                  </a:lnTo>
                  <a:lnTo>
                    <a:pt x="444" y="102"/>
                  </a:lnTo>
                  <a:lnTo>
                    <a:pt x="445" y="104"/>
                  </a:lnTo>
                  <a:lnTo>
                    <a:pt x="446" y="104"/>
                  </a:lnTo>
                  <a:lnTo>
                    <a:pt x="447" y="105"/>
                  </a:lnTo>
                  <a:lnTo>
                    <a:pt x="447" y="105"/>
                  </a:lnTo>
                  <a:lnTo>
                    <a:pt x="448" y="106"/>
                  </a:lnTo>
                  <a:lnTo>
                    <a:pt x="448" y="106"/>
                  </a:lnTo>
                  <a:lnTo>
                    <a:pt x="448" y="106"/>
                  </a:lnTo>
                  <a:lnTo>
                    <a:pt x="449" y="106"/>
                  </a:lnTo>
                  <a:lnTo>
                    <a:pt x="449" y="106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1" y="106"/>
                  </a:lnTo>
                  <a:lnTo>
                    <a:pt x="451" y="105"/>
                  </a:lnTo>
                  <a:lnTo>
                    <a:pt x="452" y="104"/>
                  </a:lnTo>
                  <a:lnTo>
                    <a:pt x="452" y="103"/>
                  </a:lnTo>
                  <a:lnTo>
                    <a:pt x="453" y="103"/>
                  </a:lnTo>
                  <a:lnTo>
                    <a:pt x="453" y="103"/>
                  </a:lnTo>
                  <a:lnTo>
                    <a:pt x="453" y="103"/>
                  </a:lnTo>
                  <a:lnTo>
                    <a:pt x="454" y="103"/>
                  </a:lnTo>
                  <a:lnTo>
                    <a:pt x="454" y="103"/>
                  </a:lnTo>
                  <a:lnTo>
                    <a:pt x="454" y="104"/>
                  </a:lnTo>
                  <a:lnTo>
                    <a:pt x="454" y="104"/>
                  </a:lnTo>
                  <a:lnTo>
                    <a:pt x="454" y="105"/>
                  </a:lnTo>
                  <a:lnTo>
                    <a:pt x="455" y="107"/>
                  </a:lnTo>
                  <a:lnTo>
                    <a:pt x="454" y="108"/>
                  </a:lnTo>
                  <a:lnTo>
                    <a:pt x="454" y="110"/>
                  </a:lnTo>
                  <a:lnTo>
                    <a:pt x="454" y="111"/>
                  </a:lnTo>
                  <a:lnTo>
                    <a:pt x="454" y="113"/>
                  </a:lnTo>
                  <a:lnTo>
                    <a:pt x="453" y="116"/>
                  </a:lnTo>
                  <a:lnTo>
                    <a:pt x="453" y="119"/>
                  </a:lnTo>
                  <a:lnTo>
                    <a:pt x="452" y="121"/>
                  </a:lnTo>
                  <a:lnTo>
                    <a:pt x="452" y="121"/>
                  </a:lnTo>
                  <a:lnTo>
                    <a:pt x="452" y="122"/>
                  </a:lnTo>
                  <a:lnTo>
                    <a:pt x="452" y="122"/>
                  </a:lnTo>
                  <a:lnTo>
                    <a:pt x="453" y="123"/>
                  </a:lnTo>
                  <a:lnTo>
                    <a:pt x="453" y="123"/>
                  </a:lnTo>
                  <a:lnTo>
                    <a:pt x="453" y="123"/>
                  </a:lnTo>
                  <a:lnTo>
                    <a:pt x="454" y="124"/>
                  </a:lnTo>
                  <a:lnTo>
                    <a:pt x="454" y="124"/>
                  </a:lnTo>
                  <a:lnTo>
                    <a:pt x="455" y="125"/>
                  </a:lnTo>
                  <a:lnTo>
                    <a:pt x="458" y="126"/>
                  </a:lnTo>
                  <a:lnTo>
                    <a:pt x="459" y="127"/>
                  </a:lnTo>
                  <a:lnTo>
                    <a:pt x="461" y="128"/>
                  </a:lnTo>
                  <a:lnTo>
                    <a:pt x="463" y="128"/>
                  </a:lnTo>
                  <a:lnTo>
                    <a:pt x="465" y="129"/>
                  </a:lnTo>
                  <a:lnTo>
                    <a:pt x="468" y="130"/>
                  </a:lnTo>
                  <a:lnTo>
                    <a:pt x="469" y="131"/>
                  </a:lnTo>
                  <a:lnTo>
                    <a:pt x="471" y="131"/>
                  </a:lnTo>
                  <a:lnTo>
                    <a:pt x="473" y="132"/>
                  </a:lnTo>
                  <a:lnTo>
                    <a:pt x="474" y="133"/>
                  </a:lnTo>
                  <a:lnTo>
                    <a:pt x="475" y="134"/>
                  </a:lnTo>
                  <a:lnTo>
                    <a:pt x="478" y="136"/>
                  </a:lnTo>
                  <a:lnTo>
                    <a:pt x="479" y="137"/>
                  </a:lnTo>
                  <a:lnTo>
                    <a:pt x="480" y="138"/>
                  </a:lnTo>
                  <a:lnTo>
                    <a:pt x="480" y="138"/>
                  </a:lnTo>
                  <a:lnTo>
                    <a:pt x="481" y="139"/>
                  </a:lnTo>
                  <a:lnTo>
                    <a:pt x="481" y="140"/>
                  </a:lnTo>
                  <a:lnTo>
                    <a:pt x="481" y="141"/>
                  </a:lnTo>
                  <a:lnTo>
                    <a:pt x="483" y="146"/>
                  </a:lnTo>
                  <a:lnTo>
                    <a:pt x="484" y="149"/>
                  </a:lnTo>
                  <a:lnTo>
                    <a:pt x="484" y="150"/>
                  </a:lnTo>
                  <a:lnTo>
                    <a:pt x="486" y="153"/>
                  </a:lnTo>
                  <a:lnTo>
                    <a:pt x="488" y="158"/>
                  </a:lnTo>
                  <a:lnTo>
                    <a:pt x="488" y="160"/>
                  </a:lnTo>
                  <a:lnTo>
                    <a:pt x="484" y="166"/>
                  </a:lnTo>
                  <a:lnTo>
                    <a:pt x="483" y="168"/>
                  </a:lnTo>
                  <a:lnTo>
                    <a:pt x="483" y="170"/>
                  </a:lnTo>
                  <a:lnTo>
                    <a:pt x="483" y="171"/>
                  </a:lnTo>
                  <a:lnTo>
                    <a:pt x="482" y="172"/>
                  </a:lnTo>
                  <a:lnTo>
                    <a:pt x="482" y="173"/>
                  </a:lnTo>
                  <a:lnTo>
                    <a:pt x="482" y="174"/>
                  </a:lnTo>
                  <a:lnTo>
                    <a:pt x="482" y="175"/>
                  </a:lnTo>
                  <a:lnTo>
                    <a:pt x="482" y="176"/>
                  </a:lnTo>
                  <a:lnTo>
                    <a:pt x="483" y="179"/>
                  </a:lnTo>
                  <a:lnTo>
                    <a:pt x="483" y="181"/>
                  </a:lnTo>
                  <a:lnTo>
                    <a:pt x="483" y="182"/>
                  </a:lnTo>
                  <a:lnTo>
                    <a:pt x="483" y="186"/>
                  </a:lnTo>
                  <a:lnTo>
                    <a:pt x="483" y="187"/>
                  </a:lnTo>
                  <a:lnTo>
                    <a:pt x="484" y="188"/>
                  </a:lnTo>
                  <a:lnTo>
                    <a:pt x="484" y="189"/>
                  </a:lnTo>
                  <a:lnTo>
                    <a:pt x="485" y="191"/>
                  </a:lnTo>
                  <a:lnTo>
                    <a:pt x="487" y="195"/>
                  </a:lnTo>
                  <a:lnTo>
                    <a:pt x="488" y="198"/>
                  </a:lnTo>
                  <a:lnTo>
                    <a:pt x="488" y="199"/>
                  </a:lnTo>
                  <a:lnTo>
                    <a:pt x="488" y="199"/>
                  </a:lnTo>
                  <a:lnTo>
                    <a:pt x="488" y="200"/>
                  </a:lnTo>
                  <a:lnTo>
                    <a:pt x="488" y="201"/>
                  </a:lnTo>
                  <a:lnTo>
                    <a:pt x="488" y="202"/>
                  </a:lnTo>
                  <a:lnTo>
                    <a:pt x="488" y="203"/>
                  </a:lnTo>
                  <a:lnTo>
                    <a:pt x="488" y="204"/>
                  </a:lnTo>
                  <a:lnTo>
                    <a:pt x="488" y="204"/>
                  </a:lnTo>
                  <a:lnTo>
                    <a:pt x="488" y="205"/>
                  </a:lnTo>
                  <a:lnTo>
                    <a:pt x="489" y="205"/>
                  </a:lnTo>
                  <a:lnTo>
                    <a:pt x="489" y="205"/>
                  </a:lnTo>
                  <a:lnTo>
                    <a:pt x="490" y="205"/>
                  </a:lnTo>
                  <a:lnTo>
                    <a:pt x="491" y="205"/>
                  </a:lnTo>
                  <a:lnTo>
                    <a:pt x="493" y="205"/>
                  </a:lnTo>
                  <a:lnTo>
                    <a:pt x="495" y="205"/>
                  </a:lnTo>
                  <a:lnTo>
                    <a:pt x="496" y="205"/>
                  </a:lnTo>
                  <a:lnTo>
                    <a:pt x="497" y="205"/>
                  </a:lnTo>
                  <a:lnTo>
                    <a:pt x="498" y="205"/>
                  </a:lnTo>
                  <a:lnTo>
                    <a:pt x="499" y="205"/>
                  </a:lnTo>
                  <a:lnTo>
                    <a:pt x="499" y="205"/>
                  </a:lnTo>
                  <a:lnTo>
                    <a:pt x="500" y="206"/>
                  </a:lnTo>
                  <a:lnTo>
                    <a:pt x="500" y="206"/>
                  </a:lnTo>
                  <a:lnTo>
                    <a:pt x="500" y="207"/>
                  </a:lnTo>
                  <a:lnTo>
                    <a:pt x="501" y="207"/>
                  </a:lnTo>
                  <a:lnTo>
                    <a:pt x="501" y="208"/>
                  </a:lnTo>
                  <a:lnTo>
                    <a:pt x="501" y="209"/>
                  </a:lnTo>
                  <a:lnTo>
                    <a:pt x="501" y="210"/>
                  </a:lnTo>
                  <a:lnTo>
                    <a:pt x="501" y="211"/>
                  </a:lnTo>
                  <a:lnTo>
                    <a:pt x="501" y="212"/>
                  </a:lnTo>
                  <a:lnTo>
                    <a:pt x="500" y="213"/>
                  </a:lnTo>
                  <a:lnTo>
                    <a:pt x="500" y="214"/>
                  </a:lnTo>
                  <a:lnTo>
                    <a:pt x="499" y="216"/>
                  </a:lnTo>
                  <a:lnTo>
                    <a:pt x="499" y="217"/>
                  </a:lnTo>
                  <a:lnTo>
                    <a:pt x="498" y="218"/>
                  </a:lnTo>
                  <a:lnTo>
                    <a:pt x="498" y="219"/>
                  </a:lnTo>
                  <a:lnTo>
                    <a:pt x="497" y="220"/>
                  </a:lnTo>
                  <a:lnTo>
                    <a:pt x="497" y="221"/>
                  </a:lnTo>
                  <a:lnTo>
                    <a:pt x="497" y="221"/>
                  </a:lnTo>
                  <a:lnTo>
                    <a:pt x="495" y="222"/>
                  </a:lnTo>
                  <a:lnTo>
                    <a:pt x="493" y="224"/>
                  </a:lnTo>
                  <a:lnTo>
                    <a:pt x="491" y="226"/>
                  </a:lnTo>
                  <a:lnTo>
                    <a:pt x="490" y="226"/>
                  </a:lnTo>
                  <a:lnTo>
                    <a:pt x="489" y="227"/>
                  </a:lnTo>
                  <a:lnTo>
                    <a:pt x="488" y="227"/>
                  </a:lnTo>
                  <a:lnTo>
                    <a:pt x="488" y="229"/>
                  </a:lnTo>
                  <a:lnTo>
                    <a:pt x="487" y="230"/>
                  </a:lnTo>
                  <a:lnTo>
                    <a:pt x="486" y="231"/>
                  </a:lnTo>
                  <a:lnTo>
                    <a:pt x="484" y="235"/>
                  </a:lnTo>
                  <a:lnTo>
                    <a:pt x="483" y="236"/>
                  </a:lnTo>
                  <a:lnTo>
                    <a:pt x="483" y="237"/>
                  </a:lnTo>
                  <a:lnTo>
                    <a:pt x="482" y="238"/>
                  </a:lnTo>
                  <a:lnTo>
                    <a:pt x="481" y="239"/>
                  </a:lnTo>
                  <a:lnTo>
                    <a:pt x="481" y="239"/>
                  </a:lnTo>
                  <a:lnTo>
                    <a:pt x="479" y="241"/>
                  </a:lnTo>
                  <a:lnTo>
                    <a:pt x="479" y="241"/>
                  </a:lnTo>
                  <a:lnTo>
                    <a:pt x="478" y="241"/>
                  </a:lnTo>
                  <a:lnTo>
                    <a:pt x="478" y="242"/>
                  </a:lnTo>
                  <a:lnTo>
                    <a:pt x="478" y="243"/>
                  </a:lnTo>
                  <a:lnTo>
                    <a:pt x="477" y="244"/>
                  </a:lnTo>
                  <a:lnTo>
                    <a:pt x="477" y="245"/>
                  </a:lnTo>
                  <a:lnTo>
                    <a:pt x="477" y="246"/>
                  </a:lnTo>
                  <a:lnTo>
                    <a:pt x="477" y="247"/>
                  </a:lnTo>
                  <a:lnTo>
                    <a:pt x="478" y="249"/>
                  </a:lnTo>
                  <a:lnTo>
                    <a:pt x="478" y="250"/>
                  </a:lnTo>
                  <a:lnTo>
                    <a:pt x="478" y="250"/>
                  </a:lnTo>
                  <a:lnTo>
                    <a:pt x="478" y="250"/>
                  </a:lnTo>
                  <a:lnTo>
                    <a:pt x="479" y="251"/>
                  </a:lnTo>
                  <a:lnTo>
                    <a:pt x="479" y="251"/>
                  </a:lnTo>
                  <a:lnTo>
                    <a:pt x="480" y="251"/>
                  </a:lnTo>
                  <a:lnTo>
                    <a:pt x="481" y="251"/>
                  </a:lnTo>
                  <a:lnTo>
                    <a:pt x="482" y="252"/>
                  </a:lnTo>
                  <a:lnTo>
                    <a:pt x="483" y="252"/>
                  </a:lnTo>
                  <a:lnTo>
                    <a:pt x="484" y="251"/>
                  </a:lnTo>
                  <a:lnTo>
                    <a:pt x="485" y="251"/>
                  </a:lnTo>
                  <a:lnTo>
                    <a:pt x="486" y="251"/>
                  </a:lnTo>
                  <a:lnTo>
                    <a:pt x="488" y="251"/>
                  </a:lnTo>
                  <a:lnTo>
                    <a:pt x="490" y="250"/>
                  </a:lnTo>
                  <a:lnTo>
                    <a:pt x="497" y="247"/>
                  </a:lnTo>
                  <a:lnTo>
                    <a:pt x="499" y="247"/>
                  </a:lnTo>
                  <a:lnTo>
                    <a:pt x="500" y="246"/>
                  </a:lnTo>
                  <a:lnTo>
                    <a:pt x="501" y="246"/>
                  </a:lnTo>
                  <a:lnTo>
                    <a:pt x="502" y="246"/>
                  </a:lnTo>
                  <a:lnTo>
                    <a:pt x="503" y="246"/>
                  </a:lnTo>
                  <a:lnTo>
                    <a:pt x="504" y="246"/>
                  </a:lnTo>
                  <a:lnTo>
                    <a:pt x="505" y="246"/>
                  </a:lnTo>
                  <a:lnTo>
                    <a:pt x="505" y="246"/>
                  </a:lnTo>
                  <a:lnTo>
                    <a:pt x="506" y="247"/>
                  </a:lnTo>
                  <a:lnTo>
                    <a:pt x="506" y="247"/>
                  </a:lnTo>
                  <a:lnTo>
                    <a:pt x="507" y="248"/>
                  </a:lnTo>
                  <a:lnTo>
                    <a:pt x="507" y="249"/>
                  </a:lnTo>
                  <a:lnTo>
                    <a:pt x="509" y="250"/>
                  </a:lnTo>
                  <a:lnTo>
                    <a:pt x="510" y="252"/>
                  </a:lnTo>
                  <a:lnTo>
                    <a:pt x="510" y="253"/>
                  </a:lnTo>
                  <a:lnTo>
                    <a:pt x="511" y="254"/>
                  </a:lnTo>
                  <a:lnTo>
                    <a:pt x="511" y="256"/>
                  </a:lnTo>
                  <a:lnTo>
                    <a:pt x="511" y="256"/>
                  </a:lnTo>
                  <a:lnTo>
                    <a:pt x="511" y="258"/>
                  </a:lnTo>
                  <a:lnTo>
                    <a:pt x="511" y="259"/>
                  </a:lnTo>
                  <a:lnTo>
                    <a:pt x="511" y="260"/>
                  </a:lnTo>
                  <a:lnTo>
                    <a:pt x="511" y="264"/>
                  </a:lnTo>
                  <a:lnTo>
                    <a:pt x="511" y="265"/>
                  </a:lnTo>
                  <a:lnTo>
                    <a:pt x="511" y="266"/>
                  </a:lnTo>
                  <a:lnTo>
                    <a:pt x="511" y="267"/>
                  </a:lnTo>
                  <a:lnTo>
                    <a:pt x="511" y="267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3" y="269"/>
                  </a:lnTo>
                  <a:lnTo>
                    <a:pt x="516" y="269"/>
                  </a:lnTo>
                  <a:lnTo>
                    <a:pt x="517" y="270"/>
                  </a:lnTo>
                  <a:lnTo>
                    <a:pt x="517" y="270"/>
                  </a:lnTo>
                  <a:lnTo>
                    <a:pt x="518" y="270"/>
                  </a:lnTo>
                  <a:lnTo>
                    <a:pt x="520" y="271"/>
                  </a:lnTo>
                  <a:lnTo>
                    <a:pt x="522" y="272"/>
                  </a:lnTo>
                  <a:lnTo>
                    <a:pt x="522" y="272"/>
                  </a:lnTo>
                  <a:lnTo>
                    <a:pt x="523" y="273"/>
                  </a:lnTo>
                  <a:lnTo>
                    <a:pt x="524" y="273"/>
                  </a:lnTo>
                  <a:lnTo>
                    <a:pt x="525" y="274"/>
                  </a:lnTo>
                  <a:lnTo>
                    <a:pt x="527" y="276"/>
                  </a:lnTo>
                  <a:lnTo>
                    <a:pt x="527" y="276"/>
                  </a:lnTo>
                  <a:lnTo>
                    <a:pt x="528" y="277"/>
                  </a:lnTo>
                  <a:lnTo>
                    <a:pt x="529" y="277"/>
                  </a:lnTo>
                  <a:lnTo>
                    <a:pt x="529" y="277"/>
                  </a:lnTo>
                  <a:lnTo>
                    <a:pt x="531" y="278"/>
                  </a:lnTo>
                  <a:lnTo>
                    <a:pt x="536" y="278"/>
                  </a:lnTo>
                  <a:lnTo>
                    <a:pt x="539" y="279"/>
                  </a:lnTo>
                  <a:lnTo>
                    <a:pt x="544" y="280"/>
                  </a:lnTo>
                  <a:lnTo>
                    <a:pt x="545" y="280"/>
                  </a:lnTo>
                  <a:lnTo>
                    <a:pt x="546" y="280"/>
                  </a:lnTo>
                  <a:lnTo>
                    <a:pt x="546" y="281"/>
                  </a:lnTo>
                  <a:lnTo>
                    <a:pt x="547" y="281"/>
                  </a:lnTo>
                  <a:lnTo>
                    <a:pt x="549" y="282"/>
                  </a:lnTo>
                  <a:lnTo>
                    <a:pt x="550" y="283"/>
                  </a:lnTo>
                  <a:lnTo>
                    <a:pt x="550" y="284"/>
                  </a:lnTo>
                  <a:lnTo>
                    <a:pt x="551" y="284"/>
                  </a:lnTo>
                  <a:lnTo>
                    <a:pt x="551" y="284"/>
                  </a:lnTo>
                  <a:lnTo>
                    <a:pt x="551" y="285"/>
                  </a:lnTo>
                  <a:lnTo>
                    <a:pt x="551" y="287"/>
                  </a:lnTo>
                  <a:lnTo>
                    <a:pt x="552" y="288"/>
                  </a:lnTo>
                  <a:lnTo>
                    <a:pt x="552" y="291"/>
                  </a:lnTo>
                  <a:lnTo>
                    <a:pt x="552" y="292"/>
                  </a:lnTo>
                  <a:lnTo>
                    <a:pt x="552" y="292"/>
                  </a:lnTo>
                  <a:lnTo>
                    <a:pt x="553" y="293"/>
                  </a:lnTo>
                  <a:lnTo>
                    <a:pt x="553" y="294"/>
                  </a:lnTo>
                  <a:lnTo>
                    <a:pt x="553" y="294"/>
                  </a:lnTo>
                  <a:lnTo>
                    <a:pt x="554" y="294"/>
                  </a:lnTo>
                  <a:lnTo>
                    <a:pt x="554" y="294"/>
                  </a:lnTo>
                  <a:lnTo>
                    <a:pt x="555" y="295"/>
                  </a:lnTo>
                  <a:lnTo>
                    <a:pt x="556" y="295"/>
                  </a:lnTo>
                  <a:lnTo>
                    <a:pt x="558" y="295"/>
                  </a:lnTo>
                  <a:lnTo>
                    <a:pt x="560" y="295"/>
                  </a:lnTo>
                  <a:lnTo>
                    <a:pt x="561" y="296"/>
                  </a:lnTo>
                  <a:lnTo>
                    <a:pt x="562" y="296"/>
                  </a:lnTo>
                  <a:lnTo>
                    <a:pt x="563" y="296"/>
                  </a:lnTo>
                  <a:lnTo>
                    <a:pt x="563" y="297"/>
                  </a:lnTo>
                  <a:lnTo>
                    <a:pt x="564" y="297"/>
                  </a:lnTo>
                  <a:lnTo>
                    <a:pt x="570" y="301"/>
                  </a:lnTo>
                  <a:lnTo>
                    <a:pt x="571" y="302"/>
                  </a:lnTo>
                  <a:lnTo>
                    <a:pt x="572" y="303"/>
                  </a:lnTo>
                  <a:lnTo>
                    <a:pt x="574" y="304"/>
                  </a:lnTo>
                  <a:lnTo>
                    <a:pt x="575" y="304"/>
                  </a:lnTo>
                  <a:lnTo>
                    <a:pt x="575" y="304"/>
                  </a:lnTo>
                  <a:lnTo>
                    <a:pt x="576" y="304"/>
                  </a:lnTo>
                  <a:lnTo>
                    <a:pt x="577" y="305"/>
                  </a:lnTo>
                  <a:lnTo>
                    <a:pt x="578" y="304"/>
                  </a:lnTo>
                  <a:lnTo>
                    <a:pt x="579" y="304"/>
                  </a:lnTo>
                  <a:lnTo>
                    <a:pt x="580" y="304"/>
                  </a:lnTo>
                  <a:lnTo>
                    <a:pt x="584" y="303"/>
                  </a:lnTo>
                  <a:lnTo>
                    <a:pt x="586" y="303"/>
                  </a:lnTo>
                  <a:lnTo>
                    <a:pt x="587" y="303"/>
                  </a:lnTo>
                  <a:lnTo>
                    <a:pt x="590" y="303"/>
                  </a:lnTo>
                  <a:lnTo>
                    <a:pt x="594" y="302"/>
                  </a:lnTo>
                  <a:lnTo>
                    <a:pt x="594" y="302"/>
                  </a:lnTo>
                  <a:lnTo>
                    <a:pt x="595" y="302"/>
                  </a:lnTo>
                  <a:lnTo>
                    <a:pt x="596" y="302"/>
                  </a:lnTo>
                  <a:lnTo>
                    <a:pt x="596" y="302"/>
                  </a:lnTo>
                  <a:lnTo>
                    <a:pt x="597" y="303"/>
                  </a:lnTo>
                  <a:lnTo>
                    <a:pt x="600" y="304"/>
                  </a:lnTo>
                  <a:lnTo>
                    <a:pt x="602" y="304"/>
                  </a:lnTo>
                  <a:lnTo>
                    <a:pt x="603" y="305"/>
                  </a:lnTo>
                  <a:lnTo>
                    <a:pt x="604" y="305"/>
                  </a:lnTo>
                  <a:lnTo>
                    <a:pt x="605" y="306"/>
                  </a:lnTo>
                  <a:lnTo>
                    <a:pt x="607" y="307"/>
                  </a:lnTo>
                  <a:lnTo>
                    <a:pt x="608" y="308"/>
                  </a:lnTo>
                  <a:lnTo>
                    <a:pt x="608" y="308"/>
                  </a:lnTo>
                  <a:lnTo>
                    <a:pt x="608" y="309"/>
                  </a:lnTo>
                  <a:lnTo>
                    <a:pt x="609" y="309"/>
                  </a:lnTo>
                  <a:lnTo>
                    <a:pt x="609" y="310"/>
                  </a:lnTo>
                  <a:lnTo>
                    <a:pt x="609" y="310"/>
                  </a:lnTo>
                  <a:lnTo>
                    <a:pt x="609" y="311"/>
                  </a:lnTo>
                  <a:lnTo>
                    <a:pt x="610" y="312"/>
                  </a:lnTo>
                  <a:lnTo>
                    <a:pt x="610" y="313"/>
                  </a:lnTo>
                  <a:lnTo>
                    <a:pt x="610" y="315"/>
                  </a:lnTo>
                  <a:lnTo>
                    <a:pt x="610" y="316"/>
                  </a:lnTo>
                  <a:lnTo>
                    <a:pt x="610" y="317"/>
                  </a:lnTo>
                  <a:lnTo>
                    <a:pt x="611" y="317"/>
                  </a:lnTo>
                  <a:lnTo>
                    <a:pt x="611" y="318"/>
                  </a:lnTo>
                  <a:lnTo>
                    <a:pt x="611" y="318"/>
                  </a:lnTo>
                  <a:lnTo>
                    <a:pt x="612" y="319"/>
                  </a:lnTo>
                  <a:lnTo>
                    <a:pt x="612" y="319"/>
                  </a:lnTo>
                  <a:lnTo>
                    <a:pt x="613" y="319"/>
                  </a:lnTo>
                  <a:lnTo>
                    <a:pt x="614" y="320"/>
                  </a:lnTo>
                  <a:lnTo>
                    <a:pt x="616" y="321"/>
                  </a:lnTo>
                  <a:lnTo>
                    <a:pt x="617" y="321"/>
                  </a:lnTo>
                  <a:lnTo>
                    <a:pt x="624" y="324"/>
                  </a:lnTo>
                  <a:lnTo>
                    <a:pt x="625" y="325"/>
                  </a:lnTo>
                  <a:lnTo>
                    <a:pt x="626" y="326"/>
                  </a:lnTo>
                  <a:lnTo>
                    <a:pt x="627" y="327"/>
                  </a:lnTo>
                  <a:lnTo>
                    <a:pt x="628" y="328"/>
                  </a:lnTo>
                  <a:lnTo>
                    <a:pt x="630" y="329"/>
                  </a:lnTo>
                  <a:lnTo>
                    <a:pt x="631" y="330"/>
                  </a:lnTo>
                  <a:lnTo>
                    <a:pt x="632" y="332"/>
                  </a:lnTo>
                  <a:lnTo>
                    <a:pt x="635" y="337"/>
                  </a:lnTo>
                  <a:lnTo>
                    <a:pt x="638" y="340"/>
                  </a:lnTo>
                  <a:lnTo>
                    <a:pt x="638" y="341"/>
                  </a:lnTo>
                  <a:lnTo>
                    <a:pt x="639" y="342"/>
                  </a:lnTo>
                  <a:lnTo>
                    <a:pt x="639" y="343"/>
                  </a:lnTo>
                  <a:lnTo>
                    <a:pt x="641" y="346"/>
                  </a:lnTo>
                  <a:lnTo>
                    <a:pt x="641" y="348"/>
                  </a:lnTo>
                  <a:lnTo>
                    <a:pt x="642" y="349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1" y="350"/>
                  </a:lnTo>
                  <a:lnTo>
                    <a:pt x="641" y="350"/>
                  </a:lnTo>
                  <a:lnTo>
                    <a:pt x="640" y="350"/>
                  </a:lnTo>
                  <a:lnTo>
                    <a:pt x="638" y="351"/>
                  </a:lnTo>
                  <a:lnTo>
                    <a:pt x="635" y="354"/>
                  </a:lnTo>
                  <a:lnTo>
                    <a:pt x="630" y="357"/>
                  </a:lnTo>
                  <a:lnTo>
                    <a:pt x="629" y="358"/>
                  </a:lnTo>
                  <a:lnTo>
                    <a:pt x="626" y="361"/>
                  </a:lnTo>
                  <a:lnTo>
                    <a:pt x="625" y="361"/>
                  </a:lnTo>
                  <a:lnTo>
                    <a:pt x="624" y="362"/>
                  </a:lnTo>
                  <a:lnTo>
                    <a:pt x="623" y="362"/>
                  </a:lnTo>
                  <a:lnTo>
                    <a:pt x="623" y="362"/>
                  </a:lnTo>
                  <a:lnTo>
                    <a:pt x="622" y="363"/>
                  </a:lnTo>
                  <a:lnTo>
                    <a:pt x="621" y="363"/>
                  </a:lnTo>
                  <a:lnTo>
                    <a:pt x="619" y="363"/>
                  </a:lnTo>
                  <a:lnTo>
                    <a:pt x="616" y="364"/>
                  </a:lnTo>
                  <a:lnTo>
                    <a:pt x="615" y="364"/>
                  </a:lnTo>
                  <a:lnTo>
                    <a:pt x="615" y="364"/>
                  </a:lnTo>
                  <a:lnTo>
                    <a:pt x="614" y="365"/>
                  </a:lnTo>
                  <a:lnTo>
                    <a:pt x="613" y="366"/>
                  </a:lnTo>
                  <a:lnTo>
                    <a:pt x="612" y="367"/>
                  </a:lnTo>
                  <a:lnTo>
                    <a:pt x="611" y="367"/>
                  </a:lnTo>
                  <a:lnTo>
                    <a:pt x="611" y="367"/>
                  </a:lnTo>
                  <a:lnTo>
                    <a:pt x="610" y="367"/>
                  </a:lnTo>
                  <a:lnTo>
                    <a:pt x="608" y="368"/>
                  </a:lnTo>
                  <a:lnTo>
                    <a:pt x="607" y="368"/>
                  </a:lnTo>
                  <a:lnTo>
                    <a:pt x="607" y="368"/>
                  </a:lnTo>
                  <a:lnTo>
                    <a:pt x="606" y="368"/>
                  </a:lnTo>
                  <a:lnTo>
                    <a:pt x="605" y="368"/>
                  </a:lnTo>
                  <a:lnTo>
                    <a:pt x="605" y="367"/>
                  </a:lnTo>
                  <a:lnTo>
                    <a:pt x="604" y="367"/>
                  </a:lnTo>
                  <a:lnTo>
                    <a:pt x="603" y="366"/>
                  </a:lnTo>
                  <a:lnTo>
                    <a:pt x="603" y="366"/>
                  </a:lnTo>
                  <a:lnTo>
                    <a:pt x="602" y="366"/>
                  </a:lnTo>
                  <a:lnTo>
                    <a:pt x="600" y="365"/>
                  </a:lnTo>
                  <a:lnTo>
                    <a:pt x="600" y="365"/>
                  </a:lnTo>
                  <a:lnTo>
                    <a:pt x="599" y="364"/>
                  </a:lnTo>
                  <a:lnTo>
                    <a:pt x="598" y="363"/>
                  </a:lnTo>
                  <a:lnTo>
                    <a:pt x="594" y="361"/>
                  </a:lnTo>
                  <a:lnTo>
                    <a:pt x="593" y="360"/>
                  </a:lnTo>
                  <a:lnTo>
                    <a:pt x="591" y="359"/>
                  </a:lnTo>
                  <a:lnTo>
                    <a:pt x="590" y="359"/>
                  </a:lnTo>
                  <a:lnTo>
                    <a:pt x="589" y="358"/>
                  </a:lnTo>
                  <a:lnTo>
                    <a:pt x="587" y="358"/>
                  </a:lnTo>
                  <a:lnTo>
                    <a:pt x="586" y="358"/>
                  </a:lnTo>
                  <a:lnTo>
                    <a:pt x="585" y="358"/>
                  </a:lnTo>
                  <a:lnTo>
                    <a:pt x="584" y="358"/>
                  </a:lnTo>
                  <a:lnTo>
                    <a:pt x="583" y="358"/>
                  </a:lnTo>
                  <a:lnTo>
                    <a:pt x="583" y="358"/>
                  </a:lnTo>
                  <a:lnTo>
                    <a:pt x="582" y="358"/>
                  </a:lnTo>
                  <a:lnTo>
                    <a:pt x="581" y="358"/>
                  </a:lnTo>
                  <a:lnTo>
                    <a:pt x="579" y="359"/>
                  </a:lnTo>
                  <a:lnTo>
                    <a:pt x="579" y="360"/>
                  </a:lnTo>
                  <a:lnTo>
                    <a:pt x="578" y="361"/>
                  </a:lnTo>
                  <a:lnTo>
                    <a:pt x="575" y="363"/>
                  </a:lnTo>
                  <a:lnTo>
                    <a:pt x="574" y="364"/>
                  </a:lnTo>
                  <a:lnTo>
                    <a:pt x="569" y="367"/>
                  </a:lnTo>
                  <a:lnTo>
                    <a:pt x="568" y="368"/>
                  </a:lnTo>
                  <a:lnTo>
                    <a:pt x="567" y="369"/>
                  </a:lnTo>
                  <a:lnTo>
                    <a:pt x="566" y="369"/>
                  </a:lnTo>
                  <a:lnTo>
                    <a:pt x="565" y="369"/>
                  </a:lnTo>
                  <a:lnTo>
                    <a:pt x="565" y="369"/>
                  </a:lnTo>
                  <a:lnTo>
                    <a:pt x="564" y="369"/>
                  </a:lnTo>
                  <a:lnTo>
                    <a:pt x="562" y="370"/>
                  </a:lnTo>
                  <a:lnTo>
                    <a:pt x="559" y="370"/>
                  </a:lnTo>
                  <a:lnTo>
                    <a:pt x="558" y="370"/>
                  </a:lnTo>
                  <a:lnTo>
                    <a:pt x="557" y="370"/>
                  </a:lnTo>
                  <a:lnTo>
                    <a:pt x="556" y="369"/>
                  </a:lnTo>
                  <a:lnTo>
                    <a:pt x="555" y="369"/>
                  </a:lnTo>
                  <a:lnTo>
                    <a:pt x="555" y="369"/>
                  </a:lnTo>
                  <a:lnTo>
                    <a:pt x="553" y="368"/>
                  </a:lnTo>
                  <a:lnTo>
                    <a:pt x="552" y="367"/>
                  </a:lnTo>
                  <a:lnTo>
                    <a:pt x="551" y="367"/>
                  </a:lnTo>
                  <a:lnTo>
                    <a:pt x="549" y="365"/>
                  </a:lnTo>
                  <a:lnTo>
                    <a:pt x="548" y="364"/>
                  </a:lnTo>
                  <a:lnTo>
                    <a:pt x="546" y="362"/>
                  </a:lnTo>
                  <a:lnTo>
                    <a:pt x="543" y="360"/>
                  </a:lnTo>
                  <a:lnTo>
                    <a:pt x="542" y="359"/>
                  </a:lnTo>
                  <a:lnTo>
                    <a:pt x="542" y="359"/>
                  </a:lnTo>
                  <a:lnTo>
                    <a:pt x="541" y="358"/>
                  </a:lnTo>
                  <a:lnTo>
                    <a:pt x="538" y="357"/>
                  </a:lnTo>
                  <a:lnTo>
                    <a:pt x="537" y="357"/>
                  </a:lnTo>
                  <a:lnTo>
                    <a:pt x="533" y="354"/>
                  </a:lnTo>
                  <a:lnTo>
                    <a:pt x="530" y="352"/>
                  </a:lnTo>
                  <a:lnTo>
                    <a:pt x="529" y="351"/>
                  </a:lnTo>
                  <a:lnTo>
                    <a:pt x="528" y="351"/>
                  </a:lnTo>
                  <a:lnTo>
                    <a:pt x="527" y="351"/>
                  </a:lnTo>
                  <a:lnTo>
                    <a:pt x="523" y="349"/>
                  </a:lnTo>
                  <a:lnTo>
                    <a:pt x="520" y="348"/>
                  </a:lnTo>
                  <a:lnTo>
                    <a:pt x="518" y="348"/>
                  </a:lnTo>
                  <a:lnTo>
                    <a:pt x="517" y="347"/>
                  </a:lnTo>
                  <a:lnTo>
                    <a:pt x="515" y="347"/>
                  </a:lnTo>
                  <a:lnTo>
                    <a:pt x="514" y="346"/>
                  </a:lnTo>
                  <a:lnTo>
                    <a:pt x="512" y="346"/>
                  </a:lnTo>
                  <a:lnTo>
                    <a:pt x="511" y="346"/>
                  </a:lnTo>
                  <a:lnTo>
                    <a:pt x="509" y="345"/>
                  </a:lnTo>
                  <a:lnTo>
                    <a:pt x="508" y="345"/>
                  </a:lnTo>
                  <a:lnTo>
                    <a:pt x="507" y="345"/>
                  </a:lnTo>
                  <a:lnTo>
                    <a:pt x="506" y="346"/>
                  </a:lnTo>
                  <a:lnTo>
                    <a:pt x="505" y="346"/>
                  </a:lnTo>
                  <a:lnTo>
                    <a:pt x="505" y="346"/>
                  </a:lnTo>
                  <a:lnTo>
                    <a:pt x="504" y="347"/>
                  </a:lnTo>
                  <a:lnTo>
                    <a:pt x="503" y="347"/>
                  </a:lnTo>
                  <a:lnTo>
                    <a:pt x="502" y="348"/>
                  </a:lnTo>
                  <a:lnTo>
                    <a:pt x="501" y="348"/>
                  </a:lnTo>
                  <a:lnTo>
                    <a:pt x="499" y="350"/>
                  </a:lnTo>
                  <a:lnTo>
                    <a:pt x="497" y="353"/>
                  </a:lnTo>
                  <a:lnTo>
                    <a:pt x="492" y="357"/>
                  </a:lnTo>
                  <a:lnTo>
                    <a:pt x="490" y="358"/>
                  </a:lnTo>
                  <a:lnTo>
                    <a:pt x="486" y="361"/>
                  </a:lnTo>
                  <a:lnTo>
                    <a:pt x="484" y="363"/>
                  </a:lnTo>
                  <a:lnTo>
                    <a:pt x="483" y="364"/>
                  </a:lnTo>
                  <a:lnTo>
                    <a:pt x="482" y="365"/>
                  </a:lnTo>
                  <a:lnTo>
                    <a:pt x="481" y="366"/>
                  </a:lnTo>
                  <a:lnTo>
                    <a:pt x="480" y="367"/>
                  </a:lnTo>
                  <a:lnTo>
                    <a:pt x="480" y="367"/>
                  </a:lnTo>
                  <a:lnTo>
                    <a:pt x="479" y="368"/>
                  </a:lnTo>
                  <a:lnTo>
                    <a:pt x="479" y="369"/>
                  </a:lnTo>
                  <a:lnTo>
                    <a:pt x="478" y="370"/>
                  </a:lnTo>
                  <a:lnTo>
                    <a:pt x="477" y="375"/>
                  </a:lnTo>
                  <a:lnTo>
                    <a:pt x="476" y="376"/>
                  </a:lnTo>
                  <a:lnTo>
                    <a:pt x="476" y="377"/>
                  </a:lnTo>
                  <a:lnTo>
                    <a:pt x="475" y="378"/>
                  </a:lnTo>
                  <a:lnTo>
                    <a:pt x="474" y="380"/>
                  </a:lnTo>
                  <a:lnTo>
                    <a:pt x="473" y="383"/>
                  </a:lnTo>
                  <a:lnTo>
                    <a:pt x="472" y="385"/>
                  </a:lnTo>
                  <a:lnTo>
                    <a:pt x="471" y="386"/>
                  </a:lnTo>
                  <a:lnTo>
                    <a:pt x="470" y="387"/>
                  </a:lnTo>
                  <a:lnTo>
                    <a:pt x="466" y="391"/>
                  </a:lnTo>
                  <a:lnTo>
                    <a:pt x="462" y="396"/>
                  </a:lnTo>
                  <a:lnTo>
                    <a:pt x="461" y="397"/>
                  </a:lnTo>
                  <a:lnTo>
                    <a:pt x="459" y="399"/>
                  </a:lnTo>
                  <a:lnTo>
                    <a:pt x="459" y="400"/>
                  </a:lnTo>
                  <a:lnTo>
                    <a:pt x="455" y="406"/>
                  </a:lnTo>
                  <a:lnTo>
                    <a:pt x="454" y="408"/>
                  </a:lnTo>
                  <a:lnTo>
                    <a:pt x="452" y="412"/>
                  </a:lnTo>
                  <a:lnTo>
                    <a:pt x="451" y="414"/>
                  </a:lnTo>
                  <a:lnTo>
                    <a:pt x="449" y="418"/>
                  </a:lnTo>
                  <a:lnTo>
                    <a:pt x="448" y="421"/>
                  </a:lnTo>
                  <a:lnTo>
                    <a:pt x="447" y="423"/>
                  </a:lnTo>
                  <a:lnTo>
                    <a:pt x="446" y="425"/>
                  </a:lnTo>
                  <a:lnTo>
                    <a:pt x="445" y="429"/>
                  </a:lnTo>
                  <a:lnTo>
                    <a:pt x="444" y="431"/>
                  </a:lnTo>
                  <a:lnTo>
                    <a:pt x="444" y="432"/>
                  </a:lnTo>
                  <a:lnTo>
                    <a:pt x="442" y="435"/>
                  </a:lnTo>
                  <a:lnTo>
                    <a:pt x="441" y="436"/>
                  </a:lnTo>
                  <a:lnTo>
                    <a:pt x="440" y="438"/>
                  </a:lnTo>
                  <a:lnTo>
                    <a:pt x="439" y="440"/>
                  </a:lnTo>
                  <a:lnTo>
                    <a:pt x="439" y="442"/>
                  </a:lnTo>
                  <a:lnTo>
                    <a:pt x="439" y="443"/>
                  </a:lnTo>
                  <a:lnTo>
                    <a:pt x="438" y="444"/>
                  </a:lnTo>
                  <a:lnTo>
                    <a:pt x="438" y="447"/>
                  </a:lnTo>
                  <a:lnTo>
                    <a:pt x="437" y="451"/>
                  </a:lnTo>
                  <a:lnTo>
                    <a:pt x="436" y="453"/>
                  </a:lnTo>
                  <a:lnTo>
                    <a:pt x="436" y="455"/>
                  </a:lnTo>
                  <a:lnTo>
                    <a:pt x="436" y="456"/>
                  </a:lnTo>
                  <a:lnTo>
                    <a:pt x="435" y="458"/>
                  </a:lnTo>
                  <a:lnTo>
                    <a:pt x="435" y="458"/>
                  </a:lnTo>
                  <a:lnTo>
                    <a:pt x="434" y="460"/>
                  </a:lnTo>
                  <a:lnTo>
                    <a:pt x="434" y="461"/>
                  </a:lnTo>
                  <a:lnTo>
                    <a:pt x="433" y="461"/>
                  </a:lnTo>
                  <a:lnTo>
                    <a:pt x="432" y="462"/>
                  </a:lnTo>
                  <a:lnTo>
                    <a:pt x="431" y="463"/>
                  </a:lnTo>
                  <a:lnTo>
                    <a:pt x="431" y="463"/>
                  </a:lnTo>
                  <a:lnTo>
                    <a:pt x="430" y="464"/>
                  </a:lnTo>
                  <a:lnTo>
                    <a:pt x="429" y="464"/>
                  </a:lnTo>
                  <a:lnTo>
                    <a:pt x="429" y="464"/>
                  </a:lnTo>
                  <a:lnTo>
                    <a:pt x="428" y="464"/>
                  </a:lnTo>
                  <a:lnTo>
                    <a:pt x="428" y="464"/>
                  </a:lnTo>
                  <a:lnTo>
                    <a:pt x="427" y="464"/>
                  </a:lnTo>
                  <a:lnTo>
                    <a:pt x="426" y="464"/>
                  </a:lnTo>
                  <a:lnTo>
                    <a:pt x="426" y="463"/>
                  </a:lnTo>
                  <a:lnTo>
                    <a:pt x="425" y="463"/>
                  </a:lnTo>
                  <a:lnTo>
                    <a:pt x="425" y="462"/>
                  </a:lnTo>
                  <a:lnTo>
                    <a:pt x="425" y="462"/>
                  </a:lnTo>
                  <a:lnTo>
                    <a:pt x="425" y="461"/>
                  </a:lnTo>
                  <a:lnTo>
                    <a:pt x="425" y="460"/>
                  </a:lnTo>
                  <a:lnTo>
                    <a:pt x="425" y="460"/>
                  </a:lnTo>
                  <a:lnTo>
                    <a:pt x="424" y="456"/>
                  </a:lnTo>
                  <a:lnTo>
                    <a:pt x="423" y="452"/>
                  </a:lnTo>
                  <a:lnTo>
                    <a:pt x="423" y="450"/>
                  </a:lnTo>
                  <a:lnTo>
                    <a:pt x="423" y="447"/>
                  </a:lnTo>
                  <a:lnTo>
                    <a:pt x="423" y="445"/>
                  </a:lnTo>
                  <a:lnTo>
                    <a:pt x="422" y="442"/>
                  </a:lnTo>
                  <a:lnTo>
                    <a:pt x="421" y="439"/>
                  </a:lnTo>
                  <a:lnTo>
                    <a:pt x="421" y="438"/>
                  </a:lnTo>
                  <a:lnTo>
                    <a:pt x="421" y="436"/>
                  </a:lnTo>
                  <a:lnTo>
                    <a:pt x="421" y="432"/>
                  </a:lnTo>
                  <a:lnTo>
                    <a:pt x="420" y="431"/>
                  </a:lnTo>
                  <a:lnTo>
                    <a:pt x="420" y="429"/>
                  </a:lnTo>
                  <a:lnTo>
                    <a:pt x="420" y="428"/>
                  </a:lnTo>
                  <a:lnTo>
                    <a:pt x="420" y="427"/>
                  </a:lnTo>
                  <a:lnTo>
                    <a:pt x="419" y="426"/>
                  </a:lnTo>
                  <a:lnTo>
                    <a:pt x="419" y="425"/>
                  </a:lnTo>
                  <a:lnTo>
                    <a:pt x="418" y="424"/>
                  </a:lnTo>
                  <a:lnTo>
                    <a:pt x="417" y="423"/>
                  </a:lnTo>
                  <a:lnTo>
                    <a:pt x="416" y="422"/>
                  </a:lnTo>
                  <a:lnTo>
                    <a:pt x="416" y="421"/>
                  </a:lnTo>
                  <a:lnTo>
                    <a:pt x="415" y="421"/>
                  </a:lnTo>
                  <a:lnTo>
                    <a:pt x="415" y="421"/>
                  </a:lnTo>
                  <a:lnTo>
                    <a:pt x="414" y="421"/>
                  </a:lnTo>
                  <a:lnTo>
                    <a:pt x="413" y="420"/>
                  </a:lnTo>
                  <a:lnTo>
                    <a:pt x="412" y="420"/>
                  </a:lnTo>
                  <a:lnTo>
                    <a:pt x="411" y="420"/>
                  </a:lnTo>
                  <a:lnTo>
                    <a:pt x="410" y="420"/>
                  </a:lnTo>
                  <a:lnTo>
                    <a:pt x="410" y="420"/>
                  </a:lnTo>
                  <a:lnTo>
                    <a:pt x="409" y="420"/>
                  </a:lnTo>
                  <a:lnTo>
                    <a:pt x="408" y="420"/>
                  </a:lnTo>
                  <a:lnTo>
                    <a:pt x="406" y="421"/>
                  </a:lnTo>
                  <a:lnTo>
                    <a:pt x="405" y="421"/>
                  </a:lnTo>
                  <a:lnTo>
                    <a:pt x="403" y="421"/>
                  </a:lnTo>
                  <a:lnTo>
                    <a:pt x="401" y="422"/>
                  </a:lnTo>
                  <a:lnTo>
                    <a:pt x="399" y="422"/>
                  </a:lnTo>
                  <a:lnTo>
                    <a:pt x="396" y="422"/>
                  </a:lnTo>
                  <a:lnTo>
                    <a:pt x="392" y="423"/>
                  </a:lnTo>
                  <a:lnTo>
                    <a:pt x="390" y="423"/>
                  </a:lnTo>
                  <a:lnTo>
                    <a:pt x="387" y="424"/>
                  </a:lnTo>
                  <a:lnTo>
                    <a:pt x="386" y="424"/>
                  </a:lnTo>
                  <a:lnTo>
                    <a:pt x="385" y="424"/>
                  </a:lnTo>
                  <a:lnTo>
                    <a:pt x="383" y="423"/>
                  </a:lnTo>
                  <a:lnTo>
                    <a:pt x="379" y="423"/>
                  </a:lnTo>
                  <a:lnTo>
                    <a:pt x="378" y="422"/>
                  </a:lnTo>
                  <a:lnTo>
                    <a:pt x="376" y="421"/>
                  </a:lnTo>
                  <a:lnTo>
                    <a:pt x="374" y="420"/>
                  </a:lnTo>
                  <a:lnTo>
                    <a:pt x="373" y="420"/>
                  </a:lnTo>
                  <a:lnTo>
                    <a:pt x="372" y="419"/>
                  </a:lnTo>
                  <a:lnTo>
                    <a:pt x="369" y="417"/>
                  </a:lnTo>
                  <a:lnTo>
                    <a:pt x="368" y="416"/>
                  </a:lnTo>
                  <a:lnTo>
                    <a:pt x="368" y="416"/>
                  </a:lnTo>
                  <a:lnTo>
                    <a:pt x="367" y="415"/>
                  </a:lnTo>
                  <a:lnTo>
                    <a:pt x="365" y="414"/>
                  </a:lnTo>
                  <a:lnTo>
                    <a:pt x="364" y="414"/>
                  </a:lnTo>
                  <a:lnTo>
                    <a:pt x="362" y="414"/>
                  </a:lnTo>
                  <a:lnTo>
                    <a:pt x="362" y="413"/>
                  </a:lnTo>
                  <a:lnTo>
                    <a:pt x="361" y="413"/>
                  </a:lnTo>
                  <a:lnTo>
                    <a:pt x="360" y="413"/>
                  </a:lnTo>
                  <a:lnTo>
                    <a:pt x="359" y="413"/>
                  </a:lnTo>
                  <a:lnTo>
                    <a:pt x="358" y="413"/>
                  </a:lnTo>
                  <a:lnTo>
                    <a:pt x="357" y="413"/>
                  </a:lnTo>
                  <a:lnTo>
                    <a:pt x="354" y="413"/>
                  </a:lnTo>
                  <a:lnTo>
                    <a:pt x="353" y="413"/>
                  </a:lnTo>
                  <a:lnTo>
                    <a:pt x="352" y="413"/>
                  </a:lnTo>
                  <a:lnTo>
                    <a:pt x="352" y="413"/>
                  </a:lnTo>
                  <a:lnTo>
                    <a:pt x="351" y="413"/>
                  </a:lnTo>
                  <a:lnTo>
                    <a:pt x="351" y="413"/>
                  </a:lnTo>
                  <a:lnTo>
                    <a:pt x="350" y="413"/>
                  </a:lnTo>
                  <a:lnTo>
                    <a:pt x="350" y="412"/>
                  </a:lnTo>
                  <a:lnTo>
                    <a:pt x="350" y="412"/>
                  </a:lnTo>
                  <a:lnTo>
                    <a:pt x="349" y="412"/>
                  </a:lnTo>
                  <a:lnTo>
                    <a:pt x="349" y="411"/>
                  </a:lnTo>
                  <a:lnTo>
                    <a:pt x="349" y="411"/>
                  </a:lnTo>
                  <a:lnTo>
                    <a:pt x="348" y="410"/>
                  </a:lnTo>
                  <a:lnTo>
                    <a:pt x="348" y="409"/>
                  </a:lnTo>
                  <a:lnTo>
                    <a:pt x="348" y="409"/>
                  </a:lnTo>
                  <a:lnTo>
                    <a:pt x="347" y="405"/>
                  </a:lnTo>
                  <a:lnTo>
                    <a:pt x="347" y="402"/>
                  </a:lnTo>
                  <a:lnTo>
                    <a:pt x="347" y="401"/>
                  </a:lnTo>
                  <a:lnTo>
                    <a:pt x="347" y="401"/>
                  </a:lnTo>
                  <a:lnTo>
                    <a:pt x="346" y="400"/>
                  </a:lnTo>
                  <a:lnTo>
                    <a:pt x="346" y="399"/>
                  </a:lnTo>
                  <a:lnTo>
                    <a:pt x="345" y="398"/>
                  </a:lnTo>
                  <a:lnTo>
                    <a:pt x="345" y="397"/>
                  </a:lnTo>
                  <a:lnTo>
                    <a:pt x="344" y="396"/>
                  </a:lnTo>
                  <a:lnTo>
                    <a:pt x="343" y="394"/>
                  </a:lnTo>
                  <a:lnTo>
                    <a:pt x="342" y="394"/>
                  </a:lnTo>
                  <a:lnTo>
                    <a:pt x="341" y="393"/>
                  </a:lnTo>
                  <a:lnTo>
                    <a:pt x="340" y="393"/>
                  </a:lnTo>
                  <a:lnTo>
                    <a:pt x="339" y="392"/>
                  </a:lnTo>
                  <a:lnTo>
                    <a:pt x="338" y="392"/>
                  </a:lnTo>
                  <a:lnTo>
                    <a:pt x="337" y="392"/>
                  </a:lnTo>
                  <a:lnTo>
                    <a:pt x="336" y="391"/>
                  </a:lnTo>
                  <a:lnTo>
                    <a:pt x="335" y="391"/>
                  </a:lnTo>
                  <a:lnTo>
                    <a:pt x="331" y="392"/>
                  </a:lnTo>
                  <a:lnTo>
                    <a:pt x="330" y="392"/>
                  </a:lnTo>
                  <a:lnTo>
                    <a:pt x="328" y="392"/>
                  </a:lnTo>
                  <a:lnTo>
                    <a:pt x="327" y="391"/>
                  </a:lnTo>
                  <a:lnTo>
                    <a:pt x="326" y="391"/>
                  </a:lnTo>
                  <a:lnTo>
                    <a:pt x="325" y="391"/>
                  </a:lnTo>
                  <a:lnTo>
                    <a:pt x="323" y="391"/>
                  </a:lnTo>
                  <a:lnTo>
                    <a:pt x="322" y="390"/>
                  </a:lnTo>
                  <a:lnTo>
                    <a:pt x="321" y="390"/>
                  </a:lnTo>
                  <a:lnTo>
                    <a:pt x="315" y="386"/>
                  </a:lnTo>
                  <a:lnTo>
                    <a:pt x="313" y="385"/>
                  </a:lnTo>
                  <a:lnTo>
                    <a:pt x="310" y="383"/>
                  </a:lnTo>
                  <a:lnTo>
                    <a:pt x="309" y="382"/>
                  </a:lnTo>
                  <a:lnTo>
                    <a:pt x="307" y="382"/>
                  </a:lnTo>
                  <a:lnTo>
                    <a:pt x="307" y="381"/>
                  </a:lnTo>
                  <a:lnTo>
                    <a:pt x="306" y="381"/>
                  </a:lnTo>
                  <a:lnTo>
                    <a:pt x="305" y="381"/>
                  </a:lnTo>
                  <a:lnTo>
                    <a:pt x="305" y="381"/>
                  </a:lnTo>
                  <a:lnTo>
                    <a:pt x="304" y="381"/>
                  </a:lnTo>
                  <a:lnTo>
                    <a:pt x="304" y="381"/>
                  </a:lnTo>
                  <a:lnTo>
                    <a:pt x="302" y="381"/>
                  </a:lnTo>
                  <a:lnTo>
                    <a:pt x="300" y="382"/>
                  </a:lnTo>
                  <a:lnTo>
                    <a:pt x="299" y="382"/>
                  </a:lnTo>
                  <a:lnTo>
                    <a:pt x="297" y="382"/>
                  </a:lnTo>
                  <a:lnTo>
                    <a:pt x="296" y="383"/>
                  </a:lnTo>
                  <a:lnTo>
                    <a:pt x="293" y="383"/>
                  </a:lnTo>
                  <a:lnTo>
                    <a:pt x="291" y="383"/>
                  </a:lnTo>
                  <a:lnTo>
                    <a:pt x="288" y="383"/>
                  </a:lnTo>
                  <a:lnTo>
                    <a:pt x="285" y="382"/>
                  </a:lnTo>
                  <a:lnTo>
                    <a:pt x="284" y="382"/>
                  </a:lnTo>
                  <a:lnTo>
                    <a:pt x="283" y="382"/>
                  </a:lnTo>
                  <a:lnTo>
                    <a:pt x="282" y="382"/>
                  </a:lnTo>
                  <a:lnTo>
                    <a:pt x="282" y="383"/>
                  </a:lnTo>
                  <a:lnTo>
                    <a:pt x="281" y="383"/>
                  </a:lnTo>
                  <a:lnTo>
                    <a:pt x="280" y="383"/>
                  </a:lnTo>
                  <a:lnTo>
                    <a:pt x="280" y="384"/>
                  </a:lnTo>
                  <a:lnTo>
                    <a:pt x="279" y="385"/>
                  </a:lnTo>
                  <a:lnTo>
                    <a:pt x="278" y="386"/>
                  </a:lnTo>
                  <a:lnTo>
                    <a:pt x="277" y="387"/>
                  </a:lnTo>
                  <a:lnTo>
                    <a:pt x="276" y="389"/>
                  </a:lnTo>
                  <a:lnTo>
                    <a:pt x="275" y="392"/>
                  </a:lnTo>
                  <a:lnTo>
                    <a:pt x="274" y="394"/>
                  </a:lnTo>
                  <a:lnTo>
                    <a:pt x="273" y="397"/>
                  </a:lnTo>
                  <a:lnTo>
                    <a:pt x="272" y="399"/>
                  </a:lnTo>
                  <a:lnTo>
                    <a:pt x="272" y="400"/>
                  </a:lnTo>
                  <a:lnTo>
                    <a:pt x="271" y="401"/>
                  </a:lnTo>
                  <a:lnTo>
                    <a:pt x="269" y="405"/>
                  </a:lnTo>
                  <a:lnTo>
                    <a:pt x="266" y="409"/>
                  </a:lnTo>
                  <a:lnTo>
                    <a:pt x="265" y="410"/>
                  </a:lnTo>
                  <a:lnTo>
                    <a:pt x="264" y="411"/>
                  </a:lnTo>
                  <a:lnTo>
                    <a:pt x="264" y="412"/>
                  </a:lnTo>
                  <a:lnTo>
                    <a:pt x="262" y="413"/>
                  </a:lnTo>
                  <a:lnTo>
                    <a:pt x="261" y="413"/>
                  </a:lnTo>
                  <a:lnTo>
                    <a:pt x="259" y="415"/>
                  </a:lnTo>
                  <a:lnTo>
                    <a:pt x="258" y="416"/>
                  </a:lnTo>
                  <a:lnTo>
                    <a:pt x="256" y="416"/>
                  </a:lnTo>
                  <a:lnTo>
                    <a:pt x="256" y="417"/>
                  </a:lnTo>
                  <a:lnTo>
                    <a:pt x="255" y="417"/>
                  </a:lnTo>
                  <a:lnTo>
                    <a:pt x="254" y="417"/>
                  </a:lnTo>
                  <a:lnTo>
                    <a:pt x="253" y="417"/>
                  </a:lnTo>
                  <a:lnTo>
                    <a:pt x="252" y="416"/>
                  </a:lnTo>
                  <a:lnTo>
                    <a:pt x="251" y="416"/>
                  </a:lnTo>
                  <a:lnTo>
                    <a:pt x="250" y="416"/>
                  </a:lnTo>
                  <a:lnTo>
                    <a:pt x="250" y="416"/>
                  </a:lnTo>
                  <a:lnTo>
                    <a:pt x="248" y="414"/>
                  </a:lnTo>
                  <a:lnTo>
                    <a:pt x="248" y="414"/>
                  </a:lnTo>
                  <a:lnTo>
                    <a:pt x="247" y="414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5" y="413"/>
                  </a:lnTo>
                  <a:lnTo>
                    <a:pt x="245" y="413"/>
                  </a:lnTo>
                  <a:lnTo>
                    <a:pt x="244" y="414"/>
                  </a:lnTo>
                  <a:lnTo>
                    <a:pt x="242" y="415"/>
                  </a:lnTo>
                  <a:lnTo>
                    <a:pt x="242" y="415"/>
                  </a:lnTo>
                  <a:lnTo>
                    <a:pt x="241" y="415"/>
                  </a:lnTo>
                  <a:lnTo>
                    <a:pt x="241" y="415"/>
                  </a:lnTo>
                  <a:lnTo>
                    <a:pt x="240" y="415"/>
                  </a:lnTo>
                  <a:lnTo>
                    <a:pt x="239" y="415"/>
                  </a:lnTo>
                  <a:lnTo>
                    <a:pt x="238" y="415"/>
                  </a:lnTo>
                  <a:lnTo>
                    <a:pt x="237" y="415"/>
                  </a:lnTo>
                  <a:lnTo>
                    <a:pt x="236" y="415"/>
                  </a:lnTo>
                  <a:lnTo>
                    <a:pt x="233" y="415"/>
                  </a:lnTo>
                  <a:lnTo>
                    <a:pt x="231" y="414"/>
                  </a:lnTo>
                  <a:lnTo>
                    <a:pt x="229" y="414"/>
                  </a:lnTo>
                  <a:lnTo>
                    <a:pt x="227" y="414"/>
                  </a:lnTo>
                  <a:lnTo>
                    <a:pt x="226" y="414"/>
                  </a:lnTo>
                  <a:lnTo>
                    <a:pt x="224" y="414"/>
                  </a:lnTo>
                  <a:lnTo>
                    <a:pt x="220" y="414"/>
                  </a:lnTo>
                  <a:lnTo>
                    <a:pt x="218" y="414"/>
                  </a:lnTo>
                  <a:lnTo>
                    <a:pt x="215" y="414"/>
                  </a:lnTo>
                  <a:lnTo>
                    <a:pt x="212" y="413"/>
                  </a:lnTo>
                  <a:lnTo>
                    <a:pt x="207" y="413"/>
                  </a:lnTo>
                  <a:lnTo>
                    <a:pt x="195" y="412"/>
                  </a:lnTo>
                  <a:lnTo>
                    <a:pt x="192" y="411"/>
                  </a:lnTo>
                  <a:lnTo>
                    <a:pt x="191" y="411"/>
                  </a:lnTo>
                  <a:lnTo>
                    <a:pt x="189" y="411"/>
                  </a:lnTo>
                  <a:lnTo>
                    <a:pt x="188" y="411"/>
                  </a:lnTo>
                  <a:lnTo>
                    <a:pt x="185" y="412"/>
                  </a:lnTo>
                  <a:lnTo>
                    <a:pt x="183" y="412"/>
                  </a:lnTo>
                  <a:lnTo>
                    <a:pt x="181" y="412"/>
                  </a:lnTo>
                  <a:lnTo>
                    <a:pt x="178" y="411"/>
                  </a:lnTo>
                  <a:lnTo>
                    <a:pt x="173" y="411"/>
                  </a:lnTo>
                  <a:lnTo>
                    <a:pt x="172" y="411"/>
                  </a:lnTo>
                  <a:lnTo>
                    <a:pt x="171" y="411"/>
                  </a:lnTo>
                  <a:lnTo>
                    <a:pt x="169" y="411"/>
                  </a:lnTo>
                  <a:lnTo>
                    <a:pt x="168" y="410"/>
                  </a:lnTo>
                  <a:lnTo>
                    <a:pt x="167" y="410"/>
                  </a:lnTo>
                  <a:lnTo>
                    <a:pt x="165" y="409"/>
                  </a:lnTo>
                  <a:lnTo>
                    <a:pt x="164" y="409"/>
                  </a:lnTo>
                  <a:lnTo>
                    <a:pt x="162" y="408"/>
                  </a:lnTo>
                  <a:lnTo>
                    <a:pt x="161" y="407"/>
                  </a:lnTo>
                  <a:lnTo>
                    <a:pt x="159" y="406"/>
                  </a:lnTo>
                  <a:lnTo>
                    <a:pt x="153" y="403"/>
                  </a:lnTo>
                  <a:lnTo>
                    <a:pt x="144" y="399"/>
                  </a:lnTo>
                  <a:lnTo>
                    <a:pt x="141" y="397"/>
                  </a:lnTo>
                  <a:lnTo>
                    <a:pt x="140" y="396"/>
                  </a:lnTo>
                  <a:lnTo>
                    <a:pt x="139" y="396"/>
                  </a:lnTo>
                  <a:lnTo>
                    <a:pt x="138" y="395"/>
                  </a:lnTo>
                  <a:lnTo>
                    <a:pt x="136" y="394"/>
                  </a:lnTo>
                  <a:lnTo>
                    <a:pt x="135" y="392"/>
                  </a:lnTo>
                  <a:lnTo>
                    <a:pt x="133" y="391"/>
                  </a:lnTo>
                  <a:lnTo>
                    <a:pt x="131" y="390"/>
                  </a:lnTo>
                  <a:lnTo>
                    <a:pt x="130" y="388"/>
                  </a:lnTo>
                  <a:lnTo>
                    <a:pt x="129" y="387"/>
                  </a:lnTo>
                  <a:lnTo>
                    <a:pt x="128" y="386"/>
                  </a:lnTo>
                  <a:lnTo>
                    <a:pt x="128" y="386"/>
                  </a:lnTo>
                  <a:lnTo>
                    <a:pt x="127" y="385"/>
                  </a:lnTo>
                  <a:lnTo>
                    <a:pt x="127" y="384"/>
                  </a:lnTo>
                  <a:lnTo>
                    <a:pt x="127" y="384"/>
                  </a:lnTo>
                  <a:lnTo>
                    <a:pt x="126" y="382"/>
                  </a:lnTo>
                  <a:lnTo>
                    <a:pt x="125" y="380"/>
                  </a:lnTo>
                  <a:lnTo>
                    <a:pt x="125" y="379"/>
                  </a:lnTo>
                  <a:lnTo>
                    <a:pt x="125" y="379"/>
                  </a:lnTo>
                  <a:lnTo>
                    <a:pt x="125" y="378"/>
                  </a:lnTo>
                  <a:lnTo>
                    <a:pt x="125" y="378"/>
                  </a:lnTo>
                  <a:lnTo>
                    <a:pt x="124" y="377"/>
                  </a:lnTo>
                  <a:lnTo>
                    <a:pt x="124" y="377"/>
                  </a:lnTo>
                  <a:lnTo>
                    <a:pt x="123" y="377"/>
                  </a:lnTo>
                  <a:lnTo>
                    <a:pt x="123" y="376"/>
                  </a:lnTo>
                  <a:lnTo>
                    <a:pt x="122" y="376"/>
                  </a:lnTo>
                  <a:lnTo>
                    <a:pt x="121" y="376"/>
                  </a:lnTo>
                  <a:lnTo>
                    <a:pt x="120" y="376"/>
                  </a:lnTo>
                  <a:lnTo>
                    <a:pt x="120" y="376"/>
                  </a:lnTo>
                  <a:lnTo>
                    <a:pt x="119" y="375"/>
                  </a:lnTo>
                  <a:lnTo>
                    <a:pt x="119" y="375"/>
                  </a:lnTo>
                  <a:lnTo>
                    <a:pt x="118" y="374"/>
                  </a:lnTo>
                  <a:lnTo>
                    <a:pt x="117" y="373"/>
                  </a:lnTo>
                  <a:lnTo>
                    <a:pt x="116" y="372"/>
                  </a:lnTo>
                  <a:lnTo>
                    <a:pt x="115" y="372"/>
                  </a:lnTo>
                  <a:lnTo>
                    <a:pt x="115" y="371"/>
                  </a:lnTo>
                  <a:lnTo>
                    <a:pt x="114" y="371"/>
                  </a:lnTo>
                  <a:lnTo>
                    <a:pt x="113" y="371"/>
                  </a:lnTo>
                  <a:lnTo>
                    <a:pt x="110" y="370"/>
                  </a:lnTo>
                  <a:lnTo>
                    <a:pt x="110" y="370"/>
                  </a:lnTo>
                  <a:lnTo>
                    <a:pt x="109" y="370"/>
                  </a:lnTo>
                  <a:lnTo>
                    <a:pt x="109" y="369"/>
                  </a:lnTo>
                  <a:lnTo>
                    <a:pt x="109" y="369"/>
                  </a:lnTo>
                  <a:lnTo>
                    <a:pt x="109" y="369"/>
                  </a:lnTo>
                  <a:lnTo>
                    <a:pt x="108" y="368"/>
                  </a:lnTo>
                  <a:lnTo>
                    <a:pt x="108" y="368"/>
                  </a:lnTo>
                  <a:lnTo>
                    <a:pt x="108" y="367"/>
                  </a:lnTo>
                  <a:lnTo>
                    <a:pt x="107" y="367"/>
                  </a:lnTo>
                  <a:lnTo>
                    <a:pt x="107" y="366"/>
                  </a:lnTo>
                  <a:lnTo>
                    <a:pt x="106" y="366"/>
                  </a:lnTo>
                  <a:lnTo>
                    <a:pt x="105" y="365"/>
                  </a:lnTo>
                  <a:lnTo>
                    <a:pt x="104" y="365"/>
                  </a:lnTo>
                  <a:lnTo>
                    <a:pt x="103" y="363"/>
                  </a:lnTo>
                  <a:lnTo>
                    <a:pt x="102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99" y="361"/>
                  </a:lnTo>
                  <a:lnTo>
                    <a:pt x="98" y="361"/>
                  </a:lnTo>
                  <a:lnTo>
                    <a:pt x="96" y="360"/>
                  </a:lnTo>
                  <a:lnTo>
                    <a:pt x="96" y="360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4" y="358"/>
                  </a:lnTo>
                  <a:lnTo>
                    <a:pt x="94" y="358"/>
                  </a:lnTo>
                  <a:lnTo>
                    <a:pt x="93" y="356"/>
                  </a:lnTo>
                  <a:lnTo>
                    <a:pt x="92" y="356"/>
                  </a:lnTo>
                  <a:lnTo>
                    <a:pt x="92" y="356"/>
                  </a:lnTo>
                  <a:lnTo>
                    <a:pt x="92" y="355"/>
                  </a:lnTo>
                  <a:lnTo>
                    <a:pt x="91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90" y="354"/>
                  </a:lnTo>
                  <a:lnTo>
                    <a:pt x="89" y="354"/>
                  </a:lnTo>
                  <a:lnTo>
                    <a:pt x="88" y="354"/>
                  </a:lnTo>
                  <a:lnTo>
                    <a:pt x="85" y="354"/>
                  </a:lnTo>
                  <a:lnTo>
                    <a:pt x="83" y="354"/>
                  </a:lnTo>
                  <a:lnTo>
                    <a:pt x="81" y="354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6" y="355"/>
                  </a:lnTo>
                  <a:lnTo>
                    <a:pt x="75" y="355"/>
                  </a:lnTo>
                  <a:lnTo>
                    <a:pt x="74" y="355"/>
                  </a:lnTo>
                  <a:lnTo>
                    <a:pt x="73" y="356"/>
                  </a:lnTo>
                  <a:lnTo>
                    <a:pt x="72" y="356"/>
                  </a:lnTo>
                  <a:lnTo>
                    <a:pt x="71" y="357"/>
                  </a:lnTo>
                  <a:lnTo>
                    <a:pt x="68" y="359"/>
                  </a:lnTo>
                  <a:lnTo>
                    <a:pt x="67" y="360"/>
                  </a:lnTo>
                  <a:lnTo>
                    <a:pt x="66" y="360"/>
                  </a:lnTo>
                  <a:lnTo>
                    <a:pt x="65" y="361"/>
                  </a:lnTo>
                  <a:lnTo>
                    <a:pt x="64" y="361"/>
                  </a:lnTo>
                  <a:lnTo>
                    <a:pt x="63" y="361"/>
                  </a:lnTo>
                  <a:lnTo>
                    <a:pt x="62" y="362"/>
                  </a:lnTo>
                  <a:lnTo>
                    <a:pt x="61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7" y="362"/>
                  </a:lnTo>
                  <a:lnTo>
                    <a:pt x="54" y="362"/>
                  </a:lnTo>
                  <a:lnTo>
                    <a:pt x="48" y="361"/>
                  </a:lnTo>
                  <a:lnTo>
                    <a:pt x="47" y="360"/>
                  </a:lnTo>
                  <a:lnTo>
                    <a:pt x="45" y="360"/>
                  </a:lnTo>
                  <a:lnTo>
                    <a:pt x="44" y="359"/>
                  </a:lnTo>
                  <a:lnTo>
                    <a:pt x="43" y="359"/>
                  </a:lnTo>
                  <a:lnTo>
                    <a:pt x="42" y="358"/>
                  </a:lnTo>
                  <a:lnTo>
                    <a:pt x="40" y="357"/>
                  </a:lnTo>
                  <a:lnTo>
                    <a:pt x="39" y="356"/>
                  </a:lnTo>
                  <a:lnTo>
                    <a:pt x="35" y="352"/>
                  </a:lnTo>
                  <a:lnTo>
                    <a:pt x="34" y="351"/>
                  </a:lnTo>
                  <a:lnTo>
                    <a:pt x="33" y="350"/>
                  </a:lnTo>
                  <a:lnTo>
                    <a:pt x="31" y="350"/>
                  </a:lnTo>
                  <a:lnTo>
                    <a:pt x="30" y="349"/>
                  </a:lnTo>
                  <a:lnTo>
                    <a:pt x="27" y="348"/>
                  </a:lnTo>
                  <a:lnTo>
                    <a:pt x="24" y="346"/>
                  </a:lnTo>
                  <a:lnTo>
                    <a:pt x="23" y="345"/>
                  </a:lnTo>
                  <a:lnTo>
                    <a:pt x="21" y="344"/>
                  </a:lnTo>
                  <a:lnTo>
                    <a:pt x="20" y="344"/>
                  </a:lnTo>
                  <a:lnTo>
                    <a:pt x="18" y="343"/>
                  </a:lnTo>
                  <a:lnTo>
                    <a:pt x="12" y="342"/>
                  </a:lnTo>
                  <a:lnTo>
                    <a:pt x="10" y="342"/>
                  </a:lnTo>
                  <a:lnTo>
                    <a:pt x="9" y="342"/>
                  </a:lnTo>
                  <a:lnTo>
                    <a:pt x="7" y="341"/>
                  </a:lnTo>
                  <a:lnTo>
                    <a:pt x="5" y="341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1" y="336"/>
                  </a:lnTo>
                  <a:lnTo>
                    <a:pt x="2" y="333"/>
                  </a:lnTo>
                  <a:lnTo>
                    <a:pt x="2" y="332"/>
                  </a:lnTo>
                  <a:lnTo>
                    <a:pt x="3" y="332"/>
                  </a:lnTo>
                  <a:lnTo>
                    <a:pt x="3" y="332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5" y="331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6" y="329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7" y="327"/>
                  </a:lnTo>
                  <a:lnTo>
                    <a:pt x="8" y="326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9" y="323"/>
                  </a:lnTo>
                  <a:lnTo>
                    <a:pt x="10" y="323"/>
                  </a:lnTo>
                  <a:lnTo>
                    <a:pt x="10" y="323"/>
                  </a:lnTo>
                  <a:lnTo>
                    <a:pt x="11" y="323"/>
                  </a:lnTo>
                  <a:lnTo>
                    <a:pt x="11" y="323"/>
                  </a:lnTo>
                  <a:lnTo>
                    <a:pt x="11" y="322"/>
                  </a:lnTo>
                  <a:lnTo>
                    <a:pt x="13" y="321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19"/>
                  </a:lnTo>
                  <a:lnTo>
                    <a:pt x="14" y="319"/>
                  </a:lnTo>
                  <a:lnTo>
                    <a:pt x="14" y="319"/>
                  </a:lnTo>
                  <a:lnTo>
                    <a:pt x="15" y="318"/>
                  </a:lnTo>
                  <a:lnTo>
                    <a:pt x="16" y="318"/>
                  </a:lnTo>
                  <a:lnTo>
                    <a:pt x="17" y="318"/>
                  </a:lnTo>
                  <a:lnTo>
                    <a:pt x="18" y="318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2" y="318"/>
                  </a:lnTo>
                  <a:lnTo>
                    <a:pt x="23" y="319"/>
                  </a:lnTo>
                  <a:lnTo>
                    <a:pt x="25" y="320"/>
                  </a:lnTo>
                  <a:lnTo>
                    <a:pt x="25" y="321"/>
                  </a:lnTo>
                  <a:lnTo>
                    <a:pt x="26" y="321"/>
                  </a:lnTo>
                  <a:lnTo>
                    <a:pt x="27" y="321"/>
                  </a:lnTo>
                  <a:lnTo>
                    <a:pt x="28" y="322"/>
                  </a:lnTo>
                  <a:lnTo>
                    <a:pt x="29" y="322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2" y="321"/>
                  </a:lnTo>
                  <a:lnTo>
                    <a:pt x="32" y="321"/>
                  </a:lnTo>
                  <a:lnTo>
                    <a:pt x="33" y="320"/>
                  </a:lnTo>
                  <a:lnTo>
                    <a:pt x="34" y="319"/>
                  </a:lnTo>
                  <a:lnTo>
                    <a:pt x="34" y="319"/>
                  </a:lnTo>
                  <a:lnTo>
                    <a:pt x="35" y="317"/>
                  </a:lnTo>
                  <a:lnTo>
                    <a:pt x="37" y="314"/>
                  </a:lnTo>
                  <a:lnTo>
                    <a:pt x="38" y="314"/>
                  </a:lnTo>
                  <a:lnTo>
                    <a:pt x="38" y="314"/>
                  </a:lnTo>
                  <a:lnTo>
                    <a:pt x="38" y="313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0" y="313"/>
                  </a:lnTo>
                  <a:lnTo>
                    <a:pt x="41" y="313"/>
                  </a:lnTo>
                  <a:lnTo>
                    <a:pt x="45" y="312"/>
                  </a:lnTo>
                  <a:lnTo>
                    <a:pt x="46" y="312"/>
                  </a:lnTo>
                  <a:lnTo>
                    <a:pt x="47" y="312"/>
                  </a:lnTo>
                  <a:lnTo>
                    <a:pt x="48" y="312"/>
                  </a:lnTo>
                  <a:lnTo>
                    <a:pt x="49" y="313"/>
                  </a:lnTo>
                  <a:lnTo>
                    <a:pt x="50" y="313"/>
                  </a:lnTo>
                  <a:lnTo>
                    <a:pt x="51" y="314"/>
                  </a:lnTo>
                  <a:lnTo>
                    <a:pt x="52" y="314"/>
                  </a:lnTo>
                  <a:lnTo>
                    <a:pt x="54" y="316"/>
                  </a:lnTo>
                  <a:lnTo>
                    <a:pt x="55" y="316"/>
                  </a:lnTo>
                  <a:lnTo>
                    <a:pt x="56" y="316"/>
                  </a:lnTo>
                  <a:lnTo>
                    <a:pt x="56" y="316"/>
                  </a:lnTo>
                  <a:lnTo>
                    <a:pt x="57" y="316"/>
                  </a:lnTo>
                  <a:lnTo>
                    <a:pt x="57" y="316"/>
                  </a:lnTo>
                  <a:lnTo>
                    <a:pt x="58" y="316"/>
                  </a:lnTo>
                  <a:lnTo>
                    <a:pt x="58" y="316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1" y="313"/>
                  </a:lnTo>
                  <a:lnTo>
                    <a:pt x="62" y="311"/>
                  </a:lnTo>
                  <a:lnTo>
                    <a:pt x="62" y="311"/>
                  </a:lnTo>
                  <a:lnTo>
                    <a:pt x="64" y="309"/>
                  </a:lnTo>
                  <a:lnTo>
                    <a:pt x="66" y="307"/>
                  </a:lnTo>
                  <a:lnTo>
                    <a:pt x="66" y="307"/>
                  </a:lnTo>
                  <a:lnTo>
                    <a:pt x="67" y="306"/>
                  </a:lnTo>
                  <a:lnTo>
                    <a:pt x="68" y="306"/>
                  </a:lnTo>
                  <a:lnTo>
                    <a:pt x="69" y="305"/>
                  </a:lnTo>
                  <a:lnTo>
                    <a:pt x="71" y="304"/>
                  </a:lnTo>
                  <a:lnTo>
                    <a:pt x="72" y="303"/>
                  </a:lnTo>
                  <a:lnTo>
                    <a:pt x="73" y="302"/>
                  </a:lnTo>
                  <a:lnTo>
                    <a:pt x="74" y="301"/>
                  </a:lnTo>
                  <a:lnTo>
                    <a:pt x="75" y="300"/>
                  </a:lnTo>
                  <a:lnTo>
                    <a:pt x="77" y="299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81" y="294"/>
                  </a:lnTo>
                  <a:lnTo>
                    <a:pt x="82" y="293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8" y="291"/>
                  </a:lnTo>
                  <a:lnTo>
                    <a:pt x="89" y="290"/>
                  </a:lnTo>
                  <a:lnTo>
                    <a:pt x="91" y="290"/>
                  </a:lnTo>
                  <a:lnTo>
                    <a:pt x="93" y="290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9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1" y="288"/>
                  </a:lnTo>
                  <a:lnTo>
                    <a:pt x="101" y="287"/>
                  </a:lnTo>
                  <a:lnTo>
                    <a:pt x="101" y="287"/>
                  </a:lnTo>
                  <a:lnTo>
                    <a:pt x="102" y="286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4" y="281"/>
                  </a:lnTo>
                  <a:lnTo>
                    <a:pt x="104" y="280"/>
                  </a:lnTo>
                  <a:lnTo>
                    <a:pt x="105" y="280"/>
                  </a:lnTo>
                  <a:lnTo>
                    <a:pt x="105" y="280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4" y="278"/>
                  </a:lnTo>
                  <a:lnTo>
                    <a:pt x="115" y="278"/>
                  </a:lnTo>
                  <a:lnTo>
                    <a:pt x="115" y="277"/>
                  </a:lnTo>
                  <a:lnTo>
                    <a:pt x="116" y="277"/>
                  </a:lnTo>
                  <a:lnTo>
                    <a:pt x="117" y="276"/>
                  </a:lnTo>
                  <a:lnTo>
                    <a:pt x="119" y="274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3"/>
                  </a:lnTo>
                  <a:lnTo>
                    <a:pt x="121" y="272"/>
                  </a:lnTo>
                  <a:lnTo>
                    <a:pt x="123" y="272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6" y="271"/>
                  </a:lnTo>
                  <a:lnTo>
                    <a:pt x="126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29" y="273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1" y="276"/>
                  </a:lnTo>
                  <a:lnTo>
                    <a:pt x="132" y="276"/>
                  </a:lnTo>
                  <a:lnTo>
                    <a:pt x="134" y="278"/>
                  </a:lnTo>
                  <a:lnTo>
                    <a:pt x="135" y="279"/>
                  </a:lnTo>
                  <a:lnTo>
                    <a:pt x="136" y="279"/>
                  </a:lnTo>
                  <a:lnTo>
                    <a:pt x="137" y="280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9" y="280"/>
                  </a:lnTo>
                  <a:lnTo>
                    <a:pt x="141" y="280"/>
                  </a:lnTo>
                  <a:lnTo>
                    <a:pt x="142" y="280"/>
                  </a:lnTo>
                  <a:lnTo>
                    <a:pt x="143" y="279"/>
                  </a:lnTo>
                  <a:lnTo>
                    <a:pt x="144" y="279"/>
                  </a:lnTo>
                  <a:lnTo>
                    <a:pt x="146" y="278"/>
                  </a:lnTo>
                  <a:lnTo>
                    <a:pt x="147" y="277"/>
                  </a:lnTo>
                  <a:lnTo>
                    <a:pt x="148" y="276"/>
                  </a:lnTo>
                  <a:lnTo>
                    <a:pt x="149" y="276"/>
                  </a:lnTo>
                  <a:lnTo>
                    <a:pt x="149" y="275"/>
                  </a:lnTo>
                  <a:lnTo>
                    <a:pt x="150" y="275"/>
                  </a:lnTo>
                  <a:lnTo>
                    <a:pt x="151" y="275"/>
                  </a:lnTo>
                  <a:lnTo>
                    <a:pt x="152" y="275"/>
                  </a:lnTo>
                  <a:lnTo>
                    <a:pt x="154" y="276"/>
                  </a:lnTo>
                  <a:lnTo>
                    <a:pt x="155" y="276"/>
                  </a:lnTo>
                  <a:lnTo>
                    <a:pt x="158" y="276"/>
                  </a:lnTo>
                  <a:lnTo>
                    <a:pt x="159" y="277"/>
                  </a:lnTo>
                  <a:lnTo>
                    <a:pt x="161" y="277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4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8" y="273"/>
                  </a:lnTo>
                  <a:lnTo>
                    <a:pt x="179" y="273"/>
                  </a:lnTo>
                  <a:lnTo>
                    <a:pt x="179" y="272"/>
                  </a:lnTo>
                  <a:lnTo>
                    <a:pt x="179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68"/>
                  </a:lnTo>
                  <a:lnTo>
                    <a:pt x="180" y="267"/>
                  </a:lnTo>
                  <a:lnTo>
                    <a:pt x="180" y="266"/>
                  </a:lnTo>
                  <a:lnTo>
                    <a:pt x="180" y="265"/>
                  </a:lnTo>
                  <a:lnTo>
                    <a:pt x="181" y="265"/>
                  </a:lnTo>
                  <a:lnTo>
                    <a:pt x="181" y="264"/>
                  </a:lnTo>
                  <a:lnTo>
                    <a:pt x="182" y="263"/>
                  </a:lnTo>
                  <a:lnTo>
                    <a:pt x="183" y="263"/>
                  </a:lnTo>
                  <a:lnTo>
                    <a:pt x="184" y="262"/>
                  </a:lnTo>
                  <a:lnTo>
                    <a:pt x="185" y="262"/>
                  </a:lnTo>
                  <a:lnTo>
                    <a:pt x="186" y="261"/>
                  </a:lnTo>
                  <a:lnTo>
                    <a:pt x="188" y="261"/>
                  </a:lnTo>
                  <a:lnTo>
                    <a:pt x="189" y="261"/>
                  </a:lnTo>
                  <a:lnTo>
                    <a:pt x="193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1" y="259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3" y="257"/>
                  </a:lnTo>
                  <a:lnTo>
                    <a:pt x="203" y="257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05" y="255"/>
                  </a:lnTo>
                  <a:lnTo>
                    <a:pt x="206" y="254"/>
                  </a:lnTo>
                  <a:lnTo>
                    <a:pt x="206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7" y="250"/>
                  </a:lnTo>
                  <a:lnTo>
                    <a:pt x="208" y="250"/>
                  </a:lnTo>
                  <a:lnTo>
                    <a:pt x="208" y="249"/>
                  </a:lnTo>
                  <a:lnTo>
                    <a:pt x="210" y="247"/>
                  </a:lnTo>
                  <a:lnTo>
                    <a:pt x="211" y="247"/>
                  </a:lnTo>
                  <a:lnTo>
                    <a:pt x="211" y="246"/>
                  </a:lnTo>
                  <a:lnTo>
                    <a:pt x="212" y="246"/>
                  </a:lnTo>
                  <a:lnTo>
                    <a:pt x="212" y="245"/>
                  </a:lnTo>
                  <a:lnTo>
                    <a:pt x="212" y="245"/>
                  </a:lnTo>
                  <a:lnTo>
                    <a:pt x="212" y="244"/>
                  </a:lnTo>
                  <a:lnTo>
                    <a:pt x="212" y="243"/>
                  </a:lnTo>
                  <a:lnTo>
                    <a:pt x="212" y="243"/>
                  </a:lnTo>
                  <a:lnTo>
                    <a:pt x="212" y="242"/>
                  </a:lnTo>
                  <a:lnTo>
                    <a:pt x="212" y="241"/>
                  </a:lnTo>
                  <a:lnTo>
                    <a:pt x="211" y="241"/>
                  </a:lnTo>
                  <a:lnTo>
                    <a:pt x="210" y="240"/>
                  </a:lnTo>
                  <a:lnTo>
                    <a:pt x="209" y="239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4" y="234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3" y="232"/>
                  </a:lnTo>
                  <a:lnTo>
                    <a:pt x="202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30"/>
                  </a:lnTo>
                  <a:lnTo>
                    <a:pt x="205" y="230"/>
                  </a:lnTo>
                  <a:lnTo>
                    <a:pt x="206" y="229"/>
                  </a:lnTo>
                  <a:lnTo>
                    <a:pt x="207" y="229"/>
                  </a:lnTo>
                  <a:lnTo>
                    <a:pt x="207" y="228"/>
                  </a:lnTo>
                  <a:lnTo>
                    <a:pt x="208" y="228"/>
                  </a:lnTo>
                  <a:lnTo>
                    <a:pt x="208" y="227"/>
                  </a:lnTo>
                  <a:lnTo>
                    <a:pt x="209" y="227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0" y="225"/>
                  </a:lnTo>
                  <a:lnTo>
                    <a:pt x="210" y="224"/>
                  </a:lnTo>
                  <a:lnTo>
                    <a:pt x="210" y="224"/>
                  </a:lnTo>
                  <a:lnTo>
                    <a:pt x="209" y="223"/>
                  </a:lnTo>
                  <a:lnTo>
                    <a:pt x="209" y="222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08" y="218"/>
                  </a:lnTo>
                  <a:lnTo>
                    <a:pt x="208" y="217"/>
                  </a:lnTo>
                  <a:lnTo>
                    <a:pt x="209" y="217"/>
                  </a:lnTo>
                  <a:lnTo>
                    <a:pt x="209" y="216"/>
                  </a:lnTo>
                  <a:lnTo>
                    <a:pt x="209" y="215"/>
                  </a:lnTo>
                  <a:lnTo>
                    <a:pt x="210" y="215"/>
                  </a:lnTo>
                  <a:lnTo>
                    <a:pt x="210" y="214"/>
                  </a:lnTo>
                  <a:lnTo>
                    <a:pt x="211" y="214"/>
                  </a:lnTo>
                  <a:lnTo>
                    <a:pt x="211" y="213"/>
                  </a:lnTo>
                  <a:lnTo>
                    <a:pt x="212" y="213"/>
                  </a:lnTo>
                  <a:lnTo>
                    <a:pt x="214" y="212"/>
                  </a:lnTo>
                  <a:lnTo>
                    <a:pt x="215" y="211"/>
                  </a:lnTo>
                  <a:lnTo>
                    <a:pt x="216" y="211"/>
                  </a:lnTo>
                  <a:lnTo>
                    <a:pt x="217" y="210"/>
                  </a:lnTo>
                  <a:lnTo>
                    <a:pt x="218" y="209"/>
                  </a:lnTo>
                  <a:lnTo>
                    <a:pt x="219" y="208"/>
                  </a:lnTo>
                  <a:lnTo>
                    <a:pt x="219" y="208"/>
                  </a:lnTo>
                  <a:lnTo>
                    <a:pt x="219" y="207"/>
                  </a:lnTo>
                  <a:lnTo>
                    <a:pt x="219" y="206"/>
                  </a:lnTo>
                  <a:lnTo>
                    <a:pt x="219" y="205"/>
                  </a:lnTo>
                  <a:lnTo>
                    <a:pt x="219" y="203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18" y="201"/>
                  </a:lnTo>
                  <a:lnTo>
                    <a:pt x="218" y="201"/>
                  </a:lnTo>
                  <a:lnTo>
                    <a:pt x="218" y="200"/>
                  </a:lnTo>
                  <a:lnTo>
                    <a:pt x="217" y="200"/>
                  </a:lnTo>
                  <a:lnTo>
                    <a:pt x="217" y="199"/>
                  </a:lnTo>
                  <a:lnTo>
                    <a:pt x="217" y="198"/>
                  </a:lnTo>
                  <a:lnTo>
                    <a:pt x="215" y="198"/>
                  </a:lnTo>
                  <a:lnTo>
                    <a:pt x="213" y="196"/>
                  </a:lnTo>
                  <a:lnTo>
                    <a:pt x="212" y="195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10" y="191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0" y="188"/>
                  </a:lnTo>
                  <a:lnTo>
                    <a:pt x="210" y="187"/>
                  </a:lnTo>
                  <a:lnTo>
                    <a:pt x="211" y="186"/>
                  </a:lnTo>
                  <a:lnTo>
                    <a:pt x="211" y="185"/>
                  </a:lnTo>
                  <a:lnTo>
                    <a:pt x="212" y="184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3" y="181"/>
                  </a:lnTo>
                  <a:lnTo>
                    <a:pt x="214" y="180"/>
                  </a:lnTo>
                  <a:lnTo>
                    <a:pt x="215" y="178"/>
                  </a:lnTo>
                  <a:lnTo>
                    <a:pt x="216" y="178"/>
                  </a:lnTo>
                  <a:lnTo>
                    <a:pt x="217" y="177"/>
                  </a:lnTo>
                  <a:lnTo>
                    <a:pt x="219" y="175"/>
                  </a:lnTo>
                  <a:lnTo>
                    <a:pt x="220" y="175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3"/>
                  </a:lnTo>
                  <a:lnTo>
                    <a:pt x="222" y="173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2" y="171"/>
                  </a:lnTo>
                  <a:lnTo>
                    <a:pt x="221" y="171"/>
                  </a:lnTo>
                  <a:lnTo>
                    <a:pt x="221" y="170"/>
                  </a:lnTo>
                  <a:lnTo>
                    <a:pt x="221" y="169"/>
                  </a:lnTo>
                  <a:lnTo>
                    <a:pt x="220" y="168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7" y="165"/>
                  </a:lnTo>
                  <a:lnTo>
                    <a:pt x="217" y="164"/>
                  </a:lnTo>
                  <a:lnTo>
                    <a:pt x="217" y="163"/>
                  </a:lnTo>
                  <a:lnTo>
                    <a:pt x="217" y="163"/>
                  </a:lnTo>
                  <a:lnTo>
                    <a:pt x="217" y="162"/>
                  </a:lnTo>
                  <a:lnTo>
                    <a:pt x="217" y="161"/>
                  </a:lnTo>
                  <a:lnTo>
                    <a:pt x="217" y="160"/>
                  </a:lnTo>
                  <a:lnTo>
                    <a:pt x="217" y="159"/>
                  </a:lnTo>
                  <a:lnTo>
                    <a:pt x="218" y="159"/>
                  </a:lnTo>
                  <a:lnTo>
                    <a:pt x="218" y="158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3" y="151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8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2" y="147"/>
                  </a:lnTo>
                  <a:lnTo>
                    <a:pt x="222" y="146"/>
                  </a:lnTo>
                  <a:lnTo>
                    <a:pt x="222" y="146"/>
                  </a:lnTo>
                  <a:lnTo>
                    <a:pt x="221" y="146"/>
                  </a:lnTo>
                  <a:lnTo>
                    <a:pt x="218" y="145"/>
                  </a:lnTo>
                  <a:lnTo>
                    <a:pt x="217" y="145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5" y="144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0"/>
                  </a:lnTo>
                  <a:lnTo>
                    <a:pt x="215" y="140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8"/>
                  </a:lnTo>
                  <a:lnTo>
                    <a:pt x="215" y="138"/>
                  </a:lnTo>
                  <a:lnTo>
                    <a:pt x="215" y="138"/>
                  </a:lnTo>
                  <a:lnTo>
                    <a:pt x="210" y="134"/>
                  </a:lnTo>
                  <a:lnTo>
                    <a:pt x="207" y="132"/>
                  </a:lnTo>
                  <a:lnTo>
                    <a:pt x="206" y="131"/>
                  </a:lnTo>
                  <a:lnTo>
                    <a:pt x="206" y="131"/>
                  </a:lnTo>
                  <a:lnTo>
                    <a:pt x="205" y="130"/>
                  </a:lnTo>
                  <a:lnTo>
                    <a:pt x="205" y="130"/>
                  </a:lnTo>
                  <a:lnTo>
                    <a:pt x="205" y="129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7"/>
                  </a:lnTo>
                  <a:lnTo>
                    <a:pt x="205" y="126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6" y="119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3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8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4"/>
                  </a:lnTo>
                  <a:lnTo>
                    <a:pt x="214" y="101"/>
                  </a:lnTo>
                  <a:lnTo>
                    <a:pt x="215" y="100"/>
                  </a:lnTo>
                  <a:lnTo>
                    <a:pt x="216" y="99"/>
                  </a:lnTo>
                  <a:lnTo>
                    <a:pt x="216" y="98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20" y="95"/>
                  </a:lnTo>
                  <a:lnTo>
                    <a:pt x="221" y="95"/>
                  </a:lnTo>
                  <a:lnTo>
                    <a:pt x="222" y="95"/>
                  </a:lnTo>
                  <a:lnTo>
                    <a:pt x="223" y="94"/>
                  </a:lnTo>
                  <a:lnTo>
                    <a:pt x="226" y="94"/>
                  </a:lnTo>
                  <a:lnTo>
                    <a:pt x="228" y="94"/>
                  </a:lnTo>
                  <a:lnTo>
                    <a:pt x="230" y="93"/>
                  </a:lnTo>
                  <a:lnTo>
                    <a:pt x="231" y="93"/>
                  </a:lnTo>
                  <a:lnTo>
                    <a:pt x="232" y="93"/>
                  </a:lnTo>
                  <a:lnTo>
                    <a:pt x="233" y="92"/>
                  </a:lnTo>
                  <a:lnTo>
                    <a:pt x="234" y="92"/>
                  </a:lnTo>
                  <a:lnTo>
                    <a:pt x="234" y="91"/>
                  </a:lnTo>
                  <a:lnTo>
                    <a:pt x="235" y="91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8"/>
                  </a:lnTo>
                  <a:lnTo>
                    <a:pt x="235" y="88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3" y="87"/>
                  </a:lnTo>
                  <a:lnTo>
                    <a:pt x="233" y="86"/>
                  </a:lnTo>
                  <a:lnTo>
                    <a:pt x="232" y="86"/>
                  </a:lnTo>
                  <a:lnTo>
                    <a:pt x="231" y="86"/>
                  </a:lnTo>
                  <a:lnTo>
                    <a:pt x="229" y="85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3"/>
                  </a:lnTo>
                  <a:lnTo>
                    <a:pt x="228" y="83"/>
                  </a:lnTo>
                  <a:lnTo>
                    <a:pt x="228" y="82"/>
                  </a:lnTo>
                  <a:lnTo>
                    <a:pt x="229" y="81"/>
                  </a:lnTo>
                  <a:lnTo>
                    <a:pt x="231" y="80"/>
                  </a:lnTo>
                  <a:lnTo>
                    <a:pt x="231" y="79"/>
                  </a:lnTo>
                  <a:lnTo>
                    <a:pt x="232" y="79"/>
                  </a:lnTo>
                  <a:lnTo>
                    <a:pt x="233" y="78"/>
                  </a:lnTo>
                  <a:lnTo>
                    <a:pt x="234" y="77"/>
                  </a:lnTo>
                  <a:lnTo>
                    <a:pt x="235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7" y="77"/>
                  </a:lnTo>
                  <a:lnTo>
                    <a:pt x="238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0" y="77"/>
                  </a:lnTo>
                  <a:lnTo>
                    <a:pt x="240" y="78"/>
                  </a:lnTo>
                  <a:lnTo>
                    <a:pt x="241" y="78"/>
                  </a:lnTo>
                  <a:lnTo>
                    <a:pt x="241" y="79"/>
                  </a:lnTo>
                  <a:lnTo>
                    <a:pt x="242" y="80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3" y="82"/>
                  </a:lnTo>
                  <a:lnTo>
                    <a:pt x="243" y="82"/>
                  </a:lnTo>
                  <a:lnTo>
                    <a:pt x="244" y="83"/>
                  </a:lnTo>
                  <a:lnTo>
                    <a:pt x="244" y="83"/>
                  </a:lnTo>
                  <a:lnTo>
                    <a:pt x="245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8" y="82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1"/>
                  </a:lnTo>
                  <a:lnTo>
                    <a:pt x="250" y="80"/>
                  </a:lnTo>
                  <a:lnTo>
                    <a:pt x="250" y="78"/>
                  </a:lnTo>
                  <a:lnTo>
                    <a:pt x="251" y="77"/>
                  </a:lnTo>
                  <a:lnTo>
                    <a:pt x="251" y="76"/>
                  </a:lnTo>
                  <a:lnTo>
                    <a:pt x="251" y="75"/>
                  </a:lnTo>
                  <a:lnTo>
                    <a:pt x="251" y="75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3"/>
                  </a:lnTo>
                  <a:lnTo>
                    <a:pt x="251" y="72"/>
                  </a:lnTo>
                  <a:lnTo>
                    <a:pt x="250" y="71"/>
                  </a:lnTo>
                  <a:lnTo>
                    <a:pt x="249" y="70"/>
                  </a:lnTo>
                  <a:lnTo>
                    <a:pt x="249" y="69"/>
                  </a:lnTo>
                  <a:lnTo>
                    <a:pt x="247" y="68"/>
                  </a:lnTo>
                  <a:lnTo>
                    <a:pt x="247" y="67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5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3"/>
                  </a:lnTo>
                  <a:lnTo>
                    <a:pt x="249" y="63"/>
                  </a:lnTo>
                  <a:lnTo>
                    <a:pt x="249" y="63"/>
                  </a:lnTo>
                  <a:lnTo>
                    <a:pt x="250" y="63"/>
                  </a:lnTo>
                  <a:lnTo>
                    <a:pt x="251" y="62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4" y="61"/>
                  </a:lnTo>
                  <a:lnTo>
                    <a:pt x="255" y="59"/>
                  </a:lnTo>
                  <a:lnTo>
                    <a:pt x="256" y="58"/>
                  </a:lnTo>
                  <a:lnTo>
                    <a:pt x="257" y="57"/>
                  </a:lnTo>
                  <a:lnTo>
                    <a:pt x="258" y="55"/>
                  </a:lnTo>
                  <a:lnTo>
                    <a:pt x="258" y="54"/>
                  </a:lnTo>
                  <a:lnTo>
                    <a:pt x="259" y="53"/>
                  </a:lnTo>
                  <a:lnTo>
                    <a:pt x="259" y="52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7" y="45"/>
                  </a:lnTo>
                  <a:lnTo>
                    <a:pt x="257" y="44"/>
                  </a:lnTo>
                  <a:lnTo>
                    <a:pt x="256" y="44"/>
                  </a:lnTo>
                  <a:lnTo>
                    <a:pt x="253" y="42"/>
                  </a:lnTo>
                  <a:lnTo>
                    <a:pt x="253" y="42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51" y="40"/>
                  </a:lnTo>
                  <a:lnTo>
                    <a:pt x="250" y="39"/>
                  </a:lnTo>
                  <a:lnTo>
                    <a:pt x="250" y="38"/>
                  </a:lnTo>
                  <a:lnTo>
                    <a:pt x="250" y="38"/>
                  </a:lnTo>
                  <a:lnTo>
                    <a:pt x="250" y="37"/>
                  </a:lnTo>
                  <a:lnTo>
                    <a:pt x="250" y="37"/>
                  </a:lnTo>
                  <a:lnTo>
                    <a:pt x="250" y="36"/>
                  </a:lnTo>
                  <a:lnTo>
                    <a:pt x="250" y="35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6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57" y="23"/>
                  </a:lnTo>
                  <a:lnTo>
                    <a:pt x="259" y="22"/>
                  </a:lnTo>
                  <a:lnTo>
                    <a:pt x="260" y="21"/>
                  </a:lnTo>
                  <a:lnTo>
                    <a:pt x="261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8"/>
                  </a:lnTo>
                  <a:lnTo>
                    <a:pt x="264" y="17"/>
                  </a:lnTo>
                  <a:lnTo>
                    <a:pt x="265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1" y="18"/>
                  </a:lnTo>
                  <a:lnTo>
                    <a:pt x="272" y="18"/>
                  </a:lnTo>
                  <a:lnTo>
                    <a:pt x="273" y="18"/>
                  </a:lnTo>
                  <a:lnTo>
                    <a:pt x="275" y="18"/>
                  </a:lnTo>
                  <a:lnTo>
                    <a:pt x="277" y="17"/>
                  </a:lnTo>
                  <a:lnTo>
                    <a:pt x="280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7" y="18"/>
                  </a:lnTo>
                  <a:lnTo>
                    <a:pt x="289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5" y="18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8" y="16"/>
                  </a:lnTo>
                  <a:lnTo>
                    <a:pt x="298" y="15"/>
                  </a:lnTo>
                  <a:lnTo>
                    <a:pt x="298" y="14"/>
                  </a:lnTo>
                  <a:lnTo>
                    <a:pt x="299" y="13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2" y="2"/>
                  </a:lnTo>
                  <a:lnTo>
                    <a:pt x="302" y="1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close/>
                </a:path>
              </a:pathLst>
            </a:custGeom>
            <a:solidFill>
              <a:srgbClr val="FFCC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Freeform 67">
              <a:extLst>
                <a:ext uri="{FF2B5EF4-FFF2-40B4-BE49-F238E27FC236}">
                  <a16:creationId xmlns:a16="http://schemas.microsoft.com/office/drawing/2014/main" id="{D3CF1198-EB94-D448-4112-B93F9C123A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1" y="3521"/>
              <a:ext cx="548" cy="464"/>
            </a:xfrm>
            <a:custGeom>
              <a:avLst/>
              <a:gdLst>
                <a:gd name="T0" fmla="*/ 232 w 548"/>
                <a:gd name="T1" fmla="*/ 1 h 464"/>
                <a:gd name="T2" fmla="*/ 256 w 548"/>
                <a:gd name="T3" fmla="*/ 4 h 464"/>
                <a:gd name="T4" fmla="*/ 282 w 548"/>
                <a:gd name="T5" fmla="*/ 14 h 464"/>
                <a:gd name="T6" fmla="*/ 268 w 548"/>
                <a:gd name="T7" fmla="*/ 21 h 464"/>
                <a:gd name="T8" fmla="*/ 266 w 548"/>
                <a:gd name="T9" fmla="*/ 36 h 464"/>
                <a:gd name="T10" fmla="*/ 289 w 548"/>
                <a:gd name="T11" fmla="*/ 43 h 464"/>
                <a:gd name="T12" fmla="*/ 280 w 548"/>
                <a:gd name="T13" fmla="*/ 61 h 464"/>
                <a:gd name="T14" fmla="*/ 290 w 548"/>
                <a:gd name="T15" fmla="*/ 88 h 464"/>
                <a:gd name="T16" fmla="*/ 284 w 548"/>
                <a:gd name="T17" fmla="*/ 99 h 464"/>
                <a:gd name="T18" fmla="*/ 305 w 548"/>
                <a:gd name="T19" fmla="*/ 108 h 464"/>
                <a:gd name="T20" fmla="*/ 316 w 548"/>
                <a:gd name="T21" fmla="*/ 88 h 464"/>
                <a:gd name="T22" fmla="*/ 304 w 548"/>
                <a:gd name="T23" fmla="*/ 70 h 464"/>
                <a:gd name="T24" fmla="*/ 316 w 548"/>
                <a:gd name="T25" fmla="*/ 60 h 464"/>
                <a:gd name="T26" fmla="*/ 334 w 548"/>
                <a:gd name="T27" fmla="*/ 72 h 464"/>
                <a:gd name="T28" fmla="*/ 344 w 548"/>
                <a:gd name="T29" fmla="*/ 94 h 464"/>
                <a:gd name="T30" fmla="*/ 355 w 548"/>
                <a:gd name="T31" fmla="*/ 106 h 464"/>
                <a:gd name="T32" fmla="*/ 361 w 548"/>
                <a:gd name="T33" fmla="*/ 107 h 464"/>
                <a:gd name="T34" fmla="*/ 364 w 548"/>
                <a:gd name="T35" fmla="*/ 126 h 464"/>
                <a:gd name="T36" fmla="*/ 387 w 548"/>
                <a:gd name="T37" fmla="*/ 141 h 464"/>
                <a:gd name="T38" fmla="*/ 389 w 548"/>
                <a:gd name="T39" fmla="*/ 181 h 464"/>
                <a:gd name="T40" fmla="*/ 394 w 548"/>
                <a:gd name="T41" fmla="*/ 205 h 464"/>
                <a:gd name="T42" fmla="*/ 407 w 548"/>
                <a:gd name="T43" fmla="*/ 209 h 464"/>
                <a:gd name="T44" fmla="*/ 395 w 548"/>
                <a:gd name="T45" fmla="*/ 227 h 464"/>
                <a:gd name="T46" fmla="*/ 383 w 548"/>
                <a:gd name="T47" fmla="*/ 245 h 464"/>
                <a:gd name="T48" fmla="*/ 396 w 548"/>
                <a:gd name="T49" fmla="*/ 250 h 464"/>
                <a:gd name="T50" fmla="*/ 417 w 548"/>
                <a:gd name="T51" fmla="*/ 254 h 464"/>
                <a:gd name="T52" fmla="*/ 423 w 548"/>
                <a:gd name="T53" fmla="*/ 270 h 464"/>
                <a:gd name="T54" fmla="*/ 451 w 548"/>
                <a:gd name="T55" fmla="*/ 280 h 464"/>
                <a:gd name="T56" fmla="*/ 459 w 548"/>
                <a:gd name="T57" fmla="*/ 294 h 464"/>
                <a:gd name="T58" fmla="*/ 481 w 548"/>
                <a:gd name="T59" fmla="*/ 304 h 464"/>
                <a:gd name="T60" fmla="*/ 508 w 548"/>
                <a:gd name="T61" fmla="*/ 304 h 464"/>
                <a:gd name="T62" fmla="*/ 517 w 548"/>
                <a:gd name="T63" fmla="*/ 317 h 464"/>
                <a:gd name="T64" fmla="*/ 541 w 548"/>
                <a:gd name="T65" fmla="*/ 337 h 464"/>
                <a:gd name="T66" fmla="*/ 536 w 548"/>
                <a:gd name="T67" fmla="*/ 357 h 464"/>
                <a:gd name="T68" fmla="*/ 517 w 548"/>
                <a:gd name="T69" fmla="*/ 367 h 464"/>
                <a:gd name="T70" fmla="*/ 499 w 548"/>
                <a:gd name="T71" fmla="*/ 360 h 464"/>
                <a:gd name="T72" fmla="*/ 475 w 548"/>
                <a:gd name="T73" fmla="*/ 367 h 464"/>
                <a:gd name="T74" fmla="*/ 455 w 548"/>
                <a:gd name="T75" fmla="*/ 365 h 464"/>
                <a:gd name="T76" fmla="*/ 423 w 548"/>
                <a:gd name="T77" fmla="*/ 347 h 464"/>
                <a:gd name="T78" fmla="*/ 398 w 548"/>
                <a:gd name="T79" fmla="*/ 357 h 464"/>
                <a:gd name="T80" fmla="*/ 379 w 548"/>
                <a:gd name="T81" fmla="*/ 383 h 464"/>
                <a:gd name="T82" fmla="*/ 351 w 548"/>
                <a:gd name="T83" fmla="*/ 429 h 464"/>
                <a:gd name="T84" fmla="*/ 340 w 548"/>
                <a:gd name="T85" fmla="*/ 460 h 464"/>
                <a:gd name="T86" fmla="*/ 331 w 548"/>
                <a:gd name="T87" fmla="*/ 461 h 464"/>
                <a:gd name="T88" fmla="*/ 325 w 548"/>
                <a:gd name="T89" fmla="*/ 426 h 464"/>
                <a:gd name="T90" fmla="*/ 311 w 548"/>
                <a:gd name="T91" fmla="*/ 421 h 464"/>
                <a:gd name="T92" fmla="*/ 275 w 548"/>
                <a:gd name="T93" fmla="*/ 417 h 464"/>
                <a:gd name="T94" fmla="*/ 257 w 548"/>
                <a:gd name="T95" fmla="*/ 413 h 464"/>
                <a:gd name="T96" fmla="*/ 251 w 548"/>
                <a:gd name="T97" fmla="*/ 398 h 464"/>
                <a:gd name="T98" fmla="*/ 231 w 548"/>
                <a:gd name="T99" fmla="*/ 391 h 464"/>
                <a:gd name="T100" fmla="*/ 205 w 548"/>
                <a:gd name="T101" fmla="*/ 382 h 464"/>
                <a:gd name="T102" fmla="*/ 182 w 548"/>
                <a:gd name="T103" fmla="*/ 389 h 464"/>
                <a:gd name="T104" fmla="*/ 162 w 548"/>
                <a:gd name="T105" fmla="*/ 417 h 464"/>
                <a:gd name="T106" fmla="*/ 148 w 548"/>
                <a:gd name="T107" fmla="*/ 415 h 464"/>
                <a:gd name="T108" fmla="*/ 121 w 548"/>
                <a:gd name="T109" fmla="*/ 414 h 464"/>
                <a:gd name="T110" fmla="*/ 73 w 548"/>
                <a:gd name="T111" fmla="*/ 410 h 464"/>
                <a:gd name="T112" fmla="*/ 35 w 548"/>
                <a:gd name="T113" fmla="*/ 387 h 464"/>
                <a:gd name="T114" fmla="*/ 27 w 548"/>
                <a:gd name="T115" fmla="*/ 376 h 464"/>
                <a:gd name="T116" fmla="*/ 15 w 548"/>
                <a:gd name="T117" fmla="*/ 369 h 464"/>
                <a:gd name="T118" fmla="*/ 2 w 548"/>
                <a:gd name="T119" fmla="*/ 36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8" h="464">
                  <a:moveTo>
                    <a:pt x="209" y="0"/>
                  </a:moveTo>
                  <a:lnTo>
                    <a:pt x="209" y="0"/>
                  </a:lnTo>
                  <a:lnTo>
                    <a:pt x="210" y="0"/>
                  </a:lnTo>
                  <a:lnTo>
                    <a:pt x="211" y="1"/>
                  </a:lnTo>
                  <a:lnTo>
                    <a:pt x="214" y="1"/>
                  </a:lnTo>
                  <a:lnTo>
                    <a:pt x="215" y="2"/>
                  </a:lnTo>
                  <a:lnTo>
                    <a:pt x="217" y="2"/>
                  </a:lnTo>
                  <a:lnTo>
                    <a:pt x="220" y="2"/>
                  </a:lnTo>
                  <a:lnTo>
                    <a:pt x="222" y="2"/>
                  </a:lnTo>
                  <a:lnTo>
                    <a:pt x="223" y="2"/>
                  </a:lnTo>
                  <a:lnTo>
                    <a:pt x="225" y="2"/>
                  </a:lnTo>
                  <a:lnTo>
                    <a:pt x="228" y="1"/>
                  </a:lnTo>
                  <a:lnTo>
                    <a:pt x="228" y="1"/>
                  </a:lnTo>
                  <a:lnTo>
                    <a:pt x="229" y="1"/>
                  </a:lnTo>
                  <a:lnTo>
                    <a:pt x="230" y="1"/>
                  </a:lnTo>
                  <a:lnTo>
                    <a:pt x="231" y="1"/>
                  </a:lnTo>
                  <a:lnTo>
                    <a:pt x="232" y="1"/>
                  </a:lnTo>
                  <a:lnTo>
                    <a:pt x="235" y="2"/>
                  </a:lnTo>
                  <a:lnTo>
                    <a:pt x="235" y="2"/>
                  </a:lnTo>
                  <a:lnTo>
                    <a:pt x="236" y="2"/>
                  </a:lnTo>
                  <a:lnTo>
                    <a:pt x="237" y="2"/>
                  </a:lnTo>
                  <a:lnTo>
                    <a:pt x="238" y="2"/>
                  </a:lnTo>
                  <a:lnTo>
                    <a:pt x="240" y="2"/>
                  </a:lnTo>
                  <a:lnTo>
                    <a:pt x="242" y="1"/>
                  </a:lnTo>
                  <a:lnTo>
                    <a:pt x="243" y="1"/>
                  </a:lnTo>
                  <a:lnTo>
                    <a:pt x="244" y="1"/>
                  </a:lnTo>
                  <a:lnTo>
                    <a:pt x="245" y="2"/>
                  </a:lnTo>
                  <a:lnTo>
                    <a:pt x="248" y="2"/>
                  </a:lnTo>
                  <a:lnTo>
                    <a:pt x="249" y="2"/>
                  </a:lnTo>
                  <a:lnTo>
                    <a:pt x="250" y="2"/>
                  </a:lnTo>
                  <a:lnTo>
                    <a:pt x="252" y="3"/>
                  </a:lnTo>
                  <a:lnTo>
                    <a:pt x="253" y="3"/>
                  </a:lnTo>
                  <a:lnTo>
                    <a:pt x="254" y="4"/>
                  </a:lnTo>
                  <a:lnTo>
                    <a:pt x="256" y="4"/>
                  </a:lnTo>
                  <a:lnTo>
                    <a:pt x="258" y="5"/>
                  </a:lnTo>
                  <a:lnTo>
                    <a:pt x="265" y="9"/>
                  </a:lnTo>
                  <a:lnTo>
                    <a:pt x="267" y="9"/>
                  </a:lnTo>
                  <a:lnTo>
                    <a:pt x="268" y="10"/>
                  </a:lnTo>
                  <a:lnTo>
                    <a:pt x="270" y="11"/>
                  </a:lnTo>
                  <a:lnTo>
                    <a:pt x="272" y="11"/>
                  </a:lnTo>
                  <a:lnTo>
                    <a:pt x="273" y="12"/>
                  </a:lnTo>
                  <a:lnTo>
                    <a:pt x="275" y="12"/>
                  </a:lnTo>
                  <a:lnTo>
                    <a:pt x="277" y="13"/>
                  </a:lnTo>
                  <a:lnTo>
                    <a:pt x="278" y="13"/>
                  </a:lnTo>
                  <a:lnTo>
                    <a:pt x="279" y="13"/>
                  </a:lnTo>
                  <a:lnTo>
                    <a:pt x="281" y="13"/>
                  </a:lnTo>
                  <a:lnTo>
                    <a:pt x="282" y="13"/>
                  </a:lnTo>
                  <a:lnTo>
                    <a:pt x="282" y="13"/>
                  </a:lnTo>
                  <a:lnTo>
                    <a:pt x="283" y="13"/>
                  </a:lnTo>
                  <a:lnTo>
                    <a:pt x="282" y="13"/>
                  </a:lnTo>
                  <a:lnTo>
                    <a:pt x="282" y="14"/>
                  </a:lnTo>
                  <a:lnTo>
                    <a:pt x="282" y="15"/>
                  </a:lnTo>
                  <a:lnTo>
                    <a:pt x="281" y="16"/>
                  </a:lnTo>
                  <a:lnTo>
                    <a:pt x="281" y="17"/>
                  </a:lnTo>
                  <a:lnTo>
                    <a:pt x="280" y="20"/>
                  </a:lnTo>
                  <a:lnTo>
                    <a:pt x="280" y="20"/>
                  </a:lnTo>
                  <a:lnTo>
                    <a:pt x="280" y="21"/>
                  </a:lnTo>
                  <a:lnTo>
                    <a:pt x="280" y="21"/>
                  </a:lnTo>
                  <a:lnTo>
                    <a:pt x="279" y="22"/>
                  </a:lnTo>
                  <a:lnTo>
                    <a:pt x="279" y="22"/>
                  </a:lnTo>
                  <a:lnTo>
                    <a:pt x="278" y="22"/>
                  </a:lnTo>
                  <a:lnTo>
                    <a:pt x="278" y="23"/>
                  </a:lnTo>
                  <a:lnTo>
                    <a:pt x="278" y="23"/>
                  </a:lnTo>
                  <a:lnTo>
                    <a:pt x="277" y="23"/>
                  </a:lnTo>
                  <a:lnTo>
                    <a:pt x="276" y="23"/>
                  </a:lnTo>
                  <a:lnTo>
                    <a:pt x="275" y="23"/>
                  </a:lnTo>
                  <a:lnTo>
                    <a:pt x="271" y="22"/>
                  </a:lnTo>
                  <a:lnTo>
                    <a:pt x="268" y="21"/>
                  </a:lnTo>
                  <a:lnTo>
                    <a:pt x="268" y="21"/>
                  </a:lnTo>
                  <a:lnTo>
                    <a:pt x="267" y="21"/>
                  </a:lnTo>
                  <a:lnTo>
                    <a:pt x="267" y="22"/>
                  </a:lnTo>
                  <a:lnTo>
                    <a:pt x="266" y="22"/>
                  </a:lnTo>
                  <a:lnTo>
                    <a:pt x="266" y="22"/>
                  </a:lnTo>
                  <a:lnTo>
                    <a:pt x="266" y="23"/>
                  </a:lnTo>
                  <a:lnTo>
                    <a:pt x="266" y="24"/>
                  </a:lnTo>
                  <a:lnTo>
                    <a:pt x="265" y="25"/>
                  </a:lnTo>
                  <a:lnTo>
                    <a:pt x="265" y="26"/>
                  </a:lnTo>
                  <a:lnTo>
                    <a:pt x="265" y="27"/>
                  </a:lnTo>
                  <a:lnTo>
                    <a:pt x="266" y="30"/>
                  </a:lnTo>
                  <a:lnTo>
                    <a:pt x="266" y="31"/>
                  </a:lnTo>
                  <a:lnTo>
                    <a:pt x="266" y="32"/>
                  </a:lnTo>
                  <a:lnTo>
                    <a:pt x="266" y="34"/>
                  </a:lnTo>
                  <a:lnTo>
                    <a:pt x="266" y="35"/>
                  </a:lnTo>
                  <a:lnTo>
                    <a:pt x="266" y="36"/>
                  </a:lnTo>
                  <a:lnTo>
                    <a:pt x="266" y="36"/>
                  </a:lnTo>
                  <a:lnTo>
                    <a:pt x="266" y="37"/>
                  </a:lnTo>
                  <a:lnTo>
                    <a:pt x="266" y="37"/>
                  </a:lnTo>
                  <a:lnTo>
                    <a:pt x="267" y="37"/>
                  </a:lnTo>
                  <a:lnTo>
                    <a:pt x="267" y="38"/>
                  </a:lnTo>
                  <a:lnTo>
                    <a:pt x="268" y="38"/>
                  </a:lnTo>
                  <a:lnTo>
                    <a:pt x="268" y="38"/>
                  </a:lnTo>
                  <a:lnTo>
                    <a:pt x="271" y="39"/>
                  </a:lnTo>
                  <a:lnTo>
                    <a:pt x="274" y="40"/>
                  </a:lnTo>
                  <a:lnTo>
                    <a:pt x="278" y="41"/>
                  </a:lnTo>
                  <a:lnTo>
                    <a:pt x="280" y="42"/>
                  </a:lnTo>
                  <a:lnTo>
                    <a:pt x="282" y="42"/>
                  </a:lnTo>
                  <a:lnTo>
                    <a:pt x="283" y="42"/>
                  </a:lnTo>
                  <a:lnTo>
                    <a:pt x="285" y="42"/>
                  </a:lnTo>
                  <a:lnTo>
                    <a:pt x="287" y="43"/>
                  </a:lnTo>
                  <a:lnTo>
                    <a:pt x="288" y="43"/>
                  </a:lnTo>
                  <a:lnTo>
                    <a:pt x="288" y="43"/>
                  </a:lnTo>
                  <a:lnTo>
                    <a:pt x="289" y="43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8" y="44"/>
                  </a:lnTo>
                  <a:lnTo>
                    <a:pt x="288" y="45"/>
                  </a:lnTo>
                  <a:lnTo>
                    <a:pt x="287" y="45"/>
                  </a:lnTo>
                  <a:lnTo>
                    <a:pt x="287" y="46"/>
                  </a:lnTo>
                  <a:lnTo>
                    <a:pt x="286" y="47"/>
                  </a:lnTo>
                  <a:lnTo>
                    <a:pt x="285" y="47"/>
                  </a:lnTo>
                  <a:lnTo>
                    <a:pt x="285" y="48"/>
                  </a:lnTo>
                  <a:lnTo>
                    <a:pt x="283" y="50"/>
                  </a:lnTo>
                  <a:lnTo>
                    <a:pt x="283" y="51"/>
                  </a:lnTo>
                  <a:lnTo>
                    <a:pt x="281" y="54"/>
                  </a:lnTo>
                  <a:lnTo>
                    <a:pt x="280" y="55"/>
                  </a:lnTo>
                  <a:lnTo>
                    <a:pt x="280" y="56"/>
                  </a:lnTo>
                  <a:lnTo>
                    <a:pt x="280" y="58"/>
                  </a:lnTo>
                  <a:lnTo>
                    <a:pt x="280" y="59"/>
                  </a:lnTo>
                  <a:lnTo>
                    <a:pt x="280" y="61"/>
                  </a:lnTo>
                  <a:lnTo>
                    <a:pt x="280" y="62"/>
                  </a:lnTo>
                  <a:lnTo>
                    <a:pt x="280" y="64"/>
                  </a:lnTo>
                  <a:lnTo>
                    <a:pt x="280" y="65"/>
                  </a:lnTo>
                  <a:lnTo>
                    <a:pt x="281" y="68"/>
                  </a:lnTo>
                  <a:lnTo>
                    <a:pt x="282" y="72"/>
                  </a:lnTo>
                  <a:lnTo>
                    <a:pt x="283" y="75"/>
                  </a:lnTo>
                  <a:lnTo>
                    <a:pt x="283" y="76"/>
                  </a:lnTo>
                  <a:lnTo>
                    <a:pt x="284" y="77"/>
                  </a:lnTo>
                  <a:lnTo>
                    <a:pt x="284" y="78"/>
                  </a:lnTo>
                  <a:lnTo>
                    <a:pt x="285" y="79"/>
                  </a:lnTo>
                  <a:lnTo>
                    <a:pt x="287" y="82"/>
                  </a:lnTo>
                  <a:lnTo>
                    <a:pt x="288" y="83"/>
                  </a:lnTo>
                  <a:lnTo>
                    <a:pt x="288" y="84"/>
                  </a:lnTo>
                  <a:lnTo>
                    <a:pt x="289" y="85"/>
                  </a:lnTo>
                  <a:lnTo>
                    <a:pt x="289" y="86"/>
                  </a:lnTo>
                  <a:lnTo>
                    <a:pt x="290" y="87"/>
                  </a:lnTo>
                  <a:lnTo>
                    <a:pt x="290" y="88"/>
                  </a:lnTo>
                  <a:lnTo>
                    <a:pt x="289" y="88"/>
                  </a:lnTo>
                  <a:lnTo>
                    <a:pt x="289" y="89"/>
                  </a:lnTo>
                  <a:lnTo>
                    <a:pt x="289" y="89"/>
                  </a:lnTo>
                  <a:lnTo>
                    <a:pt x="289" y="90"/>
                  </a:lnTo>
                  <a:lnTo>
                    <a:pt x="288" y="90"/>
                  </a:lnTo>
                  <a:lnTo>
                    <a:pt x="286" y="92"/>
                  </a:lnTo>
                  <a:lnTo>
                    <a:pt x="285" y="93"/>
                  </a:lnTo>
                  <a:lnTo>
                    <a:pt x="285" y="93"/>
                  </a:lnTo>
                  <a:lnTo>
                    <a:pt x="285" y="94"/>
                  </a:lnTo>
                  <a:lnTo>
                    <a:pt x="285" y="94"/>
                  </a:lnTo>
                  <a:lnTo>
                    <a:pt x="284" y="95"/>
                  </a:lnTo>
                  <a:lnTo>
                    <a:pt x="284" y="96"/>
                  </a:lnTo>
                  <a:lnTo>
                    <a:pt x="284" y="96"/>
                  </a:lnTo>
                  <a:lnTo>
                    <a:pt x="284" y="97"/>
                  </a:lnTo>
                  <a:lnTo>
                    <a:pt x="284" y="98"/>
                  </a:lnTo>
                  <a:lnTo>
                    <a:pt x="284" y="99"/>
                  </a:lnTo>
                  <a:lnTo>
                    <a:pt x="284" y="99"/>
                  </a:lnTo>
                  <a:lnTo>
                    <a:pt x="285" y="100"/>
                  </a:lnTo>
                  <a:lnTo>
                    <a:pt x="285" y="100"/>
                  </a:lnTo>
                  <a:lnTo>
                    <a:pt x="287" y="102"/>
                  </a:lnTo>
                  <a:lnTo>
                    <a:pt x="287" y="102"/>
                  </a:lnTo>
                  <a:lnTo>
                    <a:pt x="288" y="103"/>
                  </a:lnTo>
                  <a:lnTo>
                    <a:pt x="290" y="104"/>
                  </a:lnTo>
                  <a:lnTo>
                    <a:pt x="293" y="107"/>
                  </a:lnTo>
                  <a:lnTo>
                    <a:pt x="295" y="108"/>
                  </a:lnTo>
                  <a:lnTo>
                    <a:pt x="296" y="109"/>
                  </a:lnTo>
                  <a:lnTo>
                    <a:pt x="298" y="109"/>
                  </a:lnTo>
                  <a:lnTo>
                    <a:pt x="299" y="110"/>
                  </a:lnTo>
                  <a:lnTo>
                    <a:pt x="300" y="110"/>
                  </a:lnTo>
                  <a:lnTo>
                    <a:pt x="301" y="110"/>
                  </a:lnTo>
                  <a:lnTo>
                    <a:pt x="302" y="110"/>
                  </a:lnTo>
                  <a:lnTo>
                    <a:pt x="303" y="109"/>
                  </a:lnTo>
                  <a:lnTo>
                    <a:pt x="304" y="109"/>
                  </a:lnTo>
                  <a:lnTo>
                    <a:pt x="305" y="108"/>
                  </a:lnTo>
                  <a:lnTo>
                    <a:pt x="306" y="107"/>
                  </a:lnTo>
                  <a:lnTo>
                    <a:pt x="307" y="106"/>
                  </a:lnTo>
                  <a:lnTo>
                    <a:pt x="309" y="105"/>
                  </a:lnTo>
                  <a:lnTo>
                    <a:pt x="309" y="104"/>
                  </a:lnTo>
                  <a:lnTo>
                    <a:pt x="310" y="103"/>
                  </a:lnTo>
                  <a:lnTo>
                    <a:pt x="311" y="102"/>
                  </a:lnTo>
                  <a:lnTo>
                    <a:pt x="311" y="100"/>
                  </a:lnTo>
                  <a:lnTo>
                    <a:pt x="312" y="97"/>
                  </a:lnTo>
                  <a:lnTo>
                    <a:pt x="313" y="95"/>
                  </a:lnTo>
                  <a:lnTo>
                    <a:pt x="314" y="94"/>
                  </a:lnTo>
                  <a:lnTo>
                    <a:pt x="315" y="92"/>
                  </a:lnTo>
                  <a:lnTo>
                    <a:pt x="316" y="91"/>
                  </a:lnTo>
                  <a:lnTo>
                    <a:pt x="316" y="91"/>
                  </a:lnTo>
                  <a:lnTo>
                    <a:pt x="316" y="90"/>
                  </a:lnTo>
                  <a:lnTo>
                    <a:pt x="316" y="90"/>
                  </a:lnTo>
                  <a:lnTo>
                    <a:pt x="316" y="89"/>
                  </a:lnTo>
                  <a:lnTo>
                    <a:pt x="316" y="88"/>
                  </a:lnTo>
                  <a:lnTo>
                    <a:pt x="316" y="88"/>
                  </a:lnTo>
                  <a:lnTo>
                    <a:pt x="316" y="87"/>
                  </a:lnTo>
                  <a:lnTo>
                    <a:pt x="315" y="86"/>
                  </a:lnTo>
                  <a:lnTo>
                    <a:pt x="315" y="85"/>
                  </a:lnTo>
                  <a:lnTo>
                    <a:pt x="314" y="83"/>
                  </a:lnTo>
                  <a:lnTo>
                    <a:pt x="313" y="82"/>
                  </a:lnTo>
                  <a:lnTo>
                    <a:pt x="313" y="81"/>
                  </a:lnTo>
                  <a:lnTo>
                    <a:pt x="312" y="80"/>
                  </a:lnTo>
                  <a:lnTo>
                    <a:pt x="312" y="79"/>
                  </a:lnTo>
                  <a:lnTo>
                    <a:pt x="312" y="78"/>
                  </a:lnTo>
                  <a:lnTo>
                    <a:pt x="311" y="77"/>
                  </a:lnTo>
                  <a:lnTo>
                    <a:pt x="311" y="77"/>
                  </a:lnTo>
                  <a:lnTo>
                    <a:pt x="306" y="72"/>
                  </a:lnTo>
                  <a:lnTo>
                    <a:pt x="305" y="72"/>
                  </a:lnTo>
                  <a:lnTo>
                    <a:pt x="305" y="71"/>
                  </a:lnTo>
                  <a:lnTo>
                    <a:pt x="305" y="71"/>
                  </a:lnTo>
                  <a:lnTo>
                    <a:pt x="304" y="70"/>
                  </a:lnTo>
                  <a:lnTo>
                    <a:pt x="304" y="69"/>
                  </a:lnTo>
                  <a:lnTo>
                    <a:pt x="303" y="69"/>
                  </a:lnTo>
                  <a:lnTo>
                    <a:pt x="303" y="68"/>
                  </a:lnTo>
                  <a:lnTo>
                    <a:pt x="303" y="68"/>
                  </a:lnTo>
                  <a:lnTo>
                    <a:pt x="303" y="68"/>
                  </a:lnTo>
                  <a:lnTo>
                    <a:pt x="303" y="67"/>
                  </a:lnTo>
                  <a:lnTo>
                    <a:pt x="303" y="67"/>
                  </a:lnTo>
                  <a:lnTo>
                    <a:pt x="304" y="67"/>
                  </a:lnTo>
                  <a:lnTo>
                    <a:pt x="305" y="65"/>
                  </a:lnTo>
                  <a:lnTo>
                    <a:pt x="307" y="64"/>
                  </a:lnTo>
                  <a:lnTo>
                    <a:pt x="308" y="63"/>
                  </a:lnTo>
                  <a:lnTo>
                    <a:pt x="309" y="62"/>
                  </a:lnTo>
                  <a:lnTo>
                    <a:pt x="311" y="61"/>
                  </a:lnTo>
                  <a:lnTo>
                    <a:pt x="312" y="60"/>
                  </a:lnTo>
                  <a:lnTo>
                    <a:pt x="314" y="60"/>
                  </a:lnTo>
                  <a:lnTo>
                    <a:pt x="315" y="60"/>
                  </a:lnTo>
                  <a:lnTo>
                    <a:pt x="316" y="60"/>
                  </a:lnTo>
                  <a:lnTo>
                    <a:pt x="317" y="60"/>
                  </a:lnTo>
                  <a:lnTo>
                    <a:pt x="318" y="60"/>
                  </a:lnTo>
                  <a:lnTo>
                    <a:pt x="320" y="60"/>
                  </a:lnTo>
                  <a:lnTo>
                    <a:pt x="322" y="61"/>
                  </a:lnTo>
                  <a:lnTo>
                    <a:pt x="324" y="61"/>
                  </a:lnTo>
                  <a:lnTo>
                    <a:pt x="325" y="61"/>
                  </a:lnTo>
                  <a:lnTo>
                    <a:pt x="326" y="62"/>
                  </a:lnTo>
                  <a:lnTo>
                    <a:pt x="326" y="62"/>
                  </a:lnTo>
                  <a:lnTo>
                    <a:pt x="327" y="63"/>
                  </a:lnTo>
                  <a:lnTo>
                    <a:pt x="328" y="64"/>
                  </a:lnTo>
                  <a:lnTo>
                    <a:pt x="329" y="65"/>
                  </a:lnTo>
                  <a:lnTo>
                    <a:pt x="329" y="66"/>
                  </a:lnTo>
                  <a:lnTo>
                    <a:pt x="330" y="67"/>
                  </a:lnTo>
                  <a:lnTo>
                    <a:pt x="331" y="69"/>
                  </a:lnTo>
                  <a:lnTo>
                    <a:pt x="331" y="70"/>
                  </a:lnTo>
                  <a:lnTo>
                    <a:pt x="332" y="71"/>
                  </a:lnTo>
                  <a:lnTo>
                    <a:pt x="334" y="72"/>
                  </a:lnTo>
                  <a:lnTo>
                    <a:pt x="334" y="73"/>
                  </a:lnTo>
                  <a:lnTo>
                    <a:pt x="335" y="74"/>
                  </a:lnTo>
                  <a:lnTo>
                    <a:pt x="336" y="75"/>
                  </a:lnTo>
                  <a:lnTo>
                    <a:pt x="336" y="76"/>
                  </a:lnTo>
                  <a:lnTo>
                    <a:pt x="336" y="77"/>
                  </a:lnTo>
                  <a:lnTo>
                    <a:pt x="337" y="78"/>
                  </a:lnTo>
                  <a:lnTo>
                    <a:pt x="338" y="79"/>
                  </a:lnTo>
                  <a:lnTo>
                    <a:pt x="338" y="80"/>
                  </a:lnTo>
                  <a:lnTo>
                    <a:pt x="339" y="81"/>
                  </a:lnTo>
                  <a:lnTo>
                    <a:pt x="340" y="83"/>
                  </a:lnTo>
                  <a:lnTo>
                    <a:pt x="341" y="87"/>
                  </a:lnTo>
                  <a:lnTo>
                    <a:pt x="341" y="90"/>
                  </a:lnTo>
                  <a:lnTo>
                    <a:pt x="342" y="90"/>
                  </a:lnTo>
                  <a:lnTo>
                    <a:pt x="342" y="91"/>
                  </a:lnTo>
                  <a:lnTo>
                    <a:pt x="343" y="92"/>
                  </a:lnTo>
                  <a:lnTo>
                    <a:pt x="343" y="93"/>
                  </a:lnTo>
                  <a:lnTo>
                    <a:pt x="344" y="94"/>
                  </a:lnTo>
                  <a:lnTo>
                    <a:pt x="346" y="95"/>
                  </a:lnTo>
                  <a:lnTo>
                    <a:pt x="346" y="95"/>
                  </a:lnTo>
                  <a:lnTo>
                    <a:pt x="347" y="96"/>
                  </a:lnTo>
                  <a:lnTo>
                    <a:pt x="347" y="97"/>
                  </a:lnTo>
                  <a:lnTo>
                    <a:pt x="347" y="97"/>
                  </a:lnTo>
                  <a:lnTo>
                    <a:pt x="349" y="100"/>
                  </a:lnTo>
                  <a:lnTo>
                    <a:pt x="349" y="101"/>
                  </a:lnTo>
                  <a:lnTo>
                    <a:pt x="350" y="101"/>
                  </a:lnTo>
                  <a:lnTo>
                    <a:pt x="350" y="102"/>
                  </a:lnTo>
                  <a:lnTo>
                    <a:pt x="351" y="104"/>
                  </a:lnTo>
                  <a:lnTo>
                    <a:pt x="352" y="104"/>
                  </a:lnTo>
                  <a:lnTo>
                    <a:pt x="353" y="105"/>
                  </a:lnTo>
                  <a:lnTo>
                    <a:pt x="353" y="105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5" y="106"/>
                  </a:lnTo>
                  <a:lnTo>
                    <a:pt x="355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7" y="106"/>
                  </a:lnTo>
                  <a:lnTo>
                    <a:pt x="357" y="105"/>
                  </a:lnTo>
                  <a:lnTo>
                    <a:pt x="358" y="104"/>
                  </a:lnTo>
                  <a:lnTo>
                    <a:pt x="358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60" y="103"/>
                  </a:lnTo>
                  <a:lnTo>
                    <a:pt x="360" y="103"/>
                  </a:lnTo>
                  <a:lnTo>
                    <a:pt x="360" y="104"/>
                  </a:lnTo>
                  <a:lnTo>
                    <a:pt x="360" y="104"/>
                  </a:lnTo>
                  <a:lnTo>
                    <a:pt x="360" y="105"/>
                  </a:lnTo>
                  <a:lnTo>
                    <a:pt x="361" y="107"/>
                  </a:lnTo>
                  <a:lnTo>
                    <a:pt x="360" y="108"/>
                  </a:lnTo>
                  <a:lnTo>
                    <a:pt x="360" y="110"/>
                  </a:lnTo>
                  <a:lnTo>
                    <a:pt x="360" y="111"/>
                  </a:lnTo>
                  <a:lnTo>
                    <a:pt x="360" y="113"/>
                  </a:lnTo>
                  <a:lnTo>
                    <a:pt x="359" y="116"/>
                  </a:lnTo>
                  <a:lnTo>
                    <a:pt x="359" y="119"/>
                  </a:lnTo>
                  <a:lnTo>
                    <a:pt x="358" y="121"/>
                  </a:lnTo>
                  <a:lnTo>
                    <a:pt x="358" y="121"/>
                  </a:lnTo>
                  <a:lnTo>
                    <a:pt x="358" y="122"/>
                  </a:lnTo>
                  <a:lnTo>
                    <a:pt x="358" y="122"/>
                  </a:lnTo>
                  <a:lnTo>
                    <a:pt x="359" y="123"/>
                  </a:lnTo>
                  <a:lnTo>
                    <a:pt x="359" y="123"/>
                  </a:lnTo>
                  <a:lnTo>
                    <a:pt x="359" y="123"/>
                  </a:lnTo>
                  <a:lnTo>
                    <a:pt x="360" y="124"/>
                  </a:lnTo>
                  <a:lnTo>
                    <a:pt x="360" y="124"/>
                  </a:lnTo>
                  <a:lnTo>
                    <a:pt x="361" y="125"/>
                  </a:lnTo>
                  <a:lnTo>
                    <a:pt x="364" y="126"/>
                  </a:lnTo>
                  <a:lnTo>
                    <a:pt x="365" y="127"/>
                  </a:lnTo>
                  <a:lnTo>
                    <a:pt x="367" y="128"/>
                  </a:lnTo>
                  <a:lnTo>
                    <a:pt x="369" y="128"/>
                  </a:lnTo>
                  <a:lnTo>
                    <a:pt x="371" y="129"/>
                  </a:lnTo>
                  <a:lnTo>
                    <a:pt x="374" y="130"/>
                  </a:lnTo>
                  <a:lnTo>
                    <a:pt x="375" y="131"/>
                  </a:lnTo>
                  <a:lnTo>
                    <a:pt x="377" y="131"/>
                  </a:lnTo>
                  <a:lnTo>
                    <a:pt x="379" y="132"/>
                  </a:lnTo>
                  <a:lnTo>
                    <a:pt x="380" y="133"/>
                  </a:lnTo>
                  <a:lnTo>
                    <a:pt x="381" y="134"/>
                  </a:lnTo>
                  <a:lnTo>
                    <a:pt x="384" y="136"/>
                  </a:lnTo>
                  <a:lnTo>
                    <a:pt x="385" y="137"/>
                  </a:lnTo>
                  <a:lnTo>
                    <a:pt x="386" y="138"/>
                  </a:lnTo>
                  <a:lnTo>
                    <a:pt x="386" y="138"/>
                  </a:lnTo>
                  <a:lnTo>
                    <a:pt x="387" y="139"/>
                  </a:lnTo>
                  <a:lnTo>
                    <a:pt x="387" y="140"/>
                  </a:lnTo>
                  <a:lnTo>
                    <a:pt x="387" y="141"/>
                  </a:lnTo>
                  <a:lnTo>
                    <a:pt x="389" y="146"/>
                  </a:lnTo>
                  <a:lnTo>
                    <a:pt x="390" y="149"/>
                  </a:lnTo>
                  <a:lnTo>
                    <a:pt x="390" y="150"/>
                  </a:lnTo>
                  <a:lnTo>
                    <a:pt x="392" y="153"/>
                  </a:lnTo>
                  <a:lnTo>
                    <a:pt x="394" y="158"/>
                  </a:lnTo>
                  <a:lnTo>
                    <a:pt x="394" y="160"/>
                  </a:lnTo>
                  <a:lnTo>
                    <a:pt x="390" y="166"/>
                  </a:lnTo>
                  <a:lnTo>
                    <a:pt x="389" y="168"/>
                  </a:lnTo>
                  <a:lnTo>
                    <a:pt x="389" y="170"/>
                  </a:lnTo>
                  <a:lnTo>
                    <a:pt x="389" y="171"/>
                  </a:lnTo>
                  <a:lnTo>
                    <a:pt x="388" y="172"/>
                  </a:lnTo>
                  <a:lnTo>
                    <a:pt x="388" y="173"/>
                  </a:lnTo>
                  <a:lnTo>
                    <a:pt x="388" y="174"/>
                  </a:lnTo>
                  <a:lnTo>
                    <a:pt x="388" y="175"/>
                  </a:lnTo>
                  <a:lnTo>
                    <a:pt x="388" y="176"/>
                  </a:lnTo>
                  <a:lnTo>
                    <a:pt x="389" y="179"/>
                  </a:lnTo>
                  <a:lnTo>
                    <a:pt x="389" y="181"/>
                  </a:lnTo>
                  <a:lnTo>
                    <a:pt x="389" y="182"/>
                  </a:lnTo>
                  <a:lnTo>
                    <a:pt x="389" y="186"/>
                  </a:lnTo>
                  <a:lnTo>
                    <a:pt x="389" y="187"/>
                  </a:lnTo>
                  <a:lnTo>
                    <a:pt x="390" y="188"/>
                  </a:lnTo>
                  <a:lnTo>
                    <a:pt x="390" y="189"/>
                  </a:lnTo>
                  <a:lnTo>
                    <a:pt x="391" y="191"/>
                  </a:lnTo>
                  <a:lnTo>
                    <a:pt x="393" y="195"/>
                  </a:lnTo>
                  <a:lnTo>
                    <a:pt x="394" y="198"/>
                  </a:lnTo>
                  <a:lnTo>
                    <a:pt x="394" y="199"/>
                  </a:lnTo>
                  <a:lnTo>
                    <a:pt x="394" y="199"/>
                  </a:lnTo>
                  <a:lnTo>
                    <a:pt x="394" y="200"/>
                  </a:lnTo>
                  <a:lnTo>
                    <a:pt x="394" y="201"/>
                  </a:lnTo>
                  <a:lnTo>
                    <a:pt x="394" y="202"/>
                  </a:lnTo>
                  <a:lnTo>
                    <a:pt x="394" y="203"/>
                  </a:lnTo>
                  <a:lnTo>
                    <a:pt x="394" y="204"/>
                  </a:lnTo>
                  <a:lnTo>
                    <a:pt x="394" y="204"/>
                  </a:lnTo>
                  <a:lnTo>
                    <a:pt x="394" y="205"/>
                  </a:lnTo>
                  <a:lnTo>
                    <a:pt x="395" y="205"/>
                  </a:lnTo>
                  <a:lnTo>
                    <a:pt x="395" y="205"/>
                  </a:lnTo>
                  <a:lnTo>
                    <a:pt x="396" y="205"/>
                  </a:lnTo>
                  <a:lnTo>
                    <a:pt x="397" y="205"/>
                  </a:lnTo>
                  <a:lnTo>
                    <a:pt x="399" y="205"/>
                  </a:lnTo>
                  <a:lnTo>
                    <a:pt x="401" y="205"/>
                  </a:lnTo>
                  <a:lnTo>
                    <a:pt x="402" y="205"/>
                  </a:lnTo>
                  <a:lnTo>
                    <a:pt x="403" y="205"/>
                  </a:lnTo>
                  <a:lnTo>
                    <a:pt x="404" y="205"/>
                  </a:lnTo>
                  <a:lnTo>
                    <a:pt x="405" y="205"/>
                  </a:lnTo>
                  <a:lnTo>
                    <a:pt x="405" y="205"/>
                  </a:lnTo>
                  <a:lnTo>
                    <a:pt x="406" y="206"/>
                  </a:lnTo>
                  <a:lnTo>
                    <a:pt x="406" y="206"/>
                  </a:lnTo>
                  <a:lnTo>
                    <a:pt x="406" y="207"/>
                  </a:lnTo>
                  <a:lnTo>
                    <a:pt x="407" y="207"/>
                  </a:lnTo>
                  <a:lnTo>
                    <a:pt x="407" y="208"/>
                  </a:lnTo>
                  <a:lnTo>
                    <a:pt x="407" y="209"/>
                  </a:lnTo>
                  <a:lnTo>
                    <a:pt x="407" y="210"/>
                  </a:lnTo>
                  <a:lnTo>
                    <a:pt x="407" y="211"/>
                  </a:lnTo>
                  <a:lnTo>
                    <a:pt x="407" y="212"/>
                  </a:lnTo>
                  <a:lnTo>
                    <a:pt x="406" y="213"/>
                  </a:lnTo>
                  <a:lnTo>
                    <a:pt x="406" y="214"/>
                  </a:lnTo>
                  <a:lnTo>
                    <a:pt x="405" y="216"/>
                  </a:lnTo>
                  <a:lnTo>
                    <a:pt x="405" y="217"/>
                  </a:lnTo>
                  <a:lnTo>
                    <a:pt x="404" y="218"/>
                  </a:lnTo>
                  <a:lnTo>
                    <a:pt x="404" y="219"/>
                  </a:lnTo>
                  <a:lnTo>
                    <a:pt x="403" y="220"/>
                  </a:lnTo>
                  <a:lnTo>
                    <a:pt x="403" y="221"/>
                  </a:lnTo>
                  <a:lnTo>
                    <a:pt x="403" y="221"/>
                  </a:lnTo>
                  <a:lnTo>
                    <a:pt x="401" y="222"/>
                  </a:lnTo>
                  <a:lnTo>
                    <a:pt x="399" y="224"/>
                  </a:lnTo>
                  <a:lnTo>
                    <a:pt x="397" y="226"/>
                  </a:lnTo>
                  <a:lnTo>
                    <a:pt x="396" y="226"/>
                  </a:lnTo>
                  <a:lnTo>
                    <a:pt x="395" y="227"/>
                  </a:lnTo>
                  <a:lnTo>
                    <a:pt x="394" y="227"/>
                  </a:lnTo>
                  <a:lnTo>
                    <a:pt x="394" y="229"/>
                  </a:lnTo>
                  <a:lnTo>
                    <a:pt x="393" y="230"/>
                  </a:lnTo>
                  <a:lnTo>
                    <a:pt x="392" y="231"/>
                  </a:lnTo>
                  <a:lnTo>
                    <a:pt x="390" y="235"/>
                  </a:lnTo>
                  <a:lnTo>
                    <a:pt x="389" y="236"/>
                  </a:lnTo>
                  <a:lnTo>
                    <a:pt x="389" y="237"/>
                  </a:lnTo>
                  <a:lnTo>
                    <a:pt x="388" y="238"/>
                  </a:lnTo>
                  <a:lnTo>
                    <a:pt x="387" y="239"/>
                  </a:lnTo>
                  <a:lnTo>
                    <a:pt x="387" y="239"/>
                  </a:lnTo>
                  <a:lnTo>
                    <a:pt x="385" y="241"/>
                  </a:lnTo>
                  <a:lnTo>
                    <a:pt x="385" y="241"/>
                  </a:lnTo>
                  <a:lnTo>
                    <a:pt x="384" y="241"/>
                  </a:lnTo>
                  <a:lnTo>
                    <a:pt x="384" y="242"/>
                  </a:lnTo>
                  <a:lnTo>
                    <a:pt x="384" y="243"/>
                  </a:lnTo>
                  <a:lnTo>
                    <a:pt x="383" y="244"/>
                  </a:lnTo>
                  <a:lnTo>
                    <a:pt x="383" y="245"/>
                  </a:lnTo>
                  <a:lnTo>
                    <a:pt x="383" y="246"/>
                  </a:lnTo>
                  <a:lnTo>
                    <a:pt x="383" y="247"/>
                  </a:lnTo>
                  <a:lnTo>
                    <a:pt x="384" y="249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5" y="251"/>
                  </a:lnTo>
                  <a:lnTo>
                    <a:pt x="385" y="251"/>
                  </a:lnTo>
                  <a:lnTo>
                    <a:pt x="386" y="251"/>
                  </a:lnTo>
                  <a:lnTo>
                    <a:pt x="387" y="251"/>
                  </a:lnTo>
                  <a:lnTo>
                    <a:pt x="388" y="252"/>
                  </a:lnTo>
                  <a:lnTo>
                    <a:pt x="389" y="252"/>
                  </a:lnTo>
                  <a:lnTo>
                    <a:pt x="390" y="251"/>
                  </a:lnTo>
                  <a:lnTo>
                    <a:pt x="391" y="251"/>
                  </a:lnTo>
                  <a:lnTo>
                    <a:pt x="392" y="251"/>
                  </a:lnTo>
                  <a:lnTo>
                    <a:pt x="394" y="251"/>
                  </a:lnTo>
                  <a:lnTo>
                    <a:pt x="396" y="250"/>
                  </a:lnTo>
                  <a:lnTo>
                    <a:pt x="403" y="247"/>
                  </a:lnTo>
                  <a:lnTo>
                    <a:pt x="405" y="247"/>
                  </a:lnTo>
                  <a:lnTo>
                    <a:pt x="406" y="246"/>
                  </a:lnTo>
                  <a:lnTo>
                    <a:pt x="407" y="246"/>
                  </a:lnTo>
                  <a:lnTo>
                    <a:pt x="408" y="246"/>
                  </a:lnTo>
                  <a:lnTo>
                    <a:pt x="409" y="246"/>
                  </a:lnTo>
                  <a:lnTo>
                    <a:pt x="410" y="246"/>
                  </a:lnTo>
                  <a:lnTo>
                    <a:pt x="411" y="246"/>
                  </a:lnTo>
                  <a:lnTo>
                    <a:pt x="411" y="246"/>
                  </a:lnTo>
                  <a:lnTo>
                    <a:pt x="412" y="247"/>
                  </a:lnTo>
                  <a:lnTo>
                    <a:pt x="412" y="247"/>
                  </a:lnTo>
                  <a:lnTo>
                    <a:pt x="413" y="248"/>
                  </a:lnTo>
                  <a:lnTo>
                    <a:pt x="413" y="249"/>
                  </a:lnTo>
                  <a:lnTo>
                    <a:pt x="415" y="250"/>
                  </a:lnTo>
                  <a:lnTo>
                    <a:pt x="416" y="252"/>
                  </a:lnTo>
                  <a:lnTo>
                    <a:pt x="416" y="253"/>
                  </a:lnTo>
                  <a:lnTo>
                    <a:pt x="417" y="254"/>
                  </a:lnTo>
                  <a:lnTo>
                    <a:pt x="417" y="256"/>
                  </a:lnTo>
                  <a:lnTo>
                    <a:pt x="417" y="256"/>
                  </a:lnTo>
                  <a:lnTo>
                    <a:pt x="417" y="258"/>
                  </a:lnTo>
                  <a:lnTo>
                    <a:pt x="417" y="259"/>
                  </a:lnTo>
                  <a:lnTo>
                    <a:pt x="417" y="260"/>
                  </a:lnTo>
                  <a:lnTo>
                    <a:pt x="417" y="264"/>
                  </a:lnTo>
                  <a:lnTo>
                    <a:pt x="417" y="265"/>
                  </a:lnTo>
                  <a:lnTo>
                    <a:pt x="417" y="266"/>
                  </a:lnTo>
                  <a:lnTo>
                    <a:pt x="417" y="267"/>
                  </a:lnTo>
                  <a:lnTo>
                    <a:pt x="417" y="267"/>
                  </a:lnTo>
                  <a:lnTo>
                    <a:pt x="418" y="268"/>
                  </a:lnTo>
                  <a:lnTo>
                    <a:pt x="418" y="268"/>
                  </a:lnTo>
                  <a:lnTo>
                    <a:pt x="418" y="268"/>
                  </a:lnTo>
                  <a:lnTo>
                    <a:pt x="419" y="269"/>
                  </a:lnTo>
                  <a:lnTo>
                    <a:pt x="422" y="269"/>
                  </a:lnTo>
                  <a:lnTo>
                    <a:pt x="423" y="270"/>
                  </a:lnTo>
                  <a:lnTo>
                    <a:pt x="423" y="270"/>
                  </a:lnTo>
                  <a:lnTo>
                    <a:pt x="424" y="270"/>
                  </a:lnTo>
                  <a:lnTo>
                    <a:pt x="426" y="271"/>
                  </a:lnTo>
                  <a:lnTo>
                    <a:pt x="428" y="272"/>
                  </a:lnTo>
                  <a:lnTo>
                    <a:pt x="428" y="272"/>
                  </a:lnTo>
                  <a:lnTo>
                    <a:pt x="429" y="273"/>
                  </a:lnTo>
                  <a:lnTo>
                    <a:pt x="430" y="273"/>
                  </a:lnTo>
                  <a:lnTo>
                    <a:pt x="431" y="274"/>
                  </a:lnTo>
                  <a:lnTo>
                    <a:pt x="433" y="276"/>
                  </a:lnTo>
                  <a:lnTo>
                    <a:pt x="433" y="276"/>
                  </a:lnTo>
                  <a:lnTo>
                    <a:pt x="434" y="277"/>
                  </a:lnTo>
                  <a:lnTo>
                    <a:pt x="435" y="277"/>
                  </a:lnTo>
                  <a:lnTo>
                    <a:pt x="435" y="277"/>
                  </a:lnTo>
                  <a:lnTo>
                    <a:pt x="437" y="278"/>
                  </a:lnTo>
                  <a:lnTo>
                    <a:pt x="442" y="278"/>
                  </a:lnTo>
                  <a:lnTo>
                    <a:pt x="445" y="279"/>
                  </a:lnTo>
                  <a:lnTo>
                    <a:pt x="450" y="280"/>
                  </a:lnTo>
                  <a:lnTo>
                    <a:pt x="451" y="280"/>
                  </a:lnTo>
                  <a:lnTo>
                    <a:pt x="452" y="280"/>
                  </a:lnTo>
                  <a:lnTo>
                    <a:pt x="452" y="281"/>
                  </a:lnTo>
                  <a:lnTo>
                    <a:pt x="453" y="281"/>
                  </a:lnTo>
                  <a:lnTo>
                    <a:pt x="455" y="282"/>
                  </a:lnTo>
                  <a:lnTo>
                    <a:pt x="456" y="283"/>
                  </a:lnTo>
                  <a:lnTo>
                    <a:pt x="456" y="284"/>
                  </a:lnTo>
                  <a:lnTo>
                    <a:pt x="457" y="284"/>
                  </a:lnTo>
                  <a:lnTo>
                    <a:pt x="457" y="284"/>
                  </a:lnTo>
                  <a:lnTo>
                    <a:pt x="457" y="285"/>
                  </a:lnTo>
                  <a:lnTo>
                    <a:pt x="457" y="287"/>
                  </a:lnTo>
                  <a:lnTo>
                    <a:pt x="458" y="288"/>
                  </a:lnTo>
                  <a:lnTo>
                    <a:pt x="458" y="291"/>
                  </a:lnTo>
                  <a:lnTo>
                    <a:pt x="458" y="292"/>
                  </a:lnTo>
                  <a:lnTo>
                    <a:pt x="458" y="292"/>
                  </a:lnTo>
                  <a:lnTo>
                    <a:pt x="459" y="293"/>
                  </a:lnTo>
                  <a:lnTo>
                    <a:pt x="459" y="294"/>
                  </a:lnTo>
                  <a:lnTo>
                    <a:pt x="459" y="294"/>
                  </a:lnTo>
                  <a:lnTo>
                    <a:pt x="460" y="294"/>
                  </a:lnTo>
                  <a:lnTo>
                    <a:pt x="460" y="294"/>
                  </a:lnTo>
                  <a:lnTo>
                    <a:pt x="461" y="295"/>
                  </a:lnTo>
                  <a:lnTo>
                    <a:pt x="462" y="295"/>
                  </a:lnTo>
                  <a:lnTo>
                    <a:pt x="464" y="295"/>
                  </a:lnTo>
                  <a:lnTo>
                    <a:pt x="466" y="295"/>
                  </a:lnTo>
                  <a:lnTo>
                    <a:pt x="467" y="296"/>
                  </a:lnTo>
                  <a:lnTo>
                    <a:pt x="468" y="296"/>
                  </a:lnTo>
                  <a:lnTo>
                    <a:pt x="469" y="296"/>
                  </a:lnTo>
                  <a:lnTo>
                    <a:pt x="469" y="297"/>
                  </a:lnTo>
                  <a:lnTo>
                    <a:pt x="470" y="297"/>
                  </a:lnTo>
                  <a:lnTo>
                    <a:pt x="476" y="301"/>
                  </a:lnTo>
                  <a:lnTo>
                    <a:pt x="477" y="302"/>
                  </a:lnTo>
                  <a:lnTo>
                    <a:pt x="478" y="303"/>
                  </a:lnTo>
                  <a:lnTo>
                    <a:pt x="480" y="304"/>
                  </a:lnTo>
                  <a:lnTo>
                    <a:pt x="481" y="304"/>
                  </a:lnTo>
                  <a:lnTo>
                    <a:pt x="481" y="304"/>
                  </a:lnTo>
                  <a:lnTo>
                    <a:pt x="482" y="304"/>
                  </a:lnTo>
                  <a:lnTo>
                    <a:pt x="483" y="305"/>
                  </a:lnTo>
                  <a:lnTo>
                    <a:pt x="484" y="304"/>
                  </a:lnTo>
                  <a:lnTo>
                    <a:pt x="485" y="304"/>
                  </a:lnTo>
                  <a:lnTo>
                    <a:pt x="486" y="304"/>
                  </a:lnTo>
                  <a:lnTo>
                    <a:pt x="490" y="303"/>
                  </a:lnTo>
                  <a:lnTo>
                    <a:pt x="492" y="303"/>
                  </a:lnTo>
                  <a:lnTo>
                    <a:pt x="493" y="303"/>
                  </a:lnTo>
                  <a:lnTo>
                    <a:pt x="496" y="303"/>
                  </a:lnTo>
                  <a:lnTo>
                    <a:pt x="500" y="302"/>
                  </a:lnTo>
                  <a:lnTo>
                    <a:pt x="500" y="302"/>
                  </a:lnTo>
                  <a:lnTo>
                    <a:pt x="501" y="302"/>
                  </a:lnTo>
                  <a:lnTo>
                    <a:pt x="502" y="302"/>
                  </a:lnTo>
                  <a:lnTo>
                    <a:pt x="502" y="302"/>
                  </a:lnTo>
                  <a:lnTo>
                    <a:pt x="503" y="303"/>
                  </a:lnTo>
                  <a:lnTo>
                    <a:pt x="506" y="304"/>
                  </a:lnTo>
                  <a:lnTo>
                    <a:pt x="508" y="304"/>
                  </a:lnTo>
                  <a:lnTo>
                    <a:pt x="509" y="305"/>
                  </a:lnTo>
                  <a:lnTo>
                    <a:pt x="510" y="305"/>
                  </a:lnTo>
                  <a:lnTo>
                    <a:pt x="511" y="306"/>
                  </a:lnTo>
                  <a:lnTo>
                    <a:pt x="513" y="307"/>
                  </a:lnTo>
                  <a:lnTo>
                    <a:pt x="514" y="308"/>
                  </a:lnTo>
                  <a:lnTo>
                    <a:pt x="514" y="308"/>
                  </a:lnTo>
                  <a:lnTo>
                    <a:pt x="514" y="309"/>
                  </a:lnTo>
                  <a:lnTo>
                    <a:pt x="515" y="309"/>
                  </a:lnTo>
                  <a:lnTo>
                    <a:pt x="515" y="310"/>
                  </a:lnTo>
                  <a:lnTo>
                    <a:pt x="515" y="310"/>
                  </a:lnTo>
                  <a:lnTo>
                    <a:pt x="515" y="311"/>
                  </a:lnTo>
                  <a:lnTo>
                    <a:pt x="516" y="312"/>
                  </a:lnTo>
                  <a:lnTo>
                    <a:pt x="516" y="313"/>
                  </a:lnTo>
                  <a:lnTo>
                    <a:pt x="516" y="315"/>
                  </a:lnTo>
                  <a:lnTo>
                    <a:pt x="516" y="316"/>
                  </a:lnTo>
                  <a:lnTo>
                    <a:pt x="516" y="317"/>
                  </a:lnTo>
                  <a:lnTo>
                    <a:pt x="517" y="317"/>
                  </a:lnTo>
                  <a:lnTo>
                    <a:pt x="517" y="318"/>
                  </a:lnTo>
                  <a:lnTo>
                    <a:pt x="517" y="318"/>
                  </a:lnTo>
                  <a:lnTo>
                    <a:pt x="518" y="319"/>
                  </a:lnTo>
                  <a:lnTo>
                    <a:pt x="518" y="319"/>
                  </a:lnTo>
                  <a:lnTo>
                    <a:pt x="519" y="319"/>
                  </a:lnTo>
                  <a:lnTo>
                    <a:pt x="520" y="320"/>
                  </a:lnTo>
                  <a:lnTo>
                    <a:pt x="522" y="321"/>
                  </a:lnTo>
                  <a:lnTo>
                    <a:pt x="523" y="321"/>
                  </a:lnTo>
                  <a:lnTo>
                    <a:pt x="530" y="324"/>
                  </a:lnTo>
                  <a:lnTo>
                    <a:pt x="531" y="325"/>
                  </a:lnTo>
                  <a:lnTo>
                    <a:pt x="532" y="326"/>
                  </a:lnTo>
                  <a:lnTo>
                    <a:pt x="533" y="327"/>
                  </a:lnTo>
                  <a:lnTo>
                    <a:pt x="534" y="328"/>
                  </a:lnTo>
                  <a:lnTo>
                    <a:pt x="536" y="329"/>
                  </a:lnTo>
                  <a:lnTo>
                    <a:pt x="537" y="330"/>
                  </a:lnTo>
                  <a:lnTo>
                    <a:pt x="538" y="332"/>
                  </a:lnTo>
                  <a:lnTo>
                    <a:pt x="541" y="337"/>
                  </a:lnTo>
                  <a:lnTo>
                    <a:pt x="544" y="340"/>
                  </a:lnTo>
                  <a:lnTo>
                    <a:pt x="544" y="341"/>
                  </a:lnTo>
                  <a:lnTo>
                    <a:pt x="545" y="342"/>
                  </a:lnTo>
                  <a:lnTo>
                    <a:pt x="545" y="343"/>
                  </a:lnTo>
                  <a:lnTo>
                    <a:pt x="547" y="346"/>
                  </a:lnTo>
                  <a:lnTo>
                    <a:pt x="547" y="348"/>
                  </a:lnTo>
                  <a:lnTo>
                    <a:pt x="548" y="349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7" y="350"/>
                  </a:lnTo>
                  <a:lnTo>
                    <a:pt x="547" y="350"/>
                  </a:lnTo>
                  <a:lnTo>
                    <a:pt x="546" y="350"/>
                  </a:lnTo>
                  <a:lnTo>
                    <a:pt x="544" y="351"/>
                  </a:lnTo>
                  <a:lnTo>
                    <a:pt x="541" y="354"/>
                  </a:lnTo>
                  <a:lnTo>
                    <a:pt x="536" y="357"/>
                  </a:lnTo>
                  <a:lnTo>
                    <a:pt x="535" y="358"/>
                  </a:lnTo>
                  <a:lnTo>
                    <a:pt x="532" y="361"/>
                  </a:lnTo>
                  <a:lnTo>
                    <a:pt x="531" y="361"/>
                  </a:lnTo>
                  <a:lnTo>
                    <a:pt x="530" y="362"/>
                  </a:lnTo>
                  <a:lnTo>
                    <a:pt x="529" y="362"/>
                  </a:lnTo>
                  <a:lnTo>
                    <a:pt x="529" y="362"/>
                  </a:lnTo>
                  <a:lnTo>
                    <a:pt x="528" y="363"/>
                  </a:lnTo>
                  <a:lnTo>
                    <a:pt x="527" y="363"/>
                  </a:lnTo>
                  <a:lnTo>
                    <a:pt x="525" y="363"/>
                  </a:lnTo>
                  <a:lnTo>
                    <a:pt x="522" y="364"/>
                  </a:lnTo>
                  <a:lnTo>
                    <a:pt x="521" y="364"/>
                  </a:lnTo>
                  <a:lnTo>
                    <a:pt x="521" y="364"/>
                  </a:lnTo>
                  <a:lnTo>
                    <a:pt x="520" y="365"/>
                  </a:lnTo>
                  <a:lnTo>
                    <a:pt x="519" y="366"/>
                  </a:lnTo>
                  <a:lnTo>
                    <a:pt x="518" y="367"/>
                  </a:lnTo>
                  <a:lnTo>
                    <a:pt x="517" y="367"/>
                  </a:lnTo>
                  <a:lnTo>
                    <a:pt x="517" y="367"/>
                  </a:lnTo>
                  <a:lnTo>
                    <a:pt x="516" y="367"/>
                  </a:lnTo>
                  <a:lnTo>
                    <a:pt x="514" y="368"/>
                  </a:lnTo>
                  <a:lnTo>
                    <a:pt x="513" y="368"/>
                  </a:lnTo>
                  <a:lnTo>
                    <a:pt x="513" y="368"/>
                  </a:lnTo>
                  <a:lnTo>
                    <a:pt x="512" y="368"/>
                  </a:lnTo>
                  <a:lnTo>
                    <a:pt x="511" y="368"/>
                  </a:lnTo>
                  <a:lnTo>
                    <a:pt x="511" y="367"/>
                  </a:lnTo>
                  <a:lnTo>
                    <a:pt x="510" y="367"/>
                  </a:lnTo>
                  <a:lnTo>
                    <a:pt x="509" y="366"/>
                  </a:lnTo>
                  <a:lnTo>
                    <a:pt x="509" y="366"/>
                  </a:lnTo>
                  <a:lnTo>
                    <a:pt x="508" y="366"/>
                  </a:lnTo>
                  <a:lnTo>
                    <a:pt x="506" y="365"/>
                  </a:lnTo>
                  <a:lnTo>
                    <a:pt x="506" y="365"/>
                  </a:lnTo>
                  <a:lnTo>
                    <a:pt x="505" y="364"/>
                  </a:lnTo>
                  <a:lnTo>
                    <a:pt x="504" y="363"/>
                  </a:lnTo>
                  <a:lnTo>
                    <a:pt x="500" y="361"/>
                  </a:lnTo>
                  <a:lnTo>
                    <a:pt x="499" y="360"/>
                  </a:lnTo>
                  <a:lnTo>
                    <a:pt x="497" y="359"/>
                  </a:lnTo>
                  <a:lnTo>
                    <a:pt x="496" y="359"/>
                  </a:lnTo>
                  <a:lnTo>
                    <a:pt x="495" y="358"/>
                  </a:lnTo>
                  <a:lnTo>
                    <a:pt x="493" y="358"/>
                  </a:lnTo>
                  <a:lnTo>
                    <a:pt x="492" y="358"/>
                  </a:lnTo>
                  <a:lnTo>
                    <a:pt x="491" y="358"/>
                  </a:lnTo>
                  <a:lnTo>
                    <a:pt x="490" y="358"/>
                  </a:lnTo>
                  <a:lnTo>
                    <a:pt x="489" y="358"/>
                  </a:lnTo>
                  <a:lnTo>
                    <a:pt x="489" y="358"/>
                  </a:lnTo>
                  <a:lnTo>
                    <a:pt x="488" y="358"/>
                  </a:lnTo>
                  <a:lnTo>
                    <a:pt x="487" y="358"/>
                  </a:lnTo>
                  <a:lnTo>
                    <a:pt x="485" y="359"/>
                  </a:lnTo>
                  <a:lnTo>
                    <a:pt x="485" y="360"/>
                  </a:lnTo>
                  <a:lnTo>
                    <a:pt x="484" y="361"/>
                  </a:lnTo>
                  <a:lnTo>
                    <a:pt x="481" y="363"/>
                  </a:lnTo>
                  <a:lnTo>
                    <a:pt x="480" y="364"/>
                  </a:lnTo>
                  <a:lnTo>
                    <a:pt x="475" y="367"/>
                  </a:lnTo>
                  <a:lnTo>
                    <a:pt x="474" y="368"/>
                  </a:lnTo>
                  <a:lnTo>
                    <a:pt x="473" y="369"/>
                  </a:lnTo>
                  <a:lnTo>
                    <a:pt x="472" y="369"/>
                  </a:lnTo>
                  <a:lnTo>
                    <a:pt x="471" y="369"/>
                  </a:lnTo>
                  <a:lnTo>
                    <a:pt x="471" y="369"/>
                  </a:lnTo>
                  <a:lnTo>
                    <a:pt x="470" y="369"/>
                  </a:lnTo>
                  <a:lnTo>
                    <a:pt x="468" y="370"/>
                  </a:lnTo>
                  <a:lnTo>
                    <a:pt x="465" y="370"/>
                  </a:lnTo>
                  <a:lnTo>
                    <a:pt x="464" y="370"/>
                  </a:lnTo>
                  <a:lnTo>
                    <a:pt x="463" y="370"/>
                  </a:lnTo>
                  <a:lnTo>
                    <a:pt x="462" y="369"/>
                  </a:lnTo>
                  <a:lnTo>
                    <a:pt x="461" y="369"/>
                  </a:lnTo>
                  <a:lnTo>
                    <a:pt x="461" y="369"/>
                  </a:lnTo>
                  <a:lnTo>
                    <a:pt x="459" y="368"/>
                  </a:lnTo>
                  <a:lnTo>
                    <a:pt x="458" y="367"/>
                  </a:lnTo>
                  <a:lnTo>
                    <a:pt x="457" y="367"/>
                  </a:lnTo>
                  <a:lnTo>
                    <a:pt x="455" y="365"/>
                  </a:lnTo>
                  <a:lnTo>
                    <a:pt x="454" y="364"/>
                  </a:lnTo>
                  <a:lnTo>
                    <a:pt x="452" y="362"/>
                  </a:lnTo>
                  <a:lnTo>
                    <a:pt x="449" y="360"/>
                  </a:lnTo>
                  <a:lnTo>
                    <a:pt x="448" y="359"/>
                  </a:lnTo>
                  <a:lnTo>
                    <a:pt x="448" y="359"/>
                  </a:lnTo>
                  <a:lnTo>
                    <a:pt x="447" y="358"/>
                  </a:lnTo>
                  <a:lnTo>
                    <a:pt x="444" y="357"/>
                  </a:lnTo>
                  <a:lnTo>
                    <a:pt x="443" y="357"/>
                  </a:lnTo>
                  <a:lnTo>
                    <a:pt x="439" y="354"/>
                  </a:lnTo>
                  <a:lnTo>
                    <a:pt x="436" y="352"/>
                  </a:lnTo>
                  <a:lnTo>
                    <a:pt x="435" y="351"/>
                  </a:lnTo>
                  <a:lnTo>
                    <a:pt x="434" y="351"/>
                  </a:lnTo>
                  <a:lnTo>
                    <a:pt x="433" y="351"/>
                  </a:lnTo>
                  <a:lnTo>
                    <a:pt x="429" y="349"/>
                  </a:lnTo>
                  <a:lnTo>
                    <a:pt x="426" y="348"/>
                  </a:lnTo>
                  <a:lnTo>
                    <a:pt x="424" y="348"/>
                  </a:lnTo>
                  <a:lnTo>
                    <a:pt x="423" y="347"/>
                  </a:lnTo>
                  <a:lnTo>
                    <a:pt x="421" y="347"/>
                  </a:lnTo>
                  <a:lnTo>
                    <a:pt x="420" y="346"/>
                  </a:lnTo>
                  <a:lnTo>
                    <a:pt x="418" y="346"/>
                  </a:lnTo>
                  <a:lnTo>
                    <a:pt x="417" y="346"/>
                  </a:lnTo>
                  <a:lnTo>
                    <a:pt x="415" y="345"/>
                  </a:lnTo>
                  <a:lnTo>
                    <a:pt x="414" y="345"/>
                  </a:lnTo>
                  <a:lnTo>
                    <a:pt x="413" y="345"/>
                  </a:lnTo>
                  <a:lnTo>
                    <a:pt x="412" y="346"/>
                  </a:lnTo>
                  <a:lnTo>
                    <a:pt x="411" y="346"/>
                  </a:lnTo>
                  <a:lnTo>
                    <a:pt x="411" y="346"/>
                  </a:lnTo>
                  <a:lnTo>
                    <a:pt x="410" y="347"/>
                  </a:lnTo>
                  <a:lnTo>
                    <a:pt x="409" y="347"/>
                  </a:lnTo>
                  <a:lnTo>
                    <a:pt x="408" y="348"/>
                  </a:lnTo>
                  <a:lnTo>
                    <a:pt x="407" y="348"/>
                  </a:lnTo>
                  <a:lnTo>
                    <a:pt x="405" y="350"/>
                  </a:lnTo>
                  <a:lnTo>
                    <a:pt x="403" y="353"/>
                  </a:lnTo>
                  <a:lnTo>
                    <a:pt x="398" y="357"/>
                  </a:lnTo>
                  <a:lnTo>
                    <a:pt x="396" y="358"/>
                  </a:lnTo>
                  <a:lnTo>
                    <a:pt x="392" y="361"/>
                  </a:lnTo>
                  <a:lnTo>
                    <a:pt x="390" y="363"/>
                  </a:lnTo>
                  <a:lnTo>
                    <a:pt x="389" y="364"/>
                  </a:lnTo>
                  <a:lnTo>
                    <a:pt x="388" y="365"/>
                  </a:lnTo>
                  <a:lnTo>
                    <a:pt x="387" y="366"/>
                  </a:lnTo>
                  <a:lnTo>
                    <a:pt x="386" y="367"/>
                  </a:lnTo>
                  <a:lnTo>
                    <a:pt x="386" y="367"/>
                  </a:lnTo>
                  <a:lnTo>
                    <a:pt x="385" y="368"/>
                  </a:lnTo>
                  <a:lnTo>
                    <a:pt x="385" y="369"/>
                  </a:lnTo>
                  <a:lnTo>
                    <a:pt x="384" y="370"/>
                  </a:lnTo>
                  <a:lnTo>
                    <a:pt x="383" y="375"/>
                  </a:lnTo>
                  <a:lnTo>
                    <a:pt x="382" y="376"/>
                  </a:lnTo>
                  <a:lnTo>
                    <a:pt x="382" y="377"/>
                  </a:lnTo>
                  <a:lnTo>
                    <a:pt x="381" y="378"/>
                  </a:lnTo>
                  <a:lnTo>
                    <a:pt x="380" y="380"/>
                  </a:lnTo>
                  <a:lnTo>
                    <a:pt x="379" y="383"/>
                  </a:lnTo>
                  <a:lnTo>
                    <a:pt x="378" y="385"/>
                  </a:lnTo>
                  <a:lnTo>
                    <a:pt x="377" y="386"/>
                  </a:lnTo>
                  <a:lnTo>
                    <a:pt x="376" y="387"/>
                  </a:lnTo>
                  <a:lnTo>
                    <a:pt x="372" y="391"/>
                  </a:lnTo>
                  <a:lnTo>
                    <a:pt x="368" y="396"/>
                  </a:lnTo>
                  <a:lnTo>
                    <a:pt x="367" y="397"/>
                  </a:lnTo>
                  <a:lnTo>
                    <a:pt x="365" y="399"/>
                  </a:lnTo>
                  <a:lnTo>
                    <a:pt x="365" y="400"/>
                  </a:lnTo>
                  <a:lnTo>
                    <a:pt x="361" y="406"/>
                  </a:lnTo>
                  <a:lnTo>
                    <a:pt x="360" y="408"/>
                  </a:lnTo>
                  <a:lnTo>
                    <a:pt x="358" y="412"/>
                  </a:lnTo>
                  <a:lnTo>
                    <a:pt x="357" y="414"/>
                  </a:lnTo>
                  <a:lnTo>
                    <a:pt x="355" y="418"/>
                  </a:lnTo>
                  <a:lnTo>
                    <a:pt x="354" y="421"/>
                  </a:lnTo>
                  <a:lnTo>
                    <a:pt x="353" y="423"/>
                  </a:lnTo>
                  <a:lnTo>
                    <a:pt x="352" y="425"/>
                  </a:lnTo>
                  <a:lnTo>
                    <a:pt x="351" y="429"/>
                  </a:lnTo>
                  <a:lnTo>
                    <a:pt x="350" y="431"/>
                  </a:lnTo>
                  <a:lnTo>
                    <a:pt x="350" y="432"/>
                  </a:lnTo>
                  <a:lnTo>
                    <a:pt x="348" y="435"/>
                  </a:lnTo>
                  <a:lnTo>
                    <a:pt x="347" y="436"/>
                  </a:lnTo>
                  <a:lnTo>
                    <a:pt x="346" y="438"/>
                  </a:lnTo>
                  <a:lnTo>
                    <a:pt x="345" y="440"/>
                  </a:lnTo>
                  <a:lnTo>
                    <a:pt x="345" y="442"/>
                  </a:lnTo>
                  <a:lnTo>
                    <a:pt x="345" y="443"/>
                  </a:lnTo>
                  <a:lnTo>
                    <a:pt x="344" y="444"/>
                  </a:lnTo>
                  <a:lnTo>
                    <a:pt x="344" y="447"/>
                  </a:lnTo>
                  <a:lnTo>
                    <a:pt x="343" y="451"/>
                  </a:lnTo>
                  <a:lnTo>
                    <a:pt x="342" y="453"/>
                  </a:lnTo>
                  <a:lnTo>
                    <a:pt x="342" y="455"/>
                  </a:lnTo>
                  <a:lnTo>
                    <a:pt x="342" y="456"/>
                  </a:lnTo>
                  <a:lnTo>
                    <a:pt x="341" y="458"/>
                  </a:lnTo>
                  <a:lnTo>
                    <a:pt x="341" y="458"/>
                  </a:lnTo>
                  <a:lnTo>
                    <a:pt x="340" y="460"/>
                  </a:lnTo>
                  <a:lnTo>
                    <a:pt x="340" y="461"/>
                  </a:lnTo>
                  <a:lnTo>
                    <a:pt x="339" y="461"/>
                  </a:lnTo>
                  <a:lnTo>
                    <a:pt x="338" y="462"/>
                  </a:lnTo>
                  <a:lnTo>
                    <a:pt x="337" y="463"/>
                  </a:lnTo>
                  <a:lnTo>
                    <a:pt x="337" y="463"/>
                  </a:lnTo>
                  <a:lnTo>
                    <a:pt x="336" y="464"/>
                  </a:lnTo>
                  <a:lnTo>
                    <a:pt x="335" y="464"/>
                  </a:lnTo>
                  <a:lnTo>
                    <a:pt x="335" y="464"/>
                  </a:lnTo>
                  <a:lnTo>
                    <a:pt x="334" y="464"/>
                  </a:lnTo>
                  <a:lnTo>
                    <a:pt x="334" y="464"/>
                  </a:lnTo>
                  <a:lnTo>
                    <a:pt x="333" y="464"/>
                  </a:lnTo>
                  <a:lnTo>
                    <a:pt x="332" y="464"/>
                  </a:lnTo>
                  <a:lnTo>
                    <a:pt x="332" y="463"/>
                  </a:lnTo>
                  <a:lnTo>
                    <a:pt x="331" y="463"/>
                  </a:lnTo>
                  <a:lnTo>
                    <a:pt x="331" y="462"/>
                  </a:lnTo>
                  <a:lnTo>
                    <a:pt x="331" y="462"/>
                  </a:lnTo>
                  <a:lnTo>
                    <a:pt x="331" y="461"/>
                  </a:lnTo>
                  <a:lnTo>
                    <a:pt x="331" y="460"/>
                  </a:lnTo>
                  <a:lnTo>
                    <a:pt x="331" y="460"/>
                  </a:lnTo>
                  <a:lnTo>
                    <a:pt x="330" y="456"/>
                  </a:lnTo>
                  <a:lnTo>
                    <a:pt x="329" y="452"/>
                  </a:lnTo>
                  <a:lnTo>
                    <a:pt x="329" y="450"/>
                  </a:lnTo>
                  <a:lnTo>
                    <a:pt x="329" y="447"/>
                  </a:lnTo>
                  <a:lnTo>
                    <a:pt x="329" y="445"/>
                  </a:lnTo>
                  <a:lnTo>
                    <a:pt x="328" y="442"/>
                  </a:lnTo>
                  <a:lnTo>
                    <a:pt x="327" y="439"/>
                  </a:lnTo>
                  <a:lnTo>
                    <a:pt x="327" y="438"/>
                  </a:lnTo>
                  <a:lnTo>
                    <a:pt x="327" y="436"/>
                  </a:lnTo>
                  <a:lnTo>
                    <a:pt x="327" y="432"/>
                  </a:lnTo>
                  <a:lnTo>
                    <a:pt x="326" y="431"/>
                  </a:lnTo>
                  <a:lnTo>
                    <a:pt x="326" y="429"/>
                  </a:lnTo>
                  <a:lnTo>
                    <a:pt x="326" y="428"/>
                  </a:lnTo>
                  <a:lnTo>
                    <a:pt x="326" y="427"/>
                  </a:lnTo>
                  <a:lnTo>
                    <a:pt x="325" y="426"/>
                  </a:lnTo>
                  <a:lnTo>
                    <a:pt x="325" y="425"/>
                  </a:lnTo>
                  <a:lnTo>
                    <a:pt x="324" y="424"/>
                  </a:lnTo>
                  <a:lnTo>
                    <a:pt x="323" y="423"/>
                  </a:lnTo>
                  <a:lnTo>
                    <a:pt x="322" y="422"/>
                  </a:lnTo>
                  <a:lnTo>
                    <a:pt x="322" y="421"/>
                  </a:lnTo>
                  <a:lnTo>
                    <a:pt x="321" y="421"/>
                  </a:lnTo>
                  <a:lnTo>
                    <a:pt x="321" y="421"/>
                  </a:lnTo>
                  <a:lnTo>
                    <a:pt x="320" y="421"/>
                  </a:lnTo>
                  <a:lnTo>
                    <a:pt x="319" y="420"/>
                  </a:lnTo>
                  <a:lnTo>
                    <a:pt x="318" y="420"/>
                  </a:lnTo>
                  <a:lnTo>
                    <a:pt x="317" y="420"/>
                  </a:lnTo>
                  <a:lnTo>
                    <a:pt x="316" y="420"/>
                  </a:lnTo>
                  <a:lnTo>
                    <a:pt x="316" y="420"/>
                  </a:lnTo>
                  <a:lnTo>
                    <a:pt x="315" y="420"/>
                  </a:lnTo>
                  <a:lnTo>
                    <a:pt x="314" y="420"/>
                  </a:lnTo>
                  <a:lnTo>
                    <a:pt x="312" y="421"/>
                  </a:lnTo>
                  <a:lnTo>
                    <a:pt x="311" y="421"/>
                  </a:lnTo>
                  <a:lnTo>
                    <a:pt x="309" y="421"/>
                  </a:lnTo>
                  <a:lnTo>
                    <a:pt x="307" y="422"/>
                  </a:lnTo>
                  <a:lnTo>
                    <a:pt x="305" y="422"/>
                  </a:lnTo>
                  <a:lnTo>
                    <a:pt x="302" y="422"/>
                  </a:lnTo>
                  <a:lnTo>
                    <a:pt x="298" y="423"/>
                  </a:lnTo>
                  <a:lnTo>
                    <a:pt x="296" y="423"/>
                  </a:lnTo>
                  <a:lnTo>
                    <a:pt x="293" y="424"/>
                  </a:lnTo>
                  <a:lnTo>
                    <a:pt x="292" y="424"/>
                  </a:lnTo>
                  <a:lnTo>
                    <a:pt x="291" y="424"/>
                  </a:lnTo>
                  <a:lnTo>
                    <a:pt x="289" y="423"/>
                  </a:lnTo>
                  <a:lnTo>
                    <a:pt x="285" y="423"/>
                  </a:lnTo>
                  <a:lnTo>
                    <a:pt x="284" y="422"/>
                  </a:lnTo>
                  <a:lnTo>
                    <a:pt x="282" y="421"/>
                  </a:lnTo>
                  <a:lnTo>
                    <a:pt x="280" y="420"/>
                  </a:lnTo>
                  <a:lnTo>
                    <a:pt x="279" y="420"/>
                  </a:lnTo>
                  <a:lnTo>
                    <a:pt x="278" y="419"/>
                  </a:lnTo>
                  <a:lnTo>
                    <a:pt x="275" y="417"/>
                  </a:lnTo>
                  <a:lnTo>
                    <a:pt x="274" y="416"/>
                  </a:lnTo>
                  <a:lnTo>
                    <a:pt x="274" y="416"/>
                  </a:lnTo>
                  <a:lnTo>
                    <a:pt x="273" y="415"/>
                  </a:lnTo>
                  <a:lnTo>
                    <a:pt x="271" y="414"/>
                  </a:lnTo>
                  <a:lnTo>
                    <a:pt x="270" y="414"/>
                  </a:lnTo>
                  <a:lnTo>
                    <a:pt x="268" y="414"/>
                  </a:lnTo>
                  <a:lnTo>
                    <a:pt x="268" y="413"/>
                  </a:lnTo>
                  <a:lnTo>
                    <a:pt x="267" y="413"/>
                  </a:lnTo>
                  <a:lnTo>
                    <a:pt x="266" y="413"/>
                  </a:lnTo>
                  <a:lnTo>
                    <a:pt x="265" y="413"/>
                  </a:lnTo>
                  <a:lnTo>
                    <a:pt x="264" y="413"/>
                  </a:lnTo>
                  <a:lnTo>
                    <a:pt x="263" y="413"/>
                  </a:lnTo>
                  <a:lnTo>
                    <a:pt x="260" y="413"/>
                  </a:lnTo>
                  <a:lnTo>
                    <a:pt x="259" y="413"/>
                  </a:lnTo>
                  <a:lnTo>
                    <a:pt x="258" y="413"/>
                  </a:lnTo>
                  <a:lnTo>
                    <a:pt x="258" y="413"/>
                  </a:lnTo>
                  <a:lnTo>
                    <a:pt x="257" y="413"/>
                  </a:lnTo>
                  <a:lnTo>
                    <a:pt x="257" y="413"/>
                  </a:lnTo>
                  <a:lnTo>
                    <a:pt x="256" y="413"/>
                  </a:lnTo>
                  <a:lnTo>
                    <a:pt x="256" y="412"/>
                  </a:lnTo>
                  <a:lnTo>
                    <a:pt x="256" y="412"/>
                  </a:lnTo>
                  <a:lnTo>
                    <a:pt x="255" y="412"/>
                  </a:lnTo>
                  <a:lnTo>
                    <a:pt x="255" y="411"/>
                  </a:lnTo>
                  <a:lnTo>
                    <a:pt x="255" y="411"/>
                  </a:lnTo>
                  <a:lnTo>
                    <a:pt x="254" y="410"/>
                  </a:lnTo>
                  <a:lnTo>
                    <a:pt x="254" y="409"/>
                  </a:lnTo>
                  <a:lnTo>
                    <a:pt x="254" y="409"/>
                  </a:lnTo>
                  <a:lnTo>
                    <a:pt x="253" y="405"/>
                  </a:lnTo>
                  <a:lnTo>
                    <a:pt x="253" y="402"/>
                  </a:lnTo>
                  <a:lnTo>
                    <a:pt x="253" y="401"/>
                  </a:lnTo>
                  <a:lnTo>
                    <a:pt x="253" y="401"/>
                  </a:lnTo>
                  <a:lnTo>
                    <a:pt x="252" y="400"/>
                  </a:lnTo>
                  <a:lnTo>
                    <a:pt x="252" y="399"/>
                  </a:lnTo>
                  <a:lnTo>
                    <a:pt x="251" y="398"/>
                  </a:lnTo>
                  <a:lnTo>
                    <a:pt x="251" y="397"/>
                  </a:lnTo>
                  <a:lnTo>
                    <a:pt x="250" y="396"/>
                  </a:lnTo>
                  <a:lnTo>
                    <a:pt x="249" y="394"/>
                  </a:lnTo>
                  <a:lnTo>
                    <a:pt x="248" y="394"/>
                  </a:lnTo>
                  <a:lnTo>
                    <a:pt x="247" y="393"/>
                  </a:lnTo>
                  <a:lnTo>
                    <a:pt x="246" y="393"/>
                  </a:lnTo>
                  <a:lnTo>
                    <a:pt x="245" y="392"/>
                  </a:lnTo>
                  <a:lnTo>
                    <a:pt x="244" y="392"/>
                  </a:lnTo>
                  <a:lnTo>
                    <a:pt x="243" y="392"/>
                  </a:lnTo>
                  <a:lnTo>
                    <a:pt x="242" y="391"/>
                  </a:lnTo>
                  <a:lnTo>
                    <a:pt x="241" y="391"/>
                  </a:lnTo>
                  <a:lnTo>
                    <a:pt x="237" y="392"/>
                  </a:lnTo>
                  <a:lnTo>
                    <a:pt x="236" y="392"/>
                  </a:lnTo>
                  <a:lnTo>
                    <a:pt x="234" y="392"/>
                  </a:lnTo>
                  <a:lnTo>
                    <a:pt x="233" y="391"/>
                  </a:lnTo>
                  <a:lnTo>
                    <a:pt x="232" y="391"/>
                  </a:lnTo>
                  <a:lnTo>
                    <a:pt x="231" y="391"/>
                  </a:lnTo>
                  <a:lnTo>
                    <a:pt x="229" y="391"/>
                  </a:lnTo>
                  <a:lnTo>
                    <a:pt x="228" y="390"/>
                  </a:lnTo>
                  <a:lnTo>
                    <a:pt x="227" y="390"/>
                  </a:lnTo>
                  <a:lnTo>
                    <a:pt x="221" y="386"/>
                  </a:lnTo>
                  <a:lnTo>
                    <a:pt x="219" y="385"/>
                  </a:lnTo>
                  <a:lnTo>
                    <a:pt x="216" y="383"/>
                  </a:lnTo>
                  <a:lnTo>
                    <a:pt x="215" y="382"/>
                  </a:lnTo>
                  <a:lnTo>
                    <a:pt x="213" y="382"/>
                  </a:lnTo>
                  <a:lnTo>
                    <a:pt x="213" y="381"/>
                  </a:lnTo>
                  <a:lnTo>
                    <a:pt x="212" y="381"/>
                  </a:lnTo>
                  <a:lnTo>
                    <a:pt x="211" y="381"/>
                  </a:lnTo>
                  <a:lnTo>
                    <a:pt x="211" y="381"/>
                  </a:lnTo>
                  <a:lnTo>
                    <a:pt x="210" y="381"/>
                  </a:lnTo>
                  <a:lnTo>
                    <a:pt x="210" y="381"/>
                  </a:lnTo>
                  <a:lnTo>
                    <a:pt x="208" y="381"/>
                  </a:lnTo>
                  <a:lnTo>
                    <a:pt x="206" y="382"/>
                  </a:lnTo>
                  <a:lnTo>
                    <a:pt x="205" y="382"/>
                  </a:lnTo>
                  <a:lnTo>
                    <a:pt x="203" y="382"/>
                  </a:lnTo>
                  <a:lnTo>
                    <a:pt x="202" y="383"/>
                  </a:lnTo>
                  <a:lnTo>
                    <a:pt x="199" y="383"/>
                  </a:lnTo>
                  <a:lnTo>
                    <a:pt x="197" y="383"/>
                  </a:lnTo>
                  <a:lnTo>
                    <a:pt x="194" y="383"/>
                  </a:lnTo>
                  <a:lnTo>
                    <a:pt x="191" y="382"/>
                  </a:lnTo>
                  <a:lnTo>
                    <a:pt x="190" y="382"/>
                  </a:lnTo>
                  <a:lnTo>
                    <a:pt x="189" y="382"/>
                  </a:lnTo>
                  <a:lnTo>
                    <a:pt x="188" y="382"/>
                  </a:lnTo>
                  <a:lnTo>
                    <a:pt x="188" y="383"/>
                  </a:lnTo>
                  <a:lnTo>
                    <a:pt x="187" y="383"/>
                  </a:lnTo>
                  <a:lnTo>
                    <a:pt x="186" y="383"/>
                  </a:lnTo>
                  <a:lnTo>
                    <a:pt x="186" y="384"/>
                  </a:lnTo>
                  <a:lnTo>
                    <a:pt x="185" y="385"/>
                  </a:lnTo>
                  <a:lnTo>
                    <a:pt x="184" y="386"/>
                  </a:lnTo>
                  <a:lnTo>
                    <a:pt x="183" y="387"/>
                  </a:lnTo>
                  <a:lnTo>
                    <a:pt x="182" y="389"/>
                  </a:lnTo>
                  <a:lnTo>
                    <a:pt x="181" y="392"/>
                  </a:lnTo>
                  <a:lnTo>
                    <a:pt x="180" y="394"/>
                  </a:lnTo>
                  <a:lnTo>
                    <a:pt x="179" y="397"/>
                  </a:lnTo>
                  <a:lnTo>
                    <a:pt x="178" y="399"/>
                  </a:lnTo>
                  <a:lnTo>
                    <a:pt x="178" y="400"/>
                  </a:lnTo>
                  <a:lnTo>
                    <a:pt x="177" y="401"/>
                  </a:lnTo>
                  <a:lnTo>
                    <a:pt x="175" y="405"/>
                  </a:lnTo>
                  <a:lnTo>
                    <a:pt x="172" y="409"/>
                  </a:lnTo>
                  <a:lnTo>
                    <a:pt x="171" y="410"/>
                  </a:lnTo>
                  <a:lnTo>
                    <a:pt x="170" y="411"/>
                  </a:lnTo>
                  <a:lnTo>
                    <a:pt x="170" y="412"/>
                  </a:lnTo>
                  <a:lnTo>
                    <a:pt x="168" y="413"/>
                  </a:lnTo>
                  <a:lnTo>
                    <a:pt x="167" y="413"/>
                  </a:lnTo>
                  <a:lnTo>
                    <a:pt x="165" y="415"/>
                  </a:lnTo>
                  <a:lnTo>
                    <a:pt x="164" y="416"/>
                  </a:lnTo>
                  <a:lnTo>
                    <a:pt x="162" y="416"/>
                  </a:lnTo>
                  <a:lnTo>
                    <a:pt x="162" y="417"/>
                  </a:lnTo>
                  <a:lnTo>
                    <a:pt x="161" y="417"/>
                  </a:lnTo>
                  <a:lnTo>
                    <a:pt x="160" y="417"/>
                  </a:lnTo>
                  <a:lnTo>
                    <a:pt x="159" y="417"/>
                  </a:lnTo>
                  <a:lnTo>
                    <a:pt x="158" y="416"/>
                  </a:lnTo>
                  <a:lnTo>
                    <a:pt x="157" y="416"/>
                  </a:lnTo>
                  <a:lnTo>
                    <a:pt x="156" y="416"/>
                  </a:lnTo>
                  <a:lnTo>
                    <a:pt x="156" y="416"/>
                  </a:lnTo>
                  <a:lnTo>
                    <a:pt x="154" y="414"/>
                  </a:lnTo>
                  <a:lnTo>
                    <a:pt x="154" y="414"/>
                  </a:lnTo>
                  <a:lnTo>
                    <a:pt x="153" y="414"/>
                  </a:lnTo>
                  <a:lnTo>
                    <a:pt x="152" y="413"/>
                  </a:lnTo>
                  <a:lnTo>
                    <a:pt x="152" y="413"/>
                  </a:lnTo>
                  <a:lnTo>
                    <a:pt x="152" y="413"/>
                  </a:lnTo>
                  <a:lnTo>
                    <a:pt x="151" y="413"/>
                  </a:lnTo>
                  <a:lnTo>
                    <a:pt x="151" y="413"/>
                  </a:lnTo>
                  <a:lnTo>
                    <a:pt x="150" y="414"/>
                  </a:lnTo>
                  <a:lnTo>
                    <a:pt x="148" y="415"/>
                  </a:lnTo>
                  <a:lnTo>
                    <a:pt x="148" y="415"/>
                  </a:lnTo>
                  <a:lnTo>
                    <a:pt x="147" y="415"/>
                  </a:lnTo>
                  <a:lnTo>
                    <a:pt x="147" y="415"/>
                  </a:lnTo>
                  <a:lnTo>
                    <a:pt x="146" y="415"/>
                  </a:lnTo>
                  <a:lnTo>
                    <a:pt x="145" y="415"/>
                  </a:lnTo>
                  <a:lnTo>
                    <a:pt x="144" y="415"/>
                  </a:lnTo>
                  <a:lnTo>
                    <a:pt x="143" y="415"/>
                  </a:lnTo>
                  <a:lnTo>
                    <a:pt x="142" y="415"/>
                  </a:lnTo>
                  <a:lnTo>
                    <a:pt x="139" y="415"/>
                  </a:lnTo>
                  <a:lnTo>
                    <a:pt x="137" y="414"/>
                  </a:lnTo>
                  <a:lnTo>
                    <a:pt x="135" y="414"/>
                  </a:lnTo>
                  <a:lnTo>
                    <a:pt x="133" y="414"/>
                  </a:lnTo>
                  <a:lnTo>
                    <a:pt x="132" y="414"/>
                  </a:lnTo>
                  <a:lnTo>
                    <a:pt x="130" y="414"/>
                  </a:lnTo>
                  <a:lnTo>
                    <a:pt x="126" y="414"/>
                  </a:lnTo>
                  <a:lnTo>
                    <a:pt x="124" y="414"/>
                  </a:lnTo>
                  <a:lnTo>
                    <a:pt x="121" y="414"/>
                  </a:lnTo>
                  <a:lnTo>
                    <a:pt x="118" y="413"/>
                  </a:lnTo>
                  <a:lnTo>
                    <a:pt x="113" y="413"/>
                  </a:lnTo>
                  <a:lnTo>
                    <a:pt x="101" y="412"/>
                  </a:lnTo>
                  <a:lnTo>
                    <a:pt x="98" y="411"/>
                  </a:lnTo>
                  <a:lnTo>
                    <a:pt x="97" y="411"/>
                  </a:lnTo>
                  <a:lnTo>
                    <a:pt x="95" y="411"/>
                  </a:lnTo>
                  <a:lnTo>
                    <a:pt x="94" y="411"/>
                  </a:lnTo>
                  <a:lnTo>
                    <a:pt x="91" y="412"/>
                  </a:lnTo>
                  <a:lnTo>
                    <a:pt x="89" y="412"/>
                  </a:lnTo>
                  <a:lnTo>
                    <a:pt x="87" y="412"/>
                  </a:lnTo>
                  <a:lnTo>
                    <a:pt x="84" y="411"/>
                  </a:lnTo>
                  <a:lnTo>
                    <a:pt x="79" y="411"/>
                  </a:lnTo>
                  <a:lnTo>
                    <a:pt x="78" y="411"/>
                  </a:lnTo>
                  <a:lnTo>
                    <a:pt x="77" y="411"/>
                  </a:lnTo>
                  <a:lnTo>
                    <a:pt x="75" y="411"/>
                  </a:lnTo>
                  <a:lnTo>
                    <a:pt x="74" y="410"/>
                  </a:lnTo>
                  <a:lnTo>
                    <a:pt x="73" y="410"/>
                  </a:lnTo>
                  <a:lnTo>
                    <a:pt x="71" y="409"/>
                  </a:lnTo>
                  <a:lnTo>
                    <a:pt x="70" y="409"/>
                  </a:lnTo>
                  <a:lnTo>
                    <a:pt x="68" y="408"/>
                  </a:lnTo>
                  <a:lnTo>
                    <a:pt x="67" y="407"/>
                  </a:lnTo>
                  <a:lnTo>
                    <a:pt x="65" y="406"/>
                  </a:lnTo>
                  <a:lnTo>
                    <a:pt x="59" y="403"/>
                  </a:lnTo>
                  <a:lnTo>
                    <a:pt x="50" y="399"/>
                  </a:lnTo>
                  <a:lnTo>
                    <a:pt x="47" y="397"/>
                  </a:lnTo>
                  <a:lnTo>
                    <a:pt x="46" y="396"/>
                  </a:lnTo>
                  <a:lnTo>
                    <a:pt x="45" y="396"/>
                  </a:lnTo>
                  <a:lnTo>
                    <a:pt x="44" y="395"/>
                  </a:lnTo>
                  <a:lnTo>
                    <a:pt x="42" y="394"/>
                  </a:lnTo>
                  <a:lnTo>
                    <a:pt x="41" y="392"/>
                  </a:lnTo>
                  <a:lnTo>
                    <a:pt x="39" y="391"/>
                  </a:lnTo>
                  <a:lnTo>
                    <a:pt x="37" y="390"/>
                  </a:lnTo>
                  <a:lnTo>
                    <a:pt x="36" y="388"/>
                  </a:lnTo>
                  <a:lnTo>
                    <a:pt x="35" y="387"/>
                  </a:lnTo>
                  <a:lnTo>
                    <a:pt x="34" y="386"/>
                  </a:lnTo>
                  <a:lnTo>
                    <a:pt x="34" y="386"/>
                  </a:lnTo>
                  <a:lnTo>
                    <a:pt x="33" y="385"/>
                  </a:lnTo>
                  <a:lnTo>
                    <a:pt x="33" y="384"/>
                  </a:lnTo>
                  <a:lnTo>
                    <a:pt x="33" y="384"/>
                  </a:lnTo>
                  <a:lnTo>
                    <a:pt x="32" y="382"/>
                  </a:lnTo>
                  <a:lnTo>
                    <a:pt x="31" y="380"/>
                  </a:lnTo>
                  <a:lnTo>
                    <a:pt x="31" y="379"/>
                  </a:lnTo>
                  <a:lnTo>
                    <a:pt x="31" y="379"/>
                  </a:lnTo>
                  <a:lnTo>
                    <a:pt x="31" y="378"/>
                  </a:lnTo>
                  <a:lnTo>
                    <a:pt x="31" y="378"/>
                  </a:lnTo>
                  <a:lnTo>
                    <a:pt x="30" y="377"/>
                  </a:lnTo>
                  <a:lnTo>
                    <a:pt x="30" y="377"/>
                  </a:lnTo>
                  <a:lnTo>
                    <a:pt x="29" y="377"/>
                  </a:lnTo>
                  <a:lnTo>
                    <a:pt x="29" y="376"/>
                  </a:lnTo>
                  <a:lnTo>
                    <a:pt x="28" y="376"/>
                  </a:lnTo>
                  <a:lnTo>
                    <a:pt x="27" y="376"/>
                  </a:lnTo>
                  <a:lnTo>
                    <a:pt x="26" y="376"/>
                  </a:lnTo>
                  <a:lnTo>
                    <a:pt x="26" y="376"/>
                  </a:lnTo>
                  <a:lnTo>
                    <a:pt x="25" y="375"/>
                  </a:lnTo>
                  <a:lnTo>
                    <a:pt x="25" y="375"/>
                  </a:lnTo>
                  <a:lnTo>
                    <a:pt x="24" y="374"/>
                  </a:lnTo>
                  <a:lnTo>
                    <a:pt x="23" y="373"/>
                  </a:lnTo>
                  <a:lnTo>
                    <a:pt x="22" y="372"/>
                  </a:lnTo>
                  <a:lnTo>
                    <a:pt x="21" y="372"/>
                  </a:lnTo>
                  <a:lnTo>
                    <a:pt x="21" y="371"/>
                  </a:lnTo>
                  <a:lnTo>
                    <a:pt x="20" y="371"/>
                  </a:lnTo>
                  <a:lnTo>
                    <a:pt x="19" y="371"/>
                  </a:lnTo>
                  <a:lnTo>
                    <a:pt x="16" y="370"/>
                  </a:lnTo>
                  <a:lnTo>
                    <a:pt x="16" y="370"/>
                  </a:lnTo>
                  <a:lnTo>
                    <a:pt x="15" y="370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14" y="368"/>
                  </a:lnTo>
                  <a:lnTo>
                    <a:pt x="14" y="368"/>
                  </a:lnTo>
                  <a:lnTo>
                    <a:pt x="14" y="367"/>
                  </a:lnTo>
                  <a:lnTo>
                    <a:pt x="13" y="367"/>
                  </a:lnTo>
                  <a:lnTo>
                    <a:pt x="13" y="366"/>
                  </a:lnTo>
                  <a:lnTo>
                    <a:pt x="12" y="366"/>
                  </a:lnTo>
                  <a:lnTo>
                    <a:pt x="11" y="365"/>
                  </a:lnTo>
                  <a:lnTo>
                    <a:pt x="10" y="365"/>
                  </a:lnTo>
                  <a:lnTo>
                    <a:pt x="9" y="363"/>
                  </a:lnTo>
                  <a:lnTo>
                    <a:pt x="8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5" y="361"/>
                  </a:lnTo>
                  <a:lnTo>
                    <a:pt x="4" y="361"/>
                  </a:lnTo>
                  <a:lnTo>
                    <a:pt x="2" y="360"/>
                  </a:lnTo>
                  <a:lnTo>
                    <a:pt x="2" y="360"/>
                  </a:lnTo>
                  <a:lnTo>
                    <a:pt x="1" y="359"/>
                  </a:lnTo>
                  <a:lnTo>
                    <a:pt x="1" y="359"/>
                  </a:lnTo>
                  <a:lnTo>
                    <a:pt x="0" y="358"/>
                  </a:lnTo>
                  <a:lnTo>
                    <a:pt x="0" y="358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Freeform 68">
              <a:extLst>
                <a:ext uri="{FF2B5EF4-FFF2-40B4-BE49-F238E27FC236}">
                  <a16:creationId xmlns:a16="http://schemas.microsoft.com/office/drawing/2014/main" id="{A40D30B3-1588-40AE-E7A5-FDDD159C76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21"/>
              <a:ext cx="303" cy="362"/>
            </a:xfrm>
            <a:custGeom>
              <a:avLst/>
              <a:gdLst>
                <a:gd name="T0" fmla="*/ 88 w 303"/>
                <a:gd name="T1" fmla="*/ 354 h 362"/>
                <a:gd name="T2" fmla="*/ 71 w 303"/>
                <a:gd name="T3" fmla="*/ 357 h 362"/>
                <a:gd name="T4" fmla="*/ 57 w 303"/>
                <a:gd name="T5" fmla="*/ 362 h 362"/>
                <a:gd name="T6" fmla="*/ 34 w 303"/>
                <a:gd name="T7" fmla="*/ 351 h 362"/>
                <a:gd name="T8" fmla="*/ 10 w 303"/>
                <a:gd name="T9" fmla="*/ 342 h 362"/>
                <a:gd name="T10" fmla="*/ 4 w 303"/>
                <a:gd name="T11" fmla="*/ 331 h 362"/>
                <a:gd name="T12" fmla="*/ 6 w 303"/>
                <a:gd name="T13" fmla="*/ 328 h 362"/>
                <a:gd name="T14" fmla="*/ 11 w 303"/>
                <a:gd name="T15" fmla="*/ 323 h 362"/>
                <a:gd name="T16" fmla="*/ 16 w 303"/>
                <a:gd name="T17" fmla="*/ 318 h 362"/>
                <a:gd name="T18" fmla="*/ 26 w 303"/>
                <a:gd name="T19" fmla="*/ 321 h 362"/>
                <a:gd name="T20" fmla="*/ 34 w 303"/>
                <a:gd name="T21" fmla="*/ 319 h 362"/>
                <a:gd name="T22" fmla="*/ 45 w 303"/>
                <a:gd name="T23" fmla="*/ 312 h 362"/>
                <a:gd name="T24" fmla="*/ 56 w 303"/>
                <a:gd name="T25" fmla="*/ 316 h 362"/>
                <a:gd name="T26" fmla="*/ 66 w 303"/>
                <a:gd name="T27" fmla="*/ 307 h 362"/>
                <a:gd name="T28" fmla="*/ 78 w 303"/>
                <a:gd name="T29" fmla="*/ 297 h 362"/>
                <a:gd name="T30" fmla="*/ 93 w 303"/>
                <a:gd name="T31" fmla="*/ 290 h 362"/>
                <a:gd name="T32" fmla="*/ 102 w 303"/>
                <a:gd name="T33" fmla="*/ 286 h 362"/>
                <a:gd name="T34" fmla="*/ 107 w 303"/>
                <a:gd name="T35" fmla="*/ 279 h 362"/>
                <a:gd name="T36" fmla="*/ 116 w 303"/>
                <a:gd name="T37" fmla="*/ 277 h 362"/>
                <a:gd name="T38" fmla="*/ 126 w 303"/>
                <a:gd name="T39" fmla="*/ 271 h 362"/>
                <a:gd name="T40" fmla="*/ 134 w 303"/>
                <a:gd name="T41" fmla="*/ 278 h 362"/>
                <a:gd name="T42" fmla="*/ 146 w 303"/>
                <a:gd name="T43" fmla="*/ 278 h 362"/>
                <a:gd name="T44" fmla="*/ 159 w 303"/>
                <a:gd name="T45" fmla="*/ 277 h 362"/>
                <a:gd name="T46" fmla="*/ 178 w 303"/>
                <a:gd name="T47" fmla="*/ 273 h 362"/>
                <a:gd name="T48" fmla="*/ 180 w 303"/>
                <a:gd name="T49" fmla="*/ 265 h 362"/>
                <a:gd name="T50" fmla="*/ 196 w 303"/>
                <a:gd name="T51" fmla="*/ 260 h 362"/>
                <a:gd name="T52" fmla="*/ 205 w 303"/>
                <a:gd name="T53" fmla="*/ 255 h 362"/>
                <a:gd name="T54" fmla="*/ 212 w 303"/>
                <a:gd name="T55" fmla="*/ 246 h 362"/>
                <a:gd name="T56" fmla="*/ 207 w 303"/>
                <a:gd name="T57" fmla="*/ 236 h 362"/>
                <a:gd name="T58" fmla="*/ 203 w 303"/>
                <a:gd name="T59" fmla="*/ 230 h 362"/>
                <a:gd name="T60" fmla="*/ 210 w 303"/>
                <a:gd name="T61" fmla="*/ 225 h 362"/>
                <a:gd name="T62" fmla="*/ 209 w 303"/>
                <a:gd name="T63" fmla="*/ 215 h 362"/>
                <a:gd name="T64" fmla="*/ 219 w 303"/>
                <a:gd name="T65" fmla="*/ 208 h 362"/>
                <a:gd name="T66" fmla="*/ 217 w 303"/>
                <a:gd name="T67" fmla="*/ 200 h 362"/>
                <a:gd name="T68" fmla="*/ 210 w 303"/>
                <a:gd name="T69" fmla="*/ 192 h 362"/>
                <a:gd name="T70" fmla="*/ 213 w 303"/>
                <a:gd name="T71" fmla="*/ 181 h 362"/>
                <a:gd name="T72" fmla="*/ 222 w 303"/>
                <a:gd name="T73" fmla="*/ 172 h 362"/>
                <a:gd name="T74" fmla="*/ 217 w 303"/>
                <a:gd name="T75" fmla="*/ 163 h 362"/>
                <a:gd name="T76" fmla="*/ 223 w 303"/>
                <a:gd name="T77" fmla="*/ 151 h 362"/>
                <a:gd name="T78" fmla="*/ 221 w 303"/>
                <a:gd name="T79" fmla="*/ 146 h 362"/>
                <a:gd name="T80" fmla="*/ 213 w 303"/>
                <a:gd name="T81" fmla="*/ 141 h 362"/>
                <a:gd name="T82" fmla="*/ 210 w 303"/>
                <a:gd name="T83" fmla="*/ 134 h 362"/>
                <a:gd name="T84" fmla="*/ 206 w 303"/>
                <a:gd name="T85" fmla="*/ 123 h 362"/>
                <a:gd name="T86" fmla="*/ 212 w 303"/>
                <a:gd name="T87" fmla="*/ 105 h 362"/>
                <a:gd name="T88" fmla="*/ 220 w 303"/>
                <a:gd name="T89" fmla="*/ 95 h 362"/>
                <a:gd name="T90" fmla="*/ 234 w 303"/>
                <a:gd name="T91" fmla="*/ 91 h 362"/>
                <a:gd name="T92" fmla="*/ 233 w 303"/>
                <a:gd name="T93" fmla="*/ 86 h 362"/>
                <a:gd name="T94" fmla="*/ 228 w 303"/>
                <a:gd name="T95" fmla="*/ 82 h 362"/>
                <a:gd name="T96" fmla="*/ 238 w 303"/>
                <a:gd name="T97" fmla="*/ 77 h 362"/>
                <a:gd name="T98" fmla="*/ 243 w 303"/>
                <a:gd name="T99" fmla="*/ 82 h 362"/>
                <a:gd name="T100" fmla="*/ 249 w 303"/>
                <a:gd name="T101" fmla="*/ 81 h 362"/>
                <a:gd name="T102" fmla="*/ 250 w 303"/>
                <a:gd name="T103" fmla="*/ 71 h 362"/>
                <a:gd name="T104" fmla="*/ 245 w 303"/>
                <a:gd name="T105" fmla="*/ 63 h 362"/>
                <a:gd name="T106" fmla="*/ 253 w 303"/>
                <a:gd name="T107" fmla="*/ 61 h 362"/>
                <a:gd name="T108" fmla="*/ 260 w 303"/>
                <a:gd name="T109" fmla="*/ 50 h 362"/>
                <a:gd name="T110" fmla="*/ 253 w 303"/>
                <a:gd name="T111" fmla="*/ 42 h 362"/>
                <a:gd name="T112" fmla="*/ 250 w 303"/>
                <a:gd name="T113" fmla="*/ 35 h 362"/>
                <a:gd name="T114" fmla="*/ 255 w 303"/>
                <a:gd name="T115" fmla="*/ 25 h 362"/>
                <a:gd name="T116" fmla="*/ 264 w 303"/>
                <a:gd name="T117" fmla="*/ 17 h 362"/>
                <a:gd name="T118" fmla="*/ 272 w 303"/>
                <a:gd name="T119" fmla="*/ 18 h 362"/>
                <a:gd name="T120" fmla="*/ 290 w 303"/>
                <a:gd name="T121" fmla="*/ 18 h 362"/>
                <a:gd name="T122" fmla="*/ 299 w 303"/>
                <a:gd name="T123" fmla="*/ 13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3" h="362">
                  <a:moveTo>
                    <a:pt x="94" y="358"/>
                  </a:moveTo>
                  <a:lnTo>
                    <a:pt x="93" y="356"/>
                  </a:lnTo>
                  <a:lnTo>
                    <a:pt x="92" y="356"/>
                  </a:lnTo>
                  <a:lnTo>
                    <a:pt x="92" y="356"/>
                  </a:lnTo>
                  <a:lnTo>
                    <a:pt x="92" y="355"/>
                  </a:lnTo>
                  <a:lnTo>
                    <a:pt x="91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90" y="354"/>
                  </a:lnTo>
                  <a:lnTo>
                    <a:pt x="89" y="354"/>
                  </a:lnTo>
                  <a:lnTo>
                    <a:pt x="88" y="354"/>
                  </a:lnTo>
                  <a:lnTo>
                    <a:pt x="85" y="354"/>
                  </a:lnTo>
                  <a:lnTo>
                    <a:pt x="83" y="354"/>
                  </a:lnTo>
                  <a:lnTo>
                    <a:pt x="81" y="354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6" y="355"/>
                  </a:lnTo>
                  <a:lnTo>
                    <a:pt x="75" y="355"/>
                  </a:lnTo>
                  <a:lnTo>
                    <a:pt x="74" y="355"/>
                  </a:lnTo>
                  <a:lnTo>
                    <a:pt x="73" y="356"/>
                  </a:lnTo>
                  <a:lnTo>
                    <a:pt x="72" y="356"/>
                  </a:lnTo>
                  <a:lnTo>
                    <a:pt x="71" y="357"/>
                  </a:lnTo>
                  <a:lnTo>
                    <a:pt x="68" y="359"/>
                  </a:lnTo>
                  <a:lnTo>
                    <a:pt x="67" y="360"/>
                  </a:lnTo>
                  <a:lnTo>
                    <a:pt x="66" y="360"/>
                  </a:lnTo>
                  <a:lnTo>
                    <a:pt x="65" y="361"/>
                  </a:lnTo>
                  <a:lnTo>
                    <a:pt x="64" y="361"/>
                  </a:lnTo>
                  <a:lnTo>
                    <a:pt x="63" y="361"/>
                  </a:lnTo>
                  <a:lnTo>
                    <a:pt x="62" y="362"/>
                  </a:lnTo>
                  <a:lnTo>
                    <a:pt x="61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7" y="362"/>
                  </a:lnTo>
                  <a:lnTo>
                    <a:pt x="54" y="362"/>
                  </a:lnTo>
                  <a:lnTo>
                    <a:pt x="48" y="361"/>
                  </a:lnTo>
                  <a:lnTo>
                    <a:pt x="47" y="360"/>
                  </a:lnTo>
                  <a:lnTo>
                    <a:pt x="45" y="360"/>
                  </a:lnTo>
                  <a:lnTo>
                    <a:pt x="44" y="359"/>
                  </a:lnTo>
                  <a:lnTo>
                    <a:pt x="43" y="359"/>
                  </a:lnTo>
                  <a:lnTo>
                    <a:pt x="42" y="358"/>
                  </a:lnTo>
                  <a:lnTo>
                    <a:pt x="40" y="357"/>
                  </a:lnTo>
                  <a:lnTo>
                    <a:pt x="39" y="356"/>
                  </a:lnTo>
                  <a:lnTo>
                    <a:pt x="35" y="352"/>
                  </a:lnTo>
                  <a:lnTo>
                    <a:pt x="34" y="351"/>
                  </a:lnTo>
                  <a:lnTo>
                    <a:pt x="33" y="350"/>
                  </a:lnTo>
                  <a:lnTo>
                    <a:pt x="31" y="350"/>
                  </a:lnTo>
                  <a:lnTo>
                    <a:pt x="30" y="349"/>
                  </a:lnTo>
                  <a:lnTo>
                    <a:pt x="27" y="348"/>
                  </a:lnTo>
                  <a:lnTo>
                    <a:pt x="24" y="346"/>
                  </a:lnTo>
                  <a:lnTo>
                    <a:pt x="23" y="345"/>
                  </a:lnTo>
                  <a:lnTo>
                    <a:pt x="21" y="344"/>
                  </a:lnTo>
                  <a:lnTo>
                    <a:pt x="20" y="344"/>
                  </a:lnTo>
                  <a:lnTo>
                    <a:pt x="18" y="343"/>
                  </a:lnTo>
                  <a:lnTo>
                    <a:pt x="12" y="342"/>
                  </a:lnTo>
                  <a:lnTo>
                    <a:pt x="10" y="342"/>
                  </a:lnTo>
                  <a:lnTo>
                    <a:pt x="9" y="342"/>
                  </a:lnTo>
                  <a:lnTo>
                    <a:pt x="7" y="341"/>
                  </a:lnTo>
                  <a:lnTo>
                    <a:pt x="5" y="341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1" y="336"/>
                  </a:lnTo>
                  <a:lnTo>
                    <a:pt x="2" y="333"/>
                  </a:lnTo>
                  <a:lnTo>
                    <a:pt x="2" y="332"/>
                  </a:lnTo>
                  <a:lnTo>
                    <a:pt x="3" y="332"/>
                  </a:lnTo>
                  <a:lnTo>
                    <a:pt x="3" y="332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5" y="331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6" y="329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7" y="327"/>
                  </a:lnTo>
                  <a:lnTo>
                    <a:pt x="8" y="326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9" y="323"/>
                  </a:lnTo>
                  <a:lnTo>
                    <a:pt x="10" y="323"/>
                  </a:lnTo>
                  <a:lnTo>
                    <a:pt x="10" y="323"/>
                  </a:lnTo>
                  <a:lnTo>
                    <a:pt x="11" y="323"/>
                  </a:lnTo>
                  <a:lnTo>
                    <a:pt x="11" y="323"/>
                  </a:lnTo>
                  <a:lnTo>
                    <a:pt x="11" y="322"/>
                  </a:lnTo>
                  <a:lnTo>
                    <a:pt x="13" y="321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19"/>
                  </a:lnTo>
                  <a:lnTo>
                    <a:pt x="14" y="319"/>
                  </a:lnTo>
                  <a:lnTo>
                    <a:pt x="14" y="319"/>
                  </a:lnTo>
                  <a:lnTo>
                    <a:pt x="15" y="318"/>
                  </a:lnTo>
                  <a:lnTo>
                    <a:pt x="16" y="318"/>
                  </a:lnTo>
                  <a:lnTo>
                    <a:pt x="17" y="318"/>
                  </a:lnTo>
                  <a:lnTo>
                    <a:pt x="18" y="318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2" y="318"/>
                  </a:lnTo>
                  <a:lnTo>
                    <a:pt x="23" y="319"/>
                  </a:lnTo>
                  <a:lnTo>
                    <a:pt x="25" y="320"/>
                  </a:lnTo>
                  <a:lnTo>
                    <a:pt x="25" y="321"/>
                  </a:lnTo>
                  <a:lnTo>
                    <a:pt x="26" y="321"/>
                  </a:lnTo>
                  <a:lnTo>
                    <a:pt x="27" y="321"/>
                  </a:lnTo>
                  <a:lnTo>
                    <a:pt x="28" y="322"/>
                  </a:lnTo>
                  <a:lnTo>
                    <a:pt x="29" y="322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2" y="321"/>
                  </a:lnTo>
                  <a:lnTo>
                    <a:pt x="32" y="321"/>
                  </a:lnTo>
                  <a:lnTo>
                    <a:pt x="33" y="320"/>
                  </a:lnTo>
                  <a:lnTo>
                    <a:pt x="34" y="319"/>
                  </a:lnTo>
                  <a:lnTo>
                    <a:pt x="34" y="319"/>
                  </a:lnTo>
                  <a:lnTo>
                    <a:pt x="35" y="317"/>
                  </a:lnTo>
                  <a:lnTo>
                    <a:pt x="37" y="314"/>
                  </a:lnTo>
                  <a:lnTo>
                    <a:pt x="38" y="314"/>
                  </a:lnTo>
                  <a:lnTo>
                    <a:pt x="38" y="314"/>
                  </a:lnTo>
                  <a:lnTo>
                    <a:pt x="38" y="313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0" y="313"/>
                  </a:lnTo>
                  <a:lnTo>
                    <a:pt x="41" y="313"/>
                  </a:lnTo>
                  <a:lnTo>
                    <a:pt x="45" y="312"/>
                  </a:lnTo>
                  <a:lnTo>
                    <a:pt x="46" y="312"/>
                  </a:lnTo>
                  <a:lnTo>
                    <a:pt x="47" y="312"/>
                  </a:lnTo>
                  <a:lnTo>
                    <a:pt x="48" y="312"/>
                  </a:lnTo>
                  <a:lnTo>
                    <a:pt x="49" y="313"/>
                  </a:lnTo>
                  <a:lnTo>
                    <a:pt x="50" y="313"/>
                  </a:lnTo>
                  <a:lnTo>
                    <a:pt x="51" y="314"/>
                  </a:lnTo>
                  <a:lnTo>
                    <a:pt x="52" y="314"/>
                  </a:lnTo>
                  <a:lnTo>
                    <a:pt x="54" y="316"/>
                  </a:lnTo>
                  <a:lnTo>
                    <a:pt x="55" y="316"/>
                  </a:lnTo>
                  <a:lnTo>
                    <a:pt x="56" y="316"/>
                  </a:lnTo>
                  <a:lnTo>
                    <a:pt x="56" y="316"/>
                  </a:lnTo>
                  <a:lnTo>
                    <a:pt x="57" y="316"/>
                  </a:lnTo>
                  <a:lnTo>
                    <a:pt x="57" y="316"/>
                  </a:lnTo>
                  <a:lnTo>
                    <a:pt x="58" y="316"/>
                  </a:lnTo>
                  <a:lnTo>
                    <a:pt x="58" y="316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1" y="313"/>
                  </a:lnTo>
                  <a:lnTo>
                    <a:pt x="62" y="311"/>
                  </a:lnTo>
                  <a:lnTo>
                    <a:pt x="62" y="311"/>
                  </a:lnTo>
                  <a:lnTo>
                    <a:pt x="64" y="309"/>
                  </a:lnTo>
                  <a:lnTo>
                    <a:pt x="66" y="307"/>
                  </a:lnTo>
                  <a:lnTo>
                    <a:pt x="66" y="307"/>
                  </a:lnTo>
                  <a:lnTo>
                    <a:pt x="67" y="306"/>
                  </a:lnTo>
                  <a:lnTo>
                    <a:pt x="68" y="306"/>
                  </a:lnTo>
                  <a:lnTo>
                    <a:pt x="69" y="305"/>
                  </a:lnTo>
                  <a:lnTo>
                    <a:pt x="71" y="304"/>
                  </a:lnTo>
                  <a:lnTo>
                    <a:pt x="72" y="303"/>
                  </a:lnTo>
                  <a:lnTo>
                    <a:pt x="73" y="302"/>
                  </a:lnTo>
                  <a:lnTo>
                    <a:pt x="74" y="301"/>
                  </a:lnTo>
                  <a:lnTo>
                    <a:pt x="75" y="300"/>
                  </a:lnTo>
                  <a:lnTo>
                    <a:pt x="77" y="299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81" y="294"/>
                  </a:lnTo>
                  <a:lnTo>
                    <a:pt x="82" y="293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8" y="291"/>
                  </a:lnTo>
                  <a:lnTo>
                    <a:pt x="89" y="290"/>
                  </a:lnTo>
                  <a:lnTo>
                    <a:pt x="91" y="290"/>
                  </a:lnTo>
                  <a:lnTo>
                    <a:pt x="93" y="290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9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1" y="288"/>
                  </a:lnTo>
                  <a:lnTo>
                    <a:pt x="101" y="287"/>
                  </a:lnTo>
                  <a:lnTo>
                    <a:pt x="101" y="287"/>
                  </a:lnTo>
                  <a:lnTo>
                    <a:pt x="102" y="286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4" y="281"/>
                  </a:lnTo>
                  <a:lnTo>
                    <a:pt x="104" y="280"/>
                  </a:lnTo>
                  <a:lnTo>
                    <a:pt x="105" y="280"/>
                  </a:lnTo>
                  <a:lnTo>
                    <a:pt x="105" y="280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4" y="278"/>
                  </a:lnTo>
                  <a:lnTo>
                    <a:pt x="115" y="278"/>
                  </a:lnTo>
                  <a:lnTo>
                    <a:pt x="115" y="277"/>
                  </a:lnTo>
                  <a:lnTo>
                    <a:pt x="116" y="277"/>
                  </a:lnTo>
                  <a:lnTo>
                    <a:pt x="117" y="276"/>
                  </a:lnTo>
                  <a:lnTo>
                    <a:pt x="119" y="274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3"/>
                  </a:lnTo>
                  <a:lnTo>
                    <a:pt x="121" y="272"/>
                  </a:lnTo>
                  <a:lnTo>
                    <a:pt x="123" y="272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6" y="271"/>
                  </a:lnTo>
                  <a:lnTo>
                    <a:pt x="126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29" y="273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1" y="276"/>
                  </a:lnTo>
                  <a:lnTo>
                    <a:pt x="132" y="276"/>
                  </a:lnTo>
                  <a:lnTo>
                    <a:pt x="134" y="278"/>
                  </a:lnTo>
                  <a:lnTo>
                    <a:pt x="135" y="279"/>
                  </a:lnTo>
                  <a:lnTo>
                    <a:pt x="136" y="279"/>
                  </a:lnTo>
                  <a:lnTo>
                    <a:pt x="137" y="280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9" y="280"/>
                  </a:lnTo>
                  <a:lnTo>
                    <a:pt x="141" y="280"/>
                  </a:lnTo>
                  <a:lnTo>
                    <a:pt x="142" y="280"/>
                  </a:lnTo>
                  <a:lnTo>
                    <a:pt x="143" y="279"/>
                  </a:lnTo>
                  <a:lnTo>
                    <a:pt x="144" y="279"/>
                  </a:lnTo>
                  <a:lnTo>
                    <a:pt x="146" y="278"/>
                  </a:lnTo>
                  <a:lnTo>
                    <a:pt x="147" y="277"/>
                  </a:lnTo>
                  <a:lnTo>
                    <a:pt x="148" y="276"/>
                  </a:lnTo>
                  <a:lnTo>
                    <a:pt x="149" y="276"/>
                  </a:lnTo>
                  <a:lnTo>
                    <a:pt x="149" y="275"/>
                  </a:lnTo>
                  <a:lnTo>
                    <a:pt x="150" y="275"/>
                  </a:lnTo>
                  <a:lnTo>
                    <a:pt x="151" y="275"/>
                  </a:lnTo>
                  <a:lnTo>
                    <a:pt x="152" y="275"/>
                  </a:lnTo>
                  <a:lnTo>
                    <a:pt x="154" y="276"/>
                  </a:lnTo>
                  <a:lnTo>
                    <a:pt x="155" y="276"/>
                  </a:lnTo>
                  <a:lnTo>
                    <a:pt x="158" y="276"/>
                  </a:lnTo>
                  <a:lnTo>
                    <a:pt x="159" y="277"/>
                  </a:lnTo>
                  <a:lnTo>
                    <a:pt x="161" y="277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4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8" y="273"/>
                  </a:lnTo>
                  <a:lnTo>
                    <a:pt x="179" y="273"/>
                  </a:lnTo>
                  <a:lnTo>
                    <a:pt x="179" y="272"/>
                  </a:lnTo>
                  <a:lnTo>
                    <a:pt x="179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68"/>
                  </a:lnTo>
                  <a:lnTo>
                    <a:pt x="180" y="267"/>
                  </a:lnTo>
                  <a:lnTo>
                    <a:pt x="180" y="266"/>
                  </a:lnTo>
                  <a:lnTo>
                    <a:pt x="180" y="265"/>
                  </a:lnTo>
                  <a:lnTo>
                    <a:pt x="181" y="265"/>
                  </a:lnTo>
                  <a:lnTo>
                    <a:pt x="181" y="264"/>
                  </a:lnTo>
                  <a:lnTo>
                    <a:pt x="182" y="263"/>
                  </a:lnTo>
                  <a:lnTo>
                    <a:pt x="183" y="263"/>
                  </a:lnTo>
                  <a:lnTo>
                    <a:pt x="184" y="262"/>
                  </a:lnTo>
                  <a:lnTo>
                    <a:pt x="185" y="262"/>
                  </a:lnTo>
                  <a:lnTo>
                    <a:pt x="186" y="261"/>
                  </a:lnTo>
                  <a:lnTo>
                    <a:pt x="188" y="261"/>
                  </a:lnTo>
                  <a:lnTo>
                    <a:pt x="189" y="261"/>
                  </a:lnTo>
                  <a:lnTo>
                    <a:pt x="193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1" y="259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3" y="257"/>
                  </a:lnTo>
                  <a:lnTo>
                    <a:pt x="203" y="257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05" y="255"/>
                  </a:lnTo>
                  <a:lnTo>
                    <a:pt x="206" y="254"/>
                  </a:lnTo>
                  <a:lnTo>
                    <a:pt x="206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7" y="250"/>
                  </a:lnTo>
                  <a:lnTo>
                    <a:pt x="208" y="250"/>
                  </a:lnTo>
                  <a:lnTo>
                    <a:pt x="208" y="249"/>
                  </a:lnTo>
                  <a:lnTo>
                    <a:pt x="210" y="247"/>
                  </a:lnTo>
                  <a:lnTo>
                    <a:pt x="211" y="247"/>
                  </a:lnTo>
                  <a:lnTo>
                    <a:pt x="211" y="246"/>
                  </a:lnTo>
                  <a:lnTo>
                    <a:pt x="212" y="246"/>
                  </a:lnTo>
                  <a:lnTo>
                    <a:pt x="212" y="245"/>
                  </a:lnTo>
                  <a:lnTo>
                    <a:pt x="212" y="245"/>
                  </a:lnTo>
                  <a:lnTo>
                    <a:pt x="212" y="244"/>
                  </a:lnTo>
                  <a:lnTo>
                    <a:pt x="212" y="243"/>
                  </a:lnTo>
                  <a:lnTo>
                    <a:pt x="212" y="243"/>
                  </a:lnTo>
                  <a:lnTo>
                    <a:pt x="212" y="242"/>
                  </a:lnTo>
                  <a:lnTo>
                    <a:pt x="212" y="241"/>
                  </a:lnTo>
                  <a:lnTo>
                    <a:pt x="211" y="241"/>
                  </a:lnTo>
                  <a:lnTo>
                    <a:pt x="210" y="240"/>
                  </a:lnTo>
                  <a:lnTo>
                    <a:pt x="209" y="239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4" y="234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3" y="232"/>
                  </a:lnTo>
                  <a:lnTo>
                    <a:pt x="202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30"/>
                  </a:lnTo>
                  <a:lnTo>
                    <a:pt x="205" y="230"/>
                  </a:lnTo>
                  <a:lnTo>
                    <a:pt x="206" y="229"/>
                  </a:lnTo>
                  <a:lnTo>
                    <a:pt x="207" y="229"/>
                  </a:lnTo>
                  <a:lnTo>
                    <a:pt x="207" y="228"/>
                  </a:lnTo>
                  <a:lnTo>
                    <a:pt x="208" y="228"/>
                  </a:lnTo>
                  <a:lnTo>
                    <a:pt x="208" y="227"/>
                  </a:lnTo>
                  <a:lnTo>
                    <a:pt x="209" y="227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0" y="225"/>
                  </a:lnTo>
                  <a:lnTo>
                    <a:pt x="210" y="224"/>
                  </a:lnTo>
                  <a:lnTo>
                    <a:pt x="210" y="224"/>
                  </a:lnTo>
                  <a:lnTo>
                    <a:pt x="209" y="223"/>
                  </a:lnTo>
                  <a:lnTo>
                    <a:pt x="209" y="222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08" y="218"/>
                  </a:lnTo>
                  <a:lnTo>
                    <a:pt x="208" y="217"/>
                  </a:lnTo>
                  <a:lnTo>
                    <a:pt x="209" y="217"/>
                  </a:lnTo>
                  <a:lnTo>
                    <a:pt x="209" y="216"/>
                  </a:lnTo>
                  <a:lnTo>
                    <a:pt x="209" y="215"/>
                  </a:lnTo>
                  <a:lnTo>
                    <a:pt x="210" y="215"/>
                  </a:lnTo>
                  <a:lnTo>
                    <a:pt x="210" y="214"/>
                  </a:lnTo>
                  <a:lnTo>
                    <a:pt x="211" y="214"/>
                  </a:lnTo>
                  <a:lnTo>
                    <a:pt x="211" y="213"/>
                  </a:lnTo>
                  <a:lnTo>
                    <a:pt x="212" y="213"/>
                  </a:lnTo>
                  <a:lnTo>
                    <a:pt x="214" y="212"/>
                  </a:lnTo>
                  <a:lnTo>
                    <a:pt x="215" y="211"/>
                  </a:lnTo>
                  <a:lnTo>
                    <a:pt x="216" y="211"/>
                  </a:lnTo>
                  <a:lnTo>
                    <a:pt x="217" y="210"/>
                  </a:lnTo>
                  <a:lnTo>
                    <a:pt x="218" y="209"/>
                  </a:lnTo>
                  <a:lnTo>
                    <a:pt x="219" y="208"/>
                  </a:lnTo>
                  <a:lnTo>
                    <a:pt x="219" y="208"/>
                  </a:lnTo>
                  <a:lnTo>
                    <a:pt x="219" y="207"/>
                  </a:lnTo>
                  <a:lnTo>
                    <a:pt x="219" y="206"/>
                  </a:lnTo>
                  <a:lnTo>
                    <a:pt x="219" y="205"/>
                  </a:lnTo>
                  <a:lnTo>
                    <a:pt x="219" y="203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18" y="201"/>
                  </a:lnTo>
                  <a:lnTo>
                    <a:pt x="218" y="201"/>
                  </a:lnTo>
                  <a:lnTo>
                    <a:pt x="218" y="200"/>
                  </a:lnTo>
                  <a:lnTo>
                    <a:pt x="217" y="200"/>
                  </a:lnTo>
                  <a:lnTo>
                    <a:pt x="217" y="199"/>
                  </a:lnTo>
                  <a:lnTo>
                    <a:pt x="217" y="198"/>
                  </a:lnTo>
                  <a:lnTo>
                    <a:pt x="215" y="198"/>
                  </a:lnTo>
                  <a:lnTo>
                    <a:pt x="213" y="196"/>
                  </a:lnTo>
                  <a:lnTo>
                    <a:pt x="212" y="195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10" y="191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0" y="188"/>
                  </a:lnTo>
                  <a:lnTo>
                    <a:pt x="210" y="187"/>
                  </a:lnTo>
                  <a:lnTo>
                    <a:pt x="211" y="186"/>
                  </a:lnTo>
                  <a:lnTo>
                    <a:pt x="211" y="185"/>
                  </a:lnTo>
                  <a:lnTo>
                    <a:pt x="212" y="184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3" y="181"/>
                  </a:lnTo>
                  <a:lnTo>
                    <a:pt x="214" y="180"/>
                  </a:lnTo>
                  <a:lnTo>
                    <a:pt x="215" y="178"/>
                  </a:lnTo>
                  <a:lnTo>
                    <a:pt x="216" y="178"/>
                  </a:lnTo>
                  <a:lnTo>
                    <a:pt x="217" y="177"/>
                  </a:lnTo>
                  <a:lnTo>
                    <a:pt x="219" y="175"/>
                  </a:lnTo>
                  <a:lnTo>
                    <a:pt x="220" y="175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3"/>
                  </a:lnTo>
                  <a:lnTo>
                    <a:pt x="222" y="173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2" y="171"/>
                  </a:lnTo>
                  <a:lnTo>
                    <a:pt x="221" y="171"/>
                  </a:lnTo>
                  <a:lnTo>
                    <a:pt x="221" y="170"/>
                  </a:lnTo>
                  <a:lnTo>
                    <a:pt x="221" y="169"/>
                  </a:lnTo>
                  <a:lnTo>
                    <a:pt x="220" y="168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7" y="165"/>
                  </a:lnTo>
                  <a:lnTo>
                    <a:pt x="217" y="164"/>
                  </a:lnTo>
                  <a:lnTo>
                    <a:pt x="217" y="163"/>
                  </a:lnTo>
                  <a:lnTo>
                    <a:pt x="217" y="163"/>
                  </a:lnTo>
                  <a:lnTo>
                    <a:pt x="217" y="162"/>
                  </a:lnTo>
                  <a:lnTo>
                    <a:pt x="217" y="161"/>
                  </a:lnTo>
                  <a:lnTo>
                    <a:pt x="217" y="160"/>
                  </a:lnTo>
                  <a:lnTo>
                    <a:pt x="217" y="159"/>
                  </a:lnTo>
                  <a:lnTo>
                    <a:pt x="218" y="159"/>
                  </a:lnTo>
                  <a:lnTo>
                    <a:pt x="218" y="158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3" y="151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8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2" y="147"/>
                  </a:lnTo>
                  <a:lnTo>
                    <a:pt x="222" y="146"/>
                  </a:lnTo>
                  <a:lnTo>
                    <a:pt x="222" y="146"/>
                  </a:lnTo>
                  <a:lnTo>
                    <a:pt x="221" y="146"/>
                  </a:lnTo>
                  <a:lnTo>
                    <a:pt x="218" y="145"/>
                  </a:lnTo>
                  <a:lnTo>
                    <a:pt x="217" y="145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5" y="144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0"/>
                  </a:lnTo>
                  <a:lnTo>
                    <a:pt x="215" y="140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8"/>
                  </a:lnTo>
                  <a:lnTo>
                    <a:pt x="215" y="138"/>
                  </a:lnTo>
                  <a:lnTo>
                    <a:pt x="215" y="138"/>
                  </a:lnTo>
                  <a:lnTo>
                    <a:pt x="210" y="134"/>
                  </a:lnTo>
                  <a:lnTo>
                    <a:pt x="207" y="132"/>
                  </a:lnTo>
                  <a:lnTo>
                    <a:pt x="206" y="131"/>
                  </a:lnTo>
                  <a:lnTo>
                    <a:pt x="206" y="131"/>
                  </a:lnTo>
                  <a:lnTo>
                    <a:pt x="205" y="130"/>
                  </a:lnTo>
                  <a:lnTo>
                    <a:pt x="205" y="130"/>
                  </a:lnTo>
                  <a:lnTo>
                    <a:pt x="205" y="129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7"/>
                  </a:lnTo>
                  <a:lnTo>
                    <a:pt x="205" y="126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6" y="119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3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8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4"/>
                  </a:lnTo>
                  <a:lnTo>
                    <a:pt x="214" y="101"/>
                  </a:lnTo>
                  <a:lnTo>
                    <a:pt x="215" y="100"/>
                  </a:lnTo>
                  <a:lnTo>
                    <a:pt x="216" y="99"/>
                  </a:lnTo>
                  <a:lnTo>
                    <a:pt x="216" y="98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20" y="95"/>
                  </a:lnTo>
                  <a:lnTo>
                    <a:pt x="221" y="95"/>
                  </a:lnTo>
                  <a:lnTo>
                    <a:pt x="222" y="95"/>
                  </a:lnTo>
                  <a:lnTo>
                    <a:pt x="223" y="94"/>
                  </a:lnTo>
                  <a:lnTo>
                    <a:pt x="226" y="94"/>
                  </a:lnTo>
                  <a:lnTo>
                    <a:pt x="228" y="94"/>
                  </a:lnTo>
                  <a:lnTo>
                    <a:pt x="230" y="93"/>
                  </a:lnTo>
                  <a:lnTo>
                    <a:pt x="231" y="93"/>
                  </a:lnTo>
                  <a:lnTo>
                    <a:pt x="232" y="93"/>
                  </a:lnTo>
                  <a:lnTo>
                    <a:pt x="233" y="92"/>
                  </a:lnTo>
                  <a:lnTo>
                    <a:pt x="234" y="92"/>
                  </a:lnTo>
                  <a:lnTo>
                    <a:pt x="234" y="91"/>
                  </a:lnTo>
                  <a:lnTo>
                    <a:pt x="235" y="91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8"/>
                  </a:lnTo>
                  <a:lnTo>
                    <a:pt x="235" y="88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3" y="87"/>
                  </a:lnTo>
                  <a:lnTo>
                    <a:pt x="233" y="86"/>
                  </a:lnTo>
                  <a:lnTo>
                    <a:pt x="232" y="86"/>
                  </a:lnTo>
                  <a:lnTo>
                    <a:pt x="231" y="86"/>
                  </a:lnTo>
                  <a:lnTo>
                    <a:pt x="229" y="85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3"/>
                  </a:lnTo>
                  <a:lnTo>
                    <a:pt x="228" y="83"/>
                  </a:lnTo>
                  <a:lnTo>
                    <a:pt x="228" y="82"/>
                  </a:lnTo>
                  <a:lnTo>
                    <a:pt x="229" y="81"/>
                  </a:lnTo>
                  <a:lnTo>
                    <a:pt x="231" y="80"/>
                  </a:lnTo>
                  <a:lnTo>
                    <a:pt x="231" y="79"/>
                  </a:lnTo>
                  <a:lnTo>
                    <a:pt x="232" y="79"/>
                  </a:lnTo>
                  <a:lnTo>
                    <a:pt x="233" y="78"/>
                  </a:lnTo>
                  <a:lnTo>
                    <a:pt x="234" y="77"/>
                  </a:lnTo>
                  <a:lnTo>
                    <a:pt x="235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7" y="77"/>
                  </a:lnTo>
                  <a:lnTo>
                    <a:pt x="238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0" y="77"/>
                  </a:lnTo>
                  <a:lnTo>
                    <a:pt x="240" y="78"/>
                  </a:lnTo>
                  <a:lnTo>
                    <a:pt x="241" y="78"/>
                  </a:lnTo>
                  <a:lnTo>
                    <a:pt x="241" y="79"/>
                  </a:lnTo>
                  <a:lnTo>
                    <a:pt x="242" y="80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3" y="82"/>
                  </a:lnTo>
                  <a:lnTo>
                    <a:pt x="243" y="82"/>
                  </a:lnTo>
                  <a:lnTo>
                    <a:pt x="244" y="83"/>
                  </a:lnTo>
                  <a:lnTo>
                    <a:pt x="244" y="83"/>
                  </a:lnTo>
                  <a:lnTo>
                    <a:pt x="245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8" y="82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1"/>
                  </a:lnTo>
                  <a:lnTo>
                    <a:pt x="250" y="80"/>
                  </a:lnTo>
                  <a:lnTo>
                    <a:pt x="250" y="78"/>
                  </a:lnTo>
                  <a:lnTo>
                    <a:pt x="251" y="77"/>
                  </a:lnTo>
                  <a:lnTo>
                    <a:pt x="251" y="76"/>
                  </a:lnTo>
                  <a:lnTo>
                    <a:pt x="251" y="75"/>
                  </a:lnTo>
                  <a:lnTo>
                    <a:pt x="251" y="75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3"/>
                  </a:lnTo>
                  <a:lnTo>
                    <a:pt x="251" y="72"/>
                  </a:lnTo>
                  <a:lnTo>
                    <a:pt x="250" y="71"/>
                  </a:lnTo>
                  <a:lnTo>
                    <a:pt x="249" y="70"/>
                  </a:lnTo>
                  <a:lnTo>
                    <a:pt x="249" y="69"/>
                  </a:lnTo>
                  <a:lnTo>
                    <a:pt x="247" y="68"/>
                  </a:lnTo>
                  <a:lnTo>
                    <a:pt x="247" y="67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5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3"/>
                  </a:lnTo>
                  <a:lnTo>
                    <a:pt x="249" y="63"/>
                  </a:lnTo>
                  <a:lnTo>
                    <a:pt x="249" y="63"/>
                  </a:lnTo>
                  <a:lnTo>
                    <a:pt x="250" y="63"/>
                  </a:lnTo>
                  <a:lnTo>
                    <a:pt x="251" y="62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4" y="61"/>
                  </a:lnTo>
                  <a:lnTo>
                    <a:pt x="255" y="59"/>
                  </a:lnTo>
                  <a:lnTo>
                    <a:pt x="256" y="58"/>
                  </a:lnTo>
                  <a:lnTo>
                    <a:pt x="257" y="57"/>
                  </a:lnTo>
                  <a:lnTo>
                    <a:pt x="258" y="55"/>
                  </a:lnTo>
                  <a:lnTo>
                    <a:pt x="258" y="54"/>
                  </a:lnTo>
                  <a:lnTo>
                    <a:pt x="259" y="53"/>
                  </a:lnTo>
                  <a:lnTo>
                    <a:pt x="259" y="52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7" y="45"/>
                  </a:lnTo>
                  <a:lnTo>
                    <a:pt x="257" y="44"/>
                  </a:lnTo>
                  <a:lnTo>
                    <a:pt x="256" y="44"/>
                  </a:lnTo>
                  <a:lnTo>
                    <a:pt x="253" y="42"/>
                  </a:lnTo>
                  <a:lnTo>
                    <a:pt x="253" y="42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51" y="40"/>
                  </a:lnTo>
                  <a:lnTo>
                    <a:pt x="250" y="39"/>
                  </a:lnTo>
                  <a:lnTo>
                    <a:pt x="250" y="38"/>
                  </a:lnTo>
                  <a:lnTo>
                    <a:pt x="250" y="38"/>
                  </a:lnTo>
                  <a:lnTo>
                    <a:pt x="250" y="37"/>
                  </a:lnTo>
                  <a:lnTo>
                    <a:pt x="250" y="37"/>
                  </a:lnTo>
                  <a:lnTo>
                    <a:pt x="250" y="36"/>
                  </a:lnTo>
                  <a:lnTo>
                    <a:pt x="250" y="35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6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57" y="23"/>
                  </a:lnTo>
                  <a:lnTo>
                    <a:pt x="259" y="22"/>
                  </a:lnTo>
                  <a:lnTo>
                    <a:pt x="260" y="21"/>
                  </a:lnTo>
                  <a:lnTo>
                    <a:pt x="261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8"/>
                  </a:lnTo>
                  <a:lnTo>
                    <a:pt x="264" y="17"/>
                  </a:lnTo>
                  <a:lnTo>
                    <a:pt x="265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1" y="18"/>
                  </a:lnTo>
                  <a:lnTo>
                    <a:pt x="272" y="18"/>
                  </a:lnTo>
                  <a:lnTo>
                    <a:pt x="273" y="18"/>
                  </a:lnTo>
                  <a:lnTo>
                    <a:pt x="275" y="18"/>
                  </a:lnTo>
                  <a:lnTo>
                    <a:pt x="277" y="17"/>
                  </a:lnTo>
                  <a:lnTo>
                    <a:pt x="280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7" y="18"/>
                  </a:lnTo>
                  <a:lnTo>
                    <a:pt x="289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5" y="18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8" y="16"/>
                  </a:lnTo>
                  <a:lnTo>
                    <a:pt x="298" y="15"/>
                  </a:lnTo>
                  <a:lnTo>
                    <a:pt x="298" y="14"/>
                  </a:lnTo>
                  <a:lnTo>
                    <a:pt x="299" y="13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2" y="2"/>
                  </a:lnTo>
                  <a:lnTo>
                    <a:pt x="302" y="1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Freeform 69">
              <a:extLst>
                <a:ext uri="{FF2B5EF4-FFF2-40B4-BE49-F238E27FC236}">
                  <a16:creationId xmlns:a16="http://schemas.microsoft.com/office/drawing/2014/main" id="{CD9B00AA-D930-C850-5495-3C88BCF7D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140"/>
              <a:ext cx="365" cy="541"/>
            </a:xfrm>
            <a:custGeom>
              <a:avLst/>
              <a:gdLst>
                <a:gd name="T0" fmla="*/ 183 w 365"/>
                <a:gd name="T1" fmla="*/ 74 h 541"/>
                <a:gd name="T2" fmla="*/ 199 w 365"/>
                <a:gd name="T3" fmla="*/ 75 h 541"/>
                <a:gd name="T4" fmla="*/ 205 w 365"/>
                <a:gd name="T5" fmla="*/ 104 h 541"/>
                <a:gd name="T6" fmla="*/ 178 w 365"/>
                <a:gd name="T7" fmla="*/ 117 h 541"/>
                <a:gd name="T8" fmla="*/ 153 w 365"/>
                <a:gd name="T9" fmla="*/ 151 h 541"/>
                <a:gd name="T10" fmla="*/ 137 w 365"/>
                <a:gd name="T11" fmla="*/ 197 h 541"/>
                <a:gd name="T12" fmla="*/ 143 w 365"/>
                <a:gd name="T13" fmla="*/ 226 h 541"/>
                <a:gd name="T14" fmla="*/ 133 w 365"/>
                <a:gd name="T15" fmla="*/ 253 h 541"/>
                <a:gd name="T16" fmla="*/ 143 w 365"/>
                <a:gd name="T17" fmla="*/ 275 h 541"/>
                <a:gd name="T18" fmla="*/ 152 w 365"/>
                <a:gd name="T19" fmla="*/ 287 h 541"/>
                <a:gd name="T20" fmla="*/ 184 w 365"/>
                <a:gd name="T21" fmla="*/ 270 h 541"/>
                <a:gd name="T22" fmla="*/ 195 w 365"/>
                <a:gd name="T23" fmla="*/ 287 h 541"/>
                <a:gd name="T24" fmla="*/ 208 w 365"/>
                <a:gd name="T25" fmla="*/ 288 h 541"/>
                <a:gd name="T26" fmla="*/ 222 w 365"/>
                <a:gd name="T27" fmla="*/ 279 h 541"/>
                <a:gd name="T28" fmla="*/ 229 w 365"/>
                <a:gd name="T29" fmla="*/ 270 h 541"/>
                <a:gd name="T30" fmla="*/ 240 w 365"/>
                <a:gd name="T31" fmla="*/ 299 h 541"/>
                <a:gd name="T32" fmla="*/ 269 w 365"/>
                <a:gd name="T33" fmla="*/ 317 h 541"/>
                <a:gd name="T34" fmla="*/ 294 w 365"/>
                <a:gd name="T35" fmla="*/ 318 h 541"/>
                <a:gd name="T36" fmla="*/ 297 w 365"/>
                <a:gd name="T37" fmla="*/ 350 h 541"/>
                <a:gd name="T38" fmla="*/ 314 w 365"/>
                <a:gd name="T39" fmla="*/ 355 h 541"/>
                <a:gd name="T40" fmla="*/ 347 w 365"/>
                <a:gd name="T41" fmla="*/ 394 h 541"/>
                <a:gd name="T42" fmla="*/ 355 w 365"/>
                <a:gd name="T43" fmla="*/ 401 h 541"/>
                <a:gd name="T44" fmla="*/ 361 w 365"/>
                <a:gd name="T45" fmla="*/ 419 h 541"/>
                <a:gd name="T46" fmla="*/ 341 w 365"/>
                <a:gd name="T47" fmla="*/ 426 h 541"/>
                <a:gd name="T48" fmla="*/ 324 w 365"/>
                <a:gd name="T49" fmla="*/ 456 h 541"/>
                <a:gd name="T50" fmla="*/ 299 w 365"/>
                <a:gd name="T51" fmla="*/ 451 h 541"/>
                <a:gd name="T52" fmla="*/ 282 w 365"/>
                <a:gd name="T53" fmla="*/ 457 h 541"/>
                <a:gd name="T54" fmla="*/ 282 w 365"/>
                <a:gd name="T55" fmla="*/ 476 h 541"/>
                <a:gd name="T56" fmla="*/ 256 w 365"/>
                <a:gd name="T57" fmla="*/ 477 h 541"/>
                <a:gd name="T58" fmla="*/ 239 w 365"/>
                <a:gd name="T59" fmla="*/ 496 h 541"/>
                <a:gd name="T60" fmla="*/ 208 w 365"/>
                <a:gd name="T61" fmla="*/ 488 h 541"/>
                <a:gd name="T62" fmla="*/ 198 w 365"/>
                <a:gd name="T63" fmla="*/ 479 h 541"/>
                <a:gd name="T64" fmla="*/ 196 w 365"/>
                <a:gd name="T65" fmla="*/ 508 h 541"/>
                <a:gd name="T66" fmla="*/ 165 w 365"/>
                <a:gd name="T67" fmla="*/ 530 h 541"/>
                <a:gd name="T68" fmla="*/ 141 w 365"/>
                <a:gd name="T69" fmla="*/ 541 h 541"/>
                <a:gd name="T70" fmla="*/ 111 w 365"/>
                <a:gd name="T71" fmla="*/ 507 h 541"/>
                <a:gd name="T72" fmla="*/ 106 w 365"/>
                <a:gd name="T73" fmla="*/ 484 h 541"/>
                <a:gd name="T74" fmla="*/ 94 w 365"/>
                <a:gd name="T75" fmla="*/ 477 h 541"/>
                <a:gd name="T76" fmla="*/ 77 w 365"/>
                <a:gd name="T77" fmla="*/ 448 h 541"/>
                <a:gd name="T78" fmla="*/ 50 w 365"/>
                <a:gd name="T79" fmla="*/ 448 h 541"/>
                <a:gd name="T80" fmla="*/ 63 w 365"/>
                <a:gd name="T81" fmla="*/ 470 h 541"/>
                <a:gd name="T82" fmla="*/ 43 w 365"/>
                <a:gd name="T83" fmla="*/ 490 h 541"/>
                <a:gd name="T84" fmla="*/ 36 w 365"/>
                <a:gd name="T85" fmla="*/ 470 h 541"/>
                <a:gd name="T86" fmla="*/ 28 w 365"/>
                <a:gd name="T87" fmla="*/ 435 h 541"/>
                <a:gd name="T88" fmla="*/ 15 w 365"/>
                <a:gd name="T89" fmla="*/ 419 h 541"/>
                <a:gd name="T90" fmla="*/ 22 w 365"/>
                <a:gd name="T91" fmla="*/ 404 h 541"/>
                <a:gd name="T92" fmla="*/ 32 w 365"/>
                <a:gd name="T93" fmla="*/ 384 h 541"/>
                <a:gd name="T94" fmla="*/ 40 w 365"/>
                <a:gd name="T95" fmla="*/ 353 h 541"/>
                <a:gd name="T96" fmla="*/ 27 w 365"/>
                <a:gd name="T97" fmla="*/ 333 h 541"/>
                <a:gd name="T98" fmla="*/ 18 w 365"/>
                <a:gd name="T99" fmla="*/ 306 h 541"/>
                <a:gd name="T100" fmla="*/ 9 w 365"/>
                <a:gd name="T101" fmla="*/ 274 h 541"/>
                <a:gd name="T102" fmla="*/ 4 w 365"/>
                <a:gd name="T103" fmla="*/ 225 h 541"/>
                <a:gd name="T104" fmla="*/ 12 w 365"/>
                <a:gd name="T105" fmla="*/ 206 h 541"/>
                <a:gd name="T106" fmla="*/ 25 w 365"/>
                <a:gd name="T107" fmla="*/ 176 h 541"/>
                <a:gd name="T108" fmla="*/ 39 w 365"/>
                <a:gd name="T109" fmla="*/ 128 h 541"/>
                <a:gd name="T110" fmla="*/ 53 w 365"/>
                <a:gd name="T111" fmla="*/ 105 h 541"/>
                <a:gd name="T112" fmla="*/ 80 w 365"/>
                <a:gd name="T113" fmla="*/ 103 h 541"/>
                <a:gd name="T114" fmla="*/ 85 w 365"/>
                <a:gd name="T115" fmla="*/ 78 h 541"/>
                <a:gd name="T116" fmla="*/ 57 w 365"/>
                <a:gd name="T117" fmla="*/ 44 h 541"/>
                <a:gd name="T118" fmla="*/ 40 w 365"/>
                <a:gd name="T119" fmla="*/ 14 h 541"/>
                <a:gd name="T120" fmla="*/ 69 w 365"/>
                <a:gd name="T121" fmla="*/ 10 h 541"/>
                <a:gd name="T122" fmla="*/ 113 w 365"/>
                <a:gd name="T123" fmla="*/ 22 h 541"/>
                <a:gd name="T124" fmla="*/ 143 w 365"/>
                <a:gd name="T125" fmla="*/ 4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5" h="541">
                  <a:moveTo>
                    <a:pt x="169" y="56"/>
                  </a:moveTo>
                  <a:lnTo>
                    <a:pt x="170" y="55"/>
                  </a:lnTo>
                  <a:lnTo>
                    <a:pt x="171" y="55"/>
                  </a:lnTo>
                  <a:lnTo>
                    <a:pt x="172" y="55"/>
                  </a:lnTo>
                  <a:lnTo>
                    <a:pt x="176" y="54"/>
                  </a:lnTo>
                  <a:lnTo>
                    <a:pt x="177" y="54"/>
                  </a:lnTo>
                  <a:lnTo>
                    <a:pt x="178" y="54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5"/>
                  </a:lnTo>
                  <a:lnTo>
                    <a:pt x="181" y="55"/>
                  </a:lnTo>
                  <a:lnTo>
                    <a:pt x="181" y="56"/>
                  </a:lnTo>
                  <a:lnTo>
                    <a:pt x="182" y="58"/>
                  </a:lnTo>
                  <a:lnTo>
                    <a:pt x="183" y="61"/>
                  </a:lnTo>
                  <a:lnTo>
                    <a:pt x="183" y="62"/>
                  </a:lnTo>
                  <a:lnTo>
                    <a:pt x="183" y="62"/>
                  </a:lnTo>
                  <a:lnTo>
                    <a:pt x="183" y="63"/>
                  </a:lnTo>
                  <a:lnTo>
                    <a:pt x="183" y="64"/>
                  </a:lnTo>
                  <a:lnTo>
                    <a:pt x="182" y="72"/>
                  </a:lnTo>
                  <a:lnTo>
                    <a:pt x="182" y="73"/>
                  </a:lnTo>
                  <a:lnTo>
                    <a:pt x="183" y="74"/>
                  </a:lnTo>
                  <a:lnTo>
                    <a:pt x="183" y="76"/>
                  </a:lnTo>
                  <a:lnTo>
                    <a:pt x="183" y="77"/>
                  </a:lnTo>
                  <a:lnTo>
                    <a:pt x="184" y="77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5" y="79"/>
                  </a:lnTo>
                  <a:lnTo>
                    <a:pt x="185" y="79"/>
                  </a:lnTo>
                  <a:lnTo>
                    <a:pt x="186" y="79"/>
                  </a:lnTo>
                  <a:lnTo>
                    <a:pt x="186" y="79"/>
                  </a:lnTo>
                  <a:lnTo>
                    <a:pt x="187" y="78"/>
                  </a:lnTo>
                  <a:lnTo>
                    <a:pt x="187" y="78"/>
                  </a:lnTo>
                  <a:lnTo>
                    <a:pt x="189" y="77"/>
                  </a:lnTo>
                  <a:lnTo>
                    <a:pt x="190" y="76"/>
                  </a:lnTo>
                  <a:lnTo>
                    <a:pt x="190" y="76"/>
                  </a:lnTo>
                  <a:lnTo>
                    <a:pt x="191" y="75"/>
                  </a:lnTo>
                  <a:lnTo>
                    <a:pt x="192" y="75"/>
                  </a:lnTo>
                  <a:lnTo>
                    <a:pt x="192" y="75"/>
                  </a:lnTo>
                  <a:lnTo>
                    <a:pt x="194" y="75"/>
                  </a:lnTo>
                  <a:lnTo>
                    <a:pt x="194" y="74"/>
                  </a:lnTo>
                  <a:lnTo>
                    <a:pt x="195" y="74"/>
                  </a:lnTo>
                  <a:lnTo>
                    <a:pt x="197" y="75"/>
                  </a:lnTo>
                  <a:lnTo>
                    <a:pt x="198" y="75"/>
                  </a:lnTo>
                  <a:lnTo>
                    <a:pt x="199" y="75"/>
                  </a:lnTo>
                  <a:lnTo>
                    <a:pt x="200" y="76"/>
                  </a:lnTo>
                  <a:lnTo>
                    <a:pt x="201" y="76"/>
                  </a:lnTo>
                  <a:lnTo>
                    <a:pt x="202" y="77"/>
                  </a:lnTo>
                  <a:lnTo>
                    <a:pt x="203" y="77"/>
                  </a:lnTo>
                  <a:lnTo>
                    <a:pt x="204" y="78"/>
                  </a:lnTo>
                  <a:lnTo>
                    <a:pt x="204" y="78"/>
                  </a:lnTo>
                  <a:lnTo>
                    <a:pt x="205" y="79"/>
                  </a:lnTo>
                  <a:lnTo>
                    <a:pt x="206" y="80"/>
                  </a:lnTo>
                  <a:lnTo>
                    <a:pt x="206" y="81"/>
                  </a:lnTo>
                  <a:lnTo>
                    <a:pt x="207" y="82"/>
                  </a:lnTo>
                  <a:lnTo>
                    <a:pt x="207" y="82"/>
                  </a:lnTo>
                  <a:lnTo>
                    <a:pt x="208" y="83"/>
                  </a:lnTo>
                  <a:lnTo>
                    <a:pt x="208" y="84"/>
                  </a:lnTo>
                  <a:lnTo>
                    <a:pt x="208" y="85"/>
                  </a:lnTo>
                  <a:lnTo>
                    <a:pt x="208" y="85"/>
                  </a:lnTo>
                  <a:lnTo>
                    <a:pt x="208" y="94"/>
                  </a:lnTo>
                  <a:lnTo>
                    <a:pt x="207" y="97"/>
                  </a:lnTo>
                  <a:lnTo>
                    <a:pt x="207" y="98"/>
                  </a:lnTo>
                  <a:lnTo>
                    <a:pt x="207" y="100"/>
                  </a:lnTo>
                  <a:lnTo>
                    <a:pt x="206" y="101"/>
                  </a:lnTo>
                  <a:lnTo>
                    <a:pt x="206" y="102"/>
                  </a:lnTo>
                  <a:lnTo>
                    <a:pt x="206" y="103"/>
                  </a:lnTo>
                  <a:lnTo>
                    <a:pt x="205" y="104"/>
                  </a:lnTo>
                  <a:lnTo>
                    <a:pt x="205" y="104"/>
                  </a:lnTo>
                  <a:lnTo>
                    <a:pt x="204" y="104"/>
                  </a:lnTo>
                  <a:lnTo>
                    <a:pt x="204" y="105"/>
                  </a:lnTo>
                  <a:lnTo>
                    <a:pt x="203" y="105"/>
                  </a:lnTo>
                  <a:lnTo>
                    <a:pt x="202" y="105"/>
                  </a:lnTo>
                  <a:lnTo>
                    <a:pt x="201" y="105"/>
                  </a:lnTo>
                  <a:lnTo>
                    <a:pt x="201" y="105"/>
                  </a:lnTo>
                  <a:lnTo>
                    <a:pt x="199" y="105"/>
                  </a:lnTo>
                  <a:lnTo>
                    <a:pt x="198" y="105"/>
                  </a:lnTo>
                  <a:lnTo>
                    <a:pt x="197" y="104"/>
                  </a:lnTo>
                  <a:lnTo>
                    <a:pt x="195" y="104"/>
                  </a:lnTo>
                  <a:lnTo>
                    <a:pt x="194" y="104"/>
                  </a:lnTo>
                  <a:lnTo>
                    <a:pt x="194" y="104"/>
                  </a:lnTo>
                  <a:lnTo>
                    <a:pt x="193" y="105"/>
                  </a:lnTo>
                  <a:lnTo>
                    <a:pt x="193" y="105"/>
                  </a:lnTo>
                  <a:lnTo>
                    <a:pt x="191" y="106"/>
                  </a:lnTo>
                  <a:lnTo>
                    <a:pt x="190" y="107"/>
                  </a:lnTo>
                  <a:lnTo>
                    <a:pt x="189" y="109"/>
                  </a:lnTo>
                  <a:lnTo>
                    <a:pt x="185" y="113"/>
                  </a:lnTo>
                  <a:lnTo>
                    <a:pt x="184" y="114"/>
                  </a:lnTo>
                  <a:lnTo>
                    <a:pt x="183" y="115"/>
                  </a:lnTo>
                  <a:lnTo>
                    <a:pt x="182" y="115"/>
                  </a:lnTo>
                  <a:lnTo>
                    <a:pt x="181" y="116"/>
                  </a:lnTo>
                  <a:lnTo>
                    <a:pt x="180" y="116"/>
                  </a:lnTo>
                  <a:lnTo>
                    <a:pt x="178" y="117"/>
                  </a:lnTo>
                  <a:lnTo>
                    <a:pt x="177" y="118"/>
                  </a:lnTo>
                  <a:lnTo>
                    <a:pt x="176" y="118"/>
                  </a:lnTo>
                  <a:lnTo>
                    <a:pt x="175" y="119"/>
                  </a:lnTo>
                  <a:lnTo>
                    <a:pt x="174" y="120"/>
                  </a:lnTo>
                  <a:lnTo>
                    <a:pt x="173" y="120"/>
                  </a:lnTo>
                  <a:lnTo>
                    <a:pt x="171" y="123"/>
                  </a:lnTo>
                  <a:lnTo>
                    <a:pt x="170" y="123"/>
                  </a:lnTo>
                  <a:lnTo>
                    <a:pt x="169" y="124"/>
                  </a:lnTo>
                  <a:lnTo>
                    <a:pt x="167" y="126"/>
                  </a:lnTo>
                  <a:lnTo>
                    <a:pt x="166" y="126"/>
                  </a:lnTo>
                  <a:lnTo>
                    <a:pt x="165" y="128"/>
                  </a:lnTo>
                  <a:lnTo>
                    <a:pt x="163" y="130"/>
                  </a:lnTo>
                  <a:lnTo>
                    <a:pt x="158" y="136"/>
                  </a:lnTo>
                  <a:lnTo>
                    <a:pt x="156" y="138"/>
                  </a:lnTo>
                  <a:lnTo>
                    <a:pt x="156" y="139"/>
                  </a:lnTo>
                  <a:lnTo>
                    <a:pt x="155" y="140"/>
                  </a:lnTo>
                  <a:lnTo>
                    <a:pt x="155" y="141"/>
                  </a:lnTo>
                  <a:lnTo>
                    <a:pt x="155" y="142"/>
                  </a:lnTo>
                  <a:lnTo>
                    <a:pt x="155" y="145"/>
                  </a:lnTo>
                  <a:lnTo>
                    <a:pt x="154" y="147"/>
                  </a:lnTo>
                  <a:lnTo>
                    <a:pt x="154" y="148"/>
                  </a:lnTo>
                  <a:lnTo>
                    <a:pt x="154" y="149"/>
                  </a:lnTo>
                  <a:lnTo>
                    <a:pt x="154" y="150"/>
                  </a:lnTo>
                  <a:lnTo>
                    <a:pt x="153" y="151"/>
                  </a:lnTo>
                  <a:lnTo>
                    <a:pt x="152" y="155"/>
                  </a:lnTo>
                  <a:lnTo>
                    <a:pt x="151" y="156"/>
                  </a:lnTo>
                  <a:lnTo>
                    <a:pt x="151" y="157"/>
                  </a:lnTo>
                  <a:lnTo>
                    <a:pt x="150" y="158"/>
                  </a:lnTo>
                  <a:lnTo>
                    <a:pt x="150" y="160"/>
                  </a:lnTo>
                  <a:lnTo>
                    <a:pt x="150" y="161"/>
                  </a:lnTo>
                  <a:lnTo>
                    <a:pt x="151" y="166"/>
                  </a:lnTo>
                  <a:lnTo>
                    <a:pt x="151" y="170"/>
                  </a:lnTo>
                  <a:lnTo>
                    <a:pt x="151" y="172"/>
                  </a:lnTo>
                  <a:lnTo>
                    <a:pt x="151" y="174"/>
                  </a:lnTo>
                  <a:lnTo>
                    <a:pt x="151" y="175"/>
                  </a:lnTo>
                  <a:lnTo>
                    <a:pt x="150" y="176"/>
                  </a:lnTo>
                  <a:lnTo>
                    <a:pt x="150" y="178"/>
                  </a:lnTo>
                  <a:lnTo>
                    <a:pt x="150" y="179"/>
                  </a:lnTo>
                  <a:lnTo>
                    <a:pt x="149" y="180"/>
                  </a:lnTo>
                  <a:lnTo>
                    <a:pt x="149" y="181"/>
                  </a:lnTo>
                  <a:lnTo>
                    <a:pt x="148" y="182"/>
                  </a:lnTo>
                  <a:lnTo>
                    <a:pt x="147" y="184"/>
                  </a:lnTo>
                  <a:lnTo>
                    <a:pt x="146" y="184"/>
                  </a:lnTo>
                  <a:lnTo>
                    <a:pt x="141" y="191"/>
                  </a:lnTo>
                  <a:lnTo>
                    <a:pt x="140" y="192"/>
                  </a:lnTo>
                  <a:lnTo>
                    <a:pt x="139" y="194"/>
                  </a:lnTo>
                  <a:lnTo>
                    <a:pt x="138" y="195"/>
                  </a:lnTo>
                  <a:lnTo>
                    <a:pt x="137" y="197"/>
                  </a:lnTo>
                  <a:lnTo>
                    <a:pt x="136" y="199"/>
                  </a:lnTo>
                  <a:lnTo>
                    <a:pt x="135" y="200"/>
                  </a:lnTo>
                  <a:lnTo>
                    <a:pt x="135" y="201"/>
                  </a:lnTo>
                  <a:lnTo>
                    <a:pt x="135" y="202"/>
                  </a:lnTo>
                  <a:lnTo>
                    <a:pt x="135" y="203"/>
                  </a:lnTo>
                  <a:lnTo>
                    <a:pt x="134" y="204"/>
                  </a:lnTo>
                  <a:lnTo>
                    <a:pt x="134" y="208"/>
                  </a:lnTo>
                  <a:lnTo>
                    <a:pt x="133" y="212"/>
                  </a:lnTo>
                  <a:lnTo>
                    <a:pt x="133" y="212"/>
                  </a:lnTo>
                  <a:lnTo>
                    <a:pt x="133" y="213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4" y="215"/>
                  </a:lnTo>
                  <a:lnTo>
                    <a:pt x="135" y="216"/>
                  </a:lnTo>
                  <a:lnTo>
                    <a:pt x="135" y="216"/>
                  </a:lnTo>
                  <a:lnTo>
                    <a:pt x="136" y="218"/>
                  </a:lnTo>
                  <a:lnTo>
                    <a:pt x="140" y="222"/>
                  </a:lnTo>
                  <a:lnTo>
                    <a:pt x="141" y="223"/>
                  </a:lnTo>
                  <a:lnTo>
                    <a:pt x="141" y="224"/>
                  </a:lnTo>
                  <a:lnTo>
                    <a:pt x="142" y="224"/>
                  </a:lnTo>
                  <a:lnTo>
                    <a:pt x="142" y="225"/>
                  </a:lnTo>
                  <a:lnTo>
                    <a:pt x="142" y="226"/>
                  </a:lnTo>
                  <a:lnTo>
                    <a:pt x="143" y="226"/>
                  </a:lnTo>
                  <a:lnTo>
                    <a:pt x="143" y="227"/>
                  </a:lnTo>
                  <a:lnTo>
                    <a:pt x="143" y="228"/>
                  </a:lnTo>
                  <a:lnTo>
                    <a:pt x="143" y="228"/>
                  </a:lnTo>
                  <a:lnTo>
                    <a:pt x="143" y="229"/>
                  </a:lnTo>
                  <a:lnTo>
                    <a:pt x="143" y="230"/>
                  </a:lnTo>
                  <a:lnTo>
                    <a:pt x="143" y="231"/>
                  </a:lnTo>
                  <a:lnTo>
                    <a:pt x="142" y="232"/>
                  </a:lnTo>
                  <a:lnTo>
                    <a:pt x="141" y="233"/>
                  </a:lnTo>
                  <a:lnTo>
                    <a:pt x="141" y="234"/>
                  </a:lnTo>
                  <a:lnTo>
                    <a:pt x="140" y="235"/>
                  </a:lnTo>
                  <a:lnTo>
                    <a:pt x="138" y="238"/>
                  </a:lnTo>
                  <a:lnTo>
                    <a:pt x="137" y="240"/>
                  </a:lnTo>
                  <a:lnTo>
                    <a:pt x="136" y="242"/>
                  </a:lnTo>
                  <a:lnTo>
                    <a:pt x="135" y="242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35" y="244"/>
                  </a:lnTo>
                  <a:lnTo>
                    <a:pt x="135" y="245"/>
                  </a:lnTo>
                  <a:lnTo>
                    <a:pt x="135" y="247"/>
                  </a:lnTo>
                  <a:lnTo>
                    <a:pt x="135" y="248"/>
                  </a:lnTo>
                  <a:lnTo>
                    <a:pt x="135" y="249"/>
                  </a:lnTo>
                  <a:lnTo>
                    <a:pt x="134" y="250"/>
                  </a:lnTo>
                  <a:lnTo>
                    <a:pt x="134" y="251"/>
                  </a:lnTo>
                  <a:lnTo>
                    <a:pt x="133" y="253"/>
                  </a:lnTo>
                  <a:lnTo>
                    <a:pt x="132" y="256"/>
                  </a:lnTo>
                  <a:lnTo>
                    <a:pt x="131" y="257"/>
                  </a:lnTo>
                  <a:lnTo>
                    <a:pt x="131" y="258"/>
                  </a:lnTo>
                  <a:lnTo>
                    <a:pt x="131" y="259"/>
                  </a:lnTo>
                  <a:lnTo>
                    <a:pt x="131" y="260"/>
                  </a:lnTo>
                  <a:lnTo>
                    <a:pt x="131" y="261"/>
                  </a:lnTo>
                  <a:lnTo>
                    <a:pt x="131" y="261"/>
                  </a:lnTo>
                  <a:lnTo>
                    <a:pt x="131" y="262"/>
                  </a:lnTo>
                  <a:lnTo>
                    <a:pt x="131" y="262"/>
                  </a:lnTo>
                  <a:lnTo>
                    <a:pt x="131" y="263"/>
                  </a:lnTo>
                  <a:lnTo>
                    <a:pt x="132" y="265"/>
                  </a:lnTo>
                  <a:lnTo>
                    <a:pt x="133" y="266"/>
                  </a:lnTo>
                  <a:lnTo>
                    <a:pt x="134" y="267"/>
                  </a:lnTo>
                  <a:lnTo>
                    <a:pt x="134" y="267"/>
                  </a:lnTo>
                  <a:lnTo>
                    <a:pt x="136" y="269"/>
                  </a:lnTo>
                  <a:lnTo>
                    <a:pt x="137" y="272"/>
                  </a:lnTo>
                  <a:lnTo>
                    <a:pt x="138" y="272"/>
                  </a:lnTo>
                  <a:lnTo>
                    <a:pt x="139" y="273"/>
                  </a:lnTo>
                  <a:lnTo>
                    <a:pt x="140" y="274"/>
                  </a:lnTo>
                  <a:lnTo>
                    <a:pt x="140" y="274"/>
                  </a:lnTo>
                  <a:lnTo>
                    <a:pt x="141" y="274"/>
                  </a:lnTo>
                  <a:lnTo>
                    <a:pt x="141" y="275"/>
                  </a:lnTo>
                  <a:lnTo>
                    <a:pt x="142" y="275"/>
                  </a:lnTo>
                  <a:lnTo>
                    <a:pt x="143" y="275"/>
                  </a:lnTo>
                  <a:lnTo>
                    <a:pt x="144" y="274"/>
                  </a:lnTo>
                  <a:lnTo>
                    <a:pt x="146" y="274"/>
                  </a:lnTo>
                  <a:lnTo>
                    <a:pt x="147" y="274"/>
                  </a:lnTo>
                  <a:lnTo>
                    <a:pt x="148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1" y="273"/>
                  </a:lnTo>
                  <a:lnTo>
                    <a:pt x="151" y="274"/>
                  </a:lnTo>
                  <a:lnTo>
                    <a:pt x="151" y="274"/>
                  </a:lnTo>
                  <a:lnTo>
                    <a:pt x="151" y="275"/>
                  </a:lnTo>
                  <a:lnTo>
                    <a:pt x="151" y="276"/>
                  </a:lnTo>
                  <a:lnTo>
                    <a:pt x="151" y="278"/>
                  </a:lnTo>
                  <a:lnTo>
                    <a:pt x="150" y="281"/>
                  </a:lnTo>
                  <a:lnTo>
                    <a:pt x="150" y="282"/>
                  </a:lnTo>
                  <a:lnTo>
                    <a:pt x="150" y="283"/>
                  </a:lnTo>
                  <a:lnTo>
                    <a:pt x="150" y="284"/>
                  </a:lnTo>
                  <a:lnTo>
                    <a:pt x="151" y="285"/>
                  </a:lnTo>
                  <a:lnTo>
                    <a:pt x="151" y="285"/>
                  </a:lnTo>
                  <a:lnTo>
                    <a:pt x="151" y="286"/>
                  </a:lnTo>
                  <a:lnTo>
                    <a:pt x="151" y="286"/>
                  </a:lnTo>
                  <a:lnTo>
                    <a:pt x="152" y="286"/>
                  </a:lnTo>
                  <a:lnTo>
                    <a:pt x="152" y="287"/>
                  </a:lnTo>
                  <a:lnTo>
                    <a:pt x="153" y="287"/>
                  </a:lnTo>
                  <a:lnTo>
                    <a:pt x="153" y="287"/>
                  </a:lnTo>
                  <a:lnTo>
                    <a:pt x="154" y="287"/>
                  </a:lnTo>
                  <a:lnTo>
                    <a:pt x="158" y="287"/>
                  </a:lnTo>
                  <a:lnTo>
                    <a:pt x="161" y="287"/>
                  </a:lnTo>
                  <a:lnTo>
                    <a:pt x="162" y="287"/>
                  </a:lnTo>
                  <a:lnTo>
                    <a:pt x="163" y="286"/>
                  </a:lnTo>
                  <a:lnTo>
                    <a:pt x="163" y="286"/>
                  </a:lnTo>
                  <a:lnTo>
                    <a:pt x="164" y="286"/>
                  </a:lnTo>
                  <a:lnTo>
                    <a:pt x="164" y="285"/>
                  </a:lnTo>
                  <a:lnTo>
                    <a:pt x="165" y="284"/>
                  </a:lnTo>
                  <a:lnTo>
                    <a:pt x="166" y="283"/>
                  </a:lnTo>
                  <a:lnTo>
                    <a:pt x="167" y="282"/>
                  </a:lnTo>
                  <a:lnTo>
                    <a:pt x="168" y="281"/>
                  </a:lnTo>
                  <a:lnTo>
                    <a:pt x="169" y="280"/>
                  </a:lnTo>
                  <a:lnTo>
                    <a:pt x="172" y="278"/>
                  </a:lnTo>
                  <a:lnTo>
                    <a:pt x="175" y="275"/>
                  </a:lnTo>
                  <a:lnTo>
                    <a:pt x="176" y="274"/>
                  </a:lnTo>
                  <a:lnTo>
                    <a:pt x="178" y="273"/>
                  </a:lnTo>
                  <a:lnTo>
                    <a:pt x="179" y="272"/>
                  </a:lnTo>
                  <a:lnTo>
                    <a:pt x="180" y="272"/>
                  </a:lnTo>
                  <a:lnTo>
                    <a:pt x="181" y="272"/>
                  </a:lnTo>
                  <a:lnTo>
                    <a:pt x="182" y="271"/>
                  </a:lnTo>
                  <a:lnTo>
                    <a:pt x="184" y="270"/>
                  </a:lnTo>
                  <a:lnTo>
                    <a:pt x="185" y="270"/>
                  </a:lnTo>
                  <a:lnTo>
                    <a:pt x="185" y="270"/>
                  </a:lnTo>
                  <a:lnTo>
                    <a:pt x="187" y="269"/>
                  </a:lnTo>
                  <a:lnTo>
                    <a:pt x="189" y="269"/>
                  </a:lnTo>
                  <a:lnTo>
                    <a:pt x="190" y="269"/>
                  </a:lnTo>
                  <a:lnTo>
                    <a:pt x="191" y="269"/>
                  </a:lnTo>
                  <a:lnTo>
                    <a:pt x="192" y="269"/>
                  </a:lnTo>
                  <a:lnTo>
                    <a:pt x="192" y="269"/>
                  </a:lnTo>
                  <a:lnTo>
                    <a:pt x="193" y="270"/>
                  </a:lnTo>
                  <a:lnTo>
                    <a:pt x="194" y="270"/>
                  </a:lnTo>
                  <a:lnTo>
                    <a:pt x="194" y="271"/>
                  </a:lnTo>
                  <a:lnTo>
                    <a:pt x="195" y="271"/>
                  </a:lnTo>
                  <a:lnTo>
                    <a:pt x="196" y="272"/>
                  </a:lnTo>
                  <a:lnTo>
                    <a:pt x="196" y="272"/>
                  </a:lnTo>
                  <a:lnTo>
                    <a:pt x="197" y="273"/>
                  </a:lnTo>
                  <a:lnTo>
                    <a:pt x="197" y="274"/>
                  </a:lnTo>
                  <a:lnTo>
                    <a:pt x="197" y="275"/>
                  </a:lnTo>
                  <a:lnTo>
                    <a:pt x="197" y="275"/>
                  </a:lnTo>
                  <a:lnTo>
                    <a:pt x="197" y="276"/>
                  </a:lnTo>
                  <a:lnTo>
                    <a:pt x="197" y="278"/>
                  </a:lnTo>
                  <a:lnTo>
                    <a:pt x="196" y="280"/>
                  </a:lnTo>
                  <a:lnTo>
                    <a:pt x="195" y="284"/>
                  </a:lnTo>
                  <a:lnTo>
                    <a:pt x="195" y="287"/>
                  </a:lnTo>
                  <a:lnTo>
                    <a:pt x="195" y="287"/>
                  </a:lnTo>
                  <a:lnTo>
                    <a:pt x="195" y="288"/>
                  </a:lnTo>
                  <a:lnTo>
                    <a:pt x="195" y="289"/>
                  </a:lnTo>
                  <a:lnTo>
                    <a:pt x="195" y="290"/>
                  </a:lnTo>
                  <a:lnTo>
                    <a:pt x="196" y="291"/>
                  </a:lnTo>
                  <a:lnTo>
                    <a:pt x="196" y="293"/>
                  </a:lnTo>
                  <a:lnTo>
                    <a:pt x="197" y="294"/>
                  </a:lnTo>
                  <a:lnTo>
                    <a:pt x="198" y="295"/>
                  </a:lnTo>
                  <a:lnTo>
                    <a:pt x="199" y="296"/>
                  </a:lnTo>
                  <a:lnTo>
                    <a:pt x="199" y="296"/>
                  </a:lnTo>
                  <a:lnTo>
                    <a:pt x="200" y="296"/>
                  </a:lnTo>
                  <a:lnTo>
                    <a:pt x="200" y="296"/>
                  </a:lnTo>
                  <a:lnTo>
                    <a:pt x="201" y="296"/>
                  </a:lnTo>
                  <a:lnTo>
                    <a:pt x="201" y="296"/>
                  </a:lnTo>
                  <a:lnTo>
                    <a:pt x="202" y="296"/>
                  </a:lnTo>
                  <a:lnTo>
                    <a:pt x="202" y="296"/>
                  </a:lnTo>
                  <a:lnTo>
                    <a:pt x="202" y="296"/>
                  </a:lnTo>
                  <a:lnTo>
                    <a:pt x="203" y="295"/>
                  </a:lnTo>
                  <a:lnTo>
                    <a:pt x="204" y="293"/>
                  </a:lnTo>
                  <a:lnTo>
                    <a:pt x="205" y="292"/>
                  </a:lnTo>
                  <a:lnTo>
                    <a:pt x="205" y="292"/>
                  </a:lnTo>
                  <a:lnTo>
                    <a:pt x="207" y="290"/>
                  </a:lnTo>
                  <a:lnTo>
                    <a:pt x="208" y="289"/>
                  </a:lnTo>
                  <a:lnTo>
                    <a:pt x="208" y="288"/>
                  </a:lnTo>
                  <a:lnTo>
                    <a:pt x="208" y="288"/>
                  </a:lnTo>
                  <a:lnTo>
                    <a:pt x="209" y="287"/>
                  </a:lnTo>
                  <a:lnTo>
                    <a:pt x="209" y="286"/>
                  </a:lnTo>
                  <a:lnTo>
                    <a:pt x="210" y="285"/>
                  </a:lnTo>
                  <a:lnTo>
                    <a:pt x="210" y="285"/>
                  </a:lnTo>
                  <a:lnTo>
                    <a:pt x="211" y="284"/>
                  </a:lnTo>
                  <a:lnTo>
                    <a:pt x="211" y="284"/>
                  </a:lnTo>
                  <a:lnTo>
                    <a:pt x="213" y="283"/>
                  </a:lnTo>
                  <a:lnTo>
                    <a:pt x="213" y="283"/>
                  </a:lnTo>
                  <a:lnTo>
                    <a:pt x="214" y="282"/>
                  </a:lnTo>
                  <a:lnTo>
                    <a:pt x="215" y="282"/>
                  </a:lnTo>
                  <a:lnTo>
                    <a:pt x="215" y="282"/>
                  </a:lnTo>
                  <a:lnTo>
                    <a:pt x="215" y="282"/>
                  </a:lnTo>
                  <a:lnTo>
                    <a:pt x="216" y="282"/>
                  </a:lnTo>
                  <a:lnTo>
                    <a:pt x="216" y="282"/>
                  </a:lnTo>
                  <a:lnTo>
                    <a:pt x="217" y="282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9" y="282"/>
                  </a:lnTo>
                  <a:lnTo>
                    <a:pt x="220" y="282"/>
                  </a:lnTo>
                  <a:lnTo>
                    <a:pt x="220" y="281"/>
                  </a:lnTo>
                  <a:lnTo>
                    <a:pt x="221" y="280"/>
                  </a:lnTo>
                  <a:lnTo>
                    <a:pt x="222" y="279"/>
                  </a:lnTo>
                  <a:lnTo>
                    <a:pt x="222" y="279"/>
                  </a:lnTo>
                  <a:lnTo>
                    <a:pt x="222" y="278"/>
                  </a:lnTo>
                  <a:lnTo>
                    <a:pt x="223" y="278"/>
                  </a:lnTo>
                  <a:lnTo>
                    <a:pt x="223" y="277"/>
                  </a:lnTo>
                  <a:lnTo>
                    <a:pt x="223" y="276"/>
                  </a:lnTo>
                  <a:lnTo>
                    <a:pt x="223" y="275"/>
                  </a:lnTo>
                  <a:lnTo>
                    <a:pt x="222" y="274"/>
                  </a:lnTo>
                  <a:lnTo>
                    <a:pt x="221" y="267"/>
                  </a:lnTo>
                  <a:lnTo>
                    <a:pt x="220" y="266"/>
                  </a:lnTo>
                  <a:lnTo>
                    <a:pt x="220" y="265"/>
                  </a:lnTo>
                  <a:lnTo>
                    <a:pt x="220" y="265"/>
                  </a:lnTo>
                  <a:lnTo>
                    <a:pt x="221" y="264"/>
                  </a:lnTo>
                  <a:lnTo>
                    <a:pt x="221" y="263"/>
                  </a:lnTo>
                  <a:lnTo>
                    <a:pt x="222" y="263"/>
                  </a:lnTo>
                  <a:lnTo>
                    <a:pt x="222" y="263"/>
                  </a:lnTo>
                  <a:lnTo>
                    <a:pt x="223" y="263"/>
                  </a:lnTo>
                  <a:lnTo>
                    <a:pt x="224" y="263"/>
                  </a:lnTo>
                  <a:lnTo>
                    <a:pt x="225" y="263"/>
                  </a:lnTo>
                  <a:lnTo>
                    <a:pt x="225" y="263"/>
                  </a:lnTo>
                  <a:lnTo>
                    <a:pt x="226" y="264"/>
                  </a:lnTo>
                  <a:lnTo>
                    <a:pt x="226" y="264"/>
                  </a:lnTo>
                  <a:lnTo>
                    <a:pt x="226" y="264"/>
                  </a:lnTo>
                  <a:lnTo>
                    <a:pt x="227" y="265"/>
                  </a:lnTo>
                  <a:lnTo>
                    <a:pt x="228" y="268"/>
                  </a:lnTo>
                  <a:lnTo>
                    <a:pt x="229" y="270"/>
                  </a:lnTo>
                  <a:lnTo>
                    <a:pt x="230" y="272"/>
                  </a:lnTo>
                  <a:lnTo>
                    <a:pt x="230" y="273"/>
                  </a:lnTo>
                  <a:lnTo>
                    <a:pt x="231" y="274"/>
                  </a:lnTo>
                  <a:lnTo>
                    <a:pt x="231" y="276"/>
                  </a:lnTo>
                  <a:lnTo>
                    <a:pt x="231" y="278"/>
                  </a:lnTo>
                  <a:lnTo>
                    <a:pt x="231" y="278"/>
                  </a:lnTo>
                  <a:lnTo>
                    <a:pt x="231" y="280"/>
                  </a:lnTo>
                  <a:lnTo>
                    <a:pt x="231" y="281"/>
                  </a:lnTo>
                  <a:lnTo>
                    <a:pt x="232" y="283"/>
                  </a:lnTo>
                  <a:lnTo>
                    <a:pt x="232" y="284"/>
                  </a:lnTo>
                  <a:lnTo>
                    <a:pt x="234" y="286"/>
                  </a:lnTo>
                  <a:lnTo>
                    <a:pt x="234" y="287"/>
                  </a:lnTo>
                  <a:lnTo>
                    <a:pt x="235" y="288"/>
                  </a:lnTo>
                  <a:lnTo>
                    <a:pt x="235" y="288"/>
                  </a:lnTo>
                  <a:lnTo>
                    <a:pt x="235" y="289"/>
                  </a:lnTo>
                  <a:lnTo>
                    <a:pt x="236" y="290"/>
                  </a:lnTo>
                  <a:lnTo>
                    <a:pt x="236" y="290"/>
                  </a:lnTo>
                  <a:lnTo>
                    <a:pt x="236" y="292"/>
                  </a:lnTo>
                  <a:lnTo>
                    <a:pt x="236" y="293"/>
                  </a:lnTo>
                  <a:lnTo>
                    <a:pt x="236" y="294"/>
                  </a:lnTo>
                  <a:lnTo>
                    <a:pt x="237" y="295"/>
                  </a:lnTo>
                  <a:lnTo>
                    <a:pt x="237" y="296"/>
                  </a:lnTo>
                  <a:lnTo>
                    <a:pt x="237" y="296"/>
                  </a:lnTo>
                  <a:lnTo>
                    <a:pt x="240" y="299"/>
                  </a:lnTo>
                  <a:lnTo>
                    <a:pt x="241" y="300"/>
                  </a:lnTo>
                  <a:lnTo>
                    <a:pt x="242" y="301"/>
                  </a:lnTo>
                  <a:lnTo>
                    <a:pt x="243" y="303"/>
                  </a:lnTo>
                  <a:lnTo>
                    <a:pt x="243" y="304"/>
                  </a:lnTo>
                  <a:lnTo>
                    <a:pt x="244" y="305"/>
                  </a:lnTo>
                  <a:lnTo>
                    <a:pt x="245" y="306"/>
                  </a:lnTo>
                  <a:lnTo>
                    <a:pt x="245" y="306"/>
                  </a:lnTo>
                  <a:lnTo>
                    <a:pt x="246" y="307"/>
                  </a:lnTo>
                  <a:lnTo>
                    <a:pt x="247" y="307"/>
                  </a:lnTo>
                  <a:lnTo>
                    <a:pt x="249" y="308"/>
                  </a:lnTo>
                  <a:lnTo>
                    <a:pt x="250" y="309"/>
                  </a:lnTo>
                  <a:lnTo>
                    <a:pt x="251" y="309"/>
                  </a:lnTo>
                  <a:lnTo>
                    <a:pt x="252" y="310"/>
                  </a:lnTo>
                  <a:lnTo>
                    <a:pt x="253" y="311"/>
                  </a:lnTo>
                  <a:lnTo>
                    <a:pt x="254" y="312"/>
                  </a:lnTo>
                  <a:lnTo>
                    <a:pt x="255" y="313"/>
                  </a:lnTo>
                  <a:lnTo>
                    <a:pt x="256" y="313"/>
                  </a:lnTo>
                  <a:lnTo>
                    <a:pt x="260" y="315"/>
                  </a:lnTo>
                  <a:lnTo>
                    <a:pt x="262" y="316"/>
                  </a:lnTo>
                  <a:lnTo>
                    <a:pt x="263" y="316"/>
                  </a:lnTo>
                  <a:lnTo>
                    <a:pt x="264" y="316"/>
                  </a:lnTo>
                  <a:lnTo>
                    <a:pt x="267" y="317"/>
                  </a:lnTo>
                  <a:lnTo>
                    <a:pt x="268" y="317"/>
                  </a:lnTo>
                  <a:lnTo>
                    <a:pt x="269" y="317"/>
                  </a:lnTo>
                  <a:lnTo>
                    <a:pt x="269" y="317"/>
                  </a:lnTo>
                  <a:lnTo>
                    <a:pt x="270" y="317"/>
                  </a:lnTo>
                  <a:lnTo>
                    <a:pt x="271" y="317"/>
                  </a:lnTo>
                  <a:lnTo>
                    <a:pt x="273" y="316"/>
                  </a:lnTo>
                  <a:lnTo>
                    <a:pt x="275" y="315"/>
                  </a:lnTo>
                  <a:lnTo>
                    <a:pt x="277" y="314"/>
                  </a:lnTo>
                  <a:lnTo>
                    <a:pt x="278" y="314"/>
                  </a:lnTo>
                  <a:lnTo>
                    <a:pt x="283" y="312"/>
                  </a:lnTo>
                  <a:lnTo>
                    <a:pt x="284" y="312"/>
                  </a:lnTo>
                  <a:lnTo>
                    <a:pt x="287" y="311"/>
                  </a:lnTo>
                  <a:lnTo>
                    <a:pt x="287" y="311"/>
                  </a:lnTo>
                  <a:lnTo>
                    <a:pt x="288" y="311"/>
                  </a:lnTo>
                  <a:lnTo>
                    <a:pt x="289" y="311"/>
                  </a:lnTo>
                  <a:lnTo>
                    <a:pt x="289" y="311"/>
                  </a:lnTo>
                  <a:lnTo>
                    <a:pt x="290" y="311"/>
                  </a:lnTo>
                  <a:lnTo>
                    <a:pt x="290" y="311"/>
                  </a:lnTo>
                  <a:lnTo>
                    <a:pt x="291" y="312"/>
                  </a:lnTo>
                  <a:lnTo>
                    <a:pt x="291" y="312"/>
                  </a:lnTo>
                  <a:lnTo>
                    <a:pt x="292" y="313"/>
                  </a:lnTo>
                  <a:lnTo>
                    <a:pt x="292" y="314"/>
                  </a:lnTo>
                  <a:lnTo>
                    <a:pt x="293" y="315"/>
                  </a:lnTo>
                  <a:lnTo>
                    <a:pt x="293" y="316"/>
                  </a:lnTo>
                  <a:lnTo>
                    <a:pt x="294" y="317"/>
                  </a:lnTo>
                  <a:lnTo>
                    <a:pt x="294" y="318"/>
                  </a:lnTo>
                  <a:lnTo>
                    <a:pt x="295" y="320"/>
                  </a:lnTo>
                  <a:lnTo>
                    <a:pt x="295" y="321"/>
                  </a:lnTo>
                  <a:lnTo>
                    <a:pt x="295" y="323"/>
                  </a:lnTo>
                  <a:lnTo>
                    <a:pt x="295" y="324"/>
                  </a:lnTo>
                  <a:lnTo>
                    <a:pt x="295" y="325"/>
                  </a:lnTo>
                  <a:lnTo>
                    <a:pt x="295" y="326"/>
                  </a:lnTo>
                  <a:lnTo>
                    <a:pt x="295" y="327"/>
                  </a:lnTo>
                  <a:lnTo>
                    <a:pt x="295" y="328"/>
                  </a:lnTo>
                  <a:lnTo>
                    <a:pt x="294" y="332"/>
                  </a:lnTo>
                  <a:lnTo>
                    <a:pt x="293" y="334"/>
                  </a:lnTo>
                  <a:lnTo>
                    <a:pt x="293" y="335"/>
                  </a:lnTo>
                  <a:lnTo>
                    <a:pt x="293" y="336"/>
                  </a:lnTo>
                  <a:lnTo>
                    <a:pt x="293" y="337"/>
                  </a:lnTo>
                  <a:lnTo>
                    <a:pt x="293" y="338"/>
                  </a:lnTo>
                  <a:lnTo>
                    <a:pt x="293" y="340"/>
                  </a:lnTo>
                  <a:lnTo>
                    <a:pt x="293" y="341"/>
                  </a:lnTo>
                  <a:lnTo>
                    <a:pt x="294" y="343"/>
                  </a:lnTo>
                  <a:lnTo>
                    <a:pt x="294" y="345"/>
                  </a:lnTo>
                  <a:lnTo>
                    <a:pt x="294" y="346"/>
                  </a:lnTo>
                  <a:lnTo>
                    <a:pt x="295" y="347"/>
                  </a:lnTo>
                  <a:lnTo>
                    <a:pt x="295" y="348"/>
                  </a:lnTo>
                  <a:lnTo>
                    <a:pt x="296" y="349"/>
                  </a:lnTo>
                  <a:lnTo>
                    <a:pt x="296" y="349"/>
                  </a:lnTo>
                  <a:lnTo>
                    <a:pt x="297" y="350"/>
                  </a:lnTo>
                  <a:lnTo>
                    <a:pt x="298" y="351"/>
                  </a:lnTo>
                  <a:lnTo>
                    <a:pt x="299" y="351"/>
                  </a:lnTo>
                  <a:lnTo>
                    <a:pt x="300" y="352"/>
                  </a:lnTo>
                  <a:lnTo>
                    <a:pt x="301" y="353"/>
                  </a:lnTo>
                  <a:lnTo>
                    <a:pt x="302" y="353"/>
                  </a:lnTo>
                  <a:lnTo>
                    <a:pt x="303" y="354"/>
                  </a:lnTo>
                  <a:lnTo>
                    <a:pt x="304" y="354"/>
                  </a:lnTo>
                  <a:lnTo>
                    <a:pt x="304" y="354"/>
                  </a:lnTo>
                  <a:lnTo>
                    <a:pt x="305" y="354"/>
                  </a:lnTo>
                  <a:lnTo>
                    <a:pt x="306" y="353"/>
                  </a:lnTo>
                  <a:lnTo>
                    <a:pt x="306" y="353"/>
                  </a:lnTo>
                  <a:lnTo>
                    <a:pt x="307" y="353"/>
                  </a:lnTo>
                  <a:lnTo>
                    <a:pt x="308" y="352"/>
                  </a:lnTo>
                  <a:lnTo>
                    <a:pt x="309" y="352"/>
                  </a:lnTo>
                  <a:lnTo>
                    <a:pt x="309" y="351"/>
                  </a:lnTo>
                  <a:lnTo>
                    <a:pt x="310" y="351"/>
                  </a:lnTo>
                  <a:lnTo>
                    <a:pt x="310" y="351"/>
                  </a:lnTo>
                  <a:lnTo>
                    <a:pt x="310" y="351"/>
                  </a:lnTo>
                  <a:lnTo>
                    <a:pt x="311" y="351"/>
                  </a:lnTo>
                  <a:lnTo>
                    <a:pt x="311" y="352"/>
                  </a:lnTo>
                  <a:lnTo>
                    <a:pt x="312" y="352"/>
                  </a:lnTo>
                  <a:lnTo>
                    <a:pt x="313" y="353"/>
                  </a:lnTo>
                  <a:lnTo>
                    <a:pt x="313" y="354"/>
                  </a:lnTo>
                  <a:lnTo>
                    <a:pt x="314" y="355"/>
                  </a:lnTo>
                  <a:lnTo>
                    <a:pt x="316" y="356"/>
                  </a:lnTo>
                  <a:lnTo>
                    <a:pt x="317" y="358"/>
                  </a:lnTo>
                  <a:lnTo>
                    <a:pt x="317" y="359"/>
                  </a:lnTo>
                  <a:lnTo>
                    <a:pt x="318" y="360"/>
                  </a:lnTo>
                  <a:lnTo>
                    <a:pt x="319" y="362"/>
                  </a:lnTo>
                  <a:lnTo>
                    <a:pt x="320" y="363"/>
                  </a:lnTo>
                  <a:lnTo>
                    <a:pt x="321" y="365"/>
                  </a:lnTo>
                  <a:lnTo>
                    <a:pt x="322" y="366"/>
                  </a:lnTo>
                  <a:lnTo>
                    <a:pt x="322" y="367"/>
                  </a:lnTo>
                  <a:lnTo>
                    <a:pt x="323" y="367"/>
                  </a:lnTo>
                  <a:lnTo>
                    <a:pt x="324" y="368"/>
                  </a:lnTo>
                  <a:lnTo>
                    <a:pt x="331" y="374"/>
                  </a:lnTo>
                  <a:lnTo>
                    <a:pt x="333" y="374"/>
                  </a:lnTo>
                  <a:lnTo>
                    <a:pt x="334" y="376"/>
                  </a:lnTo>
                  <a:lnTo>
                    <a:pt x="337" y="379"/>
                  </a:lnTo>
                  <a:lnTo>
                    <a:pt x="339" y="381"/>
                  </a:lnTo>
                  <a:lnTo>
                    <a:pt x="340" y="382"/>
                  </a:lnTo>
                  <a:lnTo>
                    <a:pt x="342" y="384"/>
                  </a:lnTo>
                  <a:lnTo>
                    <a:pt x="343" y="386"/>
                  </a:lnTo>
                  <a:lnTo>
                    <a:pt x="345" y="389"/>
                  </a:lnTo>
                  <a:lnTo>
                    <a:pt x="346" y="392"/>
                  </a:lnTo>
                  <a:lnTo>
                    <a:pt x="347" y="393"/>
                  </a:lnTo>
                  <a:lnTo>
                    <a:pt x="347" y="393"/>
                  </a:lnTo>
                  <a:lnTo>
                    <a:pt x="347" y="394"/>
                  </a:lnTo>
                  <a:lnTo>
                    <a:pt x="347" y="395"/>
                  </a:lnTo>
                  <a:lnTo>
                    <a:pt x="347" y="395"/>
                  </a:lnTo>
                  <a:lnTo>
                    <a:pt x="347" y="396"/>
                  </a:lnTo>
                  <a:lnTo>
                    <a:pt x="347" y="397"/>
                  </a:lnTo>
                  <a:lnTo>
                    <a:pt x="346" y="398"/>
                  </a:lnTo>
                  <a:lnTo>
                    <a:pt x="346" y="399"/>
                  </a:lnTo>
                  <a:lnTo>
                    <a:pt x="345" y="400"/>
                  </a:lnTo>
                  <a:lnTo>
                    <a:pt x="345" y="401"/>
                  </a:lnTo>
                  <a:lnTo>
                    <a:pt x="345" y="401"/>
                  </a:lnTo>
                  <a:lnTo>
                    <a:pt x="345" y="402"/>
                  </a:lnTo>
                  <a:lnTo>
                    <a:pt x="346" y="403"/>
                  </a:lnTo>
                  <a:lnTo>
                    <a:pt x="346" y="404"/>
                  </a:lnTo>
                  <a:lnTo>
                    <a:pt x="347" y="404"/>
                  </a:lnTo>
                  <a:lnTo>
                    <a:pt x="347" y="405"/>
                  </a:lnTo>
                  <a:lnTo>
                    <a:pt x="347" y="405"/>
                  </a:lnTo>
                  <a:lnTo>
                    <a:pt x="348" y="405"/>
                  </a:lnTo>
                  <a:lnTo>
                    <a:pt x="349" y="405"/>
                  </a:lnTo>
                  <a:lnTo>
                    <a:pt x="349" y="405"/>
                  </a:lnTo>
                  <a:lnTo>
                    <a:pt x="349" y="405"/>
                  </a:lnTo>
                  <a:lnTo>
                    <a:pt x="350" y="405"/>
                  </a:lnTo>
                  <a:lnTo>
                    <a:pt x="352" y="403"/>
                  </a:lnTo>
                  <a:lnTo>
                    <a:pt x="353" y="402"/>
                  </a:lnTo>
                  <a:lnTo>
                    <a:pt x="354" y="401"/>
                  </a:lnTo>
                  <a:lnTo>
                    <a:pt x="355" y="401"/>
                  </a:lnTo>
                  <a:lnTo>
                    <a:pt x="356" y="401"/>
                  </a:lnTo>
                  <a:lnTo>
                    <a:pt x="357" y="400"/>
                  </a:lnTo>
                  <a:lnTo>
                    <a:pt x="357" y="400"/>
                  </a:lnTo>
                  <a:lnTo>
                    <a:pt x="358" y="400"/>
                  </a:lnTo>
                  <a:lnTo>
                    <a:pt x="358" y="401"/>
                  </a:lnTo>
                  <a:lnTo>
                    <a:pt x="359" y="401"/>
                  </a:lnTo>
                  <a:lnTo>
                    <a:pt x="359" y="401"/>
                  </a:lnTo>
                  <a:lnTo>
                    <a:pt x="359" y="401"/>
                  </a:lnTo>
                  <a:lnTo>
                    <a:pt x="360" y="402"/>
                  </a:lnTo>
                  <a:lnTo>
                    <a:pt x="361" y="403"/>
                  </a:lnTo>
                  <a:lnTo>
                    <a:pt x="362" y="404"/>
                  </a:lnTo>
                  <a:lnTo>
                    <a:pt x="362" y="405"/>
                  </a:lnTo>
                  <a:lnTo>
                    <a:pt x="364" y="408"/>
                  </a:lnTo>
                  <a:lnTo>
                    <a:pt x="365" y="411"/>
                  </a:lnTo>
                  <a:lnTo>
                    <a:pt x="365" y="411"/>
                  </a:lnTo>
                  <a:lnTo>
                    <a:pt x="365" y="412"/>
                  </a:lnTo>
                  <a:lnTo>
                    <a:pt x="365" y="412"/>
                  </a:lnTo>
                  <a:lnTo>
                    <a:pt x="365" y="413"/>
                  </a:lnTo>
                  <a:lnTo>
                    <a:pt x="365" y="413"/>
                  </a:lnTo>
                  <a:lnTo>
                    <a:pt x="364" y="414"/>
                  </a:lnTo>
                  <a:lnTo>
                    <a:pt x="364" y="415"/>
                  </a:lnTo>
                  <a:lnTo>
                    <a:pt x="363" y="416"/>
                  </a:lnTo>
                  <a:lnTo>
                    <a:pt x="362" y="418"/>
                  </a:lnTo>
                  <a:lnTo>
                    <a:pt x="361" y="419"/>
                  </a:lnTo>
                  <a:lnTo>
                    <a:pt x="361" y="420"/>
                  </a:lnTo>
                  <a:lnTo>
                    <a:pt x="360" y="421"/>
                  </a:lnTo>
                  <a:lnTo>
                    <a:pt x="360" y="421"/>
                  </a:lnTo>
                  <a:lnTo>
                    <a:pt x="359" y="422"/>
                  </a:lnTo>
                  <a:lnTo>
                    <a:pt x="358" y="422"/>
                  </a:lnTo>
                  <a:lnTo>
                    <a:pt x="358" y="422"/>
                  </a:lnTo>
                  <a:lnTo>
                    <a:pt x="357" y="423"/>
                  </a:lnTo>
                  <a:lnTo>
                    <a:pt x="357" y="423"/>
                  </a:lnTo>
                  <a:lnTo>
                    <a:pt x="356" y="423"/>
                  </a:lnTo>
                  <a:lnTo>
                    <a:pt x="355" y="423"/>
                  </a:lnTo>
                  <a:lnTo>
                    <a:pt x="355" y="423"/>
                  </a:lnTo>
                  <a:lnTo>
                    <a:pt x="354" y="423"/>
                  </a:lnTo>
                  <a:lnTo>
                    <a:pt x="353" y="423"/>
                  </a:lnTo>
                  <a:lnTo>
                    <a:pt x="351" y="422"/>
                  </a:lnTo>
                  <a:lnTo>
                    <a:pt x="348" y="422"/>
                  </a:lnTo>
                  <a:lnTo>
                    <a:pt x="347" y="421"/>
                  </a:lnTo>
                  <a:lnTo>
                    <a:pt x="346" y="421"/>
                  </a:lnTo>
                  <a:lnTo>
                    <a:pt x="345" y="421"/>
                  </a:lnTo>
                  <a:lnTo>
                    <a:pt x="344" y="421"/>
                  </a:lnTo>
                  <a:lnTo>
                    <a:pt x="344" y="421"/>
                  </a:lnTo>
                  <a:lnTo>
                    <a:pt x="344" y="422"/>
                  </a:lnTo>
                  <a:lnTo>
                    <a:pt x="343" y="423"/>
                  </a:lnTo>
                  <a:lnTo>
                    <a:pt x="342" y="424"/>
                  </a:lnTo>
                  <a:lnTo>
                    <a:pt x="341" y="426"/>
                  </a:lnTo>
                  <a:lnTo>
                    <a:pt x="341" y="426"/>
                  </a:lnTo>
                  <a:lnTo>
                    <a:pt x="340" y="427"/>
                  </a:lnTo>
                  <a:lnTo>
                    <a:pt x="340" y="428"/>
                  </a:lnTo>
                  <a:lnTo>
                    <a:pt x="339" y="428"/>
                  </a:lnTo>
                  <a:lnTo>
                    <a:pt x="338" y="429"/>
                  </a:lnTo>
                  <a:lnTo>
                    <a:pt x="336" y="430"/>
                  </a:lnTo>
                  <a:lnTo>
                    <a:pt x="335" y="431"/>
                  </a:lnTo>
                  <a:lnTo>
                    <a:pt x="334" y="432"/>
                  </a:lnTo>
                  <a:lnTo>
                    <a:pt x="333" y="434"/>
                  </a:lnTo>
                  <a:lnTo>
                    <a:pt x="331" y="436"/>
                  </a:lnTo>
                  <a:lnTo>
                    <a:pt x="330" y="436"/>
                  </a:lnTo>
                  <a:lnTo>
                    <a:pt x="330" y="437"/>
                  </a:lnTo>
                  <a:lnTo>
                    <a:pt x="330" y="438"/>
                  </a:lnTo>
                  <a:lnTo>
                    <a:pt x="330" y="438"/>
                  </a:lnTo>
                  <a:lnTo>
                    <a:pt x="329" y="439"/>
                  </a:lnTo>
                  <a:lnTo>
                    <a:pt x="329" y="442"/>
                  </a:lnTo>
                  <a:lnTo>
                    <a:pt x="329" y="443"/>
                  </a:lnTo>
                  <a:lnTo>
                    <a:pt x="329" y="444"/>
                  </a:lnTo>
                  <a:lnTo>
                    <a:pt x="329" y="446"/>
                  </a:lnTo>
                  <a:lnTo>
                    <a:pt x="328" y="447"/>
                  </a:lnTo>
                  <a:lnTo>
                    <a:pt x="327" y="450"/>
                  </a:lnTo>
                  <a:lnTo>
                    <a:pt x="326" y="453"/>
                  </a:lnTo>
                  <a:lnTo>
                    <a:pt x="325" y="456"/>
                  </a:lnTo>
                  <a:lnTo>
                    <a:pt x="324" y="456"/>
                  </a:lnTo>
                  <a:lnTo>
                    <a:pt x="324" y="457"/>
                  </a:lnTo>
                  <a:lnTo>
                    <a:pt x="323" y="457"/>
                  </a:lnTo>
                  <a:lnTo>
                    <a:pt x="323" y="458"/>
                  </a:lnTo>
                  <a:lnTo>
                    <a:pt x="322" y="458"/>
                  </a:lnTo>
                  <a:lnTo>
                    <a:pt x="322" y="458"/>
                  </a:lnTo>
                  <a:lnTo>
                    <a:pt x="321" y="459"/>
                  </a:lnTo>
                  <a:lnTo>
                    <a:pt x="318" y="460"/>
                  </a:lnTo>
                  <a:lnTo>
                    <a:pt x="316" y="460"/>
                  </a:lnTo>
                  <a:lnTo>
                    <a:pt x="315" y="460"/>
                  </a:lnTo>
                  <a:lnTo>
                    <a:pt x="314" y="460"/>
                  </a:lnTo>
                  <a:lnTo>
                    <a:pt x="312" y="460"/>
                  </a:lnTo>
                  <a:lnTo>
                    <a:pt x="311" y="460"/>
                  </a:lnTo>
                  <a:lnTo>
                    <a:pt x="310" y="459"/>
                  </a:lnTo>
                  <a:lnTo>
                    <a:pt x="309" y="459"/>
                  </a:lnTo>
                  <a:lnTo>
                    <a:pt x="308" y="458"/>
                  </a:lnTo>
                  <a:lnTo>
                    <a:pt x="307" y="458"/>
                  </a:lnTo>
                  <a:lnTo>
                    <a:pt x="306" y="457"/>
                  </a:lnTo>
                  <a:lnTo>
                    <a:pt x="306" y="457"/>
                  </a:lnTo>
                  <a:lnTo>
                    <a:pt x="304" y="455"/>
                  </a:lnTo>
                  <a:lnTo>
                    <a:pt x="303" y="454"/>
                  </a:lnTo>
                  <a:lnTo>
                    <a:pt x="302" y="453"/>
                  </a:lnTo>
                  <a:lnTo>
                    <a:pt x="301" y="452"/>
                  </a:lnTo>
                  <a:lnTo>
                    <a:pt x="300" y="452"/>
                  </a:lnTo>
                  <a:lnTo>
                    <a:pt x="299" y="451"/>
                  </a:lnTo>
                  <a:lnTo>
                    <a:pt x="298" y="451"/>
                  </a:lnTo>
                  <a:lnTo>
                    <a:pt x="297" y="451"/>
                  </a:lnTo>
                  <a:lnTo>
                    <a:pt x="296" y="451"/>
                  </a:lnTo>
                  <a:lnTo>
                    <a:pt x="296" y="451"/>
                  </a:lnTo>
                  <a:lnTo>
                    <a:pt x="295" y="452"/>
                  </a:lnTo>
                  <a:lnTo>
                    <a:pt x="294" y="452"/>
                  </a:lnTo>
                  <a:lnTo>
                    <a:pt x="294" y="452"/>
                  </a:lnTo>
                  <a:lnTo>
                    <a:pt x="293" y="453"/>
                  </a:lnTo>
                  <a:lnTo>
                    <a:pt x="292" y="456"/>
                  </a:lnTo>
                  <a:lnTo>
                    <a:pt x="291" y="456"/>
                  </a:lnTo>
                  <a:lnTo>
                    <a:pt x="291" y="456"/>
                  </a:lnTo>
                  <a:lnTo>
                    <a:pt x="291" y="457"/>
                  </a:lnTo>
                  <a:lnTo>
                    <a:pt x="290" y="457"/>
                  </a:lnTo>
                  <a:lnTo>
                    <a:pt x="290" y="457"/>
                  </a:lnTo>
                  <a:lnTo>
                    <a:pt x="290" y="457"/>
                  </a:lnTo>
                  <a:lnTo>
                    <a:pt x="289" y="457"/>
                  </a:lnTo>
                  <a:lnTo>
                    <a:pt x="288" y="457"/>
                  </a:lnTo>
                  <a:lnTo>
                    <a:pt x="287" y="457"/>
                  </a:lnTo>
                  <a:lnTo>
                    <a:pt x="286" y="457"/>
                  </a:lnTo>
                  <a:lnTo>
                    <a:pt x="285" y="456"/>
                  </a:lnTo>
                  <a:lnTo>
                    <a:pt x="285" y="456"/>
                  </a:lnTo>
                  <a:lnTo>
                    <a:pt x="284" y="456"/>
                  </a:lnTo>
                  <a:lnTo>
                    <a:pt x="283" y="457"/>
                  </a:lnTo>
                  <a:lnTo>
                    <a:pt x="282" y="457"/>
                  </a:lnTo>
                  <a:lnTo>
                    <a:pt x="282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8"/>
                  </a:lnTo>
                  <a:lnTo>
                    <a:pt x="281" y="458"/>
                  </a:lnTo>
                  <a:lnTo>
                    <a:pt x="281" y="458"/>
                  </a:lnTo>
                  <a:lnTo>
                    <a:pt x="281" y="459"/>
                  </a:lnTo>
                  <a:lnTo>
                    <a:pt x="281" y="459"/>
                  </a:lnTo>
                  <a:lnTo>
                    <a:pt x="281" y="460"/>
                  </a:lnTo>
                  <a:lnTo>
                    <a:pt x="281" y="461"/>
                  </a:lnTo>
                  <a:lnTo>
                    <a:pt x="283" y="465"/>
                  </a:lnTo>
                  <a:lnTo>
                    <a:pt x="284" y="467"/>
                  </a:lnTo>
                  <a:lnTo>
                    <a:pt x="284" y="468"/>
                  </a:lnTo>
                  <a:lnTo>
                    <a:pt x="285" y="469"/>
                  </a:lnTo>
                  <a:lnTo>
                    <a:pt x="285" y="470"/>
                  </a:lnTo>
                  <a:lnTo>
                    <a:pt x="285" y="471"/>
                  </a:lnTo>
                  <a:lnTo>
                    <a:pt x="285" y="471"/>
                  </a:lnTo>
                  <a:lnTo>
                    <a:pt x="284" y="472"/>
                  </a:lnTo>
                  <a:lnTo>
                    <a:pt x="284" y="473"/>
                  </a:lnTo>
                  <a:lnTo>
                    <a:pt x="284" y="474"/>
                  </a:lnTo>
                  <a:lnTo>
                    <a:pt x="283" y="475"/>
                  </a:lnTo>
                  <a:lnTo>
                    <a:pt x="282" y="476"/>
                  </a:lnTo>
                  <a:lnTo>
                    <a:pt x="282" y="476"/>
                  </a:lnTo>
                  <a:lnTo>
                    <a:pt x="281" y="477"/>
                  </a:lnTo>
                  <a:lnTo>
                    <a:pt x="280" y="478"/>
                  </a:lnTo>
                  <a:lnTo>
                    <a:pt x="280" y="478"/>
                  </a:lnTo>
                  <a:lnTo>
                    <a:pt x="279" y="478"/>
                  </a:lnTo>
                  <a:lnTo>
                    <a:pt x="278" y="479"/>
                  </a:lnTo>
                  <a:lnTo>
                    <a:pt x="277" y="479"/>
                  </a:lnTo>
                  <a:lnTo>
                    <a:pt x="276" y="479"/>
                  </a:lnTo>
                  <a:lnTo>
                    <a:pt x="275" y="479"/>
                  </a:lnTo>
                  <a:lnTo>
                    <a:pt x="274" y="479"/>
                  </a:lnTo>
                  <a:lnTo>
                    <a:pt x="273" y="479"/>
                  </a:lnTo>
                  <a:lnTo>
                    <a:pt x="273" y="479"/>
                  </a:lnTo>
                  <a:lnTo>
                    <a:pt x="272" y="479"/>
                  </a:lnTo>
                  <a:lnTo>
                    <a:pt x="271" y="479"/>
                  </a:lnTo>
                  <a:lnTo>
                    <a:pt x="270" y="478"/>
                  </a:lnTo>
                  <a:lnTo>
                    <a:pt x="268" y="478"/>
                  </a:lnTo>
                  <a:lnTo>
                    <a:pt x="268" y="477"/>
                  </a:lnTo>
                  <a:lnTo>
                    <a:pt x="267" y="477"/>
                  </a:lnTo>
                  <a:lnTo>
                    <a:pt x="266" y="477"/>
                  </a:lnTo>
                  <a:lnTo>
                    <a:pt x="265" y="477"/>
                  </a:lnTo>
                  <a:lnTo>
                    <a:pt x="263" y="477"/>
                  </a:lnTo>
                  <a:lnTo>
                    <a:pt x="262" y="477"/>
                  </a:lnTo>
                  <a:lnTo>
                    <a:pt x="260" y="477"/>
                  </a:lnTo>
                  <a:lnTo>
                    <a:pt x="258" y="477"/>
                  </a:lnTo>
                  <a:lnTo>
                    <a:pt x="256" y="477"/>
                  </a:lnTo>
                  <a:lnTo>
                    <a:pt x="255" y="478"/>
                  </a:lnTo>
                  <a:lnTo>
                    <a:pt x="253" y="478"/>
                  </a:lnTo>
                  <a:lnTo>
                    <a:pt x="251" y="479"/>
                  </a:lnTo>
                  <a:lnTo>
                    <a:pt x="248" y="480"/>
                  </a:lnTo>
                  <a:lnTo>
                    <a:pt x="247" y="480"/>
                  </a:lnTo>
                  <a:lnTo>
                    <a:pt x="247" y="480"/>
                  </a:lnTo>
                  <a:lnTo>
                    <a:pt x="247" y="480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2"/>
                  </a:lnTo>
                  <a:lnTo>
                    <a:pt x="246" y="483"/>
                  </a:lnTo>
                  <a:lnTo>
                    <a:pt x="245" y="485"/>
                  </a:lnTo>
                  <a:lnTo>
                    <a:pt x="245" y="487"/>
                  </a:lnTo>
                  <a:lnTo>
                    <a:pt x="245" y="488"/>
                  </a:lnTo>
                  <a:lnTo>
                    <a:pt x="244" y="488"/>
                  </a:lnTo>
                  <a:lnTo>
                    <a:pt x="244" y="489"/>
                  </a:lnTo>
                  <a:lnTo>
                    <a:pt x="243" y="490"/>
                  </a:lnTo>
                  <a:lnTo>
                    <a:pt x="242" y="492"/>
                  </a:lnTo>
                  <a:lnTo>
                    <a:pt x="242" y="493"/>
                  </a:lnTo>
                  <a:lnTo>
                    <a:pt x="241" y="494"/>
                  </a:lnTo>
                  <a:lnTo>
                    <a:pt x="240" y="495"/>
                  </a:lnTo>
                  <a:lnTo>
                    <a:pt x="240" y="495"/>
                  </a:lnTo>
                  <a:lnTo>
                    <a:pt x="239" y="496"/>
                  </a:lnTo>
                  <a:lnTo>
                    <a:pt x="238" y="497"/>
                  </a:lnTo>
                  <a:lnTo>
                    <a:pt x="237" y="497"/>
                  </a:lnTo>
                  <a:lnTo>
                    <a:pt x="236" y="497"/>
                  </a:lnTo>
                  <a:lnTo>
                    <a:pt x="236" y="497"/>
                  </a:lnTo>
                  <a:lnTo>
                    <a:pt x="235" y="497"/>
                  </a:lnTo>
                  <a:lnTo>
                    <a:pt x="234" y="497"/>
                  </a:lnTo>
                  <a:lnTo>
                    <a:pt x="233" y="496"/>
                  </a:lnTo>
                  <a:lnTo>
                    <a:pt x="230" y="494"/>
                  </a:lnTo>
                  <a:lnTo>
                    <a:pt x="229" y="493"/>
                  </a:lnTo>
                  <a:lnTo>
                    <a:pt x="228" y="492"/>
                  </a:lnTo>
                  <a:lnTo>
                    <a:pt x="227" y="492"/>
                  </a:lnTo>
                  <a:lnTo>
                    <a:pt x="227" y="491"/>
                  </a:lnTo>
                  <a:lnTo>
                    <a:pt x="226" y="491"/>
                  </a:lnTo>
                  <a:lnTo>
                    <a:pt x="225" y="491"/>
                  </a:lnTo>
                  <a:lnTo>
                    <a:pt x="224" y="491"/>
                  </a:lnTo>
                  <a:lnTo>
                    <a:pt x="223" y="491"/>
                  </a:lnTo>
                  <a:lnTo>
                    <a:pt x="221" y="491"/>
                  </a:lnTo>
                  <a:lnTo>
                    <a:pt x="219" y="490"/>
                  </a:lnTo>
                  <a:lnTo>
                    <a:pt x="217" y="490"/>
                  </a:lnTo>
                  <a:lnTo>
                    <a:pt x="215" y="489"/>
                  </a:lnTo>
                  <a:lnTo>
                    <a:pt x="213" y="489"/>
                  </a:lnTo>
                  <a:lnTo>
                    <a:pt x="212" y="488"/>
                  </a:lnTo>
                  <a:lnTo>
                    <a:pt x="211" y="488"/>
                  </a:lnTo>
                  <a:lnTo>
                    <a:pt x="208" y="488"/>
                  </a:lnTo>
                  <a:lnTo>
                    <a:pt x="208" y="488"/>
                  </a:lnTo>
                  <a:lnTo>
                    <a:pt x="207" y="488"/>
                  </a:lnTo>
                  <a:lnTo>
                    <a:pt x="207" y="487"/>
                  </a:lnTo>
                  <a:lnTo>
                    <a:pt x="206" y="487"/>
                  </a:lnTo>
                  <a:lnTo>
                    <a:pt x="206" y="486"/>
                  </a:lnTo>
                  <a:lnTo>
                    <a:pt x="206" y="486"/>
                  </a:lnTo>
                  <a:lnTo>
                    <a:pt x="205" y="485"/>
                  </a:lnTo>
                  <a:lnTo>
                    <a:pt x="205" y="484"/>
                  </a:lnTo>
                  <a:lnTo>
                    <a:pt x="205" y="481"/>
                  </a:lnTo>
                  <a:lnTo>
                    <a:pt x="205" y="480"/>
                  </a:lnTo>
                  <a:lnTo>
                    <a:pt x="204" y="480"/>
                  </a:lnTo>
                  <a:lnTo>
                    <a:pt x="204" y="479"/>
                  </a:lnTo>
                  <a:lnTo>
                    <a:pt x="204" y="478"/>
                  </a:lnTo>
                  <a:lnTo>
                    <a:pt x="203" y="478"/>
                  </a:lnTo>
                  <a:lnTo>
                    <a:pt x="203" y="477"/>
                  </a:lnTo>
                  <a:lnTo>
                    <a:pt x="202" y="477"/>
                  </a:lnTo>
                  <a:lnTo>
                    <a:pt x="202" y="477"/>
                  </a:lnTo>
                  <a:lnTo>
                    <a:pt x="201" y="477"/>
                  </a:lnTo>
                  <a:lnTo>
                    <a:pt x="201" y="477"/>
                  </a:lnTo>
                  <a:lnTo>
                    <a:pt x="200" y="477"/>
                  </a:lnTo>
                  <a:lnTo>
                    <a:pt x="199" y="478"/>
                  </a:lnTo>
                  <a:lnTo>
                    <a:pt x="199" y="478"/>
                  </a:lnTo>
                  <a:lnTo>
                    <a:pt x="199" y="478"/>
                  </a:lnTo>
                  <a:lnTo>
                    <a:pt x="198" y="479"/>
                  </a:lnTo>
                  <a:lnTo>
                    <a:pt x="198" y="479"/>
                  </a:lnTo>
                  <a:lnTo>
                    <a:pt x="197" y="480"/>
                  </a:lnTo>
                  <a:lnTo>
                    <a:pt x="195" y="484"/>
                  </a:lnTo>
                  <a:lnTo>
                    <a:pt x="194" y="486"/>
                  </a:lnTo>
                  <a:lnTo>
                    <a:pt x="194" y="487"/>
                  </a:lnTo>
                  <a:lnTo>
                    <a:pt x="193" y="488"/>
                  </a:lnTo>
                  <a:lnTo>
                    <a:pt x="193" y="489"/>
                  </a:lnTo>
                  <a:lnTo>
                    <a:pt x="193" y="490"/>
                  </a:lnTo>
                  <a:lnTo>
                    <a:pt x="193" y="491"/>
                  </a:lnTo>
                  <a:lnTo>
                    <a:pt x="193" y="493"/>
                  </a:lnTo>
                  <a:lnTo>
                    <a:pt x="194" y="494"/>
                  </a:lnTo>
                  <a:lnTo>
                    <a:pt x="194" y="496"/>
                  </a:lnTo>
                  <a:lnTo>
                    <a:pt x="195" y="497"/>
                  </a:lnTo>
                  <a:lnTo>
                    <a:pt x="196" y="499"/>
                  </a:lnTo>
                  <a:lnTo>
                    <a:pt x="197" y="501"/>
                  </a:lnTo>
                  <a:lnTo>
                    <a:pt x="197" y="502"/>
                  </a:lnTo>
                  <a:lnTo>
                    <a:pt x="197" y="503"/>
                  </a:lnTo>
                  <a:lnTo>
                    <a:pt x="197" y="504"/>
                  </a:lnTo>
                  <a:lnTo>
                    <a:pt x="197" y="505"/>
                  </a:lnTo>
                  <a:lnTo>
                    <a:pt x="197" y="506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6" y="508"/>
                  </a:lnTo>
                  <a:lnTo>
                    <a:pt x="195" y="509"/>
                  </a:lnTo>
                  <a:lnTo>
                    <a:pt x="193" y="511"/>
                  </a:lnTo>
                  <a:lnTo>
                    <a:pt x="191" y="513"/>
                  </a:lnTo>
                  <a:lnTo>
                    <a:pt x="190" y="514"/>
                  </a:lnTo>
                  <a:lnTo>
                    <a:pt x="189" y="514"/>
                  </a:lnTo>
                  <a:lnTo>
                    <a:pt x="189" y="515"/>
                  </a:lnTo>
                  <a:lnTo>
                    <a:pt x="188" y="516"/>
                  </a:lnTo>
                  <a:lnTo>
                    <a:pt x="186" y="519"/>
                  </a:lnTo>
                  <a:lnTo>
                    <a:pt x="184" y="521"/>
                  </a:lnTo>
                  <a:lnTo>
                    <a:pt x="182" y="524"/>
                  </a:lnTo>
                  <a:lnTo>
                    <a:pt x="181" y="525"/>
                  </a:lnTo>
                  <a:lnTo>
                    <a:pt x="180" y="526"/>
                  </a:lnTo>
                  <a:lnTo>
                    <a:pt x="180" y="527"/>
                  </a:lnTo>
                  <a:lnTo>
                    <a:pt x="179" y="527"/>
                  </a:lnTo>
                  <a:lnTo>
                    <a:pt x="178" y="528"/>
                  </a:lnTo>
                  <a:lnTo>
                    <a:pt x="177" y="528"/>
                  </a:lnTo>
                  <a:lnTo>
                    <a:pt x="177" y="529"/>
                  </a:lnTo>
                  <a:lnTo>
                    <a:pt x="176" y="529"/>
                  </a:lnTo>
                  <a:lnTo>
                    <a:pt x="175" y="529"/>
                  </a:lnTo>
                  <a:lnTo>
                    <a:pt x="174" y="529"/>
                  </a:lnTo>
                  <a:lnTo>
                    <a:pt x="174" y="529"/>
                  </a:lnTo>
                  <a:lnTo>
                    <a:pt x="170" y="529"/>
                  </a:lnTo>
                  <a:lnTo>
                    <a:pt x="169" y="530"/>
                  </a:lnTo>
                  <a:lnTo>
                    <a:pt x="165" y="530"/>
                  </a:lnTo>
                  <a:lnTo>
                    <a:pt x="163" y="530"/>
                  </a:lnTo>
                  <a:lnTo>
                    <a:pt x="162" y="531"/>
                  </a:lnTo>
                  <a:lnTo>
                    <a:pt x="156" y="532"/>
                  </a:lnTo>
                  <a:lnTo>
                    <a:pt x="155" y="532"/>
                  </a:lnTo>
                  <a:lnTo>
                    <a:pt x="153" y="532"/>
                  </a:lnTo>
                  <a:lnTo>
                    <a:pt x="152" y="532"/>
                  </a:lnTo>
                  <a:lnTo>
                    <a:pt x="151" y="533"/>
                  </a:lnTo>
                  <a:lnTo>
                    <a:pt x="151" y="533"/>
                  </a:lnTo>
                  <a:lnTo>
                    <a:pt x="150" y="533"/>
                  </a:lnTo>
                  <a:lnTo>
                    <a:pt x="149" y="534"/>
                  </a:lnTo>
                  <a:lnTo>
                    <a:pt x="148" y="535"/>
                  </a:lnTo>
                  <a:lnTo>
                    <a:pt x="148" y="536"/>
                  </a:lnTo>
                  <a:lnTo>
                    <a:pt x="147" y="536"/>
                  </a:lnTo>
                  <a:lnTo>
                    <a:pt x="146" y="539"/>
                  </a:lnTo>
                  <a:lnTo>
                    <a:pt x="145" y="539"/>
                  </a:lnTo>
                  <a:lnTo>
                    <a:pt x="145" y="540"/>
                  </a:lnTo>
                  <a:lnTo>
                    <a:pt x="144" y="541"/>
                  </a:lnTo>
                  <a:lnTo>
                    <a:pt x="144" y="541"/>
                  </a:lnTo>
                  <a:lnTo>
                    <a:pt x="143" y="541"/>
                  </a:lnTo>
                  <a:lnTo>
                    <a:pt x="143" y="541"/>
                  </a:lnTo>
                  <a:lnTo>
                    <a:pt x="142" y="541"/>
                  </a:lnTo>
                  <a:lnTo>
                    <a:pt x="142" y="541"/>
                  </a:lnTo>
                  <a:lnTo>
                    <a:pt x="141" y="541"/>
                  </a:lnTo>
                  <a:lnTo>
                    <a:pt x="141" y="541"/>
                  </a:lnTo>
                  <a:lnTo>
                    <a:pt x="141" y="541"/>
                  </a:lnTo>
                  <a:lnTo>
                    <a:pt x="141" y="539"/>
                  </a:lnTo>
                  <a:lnTo>
                    <a:pt x="139" y="534"/>
                  </a:lnTo>
                  <a:lnTo>
                    <a:pt x="137" y="531"/>
                  </a:lnTo>
                  <a:lnTo>
                    <a:pt x="137" y="530"/>
                  </a:lnTo>
                  <a:lnTo>
                    <a:pt x="136" y="527"/>
                  </a:lnTo>
                  <a:lnTo>
                    <a:pt x="134" y="522"/>
                  </a:lnTo>
                  <a:lnTo>
                    <a:pt x="134" y="521"/>
                  </a:lnTo>
                  <a:lnTo>
                    <a:pt x="134" y="520"/>
                  </a:lnTo>
                  <a:lnTo>
                    <a:pt x="133" y="519"/>
                  </a:lnTo>
                  <a:lnTo>
                    <a:pt x="133" y="519"/>
                  </a:lnTo>
                  <a:lnTo>
                    <a:pt x="132" y="518"/>
                  </a:lnTo>
                  <a:lnTo>
                    <a:pt x="131" y="517"/>
                  </a:lnTo>
                  <a:lnTo>
                    <a:pt x="128" y="515"/>
                  </a:lnTo>
                  <a:lnTo>
                    <a:pt x="127" y="514"/>
                  </a:lnTo>
                  <a:lnTo>
                    <a:pt x="126" y="513"/>
                  </a:lnTo>
                  <a:lnTo>
                    <a:pt x="124" y="512"/>
                  </a:lnTo>
                  <a:lnTo>
                    <a:pt x="122" y="512"/>
                  </a:lnTo>
                  <a:lnTo>
                    <a:pt x="121" y="511"/>
                  </a:lnTo>
                  <a:lnTo>
                    <a:pt x="118" y="510"/>
                  </a:lnTo>
                  <a:lnTo>
                    <a:pt x="116" y="509"/>
                  </a:lnTo>
                  <a:lnTo>
                    <a:pt x="114" y="509"/>
                  </a:lnTo>
                  <a:lnTo>
                    <a:pt x="112" y="508"/>
                  </a:lnTo>
                  <a:lnTo>
                    <a:pt x="111" y="507"/>
                  </a:lnTo>
                  <a:lnTo>
                    <a:pt x="108" y="506"/>
                  </a:lnTo>
                  <a:lnTo>
                    <a:pt x="107" y="505"/>
                  </a:lnTo>
                  <a:lnTo>
                    <a:pt x="107" y="505"/>
                  </a:lnTo>
                  <a:lnTo>
                    <a:pt x="106" y="504"/>
                  </a:lnTo>
                  <a:lnTo>
                    <a:pt x="106" y="504"/>
                  </a:lnTo>
                  <a:lnTo>
                    <a:pt x="106" y="504"/>
                  </a:lnTo>
                  <a:lnTo>
                    <a:pt x="105" y="503"/>
                  </a:lnTo>
                  <a:lnTo>
                    <a:pt x="105" y="503"/>
                  </a:lnTo>
                  <a:lnTo>
                    <a:pt x="105" y="502"/>
                  </a:lnTo>
                  <a:lnTo>
                    <a:pt x="105" y="502"/>
                  </a:lnTo>
                  <a:lnTo>
                    <a:pt x="106" y="500"/>
                  </a:lnTo>
                  <a:lnTo>
                    <a:pt x="106" y="497"/>
                  </a:lnTo>
                  <a:lnTo>
                    <a:pt x="107" y="494"/>
                  </a:lnTo>
                  <a:lnTo>
                    <a:pt x="107" y="492"/>
                  </a:lnTo>
                  <a:lnTo>
                    <a:pt x="107" y="491"/>
                  </a:lnTo>
                  <a:lnTo>
                    <a:pt x="107" y="489"/>
                  </a:lnTo>
                  <a:lnTo>
                    <a:pt x="108" y="488"/>
                  </a:lnTo>
                  <a:lnTo>
                    <a:pt x="107" y="486"/>
                  </a:lnTo>
                  <a:lnTo>
                    <a:pt x="107" y="485"/>
                  </a:lnTo>
                  <a:lnTo>
                    <a:pt x="107" y="485"/>
                  </a:lnTo>
                  <a:lnTo>
                    <a:pt x="107" y="484"/>
                  </a:lnTo>
                  <a:lnTo>
                    <a:pt x="107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5" y="484"/>
                  </a:lnTo>
                  <a:lnTo>
                    <a:pt x="105" y="485"/>
                  </a:lnTo>
                  <a:lnTo>
                    <a:pt x="104" y="486"/>
                  </a:lnTo>
                  <a:lnTo>
                    <a:pt x="104" y="487"/>
                  </a:lnTo>
                  <a:lnTo>
                    <a:pt x="103" y="487"/>
                  </a:lnTo>
                  <a:lnTo>
                    <a:pt x="103" y="487"/>
                  </a:lnTo>
                  <a:lnTo>
                    <a:pt x="103" y="487"/>
                  </a:lnTo>
                  <a:lnTo>
                    <a:pt x="102" y="487"/>
                  </a:lnTo>
                  <a:lnTo>
                    <a:pt x="102" y="487"/>
                  </a:lnTo>
                  <a:lnTo>
                    <a:pt x="101" y="487"/>
                  </a:lnTo>
                  <a:lnTo>
                    <a:pt x="101" y="487"/>
                  </a:lnTo>
                  <a:lnTo>
                    <a:pt x="101" y="487"/>
                  </a:lnTo>
                  <a:lnTo>
                    <a:pt x="100" y="486"/>
                  </a:lnTo>
                  <a:lnTo>
                    <a:pt x="100" y="486"/>
                  </a:lnTo>
                  <a:lnTo>
                    <a:pt x="99" y="485"/>
                  </a:lnTo>
                  <a:lnTo>
                    <a:pt x="98" y="485"/>
                  </a:lnTo>
                  <a:lnTo>
                    <a:pt x="97" y="483"/>
                  </a:lnTo>
                  <a:lnTo>
                    <a:pt x="97" y="482"/>
                  </a:lnTo>
                  <a:lnTo>
                    <a:pt x="96" y="482"/>
                  </a:lnTo>
                  <a:lnTo>
                    <a:pt x="96" y="481"/>
                  </a:lnTo>
                  <a:lnTo>
                    <a:pt x="94" y="478"/>
                  </a:lnTo>
                  <a:lnTo>
                    <a:pt x="94" y="478"/>
                  </a:lnTo>
                  <a:lnTo>
                    <a:pt x="94" y="477"/>
                  </a:lnTo>
                  <a:lnTo>
                    <a:pt x="93" y="476"/>
                  </a:lnTo>
                  <a:lnTo>
                    <a:pt x="93" y="476"/>
                  </a:lnTo>
                  <a:lnTo>
                    <a:pt x="91" y="475"/>
                  </a:lnTo>
                  <a:lnTo>
                    <a:pt x="90" y="474"/>
                  </a:lnTo>
                  <a:lnTo>
                    <a:pt x="90" y="473"/>
                  </a:lnTo>
                  <a:lnTo>
                    <a:pt x="89" y="472"/>
                  </a:lnTo>
                  <a:lnTo>
                    <a:pt x="89" y="471"/>
                  </a:lnTo>
                  <a:lnTo>
                    <a:pt x="88" y="471"/>
                  </a:lnTo>
                  <a:lnTo>
                    <a:pt x="88" y="468"/>
                  </a:lnTo>
                  <a:lnTo>
                    <a:pt x="87" y="464"/>
                  </a:lnTo>
                  <a:lnTo>
                    <a:pt x="86" y="462"/>
                  </a:lnTo>
                  <a:lnTo>
                    <a:pt x="85" y="461"/>
                  </a:lnTo>
                  <a:lnTo>
                    <a:pt x="85" y="460"/>
                  </a:lnTo>
                  <a:lnTo>
                    <a:pt x="84" y="459"/>
                  </a:lnTo>
                  <a:lnTo>
                    <a:pt x="83" y="458"/>
                  </a:lnTo>
                  <a:lnTo>
                    <a:pt x="83" y="457"/>
                  </a:lnTo>
                  <a:lnTo>
                    <a:pt x="83" y="456"/>
                  </a:lnTo>
                  <a:lnTo>
                    <a:pt x="82" y="455"/>
                  </a:lnTo>
                  <a:lnTo>
                    <a:pt x="81" y="454"/>
                  </a:lnTo>
                  <a:lnTo>
                    <a:pt x="81" y="453"/>
                  </a:lnTo>
                  <a:lnTo>
                    <a:pt x="79" y="452"/>
                  </a:lnTo>
                  <a:lnTo>
                    <a:pt x="78" y="451"/>
                  </a:lnTo>
                  <a:lnTo>
                    <a:pt x="78" y="450"/>
                  </a:lnTo>
                  <a:lnTo>
                    <a:pt x="77" y="448"/>
                  </a:lnTo>
                  <a:lnTo>
                    <a:pt x="76" y="447"/>
                  </a:lnTo>
                  <a:lnTo>
                    <a:pt x="76" y="446"/>
                  </a:lnTo>
                  <a:lnTo>
                    <a:pt x="75" y="445"/>
                  </a:lnTo>
                  <a:lnTo>
                    <a:pt x="74" y="444"/>
                  </a:lnTo>
                  <a:lnTo>
                    <a:pt x="73" y="443"/>
                  </a:lnTo>
                  <a:lnTo>
                    <a:pt x="73" y="443"/>
                  </a:lnTo>
                  <a:lnTo>
                    <a:pt x="72" y="442"/>
                  </a:lnTo>
                  <a:lnTo>
                    <a:pt x="71" y="442"/>
                  </a:lnTo>
                  <a:lnTo>
                    <a:pt x="69" y="442"/>
                  </a:lnTo>
                  <a:lnTo>
                    <a:pt x="67" y="441"/>
                  </a:lnTo>
                  <a:lnTo>
                    <a:pt x="65" y="441"/>
                  </a:lnTo>
                  <a:lnTo>
                    <a:pt x="64" y="441"/>
                  </a:lnTo>
                  <a:lnTo>
                    <a:pt x="63" y="441"/>
                  </a:lnTo>
                  <a:lnTo>
                    <a:pt x="62" y="441"/>
                  </a:lnTo>
                  <a:lnTo>
                    <a:pt x="61" y="441"/>
                  </a:lnTo>
                  <a:lnTo>
                    <a:pt x="59" y="441"/>
                  </a:lnTo>
                  <a:lnTo>
                    <a:pt x="58" y="442"/>
                  </a:lnTo>
                  <a:lnTo>
                    <a:pt x="56" y="443"/>
                  </a:lnTo>
                  <a:lnTo>
                    <a:pt x="55" y="444"/>
                  </a:lnTo>
                  <a:lnTo>
                    <a:pt x="54" y="445"/>
                  </a:lnTo>
                  <a:lnTo>
                    <a:pt x="52" y="446"/>
                  </a:lnTo>
                  <a:lnTo>
                    <a:pt x="51" y="448"/>
                  </a:lnTo>
                  <a:lnTo>
                    <a:pt x="50" y="448"/>
                  </a:lnTo>
                  <a:lnTo>
                    <a:pt x="50" y="448"/>
                  </a:lnTo>
                  <a:lnTo>
                    <a:pt x="50" y="449"/>
                  </a:lnTo>
                  <a:lnTo>
                    <a:pt x="50" y="449"/>
                  </a:lnTo>
                  <a:lnTo>
                    <a:pt x="50" y="449"/>
                  </a:lnTo>
                  <a:lnTo>
                    <a:pt x="50" y="450"/>
                  </a:lnTo>
                  <a:lnTo>
                    <a:pt x="51" y="450"/>
                  </a:lnTo>
                  <a:lnTo>
                    <a:pt x="51" y="451"/>
                  </a:lnTo>
                  <a:lnTo>
                    <a:pt x="52" y="452"/>
                  </a:lnTo>
                  <a:lnTo>
                    <a:pt x="52" y="452"/>
                  </a:lnTo>
                  <a:lnTo>
                    <a:pt x="52" y="453"/>
                  </a:lnTo>
                  <a:lnTo>
                    <a:pt x="53" y="453"/>
                  </a:lnTo>
                  <a:lnTo>
                    <a:pt x="58" y="458"/>
                  </a:lnTo>
                  <a:lnTo>
                    <a:pt x="58" y="458"/>
                  </a:lnTo>
                  <a:lnTo>
                    <a:pt x="59" y="459"/>
                  </a:lnTo>
                  <a:lnTo>
                    <a:pt x="59" y="460"/>
                  </a:lnTo>
                  <a:lnTo>
                    <a:pt x="59" y="461"/>
                  </a:lnTo>
                  <a:lnTo>
                    <a:pt x="60" y="462"/>
                  </a:lnTo>
                  <a:lnTo>
                    <a:pt x="60" y="463"/>
                  </a:lnTo>
                  <a:lnTo>
                    <a:pt x="61" y="464"/>
                  </a:lnTo>
                  <a:lnTo>
                    <a:pt x="62" y="466"/>
                  </a:lnTo>
                  <a:lnTo>
                    <a:pt x="62" y="467"/>
                  </a:lnTo>
                  <a:lnTo>
                    <a:pt x="63" y="468"/>
                  </a:lnTo>
                  <a:lnTo>
                    <a:pt x="63" y="469"/>
                  </a:lnTo>
                  <a:lnTo>
                    <a:pt x="63" y="469"/>
                  </a:lnTo>
                  <a:lnTo>
                    <a:pt x="63" y="470"/>
                  </a:lnTo>
                  <a:lnTo>
                    <a:pt x="63" y="471"/>
                  </a:lnTo>
                  <a:lnTo>
                    <a:pt x="63" y="471"/>
                  </a:lnTo>
                  <a:lnTo>
                    <a:pt x="63" y="472"/>
                  </a:lnTo>
                  <a:lnTo>
                    <a:pt x="63" y="472"/>
                  </a:lnTo>
                  <a:lnTo>
                    <a:pt x="62" y="473"/>
                  </a:lnTo>
                  <a:lnTo>
                    <a:pt x="61" y="475"/>
                  </a:lnTo>
                  <a:lnTo>
                    <a:pt x="60" y="476"/>
                  </a:lnTo>
                  <a:lnTo>
                    <a:pt x="59" y="478"/>
                  </a:lnTo>
                  <a:lnTo>
                    <a:pt x="58" y="481"/>
                  </a:lnTo>
                  <a:lnTo>
                    <a:pt x="58" y="483"/>
                  </a:lnTo>
                  <a:lnTo>
                    <a:pt x="57" y="484"/>
                  </a:lnTo>
                  <a:lnTo>
                    <a:pt x="56" y="485"/>
                  </a:lnTo>
                  <a:lnTo>
                    <a:pt x="56" y="486"/>
                  </a:lnTo>
                  <a:lnTo>
                    <a:pt x="54" y="487"/>
                  </a:lnTo>
                  <a:lnTo>
                    <a:pt x="53" y="488"/>
                  </a:lnTo>
                  <a:lnTo>
                    <a:pt x="52" y="489"/>
                  </a:lnTo>
                  <a:lnTo>
                    <a:pt x="51" y="490"/>
                  </a:lnTo>
                  <a:lnTo>
                    <a:pt x="50" y="490"/>
                  </a:lnTo>
                  <a:lnTo>
                    <a:pt x="49" y="491"/>
                  </a:lnTo>
                  <a:lnTo>
                    <a:pt x="48" y="491"/>
                  </a:lnTo>
                  <a:lnTo>
                    <a:pt x="47" y="491"/>
                  </a:lnTo>
                  <a:lnTo>
                    <a:pt x="46" y="491"/>
                  </a:lnTo>
                  <a:lnTo>
                    <a:pt x="45" y="490"/>
                  </a:lnTo>
                  <a:lnTo>
                    <a:pt x="43" y="490"/>
                  </a:lnTo>
                  <a:lnTo>
                    <a:pt x="42" y="489"/>
                  </a:lnTo>
                  <a:lnTo>
                    <a:pt x="40" y="488"/>
                  </a:lnTo>
                  <a:lnTo>
                    <a:pt x="37" y="485"/>
                  </a:lnTo>
                  <a:lnTo>
                    <a:pt x="35" y="484"/>
                  </a:lnTo>
                  <a:lnTo>
                    <a:pt x="34" y="483"/>
                  </a:lnTo>
                  <a:lnTo>
                    <a:pt x="34" y="483"/>
                  </a:lnTo>
                  <a:lnTo>
                    <a:pt x="32" y="481"/>
                  </a:lnTo>
                  <a:lnTo>
                    <a:pt x="32" y="481"/>
                  </a:lnTo>
                  <a:lnTo>
                    <a:pt x="31" y="480"/>
                  </a:lnTo>
                  <a:lnTo>
                    <a:pt x="31" y="480"/>
                  </a:lnTo>
                  <a:lnTo>
                    <a:pt x="31" y="479"/>
                  </a:lnTo>
                  <a:lnTo>
                    <a:pt x="31" y="478"/>
                  </a:lnTo>
                  <a:lnTo>
                    <a:pt x="31" y="477"/>
                  </a:lnTo>
                  <a:lnTo>
                    <a:pt x="31" y="477"/>
                  </a:lnTo>
                  <a:lnTo>
                    <a:pt x="31" y="476"/>
                  </a:lnTo>
                  <a:lnTo>
                    <a:pt x="32" y="475"/>
                  </a:lnTo>
                  <a:lnTo>
                    <a:pt x="32" y="475"/>
                  </a:lnTo>
                  <a:lnTo>
                    <a:pt x="32" y="474"/>
                  </a:lnTo>
                  <a:lnTo>
                    <a:pt x="32" y="474"/>
                  </a:lnTo>
                  <a:lnTo>
                    <a:pt x="33" y="473"/>
                  </a:lnTo>
                  <a:lnTo>
                    <a:pt x="35" y="471"/>
                  </a:lnTo>
                  <a:lnTo>
                    <a:pt x="36" y="471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9"/>
                  </a:lnTo>
                  <a:lnTo>
                    <a:pt x="37" y="469"/>
                  </a:lnTo>
                  <a:lnTo>
                    <a:pt x="37" y="468"/>
                  </a:lnTo>
                  <a:lnTo>
                    <a:pt x="36" y="467"/>
                  </a:lnTo>
                  <a:lnTo>
                    <a:pt x="36" y="466"/>
                  </a:lnTo>
                  <a:lnTo>
                    <a:pt x="35" y="465"/>
                  </a:lnTo>
                  <a:lnTo>
                    <a:pt x="35" y="464"/>
                  </a:lnTo>
                  <a:lnTo>
                    <a:pt x="34" y="463"/>
                  </a:lnTo>
                  <a:lnTo>
                    <a:pt x="32" y="460"/>
                  </a:lnTo>
                  <a:lnTo>
                    <a:pt x="31" y="459"/>
                  </a:lnTo>
                  <a:lnTo>
                    <a:pt x="31" y="458"/>
                  </a:lnTo>
                  <a:lnTo>
                    <a:pt x="30" y="457"/>
                  </a:lnTo>
                  <a:lnTo>
                    <a:pt x="30" y="456"/>
                  </a:lnTo>
                  <a:lnTo>
                    <a:pt x="29" y="453"/>
                  </a:lnTo>
                  <a:lnTo>
                    <a:pt x="28" y="449"/>
                  </a:lnTo>
                  <a:lnTo>
                    <a:pt x="27" y="446"/>
                  </a:lnTo>
                  <a:lnTo>
                    <a:pt x="27" y="445"/>
                  </a:lnTo>
                  <a:lnTo>
                    <a:pt x="27" y="443"/>
                  </a:lnTo>
                  <a:lnTo>
                    <a:pt x="27" y="442"/>
                  </a:lnTo>
                  <a:lnTo>
                    <a:pt x="27" y="440"/>
                  </a:lnTo>
                  <a:lnTo>
                    <a:pt x="27" y="439"/>
                  </a:lnTo>
                  <a:lnTo>
                    <a:pt x="27" y="437"/>
                  </a:lnTo>
                  <a:lnTo>
                    <a:pt x="27" y="436"/>
                  </a:lnTo>
                  <a:lnTo>
                    <a:pt x="28" y="435"/>
                  </a:lnTo>
                  <a:lnTo>
                    <a:pt x="30" y="432"/>
                  </a:lnTo>
                  <a:lnTo>
                    <a:pt x="30" y="431"/>
                  </a:lnTo>
                  <a:lnTo>
                    <a:pt x="32" y="429"/>
                  </a:lnTo>
                  <a:lnTo>
                    <a:pt x="32" y="428"/>
                  </a:lnTo>
                  <a:lnTo>
                    <a:pt x="33" y="428"/>
                  </a:lnTo>
                  <a:lnTo>
                    <a:pt x="34" y="427"/>
                  </a:lnTo>
                  <a:lnTo>
                    <a:pt x="34" y="426"/>
                  </a:lnTo>
                  <a:lnTo>
                    <a:pt x="35" y="426"/>
                  </a:lnTo>
                  <a:lnTo>
                    <a:pt x="35" y="425"/>
                  </a:lnTo>
                  <a:lnTo>
                    <a:pt x="36" y="425"/>
                  </a:lnTo>
                  <a:lnTo>
                    <a:pt x="36" y="425"/>
                  </a:lnTo>
                  <a:lnTo>
                    <a:pt x="36" y="424"/>
                  </a:lnTo>
                  <a:lnTo>
                    <a:pt x="35" y="424"/>
                  </a:lnTo>
                  <a:lnTo>
                    <a:pt x="35" y="424"/>
                  </a:lnTo>
                  <a:lnTo>
                    <a:pt x="34" y="424"/>
                  </a:lnTo>
                  <a:lnTo>
                    <a:pt x="32" y="423"/>
                  </a:lnTo>
                  <a:lnTo>
                    <a:pt x="30" y="423"/>
                  </a:lnTo>
                  <a:lnTo>
                    <a:pt x="29" y="423"/>
                  </a:lnTo>
                  <a:lnTo>
                    <a:pt x="27" y="423"/>
                  </a:lnTo>
                  <a:lnTo>
                    <a:pt x="25" y="422"/>
                  </a:lnTo>
                  <a:lnTo>
                    <a:pt x="21" y="421"/>
                  </a:lnTo>
                  <a:lnTo>
                    <a:pt x="18" y="420"/>
                  </a:lnTo>
                  <a:lnTo>
                    <a:pt x="15" y="419"/>
                  </a:lnTo>
                  <a:lnTo>
                    <a:pt x="15" y="419"/>
                  </a:lnTo>
                  <a:lnTo>
                    <a:pt x="14" y="419"/>
                  </a:lnTo>
                  <a:lnTo>
                    <a:pt x="14" y="418"/>
                  </a:lnTo>
                  <a:lnTo>
                    <a:pt x="13" y="418"/>
                  </a:lnTo>
                  <a:lnTo>
                    <a:pt x="13" y="418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3" y="416"/>
                  </a:lnTo>
                  <a:lnTo>
                    <a:pt x="13" y="415"/>
                  </a:lnTo>
                  <a:lnTo>
                    <a:pt x="13" y="413"/>
                  </a:lnTo>
                  <a:lnTo>
                    <a:pt x="13" y="412"/>
                  </a:lnTo>
                  <a:lnTo>
                    <a:pt x="13" y="411"/>
                  </a:lnTo>
                  <a:lnTo>
                    <a:pt x="12" y="408"/>
                  </a:lnTo>
                  <a:lnTo>
                    <a:pt x="12" y="407"/>
                  </a:lnTo>
                  <a:lnTo>
                    <a:pt x="12" y="406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4" y="403"/>
                  </a:lnTo>
                  <a:lnTo>
                    <a:pt x="14" y="402"/>
                  </a:lnTo>
                  <a:lnTo>
                    <a:pt x="15" y="402"/>
                  </a:lnTo>
                  <a:lnTo>
                    <a:pt x="15" y="402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3" y="404"/>
                  </a:lnTo>
                  <a:lnTo>
                    <a:pt x="24" y="404"/>
                  </a:lnTo>
                  <a:lnTo>
                    <a:pt x="25" y="404"/>
                  </a:lnTo>
                  <a:lnTo>
                    <a:pt x="25" y="404"/>
                  </a:lnTo>
                  <a:lnTo>
                    <a:pt x="25" y="403"/>
                  </a:lnTo>
                  <a:lnTo>
                    <a:pt x="26" y="403"/>
                  </a:lnTo>
                  <a:lnTo>
                    <a:pt x="26" y="403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8" y="397"/>
                  </a:lnTo>
                  <a:lnTo>
                    <a:pt x="29" y="396"/>
                  </a:lnTo>
                  <a:lnTo>
                    <a:pt x="29" y="395"/>
                  </a:lnTo>
                  <a:lnTo>
                    <a:pt x="29" y="394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0" y="389"/>
                  </a:lnTo>
                  <a:lnTo>
                    <a:pt x="31" y="386"/>
                  </a:lnTo>
                  <a:lnTo>
                    <a:pt x="32" y="384"/>
                  </a:lnTo>
                  <a:lnTo>
                    <a:pt x="32" y="382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80"/>
                  </a:lnTo>
                  <a:lnTo>
                    <a:pt x="31" y="377"/>
                  </a:lnTo>
                  <a:lnTo>
                    <a:pt x="30" y="375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3"/>
                  </a:lnTo>
                  <a:lnTo>
                    <a:pt x="30" y="371"/>
                  </a:lnTo>
                  <a:lnTo>
                    <a:pt x="30" y="370"/>
                  </a:lnTo>
                  <a:lnTo>
                    <a:pt x="30" y="369"/>
                  </a:lnTo>
                  <a:lnTo>
                    <a:pt x="31" y="368"/>
                  </a:lnTo>
                  <a:lnTo>
                    <a:pt x="31" y="367"/>
                  </a:lnTo>
                  <a:lnTo>
                    <a:pt x="32" y="366"/>
                  </a:lnTo>
                  <a:lnTo>
                    <a:pt x="33" y="365"/>
                  </a:lnTo>
                  <a:lnTo>
                    <a:pt x="33" y="364"/>
                  </a:lnTo>
                  <a:lnTo>
                    <a:pt x="36" y="361"/>
                  </a:lnTo>
                  <a:lnTo>
                    <a:pt x="38" y="358"/>
                  </a:lnTo>
                  <a:lnTo>
                    <a:pt x="39" y="357"/>
                  </a:lnTo>
                  <a:lnTo>
                    <a:pt x="39" y="356"/>
                  </a:lnTo>
                  <a:lnTo>
                    <a:pt x="39" y="356"/>
                  </a:lnTo>
                  <a:lnTo>
                    <a:pt x="40" y="355"/>
                  </a:lnTo>
                  <a:lnTo>
                    <a:pt x="40" y="353"/>
                  </a:lnTo>
                  <a:lnTo>
                    <a:pt x="41" y="352"/>
                  </a:lnTo>
                  <a:lnTo>
                    <a:pt x="41" y="350"/>
                  </a:lnTo>
                  <a:lnTo>
                    <a:pt x="41" y="348"/>
                  </a:lnTo>
                  <a:lnTo>
                    <a:pt x="41" y="347"/>
                  </a:lnTo>
                  <a:lnTo>
                    <a:pt x="41" y="346"/>
                  </a:lnTo>
                  <a:lnTo>
                    <a:pt x="40" y="342"/>
                  </a:lnTo>
                  <a:lnTo>
                    <a:pt x="40" y="341"/>
                  </a:lnTo>
                  <a:lnTo>
                    <a:pt x="40" y="340"/>
                  </a:lnTo>
                  <a:lnTo>
                    <a:pt x="40" y="339"/>
                  </a:lnTo>
                  <a:lnTo>
                    <a:pt x="39" y="338"/>
                  </a:lnTo>
                  <a:lnTo>
                    <a:pt x="39" y="338"/>
                  </a:lnTo>
                  <a:lnTo>
                    <a:pt x="38" y="337"/>
                  </a:lnTo>
                  <a:lnTo>
                    <a:pt x="38" y="336"/>
                  </a:lnTo>
                  <a:lnTo>
                    <a:pt x="37" y="336"/>
                  </a:lnTo>
                  <a:lnTo>
                    <a:pt x="36" y="335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4" y="334"/>
                  </a:lnTo>
                  <a:lnTo>
                    <a:pt x="31" y="334"/>
                  </a:lnTo>
                  <a:lnTo>
                    <a:pt x="30" y="333"/>
                  </a:lnTo>
                  <a:lnTo>
                    <a:pt x="29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7" y="333"/>
                  </a:lnTo>
                  <a:lnTo>
                    <a:pt x="27" y="333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1"/>
                  </a:lnTo>
                  <a:lnTo>
                    <a:pt x="27" y="330"/>
                  </a:lnTo>
                  <a:lnTo>
                    <a:pt x="28" y="328"/>
                  </a:lnTo>
                  <a:lnTo>
                    <a:pt x="28" y="327"/>
                  </a:lnTo>
                  <a:lnTo>
                    <a:pt x="28" y="326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8" y="324"/>
                  </a:lnTo>
                  <a:lnTo>
                    <a:pt x="27" y="321"/>
                  </a:lnTo>
                  <a:lnTo>
                    <a:pt x="26" y="321"/>
                  </a:lnTo>
                  <a:lnTo>
                    <a:pt x="26" y="320"/>
                  </a:lnTo>
                  <a:lnTo>
                    <a:pt x="26" y="317"/>
                  </a:lnTo>
                  <a:lnTo>
                    <a:pt x="26" y="316"/>
                  </a:lnTo>
                  <a:lnTo>
                    <a:pt x="25" y="315"/>
                  </a:lnTo>
                  <a:lnTo>
                    <a:pt x="25" y="314"/>
                  </a:lnTo>
                  <a:lnTo>
                    <a:pt x="24" y="314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7" y="305"/>
                  </a:lnTo>
                  <a:lnTo>
                    <a:pt x="16" y="304"/>
                  </a:lnTo>
                  <a:lnTo>
                    <a:pt x="15" y="302"/>
                  </a:lnTo>
                  <a:lnTo>
                    <a:pt x="15" y="300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12" y="294"/>
                  </a:lnTo>
                  <a:lnTo>
                    <a:pt x="12" y="293"/>
                  </a:lnTo>
                  <a:lnTo>
                    <a:pt x="12" y="292"/>
                  </a:lnTo>
                  <a:lnTo>
                    <a:pt x="11" y="291"/>
                  </a:lnTo>
                  <a:lnTo>
                    <a:pt x="9" y="288"/>
                  </a:lnTo>
                  <a:lnTo>
                    <a:pt x="8" y="287"/>
                  </a:lnTo>
                  <a:lnTo>
                    <a:pt x="8" y="286"/>
                  </a:lnTo>
                  <a:lnTo>
                    <a:pt x="8" y="285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6"/>
                  </a:lnTo>
                  <a:lnTo>
                    <a:pt x="9" y="275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2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8"/>
                  </a:lnTo>
                  <a:lnTo>
                    <a:pt x="13" y="267"/>
                  </a:lnTo>
                  <a:lnTo>
                    <a:pt x="13" y="266"/>
                  </a:lnTo>
                  <a:lnTo>
                    <a:pt x="13" y="266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2" y="260"/>
                  </a:lnTo>
                  <a:lnTo>
                    <a:pt x="12" y="258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7"/>
                  </a:lnTo>
                  <a:lnTo>
                    <a:pt x="10" y="246"/>
                  </a:lnTo>
                  <a:lnTo>
                    <a:pt x="9" y="241"/>
                  </a:lnTo>
                  <a:lnTo>
                    <a:pt x="7" y="236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5" y="230"/>
                  </a:lnTo>
                  <a:lnTo>
                    <a:pt x="4" y="225"/>
                  </a:lnTo>
                  <a:lnTo>
                    <a:pt x="4" y="223"/>
                  </a:lnTo>
                  <a:lnTo>
                    <a:pt x="3" y="220"/>
                  </a:lnTo>
                  <a:lnTo>
                    <a:pt x="1" y="216"/>
                  </a:lnTo>
                  <a:lnTo>
                    <a:pt x="1" y="215"/>
                  </a:lnTo>
                  <a:lnTo>
                    <a:pt x="1" y="214"/>
                  </a:lnTo>
                  <a:lnTo>
                    <a:pt x="0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1" y="210"/>
                  </a:lnTo>
                  <a:lnTo>
                    <a:pt x="1" y="210"/>
                  </a:lnTo>
                  <a:lnTo>
                    <a:pt x="2" y="210"/>
                  </a:lnTo>
                  <a:lnTo>
                    <a:pt x="2" y="210"/>
                  </a:lnTo>
                  <a:lnTo>
                    <a:pt x="3" y="209"/>
                  </a:lnTo>
                  <a:lnTo>
                    <a:pt x="4" y="209"/>
                  </a:lnTo>
                  <a:lnTo>
                    <a:pt x="5" y="209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0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3" y="205"/>
                  </a:lnTo>
                  <a:lnTo>
                    <a:pt x="14" y="204"/>
                  </a:lnTo>
                  <a:lnTo>
                    <a:pt x="15" y="203"/>
                  </a:lnTo>
                  <a:lnTo>
                    <a:pt x="15" y="202"/>
                  </a:lnTo>
                  <a:lnTo>
                    <a:pt x="18" y="199"/>
                  </a:lnTo>
                  <a:lnTo>
                    <a:pt x="19" y="198"/>
                  </a:lnTo>
                  <a:lnTo>
                    <a:pt x="22" y="196"/>
                  </a:lnTo>
                  <a:lnTo>
                    <a:pt x="23" y="194"/>
                  </a:lnTo>
                  <a:lnTo>
                    <a:pt x="24" y="194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2"/>
                  </a:lnTo>
                  <a:lnTo>
                    <a:pt x="26" y="191"/>
                  </a:lnTo>
                  <a:lnTo>
                    <a:pt x="26" y="190"/>
                  </a:lnTo>
                  <a:lnTo>
                    <a:pt x="27" y="189"/>
                  </a:lnTo>
                  <a:lnTo>
                    <a:pt x="27" y="188"/>
                  </a:lnTo>
                  <a:lnTo>
                    <a:pt x="27" y="187"/>
                  </a:lnTo>
                  <a:lnTo>
                    <a:pt x="27" y="185"/>
                  </a:lnTo>
                  <a:lnTo>
                    <a:pt x="26" y="182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0"/>
                  </a:lnTo>
                  <a:lnTo>
                    <a:pt x="27" y="169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6"/>
                  </a:lnTo>
                  <a:lnTo>
                    <a:pt x="27" y="162"/>
                  </a:lnTo>
                  <a:lnTo>
                    <a:pt x="27" y="161"/>
                  </a:lnTo>
                  <a:lnTo>
                    <a:pt x="27" y="160"/>
                  </a:lnTo>
                  <a:lnTo>
                    <a:pt x="27" y="159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30" y="150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4" y="143"/>
                  </a:lnTo>
                  <a:lnTo>
                    <a:pt x="36" y="135"/>
                  </a:lnTo>
                  <a:lnTo>
                    <a:pt x="38" y="132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40" y="125"/>
                  </a:lnTo>
                  <a:lnTo>
                    <a:pt x="40" y="123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4" y="114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9" y="108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5" y="105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3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1"/>
                  </a:lnTo>
                  <a:lnTo>
                    <a:pt x="69" y="100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6" y="99"/>
                  </a:lnTo>
                  <a:lnTo>
                    <a:pt x="79" y="102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1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3"/>
                  </a:lnTo>
                  <a:lnTo>
                    <a:pt x="85" y="103"/>
                  </a:lnTo>
                  <a:lnTo>
                    <a:pt x="85" y="102"/>
                  </a:lnTo>
                  <a:lnTo>
                    <a:pt x="86" y="102"/>
                  </a:lnTo>
                  <a:lnTo>
                    <a:pt x="86" y="101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6" y="97"/>
                  </a:lnTo>
                  <a:lnTo>
                    <a:pt x="85" y="94"/>
                  </a:lnTo>
                  <a:lnTo>
                    <a:pt x="85" y="92"/>
                  </a:lnTo>
                  <a:lnTo>
                    <a:pt x="84" y="91"/>
                  </a:lnTo>
                  <a:lnTo>
                    <a:pt x="84" y="89"/>
                  </a:lnTo>
                  <a:lnTo>
                    <a:pt x="84" y="88"/>
                  </a:lnTo>
                  <a:lnTo>
                    <a:pt x="84" y="87"/>
                  </a:lnTo>
                  <a:lnTo>
                    <a:pt x="85" y="83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5" y="78"/>
                  </a:lnTo>
                  <a:lnTo>
                    <a:pt x="84" y="77"/>
                  </a:lnTo>
                  <a:lnTo>
                    <a:pt x="84" y="75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79" y="68"/>
                  </a:lnTo>
                  <a:lnTo>
                    <a:pt x="78" y="67"/>
                  </a:lnTo>
                  <a:lnTo>
                    <a:pt x="77" y="66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68" y="62"/>
                  </a:lnTo>
                  <a:lnTo>
                    <a:pt x="67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1" y="54"/>
                  </a:lnTo>
                  <a:lnTo>
                    <a:pt x="59" y="49"/>
                  </a:lnTo>
                  <a:lnTo>
                    <a:pt x="57" y="44"/>
                  </a:lnTo>
                  <a:lnTo>
                    <a:pt x="56" y="42"/>
                  </a:lnTo>
                  <a:lnTo>
                    <a:pt x="55" y="40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3" y="32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8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4" y="6"/>
                  </a:lnTo>
                  <a:lnTo>
                    <a:pt x="45" y="5"/>
                  </a:lnTo>
                  <a:lnTo>
                    <a:pt x="46" y="4"/>
                  </a:lnTo>
                  <a:lnTo>
                    <a:pt x="47" y="3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9" y="5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0" y="12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6" y="14"/>
                  </a:lnTo>
                  <a:lnTo>
                    <a:pt x="92" y="16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8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3" y="22"/>
                  </a:lnTo>
                  <a:lnTo>
                    <a:pt x="113" y="23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5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8" y="31"/>
                  </a:lnTo>
                  <a:lnTo>
                    <a:pt x="140" y="35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3" y="40"/>
                  </a:lnTo>
                  <a:lnTo>
                    <a:pt x="144" y="41"/>
                  </a:lnTo>
                  <a:lnTo>
                    <a:pt x="145" y="43"/>
                  </a:lnTo>
                  <a:lnTo>
                    <a:pt x="146" y="44"/>
                  </a:lnTo>
                  <a:lnTo>
                    <a:pt x="147" y="45"/>
                  </a:lnTo>
                  <a:lnTo>
                    <a:pt x="148" y="46"/>
                  </a:lnTo>
                  <a:lnTo>
                    <a:pt x="149" y="47"/>
                  </a:lnTo>
                  <a:lnTo>
                    <a:pt x="151" y="49"/>
                  </a:lnTo>
                  <a:lnTo>
                    <a:pt x="153" y="50"/>
                  </a:lnTo>
                  <a:lnTo>
                    <a:pt x="154" y="51"/>
                  </a:lnTo>
                  <a:lnTo>
                    <a:pt x="155" y="52"/>
                  </a:lnTo>
                  <a:lnTo>
                    <a:pt x="156" y="52"/>
                  </a:lnTo>
                  <a:lnTo>
                    <a:pt x="158" y="53"/>
                  </a:lnTo>
                  <a:lnTo>
                    <a:pt x="160" y="54"/>
                  </a:lnTo>
                  <a:lnTo>
                    <a:pt x="161" y="54"/>
                  </a:lnTo>
                  <a:lnTo>
                    <a:pt x="162" y="55"/>
                  </a:lnTo>
                  <a:lnTo>
                    <a:pt x="163" y="55"/>
                  </a:lnTo>
                  <a:lnTo>
                    <a:pt x="164" y="55"/>
                  </a:lnTo>
                  <a:lnTo>
                    <a:pt x="165" y="55"/>
                  </a:lnTo>
                  <a:lnTo>
                    <a:pt x="166" y="56"/>
                  </a:lnTo>
                  <a:lnTo>
                    <a:pt x="167" y="56"/>
                  </a:lnTo>
                  <a:lnTo>
                    <a:pt x="169" y="56"/>
                  </a:lnTo>
                  <a:close/>
                </a:path>
              </a:pathLst>
            </a:custGeom>
            <a:solidFill>
              <a:srgbClr val="FFCC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" name="Freeform 70">
              <a:extLst>
                <a:ext uri="{FF2B5EF4-FFF2-40B4-BE49-F238E27FC236}">
                  <a16:creationId xmlns:a16="http://schemas.microsoft.com/office/drawing/2014/main" id="{24B96DA3-7900-963F-3B4E-AD97F96C99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5" y="3194"/>
              <a:ext cx="334" cy="487"/>
            </a:xfrm>
            <a:custGeom>
              <a:avLst/>
              <a:gdLst>
                <a:gd name="T0" fmla="*/ 152 w 334"/>
                <a:gd name="T1" fmla="*/ 7 h 487"/>
                <a:gd name="T2" fmla="*/ 155 w 334"/>
                <a:gd name="T3" fmla="*/ 25 h 487"/>
                <a:gd name="T4" fmla="*/ 171 w 334"/>
                <a:gd name="T5" fmla="*/ 23 h 487"/>
                <a:gd name="T6" fmla="*/ 175 w 334"/>
                <a:gd name="T7" fmla="*/ 47 h 487"/>
                <a:gd name="T8" fmla="*/ 162 w 334"/>
                <a:gd name="T9" fmla="*/ 51 h 487"/>
                <a:gd name="T10" fmla="*/ 140 w 334"/>
                <a:gd name="T11" fmla="*/ 69 h 487"/>
                <a:gd name="T12" fmla="*/ 123 w 334"/>
                <a:gd name="T13" fmla="*/ 96 h 487"/>
                <a:gd name="T14" fmla="*/ 118 w 334"/>
                <a:gd name="T15" fmla="*/ 127 h 487"/>
                <a:gd name="T16" fmla="*/ 102 w 334"/>
                <a:gd name="T17" fmla="*/ 158 h 487"/>
                <a:gd name="T18" fmla="*/ 112 w 334"/>
                <a:gd name="T19" fmla="*/ 174 h 487"/>
                <a:gd name="T20" fmla="*/ 104 w 334"/>
                <a:gd name="T21" fmla="*/ 193 h 487"/>
                <a:gd name="T22" fmla="*/ 102 w 334"/>
                <a:gd name="T23" fmla="*/ 212 h 487"/>
                <a:gd name="T24" fmla="*/ 119 w 334"/>
                <a:gd name="T25" fmla="*/ 219 h 487"/>
                <a:gd name="T26" fmla="*/ 120 w 334"/>
                <a:gd name="T27" fmla="*/ 232 h 487"/>
                <a:gd name="T28" fmla="*/ 138 w 334"/>
                <a:gd name="T29" fmla="*/ 226 h 487"/>
                <a:gd name="T30" fmla="*/ 161 w 334"/>
                <a:gd name="T31" fmla="*/ 215 h 487"/>
                <a:gd name="T32" fmla="*/ 164 w 334"/>
                <a:gd name="T33" fmla="*/ 234 h 487"/>
                <a:gd name="T34" fmla="*/ 173 w 334"/>
                <a:gd name="T35" fmla="*/ 239 h 487"/>
                <a:gd name="T36" fmla="*/ 184 w 334"/>
                <a:gd name="T37" fmla="*/ 228 h 487"/>
                <a:gd name="T38" fmla="*/ 192 w 334"/>
                <a:gd name="T39" fmla="*/ 222 h 487"/>
                <a:gd name="T40" fmla="*/ 195 w 334"/>
                <a:gd name="T41" fmla="*/ 210 h 487"/>
                <a:gd name="T42" fmla="*/ 204 w 334"/>
                <a:gd name="T43" fmla="*/ 234 h 487"/>
                <a:gd name="T44" fmla="*/ 214 w 334"/>
                <a:gd name="T45" fmla="*/ 252 h 487"/>
                <a:gd name="T46" fmla="*/ 238 w 334"/>
                <a:gd name="T47" fmla="*/ 263 h 487"/>
                <a:gd name="T48" fmla="*/ 260 w 334"/>
                <a:gd name="T49" fmla="*/ 258 h 487"/>
                <a:gd name="T50" fmla="*/ 262 w 334"/>
                <a:gd name="T51" fmla="*/ 280 h 487"/>
                <a:gd name="T52" fmla="*/ 269 w 334"/>
                <a:gd name="T53" fmla="*/ 298 h 487"/>
                <a:gd name="T54" fmla="*/ 280 w 334"/>
                <a:gd name="T55" fmla="*/ 298 h 487"/>
                <a:gd name="T56" fmla="*/ 302 w 334"/>
                <a:gd name="T57" fmla="*/ 320 h 487"/>
                <a:gd name="T58" fmla="*/ 315 w 334"/>
                <a:gd name="T59" fmla="*/ 345 h 487"/>
                <a:gd name="T60" fmla="*/ 323 w 334"/>
                <a:gd name="T61" fmla="*/ 347 h 487"/>
                <a:gd name="T62" fmla="*/ 334 w 334"/>
                <a:gd name="T63" fmla="*/ 358 h 487"/>
                <a:gd name="T64" fmla="*/ 325 w 334"/>
                <a:gd name="T65" fmla="*/ 369 h 487"/>
                <a:gd name="T66" fmla="*/ 309 w 334"/>
                <a:gd name="T67" fmla="*/ 373 h 487"/>
                <a:gd name="T68" fmla="*/ 298 w 334"/>
                <a:gd name="T69" fmla="*/ 392 h 487"/>
                <a:gd name="T70" fmla="*/ 280 w 334"/>
                <a:gd name="T71" fmla="*/ 406 h 487"/>
                <a:gd name="T72" fmla="*/ 264 w 334"/>
                <a:gd name="T73" fmla="*/ 398 h 487"/>
                <a:gd name="T74" fmla="*/ 253 w 334"/>
                <a:gd name="T75" fmla="*/ 402 h 487"/>
                <a:gd name="T76" fmla="*/ 254 w 334"/>
                <a:gd name="T77" fmla="*/ 415 h 487"/>
                <a:gd name="T78" fmla="*/ 244 w 334"/>
                <a:gd name="T79" fmla="*/ 425 h 487"/>
                <a:gd name="T80" fmla="*/ 224 w 334"/>
                <a:gd name="T81" fmla="*/ 424 h 487"/>
                <a:gd name="T82" fmla="*/ 212 w 334"/>
                <a:gd name="T83" fmla="*/ 436 h 487"/>
                <a:gd name="T84" fmla="*/ 196 w 334"/>
                <a:gd name="T85" fmla="*/ 438 h 487"/>
                <a:gd name="T86" fmla="*/ 175 w 334"/>
                <a:gd name="T87" fmla="*/ 433 h 487"/>
                <a:gd name="T88" fmla="*/ 168 w 334"/>
                <a:gd name="T89" fmla="*/ 424 h 487"/>
                <a:gd name="T90" fmla="*/ 165 w 334"/>
                <a:gd name="T91" fmla="*/ 445 h 487"/>
                <a:gd name="T92" fmla="*/ 157 w 334"/>
                <a:gd name="T93" fmla="*/ 462 h 487"/>
                <a:gd name="T94" fmla="*/ 134 w 334"/>
                <a:gd name="T95" fmla="*/ 476 h 487"/>
                <a:gd name="T96" fmla="*/ 113 w 334"/>
                <a:gd name="T97" fmla="*/ 487 h 487"/>
                <a:gd name="T98" fmla="*/ 102 w 334"/>
                <a:gd name="T99" fmla="*/ 465 h 487"/>
                <a:gd name="T100" fmla="*/ 76 w 334"/>
                <a:gd name="T101" fmla="*/ 451 h 487"/>
                <a:gd name="T102" fmla="*/ 76 w 334"/>
                <a:gd name="T103" fmla="*/ 431 h 487"/>
                <a:gd name="T104" fmla="*/ 70 w 334"/>
                <a:gd name="T105" fmla="*/ 433 h 487"/>
                <a:gd name="T106" fmla="*/ 58 w 334"/>
                <a:gd name="T107" fmla="*/ 418 h 487"/>
                <a:gd name="T108" fmla="*/ 47 w 334"/>
                <a:gd name="T109" fmla="*/ 396 h 487"/>
                <a:gd name="T110" fmla="*/ 28 w 334"/>
                <a:gd name="T111" fmla="*/ 387 h 487"/>
                <a:gd name="T112" fmla="*/ 21 w 334"/>
                <a:gd name="T113" fmla="*/ 399 h 487"/>
                <a:gd name="T114" fmla="*/ 32 w 334"/>
                <a:gd name="T115" fmla="*/ 417 h 487"/>
                <a:gd name="T116" fmla="*/ 18 w 334"/>
                <a:gd name="T117" fmla="*/ 437 h 487"/>
                <a:gd name="T118" fmla="*/ 0 w 334"/>
                <a:gd name="T119" fmla="*/ 424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4" h="487">
                  <a:moveTo>
                    <a:pt x="138" y="2"/>
                  </a:moveTo>
                  <a:lnTo>
                    <a:pt x="139" y="1"/>
                  </a:lnTo>
                  <a:lnTo>
                    <a:pt x="140" y="1"/>
                  </a:lnTo>
                  <a:lnTo>
                    <a:pt x="141" y="1"/>
                  </a:lnTo>
                  <a:lnTo>
                    <a:pt x="145" y="0"/>
                  </a:lnTo>
                  <a:lnTo>
                    <a:pt x="146" y="0"/>
                  </a:lnTo>
                  <a:lnTo>
                    <a:pt x="147" y="0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9" y="1"/>
                  </a:lnTo>
                  <a:lnTo>
                    <a:pt x="150" y="1"/>
                  </a:lnTo>
                  <a:lnTo>
                    <a:pt x="150" y="2"/>
                  </a:lnTo>
                  <a:lnTo>
                    <a:pt x="151" y="4"/>
                  </a:lnTo>
                  <a:lnTo>
                    <a:pt x="152" y="7"/>
                  </a:lnTo>
                  <a:lnTo>
                    <a:pt x="152" y="8"/>
                  </a:lnTo>
                  <a:lnTo>
                    <a:pt x="152" y="8"/>
                  </a:lnTo>
                  <a:lnTo>
                    <a:pt x="152" y="9"/>
                  </a:lnTo>
                  <a:lnTo>
                    <a:pt x="152" y="10"/>
                  </a:lnTo>
                  <a:lnTo>
                    <a:pt x="151" y="18"/>
                  </a:lnTo>
                  <a:lnTo>
                    <a:pt x="151" y="19"/>
                  </a:lnTo>
                  <a:lnTo>
                    <a:pt x="152" y="20"/>
                  </a:lnTo>
                  <a:lnTo>
                    <a:pt x="152" y="22"/>
                  </a:lnTo>
                  <a:lnTo>
                    <a:pt x="152" y="23"/>
                  </a:lnTo>
                  <a:lnTo>
                    <a:pt x="153" y="23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5"/>
                  </a:lnTo>
                  <a:lnTo>
                    <a:pt x="155" y="25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8" y="23"/>
                  </a:lnTo>
                  <a:lnTo>
                    <a:pt x="159" y="22"/>
                  </a:lnTo>
                  <a:lnTo>
                    <a:pt x="159" y="22"/>
                  </a:lnTo>
                  <a:lnTo>
                    <a:pt x="160" y="21"/>
                  </a:lnTo>
                  <a:lnTo>
                    <a:pt x="161" y="21"/>
                  </a:lnTo>
                  <a:lnTo>
                    <a:pt x="161" y="21"/>
                  </a:lnTo>
                  <a:lnTo>
                    <a:pt x="163" y="21"/>
                  </a:lnTo>
                  <a:lnTo>
                    <a:pt x="163" y="20"/>
                  </a:lnTo>
                  <a:lnTo>
                    <a:pt x="164" y="20"/>
                  </a:lnTo>
                  <a:lnTo>
                    <a:pt x="166" y="21"/>
                  </a:lnTo>
                  <a:lnTo>
                    <a:pt x="167" y="21"/>
                  </a:lnTo>
                  <a:lnTo>
                    <a:pt x="168" y="21"/>
                  </a:lnTo>
                  <a:lnTo>
                    <a:pt x="169" y="22"/>
                  </a:lnTo>
                  <a:lnTo>
                    <a:pt x="170" y="22"/>
                  </a:lnTo>
                  <a:lnTo>
                    <a:pt x="171" y="23"/>
                  </a:lnTo>
                  <a:lnTo>
                    <a:pt x="172" y="23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4" y="25"/>
                  </a:lnTo>
                  <a:lnTo>
                    <a:pt x="175" y="26"/>
                  </a:lnTo>
                  <a:lnTo>
                    <a:pt x="175" y="27"/>
                  </a:lnTo>
                  <a:lnTo>
                    <a:pt x="176" y="28"/>
                  </a:lnTo>
                  <a:lnTo>
                    <a:pt x="176" y="28"/>
                  </a:lnTo>
                  <a:lnTo>
                    <a:pt x="177" y="29"/>
                  </a:lnTo>
                  <a:lnTo>
                    <a:pt x="177" y="30"/>
                  </a:lnTo>
                  <a:lnTo>
                    <a:pt x="177" y="31"/>
                  </a:lnTo>
                  <a:lnTo>
                    <a:pt x="177" y="31"/>
                  </a:lnTo>
                  <a:lnTo>
                    <a:pt x="177" y="40"/>
                  </a:lnTo>
                  <a:lnTo>
                    <a:pt x="176" y="43"/>
                  </a:lnTo>
                  <a:lnTo>
                    <a:pt x="176" y="44"/>
                  </a:lnTo>
                  <a:lnTo>
                    <a:pt x="176" y="46"/>
                  </a:lnTo>
                  <a:lnTo>
                    <a:pt x="175" y="47"/>
                  </a:lnTo>
                  <a:lnTo>
                    <a:pt x="175" y="48"/>
                  </a:lnTo>
                  <a:lnTo>
                    <a:pt x="175" y="49"/>
                  </a:lnTo>
                  <a:lnTo>
                    <a:pt x="174" y="50"/>
                  </a:lnTo>
                  <a:lnTo>
                    <a:pt x="174" y="50"/>
                  </a:lnTo>
                  <a:lnTo>
                    <a:pt x="173" y="50"/>
                  </a:lnTo>
                  <a:lnTo>
                    <a:pt x="173" y="51"/>
                  </a:lnTo>
                  <a:lnTo>
                    <a:pt x="172" y="51"/>
                  </a:lnTo>
                  <a:lnTo>
                    <a:pt x="171" y="51"/>
                  </a:lnTo>
                  <a:lnTo>
                    <a:pt x="170" y="51"/>
                  </a:lnTo>
                  <a:lnTo>
                    <a:pt x="170" y="51"/>
                  </a:lnTo>
                  <a:lnTo>
                    <a:pt x="168" y="51"/>
                  </a:lnTo>
                  <a:lnTo>
                    <a:pt x="167" y="51"/>
                  </a:lnTo>
                  <a:lnTo>
                    <a:pt x="166" y="50"/>
                  </a:lnTo>
                  <a:lnTo>
                    <a:pt x="164" y="50"/>
                  </a:lnTo>
                  <a:lnTo>
                    <a:pt x="163" y="50"/>
                  </a:lnTo>
                  <a:lnTo>
                    <a:pt x="163" y="50"/>
                  </a:lnTo>
                  <a:lnTo>
                    <a:pt x="162" y="51"/>
                  </a:lnTo>
                  <a:lnTo>
                    <a:pt x="162" y="51"/>
                  </a:lnTo>
                  <a:lnTo>
                    <a:pt x="160" y="52"/>
                  </a:lnTo>
                  <a:lnTo>
                    <a:pt x="159" y="53"/>
                  </a:lnTo>
                  <a:lnTo>
                    <a:pt x="158" y="55"/>
                  </a:lnTo>
                  <a:lnTo>
                    <a:pt x="154" y="59"/>
                  </a:lnTo>
                  <a:lnTo>
                    <a:pt x="153" y="60"/>
                  </a:lnTo>
                  <a:lnTo>
                    <a:pt x="152" y="61"/>
                  </a:lnTo>
                  <a:lnTo>
                    <a:pt x="151" y="61"/>
                  </a:lnTo>
                  <a:lnTo>
                    <a:pt x="150" y="62"/>
                  </a:lnTo>
                  <a:lnTo>
                    <a:pt x="149" y="62"/>
                  </a:lnTo>
                  <a:lnTo>
                    <a:pt x="147" y="63"/>
                  </a:lnTo>
                  <a:lnTo>
                    <a:pt x="146" y="64"/>
                  </a:lnTo>
                  <a:lnTo>
                    <a:pt x="145" y="64"/>
                  </a:lnTo>
                  <a:lnTo>
                    <a:pt x="144" y="65"/>
                  </a:lnTo>
                  <a:lnTo>
                    <a:pt x="143" y="66"/>
                  </a:lnTo>
                  <a:lnTo>
                    <a:pt x="142" y="66"/>
                  </a:lnTo>
                  <a:lnTo>
                    <a:pt x="140" y="69"/>
                  </a:lnTo>
                  <a:lnTo>
                    <a:pt x="139" y="69"/>
                  </a:lnTo>
                  <a:lnTo>
                    <a:pt x="138" y="70"/>
                  </a:lnTo>
                  <a:lnTo>
                    <a:pt x="136" y="72"/>
                  </a:lnTo>
                  <a:lnTo>
                    <a:pt x="135" y="72"/>
                  </a:lnTo>
                  <a:lnTo>
                    <a:pt x="134" y="74"/>
                  </a:lnTo>
                  <a:lnTo>
                    <a:pt x="132" y="76"/>
                  </a:lnTo>
                  <a:lnTo>
                    <a:pt x="127" y="82"/>
                  </a:lnTo>
                  <a:lnTo>
                    <a:pt x="125" y="84"/>
                  </a:lnTo>
                  <a:lnTo>
                    <a:pt x="125" y="85"/>
                  </a:lnTo>
                  <a:lnTo>
                    <a:pt x="124" y="86"/>
                  </a:lnTo>
                  <a:lnTo>
                    <a:pt x="124" y="87"/>
                  </a:lnTo>
                  <a:lnTo>
                    <a:pt x="124" y="88"/>
                  </a:lnTo>
                  <a:lnTo>
                    <a:pt x="124" y="91"/>
                  </a:lnTo>
                  <a:lnTo>
                    <a:pt x="123" y="93"/>
                  </a:lnTo>
                  <a:lnTo>
                    <a:pt x="123" y="94"/>
                  </a:lnTo>
                  <a:lnTo>
                    <a:pt x="123" y="95"/>
                  </a:lnTo>
                  <a:lnTo>
                    <a:pt x="123" y="96"/>
                  </a:lnTo>
                  <a:lnTo>
                    <a:pt x="122" y="97"/>
                  </a:lnTo>
                  <a:lnTo>
                    <a:pt x="121" y="101"/>
                  </a:lnTo>
                  <a:lnTo>
                    <a:pt x="120" y="102"/>
                  </a:lnTo>
                  <a:lnTo>
                    <a:pt x="120" y="103"/>
                  </a:lnTo>
                  <a:lnTo>
                    <a:pt x="119" y="104"/>
                  </a:lnTo>
                  <a:lnTo>
                    <a:pt x="119" y="106"/>
                  </a:lnTo>
                  <a:lnTo>
                    <a:pt x="119" y="107"/>
                  </a:lnTo>
                  <a:lnTo>
                    <a:pt x="120" y="112"/>
                  </a:lnTo>
                  <a:lnTo>
                    <a:pt x="120" y="116"/>
                  </a:lnTo>
                  <a:lnTo>
                    <a:pt x="120" y="118"/>
                  </a:lnTo>
                  <a:lnTo>
                    <a:pt x="120" y="120"/>
                  </a:lnTo>
                  <a:lnTo>
                    <a:pt x="120" y="121"/>
                  </a:lnTo>
                  <a:lnTo>
                    <a:pt x="119" y="122"/>
                  </a:lnTo>
                  <a:lnTo>
                    <a:pt x="119" y="124"/>
                  </a:lnTo>
                  <a:lnTo>
                    <a:pt x="119" y="125"/>
                  </a:lnTo>
                  <a:lnTo>
                    <a:pt x="118" y="126"/>
                  </a:lnTo>
                  <a:lnTo>
                    <a:pt x="118" y="127"/>
                  </a:lnTo>
                  <a:lnTo>
                    <a:pt x="117" y="128"/>
                  </a:lnTo>
                  <a:lnTo>
                    <a:pt x="116" y="130"/>
                  </a:lnTo>
                  <a:lnTo>
                    <a:pt x="115" y="130"/>
                  </a:lnTo>
                  <a:lnTo>
                    <a:pt x="110" y="137"/>
                  </a:lnTo>
                  <a:lnTo>
                    <a:pt x="109" y="138"/>
                  </a:lnTo>
                  <a:lnTo>
                    <a:pt x="108" y="140"/>
                  </a:lnTo>
                  <a:lnTo>
                    <a:pt x="107" y="141"/>
                  </a:lnTo>
                  <a:lnTo>
                    <a:pt x="106" y="143"/>
                  </a:lnTo>
                  <a:lnTo>
                    <a:pt x="105" y="145"/>
                  </a:lnTo>
                  <a:lnTo>
                    <a:pt x="104" y="146"/>
                  </a:lnTo>
                  <a:lnTo>
                    <a:pt x="104" y="147"/>
                  </a:lnTo>
                  <a:lnTo>
                    <a:pt x="104" y="148"/>
                  </a:lnTo>
                  <a:lnTo>
                    <a:pt x="104" y="149"/>
                  </a:lnTo>
                  <a:lnTo>
                    <a:pt x="103" y="150"/>
                  </a:lnTo>
                  <a:lnTo>
                    <a:pt x="103" y="154"/>
                  </a:lnTo>
                  <a:lnTo>
                    <a:pt x="102" y="158"/>
                  </a:lnTo>
                  <a:lnTo>
                    <a:pt x="102" y="158"/>
                  </a:lnTo>
                  <a:lnTo>
                    <a:pt x="102" y="159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5" y="164"/>
                  </a:lnTo>
                  <a:lnTo>
                    <a:pt x="109" y="168"/>
                  </a:lnTo>
                  <a:lnTo>
                    <a:pt x="110" y="169"/>
                  </a:lnTo>
                  <a:lnTo>
                    <a:pt x="110" y="170"/>
                  </a:lnTo>
                  <a:lnTo>
                    <a:pt x="111" y="170"/>
                  </a:lnTo>
                  <a:lnTo>
                    <a:pt x="111" y="171"/>
                  </a:lnTo>
                  <a:lnTo>
                    <a:pt x="111" y="172"/>
                  </a:lnTo>
                  <a:lnTo>
                    <a:pt x="112" y="172"/>
                  </a:lnTo>
                  <a:lnTo>
                    <a:pt x="112" y="173"/>
                  </a:lnTo>
                  <a:lnTo>
                    <a:pt x="112" y="174"/>
                  </a:lnTo>
                  <a:lnTo>
                    <a:pt x="112" y="174"/>
                  </a:lnTo>
                  <a:lnTo>
                    <a:pt x="112" y="175"/>
                  </a:lnTo>
                  <a:lnTo>
                    <a:pt x="112" y="176"/>
                  </a:lnTo>
                  <a:lnTo>
                    <a:pt x="112" y="177"/>
                  </a:lnTo>
                  <a:lnTo>
                    <a:pt x="111" y="178"/>
                  </a:lnTo>
                  <a:lnTo>
                    <a:pt x="110" y="179"/>
                  </a:lnTo>
                  <a:lnTo>
                    <a:pt x="110" y="180"/>
                  </a:lnTo>
                  <a:lnTo>
                    <a:pt x="109" y="181"/>
                  </a:lnTo>
                  <a:lnTo>
                    <a:pt x="107" y="184"/>
                  </a:lnTo>
                  <a:lnTo>
                    <a:pt x="106" y="186"/>
                  </a:lnTo>
                  <a:lnTo>
                    <a:pt x="105" y="188"/>
                  </a:lnTo>
                  <a:lnTo>
                    <a:pt x="104" y="188"/>
                  </a:lnTo>
                  <a:lnTo>
                    <a:pt x="104" y="189"/>
                  </a:lnTo>
                  <a:lnTo>
                    <a:pt x="104" y="189"/>
                  </a:lnTo>
                  <a:lnTo>
                    <a:pt x="104" y="190"/>
                  </a:lnTo>
                  <a:lnTo>
                    <a:pt x="104" y="191"/>
                  </a:lnTo>
                  <a:lnTo>
                    <a:pt x="104" y="193"/>
                  </a:lnTo>
                  <a:lnTo>
                    <a:pt x="104" y="194"/>
                  </a:lnTo>
                  <a:lnTo>
                    <a:pt x="104" y="195"/>
                  </a:lnTo>
                  <a:lnTo>
                    <a:pt x="103" y="196"/>
                  </a:lnTo>
                  <a:lnTo>
                    <a:pt x="103" y="197"/>
                  </a:lnTo>
                  <a:lnTo>
                    <a:pt x="102" y="199"/>
                  </a:lnTo>
                  <a:lnTo>
                    <a:pt x="101" y="202"/>
                  </a:lnTo>
                  <a:lnTo>
                    <a:pt x="100" y="203"/>
                  </a:lnTo>
                  <a:lnTo>
                    <a:pt x="100" y="204"/>
                  </a:lnTo>
                  <a:lnTo>
                    <a:pt x="100" y="205"/>
                  </a:lnTo>
                  <a:lnTo>
                    <a:pt x="100" y="206"/>
                  </a:lnTo>
                  <a:lnTo>
                    <a:pt x="100" y="207"/>
                  </a:lnTo>
                  <a:lnTo>
                    <a:pt x="100" y="207"/>
                  </a:lnTo>
                  <a:lnTo>
                    <a:pt x="100" y="208"/>
                  </a:lnTo>
                  <a:lnTo>
                    <a:pt x="100" y="208"/>
                  </a:lnTo>
                  <a:lnTo>
                    <a:pt x="100" y="209"/>
                  </a:lnTo>
                  <a:lnTo>
                    <a:pt x="101" y="211"/>
                  </a:lnTo>
                  <a:lnTo>
                    <a:pt x="102" y="212"/>
                  </a:lnTo>
                  <a:lnTo>
                    <a:pt x="103" y="213"/>
                  </a:lnTo>
                  <a:lnTo>
                    <a:pt x="103" y="213"/>
                  </a:lnTo>
                  <a:lnTo>
                    <a:pt x="105" y="215"/>
                  </a:lnTo>
                  <a:lnTo>
                    <a:pt x="106" y="218"/>
                  </a:lnTo>
                  <a:lnTo>
                    <a:pt x="107" y="218"/>
                  </a:lnTo>
                  <a:lnTo>
                    <a:pt x="108" y="219"/>
                  </a:lnTo>
                  <a:lnTo>
                    <a:pt x="109" y="220"/>
                  </a:lnTo>
                  <a:lnTo>
                    <a:pt x="109" y="220"/>
                  </a:lnTo>
                  <a:lnTo>
                    <a:pt x="110" y="220"/>
                  </a:lnTo>
                  <a:lnTo>
                    <a:pt x="110" y="221"/>
                  </a:lnTo>
                  <a:lnTo>
                    <a:pt x="111" y="221"/>
                  </a:lnTo>
                  <a:lnTo>
                    <a:pt x="112" y="221"/>
                  </a:lnTo>
                  <a:lnTo>
                    <a:pt x="113" y="220"/>
                  </a:lnTo>
                  <a:lnTo>
                    <a:pt x="115" y="220"/>
                  </a:lnTo>
                  <a:lnTo>
                    <a:pt x="116" y="220"/>
                  </a:lnTo>
                  <a:lnTo>
                    <a:pt x="117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20" y="219"/>
                  </a:lnTo>
                  <a:lnTo>
                    <a:pt x="120" y="220"/>
                  </a:lnTo>
                  <a:lnTo>
                    <a:pt x="120" y="220"/>
                  </a:lnTo>
                  <a:lnTo>
                    <a:pt x="120" y="221"/>
                  </a:lnTo>
                  <a:lnTo>
                    <a:pt x="120" y="222"/>
                  </a:lnTo>
                  <a:lnTo>
                    <a:pt x="120" y="224"/>
                  </a:lnTo>
                  <a:lnTo>
                    <a:pt x="119" y="227"/>
                  </a:lnTo>
                  <a:lnTo>
                    <a:pt x="119" y="228"/>
                  </a:lnTo>
                  <a:lnTo>
                    <a:pt x="119" y="229"/>
                  </a:lnTo>
                  <a:lnTo>
                    <a:pt x="119" y="230"/>
                  </a:lnTo>
                  <a:lnTo>
                    <a:pt x="120" y="231"/>
                  </a:lnTo>
                  <a:lnTo>
                    <a:pt x="120" y="231"/>
                  </a:lnTo>
                  <a:lnTo>
                    <a:pt x="120" y="232"/>
                  </a:lnTo>
                  <a:lnTo>
                    <a:pt x="120" y="232"/>
                  </a:lnTo>
                  <a:lnTo>
                    <a:pt x="121" y="232"/>
                  </a:lnTo>
                  <a:lnTo>
                    <a:pt x="121" y="233"/>
                  </a:lnTo>
                  <a:lnTo>
                    <a:pt x="122" y="233"/>
                  </a:lnTo>
                  <a:lnTo>
                    <a:pt x="122" y="233"/>
                  </a:lnTo>
                  <a:lnTo>
                    <a:pt x="123" y="233"/>
                  </a:lnTo>
                  <a:lnTo>
                    <a:pt x="127" y="233"/>
                  </a:lnTo>
                  <a:lnTo>
                    <a:pt x="130" y="233"/>
                  </a:lnTo>
                  <a:lnTo>
                    <a:pt x="131" y="233"/>
                  </a:lnTo>
                  <a:lnTo>
                    <a:pt x="132" y="232"/>
                  </a:lnTo>
                  <a:lnTo>
                    <a:pt x="132" y="232"/>
                  </a:lnTo>
                  <a:lnTo>
                    <a:pt x="133" y="232"/>
                  </a:lnTo>
                  <a:lnTo>
                    <a:pt x="133" y="231"/>
                  </a:lnTo>
                  <a:lnTo>
                    <a:pt x="134" y="230"/>
                  </a:lnTo>
                  <a:lnTo>
                    <a:pt x="135" y="229"/>
                  </a:lnTo>
                  <a:lnTo>
                    <a:pt x="136" y="228"/>
                  </a:lnTo>
                  <a:lnTo>
                    <a:pt x="137" y="227"/>
                  </a:lnTo>
                  <a:lnTo>
                    <a:pt x="138" y="226"/>
                  </a:lnTo>
                  <a:lnTo>
                    <a:pt x="141" y="224"/>
                  </a:lnTo>
                  <a:lnTo>
                    <a:pt x="144" y="221"/>
                  </a:lnTo>
                  <a:lnTo>
                    <a:pt x="145" y="220"/>
                  </a:lnTo>
                  <a:lnTo>
                    <a:pt x="147" y="219"/>
                  </a:lnTo>
                  <a:lnTo>
                    <a:pt x="148" y="218"/>
                  </a:lnTo>
                  <a:lnTo>
                    <a:pt x="149" y="218"/>
                  </a:lnTo>
                  <a:lnTo>
                    <a:pt x="150" y="218"/>
                  </a:lnTo>
                  <a:lnTo>
                    <a:pt x="151" y="217"/>
                  </a:lnTo>
                  <a:lnTo>
                    <a:pt x="153" y="216"/>
                  </a:lnTo>
                  <a:lnTo>
                    <a:pt x="154" y="216"/>
                  </a:lnTo>
                  <a:lnTo>
                    <a:pt x="154" y="216"/>
                  </a:lnTo>
                  <a:lnTo>
                    <a:pt x="156" y="215"/>
                  </a:lnTo>
                  <a:lnTo>
                    <a:pt x="158" y="215"/>
                  </a:lnTo>
                  <a:lnTo>
                    <a:pt x="159" y="215"/>
                  </a:lnTo>
                  <a:lnTo>
                    <a:pt x="160" y="215"/>
                  </a:lnTo>
                  <a:lnTo>
                    <a:pt x="161" y="215"/>
                  </a:lnTo>
                  <a:lnTo>
                    <a:pt x="161" y="215"/>
                  </a:lnTo>
                  <a:lnTo>
                    <a:pt x="162" y="216"/>
                  </a:lnTo>
                  <a:lnTo>
                    <a:pt x="163" y="216"/>
                  </a:lnTo>
                  <a:lnTo>
                    <a:pt x="163" y="217"/>
                  </a:lnTo>
                  <a:lnTo>
                    <a:pt x="164" y="217"/>
                  </a:lnTo>
                  <a:lnTo>
                    <a:pt x="165" y="218"/>
                  </a:lnTo>
                  <a:lnTo>
                    <a:pt x="165" y="218"/>
                  </a:lnTo>
                  <a:lnTo>
                    <a:pt x="166" y="219"/>
                  </a:lnTo>
                  <a:lnTo>
                    <a:pt x="166" y="220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2"/>
                  </a:lnTo>
                  <a:lnTo>
                    <a:pt x="166" y="224"/>
                  </a:lnTo>
                  <a:lnTo>
                    <a:pt x="165" y="226"/>
                  </a:lnTo>
                  <a:lnTo>
                    <a:pt x="164" y="230"/>
                  </a:lnTo>
                  <a:lnTo>
                    <a:pt x="164" y="233"/>
                  </a:lnTo>
                  <a:lnTo>
                    <a:pt x="164" y="233"/>
                  </a:lnTo>
                  <a:lnTo>
                    <a:pt x="164" y="234"/>
                  </a:lnTo>
                  <a:lnTo>
                    <a:pt x="164" y="235"/>
                  </a:lnTo>
                  <a:lnTo>
                    <a:pt x="164" y="236"/>
                  </a:lnTo>
                  <a:lnTo>
                    <a:pt x="165" y="237"/>
                  </a:lnTo>
                  <a:lnTo>
                    <a:pt x="165" y="239"/>
                  </a:lnTo>
                  <a:lnTo>
                    <a:pt x="166" y="240"/>
                  </a:lnTo>
                  <a:lnTo>
                    <a:pt x="167" y="241"/>
                  </a:lnTo>
                  <a:lnTo>
                    <a:pt x="168" y="242"/>
                  </a:lnTo>
                  <a:lnTo>
                    <a:pt x="168" y="242"/>
                  </a:lnTo>
                  <a:lnTo>
                    <a:pt x="169" y="242"/>
                  </a:lnTo>
                  <a:lnTo>
                    <a:pt x="169" y="242"/>
                  </a:lnTo>
                  <a:lnTo>
                    <a:pt x="170" y="242"/>
                  </a:lnTo>
                  <a:lnTo>
                    <a:pt x="170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72" y="241"/>
                  </a:lnTo>
                  <a:lnTo>
                    <a:pt x="173" y="239"/>
                  </a:lnTo>
                  <a:lnTo>
                    <a:pt x="174" y="238"/>
                  </a:lnTo>
                  <a:lnTo>
                    <a:pt x="174" y="238"/>
                  </a:lnTo>
                  <a:lnTo>
                    <a:pt x="176" y="236"/>
                  </a:lnTo>
                  <a:lnTo>
                    <a:pt x="177" y="235"/>
                  </a:lnTo>
                  <a:lnTo>
                    <a:pt x="177" y="234"/>
                  </a:lnTo>
                  <a:lnTo>
                    <a:pt x="177" y="234"/>
                  </a:lnTo>
                  <a:lnTo>
                    <a:pt x="178" y="233"/>
                  </a:lnTo>
                  <a:lnTo>
                    <a:pt x="178" y="232"/>
                  </a:lnTo>
                  <a:lnTo>
                    <a:pt x="179" y="231"/>
                  </a:lnTo>
                  <a:lnTo>
                    <a:pt x="179" y="231"/>
                  </a:lnTo>
                  <a:lnTo>
                    <a:pt x="180" y="230"/>
                  </a:lnTo>
                  <a:lnTo>
                    <a:pt x="180" y="230"/>
                  </a:lnTo>
                  <a:lnTo>
                    <a:pt x="182" y="229"/>
                  </a:lnTo>
                  <a:lnTo>
                    <a:pt x="182" y="229"/>
                  </a:lnTo>
                  <a:lnTo>
                    <a:pt x="183" y="228"/>
                  </a:lnTo>
                  <a:lnTo>
                    <a:pt x="184" y="228"/>
                  </a:lnTo>
                  <a:lnTo>
                    <a:pt x="184" y="228"/>
                  </a:lnTo>
                  <a:lnTo>
                    <a:pt x="184" y="228"/>
                  </a:lnTo>
                  <a:lnTo>
                    <a:pt x="185" y="228"/>
                  </a:lnTo>
                  <a:lnTo>
                    <a:pt x="185" y="228"/>
                  </a:lnTo>
                  <a:lnTo>
                    <a:pt x="186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8" y="228"/>
                  </a:lnTo>
                  <a:lnTo>
                    <a:pt x="189" y="228"/>
                  </a:lnTo>
                  <a:lnTo>
                    <a:pt x="189" y="227"/>
                  </a:lnTo>
                  <a:lnTo>
                    <a:pt x="190" y="226"/>
                  </a:lnTo>
                  <a:lnTo>
                    <a:pt x="191" y="225"/>
                  </a:lnTo>
                  <a:lnTo>
                    <a:pt x="191" y="225"/>
                  </a:lnTo>
                  <a:lnTo>
                    <a:pt x="191" y="224"/>
                  </a:lnTo>
                  <a:lnTo>
                    <a:pt x="192" y="224"/>
                  </a:lnTo>
                  <a:lnTo>
                    <a:pt x="192" y="223"/>
                  </a:lnTo>
                  <a:lnTo>
                    <a:pt x="192" y="222"/>
                  </a:lnTo>
                  <a:lnTo>
                    <a:pt x="192" y="221"/>
                  </a:lnTo>
                  <a:lnTo>
                    <a:pt x="191" y="220"/>
                  </a:lnTo>
                  <a:lnTo>
                    <a:pt x="190" y="213"/>
                  </a:lnTo>
                  <a:lnTo>
                    <a:pt x="189" y="212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90" y="210"/>
                  </a:lnTo>
                  <a:lnTo>
                    <a:pt x="190" y="209"/>
                  </a:lnTo>
                  <a:lnTo>
                    <a:pt x="191" y="209"/>
                  </a:lnTo>
                  <a:lnTo>
                    <a:pt x="191" y="209"/>
                  </a:lnTo>
                  <a:lnTo>
                    <a:pt x="192" y="209"/>
                  </a:lnTo>
                  <a:lnTo>
                    <a:pt x="193" y="209"/>
                  </a:lnTo>
                  <a:lnTo>
                    <a:pt x="194" y="209"/>
                  </a:lnTo>
                  <a:lnTo>
                    <a:pt x="194" y="209"/>
                  </a:lnTo>
                  <a:lnTo>
                    <a:pt x="195" y="210"/>
                  </a:lnTo>
                  <a:lnTo>
                    <a:pt x="195" y="210"/>
                  </a:lnTo>
                  <a:lnTo>
                    <a:pt x="195" y="210"/>
                  </a:lnTo>
                  <a:lnTo>
                    <a:pt x="196" y="211"/>
                  </a:lnTo>
                  <a:lnTo>
                    <a:pt x="197" y="214"/>
                  </a:lnTo>
                  <a:lnTo>
                    <a:pt x="198" y="216"/>
                  </a:lnTo>
                  <a:lnTo>
                    <a:pt x="199" y="218"/>
                  </a:lnTo>
                  <a:lnTo>
                    <a:pt x="199" y="219"/>
                  </a:lnTo>
                  <a:lnTo>
                    <a:pt x="200" y="220"/>
                  </a:lnTo>
                  <a:lnTo>
                    <a:pt x="200" y="222"/>
                  </a:lnTo>
                  <a:lnTo>
                    <a:pt x="200" y="224"/>
                  </a:lnTo>
                  <a:lnTo>
                    <a:pt x="200" y="224"/>
                  </a:lnTo>
                  <a:lnTo>
                    <a:pt x="200" y="226"/>
                  </a:lnTo>
                  <a:lnTo>
                    <a:pt x="200" y="227"/>
                  </a:lnTo>
                  <a:lnTo>
                    <a:pt x="201" y="229"/>
                  </a:lnTo>
                  <a:lnTo>
                    <a:pt x="201" y="230"/>
                  </a:lnTo>
                  <a:lnTo>
                    <a:pt x="203" y="232"/>
                  </a:lnTo>
                  <a:lnTo>
                    <a:pt x="203" y="233"/>
                  </a:lnTo>
                  <a:lnTo>
                    <a:pt x="204" y="234"/>
                  </a:lnTo>
                  <a:lnTo>
                    <a:pt x="204" y="234"/>
                  </a:lnTo>
                  <a:lnTo>
                    <a:pt x="204" y="235"/>
                  </a:lnTo>
                  <a:lnTo>
                    <a:pt x="205" y="236"/>
                  </a:lnTo>
                  <a:lnTo>
                    <a:pt x="205" y="236"/>
                  </a:lnTo>
                  <a:lnTo>
                    <a:pt x="205" y="238"/>
                  </a:lnTo>
                  <a:lnTo>
                    <a:pt x="205" y="239"/>
                  </a:lnTo>
                  <a:lnTo>
                    <a:pt x="205" y="240"/>
                  </a:lnTo>
                  <a:lnTo>
                    <a:pt x="206" y="241"/>
                  </a:lnTo>
                  <a:lnTo>
                    <a:pt x="206" y="242"/>
                  </a:lnTo>
                  <a:lnTo>
                    <a:pt x="206" y="242"/>
                  </a:lnTo>
                  <a:lnTo>
                    <a:pt x="209" y="245"/>
                  </a:lnTo>
                  <a:lnTo>
                    <a:pt x="210" y="246"/>
                  </a:lnTo>
                  <a:lnTo>
                    <a:pt x="211" y="247"/>
                  </a:lnTo>
                  <a:lnTo>
                    <a:pt x="212" y="249"/>
                  </a:lnTo>
                  <a:lnTo>
                    <a:pt x="212" y="250"/>
                  </a:lnTo>
                  <a:lnTo>
                    <a:pt x="213" y="251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5" y="253"/>
                  </a:lnTo>
                  <a:lnTo>
                    <a:pt x="216" y="253"/>
                  </a:lnTo>
                  <a:lnTo>
                    <a:pt x="218" y="254"/>
                  </a:lnTo>
                  <a:lnTo>
                    <a:pt x="219" y="255"/>
                  </a:lnTo>
                  <a:lnTo>
                    <a:pt x="220" y="255"/>
                  </a:lnTo>
                  <a:lnTo>
                    <a:pt x="221" y="256"/>
                  </a:lnTo>
                  <a:lnTo>
                    <a:pt x="222" y="257"/>
                  </a:lnTo>
                  <a:lnTo>
                    <a:pt x="223" y="258"/>
                  </a:lnTo>
                  <a:lnTo>
                    <a:pt x="224" y="259"/>
                  </a:lnTo>
                  <a:lnTo>
                    <a:pt x="225" y="259"/>
                  </a:lnTo>
                  <a:lnTo>
                    <a:pt x="229" y="261"/>
                  </a:lnTo>
                  <a:lnTo>
                    <a:pt x="231" y="262"/>
                  </a:lnTo>
                  <a:lnTo>
                    <a:pt x="232" y="262"/>
                  </a:lnTo>
                  <a:lnTo>
                    <a:pt x="233" y="262"/>
                  </a:lnTo>
                  <a:lnTo>
                    <a:pt x="236" y="263"/>
                  </a:lnTo>
                  <a:lnTo>
                    <a:pt x="237" y="263"/>
                  </a:lnTo>
                  <a:lnTo>
                    <a:pt x="238" y="263"/>
                  </a:lnTo>
                  <a:lnTo>
                    <a:pt x="238" y="263"/>
                  </a:lnTo>
                  <a:lnTo>
                    <a:pt x="239" y="263"/>
                  </a:lnTo>
                  <a:lnTo>
                    <a:pt x="240" y="263"/>
                  </a:lnTo>
                  <a:lnTo>
                    <a:pt x="242" y="262"/>
                  </a:lnTo>
                  <a:lnTo>
                    <a:pt x="244" y="261"/>
                  </a:lnTo>
                  <a:lnTo>
                    <a:pt x="246" y="260"/>
                  </a:lnTo>
                  <a:lnTo>
                    <a:pt x="247" y="260"/>
                  </a:lnTo>
                  <a:lnTo>
                    <a:pt x="252" y="258"/>
                  </a:lnTo>
                  <a:lnTo>
                    <a:pt x="253" y="258"/>
                  </a:lnTo>
                  <a:lnTo>
                    <a:pt x="256" y="257"/>
                  </a:lnTo>
                  <a:lnTo>
                    <a:pt x="256" y="257"/>
                  </a:lnTo>
                  <a:lnTo>
                    <a:pt x="257" y="257"/>
                  </a:lnTo>
                  <a:lnTo>
                    <a:pt x="258" y="257"/>
                  </a:lnTo>
                  <a:lnTo>
                    <a:pt x="258" y="257"/>
                  </a:lnTo>
                  <a:lnTo>
                    <a:pt x="259" y="257"/>
                  </a:lnTo>
                  <a:lnTo>
                    <a:pt x="259" y="257"/>
                  </a:lnTo>
                  <a:lnTo>
                    <a:pt x="260" y="258"/>
                  </a:lnTo>
                  <a:lnTo>
                    <a:pt x="260" y="258"/>
                  </a:lnTo>
                  <a:lnTo>
                    <a:pt x="261" y="259"/>
                  </a:lnTo>
                  <a:lnTo>
                    <a:pt x="261" y="260"/>
                  </a:lnTo>
                  <a:lnTo>
                    <a:pt x="262" y="261"/>
                  </a:lnTo>
                  <a:lnTo>
                    <a:pt x="262" y="262"/>
                  </a:lnTo>
                  <a:lnTo>
                    <a:pt x="263" y="263"/>
                  </a:lnTo>
                  <a:lnTo>
                    <a:pt x="263" y="264"/>
                  </a:lnTo>
                  <a:lnTo>
                    <a:pt x="264" y="266"/>
                  </a:lnTo>
                  <a:lnTo>
                    <a:pt x="264" y="267"/>
                  </a:lnTo>
                  <a:lnTo>
                    <a:pt x="264" y="269"/>
                  </a:lnTo>
                  <a:lnTo>
                    <a:pt x="264" y="270"/>
                  </a:lnTo>
                  <a:lnTo>
                    <a:pt x="264" y="271"/>
                  </a:lnTo>
                  <a:lnTo>
                    <a:pt x="264" y="272"/>
                  </a:lnTo>
                  <a:lnTo>
                    <a:pt x="264" y="273"/>
                  </a:lnTo>
                  <a:lnTo>
                    <a:pt x="264" y="274"/>
                  </a:lnTo>
                  <a:lnTo>
                    <a:pt x="263" y="278"/>
                  </a:lnTo>
                  <a:lnTo>
                    <a:pt x="262" y="280"/>
                  </a:lnTo>
                  <a:lnTo>
                    <a:pt x="262" y="281"/>
                  </a:lnTo>
                  <a:lnTo>
                    <a:pt x="262" y="282"/>
                  </a:lnTo>
                  <a:lnTo>
                    <a:pt x="262" y="283"/>
                  </a:lnTo>
                  <a:lnTo>
                    <a:pt x="262" y="284"/>
                  </a:lnTo>
                  <a:lnTo>
                    <a:pt x="262" y="286"/>
                  </a:lnTo>
                  <a:lnTo>
                    <a:pt x="262" y="287"/>
                  </a:lnTo>
                  <a:lnTo>
                    <a:pt x="263" y="289"/>
                  </a:lnTo>
                  <a:lnTo>
                    <a:pt x="263" y="291"/>
                  </a:lnTo>
                  <a:lnTo>
                    <a:pt x="263" y="292"/>
                  </a:lnTo>
                  <a:lnTo>
                    <a:pt x="264" y="293"/>
                  </a:lnTo>
                  <a:lnTo>
                    <a:pt x="264" y="294"/>
                  </a:lnTo>
                  <a:lnTo>
                    <a:pt x="265" y="295"/>
                  </a:lnTo>
                  <a:lnTo>
                    <a:pt x="265" y="295"/>
                  </a:lnTo>
                  <a:lnTo>
                    <a:pt x="266" y="296"/>
                  </a:lnTo>
                  <a:lnTo>
                    <a:pt x="267" y="297"/>
                  </a:lnTo>
                  <a:lnTo>
                    <a:pt x="268" y="297"/>
                  </a:lnTo>
                  <a:lnTo>
                    <a:pt x="269" y="298"/>
                  </a:lnTo>
                  <a:lnTo>
                    <a:pt x="270" y="299"/>
                  </a:lnTo>
                  <a:lnTo>
                    <a:pt x="271" y="299"/>
                  </a:lnTo>
                  <a:lnTo>
                    <a:pt x="272" y="300"/>
                  </a:lnTo>
                  <a:lnTo>
                    <a:pt x="273" y="300"/>
                  </a:lnTo>
                  <a:lnTo>
                    <a:pt x="273" y="300"/>
                  </a:lnTo>
                  <a:lnTo>
                    <a:pt x="274" y="300"/>
                  </a:lnTo>
                  <a:lnTo>
                    <a:pt x="275" y="299"/>
                  </a:lnTo>
                  <a:lnTo>
                    <a:pt x="275" y="299"/>
                  </a:lnTo>
                  <a:lnTo>
                    <a:pt x="276" y="299"/>
                  </a:lnTo>
                  <a:lnTo>
                    <a:pt x="277" y="298"/>
                  </a:lnTo>
                  <a:lnTo>
                    <a:pt x="278" y="298"/>
                  </a:lnTo>
                  <a:lnTo>
                    <a:pt x="278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80" y="297"/>
                  </a:lnTo>
                  <a:lnTo>
                    <a:pt x="280" y="298"/>
                  </a:lnTo>
                  <a:lnTo>
                    <a:pt x="281" y="298"/>
                  </a:lnTo>
                  <a:lnTo>
                    <a:pt x="282" y="299"/>
                  </a:lnTo>
                  <a:lnTo>
                    <a:pt x="282" y="300"/>
                  </a:lnTo>
                  <a:lnTo>
                    <a:pt x="283" y="301"/>
                  </a:lnTo>
                  <a:lnTo>
                    <a:pt x="285" y="302"/>
                  </a:lnTo>
                  <a:lnTo>
                    <a:pt x="286" y="304"/>
                  </a:lnTo>
                  <a:lnTo>
                    <a:pt x="286" y="305"/>
                  </a:lnTo>
                  <a:lnTo>
                    <a:pt x="287" y="306"/>
                  </a:lnTo>
                  <a:lnTo>
                    <a:pt x="288" y="308"/>
                  </a:lnTo>
                  <a:lnTo>
                    <a:pt x="289" y="309"/>
                  </a:lnTo>
                  <a:lnTo>
                    <a:pt x="290" y="311"/>
                  </a:lnTo>
                  <a:lnTo>
                    <a:pt x="291" y="312"/>
                  </a:lnTo>
                  <a:lnTo>
                    <a:pt x="291" y="313"/>
                  </a:lnTo>
                  <a:lnTo>
                    <a:pt x="292" y="313"/>
                  </a:lnTo>
                  <a:lnTo>
                    <a:pt x="293" y="314"/>
                  </a:lnTo>
                  <a:lnTo>
                    <a:pt x="300" y="320"/>
                  </a:lnTo>
                  <a:lnTo>
                    <a:pt x="302" y="320"/>
                  </a:lnTo>
                  <a:lnTo>
                    <a:pt x="303" y="322"/>
                  </a:lnTo>
                  <a:lnTo>
                    <a:pt x="306" y="325"/>
                  </a:lnTo>
                  <a:lnTo>
                    <a:pt x="308" y="327"/>
                  </a:lnTo>
                  <a:lnTo>
                    <a:pt x="309" y="328"/>
                  </a:lnTo>
                  <a:lnTo>
                    <a:pt x="311" y="330"/>
                  </a:lnTo>
                  <a:lnTo>
                    <a:pt x="312" y="332"/>
                  </a:lnTo>
                  <a:lnTo>
                    <a:pt x="314" y="335"/>
                  </a:lnTo>
                  <a:lnTo>
                    <a:pt x="315" y="338"/>
                  </a:lnTo>
                  <a:lnTo>
                    <a:pt x="316" y="339"/>
                  </a:lnTo>
                  <a:lnTo>
                    <a:pt x="316" y="339"/>
                  </a:lnTo>
                  <a:lnTo>
                    <a:pt x="316" y="340"/>
                  </a:lnTo>
                  <a:lnTo>
                    <a:pt x="316" y="341"/>
                  </a:lnTo>
                  <a:lnTo>
                    <a:pt x="316" y="341"/>
                  </a:lnTo>
                  <a:lnTo>
                    <a:pt x="316" y="342"/>
                  </a:lnTo>
                  <a:lnTo>
                    <a:pt x="316" y="343"/>
                  </a:lnTo>
                  <a:lnTo>
                    <a:pt x="315" y="344"/>
                  </a:lnTo>
                  <a:lnTo>
                    <a:pt x="315" y="345"/>
                  </a:lnTo>
                  <a:lnTo>
                    <a:pt x="314" y="346"/>
                  </a:lnTo>
                  <a:lnTo>
                    <a:pt x="314" y="347"/>
                  </a:lnTo>
                  <a:lnTo>
                    <a:pt x="314" y="347"/>
                  </a:lnTo>
                  <a:lnTo>
                    <a:pt x="314" y="348"/>
                  </a:lnTo>
                  <a:lnTo>
                    <a:pt x="315" y="349"/>
                  </a:lnTo>
                  <a:lnTo>
                    <a:pt x="315" y="350"/>
                  </a:lnTo>
                  <a:lnTo>
                    <a:pt x="316" y="350"/>
                  </a:lnTo>
                  <a:lnTo>
                    <a:pt x="316" y="351"/>
                  </a:lnTo>
                  <a:lnTo>
                    <a:pt x="316" y="351"/>
                  </a:lnTo>
                  <a:lnTo>
                    <a:pt x="317" y="351"/>
                  </a:lnTo>
                  <a:lnTo>
                    <a:pt x="318" y="351"/>
                  </a:lnTo>
                  <a:lnTo>
                    <a:pt x="318" y="351"/>
                  </a:lnTo>
                  <a:lnTo>
                    <a:pt x="318" y="351"/>
                  </a:lnTo>
                  <a:lnTo>
                    <a:pt x="319" y="351"/>
                  </a:lnTo>
                  <a:lnTo>
                    <a:pt x="321" y="349"/>
                  </a:lnTo>
                  <a:lnTo>
                    <a:pt x="322" y="348"/>
                  </a:lnTo>
                  <a:lnTo>
                    <a:pt x="323" y="347"/>
                  </a:lnTo>
                  <a:lnTo>
                    <a:pt x="324" y="347"/>
                  </a:lnTo>
                  <a:lnTo>
                    <a:pt x="325" y="347"/>
                  </a:lnTo>
                  <a:lnTo>
                    <a:pt x="326" y="346"/>
                  </a:lnTo>
                  <a:lnTo>
                    <a:pt x="326" y="346"/>
                  </a:lnTo>
                  <a:lnTo>
                    <a:pt x="327" y="346"/>
                  </a:lnTo>
                  <a:lnTo>
                    <a:pt x="327" y="347"/>
                  </a:lnTo>
                  <a:lnTo>
                    <a:pt x="328" y="347"/>
                  </a:lnTo>
                  <a:lnTo>
                    <a:pt x="328" y="347"/>
                  </a:lnTo>
                  <a:lnTo>
                    <a:pt x="328" y="347"/>
                  </a:lnTo>
                  <a:lnTo>
                    <a:pt x="329" y="348"/>
                  </a:lnTo>
                  <a:lnTo>
                    <a:pt x="330" y="349"/>
                  </a:lnTo>
                  <a:lnTo>
                    <a:pt x="331" y="350"/>
                  </a:lnTo>
                  <a:lnTo>
                    <a:pt x="331" y="351"/>
                  </a:lnTo>
                  <a:lnTo>
                    <a:pt x="333" y="354"/>
                  </a:lnTo>
                  <a:lnTo>
                    <a:pt x="334" y="357"/>
                  </a:lnTo>
                  <a:lnTo>
                    <a:pt x="334" y="357"/>
                  </a:lnTo>
                  <a:lnTo>
                    <a:pt x="334" y="358"/>
                  </a:lnTo>
                  <a:lnTo>
                    <a:pt x="334" y="358"/>
                  </a:lnTo>
                  <a:lnTo>
                    <a:pt x="334" y="359"/>
                  </a:lnTo>
                  <a:lnTo>
                    <a:pt x="334" y="359"/>
                  </a:lnTo>
                  <a:lnTo>
                    <a:pt x="333" y="360"/>
                  </a:lnTo>
                  <a:lnTo>
                    <a:pt x="333" y="361"/>
                  </a:lnTo>
                  <a:lnTo>
                    <a:pt x="332" y="362"/>
                  </a:lnTo>
                  <a:lnTo>
                    <a:pt x="331" y="364"/>
                  </a:lnTo>
                  <a:lnTo>
                    <a:pt x="330" y="365"/>
                  </a:lnTo>
                  <a:lnTo>
                    <a:pt x="330" y="366"/>
                  </a:lnTo>
                  <a:lnTo>
                    <a:pt x="329" y="367"/>
                  </a:lnTo>
                  <a:lnTo>
                    <a:pt x="329" y="367"/>
                  </a:lnTo>
                  <a:lnTo>
                    <a:pt x="328" y="368"/>
                  </a:lnTo>
                  <a:lnTo>
                    <a:pt x="327" y="368"/>
                  </a:lnTo>
                  <a:lnTo>
                    <a:pt x="327" y="368"/>
                  </a:lnTo>
                  <a:lnTo>
                    <a:pt x="326" y="369"/>
                  </a:lnTo>
                  <a:lnTo>
                    <a:pt x="326" y="369"/>
                  </a:lnTo>
                  <a:lnTo>
                    <a:pt x="325" y="369"/>
                  </a:lnTo>
                  <a:lnTo>
                    <a:pt x="324" y="369"/>
                  </a:lnTo>
                  <a:lnTo>
                    <a:pt x="324" y="369"/>
                  </a:lnTo>
                  <a:lnTo>
                    <a:pt x="323" y="369"/>
                  </a:lnTo>
                  <a:lnTo>
                    <a:pt x="322" y="369"/>
                  </a:lnTo>
                  <a:lnTo>
                    <a:pt x="320" y="368"/>
                  </a:lnTo>
                  <a:lnTo>
                    <a:pt x="317" y="368"/>
                  </a:lnTo>
                  <a:lnTo>
                    <a:pt x="316" y="367"/>
                  </a:lnTo>
                  <a:lnTo>
                    <a:pt x="315" y="367"/>
                  </a:lnTo>
                  <a:lnTo>
                    <a:pt x="314" y="367"/>
                  </a:lnTo>
                  <a:lnTo>
                    <a:pt x="313" y="367"/>
                  </a:lnTo>
                  <a:lnTo>
                    <a:pt x="313" y="367"/>
                  </a:lnTo>
                  <a:lnTo>
                    <a:pt x="313" y="368"/>
                  </a:lnTo>
                  <a:lnTo>
                    <a:pt x="312" y="369"/>
                  </a:lnTo>
                  <a:lnTo>
                    <a:pt x="311" y="370"/>
                  </a:lnTo>
                  <a:lnTo>
                    <a:pt x="310" y="372"/>
                  </a:lnTo>
                  <a:lnTo>
                    <a:pt x="310" y="372"/>
                  </a:lnTo>
                  <a:lnTo>
                    <a:pt x="309" y="373"/>
                  </a:lnTo>
                  <a:lnTo>
                    <a:pt x="309" y="374"/>
                  </a:lnTo>
                  <a:lnTo>
                    <a:pt x="308" y="374"/>
                  </a:lnTo>
                  <a:lnTo>
                    <a:pt x="307" y="375"/>
                  </a:lnTo>
                  <a:lnTo>
                    <a:pt x="305" y="376"/>
                  </a:lnTo>
                  <a:lnTo>
                    <a:pt x="304" y="377"/>
                  </a:lnTo>
                  <a:lnTo>
                    <a:pt x="303" y="378"/>
                  </a:lnTo>
                  <a:lnTo>
                    <a:pt x="302" y="380"/>
                  </a:lnTo>
                  <a:lnTo>
                    <a:pt x="300" y="382"/>
                  </a:lnTo>
                  <a:lnTo>
                    <a:pt x="299" y="382"/>
                  </a:lnTo>
                  <a:lnTo>
                    <a:pt x="299" y="383"/>
                  </a:lnTo>
                  <a:lnTo>
                    <a:pt x="299" y="384"/>
                  </a:lnTo>
                  <a:lnTo>
                    <a:pt x="299" y="384"/>
                  </a:lnTo>
                  <a:lnTo>
                    <a:pt x="298" y="385"/>
                  </a:lnTo>
                  <a:lnTo>
                    <a:pt x="298" y="388"/>
                  </a:lnTo>
                  <a:lnTo>
                    <a:pt x="298" y="389"/>
                  </a:lnTo>
                  <a:lnTo>
                    <a:pt x="298" y="390"/>
                  </a:lnTo>
                  <a:lnTo>
                    <a:pt x="298" y="392"/>
                  </a:lnTo>
                  <a:lnTo>
                    <a:pt x="297" y="393"/>
                  </a:lnTo>
                  <a:lnTo>
                    <a:pt x="296" y="396"/>
                  </a:lnTo>
                  <a:lnTo>
                    <a:pt x="295" y="399"/>
                  </a:lnTo>
                  <a:lnTo>
                    <a:pt x="294" y="402"/>
                  </a:lnTo>
                  <a:lnTo>
                    <a:pt x="293" y="402"/>
                  </a:lnTo>
                  <a:lnTo>
                    <a:pt x="293" y="403"/>
                  </a:lnTo>
                  <a:lnTo>
                    <a:pt x="292" y="403"/>
                  </a:lnTo>
                  <a:lnTo>
                    <a:pt x="292" y="404"/>
                  </a:lnTo>
                  <a:lnTo>
                    <a:pt x="291" y="404"/>
                  </a:lnTo>
                  <a:lnTo>
                    <a:pt x="291" y="404"/>
                  </a:lnTo>
                  <a:lnTo>
                    <a:pt x="290" y="405"/>
                  </a:lnTo>
                  <a:lnTo>
                    <a:pt x="287" y="406"/>
                  </a:lnTo>
                  <a:lnTo>
                    <a:pt x="285" y="406"/>
                  </a:lnTo>
                  <a:lnTo>
                    <a:pt x="284" y="406"/>
                  </a:lnTo>
                  <a:lnTo>
                    <a:pt x="283" y="406"/>
                  </a:lnTo>
                  <a:lnTo>
                    <a:pt x="281" y="406"/>
                  </a:lnTo>
                  <a:lnTo>
                    <a:pt x="280" y="406"/>
                  </a:lnTo>
                  <a:lnTo>
                    <a:pt x="279" y="405"/>
                  </a:lnTo>
                  <a:lnTo>
                    <a:pt x="278" y="405"/>
                  </a:lnTo>
                  <a:lnTo>
                    <a:pt x="277" y="404"/>
                  </a:lnTo>
                  <a:lnTo>
                    <a:pt x="276" y="404"/>
                  </a:lnTo>
                  <a:lnTo>
                    <a:pt x="275" y="403"/>
                  </a:lnTo>
                  <a:lnTo>
                    <a:pt x="275" y="403"/>
                  </a:lnTo>
                  <a:lnTo>
                    <a:pt x="273" y="401"/>
                  </a:lnTo>
                  <a:lnTo>
                    <a:pt x="272" y="400"/>
                  </a:lnTo>
                  <a:lnTo>
                    <a:pt x="271" y="399"/>
                  </a:lnTo>
                  <a:lnTo>
                    <a:pt x="270" y="398"/>
                  </a:lnTo>
                  <a:lnTo>
                    <a:pt x="269" y="398"/>
                  </a:lnTo>
                  <a:lnTo>
                    <a:pt x="268" y="397"/>
                  </a:lnTo>
                  <a:lnTo>
                    <a:pt x="267" y="397"/>
                  </a:lnTo>
                  <a:lnTo>
                    <a:pt x="266" y="397"/>
                  </a:lnTo>
                  <a:lnTo>
                    <a:pt x="265" y="397"/>
                  </a:lnTo>
                  <a:lnTo>
                    <a:pt x="265" y="397"/>
                  </a:lnTo>
                  <a:lnTo>
                    <a:pt x="264" y="398"/>
                  </a:lnTo>
                  <a:lnTo>
                    <a:pt x="263" y="398"/>
                  </a:lnTo>
                  <a:lnTo>
                    <a:pt x="263" y="398"/>
                  </a:lnTo>
                  <a:lnTo>
                    <a:pt x="262" y="399"/>
                  </a:lnTo>
                  <a:lnTo>
                    <a:pt x="261" y="402"/>
                  </a:lnTo>
                  <a:lnTo>
                    <a:pt x="260" y="402"/>
                  </a:lnTo>
                  <a:lnTo>
                    <a:pt x="260" y="402"/>
                  </a:lnTo>
                  <a:lnTo>
                    <a:pt x="260" y="403"/>
                  </a:lnTo>
                  <a:lnTo>
                    <a:pt x="259" y="403"/>
                  </a:lnTo>
                  <a:lnTo>
                    <a:pt x="259" y="403"/>
                  </a:lnTo>
                  <a:lnTo>
                    <a:pt x="259" y="403"/>
                  </a:lnTo>
                  <a:lnTo>
                    <a:pt x="258" y="403"/>
                  </a:lnTo>
                  <a:lnTo>
                    <a:pt x="257" y="403"/>
                  </a:lnTo>
                  <a:lnTo>
                    <a:pt x="256" y="403"/>
                  </a:lnTo>
                  <a:lnTo>
                    <a:pt x="255" y="403"/>
                  </a:lnTo>
                  <a:lnTo>
                    <a:pt x="254" y="402"/>
                  </a:lnTo>
                  <a:lnTo>
                    <a:pt x="254" y="402"/>
                  </a:lnTo>
                  <a:lnTo>
                    <a:pt x="253" y="402"/>
                  </a:lnTo>
                  <a:lnTo>
                    <a:pt x="252" y="403"/>
                  </a:lnTo>
                  <a:lnTo>
                    <a:pt x="251" y="403"/>
                  </a:lnTo>
                  <a:lnTo>
                    <a:pt x="251" y="403"/>
                  </a:lnTo>
                  <a:lnTo>
                    <a:pt x="250" y="403"/>
                  </a:lnTo>
                  <a:lnTo>
                    <a:pt x="250" y="403"/>
                  </a:lnTo>
                  <a:lnTo>
                    <a:pt x="250" y="403"/>
                  </a:lnTo>
                  <a:lnTo>
                    <a:pt x="250" y="404"/>
                  </a:lnTo>
                  <a:lnTo>
                    <a:pt x="250" y="404"/>
                  </a:lnTo>
                  <a:lnTo>
                    <a:pt x="250" y="404"/>
                  </a:lnTo>
                  <a:lnTo>
                    <a:pt x="250" y="405"/>
                  </a:lnTo>
                  <a:lnTo>
                    <a:pt x="250" y="405"/>
                  </a:lnTo>
                  <a:lnTo>
                    <a:pt x="250" y="406"/>
                  </a:lnTo>
                  <a:lnTo>
                    <a:pt x="250" y="407"/>
                  </a:lnTo>
                  <a:lnTo>
                    <a:pt x="252" y="411"/>
                  </a:lnTo>
                  <a:lnTo>
                    <a:pt x="253" y="413"/>
                  </a:lnTo>
                  <a:lnTo>
                    <a:pt x="253" y="414"/>
                  </a:lnTo>
                  <a:lnTo>
                    <a:pt x="254" y="415"/>
                  </a:lnTo>
                  <a:lnTo>
                    <a:pt x="254" y="416"/>
                  </a:lnTo>
                  <a:lnTo>
                    <a:pt x="254" y="417"/>
                  </a:lnTo>
                  <a:lnTo>
                    <a:pt x="254" y="417"/>
                  </a:lnTo>
                  <a:lnTo>
                    <a:pt x="253" y="418"/>
                  </a:lnTo>
                  <a:lnTo>
                    <a:pt x="253" y="419"/>
                  </a:lnTo>
                  <a:lnTo>
                    <a:pt x="253" y="420"/>
                  </a:lnTo>
                  <a:lnTo>
                    <a:pt x="252" y="421"/>
                  </a:lnTo>
                  <a:lnTo>
                    <a:pt x="251" y="422"/>
                  </a:lnTo>
                  <a:lnTo>
                    <a:pt x="251" y="422"/>
                  </a:lnTo>
                  <a:lnTo>
                    <a:pt x="250" y="423"/>
                  </a:lnTo>
                  <a:lnTo>
                    <a:pt x="249" y="424"/>
                  </a:lnTo>
                  <a:lnTo>
                    <a:pt x="249" y="424"/>
                  </a:lnTo>
                  <a:lnTo>
                    <a:pt x="248" y="424"/>
                  </a:lnTo>
                  <a:lnTo>
                    <a:pt x="247" y="425"/>
                  </a:lnTo>
                  <a:lnTo>
                    <a:pt x="246" y="425"/>
                  </a:lnTo>
                  <a:lnTo>
                    <a:pt x="245" y="425"/>
                  </a:lnTo>
                  <a:lnTo>
                    <a:pt x="244" y="425"/>
                  </a:lnTo>
                  <a:lnTo>
                    <a:pt x="243" y="425"/>
                  </a:lnTo>
                  <a:lnTo>
                    <a:pt x="242" y="425"/>
                  </a:lnTo>
                  <a:lnTo>
                    <a:pt x="242" y="425"/>
                  </a:lnTo>
                  <a:lnTo>
                    <a:pt x="241" y="425"/>
                  </a:lnTo>
                  <a:lnTo>
                    <a:pt x="240" y="425"/>
                  </a:lnTo>
                  <a:lnTo>
                    <a:pt x="239" y="424"/>
                  </a:lnTo>
                  <a:lnTo>
                    <a:pt x="237" y="424"/>
                  </a:lnTo>
                  <a:lnTo>
                    <a:pt x="237" y="423"/>
                  </a:lnTo>
                  <a:lnTo>
                    <a:pt x="236" y="423"/>
                  </a:lnTo>
                  <a:lnTo>
                    <a:pt x="235" y="423"/>
                  </a:lnTo>
                  <a:lnTo>
                    <a:pt x="234" y="423"/>
                  </a:lnTo>
                  <a:lnTo>
                    <a:pt x="232" y="423"/>
                  </a:lnTo>
                  <a:lnTo>
                    <a:pt x="231" y="423"/>
                  </a:lnTo>
                  <a:lnTo>
                    <a:pt x="229" y="423"/>
                  </a:lnTo>
                  <a:lnTo>
                    <a:pt x="227" y="423"/>
                  </a:lnTo>
                  <a:lnTo>
                    <a:pt x="225" y="423"/>
                  </a:lnTo>
                  <a:lnTo>
                    <a:pt x="224" y="424"/>
                  </a:lnTo>
                  <a:lnTo>
                    <a:pt x="222" y="424"/>
                  </a:lnTo>
                  <a:lnTo>
                    <a:pt x="220" y="425"/>
                  </a:lnTo>
                  <a:lnTo>
                    <a:pt x="217" y="426"/>
                  </a:lnTo>
                  <a:lnTo>
                    <a:pt x="216" y="426"/>
                  </a:lnTo>
                  <a:lnTo>
                    <a:pt x="216" y="426"/>
                  </a:lnTo>
                  <a:lnTo>
                    <a:pt x="216" y="426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8"/>
                  </a:lnTo>
                  <a:lnTo>
                    <a:pt x="215" y="429"/>
                  </a:lnTo>
                  <a:lnTo>
                    <a:pt x="214" y="431"/>
                  </a:lnTo>
                  <a:lnTo>
                    <a:pt x="214" y="433"/>
                  </a:lnTo>
                  <a:lnTo>
                    <a:pt x="214" y="434"/>
                  </a:lnTo>
                  <a:lnTo>
                    <a:pt x="213" y="434"/>
                  </a:lnTo>
                  <a:lnTo>
                    <a:pt x="213" y="435"/>
                  </a:lnTo>
                  <a:lnTo>
                    <a:pt x="212" y="436"/>
                  </a:lnTo>
                  <a:lnTo>
                    <a:pt x="211" y="438"/>
                  </a:lnTo>
                  <a:lnTo>
                    <a:pt x="211" y="439"/>
                  </a:lnTo>
                  <a:lnTo>
                    <a:pt x="210" y="440"/>
                  </a:lnTo>
                  <a:lnTo>
                    <a:pt x="209" y="441"/>
                  </a:lnTo>
                  <a:lnTo>
                    <a:pt x="209" y="441"/>
                  </a:lnTo>
                  <a:lnTo>
                    <a:pt x="208" y="442"/>
                  </a:lnTo>
                  <a:lnTo>
                    <a:pt x="207" y="443"/>
                  </a:lnTo>
                  <a:lnTo>
                    <a:pt x="206" y="443"/>
                  </a:lnTo>
                  <a:lnTo>
                    <a:pt x="205" y="443"/>
                  </a:lnTo>
                  <a:lnTo>
                    <a:pt x="205" y="443"/>
                  </a:lnTo>
                  <a:lnTo>
                    <a:pt x="204" y="443"/>
                  </a:lnTo>
                  <a:lnTo>
                    <a:pt x="203" y="443"/>
                  </a:lnTo>
                  <a:lnTo>
                    <a:pt x="202" y="442"/>
                  </a:lnTo>
                  <a:lnTo>
                    <a:pt x="199" y="440"/>
                  </a:lnTo>
                  <a:lnTo>
                    <a:pt x="198" y="439"/>
                  </a:lnTo>
                  <a:lnTo>
                    <a:pt x="197" y="438"/>
                  </a:lnTo>
                  <a:lnTo>
                    <a:pt x="196" y="438"/>
                  </a:lnTo>
                  <a:lnTo>
                    <a:pt x="196" y="437"/>
                  </a:lnTo>
                  <a:lnTo>
                    <a:pt x="195" y="437"/>
                  </a:lnTo>
                  <a:lnTo>
                    <a:pt x="194" y="437"/>
                  </a:lnTo>
                  <a:lnTo>
                    <a:pt x="193" y="437"/>
                  </a:lnTo>
                  <a:lnTo>
                    <a:pt x="192" y="437"/>
                  </a:lnTo>
                  <a:lnTo>
                    <a:pt x="190" y="437"/>
                  </a:lnTo>
                  <a:lnTo>
                    <a:pt x="188" y="436"/>
                  </a:lnTo>
                  <a:lnTo>
                    <a:pt x="186" y="436"/>
                  </a:lnTo>
                  <a:lnTo>
                    <a:pt x="184" y="435"/>
                  </a:lnTo>
                  <a:lnTo>
                    <a:pt x="182" y="435"/>
                  </a:lnTo>
                  <a:lnTo>
                    <a:pt x="181" y="434"/>
                  </a:lnTo>
                  <a:lnTo>
                    <a:pt x="180" y="434"/>
                  </a:lnTo>
                  <a:lnTo>
                    <a:pt x="177" y="434"/>
                  </a:lnTo>
                  <a:lnTo>
                    <a:pt x="177" y="434"/>
                  </a:lnTo>
                  <a:lnTo>
                    <a:pt x="176" y="434"/>
                  </a:lnTo>
                  <a:lnTo>
                    <a:pt x="176" y="433"/>
                  </a:lnTo>
                  <a:lnTo>
                    <a:pt x="175" y="433"/>
                  </a:lnTo>
                  <a:lnTo>
                    <a:pt x="175" y="432"/>
                  </a:lnTo>
                  <a:lnTo>
                    <a:pt x="175" y="432"/>
                  </a:lnTo>
                  <a:lnTo>
                    <a:pt x="174" y="431"/>
                  </a:lnTo>
                  <a:lnTo>
                    <a:pt x="174" y="430"/>
                  </a:lnTo>
                  <a:lnTo>
                    <a:pt x="174" y="427"/>
                  </a:lnTo>
                  <a:lnTo>
                    <a:pt x="174" y="426"/>
                  </a:lnTo>
                  <a:lnTo>
                    <a:pt x="173" y="426"/>
                  </a:lnTo>
                  <a:lnTo>
                    <a:pt x="173" y="425"/>
                  </a:lnTo>
                  <a:lnTo>
                    <a:pt x="173" y="424"/>
                  </a:lnTo>
                  <a:lnTo>
                    <a:pt x="172" y="424"/>
                  </a:lnTo>
                  <a:lnTo>
                    <a:pt x="172" y="423"/>
                  </a:lnTo>
                  <a:lnTo>
                    <a:pt x="171" y="423"/>
                  </a:lnTo>
                  <a:lnTo>
                    <a:pt x="171" y="423"/>
                  </a:lnTo>
                  <a:lnTo>
                    <a:pt x="170" y="423"/>
                  </a:lnTo>
                  <a:lnTo>
                    <a:pt x="170" y="423"/>
                  </a:lnTo>
                  <a:lnTo>
                    <a:pt x="169" y="423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67" y="425"/>
                  </a:lnTo>
                  <a:lnTo>
                    <a:pt x="167" y="425"/>
                  </a:lnTo>
                  <a:lnTo>
                    <a:pt x="166" y="426"/>
                  </a:lnTo>
                  <a:lnTo>
                    <a:pt x="164" y="430"/>
                  </a:lnTo>
                  <a:lnTo>
                    <a:pt x="163" y="432"/>
                  </a:lnTo>
                  <a:lnTo>
                    <a:pt x="163" y="433"/>
                  </a:lnTo>
                  <a:lnTo>
                    <a:pt x="162" y="434"/>
                  </a:lnTo>
                  <a:lnTo>
                    <a:pt x="162" y="435"/>
                  </a:lnTo>
                  <a:lnTo>
                    <a:pt x="162" y="436"/>
                  </a:lnTo>
                  <a:lnTo>
                    <a:pt x="162" y="437"/>
                  </a:lnTo>
                  <a:lnTo>
                    <a:pt x="162" y="439"/>
                  </a:lnTo>
                  <a:lnTo>
                    <a:pt x="163" y="440"/>
                  </a:lnTo>
                  <a:lnTo>
                    <a:pt x="163" y="442"/>
                  </a:lnTo>
                  <a:lnTo>
                    <a:pt x="164" y="443"/>
                  </a:lnTo>
                  <a:lnTo>
                    <a:pt x="165" y="445"/>
                  </a:lnTo>
                  <a:lnTo>
                    <a:pt x="166" y="447"/>
                  </a:lnTo>
                  <a:lnTo>
                    <a:pt x="166" y="448"/>
                  </a:lnTo>
                  <a:lnTo>
                    <a:pt x="166" y="449"/>
                  </a:lnTo>
                  <a:lnTo>
                    <a:pt x="166" y="450"/>
                  </a:lnTo>
                  <a:lnTo>
                    <a:pt x="166" y="451"/>
                  </a:lnTo>
                  <a:lnTo>
                    <a:pt x="166" y="452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65" y="454"/>
                  </a:lnTo>
                  <a:lnTo>
                    <a:pt x="164" y="455"/>
                  </a:lnTo>
                  <a:lnTo>
                    <a:pt x="162" y="457"/>
                  </a:lnTo>
                  <a:lnTo>
                    <a:pt x="160" y="459"/>
                  </a:lnTo>
                  <a:lnTo>
                    <a:pt x="159" y="460"/>
                  </a:lnTo>
                  <a:lnTo>
                    <a:pt x="158" y="460"/>
                  </a:lnTo>
                  <a:lnTo>
                    <a:pt x="158" y="461"/>
                  </a:lnTo>
                  <a:lnTo>
                    <a:pt x="157" y="462"/>
                  </a:lnTo>
                  <a:lnTo>
                    <a:pt x="155" y="465"/>
                  </a:lnTo>
                  <a:lnTo>
                    <a:pt x="153" y="467"/>
                  </a:lnTo>
                  <a:lnTo>
                    <a:pt x="151" y="470"/>
                  </a:lnTo>
                  <a:lnTo>
                    <a:pt x="150" y="471"/>
                  </a:lnTo>
                  <a:lnTo>
                    <a:pt x="149" y="472"/>
                  </a:lnTo>
                  <a:lnTo>
                    <a:pt x="149" y="473"/>
                  </a:lnTo>
                  <a:lnTo>
                    <a:pt x="148" y="473"/>
                  </a:lnTo>
                  <a:lnTo>
                    <a:pt x="147" y="474"/>
                  </a:lnTo>
                  <a:lnTo>
                    <a:pt x="146" y="474"/>
                  </a:lnTo>
                  <a:lnTo>
                    <a:pt x="146" y="475"/>
                  </a:lnTo>
                  <a:lnTo>
                    <a:pt x="145" y="475"/>
                  </a:lnTo>
                  <a:lnTo>
                    <a:pt x="144" y="475"/>
                  </a:lnTo>
                  <a:lnTo>
                    <a:pt x="143" y="475"/>
                  </a:lnTo>
                  <a:lnTo>
                    <a:pt x="143" y="475"/>
                  </a:lnTo>
                  <a:lnTo>
                    <a:pt x="139" y="475"/>
                  </a:lnTo>
                  <a:lnTo>
                    <a:pt x="138" y="476"/>
                  </a:lnTo>
                  <a:lnTo>
                    <a:pt x="134" y="476"/>
                  </a:lnTo>
                  <a:lnTo>
                    <a:pt x="132" y="476"/>
                  </a:lnTo>
                  <a:lnTo>
                    <a:pt x="131" y="477"/>
                  </a:lnTo>
                  <a:lnTo>
                    <a:pt x="125" y="478"/>
                  </a:lnTo>
                  <a:lnTo>
                    <a:pt x="124" y="478"/>
                  </a:lnTo>
                  <a:lnTo>
                    <a:pt x="122" y="478"/>
                  </a:lnTo>
                  <a:lnTo>
                    <a:pt x="121" y="478"/>
                  </a:lnTo>
                  <a:lnTo>
                    <a:pt x="120" y="479"/>
                  </a:lnTo>
                  <a:lnTo>
                    <a:pt x="120" y="479"/>
                  </a:lnTo>
                  <a:lnTo>
                    <a:pt x="119" y="479"/>
                  </a:lnTo>
                  <a:lnTo>
                    <a:pt x="118" y="480"/>
                  </a:lnTo>
                  <a:lnTo>
                    <a:pt x="117" y="481"/>
                  </a:lnTo>
                  <a:lnTo>
                    <a:pt x="117" y="482"/>
                  </a:lnTo>
                  <a:lnTo>
                    <a:pt x="116" y="482"/>
                  </a:lnTo>
                  <a:lnTo>
                    <a:pt x="115" y="485"/>
                  </a:lnTo>
                  <a:lnTo>
                    <a:pt x="114" y="485"/>
                  </a:lnTo>
                  <a:lnTo>
                    <a:pt x="114" y="486"/>
                  </a:lnTo>
                  <a:lnTo>
                    <a:pt x="113" y="487"/>
                  </a:lnTo>
                  <a:lnTo>
                    <a:pt x="113" y="487"/>
                  </a:lnTo>
                  <a:lnTo>
                    <a:pt x="112" y="487"/>
                  </a:lnTo>
                  <a:lnTo>
                    <a:pt x="112" y="487"/>
                  </a:lnTo>
                  <a:lnTo>
                    <a:pt x="111" y="487"/>
                  </a:lnTo>
                  <a:lnTo>
                    <a:pt x="111" y="487"/>
                  </a:lnTo>
                  <a:lnTo>
                    <a:pt x="110" y="487"/>
                  </a:lnTo>
                  <a:lnTo>
                    <a:pt x="110" y="487"/>
                  </a:lnTo>
                  <a:lnTo>
                    <a:pt x="110" y="487"/>
                  </a:lnTo>
                  <a:lnTo>
                    <a:pt x="110" y="485"/>
                  </a:lnTo>
                  <a:lnTo>
                    <a:pt x="108" y="480"/>
                  </a:lnTo>
                  <a:lnTo>
                    <a:pt x="106" y="477"/>
                  </a:lnTo>
                  <a:lnTo>
                    <a:pt x="106" y="476"/>
                  </a:lnTo>
                  <a:lnTo>
                    <a:pt x="105" y="473"/>
                  </a:lnTo>
                  <a:lnTo>
                    <a:pt x="103" y="468"/>
                  </a:lnTo>
                  <a:lnTo>
                    <a:pt x="103" y="467"/>
                  </a:lnTo>
                  <a:lnTo>
                    <a:pt x="103" y="466"/>
                  </a:lnTo>
                  <a:lnTo>
                    <a:pt x="102" y="465"/>
                  </a:lnTo>
                  <a:lnTo>
                    <a:pt x="102" y="465"/>
                  </a:lnTo>
                  <a:lnTo>
                    <a:pt x="101" y="464"/>
                  </a:lnTo>
                  <a:lnTo>
                    <a:pt x="100" y="463"/>
                  </a:lnTo>
                  <a:lnTo>
                    <a:pt x="97" y="461"/>
                  </a:lnTo>
                  <a:lnTo>
                    <a:pt x="96" y="460"/>
                  </a:lnTo>
                  <a:lnTo>
                    <a:pt x="95" y="459"/>
                  </a:lnTo>
                  <a:lnTo>
                    <a:pt x="93" y="458"/>
                  </a:lnTo>
                  <a:lnTo>
                    <a:pt x="91" y="458"/>
                  </a:lnTo>
                  <a:lnTo>
                    <a:pt x="90" y="457"/>
                  </a:lnTo>
                  <a:lnTo>
                    <a:pt x="87" y="456"/>
                  </a:lnTo>
                  <a:lnTo>
                    <a:pt x="85" y="455"/>
                  </a:lnTo>
                  <a:lnTo>
                    <a:pt x="83" y="455"/>
                  </a:lnTo>
                  <a:lnTo>
                    <a:pt x="81" y="454"/>
                  </a:lnTo>
                  <a:lnTo>
                    <a:pt x="80" y="453"/>
                  </a:lnTo>
                  <a:lnTo>
                    <a:pt x="77" y="452"/>
                  </a:lnTo>
                  <a:lnTo>
                    <a:pt x="76" y="451"/>
                  </a:lnTo>
                  <a:lnTo>
                    <a:pt x="76" y="451"/>
                  </a:lnTo>
                  <a:lnTo>
                    <a:pt x="75" y="450"/>
                  </a:lnTo>
                  <a:lnTo>
                    <a:pt x="75" y="450"/>
                  </a:lnTo>
                  <a:lnTo>
                    <a:pt x="75" y="450"/>
                  </a:lnTo>
                  <a:lnTo>
                    <a:pt x="74" y="449"/>
                  </a:lnTo>
                  <a:lnTo>
                    <a:pt x="74" y="449"/>
                  </a:lnTo>
                  <a:lnTo>
                    <a:pt x="74" y="448"/>
                  </a:lnTo>
                  <a:lnTo>
                    <a:pt x="74" y="448"/>
                  </a:lnTo>
                  <a:lnTo>
                    <a:pt x="75" y="446"/>
                  </a:lnTo>
                  <a:lnTo>
                    <a:pt x="75" y="443"/>
                  </a:lnTo>
                  <a:lnTo>
                    <a:pt x="76" y="440"/>
                  </a:lnTo>
                  <a:lnTo>
                    <a:pt x="76" y="438"/>
                  </a:lnTo>
                  <a:lnTo>
                    <a:pt x="76" y="437"/>
                  </a:lnTo>
                  <a:lnTo>
                    <a:pt x="76" y="435"/>
                  </a:lnTo>
                  <a:lnTo>
                    <a:pt x="77" y="434"/>
                  </a:lnTo>
                  <a:lnTo>
                    <a:pt x="76" y="432"/>
                  </a:lnTo>
                  <a:lnTo>
                    <a:pt x="76" y="431"/>
                  </a:lnTo>
                  <a:lnTo>
                    <a:pt x="76" y="431"/>
                  </a:lnTo>
                  <a:lnTo>
                    <a:pt x="76" y="430"/>
                  </a:lnTo>
                  <a:lnTo>
                    <a:pt x="76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4" y="430"/>
                  </a:lnTo>
                  <a:lnTo>
                    <a:pt x="74" y="431"/>
                  </a:lnTo>
                  <a:lnTo>
                    <a:pt x="73" y="432"/>
                  </a:lnTo>
                  <a:lnTo>
                    <a:pt x="73" y="433"/>
                  </a:lnTo>
                  <a:lnTo>
                    <a:pt x="72" y="433"/>
                  </a:lnTo>
                  <a:lnTo>
                    <a:pt x="72" y="433"/>
                  </a:lnTo>
                  <a:lnTo>
                    <a:pt x="72" y="433"/>
                  </a:lnTo>
                  <a:lnTo>
                    <a:pt x="71" y="433"/>
                  </a:lnTo>
                  <a:lnTo>
                    <a:pt x="71" y="433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69" y="432"/>
                  </a:lnTo>
                  <a:lnTo>
                    <a:pt x="69" y="432"/>
                  </a:lnTo>
                  <a:lnTo>
                    <a:pt x="68" y="431"/>
                  </a:lnTo>
                  <a:lnTo>
                    <a:pt x="67" y="431"/>
                  </a:lnTo>
                  <a:lnTo>
                    <a:pt x="66" y="429"/>
                  </a:lnTo>
                  <a:lnTo>
                    <a:pt x="66" y="428"/>
                  </a:lnTo>
                  <a:lnTo>
                    <a:pt x="65" y="428"/>
                  </a:lnTo>
                  <a:lnTo>
                    <a:pt x="65" y="427"/>
                  </a:lnTo>
                  <a:lnTo>
                    <a:pt x="63" y="424"/>
                  </a:lnTo>
                  <a:lnTo>
                    <a:pt x="63" y="424"/>
                  </a:lnTo>
                  <a:lnTo>
                    <a:pt x="63" y="423"/>
                  </a:lnTo>
                  <a:lnTo>
                    <a:pt x="62" y="422"/>
                  </a:lnTo>
                  <a:lnTo>
                    <a:pt x="62" y="422"/>
                  </a:lnTo>
                  <a:lnTo>
                    <a:pt x="60" y="421"/>
                  </a:lnTo>
                  <a:lnTo>
                    <a:pt x="59" y="420"/>
                  </a:lnTo>
                  <a:lnTo>
                    <a:pt x="59" y="419"/>
                  </a:lnTo>
                  <a:lnTo>
                    <a:pt x="58" y="418"/>
                  </a:lnTo>
                  <a:lnTo>
                    <a:pt x="58" y="417"/>
                  </a:lnTo>
                  <a:lnTo>
                    <a:pt x="57" y="417"/>
                  </a:lnTo>
                  <a:lnTo>
                    <a:pt x="57" y="414"/>
                  </a:lnTo>
                  <a:lnTo>
                    <a:pt x="56" y="410"/>
                  </a:lnTo>
                  <a:lnTo>
                    <a:pt x="55" y="408"/>
                  </a:lnTo>
                  <a:lnTo>
                    <a:pt x="54" y="407"/>
                  </a:lnTo>
                  <a:lnTo>
                    <a:pt x="54" y="406"/>
                  </a:lnTo>
                  <a:lnTo>
                    <a:pt x="53" y="405"/>
                  </a:lnTo>
                  <a:lnTo>
                    <a:pt x="52" y="404"/>
                  </a:lnTo>
                  <a:lnTo>
                    <a:pt x="52" y="403"/>
                  </a:lnTo>
                  <a:lnTo>
                    <a:pt x="52" y="402"/>
                  </a:lnTo>
                  <a:lnTo>
                    <a:pt x="51" y="401"/>
                  </a:lnTo>
                  <a:lnTo>
                    <a:pt x="50" y="400"/>
                  </a:lnTo>
                  <a:lnTo>
                    <a:pt x="50" y="399"/>
                  </a:lnTo>
                  <a:lnTo>
                    <a:pt x="48" y="398"/>
                  </a:lnTo>
                  <a:lnTo>
                    <a:pt x="47" y="397"/>
                  </a:lnTo>
                  <a:lnTo>
                    <a:pt x="47" y="396"/>
                  </a:lnTo>
                  <a:lnTo>
                    <a:pt x="46" y="394"/>
                  </a:lnTo>
                  <a:lnTo>
                    <a:pt x="45" y="393"/>
                  </a:lnTo>
                  <a:lnTo>
                    <a:pt x="45" y="392"/>
                  </a:lnTo>
                  <a:lnTo>
                    <a:pt x="44" y="391"/>
                  </a:lnTo>
                  <a:lnTo>
                    <a:pt x="43" y="390"/>
                  </a:lnTo>
                  <a:lnTo>
                    <a:pt x="42" y="389"/>
                  </a:lnTo>
                  <a:lnTo>
                    <a:pt x="42" y="389"/>
                  </a:lnTo>
                  <a:lnTo>
                    <a:pt x="41" y="388"/>
                  </a:lnTo>
                  <a:lnTo>
                    <a:pt x="40" y="388"/>
                  </a:lnTo>
                  <a:lnTo>
                    <a:pt x="38" y="388"/>
                  </a:lnTo>
                  <a:lnTo>
                    <a:pt x="36" y="387"/>
                  </a:lnTo>
                  <a:lnTo>
                    <a:pt x="34" y="387"/>
                  </a:lnTo>
                  <a:lnTo>
                    <a:pt x="33" y="387"/>
                  </a:lnTo>
                  <a:lnTo>
                    <a:pt x="32" y="387"/>
                  </a:lnTo>
                  <a:lnTo>
                    <a:pt x="31" y="387"/>
                  </a:lnTo>
                  <a:lnTo>
                    <a:pt x="30" y="387"/>
                  </a:lnTo>
                  <a:lnTo>
                    <a:pt x="28" y="387"/>
                  </a:lnTo>
                  <a:lnTo>
                    <a:pt x="27" y="388"/>
                  </a:lnTo>
                  <a:lnTo>
                    <a:pt x="25" y="389"/>
                  </a:lnTo>
                  <a:lnTo>
                    <a:pt x="24" y="390"/>
                  </a:lnTo>
                  <a:lnTo>
                    <a:pt x="23" y="391"/>
                  </a:lnTo>
                  <a:lnTo>
                    <a:pt x="21" y="392"/>
                  </a:lnTo>
                  <a:lnTo>
                    <a:pt x="20" y="394"/>
                  </a:lnTo>
                  <a:lnTo>
                    <a:pt x="19" y="394"/>
                  </a:lnTo>
                  <a:lnTo>
                    <a:pt x="19" y="394"/>
                  </a:lnTo>
                  <a:lnTo>
                    <a:pt x="19" y="395"/>
                  </a:lnTo>
                  <a:lnTo>
                    <a:pt x="19" y="395"/>
                  </a:lnTo>
                  <a:lnTo>
                    <a:pt x="19" y="395"/>
                  </a:lnTo>
                  <a:lnTo>
                    <a:pt x="19" y="396"/>
                  </a:lnTo>
                  <a:lnTo>
                    <a:pt x="20" y="396"/>
                  </a:lnTo>
                  <a:lnTo>
                    <a:pt x="20" y="397"/>
                  </a:lnTo>
                  <a:lnTo>
                    <a:pt x="21" y="398"/>
                  </a:lnTo>
                  <a:lnTo>
                    <a:pt x="21" y="398"/>
                  </a:lnTo>
                  <a:lnTo>
                    <a:pt x="21" y="399"/>
                  </a:lnTo>
                  <a:lnTo>
                    <a:pt x="22" y="399"/>
                  </a:lnTo>
                  <a:lnTo>
                    <a:pt x="27" y="404"/>
                  </a:lnTo>
                  <a:lnTo>
                    <a:pt x="27" y="404"/>
                  </a:lnTo>
                  <a:lnTo>
                    <a:pt x="28" y="405"/>
                  </a:lnTo>
                  <a:lnTo>
                    <a:pt x="28" y="406"/>
                  </a:lnTo>
                  <a:lnTo>
                    <a:pt x="28" y="407"/>
                  </a:lnTo>
                  <a:lnTo>
                    <a:pt x="29" y="408"/>
                  </a:lnTo>
                  <a:lnTo>
                    <a:pt x="29" y="409"/>
                  </a:lnTo>
                  <a:lnTo>
                    <a:pt x="30" y="410"/>
                  </a:lnTo>
                  <a:lnTo>
                    <a:pt x="31" y="412"/>
                  </a:lnTo>
                  <a:lnTo>
                    <a:pt x="31" y="413"/>
                  </a:lnTo>
                  <a:lnTo>
                    <a:pt x="32" y="414"/>
                  </a:lnTo>
                  <a:lnTo>
                    <a:pt x="32" y="415"/>
                  </a:lnTo>
                  <a:lnTo>
                    <a:pt x="32" y="415"/>
                  </a:lnTo>
                  <a:lnTo>
                    <a:pt x="32" y="416"/>
                  </a:lnTo>
                  <a:lnTo>
                    <a:pt x="32" y="417"/>
                  </a:lnTo>
                  <a:lnTo>
                    <a:pt x="32" y="417"/>
                  </a:lnTo>
                  <a:lnTo>
                    <a:pt x="32" y="418"/>
                  </a:lnTo>
                  <a:lnTo>
                    <a:pt x="32" y="418"/>
                  </a:lnTo>
                  <a:lnTo>
                    <a:pt x="31" y="419"/>
                  </a:lnTo>
                  <a:lnTo>
                    <a:pt x="30" y="421"/>
                  </a:lnTo>
                  <a:lnTo>
                    <a:pt x="29" y="422"/>
                  </a:lnTo>
                  <a:lnTo>
                    <a:pt x="28" y="424"/>
                  </a:lnTo>
                  <a:lnTo>
                    <a:pt x="27" y="427"/>
                  </a:lnTo>
                  <a:lnTo>
                    <a:pt x="27" y="429"/>
                  </a:lnTo>
                  <a:lnTo>
                    <a:pt x="26" y="430"/>
                  </a:lnTo>
                  <a:lnTo>
                    <a:pt x="25" y="431"/>
                  </a:lnTo>
                  <a:lnTo>
                    <a:pt x="25" y="432"/>
                  </a:lnTo>
                  <a:lnTo>
                    <a:pt x="23" y="433"/>
                  </a:lnTo>
                  <a:lnTo>
                    <a:pt x="22" y="434"/>
                  </a:lnTo>
                  <a:lnTo>
                    <a:pt x="21" y="435"/>
                  </a:lnTo>
                  <a:lnTo>
                    <a:pt x="20" y="436"/>
                  </a:lnTo>
                  <a:lnTo>
                    <a:pt x="19" y="436"/>
                  </a:lnTo>
                  <a:lnTo>
                    <a:pt x="18" y="437"/>
                  </a:lnTo>
                  <a:lnTo>
                    <a:pt x="17" y="437"/>
                  </a:lnTo>
                  <a:lnTo>
                    <a:pt x="16" y="437"/>
                  </a:lnTo>
                  <a:lnTo>
                    <a:pt x="15" y="437"/>
                  </a:lnTo>
                  <a:lnTo>
                    <a:pt x="14" y="436"/>
                  </a:lnTo>
                  <a:lnTo>
                    <a:pt x="12" y="436"/>
                  </a:lnTo>
                  <a:lnTo>
                    <a:pt x="11" y="435"/>
                  </a:lnTo>
                  <a:lnTo>
                    <a:pt x="9" y="434"/>
                  </a:lnTo>
                  <a:lnTo>
                    <a:pt x="6" y="431"/>
                  </a:lnTo>
                  <a:lnTo>
                    <a:pt x="4" y="430"/>
                  </a:lnTo>
                  <a:lnTo>
                    <a:pt x="3" y="429"/>
                  </a:lnTo>
                  <a:lnTo>
                    <a:pt x="3" y="429"/>
                  </a:lnTo>
                  <a:lnTo>
                    <a:pt x="1" y="427"/>
                  </a:lnTo>
                  <a:lnTo>
                    <a:pt x="1" y="427"/>
                  </a:lnTo>
                  <a:lnTo>
                    <a:pt x="0" y="426"/>
                  </a:lnTo>
                  <a:lnTo>
                    <a:pt x="0" y="426"/>
                  </a:lnTo>
                  <a:lnTo>
                    <a:pt x="0" y="425"/>
                  </a:lnTo>
                  <a:lnTo>
                    <a:pt x="0" y="424"/>
                  </a:lnTo>
                  <a:lnTo>
                    <a:pt x="0" y="423"/>
                  </a:lnTo>
                  <a:lnTo>
                    <a:pt x="0" y="423"/>
                  </a:lnTo>
                  <a:lnTo>
                    <a:pt x="0" y="422"/>
                  </a:lnTo>
                  <a:lnTo>
                    <a:pt x="1" y="421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" name="Freeform 71">
              <a:extLst>
                <a:ext uri="{FF2B5EF4-FFF2-40B4-BE49-F238E27FC236}">
                  <a16:creationId xmlns:a16="http://schemas.microsoft.com/office/drawing/2014/main" id="{2E797132-3309-ACD0-5B10-7FD8DB720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140"/>
              <a:ext cx="169" cy="475"/>
            </a:xfrm>
            <a:custGeom>
              <a:avLst/>
              <a:gdLst>
                <a:gd name="T0" fmla="*/ 36 w 169"/>
                <a:gd name="T1" fmla="*/ 470 h 475"/>
                <a:gd name="T2" fmla="*/ 35 w 169"/>
                <a:gd name="T3" fmla="*/ 464 h 475"/>
                <a:gd name="T4" fmla="*/ 28 w 169"/>
                <a:gd name="T5" fmla="*/ 449 h 475"/>
                <a:gd name="T6" fmla="*/ 27 w 169"/>
                <a:gd name="T7" fmla="*/ 436 h 475"/>
                <a:gd name="T8" fmla="*/ 34 w 169"/>
                <a:gd name="T9" fmla="*/ 426 h 475"/>
                <a:gd name="T10" fmla="*/ 34 w 169"/>
                <a:gd name="T11" fmla="*/ 424 h 475"/>
                <a:gd name="T12" fmla="*/ 15 w 169"/>
                <a:gd name="T13" fmla="*/ 419 h 475"/>
                <a:gd name="T14" fmla="*/ 13 w 169"/>
                <a:gd name="T15" fmla="*/ 416 h 475"/>
                <a:gd name="T16" fmla="*/ 13 w 169"/>
                <a:gd name="T17" fmla="*/ 405 h 475"/>
                <a:gd name="T18" fmla="*/ 18 w 169"/>
                <a:gd name="T19" fmla="*/ 403 h 475"/>
                <a:gd name="T20" fmla="*/ 26 w 169"/>
                <a:gd name="T21" fmla="*/ 403 h 475"/>
                <a:gd name="T22" fmla="*/ 29 w 169"/>
                <a:gd name="T23" fmla="*/ 395 h 475"/>
                <a:gd name="T24" fmla="*/ 31 w 169"/>
                <a:gd name="T25" fmla="*/ 386 h 475"/>
                <a:gd name="T26" fmla="*/ 30 w 169"/>
                <a:gd name="T27" fmla="*/ 374 h 475"/>
                <a:gd name="T28" fmla="*/ 32 w 169"/>
                <a:gd name="T29" fmla="*/ 366 h 475"/>
                <a:gd name="T30" fmla="*/ 40 w 169"/>
                <a:gd name="T31" fmla="*/ 355 h 475"/>
                <a:gd name="T32" fmla="*/ 40 w 169"/>
                <a:gd name="T33" fmla="*/ 341 h 475"/>
                <a:gd name="T34" fmla="*/ 36 w 169"/>
                <a:gd name="T35" fmla="*/ 335 h 475"/>
                <a:gd name="T36" fmla="*/ 28 w 169"/>
                <a:gd name="T37" fmla="*/ 333 h 475"/>
                <a:gd name="T38" fmla="*/ 28 w 169"/>
                <a:gd name="T39" fmla="*/ 328 h 475"/>
                <a:gd name="T40" fmla="*/ 26 w 169"/>
                <a:gd name="T41" fmla="*/ 320 h 475"/>
                <a:gd name="T42" fmla="*/ 20 w 169"/>
                <a:gd name="T43" fmla="*/ 308 h 475"/>
                <a:gd name="T44" fmla="*/ 12 w 169"/>
                <a:gd name="T45" fmla="*/ 294 h 475"/>
                <a:gd name="T46" fmla="*/ 7 w 169"/>
                <a:gd name="T47" fmla="*/ 284 h 475"/>
                <a:gd name="T48" fmla="*/ 9 w 169"/>
                <a:gd name="T49" fmla="*/ 275 h 475"/>
                <a:gd name="T50" fmla="*/ 13 w 169"/>
                <a:gd name="T51" fmla="*/ 266 h 475"/>
                <a:gd name="T52" fmla="*/ 11 w 169"/>
                <a:gd name="T53" fmla="*/ 250 h 475"/>
                <a:gd name="T54" fmla="*/ 5 w 169"/>
                <a:gd name="T55" fmla="*/ 230 h 475"/>
                <a:gd name="T56" fmla="*/ 1 w 169"/>
                <a:gd name="T57" fmla="*/ 212 h 475"/>
                <a:gd name="T58" fmla="*/ 3 w 169"/>
                <a:gd name="T59" fmla="*/ 209 h 475"/>
                <a:gd name="T60" fmla="*/ 11 w 169"/>
                <a:gd name="T61" fmla="*/ 206 h 475"/>
                <a:gd name="T62" fmla="*/ 22 w 169"/>
                <a:gd name="T63" fmla="*/ 196 h 475"/>
                <a:gd name="T64" fmla="*/ 27 w 169"/>
                <a:gd name="T65" fmla="*/ 189 h 475"/>
                <a:gd name="T66" fmla="*/ 25 w 169"/>
                <a:gd name="T67" fmla="*/ 177 h 475"/>
                <a:gd name="T68" fmla="*/ 27 w 169"/>
                <a:gd name="T69" fmla="*/ 167 h 475"/>
                <a:gd name="T70" fmla="*/ 28 w 169"/>
                <a:gd name="T71" fmla="*/ 157 h 475"/>
                <a:gd name="T72" fmla="*/ 38 w 169"/>
                <a:gd name="T73" fmla="*/ 132 h 475"/>
                <a:gd name="T74" fmla="*/ 41 w 169"/>
                <a:gd name="T75" fmla="*/ 118 h 475"/>
                <a:gd name="T76" fmla="*/ 43 w 169"/>
                <a:gd name="T77" fmla="*/ 115 h 475"/>
                <a:gd name="T78" fmla="*/ 53 w 169"/>
                <a:gd name="T79" fmla="*/ 106 h 475"/>
                <a:gd name="T80" fmla="*/ 64 w 169"/>
                <a:gd name="T81" fmla="*/ 103 h 475"/>
                <a:gd name="T82" fmla="*/ 72 w 169"/>
                <a:gd name="T83" fmla="*/ 98 h 475"/>
                <a:gd name="T84" fmla="*/ 80 w 169"/>
                <a:gd name="T85" fmla="*/ 103 h 475"/>
                <a:gd name="T86" fmla="*/ 85 w 169"/>
                <a:gd name="T87" fmla="*/ 103 h 475"/>
                <a:gd name="T88" fmla="*/ 85 w 169"/>
                <a:gd name="T89" fmla="*/ 94 h 475"/>
                <a:gd name="T90" fmla="*/ 85 w 169"/>
                <a:gd name="T91" fmla="*/ 80 h 475"/>
                <a:gd name="T92" fmla="*/ 80 w 169"/>
                <a:gd name="T93" fmla="*/ 69 h 475"/>
                <a:gd name="T94" fmla="*/ 66 w 169"/>
                <a:gd name="T95" fmla="*/ 60 h 475"/>
                <a:gd name="T96" fmla="*/ 59 w 169"/>
                <a:gd name="T97" fmla="*/ 49 h 475"/>
                <a:gd name="T98" fmla="*/ 52 w 169"/>
                <a:gd name="T99" fmla="*/ 30 h 475"/>
                <a:gd name="T100" fmla="*/ 42 w 169"/>
                <a:gd name="T101" fmla="*/ 21 h 475"/>
                <a:gd name="T102" fmla="*/ 39 w 169"/>
                <a:gd name="T103" fmla="*/ 15 h 475"/>
                <a:gd name="T104" fmla="*/ 45 w 169"/>
                <a:gd name="T105" fmla="*/ 5 h 475"/>
                <a:gd name="T106" fmla="*/ 51 w 169"/>
                <a:gd name="T107" fmla="*/ 0 h 475"/>
                <a:gd name="T108" fmla="*/ 68 w 169"/>
                <a:gd name="T109" fmla="*/ 10 h 475"/>
                <a:gd name="T110" fmla="*/ 79 w 169"/>
                <a:gd name="T111" fmla="*/ 11 h 475"/>
                <a:gd name="T112" fmla="*/ 98 w 169"/>
                <a:gd name="T113" fmla="*/ 18 h 475"/>
                <a:gd name="T114" fmla="*/ 111 w 169"/>
                <a:gd name="T115" fmla="*/ 21 h 475"/>
                <a:gd name="T116" fmla="*/ 124 w 169"/>
                <a:gd name="T117" fmla="*/ 28 h 475"/>
                <a:gd name="T118" fmla="*/ 136 w 169"/>
                <a:gd name="T119" fmla="*/ 28 h 475"/>
                <a:gd name="T120" fmla="*/ 141 w 169"/>
                <a:gd name="T121" fmla="*/ 38 h 475"/>
                <a:gd name="T122" fmla="*/ 151 w 169"/>
                <a:gd name="T123" fmla="*/ 49 h 475"/>
                <a:gd name="T124" fmla="*/ 162 w 169"/>
                <a:gd name="T125" fmla="*/ 55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9" h="475">
                  <a:moveTo>
                    <a:pt x="32" y="475"/>
                  </a:moveTo>
                  <a:lnTo>
                    <a:pt x="32" y="475"/>
                  </a:lnTo>
                  <a:lnTo>
                    <a:pt x="32" y="474"/>
                  </a:lnTo>
                  <a:lnTo>
                    <a:pt x="32" y="474"/>
                  </a:lnTo>
                  <a:lnTo>
                    <a:pt x="33" y="473"/>
                  </a:lnTo>
                  <a:lnTo>
                    <a:pt x="35" y="471"/>
                  </a:lnTo>
                  <a:lnTo>
                    <a:pt x="36" y="471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9"/>
                  </a:lnTo>
                  <a:lnTo>
                    <a:pt x="37" y="469"/>
                  </a:lnTo>
                  <a:lnTo>
                    <a:pt x="37" y="468"/>
                  </a:lnTo>
                  <a:lnTo>
                    <a:pt x="36" y="467"/>
                  </a:lnTo>
                  <a:lnTo>
                    <a:pt x="36" y="466"/>
                  </a:lnTo>
                  <a:lnTo>
                    <a:pt x="35" y="465"/>
                  </a:lnTo>
                  <a:lnTo>
                    <a:pt x="35" y="464"/>
                  </a:lnTo>
                  <a:lnTo>
                    <a:pt x="34" y="463"/>
                  </a:lnTo>
                  <a:lnTo>
                    <a:pt x="32" y="460"/>
                  </a:lnTo>
                  <a:lnTo>
                    <a:pt x="31" y="459"/>
                  </a:lnTo>
                  <a:lnTo>
                    <a:pt x="31" y="458"/>
                  </a:lnTo>
                  <a:lnTo>
                    <a:pt x="30" y="457"/>
                  </a:lnTo>
                  <a:lnTo>
                    <a:pt x="30" y="456"/>
                  </a:lnTo>
                  <a:lnTo>
                    <a:pt x="29" y="453"/>
                  </a:lnTo>
                  <a:lnTo>
                    <a:pt x="28" y="449"/>
                  </a:lnTo>
                  <a:lnTo>
                    <a:pt x="27" y="446"/>
                  </a:lnTo>
                  <a:lnTo>
                    <a:pt x="27" y="445"/>
                  </a:lnTo>
                  <a:lnTo>
                    <a:pt x="27" y="443"/>
                  </a:lnTo>
                  <a:lnTo>
                    <a:pt x="27" y="442"/>
                  </a:lnTo>
                  <a:lnTo>
                    <a:pt x="27" y="440"/>
                  </a:lnTo>
                  <a:lnTo>
                    <a:pt x="27" y="439"/>
                  </a:lnTo>
                  <a:lnTo>
                    <a:pt x="27" y="437"/>
                  </a:lnTo>
                  <a:lnTo>
                    <a:pt x="27" y="436"/>
                  </a:lnTo>
                  <a:lnTo>
                    <a:pt x="28" y="435"/>
                  </a:lnTo>
                  <a:lnTo>
                    <a:pt x="30" y="432"/>
                  </a:lnTo>
                  <a:lnTo>
                    <a:pt x="30" y="431"/>
                  </a:lnTo>
                  <a:lnTo>
                    <a:pt x="32" y="429"/>
                  </a:lnTo>
                  <a:lnTo>
                    <a:pt x="32" y="428"/>
                  </a:lnTo>
                  <a:lnTo>
                    <a:pt x="33" y="428"/>
                  </a:lnTo>
                  <a:lnTo>
                    <a:pt x="34" y="427"/>
                  </a:lnTo>
                  <a:lnTo>
                    <a:pt x="34" y="426"/>
                  </a:lnTo>
                  <a:lnTo>
                    <a:pt x="35" y="426"/>
                  </a:lnTo>
                  <a:lnTo>
                    <a:pt x="35" y="425"/>
                  </a:lnTo>
                  <a:lnTo>
                    <a:pt x="36" y="425"/>
                  </a:lnTo>
                  <a:lnTo>
                    <a:pt x="36" y="425"/>
                  </a:lnTo>
                  <a:lnTo>
                    <a:pt x="36" y="424"/>
                  </a:lnTo>
                  <a:lnTo>
                    <a:pt x="35" y="424"/>
                  </a:lnTo>
                  <a:lnTo>
                    <a:pt x="35" y="424"/>
                  </a:lnTo>
                  <a:lnTo>
                    <a:pt x="34" y="424"/>
                  </a:lnTo>
                  <a:lnTo>
                    <a:pt x="32" y="423"/>
                  </a:lnTo>
                  <a:lnTo>
                    <a:pt x="30" y="423"/>
                  </a:lnTo>
                  <a:lnTo>
                    <a:pt x="29" y="423"/>
                  </a:lnTo>
                  <a:lnTo>
                    <a:pt x="27" y="423"/>
                  </a:lnTo>
                  <a:lnTo>
                    <a:pt x="25" y="422"/>
                  </a:lnTo>
                  <a:lnTo>
                    <a:pt x="21" y="421"/>
                  </a:lnTo>
                  <a:lnTo>
                    <a:pt x="18" y="420"/>
                  </a:lnTo>
                  <a:lnTo>
                    <a:pt x="15" y="419"/>
                  </a:lnTo>
                  <a:lnTo>
                    <a:pt x="15" y="419"/>
                  </a:lnTo>
                  <a:lnTo>
                    <a:pt x="14" y="419"/>
                  </a:lnTo>
                  <a:lnTo>
                    <a:pt x="14" y="418"/>
                  </a:lnTo>
                  <a:lnTo>
                    <a:pt x="13" y="418"/>
                  </a:lnTo>
                  <a:lnTo>
                    <a:pt x="13" y="418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3" y="416"/>
                  </a:lnTo>
                  <a:lnTo>
                    <a:pt x="13" y="415"/>
                  </a:lnTo>
                  <a:lnTo>
                    <a:pt x="13" y="413"/>
                  </a:lnTo>
                  <a:lnTo>
                    <a:pt x="13" y="412"/>
                  </a:lnTo>
                  <a:lnTo>
                    <a:pt x="13" y="411"/>
                  </a:lnTo>
                  <a:lnTo>
                    <a:pt x="12" y="408"/>
                  </a:lnTo>
                  <a:lnTo>
                    <a:pt x="12" y="407"/>
                  </a:lnTo>
                  <a:lnTo>
                    <a:pt x="12" y="406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4" y="403"/>
                  </a:lnTo>
                  <a:lnTo>
                    <a:pt x="14" y="402"/>
                  </a:lnTo>
                  <a:lnTo>
                    <a:pt x="15" y="402"/>
                  </a:lnTo>
                  <a:lnTo>
                    <a:pt x="15" y="402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3" y="404"/>
                  </a:lnTo>
                  <a:lnTo>
                    <a:pt x="24" y="404"/>
                  </a:lnTo>
                  <a:lnTo>
                    <a:pt x="25" y="404"/>
                  </a:lnTo>
                  <a:lnTo>
                    <a:pt x="25" y="404"/>
                  </a:lnTo>
                  <a:lnTo>
                    <a:pt x="25" y="403"/>
                  </a:lnTo>
                  <a:lnTo>
                    <a:pt x="26" y="403"/>
                  </a:lnTo>
                  <a:lnTo>
                    <a:pt x="26" y="403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8" y="397"/>
                  </a:lnTo>
                  <a:lnTo>
                    <a:pt x="29" y="396"/>
                  </a:lnTo>
                  <a:lnTo>
                    <a:pt x="29" y="395"/>
                  </a:lnTo>
                  <a:lnTo>
                    <a:pt x="29" y="394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0" y="389"/>
                  </a:lnTo>
                  <a:lnTo>
                    <a:pt x="31" y="386"/>
                  </a:lnTo>
                  <a:lnTo>
                    <a:pt x="32" y="384"/>
                  </a:lnTo>
                  <a:lnTo>
                    <a:pt x="32" y="382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80"/>
                  </a:lnTo>
                  <a:lnTo>
                    <a:pt x="31" y="377"/>
                  </a:lnTo>
                  <a:lnTo>
                    <a:pt x="30" y="375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3"/>
                  </a:lnTo>
                  <a:lnTo>
                    <a:pt x="30" y="371"/>
                  </a:lnTo>
                  <a:lnTo>
                    <a:pt x="30" y="370"/>
                  </a:lnTo>
                  <a:lnTo>
                    <a:pt x="30" y="369"/>
                  </a:lnTo>
                  <a:lnTo>
                    <a:pt x="31" y="368"/>
                  </a:lnTo>
                  <a:lnTo>
                    <a:pt x="31" y="367"/>
                  </a:lnTo>
                  <a:lnTo>
                    <a:pt x="32" y="366"/>
                  </a:lnTo>
                  <a:lnTo>
                    <a:pt x="33" y="365"/>
                  </a:lnTo>
                  <a:lnTo>
                    <a:pt x="33" y="364"/>
                  </a:lnTo>
                  <a:lnTo>
                    <a:pt x="36" y="361"/>
                  </a:lnTo>
                  <a:lnTo>
                    <a:pt x="38" y="358"/>
                  </a:lnTo>
                  <a:lnTo>
                    <a:pt x="39" y="357"/>
                  </a:lnTo>
                  <a:lnTo>
                    <a:pt x="39" y="356"/>
                  </a:lnTo>
                  <a:lnTo>
                    <a:pt x="39" y="356"/>
                  </a:lnTo>
                  <a:lnTo>
                    <a:pt x="40" y="355"/>
                  </a:lnTo>
                  <a:lnTo>
                    <a:pt x="40" y="353"/>
                  </a:lnTo>
                  <a:lnTo>
                    <a:pt x="41" y="352"/>
                  </a:lnTo>
                  <a:lnTo>
                    <a:pt x="41" y="350"/>
                  </a:lnTo>
                  <a:lnTo>
                    <a:pt x="41" y="348"/>
                  </a:lnTo>
                  <a:lnTo>
                    <a:pt x="41" y="347"/>
                  </a:lnTo>
                  <a:lnTo>
                    <a:pt x="41" y="346"/>
                  </a:lnTo>
                  <a:lnTo>
                    <a:pt x="40" y="342"/>
                  </a:lnTo>
                  <a:lnTo>
                    <a:pt x="40" y="341"/>
                  </a:lnTo>
                  <a:lnTo>
                    <a:pt x="40" y="340"/>
                  </a:lnTo>
                  <a:lnTo>
                    <a:pt x="40" y="339"/>
                  </a:lnTo>
                  <a:lnTo>
                    <a:pt x="39" y="338"/>
                  </a:lnTo>
                  <a:lnTo>
                    <a:pt x="39" y="338"/>
                  </a:lnTo>
                  <a:lnTo>
                    <a:pt x="38" y="337"/>
                  </a:lnTo>
                  <a:lnTo>
                    <a:pt x="38" y="336"/>
                  </a:lnTo>
                  <a:lnTo>
                    <a:pt x="37" y="336"/>
                  </a:lnTo>
                  <a:lnTo>
                    <a:pt x="36" y="335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4" y="334"/>
                  </a:lnTo>
                  <a:lnTo>
                    <a:pt x="31" y="334"/>
                  </a:lnTo>
                  <a:lnTo>
                    <a:pt x="30" y="333"/>
                  </a:lnTo>
                  <a:lnTo>
                    <a:pt x="29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7" y="333"/>
                  </a:lnTo>
                  <a:lnTo>
                    <a:pt x="27" y="333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1"/>
                  </a:lnTo>
                  <a:lnTo>
                    <a:pt x="27" y="330"/>
                  </a:lnTo>
                  <a:lnTo>
                    <a:pt x="28" y="328"/>
                  </a:lnTo>
                  <a:lnTo>
                    <a:pt x="28" y="327"/>
                  </a:lnTo>
                  <a:lnTo>
                    <a:pt x="28" y="326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8" y="324"/>
                  </a:lnTo>
                  <a:lnTo>
                    <a:pt x="27" y="321"/>
                  </a:lnTo>
                  <a:lnTo>
                    <a:pt x="26" y="321"/>
                  </a:lnTo>
                  <a:lnTo>
                    <a:pt x="26" y="320"/>
                  </a:lnTo>
                  <a:lnTo>
                    <a:pt x="26" y="317"/>
                  </a:lnTo>
                  <a:lnTo>
                    <a:pt x="26" y="316"/>
                  </a:lnTo>
                  <a:lnTo>
                    <a:pt x="25" y="315"/>
                  </a:lnTo>
                  <a:lnTo>
                    <a:pt x="25" y="314"/>
                  </a:lnTo>
                  <a:lnTo>
                    <a:pt x="24" y="314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7" y="305"/>
                  </a:lnTo>
                  <a:lnTo>
                    <a:pt x="16" y="304"/>
                  </a:lnTo>
                  <a:lnTo>
                    <a:pt x="15" y="302"/>
                  </a:lnTo>
                  <a:lnTo>
                    <a:pt x="15" y="300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12" y="294"/>
                  </a:lnTo>
                  <a:lnTo>
                    <a:pt x="12" y="293"/>
                  </a:lnTo>
                  <a:lnTo>
                    <a:pt x="12" y="292"/>
                  </a:lnTo>
                  <a:lnTo>
                    <a:pt x="11" y="291"/>
                  </a:lnTo>
                  <a:lnTo>
                    <a:pt x="9" y="288"/>
                  </a:lnTo>
                  <a:lnTo>
                    <a:pt x="8" y="287"/>
                  </a:lnTo>
                  <a:lnTo>
                    <a:pt x="8" y="286"/>
                  </a:lnTo>
                  <a:lnTo>
                    <a:pt x="8" y="285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6"/>
                  </a:lnTo>
                  <a:lnTo>
                    <a:pt x="9" y="275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2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8"/>
                  </a:lnTo>
                  <a:lnTo>
                    <a:pt x="13" y="267"/>
                  </a:lnTo>
                  <a:lnTo>
                    <a:pt x="13" y="266"/>
                  </a:lnTo>
                  <a:lnTo>
                    <a:pt x="13" y="266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2" y="260"/>
                  </a:lnTo>
                  <a:lnTo>
                    <a:pt x="12" y="258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7"/>
                  </a:lnTo>
                  <a:lnTo>
                    <a:pt x="10" y="246"/>
                  </a:lnTo>
                  <a:lnTo>
                    <a:pt x="9" y="241"/>
                  </a:lnTo>
                  <a:lnTo>
                    <a:pt x="7" y="236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5" y="230"/>
                  </a:lnTo>
                  <a:lnTo>
                    <a:pt x="4" y="225"/>
                  </a:lnTo>
                  <a:lnTo>
                    <a:pt x="4" y="223"/>
                  </a:lnTo>
                  <a:lnTo>
                    <a:pt x="3" y="220"/>
                  </a:lnTo>
                  <a:lnTo>
                    <a:pt x="1" y="216"/>
                  </a:lnTo>
                  <a:lnTo>
                    <a:pt x="1" y="215"/>
                  </a:lnTo>
                  <a:lnTo>
                    <a:pt x="1" y="214"/>
                  </a:lnTo>
                  <a:lnTo>
                    <a:pt x="0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1" y="210"/>
                  </a:lnTo>
                  <a:lnTo>
                    <a:pt x="1" y="210"/>
                  </a:lnTo>
                  <a:lnTo>
                    <a:pt x="2" y="210"/>
                  </a:lnTo>
                  <a:lnTo>
                    <a:pt x="2" y="210"/>
                  </a:lnTo>
                  <a:lnTo>
                    <a:pt x="3" y="209"/>
                  </a:lnTo>
                  <a:lnTo>
                    <a:pt x="4" y="209"/>
                  </a:lnTo>
                  <a:lnTo>
                    <a:pt x="5" y="209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0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3" y="205"/>
                  </a:lnTo>
                  <a:lnTo>
                    <a:pt x="14" y="204"/>
                  </a:lnTo>
                  <a:lnTo>
                    <a:pt x="15" y="203"/>
                  </a:lnTo>
                  <a:lnTo>
                    <a:pt x="15" y="202"/>
                  </a:lnTo>
                  <a:lnTo>
                    <a:pt x="18" y="199"/>
                  </a:lnTo>
                  <a:lnTo>
                    <a:pt x="19" y="198"/>
                  </a:lnTo>
                  <a:lnTo>
                    <a:pt x="22" y="196"/>
                  </a:lnTo>
                  <a:lnTo>
                    <a:pt x="23" y="194"/>
                  </a:lnTo>
                  <a:lnTo>
                    <a:pt x="24" y="194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2"/>
                  </a:lnTo>
                  <a:lnTo>
                    <a:pt x="26" y="191"/>
                  </a:lnTo>
                  <a:lnTo>
                    <a:pt x="26" y="190"/>
                  </a:lnTo>
                  <a:lnTo>
                    <a:pt x="27" y="189"/>
                  </a:lnTo>
                  <a:lnTo>
                    <a:pt x="27" y="188"/>
                  </a:lnTo>
                  <a:lnTo>
                    <a:pt x="27" y="187"/>
                  </a:lnTo>
                  <a:lnTo>
                    <a:pt x="27" y="185"/>
                  </a:lnTo>
                  <a:lnTo>
                    <a:pt x="26" y="182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0"/>
                  </a:lnTo>
                  <a:lnTo>
                    <a:pt x="27" y="169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6"/>
                  </a:lnTo>
                  <a:lnTo>
                    <a:pt x="27" y="162"/>
                  </a:lnTo>
                  <a:lnTo>
                    <a:pt x="27" y="161"/>
                  </a:lnTo>
                  <a:lnTo>
                    <a:pt x="27" y="160"/>
                  </a:lnTo>
                  <a:lnTo>
                    <a:pt x="27" y="159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30" y="150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4" y="143"/>
                  </a:lnTo>
                  <a:lnTo>
                    <a:pt x="36" y="135"/>
                  </a:lnTo>
                  <a:lnTo>
                    <a:pt x="38" y="132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40" y="125"/>
                  </a:lnTo>
                  <a:lnTo>
                    <a:pt x="40" y="123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4" y="114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9" y="108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5" y="105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3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1"/>
                  </a:lnTo>
                  <a:lnTo>
                    <a:pt x="69" y="100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6" y="99"/>
                  </a:lnTo>
                  <a:lnTo>
                    <a:pt x="79" y="102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1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3"/>
                  </a:lnTo>
                  <a:lnTo>
                    <a:pt x="85" y="103"/>
                  </a:lnTo>
                  <a:lnTo>
                    <a:pt x="85" y="102"/>
                  </a:lnTo>
                  <a:lnTo>
                    <a:pt x="86" y="102"/>
                  </a:lnTo>
                  <a:lnTo>
                    <a:pt x="86" y="101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6" y="97"/>
                  </a:lnTo>
                  <a:lnTo>
                    <a:pt x="85" y="94"/>
                  </a:lnTo>
                  <a:lnTo>
                    <a:pt x="85" y="92"/>
                  </a:lnTo>
                  <a:lnTo>
                    <a:pt x="84" y="91"/>
                  </a:lnTo>
                  <a:lnTo>
                    <a:pt x="84" y="89"/>
                  </a:lnTo>
                  <a:lnTo>
                    <a:pt x="84" y="88"/>
                  </a:lnTo>
                  <a:lnTo>
                    <a:pt x="84" y="87"/>
                  </a:lnTo>
                  <a:lnTo>
                    <a:pt x="85" y="83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5" y="78"/>
                  </a:lnTo>
                  <a:lnTo>
                    <a:pt x="84" y="77"/>
                  </a:lnTo>
                  <a:lnTo>
                    <a:pt x="84" y="75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79" y="68"/>
                  </a:lnTo>
                  <a:lnTo>
                    <a:pt x="78" y="67"/>
                  </a:lnTo>
                  <a:lnTo>
                    <a:pt x="77" y="66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68" y="62"/>
                  </a:lnTo>
                  <a:lnTo>
                    <a:pt x="67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1" y="54"/>
                  </a:lnTo>
                  <a:lnTo>
                    <a:pt x="59" y="49"/>
                  </a:lnTo>
                  <a:lnTo>
                    <a:pt x="57" y="44"/>
                  </a:lnTo>
                  <a:lnTo>
                    <a:pt x="56" y="42"/>
                  </a:lnTo>
                  <a:lnTo>
                    <a:pt x="55" y="40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3" y="32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8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4" y="6"/>
                  </a:lnTo>
                  <a:lnTo>
                    <a:pt x="45" y="5"/>
                  </a:lnTo>
                  <a:lnTo>
                    <a:pt x="46" y="4"/>
                  </a:lnTo>
                  <a:lnTo>
                    <a:pt x="47" y="3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9" y="5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0" y="12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6" y="14"/>
                  </a:lnTo>
                  <a:lnTo>
                    <a:pt x="92" y="16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8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3" y="22"/>
                  </a:lnTo>
                  <a:lnTo>
                    <a:pt x="113" y="23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5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8" y="31"/>
                  </a:lnTo>
                  <a:lnTo>
                    <a:pt x="140" y="35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3" y="40"/>
                  </a:lnTo>
                  <a:lnTo>
                    <a:pt x="144" y="41"/>
                  </a:lnTo>
                  <a:lnTo>
                    <a:pt x="145" y="43"/>
                  </a:lnTo>
                  <a:lnTo>
                    <a:pt x="146" y="44"/>
                  </a:lnTo>
                  <a:lnTo>
                    <a:pt x="147" y="45"/>
                  </a:lnTo>
                  <a:lnTo>
                    <a:pt x="148" y="46"/>
                  </a:lnTo>
                  <a:lnTo>
                    <a:pt x="149" y="47"/>
                  </a:lnTo>
                  <a:lnTo>
                    <a:pt x="151" y="49"/>
                  </a:lnTo>
                  <a:lnTo>
                    <a:pt x="153" y="50"/>
                  </a:lnTo>
                  <a:lnTo>
                    <a:pt x="154" y="51"/>
                  </a:lnTo>
                  <a:lnTo>
                    <a:pt x="155" y="52"/>
                  </a:lnTo>
                  <a:lnTo>
                    <a:pt x="156" y="52"/>
                  </a:lnTo>
                  <a:lnTo>
                    <a:pt x="158" y="53"/>
                  </a:lnTo>
                  <a:lnTo>
                    <a:pt x="160" y="54"/>
                  </a:lnTo>
                  <a:lnTo>
                    <a:pt x="161" y="54"/>
                  </a:lnTo>
                  <a:lnTo>
                    <a:pt x="162" y="55"/>
                  </a:lnTo>
                  <a:lnTo>
                    <a:pt x="163" y="55"/>
                  </a:lnTo>
                  <a:lnTo>
                    <a:pt x="164" y="55"/>
                  </a:lnTo>
                  <a:lnTo>
                    <a:pt x="165" y="55"/>
                  </a:lnTo>
                  <a:lnTo>
                    <a:pt x="166" y="56"/>
                  </a:lnTo>
                  <a:lnTo>
                    <a:pt x="167" y="56"/>
                  </a:lnTo>
                  <a:lnTo>
                    <a:pt x="169" y="56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2" name="Freeform 72">
              <a:extLst>
                <a:ext uri="{FF2B5EF4-FFF2-40B4-BE49-F238E27FC236}">
                  <a16:creationId xmlns:a16="http://schemas.microsoft.com/office/drawing/2014/main" id="{EB8A4CE1-4F2F-E9A5-499E-6AF8624F6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4" y="3551"/>
              <a:ext cx="387" cy="320"/>
            </a:xfrm>
            <a:custGeom>
              <a:avLst/>
              <a:gdLst>
                <a:gd name="T0" fmla="*/ 257 w 387"/>
                <a:gd name="T1" fmla="*/ 7 h 320"/>
                <a:gd name="T2" fmla="*/ 275 w 387"/>
                <a:gd name="T3" fmla="*/ 11 h 320"/>
                <a:gd name="T4" fmla="*/ 308 w 387"/>
                <a:gd name="T5" fmla="*/ 10 h 320"/>
                <a:gd name="T6" fmla="*/ 331 w 387"/>
                <a:gd name="T7" fmla="*/ 19 h 320"/>
                <a:gd name="T8" fmla="*/ 349 w 387"/>
                <a:gd name="T9" fmla="*/ 20 h 320"/>
                <a:gd name="T10" fmla="*/ 366 w 387"/>
                <a:gd name="T11" fmla="*/ 38 h 320"/>
                <a:gd name="T12" fmla="*/ 377 w 387"/>
                <a:gd name="T13" fmla="*/ 55 h 320"/>
                <a:gd name="T14" fmla="*/ 387 w 387"/>
                <a:gd name="T15" fmla="*/ 65 h 320"/>
                <a:gd name="T16" fmla="*/ 379 w 387"/>
                <a:gd name="T17" fmla="*/ 89 h 320"/>
                <a:gd name="T18" fmla="*/ 340 w 387"/>
                <a:gd name="T19" fmla="*/ 108 h 320"/>
                <a:gd name="T20" fmla="*/ 319 w 387"/>
                <a:gd name="T21" fmla="*/ 121 h 320"/>
                <a:gd name="T22" fmla="*/ 312 w 387"/>
                <a:gd name="T23" fmla="*/ 144 h 320"/>
                <a:gd name="T24" fmla="*/ 306 w 387"/>
                <a:gd name="T25" fmla="*/ 171 h 320"/>
                <a:gd name="T26" fmla="*/ 303 w 387"/>
                <a:gd name="T27" fmla="*/ 192 h 320"/>
                <a:gd name="T28" fmla="*/ 296 w 387"/>
                <a:gd name="T29" fmla="*/ 221 h 320"/>
                <a:gd name="T30" fmla="*/ 276 w 387"/>
                <a:gd name="T31" fmla="*/ 237 h 320"/>
                <a:gd name="T32" fmla="*/ 250 w 387"/>
                <a:gd name="T33" fmla="*/ 240 h 320"/>
                <a:gd name="T34" fmla="*/ 242 w 387"/>
                <a:gd name="T35" fmla="*/ 258 h 320"/>
                <a:gd name="T36" fmla="*/ 234 w 387"/>
                <a:gd name="T37" fmla="*/ 282 h 320"/>
                <a:gd name="T38" fmla="*/ 210 w 387"/>
                <a:gd name="T39" fmla="*/ 286 h 320"/>
                <a:gd name="T40" fmla="*/ 192 w 387"/>
                <a:gd name="T41" fmla="*/ 305 h 320"/>
                <a:gd name="T42" fmla="*/ 165 w 387"/>
                <a:gd name="T43" fmla="*/ 320 h 320"/>
                <a:gd name="T44" fmla="*/ 149 w 387"/>
                <a:gd name="T45" fmla="*/ 296 h 320"/>
                <a:gd name="T46" fmla="*/ 133 w 387"/>
                <a:gd name="T47" fmla="*/ 285 h 320"/>
                <a:gd name="T48" fmla="*/ 125 w 387"/>
                <a:gd name="T49" fmla="*/ 274 h 320"/>
                <a:gd name="T50" fmla="*/ 101 w 387"/>
                <a:gd name="T51" fmla="*/ 274 h 320"/>
                <a:gd name="T52" fmla="*/ 83 w 387"/>
                <a:gd name="T53" fmla="*/ 265 h 320"/>
                <a:gd name="T54" fmla="*/ 74 w 387"/>
                <a:gd name="T55" fmla="*/ 255 h 320"/>
                <a:gd name="T56" fmla="*/ 52 w 387"/>
                <a:gd name="T57" fmla="*/ 247 h 320"/>
                <a:gd name="T58" fmla="*/ 39 w 387"/>
                <a:gd name="T59" fmla="*/ 239 h 320"/>
                <a:gd name="T60" fmla="*/ 34 w 387"/>
                <a:gd name="T61" fmla="*/ 226 h 320"/>
                <a:gd name="T62" fmla="*/ 24 w 387"/>
                <a:gd name="T63" fmla="*/ 216 h 320"/>
                <a:gd name="T64" fmla="*/ 2 w 387"/>
                <a:gd name="T65" fmla="*/ 221 h 320"/>
                <a:gd name="T66" fmla="*/ 4 w 387"/>
                <a:gd name="T67" fmla="*/ 209 h 320"/>
                <a:gd name="T68" fmla="*/ 18 w 387"/>
                <a:gd name="T69" fmla="*/ 192 h 320"/>
                <a:gd name="T70" fmla="*/ 24 w 387"/>
                <a:gd name="T71" fmla="*/ 178 h 320"/>
                <a:gd name="T72" fmla="*/ 12 w 387"/>
                <a:gd name="T73" fmla="*/ 175 h 320"/>
                <a:gd name="T74" fmla="*/ 7 w 387"/>
                <a:gd name="T75" fmla="*/ 159 h 320"/>
                <a:gd name="T76" fmla="*/ 6 w 387"/>
                <a:gd name="T77" fmla="*/ 138 h 320"/>
                <a:gd name="T78" fmla="*/ 17 w 387"/>
                <a:gd name="T79" fmla="*/ 125 h 320"/>
                <a:gd name="T80" fmla="*/ 39 w 387"/>
                <a:gd name="T81" fmla="*/ 119 h 320"/>
                <a:gd name="T82" fmla="*/ 54 w 387"/>
                <a:gd name="T83" fmla="*/ 110 h 320"/>
                <a:gd name="T84" fmla="*/ 67 w 387"/>
                <a:gd name="T85" fmla="*/ 94 h 320"/>
                <a:gd name="T86" fmla="*/ 64 w 387"/>
                <a:gd name="T87" fmla="*/ 76 h 320"/>
                <a:gd name="T88" fmla="*/ 73 w 387"/>
                <a:gd name="T89" fmla="*/ 66 h 320"/>
                <a:gd name="T90" fmla="*/ 78 w 387"/>
                <a:gd name="T91" fmla="*/ 77 h 320"/>
                <a:gd name="T92" fmla="*/ 97 w 387"/>
                <a:gd name="T93" fmla="*/ 81 h 320"/>
                <a:gd name="T94" fmla="*/ 111 w 387"/>
                <a:gd name="T95" fmla="*/ 83 h 320"/>
                <a:gd name="T96" fmla="*/ 117 w 387"/>
                <a:gd name="T97" fmla="*/ 69 h 320"/>
                <a:gd name="T98" fmla="*/ 137 w 387"/>
                <a:gd name="T99" fmla="*/ 66 h 320"/>
                <a:gd name="T100" fmla="*/ 150 w 387"/>
                <a:gd name="T101" fmla="*/ 67 h 320"/>
                <a:gd name="T102" fmla="*/ 154 w 387"/>
                <a:gd name="T103" fmla="*/ 56 h 320"/>
                <a:gd name="T104" fmla="*/ 153 w 387"/>
                <a:gd name="T105" fmla="*/ 46 h 320"/>
                <a:gd name="T106" fmla="*/ 162 w 387"/>
                <a:gd name="T107" fmla="*/ 45 h 320"/>
                <a:gd name="T108" fmla="*/ 174 w 387"/>
                <a:gd name="T109" fmla="*/ 44 h 320"/>
                <a:gd name="T110" fmla="*/ 192 w 387"/>
                <a:gd name="T111" fmla="*/ 47 h 320"/>
                <a:gd name="T112" fmla="*/ 199 w 387"/>
                <a:gd name="T113" fmla="*/ 28 h 320"/>
                <a:gd name="T114" fmla="*/ 211 w 387"/>
                <a:gd name="T115" fmla="*/ 15 h 320"/>
                <a:gd name="T116" fmla="*/ 225 w 387"/>
                <a:gd name="T117" fmla="*/ 12 h 320"/>
                <a:gd name="T118" fmla="*/ 234 w 387"/>
                <a:gd name="T119" fmla="*/ 4 h 320"/>
                <a:gd name="T120" fmla="*/ 240 w 387"/>
                <a:gd name="T121" fmla="*/ 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87" h="320">
                  <a:moveTo>
                    <a:pt x="241" y="0"/>
                  </a:moveTo>
                  <a:lnTo>
                    <a:pt x="243" y="0"/>
                  </a:lnTo>
                  <a:lnTo>
                    <a:pt x="244" y="0"/>
                  </a:lnTo>
                  <a:lnTo>
                    <a:pt x="246" y="0"/>
                  </a:lnTo>
                  <a:lnTo>
                    <a:pt x="248" y="1"/>
                  </a:lnTo>
                  <a:lnTo>
                    <a:pt x="249" y="1"/>
                  </a:lnTo>
                  <a:lnTo>
                    <a:pt x="250" y="2"/>
                  </a:lnTo>
                  <a:lnTo>
                    <a:pt x="251" y="2"/>
                  </a:lnTo>
                  <a:lnTo>
                    <a:pt x="253" y="3"/>
                  </a:lnTo>
                  <a:lnTo>
                    <a:pt x="254" y="4"/>
                  </a:lnTo>
                  <a:lnTo>
                    <a:pt x="255" y="5"/>
                  </a:lnTo>
                  <a:lnTo>
                    <a:pt x="256" y="6"/>
                  </a:lnTo>
                  <a:lnTo>
                    <a:pt x="256" y="7"/>
                  </a:lnTo>
                  <a:lnTo>
                    <a:pt x="257" y="7"/>
                  </a:lnTo>
                  <a:lnTo>
                    <a:pt x="258" y="10"/>
                  </a:lnTo>
                  <a:lnTo>
                    <a:pt x="259" y="11"/>
                  </a:lnTo>
                  <a:lnTo>
                    <a:pt x="259" y="12"/>
                  </a:lnTo>
                  <a:lnTo>
                    <a:pt x="260" y="12"/>
                  </a:lnTo>
                  <a:lnTo>
                    <a:pt x="260" y="12"/>
                  </a:lnTo>
                  <a:lnTo>
                    <a:pt x="261" y="13"/>
                  </a:lnTo>
                  <a:lnTo>
                    <a:pt x="262" y="13"/>
                  </a:lnTo>
                  <a:lnTo>
                    <a:pt x="262" y="13"/>
                  </a:lnTo>
                  <a:lnTo>
                    <a:pt x="263" y="14"/>
                  </a:lnTo>
                  <a:lnTo>
                    <a:pt x="264" y="13"/>
                  </a:lnTo>
                  <a:lnTo>
                    <a:pt x="265" y="13"/>
                  </a:lnTo>
                  <a:lnTo>
                    <a:pt x="267" y="13"/>
                  </a:lnTo>
                  <a:lnTo>
                    <a:pt x="268" y="13"/>
                  </a:lnTo>
                  <a:lnTo>
                    <a:pt x="275" y="11"/>
                  </a:lnTo>
                  <a:lnTo>
                    <a:pt x="279" y="10"/>
                  </a:lnTo>
                  <a:lnTo>
                    <a:pt x="282" y="9"/>
                  </a:lnTo>
                  <a:lnTo>
                    <a:pt x="286" y="8"/>
                  </a:lnTo>
                  <a:lnTo>
                    <a:pt x="288" y="8"/>
                  </a:lnTo>
                  <a:lnTo>
                    <a:pt x="291" y="8"/>
                  </a:lnTo>
                  <a:lnTo>
                    <a:pt x="294" y="8"/>
                  </a:lnTo>
                  <a:lnTo>
                    <a:pt x="296" y="8"/>
                  </a:lnTo>
                  <a:lnTo>
                    <a:pt x="297" y="8"/>
                  </a:lnTo>
                  <a:lnTo>
                    <a:pt x="298" y="8"/>
                  </a:lnTo>
                  <a:lnTo>
                    <a:pt x="302" y="9"/>
                  </a:lnTo>
                  <a:lnTo>
                    <a:pt x="303" y="9"/>
                  </a:lnTo>
                  <a:lnTo>
                    <a:pt x="304" y="9"/>
                  </a:lnTo>
                  <a:lnTo>
                    <a:pt x="307" y="9"/>
                  </a:lnTo>
                  <a:lnTo>
                    <a:pt x="308" y="10"/>
                  </a:lnTo>
                  <a:lnTo>
                    <a:pt x="309" y="10"/>
                  </a:lnTo>
                  <a:lnTo>
                    <a:pt x="310" y="10"/>
                  </a:lnTo>
                  <a:lnTo>
                    <a:pt x="311" y="11"/>
                  </a:lnTo>
                  <a:lnTo>
                    <a:pt x="312" y="11"/>
                  </a:lnTo>
                  <a:lnTo>
                    <a:pt x="313" y="12"/>
                  </a:lnTo>
                  <a:lnTo>
                    <a:pt x="317" y="15"/>
                  </a:lnTo>
                  <a:lnTo>
                    <a:pt x="319" y="16"/>
                  </a:lnTo>
                  <a:lnTo>
                    <a:pt x="320" y="16"/>
                  </a:lnTo>
                  <a:lnTo>
                    <a:pt x="320" y="17"/>
                  </a:lnTo>
                  <a:lnTo>
                    <a:pt x="322" y="17"/>
                  </a:lnTo>
                  <a:lnTo>
                    <a:pt x="323" y="18"/>
                  </a:lnTo>
                  <a:lnTo>
                    <a:pt x="324" y="18"/>
                  </a:lnTo>
                  <a:lnTo>
                    <a:pt x="330" y="19"/>
                  </a:lnTo>
                  <a:lnTo>
                    <a:pt x="331" y="19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7" y="20"/>
                  </a:lnTo>
                  <a:lnTo>
                    <a:pt x="338" y="20"/>
                  </a:lnTo>
                  <a:lnTo>
                    <a:pt x="339" y="19"/>
                  </a:lnTo>
                  <a:lnTo>
                    <a:pt x="342" y="19"/>
                  </a:lnTo>
                  <a:lnTo>
                    <a:pt x="344" y="18"/>
                  </a:lnTo>
                  <a:lnTo>
                    <a:pt x="344" y="18"/>
                  </a:lnTo>
                  <a:lnTo>
                    <a:pt x="345" y="18"/>
                  </a:lnTo>
                  <a:lnTo>
                    <a:pt x="346" y="18"/>
                  </a:lnTo>
                  <a:lnTo>
                    <a:pt x="347" y="19"/>
                  </a:lnTo>
                  <a:lnTo>
                    <a:pt x="348" y="19"/>
                  </a:lnTo>
                  <a:lnTo>
                    <a:pt x="349" y="20"/>
                  </a:lnTo>
                  <a:lnTo>
                    <a:pt x="350" y="20"/>
                  </a:lnTo>
                  <a:lnTo>
                    <a:pt x="351" y="21"/>
                  </a:lnTo>
                  <a:lnTo>
                    <a:pt x="352" y="21"/>
                  </a:lnTo>
                  <a:lnTo>
                    <a:pt x="352" y="22"/>
                  </a:lnTo>
                  <a:lnTo>
                    <a:pt x="353" y="23"/>
                  </a:lnTo>
                  <a:lnTo>
                    <a:pt x="355" y="27"/>
                  </a:lnTo>
                  <a:lnTo>
                    <a:pt x="356" y="29"/>
                  </a:lnTo>
                  <a:lnTo>
                    <a:pt x="357" y="30"/>
                  </a:lnTo>
                  <a:lnTo>
                    <a:pt x="358" y="31"/>
                  </a:lnTo>
                  <a:lnTo>
                    <a:pt x="358" y="32"/>
                  </a:lnTo>
                  <a:lnTo>
                    <a:pt x="359" y="33"/>
                  </a:lnTo>
                  <a:lnTo>
                    <a:pt x="360" y="34"/>
                  </a:lnTo>
                  <a:lnTo>
                    <a:pt x="361" y="35"/>
                  </a:lnTo>
                  <a:lnTo>
                    <a:pt x="366" y="38"/>
                  </a:lnTo>
                  <a:lnTo>
                    <a:pt x="367" y="39"/>
                  </a:lnTo>
                  <a:lnTo>
                    <a:pt x="368" y="40"/>
                  </a:lnTo>
                  <a:lnTo>
                    <a:pt x="369" y="40"/>
                  </a:lnTo>
                  <a:lnTo>
                    <a:pt x="370" y="41"/>
                  </a:lnTo>
                  <a:lnTo>
                    <a:pt x="372" y="44"/>
                  </a:lnTo>
                  <a:lnTo>
                    <a:pt x="372" y="45"/>
                  </a:lnTo>
                  <a:lnTo>
                    <a:pt x="373" y="46"/>
                  </a:lnTo>
                  <a:lnTo>
                    <a:pt x="373" y="46"/>
                  </a:lnTo>
                  <a:lnTo>
                    <a:pt x="373" y="47"/>
                  </a:lnTo>
                  <a:lnTo>
                    <a:pt x="375" y="51"/>
                  </a:lnTo>
                  <a:lnTo>
                    <a:pt x="376" y="53"/>
                  </a:lnTo>
                  <a:lnTo>
                    <a:pt x="376" y="53"/>
                  </a:lnTo>
                  <a:lnTo>
                    <a:pt x="377" y="54"/>
                  </a:lnTo>
                  <a:lnTo>
                    <a:pt x="377" y="55"/>
                  </a:lnTo>
                  <a:lnTo>
                    <a:pt x="378" y="55"/>
                  </a:lnTo>
                  <a:lnTo>
                    <a:pt x="378" y="56"/>
                  </a:lnTo>
                  <a:lnTo>
                    <a:pt x="379" y="57"/>
                  </a:lnTo>
                  <a:lnTo>
                    <a:pt x="380" y="57"/>
                  </a:lnTo>
                  <a:lnTo>
                    <a:pt x="381" y="58"/>
                  </a:lnTo>
                  <a:lnTo>
                    <a:pt x="382" y="59"/>
                  </a:lnTo>
                  <a:lnTo>
                    <a:pt x="383" y="59"/>
                  </a:lnTo>
                  <a:lnTo>
                    <a:pt x="384" y="60"/>
                  </a:lnTo>
                  <a:lnTo>
                    <a:pt x="384" y="60"/>
                  </a:lnTo>
                  <a:lnTo>
                    <a:pt x="385" y="60"/>
                  </a:lnTo>
                  <a:lnTo>
                    <a:pt x="385" y="60"/>
                  </a:lnTo>
                  <a:lnTo>
                    <a:pt x="385" y="61"/>
                  </a:lnTo>
                  <a:lnTo>
                    <a:pt x="386" y="63"/>
                  </a:lnTo>
                  <a:lnTo>
                    <a:pt x="387" y="65"/>
                  </a:lnTo>
                  <a:lnTo>
                    <a:pt x="387" y="67"/>
                  </a:lnTo>
                  <a:lnTo>
                    <a:pt x="387" y="68"/>
                  </a:lnTo>
                  <a:lnTo>
                    <a:pt x="387" y="70"/>
                  </a:lnTo>
                  <a:lnTo>
                    <a:pt x="387" y="71"/>
                  </a:lnTo>
                  <a:lnTo>
                    <a:pt x="387" y="73"/>
                  </a:lnTo>
                  <a:lnTo>
                    <a:pt x="387" y="75"/>
                  </a:lnTo>
                  <a:lnTo>
                    <a:pt x="386" y="76"/>
                  </a:lnTo>
                  <a:lnTo>
                    <a:pt x="386" y="78"/>
                  </a:lnTo>
                  <a:lnTo>
                    <a:pt x="385" y="80"/>
                  </a:lnTo>
                  <a:lnTo>
                    <a:pt x="384" y="81"/>
                  </a:lnTo>
                  <a:lnTo>
                    <a:pt x="383" y="82"/>
                  </a:lnTo>
                  <a:lnTo>
                    <a:pt x="383" y="84"/>
                  </a:lnTo>
                  <a:lnTo>
                    <a:pt x="380" y="87"/>
                  </a:lnTo>
                  <a:lnTo>
                    <a:pt x="379" y="89"/>
                  </a:lnTo>
                  <a:lnTo>
                    <a:pt x="378" y="90"/>
                  </a:lnTo>
                  <a:lnTo>
                    <a:pt x="376" y="91"/>
                  </a:lnTo>
                  <a:lnTo>
                    <a:pt x="375" y="92"/>
                  </a:lnTo>
                  <a:lnTo>
                    <a:pt x="374" y="93"/>
                  </a:lnTo>
                  <a:lnTo>
                    <a:pt x="372" y="94"/>
                  </a:lnTo>
                  <a:lnTo>
                    <a:pt x="370" y="95"/>
                  </a:lnTo>
                  <a:lnTo>
                    <a:pt x="364" y="98"/>
                  </a:lnTo>
                  <a:lnTo>
                    <a:pt x="358" y="101"/>
                  </a:lnTo>
                  <a:lnTo>
                    <a:pt x="355" y="102"/>
                  </a:lnTo>
                  <a:lnTo>
                    <a:pt x="353" y="103"/>
                  </a:lnTo>
                  <a:lnTo>
                    <a:pt x="351" y="104"/>
                  </a:lnTo>
                  <a:lnTo>
                    <a:pt x="345" y="106"/>
                  </a:lnTo>
                  <a:lnTo>
                    <a:pt x="342" y="107"/>
                  </a:lnTo>
                  <a:lnTo>
                    <a:pt x="340" y="108"/>
                  </a:lnTo>
                  <a:lnTo>
                    <a:pt x="339" y="108"/>
                  </a:lnTo>
                  <a:lnTo>
                    <a:pt x="332" y="109"/>
                  </a:lnTo>
                  <a:lnTo>
                    <a:pt x="330" y="110"/>
                  </a:lnTo>
                  <a:lnTo>
                    <a:pt x="328" y="111"/>
                  </a:lnTo>
                  <a:lnTo>
                    <a:pt x="327" y="111"/>
                  </a:lnTo>
                  <a:lnTo>
                    <a:pt x="326" y="112"/>
                  </a:lnTo>
                  <a:lnTo>
                    <a:pt x="325" y="112"/>
                  </a:lnTo>
                  <a:lnTo>
                    <a:pt x="324" y="113"/>
                  </a:lnTo>
                  <a:lnTo>
                    <a:pt x="323" y="114"/>
                  </a:lnTo>
                  <a:lnTo>
                    <a:pt x="323" y="114"/>
                  </a:lnTo>
                  <a:lnTo>
                    <a:pt x="322" y="115"/>
                  </a:lnTo>
                  <a:lnTo>
                    <a:pt x="321" y="117"/>
                  </a:lnTo>
                  <a:lnTo>
                    <a:pt x="320" y="120"/>
                  </a:lnTo>
                  <a:lnTo>
                    <a:pt x="319" y="121"/>
                  </a:lnTo>
                  <a:lnTo>
                    <a:pt x="318" y="123"/>
                  </a:lnTo>
                  <a:lnTo>
                    <a:pt x="315" y="126"/>
                  </a:lnTo>
                  <a:lnTo>
                    <a:pt x="314" y="128"/>
                  </a:lnTo>
                  <a:lnTo>
                    <a:pt x="313" y="130"/>
                  </a:lnTo>
                  <a:lnTo>
                    <a:pt x="312" y="131"/>
                  </a:lnTo>
                  <a:lnTo>
                    <a:pt x="312" y="133"/>
                  </a:lnTo>
                  <a:lnTo>
                    <a:pt x="311" y="134"/>
                  </a:lnTo>
                  <a:lnTo>
                    <a:pt x="311" y="135"/>
                  </a:lnTo>
                  <a:lnTo>
                    <a:pt x="311" y="137"/>
                  </a:lnTo>
                  <a:lnTo>
                    <a:pt x="311" y="138"/>
                  </a:lnTo>
                  <a:lnTo>
                    <a:pt x="311" y="139"/>
                  </a:lnTo>
                  <a:lnTo>
                    <a:pt x="312" y="142"/>
                  </a:lnTo>
                  <a:lnTo>
                    <a:pt x="312" y="143"/>
                  </a:lnTo>
                  <a:lnTo>
                    <a:pt x="312" y="144"/>
                  </a:lnTo>
                  <a:lnTo>
                    <a:pt x="312" y="145"/>
                  </a:lnTo>
                  <a:lnTo>
                    <a:pt x="311" y="146"/>
                  </a:lnTo>
                  <a:lnTo>
                    <a:pt x="311" y="149"/>
                  </a:lnTo>
                  <a:lnTo>
                    <a:pt x="311" y="151"/>
                  </a:lnTo>
                  <a:lnTo>
                    <a:pt x="310" y="152"/>
                  </a:lnTo>
                  <a:lnTo>
                    <a:pt x="310" y="154"/>
                  </a:lnTo>
                  <a:lnTo>
                    <a:pt x="308" y="158"/>
                  </a:lnTo>
                  <a:lnTo>
                    <a:pt x="308" y="160"/>
                  </a:lnTo>
                  <a:lnTo>
                    <a:pt x="308" y="161"/>
                  </a:lnTo>
                  <a:lnTo>
                    <a:pt x="307" y="162"/>
                  </a:lnTo>
                  <a:lnTo>
                    <a:pt x="307" y="164"/>
                  </a:lnTo>
                  <a:lnTo>
                    <a:pt x="307" y="166"/>
                  </a:lnTo>
                  <a:lnTo>
                    <a:pt x="306" y="170"/>
                  </a:lnTo>
                  <a:lnTo>
                    <a:pt x="306" y="171"/>
                  </a:lnTo>
                  <a:lnTo>
                    <a:pt x="306" y="172"/>
                  </a:lnTo>
                  <a:lnTo>
                    <a:pt x="306" y="173"/>
                  </a:lnTo>
                  <a:lnTo>
                    <a:pt x="306" y="174"/>
                  </a:lnTo>
                  <a:lnTo>
                    <a:pt x="304" y="177"/>
                  </a:lnTo>
                  <a:lnTo>
                    <a:pt x="304" y="178"/>
                  </a:lnTo>
                  <a:lnTo>
                    <a:pt x="303" y="182"/>
                  </a:lnTo>
                  <a:lnTo>
                    <a:pt x="302" y="183"/>
                  </a:lnTo>
                  <a:lnTo>
                    <a:pt x="302" y="184"/>
                  </a:lnTo>
                  <a:lnTo>
                    <a:pt x="302" y="185"/>
                  </a:lnTo>
                  <a:lnTo>
                    <a:pt x="302" y="186"/>
                  </a:lnTo>
                  <a:lnTo>
                    <a:pt x="302" y="187"/>
                  </a:lnTo>
                  <a:lnTo>
                    <a:pt x="303" y="190"/>
                  </a:lnTo>
                  <a:lnTo>
                    <a:pt x="303" y="191"/>
                  </a:lnTo>
                  <a:lnTo>
                    <a:pt x="303" y="192"/>
                  </a:lnTo>
                  <a:lnTo>
                    <a:pt x="303" y="192"/>
                  </a:lnTo>
                  <a:lnTo>
                    <a:pt x="303" y="196"/>
                  </a:lnTo>
                  <a:lnTo>
                    <a:pt x="303" y="201"/>
                  </a:lnTo>
                  <a:lnTo>
                    <a:pt x="302" y="202"/>
                  </a:lnTo>
                  <a:lnTo>
                    <a:pt x="302" y="204"/>
                  </a:lnTo>
                  <a:lnTo>
                    <a:pt x="302" y="206"/>
                  </a:lnTo>
                  <a:lnTo>
                    <a:pt x="302" y="206"/>
                  </a:lnTo>
                  <a:lnTo>
                    <a:pt x="301" y="208"/>
                  </a:lnTo>
                  <a:lnTo>
                    <a:pt x="301" y="209"/>
                  </a:lnTo>
                  <a:lnTo>
                    <a:pt x="301" y="211"/>
                  </a:lnTo>
                  <a:lnTo>
                    <a:pt x="299" y="213"/>
                  </a:lnTo>
                  <a:lnTo>
                    <a:pt x="298" y="217"/>
                  </a:lnTo>
                  <a:lnTo>
                    <a:pt x="297" y="220"/>
                  </a:lnTo>
                  <a:lnTo>
                    <a:pt x="296" y="221"/>
                  </a:lnTo>
                  <a:lnTo>
                    <a:pt x="296" y="222"/>
                  </a:lnTo>
                  <a:lnTo>
                    <a:pt x="294" y="225"/>
                  </a:lnTo>
                  <a:lnTo>
                    <a:pt x="293" y="227"/>
                  </a:lnTo>
                  <a:lnTo>
                    <a:pt x="292" y="228"/>
                  </a:lnTo>
                  <a:lnTo>
                    <a:pt x="291" y="230"/>
                  </a:lnTo>
                  <a:lnTo>
                    <a:pt x="289" y="231"/>
                  </a:lnTo>
                  <a:lnTo>
                    <a:pt x="287" y="232"/>
                  </a:lnTo>
                  <a:lnTo>
                    <a:pt x="286" y="233"/>
                  </a:lnTo>
                  <a:lnTo>
                    <a:pt x="285" y="234"/>
                  </a:lnTo>
                  <a:lnTo>
                    <a:pt x="282" y="235"/>
                  </a:lnTo>
                  <a:lnTo>
                    <a:pt x="281" y="235"/>
                  </a:lnTo>
                  <a:lnTo>
                    <a:pt x="278" y="236"/>
                  </a:lnTo>
                  <a:lnTo>
                    <a:pt x="277" y="237"/>
                  </a:lnTo>
                  <a:lnTo>
                    <a:pt x="276" y="237"/>
                  </a:lnTo>
                  <a:lnTo>
                    <a:pt x="275" y="237"/>
                  </a:lnTo>
                  <a:lnTo>
                    <a:pt x="274" y="237"/>
                  </a:lnTo>
                  <a:lnTo>
                    <a:pt x="272" y="237"/>
                  </a:lnTo>
                  <a:lnTo>
                    <a:pt x="268" y="237"/>
                  </a:lnTo>
                  <a:lnTo>
                    <a:pt x="266" y="237"/>
                  </a:lnTo>
                  <a:lnTo>
                    <a:pt x="265" y="237"/>
                  </a:lnTo>
                  <a:lnTo>
                    <a:pt x="259" y="237"/>
                  </a:lnTo>
                  <a:lnTo>
                    <a:pt x="257" y="238"/>
                  </a:lnTo>
                  <a:lnTo>
                    <a:pt x="256" y="238"/>
                  </a:lnTo>
                  <a:lnTo>
                    <a:pt x="254" y="238"/>
                  </a:lnTo>
                  <a:lnTo>
                    <a:pt x="253" y="239"/>
                  </a:lnTo>
                  <a:lnTo>
                    <a:pt x="252" y="239"/>
                  </a:lnTo>
                  <a:lnTo>
                    <a:pt x="251" y="239"/>
                  </a:lnTo>
                  <a:lnTo>
                    <a:pt x="250" y="240"/>
                  </a:lnTo>
                  <a:lnTo>
                    <a:pt x="250" y="240"/>
                  </a:lnTo>
                  <a:lnTo>
                    <a:pt x="249" y="240"/>
                  </a:lnTo>
                  <a:lnTo>
                    <a:pt x="248" y="241"/>
                  </a:lnTo>
                  <a:lnTo>
                    <a:pt x="248" y="242"/>
                  </a:lnTo>
                  <a:lnTo>
                    <a:pt x="247" y="242"/>
                  </a:lnTo>
                  <a:lnTo>
                    <a:pt x="246" y="243"/>
                  </a:lnTo>
                  <a:lnTo>
                    <a:pt x="246" y="244"/>
                  </a:lnTo>
                  <a:lnTo>
                    <a:pt x="245" y="245"/>
                  </a:lnTo>
                  <a:lnTo>
                    <a:pt x="245" y="246"/>
                  </a:lnTo>
                  <a:lnTo>
                    <a:pt x="244" y="247"/>
                  </a:lnTo>
                  <a:lnTo>
                    <a:pt x="244" y="249"/>
                  </a:lnTo>
                  <a:lnTo>
                    <a:pt x="243" y="252"/>
                  </a:lnTo>
                  <a:lnTo>
                    <a:pt x="242" y="256"/>
                  </a:lnTo>
                  <a:lnTo>
                    <a:pt x="242" y="258"/>
                  </a:lnTo>
                  <a:lnTo>
                    <a:pt x="241" y="259"/>
                  </a:lnTo>
                  <a:lnTo>
                    <a:pt x="241" y="261"/>
                  </a:lnTo>
                  <a:lnTo>
                    <a:pt x="240" y="266"/>
                  </a:lnTo>
                  <a:lnTo>
                    <a:pt x="240" y="267"/>
                  </a:lnTo>
                  <a:lnTo>
                    <a:pt x="240" y="269"/>
                  </a:lnTo>
                  <a:lnTo>
                    <a:pt x="239" y="271"/>
                  </a:lnTo>
                  <a:lnTo>
                    <a:pt x="239" y="273"/>
                  </a:lnTo>
                  <a:lnTo>
                    <a:pt x="238" y="275"/>
                  </a:lnTo>
                  <a:lnTo>
                    <a:pt x="238" y="277"/>
                  </a:lnTo>
                  <a:lnTo>
                    <a:pt x="237" y="278"/>
                  </a:lnTo>
                  <a:lnTo>
                    <a:pt x="236" y="279"/>
                  </a:lnTo>
                  <a:lnTo>
                    <a:pt x="236" y="280"/>
                  </a:lnTo>
                  <a:lnTo>
                    <a:pt x="235" y="281"/>
                  </a:lnTo>
                  <a:lnTo>
                    <a:pt x="234" y="282"/>
                  </a:lnTo>
                  <a:lnTo>
                    <a:pt x="234" y="282"/>
                  </a:lnTo>
                  <a:lnTo>
                    <a:pt x="233" y="282"/>
                  </a:lnTo>
                  <a:lnTo>
                    <a:pt x="233" y="283"/>
                  </a:lnTo>
                  <a:lnTo>
                    <a:pt x="232" y="283"/>
                  </a:lnTo>
                  <a:lnTo>
                    <a:pt x="231" y="284"/>
                  </a:lnTo>
                  <a:lnTo>
                    <a:pt x="230" y="284"/>
                  </a:lnTo>
                  <a:lnTo>
                    <a:pt x="229" y="284"/>
                  </a:lnTo>
                  <a:lnTo>
                    <a:pt x="228" y="284"/>
                  </a:lnTo>
                  <a:lnTo>
                    <a:pt x="219" y="284"/>
                  </a:lnTo>
                  <a:lnTo>
                    <a:pt x="217" y="285"/>
                  </a:lnTo>
                  <a:lnTo>
                    <a:pt x="216" y="285"/>
                  </a:lnTo>
                  <a:lnTo>
                    <a:pt x="213" y="285"/>
                  </a:lnTo>
                  <a:lnTo>
                    <a:pt x="211" y="286"/>
                  </a:lnTo>
                  <a:lnTo>
                    <a:pt x="210" y="286"/>
                  </a:lnTo>
                  <a:lnTo>
                    <a:pt x="209" y="286"/>
                  </a:lnTo>
                  <a:lnTo>
                    <a:pt x="208" y="287"/>
                  </a:lnTo>
                  <a:lnTo>
                    <a:pt x="208" y="287"/>
                  </a:lnTo>
                  <a:lnTo>
                    <a:pt x="207" y="287"/>
                  </a:lnTo>
                  <a:lnTo>
                    <a:pt x="206" y="288"/>
                  </a:lnTo>
                  <a:lnTo>
                    <a:pt x="205" y="289"/>
                  </a:lnTo>
                  <a:lnTo>
                    <a:pt x="202" y="292"/>
                  </a:lnTo>
                  <a:lnTo>
                    <a:pt x="200" y="294"/>
                  </a:lnTo>
                  <a:lnTo>
                    <a:pt x="199" y="295"/>
                  </a:lnTo>
                  <a:lnTo>
                    <a:pt x="197" y="297"/>
                  </a:lnTo>
                  <a:lnTo>
                    <a:pt x="196" y="298"/>
                  </a:lnTo>
                  <a:lnTo>
                    <a:pt x="195" y="301"/>
                  </a:lnTo>
                  <a:lnTo>
                    <a:pt x="193" y="304"/>
                  </a:lnTo>
                  <a:lnTo>
                    <a:pt x="192" y="305"/>
                  </a:lnTo>
                  <a:lnTo>
                    <a:pt x="191" y="306"/>
                  </a:lnTo>
                  <a:lnTo>
                    <a:pt x="190" y="308"/>
                  </a:lnTo>
                  <a:lnTo>
                    <a:pt x="187" y="311"/>
                  </a:lnTo>
                  <a:lnTo>
                    <a:pt x="185" y="312"/>
                  </a:lnTo>
                  <a:lnTo>
                    <a:pt x="184" y="313"/>
                  </a:lnTo>
                  <a:lnTo>
                    <a:pt x="183" y="314"/>
                  </a:lnTo>
                  <a:lnTo>
                    <a:pt x="181" y="315"/>
                  </a:lnTo>
                  <a:lnTo>
                    <a:pt x="179" y="316"/>
                  </a:lnTo>
                  <a:lnTo>
                    <a:pt x="177" y="317"/>
                  </a:lnTo>
                  <a:lnTo>
                    <a:pt x="173" y="318"/>
                  </a:lnTo>
                  <a:lnTo>
                    <a:pt x="170" y="319"/>
                  </a:lnTo>
                  <a:lnTo>
                    <a:pt x="168" y="319"/>
                  </a:lnTo>
                  <a:lnTo>
                    <a:pt x="165" y="320"/>
                  </a:lnTo>
                  <a:lnTo>
                    <a:pt x="165" y="320"/>
                  </a:lnTo>
                  <a:lnTo>
                    <a:pt x="165" y="319"/>
                  </a:lnTo>
                  <a:lnTo>
                    <a:pt x="164" y="318"/>
                  </a:lnTo>
                  <a:lnTo>
                    <a:pt x="164" y="316"/>
                  </a:lnTo>
                  <a:lnTo>
                    <a:pt x="162" y="313"/>
                  </a:lnTo>
                  <a:lnTo>
                    <a:pt x="162" y="312"/>
                  </a:lnTo>
                  <a:lnTo>
                    <a:pt x="161" y="311"/>
                  </a:lnTo>
                  <a:lnTo>
                    <a:pt x="161" y="310"/>
                  </a:lnTo>
                  <a:lnTo>
                    <a:pt x="158" y="307"/>
                  </a:lnTo>
                  <a:lnTo>
                    <a:pt x="155" y="302"/>
                  </a:lnTo>
                  <a:lnTo>
                    <a:pt x="154" y="300"/>
                  </a:lnTo>
                  <a:lnTo>
                    <a:pt x="153" y="299"/>
                  </a:lnTo>
                  <a:lnTo>
                    <a:pt x="151" y="298"/>
                  </a:lnTo>
                  <a:lnTo>
                    <a:pt x="150" y="297"/>
                  </a:lnTo>
                  <a:lnTo>
                    <a:pt x="149" y="296"/>
                  </a:lnTo>
                  <a:lnTo>
                    <a:pt x="148" y="295"/>
                  </a:lnTo>
                  <a:lnTo>
                    <a:pt x="147" y="294"/>
                  </a:lnTo>
                  <a:lnTo>
                    <a:pt x="140" y="291"/>
                  </a:lnTo>
                  <a:lnTo>
                    <a:pt x="139" y="291"/>
                  </a:lnTo>
                  <a:lnTo>
                    <a:pt x="137" y="290"/>
                  </a:lnTo>
                  <a:lnTo>
                    <a:pt x="136" y="289"/>
                  </a:lnTo>
                  <a:lnTo>
                    <a:pt x="135" y="289"/>
                  </a:lnTo>
                  <a:lnTo>
                    <a:pt x="135" y="289"/>
                  </a:lnTo>
                  <a:lnTo>
                    <a:pt x="134" y="288"/>
                  </a:lnTo>
                  <a:lnTo>
                    <a:pt x="134" y="288"/>
                  </a:lnTo>
                  <a:lnTo>
                    <a:pt x="134" y="287"/>
                  </a:lnTo>
                  <a:lnTo>
                    <a:pt x="133" y="287"/>
                  </a:lnTo>
                  <a:lnTo>
                    <a:pt x="133" y="286"/>
                  </a:lnTo>
                  <a:lnTo>
                    <a:pt x="133" y="285"/>
                  </a:lnTo>
                  <a:lnTo>
                    <a:pt x="133" y="283"/>
                  </a:lnTo>
                  <a:lnTo>
                    <a:pt x="133" y="282"/>
                  </a:lnTo>
                  <a:lnTo>
                    <a:pt x="132" y="281"/>
                  </a:lnTo>
                  <a:lnTo>
                    <a:pt x="132" y="280"/>
                  </a:lnTo>
                  <a:lnTo>
                    <a:pt x="132" y="280"/>
                  </a:lnTo>
                  <a:lnTo>
                    <a:pt x="132" y="279"/>
                  </a:lnTo>
                  <a:lnTo>
                    <a:pt x="131" y="279"/>
                  </a:lnTo>
                  <a:lnTo>
                    <a:pt x="131" y="278"/>
                  </a:lnTo>
                  <a:lnTo>
                    <a:pt x="131" y="278"/>
                  </a:lnTo>
                  <a:lnTo>
                    <a:pt x="130" y="277"/>
                  </a:lnTo>
                  <a:lnTo>
                    <a:pt x="128" y="276"/>
                  </a:lnTo>
                  <a:lnTo>
                    <a:pt x="127" y="275"/>
                  </a:lnTo>
                  <a:lnTo>
                    <a:pt x="126" y="275"/>
                  </a:lnTo>
                  <a:lnTo>
                    <a:pt x="125" y="274"/>
                  </a:lnTo>
                  <a:lnTo>
                    <a:pt x="123" y="274"/>
                  </a:lnTo>
                  <a:lnTo>
                    <a:pt x="120" y="273"/>
                  </a:lnTo>
                  <a:lnTo>
                    <a:pt x="119" y="272"/>
                  </a:lnTo>
                  <a:lnTo>
                    <a:pt x="119" y="272"/>
                  </a:lnTo>
                  <a:lnTo>
                    <a:pt x="118" y="272"/>
                  </a:lnTo>
                  <a:lnTo>
                    <a:pt x="117" y="272"/>
                  </a:lnTo>
                  <a:lnTo>
                    <a:pt x="117" y="272"/>
                  </a:lnTo>
                  <a:lnTo>
                    <a:pt x="113" y="273"/>
                  </a:lnTo>
                  <a:lnTo>
                    <a:pt x="110" y="273"/>
                  </a:lnTo>
                  <a:lnTo>
                    <a:pt x="109" y="273"/>
                  </a:lnTo>
                  <a:lnTo>
                    <a:pt x="107" y="273"/>
                  </a:lnTo>
                  <a:lnTo>
                    <a:pt x="103" y="274"/>
                  </a:lnTo>
                  <a:lnTo>
                    <a:pt x="102" y="274"/>
                  </a:lnTo>
                  <a:lnTo>
                    <a:pt x="101" y="274"/>
                  </a:lnTo>
                  <a:lnTo>
                    <a:pt x="100" y="275"/>
                  </a:lnTo>
                  <a:lnTo>
                    <a:pt x="99" y="274"/>
                  </a:lnTo>
                  <a:lnTo>
                    <a:pt x="98" y="274"/>
                  </a:lnTo>
                  <a:lnTo>
                    <a:pt x="98" y="274"/>
                  </a:lnTo>
                  <a:lnTo>
                    <a:pt x="97" y="274"/>
                  </a:lnTo>
                  <a:lnTo>
                    <a:pt x="95" y="273"/>
                  </a:lnTo>
                  <a:lnTo>
                    <a:pt x="94" y="272"/>
                  </a:lnTo>
                  <a:lnTo>
                    <a:pt x="93" y="271"/>
                  </a:lnTo>
                  <a:lnTo>
                    <a:pt x="87" y="267"/>
                  </a:lnTo>
                  <a:lnTo>
                    <a:pt x="86" y="267"/>
                  </a:lnTo>
                  <a:lnTo>
                    <a:pt x="86" y="266"/>
                  </a:lnTo>
                  <a:lnTo>
                    <a:pt x="85" y="266"/>
                  </a:lnTo>
                  <a:lnTo>
                    <a:pt x="84" y="266"/>
                  </a:lnTo>
                  <a:lnTo>
                    <a:pt x="83" y="265"/>
                  </a:lnTo>
                  <a:lnTo>
                    <a:pt x="81" y="265"/>
                  </a:lnTo>
                  <a:lnTo>
                    <a:pt x="79" y="265"/>
                  </a:lnTo>
                  <a:lnTo>
                    <a:pt x="78" y="265"/>
                  </a:lnTo>
                  <a:lnTo>
                    <a:pt x="77" y="264"/>
                  </a:lnTo>
                  <a:lnTo>
                    <a:pt x="77" y="264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6" y="263"/>
                  </a:lnTo>
                  <a:lnTo>
                    <a:pt x="75" y="262"/>
                  </a:lnTo>
                  <a:lnTo>
                    <a:pt x="75" y="262"/>
                  </a:lnTo>
                  <a:lnTo>
                    <a:pt x="75" y="261"/>
                  </a:lnTo>
                  <a:lnTo>
                    <a:pt x="75" y="258"/>
                  </a:lnTo>
                  <a:lnTo>
                    <a:pt x="74" y="257"/>
                  </a:lnTo>
                  <a:lnTo>
                    <a:pt x="74" y="255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3" y="253"/>
                  </a:lnTo>
                  <a:lnTo>
                    <a:pt x="72" y="252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69" y="250"/>
                  </a:lnTo>
                  <a:lnTo>
                    <a:pt x="68" y="250"/>
                  </a:lnTo>
                  <a:lnTo>
                    <a:pt x="67" y="250"/>
                  </a:lnTo>
                  <a:lnTo>
                    <a:pt x="62" y="249"/>
                  </a:lnTo>
                  <a:lnTo>
                    <a:pt x="59" y="248"/>
                  </a:lnTo>
                  <a:lnTo>
                    <a:pt x="54" y="248"/>
                  </a:lnTo>
                  <a:lnTo>
                    <a:pt x="52" y="247"/>
                  </a:lnTo>
                  <a:lnTo>
                    <a:pt x="52" y="247"/>
                  </a:lnTo>
                  <a:lnTo>
                    <a:pt x="51" y="247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48" y="244"/>
                  </a:lnTo>
                  <a:lnTo>
                    <a:pt x="47" y="243"/>
                  </a:lnTo>
                  <a:lnTo>
                    <a:pt x="46" y="243"/>
                  </a:lnTo>
                  <a:lnTo>
                    <a:pt x="45" y="242"/>
                  </a:lnTo>
                  <a:lnTo>
                    <a:pt x="45" y="242"/>
                  </a:lnTo>
                  <a:lnTo>
                    <a:pt x="43" y="241"/>
                  </a:lnTo>
                  <a:lnTo>
                    <a:pt x="41" y="240"/>
                  </a:lnTo>
                  <a:lnTo>
                    <a:pt x="40" y="240"/>
                  </a:lnTo>
                  <a:lnTo>
                    <a:pt x="40" y="240"/>
                  </a:lnTo>
                  <a:lnTo>
                    <a:pt x="39" y="239"/>
                  </a:lnTo>
                  <a:lnTo>
                    <a:pt x="36" y="239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4" y="237"/>
                  </a:lnTo>
                  <a:lnTo>
                    <a:pt x="34" y="237"/>
                  </a:lnTo>
                  <a:lnTo>
                    <a:pt x="34" y="236"/>
                  </a:lnTo>
                  <a:lnTo>
                    <a:pt x="34" y="235"/>
                  </a:lnTo>
                  <a:lnTo>
                    <a:pt x="34" y="234"/>
                  </a:lnTo>
                  <a:lnTo>
                    <a:pt x="34" y="230"/>
                  </a:lnTo>
                  <a:lnTo>
                    <a:pt x="34" y="229"/>
                  </a:lnTo>
                  <a:lnTo>
                    <a:pt x="34" y="228"/>
                  </a:lnTo>
                  <a:lnTo>
                    <a:pt x="34" y="226"/>
                  </a:lnTo>
                  <a:lnTo>
                    <a:pt x="34" y="226"/>
                  </a:lnTo>
                  <a:lnTo>
                    <a:pt x="34" y="224"/>
                  </a:lnTo>
                  <a:lnTo>
                    <a:pt x="33" y="223"/>
                  </a:lnTo>
                  <a:lnTo>
                    <a:pt x="33" y="222"/>
                  </a:lnTo>
                  <a:lnTo>
                    <a:pt x="32" y="220"/>
                  </a:lnTo>
                  <a:lnTo>
                    <a:pt x="30" y="219"/>
                  </a:lnTo>
                  <a:lnTo>
                    <a:pt x="30" y="218"/>
                  </a:lnTo>
                  <a:lnTo>
                    <a:pt x="29" y="217"/>
                  </a:lnTo>
                  <a:lnTo>
                    <a:pt x="29" y="217"/>
                  </a:lnTo>
                  <a:lnTo>
                    <a:pt x="28" y="216"/>
                  </a:lnTo>
                  <a:lnTo>
                    <a:pt x="28" y="216"/>
                  </a:lnTo>
                  <a:lnTo>
                    <a:pt x="27" y="216"/>
                  </a:lnTo>
                  <a:lnTo>
                    <a:pt x="26" y="216"/>
                  </a:lnTo>
                  <a:lnTo>
                    <a:pt x="25" y="216"/>
                  </a:lnTo>
                  <a:lnTo>
                    <a:pt x="24" y="216"/>
                  </a:lnTo>
                  <a:lnTo>
                    <a:pt x="23" y="216"/>
                  </a:lnTo>
                  <a:lnTo>
                    <a:pt x="22" y="217"/>
                  </a:lnTo>
                  <a:lnTo>
                    <a:pt x="20" y="217"/>
                  </a:lnTo>
                  <a:lnTo>
                    <a:pt x="13" y="220"/>
                  </a:lnTo>
                  <a:lnTo>
                    <a:pt x="11" y="221"/>
                  </a:lnTo>
                  <a:lnTo>
                    <a:pt x="9" y="221"/>
                  </a:lnTo>
                  <a:lnTo>
                    <a:pt x="8" y="221"/>
                  </a:lnTo>
                  <a:lnTo>
                    <a:pt x="7" y="221"/>
                  </a:lnTo>
                  <a:lnTo>
                    <a:pt x="6" y="222"/>
                  </a:lnTo>
                  <a:lnTo>
                    <a:pt x="5" y="222"/>
                  </a:lnTo>
                  <a:lnTo>
                    <a:pt x="4" y="221"/>
                  </a:lnTo>
                  <a:lnTo>
                    <a:pt x="3" y="221"/>
                  </a:lnTo>
                  <a:lnTo>
                    <a:pt x="2" y="221"/>
                  </a:lnTo>
                  <a:lnTo>
                    <a:pt x="2" y="221"/>
                  </a:lnTo>
                  <a:lnTo>
                    <a:pt x="1" y="220"/>
                  </a:lnTo>
                  <a:lnTo>
                    <a:pt x="1" y="220"/>
                  </a:lnTo>
                  <a:lnTo>
                    <a:pt x="1" y="220"/>
                  </a:lnTo>
                  <a:lnTo>
                    <a:pt x="1" y="219"/>
                  </a:lnTo>
                  <a:lnTo>
                    <a:pt x="0" y="217"/>
                  </a:lnTo>
                  <a:lnTo>
                    <a:pt x="0" y="216"/>
                  </a:lnTo>
                  <a:lnTo>
                    <a:pt x="0" y="215"/>
                  </a:lnTo>
                  <a:lnTo>
                    <a:pt x="0" y="214"/>
                  </a:lnTo>
                  <a:lnTo>
                    <a:pt x="1" y="213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2" y="211"/>
                  </a:lnTo>
                  <a:lnTo>
                    <a:pt x="2" y="211"/>
                  </a:lnTo>
                  <a:lnTo>
                    <a:pt x="4" y="209"/>
                  </a:lnTo>
                  <a:lnTo>
                    <a:pt x="4" y="209"/>
                  </a:lnTo>
                  <a:lnTo>
                    <a:pt x="5" y="208"/>
                  </a:lnTo>
                  <a:lnTo>
                    <a:pt x="6" y="207"/>
                  </a:lnTo>
                  <a:lnTo>
                    <a:pt x="6" y="206"/>
                  </a:lnTo>
                  <a:lnTo>
                    <a:pt x="7" y="205"/>
                  </a:lnTo>
                  <a:lnTo>
                    <a:pt x="9" y="201"/>
                  </a:lnTo>
                  <a:lnTo>
                    <a:pt x="10" y="200"/>
                  </a:lnTo>
                  <a:lnTo>
                    <a:pt x="11" y="199"/>
                  </a:lnTo>
                  <a:lnTo>
                    <a:pt x="11" y="197"/>
                  </a:lnTo>
                  <a:lnTo>
                    <a:pt x="12" y="197"/>
                  </a:lnTo>
                  <a:lnTo>
                    <a:pt x="13" y="196"/>
                  </a:lnTo>
                  <a:lnTo>
                    <a:pt x="14" y="196"/>
                  </a:lnTo>
                  <a:lnTo>
                    <a:pt x="16" y="194"/>
                  </a:lnTo>
                  <a:lnTo>
                    <a:pt x="18" y="192"/>
                  </a:lnTo>
                  <a:lnTo>
                    <a:pt x="20" y="191"/>
                  </a:lnTo>
                  <a:lnTo>
                    <a:pt x="20" y="191"/>
                  </a:lnTo>
                  <a:lnTo>
                    <a:pt x="20" y="190"/>
                  </a:lnTo>
                  <a:lnTo>
                    <a:pt x="21" y="189"/>
                  </a:lnTo>
                  <a:lnTo>
                    <a:pt x="21" y="188"/>
                  </a:lnTo>
                  <a:lnTo>
                    <a:pt x="22" y="187"/>
                  </a:lnTo>
                  <a:lnTo>
                    <a:pt x="22" y="186"/>
                  </a:lnTo>
                  <a:lnTo>
                    <a:pt x="23" y="184"/>
                  </a:lnTo>
                  <a:lnTo>
                    <a:pt x="23" y="183"/>
                  </a:lnTo>
                  <a:lnTo>
                    <a:pt x="24" y="182"/>
                  </a:lnTo>
                  <a:lnTo>
                    <a:pt x="24" y="181"/>
                  </a:lnTo>
                  <a:lnTo>
                    <a:pt x="24" y="180"/>
                  </a:lnTo>
                  <a:lnTo>
                    <a:pt x="24" y="179"/>
                  </a:lnTo>
                  <a:lnTo>
                    <a:pt x="24" y="178"/>
                  </a:lnTo>
                  <a:lnTo>
                    <a:pt x="24" y="177"/>
                  </a:lnTo>
                  <a:lnTo>
                    <a:pt x="23" y="177"/>
                  </a:lnTo>
                  <a:lnTo>
                    <a:pt x="23" y="176"/>
                  </a:lnTo>
                  <a:lnTo>
                    <a:pt x="23" y="176"/>
                  </a:lnTo>
                  <a:lnTo>
                    <a:pt x="22" y="175"/>
                  </a:lnTo>
                  <a:lnTo>
                    <a:pt x="22" y="175"/>
                  </a:lnTo>
                  <a:lnTo>
                    <a:pt x="21" y="175"/>
                  </a:lnTo>
                  <a:lnTo>
                    <a:pt x="20" y="175"/>
                  </a:lnTo>
                  <a:lnTo>
                    <a:pt x="19" y="175"/>
                  </a:lnTo>
                  <a:lnTo>
                    <a:pt x="18" y="175"/>
                  </a:lnTo>
                  <a:lnTo>
                    <a:pt x="16" y="175"/>
                  </a:lnTo>
                  <a:lnTo>
                    <a:pt x="14" y="175"/>
                  </a:lnTo>
                  <a:lnTo>
                    <a:pt x="13" y="175"/>
                  </a:lnTo>
                  <a:lnTo>
                    <a:pt x="12" y="175"/>
                  </a:lnTo>
                  <a:lnTo>
                    <a:pt x="12" y="175"/>
                  </a:lnTo>
                  <a:lnTo>
                    <a:pt x="11" y="175"/>
                  </a:lnTo>
                  <a:lnTo>
                    <a:pt x="11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1" y="170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1" y="168"/>
                  </a:lnTo>
                  <a:lnTo>
                    <a:pt x="10" y="165"/>
                  </a:lnTo>
                  <a:lnTo>
                    <a:pt x="8" y="161"/>
                  </a:lnTo>
                  <a:lnTo>
                    <a:pt x="7" y="159"/>
                  </a:lnTo>
                  <a:lnTo>
                    <a:pt x="7" y="158"/>
                  </a:lnTo>
                  <a:lnTo>
                    <a:pt x="6" y="157"/>
                  </a:lnTo>
                  <a:lnTo>
                    <a:pt x="6" y="156"/>
                  </a:lnTo>
                  <a:lnTo>
                    <a:pt x="6" y="152"/>
                  </a:lnTo>
                  <a:lnTo>
                    <a:pt x="6" y="151"/>
                  </a:lnTo>
                  <a:lnTo>
                    <a:pt x="6" y="149"/>
                  </a:lnTo>
                  <a:lnTo>
                    <a:pt x="5" y="146"/>
                  </a:lnTo>
                  <a:lnTo>
                    <a:pt x="5" y="145"/>
                  </a:lnTo>
                  <a:lnTo>
                    <a:pt x="5" y="144"/>
                  </a:lnTo>
                  <a:lnTo>
                    <a:pt x="5" y="143"/>
                  </a:lnTo>
                  <a:lnTo>
                    <a:pt x="5" y="142"/>
                  </a:lnTo>
                  <a:lnTo>
                    <a:pt x="6" y="141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7" y="136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5" y="129"/>
                  </a:lnTo>
                  <a:lnTo>
                    <a:pt x="15" y="128"/>
                  </a:lnTo>
                  <a:lnTo>
                    <a:pt x="16" y="128"/>
                  </a:lnTo>
                  <a:lnTo>
                    <a:pt x="17" y="125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19" y="123"/>
                  </a:lnTo>
                  <a:lnTo>
                    <a:pt x="20" y="122"/>
                  </a:lnTo>
                  <a:lnTo>
                    <a:pt x="21" y="122"/>
                  </a:lnTo>
                  <a:lnTo>
                    <a:pt x="21" y="122"/>
                  </a:lnTo>
                  <a:lnTo>
                    <a:pt x="22" y="121"/>
                  </a:lnTo>
                  <a:lnTo>
                    <a:pt x="23" y="121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32" y="120"/>
                  </a:lnTo>
                  <a:lnTo>
                    <a:pt x="33" y="119"/>
                  </a:lnTo>
                  <a:lnTo>
                    <a:pt x="35" y="119"/>
                  </a:lnTo>
                  <a:lnTo>
                    <a:pt x="39" y="119"/>
                  </a:lnTo>
                  <a:lnTo>
                    <a:pt x="40" y="118"/>
                  </a:lnTo>
                  <a:lnTo>
                    <a:pt x="44" y="118"/>
                  </a:lnTo>
                  <a:lnTo>
                    <a:pt x="44" y="118"/>
                  </a:lnTo>
                  <a:lnTo>
                    <a:pt x="45" y="118"/>
                  </a:lnTo>
                  <a:lnTo>
                    <a:pt x="46" y="118"/>
                  </a:lnTo>
                  <a:lnTo>
                    <a:pt x="47" y="118"/>
                  </a:lnTo>
                  <a:lnTo>
                    <a:pt x="47" y="117"/>
                  </a:lnTo>
                  <a:lnTo>
                    <a:pt x="48" y="117"/>
                  </a:lnTo>
                  <a:lnTo>
                    <a:pt x="49" y="116"/>
                  </a:lnTo>
                  <a:lnTo>
                    <a:pt x="50" y="116"/>
                  </a:lnTo>
                  <a:lnTo>
                    <a:pt x="50" y="115"/>
                  </a:lnTo>
                  <a:lnTo>
                    <a:pt x="51" y="114"/>
                  </a:lnTo>
                  <a:lnTo>
                    <a:pt x="52" y="113"/>
                  </a:lnTo>
                  <a:lnTo>
                    <a:pt x="54" y="110"/>
                  </a:lnTo>
                  <a:lnTo>
                    <a:pt x="56" y="108"/>
                  </a:lnTo>
                  <a:lnTo>
                    <a:pt x="58" y="105"/>
                  </a:lnTo>
                  <a:lnTo>
                    <a:pt x="59" y="104"/>
                  </a:lnTo>
                  <a:lnTo>
                    <a:pt x="59" y="103"/>
                  </a:lnTo>
                  <a:lnTo>
                    <a:pt x="60" y="103"/>
                  </a:lnTo>
                  <a:lnTo>
                    <a:pt x="61" y="102"/>
                  </a:lnTo>
                  <a:lnTo>
                    <a:pt x="63" y="100"/>
                  </a:lnTo>
                  <a:lnTo>
                    <a:pt x="65" y="98"/>
                  </a:lnTo>
                  <a:lnTo>
                    <a:pt x="66" y="97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5"/>
                  </a:lnTo>
                  <a:lnTo>
                    <a:pt x="67" y="94"/>
                  </a:lnTo>
                  <a:lnTo>
                    <a:pt x="67" y="93"/>
                  </a:lnTo>
                  <a:lnTo>
                    <a:pt x="67" y="92"/>
                  </a:lnTo>
                  <a:lnTo>
                    <a:pt x="67" y="91"/>
                  </a:lnTo>
                  <a:lnTo>
                    <a:pt x="67" y="90"/>
                  </a:lnTo>
                  <a:lnTo>
                    <a:pt x="66" y="88"/>
                  </a:lnTo>
                  <a:lnTo>
                    <a:pt x="65" y="86"/>
                  </a:lnTo>
                  <a:lnTo>
                    <a:pt x="64" y="85"/>
                  </a:lnTo>
                  <a:lnTo>
                    <a:pt x="64" y="83"/>
                  </a:lnTo>
                  <a:lnTo>
                    <a:pt x="63" y="82"/>
                  </a:lnTo>
                  <a:lnTo>
                    <a:pt x="63" y="80"/>
                  </a:lnTo>
                  <a:lnTo>
                    <a:pt x="63" y="79"/>
                  </a:lnTo>
                  <a:lnTo>
                    <a:pt x="63" y="78"/>
                  </a:lnTo>
                  <a:lnTo>
                    <a:pt x="63" y="77"/>
                  </a:lnTo>
                  <a:lnTo>
                    <a:pt x="64" y="76"/>
                  </a:lnTo>
                  <a:lnTo>
                    <a:pt x="64" y="75"/>
                  </a:lnTo>
                  <a:lnTo>
                    <a:pt x="65" y="73"/>
                  </a:lnTo>
                  <a:lnTo>
                    <a:pt x="67" y="69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70" y="66"/>
                  </a:lnTo>
                  <a:lnTo>
                    <a:pt x="71" y="66"/>
                  </a:lnTo>
                  <a:lnTo>
                    <a:pt x="71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3" y="66"/>
                  </a:lnTo>
                  <a:lnTo>
                    <a:pt x="73" y="67"/>
                  </a:lnTo>
                  <a:lnTo>
                    <a:pt x="74" y="67"/>
                  </a:lnTo>
                  <a:lnTo>
                    <a:pt x="74" y="68"/>
                  </a:lnTo>
                  <a:lnTo>
                    <a:pt x="74" y="69"/>
                  </a:lnTo>
                  <a:lnTo>
                    <a:pt x="75" y="69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4"/>
                  </a:lnTo>
                  <a:lnTo>
                    <a:pt x="76" y="75"/>
                  </a:lnTo>
                  <a:lnTo>
                    <a:pt x="76" y="75"/>
                  </a:lnTo>
                  <a:lnTo>
                    <a:pt x="76" y="76"/>
                  </a:lnTo>
                  <a:lnTo>
                    <a:pt x="77" y="76"/>
                  </a:lnTo>
                  <a:lnTo>
                    <a:pt x="77" y="77"/>
                  </a:lnTo>
                  <a:lnTo>
                    <a:pt x="78" y="77"/>
                  </a:lnTo>
                  <a:lnTo>
                    <a:pt x="78" y="77"/>
                  </a:lnTo>
                  <a:lnTo>
                    <a:pt x="81" y="77"/>
                  </a:lnTo>
                  <a:lnTo>
                    <a:pt x="82" y="77"/>
                  </a:lnTo>
                  <a:lnTo>
                    <a:pt x="83" y="78"/>
                  </a:lnTo>
                  <a:lnTo>
                    <a:pt x="85" y="78"/>
                  </a:lnTo>
                  <a:lnTo>
                    <a:pt x="87" y="79"/>
                  </a:lnTo>
                  <a:lnTo>
                    <a:pt x="89" y="79"/>
                  </a:lnTo>
                  <a:lnTo>
                    <a:pt x="91" y="80"/>
                  </a:lnTo>
                  <a:lnTo>
                    <a:pt x="93" y="80"/>
                  </a:lnTo>
                  <a:lnTo>
                    <a:pt x="94" y="80"/>
                  </a:lnTo>
                  <a:lnTo>
                    <a:pt x="95" y="80"/>
                  </a:lnTo>
                  <a:lnTo>
                    <a:pt x="96" y="80"/>
                  </a:lnTo>
                  <a:lnTo>
                    <a:pt x="97" y="80"/>
                  </a:lnTo>
                  <a:lnTo>
                    <a:pt x="97" y="81"/>
                  </a:lnTo>
                  <a:lnTo>
                    <a:pt x="98" y="81"/>
                  </a:lnTo>
                  <a:lnTo>
                    <a:pt x="99" y="82"/>
                  </a:lnTo>
                  <a:lnTo>
                    <a:pt x="100" y="83"/>
                  </a:lnTo>
                  <a:lnTo>
                    <a:pt x="103" y="85"/>
                  </a:lnTo>
                  <a:lnTo>
                    <a:pt x="104" y="86"/>
                  </a:lnTo>
                  <a:lnTo>
                    <a:pt x="105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7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11" y="83"/>
                  </a:lnTo>
                  <a:lnTo>
                    <a:pt x="112" y="82"/>
                  </a:lnTo>
                  <a:lnTo>
                    <a:pt x="112" y="81"/>
                  </a:lnTo>
                  <a:lnTo>
                    <a:pt x="113" y="79"/>
                  </a:lnTo>
                  <a:lnTo>
                    <a:pt x="114" y="78"/>
                  </a:lnTo>
                  <a:lnTo>
                    <a:pt x="114" y="77"/>
                  </a:lnTo>
                  <a:lnTo>
                    <a:pt x="115" y="77"/>
                  </a:lnTo>
                  <a:lnTo>
                    <a:pt x="115" y="76"/>
                  </a:lnTo>
                  <a:lnTo>
                    <a:pt x="115" y="74"/>
                  </a:lnTo>
                  <a:lnTo>
                    <a:pt x="116" y="72"/>
                  </a:lnTo>
                  <a:lnTo>
                    <a:pt x="116" y="71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8" y="69"/>
                  </a:lnTo>
                  <a:lnTo>
                    <a:pt x="121" y="68"/>
                  </a:lnTo>
                  <a:lnTo>
                    <a:pt x="123" y="67"/>
                  </a:lnTo>
                  <a:lnTo>
                    <a:pt x="125" y="67"/>
                  </a:lnTo>
                  <a:lnTo>
                    <a:pt x="126" y="66"/>
                  </a:lnTo>
                  <a:lnTo>
                    <a:pt x="128" y="66"/>
                  </a:lnTo>
                  <a:lnTo>
                    <a:pt x="130" y="66"/>
                  </a:lnTo>
                  <a:lnTo>
                    <a:pt x="132" y="66"/>
                  </a:lnTo>
                  <a:lnTo>
                    <a:pt x="133" y="66"/>
                  </a:lnTo>
                  <a:lnTo>
                    <a:pt x="135" y="66"/>
                  </a:lnTo>
                  <a:lnTo>
                    <a:pt x="136" y="66"/>
                  </a:lnTo>
                  <a:lnTo>
                    <a:pt x="137" y="66"/>
                  </a:lnTo>
                  <a:lnTo>
                    <a:pt x="138" y="66"/>
                  </a:lnTo>
                  <a:lnTo>
                    <a:pt x="138" y="67"/>
                  </a:lnTo>
                  <a:lnTo>
                    <a:pt x="140" y="67"/>
                  </a:lnTo>
                  <a:lnTo>
                    <a:pt x="141" y="68"/>
                  </a:lnTo>
                  <a:lnTo>
                    <a:pt x="142" y="68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44" y="68"/>
                  </a:lnTo>
                  <a:lnTo>
                    <a:pt x="145" y="68"/>
                  </a:lnTo>
                  <a:lnTo>
                    <a:pt x="146" y="68"/>
                  </a:lnTo>
                  <a:lnTo>
                    <a:pt x="147" y="68"/>
                  </a:lnTo>
                  <a:lnTo>
                    <a:pt x="148" y="68"/>
                  </a:lnTo>
                  <a:lnTo>
                    <a:pt x="149" y="67"/>
                  </a:lnTo>
                  <a:lnTo>
                    <a:pt x="150" y="67"/>
                  </a:lnTo>
                  <a:lnTo>
                    <a:pt x="150" y="67"/>
                  </a:lnTo>
                  <a:lnTo>
                    <a:pt x="151" y="66"/>
                  </a:lnTo>
                  <a:lnTo>
                    <a:pt x="152" y="65"/>
                  </a:lnTo>
                  <a:lnTo>
                    <a:pt x="152" y="65"/>
                  </a:lnTo>
                  <a:lnTo>
                    <a:pt x="153" y="64"/>
                  </a:lnTo>
                  <a:lnTo>
                    <a:pt x="154" y="63"/>
                  </a:lnTo>
                  <a:lnTo>
                    <a:pt x="154" y="62"/>
                  </a:lnTo>
                  <a:lnTo>
                    <a:pt x="154" y="61"/>
                  </a:lnTo>
                  <a:lnTo>
                    <a:pt x="155" y="60"/>
                  </a:lnTo>
                  <a:lnTo>
                    <a:pt x="155" y="60"/>
                  </a:lnTo>
                  <a:lnTo>
                    <a:pt x="155" y="59"/>
                  </a:lnTo>
                  <a:lnTo>
                    <a:pt x="155" y="58"/>
                  </a:lnTo>
                  <a:lnTo>
                    <a:pt x="154" y="57"/>
                  </a:lnTo>
                  <a:lnTo>
                    <a:pt x="154" y="56"/>
                  </a:lnTo>
                  <a:lnTo>
                    <a:pt x="153" y="54"/>
                  </a:lnTo>
                  <a:lnTo>
                    <a:pt x="151" y="50"/>
                  </a:lnTo>
                  <a:lnTo>
                    <a:pt x="151" y="49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52" y="46"/>
                  </a:lnTo>
                  <a:lnTo>
                    <a:pt x="152" y="46"/>
                  </a:lnTo>
                  <a:lnTo>
                    <a:pt x="153" y="46"/>
                  </a:lnTo>
                  <a:lnTo>
                    <a:pt x="154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6" y="46"/>
                  </a:lnTo>
                  <a:lnTo>
                    <a:pt x="157" y="46"/>
                  </a:lnTo>
                  <a:lnTo>
                    <a:pt x="158" y="46"/>
                  </a:lnTo>
                  <a:lnTo>
                    <a:pt x="159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1" y="46"/>
                  </a:lnTo>
                  <a:lnTo>
                    <a:pt x="161" y="45"/>
                  </a:lnTo>
                  <a:lnTo>
                    <a:pt x="161" y="45"/>
                  </a:lnTo>
                  <a:lnTo>
                    <a:pt x="162" y="45"/>
                  </a:lnTo>
                  <a:lnTo>
                    <a:pt x="163" y="42"/>
                  </a:lnTo>
                  <a:lnTo>
                    <a:pt x="164" y="41"/>
                  </a:lnTo>
                  <a:lnTo>
                    <a:pt x="164" y="41"/>
                  </a:lnTo>
                  <a:lnTo>
                    <a:pt x="165" y="41"/>
                  </a:lnTo>
                  <a:lnTo>
                    <a:pt x="166" y="40"/>
                  </a:lnTo>
                  <a:lnTo>
                    <a:pt x="166" y="40"/>
                  </a:lnTo>
                  <a:lnTo>
                    <a:pt x="167" y="40"/>
                  </a:lnTo>
                  <a:lnTo>
                    <a:pt x="168" y="40"/>
                  </a:lnTo>
                  <a:lnTo>
                    <a:pt x="169" y="40"/>
                  </a:lnTo>
                  <a:lnTo>
                    <a:pt x="170" y="41"/>
                  </a:lnTo>
                  <a:lnTo>
                    <a:pt x="171" y="41"/>
                  </a:lnTo>
                  <a:lnTo>
                    <a:pt x="172" y="42"/>
                  </a:lnTo>
                  <a:lnTo>
                    <a:pt x="173" y="43"/>
                  </a:lnTo>
                  <a:lnTo>
                    <a:pt x="174" y="44"/>
                  </a:lnTo>
                  <a:lnTo>
                    <a:pt x="176" y="46"/>
                  </a:lnTo>
                  <a:lnTo>
                    <a:pt x="176" y="46"/>
                  </a:lnTo>
                  <a:lnTo>
                    <a:pt x="177" y="47"/>
                  </a:lnTo>
                  <a:lnTo>
                    <a:pt x="178" y="47"/>
                  </a:lnTo>
                  <a:lnTo>
                    <a:pt x="179" y="48"/>
                  </a:lnTo>
                  <a:lnTo>
                    <a:pt x="180" y="48"/>
                  </a:lnTo>
                  <a:lnTo>
                    <a:pt x="181" y="49"/>
                  </a:lnTo>
                  <a:lnTo>
                    <a:pt x="182" y="49"/>
                  </a:lnTo>
                  <a:lnTo>
                    <a:pt x="184" y="49"/>
                  </a:lnTo>
                  <a:lnTo>
                    <a:pt x="185" y="49"/>
                  </a:lnTo>
                  <a:lnTo>
                    <a:pt x="186" y="49"/>
                  </a:lnTo>
                  <a:lnTo>
                    <a:pt x="188" y="49"/>
                  </a:lnTo>
                  <a:lnTo>
                    <a:pt x="191" y="48"/>
                  </a:lnTo>
                  <a:lnTo>
                    <a:pt x="192" y="47"/>
                  </a:lnTo>
                  <a:lnTo>
                    <a:pt x="192" y="47"/>
                  </a:lnTo>
                  <a:lnTo>
                    <a:pt x="193" y="47"/>
                  </a:lnTo>
                  <a:lnTo>
                    <a:pt x="193" y="46"/>
                  </a:lnTo>
                  <a:lnTo>
                    <a:pt x="194" y="46"/>
                  </a:lnTo>
                  <a:lnTo>
                    <a:pt x="194" y="45"/>
                  </a:lnTo>
                  <a:lnTo>
                    <a:pt x="195" y="45"/>
                  </a:lnTo>
                  <a:lnTo>
                    <a:pt x="196" y="42"/>
                  </a:lnTo>
                  <a:lnTo>
                    <a:pt x="197" y="39"/>
                  </a:lnTo>
                  <a:lnTo>
                    <a:pt x="198" y="36"/>
                  </a:lnTo>
                  <a:lnTo>
                    <a:pt x="199" y="35"/>
                  </a:lnTo>
                  <a:lnTo>
                    <a:pt x="199" y="33"/>
                  </a:lnTo>
                  <a:lnTo>
                    <a:pt x="199" y="32"/>
                  </a:lnTo>
                  <a:lnTo>
                    <a:pt x="199" y="31"/>
                  </a:lnTo>
                  <a:lnTo>
                    <a:pt x="199" y="28"/>
                  </a:lnTo>
                  <a:lnTo>
                    <a:pt x="200" y="27"/>
                  </a:lnTo>
                  <a:lnTo>
                    <a:pt x="200" y="27"/>
                  </a:lnTo>
                  <a:lnTo>
                    <a:pt x="200" y="26"/>
                  </a:lnTo>
                  <a:lnTo>
                    <a:pt x="200" y="25"/>
                  </a:lnTo>
                  <a:lnTo>
                    <a:pt x="201" y="25"/>
                  </a:lnTo>
                  <a:lnTo>
                    <a:pt x="203" y="23"/>
                  </a:lnTo>
                  <a:lnTo>
                    <a:pt x="204" y="21"/>
                  </a:lnTo>
                  <a:lnTo>
                    <a:pt x="205" y="20"/>
                  </a:lnTo>
                  <a:lnTo>
                    <a:pt x="206" y="19"/>
                  </a:lnTo>
                  <a:lnTo>
                    <a:pt x="208" y="18"/>
                  </a:lnTo>
                  <a:lnTo>
                    <a:pt x="209" y="17"/>
                  </a:lnTo>
                  <a:lnTo>
                    <a:pt x="210" y="17"/>
                  </a:lnTo>
                  <a:lnTo>
                    <a:pt x="210" y="16"/>
                  </a:lnTo>
                  <a:lnTo>
                    <a:pt x="211" y="15"/>
                  </a:lnTo>
                  <a:lnTo>
                    <a:pt x="211" y="15"/>
                  </a:lnTo>
                  <a:lnTo>
                    <a:pt x="212" y="13"/>
                  </a:lnTo>
                  <a:lnTo>
                    <a:pt x="213" y="12"/>
                  </a:lnTo>
                  <a:lnTo>
                    <a:pt x="214" y="11"/>
                  </a:lnTo>
                  <a:lnTo>
                    <a:pt x="214" y="10"/>
                  </a:lnTo>
                  <a:lnTo>
                    <a:pt x="214" y="10"/>
                  </a:lnTo>
                  <a:lnTo>
                    <a:pt x="215" y="10"/>
                  </a:lnTo>
                  <a:lnTo>
                    <a:pt x="216" y="10"/>
                  </a:lnTo>
                  <a:lnTo>
                    <a:pt x="217" y="10"/>
                  </a:lnTo>
                  <a:lnTo>
                    <a:pt x="218" y="11"/>
                  </a:lnTo>
                  <a:lnTo>
                    <a:pt x="221" y="11"/>
                  </a:lnTo>
                  <a:lnTo>
                    <a:pt x="223" y="12"/>
                  </a:lnTo>
                  <a:lnTo>
                    <a:pt x="224" y="12"/>
                  </a:lnTo>
                  <a:lnTo>
                    <a:pt x="225" y="12"/>
                  </a:lnTo>
                  <a:lnTo>
                    <a:pt x="225" y="12"/>
                  </a:lnTo>
                  <a:lnTo>
                    <a:pt x="226" y="12"/>
                  </a:lnTo>
                  <a:lnTo>
                    <a:pt x="227" y="12"/>
                  </a:lnTo>
                  <a:lnTo>
                    <a:pt x="227" y="12"/>
                  </a:lnTo>
                  <a:lnTo>
                    <a:pt x="228" y="11"/>
                  </a:lnTo>
                  <a:lnTo>
                    <a:pt x="228" y="11"/>
                  </a:lnTo>
                  <a:lnTo>
                    <a:pt x="229" y="11"/>
                  </a:lnTo>
                  <a:lnTo>
                    <a:pt x="230" y="10"/>
                  </a:lnTo>
                  <a:lnTo>
                    <a:pt x="230" y="10"/>
                  </a:lnTo>
                  <a:lnTo>
                    <a:pt x="231" y="9"/>
                  </a:lnTo>
                  <a:lnTo>
                    <a:pt x="231" y="8"/>
                  </a:lnTo>
                  <a:lnTo>
                    <a:pt x="232" y="7"/>
                  </a:lnTo>
                  <a:lnTo>
                    <a:pt x="233" y="5"/>
                  </a:lnTo>
                  <a:lnTo>
                    <a:pt x="234" y="4"/>
                  </a:lnTo>
                  <a:lnTo>
                    <a:pt x="234" y="3"/>
                  </a:lnTo>
                  <a:lnTo>
                    <a:pt x="235" y="2"/>
                  </a:lnTo>
                  <a:lnTo>
                    <a:pt x="235" y="2"/>
                  </a:lnTo>
                  <a:lnTo>
                    <a:pt x="235" y="1"/>
                  </a:lnTo>
                  <a:lnTo>
                    <a:pt x="235" y="1"/>
                  </a:lnTo>
                  <a:lnTo>
                    <a:pt x="235" y="0"/>
                  </a:lnTo>
                  <a:lnTo>
                    <a:pt x="236" y="1"/>
                  </a:lnTo>
                  <a:lnTo>
                    <a:pt x="236" y="1"/>
                  </a:lnTo>
                  <a:lnTo>
                    <a:pt x="238" y="0"/>
                  </a:lnTo>
                  <a:lnTo>
                    <a:pt x="238" y="0"/>
                  </a:lnTo>
                  <a:lnTo>
                    <a:pt x="239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1" y="0"/>
                  </a:lnTo>
                  <a:close/>
                </a:path>
              </a:pathLst>
            </a:custGeom>
            <a:solidFill>
              <a:srgbClr val="FFE389"/>
            </a:solidFill>
            <a:ln w="20638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3" name="Freeform 73">
              <a:extLst>
                <a:ext uri="{FF2B5EF4-FFF2-40B4-BE49-F238E27FC236}">
                  <a16:creationId xmlns:a16="http://schemas.microsoft.com/office/drawing/2014/main" id="{7FF0DAB2-E3B1-CE70-4E43-379F89D7F2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192"/>
              <a:ext cx="516" cy="419"/>
            </a:xfrm>
            <a:custGeom>
              <a:avLst/>
              <a:gdLst>
                <a:gd name="T0" fmla="*/ 169 w 516"/>
                <a:gd name="T1" fmla="*/ 9 h 419"/>
                <a:gd name="T2" fmla="*/ 172 w 516"/>
                <a:gd name="T3" fmla="*/ 35 h 419"/>
                <a:gd name="T4" fmla="*/ 169 w 516"/>
                <a:gd name="T5" fmla="*/ 53 h 419"/>
                <a:gd name="T6" fmla="*/ 134 w 516"/>
                <a:gd name="T7" fmla="*/ 70 h 419"/>
                <a:gd name="T8" fmla="*/ 139 w 516"/>
                <a:gd name="T9" fmla="*/ 88 h 419"/>
                <a:gd name="T10" fmla="*/ 161 w 516"/>
                <a:gd name="T11" fmla="*/ 97 h 419"/>
                <a:gd name="T12" fmla="*/ 182 w 516"/>
                <a:gd name="T13" fmla="*/ 131 h 419"/>
                <a:gd name="T14" fmla="*/ 204 w 516"/>
                <a:gd name="T15" fmla="*/ 152 h 419"/>
                <a:gd name="T16" fmla="*/ 235 w 516"/>
                <a:gd name="T17" fmla="*/ 147 h 419"/>
                <a:gd name="T18" fmla="*/ 263 w 516"/>
                <a:gd name="T19" fmla="*/ 138 h 419"/>
                <a:gd name="T20" fmla="*/ 254 w 516"/>
                <a:gd name="T21" fmla="*/ 127 h 419"/>
                <a:gd name="T22" fmla="*/ 262 w 516"/>
                <a:gd name="T23" fmla="*/ 116 h 419"/>
                <a:gd name="T24" fmla="*/ 284 w 516"/>
                <a:gd name="T25" fmla="*/ 143 h 419"/>
                <a:gd name="T26" fmla="*/ 305 w 516"/>
                <a:gd name="T27" fmla="*/ 144 h 419"/>
                <a:gd name="T28" fmla="*/ 326 w 516"/>
                <a:gd name="T29" fmla="*/ 157 h 419"/>
                <a:gd name="T30" fmla="*/ 343 w 516"/>
                <a:gd name="T31" fmla="*/ 176 h 419"/>
                <a:gd name="T32" fmla="*/ 354 w 516"/>
                <a:gd name="T33" fmla="*/ 167 h 419"/>
                <a:gd name="T34" fmla="*/ 388 w 516"/>
                <a:gd name="T35" fmla="*/ 175 h 419"/>
                <a:gd name="T36" fmla="*/ 413 w 516"/>
                <a:gd name="T37" fmla="*/ 181 h 419"/>
                <a:gd name="T38" fmla="*/ 423 w 516"/>
                <a:gd name="T39" fmla="*/ 178 h 419"/>
                <a:gd name="T40" fmla="*/ 430 w 516"/>
                <a:gd name="T41" fmla="*/ 200 h 419"/>
                <a:gd name="T42" fmla="*/ 429 w 516"/>
                <a:gd name="T43" fmla="*/ 225 h 419"/>
                <a:gd name="T44" fmla="*/ 449 w 516"/>
                <a:gd name="T45" fmla="*/ 269 h 419"/>
                <a:gd name="T46" fmla="*/ 479 w 516"/>
                <a:gd name="T47" fmla="*/ 282 h 419"/>
                <a:gd name="T48" fmla="*/ 499 w 516"/>
                <a:gd name="T49" fmla="*/ 288 h 419"/>
                <a:gd name="T50" fmla="*/ 516 w 516"/>
                <a:gd name="T51" fmla="*/ 341 h 419"/>
                <a:gd name="T52" fmla="*/ 499 w 516"/>
                <a:gd name="T53" fmla="*/ 362 h 419"/>
                <a:gd name="T54" fmla="*/ 463 w 516"/>
                <a:gd name="T55" fmla="*/ 366 h 419"/>
                <a:gd name="T56" fmla="*/ 431 w 516"/>
                <a:gd name="T57" fmla="*/ 366 h 419"/>
                <a:gd name="T58" fmla="*/ 422 w 516"/>
                <a:gd name="T59" fmla="*/ 385 h 419"/>
                <a:gd name="T60" fmla="*/ 395 w 516"/>
                <a:gd name="T61" fmla="*/ 418 h 419"/>
                <a:gd name="T62" fmla="*/ 376 w 516"/>
                <a:gd name="T63" fmla="*/ 413 h 419"/>
                <a:gd name="T64" fmla="*/ 354 w 516"/>
                <a:gd name="T65" fmla="*/ 386 h 419"/>
                <a:gd name="T66" fmla="*/ 329 w 516"/>
                <a:gd name="T67" fmla="*/ 378 h 419"/>
                <a:gd name="T68" fmla="*/ 293 w 516"/>
                <a:gd name="T69" fmla="*/ 367 h 419"/>
                <a:gd name="T70" fmla="*/ 255 w 516"/>
                <a:gd name="T71" fmla="*/ 366 h 419"/>
                <a:gd name="T72" fmla="*/ 234 w 516"/>
                <a:gd name="T73" fmla="*/ 359 h 419"/>
                <a:gd name="T74" fmla="*/ 218 w 516"/>
                <a:gd name="T75" fmla="*/ 353 h 419"/>
                <a:gd name="T76" fmla="*/ 215 w 516"/>
                <a:gd name="T77" fmla="*/ 340 h 419"/>
                <a:gd name="T78" fmla="*/ 183 w 516"/>
                <a:gd name="T79" fmla="*/ 303 h 419"/>
                <a:gd name="T80" fmla="*/ 169 w 516"/>
                <a:gd name="T81" fmla="*/ 300 h 419"/>
                <a:gd name="T82" fmla="*/ 164 w 516"/>
                <a:gd name="T83" fmla="*/ 274 h 419"/>
                <a:gd name="T84" fmla="*/ 153 w 516"/>
                <a:gd name="T85" fmla="*/ 260 h 419"/>
                <a:gd name="T86" fmla="*/ 120 w 516"/>
                <a:gd name="T87" fmla="*/ 257 h 419"/>
                <a:gd name="T88" fmla="*/ 104 w 516"/>
                <a:gd name="T89" fmla="*/ 237 h 419"/>
                <a:gd name="T90" fmla="*/ 94 w 516"/>
                <a:gd name="T91" fmla="*/ 211 h 419"/>
                <a:gd name="T92" fmla="*/ 89 w 516"/>
                <a:gd name="T93" fmla="*/ 229 h 419"/>
                <a:gd name="T94" fmla="*/ 77 w 516"/>
                <a:gd name="T95" fmla="*/ 236 h 419"/>
                <a:gd name="T96" fmla="*/ 64 w 516"/>
                <a:gd name="T97" fmla="*/ 238 h 419"/>
                <a:gd name="T98" fmla="*/ 60 w 516"/>
                <a:gd name="T99" fmla="*/ 217 h 419"/>
                <a:gd name="T100" fmla="*/ 33 w 516"/>
                <a:gd name="T101" fmla="*/ 234 h 419"/>
                <a:gd name="T102" fmla="*/ 20 w 516"/>
                <a:gd name="T103" fmla="*/ 223 h 419"/>
                <a:gd name="T104" fmla="*/ 5 w 516"/>
                <a:gd name="T105" fmla="*/ 217 h 419"/>
                <a:gd name="T106" fmla="*/ 4 w 516"/>
                <a:gd name="T107" fmla="*/ 193 h 419"/>
                <a:gd name="T108" fmla="*/ 11 w 516"/>
                <a:gd name="T109" fmla="*/ 172 h 419"/>
                <a:gd name="T110" fmla="*/ 6 w 516"/>
                <a:gd name="T111" fmla="*/ 145 h 419"/>
                <a:gd name="T112" fmla="*/ 20 w 516"/>
                <a:gd name="T113" fmla="*/ 105 h 419"/>
                <a:gd name="T114" fmla="*/ 40 w 516"/>
                <a:gd name="T115" fmla="*/ 71 h 419"/>
                <a:gd name="T116" fmla="*/ 66 w 516"/>
                <a:gd name="T117" fmla="*/ 52 h 419"/>
                <a:gd name="T118" fmla="*/ 77 w 516"/>
                <a:gd name="T119" fmla="*/ 34 h 419"/>
                <a:gd name="T120" fmla="*/ 113 w 516"/>
                <a:gd name="T121" fmla="*/ 24 h 419"/>
                <a:gd name="T122" fmla="*/ 142 w 516"/>
                <a:gd name="T123" fmla="*/ 1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16" h="419">
                  <a:moveTo>
                    <a:pt x="156" y="0"/>
                  </a:moveTo>
                  <a:lnTo>
                    <a:pt x="157" y="0"/>
                  </a:lnTo>
                  <a:lnTo>
                    <a:pt x="158" y="0"/>
                  </a:lnTo>
                  <a:lnTo>
                    <a:pt x="158" y="1"/>
                  </a:lnTo>
                  <a:lnTo>
                    <a:pt x="159" y="1"/>
                  </a:lnTo>
                  <a:lnTo>
                    <a:pt x="160" y="1"/>
                  </a:lnTo>
                  <a:lnTo>
                    <a:pt x="160" y="2"/>
                  </a:lnTo>
                  <a:lnTo>
                    <a:pt x="161" y="2"/>
                  </a:lnTo>
                  <a:lnTo>
                    <a:pt x="162" y="3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64" y="5"/>
                  </a:lnTo>
                  <a:lnTo>
                    <a:pt x="164" y="6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6" y="7"/>
                  </a:lnTo>
                  <a:lnTo>
                    <a:pt x="167" y="8"/>
                  </a:lnTo>
                  <a:lnTo>
                    <a:pt x="167" y="8"/>
                  </a:lnTo>
                  <a:lnTo>
                    <a:pt x="168" y="8"/>
                  </a:lnTo>
                  <a:lnTo>
                    <a:pt x="169" y="9"/>
                  </a:lnTo>
                  <a:lnTo>
                    <a:pt x="169" y="9"/>
                  </a:lnTo>
                  <a:lnTo>
                    <a:pt x="169" y="10"/>
                  </a:lnTo>
                  <a:lnTo>
                    <a:pt x="169" y="10"/>
                  </a:lnTo>
                  <a:lnTo>
                    <a:pt x="169" y="11"/>
                  </a:lnTo>
                  <a:lnTo>
                    <a:pt x="169" y="11"/>
                  </a:lnTo>
                  <a:lnTo>
                    <a:pt x="169" y="12"/>
                  </a:lnTo>
                  <a:lnTo>
                    <a:pt x="169" y="13"/>
                  </a:lnTo>
                  <a:lnTo>
                    <a:pt x="169" y="14"/>
                  </a:lnTo>
                  <a:lnTo>
                    <a:pt x="167" y="18"/>
                  </a:lnTo>
                  <a:lnTo>
                    <a:pt x="167" y="20"/>
                  </a:lnTo>
                  <a:lnTo>
                    <a:pt x="166" y="21"/>
                  </a:lnTo>
                  <a:lnTo>
                    <a:pt x="166" y="22"/>
                  </a:lnTo>
                  <a:lnTo>
                    <a:pt x="166" y="23"/>
                  </a:lnTo>
                  <a:lnTo>
                    <a:pt x="166" y="24"/>
                  </a:lnTo>
                  <a:lnTo>
                    <a:pt x="166" y="26"/>
                  </a:lnTo>
                  <a:lnTo>
                    <a:pt x="166" y="27"/>
                  </a:lnTo>
                  <a:lnTo>
                    <a:pt x="167" y="28"/>
                  </a:lnTo>
                  <a:lnTo>
                    <a:pt x="167" y="29"/>
                  </a:lnTo>
                  <a:lnTo>
                    <a:pt x="168" y="30"/>
                  </a:lnTo>
                  <a:lnTo>
                    <a:pt x="168" y="31"/>
                  </a:lnTo>
                  <a:lnTo>
                    <a:pt x="169" y="32"/>
                  </a:lnTo>
                  <a:lnTo>
                    <a:pt x="172" y="35"/>
                  </a:lnTo>
                  <a:lnTo>
                    <a:pt x="173" y="37"/>
                  </a:lnTo>
                  <a:lnTo>
                    <a:pt x="173" y="38"/>
                  </a:lnTo>
                  <a:lnTo>
                    <a:pt x="174" y="38"/>
                  </a:lnTo>
                  <a:lnTo>
                    <a:pt x="174" y="39"/>
                  </a:lnTo>
                  <a:lnTo>
                    <a:pt x="174" y="40"/>
                  </a:lnTo>
                  <a:lnTo>
                    <a:pt x="174" y="41"/>
                  </a:lnTo>
                  <a:lnTo>
                    <a:pt x="175" y="42"/>
                  </a:lnTo>
                  <a:lnTo>
                    <a:pt x="175" y="43"/>
                  </a:lnTo>
                  <a:lnTo>
                    <a:pt x="175" y="45"/>
                  </a:lnTo>
                  <a:lnTo>
                    <a:pt x="174" y="46"/>
                  </a:lnTo>
                  <a:lnTo>
                    <a:pt x="174" y="47"/>
                  </a:lnTo>
                  <a:lnTo>
                    <a:pt x="174" y="49"/>
                  </a:lnTo>
                  <a:lnTo>
                    <a:pt x="174" y="49"/>
                  </a:lnTo>
                  <a:lnTo>
                    <a:pt x="173" y="50"/>
                  </a:lnTo>
                  <a:lnTo>
                    <a:pt x="173" y="50"/>
                  </a:lnTo>
                  <a:lnTo>
                    <a:pt x="173" y="51"/>
                  </a:lnTo>
                  <a:lnTo>
                    <a:pt x="172" y="52"/>
                  </a:lnTo>
                  <a:lnTo>
                    <a:pt x="171" y="52"/>
                  </a:lnTo>
                  <a:lnTo>
                    <a:pt x="170" y="53"/>
                  </a:lnTo>
                  <a:lnTo>
                    <a:pt x="169" y="53"/>
                  </a:lnTo>
                  <a:lnTo>
                    <a:pt x="169" y="53"/>
                  </a:lnTo>
                  <a:lnTo>
                    <a:pt x="166" y="54"/>
                  </a:lnTo>
                  <a:lnTo>
                    <a:pt x="165" y="54"/>
                  </a:lnTo>
                  <a:lnTo>
                    <a:pt x="164" y="55"/>
                  </a:lnTo>
                  <a:lnTo>
                    <a:pt x="164" y="55"/>
                  </a:lnTo>
                  <a:lnTo>
                    <a:pt x="163" y="56"/>
                  </a:lnTo>
                  <a:lnTo>
                    <a:pt x="162" y="57"/>
                  </a:lnTo>
                  <a:lnTo>
                    <a:pt x="162" y="57"/>
                  </a:lnTo>
                  <a:lnTo>
                    <a:pt x="160" y="59"/>
                  </a:lnTo>
                  <a:lnTo>
                    <a:pt x="160" y="60"/>
                  </a:lnTo>
                  <a:lnTo>
                    <a:pt x="159" y="61"/>
                  </a:lnTo>
                  <a:lnTo>
                    <a:pt x="159" y="61"/>
                  </a:lnTo>
                  <a:lnTo>
                    <a:pt x="158" y="62"/>
                  </a:lnTo>
                  <a:lnTo>
                    <a:pt x="158" y="62"/>
                  </a:lnTo>
                  <a:lnTo>
                    <a:pt x="157" y="63"/>
                  </a:lnTo>
                  <a:lnTo>
                    <a:pt x="156" y="63"/>
                  </a:lnTo>
                  <a:lnTo>
                    <a:pt x="155" y="63"/>
                  </a:lnTo>
                  <a:lnTo>
                    <a:pt x="153" y="64"/>
                  </a:lnTo>
                  <a:lnTo>
                    <a:pt x="148" y="66"/>
                  </a:lnTo>
                  <a:lnTo>
                    <a:pt x="142" y="68"/>
                  </a:lnTo>
                  <a:lnTo>
                    <a:pt x="139" y="69"/>
                  </a:lnTo>
                  <a:lnTo>
                    <a:pt x="134" y="70"/>
                  </a:lnTo>
                  <a:lnTo>
                    <a:pt x="133" y="71"/>
                  </a:lnTo>
                  <a:lnTo>
                    <a:pt x="132" y="71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0" y="73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5"/>
                  </a:lnTo>
                  <a:lnTo>
                    <a:pt x="129" y="76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30" y="78"/>
                  </a:lnTo>
                  <a:lnTo>
                    <a:pt x="130" y="79"/>
                  </a:lnTo>
                  <a:lnTo>
                    <a:pt x="131" y="80"/>
                  </a:lnTo>
                  <a:lnTo>
                    <a:pt x="131" y="81"/>
                  </a:lnTo>
                  <a:lnTo>
                    <a:pt x="132" y="82"/>
                  </a:lnTo>
                  <a:lnTo>
                    <a:pt x="132" y="82"/>
                  </a:lnTo>
                  <a:lnTo>
                    <a:pt x="133" y="83"/>
                  </a:lnTo>
                  <a:lnTo>
                    <a:pt x="134" y="84"/>
                  </a:lnTo>
                  <a:lnTo>
                    <a:pt x="135" y="85"/>
                  </a:lnTo>
                  <a:lnTo>
                    <a:pt x="139" y="88"/>
                  </a:lnTo>
                  <a:lnTo>
                    <a:pt x="140" y="89"/>
                  </a:lnTo>
                  <a:lnTo>
                    <a:pt x="141" y="91"/>
                  </a:lnTo>
                  <a:lnTo>
                    <a:pt x="143" y="93"/>
                  </a:lnTo>
                  <a:lnTo>
                    <a:pt x="144" y="94"/>
                  </a:lnTo>
                  <a:lnTo>
                    <a:pt x="145" y="95"/>
                  </a:lnTo>
                  <a:lnTo>
                    <a:pt x="146" y="96"/>
                  </a:lnTo>
                  <a:lnTo>
                    <a:pt x="147" y="97"/>
                  </a:lnTo>
                  <a:lnTo>
                    <a:pt x="149" y="97"/>
                  </a:lnTo>
                  <a:lnTo>
                    <a:pt x="150" y="98"/>
                  </a:lnTo>
                  <a:lnTo>
                    <a:pt x="151" y="98"/>
                  </a:lnTo>
                  <a:lnTo>
                    <a:pt x="152" y="98"/>
                  </a:lnTo>
                  <a:lnTo>
                    <a:pt x="152" y="98"/>
                  </a:lnTo>
                  <a:lnTo>
                    <a:pt x="153" y="97"/>
                  </a:lnTo>
                  <a:lnTo>
                    <a:pt x="155" y="97"/>
                  </a:lnTo>
                  <a:lnTo>
                    <a:pt x="156" y="97"/>
                  </a:lnTo>
                  <a:lnTo>
                    <a:pt x="157" y="97"/>
                  </a:lnTo>
                  <a:lnTo>
                    <a:pt x="158" y="97"/>
                  </a:lnTo>
                  <a:lnTo>
                    <a:pt x="159" y="97"/>
                  </a:lnTo>
                  <a:lnTo>
                    <a:pt x="159" y="97"/>
                  </a:lnTo>
                  <a:lnTo>
                    <a:pt x="160" y="97"/>
                  </a:lnTo>
                  <a:lnTo>
                    <a:pt x="161" y="97"/>
                  </a:lnTo>
                  <a:lnTo>
                    <a:pt x="161" y="98"/>
                  </a:lnTo>
                  <a:lnTo>
                    <a:pt x="163" y="98"/>
                  </a:lnTo>
                  <a:lnTo>
                    <a:pt x="163" y="99"/>
                  </a:lnTo>
                  <a:lnTo>
                    <a:pt x="164" y="99"/>
                  </a:lnTo>
                  <a:lnTo>
                    <a:pt x="165" y="100"/>
                  </a:lnTo>
                  <a:lnTo>
                    <a:pt x="166" y="101"/>
                  </a:lnTo>
                  <a:lnTo>
                    <a:pt x="167" y="102"/>
                  </a:lnTo>
                  <a:lnTo>
                    <a:pt x="168" y="103"/>
                  </a:lnTo>
                  <a:lnTo>
                    <a:pt x="170" y="106"/>
                  </a:lnTo>
                  <a:lnTo>
                    <a:pt x="171" y="108"/>
                  </a:lnTo>
                  <a:lnTo>
                    <a:pt x="174" y="112"/>
                  </a:lnTo>
                  <a:lnTo>
                    <a:pt x="175" y="113"/>
                  </a:lnTo>
                  <a:lnTo>
                    <a:pt x="176" y="115"/>
                  </a:lnTo>
                  <a:lnTo>
                    <a:pt x="177" y="116"/>
                  </a:lnTo>
                  <a:lnTo>
                    <a:pt x="177" y="117"/>
                  </a:lnTo>
                  <a:lnTo>
                    <a:pt x="178" y="119"/>
                  </a:lnTo>
                  <a:lnTo>
                    <a:pt x="178" y="120"/>
                  </a:lnTo>
                  <a:lnTo>
                    <a:pt x="180" y="124"/>
                  </a:lnTo>
                  <a:lnTo>
                    <a:pt x="181" y="126"/>
                  </a:lnTo>
                  <a:lnTo>
                    <a:pt x="181" y="127"/>
                  </a:lnTo>
                  <a:lnTo>
                    <a:pt x="182" y="131"/>
                  </a:lnTo>
                  <a:lnTo>
                    <a:pt x="184" y="134"/>
                  </a:lnTo>
                  <a:lnTo>
                    <a:pt x="184" y="135"/>
                  </a:lnTo>
                  <a:lnTo>
                    <a:pt x="185" y="136"/>
                  </a:lnTo>
                  <a:lnTo>
                    <a:pt x="185" y="137"/>
                  </a:lnTo>
                  <a:lnTo>
                    <a:pt x="186" y="137"/>
                  </a:lnTo>
                  <a:lnTo>
                    <a:pt x="187" y="138"/>
                  </a:lnTo>
                  <a:lnTo>
                    <a:pt x="188" y="138"/>
                  </a:lnTo>
                  <a:lnTo>
                    <a:pt x="190" y="140"/>
                  </a:lnTo>
                  <a:lnTo>
                    <a:pt x="192" y="141"/>
                  </a:lnTo>
                  <a:lnTo>
                    <a:pt x="195" y="142"/>
                  </a:lnTo>
                  <a:lnTo>
                    <a:pt x="196" y="142"/>
                  </a:lnTo>
                  <a:lnTo>
                    <a:pt x="197" y="143"/>
                  </a:lnTo>
                  <a:lnTo>
                    <a:pt x="198" y="144"/>
                  </a:lnTo>
                  <a:lnTo>
                    <a:pt x="198" y="145"/>
                  </a:lnTo>
                  <a:lnTo>
                    <a:pt x="199" y="146"/>
                  </a:lnTo>
                  <a:lnTo>
                    <a:pt x="200" y="147"/>
                  </a:lnTo>
                  <a:lnTo>
                    <a:pt x="201" y="148"/>
                  </a:lnTo>
                  <a:lnTo>
                    <a:pt x="201" y="149"/>
                  </a:lnTo>
                  <a:lnTo>
                    <a:pt x="202" y="150"/>
                  </a:lnTo>
                  <a:lnTo>
                    <a:pt x="202" y="151"/>
                  </a:lnTo>
                  <a:lnTo>
                    <a:pt x="204" y="152"/>
                  </a:lnTo>
                  <a:lnTo>
                    <a:pt x="205" y="153"/>
                  </a:lnTo>
                  <a:lnTo>
                    <a:pt x="207" y="154"/>
                  </a:lnTo>
                  <a:lnTo>
                    <a:pt x="208" y="155"/>
                  </a:lnTo>
                  <a:lnTo>
                    <a:pt x="209" y="156"/>
                  </a:lnTo>
                  <a:lnTo>
                    <a:pt x="211" y="156"/>
                  </a:lnTo>
                  <a:lnTo>
                    <a:pt x="212" y="157"/>
                  </a:lnTo>
                  <a:lnTo>
                    <a:pt x="213" y="157"/>
                  </a:lnTo>
                  <a:lnTo>
                    <a:pt x="213" y="157"/>
                  </a:lnTo>
                  <a:lnTo>
                    <a:pt x="214" y="157"/>
                  </a:lnTo>
                  <a:lnTo>
                    <a:pt x="215" y="157"/>
                  </a:lnTo>
                  <a:lnTo>
                    <a:pt x="216" y="157"/>
                  </a:lnTo>
                  <a:lnTo>
                    <a:pt x="220" y="156"/>
                  </a:lnTo>
                  <a:lnTo>
                    <a:pt x="222" y="156"/>
                  </a:lnTo>
                  <a:lnTo>
                    <a:pt x="223" y="156"/>
                  </a:lnTo>
                  <a:lnTo>
                    <a:pt x="224" y="155"/>
                  </a:lnTo>
                  <a:lnTo>
                    <a:pt x="225" y="155"/>
                  </a:lnTo>
                  <a:lnTo>
                    <a:pt x="227" y="154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0" y="152"/>
                  </a:lnTo>
                  <a:lnTo>
                    <a:pt x="235" y="147"/>
                  </a:lnTo>
                  <a:lnTo>
                    <a:pt x="236" y="146"/>
                  </a:lnTo>
                  <a:lnTo>
                    <a:pt x="237" y="145"/>
                  </a:lnTo>
                  <a:lnTo>
                    <a:pt x="238" y="145"/>
                  </a:lnTo>
                  <a:lnTo>
                    <a:pt x="239" y="144"/>
                  </a:lnTo>
                  <a:lnTo>
                    <a:pt x="241" y="143"/>
                  </a:lnTo>
                  <a:lnTo>
                    <a:pt x="242" y="142"/>
                  </a:lnTo>
                  <a:lnTo>
                    <a:pt x="245" y="141"/>
                  </a:lnTo>
                  <a:lnTo>
                    <a:pt x="247" y="140"/>
                  </a:lnTo>
                  <a:lnTo>
                    <a:pt x="248" y="140"/>
                  </a:lnTo>
                  <a:lnTo>
                    <a:pt x="249" y="139"/>
                  </a:lnTo>
                  <a:lnTo>
                    <a:pt x="251" y="139"/>
                  </a:lnTo>
                  <a:lnTo>
                    <a:pt x="252" y="139"/>
                  </a:lnTo>
                  <a:lnTo>
                    <a:pt x="252" y="139"/>
                  </a:lnTo>
                  <a:lnTo>
                    <a:pt x="257" y="139"/>
                  </a:lnTo>
                  <a:lnTo>
                    <a:pt x="259" y="139"/>
                  </a:lnTo>
                  <a:lnTo>
                    <a:pt x="260" y="139"/>
                  </a:lnTo>
                  <a:lnTo>
                    <a:pt x="261" y="139"/>
                  </a:lnTo>
                  <a:lnTo>
                    <a:pt x="262" y="139"/>
                  </a:lnTo>
                  <a:lnTo>
                    <a:pt x="262" y="139"/>
                  </a:lnTo>
                  <a:lnTo>
                    <a:pt x="263" y="139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7"/>
                  </a:lnTo>
                  <a:lnTo>
                    <a:pt x="264" y="136"/>
                  </a:lnTo>
                  <a:lnTo>
                    <a:pt x="264" y="135"/>
                  </a:lnTo>
                  <a:lnTo>
                    <a:pt x="263" y="134"/>
                  </a:lnTo>
                  <a:lnTo>
                    <a:pt x="263" y="133"/>
                  </a:lnTo>
                  <a:lnTo>
                    <a:pt x="263" y="132"/>
                  </a:lnTo>
                  <a:lnTo>
                    <a:pt x="263" y="132"/>
                  </a:lnTo>
                  <a:lnTo>
                    <a:pt x="262" y="131"/>
                  </a:lnTo>
                  <a:lnTo>
                    <a:pt x="262" y="130"/>
                  </a:lnTo>
                  <a:lnTo>
                    <a:pt x="261" y="130"/>
                  </a:lnTo>
                  <a:lnTo>
                    <a:pt x="261" y="129"/>
                  </a:lnTo>
                  <a:lnTo>
                    <a:pt x="260" y="129"/>
                  </a:lnTo>
                  <a:lnTo>
                    <a:pt x="259" y="129"/>
                  </a:lnTo>
                  <a:lnTo>
                    <a:pt x="258" y="128"/>
                  </a:lnTo>
                  <a:lnTo>
                    <a:pt x="256" y="128"/>
                  </a:lnTo>
                  <a:lnTo>
                    <a:pt x="256" y="128"/>
                  </a:lnTo>
                  <a:lnTo>
                    <a:pt x="255" y="128"/>
                  </a:lnTo>
                  <a:lnTo>
                    <a:pt x="255" y="127"/>
                  </a:lnTo>
                  <a:lnTo>
                    <a:pt x="254" y="127"/>
                  </a:lnTo>
                  <a:lnTo>
                    <a:pt x="254" y="127"/>
                  </a:lnTo>
                  <a:lnTo>
                    <a:pt x="254" y="126"/>
                  </a:lnTo>
                  <a:lnTo>
                    <a:pt x="253" y="126"/>
                  </a:lnTo>
                  <a:lnTo>
                    <a:pt x="253" y="125"/>
                  </a:lnTo>
                  <a:lnTo>
                    <a:pt x="253" y="124"/>
                  </a:lnTo>
                  <a:lnTo>
                    <a:pt x="253" y="124"/>
                  </a:lnTo>
                  <a:lnTo>
                    <a:pt x="253" y="123"/>
                  </a:lnTo>
                  <a:lnTo>
                    <a:pt x="253" y="122"/>
                  </a:lnTo>
                  <a:lnTo>
                    <a:pt x="253" y="121"/>
                  </a:lnTo>
                  <a:lnTo>
                    <a:pt x="254" y="121"/>
                  </a:lnTo>
                  <a:lnTo>
                    <a:pt x="254" y="120"/>
                  </a:lnTo>
                  <a:lnTo>
                    <a:pt x="255" y="119"/>
                  </a:lnTo>
                  <a:lnTo>
                    <a:pt x="255" y="118"/>
                  </a:lnTo>
                  <a:lnTo>
                    <a:pt x="256" y="118"/>
                  </a:lnTo>
                  <a:lnTo>
                    <a:pt x="257" y="117"/>
                  </a:lnTo>
                  <a:lnTo>
                    <a:pt x="257" y="117"/>
                  </a:lnTo>
                  <a:lnTo>
                    <a:pt x="258" y="117"/>
                  </a:lnTo>
                  <a:lnTo>
                    <a:pt x="259" y="116"/>
                  </a:lnTo>
                  <a:lnTo>
                    <a:pt x="260" y="116"/>
                  </a:lnTo>
                  <a:lnTo>
                    <a:pt x="261" y="116"/>
                  </a:lnTo>
                  <a:lnTo>
                    <a:pt x="261" y="116"/>
                  </a:lnTo>
                  <a:lnTo>
                    <a:pt x="262" y="116"/>
                  </a:lnTo>
                  <a:lnTo>
                    <a:pt x="263" y="117"/>
                  </a:lnTo>
                  <a:lnTo>
                    <a:pt x="265" y="117"/>
                  </a:lnTo>
                  <a:lnTo>
                    <a:pt x="266" y="118"/>
                  </a:lnTo>
                  <a:lnTo>
                    <a:pt x="267" y="118"/>
                  </a:lnTo>
                  <a:lnTo>
                    <a:pt x="268" y="119"/>
                  </a:lnTo>
                  <a:lnTo>
                    <a:pt x="269" y="120"/>
                  </a:lnTo>
                  <a:lnTo>
                    <a:pt x="272" y="122"/>
                  </a:lnTo>
                  <a:lnTo>
                    <a:pt x="273" y="123"/>
                  </a:lnTo>
                  <a:lnTo>
                    <a:pt x="274" y="124"/>
                  </a:lnTo>
                  <a:lnTo>
                    <a:pt x="275" y="125"/>
                  </a:lnTo>
                  <a:lnTo>
                    <a:pt x="276" y="126"/>
                  </a:lnTo>
                  <a:lnTo>
                    <a:pt x="278" y="132"/>
                  </a:lnTo>
                  <a:lnTo>
                    <a:pt x="279" y="133"/>
                  </a:lnTo>
                  <a:lnTo>
                    <a:pt x="279" y="134"/>
                  </a:lnTo>
                  <a:lnTo>
                    <a:pt x="280" y="137"/>
                  </a:lnTo>
                  <a:lnTo>
                    <a:pt x="281" y="138"/>
                  </a:lnTo>
                  <a:lnTo>
                    <a:pt x="281" y="139"/>
                  </a:lnTo>
                  <a:lnTo>
                    <a:pt x="282" y="140"/>
                  </a:lnTo>
                  <a:lnTo>
                    <a:pt x="282" y="142"/>
                  </a:lnTo>
                  <a:lnTo>
                    <a:pt x="283" y="142"/>
                  </a:lnTo>
                  <a:lnTo>
                    <a:pt x="284" y="143"/>
                  </a:lnTo>
                  <a:lnTo>
                    <a:pt x="285" y="143"/>
                  </a:lnTo>
                  <a:lnTo>
                    <a:pt x="285" y="144"/>
                  </a:lnTo>
                  <a:lnTo>
                    <a:pt x="286" y="144"/>
                  </a:lnTo>
                  <a:lnTo>
                    <a:pt x="287" y="145"/>
                  </a:lnTo>
                  <a:lnTo>
                    <a:pt x="287" y="145"/>
                  </a:lnTo>
                  <a:lnTo>
                    <a:pt x="290" y="146"/>
                  </a:lnTo>
                  <a:lnTo>
                    <a:pt x="295" y="148"/>
                  </a:lnTo>
                  <a:lnTo>
                    <a:pt x="296" y="148"/>
                  </a:lnTo>
                  <a:lnTo>
                    <a:pt x="297" y="148"/>
                  </a:lnTo>
                  <a:lnTo>
                    <a:pt x="297" y="148"/>
                  </a:lnTo>
                  <a:lnTo>
                    <a:pt x="298" y="148"/>
                  </a:lnTo>
                  <a:lnTo>
                    <a:pt x="299" y="148"/>
                  </a:lnTo>
                  <a:lnTo>
                    <a:pt x="299" y="147"/>
                  </a:lnTo>
                  <a:lnTo>
                    <a:pt x="300" y="147"/>
                  </a:lnTo>
                  <a:lnTo>
                    <a:pt x="300" y="147"/>
                  </a:lnTo>
                  <a:lnTo>
                    <a:pt x="302" y="146"/>
                  </a:lnTo>
                  <a:lnTo>
                    <a:pt x="303" y="145"/>
                  </a:lnTo>
                  <a:lnTo>
                    <a:pt x="304" y="145"/>
                  </a:lnTo>
                  <a:lnTo>
                    <a:pt x="304" y="145"/>
                  </a:lnTo>
                  <a:lnTo>
                    <a:pt x="305" y="144"/>
                  </a:lnTo>
                  <a:lnTo>
                    <a:pt x="305" y="144"/>
                  </a:lnTo>
                  <a:lnTo>
                    <a:pt x="306" y="144"/>
                  </a:lnTo>
                  <a:lnTo>
                    <a:pt x="307" y="144"/>
                  </a:lnTo>
                  <a:lnTo>
                    <a:pt x="308" y="144"/>
                  </a:lnTo>
                  <a:lnTo>
                    <a:pt x="309" y="145"/>
                  </a:lnTo>
                  <a:lnTo>
                    <a:pt x="310" y="145"/>
                  </a:lnTo>
                  <a:lnTo>
                    <a:pt x="310" y="145"/>
                  </a:lnTo>
                  <a:lnTo>
                    <a:pt x="311" y="146"/>
                  </a:lnTo>
                  <a:lnTo>
                    <a:pt x="311" y="146"/>
                  </a:lnTo>
                  <a:lnTo>
                    <a:pt x="312" y="146"/>
                  </a:lnTo>
                  <a:lnTo>
                    <a:pt x="313" y="147"/>
                  </a:lnTo>
                  <a:lnTo>
                    <a:pt x="313" y="148"/>
                  </a:lnTo>
                  <a:lnTo>
                    <a:pt x="314" y="149"/>
                  </a:lnTo>
                  <a:lnTo>
                    <a:pt x="315" y="151"/>
                  </a:lnTo>
                  <a:lnTo>
                    <a:pt x="316" y="152"/>
                  </a:lnTo>
                  <a:lnTo>
                    <a:pt x="317" y="153"/>
                  </a:lnTo>
                  <a:lnTo>
                    <a:pt x="318" y="153"/>
                  </a:lnTo>
                  <a:lnTo>
                    <a:pt x="318" y="154"/>
                  </a:lnTo>
                  <a:lnTo>
                    <a:pt x="319" y="154"/>
                  </a:lnTo>
                  <a:lnTo>
                    <a:pt x="320" y="155"/>
                  </a:lnTo>
                  <a:lnTo>
                    <a:pt x="321" y="155"/>
                  </a:lnTo>
                  <a:lnTo>
                    <a:pt x="326" y="157"/>
                  </a:lnTo>
                  <a:lnTo>
                    <a:pt x="327" y="157"/>
                  </a:lnTo>
                  <a:lnTo>
                    <a:pt x="328" y="157"/>
                  </a:lnTo>
                  <a:lnTo>
                    <a:pt x="329" y="158"/>
                  </a:lnTo>
                  <a:lnTo>
                    <a:pt x="330" y="159"/>
                  </a:lnTo>
                  <a:lnTo>
                    <a:pt x="331" y="159"/>
                  </a:lnTo>
                  <a:lnTo>
                    <a:pt x="332" y="160"/>
                  </a:lnTo>
                  <a:lnTo>
                    <a:pt x="332" y="160"/>
                  </a:lnTo>
                  <a:lnTo>
                    <a:pt x="333" y="161"/>
                  </a:lnTo>
                  <a:lnTo>
                    <a:pt x="334" y="162"/>
                  </a:lnTo>
                  <a:lnTo>
                    <a:pt x="334" y="163"/>
                  </a:lnTo>
                  <a:lnTo>
                    <a:pt x="335" y="164"/>
                  </a:lnTo>
                  <a:lnTo>
                    <a:pt x="336" y="168"/>
                  </a:lnTo>
                  <a:lnTo>
                    <a:pt x="337" y="169"/>
                  </a:lnTo>
                  <a:lnTo>
                    <a:pt x="337" y="170"/>
                  </a:lnTo>
                  <a:lnTo>
                    <a:pt x="338" y="171"/>
                  </a:lnTo>
                  <a:lnTo>
                    <a:pt x="339" y="172"/>
                  </a:lnTo>
                  <a:lnTo>
                    <a:pt x="339" y="173"/>
                  </a:lnTo>
                  <a:lnTo>
                    <a:pt x="340" y="173"/>
                  </a:lnTo>
                  <a:lnTo>
                    <a:pt x="341" y="174"/>
                  </a:lnTo>
                  <a:lnTo>
                    <a:pt x="342" y="175"/>
                  </a:lnTo>
                  <a:lnTo>
                    <a:pt x="343" y="176"/>
                  </a:lnTo>
                  <a:lnTo>
                    <a:pt x="343" y="176"/>
                  </a:lnTo>
                  <a:lnTo>
                    <a:pt x="344" y="176"/>
                  </a:lnTo>
                  <a:lnTo>
                    <a:pt x="345" y="177"/>
                  </a:lnTo>
                  <a:lnTo>
                    <a:pt x="346" y="177"/>
                  </a:lnTo>
                  <a:lnTo>
                    <a:pt x="347" y="177"/>
                  </a:lnTo>
                  <a:lnTo>
                    <a:pt x="348" y="177"/>
                  </a:lnTo>
                  <a:lnTo>
                    <a:pt x="348" y="177"/>
                  </a:lnTo>
                  <a:lnTo>
                    <a:pt x="349" y="177"/>
                  </a:lnTo>
                  <a:lnTo>
                    <a:pt x="350" y="176"/>
                  </a:lnTo>
                  <a:lnTo>
                    <a:pt x="351" y="175"/>
                  </a:lnTo>
                  <a:lnTo>
                    <a:pt x="353" y="174"/>
                  </a:lnTo>
                  <a:lnTo>
                    <a:pt x="353" y="174"/>
                  </a:lnTo>
                  <a:lnTo>
                    <a:pt x="354" y="173"/>
                  </a:lnTo>
                  <a:lnTo>
                    <a:pt x="354" y="172"/>
                  </a:lnTo>
                  <a:lnTo>
                    <a:pt x="354" y="172"/>
                  </a:lnTo>
                  <a:lnTo>
                    <a:pt x="354" y="171"/>
                  </a:lnTo>
                  <a:lnTo>
                    <a:pt x="354" y="170"/>
                  </a:lnTo>
                  <a:lnTo>
                    <a:pt x="354" y="169"/>
                  </a:lnTo>
                  <a:lnTo>
                    <a:pt x="354" y="168"/>
                  </a:lnTo>
                  <a:lnTo>
                    <a:pt x="354" y="168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5" y="167"/>
                  </a:lnTo>
                  <a:lnTo>
                    <a:pt x="356" y="167"/>
                  </a:lnTo>
                  <a:lnTo>
                    <a:pt x="357" y="167"/>
                  </a:lnTo>
                  <a:lnTo>
                    <a:pt x="358" y="167"/>
                  </a:lnTo>
                  <a:lnTo>
                    <a:pt x="362" y="168"/>
                  </a:lnTo>
                  <a:lnTo>
                    <a:pt x="364" y="169"/>
                  </a:lnTo>
                  <a:lnTo>
                    <a:pt x="365" y="169"/>
                  </a:lnTo>
                  <a:lnTo>
                    <a:pt x="367" y="169"/>
                  </a:lnTo>
                  <a:lnTo>
                    <a:pt x="369" y="169"/>
                  </a:lnTo>
                  <a:lnTo>
                    <a:pt x="374" y="169"/>
                  </a:lnTo>
                  <a:lnTo>
                    <a:pt x="375" y="169"/>
                  </a:lnTo>
                  <a:lnTo>
                    <a:pt x="377" y="170"/>
                  </a:lnTo>
                  <a:lnTo>
                    <a:pt x="378" y="170"/>
                  </a:lnTo>
                  <a:lnTo>
                    <a:pt x="379" y="170"/>
                  </a:lnTo>
                  <a:lnTo>
                    <a:pt x="379" y="170"/>
                  </a:lnTo>
                  <a:lnTo>
                    <a:pt x="380" y="171"/>
                  </a:lnTo>
                  <a:lnTo>
                    <a:pt x="385" y="173"/>
                  </a:lnTo>
                  <a:lnTo>
                    <a:pt x="388" y="175"/>
                  </a:lnTo>
                  <a:lnTo>
                    <a:pt x="390" y="176"/>
                  </a:lnTo>
                  <a:lnTo>
                    <a:pt x="391" y="176"/>
                  </a:lnTo>
                  <a:lnTo>
                    <a:pt x="397" y="181"/>
                  </a:lnTo>
                  <a:lnTo>
                    <a:pt x="398" y="181"/>
                  </a:lnTo>
                  <a:lnTo>
                    <a:pt x="398" y="181"/>
                  </a:lnTo>
                  <a:lnTo>
                    <a:pt x="400" y="182"/>
                  </a:lnTo>
                  <a:lnTo>
                    <a:pt x="401" y="183"/>
                  </a:lnTo>
                  <a:lnTo>
                    <a:pt x="403" y="183"/>
                  </a:lnTo>
                  <a:lnTo>
                    <a:pt x="404" y="183"/>
                  </a:lnTo>
                  <a:lnTo>
                    <a:pt x="406" y="183"/>
                  </a:lnTo>
                  <a:lnTo>
                    <a:pt x="407" y="184"/>
                  </a:lnTo>
                  <a:lnTo>
                    <a:pt x="408" y="184"/>
                  </a:lnTo>
                  <a:lnTo>
                    <a:pt x="409" y="183"/>
                  </a:lnTo>
                  <a:lnTo>
                    <a:pt x="410" y="183"/>
                  </a:lnTo>
                  <a:lnTo>
                    <a:pt x="410" y="183"/>
                  </a:lnTo>
                  <a:lnTo>
                    <a:pt x="411" y="183"/>
                  </a:lnTo>
                  <a:lnTo>
                    <a:pt x="411" y="182"/>
                  </a:lnTo>
                  <a:lnTo>
                    <a:pt x="412" y="182"/>
                  </a:lnTo>
                  <a:lnTo>
                    <a:pt x="412" y="181"/>
                  </a:lnTo>
                  <a:lnTo>
                    <a:pt x="413" y="181"/>
                  </a:lnTo>
                  <a:lnTo>
                    <a:pt x="413" y="181"/>
                  </a:lnTo>
                  <a:lnTo>
                    <a:pt x="413" y="180"/>
                  </a:lnTo>
                  <a:lnTo>
                    <a:pt x="414" y="179"/>
                  </a:lnTo>
                  <a:lnTo>
                    <a:pt x="414" y="177"/>
                  </a:lnTo>
                  <a:lnTo>
                    <a:pt x="415" y="176"/>
                  </a:lnTo>
                  <a:lnTo>
                    <a:pt x="415" y="176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7" y="174"/>
                  </a:lnTo>
                  <a:lnTo>
                    <a:pt x="417" y="174"/>
                  </a:lnTo>
                  <a:lnTo>
                    <a:pt x="418" y="174"/>
                  </a:lnTo>
                  <a:lnTo>
                    <a:pt x="419" y="175"/>
                  </a:lnTo>
                  <a:lnTo>
                    <a:pt x="420" y="175"/>
                  </a:lnTo>
                  <a:lnTo>
                    <a:pt x="420" y="175"/>
                  </a:lnTo>
                  <a:lnTo>
                    <a:pt x="421" y="175"/>
                  </a:lnTo>
                  <a:lnTo>
                    <a:pt x="421" y="176"/>
                  </a:lnTo>
                  <a:lnTo>
                    <a:pt x="422" y="176"/>
                  </a:lnTo>
                  <a:lnTo>
                    <a:pt x="422" y="176"/>
                  </a:lnTo>
                  <a:lnTo>
                    <a:pt x="423" y="177"/>
                  </a:lnTo>
                  <a:lnTo>
                    <a:pt x="423" y="178"/>
                  </a:lnTo>
                  <a:lnTo>
                    <a:pt x="423" y="178"/>
                  </a:lnTo>
                  <a:lnTo>
                    <a:pt x="424" y="179"/>
                  </a:lnTo>
                  <a:lnTo>
                    <a:pt x="424" y="181"/>
                  </a:lnTo>
                  <a:lnTo>
                    <a:pt x="424" y="182"/>
                  </a:lnTo>
                  <a:lnTo>
                    <a:pt x="424" y="183"/>
                  </a:lnTo>
                  <a:lnTo>
                    <a:pt x="424" y="187"/>
                  </a:lnTo>
                  <a:lnTo>
                    <a:pt x="424" y="189"/>
                  </a:lnTo>
                  <a:lnTo>
                    <a:pt x="424" y="191"/>
                  </a:lnTo>
                  <a:lnTo>
                    <a:pt x="424" y="191"/>
                  </a:lnTo>
                  <a:lnTo>
                    <a:pt x="424" y="192"/>
                  </a:lnTo>
                  <a:lnTo>
                    <a:pt x="424" y="192"/>
                  </a:lnTo>
                  <a:lnTo>
                    <a:pt x="425" y="193"/>
                  </a:lnTo>
                  <a:lnTo>
                    <a:pt x="425" y="194"/>
                  </a:lnTo>
                  <a:lnTo>
                    <a:pt x="425" y="195"/>
                  </a:lnTo>
                  <a:lnTo>
                    <a:pt x="426" y="195"/>
                  </a:lnTo>
                  <a:lnTo>
                    <a:pt x="426" y="196"/>
                  </a:lnTo>
                  <a:lnTo>
                    <a:pt x="427" y="196"/>
                  </a:lnTo>
                  <a:lnTo>
                    <a:pt x="427" y="197"/>
                  </a:lnTo>
                  <a:lnTo>
                    <a:pt x="428" y="198"/>
                  </a:lnTo>
                  <a:lnTo>
                    <a:pt x="429" y="199"/>
                  </a:lnTo>
                  <a:lnTo>
                    <a:pt x="430" y="200"/>
                  </a:lnTo>
                  <a:lnTo>
                    <a:pt x="431" y="200"/>
                  </a:lnTo>
                  <a:lnTo>
                    <a:pt x="431" y="201"/>
                  </a:lnTo>
                  <a:lnTo>
                    <a:pt x="431" y="201"/>
                  </a:lnTo>
                  <a:lnTo>
                    <a:pt x="431" y="201"/>
                  </a:lnTo>
                  <a:lnTo>
                    <a:pt x="431" y="202"/>
                  </a:lnTo>
                  <a:lnTo>
                    <a:pt x="431" y="202"/>
                  </a:lnTo>
                  <a:lnTo>
                    <a:pt x="431" y="203"/>
                  </a:lnTo>
                  <a:lnTo>
                    <a:pt x="431" y="204"/>
                  </a:lnTo>
                  <a:lnTo>
                    <a:pt x="429" y="206"/>
                  </a:lnTo>
                  <a:lnTo>
                    <a:pt x="428" y="209"/>
                  </a:lnTo>
                  <a:lnTo>
                    <a:pt x="427" y="212"/>
                  </a:lnTo>
                  <a:lnTo>
                    <a:pt x="427" y="213"/>
                  </a:lnTo>
                  <a:lnTo>
                    <a:pt x="427" y="214"/>
                  </a:lnTo>
                  <a:lnTo>
                    <a:pt x="426" y="215"/>
                  </a:lnTo>
                  <a:lnTo>
                    <a:pt x="426" y="216"/>
                  </a:lnTo>
                  <a:lnTo>
                    <a:pt x="426" y="217"/>
                  </a:lnTo>
                  <a:lnTo>
                    <a:pt x="427" y="219"/>
                  </a:lnTo>
                  <a:lnTo>
                    <a:pt x="427" y="220"/>
                  </a:lnTo>
                  <a:lnTo>
                    <a:pt x="428" y="223"/>
                  </a:lnTo>
                  <a:lnTo>
                    <a:pt x="429" y="224"/>
                  </a:lnTo>
                  <a:lnTo>
                    <a:pt x="429" y="225"/>
                  </a:lnTo>
                  <a:lnTo>
                    <a:pt x="430" y="227"/>
                  </a:lnTo>
                  <a:lnTo>
                    <a:pt x="431" y="230"/>
                  </a:lnTo>
                  <a:lnTo>
                    <a:pt x="433" y="233"/>
                  </a:lnTo>
                  <a:lnTo>
                    <a:pt x="434" y="237"/>
                  </a:lnTo>
                  <a:lnTo>
                    <a:pt x="437" y="243"/>
                  </a:lnTo>
                  <a:lnTo>
                    <a:pt x="440" y="249"/>
                  </a:lnTo>
                  <a:lnTo>
                    <a:pt x="441" y="253"/>
                  </a:lnTo>
                  <a:lnTo>
                    <a:pt x="442" y="254"/>
                  </a:lnTo>
                  <a:lnTo>
                    <a:pt x="442" y="255"/>
                  </a:lnTo>
                  <a:lnTo>
                    <a:pt x="443" y="256"/>
                  </a:lnTo>
                  <a:lnTo>
                    <a:pt x="444" y="261"/>
                  </a:lnTo>
                  <a:lnTo>
                    <a:pt x="444" y="262"/>
                  </a:lnTo>
                  <a:lnTo>
                    <a:pt x="445" y="263"/>
                  </a:lnTo>
                  <a:lnTo>
                    <a:pt x="445" y="264"/>
                  </a:lnTo>
                  <a:lnTo>
                    <a:pt x="445" y="265"/>
                  </a:lnTo>
                  <a:lnTo>
                    <a:pt x="446" y="265"/>
                  </a:lnTo>
                  <a:lnTo>
                    <a:pt x="446" y="266"/>
                  </a:lnTo>
                  <a:lnTo>
                    <a:pt x="447" y="267"/>
                  </a:lnTo>
                  <a:lnTo>
                    <a:pt x="448" y="267"/>
                  </a:lnTo>
                  <a:lnTo>
                    <a:pt x="449" y="268"/>
                  </a:lnTo>
                  <a:lnTo>
                    <a:pt x="449" y="269"/>
                  </a:lnTo>
                  <a:lnTo>
                    <a:pt x="450" y="269"/>
                  </a:lnTo>
                  <a:lnTo>
                    <a:pt x="451" y="269"/>
                  </a:lnTo>
                  <a:lnTo>
                    <a:pt x="452" y="270"/>
                  </a:lnTo>
                  <a:lnTo>
                    <a:pt x="453" y="270"/>
                  </a:lnTo>
                  <a:lnTo>
                    <a:pt x="457" y="272"/>
                  </a:lnTo>
                  <a:lnTo>
                    <a:pt x="459" y="272"/>
                  </a:lnTo>
                  <a:lnTo>
                    <a:pt x="463" y="273"/>
                  </a:lnTo>
                  <a:lnTo>
                    <a:pt x="464" y="273"/>
                  </a:lnTo>
                  <a:lnTo>
                    <a:pt x="465" y="273"/>
                  </a:lnTo>
                  <a:lnTo>
                    <a:pt x="465" y="273"/>
                  </a:lnTo>
                  <a:lnTo>
                    <a:pt x="467" y="274"/>
                  </a:lnTo>
                  <a:lnTo>
                    <a:pt x="468" y="274"/>
                  </a:lnTo>
                  <a:lnTo>
                    <a:pt x="469" y="275"/>
                  </a:lnTo>
                  <a:lnTo>
                    <a:pt x="470" y="277"/>
                  </a:lnTo>
                  <a:lnTo>
                    <a:pt x="472" y="279"/>
                  </a:lnTo>
                  <a:lnTo>
                    <a:pt x="473" y="279"/>
                  </a:lnTo>
                  <a:lnTo>
                    <a:pt x="474" y="280"/>
                  </a:lnTo>
                  <a:lnTo>
                    <a:pt x="474" y="280"/>
                  </a:lnTo>
                  <a:lnTo>
                    <a:pt x="476" y="281"/>
                  </a:lnTo>
                  <a:lnTo>
                    <a:pt x="477" y="282"/>
                  </a:lnTo>
                  <a:lnTo>
                    <a:pt x="479" y="282"/>
                  </a:lnTo>
                  <a:lnTo>
                    <a:pt x="479" y="282"/>
                  </a:lnTo>
                  <a:lnTo>
                    <a:pt x="481" y="282"/>
                  </a:lnTo>
                  <a:lnTo>
                    <a:pt x="481" y="282"/>
                  </a:lnTo>
                  <a:lnTo>
                    <a:pt x="482" y="282"/>
                  </a:lnTo>
                  <a:lnTo>
                    <a:pt x="483" y="282"/>
                  </a:lnTo>
                  <a:lnTo>
                    <a:pt x="486" y="282"/>
                  </a:lnTo>
                  <a:lnTo>
                    <a:pt x="488" y="282"/>
                  </a:lnTo>
                  <a:lnTo>
                    <a:pt x="489" y="282"/>
                  </a:lnTo>
                  <a:lnTo>
                    <a:pt x="490" y="282"/>
                  </a:lnTo>
                  <a:lnTo>
                    <a:pt x="491" y="282"/>
                  </a:lnTo>
                  <a:lnTo>
                    <a:pt x="492" y="282"/>
                  </a:lnTo>
                  <a:lnTo>
                    <a:pt x="493" y="282"/>
                  </a:lnTo>
                  <a:lnTo>
                    <a:pt x="494" y="283"/>
                  </a:lnTo>
                  <a:lnTo>
                    <a:pt x="495" y="283"/>
                  </a:lnTo>
                  <a:lnTo>
                    <a:pt x="496" y="284"/>
                  </a:lnTo>
                  <a:lnTo>
                    <a:pt x="496" y="284"/>
                  </a:lnTo>
                  <a:lnTo>
                    <a:pt x="497" y="285"/>
                  </a:lnTo>
                  <a:lnTo>
                    <a:pt x="498" y="285"/>
                  </a:lnTo>
                  <a:lnTo>
                    <a:pt x="498" y="286"/>
                  </a:lnTo>
                  <a:lnTo>
                    <a:pt x="498" y="287"/>
                  </a:lnTo>
                  <a:lnTo>
                    <a:pt x="499" y="288"/>
                  </a:lnTo>
                  <a:lnTo>
                    <a:pt x="499" y="290"/>
                  </a:lnTo>
                  <a:lnTo>
                    <a:pt x="500" y="292"/>
                  </a:lnTo>
                  <a:lnTo>
                    <a:pt x="501" y="296"/>
                  </a:lnTo>
                  <a:lnTo>
                    <a:pt x="502" y="301"/>
                  </a:lnTo>
                  <a:lnTo>
                    <a:pt x="504" y="310"/>
                  </a:lnTo>
                  <a:lnTo>
                    <a:pt x="506" y="315"/>
                  </a:lnTo>
                  <a:lnTo>
                    <a:pt x="506" y="317"/>
                  </a:lnTo>
                  <a:lnTo>
                    <a:pt x="507" y="318"/>
                  </a:lnTo>
                  <a:lnTo>
                    <a:pt x="507" y="319"/>
                  </a:lnTo>
                  <a:lnTo>
                    <a:pt x="508" y="321"/>
                  </a:lnTo>
                  <a:lnTo>
                    <a:pt x="509" y="322"/>
                  </a:lnTo>
                  <a:lnTo>
                    <a:pt x="509" y="324"/>
                  </a:lnTo>
                  <a:lnTo>
                    <a:pt x="510" y="328"/>
                  </a:lnTo>
                  <a:lnTo>
                    <a:pt x="510" y="329"/>
                  </a:lnTo>
                  <a:lnTo>
                    <a:pt x="510" y="331"/>
                  </a:lnTo>
                  <a:lnTo>
                    <a:pt x="511" y="333"/>
                  </a:lnTo>
                  <a:lnTo>
                    <a:pt x="512" y="335"/>
                  </a:lnTo>
                  <a:lnTo>
                    <a:pt x="513" y="336"/>
                  </a:lnTo>
                  <a:lnTo>
                    <a:pt x="514" y="338"/>
                  </a:lnTo>
                  <a:lnTo>
                    <a:pt x="515" y="340"/>
                  </a:lnTo>
                  <a:lnTo>
                    <a:pt x="516" y="341"/>
                  </a:lnTo>
                  <a:lnTo>
                    <a:pt x="516" y="343"/>
                  </a:lnTo>
                  <a:lnTo>
                    <a:pt x="516" y="344"/>
                  </a:lnTo>
                  <a:lnTo>
                    <a:pt x="516" y="345"/>
                  </a:lnTo>
                  <a:lnTo>
                    <a:pt x="516" y="346"/>
                  </a:lnTo>
                  <a:lnTo>
                    <a:pt x="516" y="346"/>
                  </a:lnTo>
                  <a:lnTo>
                    <a:pt x="515" y="348"/>
                  </a:lnTo>
                  <a:lnTo>
                    <a:pt x="515" y="350"/>
                  </a:lnTo>
                  <a:lnTo>
                    <a:pt x="514" y="352"/>
                  </a:lnTo>
                  <a:lnTo>
                    <a:pt x="513" y="355"/>
                  </a:lnTo>
                  <a:lnTo>
                    <a:pt x="513" y="355"/>
                  </a:lnTo>
                  <a:lnTo>
                    <a:pt x="513" y="356"/>
                  </a:lnTo>
                  <a:lnTo>
                    <a:pt x="513" y="356"/>
                  </a:lnTo>
                  <a:lnTo>
                    <a:pt x="512" y="356"/>
                  </a:lnTo>
                  <a:lnTo>
                    <a:pt x="511" y="357"/>
                  </a:lnTo>
                  <a:lnTo>
                    <a:pt x="511" y="357"/>
                  </a:lnTo>
                  <a:lnTo>
                    <a:pt x="510" y="357"/>
                  </a:lnTo>
                  <a:lnTo>
                    <a:pt x="507" y="358"/>
                  </a:lnTo>
                  <a:lnTo>
                    <a:pt x="505" y="359"/>
                  </a:lnTo>
                  <a:lnTo>
                    <a:pt x="504" y="359"/>
                  </a:lnTo>
                  <a:lnTo>
                    <a:pt x="503" y="360"/>
                  </a:lnTo>
                  <a:lnTo>
                    <a:pt x="499" y="362"/>
                  </a:lnTo>
                  <a:lnTo>
                    <a:pt x="497" y="363"/>
                  </a:lnTo>
                  <a:lnTo>
                    <a:pt x="495" y="364"/>
                  </a:lnTo>
                  <a:lnTo>
                    <a:pt x="491" y="367"/>
                  </a:lnTo>
                  <a:lnTo>
                    <a:pt x="490" y="368"/>
                  </a:lnTo>
                  <a:lnTo>
                    <a:pt x="489" y="368"/>
                  </a:lnTo>
                  <a:lnTo>
                    <a:pt x="487" y="369"/>
                  </a:lnTo>
                  <a:lnTo>
                    <a:pt x="486" y="369"/>
                  </a:lnTo>
                  <a:lnTo>
                    <a:pt x="485" y="369"/>
                  </a:lnTo>
                  <a:lnTo>
                    <a:pt x="484" y="369"/>
                  </a:lnTo>
                  <a:lnTo>
                    <a:pt x="484" y="369"/>
                  </a:lnTo>
                  <a:lnTo>
                    <a:pt x="483" y="369"/>
                  </a:lnTo>
                  <a:lnTo>
                    <a:pt x="482" y="369"/>
                  </a:lnTo>
                  <a:lnTo>
                    <a:pt x="480" y="369"/>
                  </a:lnTo>
                  <a:lnTo>
                    <a:pt x="476" y="367"/>
                  </a:lnTo>
                  <a:lnTo>
                    <a:pt x="475" y="367"/>
                  </a:lnTo>
                  <a:lnTo>
                    <a:pt x="474" y="367"/>
                  </a:lnTo>
                  <a:lnTo>
                    <a:pt x="472" y="367"/>
                  </a:lnTo>
                  <a:lnTo>
                    <a:pt x="469" y="366"/>
                  </a:lnTo>
                  <a:lnTo>
                    <a:pt x="466" y="366"/>
                  </a:lnTo>
                  <a:lnTo>
                    <a:pt x="464" y="366"/>
                  </a:lnTo>
                  <a:lnTo>
                    <a:pt x="463" y="366"/>
                  </a:lnTo>
                  <a:lnTo>
                    <a:pt x="461" y="366"/>
                  </a:lnTo>
                  <a:lnTo>
                    <a:pt x="458" y="366"/>
                  </a:lnTo>
                  <a:lnTo>
                    <a:pt x="452" y="368"/>
                  </a:lnTo>
                  <a:lnTo>
                    <a:pt x="450" y="368"/>
                  </a:lnTo>
                  <a:lnTo>
                    <a:pt x="448" y="368"/>
                  </a:lnTo>
                  <a:lnTo>
                    <a:pt x="447" y="368"/>
                  </a:lnTo>
                  <a:lnTo>
                    <a:pt x="446" y="368"/>
                  </a:lnTo>
                  <a:lnTo>
                    <a:pt x="445" y="368"/>
                  </a:lnTo>
                  <a:lnTo>
                    <a:pt x="444" y="368"/>
                  </a:lnTo>
                  <a:lnTo>
                    <a:pt x="443" y="368"/>
                  </a:lnTo>
                  <a:lnTo>
                    <a:pt x="442" y="367"/>
                  </a:lnTo>
                  <a:lnTo>
                    <a:pt x="440" y="366"/>
                  </a:lnTo>
                  <a:lnTo>
                    <a:pt x="439" y="366"/>
                  </a:lnTo>
                  <a:lnTo>
                    <a:pt x="438" y="366"/>
                  </a:lnTo>
                  <a:lnTo>
                    <a:pt x="437" y="366"/>
                  </a:lnTo>
                  <a:lnTo>
                    <a:pt x="436" y="366"/>
                  </a:lnTo>
                  <a:lnTo>
                    <a:pt x="435" y="366"/>
                  </a:lnTo>
                  <a:lnTo>
                    <a:pt x="434" y="366"/>
                  </a:lnTo>
                  <a:lnTo>
                    <a:pt x="433" y="366"/>
                  </a:lnTo>
                  <a:lnTo>
                    <a:pt x="432" y="366"/>
                  </a:lnTo>
                  <a:lnTo>
                    <a:pt x="431" y="366"/>
                  </a:lnTo>
                  <a:lnTo>
                    <a:pt x="430" y="366"/>
                  </a:lnTo>
                  <a:lnTo>
                    <a:pt x="430" y="367"/>
                  </a:lnTo>
                  <a:lnTo>
                    <a:pt x="429" y="367"/>
                  </a:lnTo>
                  <a:lnTo>
                    <a:pt x="428" y="368"/>
                  </a:lnTo>
                  <a:lnTo>
                    <a:pt x="427" y="369"/>
                  </a:lnTo>
                  <a:lnTo>
                    <a:pt x="426" y="370"/>
                  </a:lnTo>
                  <a:lnTo>
                    <a:pt x="425" y="370"/>
                  </a:lnTo>
                  <a:lnTo>
                    <a:pt x="425" y="371"/>
                  </a:lnTo>
                  <a:lnTo>
                    <a:pt x="424" y="372"/>
                  </a:lnTo>
                  <a:lnTo>
                    <a:pt x="424" y="373"/>
                  </a:lnTo>
                  <a:lnTo>
                    <a:pt x="424" y="374"/>
                  </a:lnTo>
                  <a:lnTo>
                    <a:pt x="423" y="374"/>
                  </a:lnTo>
                  <a:lnTo>
                    <a:pt x="423" y="375"/>
                  </a:lnTo>
                  <a:lnTo>
                    <a:pt x="423" y="376"/>
                  </a:lnTo>
                  <a:lnTo>
                    <a:pt x="423" y="377"/>
                  </a:lnTo>
                  <a:lnTo>
                    <a:pt x="423" y="380"/>
                  </a:lnTo>
                  <a:lnTo>
                    <a:pt x="423" y="381"/>
                  </a:lnTo>
                  <a:lnTo>
                    <a:pt x="423" y="382"/>
                  </a:lnTo>
                  <a:lnTo>
                    <a:pt x="423" y="383"/>
                  </a:lnTo>
                  <a:lnTo>
                    <a:pt x="423" y="384"/>
                  </a:lnTo>
                  <a:lnTo>
                    <a:pt x="422" y="385"/>
                  </a:lnTo>
                  <a:lnTo>
                    <a:pt x="422" y="386"/>
                  </a:lnTo>
                  <a:lnTo>
                    <a:pt x="421" y="387"/>
                  </a:lnTo>
                  <a:lnTo>
                    <a:pt x="420" y="389"/>
                  </a:lnTo>
                  <a:lnTo>
                    <a:pt x="418" y="392"/>
                  </a:lnTo>
                  <a:lnTo>
                    <a:pt x="417" y="393"/>
                  </a:lnTo>
                  <a:lnTo>
                    <a:pt x="414" y="397"/>
                  </a:lnTo>
                  <a:lnTo>
                    <a:pt x="411" y="400"/>
                  </a:lnTo>
                  <a:lnTo>
                    <a:pt x="410" y="401"/>
                  </a:lnTo>
                  <a:lnTo>
                    <a:pt x="409" y="403"/>
                  </a:lnTo>
                  <a:lnTo>
                    <a:pt x="407" y="406"/>
                  </a:lnTo>
                  <a:lnTo>
                    <a:pt x="405" y="410"/>
                  </a:lnTo>
                  <a:lnTo>
                    <a:pt x="404" y="411"/>
                  </a:lnTo>
                  <a:lnTo>
                    <a:pt x="403" y="412"/>
                  </a:lnTo>
                  <a:lnTo>
                    <a:pt x="402" y="413"/>
                  </a:lnTo>
                  <a:lnTo>
                    <a:pt x="401" y="414"/>
                  </a:lnTo>
                  <a:lnTo>
                    <a:pt x="400" y="415"/>
                  </a:lnTo>
                  <a:lnTo>
                    <a:pt x="399" y="416"/>
                  </a:lnTo>
                  <a:lnTo>
                    <a:pt x="398" y="416"/>
                  </a:lnTo>
                  <a:lnTo>
                    <a:pt x="397" y="417"/>
                  </a:lnTo>
                  <a:lnTo>
                    <a:pt x="396" y="418"/>
                  </a:lnTo>
                  <a:lnTo>
                    <a:pt x="395" y="418"/>
                  </a:lnTo>
                  <a:lnTo>
                    <a:pt x="394" y="418"/>
                  </a:lnTo>
                  <a:lnTo>
                    <a:pt x="392" y="419"/>
                  </a:lnTo>
                  <a:lnTo>
                    <a:pt x="391" y="419"/>
                  </a:lnTo>
                  <a:lnTo>
                    <a:pt x="390" y="419"/>
                  </a:lnTo>
                  <a:lnTo>
                    <a:pt x="389" y="419"/>
                  </a:lnTo>
                  <a:lnTo>
                    <a:pt x="388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3" y="419"/>
                  </a:lnTo>
                  <a:lnTo>
                    <a:pt x="383" y="419"/>
                  </a:lnTo>
                  <a:lnTo>
                    <a:pt x="382" y="418"/>
                  </a:lnTo>
                  <a:lnTo>
                    <a:pt x="381" y="418"/>
                  </a:lnTo>
                  <a:lnTo>
                    <a:pt x="380" y="417"/>
                  </a:lnTo>
                  <a:lnTo>
                    <a:pt x="379" y="416"/>
                  </a:lnTo>
                  <a:lnTo>
                    <a:pt x="378" y="416"/>
                  </a:lnTo>
                  <a:lnTo>
                    <a:pt x="377" y="415"/>
                  </a:lnTo>
                  <a:lnTo>
                    <a:pt x="377" y="414"/>
                  </a:lnTo>
                  <a:lnTo>
                    <a:pt x="376" y="414"/>
                  </a:lnTo>
                  <a:lnTo>
                    <a:pt x="376" y="413"/>
                  </a:lnTo>
                  <a:lnTo>
                    <a:pt x="375" y="412"/>
                  </a:lnTo>
                  <a:lnTo>
                    <a:pt x="375" y="412"/>
                  </a:lnTo>
                  <a:lnTo>
                    <a:pt x="374" y="410"/>
                  </a:lnTo>
                  <a:lnTo>
                    <a:pt x="372" y="406"/>
                  </a:lnTo>
                  <a:lnTo>
                    <a:pt x="372" y="405"/>
                  </a:lnTo>
                  <a:lnTo>
                    <a:pt x="372" y="405"/>
                  </a:lnTo>
                  <a:lnTo>
                    <a:pt x="371" y="404"/>
                  </a:lnTo>
                  <a:lnTo>
                    <a:pt x="371" y="403"/>
                  </a:lnTo>
                  <a:lnTo>
                    <a:pt x="369" y="400"/>
                  </a:lnTo>
                  <a:lnTo>
                    <a:pt x="368" y="399"/>
                  </a:lnTo>
                  <a:lnTo>
                    <a:pt x="367" y="399"/>
                  </a:lnTo>
                  <a:lnTo>
                    <a:pt x="366" y="398"/>
                  </a:lnTo>
                  <a:lnTo>
                    <a:pt x="365" y="397"/>
                  </a:lnTo>
                  <a:lnTo>
                    <a:pt x="360" y="394"/>
                  </a:lnTo>
                  <a:lnTo>
                    <a:pt x="359" y="393"/>
                  </a:lnTo>
                  <a:lnTo>
                    <a:pt x="358" y="392"/>
                  </a:lnTo>
                  <a:lnTo>
                    <a:pt x="357" y="391"/>
                  </a:lnTo>
                  <a:lnTo>
                    <a:pt x="357" y="390"/>
                  </a:lnTo>
                  <a:lnTo>
                    <a:pt x="356" y="389"/>
                  </a:lnTo>
                  <a:lnTo>
                    <a:pt x="355" y="388"/>
                  </a:lnTo>
                  <a:lnTo>
                    <a:pt x="354" y="386"/>
                  </a:lnTo>
                  <a:lnTo>
                    <a:pt x="352" y="382"/>
                  </a:lnTo>
                  <a:lnTo>
                    <a:pt x="351" y="381"/>
                  </a:lnTo>
                  <a:lnTo>
                    <a:pt x="351" y="380"/>
                  </a:lnTo>
                  <a:lnTo>
                    <a:pt x="350" y="380"/>
                  </a:lnTo>
                  <a:lnTo>
                    <a:pt x="349" y="379"/>
                  </a:lnTo>
                  <a:lnTo>
                    <a:pt x="348" y="379"/>
                  </a:lnTo>
                  <a:lnTo>
                    <a:pt x="347" y="378"/>
                  </a:lnTo>
                  <a:lnTo>
                    <a:pt x="346" y="378"/>
                  </a:lnTo>
                  <a:lnTo>
                    <a:pt x="345" y="377"/>
                  </a:lnTo>
                  <a:lnTo>
                    <a:pt x="344" y="377"/>
                  </a:lnTo>
                  <a:lnTo>
                    <a:pt x="343" y="377"/>
                  </a:lnTo>
                  <a:lnTo>
                    <a:pt x="343" y="377"/>
                  </a:lnTo>
                  <a:lnTo>
                    <a:pt x="341" y="378"/>
                  </a:lnTo>
                  <a:lnTo>
                    <a:pt x="338" y="378"/>
                  </a:lnTo>
                  <a:lnTo>
                    <a:pt x="337" y="379"/>
                  </a:lnTo>
                  <a:lnTo>
                    <a:pt x="336" y="379"/>
                  </a:lnTo>
                  <a:lnTo>
                    <a:pt x="335" y="379"/>
                  </a:lnTo>
                  <a:lnTo>
                    <a:pt x="334" y="379"/>
                  </a:lnTo>
                  <a:lnTo>
                    <a:pt x="333" y="379"/>
                  </a:lnTo>
                  <a:lnTo>
                    <a:pt x="330" y="378"/>
                  </a:lnTo>
                  <a:lnTo>
                    <a:pt x="329" y="378"/>
                  </a:lnTo>
                  <a:lnTo>
                    <a:pt x="323" y="377"/>
                  </a:lnTo>
                  <a:lnTo>
                    <a:pt x="322" y="377"/>
                  </a:lnTo>
                  <a:lnTo>
                    <a:pt x="321" y="376"/>
                  </a:lnTo>
                  <a:lnTo>
                    <a:pt x="319" y="376"/>
                  </a:lnTo>
                  <a:lnTo>
                    <a:pt x="319" y="375"/>
                  </a:lnTo>
                  <a:lnTo>
                    <a:pt x="318" y="375"/>
                  </a:lnTo>
                  <a:lnTo>
                    <a:pt x="316" y="374"/>
                  </a:lnTo>
                  <a:lnTo>
                    <a:pt x="312" y="371"/>
                  </a:lnTo>
                  <a:lnTo>
                    <a:pt x="311" y="370"/>
                  </a:lnTo>
                  <a:lnTo>
                    <a:pt x="310" y="370"/>
                  </a:lnTo>
                  <a:lnTo>
                    <a:pt x="309" y="369"/>
                  </a:lnTo>
                  <a:lnTo>
                    <a:pt x="308" y="369"/>
                  </a:lnTo>
                  <a:lnTo>
                    <a:pt x="307" y="369"/>
                  </a:lnTo>
                  <a:lnTo>
                    <a:pt x="306" y="368"/>
                  </a:lnTo>
                  <a:lnTo>
                    <a:pt x="303" y="368"/>
                  </a:lnTo>
                  <a:lnTo>
                    <a:pt x="302" y="368"/>
                  </a:lnTo>
                  <a:lnTo>
                    <a:pt x="301" y="368"/>
                  </a:lnTo>
                  <a:lnTo>
                    <a:pt x="297" y="367"/>
                  </a:lnTo>
                  <a:lnTo>
                    <a:pt x="296" y="367"/>
                  </a:lnTo>
                  <a:lnTo>
                    <a:pt x="295" y="367"/>
                  </a:lnTo>
                  <a:lnTo>
                    <a:pt x="293" y="367"/>
                  </a:lnTo>
                  <a:lnTo>
                    <a:pt x="290" y="367"/>
                  </a:lnTo>
                  <a:lnTo>
                    <a:pt x="287" y="367"/>
                  </a:lnTo>
                  <a:lnTo>
                    <a:pt x="285" y="367"/>
                  </a:lnTo>
                  <a:lnTo>
                    <a:pt x="281" y="368"/>
                  </a:lnTo>
                  <a:lnTo>
                    <a:pt x="278" y="369"/>
                  </a:lnTo>
                  <a:lnTo>
                    <a:pt x="274" y="370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2" y="373"/>
                  </a:lnTo>
                  <a:lnTo>
                    <a:pt x="261" y="372"/>
                  </a:lnTo>
                  <a:lnTo>
                    <a:pt x="261" y="372"/>
                  </a:lnTo>
                  <a:lnTo>
                    <a:pt x="260" y="372"/>
                  </a:lnTo>
                  <a:lnTo>
                    <a:pt x="259" y="371"/>
                  </a:lnTo>
                  <a:lnTo>
                    <a:pt x="259" y="371"/>
                  </a:lnTo>
                  <a:lnTo>
                    <a:pt x="258" y="371"/>
                  </a:lnTo>
                  <a:lnTo>
                    <a:pt x="258" y="370"/>
                  </a:lnTo>
                  <a:lnTo>
                    <a:pt x="257" y="369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5" y="365"/>
                  </a:lnTo>
                  <a:lnTo>
                    <a:pt x="254" y="364"/>
                  </a:lnTo>
                  <a:lnTo>
                    <a:pt x="253" y="363"/>
                  </a:lnTo>
                  <a:lnTo>
                    <a:pt x="252" y="362"/>
                  </a:lnTo>
                  <a:lnTo>
                    <a:pt x="250" y="361"/>
                  </a:lnTo>
                  <a:lnTo>
                    <a:pt x="249" y="361"/>
                  </a:lnTo>
                  <a:lnTo>
                    <a:pt x="248" y="360"/>
                  </a:lnTo>
                  <a:lnTo>
                    <a:pt x="247" y="360"/>
                  </a:lnTo>
                  <a:lnTo>
                    <a:pt x="245" y="359"/>
                  </a:lnTo>
                  <a:lnTo>
                    <a:pt x="243" y="359"/>
                  </a:lnTo>
                  <a:lnTo>
                    <a:pt x="242" y="359"/>
                  </a:lnTo>
                  <a:lnTo>
                    <a:pt x="240" y="359"/>
                  </a:lnTo>
                  <a:lnTo>
                    <a:pt x="239" y="359"/>
                  </a:lnTo>
                  <a:lnTo>
                    <a:pt x="239" y="359"/>
                  </a:lnTo>
                  <a:lnTo>
                    <a:pt x="239" y="359"/>
                  </a:lnTo>
                  <a:lnTo>
                    <a:pt x="238" y="359"/>
                  </a:lnTo>
                  <a:lnTo>
                    <a:pt x="237" y="359"/>
                  </a:lnTo>
                  <a:lnTo>
                    <a:pt x="237" y="359"/>
                  </a:lnTo>
                  <a:lnTo>
                    <a:pt x="235" y="360"/>
                  </a:lnTo>
                  <a:lnTo>
                    <a:pt x="235" y="360"/>
                  </a:lnTo>
                  <a:lnTo>
                    <a:pt x="234" y="359"/>
                  </a:lnTo>
                  <a:lnTo>
                    <a:pt x="234" y="359"/>
                  </a:lnTo>
                  <a:lnTo>
                    <a:pt x="233" y="356"/>
                  </a:lnTo>
                  <a:lnTo>
                    <a:pt x="231" y="353"/>
                  </a:lnTo>
                  <a:lnTo>
                    <a:pt x="231" y="352"/>
                  </a:lnTo>
                  <a:lnTo>
                    <a:pt x="230" y="351"/>
                  </a:lnTo>
                  <a:lnTo>
                    <a:pt x="229" y="350"/>
                  </a:lnTo>
                  <a:lnTo>
                    <a:pt x="228" y="349"/>
                  </a:lnTo>
                  <a:lnTo>
                    <a:pt x="228" y="349"/>
                  </a:lnTo>
                  <a:lnTo>
                    <a:pt x="228" y="349"/>
                  </a:lnTo>
                  <a:lnTo>
                    <a:pt x="227" y="349"/>
                  </a:lnTo>
                  <a:lnTo>
                    <a:pt x="227" y="348"/>
                  </a:lnTo>
                  <a:lnTo>
                    <a:pt x="226" y="348"/>
                  </a:lnTo>
                  <a:lnTo>
                    <a:pt x="226" y="348"/>
                  </a:lnTo>
                  <a:lnTo>
                    <a:pt x="225" y="349"/>
                  </a:lnTo>
                  <a:lnTo>
                    <a:pt x="224" y="349"/>
                  </a:lnTo>
                  <a:lnTo>
                    <a:pt x="223" y="349"/>
                  </a:lnTo>
                  <a:lnTo>
                    <a:pt x="222" y="350"/>
                  </a:lnTo>
                  <a:lnTo>
                    <a:pt x="221" y="351"/>
                  </a:lnTo>
                  <a:lnTo>
                    <a:pt x="219" y="353"/>
                  </a:lnTo>
                  <a:lnTo>
                    <a:pt x="218" y="353"/>
                  </a:lnTo>
                  <a:lnTo>
                    <a:pt x="218" y="353"/>
                  </a:lnTo>
                  <a:lnTo>
                    <a:pt x="218" y="353"/>
                  </a:lnTo>
                  <a:lnTo>
                    <a:pt x="217" y="353"/>
                  </a:lnTo>
                  <a:lnTo>
                    <a:pt x="216" y="353"/>
                  </a:lnTo>
                  <a:lnTo>
                    <a:pt x="216" y="353"/>
                  </a:lnTo>
                  <a:lnTo>
                    <a:pt x="216" y="352"/>
                  </a:lnTo>
                  <a:lnTo>
                    <a:pt x="215" y="352"/>
                  </a:lnTo>
                  <a:lnTo>
                    <a:pt x="215" y="351"/>
                  </a:lnTo>
                  <a:lnTo>
                    <a:pt x="214" y="350"/>
                  </a:lnTo>
                  <a:lnTo>
                    <a:pt x="214" y="349"/>
                  </a:lnTo>
                  <a:lnTo>
                    <a:pt x="214" y="349"/>
                  </a:lnTo>
                  <a:lnTo>
                    <a:pt x="214" y="348"/>
                  </a:lnTo>
                  <a:lnTo>
                    <a:pt x="215" y="347"/>
                  </a:lnTo>
                  <a:lnTo>
                    <a:pt x="215" y="346"/>
                  </a:lnTo>
                  <a:lnTo>
                    <a:pt x="216" y="345"/>
                  </a:lnTo>
                  <a:lnTo>
                    <a:pt x="216" y="344"/>
                  </a:lnTo>
                  <a:lnTo>
                    <a:pt x="216" y="343"/>
                  </a:lnTo>
                  <a:lnTo>
                    <a:pt x="216" y="343"/>
                  </a:lnTo>
                  <a:lnTo>
                    <a:pt x="216" y="342"/>
                  </a:lnTo>
                  <a:lnTo>
                    <a:pt x="216" y="341"/>
                  </a:lnTo>
                  <a:lnTo>
                    <a:pt x="216" y="341"/>
                  </a:lnTo>
                  <a:lnTo>
                    <a:pt x="215" y="340"/>
                  </a:lnTo>
                  <a:lnTo>
                    <a:pt x="214" y="337"/>
                  </a:lnTo>
                  <a:lnTo>
                    <a:pt x="212" y="334"/>
                  </a:lnTo>
                  <a:lnTo>
                    <a:pt x="211" y="332"/>
                  </a:lnTo>
                  <a:lnTo>
                    <a:pt x="209" y="330"/>
                  </a:lnTo>
                  <a:lnTo>
                    <a:pt x="208" y="329"/>
                  </a:lnTo>
                  <a:lnTo>
                    <a:pt x="206" y="327"/>
                  </a:lnTo>
                  <a:lnTo>
                    <a:pt x="203" y="324"/>
                  </a:lnTo>
                  <a:lnTo>
                    <a:pt x="202" y="322"/>
                  </a:lnTo>
                  <a:lnTo>
                    <a:pt x="200" y="322"/>
                  </a:lnTo>
                  <a:lnTo>
                    <a:pt x="193" y="316"/>
                  </a:lnTo>
                  <a:lnTo>
                    <a:pt x="192" y="315"/>
                  </a:lnTo>
                  <a:lnTo>
                    <a:pt x="191" y="315"/>
                  </a:lnTo>
                  <a:lnTo>
                    <a:pt x="191" y="314"/>
                  </a:lnTo>
                  <a:lnTo>
                    <a:pt x="190" y="313"/>
                  </a:lnTo>
                  <a:lnTo>
                    <a:pt x="189" y="311"/>
                  </a:lnTo>
                  <a:lnTo>
                    <a:pt x="188" y="310"/>
                  </a:lnTo>
                  <a:lnTo>
                    <a:pt x="187" y="308"/>
                  </a:lnTo>
                  <a:lnTo>
                    <a:pt x="186" y="307"/>
                  </a:lnTo>
                  <a:lnTo>
                    <a:pt x="186" y="306"/>
                  </a:lnTo>
                  <a:lnTo>
                    <a:pt x="185" y="304"/>
                  </a:lnTo>
                  <a:lnTo>
                    <a:pt x="183" y="303"/>
                  </a:lnTo>
                  <a:lnTo>
                    <a:pt x="182" y="302"/>
                  </a:lnTo>
                  <a:lnTo>
                    <a:pt x="182" y="301"/>
                  </a:lnTo>
                  <a:lnTo>
                    <a:pt x="181" y="300"/>
                  </a:lnTo>
                  <a:lnTo>
                    <a:pt x="180" y="300"/>
                  </a:lnTo>
                  <a:lnTo>
                    <a:pt x="180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78" y="299"/>
                  </a:lnTo>
                  <a:lnTo>
                    <a:pt x="178" y="300"/>
                  </a:lnTo>
                  <a:lnTo>
                    <a:pt x="177" y="300"/>
                  </a:lnTo>
                  <a:lnTo>
                    <a:pt x="176" y="301"/>
                  </a:lnTo>
                  <a:lnTo>
                    <a:pt x="175" y="301"/>
                  </a:lnTo>
                  <a:lnTo>
                    <a:pt x="175" y="301"/>
                  </a:lnTo>
                  <a:lnTo>
                    <a:pt x="174" y="302"/>
                  </a:lnTo>
                  <a:lnTo>
                    <a:pt x="173" y="302"/>
                  </a:lnTo>
                  <a:lnTo>
                    <a:pt x="173" y="302"/>
                  </a:lnTo>
                  <a:lnTo>
                    <a:pt x="172" y="302"/>
                  </a:lnTo>
                  <a:lnTo>
                    <a:pt x="171" y="301"/>
                  </a:lnTo>
                  <a:lnTo>
                    <a:pt x="170" y="301"/>
                  </a:lnTo>
                  <a:lnTo>
                    <a:pt x="169" y="300"/>
                  </a:lnTo>
                  <a:lnTo>
                    <a:pt x="168" y="299"/>
                  </a:lnTo>
                  <a:lnTo>
                    <a:pt x="167" y="299"/>
                  </a:lnTo>
                  <a:lnTo>
                    <a:pt x="166" y="298"/>
                  </a:lnTo>
                  <a:lnTo>
                    <a:pt x="165" y="297"/>
                  </a:lnTo>
                  <a:lnTo>
                    <a:pt x="165" y="297"/>
                  </a:lnTo>
                  <a:lnTo>
                    <a:pt x="164" y="296"/>
                  </a:lnTo>
                  <a:lnTo>
                    <a:pt x="164" y="295"/>
                  </a:lnTo>
                  <a:lnTo>
                    <a:pt x="163" y="294"/>
                  </a:lnTo>
                  <a:lnTo>
                    <a:pt x="163" y="293"/>
                  </a:lnTo>
                  <a:lnTo>
                    <a:pt x="163" y="291"/>
                  </a:lnTo>
                  <a:lnTo>
                    <a:pt x="162" y="289"/>
                  </a:lnTo>
                  <a:lnTo>
                    <a:pt x="162" y="288"/>
                  </a:lnTo>
                  <a:lnTo>
                    <a:pt x="162" y="286"/>
                  </a:lnTo>
                  <a:lnTo>
                    <a:pt x="162" y="285"/>
                  </a:lnTo>
                  <a:lnTo>
                    <a:pt x="162" y="284"/>
                  </a:lnTo>
                  <a:lnTo>
                    <a:pt x="162" y="283"/>
                  </a:lnTo>
                  <a:lnTo>
                    <a:pt x="162" y="282"/>
                  </a:lnTo>
                  <a:lnTo>
                    <a:pt x="163" y="280"/>
                  </a:lnTo>
                  <a:lnTo>
                    <a:pt x="164" y="276"/>
                  </a:lnTo>
                  <a:lnTo>
                    <a:pt x="164" y="275"/>
                  </a:lnTo>
                  <a:lnTo>
                    <a:pt x="164" y="274"/>
                  </a:lnTo>
                  <a:lnTo>
                    <a:pt x="164" y="273"/>
                  </a:lnTo>
                  <a:lnTo>
                    <a:pt x="164" y="272"/>
                  </a:lnTo>
                  <a:lnTo>
                    <a:pt x="164" y="271"/>
                  </a:lnTo>
                  <a:lnTo>
                    <a:pt x="164" y="269"/>
                  </a:lnTo>
                  <a:lnTo>
                    <a:pt x="164" y="268"/>
                  </a:lnTo>
                  <a:lnTo>
                    <a:pt x="163" y="266"/>
                  </a:lnTo>
                  <a:lnTo>
                    <a:pt x="163" y="265"/>
                  </a:lnTo>
                  <a:lnTo>
                    <a:pt x="162" y="264"/>
                  </a:lnTo>
                  <a:lnTo>
                    <a:pt x="162" y="263"/>
                  </a:lnTo>
                  <a:lnTo>
                    <a:pt x="161" y="262"/>
                  </a:lnTo>
                  <a:lnTo>
                    <a:pt x="161" y="261"/>
                  </a:lnTo>
                  <a:lnTo>
                    <a:pt x="160" y="260"/>
                  </a:lnTo>
                  <a:lnTo>
                    <a:pt x="160" y="260"/>
                  </a:lnTo>
                  <a:lnTo>
                    <a:pt x="159" y="259"/>
                  </a:lnTo>
                  <a:lnTo>
                    <a:pt x="159" y="259"/>
                  </a:lnTo>
                  <a:lnTo>
                    <a:pt x="158" y="259"/>
                  </a:lnTo>
                  <a:lnTo>
                    <a:pt x="158" y="259"/>
                  </a:lnTo>
                  <a:lnTo>
                    <a:pt x="157" y="259"/>
                  </a:lnTo>
                  <a:lnTo>
                    <a:pt x="156" y="259"/>
                  </a:lnTo>
                  <a:lnTo>
                    <a:pt x="156" y="259"/>
                  </a:lnTo>
                  <a:lnTo>
                    <a:pt x="153" y="260"/>
                  </a:lnTo>
                  <a:lnTo>
                    <a:pt x="152" y="260"/>
                  </a:lnTo>
                  <a:lnTo>
                    <a:pt x="147" y="262"/>
                  </a:lnTo>
                  <a:lnTo>
                    <a:pt x="146" y="262"/>
                  </a:lnTo>
                  <a:lnTo>
                    <a:pt x="144" y="263"/>
                  </a:lnTo>
                  <a:lnTo>
                    <a:pt x="142" y="264"/>
                  </a:lnTo>
                  <a:lnTo>
                    <a:pt x="140" y="265"/>
                  </a:lnTo>
                  <a:lnTo>
                    <a:pt x="139" y="265"/>
                  </a:lnTo>
                  <a:lnTo>
                    <a:pt x="138" y="265"/>
                  </a:lnTo>
                  <a:lnTo>
                    <a:pt x="138" y="265"/>
                  </a:lnTo>
                  <a:lnTo>
                    <a:pt x="137" y="265"/>
                  </a:lnTo>
                  <a:lnTo>
                    <a:pt x="136" y="265"/>
                  </a:lnTo>
                  <a:lnTo>
                    <a:pt x="133" y="264"/>
                  </a:lnTo>
                  <a:lnTo>
                    <a:pt x="132" y="264"/>
                  </a:lnTo>
                  <a:lnTo>
                    <a:pt x="131" y="264"/>
                  </a:lnTo>
                  <a:lnTo>
                    <a:pt x="129" y="263"/>
                  </a:lnTo>
                  <a:lnTo>
                    <a:pt x="125" y="261"/>
                  </a:lnTo>
                  <a:lnTo>
                    <a:pt x="124" y="261"/>
                  </a:lnTo>
                  <a:lnTo>
                    <a:pt x="123" y="260"/>
                  </a:lnTo>
                  <a:lnTo>
                    <a:pt x="122" y="259"/>
                  </a:lnTo>
                  <a:lnTo>
                    <a:pt x="121" y="258"/>
                  </a:lnTo>
                  <a:lnTo>
                    <a:pt x="120" y="257"/>
                  </a:lnTo>
                  <a:lnTo>
                    <a:pt x="119" y="257"/>
                  </a:lnTo>
                  <a:lnTo>
                    <a:pt x="118" y="256"/>
                  </a:lnTo>
                  <a:lnTo>
                    <a:pt x="116" y="255"/>
                  </a:lnTo>
                  <a:lnTo>
                    <a:pt x="115" y="255"/>
                  </a:lnTo>
                  <a:lnTo>
                    <a:pt x="114" y="254"/>
                  </a:lnTo>
                  <a:lnTo>
                    <a:pt x="114" y="254"/>
                  </a:lnTo>
                  <a:lnTo>
                    <a:pt x="113" y="253"/>
                  </a:lnTo>
                  <a:lnTo>
                    <a:pt x="112" y="252"/>
                  </a:lnTo>
                  <a:lnTo>
                    <a:pt x="112" y="251"/>
                  </a:lnTo>
                  <a:lnTo>
                    <a:pt x="111" y="249"/>
                  </a:lnTo>
                  <a:lnTo>
                    <a:pt x="110" y="248"/>
                  </a:lnTo>
                  <a:lnTo>
                    <a:pt x="109" y="247"/>
                  </a:lnTo>
                  <a:lnTo>
                    <a:pt x="106" y="244"/>
                  </a:lnTo>
                  <a:lnTo>
                    <a:pt x="106" y="244"/>
                  </a:lnTo>
                  <a:lnTo>
                    <a:pt x="106" y="243"/>
                  </a:lnTo>
                  <a:lnTo>
                    <a:pt x="105" y="242"/>
                  </a:lnTo>
                  <a:lnTo>
                    <a:pt x="105" y="241"/>
                  </a:lnTo>
                  <a:lnTo>
                    <a:pt x="105" y="240"/>
                  </a:lnTo>
                  <a:lnTo>
                    <a:pt x="105" y="238"/>
                  </a:lnTo>
                  <a:lnTo>
                    <a:pt x="105" y="238"/>
                  </a:lnTo>
                  <a:lnTo>
                    <a:pt x="104" y="237"/>
                  </a:lnTo>
                  <a:lnTo>
                    <a:pt x="104" y="236"/>
                  </a:lnTo>
                  <a:lnTo>
                    <a:pt x="104" y="236"/>
                  </a:lnTo>
                  <a:lnTo>
                    <a:pt x="103" y="235"/>
                  </a:lnTo>
                  <a:lnTo>
                    <a:pt x="103" y="234"/>
                  </a:lnTo>
                  <a:lnTo>
                    <a:pt x="101" y="232"/>
                  </a:lnTo>
                  <a:lnTo>
                    <a:pt x="101" y="231"/>
                  </a:lnTo>
                  <a:lnTo>
                    <a:pt x="100" y="229"/>
                  </a:lnTo>
                  <a:lnTo>
                    <a:pt x="100" y="228"/>
                  </a:lnTo>
                  <a:lnTo>
                    <a:pt x="100" y="226"/>
                  </a:lnTo>
                  <a:lnTo>
                    <a:pt x="100" y="226"/>
                  </a:lnTo>
                  <a:lnTo>
                    <a:pt x="100" y="224"/>
                  </a:lnTo>
                  <a:lnTo>
                    <a:pt x="100" y="222"/>
                  </a:lnTo>
                  <a:lnTo>
                    <a:pt x="99" y="221"/>
                  </a:lnTo>
                  <a:lnTo>
                    <a:pt x="99" y="220"/>
                  </a:lnTo>
                  <a:lnTo>
                    <a:pt x="98" y="218"/>
                  </a:lnTo>
                  <a:lnTo>
                    <a:pt x="97" y="216"/>
                  </a:lnTo>
                  <a:lnTo>
                    <a:pt x="96" y="213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4" y="211"/>
                  </a:lnTo>
                  <a:lnTo>
                    <a:pt x="94" y="211"/>
                  </a:lnTo>
                  <a:lnTo>
                    <a:pt x="93" y="211"/>
                  </a:lnTo>
                  <a:lnTo>
                    <a:pt x="92" y="211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0" y="211"/>
                  </a:lnTo>
                  <a:lnTo>
                    <a:pt x="90" y="212"/>
                  </a:lnTo>
                  <a:lnTo>
                    <a:pt x="89" y="213"/>
                  </a:lnTo>
                  <a:lnTo>
                    <a:pt x="89" y="213"/>
                  </a:lnTo>
                  <a:lnTo>
                    <a:pt x="89" y="214"/>
                  </a:lnTo>
                  <a:lnTo>
                    <a:pt x="90" y="215"/>
                  </a:lnTo>
                  <a:lnTo>
                    <a:pt x="91" y="222"/>
                  </a:lnTo>
                  <a:lnTo>
                    <a:pt x="92" y="223"/>
                  </a:lnTo>
                  <a:lnTo>
                    <a:pt x="92" y="224"/>
                  </a:lnTo>
                  <a:lnTo>
                    <a:pt x="92" y="225"/>
                  </a:lnTo>
                  <a:lnTo>
                    <a:pt x="92" y="226"/>
                  </a:lnTo>
                  <a:lnTo>
                    <a:pt x="91" y="226"/>
                  </a:lnTo>
                  <a:lnTo>
                    <a:pt x="91" y="227"/>
                  </a:lnTo>
                  <a:lnTo>
                    <a:pt x="91" y="227"/>
                  </a:lnTo>
                  <a:lnTo>
                    <a:pt x="90" y="228"/>
                  </a:lnTo>
                  <a:lnTo>
                    <a:pt x="89" y="229"/>
                  </a:lnTo>
                  <a:lnTo>
                    <a:pt x="89" y="230"/>
                  </a:lnTo>
                  <a:lnTo>
                    <a:pt x="88" y="230"/>
                  </a:lnTo>
                  <a:lnTo>
                    <a:pt x="87" y="230"/>
                  </a:lnTo>
                  <a:lnTo>
                    <a:pt x="87" y="230"/>
                  </a:lnTo>
                  <a:lnTo>
                    <a:pt x="87" y="230"/>
                  </a:lnTo>
                  <a:lnTo>
                    <a:pt x="86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3" y="230"/>
                  </a:lnTo>
                  <a:lnTo>
                    <a:pt x="82" y="231"/>
                  </a:lnTo>
                  <a:lnTo>
                    <a:pt x="82" y="231"/>
                  </a:lnTo>
                  <a:lnTo>
                    <a:pt x="80" y="232"/>
                  </a:lnTo>
                  <a:lnTo>
                    <a:pt x="80" y="232"/>
                  </a:lnTo>
                  <a:lnTo>
                    <a:pt x="79" y="233"/>
                  </a:lnTo>
                  <a:lnTo>
                    <a:pt x="79" y="233"/>
                  </a:lnTo>
                  <a:lnTo>
                    <a:pt x="78" y="234"/>
                  </a:lnTo>
                  <a:lnTo>
                    <a:pt x="78" y="235"/>
                  </a:lnTo>
                  <a:lnTo>
                    <a:pt x="77" y="236"/>
                  </a:lnTo>
                  <a:lnTo>
                    <a:pt x="77" y="236"/>
                  </a:lnTo>
                  <a:lnTo>
                    <a:pt x="77" y="237"/>
                  </a:lnTo>
                  <a:lnTo>
                    <a:pt x="76" y="238"/>
                  </a:lnTo>
                  <a:lnTo>
                    <a:pt x="74" y="240"/>
                  </a:lnTo>
                  <a:lnTo>
                    <a:pt x="74" y="240"/>
                  </a:lnTo>
                  <a:lnTo>
                    <a:pt x="73" y="241"/>
                  </a:lnTo>
                  <a:lnTo>
                    <a:pt x="72" y="243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0" y="244"/>
                  </a:lnTo>
                  <a:lnTo>
                    <a:pt x="70" y="244"/>
                  </a:lnTo>
                  <a:lnTo>
                    <a:pt x="69" y="244"/>
                  </a:lnTo>
                  <a:lnTo>
                    <a:pt x="69" y="244"/>
                  </a:lnTo>
                  <a:lnTo>
                    <a:pt x="68" y="244"/>
                  </a:lnTo>
                  <a:lnTo>
                    <a:pt x="68" y="244"/>
                  </a:lnTo>
                  <a:lnTo>
                    <a:pt x="67" y="243"/>
                  </a:lnTo>
                  <a:lnTo>
                    <a:pt x="66" y="242"/>
                  </a:lnTo>
                  <a:lnTo>
                    <a:pt x="65" y="241"/>
                  </a:lnTo>
                  <a:lnTo>
                    <a:pt x="65" y="239"/>
                  </a:lnTo>
                  <a:lnTo>
                    <a:pt x="64" y="238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2"/>
                  </a:lnTo>
                  <a:lnTo>
                    <a:pt x="65" y="228"/>
                  </a:lnTo>
                  <a:lnTo>
                    <a:pt x="66" y="226"/>
                  </a:lnTo>
                  <a:lnTo>
                    <a:pt x="66" y="224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2"/>
                  </a:lnTo>
                  <a:lnTo>
                    <a:pt x="66" y="221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8" y="217"/>
                  </a:lnTo>
                  <a:lnTo>
                    <a:pt x="56" y="217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3" y="218"/>
                  </a:lnTo>
                  <a:lnTo>
                    <a:pt x="51" y="219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8" y="220"/>
                  </a:lnTo>
                  <a:lnTo>
                    <a:pt x="47" y="221"/>
                  </a:lnTo>
                  <a:lnTo>
                    <a:pt x="45" y="222"/>
                  </a:lnTo>
                  <a:lnTo>
                    <a:pt x="44" y="223"/>
                  </a:lnTo>
                  <a:lnTo>
                    <a:pt x="41" y="226"/>
                  </a:lnTo>
                  <a:lnTo>
                    <a:pt x="38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5" y="231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3" y="234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1" y="235"/>
                  </a:lnTo>
                  <a:lnTo>
                    <a:pt x="30" y="235"/>
                  </a:lnTo>
                  <a:lnTo>
                    <a:pt x="27" y="235"/>
                  </a:lnTo>
                  <a:lnTo>
                    <a:pt x="23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1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19" y="232"/>
                  </a:lnTo>
                  <a:lnTo>
                    <a:pt x="19" y="231"/>
                  </a:lnTo>
                  <a:lnTo>
                    <a:pt x="19" y="230"/>
                  </a:lnTo>
                  <a:lnTo>
                    <a:pt x="19" y="229"/>
                  </a:lnTo>
                  <a:lnTo>
                    <a:pt x="20" y="226"/>
                  </a:lnTo>
                  <a:lnTo>
                    <a:pt x="20" y="224"/>
                  </a:lnTo>
                  <a:lnTo>
                    <a:pt x="20" y="223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0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6" y="222"/>
                  </a:lnTo>
                  <a:lnTo>
                    <a:pt x="15" y="222"/>
                  </a:lnTo>
                  <a:lnTo>
                    <a:pt x="13" y="222"/>
                  </a:lnTo>
                  <a:lnTo>
                    <a:pt x="12" y="223"/>
                  </a:lnTo>
                  <a:lnTo>
                    <a:pt x="11" y="223"/>
                  </a:lnTo>
                  <a:lnTo>
                    <a:pt x="10" y="223"/>
                  </a:lnTo>
                  <a:lnTo>
                    <a:pt x="10" y="222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8" y="221"/>
                  </a:lnTo>
                  <a:lnTo>
                    <a:pt x="7" y="220"/>
                  </a:lnTo>
                  <a:lnTo>
                    <a:pt x="6" y="220"/>
                  </a:lnTo>
                  <a:lnTo>
                    <a:pt x="5" y="217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0" y="206"/>
                  </a:lnTo>
                  <a:lnTo>
                    <a:pt x="0" y="205"/>
                  </a:lnTo>
                  <a:lnTo>
                    <a:pt x="1" y="204"/>
                  </a:lnTo>
                  <a:lnTo>
                    <a:pt x="2" y="201"/>
                  </a:lnTo>
                  <a:lnTo>
                    <a:pt x="3" y="199"/>
                  </a:lnTo>
                  <a:lnTo>
                    <a:pt x="3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4" y="193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6" y="188"/>
                  </a:lnTo>
                  <a:lnTo>
                    <a:pt x="7" y="186"/>
                  </a:lnTo>
                  <a:lnTo>
                    <a:pt x="9" y="183"/>
                  </a:lnTo>
                  <a:lnTo>
                    <a:pt x="10" y="182"/>
                  </a:lnTo>
                  <a:lnTo>
                    <a:pt x="10" y="181"/>
                  </a:lnTo>
                  <a:lnTo>
                    <a:pt x="11" y="180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7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5"/>
                  </a:lnTo>
                  <a:lnTo>
                    <a:pt x="12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0" y="172"/>
                  </a:lnTo>
                  <a:lnTo>
                    <a:pt x="10" y="171"/>
                  </a:lnTo>
                  <a:lnTo>
                    <a:pt x="9" y="170"/>
                  </a:lnTo>
                  <a:lnTo>
                    <a:pt x="5" y="166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3" y="156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7"/>
                  </a:lnTo>
                  <a:lnTo>
                    <a:pt x="6" y="145"/>
                  </a:lnTo>
                  <a:lnTo>
                    <a:pt x="7" y="143"/>
                  </a:lnTo>
                  <a:lnTo>
                    <a:pt x="8" y="142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18" y="129"/>
                  </a:lnTo>
                  <a:lnTo>
                    <a:pt x="18" y="128"/>
                  </a:lnTo>
                  <a:lnTo>
                    <a:pt x="19" y="127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20" y="123"/>
                  </a:lnTo>
                  <a:lnTo>
                    <a:pt x="20" y="122"/>
                  </a:lnTo>
                  <a:lnTo>
                    <a:pt x="20" y="120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9" y="106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3"/>
                  </a:lnTo>
                  <a:lnTo>
                    <a:pt x="22" y="99"/>
                  </a:lnTo>
                  <a:lnTo>
                    <a:pt x="23" y="98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7" y="84"/>
                  </a:lnTo>
                  <a:lnTo>
                    <a:pt x="32" y="78"/>
                  </a:lnTo>
                  <a:lnTo>
                    <a:pt x="34" y="76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8" y="72"/>
                  </a:lnTo>
                  <a:lnTo>
                    <a:pt x="39" y="71"/>
                  </a:lnTo>
                  <a:lnTo>
                    <a:pt x="40" y="71"/>
                  </a:lnTo>
                  <a:lnTo>
                    <a:pt x="42" y="68"/>
                  </a:lnTo>
                  <a:lnTo>
                    <a:pt x="43" y="68"/>
                  </a:lnTo>
                  <a:lnTo>
                    <a:pt x="44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8" y="57"/>
                  </a:lnTo>
                  <a:lnTo>
                    <a:pt x="59" y="55"/>
                  </a:lnTo>
                  <a:lnTo>
                    <a:pt x="60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49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5"/>
                  </a:lnTo>
                  <a:lnTo>
                    <a:pt x="77" y="42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8" y="27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7" y="23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8" y="24"/>
                  </a:lnTo>
                  <a:lnTo>
                    <a:pt x="129" y="24"/>
                  </a:lnTo>
                  <a:lnTo>
                    <a:pt x="131" y="24"/>
                  </a:lnTo>
                  <a:lnTo>
                    <a:pt x="132" y="24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6" y="23"/>
                  </a:lnTo>
                  <a:lnTo>
                    <a:pt x="137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2" y="19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9" y="12"/>
                  </a:lnTo>
                  <a:lnTo>
                    <a:pt x="150" y="11"/>
                  </a:lnTo>
                  <a:lnTo>
                    <a:pt x="151" y="10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7"/>
                  </a:lnTo>
                  <a:lnTo>
                    <a:pt x="153" y="2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FFCC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4" name="Freeform 74">
              <a:extLst>
                <a:ext uri="{FF2B5EF4-FFF2-40B4-BE49-F238E27FC236}">
                  <a16:creationId xmlns:a16="http://schemas.microsoft.com/office/drawing/2014/main" id="{9F7C3919-C732-DCFF-0664-17B9EE0FF5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3" y="3192"/>
              <a:ext cx="448" cy="419"/>
            </a:xfrm>
            <a:custGeom>
              <a:avLst/>
              <a:gdLst>
                <a:gd name="T0" fmla="*/ 99 w 448"/>
                <a:gd name="T1" fmla="*/ 8 h 419"/>
                <a:gd name="T2" fmla="*/ 98 w 448"/>
                <a:gd name="T3" fmla="*/ 24 h 419"/>
                <a:gd name="T4" fmla="*/ 107 w 448"/>
                <a:gd name="T5" fmla="*/ 45 h 419"/>
                <a:gd name="T6" fmla="*/ 95 w 448"/>
                <a:gd name="T7" fmla="*/ 56 h 419"/>
                <a:gd name="T8" fmla="*/ 65 w 448"/>
                <a:gd name="T9" fmla="*/ 71 h 419"/>
                <a:gd name="T10" fmla="*/ 65 w 448"/>
                <a:gd name="T11" fmla="*/ 83 h 419"/>
                <a:gd name="T12" fmla="*/ 87 w 448"/>
                <a:gd name="T13" fmla="*/ 97 h 419"/>
                <a:gd name="T14" fmla="*/ 103 w 448"/>
                <a:gd name="T15" fmla="*/ 108 h 419"/>
                <a:gd name="T16" fmla="*/ 119 w 448"/>
                <a:gd name="T17" fmla="*/ 138 h 419"/>
                <a:gd name="T18" fmla="*/ 139 w 448"/>
                <a:gd name="T19" fmla="*/ 154 h 419"/>
                <a:gd name="T20" fmla="*/ 161 w 448"/>
                <a:gd name="T21" fmla="*/ 153 h 419"/>
                <a:gd name="T22" fmla="*/ 191 w 448"/>
                <a:gd name="T23" fmla="*/ 139 h 419"/>
                <a:gd name="T24" fmla="*/ 193 w 448"/>
                <a:gd name="T25" fmla="*/ 130 h 419"/>
                <a:gd name="T26" fmla="*/ 185 w 448"/>
                <a:gd name="T27" fmla="*/ 122 h 419"/>
                <a:gd name="T28" fmla="*/ 198 w 448"/>
                <a:gd name="T29" fmla="*/ 118 h 419"/>
                <a:gd name="T30" fmla="*/ 215 w 448"/>
                <a:gd name="T31" fmla="*/ 142 h 419"/>
                <a:gd name="T32" fmla="*/ 234 w 448"/>
                <a:gd name="T33" fmla="*/ 146 h 419"/>
                <a:gd name="T34" fmla="*/ 246 w 448"/>
                <a:gd name="T35" fmla="*/ 149 h 419"/>
                <a:gd name="T36" fmla="*/ 265 w 448"/>
                <a:gd name="T37" fmla="*/ 161 h 419"/>
                <a:gd name="T38" fmla="*/ 278 w 448"/>
                <a:gd name="T39" fmla="*/ 177 h 419"/>
                <a:gd name="T40" fmla="*/ 286 w 448"/>
                <a:gd name="T41" fmla="*/ 167 h 419"/>
                <a:gd name="T42" fmla="*/ 311 w 448"/>
                <a:gd name="T43" fmla="*/ 170 h 419"/>
                <a:gd name="T44" fmla="*/ 341 w 448"/>
                <a:gd name="T45" fmla="*/ 183 h 419"/>
                <a:gd name="T46" fmla="*/ 348 w 448"/>
                <a:gd name="T47" fmla="*/ 175 h 419"/>
                <a:gd name="T48" fmla="*/ 356 w 448"/>
                <a:gd name="T49" fmla="*/ 183 h 419"/>
                <a:gd name="T50" fmla="*/ 363 w 448"/>
                <a:gd name="T51" fmla="*/ 200 h 419"/>
                <a:gd name="T52" fmla="*/ 359 w 448"/>
                <a:gd name="T53" fmla="*/ 220 h 419"/>
                <a:gd name="T54" fmla="*/ 377 w 448"/>
                <a:gd name="T55" fmla="*/ 264 h 419"/>
                <a:gd name="T56" fmla="*/ 397 w 448"/>
                <a:gd name="T57" fmla="*/ 273 h 419"/>
                <a:gd name="T58" fmla="*/ 418 w 448"/>
                <a:gd name="T59" fmla="*/ 282 h 419"/>
                <a:gd name="T60" fmla="*/ 432 w 448"/>
                <a:gd name="T61" fmla="*/ 292 h 419"/>
                <a:gd name="T62" fmla="*/ 446 w 448"/>
                <a:gd name="T63" fmla="*/ 338 h 419"/>
                <a:gd name="T64" fmla="*/ 443 w 448"/>
                <a:gd name="T65" fmla="*/ 357 h 419"/>
                <a:gd name="T66" fmla="*/ 415 w 448"/>
                <a:gd name="T67" fmla="*/ 369 h 419"/>
                <a:gd name="T68" fmla="*/ 378 w 448"/>
                <a:gd name="T69" fmla="*/ 368 h 419"/>
                <a:gd name="T70" fmla="*/ 361 w 448"/>
                <a:gd name="T71" fmla="*/ 367 h 419"/>
                <a:gd name="T72" fmla="*/ 355 w 448"/>
                <a:gd name="T73" fmla="*/ 384 h 419"/>
                <a:gd name="T74" fmla="*/ 332 w 448"/>
                <a:gd name="T75" fmla="*/ 415 h 419"/>
                <a:gd name="T76" fmla="*/ 315 w 448"/>
                <a:gd name="T77" fmla="*/ 419 h 419"/>
                <a:gd name="T78" fmla="*/ 303 w 448"/>
                <a:gd name="T79" fmla="*/ 403 h 419"/>
                <a:gd name="T80" fmla="*/ 282 w 448"/>
                <a:gd name="T81" fmla="*/ 380 h 419"/>
                <a:gd name="T82" fmla="*/ 261 w 448"/>
                <a:gd name="T83" fmla="*/ 378 h 419"/>
                <a:gd name="T84" fmla="*/ 233 w 448"/>
                <a:gd name="T85" fmla="*/ 368 h 419"/>
                <a:gd name="T86" fmla="*/ 193 w 448"/>
                <a:gd name="T87" fmla="*/ 372 h 419"/>
                <a:gd name="T88" fmla="*/ 177 w 448"/>
                <a:gd name="T89" fmla="*/ 359 h 419"/>
                <a:gd name="T90" fmla="*/ 162 w 448"/>
                <a:gd name="T91" fmla="*/ 351 h 419"/>
                <a:gd name="T92" fmla="*/ 150 w 448"/>
                <a:gd name="T93" fmla="*/ 353 h 419"/>
                <a:gd name="T94" fmla="*/ 148 w 448"/>
                <a:gd name="T95" fmla="*/ 342 h 419"/>
                <a:gd name="T96" fmla="*/ 122 w 448"/>
                <a:gd name="T97" fmla="*/ 313 h 419"/>
                <a:gd name="T98" fmla="*/ 110 w 448"/>
                <a:gd name="T99" fmla="*/ 300 h 419"/>
                <a:gd name="T100" fmla="*/ 96 w 448"/>
                <a:gd name="T101" fmla="*/ 296 h 419"/>
                <a:gd name="T102" fmla="*/ 96 w 448"/>
                <a:gd name="T103" fmla="*/ 272 h 419"/>
                <a:gd name="T104" fmla="*/ 88 w 448"/>
                <a:gd name="T105" fmla="*/ 259 h 419"/>
                <a:gd name="T106" fmla="*/ 61 w 448"/>
                <a:gd name="T107" fmla="*/ 263 h 419"/>
                <a:gd name="T108" fmla="*/ 42 w 448"/>
                <a:gd name="T109" fmla="*/ 248 h 419"/>
                <a:gd name="T110" fmla="*/ 32 w 448"/>
                <a:gd name="T111" fmla="*/ 229 h 419"/>
                <a:gd name="T112" fmla="*/ 24 w 448"/>
                <a:gd name="T113" fmla="*/ 211 h 419"/>
                <a:gd name="T114" fmla="*/ 22 w 448"/>
                <a:gd name="T115" fmla="*/ 228 h 419"/>
                <a:gd name="T116" fmla="*/ 12 w 448"/>
                <a:gd name="T117" fmla="*/ 232 h 419"/>
                <a:gd name="T118" fmla="*/ 2 w 448"/>
                <a:gd name="T119" fmla="*/ 244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8" h="419">
                  <a:moveTo>
                    <a:pt x="88" y="0"/>
                  </a:moveTo>
                  <a:lnTo>
                    <a:pt x="89" y="0"/>
                  </a:lnTo>
                  <a:lnTo>
                    <a:pt x="90" y="0"/>
                  </a:lnTo>
                  <a:lnTo>
                    <a:pt x="90" y="1"/>
                  </a:lnTo>
                  <a:lnTo>
                    <a:pt x="91" y="1"/>
                  </a:lnTo>
                  <a:lnTo>
                    <a:pt x="92" y="1"/>
                  </a:lnTo>
                  <a:lnTo>
                    <a:pt x="92" y="2"/>
                  </a:lnTo>
                  <a:lnTo>
                    <a:pt x="93" y="2"/>
                  </a:lnTo>
                  <a:lnTo>
                    <a:pt x="94" y="3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6" y="5"/>
                  </a:lnTo>
                  <a:lnTo>
                    <a:pt x="96" y="6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8" y="7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100" y="8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2"/>
                  </a:lnTo>
                  <a:lnTo>
                    <a:pt x="101" y="13"/>
                  </a:lnTo>
                  <a:lnTo>
                    <a:pt x="101" y="14"/>
                  </a:lnTo>
                  <a:lnTo>
                    <a:pt x="99" y="18"/>
                  </a:lnTo>
                  <a:lnTo>
                    <a:pt x="99" y="20"/>
                  </a:lnTo>
                  <a:lnTo>
                    <a:pt x="98" y="21"/>
                  </a:lnTo>
                  <a:lnTo>
                    <a:pt x="98" y="22"/>
                  </a:lnTo>
                  <a:lnTo>
                    <a:pt x="98" y="23"/>
                  </a:lnTo>
                  <a:lnTo>
                    <a:pt x="98" y="24"/>
                  </a:lnTo>
                  <a:lnTo>
                    <a:pt x="98" y="26"/>
                  </a:lnTo>
                  <a:lnTo>
                    <a:pt x="98" y="27"/>
                  </a:lnTo>
                  <a:lnTo>
                    <a:pt x="99" y="28"/>
                  </a:lnTo>
                  <a:lnTo>
                    <a:pt x="99" y="29"/>
                  </a:lnTo>
                  <a:lnTo>
                    <a:pt x="100" y="30"/>
                  </a:lnTo>
                  <a:lnTo>
                    <a:pt x="100" y="31"/>
                  </a:lnTo>
                  <a:lnTo>
                    <a:pt x="101" y="32"/>
                  </a:lnTo>
                  <a:lnTo>
                    <a:pt x="104" y="35"/>
                  </a:lnTo>
                  <a:lnTo>
                    <a:pt x="105" y="37"/>
                  </a:lnTo>
                  <a:lnTo>
                    <a:pt x="105" y="38"/>
                  </a:lnTo>
                  <a:lnTo>
                    <a:pt x="106" y="38"/>
                  </a:lnTo>
                  <a:lnTo>
                    <a:pt x="106" y="39"/>
                  </a:lnTo>
                  <a:lnTo>
                    <a:pt x="106" y="40"/>
                  </a:lnTo>
                  <a:lnTo>
                    <a:pt x="106" y="41"/>
                  </a:lnTo>
                  <a:lnTo>
                    <a:pt x="107" y="42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06" y="46"/>
                  </a:lnTo>
                  <a:lnTo>
                    <a:pt x="106" y="47"/>
                  </a:lnTo>
                  <a:lnTo>
                    <a:pt x="106" y="49"/>
                  </a:lnTo>
                  <a:lnTo>
                    <a:pt x="106" y="49"/>
                  </a:lnTo>
                  <a:lnTo>
                    <a:pt x="105" y="50"/>
                  </a:lnTo>
                  <a:lnTo>
                    <a:pt x="105" y="50"/>
                  </a:lnTo>
                  <a:lnTo>
                    <a:pt x="105" y="51"/>
                  </a:lnTo>
                  <a:lnTo>
                    <a:pt x="104" y="52"/>
                  </a:lnTo>
                  <a:lnTo>
                    <a:pt x="103" y="52"/>
                  </a:lnTo>
                  <a:lnTo>
                    <a:pt x="102" y="53"/>
                  </a:lnTo>
                  <a:lnTo>
                    <a:pt x="101" y="53"/>
                  </a:lnTo>
                  <a:lnTo>
                    <a:pt x="101" y="53"/>
                  </a:lnTo>
                  <a:lnTo>
                    <a:pt x="98" y="54"/>
                  </a:lnTo>
                  <a:lnTo>
                    <a:pt x="97" y="54"/>
                  </a:lnTo>
                  <a:lnTo>
                    <a:pt x="96" y="55"/>
                  </a:lnTo>
                  <a:lnTo>
                    <a:pt x="96" y="55"/>
                  </a:lnTo>
                  <a:lnTo>
                    <a:pt x="95" y="56"/>
                  </a:lnTo>
                  <a:lnTo>
                    <a:pt x="94" y="57"/>
                  </a:lnTo>
                  <a:lnTo>
                    <a:pt x="94" y="57"/>
                  </a:lnTo>
                  <a:lnTo>
                    <a:pt x="92" y="59"/>
                  </a:lnTo>
                  <a:lnTo>
                    <a:pt x="92" y="60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90" y="62"/>
                  </a:lnTo>
                  <a:lnTo>
                    <a:pt x="90" y="62"/>
                  </a:lnTo>
                  <a:lnTo>
                    <a:pt x="89" y="63"/>
                  </a:lnTo>
                  <a:lnTo>
                    <a:pt x="88" y="63"/>
                  </a:lnTo>
                  <a:lnTo>
                    <a:pt x="87" y="63"/>
                  </a:lnTo>
                  <a:lnTo>
                    <a:pt x="85" y="64"/>
                  </a:lnTo>
                  <a:lnTo>
                    <a:pt x="80" y="66"/>
                  </a:lnTo>
                  <a:lnTo>
                    <a:pt x="74" y="68"/>
                  </a:lnTo>
                  <a:lnTo>
                    <a:pt x="71" y="69"/>
                  </a:lnTo>
                  <a:lnTo>
                    <a:pt x="66" y="70"/>
                  </a:lnTo>
                  <a:lnTo>
                    <a:pt x="65" y="71"/>
                  </a:lnTo>
                  <a:lnTo>
                    <a:pt x="64" y="71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2" y="73"/>
                  </a:lnTo>
                  <a:lnTo>
                    <a:pt x="62" y="74"/>
                  </a:lnTo>
                  <a:lnTo>
                    <a:pt x="62" y="74"/>
                  </a:lnTo>
                  <a:lnTo>
                    <a:pt x="62" y="75"/>
                  </a:lnTo>
                  <a:lnTo>
                    <a:pt x="61" y="76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8"/>
                  </a:lnTo>
                  <a:lnTo>
                    <a:pt x="62" y="79"/>
                  </a:lnTo>
                  <a:lnTo>
                    <a:pt x="63" y="80"/>
                  </a:lnTo>
                  <a:lnTo>
                    <a:pt x="63" y="81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5" y="83"/>
                  </a:lnTo>
                  <a:lnTo>
                    <a:pt x="66" y="84"/>
                  </a:lnTo>
                  <a:lnTo>
                    <a:pt x="67" y="85"/>
                  </a:lnTo>
                  <a:lnTo>
                    <a:pt x="71" y="88"/>
                  </a:lnTo>
                  <a:lnTo>
                    <a:pt x="72" y="89"/>
                  </a:lnTo>
                  <a:lnTo>
                    <a:pt x="73" y="91"/>
                  </a:lnTo>
                  <a:lnTo>
                    <a:pt x="75" y="93"/>
                  </a:lnTo>
                  <a:lnTo>
                    <a:pt x="76" y="94"/>
                  </a:lnTo>
                  <a:lnTo>
                    <a:pt x="77" y="95"/>
                  </a:lnTo>
                  <a:lnTo>
                    <a:pt x="78" y="96"/>
                  </a:lnTo>
                  <a:lnTo>
                    <a:pt x="79" y="97"/>
                  </a:lnTo>
                  <a:lnTo>
                    <a:pt x="81" y="97"/>
                  </a:lnTo>
                  <a:lnTo>
                    <a:pt x="82" y="98"/>
                  </a:lnTo>
                  <a:lnTo>
                    <a:pt x="83" y="98"/>
                  </a:lnTo>
                  <a:lnTo>
                    <a:pt x="84" y="98"/>
                  </a:lnTo>
                  <a:lnTo>
                    <a:pt x="84" y="98"/>
                  </a:lnTo>
                  <a:lnTo>
                    <a:pt x="85" y="97"/>
                  </a:lnTo>
                  <a:lnTo>
                    <a:pt x="87" y="97"/>
                  </a:lnTo>
                  <a:lnTo>
                    <a:pt x="88" y="97"/>
                  </a:lnTo>
                  <a:lnTo>
                    <a:pt x="89" y="97"/>
                  </a:lnTo>
                  <a:lnTo>
                    <a:pt x="90" y="97"/>
                  </a:lnTo>
                  <a:lnTo>
                    <a:pt x="91" y="97"/>
                  </a:lnTo>
                  <a:lnTo>
                    <a:pt x="91" y="97"/>
                  </a:lnTo>
                  <a:lnTo>
                    <a:pt x="92" y="97"/>
                  </a:lnTo>
                  <a:lnTo>
                    <a:pt x="93" y="97"/>
                  </a:lnTo>
                  <a:lnTo>
                    <a:pt x="93" y="98"/>
                  </a:lnTo>
                  <a:lnTo>
                    <a:pt x="95" y="98"/>
                  </a:lnTo>
                  <a:lnTo>
                    <a:pt x="95" y="99"/>
                  </a:lnTo>
                  <a:lnTo>
                    <a:pt x="96" y="99"/>
                  </a:lnTo>
                  <a:lnTo>
                    <a:pt x="97" y="100"/>
                  </a:lnTo>
                  <a:lnTo>
                    <a:pt x="98" y="101"/>
                  </a:lnTo>
                  <a:lnTo>
                    <a:pt x="99" y="102"/>
                  </a:lnTo>
                  <a:lnTo>
                    <a:pt x="100" y="103"/>
                  </a:lnTo>
                  <a:lnTo>
                    <a:pt x="102" y="106"/>
                  </a:lnTo>
                  <a:lnTo>
                    <a:pt x="103" y="108"/>
                  </a:lnTo>
                  <a:lnTo>
                    <a:pt x="106" y="112"/>
                  </a:lnTo>
                  <a:lnTo>
                    <a:pt x="107" y="113"/>
                  </a:lnTo>
                  <a:lnTo>
                    <a:pt x="108" y="115"/>
                  </a:lnTo>
                  <a:lnTo>
                    <a:pt x="109" y="116"/>
                  </a:lnTo>
                  <a:lnTo>
                    <a:pt x="109" y="117"/>
                  </a:lnTo>
                  <a:lnTo>
                    <a:pt x="110" y="119"/>
                  </a:lnTo>
                  <a:lnTo>
                    <a:pt x="110" y="120"/>
                  </a:lnTo>
                  <a:lnTo>
                    <a:pt x="112" y="124"/>
                  </a:lnTo>
                  <a:lnTo>
                    <a:pt x="113" y="126"/>
                  </a:lnTo>
                  <a:lnTo>
                    <a:pt x="113" y="127"/>
                  </a:lnTo>
                  <a:lnTo>
                    <a:pt x="114" y="131"/>
                  </a:lnTo>
                  <a:lnTo>
                    <a:pt x="116" y="134"/>
                  </a:lnTo>
                  <a:lnTo>
                    <a:pt x="116" y="135"/>
                  </a:lnTo>
                  <a:lnTo>
                    <a:pt x="117" y="136"/>
                  </a:lnTo>
                  <a:lnTo>
                    <a:pt x="117" y="137"/>
                  </a:lnTo>
                  <a:lnTo>
                    <a:pt x="118" y="137"/>
                  </a:lnTo>
                  <a:lnTo>
                    <a:pt x="119" y="138"/>
                  </a:lnTo>
                  <a:lnTo>
                    <a:pt x="120" y="138"/>
                  </a:lnTo>
                  <a:lnTo>
                    <a:pt x="122" y="140"/>
                  </a:lnTo>
                  <a:lnTo>
                    <a:pt x="124" y="141"/>
                  </a:lnTo>
                  <a:lnTo>
                    <a:pt x="127" y="142"/>
                  </a:lnTo>
                  <a:lnTo>
                    <a:pt x="128" y="142"/>
                  </a:lnTo>
                  <a:lnTo>
                    <a:pt x="129" y="143"/>
                  </a:lnTo>
                  <a:lnTo>
                    <a:pt x="130" y="144"/>
                  </a:lnTo>
                  <a:lnTo>
                    <a:pt x="130" y="145"/>
                  </a:lnTo>
                  <a:lnTo>
                    <a:pt x="131" y="146"/>
                  </a:lnTo>
                  <a:lnTo>
                    <a:pt x="132" y="147"/>
                  </a:lnTo>
                  <a:lnTo>
                    <a:pt x="133" y="148"/>
                  </a:lnTo>
                  <a:lnTo>
                    <a:pt x="133" y="149"/>
                  </a:lnTo>
                  <a:lnTo>
                    <a:pt x="134" y="150"/>
                  </a:lnTo>
                  <a:lnTo>
                    <a:pt x="134" y="151"/>
                  </a:lnTo>
                  <a:lnTo>
                    <a:pt x="136" y="152"/>
                  </a:lnTo>
                  <a:lnTo>
                    <a:pt x="137" y="153"/>
                  </a:lnTo>
                  <a:lnTo>
                    <a:pt x="139" y="154"/>
                  </a:lnTo>
                  <a:lnTo>
                    <a:pt x="140" y="155"/>
                  </a:lnTo>
                  <a:lnTo>
                    <a:pt x="141" y="156"/>
                  </a:lnTo>
                  <a:lnTo>
                    <a:pt x="143" y="156"/>
                  </a:lnTo>
                  <a:lnTo>
                    <a:pt x="144" y="157"/>
                  </a:lnTo>
                  <a:lnTo>
                    <a:pt x="145" y="157"/>
                  </a:lnTo>
                  <a:lnTo>
                    <a:pt x="145" y="157"/>
                  </a:lnTo>
                  <a:lnTo>
                    <a:pt x="146" y="157"/>
                  </a:lnTo>
                  <a:lnTo>
                    <a:pt x="147" y="157"/>
                  </a:lnTo>
                  <a:lnTo>
                    <a:pt x="148" y="157"/>
                  </a:lnTo>
                  <a:lnTo>
                    <a:pt x="152" y="156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5"/>
                  </a:lnTo>
                  <a:lnTo>
                    <a:pt x="157" y="155"/>
                  </a:lnTo>
                  <a:lnTo>
                    <a:pt x="159" y="154"/>
                  </a:lnTo>
                  <a:lnTo>
                    <a:pt x="160" y="153"/>
                  </a:lnTo>
                  <a:lnTo>
                    <a:pt x="161" y="153"/>
                  </a:lnTo>
                  <a:lnTo>
                    <a:pt x="162" y="152"/>
                  </a:lnTo>
                  <a:lnTo>
                    <a:pt x="167" y="147"/>
                  </a:lnTo>
                  <a:lnTo>
                    <a:pt x="168" y="146"/>
                  </a:lnTo>
                  <a:lnTo>
                    <a:pt x="169" y="145"/>
                  </a:lnTo>
                  <a:lnTo>
                    <a:pt x="170" y="145"/>
                  </a:lnTo>
                  <a:lnTo>
                    <a:pt x="171" y="144"/>
                  </a:lnTo>
                  <a:lnTo>
                    <a:pt x="173" y="143"/>
                  </a:lnTo>
                  <a:lnTo>
                    <a:pt x="174" y="142"/>
                  </a:lnTo>
                  <a:lnTo>
                    <a:pt x="177" y="141"/>
                  </a:lnTo>
                  <a:lnTo>
                    <a:pt x="179" y="140"/>
                  </a:lnTo>
                  <a:lnTo>
                    <a:pt x="180" y="140"/>
                  </a:lnTo>
                  <a:lnTo>
                    <a:pt x="181" y="139"/>
                  </a:lnTo>
                  <a:lnTo>
                    <a:pt x="183" y="139"/>
                  </a:lnTo>
                  <a:lnTo>
                    <a:pt x="184" y="139"/>
                  </a:lnTo>
                  <a:lnTo>
                    <a:pt x="184" y="139"/>
                  </a:lnTo>
                  <a:lnTo>
                    <a:pt x="189" y="139"/>
                  </a:lnTo>
                  <a:lnTo>
                    <a:pt x="191" y="139"/>
                  </a:lnTo>
                  <a:lnTo>
                    <a:pt x="192" y="139"/>
                  </a:lnTo>
                  <a:lnTo>
                    <a:pt x="193" y="139"/>
                  </a:lnTo>
                  <a:lnTo>
                    <a:pt x="194" y="139"/>
                  </a:lnTo>
                  <a:lnTo>
                    <a:pt x="194" y="139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7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5" y="134"/>
                  </a:lnTo>
                  <a:lnTo>
                    <a:pt x="195" y="133"/>
                  </a:lnTo>
                  <a:lnTo>
                    <a:pt x="195" y="132"/>
                  </a:lnTo>
                  <a:lnTo>
                    <a:pt x="195" y="132"/>
                  </a:lnTo>
                  <a:lnTo>
                    <a:pt x="194" y="131"/>
                  </a:lnTo>
                  <a:lnTo>
                    <a:pt x="194" y="130"/>
                  </a:lnTo>
                  <a:lnTo>
                    <a:pt x="193" y="130"/>
                  </a:lnTo>
                  <a:lnTo>
                    <a:pt x="193" y="129"/>
                  </a:lnTo>
                  <a:lnTo>
                    <a:pt x="192" y="129"/>
                  </a:lnTo>
                  <a:lnTo>
                    <a:pt x="191" y="129"/>
                  </a:lnTo>
                  <a:lnTo>
                    <a:pt x="190" y="128"/>
                  </a:lnTo>
                  <a:lnTo>
                    <a:pt x="188" y="128"/>
                  </a:lnTo>
                  <a:lnTo>
                    <a:pt x="188" y="128"/>
                  </a:lnTo>
                  <a:lnTo>
                    <a:pt x="187" y="128"/>
                  </a:lnTo>
                  <a:lnTo>
                    <a:pt x="187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6"/>
                  </a:lnTo>
                  <a:lnTo>
                    <a:pt x="185" y="126"/>
                  </a:lnTo>
                  <a:lnTo>
                    <a:pt x="185" y="125"/>
                  </a:lnTo>
                  <a:lnTo>
                    <a:pt x="185" y="124"/>
                  </a:lnTo>
                  <a:lnTo>
                    <a:pt x="185" y="124"/>
                  </a:lnTo>
                  <a:lnTo>
                    <a:pt x="185" y="123"/>
                  </a:lnTo>
                  <a:lnTo>
                    <a:pt x="185" y="122"/>
                  </a:lnTo>
                  <a:lnTo>
                    <a:pt x="185" y="121"/>
                  </a:lnTo>
                  <a:lnTo>
                    <a:pt x="186" y="121"/>
                  </a:lnTo>
                  <a:lnTo>
                    <a:pt x="186" y="120"/>
                  </a:lnTo>
                  <a:lnTo>
                    <a:pt x="187" y="119"/>
                  </a:lnTo>
                  <a:lnTo>
                    <a:pt x="187" y="118"/>
                  </a:lnTo>
                  <a:lnTo>
                    <a:pt x="188" y="118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90" y="117"/>
                  </a:lnTo>
                  <a:lnTo>
                    <a:pt x="191" y="116"/>
                  </a:lnTo>
                  <a:lnTo>
                    <a:pt x="192" y="116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4" y="116"/>
                  </a:lnTo>
                  <a:lnTo>
                    <a:pt x="195" y="117"/>
                  </a:lnTo>
                  <a:lnTo>
                    <a:pt x="197" y="117"/>
                  </a:lnTo>
                  <a:lnTo>
                    <a:pt x="198" y="118"/>
                  </a:lnTo>
                  <a:lnTo>
                    <a:pt x="199" y="118"/>
                  </a:lnTo>
                  <a:lnTo>
                    <a:pt x="200" y="119"/>
                  </a:lnTo>
                  <a:lnTo>
                    <a:pt x="201" y="120"/>
                  </a:lnTo>
                  <a:lnTo>
                    <a:pt x="204" y="122"/>
                  </a:lnTo>
                  <a:lnTo>
                    <a:pt x="205" y="123"/>
                  </a:lnTo>
                  <a:lnTo>
                    <a:pt x="206" y="124"/>
                  </a:lnTo>
                  <a:lnTo>
                    <a:pt x="207" y="125"/>
                  </a:lnTo>
                  <a:lnTo>
                    <a:pt x="208" y="126"/>
                  </a:lnTo>
                  <a:lnTo>
                    <a:pt x="210" y="132"/>
                  </a:lnTo>
                  <a:lnTo>
                    <a:pt x="211" y="133"/>
                  </a:lnTo>
                  <a:lnTo>
                    <a:pt x="211" y="134"/>
                  </a:lnTo>
                  <a:lnTo>
                    <a:pt x="212" y="137"/>
                  </a:lnTo>
                  <a:lnTo>
                    <a:pt x="213" y="138"/>
                  </a:lnTo>
                  <a:lnTo>
                    <a:pt x="213" y="139"/>
                  </a:lnTo>
                  <a:lnTo>
                    <a:pt x="214" y="140"/>
                  </a:lnTo>
                  <a:lnTo>
                    <a:pt x="214" y="142"/>
                  </a:lnTo>
                  <a:lnTo>
                    <a:pt x="215" y="142"/>
                  </a:lnTo>
                  <a:lnTo>
                    <a:pt x="216" y="143"/>
                  </a:lnTo>
                  <a:lnTo>
                    <a:pt x="217" y="143"/>
                  </a:lnTo>
                  <a:lnTo>
                    <a:pt x="217" y="144"/>
                  </a:lnTo>
                  <a:lnTo>
                    <a:pt x="218" y="144"/>
                  </a:lnTo>
                  <a:lnTo>
                    <a:pt x="219" y="145"/>
                  </a:lnTo>
                  <a:lnTo>
                    <a:pt x="219" y="145"/>
                  </a:lnTo>
                  <a:lnTo>
                    <a:pt x="222" y="146"/>
                  </a:lnTo>
                  <a:lnTo>
                    <a:pt x="227" y="148"/>
                  </a:lnTo>
                  <a:lnTo>
                    <a:pt x="228" y="148"/>
                  </a:lnTo>
                  <a:lnTo>
                    <a:pt x="229" y="148"/>
                  </a:lnTo>
                  <a:lnTo>
                    <a:pt x="229" y="148"/>
                  </a:lnTo>
                  <a:lnTo>
                    <a:pt x="230" y="148"/>
                  </a:lnTo>
                  <a:lnTo>
                    <a:pt x="231" y="148"/>
                  </a:lnTo>
                  <a:lnTo>
                    <a:pt x="231" y="147"/>
                  </a:lnTo>
                  <a:lnTo>
                    <a:pt x="232" y="147"/>
                  </a:lnTo>
                  <a:lnTo>
                    <a:pt x="232" y="147"/>
                  </a:lnTo>
                  <a:lnTo>
                    <a:pt x="234" y="146"/>
                  </a:lnTo>
                  <a:lnTo>
                    <a:pt x="235" y="145"/>
                  </a:lnTo>
                  <a:lnTo>
                    <a:pt x="236" y="145"/>
                  </a:lnTo>
                  <a:lnTo>
                    <a:pt x="236" y="145"/>
                  </a:lnTo>
                  <a:lnTo>
                    <a:pt x="237" y="144"/>
                  </a:lnTo>
                  <a:lnTo>
                    <a:pt x="237" y="144"/>
                  </a:lnTo>
                  <a:lnTo>
                    <a:pt x="238" y="144"/>
                  </a:lnTo>
                  <a:lnTo>
                    <a:pt x="239" y="144"/>
                  </a:lnTo>
                  <a:lnTo>
                    <a:pt x="240" y="144"/>
                  </a:lnTo>
                  <a:lnTo>
                    <a:pt x="241" y="145"/>
                  </a:lnTo>
                  <a:lnTo>
                    <a:pt x="242" y="145"/>
                  </a:lnTo>
                  <a:lnTo>
                    <a:pt x="242" y="145"/>
                  </a:lnTo>
                  <a:lnTo>
                    <a:pt x="243" y="146"/>
                  </a:lnTo>
                  <a:lnTo>
                    <a:pt x="243" y="146"/>
                  </a:lnTo>
                  <a:lnTo>
                    <a:pt x="244" y="146"/>
                  </a:lnTo>
                  <a:lnTo>
                    <a:pt x="245" y="147"/>
                  </a:lnTo>
                  <a:lnTo>
                    <a:pt x="245" y="148"/>
                  </a:lnTo>
                  <a:lnTo>
                    <a:pt x="246" y="149"/>
                  </a:lnTo>
                  <a:lnTo>
                    <a:pt x="247" y="151"/>
                  </a:lnTo>
                  <a:lnTo>
                    <a:pt x="248" y="152"/>
                  </a:lnTo>
                  <a:lnTo>
                    <a:pt x="249" y="153"/>
                  </a:lnTo>
                  <a:lnTo>
                    <a:pt x="250" y="153"/>
                  </a:lnTo>
                  <a:lnTo>
                    <a:pt x="250" y="154"/>
                  </a:lnTo>
                  <a:lnTo>
                    <a:pt x="251" y="154"/>
                  </a:lnTo>
                  <a:lnTo>
                    <a:pt x="252" y="155"/>
                  </a:lnTo>
                  <a:lnTo>
                    <a:pt x="253" y="155"/>
                  </a:lnTo>
                  <a:lnTo>
                    <a:pt x="258" y="157"/>
                  </a:lnTo>
                  <a:lnTo>
                    <a:pt x="259" y="157"/>
                  </a:lnTo>
                  <a:lnTo>
                    <a:pt x="260" y="157"/>
                  </a:lnTo>
                  <a:lnTo>
                    <a:pt x="261" y="158"/>
                  </a:lnTo>
                  <a:lnTo>
                    <a:pt x="262" y="159"/>
                  </a:lnTo>
                  <a:lnTo>
                    <a:pt x="263" y="159"/>
                  </a:lnTo>
                  <a:lnTo>
                    <a:pt x="264" y="160"/>
                  </a:lnTo>
                  <a:lnTo>
                    <a:pt x="264" y="160"/>
                  </a:lnTo>
                  <a:lnTo>
                    <a:pt x="265" y="161"/>
                  </a:lnTo>
                  <a:lnTo>
                    <a:pt x="266" y="162"/>
                  </a:lnTo>
                  <a:lnTo>
                    <a:pt x="266" y="163"/>
                  </a:lnTo>
                  <a:lnTo>
                    <a:pt x="267" y="164"/>
                  </a:lnTo>
                  <a:lnTo>
                    <a:pt x="268" y="168"/>
                  </a:lnTo>
                  <a:lnTo>
                    <a:pt x="269" y="169"/>
                  </a:lnTo>
                  <a:lnTo>
                    <a:pt x="269" y="170"/>
                  </a:lnTo>
                  <a:lnTo>
                    <a:pt x="270" y="171"/>
                  </a:lnTo>
                  <a:lnTo>
                    <a:pt x="271" y="172"/>
                  </a:lnTo>
                  <a:lnTo>
                    <a:pt x="271" y="173"/>
                  </a:lnTo>
                  <a:lnTo>
                    <a:pt x="272" y="173"/>
                  </a:lnTo>
                  <a:lnTo>
                    <a:pt x="273" y="174"/>
                  </a:lnTo>
                  <a:lnTo>
                    <a:pt x="274" y="175"/>
                  </a:lnTo>
                  <a:lnTo>
                    <a:pt x="275" y="176"/>
                  </a:lnTo>
                  <a:lnTo>
                    <a:pt x="275" y="176"/>
                  </a:lnTo>
                  <a:lnTo>
                    <a:pt x="276" y="176"/>
                  </a:lnTo>
                  <a:lnTo>
                    <a:pt x="277" y="177"/>
                  </a:lnTo>
                  <a:lnTo>
                    <a:pt x="278" y="177"/>
                  </a:lnTo>
                  <a:lnTo>
                    <a:pt x="279" y="177"/>
                  </a:lnTo>
                  <a:lnTo>
                    <a:pt x="280" y="177"/>
                  </a:lnTo>
                  <a:lnTo>
                    <a:pt x="280" y="177"/>
                  </a:lnTo>
                  <a:lnTo>
                    <a:pt x="281" y="177"/>
                  </a:lnTo>
                  <a:lnTo>
                    <a:pt x="282" y="176"/>
                  </a:lnTo>
                  <a:lnTo>
                    <a:pt x="283" y="175"/>
                  </a:lnTo>
                  <a:lnTo>
                    <a:pt x="285" y="174"/>
                  </a:lnTo>
                  <a:lnTo>
                    <a:pt x="285" y="174"/>
                  </a:lnTo>
                  <a:lnTo>
                    <a:pt x="286" y="173"/>
                  </a:lnTo>
                  <a:lnTo>
                    <a:pt x="286" y="172"/>
                  </a:lnTo>
                  <a:lnTo>
                    <a:pt x="286" y="172"/>
                  </a:lnTo>
                  <a:lnTo>
                    <a:pt x="286" y="171"/>
                  </a:lnTo>
                  <a:lnTo>
                    <a:pt x="286" y="170"/>
                  </a:lnTo>
                  <a:lnTo>
                    <a:pt x="286" y="169"/>
                  </a:lnTo>
                  <a:lnTo>
                    <a:pt x="286" y="168"/>
                  </a:lnTo>
                  <a:lnTo>
                    <a:pt x="286" y="168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7" y="167"/>
                  </a:lnTo>
                  <a:lnTo>
                    <a:pt x="288" y="167"/>
                  </a:lnTo>
                  <a:lnTo>
                    <a:pt x="289" y="167"/>
                  </a:lnTo>
                  <a:lnTo>
                    <a:pt x="290" y="167"/>
                  </a:lnTo>
                  <a:lnTo>
                    <a:pt x="294" y="168"/>
                  </a:lnTo>
                  <a:lnTo>
                    <a:pt x="296" y="169"/>
                  </a:lnTo>
                  <a:lnTo>
                    <a:pt x="297" y="169"/>
                  </a:lnTo>
                  <a:lnTo>
                    <a:pt x="299" y="169"/>
                  </a:lnTo>
                  <a:lnTo>
                    <a:pt x="301" y="169"/>
                  </a:lnTo>
                  <a:lnTo>
                    <a:pt x="306" y="169"/>
                  </a:lnTo>
                  <a:lnTo>
                    <a:pt x="307" y="169"/>
                  </a:lnTo>
                  <a:lnTo>
                    <a:pt x="309" y="170"/>
                  </a:lnTo>
                  <a:lnTo>
                    <a:pt x="310" y="170"/>
                  </a:lnTo>
                  <a:lnTo>
                    <a:pt x="311" y="170"/>
                  </a:lnTo>
                  <a:lnTo>
                    <a:pt x="311" y="170"/>
                  </a:lnTo>
                  <a:lnTo>
                    <a:pt x="312" y="171"/>
                  </a:lnTo>
                  <a:lnTo>
                    <a:pt x="317" y="173"/>
                  </a:lnTo>
                  <a:lnTo>
                    <a:pt x="320" y="175"/>
                  </a:lnTo>
                  <a:lnTo>
                    <a:pt x="322" y="176"/>
                  </a:lnTo>
                  <a:lnTo>
                    <a:pt x="323" y="176"/>
                  </a:lnTo>
                  <a:lnTo>
                    <a:pt x="329" y="181"/>
                  </a:lnTo>
                  <a:lnTo>
                    <a:pt x="330" y="181"/>
                  </a:lnTo>
                  <a:lnTo>
                    <a:pt x="330" y="181"/>
                  </a:lnTo>
                  <a:lnTo>
                    <a:pt x="332" y="182"/>
                  </a:lnTo>
                  <a:lnTo>
                    <a:pt x="333" y="183"/>
                  </a:lnTo>
                  <a:lnTo>
                    <a:pt x="335" y="183"/>
                  </a:lnTo>
                  <a:lnTo>
                    <a:pt x="336" y="183"/>
                  </a:lnTo>
                  <a:lnTo>
                    <a:pt x="338" y="183"/>
                  </a:lnTo>
                  <a:lnTo>
                    <a:pt x="339" y="184"/>
                  </a:lnTo>
                  <a:lnTo>
                    <a:pt x="340" y="184"/>
                  </a:lnTo>
                  <a:lnTo>
                    <a:pt x="341" y="183"/>
                  </a:lnTo>
                  <a:lnTo>
                    <a:pt x="342" y="183"/>
                  </a:lnTo>
                  <a:lnTo>
                    <a:pt x="342" y="183"/>
                  </a:lnTo>
                  <a:lnTo>
                    <a:pt x="343" y="183"/>
                  </a:lnTo>
                  <a:lnTo>
                    <a:pt x="343" y="182"/>
                  </a:lnTo>
                  <a:lnTo>
                    <a:pt x="344" y="182"/>
                  </a:lnTo>
                  <a:lnTo>
                    <a:pt x="344" y="181"/>
                  </a:lnTo>
                  <a:lnTo>
                    <a:pt x="345" y="181"/>
                  </a:lnTo>
                  <a:lnTo>
                    <a:pt x="345" y="181"/>
                  </a:lnTo>
                  <a:lnTo>
                    <a:pt x="345" y="180"/>
                  </a:lnTo>
                  <a:lnTo>
                    <a:pt x="346" y="179"/>
                  </a:lnTo>
                  <a:lnTo>
                    <a:pt x="346" y="177"/>
                  </a:lnTo>
                  <a:lnTo>
                    <a:pt x="347" y="176"/>
                  </a:lnTo>
                  <a:lnTo>
                    <a:pt x="347" y="176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9" y="174"/>
                  </a:lnTo>
                  <a:lnTo>
                    <a:pt x="349" y="174"/>
                  </a:lnTo>
                  <a:lnTo>
                    <a:pt x="350" y="174"/>
                  </a:lnTo>
                  <a:lnTo>
                    <a:pt x="351" y="175"/>
                  </a:lnTo>
                  <a:lnTo>
                    <a:pt x="352" y="175"/>
                  </a:lnTo>
                  <a:lnTo>
                    <a:pt x="352" y="175"/>
                  </a:lnTo>
                  <a:lnTo>
                    <a:pt x="353" y="175"/>
                  </a:lnTo>
                  <a:lnTo>
                    <a:pt x="353" y="176"/>
                  </a:lnTo>
                  <a:lnTo>
                    <a:pt x="354" y="176"/>
                  </a:lnTo>
                  <a:lnTo>
                    <a:pt x="354" y="176"/>
                  </a:lnTo>
                  <a:lnTo>
                    <a:pt x="355" y="177"/>
                  </a:lnTo>
                  <a:lnTo>
                    <a:pt x="355" y="178"/>
                  </a:lnTo>
                  <a:lnTo>
                    <a:pt x="355" y="178"/>
                  </a:lnTo>
                  <a:lnTo>
                    <a:pt x="356" y="179"/>
                  </a:lnTo>
                  <a:lnTo>
                    <a:pt x="356" y="181"/>
                  </a:lnTo>
                  <a:lnTo>
                    <a:pt x="356" y="182"/>
                  </a:lnTo>
                  <a:lnTo>
                    <a:pt x="356" y="183"/>
                  </a:lnTo>
                  <a:lnTo>
                    <a:pt x="356" y="187"/>
                  </a:lnTo>
                  <a:lnTo>
                    <a:pt x="356" y="189"/>
                  </a:lnTo>
                  <a:lnTo>
                    <a:pt x="356" y="191"/>
                  </a:lnTo>
                  <a:lnTo>
                    <a:pt x="356" y="191"/>
                  </a:lnTo>
                  <a:lnTo>
                    <a:pt x="356" y="192"/>
                  </a:lnTo>
                  <a:lnTo>
                    <a:pt x="356" y="192"/>
                  </a:lnTo>
                  <a:lnTo>
                    <a:pt x="357" y="193"/>
                  </a:lnTo>
                  <a:lnTo>
                    <a:pt x="357" y="194"/>
                  </a:lnTo>
                  <a:lnTo>
                    <a:pt x="357" y="195"/>
                  </a:lnTo>
                  <a:lnTo>
                    <a:pt x="358" y="195"/>
                  </a:lnTo>
                  <a:lnTo>
                    <a:pt x="358" y="196"/>
                  </a:lnTo>
                  <a:lnTo>
                    <a:pt x="359" y="196"/>
                  </a:lnTo>
                  <a:lnTo>
                    <a:pt x="359" y="197"/>
                  </a:lnTo>
                  <a:lnTo>
                    <a:pt x="360" y="198"/>
                  </a:lnTo>
                  <a:lnTo>
                    <a:pt x="361" y="199"/>
                  </a:lnTo>
                  <a:lnTo>
                    <a:pt x="362" y="200"/>
                  </a:lnTo>
                  <a:lnTo>
                    <a:pt x="363" y="200"/>
                  </a:lnTo>
                  <a:lnTo>
                    <a:pt x="363" y="201"/>
                  </a:lnTo>
                  <a:lnTo>
                    <a:pt x="363" y="201"/>
                  </a:lnTo>
                  <a:lnTo>
                    <a:pt x="363" y="201"/>
                  </a:lnTo>
                  <a:lnTo>
                    <a:pt x="363" y="202"/>
                  </a:lnTo>
                  <a:lnTo>
                    <a:pt x="363" y="202"/>
                  </a:lnTo>
                  <a:lnTo>
                    <a:pt x="363" y="203"/>
                  </a:lnTo>
                  <a:lnTo>
                    <a:pt x="363" y="204"/>
                  </a:lnTo>
                  <a:lnTo>
                    <a:pt x="361" y="206"/>
                  </a:lnTo>
                  <a:lnTo>
                    <a:pt x="360" y="209"/>
                  </a:lnTo>
                  <a:lnTo>
                    <a:pt x="359" y="212"/>
                  </a:lnTo>
                  <a:lnTo>
                    <a:pt x="359" y="213"/>
                  </a:lnTo>
                  <a:lnTo>
                    <a:pt x="359" y="214"/>
                  </a:lnTo>
                  <a:lnTo>
                    <a:pt x="358" y="215"/>
                  </a:lnTo>
                  <a:lnTo>
                    <a:pt x="358" y="216"/>
                  </a:lnTo>
                  <a:lnTo>
                    <a:pt x="358" y="217"/>
                  </a:lnTo>
                  <a:lnTo>
                    <a:pt x="359" y="219"/>
                  </a:lnTo>
                  <a:lnTo>
                    <a:pt x="359" y="220"/>
                  </a:lnTo>
                  <a:lnTo>
                    <a:pt x="360" y="223"/>
                  </a:lnTo>
                  <a:lnTo>
                    <a:pt x="361" y="224"/>
                  </a:lnTo>
                  <a:lnTo>
                    <a:pt x="361" y="225"/>
                  </a:lnTo>
                  <a:lnTo>
                    <a:pt x="362" y="227"/>
                  </a:lnTo>
                  <a:lnTo>
                    <a:pt x="363" y="230"/>
                  </a:lnTo>
                  <a:lnTo>
                    <a:pt x="365" y="233"/>
                  </a:lnTo>
                  <a:lnTo>
                    <a:pt x="366" y="237"/>
                  </a:lnTo>
                  <a:lnTo>
                    <a:pt x="369" y="243"/>
                  </a:lnTo>
                  <a:lnTo>
                    <a:pt x="372" y="249"/>
                  </a:lnTo>
                  <a:lnTo>
                    <a:pt x="373" y="253"/>
                  </a:lnTo>
                  <a:lnTo>
                    <a:pt x="374" y="254"/>
                  </a:lnTo>
                  <a:lnTo>
                    <a:pt x="374" y="255"/>
                  </a:lnTo>
                  <a:lnTo>
                    <a:pt x="375" y="256"/>
                  </a:lnTo>
                  <a:lnTo>
                    <a:pt x="376" y="261"/>
                  </a:lnTo>
                  <a:lnTo>
                    <a:pt x="376" y="262"/>
                  </a:lnTo>
                  <a:lnTo>
                    <a:pt x="377" y="263"/>
                  </a:lnTo>
                  <a:lnTo>
                    <a:pt x="377" y="264"/>
                  </a:lnTo>
                  <a:lnTo>
                    <a:pt x="377" y="265"/>
                  </a:lnTo>
                  <a:lnTo>
                    <a:pt x="378" y="265"/>
                  </a:lnTo>
                  <a:lnTo>
                    <a:pt x="378" y="266"/>
                  </a:lnTo>
                  <a:lnTo>
                    <a:pt x="379" y="267"/>
                  </a:lnTo>
                  <a:lnTo>
                    <a:pt x="380" y="267"/>
                  </a:lnTo>
                  <a:lnTo>
                    <a:pt x="381" y="268"/>
                  </a:lnTo>
                  <a:lnTo>
                    <a:pt x="381" y="269"/>
                  </a:lnTo>
                  <a:lnTo>
                    <a:pt x="382" y="269"/>
                  </a:lnTo>
                  <a:lnTo>
                    <a:pt x="383" y="269"/>
                  </a:lnTo>
                  <a:lnTo>
                    <a:pt x="384" y="270"/>
                  </a:lnTo>
                  <a:lnTo>
                    <a:pt x="385" y="270"/>
                  </a:lnTo>
                  <a:lnTo>
                    <a:pt x="389" y="272"/>
                  </a:lnTo>
                  <a:lnTo>
                    <a:pt x="391" y="272"/>
                  </a:lnTo>
                  <a:lnTo>
                    <a:pt x="395" y="273"/>
                  </a:lnTo>
                  <a:lnTo>
                    <a:pt x="396" y="273"/>
                  </a:lnTo>
                  <a:lnTo>
                    <a:pt x="397" y="273"/>
                  </a:lnTo>
                  <a:lnTo>
                    <a:pt x="397" y="273"/>
                  </a:lnTo>
                  <a:lnTo>
                    <a:pt x="399" y="274"/>
                  </a:lnTo>
                  <a:lnTo>
                    <a:pt x="400" y="274"/>
                  </a:lnTo>
                  <a:lnTo>
                    <a:pt x="401" y="275"/>
                  </a:lnTo>
                  <a:lnTo>
                    <a:pt x="402" y="277"/>
                  </a:lnTo>
                  <a:lnTo>
                    <a:pt x="404" y="279"/>
                  </a:lnTo>
                  <a:lnTo>
                    <a:pt x="405" y="279"/>
                  </a:lnTo>
                  <a:lnTo>
                    <a:pt x="406" y="280"/>
                  </a:lnTo>
                  <a:lnTo>
                    <a:pt x="406" y="280"/>
                  </a:lnTo>
                  <a:lnTo>
                    <a:pt x="408" y="281"/>
                  </a:lnTo>
                  <a:lnTo>
                    <a:pt x="409" y="282"/>
                  </a:lnTo>
                  <a:lnTo>
                    <a:pt x="411" y="282"/>
                  </a:lnTo>
                  <a:lnTo>
                    <a:pt x="411" y="282"/>
                  </a:lnTo>
                  <a:lnTo>
                    <a:pt x="413" y="282"/>
                  </a:lnTo>
                  <a:lnTo>
                    <a:pt x="413" y="282"/>
                  </a:lnTo>
                  <a:lnTo>
                    <a:pt x="414" y="282"/>
                  </a:lnTo>
                  <a:lnTo>
                    <a:pt x="415" y="282"/>
                  </a:lnTo>
                  <a:lnTo>
                    <a:pt x="418" y="282"/>
                  </a:lnTo>
                  <a:lnTo>
                    <a:pt x="420" y="282"/>
                  </a:lnTo>
                  <a:lnTo>
                    <a:pt x="421" y="282"/>
                  </a:lnTo>
                  <a:lnTo>
                    <a:pt x="422" y="282"/>
                  </a:lnTo>
                  <a:lnTo>
                    <a:pt x="423" y="282"/>
                  </a:lnTo>
                  <a:lnTo>
                    <a:pt x="424" y="282"/>
                  </a:lnTo>
                  <a:lnTo>
                    <a:pt x="425" y="282"/>
                  </a:lnTo>
                  <a:lnTo>
                    <a:pt x="426" y="283"/>
                  </a:lnTo>
                  <a:lnTo>
                    <a:pt x="427" y="283"/>
                  </a:lnTo>
                  <a:lnTo>
                    <a:pt x="428" y="284"/>
                  </a:lnTo>
                  <a:lnTo>
                    <a:pt x="428" y="284"/>
                  </a:lnTo>
                  <a:lnTo>
                    <a:pt x="429" y="285"/>
                  </a:lnTo>
                  <a:lnTo>
                    <a:pt x="430" y="285"/>
                  </a:lnTo>
                  <a:lnTo>
                    <a:pt x="430" y="286"/>
                  </a:lnTo>
                  <a:lnTo>
                    <a:pt x="430" y="287"/>
                  </a:lnTo>
                  <a:lnTo>
                    <a:pt x="431" y="288"/>
                  </a:lnTo>
                  <a:lnTo>
                    <a:pt x="431" y="290"/>
                  </a:lnTo>
                  <a:lnTo>
                    <a:pt x="432" y="292"/>
                  </a:lnTo>
                  <a:lnTo>
                    <a:pt x="433" y="296"/>
                  </a:lnTo>
                  <a:lnTo>
                    <a:pt x="434" y="301"/>
                  </a:lnTo>
                  <a:lnTo>
                    <a:pt x="436" y="310"/>
                  </a:lnTo>
                  <a:lnTo>
                    <a:pt x="438" y="315"/>
                  </a:lnTo>
                  <a:lnTo>
                    <a:pt x="438" y="317"/>
                  </a:lnTo>
                  <a:lnTo>
                    <a:pt x="439" y="318"/>
                  </a:lnTo>
                  <a:lnTo>
                    <a:pt x="439" y="319"/>
                  </a:lnTo>
                  <a:lnTo>
                    <a:pt x="440" y="321"/>
                  </a:lnTo>
                  <a:lnTo>
                    <a:pt x="441" y="322"/>
                  </a:lnTo>
                  <a:lnTo>
                    <a:pt x="441" y="324"/>
                  </a:lnTo>
                  <a:lnTo>
                    <a:pt x="442" y="328"/>
                  </a:lnTo>
                  <a:lnTo>
                    <a:pt x="442" y="329"/>
                  </a:lnTo>
                  <a:lnTo>
                    <a:pt x="442" y="331"/>
                  </a:lnTo>
                  <a:lnTo>
                    <a:pt x="443" y="333"/>
                  </a:lnTo>
                  <a:lnTo>
                    <a:pt x="444" y="335"/>
                  </a:lnTo>
                  <a:lnTo>
                    <a:pt x="445" y="336"/>
                  </a:lnTo>
                  <a:lnTo>
                    <a:pt x="446" y="338"/>
                  </a:lnTo>
                  <a:lnTo>
                    <a:pt x="447" y="340"/>
                  </a:lnTo>
                  <a:lnTo>
                    <a:pt x="448" y="341"/>
                  </a:lnTo>
                  <a:lnTo>
                    <a:pt x="448" y="343"/>
                  </a:lnTo>
                  <a:lnTo>
                    <a:pt x="448" y="344"/>
                  </a:lnTo>
                  <a:lnTo>
                    <a:pt x="448" y="345"/>
                  </a:lnTo>
                  <a:lnTo>
                    <a:pt x="448" y="346"/>
                  </a:lnTo>
                  <a:lnTo>
                    <a:pt x="448" y="346"/>
                  </a:lnTo>
                  <a:lnTo>
                    <a:pt x="447" y="348"/>
                  </a:lnTo>
                  <a:lnTo>
                    <a:pt x="447" y="350"/>
                  </a:lnTo>
                  <a:lnTo>
                    <a:pt x="446" y="352"/>
                  </a:lnTo>
                  <a:lnTo>
                    <a:pt x="445" y="355"/>
                  </a:lnTo>
                  <a:lnTo>
                    <a:pt x="445" y="355"/>
                  </a:lnTo>
                  <a:lnTo>
                    <a:pt x="445" y="356"/>
                  </a:lnTo>
                  <a:lnTo>
                    <a:pt x="445" y="356"/>
                  </a:lnTo>
                  <a:lnTo>
                    <a:pt x="444" y="356"/>
                  </a:lnTo>
                  <a:lnTo>
                    <a:pt x="443" y="357"/>
                  </a:lnTo>
                  <a:lnTo>
                    <a:pt x="443" y="357"/>
                  </a:lnTo>
                  <a:lnTo>
                    <a:pt x="442" y="357"/>
                  </a:lnTo>
                  <a:lnTo>
                    <a:pt x="439" y="358"/>
                  </a:lnTo>
                  <a:lnTo>
                    <a:pt x="437" y="359"/>
                  </a:lnTo>
                  <a:lnTo>
                    <a:pt x="436" y="359"/>
                  </a:lnTo>
                  <a:lnTo>
                    <a:pt x="435" y="360"/>
                  </a:lnTo>
                  <a:lnTo>
                    <a:pt x="431" y="362"/>
                  </a:lnTo>
                  <a:lnTo>
                    <a:pt x="429" y="363"/>
                  </a:lnTo>
                  <a:lnTo>
                    <a:pt x="427" y="364"/>
                  </a:lnTo>
                  <a:lnTo>
                    <a:pt x="423" y="367"/>
                  </a:lnTo>
                  <a:lnTo>
                    <a:pt x="422" y="368"/>
                  </a:lnTo>
                  <a:lnTo>
                    <a:pt x="421" y="368"/>
                  </a:lnTo>
                  <a:lnTo>
                    <a:pt x="419" y="369"/>
                  </a:lnTo>
                  <a:lnTo>
                    <a:pt x="418" y="369"/>
                  </a:lnTo>
                  <a:lnTo>
                    <a:pt x="417" y="369"/>
                  </a:lnTo>
                  <a:lnTo>
                    <a:pt x="416" y="369"/>
                  </a:lnTo>
                  <a:lnTo>
                    <a:pt x="416" y="369"/>
                  </a:lnTo>
                  <a:lnTo>
                    <a:pt x="415" y="369"/>
                  </a:lnTo>
                  <a:lnTo>
                    <a:pt x="414" y="369"/>
                  </a:lnTo>
                  <a:lnTo>
                    <a:pt x="412" y="369"/>
                  </a:lnTo>
                  <a:lnTo>
                    <a:pt x="408" y="367"/>
                  </a:lnTo>
                  <a:lnTo>
                    <a:pt x="407" y="367"/>
                  </a:lnTo>
                  <a:lnTo>
                    <a:pt x="406" y="367"/>
                  </a:lnTo>
                  <a:lnTo>
                    <a:pt x="404" y="367"/>
                  </a:lnTo>
                  <a:lnTo>
                    <a:pt x="401" y="366"/>
                  </a:lnTo>
                  <a:lnTo>
                    <a:pt x="398" y="366"/>
                  </a:lnTo>
                  <a:lnTo>
                    <a:pt x="396" y="366"/>
                  </a:lnTo>
                  <a:lnTo>
                    <a:pt x="395" y="366"/>
                  </a:lnTo>
                  <a:lnTo>
                    <a:pt x="393" y="366"/>
                  </a:lnTo>
                  <a:lnTo>
                    <a:pt x="390" y="366"/>
                  </a:lnTo>
                  <a:lnTo>
                    <a:pt x="384" y="368"/>
                  </a:lnTo>
                  <a:lnTo>
                    <a:pt x="382" y="368"/>
                  </a:lnTo>
                  <a:lnTo>
                    <a:pt x="380" y="368"/>
                  </a:lnTo>
                  <a:lnTo>
                    <a:pt x="379" y="368"/>
                  </a:lnTo>
                  <a:lnTo>
                    <a:pt x="378" y="368"/>
                  </a:lnTo>
                  <a:lnTo>
                    <a:pt x="377" y="368"/>
                  </a:lnTo>
                  <a:lnTo>
                    <a:pt x="376" y="368"/>
                  </a:lnTo>
                  <a:lnTo>
                    <a:pt x="375" y="368"/>
                  </a:lnTo>
                  <a:lnTo>
                    <a:pt x="374" y="367"/>
                  </a:lnTo>
                  <a:lnTo>
                    <a:pt x="372" y="366"/>
                  </a:lnTo>
                  <a:lnTo>
                    <a:pt x="371" y="366"/>
                  </a:lnTo>
                  <a:lnTo>
                    <a:pt x="370" y="366"/>
                  </a:lnTo>
                  <a:lnTo>
                    <a:pt x="369" y="366"/>
                  </a:lnTo>
                  <a:lnTo>
                    <a:pt x="368" y="366"/>
                  </a:lnTo>
                  <a:lnTo>
                    <a:pt x="367" y="366"/>
                  </a:lnTo>
                  <a:lnTo>
                    <a:pt x="366" y="366"/>
                  </a:lnTo>
                  <a:lnTo>
                    <a:pt x="365" y="366"/>
                  </a:lnTo>
                  <a:lnTo>
                    <a:pt x="364" y="366"/>
                  </a:lnTo>
                  <a:lnTo>
                    <a:pt x="363" y="366"/>
                  </a:lnTo>
                  <a:lnTo>
                    <a:pt x="362" y="366"/>
                  </a:lnTo>
                  <a:lnTo>
                    <a:pt x="362" y="367"/>
                  </a:lnTo>
                  <a:lnTo>
                    <a:pt x="361" y="367"/>
                  </a:lnTo>
                  <a:lnTo>
                    <a:pt x="360" y="368"/>
                  </a:lnTo>
                  <a:lnTo>
                    <a:pt x="359" y="369"/>
                  </a:lnTo>
                  <a:lnTo>
                    <a:pt x="358" y="370"/>
                  </a:lnTo>
                  <a:lnTo>
                    <a:pt x="357" y="370"/>
                  </a:lnTo>
                  <a:lnTo>
                    <a:pt x="357" y="371"/>
                  </a:lnTo>
                  <a:lnTo>
                    <a:pt x="356" y="372"/>
                  </a:lnTo>
                  <a:lnTo>
                    <a:pt x="356" y="373"/>
                  </a:lnTo>
                  <a:lnTo>
                    <a:pt x="356" y="374"/>
                  </a:lnTo>
                  <a:lnTo>
                    <a:pt x="355" y="374"/>
                  </a:lnTo>
                  <a:lnTo>
                    <a:pt x="355" y="375"/>
                  </a:lnTo>
                  <a:lnTo>
                    <a:pt x="355" y="376"/>
                  </a:lnTo>
                  <a:lnTo>
                    <a:pt x="355" y="377"/>
                  </a:lnTo>
                  <a:lnTo>
                    <a:pt x="355" y="380"/>
                  </a:lnTo>
                  <a:lnTo>
                    <a:pt x="355" y="381"/>
                  </a:lnTo>
                  <a:lnTo>
                    <a:pt x="355" y="382"/>
                  </a:lnTo>
                  <a:lnTo>
                    <a:pt x="355" y="383"/>
                  </a:lnTo>
                  <a:lnTo>
                    <a:pt x="355" y="384"/>
                  </a:lnTo>
                  <a:lnTo>
                    <a:pt x="354" y="385"/>
                  </a:lnTo>
                  <a:lnTo>
                    <a:pt x="354" y="386"/>
                  </a:lnTo>
                  <a:lnTo>
                    <a:pt x="353" y="387"/>
                  </a:lnTo>
                  <a:lnTo>
                    <a:pt x="352" y="389"/>
                  </a:lnTo>
                  <a:lnTo>
                    <a:pt x="350" y="392"/>
                  </a:lnTo>
                  <a:lnTo>
                    <a:pt x="349" y="393"/>
                  </a:lnTo>
                  <a:lnTo>
                    <a:pt x="346" y="397"/>
                  </a:lnTo>
                  <a:lnTo>
                    <a:pt x="343" y="400"/>
                  </a:lnTo>
                  <a:lnTo>
                    <a:pt x="342" y="401"/>
                  </a:lnTo>
                  <a:lnTo>
                    <a:pt x="341" y="403"/>
                  </a:lnTo>
                  <a:lnTo>
                    <a:pt x="339" y="406"/>
                  </a:lnTo>
                  <a:lnTo>
                    <a:pt x="337" y="410"/>
                  </a:lnTo>
                  <a:lnTo>
                    <a:pt x="336" y="411"/>
                  </a:lnTo>
                  <a:lnTo>
                    <a:pt x="335" y="412"/>
                  </a:lnTo>
                  <a:lnTo>
                    <a:pt x="334" y="413"/>
                  </a:lnTo>
                  <a:lnTo>
                    <a:pt x="333" y="414"/>
                  </a:lnTo>
                  <a:lnTo>
                    <a:pt x="332" y="415"/>
                  </a:lnTo>
                  <a:lnTo>
                    <a:pt x="331" y="416"/>
                  </a:lnTo>
                  <a:lnTo>
                    <a:pt x="330" y="416"/>
                  </a:lnTo>
                  <a:lnTo>
                    <a:pt x="329" y="417"/>
                  </a:lnTo>
                  <a:lnTo>
                    <a:pt x="328" y="418"/>
                  </a:lnTo>
                  <a:lnTo>
                    <a:pt x="327" y="418"/>
                  </a:lnTo>
                  <a:lnTo>
                    <a:pt x="326" y="418"/>
                  </a:lnTo>
                  <a:lnTo>
                    <a:pt x="324" y="419"/>
                  </a:lnTo>
                  <a:lnTo>
                    <a:pt x="323" y="419"/>
                  </a:lnTo>
                  <a:lnTo>
                    <a:pt x="322" y="419"/>
                  </a:lnTo>
                  <a:lnTo>
                    <a:pt x="321" y="419"/>
                  </a:lnTo>
                  <a:lnTo>
                    <a:pt x="320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5" y="419"/>
                  </a:lnTo>
                  <a:lnTo>
                    <a:pt x="315" y="419"/>
                  </a:lnTo>
                  <a:lnTo>
                    <a:pt x="314" y="418"/>
                  </a:lnTo>
                  <a:lnTo>
                    <a:pt x="313" y="418"/>
                  </a:lnTo>
                  <a:lnTo>
                    <a:pt x="312" y="417"/>
                  </a:lnTo>
                  <a:lnTo>
                    <a:pt x="311" y="416"/>
                  </a:lnTo>
                  <a:lnTo>
                    <a:pt x="310" y="416"/>
                  </a:lnTo>
                  <a:lnTo>
                    <a:pt x="309" y="415"/>
                  </a:lnTo>
                  <a:lnTo>
                    <a:pt x="309" y="414"/>
                  </a:lnTo>
                  <a:lnTo>
                    <a:pt x="308" y="414"/>
                  </a:lnTo>
                  <a:lnTo>
                    <a:pt x="308" y="413"/>
                  </a:lnTo>
                  <a:lnTo>
                    <a:pt x="307" y="412"/>
                  </a:lnTo>
                  <a:lnTo>
                    <a:pt x="307" y="412"/>
                  </a:lnTo>
                  <a:lnTo>
                    <a:pt x="306" y="410"/>
                  </a:lnTo>
                  <a:lnTo>
                    <a:pt x="304" y="406"/>
                  </a:lnTo>
                  <a:lnTo>
                    <a:pt x="304" y="405"/>
                  </a:lnTo>
                  <a:lnTo>
                    <a:pt x="304" y="405"/>
                  </a:lnTo>
                  <a:lnTo>
                    <a:pt x="303" y="404"/>
                  </a:lnTo>
                  <a:lnTo>
                    <a:pt x="303" y="403"/>
                  </a:lnTo>
                  <a:lnTo>
                    <a:pt x="301" y="400"/>
                  </a:lnTo>
                  <a:lnTo>
                    <a:pt x="300" y="399"/>
                  </a:lnTo>
                  <a:lnTo>
                    <a:pt x="299" y="399"/>
                  </a:lnTo>
                  <a:lnTo>
                    <a:pt x="298" y="398"/>
                  </a:lnTo>
                  <a:lnTo>
                    <a:pt x="297" y="397"/>
                  </a:lnTo>
                  <a:lnTo>
                    <a:pt x="292" y="394"/>
                  </a:lnTo>
                  <a:lnTo>
                    <a:pt x="291" y="393"/>
                  </a:lnTo>
                  <a:lnTo>
                    <a:pt x="290" y="392"/>
                  </a:lnTo>
                  <a:lnTo>
                    <a:pt x="289" y="391"/>
                  </a:lnTo>
                  <a:lnTo>
                    <a:pt x="289" y="390"/>
                  </a:lnTo>
                  <a:lnTo>
                    <a:pt x="288" y="389"/>
                  </a:lnTo>
                  <a:lnTo>
                    <a:pt x="287" y="388"/>
                  </a:lnTo>
                  <a:lnTo>
                    <a:pt x="286" y="386"/>
                  </a:lnTo>
                  <a:lnTo>
                    <a:pt x="284" y="382"/>
                  </a:lnTo>
                  <a:lnTo>
                    <a:pt x="283" y="381"/>
                  </a:lnTo>
                  <a:lnTo>
                    <a:pt x="283" y="380"/>
                  </a:lnTo>
                  <a:lnTo>
                    <a:pt x="282" y="380"/>
                  </a:lnTo>
                  <a:lnTo>
                    <a:pt x="281" y="379"/>
                  </a:lnTo>
                  <a:lnTo>
                    <a:pt x="280" y="379"/>
                  </a:lnTo>
                  <a:lnTo>
                    <a:pt x="279" y="378"/>
                  </a:lnTo>
                  <a:lnTo>
                    <a:pt x="278" y="378"/>
                  </a:lnTo>
                  <a:lnTo>
                    <a:pt x="277" y="377"/>
                  </a:lnTo>
                  <a:lnTo>
                    <a:pt x="276" y="377"/>
                  </a:lnTo>
                  <a:lnTo>
                    <a:pt x="275" y="377"/>
                  </a:lnTo>
                  <a:lnTo>
                    <a:pt x="275" y="377"/>
                  </a:lnTo>
                  <a:lnTo>
                    <a:pt x="273" y="378"/>
                  </a:lnTo>
                  <a:lnTo>
                    <a:pt x="270" y="378"/>
                  </a:lnTo>
                  <a:lnTo>
                    <a:pt x="269" y="379"/>
                  </a:lnTo>
                  <a:lnTo>
                    <a:pt x="268" y="379"/>
                  </a:lnTo>
                  <a:lnTo>
                    <a:pt x="267" y="379"/>
                  </a:lnTo>
                  <a:lnTo>
                    <a:pt x="266" y="379"/>
                  </a:lnTo>
                  <a:lnTo>
                    <a:pt x="265" y="379"/>
                  </a:lnTo>
                  <a:lnTo>
                    <a:pt x="262" y="378"/>
                  </a:lnTo>
                  <a:lnTo>
                    <a:pt x="261" y="378"/>
                  </a:lnTo>
                  <a:lnTo>
                    <a:pt x="255" y="377"/>
                  </a:lnTo>
                  <a:lnTo>
                    <a:pt x="254" y="377"/>
                  </a:lnTo>
                  <a:lnTo>
                    <a:pt x="253" y="376"/>
                  </a:lnTo>
                  <a:lnTo>
                    <a:pt x="251" y="376"/>
                  </a:lnTo>
                  <a:lnTo>
                    <a:pt x="251" y="375"/>
                  </a:lnTo>
                  <a:lnTo>
                    <a:pt x="250" y="375"/>
                  </a:lnTo>
                  <a:lnTo>
                    <a:pt x="248" y="374"/>
                  </a:lnTo>
                  <a:lnTo>
                    <a:pt x="244" y="371"/>
                  </a:lnTo>
                  <a:lnTo>
                    <a:pt x="243" y="370"/>
                  </a:lnTo>
                  <a:lnTo>
                    <a:pt x="242" y="370"/>
                  </a:lnTo>
                  <a:lnTo>
                    <a:pt x="241" y="369"/>
                  </a:lnTo>
                  <a:lnTo>
                    <a:pt x="240" y="369"/>
                  </a:lnTo>
                  <a:lnTo>
                    <a:pt x="239" y="369"/>
                  </a:lnTo>
                  <a:lnTo>
                    <a:pt x="238" y="368"/>
                  </a:lnTo>
                  <a:lnTo>
                    <a:pt x="235" y="368"/>
                  </a:lnTo>
                  <a:lnTo>
                    <a:pt x="234" y="368"/>
                  </a:lnTo>
                  <a:lnTo>
                    <a:pt x="233" y="368"/>
                  </a:lnTo>
                  <a:lnTo>
                    <a:pt x="229" y="367"/>
                  </a:lnTo>
                  <a:lnTo>
                    <a:pt x="228" y="367"/>
                  </a:lnTo>
                  <a:lnTo>
                    <a:pt x="227" y="367"/>
                  </a:lnTo>
                  <a:lnTo>
                    <a:pt x="225" y="367"/>
                  </a:lnTo>
                  <a:lnTo>
                    <a:pt x="222" y="367"/>
                  </a:lnTo>
                  <a:lnTo>
                    <a:pt x="219" y="367"/>
                  </a:lnTo>
                  <a:lnTo>
                    <a:pt x="217" y="367"/>
                  </a:lnTo>
                  <a:lnTo>
                    <a:pt x="213" y="368"/>
                  </a:lnTo>
                  <a:lnTo>
                    <a:pt x="210" y="369"/>
                  </a:lnTo>
                  <a:lnTo>
                    <a:pt x="206" y="370"/>
                  </a:lnTo>
                  <a:lnTo>
                    <a:pt x="199" y="372"/>
                  </a:lnTo>
                  <a:lnTo>
                    <a:pt x="198" y="372"/>
                  </a:lnTo>
                  <a:lnTo>
                    <a:pt x="196" y="372"/>
                  </a:lnTo>
                  <a:lnTo>
                    <a:pt x="195" y="372"/>
                  </a:lnTo>
                  <a:lnTo>
                    <a:pt x="194" y="373"/>
                  </a:lnTo>
                  <a:lnTo>
                    <a:pt x="193" y="372"/>
                  </a:lnTo>
                  <a:lnTo>
                    <a:pt x="193" y="372"/>
                  </a:lnTo>
                  <a:lnTo>
                    <a:pt x="192" y="372"/>
                  </a:lnTo>
                  <a:lnTo>
                    <a:pt x="191" y="371"/>
                  </a:lnTo>
                  <a:lnTo>
                    <a:pt x="191" y="371"/>
                  </a:lnTo>
                  <a:lnTo>
                    <a:pt x="190" y="371"/>
                  </a:lnTo>
                  <a:lnTo>
                    <a:pt x="190" y="370"/>
                  </a:lnTo>
                  <a:lnTo>
                    <a:pt x="189" y="369"/>
                  </a:lnTo>
                  <a:lnTo>
                    <a:pt x="188" y="366"/>
                  </a:lnTo>
                  <a:lnTo>
                    <a:pt x="187" y="366"/>
                  </a:lnTo>
                  <a:lnTo>
                    <a:pt x="187" y="365"/>
                  </a:lnTo>
                  <a:lnTo>
                    <a:pt x="186" y="364"/>
                  </a:lnTo>
                  <a:lnTo>
                    <a:pt x="185" y="363"/>
                  </a:lnTo>
                  <a:lnTo>
                    <a:pt x="184" y="362"/>
                  </a:lnTo>
                  <a:lnTo>
                    <a:pt x="182" y="361"/>
                  </a:lnTo>
                  <a:lnTo>
                    <a:pt x="181" y="361"/>
                  </a:lnTo>
                  <a:lnTo>
                    <a:pt x="180" y="360"/>
                  </a:lnTo>
                  <a:lnTo>
                    <a:pt x="179" y="360"/>
                  </a:lnTo>
                  <a:lnTo>
                    <a:pt x="177" y="359"/>
                  </a:lnTo>
                  <a:lnTo>
                    <a:pt x="175" y="359"/>
                  </a:lnTo>
                  <a:lnTo>
                    <a:pt x="174" y="359"/>
                  </a:lnTo>
                  <a:lnTo>
                    <a:pt x="172" y="359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0" y="359"/>
                  </a:lnTo>
                  <a:lnTo>
                    <a:pt x="169" y="359"/>
                  </a:lnTo>
                  <a:lnTo>
                    <a:pt x="169" y="359"/>
                  </a:lnTo>
                  <a:lnTo>
                    <a:pt x="167" y="360"/>
                  </a:lnTo>
                  <a:lnTo>
                    <a:pt x="167" y="360"/>
                  </a:lnTo>
                  <a:lnTo>
                    <a:pt x="166" y="359"/>
                  </a:lnTo>
                  <a:lnTo>
                    <a:pt x="166" y="359"/>
                  </a:lnTo>
                  <a:lnTo>
                    <a:pt x="165" y="356"/>
                  </a:lnTo>
                  <a:lnTo>
                    <a:pt x="163" y="353"/>
                  </a:lnTo>
                  <a:lnTo>
                    <a:pt x="163" y="352"/>
                  </a:lnTo>
                  <a:lnTo>
                    <a:pt x="162" y="351"/>
                  </a:lnTo>
                  <a:lnTo>
                    <a:pt x="161" y="350"/>
                  </a:lnTo>
                  <a:lnTo>
                    <a:pt x="160" y="349"/>
                  </a:lnTo>
                  <a:lnTo>
                    <a:pt x="160" y="349"/>
                  </a:lnTo>
                  <a:lnTo>
                    <a:pt x="160" y="349"/>
                  </a:lnTo>
                  <a:lnTo>
                    <a:pt x="159" y="349"/>
                  </a:lnTo>
                  <a:lnTo>
                    <a:pt x="159" y="348"/>
                  </a:lnTo>
                  <a:lnTo>
                    <a:pt x="158" y="348"/>
                  </a:lnTo>
                  <a:lnTo>
                    <a:pt x="158" y="348"/>
                  </a:lnTo>
                  <a:lnTo>
                    <a:pt x="157" y="349"/>
                  </a:lnTo>
                  <a:lnTo>
                    <a:pt x="156" y="349"/>
                  </a:lnTo>
                  <a:lnTo>
                    <a:pt x="155" y="349"/>
                  </a:lnTo>
                  <a:lnTo>
                    <a:pt x="154" y="350"/>
                  </a:lnTo>
                  <a:lnTo>
                    <a:pt x="153" y="351"/>
                  </a:lnTo>
                  <a:lnTo>
                    <a:pt x="151" y="353"/>
                  </a:lnTo>
                  <a:lnTo>
                    <a:pt x="150" y="353"/>
                  </a:lnTo>
                  <a:lnTo>
                    <a:pt x="150" y="353"/>
                  </a:lnTo>
                  <a:lnTo>
                    <a:pt x="150" y="353"/>
                  </a:lnTo>
                  <a:lnTo>
                    <a:pt x="149" y="353"/>
                  </a:lnTo>
                  <a:lnTo>
                    <a:pt x="148" y="353"/>
                  </a:lnTo>
                  <a:lnTo>
                    <a:pt x="148" y="353"/>
                  </a:lnTo>
                  <a:lnTo>
                    <a:pt x="148" y="352"/>
                  </a:lnTo>
                  <a:lnTo>
                    <a:pt x="147" y="352"/>
                  </a:lnTo>
                  <a:lnTo>
                    <a:pt x="147" y="351"/>
                  </a:lnTo>
                  <a:lnTo>
                    <a:pt x="146" y="350"/>
                  </a:lnTo>
                  <a:lnTo>
                    <a:pt x="146" y="349"/>
                  </a:lnTo>
                  <a:lnTo>
                    <a:pt x="146" y="349"/>
                  </a:lnTo>
                  <a:lnTo>
                    <a:pt x="146" y="348"/>
                  </a:lnTo>
                  <a:lnTo>
                    <a:pt x="147" y="347"/>
                  </a:lnTo>
                  <a:lnTo>
                    <a:pt x="147" y="346"/>
                  </a:lnTo>
                  <a:lnTo>
                    <a:pt x="148" y="345"/>
                  </a:lnTo>
                  <a:lnTo>
                    <a:pt x="148" y="344"/>
                  </a:lnTo>
                  <a:lnTo>
                    <a:pt x="148" y="343"/>
                  </a:lnTo>
                  <a:lnTo>
                    <a:pt x="148" y="343"/>
                  </a:lnTo>
                  <a:lnTo>
                    <a:pt x="148" y="342"/>
                  </a:lnTo>
                  <a:lnTo>
                    <a:pt x="148" y="341"/>
                  </a:lnTo>
                  <a:lnTo>
                    <a:pt x="148" y="341"/>
                  </a:lnTo>
                  <a:lnTo>
                    <a:pt x="147" y="340"/>
                  </a:lnTo>
                  <a:lnTo>
                    <a:pt x="146" y="337"/>
                  </a:lnTo>
                  <a:lnTo>
                    <a:pt x="144" y="334"/>
                  </a:lnTo>
                  <a:lnTo>
                    <a:pt x="143" y="332"/>
                  </a:lnTo>
                  <a:lnTo>
                    <a:pt x="141" y="330"/>
                  </a:lnTo>
                  <a:lnTo>
                    <a:pt x="140" y="329"/>
                  </a:lnTo>
                  <a:lnTo>
                    <a:pt x="138" y="327"/>
                  </a:lnTo>
                  <a:lnTo>
                    <a:pt x="135" y="324"/>
                  </a:lnTo>
                  <a:lnTo>
                    <a:pt x="134" y="322"/>
                  </a:lnTo>
                  <a:lnTo>
                    <a:pt x="132" y="322"/>
                  </a:lnTo>
                  <a:lnTo>
                    <a:pt x="125" y="316"/>
                  </a:lnTo>
                  <a:lnTo>
                    <a:pt x="124" y="315"/>
                  </a:lnTo>
                  <a:lnTo>
                    <a:pt x="123" y="315"/>
                  </a:lnTo>
                  <a:lnTo>
                    <a:pt x="123" y="314"/>
                  </a:lnTo>
                  <a:lnTo>
                    <a:pt x="122" y="313"/>
                  </a:lnTo>
                  <a:lnTo>
                    <a:pt x="121" y="311"/>
                  </a:lnTo>
                  <a:lnTo>
                    <a:pt x="120" y="310"/>
                  </a:lnTo>
                  <a:lnTo>
                    <a:pt x="119" y="308"/>
                  </a:lnTo>
                  <a:lnTo>
                    <a:pt x="118" y="307"/>
                  </a:lnTo>
                  <a:lnTo>
                    <a:pt x="118" y="306"/>
                  </a:lnTo>
                  <a:lnTo>
                    <a:pt x="117" y="304"/>
                  </a:lnTo>
                  <a:lnTo>
                    <a:pt x="115" y="303"/>
                  </a:lnTo>
                  <a:lnTo>
                    <a:pt x="114" y="302"/>
                  </a:lnTo>
                  <a:lnTo>
                    <a:pt x="114" y="301"/>
                  </a:lnTo>
                  <a:lnTo>
                    <a:pt x="113" y="300"/>
                  </a:lnTo>
                  <a:lnTo>
                    <a:pt x="112" y="300"/>
                  </a:lnTo>
                  <a:lnTo>
                    <a:pt x="112" y="299"/>
                  </a:lnTo>
                  <a:lnTo>
                    <a:pt x="111" y="299"/>
                  </a:lnTo>
                  <a:lnTo>
                    <a:pt x="111" y="299"/>
                  </a:lnTo>
                  <a:lnTo>
                    <a:pt x="111" y="299"/>
                  </a:lnTo>
                  <a:lnTo>
                    <a:pt x="110" y="299"/>
                  </a:lnTo>
                  <a:lnTo>
                    <a:pt x="110" y="300"/>
                  </a:lnTo>
                  <a:lnTo>
                    <a:pt x="109" y="300"/>
                  </a:lnTo>
                  <a:lnTo>
                    <a:pt x="108" y="301"/>
                  </a:lnTo>
                  <a:lnTo>
                    <a:pt x="107" y="301"/>
                  </a:lnTo>
                  <a:lnTo>
                    <a:pt x="107" y="301"/>
                  </a:lnTo>
                  <a:lnTo>
                    <a:pt x="106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4" y="302"/>
                  </a:lnTo>
                  <a:lnTo>
                    <a:pt x="103" y="301"/>
                  </a:lnTo>
                  <a:lnTo>
                    <a:pt x="102" y="301"/>
                  </a:lnTo>
                  <a:lnTo>
                    <a:pt x="101" y="300"/>
                  </a:lnTo>
                  <a:lnTo>
                    <a:pt x="100" y="299"/>
                  </a:lnTo>
                  <a:lnTo>
                    <a:pt x="99" y="299"/>
                  </a:lnTo>
                  <a:lnTo>
                    <a:pt x="98" y="298"/>
                  </a:lnTo>
                  <a:lnTo>
                    <a:pt x="97" y="297"/>
                  </a:lnTo>
                  <a:lnTo>
                    <a:pt x="97" y="297"/>
                  </a:lnTo>
                  <a:lnTo>
                    <a:pt x="96" y="296"/>
                  </a:lnTo>
                  <a:lnTo>
                    <a:pt x="96" y="295"/>
                  </a:lnTo>
                  <a:lnTo>
                    <a:pt x="95" y="294"/>
                  </a:lnTo>
                  <a:lnTo>
                    <a:pt x="95" y="293"/>
                  </a:lnTo>
                  <a:lnTo>
                    <a:pt x="95" y="291"/>
                  </a:lnTo>
                  <a:lnTo>
                    <a:pt x="94" y="289"/>
                  </a:lnTo>
                  <a:lnTo>
                    <a:pt x="94" y="288"/>
                  </a:lnTo>
                  <a:lnTo>
                    <a:pt x="94" y="286"/>
                  </a:lnTo>
                  <a:lnTo>
                    <a:pt x="94" y="285"/>
                  </a:lnTo>
                  <a:lnTo>
                    <a:pt x="94" y="284"/>
                  </a:lnTo>
                  <a:lnTo>
                    <a:pt x="94" y="283"/>
                  </a:lnTo>
                  <a:lnTo>
                    <a:pt x="94" y="282"/>
                  </a:lnTo>
                  <a:lnTo>
                    <a:pt x="95" y="280"/>
                  </a:lnTo>
                  <a:lnTo>
                    <a:pt x="96" y="276"/>
                  </a:lnTo>
                  <a:lnTo>
                    <a:pt x="96" y="275"/>
                  </a:lnTo>
                  <a:lnTo>
                    <a:pt x="96" y="274"/>
                  </a:lnTo>
                  <a:lnTo>
                    <a:pt x="96" y="273"/>
                  </a:lnTo>
                  <a:lnTo>
                    <a:pt x="96" y="272"/>
                  </a:lnTo>
                  <a:lnTo>
                    <a:pt x="96" y="271"/>
                  </a:lnTo>
                  <a:lnTo>
                    <a:pt x="96" y="269"/>
                  </a:lnTo>
                  <a:lnTo>
                    <a:pt x="96" y="268"/>
                  </a:lnTo>
                  <a:lnTo>
                    <a:pt x="95" y="266"/>
                  </a:lnTo>
                  <a:lnTo>
                    <a:pt x="95" y="265"/>
                  </a:lnTo>
                  <a:lnTo>
                    <a:pt x="94" y="264"/>
                  </a:lnTo>
                  <a:lnTo>
                    <a:pt x="94" y="263"/>
                  </a:lnTo>
                  <a:lnTo>
                    <a:pt x="93" y="262"/>
                  </a:lnTo>
                  <a:lnTo>
                    <a:pt x="93" y="261"/>
                  </a:lnTo>
                  <a:lnTo>
                    <a:pt x="92" y="260"/>
                  </a:lnTo>
                  <a:lnTo>
                    <a:pt x="92" y="260"/>
                  </a:lnTo>
                  <a:lnTo>
                    <a:pt x="91" y="259"/>
                  </a:lnTo>
                  <a:lnTo>
                    <a:pt x="91" y="259"/>
                  </a:lnTo>
                  <a:lnTo>
                    <a:pt x="90" y="259"/>
                  </a:lnTo>
                  <a:lnTo>
                    <a:pt x="90" y="259"/>
                  </a:lnTo>
                  <a:lnTo>
                    <a:pt x="89" y="259"/>
                  </a:lnTo>
                  <a:lnTo>
                    <a:pt x="88" y="259"/>
                  </a:lnTo>
                  <a:lnTo>
                    <a:pt x="88" y="259"/>
                  </a:lnTo>
                  <a:lnTo>
                    <a:pt x="85" y="260"/>
                  </a:lnTo>
                  <a:lnTo>
                    <a:pt x="84" y="260"/>
                  </a:lnTo>
                  <a:lnTo>
                    <a:pt x="79" y="262"/>
                  </a:lnTo>
                  <a:lnTo>
                    <a:pt x="78" y="262"/>
                  </a:lnTo>
                  <a:lnTo>
                    <a:pt x="76" y="263"/>
                  </a:lnTo>
                  <a:lnTo>
                    <a:pt x="74" y="264"/>
                  </a:lnTo>
                  <a:lnTo>
                    <a:pt x="72" y="265"/>
                  </a:lnTo>
                  <a:lnTo>
                    <a:pt x="71" y="265"/>
                  </a:lnTo>
                  <a:lnTo>
                    <a:pt x="70" y="265"/>
                  </a:lnTo>
                  <a:lnTo>
                    <a:pt x="70" y="265"/>
                  </a:lnTo>
                  <a:lnTo>
                    <a:pt x="69" y="265"/>
                  </a:lnTo>
                  <a:lnTo>
                    <a:pt x="68" y="265"/>
                  </a:lnTo>
                  <a:lnTo>
                    <a:pt x="65" y="264"/>
                  </a:lnTo>
                  <a:lnTo>
                    <a:pt x="64" y="264"/>
                  </a:lnTo>
                  <a:lnTo>
                    <a:pt x="63" y="264"/>
                  </a:lnTo>
                  <a:lnTo>
                    <a:pt x="61" y="263"/>
                  </a:lnTo>
                  <a:lnTo>
                    <a:pt x="57" y="261"/>
                  </a:lnTo>
                  <a:lnTo>
                    <a:pt x="56" y="261"/>
                  </a:lnTo>
                  <a:lnTo>
                    <a:pt x="55" y="260"/>
                  </a:lnTo>
                  <a:lnTo>
                    <a:pt x="54" y="259"/>
                  </a:lnTo>
                  <a:lnTo>
                    <a:pt x="53" y="258"/>
                  </a:lnTo>
                  <a:lnTo>
                    <a:pt x="52" y="257"/>
                  </a:lnTo>
                  <a:lnTo>
                    <a:pt x="51" y="257"/>
                  </a:lnTo>
                  <a:lnTo>
                    <a:pt x="50" y="256"/>
                  </a:lnTo>
                  <a:lnTo>
                    <a:pt x="48" y="255"/>
                  </a:lnTo>
                  <a:lnTo>
                    <a:pt x="47" y="255"/>
                  </a:lnTo>
                  <a:lnTo>
                    <a:pt x="46" y="254"/>
                  </a:lnTo>
                  <a:lnTo>
                    <a:pt x="46" y="254"/>
                  </a:lnTo>
                  <a:lnTo>
                    <a:pt x="45" y="253"/>
                  </a:lnTo>
                  <a:lnTo>
                    <a:pt x="44" y="252"/>
                  </a:lnTo>
                  <a:lnTo>
                    <a:pt x="44" y="251"/>
                  </a:lnTo>
                  <a:lnTo>
                    <a:pt x="43" y="249"/>
                  </a:lnTo>
                  <a:lnTo>
                    <a:pt x="42" y="248"/>
                  </a:lnTo>
                  <a:lnTo>
                    <a:pt x="41" y="247"/>
                  </a:lnTo>
                  <a:lnTo>
                    <a:pt x="38" y="244"/>
                  </a:lnTo>
                  <a:lnTo>
                    <a:pt x="38" y="244"/>
                  </a:lnTo>
                  <a:lnTo>
                    <a:pt x="38" y="243"/>
                  </a:lnTo>
                  <a:lnTo>
                    <a:pt x="37" y="242"/>
                  </a:lnTo>
                  <a:lnTo>
                    <a:pt x="37" y="241"/>
                  </a:lnTo>
                  <a:lnTo>
                    <a:pt x="37" y="240"/>
                  </a:lnTo>
                  <a:lnTo>
                    <a:pt x="37" y="238"/>
                  </a:lnTo>
                  <a:lnTo>
                    <a:pt x="37" y="238"/>
                  </a:lnTo>
                  <a:lnTo>
                    <a:pt x="36" y="237"/>
                  </a:lnTo>
                  <a:lnTo>
                    <a:pt x="36" y="236"/>
                  </a:lnTo>
                  <a:lnTo>
                    <a:pt x="36" y="236"/>
                  </a:lnTo>
                  <a:lnTo>
                    <a:pt x="35" y="235"/>
                  </a:lnTo>
                  <a:lnTo>
                    <a:pt x="35" y="234"/>
                  </a:lnTo>
                  <a:lnTo>
                    <a:pt x="33" y="232"/>
                  </a:lnTo>
                  <a:lnTo>
                    <a:pt x="33" y="231"/>
                  </a:lnTo>
                  <a:lnTo>
                    <a:pt x="32" y="229"/>
                  </a:lnTo>
                  <a:lnTo>
                    <a:pt x="32" y="228"/>
                  </a:lnTo>
                  <a:lnTo>
                    <a:pt x="32" y="226"/>
                  </a:lnTo>
                  <a:lnTo>
                    <a:pt x="32" y="226"/>
                  </a:lnTo>
                  <a:lnTo>
                    <a:pt x="32" y="224"/>
                  </a:lnTo>
                  <a:lnTo>
                    <a:pt x="32" y="222"/>
                  </a:lnTo>
                  <a:lnTo>
                    <a:pt x="31" y="221"/>
                  </a:lnTo>
                  <a:lnTo>
                    <a:pt x="31" y="220"/>
                  </a:lnTo>
                  <a:lnTo>
                    <a:pt x="30" y="218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6" y="211"/>
                  </a:lnTo>
                  <a:lnTo>
                    <a:pt x="26" y="211"/>
                  </a:lnTo>
                  <a:lnTo>
                    <a:pt x="25" y="211"/>
                  </a:lnTo>
                  <a:lnTo>
                    <a:pt x="24" y="211"/>
                  </a:lnTo>
                  <a:lnTo>
                    <a:pt x="23" y="211"/>
                  </a:lnTo>
                  <a:lnTo>
                    <a:pt x="23" y="211"/>
                  </a:lnTo>
                  <a:lnTo>
                    <a:pt x="22" y="211"/>
                  </a:lnTo>
                  <a:lnTo>
                    <a:pt x="22" y="212"/>
                  </a:lnTo>
                  <a:lnTo>
                    <a:pt x="21" y="213"/>
                  </a:lnTo>
                  <a:lnTo>
                    <a:pt x="21" y="213"/>
                  </a:lnTo>
                  <a:lnTo>
                    <a:pt x="21" y="214"/>
                  </a:lnTo>
                  <a:lnTo>
                    <a:pt x="22" y="215"/>
                  </a:lnTo>
                  <a:lnTo>
                    <a:pt x="23" y="222"/>
                  </a:lnTo>
                  <a:lnTo>
                    <a:pt x="24" y="223"/>
                  </a:lnTo>
                  <a:lnTo>
                    <a:pt x="24" y="224"/>
                  </a:lnTo>
                  <a:lnTo>
                    <a:pt x="24" y="225"/>
                  </a:lnTo>
                  <a:lnTo>
                    <a:pt x="24" y="226"/>
                  </a:lnTo>
                  <a:lnTo>
                    <a:pt x="23" y="226"/>
                  </a:lnTo>
                  <a:lnTo>
                    <a:pt x="23" y="227"/>
                  </a:lnTo>
                  <a:lnTo>
                    <a:pt x="23" y="227"/>
                  </a:lnTo>
                  <a:lnTo>
                    <a:pt x="22" y="228"/>
                  </a:lnTo>
                  <a:lnTo>
                    <a:pt x="21" y="229"/>
                  </a:lnTo>
                  <a:lnTo>
                    <a:pt x="21" y="230"/>
                  </a:lnTo>
                  <a:lnTo>
                    <a:pt x="20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8" y="230"/>
                  </a:lnTo>
                  <a:lnTo>
                    <a:pt x="17" y="230"/>
                  </a:lnTo>
                  <a:lnTo>
                    <a:pt x="17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5" y="230"/>
                  </a:lnTo>
                  <a:lnTo>
                    <a:pt x="14" y="231"/>
                  </a:lnTo>
                  <a:lnTo>
                    <a:pt x="14" y="231"/>
                  </a:lnTo>
                  <a:lnTo>
                    <a:pt x="12" y="232"/>
                  </a:lnTo>
                  <a:lnTo>
                    <a:pt x="12" y="232"/>
                  </a:lnTo>
                  <a:lnTo>
                    <a:pt x="11" y="233"/>
                  </a:lnTo>
                  <a:lnTo>
                    <a:pt x="11" y="233"/>
                  </a:lnTo>
                  <a:lnTo>
                    <a:pt x="10" y="234"/>
                  </a:lnTo>
                  <a:lnTo>
                    <a:pt x="10" y="235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7"/>
                  </a:lnTo>
                  <a:lnTo>
                    <a:pt x="8" y="238"/>
                  </a:lnTo>
                  <a:lnTo>
                    <a:pt x="6" y="240"/>
                  </a:lnTo>
                  <a:lnTo>
                    <a:pt x="6" y="240"/>
                  </a:lnTo>
                  <a:lnTo>
                    <a:pt x="5" y="241"/>
                  </a:lnTo>
                  <a:lnTo>
                    <a:pt x="4" y="243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2" y="244"/>
                  </a:lnTo>
                  <a:lnTo>
                    <a:pt x="2" y="244"/>
                  </a:lnTo>
                  <a:lnTo>
                    <a:pt x="1" y="244"/>
                  </a:lnTo>
                  <a:lnTo>
                    <a:pt x="1" y="244"/>
                  </a:lnTo>
                  <a:lnTo>
                    <a:pt x="0" y="244"/>
                  </a:lnTo>
                  <a:lnTo>
                    <a:pt x="0" y="244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Freeform 75">
              <a:extLst>
                <a:ext uri="{FF2B5EF4-FFF2-40B4-BE49-F238E27FC236}">
                  <a16:creationId xmlns:a16="http://schemas.microsoft.com/office/drawing/2014/main" id="{76245EC0-7445-3A62-8ECC-7AE9571CB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192"/>
              <a:ext cx="156" cy="244"/>
            </a:xfrm>
            <a:custGeom>
              <a:avLst/>
              <a:gdLst>
                <a:gd name="T0" fmla="*/ 65 w 156"/>
                <a:gd name="T1" fmla="*/ 239 h 244"/>
                <a:gd name="T2" fmla="*/ 64 w 156"/>
                <a:gd name="T3" fmla="*/ 235 h 244"/>
                <a:gd name="T4" fmla="*/ 66 w 156"/>
                <a:gd name="T5" fmla="*/ 223 h 244"/>
                <a:gd name="T6" fmla="*/ 65 w 156"/>
                <a:gd name="T7" fmla="*/ 220 h 244"/>
                <a:gd name="T8" fmla="*/ 61 w 156"/>
                <a:gd name="T9" fmla="*/ 217 h 244"/>
                <a:gd name="T10" fmla="*/ 56 w 156"/>
                <a:gd name="T11" fmla="*/ 217 h 244"/>
                <a:gd name="T12" fmla="*/ 50 w 156"/>
                <a:gd name="T13" fmla="*/ 220 h 244"/>
                <a:gd name="T14" fmla="*/ 44 w 156"/>
                <a:gd name="T15" fmla="*/ 223 h 244"/>
                <a:gd name="T16" fmla="*/ 35 w 156"/>
                <a:gd name="T17" fmla="*/ 231 h 244"/>
                <a:gd name="T18" fmla="*/ 32 w 156"/>
                <a:gd name="T19" fmla="*/ 234 h 244"/>
                <a:gd name="T20" fmla="*/ 22 w 156"/>
                <a:gd name="T21" fmla="*/ 235 h 244"/>
                <a:gd name="T22" fmla="*/ 20 w 156"/>
                <a:gd name="T23" fmla="*/ 234 h 244"/>
                <a:gd name="T24" fmla="*/ 19 w 156"/>
                <a:gd name="T25" fmla="*/ 230 h 244"/>
                <a:gd name="T26" fmla="*/ 20 w 156"/>
                <a:gd name="T27" fmla="*/ 222 h 244"/>
                <a:gd name="T28" fmla="*/ 19 w 156"/>
                <a:gd name="T29" fmla="*/ 221 h 244"/>
                <a:gd name="T30" fmla="*/ 13 w 156"/>
                <a:gd name="T31" fmla="*/ 222 h 244"/>
                <a:gd name="T32" fmla="*/ 9 w 156"/>
                <a:gd name="T33" fmla="*/ 222 h 244"/>
                <a:gd name="T34" fmla="*/ 5 w 156"/>
                <a:gd name="T35" fmla="*/ 217 h 244"/>
                <a:gd name="T36" fmla="*/ 0 w 156"/>
                <a:gd name="T37" fmla="*/ 211 h 244"/>
                <a:gd name="T38" fmla="*/ 0 w 156"/>
                <a:gd name="T39" fmla="*/ 208 h 244"/>
                <a:gd name="T40" fmla="*/ 2 w 156"/>
                <a:gd name="T41" fmla="*/ 201 h 244"/>
                <a:gd name="T42" fmla="*/ 4 w 156"/>
                <a:gd name="T43" fmla="*/ 195 h 244"/>
                <a:gd name="T44" fmla="*/ 4 w 156"/>
                <a:gd name="T45" fmla="*/ 190 h 244"/>
                <a:gd name="T46" fmla="*/ 10 w 156"/>
                <a:gd name="T47" fmla="*/ 182 h 244"/>
                <a:gd name="T48" fmla="*/ 12 w 156"/>
                <a:gd name="T49" fmla="*/ 177 h 244"/>
                <a:gd name="T50" fmla="*/ 11 w 156"/>
                <a:gd name="T51" fmla="*/ 174 h 244"/>
                <a:gd name="T52" fmla="*/ 9 w 156"/>
                <a:gd name="T53" fmla="*/ 170 h 244"/>
                <a:gd name="T54" fmla="*/ 3 w 156"/>
                <a:gd name="T55" fmla="*/ 162 h 244"/>
                <a:gd name="T56" fmla="*/ 2 w 156"/>
                <a:gd name="T57" fmla="*/ 160 h 244"/>
                <a:gd name="T58" fmla="*/ 4 w 156"/>
                <a:gd name="T59" fmla="*/ 149 h 244"/>
                <a:gd name="T60" fmla="*/ 8 w 156"/>
                <a:gd name="T61" fmla="*/ 142 h 244"/>
                <a:gd name="T62" fmla="*/ 17 w 156"/>
                <a:gd name="T63" fmla="*/ 130 h 244"/>
                <a:gd name="T64" fmla="*/ 19 w 156"/>
                <a:gd name="T65" fmla="*/ 124 h 244"/>
                <a:gd name="T66" fmla="*/ 20 w 156"/>
                <a:gd name="T67" fmla="*/ 114 h 244"/>
                <a:gd name="T68" fmla="*/ 20 w 156"/>
                <a:gd name="T69" fmla="*/ 104 h 244"/>
                <a:gd name="T70" fmla="*/ 23 w 156"/>
                <a:gd name="T71" fmla="*/ 96 h 244"/>
                <a:gd name="T72" fmla="*/ 24 w 156"/>
                <a:gd name="T73" fmla="*/ 88 h 244"/>
                <a:gd name="T74" fmla="*/ 34 w 156"/>
                <a:gd name="T75" fmla="*/ 76 h 244"/>
                <a:gd name="T76" fmla="*/ 40 w 156"/>
                <a:gd name="T77" fmla="*/ 71 h 244"/>
                <a:gd name="T78" fmla="*/ 46 w 156"/>
                <a:gd name="T79" fmla="*/ 66 h 244"/>
                <a:gd name="T80" fmla="*/ 52 w 156"/>
                <a:gd name="T81" fmla="*/ 63 h 244"/>
                <a:gd name="T82" fmla="*/ 60 w 156"/>
                <a:gd name="T83" fmla="*/ 54 h 244"/>
                <a:gd name="T84" fmla="*/ 64 w 156"/>
                <a:gd name="T85" fmla="*/ 52 h 244"/>
                <a:gd name="T86" fmla="*/ 70 w 156"/>
                <a:gd name="T87" fmla="*/ 53 h 244"/>
                <a:gd name="T88" fmla="*/ 74 w 156"/>
                <a:gd name="T89" fmla="*/ 52 h 244"/>
                <a:gd name="T90" fmla="*/ 76 w 156"/>
                <a:gd name="T91" fmla="*/ 48 h 244"/>
                <a:gd name="T92" fmla="*/ 77 w 156"/>
                <a:gd name="T93" fmla="*/ 34 h 244"/>
                <a:gd name="T94" fmla="*/ 79 w 156"/>
                <a:gd name="T95" fmla="*/ 33 h 244"/>
                <a:gd name="T96" fmla="*/ 86 w 156"/>
                <a:gd name="T97" fmla="*/ 28 h 244"/>
                <a:gd name="T98" fmla="*/ 96 w 156"/>
                <a:gd name="T99" fmla="*/ 24 h 244"/>
                <a:gd name="T100" fmla="*/ 104 w 156"/>
                <a:gd name="T101" fmla="*/ 24 h 244"/>
                <a:gd name="T102" fmla="*/ 116 w 156"/>
                <a:gd name="T103" fmla="*/ 24 h 244"/>
                <a:gd name="T104" fmla="*/ 124 w 156"/>
                <a:gd name="T105" fmla="*/ 22 h 244"/>
                <a:gd name="T106" fmla="*/ 129 w 156"/>
                <a:gd name="T107" fmla="*/ 24 h 244"/>
                <a:gd name="T108" fmla="*/ 136 w 156"/>
                <a:gd name="T109" fmla="*/ 23 h 244"/>
                <a:gd name="T110" fmla="*/ 144 w 156"/>
                <a:gd name="T111" fmla="*/ 18 h 244"/>
                <a:gd name="T112" fmla="*/ 150 w 156"/>
                <a:gd name="T113" fmla="*/ 11 h 244"/>
                <a:gd name="T114" fmla="*/ 153 w 156"/>
                <a:gd name="T115" fmla="*/ 2 h 244"/>
                <a:gd name="T116" fmla="*/ 155 w 156"/>
                <a:gd name="T117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6" h="244">
                  <a:moveTo>
                    <a:pt x="68" y="244"/>
                  </a:moveTo>
                  <a:lnTo>
                    <a:pt x="67" y="243"/>
                  </a:lnTo>
                  <a:lnTo>
                    <a:pt x="66" y="242"/>
                  </a:lnTo>
                  <a:lnTo>
                    <a:pt x="65" y="241"/>
                  </a:lnTo>
                  <a:lnTo>
                    <a:pt x="65" y="239"/>
                  </a:lnTo>
                  <a:lnTo>
                    <a:pt x="64" y="238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2"/>
                  </a:lnTo>
                  <a:lnTo>
                    <a:pt x="65" y="228"/>
                  </a:lnTo>
                  <a:lnTo>
                    <a:pt x="66" y="226"/>
                  </a:lnTo>
                  <a:lnTo>
                    <a:pt x="66" y="224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2"/>
                  </a:lnTo>
                  <a:lnTo>
                    <a:pt x="66" y="221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8" y="217"/>
                  </a:lnTo>
                  <a:lnTo>
                    <a:pt x="56" y="217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3" y="218"/>
                  </a:lnTo>
                  <a:lnTo>
                    <a:pt x="51" y="219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8" y="220"/>
                  </a:lnTo>
                  <a:lnTo>
                    <a:pt x="47" y="221"/>
                  </a:lnTo>
                  <a:lnTo>
                    <a:pt x="45" y="222"/>
                  </a:lnTo>
                  <a:lnTo>
                    <a:pt x="44" y="223"/>
                  </a:lnTo>
                  <a:lnTo>
                    <a:pt x="41" y="226"/>
                  </a:lnTo>
                  <a:lnTo>
                    <a:pt x="38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5" y="231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3" y="234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1" y="235"/>
                  </a:lnTo>
                  <a:lnTo>
                    <a:pt x="30" y="235"/>
                  </a:lnTo>
                  <a:lnTo>
                    <a:pt x="27" y="235"/>
                  </a:lnTo>
                  <a:lnTo>
                    <a:pt x="23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1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19" y="232"/>
                  </a:lnTo>
                  <a:lnTo>
                    <a:pt x="19" y="231"/>
                  </a:lnTo>
                  <a:lnTo>
                    <a:pt x="19" y="230"/>
                  </a:lnTo>
                  <a:lnTo>
                    <a:pt x="19" y="229"/>
                  </a:lnTo>
                  <a:lnTo>
                    <a:pt x="20" y="226"/>
                  </a:lnTo>
                  <a:lnTo>
                    <a:pt x="20" y="224"/>
                  </a:lnTo>
                  <a:lnTo>
                    <a:pt x="20" y="223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0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6" y="222"/>
                  </a:lnTo>
                  <a:lnTo>
                    <a:pt x="15" y="222"/>
                  </a:lnTo>
                  <a:lnTo>
                    <a:pt x="13" y="222"/>
                  </a:lnTo>
                  <a:lnTo>
                    <a:pt x="12" y="223"/>
                  </a:lnTo>
                  <a:lnTo>
                    <a:pt x="11" y="223"/>
                  </a:lnTo>
                  <a:lnTo>
                    <a:pt x="10" y="223"/>
                  </a:lnTo>
                  <a:lnTo>
                    <a:pt x="10" y="222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8" y="221"/>
                  </a:lnTo>
                  <a:lnTo>
                    <a:pt x="7" y="220"/>
                  </a:lnTo>
                  <a:lnTo>
                    <a:pt x="6" y="220"/>
                  </a:lnTo>
                  <a:lnTo>
                    <a:pt x="5" y="217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0" y="206"/>
                  </a:lnTo>
                  <a:lnTo>
                    <a:pt x="0" y="205"/>
                  </a:lnTo>
                  <a:lnTo>
                    <a:pt x="1" y="204"/>
                  </a:lnTo>
                  <a:lnTo>
                    <a:pt x="2" y="201"/>
                  </a:lnTo>
                  <a:lnTo>
                    <a:pt x="3" y="199"/>
                  </a:lnTo>
                  <a:lnTo>
                    <a:pt x="3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4" y="193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6" y="188"/>
                  </a:lnTo>
                  <a:lnTo>
                    <a:pt x="7" y="186"/>
                  </a:lnTo>
                  <a:lnTo>
                    <a:pt x="9" y="183"/>
                  </a:lnTo>
                  <a:lnTo>
                    <a:pt x="10" y="182"/>
                  </a:lnTo>
                  <a:lnTo>
                    <a:pt x="10" y="181"/>
                  </a:lnTo>
                  <a:lnTo>
                    <a:pt x="11" y="180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7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5"/>
                  </a:lnTo>
                  <a:lnTo>
                    <a:pt x="12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0" y="172"/>
                  </a:lnTo>
                  <a:lnTo>
                    <a:pt x="10" y="171"/>
                  </a:lnTo>
                  <a:lnTo>
                    <a:pt x="9" y="170"/>
                  </a:lnTo>
                  <a:lnTo>
                    <a:pt x="5" y="166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3" y="156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7"/>
                  </a:lnTo>
                  <a:lnTo>
                    <a:pt x="6" y="145"/>
                  </a:lnTo>
                  <a:lnTo>
                    <a:pt x="7" y="143"/>
                  </a:lnTo>
                  <a:lnTo>
                    <a:pt x="8" y="142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18" y="129"/>
                  </a:lnTo>
                  <a:lnTo>
                    <a:pt x="18" y="128"/>
                  </a:lnTo>
                  <a:lnTo>
                    <a:pt x="19" y="127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20" y="123"/>
                  </a:lnTo>
                  <a:lnTo>
                    <a:pt x="20" y="122"/>
                  </a:lnTo>
                  <a:lnTo>
                    <a:pt x="20" y="120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9" y="106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3"/>
                  </a:lnTo>
                  <a:lnTo>
                    <a:pt x="22" y="99"/>
                  </a:lnTo>
                  <a:lnTo>
                    <a:pt x="23" y="98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7" y="84"/>
                  </a:lnTo>
                  <a:lnTo>
                    <a:pt x="32" y="78"/>
                  </a:lnTo>
                  <a:lnTo>
                    <a:pt x="34" y="76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8" y="72"/>
                  </a:lnTo>
                  <a:lnTo>
                    <a:pt x="39" y="71"/>
                  </a:lnTo>
                  <a:lnTo>
                    <a:pt x="40" y="71"/>
                  </a:lnTo>
                  <a:lnTo>
                    <a:pt x="42" y="68"/>
                  </a:lnTo>
                  <a:lnTo>
                    <a:pt x="43" y="68"/>
                  </a:lnTo>
                  <a:lnTo>
                    <a:pt x="44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8" y="57"/>
                  </a:lnTo>
                  <a:lnTo>
                    <a:pt x="59" y="55"/>
                  </a:lnTo>
                  <a:lnTo>
                    <a:pt x="60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49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5"/>
                  </a:lnTo>
                  <a:lnTo>
                    <a:pt x="77" y="42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8" y="27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7" y="23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8" y="24"/>
                  </a:lnTo>
                  <a:lnTo>
                    <a:pt x="129" y="24"/>
                  </a:lnTo>
                  <a:lnTo>
                    <a:pt x="131" y="24"/>
                  </a:lnTo>
                  <a:lnTo>
                    <a:pt x="132" y="24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6" y="23"/>
                  </a:lnTo>
                  <a:lnTo>
                    <a:pt x="137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2" y="19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9" y="12"/>
                  </a:lnTo>
                  <a:lnTo>
                    <a:pt x="150" y="11"/>
                  </a:lnTo>
                  <a:lnTo>
                    <a:pt x="151" y="10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7"/>
                  </a:lnTo>
                  <a:lnTo>
                    <a:pt x="153" y="2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6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Rectangle 76">
              <a:extLst>
                <a:ext uri="{FF2B5EF4-FFF2-40B4-BE49-F238E27FC236}">
                  <a16:creationId xmlns:a16="http://schemas.microsoft.com/office/drawing/2014/main" id="{D5567E8A-799B-7A08-6CCF-A2AC2C57DF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0" y="3398"/>
              <a:ext cx="121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C</a:t>
              </a:r>
            </a:p>
          </p:txBody>
        </p:sp>
        <p:sp>
          <p:nvSpPr>
            <p:cNvPr id="217" name="Rectangle 77">
              <a:extLst>
                <a:ext uri="{FF2B5EF4-FFF2-40B4-BE49-F238E27FC236}">
                  <a16:creationId xmlns:a16="http://schemas.microsoft.com/office/drawing/2014/main" id="{2213AFC1-6F01-3761-6ACD-2267F49DCB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7" y="3742"/>
              <a:ext cx="119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HC</a:t>
              </a:r>
            </a:p>
          </p:txBody>
        </p:sp>
        <p:sp>
          <p:nvSpPr>
            <p:cNvPr id="218" name="Rectangle 78">
              <a:extLst>
                <a:ext uri="{FF2B5EF4-FFF2-40B4-BE49-F238E27FC236}">
                  <a16:creationId xmlns:a16="http://schemas.microsoft.com/office/drawing/2014/main" id="{8EDDCE95-8806-9543-3452-49E17AD102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8" y="3503"/>
              <a:ext cx="122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LK</a:t>
              </a:r>
            </a:p>
          </p:txBody>
        </p:sp>
        <p:sp>
          <p:nvSpPr>
            <p:cNvPr id="219" name="Rectangle 79">
              <a:extLst>
                <a:ext uri="{FF2B5EF4-FFF2-40B4-BE49-F238E27FC236}">
                  <a16:creationId xmlns:a16="http://schemas.microsoft.com/office/drawing/2014/main" id="{190C9B19-2F82-CE0F-27BE-7C65F4ADC1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77" y="3735"/>
              <a:ext cx="141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MK</a:t>
              </a:r>
            </a:p>
          </p:txBody>
        </p:sp>
        <p:sp>
          <p:nvSpPr>
            <p:cNvPr id="220" name="Rectangle 80">
              <a:extLst>
                <a:ext uri="{FF2B5EF4-FFF2-40B4-BE49-F238E27FC236}">
                  <a16:creationId xmlns:a16="http://schemas.microsoft.com/office/drawing/2014/main" id="{B08BDB2B-76B3-9B8D-BDC2-3DE809E860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2" y="3571"/>
              <a:ext cx="128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YS</a:t>
              </a:r>
            </a:p>
          </p:txBody>
        </p:sp>
        <p:sp>
          <p:nvSpPr>
            <p:cNvPr id="221" name="Rectangle 81">
              <a:extLst>
                <a:ext uri="{FF2B5EF4-FFF2-40B4-BE49-F238E27FC236}">
                  <a16:creationId xmlns:a16="http://schemas.microsoft.com/office/drawing/2014/main" id="{240C0D35-B7C7-6865-75BE-89E310D39A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2" y="3675"/>
              <a:ext cx="117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ZLK</a:t>
              </a:r>
            </a:p>
          </p:txBody>
        </p:sp>
        <p:sp>
          <p:nvSpPr>
            <p:cNvPr id="222" name="Rectangle 82">
              <a:extLst>
                <a:ext uri="{FF2B5EF4-FFF2-40B4-BE49-F238E27FC236}">
                  <a16:creationId xmlns:a16="http://schemas.microsoft.com/office/drawing/2014/main" id="{8DCB7E69-8FF6-DCA8-CFFD-E14B9ABD33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7" y="3080"/>
              <a:ext cx="131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LK</a:t>
              </a:r>
            </a:p>
          </p:txBody>
        </p:sp>
        <p:sp>
          <p:nvSpPr>
            <p:cNvPr id="223" name="Rectangle 83">
              <a:extLst>
                <a:ext uri="{FF2B5EF4-FFF2-40B4-BE49-F238E27FC236}">
                  <a16:creationId xmlns:a16="http://schemas.microsoft.com/office/drawing/2014/main" id="{B44082BE-5CF2-B510-F7E5-822332E419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9" y="3411"/>
              <a:ext cx="153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SK</a:t>
              </a:r>
            </a:p>
          </p:txBody>
        </p:sp>
        <p:sp>
          <p:nvSpPr>
            <p:cNvPr id="224" name="Rectangle 84">
              <a:extLst>
                <a:ext uri="{FF2B5EF4-FFF2-40B4-BE49-F238E27FC236}">
                  <a16:creationId xmlns:a16="http://schemas.microsoft.com/office/drawing/2014/main" id="{8C76C3A0-2531-0D1F-8CB8-92B093BB3E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" y="3490"/>
              <a:ext cx="133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LK</a:t>
              </a:r>
            </a:p>
          </p:txBody>
        </p:sp>
        <p:sp>
          <p:nvSpPr>
            <p:cNvPr id="225" name="Rectangle 85">
              <a:extLst>
                <a:ext uri="{FF2B5EF4-FFF2-40B4-BE49-F238E27FC236}">
                  <a16:creationId xmlns:a16="http://schemas.microsoft.com/office/drawing/2014/main" id="{FCECFB08-190B-38B6-8DF1-7CC4D83E73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6" y="3363"/>
              <a:ext cx="136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K</a:t>
              </a:r>
            </a:p>
          </p:txBody>
        </p:sp>
        <p:sp>
          <p:nvSpPr>
            <p:cNvPr id="226" name="Rectangle 86">
              <a:extLst>
                <a:ext uri="{FF2B5EF4-FFF2-40B4-BE49-F238E27FC236}">
                  <a16:creationId xmlns:a16="http://schemas.microsoft.com/office/drawing/2014/main" id="{23C26539-3196-475A-F09C-DAC530BB7E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3" y="3152"/>
              <a:ext cx="139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KK</a:t>
              </a:r>
            </a:p>
          </p:txBody>
        </p:sp>
        <p:sp>
          <p:nvSpPr>
            <p:cNvPr id="227" name="Rectangle 87">
              <a:extLst>
                <a:ext uri="{FF2B5EF4-FFF2-40B4-BE49-F238E27FC236}">
                  <a16:creationId xmlns:a16="http://schemas.microsoft.com/office/drawing/2014/main" id="{A827F561-17B7-036A-7743-CB9BFAA744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1" y="2974"/>
              <a:ext cx="124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BK</a:t>
              </a:r>
            </a:p>
          </p:txBody>
        </p:sp>
        <p:sp>
          <p:nvSpPr>
            <p:cNvPr id="228" name="Rectangle 88">
              <a:extLst>
                <a:ext uri="{FF2B5EF4-FFF2-40B4-BE49-F238E27FC236}">
                  <a16:creationId xmlns:a16="http://schemas.microsoft.com/office/drawing/2014/main" id="{16A99CA5-BC42-16D2-D43F-58D57CE726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" y="3216"/>
              <a:ext cx="136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VK</a:t>
              </a:r>
            </a:p>
          </p:txBody>
        </p:sp>
      </p:grpSp>
      <p:sp>
        <p:nvSpPr>
          <p:cNvPr id="229" name="TextovéPole 228">
            <a:extLst>
              <a:ext uri="{FF2B5EF4-FFF2-40B4-BE49-F238E27FC236}">
                <a16:creationId xmlns:a16="http://schemas.microsoft.com/office/drawing/2014/main" id="{2CAFD6CF-CF70-D489-6AAE-67C951C30A50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611690" y="1513413"/>
            <a:ext cx="1959575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raj bydliště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9" name="TextovéPole 128">
            <a:extLst>
              <a:ext uri="{FF2B5EF4-FFF2-40B4-BE49-F238E27FC236}">
                <a16:creationId xmlns:a16="http://schemas.microsoft.com/office/drawing/2014/main" id="{B521CCB1-E03C-A540-B0E6-FACC7FD1B5BE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4589670" y="4364179"/>
            <a:ext cx="1959575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kres bydliště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30" name="Group 110">
            <a:extLst>
              <a:ext uri="{FF2B5EF4-FFF2-40B4-BE49-F238E27FC236}">
                <a16:creationId xmlns:a16="http://schemas.microsoft.com/office/drawing/2014/main" id="{A9C1A962-4C00-B40E-D34E-FC6A7C5DEC32}"/>
              </a:ext>
            </a:extLst>
          </p:cNvPr>
          <p:cNvGraphicFramePr>
            <a:graphicFrameLocks noGrp="1"/>
          </p:cNvGraphicFramePr>
          <p:nvPr>
            <p:custDataLst>
              <p:tags r:id="rId15"/>
            </p:custDataLst>
          </p:nvPr>
        </p:nvGraphicFramePr>
        <p:xfrm>
          <a:off x="4597801" y="4701003"/>
          <a:ext cx="1931064" cy="1714500"/>
        </p:xfrm>
        <a:graphic>
          <a:graphicData uri="http://schemas.openxmlformats.org/drawingml/2006/table">
            <a:tbl>
              <a:tblPr/>
              <a:tblGrid>
                <a:gridCol w="19310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ísek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ndřichův Hradec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7821316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hatic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ábo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á republik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ý Krumlov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é Budějovic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konic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aphicFrame>
        <p:nvGraphicFramePr>
          <p:cNvPr id="140" name="Object 123">
            <a:extLst>
              <a:ext uri="{FF2B5EF4-FFF2-40B4-BE49-F238E27FC236}">
                <a16:creationId xmlns:a16="http://schemas.microsoft.com/office/drawing/2014/main" id="{FC21BD03-E451-F249-3BEE-69C9FA3227A2}"/>
              </a:ext>
            </a:extLst>
          </p:cNvPr>
          <p:cNvGraphicFramePr>
            <a:graphicFrameLocks/>
          </p:cNvGraphicFramePr>
          <p:nvPr>
            <p:custDataLst>
              <p:tags r:id="rId16"/>
            </p:custDataLst>
          </p:nvPr>
        </p:nvGraphicFramePr>
        <p:xfrm>
          <a:off x="601106" y="1911300"/>
          <a:ext cx="4122544" cy="3813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pSp>
        <p:nvGrpSpPr>
          <p:cNvPr id="2" name="Skupina 1">
            <a:extLst>
              <a:ext uri="{FF2B5EF4-FFF2-40B4-BE49-F238E27FC236}">
                <a16:creationId xmlns:a16="http://schemas.microsoft.com/office/drawing/2014/main" id="{83DF49B2-2A5E-925D-2260-DAE08F24694F}"/>
              </a:ext>
            </a:extLst>
          </p:cNvPr>
          <p:cNvGrpSpPr/>
          <p:nvPr/>
        </p:nvGrpSpPr>
        <p:grpSpPr>
          <a:xfrm>
            <a:off x="10951469" y="4645212"/>
            <a:ext cx="920040" cy="839147"/>
            <a:chOff x="5368539" y="5686843"/>
            <a:chExt cx="920040" cy="839147"/>
          </a:xfrm>
        </p:grpSpPr>
        <p:sp>
          <p:nvSpPr>
            <p:cNvPr id="23" name="Text Box 58">
              <a:extLst>
                <a:ext uri="{FF2B5EF4-FFF2-40B4-BE49-F238E27FC236}">
                  <a16:creationId xmlns:a16="http://schemas.microsoft.com/office/drawing/2014/main" id="{CB58DBD9-670D-97A8-B9F8-05665F734E3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42967" y="5694325"/>
              <a:ext cx="745612" cy="83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&gt; 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7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–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7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1–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  <a:endParaRPr kumimoji="0" lang="en-US" alt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≤ 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 </a:t>
              </a:r>
            </a:p>
          </p:txBody>
        </p:sp>
        <p:sp>
          <p:nvSpPr>
            <p:cNvPr id="29" name="Rectangle 56">
              <a:extLst>
                <a:ext uri="{FF2B5EF4-FFF2-40B4-BE49-F238E27FC236}">
                  <a16:creationId xmlns:a16="http://schemas.microsoft.com/office/drawing/2014/main" id="{93CCDFB7-0911-3D81-6A75-C8A0DFFB4D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6183266"/>
              <a:ext cx="144000" cy="144000"/>
            </a:xfrm>
            <a:prstGeom prst="rect">
              <a:avLst/>
            </a:prstGeom>
            <a:solidFill>
              <a:srgbClr val="FFE389"/>
            </a:solidFill>
            <a:ln w="1651">
              <a:noFill/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0" name="Rectangle 56">
              <a:extLst>
                <a:ext uri="{FF2B5EF4-FFF2-40B4-BE49-F238E27FC236}">
                  <a16:creationId xmlns:a16="http://schemas.microsoft.com/office/drawing/2014/main" id="{5A34B72C-46F6-B2E9-E840-083216E0DA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6017791"/>
              <a:ext cx="144000" cy="144000"/>
            </a:xfrm>
            <a:prstGeom prst="rect">
              <a:avLst/>
            </a:prstGeom>
            <a:solidFill>
              <a:srgbClr val="FFCC29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7" name="Rectangle 56">
              <a:extLst>
                <a:ext uri="{FF2B5EF4-FFF2-40B4-BE49-F238E27FC236}">
                  <a16:creationId xmlns:a16="http://schemas.microsoft.com/office/drawing/2014/main" id="{BDA5761B-8A2F-707D-6E14-BC177B1BE7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5852317"/>
              <a:ext cx="144000" cy="144000"/>
            </a:xfrm>
            <a:prstGeom prst="rect">
              <a:avLst/>
            </a:prstGeom>
            <a:solidFill>
              <a:srgbClr val="E6AF00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8" name="Rectangle 56">
              <a:extLst>
                <a:ext uri="{FF2B5EF4-FFF2-40B4-BE49-F238E27FC236}">
                  <a16:creationId xmlns:a16="http://schemas.microsoft.com/office/drawing/2014/main" id="{8BD8002D-2C03-1F82-2326-7D1B6BF52F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5686843"/>
              <a:ext cx="144000" cy="144000"/>
            </a:xfrm>
            <a:prstGeom prst="rect">
              <a:avLst/>
            </a:prstGeom>
            <a:solidFill>
              <a:srgbClr val="BC8F00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grpSp>
        <p:nvGrpSpPr>
          <p:cNvPr id="39" name="Skupina 38">
            <a:extLst>
              <a:ext uri="{FF2B5EF4-FFF2-40B4-BE49-F238E27FC236}">
                <a16:creationId xmlns:a16="http://schemas.microsoft.com/office/drawing/2014/main" id="{367BEBEB-5314-DC42-F37E-8F4AF3B08015}"/>
              </a:ext>
            </a:extLst>
          </p:cNvPr>
          <p:cNvGrpSpPr>
            <a:grpSpLocks noChangeAspect="1"/>
          </p:cNvGrpSpPr>
          <p:nvPr/>
        </p:nvGrpSpPr>
        <p:grpSpPr>
          <a:xfrm>
            <a:off x="8826759" y="4584375"/>
            <a:ext cx="2311761" cy="1796127"/>
            <a:chOff x="3449186" y="4421025"/>
            <a:chExt cx="2989263" cy="2322513"/>
          </a:xfrm>
        </p:grpSpPr>
        <p:sp>
          <p:nvSpPr>
            <p:cNvPr id="43" name="Freeform 102">
              <a:extLst>
                <a:ext uri="{FF2B5EF4-FFF2-40B4-BE49-F238E27FC236}">
                  <a16:creationId xmlns:a16="http://schemas.microsoft.com/office/drawing/2014/main" id="{8EAE78BE-5B7F-4364-4CFF-F1ABB8465C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436" y="4598825"/>
              <a:ext cx="846138" cy="966788"/>
            </a:xfrm>
            <a:custGeom>
              <a:avLst/>
              <a:gdLst>
                <a:gd name="T0" fmla="*/ 147 w 533"/>
                <a:gd name="T1" fmla="*/ 19 h 609"/>
                <a:gd name="T2" fmla="*/ 172 w 533"/>
                <a:gd name="T3" fmla="*/ 6 h 609"/>
                <a:gd name="T4" fmla="*/ 193 w 533"/>
                <a:gd name="T5" fmla="*/ 21 h 609"/>
                <a:gd name="T6" fmla="*/ 222 w 533"/>
                <a:gd name="T7" fmla="*/ 35 h 609"/>
                <a:gd name="T8" fmla="*/ 252 w 533"/>
                <a:gd name="T9" fmla="*/ 44 h 609"/>
                <a:gd name="T10" fmla="*/ 273 w 533"/>
                <a:gd name="T11" fmla="*/ 61 h 609"/>
                <a:gd name="T12" fmla="*/ 279 w 533"/>
                <a:gd name="T13" fmla="*/ 70 h 609"/>
                <a:gd name="T14" fmla="*/ 294 w 533"/>
                <a:gd name="T15" fmla="*/ 84 h 609"/>
                <a:gd name="T16" fmla="*/ 290 w 533"/>
                <a:gd name="T17" fmla="*/ 103 h 609"/>
                <a:gd name="T18" fmla="*/ 270 w 533"/>
                <a:gd name="T19" fmla="*/ 120 h 609"/>
                <a:gd name="T20" fmla="*/ 279 w 533"/>
                <a:gd name="T21" fmla="*/ 148 h 609"/>
                <a:gd name="T22" fmla="*/ 282 w 533"/>
                <a:gd name="T23" fmla="*/ 175 h 609"/>
                <a:gd name="T24" fmla="*/ 295 w 533"/>
                <a:gd name="T25" fmla="*/ 193 h 609"/>
                <a:gd name="T26" fmla="*/ 288 w 533"/>
                <a:gd name="T27" fmla="*/ 220 h 609"/>
                <a:gd name="T28" fmla="*/ 278 w 533"/>
                <a:gd name="T29" fmla="*/ 273 h 609"/>
                <a:gd name="T30" fmla="*/ 304 w 533"/>
                <a:gd name="T31" fmla="*/ 310 h 609"/>
                <a:gd name="T32" fmla="*/ 326 w 533"/>
                <a:gd name="T33" fmla="*/ 365 h 609"/>
                <a:gd name="T34" fmla="*/ 348 w 533"/>
                <a:gd name="T35" fmla="*/ 396 h 609"/>
                <a:gd name="T36" fmla="*/ 375 w 533"/>
                <a:gd name="T37" fmla="*/ 440 h 609"/>
                <a:gd name="T38" fmla="*/ 407 w 533"/>
                <a:gd name="T39" fmla="*/ 460 h 609"/>
                <a:gd name="T40" fmla="*/ 434 w 533"/>
                <a:gd name="T41" fmla="*/ 476 h 609"/>
                <a:gd name="T42" fmla="*/ 459 w 533"/>
                <a:gd name="T43" fmla="*/ 494 h 609"/>
                <a:gd name="T44" fmla="*/ 506 w 533"/>
                <a:gd name="T45" fmla="*/ 510 h 609"/>
                <a:gd name="T46" fmla="*/ 532 w 533"/>
                <a:gd name="T47" fmla="*/ 524 h 609"/>
                <a:gd name="T48" fmla="*/ 512 w 533"/>
                <a:gd name="T49" fmla="*/ 542 h 609"/>
                <a:gd name="T50" fmla="*/ 505 w 533"/>
                <a:gd name="T51" fmla="*/ 557 h 609"/>
                <a:gd name="T52" fmla="*/ 496 w 533"/>
                <a:gd name="T53" fmla="*/ 564 h 609"/>
                <a:gd name="T54" fmla="*/ 489 w 533"/>
                <a:gd name="T55" fmla="*/ 596 h 609"/>
                <a:gd name="T56" fmla="*/ 456 w 533"/>
                <a:gd name="T57" fmla="*/ 607 h 609"/>
                <a:gd name="T58" fmla="*/ 361 w 533"/>
                <a:gd name="T59" fmla="*/ 607 h 609"/>
                <a:gd name="T60" fmla="*/ 326 w 533"/>
                <a:gd name="T61" fmla="*/ 593 h 609"/>
                <a:gd name="T62" fmla="*/ 302 w 533"/>
                <a:gd name="T63" fmla="*/ 564 h 609"/>
                <a:gd name="T64" fmla="*/ 280 w 533"/>
                <a:gd name="T65" fmla="*/ 553 h 609"/>
                <a:gd name="T66" fmla="*/ 261 w 533"/>
                <a:gd name="T67" fmla="*/ 540 h 609"/>
                <a:gd name="T68" fmla="*/ 241 w 533"/>
                <a:gd name="T69" fmla="*/ 564 h 609"/>
                <a:gd name="T70" fmla="*/ 197 w 533"/>
                <a:gd name="T71" fmla="*/ 576 h 609"/>
                <a:gd name="T72" fmla="*/ 159 w 533"/>
                <a:gd name="T73" fmla="*/ 572 h 609"/>
                <a:gd name="T74" fmla="*/ 104 w 533"/>
                <a:gd name="T75" fmla="*/ 544 h 609"/>
                <a:gd name="T76" fmla="*/ 55 w 533"/>
                <a:gd name="T77" fmla="*/ 539 h 609"/>
                <a:gd name="T78" fmla="*/ 34 w 533"/>
                <a:gd name="T79" fmla="*/ 518 h 609"/>
                <a:gd name="T80" fmla="*/ 0 w 533"/>
                <a:gd name="T81" fmla="*/ 507 h 609"/>
                <a:gd name="T82" fmla="*/ 13 w 533"/>
                <a:gd name="T83" fmla="*/ 466 h 609"/>
                <a:gd name="T84" fmla="*/ 18 w 533"/>
                <a:gd name="T85" fmla="*/ 440 h 609"/>
                <a:gd name="T86" fmla="*/ 7 w 533"/>
                <a:gd name="T87" fmla="*/ 407 h 609"/>
                <a:gd name="T88" fmla="*/ 29 w 533"/>
                <a:gd name="T89" fmla="*/ 387 h 609"/>
                <a:gd name="T90" fmla="*/ 24 w 533"/>
                <a:gd name="T91" fmla="*/ 368 h 609"/>
                <a:gd name="T92" fmla="*/ 18 w 533"/>
                <a:gd name="T93" fmla="*/ 350 h 609"/>
                <a:gd name="T94" fmla="*/ 35 w 533"/>
                <a:gd name="T95" fmla="*/ 335 h 609"/>
                <a:gd name="T96" fmla="*/ 37 w 533"/>
                <a:gd name="T97" fmla="*/ 310 h 609"/>
                <a:gd name="T98" fmla="*/ 71 w 533"/>
                <a:gd name="T99" fmla="*/ 275 h 609"/>
                <a:gd name="T100" fmla="*/ 92 w 533"/>
                <a:gd name="T101" fmla="*/ 228 h 609"/>
                <a:gd name="T102" fmla="*/ 81 w 533"/>
                <a:gd name="T103" fmla="*/ 201 h 609"/>
                <a:gd name="T104" fmla="*/ 79 w 533"/>
                <a:gd name="T105" fmla="*/ 143 h 609"/>
                <a:gd name="T106" fmla="*/ 77 w 533"/>
                <a:gd name="T107" fmla="*/ 99 h 609"/>
                <a:gd name="T108" fmla="*/ 68 w 533"/>
                <a:gd name="T109" fmla="*/ 56 h 609"/>
                <a:gd name="T110" fmla="*/ 71 w 533"/>
                <a:gd name="T111" fmla="*/ 24 h 609"/>
                <a:gd name="T112" fmla="*/ 86 w 533"/>
                <a:gd name="T113" fmla="*/ 21 h 609"/>
                <a:gd name="T114" fmla="*/ 106 w 533"/>
                <a:gd name="T115" fmla="*/ 12 h 609"/>
                <a:gd name="T116" fmla="*/ 127 w 533"/>
                <a:gd name="T117" fmla="*/ 0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3" h="609">
                  <a:moveTo>
                    <a:pt x="127" y="0"/>
                  </a:moveTo>
                  <a:lnTo>
                    <a:pt x="128" y="0"/>
                  </a:lnTo>
                  <a:lnTo>
                    <a:pt x="129" y="0"/>
                  </a:lnTo>
                  <a:lnTo>
                    <a:pt x="132" y="6"/>
                  </a:lnTo>
                  <a:lnTo>
                    <a:pt x="138" y="15"/>
                  </a:lnTo>
                  <a:lnTo>
                    <a:pt x="139" y="17"/>
                  </a:lnTo>
                  <a:lnTo>
                    <a:pt x="139" y="18"/>
                  </a:lnTo>
                  <a:lnTo>
                    <a:pt x="141" y="18"/>
                  </a:lnTo>
                  <a:lnTo>
                    <a:pt x="142" y="19"/>
                  </a:lnTo>
                  <a:lnTo>
                    <a:pt x="143" y="19"/>
                  </a:lnTo>
                  <a:lnTo>
                    <a:pt x="147" y="19"/>
                  </a:lnTo>
                  <a:lnTo>
                    <a:pt x="148" y="19"/>
                  </a:lnTo>
                  <a:lnTo>
                    <a:pt x="150" y="18"/>
                  </a:lnTo>
                  <a:lnTo>
                    <a:pt x="153" y="17"/>
                  </a:lnTo>
                  <a:lnTo>
                    <a:pt x="155" y="15"/>
                  </a:lnTo>
                  <a:lnTo>
                    <a:pt x="157" y="13"/>
                  </a:lnTo>
                  <a:lnTo>
                    <a:pt x="164" y="8"/>
                  </a:lnTo>
                  <a:lnTo>
                    <a:pt x="165" y="7"/>
                  </a:lnTo>
                  <a:lnTo>
                    <a:pt x="167" y="6"/>
                  </a:lnTo>
                  <a:lnTo>
                    <a:pt x="169" y="6"/>
                  </a:lnTo>
                  <a:lnTo>
                    <a:pt x="170" y="6"/>
                  </a:lnTo>
                  <a:lnTo>
                    <a:pt x="172" y="6"/>
                  </a:lnTo>
                  <a:lnTo>
                    <a:pt x="174" y="7"/>
                  </a:lnTo>
                  <a:lnTo>
                    <a:pt x="175" y="7"/>
                  </a:lnTo>
                  <a:lnTo>
                    <a:pt x="176" y="8"/>
                  </a:lnTo>
                  <a:lnTo>
                    <a:pt x="177" y="9"/>
                  </a:lnTo>
                  <a:lnTo>
                    <a:pt x="179" y="10"/>
                  </a:lnTo>
                  <a:lnTo>
                    <a:pt x="183" y="15"/>
                  </a:lnTo>
                  <a:lnTo>
                    <a:pt x="184" y="16"/>
                  </a:lnTo>
                  <a:lnTo>
                    <a:pt x="186" y="17"/>
                  </a:lnTo>
                  <a:lnTo>
                    <a:pt x="187" y="18"/>
                  </a:lnTo>
                  <a:lnTo>
                    <a:pt x="192" y="20"/>
                  </a:lnTo>
                  <a:lnTo>
                    <a:pt x="193" y="21"/>
                  </a:lnTo>
                  <a:lnTo>
                    <a:pt x="194" y="21"/>
                  </a:lnTo>
                  <a:lnTo>
                    <a:pt x="194" y="22"/>
                  </a:lnTo>
                  <a:lnTo>
                    <a:pt x="195" y="25"/>
                  </a:lnTo>
                  <a:lnTo>
                    <a:pt x="196" y="25"/>
                  </a:lnTo>
                  <a:lnTo>
                    <a:pt x="197" y="26"/>
                  </a:lnTo>
                  <a:lnTo>
                    <a:pt x="198" y="27"/>
                  </a:lnTo>
                  <a:lnTo>
                    <a:pt x="201" y="28"/>
                  </a:lnTo>
                  <a:lnTo>
                    <a:pt x="208" y="31"/>
                  </a:lnTo>
                  <a:lnTo>
                    <a:pt x="212" y="33"/>
                  </a:lnTo>
                  <a:lnTo>
                    <a:pt x="218" y="35"/>
                  </a:lnTo>
                  <a:lnTo>
                    <a:pt x="222" y="35"/>
                  </a:lnTo>
                  <a:lnTo>
                    <a:pt x="227" y="36"/>
                  </a:lnTo>
                  <a:lnTo>
                    <a:pt x="227" y="37"/>
                  </a:lnTo>
                  <a:lnTo>
                    <a:pt x="228" y="38"/>
                  </a:lnTo>
                  <a:lnTo>
                    <a:pt x="229" y="38"/>
                  </a:lnTo>
                  <a:lnTo>
                    <a:pt x="230" y="38"/>
                  </a:lnTo>
                  <a:lnTo>
                    <a:pt x="232" y="39"/>
                  </a:lnTo>
                  <a:lnTo>
                    <a:pt x="241" y="40"/>
                  </a:lnTo>
                  <a:lnTo>
                    <a:pt x="244" y="40"/>
                  </a:lnTo>
                  <a:lnTo>
                    <a:pt x="246" y="42"/>
                  </a:lnTo>
                  <a:lnTo>
                    <a:pt x="249" y="43"/>
                  </a:lnTo>
                  <a:lnTo>
                    <a:pt x="252" y="44"/>
                  </a:lnTo>
                  <a:lnTo>
                    <a:pt x="254" y="45"/>
                  </a:lnTo>
                  <a:lnTo>
                    <a:pt x="257" y="48"/>
                  </a:lnTo>
                  <a:lnTo>
                    <a:pt x="259" y="49"/>
                  </a:lnTo>
                  <a:lnTo>
                    <a:pt x="260" y="50"/>
                  </a:lnTo>
                  <a:lnTo>
                    <a:pt x="261" y="50"/>
                  </a:lnTo>
                  <a:lnTo>
                    <a:pt x="264" y="55"/>
                  </a:lnTo>
                  <a:lnTo>
                    <a:pt x="266" y="58"/>
                  </a:lnTo>
                  <a:lnTo>
                    <a:pt x="268" y="59"/>
                  </a:lnTo>
                  <a:lnTo>
                    <a:pt x="270" y="60"/>
                  </a:lnTo>
                  <a:lnTo>
                    <a:pt x="271" y="61"/>
                  </a:lnTo>
                  <a:lnTo>
                    <a:pt x="273" y="61"/>
                  </a:lnTo>
                  <a:lnTo>
                    <a:pt x="276" y="62"/>
                  </a:lnTo>
                  <a:lnTo>
                    <a:pt x="277" y="63"/>
                  </a:lnTo>
                  <a:lnTo>
                    <a:pt x="279" y="63"/>
                  </a:lnTo>
                  <a:lnTo>
                    <a:pt x="280" y="64"/>
                  </a:lnTo>
                  <a:lnTo>
                    <a:pt x="281" y="65"/>
                  </a:lnTo>
                  <a:lnTo>
                    <a:pt x="281" y="65"/>
                  </a:lnTo>
                  <a:lnTo>
                    <a:pt x="281" y="66"/>
                  </a:lnTo>
                  <a:lnTo>
                    <a:pt x="281" y="67"/>
                  </a:lnTo>
                  <a:lnTo>
                    <a:pt x="279" y="68"/>
                  </a:lnTo>
                  <a:lnTo>
                    <a:pt x="279" y="69"/>
                  </a:lnTo>
                  <a:lnTo>
                    <a:pt x="279" y="70"/>
                  </a:lnTo>
                  <a:lnTo>
                    <a:pt x="279" y="71"/>
                  </a:lnTo>
                  <a:lnTo>
                    <a:pt x="279" y="73"/>
                  </a:lnTo>
                  <a:lnTo>
                    <a:pt x="280" y="74"/>
                  </a:lnTo>
                  <a:lnTo>
                    <a:pt x="280" y="75"/>
                  </a:lnTo>
                  <a:lnTo>
                    <a:pt x="284" y="80"/>
                  </a:lnTo>
                  <a:lnTo>
                    <a:pt x="286" y="81"/>
                  </a:lnTo>
                  <a:lnTo>
                    <a:pt x="287" y="82"/>
                  </a:lnTo>
                  <a:lnTo>
                    <a:pt x="289" y="83"/>
                  </a:lnTo>
                  <a:lnTo>
                    <a:pt x="293" y="83"/>
                  </a:lnTo>
                  <a:lnTo>
                    <a:pt x="294" y="84"/>
                  </a:lnTo>
                  <a:lnTo>
                    <a:pt x="294" y="84"/>
                  </a:lnTo>
                  <a:lnTo>
                    <a:pt x="295" y="85"/>
                  </a:lnTo>
                  <a:lnTo>
                    <a:pt x="296" y="85"/>
                  </a:lnTo>
                  <a:lnTo>
                    <a:pt x="296" y="87"/>
                  </a:lnTo>
                  <a:lnTo>
                    <a:pt x="296" y="88"/>
                  </a:lnTo>
                  <a:lnTo>
                    <a:pt x="296" y="89"/>
                  </a:lnTo>
                  <a:lnTo>
                    <a:pt x="296" y="91"/>
                  </a:lnTo>
                  <a:lnTo>
                    <a:pt x="296" y="93"/>
                  </a:lnTo>
                  <a:lnTo>
                    <a:pt x="294" y="95"/>
                  </a:lnTo>
                  <a:lnTo>
                    <a:pt x="293" y="98"/>
                  </a:lnTo>
                  <a:lnTo>
                    <a:pt x="291" y="101"/>
                  </a:lnTo>
                  <a:lnTo>
                    <a:pt x="290" y="103"/>
                  </a:lnTo>
                  <a:lnTo>
                    <a:pt x="288" y="105"/>
                  </a:lnTo>
                  <a:lnTo>
                    <a:pt x="286" y="107"/>
                  </a:lnTo>
                  <a:lnTo>
                    <a:pt x="284" y="108"/>
                  </a:lnTo>
                  <a:lnTo>
                    <a:pt x="280" y="110"/>
                  </a:lnTo>
                  <a:lnTo>
                    <a:pt x="278" y="110"/>
                  </a:lnTo>
                  <a:lnTo>
                    <a:pt x="276" y="111"/>
                  </a:lnTo>
                  <a:lnTo>
                    <a:pt x="275" y="113"/>
                  </a:lnTo>
                  <a:lnTo>
                    <a:pt x="273" y="115"/>
                  </a:lnTo>
                  <a:lnTo>
                    <a:pt x="271" y="117"/>
                  </a:lnTo>
                  <a:lnTo>
                    <a:pt x="270" y="120"/>
                  </a:lnTo>
                  <a:lnTo>
                    <a:pt x="270" y="120"/>
                  </a:lnTo>
                  <a:lnTo>
                    <a:pt x="269" y="122"/>
                  </a:lnTo>
                  <a:lnTo>
                    <a:pt x="269" y="123"/>
                  </a:lnTo>
                  <a:lnTo>
                    <a:pt x="270" y="125"/>
                  </a:lnTo>
                  <a:lnTo>
                    <a:pt x="270" y="125"/>
                  </a:lnTo>
                  <a:lnTo>
                    <a:pt x="271" y="128"/>
                  </a:lnTo>
                  <a:lnTo>
                    <a:pt x="272" y="130"/>
                  </a:lnTo>
                  <a:lnTo>
                    <a:pt x="275" y="135"/>
                  </a:lnTo>
                  <a:lnTo>
                    <a:pt x="276" y="138"/>
                  </a:lnTo>
                  <a:lnTo>
                    <a:pt x="277" y="140"/>
                  </a:lnTo>
                  <a:lnTo>
                    <a:pt x="278" y="145"/>
                  </a:lnTo>
                  <a:lnTo>
                    <a:pt x="279" y="148"/>
                  </a:lnTo>
                  <a:lnTo>
                    <a:pt x="280" y="152"/>
                  </a:lnTo>
                  <a:lnTo>
                    <a:pt x="283" y="159"/>
                  </a:lnTo>
                  <a:lnTo>
                    <a:pt x="284" y="161"/>
                  </a:lnTo>
                  <a:lnTo>
                    <a:pt x="284" y="163"/>
                  </a:lnTo>
                  <a:lnTo>
                    <a:pt x="284" y="165"/>
                  </a:lnTo>
                  <a:lnTo>
                    <a:pt x="284" y="167"/>
                  </a:lnTo>
                  <a:lnTo>
                    <a:pt x="282" y="169"/>
                  </a:lnTo>
                  <a:lnTo>
                    <a:pt x="281" y="170"/>
                  </a:lnTo>
                  <a:lnTo>
                    <a:pt x="281" y="172"/>
                  </a:lnTo>
                  <a:lnTo>
                    <a:pt x="281" y="173"/>
                  </a:lnTo>
                  <a:lnTo>
                    <a:pt x="282" y="175"/>
                  </a:lnTo>
                  <a:lnTo>
                    <a:pt x="284" y="176"/>
                  </a:lnTo>
                  <a:lnTo>
                    <a:pt x="286" y="178"/>
                  </a:lnTo>
                  <a:lnTo>
                    <a:pt x="290" y="181"/>
                  </a:lnTo>
                  <a:lnTo>
                    <a:pt x="291" y="183"/>
                  </a:lnTo>
                  <a:lnTo>
                    <a:pt x="292" y="183"/>
                  </a:lnTo>
                  <a:lnTo>
                    <a:pt x="294" y="185"/>
                  </a:lnTo>
                  <a:lnTo>
                    <a:pt x="295" y="188"/>
                  </a:lnTo>
                  <a:lnTo>
                    <a:pt x="295" y="189"/>
                  </a:lnTo>
                  <a:lnTo>
                    <a:pt x="296" y="190"/>
                  </a:lnTo>
                  <a:lnTo>
                    <a:pt x="296" y="192"/>
                  </a:lnTo>
                  <a:lnTo>
                    <a:pt x="295" y="193"/>
                  </a:lnTo>
                  <a:lnTo>
                    <a:pt x="294" y="198"/>
                  </a:lnTo>
                  <a:lnTo>
                    <a:pt x="293" y="200"/>
                  </a:lnTo>
                  <a:lnTo>
                    <a:pt x="293" y="202"/>
                  </a:lnTo>
                  <a:lnTo>
                    <a:pt x="294" y="206"/>
                  </a:lnTo>
                  <a:lnTo>
                    <a:pt x="294" y="208"/>
                  </a:lnTo>
                  <a:lnTo>
                    <a:pt x="294" y="210"/>
                  </a:lnTo>
                  <a:lnTo>
                    <a:pt x="293" y="211"/>
                  </a:lnTo>
                  <a:lnTo>
                    <a:pt x="293" y="212"/>
                  </a:lnTo>
                  <a:lnTo>
                    <a:pt x="292" y="213"/>
                  </a:lnTo>
                  <a:lnTo>
                    <a:pt x="289" y="217"/>
                  </a:lnTo>
                  <a:lnTo>
                    <a:pt x="288" y="220"/>
                  </a:lnTo>
                  <a:lnTo>
                    <a:pt x="288" y="222"/>
                  </a:lnTo>
                  <a:lnTo>
                    <a:pt x="287" y="227"/>
                  </a:lnTo>
                  <a:lnTo>
                    <a:pt x="286" y="230"/>
                  </a:lnTo>
                  <a:lnTo>
                    <a:pt x="285" y="233"/>
                  </a:lnTo>
                  <a:lnTo>
                    <a:pt x="282" y="241"/>
                  </a:lnTo>
                  <a:lnTo>
                    <a:pt x="281" y="245"/>
                  </a:lnTo>
                  <a:lnTo>
                    <a:pt x="280" y="248"/>
                  </a:lnTo>
                  <a:lnTo>
                    <a:pt x="279" y="259"/>
                  </a:lnTo>
                  <a:lnTo>
                    <a:pt x="277" y="266"/>
                  </a:lnTo>
                  <a:lnTo>
                    <a:pt x="277" y="270"/>
                  </a:lnTo>
                  <a:lnTo>
                    <a:pt x="278" y="273"/>
                  </a:lnTo>
                  <a:lnTo>
                    <a:pt x="278" y="275"/>
                  </a:lnTo>
                  <a:lnTo>
                    <a:pt x="279" y="277"/>
                  </a:lnTo>
                  <a:lnTo>
                    <a:pt x="280" y="279"/>
                  </a:lnTo>
                  <a:lnTo>
                    <a:pt x="281" y="281"/>
                  </a:lnTo>
                  <a:lnTo>
                    <a:pt x="282" y="283"/>
                  </a:lnTo>
                  <a:lnTo>
                    <a:pt x="284" y="285"/>
                  </a:lnTo>
                  <a:lnTo>
                    <a:pt x="291" y="292"/>
                  </a:lnTo>
                  <a:lnTo>
                    <a:pt x="296" y="298"/>
                  </a:lnTo>
                  <a:lnTo>
                    <a:pt x="299" y="302"/>
                  </a:lnTo>
                  <a:lnTo>
                    <a:pt x="302" y="306"/>
                  </a:lnTo>
                  <a:lnTo>
                    <a:pt x="304" y="310"/>
                  </a:lnTo>
                  <a:lnTo>
                    <a:pt x="306" y="314"/>
                  </a:lnTo>
                  <a:lnTo>
                    <a:pt x="314" y="327"/>
                  </a:lnTo>
                  <a:lnTo>
                    <a:pt x="316" y="332"/>
                  </a:lnTo>
                  <a:lnTo>
                    <a:pt x="319" y="337"/>
                  </a:lnTo>
                  <a:lnTo>
                    <a:pt x="321" y="345"/>
                  </a:lnTo>
                  <a:lnTo>
                    <a:pt x="324" y="352"/>
                  </a:lnTo>
                  <a:lnTo>
                    <a:pt x="324" y="355"/>
                  </a:lnTo>
                  <a:lnTo>
                    <a:pt x="325" y="357"/>
                  </a:lnTo>
                  <a:lnTo>
                    <a:pt x="326" y="360"/>
                  </a:lnTo>
                  <a:lnTo>
                    <a:pt x="326" y="363"/>
                  </a:lnTo>
                  <a:lnTo>
                    <a:pt x="326" y="365"/>
                  </a:lnTo>
                  <a:lnTo>
                    <a:pt x="326" y="367"/>
                  </a:lnTo>
                  <a:lnTo>
                    <a:pt x="327" y="369"/>
                  </a:lnTo>
                  <a:lnTo>
                    <a:pt x="328" y="370"/>
                  </a:lnTo>
                  <a:lnTo>
                    <a:pt x="329" y="373"/>
                  </a:lnTo>
                  <a:lnTo>
                    <a:pt x="331" y="375"/>
                  </a:lnTo>
                  <a:lnTo>
                    <a:pt x="332" y="377"/>
                  </a:lnTo>
                  <a:lnTo>
                    <a:pt x="334" y="379"/>
                  </a:lnTo>
                  <a:lnTo>
                    <a:pt x="339" y="383"/>
                  </a:lnTo>
                  <a:lnTo>
                    <a:pt x="341" y="385"/>
                  </a:lnTo>
                  <a:lnTo>
                    <a:pt x="346" y="392"/>
                  </a:lnTo>
                  <a:lnTo>
                    <a:pt x="348" y="396"/>
                  </a:lnTo>
                  <a:lnTo>
                    <a:pt x="351" y="400"/>
                  </a:lnTo>
                  <a:lnTo>
                    <a:pt x="352" y="405"/>
                  </a:lnTo>
                  <a:lnTo>
                    <a:pt x="354" y="408"/>
                  </a:lnTo>
                  <a:lnTo>
                    <a:pt x="356" y="416"/>
                  </a:lnTo>
                  <a:lnTo>
                    <a:pt x="357" y="420"/>
                  </a:lnTo>
                  <a:lnTo>
                    <a:pt x="359" y="424"/>
                  </a:lnTo>
                  <a:lnTo>
                    <a:pt x="361" y="427"/>
                  </a:lnTo>
                  <a:lnTo>
                    <a:pt x="363" y="430"/>
                  </a:lnTo>
                  <a:lnTo>
                    <a:pt x="365" y="432"/>
                  </a:lnTo>
                  <a:lnTo>
                    <a:pt x="370" y="436"/>
                  </a:lnTo>
                  <a:lnTo>
                    <a:pt x="375" y="440"/>
                  </a:lnTo>
                  <a:lnTo>
                    <a:pt x="377" y="442"/>
                  </a:lnTo>
                  <a:lnTo>
                    <a:pt x="379" y="445"/>
                  </a:lnTo>
                  <a:lnTo>
                    <a:pt x="383" y="450"/>
                  </a:lnTo>
                  <a:lnTo>
                    <a:pt x="384" y="452"/>
                  </a:lnTo>
                  <a:lnTo>
                    <a:pt x="385" y="453"/>
                  </a:lnTo>
                  <a:lnTo>
                    <a:pt x="386" y="454"/>
                  </a:lnTo>
                  <a:lnTo>
                    <a:pt x="389" y="455"/>
                  </a:lnTo>
                  <a:lnTo>
                    <a:pt x="390" y="456"/>
                  </a:lnTo>
                  <a:lnTo>
                    <a:pt x="392" y="457"/>
                  </a:lnTo>
                  <a:lnTo>
                    <a:pt x="396" y="458"/>
                  </a:lnTo>
                  <a:lnTo>
                    <a:pt x="407" y="460"/>
                  </a:lnTo>
                  <a:lnTo>
                    <a:pt x="415" y="462"/>
                  </a:lnTo>
                  <a:lnTo>
                    <a:pt x="418" y="462"/>
                  </a:lnTo>
                  <a:lnTo>
                    <a:pt x="424" y="463"/>
                  </a:lnTo>
                  <a:lnTo>
                    <a:pt x="426" y="463"/>
                  </a:lnTo>
                  <a:lnTo>
                    <a:pt x="428" y="464"/>
                  </a:lnTo>
                  <a:lnTo>
                    <a:pt x="429" y="464"/>
                  </a:lnTo>
                  <a:lnTo>
                    <a:pt x="430" y="465"/>
                  </a:lnTo>
                  <a:lnTo>
                    <a:pt x="431" y="466"/>
                  </a:lnTo>
                  <a:lnTo>
                    <a:pt x="431" y="468"/>
                  </a:lnTo>
                  <a:lnTo>
                    <a:pt x="432" y="470"/>
                  </a:lnTo>
                  <a:lnTo>
                    <a:pt x="434" y="476"/>
                  </a:lnTo>
                  <a:lnTo>
                    <a:pt x="434" y="478"/>
                  </a:lnTo>
                  <a:lnTo>
                    <a:pt x="436" y="480"/>
                  </a:lnTo>
                  <a:lnTo>
                    <a:pt x="437" y="482"/>
                  </a:lnTo>
                  <a:lnTo>
                    <a:pt x="439" y="484"/>
                  </a:lnTo>
                  <a:lnTo>
                    <a:pt x="442" y="485"/>
                  </a:lnTo>
                  <a:lnTo>
                    <a:pt x="444" y="486"/>
                  </a:lnTo>
                  <a:lnTo>
                    <a:pt x="454" y="489"/>
                  </a:lnTo>
                  <a:lnTo>
                    <a:pt x="456" y="489"/>
                  </a:lnTo>
                  <a:lnTo>
                    <a:pt x="457" y="491"/>
                  </a:lnTo>
                  <a:lnTo>
                    <a:pt x="459" y="492"/>
                  </a:lnTo>
                  <a:lnTo>
                    <a:pt x="459" y="494"/>
                  </a:lnTo>
                  <a:lnTo>
                    <a:pt x="463" y="499"/>
                  </a:lnTo>
                  <a:lnTo>
                    <a:pt x="464" y="502"/>
                  </a:lnTo>
                  <a:lnTo>
                    <a:pt x="466" y="503"/>
                  </a:lnTo>
                  <a:lnTo>
                    <a:pt x="468" y="504"/>
                  </a:lnTo>
                  <a:lnTo>
                    <a:pt x="471" y="505"/>
                  </a:lnTo>
                  <a:lnTo>
                    <a:pt x="476" y="507"/>
                  </a:lnTo>
                  <a:lnTo>
                    <a:pt x="481" y="508"/>
                  </a:lnTo>
                  <a:lnTo>
                    <a:pt x="486" y="509"/>
                  </a:lnTo>
                  <a:lnTo>
                    <a:pt x="490" y="509"/>
                  </a:lnTo>
                  <a:lnTo>
                    <a:pt x="501" y="509"/>
                  </a:lnTo>
                  <a:lnTo>
                    <a:pt x="506" y="510"/>
                  </a:lnTo>
                  <a:lnTo>
                    <a:pt x="510" y="511"/>
                  </a:lnTo>
                  <a:lnTo>
                    <a:pt x="515" y="512"/>
                  </a:lnTo>
                  <a:lnTo>
                    <a:pt x="525" y="513"/>
                  </a:lnTo>
                  <a:lnTo>
                    <a:pt x="528" y="514"/>
                  </a:lnTo>
                  <a:lnTo>
                    <a:pt x="531" y="514"/>
                  </a:lnTo>
                  <a:lnTo>
                    <a:pt x="532" y="514"/>
                  </a:lnTo>
                  <a:lnTo>
                    <a:pt x="533" y="514"/>
                  </a:lnTo>
                  <a:lnTo>
                    <a:pt x="533" y="515"/>
                  </a:lnTo>
                  <a:lnTo>
                    <a:pt x="533" y="517"/>
                  </a:lnTo>
                  <a:lnTo>
                    <a:pt x="533" y="521"/>
                  </a:lnTo>
                  <a:lnTo>
                    <a:pt x="532" y="524"/>
                  </a:lnTo>
                  <a:lnTo>
                    <a:pt x="531" y="527"/>
                  </a:lnTo>
                  <a:lnTo>
                    <a:pt x="531" y="529"/>
                  </a:lnTo>
                  <a:lnTo>
                    <a:pt x="530" y="532"/>
                  </a:lnTo>
                  <a:lnTo>
                    <a:pt x="529" y="533"/>
                  </a:lnTo>
                  <a:lnTo>
                    <a:pt x="526" y="537"/>
                  </a:lnTo>
                  <a:lnTo>
                    <a:pt x="524" y="537"/>
                  </a:lnTo>
                  <a:lnTo>
                    <a:pt x="523" y="539"/>
                  </a:lnTo>
                  <a:lnTo>
                    <a:pt x="520" y="539"/>
                  </a:lnTo>
                  <a:lnTo>
                    <a:pt x="518" y="541"/>
                  </a:lnTo>
                  <a:lnTo>
                    <a:pt x="516" y="541"/>
                  </a:lnTo>
                  <a:lnTo>
                    <a:pt x="512" y="542"/>
                  </a:lnTo>
                  <a:lnTo>
                    <a:pt x="511" y="542"/>
                  </a:lnTo>
                  <a:lnTo>
                    <a:pt x="511" y="543"/>
                  </a:lnTo>
                  <a:lnTo>
                    <a:pt x="510" y="544"/>
                  </a:lnTo>
                  <a:lnTo>
                    <a:pt x="509" y="544"/>
                  </a:lnTo>
                  <a:lnTo>
                    <a:pt x="508" y="546"/>
                  </a:lnTo>
                  <a:lnTo>
                    <a:pt x="508" y="547"/>
                  </a:lnTo>
                  <a:lnTo>
                    <a:pt x="507" y="549"/>
                  </a:lnTo>
                  <a:lnTo>
                    <a:pt x="506" y="554"/>
                  </a:lnTo>
                  <a:lnTo>
                    <a:pt x="506" y="556"/>
                  </a:lnTo>
                  <a:lnTo>
                    <a:pt x="506" y="557"/>
                  </a:lnTo>
                  <a:lnTo>
                    <a:pt x="505" y="557"/>
                  </a:lnTo>
                  <a:lnTo>
                    <a:pt x="504" y="557"/>
                  </a:lnTo>
                  <a:lnTo>
                    <a:pt x="502" y="558"/>
                  </a:lnTo>
                  <a:lnTo>
                    <a:pt x="499" y="559"/>
                  </a:lnTo>
                  <a:lnTo>
                    <a:pt x="498" y="559"/>
                  </a:lnTo>
                  <a:lnTo>
                    <a:pt x="497" y="559"/>
                  </a:lnTo>
                  <a:lnTo>
                    <a:pt x="496" y="560"/>
                  </a:lnTo>
                  <a:lnTo>
                    <a:pt x="496" y="561"/>
                  </a:lnTo>
                  <a:lnTo>
                    <a:pt x="496" y="562"/>
                  </a:lnTo>
                  <a:lnTo>
                    <a:pt x="496" y="562"/>
                  </a:lnTo>
                  <a:lnTo>
                    <a:pt x="496" y="563"/>
                  </a:lnTo>
                  <a:lnTo>
                    <a:pt x="496" y="564"/>
                  </a:lnTo>
                  <a:lnTo>
                    <a:pt x="501" y="572"/>
                  </a:lnTo>
                  <a:lnTo>
                    <a:pt x="503" y="577"/>
                  </a:lnTo>
                  <a:lnTo>
                    <a:pt x="503" y="578"/>
                  </a:lnTo>
                  <a:lnTo>
                    <a:pt x="502" y="580"/>
                  </a:lnTo>
                  <a:lnTo>
                    <a:pt x="501" y="582"/>
                  </a:lnTo>
                  <a:lnTo>
                    <a:pt x="501" y="584"/>
                  </a:lnTo>
                  <a:lnTo>
                    <a:pt x="499" y="586"/>
                  </a:lnTo>
                  <a:lnTo>
                    <a:pt x="496" y="589"/>
                  </a:lnTo>
                  <a:lnTo>
                    <a:pt x="494" y="592"/>
                  </a:lnTo>
                  <a:lnTo>
                    <a:pt x="491" y="594"/>
                  </a:lnTo>
                  <a:lnTo>
                    <a:pt x="489" y="596"/>
                  </a:lnTo>
                  <a:lnTo>
                    <a:pt x="487" y="597"/>
                  </a:lnTo>
                  <a:lnTo>
                    <a:pt x="484" y="599"/>
                  </a:lnTo>
                  <a:lnTo>
                    <a:pt x="482" y="600"/>
                  </a:lnTo>
                  <a:lnTo>
                    <a:pt x="479" y="602"/>
                  </a:lnTo>
                  <a:lnTo>
                    <a:pt x="476" y="603"/>
                  </a:lnTo>
                  <a:lnTo>
                    <a:pt x="474" y="604"/>
                  </a:lnTo>
                  <a:lnTo>
                    <a:pt x="471" y="605"/>
                  </a:lnTo>
                  <a:lnTo>
                    <a:pt x="468" y="605"/>
                  </a:lnTo>
                  <a:lnTo>
                    <a:pt x="465" y="606"/>
                  </a:lnTo>
                  <a:lnTo>
                    <a:pt x="461" y="607"/>
                  </a:lnTo>
                  <a:lnTo>
                    <a:pt x="456" y="607"/>
                  </a:lnTo>
                  <a:lnTo>
                    <a:pt x="451" y="607"/>
                  </a:lnTo>
                  <a:lnTo>
                    <a:pt x="440" y="607"/>
                  </a:lnTo>
                  <a:lnTo>
                    <a:pt x="434" y="607"/>
                  </a:lnTo>
                  <a:lnTo>
                    <a:pt x="421" y="607"/>
                  </a:lnTo>
                  <a:lnTo>
                    <a:pt x="410" y="608"/>
                  </a:lnTo>
                  <a:lnTo>
                    <a:pt x="396" y="609"/>
                  </a:lnTo>
                  <a:lnTo>
                    <a:pt x="385" y="609"/>
                  </a:lnTo>
                  <a:lnTo>
                    <a:pt x="380" y="609"/>
                  </a:lnTo>
                  <a:lnTo>
                    <a:pt x="370" y="609"/>
                  </a:lnTo>
                  <a:lnTo>
                    <a:pt x="364" y="607"/>
                  </a:lnTo>
                  <a:lnTo>
                    <a:pt x="361" y="607"/>
                  </a:lnTo>
                  <a:lnTo>
                    <a:pt x="358" y="605"/>
                  </a:lnTo>
                  <a:lnTo>
                    <a:pt x="352" y="602"/>
                  </a:lnTo>
                  <a:lnTo>
                    <a:pt x="349" y="602"/>
                  </a:lnTo>
                  <a:lnTo>
                    <a:pt x="344" y="600"/>
                  </a:lnTo>
                  <a:lnTo>
                    <a:pt x="337" y="599"/>
                  </a:lnTo>
                  <a:lnTo>
                    <a:pt x="335" y="599"/>
                  </a:lnTo>
                  <a:lnTo>
                    <a:pt x="332" y="598"/>
                  </a:lnTo>
                  <a:lnTo>
                    <a:pt x="330" y="597"/>
                  </a:lnTo>
                  <a:lnTo>
                    <a:pt x="329" y="596"/>
                  </a:lnTo>
                  <a:lnTo>
                    <a:pt x="327" y="594"/>
                  </a:lnTo>
                  <a:lnTo>
                    <a:pt x="326" y="593"/>
                  </a:lnTo>
                  <a:lnTo>
                    <a:pt x="325" y="592"/>
                  </a:lnTo>
                  <a:lnTo>
                    <a:pt x="323" y="589"/>
                  </a:lnTo>
                  <a:lnTo>
                    <a:pt x="319" y="582"/>
                  </a:lnTo>
                  <a:lnTo>
                    <a:pt x="317" y="580"/>
                  </a:lnTo>
                  <a:lnTo>
                    <a:pt x="316" y="579"/>
                  </a:lnTo>
                  <a:lnTo>
                    <a:pt x="313" y="576"/>
                  </a:lnTo>
                  <a:lnTo>
                    <a:pt x="307" y="570"/>
                  </a:lnTo>
                  <a:lnTo>
                    <a:pt x="305" y="568"/>
                  </a:lnTo>
                  <a:lnTo>
                    <a:pt x="304" y="567"/>
                  </a:lnTo>
                  <a:lnTo>
                    <a:pt x="303" y="566"/>
                  </a:lnTo>
                  <a:lnTo>
                    <a:pt x="302" y="564"/>
                  </a:lnTo>
                  <a:lnTo>
                    <a:pt x="300" y="560"/>
                  </a:lnTo>
                  <a:lnTo>
                    <a:pt x="299" y="558"/>
                  </a:lnTo>
                  <a:lnTo>
                    <a:pt x="299" y="556"/>
                  </a:lnTo>
                  <a:lnTo>
                    <a:pt x="296" y="554"/>
                  </a:lnTo>
                  <a:lnTo>
                    <a:pt x="296" y="554"/>
                  </a:lnTo>
                  <a:lnTo>
                    <a:pt x="294" y="553"/>
                  </a:lnTo>
                  <a:lnTo>
                    <a:pt x="294" y="553"/>
                  </a:lnTo>
                  <a:lnTo>
                    <a:pt x="292" y="552"/>
                  </a:lnTo>
                  <a:lnTo>
                    <a:pt x="289" y="552"/>
                  </a:lnTo>
                  <a:lnTo>
                    <a:pt x="282" y="553"/>
                  </a:lnTo>
                  <a:lnTo>
                    <a:pt x="280" y="553"/>
                  </a:lnTo>
                  <a:lnTo>
                    <a:pt x="276" y="553"/>
                  </a:lnTo>
                  <a:lnTo>
                    <a:pt x="276" y="553"/>
                  </a:lnTo>
                  <a:lnTo>
                    <a:pt x="274" y="552"/>
                  </a:lnTo>
                  <a:lnTo>
                    <a:pt x="272" y="551"/>
                  </a:lnTo>
                  <a:lnTo>
                    <a:pt x="270" y="549"/>
                  </a:lnTo>
                  <a:lnTo>
                    <a:pt x="268" y="547"/>
                  </a:lnTo>
                  <a:lnTo>
                    <a:pt x="266" y="544"/>
                  </a:lnTo>
                  <a:lnTo>
                    <a:pt x="264" y="542"/>
                  </a:lnTo>
                  <a:lnTo>
                    <a:pt x="262" y="541"/>
                  </a:lnTo>
                  <a:lnTo>
                    <a:pt x="261" y="540"/>
                  </a:lnTo>
                  <a:lnTo>
                    <a:pt x="261" y="540"/>
                  </a:lnTo>
                  <a:lnTo>
                    <a:pt x="259" y="539"/>
                  </a:lnTo>
                  <a:lnTo>
                    <a:pt x="257" y="540"/>
                  </a:lnTo>
                  <a:lnTo>
                    <a:pt x="256" y="541"/>
                  </a:lnTo>
                  <a:lnTo>
                    <a:pt x="254" y="542"/>
                  </a:lnTo>
                  <a:lnTo>
                    <a:pt x="254" y="543"/>
                  </a:lnTo>
                  <a:lnTo>
                    <a:pt x="252" y="546"/>
                  </a:lnTo>
                  <a:lnTo>
                    <a:pt x="247" y="556"/>
                  </a:lnTo>
                  <a:lnTo>
                    <a:pt x="244" y="561"/>
                  </a:lnTo>
                  <a:lnTo>
                    <a:pt x="243" y="562"/>
                  </a:lnTo>
                  <a:lnTo>
                    <a:pt x="242" y="563"/>
                  </a:lnTo>
                  <a:lnTo>
                    <a:pt x="241" y="564"/>
                  </a:lnTo>
                  <a:lnTo>
                    <a:pt x="239" y="564"/>
                  </a:lnTo>
                  <a:lnTo>
                    <a:pt x="237" y="565"/>
                  </a:lnTo>
                  <a:lnTo>
                    <a:pt x="224" y="567"/>
                  </a:lnTo>
                  <a:lnTo>
                    <a:pt x="219" y="568"/>
                  </a:lnTo>
                  <a:lnTo>
                    <a:pt x="217" y="569"/>
                  </a:lnTo>
                  <a:lnTo>
                    <a:pt x="213" y="570"/>
                  </a:lnTo>
                  <a:lnTo>
                    <a:pt x="204" y="574"/>
                  </a:lnTo>
                  <a:lnTo>
                    <a:pt x="202" y="575"/>
                  </a:lnTo>
                  <a:lnTo>
                    <a:pt x="200" y="576"/>
                  </a:lnTo>
                  <a:lnTo>
                    <a:pt x="199" y="576"/>
                  </a:lnTo>
                  <a:lnTo>
                    <a:pt x="197" y="576"/>
                  </a:lnTo>
                  <a:lnTo>
                    <a:pt x="192" y="576"/>
                  </a:lnTo>
                  <a:lnTo>
                    <a:pt x="184" y="576"/>
                  </a:lnTo>
                  <a:lnTo>
                    <a:pt x="178" y="576"/>
                  </a:lnTo>
                  <a:lnTo>
                    <a:pt x="174" y="576"/>
                  </a:lnTo>
                  <a:lnTo>
                    <a:pt x="167" y="578"/>
                  </a:lnTo>
                  <a:lnTo>
                    <a:pt x="164" y="578"/>
                  </a:lnTo>
                  <a:lnTo>
                    <a:pt x="164" y="577"/>
                  </a:lnTo>
                  <a:lnTo>
                    <a:pt x="162" y="577"/>
                  </a:lnTo>
                  <a:lnTo>
                    <a:pt x="162" y="577"/>
                  </a:lnTo>
                  <a:lnTo>
                    <a:pt x="161" y="575"/>
                  </a:lnTo>
                  <a:lnTo>
                    <a:pt x="159" y="572"/>
                  </a:lnTo>
                  <a:lnTo>
                    <a:pt x="156" y="564"/>
                  </a:lnTo>
                  <a:lnTo>
                    <a:pt x="154" y="559"/>
                  </a:lnTo>
                  <a:lnTo>
                    <a:pt x="152" y="555"/>
                  </a:lnTo>
                  <a:lnTo>
                    <a:pt x="150" y="552"/>
                  </a:lnTo>
                  <a:lnTo>
                    <a:pt x="148" y="549"/>
                  </a:lnTo>
                  <a:lnTo>
                    <a:pt x="147" y="548"/>
                  </a:lnTo>
                  <a:lnTo>
                    <a:pt x="144" y="547"/>
                  </a:lnTo>
                  <a:lnTo>
                    <a:pt x="143" y="547"/>
                  </a:lnTo>
                  <a:lnTo>
                    <a:pt x="141" y="546"/>
                  </a:lnTo>
                  <a:lnTo>
                    <a:pt x="116" y="545"/>
                  </a:lnTo>
                  <a:lnTo>
                    <a:pt x="104" y="544"/>
                  </a:lnTo>
                  <a:lnTo>
                    <a:pt x="91" y="544"/>
                  </a:lnTo>
                  <a:lnTo>
                    <a:pt x="85" y="544"/>
                  </a:lnTo>
                  <a:lnTo>
                    <a:pt x="75" y="545"/>
                  </a:lnTo>
                  <a:lnTo>
                    <a:pt x="72" y="545"/>
                  </a:lnTo>
                  <a:lnTo>
                    <a:pt x="68" y="545"/>
                  </a:lnTo>
                  <a:lnTo>
                    <a:pt x="66" y="544"/>
                  </a:lnTo>
                  <a:lnTo>
                    <a:pt x="64" y="544"/>
                  </a:lnTo>
                  <a:lnTo>
                    <a:pt x="61" y="543"/>
                  </a:lnTo>
                  <a:lnTo>
                    <a:pt x="59" y="542"/>
                  </a:lnTo>
                  <a:lnTo>
                    <a:pt x="57" y="541"/>
                  </a:lnTo>
                  <a:lnTo>
                    <a:pt x="55" y="539"/>
                  </a:lnTo>
                  <a:lnTo>
                    <a:pt x="54" y="538"/>
                  </a:lnTo>
                  <a:lnTo>
                    <a:pt x="52" y="537"/>
                  </a:lnTo>
                  <a:lnTo>
                    <a:pt x="49" y="530"/>
                  </a:lnTo>
                  <a:lnTo>
                    <a:pt x="48" y="528"/>
                  </a:lnTo>
                  <a:lnTo>
                    <a:pt x="47" y="527"/>
                  </a:lnTo>
                  <a:lnTo>
                    <a:pt x="45" y="525"/>
                  </a:lnTo>
                  <a:lnTo>
                    <a:pt x="44" y="524"/>
                  </a:lnTo>
                  <a:lnTo>
                    <a:pt x="42" y="522"/>
                  </a:lnTo>
                  <a:lnTo>
                    <a:pt x="39" y="521"/>
                  </a:lnTo>
                  <a:lnTo>
                    <a:pt x="37" y="519"/>
                  </a:lnTo>
                  <a:lnTo>
                    <a:pt x="34" y="518"/>
                  </a:lnTo>
                  <a:lnTo>
                    <a:pt x="31" y="517"/>
                  </a:lnTo>
                  <a:lnTo>
                    <a:pt x="27" y="516"/>
                  </a:lnTo>
                  <a:lnTo>
                    <a:pt x="21" y="514"/>
                  </a:lnTo>
                  <a:lnTo>
                    <a:pt x="10" y="512"/>
                  </a:lnTo>
                  <a:lnTo>
                    <a:pt x="7" y="512"/>
                  </a:lnTo>
                  <a:lnTo>
                    <a:pt x="5" y="511"/>
                  </a:lnTo>
                  <a:lnTo>
                    <a:pt x="3" y="510"/>
                  </a:lnTo>
                  <a:lnTo>
                    <a:pt x="1" y="509"/>
                  </a:lnTo>
                  <a:lnTo>
                    <a:pt x="0" y="508"/>
                  </a:lnTo>
                  <a:lnTo>
                    <a:pt x="0" y="508"/>
                  </a:lnTo>
                  <a:lnTo>
                    <a:pt x="0" y="507"/>
                  </a:lnTo>
                  <a:lnTo>
                    <a:pt x="0" y="507"/>
                  </a:lnTo>
                  <a:lnTo>
                    <a:pt x="0" y="502"/>
                  </a:lnTo>
                  <a:lnTo>
                    <a:pt x="0" y="499"/>
                  </a:lnTo>
                  <a:lnTo>
                    <a:pt x="4" y="484"/>
                  </a:lnTo>
                  <a:lnTo>
                    <a:pt x="5" y="480"/>
                  </a:lnTo>
                  <a:lnTo>
                    <a:pt x="6" y="477"/>
                  </a:lnTo>
                  <a:lnTo>
                    <a:pt x="7" y="474"/>
                  </a:lnTo>
                  <a:lnTo>
                    <a:pt x="8" y="472"/>
                  </a:lnTo>
                  <a:lnTo>
                    <a:pt x="9" y="471"/>
                  </a:lnTo>
                  <a:lnTo>
                    <a:pt x="10" y="469"/>
                  </a:lnTo>
                  <a:lnTo>
                    <a:pt x="13" y="466"/>
                  </a:lnTo>
                  <a:lnTo>
                    <a:pt x="18" y="461"/>
                  </a:lnTo>
                  <a:lnTo>
                    <a:pt x="19" y="459"/>
                  </a:lnTo>
                  <a:lnTo>
                    <a:pt x="20" y="458"/>
                  </a:lnTo>
                  <a:lnTo>
                    <a:pt x="21" y="457"/>
                  </a:lnTo>
                  <a:lnTo>
                    <a:pt x="21" y="455"/>
                  </a:lnTo>
                  <a:lnTo>
                    <a:pt x="22" y="453"/>
                  </a:lnTo>
                  <a:lnTo>
                    <a:pt x="22" y="451"/>
                  </a:lnTo>
                  <a:lnTo>
                    <a:pt x="21" y="447"/>
                  </a:lnTo>
                  <a:lnTo>
                    <a:pt x="20" y="445"/>
                  </a:lnTo>
                  <a:lnTo>
                    <a:pt x="19" y="442"/>
                  </a:lnTo>
                  <a:lnTo>
                    <a:pt x="18" y="440"/>
                  </a:lnTo>
                  <a:lnTo>
                    <a:pt x="17" y="438"/>
                  </a:lnTo>
                  <a:lnTo>
                    <a:pt x="12" y="432"/>
                  </a:lnTo>
                  <a:lnTo>
                    <a:pt x="10" y="430"/>
                  </a:lnTo>
                  <a:lnTo>
                    <a:pt x="8" y="425"/>
                  </a:lnTo>
                  <a:lnTo>
                    <a:pt x="7" y="422"/>
                  </a:lnTo>
                  <a:lnTo>
                    <a:pt x="6" y="419"/>
                  </a:lnTo>
                  <a:lnTo>
                    <a:pt x="5" y="416"/>
                  </a:lnTo>
                  <a:lnTo>
                    <a:pt x="5" y="414"/>
                  </a:lnTo>
                  <a:lnTo>
                    <a:pt x="5" y="412"/>
                  </a:lnTo>
                  <a:lnTo>
                    <a:pt x="6" y="410"/>
                  </a:lnTo>
                  <a:lnTo>
                    <a:pt x="7" y="407"/>
                  </a:lnTo>
                  <a:lnTo>
                    <a:pt x="8" y="406"/>
                  </a:lnTo>
                  <a:lnTo>
                    <a:pt x="9" y="405"/>
                  </a:lnTo>
                  <a:lnTo>
                    <a:pt x="11" y="402"/>
                  </a:lnTo>
                  <a:lnTo>
                    <a:pt x="15" y="398"/>
                  </a:lnTo>
                  <a:lnTo>
                    <a:pt x="19" y="393"/>
                  </a:lnTo>
                  <a:lnTo>
                    <a:pt x="20" y="392"/>
                  </a:lnTo>
                  <a:lnTo>
                    <a:pt x="22" y="391"/>
                  </a:lnTo>
                  <a:lnTo>
                    <a:pt x="26" y="390"/>
                  </a:lnTo>
                  <a:lnTo>
                    <a:pt x="27" y="389"/>
                  </a:lnTo>
                  <a:lnTo>
                    <a:pt x="29" y="388"/>
                  </a:lnTo>
                  <a:lnTo>
                    <a:pt x="29" y="387"/>
                  </a:lnTo>
                  <a:lnTo>
                    <a:pt x="30" y="386"/>
                  </a:lnTo>
                  <a:lnTo>
                    <a:pt x="31" y="384"/>
                  </a:lnTo>
                  <a:lnTo>
                    <a:pt x="32" y="380"/>
                  </a:lnTo>
                  <a:lnTo>
                    <a:pt x="33" y="378"/>
                  </a:lnTo>
                  <a:lnTo>
                    <a:pt x="33" y="377"/>
                  </a:lnTo>
                  <a:lnTo>
                    <a:pt x="33" y="376"/>
                  </a:lnTo>
                  <a:lnTo>
                    <a:pt x="32" y="375"/>
                  </a:lnTo>
                  <a:lnTo>
                    <a:pt x="32" y="375"/>
                  </a:lnTo>
                  <a:lnTo>
                    <a:pt x="31" y="373"/>
                  </a:lnTo>
                  <a:lnTo>
                    <a:pt x="26" y="370"/>
                  </a:lnTo>
                  <a:lnTo>
                    <a:pt x="24" y="368"/>
                  </a:lnTo>
                  <a:lnTo>
                    <a:pt x="22" y="366"/>
                  </a:lnTo>
                  <a:lnTo>
                    <a:pt x="21" y="365"/>
                  </a:lnTo>
                  <a:lnTo>
                    <a:pt x="20" y="363"/>
                  </a:lnTo>
                  <a:lnTo>
                    <a:pt x="19" y="361"/>
                  </a:lnTo>
                  <a:lnTo>
                    <a:pt x="19" y="360"/>
                  </a:lnTo>
                  <a:lnTo>
                    <a:pt x="18" y="357"/>
                  </a:lnTo>
                  <a:lnTo>
                    <a:pt x="18" y="356"/>
                  </a:lnTo>
                  <a:lnTo>
                    <a:pt x="18" y="355"/>
                  </a:lnTo>
                  <a:lnTo>
                    <a:pt x="18" y="352"/>
                  </a:lnTo>
                  <a:lnTo>
                    <a:pt x="18" y="351"/>
                  </a:lnTo>
                  <a:lnTo>
                    <a:pt x="18" y="350"/>
                  </a:lnTo>
                  <a:lnTo>
                    <a:pt x="19" y="349"/>
                  </a:lnTo>
                  <a:lnTo>
                    <a:pt x="19" y="348"/>
                  </a:lnTo>
                  <a:lnTo>
                    <a:pt x="20" y="347"/>
                  </a:lnTo>
                  <a:lnTo>
                    <a:pt x="21" y="346"/>
                  </a:lnTo>
                  <a:lnTo>
                    <a:pt x="22" y="345"/>
                  </a:lnTo>
                  <a:lnTo>
                    <a:pt x="29" y="342"/>
                  </a:lnTo>
                  <a:lnTo>
                    <a:pt x="30" y="340"/>
                  </a:lnTo>
                  <a:lnTo>
                    <a:pt x="32" y="340"/>
                  </a:lnTo>
                  <a:lnTo>
                    <a:pt x="33" y="338"/>
                  </a:lnTo>
                  <a:lnTo>
                    <a:pt x="34" y="337"/>
                  </a:lnTo>
                  <a:lnTo>
                    <a:pt x="35" y="335"/>
                  </a:lnTo>
                  <a:lnTo>
                    <a:pt x="36" y="334"/>
                  </a:lnTo>
                  <a:lnTo>
                    <a:pt x="37" y="332"/>
                  </a:lnTo>
                  <a:lnTo>
                    <a:pt x="37" y="330"/>
                  </a:lnTo>
                  <a:lnTo>
                    <a:pt x="37" y="329"/>
                  </a:lnTo>
                  <a:lnTo>
                    <a:pt x="37" y="327"/>
                  </a:lnTo>
                  <a:lnTo>
                    <a:pt x="37" y="325"/>
                  </a:lnTo>
                  <a:lnTo>
                    <a:pt x="37" y="321"/>
                  </a:lnTo>
                  <a:lnTo>
                    <a:pt x="37" y="317"/>
                  </a:lnTo>
                  <a:lnTo>
                    <a:pt x="37" y="315"/>
                  </a:lnTo>
                  <a:lnTo>
                    <a:pt x="37" y="312"/>
                  </a:lnTo>
                  <a:lnTo>
                    <a:pt x="37" y="310"/>
                  </a:lnTo>
                  <a:lnTo>
                    <a:pt x="37" y="307"/>
                  </a:lnTo>
                  <a:lnTo>
                    <a:pt x="39" y="305"/>
                  </a:lnTo>
                  <a:lnTo>
                    <a:pt x="39" y="302"/>
                  </a:lnTo>
                  <a:lnTo>
                    <a:pt x="42" y="300"/>
                  </a:lnTo>
                  <a:lnTo>
                    <a:pt x="47" y="295"/>
                  </a:lnTo>
                  <a:lnTo>
                    <a:pt x="49" y="292"/>
                  </a:lnTo>
                  <a:lnTo>
                    <a:pt x="52" y="290"/>
                  </a:lnTo>
                  <a:lnTo>
                    <a:pt x="59" y="285"/>
                  </a:lnTo>
                  <a:lnTo>
                    <a:pt x="67" y="279"/>
                  </a:lnTo>
                  <a:lnTo>
                    <a:pt x="69" y="277"/>
                  </a:lnTo>
                  <a:lnTo>
                    <a:pt x="71" y="275"/>
                  </a:lnTo>
                  <a:lnTo>
                    <a:pt x="73" y="273"/>
                  </a:lnTo>
                  <a:lnTo>
                    <a:pt x="74" y="270"/>
                  </a:lnTo>
                  <a:lnTo>
                    <a:pt x="76" y="265"/>
                  </a:lnTo>
                  <a:lnTo>
                    <a:pt x="79" y="258"/>
                  </a:lnTo>
                  <a:lnTo>
                    <a:pt x="81" y="254"/>
                  </a:lnTo>
                  <a:lnTo>
                    <a:pt x="83" y="249"/>
                  </a:lnTo>
                  <a:lnTo>
                    <a:pt x="87" y="243"/>
                  </a:lnTo>
                  <a:lnTo>
                    <a:pt x="88" y="240"/>
                  </a:lnTo>
                  <a:lnTo>
                    <a:pt x="89" y="237"/>
                  </a:lnTo>
                  <a:lnTo>
                    <a:pt x="90" y="233"/>
                  </a:lnTo>
                  <a:lnTo>
                    <a:pt x="92" y="228"/>
                  </a:lnTo>
                  <a:lnTo>
                    <a:pt x="92" y="225"/>
                  </a:lnTo>
                  <a:lnTo>
                    <a:pt x="93" y="223"/>
                  </a:lnTo>
                  <a:lnTo>
                    <a:pt x="93" y="220"/>
                  </a:lnTo>
                  <a:lnTo>
                    <a:pt x="92" y="219"/>
                  </a:lnTo>
                  <a:lnTo>
                    <a:pt x="92" y="217"/>
                  </a:lnTo>
                  <a:lnTo>
                    <a:pt x="91" y="215"/>
                  </a:lnTo>
                  <a:lnTo>
                    <a:pt x="89" y="213"/>
                  </a:lnTo>
                  <a:lnTo>
                    <a:pt x="88" y="211"/>
                  </a:lnTo>
                  <a:lnTo>
                    <a:pt x="84" y="207"/>
                  </a:lnTo>
                  <a:lnTo>
                    <a:pt x="83" y="205"/>
                  </a:lnTo>
                  <a:lnTo>
                    <a:pt x="81" y="201"/>
                  </a:lnTo>
                  <a:lnTo>
                    <a:pt x="77" y="193"/>
                  </a:lnTo>
                  <a:lnTo>
                    <a:pt x="74" y="188"/>
                  </a:lnTo>
                  <a:lnTo>
                    <a:pt x="73" y="183"/>
                  </a:lnTo>
                  <a:lnTo>
                    <a:pt x="69" y="173"/>
                  </a:lnTo>
                  <a:lnTo>
                    <a:pt x="69" y="170"/>
                  </a:lnTo>
                  <a:lnTo>
                    <a:pt x="69" y="169"/>
                  </a:lnTo>
                  <a:lnTo>
                    <a:pt x="69" y="168"/>
                  </a:lnTo>
                  <a:lnTo>
                    <a:pt x="74" y="155"/>
                  </a:lnTo>
                  <a:lnTo>
                    <a:pt x="75" y="151"/>
                  </a:lnTo>
                  <a:lnTo>
                    <a:pt x="77" y="147"/>
                  </a:lnTo>
                  <a:lnTo>
                    <a:pt x="79" y="143"/>
                  </a:lnTo>
                  <a:lnTo>
                    <a:pt x="80" y="140"/>
                  </a:lnTo>
                  <a:lnTo>
                    <a:pt x="87" y="130"/>
                  </a:lnTo>
                  <a:lnTo>
                    <a:pt x="88" y="128"/>
                  </a:lnTo>
                  <a:lnTo>
                    <a:pt x="89" y="127"/>
                  </a:lnTo>
                  <a:lnTo>
                    <a:pt x="89" y="125"/>
                  </a:lnTo>
                  <a:lnTo>
                    <a:pt x="88" y="123"/>
                  </a:lnTo>
                  <a:lnTo>
                    <a:pt x="86" y="118"/>
                  </a:lnTo>
                  <a:lnTo>
                    <a:pt x="82" y="112"/>
                  </a:lnTo>
                  <a:lnTo>
                    <a:pt x="80" y="106"/>
                  </a:lnTo>
                  <a:lnTo>
                    <a:pt x="79" y="103"/>
                  </a:lnTo>
                  <a:lnTo>
                    <a:pt x="77" y="99"/>
                  </a:lnTo>
                  <a:lnTo>
                    <a:pt x="77" y="93"/>
                  </a:lnTo>
                  <a:lnTo>
                    <a:pt x="76" y="89"/>
                  </a:lnTo>
                  <a:lnTo>
                    <a:pt x="76" y="86"/>
                  </a:lnTo>
                  <a:lnTo>
                    <a:pt x="75" y="75"/>
                  </a:lnTo>
                  <a:lnTo>
                    <a:pt x="75" y="73"/>
                  </a:lnTo>
                  <a:lnTo>
                    <a:pt x="74" y="69"/>
                  </a:lnTo>
                  <a:lnTo>
                    <a:pt x="73" y="65"/>
                  </a:lnTo>
                  <a:lnTo>
                    <a:pt x="72" y="61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68" y="56"/>
                  </a:lnTo>
                  <a:lnTo>
                    <a:pt x="67" y="53"/>
                  </a:lnTo>
                  <a:lnTo>
                    <a:pt x="66" y="52"/>
                  </a:lnTo>
                  <a:lnTo>
                    <a:pt x="65" y="50"/>
                  </a:lnTo>
                  <a:lnTo>
                    <a:pt x="65" y="49"/>
                  </a:lnTo>
                  <a:lnTo>
                    <a:pt x="64" y="48"/>
                  </a:lnTo>
                  <a:lnTo>
                    <a:pt x="64" y="46"/>
                  </a:lnTo>
                  <a:lnTo>
                    <a:pt x="64" y="45"/>
                  </a:lnTo>
                  <a:lnTo>
                    <a:pt x="65" y="41"/>
                  </a:lnTo>
                  <a:lnTo>
                    <a:pt x="69" y="28"/>
                  </a:lnTo>
                  <a:lnTo>
                    <a:pt x="70" y="25"/>
                  </a:lnTo>
                  <a:lnTo>
                    <a:pt x="71" y="24"/>
                  </a:lnTo>
                  <a:lnTo>
                    <a:pt x="72" y="23"/>
                  </a:lnTo>
                  <a:lnTo>
                    <a:pt x="74" y="20"/>
                  </a:lnTo>
                  <a:lnTo>
                    <a:pt x="75" y="18"/>
                  </a:lnTo>
                  <a:lnTo>
                    <a:pt x="76" y="18"/>
                  </a:lnTo>
                  <a:lnTo>
                    <a:pt x="77" y="17"/>
                  </a:lnTo>
                  <a:lnTo>
                    <a:pt x="77" y="17"/>
                  </a:lnTo>
                  <a:lnTo>
                    <a:pt x="77" y="18"/>
                  </a:lnTo>
                  <a:lnTo>
                    <a:pt x="79" y="19"/>
                  </a:lnTo>
                  <a:lnTo>
                    <a:pt x="81" y="20"/>
                  </a:lnTo>
                  <a:lnTo>
                    <a:pt x="83" y="20"/>
                  </a:lnTo>
                  <a:lnTo>
                    <a:pt x="86" y="21"/>
                  </a:lnTo>
                  <a:lnTo>
                    <a:pt x="89" y="22"/>
                  </a:lnTo>
                  <a:lnTo>
                    <a:pt x="92" y="23"/>
                  </a:lnTo>
                  <a:lnTo>
                    <a:pt x="93" y="22"/>
                  </a:lnTo>
                  <a:lnTo>
                    <a:pt x="94" y="21"/>
                  </a:lnTo>
                  <a:lnTo>
                    <a:pt x="95" y="20"/>
                  </a:lnTo>
                  <a:lnTo>
                    <a:pt x="98" y="18"/>
                  </a:lnTo>
                  <a:lnTo>
                    <a:pt x="101" y="13"/>
                  </a:lnTo>
                  <a:lnTo>
                    <a:pt x="102" y="13"/>
                  </a:lnTo>
                  <a:lnTo>
                    <a:pt x="102" y="13"/>
                  </a:lnTo>
                  <a:lnTo>
                    <a:pt x="104" y="12"/>
                  </a:lnTo>
                  <a:lnTo>
                    <a:pt x="106" y="12"/>
                  </a:lnTo>
                  <a:lnTo>
                    <a:pt x="109" y="13"/>
                  </a:lnTo>
                  <a:lnTo>
                    <a:pt x="113" y="13"/>
                  </a:lnTo>
                  <a:lnTo>
                    <a:pt x="114" y="13"/>
                  </a:lnTo>
                  <a:lnTo>
                    <a:pt x="115" y="13"/>
                  </a:lnTo>
                  <a:lnTo>
                    <a:pt x="118" y="11"/>
                  </a:lnTo>
                  <a:lnTo>
                    <a:pt x="119" y="10"/>
                  </a:lnTo>
                  <a:lnTo>
                    <a:pt x="119" y="10"/>
                  </a:lnTo>
                  <a:lnTo>
                    <a:pt x="121" y="7"/>
                  </a:lnTo>
                  <a:lnTo>
                    <a:pt x="122" y="5"/>
                  </a:lnTo>
                  <a:lnTo>
                    <a:pt x="124" y="3"/>
                  </a:lnTo>
                  <a:lnTo>
                    <a:pt x="127" y="0"/>
                  </a:lnTo>
                  <a:lnTo>
                    <a:pt x="127" y="0"/>
                  </a:lnTo>
                  <a:close/>
                </a:path>
              </a:pathLst>
            </a:custGeom>
            <a:solidFill>
              <a:srgbClr val="EFF3FF"/>
            </a:solidFill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101">
              <a:extLst>
                <a:ext uri="{FF2B5EF4-FFF2-40B4-BE49-F238E27FC236}">
                  <a16:creationId xmlns:a16="http://schemas.microsoft.com/office/drawing/2014/main" id="{E2B25CD9-D035-3016-F42F-561F127D33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186" y="5395750"/>
              <a:ext cx="1076325" cy="930275"/>
            </a:xfrm>
            <a:custGeom>
              <a:avLst/>
              <a:gdLst>
                <a:gd name="T0" fmla="*/ 141 w 678"/>
                <a:gd name="T1" fmla="*/ 7 h 586"/>
                <a:gd name="T2" fmla="*/ 179 w 678"/>
                <a:gd name="T3" fmla="*/ 19 h 586"/>
                <a:gd name="T4" fmla="*/ 197 w 678"/>
                <a:gd name="T5" fmla="*/ 39 h 586"/>
                <a:gd name="T6" fmla="*/ 244 w 678"/>
                <a:gd name="T7" fmla="*/ 42 h 586"/>
                <a:gd name="T8" fmla="*/ 296 w 678"/>
                <a:gd name="T9" fmla="*/ 62 h 586"/>
                <a:gd name="T10" fmla="*/ 324 w 678"/>
                <a:gd name="T11" fmla="*/ 74 h 586"/>
                <a:gd name="T12" fmla="*/ 364 w 678"/>
                <a:gd name="T13" fmla="*/ 65 h 586"/>
                <a:gd name="T14" fmla="*/ 394 w 678"/>
                <a:gd name="T15" fmla="*/ 40 h 586"/>
                <a:gd name="T16" fmla="*/ 410 w 678"/>
                <a:gd name="T17" fmla="*/ 47 h 586"/>
                <a:gd name="T18" fmla="*/ 434 w 678"/>
                <a:gd name="T19" fmla="*/ 51 h 586"/>
                <a:gd name="T20" fmla="*/ 447 w 678"/>
                <a:gd name="T21" fmla="*/ 68 h 586"/>
                <a:gd name="T22" fmla="*/ 470 w 678"/>
                <a:gd name="T23" fmla="*/ 95 h 586"/>
                <a:gd name="T24" fmla="*/ 510 w 678"/>
                <a:gd name="T25" fmla="*/ 107 h 586"/>
                <a:gd name="T26" fmla="*/ 601 w 678"/>
                <a:gd name="T27" fmla="*/ 105 h 586"/>
                <a:gd name="T28" fmla="*/ 629 w 678"/>
                <a:gd name="T29" fmla="*/ 94 h 586"/>
                <a:gd name="T30" fmla="*/ 644 w 678"/>
                <a:gd name="T31" fmla="*/ 75 h 586"/>
                <a:gd name="T32" fmla="*/ 652 w 678"/>
                <a:gd name="T33" fmla="*/ 92 h 586"/>
                <a:gd name="T34" fmla="*/ 652 w 678"/>
                <a:gd name="T35" fmla="*/ 145 h 586"/>
                <a:gd name="T36" fmla="*/ 677 w 678"/>
                <a:gd name="T37" fmla="*/ 182 h 586"/>
                <a:gd name="T38" fmla="*/ 668 w 678"/>
                <a:gd name="T39" fmla="*/ 201 h 586"/>
                <a:gd name="T40" fmla="*/ 639 w 678"/>
                <a:gd name="T41" fmla="*/ 226 h 586"/>
                <a:gd name="T42" fmla="*/ 606 w 678"/>
                <a:gd name="T43" fmla="*/ 244 h 586"/>
                <a:gd name="T44" fmla="*/ 591 w 678"/>
                <a:gd name="T45" fmla="*/ 274 h 586"/>
                <a:gd name="T46" fmla="*/ 584 w 678"/>
                <a:gd name="T47" fmla="*/ 312 h 586"/>
                <a:gd name="T48" fmla="*/ 574 w 678"/>
                <a:gd name="T49" fmla="*/ 336 h 586"/>
                <a:gd name="T50" fmla="*/ 585 w 678"/>
                <a:gd name="T51" fmla="*/ 365 h 586"/>
                <a:gd name="T52" fmla="*/ 584 w 678"/>
                <a:gd name="T53" fmla="*/ 379 h 586"/>
                <a:gd name="T54" fmla="*/ 570 w 678"/>
                <a:gd name="T55" fmla="*/ 385 h 586"/>
                <a:gd name="T56" fmla="*/ 527 w 678"/>
                <a:gd name="T57" fmla="*/ 367 h 586"/>
                <a:gd name="T58" fmla="*/ 474 w 678"/>
                <a:gd name="T59" fmla="*/ 367 h 586"/>
                <a:gd name="T60" fmla="*/ 411 w 678"/>
                <a:gd name="T61" fmla="*/ 379 h 586"/>
                <a:gd name="T62" fmla="*/ 379 w 678"/>
                <a:gd name="T63" fmla="*/ 379 h 586"/>
                <a:gd name="T64" fmla="*/ 376 w 678"/>
                <a:gd name="T65" fmla="*/ 409 h 586"/>
                <a:gd name="T66" fmla="*/ 384 w 678"/>
                <a:gd name="T67" fmla="*/ 464 h 586"/>
                <a:gd name="T68" fmla="*/ 393 w 678"/>
                <a:gd name="T69" fmla="*/ 515 h 586"/>
                <a:gd name="T70" fmla="*/ 375 w 678"/>
                <a:gd name="T71" fmla="*/ 559 h 586"/>
                <a:gd name="T72" fmla="*/ 347 w 678"/>
                <a:gd name="T73" fmla="*/ 573 h 586"/>
                <a:gd name="T74" fmla="*/ 326 w 678"/>
                <a:gd name="T75" fmla="*/ 576 h 586"/>
                <a:gd name="T76" fmla="*/ 281 w 678"/>
                <a:gd name="T77" fmla="*/ 551 h 586"/>
                <a:gd name="T78" fmla="*/ 243 w 678"/>
                <a:gd name="T79" fmla="*/ 531 h 586"/>
                <a:gd name="T80" fmla="*/ 226 w 678"/>
                <a:gd name="T81" fmla="*/ 477 h 586"/>
                <a:gd name="T82" fmla="*/ 203 w 678"/>
                <a:gd name="T83" fmla="*/ 454 h 586"/>
                <a:gd name="T84" fmla="*/ 181 w 678"/>
                <a:gd name="T85" fmla="*/ 402 h 586"/>
                <a:gd name="T86" fmla="*/ 148 w 678"/>
                <a:gd name="T87" fmla="*/ 394 h 586"/>
                <a:gd name="T88" fmla="*/ 115 w 678"/>
                <a:gd name="T89" fmla="*/ 384 h 586"/>
                <a:gd name="T90" fmla="*/ 75 w 678"/>
                <a:gd name="T91" fmla="*/ 308 h 586"/>
                <a:gd name="T92" fmla="*/ 57 w 678"/>
                <a:gd name="T93" fmla="*/ 301 h 586"/>
                <a:gd name="T94" fmla="*/ 34 w 678"/>
                <a:gd name="T95" fmla="*/ 275 h 586"/>
                <a:gd name="T96" fmla="*/ 8 w 678"/>
                <a:gd name="T97" fmla="*/ 270 h 586"/>
                <a:gd name="T98" fmla="*/ 0 w 678"/>
                <a:gd name="T99" fmla="*/ 232 h 586"/>
                <a:gd name="T100" fmla="*/ 13 w 678"/>
                <a:gd name="T101" fmla="*/ 184 h 586"/>
                <a:gd name="T102" fmla="*/ 40 w 678"/>
                <a:gd name="T103" fmla="*/ 159 h 586"/>
                <a:gd name="T104" fmla="*/ 56 w 678"/>
                <a:gd name="T105" fmla="*/ 140 h 586"/>
                <a:gd name="T106" fmla="*/ 47 w 678"/>
                <a:gd name="T107" fmla="*/ 91 h 586"/>
                <a:gd name="T108" fmla="*/ 52 w 678"/>
                <a:gd name="T109" fmla="*/ 40 h 586"/>
                <a:gd name="T110" fmla="*/ 74 w 678"/>
                <a:gd name="T111" fmla="*/ 27 h 586"/>
                <a:gd name="T112" fmla="*/ 99 w 678"/>
                <a:gd name="T113" fmla="*/ 22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78" h="586">
                  <a:moveTo>
                    <a:pt x="132" y="0"/>
                  </a:moveTo>
                  <a:lnTo>
                    <a:pt x="135" y="2"/>
                  </a:lnTo>
                  <a:lnTo>
                    <a:pt x="137" y="1"/>
                  </a:lnTo>
                  <a:lnTo>
                    <a:pt x="137" y="1"/>
                  </a:lnTo>
                  <a:lnTo>
                    <a:pt x="138" y="2"/>
                  </a:lnTo>
                  <a:lnTo>
                    <a:pt x="139" y="2"/>
                  </a:lnTo>
                  <a:lnTo>
                    <a:pt x="140" y="5"/>
                  </a:lnTo>
                  <a:lnTo>
                    <a:pt x="140" y="6"/>
                  </a:lnTo>
                  <a:lnTo>
                    <a:pt x="140" y="6"/>
                  </a:lnTo>
                  <a:lnTo>
                    <a:pt x="141" y="7"/>
                  </a:lnTo>
                  <a:lnTo>
                    <a:pt x="143" y="8"/>
                  </a:lnTo>
                  <a:lnTo>
                    <a:pt x="145" y="9"/>
                  </a:lnTo>
                  <a:lnTo>
                    <a:pt x="147" y="10"/>
                  </a:lnTo>
                  <a:lnTo>
                    <a:pt x="150" y="10"/>
                  </a:lnTo>
                  <a:lnTo>
                    <a:pt x="161" y="12"/>
                  </a:lnTo>
                  <a:lnTo>
                    <a:pt x="167" y="14"/>
                  </a:lnTo>
                  <a:lnTo>
                    <a:pt x="171" y="15"/>
                  </a:lnTo>
                  <a:lnTo>
                    <a:pt x="174" y="16"/>
                  </a:lnTo>
                  <a:lnTo>
                    <a:pt x="177" y="17"/>
                  </a:lnTo>
                  <a:lnTo>
                    <a:pt x="179" y="19"/>
                  </a:lnTo>
                  <a:lnTo>
                    <a:pt x="182" y="20"/>
                  </a:lnTo>
                  <a:lnTo>
                    <a:pt x="184" y="22"/>
                  </a:lnTo>
                  <a:lnTo>
                    <a:pt x="185" y="23"/>
                  </a:lnTo>
                  <a:lnTo>
                    <a:pt x="187" y="25"/>
                  </a:lnTo>
                  <a:lnTo>
                    <a:pt x="188" y="26"/>
                  </a:lnTo>
                  <a:lnTo>
                    <a:pt x="189" y="28"/>
                  </a:lnTo>
                  <a:lnTo>
                    <a:pt x="192" y="35"/>
                  </a:lnTo>
                  <a:lnTo>
                    <a:pt x="194" y="36"/>
                  </a:lnTo>
                  <a:lnTo>
                    <a:pt x="195" y="37"/>
                  </a:lnTo>
                  <a:lnTo>
                    <a:pt x="197" y="39"/>
                  </a:lnTo>
                  <a:lnTo>
                    <a:pt x="199" y="40"/>
                  </a:lnTo>
                  <a:lnTo>
                    <a:pt x="201" y="41"/>
                  </a:lnTo>
                  <a:lnTo>
                    <a:pt x="204" y="42"/>
                  </a:lnTo>
                  <a:lnTo>
                    <a:pt x="206" y="42"/>
                  </a:lnTo>
                  <a:lnTo>
                    <a:pt x="208" y="43"/>
                  </a:lnTo>
                  <a:lnTo>
                    <a:pt x="212" y="43"/>
                  </a:lnTo>
                  <a:lnTo>
                    <a:pt x="215" y="43"/>
                  </a:lnTo>
                  <a:lnTo>
                    <a:pt x="225" y="42"/>
                  </a:lnTo>
                  <a:lnTo>
                    <a:pt x="231" y="42"/>
                  </a:lnTo>
                  <a:lnTo>
                    <a:pt x="244" y="42"/>
                  </a:lnTo>
                  <a:lnTo>
                    <a:pt x="256" y="43"/>
                  </a:lnTo>
                  <a:lnTo>
                    <a:pt x="281" y="44"/>
                  </a:lnTo>
                  <a:lnTo>
                    <a:pt x="283" y="45"/>
                  </a:lnTo>
                  <a:lnTo>
                    <a:pt x="284" y="45"/>
                  </a:lnTo>
                  <a:lnTo>
                    <a:pt x="287" y="46"/>
                  </a:lnTo>
                  <a:lnTo>
                    <a:pt x="288" y="47"/>
                  </a:lnTo>
                  <a:lnTo>
                    <a:pt x="290" y="50"/>
                  </a:lnTo>
                  <a:lnTo>
                    <a:pt x="292" y="53"/>
                  </a:lnTo>
                  <a:lnTo>
                    <a:pt x="294" y="57"/>
                  </a:lnTo>
                  <a:lnTo>
                    <a:pt x="296" y="62"/>
                  </a:lnTo>
                  <a:lnTo>
                    <a:pt x="299" y="70"/>
                  </a:lnTo>
                  <a:lnTo>
                    <a:pt x="301" y="73"/>
                  </a:lnTo>
                  <a:lnTo>
                    <a:pt x="302" y="75"/>
                  </a:lnTo>
                  <a:lnTo>
                    <a:pt x="302" y="75"/>
                  </a:lnTo>
                  <a:lnTo>
                    <a:pt x="304" y="75"/>
                  </a:lnTo>
                  <a:lnTo>
                    <a:pt x="304" y="76"/>
                  </a:lnTo>
                  <a:lnTo>
                    <a:pt x="307" y="76"/>
                  </a:lnTo>
                  <a:lnTo>
                    <a:pt x="314" y="74"/>
                  </a:lnTo>
                  <a:lnTo>
                    <a:pt x="318" y="74"/>
                  </a:lnTo>
                  <a:lnTo>
                    <a:pt x="324" y="74"/>
                  </a:lnTo>
                  <a:lnTo>
                    <a:pt x="332" y="74"/>
                  </a:lnTo>
                  <a:lnTo>
                    <a:pt x="337" y="74"/>
                  </a:lnTo>
                  <a:lnTo>
                    <a:pt x="339" y="74"/>
                  </a:lnTo>
                  <a:lnTo>
                    <a:pt x="340" y="74"/>
                  </a:lnTo>
                  <a:lnTo>
                    <a:pt x="342" y="73"/>
                  </a:lnTo>
                  <a:lnTo>
                    <a:pt x="344" y="72"/>
                  </a:lnTo>
                  <a:lnTo>
                    <a:pt x="353" y="68"/>
                  </a:lnTo>
                  <a:lnTo>
                    <a:pt x="357" y="67"/>
                  </a:lnTo>
                  <a:lnTo>
                    <a:pt x="359" y="66"/>
                  </a:lnTo>
                  <a:lnTo>
                    <a:pt x="364" y="65"/>
                  </a:lnTo>
                  <a:lnTo>
                    <a:pt x="377" y="63"/>
                  </a:lnTo>
                  <a:lnTo>
                    <a:pt x="379" y="62"/>
                  </a:lnTo>
                  <a:lnTo>
                    <a:pt x="381" y="62"/>
                  </a:lnTo>
                  <a:lnTo>
                    <a:pt x="382" y="61"/>
                  </a:lnTo>
                  <a:lnTo>
                    <a:pt x="383" y="60"/>
                  </a:lnTo>
                  <a:lnTo>
                    <a:pt x="384" y="59"/>
                  </a:lnTo>
                  <a:lnTo>
                    <a:pt x="387" y="54"/>
                  </a:lnTo>
                  <a:lnTo>
                    <a:pt x="392" y="44"/>
                  </a:lnTo>
                  <a:lnTo>
                    <a:pt x="394" y="41"/>
                  </a:lnTo>
                  <a:lnTo>
                    <a:pt x="394" y="40"/>
                  </a:lnTo>
                  <a:lnTo>
                    <a:pt x="396" y="39"/>
                  </a:lnTo>
                  <a:lnTo>
                    <a:pt x="397" y="38"/>
                  </a:lnTo>
                  <a:lnTo>
                    <a:pt x="399" y="37"/>
                  </a:lnTo>
                  <a:lnTo>
                    <a:pt x="401" y="38"/>
                  </a:lnTo>
                  <a:lnTo>
                    <a:pt x="401" y="38"/>
                  </a:lnTo>
                  <a:lnTo>
                    <a:pt x="402" y="39"/>
                  </a:lnTo>
                  <a:lnTo>
                    <a:pt x="404" y="40"/>
                  </a:lnTo>
                  <a:lnTo>
                    <a:pt x="406" y="42"/>
                  </a:lnTo>
                  <a:lnTo>
                    <a:pt x="408" y="45"/>
                  </a:lnTo>
                  <a:lnTo>
                    <a:pt x="410" y="47"/>
                  </a:lnTo>
                  <a:lnTo>
                    <a:pt x="412" y="49"/>
                  </a:lnTo>
                  <a:lnTo>
                    <a:pt x="414" y="50"/>
                  </a:lnTo>
                  <a:lnTo>
                    <a:pt x="416" y="51"/>
                  </a:lnTo>
                  <a:lnTo>
                    <a:pt x="416" y="51"/>
                  </a:lnTo>
                  <a:lnTo>
                    <a:pt x="420" y="51"/>
                  </a:lnTo>
                  <a:lnTo>
                    <a:pt x="422" y="51"/>
                  </a:lnTo>
                  <a:lnTo>
                    <a:pt x="429" y="50"/>
                  </a:lnTo>
                  <a:lnTo>
                    <a:pt x="432" y="50"/>
                  </a:lnTo>
                  <a:lnTo>
                    <a:pt x="434" y="51"/>
                  </a:lnTo>
                  <a:lnTo>
                    <a:pt x="434" y="51"/>
                  </a:lnTo>
                  <a:lnTo>
                    <a:pt x="436" y="52"/>
                  </a:lnTo>
                  <a:lnTo>
                    <a:pt x="436" y="52"/>
                  </a:lnTo>
                  <a:lnTo>
                    <a:pt x="439" y="54"/>
                  </a:lnTo>
                  <a:lnTo>
                    <a:pt x="439" y="56"/>
                  </a:lnTo>
                  <a:lnTo>
                    <a:pt x="440" y="58"/>
                  </a:lnTo>
                  <a:lnTo>
                    <a:pt x="442" y="62"/>
                  </a:lnTo>
                  <a:lnTo>
                    <a:pt x="443" y="64"/>
                  </a:lnTo>
                  <a:lnTo>
                    <a:pt x="444" y="65"/>
                  </a:lnTo>
                  <a:lnTo>
                    <a:pt x="445" y="66"/>
                  </a:lnTo>
                  <a:lnTo>
                    <a:pt x="447" y="68"/>
                  </a:lnTo>
                  <a:lnTo>
                    <a:pt x="453" y="74"/>
                  </a:lnTo>
                  <a:lnTo>
                    <a:pt x="456" y="77"/>
                  </a:lnTo>
                  <a:lnTo>
                    <a:pt x="457" y="78"/>
                  </a:lnTo>
                  <a:lnTo>
                    <a:pt x="459" y="80"/>
                  </a:lnTo>
                  <a:lnTo>
                    <a:pt x="463" y="87"/>
                  </a:lnTo>
                  <a:lnTo>
                    <a:pt x="465" y="90"/>
                  </a:lnTo>
                  <a:lnTo>
                    <a:pt x="466" y="91"/>
                  </a:lnTo>
                  <a:lnTo>
                    <a:pt x="467" y="92"/>
                  </a:lnTo>
                  <a:lnTo>
                    <a:pt x="469" y="94"/>
                  </a:lnTo>
                  <a:lnTo>
                    <a:pt x="470" y="95"/>
                  </a:lnTo>
                  <a:lnTo>
                    <a:pt x="472" y="96"/>
                  </a:lnTo>
                  <a:lnTo>
                    <a:pt x="475" y="97"/>
                  </a:lnTo>
                  <a:lnTo>
                    <a:pt x="477" y="97"/>
                  </a:lnTo>
                  <a:lnTo>
                    <a:pt x="484" y="98"/>
                  </a:lnTo>
                  <a:lnTo>
                    <a:pt x="489" y="100"/>
                  </a:lnTo>
                  <a:lnTo>
                    <a:pt x="492" y="100"/>
                  </a:lnTo>
                  <a:lnTo>
                    <a:pt x="498" y="103"/>
                  </a:lnTo>
                  <a:lnTo>
                    <a:pt x="501" y="105"/>
                  </a:lnTo>
                  <a:lnTo>
                    <a:pt x="504" y="105"/>
                  </a:lnTo>
                  <a:lnTo>
                    <a:pt x="510" y="107"/>
                  </a:lnTo>
                  <a:lnTo>
                    <a:pt x="520" y="107"/>
                  </a:lnTo>
                  <a:lnTo>
                    <a:pt x="525" y="107"/>
                  </a:lnTo>
                  <a:lnTo>
                    <a:pt x="536" y="107"/>
                  </a:lnTo>
                  <a:lnTo>
                    <a:pt x="550" y="106"/>
                  </a:lnTo>
                  <a:lnTo>
                    <a:pt x="561" y="105"/>
                  </a:lnTo>
                  <a:lnTo>
                    <a:pt x="574" y="105"/>
                  </a:lnTo>
                  <a:lnTo>
                    <a:pt x="580" y="105"/>
                  </a:lnTo>
                  <a:lnTo>
                    <a:pt x="591" y="105"/>
                  </a:lnTo>
                  <a:lnTo>
                    <a:pt x="596" y="105"/>
                  </a:lnTo>
                  <a:lnTo>
                    <a:pt x="601" y="105"/>
                  </a:lnTo>
                  <a:lnTo>
                    <a:pt x="605" y="104"/>
                  </a:lnTo>
                  <a:lnTo>
                    <a:pt x="608" y="103"/>
                  </a:lnTo>
                  <a:lnTo>
                    <a:pt x="611" y="103"/>
                  </a:lnTo>
                  <a:lnTo>
                    <a:pt x="614" y="102"/>
                  </a:lnTo>
                  <a:lnTo>
                    <a:pt x="616" y="101"/>
                  </a:lnTo>
                  <a:lnTo>
                    <a:pt x="619" y="100"/>
                  </a:lnTo>
                  <a:lnTo>
                    <a:pt x="622" y="98"/>
                  </a:lnTo>
                  <a:lnTo>
                    <a:pt x="624" y="97"/>
                  </a:lnTo>
                  <a:lnTo>
                    <a:pt x="627" y="95"/>
                  </a:lnTo>
                  <a:lnTo>
                    <a:pt x="629" y="94"/>
                  </a:lnTo>
                  <a:lnTo>
                    <a:pt x="631" y="92"/>
                  </a:lnTo>
                  <a:lnTo>
                    <a:pt x="634" y="90"/>
                  </a:lnTo>
                  <a:lnTo>
                    <a:pt x="636" y="87"/>
                  </a:lnTo>
                  <a:lnTo>
                    <a:pt x="639" y="84"/>
                  </a:lnTo>
                  <a:lnTo>
                    <a:pt x="641" y="82"/>
                  </a:lnTo>
                  <a:lnTo>
                    <a:pt x="641" y="80"/>
                  </a:lnTo>
                  <a:lnTo>
                    <a:pt x="642" y="78"/>
                  </a:lnTo>
                  <a:lnTo>
                    <a:pt x="643" y="76"/>
                  </a:lnTo>
                  <a:lnTo>
                    <a:pt x="643" y="75"/>
                  </a:lnTo>
                  <a:lnTo>
                    <a:pt x="644" y="75"/>
                  </a:lnTo>
                  <a:lnTo>
                    <a:pt x="646" y="75"/>
                  </a:lnTo>
                  <a:lnTo>
                    <a:pt x="647" y="75"/>
                  </a:lnTo>
                  <a:lnTo>
                    <a:pt x="648" y="77"/>
                  </a:lnTo>
                  <a:lnTo>
                    <a:pt x="650" y="78"/>
                  </a:lnTo>
                  <a:lnTo>
                    <a:pt x="651" y="79"/>
                  </a:lnTo>
                  <a:lnTo>
                    <a:pt x="651" y="80"/>
                  </a:lnTo>
                  <a:lnTo>
                    <a:pt x="652" y="82"/>
                  </a:lnTo>
                  <a:lnTo>
                    <a:pt x="652" y="85"/>
                  </a:lnTo>
                  <a:lnTo>
                    <a:pt x="652" y="87"/>
                  </a:lnTo>
                  <a:lnTo>
                    <a:pt x="652" y="92"/>
                  </a:lnTo>
                  <a:lnTo>
                    <a:pt x="651" y="110"/>
                  </a:lnTo>
                  <a:lnTo>
                    <a:pt x="651" y="114"/>
                  </a:lnTo>
                  <a:lnTo>
                    <a:pt x="649" y="122"/>
                  </a:lnTo>
                  <a:lnTo>
                    <a:pt x="648" y="127"/>
                  </a:lnTo>
                  <a:lnTo>
                    <a:pt x="648" y="131"/>
                  </a:lnTo>
                  <a:lnTo>
                    <a:pt x="648" y="134"/>
                  </a:lnTo>
                  <a:lnTo>
                    <a:pt x="649" y="137"/>
                  </a:lnTo>
                  <a:lnTo>
                    <a:pt x="650" y="140"/>
                  </a:lnTo>
                  <a:lnTo>
                    <a:pt x="651" y="142"/>
                  </a:lnTo>
                  <a:lnTo>
                    <a:pt x="652" y="145"/>
                  </a:lnTo>
                  <a:lnTo>
                    <a:pt x="653" y="146"/>
                  </a:lnTo>
                  <a:lnTo>
                    <a:pt x="654" y="149"/>
                  </a:lnTo>
                  <a:lnTo>
                    <a:pt x="656" y="150"/>
                  </a:lnTo>
                  <a:lnTo>
                    <a:pt x="658" y="152"/>
                  </a:lnTo>
                  <a:lnTo>
                    <a:pt x="663" y="158"/>
                  </a:lnTo>
                  <a:lnTo>
                    <a:pt x="666" y="160"/>
                  </a:lnTo>
                  <a:lnTo>
                    <a:pt x="668" y="163"/>
                  </a:lnTo>
                  <a:lnTo>
                    <a:pt x="670" y="167"/>
                  </a:lnTo>
                  <a:lnTo>
                    <a:pt x="676" y="179"/>
                  </a:lnTo>
                  <a:lnTo>
                    <a:pt x="677" y="182"/>
                  </a:lnTo>
                  <a:lnTo>
                    <a:pt x="678" y="185"/>
                  </a:lnTo>
                  <a:lnTo>
                    <a:pt x="678" y="187"/>
                  </a:lnTo>
                  <a:lnTo>
                    <a:pt x="678" y="189"/>
                  </a:lnTo>
                  <a:lnTo>
                    <a:pt x="677" y="192"/>
                  </a:lnTo>
                  <a:lnTo>
                    <a:pt x="677" y="194"/>
                  </a:lnTo>
                  <a:lnTo>
                    <a:pt x="677" y="195"/>
                  </a:lnTo>
                  <a:lnTo>
                    <a:pt x="676" y="196"/>
                  </a:lnTo>
                  <a:lnTo>
                    <a:pt x="676" y="197"/>
                  </a:lnTo>
                  <a:lnTo>
                    <a:pt x="673" y="198"/>
                  </a:lnTo>
                  <a:lnTo>
                    <a:pt x="668" y="201"/>
                  </a:lnTo>
                  <a:lnTo>
                    <a:pt x="667" y="202"/>
                  </a:lnTo>
                  <a:lnTo>
                    <a:pt x="666" y="203"/>
                  </a:lnTo>
                  <a:lnTo>
                    <a:pt x="663" y="205"/>
                  </a:lnTo>
                  <a:lnTo>
                    <a:pt x="660" y="209"/>
                  </a:lnTo>
                  <a:lnTo>
                    <a:pt x="658" y="213"/>
                  </a:lnTo>
                  <a:lnTo>
                    <a:pt x="654" y="216"/>
                  </a:lnTo>
                  <a:lnTo>
                    <a:pt x="648" y="220"/>
                  </a:lnTo>
                  <a:lnTo>
                    <a:pt x="646" y="222"/>
                  </a:lnTo>
                  <a:lnTo>
                    <a:pt x="643" y="224"/>
                  </a:lnTo>
                  <a:lnTo>
                    <a:pt x="639" y="226"/>
                  </a:lnTo>
                  <a:lnTo>
                    <a:pt x="636" y="227"/>
                  </a:lnTo>
                  <a:lnTo>
                    <a:pt x="633" y="229"/>
                  </a:lnTo>
                  <a:lnTo>
                    <a:pt x="628" y="231"/>
                  </a:lnTo>
                  <a:lnTo>
                    <a:pt x="620" y="234"/>
                  </a:lnTo>
                  <a:lnTo>
                    <a:pt x="618" y="234"/>
                  </a:lnTo>
                  <a:lnTo>
                    <a:pt x="618" y="234"/>
                  </a:lnTo>
                  <a:lnTo>
                    <a:pt x="615" y="237"/>
                  </a:lnTo>
                  <a:lnTo>
                    <a:pt x="611" y="239"/>
                  </a:lnTo>
                  <a:lnTo>
                    <a:pt x="608" y="241"/>
                  </a:lnTo>
                  <a:lnTo>
                    <a:pt x="606" y="244"/>
                  </a:lnTo>
                  <a:lnTo>
                    <a:pt x="603" y="247"/>
                  </a:lnTo>
                  <a:lnTo>
                    <a:pt x="601" y="250"/>
                  </a:lnTo>
                  <a:lnTo>
                    <a:pt x="599" y="253"/>
                  </a:lnTo>
                  <a:lnTo>
                    <a:pt x="599" y="255"/>
                  </a:lnTo>
                  <a:lnTo>
                    <a:pt x="598" y="257"/>
                  </a:lnTo>
                  <a:lnTo>
                    <a:pt x="596" y="263"/>
                  </a:lnTo>
                  <a:lnTo>
                    <a:pt x="596" y="264"/>
                  </a:lnTo>
                  <a:lnTo>
                    <a:pt x="595" y="267"/>
                  </a:lnTo>
                  <a:lnTo>
                    <a:pt x="591" y="272"/>
                  </a:lnTo>
                  <a:lnTo>
                    <a:pt x="591" y="274"/>
                  </a:lnTo>
                  <a:lnTo>
                    <a:pt x="590" y="275"/>
                  </a:lnTo>
                  <a:lnTo>
                    <a:pt x="590" y="277"/>
                  </a:lnTo>
                  <a:lnTo>
                    <a:pt x="589" y="279"/>
                  </a:lnTo>
                  <a:lnTo>
                    <a:pt x="589" y="284"/>
                  </a:lnTo>
                  <a:lnTo>
                    <a:pt x="589" y="290"/>
                  </a:lnTo>
                  <a:lnTo>
                    <a:pt x="589" y="294"/>
                  </a:lnTo>
                  <a:lnTo>
                    <a:pt x="588" y="297"/>
                  </a:lnTo>
                  <a:lnTo>
                    <a:pt x="587" y="299"/>
                  </a:lnTo>
                  <a:lnTo>
                    <a:pt x="585" y="306"/>
                  </a:lnTo>
                  <a:lnTo>
                    <a:pt x="584" y="312"/>
                  </a:lnTo>
                  <a:lnTo>
                    <a:pt x="584" y="312"/>
                  </a:lnTo>
                  <a:lnTo>
                    <a:pt x="583" y="313"/>
                  </a:lnTo>
                  <a:lnTo>
                    <a:pt x="581" y="316"/>
                  </a:lnTo>
                  <a:lnTo>
                    <a:pt x="579" y="317"/>
                  </a:lnTo>
                  <a:lnTo>
                    <a:pt x="576" y="323"/>
                  </a:lnTo>
                  <a:lnTo>
                    <a:pt x="576" y="326"/>
                  </a:lnTo>
                  <a:lnTo>
                    <a:pt x="575" y="328"/>
                  </a:lnTo>
                  <a:lnTo>
                    <a:pt x="574" y="332"/>
                  </a:lnTo>
                  <a:lnTo>
                    <a:pt x="574" y="334"/>
                  </a:lnTo>
                  <a:lnTo>
                    <a:pt x="574" y="336"/>
                  </a:lnTo>
                  <a:lnTo>
                    <a:pt x="574" y="339"/>
                  </a:lnTo>
                  <a:lnTo>
                    <a:pt x="576" y="344"/>
                  </a:lnTo>
                  <a:lnTo>
                    <a:pt x="576" y="347"/>
                  </a:lnTo>
                  <a:lnTo>
                    <a:pt x="576" y="349"/>
                  </a:lnTo>
                  <a:lnTo>
                    <a:pt x="577" y="352"/>
                  </a:lnTo>
                  <a:lnTo>
                    <a:pt x="578" y="353"/>
                  </a:lnTo>
                  <a:lnTo>
                    <a:pt x="579" y="354"/>
                  </a:lnTo>
                  <a:lnTo>
                    <a:pt x="582" y="359"/>
                  </a:lnTo>
                  <a:lnTo>
                    <a:pt x="585" y="364"/>
                  </a:lnTo>
                  <a:lnTo>
                    <a:pt x="585" y="365"/>
                  </a:lnTo>
                  <a:lnTo>
                    <a:pt x="585" y="366"/>
                  </a:lnTo>
                  <a:lnTo>
                    <a:pt x="585" y="367"/>
                  </a:lnTo>
                  <a:lnTo>
                    <a:pt x="584" y="369"/>
                  </a:lnTo>
                  <a:lnTo>
                    <a:pt x="584" y="370"/>
                  </a:lnTo>
                  <a:lnTo>
                    <a:pt x="584" y="372"/>
                  </a:lnTo>
                  <a:lnTo>
                    <a:pt x="586" y="374"/>
                  </a:lnTo>
                  <a:lnTo>
                    <a:pt x="586" y="375"/>
                  </a:lnTo>
                  <a:lnTo>
                    <a:pt x="586" y="377"/>
                  </a:lnTo>
                  <a:lnTo>
                    <a:pt x="585" y="378"/>
                  </a:lnTo>
                  <a:lnTo>
                    <a:pt x="584" y="379"/>
                  </a:lnTo>
                  <a:lnTo>
                    <a:pt x="584" y="382"/>
                  </a:lnTo>
                  <a:lnTo>
                    <a:pt x="582" y="383"/>
                  </a:lnTo>
                  <a:lnTo>
                    <a:pt x="581" y="384"/>
                  </a:lnTo>
                  <a:lnTo>
                    <a:pt x="579" y="387"/>
                  </a:lnTo>
                  <a:lnTo>
                    <a:pt x="578" y="388"/>
                  </a:lnTo>
                  <a:lnTo>
                    <a:pt x="576" y="388"/>
                  </a:lnTo>
                  <a:lnTo>
                    <a:pt x="576" y="388"/>
                  </a:lnTo>
                  <a:lnTo>
                    <a:pt x="574" y="388"/>
                  </a:lnTo>
                  <a:lnTo>
                    <a:pt x="573" y="387"/>
                  </a:lnTo>
                  <a:lnTo>
                    <a:pt x="570" y="385"/>
                  </a:lnTo>
                  <a:lnTo>
                    <a:pt x="564" y="380"/>
                  </a:lnTo>
                  <a:lnTo>
                    <a:pt x="558" y="376"/>
                  </a:lnTo>
                  <a:lnTo>
                    <a:pt x="551" y="370"/>
                  </a:lnTo>
                  <a:lnTo>
                    <a:pt x="550" y="369"/>
                  </a:lnTo>
                  <a:lnTo>
                    <a:pt x="548" y="369"/>
                  </a:lnTo>
                  <a:lnTo>
                    <a:pt x="546" y="368"/>
                  </a:lnTo>
                  <a:lnTo>
                    <a:pt x="544" y="367"/>
                  </a:lnTo>
                  <a:lnTo>
                    <a:pt x="531" y="367"/>
                  </a:lnTo>
                  <a:lnTo>
                    <a:pt x="529" y="367"/>
                  </a:lnTo>
                  <a:lnTo>
                    <a:pt x="527" y="367"/>
                  </a:lnTo>
                  <a:lnTo>
                    <a:pt x="519" y="368"/>
                  </a:lnTo>
                  <a:lnTo>
                    <a:pt x="515" y="368"/>
                  </a:lnTo>
                  <a:lnTo>
                    <a:pt x="511" y="367"/>
                  </a:lnTo>
                  <a:lnTo>
                    <a:pt x="501" y="366"/>
                  </a:lnTo>
                  <a:lnTo>
                    <a:pt x="495" y="366"/>
                  </a:lnTo>
                  <a:lnTo>
                    <a:pt x="491" y="365"/>
                  </a:lnTo>
                  <a:lnTo>
                    <a:pt x="486" y="366"/>
                  </a:lnTo>
                  <a:lnTo>
                    <a:pt x="484" y="366"/>
                  </a:lnTo>
                  <a:lnTo>
                    <a:pt x="477" y="367"/>
                  </a:lnTo>
                  <a:lnTo>
                    <a:pt x="474" y="367"/>
                  </a:lnTo>
                  <a:lnTo>
                    <a:pt x="454" y="369"/>
                  </a:lnTo>
                  <a:lnTo>
                    <a:pt x="444" y="371"/>
                  </a:lnTo>
                  <a:lnTo>
                    <a:pt x="440" y="372"/>
                  </a:lnTo>
                  <a:lnTo>
                    <a:pt x="436" y="372"/>
                  </a:lnTo>
                  <a:lnTo>
                    <a:pt x="434" y="373"/>
                  </a:lnTo>
                  <a:lnTo>
                    <a:pt x="421" y="378"/>
                  </a:lnTo>
                  <a:lnTo>
                    <a:pt x="419" y="379"/>
                  </a:lnTo>
                  <a:lnTo>
                    <a:pt x="416" y="379"/>
                  </a:lnTo>
                  <a:lnTo>
                    <a:pt x="414" y="379"/>
                  </a:lnTo>
                  <a:lnTo>
                    <a:pt x="411" y="379"/>
                  </a:lnTo>
                  <a:lnTo>
                    <a:pt x="409" y="379"/>
                  </a:lnTo>
                  <a:lnTo>
                    <a:pt x="405" y="377"/>
                  </a:lnTo>
                  <a:lnTo>
                    <a:pt x="401" y="377"/>
                  </a:lnTo>
                  <a:lnTo>
                    <a:pt x="399" y="377"/>
                  </a:lnTo>
                  <a:lnTo>
                    <a:pt x="396" y="377"/>
                  </a:lnTo>
                  <a:lnTo>
                    <a:pt x="390" y="377"/>
                  </a:lnTo>
                  <a:lnTo>
                    <a:pt x="384" y="378"/>
                  </a:lnTo>
                  <a:lnTo>
                    <a:pt x="382" y="378"/>
                  </a:lnTo>
                  <a:lnTo>
                    <a:pt x="380" y="379"/>
                  </a:lnTo>
                  <a:lnTo>
                    <a:pt x="379" y="379"/>
                  </a:lnTo>
                  <a:lnTo>
                    <a:pt x="377" y="381"/>
                  </a:lnTo>
                  <a:lnTo>
                    <a:pt x="377" y="382"/>
                  </a:lnTo>
                  <a:lnTo>
                    <a:pt x="375" y="384"/>
                  </a:lnTo>
                  <a:lnTo>
                    <a:pt x="374" y="386"/>
                  </a:lnTo>
                  <a:lnTo>
                    <a:pt x="374" y="389"/>
                  </a:lnTo>
                  <a:lnTo>
                    <a:pt x="374" y="393"/>
                  </a:lnTo>
                  <a:lnTo>
                    <a:pt x="374" y="395"/>
                  </a:lnTo>
                  <a:lnTo>
                    <a:pt x="374" y="397"/>
                  </a:lnTo>
                  <a:lnTo>
                    <a:pt x="376" y="406"/>
                  </a:lnTo>
                  <a:lnTo>
                    <a:pt x="376" y="409"/>
                  </a:lnTo>
                  <a:lnTo>
                    <a:pt x="376" y="413"/>
                  </a:lnTo>
                  <a:lnTo>
                    <a:pt x="376" y="417"/>
                  </a:lnTo>
                  <a:lnTo>
                    <a:pt x="375" y="425"/>
                  </a:lnTo>
                  <a:lnTo>
                    <a:pt x="375" y="429"/>
                  </a:lnTo>
                  <a:lnTo>
                    <a:pt x="375" y="432"/>
                  </a:lnTo>
                  <a:lnTo>
                    <a:pt x="375" y="437"/>
                  </a:lnTo>
                  <a:lnTo>
                    <a:pt x="376" y="442"/>
                  </a:lnTo>
                  <a:lnTo>
                    <a:pt x="377" y="446"/>
                  </a:lnTo>
                  <a:lnTo>
                    <a:pt x="379" y="451"/>
                  </a:lnTo>
                  <a:lnTo>
                    <a:pt x="384" y="464"/>
                  </a:lnTo>
                  <a:lnTo>
                    <a:pt x="387" y="470"/>
                  </a:lnTo>
                  <a:lnTo>
                    <a:pt x="389" y="476"/>
                  </a:lnTo>
                  <a:lnTo>
                    <a:pt x="390" y="481"/>
                  </a:lnTo>
                  <a:lnTo>
                    <a:pt x="391" y="484"/>
                  </a:lnTo>
                  <a:lnTo>
                    <a:pt x="391" y="488"/>
                  </a:lnTo>
                  <a:lnTo>
                    <a:pt x="392" y="494"/>
                  </a:lnTo>
                  <a:lnTo>
                    <a:pt x="394" y="506"/>
                  </a:lnTo>
                  <a:lnTo>
                    <a:pt x="394" y="510"/>
                  </a:lnTo>
                  <a:lnTo>
                    <a:pt x="394" y="512"/>
                  </a:lnTo>
                  <a:lnTo>
                    <a:pt x="393" y="515"/>
                  </a:lnTo>
                  <a:lnTo>
                    <a:pt x="393" y="517"/>
                  </a:lnTo>
                  <a:lnTo>
                    <a:pt x="391" y="523"/>
                  </a:lnTo>
                  <a:lnTo>
                    <a:pt x="390" y="526"/>
                  </a:lnTo>
                  <a:lnTo>
                    <a:pt x="389" y="531"/>
                  </a:lnTo>
                  <a:lnTo>
                    <a:pt x="384" y="539"/>
                  </a:lnTo>
                  <a:lnTo>
                    <a:pt x="380" y="550"/>
                  </a:lnTo>
                  <a:lnTo>
                    <a:pt x="379" y="552"/>
                  </a:lnTo>
                  <a:lnTo>
                    <a:pt x="378" y="554"/>
                  </a:lnTo>
                  <a:lnTo>
                    <a:pt x="377" y="556"/>
                  </a:lnTo>
                  <a:lnTo>
                    <a:pt x="375" y="559"/>
                  </a:lnTo>
                  <a:lnTo>
                    <a:pt x="373" y="560"/>
                  </a:lnTo>
                  <a:lnTo>
                    <a:pt x="372" y="561"/>
                  </a:lnTo>
                  <a:lnTo>
                    <a:pt x="370" y="563"/>
                  </a:lnTo>
                  <a:lnTo>
                    <a:pt x="369" y="564"/>
                  </a:lnTo>
                  <a:lnTo>
                    <a:pt x="366" y="565"/>
                  </a:lnTo>
                  <a:lnTo>
                    <a:pt x="358" y="567"/>
                  </a:lnTo>
                  <a:lnTo>
                    <a:pt x="355" y="568"/>
                  </a:lnTo>
                  <a:lnTo>
                    <a:pt x="352" y="569"/>
                  </a:lnTo>
                  <a:lnTo>
                    <a:pt x="348" y="571"/>
                  </a:lnTo>
                  <a:lnTo>
                    <a:pt x="347" y="573"/>
                  </a:lnTo>
                  <a:lnTo>
                    <a:pt x="344" y="574"/>
                  </a:lnTo>
                  <a:lnTo>
                    <a:pt x="343" y="576"/>
                  </a:lnTo>
                  <a:lnTo>
                    <a:pt x="342" y="578"/>
                  </a:lnTo>
                  <a:lnTo>
                    <a:pt x="341" y="579"/>
                  </a:lnTo>
                  <a:lnTo>
                    <a:pt x="339" y="581"/>
                  </a:lnTo>
                  <a:lnTo>
                    <a:pt x="337" y="586"/>
                  </a:lnTo>
                  <a:lnTo>
                    <a:pt x="337" y="586"/>
                  </a:lnTo>
                  <a:lnTo>
                    <a:pt x="335" y="584"/>
                  </a:lnTo>
                  <a:lnTo>
                    <a:pt x="330" y="580"/>
                  </a:lnTo>
                  <a:lnTo>
                    <a:pt x="326" y="576"/>
                  </a:lnTo>
                  <a:lnTo>
                    <a:pt x="321" y="573"/>
                  </a:lnTo>
                  <a:lnTo>
                    <a:pt x="316" y="569"/>
                  </a:lnTo>
                  <a:lnTo>
                    <a:pt x="310" y="565"/>
                  </a:lnTo>
                  <a:lnTo>
                    <a:pt x="305" y="561"/>
                  </a:lnTo>
                  <a:lnTo>
                    <a:pt x="300" y="559"/>
                  </a:lnTo>
                  <a:lnTo>
                    <a:pt x="296" y="556"/>
                  </a:lnTo>
                  <a:lnTo>
                    <a:pt x="293" y="555"/>
                  </a:lnTo>
                  <a:lnTo>
                    <a:pt x="289" y="554"/>
                  </a:lnTo>
                  <a:lnTo>
                    <a:pt x="285" y="552"/>
                  </a:lnTo>
                  <a:lnTo>
                    <a:pt x="281" y="551"/>
                  </a:lnTo>
                  <a:lnTo>
                    <a:pt x="264" y="547"/>
                  </a:lnTo>
                  <a:lnTo>
                    <a:pt x="259" y="545"/>
                  </a:lnTo>
                  <a:lnTo>
                    <a:pt x="256" y="544"/>
                  </a:lnTo>
                  <a:lnTo>
                    <a:pt x="254" y="542"/>
                  </a:lnTo>
                  <a:lnTo>
                    <a:pt x="250" y="540"/>
                  </a:lnTo>
                  <a:lnTo>
                    <a:pt x="248" y="539"/>
                  </a:lnTo>
                  <a:lnTo>
                    <a:pt x="247" y="537"/>
                  </a:lnTo>
                  <a:lnTo>
                    <a:pt x="245" y="535"/>
                  </a:lnTo>
                  <a:lnTo>
                    <a:pt x="244" y="533"/>
                  </a:lnTo>
                  <a:lnTo>
                    <a:pt x="243" y="531"/>
                  </a:lnTo>
                  <a:lnTo>
                    <a:pt x="243" y="529"/>
                  </a:lnTo>
                  <a:lnTo>
                    <a:pt x="242" y="526"/>
                  </a:lnTo>
                  <a:lnTo>
                    <a:pt x="240" y="514"/>
                  </a:lnTo>
                  <a:lnTo>
                    <a:pt x="240" y="511"/>
                  </a:lnTo>
                  <a:lnTo>
                    <a:pt x="239" y="508"/>
                  </a:lnTo>
                  <a:lnTo>
                    <a:pt x="238" y="504"/>
                  </a:lnTo>
                  <a:lnTo>
                    <a:pt x="236" y="499"/>
                  </a:lnTo>
                  <a:lnTo>
                    <a:pt x="230" y="485"/>
                  </a:lnTo>
                  <a:lnTo>
                    <a:pt x="228" y="480"/>
                  </a:lnTo>
                  <a:lnTo>
                    <a:pt x="226" y="477"/>
                  </a:lnTo>
                  <a:lnTo>
                    <a:pt x="223" y="472"/>
                  </a:lnTo>
                  <a:lnTo>
                    <a:pt x="222" y="470"/>
                  </a:lnTo>
                  <a:lnTo>
                    <a:pt x="221" y="469"/>
                  </a:lnTo>
                  <a:lnTo>
                    <a:pt x="219" y="467"/>
                  </a:lnTo>
                  <a:lnTo>
                    <a:pt x="217" y="466"/>
                  </a:lnTo>
                  <a:lnTo>
                    <a:pt x="210" y="461"/>
                  </a:lnTo>
                  <a:lnTo>
                    <a:pt x="207" y="459"/>
                  </a:lnTo>
                  <a:lnTo>
                    <a:pt x="206" y="457"/>
                  </a:lnTo>
                  <a:lnTo>
                    <a:pt x="204" y="455"/>
                  </a:lnTo>
                  <a:lnTo>
                    <a:pt x="203" y="454"/>
                  </a:lnTo>
                  <a:lnTo>
                    <a:pt x="202" y="451"/>
                  </a:lnTo>
                  <a:lnTo>
                    <a:pt x="200" y="449"/>
                  </a:lnTo>
                  <a:lnTo>
                    <a:pt x="199" y="445"/>
                  </a:lnTo>
                  <a:lnTo>
                    <a:pt x="197" y="442"/>
                  </a:lnTo>
                  <a:lnTo>
                    <a:pt x="195" y="437"/>
                  </a:lnTo>
                  <a:lnTo>
                    <a:pt x="190" y="426"/>
                  </a:lnTo>
                  <a:lnTo>
                    <a:pt x="187" y="414"/>
                  </a:lnTo>
                  <a:lnTo>
                    <a:pt x="184" y="409"/>
                  </a:lnTo>
                  <a:lnTo>
                    <a:pt x="182" y="404"/>
                  </a:lnTo>
                  <a:lnTo>
                    <a:pt x="181" y="402"/>
                  </a:lnTo>
                  <a:lnTo>
                    <a:pt x="179" y="399"/>
                  </a:lnTo>
                  <a:lnTo>
                    <a:pt x="177" y="396"/>
                  </a:lnTo>
                  <a:lnTo>
                    <a:pt x="174" y="394"/>
                  </a:lnTo>
                  <a:lnTo>
                    <a:pt x="173" y="393"/>
                  </a:lnTo>
                  <a:lnTo>
                    <a:pt x="171" y="392"/>
                  </a:lnTo>
                  <a:lnTo>
                    <a:pt x="169" y="392"/>
                  </a:lnTo>
                  <a:lnTo>
                    <a:pt x="167" y="392"/>
                  </a:lnTo>
                  <a:lnTo>
                    <a:pt x="158" y="393"/>
                  </a:lnTo>
                  <a:lnTo>
                    <a:pt x="153" y="394"/>
                  </a:lnTo>
                  <a:lnTo>
                    <a:pt x="148" y="394"/>
                  </a:lnTo>
                  <a:lnTo>
                    <a:pt x="140" y="394"/>
                  </a:lnTo>
                  <a:lnTo>
                    <a:pt x="137" y="393"/>
                  </a:lnTo>
                  <a:lnTo>
                    <a:pt x="134" y="393"/>
                  </a:lnTo>
                  <a:lnTo>
                    <a:pt x="130" y="392"/>
                  </a:lnTo>
                  <a:lnTo>
                    <a:pt x="126" y="391"/>
                  </a:lnTo>
                  <a:lnTo>
                    <a:pt x="123" y="390"/>
                  </a:lnTo>
                  <a:lnTo>
                    <a:pt x="122" y="389"/>
                  </a:lnTo>
                  <a:lnTo>
                    <a:pt x="120" y="388"/>
                  </a:lnTo>
                  <a:lnTo>
                    <a:pt x="117" y="386"/>
                  </a:lnTo>
                  <a:lnTo>
                    <a:pt x="115" y="384"/>
                  </a:lnTo>
                  <a:lnTo>
                    <a:pt x="107" y="374"/>
                  </a:lnTo>
                  <a:lnTo>
                    <a:pt x="105" y="372"/>
                  </a:lnTo>
                  <a:lnTo>
                    <a:pt x="103" y="369"/>
                  </a:lnTo>
                  <a:lnTo>
                    <a:pt x="100" y="364"/>
                  </a:lnTo>
                  <a:lnTo>
                    <a:pt x="97" y="358"/>
                  </a:lnTo>
                  <a:lnTo>
                    <a:pt x="92" y="348"/>
                  </a:lnTo>
                  <a:lnTo>
                    <a:pt x="88" y="340"/>
                  </a:lnTo>
                  <a:lnTo>
                    <a:pt x="84" y="329"/>
                  </a:lnTo>
                  <a:lnTo>
                    <a:pt x="79" y="317"/>
                  </a:lnTo>
                  <a:lnTo>
                    <a:pt x="75" y="308"/>
                  </a:lnTo>
                  <a:lnTo>
                    <a:pt x="75" y="307"/>
                  </a:lnTo>
                  <a:lnTo>
                    <a:pt x="74" y="305"/>
                  </a:lnTo>
                  <a:lnTo>
                    <a:pt x="72" y="304"/>
                  </a:lnTo>
                  <a:lnTo>
                    <a:pt x="72" y="304"/>
                  </a:lnTo>
                  <a:lnTo>
                    <a:pt x="71" y="303"/>
                  </a:lnTo>
                  <a:lnTo>
                    <a:pt x="70" y="303"/>
                  </a:lnTo>
                  <a:lnTo>
                    <a:pt x="67" y="302"/>
                  </a:lnTo>
                  <a:lnTo>
                    <a:pt x="62" y="302"/>
                  </a:lnTo>
                  <a:lnTo>
                    <a:pt x="60" y="302"/>
                  </a:lnTo>
                  <a:lnTo>
                    <a:pt x="57" y="301"/>
                  </a:lnTo>
                  <a:lnTo>
                    <a:pt x="56" y="300"/>
                  </a:lnTo>
                  <a:lnTo>
                    <a:pt x="53" y="297"/>
                  </a:lnTo>
                  <a:lnTo>
                    <a:pt x="50" y="294"/>
                  </a:lnTo>
                  <a:lnTo>
                    <a:pt x="48" y="292"/>
                  </a:lnTo>
                  <a:lnTo>
                    <a:pt x="43" y="284"/>
                  </a:lnTo>
                  <a:lnTo>
                    <a:pt x="42" y="282"/>
                  </a:lnTo>
                  <a:lnTo>
                    <a:pt x="40" y="281"/>
                  </a:lnTo>
                  <a:lnTo>
                    <a:pt x="38" y="279"/>
                  </a:lnTo>
                  <a:lnTo>
                    <a:pt x="36" y="277"/>
                  </a:lnTo>
                  <a:lnTo>
                    <a:pt x="34" y="275"/>
                  </a:lnTo>
                  <a:lnTo>
                    <a:pt x="32" y="274"/>
                  </a:lnTo>
                  <a:lnTo>
                    <a:pt x="29" y="273"/>
                  </a:lnTo>
                  <a:lnTo>
                    <a:pt x="27" y="272"/>
                  </a:lnTo>
                  <a:lnTo>
                    <a:pt x="25" y="271"/>
                  </a:lnTo>
                  <a:lnTo>
                    <a:pt x="21" y="271"/>
                  </a:lnTo>
                  <a:lnTo>
                    <a:pt x="17" y="270"/>
                  </a:lnTo>
                  <a:lnTo>
                    <a:pt x="13" y="269"/>
                  </a:lnTo>
                  <a:lnTo>
                    <a:pt x="10" y="270"/>
                  </a:lnTo>
                  <a:lnTo>
                    <a:pt x="9" y="270"/>
                  </a:lnTo>
                  <a:lnTo>
                    <a:pt x="8" y="270"/>
                  </a:lnTo>
                  <a:lnTo>
                    <a:pt x="8" y="269"/>
                  </a:lnTo>
                  <a:lnTo>
                    <a:pt x="7" y="267"/>
                  </a:lnTo>
                  <a:lnTo>
                    <a:pt x="4" y="256"/>
                  </a:lnTo>
                  <a:lnTo>
                    <a:pt x="2" y="252"/>
                  </a:lnTo>
                  <a:lnTo>
                    <a:pt x="2" y="250"/>
                  </a:lnTo>
                  <a:lnTo>
                    <a:pt x="2" y="247"/>
                  </a:lnTo>
                  <a:lnTo>
                    <a:pt x="1" y="244"/>
                  </a:lnTo>
                  <a:lnTo>
                    <a:pt x="1" y="240"/>
                  </a:lnTo>
                  <a:lnTo>
                    <a:pt x="0" y="237"/>
                  </a:lnTo>
                  <a:lnTo>
                    <a:pt x="0" y="232"/>
                  </a:lnTo>
                  <a:lnTo>
                    <a:pt x="1" y="228"/>
                  </a:lnTo>
                  <a:lnTo>
                    <a:pt x="1" y="223"/>
                  </a:lnTo>
                  <a:lnTo>
                    <a:pt x="2" y="219"/>
                  </a:lnTo>
                  <a:lnTo>
                    <a:pt x="3" y="212"/>
                  </a:lnTo>
                  <a:lnTo>
                    <a:pt x="5" y="207"/>
                  </a:lnTo>
                  <a:lnTo>
                    <a:pt x="6" y="201"/>
                  </a:lnTo>
                  <a:lnTo>
                    <a:pt x="7" y="197"/>
                  </a:lnTo>
                  <a:lnTo>
                    <a:pt x="8" y="194"/>
                  </a:lnTo>
                  <a:lnTo>
                    <a:pt x="10" y="191"/>
                  </a:lnTo>
                  <a:lnTo>
                    <a:pt x="13" y="184"/>
                  </a:lnTo>
                  <a:lnTo>
                    <a:pt x="17" y="177"/>
                  </a:lnTo>
                  <a:lnTo>
                    <a:pt x="20" y="174"/>
                  </a:lnTo>
                  <a:lnTo>
                    <a:pt x="22" y="171"/>
                  </a:lnTo>
                  <a:lnTo>
                    <a:pt x="24" y="169"/>
                  </a:lnTo>
                  <a:lnTo>
                    <a:pt x="26" y="167"/>
                  </a:lnTo>
                  <a:lnTo>
                    <a:pt x="27" y="165"/>
                  </a:lnTo>
                  <a:lnTo>
                    <a:pt x="30" y="164"/>
                  </a:lnTo>
                  <a:lnTo>
                    <a:pt x="32" y="162"/>
                  </a:lnTo>
                  <a:lnTo>
                    <a:pt x="33" y="162"/>
                  </a:lnTo>
                  <a:lnTo>
                    <a:pt x="40" y="159"/>
                  </a:lnTo>
                  <a:lnTo>
                    <a:pt x="42" y="158"/>
                  </a:lnTo>
                  <a:lnTo>
                    <a:pt x="45" y="156"/>
                  </a:lnTo>
                  <a:lnTo>
                    <a:pt x="47" y="154"/>
                  </a:lnTo>
                  <a:lnTo>
                    <a:pt x="50" y="152"/>
                  </a:lnTo>
                  <a:lnTo>
                    <a:pt x="51" y="150"/>
                  </a:lnTo>
                  <a:lnTo>
                    <a:pt x="52" y="148"/>
                  </a:lnTo>
                  <a:lnTo>
                    <a:pt x="54" y="146"/>
                  </a:lnTo>
                  <a:lnTo>
                    <a:pt x="55" y="145"/>
                  </a:lnTo>
                  <a:lnTo>
                    <a:pt x="55" y="142"/>
                  </a:lnTo>
                  <a:lnTo>
                    <a:pt x="56" y="140"/>
                  </a:lnTo>
                  <a:lnTo>
                    <a:pt x="57" y="138"/>
                  </a:lnTo>
                  <a:lnTo>
                    <a:pt x="57" y="135"/>
                  </a:lnTo>
                  <a:lnTo>
                    <a:pt x="57" y="130"/>
                  </a:lnTo>
                  <a:lnTo>
                    <a:pt x="57" y="127"/>
                  </a:lnTo>
                  <a:lnTo>
                    <a:pt x="56" y="122"/>
                  </a:lnTo>
                  <a:lnTo>
                    <a:pt x="53" y="110"/>
                  </a:lnTo>
                  <a:lnTo>
                    <a:pt x="52" y="107"/>
                  </a:lnTo>
                  <a:lnTo>
                    <a:pt x="51" y="102"/>
                  </a:lnTo>
                  <a:lnTo>
                    <a:pt x="47" y="95"/>
                  </a:lnTo>
                  <a:lnTo>
                    <a:pt x="47" y="91"/>
                  </a:lnTo>
                  <a:lnTo>
                    <a:pt x="46" y="87"/>
                  </a:lnTo>
                  <a:lnTo>
                    <a:pt x="46" y="85"/>
                  </a:lnTo>
                  <a:lnTo>
                    <a:pt x="46" y="82"/>
                  </a:lnTo>
                  <a:lnTo>
                    <a:pt x="46" y="80"/>
                  </a:lnTo>
                  <a:lnTo>
                    <a:pt x="49" y="72"/>
                  </a:lnTo>
                  <a:lnTo>
                    <a:pt x="50" y="68"/>
                  </a:lnTo>
                  <a:lnTo>
                    <a:pt x="50" y="64"/>
                  </a:lnTo>
                  <a:lnTo>
                    <a:pt x="50" y="52"/>
                  </a:lnTo>
                  <a:lnTo>
                    <a:pt x="51" y="47"/>
                  </a:lnTo>
                  <a:lnTo>
                    <a:pt x="52" y="40"/>
                  </a:lnTo>
                  <a:lnTo>
                    <a:pt x="53" y="35"/>
                  </a:lnTo>
                  <a:lnTo>
                    <a:pt x="54" y="30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7" y="25"/>
                  </a:lnTo>
                  <a:lnTo>
                    <a:pt x="58" y="25"/>
                  </a:lnTo>
                  <a:lnTo>
                    <a:pt x="60" y="25"/>
                  </a:lnTo>
                  <a:lnTo>
                    <a:pt x="62" y="25"/>
                  </a:lnTo>
                  <a:lnTo>
                    <a:pt x="63" y="25"/>
                  </a:lnTo>
                  <a:lnTo>
                    <a:pt x="74" y="27"/>
                  </a:lnTo>
                  <a:lnTo>
                    <a:pt x="77" y="28"/>
                  </a:lnTo>
                  <a:lnTo>
                    <a:pt x="80" y="29"/>
                  </a:lnTo>
                  <a:lnTo>
                    <a:pt x="82" y="29"/>
                  </a:lnTo>
                  <a:lnTo>
                    <a:pt x="85" y="29"/>
                  </a:lnTo>
                  <a:lnTo>
                    <a:pt x="87" y="28"/>
                  </a:lnTo>
                  <a:lnTo>
                    <a:pt x="90" y="27"/>
                  </a:lnTo>
                  <a:lnTo>
                    <a:pt x="92" y="27"/>
                  </a:lnTo>
                  <a:lnTo>
                    <a:pt x="94" y="26"/>
                  </a:lnTo>
                  <a:lnTo>
                    <a:pt x="96" y="25"/>
                  </a:lnTo>
                  <a:lnTo>
                    <a:pt x="99" y="22"/>
                  </a:lnTo>
                  <a:lnTo>
                    <a:pt x="104" y="20"/>
                  </a:lnTo>
                  <a:lnTo>
                    <a:pt x="107" y="17"/>
                  </a:lnTo>
                  <a:lnTo>
                    <a:pt x="119" y="7"/>
                  </a:lnTo>
                  <a:lnTo>
                    <a:pt x="122" y="5"/>
                  </a:lnTo>
                  <a:lnTo>
                    <a:pt x="125" y="3"/>
                  </a:lnTo>
                  <a:lnTo>
                    <a:pt x="129" y="1"/>
                  </a:lnTo>
                  <a:lnTo>
                    <a:pt x="131" y="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BDD7E7"/>
            </a:solidFill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97">
              <a:extLst>
                <a:ext uri="{FF2B5EF4-FFF2-40B4-BE49-F238E27FC236}">
                  <a16:creationId xmlns:a16="http://schemas.microsoft.com/office/drawing/2014/main" id="{69CB2B20-D285-845E-DF51-E3BDFA730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8673" y="5043325"/>
              <a:ext cx="996950" cy="1444625"/>
            </a:xfrm>
            <a:custGeom>
              <a:avLst/>
              <a:gdLst>
                <a:gd name="T0" fmla="*/ 169 w 628"/>
                <a:gd name="T1" fmla="*/ 5 h 910"/>
                <a:gd name="T2" fmla="*/ 189 w 628"/>
                <a:gd name="T3" fmla="*/ 76 h 910"/>
                <a:gd name="T4" fmla="*/ 212 w 628"/>
                <a:gd name="T5" fmla="*/ 77 h 910"/>
                <a:gd name="T6" fmla="*/ 241 w 628"/>
                <a:gd name="T7" fmla="*/ 94 h 910"/>
                <a:gd name="T8" fmla="*/ 269 w 628"/>
                <a:gd name="T9" fmla="*/ 132 h 910"/>
                <a:gd name="T10" fmla="*/ 331 w 628"/>
                <a:gd name="T11" fmla="*/ 152 h 910"/>
                <a:gd name="T12" fmla="*/ 359 w 628"/>
                <a:gd name="T13" fmla="*/ 197 h 910"/>
                <a:gd name="T14" fmla="*/ 386 w 628"/>
                <a:gd name="T15" fmla="*/ 229 h 910"/>
                <a:gd name="T16" fmla="*/ 431 w 628"/>
                <a:gd name="T17" fmla="*/ 257 h 910"/>
                <a:gd name="T18" fmla="*/ 421 w 628"/>
                <a:gd name="T19" fmla="*/ 296 h 910"/>
                <a:gd name="T20" fmla="*/ 398 w 628"/>
                <a:gd name="T21" fmla="*/ 307 h 910"/>
                <a:gd name="T22" fmla="*/ 386 w 628"/>
                <a:gd name="T23" fmla="*/ 347 h 910"/>
                <a:gd name="T24" fmla="*/ 402 w 628"/>
                <a:gd name="T25" fmla="*/ 362 h 910"/>
                <a:gd name="T26" fmla="*/ 428 w 628"/>
                <a:gd name="T27" fmla="*/ 383 h 910"/>
                <a:gd name="T28" fmla="*/ 418 w 628"/>
                <a:gd name="T29" fmla="*/ 419 h 910"/>
                <a:gd name="T30" fmla="*/ 430 w 628"/>
                <a:gd name="T31" fmla="*/ 448 h 910"/>
                <a:gd name="T32" fmla="*/ 455 w 628"/>
                <a:gd name="T33" fmla="*/ 467 h 910"/>
                <a:gd name="T34" fmla="*/ 466 w 628"/>
                <a:gd name="T35" fmla="*/ 504 h 910"/>
                <a:gd name="T36" fmla="*/ 482 w 628"/>
                <a:gd name="T37" fmla="*/ 531 h 910"/>
                <a:gd name="T38" fmla="*/ 510 w 628"/>
                <a:gd name="T39" fmla="*/ 534 h 910"/>
                <a:gd name="T40" fmla="*/ 498 w 628"/>
                <a:gd name="T41" fmla="*/ 554 h 910"/>
                <a:gd name="T42" fmla="*/ 513 w 628"/>
                <a:gd name="T43" fmla="*/ 576 h 910"/>
                <a:gd name="T44" fmla="*/ 530 w 628"/>
                <a:gd name="T45" fmla="*/ 619 h 910"/>
                <a:gd name="T46" fmla="*/ 553 w 628"/>
                <a:gd name="T47" fmla="*/ 659 h 910"/>
                <a:gd name="T48" fmla="*/ 597 w 628"/>
                <a:gd name="T49" fmla="*/ 678 h 910"/>
                <a:gd name="T50" fmla="*/ 617 w 628"/>
                <a:gd name="T51" fmla="*/ 726 h 910"/>
                <a:gd name="T52" fmla="*/ 627 w 628"/>
                <a:gd name="T53" fmla="*/ 778 h 910"/>
                <a:gd name="T54" fmla="*/ 584 w 628"/>
                <a:gd name="T55" fmla="*/ 766 h 910"/>
                <a:gd name="T56" fmla="*/ 545 w 628"/>
                <a:gd name="T57" fmla="*/ 772 h 910"/>
                <a:gd name="T58" fmla="*/ 530 w 628"/>
                <a:gd name="T59" fmla="*/ 833 h 910"/>
                <a:gd name="T60" fmla="*/ 480 w 628"/>
                <a:gd name="T61" fmla="*/ 880 h 910"/>
                <a:gd name="T62" fmla="*/ 460 w 628"/>
                <a:gd name="T63" fmla="*/ 910 h 910"/>
                <a:gd name="T64" fmla="*/ 438 w 628"/>
                <a:gd name="T65" fmla="*/ 876 h 910"/>
                <a:gd name="T66" fmla="*/ 435 w 628"/>
                <a:gd name="T67" fmla="*/ 834 h 910"/>
                <a:gd name="T68" fmla="*/ 411 w 628"/>
                <a:gd name="T69" fmla="*/ 821 h 910"/>
                <a:gd name="T70" fmla="*/ 348 w 628"/>
                <a:gd name="T71" fmla="*/ 763 h 910"/>
                <a:gd name="T72" fmla="*/ 336 w 628"/>
                <a:gd name="T73" fmla="*/ 728 h 910"/>
                <a:gd name="T74" fmla="*/ 275 w 628"/>
                <a:gd name="T75" fmla="*/ 743 h 910"/>
                <a:gd name="T76" fmla="*/ 250 w 628"/>
                <a:gd name="T77" fmla="*/ 731 h 910"/>
                <a:gd name="T78" fmla="*/ 238 w 628"/>
                <a:gd name="T79" fmla="*/ 684 h 910"/>
                <a:gd name="T80" fmla="*/ 203 w 628"/>
                <a:gd name="T81" fmla="*/ 649 h 910"/>
                <a:gd name="T82" fmla="*/ 162 w 628"/>
                <a:gd name="T83" fmla="*/ 626 h 910"/>
                <a:gd name="T84" fmla="*/ 159 w 628"/>
                <a:gd name="T85" fmla="*/ 604 h 910"/>
                <a:gd name="T86" fmla="*/ 99 w 628"/>
                <a:gd name="T87" fmla="*/ 569 h 910"/>
                <a:gd name="T88" fmla="*/ 61 w 628"/>
                <a:gd name="T89" fmla="*/ 532 h 910"/>
                <a:gd name="T90" fmla="*/ 21 w 628"/>
                <a:gd name="T91" fmla="*/ 501 h 910"/>
                <a:gd name="T92" fmla="*/ 0 w 628"/>
                <a:gd name="T93" fmla="*/ 472 h 910"/>
                <a:gd name="T94" fmla="*/ 22 w 628"/>
                <a:gd name="T95" fmla="*/ 448 h 910"/>
                <a:gd name="T96" fmla="*/ 59 w 628"/>
                <a:gd name="T97" fmla="*/ 419 h 910"/>
                <a:gd name="T98" fmla="*/ 49 w 628"/>
                <a:gd name="T99" fmla="*/ 382 h 910"/>
                <a:gd name="T100" fmla="*/ 31 w 628"/>
                <a:gd name="T101" fmla="*/ 349 h 910"/>
                <a:gd name="T102" fmla="*/ 30 w 628"/>
                <a:gd name="T103" fmla="*/ 297 h 910"/>
                <a:gd name="T104" fmla="*/ 21 w 628"/>
                <a:gd name="T105" fmla="*/ 279 h 910"/>
                <a:gd name="T106" fmla="*/ 33 w 628"/>
                <a:gd name="T107" fmla="*/ 264 h 910"/>
                <a:gd name="T108" fmla="*/ 54 w 628"/>
                <a:gd name="T109" fmla="*/ 249 h 910"/>
                <a:gd name="T110" fmla="*/ 60 w 628"/>
                <a:gd name="T111" fmla="*/ 221 h 910"/>
                <a:gd name="T112" fmla="*/ 84 w 628"/>
                <a:gd name="T113" fmla="*/ 179 h 910"/>
                <a:gd name="T114" fmla="*/ 79 w 628"/>
                <a:gd name="T115" fmla="*/ 130 h 910"/>
                <a:gd name="T116" fmla="*/ 99 w 628"/>
                <a:gd name="T117" fmla="*/ 123 h 910"/>
                <a:gd name="T118" fmla="*/ 133 w 628"/>
                <a:gd name="T119" fmla="*/ 128 h 910"/>
                <a:gd name="T120" fmla="*/ 116 w 628"/>
                <a:gd name="T121" fmla="*/ 84 h 910"/>
                <a:gd name="T122" fmla="*/ 116 w 628"/>
                <a:gd name="T123" fmla="*/ 35 h 910"/>
                <a:gd name="T124" fmla="*/ 150 w 628"/>
                <a:gd name="T125" fmla="*/ 13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28" h="910">
                  <a:moveTo>
                    <a:pt x="160" y="0"/>
                  </a:moveTo>
                  <a:lnTo>
                    <a:pt x="161" y="0"/>
                  </a:lnTo>
                  <a:lnTo>
                    <a:pt x="161" y="0"/>
                  </a:lnTo>
                  <a:lnTo>
                    <a:pt x="161" y="1"/>
                  </a:lnTo>
                  <a:lnTo>
                    <a:pt x="161" y="2"/>
                  </a:lnTo>
                  <a:lnTo>
                    <a:pt x="162" y="2"/>
                  </a:lnTo>
                  <a:lnTo>
                    <a:pt x="164" y="3"/>
                  </a:lnTo>
                  <a:lnTo>
                    <a:pt x="167" y="4"/>
                  </a:lnTo>
                  <a:lnTo>
                    <a:pt x="167" y="3"/>
                  </a:lnTo>
                  <a:lnTo>
                    <a:pt x="169" y="3"/>
                  </a:lnTo>
                  <a:lnTo>
                    <a:pt x="169" y="5"/>
                  </a:lnTo>
                  <a:lnTo>
                    <a:pt x="169" y="5"/>
                  </a:lnTo>
                  <a:lnTo>
                    <a:pt x="169" y="9"/>
                  </a:lnTo>
                  <a:lnTo>
                    <a:pt x="170" y="16"/>
                  </a:lnTo>
                  <a:lnTo>
                    <a:pt x="171" y="21"/>
                  </a:lnTo>
                  <a:lnTo>
                    <a:pt x="174" y="28"/>
                  </a:lnTo>
                  <a:lnTo>
                    <a:pt x="176" y="38"/>
                  </a:lnTo>
                  <a:lnTo>
                    <a:pt x="178" y="42"/>
                  </a:lnTo>
                  <a:lnTo>
                    <a:pt x="179" y="47"/>
                  </a:lnTo>
                  <a:lnTo>
                    <a:pt x="183" y="55"/>
                  </a:lnTo>
                  <a:lnTo>
                    <a:pt x="185" y="61"/>
                  </a:lnTo>
                  <a:lnTo>
                    <a:pt x="186" y="66"/>
                  </a:lnTo>
                  <a:lnTo>
                    <a:pt x="189" y="74"/>
                  </a:lnTo>
                  <a:lnTo>
                    <a:pt x="189" y="76"/>
                  </a:lnTo>
                  <a:lnTo>
                    <a:pt x="190" y="78"/>
                  </a:lnTo>
                  <a:lnTo>
                    <a:pt x="191" y="80"/>
                  </a:lnTo>
                  <a:lnTo>
                    <a:pt x="191" y="81"/>
                  </a:lnTo>
                  <a:lnTo>
                    <a:pt x="192" y="82"/>
                  </a:lnTo>
                  <a:lnTo>
                    <a:pt x="194" y="83"/>
                  </a:lnTo>
                  <a:lnTo>
                    <a:pt x="194" y="83"/>
                  </a:lnTo>
                  <a:lnTo>
                    <a:pt x="196" y="83"/>
                  </a:lnTo>
                  <a:lnTo>
                    <a:pt x="197" y="83"/>
                  </a:lnTo>
                  <a:lnTo>
                    <a:pt x="199" y="82"/>
                  </a:lnTo>
                  <a:lnTo>
                    <a:pt x="205" y="80"/>
                  </a:lnTo>
                  <a:lnTo>
                    <a:pt x="208" y="77"/>
                  </a:lnTo>
                  <a:lnTo>
                    <a:pt x="212" y="77"/>
                  </a:lnTo>
                  <a:lnTo>
                    <a:pt x="216" y="76"/>
                  </a:lnTo>
                  <a:lnTo>
                    <a:pt x="218" y="75"/>
                  </a:lnTo>
                  <a:lnTo>
                    <a:pt x="222" y="76"/>
                  </a:lnTo>
                  <a:lnTo>
                    <a:pt x="224" y="76"/>
                  </a:lnTo>
                  <a:lnTo>
                    <a:pt x="226" y="77"/>
                  </a:lnTo>
                  <a:lnTo>
                    <a:pt x="228" y="79"/>
                  </a:lnTo>
                  <a:lnTo>
                    <a:pt x="231" y="80"/>
                  </a:lnTo>
                  <a:lnTo>
                    <a:pt x="233" y="82"/>
                  </a:lnTo>
                  <a:lnTo>
                    <a:pt x="236" y="85"/>
                  </a:lnTo>
                  <a:lnTo>
                    <a:pt x="237" y="87"/>
                  </a:lnTo>
                  <a:lnTo>
                    <a:pt x="238" y="90"/>
                  </a:lnTo>
                  <a:lnTo>
                    <a:pt x="241" y="94"/>
                  </a:lnTo>
                  <a:lnTo>
                    <a:pt x="242" y="97"/>
                  </a:lnTo>
                  <a:lnTo>
                    <a:pt x="244" y="103"/>
                  </a:lnTo>
                  <a:lnTo>
                    <a:pt x="246" y="106"/>
                  </a:lnTo>
                  <a:lnTo>
                    <a:pt x="247" y="108"/>
                  </a:lnTo>
                  <a:lnTo>
                    <a:pt x="253" y="117"/>
                  </a:lnTo>
                  <a:lnTo>
                    <a:pt x="256" y="120"/>
                  </a:lnTo>
                  <a:lnTo>
                    <a:pt x="259" y="124"/>
                  </a:lnTo>
                  <a:lnTo>
                    <a:pt x="261" y="126"/>
                  </a:lnTo>
                  <a:lnTo>
                    <a:pt x="263" y="128"/>
                  </a:lnTo>
                  <a:lnTo>
                    <a:pt x="266" y="130"/>
                  </a:lnTo>
                  <a:lnTo>
                    <a:pt x="268" y="131"/>
                  </a:lnTo>
                  <a:lnTo>
                    <a:pt x="269" y="132"/>
                  </a:lnTo>
                  <a:lnTo>
                    <a:pt x="271" y="133"/>
                  </a:lnTo>
                  <a:lnTo>
                    <a:pt x="273" y="134"/>
                  </a:lnTo>
                  <a:lnTo>
                    <a:pt x="277" y="135"/>
                  </a:lnTo>
                  <a:lnTo>
                    <a:pt x="287" y="137"/>
                  </a:lnTo>
                  <a:lnTo>
                    <a:pt x="293" y="138"/>
                  </a:lnTo>
                  <a:lnTo>
                    <a:pt x="311" y="145"/>
                  </a:lnTo>
                  <a:lnTo>
                    <a:pt x="321" y="147"/>
                  </a:lnTo>
                  <a:lnTo>
                    <a:pt x="323" y="148"/>
                  </a:lnTo>
                  <a:lnTo>
                    <a:pt x="327" y="150"/>
                  </a:lnTo>
                  <a:lnTo>
                    <a:pt x="328" y="150"/>
                  </a:lnTo>
                  <a:lnTo>
                    <a:pt x="330" y="151"/>
                  </a:lnTo>
                  <a:lnTo>
                    <a:pt x="331" y="152"/>
                  </a:lnTo>
                  <a:lnTo>
                    <a:pt x="333" y="154"/>
                  </a:lnTo>
                  <a:lnTo>
                    <a:pt x="334" y="156"/>
                  </a:lnTo>
                  <a:lnTo>
                    <a:pt x="335" y="158"/>
                  </a:lnTo>
                  <a:lnTo>
                    <a:pt x="337" y="162"/>
                  </a:lnTo>
                  <a:lnTo>
                    <a:pt x="339" y="170"/>
                  </a:lnTo>
                  <a:lnTo>
                    <a:pt x="340" y="173"/>
                  </a:lnTo>
                  <a:lnTo>
                    <a:pt x="341" y="176"/>
                  </a:lnTo>
                  <a:lnTo>
                    <a:pt x="343" y="179"/>
                  </a:lnTo>
                  <a:lnTo>
                    <a:pt x="344" y="181"/>
                  </a:lnTo>
                  <a:lnTo>
                    <a:pt x="346" y="183"/>
                  </a:lnTo>
                  <a:lnTo>
                    <a:pt x="353" y="191"/>
                  </a:lnTo>
                  <a:lnTo>
                    <a:pt x="359" y="197"/>
                  </a:lnTo>
                  <a:lnTo>
                    <a:pt x="361" y="199"/>
                  </a:lnTo>
                  <a:lnTo>
                    <a:pt x="362" y="201"/>
                  </a:lnTo>
                  <a:lnTo>
                    <a:pt x="363" y="202"/>
                  </a:lnTo>
                  <a:lnTo>
                    <a:pt x="366" y="209"/>
                  </a:lnTo>
                  <a:lnTo>
                    <a:pt x="367" y="212"/>
                  </a:lnTo>
                  <a:lnTo>
                    <a:pt x="368" y="214"/>
                  </a:lnTo>
                  <a:lnTo>
                    <a:pt x="370" y="215"/>
                  </a:lnTo>
                  <a:lnTo>
                    <a:pt x="376" y="222"/>
                  </a:lnTo>
                  <a:lnTo>
                    <a:pt x="378" y="224"/>
                  </a:lnTo>
                  <a:lnTo>
                    <a:pt x="379" y="225"/>
                  </a:lnTo>
                  <a:lnTo>
                    <a:pt x="381" y="226"/>
                  </a:lnTo>
                  <a:lnTo>
                    <a:pt x="386" y="229"/>
                  </a:lnTo>
                  <a:lnTo>
                    <a:pt x="388" y="230"/>
                  </a:lnTo>
                  <a:lnTo>
                    <a:pt x="389" y="232"/>
                  </a:lnTo>
                  <a:lnTo>
                    <a:pt x="394" y="237"/>
                  </a:lnTo>
                  <a:lnTo>
                    <a:pt x="397" y="239"/>
                  </a:lnTo>
                  <a:lnTo>
                    <a:pt x="401" y="242"/>
                  </a:lnTo>
                  <a:lnTo>
                    <a:pt x="405" y="244"/>
                  </a:lnTo>
                  <a:lnTo>
                    <a:pt x="408" y="247"/>
                  </a:lnTo>
                  <a:lnTo>
                    <a:pt x="416" y="250"/>
                  </a:lnTo>
                  <a:lnTo>
                    <a:pt x="421" y="252"/>
                  </a:lnTo>
                  <a:lnTo>
                    <a:pt x="430" y="255"/>
                  </a:lnTo>
                  <a:lnTo>
                    <a:pt x="431" y="256"/>
                  </a:lnTo>
                  <a:lnTo>
                    <a:pt x="431" y="257"/>
                  </a:lnTo>
                  <a:lnTo>
                    <a:pt x="430" y="257"/>
                  </a:lnTo>
                  <a:lnTo>
                    <a:pt x="430" y="259"/>
                  </a:lnTo>
                  <a:lnTo>
                    <a:pt x="430" y="266"/>
                  </a:lnTo>
                  <a:lnTo>
                    <a:pt x="430" y="270"/>
                  </a:lnTo>
                  <a:lnTo>
                    <a:pt x="429" y="275"/>
                  </a:lnTo>
                  <a:lnTo>
                    <a:pt x="428" y="279"/>
                  </a:lnTo>
                  <a:lnTo>
                    <a:pt x="428" y="283"/>
                  </a:lnTo>
                  <a:lnTo>
                    <a:pt x="426" y="287"/>
                  </a:lnTo>
                  <a:lnTo>
                    <a:pt x="425" y="290"/>
                  </a:lnTo>
                  <a:lnTo>
                    <a:pt x="423" y="293"/>
                  </a:lnTo>
                  <a:lnTo>
                    <a:pt x="423" y="294"/>
                  </a:lnTo>
                  <a:lnTo>
                    <a:pt x="421" y="296"/>
                  </a:lnTo>
                  <a:lnTo>
                    <a:pt x="420" y="297"/>
                  </a:lnTo>
                  <a:lnTo>
                    <a:pt x="418" y="297"/>
                  </a:lnTo>
                  <a:lnTo>
                    <a:pt x="417" y="298"/>
                  </a:lnTo>
                  <a:lnTo>
                    <a:pt x="416" y="298"/>
                  </a:lnTo>
                  <a:lnTo>
                    <a:pt x="409" y="298"/>
                  </a:lnTo>
                  <a:lnTo>
                    <a:pt x="408" y="298"/>
                  </a:lnTo>
                  <a:lnTo>
                    <a:pt x="406" y="299"/>
                  </a:lnTo>
                  <a:lnTo>
                    <a:pt x="404" y="299"/>
                  </a:lnTo>
                  <a:lnTo>
                    <a:pt x="402" y="300"/>
                  </a:lnTo>
                  <a:lnTo>
                    <a:pt x="401" y="302"/>
                  </a:lnTo>
                  <a:lnTo>
                    <a:pt x="399" y="304"/>
                  </a:lnTo>
                  <a:lnTo>
                    <a:pt x="398" y="307"/>
                  </a:lnTo>
                  <a:lnTo>
                    <a:pt x="396" y="309"/>
                  </a:lnTo>
                  <a:lnTo>
                    <a:pt x="396" y="312"/>
                  </a:lnTo>
                  <a:lnTo>
                    <a:pt x="396" y="315"/>
                  </a:lnTo>
                  <a:lnTo>
                    <a:pt x="396" y="322"/>
                  </a:lnTo>
                  <a:lnTo>
                    <a:pt x="395" y="331"/>
                  </a:lnTo>
                  <a:lnTo>
                    <a:pt x="394" y="334"/>
                  </a:lnTo>
                  <a:lnTo>
                    <a:pt x="393" y="336"/>
                  </a:lnTo>
                  <a:lnTo>
                    <a:pt x="392" y="338"/>
                  </a:lnTo>
                  <a:lnTo>
                    <a:pt x="391" y="339"/>
                  </a:lnTo>
                  <a:lnTo>
                    <a:pt x="387" y="344"/>
                  </a:lnTo>
                  <a:lnTo>
                    <a:pt x="386" y="346"/>
                  </a:lnTo>
                  <a:lnTo>
                    <a:pt x="386" y="347"/>
                  </a:lnTo>
                  <a:lnTo>
                    <a:pt x="386" y="349"/>
                  </a:lnTo>
                  <a:lnTo>
                    <a:pt x="385" y="350"/>
                  </a:lnTo>
                  <a:lnTo>
                    <a:pt x="385" y="353"/>
                  </a:lnTo>
                  <a:lnTo>
                    <a:pt x="386" y="354"/>
                  </a:lnTo>
                  <a:lnTo>
                    <a:pt x="386" y="355"/>
                  </a:lnTo>
                  <a:lnTo>
                    <a:pt x="387" y="357"/>
                  </a:lnTo>
                  <a:lnTo>
                    <a:pt x="388" y="358"/>
                  </a:lnTo>
                  <a:lnTo>
                    <a:pt x="389" y="359"/>
                  </a:lnTo>
                  <a:lnTo>
                    <a:pt x="391" y="359"/>
                  </a:lnTo>
                  <a:lnTo>
                    <a:pt x="393" y="360"/>
                  </a:lnTo>
                  <a:lnTo>
                    <a:pt x="395" y="361"/>
                  </a:lnTo>
                  <a:lnTo>
                    <a:pt x="402" y="362"/>
                  </a:lnTo>
                  <a:lnTo>
                    <a:pt x="407" y="364"/>
                  </a:lnTo>
                  <a:lnTo>
                    <a:pt x="411" y="365"/>
                  </a:lnTo>
                  <a:lnTo>
                    <a:pt x="413" y="366"/>
                  </a:lnTo>
                  <a:lnTo>
                    <a:pt x="415" y="367"/>
                  </a:lnTo>
                  <a:lnTo>
                    <a:pt x="417" y="369"/>
                  </a:lnTo>
                  <a:lnTo>
                    <a:pt x="418" y="370"/>
                  </a:lnTo>
                  <a:lnTo>
                    <a:pt x="421" y="372"/>
                  </a:lnTo>
                  <a:lnTo>
                    <a:pt x="422" y="373"/>
                  </a:lnTo>
                  <a:lnTo>
                    <a:pt x="423" y="375"/>
                  </a:lnTo>
                  <a:lnTo>
                    <a:pt x="425" y="377"/>
                  </a:lnTo>
                  <a:lnTo>
                    <a:pt x="427" y="381"/>
                  </a:lnTo>
                  <a:lnTo>
                    <a:pt x="428" y="383"/>
                  </a:lnTo>
                  <a:lnTo>
                    <a:pt x="428" y="385"/>
                  </a:lnTo>
                  <a:lnTo>
                    <a:pt x="429" y="387"/>
                  </a:lnTo>
                  <a:lnTo>
                    <a:pt x="430" y="389"/>
                  </a:lnTo>
                  <a:lnTo>
                    <a:pt x="430" y="390"/>
                  </a:lnTo>
                  <a:lnTo>
                    <a:pt x="430" y="392"/>
                  </a:lnTo>
                  <a:lnTo>
                    <a:pt x="429" y="395"/>
                  </a:lnTo>
                  <a:lnTo>
                    <a:pt x="428" y="401"/>
                  </a:lnTo>
                  <a:lnTo>
                    <a:pt x="427" y="403"/>
                  </a:lnTo>
                  <a:lnTo>
                    <a:pt x="425" y="405"/>
                  </a:lnTo>
                  <a:lnTo>
                    <a:pt x="424" y="409"/>
                  </a:lnTo>
                  <a:lnTo>
                    <a:pt x="418" y="417"/>
                  </a:lnTo>
                  <a:lnTo>
                    <a:pt x="418" y="419"/>
                  </a:lnTo>
                  <a:lnTo>
                    <a:pt x="417" y="420"/>
                  </a:lnTo>
                  <a:lnTo>
                    <a:pt x="417" y="421"/>
                  </a:lnTo>
                  <a:lnTo>
                    <a:pt x="417" y="423"/>
                  </a:lnTo>
                  <a:lnTo>
                    <a:pt x="418" y="424"/>
                  </a:lnTo>
                  <a:lnTo>
                    <a:pt x="418" y="424"/>
                  </a:lnTo>
                  <a:lnTo>
                    <a:pt x="421" y="428"/>
                  </a:lnTo>
                  <a:lnTo>
                    <a:pt x="423" y="430"/>
                  </a:lnTo>
                  <a:lnTo>
                    <a:pt x="425" y="433"/>
                  </a:lnTo>
                  <a:lnTo>
                    <a:pt x="426" y="436"/>
                  </a:lnTo>
                  <a:lnTo>
                    <a:pt x="428" y="438"/>
                  </a:lnTo>
                  <a:lnTo>
                    <a:pt x="428" y="440"/>
                  </a:lnTo>
                  <a:lnTo>
                    <a:pt x="430" y="448"/>
                  </a:lnTo>
                  <a:lnTo>
                    <a:pt x="431" y="450"/>
                  </a:lnTo>
                  <a:lnTo>
                    <a:pt x="432" y="451"/>
                  </a:lnTo>
                  <a:lnTo>
                    <a:pt x="433" y="453"/>
                  </a:lnTo>
                  <a:lnTo>
                    <a:pt x="433" y="454"/>
                  </a:lnTo>
                  <a:lnTo>
                    <a:pt x="435" y="455"/>
                  </a:lnTo>
                  <a:lnTo>
                    <a:pt x="438" y="456"/>
                  </a:lnTo>
                  <a:lnTo>
                    <a:pt x="440" y="458"/>
                  </a:lnTo>
                  <a:lnTo>
                    <a:pt x="448" y="460"/>
                  </a:lnTo>
                  <a:lnTo>
                    <a:pt x="449" y="461"/>
                  </a:lnTo>
                  <a:lnTo>
                    <a:pt x="450" y="461"/>
                  </a:lnTo>
                  <a:lnTo>
                    <a:pt x="452" y="463"/>
                  </a:lnTo>
                  <a:lnTo>
                    <a:pt x="455" y="467"/>
                  </a:lnTo>
                  <a:lnTo>
                    <a:pt x="457" y="469"/>
                  </a:lnTo>
                  <a:lnTo>
                    <a:pt x="458" y="469"/>
                  </a:lnTo>
                  <a:lnTo>
                    <a:pt x="463" y="473"/>
                  </a:lnTo>
                  <a:lnTo>
                    <a:pt x="465" y="474"/>
                  </a:lnTo>
                  <a:lnTo>
                    <a:pt x="467" y="476"/>
                  </a:lnTo>
                  <a:lnTo>
                    <a:pt x="468" y="478"/>
                  </a:lnTo>
                  <a:lnTo>
                    <a:pt x="468" y="479"/>
                  </a:lnTo>
                  <a:lnTo>
                    <a:pt x="469" y="481"/>
                  </a:lnTo>
                  <a:lnTo>
                    <a:pt x="469" y="482"/>
                  </a:lnTo>
                  <a:lnTo>
                    <a:pt x="469" y="484"/>
                  </a:lnTo>
                  <a:lnTo>
                    <a:pt x="468" y="490"/>
                  </a:lnTo>
                  <a:lnTo>
                    <a:pt x="466" y="504"/>
                  </a:lnTo>
                  <a:lnTo>
                    <a:pt x="466" y="506"/>
                  </a:lnTo>
                  <a:lnTo>
                    <a:pt x="465" y="509"/>
                  </a:lnTo>
                  <a:lnTo>
                    <a:pt x="466" y="511"/>
                  </a:lnTo>
                  <a:lnTo>
                    <a:pt x="467" y="514"/>
                  </a:lnTo>
                  <a:lnTo>
                    <a:pt x="468" y="516"/>
                  </a:lnTo>
                  <a:lnTo>
                    <a:pt x="470" y="519"/>
                  </a:lnTo>
                  <a:lnTo>
                    <a:pt x="471" y="521"/>
                  </a:lnTo>
                  <a:lnTo>
                    <a:pt x="473" y="524"/>
                  </a:lnTo>
                  <a:lnTo>
                    <a:pt x="475" y="526"/>
                  </a:lnTo>
                  <a:lnTo>
                    <a:pt x="478" y="528"/>
                  </a:lnTo>
                  <a:lnTo>
                    <a:pt x="480" y="529"/>
                  </a:lnTo>
                  <a:lnTo>
                    <a:pt x="482" y="531"/>
                  </a:lnTo>
                  <a:lnTo>
                    <a:pt x="484" y="531"/>
                  </a:lnTo>
                  <a:lnTo>
                    <a:pt x="486" y="532"/>
                  </a:lnTo>
                  <a:lnTo>
                    <a:pt x="488" y="533"/>
                  </a:lnTo>
                  <a:lnTo>
                    <a:pt x="489" y="534"/>
                  </a:lnTo>
                  <a:lnTo>
                    <a:pt x="492" y="534"/>
                  </a:lnTo>
                  <a:lnTo>
                    <a:pt x="495" y="534"/>
                  </a:lnTo>
                  <a:lnTo>
                    <a:pt x="503" y="532"/>
                  </a:lnTo>
                  <a:lnTo>
                    <a:pt x="505" y="532"/>
                  </a:lnTo>
                  <a:lnTo>
                    <a:pt x="507" y="532"/>
                  </a:lnTo>
                  <a:lnTo>
                    <a:pt x="508" y="532"/>
                  </a:lnTo>
                  <a:lnTo>
                    <a:pt x="510" y="533"/>
                  </a:lnTo>
                  <a:lnTo>
                    <a:pt x="510" y="534"/>
                  </a:lnTo>
                  <a:lnTo>
                    <a:pt x="511" y="534"/>
                  </a:lnTo>
                  <a:lnTo>
                    <a:pt x="511" y="535"/>
                  </a:lnTo>
                  <a:lnTo>
                    <a:pt x="511" y="536"/>
                  </a:lnTo>
                  <a:lnTo>
                    <a:pt x="511" y="538"/>
                  </a:lnTo>
                  <a:lnTo>
                    <a:pt x="510" y="540"/>
                  </a:lnTo>
                  <a:lnTo>
                    <a:pt x="510" y="542"/>
                  </a:lnTo>
                  <a:lnTo>
                    <a:pt x="509" y="543"/>
                  </a:lnTo>
                  <a:lnTo>
                    <a:pt x="508" y="544"/>
                  </a:lnTo>
                  <a:lnTo>
                    <a:pt x="503" y="548"/>
                  </a:lnTo>
                  <a:lnTo>
                    <a:pt x="500" y="550"/>
                  </a:lnTo>
                  <a:lnTo>
                    <a:pt x="499" y="551"/>
                  </a:lnTo>
                  <a:lnTo>
                    <a:pt x="498" y="554"/>
                  </a:lnTo>
                  <a:lnTo>
                    <a:pt x="497" y="556"/>
                  </a:lnTo>
                  <a:lnTo>
                    <a:pt x="496" y="559"/>
                  </a:lnTo>
                  <a:lnTo>
                    <a:pt x="495" y="561"/>
                  </a:lnTo>
                  <a:lnTo>
                    <a:pt x="496" y="564"/>
                  </a:lnTo>
                  <a:lnTo>
                    <a:pt x="497" y="565"/>
                  </a:lnTo>
                  <a:lnTo>
                    <a:pt x="498" y="566"/>
                  </a:lnTo>
                  <a:lnTo>
                    <a:pt x="498" y="568"/>
                  </a:lnTo>
                  <a:lnTo>
                    <a:pt x="500" y="569"/>
                  </a:lnTo>
                  <a:lnTo>
                    <a:pt x="501" y="570"/>
                  </a:lnTo>
                  <a:lnTo>
                    <a:pt x="503" y="571"/>
                  </a:lnTo>
                  <a:lnTo>
                    <a:pt x="511" y="575"/>
                  </a:lnTo>
                  <a:lnTo>
                    <a:pt x="513" y="576"/>
                  </a:lnTo>
                  <a:lnTo>
                    <a:pt x="515" y="578"/>
                  </a:lnTo>
                  <a:lnTo>
                    <a:pt x="516" y="579"/>
                  </a:lnTo>
                  <a:lnTo>
                    <a:pt x="517" y="579"/>
                  </a:lnTo>
                  <a:lnTo>
                    <a:pt x="518" y="581"/>
                  </a:lnTo>
                  <a:lnTo>
                    <a:pt x="518" y="584"/>
                  </a:lnTo>
                  <a:lnTo>
                    <a:pt x="519" y="586"/>
                  </a:lnTo>
                  <a:lnTo>
                    <a:pt x="520" y="592"/>
                  </a:lnTo>
                  <a:lnTo>
                    <a:pt x="523" y="599"/>
                  </a:lnTo>
                  <a:lnTo>
                    <a:pt x="524" y="604"/>
                  </a:lnTo>
                  <a:lnTo>
                    <a:pt x="528" y="611"/>
                  </a:lnTo>
                  <a:lnTo>
                    <a:pt x="530" y="614"/>
                  </a:lnTo>
                  <a:lnTo>
                    <a:pt x="530" y="619"/>
                  </a:lnTo>
                  <a:lnTo>
                    <a:pt x="532" y="628"/>
                  </a:lnTo>
                  <a:lnTo>
                    <a:pt x="533" y="632"/>
                  </a:lnTo>
                  <a:lnTo>
                    <a:pt x="534" y="634"/>
                  </a:lnTo>
                  <a:lnTo>
                    <a:pt x="535" y="637"/>
                  </a:lnTo>
                  <a:lnTo>
                    <a:pt x="537" y="640"/>
                  </a:lnTo>
                  <a:lnTo>
                    <a:pt x="539" y="644"/>
                  </a:lnTo>
                  <a:lnTo>
                    <a:pt x="541" y="646"/>
                  </a:lnTo>
                  <a:lnTo>
                    <a:pt x="543" y="649"/>
                  </a:lnTo>
                  <a:lnTo>
                    <a:pt x="545" y="652"/>
                  </a:lnTo>
                  <a:lnTo>
                    <a:pt x="548" y="655"/>
                  </a:lnTo>
                  <a:lnTo>
                    <a:pt x="550" y="657"/>
                  </a:lnTo>
                  <a:lnTo>
                    <a:pt x="553" y="659"/>
                  </a:lnTo>
                  <a:lnTo>
                    <a:pt x="555" y="661"/>
                  </a:lnTo>
                  <a:lnTo>
                    <a:pt x="558" y="663"/>
                  </a:lnTo>
                  <a:lnTo>
                    <a:pt x="561" y="665"/>
                  </a:lnTo>
                  <a:lnTo>
                    <a:pt x="565" y="667"/>
                  </a:lnTo>
                  <a:lnTo>
                    <a:pt x="568" y="668"/>
                  </a:lnTo>
                  <a:lnTo>
                    <a:pt x="573" y="671"/>
                  </a:lnTo>
                  <a:lnTo>
                    <a:pt x="577" y="672"/>
                  </a:lnTo>
                  <a:lnTo>
                    <a:pt x="580" y="673"/>
                  </a:lnTo>
                  <a:lnTo>
                    <a:pt x="591" y="676"/>
                  </a:lnTo>
                  <a:lnTo>
                    <a:pt x="593" y="676"/>
                  </a:lnTo>
                  <a:lnTo>
                    <a:pt x="595" y="677"/>
                  </a:lnTo>
                  <a:lnTo>
                    <a:pt x="597" y="678"/>
                  </a:lnTo>
                  <a:lnTo>
                    <a:pt x="598" y="679"/>
                  </a:lnTo>
                  <a:lnTo>
                    <a:pt x="600" y="681"/>
                  </a:lnTo>
                  <a:lnTo>
                    <a:pt x="602" y="683"/>
                  </a:lnTo>
                  <a:lnTo>
                    <a:pt x="603" y="685"/>
                  </a:lnTo>
                  <a:lnTo>
                    <a:pt x="603" y="687"/>
                  </a:lnTo>
                  <a:lnTo>
                    <a:pt x="605" y="691"/>
                  </a:lnTo>
                  <a:lnTo>
                    <a:pt x="605" y="695"/>
                  </a:lnTo>
                  <a:lnTo>
                    <a:pt x="607" y="703"/>
                  </a:lnTo>
                  <a:lnTo>
                    <a:pt x="608" y="706"/>
                  </a:lnTo>
                  <a:lnTo>
                    <a:pt x="609" y="708"/>
                  </a:lnTo>
                  <a:lnTo>
                    <a:pt x="610" y="713"/>
                  </a:lnTo>
                  <a:lnTo>
                    <a:pt x="617" y="726"/>
                  </a:lnTo>
                  <a:lnTo>
                    <a:pt x="619" y="730"/>
                  </a:lnTo>
                  <a:lnTo>
                    <a:pt x="620" y="733"/>
                  </a:lnTo>
                  <a:lnTo>
                    <a:pt x="620" y="736"/>
                  </a:lnTo>
                  <a:lnTo>
                    <a:pt x="620" y="738"/>
                  </a:lnTo>
                  <a:lnTo>
                    <a:pt x="622" y="748"/>
                  </a:lnTo>
                  <a:lnTo>
                    <a:pt x="623" y="754"/>
                  </a:lnTo>
                  <a:lnTo>
                    <a:pt x="624" y="759"/>
                  </a:lnTo>
                  <a:lnTo>
                    <a:pt x="626" y="768"/>
                  </a:lnTo>
                  <a:lnTo>
                    <a:pt x="628" y="772"/>
                  </a:lnTo>
                  <a:lnTo>
                    <a:pt x="628" y="775"/>
                  </a:lnTo>
                  <a:lnTo>
                    <a:pt x="627" y="777"/>
                  </a:lnTo>
                  <a:lnTo>
                    <a:pt x="627" y="778"/>
                  </a:lnTo>
                  <a:lnTo>
                    <a:pt x="626" y="778"/>
                  </a:lnTo>
                  <a:lnTo>
                    <a:pt x="626" y="779"/>
                  </a:lnTo>
                  <a:lnTo>
                    <a:pt x="625" y="779"/>
                  </a:lnTo>
                  <a:lnTo>
                    <a:pt x="624" y="778"/>
                  </a:lnTo>
                  <a:lnTo>
                    <a:pt x="621" y="778"/>
                  </a:lnTo>
                  <a:lnTo>
                    <a:pt x="614" y="773"/>
                  </a:lnTo>
                  <a:lnTo>
                    <a:pt x="611" y="772"/>
                  </a:lnTo>
                  <a:lnTo>
                    <a:pt x="608" y="771"/>
                  </a:lnTo>
                  <a:lnTo>
                    <a:pt x="603" y="769"/>
                  </a:lnTo>
                  <a:lnTo>
                    <a:pt x="600" y="768"/>
                  </a:lnTo>
                  <a:lnTo>
                    <a:pt x="598" y="768"/>
                  </a:lnTo>
                  <a:lnTo>
                    <a:pt x="584" y="766"/>
                  </a:lnTo>
                  <a:lnTo>
                    <a:pt x="575" y="763"/>
                  </a:lnTo>
                  <a:lnTo>
                    <a:pt x="571" y="763"/>
                  </a:lnTo>
                  <a:lnTo>
                    <a:pt x="568" y="763"/>
                  </a:lnTo>
                  <a:lnTo>
                    <a:pt x="565" y="763"/>
                  </a:lnTo>
                  <a:lnTo>
                    <a:pt x="561" y="763"/>
                  </a:lnTo>
                  <a:lnTo>
                    <a:pt x="558" y="763"/>
                  </a:lnTo>
                  <a:lnTo>
                    <a:pt x="555" y="764"/>
                  </a:lnTo>
                  <a:lnTo>
                    <a:pt x="553" y="765"/>
                  </a:lnTo>
                  <a:lnTo>
                    <a:pt x="551" y="766"/>
                  </a:lnTo>
                  <a:lnTo>
                    <a:pt x="549" y="768"/>
                  </a:lnTo>
                  <a:lnTo>
                    <a:pt x="547" y="770"/>
                  </a:lnTo>
                  <a:lnTo>
                    <a:pt x="545" y="772"/>
                  </a:lnTo>
                  <a:lnTo>
                    <a:pt x="544" y="775"/>
                  </a:lnTo>
                  <a:lnTo>
                    <a:pt x="543" y="778"/>
                  </a:lnTo>
                  <a:lnTo>
                    <a:pt x="542" y="781"/>
                  </a:lnTo>
                  <a:lnTo>
                    <a:pt x="540" y="791"/>
                  </a:lnTo>
                  <a:lnTo>
                    <a:pt x="537" y="805"/>
                  </a:lnTo>
                  <a:lnTo>
                    <a:pt x="536" y="810"/>
                  </a:lnTo>
                  <a:lnTo>
                    <a:pt x="535" y="819"/>
                  </a:lnTo>
                  <a:lnTo>
                    <a:pt x="534" y="823"/>
                  </a:lnTo>
                  <a:lnTo>
                    <a:pt x="533" y="826"/>
                  </a:lnTo>
                  <a:lnTo>
                    <a:pt x="533" y="828"/>
                  </a:lnTo>
                  <a:lnTo>
                    <a:pt x="531" y="831"/>
                  </a:lnTo>
                  <a:lnTo>
                    <a:pt x="530" y="833"/>
                  </a:lnTo>
                  <a:lnTo>
                    <a:pt x="526" y="838"/>
                  </a:lnTo>
                  <a:lnTo>
                    <a:pt x="523" y="843"/>
                  </a:lnTo>
                  <a:lnTo>
                    <a:pt x="518" y="848"/>
                  </a:lnTo>
                  <a:lnTo>
                    <a:pt x="515" y="852"/>
                  </a:lnTo>
                  <a:lnTo>
                    <a:pt x="512" y="855"/>
                  </a:lnTo>
                  <a:lnTo>
                    <a:pt x="508" y="858"/>
                  </a:lnTo>
                  <a:lnTo>
                    <a:pt x="505" y="860"/>
                  </a:lnTo>
                  <a:lnTo>
                    <a:pt x="497" y="866"/>
                  </a:lnTo>
                  <a:lnTo>
                    <a:pt x="492" y="868"/>
                  </a:lnTo>
                  <a:lnTo>
                    <a:pt x="486" y="873"/>
                  </a:lnTo>
                  <a:lnTo>
                    <a:pt x="483" y="877"/>
                  </a:lnTo>
                  <a:lnTo>
                    <a:pt x="480" y="880"/>
                  </a:lnTo>
                  <a:lnTo>
                    <a:pt x="476" y="883"/>
                  </a:lnTo>
                  <a:lnTo>
                    <a:pt x="473" y="887"/>
                  </a:lnTo>
                  <a:lnTo>
                    <a:pt x="471" y="890"/>
                  </a:lnTo>
                  <a:lnTo>
                    <a:pt x="469" y="893"/>
                  </a:lnTo>
                  <a:lnTo>
                    <a:pt x="467" y="896"/>
                  </a:lnTo>
                  <a:lnTo>
                    <a:pt x="465" y="900"/>
                  </a:lnTo>
                  <a:lnTo>
                    <a:pt x="464" y="903"/>
                  </a:lnTo>
                  <a:lnTo>
                    <a:pt x="463" y="907"/>
                  </a:lnTo>
                  <a:lnTo>
                    <a:pt x="462" y="909"/>
                  </a:lnTo>
                  <a:lnTo>
                    <a:pt x="462" y="910"/>
                  </a:lnTo>
                  <a:lnTo>
                    <a:pt x="461" y="910"/>
                  </a:lnTo>
                  <a:lnTo>
                    <a:pt x="460" y="910"/>
                  </a:lnTo>
                  <a:lnTo>
                    <a:pt x="458" y="908"/>
                  </a:lnTo>
                  <a:lnTo>
                    <a:pt x="456" y="908"/>
                  </a:lnTo>
                  <a:lnTo>
                    <a:pt x="455" y="906"/>
                  </a:lnTo>
                  <a:lnTo>
                    <a:pt x="453" y="905"/>
                  </a:lnTo>
                  <a:lnTo>
                    <a:pt x="452" y="903"/>
                  </a:lnTo>
                  <a:lnTo>
                    <a:pt x="450" y="901"/>
                  </a:lnTo>
                  <a:lnTo>
                    <a:pt x="448" y="898"/>
                  </a:lnTo>
                  <a:lnTo>
                    <a:pt x="447" y="896"/>
                  </a:lnTo>
                  <a:lnTo>
                    <a:pt x="444" y="891"/>
                  </a:lnTo>
                  <a:lnTo>
                    <a:pt x="442" y="886"/>
                  </a:lnTo>
                  <a:lnTo>
                    <a:pt x="440" y="881"/>
                  </a:lnTo>
                  <a:lnTo>
                    <a:pt x="438" y="876"/>
                  </a:lnTo>
                  <a:lnTo>
                    <a:pt x="437" y="871"/>
                  </a:lnTo>
                  <a:lnTo>
                    <a:pt x="436" y="867"/>
                  </a:lnTo>
                  <a:lnTo>
                    <a:pt x="436" y="863"/>
                  </a:lnTo>
                  <a:lnTo>
                    <a:pt x="436" y="857"/>
                  </a:lnTo>
                  <a:lnTo>
                    <a:pt x="436" y="847"/>
                  </a:lnTo>
                  <a:lnTo>
                    <a:pt x="437" y="841"/>
                  </a:lnTo>
                  <a:lnTo>
                    <a:pt x="438" y="836"/>
                  </a:lnTo>
                  <a:lnTo>
                    <a:pt x="438" y="835"/>
                  </a:lnTo>
                  <a:lnTo>
                    <a:pt x="438" y="834"/>
                  </a:lnTo>
                  <a:lnTo>
                    <a:pt x="437" y="833"/>
                  </a:lnTo>
                  <a:lnTo>
                    <a:pt x="436" y="834"/>
                  </a:lnTo>
                  <a:lnTo>
                    <a:pt x="435" y="834"/>
                  </a:lnTo>
                  <a:lnTo>
                    <a:pt x="435" y="835"/>
                  </a:lnTo>
                  <a:lnTo>
                    <a:pt x="430" y="838"/>
                  </a:lnTo>
                  <a:lnTo>
                    <a:pt x="429" y="839"/>
                  </a:lnTo>
                  <a:lnTo>
                    <a:pt x="428" y="839"/>
                  </a:lnTo>
                  <a:lnTo>
                    <a:pt x="427" y="839"/>
                  </a:lnTo>
                  <a:lnTo>
                    <a:pt x="425" y="839"/>
                  </a:lnTo>
                  <a:lnTo>
                    <a:pt x="424" y="838"/>
                  </a:lnTo>
                  <a:lnTo>
                    <a:pt x="423" y="838"/>
                  </a:lnTo>
                  <a:lnTo>
                    <a:pt x="421" y="836"/>
                  </a:lnTo>
                  <a:lnTo>
                    <a:pt x="420" y="835"/>
                  </a:lnTo>
                  <a:lnTo>
                    <a:pt x="414" y="826"/>
                  </a:lnTo>
                  <a:lnTo>
                    <a:pt x="411" y="821"/>
                  </a:lnTo>
                  <a:lnTo>
                    <a:pt x="408" y="818"/>
                  </a:lnTo>
                  <a:lnTo>
                    <a:pt x="402" y="813"/>
                  </a:lnTo>
                  <a:lnTo>
                    <a:pt x="399" y="810"/>
                  </a:lnTo>
                  <a:lnTo>
                    <a:pt x="386" y="793"/>
                  </a:lnTo>
                  <a:lnTo>
                    <a:pt x="378" y="784"/>
                  </a:lnTo>
                  <a:lnTo>
                    <a:pt x="373" y="778"/>
                  </a:lnTo>
                  <a:lnTo>
                    <a:pt x="371" y="776"/>
                  </a:lnTo>
                  <a:lnTo>
                    <a:pt x="366" y="771"/>
                  </a:lnTo>
                  <a:lnTo>
                    <a:pt x="365" y="771"/>
                  </a:lnTo>
                  <a:lnTo>
                    <a:pt x="363" y="769"/>
                  </a:lnTo>
                  <a:lnTo>
                    <a:pt x="359" y="768"/>
                  </a:lnTo>
                  <a:lnTo>
                    <a:pt x="348" y="763"/>
                  </a:lnTo>
                  <a:lnTo>
                    <a:pt x="347" y="761"/>
                  </a:lnTo>
                  <a:lnTo>
                    <a:pt x="345" y="760"/>
                  </a:lnTo>
                  <a:lnTo>
                    <a:pt x="343" y="758"/>
                  </a:lnTo>
                  <a:lnTo>
                    <a:pt x="342" y="756"/>
                  </a:lnTo>
                  <a:lnTo>
                    <a:pt x="341" y="754"/>
                  </a:lnTo>
                  <a:lnTo>
                    <a:pt x="340" y="752"/>
                  </a:lnTo>
                  <a:lnTo>
                    <a:pt x="338" y="743"/>
                  </a:lnTo>
                  <a:lnTo>
                    <a:pt x="337" y="741"/>
                  </a:lnTo>
                  <a:lnTo>
                    <a:pt x="336" y="736"/>
                  </a:lnTo>
                  <a:lnTo>
                    <a:pt x="336" y="732"/>
                  </a:lnTo>
                  <a:lnTo>
                    <a:pt x="336" y="730"/>
                  </a:lnTo>
                  <a:lnTo>
                    <a:pt x="336" y="728"/>
                  </a:lnTo>
                  <a:lnTo>
                    <a:pt x="335" y="727"/>
                  </a:lnTo>
                  <a:lnTo>
                    <a:pt x="333" y="726"/>
                  </a:lnTo>
                  <a:lnTo>
                    <a:pt x="332" y="726"/>
                  </a:lnTo>
                  <a:lnTo>
                    <a:pt x="330" y="726"/>
                  </a:lnTo>
                  <a:lnTo>
                    <a:pt x="328" y="726"/>
                  </a:lnTo>
                  <a:lnTo>
                    <a:pt x="326" y="727"/>
                  </a:lnTo>
                  <a:lnTo>
                    <a:pt x="324" y="728"/>
                  </a:lnTo>
                  <a:lnTo>
                    <a:pt x="314" y="732"/>
                  </a:lnTo>
                  <a:lnTo>
                    <a:pt x="306" y="734"/>
                  </a:lnTo>
                  <a:lnTo>
                    <a:pt x="299" y="736"/>
                  </a:lnTo>
                  <a:lnTo>
                    <a:pt x="285" y="740"/>
                  </a:lnTo>
                  <a:lnTo>
                    <a:pt x="275" y="743"/>
                  </a:lnTo>
                  <a:lnTo>
                    <a:pt x="271" y="743"/>
                  </a:lnTo>
                  <a:lnTo>
                    <a:pt x="268" y="744"/>
                  </a:lnTo>
                  <a:lnTo>
                    <a:pt x="266" y="744"/>
                  </a:lnTo>
                  <a:lnTo>
                    <a:pt x="264" y="744"/>
                  </a:lnTo>
                  <a:lnTo>
                    <a:pt x="262" y="743"/>
                  </a:lnTo>
                  <a:lnTo>
                    <a:pt x="260" y="743"/>
                  </a:lnTo>
                  <a:lnTo>
                    <a:pt x="258" y="743"/>
                  </a:lnTo>
                  <a:lnTo>
                    <a:pt x="257" y="742"/>
                  </a:lnTo>
                  <a:lnTo>
                    <a:pt x="256" y="741"/>
                  </a:lnTo>
                  <a:lnTo>
                    <a:pt x="254" y="740"/>
                  </a:lnTo>
                  <a:lnTo>
                    <a:pt x="253" y="738"/>
                  </a:lnTo>
                  <a:lnTo>
                    <a:pt x="250" y="731"/>
                  </a:lnTo>
                  <a:lnTo>
                    <a:pt x="243" y="720"/>
                  </a:lnTo>
                  <a:lnTo>
                    <a:pt x="242" y="717"/>
                  </a:lnTo>
                  <a:lnTo>
                    <a:pt x="241" y="715"/>
                  </a:lnTo>
                  <a:lnTo>
                    <a:pt x="241" y="713"/>
                  </a:lnTo>
                  <a:lnTo>
                    <a:pt x="240" y="705"/>
                  </a:lnTo>
                  <a:lnTo>
                    <a:pt x="238" y="698"/>
                  </a:lnTo>
                  <a:lnTo>
                    <a:pt x="238" y="696"/>
                  </a:lnTo>
                  <a:lnTo>
                    <a:pt x="238" y="691"/>
                  </a:lnTo>
                  <a:lnTo>
                    <a:pt x="238" y="689"/>
                  </a:lnTo>
                  <a:lnTo>
                    <a:pt x="238" y="686"/>
                  </a:lnTo>
                  <a:lnTo>
                    <a:pt x="238" y="685"/>
                  </a:lnTo>
                  <a:lnTo>
                    <a:pt x="238" y="684"/>
                  </a:lnTo>
                  <a:lnTo>
                    <a:pt x="238" y="683"/>
                  </a:lnTo>
                  <a:lnTo>
                    <a:pt x="238" y="681"/>
                  </a:lnTo>
                  <a:lnTo>
                    <a:pt x="237" y="679"/>
                  </a:lnTo>
                  <a:lnTo>
                    <a:pt x="236" y="678"/>
                  </a:lnTo>
                  <a:lnTo>
                    <a:pt x="234" y="677"/>
                  </a:lnTo>
                  <a:lnTo>
                    <a:pt x="231" y="675"/>
                  </a:lnTo>
                  <a:lnTo>
                    <a:pt x="228" y="673"/>
                  </a:lnTo>
                  <a:lnTo>
                    <a:pt x="221" y="666"/>
                  </a:lnTo>
                  <a:lnTo>
                    <a:pt x="214" y="660"/>
                  </a:lnTo>
                  <a:lnTo>
                    <a:pt x="207" y="651"/>
                  </a:lnTo>
                  <a:lnTo>
                    <a:pt x="206" y="650"/>
                  </a:lnTo>
                  <a:lnTo>
                    <a:pt x="203" y="649"/>
                  </a:lnTo>
                  <a:lnTo>
                    <a:pt x="200" y="646"/>
                  </a:lnTo>
                  <a:lnTo>
                    <a:pt x="194" y="643"/>
                  </a:lnTo>
                  <a:lnTo>
                    <a:pt x="189" y="641"/>
                  </a:lnTo>
                  <a:lnTo>
                    <a:pt x="184" y="638"/>
                  </a:lnTo>
                  <a:lnTo>
                    <a:pt x="179" y="634"/>
                  </a:lnTo>
                  <a:lnTo>
                    <a:pt x="176" y="632"/>
                  </a:lnTo>
                  <a:lnTo>
                    <a:pt x="174" y="631"/>
                  </a:lnTo>
                  <a:lnTo>
                    <a:pt x="172" y="630"/>
                  </a:lnTo>
                  <a:lnTo>
                    <a:pt x="165" y="628"/>
                  </a:lnTo>
                  <a:lnTo>
                    <a:pt x="164" y="627"/>
                  </a:lnTo>
                  <a:lnTo>
                    <a:pt x="162" y="626"/>
                  </a:lnTo>
                  <a:lnTo>
                    <a:pt x="162" y="626"/>
                  </a:lnTo>
                  <a:lnTo>
                    <a:pt x="161" y="625"/>
                  </a:lnTo>
                  <a:lnTo>
                    <a:pt x="161" y="624"/>
                  </a:lnTo>
                  <a:lnTo>
                    <a:pt x="161" y="623"/>
                  </a:lnTo>
                  <a:lnTo>
                    <a:pt x="161" y="621"/>
                  </a:lnTo>
                  <a:lnTo>
                    <a:pt x="161" y="618"/>
                  </a:lnTo>
                  <a:lnTo>
                    <a:pt x="161" y="616"/>
                  </a:lnTo>
                  <a:lnTo>
                    <a:pt x="161" y="610"/>
                  </a:lnTo>
                  <a:lnTo>
                    <a:pt x="161" y="609"/>
                  </a:lnTo>
                  <a:lnTo>
                    <a:pt x="161" y="607"/>
                  </a:lnTo>
                  <a:lnTo>
                    <a:pt x="160" y="606"/>
                  </a:lnTo>
                  <a:lnTo>
                    <a:pt x="160" y="606"/>
                  </a:lnTo>
                  <a:lnTo>
                    <a:pt x="159" y="604"/>
                  </a:lnTo>
                  <a:lnTo>
                    <a:pt x="157" y="603"/>
                  </a:lnTo>
                  <a:lnTo>
                    <a:pt x="155" y="602"/>
                  </a:lnTo>
                  <a:lnTo>
                    <a:pt x="146" y="597"/>
                  </a:lnTo>
                  <a:lnTo>
                    <a:pt x="141" y="594"/>
                  </a:lnTo>
                  <a:lnTo>
                    <a:pt x="136" y="591"/>
                  </a:lnTo>
                  <a:lnTo>
                    <a:pt x="127" y="585"/>
                  </a:lnTo>
                  <a:lnTo>
                    <a:pt x="121" y="581"/>
                  </a:lnTo>
                  <a:lnTo>
                    <a:pt x="117" y="579"/>
                  </a:lnTo>
                  <a:lnTo>
                    <a:pt x="104" y="573"/>
                  </a:lnTo>
                  <a:lnTo>
                    <a:pt x="102" y="571"/>
                  </a:lnTo>
                  <a:lnTo>
                    <a:pt x="101" y="571"/>
                  </a:lnTo>
                  <a:lnTo>
                    <a:pt x="99" y="569"/>
                  </a:lnTo>
                  <a:lnTo>
                    <a:pt x="98" y="568"/>
                  </a:lnTo>
                  <a:lnTo>
                    <a:pt x="94" y="564"/>
                  </a:lnTo>
                  <a:lnTo>
                    <a:pt x="89" y="556"/>
                  </a:lnTo>
                  <a:lnTo>
                    <a:pt x="82" y="548"/>
                  </a:lnTo>
                  <a:lnTo>
                    <a:pt x="81" y="546"/>
                  </a:lnTo>
                  <a:lnTo>
                    <a:pt x="80" y="546"/>
                  </a:lnTo>
                  <a:lnTo>
                    <a:pt x="78" y="544"/>
                  </a:lnTo>
                  <a:lnTo>
                    <a:pt x="74" y="542"/>
                  </a:lnTo>
                  <a:lnTo>
                    <a:pt x="71" y="540"/>
                  </a:lnTo>
                  <a:lnTo>
                    <a:pt x="68" y="539"/>
                  </a:lnTo>
                  <a:lnTo>
                    <a:pt x="64" y="534"/>
                  </a:lnTo>
                  <a:lnTo>
                    <a:pt x="61" y="532"/>
                  </a:lnTo>
                  <a:lnTo>
                    <a:pt x="59" y="531"/>
                  </a:lnTo>
                  <a:lnTo>
                    <a:pt x="54" y="527"/>
                  </a:lnTo>
                  <a:lnTo>
                    <a:pt x="51" y="526"/>
                  </a:lnTo>
                  <a:lnTo>
                    <a:pt x="51" y="525"/>
                  </a:lnTo>
                  <a:lnTo>
                    <a:pt x="49" y="524"/>
                  </a:lnTo>
                  <a:lnTo>
                    <a:pt x="44" y="517"/>
                  </a:lnTo>
                  <a:lnTo>
                    <a:pt x="42" y="515"/>
                  </a:lnTo>
                  <a:lnTo>
                    <a:pt x="40" y="513"/>
                  </a:lnTo>
                  <a:lnTo>
                    <a:pt x="37" y="511"/>
                  </a:lnTo>
                  <a:lnTo>
                    <a:pt x="35" y="509"/>
                  </a:lnTo>
                  <a:lnTo>
                    <a:pt x="31" y="507"/>
                  </a:lnTo>
                  <a:lnTo>
                    <a:pt x="21" y="501"/>
                  </a:lnTo>
                  <a:lnTo>
                    <a:pt x="18" y="499"/>
                  </a:lnTo>
                  <a:lnTo>
                    <a:pt x="14" y="497"/>
                  </a:lnTo>
                  <a:lnTo>
                    <a:pt x="11" y="495"/>
                  </a:lnTo>
                  <a:lnTo>
                    <a:pt x="9" y="492"/>
                  </a:lnTo>
                  <a:lnTo>
                    <a:pt x="8" y="491"/>
                  </a:lnTo>
                  <a:lnTo>
                    <a:pt x="6" y="488"/>
                  </a:lnTo>
                  <a:lnTo>
                    <a:pt x="5" y="486"/>
                  </a:lnTo>
                  <a:lnTo>
                    <a:pt x="4" y="484"/>
                  </a:lnTo>
                  <a:lnTo>
                    <a:pt x="3" y="481"/>
                  </a:lnTo>
                  <a:lnTo>
                    <a:pt x="1" y="478"/>
                  </a:lnTo>
                  <a:lnTo>
                    <a:pt x="1" y="475"/>
                  </a:lnTo>
                  <a:lnTo>
                    <a:pt x="0" y="472"/>
                  </a:lnTo>
                  <a:lnTo>
                    <a:pt x="0" y="469"/>
                  </a:lnTo>
                  <a:lnTo>
                    <a:pt x="0" y="466"/>
                  </a:lnTo>
                  <a:lnTo>
                    <a:pt x="0" y="464"/>
                  </a:lnTo>
                  <a:lnTo>
                    <a:pt x="1" y="461"/>
                  </a:lnTo>
                  <a:lnTo>
                    <a:pt x="1" y="459"/>
                  </a:lnTo>
                  <a:lnTo>
                    <a:pt x="2" y="456"/>
                  </a:lnTo>
                  <a:lnTo>
                    <a:pt x="2" y="456"/>
                  </a:lnTo>
                  <a:lnTo>
                    <a:pt x="3" y="456"/>
                  </a:lnTo>
                  <a:lnTo>
                    <a:pt x="11" y="453"/>
                  </a:lnTo>
                  <a:lnTo>
                    <a:pt x="16" y="451"/>
                  </a:lnTo>
                  <a:lnTo>
                    <a:pt x="19" y="449"/>
                  </a:lnTo>
                  <a:lnTo>
                    <a:pt x="22" y="448"/>
                  </a:lnTo>
                  <a:lnTo>
                    <a:pt x="26" y="446"/>
                  </a:lnTo>
                  <a:lnTo>
                    <a:pt x="29" y="444"/>
                  </a:lnTo>
                  <a:lnTo>
                    <a:pt x="31" y="442"/>
                  </a:lnTo>
                  <a:lnTo>
                    <a:pt x="37" y="438"/>
                  </a:lnTo>
                  <a:lnTo>
                    <a:pt x="41" y="435"/>
                  </a:lnTo>
                  <a:lnTo>
                    <a:pt x="43" y="431"/>
                  </a:lnTo>
                  <a:lnTo>
                    <a:pt x="46" y="427"/>
                  </a:lnTo>
                  <a:lnTo>
                    <a:pt x="49" y="425"/>
                  </a:lnTo>
                  <a:lnTo>
                    <a:pt x="50" y="424"/>
                  </a:lnTo>
                  <a:lnTo>
                    <a:pt x="51" y="423"/>
                  </a:lnTo>
                  <a:lnTo>
                    <a:pt x="56" y="420"/>
                  </a:lnTo>
                  <a:lnTo>
                    <a:pt x="59" y="419"/>
                  </a:lnTo>
                  <a:lnTo>
                    <a:pt x="59" y="418"/>
                  </a:lnTo>
                  <a:lnTo>
                    <a:pt x="60" y="417"/>
                  </a:lnTo>
                  <a:lnTo>
                    <a:pt x="60" y="416"/>
                  </a:lnTo>
                  <a:lnTo>
                    <a:pt x="60" y="414"/>
                  </a:lnTo>
                  <a:lnTo>
                    <a:pt x="61" y="411"/>
                  </a:lnTo>
                  <a:lnTo>
                    <a:pt x="61" y="409"/>
                  </a:lnTo>
                  <a:lnTo>
                    <a:pt x="61" y="407"/>
                  </a:lnTo>
                  <a:lnTo>
                    <a:pt x="60" y="404"/>
                  </a:lnTo>
                  <a:lnTo>
                    <a:pt x="59" y="401"/>
                  </a:lnTo>
                  <a:lnTo>
                    <a:pt x="53" y="389"/>
                  </a:lnTo>
                  <a:lnTo>
                    <a:pt x="51" y="385"/>
                  </a:lnTo>
                  <a:lnTo>
                    <a:pt x="49" y="382"/>
                  </a:lnTo>
                  <a:lnTo>
                    <a:pt x="46" y="380"/>
                  </a:lnTo>
                  <a:lnTo>
                    <a:pt x="41" y="374"/>
                  </a:lnTo>
                  <a:lnTo>
                    <a:pt x="39" y="372"/>
                  </a:lnTo>
                  <a:lnTo>
                    <a:pt x="37" y="371"/>
                  </a:lnTo>
                  <a:lnTo>
                    <a:pt x="36" y="368"/>
                  </a:lnTo>
                  <a:lnTo>
                    <a:pt x="35" y="367"/>
                  </a:lnTo>
                  <a:lnTo>
                    <a:pt x="34" y="364"/>
                  </a:lnTo>
                  <a:lnTo>
                    <a:pt x="33" y="362"/>
                  </a:lnTo>
                  <a:lnTo>
                    <a:pt x="32" y="359"/>
                  </a:lnTo>
                  <a:lnTo>
                    <a:pt x="31" y="356"/>
                  </a:lnTo>
                  <a:lnTo>
                    <a:pt x="31" y="353"/>
                  </a:lnTo>
                  <a:lnTo>
                    <a:pt x="31" y="349"/>
                  </a:lnTo>
                  <a:lnTo>
                    <a:pt x="32" y="344"/>
                  </a:lnTo>
                  <a:lnTo>
                    <a:pt x="34" y="336"/>
                  </a:lnTo>
                  <a:lnTo>
                    <a:pt x="34" y="332"/>
                  </a:lnTo>
                  <a:lnTo>
                    <a:pt x="35" y="314"/>
                  </a:lnTo>
                  <a:lnTo>
                    <a:pt x="35" y="309"/>
                  </a:lnTo>
                  <a:lnTo>
                    <a:pt x="35" y="307"/>
                  </a:lnTo>
                  <a:lnTo>
                    <a:pt x="35" y="304"/>
                  </a:lnTo>
                  <a:lnTo>
                    <a:pt x="34" y="302"/>
                  </a:lnTo>
                  <a:lnTo>
                    <a:pt x="34" y="301"/>
                  </a:lnTo>
                  <a:lnTo>
                    <a:pt x="33" y="300"/>
                  </a:lnTo>
                  <a:lnTo>
                    <a:pt x="31" y="299"/>
                  </a:lnTo>
                  <a:lnTo>
                    <a:pt x="30" y="297"/>
                  </a:lnTo>
                  <a:lnTo>
                    <a:pt x="29" y="297"/>
                  </a:lnTo>
                  <a:lnTo>
                    <a:pt x="27" y="297"/>
                  </a:lnTo>
                  <a:lnTo>
                    <a:pt x="26" y="297"/>
                  </a:lnTo>
                  <a:lnTo>
                    <a:pt x="24" y="292"/>
                  </a:lnTo>
                  <a:lnTo>
                    <a:pt x="19" y="284"/>
                  </a:lnTo>
                  <a:lnTo>
                    <a:pt x="19" y="283"/>
                  </a:lnTo>
                  <a:lnTo>
                    <a:pt x="19" y="282"/>
                  </a:lnTo>
                  <a:lnTo>
                    <a:pt x="19" y="282"/>
                  </a:lnTo>
                  <a:lnTo>
                    <a:pt x="19" y="281"/>
                  </a:lnTo>
                  <a:lnTo>
                    <a:pt x="19" y="280"/>
                  </a:lnTo>
                  <a:lnTo>
                    <a:pt x="20" y="279"/>
                  </a:lnTo>
                  <a:lnTo>
                    <a:pt x="21" y="279"/>
                  </a:lnTo>
                  <a:lnTo>
                    <a:pt x="22" y="279"/>
                  </a:lnTo>
                  <a:lnTo>
                    <a:pt x="25" y="278"/>
                  </a:lnTo>
                  <a:lnTo>
                    <a:pt x="27" y="277"/>
                  </a:lnTo>
                  <a:lnTo>
                    <a:pt x="28" y="277"/>
                  </a:lnTo>
                  <a:lnTo>
                    <a:pt x="29" y="277"/>
                  </a:lnTo>
                  <a:lnTo>
                    <a:pt x="29" y="276"/>
                  </a:lnTo>
                  <a:lnTo>
                    <a:pt x="29" y="274"/>
                  </a:lnTo>
                  <a:lnTo>
                    <a:pt x="30" y="269"/>
                  </a:lnTo>
                  <a:lnTo>
                    <a:pt x="31" y="267"/>
                  </a:lnTo>
                  <a:lnTo>
                    <a:pt x="31" y="266"/>
                  </a:lnTo>
                  <a:lnTo>
                    <a:pt x="32" y="264"/>
                  </a:lnTo>
                  <a:lnTo>
                    <a:pt x="33" y="264"/>
                  </a:lnTo>
                  <a:lnTo>
                    <a:pt x="34" y="263"/>
                  </a:lnTo>
                  <a:lnTo>
                    <a:pt x="34" y="262"/>
                  </a:lnTo>
                  <a:lnTo>
                    <a:pt x="35" y="262"/>
                  </a:lnTo>
                  <a:lnTo>
                    <a:pt x="39" y="261"/>
                  </a:lnTo>
                  <a:lnTo>
                    <a:pt x="41" y="261"/>
                  </a:lnTo>
                  <a:lnTo>
                    <a:pt x="43" y="259"/>
                  </a:lnTo>
                  <a:lnTo>
                    <a:pt x="46" y="259"/>
                  </a:lnTo>
                  <a:lnTo>
                    <a:pt x="47" y="257"/>
                  </a:lnTo>
                  <a:lnTo>
                    <a:pt x="49" y="257"/>
                  </a:lnTo>
                  <a:lnTo>
                    <a:pt x="52" y="253"/>
                  </a:lnTo>
                  <a:lnTo>
                    <a:pt x="53" y="252"/>
                  </a:lnTo>
                  <a:lnTo>
                    <a:pt x="54" y="249"/>
                  </a:lnTo>
                  <a:lnTo>
                    <a:pt x="54" y="247"/>
                  </a:lnTo>
                  <a:lnTo>
                    <a:pt x="55" y="244"/>
                  </a:lnTo>
                  <a:lnTo>
                    <a:pt x="56" y="241"/>
                  </a:lnTo>
                  <a:lnTo>
                    <a:pt x="56" y="237"/>
                  </a:lnTo>
                  <a:lnTo>
                    <a:pt x="56" y="235"/>
                  </a:lnTo>
                  <a:lnTo>
                    <a:pt x="56" y="234"/>
                  </a:lnTo>
                  <a:lnTo>
                    <a:pt x="56" y="233"/>
                  </a:lnTo>
                  <a:lnTo>
                    <a:pt x="56" y="232"/>
                  </a:lnTo>
                  <a:lnTo>
                    <a:pt x="56" y="229"/>
                  </a:lnTo>
                  <a:lnTo>
                    <a:pt x="56" y="228"/>
                  </a:lnTo>
                  <a:lnTo>
                    <a:pt x="59" y="224"/>
                  </a:lnTo>
                  <a:lnTo>
                    <a:pt x="60" y="221"/>
                  </a:lnTo>
                  <a:lnTo>
                    <a:pt x="61" y="218"/>
                  </a:lnTo>
                  <a:lnTo>
                    <a:pt x="64" y="215"/>
                  </a:lnTo>
                  <a:lnTo>
                    <a:pt x="71" y="205"/>
                  </a:lnTo>
                  <a:lnTo>
                    <a:pt x="75" y="199"/>
                  </a:lnTo>
                  <a:lnTo>
                    <a:pt x="80" y="192"/>
                  </a:lnTo>
                  <a:lnTo>
                    <a:pt x="81" y="190"/>
                  </a:lnTo>
                  <a:lnTo>
                    <a:pt x="82" y="189"/>
                  </a:lnTo>
                  <a:lnTo>
                    <a:pt x="82" y="187"/>
                  </a:lnTo>
                  <a:lnTo>
                    <a:pt x="83" y="185"/>
                  </a:lnTo>
                  <a:lnTo>
                    <a:pt x="84" y="183"/>
                  </a:lnTo>
                  <a:lnTo>
                    <a:pt x="84" y="182"/>
                  </a:lnTo>
                  <a:lnTo>
                    <a:pt x="84" y="179"/>
                  </a:lnTo>
                  <a:lnTo>
                    <a:pt x="83" y="177"/>
                  </a:lnTo>
                  <a:lnTo>
                    <a:pt x="82" y="174"/>
                  </a:lnTo>
                  <a:lnTo>
                    <a:pt x="80" y="165"/>
                  </a:lnTo>
                  <a:lnTo>
                    <a:pt x="79" y="160"/>
                  </a:lnTo>
                  <a:lnTo>
                    <a:pt x="78" y="153"/>
                  </a:lnTo>
                  <a:lnTo>
                    <a:pt x="77" y="146"/>
                  </a:lnTo>
                  <a:lnTo>
                    <a:pt x="77" y="143"/>
                  </a:lnTo>
                  <a:lnTo>
                    <a:pt x="77" y="140"/>
                  </a:lnTo>
                  <a:lnTo>
                    <a:pt x="77" y="137"/>
                  </a:lnTo>
                  <a:lnTo>
                    <a:pt x="78" y="135"/>
                  </a:lnTo>
                  <a:lnTo>
                    <a:pt x="78" y="133"/>
                  </a:lnTo>
                  <a:lnTo>
                    <a:pt x="79" y="130"/>
                  </a:lnTo>
                  <a:lnTo>
                    <a:pt x="79" y="129"/>
                  </a:lnTo>
                  <a:lnTo>
                    <a:pt x="81" y="127"/>
                  </a:lnTo>
                  <a:lnTo>
                    <a:pt x="81" y="126"/>
                  </a:lnTo>
                  <a:lnTo>
                    <a:pt x="83" y="125"/>
                  </a:lnTo>
                  <a:lnTo>
                    <a:pt x="84" y="124"/>
                  </a:lnTo>
                  <a:lnTo>
                    <a:pt x="86" y="123"/>
                  </a:lnTo>
                  <a:lnTo>
                    <a:pt x="87" y="122"/>
                  </a:lnTo>
                  <a:lnTo>
                    <a:pt x="89" y="122"/>
                  </a:lnTo>
                  <a:lnTo>
                    <a:pt x="91" y="122"/>
                  </a:lnTo>
                  <a:lnTo>
                    <a:pt x="94" y="122"/>
                  </a:lnTo>
                  <a:lnTo>
                    <a:pt x="96" y="122"/>
                  </a:lnTo>
                  <a:lnTo>
                    <a:pt x="99" y="123"/>
                  </a:lnTo>
                  <a:lnTo>
                    <a:pt x="103" y="124"/>
                  </a:lnTo>
                  <a:lnTo>
                    <a:pt x="113" y="128"/>
                  </a:lnTo>
                  <a:lnTo>
                    <a:pt x="121" y="130"/>
                  </a:lnTo>
                  <a:lnTo>
                    <a:pt x="124" y="132"/>
                  </a:lnTo>
                  <a:lnTo>
                    <a:pt x="127" y="132"/>
                  </a:lnTo>
                  <a:lnTo>
                    <a:pt x="129" y="132"/>
                  </a:lnTo>
                  <a:lnTo>
                    <a:pt x="130" y="132"/>
                  </a:lnTo>
                  <a:lnTo>
                    <a:pt x="131" y="131"/>
                  </a:lnTo>
                  <a:lnTo>
                    <a:pt x="131" y="131"/>
                  </a:lnTo>
                  <a:lnTo>
                    <a:pt x="132" y="130"/>
                  </a:lnTo>
                  <a:lnTo>
                    <a:pt x="132" y="130"/>
                  </a:lnTo>
                  <a:lnTo>
                    <a:pt x="133" y="128"/>
                  </a:lnTo>
                  <a:lnTo>
                    <a:pt x="133" y="127"/>
                  </a:lnTo>
                  <a:lnTo>
                    <a:pt x="133" y="125"/>
                  </a:lnTo>
                  <a:lnTo>
                    <a:pt x="132" y="124"/>
                  </a:lnTo>
                  <a:lnTo>
                    <a:pt x="131" y="120"/>
                  </a:lnTo>
                  <a:lnTo>
                    <a:pt x="126" y="114"/>
                  </a:lnTo>
                  <a:lnTo>
                    <a:pt x="125" y="111"/>
                  </a:lnTo>
                  <a:lnTo>
                    <a:pt x="122" y="106"/>
                  </a:lnTo>
                  <a:lnTo>
                    <a:pt x="121" y="101"/>
                  </a:lnTo>
                  <a:lnTo>
                    <a:pt x="119" y="96"/>
                  </a:lnTo>
                  <a:lnTo>
                    <a:pt x="117" y="92"/>
                  </a:lnTo>
                  <a:lnTo>
                    <a:pt x="116" y="88"/>
                  </a:lnTo>
                  <a:lnTo>
                    <a:pt x="116" y="84"/>
                  </a:lnTo>
                  <a:lnTo>
                    <a:pt x="115" y="78"/>
                  </a:lnTo>
                  <a:lnTo>
                    <a:pt x="114" y="74"/>
                  </a:lnTo>
                  <a:lnTo>
                    <a:pt x="114" y="64"/>
                  </a:lnTo>
                  <a:lnTo>
                    <a:pt x="112" y="50"/>
                  </a:lnTo>
                  <a:lnTo>
                    <a:pt x="112" y="45"/>
                  </a:lnTo>
                  <a:lnTo>
                    <a:pt x="112" y="42"/>
                  </a:lnTo>
                  <a:lnTo>
                    <a:pt x="112" y="41"/>
                  </a:lnTo>
                  <a:lnTo>
                    <a:pt x="113" y="40"/>
                  </a:lnTo>
                  <a:lnTo>
                    <a:pt x="114" y="38"/>
                  </a:lnTo>
                  <a:lnTo>
                    <a:pt x="114" y="37"/>
                  </a:lnTo>
                  <a:lnTo>
                    <a:pt x="115" y="36"/>
                  </a:lnTo>
                  <a:lnTo>
                    <a:pt x="116" y="35"/>
                  </a:lnTo>
                  <a:lnTo>
                    <a:pt x="119" y="34"/>
                  </a:lnTo>
                  <a:lnTo>
                    <a:pt x="122" y="32"/>
                  </a:lnTo>
                  <a:lnTo>
                    <a:pt x="126" y="30"/>
                  </a:lnTo>
                  <a:lnTo>
                    <a:pt x="129" y="29"/>
                  </a:lnTo>
                  <a:lnTo>
                    <a:pt x="136" y="27"/>
                  </a:lnTo>
                  <a:lnTo>
                    <a:pt x="138" y="27"/>
                  </a:lnTo>
                  <a:lnTo>
                    <a:pt x="140" y="25"/>
                  </a:lnTo>
                  <a:lnTo>
                    <a:pt x="141" y="25"/>
                  </a:lnTo>
                  <a:lnTo>
                    <a:pt x="143" y="24"/>
                  </a:lnTo>
                  <a:lnTo>
                    <a:pt x="144" y="22"/>
                  </a:lnTo>
                  <a:lnTo>
                    <a:pt x="146" y="18"/>
                  </a:lnTo>
                  <a:lnTo>
                    <a:pt x="150" y="13"/>
                  </a:lnTo>
                  <a:lnTo>
                    <a:pt x="153" y="7"/>
                  </a:lnTo>
                  <a:lnTo>
                    <a:pt x="155" y="3"/>
                  </a:lnTo>
                  <a:lnTo>
                    <a:pt x="156" y="2"/>
                  </a:lnTo>
                  <a:lnTo>
                    <a:pt x="158" y="0"/>
                  </a:lnTo>
                  <a:lnTo>
                    <a:pt x="159" y="0"/>
                  </a:lnTo>
                  <a:lnTo>
                    <a:pt x="159" y="0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6BAED6"/>
            </a:solidFill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98">
              <a:extLst>
                <a:ext uri="{FF2B5EF4-FFF2-40B4-BE49-F238E27FC236}">
                  <a16:creationId xmlns:a16="http://schemas.microsoft.com/office/drawing/2014/main" id="{D13F0D96-D961-AF17-4F89-BB24BAAC1E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4173" y="5767225"/>
              <a:ext cx="1177925" cy="976313"/>
            </a:xfrm>
            <a:custGeom>
              <a:avLst/>
              <a:gdLst>
                <a:gd name="T0" fmla="*/ 281 w 742"/>
                <a:gd name="T1" fmla="*/ 22 h 615"/>
                <a:gd name="T2" fmla="*/ 301 w 742"/>
                <a:gd name="T3" fmla="*/ 45 h 615"/>
                <a:gd name="T4" fmla="*/ 334 w 742"/>
                <a:gd name="T5" fmla="*/ 71 h 615"/>
                <a:gd name="T6" fmla="*/ 362 w 742"/>
                <a:gd name="T7" fmla="*/ 92 h 615"/>
                <a:gd name="T8" fmla="*/ 407 w 742"/>
                <a:gd name="T9" fmla="*/ 129 h 615"/>
                <a:gd name="T10" fmla="*/ 441 w 742"/>
                <a:gd name="T11" fmla="*/ 153 h 615"/>
                <a:gd name="T12" fmla="*/ 444 w 742"/>
                <a:gd name="T13" fmla="*/ 171 h 615"/>
                <a:gd name="T14" fmla="*/ 483 w 742"/>
                <a:gd name="T15" fmla="*/ 193 h 615"/>
                <a:gd name="T16" fmla="*/ 518 w 742"/>
                <a:gd name="T17" fmla="*/ 225 h 615"/>
                <a:gd name="T18" fmla="*/ 521 w 742"/>
                <a:gd name="T19" fmla="*/ 257 h 615"/>
                <a:gd name="T20" fmla="*/ 540 w 742"/>
                <a:gd name="T21" fmla="*/ 287 h 615"/>
                <a:gd name="T22" fmla="*/ 594 w 742"/>
                <a:gd name="T23" fmla="*/ 276 h 615"/>
                <a:gd name="T24" fmla="*/ 616 w 742"/>
                <a:gd name="T25" fmla="*/ 276 h 615"/>
                <a:gd name="T26" fmla="*/ 628 w 742"/>
                <a:gd name="T27" fmla="*/ 307 h 615"/>
                <a:gd name="T28" fmla="*/ 682 w 742"/>
                <a:gd name="T29" fmla="*/ 357 h 615"/>
                <a:gd name="T30" fmla="*/ 708 w 742"/>
                <a:gd name="T31" fmla="*/ 383 h 615"/>
                <a:gd name="T32" fmla="*/ 717 w 742"/>
                <a:gd name="T33" fmla="*/ 385 h 615"/>
                <a:gd name="T34" fmla="*/ 727 w 742"/>
                <a:gd name="T35" fmla="*/ 440 h 615"/>
                <a:gd name="T36" fmla="*/ 742 w 742"/>
                <a:gd name="T37" fmla="*/ 454 h 615"/>
                <a:gd name="T38" fmla="*/ 738 w 742"/>
                <a:gd name="T39" fmla="*/ 519 h 615"/>
                <a:gd name="T40" fmla="*/ 723 w 742"/>
                <a:gd name="T41" fmla="*/ 574 h 615"/>
                <a:gd name="T42" fmla="*/ 694 w 742"/>
                <a:gd name="T43" fmla="*/ 578 h 615"/>
                <a:gd name="T44" fmla="*/ 666 w 742"/>
                <a:gd name="T45" fmla="*/ 551 h 615"/>
                <a:gd name="T46" fmla="*/ 641 w 742"/>
                <a:gd name="T47" fmla="*/ 529 h 615"/>
                <a:gd name="T48" fmla="*/ 601 w 742"/>
                <a:gd name="T49" fmla="*/ 542 h 615"/>
                <a:gd name="T50" fmla="*/ 546 w 742"/>
                <a:gd name="T51" fmla="*/ 530 h 615"/>
                <a:gd name="T52" fmla="*/ 511 w 742"/>
                <a:gd name="T53" fmla="*/ 499 h 615"/>
                <a:gd name="T54" fmla="*/ 493 w 742"/>
                <a:gd name="T55" fmla="*/ 502 h 615"/>
                <a:gd name="T56" fmla="*/ 483 w 742"/>
                <a:gd name="T57" fmla="*/ 547 h 615"/>
                <a:gd name="T58" fmla="*/ 465 w 742"/>
                <a:gd name="T59" fmla="*/ 567 h 615"/>
                <a:gd name="T60" fmla="*/ 436 w 742"/>
                <a:gd name="T61" fmla="*/ 575 h 615"/>
                <a:gd name="T62" fmla="*/ 418 w 742"/>
                <a:gd name="T63" fmla="*/ 596 h 615"/>
                <a:gd name="T64" fmla="*/ 389 w 742"/>
                <a:gd name="T65" fmla="*/ 614 h 615"/>
                <a:gd name="T66" fmla="*/ 325 w 742"/>
                <a:gd name="T67" fmla="*/ 588 h 615"/>
                <a:gd name="T68" fmla="*/ 266 w 742"/>
                <a:gd name="T69" fmla="*/ 572 h 615"/>
                <a:gd name="T70" fmla="*/ 204 w 742"/>
                <a:gd name="T71" fmla="*/ 562 h 615"/>
                <a:gd name="T72" fmla="*/ 167 w 742"/>
                <a:gd name="T73" fmla="*/ 562 h 615"/>
                <a:gd name="T74" fmla="*/ 127 w 742"/>
                <a:gd name="T75" fmla="*/ 543 h 615"/>
                <a:gd name="T76" fmla="*/ 110 w 742"/>
                <a:gd name="T77" fmla="*/ 518 h 615"/>
                <a:gd name="T78" fmla="*/ 96 w 742"/>
                <a:gd name="T79" fmla="*/ 495 h 615"/>
                <a:gd name="T80" fmla="*/ 120 w 742"/>
                <a:gd name="T81" fmla="*/ 476 h 615"/>
                <a:gd name="T82" fmla="*/ 127 w 742"/>
                <a:gd name="T83" fmla="*/ 458 h 615"/>
                <a:gd name="T84" fmla="*/ 97 w 742"/>
                <a:gd name="T85" fmla="*/ 427 h 615"/>
                <a:gd name="T86" fmla="*/ 67 w 742"/>
                <a:gd name="T87" fmla="*/ 401 h 615"/>
                <a:gd name="T88" fmla="*/ 17 w 742"/>
                <a:gd name="T89" fmla="*/ 372 h 615"/>
                <a:gd name="T90" fmla="*/ 10 w 742"/>
                <a:gd name="T91" fmla="*/ 339 h 615"/>
                <a:gd name="T92" fmla="*/ 38 w 742"/>
                <a:gd name="T93" fmla="*/ 325 h 615"/>
                <a:gd name="T94" fmla="*/ 56 w 742"/>
                <a:gd name="T95" fmla="*/ 281 h 615"/>
                <a:gd name="T96" fmla="*/ 47 w 742"/>
                <a:gd name="T97" fmla="*/ 230 h 615"/>
                <a:gd name="T98" fmla="*/ 39 w 742"/>
                <a:gd name="T99" fmla="*/ 175 h 615"/>
                <a:gd name="T100" fmla="*/ 42 w 742"/>
                <a:gd name="T101" fmla="*/ 145 h 615"/>
                <a:gd name="T102" fmla="*/ 74 w 742"/>
                <a:gd name="T103" fmla="*/ 145 h 615"/>
                <a:gd name="T104" fmla="*/ 137 w 742"/>
                <a:gd name="T105" fmla="*/ 133 h 615"/>
                <a:gd name="T106" fmla="*/ 190 w 742"/>
                <a:gd name="T107" fmla="*/ 133 h 615"/>
                <a:gd name="T108" fmla="*/ 233 w 742"/>
                <a:gd name="T109" fmla="*/ 151 h 615"/>
                <a:gd name="T110" fmla="*/ 247 w 742"/>
                <a:gd name="T111" fmla="*/ 145 h 615"/>
                <a:gd name="T112" fmla="*/ 248 w 742"/>
                <a:gd name="T113" fmla="*/ 131 h 615"/>
                <a:gd name="T114" fmla="*/ 237 w 742"/>
                <a:gd name="T115" fmla="*/ 102 h 615"/>
                <a:gd name="T116" fmla="*/ 247 w 742"/>
                <a:gd name="T117" fmla="*/ 78 h 615"/>
                <a:gd name="T118" fmla="*/ 254 w 742"/>
                <a:gd name="T119" fmla="*/ 40 h 615"/>
                <a:gd name="T120" fmla="*/ 269 w 742"/>
                <a:gd name="T121" fmla="*/ 10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42" h="615">
                  <a:moveTo>
                    <a:pt x="282" y="0"/>
                  </a:moveTo>
                  <a:lnTo>
                    <a:pt x="282" y="0"/>
                  </a:lnTo>
                  <a:lnTo>
                    <a:pt x="281" y="3"/>
                  </a:lnTo>
                  <a:lnTo>
                    <a:pt x="281" y="5"/>
                  </a:lnTo>
                  <a:lnTo>
                    <a:pt x="280" y="8"/>
                  </a:lnTo>
                  <a:lnTo>
                    <a:pt x="280" y="10"/>
                  </a:lnTo>
                  <a:lnTo>
                    <a:pt x="280" y="13"/>
                  </a:lnTo>
                  <a:lnTo>
                    <a:pt x="280" y="16"/>
                  </a:lnTo>
                  <a:lnTo>
                    <a:pt x="281" y="19"/>
                  </a:lnTo>
                  <a:lnTo>
                    <a:pt x="281" y="22"/>
                  </a:lnTo>
                  <a:lnTo>
                    <a:pt x="283" y="25"/>
                  </a:lnTo>
                  <a:lnTo>
                    <a:pt x="284" y="28"/>
                  </a:lnTo>
                  <a:lnTo>
                    <a:pt x="285" y="30"/>
                  </a:lnTo>
                  <a:lnTo>
                    <a:pt x="286" y="32"/>
                  </a:lnTo>
                  <a:lnTo>
                    <a:pt x="288" y="35"/>
                  </a:lnTo>
                  <a:lnTo>
                    <a:pt x="289" y="36"/>
                  </a:lnTo>
                  <a:lnTo>
                    <a:pt x="291" y="39"/>
                  </a:lnTo>
                  <a:lnTo>
                    <a:pt x="294" y="41"/>
                  </a:lnTo>
                  <a:lnTo>
                    <a:pt x="298" y="43"/>
                  </a:lnTo>
                  <a:lnTo>
                    <a:pt x="301" y="45"/>
                  </a:lnTo>
                  <a:lnTo>
                    <a:pt x="311" y="51"/>
                  </a:lnTo>
                  <a:lnTo>
                    <a:pt x="315" y="53"/>
                  </a:lnTo>
                  <a:lnTo>
                    <a:pt x="317" y="55"/>
                  </a:lnTo>
                  <a:lnTo>
                    <a:pt x="320" y="57"/>
                  </a:lnTo>
                  <a:lnTo>
                    <a:pt x="322" y="59"/>
                  </a:lnTo>
                  <a:lnTo>
                    <a:pt x="324" y="61"/>
                  </a:lnTo>
                  <a:lnTo>
                    <a:pt x="329" y="68"/>
                  </a:lnTo>
                  <a:lnTo>
                    <a:pt x="331" y="69"/>
                  </a:lnTo>
                  <a:lnTo>
                    <a:pt x="331" y="70"/>
                  </a:lnTo>
                  <a:lnTo>
                    <a:pt x="334" y="71"/>
                  </a:lnTo>
                  <a:lnTo>
                    <a:pt x="339" y="75"/>
                  </a:lnTo>
                  <a:lnTo>
                    <a:pt x="341" y="76"/>
                  </a:lnTo>
                  <a:lnTo>
                    <a:pt x="344" y="78"/>
                  </a:lnTo>
                  <a:lnTo>
                    <a:pt x="348" y="83"/>
                  </a:lnTo>
                  <a:lnTo>
                    <a:pt x="351" y="84"/>
                  </a:lnTo>
                  <a:lnTo>
                    <a:pt x="354" y="86"/>
                  </a:lnTo>
                  <a:lnTo>
                    <a:pt x="358" y="88"/>
                  </a:lnTo>
                  <a:lnTo>
                    <a:pt x="360" y="90"/>
                  </a:lnTo>
                  <a:lnTo>
                    <a:pt x="361" y="90"/>
                  </a:lnTo>
                  <a:lnTo>
                    <a:pt x="362" y="92"/>
                  </a:lnTo>
                  <a:lnTo>
                    <a:pt x="369" y="100"/>
                  </a:lnTo>
                  <a:lnTo>
                    <a:pt x="374" y="108"/>
                  </a:lnTo>
                  <a:lnTo>
                    <a:pt x="378" y="112"/>
                  </a:lnTo>
                  <a:lnTo>
                    <a:pt x="379" y="113"/>
                  </a:lnTo>
                  <a:lnTo>
                    <a:pt x="381" y="115"/>
                  </a:lnTo>
                  <a:lnTo>
                    <a:pt x="382" y="115"/>
                  </a:lnTo>
                  <a:lnTo>
                    <a:pt x="384" y="117"/>
                  </a:lnTo>
                  <a:lnTo>
                    <a:pt x="397" y="123"/>
                  </a:lnTo>
                  <a:lnTo>
                    <a:pt x="401" y="125"/>
                  </a:lnTo>
                  <a:lnTo>
                    <a:pt x="407" y="129"/>
                  </a:lnTo>
                  <a:lnTo>
                    <a:pt x="416" y="135"/>
                  </a:lnTo>
                  <a:lnTo>
                    <a:pt x="421" y="138"/>
                  </a:lnTo>
                  <a:lnTo>
                    <a:pt x="426" y="141"/>
                  </a:lnTo>
                  <a:lnTo>
                    <a:pt x="435" y="146"/>
                  </a:lnTo>
                  <a:lnTo>
                    <a:pt x="437" y="147"/>
                  </a:lnTo>
                  <a:lnTo>
                    <a:pt x="439" y="148"/>
                  </a:lnTo>
                  <a:lnTo>
                    <a:pt x="440" y="150"/>
                  </a:lnTo>
                  <a:lnTo>
                    <a:pt x="440" y="150"/>
                  </a:lnTo>
                  <a:lnTo>
                    <a:pt x="441" y="151"/>
                  </a:lnTo>
                  <a:lnTo>
                    <a:pt x="441" y="153"/>
                  </a:lnTo>
                  <a:lnTo>
                    <a:pt x="441" y="154"/>
                  </a:lnTo>
                  <a:lnTo>
                    <a:pt x="441" y="160"/>
                  </a:lnTo>
                  <a:lnTo>
                    <a:pt x="441" y="162"/>
                  </a:lnTo>
                  <a:lnTo>
                    <a:pt x="441" y="165"/>
                  </a:lnTo>
                  <a:lnTo>
                    <a:pt x="441" y="167"/>
                  </a:lnTo>
                  <a:lnTo>
                    <a:pt x="441" y="168"/>
                  </a:lnTo>
                  <a:lnTo>
                    <a:pt x="441" y="169"/>
                  </a:lnTo>
                  <a:lnTo>
                    <a:pt x="442" y="170"/>
                  </a:lnTo>
                  <a:lnTo>
                    <a:pt x="442" y="170"/>
                  </a:lnTo>
                  <a:lnTo>
                    <a:pt x="444" y="171"/>
                  </a:lnTo>
                  <a:lnTo>
                    <a:pt x="445" y="172"/>
                  </a:lnTo>
                  <a:lnTo>
                    <a:pt x="452" y="174"/>
                  </a:lnTo>
                  <a:lnTo>
                    <a:pt x="454" y="175"/>
                  </a:lnTo>
                  <a:lnTo>
                    <a:pt x="456" y="176"/>
                  </a:lnTo>
                  <a:lnTo>
                    <a:pt x="459" y="178"/>
                  </a:lnTo>
                  <a:lnTo>
                    <a:pt x="464" y="182"/>
                  </a:lnTo>
                  <a:lnTo>
                    <a:pt x="469" y="185"/>
                  </a:lnTo>
                  <a:lnTo>
                    <a:pt x="474" y="187"/>
                  </a:lnTo>
                  <a:lnTo>
                    <a:pt x="480" y="190"/>
                  </a:lnTo>
                  <a:lnTo>
                    <a:pt x="483" y="193"/>
                  </a:lnTo>
                  <a:lnTo>
                    <a:pt x="486" y="194"/>
                  </a:lnTo>
                  <a:lnTo>
                    <a:pt x="487" y="195"/>
                  </a:lnTo>
                  <a:lnTo>
                    <a:pt x="494" y="204"/>
                  </a:lnTo>
                  <a:lnTo>
                    <a:pt x="501" y="210"/>
                  </a:lnTo>
                  <a:lnTo>
                    <a:pt x="508" y="217"/>
                  </a:lnTo>
                  <a:lnTo>
                    <a:pt x="511" y="219"/>
                  </a:lnTo>
                  <a:lnTo>
                    <a:pt x="514" y="221"/>
                  </a:lnTo>
                  <a:lnTo>
                    <a:pt x="516" y="222"/>
                  </a:lnTo>
                  <a:lnTo>
                    <a:pt x="517" y="223"/>
                  </a:lnTo>
                  <a:lnTo>
                    <a:pt x="518" y="225"/>
                  </a:lnTo>
                  <a:lnTo>
                    <a:pt x="518" y="227"/>
                  </a:lnTo>
                  <a:lnTo>
                    <a:pt x="518" y="228"/>
                  </a:lnTo>
                  <a:lnTo>
                    <a:pt x="518" y="229"/>
                  </a:lnTo>
                  <a:lnTo>
                    <a:pt x="518" y="230"/>
                  </a:lnTo>
                  <a:lnTo>
                    <a:pt x="518" y="233"/>
                  </a:lnTo>
                  <a:lnTo>
                    <a:pt x="518" y="235"/>
                  </a:lnTo>
                  <a:lnTo>
                    <a:pt x="518" y="240"/>
                  </a:lnTo>
                  <a:lnTo>
                    <a:pt x="518" y="242"/>
                  </a:lnTo>
                  <a:lnTo>
                    <a:pt x="520" y="249"/>
                  </a:lnTo>
                  <a:lnTo>
                    <a:pt x="521" y="257"/>
                  </a:lnTo>
                  <a:lnTo>
                    <a:pt x="521" y="259"/>
                  </a:lnTo>
                  <a:lnTo>
                    <a:pt x="522" y="261"/>
                  </a:lnTo>
                  <a:lnTo>
                    <a:pt x="523" y="264"/>
                  </a:lnTo>
                  <a:lnTo>
                    <a:pt x="530" y="275"/>
                  </a:lnTo>
                  <a:lnTo>
                    <a:pt x="533" y="282"/>
                  </a:lnTo>
                  <a:lnTo>
                    <a:pt x="534" y="284"/>
                  </a:lnTo>
                  <a:lnTo>
                    <a:pt x="536" y="285"/>
                  </a:lnTo>
                  <a:lnTo>
                    <a:pt x="537" y="286"/>
                  </a:lnTo>
                  <a:lnTo>
                    <a:pt x="538" y="287"/>
                  </a:lnTo>
                  <a:lnTo>
                    <a:pt x="540" y="287"/>
                  </a:lnTo>
                  <a:lnTo>
                    <a:pt x="542" y="287"/>
                  </a:lnTo>
                  <a:lnTo>
                    <a:pt x="544" y="288"/>
                  </a:lnTo>
                  <a:lnTo>
                    <a:pt x="546" y="288"/>
                  </a:lnTo>
                  <a:lnTo>
                    <a:pt x="548" y="288"/>
                  </a:lnTo>
                  <a:lnTo>
                    <a:pt x="551" y="287"/>
                  </a:lnTo>
                  <a:lnTo>
                    <a:pt x="555" y="287"/>
                  </a:lnTo>
                  <a:lnTo>
                    <a:pt x="565" y="284"/>
                  </a:lnTo>
                  <a:lnTo>
                    <a:pt x="579" y="280"/>
                  </a:lnTo>
                  <a:lnTo>
                    <a:pt x="586" y="278"/>
                  </a:lnTo>
                  <a:lnTo>
                    <a:pt x="594" y="276"/>
                  </a:lnTo>
                  <a:lnTo>
                    <a:pt x="604" y="272"/>
                  </a:lnTo>
                  <a:lnTo>
                    <a:pt x="606" y="271"/>
                  </a:lnTo>
                  <a:lnTo>
                    <a:pt x="608" y="270"/>
                  </a:lnTo>
                  <a:lnTo>
                    <a:pt x="610" y="270"/>
                  </a:lnTo>
                  <a:lnTo>
                    <a:pt x="612" y="270"/>
                  </a:lnTo>
                  <a:lnTo>
                    <a:pt x="613" y="270"/>
                  </a:lnTo>
                  <a:lnTo>
                    <a:pt x="615" y="271"/>
                  </a:lnTo>
                  <a:lnTo>
                    <a:pt x="616" y="272"/>
                  </a:lnTo>
                  <a:lnTo>
                    <a:pt x="616" y="274"/>
                  </a:lnTo>
                  <a:lnTo>
                    <a:pt x="616" y="276"/>
                  </a:lnTo>
                  <a:lnTo>
                    <a:pt x="616" y="280"/>
                  </a:lnTo>
                  <a:lnTo>
                    <a:pt x="617" y="285"/>
                  </a:lnTo>
                  <a:lnTo>
                    <a:pt x="618" y="287"/>
                  </a:lnTo>
                  <a:lnTo>
                    <a:pt x="620" y="296"/>
                  </a:lnTo>
                  <a:lnTo>
                    <a:pt x="621" y="298"/>
                  </a:lnTo>
                  <a:lnTo>
                    <a:pt x="622" y="300"/>
                  </a:lnTo>
                  <a:lnTo>
                    <a:pt x="623" y="302"/>
                  </a:lnTo>
                  <a:lnTo>
                    <a:pt x="625" y="304"/>
                  </a:lnTo>
                  <a:lnTo>
                    <a:pt x="627" y="305"/>
                  </a:lnTo>
                  <a:lnTo>
                    <a:pt x="628" y="307"/>
                  </a:lnTo>
                  <a:lnTo>
                    <a:pt x="639" y="312"/>
                  </a:lnTo>
                  <a:lnTo>
                    <a:pt x="643" y="313"/>
                  </a:lnTo>
                  <a:lnTo>
                    <a:pt x="645" y="315"/>
                  </a:lnTo>
                  <a:lnTo>
                    <a:pt x="646" y="315"/>
                  </a:lnTo>
                  <a:lnTo>
                    <a:pt x="651" y="320"/>
                  </a:lnTo>
                  <a:lnTo>
                    <a:pt x="653" y="322"/>
                  </a:lnTo>
                  <a:lnTo>
                    <a:pt x="658" y="328"/>
                  </a:lnTo>
                  <a:lnTo>
                    <a:pt x="666" y="337"/>
                  </a:lnTo>
                  <a:lnTo>
                    <a:pt x="679" y="354"/>
                  </a:lnTo>
                  <a:lnTo>
                    <a:pt x="682" y="357"/>
                  </a:lnTo>
                  <a:lnTo>
                    <a:pt x="688" y="362"/>
                  </a:lnTo>
                  <a:lnTo>
                    <a:pt x="691" y="365"/>
                  </a:lnTo>
                  <a:lnTo>
                    <a:pt x="694" y="370"/>
                  </a:lnTo>
                  <a:lnTo>
                    <a:pt x="700" y="379"/>
                  </a:lnTo>
                  <a:lnTo>
                    <a:pt x="701" y="380"/>
                  </a:lnTo>
                  <a:lnTo>
                    <a:pt x="703" y="382"/>
                  </a:lnTo>
                  <a:lnTo>
                    <a:pt x="704" y="382"/>
                  </a:lnTo>
                  <a:lnTo>
                    <a:pt x="705" y="383"/>
                  </a:lnTo>
                  <a:lnTo>
                    <a:pt x="707" y="383"/>
                  </a:lnTo>
                  <a:lnTo>
                    <a:pt x="708" y="383"/>
                  </a:lnTo>
                  <a:lnTo>
                    <a:pt x="709" y="383"/>
                  </a:lnTo>
                  <a:lnTo>
                    <a:pt x="710" y="382"/>
                  </a:lnTo>
                  <a:lnTo>
                    <a:pt x="715" y="379"/>
                  </a:lnTo>
                  <a:lnTo>
                    <a:pt x="715" y="378"/>
                  </a:lnTo>
                  <a:lnTo>
                    <a:pt x="716" y="378"/>
                  </a:lnTo>
                  <a:lnTo>
                    <a:pt x="717" y="377"/>
                  </a:lnTo>
                  <a:lnTo>
                    <a:pt x="718" y="378"/>
                  </a:lnTo>
                  <a:lnTo>
                    <a:pt x="718" y="379"/>
                  </a:lnTo>
                  <a:lnTo>
                    <a:pt x="718" y="380"/>
                  </a:lnTo>
                  <a:lnTo>
                    <a:pt x="717" y="385"/>
                  </a:lnTo>
                  <a:lnTo>
                    <a:pt x="716" y="391"/>
                  </a:lnTo>
                  <a:lnTo>
                    <a:pt x="716" y="401"/>
                  </a:lnTo>
                  <a:lnTo>
                    <a:pt x="716" y="407"/>
                  </a:lnTo>
                  <a:lnTo>
                    <a:pt x="716" y="411"/>
                  </a:lnTo>
                  <a:lnTo>
                    <a:pt x="717" y="415"/>
                  </a:lnTo>
                  <a:lnTo>
                    <a:pt x="718" y="420"/>
                  </a:lnTo>
                  <a:lnTo>
                    <a:pt x="720" y="425"/>
                  </a:lnTo>
                  <a:lnTo>
                    <a:pt x="722" y="430"/>
                  </a:lnTo>
                  <a:lnTo>
                    <a:pt x="724" y="435"/>
                  </a:lnTo>
                  <a:lnTo>
                    <a:pt x="727" y="440"/>
                  </a:lnTo>
                  <a:lnTo>
                    <a:pt x="728" y="442"/>
                  </a:lnTo>
                  <a:lnTo>
                    <a:pt x="730" y="445"/>
                  </a:lnTo>
                  <a:lnTo>
                    <a:pt x="732" y="447"/>
                  </a:lnTo>
                  <a:lnTo>
                    <a:pt x="733" y="449"/>
                  </a:lnTo>
                  <a:lnTo>
                    <a:pt x="735" y="450"/>
                  </a:lnTo>
                  <a:lnTo>
                    <a:pt x="736" y="452"/>
                  </a:lnTo>
                  <a:lnTo>
                    <a:pt x="738" y="452"/>
                  </a:lnTo>
                  <a:lnTo>
                    <a:pt x="740" y="454"/>
                  </a:lnTo>
                  <a:lnTo>
                    <a:pt x="741" y="454"/>
                  </a:lnTo>
                  <a:lnTo>
                    <a:pt x="742" y="454"/>
                  </a:lnTo>
                  <a:lnTo>
                    <a:pt x="741" y="455"/>
                  </a:lnTo>
                  <a:lnTo>
                    <a:pt x="740" y="457"/>
                  </a:lnTo>
                  <a:lnTo>
                    <a:pt x="739" y="463"/>
                  </a:lnTo>
                  <a:lnTo>
                    <a:pt x="738" y="469"/>
                  </a:lnTo>
                  <a:lnTo>
                    <a:pt x="738" y="476"/>
                  </a:lnTo>
                  <a:lnTo>
                    <a:pt x="737" y="480"/>
                  </a:lnTo>
                  <a:lnTo>
                    <a:pt x="737" y="484"/>
                  </a:lnTo>
                  <a:lnTo>
                    <a:pt x="738" y="507"/>
                  </a:lnTo>
                  <a:lnTo>
                    <a:pt x="738" y="513"/>
                  </a:lnTo>
                  <a:lnTo>
                    <a:pt x="738" y="519"/>
                  </a:lnTo>
                  <a:lnTo>
                    <a:pt x="736" y="534"/>
                  </a:lnTo>
                  <a:lnTo>
                    <a:pt x="735" y="545"/>
                  </a:lnTo>
                  <a:lnTo>
                    <a:pt x="735" y="548"/>
                  </a:lnTo>
                  <a:lnTo>
                    <a:pt x="735" y="552"/>
                  </a:lnTo>
                  <a:lnTo>
                    <a:pt x="734" y="556"/>
                  </a:lnTo>
                  <a:lnTo>
                    <a:pt x="733" y="559"/>
                  </a:lnTo>
                  <a:lnTo>
                    <a:pt x="730" y="564"/>
                  </a:lnTo>
                  <a:lnTo>
                    <a:pt x="728" y="568"/>
                  </a:lnTo>
                  <a:lnTo>
                    <a:pt x="725" y="572"/>
                  </a:lnTo>
                  <a:lnTo>
                    <a:pt x="723" y="574"/>
                  </a:lnTo>
                  <a:lnTo>
                    <a:pt x="722" y="576"/>
                  </a:lnTo>
                  <a:lnTo>
                    <a:pt x="720" y="577"/>
                  </a:lnTo>
                  <a:lnTo>
                    <a:pt x="718" y="578"/>
                  </a:lnTo>
                  <a:lnTo>
                    <a:pt x="715" y="579"/>
                  </a:lnTo>
                  <a:lnTo>
                    <a:pt x="711" y="579"/>
                  </a:lnTo>
                  <a:lnTo>
                    <a:pt x="707" y="580"/>
                  </a:lnTo>
                  <a:lnTo>
                    <a:pt x="703" y="580"/>
                  </a:lnTo>
                  <a:lnTo>
                    <a:pt x="700" y="580"/>
                  </a:lnTo>
                  <a:lnTo>
                    <a:pt x="697" y="579"/>
                  </a:lnTo>
                  <a:lnTo>
                    <a:pt x="694" y="578"/>
                  </a:lnTo>
                  <a:lnTo>
                    <a:pt x="691" y="577"/>
                  </a:lnTo>
                  <a:lnTo>
                    <a:pt x="689" y="575"/>
                  </a:lnTo>
                  <a:lnTo>
                    <a:pt x="686" y="572"/>
                  </a:lnTo>
                  <a:lnTo>
                    <a:pt x="684" y="569"/>
                  </a:lnTo>
                  <a:lnTo>
                    <a:pt x="677" y="561"/>
                  </a:lnTo>
                  <a:lnTo>
                    <a:pt x="675" y="558"/>
                  </a:lnTo>
                  <a:lnTo>
                    <a:pt x="673" y="556"/>
                  </a:lnTo>
                  <a:lnTo>
                    <a:pt x="671" y="554"/>
                  </a:lnTo>
                  <a:lnTo>
                    <a:pt x="668" y="552"/>
                  </a:lnTo>
                  <a:lnTo>
                    <a:pt x="666" y="551"/>
                  </a:lnTo>
                  <a:lnTo>
                    <a:pt x="661" y="549"/>
                  </a:lnTo>
                  <a:lnTo>
                    <a:pt x="658" y="548"/>
                  </a:lnTo>
                  <a:lnTo>
                    <a:pt x="656" y="547"/>
                  </a:lnTo>
                  <a:lnTo>
                    <a:pt x="655" y="546"/>
                  </a:lnTo>
                  <a:lnTo>
                    <a:pt x="653" y="544"/>
                  </a:lnTo>
                  <a:lnTo>
                    <a:pt x="651" y="542"/>
                  </a:lnTo>
                  <a:lnTo>
                    <a:pt x="649" y="539"/>
                  </a:lnTo>
                  <a:lnTo>
                    <a:pt x="645" y="533"/>
                  </a:lnTo>
                  <a:lnTo>
                    <a:pt x="642" y="530"/>
                  </a:lnTo>
                  <a:lnTo>
                    <a:pt x="641" y="529"/>
                  </a:lnTo>
                  <a:lnTo>
                    <a:pt x="639" y="527"/>
                  </a:lnTo>
                  <a:lnTo>
                    <a:pt x="638" y="527"/>
                  </a:lnTo>
                  <a:lnTo>
                    <a:pt x="637" y="526"/>
                  </a:lnTo>
                  <a:lnTo>
                    <a:pt x="635" y="525"/>
                  </a:lnTo>
                  <a:lnTo>
                    <a:pt x="633" y="525"/>
                  </a:lnTo>
                  <a:lnTo>
                    <a:pt x="630" y="526"/>
                  </a:lnTo>
                  <a:lnTo>
                    <a:pt x="628" y="527"/>
                  </a:lnTo>
                  <a:lnTo>
                    <a:pt x="624" y="529"/>
                  </a:lnTo>
                  <a:lnTo>
                    <a:pt x="605" y="540"/>
                  </a:lnTo>
                  <a:lnTo>
                    <a:pt x="601" y="542"/>
                  </a:lnTo>
                  <a:lnTo>
                    <a:pt x="597" y="544"/>
                  </a:lnTo>
                  <a:lnTo>
                    <a:pt x="594" y="544"/>
                  </a:lnTo>
                  <a:lnTo>
                    <a:pt x="591" y="545"/>
                  </a:lnTo>
                  <a:lnTo>
                    <a:pt x="589" y="545"/>
                  </a:lnTo>
                  <a:lnTo>
                    <a:pt x="586" y="545"/>
                  </a:lnTo>
                  <a:lnTo>
                    <a:pt x="583" y="544"/>
                  </a:lnTo>
                  <a:lnTo>
                    <a:pt x="575" y="541"/>
                  </a:lnTo>
                  <a:lnTo>
                    <a:pt x="564" y="537"/>
                  </a:lnTo>
                  <a:lnTo>
                    <a:pt x="560" y="536"/>
                  </a:lnTo>
                  <a:lnTo>
                    <a:pt x="546" y="530"/>
                  </a:lnTo>
                  <a:lnTo>
                    <a:pt x="544" y="529"/>
                  </a:lnTo>
                  <a:lnTo>
                    <a:pt x="542" y="528"/>
                  </a:lnTo>
                  <a:lnTo>
                    <a:pt x="538" y="526"/>
                  </a:lnTo>
                  <a:lnTo>
                    <a:pt x="536" y="524"/>
                  </a:lnTo>
                  <a:lnTo>
                    <a:pt x="533" y="522"/>
                  </a:lnTo>
                  <a:lnTo>
                    <a:pt x="528" y="515"/>
                  </a:lnTo>
                  <a:lnTo>
                    <a:pt x="526" y="513"/>
                  </a:lnTo>
                  <a:lnTo>
                    <a:pt x="518" y="504"/>
                  </a:lnTo>
                  <a:lnTo>
                    <a:pt x="513" y="500"/>
                  </a:lnTo>
                  <a:lnTo>
                    <a:pt x="511" y="499"/>
                  </a:lnTo>
                  <a:lnTo>
                    <a:pt x="508" y="497"/>
                  </a:lnTo>
                  <a:lnTo>
                    <a:pt x="506" y="497"/>
                  </a:lnTo>
                  <a:lnTo>
                    <a:pt x="503" y="497"/>
                  </a:lnTo>
                  <a:lnTo>
                    <a:pt x="501" y="497"/>
                  </a:lnTo>
                  <a:lnTo>
                    <a:pt x="500" y="497"/>
                  </a:lnTo>
                  <a:lnTo>
                    <a:pt x="498" y="498"/>
                  </a:lnTo>
                  <a:lnTo>
                    <a:pt x="496" y="499"/>
                  </a:lnTo>
                  <a:lnTo>
                    <a:pt x="495" y="500"/>
                  </a:lnTo>
                  <a:lnTo>
                    <a:pt x="494" y="501"/>
                  </a:lnTo>
                  <a:lnTo>
                    <a:pt x="493" y="502"/>
                  </a:lnTo>
                  <a:lnTo>
                    <a:pt x="492" y="504"/>
                  </a:lnTo>
                  <a:lnTo>
                    <a:pt x="491" y="505"/>
                  </a:lnTo>
                  <a:lnTo>
                    <a:pt x="491" y="508"/>
                  </a:lnTo>
                  <a:lnTo>
                    <a:pt x="491" y="518"/>
                  </a:lnTo>
                  <a:lnTo>
                    <a:pt x="490" y="522"/>
                  </a:lnTo>
                  <a:lnTo>
                    <a:pt x="489" y="527"/>
                  </a:lnTo>
                  <a:lnTo>
                    <a:pt x="487" y="534"/>
                  </a:lnTo>
                  <a:lnTo>
                    <a:pt x="486" y="541"/>
                  </a:lnTo>
                  <a:lnTo>
                    <a:pt x="484" y="544"/>
                  </a:lnTo>
                  <a:lnTo>
                    <a:pt x="483" y="547"/>
                  </a:lnTo>
                  <a:lnTo>
                    <a:pt x="481" y="550"/>
                  </a:lnTo>
                  <a:lnTo>
                    <a:pt x="480" y="553"/>
                  </a:lnTo>
                  <a:lnTo>
                    <a:pt x="479" y="556"/>
                  </a:lnTo>
                  <a:lnTo>
                    <a:pt x="476" y="558"/>
                  </a:lnTo>
                  <a:lnTo>
                    <a:pt x="475" y="561"/>
                  </a:lnTo>
                  <a:lnTo>
                    <a:pt x="473" y="562"/>
                  </a:lnTo>
                  <a:lnTo>
                    <a:pt x="471" y="564"/>
                  </a:lnTo>
                  <a:lnTo>
                    <a:pt x="469" y="566"/>
                  </a:lnTo>
                  <a:lnTo>
                    <a:pt x="467" y="567"/>
                  </a:lnTo>
                  <a:lnTo>
                    <a:pt x="465" y="567"/>
                  </a:lnTo>
                  <a:lnTo>
                    <a:pt x="463" y="567"/>
                  </a:lnTo>
                  <a:lnTo>
                    <a:pt x="461" y="568"/>
                  </a:lnTo>
                  <a:lnTo>
                    <a:pt x="451" y="569"/>
                  </a:lnTo>
                  <a:lnTo>
                    <a:pt x="446" y="569"/>
                  </a:lnTo>
                  <a:lnTo>
                    <a:pt x="442" y="571"/>
                  </a:lnTo>
                  <a:lnTo>
                    <a:pt x="441" y="571"/>
                  </a:lnTo>
                  <a:lnTo>
                    <a:pt x="439" y="572"/>
                  </a:lnTo>
                  <a:lnTo>
                    <a:pt x="437" y="573"/>
                  </a:lnTo>
                  <a:lnTo>
                    <a:pt x="436" y="574"/>
                  </a:lnTo>
                  <a:lnTo>
                    <a:pt x="436" y="575"/>
                  </a:lnTo>
                  <a:lnTo>
                    <a:pt x="434" y="578"/>
                  </a:lnTo>
                  <a:lnTo>
                    <a:pt x="432" y="584"/>
                  </a:lnTo>
                  <a:lnTo>
                    <a:pt x="431" y="587"/>
                  </a:lnTo>
                  <a:lnTo>
                    <a:pt x="429" y="589"/>
                  </a:lnTo>
                  <a:lnTo>
                    <a:pt x="429" y="589"/>
                  </a:lnTo>
                  <a:lnTo>
                    <a:pt x="427" y="591"/>
                  </a:lnTo>
                  <a:lnTo>
                    <a:pt x="426" y="592"/>
                  </a:lnTo>
                  <a:lnTo>
                    <a:pt x="424" y="594"/>
                  </a:lnTo>
                  <a:lnTo>
                    <a:pt x="421" y="594"/>
                  </a:lnTo>
                  <a:lnTo>
                    <a:pt x="418" y="596"/>
                  </a:lnTo>
                  <a:lnTo>
                    <a:pt x="412" y="597"/>
                  </a:lnTo>
                  <a:lnTo>
                    <a:pt x="410" y="597"/>
                  </a:lnTo>
                  <a:lnTo>
                    <a:pt x="408" y="599"/>
                  </a:lnTo>
                  <a:lnTo>
                    <a:pt x="406" y="599"/>
                  </a:lnTo>
                  <a:lnTo>
                    <a:pt x="404" y="602"/>
                  </a:lnTo>
                  <a:lnTo>
                    <a:pt x="402" y="603"/>
                  </a:lnTo>
                  <a:lnTo>
                    <a:pt x="396" y="609"/>
                  </a:lnTo>
                  <a:lnTo>
                    <a:pt x="394" y="611"/>
                  </a:lnTo>
                  <a:lnTo>
                    <a:pt x="391" y="613"/>
                  </a:lnTo>
                  <a:lnTo>
                    <a:pt x="389" y="614"/>
                  </a:lnTo>
                  <a:lnTo>
                    <a:pt x="386" y="615"/>
                  </a:lnTo>
                  <a:lnTo>
                    <a:pt x="384" y="615"/>
                  </a:lnTo>
                  <a:lnTo>
                    <a:pt x="381" y="615"/>
                  </a:lnTo>
                  <a:lnTo>
                    <a:pt x="379" y="614"/>
                  </a:lnTo>
                  <a:lnTo>
                    <a:pt x="376" y="614"/>
                  </a:lnTo>
                  <a:lnTo>
                    <a:pt x="369" y="610"/>
                  </a:lnTo>
                  <a:lnTo>
                    <a:pt x="359" y="605"/>
                  </a:lnTo>
                  <a:lnTo>
                    <a:pt x="349" y="601"/>
                  </a:lnTo>
                  <a:lnTo>
                    <a:pt x="329" y="589"/>
                  </a:lnTo>
                  <a:lnTo>
                    <a:pt x="325" y="588"/>
                  </a:lnTo>
                  <a:lnTo>
                    <a:pt x="322" y="587"/>
                  </a:lnTo>
                  <a:lnTo>
                    <a:pt x="319" y="585"/>
                  </a:lnTo>
                  <a:lnTo>
                    <a:pt x="314" y="584"/>
                  </a:lnTo>
                  <a:lnTo>
                    <a:pt x="311" y="584"/>
                  </a:lnTo>
                  <a:lnTo>
                    <a:pt x="301" y="582"/>
                  </a:lnTo>
                  <a:lnTo>
                    <a:pt x="296" y="582"/>
                  </a:lnTo>
                  <a:lnTo>
                    <a:pt x="293" y="580"/>
                  </a:lnTo>
                  <a:lnTo>
                    <a:pt x="283" y="577"/>
                  </a:lnTo>
                  <a:lnTo>
                    <a:pt x="276" y="574"/>
                  </a:lnTo>
                  <a:lnTo>
                    <a:pt x="266" y="572"/>
                  </a:lnTo>
                  <a:lnTo>
                    <a:pt x="259" y="569"/>
                  </a:lnTo>
                  <a:lnTo>
                    <a:pt x="253" y="568"/>
                  </a:lnTo>
                  <a:lnTo>
                    <a:pt x="247" y="567"/>
                  </a:lnTo>
                  <a:lnTo>
                    <a:pt x="242" y="567"/>
                  </a:lnTo>
                  <a:lnTo>
                    <a:pt x="234" y="566"/>
                  </a:lnTo>
                  <a:lnTo>
                    <a:pt x="229" y="566"/>
                  </a:lnTo>
                  <a:lnTo>
                    <a:pt x="227" y="565"/>
                  </a:lnTo>
                  <a:lnTo>
                    <a:pt x="215" y="564"/>
                  </a:lnTo>
                  <a:lnTo>
                    <a:pt x="210" y="563"/>
                  </a:lnTo>
                  <a:lnTo>
                    <a:pt x="204" y="562"/>
                  </a:lnTo>
                  <a:lnTo>
                    <a:pt x="199" y="562"/>
                  </a:lnTo>
                  <a:lnTo>
                    <a:pt x="195" y="562"/>
                  </a:lnTo>
                  <a:lnTo>
                    <a:pt x="192" y="563"/>
                  </a:lnTo>
                  <a:lnTo>
                    <a:pt x="184" y="564"/>
                  </a:lnTo>
                  <a:lnTo>
                    <a:pt x="181" y="564"/>
                  </a:lnTo>
                  <a:lnTo>
                    <a:pt x="178" y="564"/>
                  </a:lnTo>
                  <a:lnTo>
                    <a:pt x="174" y="564"/>
                  </a:lnTo>
                  <a:lnTo>
                    <a:pt x="172" y="564"/>
                  </a:lnTo>
                  <a:lnTo>
                    <a:pt x="169" y="563"/>
                  </a:lnTo>
                  <a:lnTo>
                    <a:pt x="167" y="562"/>
                  </a:lnTo>
                  <a:lnTo>
                    <a:pt x="161" y="560"/>
                  </a:lnTo>
                  <a:lnTo>
                    <a:pt x="158" y="559"/>
                  </a:lnTo>
                  <a:lnTo>
                    <a:pt x="153" y="557"/>
                  </a:lnTo>
                  <a:lnTo>
                    <a:pt x="143" y="555"/>
                  </a:lnTo>
                  <a:lnTo>
                    <a:pt x="141" y="554"/>
                  </a:lnTo>
                  <a:lnTo>
                    <a:pt x="139" y="554"/>
                  </a:lnTo>
                  <a:lnTo>
                    <a:pt x="137" y="552"/>
                  </a:lnTo>
                  <a:lnTo>
                    <a:pt x="133" y="548"/>
                  </a:lnTo>
                  <a:lnTo>
                    <a:pt x="128" y="544"/>
                  </a:lnTo>
                  <a:lnTo>
                    <a:pt x="127" y="543"/>
                  </a:lnTo>
                  <a:lnTo>
                    <a:pt x="124" y="541"/>
                  </a:lnTo>
                  <a:lnTo>
                    <a:pt x="122" y="539"/>
                  </a:lnTo>
                  <a:lnTo>
                    <a:pt x="119" y="536"/>
                  </a:lnTo>
                  <a:lnTo>
                    <a:pt x="118" y="533"/>
                  </a:lnTo>
                  <a:lnTo>
                    <a:pt x="117" y="530"/>
                  </a:lnTo>
                  <a:lnTo>
                    <a:pt x="114" y="524"/>
                  </a:lnTo>
                  <a:lnTo>
                    <a:pt x="113" y="522"/>
                  </a:lnTo>
                  <a:lnTo>
                    <a:pt x="112" y="521"/>
                  </a:lnTo>
                  <a:lnTo>
                    <a:pt x="112" y="519"/>
                  </a:lnTo>
                  <a:lnTo>
                    <a:pt x="110" y="518"/>
                  </a:lnTo>
                  <a:lnTo>
                    <a:pt x="104" y="513"/>
                  </a:lnTo>
                  <a:lnTo>
                    <a:pt x="102" y="511"/>
                  </a:lnTo>
                  <a:lnTo>
                    <a:pt x="100" y="509"/>
                  </a:lnTo>
                  <a:lnTo>
                    <a:pt x="99" y="507"/>
                  </a:lnTo>
                  <a:lnTo>
                    <a:pt x="97" y="504"/>
                  </a:lnTo>
                  <a:lnTo>
                    <a:pt x="96" y="502"/>
                  </a:lnTo>
                  <a:lnTo>
                    <a:pt x="96" y="500"/>
                  </a:lnTo>
                  <a:lnTo>
                    <a:pt x="96" y="499"/>
                  </a:lnTo>
                  <a:lnTo>
                    <a:pt x="96" y="497"/>
                  </a:lnTo>
                  <a:lnTo>
                    <a:pt x="96" y="495"/>
                  </a:lnTo>
                  <a:lnTo>
                    <a:pt x="97" y="494"/>
                  </a:lnTo>
                  <a:lnTo>
                    <a:pt x="98" y="492"/>
                  </a:lnTo>
                  <a:lnTo>
                    <a:pt x="99" y="489"/>
                  </a:lnTo>
                  <a:lnTo>
                    <a:pt x="101" y="488"/>
                  </a:lnTo>
                  <a:lnTo>
                    <a:pt x="102" y="486"/>
                  </a:lnTo>
                  <a:lnTo>
                    <a:pt x="104" y="484"/>
                  </a:lnTo>
                  <a:lnTo>
                    <a:pt x="108" y="482"/>
                  </a:lnTo>
                  <a:lnTo>
                    <a:pt x="111" y="480"/>
                  </a:lnTo>
                  <a:lnTo>
                    <a:pt x="117" y="477"/>
                  </a:lnTo>
                  <a:lnTo>
                    <a:pt x="120" y="476"/>
                  </a:lnTo>
                  <a:lnTo>
                    <a:pt x="122" y="474"/>
                  </a:lnTo>
                  <a:lnTo>
                    <a:pt x="122" y="474"/>
                  </a:lnTo>
                  <a:lnTo>
                    <a:pt x="124" y="472"/>
                  </a:lnTo>
                  <a:lnTo>
                    <a:pt x="124" y="471"/>
                  </a:lnTo>
                  <a:lnTo>
                    <a:pt x="126" y="469"/>
                  </a:lnTo>
                  <a:lnTo>
                    <a:pt x="127" y="467"/>
                  </a:lnTo>
                  <a:lnTo>
                    <a:pt x="127" y="464"/>
                  </a:lnTo>
                  <a:lnTo>
                    <a:pt x="127" y="462"/>
                  </a:lnTo>
                  <a:lnTo>
                    <a:pt x="127" y="460"/>
                  </a:lnTo>
                  <a:lnTo>
                    <a:pt x="127" y="458"/>
                  </a:lnTo>
                  <a:lnTo>
                    <a:pt x="125" y="456"/>
                  </a:lnTo>
                  <a:lnTo>
                    <a:pt x="124" y="454"/>
                  </a:lnTo>
                  <a:lnTo>
                    <a:pt x="123" y="452"/>
                  </a:lnTo>
                  <a:lnTo>
                    <a:pt x="121" y="450"/>
                  </a:lnTo>
                  <a:lnTo>
                    <a:pt x="119" y="449"/>
                  </a:lnTo>
                  <a:lnTo>
                    <a:pt x="112" y="443"/>
                  </a:lnTo>
                  <a:lnTo>
                    <a:pt x="108" y="440"/>
                  </a:lnTo>
                  <a:lnTo>
                    <a:pt x="106" y="438"/>
                  </a:lnTo>
                  <a:lnTo>
                    <a:pt x="103" y="435"/>
                  </a:lnTo>
                  <a:lnTo>
                    <a:pt x="97" y="427"/>
                  </a:lnTo>
                  <a:lnTo>
                    <a:pt x="93" y="422"/>
                  </a:lnTo>
                  <a:lnTo>
                    <a:pt x="89" y="418"/>
                  </a:lnTo>
                  <a:lnTo>
                    <a:pt x="86" y="414"/>
                  </a:lnTo>
                  <a:lnTo>
                    <a:pt x="83" y="411"/>
                  </a:lnTo>
                  <a:lnTo>
                    <a:pt x="80" y="408"/>
                  </a:lnTo>
                  <a:lnTo>
                    <a:pt x="78" y="407"/>
                  </a:lnTo>
                  <a:lnTo>
                    <a:pt x="77" y="405"/>
                  </a:lnTo>
                  <a:lnTo>
                    <a:pt x="74" y="405"/>
                  </a:lnTo>
                  <a:lnTo>
                    <a:pt x="72" y="403"/>
                  </a:lnTo>
                  <a:lnTo>
                    <a:pt x="67" y="401"/>
                  </a:lnTo>
                  <a:lnTo>
                    <a:pt x="55" y="397"/>
                  </a:lnTo>
                  <a:lnTo>
                    <a:pt x="47" y="394"/>
                  </a:lnTo>
                  <a:lnTo>
                    <a:pt x="44" y="393"/>
                  </a:lnTo>
                  <a:lnTo>
                    <a:pt x="41" y="392"/>
                  </a:lnTo>
                  <a:lnTo>
                    <a:pt x="40" y="390"/>
                  </a:lnTo>
                  <a:lnTo>
                    <a:pt x="37" y="389"/>
                  </a:lnTo>
                  <a:lnTo>
                    <a:pt x="30" y="384"/>
                  </a:lnTo>
                  <a:lnTo>
                    <a:pt x="25" y="380"/>
                  </a:lnTo>
                  <a:lnTo>
                    <a:pt x="20" y="376"/>
                  </a:lnTo>
                  <a:lnTo>
                    <a:pt x="17" y="372"/>
                  </a:lnTo>
                  <a:lnTo>
                    <a:pt x="12" y="367"/>
                  </a:lnTo>
                  <a:lnTo>
                    <a:pt x="7" y="362"/>
                  </a:lnTo>
                  <a:lnTo>
                    <a:pt x="2" y="356"/>
                  </a:lnTo>
                  <a:lnTo>
                    <a:pt x="0" y="352"/>
                  </a:lnTo>
                  <a:lnTo>
                    <a:pt x="2" y="347"/>
                  </a:lnTo>
                  <a:lnTo>
                    <a:pt x="4" y="345"/>
                  </a:lnTo>
                  <a:lnTo>
                    <a:pt x="5" y="344"/>
                  </a:lnTo>
                  <a:lnTo>
                    <a:pt x="6" y="342"/>
                  </a:lnTo>
                  <a:lnTo>
                    <a:pt x="7" y="340"/>
                  </a:lnTo>
                  <a:lnTo>
                    <a:pt x="10" y="339"/>
                  </a:lnTo>
                  <a:lnTo>
                    <a:pt x="11" y="337"/>
                  </a:lnTo>
                  <a:lnTo>
                    <a:pt x="15" y="335"/>
                  </a:lnTo>
                  <a:lnTo>
                    <a:pt x="18" y="334"/>
                  </a:lnTo>
                  <a:lnTo>
                    <a:pt x="21" y="333"/>
                  </a:lnTo>
                  <a:lnTo>
                    <a:pt x="29" y="331"/>
                  </a:lnTo>
                  <a:lnTo>
                    <a:pt x="32" y="330"/>
                  </a:lnTo>
                  <a:lnTo>
                    <a:pt x="33" y="329"/>
                  </a:lnTo>
                  <a:lnTo>
                    <a:pt x="35" y="327"/>
                  </a:lnTo>
                  <a:lnTo>
                    <a:pt x="36" y="326"/>
                  </a:lnTo>
                  <a:lnTo>
                    <a:pt x="38" y="325"/>
                  </a:lnTo>
                  <a:lnTo>
                    <a:pt x="40" y="322"/>
                  </a:lnTo>
                  <a:lnTo>
                    <a:pt x="41" y="320"/>
                  </a:lnTo>
                  <a:lnTo>
                    <a:pt x="42" y="318"/>
                  </a:lnTo>
                  <a:lnTo>
                    <a:pt x="43" y="316"/>
                  </a:lnTo>
                  <a:lnTo>
                    <a:pt x="47" y="305"/>
                  </a:lnTo>
                  <a:lnTo>
                    <a:pt x="52" y="297"/>
                  </a:lnTo>
                  <a:lnTo>
                    <a:pt x="53" y="292"/>
                  </a:lnTo>
                  <a:lnTo>
                    <a:pt x="54" y="289"/>
                  </a:lnTo>
                  <a:lnTo>
                    <a:pt x="56" y="283"/>
                  </a:lnTo>
                  <a:lnTo>
                    <a:pt x="56" y="281"/>
                  </a:lnTo>
                  <a:lnTo>
                    <a:pt x="57" y="278"/>
                  </a:lnTo>
                  <a:lnTo>
                    <a:pt x="57" y="276"/>
                  </a:lnTo>
                  <a:lnTo>
                    <a:pt x="57" y="272"/>
                  </a:lnTo>
                  <a:lnTo>
                    <a:pt x="55" y="260"/>
                  </a:lnTo>
                  <a:lnTo>
                    <a:pt x="54" y="254"/>
                  </a:lnTo>
                  <a:lnTo>
                    <a:pt x="54" y="250"/>
                  </a:lnTo>
                  <a:lnTo>
                    <a:pt x="53" y="247"/>
                  </a:lnTo>
                  <a:lnTo>
                    <a:pt x="52" y="242"/>
                  </a:lnTo>
                  <a:lnTo>
                    <a:pt x="50" y="236"/>
                  </a:lnTo>
                  <a:lnTo>
                    <a:pt x="47" y="230"/>
                  </a:lnTo>
                  <a:lnTo>
                    <a:pt x="42" y="217"/>
                  </a:lnTo>
                  <a:lnTo>
                    <a:pt x="40" y="212"/>
                  </a:lnTo>
                  <a:lnTo>
                    <a:pt x="39" y="208"/>
                  </a:lnTo>
                  <a:lnTo>
                    <a:pt x="38" y="203"/>
                  </a:lnTo>
                  <a:lnTo>
                    <a:pt x="38" y="198"/>
                  </a:lnTo>
                  <a:lnTo>
                    <a:pt x="38" y="195"/>
                  </a:lnTo>
                  <a:lnTo>
                    <a:pt x="38" y="191"/>
                  </a:lnTo>
                  <a:lnTo>
                    <a:pt x="39" y="183"/>
                  </a:lnTo>
                  <a:lnTo>
                    <a:pt x="39" y="179"/>
                  </a:lnTo>
                  <a:lnTo>
                    <a:pt x="39" y="175"/>
                  </a:lnTo>
                  <a:lnTo>
                    <a:pt x="39" y="172"/>
                  </a:lnTo>
                  <a:lnTo>
                    <a:pt x="37" y="163"/>
                  </a:lnTo>
                  <a:lnTo>
                    <a:pt x="37" y="161"/>
                  </a:lnTo>
                  <a:lnTo>
                    <a:pt x="37" y="159"/>
                  </a:lnTo>
                  <a:lnTo>
                    <a:pt x="37" y="155"/>
                  </a:lnTo>
                  <a:lnTo>
                    <a:pt x="37" y="152"/>
                  </a:lnTo>
                  <a:lnTo>
                    <a:pt x="38" y="150"/>
                  </a:lnTo>
                  <a:lnTo>
                    <a:pt x="40" y="148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3" y="145"/>
                  </a:lnTo>
                  <a:lnTo>
                    <a:pt x="45" y="144"/>
                  </a:lnTo>
                  <a:lnTo>
                    <a:pt x="47" y="144"/>
                  </a:lnTo>
                  <a:lnTo>
                    <a:pt x="53" y="143"/>
                  </a:lnTo>
                  <a:lnTo>
                    <a:pt x="59" y="143"/>
                  </a:lnTo>
                  <a:lnTo>
                    <a:pt x="62" y="143"/>
                  </a:lnTo>
                  <a:lnTo>
                    <a:pt x="64" y="143"/>
                  </a:lnTo>
                  <a:lnTo>
                    <a:pt x="68" y="143"/>
                  </a:lnTo>
                  <a:lnTo>
                    <a:pt x="72" y="145"/>
                  </a:lnTo>
                  <a:lnTo>
                    <a:pt x="74" y="145"/>
                  </a:lnTo>
                  <a:lnTo>
                    <a:pt x="77" y="145"/>
                  </a:lnTo>
                  <a:lnTo>
                    <a:pt x="79" y="145"/>
                  </a:lnTo>
                  <a:lnTo>
                    <a:pt x="82" y="145"/>
                  </a:lnTo>
                  <a:lnTo>
                    <a:pt x="84" y="144"/>
                  </a:lnTo>
                  <a:lnTo>
                    <a:pt x="97" y="139"/>
                  </a:lnTo>
                  <a:lnTo>
                    <a:pt x="99" y="138"/>
                  </a:lnTo>
                  <a:lnTo>
                    <a:pt x="103" y="138"/>
                  </a:lnTo>
                  <a:lnTo>
                    <a:pt x="107" y="137"/>
                  </a:lnTo>
                  <a:lnTo>
                    <a:pt x="117" y="135"/>
                  </a:lnTo>
                  <a:lnTo>
                    <a:pt x="137" y="133"/>
                  </a:lnTo>
                  <a:lnTo>
                    <a:pt x="140" y="133"/>
                  </a:lnTo>
                  <a:lnTo>
                    <a:pt x="147" y="132"/>
                  </a:lnTo>
                  <a:lnTo>
                    <a:pt x="149" y="132"/>
                  </a:lnTo>
                  <a:lnTo>
                    <a:pt x="154" y="131"/>
                  </a:lnTo>
                  <a:lnTo>
                    <a:pt x="158" y="132"/>
                  </a:lnTo>
                  <a:lnTo>
                    <a:pt x="164" y="132"/>
                  </a:lnTo>
                  <a:lnTo>
                    <a:pt x="174" y="133"/>
                  </a:lnTo>
                  <a:lnTo>
                    <a:pt x="178" y="134"/>
                  </a:lnTo>
                  <a:lnTo>
                    <a:pt x="182" y="134"/>
                  </a:lnTo>
                  <a:lnTo>
                    <a:pt x="190" y="133"/>
                  </a:lnTo>
                  <a:lnTo>
                    <a:pt x="192" y="133"/>
                  </a:lnTo>
                  <a:lnTo>
                    <a:pt x="194" y="133"/>
                  </a:lnTo>
                  <a:lnTo>
                    <a:pt x="207" y="133"/>
                  </a:lnTo>
                  <a:lnTo>
                    <a:pt x="209" y="134"/>
                  </a:lnTo>
                  <a:lnTo>
                    <a:pt x="211" y="135"/>
                  </a:lnTo>
                  <a:lnTo>
                    <a:pt x="213" y="135"/>
                  </a:lnTo>
                  <a:lnTo>
                    <a:pt x="214" y="136"/>
                  </a:lnTo>
                  <a:lnTo>
                    <a:pt x="221" y="142"/>
                  </a:lnTo>
                  <a:lnTo>
                    <a:pt x="227" y="146"/>
                  </a:lnTo>
                  <a:lnTo>
                    <a:pt x="233" y="151"/>
                  </a:lnTo>
                  <a:lnTo>
                    <a:pt x="236" y="153"/>
                  </a:lnTo>
                  <a:lnTo>
                    <a:pt x="237" y="154"/>
                  </a:lnTo>
                  <a:lnTo>
                    <a:pt x="239" y="154"/>
                  </a:lnTo>
                  <a:lnTo>
                    <a:pt x="239" y="154"/>
                  </a:lnTo>
                  <a:lnTo>
                    <a:pt x="241" y="154"/>
                  </a:lnTo>
                  <a:lnTo>
                    <a:pt x="242" y="153"/>
                  </a:lnTo>
                  <a:lnTo>
                    <a:pt x="244" y="150"/>
                  </a:lnTo>
                  <a:lnTo>
                    <a:pt x="245" y="149"/>
                  </a:lnTo>
                  <a:lnTo>
                    <a:pt x="247" y="148"/>
                  </a:lnTo>
                  <a:lnTo>
                    <a:pt x="247" y="145"/>
                  </a:lnTo>
                  <a:lnTo>
                    <a:pt x="248" y="144"/>
                  </a:lnTo>
                  <a:lnTo>
                    <a:pt x="249" y="143"/>
                  </a:lnTo>
                  <a:lnTo>
                    <a:pt x="249" y="141"/>
                  </a:lnTo>
                  <a:lnTo>
                    <a:pt x="249" y="140"/>
                  </a:lnTo>
                  <a:lnTo>
                    <a:pt x="247" y="138"/>
                  </a:lnTo>
                  <a:lnTo>
                    <a:pt x="247" y="136"/>
                  </a:lnTo>
                  <a:lnTo>
                    <a:pt x="247" y="135"/>
                  </a:lnTo>
                  <a:lnTo>
                    <a:pt x="248" y="133"/>
                  </a:lnTo>
                  <a:lnTo>
                    <a:pt x="248" y="132"/>
                  </a:lnTo>
                  <a:lnTo>
                    <a:pt x="248" y="131"/>
                  </a:lnTo>
                  <a:lnTo>
                    <a:pt x="248" y="130"/>
                  </a:lnTo>
                  <a:lnTo>
                    <a:pt x="245" y="125"/>
                  </a:lnTo>
                  <a:lnTo>
                    <a:pt x="242" y="120"/>
                  </a:lnTo>
                  <a:lnTo>
                    <a:pt x="241" y="119"/>
                  </a:lnTo>
                  <a:lnTo>
                    <a:pt x="240" y="118"/>
                  </a:lnTo>
                  <a:lnTo>
                    <a:pt x="239" y="115"/>
                  </a:lnTo>
                  <a:lnTo>
                    <a:pt x="239" y="113"/>
                  </a:lnTo>
                  <a:lnTo>
                    <a:pt x="239" y="110"/>
                  </a:lnTo>
                  <a:lnTo>
                    <a:pt x="237" y="105"/>
                  </a:lnTo>
                  <a:lnTo>
                    <a:pt x="237" y="102"/>
                  </a:lnTo>
                  <a:lnTo>
                    <a:pt x="237" y="100"/>
                  </a:lnTo>
                  <a:lnTo>
                    <a:pt x="237" y="98"/>
                  </a:lnTo>
                  <a:lnTo>
                    <a:pt x="238" y="94"/>
                  </a:lnTo>
                  <a:lnTo>
                    <a:pt x="239" y="92"/>
                  </a:lnTo>
                  <a:lnTo>
                    <a:pt x="239" y="89"/>
                  </a:lnTo>
                  <a:lnTo>
                    <a:pt x="242" y="83"/>
                  </a:lnTo>
                  <a:lnTo>
                    <a:pt x="244" y="82"/>
                  </a:lnTo>
                  <a:lnTo>
                    <a:pt x="246" y="79"/>
                  </a:lnTo>
                  <a:lnTo>
                    <a:pt x="247" y="78"/>
                  </a:lnTo>
                  <a:lnTo>
                    <a:pt x="247" y="78"/>
                  </a:lnTo>
                  <a:lnTo>
                    <a:pt x="248" y="72"/>
                  </a:lnTo>
                  <a:lnTo>
                    <a:pt x="250" y="65"/>
                  </a:lnTo>
                  <a:lnTo>
                    <a:pt x="251" y="63"/>
                  </a:lnTo>
                  <a:lnTo>
                    <a:pt x="252" y="60"/>
                  </a:lnTo>
                  <a:lnTo>
                    <a:pt x="252" y="56"/>
                  </a:lnTo>
                  <a:lnTo>
                    <a:pt x="252" y="50"/>
                  </a:lnTo>
                  <a:lnTo>
                    <a:pt x="252" y="45"/>
                  </a:lnTo>
                  <a:lnTo>
                    <a:pt x="253" y="43"/>
                  </a:lnTo>
                  <a:lnTo>
                    <a:pt x="253" y="41"/>
                  </a:lnTo>
                  <a:lnTo>
                    <a:pt x="254" y="40"/>
                  </a:lnTo>
                  <a:lnTo>
                    <a:pt x="254" y="38"/>
                  </a:lnTo>
                  <a:lnTo>
                    <a:pt x="258" y="33"/>
                  </a:lnTo>
                  <a:lnTo>
                    <a:pt x="259" y="30"/>
                  </a:lnTo>
                  <a:lnTo>
                    <a:pt x="259" y="29"/>
                  </a:lnTo>
                  <a:lnTo>
                    <a:pt x="261" y="23"/>
                  </a:lnTo>
                  <a:lnTo>
                    <a:pt x="262" y="21"/>
                  </a:lnTo>
                  <a:lnTo>
                    <a:pt x="262" y="19"/>
                  </a:lnTo>
                  <a:lnTo>
                    <a:pt x="264" y="16"/>
                  </a:lnTo>
                  <a:lnTo>
                    <a:pt x="266" y="13"/>
                  </a:lnTo>
                  <a:lnTo>
                    <a:pt x="269" y="10"/>
                  </a:lnTo>
                  <a:lnTo>
                    <a:pt x="271" y="7"/>
                  </a:lnTo>
                  <a:lnTo>
                    <a:pt x="274" y="5"/>
                  </a:lnTo>
                  <a:lnTo>
                    <a:pt x="278" y="3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283" y="0"/>
                  </a:lnTo>
                  <a:lnTo>
                    <a:pt x="282" y="0"/>
                  </a:lnTo>
                  <a:close/>
                </a:path>
              </a:pathLst>
            </a:custGeom>
            <a:solidFill>
              <a:srgbClr val="EFF3FF"/>
            </a:solidFill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 100">
              <a:extLst>
                <a:ext uri="{FF2B5EF4-FFF2-40B4-BE49-F238E27FC236}">
                  <a16:creationId xmlns:a16="http://schemas.microsoft.com/office/drawing/2014/main" id="{C327690A-51B6-7D54-BC81-437924422F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1798" y="4524213"/>
              <a:ext cx="771525" cy="890588"/>
            </a:xfrm>
            <a:custGeom>
              <a:avLst/>
              <a:gdLst>
                <a:gd name="T0" fmla="*/ 124 w 486"/>
                <a:gd name="T1" fmla="*/ 32 h 561"/>
                <a:gd name="T2" fmla="*/ 141 w 486"/>
                <a:gd name="T3" fmla="*/ 45 h 561"/>
                <a:gd name="T4" fmla="*/ 177 w 486"/>
                <a:gd name="T5" fmla="*/ 42 h 561"/>
                <a:gd name="T6" fmla="*/ 246 w 486"/>
                <a:gd name="T7" fmla="*/ 40 h 561"/>
                <a:gd name="T8" fmla="*/ 264 w 486"/>
                <a:gd name="T9" fmla="*/ 18 h 561"/>
                <a:gd name="T10" fmla="*/ 291 w 486"/>
                <a:gd name="T11" fmla="*/ 0 h 561"/>
                <a:gd name="T12" fmla="*/ 319 w 486"/>
                <a:gd name="T13" fmla="*/ 6 h 561"/>
                <a:gd name="T14" fmla="*/ 346 w 486"/>
                <a:gd name="T15" fmla="*/ 27 h 561"/>
                <a:gd name="T16" fmla="*/ 362 w 486"/>
                <a:gd name="T17" fmla="*/ 47 h 561"/>
                <a:gd name="T18" fmla="*/ 395 w 486"/>
                <a:gd name="T19" fmla="*/ 47 h 561"/>
                <a:gd name="T20" fmla="*/ 428 w 486"/>
                <a:gd name="T21" fmla="*/ 35 h 561"/>
                <a:gd name="T22" fmla="*/ 431 w 486"/>
                <a:gd name="T23" fmla="*/ 17 h 561"/>
                <a:gd name="T24" fmla="*/ 459 w 486"/>
                <a:gd name="T25" fmla="*/ 27 h 561"/>
                <a:gd name="T26" fmla="*/ 485 w 486"/>
                <a:gd name="T27" fmla="*/ 50 h 561"/>
                <a:gd name="T28" fmla="*/ 470 w 486"/>
                <a:gd name="T29" fmla="*/ 82 h 561"/>
                <a:gd name="T30" fmla="*/ 473 w 486"/>
                <a:gd name="T31" fmla="*/ 117 h 561"/>
                <a:gd name="T32" fmla="*/ 485 w 486"/>
                <a:gd name="T33" fmla="*/ 145 h 561"/>
                <a:gd name="T34" fmla="*/ 479 w 486"/>
                <a:gd name="T35" fmla="*/ 184 h 561"/>
                <a:gd name="T36" fmla="*/ 469 w 486"/>
                <a:gd name="T37" fmla="*/ 213 h 561"/>
                <a:gd name="T38" fmla="*/ 471 w 486"/>
                <a:gd name="T39" fmla="*/ 252 h 561"/>
                <a:gd name="T40" fmla="*/ 463 w 486"/>
                <a:gd name="T41" fmla="*/ 281 h 561"/>
                <a:gd name="T42" fmla="*/ 444 w 486"/>
                <a:gd name="T43" fmla="*/ 302 h 561"/>
                <a:gd name="T44" fmla="*/ 421 w 486"/>
                <a:gd name="T45" fmla="*/ 332 h 561"/>
                <a:gd name="T46" fmla="*/ 411 w 486"/>
                <a:gd name="T47" fmla="*/ 327 h 561"/>
                <a:gd name="T48" fmla="*/ 396 w 486"/>
                <a:gd name="T49" fmla="*/ 345 h 561"/>
                <a:gd name="T50" fmla="*/ 369 w 486"/>
                <a:gd name="T51" fmla="*/ 361 h 561"/>
                <a:gd name="T52" fmla="*/ 364 w 486"/>
                <a:gd name="T53" fmla="*/ 391 h 561"/>
                <a:gd name="T54" fmla="*/ 376 w 486"/>
                <a:gd name="T55" fmla="*/ 441 h 561"/>
                <a:gd name="T56" fmla="*/ 380 w 486"/>
                <a:gd name="T57" fmla="*/ 459 h 561"/>
                <a:gd name="T58" fmla="*/ 341 w 486"/>
                <a:gd name="T59" fmla="*/ 449 h 561"/>
                <a:gd name="T60" fmla="*/ 328 w 486"/>
                <a:gd name="T61" fmla="*/ 460 h 561"/>
                <a:gd name="T62" fmla="*/ 333 w 486"/>
                <a:gd name="T63" fmla="*/ 504 h 561"/>
                <a:gd name="T64" fmla="*/ 321 w 486"/>
                <a:gd name="T65" fmla="*/ 532 h 561"/>
                <a:gd name="T66" fmla="*/ 305 w 486"/>
                <a:gd name="T67" fmla="*/ 561 h 561"/>
                <a:gd name="T68" fmla="*/ 254 w 486"/>
                <a:gd name="T69" fmla="*/ 555 h 561"/>
                <a:gd name="T70" fmla="*/ 229 w 486"/>
                <a:gd name="T71" fmla="*/ 536 h 561"/>
                <a:gd name="T72" fmla="*/ 204 w 486"/>
                <a:gd name="T73" fmla="*/ 515 h 561"/>
                <a:gd name="T74" fmla="*/ 169 w 486"/>
                <a:gd name="T75" fmla="*/ 505 h 561"/>
                <a:gd name="T76" fmla="*/ 148 w 486"/>
                <a:gd name="T77" fmla="*/ 487 h 561"/>
                <a:gd name="T78" fmla="*/ 124 w 486"/>
                <a:gd name="T79" fmla="*/ 447 h 561"/>
                <a:gd name="T80" fmla="*/ 100 w 486"/>
                <a:gd name="T81" fmla="*/ 416 h 561"/>
                <a:gd name="T82" fmla="*/ 89 w 486"/>
                <a:gd name="T83" fmla="*/ 379 h 561"/>
                <a:gd name="T84" fmla="*/ 54 w 486"/>
                <a:gd name="T85" fmla="*/ 328 h 561"/>
                <a:gd name="T86" fmla="*/ 55 w 486"/>
                <a:gd name="T87" fmla="*/ 288 h 561"/>
                <a:gd name="T88" fmla="*/ 67 w 486"/>
                <a:gd name="T89" fmla="*/ 257 h 561"/>
                <a:gd name="T90" fmla="*/ 68 w 486"/>
                <a:gd name="T91" fmla="*/ 235 h 561"/>
                <a:gd name="T92" fmla="*/ 54 w 486"/>
                <a:gd name="T93" fmla="*/ 217 h 561"/>
                <a:gd name="T94" fmla="*/ 50 w 486"/>
                <a:gd name="T95" fmla="*/ 187 h 561"/>
                <a:gd name="T96" fmla="*/ 43 w 486"/>
                <a:gd name="T97" fmla="*/ 167 h 561"/>
                <a:gd name="T98" fmla="*/ 63 w 486"/>
                <a:gd name="T99" fmla="*/ 150 h 561"/>
                <a:gd name="T100" fmla="*/ 68 w 486"/>
                <a:gd name="T101" fmla="*/ 132 h 561"/>
                <a:gd name="T102" fmla="*/ 52 w 486"/>
                <a:gd name="T103" fmla="*/ 120 h 561"/>
                <a:gd name="T104" fmla="*/ 52 w 486"/>
                <a:gd name="T105" fmla="*/ 110 h 561"/>
                <a:gd name="T106" fmla="*/ 33 w 486"/>
                <a:gd name="T107" fmla="*/ 97 h 561"/>
                <a:gd name="T108" fmla="*/ 3 w 486"/>
                <a:gd name="T109" fmla="*/ 85 h 561"/>
                <a:gd name="T110" fmla="*/ 12 w 486"/>
                <a:gd name="T111" fmla="*/ 70 h 561"/>
                <a:gd name="T112" fmla="*/ 42 w 486"/>
                <a:gd name="T113" fmla="*/ 63 h 561"/>
                <a:gd name="T114" fmla="*/ 59 w 486"/>
                <a:gd name="T115" fmla="*/ 54 h 561"/>
                <a:gd name="T116" fmla="*/ 73 w 486"/>
                <a:gd name="T117" fmla="*/ 30 h 561"/>
                <a:gd name="T118" fmla="*/ 108 w 486"/>
                <a:gd name="T119" fmla="*/ 5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86" h="561">
                  <a:moveTo>
                    <a:pt x="120" y="1"/>
                  </a:moveTo>
                  <a:lnTo>
                    <a:pt x="120" y="2"/>
                  </a:lnTo>
                  <a:lnTo>
                    <a:pt x="122" y="2"/>
                  </a:lnTo>
                  <a:lnTo>
                    <a:pt x="122" y="4"/>
                  </a:lnTo>
                  <a:lnTo>
                    <a:pt x="122" y="5"/>
                  </a:lnTo>
                  <a:lnTo>
                    <a:pt x="123" y="9"/>
                  </a:lnTo>
                  <a:lnTo>
                    <a:pt x="123" y="21"/>
                  </a:lnTo>
                  <a:lnTo>
                    <a:pt x="124" y="27"/>
                  </a:lnTo>
                  <a:lnTo>
                    <a:pt x="124" y="30"/>
                  </a:lnTo>
                  <a:lnTo>
                    <a:pt x="124" y="32"/>
                  </a:lnTo>
                  <a:lnTo>
                    <a:pt x="125" y="35"/>
                  </a:lnTo>
                  <a:lnTo>
                    <a:pt x="126" y="37"/>
                  </a:lnTo>
                  <a:lnTo>
                    <a:pt x="127" y="38"/>
                  </a:lnTo>
                  <a:lnTo>
                    <a:pt x="128" y="40"/>
                  </a:lnTo>
                  <a:lnTo>
                    <a:pt x="129" y="41"/>
                  </a:lnTo>
                  <a:lnTo>
                    <a:pt x="132" y="42"/>
                  </a:lnTo>
                  <a:lnTo>
                    <a:pt x="134" y="44"/>
                  </a:lnTo>
                  <a:lnTo>
                    <a:pt x="136" y="45"/>
                  </a:lnTo>
                  <a:lnTo>
                    <a:pt x="138" y="45"/>
                  </a:lnTo>
                  <a:lnTo>
                    <a:pt x="141" y="45"/>
                  </a:lnTo>
                  <a:lnTo>
                    <a:pt x="144" y="46"/>
                  </a:lnTo>
                  <a:lnTo>
                    <a:pt x="148" y="45"/>
                  </a:lnTo>
                  <a:lnTo>
                    <a:pt x="150" y="45"/>
                  </a:lnTo>
                  <a:lnTo>
                    <a:pt x="154" y="44"/>
                  </a:lnTo>
                  <a:lnTo>
                    <a:pt x="157" y="43"/>
                  </a:lnTo>
                  <a:lnTo>
                    <a:pt x="159" y="44"/>
                  </a:lnTo>
                  <a:lnTo>
                    <a:pt x="164" y="45"/>
                  </a:lnTo>
                  <a:lnTo>
                    <a:pt x="168" y="45"/>
                  </a:lnTo>
                  <a:lnTo>
                    <a:pt x="171" y="45"/>
                  </a:lnTo>
                  <a:lnTo>
                    <a:pt x="177" y="42"/>
                  </a:lnTo>
                  <a:lnTo>
                    <a:pt x="180" y="42"/>
                  </a:lnTo>
                  <a:lnTo>
                    <a:pt x="185" y="42"/>
                  </a:lnTo>
                  <a:lnTo>
                    <a:pt x="195" y="42"/>
                  </a:lnTo>
                  <a:lnTo>
                    <a:pt x="199" y="42"/>
                  </a:lnTo>
                  <a:lnTo>
                    <a:pt x="212" y="42"/>
                  </a:lnTo>
                  <a:lnTo>
                    <a:pt x="222" y="41"/>
                  </a:lnTo>
                  <a:lnTo>
                    <a:pt x="232" y="40"/>
                  </a:lnTo>
                  <a:lnTo>
                    <a:pt x="236" y="40"/>
                  </a:lnTo>
                  <a:lnTo>
                    <a:pt x="240" y="40"/>
                  </a:lnTo>
                  <a:lnTo>
                    <a:pt x="246" y="40"/>
                  </a:lnTo>
                  <a:lnTo>
                    <a:pt x="247" y="40"/>
                  </a:lnTo>
                  <a:lnTo>
                    <a:pt x="249" y="40"/>
                  </a:lnTo>
                  <a:lnTo>
                    <a:pt x="250" y="39"/>
                  </a:lnTo>
                  <a:lnTo>
                    <a:pt x="251" y="37"/>
                  </a:lnTo>
                  <a:lnTo>
                    <a:pt x="253" y="36"/>
                  </a:lnTo>
                  <a:lnTo>
                    <a:pt x="254" y="35"/>
                  </a:lnTo>
                  <a:lnTo>
                    <a:pt x="256" y="30"/>
                  </a:lnTo>
                  <a:lnTo>
                    <a:pt x="260" y="26"/>
                  </a:lnTo>
                  <a:lnTo>
                    <a:pt x="262" y="22"/>
                  </a:lnTo>
                  <a:lnTo>
                    <a:pt x="264" y="18"/>
                  </a:lnTo>
                  <a:lnTo>
                    <a:pt x="267" y="12"/>
                  </a:lnTo>
                  <a:lnTo>
                    <a:pt x="269" y="10"/>
                  </a:lnTo>
                  <a:lnTo>
                    <a:pt x="270" y="8"/>
                  </a:lnTo>
                  <a:lnTo>
                    <a:pt x="272" y="6"/>
                  </a:lnTo>
                  <a:lnTo>
                    <a:pt x="274" y="5"/>
                  </a:lnTo>
                  <a:lnTo>
                    <a:pt x="276" y="4"/>
                  </a:lnTo>
                  <a:lnTo>
                    <a:pt x="277" y="4"/>
                  </a:lnTo>
                  <a:lnTo>
                    <a:pt x="279" y="3"/>
                  </a:lnTo>
                  <a:lnTo>
                    <a:pt x="287" y="1"/>
                  </a:lnTo>
                  <a:lnTo>
                    <a:pt x="291" y="0"/>
                  </a:lnTo>
                  <a:lnTo>
                    <a:pt x="294" y="0"/>
                  </a:lnTo>
                  <a:lnTo>
                    <a:pt x="299" y="0"/>
                  </a:lnTo>
                  <a:lnTo>
                    <a:pt x="301" y="0"/>
                  </a:lnTo>
                  <a:lnTo>
                    <a:pt x="303" y="0"/>
                  </a:lnTo>
                  <a:lnTo>
                    <a:pt x="306" y="0"/>
                  </a:lnTo>
                  <a:lnTo>
                    <a:pt x="309" y="1"/>
                  </a:lnTo>
                  <a:lnTo>
                    <a:pt x="311" y="2"/>
                  </a:lnTo>
                  <a:lnTo>
                    <a:pt x="314" y="4"/>
                  </a:lnTo>
                  <a:lnTo>
                    <a:pt x="316" y="5"/>
                  </a:lnTo>
                  <a:lnTo>
                    <a:pt x="319" y="6"/>
                  </a:lnTo>
                  <a:lnTo>
                    <a:pt x="321" y="7"/>
                  </a:lnTo>
                  <a:lnTo>
                    <a:pt x="322" y="10"/>
                  </a:lnTo>
                  <a:lnTo>
                    <a:pt x="324" y="12"/>
                  </a:lnTo>
                  <a:lnTo>
                    <a:pt x="328" y="17"/>
                  </a:lnTo>
                  <a:lnTo>
                    <a:pt x="329" y="19"/>
                  </a:lnTo>
                  <a:lnTo>
                    <a:pt x="331" y="20"/>
                  </a:lnTo>
                  <a:lnTo>
                    <a:pt x="333" y="22"/>
                  </a:lnTo>
                  <a:lnTo>
                    <a:pt x="335" y="22"/>
                  </a:lnTo>
                  <a:lnTo>
                    <a:pt x="341" y="25"/>
                  </a:lnTo>
                  <a:lnTo>
                    <a:pt x="346" y="27"/>
                  </a:lnTo>
                  <a:lnTo>
                    <a:pt x="349" y="29"/>
                  </a:lnTo>
                  <a:lnTo>
                    <a:pt x="351" y="30"/>
                  </a:lnTo>
                  <a:lnTo>
                    <a:pt x="353" y="32"/>
                  </a:lnTo>
                  <a:lnTo>
                    <a:pt x="356" y="35"/>
                  </a:lnTo>
                  <a:lnTo>
                    <a:pt x="357" y="37"/>
                  </a:lnTo>
                  <a:lnTo>
                    <a:pt x="358" y="37"/>
                  </a:lnTo>
                  <a:lnTo>
                    <a:pt x="359" y="40"/>
                  </a:lnTo>
                  <a:lnTo>
                    <a:pt x="361" y="45"/>
                  </a:lnTo>
                  <a:lnTo>
                    <a:pt x="361" y="46"/>
                  </a:lnTo>
                  <a:lnTo>
                    <a:pt x="362" y="47"/>
                  </a:lnTo>
                  <a:lnTo>
                    <a:pt x="364" y="47"/>
                  </a:lnTo>
                  <a:lnTo>
                    <a:pt x="364" y="48"/>
                  </a:lnTo>
                  <a:lnTo>
                    <a:pt x="366" y="49"/>
                  </a:lnTo>
                  <a:lnTo>
                    <a:pt x="380" y="51"/>
                  </a:lnTo>
                  <a:lnTo>
                    <a:pt x="382" y="51"/>
                  </a:lnTo>
                  <a:lnTo>
                    <a:pt x="384" y="50"/>
                  </a:lnTo>
                  <a:lnTo>
                    <a:pt x="391" y="49"/>
                  </a:lnTo>
                  <a:lnTo>
                    <a:pt x="391" y="48"/>
                  </a:lnTo>
                  <a:lnTo>
                    <a:pt x="393" y="48"/>
                  </a:lnTo>
                  <a:lnTo>
                    <a:pt x="395" y="47"/>
                  </a:lnTo>
                  <a:lnTo>
                    <a:pt x="404" y="40"/>
                  </a:lnTo>
                  <a:lnTo>
                    <a:pt x="406" y="39"/>
                  </a:lnTo>
                  <a:lnTo>
                    <a:pt x="409" y="37"/>
                  </a:lnTo>
                  <a:lnTo>
                    <a:pt x="412" y="36"/>
                  </a:lnTo>
                  <a:lnTo>
                    <a:pt x="415" y="35"/>
                  </a:lnTo>
                  <a:lnTo>
                    <a:pt x="418" y="35"/>
                  </a:lnTo>
                  <a:lnTo>
                    <a:pt x="421" y="35"/>
                  </a:lnTo>
                  <a:lnTo>
                    <a:pt x="426" y="35"/>
                  </a:lnTo>
                  <a:lnTo>
                    <a:pt x="427" y="35"/>
                  </a:lnTo>
                  <a:lnTo>
                    <a:pt x="428" y="35"/>
                  </a:lnTo>
                  <a:lnTo>
                    <a:pt x="429" y="35"/>
                  </a:lnTo>
                  <a:lnTo>
                    <a:pt x="429" y="34"/>
                  </a:lnTo>
                  <a:lnTo>
                    <a:pt x="429" y="33"/>
                  </a:lnTo>
                  <a:lnTo>
                    <a:pt x="429" y="32"/>
                  </a:lnTo>
                  <a:lnTo>
                    <a:pt x="429" y="29"/>
                  </a:lnTo>
                  <a:lnTo>
                    <a:pt x="429" y="22"/>
                  </a:lnTo>
                  <a:lnTo>
                    <a:pt x="429" y="20"/>
                  </a:lnTo>
                  <a:lnTo>
                    <a:pt x="430" y="20"/>
                  </a:lnTo>
                  <a:lnTo>
                    <a:pt x="431" y="18"/>
                  </a:lnTo>
                  <a:lnTo>
                    <a:pt x="431" y="17"/>
                  </a:lnTo>
                  <a:lnTo>
                    <a:pt x="433" y="17"/>
                  </a:lnTo>
                  <a:lnTo>
                    <a:pt x="434" y="16"/>
                  </a:lnTo>
                  <a:lnTo>
                    <a:pt x="435" y="16"/>
                  </a:lnTo>
                  <a:lnTo>
                    <a:pt x="436" y="17"/>
                  </a:lnTo>
                  <a:lnTo>
                    <a:pt x="439" y="17"/>
                  </a:lnTo>
                  <a:lnTo>
                    <a:pt x="441" y="19"/>
                  </a:lnTo>
                  <a:lnTo>
                    <a:pt x="446" y="22"/>
                  </a:lnTo>
                  <a:lnTo>
                    <a:pt x="449" y="24"/>
                  </a:lnTo>
                  <a:lnTo>
                    <a:pt x="456" y="27"/>
                  </a:lnTo>
                  <a:lnTo>
                    <a:pt x="459" y="27"/>
                  </a:lnTo>
                  <a:lnTo>
                    <a:pt x="461" y="29"/>
                  </a:lnTo>
                  <a:lnTo>
                    <a:pt x="463" y="30"/>
                  </a:lnTo>
                  <a:lnTo>
                    <a:pt x="466" y="33"/>
                  </a:lnTo>
                  <a:lnTo>
                    <a:pt x="473" y="37"/>
                  </a:lnTo>
                  <a:lnTo>
                    <a:pt x="480" y="44"/>
                  </a:lnTo>
                  <a:lnTo>
                    <a:pt x="484" y="47"/>
                  </a:lnTo>
                  <a:lnTo>
                    <a:pt x="484" y="47"/>
                  </a:lnTo>
                  <a:lnTo>
                    <a:pt x="485" y="48"/>
                  </a:lnTo>
                  <a:lnTo>
                    <a:pt x="485" y="49"/>
                  </a:lnTo>
                  <a:lnTo>
                    <a:pt x="485" y="50"/>
                  </a:lnTo>
                  <a:lnTo>
                    <a:pt x="484" y="53"/>
                  </a:lnTo>
                  <a:lnTo>
                    <a:pt x="483" y="55"/>
                  </a:lnTo>
                  <a:lnTo>
                    <a:pt x="482" y="59"/>
                  </a:lnTo>
                  <a:lnTo>
                    <a:pt x="478" y="65"/>
                  </a:lnTo>
                  <a:lnTo>
                    <a:pt x="476" y="70"/>
                  </a:lnTo>
                  <a:lnTo>
                    <a:pt x="473" y="74"/>
                  </a:lnTo>
                  <a:lnTo>
                    <a:pt x="471" y="76"/>
                  </a:lnTo>
                  <a:lnTo>
                    <a:pt x="471" y="78"/>
                  </a:lnTo>
                  <a:lnTo>
                    <a:pt x="470" y="80"/>
                  </a:lnTo>
                  <a:lnTo>
                    <a:pt x="470" y="82"/>
                  </a:lnTo>
                  <a:lnTo>
                    <a:pt x="469" y="85"/>
                  </a:lnTo>
                  <a:lnTo>
                    <a:pt x="470" y="86"/>
                  </a:lnTo>
                  <a:lnTo>
                    <a:pt x="470" y="88"/>
                  </a:lnTo>
                  <a:lnTo>
                    <a:pt x="471" y="95"/>
                  </a:lnTo>
                  <a:lnTo>
                    <a:pt x="472" y="97"/>
                  </a:lnTo>
                  <a:lnTo>
                    <a:pt x="472" y="102"/>
                  </a:lnTo>
                  <a:lnTo>
                    <a:pt x="471" y="109"/>
                  </a:lnTo>
                  <a:lnTo>
                    <a:pt x="472" y="113"/>
                  </a:lnTo>
                  <a:lnTo>
                    <a:pt x="473" y="116"/>
                  </a:lnTo>
                  <a:lnTo>
                    <a:pt x="473" y="117"/>
                  </a:lnTo>
                  <a:lnTo>
                    <a:pt x="474" y="120"/>
                  </a:lnTo>
                  <a:lnTo>
                    <a:pt x="476" y="123"/>
                  </a:lnTo>
                  <a:lnTo>
                    <a:pt x="478" y="125"/>
                  </a:lnTo>
                  <a:lnTo>
                    <a:pt x="482" y="131"/>
                  </a:lnTo>
                  <a:lnTo>
                    <a:pt x="483" y="133"/>
                  </a:lnTo>
                  <a:lnTo>
                    <a:pt x="485" y="136"/>
                  </a:lnTo>
                  <a:lnTo>
                    <a:pt x="486" y="138"/>
                  </a:lnTo>
                  <a:lnTo>
                    <a:pt x="486" y="140"/>
                  </a:lnTo>
                  <a:lnTo>
                    <a:pt x="486" y="142"/>
                  </a:lnTo>
                  <a:lnTo>
                    <a:pt x="485" y="145"/>
                  </a:lnTo>
                  <a:lnTo>
                    <a:pt x="484" y="149"/>
                  </a:lnTo>
                  <a:lnTo>
                    <a:pt x="483" y="151"/>
                  </a:lnTo>
                  <a:lnTo>
                    <a:pt x="483" y="154"/>
                  </a:lnTo>
                  <a:lnTo>
                    <a:pt x="483" y="161"/>
                  </a:lnTo>
                  <a:lnTo>
                    <a:pt x="483" y="165"/>
                  </a:lnTo>
                  <a:lnTo>
                    <a:pt x="483" y="167"/>
                  </a:lnTo>
                  <a:lnTo>
                    <a:pt x="481" y="173"/>
                  </a:lnTo>
                  <a:lnTo>
                    <a:pt x="481" y="177"/>
                  </a:lnTo>
                  <a:lnTo>
                    <a:pt x="480" y="179"/>
                  </a:lnTo>
                  <a:lnTo>
                    <a:pt x="479" y="184"/>
                  </a:lnTo>
                  <a:lnTo>
                    <a:pt x="479" y="192"/>
                  </a:lnTo>
                  <a:lnTo>
                    <a:pt x="479" y="196"/>
                  </a:lnTo>
                  <a:lnTo>
                    <a:pt x="478" y="200"/>
                  </a:lnTo>
                  <a:lnTo>
                    <a:pt x="478" y="202"/>
                  </a:lnTo>
                  <a:lnTo>
                    <a:pt x="476" y="205"/>
                  </a:lnTo>
                  <a:lnTo>
                    <a:pt x="475" y="207"/>
                  </a:lnTo>
                  <a:lnTo>
                    <a:pt x="474" y="209"/>
                  </a:lnTo>
                  <a:lnTo>
                    <a:pt x="473" y="210"/>
                  </a:lnTo>
                  <a:lnTo>
                    <a:pt x="471" y="212"/>
                  </a:lnTo>
                  <a:lnTo>
                    <a:pt x="469" y="213"/>
                  </a:lnTo>
                  <a:lnTo>
                    <a:pt x="462" y="217"/>
                  </a:lnTo>
                  <a:lnTo>
                    <a:pt x="461" y="218"/>
                  </a:lnTo>
                  <a:lnTo>
                    <a:pt x="461" y="219"/>
                  </a:lnTo>
                  <a:lnTo>
                    <a:pt x="461" y="220"/>
                  </a:lnTo>
                  <a:lnTo>
                    <a:pt x="461" y="222"/>
                  </a:lnTo>
                  <a:lnTo>
                    <a:pt x="461" y="224"/>
                  </a:lnTo>
                  <a:lnTo>
                    <a:pt x="466" y="235"/>
                  </a:lnTo>
                  <a:lnTo>
                    <a:pt x="467" y="239"/>
                  </a:lnTo>
                  <a:lnTo>
                    <a:pt x="470" y="247"/>
                  </a:lnTo>
                  <a:lnTo>
                    <a:pt x="471" y="252"/>
                  </a:lnTo>
                  <a:lnTo>
                    <a:pt x="471" y="257"/>
                  </a:lnTo>
                  <a:lnTo>
                    <a:pt x="471" y="261"/>
                  </a:lnTo>
                  <a:lnTo>
                    <a:pt x="471" y="266"/>
                  </a:lnTo>
                  <a:lnTo>
                    <a:pt x="471" y="270"/>
                  </a:lnTo>
                  <a:lnTo>
                    <a:pt x="470" y="272"/>
                  </a:lnTo>
                  <a:lnTo>
                    <a:pt x="469" y="275"/>
                  </a:lnTo>
                  <a:lnTo>
                    <a:pt x="467" y="278"/>
                  </a:lnTo>
                  <a:lnTo>
                    <a:pt x="465" y="279"/>
                  </a:lnTo>
                  <a:lnTo>
                    <a:pt x="464" y="280"/>
                  </a:lnTo>
                  <a:lnTo>
                    <a:pt x="463" y="281"/>
                  </a:lnTo>
                  <a:lnTo>
                    <a:pt x="458" y="282"/>
                  </a:lnTo>
                  <a:lnTo>
                    <a:pt x="455" y="284"/>
                  </a:lnTo>
                  <a:lnTo>
                    <a:pt x="453" y="285"/>
                  </a:lnTo>
                  <a:lnTo>
                    <a:pt x="451" y="286"/>
                  </a:lnTo>
                  <a:lnTo>
                    <a:pt x="450" y="287"/>
                  </a:lnTo>
                  <a:lnTo>
                    <a:pt x="449" y="288"/>
                  </a:lnTo>
                  <a:lnTo>
                    <a:pt x="447" y="290"/>
                  </a:lnTo>
                  <a:lnTo>
                    <a:pt x="446" y="293"/>
                  </a:lnTo>
                  <a:lnTo>
                    <a:pt x="445" y="297"/>
                  </a:lnTo>
                  <a:lnTo>
                    <a:pt x="444" y="302"/>
                  </a:lnTo>
                  <a:lnTo>
                    <a:pt x="444" y="304"/>
                  </a:lnTo>
                  <a:lnTo>
                    <a:pt x="443" y="307"/>
                  </a:lnTo>
                  <a:lnTo>
                    <a:pt x="441" y="309"/>
                  </a:lnTo>
                  <a:lnTo>
                    <a:pt x="438" y="314"/>
                  </a:lnTo>
                  <a:lnTo>
                    <a:pt x="432" y="321"/>
                  </a:lnTo>
                  <a:lnTo>
                    <a:pt x="429" y="325"/>
                  </a:lnTo>
                  <a:lnTo>
                    <a:pt x="426" y="328"/>
                  </a:lnTo>
                  <a:lnTo>
                    <a:pt x="424" y="330"/>
                  </a:lnTo>
                  <a:lnTo>
                    <a:pt x="421" y="331"/>
                  </a:lnTo>
                  <a:lnTo>
                    <a:pt x="421" y="332"/>
                  </a:lnTo>
                  <a:lnTo>
                    <a:pt x="420" y="332"/>
                  </a:lnTo>
                  <a:lnTo>
                    <a:pt x="419" y="332"/>
                  </a:lnTo>
                  <a:lnTo>
                    <a:pt x="419" y="330"/>
                  </a:lnTo>
                  <a:lnTo>
                    <a:pt x="417" y="330"/>
                  </a:lnTo>
                  <a:lnTo>
                    <a:pt x="417" y="331"/>
                  </a:lnTo>
                  <a:lnTo>
                    <a:pt x="414" y="330"/>
                  </a:lnTo>
                  <a:lnTo>
                    <a:pt x="412" y="329"/>
                  </a:lnTo>
                  <a:lnTo>
                    <a:pt x="411" y="329"/>
                  </a:lnTo>
                  <a:lnTo>
                    <a:pt x="411" y="328"/>
                  </a:lnTo>
                  <a:lnTo>
                    <a:pt x="411" y="327"/>
                  </a:lnTo>
                  <a:lnTo>
                    <a:pt x="411" y="327"/>
                  </a:lnTo>
                  <a:lnTo>
                    <a:pt x="410" y="327"/>
                  </a:lnTo>
                  <a:lnTo>
                    <a:pt x="409" y="327"/>
                  </a:lnTo>
                  <a:lnTo>
                    <a:pt x="409" y="327"/>
                  </a:lnTo>
                  <a:lnTo>
                    <a:pt x="408" y="327"/>
                  </a:lnTo>
                  <a:lnTo>
                    <a:pt x="406" y="329"/>
                  </a:lnTo>
                  <a:lnTo>
                    <a:pt x="405" y="330"/>
                  </a:lnTo>
                  <a:lnTo>
                    <a:pt x="403" y="334"/>
                  </a:lnTo>
                  <a:lnTo>
                    <a:pt x="400" y="340"/>
                  </a:lnTo>
                  <a:lnTo>
                    <a:pt x="396" y="345"/>
                  </a:lnTo>
                  <a:lnTo>
                    <a:pt x="394" y="349"/>
                  </a:lnTo>
                  <a:lnTo>
                    <a:pt x="393" y="351"/>
                  </a:lnTo>
                  <a:lnTo>
                    <a:pt x="391" y="352"/>
                  </a:lnTo>
                  <a:lnTo>
                    <a:pt x="390" y="352"/>
                  </a:lnTo>
                  <a:lnTo>
                    <a:pt x="388" y="354"/>
                  </a:lnTo>
                  <a:lnTo>
                    <a:pt x="386" y="354"/>
                  </a:lnTo>
                  <a:lnTo>
                    <a:pt x="379" y="356"/>
                  </a:lnTo>
                  <a:lnTo>
                    <a:pt x="376" y="357"/>
                  </a:lnTo>
                  <a:lnTo>
                    <a:pt x="372" y="359"/>
                  </a:lnTo>
                  <a:lnTo>
                    <a:pt x="369" y="361"/>
                  </a:lnTo>
                  <a:lnTo>
                    <a:pt x="366" y="362"/>
                  </a:lnTo>
                  <a:lnTo>
                    <a:pt x="365" y="363"/>
                  </a:lnTo>
                  <a:lnTo>
                    <a:pt x="364" y="364"/>
                  </a:lnTo>
                  <a:lnTo>
                    <a:pt x="364" y="365"/>
                  </a:lnTo>
                  <a:lnTo>
                    <a:pt x="363" y="367"/>
                  </a:lnTo>
                  <a:lnTo>
                    <a:pt x="362" y="368"/>
                  </a:lnTo>
                  <a:lnTo>
                    <a:pt x="362" y="369"/>
                  </a:lnTo>
                  <a:lnTo>
                    <a:pt x="362" y="372"/>
                  </a:lnTo>
                  <a:lnTo>
                    <a:pt x="362" y="377"/>
                  </a:lnTo>
                  <a:lnTo>
                    <a:pt x="364" y="391"/>
                  </a:lnTo>
                  <a:lnTo>
                    <a:pt x="364" y="401"/>
                  </a:lnTo>
                  <a:lnTo>
                    <a:pt x="365" y="405"/>
                  </a:lnTo>
                  <a:lnTo>
                    <a:pt x="366" y="411"/>
                  </a:lnTo>
                  <a:lnTo>
                    <a:pt x="366" y="415"/>
                  </a:lnTo>
                  <a:lnTo>
                    <a:pt x="367" y="419"/>
                  </a:lnTo>
                  <a:lnTo>
                    <a:pt x="369" y="423"/>
                  </a:lnTo>
                  <a:lnTo>
                    <a:pt x="371" y="428"/>
                  </a:lnTo>
                  <a:lnTo>
                    <a:pt x="372" y="433"/>
                  </a:lnTo>
                  <a:lnTo>
                    <a:pt x="375" y="438"/>
                  </a:lnTo>
                  <a:lnTo>
                    <a:pt x="376" y="441"/>
                  </a:lnTo>
                  <a:lnTo>
                    <a:pt x="381" y="447"/>
                  </a:lnTo>
                  <a:lnTo>
                    <a:pt x="382" y="451"/>
                  </a:lnTo>
                  <a:lnTo>
                    <a:pt x="383" y="452"/>
                  </a:lnTo>
                  <a:lnTo>
                    <a:pt x="383" y="454"/>
                  </a:lnTo>
                  <a:lnTo>
                    <a:pt x="383" y="455"/>
                  </a:lnTo>
                  <a:lnTo>
                    <a:pt x="382" y="457"/>
                  </a:lnTo>
                  <a:lnTo>
                    <a:pt x="382" y="457"/>
                  </a:lnTo>
                  <a:lnTo>
                    <a:pt x="381" y="458"/>
                  </a:lnTo>
                  <a:lnTo>
                    <a:pt x="381" y="458"/>
                  </a:lnTo>
                  <a:lnTo>
                    <a:pt x="380" y="459"/>
                  </a:lnTo>
                  <a:lnTo>
                    <a:pt x="379" y="459"/>
                  </a:lnTo>
                  <a:lnTo>
                    <a:pt x="377" y="459"/>
                  </a:lnTo>
                  <a:lnTo>
                    <a:pt x="374" y="459"/>
                  </a:lnTo>
                  <a:lnTo>
                    <a:pt x="371" y="457"/>
                  </a:lnTo>
                  <a:lnTo>
                    <a:pt x="363" y="455"/>
                  </a:lnTo>
                  <a:lnTo>
                    <a:pt x="353" y="451"/>
                  </a:lnTo>
                  <a:lnTo>
                    <a:pt x="349" y="450"/>
                  </a:lnTo>
                  <a:lnTo>
                    <a:pt x="346" y="449"/>
                  </a:lnTo>
                  <a:lnTo>
                    <a:pt x="344" y="449"/>
                  </a:lnTo>
                  <a:lnTo>
                    <a:pt x="341" y="449"/>
                  </a:lnTo>
                  <a:lnTo>
                    <a:pt x="339" y="449"/>
                  </a:lnTo>
                  <a:lnTo>
                    <a:pt x="337" y="449"/>
                  </a:lnTo>
                  <a:lnTo>
                    <a:pt x="336" y="450"/>
                  </a:lnTo>
                  <a:lnTo>
                    <a:pt x="334" y="451"/>
                  </a:lnTo>
                  <a:lnTo>
                    <a:pt x="333" y="452"/>
                  </a:lnTo>
                  <a:lnTo>
                    <a:pt x="331" y="453"/>
                  </a:lnTo>
                  <a:lnTo>
                    <a:pt x="331" y="454"/>
                  </a:lnTo>
                  <a:lnTo>
                    <a:pt x="329" y="456"/>
                  </a:lnTo>
                  <a:lnTo>
                    <a:pt x="329" y="457"/>
                  </a:lnTo>
                  <a:lnTo>
                    <a:pt x="328" y="460"/>
                  </a:lnTo>
                  <a:lnTo>
                    <a:pt x="328" y="462"/>
                  </a:lnTo>
                  <a:lnTo>
                    <a:pt x="327" y="464"/>
                  </a:lnTo>
                  <a:lnTo>
                    <a:pt x="327" y="467"/>
                  </a:lnTo>
                  <a:lnTo>
                    <a:pt x="327" y="470"/>
                  </a:lnTo>
                  <a:lnTo>
                    <a:pt x="327" y="473"/>
                  </a:lnTo>
                  <a:lnTo>
                    <a:pt x="328" y="480"/>
                  </a:lnTo>
                  <a:lnTo>
                    <a:pt x="329" y="487"/>
                  </a:lnTo>
                  <a:lnTo>
                    <a:pt x="330" y="492"/>
                  </a:lnTo>
                  <a:lnTo>
                    <a:pt x="332" y="501"/>
                  </a:lnTo>
                  <a:lnTo>
                    <a:pt x="333" y="504"/>
                  </a:lnTo>
                  <a:lnTo>
                    <a:pt x="334" y="506"/>
                  </a:lnTo>
                  <a:lnTo>
                    <a:pt x="334" y="509"/>
                  </a:lnTo>
                  <a:lnTo>
                    <a:pt x="334" y="510"/>
                  </a:lnTo>
                  <a:lnTo>
                    <a:pt x="333" y="512"/>
                  </a:lnTo>
                  <a:lnTo>
                    <a:pt x="332" y="514"/>
                  </a:lnTo>
                  <a:lnTo>
                    <a:pt x="332" y="516"/>
                  </a:lnTo>
                  <a:lnTo>
                    <a:pt x="331" y="517"/>
                  </a:lnTo>
                  <a:lnTo>
                    <a:pt x="330" y="519"/>
                  </a:lnTo>
                  <a:lnTo>
                    <a:pt x="325" y="526"/>
                  </a:lnTo>
                  <a:lnTo>
                    <a:pt x="321" y="532"/>
                  </a:lnTo>
                  <a:lnTo>
                    <a:pt x="314" y="542"/>
                  </a:lnTo>
                  <a:lnTo>
                    <a:pt x="311" y="545"/>
                  </a:lnTo>
                  <a:lnTo>
                    <a:pt x="310" y="548"/>
                  </a:lnTo>
                  <a:lnTo>
                    <a:pt x="309" y="551"/>
                  </a:lnTo>
                  <a:lnTo>
                    <a:pt x="306" y="555"/>
                  </a:lnTo>
                  <a:lnTo>
                    <a:pt x="306" y="556"/>
                  </a:lnTo>
                  <a:lnTo>
                    <a:pt x="306" y="559"/>
                  </a:lnTo>
                  <a:lnTo>
                    <a:pt x="306" y="560"/>
                  </a:lnTo>
                  <a:lnTo>
                    <a:pt x="306" y="561"/>
                  </a:lnTo>
                  <a:lnTo>
                    <a:pt x="305" y="561"/>
                  </a:lnTo>
                  <a:lnTo>
                    <a:pt x="304" y="561"/>
                  </a:lnTo>
                  <a:lnTo>
                    <a:pt x="301" y="561"/>
                  </a:lnTo>
                  <a:lnTo>
                    <a:pt x="298" y="560"/>
                  </a:lnTo>
                  <a:lnTo>
                    <a:pt x="288" y="559"/>
                  </a:lnTo>
                  <a:lnTo>
                    <a:pt x="283" y="558"/>
                  </a:lnTo>
                  <a:lnTo>
                    <a:pt x="279" y="557"/>
                  </a:lnTo>
                  <a:lnTo>
                    <a:pt x="274" y="556"/>
                  </a:lnTo>
                  <a:lnTo>
                    <a:pt x="263" y="556"/>
                  </a:lnTo>
                  <a:lnTo>
                    <a:pt x="259" y="556"/>
                  </a:lnTo>
                  <a:lnTo>
                    <a:pt x="254" y="555"/>
                  </a:lnTo>
                  <a:lnTo>
                    <a:pt x="249" y="554"/>
                  </a:lnTo>
                  <a:lnTo>
                    <a:pt x="244" y="552"/>
                  </a:lnTo>
                  <a:lnTo>
                    <a:pt x="241" y="551"/>
                  </a:lnTo>
                  <a:lnTo>
                    <a:pt x="239" y="550"/>
                  </a:lnTo>
                  <a:lnTo>
                    <a:pt x="237" y="549"/>
                  </a:lnTo>
                  <a:lnTo>
                    <a:pt x="236" y="546"/>
                  </a:lnTo>
                  <a:lnTo>
                    <a:pt x="232" y="541"/>
                  </a:lnTo>
                  <a:lnTo>
                    <a:pt x="232" y="539"/>
                  </a:lnTo>
                  <a:lnTo>
                    <a:pt x="230" y="538"/>
                  </a:lnTo>
                  <a:lnTo>
                    <a:pt x="229" y="536"/>
                  </a:lnTo>
                  <a:lnTo>
                    <a:pt x="227" y="536"/>
                  </a:lnTo>
                  <a:lnTo>
                    <a:pt x="217" y="533"/>
                  </a:lnTo>
                  <a:lnTo>
                    <a:pt x="215" y="532"/>
                  </a:lnTo>
                  <a:lnTo>
                    <a:pt x="212" y="531"/>
                  </a:lnTo>
                  <a:lnTo>
                    <a:pt x="210" y="529"/>
                  </a:lnTo>
                  <a:lnTo>
                    <a:pt x="209" y="527"/>
                  </a:lnTo>
                  <a:lnTo>
                    <a:pt x="207" y="525"/>
                  </a:lnTo>
                  <a:lnTo>
                    <a:pt x="207" y="523"/>
                  </a:lnTo>
                  <a:lnTo>
                    <a:pt x="205" y="517"/>
                  </a:lnTo>
                  <a:lnTo>
                    <a:pt x="204" y="515"/>
                  </a:lnTo>
                  <a:lnTo>
                    <a:pt x="204" y="513"/>
                  </a:lnTo>
                  <a:lnTo>
                    <a:pt x="203" y="512"/>
                  </a:lnTo>
                  <a:lnTo>
                    <a:pt x="202" y="511"/>
                  </a:lnTo>
                  <a:lnTo>
                    <a:pt x="201" y="511"/>
                  </a:lnTo>
                  <a:lnTo>
                    <a:pt x="199" y="510"/>
                  </a:lnTo>
                  <a:lnTo>
                    <a:pt x="197" y="510"/>
                  </a:lnTo>
                  <a:lnTo>
                    <a:pt x="191" y="509"/>
                  </a:lnTo>
                  <a:lnTo>
                    <a:pt x="188" y="509"/>
                  </a:lnTo>
                  <a:lnTo>
                    <a:pt x="180" y="507"/>
                  </a:lnTo>
                  <a:lnTo>
                    <a:pt x="169" y="505"/>
                  </a:lnTo>
                  <a:lnTo>
                    <a:pt x="165" y="504"/>
                  </a:lnTo>
                  <a:lnTo>
                    <a:pt x="163" y="503"/>
                  </a:lnTo>
                  <a:lnTo>
                    <a:pt x="162" y="502"/>
                  </a:lnTo>
                  <a:lnTo>
                    <a:pt x="159" y="501"/>
                  </a:lnTo>
                  <a:lnTo>
                    <a:pt x="158" y="500"/>
                  </a:lnTo>
                  <a:lnTo>
                    <a:pt x="157" y="499"/>
                  </a:lnTo>
                  <a:lnTo>
                    <a:pt x="156" y="497"/>
                  </a:lnTo>
                  <a:lnTo>
                    <a:pt x="152" y="492"/>
                  </a:lnTo>
                  <a:lnTo>
                    <a:pt x="150" y="489"/>
                  </a:lnTo>
                  <a:lnTo>
                    <a:pt x="148" y="487"/>
                  </a:lnTo>
                  <a:lnTo>
                    <a:pt x="143" y="483"/>
                  </a:lnTo>
                  <a:lnTo>
                    <a:pt x="138" y="479"/>
                  </a:lnTo>
                  <a:lnTo>
                    <a:pt x="136" y="477"/>
                  </a:lnTo>
                  <a:lnTo>
                    <a:pt x="134" y="474"/>
                  </a:lnTo>
                  <a:lnTo>
                    <a:pt x="132" y="471"/>
                  </a:lnTo>
                  <a:lnTo>
                    <a:pt x="130" y="467"/>
                  </a:lnTo>
                  <a:lnTo>
                    <a:pt x="129" y="463"/>
                  </a:lnTo>
                  <a:lnTo>
                    <a:pt x="127" y="455"/>
                  </a:lnTo>
                  <a:lnTo>
                    <a:pt x="125" y="452"/>
                  </a:lnTo>
                  <a:lnTo>
                    <a:pt x="124" y="447"/>
                  </a:lnTo>
                  <a:lnTo>
                    <a:pt x="121" y="443"/>
                  </a:lnTo>
                  <a:lnTo>
                    <a:pt x="119" y="439"/>
                  </a:lnTo>
                  <a:lnTo>
                    <a:pt x="114" y="432"/>
                  </a:lnTo>
                  <a:lnTo>
                    <a:pt x="112" y="430"/>
                  </a:lnTo>
                  <a:lnTo>
                    <a:pt x="107" y="426"/>
                  </a:lnTo>
                  <a:lnTo>
                    <a:pt x="105" y="424"/>
                  </a:lnTo>
                  <a:lnTo>
                    <a:pt x="104" y="422"/>
                  </a:lnTo>
                  <a:lnTo>
                    <a:pt x="102" y="420"/>
                  </a:lnTo>
                  <a:lnTo>
                    <a:pt x="101" y="417"/>
                  </a:lnTo>
                  <a:lnTo>
                    <a:pt x="100" y="416"/>
                  </a:lnTo>
                  <a:lnTo>
                    <a:pt x="99" y="414"/>
                  </a:lnTo>
                  <a:lnTo>
                    <a:pt x="99" y="412"/>
                  </a:lnTo>
                  <a:lnTo>
                    <a:pt x="99" y="410"/>
                  </a:lnTo>
                  <a:lnTo>
                    <a:pt x="99" y="407"/>
                  </a:lnTo>
                  <a:lnTo>
                    <a:pt x="98" y="404"/>
                  </a:lnTo>
                  <a:lnTo>
                    <a:pt x="97" y="402"/>
                  </a:lnTo>
                  <a:lnTo>
                    <a:pt x="97" y="399"/>
                  </a:lnTo>
                  <a:lnTo>
                    <a:pt x="94" y="392"/>
                  </a:lnTo>
                  <a:lnTo>
                    <a:pt x="92" y="384"/>
                  </a:lnTo>
                  <a:lnTo>
                    <a:pt x="89" y="379"/>
                  </a:lnTo>
                  <a:lnTo>
                    <a:pt x="87" y="374"/>
                  </a:lnTo>
                  <a:lnTo>
                    <a:pt x="79" y="361"/>
                  </a:lnTo>
                  <a:lnTo>
                    <a:pt x="77" y="357"/>
                  </a:lnTo>
                  <a:lnTo>
                    <a:pt x="75" y="353"/>
                  </a:lnTo>
                  <a:lnTo>
                    <a:pt x="72" y="349"/>
                  </a:lnTo>
                  <a:lnTo>
                    <a:pt x="69" y="345"/>
                  </a:lnTo>
                  <a:lnTo>
                    <a:pt x="64" y="339"/>
                  </a:lnTo>
                  <a:lnTo>
                    <a:pt x="57" y="332"/>
                  </a:lnTo>
                  <a:lnTo>
                    <a:pt x="55" y="330"/>
                  </a:lnTo>
                  <a:lnTo>
                    <a:pt x="54" y="328"/>
                  </a:lnTo>
                  <a:lnTo>
                    <a:pt x="53" y="326"/>
                  </a:lnTo>
                  <a:lnTo>
                    <a:pt x="52" y="324"/>
                  </a:lnTo>
                  <a:lnTo>
                    <a:pt x="51" y="322"/>
                  </a:lnTo>
                  <a:lnTo>
                    <a:pt x="51" y="320"/>
                  </a:lnTo>
                  <a:lnTo>
                    <a:pt x="50" y="317"/>
                  </a:lnTo>
                  <a:lnTo>
                    <a:pt x="50" y="313"/>
                  </a:lnTo>
                  <a:lnTo>
                    <a:pt x="52" y="306"/>
                  </a:lnTo>
                  <a:lnTo>
                    <a:pt x="53" y="295"/>
                  </a:lnTo>
                  <a:lnTo>
                    <a:pt x="54" y="292"/>
                  </a:lnTo>
                  <a:lnTo>
                    <a:pt x="55" y="288"/>
                  </a:lnTo>
                  <a:lnTo>
                    <a:pt x="58" y="280"/>
                  </a:lnTo>
                  <a:lnTo>
                    <a:pt x="59" y="277"/>
                  </a:lnTo>
                  <a:lnTo>
                    <a:pt x="60" y="274"/>
                  </a:lnTo>
                  <a:lnTo>
                    <a:pt x="61" y="269"/>
                  </a:lnTo>
                  <a:lnTo>
                    <a:pt x="61" y="267"/>
                  </a:lnTo>
                  <a:lnTo>
                    <a:pt x="62" y="264"/>
                  </a:lnTo>
                  <a:lnTo>
                    <a:pt x="65" y="260"/>
                  </a:lnTo>
                  <a:lnTo>
                    <a:pt x="66" y="259"/>
                  </a:lnTo>
                  <a:lnTo>
                    <a:pt x="66" y="258"/>
                  </a:lnTo>
                  <a:lnTo>
                    <a:pt x="67" y="257"/>
                  </a:lnTo>
                  <a:lnTo>
                    <a:pt x="67" y="255"/>
                  </a:lnTo>
                  <a:lnTo>
                    <a:pt x="67" y="253"/>
                  </a:lnTo>
                  <a:lnTo>
                    <a:pt x="66" y="249"/>
                  </a:lnTo>
                  <a:lnTo>
                    <a:pt x="66" y="247"/>
                  </a:lnTo>
                  <a:lnTo>
                    <a:pt x="67" y="245"/>
                  </a:lnTo>
                  <a:lnTo>
                    <a:pt x="68" y="240"/>
                  </a:lnTo>
                  <a:lnTo>
                    <a:pt x="69" y="239"/>
                  </a:lnTo>
                  <a:lnTo>
                    <a:pt x="69" y="237"/>
                  </a:lnTo>
                  <a:lnTo>
                    <a:pt x="68" y="236"/>
                  </a:lnTo>
                  <a:lnTo>
                    <a:pt x="68" y="235"/>
                  </a:lnTo>
                  <a:lnTo>
                    <a:pt x="67" y="232"/>
                  </a:lnTo>
                  <a:lnTo>
                    <a:pt x="65" y="230"/>
                  </a:lnTo>
                  <a:lnTo>
                    <a:pt x="64" y="230"/>
                  </a:lnTo>
                  <a:lnTo>
                    <a:pt x="63" y="228"/>
                  </a:lnTo>
                  <a:lnTo>
                    <a:pt x="59" y="225"/>
                  </a:lnTo>
                  <a:lnTo>
                    <a:pt x="57" y="223"/>
                  </a:lnTo>
                  <a:lnTo>
                    <a:pt x="55" y="222"/>
                  </a:lnTo>
                  <a:lnTo>
                    <a:pt x="54" y="220"/>
                  </a:lnTo>
                  <a:lnTo>
                    <a:pt x="54" y="219"/>
                  </a:lnTo>
                  <a:lnTo>
                    <a:pt x="54" y="217"/>
                  </a:lnTo>
                  <a:lnTo>
                    <a:pt x="55" y="216"/>
                  </a:lnTo>
                  <a:lnTo>
                    <a:pt x="57" y="214"/>
                  </a:lnTo>
                  <a:lnTo>
                    <a:pt x="57" y="212"/>
                  </a:lnTo>
                  <a:lnTo>
                    <a:pt x="57" y="210"/>
                  </a:lnTo>
                  <a:lnTo>
                    <a:pt x="57" y="208"/>
                  </a:lnTo>
                  <a:lnTo>
                    <a:pt x="56" y="206"/>
                  </a:lnTo>
                  <a:lnTo>
                    <a:pt x="53" y="199"/>
                  </a:lnTo>
                  <a:lnTo>
                    <a:pt x="52" y="195"/>
                  </a:lnTo>
                  <a:lnTo>
                    <a:pt x="51" y="192"/>
                  </a:lnTo>
                  <a:lnTo>
                    <a:pt x="50" y="187"/>
                  </a:lnTo>
                  <a:lnTo>
                    <a:pt x="49" y="185"/>
                  </a:lnTo>
                  <a:lnTo>
                    <a:pt x="48" y="182"/>
                  </a:lnTo>
                  <a:lnTo>
                    <a:pt x="45" y="177"/>
                  </a:lnTo>
                  <a:lnTo>
                    <a:pt x="44" y="175"/>
                  </a:lnTo>
                  <a:lnTo>
                    <a:pt x="43" y="172"/>
                  </a:lnTo>
                  <a:lnTo>
                    <a:pt x="43" y="172"/>
                  </a:lnTo>
                  <a:lnTo>
                    <a:pt x="42" y="170"/>
                  </a:lnTo>
                  <a:lnTo>
                    <a:pt x="42" y="169"/>
                  </a:lnTo>
                  <a:lnTo>
                    <a:pt x="43" y="167"/>
                  </a:lnTo>
                  <a:lnTo>
                    <a:pt x="43" y="167"/>
                  </a:lnTo>
                  <a:lnTo>
                    <a:pt x="44" y="164"/>
                  </a:lnTo>
                  <a:lnTo>
                    <a:pt x="46" y="162"/>
                  </a:lnTo>
                  <a:lnTo>
                    <a:pt x="48" y="160"/>
                  </a:lnTo>
                  <a:lnTo>
                    <a:pt x="49" y="158"/>
                  </a:lnTo>
                  <a:lnTo>
                    <a:pt x="51" y="157"/>
                  </a:lnTo>
                  <a:lnTo>
                    <a:pt x="53" y="157"/>
                  </a:lnTo>
                  <a:lnTo>
                    <a:pt x="57" y="155"/>
                  </a:lnTo>
                  <a:lnTo>
                    <a:pt x="59" y="154"/>
                  </a:lnTo>
                  <a:lnTo>
                    <a:pt x="61" y="152"/>
                  </a:lnTo>
                  <a:lnTo>
                    <a:pt x="63" y="150"/>
                  </a:lnTo>
                  <a:lnTo>
                    <a:pt x="64" y="148"/>
                  </a:lnTo>
                  <a:lnTo>
                    <a:pt x="66" y="145"/>
                  </a:lnTo>
                  <a:lnTo>
                    <a:pt x="67" y="142"/>
                  </a:lnTo>
                  <a:lnTo>
                    <a:pt x="69" y="140"/>
                  </a:lnTo>
                  <a:lnTo>
                    <a:pt x="69" y="138"/>
                  </a:lnTo>
                  <a:lnTo>
                    <a:pt x="69" y="136"/>
                  </a:lnTo>
                  <a:lnTo>
                    <a:pt x="69" y="135"/>
                  </a:lnTo>
                  <a:lnTo>
                    <a:pt x="69" y="134"/>
                  </a:lnTo>
                  <a:lnTo>
                    <a:pt x="69" y="132"/>
                  </a:lnTo>
                  <a:lnTo>
                    <a:pt x="68" y="132"/>
                  </a:lnTo>
                  <a:lnTo>
                    <a:pt x="67" y="131"/>
                  </a:lnTo>
                  <a:lnTo>
                    <a:pt x="67" y="131"/>
                  </a:lnTo>
                  <a:lnTo>
                    <a:pt x="66" y="130"/>
                  </a:lnTo>
                  <a:lnTo>
                    <a:pt x="62" y="130"/>
                  </a:lnTo>
                  <a:lnTo>
                    <a:pt x="60" y="129"/>
                  </a:lnTo>
                  <a:lnTo>
                    <a:pt x="59" y="128"/>
                  </a:lnTo>
                  <a:lnTo>
                    <a:pt x="57" y="127"/>
                  </a:lnTo>
                  <a:lnTo>
                    <a:pt x="53" y="122"/>
                  </a:lnTo>
                  <a:lnTo>
                    <a:pt x="53" y="121"/>
                  </a:lnTo>
                  <a:lnTo>
                    <a:pt x="52" y="120"/>
                  </a:lnTo>
                  <a:lnTo>
                    <a:pt x="52" y="118"/>
                  </a:lnTo>
                  <a:lnTo>
                    <a:pt x="52" y="117"/>
                  </a:lnTo>
                  <a:lnTo>
                    <a:pt x="52" y="116"/>
                  </a:lnTo>
                  <a:lnTo>
                    <a:pt x="52" y="115"/>
                  </a:lnTo>
                  <a:lnTo>
                    <a:pt x="54" y="114"/>
                  </a:lnTo>
                  <a:lnTo>
                    <a:pt x="54" y="113"/>
                  </a:lnTo>
                  <a:lnTo>
                    <a:pt x="54" y="112"/>
                  </a:lnTo>
                  <a:lnTo>
                    <a:pt x="54" y="112"/>
                  </a:lnTo>
                  <a:lnTo>
                    <a:pt x="53" y="111"/>
                  </a:lnTo>
                  <a:lnTo>
                    <a:pt x="52" y="110"/>
                  </a:lnTo>
                  <a:lnTo>
                    <a:pt x="50" y="110"/>
                  </a:lnTo>
                  <a:lnTo>
                    <a:pt x="49" y="109"/>
                  </a:lnTo>
                  <a:lnTo>
                    <a:pt x="46" y="108"/>
                  </a:lnTo>
                  <a:lnTo>
                    <a:pt x="44" y="108"/>
                  </a:lnTo>
                  <a:lnTo>
                    <a:pt x="43" y="107"/>
                  </a:lnTo>
                  <a:lnTo>
                    <a:pt x="41" y="106"/>
                  </a:lnTo>
                  <a:lnTo>
                    <a:pt x="39" y="105"/>
                  </a:lnTo>
                  <a:lnTo>
                    <a:pt x="37" y="102"/>
                  </a:lnTo>
                  <a:lnTo>
                    <a:pt x="34" y="97"/>
                  </a:lnTo>
                  <a:lnTo>
                    <a:pt x="33" y="97"/>
                  </a:lnTo>
                  <a:lnTo>
                    <a:pt x="32" y="96"/>
                  </a:lnTo>
                  <a:lnTo>
                    <a:pt x="30" y="95"/>
                  </a:lnTo>
                  <a:lnTo>
                    <a:pt x="27" y="92"/>
                  </a:lnTo>
                  <a:lnTo>
                    <a:pt x="25" y="91"/>
                  </a:lnTo>
                  <a:lnTo>
                    <a:pt x="22" y="90"/>
                  </a:lnTo>
                  <a:lnTo>
                    <a:pt x="19" y="89"/>
                  </a:lnTo>
                  <a:lnTo>
                    <a:pt x="17" y="87"/>
                  </a:lnTo>
                  <a:lnTo>
                    <a:pt x="14" y="87"/>
                  </a:lnTo>
                  <a:lnTo>
                    <a:pt x="5" y="86"/>
                  </a:lnTo>
                  <a:lnTo>
                    <a:pt x="3" y="85"/>
                  </a:lnTo>
                  <a:lnTo>
                    <a:pt x="2" y="85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2" y="82"/>
                  </a:lnTo>
                  <a:lnTo>
                    <a:pt x="5" y="77"/>
                  </a:lnTo>
                  <a:lnTo>
                    <a:pt x="6" y="75"/>
                  </a:lnTo>
                  <a:lnTo>
                    <a:pt x="7" y="73"/>
                  </a:lnTo>
                  <a:lnTo>
                    <a:pt x="9" y="72"/>
                  </a:lnTo>
                  <a:lnTo>
                    <a:pt x="10" y="70"/>
                  </a:lnTo>
                  <a:lnTo>
                    <a:pt x="12" y="70"/>
                  </a:lnTo>
                  <a:lnTo>
                    <a:pt x="15" y="68"/>
                  </a:lnTo>
                  <a:lnTo>
                    <a:pt x="17" y="67"/>
                  </a:lnTo>
                  <a:lnTo>
                    <a:pt x="19" y="67"/>
                  </a:lnTo>
                  <a:lnTo>
                    <a:pt x="22" y="67"/>
                  </a:lnTo>
                  <a:lnTo>
                    <a:pt x="29" y="67"/>
                  </a:lnTo>
                  <a:lnTo>
                    <a:pt x="32" y="67"/>
                  </a:lnTo>
                  <a:lnTo>
                    <a:pt x="34" y="66"/>
                  </a:lnTo>
                  <a:lnTo>
                    <a:pt x="37" y="65"/>
                  </a:lnTo>
                  <a:lnTo>
                    <a:pt x="39" y="65"/>
                  </a:lnTo>
                  <a:lnTo>
                    <a:pt x="42" y="63"/>
                  </a:lnTo>
                  <a:lnTo>
                    <a:pt x="44" y="61"/>
                  </a:lnTo>
                  <a:lnTo>
                    <a:pt x="48" y="57"/>
                  </a:lnTo>
                  <a:lnTo>
                    <a:pt x="49" y="56"/>
                  </a:lnTo>
                  <a:lnTo>
                    <a:pt x="51" y="55"/>
                  </a:lnTo>
                  <a:lnTo>
                    <a:pt x="52" y="55"/>
                  </a:lnTo>
                  <a:lnTo>
                    <a:pt x="53" y="55"/>
                  </a:lnTo>
                  <a:lnTo>
                    <a:pt x="55" y="55"/>
                  </a:lnTo>
                  <a:lnTo>
                    <a:pt x="57" y="55"/>
                  </a:lnTo>
                  <a:lnTo>
                    <a:pt x="59" y="55"/>
                  </a:lnTo>
                  <a:lnTo>
                    <a:pt x="59" y="54"/>
                  </a:lnTo>
                  <a:lnTo>
                    <a:pt x="61" y="53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3" y="50"/>
                  </a:lnTo>
                  <a:lnTo>
                    <a:pt x="64" y="47"/>
                  </a:lnTo>
                  <a:lnTo>
                    <a:pt x="67" y="43"/>
                  </a:lnTo>
                  <a:lnTo>
                    <a:pt x="69" y="41"/>
                  </a:lnTo>
                  <a:lnTo>
                    <a:pt x="70" y="37"/>
                  </a:lnTo>
                  <a:lnTo>
                    <a:pt x="72" y="32"/>
                  </a:lnTo>
                  <a:lnTo>
                    <a:pt x="73" y="30"/>
                  </a:lnTo>
                  <a:lnTo>
                    <a:pt x="74" y="25"/>
                  </a:lnTo>
                  <a:lnTo>
                    <a:pt x="74" y="23"/>
                  </a:lnTo>
                  <a:lnTo>
                    <a:pt x="76" y="21"/>
                  </a:lnTo>
                  <a:lnTo>
                    <a:pt x="77" y="20"/>
                  </a:lnTo>
                  <a:lnTo>
                    <a:pt x="79" y="18"/>
                  </a:lnTo>
                  <a:lnTo>
                    <a:pt x="82" y="17"/>
                  </a:lnTo>
                  <a:lnTo>
                    <a:pt x="96" y="10"/>
                  </a:lnTo>
                  <a:lnTo>
                    <a:pt x="102" y="7"/>
                  </a:lnTo>
                  <a:lnTo>
                    <a:pt x="105" y="5"/>
                  </a:lnTo>
                  <a:lnTo>
                    <a:pt x="108" y="5"/>
                  </a:lnTo>
                  <a:lnTo>
                    <a:pt x="119" y="1"/>
                  </a:lnTo>
                  <a:lnTo>
                    <a:pt x="120" y="1"/>
                  </a:lnTo>
                  <a:close/>
                </a:path>
              </a:pathLst>
            </a:custGeom>
            <a:solidFill>
              <a:srgbClr val="EFF3FF"/>
            </a:solidFill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103">
              <a:extLst>
                <a:ext uri="{FF2B5EF4-FFF2-40B4-BE49-F238E27FC236}">
                  <a16:creationId xmlns:a16="http://schemas.microsoft.com/office/drawing/2014/main" id="{C3F6A973-52B4-1B52-D1EA-C08D63B815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6961" y="4421025"/>
              <a:ext cx="774700" cy="1096963"/>
            </a:xfrm>
            <a:custGeom>
              <a:avLst/>
              <a:gdLst>
                <a:gd name="T0" fmla="*/ 351 w 488"/>
                <a:gd name="T1" fmla="*/ 8 h 691"/>
                <a:gd name="T2" fmla="*/ 404 w 488"/>
                <a:gd name="T3" fmla="*/ 43 h 691"/>
                <a:gd name="T4" fmla="*/ 426 w 488"/>
                <a:gd name="T5" fmla="*/ 36 h 691"/>
                <a:gd name="T6" fmla="*/ 440 w 488"/>
                <a:gd name="T7" fmla="*/ 58 h 691"/>
                <a:gd name="T8" fmla="*/ 469 w 488"/>
                <a:gd name="T9" fmla="*/ 92 h 691"/>
                <a:gd name="T10" fmla="*/ 488 w 488"/>
                <a:gd name="T11" fmla="*/ 103 h 691"/>
                <a:gd name="T12" fmla="*/ 480 w 488"/>
                <a:gd name="T13" fmla="*/ 125 h 691"/>
                <a:gd name="T14" fmla="*/ 466 w 488"/>
                <a:gd name="T15" fmla="*/ 138 h 691"/>
                <a:gd name="T16" fmla="*/ 481 w 488"/>
                <a:gd name="T17" fmla="*/ 177 h 691"/>
                <a:gd name="T18" fmla="*/ 474 w 488"/>
                <a:gd name="T19" fmla="*/ 228 h 691"/>
                <a:gd name="T20" fmla="*/ 464 w 488"/>
                <a:gd name="T21" fmla="*/ 270 h 691"/>
                <a:gd name="T22" fmla="*/ 453 w 488"/>
                <a:gd name="T23" fmla="*/ 325 h 691"/>
                <a:gd name="T24" fmla="*/ 476 w 488"/>
                <a:gd name="T25" fmla="*/ 350 h 691"/>
                <a:gd name="T26" fmla="*/ 468 w 488"/>
                <a:gd name="T27" fmla="*/ 382 h 691"/>
                <a:gd name="T28" fmla="*/ 478 w 488"/>
                <a:gd name="T29" fmla="*/ 416 h 691"/>
                <a:gd name="T30" fmla="*/ 466 w 488"/>
                <a:gd name="T31" fmla="*/ 423 h 691"/>
                <a:gd name="T32" fmla="*/ 429 w 488"/>
                <a:gd name="T33" fmla="*/ 439 h 691"/>
                <a:gd name="T34" fmla="*/ 444 w 488"/>
                <a:gd name="T35" fmla="*/ 464 h 691"/>
                <a:gd name="T36" fmla="*/ 429 w 488"/>
                <a:gd name="T37" fmla="*/ 513 h 691"/>
                <a:gd name="T38" fmla="*/ 393 w 488"/>
                <a:gd name="T39" fmla="*/ 539 h 691"/>
                <a:gd name="T40" fmla="*/ 338 w 488"/>
                <a:gd name="T41" fmla="*/ 538 h 691"/>
                <a:gd name="T42" fmla="*/ 324 w 488"/>
                <a:gd name="T43" fmla="*/ 545 h 691"/>
                <a:gd name="T44" fmla="*/ 338 w 488"/>
                <a:gd name="T45" fmla="*/ 584 h 691"/>
                <a:gd name="T46" fmla="*/ 364 w 488"/>
                <a:gd name="T47" fmla="*/ 604 h 691"/>
                <a:gd name="T48" fmla="*/ 347 w 488"/>
                <a:gd name="T49" fmla="*/ 638 h 691"/>
                <a:gd name="T50" fmla="*/ 362 w 488"/>
                <a:gd name="T51" fmla="*/ 669 h 691"/>
                <a:gd name="T52" fmla="*/ 377 w 488"/>
                <a:gd name="T53" fmla="*/ 691 h 691"/>
                <a:gd name="T54" fmla="*/ 350 w 488"/>
                <a:gd name="T55" fmla="*/ 679 h 691"/>
                <a:gd name="T56" fmla="*/ 319 w 488"/>
                <a:gd name="T57" fmla="*/ 681 h 691"/>
                <a:gd name="T58" fmla="*/ 293 w 488"/>
                <a:gd name="T59" fmla="*/ 657 h 691"/>
                <a:gd name="T60" fmla="*/ 263 w 488"/>
                <a:gd name="T61" fmla="*/ 649 h 691"/>
                <a:gd name="T62" fmla="*/ 220 w 488"/>
                <a:gd name="T63" fmla="*/ 624 h 691"/>
                <a:gd name="T64" fmla="*/ 194 w 488"/>
                <a:gd name="T65" fmla="*/ 594 h 691"/>
                <a:gd name="T66" fmla="*/ 168 w 488"/>
                <a:gd name="T67" fmla="*/ 554 h 691"/>
                <a:gd name="T68" fmla="*/ 124 w 488"/>
                <a:gd name="T69" fmla="*/ 530 h 691"/>
                <a:gd name="T70" fmla="*/ 87 w 488"/>
                <a:gd name="T71" fmla="*/ 512 h 691"/>
                <a:gd name="T72" fmla="*/ 62 w 488"/>
                <a:gd name="T73" fmla="*/ 472 h 691"/>
                <a:gd name="T74" fmla="*/ 28 w 488"/>
                <a:gd name="T75" fmla="*/ 475 h 691"/>
                <a:gd name="T76" fmla="*/ 16 w 488"/>
                <a:gd name="T77" fmla="*/ 453 h 691"/>
                <a:gd name="T78" fmla="*/ 1 w 488"/>
                <a:gd name="T79" fmla="*/ 397 h 691"/>
                <a:gd name="T80" fmla="*/ 25 w 488"/>
                <a:gd name="T81" fmla="*/ 367 h 691"/>
                <a:gd name="T82" fmla="*/ 45 w 488"/>
                <a:gd name="T83" fmla="*/ 345 h 691"/>
                <a:gd name="T84" fmla="*/ 48 w 488"/>
                <a:gd name="T85" fmla="*/ 304 h 691"/>
                <a:gd name="T86" fmla="*/ 55 w 488"/>
                <a:gd name="T87" fmla="*/ 274 h 691"/>
                <a:gd name="T88" fmla="*/ 64 w 488"/>
                <a:gd name="T89" fmla="*/ 232 h 691"/>
                <a:gd name="T90" fmla="*/ 64 w 488"/>
                <a:gd name="T91" fmla="*/ 198 h 691"/>
                <a:gd name="T92" fmla="*/ 52 w 488"/>
                <a:gd name="T93" fmla="*/ 160 h 691"/>
                <a:gd name="T94" fmla="*/ 63 w 488"/>
                <a:gd name="T95" fmla="*/ 124 h 691"/>
                <a:gd name="T96" fmla="*/ 73 w 488"/>
                <a:gd name="T97" fmla="*/ 100 h 691"/>
                <a:gd name="T98" fmla="*/ 103 w 488"/>
                <a:gd name="T99" fmla="*/ 99 h 691"/>
                <a:gd name="T100" fmla="*/ 147 w 488"/>
                <a:gd name="T101" fmla="*/ 110 h 691"/>
                <a:gd name="T102" fmla="*/ 176 w 488"/>
                <a:gd name="T103" fmla="*/ 95 h 691"/>
                <a:gd name="T104" fmla="*/ 172 w 488"/>
                <a:gd name="T105" fmla="*/ 122 h 691"/>
                <a:gd name="T106" fmla="*/ 198 w 488"/>
                <a:gd name="T107" fmla="*/ 131 h 691"/>
                <a:gd name="T108" fmla="*/ 230 w 488"/>
                <a:gd name="T109" fmla="*/ 142 h 691"/>
                <a:gd name="T110" fmla="*/ 269 w 488"/>
                <a:gd name="T111" fmla="*/ 103 h 691"/>
                <a:gd name="T112" fmla="*/ 304 w 488"/>
                <a:gd name="T113" fmla="*/ 85 h 691"/>
                <a:gd name="T114" fmla="*/ 300 w 488"/>
                <a:gd name="T115" fmla="*/ 48 h 691"/>
                <a:gd name="T116" fmla="*/ 311 w 488"/>
                <a:gd name="T117" fmla="*/ 22 h 691"/>
                <a:gd name="T118" fmla="*/ 339 w 488"/>
                <a:gd name="T119" fmla="*/ 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88" h="691">
                  <a:moveTo>
                    <a:pt x="339" y="0"/>
                  </a:moveTo>
                  <a:lnTo>
                    <a:pt x="340" y="0"/>
                  </a:lnTo>
                  <a:lnTo>
                    <a:pt x="341" y="0"/>
                  </a:lnTo>
                  <a:lnTo>
                    <a:pt x="342" y="1"/>
                  </a:lnTo>
                  <a:lnTo>
                    <a:pt x="343" y="2"/>
                  </a:lnTo>
                  <a:lnTo>
                    <a:pt x="344" y="3"/>
                  </a:lnTo>
                  <a:lnTo>
                    <a:pt x="344" y="3"/>
                  </a:lnTo>
                  <a:lnTo>
                    <a:pt x="344" y="3"/>
                  </a:lnTo>
                  <a:lnTo>
                    <a:pt x="345" y="4"/>
                  </a:lnTo>
                  <a:lnTo>
                    <a:pt x="347" y="5"/>
                  </a:lnTo>
                  <a:lnTo>
                    <a:pt x="351" y="8"/>
                  </a:lnTo>
                  <a:lnTo>
                    <a:pt x="366" y="15"/>
                  </a:lnTo>
                  <a:lnTo>
                    <a:pt x="370" y="18"/>
                  </a:lnTo>
                  <a:lnTo>
                    <a:pt x="374" y="20"/>
                  </a:lnTo>
                  <a:lnTo>
                    <a:pt x="378" y="23"/>
                  </a:lnTo>
                  <a:lnTo>
                    <a:pt x="381" y="25"/>
                  </a:lnTo>
                  <a:lnTo>
                    <a:pt x="384" y="28"/>
                  </a:lnTo>
                  <a:lnTo>
                    <a:pt x="391" y="34"/>
                  </a:lnTo>
                  <a:lnTo>
                    <a:pt x="395" y="38"/>
                  </a:lnTo>
                  <a:lnTo>
                    <a:pt x="398" y="39"/>
                  </a:lnTo>
                  <a:lnTo>
                    <a:pt x="400" y="41"/>
                  </a:lnTo>
                  <a:lnTo>
                    <a:pt x="404" y="43"/>
                  </a:lnTo>
                  <a:lnTo>
                    <a:pt x="406" y="44"/>
                  </a:lnTo>
                  <a:lnTo>
                    <a:pt x="407" y="45"/>
                  </a:lnTo>
                  <a:lnTo>
                    <a:pt x="409" y="45"/>
                  </a:lnTo>
                  <a:lnTo>
                    <a:pt x="409" y="45"/>
                  </a:lnTo>
                  <a:lnTo>
                    <a:pt x="411" y="44"/>
                  </a:lnTo>
                  <a:lnTo>
                    <a:pt x="412" y="43"/>
                  </a:lnTo>
                  <a:lnTo>
                    <a:pt x="416" y="40"/>
                  </a:lnTo>
                  <a:lnTo>
                    <a:pt x="419" y="39"/>
                  </a:lnTo>
                  <a:lnTo>
                    <a:pt x="421" y="38"/>
                  </a:lnTo>
                  <a:lnTo>
                    <a:pt x="424" y="37"/>
                  </a:lnTo>
                  <a:lnTo>
                    <a:pt x="426" y="36"/>
                  </a:lnTo>
                  <a:lnTo>
                    <a:pt x="427" y="36"/>
                  </a:lnTo>
                  <a:lnTo>
                    <a:pt x="428" y="37"/>
                  </a:lnTo>
                  <a:lnTo>
                    <a:pt x="429" y="38"/>
                  </a:lnTo>
                  <a:lnTo>
                    <a:pt x="431" y="38"/>
                  </a:lnTo>
                  <a:lnTo>
                    <a:pt x="431" y="38"/>
                  </a:lnTo>
                  <a:lnTo>
                    <a:pt x="431" y="39"/>
                  </a:lnTo>
                  <a:lnTo>
                    <a:pt x="432" y="40"/>
                  </a:lnTo>
                  <a:lnTo>
                    <a:pt x="434" y="43"/>
                  </a:lnTo>
                  <a:lnTo>
                    <a:pt x="436" y="49"/>
                  </a:lnTo>
                  <a:lnTo>
                    <a:pt x="437" y="53"/>
                  </a:lnTo>
                  <a:lnTo>
                    <a:pt x="440" y="58"/>
                  </a:lnTo>
                  <a:lnTo>
                    <a:pt x="444" y="66"/>
                  </a:lnTo>
                  <a:lnTo>
                    <a:pt x="448" y="74"/>
                  </a:lnTo>
                  <a:lnTo>
                    <a:pt x="452" y="81"/>
                  </a:lnTo>
                  <a:lnTo>
                    <a:pt x="454" y="83"/>
                  </a:lnTo>
                  <a:lnTo>
                    <a:pt x="456" y="85"/>
                  </a:lnTo>
                  <a:lnTo>
                    <a:pt x="457" y="87"/>
                  </a:lnTo>
                  <a:lnTo>
                    <a:pt x="459" y="88"/>
                  </a:lnTo>
                  <a:lnTo>
                    <a:pt x="463" y="90"/>
                  </a:lnTo>
                  <a:lnTo>
                    <a:pt x="464" y="91"/>
                  </a:lnTo>
                  <a:lnTo>
                    <a:pt x="466" y="91"/>
                  </a:lnTo>
                  <a:lnTo>
                    <a:pt x="469" y="92"/>
                  </a:lnTo>
                  <a:lnTo>
                    <a:pt x="470" y="92"/>
                  </a:lnTo>
                  <a:lnTo>
                    <a:pt x="472" y="92"/>
                  </a:lnTo>
                  <a:lnTo>
                    <a:pt x="474" y="92"/>
                  </a:lnTo>
                  <a:lnTo>
                    <a:pt x="476" y="92"/>
                  </a:lnTo>
                  <a:lnTo>
                    <a:pt x="478" y="92"/>
                  </a:lnTo>
                  <a:lnTo>
                    <a:pt x="480" y="91"/>
                  </a:lnTo>
                  <a:lnTo>
                    <a:pt x="482" y="91"/>
                  </a:lnTo>
                  <a:lnTo>
                    <a:pt x="486" y="89"/>
                  </a:lnTo>
                  <a:lnTo>
                    <a:pt x="486" y="90"/>
                  </a:lnTo>
                  <a:lnTo>
                    <a:pt x="486" y="92"/>
                  </a:lnTo>
                  <a:lnTo>
                    <a:pt x="488" y="103"/>
                  </a:lnTo>
                  <a:lnTo>
                    <a:pt x="488" y="107"/>
                  </a:lnTo>
                  <a:lnTo>
                    <a:pt x="488" y="110"/>
                  </a:lnTo>
                  <a:lnTo>
                    <a:pt x="488" y="112"/>
                  </a:lnTo>
                  <a:lnTo>
                    <a:pt x="488" y="113"/>
                  </a:lnTo>
                  <a:lnTo>
                    <a:pt x="488" y="115"/>
                  </a:lnTo>
                  <a:lnTo>
                    <a:pt x="487" y="117"/>
                  </a:lnTo>
                  <a:lnTo>
                    <a:pt x="486" y="120"/>
                  </a:lnTo>
                  <a:lnTo>
                    <a:pt x="485" y="121"/>
                  </a:lnTo>
                  <a:lnTo>
                    <a:pt x="483" y="122"/>
                  </a:lnTo>
                  <a:lnTo>
                    <a:pt x="482" y="123"/>
                  </a:lnTo>
                  <a:lnTo>
                    <a:pt x="480" y="125"/>
                  </a:lnTo>
                  <a:lnTo>
                    <a:pt x="476" y="126"/>
                  </a:lnTo>
                  <a:lnTo>
                    <a:pt x="473" y="127"/>
                  </a:lnTo>
                  <a:lnTo>
                    <a:pt x="471" y="128"/>
                  </a:lnTo>
                  <a:lnTo>
                    <a:pt x="469" y="129"/>
                  </a:lnTo>
                  <a:lnTo>
                    <a:pt x="468" y="130"/>
                  </a:lnTo>
                  <a:lnTo>
                    <a:pt x="467" y="132"/>
                  </a:lnTo>
                  <a:lnTo>
                    <a:pt x="466" y="132"/>
                  </a:lnTo>
                  <a:lnTo>
                    <a:pt x="466" y="135"/>
                  </a:lnTo>
                  <a:lnTo>
                    <a:pt x="466" y="135"/>
                  </a:lnTo>
                  <a:lnTo>
                    <a:pt x="466" y="137"/>
                  </a:lnTo>
                  <a:lnTo>
                    <a:pt x="466" y="138"/>
                  </a:lnTo>
                  <a:lnTo>
                    <a:pt x="467" y="140"/>
                  </a:lnTo>
                  <a:lnTo>
                    <a:pt x="469" y="142"/>
                  </a:lnTo>
                  <a:lnTo>
                    <a:pt x="474" y="152"/>
                  </a:lnTo>
                  <a:lnTo>
                    <a:pt x="476" y="154"/>
                  </a:lnTo>
                  <a:lnTo>
                    <a:pt x="476" y="157"/>
                  </a:lnTo>
                  <a:lnTo>
                    <a:pt x="478" y="160"/>
                  </a:lnTo>
                  <a:lnTo>
                    <a:pt x="478" y="162"/>
                  </a:lnTo>
                  <a:lnTo>
                    <a:pt x="479" y="165"/>
                  </a:lnTo>
                  <a:lnTo>
                    <a:pt x="480" y="169"/>
                  </a:lnTo>
                  <a:lnTo>
                    <a:pt x="481" y="174"/>
                  </a:lnTo>
                  <a:lnTo>
                    <a:pt x="481" y="177"/>
                  </a:lnTo>
                  <a:lnTo>
                    <a:pt x="481" y="181"/>
                  </a:lnTo>
                  <a:lnTo>
                    <a:pt x="479" y="190"/>
                  </a:lnTo>
                  <a:lnTo>
                    <a:pt x="479" y="193"/>
                  </a:lnTo>
                  <a:lnTo>
                    <a:pt x="478" y="197"/>
                  </a:lnTo>
                  <a:lnTo>
                    <a:pt x="479" y="203"/>
                  </a:lnTo>
                  <a:lnTo>
                    <a:pt x="479" y="207"/>
                  </a:lnTo>
                  <a:lnTo>
                    <a:pt x="478" y="212"/>
                  </a:lnTo>
                  <a:lnTo>
                    <a:pt x="478" y="215"/>
                  </a:lnTo>
                  <a:lnTo>
                    <a:pt x="477" y="219"/>
                  </a:lnTo>
                  <a:lnTo>
                    <a:pt x="476" y="223"/>
                  </a:lnTo>
                  <a:lnTo>
                    <a:pt x="474" y="228"/>
                  </a:lnTo>
                  <a:lnTo>
                    <a:pt x="470" y="237"/>
                  </a:lnTo>
                  <a:lnTo>
                    <a:pt x="467" y="247"/>
                  </a:lnTo>
                  <a:lnTo>
                    <a:pt x="464" y="255"/>
                  </a:lnTo>
                  <a:lnTo>
                    <a:pt x="463" y="257"/>
                  </a:lnTo>
                  <a:lnTo>
                    <a:pt x="463" y="259"/>
                  </a:lnTo>
                  <a:lnTo>
                    <a:pt x="462" y="260"/>
                  </a:lnTo>
                  <a:lnTo>
                    <a:pt x="463" y="262"/>
                  </a:lnTo>
                  <a:lnTo>
                    <a:pt x="464" y="265"/>
                  </a:lnTo>
                  <a:lnTo>
                    <a:pt x="464" y="267"/>
                  </a:lnTo>
                  <a:lnTo>
                    <a:pt x="464" y="268"/>
                  </a:lnTo>
                  <a:lnTo>
                    <a:pt x="464" y="270"/>
                  </a:lnTo>
                  <a:lnTo>
                    <a:pt x="461" y="280"/>
                  </a:lnTo>
                  <a:lnTo>
                    <a:pt x="459" y="288"/>
                  </a:lnTo>
                  <a:lnTo>
                    <a:pt x="458" y="292"/>
                  </a:lnTo>
                  <a:lnTo>
                    <a:pt x="456" y="298"/>
                  </a:lnTo>
                  <a:lnTo>
                    <a:pt x="454" y="305"/>
                  </a:lnTo>
                  <a:lnTo>
                    <a:pt x="453" y="308"/>
                  </a:lnTo>
                  <a:lnTo>
                    <a:pt x="452" y="312"/>
                  </a:lnTo>
                  <a:lnTo>
                    <a:pt x="451" y="317"/>
                  </a:lnTo>
                  <a:lnTo>
                    <a:pt x="451" y="321"/>
                  </a:lnTo>
                  <a:lnTo>
                    <a:pt x="452" y="323"/>
                  </a:lnTo>
                  <a:lnTo>
                    <a:pt x="453" y="325"/>
                  </a:lnTo>
                  <a:lnTo>
                    <a:pt x="453" y="327"/>
                  </a:lnTo>
                  <a:lnTo>
                    <a:pt x="454" y="328"/>
                  </a:lnTo>
                  <a:lnTo>
                    <a:pt x="454" y="329"/>
                  </a:lnTo>
                  <a:lnTo>
                    <a:pt x="455" y="331"/>
                  </a:lnTo>
                  <a:lnTo>
                    <a:pt x="457" y="334"/>
                  </a:lnTo>
                  <a:lnTo>
                    <a:pt x="460" y="337"/>
                  </a:lnTo>
                  <a:lnTo>
                    <a:pt x="464" y="339"/>
                  </a:lnTo>
                  <a:lnTo>
                    <a:pt x="470" y="344"/>
                  </a:lnTo>
                  <a:lnTo>
                    <a:pt x="472" y="347"/>
                  </a:lnTo>
                  <a:lnTo>
                    <a:pt x="474" y="348"/>
                  </a:lnTo>
                  <a:lnTo>
                    <a:pt x="476" y="350"/>
                  </a:lnTo>
                  <a:lnTo>
                    <a:pt x="478" y="353"/>
                  </a:lnTo>
                  <a:lnTo>
                    <a:pt x="481" y="357"/>
                  </a:lnTo>
                  <a:lnTo>
                    <a:pt x="481" y="359"/>
                  </a:lnTo>
                  <a:lnTo>
                    <a:pt x="481" y="360"/>
                  </a:lnTo>
                  <a:lnTo>
                    <a:pt x="481" y="361"/>
                  </a:lnTo>
                  <a:lnTo>
                    <a:pt x="481" y="362"/>
                  </a:lnTo>
                  <a:lnTo>
                    <a:pt x="481" y="363"/>
                  </a:lnTo>
                  <a:lnTo>
                    <a:pt x="473" y="374"/>
                  </a:lnTo>
                  <a:lnTo>
                    <a:pt x="470" y="377"/>
                  </a:lnTo>
                  <a:lnTo>
                    <a:pt x="469" y="379"/>
                  </a:lnTo>
                  <a:lnTo>
                    <a:pt x="468" y="382"/>
                  </a:lnTo>
                  <a:lnTo>
                    <a:pt x="467" y="384"/>
                  </a:lnTo>
                  <a:lnTo>
                    <a:pt x="466" y="385"/>
                  </a:lnTo>
                  <a:lnTo>
                    <a:pt x="466" y="387"/>
                  </a:lnTo>
                  <a:lnTo>
                    <a:pt x="466" y="389"/>
                  </a:lnTo>
                  <a:lnTo>
                    <a:pt x="467" y="392"/>
                  </a:lnTo>
                  <a:lnTo>
                    <a:pt x="467" y="394"/>
                  </a:lnTo>
                  <a:lnTo>
                    <a:pt x="469" y="397"/>
                  </a:lnTo>
                  <a:lnTo>
                    <a:pt x="471" y="401"/>
                  </a:lnTo>
                  <a:lnTo>
                    <a:pt x="476" y="412"/>
                  </a:lnTo>
                  <a:lnTo>
                    <a:pt x="477" y="414"/>
                  </a:lnTo>
                  <a:lnTo>
                    <a:pt x="478" y="416"/>
                  </a:lnTo>
                  <a:lnTo>
                    <a:pt x="478" y="417"/>
                  </a:lnTo>
                  <a:lnTo>
                    <a:pt x="478" y="419"/>
                  </a:lnTo>
                  <a:lnTo>
                    <a:pt x="478" y="420"/>
                  </a:lnTo>
                  <a:lnTo>
                    <a:pt x="478" y="421"/>
                  </a:lnTo>
                  <a:lnTo>
                    <a:pt x="477" y="422"/>
                  </a:lnTo>
                  <a:lnTo>
                    <a:pt x="476" y="422"/>
                  </a:lnTo>
                  <a:lnTo>
                    <a:pt x="474" y="422"/>
                  </a:lnTo>
                  <a:lnTo>
                    <a:pt x="472" y="422"/>
                  </a:lnTo>
                  <a:lnTo>
                    <a:pt x="469" y="422"/>
                  </a:lnTo>
                  <a:lnTo>
                    <a:pt x="467" y="422"/>
                  </a:lnTo>
                  <a:lnTo>
                    <a:pt x="466" y="423"/>
                  </a:lnTo>
                  <a:lnTo>
                    <a:pt x="463" y="424"/>
                  </a:lnTo>
                  <a:lnTo>
                    <a:pt x="460" y="425"/>
                  </a:lnTo>
                  <a:lnTo>
                    <a:pt x="447" y="427"/>
                  </a:lnTo>
                  <a:lnTo>
                    <a:pt x="442" y="429"/>
                  </a:lnTo>
                  <a:lnTo>
                    <a:pt x="439" y="430"/>
                  </a:lnTo>
                  <a:lnTo>
                    <a:pt x="436" y="432"/>
                  </a:lnTo>
                  <a:lnTo>
                    <a:pt x="433" y="434"/>
                  </a:lnTo>
                  <a:lnTo>
                    <a:pt x="431" y="435"/>
                  </a:lnTo>
                  <a:lnTo>
                    <a:pt x="430" y="436"/>
                  </a:lnTo>
                  <a:lnTo>
                    <a:pt x="429" y="437"/>
                  </a:lnTo>
                  <a:lnTo>
                    <a:pt x="429" y="439"/>
                  </a:lnTo>
                  <a:lnTo>
                    <a:pt x="429" y="440"/>
                  </a:lnTo>
                  <a:lnTo>
                    <a:pt x="430" y="442"/>
                  </a:lnTo>
                  <a:lnTo>
                    <a:pt x="431" y="445"/>
                  </a:lnTo>
                  <a:lnTo>
                    <a:pt x="432" y="447"/>
                  </a:lnTo>
                  <a:lnTo>
                    <a:pt x="434" y="449"/>
                  </a:lnTo>
                  <a:lnTo>
                    <a:pt x="439" y="455"/>
                  </a:lnTo>
                  <a:lnTo>
                    <a:pt x="441" y="459"/>
                  </a:lnTo>
                  <a:lnTo>
                    <a:pt x="443" y="460"/>
                  </a:lnTo>
                  <a:lnTo>
                    <a:pt x="444" y="462"/>
                  </a:lnTo>
                  <a:lnTo>
                    <a:pt x="444" y="463"/>
                  </a:lnTo>
                  <a:lnTo>
                    <a:pt x="444" y="464"/>
                  </a:lnTo>
                  <a:lnTo>
                    <a:pt x="444" y="466"/>
                  </a:lnTo>
                  <a:lnTo>
                    <a:pt x="444" y="467"/>
                  </a:lnTo>
                  <a:lnTo>
                    <a:pt x="444" y="469"/>
                  </a:lnTo>
                  <a:lnTo>
                    <a:pt x="442" y="473"/>
                  </a:lnTo>
                  <a:lnTo>
                    <a:pt x="441" y="477"/>
                  </a:lnTo>
                  <a:lnTo>
                    <a:pt x="436" y="485"/>
                  </a:lnTo>
                  <a:lnTo>
                    <a:pt x="435" y="488"/>
                  </a:lnTo>
                  <a:lnTo>
                    <a:pt x="433" y="494"/>
                  </a:lnTo>
                  <a:lnTo>
                    <a:pt x="432" y="497"/>
                  </a:lnTo>
                  <a:lnTo>
                    <a:pt x="431" y="502"/>
                  </a:lnTo>
                  <a:lnTo>
                    <a:pt x="429" y="513"/>
                  </a:lnTo>
                  <a:lnTo>
                    <a:pt x="429" y="516"/>
                  </a:lnTo>
                  <a:lnTo>
                    <a:pt x="428" y="518"/>
                  </a:lnTo>
                  <a:lnTo>
                    <a:pt x="427" y="519"/>
                  </a:lnTo>
                  <a:lnTo>
                    <a:pt x="426" y="521"/>
                  </a:lnTo>
                  <a:lnTo>
                    <a:pt x="424" y="522"/>
                  </a:lnTo>
                  <a:lnTo>
                    <a:pt x="422" y="524"/>
                  </a:lnTo>
                  <a:lnTo>
                    <a:pt x="415" y="528"/>
                  </a:lnTo>
                  <a:lnTo>
                    <a:pt x="407" y="533"/>
                  </a:lnTo>
                  <a:lnTo>
                    <a:pt x="404" y="534"/>
                  </a:lnTo>
                  <a:lnTo>
                    <a:pt x="397" y="538"/>
                  </a:lnTo>
                  <a:lnTo>
                    <a:pt x="393" y="539"/>
                  </a:lnTo>
                  <a:lnTo>
                    <a:pt x="389" y="541"/>
                  </a:lnTo>
                  <a:lnTo>
                    <a:pt x="374" y="544"/>
                  </a:lnTo>
                  <a:lnTo>
                    <a:pt x="371" y="545"/>
                  </a:lnTo>
                  <a:lnTo>
                    <a:pt x="367" y="545"/>
                  </a:lnTo>
                  <a:lnTo>
                    <a:pt x="364" y="545"/>
                  </a:lnTo>
                  <a:lnTo>
                    <a:pt x="359" y="544"/>
                  </a:lnTo>
                  <a:lnTo>
                    <a:pt x="355" y="544"/>
                  </a:lnTo>
                  <a:lnTo>
                    <a:pt x="351" y="542"/>
                  </a:lnTo>
                  <a:lnTo>
                    <a:pt x="346" y="541"/>
                  </a:lnTo>
                  <a:lnTo>
                    <a:pt x="340" y="539"/>
                  </a:lnTo>
                  <a:lnTo>
                    <a:pt x="338" y="538"/>
                  </a:lnTo>
                  <a:lnTo>
                    <a:pt x="336" y="537"/>
                  </a:lnTo>
                  <a:lnTo>
                    <a:pt x="334" y="537"/>
                  </a:lnTo>
                  <a:lnTo>
                    <a:pt x="332" y="537"/>
                  </a:lnTo>
                  <a:lnTo>
                    <a:pt x="331" y="538"/>
                  </a:lnTo>
                  <a:lnTo>
                    <a:pt x="329" y="538"/>
                  </a:lnTo>
                  <a:lnTo>
                    <a:pt x="328" y="539"/>
                  </a:lnTo>
                  <a:lnTo>
                    <a:pt x="326" y="539"/>
                  </a:lnTo>
                  <a:lnTo>
                    <a:pt x="325" y="541"/>
                  </a:lnTo>
                  <a:lnTo>
                    <a:pt x="324" y="542"/>
                  </a:lnTo>
                  <a:lnTo>
                    <a:pt x="324" y="544"/>
                  </a:lnTo>
                  <a:lnTo>
                    <a:pt x="324" y="545"/>
                  </a:lnTo>
                  <a:lnTo>
                    <a:pt x="324" y="547"/>
                  </a:lnTo>
                  <a:lnTo>
                    <a:pt x="324" y="548"/>
                  </a:lnTo>
                  <a:lnTo>
                    <a:pt x="324" y="550"/>
                  </a:lnTo>
                  <a:lnTo>
                    <a:pt x="324" y="554"/>
                  </a:lnTo>
                  <a:lnTo>
                    <a:pt x="326" y="563"/>
                  </a:lnTo>
                  <a:lnTo>
                    <a:pt x="328" y="566"/>
                  </a:lnTo>
                  <a:lnTo>
                    <a:pt x="330" y="571"/>
                  </a:lnTo>
                  <a:lnTo>
                    <a:pt x="332" y="576"/>
                  </a:lnTo>
                  <a:lnTo>
                    <a:pt x="335" y="580"/>
                  </a:lnTo>
                  <a:lnTo>
                    <a:pt x="336" y="582"/>
                  </a:lnTo>
                  <a:lnTo>
                    <a:pt x="338" y="584"/>
                  </a:lnTo>
                  <a:lnTo>
                    <a:pt x="340" y="586"/>
                  </a:lnTo>
                  <a:lnTo>
                    <a:pt x="341" y="587"/>
                  </a:lnTo>
                  <a:lnTo>
                    <a:pt x="344" y="589"/>
                  </a:lnTo>
                  <a:lnTo>
                    <a:pt x="349" y="592"/>
                  </a:lnTo>
                  <a:lnTo>
                    <a:pt x="351" y="593"/>
                  </a:lnTo>
                  <a:lnTo>
                    <a:pt x="356" y="596"/>
                  </a:lnTo>
                  <a:lnTo>
                    <a:pt x="359" y="599"/>
                  </a:lnTo>
                  <a:lnTo>
                    <a:pt x="361" y="600"/>
                  </a:lnTo>
                  <a:lnTo>
                    <a:pt x="362" y="601"/>
                  </a:lnTo>
                  <a:lnTo>
                    <a:pt x="363" y="603"/>
                  </a:lnTo>
                  <a:lnTo>
                    <a:pt x="364" y="604"/>
                  </a:lnTo>
                  <a:lnTo>
                    <a:pt x="364" y="607"/>
                  </a:lnTo>
                  <a:lnTo>
                    <a:pt x="364" y="609"/>
                  </a:lnTo>
                  <a:lnTo>
                    <a:pt x="364" y="611"/>
                  </a:lnTo>
                  <a:lnTo>
                    <a:pt x="364" y="614"/>
                  </a:lnTo>
                  <a:lnTo>
                    <a:pt x="363" y="616"/>
                  </a:lnTo>
                  <a:lnTo>
                    <a:pt x="361" y="618"/>
                  </a:lnTo>
                  <a:lnTo>
                    <a:pt x="353" y="626"/>
                  </a:lnTo>
                  <a:lnTo>
                    <a:pt x="351" y="630"/>
                  </a:lnTo>
                  <a:lnTo>
                    <a:pt x="349" y="633"/>
                  </a:lnTo>
                  <a:lnTo>
                    <a:pt x="348" y="635"/>
                  </a:lnTo>
                  <a:lnTo>
                    <a:pt x="347" y="638"/>
                  </a:lnTo>
                  <a:lnTo>
                    <a:pt x="346" y="641"/>
                  </a:lnTo>
                  <a:lnTo>
                    <a:pt x="347" y="644"/>
                  </a:lnTo>
                  <a:lnTo>
                    <a:pt x="347" y="645"/>
                  </a:lnTo>
                  <a:lnTo>
                    <a:pt x="348" y="647"/>
                  </a:lnTo>
                  <a:lnTo>
                    <a:pt x="349" y="651"/>
                  </a:lnTo>
                  <a:lnTo>
                    <a:pt x="350" y="653"/>
                  </a:lnTo>
                  <a:lnTo>
                    <a:pt x="351" y="655"/>
                  </a:lnTo>
                  <a:lnTo>
                    <a:pt x="352" y="657"/>
                  </a:lnTo>
                  <a:lnTo>
                    <a:pt x="355" y="661"/>
                  </a:lnTo>
                  <a:lnTo>
                    <a:pt x="359" y="666"/>
                  </a:lnTo>
                  <a:lnTo>
                    <a:pt x="362" y="669"/>
                  </a:lnTo>
                  <a:lnTo>
                    <a:pt x="369" y="676"/>
                  </a:lnTo>
                  <a:lnTo>
                    <a:pt x="376" y="681"/>
                  </a:lnTo>
                  <a:lnTo>
                    <a:pt x="376" y="682"/>
                  </a:lnTo>
                  <a:lnTo>
                    <a:pt x="378" y="684"/>
                  </a:lnTo>
                  <a:lnTo>
                    <a:pt x="379" y="685"/>
                  </a:lnTo>
                  <a:lnTo>
                    <a:pt x="379" y="686"/>
                  </a:lnTo>
                  <a:lnTo>
                    <a:pt x="379" y="688"/>
                  </a:lnTo>
                  <a:lnTo>
                    <a:pt x="379" y="689"/>
                  </a:lnTo>
                  <a:lnTo>
                    <a:pt x="379" y="689"/>
                  </a:lnTo>
                  <a:lnTo>
                    <a:pt x="378" y="690"/>
                  </a:lnTo>
                  <a:lnTo>
                    <a:pt x="377" y="691"/>
                  </a:lnTo>
                  <a:lnTo>
                    <a:pt x="376" y="691"/>
                  </a:lnTo>
                  <a:lnTo>
                    <a:pt x="374" y="691"/>
                  </a:lnTo>
                  <a:lnTo>
                    <a:pt x="372" y="691"/>
                  </a:lnTo>
                  <a:lnTo>
                    <a:pt x="371" y="690"/>
                  </a:lnTo>
                  <a:lnTo>
                    <a:pt x="369" y="689"/>
                  </a:lnTo>
                  <a:lnTo>
                    <a:pt x="361" y="684"/>
                  </a:lnTo>
                  <a:lnTo>
                    <a:pt x="359" y="682"/>
                  </a:lnTo>
                  <a:lnTo>
                    <a:pt x="356" y="681"/>
                  </a:lnTo>
                  <a:lnTo>
                    <a:pt x="355" y="680"/>
                  </a:lnTo>
                  <a:lnTo>
                    <a:pt x="353" y="679"/>
                  </a:lnTo>
                  <a:lnTo>
                    <a:pt x="350" y="679"/>
                  </a:lnTo>
                  <a:lnTo>
                    <a:pt x="348" y="678"/>
                  </a:lnTo>
                  <a:lnTo>
                    <a:pt x="346" y="678"/>
                  </a:lnTo>
                  <a:lnTo>
                    <a:pt x="344" y="678"/>
                  </a:lnTo>
                  <a:lnTo>
                    <a:pt x="341" y="678"/>
                  </a:lnTo>
                  <a:lnTo>
                    <a:pt x="339" y="678"/>
                  </a:lnTo>
                  <a:lnTo>
                    <a:pt x="335" y="679"/>
                  </a:lnTo>
                  <a:lnTo>
                    <a:pt x="329" y="681"/>
                  </a:lnTo>
                  <a:lnTo>
                    <a:pt x="326" y="681"/>
                  </a:lnTo>
                  <a:lnTo>
                    <a:pt x="324" y="681"/>
                  </a:lnTo>
                  <a:lnTo>
                    <a:pt x="321" y="681"/>
                  </a:lnTo>
                  <a:lnTo>
                    <a:pt x="319" y="681"/>
                  </a:lnTo>
                  <a:lnTo>
                    <a:pt x="317" y="681"/>
                  </a:lnTo>
                  <a:lnTo>
                    <a:pt x="314" y="681"/>
                  </a:lnTo>
                  <a:lnTo>
                    <a:pt x="313" y="680"/>
                  </a:lnTo>
                  <a:lnTo>
                    <a:pt x="311" y="679"/>
                  </a:lnTo>
                  <a:lnTo>
                    <a:pt x="309" y="678"/>
                  </a:lnTo>
                  <a:lnTo>
                    <a:pt x="308" y="676"/>
                  </a:lnTo>
                  <a:lnTo>
                    <a:pt x="306" y="674"/>
                  </a:lnTo>
                  <a:lnTo>
                    <a:pt x="304" y="671"/>
                  </a:lnTo>
                  <a:lnTo>
                    <a:pt x="298" y="664"/>
                  </a:lnTo>
                  <a:lnTo>
                    <a:pt x="295" y="659"/>
                  </a:lnTo>
                  <a:lnTo>
                    <a:pt x="293" y="657"/>
                  </a:lnTo>
                  <a:lnTo>
                    <a:pt x="290" y="655"/>
                  </a:lnTo>
                  <a:lnTo>
                    <a:pt x="288" y="654"/>
                  </a:lnTo>
                  <a:lnTo>
                    <a:pt x="285" y="651"/>
                  </a:lnTo>
                  <a:lnTo>
                    <a:pt x="283" y="650"/>
                  </a:lnTo>
                  <a:lnTo>
                    <a:pt x="280" y="649"/>
                  </a:lnTo>
                  <a:lnTo>
                    <a:pt x="277" y="649"/>
                  </a:lnTo>
                  <a:lnTo>
                    <a:pt x="274" y="648"/>
                  </a:lnTo>
                  <a:lnTo>
                    <a:pt x="272" y="648"/>
                  </a:lnTo>
                  <a:lnTo>
                    <a:pt x="270" y="648"/>
                  </a:lnTo>
                  <a:lnTo>
                    <a:pt x="268" y="648"/>
                  </a:lnTo>
                  <a:lnTo>
                    <a:pt x="263" y="649"/>
                  </a:lnTo>
                  <a:lnTo>
                    <a:pt x="262" y="649"/>
                  </a:lnTo>
                  <a:lnTo>
                    <a:pt x="262" y="648"/>
                  </a:lnTo>
                  <a:lnTo>
                    <a:pt x="261" y="647"/>
                  </a:lnTo>
                  <a:lnTo>
                    <a:pt x="252" y="644"/>
                  </a:lnTo>
                  <a:lnTo>
                    <a:pt x="247" y="642"/>
                  </a:lnTo>
                  <a:lnTo>
                    <a:pt x="239" y="639"/>
                  </a:lnTo>
                  <a:lnTo>
                    <a:pt x="236" y="636"/>
                  </a:lnTo>
                  <a:lnTo>
                    <a:pt x="232" y="634"/>
                  </a:lnTo>
                  <a:lnTo>
                    <a:pt x="228" y="631"/>
                  </a:lnTo>
                  <a:lnTo>
                    <a:pt x="225" y="629"/>
                  </a:lnTo>
                  <a:lnTo>
                    <a:pt x="220" y="624"/>
                  </a:lnTo>
                  <a:lnTo>
                    <a:pt x="219" y="622"/>
                  </a:lnTo>
                  <a:lnTo>
                    <a:pt x="217" y="621"/>
                  </a:lnTo>
                  <a:lnTo>
                    <a:pt x="212" y="618"/>
                  </a:lnTo>
                  <a:lnTo>
                    <a:pt x="210" y="617"/>
                  </a:lnTo>
                  <a:lnTo>
                    <a:pt x="209" y="616"/>
                  </a:lnTo>
                  <a:lnTo>
                    <a:pt x="207" y="614"/>
                  </a:lnTo>
                  <a:lnTo>
                    <a:pt x="201" y="607"/>
                  </a:lnTo>
                  <a:lnTo>
                    <a:pt x="199" y="606"/>
                  </a:lnTo>
                  <a:lnTo>
                    <a:pt x="198" y="604"/>
                  </a:lnTo>
                  <a:lnTo>
                    <a:pt x="197" y="601"/>
                  </a:lnTo>
                  <a:lnTo>
                    <a:pt x="194" y="594"/>
                  </a:lnTo>
                  <a:lnTo>
                    <a:pt x="193" y="593"/>
                  </a:lnTo>
                  <a:lnTo>
                    <a:pt x="192" y="591"/>
                  </a:lnTo>
                  <a:lnTo>
                    <a:pt x="190" y="589"/>
                  </a:lnTo>
                  <a:lnTo>
                    <a:pt x="184" y="583"/>
                  </a:lnTo>
                  <a:lnTo>
                    <a:pt x="177" y="575"/>
                  </a:lnTo>
                  <a:lnTo>
                    <a:pt x="175" y="573"/>
                  </a:lnTo>
                  <a:lnTo>
                    <a:pt x="174" y="571"/>
                  </a:lnTo>
                  <a:lnTo>
                    <a:pt x="172" y="568"/>
                  </a:lnTo>
                  <a:lnTo>
                    <a:pt x="171" y="565"/>
                  </a:lnTo>
                  <a:lnTo>
                    <a:pt x="170" y="562"/>
                  </a:lnTo>
                  <a:lnTo>
                    <a:pt x="168" y="554"/>
                  </a:lnTo>
                  <a:lnTo>
                    <a:pt x="166" y="550"/>
                  </a:lnTo>
                  <a:lnTo>
                    <a:pt x="165" y="548"/>
                  </a:lnTo>
                  <a:lnTo>
                    <a:pt x="164" y="546"/>
                  </a:lnTo>
                  <a:lnTo>
                    <a:pt x="162" y="544"/>
                  </a:lnTo>
                  <a:lnTo>
                    <a:pt x="161" y="543"/>
                  </a:lnTo>
                  <a:lnTo>
                    <a:pt x="159" y="542"/>
                  </a:lnTo>
                  <a:lnTo>
                    <a:pt x="158" y="542"/>
                  </a:lnTo>
                  <a:lnTo>
                    <a:pt x="154" y="540"/>
                  </a:lnTo>
                  <a:lnTo>
                    <a:pt x="152" y="539"/>
                  </a:lnTo>
                  <a:lnTo>
                    <a:pt x="142" y="537"/>
                  </a:lnTo>
                  <a:lnTo>
                    <a:pt x="124" y="530"/>
                  </a:lnTo>
                  <a:lnTo>
                    <a:pt x="118" y="529"/>
                  </a:lnTo>
                  <a:lnTo>
                    <a:pt x="108" y="527"/>
                  </a:lnTo>
                  <a:lnTo>
                    <a:pt x="104" y="526"/>
                  </a:lnTo>
                  <a:lnTo>
                    <a:pt x="102" y="525"/>
                  </a:lnTo>
                  <a:lnTo>
                    <a:pt x="100" y="524"/>
                  </a:lnTo>
                  <a:lnTo>
                    <a:pt x="99" y="523"/>
                  </a:lnTo>
                  <a:lnTo>
                    <a:pt x="97" y="522"/>
                  </a:lnTo>
                  <a:lnTo>
                    <a:pt x="94" y="520"/>
                  </a:lnTo>
                  <a:lnTo>
                    <a:pt x="92" y="518"/>
                  </a:lnTo>
                  <a:lnTo>
                    <a:pt x="90" y="516"/>
                  </a:lnTo>
                  <a:lnTo>
                    <a:pt x="87" y="512"/>
                  </a:lnTo>
                  <a:lnTo>
                    <a:pt x="84" y="509"/>
                  </a:lnTo>
                  <a:lnTo>
                    <a:pt x="78" y="500"/>
                  </a:lnTo>
                  <a:lnTo>
                    <a:pt x="77" y="498"/>
                  </a:lnTo>
                  <a:lnTo>
                    <a:pt x="75" y="495"/>
                  </a:lnTo>
                  <a:lnTo>
                    <a:pt x="73" y="489"/>
                  </a:lnTo>
                  <a:lnTo>
                    <a:pt x="72" y="486"/>
                  </a:lnTo>
                  <a:lnTo>
                    <a:pt x="69" y="482"/>
                  </a:lnTo>
                  <a:lnTo>
                    <a:pt x="68" y="479"/>
                  </a:lnTo>
                  <a:lnTo>
                    <a:pt x="67" y="477"/>
                  </a:lnTo>
                  <a:lnTo>
                    <a:pt x="64" y="474"/>
                  </a:lnTo>
                  <a:lnTo>
                    <a:pt x="62" y="472"/>
                  </a:lnTo>
                  <a:lnTo>
                    <a:pt x="59" y="471"/>
                  </a:lnTo>
                  <a:lnTo>
                    <a:pt x="57" y="469"/>
                  </a:lnTo>
                  <a:lnTo>
                    <a:pt x="55" y="468"/>
                  </a:lnTo>
                  <a:lnTo>
                    <a:pt x="53" y="468"/>
                  </a:lnTo>
                  <a:lnTo>
                    <a:pt x="49" y="467"/>
                  </a:lnTo>
                  <a:lnTo>
                    <a:pt x="47" y="468"/>
                  </a:lnTo>
                  <a:lnTo>
                    <a:pt x="43" y="469"/>
                  </a:lnTo>
                  <a:lnTo>
                    <a:pt x="39" y="469"/>
                  </a:lnTo>
                  <a:lnTo>
                    <a:pt x="36" y="472"/>
                  </a:lnTo>
                  <a:lnTo>
                    <a:pt x="30" y="474"/>
                  </a:lnTo>
                  <a:lnTo>
                    <a:pt x="28" y="475"/>
                  </a:lnTo>
                  <a:lnTo>
                    <a:pt x="27" y="475"/>
                  </a:lnTo>
                  <a:lnTo>
                    <a:pt x="25" y="475"/>
                  </a:lnTo>
                  <a:lnTo>
                    <a:pt x="25" y="475"/>
                  </a:lnTo>
                  <a:lnTo>
                    <a:pt x="23" y="474"/>
                  </a:lnTo>
                  <a:lnTo>
                    <a:pt x="22" y="473"/>
                  </a:lnTo>
                  <a:lnTo>
                    <a:pt x="22" y="472"/>
                  </a:lnTo>
                  <a:lnTo>
                    <a:pt x="21" y="470"/>
                  </a:lnTo>
                  <a:lnTo>
                    <a:pt x="20" y="468"/>
                  </a:lnTo>
                  <a:lnTo>
                    <a:pt x="20" y="466"/>
                  </a:lnTo>
                  <a:lnTo>
                    <a:pt x="17" y="458"/>
                  </a:lnTo>
                  <a:lnTo>
                    <a:pt x="16" y="453"/>
                  </a:lnTo>
                  <a:lnTo>
                    <a:pt x="14" y="447"/>
                  </a:lnTo>
                  <a:lnTo>
                    <a:pt x="10" y="439"/>
                  </a:lnTo>
                  <a:lnTo>
                    <a:pt x="9" y="434"/>
                  </a:lnTo>
                  <a:lnTo>
                    <a:pt x="7" y="430"/>
                  </a:lnTo>
                  <a:lnTo>
                    <a:pt x="5" y="420"/>
                  </a:lnTo>
                  <a:lnTo>
                    <a:pt x="2" y="413"/>
                  </a:lnTo>
                  <a:lnTo>
                    <a:pt x="1" y="408"/>
                  </a:lnTo>
                  <a:lnTo>
                    <a:pt x="0" y="401"/>
                  </a:lnTo>
                  <a:lnTo>
                    <a:pt x="0" y="397"/>
                  </a:lnTo>
                  <a:lnTo>
                    <a:pt x="0" y="397"/>
                  </a:lnTo>
                  <a:lnTo>
                    <a:pt x="1" y="397"/>
                  </a:lnTo>
                  <a:lnTo>
                    <a:pt x="2" y="397"/>
                  </a:lnTo>
                  <a:lnTo>
                    <a:pt x="2" y="396"/>
                  </a:lnTo>
                  <a:lnTo>
                    <a:pt x="5" y="395"/>
                  </a:lnTo>
                  <a:lnTo>
                    <a:pt x="7" y="393"/>
                  </a:lnTo>
                  <a:lnTo>
                    <a:pt x="10" y="390"/>
                  </a:lnTo>
                  <a:lnTo>
                    <a:pt x="13" y="386"/>
                  </a:lnTo>
                  <a:lnTo>
                    <a:pt x="19" y="379"/>
                  </a:lnTo>
                  <a:lnTo>
                    <a:pt x="22" y="374"/>
                  </a:lnTo>
                  <a:lnTo>
                    <a:pt x="24" y="372"/>
                  </a:lnTo>
                  <a:lnTo>
                    <a:pt x="25" y="369"/>
                  </a:lnTo>
                  <a:lnTo>
                    <a:pt x="25" y="367"/>
                  </a:lnTo>
                  <a:lnTo>
                    <a:pt x="26" y="362"/>
                  </a:lnTo>
                  <a:lnTo>
                    <a:pt x="27" y="358"/>
                  </a:lnTo>
                  <a:lnTo>
                    <a:pt x="28" y="355"/>
                  </a:lnTo>
                  <a:lnTo>
                    <a:pt x="30" y="353"/>
                  </a:lnTo>
                  <a:lnTo>
                    <a:pt x="31" y="352"/>
                  </a:lnTo>
                  <a:lnTo>
                    <a:pt x="32" y="351"/>
                  </a:lnTo>
                  <a:lnTo>
                    <a:pt x="34" y="350"/>
                  </a:lnTo>
                  <a:lnTo>
                    <a:pt x="36" y="349"/>
                  </a:lnTo>
                  <a:lnTo>
                    <a:pt x="39" y="347"/>
                  </a:lnTo>
                  <a:lnTo>
                    <a:pt x="44" y="346"/>
                  </a:lnTo>
                  <a:lnTo>
                    <a:pt x="45" y="345"/>
                  </a:lnTo>
                  <a:lnTo>
                    <a:pt x="46" y="344"/>
                  </a:lnTo>
                  <a:lnTo>
                    <a:pt x="48" y="343"/>
                  </a:lnTo>
                  <a:lnTo>
                    <a:pt x="50" y="340"/>
                  </a:lnTo>
                  <a:lnTo>
                    <a:pt x="51" y="337"/>
                  </a:lnTo>
                  <a:lnTo>
                    <a:pt x="52" y="335"/>
                  </a:lnTo>
                  <a:lnTo>
                    <a:pt x="52" y="331"/>
                  </a:lnTo>
                  <a:lnTo>
                    <a:pt x="52" y="326"/>
                  </a:lnTo>
                  <a:lnTo>
                    <a:pt x="52" y="322"/>
                  </a:lnTo>
                  <a:lnTo>
                    <a:pt x="52" y="317"/>
                  </a:lnTo>
                  <a:lnTo>
                    <a:pt x="51" y="312"/>
                  </a:lnTo>
                  <a:lnTo>
                    <a:pt x="48" y="304"/>
                  </a:lnTo>
                  <a:lnTo>
                    <a:pt x="47" y="300"/>
                  </a:lnTo>
                  <a:lnTo>
                    <a:pt x="42" y="289"/>
                  </a:lnTo>
                  <a:lnTo>
                    <a:pt x="42" y="287"/>
                  </a:lnTo>
                  <a:lnTo>
                    <a:pt x="42" y="285"/>
                  </a:lnTo>
                  <a:lnTo>
                    <a:pt x="42" y="284"/>
                  </a:lnTo>
                  <a:lnTo>
                    <a:pt x="42" y="283"/>
                  </a:lnTo>
                  <a:lnTo>
                    <a:pt x="43" y="282"/>
                  </a:lnTo>
                  <a:lnTo>
                    <a:pt x="50" y="278"/>
                  </a:lnTo>
                  <a:lnTo>
                    <a:pt x="52" y="277"/>
                  </a:lnTo>
                  <a:lnTo>
                    <a:pt x="54" y="275"/>
                  </a:lnTo>
                  <a:lnTo>
                    <a:pt x="55" y="274"/>
                  </a:lnTo>
                  <a:lnTo>
                    <a:pt x="56" y="272"/>
                  </a:lnTo>
                  <a:lnTo>
                    <a:pt x="57" y="270"/>
                  </a:lnTo>
                  <a:lnTo>
                    <a:pt x="59" y="267"/>
                  </a:lnTo>
                  <a:lnTo>
                    <a:pt x="59" y="265"/>
                  </a:lnTo>
                  <a:lnTo>
                    <a:pt x="60" y="261"/>
                  </a:lnTo>
                  <a:lnTo>
                    <a:pt x="60" y="257"/>
                  </a:lnTo>
                  <a:lnTo>
                    <a:pt x="60" y="249"/>
                  </a:lnTo>
                  <a:lnTo>
                    <a:pt x="61" y="244"/>
                  </a:lnTo>
                  <a:lnTo>
                    <a:pt x="62" y="242"/>
                  </a:lnTo>
                  <a:lnTo>
                    <a:pt x="62" y="238"/>
                  </a:lnTo>
                  <a:lnTo>
                    <a:pt x="64" y="232"/>
                  </a:lnTo>
                  <a:lnTo>
                    <a:pt x="64" y="230"/>
                  </a:lnTo>
                  <a:lnTo>
                    <a:pt x="64" y="226"/>
                  </a:lnTo>
                  <a:lnTo>
                    <a:pt x="64" y="219"/>
                  </a:lnTo>
                  <a:lnTo>
                    <a:pt x="64" y="216"/>
                  </a:lnTo>
                  <a:lnTo>
                    <a:pt x="65" y="214"/>
                  </a:lnTo>
                  <a:lnTo>
                    <a:pt x="66" y="210"/>
                  </a:lnTo>
                  <a:lnTo>
                    <a:pt x="67" y="207"/>
                  </a:lnTo>
                  <a:lnTo>
                    <a:pt x="67" y="205"/>
                  </a:lnTo>
                  <a:lnTo>
                    <a:pt x="67" y="203"/>
                  </a:lnTo>
                  <a:lnTo>
                    <a:pt x="66" y="201"/>
                  </a:lnTo>
                  <a:lnTo>
                    <a:pt x="64" y="198"/>
                  </a:lnTo>
                  <a:lnTo>
                    <a:pt x="63" y="196"/>
                  </a:lnTo>
                  <a:lnTo>
                    <a:pt x="59" y="190"/>
                  </a:lnTo>
                  <a:lnTo>
                    <a:pt x="57" y="188"/>
                  </a:lnTo>
                  <a:lnTo>
                    <a:pt x="55" y="185"/>
                  </a:lnTo>
                  <a:lnTo>
                    <a:pt x="54" y="182"/>
                  </a:lnTo>
                  <a:lnTo>
                    <a:pt x="54" y="181"/>
                  </a:lnTo>
                  <a:lnTo>
                    <a:pt x="53" y="178"/>
                  </a:lnTo>
                  <a:lnTo>
                    <a:pt x="52" y="174"/>
                  </a:lnTo>
                  <a:lnTo>
                    <a:pt x="53" y="167"/>
                  </a:lnTo>
                  <a:lnTo>
                    <a:pt x="53" y="162"/>
                  </a:lnTo>
                  <a:lnTo>
                    <a:pt x="52" y="160"/>
                  </a:lnTo>
                  <a:lnTo>
                    <a:pt x="51" y="153"/>
                  </a:lnTo>
                  <a:lnTo>
                    <a:pt x="51" y="151"/>
                  </a:lnTo>
                  <a:lnTo>
                    <a:pt x="50" y="150"/>
                  </a:lnTo>
                  <a:lnTo>
                    <a:pt x="51" y="147"/>
                  </a:lnTo>
                  <a:lnTo>
                    <a:pt x="51" y="145"/>
                  </a:lnTo>
                  <a:lnTo>
                    <a:pt x="52" y="143"/>
                  </a:lnTo>
                  <a:lnTo>
                    <a:pt x="52" y="141"/>
                  </a:lnTo>
                  <a:lnTo>
                    <a:pt x="54" y="139"/>
                  </a:lnTo>
                  <a:lnTo>
                    <a:pt x="57" y="135"/>
                  </a:lnTo>
                  <a:lnTo>
                    <a:pt x="59" y="130"/>
                  </a:lnTo>
                  <a:lnTo>
                    <a:pt x="63" y="124"/>
                  </a:lnTo>
                  <a:lnTo>
                    <a:pt x="64" y="120"/>
                  </a:lnTo>
                  <a:lnTo>
                    <a:pt x="65" y="118"/>
                  </a:lnTo>
                  <a:lnTo>
                    <a:pt x="66" y="115"/>
                  </a:lnTo>
                  <a:lnTo>
                    <a:pt x="66" y="114"/>
                  </a:lnTo>
                  <a:lnTo>
                    <a:pt x="66" y="113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7" y="109"/>
                  </a:lnTo>
                  <a:lnTo>
                    <a:pt x="68" y="107"/>
                  </a:lnTo>
                  <a:lnTo>
                    <a:pt x="71" y="102"/>
                  </a:lnTo>
                  <a:lnTo>
                    <a:pt x="73" y="100"/>
                  </a:lnTo>
                  <a:lnTo>
                    <a:pt x="75" y="98"/>
                  </a:lnTo>
                  <a:lnTo>
                    <a:pt x="77" y="97"/>
                  </a:lnTo>
                  <a:lnTo>
                    <a:pt x="78" y="96"/>
                  </a:lnTo>
                  <a:lnTo>
                    <a:pt x="79" y="95"/>
                  </a:lnTo>
                  <a:lnTo>
                    <a:pt x="82" y="95"/>
                  </a:lnTo>
                  <a:lnTo>
                    <a:pt x="84" y="95"/>
                  </a:lnTo>
                  <a:lnTo>
                    <a:pt x="91" y="97"/>
                  </a:lnTo>
                  <a:lnTo>
                    <a:pt x="97" y="97"/>
                  </a:lnTo>
                  <a:lnTo>
                    <a:pt x="100" y="98"/>
                  </a:lnTo>
                  <a:lnTo>
                    <a:pt x="102" y="98"/>
                  </a:lnTo>
                  <a:lnTo>
                    <a:pt x="103" y="99"/>
                  </a:lnTo>
                  <a:lnTo>
                    <a:pt x="107" y="103"/>
                  </a:lnTo>
                  <a:lnTo>
                    <a:pt x="110" y="105"/>
                  </a:lnTo>
                  <a:lnTo>
                    <a:pt x="113" y="106"/>
                  </a:lnTo>
                  <a:lnTo>
                    <a:pt x="118" y="107"/>
                  </a:lnTo>
                  <a:lnTo>
                    <a:pt x="121" y="108"/>
                  </a:lnTo>
                  <a:lnTo>
                    <a:pt x="126" y="108"/>
                  </a:lnTo>
                  <a:lnTo>
                    <a:pt x="128" y="108"/>
                  </a:lnTo>
                  <a:lnTo>
                    <a:pt x="138" y="110"/>
                  </a:lnTo>
                  <a:lnTo>
                    <a:pt x="142" y="110"/>
                  </a:lnTo>
                  <a:lnTo>
                    <a:pt x="145" y="110"/>
                  </a:lnTo>
                  <a:lnTo>
                    <a:pt x="147" y="110"/>
                  </a:lnTo>
                  <a:lnTo>
                    <a:pt x="149" y="110"/>
                  </a:lnTo>
                  <a:lnTo>
                    <a:pt x="150" y="110"/>
                  </a:lnTo>
                  <a:lnTo>
                    <a:pt x="154" y="108"/>
                  </a:lnTo>
                  <a:lnTo>
                    <a:pt x="156" y="108"/>
                  </a:lnTo>
                  <a:lnTo>
                    <a:pt x="159" y="107"/>
                  </a:lnTo>
                  <a:lnTo>
                    <a:pt x="160" y="107"/>
                  </a:lnTo>
                  <a:lnTo>
                    <a:pt x="162" y="107"/>
                  </a:lnTo>
                  <a:lnTo>
                    <a:pt x="168" y="103"/>
                  </a:lnTo>
                  <a:lnTo>
                    <a:pt x="170" y="101"/>
                  </a:lnTo>
                  <a:lnTo>
                    <a:pt x="173" y="99"/>
                  </a:lnTo>
                  <a:lnTo>
                    <a:pt x="176" y="95"/>
                  </a:lnTo>
                  <a:lnTo>
                    <a:pt x="176" y="96"/>
                  </a:lnTo>
                  <a:lnTo>
                    <a:pt x="176" y="98"/>
                  </a:lnTo>
                  <a:lnTo>
                    <a:pt x="175" y="101"/>
                  </a:lnTo>
                  <a:lnTo>
                    <a:pt x="173" y="107"/>
                  </a:lnTo>
                  <a:lnTo>
                    <a:pt x="172" y="110"/>
                  </a:lnTo>
                  <a:lnTo>
                    <a:pt x="171" y="114"/>
                  </a:lnTo>
                  <a:lnTo>
                    <a:pt x="170" y="116"/>
                  </a:lnTo>
                  <a:lnTo>
                    <a:pt x="170" y="119"/>
                  </a:lnTo>
                  <a:lnTo>
                    <a:pt x="170" y="120"/>
                  </a:lnTo>
                  <a:lnTo>
                    <a:pt x="171" y="121"/>
                  </a:lnTo>
                  <a:lnTo>
                    <a:pt x="172" y="122"/>
                  </a:lnTo>
                  <a:lnTo>
                    <a:pt x="172" y="123"/>
                  </a:lnTo>
                  <a:lnTo>
                    <a:pt x="172" y="124"/>
                  </a:lnTo>
                  <a:lnTo>
                    <a:pt x="174" y="125"/>
                  </a:lnTo>
                  <a:lnTo>
                    <a:pt x="174" y="126"/>
                  </a:lnTo>
                  <a:lnTo>
                    <a:pt x="177" y="127"/>
                  </a:lnTo>
                  <a:lnTo>
                    <a:pt x="178" y="127"/>
                  </a:lnTo>
                  <a:lnTo>
                    <a:pt x="179" y="128"/>
                  </a:lnTo>
                  <a:lnTo>
                    <a:pt x="182" y="128"/>
                  </a:lnTo>
                  <a:lnTo>
                    <a:pt x="190" y="130"/>
                  </a:lnTo>
                  <a:lnTo>
                    <a:pt x="194" y="130"/>
                  </a:lnTo>
                  <a:lnTo>
                    <a:pt x="198" y="131"/>
                  </a:lnTo>
                  <a:lnTo>
                    <a:pt x="203" y="132"/>
                  </a:lnTo>
                  <a:lnTo>
                    <a:pt x="208" y="134"/>
                  </a:lnTo>
                  <a:lnTo>
                    <a:pt x="212" y="136"/>
                  </a:lnTo>
                  <a:lnTo>
                    <a:pt x="215" y="138"/>
                  </a:lnTo>
                  <a:lnTo>
                    <a:pt x="221" y="142"/>
                  </a:lnTo>
                  <a:lnTo>
                    <a:pt x="223" y="143"/>
                  </a:lnTo>
                  <a:lnTo>
                    <a:pt x="224" y="143"/>
                  </a:lnTo>
                  <a:lnTo>
                    <a:pt x="226" y="144"/>
                  </a:lnTo>
                  <a:lnTo>
                    <a:pt x="227" y="143"/>
                  </a:lnTo>
                  <a:lnTo>
                    <a:pt x="229" y="143"/>
                  </a:lnTo>
                  <a:lnTo>
                    <a:pt x="230" y="142"/>
                  </a:lnTo>
                  <a:lnTo>
                    <a:pt x="232" y="140"/>
                  </a:lnTo>
                  <a:lnTo>
                    <a:pt x="233" y="138"/>
                  </a:lnTo>
                  <a:lnTo>
                    <a:pt x="236" y="133"/>
                  </a:lnTo>
                  <a:lnTo>
                    <a:pt x="237" y="131"/>
                  </a:lnTo>
                  <a:lnTo>
                    <a:pt x="240" y="127"/>
                  </a:lnTo>
                  <a:lnTo>
                    <a:pt x="243" y="124"/>
                  </a:lnTo>
                  <a:lnTo>
                    <a:pt x="246" y="121"/>
                  </a:lnTo>
                  <a:lnTo>
                    <a:pt x="248" y="119"/>
                  </a:lnTo>
                  <a:lnTo>
                    <a:pt x="257" y="112"/>
                  </a:lnTo>
                  <a:lnTo>
                    <a:pt x="264" y="107"/>
                  </a:lnTo>
                  <a:lnTo>
                    <a:pt x="269" y="103"/>
                  </a:lnTo>
                  <a:lnTo>
                    <a:pt x="273" y="101"/>
                  </a:lnTo>
                  <a:lnTo>
                    <a:pt x="275" y="100"/>
                  </a:lnTo>
                  <a:lnTo>
                    <a:pt x="277" y="100"/>
                  </a:lnTo>
                  <a:lnTo>
                    <a:pt x="287" y="97"/>
                  </a:lnTo>
                  <a:lnTo>
                    <a:pt x="292" y="95"/>
                  </a:lnTo>
                  <a:lnTo>
                    <a:pt x="296" y="93"/>
                  </a:lnTo>
                  <a:lnTo>
                    <a:pt x="299" y="91"/>
                  </a:lnTo>
                  <a:lnTo>
                    <a:pt x="301" y="90"/>
                  </a:lnTo>
                  <a:lnTo>
                    <a:pt x="303" y="88"/>
                  </a:lnTo>
                  <a:lnTo>
                    <a:pt x="304" y="87"/>
                  </a:lnTo>
                  <a:lnTo>
                    <a:pt x="304" y="85"/>
                  </a:lnTo>
                  <a:lnTo>
                    <a:pt x="305" y="83"/>
                  </a:lnTo>
                  <a:lnTo>
                    <a:pt x="305" y="82"/>
                  </a:lnTo>
                  <a:lnTo>
                    <a:pt x="304" y="78"/>
                  </a:lnTo>
                  <a:lnTo>
                    <a:pt x="302" y="72"/>
                  </a:lnTo>
                  <a:lnTo>
                    <a:pt x="301" y="66"/>
                  </a:lnTo>
                  <a:lnTo>
                    <a:pt x="299" y="62"/>
                  </a:lnTo>
                  <a:lnTo>
                    <a:pt x="299" y="59"/>
                  </a:lnTo>
                  <a:lnTo>
                    <a:pt x="299" y="56"/>
                  </a:lnTo>
                  <a:lnTo>
                    <a:pt x="299" y="53"/>
                  </a:lnTo>
                  <a:lnTo>
                    <a:pt x="299" y="50"/>
                  </a:lnTo>
                  <a:lnTo>
                    <a:pt x="300" y="48"/>
                  </a:lnTo>
                  <a:lnTo>
                    <a:pt x="301" y="43"/>
                  </a:lnTo>
                  <a:lnTo>
                    <a:pt x="302" y="40"/>
                  </a:lnTo>
                  <a:lnTo>
                    <a:pt x="303" y="38"/>
                  </a:lnTo>
                  <a:lnTo>
                    <a:pt x="303" y="34"/>
                  </a:lnTo>
                  <a:lnTo>
                    <a:pt x="303" y="31"/>
                  </a:lnTo>
                  <a:lnTo>
                    <a:pt x="304" y="30"/>
                  </a:lnTo>
                  <a:lnTo>
                    <a:pt x="304" y="29"/>
                  </a:lnTo>
                  <a:lnTo>
                    <a:pt x="305" y="26"/>
                  </a:lnTo>
                  <a:lnTo>
                    <a:pt x="306" y="25"/>
                  </a:lnTo>
                  <a:lnTo>
                    <a:pt x="307" y="24"/>
                  </a:lnTo>
                  <a:lnTo>
                    <a:pt x="311" y="22"/>
                  </a:lnTo>
                  <a:lnTo>
                    <a:pt x="313" y="20"/>
                  </a:lnTo>
                  <a:lnTo>
                    <a:pt x="314" y="18"/>
                  </a:lnTo>
                  <a:lnTo>
                    <a:pt x="316" y="14"/>
                  </a:lnTo>
                  <a:lnTo>
                    <a:pt x="319" y="12"/>
                  </a:lnTo>
                  <a:lnTo>
                    <a:pt x="321" y="9"/>
                  </a:lnTo>
                  <a:lnTo>
                    <a:pt x="326" y="6"/>
                  </a:lnTo>
                  <a:lnTo>
                    <a:pt x="330" y="4"/>
                  </a:lnTo>
                  <a:lnTo>
                    <a:pt x="334" y="1"/>
                  </a:lnTo>
                  <a:lnTo>
                    <a:pt x="336" y="0"/>
                  </a:lnTo>
                  <a:lnTo>
                    <a:pt x="339" y="0"/>
                  </a:lnTo>
                  <a:lnTo>
                    <a:pt x="339" y="0"/>
                  </a:lnTo>
                  <a:close/>
                </a:path>
              </a:pathLst>
            </a:custGeom>
            <a:solidFill>
              <a:srgbClr val="EFF3FF"/>
            </a:solidFill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99">
              <a:extLst>
                <a:ext uri="{FF2B5EF4-FFF2-40B4-BE49-F238E27FC236}">
                  <a16:creationId xmlns:a16="http://schemas.microsoft.com/office/drawing/2014/main" id="{20B8F650-83D3-7C3B-667D-3212921EAA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9861" y="5089363"/>
              <a:ext cx="1398588" cy="1208088"/>
            </a:xfrm>
            <a:custGeom>
              <a:avLst/>
              <a:gdLst>
                <a:gd name="T0" fmla="*/ 320 w 881"/>
                <a:gd name="T1" fmla="*/ 41 h 761"/>
                <a:gd name="T2" fmla="*/ 376 w 881"/>
                <a:gd name="T3" fmla="*/ 38 h 761"/>
                <a:gd name="T4" fmla="*/ 421 w 881"/>
                <a:gd name="T5" fmla="*/ 68 h 761"/>
                <a:gd name="T6" fmla="*/ 415 w 881"/>
                <a:gd name="T7" fmla="*/ 88 h 761"/>
                <a:gd name="T8" fmla="*/ 460 w 881"/>
                <a:gd name="T9" fmla="*/ 115 h 761"/>
                <a:gd name="T10" fmla="*/ 501 w 881"/>
                <a:gd name="T11" fmla="*/ 115 h 761"/>
                <a:gd name="T12" fmla="*/ 564 w 881"/>
                <a:gd name="T13" fmla="*/ 131 h 761"/>
                <a:gd name="T14" fmla="*/ 622 w 881"/>
                <a:gd name="T15" fmla="*/ 128 h 761"/>
                <a:gd name="T16" fmla="*/ 646 w 881"/>
                <a:gd name="T17" fmla="*/ 155 h 761"/>
                <a:gd name="T18" fmla="*/ 662 w 881"/>
                <a:gd name="T19" fmla="*/ 221 h 761"/>
                <a:gd name="T20" fmla="*/ 734 w 881"/>
                <a:gd name="T21" fmla="*/ 254 h 761"/>
                <a:gd name="T22" fmla="*/ 801 w 881"/>
                <a:gd name="T23" fmla="*/ 253 h 761"/>
                <a:gd name="T24" fmla="*/ 842 w 881"/>
                <a:gd name="T25" fmla="*/ 253 h 761"/>
                <a:gd name="T26" fmla="*/ 851 w 881"/>
                <a:gd name="T27" fmla="*/ 280 h 761"/>
                <a:gd name="T28" fmla="*/ 864 w 881"/>
                <a:gd name="T29" fmla="*/ 323 h 761"/>
                <a:gd name="T30" fmla="*/ 826 w 881"/>
                <a:gd name="T31" fmla="*/ 363 h 761"/>
                <a:gd name="T32" fmla="*/ 789 w 881"/>
                <a:gd name="T33" fmla="*/ 420 h 761"/>
                <a:gd name="T34" fmla="*/ 804 w 881"/>
                <a:gd name="T35" fmla="*/ 440 h 761"/>
                <a:gd name="T36" fmla="*/ 850 w 881"/>
                <a:gd name="T37" fmla="*/ 477 h 761"/>
                <a:gd name="T38" fmla="*/ 854 w 881"/>
                <a:gd name="T39" fmla="*/ 512 h 761"/>
                <a:gd name="T40" fmla="*/ 845 w 881"/>
                <a:gd name="T41" fmla="*/ 532 h 761"/>
                <a:gd name="T42" fmla="*/ 814 w 881"/>
                <a:gd name="T43" fmla="*/ 550 h 761"/>
                <a:gd name="T44" fmla="*/ 749 w 881"/>
                <a:gd name="T45" fmla="*/ 501 h 761"/>
                <a:gd name="T46" fmla="*/ 657 w 881"/>
                <a:gd name="T47" fmla="*/ 457 h 761"/>
                <a:gd name="T48" fmla="*/ 594 w 881"/>
                <a:gd name="T49" fmla="*/ 447 h 761"/>
                <a:gd name="T50" fmla="*/ 568 w 881"/>
                <a:gd name="T51" fmla="*/ 487 h 761"/>
                <a:gd name="T52" fmla="*/ 499 w 881"/>
                <a:gd name="T53" fmla="*/ 505 h 761"/>
                <a:gd name="T54" fmla="*/ 480 w 881"/>
                <a:gd name="T55" fmla="*/ 477 h 761"/>
                <a:gd name="T56" fmla="*/ 438 w 881"/>
                <a:gd name="T57" fmla="*/ 434 h 761"/>
                <a:gd name="T58" fmla="*/ 383 w 881"/>
                <a:gd name="T59" fmla="*/ 415 h 761"/>
                <a:gd name="T60" fmla="*/ 332 w 881"/>
                <a:gd name="T61" fmla="*/ 415 h 761"/>
                <a:gd name="T62" fmla="*/ 312 w 881"/>
                <a:gd name="T63" fmla="*/ 469 h 761"/>
                <a:gd name="T64" fmla="*/ 320 w 881"/>
                <a:gd name="T65" fmla="*/ 574 h 761"/>
                <a:gd name="T66" fmla="*/ 304 w 881"/>
                <a:gd name="T67" fmla="*/ 662 h 761"/>
                <a:gd name="T68" fmla="*/ 304 w 881"/>
                <a:gd name="T69" fmla="*/ 737 h 761"/>
                <a:gd name="T70" fmla="*/ 277 w 881"/>
                <a:gd name="T71" fmla="*/ 760 h 761"/>
                <a:gd name="T72" fmla="*/ 235 w 881"/>
                <a:gd name="T73" fmla="*/ 709 h 761"/>
                <a:gd name="T74" fmla="*/ 212 w 881"/>
                <a:gd name="T75" fmla="*/ 649 h 761"/>
                <a:gd name="T76" fmla="*/ 158 w 881"/>
                <a:gd name="T77" fmla="*/ 620 h 761"/>
                <a:gd name="T78" fmla="*/ 133 w 881"/>
                <a:gd name="T79" fmla="*/ 552 h 761"/>
                <a:gd name="T80" fmla="*/ 113 w 881"/>
                <a:gd name="T81" fmla="*/ 525 h 761"/>
                <a:gd name="T82" fmla="*/ 120 w 881"/>
                <a:gd name="T83" fmla="*/ 503 h 761"/>
                <a:gd name="T84" fmla="*/ 82 w 881"/>
                <a:gd name="T85" fmla="*/ 485 h 761"/>
                <a:gd name="T86" fmla="*/ 70 w 881"/>
                <a:gd name="T87" fmla="*/ 438 h 761"/>
                <a:gd name="T88" fmla="*/ 40 w 881"/>
                <a:gd name="T89" fmla="*/ 404 h 761"/>
                <a:gd name="T90" fmla="*/ 45 w 881"/>
                <a:gd name="T91" fmla="*/ 361 h 761"/>
                <a:gd name="T92" fmla="*/ 17 w 881"/>
                <a:gd name="T93" fmla="*/ 333 h 761"/>
                <a:gd name="T94" fmla="*/ 7 w 881"/>
                <a:gd name="T95" fmla="*/ 309 h 761"/>
                <a:gd name="T96" fmla="*/ 31 w 881"/>
                <a:gd name="T97" fmla="*/ 269 h 761"/>
                <a:gd name="T98" fmla="*/ 46 w 881"/>
                <a:gd name="T99" fmla="*/ 228 h 761"/>
                <a:gd name="T100" fmla="*/ 90 w 881"/>
                <a:gd name="T101" fmla="*/ 253 h 761"/>
                <a:gd name="T102" fmla="*/ 130 w 881"/>
                <a:gd name="T103" fmla="*/ 257 h 761"/>
                <a:gd name="T104" fmla="*/ 163 w 881"/>
                <a:gd name="T105" fmla="*/ 268 h 761"/>
                <a:gd name="T106" fmla="*/ 131 w 881"/>
                <a:gd name="T107" fmla="*/ 224 h 761"/>
                <a:gd name="T108" fmla="*/ 146 w 881"/>
                <a:gd name="T109" fmla="*/ 180 h 761"/>
                <a:gd name="T110" fmla="*/ 108 w 881"/>
                <a:gd name="T111" fmla="*/ 133 h 761"/>
                <a:gd name="T112" fmla="*/ 124 w 881"/>
                <a:gd name="T113" fmla="*/ 118 h 761"/>
                <a:gd name="T114" fmla="*/ 208 w 881"/>
                <a:gd name="T115" fmla="*/ 101 h 761"/>
                <a:gd name="T116" fmla="*/ 228 w 881"/>
                <a:gd name="T117" fmla="*/ 43 h 761"/>
                <a:gd name="T118" fmla="*/ 220 w 881"/>
                <a:gd name="T119" fmla="*/ 11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1" h="761">
                  <a:moveTo>
                    <a:pt x="263" y="0"/>
                  </a:moveTo>
                  <a:lnTo>
                    <a:pt x="266" y="1"/>
                  </a:lnTo>
                  <a:lnTo>
                    <a:pt x="269" y="3"/>
                  </a:lnTo>
                  <a:lnTo>
                    <a:pt x="272" y="6"/>
                  </a:lnTo>
                  <a:lnTo>
                    <a:pt x="275" y="8"/>
                  </a:lnTo>
                  <a:lnTo>
                    <a:pt x="277" y="10"/>
                  </a:lnTo>
                  <a:lnTo>
                    <a:pt x="286" y="18"/>
                  </a:lnTo>
                  <a:lnTo>
                    <a:pt x="290" y="22"/>
                  </a:lnTo>
                  <a:lnTo>
                    <a:pt x="303" y="34"/>
                  </a:lnTo>
                  <a:lnTo>
                    <a:pt x="306" y="36"/>
                  </a:lnTo>
                  <a:lnTo>
                    <a:pt x="309" y="38"/>
                  </a:lnTo>
                  <a:lnTo>
                    <a:pt x="310" y="39"/>
                  </a:lnTo>
                  <a:lnTo>
                    <a:pt x="312" y="41"/>
                  </a:lnTo>
                  <a:lnTo>
                    <a:pt x="315" y="41"/>
                  </a:lnTo>
                  <a:lnTo>
                    <a:pt x="317" y="41"/>
                  </a:lnTo>
                  <a:lnTo>
                    <a:pt x="320" y="41"/>
                  </a:lnTo>
                  <a:lnTo>
                    <a:pt x="323" y="41"/>
                  </a:lnTo>
                  <a:lnTo>
                    <a:pt x="325" y="40"/>
                  </a:lnTo>
                  <a:lnTo>
                    <a:pt x="327" y="39"/>
                  </a:lnTo>
                  <a:lnTo>
                    <a:pt x="340" y="33"/>
                  </a:lnTo>
                  <a:lnTo>
                    <a:pt x="343" y="31"/>
                  </a:lnTo>
                  <a:lnTo>
                    <a:pt x="346" y="30"/>
                  </a:lnTo>
                  <a:lnTo>
                    <a:pt x="350" y="28"/>
                  </a:lnTo>
                  <a:lnTo>
                    <a:pt x="353" y="28"/>
                  </a:lnTo>
                  <a:lnTo>
                    <a:pt x="356" y="28"/>
                  </a:lnTo>
                  <a:lnTo>
                    <a:pt x="358" y="28"/>
                  </a:lnTo>
                  <a:lnTo>
                    <a:pt x="360" y="28"/>
                  </a:lnTo>
                  <a:lnTo>
                    <a:pt x="362" y="28"/>
                  </a:lnTo>
                  <a:lnTo>
                    <a:pt x="365" y="30"/>
                  </a:lnTo>
                  <a:lnTo>
                    <a:pt x="367" y="31"/>
                  </a:lnTo>
                  <a:lnTo>
                    <a:pt x="370" y="33"/>
                  </a:lnTo>
                  <a:lnTo>
                    <a:pt x="376" y="38"/>
                  </a:lnTo>
                  <a:lnTo>
                    <a:pt x="380" y="41"/>
                  </a:lnTo>
                  <a:lnTo>
                    <a:pt x="385" y="45"/>
                  </a:lnTo>
                  <a:lnTo>
                    <a:pt x="389" y="47"/>
                  </a:lnTo>
                  <a:lnTo>
                    <a:pt x="391" y="48"/>
                  </a:lnTo>
                  <a:lnTo>
                    <a:pt x="394" y="49"/>
                  </a:lnTo>
                  <a:lnTo>
                    <a:pt x="405" y="53"/>
                  </a:lnTo>
                  <a:lnTo>
                    <a:pt x="409" y="55"/>
                  </a:lnTo>
                  <a:lnTo>
                    <a:pt x="412" y="56"/>
                  </a:lnTo>
                  <a:lnTo>
                    <a:pt x="415" y="57"/>
                  </a:lnTo>
                  <a:lnTo>
                    <a:pt x="417" y="58"/>
                  </a:lnTo>
                  <a:lnTo>
                    <a:pt x="418" y="60"/>
                  </a:lnTo>
                  <a:lnTo>
                    <a:pt x="419" y="61"/>
                  </a:lnTo>
                  <a:lnTo>
                    <a:pt x="420" y="62"/>
                  </a:lnTo>
                  <a:lnTo>
                    <a:pt x="420" y="64"/>
                  </a:lnTo>
                  <a:lnTo>
                    <a:pt x="421" y="66"/>
                  </a:lnTo>
                  <a:lnTo>
                    <a:pt x="421" y="68"/>
                  </a:lnTo>
                  <a:lnTo>
                    <a:pt x="421" y="69"/>
                  </a:lnTo>
                  <a:lnTo>
                    <a:pt x="420" y="71"/>
                  </a:lnTo>
                  <a:lnTo>
                    <a:pt x="420" y="74"/>
                  </a:lnTo>
                  <a:lnTo>
                    <a:pt x="419" y="76"/>
                  </a:lnTo>
                  <a:lnTo>
                    <a:pt x="418" y="77"/>
                  </a:lnTo>
                  <a:lnTo>
                    <a:pt x="417" y="78"/>
                  </a:lnTo>
                  <a:lnTo>
                    <a:pt x="416" y="80"/>
                  </a:lnTo>
                  <a:lnTo>
                    <a:pt x="414" y="81"/>
                  </a:lnTo>
                  <a:lnTo>
                    <a:pt x="411" y="83"/>
                  </a:lnTo>
                  <a:lnTo>
                    <a:pt x="410" y="83"/>
                  </a:lnTo>
                  <a:lnTo>
                    <a:pt x="410" y="84"/>
                  </a:lnTo>
                  <a:lnTo>
                    <a:pt x="410" y="85"/>
                  </a:lnTo>
                  <a:lnTo>
                    <a:pt x="410" y="86"/>
                  </a:lnTo>
                  <a:lnTo>
                    <a:pt x="411" y="87"/>
                  </a:lnTo>
                  <a:lnTo>
                    <a:pt x="412" y="88"/>
                  </a:lnTo>
                  <a:lnTo>
                    <a:pt x="415" y="88"/>
                  </a:lnTo>
                  <a:lnTo>
                    <a:pt x="418" y="89"/>
                  </a:lnTo>
                  <a:lnTo>
                    <a:pt x="420" y="90"/>
                  </a:lnTo>
                  <a:lnTo>
                    <a:pt x="422" y="91"/>
                  </a:lnTo>
                  <a:lnTo>
                    <a:pt x="430" y="91"/>
                  </a:lnTo>
                  <a:lnTo>
                    <a:pt x="434" y="92"/>
                  </a:lnTo>
                  <a:lnTo>
                    <a:pt x="436" y="93"/>
                  </a:lnTo>
                  <a:lnTo>
                    <a:pt x="438" y="93"/>
                  </a:lnTo>
                  <a:lnTo>
                    <a:pt x="440" y="94"/>
                  </a:lnTo>
                  <a:lnTo>
                    <a:pt x="442" y="95"/>
                  </a:lnTo>
                  <a:lnTo>
                    <a:pt x="443" y="96"/>
                  </a:lnTo>
                  <a:lnTo>
                    <a:pt x="445" y="98"/>
                  </a:lnTo>
                  <a:lnTo>
                    <a:pt x="447" y="99"/>
                  </a:lnTo>
                  <a:lnTo>
                    <a:pt x="449" y="101"/>
                  </a:lnTo>
                  <a:lnTo>
                    <a:pt x="452" y="105"/>
                  </a:lnTo>
                  <a:lnTo>
                    <a:pt x="458" y="113"/>
                  </a:lnTo>
                  <a:lnTo>
                    <a:pt x="460" y="115"/>
                  </a:lnTo>
                  <a:lnTo>
                    <a:pt x="462" y="116"/>
                  </a:lnTo>
                  <a:lnTo>
                    <a:pt x="463" y="118"/>
                  </a:lnTo>
                  <a:lnTo>
                    <a:pt x="465" y="119"/>
                  </a:lnTo>
                  <a:lnTo>
                    <a:pt x="467" y="121"/>
                  </a:lnTo>
                  <a:lnTo>
                    <a:pt x="469" y="121"/>
                  </a:lnTo>
                  <a:lnTo>
                    <a:pt x="472" y="123"/>
                  </a:lnTo>
                  <a:lnTo>
                    <a:pt x="475" y="123"/>
                  </a:lnTo>
                  <a:lnTo>
                    <a:pt x="476" y="123"/>
                  </a:lnTo>
                  <a:lnTo>
                    <a:pt x="478" y="123"/>
                  </a:lnTo>
                  <a:lnTo>
                    <a:pt x="480" y="123"/>
                  </a:lnTo>
                  <a:lnTo>
                    <a:pt x="482" y="123"/>
                  </a:lnTo>
                  <a:lnTo>
                    <a:pt x="484" y="123"/>
                  </a:lnTo>
                  <a:lnTo>
                    <a:pt x="487" y="122"/>
                  </a:lnTo>
                  <a:lnTo>
                    <a:pt x="490" y="121"/>
                  </a:lnTo>
                  <a:lnTo>
                    <a:pt x="493" y="119"/>
                  </a:lnTo>
                  <a:lnTo>
                    <a:pt x="501" y="115"/>
                  </a:lnTo>
                  <a:lnTo>
                    <a:pt x="504" y="113"/>
                  </a:lnTo>
                  <a:lnTo>
                    <a:pt x="507" y="113"/>
                  </a:lnTo>
                  <a:lnTo>
                    <a:pt x="508" y="112"/>
                  </a:lnTo>
                  <a:lnTo>
                    <a:pt x="510" y="112"/>
                  </a:lnTo>
                  <a:lnTo>
                    <a:pt x="512" y="112"/>
                  </a:lnTo>
                  <a:lnTo>
                    <a:pt x="514" y="113"/>
                  </a:lnTo>
                  <a:lnTo>
                    <a:pt x="517" y="113"/>
                  </a:lnTo>
                  <a:lnTo>
                    <a:pt x="532" y="117"/>
                  </a:lnTo>
                  <a:lnTo>
                    <a:pt x="537" y="118"/>
                  </a:lnTo>
                  <a:lnTo>
                    <a:pt x="549" y="122"/>
                  </a:lnTo>
                  <a:lnTo>
                    <a:pt x="556" y="124"/>
                  </a:lnTo>
                  <a:lnTo>
                    <a:pt x="561" y="126"/>
                  </a:lnTo>
                  <a:lnTo>
                    <a:pt x="564" y="128"/>
                  </a:lnTo>
                  <a:lnTo>
                    <a:pt x="564" y="128"/>
                  </a:lnTo>
                  <a:lnTo>
                    <a:pt x="564" y="129"/>
                  </a:lnTo>
                  <a:lnTo>
                    <a:pt x="564" y="131"/>
                  </a:lnTo>
                  <a:lnTo>
                    <a:pt x="564" y="132"/>
                  </a:lnTo>
                  <a:lnTo>
                    <a:pt x="564" y="133"/>
                  </a:lnTo>
                  <a:lnTo>
                    <a:pt x="565" y="133"/>
                  </a:lnTo>
                  <a:lnTo>
                    <a:pt x="566" y="134"/>
                  </a:lnTo>
                  <a:lnTo>
                    <a:pt x="567" y="134"/>
                  </a:lnTo>
                  <a:lnTo>
                    <a:pt x="568" y="135"/>
                  </a:lnTo>
                  <a:lnTo>
                    <a:pt x="570" y="135"/>
                  </a:lnTo>
                  <a:lnTo>
                    <a:pt x="577" y="134"/>
                  </a:lnTo>
                  <a:lnTo>
                    <a:pt x="582" y="134"/>
                  </a:lnTo>
                  <a:lnTo>
                    <a:pt x="586" y="133"/>
                  </a:lnTo>
                  <a:lnTo>
                    <a:pt x="594" y="131"/>
                  </a:lnTo>
                  <a:lnTo>
                    <a:pt x="598" y="131"/>
                  </a:lnTo>
                  <a:lnTo>
                    <a:pt x="602" y="131"/>
                  </a:lnTo>
                  <a:lnTo>
                    <a:pt x="610" y="130"/>
                  </a:lnTo>
                  <a:lnTo>
                    <a:pt x="618" y="128"/>
                  </a:lnTo>
                  <a:lnTo>
                    <a:pt x="622" y="128"/>
                  </a:lnTo>
                  <a:lnTo>
                    <a:pt x="624" y="128"/>
                  </a:lnTo>
                  <a:lnTo>
                    <a:pt x="627" y="128"/>
                  </a:lnTo>
                  <a:lnTo>
                    <a:pt x="629" y="129"/>
                  </a:lnTo>
                  <a:lnTo>
                    <a:pt x="632" y="130"/>
                  </a:lnTo>
                  <a:lnTo>
                    <a:pt x="634" y="131"/>
                  </a:lnTo>
                  <a:lnTo>
                    <a:pt x="635" y="131"/>
                  </a:lnTo>
                  <a:lnTo>
                    <a:pt x="637" y="132"/>
                  </a:lnTo>
                  <a:lnTo>
                    <a:pt x="638" y="133"/>
                  </a:lnTo>
                  <a:lnTo>
                    <a:pt x="639" y="134"/>
                  </a:lnTo>
                  <a:lnTo>
                    <a:pt x="640" y="136"/>
                  </a:lnTo>
                  <a:lnTo>
                    <a:pt x="642" y="138"/>
                  </a:lnTo>
                  <a:lnTo>
                    <a:pt x="642" y="140"/>
                  </a:lnTo>
                  <a:lnTo>
                    <a:pt x="643" y="143"/>
                  </a:lnTo>
                  <a:lnTo>
                    <a:pt x="644" y="147"/>
                  </a:lnTo>
                  <a:lnTo>
                    <a:pt x="645" y="151"/>
                  </a:lnTo>
                  <a:lnTo>
                    <a:pt x="646" y="155"/>
                  </a:lnTo>
                  <a:lnTo>
                    <a:pt x="647" y="161"/>
                  </a:lnTo>
                  <a:lnTo>
                    <a:pt x="647" y="166"/>
                  </a:lnTo>
                  <a:lnTo>
                    <a:pt x="646" y="172"/>
                  </a:lnTo>
                  <a:lnTo>
                    <a:pt x="645" y="180"/>
                  </a:lnTo>
                  <a:lnTo>
                    <a:pt x="644" y="185"/>
                  </a:lnTo>
                  <a:lnTo>
                    <a:pt x="644" y="190"/>
                  </a:lnTo>
                  <a:lnTo>
                    <a:pt x="644" y="194"/>
                  </a:lnTo>
                  <a:lnTo>
                    <a:pt x="644" y="197"/>
                  </a:lnTo>
                  <a:lnTo>
                    <a:pt x="645" y="200"/>
                  </a:lnTo>
                  <a:lnTo>
                    <a:pt x="647" y="203"/>
                  </a:lnTo>
                  <a:lnTo>
                    <a:pt x="649" y="208"/>
                  </a:lnTo>
                  <a:lnTo>
                    <a:pt x="650" y="210"/>
                  </a:lnTo>
                  <a:lnTo>
                    <a:pt x="652" y="211"/>
                  </a:lnTo>
                  <a:lnTo>
                    <a:pt x="653" y="213"/>
                  </a:lnTo>
                  <a:lnTo>
                    <a:pt x="655" y="215"/>
                  </a:lnTo>
                  <a:lnTo>
                    <a:pt x="662" y="221"/>
                  </a:lnTo>
                  <a:lnTo>
                    <a:pt x="669" y="227"/>
                  </a:lnTo>
                  <a:lnTo>
                    <a:pt x="672" y="229"/>
                  </a:lnTo>
                  <a:lnTo>
                    <a:pt x="679" y="235"/>
                  </a:lnTo>
                  <a:lnTo>
                    <a:pt x="682" y="238"/>
                  </a:lnTo>
                  <a:lnTo>
                    <a:pt x="684" y="240"/>
                  </a:lnTo>
                  <a:lnTo>
                    <a:pt x="688" y="243"/>
                  </a:lnTo>
                  <a:lnTo>
                    <a:pt x="704" y="252"/>
                  </a:lnTo>
                  <a:lnTo>
                    <a:pt x="713" y="257"/>
                  </a:lnTo>
                  <a:lnTo>
                    <a:pt x="715" y="258"/>
                  </a:lnTo>
                  <a:lnTo>
                    <a:pt x="716" y="258"/>
                  </a:lnTo>
                  <a:lnTo>
                    <a:pt x="719" y="258"/>
                  </a:lnTo>
                  <a:lnTo>
                    <a:pt x="720" y="258"/>
                  </a:lnTo>
                  <a:lnTo>
                    <a:pt x="726" y="255"/>
                  </a:lnTo>
                  <a:lnTo>
                    <a:pt x="729" y="255"/>
                  </a:lnTo>
                  <a:lnTo>
                    <a:pt x="731" y="254"/>
                  </a:lnTo>
                  <a:lnTo>
                    <a:pt x="734" y="254"/>
                  </a:lnTo>
                  <a:lnTo>
                    <a:pt x="736" y="254"/>
                  </a:lnTo>
                  <a:lnTo>
                    <a:pt x="739" y="255"/>
                  </a:lnTo>
                  <a:lnTo>
                    <a:pt x="750" y="258"/>
                  </a:lnTo>
                  <a:lnTo>
                    <a:pt x="753" y="259"/>
                  </a:lnTo>
                  <a:lnTo>
                    <a:pt x="756" y="259"/>
                  </a:lnTo>
                  <a:lnTo>
                    <a:pt x="760" y="260"/>
                  </a:lnTo>
                  <a:lnTo>
                    <a:pt x="766" y="260"/>
                  </a:lnTo>
                  <a:lnTo>
                    <a:pt x="771" y="260"/>
                  </a:lnTo>
                  <a:lnTo>
                    <a:pt x="776" y="260"/>
                  </a:lnTo>
                  <a:lnTo>
                    <a:pt x="779" y="260"/>
                  </a:lnTo>
                  <a:lnTo>
                    <a:pt x="782" y="260"/>
                  </a:lnTo>
                  <a:lnTo>
                    <a:pt x="784" y="259"/>
                  </a:lnTo>
                  <a:lnTo>
                    <a:pt x="786" y="258"/>
                  </a:lnTo>
                  <a:lnTo>
                    <a:pt x="790" y="257"/>
                  </a:lnTo>
                  <a:lnTo>
                    <a:pt x="798" y="254"/>
                  </a:lnTo>
                  <a:lnTo>
                    <a:pt x="801" y="253"/>
                  </a:lnTo>
                  <a:lnTo>
                    <a:pt x="806" y="252"/>
                  </a:lnTo>
                  <a:lnTo>
                    <a:pt x="813" y="250"/>
                  </a:lnTo>
                  <a:lnTo>
                    <a:pt x="816" y="250"/>
                  </a:lnTo>
                  <a:lnTo>
                    <a:pt x="818" y="249"/>
                  </a:lnTo>
                  <a:lnTo>
                    <a:pt x="822" y="247"/>
                  </a:lnTo>
                  <a:lnTo>
                    <a:pt x="824" y="246"/>
                  </a:lnTo>
                  <a:lnTo>
                    <a:pt x="826" y="246"/>
                  </a:lnTo>
                  <a:lnTo>
                    <a:pt x="828" y="246"/>
                  </a:lnTo>
                  <a:lnTo>
                    <a:pt x="829" y="246"/>
                  </a:lnTo>
                  <a:lnTo>
                    <a:pt x="831" y="247"/>
                  </a:lnTo>
                  <a:lnTo>
                    <a:pt x="832" y="247"/>
                  </a:lnTo>
                  <a:lnTo>
                    <a:pt x="834" y="248"/>
                  </a:lnTo>
                  <a:lnTo>
                    <a:pt x="837" y="250"/>
                  </a:lnTo>
                  <a:lnTo>
                    <a:pt x="841" y="252"/>
                  </a:lnTo>
                  <a:lnTo>
                    <a:pt x="841" y="253"/>
                  </a:lnTo>
                  <a:lnTo>
                    <a:pt x="842" y="253"/>
                  </a:lnTo>
                  <a:lnTo>
                    <a:pt x="843" y="255"/>
                  </a:lnTo>
                  <a:lnTo>
                    <a:pt x="844" y="255"/>
                  </a:lnTo>
                  <a:lnTo>
                    <a:pt x="844" y="257"/>
                  </a:lnTo>
                  <a:lnTo>
                    <a:pt x="845" y="258"/>
                  </a:lnTo>
                  <a:lnTo>
                    <a:pt x="845" y="260"/>
                  </a:lnTo>
                  <a:lnTo>
                    <a:pt x="845" y="261"/>
                  </a:lnTo>
                  <a:lnTo>
                    <a:pt x="844" y="263"/>
                  </a:lnTo>
                  <a:lnTo>
                    <a:pt x="843" y="268"/>
                  </a:lnTo>
                  <a:lnTo>
                    <a:pt x="843" y="268"/>
                  </a:lnTo>
                  <a:lnTo>
                    <a:pt x="843" y="270"/>
                  </a:lnTo>
                  <a:lnTo>
                    <a:pt x="843" y="270"/>
                  </a:lnTo>
                  <a:lnTo>
                    <a:pt x="844" y="272"/>
                  </a:lnTo>
                  <a:lnTo>
                    <a:pt x="844" y="273"/>
                  </a:lnTo>
                  <a:lnTo>
                    <a:pt x="845" y="275"/>
                  </a:lnTo>
                  <a:lnTo>
                    <a:pt x="848" y="278"/>
                  </a:lnTo>
                  <a:lnTo>
                    <a:pt x="851" y="280"/>
                  </a:lnTo>
                  <a:lnTo>
                    <a:pt x="854" y="282"/>
                  </a:lnTo>
                  <a:lnTo>
                    <a:pt x="861" y="287"/>
                  </a:lnTo>
                  <a:lnTo>
                    <a:pt x="863" y="288"/>
                  </a:lnTo>
                  <a:lnTo>
                    <a:pt x="865" y="290"/>
                  </a:lnTo>
                  <a:lnTo>
                    <a:pt x="868" y="293"/>
                  </a:lnTo>
                  <a:lnTo>
                    <a:pt x="874" y="300"/>
                  </a:lnTo>
                  <a:lnTo>
                    <a:pt x="880" y="307"/>
                  </a:lnTo>
                  <a:lnTo>
                    <a:pt x="881" y="308"/>
                  </a:lnTo>
                  <a:lnTo>
                    <a:pt x="881" y="308"/>
                  </a:lnTo>
                  <a:lnTo>
                    <a:pt x="880" y="309"/>
                  </a:lnTo>
                  <a:lnTo>
                    <a:pt x="879" y="310"/>
                  </a:lnTo>
                  <a:lnTo>
                    <a:pt x="876" y="315"/>
                  </a:lnTo>
                  <a:lnTo>
                    <a:pt x="873" y="317"/>
                  </a:lnTo>
                  <a:lnTo>
                    <a:pt x="871" y="319"/>
                  </a:lnTo>
                  <a:lnTo>
                    <a:pt x="867" y="321"/>
                  </a:lnTo>
                  <a:lnTo>
                    <a:pt x="864" y="323"/>
                  </a:lnTo>
                  <a:lnTo>
                    <a:pt x="859" y="325"/>
                  </a:lnTo>
                  <a:lnTo>
                    <a:pt x="852" y="326"/>
                  </a:lnTo>
                  <a:lnTo>
                    <a:pt x="846" y="328"/>
                  </a:lnTo>
                  <a:lnTo>
                    <a:pt x="844" y="328"/>
                  </a:lnTo>
                  <a:lnTo>
                    <a:pt x="842" y="329"/>
                  </a:lnTo>
                  <a:lnTo>
                    <a:pt x="841" y="330"/>
                  </a:lnTo>
                  <a:lnTo>
                    <a:pt x="840" y="330"/>
                  </a:lnTo>
                  <a:lnTo>
                    <a:pt x="839" y="332"/>
                  </a:lnTo>
                  <a:lnTo>
                    <a:pt x="838" y="334"/>
                  </a:lnTo>
                  <a:lnTo>
                    <a:pt x="835" y="340"/>
                  </a:lnTo>
                  <a:lnTo>
                    <a:pt x="831" y="345"/>
                  </a:lnTo>
                  <a:lnTo>
                    <a:pt x="831" y="348"/>
                  </a:lnTo>
                  <a:lnTo>
                    <a:pt x="830" y="349"/>
                  </a:lnTo>
                  <a:lnTo>
                    <a:pt x="829" y="351"/>
                  </a:lnTo>
                  <a:lnTo>
                    <a:pt x="827" y="360"/>
                  </a:lnTo>
                  <a:lnTo>
                    <a:pt x="826" y="363"/>
                  </a:lnTo>
                  <a:lnTo>
                    <a:pt x="826" y="365"/>
                  </a:lnTo>
                  <a:lnTo>
                    <a:pt x="825" y="367"/>
                  </a:lnTo>
                  <a:lnTo>
                    <a:pt x="824" y="369"/>
                  </a:lnTo>
                  <a:lnTo>
                    <a:pt x="819" y="376"/>
                  </a:lnTo>
                  <a:lnTo>
                    <a:pt x="817" y="378"/>
                  </a:lnTo>
                  <a:lnTo>
                    <a:pt x="816" y="381"/>
                  </a:lnTo>
                  <a:lnTo>
                    <a:pt x="814" y="388"/>
                  </a:lnTo>
                  <a:lnTo>
                    <a:pt x="813" y="391"/>
                  </a:lnTo>
                  <a:lnTo>
                    <a:pt x="811" y="393"/>
                  </a:lnTo>
                  <a:lnTo>
                    <a:pt x="810" y="395"/>
                  </a:lnTo>
                  <a:lnTo>
                    <a:pt x="808" y="397"/>
                  </a:lnTo>
                  <a:lnTo>
                    <a:pt x="801" y="405"/>
                  </a:lnTo>
                  <a:lnTo>
                    <a:pt x="797" y="410"/>
                  </a:lnTo>
                  <a:lnTo>
                    <a:pt x="795" y="411"/>
                  </a:lnTo>
                  <a:lnTo>
                    <a:pt x="791" y="415"/>
                  </a:lnTo>
                  <a:lnTo>
                    <a:pt x="789" y="420"/>
                  </a:lnTo>
                  <a:lnTo>
                    <a:pt x="786" y="423"/>
                  </a:lnTo>
                  <a:lnTo>
                    <a:pt x="785" y="425"/>
                  </a:lnTo>
                  <a:lnTo>
                    <a:pt x="784" y="428"/>
                  </a:lnTo>
                  <a:lnTo>
                    <a:pt x="783" y="431"/>
                  </a:lnTo>
                  <a:lnTo>
                    <a:pt x="784" y="432"/>
                  </a:lnTo>
                  <a:lnTo>
                    <a:pt x="784" y="434"/>
                  </a:lnTo>
                  <a:lnTo>
                    <a:pt x="785" y="435"/>
                  </a:lnTo>
                  <a:lnTo>
                    <a:pt x="786" y="436"/>
                  </a:lnTo>
                  <a:lnTo>
                    <a:pt x="787" y="437"/>
                  </a:lnTo>
                  <a:lnTo>
                    <a:pt x="789" y="437"/>
                  </a:lnTo>
                  <a:lnTo>
                    <a:pt x="795" y="437"/>
                  </a:lnTo>
                  <a:lnTo>
                    <a:pt x="798" y="437"/>
                  </a:lnTo>
                  <a:lnTo>
                    <a:pt x="799" y="438"/>
                  </a:lnTo>
                  <a:lnTo>
                    <a:pt x="801" y="439"/>
                  </a:lnTo>
                  <a:lnTo>
                    <a:pt x="803" y="440"/>
                  </a:lnTo>
                  <a:lnTo>
                    <a:pt x="804" y="440"/>
                  </a:lnTo>
                  <a:lnTo>
                    <a:pt x="806" y="442"/>
                  </a:lnTo>
                  <a:lnTo>
                    <a:pt x="808" y="445"/>
                  </a:lnTo>
                  <a:lnTo>
                    <a:pt x="809" y="446"/>
                  </a:lnTo>
                  <a:lnTo>
                    <a:pt x="812" y="453"/>
                  </a:lnTo>
                  <a:lnTo>
                    <a:pt x="814" y="455"/>
                  </a:lnTo>
                  <a:lnTo>
                    <a:pt x="816" y="457"/>
                  </a:lnTo>
                  <a:lnTo>
                    <a:pt x="818" y="460"/>
                  </a:lnTo>
                  <a:lnTo>
                    <a:pt x="821" y="462"/>
                  </a:lnTo>
                  <a:lnTo>
                    <a:pt x="824" y="463"/>
                  </a:lnTo>
                  <a:lnTo>
                    <a:pt x="828" y="465"/>
                  </a:lnTo>
                  <a:lnTo>
                    <a:pt x="835" y="468"/>
                  </a:lnTo>
                  <a:lnTo>
                    <a:pt x="838" y="470"/>
                  </a:lnTo>
                  <a:lnTo>
                    <a:pt x="841" y="471"/>
                  </a:lnTo>
                  <a:lnTo>
                    <a:pt x="844" y="473"/>
                  </a:lnTo>
                  <a:lnTo>
                    <a:pt x="846" y="475"/>
                  </a:lnTo>
                  <a:lnTo>
                    <a:pt x="850" y="477"/>
                  </a:lnTo>
                  <a:lnTo>
                    <a:pt x="851" y="479"/>
                  </a:lnTo>
                  <a:lnTo>
                    <a:pt x="854" y="480"/>
                  </a:lnTo>
                  <a:lnTo>
                    <a:pt x="856" y="482"/>
                  </a:lnTo>
                  <a:lnTo>
                    <a:pt x="857" y="484"/>
                  </a:lnTo>
                  <a:lnTo>
                    <a:pt x="859" y="486"/>
                  </a:lnTo>
                  <a:lnTo>
                    <a:pt x="861" y="490"/>
                  </a:lnTo>
                  <a:lnTo>
                    <a:pt x="866" y="499"/>
                  </a:lnTo>
                  <a:lnTo>
                    <a:pt x="867" y="502"/>
                  </a:lnTo>
                  <a:lnTo>
                    <a:pt x="868" y="502"/>
                  </a:lnTo>
                  <a:lnTo>
                    <a:pt x="866" y="504"/>
                  </a:lnTo>
                  <a:lnTo>
                    <a:pt x="862" y="509"/>
                  </a:lnTo>
                  <a:lnTo>
                    <a:pt x="861" y="510"/>
                  </a:lnTo>
                  <a:lnTo>
                    <a:pt x="860" y="510"/>
                  </a:lnTo>
                  <a:lnTo>
                    <a:pt x="859" y="511"/>
                  </a:lnTo>
                  <a:lnTo>
                    <a:pt x="858" y="512"/>
                  </a:lnTo>
                  <a:lnTo>
                    <a:pt x="854" y="512"/>
                  </a:lnTo>
                  <a:lnTo>
                    <a:pt x="854" y="512"/>
                  </a:lnTo>
                  <a:lnTo>
                    <a:pt x="853" y="512"/>
                  </a:lnTo>
                  <a:lnTo>
                    <a:pt x="852" y="514"/>
                  </a:lnTo>
                  <a:lnTo>
                    <a:pt x="852" y="516"/>
                  </a:lnTo>
                  <a:lnTo>
                    <a:pt x="851" y="517"/>
                  </a:lnTo>
                  <a:lnTo>
                    <a:pt x="851" y="520"/>
                  </a:lnTo>
                  <a:lnTo>
                    <a:pt x="849" y="522"/>
                  </a:lnTo>
                  <a:lnTo>
                    <a:pt x="846" y="525"/>
                  </a:lnTo>
                  <a:lnTo>
                    <a:pt x="846" y="526"/>
                  </a:lnTo>
                  <a:lnTo>
                    <a:pt x="846" y="527"/>
                  </a:lnTo>
                  <a:lnTo>
                    <a:pt x="846" y="527"/>
                  </a:lnTo>
                  <a:lnTo>
                    <a:pt x="846" y="528"/>
                  </a:lnTo>
                  <a:lnTo>
                    <a:pt x="848" y="529"/>
                  </a:lnTo>
                  <a:lnTo>
                    <a:pt x="848" y="530"/>
                  </a:lnTo>
                  <a:lnTo>
                    <a:pt x="847" y="530"/>
                  </a:lnTo>
                  <a:lnTo>
                    <a:pt x="845" y="532"/>
                  </a:lnTo>
                  <a:lnTo>
                    <a:pt x="842" y="534"/>
                  </a:lnTo>
                  <a:lnTo>
                    <a:pt x="841" y="535"/>
                  </a:lnTo>
                  <a:lnTo>
                    <a:pt x="839" y="535"/>
                  </a:lnTo>
                  <a:lnTo>
                    <a:pt x="837" y="536"/>
                  </a:lnTo>
                  <a:lnTo>
                    <a:pt x="836" y="537"/>
                  </a:lnTo>
                  <a:lnTo>
                    <a:pt x="836" y="538"/>
                  </a:lnTo>
                  <a:lnTo>
                    <a:pt x="834" y="540"/>
                  </a:lnTo>
                  <a:lnTo>
                    <a:pt x="830" y="551"/>
                  </a:lnTo>
                  <a:lnTo>
                    <a:pt x="829" y="555"/>
                  </a:lnTo>
                  <a:lnTo>
                    <a:pt x="828" y="557"/>
                  </a:lnTo>
                  <a:lnTo>
                    <a:pt x="827" y="557"/>
                  </a:lnTo>
                  <a:lnTo>
                    <a:pt x="826" y="557"/>
                  </a:lnTo>
                  <a:lnTo>
                    <a:pt x="824" y="556"/>
                  </a:lnTo>
                  <a:lnTo>
                    <a:pt x="821" y="555"/>
                  </a:lnTo>
                  <a:lnTo>
                    <a:pt x="819" y="553"/>
                  </a:lnTo>
                  <a:lnTo>
                    <a:pt x="814" y="550"/>
                  </a:lnTo>
                  <a:lnTo>
                    <a:pt x="809" y="546"/>
                  </a:lnTo>
                  <a:lnTo>
                    <a:pt x="805" y="542"/>
                  </a:lnTo>
                  <a:lnTo>
                    <a:pt x="801" y="538"/>
                  </a:lnTo>
                  <a:lnTo>
                    <a:pt x="797" y="534"/>
                  </a:lnTo>
                  <a:lnTo>
                    <a:pt x="789" y="523"/>
                  </a:lnTo>
                  <a:lnTo>
                    <a:pt x="785" y="519"/>
                  </a:lnTo>
                  <a:lnTo>
                    <a:pt x="782" y="516"/>
                  </a:lnTo>
                  <a:lnTo>
                    <a:pt x="779" y="514"/>
                  </a:lnTo>
                  <a:lnTo>
                    <a:pt x="776" y="511"/>
                  </a:lnTo>
                  <a:lnTo>
                    <a:pt x="772" y="509"/>
                  </a:lnTo>
                  <a:lnTo>
                    <a:pt x="769" y="507"/>
                  </a:lnTo>
                  <a:lnTo>
                    <a:pt x="765" y="505"/>
                  </a:lnTo>
                  <a:lnTo>
                    <a:pt x="762" y="504"/>
                  </a:lnTo>
                  <a:lnTo>
                    <a:pt x="760" y="503"/>
                  </a:lnTo>
                  <a:lnTo>
                    <a:pt x="756" y="502"/>
                  </a:lnTo>
                  <a:lnTo>
                    <a:pt x="749" y="501"/>
                  </a:lnTo>
                  <a:lnTo>
                    <a:pt x="746" y="500"/>
                  </a:lnTo>
                  <a:lnTo>
                    <a:pt x="733" y="497"/>
                  </a:lnTo>
                  <a:lnTo>
                    <a:pt x="729" y="496"/>
                  </a:lnTo>
                  <a:lnTo>
                    <a:pt x="726" y="495"/>
                  </a:lnTo>
                  <a:lnTo>
                    <a:pt x="722" y="494"/>
                  </a:lnTo>
                  <a:lnTo>
                    <a:pt x="719" y="492"/>
                  </a:lnTo>
                  <a:lnTo>
                    <a:pt x="716" y="491"/>
                  </a:lnTo>
                  <a:lnTo>
                    <a:pt x="713" y="490"/>
                  </a:lnTo>
                  <a:lnTo>
                    <a:pt x="706" y="485"/>
                  </a:lnTo>
                  <a:lnTo>
                    <a:pt x="694" y="477"/>
                  </a:lnTo>
                  <a:lnTo>
                    <a:pt x="682" y="468"/>
                  </a:lnTo>
                  <a:lnTo>
                    <a:pt x="678" y="465"/>
                  </a:lnTo>
                  <a:lnTo>
                    <a:pt x="674" y="463"/>
                  </a:lnTo>
                  <a:lnTo>
                    <a:pt x="668" y="460"/>
                  </a:lnTo>
                  <a:lnTo>
                    <a:pt x="663" y="458"/>
                  </a:lnTo>
                  <a:lnTo>
                    <a:pt x="657" y="457"/>
                  </a:lnTo>
                  <a:lnTo>
                    <a:pt x="654" y="456"/>
                  </a:lnTo>
                  <a:lnTo>
                    <a:pt x="652" y="455"/>
                  </a:lnTo>
                  <a:lnTo>
                    <a:pt x="647" y="455"/>
                  </a:lnTo>
                  <a:lnTo>
                    <a:pt x="641" y="455"/>
                  </a:lnTo>
                  <a:lnTo>
                    <a:pt x="636" y="455"/>
                  </a:lnTo>
                  <a:lnTo>
                    <a:pt x="628" y="456"/>
                  </a:lnTo>
                  <a:lnTo>
                    <a:pt x="625" y="456"/>
                  </a:lnTo>
                  <a:lnTo>
                    <a:pt x="622" y="456"/>
                  </a:lnTo>
                  <a:lnTo>
                    <a:pt x="617" y="455"/>
                  </a:lnTo>
                  <a:lnTo>
                    <a:pt x="612" y="455"/>
                  </a:lnTo>
                  <a:lnTo>
                    <a:pt x="609" y="454"/>
                  </a:lnTo>
                  <a:lnTo>
                    <a:pt x="607" y="453"/>
                  </a:lnTo>
                  <a:lnTo>
                    <a:pt x="604" y="452"/>
                  </a:lnTo>
                  <a:lnTo>
                    <a:pt x="598" y="449"/>
                  </a:lnTo>
                  <a:lnTo>
                    <a:pt x="595" y="448"/>
                  </a:lnTo>
                  <a:lnTo>
                    <a:pt x="594" y="447"/>
                  </a:lnTo>
                  <a:lnTo>
                    <a:pt x="593" y="447"/>
                  </a:lnTo>
                  <a:lnTo>
                    <a:pt x="592" y="447"/>
                  </a:lnTo>
                  <a:lnTo>
                    <a:pt x="591" y="447"/>
                  </a:lnTo>
                  <a:lnTo>
                    <a:pt x="590" y="448"/>
                  </a:lnTo>
                  <a:lnTo>
                    <a:pt x="589" y="449"/>
                  </a:lnTo>
                  <a:lnTo>
                    <a:pt x="588" y="450"/>
                  </a:lnTo>
                  <a:lnTo>
                    <a:pt x="587" y="452"/>
                  </a:lnTo>
                  <a:lnTo>
                    <a:pt x="586" y="455"/>
                  </a:lnTo>
                  <a:lnTo>
                    <a:pt x="584" y="462"/>
                  </a:lnTo>
                  <a:lnTo>
                    <a:pt x="582" y="467"/>
                  </a:lnTo>
                  <a:lnTo>
                    <a:pt x="579" y="472"/>
                  </a:lnTo>
                  <a:lnTo>
                    <a:pt x="576" y="479"/>
                  </a:lnTo>
                  <a:lnTo>
                    <a:pt x="574" y="482"/>
                  </a:lnTo>
                  <a:lnTo>
                    <a:pt x="572" y="484"/>
                  </a:lnTo>
                  <a:lnTo>
                    <a:pt x="570" y="485"/>
                  </a:lnTo>
                  <a:lnTo>
                    <a:pt x="568" y="487"/>
                  </a:lnTo>
                  <a:lnTo>
                    <a:pt x="567" y="487"/>
                  </a:lnTo>
                  <a:lnTo>
                    <a:pt x="565" y="488"/>
                  </a:lnTo>
                  <a:lnTo>
                    <a:pt x="562" y="489"/>
                  </a:lnTo>
                  <a:lnTo>
                    <a:pt x="559" y="489"/>
                  </a:lnTo>
                  <a:lnTo>
                    <a:pt x="551" y="490"/>
                  </a:lnTo>
                  <a:lnTo>
                    <a:pt x="544" y="490"/>
                  </a:lnTo>
                  <a:lnTo>
                    <a:pt x="539" y="491"/>
                  </a:lnTo>
                  <a:lnTo>
                    <a:pt x="534" y="492"/>
                  </a:lnTo>
                  <a:lnTo>
                    <a:pt x="529" y="493"/>
                  </a:lnTo>
                  <a:lnTo>
                    <a:pt x="524" y="495"/>
                  </a:lnTo>
                  <a:lnTo>
                    <a:pt x="519" y="497"/>
                  </a:lnTo>
                  <a:lnTo>
                    <a:pt x="509" y="502"/>
                  </a:lnTo>
                  <a:lnTo>
                    <a:pt x="506" y="504"/>
                  </a:lnTo>
                  <a:lnTo>
                    <a:pt x="503" y="505"/>
                  </a:lnTo>
                  <a:lnTo>
                    <a:pt x="501" y="505"/>
                  </a:lnTo>
                  <a:lnTo>
                    <a:pt x="499" y="505"/>
                  </a:lnTo>
                  <a:lnTo>
                    <a:pt x="492" y="506"/>
                  </a:lnTo>
                  <a:lnTo>
                    <a:pt x="488" y="506"/>
                  </a:lnTo>
                  <a:lnTo>
                    <a:pt x="487" y="506"/>
                  </a:lnTo>
                  <a:lnTo>
                    <a:pt x="486" y="506"/>
                  </a:lnTo>
                  <a:lnTo>
                    <a:pt x="484" y="505"/>
                  </a:lnTo>
                  <a:lnTo>
                    <a:pt x="483" y="505"/>
                  </a:lnTo>
                  <a:lnTo>
                    <a:pt x="482" y="504"/>
                  </a:lnTo>
                  <a:lnTo>
                    <a:pt x="482" y="503"/>
                  </a:lnTo>
                  <a:lnTo>
                    <a:pt x="481" y="502"/>
                  </a:lnTo>
                  <a:lnTo>
                    <a:pt x="480" y="500"/>
                  </a:lnTo>
                  <a:lnTo>
                    <a:pt x="480" y="498"/>
                  </a:lnTo>
                  <a:lnTo>
                    <a:pt x="480" y="495"/>
                  </a:lnTo>
                  <a:lnTo>
                    <a:pt x="481" y="485"/>
                  </a:lnTo>
                  <a:lnTo>
                    <a:pt x="481" y="482"/>
                  </a:lnTo>
                  <a:lnTo>
                    <a:pt x="480" y="480"/>
                  </a:lnTo>
                  <a:lnTo>
                    <a:pt x="480" y="477"/>
                  </a:lnTo>
                  <a:lnTo>
                    <a:pt x="480" y="475"/>
                  </a:lnTo>
                  <a:lnTo>
                    <a:pt x="478" y="468"/>
                  </a:lnTo>
                  <a:lnTo>
                    <a:pt x="477" y="465"/>
                  </a:lnTo>
                  <a:lnTo>
                    <a:pt x="475" y="457"/>
                  </a:lnTo>
                  <a:lnTo>
                    <a:pt x="472" y="451"/>
                  </a:lnTo>
                  <a:lnTo>
                    <a:pt x="471" y="447"/>
                  </a:lnTo>
                  <a:lnTo>
                    <a:pt x="470" y="445"/>
                  </a:lnTo>
                  <a:lnTo>
                    <a:pt x="468" y="443"/>
                  </a:lnTo>
                  <a:lnTo>
                    <a:pt x="467" y="442"/>
                  </a:lnTo>
                  <a:lnTo>
                    <a:pt x="465" y="440"/>
                  </a:lnTo>
                  <a:lnTo>
                    <a:pt x="461" y="438"/>
                  </a:lnTo>
                  <a:lnTo>
                    <a:pt x="457" y="437"/>
                  </a:lnTo>
                  <a:lnTo>
                    <a:pt x="454" y="435"/>
                  </a:lnTo>
                  <a:lnTo>
                    <a:pt x="450" y="435"/>
                  </a:lnTo>
                  <a:lnTo>
                    <a:pt x="445" y="434"/>
                  </a:lnTo>
                  <a:lnTo>
                    <a:pt x="438" y="434"/>
                  </a:lnTo>
                  <a:lnTo>
                    <a:pt x="434" y="433"/>
                  </a:lnTo>
                  <a:lnTo>
                    <a:pt x="425" y="434"/>
                  </a:lnTo>
                  <a:lnTo>
                    <a:pt x="422" y="433"/>
                  </a:lnTo>
                  <a:lnTo>
                    <a:pt x="415" y="432"/>
                  </a:lnTo>
                  <a:lnTo>
                    <a:pt x="412" y="432"/>
                  </a:lnTo>
                  <a:lnTo>
                    <a:pt x="409" y="431"/>
                  </a:lnTo>
                  <a:lnTo>
                    <a:pt x="405" y="430"/>
                  </a:lnTo>
                  <a:lnTo>
                    <a:pt x="403" y="430"/>
                  </a:lnTo>
                  <a:lnTo>
                    <a:pt x="400" y="428"/>
                  </a:lnTo>
                  <a:lnTo>
                    <a:pt x="398" y="427"/>
                  </a:lnTo>
                  <a:lnTo>
                    <a:pt x="396" y="426"/>
                  </a:lnTo>
                  <a:lnTo>
                    <a:pt x="395" y="425"/>
                  </a:lnTo>
                  <a:lnTo>
                    <a:pt x="389" y="419"/>
                  </a:lnTo>
                  <a:lnTo>
                    <a:pt x="386" y="417"/>
                  </a:lnTo>
                  <a:lnTo>
                    <a:pt x="385" y="416"/>
                  </a:lnTo>
                  <a:lnTo>
                    <a:pt x="383" y="415"/>
                  </a:lnTo>
                  <a:lnTo>
                    <a:pt x="382" y="414"/>
                  </a:lnTo>
                  <a:lnTo>
                    <a:pt x="380" y="413"/>
                  </a:lnTo>
                  <a:lnTo>
                    <a:pt x="377" y="412"/>
                  </a:lnTo>
                  <a:lnTo>
                    <a:pt x="375" y="412"/>
                  </a:lnTo>
                  <a:lnTo>
                    <a:pt x="367" y="411"/>
                  </a:lnTo>
                  <a:lnTo>
                    <a:pt x="358" y="409"/>
                  </a:lnTo>
                  <a:lnTo>
                    <a:pt x="354" y="408"/>
                  </a:lnTo>
                  <a:lnTo>
                    <a:pt x="351" y="408"/>
                  </a:lnTo>
                  <a:lnTo>
                    <a:pt x="349" y="408"/>
                  </a:lnTo>
                  <a:lnTo>
                    <a:pt x="346" y="408"/>
                  </a:lnTo>
                  <a:lnTo>
                    <a:pt x="343" y="409"/>
                  </a:lnTo>
                  <a:lnTo>
                    <a:pt x="341" y="410"/>
                  </a:lnTo>
                  <a:lnTo>
                    <a:pt x="338" y="411"/>
                  </a:lnTo>
                  <a:lnTo>
                    <a:pt x="335" y="412"/>
                  </a:lnTo>
                  <a:lnTo>
                    <a:pt x="334" y="414"/>
                  </a:lnTo>
                  <a:lnTo>
                    <a:pt x="332" y="415"/>
                  </a:lnTo>
                  <a:lnTo>
                    <a:pt x="331" y="416"/>
                  </a:lnTo>
                  <a:lnTo>
                    <a:pt x="330" y="417"/>
                  </a:lnTo>
                  <a:lnTo>
                    <a:pt x="330" y="418"/>
                  </a:lnTo>
                  <a:lnTo>
                    <a:pt x="329" y="420"/>
                  </a:lnTo>
                  <a:lnTo>
                    <a:pt x="328" y="422"/>
                  </a:lnTo>
                  <a:lnTo>
                    <a:pt x="327" y="427"/>
                  </a:lnTo>
                  <a:lnTo>
                    <a:pt x="326" y="431"/>
                  </a:lnTo>
                  <a:lnTo>
                    <a:pt x="325" y="435"/>
                  </a:lnTo>
                  <a:lnTo>
                    <a:pt x="324" y="438"/>
                  </a:lnTo>
                  <a:lnTo>
                    <a:pt x="322" y="442"/>
                  </a:lnTo>
                  <a:lnTo>
                    <a:pt x="317" y="452"/>
                  </a:lnTo>
                  <a:lnTo>
                    <a:pt x="316" y="455"/>
                  </a:lnTo>
                  <a:lnTo>
                    <a:pt x="315" y="459"/>
                  </a:lnTo>
                  <a:lnTo>
                    <a:pt x="313" y="462"/>
                  </a:lnTo>
                  <a:lnTo>
                    <a:pt x="312" y="465"/>
                  </a:lnTo>
                  <a:lnTo>
                    <a:pt x="312" y="469"/>
                  </a:lnTo>
                  <a:lnTo>
                    <a:pt x="312" y="472"/>
                  </a:lnTo>
                  <a:lnTo>
                    <a:pt x="312" y="477"/>
                  </a:lnTo>
                  <a:lnTo>
                    <a:pt x="311" y="482"/>
                  </a:lnTo>
                  <a:lnTo>
                    <a:pt x="312" y="489"/>
                  </a:lnTo>
                  <a:lnTo>
                    <a:pt x="312" y="494"/>
                  </a:lnTo>
                  <a:lnTo>
                    <a:pt x="313" y="503"/>
                  </a:lnTo>
                  <a:lnTo>
                    <a:pt x="315" y="516"/>
                  </a:lnTo>
                  <a:lnTo>
                    <a:pt x="316" y="527"/>
                  </a:lnTo>
                  <a:lnTo>
                    <a:pt x="316" y="531"/>
                  </a:lnTo>
                  <a:lnTo>
                    <a:pt x="320" y="548"/>
                  </a:lnTo>
                  <a:lnTo>
                    <a:pt x="320" y="553"/>
                  </a:lnTo>
                  <a:lnTo>
                    <a:pt x="320" y="557"/>
                  </a:lnTo>
                  <a:lnTo>
                    <a:pt x="321" y="561"/>
                  </a:lnTo>
                  <a:lnTo>
                    <a:pt x="321" y="565"/>
                  </a:lnTo>
                  <a:lnTo>
                    <a:pt x="320" y="569"/>
                  </a:lnTo>
                  <a:lnTo>
                    <a:pt x="320" y="574"/>
                  </a:lnTo>
                  <a:lnTo>
                    <a:pt x="319" y="581"/>
                  </a:lnTo>
                  <a:lnTo>
                    <a:pt x="315" y="598"/>
                  </a:lnTo>
                  <a:lnTo>
                    <a:pt x="313" y="602"/>
                  </a:lnTo>
                  <a:lnTo>
                    <a:pt x="312" y="607"/>
                  </a:lnTo>
                  <a:lnTo>
                    <a:pt x="311" y="610"/>
                  </a:lnTo>
                  <a:lnTo>
                    <a:pt x="310" y="615"/>
                  </a:lnTo>
                  <a:lnTo>
                    <a:pt x="310" y="620"/>
                  </a:lnTo>
                  <a:lnTo>
                    <a:pt x="309" y="625"/>
                  </a:lnTo>
                  <a:lnTo>
                    <a:pt x="309" y="630"/>
                  </a:lnTo>
                  <a:lnTo>
                    <a:pt x="310" y="640"/>
                  </a:lnTo>
                  <a:lnTo>
                    <a:pt x="310" y="643"/>
                  </a:lnTo>
                  <a:lnTo>
                    <a:pt x="310" y="646"/>
                  </a:lnTo>
                  <a:lnTo>
                    <a:pt x="309" y="648"/>
                  </a:lnTo>
                  <a:lnTo>
                    <a:pt x="308" y="650"/>
                  </a:lnTo>
                  <a:lnTo>
                    <a:pt x="305" y="657"/>
                  </a:lnTo>
                  <a:lnTo>
                    <a:pt x="304" y="662"/>
                  </a:lnTo>
                  <a:lnTo>
                    <a:pt x="300" y="675"/>
                  </a:lnTo>
                  <a:lnTo>
                    <a:pt x="297" y="685"/>
                  </a:lnTo>
                  <a:lnTo>
                    <a:pt x="295" y="689"/>
                  </a:lnTo>
                  <a:lnTo>
                    <a:pt x="295" y="694"/>
                  </a:lnTo>
                  <a:lnTo>
                    <a:pt x="294" y="699"/>
                  </a:lnTo>
                  <a:lnTo>
                    <a:pt x="293" y="705"/>
                  </a:lnTo>
                  <a:lnTo>
                    <a:pt x="292" y="710"/>
                  </a:lnTo>
                  <a:lnTo>
                    <a:pt x="292" y="714"/>
                  </a:lnTo>
                  <a:lnTo>
                    <a:pt x="293" y="717"/>
                  </a:lnTo>
                  <a:lnTo>
                    <a:pt x="294" y="719"/>
                  </a:lnTo>
                  <a:lnTo>
                    <a:pt x="295" y="722"/>
                  </a:lnTo>
                  <a:lnTo>
                    <a:pt x="295" y="724"/>
                  </a:lnTo>
                  <a:lnTo>
                    <a:pt x="297" y="726"/>
                  </a:lnTo>
                  <a:lnTo>
                    <a:pt x="301" y="732"/>
                  </a:lnTo>
                  <a:lnTo>
                    <a:pt x="303" y="735"/>
                  </a:lnTo>
                  <a:lnTo>
                    <a:pt x="304" y="737"/>
                  </a:lnTo>
                  <a:lnTo>
                    <a:pt x="305" y="739"/>
                  </a:lnTo>
                  <a:lnTo>
                    <a:pt x="305" y="742"/>
                  </a:lnTo>
                  <a:lnTo>
                    <a:pt x="306" y="744"/>
                  </a:lnTo>
                  <a:lnTo>
                    <a:pt x="305" y="746"/>
                  </a:lnTo>
                  <a:lnTo>
                    <a:pt x="305" y="748"/>
                  </a:lnTo>
                  <a:lnTo>
                    <a:pt x="304" y="750"/>
                  </a:lnTo>
                  <a:lnTo>
                    <a:pt x="302" y="753"/>
                  </a:lnTo>
                  <a:lnTo>
                    <a:pt x="301" y="755"/>
                  </a:lnTo>
                  <a:lnTo>
                    <a:pt x="298" y="757"/>
                  </a:lnTo>
                  <a:lnTo>
                    <a:pt x="296" y="759"/>
                  </a:lnTo>
                  <a:lnTo>
                    <a:pt x="293" y="760"/>
                  </a:lnTo>
                  <a:lnTo>
                    <a:pt x="291" y="761"/>
                  </a:lnTo>
                  <a:lnTo>
                    <a:pt x="288" y="761"/>
                  </a:lnTo>
                  <a:lnTo>
                    <a:pt x="285" y="761"/>
                  </a:lnTo>
                  <a:lnTo>
                    <a:pt x="281" y="761"/>
                  </a:lnTo>
                  <a:lnTo>
                    <a:pt x="277" y="760"/>
                  </a:lnTo>
                  <a:lnTo>
                    <a:pt x="272" y="759"/>
                  </a:lnTo>
                  <a:lnTo>
                    <a:pt x="267" y="758"/>
                  </a:lnTo>
                  <a:lnTo>
                    <a:pt x="253" y="754"/>
                  </a:lnTo>
                  <a:lnTo>
                    <a:pt x="243" y="751"/>
                  </a:lnTo>
                  <a:lnTo>
                    <a:pt x="240" y="750"/>
                  </a:lnTo>
                  <a:lnTo>
                    <a:pt x="241" y="750"/>
                  </a:lnTo>
                  <a:lnTo>
                    <a:pt x="241" y="749"/>
                  </a:lnTo>
                  <a:lnTo>
                    <a:pt x="242" y="749"/>
                  </a:lnTo>
                  <a:lnTo>
                    <a:pt x="242" y="748"/>
                  </a:lnTo>
                  <a:lnTo>
                    <a:pt x="243" y="746"/>
                  </a:lnTo>
                  <a:lnTo>
                    <a:pt x="243" y="743"/>
                  </a:lnTo>
                  <a:lnTo>
                    <a:pt x="241" y="739"/>
                  </a:lnTo>
                  <a:lnTo>
                    <a:pt x="239" y="730"/>
                  </a:lnTo>
                  <a:lnTo>
                    <a:pt x="238" y="725"/>
                  </a:lnTo>
                  <a:lnTo>
                    <a:pt x="237" y="719"/>
                  </a:lnTo>
                  <a:lnTo>
                    <a:pt x="235" y="709"/>
                  </a:lnTo>
                  <a:lnTo>
                    <a:pt x="235" y="707"/>
                  </a:lnTo>
                  <a:lnTo>
                    <a:pt x="235" y="704"/>
                  </a:lnTo>
                  <a:lnTo>
                    <a:pt x="234" y="701"/>
                  </a:lnTo>
                  <a:lnTo>
                    <a:pt x="232" y="697"/>
                  </a:lnTo>
                  <a:lnTo>
                    <a:pt x="225" y="684"/>
                  </a:lnTo>
                  <a:lnTo>
                    <a:pt x="224" y="679"/>
                  </a:lnTo>
                  <a:lnTo>
                    <a:pt x="223" y="677"/>
                  </a:lnTo>
                  <a:lnTo>
                    <a:pt x="222" y="674"/>
                  </a:lnTo>
                  <a:lnTo>
                    <a:pt x="220" y="666"/>
                  </a:lnTo>
                  <a:lnTo>
                    <a:pt x="220" y="662"/>
                  </a:lnTo>
                  <a:lnTo>
                    <a:pt x="218" y="658"/>
                  </a:lnTo>
                  <a:lnTo>
                    <a:pt x="218" y="656"/>
                  </a:lnTo>
                  <a:lnTo>
                    <a:pt x="217" y="654"/>
                  </a:lnTo>
                  <a:lnTo>
                    <a:pt x="215" y="652"/>
                  </a:lnTo>
                  <a:lnTo>
                    <a:pt x="213" y="650"/>
                  </a:lnTo>
                  <a:lnTo>
                    <a:pt x="212" y="649"/>
                  </a:lnTo>
                  <a:lnTo>
                    <a:pt x="210" y="648"/>
                  </a:lnTo>
                  <a:lnTo>
                    <a:pt x="208" y="647"/>
                  </a:lnTo>
                  <a:lnTo>
                    <a:pt x="206" y="647"/>
                  </a:lnTo>
                  <a:lnTo>
                    <a:pt x="195" y="644"/>
                  </a:lnTo>
                  <a:lnTo>
                    <a:pt x="192" y="643"/>
                  </a:lnTo>
                  <a:lnTo>
                    <a:pt x="188" y="642"/>
                  </a:lnTo>
                  <a:lnTo>
                    <a:pt x="183" y="639"/>
                  </a:lnTo>
                  <a:lnTo>
                    <a:pt x="180" y="638"/>
                  </a:lnTo>
                  <a:lnTo>
                    <a:pt x="176" y="636"/>
                  </a:lnTo>
                  <a:lnTo>
                    <a:pt x="173" y="634"/>
                  </a:lnTo>
                  <a:lnTo>
                    <a:pt x="170" y="632"/>
                  </a:lnTo>
                  <a:lnTo>
                    <a:pt x="168" y="630"/>
                  </a:lnTo>
                  <a:lnTo>
                    <a:pt x="165" y="628"/>
                  </a:lnTo>
                  <a:lnTo>
                    <a:pt x="163" y="626"/>
                  </a:lnTo>
                  <a:lnTo>
                    <a:pt x="160" y="623"/>
                  </a:lnTo>
                  <a:lnTo>
                    <a:pt x="158" y="620"/>
                  </a:lnTo>
                  <a:lnTo>
                    <a:pt x="156" y="617"/>
                  </a:lnTo>
                  <a:lnTo>
                    <a:pt x="154" y="615"/>
                  </a:lnTo>
                  <a:lnTo>
                    <a:pt x="152" y="611"/>
                  </a:lnTo>
                  <a:lnTo>
                    <a:pt x="150" y="608"/>
                  </a:lnTo>
                  <a:lnTo>
                    <a:pt x="149" y="605"/>
                  </a:lnTo>
                  <a:lnTo>
                    <a:pt x="148" y="603"/>
                  </a:lnTo>
                  <a:lnTo>
                    <a:pt x="147" y="599"/>
                  </a:lnTo>
                  <a:lnTo>
                    <a:pt x="145" y="590"/>
                  </a:lnTo>
                  <a:lnTo>
                    <a:pt x="145" y="585"/>
                  </a:lnTo>
                  <a:lnTo>
                    <a:pt x="143" y="582"/>
                  </a:lnTo>
                  <a:lnTo>
                    <a:pt x="139" y="575"/>
                  </a:lnTo>
                  <a:lnTo>
                    <a:pt x="138" y="570"/>
                  </a:lnTo>
                  <a:lnTo>
                    <a:pt x="135" y="563"/>
                  </a:lnTo>
                  <a:lnTo>
                    <a:pt x="134" y="557"/>
                  </a:lnTo>
                  <a:lnTo>
                    <a:pt x="133" y="555"/>
                  </a:lnTo>
                  <a:lnTo>
                    <a:pt x="133" y="552"/>
                  </a:lnTo>
                  <a:lnTo>
                    <a:pt x="132" y="550"/>
                  </a:lnTo>
                  <a:lnTo>
                    <a:pt x="131" y="550"/>
                  </a:lnTo>
                  <a:lnTo>
                    <a:pt x="130" y="549"/>
                  </a:lnTo>
                  <a:lnTo>
                    <a:pt x="128" y="547"/>
                  </a:lnTo>
                  <a:lnTo>
                    <a:pt x="126" y="546"/>
                  </a:lnTo>
                  <a:lnTo>
                    <a:pt x="118" y="542"/>
                  </a:lnTo>
                  <a:lnTo>
                    <a:pt x="116" y="541"/>
                  </a:lnTo>
                  <a:lnTo>
                    <a:pt x="115" y="540"/>
                  </a:lnTo>
                  <a:lnTo>
                    <a:pt x="113" y="539"/>
                  </a:lnTo>
                  <a:lnTo>
                    <a:pt x="113" y="537"/>
                  </a:lnTo>
                  <a:lnTo>
                    <a:pt x="112" y="536"/>
                  </a:lnTo>
                  <a:lnTo>
                    <a:pt x="111" y="535"/>
                  </a:lnTo>
                  <a:lnTo>
                    <a:pt x="110" y="532"/>
                  </a:lnTo>
                  <a:lnTo>
                    <a:pt x="111" y="530"/>
                  </a:lnTo>
                  <a:lnTo>
                    <a:pt x="112" y="527"/>
                  </a:lnTo>
                  <a:lnTo>
                    <a:pt x="113" y="525"/>
                  </a:lnTo>
                  <a:lnTo>
                    <a:pt x="114" y="522"/>
                  </a:lnTo>
                  <a:lnTo>
                    <a:pt x="115" y="521"/>
                  </a:lnTo>
                  <a:lnTo>
                    <a:pt x="118" y="519"/>
                  </a:lnTo>
                  <a:lnTo>
                    <a:pt x="123" y="515"/>
                  </a:lnTo>
                  <a:lnTo>
                    <a:pt x="124" y="514"/>
                  </a:lnTo>
                  <a:lnTo>
                    <a:pt x="125" y="513"/>
                  </a:lnTo>
                  <a:lnTo>
                    <a:pt x="125" y="511"/>
                  </a:lnTo>
                  <a:lnTo>
                    <a:pt x="126" y="509"/>
                  </a:lnTo>
                  <a:lnTo>
                    <a:pt x="126" y="507"/>
                  </a:lnTo>
                  <a:lnTo>
                    <a:pt x="126" y="506"/>
                  </a:lnTo>
                  <a:lnTo>
                    <a:pt x="126" y="505"/>
                  </a:lnTo>
                  <a:lnTo>
                    <a:pt x="125" y="505"/>
                  </a:lnTo>
                  <a:lnTo>
                    <a:pt x="125" y="504"/>
                  </a:lnTo>
                  <a:lnTo>
                    <a:pt x="123" y="503"/>
                  </a:lnTo>
                  <a:lnTo>
                    <a:pt x="122" y="503"/>
                  </a:lnTo>
                  <a:lnTo>
                    <a:pt x="120" y="503"/>
                  </a:lnTo>
                  <a:lnTo>
                    <a:pt x="118" y="503"/>
                  </a:lnTo>
                  <a:lnTo>
                    <a:pt x="110" y="505"/>
                  </a:lnTo>
                  <a:lnTo>
                    <a:pt x="107" y="505"/>
                  </a:lnTo>
                  <a:lnTo>
                    <a:pt x="104" y="505"/>
                  </a:lnTo>
                  <a:lnTo>
                    <a:pt x="103" y="504"/>
                  </a:lnTo>
                  <a:lnTo>
                    <a:pt x="101" y="503"/>
                  </a:lnTo>
                  <a:lnTo>
                    <a:pt x="99" y="502"/>
                  </a:lnTo>
                  <a:lnTo>
                    <a:pt x="97" y="502"/>
                  </a:lnTo>
                  <a:lnTo>
                    <a:pt x="95" y="500"/>
                  </a:lnTo>
                  <a:lnTo>
                    <a:pt x="93" y="499"/>
                  </a:lnTo>
                  <a:lnTo>
                    <a:pt x="90" y="497"/>
                  </a:lnTo>
                  <a:lnTo>
                    <a:pt x="88" y="495"/>
                  </a:lnTo>
                  <a:lnTo>
                    <a:pt x="86" y="492"/>
                  </a:lnTo>
                  <a:lnTo>
                    <a:pt x="85" y="490"/>
                  </a:lnTo>
                  <a:lnTo>
                    <a:pt x="83" y="487"/>
                  </a:lnTo>
                  <a:lnTo>
                    <a:pt x="82" y="485"/>
                  </a:lnTo>
                  <a:lnTo>
                    <a:pt x="81" y="482"/>
                  </a:lnTo>
                  <a:lnTo>
                    <a:pt x="80" y="480"/>
                  </a:lnTo>
                  <a:lnTo>
                    <a:pt x="81" y="477"/>
                  </a:lnTo>
                  <a:lnTo>
                    <a:pt x="81" y="475"/>
                  </a:lnTo>
                  <a:lnTo>
                    <a:pt x="83" y="461"/>
                  </a:lnTo>
                  <a:lnTo>
                    <a:pt x="84" y="455"/>
                  </a:lnTo>
                  <a:lnTo>
                    <a:pt x="84" y="453"/>
                  </a:lnTo>
                  <a:lnTo>
                    <a:pt x="84" y="452"/>
                  </a:lnTo>
                  <a:lnTo>
                    <a:pt x="83" y="450"/>
                  </a:lnTo>
                  <a:lnTo>
                    <a:pt x="83" y="449"/>
                  </a:lnTo>
                  <a:lnTo>
                    <a:pt x="82" y="447"/>
                  </a:lnTo>
                  <a:lnTo>
                    <a:pt x="80" y="445"/>
                  </a:lnTo>
                  <a:lnTo>
                    <a:pt x="78" y="444"/>
                  </a:lnTo>
                  <a:lnTo>
                    <a:pt x="73" y="440"/>
                  </a:lnTo>
                  <a:lnTo>
                    <a:pt x="72" y="440"/>
                  </a:lnTo>
                  <a:lnTo>
                    <a:pt x="70" y="438"/>
                  </a:lnTo>
                  <a:lnTo>
                    <a:pt x="67" y="434"/>
                  </a:lnTo>
                  <a:lnTo>
                    <a:pt x="65" y="432"/>
                  </a:lnTo>
                  <a:lnTo>
                    <a:pt x="64" y="432"/>
                  </a:lnTo>
                  <a:lnTo>
                    <a:pt x="63" y="431"/>
                  </a:lnTo>
                  <a:lnTo>
                    <a:pt x="55" y="429"/>
                  </a:lnTo>
                  <a:lnTo>
                    <a:pt x="53" y="427"/>
                  </a:lnTo>
                  <a:lnTo>
                    <a:pt x="50" y="426"/>
                  </a:lnTo>
                  <a:lnTo>
                    <a:pt x="48" y="425"/>
                  </a:lnTo>
                  <a:lnTo>
                    <a:pt x="48" y="424"/>
                  </a:lnTo>
                  <a:lnTo>
                    <a:pt x="47" y="422"/>
                  </a:lnTo>
                  <a:lnTo>
                    <a:pt x="46" y="421"/>
                  </a:lnTo>
                  <a:lnTo>
                    <a:pt x="45" y="419"/>
                  </a:lnTo>
                  <a:lnTo>
                    <a:pt x="43" y="411"/>
                  </a:lnTo>
                  <a:lnTo>
                    <a:pt x="43" y="409"/>
                  </a:lnTo>
                  <a:lnTo>
                    <a:pt x="41" y="407"/>
                  </a:lnTo>
                  <a:lnTo>
                    <a:pt x="40" y="404"/>
                  </a:lnTo>
                  <a:lnTo>
                    <a:pt x="38" y="401"/>
                  </a:lnTo>
                  <a:lnTo>
                    <a:pt x="36" y="399"/>
                  </a:lnTo>
                  <a:lnTo>
                    <a:pt x="33" y="395"/>
                  </a:lnTo>
                  <a:lnTo>
                    <a:pt x="33" y="395"/>
                  </a:lnTo>
                  <a:lnTo>
                    <a:pt x="32" y="394"/>
                  </a:lnTo>
                  <a:lnTo>
                    <a:pt x="32" y="392"/>
                  </a:lnTo>
                  <a:lnTo>
                    <a:pt x="32" y="391"/>
                  </a:lnTo>
                  <a:lnTo>
                    <a:pt x="33" y="390"/>
                  </a:lnTo>
                  <a:lnTo>
                    <a:pt x="33" y="388"/>
                  </a:lnTo>
                  <a:lnTo>
                    <a:pt x="39" y="380"/>
                  </a:lnTo>
                  <a:lnTo>
                    <a:pt x="40" y="376"/>
                  </a:lnTo>
                  <a:lnTo>
                    <a:pt x="42" y="374"/>
                  </a:lnTo>
                  <a:lnTo>
                    <a:pt x="43" y="372"/>
                  </a:lnTo>
                  <a:lnTo>
                    <a:pt x="44" y="366"/>
                  </a:lnTo>
                  <a:lnTo>
                    <a:pt x="45" y="363"/>
                  </a:lnTo>
                  <a:lnTo>
                    <a:pt x="45" y="361"/>
                  </a:lnTo>
                  <a:lnTo>
                    <a:pt x="45" y="360"/>
                  </a:lnTo>
                  <a:lnTo>
                    <a:pt x="44" y="358"/>
                  </a:lnTo>
                  <a:lnTo>
                    <a:pt x="43" y="356"/>
                  </a:lnTo>
                  <a:lnTo>
                    <a:pt x="43" y="354"/>
                  </a:lnTo>
                  <a:lnTo>
                    <a:pt x="42" y="352"/>
                  </a:lnTo>
                  <a:lnTo>
                    <a:pt x="40" y="348"/>
                  </a:lnTo>
                  <a:lnTo>
                    <a:pt x="38" y="346"/>
                  </a:lnTo>
                  <a:lnTo>
                    <a:pt x="37" y="344"/>
                  </a:lnTo>
                  <a:lnTo>
                    <a:pt x="36" y="343"/>
                  </a:lnTo>
                  <a:lnTo>
                    <a:pt x="33" y="341"/>
                  </a:lnTo>
                  <a:lnTo>
                    <a:pt x="32" y="340"/>
                  </a:lnTo>
                  <a:lnTo>
                    <a:pt x="30" y="338"/>
                  </a:lnTo>
                  <a:lnTo>
                    <a:pt x="28" y="337"/>
                  </a:lnTo>
                  <a:lnTo>
                    <a:pt x="26" y="336"/>
                  </a:lnTo>
                  <a:lnTo>
                    <a:pt x="22" y="335"/>
                  </a:lnTo>
                  <a:lnTo>
                    <a:pt x="17" y="333"/>
                  </a:lnTo>
                  <a:lnTo>
                    <a:pt x="10" y="332"/>
                  </a:lnTo>
                  <a:lnTo>
                    <a:pt x="8" y="331"/>
                  </a:lnTo>
                  <a:lnTo>
                    <a:pt x="6" y="330"/>
                  </a:lnTo>
                  <a:lnTo>
                    <a:pt x="4" y="330"/>
                  </a:lnTo>
                  <a:lnTo>
                    <a:pt x="3" y="329"/>
                  </a:lnTo>
                  <a:lnTo>
                    <a:pt x="2" y="328"/>
                  </a:lnTo>
                  <a:lnTo>
                    <a:pt x="1" y="326"/>
                  </a:lnTo>
                  <a:lnTo>
                    <a:pt x="1" y="325"/>
                  </a:lnTo>
                  <a:lnTo>
                    <a:pt x="0" y="324"/>
                  </a:lnTo>
                  <a:lnTo>
                    <a:pt x="0" y="321"/>
                  </a:lnTo>
                  <a:lnTo>
                    <a:pt x="1" y="320"/>
                  </a:lnTo>
                  <a:lnTo>
                    <a:pt x="1" y="318"/>
                  </a:lnTo>
                  <a:lnTo>
                    <a:pt x="1" y="317"/>
                  </a:lnTo>
                  <a:lnTo>
                    <a:pt x="2" y="315"/>
                  </a:lnTo>
                  <a:lnTo>
                    <a:pt x="6" y="310"/>
                  </a:lnTo>
                  <a:lnTo>
                    <a:pt x="7" y="309"/>
                  </a:lnTo>
                  <a:lnTo>
                    <a:pt x="8" y="307"/>
                  </a:lnTo>
                  <a:lnTo>
                    <a:pt x="9" y="305"/>
                  </a:lnTo>
                  <a:lnTo>
                    <a:pt x="10" y="302"/>
                  </a:lnTo>
                  <a:lnTo>
                    <a:pt x="11" y="293"/>
                  </a:lnTo>
                  <a:lnTo>
                    <a:pt x="11" y="286"/>
                  </a:lnTo>
                  <a:lnTo>
                    <a:pt x="11" y="283"/>
                  </a:lnTo>
                  <a:lnTo>
                    <a:pt x="11" y="280"/>
                  </a:lnTo>
                  <a:lnTo>
                    <a:pt x="13" y="278"/>
                  </a:lnTo>
                  <a:lnTo>
                    <a:pt x="14" y="275"/>
                  </a:lnTo>
                  <a:lnTo>
                    <a:pt x="16" y="273"/>
                  </a:lnTo>
                  <a:lnTo>
                    <a:pt x="17" y="271"/>
                  </a:lnTo>
                  <a:lnTo>
                    <a:pt x="19" y="270"/>
                  </a:lnTo>
                  <a:lnTo>
                    <a:pt x="21" y="270"/>
                  </a:lnTo>
                  <a:lnTo>
                    <a:pt x="23" y="269"/>
                  </a:lnTo>
                  <a:lnTo>
                    <a:pt x="24" y="269"/>
                  </a:lnTo>
                  <a:lnTo>
                    <a:pt x="31" y="269"/>
                  </a:lnTo>
                  <a:lnTo>
                    <a:pt x="32" y="269"/>
                  </a:lnTo>
                  <a:lnTo>
                    <a:pt x="33" y="268"/>
                  </a:lnTo>
                  <a:lnTo>
                    <a:pt x="35" y="268"/>
                  </a:lnTo>
                  <a:lnTo>
                    <a:pt x="36" y="267"/>
                  </a:lnTo>
                  <a:lnTo>
                    <a:pt x="38" y="265"/>
                  </a:lnTo>
                  <a:lnTo>
                    <a:pt x="38" y="264"/>
                  </a:lnTo>
                  <a:lnTo>
                    <a:pt x="40" y="261"/>
                  </a:lnTo>
                  <a:lnTo>
                    <a:pt x="41" y="258"/>
                  </a:lnTo>
                  <a:lnTo>
                    <a:pt x="43" y="254"/>
                  </a:lnTo>
                  <a:lnTo>
                    <a:pt x="43" y="250"/>
                  </a:lnTo>
                  <a:lnTo>
                    <a:pt x="44" y="246"/>
                  </a:lnTo>
                  <a:lnTo>
                    <a:pt x="45" y="241"/>
                  </a:lnTo>
                  <a:lnTo>
                    <a:pt x="45" y="237"/>
                  </a:lnTo>
                  <a:lnTo>
                    <a:pt x="45" y="230"/>
                  </a:lnTo>
                  <a:lnTo>
                    <a:pt x="45" y="228"/>
                  </a:lnTo>
                  <a:lnTo>
                    <a:pt x="46" y="228"/>
                  </a:lnTo>
                  <a:lnTo>
                    <a:pt x="47" y="228"/>
                  </a:lnTo>
                  <a:lnTo>
                    <a:pt x="52" y="227"/>
                  </a:lnTo>
                  <a:lnTo>
                    <a:pt x="54" y="227"/>
                  </a:lnTo>
                  <a:lnTo>
                    <a:pt x="56" y="227"/>
                  </a:lnTo>
                  <a:lnTo>
                    <a:pt x="58" y="227"/>
                  </a:lnTo>
                  <a:lnTo>
                    <a:pt x="61" y="228"/>
                  </a:lnTo>
                  <a:lnTo>
                    <a:pt x="64" y="228"/>
                  </a:lnTo>
                  <a:lnTo>
                    <a:pt x="67" y="229"/>
                  </a:lnTo>
                  <a:lnTo>
                    <a:pt x="69" y="230"/>
                  </a:lnTo>
                  <a:lnTo>
                    <a:pt x="72" y="233"/>
                  </a:lnTo>
                  <a:lnTo>
                    <a:pt x="74" y="234"/>
                  </a:lnTo>
                  <a:lnTo>
                    <a:pt x="77" y="236"/>
                  </a:lnTo>
                  <a:lnTo>
                    <a:pt x="79" y="238"/>
                  </a:lnTo>
                  <a:lnTo>
                    <a:pt x="82" y="243"/>
                  </a:lnTo>
                  <a:lnTo>
                    <a:pt x="88" y="250"/>
                  </a:lnTo>
                  <a:lnTo>
                    <a:pt x="90" y="253"/>
                  </a:lnTo>
                  <a:lnTo>
                    <a:pt x="92" y="255"/>
                  </a:lnTo>
                  <a:lnTo>
                    <a:pt x="93" y="257"/>
                  </a:lnTo>
                  <a:lnTo>
                    <a:pt x="95" y="258"/>
                  </a:lnTo>
                  <a:lnTo>
                    <a:pt x="97" y="259"/>
                  </a:lnTo>
                  <a:lnTo>
                    <a:pt x="98" y="260"/>
                  </a:lnTo>
                  <a:lnTo>
                    <a:pt x="101" y="260"/>
                  </a:lnTo>
                  <a:lnTo>
                    <a:pt x="103" y="260"/>
                  </a:lnTo>
                  <a:lnTo>
                    <a:pt x="105" y="260"/>
                  </a:lnTo>
                  <a:lnTo>
                    <a:pt x="108" y="260"/>
                  </a:lnTo>
                  <a:lnTo>
                    <a:pt x="110" y="260"/>
                  </a:lnTo>
                  <a:lnTo>
                    <a:pt x="113" y="260"/>
                  </a:lnTo>
                  <a:lnTo>
                    <a:pt x="119" y="258"/>
                  </a:lnTo>
                  <a:lnTo>
                    <a:pt x="123" y="257"/>
                  </a:lnTo>
                  <a:lnTo>
                    <a:pt x="125" y="257"/>
                  </a:lnTo>
                  <a:lnTo>
                    <a:pt x="128" y="257"/>
                  </a:lnTo>
                  <a:lnTo>
                    <a:pt x="130" y="257"/>
                  </a:lnTo>
                  <a:lnTo>
                    <a:pt x="132" y="257"/>
                  </a:lnTo>
                  <a:lnTo>
                    <a:pt x="134" y="258"/>
                  </a:lnTo>
                  <a:lnTo>
                    <a:pt x="137" y="258"/>
                  </a:lnTo>
                  <a:lnTo>
                    <a:pt x="139" y="259"/>
                  </a:lnTo>
                  <a:lnTo>
                    <a:pt x="140" y="260"/>
                  </a:lnTo>
                  <a:lnTo>
                    <a:pt x="143" y="261"/>
                  </a:lnTo>
                  <a:lnTo>
                    <a:pt x="145" y="263"/>
                  </a:lnTo>
                  <a:lnTo>
                    <a:pt x="153" y="268"/>
                  </a:lnTo>
                  <a:lnTo>
                    <a:pt x="155" y="269"/>
                  </a:lnTo>
                  <a:lnTo>
                    <a:pt x="156" y="270"/>
                  </a:lnTo>
                  <a:lnTo>
                    <a:pt x="158" y="270"/>
                  </a:lnTo>
                  <a:lnTo>
                    <a:pt x="160" y="270"/>
                  </a:lnTo>
                  <a:lnTo>
                    <a:pt x="161" y="270"/>
                  </a:lnTo>
                  <a:lnTo>
                    <a:pt x="162" y="269"/>
                  </a:lnTo>
                  <a:lnTo>
                    <a:pt x="163" y="268"/>
                  </a:lnTo>
                  <a:lnTo>
                    <a:pt x="163" y="268"/>
                  </a:lnTo>
                  <a:lnTo>
                    <a:pt x="163" y="267"/>
                  </a:lnTo>
                  <a:lnTo>
                    <a:pt x="163" y="265"/>
                  </a:lnTo>
                  <a:lnTo>
                    <a:pt x="163" y="264"/>
                  </a:lnTo>
                  <a:lnTo>
                    <a:pt x="162" y="263"/>
                  </a:lnTo>
                  <a:lnTo>
                    <a:pt x="160" y="261"/>
                  </a:lnTo>
                  <a:lnTo>
                    <a:pt x="160" y="260"/>
                  </a:lnTo>
                  <a:lnTo>
                    <a:pt x="153" y="255"/>
                  </a:lnTo>
                  <a:lnTo>
                    <a:pt x="146" y="248"/>
                  </a:lnTo>
                  <a:lnTo>
                    <a:pt x="143" y="245"/>
                  </a:lnTo>
                  <a:lnTo>
                    <a:pt x="139" y="240"/>
                  </a:lnTo>
                  <a:lnTo>
                    <a:pt x="136" y="236"/>
                  </a:lnTo>
                  <a:lnTo>
                    <a:pt x="135" y="234"/>
                  </a:lnTo>
                  <a:lnTo>
                    <a:pt x="134" y="232"/>
                  </a:lnTo>
                  <a:lnTo>
                    <a:pt x="133" y="230"/>
                  </a:lnTo>
                  <a:lnTo>
                    <a:pt x="132" y="226"/>
                  </a:lnTo>
                  <a:lnTo>
                    <a:pt x="131" y="224"/>
                  </a:lnTo>
                  <a:lnTo>
                    <a:pt x="131" y="223"/>
                  </a:lnTo>
                  <a:lnTo>
                    <a:pt x="130" y="220"/>
                  </a:lnTo>
                  <a:lnTo>
                    <a:pt x="131" y="217"/>
                  </a:lnTo>
                  <a:lnTo>
                    <a:pt x="132" y="214"/>
                  </a:lnTo>
                  <a:lnTo>
                    <a:pt x="133" y="212"/>
                  </a:lnTo>
                  <a:lnTo>
                    <a:pt x="135" y="209"/>
                  </a:lnTo>
                  <a:lnTo>
                    <a:pt x="137" y="205"/>
                  </a:lnTo>
                  <a:lnTo>
                    <a:pt x="145" y="197"/>
                  </a:lnTo>
                  <a:lnTo>
                    <a:pt x="147" y="195"/>
                  </a:lnTo>
                  <a:lnTo>
                    <a:pt x="148" y="193"/>
                  </a:lnTo>
                  <a:lnTo>
                    <a:pt x="148" y="190"/>
                  </a:lnTo>
                  <a:lnTo>
                    <a:pt x="148" y="188"/>
                  </a:lnTo>
                  <a:lnTo>
                    <a:pt x="148" y="186"/>
                  </a:lnTo>
                  <a:lnTo>
                    <a:pt x="148" y="183"/>
                  </a:lnTo>
                  <a:lnTo>
                    <a:pt x="147" y="182"/>
                  </a:lnTo>
                  <a:lnTo>
                    <a:pt x="146" y="180"/>
                  </a:lnTo>
                  <a:lnTo>
                    <a:pt x="145" y="179"/>
                  </a:lnTo>
                  <a:lnTo>
                    <a:pt x="143" y="178"/>
                  </a:lnTo>
                  <a:lnTo>
                    <a:pt x="140" y="175"/>
                  </a:lnTo>
                  <a:lnTo>
                    <a:pt x="135" y="172"/>
                  </a:lnTo>
                  <a:lnTo>
                    <a:pt x="133" y="171"/>
                  </a:lnTo>
                  <a:lnTo>
                    <a:pt x="128" y="168"/>
                  </a:lnTo>
                  <a:lnTo>
                    <a:pt x="125" y="166"/>
                  </a:lnTo>
                  <a:lnTo>
                    <a:pt x="124" y="165"/>
                  </a:lnTo>
                  <a:lnTo>
                    <a:pt x="122" y="163"/>
                  </a:lnTo>
                  <a:lnTo>
                    <a:pt x="120" y="161"/>
                  </a:lnTo>
                  <a:lnTo>
                    <a:pt x="119" y="159"/>
                  </a:lnTo>
                  <a:lnTo>
                    <a:pt x="116" y="155"/>
                  </a:lnTo>
                  <a:lnTo>
                    <a:pt x="114" y="150"/>
                  </a:lnTo>
                  <a:lnTo>
                    <a:pt x="112" y="145"/>
                  </a:lnTo>
                  <a:lnTo>
                    <a:pt x="110" y="142"/>
                  </a:lnTo>
                  <a:lnTo>
                    <a:pt x="108" y="133"/>
                  </a:lnTo>
                  <a:lnTo>
                    <a:pt x="108" y="129"/>
                  </a:lnTo>
                  <a:lnTo>
                    <a:pt x="108" y="127"/>
                  </a:lnTo>
                  <a:lnTo>
                    <a:pt x="108" y="126"/>
                  </a:lnTo>
                  <a:lnTo>
                    <a:pt x="108" y="124"/>
                  </a:lnTo>
                  <a:lnTo>
                    <a:pt x="108" y="123"/>
                  </a:lnTo>
                  <a:lnTo>
                    <a:pt x="108" y="121"/>
                  </a:lnTo>
                  <a:lnTo>
                    <a:pt x="109" y="120"/>
                  </a:lnTo>
                  <a:lnTo>
                    <a:pt x="110" y="118"/>
                  </a:lnTo>
                  <a:lnTo>
                    <a:pt x="112" y="118"/>
                  </a:lnTo>
                  <a:lnTo>
                    <a:pt x="113" y="117"/>
                  </a:lnTo>
                  <a:lnTo>
                    <a:pt x="115" y="117"/>
                  </a:lnTo>
                  <a:lnTo>
                    <a:pt x="116" y="116"/>
                  </a:lnTo>
                  <a:lnTo>
                    <a:pt x="118" y="116"/>
                  </a:lnTo>
                  <a:lnTo>
                    <a:pt x="120" y="116"/>
                  </a:lnTo>
                  <a:lnTo>
                    <a:pt x="122" y="117"/>
                  </a:lnTo>
                  <a:lnTo>
                    <a:pt x="124" y="118"/>
                  </a:lnTo>
                  <a:lnTo>
                    <a:pt x="130" y="120"/>
                  </a:lnTo>
                  <a:lnTo>
                    <a:pt x="135" y="121"/>
                  </a:lnTo>
                  <a:lnTo>
                    <a:pt x="139" y="123"/>
                  </a:lnTo>
                  <a:lnTo>
                    <a:pt x="143" y="123"/>
                  </a:lnTo>
                  <a:lnTo>
                    <a:pt x="148" y="124"/>
                  </a:lnTo>
                  <a:lnTo>
                    <a:pt x="151" y="124"/>
                  </a:lnTo>
                  <a:lnTo>
                    <a:pt x="155" y="124"/>
                  </a:lnTo>
                  <a:lnTo>
                    <a:pt x="158" y="123"/>
                  </a:lnTo>
                  <a:lnTo>
                    <a:pt x="173" y="120"/>
                  </a:lnTo>
                  <a:lnTo>
                    <a:pt x="177" y="118"/>
                  </a:lnTo>
                  <a:lnTo>
                    <a:pt x="181" y="117"/>
                  </a:lnTo>
                  <a:lnTo>
                    <a:pt x="188" y="113"/>
                  </a:lnTo>
                  <a:lnTo>
                    <a:pt x="191" y="112"/>
                  </a:lnTo>
                  <a:lnTo>
                    <a:pt x="199" y="107"/>
                  </a:lnTo>
                  <a:lnTo>
                    <a:pt x="206" y="103"/>
                  </a:lnTo>
                  <a:lnTo>
                    <a:pt x="208" y="101"/>
                  </a:lnTo>
                  <a:lnTo>
                    <a:pt x="210" y="100"/>
                  </a:lnTo>
                  <a:lnTo>
                    <a:pt x="211" y="98"/>
                  </a:lnTo>
                  <a:lnTo>
                    <a:pt x="212" y="97"/>
                  </a:lnTo>
                  <a:lnTo>
                    <a:pt x="213" y="95"/>
                  </a:lnTo>
                  <a:lnTo>
                    <a:pt x="213" y="92"/>
                  </a:lnTo>
                  <a:lnTo>
                    <a:pt x="215" y="81"/>
                  </a:lnTo>
                  <a:lnTo>
                    <a:pt x="216" y="76"/>
                  </a:lnTo>
                  <a:lnTo>
                    <a:pt x="217" y="73"/>
                  </a:lnTo>
                  <a:lnTo>
                    <a:pt x="219" y="67"/>
                  </a:lnTo>
                  <a:lnTo>
                    <a:pt x="220" y="64"/>
                  </a:lnTo>
                  <a:lnTo>
                    <a:pt x="225" y="56"/>
                  </a:lnTo>
                  <a:lnTo>
                    <a:pt x="226" y="52"/>
                  </a:lnTo>
                  <a:lnTo>
                    <a:pt x="228" y="48"/>
                  </a:lnTo>
                  <a:lnTo>
                    <a:pt x="228" y="46"/>
                  </a:lnTo>
                  <a:lnTo>
                    <a:pt x="228" y="45"/>
                  </a:lnTo>
                  <a:lnTo>
                    <a:pt x="228" y="43"/>
                  </a:lnTo>
                  <a:lnTo>
                    <a:pt x="228" y="42"/>
                  </a:lnTo>
                  <a:lnTo>
                    <a:pt x="228" y="41"/>
                  </a:lnTo>
                  <a:lnTo>
                    <a:pt x="227" y="39"/>
                  </a:lnTo>
                  <a:lnTo>
                    <a:pt x="225" y="38"/>
                  </a:lnTo>
                  <a:lnTo>
                    <a:pt x="223" y="34"/>
                  </a:lnTo>
                  <a:lnTo>
                    <a:pt x="218" y="28"/>
                  </a:lnTo>
                  <a:lnTo>
                    <a:pt x="216" y="26"/>
                  </a:lnTo>
                  <a:lnTo>
                    <a:pt x="215" y="24"/>
                  </a:lnTo>
                  <a:lnTo>
                    <a:pt x="214" y="21"/>
                  </a:lnTo>
                  <a:lnTo>
                    <a:pt x="213" y="19"/>
                  </a:lnTo>
                  <a:lnTo>
                    <a:pt x="213" y="18"/>
                  </a:lnTo>
                  <a:lnTo>
                    <a:pt x="213" y="16"/>
                  </a:lnTo>
                  <a:lnTo>
                    <a:pt x="214" y="15"/>
                  </a:lnTo>
                  <a:lnTo>
                    <a:pt x="215" y="14"/>
                  </a:lnTo>
                  <a:lnTo>
                    <a:pt x="217" y="13"/>
                  </a:lnTo>
                  <a:lnTo>
                    <a:pt x="220" y="11"/>
                  </a:lnTo>
                  <a:lnTo>
                    <a:pt x="223" y="9"/>
                  </a:lnTo>
                  <a:lnTo>
                    <a:pt x="226" y="8"/>
                  </a:lnTo>
                  <a:lnTo>
                    <a:pt x="231" y="6"/>
                  </a:lnTo>
                  <a:lnTo>
                    <a:pt x="244" y="4"/>
                  </a:lnTo>
                  <a:lnTo>
                    <a:pt x="247" y="3"/>
                  </a:lnTo>
                  <a:lnTo>
                    <a:pt x="250" y="2"/>
                  </a:lnTo>
                  <a:lnTo>
                    <a:pt x="251" y="1"/>
                  </a:lnTo>
                  <a:lnTo>
                    <a:pt x="253" y="1"/>
                  </a:lnTo>
                  <a:lnTo>
                    <a:pt x="256" y="1"/>
                  </a:lnTo>
                  <a:lnTo>
                    <a:pt x="258" y="1"/>
                  </a:lnTo>
                  <a:lnTo>
                    <a:pt x="260" y="1"/>
                  </a:lnTo>
                  <a:lnTo>
                    <a:pt x="261" y="1"/>
                  </a:lnTo>
                  <a:lnTo>
                    <a:pt x="262" y="0"/>
                  </a:lnTo>
                  <a:lnTo>
                    <a:pt x="263" y="0"/>
                  </a:lnTo>
                  <a:close/>
                </a:path>
              </a:pathLst>
            </a:custGeom>
            <a:solidFill>
              <a:srgbClr val="EFF3FF"/>
            </a:solidFill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97">
              <a:extLst>
                <a:ext uri="{FF2B5EF4-FFF2-40B4-BE49-F238E27FC236}">
                  <a16:creationId xmlns:a16="http://schemas.microsoft.com/office/drawing/2014/main" id="{D222679B-EFD3-A4FC-05F8-32162B4E4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8673" y="5043325"/>
              <a:ext cx="996950" cy="1444625"/>
            </a:xfrm>
            <a:custGeom>
              <a:avLst/>
              <a:gdLst>
                <a:gd name="T0" fmla="*/ 169 w 628"/>
                <a:gd name="T1" fmla="*/ 5 h 910"/>
                <a:gd name="T2" fmla="*/ 189 w 628"/>
                <a:gd name="T3" fmla="*/ 76 h 910"/>
                <a:gd name="T4" fmla="*/ 212 w 628"/>
                <a:gd name="T5" fmla="*/ 77 h 910"/>
                <a:gd name="T6" fmla="*/ 241 w 628"/>
                <a:gd name="T7" fmla="*/ 94 h 910"/>
                <a:gd name="T8" fmla="*/ 269 w 628"/>
                <a:gd name="T9" fmla="*/ 132 h 910"/>
                <a:gd name="T10" fmla="*/ 331 w 628"/>
                <a:gd name="T11" fmla="*/ 152 h 910"/>
                <a:gd name="T12" fmla="*/ 359 w 628"/>
                <a:gd name="T13" fmla="*/ 197 h 910"/>
                <a:gd name="T14" fmla="*/ 386 w 628"/>
                <a:gd name="T15" fmla="*/ 229 h 910"/>
                <a:gd name="T16" fmla="*/ 431 w 628"/>
                <a:gd name="T17" fmla="*/ 257 h 910"/>
                <a:gd name="T18" fmla="*/ 421 w 628"/>
                <a:gd name="T19" fmla="*/ 296 h 910"/>
                <a:gd name="T20" fmla="*/ 398 w 628"/>
                <a:gd name="T21" fmla="*/ 307 h 910"/>
                <a:gd name="T22" fmla="*/ 386 w 628"/>
                <a:gd name="T23" fmla="*/ 347 h 910"/>
                <a:gd name="T24" fmla="*/ 402 w 628"/>
                <a:gd name="T25" fmla="*/ 362 h 910"/>
                <a:gd name="T26" fmla="*/ 428 w 628"/>
                <a:gd name="T27" fmla="*/ 383 h 910"/>
                <a:gd name="T28" fmla="*/ 418 w 628"/>
                <a:gd name="T29" fmla="*/ 419 h 910"/>
                <a:gd name="T30" fmla="*/ 430 w 628"/>
                <a:gd name="T31" fmla="*/ 448 h 910"/>
                <a:gd name="T32" fmla="*/ 455 w 628"/>
                <a:gd name="T33" fmla="*/ 467 h 910"/>
                <a:gd name="T34" fmla="*/ 466 w 628"/>
                <a:gd name="T35" fmla="*/ 504 h 910"/>
                <a:gd name="T36" fmla="*/ 482 w 628"/>
                <a:gd name="T37" fmla="*/ 531 h 910"/>
                <a:gd name="T38" fmla="*/ 510 w 628"/>
                <a:gd name="T39" fmla="*/ 534 h 910"/>
                <a:gd name="T40" fmla="*/ 498 w 628"/>
                <a:gd name="T41" fmla="*/ 554 h 910"/>
                <a:gd name="T42" fmla="*/ 513 w 628"/>
                <a:gd name="T43" fmla="*/ 576 h 910"/>
                <a:gd name="T44" fmla="*/ 530 w 628"/>
                <a:gd name="T45" fmla="*/ 619 h 910"/>
                <a:gd name="T46" fmla="*/ 553 w 628"/>
                <a:gd name="T47" fmla="*/ 659 h 910"/>
                <a:gd name="T48" fmla="*/ 597 w 628"/>
                <a:gd name="T49" fmla="*/ 678 h 910"/>
                <a:gd name="T50" fmla="*/ 617 w 628"/>
                <a:gd name="T51" fmla="*/ 726 h 910"/>
                <a:gd name="T52" fmla="*/ 627 w 628"/>
                <a:gd name="T53" fmla="*/ 778 h 910"/>
                <a:gd name="T54" fmla="*/ 584 w 628"/>
                <a:gd name="T55" fmla="*/ 766 h 910"/>
                <a:gd name="T56" fmla="*/ 545 w 628"/>
                <a:gd name="T57" fmla="*/ 772 h 910"/>
                <a:gd name="T58" fmla="*/ 530 w 628"/>
                <a:gd name="T59" fmla="*/ 833 h 910"/>
                <a:gd name="T60" fmla="*/ 480 w 628"/>
                <a:gd name="T61" fmla="*/ 880 h 910"/>
                <a:gd name="T62" fmla="*/ 460 w 628"/>
                <a:gd name="T63" fmla="*/ 910 h 910"/>
                <a:gd name="T64" fmla="*/ 438 w 628"/>
                <a:gd name="T65" fmla="*/ 876 h 910"/>
                <a:gd name="T66" fmla="*/ 435 w 628"/>
                <a:gd name="T67" fmla="*/ 834 h 910"/>
                <a:gd name="T68" fmla="*/ 411 w 628"/>
                <a:gd name="T69" fmla="*/ 821 h 910"/>
                <a:gd name="T70" fmla="*/ 348 w 628"/>
                <a:gd name="T71" fmla="*/ 763 h 910"/>
                <a:gd name="T72" fmla="*/ 336 w 628"/>
                <a:gd name="T73" fmla="*/ 728 h 910"/>
                <a:gd name="T74" fmla="*/ 275 w 628"/>
                <a:gd name="T75" fmla="*/ 743 h 910"/>
                <a:gd name="T76" fmla="*/ 250 w 628"/>
                <a:gd name="T77" fmla="*/ 731 h 910"/>
                <a:gd name="T78" fmla="*/ 238 w 628"/>
                <a:gd name="T79" fmla="*/ 684 h 910"/>
                <a:gd name="T80" fmla="*/ 203 w 628"/>
                <a:gd name="T81" fmla="*/ 649 h 910"/>
                <a:gd name="T82" fmla="*/ 162 w 628"/>
                <a:gd name="T83" fmla="*/ 626 h 910"/>
                <a:gd name="T84" fmla="*/ 159 w 628"/>
                <a:gd name="T85" fmla="*/ 604 h 910"/>
                <a:gd name="T86" fmla="*/ 99 w 628"/>
                <a:gd name="T87" fmla="*/ 569 h 910"/>
                <a:gd name="T88" fmla="*/ 61 w 628"/>
                <a:gd name="T89" fmla="*/ 532 h 910"/>
                <a:gd name="T90" fmla="*/ 21 w 628"/>
                <a:gd name="T91" fmla="*/ 501 h 910"/>
                <a:gd name="T92" fmla="*/ 0 w 628"/>
                <a:gd name="T93" fmla="*/ 472 h 910"/>
                <a:gd name="T94" fmla="*/ 22 w 628"/>
                <a:gd name="T95" fmla="*/ 448 h 910"/>
                <a:gd name="T96" fmla="*/ 59 w 628"/>
                <a:gd name="T97" fmla="*/ 419 h 910"/>
                <a:gd name="T98" fmla="*/ 49 w 628"/>
                <a:gd name="T99" fmla="*/ 382 h 910"/>
                <a:gd name="T100" fmla="*/ 31 w 628"/>
                <a:gd name="T101" fmla="*/ 349 h 910"/>
                <a:gd name="T102" fmla="*/ 30 w 628"/>
                <a:gd name="T103" fmla="*/ 297 h 910"/>
                <a:gd name="T104" fmla="*/ 21 w 628"/>
                <a:gd name="T105" fmla="*/ 279 h 910"/>
                <a:gd name="T106" fmla="*/ 33 w 628"/>
                <a:gd name="T107" fmla="*/ 264 h 910"/>
                <a:gd name="T108" fmla="*/ 54 w 628"/>
                <a:gd name="T109" fmla="*/ 249 h 910"/>
                <a:gd name="T110" fmla="*/ 60 w 628"/>
                <a:gd name="T111" fmla="*/ 221 h 910"/>
                <a:gd name="T112" fmla="*/ 84 w 628"/>
                <a:gd name="T113" fmla="*/ 179 h 910"/>
                <a:gd name="T114" fmla="*/ 79 w 628"/>
                <a:gd name="T115" fmla="*/ 130 h 910"/>
                <a:gd name="T116" fmla="*/ 99 w 628"/>
                <a:gd name="T117" fmla="*/ 123 h 910"/>
                <a:gd name="T118" fmla="*/ 133 w 628"/>
                <a:gd name="T119" fmla="*/ 128 h 910"/>
                <a:gd name="T120" fmla="*/ 116 w 628"/>
                <a:gd name="T121" fmla="*/ 84 h 910"/>
                <a:gd name="T122" fmla="*/ 116 w 628"/>
                <a:gd name="T123" fmla="*/ 35 h 910"/>
                <a:gd name="T124" fmla="*/ 150 w 628"/>
                <a:gd name="T125" fmla="*/ 13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28" h="910">
                  <a:moveTo>
                    <a:pt x="160" y="0"/>
                  </a:moveTo>
                  <a:lnTo>
                    <a:pt x="161" y="0"/>
                  </a:lnTo>
                  <a:lnTo>
                    <a:pt x="161" y="0"/>
                  </a:lnTo>
                  <a:lnTo>
                    <a:pt x="161" y="1"/>
                  </a:lnTo>
                  <a:lnTo>
                    <a:pt x="161" y="2"/>
                  </a:lnTo>
                  <a:lnTo>
                    <a:pt x="162" y="2"/>
                  </a:lnTo>
                  <a:lnTo>
                    <a:pt x="164" y="3"/>
                  </a:lnTo>
                  <a:lnTo>
                    <a:pt x="167" y="4"/>
                  </a:lnTo>
                  <a:lnTo>
                    <a:pt x="167" y="3"/>
                  </a:lnTo>
                  <a:lnTo>
                    <a:pt x="169" y="3"/>
                  </a:lnTo>
                  <a:lnTo>
                    <a:pt x="169" y="5"/>
                  </a:lnTo>
                  <a:lnTo>
                    <a:pt x="169" y="5"/>
                  </a:lnTo>
                  <a:lnTo>
                    <a:pt x="169" y="9"/>
                  </a:lnTo>
                  <a:lnTo>
                    <a:pt x="170" y="16"/>
                  </a:lnTo>
                  <a:lnTo>
                    <a:pt x="171" y="21"/>
                  </a:lnTo>
                  <a:lnTo>
                    <a:pt x="174" y="28"/>
                  </a:lnTo>
                  <a:lnTo>
                    <a:pt x="176" y="38"/>
                  </a:lnTo>
                  <a:lnTo>
                    <a:pt x="178" y="42"/>
                  </a:lnTo>
                  <a:lnTo>
                    <a:pt x="179" y="47"/>
                  </a:lnTo>
                  <a:lnTo>
                    <a:pt x="183" y="55"/>
                  </a:lnTo>
                  <a:lnTo>
                    <a:pt x="185" y="61"/>
                  </a:lnTo>
                  <a:lnTo>
                    <a:pt x="186" y="66"/>
                  </a:lnTo>
                  <a:lnTo>
                    <a:pt x="189" y="74"/>
                  </a:lnTo>
                  <a:lnTo>
                    <a:pt x="189" y="76"/>
                  </a:lnTo>
                  <a:lnTo>
                    <a:pt x="190" y="78"/>
                  </a:lnTo>
                  <a:lnTo>
                    <a:pt x="191" y="80"/>
                  </a:lnTo>
                  <a:lnTo>
                    <a:pt x="191" y="81"/>
                  </a:lnTo>
                  <a:lnTo>
                    <a:pt x="192" y="82"/>
                  </a:lnTo>
                  <a:lnTo>
                    <a:pt x="194" y="83"/>
                  </a:lnTo>
                  <a:lnTo>
                    <a:pt x="194" y="83"/>
                  </a:lnTo>
                  <a:lnTo>
                    <a:pt x="196" y="83"/>
                  </a:lnTo>
                  <a:lnTo>
                    <a:pt x="197" y="83"/>
                  </a:lnTo>
                  <a:lnTo>
                    <a:pt x="199" y="82"/>
                  </a:lnTo>
                  <a:lnTo>
                    <a:pt x="205" y="80"/>
                  </a:lnTo>
                  <a:lnTo>
                    <a:pt x="208" y="77"/>
                  </a:lnTo>
                  <a:lnTo>
                    <a:pt x="212" y="77"/>
                  </a:lnTo>
                  <a:lnTo>
                    <a:pt x="216" y="76"/>
                  </a:lnTo>
                  <a:lnTo>
                    <a:pt x="218" y="75"/>
                  </a:lnTo>
                  <a:lnTo>
                    <a:pt x="222" y="76"/>
                  </a:lnTo>
                  <a:lnTo>
                    <a:pt x="224" y="76"/>
                  </a:lnTo>
                  <a:lnTo>
                    <a:pt x="226" y="77"/>
                  </a:lnTo>
                  <a:lnTo>
                    <a:pt x="228" y="79"/>
                  </a:lnTo>
                  <a:lnTo>
                    <a:pt x="231" y="80"/>
                  </a:lnTo>
                  <a:lnTo>
                    <a:pt x="233" y="82"/>
                  </a:lnTo>
                  <a:lnTo>
                    <a:pt x="236" y="85"/>
                  </a:lnTo>
                  <a:lnTo>
                    <a:pt x="237" y="87"/>
                  </a:lnTo>
                  <a:lnTo>
                    <a:pt x="238" y="90"/>
                  </a:lnTo>
                  <a:lnTo>
                    <a:pt x="241" y="94"/>
                  </a:lnTo>
                  <a:lnTo>
                    <a:pt x="242" y="97"/>
                  </a:lnTo>
                  <a:lnTo>
                    <a:pt x="244" y="103"/>
                  </a:lnTo>
                  <a:lnTo>
                    <a:pt x="246" y="106"/>
                  </a:lnTo>
                  <a:lnTo>
                    <a:pt x="247" y="108"/>
                  </a:lnTo>
                  <a:lnTo>
                    <a:pt x="253" y="117"/>
                  </a:lnTo>
                  <a:lnTo>
                    <a:pt x="256" y="120"/>
                  </a:lnTo>
                  <a:lnTo>
                    <a:pt x="259" y="124"/>
                  </a:lnTo>
                  <a:lnTo>
                    <a:pt x="261" y="126"/>
                  </a:lnTo>
                  <a:lnTo>
                    <a:pt x="263" y="128"/>
                  </a:lnTo>
                  <a:lnTo>
                    <a:pt x="266" y="130"/>
                  </a:lnTo>
                  <a:lnTo>
                    <a:pt x="268" y="131"/>
                  </a:lnTo>
                  <a:lnTo>
                    <a:pt x="269" y="132"/>
                  </a:lnTo>
                  <a:lnTo>
                    <a:pt x="271" y="133"/>
                  </a:lnTo>
                  <a:lnTo>
                    <a:pt x="273" y="134"/>
                  </a:lnTo>
                  <a:lnTo>
                    <a:pt x="277" y="135"/>
                  </a:lnTo>
                  <a:lnTo>
                    <a:pt x="287" y="137"/>
                  </a:lnTo>
                  <a:lnTo>
                    <a:pt x="293" y="138"/>
                  </a:lnTo>
                  <a:lnTo>
                    <a:pt x="311" y="145"/>
                  </a:lnTo>
                  <a:lnTo>
                    <a:pt x="321" y="147"/>
                  </a:lnTo>
                  <a:lnTo>
                    <a:pt x="323" y="148"/>
                  </a:lnTo>
                  <a:lnTo>
                    <a:pt x="327" y="150"/>
                  </a:lnTo>
                  <a:lnTo>
                    <a:pt x="328" y="150"/>
                  </a:lnTo>
                  <a:lnTo>
                    <a:pt x="330" y="151"/>
                  </a:lnTo>
                  <a:lnTo>
                    <a:pt x="331" y="152"/>
                  </a:lnTo>
                  <a:lnTo>
                    <a:pt x="333" y="154"/>
                  </a:lnTo>
                  <a:lnTo>
                    <a:pt x="334" y="156"/>
                  </a:lnTo>
                  <a:lnTo>
                    <a:pt x="335" y="158"/>
                  </a:lnTo>
                  <a:lnTo>
                    <a:pt x="337" y="162"/>
                  </a:lnTo>
                  <a:lnTo>
                    <a:pt x="339" y="170"/>
                  </a:lnTo>
                  <a:lnTo>
                    <a:pt x="340" y="173"/>
                  </a:lnTo>
                  <a:lnTo>
                    <a:pt x="341" y="176"/>
                  </a:lnTo>
                  <a:lnTo>
                    <a:pt x="343" y="179"/>
                  </a:lnTo>
                  <a:lnTo>
                    <a:pt x="344" y="181"/>
                  </a:lnTo>
                  <a:lnTo>
                    <a:pt x="346" y="183"/>
                  </a:lnTo>
                  <a:lnTo>
                    <a:pt x="353" y="191"/>
                  </a:lnTo>
                  <a:lnTo>
                    <a:pt x="359" y="197"/>
                  </a:lnTo>
                  <a:lnTo>
                    <a:pt x="361" y="199"/>
                  </a:lnTo>
                  <a:lnTo>
                    <a:pt x="362" y="201"/>
                  </a:lnTo>
                  <a:lnTo>
                    <a:pt x="363" y="202"/>
                  </a:lnTo>
                  <a:lnTo>
                    <a:pt x="366" y="209"/>
                  </a:lnTo>
                  <a:lnTo>
                    <a:pt x="367" y="212"/>
                  </a:lnTo>
                  <a:lnTo>
                    <a:pt x="368" y="214"/>
                  </a:lnTo>
                  <a:lnTo>
                    <a:pt x="370" y="215"/>
                  </a:lnTo>
                  <a:lnTo>
                    <a:pt x="376" y="222"/>
                  </a:lnTo>
                  <a:lnTo>
                    <a:pt x="378" y="224"/>
                  </a:lnTo>
                  <a:lnTo>
                    <a:pt x="379" y="225"/>
                  </a:lnTo>
                  <a:lnTo>
                    <a:pt x="381" y="226"/>
                  </a:lnTo>
                  <a:lnTo>
                    <a:pt x="386" y="229"/>
                  </a:lnTo>
                  <a:lnTo>
                    <a:pt x="388" y="230"/>
                  </a:lnTo>
                  <a:lnTo>
                    <a:pt x="389" y="232"/>
                  </a:lnTo>
                  <a:lnTo>
                    <a:pt x="394" y="237"/>
                  </a:lnTo>
                  <a:lnTo>
                    <a:pt x="397" y="239"/>
                  </a:lnTo>
                  <a:lnTo>
                    <a:pt x="401" y="242"/>
                  </a:lnTo>
                  <a:lnTo>
                    <a:pt x="405" y="244"/>
                  </a:lnTo>
                  <a:lnTo>
                    <a:pt x="408" y="247"/>
                  </a:lnTo>
                  <a:lnTo>
                    <a:pt x="416" y="250"/>
                  </a:lnTo>
                  <a:lnTo>
                    <a:pt x="421" y="252"/>
                  </a:lnTo>
                  <a:lnTo>
                    <a:pt x="430" y="255"/>
                  </a:lnTo>
                  <a:lnTo>
                    <a:pt x="431" y="256"/>
                  </a:lnTo>
                  <a:lnTo>
                    <a:pt x="431" y="257"/>
                  </a:lnTo>
                  <a:lnTo>
                    <a:pt x="430" y="257"/>
                  </a:lnTo>
                  <a:lnTo>
                    <a:pt x="430" y="259"/>
                  </a:lnTo>
                  <a:lnTo>
                    <a:pt x="430" y="266"/>
                  </a:lnTo>
                  <a:lnTo>
                    <a:pt x="430" y="270"/>
                  </a:lnTo>
                  <a:lnTo>
                    <a:pt x="429" y="275"/>
                  </a:lnTo>
                  <a:lnTo>
                    <a:pt x="428" y="279"/>
                  </a:lnTo>
                  <a:lnTo>
                    <a:pt x="428" y="283"/>
                  </a:lnTo>
                  <a:lnTo>
                    <a:pt x="426" y="287"/>
                  </a:lnTo>
                  <a:lnTo>
                    <a:pt x="425" y="290"/>
                  </a:lnTo>
                  <a:lnTo>
                    <a:pt x="423" y="293"/>
                  </a:lnTo>
                  <a:lnTo>
                    <a:pt x="423" y="294"/>
                  </a:lnTo>
                  <a:lnTo>
                    <a:pt x="421" y="296"/>
                  </a:lnTo>
                  <a:lnTo>
                    <a:pt x="420" y="297"/>
                  </a:lnTo>
                  <a:lnTo>
                    <a:pt x="418" y="297"/>
                  </a:lnTo>
                  <a:lnTo>
                    <a:pt x="417" y="298"/>
                  </a:lnTo>
                  <a:lnTo>
                    <a:pt x="416" y="298"/>
                  </a:lnTo>
                  <a:lnTo>
                    <a:pt x="409" y="298"/>
                  </a:lnTo>
                  <a:lnTo>
                    <a:pt x="408" y="298"/>
                  </a:lnTo>
                  <a:lnTo>
                    <a:pt x="406" y="299"/>
                  </a:lnTo>
                  <a:lnTo>
                    <a:pt x="404" y="299"/>
                  </a:lnTo>
                  <a:lnTo>
                    <a:pt x="402" y="300"/>
                  </a:lnTo>
                  <a:lnTo>
                    <a:pt x="401" y="302"/>
                  </a:lnTo>
                  <a:lnTo>
                    <a:pt x="399" y="304"/>
                  </a:lnTo>
                  <a:lnTo>
                    <a:pt x="398" y="307"/>
                  </a:lnTo>
                  <a:lnTo>
                    <a:pt x="396" y="309"/>
                  </a:lnTo>
                  <a:lnTo>
                    <a:pt x="396" y="312"/>
                  </a:lnTo>
                  <a:lnTo>
                    <a:pt x="396" y="315"/>
                  </a:lnTo>
                  <a:lnTo>
                    <a:pt x="396" y="322"/>
                  </a:lnTo>
                  <a:lnTo>
                    <a:pt x="395" y="331"/>
                  </a:lnTo>
                  <a:lnTo>
                    <a:pt x="394" y="334"/>
                  </a:lnTo>
                  <a:lnTo>
                    <a:pt x="393" y="336"/>
                  </a:lnTo>
                  <a:lnTo>
                    <a:pt x="392" y="338"/>
                  </a:lnTo>
                  <a:lnTo>
                    <a:pt x="391" y="339"/>
                  </a:lnTo>
                  <a:lnTo>
                    <a:pt x="387" y="344"/>
                  </a:lnTo>
                  <a:lnTo>
                    <a:pt x="386" y="346"/>
                  </a:lnTo>
                  <a:lnTo>
                    <a:pt x="386" y="347"/>
                  </a:lnTo>
                  <a:lnTo>
                    <a:pt x="386" y="349"/>
                  </a:lnTo>
                  <a:lnTo>
                    <a:pt x="385" y="350"/>
                  </a:lnTo>
                  <a:lnTo>
                    <a:pt x="385" y="353"/>
                  </a:lnTo>
                  <a:lnTo>
                    <a:pt x="386" y="354"/>
                  </a:lnTo>
                  <a:lnTo>
                    <a:pt x="386" y="355"/>
                  </a:lnTo>
                  <a:lnTo>
                    <a:pt x="387" y="357"/>
                  </a:lnTo>
                  <a:lnTo>
                    <a:pt x="388" y="358"/>
                  </a:lnTo>
                  <a:lnTo>
                    <a:pt x="389" y="359"/>
                  </a:lnTo>
                  <a:lnTo>
                    <a:pt x="391" y="359"/>
                  </a:lnTo>
                  <a:lnTo>
                    <a:pt x="393" y="360"/>
                  </a:lnTo>
                  <a:lnTo>
                    <a:pt x="395" y="361"/>
                  </a:lnTo>
                  <a:lnTo>
                    <a:pt x="402" y="362"/>
                  </a:lnTo>
                  <a:lnTo>
                    <a:pt x="407" y="364"/>
                  </a:lnTo>
                  <a:lnTo>
                    <a:pt x="411" y="365"/>
                  </a:lnTo>
                  <a:lnTo>
                    <a:pt x="413" y="366"/>
                  </a:lnTo>
                  <a:lnTo>
                    <a:pt x="415" y="367"/>
                  </a:lnTo>
                  <a:lnTo>
                    <a:pt x="417" y="369"/>
                  </a:lnTo>
                  <a:lnTo>
                    <a:pt x="418" y="370"/>
                  </a:lnTo>
                  <a:lnTo>
                    <a:pt x="421" y="372"/>
                  </a:lnTo>
                  <a:lnTo>
                    <a:pt x="422" y="373"/>
                  </a:lnTo>
                  <a:lnTo>
                    <a:pt x="423" y="375"/>
                  </a:lnTo>
                  <a:lnTo>
                    <a:pt x="425" y="377"/>
                  </a:lnTo>
                  <a:lnTo>
                    <a:pt x="427" y="381"/>
                  </a:lnTo>
                  <a:lnTo>
                    <a:pt x="428" y="383"/>
                  </a:lnTo>
                  <a:lnTo>
                    <a:pt x="428" y="385"/>
                  </a:lnTo>
                  <a:lnTo>
                    <a:pt x="429" y="387"/>
                  </a:lnTo>
                  <a:lnTo>
                    <a:pt x="430" y="389"/>
                  </a:lnTo>
                  <a:lnTo>
                    <a:pt x="430" y="390"/>
                  </a:lnTo>
                  <a:lnTo>
                    <a:pt x="430" y="392"/>
                  </a:lnTo>
                  <a:lnTo>
                    <a:pt x="429" y="395"/>
                  </a:lnTo>
                  <a:lnTo>
                    <a:pt x="428" y="401"/>
                  </a:lnTo>
                  <a:lnTo>
                    <a:pt x="427" y="403"/>
                  </a:lnTo>
                  <a:lnTo>
                    <a:pt x="425" y="405"/>
                  </a:lnTo>
                  <a:lnTo>
                    <a:pt x="424" y="409"/>
                  </a:lnTo>
                  <a:lnTo>
                    <a:pt x="418" y="417"/>
                  </a:lnTo>
                  <a:lnTo>
                    <a:pt x="418" y="419"/>
                  </a:lnTo>
                  <a:lnTo>
                    <a:pt x="417" y="420"/>
                  </a:lnTo>
                  <a:lnTo>
                    <a:pt x="417" y="421"/>
                  </a:lnTo>
                  <a:lnTo>
                    <a:pt x="417" y="423"/>
                  </a:lnTo>
                  <a:lnTo>
                    <a:pt x="418" y="424"/>
                  </a:lnTo>
                  <a:lnTo>
                    <a:pt x="418" y="424"/>
                  </a:lnTo>
                  <a:lnTo>
                    <a:pt x="421" y="428"/>
                  </a:lnTo>
                  <a:lnTo>
                    <a:pt x="423" y="430"/>
                  </a:lnTo>
                  <a:lnTo>
                    <a:pt x="425" y="433"/>
                  </a:lnTo>
                  <a:lnTo>
                    <a:pt x="426" y="436"/>
                  </a:lnTo>
                  <a:lnTo>
                    <a:pt x="428" y="438"/>
                  </a:lnTo>
                  <a:lnTo>
                    <a:pt x="428" y="440"/>
                  </a:lnTo>
                  <a:lnTo>
                    <a:pt x="430" y="448"/>
                  </a:lnTo>
                  <a:lnTo>
                    <a:pt x="431" y="450"/>
                  </a:lnTo>
                  <a:lnTo>
                    <a:pt x="432" y="451"/>
                  </a:lnTo>
                  <a:lnTo>
                    <a:pt x="433" y="453"/>
                  </a:lnTo>
                  <a:lnTo>
                    <a:pt x="433" y="454"/>
                  </a:lnTo>
                  <a:lnTo>
                    <a:pt x="435" y="455"/>
                  </a:lnTo>
                  <a:lnTo>
                    <a:pt x="438" y="456"/>
                  </a:lnTo>
                  <a:lnTo>
                    <a:pt x="440" y="458"/>
                  </a:lnTo>
                  <a:lnTo>
                    <a:pt x="448" y="460"/>
                  </a:lnTo>
                  <a:lnTo>
                    <a:pt x="449" y="461"/>
                  </a:lnTo>
                  <a:lnTo>
                    <a:pt x="450" y="461"/>
                  </a:lnTo>
                  <a:lnTo>
                    <a:pt x="452" y="463"/>
                  </a:lnTo>
                  <a:lnTo>
                    <a:pt x="455" y="467"/>
                  </a:lnTo>
                  <a:lnTo>
                    <a:pt x="457" y="469"/>
                  </a:lnTo>
                  <a:lnTo>
                    <a:pt x="458" y="469"/>
                  </a:lnTo>
                  <a:lnTo>
                    <a:pt x="463" y="473"/>
                  </a:lnTo>
                  <a:lnTo>
                    <a:pt x="465" y="474"/>
                  </a:lnTo>
                  <a:lnTo>
                    <a:pt x="467" y="476"/>
                  </a:lnTo>
                  <a:lnTo>
                    <a:pt x="468" y="478"/>
                  </a:lnTo>
                  <a:lnTo>
                    <a:pt x="468" y="479"/>
                  </a:lnTo>
                  <a:lnTo>
                    <a:pt x="469" y="481"/>
                  </a:lnTo>
                  <a:lnTo>
                    <a:pt x="469" y="482"/>
                  </a:lnTo>
                  <a:lnTo>
                    <a:pt x="469" y="484"/>
                  </a:lnTo>
                  <a:lnTo>
                    <a:pt x="468" y="490"/>
                  </a:lnTo>
                  <a:lnTo>
                    <a:pt x="466" y="504"/>
                  </a:lnTo>
                  <a:lnTo>
                    <a:pt x="466" y="506"/>
                  </a:lnTo>
                  <a:lnTo>
                    <a:pt x="465" y="509"/>
                  </a:lnTo>
                  <a:lnTo>
                    <a:pt x="466" y="511"/>
                  </a:lnTo>
                  <a:lnTo>
                    <a:pt x="467" y="514"/>
                  </a:lnTo>
                  <a:lnTo>
                    <a:pt x="468" y="516"/>
                  </a:lnTo>
                  <a:lnTo>
                    <a:pt x="470" y="519"/>
                  </a:lnTo>
                  <a:lnTo>
                    <a:pt x="471" y="521"/>
                  </a:lnTo>
                  <a:lnTo>
                    <a:pt x="473" y="524"/>
                  </a:lnTo>
                  <a:lnTo>
                    <a:pt x="475" y="526"/>
                  </a:lnTo>
                  <a:lnTo>
                    <a:pt x="478" y="528"/>
                  </a:lnTo>
                  <a:lnTo>
                    <a:pt x="480" y="529"/>
                  </a:lnTo>
                  <a:lnTo>
                    <a:pt x="482" y="531"/>
                  </a:lnTo>
                  <a:lnTo>
                    <a:pt x="484" y="531"/>
                  </a:lnTo>
                  <a:lnTo>
                    <a:pt x="486" y="532"/>
                  </a:lnTo>
                  <a:lnTo>
                    <a:pt x="488" y="533"/>
                  </a:lnTo>
                  <a:lnTo>
                    <a:pt x="489" y="534"/>
                  </a:lnTo>
                  <a:lnTo>
                    <a:pt x="492" y="534"/>
                  </a:lnTo>
                  <a:lnTo>
                    <a:pt x="495" y="534"/>
                  </a:lnTo>
                  <a:lnTo>
                    <a:pt x="503" y="532"/>
                  </a:lnTo>
                  <a:lnTo>
                    <a:pt x="505" y="532"/>
                  </a:lnTo>
                  <a:lnTo>
                    <a:pt x="507" y="532"/>
                  </a:lnTo>
                  <a:lnTo>
                    <a:pt x="508" y="532"/>
                  </a:lnTo>
                  <a:lnTo>
                    <a:pt x="510" y="533"/>
                  </a:lnTo>
                  <a:lnTo>
                    <a:pt x="510" y="534"/>
                  </a:lnTo>
                  <a:lnTo>
                    <a:pt x="511" y="534"/>
                  </a:lnTo>
                  <a:lnTo>
                    <a:pt x="511" y="535"/>
                  </a:lnTo>
                  <a:lnTo>
                    <a:pt x="511" y="536"/>
                  </a:lnTo>
                  <a:lnTo>
                    <a:pt x="511" y="538"/>
                  </a:lnTo>
                  <a:lnTo>
                    <a:pt x="510" y="540"/>
                  </a:lnTo>
                  <a:lnTo>
                    <a:pt x="510" y="542"/>
                  </a:lnTo>
                  <a:lnTo>
                    <a:pt x="509" y="543"/>
                  </a:lnTo>
                  <a:lnTo>
                    <a:pt x="508" y="544"/>
                  </a:lnTo>
                  <a:lnTo>
                    <a:pt x="503" y="548"/>
                  </a:lnTo>
                  <a:lnTo>
                    <a:pt x="500" y="550"/>
                  </a:lnTo>
                  <a:lnTo>
                    <a:pt x="499" y="551"/>
                  </a:lnTo>
                  <a:lnTo>
                    <a:pt x="498" y="554"/>
                  </a:lnTo>
                  <a:lnTo>
                    <a:pt x="497" y="556"/>
                  </a:lnTo>
                  <a:lnTo>
                    <a:pt x="496" y="559"/>
                  </a:lnTo>
                  <a:lnTo>
                    <a:pt x="495" y="561"/>
                  </a:lnTo>
                  <a:lnTo>
                    <a:pt x="496" y="564"/>
                  </a:lnTo>
                  <a:lnTo>
                    <a:pt x="497" y="565"/>
                  </a:lnTo>
                  <a:lnTo>
                    <a:pt x="498" y="566"/>
                  </a:lnTo>
                  <a:lnTo>
                    <a:pt x="498" y="568"/>
                  </a:lnTo>
                  <a:lnTo>
                    <a:pt x="500" y="569"/>
                  </a:lnTo>
                  <a:lnTo>
                    <a:pt x="501" y="570"/>
                  </a:lnTo>
                  <a:lnTo>
                    <a:pt x="503" y="571"/>
                  </a:lnTo>
                  <a:lnTo>
                    <a:pt x="511" y="575"/>
                  </a:lnTo>
                  <a:lnTo>
                    <a:pt x="513" y="576"/>
                  </a:lnTo>
                  <a:lnTo>
                    <a:pt x="515" y="578"/>
                  </a:lnTo>
                  <a:lnTo>
                    <a:pt x="516" y="579"/>
                  </a:lnTo>
                  <a:lnTo>
                    <a:pt x="517" y="579"/>
                  </a:lnTo>
                  <a:lnTo>
                    <a:pt x="518" y="581"/>
                  </a:lnTo>
                  <a:lnTo>
                    <a:pt x="518" y="584"/>
                  </a:lnTo>
                  <a:lnTo>
                    <a:pt x="519" y="586"/>
                  </a:lnTo>
                  <a:lnTo>
                    <a:pt x="520" y="592"/>
                  </a:lnTo>
                  <a:lnTo>
                    <a:pt x="523" y="599"/>
                  </a:lnTo>
                  <a:lnTo>
                    <a:pt x="524" y="604"/>
                  </a:lnTo>
                  <a:lnTo>
                    <a:pt x="528" y="611"/>
                  </a:lnTo>
                  <a:lnTo>
                    <a:pt x="530" y="614"/>
                  </a:lnTo>
                  <a:lnTo>
                    <a:pt x="530" y="619"/>
                  </a:lnTo>
                  <a:lnTo>
                    <a:pt x="532" y="628"/>
                  </a:lnTo>
                  <a:lnTo>
                    <a:pt x="533" y="632"/>
                  </a:lnTo>
                  <a:lnTo>
                    <a:pt x="534" y="634"/>
                  </a:lnTo>
                  <a:lnTo>
                    <a:pt x="535" y="637"/>
                  </a:lnTo>
                  <a:lnTo>
                    <a:pt x="537" y="640"/>
                  </a:lnTo>
                  <a:lnTo>
                    <a:pt x="539" y="644"/>
                  </a:lnTo>
                  <a:lnTo>
                    <a:pt x="541" y="646"/>
                  </a:lnTo>
                  <a:lnTo>
                    <a:pt x="543" y="649"/>
                  </a:lnTo>
                  <a:lnTo>
                    <a:pt x="545" y="652"/>
                  </a:lnTo>
                  <a:lnTo>
                    <a:pt x="548" y="655"/>
                  </a:lnTo>
                  <a:lnTo>
                    <a:pt x="550" y="657"/>
                  </a:lnTo>
                  <a:lnTo>
                    <a:pt x="553" y="659"/>
                  </a:lnTo>
                  <a:lnTo>
                    <a:pt x="555" y="661"/>
                  </a:lnTo>
                  <a:lnTo>
                    <a:pt x="558" y="663"/>
                  </a:lnTo>
                  <a:lnTo>
                    <a:pt x="561" y="665"/>
                  </a:lnTo>
                  <a:lnTo>
                    <a:pt x="565" y="667"/>
                  </a:lnTo>
                  <a:lnTo>
                    <a:pt x="568" y="668"/>
                  </a:lnTo>
                  <a:lnTo>
                    <a:pt x="573" y="671"/>
                  </a:lnTo>
                  <a:lnTo>
                    <a:pt x="577" y="672"/>
                  </a:lnTo>
                  <a:lnTo>
                    <a:pt x="580" y="673"/>
                  </a:lnTo>
                  <a:lnTo>
                    <a:pt x="591" y="676"/>
                  </a:lnTo>
                  <a:lnTo>
                    <a:pt x="593" y="676"/>
                  </a:lnTo>
                  <a:lnTo>
                    <a:pt x="595" y="677"/>
                  </a:lnTo>
                  <a:lnTo>
                    <a:pt x="597" y="678"/>
                  </a:lnTo>
                  <a:lnTo>
                    <a:pt x="598" y="679"/>
                  </a:lnTo>
                  <a:lnTo>
                    <a:pt x="600" y="681"/>
                  </a:lnTo>
                  <a:lnTo>
                    <a:pt x="602" y="683"/>
                  </a:lnTo>
                  <a:lnTo>
                    <a:pt x="603" y="685"/>
                  </a:lnTo>
                  <a:lnTo>
                    <a:pt x="603" y="687"/>
                  </a:lnTo>
                  <a:lnTo>
                    <a:pt x="605" y="691"/>
                  </a:lnTo>
                  <a:lnTo>
                    <a:pt x="605" y="695"/>
                  </a:lnTo>
                  <a:lnTo>
                    <a:pt x="607" y="703"/>
                  </a:lnTo>
                  <a:lnTo>
                    <a:pt x="608" y="706"/>
                  </a:lnTo>
                  <a:lnTo>
                    <a:pt x="609" y="708"/>
                  </a:lnTo>
                  <a:lnTo>
                    <a:pt x="610" y="713"/>
                  </a:lnTo>
                  <a:lnTo>
                    <a:pt x="617" y="726"/>
                  </a:lnTo>
                  <a:lnTo>
                    <a:pt x="619" y="730"/>
                  </a:lnTo>
                  <a:lnTo>
                    <a:pt x="620" y="733"/>
                  </a:lnTo>
                  <a:lnTo>
                    <a:pt x="620" y="736"/>
                  </a:lnTo>
                  <a:lnTo>
                    <a:pt x="620" y="738"/>
                  </a:lnTo>
                  <a:lnTo>
                    <a:pt x="622" y="748"/>
                  </a:lnTo>
                  <a:lnTo>
                    <a:pt x="623" y="754"/>
                  </a:lnTo>
                  <a:lnTo>
                    <a:pt x="624" y="759"/>
                  </a:lnTo>
                  <a:lnTo>
                    <a:pt x="626" y="768"/>
                  </a:lnTo>
                  <a:lnTo>
                    <a:pt x="628" y="772"/>
                  </a:lnTo>
                  <a:lnTo>
                    <a:pt x="628" y="775"/>
                  </a:lnTo>
                  <a:lnTo>
                    <a:pt x="627" y="777"/>
                  </a:lnTo>
                  <a:lnTo>
                    <a:pt x="627" y="778"/>
                  </a:lnTo>
                  <a:lnTo>
                    <a:pt x="626" y="778"/>
                  </a:lnTo>
                  <a:lnTo>
                    <a:pt x="626" y="779"/>
                  </a:lnTo>
                  <a:lnTo>
                    <a:pt x="625" y="779"/>
                  </a:lnTo>
                  <a:lnTo>
                    <a:pt x="624" y="778"/>
                  </a:lnTo>
                  <a:lnTo>
                    <a:pt x="621" y="778"/>
                  </a:lnTo>
                  <a:lnTo>
                    <a:pt x="614" y="773"/>
                  </a:lnTo>
                  <a:lnTo>
                    <a:pt x="611" y="772"/>
                  </a:lnTo>
                  <a:lnTo>
                    <a:pt x="608" y="771"/>
                  </a:lnTo>
                  <a:lnTo>
                    <a:pt x="603" y="769"/>
                  </a:lnTo>
                  <a:lnTo>
                    <a:pt x="600" y="768"/>
                  </a:lnTo>
                  <a:lnTo>
                    <a:pt x="598" y="768"/>
                  </a:lnTo>
                  <a:lnTo>
                    <a:pt x="584" y="766"/>
                  </a:lnTo>
                  <a:lnTo>
                    <a:pt x="575" y="763"/>
                  </a:lnTo>
                  <a:lnTo>
                    <a:pt x="571" y="763"/>
                  </a:lnTo>
                  <a:lnTo>
                    <a:pt x="568" y="763"/>
                  </a:lnTo>
                  <a:lnTo>
                    <a:pt x="565" y="763"/>
                  </a:lnTo>
                  <a:lnTo>
                    <a:pt x="561" y="763"/>
                  </a:lnTo>
                  <a:lnTo>
                    <a:pt x="558" y="763"/>
                  </a:lnTo>
                  <a:lnTo>
                    <a:pt x="555" y="764"/>
                  </a:lnTo>
                  <a:lnTo>
                    <a:pt x="553" y="765"/>
                  </a:lnTo>
                  <a:lnTo>
                    <a:pt x="551" y="766"/>
                  </a:lnTo>
                  <a:lnTo>
                    <a:pt x="549" y="768"/>
                  </a:lnTo>
                  <a:lnTo>
                    <a:pt x="547" y="770"/>
                  </a:lnTo>
                  <a:lnTo>
                    <a:pt x="545" y="772"/>
                  </a:lnTo>
                  <a:lnTo>
                    <a:pt x="544" y="775"/>
                  </a:lnTo>
                  <a:lnTo>
                    <a:pt x="543" y="778"/>
                  </a:lnTo>
                  <a:lnTo>
                    <a:pt x="542" y="781"/>
                  </a:lnTo>
                  <a:lnTo>
                    <a:pt x="540" y="791"/>
                  </a:lnTo>
                  <a:lnTo>
                    <a:pt x="537" y="805"/>
                  </a:lnTo>
                  <a:lnTo>
                    <a:pt x="536" y="810"/>
                  </a:lnTo>
                  <a:lnTo>
                    <a:pt x="535" y="819"/>
                  </a:lnTo>
                  <a:lnTo>
                    <a:pt x="534" y="823"/>
                  </a:lnTo>
                  <a:lnTo>
                    <a:pt x="533" y="826"/>
                  </a:lnTo>
                  <a:lnTo>
                    <a:pt x="533" y="828"/>
                  </a:lnTo>
                  <a:lnTo>
                    <a:pt x="531" y="831"/>
                  </a:lnTo>
                  <a:lnTo>
                    <a:pt x="530" y="833"/>
                  </a:lnTo>
                  <a:lnTo>
                    <a:pt x="526" y="838"/>
                  </a:lnTo>
                  <a:lnTo>
                    <a:pt x="523" y="843"/>
                  </a:lnTo>
                  <a:lnTo>
                    <a:pt x="518" y="848"/>
                  </a:lnTo>
                  <a:lnTo>
                    <a:pt x="515" y="852"/>
                  </a:lnTo>
                  <a:lnTo>
                    <a:pt x="512" y="855"/>
                  </a:lnTo>
                  <a:lnTo>
                    <a:pt x="508" y="858"/>
                  </a:lnTo>
                  <a:lnTo>
                    <a:pt x="505" y="860"/>
                  </a:lnTo>
                  <a:lnTo>
                    <a:pt x="497" y="866"/>
                  </a:lnTo>
                  <a:lnTo>
                    <a:pt x="492" y="868"/>
                  </a:lnTo>
                  <a:lnTo>
                    <a:pt x="486" y="873"/>
                  </a:lnTo>
                  <a:lnTo>
                    <a:pt x="483" y="877"/>
                  </a:lnTo>
                  <a:lnTo>
                    <a:pt x="480" y="880"/>
                  </a:lnTo>
                  <a:lnTo>
                    <a:pt x="476" y="883"/>
                  </a:lnTo>
                  <a:lnTo>
                    <a:pt x="473" y="887"/>
                  </a:lnTo>
                  <a:lnTo>
                    <a:pt x="471" y="890"/>
                  </a:lnTo>
                  <a:lnTo>
                    <a:pt x="469" y="893"/>
                  </a:lnTo>
                  <a:lnTo>
                    <a:pt x="467" y="896"/>
                  </a:lnTo>
                  <a:lnTo>
                    <a:pt x="465" y="900"/>
                  </a:lnTo>
                  <a:lnTo>
                    <a:pt x="464" y="903"/>
                  </a:lnTo>
                  <a:lnTo>
                    <a:pt x="463" y="907"/>
                  </a:lnTo>
                  <a:lnTo>
                    <a:pt x="462" y="909"/>
                  </a:lnTo>
                  <a:lnTo>
                    <a:pt x="462" y="910"/>
                  </a:lnTo>
                  <a:lnTo>
                    <a:pt x="461" y="910"/>
                  </a:lnTo>
                  <a:lnTo>
                    <a:pt x="460" y="910"/>
                  </a:lnTo>
                  <a:lnTo>
                    <a:pt x="458" y="908"/>
                  </a:lnTo>
                  <a:lnTo>
                    <a:pt x="456" y="908"/>
                  </a:lnTo>
                  <a:lnTo>
                    <a:pt x="455" y="906"/>
                  </a:lnTo>
                  <a:lnTo>
                    <a:pt x="453" y="905"/>
                  </a:lnTo>
                  <a:lnTo>
                    <a:pt x="452" y="903"/>
                  </a:lnTo>
                  <a:lnTo>
                    <a:pt x="450" y="901"/>
                  </a:lnTo>
                  <a:lnTo>
                    <a:pt x="448" y="898"/>
                  </a:lnTo>
                  <a:lnTo>
                    <a:pt x="447" y="896"/>
                  </a:lnTo>
                  <a:lnTo>
                    <a:pt x="444" y="891"/>
                  </a:lnTo>
                  <a:lnTo>
                    <a:pt x="442" y="886"/>
                  </a:lnTo>
                  <a:lnTo>
                    <a:pt x="440" y="881"/>
                  </a:lnTo>
                  <a:lnTo>
                    <a:pt x="438" y="876"/>
                  </a:lnTo>
                  <a:lnTo>
                    <a:pt x="437" y="871"/>
                  </a:lnTo>
                  <a:lnTo>
                    <a:pt x="436" y="867"/>
                  </a:lnTo>
                  <a:lnTo>
                    <a:pt x="436" y="863"/>
                  </a:lnTo>
                  <a:lnTo>
                    <a:pt x="436" y="857"/>
                  </a:lnTo>
                  <a:lnTo>
                    <a:pt x="436" y="847"/>
                  </a:lnTo>
                  <a:lnTo>
                    <a:pt x="437" y="841"/>
                  </a:lnTo>
                  <a:lnTo>
                    <a:pt x="438" y="836"/>
                  </a:lnTo>
                  <a:lnTo>
                    <a:pt x="438" y="835"/>
                  </a:lnTo>
                  <a:lnTo>
                    <a:pt x="438" y="834"/>
                  </a:lnTo>
                  <a:lnTo>
                    <a:pt x="437" y="833"/>
                  </a:lnTo>
                  <a:lnTo>
                    <a:pt x="436" y="834"/>
                  </a:lnTo>
                  <a:lnTo>
                    <a:pt x="435" y="834"/>
                  </a:lnTo>
                  <a:lnTo>
                    <a:pt x="435" y="835"/>
                  </a:lnTo>
                  <a:lnTo>
                    <a:pt x="430" y="838"/>
                  </a:lnTo>
                  <a:lnTo>
                    <a:pt x="429" y="839"/>
                  </a:lnTo>
                  <a:lnTo>
                    <a:pt x="428" y="839"/>
                  </a:lnTo>
                  <a:lnTo>
                    <a:pt x="427" y="839"/>
                  </a:lnTo>
                  <a:lnTo>
                    <a:pt x="425" y="839"/>
                  </a:lnTo>
                  <a:lnTo>
                    <a:pt x="424" y="838"/>
                  </a:lnTo>
                  <a:lnTo>
                    <a:pt x="423" y="838"/>
                  </a:lnTo>
                  <a:lnTo>
                    <a:pt x="421" y="836"/>
                  </a:lnTo>
                  <a:lnTo>
                    <a:pt x="420" y="835"/>
                  </a:lnTo>
                  <a:lnTo>
                    <a:pt x="414" y="826"/>
                  </a:lnTo>
                  <a:lnTo>
                    <a:pt x="411" y="821"/>
                  </a:lnTo>
                  <a:lnTo>
                    <a:pt x="408" y="818"/>
                  </a:lnTo>
                  <a:lnTo>
                    <a:pt x="402" y="813"/>
                  </a:lnTo>
                  <a:lnTo>
                    <a:pt x="399" y="810"/>
                  </a:lnTo>
                  <a:lnTo>
                    <a:pt x="386" y="793"/>
                  </a:lnTo>
                  <a:lnTo>
                    <a:pt x="378" y="784"/>
                  </a:lnTo>
                  <a:lnTo>
                    <a:pt x="373" y="778"/>
                  </a:lnTo>
                  <a:lnTo>
                    <a:pt x="371" y="776"/>
                  </a:lnTo>
                  <a:lnTo>
                    <a:pt x="366" y="771"/>
                  </a:lnTo>
                  <a:lnTo>
                    <a:pt x="365" y="771"/>
                  </a:lnTo>
                  <a:lnTo>
                    <a:pt x="363" y="769"/>
                  </a:lnTo>
                  <a:lnTo>
                    <a:pt x="359" y="768"/>
                  </a:lnTo>
                  <a:lnTo>
                    <a:pt x="348" y="763"/>
                  </a:lnTo>
                  <a:lnTo>
                    <a:pt x="347" y="761"/>
                  </a:lnTo>
                  <a:lnTo>
                    <a:pt x="345" y="760"/>
                  </a:lnTo>
                  <a:lnTo>
                    <a:pt x="343" y="758"/>
                  </a:lnTo>
                  <a:lnTo>
                    <a:pt x="342" y="756"/>
                  </a:lnTo>
                  <a:lnTo>
                    <a:pt x="341" y="754"/>
                  </a:lnTo>
                  <a:lnTo>
                    <a:pt x="340" y="752"/>
                  </a:lnTo>
                  <a:lnTo>
                    <a:pt x="338" y="743"/>
                  </a:lnTo>
                  <a:lnTo>
                    <a:pt x="337" y="741"/>
                  </a:lnTo>
                  <a:lnTo>
                    <a:pt x="336" y="736"/>
                  </a:lnTo>
                  <a:lnTo>
                    <a:pt x="336" y="732"/>
                  </a:lnTo>
                  <a:lnTo>
                    <a:pt x="336" y="730"/>
                  </a:lnTo>
                  <a:lnTo>
                    <a:pt x="336" y="728"/>
                  </a:lnTo>
                  <a:lnTo>
                    <a:pt x="335" y="727"/>
                  </a:lnTo>
                  <a:lnTo>
                    <a:pt x="333" y="726"/>
                  </a:lnTo>
                  <a:lnTo>
                    <a:pt x="332" y="726"/>
                  </a:lnTo>
                  <a:lnTo>
                    <a:pt x="330" y="726"/>
                  </a:lnTo>
                  <a:lnTo>
                    <a:pt x="328" y="726"/>
                  </a:lnTo>
                  <a:lnTo>
                    <a:pt x="326" y="727"/>
                  </a:lnTo>
                  <a:lnTo>
                    <a:pt x="324" y="728"/>
                  </a:lnTo>
                  <a:lnTo>
                    <a:pt x="314" y="732"/>
                  </a:lnTo>
                  <a:lnTo>
                    <a:pt x="306" y="734"/>
                  </a:lnTo>
                  <a:lnTo>
                    <a:pt x="299" y="736"/>
                  </a:lnTo>
                  <a:lnTo>
                    <a:pt x="285" y="740"/>
                  </a:lnTo>
                  <a:lnTo>
                    <a:pt x="275" y="743"/>
                  </a:lnTo>
                  <a:lnTo>
                    <a:pt x="271" y="743"/>
                  </a:lnTo>
                  <a:lnTo>
                    <a:pt x="268" y="744"/>
                  </a:lnTo>
                  <a:lnTo>
                    <a:pt x="266" y="744"/>
                  </a:lnTo>
                  <a:lnTo>
                    <a:pt x="264" y="744"/>
                  </a:lnTo>
                  <a:lnTo>
                    <a:pt x="262" y="743"/>
                  </a:lnTo>
                  <a:lnTo>
                    <a:pt x="260" y="743"/>
                  </a:lnTo>
                  <a:lnTo>
                    <a:pt x="258" y="743"/>
                  </a:lnTo>
                  <a:lnTo>
                    <a:pt x="257" y="742"/>
                  </a:lnTo>
                  <a:lnTo>
                    <a:pt x="256" y="741"/>
                  </a:lnTo>
                  <a:lnTo>
                    <a:pt x="254" y="740"/>
                  </a:lnTo>
                  <a:lnTo>
                    <a:pt x="253" y="738"/>
                  </a:lnTo>
                  <a:lnTo>
                    <a:pt x="250" y="731"/>
                  </a:lnTo>
                  <a:lnTo>
                    <a:pt x="243" y="720"/>
                  </a:lnTo>
                  <a:lnTo>
                    <a:pt x="242" y="717"/>
                  </a:lnTo>
                  <a:lnTo>
                    <a:pt x="241" y="715"/>
                  </a:lnTo>
                  <a:lnTo>
                    <a:pt x="241" y="713"/>
                  </a:lnTo>
                  <a:lnTo>
                    <a:pt x="240" y="705"/>
                  </a:lnTo>
                  <a:lnTo>
                    <a:pt x="238" y="698"/>
                  </a:lnTo>
                  <a:lnTo>
                    <a:pt x="238" y="696"/>
                  </a:lnTo>
                  <a:lnTo>
                    <a:pt x="238" y="691"/>
                  </a:lnTo>
                  <a:lnTo>
                    <a:pt x="238" y="689"/>
                  </a:lnTo>
                  <a:lnTo>
                    <a:pt x="238" y="686"/>
                  </a:lnTo>
                  <a:lnTo>
                    <a:pt x="238" y="685"/>
                  </a:lnTo>
                  <a:lnTo>
                    <a:pt x="238" y="684"/>
                  </a:lnTo>
                  <a:lnTo>
                    <a:pt x="238" y="683"/>
                  </a:lnTo>
                  <a:lnTo>
                    <a:pt x="238" y="681"/>
                  </a:lnTo>
                  <a:lnTo>
                    <a:pt x="237" y="679"/>
                  </a:lnTo>
                  <a:lnTo>
                    <a:pt x="236" y="678"/>
                  </a:lnTo>
                  <a:lnTo>
                    <a:pt x="234" y="677"/>
                  </a:lnTo>
                  <a:lnTo>
                    <a:pt x="231" y="675"/>
                  </a:lnTo>
                  <a:lnTo>
                    <a:pt x="228" y="673"/>
                  </a:lnTo>
                  <a:lnTo>
                    <a:pt x="221" y="666"/>
                  </a:lnTo>
                  <a:lnTo>
                    <a:pt x="214" y="660"/>
                  </a:lnTo>
                  <a:lnTo>
                    <a:pt x="207" y="651"/>
                  </a:lnTo>
                  <a:lnTo>
                    <a:pt x="206" y="650"/>
                  </a:lnTo>
                  <a:lnTo>
                    <a:pt x="203" y="649"/>
                  </a:lnTo>
                  <a:lnTo>
                    <a:pt x="200" y="646"/>
                  </a:lnTo>
                  <a:lnTo>
                    <a:pt x="194" y="643"/>
                  </a:lnTo>
                  <a:lnTo>
                    <a:pt x="189" y="641"/>
                  </a:lnTo>
                  <a:lnTo>
                    <a:pt x="184" y="638"/>
                  </a:lnTo>
                  <a:lnTo>
                    <a:pt x="179" y="634"/>
                  </a:lnTo>
                  <a:lnTo>
                    <a:pt x="176" y="632"/>
                  </a:lnTo>
                  <a:lnTo>
                    <a:pt x="174" y="631"/>
                  </a:lnTo>
                  <a:lnTo>
                    <a:pt x="172" y="630"/>
                  </a:lnTo>
                  <a:lnTo>
                    <a:pt x="165" y="628"/>
                  </a:lnTo>
                  <a:lnTo>
                    <a:pt x="164" y="627"/>
                  </a:lnTo>
                  <a:lnTo>
                    <a:pt x="162" y="626"/>
                  </a:lnTo>
                  <a:lnTo>
                    <a:pt x="162" y="626"/>
                  </a:lnTo>
                  <a:lnTo>
                    <a:pt x="161" y="625"/>
                  </a:lnTo>
                  <a:lnTo>
                    <a:pt x="161" y="624"/>
                  </a:lnTo>
                  <a:lnTo>
                    <a:pt x="161" y="623"/>
                  </a:lnTo>
                  <a:lnTo>
                    <a:pt x="161" y="621"/>
                  </a:lnTo>
                  <a:lnTo>
                    <a:pt x="161" y="618"/>
                  </a:lnTo>
                  <a:lnTo>
                    <a:pt x="161" y="616"/>
                  </a:lnTo>
                  <a:lnTo>
                    <a:pt x="161" y="610"/>
                  </a:lnTo>
                  <a:lnTo>
                    <a:pt x="161" y="609"/>
                  </a:lnTo>
                  <a:lnTo>
                    <a:pt x="161" y="607"/>
                  </a:lnTo>
                  <a:lnTo>
                    <a:pt x="160" y="606"/>
                  </a:lnTo>
                  <a:lnTo>
                    <a:pt x="160" y="606"/>
                  </a:lnTo>
                  <a:lnTo>
                    <a:pt x="159" y="604"/>
                  </a:lnTo>
                  <a:lnTo>
                    <a:pt x="157" y="603"/>
                  </a:lnTo>
                  <a:lnTo>
                    <a:pt x="155" y="602"/>
                  </a:lnTo>
                  <a:lnTo>
                    <a:pt x="146" y="597"/>
                  </a:lnTo>
                  <a:lnTo>
                    <a:pt x="141" y="594"/>
                  </a:lnTo>
                  <a:lnTo>
                    <a:pt x="136" y="591"/>
                  </a:lnTo>
                  <a:lnTo>
                    <a:pt x="127" y="585"/>
                  </a:lnTo>
                  <a:lnTo>
                    <a:pt x="121" y="581"/>
                  </a:lnTo>
                  <a:lnTo>
                    <a:pt x="117" y="579"/>
                  </a:lnTo>
                  <a:lnTo>
                    <a:pt x="104" y="573"/>
                  </a:lnTo>
                  <a:lnTo>
                    <a:pt x="102" y="571"/>
                  </a:lnTo>
                  <a:lnTo>
                    <a:pt x="101" y="571"/>
                  </a:lnTo>
                  <a:lnTo>
                    <a:pt x="99" y="569"/>
                  </a:lnTo>
                  <a:lnTo>
                    <a:pt x="98" y="568"/>
                  </a:lnTo>
                  <a:lnTo>
                    <a:pt x="94" y="564"/>
                  </a:lnTo>
                  <a:lnTo>
                    <a:pt x="89" y="556"/>
                  </a:lnTo>
                  <a:lnTo>
                    <a:pt x="82" y="548"/>
                  </a:lnTo>
                  <a:lnTo>
                    <a:pt x="81" y="546"/>
                  </a:lnTo>
                  <a:lnTo>
                    <a:pt x="80" y="546"/>
                  </a:lnTo>
                  <a:lnTo>
                    <a:pt x="78" y="544"/>
                  </a:lnTo>
                  <a:lnTo>
                    <a:pt x="74" y="542"/>
                  </a:lnTo>
                  <a:lnTo>
                    <a:pt x="71" y="540"/>
                  </a:lnTo>
                  <a:lnTo>
                    <a:pt x="68" y="539"/>
                  </a:lnTo>
                  <a:lnTo>
                    <a:pt x="64" y="534"/>
                  </a:lnTo>
                  <a:lnTo>
                    <a:pt x="61" y="532"/>
                  </a:lnTo>
                  <a:lnTo>
                    <a:pt x="59" y="531"/>
                  </a:lnTo>
                  <a:lnTo>
                    <a:pt x="54" y="527"/>
                  </a:lnTo>
                  <a:lnTo>
                    <a:pt x="51" y="526"/>
                  </a:lnTo>
                  <a:lnTo>
                    <a:pt x="51" y="525"/>
                  </a:lnTo>
                  <a:lnTo>
                    <a:pt x="49" y="524"/>
                  </a:lnTo>
                  <a:lnTo>
                    <a:pt x="44" y="517"/>
                  </a:lnTo>
                  <a:lnTo>
                    <a:pt x="42" y="515"/>
                  </a:lnTo>
                  <a:lnTo>
                    <a:pt x="40" y="513"/>
                  </a:lnTo>
                  <a:lnTo>
                    <a:pt x="37" y="511"/>
                  </a:lnTo>
                  <a:lnTo>
                    <a:pt x="35" y="509"/>
                  </a:lnTo>
                  <a:lnTo>
                    <a:pt x="31" y="507"/>
                  </a:lnTo>
                  <a:lnTo>
                    <a:pt x="21" y="501"/>
                  </a:lnTo>
                  <a:lnTo>
                    <a:pt x="18" y="499"/>
                  </a:lnTo>
                  <a:lnTo>
                    <a:pt x="14" y="497"/>
                  </a:lnTo>
                  <a:lnTo>
                    <a:pt x="11" y="495"/>
                  </a:lnTo>
                  <a:lnTo>
                    <a:pt x="9" y="492"/>
                  </a:lnTo>
                  <a:lnTo>
                    <a:pt x="8" y="491"/>
                  </a:lnTo>
                  <a:lnTo>
                    <a:pt x="6" y="488"/>
                  </a:lnTo>
                  <a:lnTo>
                    <a:pt x="5" y="486"/>
                  </a:lnTo>
                  <a:lnTo>
                    <a:pt x="4" y="484"/>
                  </a:lnTo>
                  <a:lnTo>
                    <a:pt x="3" y="481"/>
                  </a:lnTo>
                  <a:lnTo>
                    <a:pt x="1" y="478"/>
                  </a:lnTo>
                  <a:lnTo>
                    <a:pt x="1" y="475"/>
                  </a:lnTo>
                  <a:lnTo>
                    <a:pt x="0" y="472"/>
                  </a:lnTo>
                  <a:lnTo>
                    <a:pt x="0" y="469"/>
                  </a:lnTo>
                  <a:lnTo>
                    <a:pt x="0" y="466"/>
                  </a:lnTo>
                  <a:lnTo>
                    <a:pt x="0" y="464"/>
                  </a:lnTo>
                  <a:lnTo>
                    <a:pt x="1" y="461"/>
                  </a:lnTo>
                  <a:lnTo>
                    <a:pt x="1" y="459"/>
                  </a:lnTo>
                  <a:lnTo>
                    <a:pt x="2" y="456"/>
                  </a:lnTo>
                  <a:lnTo>
                    <a:pt x="2" y="456"/>
                  </a:lnTo>
                  <a:lnTo>
                    <a:pt x="3" y="456"/>
                  </a:lnTo>
                  <a:lnTo>
                    <a:pt x="11" y="453"/>
                  </a:lnTo>
                  <a:lnTo>
                    <a:pt x="16" y="451"/>
                  </a:lnTo>
                  <a:lnTo>
                    <a:pt x="19" y="449"/>
                  </a:lnTo>
                  <a:lnTo>
                    <a:pt x="22" y="448"/>
                  </a:lnTo>
                  <a:lnTo>
                    <a:pt x="26" y="446"/>
                  </a:lnTo>
                  <a:lnTo>
                    <a:pt x="29" y="444"/>
                  </a:lnTo>
                  <a:lnTo>
                    <a:pt x="31" y="442"/>
                  </a:lnTo>
                  <a:lnTo>
                    <a:pt x="37" y="438"/>
                  </a:lnTo>
                  <a:lnTo>
                    <a:pt x="41" y="435"/>
                  </a:lnTo>
                  <a:lnTo>
                    <a:pt x="43" y="431"/>
                  </a:lnTo>
                  <a:lnTo>
                    <a:pt x="46" y="427"/>
                  </a:lnTo>
                  <a:lnTo>
                    <a:pt x="49" y="425"/>
                  </a:lnTo>
                  <a:lnTo>
                    <a:pt x="50" y="424"/>
                  </a:lnTo>
                  <a:lnTo>
                    <a:pt x="51" y="423"/>
                  </a:lnTo>
                  <a:lnTo>
                    <a:pt x="56" y="420"/>
                  </a:lnTo>
                  <a:lnTo>
                    <a:pt x="59" y="419"/>
                  </a:lnTo>
                  <a:lnTo>
                    <a:pt x="59" y="418"/>
                  </a:lnTo>
                  <a:lnTo>
                    <a:pt x="60" y="417"/>
                  </a:lnTo>
                  <a:lnTo>
                    <a:pt x="60" y="416"/>
                  </a:lnTo>
                  <a:lnTo>
                    <a:pt x="60" y="414"/>
                  </a:lnTo>
                  <a:lnTo>
                    <a:pt x="61" y="411"/>
                  </a:lnTo>
                  <a:lnTo>
                    <a:pt x="61" y="409"/>
                  </a:lnTo>
                  <a:lnTo>
                    <a:pt x="61" y="407"/>
                  </a:lnTo>
                  <a:lnTo>
                    <a:pt x="60" y="404"/>
                  </a:lnTo>
                  <a:lnTo>
                    <a:pt x="59" y="401"/>
                  </a:lnTo>
                  <a:lnTo>
                    <a:pt x="53" y="389"/>
                  </a:lnTo>
                  <a:lnTo>
                    <a:pt x="51" y="385"/>
                  </a:lnTo>
                  <a:lnTo>
                    <a:pt x="49" y="382"/>
                  </a:lnTo>
                  <a:lnTo>
                    <a:pt x="46" y="380"/>
                  </a:lnTo>
                  <a:lnTo>
                    <a:pt x="41" y="374"/>
                  </a:lnTo>
                  <a:lnTo>
                    <a:pt x="39" y="372"/>
                  </a:lnTo>
                  <a:lnTo>
                    <a:pt x="37" y="371"/>
                  </a:lnTo>
                  <a:lnTo>
                    <a:pt x="36" y="368"/>
                  </a:lnTo>
                  <a:lnTo>
                    <a:pt x="35" y="367"/>
                  </a:lnTo>
                  <a:lnTo>
                    <a:pt x="34" y="364"/>
                  </a:lnTo>
                  <a:lnTo>
                    <a:pt x="33" y="362"/>
                  </a:lnTo>
                  <a:lnTo>
                    <a:pt x="32" y="359"/>
                  </a:lnTo>
                  <a:lnTo>
                    <a:pt x="31" y="356"/>
                  </a:lnTo>
                  <a:lnTo>
                    <a:pt x="31" y="353"/>
                  </a:lnTo>
                  <a:lnTo>
                    <a:pt x="31" y="349"/>
                  </a:lnTo>
                  <a:lnTo>
                    <a:pt x="32" y="344"/>
                  </a:lnTo>
                  <a:lnTo>
                    <a:pt x="34" y="336"/>
                  </a:lnTo>
                  <a:lnTo>
                    <a:pt x="34" y="332"/>
                  </a:lnTo>
                  <a:lnTo>
                    <a:pt x="35" y="314"/>
                  </a:lnTo>
                  <a:lnTo>
                    <a:pt x="35" y="309"/>
                  </a:lnTo>
                  <a:lnTo>
                    <a:pt x="35" y="307"/>
                  </a:lnTo>
                  <a:lnTo>
                    <a:pt x="35" y="304"/>
                  </a:lnTo>
                  <a:lnTo>
                    <a:pt x="34" y="302"/>
                  </a:lnTo>
                  <a:lnTo>
                    <a:pt x="34" y="301"/>
                  </a:lnTo>
                  <a:lnTo>
                    <a:pt x="33" y="300"/>
                  </a:lnTo>
                  <a:lnTo>
                    <a:pt x="31" y="299"/>
                  </a:lnTo>
                  <a:lnTo>
                    <a:pt x="30" y="297"/>
                  </a:lnTo>
                  <a:lnTo>
                    <a:pt x="29" y="297"/>
                  </a:lnTo>
                  <a:lnTo>
                    <a:pt x="27" y="297"/>
                  </a:lnTo>
                  <a:lnTo>
                    <a:pt x="26" y="297"/>
                  </a:lnTo>
                  <a:lnTo>
                    <a:pt x="24" y="292"/>
                  </a:lnTo>
                  <a:lnTo>
                    <a:pt x="19" y="284"/>
                  </a:lnTo>
                  <a:lnTo>
                    <a:pt x="19" y="283"/>
                  </a:lnTo>
                  <a:lnTo>
                    <a:pt x="19" y="282"/>
                  </a:lnTo>
                  <a:lnTo>
                    <a:pt x="19" y="282"/>
                  </a:lnTo>
                  <a:lnTo>
                    <a:pt x="19" y="281"/>
                  </a:lnTo>
                  <a:lnTo>
                    <a:pt x="19" y="280"/>
                  </a:lnTo>
                  <a:lnTo>
                    <a:pt x="20" y="279"/>
                  </a:lnTo>
                  <a:lnTo>
                    <a:pt x="21" y="279"/>
                  </a:lnTo>
                  <a:lnTo>
                    <a:pt x="22" y="279"/>
                  </a:lnTo>
                  <a:lnTo>
                    <a:pt x="25" y="278"/>
                  </a:lnTo>
                  <a:lnTo>
                    <a:pt x="27" y="277"/>
                  </a:lnTo>
                  <a:lnTo>
                    <a:pt x="28" y="277"/>
                  </a:lnTo>
                  <a:lnTo>
                    <a:pt x="29" y="277"/>
                  </a:lnTo>
                  <a:lnTo>
                    <a:pt x="29" y="276"/>
                  </a:lnTo>
                  <a:lnTo>
                    <a:pt x="29" y="274"/>
                  </a:lnTo>
                  <a:lnTo>
                    <a:pt x="30" y="269"/>
                  </a:lnTo>
                  <a:lnTo>
                    <a:pt x="31" y="267"/>
                  </a:lnTo>
                  <a:lnTo>
                    <a:pt x="31" y="266"/>
                  </a:lnTo>
                  <a:lnTo>
                    <a:pt x="32" y="264"/>
                  </a:lnTo>
                  <a:lnTo>
                    <a:pt x="33" y="264"/>
                  </a:lnTo>
                  <a:lnTo>
                    <a:pt x="34" y="263"/>
                  </a:lnTo>
                  <a:lnTo>
                    <a:pt x="34" y="262"/>
                  </a:lnTo>
                  <a:lnTo>
                    <a:pt x="35" y="262"/>
                  </a:lnTo>
                  <a:lnTo>
                    <a:pt x="39" y="261"/>
                  </a:lnTo>
                  <a:lnTo>
                    <a:pt x="41" y="261"/>
                  </a:lnTo>
                  <a:lnTo>
                    <a:pt x="43" y="259"/>
                  </a:lnTo>
                  <a:lnTo>
                    <a:pt x="46" y="259"/>
                  </a:lnTo>
                  <a:lnTo>
                    <a:pt x="47" y="257"/>
                  </a:lnTo>
                  <a:lnTo>
                    <a:pt x="49" y="257"/>
                  </a:lnTo>
                  <a:lnTo>
                    <a:pt x="52" y="253"/>
                  </a:lnTo>
                  <a:lnTo>
                    <a:pt x="53" y="252"/>
                  </a:lnTo>
                  <a:lnTo>
                    <a:pt x="54" y="249"/>
                  </a:lnTo>
                  <a:lnTo>
                    <a:pt x="54" y="247"/>
                  </a:lnTo>
                  <a:lnTo>
                    <a:pt x="55" y="244"/>
                  </a:lnTo>
                  <a:lnTo>
                    <a:pt x="56" y="241"/>
                  </a:lnTo>
                  <a:lnTo>
                    <a:pt x="56" y="237"/>
                  </a:lnTo>
                  <a:lnTo>
                    <a:pt x="56" y="235"/>
                  </a:lnTo>
                  <a:lnTo>
                    <a:pt x="56" y="234"/>
                  </a:lnTo>
                  <a:lnTo>
                    <a:pt x="56" y="233"/>
                  </a:lnTo>
                  <a:lnTo>
                    <a:pt x="56" y="232"/>
                  </a:lnTo>
                  <a:lnTo>
                    <a:pt x="56" y="229"/>
                  </a:lnTo>
                  <a:lnTo>
                    <a:pt x="56" y="228"/>
                  </a:lnTo>
                  <a:lnTo>
                    <a:pt x="59" y="224"/>
                  </a:lnTo>
                  <a:lnTo>
                    <a:pt x="60" y="221"/>
                  </a:lnTo>
                  <a:lnTo>
                    <a:pt x="61" y="218"/>
                  </a:lnTo>
                  <a:lnTo>
                    <a:pt x="64" y="215"/>
                  </a:lnTo>
                  <a:lnTo>
                    <a:pt x="71" y="205"/>
                  </a:lnTo>
                  <a:lnTo>
                    <a:pt x="75" y="199"/>
                  </a:lnTo>
                  <a:lnTo>
                    <a:pt x="80" y="192"/>
                  </a:lnTo>
                  <a:lnTo>
                    <a:pt x="81" y="190"/>
                  </a:lnTo>
                  <a:lnTo>
                    <a:pt x="82" y="189"/>
                  </a:lnTo>
                  <a:lnTo>
                    <a:pt x="82" y="187"/>
                  </a:lnTo>
                  <a:lnTo>
                    <a:pt x="83" y="185"/>
                  </a:lnTo>
                  <a:lnTo>
                    <a:pt x="84" y="183"/>
                  </a:lnTo>
                  <a:lnTo>
                    <a:pt x="84" y="182"/>
                  </a:lnTo>
                  <a:lnTo>
                    <a:pt x="84" y="179"/>
                  </a:lnTo>
                  <a:lnTo>
                    <a:pt x="83" y="177"/>
                  </a:lnTo>
                  <a:lnTo>
                    <a:pt x="82" y="174"/>
                  </a:lnTo>
                  <a:lnTo>
                    <a:pt x="80" y="165"/>
                  </a:lnTo>
                  <a:lnTo>
                    <a:pt x="79" y="160"/>
                  </a:lnTo>
                  <a:lnTo>
                    <a:pt x="78" y="153"/>
                  </a:lnTo>
                  <a:lnTo>
                    <a:pt x="77" y="146"/>
                  </a:lnTo>
                  <a:lnTo>
                    <a:pt x="77" y="143"/>
                  </a:lnTo>
                  <a:lnTo>
                    <a:pt x="77" y="140"/>
                  </a:lnTo>
                  <a:lnTo>
                    <a:pt x="77" y="137"/>
                  </a:lnTo>
                  <a:lnTo>
                    <a:pt x="78" y="135"/>
                  </a:lnTo>
                  <a:lnTo>
                    <a:pt x="78" y="133"/>
                  </a:lnTo>
                  <a:lnTo>
                    <a:pt x="79" y="130"/>
                  </a:lnTo>
                  <a:lnTo>
                    <a:pt x="79" y="129"/>
                  </a:lnTo>
                  <a:lnTo>
                    <a:pt x="81" y="127"/>
                  </a:lnTo>
                  <a:lnTo>
                    <a:pt x="81" y="126"/>
                  </a:lnTo>
                  <a:lnTo>
                    <a:pt x="83" y="125"/>
                  </a:lnTo>
                  <a:lnTo>
                    <a:pt x="84" y="124"/>
                  </a:lnTo>
                  <a:lnTo>
                    <a:pt x="86" y="123"/>
                  </a:lnTo>
                  <a:lnTo>
                    <a:pt x="87" y="122"/>
                  </a:lnTo>
                  <a:lnTo>
                    <a:pt x="89" y="122"/>
                  </a:lnTo>
                  <a:lnTo>
                    <a:pt x="91" y="122"/>
                  </a:lnTo>
                  <a:lnTo>
                    <a:pt x="94" y="122"/>
                  </a:lnTo>
                  <a:lnTo>
                    <a:pt x="96" y="122"/>
                  </a:lnTo>
                  <a:lnTo>
                    <a:pt x="99" y="123"/>
                  </a:lnTo>
                  <a:lnTo>
                    <a:pt x="103" y="124"/>
                  </a:lnTo>
                  <a:lnTo>
                    <a:pt x="113" y="128"/>
                  </a:lnTo>
                  <a:lnTo>
                    <a:pt x="121" y="130"/>
                  </a:lnTo>
                  <a:lnTo>
                    <a:pt x="124" y="132"/>
                  </a:lnTo>
                  <a:lnTo>
                    <a:pt x="127" y="132"/>
                  </a:lnTo>
                  <a:lnTo>
                    <a:pt x="129" y="132"/>
                  </a:lnTo>
                  <a:lnTo>
                    <a:pt x="130" y="132"/>
                  </a:lnTo>
                  <a:lnTo>
                    <a:pt x="131" y="131"/>
                  </a:lnTo>
                  <a:lnTo>
                    <a:pt x="131" y="131"/>
                  </a:lnTo>
                  <a:lnTo>
                    <a:pt x="132" y="130"/>
                  </a:lnTo>
                  <a:lnTo>
                    <a:pt x="132" y="130"/>
                  </a:lnTo>
                  <a:lnTo>
                    <a:pt x="133" y="128"/>
                  </a:lnTo>
                  <a:lnTo>
                    <a:pt x="133" y="127"/>
                  </a:lnTo>
                  <a:lnTo>
                    <a:pt x="133" y="125"/>
                  </a:lnTo>
                  <a:lnTo>
                    <a:pt x="132" y="124"/>
                  </a:lnTo>
                  <a:lnTo>
                    <a:pt x="131" y="120"/>
                  </a:lnTo>
                  <a:lnTo>
                    <a:pt x="126" y="114"/>
                  </a:lnTo>
                  <a:lnTo>
                    <a:pt x="125" y="111"/>
                  </a:lnTo>
                  <a:lnTo>
                    <a:pt x="122" y="106"/>
                  </a:lnTo>
                  <a:lnTo>
                    <a:pt x="121" y="101"/>
                  </a:lnTo>
                  <a:lnTo>
                    <a:pt x="119" y="96"/>
                  </a:lnTo>
                  <a:lnTo>
                    <a:pt x="117" y="92"/>
                  </a:lnTo>
                  <a:lnTo>
                    <a:pt x="116" y="88"/>
                  </a:lnTo>
                  <a:lnTo>
                    <a:pt x="116" y="84"/>
                  </a:lnTo>
                  <a:lnTo>
                    <a:pt x="115" y="78"/>
                  </a:lnTo>
                  <a:lnTo>
                    <a:pt x="114" y="74"/>
                  </a:lnTo>
                  <a:lnTo>
                    <a:pt x="114" y="64"/>
                  </a:lnTo>
                  <a:lnTo>
                    <a:pt x="112" y="50"/>
                  </a:lnTo>
                  <a:lnTo>
                    <a:pt x="112" y="45"/>
                  </a:lnTo>
                  <a:lnTo>
                    <a:pt x="112" y="42"/>
                  </a:lnTo>
                  <a:lnTo>
                    <a:pt x="112" y="41"/>
                  </a:lnTo>
                  <a:lnTo>
                    <a:pt x="113" y="40"/>
                  </a:lnTo>
                  <a:lnTo>
                    <a:pt x="114" y="38"/>
                  </a:lnTo>
                  <a:lnTo>
                    <a:pt x="114" y="37"/>
                  </a:lnTo>
                  <a:lnTo>
                    <a:pt x="115" y="36"/>
                  </a:lnTo>
                  <a:lnTo>
                    <a:pt x="116" y="35"/>
                  </a:lnTo>
                  <a:lnTo>
                    <a:pt x="119" y="34"/>
                  </a:lnTo>
                  <a:lnTo>
                    <a:pt x="122" y="32"/>
                  </a:lnTo>
                  <a:lnTo>
                    <a:pt x="126" y="30"/>
                  </a:lnTo>
                  <a:lnTo>
                    <a:pt x="129" y="29"/>
                  </a:lnTo>
                  <a:lnTo>
                    <a:pt x="136" y="27"/>
                  </a:lnTo>
                  <a:lnTo>
                    <a:pt x="138" y="27"/>
                  </a:lnTo>
                  <a:lnTo>
                    <a:pt x="140" y="25"/>
                  </a:lnTo>
                  <a:lnTo>
                    <a:pt x="141" y="25"/>
                  </a:lnTo>
                  <a:lnTo>
                    <a:pt x="143" y="24"/>
                  </a:lnTo>
                  <a:lnTo>
                    <a:pt x="144" y="22"/>
                  </a:lnTo>
                  <a:lnTo>
                    <a:pt x="146" y="18"/>
                  </a:lnTo>
                  <a:lnTo>
                    <a:pt x="150" y="13"/>
                  </a:lnTo>
                  <a:lnTo>
                    <a:pt x="153" y="7"/>
                  </a:lnTo>
                  <a:lnTo>
                    <a:pt x="155" y="3"/>
                  </a:lnTo>
                  <a:lnTo>
                    <a:pt x="156" y="2"/>
                  </a:lnTo>
                  <a:lnTo>
                    <a:pt x="158" y="0"/>
                  </a:lnTo>
                  <a:lnTo>
                    <a:pt x="159" y="0"/>
                  </a:lnTo>
                  <a:lnTo>
                    <a:pt x="159" y="0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FFCC29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98">
              <a:extLst>
                <a:ext uri="{FF2B5EF4-FFF2-40B4-BE49-F238E27FC236}">
                  <a16:creationId xmlns:a16="http://schemas.microsoft.com/office/drawing/2014/main" id="{3D3A56E8-1D0A-D57D-07FA-66E79779CC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4173" y="5767225"/>
              <a:ext cx="1177925" cy="976313"/>
            </a:xfrm>
            <a:custGeom>
              <a:avLst/>
              <a:gdLst>
                <a:gd name="T0" fmla="*/ 281 w 742"/>
                <a:gd name="T1" fmla="*/ 22 h 615"/>
                <a:gd name="T2" fmla="*/ 301 w 742"/>
                <a:gd name="T3" fmla="*/ 45 h 615"/>
                <a:gd name="T4" fmla="*/ 334 w 742"/>
                <a:gd name="T5" fmla="*/ 71 h 615"/>
                <a:gd name="T6" fmla="*/ 362 w 742"/>
                <a:gd name="T7" fmla="*/ 92 h 615"/>
                <a:gd name="T8" fmla="*/ 407 w 742"/>
                <a:gd name="T9" fmla="*/ 129 h 615"/>
                <a:gd name="T10" fmla="*/ 441 w 742"/>
                <a:gd name="T11" fmla="*/ 153 h 615"/>
                <a:gd name="T12" fmla="*/ 444 w 742"/>
                <a:gd name="T13" fmla="*/ 171 h 615"/>
                <a:gd name="T14" fmla="*/ 483 w 742"/>
                <a:gd name="T15" fmla="*/ 193 h 615"/>
                <a:gd name="T16" fmla="*/ 518 w 742"/>
                <a:gd name="T17" fmla="*/ 225 h 615"/>
                <a:gd name="T18" fmla="*/ 521 w 742"/>
                <a:gd name="T19" fmla="*/ 257 h 615"/>
                <a:gd name="T20" fmla="*/ 540 w 742"/>
                <a:gd name="T21" fmla="*/ 287 h 615"/>
                <a:gd name="T22" fmla="*/ 594 w 742"/>
                <a:gd name="T23" fmla="*/ 276 h 615"/>
                <a:gd name="T24" fmla="*/ 616 w 742"/>
                <a:gd name="T25" fmla="*/ 276 h 615"/>
                <a:gd name="T26" fmla="*/ 628 w 742"/>
                <a:gd name="T27" fmla="*/ 307 h 615"/>
                <a:gd name="T28" fmla="*/ 682 w 742"/>
                <a:gd name="T29" fmla="*/ 357 h 615"/>
                <a:gd name="T30" fmla="*/ 708 w 742"/>
                <a:gd name="T31" fmla="*/ 383 h 615"/>
                <a:gd name="T32" fmla="*/ 717 w 742"/>
                <a:gd name="T33" fmla="*/ 385 h 615"/>
                <a:gd name="T34" fmla="*/ 727 w 742"/>
                <a:gd name="T35" fmla="*/ 440 h 615"/>
                <a:gd name="T36" fmla="*/ 742 w 742"/>
                <a:gd name="T37" fmla="*/ 454 h 615"/>
                <a:gd name="T38" fmla="*/ 738 w 742"/>
                <a:gd name="T39" fmla="*/ 519 h 615"/>
                <a:gd name="T40" fmla="*/ 723 w 742"/>
                <a:gd name="T41" fmla="*/ 574 h 615"/>
                <a:gd name="T42" fmla="*/ 694 w 742"/>
                <a:gd name="T43" fmla="*/ 578 h 615"/>
                <a:gd name="T44" fmla="*/ 666 w 742"/>
                <a:gd name="T45" fmla="*/ 551 h 615"/>
                <a:gd name="T46" fmla="*/ 641 w 742"/>
                <a:gd name="T47" fmla="*/ 529 h 615"/>
                <a:gd name="T48" fmla="*/ 601 w 742"/>
                <a:gd name="T49" fmla="*/ 542 h 615"/>
                <a:gd name="T50" fmla="*/ 546 w 742"/>
                <a:gd name="T51" fmla="*/ 530 h 615"/>
                <a:gd name="T52" fmla="*/ 511 w 742"/>
                <a:gd name="T53" fmla="*/ 499 h 615"/>
                <a:gd name="T54" fmla="*/ 493 w 742"/>
                <a:gd name="T55" fmla="*/ 502 h 615"/>
                <a:gd name="T56" fmla="*/ 483 w 742"/>
                <a:gd name="T57" fmla="*/ 547 h 615"/>
                <a:gd name="T58" fmla="*/ 465 w 742"/>
                <a:gd name="T59" fmla="*/ 567 h 615"/>
                <a:gd name="T60" fmla="*/ 436 w 742"/>
                <a:gd name="T61" fmla="*/ 575 h 615"/>
                <a:gd name="T62" fmla="*/ 418 w 742"/>
                <a:gd name="T63" fmla="*/ 596 h 615"/>
                <a:gd name="T64" fmla="*/ 389 w 742"/>
                <a:gd name="T65" fmla="*/ 614 h 615"/>
                <a:gd name="T66" fmla="*/ 325 w 742"/>
                <a:gd name="T67" fmla="*/ 588 h 615"/>
                <a:gd name="T68" fmla="*/ 266 w 742"/>
                <a:gd name="T69" fmla="*/ 572 h 615"/>
                <a:gd name="T70" fmla="*/ 204 w 742"/>
                <a:gd name="T71" fmla="*/ 562 h 615"/>
                <a:gd name="T72" fmla="*/ 167 w 742"/>
                <a:gd name="T73" fmla="*/ 562 h 615"/>
                <a:gd name="T74" fmla="*/ 127 w 742"/>
                <a:gd name="T75" fmla="*/ 543 h 615"/>
                <a:gd name="T76" fmla="*/ 110 w 742"/>
                <a:gd name="T77" fmla="*/ 518 h 615"/>
                <a:gd name="T78" fmla="*/ 96 w 742"/>
                <a:gd name="T79" fmla="*/ 495 h 615"/>
                <a:gd name="T80" fmla="*/ 120 w 742"/>
                <a:gd name="T81" fmla="*/ 476 h 615"/>
                <a:gd name="T82" fmla="*/ 127 w 742"/>
                <a:gd name="T83" fmla="*/ 458 h 615"/>
                <a:gd name="T84" fmla="*/ 97 w 742"/>
                <a:gd name="T85" fmla="*/ 427 h 615"/>
                <a:gd name="T86" fmla="*/ 67 w 742"/>
                <a:gd name="T87" fmla="*/ 401 h 615"/>
                <a:gd name="T88" fmla="*/ 17 w 742"/>
                <a:gd name="T89" fmla="*/ 372 h 615"/>
                <a:gd name="T90" fmla="*/ 10 w 742"/>
                <a:gd name="T91" fmla="*/ 339 h 615"/>
                <a:gd name="T92" fmla="*/ 38 w 742"/>
                <a:gd name="T93" fmla="*/ 325 h 615"/>
                <a:gd name="T94" fmla="*/ 56 w 742"/>
                <a:gd name="T95" fmla="*/ 281 h 615"/>
                <a:gd name="T96" fmla="*/ 47 w 742"/>
                <a:gd name="T97" fmla="*/ 230 h 615"/>
                <a:gd name="T98" fmla="*/ 39 w 742"/>
                <a:gd name="T99" fmla="*/ 175 h 615"/>
                <a:gd name="T100" fmla="*/ 42 w 742"/>
                <a:gd name="T101" fmla="*/ 145 h 615"/>
                <a:gd name="T102" fmla="*/ 74 w 742"/>
                <a:gd name="T103" fmla="*/ 145 h 615"/>
                <a:gd name="T104" fmla="*/ 137 w 742"/>
                <a:gd name="T105" fmla="*/ 133 h 615"/>
                <a:gd name="T106" fmla="*/ 190 w 742"/>
                <a:gd name="T107" fmla="*/ 133 h 615"/>
                <a:gd name="T108" fmla="*/ 233 w 742"/>
                <a:gd name="T109" fmla="*/ 151 h 615"/>
                <a:gd name="T110" fmla="*/ 247 w 742"/>
                <a:gd name="T111" fmla="*/ 145 h 615"/>
                <a:gd name="T112" fmla="*/ 248 w 742"/>
                <a:gd name="T113" fmla="*/ 131 h 615"/>
                <a:gd name="T114" fmla="*/ 237 w 742"/>
                <a:gd name="T115" fmla="*/ 102 h 615"/>
                <a:gd name="T116" fmla="*/ 247 w 742"/>
                <a:gd name="T117" fmla="*/ 78 h 615"/>
                <a:gd name="T118" fmla="*/ 254 w 742"/>
                <a:gd name="T119" fmla="*/ 40 h 615"/>
                <a:gd name="T120" fmla="*/ 269 w 742"/>
                <a:gd name="T121" fmla="*/ 10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42" h="615">
                  <a:moveTo>
                    <a:pt x="282" y="0"/>
                  </a:moveTo>
                  <a:lnTo>
                    <a:pt x="282" y="0"/>
                  </a:lnTo>
                  <a:lnTo>
                    <a:pt x="281" y="3"/>
                  </a:lnTo>
                  <a:lnTo>
                    <a:pt x="281" y="5"/>
                  </a:lnTo>
                  <a:lnTo>
                    <a:pt x="280" y="8"/>
                  </a:lnTo>
                  <a:lnTo>
                    <a:pt x="280" y="10"/>
                  </a:lnTo>
                  <a:lnTo>
                    <a:pt x="280" y="13"/>
                  </a:lnTo>
                  <a:lnTo>
                    <a:pt x="280" y="16"/>
                  </a:lnTo>
                  <a:lnTo>
                    <a:pt x="281" y="19"/>
                  </a:lnTo>
                  <a:lnTo>
                    <a:pt x="281" y="22"/>
                  </a:lnTo>
                  <a:lnTo>
                    <a:pt x="283" y="25"/>
                  </a:lnTo>
                  <a:lnTo>
                    <a:pt x="284" y="28"/>
                  </a:lnTo>
                  <a:lnTo>
                    <a:pt x="285" y="30"/>
                  </a:lnTo>
                  <a:lnTo>
                    <a:pt x="286" y="32"/>
                  </a:lnTo>
                  <a:lnTo>
                    <a:pt x="288" y="35"/>
                  </a:lnTo>
                  <a:lnTo>
                    <a:pt x="289" y="36"/>
                  </a:lnTo>
                  <a:lnTo>
                    <a:pt x="291" y="39"/>
                  </a:lnTo>
                  <a:lnTo>
                    <a:pt x="294" y="41"/>
                  </a:lnTo>
                  <a:lnTo>
                    <a:pt x="298" y="43"/>
                  </a:lnTo>
                  <a:lnTo>
                    <a:pt x="301" y="45"/>
                  </a:lnTo>
                  <a:lnTo>
                    <a:pt x="311" y="51"/>
                  </a:lnTo>
                  <a:lnTo>
                    <a:pt x="315" y="53"/>
                  </a:lnTo>
                  <a:lnTo>
                    <a:pt x="317" y="55"/>
                  </a:lnTo>
                  <a:lnTo>
                    <a:pt x="320" y="57"/>
                  </a:lnTo>
                  <a:lnTo>
                    <a:pt x="322" y="59"/>
                  </a:lnTo>
                  <a:lnTo>
                    <a:pt x="324" y="61"/>
                  </a:lnTo>
                  <a:lnTo>
                    <a:pt x="329" y="68"/>
                  </a:lnTo>
                  <a:lnTo>
                    <a:pt x="331" y="69"/>
                  </a:lnTo>
                  <a:lnTo>
                    <a:pt x="331" y="70"/>
                  </a:lnTo>
                  <a:lnTo>
                    <a:pt x="334" y="71"/>
                  </a:lnTo>
                  <a:lnTo>
                    <a:pt x="339" y="75"/>
                  </a:lnTo>
                  <a:lnTo>
                    <a:pt x="341" y="76"/>
                  </a:lnTo>
                  <a:lnTo>
                    <a:pt x="344" y="78"/>
                  </a:lnTo>
                  <a:lnTo>
                    <a:pt x="348" y="83"/>
                  </a:lnTo>
                  <a:lnTo>
                    <a:pt x="351" y="84"/>
                  </a:lnTo>
                  <a:lnTo>
                    <a:pt x="354" y="86"/>
                  </a:lnTo>
                  <a:lnTo>
                    <a:pt x="358" y="88"/>
                  </a:lnTo>
                  <a:lnTo>
                    <a:pt x="360" y="90"/>
                  </a:lnTo>
                  <a:lnTo>
                    <a:pt x="361" y="90"/>
                  </a:lnTo>
                  <a:lnTo>
                    <a:pt x="362" y="92"/>
                  </a:lnTo>
                  <a:lnTo>
                    <a:pt x="369" y="100"/>
                  </a:lnTo>
                  <a:lnTo>
                    <a:pt x="374" y="108"/>
                  </a:lnTo>
                  <a:lnTo>
                    <a:pt x="378" y="112"/>
                  </a:lnTo>
                  <a:lnTo>
                    <a:pt x="379" y="113"/>
                  </a:lnTo>
                  <a:lnTo>
                    <a:pt x="381" y="115"/>
                  </a:lnTo>
                  <a:lnTo>
                    <a:pt x="382" y="115"/>
                  </a:lnTo>
                  <a:lnTo>
                    <a:pt x="384" y="117"/>
                  </a:lnTo>
                  <a:lnTo>
                    <a:pt x="397" y="123"/>
                  </a:lnTo>
                  <a:lnTo>
                    <a:pt x="401" y="125"/>
                  </a:lnTo>
                  <a:lnTo>
                    <a:pt x="407" y="129"/>
                  </a:lnTo>
                  <a:lnTo>
                    <a:pt x="416" y="135"/>
                  </a:lnTo>
                  <a:lnTo>
                    <a:pt x="421" y="138"/>
                  </a:lnTo>
                  <a:lnTo>
                    <a:pt x="426" y="141"/>
                  </a:lnTo>
                  <a:lnTo>
                    <a:pt x="435" y="146"/>
                  </a:lnTo>
                  <a:lnTo>
                    <a:pt x="437" y="147"/>
                  </a:lnTo>
                  <a:lnTo>
                    <a:pt x="439" y="148"/>
                  </a:lnTo>
                  <a:lnTo>
                    <a:pt x="440" y="150"/>
                  </a:lnTo>
                  <a:lnTo>
                    <a:pt x="440" y="150"/>
                  </a:lnTo>
                  <a:lnTo>
                    <a:pt x="441" y="151"/>
                  </a:lnTo>
                  <a:lnTo>
                    <a:pt x="441" y="153"/>
                  </a:lnTo>
                  <a:lnTo>
                    <a:pt x="441" y="154"/>
                  </a:lnTo>
                  <a:lnTo>
                    <a:pt x="441" y="160"/>
                  </a:lnTo>
                  <a:lnTo>
                    <a:pt x="441" y="162"/>
                  </a:lnTo>
                  <a:lnTo>
                    <a:pt x="441" y="165"/>
                  </a:lnTo>
                  <a:lnTo>
                    <a:pt x="441" y="167"/>
                  </a:lnTo>
                  <a:lnTo>
                    <a:pt x="441" y="168"/>
                  </a:lnTo>
                  <a:lnTo>
                    <a:pt x="441" y="169"/>
                  </a:lnTo>
                  <a:lnTo>
                    <a:pt x="442" y="170"/>
                  </a:lnTo>
                  <a:lnTo>
                    <a:pt x="442" y="170"/>
                  </a:lnTo>
                  <a:lnTo>
                    <a:pt x="444" y="171"/>
                  </a:lnTo>
                  <a:lnTo>
                    <a:pt x="445" y="172"/>
                  </a:lnTo>
                  <a:lnTo>
                    <a:pt x="452" y="174"/>
                  </a:lnTo>
                  <a:lnTo>
                    <a:pt x="454" y="175"/>
                  </a:lnTo>
                  <a:lnTo>
                    <a:pt x="456" y="176"/>
                  </a:lnTo>
                  <a:lnTo>
                    <a:pt x="459" y="178"/>
                  </a:lnTo>
                  <a:lnTo>
                    <a:pt x="464" y="182"/>
                  </a:lnTo>
                  <a:lnTo>
                    <a:pt x="469" y="185"/>
                  </a:lnTo>
                  <a:lnTo>
                    <a:pt x="474" y="187"/>
                  </a:lnTo>
                  <a:lnTo>
                    <a:pt x="480" y="190"/>
                  </a:lnTo>
                  <a:lnTo>
                    <a:pt x="483" y="193"/>
                  </a:lnTo>
                  <a:lnTo>
                    <a:pt x="486" y="194"/>
                  </a:lnTo>
                  <a:lnTo>
                    <a:pt x="487" y="195"/>
                  </a:lnTo>
                  <a:lnTo>
                    <a:pt x="494" y="204"/>
                  </a:lnTo>
                  <a:lnTo>
                    <a:pt x="501" y="210"/>
                  </a:lnTo>
                  <a:lnTo>
                    <a:pt x="508" y="217"/>
                  </a:lnTo>
                  <a:lnTo>
                    <a:pt x="511" y="219"/>
                  </a:lnTo>
                  <a:lnTo>
                    <a:pt x="514" y="221"/>
                  </a:lnTo>
                  <a:lnTo>
                    <a:pt x="516" y="222"/>
                  </a:lnTo>
                  <a:lnTo>
                    <a:pt x="517" y="223"/>
                  </a:lnTo>
                  <a:lnTo>
                    <a:pt x="518" y="225"/>
                  </a:lnTo>
                  <a:lnTo>
                    <a:pt x="518" y="227"/>
                  </a:lnTo>
                  <a:lnTo>
                    <a:pt x="518" y="228"/>
                  </a:lnTo>
                  <a:lnTo>
                    <a:pt x="518" y="229"/>
                  </a:lnTo>
                  <a:lnTo>
                    <a:pt x="518" y="230"/>
                  </a:lnTo>
                  <a:lnTo>
                    <a:pt x="518" y="233"/>
                  </a:lnTo>
                  <a:lnTo>
                    <a:pt x="518" y="235"/>
                  </a:lnTo>
                  <a:lnTo>
                    <a:pt x="518" y="240"/>
                  </a:lnTo>
                  <a:lnTo>
                    <a:pt x="518" y="242"/>
                  </a:lnTo>
                  <a:lnTo>
                    <a:pt x="520" y="249"/>
                  </a:lnTo>
                  <a:lnTo>
                    <a:pt x="521" y="257"/>
                  </a:lnTo>
                  <a:lnTo>
                    <a:pt x="521" y="259"/>
                  </a:lnTo>
                  <a:lnTo>
                    <a:pt x="522" y="261"/>
                  </a:lnTo>
                  <a:lnTo>
                    <a:pt x="523" y="264"/>
                  </a:lnTo>
                  <a:lnTo>
                    <a:pt x="530" y="275"/>
                  </a:lnTo>
                  <a:lnTo>
                    <a:pt x="533" y="282"/>
                  </a:lnTo>
                  <a:lnTo>
                    <a:pt x="534" y="284"/>
                  </a:lnTo>
                  <a:lnTo>
                    <a:pt x="536" y="285"/>
                  </a:lnTo>
                  <a:lnTo>
                    <a:pt x="537" y="286"/>
                  </a:lnTo>
                  <a:lnTo>
                    <a:pt x="538" y="287"/>
                  </a:lnTo>
                  <a:lnTo>
                    <a:pt x="540" y="287"/>
                  </a:lnTo>
                  <a:lnTo>
                    <a:pt x="542" y="287"/>
                  </a:lnTo>
                  <a:lnTo>
                    <a:pt x="544" y="288"/>
                  </a:lnTo>
                  <a:lnTo>
                    <a:pt x="546" y="288"/>
                  </a:lnTo>
                  <a:lnTo>
                    <a:pt x="548" y="288"/>
                  </a:lnTo>
                  <a:lnTo>
                    <a:pt x="551" y="287"/>
                  </a:lnTo>
                  <a:lnTo>
                    <a:pt x="555" y="287"/>
                  </a:lnTo>
                  <a:lnTo>
                    <a:pt x="565" y="284"/>
                  </a:lnTo>
                  <a:lnTo>
                    <a:pt x="579" y="280"/>
                  </a:lnTo>
                  <a:lnTo>
                    <a:pt x="586" y="278"/>
                  </a:lnTo>
                  <a:lnTo>
                    <a:pt x="594" y="276"/>
                  </a:lnTo>
                  <a:lnTo>
                    <a:pt x="604" y="272"/>
                  </a:lnTo>
                  <a:lnTo>
                    <a:pt x="606" y="271"/>
                  </a:lnTo>
                  <a:lnTo>
                    <a:pt x="608" y="270"/>
                  </a:lnTo>
                  <a:lnTo>
                    <a:pt x="610" y="270"/>
                  </a:lnTo>
                  <a:lnTo>
                    <a:pt x="612" y="270"/>
                  </a:lnTo>
                  <a:lnTo>
                    <a:pt x="613" y="270"/>
                  </a:lnTo>
                  <a:lnTo>
                    <a:pt x="615" y="271"/>
                  </a:lnTo>
                  <a:lnTo>
                    <a:pt x="616" y="272"/>
                  </a:lnTo>
                  <a:lnTo>
                    <a:pt x="616" y="274"/>
                  </a:lnTo>
                  <a:lnTo>
                    <a:pt x="616" y="276"/>
                  </a:lnTo>
                  <a:lnTo>
                    <a:pt x="616" y="280"/>
                  </a:lnTo>
                  <a:lnTo>
                    <a:pt x="617" y="285"/>
                  </a:lnTo>
                  <a:lnTo>
                    <a:pt x="618" y="287"/>
                  </a:lnTo>
                  <a:lnTo>
                    <a:pt x="620" y="296"/>
                  </a:lnTo>
                  <a:lnTo>
                    <a:pt x="621" y="298"/>
                  </a:lnTo>
                  <a:lnTo>
                    <a:pt x="622" y="300"/>
                  </a:lnTo>
                  <a:lnTo>
                    <a:pt x="623" y="302"/>
                  </a:lnTo>
                  <a:lnTo>
                    <a:pt x="625" y="304"/>
                  </a:lnTo>
                  <a:lnTo>
                    <a:pt x="627" y="305"/>
                  </a:lnTo>
                  <a:lnTo>
                    <a:pt x="628" y="307"/>
                  </a:lnTo>
                  <a:lnTo>
                    <a:pt x="639" y="312"/>
                  </a:lnTo>
                  <a:lnTo>
                    <a:pt x="643" y="313"/>
                  </a:lnTo>
                  <a:lnTo>
                    <a:pt x="645" y="315"/>
                  </a:lnTo>
                  <a:lnTo>
                    <a:pt x="646" y="315"/>
                  </a:lnTo>
                  <a:lnTo>
                    <a:pt x="651" y="320"/>
                  </a:lnTo>
                  <a:lnTo>
                    <a:pt x="653" y="322"/>
                  </a:lnTo>
                  <a:lnTo>
                    <a:pt x="658" y="328"/>
                  </a:lnTo>
                  <a:lnTo>
                    <a:pt x="666" y="337"/>
                  </a:lnTo>
                  <a:lnTo>
                    <a:pt x="679" y="354"/>
                  </a:lnTo>
                  <a:lnTo>
                    <a:pt x="682" y="357"/>
                  </a:lnTo>
                  <a:lnTo>
                    <a:pt x="688" y="362"/>
                  </a:lnTo>
                  <a:lnTo>
                    <a:pt x="691" y="365"/>
                  </a:lnTo>
                  <a:lnTo>
                    <a:pt x="694" y="370"/>
                  </a:lnTo>
                  <a:lnTo>
                    <a:pt x="700" y="379"/>
                  </a:lnTo>
                  <a:lnTo>
                    <a:pt x="701" y="380"/>
                  </a:lnTo>
                  <a:lnTo>
                    <a:pt x="703" y="382"/>
                  </a:lnTo>
                  <a:lnTo>
                    <a:pt x="704" y="382"/>
                  </a:lnTo>
                  <a:lnTo>
                    <a:pt x="705" y="383"/>
                  </a:lnTo>
                  <a:lnTo>
                    <a:pt x="707" y="383"/>
                  </a:lnTo>
                  <a:lnTo>
                    <a:pt x="708" y="383"/>
                  </a:lnTo>
                  <a:lnTo>
                    <a:pt x="709" y="383"/>
                  </a:lnTo>
                  <a:lnTo>
                    <a:pt x="710" y="382"/>
                  </a:lnTo>
                  <a:lnTo>
                    <a:pt x="715" y="379"/>
                  </a:lnTo>
                  <a:lnTo>
                    <a:pt x="715" y="378"/>
                  </a:lnTo>
                  <a:lnTo>
                    <a:pt x="716" y="378"/>
                  </a:lnTo>
                  <a:lnTo>
                    <a:pt x="717" y="377"/>
                  </a:lnTo>
                  <a:lnTo>
                    <a:pt x="718" y="378"/>
                  </a:lnTo>
                  <a:lnTo>
                    <a:pt x="718" y="379"/>
                  </a:lnTo>
                  <a:lnTo>
                    <a:pt x="718" y="380"/>
                  </a:lnTo>
                  <a:lnTo>
                    <a:pt x="717" y="385"/>
                  </a:lnTo>
                  <a:lnTo>
                    <a:pt x="716" y="391"/>
                  </a:lnTo>
                  <a:lnTo>
                    <a:pt x="716" y="401"/>
                  </a:lnTo>
                  <a:lnTo>
                    <a:pt x="716" y="407"/>
                  </a:lnTo>
                  <a:lnTo>
                    <a:pt x="716" y="411"/>
                  </a:lnTo>
                  <a:lnTo>
                    <a:pt x="717" y="415"/>
                  </a:lnTo>
                  <a:lnTo>
                    <a:pt x="718" y="420"/>
                  </a:lnTo>
                  <a:lnTo>
                    <a:pt x="720" y="425"/>
                  </a:lnTo>
                  <a:lnTo>
                    <a:pt x="722" y="430"/>
                  </a:lnTo>
                  <a:lnTo>
                    <a:pt x="724" y="435"/>
                  </a:lnTo>
                  <a:lnTo>
                    <a:pt x="727" y="440"/>
                  </a:lnTo>
                  <a:lnTo>
                    <a:pt x="728" y="442"/>
                  </a:lnTo>
                  <a:lnTo>
                    <a:pt x="730" y="445"/>
                  </a:lnTo>
                  <a:lnTo>
                    <a:pt x="732" y="447"/>
                  </a:lnTo>
                  <a:lnTo>
                    <a:pt x="733" y="449"/>
                  </a:lnTo>
                  <a:lnTo>
                    <a:pt x="735" y="450"/>
                  </a:lnTo>
                  <a:lnTo>
                    <a:pt x="736" y="452"/>
                  </a:lnTo>
                  <a:lnTo>
                    <a:pt x="738" y="452"/>
                  </a:lnTo>
                  <a:lnTo>
                    <a:pt x="740" y="454"/>
                  </a:lnTo>
                  <a:lnTo>
                    <a:pt x="741" y="454"/>
                  </a:lnTo>
                  <a:lnTo>
                    <a:pt x="742" y="454"/>
                  </a:lnTo>
                  <a:lnTo>
                    <a:pt x="741" y="455"/>
                  </a:lnTo>
                  <a:lnTo>
                    <a:pt x="740" y="457"/>
                  </a:lnTo>
                  <a:lnTo>
                    <a:pt x="739" y="463"/>
                  </a:lnTo>
                  <a:lnTo>
                    <a:pt x="738" y="469"/>
                  </a:lnTo>
                  <a:lnTo>
                    <a:pt x="738" y="476"/>
                  </a:lnTo>
                  <a:lnTo>
                    <a:pt x="737" y="480"/>
                  </a:lnTo>
                  <a:lnTo>
                    <a:pt x="737" y="484"/>
                  </a:lnTo>
                  <a:lnTo>
                    <a:pt x="738" y="507"/>
                  </a:lnTo>
                  <a:lnTo>
                    <a:pt x="738" y="513"/>
                  </a:lnTo>
                  <a:lnTo>
                    <a:pt x="738" y="519"/>
                  </a:lnTo>
                  <a:lnTo>
                    <a:pt x="736" y="534"/>
                  </a:lnTo>
                  <a:lnTo>
                    <a:pt x="735" y="545"/>
                  </a:lnTo>
                  <a:lnTo>
                    <a:pt x="735" y="548"/>
                  </a:lnTo>
                  <a:lnTo>
                    <a:pt x="735" y="552"/>
                  </a:lnTo>
                  <a:lnTo>
                    <a:pt x="734" y="556"/>
                  </a:lnTo>
                  <a:lnTo>
                    <a:pt x="733" y="559"/>
                  </a:lnTo>
                  <a:lnTo>
                    <a:pt x="730" y="564"/>
                  </a:lnTo>
                  <a:lnTo>
                    <a:pt x="728" y="568"/>
                  </a:lnTo>
                  <a:lnTo>
                    <a:pt x="725" y="572"/>
                  </a:lnTo>
                  <a:lnTo>
                    <a:pt x="723" y="574"/>
                  </a:lnTo>
                  <a:lnTo>
                    <a:pt x="722" y="576"/>
                  </a:lnTo>
                  <a:lnTo>
                    <a:pt x="720" y="577"/>
                  </a:lnTo>
                  <a:lnTo>
                    <a:pt x="718" y="578"/>
                  </a:lnTo>
                  <a:lnTo>
                    <a:pt x="715" y="579"/>
                  </a:lnTo>
                  <a:lnTo>
                    <a:pt x="711" y="579"/>
                  </a:lnTo>
                  <a:lnTo>
                    <a:pt x="707" y="580"/>
                  </a:lnTo>
                  <a:lnTo>
                    <a:pt x="703" y="580"/>
                  </a:lnTo>
                  <a:lnTo>
                    <a:pt x="700" y="580"/>
                  </a:lnTo>
                  <a:lnTo>
                    <a:pt x="697" y="579"/>
                  </a:lnTo>
                  <a:lnTo>
                    <a:pt x="694" y="578"/>
                  </a:lnTo>
                  <a:lnTo>
                    <a:pt x="691" y="577"/>
                  </a:lnTo>
                  <a:lnTo>
                    <a:pt x="689" y="575"/>
                  </a:lnTo>
                  <a:lnTo>
                    <a:pt x="686" y="572"/>
                  </a:lnTo>
                  <a:lnTo>
                    <a:pt x="684" y="569"/>
                  </a:lnTo>
                  <a:lnTo>
                    <a:pt x="677" y="561"/>
                  </a:lnTo>
                  <a:lnTo>
                    <a:pt x="675" y="558"/>
                  </a:lnTo>
                  <a:lnTo>
                    <a:pt x="673" y="556"/>
                  </a:lnTo>
                  <a:lnTo>
                    <a:pt x="671" y="554"/>
                  </a:lnTo>
                  <a:lnTo>
                    <a:pt x="668" y="552"/>
                  </a:lnTo>
                  <a:lnTo>
                    <a:pt x="666" y="551"/>
                  </a:lnTo>
                  <a:lnTo>
                    <a:pt x="661" y="549"/>
                  </a:lnTo>
                  <a:lnTo>
                    <a:pt x="658" y="548"/>
                  </a:lnTo>
                  <a:lnTo>
                    <a:pt x="656" y="547"/>
                  </a:lnTo>
                  <a:lnTo>
                    <a:pt x="655" y="546"/>
                  </a:lnTo>
                  <a:lnTo>
                    <a:pt x="653" y="544"/>
                  </a:lnTo>
                  <a:lnTo>
                    <a:pt x="651" y="542"/>
                  </a:lnTo>
                  <a:lnTo>
                    <a:pt x="649" y="539"/>
                  </a:lnTo>
                  <a:lnTo>
                    <a:pt x="645" y="533"/>
                  </a:lnTo>
                  <a:lnTo>
                    <a:pt x="642" y="530"/>
                  </a:lnTo>
                  <a:lnTo>
                    <a:pt x="641" y="529"/>
                  </a:lnTo>
                  <a:lnTo>
                    <a:pt x="639" y="527"/>
                  </a:lnTo>
                  <a:lnTo>
                    <a:pt x="638" y="527"/>
                  </a:lnTo>
                  <a:lnTo>
                    <a:pt x="637" y="526"/>
                  </a:lnTo>
                  <a:lnTo>
                    <a:pt x="635" y="525"/>
                  </a:lnTo>
                  <a:lnTo>
                    <a:pt x="633" y="525"/>
                  </a:lnTo>
                  <a:lnTo>
                    <a:pt x="630" y="526"/>
                  </a:lnTo>
                  <a:lnTo>
                    <a:pt x="628" y="527"/>
                  </a:lnTo>
                  <a:lnTo>
                    <a:pt x="624" y="529"/>
                  </a:lnTo>
                  <a:lnTo>
                    <a:pt x="605" y="540"/>
                  </a:lnTo>
                  <a:lnTo>
                    <a:pt x="601" y="542"/>
                  </a:lnTo>
                  <a:lnTo>
                    <a:pt x="597" y="544"/>
                  </a:lnTo>
                  <a:lnTo>
                    <a:pt x="594" y="544"/>
                  </a:lnTo>
                  <a:lnTo>
                    <a:pt x="591" y="545"/>
                  </a:lnTo>
                  <a:lnTo>
                    <a:pt x="589" y="545"/>
                  </a:lnTo>
                  <a:lnTo>
                    <a:pt x="586" y="545"/>
                  </a:lnTo>
                  <a:lnTo>
                    <a:pt x="583" y="544"/>
                  </a:lnTo>
                  <a:lnTo>
                    <a:pt x="575" y="541"/>
                  </a:lnTo>
                  <a:lnTo>
                    <a:pt x="564" y="537"/>
                  </a:lnTo>
                  <a:lnTo>
                    <a:pt x="560" y="536"/>
                  </a:lnTo>
                  <a:lnTo>
                    <a:pt x="546" y="530"/>
                  </a:lnTo>
                  <a:lnTo>
                    <a:pt x="544" y="529"/>
                  </a:lnTo>
                  <a:lnTo>
                    <a:pt x="542" y="528"/>
                  </a:lnTo>
                  <a:lnTo>
                    <a:pt x="538" y="526"/>
                  </a:lnTo>
                  <a:lnTo>
                    <a:pt x="536" y="524"/>
                  </a:lnTo>
                  <a:lnTo>
                    <a:pt x="533" y="522"/>
                  </a:lnTo>
                  <a:lnTo>
                    <a:pt x="528" y="515"/>
                  </a:lnTo>
                  <a:lnTo>
                    <a:pt x="526" y="513"/>
                  </a:lnTo>
                  <a:lnTo>
                    <a:pt x="518" y="504"/>
                  </a:lnTo>
                  <a:lnTo>
                    <a:pt x="513" y="500"/>
                  </a:lnTo>
                  <a:lnTo>
                    <a:pt x="511" y="499"/>
                  </a:lnTo>
                  <a:lnTo>
                    <a:pt x="508" y="497"/>
                  </a:lnTo>
                  <a:lnTo>
                    <a:pt x="506" y="497"/>
                  </a:lnTo>
                  <a:lnTo>
                    <a:pt x="503" y="497"/>
                  </a:lnTo>
                  <a:lnTo>
                    <a:pt x="501" y="497"/>
                  </a:lnTo>
                  <a:lnTo>
                    <a:pt x="500" y="497"/>
                  </a:lnTo>
                  <a:lnTo>
                    <a:pt x="498" y="498"/>
                  </a:lnTo>
                  <a:lnTo>
                    <a:pt x="496" y="499"/>
                  </a:lnTo>
                  <a:lnTo>
                    <a:pt x="495" y="500"/>
                  </a:lnTo>
                  <a:lnTo>
                    <a:pt x="494" y="501"/>
                  </a:lnTo>
                  <a:lnTo>
                    <a:pt x="493" y="502"/>
                  </a:lnTo>
                  <a:lnTo>
                    <a:pt x="492" y="504"/>
                  </a:lnTo>
                  <a:lnTo>
                    <a:pt x="491" y="505"/>
                  </a:lnTo>
                  <a:lnTo>
                    <a:pt x="491" y="508"/>
                  </a:lnTo>
                  <a:lnTo>
                    <a:pt x="491" y="518"/>
                  </a:lnTo>
                  <a:lnTo>
                    <a:pt x="490" y="522"/>
                  </a:lnTo>
                  <a:lnTo>
                    <a:pt x="489" y="527"/>
                  </a:lnTo>
                  <a:lnTo>
                    <a:pt x="487" y="534"/>
                  </a:lnTo>
                  <a:lnTo>
                    <a:pt x="486" y="541"/>
                  </a:lnTo>
                  <a:lnTo>
                    <a:pt x="484" y="544"/>
                  </a:lnTo>
                  <a:lnTo>
                    <a:pt x="483" y="547"/>
                  </a:lnTo>
                  <a:lnTo>
                    <a:pt x="481" y="550"/>
                  </a:lnTo>
                  <a:lnTo>
                    <a:pt x="480" y="553"/>
                  </a:lnTo>
                  <a:lnTo>
                    <a:pt x="479" y="556"/>
                  </a:lnTo>
                  <a:lnTo>
                    <a:pt x="476" y="558"/>
                  </a:lnTo>
                  <a:lnTo>
                    <a:pt x="475" y="561"/>
                  </a:lnTo>
                  <a:lnTo>
                    <a:pt x="473" y="562"/>
                  </a:lnTo>
                  <a:lnTo>
                    <a:pt x="471" y="564"/>
                  </a:lnTo>
                  <a:lnTo>
                    <a:pt x="469" y="566"/>
                  </a:lnTo>
                  <a:lnTo>
                    <a:pt x="467" y="567"/>
                  </a:lnTo>
                  <a:lnTo>
                    <a:pt x="465" y="567"/>
                  </a:lnTo>
                  <a:lnTo>
                    <a:pt x="463" y="567"/>
                  </a:lnTo>
                  <a:lnTo>
                    <a:pt x="461" y="568"/>
                  </a:lnTo>
                  <a:lnTo>
                    <a:pt x="451" y="569"/>
                  </a:lnTo>
                  <a:lnTo>
                    <a:pt x="446" y="569"/>
                  </a:lnTo>
                  <a:lnTo>
                    <a:pt x="442" y="571"/>
                  </a:lnTo>
                  <a:lnTo>
                    <a:pt x="441" y="571"/>
                  </a:lnTo>
                  <a:lnTo>
                    <a:pt x="439" y="572"/>
                  </a:lnTo>
                  <a:lnTo>
                    <a:pt x="437" y="573"/>
                  </a:lnTo>
                  <a:lnTo>
                    <a:pt x="436" y="574"/>
                  </a:lnTo>
                  <a:lnTo>
                    <a:pt x="436" y="575"/>
                  </a:lnTo>
                  <a:lnTo>
                    <a:pt x="434" y="578"/>
                  </a:lnTo>
                  <a:lnTo>
                    <a:pt x="432" y="584"/>
                  </a:lnTo>
                  <a:lnTo>
                    <a:pt x="431" y="587"/>
                  </a:lnTo>
                  <a:lnTo>
                    <a:pt x="429" y="589"/>
                  </a:lnTo>
                  <a:lnTo>
                    <a:pt x="429" y="589"/>
                  </a:lnTo>
                  <a:lnTo>
                    <a:pt x="427" y="591"/>
                  </a:lnTo>
                  <a:lnTo>
                    <a:pt x="426" y="592"/>
                  </a:lnTo>
                  <a:lnTo>
                    <a:pt x="424" y="594"/>
                  </a:lnTo>
                  <a:lnTo>
                    <a:pt x="421" y="594"/>
                  </a:lnTo>
                  <a:lnTo>
                    <a:pt x="418" y="596"/>
                  </a:lnTo>
                  <a:lnTo>
                    <a:pt x="412" y="597"/>
                  </a:lnTo>
                  <a:lnTo>
                    <a:pt x="410" y="597"/>
                  </a:lnTo>
                  <a:lnTo>
                    <a:pt x="408" y="599"/>
                  </a:lnTo>
                  <a:lnTo>
                    <a:pt x="406" y="599"/>
                  </a:lnTo>
                  <a:lnTo>
                    <a:pt x="404" y="602"/>
                  </a:lnTo>
                  <a:lnTo>
                    <a:pt x="402" y="603"/>
                  </a:lnTo>
                  <a:lnTo>
                    <a:pt x="396" y="609"/>
                  </a:lnTo>
                  <a:lnTo>
                    <a:pt x="394" y="611"/>
                  </a:lnTo>
                  <a:lnTo>
                    <a:pt x="391" y="613"/>
                  </a:lnTo>
                  <a:lnTo>
                    <a:pt x="389" y="614"/>
                  </a:lnTo>
                  <a:lnTo>
                    <a:pt x="386" y="615"/>
                  </a:lnTo>
                  <a:lnTo>
                    <a:pt x="384" y="615"/>
                  </a:lnTo>
                  <a:lnTo>
                    <a:pt x="381" y="615"/>
                  </a:lnTo>
                  <a:lnTo>
                    <a:pt x="379" y="614"/>
                  </a:lnTo>
                  <a:lnTo>
                    <a:pt x="376" y="614"/>
                  </a:lnTo>
                  <a:lnTo>
                    <a:pt x="369" y="610"/>
                  </a:lnTo>
                  <a:lnTo>
                    <a:pt x="359" y="605"/>
                  </a:lnTo>
                  <a:lnTo>
                    <a:pt x="349" y="601"/>
                  </a:lnTo>
                  <a:lnTo>
                    <a:pt x="329" y="589"/>
                  </a:lnTo>
                  <a:lnTo>
                    <a:pt x="325" y="588"/>
                  </a:lnTo>
                  <a:lnTo>
                    <a:pt x="322" y="587"/>
                  </a:lnTo>
                  <a:lnTo>
                    <a:pt x="319" y="585"/>
                  </a:lnTo>
                  <a:lnTo>
                    <a:pt x="314" y="584"/>
                  </a:lnTo>
                  <a:lnTo>
                    <a:pt x="311" y="584"/>
                  </a:lnTo>
                  <a:lnTo>
                    <a:pt x="301" y="582"/>
                  </a:lnTo>
                  <a:lnTo>
                    <a:pt x="296" y="582"/>
                  </a:lnTo>
                  <a:lnTo>
                    <a:pt x="293" y="580"/>
                  </a:lnTo>
                  <a:lnTo>
                    <a:pt x="283" y="577"/>
                  </a:lnTo>
                  <a:lnTo>
                    <a:pt x="276" y="574"/>
                  </a:lnTo>
                  <a:lnTo>
                    <a:pt x="266" y="572"/>
                  </a:lnTo>
                  <a:lnTo>
                    <a:pt x="259" y="569"/>
                  </a:lnTo>
                  <a:lnTo>
                    <a:pt x="253" y="568"/>
                  </a:lnTo>
                  <a:lnTo>
                    <a:pt x="247" y="567"/>
                  </a:lnTo>
                  <a:lnTo>
                    <a:pt x="242" y="567"/>
                  </a:lnTo>
                  <a:lnTo>
                    <a:pt x="234" y="566"/>
                  </a:lnTo>
                  <a:lnTo>
                    <a:pt x="229" y="566"/>
                  </a:lnTo>
                  <a:lnTo>
                    <a:pt x="227" y="565"/>
                  </a:lnTo>
                  <a:lnTo>
                    <a:pt x="215" y="564"/>
                  </a:lnTo>
                  <a:lnTo>
                    <a:pt x="210" y="563"/>
                  </a:lnTo>
                  <a:lnTo>
                    <a:pt x="204" y="562"/>
                  </a:lnTo>
                  <a:lnTo>
                    <a:pt x="199" y="562"/>
                  </a:lnTo>
                  <a:lnTo>
                    <a:pt x="195" y="562"/>
                  </a:lnTo>
                  <a:lnTo>
                    <a:pt x="192" y="563"/>
                  </a:lnTo>
                  <a:lnTo>
                    <a:pt x="184" y="564"/>
                  </a:lnTo>
                  <a:lnTo>
                    <a:pt x="181" y="564"/>
                  </a:lnTo>
                  <a:lnTo>
                    <a:pt x="178" y="564"/>
                  </a:lnTo>
                  <a:lnTo>
                    <a:pt x="174" y="564"/>
                  </a:lnTo>
                  <a:lnTo>
                    <a:pt x="172" y="564"/>
                  </a:lnTo>
                  <a:lnTo>
                    <a:pt x="169" y="563"/>
                  </a:lnTo>
                  <a:lnTo>
                    <a:pt x="167" y="562"/>
                  </a:lnTo>
                  <a:lnTo>
                    <a:pt x="161" y="560"/>
                  </a:lnTo>
                  <a:lnTo>
                    <a:pt x="158" y="559"/>
                  </a:lnTo>
                  <a:lnTo>
                    <a:pt x="153" y="557"/>
                  </a:lnTo>
                  <a:lnTo>
                    <a:pt x="143" y="555"/>
                  </a:lnTo>
                  <a:lnTo>
                    <a:pt x="141" y="554"/>
                  </a:lnTo>
                  <a:lnTo>
                    <a:pt x="139" y="554"/>
                  </a:lnTo>
                  <a:lnTo>
                    <a:pt x="137" y="552"/>
                  </a:lnTo>
                  <a:lnTo>
                    <a:pt x="133" y="548"/>
                  </a:lnTo>
                  <a:lnTo>
                    <a:pt x="128" y="544"/>
                  </a:lnTo>
                  <a:lnTo>
                    <a:pt x="127" y="543"/>
                  </a:lnTo>
                  <a:lnTo>
                    <a:pt x="124" y="541"/>
                  </a:lnTo>
                  <a:lnTo>
                    <a:pt x="122" y="539"/>
                  </a:lnTo>
                  <a:lnTo>
                    <a:pt x="119" y="536"/>
                  </a:lnTo>
                  <a:lnTo>
                    <a:pt x="118" y="533"/>
                  </a:lnTo>
                  <a:lnTo>
                    <a:pt x="117" y="530"/>
                  </a:lnTo>
                  <a:lnTo>
                    <a:pt x="114" y="524"/>
                  </a:lnTo>
                  <a:lnTo>
                    <a:pt x="113" y="522"/>
                  </a:lnTo>
                  <a:lnTo>
                    <a:pt x="112" y="521"/>
                  </a:lnTo>
                  <a:lnTo>
                    <a:pt x="112" y="519"/>
                  </a:lnTo>
                  <a:lnTo>
                    <a:pt x="110" y="518"/>
                  </a:lnTo>
                  <a:lnTo>
                    <a:pt x="104" y="513"/>
                  </a:lnTo>
                  <a:lnTo>
                    <a:pt x="102" y="511"/>
                  </a:lnTo>
                  <a:lnTo>
                    <a:pt x="100" y="509"/>
                  </a:lnTo>
                  <a:lnTo>
                    <a:pt x="99" y="507"/>
                  </a:lnTo>
                  <a:lnTo>
                    <a:pt x="97" y="504"/>
                  </a:lnTo>
                  <a:lnTo>
                    <a:pt x="96" y="502"/>
                  </a:lnTo>
                  <a:lnTo>
                    <a:pt x="96" y="500"/>
                  </a:lnTo>
                  <a:lnTo>
                    <a:pt x="96" y="499"/>
                  </a:lnTo>
                  <a:lnTo>
                    <a:pt x="96" y="497"/>
                  </a:lnTo>
                  <a:lnTo>
                    <a:pt x="96" y="495"/>
                  </a:lnTo>
                  <a:lnTo>
                    <a:pt x="97" y="494"/>
                  </a:lnTo>
                  <a:lnTo>
                    <a:pt x="98" y="492"/>
                  </a:lnTo>
                  <a:lnTo>
                    <a:pt x="99" y="489"/>
                  </a:lnTo>
                  <a:lnTo>
                    <a:pt x="101" y="488"/>
                  </a:lnTo>
                  <a:lnTo>
                    <a:pt x="102" y="486"/>
                  </a:lnTo>
                  <a:lnTo>
                    <a:pt x="104" y="484"/>
                  </a:lnTo>
                  <a:lnTo>
                    <a:pt x="108" y="482"/>
                  </a:lnTo>
                  <a:lnTo>
                    <a:pt x="111" y="480"/>
                  </a:lnTo>
                  <a:lnTo>
                    <a:pt x="117" y="477"/>
                  </a:lnTo>
                  <a:lnTo>
                    <a:pt x="120" y="476"/>
                  </a:lnTo>
                  <a:lnTo>
                    <a:pt x="122" y="474"/>
                  </a:lnTo>
                  <a:lnTo>
                    <a:pt x="122" y="474"/>
                  </a:lnTo>
                  <a:lnTo>
                    <a:pt x="124" y="472"/>
                  </a:lnTo>
                  <a:lnTo>
                    <a:pt x="124" y="471"/>
                  </a:lnTo>
                  <a:lnTo>
                    <a:pt x="126" y="469"/>
                  </a:lnTo>
                  <a:lnTo>
                    <a:pt x="127" y="467"/>
                  </a:lnTo>
                  <a:lnTo>
                    <a:pt x="127" y="464"/>
                  </a:lnTo>
                  <a:lnTo>
                    <a:pt x="127" y="462"/>
                  </a:lnTo>
                  <a:lnTo>
                    <a:pt x="127" y="460"/>
                  </a:lnTo>
                  <a:lnTo>
                    <a:pt x="127" y="458"/>
                  </a:lnTo>
                  <a:lnTo>
                    <a:pt x="125" y="456"/>
                  </a:lnTo>
                  <a:lnTo>
                    <a:pt x="124" y="454"/>
                  </a:lnTo>
                  <a:lnTo>
                    <a:pt x="123" y="452"/>
                  </a:lnTo>
                  <a:lnTo>
                    <a:pt x="121" y="450"/>
                  </a:lnTo>
                  <a:lnTo>
                    <a:pt x="119" y="449"/>
                  </a:lnTo>
                  <a:lnTo>
                    <a:pt x="112" y="443"/>
                  </a:lnTo>
                  <a:lnTo>
                    <a:pt x="108" y="440"/>
                  </a:lnTo>
                  <a:lnTo>
                    <a:pt x="106" y="438"/>
                  </a:lnTo>
                  <a:lnTo>
                    <a:pt x="103" y="435"/>
                  </a:lnTo>
                  <a:lnTo>
                    <a:pt x="97" y="427"/>
                  </a:lnTo>
                  <a:lnTo>
                    <a:pt x="93" y="422"/>
                  </a:lnTo>
                  <a:lnTo>
                    <a:pt x="89" y="418"/>
                  </a:lnTo>
                  <a:lnTo>
                    <a:pt x="86" y="414"/>
                  </a:lnTo>
                  <a:lnTo>
                    <a:pt x="83" y="411"/>
                  </a:lnTo>
                  <a:lnTo>
                    <a:pt x="80" y="408"/>
                  </a:lnTo>
                  <a:lnTo>
                    <a:pt x="78" y="407"/>
                  </a:lnTo>
                  <a:lnTo>
                    <a:pt x="77" y="405"/>
                  </a:lnTo>
                  <a:lnTo>
                    <a:pt x="74" y="405"/>
                  </a:lnTo>
                  <a:lnTo>
                    <a:pt x="72" y="403"/>
                  </a:lnTo>
                  <a:lnTo>
                    <a:pt x="67" y="401"/>
                  </a:lnTo>
                  <a:lnTo>
                    <a:pt x="55" y="397"/>
                  </a:lnTo>
                  <a:lnTo>
                    <a:pt x="47" y="394"/>
                  </a:lnTo>
                  <a:lnTo>
                    <a:pt x="44" y="393"/>
                  </a:lnTo>
                  <a:lnTo>
                    <a:pt x="41" y="392"/>
                  </a:lnTo>
                  <a:lnTo>
                    <a:pt x="40" y="390"/>
                  </a:lnTo>
                  <a:lnTo>
                    <a:pt x="37" y="389"/>
                  </a:lnTo>
                  <a:lnTo>
                    <a:pt x="30" y="384"/>
                  </a:lnTo>
                  <a:lnTo>
                    <a:pt x="25" y="380"/>
                  </a:lnTo>
                  <a:lnTo>
                    <a:pt x="20" y="376"/>
                  </a:lnTo>
                  <a:lnTo>
                    <a:pt x="17" y="372"/>
                  </a:lnTo>
                  <a:lnTo>
                    <a:pt x="12" y="367"/>
                  </a:lnTo>
                  <a:lnTo>
                    <a:pt x="7" y="362"/>
                  </a:lnTo>
                  <a:lnTo>
                    <a:pt x="2" y="356"/>
                  </a:lnTo>
                  <a:lnTo>
                    <a:pt x="0" y="352"/>
                  </a:lnTo>
                  <a:lnTo>
                    <a:pt x="2" y="347"/>
                  </a:lnTo>
                  <a:lnTo>
                    <a:pt x="4" y="345"/>
                  </a:lnTo>
                  <a:lnTo>
                    <a:pt x="5" y="344"/>
                  </a:lnTo>
                  <a:lnTo>
                    <a:pt x="6" y="342"/>
                  </a:lnTo>
                  <a:lnTo>
                    <a:pt x="7" y="340"/>
                  </a:lnTo>
                  <a:lnTo>
                    <a:pt x="10" y="339"/>
                  </a:lnTo>
                  <a:lnTo>
                    <a:pt x="11" y="337"/>
                  </a:lnTo>
                  <a:lnTo>
                    <a:pt x="15" y="335"/>
                  </a:lnTo>
                  <a:lnTo>
                    <a:pt x="18" y="334"/>
                  </a:lnTo>
                  <a:lnTo>
                    <a:pt x="21" y="333"/>
                  </a:lnTo>
                  <a:lnTo>
                    <a:pt x="29" y="331"/>
                  </a:lnTo>
                  <a:lnTo>
                    <a:pt x="32" y="330"/>
                  </a:lnTo>
                  <a:lnTo>
                    <a:pt x="33" y="329"/>
                  </a:lnTo>
                  <a:lnTo>
                    <a:pt x="35" y="327"/>
                  </a:lnTo>
                  <a:lnTo>
                    <a:pt x="36" y="326"/>
                  </a:lnTo>
                  <a:lnTo>
                    <a:pt x="38" y="325"/>
                  </a:lnTo>
                  <a:lnTo>
                    <a:pt x="40" y="322"/>
                  </a:lnTo>
                  <a:lnTo>
                    <a:pt x="41" y="320"/>
                  </a:lnTo>
                  <a:lnTo>
                    <a:pt x="42" y="318"/>
                  </a:lnTo>
                  <a:lnTo>
                    <a:pt x="43" y="316"/>
                  </a:lnTo>
                  <a:lnTo>
                    <a:pt x="47" y="305"/>
                  </a:lnTo>
                  <a:lnTo>
                    <a:pt x="52" y="297"/>
                  </a:lnTo>
                  <a:lnTo>
                    <a:pt x="53" y="292"/>
                  </a:lnTo>
                  <a:lnTo>
                    <a:pt x="54" y="289"/>
                  </a:lnTo>
                  <a:lnTo>
                    <a:pt x="56" y="283"/>
                  </a:lnTo>
                  <a:lnTo>
                    <a:pt x="56" y="281"/>
                  </a:lnTo>
                  <a:lnTo>
                    <a:pt x="57" y="278"/>
                  </a:lnTo>
                  <a:lnTo>
                    <a:pt x="57" y="276"/>
                  </a:lnTo>
                  <a:lnTo>
                    <a:pt x="57" y="272"/>
                  </a:lnTo>
                  <a:lnTo>
                    <a:pt x="55" y="260"/>
                  </a:lnTo>
                  <a:lnTo>
                    <a:pt x="54" y="254"/>
                  </a:lnTo>
                  <a:lnTo>
                    <a:pt x="54" y="250"/>
                  </a:lnTo>
                  <a:lnTo>
                    <a:pt x="53" y="247"/>
                  </a:lnTo>
                  <a:lnTo>
                    <a:pt x="52" y="242"/>
                  </a:lnTo>
                  <a:lnTo>
                    <a:pt x="50" y="236"/>
                  </a:lnTo>
                  <a:lnTo>
                    <a:pt x="47" y="230"/>
                  </a:lnTo>
                  <a:lnTo>
                    <a:pt x="42" y="217"/>
                  </a:lnTo>
                  <a:lnTo>
                    <a:pt x="40" y="212"/>
                  </a:lnTo>
                  <a:lnTo>
                    <a:pt x="39" y="208"/>
                  </a:lnTo>
                  <a:lnTo>
                    <a:pt x="38" y="203"/>
                  </a:lnTo>
                  <a:lnTo>
                    <a:pt x="38" y="198"/>
                  </a:lnTo>
                  <a:lnTo>
                    <a:pt x="38" y="195"/>
                  </a:lnTo>
                  <a:lnTo>
                    <a:pt x="38" y="191"/>
                  </a:lnTo>
                  <a:lnTo>
                    <a:pt x="39" y="183"/>
                  </a:lnTo>
                  <a:lnTo>
                    <a:pt x="39" y="179"/>
                  </a:lnTo>
                  <a:lnTo>
                    <a:pt x="39" y="175"/>
                  </a:lnTo>
                  <a:lnTo>
                    <a:pt x="39" y="172"/>
                  </a:lnTo>
                  <a:lnTo>
                    <a:pt x="37" y="163"/>
                  </a:lnTo>
                  <a:lnTo>
                    <a:pt x="37" y="161"/>
                  </a:lnTo>
                  <a:lnTo>
                    <a:pt x="37" y="159"/>
                  </a:lnTo>
                  <a:lnTo>
                    <a:pt x="37" y="155"/>
                  </a:lnTo>
                  <a:lnTo>
                    <a:pt x="37" y="152"/>
                  </a:lnTo>
                  <a:lnTo>
                    <a:pt x="38" y="150"/>
                  </a:lnTo>
                  <a:lnTo>
                    <a:pt x="40" y="148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3" y="145"/>
                  </a:lnTo>
                  <a:lnTo>
                    <a:pt x="45" y="144"/>
                  </a:lnTo>
                  <a:lnTo>
                    <a:pt x="47" y="144"/>
                  </a:lnTo>
                  <a:lnTo>
                    <a:pt x="53" y="143"/>
                  </a:lnTo>
                  <a:lnTo>
                    <a:pt x="59" y="143"/>
                  </a:lnTo>
                  <a:lnTo>
                    <a:pt x="62" y="143"/>
                  </a:lnTo>
                  <a:lnTo>
                    <a:pt x="64" y="143"/>
                  </a:lnTo>
                  <a:lnTo>
                    <a:pt x="68" y="143"/>
                  </a:lnTo>
                  <a:lnTo>
                    <a:pt x="72" y="145"/>
                  </a:lnTo>
                  <a:lnTo>
                    <a:pt x="74" y="145"/>
                  </a:lnTo>
                  <a:lnTo>
                    <a:pt x="77" y="145"/>
                  </a:lnTo>
                  <a:lnTo>
                    <a:pt x="79" y="145"/>
                  </a:lnTo>
                  <a:lnTo>
                    <a:pt x="82" y="145"/>
                  </a:lnTo>
                  <a:lnTo>
                    <a:pt x="84" y="144"/>
                  </a:lnTo>
                  <a:lnTo>
                    <a:pt x="97" y="139"/>
                  </a:lnTo>
                  <a:lnTo>
                    <a:pt x="99" y="138"/>
                  </a:lnTo>
                  <a:lnTo>
                    <a:pt x="103" y="138"/>
                  </a:lnTo>
                  <a:lnTo>
                    <a:pt x="107" y="137"/>
                  </a:lnTo>
                  <a:lnTo>
                    <a:pt x="117" y="135"/>
                  </a:lnTo>
                  <a:lnTo>
                    <a:pt x="137" y="133"/>
                  </a:lnTo>
                  <a:lnTo>
                    <a:pt x="140" y="133"/>
                  </a:lnTo>
                  <a:lnTo>
                    <a:pt x="147" y="132"/>
                  </a:lnTo>
                  <a:lnTo>
                    <a:pt x="149" y="132"/>
                  </a:lnTo>
                  <a:lnTo>
                    <a:pt x="154" y="131"/>
                  </a:lnTo>
                  <a:lnTo>
                    <a:pt x="158" y="132"/>
                  </a:lnTo>
                  <a:lnTo>
                    <a:pt x="164" y="132"/>
                  </a:lnTo>
                  <a:lnTo>
                    <a:pt x="174" y="133"/>
                  </a:lnTo>
                  <a:lnTo>
                    <a:pt x="178" y="134"/>
                  </a:lnTo>
                  <a:lnTo>
                    <a:pt x="182" y="134"/>
                  </a:lnTo>
                  <a:lnTo>
                    <a:pt x="190" y="133"/>
                  </a:lnTo>
                  <a:lnTo>
                    <a:pt x="192" y="133"/>
                  </a:lnTo>
                  <a:lnTo>
                    <a:pt x="194" y="133"/>
                  </a:lnTo>
                  <a:lnTo>
                    <a:pt x="207" y="133"/>
                  </a:lnTo>
                  <a:lnTo>
                    <a:pt x="209" y="134"/>
                  </a:lnTo>
                  <a:lnTo>
                    <a:pt x="211" y="135"/>
                  </a:lnTo>
                  <a:lnTo>
                    <a:pt x="213" y="135"/>
                  </a:lnTo>
                  <a:lnTo>
                    <a:pt x="214" y="136"/>
                  </a:lnTo>
                  <a:lnTo>
                    <a:pt x="221" y="142"/>
                  </a:lnTo>
                  <a:lnTo>
                    <a:pt x="227" y="146"/>
                  </a:lnTo>
                  <a:lnTo>
                    <a:pt x="233" y="151"/>
                  </a:lnTo>
                  <a:lnTo>
                    <a:pt x="236" y="153"/>
                  </a:lnTo>
                  <a:lnTo>
                    <a:pt x="237" y="154"/>
                  </a:lnTo>
                  <a:lnTo>
                    <a:pt x="239" y="154"/>
                  </a:lnTo>
                  <a:lnTo>
                    <a:pt x="239" y="154"/>
                  </a:lnTo>
                  <a:lnTo>
                    <a:pt x="241" y="154"/>
                  </a:lnTo>
                  <a:lnTo>
                    <a:pt x="242" y="153"/>
                  </a:lnTo>
                  <a:lnTo>
                    <a:pt x="244" y="150"/>
                  </a:lnTo>
                  <a:lnTo>
                    <a:pt x="245" y="149"/>
                  </a:lnTo>
                  <a:lnTo>
                    <a:pt x="247" y="148"/>
                  </a:lnTo>
                  <a:lnTo>
                    <a:pt x="247" y="145"/>
                  </a:lnTo>
                  <a:lnTo>
                    <a:pt x="248" y="144"/>
                  </a:lnTo>
                  <a:lnTo>
                    <a:pt x="249" y="143"/>
                  </a:lnTo>
                  <a:lnTo>
                    <a:pt x="249" y="141"/>
                  </a:lnTo>
                  <a:lnTo>
                    <a:pt x="249" y="140"/>
                  </a:lnTo>
                  <a:lnTo>
                    <a:pt x="247" y="138"/>
                  </a:lnTo>
                  <a:lnTo>
                    <a:pt x="247" y="136"/>
                  </a:lnTo>
                  <a:lnTo>
                    <a:pt x="247" y="135"/>
                  </a:lnTo>
                  <a:lnTo>
                    <a:pt x="248" y="133"/>
                  </a:lnTo>
                  <a:lnTo>
                    <a:pt x="248" y="132"/>
                  </a:lnTo>
                  <a:lnTo>
                    <a:pt x="248" y="131"/>
                  </a:lnTo>
                  <a:lnTo>
                    <a:pt x="248" y="130"/>
                  </a:lnTo>
                  <a:lnTo>
                    <a:pt x="245" y="125"/>
                  </a:lnTo>
                  <a:lnTo>
                    <a:pt x="242" y="120"/>
                  </a:lnTo>
                  <a:lnTo>
                    <a:pt x="241" y="119"/>
                  </a:lnTo>
                  <a:lnTo>
                    <a:pt x="240" y="118"/>
                  </a:lnTo>
                  <a:lnTo>
                    <a:pt x="239" y="115"/>
                  </a:lnTo>
                  <a:lnTo>
                    <a:pt x="239" y="113"/>
                  </a:lnTo>
                  <a:lnTo>
                    <a:pt x="239" y="110"/>
                  </a:lnTo>
                  <a:lnTo>
                    <a:pt x="237" y="105"/>
                  </a:lnTo>
                  <a:lnTo>
                    <a:pt x="237" y="102"/>
                  </a:lnTo>
                  <a:lnTo>
                    <a:pt x="237" y="100"/>
                  </a:lnTo>
                  <a:lnTo>
                    <a:pt x="237" y="98"/>
                  </a:lnTo>
                  <a:lnTo>
                    <a:pt x="238" y="94"/>
                  </a:lnTo>
                  <a:lnTo>
                    <a:pt x="239" y="92"/>
                  </a:lnTo>
                  <a:lnTo>
                    <a:pt x="239" y="89"/>
                  </a:lnTo>
                  <a:lnTo>
                    <a:pt x="242" y="83"/>
                  </a:lnTo>
                  <a:lnTo>
                    <a:pt x="244" y="82"/>
                  </a:lnTo>
                  <a:lnTo>
                    <a:pt x="246" y="79"/>
                  </a:lnTo>
                  <a:lnTo>
                    <a:pt x="247" y="78"/>
                  </a:lnTo>
                  <a:lnTo>
                    <a:pt x="247" y="78"/>
                  </a:lnTo>
                  <a:lnTo>
                    <a:pt x="248" y="72"/>
                  </a:lnTo>
                  <a:lnTo>
                    <a:pt x="250" y="65"/>
                  </a:lnTo>
                  <a:lnTo>
                    <a:pt x="251" y="63"/>
                  </a:lnTo>
                  <a:lnTo>
                    <a:pt x="252" y="60"/>
                  </a:lnTo>
                  <a:lnTo>
                    <a:pt x="252" y="56"/>
                  </a:lnTo>
                  <a:lnTo>
                    <a:pt x="252" y="50"/>
                  </a:lnTo>
                  <a:lnTo>
                    <a:pt x="252" y="45"/>
                  </a:lnTo>
                  <a:lnTo>
                    <a:pt x="253" y="43"/>
                  </a:lnTo>
                  <a:lnTo>
                    <a:pt x="253" y="41"/>
                  </a:lnTo>
                  <a:lnTo>
                    <a:pt x="254" y="40"/>
                  </a:lnTo>
                  <a:lnTo>
                    <a:pt x="254" y="38"/>
                  </a:lnTo>
                  <a:lnTo>
                    <a:pt x="258" y="33"/>
                  </a:lnTo>
                  <a:lnTo>
                    <a:pt x="259" y="30"/>
                  </a:lnTo>
                  <a:lnTo>
                    <a:pt x="259" y="29"/>
                  </a:lnTo>
                  <a:lnTo>
                    <a:pt x="261" y="23"/>
                  </a:lnTo>
                  <a:lnTo>
                    <a:pt x="262" y="21"/>
                  </a:lnTo>
                  <a:lnTo>
                    <a:pt x="262" y="19"/>
                  </a:lnTo>
                  <a:lnTo>
                    <a:pt x="264" y="16"/>
                  </a:lnTo>
                  <a:lnTo>
                    <a:pt x="266" y="13"/>
                  </a:lnTo>
                  <a:lnTo>
                    <a:pt x="269" y="10"/>
                  </a:lnTo>
                  <a:lnTo>
                    <a:pt x="271" y="7"/>
                  </a:lnTo>
                  <a:lnTo>
                    <a:pt x="274" y="5"/>
                  </a:lnTo>
                  <a:lnTo>
                    <a:pt x="278" y="3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283" y="0"/>
                  </a:lnTo>
                  <a:lnTo>
                    <a:pt x="282" y="0"/>
                  </a:lnTo>
                  <a:close/>
                </a:path>
              </a:pathLst>
            </a:custGeom>
            <a:solidFill>
              <a:srgbClr val="E6AF00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99">
              <a:extLst>
                <a:ext uri="{FF2B5EF4-FFF2-40B4-BE49-F238E27FC236}">
                  <a16:creationId xmlns:a16="http://schemas.microsoft.com/office/drawing/2014/main" id="{B638BB99-AC16-0492-A60A-D2787B500F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9861" y="5089363"/>
              <a:ext cx="1398588" cy="1208088"/>
            </a:xfrm>
            <a:custGeom>
              <a:avLst/>
              <a:gdLst>
                <a:gd name="T0" fmla="*/ 320 w 881"/>
                <a:gd name="T1" fmla="*/ 41 h 761"/>
                <a:gd name="T2" fmla="*/ 376 w 881"/>
                <a:gd name="T3" fmla="*/ 38 h 761"/>
                <a:gd name="T4" fmla="*/ 421 w 881"/>
                <a:gd name="T5" fmla="*/ 68 h 761"/>
                <a:gd name="T6" fmla="*/ 415 w 881"/>
                <a:gd name="T7" fmla="*/ 88 h 761"/>
                <a:gd name="T8" fmla="*/ 460 w 881"/>
                <a:gd name="T9" fmla="*/ 115 h 761"/>
                <a:gd name="T10" fmla="*/ 501 w 881"/>
                <a:gd name="T11" fmla="*/ 115 h 761"/>
                <a:gd name="T12" fmla="*/ 564 w 881"/>
                <a:gd name="T13" fmla="*/ 131 h 761"/>
                <a:gd name="T14" fmla="*/ 622 w 881"/>
                <a:gd name="T15" fmla="*/ 128 h 761"/>
                <a:gd name="T16" fmla="*/ 646 w 881"/>
                <a:gd name="T17" fmla="*/ 155 h 761"/>
                <a:gd name="T18" fmla="*/ 662 w 881"/>
                <a:gd name="T19" fmla="*/ 221 h 761"/>
                <a:gd name="T20" fmla="*/ 734 w 881"/>
                <a:gd name="T21" fmla="*/ 254 h 761"/>
                <a:gd name="T22" fmla="*/ 801 w 881"/>
                <a:gd name="T23" fmla="*/ 253 h 761"/>
                <a:gd name="T24" fmla="*/ 842 w 881"/>
                <a:gd name="T25" fmla="*/ 253 h 761"/>
                <a:gd name="T26" fmla="*/ 851 w 881"/>
                <a:gd name="T27" fmla="*/ 280 h 761"/>
                <a:gd name="T28" fmla="*/ 864 w 881"/>
                <a:gd name="T29" fmla="*/ 323 h 761"/>
                <a:gd name="T30" fmla="*/ 826 w 881"/>
                <a:gd name="T31" fmla="*/ 363 h 761"/>
                <a:gd name="T32" fmla="*/ 789 w 881"/>
                <a:gd name="T33" fmla="*/ 420 h 761"/>
                <a:gd name="T34" fmla="*/ 804 w 881"/>
                <a:gd name="T35" fmla="*/ 440 h 761"/>
                <a:gd name="T36" fmla="*/ 850 w 881"/>
                <a:gd name="T37" fmla="*/ 477 h 761"/>
                <a:gd name="T38" fmla="*/ 854 w 881"/>
                <a:gd name="T39" fmla="*/ 512 h 761"/>
                <a:gd name="T40" fmla="*/ 845 w 881"/>
                <a:gd name="T41" fmla="*/ 532 h 761"/>
                <a:gd name="T42" fmla="*/ 814 w 881"/>
                <a:gd name="T43" fmla="*/ 550 h 761"/>
                <a:gd name="T44" fmla="*/ 749 w 881"/>
                <a:gd name="T45" fmla="*/ 501 h 761"/>
                <a:gd name="T46" fmla="*/ 657 w 881"/>
                <a:gd name="T47" fmla="*/ 457 h 761"/>
                <a:gd name="T48" fmla="*/ 594 w 881"/>
                <a:gd name="T49" fmla="*/ 447 h 761"/>
                <a:gd name="T50" fmla="*/ 568 w 881"/>
                <a:gd name="T51" fmla="*/ 487 h 761"/>
                <a:gd name="T52" fmla="*/ 499 w 881"/>
                <a:gd name="T53" fmla="*/ 505 h 761"/>
                <a:gd name="T54" fmla="*/ 480 w 881"/>
                <a:gd name="T55" fmla="*/ 477 h 761"/>
                <a:gd name="T56" fmla="*/ 438 w 881"/>
                <a:gd name="T57" fmla="*/ 434 h 761"/>
                <a:gd name="T58" fmla="*/ 383 w 881"/>
                <a:gd name="T59" fmla="*/ 415 h 761"/>
                <a:gd name="T60" fmla="*/ 332 w 881"/>
                <a:gd name="T61" fmla="*/ 415 h 761"/>
                <a:gd name="T62" fmla="*/ 312 w 881"/>
                <a:gd name="T63" fmla="*/ 469 h 761"/>
                <a:gd name="T64" fmla="*/ 320 w 881"/>
                <a:gd name="T65" fmla="*/ 574 h 761"/>
                <a:gd name="T66" fmla="*/ 304 w 881"/>
                <a:gd name="T67" fmla="*/ 662 h 761"/>
                <a:gd name="T68" fmla="*/ 304 w 881"/>
                <a:gd name="T69" fmla="*/ 737 h 761"/>
                <a:gd name="T70" fmla="*/ 277 w 881"/>
                <a:gd name="T71" fmla="*/ 760 h 761"/>
                <a:gd name="T72" fmla="*/ 235 w 881"/>
                <a:gd name="T73" fmla="*/ 709 h 761"/>
                <a:gd name="T74" fmla="*/ 212 w 881"/>
                <a:gd name="T75" fmla="*/ 649 h 761"/>
                <a:gd name="T76" fmla="*/ 158 w 881"/>
                <a:gd name="T77" fmla="*/ 620 h 761"/>
                <a:gd name="T78" fmla="*/ 133 w 881"/>
                <a:gd name="T79" fmla="*/ 552 h 761"/>
                <a:gd name="T80" fmla="*/ 113 w 881"/>
                <a:gd name="T81" fmla="*/ 525 h 761"/>
                <a:gd name="T82" fmla="*/ 120 w 881"/>
                <a:gd name="T83" fmla="*/ 503 h 761"/>
                <a:gd name="T84" fmla="*/ 82 w 881"/>
                <a:gd name="T85" fmla="*/ 485 h 761"/>
                <a:gd name="T86" fmla="*/ 70 w 881"/>
                <a:gd name="T87" fmla="*/ 438 h 761"/>
                <a:gd name="T88" fmla="*/ 40 w 881"/>
                <a:gd name="T89" fmla="*/ 404 h 761"/>
                <a:gd name="T90" fmla="*/ 45 w 881"/>
                <a:gd name="T91" fmla="*/ 361 h 761"/>
                <a:gd name="T92" fmla="*/ 17 w 881"/>
                <a:gd name="T93" fmla="*/ 333 h 761"/>
                <a:gd name="T94" fmla="*/ 7 w 881"/>
                <a:gd name="T95" fmla="*/ 309 h 761"/>
                <a:gd name="T96" fmla="*/ 31 w 881"/>
                <a:gd name="T97" fmla="*/ 269 h 761"/>
                <a:gd name="T98" fmla="*/ 46 w 881"/>
                <a:gd name="T99" fmla="*/ 228 h 761"/>
                <a:gd name="T100" fmla="*/ 90 w 881"/>
                <a:gd name="T101" fmla="*/ 253 h 761"/>
                <a:gd name="T102" fmla="*/ 130 w 881"/>
                <a:gd name="T103" fmla="*/ 257 h 761"/>
                <a:gd name="T104" fmla="*/ 163 w 881"/>
                <a:gd name="T105" fmla="*/ 268 h 761"/>
                <a:gd name="T106" fmla="*/ 131 w 881"/>
                <a:gd name="T107" fmla="*/ 224 h 761"/>
                <a:gd name="T108" fmla="*/ 146 w 881"/>
                <a:gd name="T109" fmla="*/ 180 h 761"/>
                <a:gd name="T110" fmla="*/ 108 w 881"/>
                <a:gd name="T111" fmla="*/ 133 h 761"/>
                <a:gd name="T112" fmla="*/ 124 w 881"/>
                <a:gd name="T113" fmla="*/ 118 h 761"/>
                <a:gd name="T114" fmla="*/ 208 w 881"/>
                <a:gd name="T115" fmla="*/ 101 h 761"/>
                <a:gd name="T116" fmla="*/ 228 w 881"/>
                <a:gd name="T117" fmla="*/ 43 h 761"/>
                <a:gd name="T118" fmla="*/ 220 w 881"/>
                <a:gd name="T119" fmla="*/ 11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1" h="761">
                  <a:moveTo>
                    <a:pt x="263" y="0"/>
                  </a:moveTo>
                  <a:lnTo>
                    <a:pt x="266" y="1"/>
                  </a:lnTo>
                  <a:lnTo>
                    <a:pt x="269" y="3"/>
                  </a:lnTo>
                  <a:lnTo>
                    <a:pt x="272" y="6"/>
                  </a:lnTo>
                  <a:lnTo>
                    <a:pt x="275" y="8"/>
                  </a:lnTo>
                  <a:lnTo>
                    <a:pt x="277" y="10"/>
                  </a:lnTo>
                  <a:lnTo>
                    <a:pt x="286" y="18"/>
                  </a:lnTo>
                  <a:lnTo>
                    <a:pt x="290" y="22"/>
                  </a:lnTo>
                  <a:lnTo>
                    <a:pt x="303" y="34"/>
                  </a:lnTo>
                  <a:lnTo>
                    <a:pt x="306" y="36"/>
                  </a:lnTo>
                  <a:lnTo>
                    <a:pt x="309" y="38"/>
                  </a:lnTo>
                  <a:lnTo>
                    <a:pt x="310" y="39"/>
                  </a:lnTo>
                  <a:lnTo>
                    <a:pt x="312" y="41"/>
                  </a:lnTo>
                  <a:lnTo>
                    <a:pt x="315" y="41"/>
                  </a:lnTo>
                  <a:lnTo>
                    <a:pt x="317" y="41"/>
                  </a:lnTo>
                  <a:lnTo>
                    <a:pt x="320" y="41"/>
                  </a:lnTo>
                  <a:lnTo>
                    <a:pt x="323" y="41"/>
                  </a:lnTo>
                  <a:lnTo>
                    <a:pt x="325" y="40"/>
                  </a:lnTo>
                  <a:lnTo>
                    <a:pt x="327" y="39"/>
                  </a:lnTo>
                  <a:lnTo>
                    <a:pt x="340" y="33"/>
                  </a:lnTo>
                  <a:lnTo>
                    <a:pt x="343" y="31"/>
                  </a:lnTo>
                  <a:lnTo>
                    <a:pt x="346" y="30"/>
                  </a:lnTo>
                  <a:lnTo>
                    <a:pt x="350" y="28"/>
                  </a:lnTo>
                  <a:lnTo>
                    <a:pt x="353" y="28"/>
                  </a:lnTo>
                  <a:lnTo>
                    <a:pt x="356" y="28"/>
                  </a:lnTo>
                  <a:lnTo>
                    <a:pt x="358" y="28"/>
                  </a:lnTo>
                  <a:lnTo>
                    <a:pt x="360" y="28"/>
                  </a:lnTo>
                  <a:lnTo>
                    <a:pt x="362" y="28"/>
                  </a:lnTo>
                  <a:lnTo>
                    <a:pt x="365" y="30"/>
                  </a:lnTo>
                  <a:lnTo>
                    <a:pt x="367" y="31"/>
                  </a:lnTo>
                  <a:lnTo>
                    <a:pt x="370" y="33"/>
                  </a:lnTo>
                  <a:lnTo>
                    <a:pt x="376" y="38"/>
                  </a:lnTo>
                  <a:lnTo>
                    <a:pt x="380" y="41"/>
                  </a:lnTo>
                  <a:lnTo>
                    <a:pt x="385" y="45"/>
                  </a:lnTo>
                  <a:lnTo>
                    <a:pt x="389" y="47"/>
                  </a:lnTo>
                  <a:lnTo>
                    <a:pt x="391" y="48"/>
                  </a:lnTo>
                  <a:lnTo>
                    <a:pt x="394" y="49"/>
                  </a:lnTo>
                  <a:lnTo>
                    <a:pt x="405" y="53"/>
                  </a:lnTo>
                  <a:lnTo>
                    <a:pt x="409" y="55"/>
                  </a:lnTo>
                  <a:lnTo>
                    <a:pt x="412" y="56"/>
                  </a:lnTo>
                  <a:lnTo>
                    <a:pt x="415" y="57"/>
                  </a:lnTo>
                  <a:lnTo>
                    <a:pt x="417" y="58"/>
                  </a:lnTo>
                  <a:lnTo>
                    <a:pt x="418" y="60"/>
                  </a:lnTo>
                  <a:lnTo>
                    <a:pt x="419" y="61"/>
                  </a:lnTo>
                  <a:lnTo>
                    <a:pt x="420" y="62"/>
                  </a:lnTo>
                  <a:lnTo>
                    <a:pt x="420" y="64"/>
                  </a:lnTo>
                  <a:lnTo>
                    <a:pt x="421" y="66"/>
                  </a:lnTo>
                  <a:lnTo>
                    <a:pt x="421" y="68"/>
                  </a:lnTo>
                  <a:lnTo>
                    <a:pt x="421" y="69"/>
                  </a:lnTo>
                  <a:lnTo>
                    <a:pt x="420" y="71"/>
                  </a:lnTo>
                  <a:lnTo>
                    <a:pt x="420" y="74"/>
                  </a:lnTo>
                  <a:lnTo>
                    <a:pt x="419" y="76"/>
                  </a:lnTo>
                  <a:lnTo>
                    <a:pt x="418" y="77"/>
                  </a:lnTo>
                  <a:lnTo>
                    <a:pt x="417" y="78"/>
                  </a:lnTo>
                  <a:lnTo>
                    <a:pt x="416" y="80"/>
                  </a:lnTo>
                  <a:lnTo>
                    <a:pt x="414" y="81"/>
                  </a:lnTo>
                  <a:lnTo>
                    <a:pt x="411" y="83"/>
                  </a:lnTo>
                  <a:lnTo>
                    <a:pt x="410" y="83"/>
                  </a:lnTo>
                  <a:lnTo>
                    <a:pt x="410" y="84"/>
                  </a:lnTo>
                  <a:lnTo>
                    <a:pt x="410" y="85"/>
                  </a:lnTo>
                  <a:lnTo>
                    <a:pt x="410" y="86"/>
                  </a:lnTo>
                  <a:lnTo>
                    <a:pt x="411" y="87"/>
                  </a:lnTo>
                  <a:lnTo>
                    <a:pt x="412" y="88"/>
                  </a:lnTo>
                  <a:lnTo>
                    <a:pt x="415" y="88"/>
                  </a:lnTo>
                  <a:lnTo>
                    <a:pt x="418" y="89"/>
                  </a:lnTo>
                  <a:lnTo>
                    <a:pt x="420" y="90"/>
                  </a:lnTo>
                  <a:lnTo>
                    <a:pt x="422" y="91"/>
                  </a:lnTo>
                  <a:lnTo>
                    <a:pt x="430" y="91"/>
                  </a:lnTo>
                  <a:lnTo>
                    <a:pt x="434" y="92"/>
                  </a:lnTo>
                  <a:lnTo>
                    <a:pt x="436" y="93"/>
                  </a:lnTo>
                  <a:lnTo>
                    <a:pt x="438" y="93"/>
                  </a:lnTo>
                  <a:lnTo>
                    <a:pt x="440" y="94"/>
                  </a:lnTo>
                  <a:lnTo>
                    <a:pt x="442" y="95"/>
                  </a:lnTo>
                  <a:lnTo>
                    <a:pt x="443" y="96"/>
                  </a:lnTo>
                  <a:lnTo>
                    <a:pt x="445" y="98"/>
                  </a:lnTo>
                  <a:lnTo>
                    <a:pt x="447" y="99"/>
                  </a:lnTo>
                  <a:lnTo>
                    <a:pt x="449" y="101"/>
                  </a:lnTo>
                  <a:lnTo>
                    <a:pt x="452" y="105"/>
                  </a:lnTo>
                  <a:lnTo>
                    <a:pt x="458" y="113"/>
                  </a:lnTo>
                  <a:lnTo>
                    <a:pt x="460" y="115"/>
                  </a:lnTo>
                  <a:lnTo>
                    <a:pt x="462" y="116"/>
                  </a:lnTo>
                  <a:lnTo>
                    <a:pt x="463" y="118"/>
                  </a:lnTo>
                  <a:lnTo>
                    <a:pt x="465" y="119"/>
                  </a:lnTo>
                  <a:lnTo>
                    <a:pt x="467" y="121"/>
                  </a:lnTo>
                  <a:lnTo>
                    <a:pt x="469" y="121"/>
                  </a:lnTo>
                  <a:lnTo>
                    <a:pt x="472" y="123"/>
                  </a:lnTo>
                  <a:lnTo>
                    <a:pt x="475" y="123"/>
                  </a:lnTo>
                  <a:lnTo>
                    <a:pt x="476" y="123"/>
                  </a:lnTo>
                  <a:lnTo>
                    <a:pt x="478" y="123"/>
                  </a:lnTo>
                  <a:lnTo>
                    <a:pt x="480" y="123"/>
                  </a:lnTo>
                  <a:lnTo>
                    <a:pt x="482" y="123"/>
                  </a:lnTo>
                  <a:lnTo>
                    <a:pt x="484" y="123"/>
                  </a:lnTo>
                  <a:lnTo>
                    <a:pt x="487" y="122"/>
                  </a:lnTo>
                  <a:lnTo>
                    <a:pt x="490" y="121"/>
                  </a:lnTo>
                  <a:lnTo>
                    <a:pt x="493" y="119"/>
                  </a:lnTo>
                  <a:lnTo>
                    <a:pt x="501" y="115"/>
                  </a:lnTo>
                  <a:lnTo>
                    <a:pt x="504" y="113"/>
                  </a:lnTo>
                  <a:lnTo>
                    <a:pt x="507" y="113"/>
                  </a:lnTo>
                  <a:lnTo>
                    <a:pt x="508" y="112"/>
                  </a:lnTo>
                  <a:lnTo>
                    <a:pt x="510" y="112"/>
                  </a:lnTo>
                  <a:lnTo>
                    <a:pt x="512" y="112"/>
                  </a:lnTo>
                  <a:lnTo>
                    <a:pt x="514" y="113"/>
                  </a:lnTo>
                  <a:lnTo>
                    <a:pt x="517" y="113"/>
                  </a:lnTo>
                  <a:lnTo>
                    <a:pt x="532" y="117"/>
                  </a:lnTo>
                  <a:lnTo>
                    <a:pt x="537" y="118"/>
                  </a:lnTo>
                  <a:lnTo>
                    <a:pt x="549" y="122"/>
                  </a:lnTo>
                  <a:lnTo>
                    <a:pt x="556" y="124"/>
                  </a:lnTo>
                  <a:lnTo>
                    <a:pt x="561" y="126"/>
                  </a:lnTo>
                  <a:lnTo>
                    <a:pt x="564" y="128"/>
                  </a:lnTo>
                  <a:lnTo>
                    <a:pt x="564" y="128"/>
                  </a:lnTo>
                  <a:lnTo>
                    <a:pt x="564" y="129"/>
                  </a:lnTo>
                  <a:lnTo>
                    <a:pt x="564" y="131"/>
                  </a:lnTo>
                  <a:lnTo>
                    <a:pt x="564" y="132"/>
                  </a:lnTo>
                  <a:lnTo>
                    <a:pt x="564" y="133"/>
                  </a:lnTo>
                  <a:lnTo>
                    <a:pt x="565" y="133"/>
                  </a:lnTo>
                  <a:lnTo>
                    <a:pt x="566" y="134"/>
                  </a:lnTo>
                  <a:lnTo>
                    <a:pt x="567" y="134"/>
                  </a:lnTo>
                  <a:lnTo>
                    <a:pt x="568" y="135"/>
                  </a:lnTo>
                  <a:lnTo>
                    <a:pt x="570" y="135"/>
                  </a:lnTo>
                  <a:lnTo>
                    <a:pt x="577" y="134"/>
                  </a:lnTo>
                  <a:lnTo>
                    <a:pt x="582" y="134"/>
                  </a:lnTo>
                  <a:lnTo>
                    <a:pt x="586" y="133"/>
                  </a:lnTo>
                  <a:lnTo>
                    <a:pt x="594" y="131"/>
                  </a:lnTo>
                  <a:lnTo>
                    <a:pt x="598" y="131"/>
                  </a:lnTo>
                  <a:lnTo>
                    <a:pt x="602" y="131"/>
                  </a:lnTo>
                  <a:lnTo>
                    <a:pt x="610" y="130"/>
                  </a:lnTo>
                  <a:lnTo>
                    <a:pt x="618" y="128"/>
                  </a:lnTo>
                  <a:lnTo>
                    <a:pt x="622" y="128"/>
                  </a:lnTo>
                  <a:lnTo>
                    <a:pt x="624" y="128"/>
                  </a:lnTo>
                  <a:lnTo>
                    <a:pt x="627" y="128"/>
                  </a:lnTo>
                  <a:lnTo>
                    <a:pt x="629" y="129"/>
                  </a:lnTo>
                  <a:lnTo>
                    <a:pt x="632" y="130"/>
                  </a:lnTo>
                  <a:lnTo>
                    <a:pt x="634" y="131"/>
                  </a:lnTo>
                  <a:lnTo>
                    <a:pt x="635" y="131"/>
                  </a:lnTo>
                  <a:lnTo>
                    <a:pt x="637" y="132"/>
                  </a:lnTo>
                  <a:lnTo>
                    <a:pt x="638" y="133"/>
                  </a:lnTo>
                  <a:lnTo>
                    <a:pt x="639" y="134"/>
                  </a:lnTo>
                  <a:lnTo>
                    <a:pt x="640" y="136"/>
                  </a:lnTo>
                  <a:lnTo>
                    <a:pt x="642" y="138"/>
                  </a:lnTo>
                  <a:lnTo>
                    <a:pt x="642" y="140"/>
                  </a:lnTo>
                  <a:lnTo>
                    <a:pt x="643" y="143"/>
                  </a:lnTo>
                  <a:lnTo>
                    <a:pt x="644" y="147"/>
                  </a:lnTo>
                  <a:lnTo>
                    <a:pt x="645" y="151"/>
                  </a:lnTo>
                  <a:lnTo>
                    <a:pt x="646" y="155"/>
                  </a:lnTo>
                  <a:lnTo>
                    <a:pt x="647" y="161"/>
                  </a:lnTo>
                  <a:lnTo>
                    <a:pt x="647" y="166"/>
                  </a:lnTo>
                  <a:lnTo>
                    <a:pt x="646" y="172"/>
                  </a:lnTo>
                  <a:lnTo>
                    <a:pt x="645" y="180"/>
                  </a:lnTo>
                  <a:lnTo>
                    <a:pt x="644" y="185"/>
                  </a:lnTo>
                  <a:lnTo>
                    <a:pt x="644" y="190"/>
                  </a:lnTo>
                  <a:lnTo>
                    <a:pt x="644" y="194"/>
                  </a:lnTo>
                  <a:lnTo>
                    <a:pt x="644" y="197"/>
                  </a:lnTo>
                  <a:lnTo>
                    <a:pt x="645" y="200"/>
                  </a:lnTo>
                  <a:lnTo>
                    <a:pt x="647" y="203"/>
                  </a:lnTo>
                  <a:lnTo>
                    <a:pt x="649" y="208"/>
                  </a:lnTo>
                  <a:lnTo>
                    <a:pt x="650" y="210"/>
                  </a:lnTo>
                  <a:lnTo>
                    <a:pt x="652" y="211"/>
                  </a:lnTo>
                  <a:lnTo>
                    <a:pt x="653" y="213"/>
                  </a:lnTo>
                  <a:lnTo>
                    <a:pt x="655" y="215"/>
                  </a:lnTo>
                  <a:lnTo>
                    <a:pt x="662" y="221"/>
                  </a:lnTo>
                  <a:lnTo>
                    <a:pt x="669" y="227"/>
                  </a:lnTo>
                  <a:lnTo>
                    <a:pt x="672" y="229"/>
                  </a:lnTo>
                  <a:lnTo>
                    <a:pt x="679" y="235"/>
                  </a:lnTo>
                  <a:lnTo>
                    <a:pt x="682" y="238"/>
                  </a:lnTo>
                  <a:lnTo>
                    <a:pt x="684" y="240"/>
                  </a:lnTo>
                  <a:lnTo>
                    <a:pt x="688" y="243"/>
                  </a:lnTo>
                  <a:lnTo>
                    <a:pt x="704" y="252"/>
                  </a:lnTo>
                  <a:lnTo>
                    <a:pt x="713" y="257"/>
                  </a:lnTo>
                  <a:lnTo>
                    <a:pt x="715" y="258"/>
                  </a:lnTo>
                  <a:lnTo>
                    <a:pt x="716" y="258"/>
                  </a:lnTo>
                  <a:lnTo>
                    <a:pt x="719" y="258"/>
                  </a:lnTo>
                  <a:lnTo>
                    <a:pt x="720" y="258"/>
                  </a:lnTo>
                  <a:lnTo>
                    <a:pt x="726" y="255"/>
                  </a:lnTo>
                  <a:lnTo>
                    <a:pt x="729" y="255"/>
                  </a:lnTo>
                  <a:lnTo>
                    <a:pt x="731" y="254"/>
                  </a:lnTo>
                  <a:lnTo>
                    <a:pt x="734" y="254"/>
                  </a:lnTo>
                  <a:lnTo>
                    <a:pt x="736" y="254"/>
                  </a:lnTo>
                  <a:lnTo>
                    <a:pt x="739" y="255"/>
                  </a:lnTo>
                  <a:lnTo>
                    <a:pt x="750" y="258"/>
                  </a:lnTo>
                  <a:lnTo>
                    <a:pt x="753" y="259"/>
                  </a:lnTo>
                  <a:lnTo>
                    <a:pt x="756" y="259"/>
                  </a:lnTo>
                  <a:lnTo>
                    <a:pt x="760" y="260"/>
                  </a:lnTo>
                  <a:lnTo>
                    <a:pt x="766" y="260"/>
                  </a:lnTo>
                  <a:lnTo>
                    <a:pt x="771" y="260"/>
                  </a:lnTo>
                  <a:lnTo>
                    <a:pt x="776" y="260"/>
                  </a:lnTo>
                  <a:lnTo>
                    <a:pt x="779" y="260"/>
                  </a:lnTo>
                  <a:lnTo>
                    <a:pt x="782" y="260"/>
                  </a:lnTo>
                  <a:lnTo>
                    <a:pt x="784" y="259"/>
                  </a:lnTo>
                  <a:lnTo>
                    <a:pt x="786" y="258"/>
                  </a:lnTo>
                  <a:lnTo>
                    <a:pt x="790" y="257"/>
                  </a:lnTo>
                  <a:lnTo>
                    <a:pt x="798" y="254"/>
                  </a:lnTo>
                  <a:lnTo>
                    <a:pt x="801" y="253"/>
                  </a:lnTo>
                  <a:lnTo>
                    <a:pt x="806" y="252"/>
                  </a:lnTo>
                  <a:lnTo>
                    <a:pt x="813" y="250"/>
                  </a:lnTo>
                  <a:lnTo>
                    <a:pt x="816" y="250"/>
                  </a:lnTo>
                  <a:lnTo>
                    <a:pt x="818" y="249"/>
                  </a:lnTo>
                  <a:lnTo>
                    <a:pt x="822" y="247"/>
                  </a:lnTo>
                  <a:lnTo>
                    <a:pt x="824" y="246"/>
                  </a:lnTo>
                  <a:lnTo>
                    <a:pt x="826" y="246"/>
                  </a:lnTo>
                  <a:lnTo>
                    <a:pt x="828" y="246"/>
                  </a:lnTo>
                  <a:lnTo>
                    <a:pt x="829" y="246"/>
                  </a:lnTo>
                  <a:lnTo>
                    <a:pt x="831" y="247"/>
                  </a:lnTo>
                  <a:lnTo>
                    <a:pt x="832" y="247"/>
                  </a:lnTo>
                  <a:lnTo>
                    <a:pt x="834" y="248"/>
                  </a:lnTo>
                  <a:lnTo>
                    <a:pt x="837" y="250"/>
                  </a:lnTo>
                  <a:lnTo>
                    <a:pt x="841" y="252"/>
                  </a:lnTo>
                  <a:lnTo>
                    <a:pt x="841" y="253"/>
                  </a:lnTo>
                  <a:lnTo>
                    <a:pt x="842" y="253"/>
                  </a:lnTo>
                  <a:lnTo>
                    <a:pt x="843" y="255"/>
                  </a:lnTo>
                  <a:lnTo>
                    <a:pt x="844" y="255"/>
                  </a:lnTo>
                  <a:lnTo>
                    <a:pt x="844" y="257"/>
                  </a:lnTo>
                  <a:lnTo>
                    <a:pt x="845" y="258"/>
                  </a:lnTo>
                  <a:lnTo>
                    <a:pt x="845" y="260"/>
                  </a:lnTo>
                  <a:lnTo>
                    <a:pt x="845" y="261"/>
                  </a:lnTo>
                  <a:lnTo>
                    <a:pt x="844" y="263"/>
                  </a:lnTo>
                  <a:lnTo>
                    <a:pt x="843" y="268"/>
                  </a:lnTo>
                  <a:lnTo>
                    <a:pt x="843" y="268"/>
                  </a:lnTo>
                  <a:lnTo>
                    <a:pt x="843" y="270"/>
                  </a:lnTo>
                  <a:lnTo>
                    <a:pt x="843" y="270"/>
                  </a:lnTo>
                  <a:lnTo>
                    <a:pt x="844" y="272"/>
                  </a:lnTo>
                  <a:lnTo>
                    <a:pt x="844" y="273"/>
                  </a:lnTo>
                  <a:lnTo>
                    <a:pt x="845" y="275"/>
                  </a:lnTo>
                  <a:lnTo>
                    <a:pt x="848" y="278"/>
                  </a:lnTo>
                  <a:lnTo>
                    <a:pt x="851" y="280"/>
                  </a:lnTo>
                  <a:lnTo>
                    <a:pt x="854" y="282"/>
                  </a:lnTo>
                  <a:lnTo>
                    <a:pt x="861" y="287"/>
                  </a:lnTo>
                  <a:lnTo>
                    <a:pt x="863" y="288"/>
                  </a:lnTo>
                  <a:lnTo>
                    <a:pt x="865" y="290"/>
                  </a:lnTo>
                  <a:lnTo>
                    <a:pt x="868" y="293"/>
                  </a:lnTo>
                  <a:lnTo>
                    <a:pt x="874" y="300"/>
                  </a:lnTo>
                  <a:lnTo>
                    <a:pt x="880" y="307"/>
                  </a:lnTo>
                  <a:lnTo>
                    <a:pt x="881" y="308"/>
                  </a:lnTo>
                  <a:lnTo>
                    <a:pt x="881" y="308"/>
                  </a:lnTo>
                  <a:lnTo>
                    <a:pt x="880" y="309"/>
                  </a:lnTo>
                  <a:lnTo>
                    <a:pt x="879" y="310"/>
                  </a:lnTo>
                  <a:lnTo>
                    <a:pt x="876" y="315"/>
                  </a:lnTo>
                  <a:lnTo>
                    <a:pt x="873" y="317"/>
                  </a:lnTo>
                  <a:lnTo>
                    <a:pt x="871" y="319"/>
                  </a:lnTo>
                  <a:lnTo>
                    <a:pt x="867" y="321"/>
                  </a:lnTo>
                  <a:lnTo>
                    <a:pt x="864" y="323"/>
                  </a:lnTo>
                  <a:lnTo>
                    <a:pt x="859" y="325"/>
                  </a:lnTo>
                  <a:lnTo>
                    <a:pt x="852" y="326"/>
                  </a:lnTo>
                  <a:lnTo>
                    <a:pt x="846" y="328"/>
                  </a:lnTo>
                  <a:lnTo>
                    <a:pt x="844" y="328"/>
                  </a:lnTo>
                  <a:lnTo>
                    <a:pt x="842" y="329"/>
                  </a:lnTo>
                  <a:lnTo>
                    <a:pt x="841" y="330"/>
                  </a:lnTo>
                  <a:lnTo>
                    <a:pt x="840" y="330"/>
                  </a:lnTo>
                  <a:lnTo>
                    <a:pt x="839" y="332"/>
                  </a:lnTo>
                  <a:lnTo>
                    <a:pt x="838" y="334"/>
                  </a:lnTo>
                  <a:lnTo>
                    <a:pt x="835" y="340"/>
                  </a:lnTo>
                  <a:lnTo>
                    <a:pt x="831" y="345"/>
                  </a:lnTo>
                  <a:lnTo>
                    <a:pt x="831" y="348"/>
                  </a:lnTo>
                  <a:lnTo>
                    <a:pt x="830" y="349"/>
                  </a:lnTo>
                  <a:lnTo>
                    <a:pt x="829" y="351"/>
                  </a:lnTo>
                  <a:lnTo>
                    <a:pt x="827" y="360"/>
                  </a:lnTo>
                  <a:lnTo>
                    <a:pt x="826" y="363"/>
                  </a:lnTo>
                  <a:lnTo>
                    <a:pt x="826" y="365"/>
                  </a:lnTo>
                  <a:lnTo>
                    <a:pt x="825" y="367"/>
                  </a:lnTo>
                  <a:lnTo>
                    <a:pt x="824" y="369"/>
                  </a:lnTo>
                  <a:lnTo>
                    <a:pt x="819" y="376"/>
                  </a:lnTo>
                  <a:lnTo>
                    <a:pt x="817" y="378"/>
                  </a:lnTo>
                  <a:lnTo>
                    <a:pt x="816" y="381"/>
                  </a:lnTo>
                  <a:lnTo>
                    <a:pt x="814" y="388"/>
                  </a:lnTo>
                  <a:lnTo>
                    <a:pt x="813" y="391"/>
                  </a:lnTo>
                  <a:lnTo>
                    <a:pt x="811" y="393"/>
                  </a:lnTo>
                  <a:lnTo>
                    <a:pt x="810" y="395"/>
                  </a:lnTo>
                  <a:lnTo>
                    <a:pt x="808" y="397"/>
                  </a:lnTo>
                  <a:lnTo>
                    <a:pt x="801" y="405"/>
                  </a:lnTo>
                  <a:lnTo>
                    <a:pt x="797" y="410"/>
                  </a:lnTo>
                  <a:lnTo>
                    <a:pt x="795" y="411"/>
                  </a:lnTo>
                  <a:lnTo>
                    <a:pt x="791" y="415"/>
                  </a:lnTo>
                  <a:lnTo>
                    <a:pt x="789" y="420"/>
                  </a:lnTo>
                  <a:lnTo>
                    <a:pt x="786" y="423"/>
                  </a:lnTo>
                  <a:lnTo>
                    <a:pt x="785" y="425"/>
                  </a:lnTo>
                  <a:lnTo>
                    <a:pt x="784" y="428"/>
                  </a:lnTo>
                  <a:lnTo>
                    <a:pt x="783" y="431"/>
                  </a:lnTo>
                  <a:lnTo>
                    <a:pt x="784" y="432"/>
                  </a:lnTo>
                  <a:lnTo>
                    <a:pt x="784" y="434"/>
                  </a:lnTo>
                  <a:lnTo>
                    <a:pt x="785" y="435"/>
                  </a:lnTo>
                  <a:lnTo>
                    <a:pt x="786" y="436"/>
                  </a:lnTo>
                  <a:lnTo>
                    <a:pt x="787" y="437"/>
                  </a:lnTo>
                  <a:lnTo>
                    <a:pt x="789" y="437"/>
                  </a:lnTo>
                  <a:lnTo>
                    <a:pt x="795" y="437"/>
                  </a:lnTo>
                  <a:lnTo>
                    <a:pt x="798" y="437"/>
                  </a:lnTo>
                  <a:lnTo>
                    <a:pt x="799" y="438"/>
                  </a:lnTo>
                  <a:lnTo>
                    <a:pt x="801" y="439"/>
                  </a:lnTo>
                  <a:lnTo>
                    <a:pt x="803" y="440"/>
                  </a:lnTo>
                  <a:lnTo>
                    <a:pt x="804" y="440"/>
                  </a:lnTo>
                  <a:lnTo>
                    <a:pt x="806" y="442"/>
                  </a:lnTo>
                  <a:lnTo>
                    <a:pt x="808" y="445"/>
                  </a:lnTo>
                  <a:lnTo>
                    <a:pt x="809" y="446"/>
                  </a:lnTo>
                  <a:lnTo>
                    <a:pt x="812" y="453"/>
                  </a:lnTo>
                  <a:lnTo>
                    <a:pt x="814" y="455"/>
                  </a:lnTo>
                  <a:lnTo>
                    <a:pt x="816" y="457"/>
                  </a:lnTo>
                  <a:lnTo>
                    <a:pt x="818" y="460"/>
                  </a:lnTo>
                  <a:lnTo>
                    <a:pt x="821" y="462"/>
                  </a:lnTo>
                  <a:lnTo>
                    <a:pt x="824" y="463"/>
                  </a:lnTo>
                  <a:lnTo>
                    <a:pt x="828" y="465"/>
                  </a:lnTo>
                  <a:lnTo>
                    <a:pt x="835" y="468"/>
                  </a:lnTo>
                  <a:lnTo>
                    <a:pt x="838" y="470"/>
                  </a:lnTo>
                  <a:lnTo>
                    <a:pt x="841" y="471"/>
                  </a:lnTo>
                  <a:lnTo>
                    <a:pt x="844" y="473"/>
                  </a:lnTo>
                  <a:lnTo>
                    <a:pt x="846" y="475"/>
                  </a:lnTo>
                  <a:lnTo>
                    <a:pt x="850" y="477"/>
                  </a:lnTo>
                  <a:lnTo>
                    <a:pt x="851" y="479"/>
                  </a:lnTo>
                  <a:lnTo>
                    <a:pt x="854" y="480"/>
                  </a:lnTo>
                  <a:lnTo>
                    <a:pt x="856" y="482"/>
                  </a:lnTo>
                  <a:lnTo>
                    <a:pt x="857" y="484"/>
                  </a:lnTo>
                  <a:lnTo>
                    <a:pt x="859" y="486"/>
                  </a:lnTo>
                  <a:lnTo>
                    <a:pt x="861" y="490"/>
                  </a:lnTo>
                  <a:lnTo>
                    <a:pt x="866" y="499"/>
                  </a:lnTo>
                  <a:lnTo>
                    <a:pt x="867" y="502"/>
                  </a:lnTo>
                  <a:lnTo>
                    <a:pt x="868" y="502"/>
                  </a:lnTo>
                  <a:lnTo>
                    <a:pt x="866" y="504"/>
                  </a:lnTo>
                  <a:lnTo>
                    <a:pt x="862" y="509"/>
                  </a:lnTo>
                  <a:lnTo>
                    <a:pt x="861" y="510"/>
                  </a:lnTo>
                  <a:lnTo>
                    <a:pt x="860" y="510"/>
                  </a:lnTo>
                  <a:lnTo>
                    <a:pt x="859" y="511"/>
                  </a:lnTo>
                  <a:lnTo>
                    <a:pt x="858" y="512"/>
                  </a:lnTo>
                  <a:lnTo>
                    <a:pt x="854" y="512"/>
                  </a:lnTo>
                  <a:lnTo>
                    <a:pt x="854" y="512"/>
                  </a:lnTo>
                  <a:lnTo>
                    <a:pt x="853" y="512"/>
                  </a:lnTo>
                  <a:lnTo>
                    <a:pt x="852" y="514"/>
                  </a:lnTo>
                  <a:lnTo>
                    <a:pt x="852" y="516"/>
                  </a:lnTo>
                  <a:lnTo>
                    <a:pt x="851" y="517"/>
                  </a:lnTo>
                  <a:lnTo>
                    <a:pt x="851" y="520"/>
                  </a:lnTo>
                  <a:lnTo>
                    <a:pt x="849" y="522"/>
                  </a:lnTo>
                  <a:lnTo>
                    <a:pt x="846" y="525"/>
                  </a:lnTo>
                  <a:lnTo>
                    <a:pt x="846" y="526"/>
                  </a:lnTo>
                  <a:lnTo>
                    <a:pt x="846" y="527"/>
                  </a:lnTo>
                  <a:lnTo>
                    <a:pt x="846" y="527"/>
                  </a:lnTo>
                  <a:lnTo>
                    <a:pt x="846" y="528"/>
                  </a:lnTo>
                  <a:lnTo>
                    <a:pt x="848" y="529"/>
                  </a:lnTo>
                  <a:lnTo>
                    <a:pt x="848" y="530"/>
                  </a:lnTo>
                  <a:lnTo>
                    <a:pt x="847" y="530"/>
                  </a:lnTo>
                  <a:lnTo>
                    <a:pt x="845" y="532"/>
                  </a:lnTo>
                  <a:lnTo>
                    <a:pt x="842" y="534"/>
                  </a:lnTo>
                  <a:lnTo>
                    <a:pt x="841" y="535"/>
                  </a:lnTo>
                  <a:lnTo>
                    <a:pt x="839" y="535"/>
                  </a:lnTo>
                  <a:lnTo>
                    <a:pt x="837" y="536"/>
                  </a:lnTo>
                  <a:lnTo>
                    <a:pt x="836" y="537"/>
                  </a:lnTo>
                  <a:lnTo>
                    <a:pt x="836" y="538"/>
                  </a:lnTo>
                  <a:lnTo>
                    <a:pt x="834" y="540"/>
                  </a:lnTo>
                  <a:lnTo>
                    <a:pt x="830" y="551"/>
                  </a:lnTo>
                  <a:lnTo>
                    <a:pt x="829" y="555"/>
                  </a:lnTo>
                  <a:lnTo>
                    <a:pt x="828" y="557"/>
                  </a:lnTo>
                  <a:lnTo>
                    <a:pt x="827" y="557"/>
                  </a:lnTo>
                  <a:lnTo>
                    <a:pt x="826" y="557"/>
                  </a:lnTo>
                  <a:lnTo>
                    <a:pt x="824" y="556"/>
                  </a:lnTo>
                  <a:lnTo>
                    <a:pt x="821" y="555"/>
                  </a:lnTo>
                  <a:lnTo>
                    <a:pt x="819" y="553"/>
                  </a:lnTo>
                  <a:lnTo>
                    <a:pt x="814" y="550"/>
                  </a:lnTo>
                  <a:lnTo>
                    <a:pt x="809" y="546"/>
                  </a:lnTo>
                  <a:lnTo>
                    <a:pt x="805" y="542"/>
                  </a:lnTo>
                  <a:lnTo>
                    <a:pt x="801" y="538"/>
                  </a:lnTo>
                  <a:lnTo>
                    <a:pt x="797" y="534"/>
                  </a:lnTo>
                  <a:lnTo>
                    <a:pt x="789" y="523"/>
                  </a:lnTo>
                  <a:lnTo>
                    <a:pt x="785" y="519"/>
                  </a:lnTo>
                  <a:lnTo>
                    <a:pt x="782" y="516"/>
                  </a:lnTo>
                  <a:lnTo>
                    <a:pt x="779" y="514"/>
                  </a:lnTo>
                  <a:lnTo>
                    <a:pt x="776" y="511"/>
                  </a:lnTo>
                  <a:lnTo>
                    <a:pt x="772" y="509"/>
                  </a:lnTo>
                  <a:lnTo>
                    <a:pt x="769" y="507"/>
                  </a:lnTo>
                  <a:lnTo>
                    <a:pt x="765" y="505"/>
                  </a:lnTo>
                  <a:lnTo>
                    <a:pt x="762" y="504"/>
                  </a:lnTo>
                  <a:lnTo>
                    <a:pt x="760" y="503"/>
                  </a:lnTo>
                  <a:lnTo>
                    <a:pt x="756" y="502"/>
                  </a:lnTo>
                  <a:lnTo>
                    <a:pt x="749" y="501"/>
                  </a:lnTo>
                  <a:lnTo>
                    <a:pt x="746" y="500"/>
                  </a:lnTo>
                  <a:lnTo>
                    <a:pt x="733" y="497"/>
                  </a:lnTo>
                  <a:lnTo>
                    <a:pt x="729" y="496"/>
                  </a:lnTo>
                  <a:lnTo>
                    <a:pt x="726" y="495"/>
                  </a:lnTo>
                  <a:lnTo>
                    <a:pt x="722" y="494"/>
                  </a:lnTo>
                  <a:lnTo>
                    <a:pt x="719" y="492"/>
                  </a:lnTo>
                  <a:lnTo>
                    <a:pt x="716" y="491"/>
                  </a:lnTo>
                  <a:lnTo>
                    <a:pt x="713" y="490"/>
                  </a:lnTo>
                  <a:lnTo>
                    <a:pt x="706" y="485"/>
                  </a:lnTo>
                  <a:lnTo>
                    <a:pt x="694" y="477"/>
                  </a:lnTo>
                  <a:lnTo>
                    <a:pt x="682" y="468"/>
                  </a:lnTo>
                  <a:lnTo>
                    <a:pt x="678" y="465"/>
                  </a:lnTo>
                  <a:lnTo>
                    <a:pt x="674" y="463"/>
                  </a:lnTo>
                  <a:lnTo>
                    <a:pt x="668" y="460"/>
                  </a:lnTo>
                  <a:lnTo>
                    <a:pt x="663" y="458"/>
                  </a:lnTo>
                  <a:lnTo>
                    <a:pt x="657" y="457"/>
                  </a:lnTo>
                  <a:lnTo>
                    <a:pt x="654" y="456"/>
                  </a:lnTo>
                  <a:lnTo>
                    <a:pt x="652" y="455"/>
                  </a:lnTo>
                  <a:lnTo>
                    <a:pt x="647" y="455"/>
                  </a:lnTo>
                  <a:lnTo>
                    <a:pt x="641" y="455"/>
                  </a:lnTo>
                  <a:lnTo>
                    <a:pt x="636" y="455"/>
                  </a:lnTo>
                  <a:lnTo>
                    <a:pt x="628" y="456"/>
                  </a:lnTo>
                  <a:lnTo>
                    <a:pt x="625" y="456"/>
                  </a:lnTo>
                  <a:lnTo>
                    <a:pt x="622" y="456"/>
                  </a:lnTo>
                  <a:lnTo>
                    <a:pt x="617" y="455"/>
                  </a:lnTo>
                  <a:lnTo>
                    <a:pt x="612" y="455"/>
                  </a:lnTo>
                  <a:lnTo>
                    <a:pt x="609" y="454"/>
                  </a:lnTo>
                  <a:lnTo>
                    <a:pt x="607" y="453"/>
                  </a:lnTo>
                  <a:lnTo>
                    <a:pt x="604" y="452"/>
                  </a:lnTo>
                  <a:lnTo>
                    <a:pt x="598" y="449"/>
                  </a:lnTo>
                  <a:lnTo>
                    <a:pt x="595" y="448"/>
                  </a:lnTo>
                  <a:lnTo>
                    <a:pt x="594" y="447"/>
                  </a:lnTo>
                  <a:lnTo>
                    <a:pt x="593" y="447"/>
                  </a:lnTo>
                  <a:lnTo>
                    <a:pt x="592" y="447"/>
                  </a:lnTo>
                  <a:lnTo>
                    <a:pt x="591" y="447"/>
                  </a:lnTo>
                  <a:lnTo>
                    <a:pt x="590" y="448"/>
                  </a:lnTo>
                  <a:lnTo>
                    <a:pt x="589" y="449"/>
                  </a:lnTo>
                  <a:lnTo>
                    <a:pt x="588" y="450"/>
                  </a:lnTo>
                  <a:lnTo>
                    <a:pt x="587" y="452"/>
                  </a:lnTo>
                  <a:lnTo>
                    <a:pt x="586" y="455"/>
                  </a:lnTo>
                  <a:lnTo>
                    <a:pt x="584" y="462"/>
                  </a:lnTo>
                  <a:lnTo>
                    <a:pt x="582" y="467"/>
                  </a:lnTo>
                  <a:lnTo>
                    <a:pt x="579" y="472"/>
                  </a:lnTo>
                  <a:lnTo>
                    <a:pt x="576" y="479"/>
                  </a:lnTo>
                  <a:lnTo>
                    <a:pt x="574" y="482"/>
                  </a:lnTo>
                  <a:lnTo>
                    <a:pt x="572" y="484"/>
                  </a:lnTo>
                  <a:lnTo>
                    <a:pt x="570" y="485"/>
                  </a:lnTo>
                  <a:lnTo>
                    <a:pt x="568" y="487"/>
                  </a:lnTo>
                  <a:lnTo>
                    <a:pt x="567" y="487"/>
                  </a:lnTo>
                  <a:lnTo>
                    <a:pt x="565" y="488"/>
                  </a:lnTo>
                  <a:lnTo>
                    <a:pt x="562" y="489"/>
                  </a:lnTo>
                  <a:lnTo>
                    <a:pt x="559" y="489"/>
                  </a:lnTo>
                  <a:lnTo>
                    <a:pt x="551" y="490"/>
                  </a:lnTo>
                  <a:lnTo>
                    <a:pt x="544" y="490"/>
                  </a:lnTo>
                  <a:lnTo>
                    <a:pt x="539" y="491"/>
                  </a:lnTo>
                  <a:lnTo>
                    <a:pt x="534" y="492"/>
                  </a:lnTo>
                  <a:lnTo>
                    <a:pt x="529" y="493"/>
                  </a:lnTo>
                  <a:lnTo>
                    <a:pt x="524" y="495"/>
                  </a:lnTo>
                  <a:lnTo>
                    <a:pt x="519" y="497"/>
                  </a:lnTo>
                  <a:lnTo>
                    <a:pt x="509" y="502"/>
                  </a:lnTo>
                  <a:lnTo>
                    <a:pt x="506" y="504"/>
                  </a:lnTo>
                  <a:lnTo>
                    <a:pt x="503" y="505"/>
                  </a:lnTo>
                  <a:lnTo>
                    <a:pt x="501" y="505"/>
                  </a:lnTo>
                  <a:lnTo>
                    <a:pt x="499" y="505"/>
                  </a:lnTo>
                  <a:lnTo>
                    <a:pt x="492" y="506"/>
                  </a:lnTo>
                  <a:lnTo>
                    <a:pt x="488" y="506"/>
                  </a:lnTo>
                  <a:lnTo>
                    <a:pt x="487" y="506"/>
                  </a:lnTo>
                  <a:lnTo>
                    <a:pt x="486" y="506"/>
                  </a:lnTo>
                  <a:lnTo>
                    <a:pt x="484" y="505"/>
                  </a:lnTo>
                  <a:lnTo>
                    <a:pt x="483" y="505"/>
                  </a:lnTo>
                  <a:lnTo>
                    <a:pt x="482" y="504"/>
                  </a:lnTo>
                  <a:lnTo>
                    <a:pt x="482" y="503"/>
                  </a:lnTo>
                  <a:lnTo>
                    <a:pt x="481" y="502"/>
                  </a:lnTo>
                  <a:lnTo>
                    <a:pt x="480" y="500"/>
                  </a:lnTo>
                  <a:lnTo>
                    <a:pt x="480" y="498"/>
                  </a:lnTo>
                  <a:lnTo>
                    <a:pt x="480" y="495"/>
                  </a:lnTo>
                  <a:lnTo>
                    <a:pt x="481" y="485"/>
                  </a:lnTo>
                  <a:lnTo>
                    <a:pt x="481" y="482"/>
                  </a:lnTo>
                  <a:lnTo>
                    <a:pt x="480" y="480"/>
                  </a:lnTo>
                  <a:lnTo>
                    <a:pt x="480" y="477"/>
                  </a:lnTo>
                  <a:lnTo>
                    <a:pt x="480" y="475"/>
                  </a:lnTo>
                  <a:lnTo>
                    <a:pt x="478" y="468"/>
                  </a:lnTo>
                  <a:lnTo>
                    <a:pt x="477" y="465"/>
                  </a:lnTo>
                  <a:lnTo>
                    <a:pt x="475" y="457"/>
                  </a:lnTo>
                  <a:lnTo>
                    <a:pt x="472" y="451"/>
                  </a:lnTo>
                  <a:lnTo>
                    <a:pt x="471" y="447"/>
                  </a:lnTo>
                  <a:lnTo>
                    <a:pt x="470" y="445"/>
                  </a:lnTo>
                  <a:lnTo>
                    <a:pt x="468" y="443"/>
                  </a:lnTo>
                  <a:lnTo>
                    <a:pt x="467" y="442"/>
                  </a:lnTo>
                  <a:lnTo>
                    <a:pt x="465" y="440"/>
                  </a:lnTo>
                  <a:lnTo>
                    <a:pt x="461" y="438"/>
                  </a:lnTo>
                  <a:lnTo>
                    <a:pt x="457" y="437"/>
                  </a:lnTo>
                  <a:lnTo>
                    <a:pt x="454" y="435"/>
                  </a:lnTo>
                  <a:lnTo>
                    <a:pt x="450" y="435"/>
                  </a:lnTo>
                  <a:lnTo>
                    <a:pt x="445" y="434"/>
                  </a:lnTo>
                  <a:lnTo>
                    <a:pt x="438" y="434"/>
                  </a:lnTo>
                  <a:lnTo>
                    <a:pt x="434" y="433"/>
                  </a:lnTo>
                  <a:lnTo>
                    <a:pt x="425" y="434"/>
                  </a:lnTo>
                  <a:lnTo>
                    <a:pt x="422" y="433"/>
                  </a:lnTo>
                  <a:lnTo>
                    <a:pt x="415" y="432"/>
                  </a:lnTo>
                  <a:lnTo>
                    <a:pt x="412" y="432"/>
                  </a:lnTo>
                  <a:lnTo>
                    <a:pt x="409" y="431"/>
                  </a:lnTo>
                  <a:lnTo>
                    <a:pt x="405" y="430"/>
                  </a:lnTo>
                  <a:lnTo>
                    <a:pt x="403" y="430"/>
                  </a:lnTo>
                  <a:lnTo>
                    <a:pt x="400" y="428"/>
                  </a:lnTo>
                  <a:lnTo>
                    <a:pt x="398" y="427"/>
                  </a:lnTo>
                  <a:lnTo>
                    <a:pt x="396" y="426"/>
                  </a:lnTo>
                  <a:lnTo>
                    <a:pt x="395" y="425"/>
                  </a:lnTo>
                  <a:lnTo>
                    <a:pt x="389" y="419"/>
                  </a:lnTo>
                  <a:lnTo>
                    <a:pt x="386" y="417"/>
                  </a:lnTo>
                  <a:lnTo>
                    <a:pt x="385" y="416"/>
                  </a:lnTo>
                  <a:lnTo>
                    <a:pt x="383" y="415"/>
                  </a:lnTo>
                  <a:lnTo>
                    <a:pt x="382" y="414"/>
                  </a:lnTo>
                  <a:lnTo>
                    <a:pt x="380" y="413"/>
                  </a:lnTo>
                  <a:lnTo>
                    <a:pt x="377" y="412"/>
                  </a:lnTo>
                  <a:lnTo>
                    <a:pt x="375" y="412"/>
                  </a:lnTo>
                  <a:lnTo>
                    <a:pt x="367" y="411"/>
                  </a:lnTo>
                  <a:lnTo>
                    <a:pt x="358" y="409"/>
                  </a:lnTo>
                  <a:lnTo>
                    <a:pt x="354" y="408"/>
                  </a:lnTo>
                  <a:lnTo>
                    <a:pt x="351" y="408"/>
                  </a:lnTo>
                  <a:lnTo>
                    <a:pt x="349" y="408"/>
                  </a:lnTo>
                  <a:lnTo>
                    <a:pt x="346" y="408"/>
                  </a:lnTo>
                  <a:lnTo>
                    <a:pt x="343" y="409"/>
                  </a:lnTo>
                  <a:lnTo>
                    <a:pt x="341" y="410"/>
                  </a:lnTo>
                  <a:lnTo>
                    <a:pt x="338" y="411"/>
                  </a:lnTo>
                  <a:lnTo>
                    <a:pt x="335" y="412"/>
                  </a:lnTo>
                  <a:lnTo>
                    <a:pt x="334" y="414"/>
                  </a:lnTo>
                  <a:lnTo>
                    <a:pt x="332" y="415"/>
                  </a:lnTo>
                  <a:lnTo>
                    <a:pt x="331" y="416"/>
                  </a:lnTo>
                  <a:lnTo>
                    <a:pt x="330" y="417"/>
                  </a:lnTo>
                  <a:lnTo>
                    <a:pt x="330" y="418"/>
                  </a:lnTo>
                  <a:lnTo>
                    <a:pt x="329" y="420"/>
                  </a:lnTo>
                  <a:lnTo>
                    <a:pt x="328" y="422"/>
                  </a:lnTo>
                  <a:lnTo>
                    <a:pt x="327" y="427"/>
                  </a:lnTo>
                  <a:lnTo>
                    <a:pt x="326" y="431"/>
                  </a:lnTo>
                  <a:lnTo>
                    <a:pt x="325" y="435"/>
                  </a:lnTo>
                  <a:lnTo>
                    <a:pt x="324" y="438"/>
                  </a:lnTo>
                  <a:lnTo>
                    <a:pt x="322" y="442"/>
                  </a:lnTo>
                  <a:lnTo>
                    <a:pt x="317" y="452"/>
                  </a:lnTo>
                  <a:lnTo>
                    <a:pt x="316" y="455"/>
                  </a:lnTo>
                  <a:lnTo>
                    <a:pt x="315" y="459"/>
                  </a:lnTo>
                  <a:lnTo>
                    <a:pt x="313" y="462"/>
                  </a:lnTo>
                  <a:lnTo>
                    <a:pt x="312" y="465"/>
                  </a:lnTo>
                  <a:lnTo>
                    <a:pt x="312" y="469"/>
                  </a:lnTo>
                  <a:lnTo>
                    <a:pt x="312" y="472"/>
                  </a:lnTo>
                  <a:lnTo>
                    <a:pt x="312" y="477"/>
                  </a:lnTo>
                  <a:lnTo>
                    <a:pt x="311" y="482"/>
                  </a:lnTo>
                  <a:lnTo>
                    <a:pt x="312" y="489"/>
                  </a:lnTo>
                  <a:lnTo>
                    <a:pt x="312" y="494"/>
                  </a:lnTo>
                  <a:lnTo>
                    <a:pt x="313" y="503"/>
                  </a:lnTo>
                  <a:lnTo>
                    <a:pt x="315" y="516"/>
                  </a:lnTo>
                  <a:lnTo>
                    <a:pt x="316" y="527"/>
                  </a:lnTo>
                  <a:lnTo>
                    <a:pt x="316" y="531"/>
                  </a:lnTo>
                  <a:lnTo>
                    <a:pt x="320" y="548"/>
                  </a:lnTo>
                  <a:lnTo>
                    <a:pt x="320" y="553"/>
                  </a:lnTo>
                  <a:lnTo>
                    <a:pt x="320" y="557"/>
                  </a:lnTo>
                  <a:lnTo>
                    <a:pt x="321" y="561"/>
                  </a:lnTo>
                  <a:lnTo>
                    <a:pt x="321" y="565"/>
                  </a:lnTo>
                  <a:lnTo>
                    <a:pt x="320" y="569"/>
                  </a:lnTo>
                  <a:lnTo>
                    <a:pt x="320" y="574"/>
                  </a:lnTo>
                  <a:lnTo>
                    <a:pt x="319" y="581"/>
                  </a:lnTo>
                  <a:lnTo>
                    <a:pt x="315" y="598"/>
                  </a:lnTo>
                  <a:lnTo>
                    <a:pt x="313" y="602"/>
                  </a:lnTo>
                  <a:lnTo>
                    <a:pt x="312" y="607"/>
                  </a:lnTo>
                  <a:lnTo>
                    <a:pt x="311" y="610"/>
                  </a:lnTo>
                  <a:lnTo>
                    <a:pt x="310" y="615"/>
                  </a:lnTo>
                  <a:lnTo>
                    <a:pt x="310" y="620"/>
                  </a:lnTo>
                  <a:lnTo>
                    <a:pt x="309" y="625"/>
                  </a:lnTo>
                  <a:lnTo>
                    <a:pt x="309" y="630"/>
                  </a:lnTo>
                  <a:lnTo>
                    <a:pt x="310" y="640"/>
                  </a:lnTo>
                  <a:lnTo>
                    <a:pt x="310" y="643"/>
                  </a:lnTo>
                  <a:lnTo>
                    <a:pt x="310" y="646"/>
                  </a:lnTo>
                  <a:lnTo>
                    <a:pt x="309" y="648"/>
                  </a:lnTo>
                  <a:lnTo>
                    <a:pt x="308" y="650"/>
                  </a:lnTo>
                  <a:lnTo>
                    <a:pt x="305" y="657"/>
                  </a:lnTo>
                  <a:lnTo>
                    <a:pt x="304" y="662"/>
                  </a:lnTo>
                  <a:lnTo>
                    <a:pt x="300" y="675"/>
                  </a:lnTo>
                  <a:lnTo>
                    <a:pt x="297" y="685"/>
                  </a:lnTo>
                  <a:lnTo>
                    <a:pt x="295" y="689"/>
                  </a:lnTo>
                  <a:lnTo>
                    <a:pt x="295" y="694"/>
                  </a:lnTo>
                  <a:lnTo>
                    <a:pt x="294" y="699"/>
                  </a:lnTo>
                  <a:lnTo>
                    <a:pt x="293" y="705"/>
                  </a:lnTo>
                  <a:lnTo>
                    <a:pt x="292" y="710"/>
                  </a:lnTo>
                  <a:lnTo>
                    <a:pt x="292" y="714"/>
                  </a:lnTo>
                  <a:lnTo>
                    <a:pt x="293" y="717"/>
                  </a:lnTo>
                  <a:lnTo>
                    <a:pt x="294" y="719"/>
                  </a:lnTo>
                  <a:lnTo>
                    <a:pt x="295" y="722"/>
                  </a:lnTo>
                  <a:lnTo>
                    <a:pt x="295" y="724"/>
                  </a:lnTo>
                  <a:lnTo>
                    <a:pt x="297" y="726"/>
                  </a:lnTo>
                  <a:lnTo>
                    <a:pt x="301" y="732"/>
                  </a:lnTo>
                  <a:lnTo>
                    <a:pt x="303" y="735"/>
                  </a:lnTo>
                  <a:lnTo>
                    <a:pt x="304" y="737"/>
                  </a:lnTo>
                  <a:lnTo>
                    <a:pt x="305" y="739"/>
                  </a:lnTo>
                  <a:lnTo>
                    <a:pt x="305" y="742"/>
                  </a:lnTo>
                  <a:lnTo>
                    <a:pt x="306" y="744"/>
                  </a:lnTo>
                  <a:lnTo>
                    <a:pt x="305" y="746"/>
                  </a:lnTo>
                  <a:lnTo>
                    <a:pt x="305" y="748"/>
                  </a:lnTo>
                  <a:lnTo>
                    <a:pt x="304" y="750"/>
                  </a:lnTo>
                  <a:lnTo>
                    <a:pt x="302" y="753"/>
                  </a:lnTo>
                  <a:lnTo>
                    <a:pt x="301" y="755"/>
                  </a:lnTo>
                  <a:lnTo>
                    <a:pt x="298" y="757"/>
                  </a:lnTo>
                  <a:lnTo>
                    <a:pt x="296" y="759"/>
                  </a:lnTo>
                  <a:lnTo>
                    <a:pt x="293" y="760"/>
                  </a:lnTo>
                  <a:lnTo>
                    <a:pt x="291" y="761"/>
                  </a:lnTo>
                  <a:lnTo>
                    <a:pt x="288" y="761"/>
                  </a:lnTo>
                  <a:lnTo>
                    <a:pt x="285" y="761"/>
                  </a:lnTo>
                  <a:lnTo>
                    <a:pt x="281" y="761"/>
                  </a:lnTo>
                  <a:lnTo>
                    <a:pt x="277" y="760"/>
                  </a:lnTo>
                  <a:lnTo>
                    <a:pt x="272" y="759"/>
                  </a:lnTo>
                  <a:lnTo>
                    <a:pt x="267" y="758"/>
                  </a:lnTo>
                  <a:lnTo>
                    <a:pt x="253" y="754"/>
                  </a:lnTo>
                  <a:lnTo>
                    <a:pt x="243" y="751"/>
                  </a:lnTo>
                  <a:lnTo>
                    <a:pt x="240" y="750"/>
                  </a:lnTo>
                  <a:lnTo>
                    <a:pt x="241" y="750"/>
                  </a:lnTo>
                  <a:lnTo>
                    <a:pt x="241" y="749"/>
                  </a:lnTo>
                  <a:lnTo>
                    <a:pt x="242" y="749"/>
                  </a:lnTo>
                  <a:lnTo>
                    <a:pt x="242" y="748"/>
                  </a:lnTo>
                  <a:lnTo>
                    <a:pt x="243" y="746"/>
                  </a:lnTo>
                  <a:lnTo>
                    <a:pt x="243" y="743"/>
                  </a:lnTo>
                  <a:lnTo>
                    <a:pt x="241" y="739"/>
                  </a:lnTo>
                  <a:lnTo>
                    <a:pt x="239" y="730"/>
                  </a:lnTo>
                  <a:lnTo>
                    <a:pt x="238" y="725"/>
                  </a:lnTo>
                  <a:lnTo>
                    <a:pt x="237" y="719"/>
                  </a:lnTo>
                  <a:lnTo>
                    <a:pt x="235" y="709"/>
                  </a:lnTo>
                  <a:lnTo>
                    <a:pt x="235" y="707"/>
                  </a:lnTo>
                  <a:lnTo>
                    <a:pt x="235" y="704"/>
                  </a:lnTo>
                  <a:lnTo>
                    <a:pt x="234" y="701"/>
                  </a:lnTo>
                  <a:lnTo>
                    <a:pt x="232" y="697"/>
                  </a:lnTo>
                  <a:lnTo>
                    <a:pt x="225" y="684"/>
                  </a:lnTo>
                  <a:lnTo>
                    <a:pt x="224" y="679"/>
                  </a:lnTo>
                  <a:lnTo>
                    <a:pt x="223" y="677"/>
                  </a:lnTo>
                  <a:lnTo>
                    <a:pt x="222" y="674"/>
                  </a:lnTo>
                  <a:lnTo>
                    <a:pt x="220" y="666"/>
                  </a:lnTo>
                  <a:lnTo>
                    <a:pt x="220" y="662"/>
                  </a:lnTo>
                  <a:lnTo>
                    <a:pt x="218" y="658"/>
                  </a:lnTo>
                  <a:lnTo>
                    <a:pt x="218" y="656"/>
                  </a:lnTo>
                  <a:lnTo>
                    <a:pt x="217" y="654"/>
                  </a:lnTo>
                  <a:lnTo>
                    <a:pt x="215" y="652"/>
                  </a:lnTo>
                  <a:lnTo>
                    <a:pt x="213" y="650"/>
                  </a:lnTo>
                  <a:lnTo>
                    <a:pt x="212" y="649"/>
                  </a:lnTo>
                  <a:lnTo>
                    <a:pt x="210" y="648"/>
                  </a:lnTo>
                  <a:lnTo>
                    <a:pt x="208" y="647"/>
                  </a:lnTo>
                  <a:lnTo>
                    <a:pt x="206" y="647"/>
                  </a:lnTo>
                  <a:lnTo>
                    <a:pt x="195" y="644"/>
                  </a:lnTo>
                  <a:lnTo>
                    <a:pt x="192" y="643"/>
                  </a:lnTo>
                  <a:lnTo>
                    <a:pt x="188" y="642"/>
                  </a:lnTo>
                  <a:lnTo>
                    <a:pt x="183" y="639"/>
                  </a:lnTo>
                  <a:lnTo>
                    <a:pt x="180" y="638"/>
                  </a:lnTo>
                  <a:lnTo>
                    <a:pt x="176" y="636"/>
                  </a:lnTo>
                  <a:lnTo>
                    <a:pt x="173" y="634"/>
                  </a:lnTo>
                  <a:lnTo>
                    <a:pt x="170" y="632"/>
                  </a:lnTo>
                  <a:lnTo>
                    <a:pt x="168" y="630"/>
                  </a:lnTo>
                  <a:lnTo>
                    <a:pt x="165" y="628"/>
                  </a:lnTo>
                  <a:lnTo>
                    <a:pt x="163" y="626"/>
                  </a:lnTo>
                  <a:lnTo>
                    <a:pt x="160" y="623"/>
                  </a:lnTo>
                  <a:lnTo>
                    <a:pt x="158" y="620"/>
                  </a:lnTo>
                  <a:lnTo>
                    <a:pt x="156" y="617"/>
                  </a:lnTo>
                  <a:lnTo>
                    <a:pt x="154" y="615"/>
                  </a:lnTo>
                  <a:lnTo>
                    <a:pt x="152" y="611"/>
                  </a:lnTo>
                  <a:lnTo>
                    <a:pt x="150" y="608"/>
                  </a:lnTo>
                  <a:lnTo>
                    <a:pt x="149" y="605"/>
                  </a:lnTo>
                  <a:lnTo>
                    <a:pt x="148" y="603"/>
                  </a:lnTo>
                  <a:lnTo>
                    <a:pt x="147" y="599"/>
                  </a:lnTo>
                  <a:lnTo>
                    <a:pt x="145" y="590"/>
                  </a:lnTo>
                  <a:lnTo>
                    <a:pt x="145" y="585"/>
                  </a:lnTo>
                  <a:lnTo>
                    <a:pt x="143" y="582"/>
                  </a:lnTo>
                  <a:lnTo>
                    <a:pt x="139" y="575"/>
                  </a:lnTo>
                  <a:lnTo>
                    <a:pt x="138" y="570"/>
                  </a:lnTo>
                  <a:lnTo>
                    <a:pt x="135" y="563"/>
                  </a:lnTo>
                  <a:lnTo>
                    <a:pt x="134" y="557"/>
                  </a:lnTo>
                  <a:lnTo>
                    <a:pt x="133" y="555"/>
                  </a:lnTo>
                  <a:lnTo>
                    <a:pt x="133" y="552"/>
                  </a:lnTo>
                  <a:lnTo>
                    <a:pt x="132" y="550"/>
                  </a:lnTo>
                  <a:lnTo>
                    <a:pt x="131" y="550"/>
                  </a:lnTo>
                  <a:lnTo>
                    <a:pt x="130" y="549"/>
                  </a:lnTo>
                  <a:lnTo>
                    <a:pt x="128" y="547"/>
                  </a:lnTo>
                  <a:lnTo>
                    <a:pt x="126" y="546"/>
                  </a:lnTo>
                  <a:lnTo>
                    <a:pt x="118" y="542"/>
                  </a:lnTo>
                  <a:lnTo>
                    <a:pt x="116" y="541"/>
                  </a:lnTo>
                  <a:lnTo>
                    <a:pt x="115" y="540"/>
                  </a:lnTo>
                  <a:lnTo>
                    <a:pt x="113" y="539"/>
                  </a:lnTo>
                  <a:lnTo>
                    <a:pt x="113" y="537"/>
                  </a:lnTo>
                  <a:lnTo>
                    <a:pt x="112" y="536"/>
                  </a:lnTo>
                  <a:lnTo>
                    <a:pt x="111" y="535"/>
                  </a:lnTo>
                  <a:lnTo>
                    <a:pt x="110" y="532"/>
                  </a:lnTo>
                  <a:lnTo>
                    <a:pt x="111" y="530"/>
                  </a:lnTo>
                  <a:lnTo>
                    <a:pt x="112" y="527"/>
                  </a:lnTo>
                  <a:lnTo>
                    <a:pt x="113" y="525"/>
                  </a:lnTo>
                  <a:lnTo>
                    <a:pt x="114" y="522"/>
                  </a:lnTo>
                  <a:lnTo>
                    <a:pt x="115" y="521"/>
                  </a:lnTo>
                  <a:lnTo>
                    <a:pt x="118" y="519"/>
                  </a:lnTo>
                  <a:lnTo>
                    <a:pt x="123" y="515"/>
                  </a:lnTo>
                  <a:lnTo>
                    <a:pt x="124" y="514"/>
                  </a:lnTo>
                  <a:lnTo>
                    <a:pt x="125" y="513"/>
                  </a:lnTo>
                  <a:lnTo>
                    <a:pt x="125" y="511"/>
                  </a:lnTo>
                  <a:lnTo>
                    <a:pt x="126" y="509"/>
                  </a:lnTo>
                  <a:lnTo>
                    <a:pt x="126" y="507"/>
                  </a:lnTo>
                  <a:lnTo>
                    <a:pt x="126" y="506"/>
                  </a:lnTo>
                  <a:lnTo>
                    <a:pt x="126" y="505"/>
                  </a:lnTo>
                  <a:lnTo>
                    <a:pt x="125" y="505"/>
                  </a:lnTo>
                  <a:lnTo>
                    <a:pt x="125" y="504"/>
                  </a:lnTo>
                  <a:lnTo>
                    <a:pt x="123" y="503"/>
                  </a:lnTo>
                  <a:lnTo>
                    <a:pt x="122" y="503"/>
                  </a:lnTo>
                  <a:lnTo>
                    <a:pt x="120" y="503"/>
                  </a:lnTo>
                  <a:lnTo>
                    <a:pt x="118" y="503"/>
                  </a:lnTo>
                  <a:lnTo>
                    <a:pt x="110" y="505"/>
                  </a:lnTo>
                  <a:lnTo>
                    <a:pt x="107" y="505"/>
                  </a:lnTo>
                  <a:lnTo>
                    <a:pt x="104" y="505"/>
                  </a:lnTo>
                  <a:lnTo>
                    <a:pt x="103" y="504"/>
                  </a:lnTo>
                  <a:lnTo>
                    <a:pt x="101" y="503"/>
                  </a:lnTo>
                  <a:lnTo>
                    <a:pt x="99" y="502"/>
                  </a:lnTo>
                  <a:lnTo>
                    <a:pt x="97" y="502"/>
                  </a:lnTo>
                  <a:lnTo>
                    <a:pt x="95" y="500"/>
                  </a:lnTo>
                  <a:lnTo>
                    <a:pt x="93" y="499"/>
                  </a:lnTo>
                  <a:lnTo>
                    <a:pt x="90" y="497"/>
                  </a:lnTo>
                  <a:lnTo>
                    <a:pt x="88" y="495"/>
                  </a:lnTo>
                  <a:lnTo>
                    <a:pt x="86" y="492"/>
                  </a:lnTo>
                  <a:lnTo>
                    <a:pt x="85" y="490"/>
                  </a:lnTo>
                  <a:lnTo>
                    <a:pt x="83" y="487"/>
                  </a:lnTo>
                  <a:lnTo>
                    <a:pt x="82" y="485"/>
                  </a:lnTo>
                  <a:lnTo>
                    <a:pt x="81" y="482"/>
                  </a:lnTo>
                  <a:lnTo>
                    <a:pt x="80" y="480"/>
                  </a:lnTo>
                  <a:lnTo>
                    <a:pt x="81" y="477"/>
                  </a:lnTo>
                  <a:lnTo>
                    <a:pt x="81" y="475"/>
                  </a:lnTo>
                  <a:lnTo>
                    <a:pt x="83" y="461"/>
                  </a:lnTo>
                  <a:lnTo>
                    <a:pt x="84" y="455"/>
                  </a:lnTo>
                  <a:lnTo>
                    <a:pt x="84" y="453"/>
                  </a:lnTo>
                  <a:lnTo>
                    <a:pt x="84" y="452"/>
                  </a:lnTo>
                  <a:lnTo>
                    <a:pt x="83" y="450"/>
                  </a:lnTo>
                  <a:lnTo>
                    <a:pt x="83" y="449"/>
                  </a:lnTo>
                  <a:lnTo>
                    <a:pt x="82" y="447"/>
                  </a:lnTo>
                  <a:lnTo>
                    <a:pt x="80" y="445"/>
                  </a:lnTo>
                  <a:lnTo>
                    <a:pt x="78" y="444"/>
                  </a:lnTo>
                  <a:lnTo>
                    <a:pt x="73" y="440"/>
                  </a:lnTo>
                  <a:lnTo>
                    <a:pt x="72" y="440"/>
                  </a:lnTo>
                  <a:lnTo>
                    <a:pt x="70" y="438"/>
                  </a:lnTo>
                  <a:lnTo>
                    <a:pt x="67" y="434"/>
                  </a:lnTo>
                  <a:lnTo>
                    <a:pt x="65" y="432"/>
                  </a:lnTo>
                  <a:lnTo>
                    <a:pt x="64" y="432"/>
                  </a:lnTo>
                  <a:lnTo>
                    <a:pt x="63" y="431"/>
                  </a:lnTo>
                  <a:lnTo>
                    <a:pt x="55" y="429"/>
                  </a:lnTo>
                  <a:lnTo>
                    <a:pt x="53" y="427"/>
                  </a:lnTo>
                  <a:lnTo>
                    <a:pt x="50" y="426"/>
                  </a:lnTo>
                  <a:lnTo>
                    <a:pt x="48" y="425"/>
                  </a:lnTo>
                  <a:lnTo>
                    <a:pt x="48" y="424"/>
                  </a:lnTo>
                  <a:lnTo>
                    <a:pt x="47" y="422"/>
                  </a:lnTo>
                  <a:lnTo>
                    <a:pt x="46" y="421"/>
                  </a:lnTo>
                  <a:lnTo>
                    <a:pt x="45" y="419"/>
                  </a:lnTo>
                  <a:lnTo>
                    <a:pt x="43" y="411"/>
                  </a:lnTo>
                  <a:lnTo>
                    <a:pt x="43" y="409"/>
                  </a:lnTo>
                  <a:lnTo>
                    <a:pt x="41" y="407"/>
                  </a:lnTo>
                  <a:lnTo>
                    <a:pt x="40" y="404"/>
                  </a:lnTo>
                  <a:lnTo>
                    <a:pt x="38" y="401"/>
                  </a:lnTo>
                  <a:lnTo>
                    <a:pt x="36" y="399"/>
                  </a:lnTo>
                  <a:lnTo>
                    <a:pt x="33" y="395"/>
                  </a:lnTo>
                  <a:lnTo>
                    <a:pt x="33" y="395"/>
                  </a:lnTo>
                  <a:lnTo>
                    <a:pt x="32" y="394"/>
                  </a:lnTo>
                  <a:lnTo>
                    <a:pt x="32" y="392"/>
                  </a:lnTo>
                  <a:lnTo>
                    <a:pt x="32" y="391"/>
                  </a:lnTo>
                  <a:lnTo>
                    <a:pt x="33" y="390"/>
                  </a:lnTo>
                  <a:lnTo>
                    <a:pt x="33" y="388"/>
                  </a:lnTo>
                  <a:lnTo>
                    <a:pt x="39" y="380"/>
                  </a:lnTo>
                  <a:lnTo>
                    <a:pt x="40" y="376"/>
                  </a:lnTo>
                  <a:lnTo>
                    <a:pt x="42" y="374"/>
                  </a:lnTo>
                  <a:lnTo>
                    <a:pt x="43" y="372"/>
                  </a:lnTo>
                  <a:lnTo>
                    <a:pt x="44" y="366"/>
                  </a:lnTo>
                  <a:lnTo>
                    <a:pt x="45" y="363"/>
                  </a:lnTo>
                  <a:lnTo>
                    <a:pt x="45" y="361"/>
                  </a:lnTo>
                  <a:lnTo>
                    <a:pt x="45" y="360"/>
                  </a:lnTo>
                  <a:lnTo>
                    <a:pt x="44" y="358"/>
                  </a:lnTo>
                  <a:lnTo>
                    <a:pt x="43" y="356"/>
                  </a:lnTo>
                  <a:lnTo>
                    <a:pt x="43" y="354"/>
                  </a:lnTo>
                  <a:lnTo>
                    <a:pt x="42" y="352"/>
                  </a:lnTo>
                  <a:lnTo>
                    <a:pt x="40" y="348"/>
                  </a:lnTo>
                  <a:lnTo>
                    <a:pt x="38" y="346"/>
                  </a:lnTo>
                  <a:lnTo>
                    <a:pt x="37" y="344"/>
                  </a:lnTo>
                  <a:lnTo>
                    <a:pt x="36" y="343"/>
                  </a:lnTo>
                  <a:lnTo>
                    <a:pt x="33" y="341"/>
                  </a:lnTo>
                  <a:lnTo>
                    <a:pt x="32" y="340"/>
                  </a:lnTo>
                  <a:lnTo>
                    <a:pt x="30" y="338"/>
                  </a:lnTo>
                  <a:lnTo>
                    <a:pt x="28" y="337"/>
                  </a:lnTo>
                  <a:lnTo>
                    <a:pt x="26" y="336"/>
                  </a:lnTo>
                  <a:lnTo>
                    <a:pt x="22" y="335"/>
                  </a:lnTo>
                  <a:lnTo>
                    <a:pt x="17" y="333"/>
                  </a:lnTo>
                  <a:lnTo>
                    <a:pt x="10" y="332"/>
                  </a:lnTo>
                  <a:lnTo>
                    <a:pt x="8" y="331"/>
                  </a:lnTo>
                  <a:lnTo>
                    <a:pt x="6" y="330"/>
                  </a:lnTo>
                  <a:lnTo>
                    <a:pt x="4" y="330"/>
                  </a:lnTo>
                  <a:lnTo>
                    <a:pt x="3" y="329"/>
                  </a:lnTo>
                  <a:lnTo>
                    <a:pt x="2" y="328"/>
                  </a:lnTo>
                  <a:lnTo>
                    <a:pt x="1" y="326"/>
                  </a:lnTo>
                  <a:lnTo>
                    <a:pt x="1" y="325"/>
                  </a:lnTo>
                  <a:lnTo>
                    <a:pt x="0" y="324"/>
                  </a:lnTo>
                  <a:lnTo>
                    <a:pt x="0" y="321"/>
                  </a:lnTo>
                  <a:lnTo>
                    <a:pt x="1" y="320"/>
                  </a:lnTo>
                  <a:lnTo>
                    <a:pt x="1" y="318"/>
                  </a:lnTo>
                  <a:lnTo>
                    <a:pt x="1" y="317"/>
                  </a:lnTo>
                  <a:lnTo>
                    <a:pt x="2" y="315"/>
                  </a:lnTo>
                  <a:lnTo>
                    <a:pt x="6" y="310"/>
                  </a:lnTo>
                  <a:lnTo>
                    <a:pt x="7" y="309"/>
                  </a:lnTo>
                  <a:lnTo>
                    <a:pt x="8" y="307"/>
                  </a:lnTo>
                  <a:lnTo>
                    <a:pt x="9" y="305"/>
                  </a:lnTo>
                  <a:lnTo>
                    <a:pt x="10" y="302"/>
                  </a:lnTo>
                  <a:lnTo>
                    <a:pt x="11" y="293"/>
                  </a:lnTo>
                  <a:lnTo>
                    <a:pt x="11" y="286"/>
                  </a:lnTo>
                  <a:lnTo>
                    <a:pt x="11" y="283"/>
                  </a:lnTo>
                  <a:lnTo>
                    <a:pt x="11" y="280"/>
                  </a:lnTo>
                  <a:lnTo>
                    <a:pt x="13" y="278"/>
                  </a:lnTo>
                  <a:lnTo>
                    <a:pt x="14" y="275"/>
                  </a:lnTo>
                  <a:lnTo>
                    <a:pt x="16" y="273"/>
                  </a:lnTo>
                  <a:lnTo>
                    <a:pt x="17" y="271"/>
                  </a:lnTo>
                  <a:lnTo>
                    <a:pt x="19" y="270"/>
                  </a:lnTo>
                  <a:lnTo>
                    <a:pt x="21" y="270"/>
                  </a:lnTo>
                  <a:lnTo>
                    <a:pt x="23" y="269"/>
                  </a:lnTo>
                  <a:lnTo>
                    <a:pt x="24" y="269"/>
                  </a:lnTo>
                  <a:lnTo>
                    <a:pt x="31" y="269"/>
                  </a:lnTo>
                  <a:lnTo>
                    <a:pt x="32" y="269"/>
                  </a:lnTo>
                  <a:lnTo>
                    <a:pt x="33" y="268"/>
                  </a:lnTo>
                  <a:lnTo>
                    <a:pt x="35" y="268"/>
                  </a:lnTo>
                  <a:lnTo>
                    <a:pt x="36" y="267"/>
                  </a:lnTo>
                  <a:lnTo>
                    <a:pt x="38" y="265"/>
                  </a:lnTo>
                  <a:lnTo>
                    <a:pt x="38" y="264"/>
                  </a:lnTo>
                  <a:lnTo>
                    <a:pt x="40" y="261"/>
                  </a:lnTo>
                  <a:lnTo>
                    <a:pt x="41" y="258"/>
                  </a:lnTo>
                  <a:lnTo>
                    <a:pt x="43" y="254"/>
                  </a:lnTo>
                  <a:lnTo>
                    <a:pt x="43" y="250"/>
                  </a:lnTo>
                  <a:lnTo>
                    <a:pt x="44" y="246"/>
                  </a:lnTo>
                  <a:lnTo>
                    <a:pt x="45" y="241"/>
                  </a:lnTo>
                  <a:lnTo>
                    <a:pt x="45" y="237"/>
                  </a:lnTo>
                  <a:lnTo>
                    <a:pt x="45" y="230"/>
                  </a:lnTo>
                  <a:lnTo>
                    <a:pt x="45" y="228"/>
                  </a:lnTo>
                  <a:lnTo>
                    <a:pt x="46" y="228"/>
                  </a:lnTo>
                  <a:lnTo>
                    <a:pt x="47" y="228"/>
                  </a:lnTo>
                  <a:lnTo>
                    <a:pt x="52" y="227"/>
                  </a:lnTo>
                  <a:lnTo>
                    <a:pt x="54" y="227"/>
                  </a:lnTo>
                  <a:lnTo>
                    <a:pt x="56" y="227"/>
                  </a:lnTo>
                  <a:lnTo>
                    <a:pt x="58" y="227"/>
                  </a:lnTo>
                  <a:lnTo>
                    <a:pt x="61" y="228"/>
                  </a:lnTo>
                  <a:lnTo>
                    <a:pt x="64" y="228"/>
                  </a:lnTo>
                  <a:lnTo>
                    <a:pt x="67" y="229"/>
                  </a:lnTo>
                  <a:lnTo>
                    <a:pt x="69" y="230"/>
                  </a:lnTo>
                  <a:lnTo>
                    <a:pt x="72" y="233"/>
                  </a:lnTo>
                  <a:lnTo>
                    <a:pt x="74" y="234"/>
                  </a:lnTo>
                  <a:lnTo>
                    <a:pt x="77" y="236"/>
                  </a:lnTo>
                  <a:lnTo>
                    <a:pt x="79" y="238"/>
                  </a:lnTo>
                  <a:lnTo>
                    <a:pt x="82" y="243"/>
                  </a:lnTo>
                  <a:lnTo>
                    <a:pt x="88" y="250"/>
                  </a:lnTo>
                  <a:lnTo>
                    <a:pt x="90" y="253"/>
                  </a:lnTo>
                  <a:lnTo>
                    <a:pt x="92" y="255"/>
                  </a:lnTo>
                  <a:lnTo>
                    <a:pt x="93" y="257"/>
                  </a:lnTo>
                  <a:lnTo>
                    <a:pt x="95" y="258"/>
                  </a:lnTo>
                  <a:lnTo>
                    <a:pt x="97" y="259"/>
                  </a:lnTo>
                  <a:lnTo>
                    <a:pt x="98" y="260"/>
                  </a:lnTo>
                  <a:lnTo>
                    <a:pt x="101" y="260"/>
                  </a:lnTo>
                  <a:lnTo>
                    <a:pt x="103" y="260"/>
                  </a:lnTo>
                  <a:lnTo>
                    <a:pt x="105" y="260"/>
                  </a:lnTo>
                  <a:lnTo>
                    <a:pt x="108" y="260"/>
                  </a:lnTo>
                  <a:lnTo>
                    <a:pt x="110" y="260"/>
                  </a:lnTo>
                  <a:lnTo>
                    <a:pt x="113" y="260"/>
                  </a:lnTo>
                  <a:lnTo>
                    <a:pt x="119" y="258"/>
                  </a:lnTo>
                  <a:lnTo>
                    <a:pt x="123" y="257"/>
                  </a:lnTo>
                  <a:lnTo>
                    <a:pt x="125" y="257"/>
                  </a:lnTo>
                  <a:lnTo>
                    <a:pt x="128" y="257"/>
                  </a:lnTo>
                  <a:lnTo>
                    <a:pt x="130" y="257"/>
                  </a:lnTo>
                  <a:lnTo>
                    <a:pt x="132" y="257"/>
                  </a:lnTo>
                  <a:lnTo>
                    <a:pt x="134" y="258"/>
                  </a:lnTo>
                  <a:lnTo>
                    <a:pt x="137" y="258"/>
                  </a:lnTo>
                  <a:lnTo>
                    <a:pt x="139" y="259"/>
                  </a:lnTo>
                  <a:lnTo>
                    <a:pt x="140" y="260"/>
                  </a:lnTo>
                  <a:lnTo>
                    <a:pt x="143" y="261"/>
                  </a:lnTo>
                  <a:lnTo>
                    <a:pt x="145" y="263"/>
                  </a:lnTo>
                  <a:lnTo>
                    <a:pt x="153" y="268"/>
                  </a:lnTo>
                  <a:lnTo>
                    <a:pt x="155" y="269"/>
                  </a:lnTo>
                  <a:lnTo>
                    <a:pt x="156" y="270"/>
                  </a:lnTo>
                  <a:lnTo>
                    <a:pt x="158" y="270"/>
                  </a:lnTo>
                  <a:lnTo>
                    <a:pt x="160" y="270"/>
                  </a:lnTo>
                  <a:lnTo>
                    <a:pt x="161" y="270"/>
                  </a:lnTo>
                  <a:lnTo>
                    <a:pt x="162" y="269"/>
                  </a:lnTo>
                  <a:lnTo>
                    <a:pt x="163" y="268"/>
                  </a:lnTo>
                  <a:lnTo>
                    <a:pt x="163" y="268"/>
                  </a:lnTo>
                  <a:lnTo>
                    <a:pt x="163" y="267"/>
                  </a:lnTo>
                  <a:lnTo>
                    <a:pt x="163" y="265"/>
                  </a:lnTo>
                  <a:lnTo>
                    <a:pt x="163" y="264"/>
                  </a:lnTo>
                  <a:lnTo>
                    <a:pt x="162" y="263"/>
                  </a:lnTo>
                  <a:lnTo>
                    <a:pt x="160" y="261"/>
                  </a:lnTo>
                  <a:lnTo>
                    <a:pt x="160" y="260"/>
                  </a:lnTo>
                  <a:lnTo>
                    <a:pt x="153" y="255"/>
                  </a:lnTo>
                  <a:lnTo>
                    <a:pt x="146" y="248"/>
                  </a:lnTo>
                  <a:lnTo>
                    <a:pt x="143" y="245"/>
                  </a:lnTo>
                  <a:lnTo>
                    <a:pt x="139" y="240"/>
                  </a:lnTo>
                  <a:lnTo>
                    <a:pt x="136" y="236"/>
                  </a:lnTo>
                  <a:lnTo>
                    <a:pt x="135" y="234"/>
                  </a:lnTo>
                  <a:lnTo>
                    <a:pt x="134" y="232"/>
                  </a:lnTo>
                  <a:lnTo>
                    <a:pt x="133" y="230"/>
                  </a:lnTo>
                  <a:lnTo>
                    <a:pt x="132" y="226"/>
                  </a:lnTo>
                  <a:lnTo>
                    <a:pt x="131" y="224"/>
                  </a:lnTo>
                  <a:lnTo>
                    <a:pt x="131" y="223"/>
                  </a:lnTo>
                  <a:lnTo>
                    <a:pt x="130" y="220"/>
                  </a:lnTo>
                  <a:lnTo>
                    <a:pt x="131" y="217"/>
                  </a:lnTo>
                  <a:lnTo>
                    <a:pt x="132" y="214"/>
                  </a:lnTo>
                  <a:lnTo>
                    <a:pt x="133" y="212"/>
                  </a:lnTo>
                  <a:lnTo>
                    <a:pt x="135" y="209"/>
                  </a:lnTo>
                  <a:lnTo>
                    <a:pt x="137" y="205"/>
                  </a:lnTo>
                  <a:lnTo>
                    <a:pt x="145" y="197"/>
                  </a:lnTo>
                  <a:lnTo>
                    <a:pt x="147" y="195"/>
                  </a:lnTo>
                  <a:lnTo>
                    <a:pt x="148" y="193"/>
                  </a:lnTo>
                  <a:lnTo>
                    <a:pt x="148" y="190"/>
                  </a:lnTo>
                  <a:lnTo>
                    <a:pt x="148" y="188"/>
                  </a:lnTo>
                  <a:lnTo>
                    <a:pt x="148" y="186"/>
                  </a:lnTo>
                  <a:lnTo>
                    <a:pt x="148" y="183"/>
                  </a:lnTo>
                  <a:lnTo>
                    <a:pt x="147" y="182"/>
                  </a:lnTo>
                  <a:lnTo>
                    <a:pt x="146" y="180"/>
                  </a:lnTo>
                  <a:lnTo>
                    <a:pt x="145" y="179"/>
                  </a:lnTo>
                  <a:lnTo>
                    <a:pt x="143" y="178"/>
                  </a:lnTo>
                  <a:lnTo>
                    <a:pt x="140" y="175"/>
                  </a:lnTo>
                  <a:lnTo>
                    <a:pt x="135" y="172"/>
                  </a:lnTo>
                  <a:lnTo>
                    <a:pt x="133" y="171"/>
                  </a:lnTo>
                  <a:lnTo>
                    <a:pt x="128" y="168"/>
                  </a:lnTo>
                  <a:lnTo>
                    <a:pt x="125" y="166"/>
                  </a:lnTo>
                  <a:lnTo>
                    <a:pt x="124" y="165"/>
                  </a:lnTo>
                  <a:lnTo>
                    <a:pt x="122" y="163"/>
                  </a:lnTo>
                  <a:lnTo>
                    <a:pt x="120" y="161"/>
                  </a:lnTo>
                  <a:lnTo>
                    <a:pt x="119" y="159"/>
                  </a:lnTo>
                  <a:lnTo>
                    <a:pt x="116" y="155"/>
                  </a:lnTo>
                  <a:lnTo>
                    <a:pt x="114" y="150"/>
                  </a:lnTo>
                  <a:lnTo>
                    <a:pt x="112" y="145"/>
                  </a:lnTo>
                  <a:lnTo>
                    <a:pt x="110" y="142"/>
                  </a:lnTo>
                  <a:lnTo>
                    <a:pt x="108" y="133"/>
                  </a:lnTo>
                  <a:lnTo>
                    <a:pt x="108" y="129"/>
                  </a:lnTo>
                  <a:lnTo>
                    <a:pt x="108" y="127"/>
                  </a:lnTo>
                  <a:lnTo>
                    <a:pt x="108" y="126"/>
                  </a:lnTo>
                  <a:lnTo>
                    <a:pt x="108" y="124"/>
                  </a:lnTo>
                  <a:lnTo>
                    <a:pt x="108" y="123"/>
                  </a:lnTo>
                  <a:lnTo>
                    <a:pt x="108" y="121"/>
                  </a:lnTo>
                  <a:lnTo>
                    <a:pt x="109" y="120"/>
                  </a:lnTo>
                  <a:lnTo>
                    <a:pt x="110" y="118"/>
                  </a:lnTo>
                  <a:lnTo>
                    <a:pt x="112" y="118"/>
                  </a:lnTo>
                  <a:lnTo>
                    <a:pt x="113" y="117"/>
                  </a:lnTo>
                  <a:lnTo>
                    <a:pt x="115" y="117"/>
                  </a:lnTo>
                  <a:lnTo>
                    <a:pt x="116" y="116"/>
                  </a:lnTo>
                  <a:lnTo>
                    <a:pt x="118" y="116"/>
                  </a:lnTo>
                  <a:lnTo>
                    <a:pt x="120" y="116"/>
                  </a:lnTo>
                  <a:lnTo>
                    <a:pt x="122" y="117"/>
                  </a:lnTo>
                  <a:lnTo>
                    <a:pt x="124" y="118"/>
                  </a:lnTo>
                  <a:lnTo>
                    <a:pt x="130" y="120"/>
                  </a:lnTo>
                  <a:lnTo>
                    <a:pt x="135" y="121"/>
                  </a:lnTo>
                  <a:lnTo>
                    <a:pt x="139" y="123"/>
                  </a:lnTo>
                  <a:lnTo>
                    <a:pt x="143" y="123"/>
                  </a:lnTo>
                  <a:lnTo>
                    <a:pt x="148" y="124"/>
                  </a:lnTo>
                  <a:lnTo>
                    <a:pt x="151" y="124"/>
                  </a:lnTo>
                  <a:lnTo>
                    <a:pt x="155" y="124"/>
                  </a:lnTo>
                  <a:lnTo>
                    <a:pt x="158" y="123"/>
                  </a:lnTo>
                  <a:lnTo>
                    <a:pt x="173" y="120"/>
                  </a:lnTo>
                  <a:lnTo>
                    <a:pt x="177" y="118"/>
                  </a:lnTo>
                  <a:lnTo>
                    <a:pt x="181" y="117"/>
                  </a:lnTo>
                  <a:lnTo>
                    <a:pt x="188" y="113"/>
                  </a:lnTo>
                  <a:lnTo>
                    <a:pt x="191" y="112"/>
                  </a:lnTo>
                  <a:lnTo>
                    <a:pt x="199" y="107"/>
                  </a:lnTo>
                  <a:lnTo>
                    <a:pt x="206" y="103"/>
                  </a:lnTo>
                  <a:lnTo>
                    <a:pt x="208" y="101"/>
                  </a:lnTo>
                  <a:lnTo>
                    <a:pt x="210" y="100"/>
                  </a:lnTo>
                  <a:lnTo>
                    <a:pt x="211" y="98"/>
                  </a:lnTo>
                  <a:lnTo>
                    <a:pt x="212" y="97"/>
                  </a:lnTo>
                  <a:lnTo>
                    <a:pt x="213" y="95"/>
                  </a:lnTo>
                  <a:lnTo>
                    <a:pt x="213" y="92"/>
                  </a:lnTo>
                  <a:lnTo>
                    <a:pt x="215" y="81"/>
                  </a:lnTo>
                  <a:lnTo>
                    <a:pt x="216" y="76"/>
                  </a:lnTo>
                  <a:lnTo>
                    <a:pt x="217" y="73"/>
                  </a:lnTo>
                  <a:lnTo>
                    <a:pt x="219" y="67"/>
                  </a:lnTo>
                  <a:lnTo>
                    <a:pt x="220" y="64"/>
                  </a:lnTo>
                  <a:lnTo>
                    <a:pt x="225" y="56"/>
                  </a:lnTo>
                  <a:lnTo>
                    <a:pt x="226" y="52"/>
                  </a:lnTo>
                  <a:lnTo>
                    <a:pt x="228" y="48"/>
                  </a:lnTo>
                  <a:lnTo>
                    <a:pt x="228" y="46"/>
                  </a:lnTo>
                  <a:lnTo>
                    <a:pt x="228" y="45"/>
                  </a:lnTo>
                  <a:lnTo>
                    <a:pt x="228" y="43"/>
                  </a:lnTo>
                  <a:lnTo>
                    <a:pt x="228" y="42"/>
                  </a:lnTo>
                  <a:lnTo>
                    <a:pt x="228" y="41"/>
                  </a:lnTo>
                  <a:lnTo>
                    <a:pt x="227" y="39"/>
                  </a:lnTo>
                  <a:lnTo>
                    <a:pt x="225" y="38"/>
                  </a:lnTo>
                  <a:lnTo>
                    <a:pt x="223" y="34"/>
                  </a:lnTo>
                  <a:lnTo>
                    <a:pt x="218" y="28"/>
                  </a:lnTo>
                  <a:lnTo>
                    <a:pt x="216" y="26"/>
                  </a:lnTo>
                  <a:lnTo>
                    <a:pt x="215" y="24"/>
                  </a:lnTo>
                  <a:lnTo>
                    <a:pt x="214" y="21"/>
                  </a:lnTo>
                  <a:lnTo>
                    <a:pt x="213" y="19"/>
                  </a:lnTo>
                  <a:lnTo>
                    <a:pt x="213" y="18"/>
                  </a:lnTo>
                  <a:lnTo>
                    <a:pt x="213" y="16"/>
                  </a:lnTo>
                  <a:lnTo>
                    <a:pt x="214" y="15"/>
                  </a:lnTo>
                  <a:lnTo>
                    <a:pt x="215" y="14"/>
                  </a:lnTo>
                  <a:lnTo>
                    <a:pt x="217" y="13"/>
                  </a:lnTo>
                  <a:lnTo>
                    <a:pt x="220" y="11"/>
                  </a:lnTo>
                  <a:lnTo>
                    <a:pt x="223" y="9"/>
                  </a:lnTo>
                  <a:lnTo>
                    <a:pt x="226" y="8"/>
                  </a:lnTo>
                  <a:lnTo>
                    <a:pt x="231" y="6"/>
                  </a:lnTo>
                  <a:lnTo>
                    <a:pt x="244" y="4"/>
                  </a:lnTo>
                  <a:lnTo>
                    <a:pt x="247" y="3"/>
                  </a:lnTo>
                  <a:lnTo>
                    <a:pt x="250" y="2"/>
                  </a:lnTo>
                  <a:lnTo>
                    <a:pt x="251" y="1"/>
                  </a:lnTo>
                  <a:lnTo>
                    <a:pt x="253" y="1"/>
                  </a:lnTo>
                  <a:lnTo>
                    <a:pt x="256" y="1"/>
                  </a:lnTo>
                  <a:lnTo>
                    <a:pt x="258" y="1"/>
                  </a:lnTo>
                  <a:lnTo>
                    <a:pt x="260" y="1"/>
                  </a:lnTo>
                  <a:lnTo>
                    <a:pt x="261" y="1"/>
                  </a:lnTo>
                  <a:lnTo>
                    <a:pt x="262" y="0"/>
                  </a:lnTo>
                  <a:lnTo>
                    <a:pt x="263" y="0"/>
                  </a:lnTo>
                  <a:close/>
                </a:path>
              </a:pathLst>
            </a:custGeom>
            <a:solidFill>
              <a:srgbClr val="E6AF00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100">
              <a:extLst>
                <a:ext uri="{FF2B5EF4-FFF2-40B4-BE49-F238E27FC236}">
                  <a16:creationId xmlns:a16="http://schemas.microsoft.com/office/drawing/2014/main" id="{20054272-8AC9-B8DA-B0A8-1B9D725A5E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1798" y="4524213"/>
              <a:ext cx="771525" cy="890588"/>
            </a:xfrm>
            <a:custGeom>
              <a:avLst/>
              <a:gdLst>
                <a:gd name="T0" fmla="*/ 124 w 486"/>
                <a:gd name="T1" fmla="*/ 32 h 561"/>
                <a:gd name="T2" fmla="*/ 141 w 486"/>
                <a:gd name="T3" fmla="*/ 45 h 561"/>
                <a:gd name="T4" fmla="*/ 177 w 486"/>
                <a:gd name="T5" fmla="*/ 42 h 561"/>
                <a:gd name="T6" fmla="*/ 246 w 486"/>
                <a:gd name="T7" fmla="*/ 40 h 561"/>
                <a:gd name="T8" fmla="*/ 264 w 486"/>
                <a:gd name="T9" fmla="*/ 18 h 561"/>
                <a:gd name="T10" fmla="*/ 291 w 486"/>
                <a:gd name="T11" fmla="*/ 0 h 561"/>
                <a:gd name="T12" fmla="*/ 319 w 486"/>
                <a:gd name="T13" fmla="*/ 6 h 561"/>
                <a:gd name="T14" fmla="*/ 346 w 486"/>
                <a:gd name="T15" fmla="*/ 27 h 561"/>
                <a:gd name="T16" fmla="*/ 362 w 486"/>
                <a:gd name="T17" fmla="*/ 47 h 561"/>
                <a:gd name="T18" fmla="*/ 395 w 486"/>
                <a:gd name="T19" fmla="*/ 47 h 561"/>
                <a:gd name="T20" fmla="*/ 428 w 486"/>
                <a:gd name="T21" fmla="*/ 35 h 561"/>
                <a:gd name="T22" fmla="*/ 431 w 486"/>
                <a:gd name="T23" fmla="*/ 17 h 561"/>
                <a:gd name="T24" fmla="*/ 459 w 486"/>
                <a:gd name="T25" fmla="*/ 27 h 561"/>
                <a:gd name="T26" fmla="*/ 485 w 486"/>
                <a:gd name="T27" fmla="*/ 50 h 561"/>
                <a:gd name="T28" fmla="*/ 470 w 486"/>
                <a:gd name="T29" fmla="*/ 82 h 561"/>
                <a:gd name="T30" fmla="*/ 473 w 486"/>
                <a:gd name="T31" fmla="*/ 117 h 561"/>
                <a:gd name="T32" fmla="*/ 485 w 486"/>
                <a:gd name="T33" fmla="*/ 145 h 561"/>
                <a:gd name="T34" fmla="*/ 479 w 486"/>
                <a:gd name="T35" fmla="*/ 184 h 561"/>
                <a:gd name="T36" fmla="*/ 469 w 486"/>
                <a:gd name="T37" fmla="*/ 213 h 561"/>
                <a:gd name="T38" fmla="*/ 471 w 486"/>
                <a:gd name="T39" fmla="*/ 252 h 561"/>
                <a:gd name="T40" fmla="*/ 463 w 486"/>
                <a:gd name="T41" fmla="*/ 281 h 561"/>
                <a:gd name="T42" fmla="*/ 444 w 486"/>
                <a:gd name="T43" fmla="*/ 302 h 561"/>
                <a:gd name="T44" fmla="*/ 421 w 486"/>
                <a:gd name="T45" fmla="*/ 332 h 561"/>
                <a:gd name="T46" fmla="*/ 411 w 486"/>
                <a:gd name="T47" fmla="*/ 327 h 561"/>
                <a:gd name="T48" fmla="*/ 396 w 486"/>
                <a:gd name="T49" fmla="*/ 345 h 561"/>
                <a:gd name="T50" fmla="*/ 369 w 486"/>
                <a:gd name="T51" fmla="*/ 361 h 561"/>
                <a:gd name="T52" fmla="*/ 364 w 486"/>
                <a:gd name="T53" fmla="*/ 391 h 561"/>
                <a:gd name="T54" fmla="*/ 376 w 486"/>
                <a:gd name="T55" fmla="*/ 441 h 561"/>
                <a:gd name="T56" fmla="*/ 380 w 486"/>
                <a:gd name="T57" fmla="*/ 459 h 561"/>
                <a:gd name="T58" fmla="*/ 341 w 486"/>
                <a:gd name="T59" fmla="*/ 449 h 561"/>
                <a:gd name="T60" fmla="*/ 328 w 486"/>
                <a:gd name="T61" fmla="*/ 460 h 561"/>
                <a:gd name="T62" fmla="*/ 333 w 486"/>
                <a:gd name="T63" fmla="*/ 504 h 561"/>
                <a:gd name="T64" fmla="*/ 321 w 486"/>
                <a:gd name="T65" fmla="*/ 532 h 561"/>
                <a:gd name="T66" fmla="*/ 305 w 486"/>
                <a:gd name="T67" fmla="*/ 561 h 561"/>
                <a:gd name="T68" fmla="*/ 254 w 486"/>
                <a:gd name="T69" fmla="*/ 555 h 561"/>
                <a:gd name="T70" fmla="*/ 229 w 486"/>
                <a:gd name="T71" fmla="*/ 536 h 561"/>
                <a:gd name="T72" fmla="*/ 204 w 486"/>
                <a:gd name="T73" fmla="*/ 515 h 561"/>
                <a:gd name="T74" fmla="*/ 169 w 486"/>
                <a:gd name="T75" fmla="*/ 505 h 561"/>
                <a:gd name="T76" fmla="*/ 148 w 486"/>
                <a:gd name="T77" fmla="*/ 487 h 561"/>
                <a:gd name="T78" fmla="*/ 124 w 486"/>
                <a:gd name="T79" fmla="*/ 447 h 561"/>
                <a:gd name="T80" fmla="*/ 100 w 486"/>
                <a:gd name="T81" fmla="*/ 416 h 561"/>
                <a:gd name="T82" fmla="*/ 89 w 486"/>
                <a:gd name="T83" fmla="*/ 379 h 561"/>
                <a:gd name="T84" fmla="*/ 54 w 486"/>
                <a:gd name="T85" fmla="*/ 328 h 561"/>
                <a:gd name="T86" fmla="*/ 55 w 486"/>
                <a:gd name="T87" fmla="*/ 288 h 561"/>
                <a:gd name="T88" fmla="*/ 67 w 486"/>
                <a:gd name="T89" fmla="*/ 257 h 561"/>
                <a:gd name="T90" fmla="*/ 68 w 486"/>
                <a:gd name="T91" fmla="*/ 235 h 561"/>
                <a:gd name="T92" fmla="*/ 54 w 486"/>
                <a:gd name="T93" fmla="*/ 217 h 561"/>
                <a:gd name="T94" fmla="*/ 50 w 486"/>
                <a:gd name="T95" fmla="*/ 187 h 561"/>
                <a:gd name="T96" fmla="*/ 43 w 486"/>
                <a:gd name="T97" fmla="*/ 167 h 561"/>
                <a:gd name="T98" fmla="*/ 63 w 486"/>
                <a:gd name="T99" fmla="*/ 150 h 561"/>
                <a:gd name="T100" fmla="*/ 68 w 486"/>
                <a:gd name="T101" fmla="*/ 132 h 561"/>
                <a:gd name="T102" fmla="*/ 52 w 486"/>
                <a:gd name="T103" fmla="*/ 120 h 561"/>
                <a:gd name="T104" fmla="*/ 52 w 486"/>
                <a:gd name="T105" fmla="*/ 110 h 561"/>
                <a:gd name="T106" fmla="*/ 33 w 486"/>
                <a:gd name="T107" fmla="*/ 97 h 561"/>
                <a:gd name="T108" fmla="*/ 3 w 486"/>
                <a:gd name="T109" fmla="*/ 85 h 561"/>
                <a:gd name="T110" fmla="*/ 12 w 486"/>
                <a:gd name="T111" fmla="*/ 70 h 561"/>
                <a:gd name="T112" fmla="*/ 42 w 486"/>
                <a:gd name="T113" fmla="*/ 63 h 561"/>
                <a:gd name="T114" fmla="*/ 59 w 486"/>
                <a:gd name="T115" fmla="*/ 54 h 561"/>
                <a:gd name="T116" fmla="*/ 73 w 486"/>
                <a:gd name="T117" fmla="*/ 30 h 561"/>
                <a:gd name="T118" fmla="*/ 108 w 486"/>
                <a:gd name="T119" fmla="*/ 5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86" h="561">
                  <a:moveTo>
                    <a:pt x="120" y="1"/>
                  </a:moveTo>
                  <a:lnTo>
                    <a:pt x="120" y="2"/>
                  </a:lnTo>
                  <a:lnTo>
                    <a:pt x="122" y="2"/>
                  </a:lnTo>
                  <a:lnTo>
                    <a:pt x="122" y="4"/>
                  </a:lnTo>
                  <a:lnTo>
                    <a:pt x="122" y="5"/>
                  </a:lnTo>
                  <a:lnTo>
                    <a:pt x="123" y="9"/>
                  </a:lnTo>
                  <a:lnTo>
                    <a:pt x="123" y="21"/>
                  </a:lnTo>
                  <a:lnTo>
                    <a:pt x="124" y="27"/>
                  </a:lnTo>
                  <a:lnTo>
                    <a:pt x="124" y="30"/>
                  </a:lnTo>
                  <a:lnTo>
                    <a:pt x="124" y="32"/>
                  </a:lnTo>
                  <a:lnTo>
                    <a:pt x="125" y="35"/>
                  </a:lnTo>
                  <a:lnTo>
                    <a:pt x="126" y="37"/>
                  </a:lnTo>
                  <a:lnTo>
                    <a:pt x="127" y="38"/>
                  </a:lnTo>
                  <a:lnTo>
                    <a:pt x="128" y="40"/>
                  </a:lnTo>
                  <a:lnTo>
                    <a:pt x="129" y="41"/>
                  </a:lnTo>
                  <a:lnTo>
                    <a:pt x="132" y="42"/>
                  </a:lnTo>
                  <a:lnTo>
                    <a:pt x="134" y="44"/>
                  </a:lnTo>
                  <a:lnTo>
                    <a:pt x="136" y="45"/>
                  </a:lnTo>
                  <a:lnTo>
                    <a:pt x="138" y="45"/>
                  </a:lnTo>
                  <a:lnTo>
                    <a:pt x="141" y="45"/>
                  </a:lnTo>
                  <a:lnTo>
                    <a:pt x="144" y="46"/>
                  </a:lnTo>
                  <a:lnTo>
                    <a:pt x="148" y="45"/>
                  </a:lnTo>
                  <a:lnTo>
                    <a:pt x="150" y="45"/>
                  </a:lnTo>
                  <a:lnTo>
                    <a:pt x="154" y="44"/>
                  </a:lnTo>
                  <a:lnTo>
                    <a:pt x="157" y="43"/>
                  </a:lnTo>
                  <a:lnTo>
                    <a:pt x="159" y="44"/>
                  </a:lnTo>
                  <a:lnTo>
                    <a:pt x="164" y="45"/>
                  </a:lnTo>
                  <a:lnTo>
                    <a:pt x="168" y="45"/>
                  </a:lnTo>
                  <a:lnTo>
                    <a:pt x="171" y="45"/>
                  </a:lnTo>
                  <a:lnTo>
                    <a:pt x="177" y="42"/>
                  </a:lnTo>
                  <a:lnTo>
                    <a:pt x="180" y="42"/>
                  </a:lnTo>
                  <a:lnTo>
                    <a:pt x="185" y="42"/>
                  </a:lnTo>
                  <a:lnTo>
                    <a:pt x="195" y="42"/>
                  </a:lnTo>
                  <a:lnTo>
                    <a:pt x="199" y="42"/>
                  </a:lnTo>
                  <a:lnTo>
                    <a:pt x="212" y="42"/>
                  </a:lnTo>
                  <a:lnTo>
                    <a:pt x="222" y="41"/>
                  </a:lnTo>
                  <a:lnTo>
                    <a:pt x="232" y="40"/>
                  </a:lnTo>
                  <a:lnTo>
                    <a:pt x="236" y="40"/>
                  </a:lnTo>
                  <a:lnTo>
                    <a:pt x="240" y="40"/>
                  </a:lnTo>
                  <a:lnTo>
                    <a:pt x="246" y="40"/>
                  </a:lnTo>
                  <a:lnTo>
                    <a:pt x="247" y="40"/>
                  </a:lnTo>
                  <a:lnTo>
                    <a:pt x="249" y="40"/>
                  </a:lnTo>
                  <a:lnTo>
                    <a:pt x="250" y="39"/>
                  </a:lnTo>
                  <a:lnTo>
                    <a:pt x="251" y="37"/>
                  </a:lnTo>
                  <a:lnTo>
                    <a:pt x="253" y="36"/>
                  </a:lnTo>
                  <a:lnTo>
                    <a:pt x="254" y="35"/>
                  </a:lnTo>
                  <a:lnTo>
                    <a:pt x="256" y="30"/>
                  </a:lnTo>
                  <a:lnTo>
                    <a:pt x="260" y="26"/>
                  </a:lnTo>
                  <a:lnTo>
                    <a:pt x="262" y="22"/>
                  </a:lnTo>
                  <a:lnTo>
                    <a:pt x="264" y="18"/>
                  </a:lnTo>
                  <a:lnTo>
                    <a:pt x="267" y="12"/>
                  </a:lnTo>
                  <a:lnTo>
                    <a:pt x="269" y="10"/>
                  </a:lnTo>
                  <a:lnTo>
                    <a:pt x="270" y="8"/>
                  </a:lnTo>
                  <a:lnTo>
                    <a:pt x="272" y="6"/>
                  </a:lnTo>
                  <a:lnTo>
                    <a:pt x="274" y="5"/>
                  </a:lnTo>
                  <a:lnTo>
                    <a:pt x="276" y="4"/>
                  </a:lnTo>
                  <a:lnTo>
                    <a:pt x="277" y="4"/>
                  </a:lnTo>
                  <a:lnTo>
                    <a:pt x="279" y="3"/>
                  </a:lnTo>
                  <a:lnTo>
                    <a:pt x="287" y="1"/>
                  </a:lnTo>
                  <a:lnTo>
                    <a:pt x="291" y="0"/>
                  </a:lnTo>
                  <a:lnTo>
                    <a:pt x="294" y="0"/>
                  </a:lnTo>
                  <a:lnTo>
                    <a:pt x="299" y="0"/>
                  </a:lnTo>
                  <a:lnTo>
                    <a:pt x="301" y="0"/>
                  </a:lnTo>
                  <a:lnTo>
                    <a:pt x="303" y="0"/>
                  </a:lnTo>
                  <a:lnTo>
                    <a:pt x="306" y="0"/>
                  </a:lnTo>
                  <a:lnTo>
                    <a:pt x="309" y="1"/>
                  </a:lnTo>
                  <a:lnTo>
                    <a:pt x="311" y="2"/>
                  </a:lnTo>
                  <a:lnTo>
                    <a:pt x="314" y="4"/>
                  </a:lnTo>
                  <a:lnTo>
                    <a:pt x="316" y="5"/>
                  </a:lnTo>
                  <a:lnTo>
                    <a:pt x="319" y="6"/>
                  </a:lnTo>
                  <a:lnTo>
                    <a:pt x="321" y="7"/>
                  </a:lnTo>
                  <a:lnTo>
                    <a:pt x="322" y="10"/>
                  </a:lnTo>
                  <a:lnTo>
                    <a:pt x="324" y="12"/>
                  </a:lnTo>
                  <a:lnTo>
                    <a:pt x="328" y="17"/>
                  </a:lnTo>
                  <a:lnTo>
                    <a:pt x="329" y="19"/>
                  </a:lnTo>
                  <a:lnTo>
                    <a:pt x="331" y="20"/>
                  </a:lnTo>
                  <a:lnTo>
                    <a:pt x="333" y="22"/>
                  </a:lnTo>
                  <a:lnTo>
                    <a:pt x="335" y="22"/>
                  </a:lnTo>
                  <a:lnTo>
                    <a:pt x="341" y="25"/>
                  </a:lnTo>
                  <a:lnTo>
                    <a:pt x="346" y="27"/>
                  </a:lnTo>
                  <a:lnTo>
                    <a:pt x="349" y="29"/>
                  </a:lnTo>
                  <a:lnTo>
                    <a:pt x="351" y="30"/>
                  </a:lnTo>
                  <a:lnTo>
                    <a:pt x="353" y="32"/>
                  </a:lnTo>
                  <a:lnTo>
                    <a:pt x="356" y="35"/>
                  </a:lnTo>
                  <a:lnTo>
                    <a:pt x="357" y="37"/>
                  </a:lnTo>
                  <a:lnTo>
                    <a:pt x="358" y="37"/>
                  </a:lnTo>
                  <a:lnTo>
                    <a:pt x="359" y="40"/>
                  </a:lnTo>
                  <a:lnTo>
                    <a:pt x="361" y="45"/>
                  </a:lnTo>
                  <a:lnTo>
                    <a:pt x="361" y="46"/>
                  </a:lnTo>
                  <a:lnTo>
                    <a:pt x="362" y="47"/>
                  </a:lnTo>
                  <a:lnTo>
                    <a:pt x="364" y="47"/>
                  </a:lnTo>
                  <a:lnTo>
                    <a:pt x="364" y="48"/>
                  </a:lnTo>
                  <a:lnTo>
                    <a:pt x="366" y="49"/>
                  </a:lnTo>
                  <a:lnTo>
                    <a:pt x="380" y="51"/>
                  </a:lnTo>
                  <a:lnTo>
                    <a:pt x="382" y="51"/>
                  </a:lnTo>
                  <a:lnTo>
                    <a:pt x="384" y="50"/>
                  </a:lnTo>
                  <a:lnTo>
                    <a:pt x="391" y="49"/>
                  </a:lnTo>
                  <a:lnTo>
                    <a:pt x="391" y="48"/>
                  </a:lnTo>
                  <a:lnTo>
                    <a:pt x="393" y="48"/>
                  </a:lnTo>
                  <a:lnTo>
                    <a:pt x="395" y="47"/>
                  </a:lnTo>
                  <a:lnTo>
                    <a:pt x="404" y="40"/>
                  </a:lnTo>
                  <a:lnTo>
                    <a:pt x="406" y="39"/>
                  </a:lnTo>
                  <a:lnTo>
                    <a:pt x="409" y="37"/>
                  </a:lnTo>
                  <a:lnTo>
                    <a:pt x="412" y="36"/>
                  </a:lnTo>
                  <a:lnTo>
                    <a:pt x="415" y="35"/>
                  </a:lnTo>
                  <a:lnTo>
                    <a:pt x="418" y="35"/>
                  </a:lnTo>
                  <a:lnTo>
                    <a:pt x="421" y="35"/>
                  </a:lnTo>
                  <a:lnTo>
                    <a:pt x="426" y="35"/>
                  </a:lnTo>
                  <a:lnTo>
                    <a:pt x="427" y="35"/>
                  </a:lnTo>
                  <a:lnTo>
                    <a:pt x="428" y="35"/>
                  </a:lnTo>
                  <a:lnTo>
                    <a:pt x="429" y="35"/>
                  </a:lnTo>
                  <a:lnTo>
                    <a:pt x="429" y="34"/>
                  </a:lnTo>
                  <a:lnTo>
                    <a:pt x="429" y="33"/>
                  </a:lnTo>
                  <a:lnTo>
                    <a:pt x="429" y="32"/>
                  </a:lnTo>
                  <a:lnTo>
                    <a:pt x="429" y="29"/>
                  </a:lnTo>
                  <a:lnTo>
                    <a:pt x="429" y="22"/>
                  </a:lnTo>
                  <a:lnTo>
                    <a:pt x="429" y="20"/>
                  </a:lnTo>
                  <a:lnTo>
                    <a:pt x="430" y="20"/>
                  </a:lnTo>
                  <a:lnTo>
                    <a:pt x="431" y="18"/>
                  </a:lnTo>
                  <a:lnTo>
                    <a:pt x="431" y="17"/>
                  </a:lnTo>
                  <a:lnTo>
                    <a:pt x="433" y="17"/>
                  </a:lnTo>
                  <a:lnTo>
                    <a:pt x="434" y="16"/>
                  </a:lnTo>
                  <a:lnTo>
                    <a:pt x="435" y="16"/>
                  </a:lnTo>
                  <a:lnTo>
                    <a:pt x="436" y="17"/>
                  </a:lnTo>
                  <a:lnTo>
                    <a:pt x="439" y="17"/>
                  </a:lnTo>
                  <a:lnTo>
                    <a:pt x="441" y="19"/>
                  </a:lnTo>
                  <a:lnTo>
                    <a:pt x="446" y="22"/>
                  </a:lnTo>
                  <a:lnTo>
                    <a:pt x="449" y="24"/>
                  </a:lnTo>
                  <a:lnTo>
                    <a:pt x="456" y="27"/>
                  </a:lnTo>
                  <a:lnTo>
                    <a:pt x="459" y="27"/>
                  </a:lnTo>
                  <a:lnTo>
                    <a:pt x="461" y="29"/>
                  </a:lnTo>
                  <a:lnTo>
                    <a:pt x="463" y="30"/>
                  </a:lnTo>
                  <a:lnTo>
                    <a:pt x="466" y="33"/>
                  </a:lnTo>
                  <a:lnTo>
                    <a:pt x="473" y="37"/>
                  </a:lnTo>
                  <a:lnTo>
                    <a:pt x="480" y="44"/>
                  </a:lnTo>
                  <a:lnTo>
                    <a:pt x="484" y="47"/>
                  </a:lnTo>
                  <a:lnTo>
                    <a:pt x="484" y="47"/>
                  </a:lnTo>
                  <a:lnTo>
                    <a:pt x="485" y="48"/>
                  </a:lnTo>
                  <a:lnTo>
                    <a:pt x="485" y="49"/>
                  </a:lnTo>
                  <a:lnTo>
                    <a:pt x="485" y="50"/>
                  </a:lnTo>
                  <a:lnTo>
                    <a:pt x="484" y="53"/>
                  </a:lnTo>
                  <a:lnTo>
                    <a:pt x="483" y="55"/>
                  </a:lnTo>
                  <a:lnTo>
                    <a:pt x="482" y="59"/>
                  </a:lnTo>
                  <a:lnTo>
                    <a:pt x="478" y="65"/>
                  </a:lnTo>
                  <a:lnTo>
                    <a:pt x="476" y="70"/>
                  </a:lnTo>
                  <a:lnTo>
                    <a:pt x="473" y="74"/>
                  </a:lnTo>
                  <a:lnTo>
                    <a:pt x="471" y="76"/>
                  </a:lnTo>
                  <a:lnTo>
                    <a:pt x="471" y="78"/>
                  </a:lnTo>
                  <a:lnTo>
                    <a:pt x="470" y="80"/>
                  </a:lnTo>
                  <a:lnTo>
                    <a:pt x="470" y="82"/>
                  </a:lnTo>
                  <a:lnTo>
                    <a:pt x="469" y="85"/>
                  </a:lnTo>
                  <a:lnTo>
                    <a:pt x="470" y="86"/>
                  </a:lnTo>
                  <a:lnTo>
                    <a:pt x="470" y="88"/>
                  </a:lnTo>
                  <a:lnTo>
                    <a:pt x="471" y="95"/>
                  </a:lnTo>
                  <a:lnTo>
                    <a:pt x="472" y="97"/>
                  </a:lnTo>
                  <a:lnTo>
                    <a:pt x="472" y="102"/>
                  </a:lnTo>
                  <a:lnTo>
                    <a:pt x="471" y="109"/>
                  </a:lnTo>
                  <a:lnTo>
                    <a:pt x="472" y="113"/>
                  </a:lnTo>
                  <a:lnTo>
                    <a:pt x="473" y="116"/>
                  </a:lnTo>
                  <a:lnTo>
                    <a:pt x="473" y="117"/>
                  </a:lnTo>
                  <a:lnTo>
                    <a:pt x="474" y="120"/>
                  </a:lnTo>
                  <a:lnTo>
                    <a:pt x="476" y="123"/>
                  </a:lnTo>
                  <a:lnTo>
                    <a:pt x="478" y="125"/>
                  </a:lnTo>
                  <a:lnTo>
                    <a:pt x="482" y="131"/>
                  </a:lnTo>
                  <a:lnTo>
                    <a:pt x="483" y="133"/>
                  </a:lnTo>
                  <a:lnTo>
                    <a:pt x="485" y="136"/>
                  </a:lnTo>
                  <a:lnTo>
                    <a:pt x="486" y="138"/>
                  </a:lnTo>
                  <a:lnTo>
                    <a:pt x="486" y="140"/>
                  </a:lnTo>
                  <a:lnTo>
                    <a:pt x="486" y="142"/>
                  </a:lnTo>
                  <a:lnTo>
                    <a:pt x="485" y="145"/>
                  </a:lnTo>
                  <a:lnTo>
                    <a:pt x="484" y="149"/>
                  </a:lnTo>
                  <a:lnTo>
                    <a:pt x="483" y="151"/>
                  </a:lnTo>
                  <a:lnTo>
                    <a:pt x="483" y="154"/>
                  </a:lnTo>
                  <a:lnTo>
                    <a:pt x="483" y="161"/>
                  </a:lnTo>
                  <a:lnTo>
                    <a:pt x="483" y="165"/>
                  </a:lnTo>
                  <a:lnTo>
                    <a:pt x="483" y="167"/>
                  </a:lnTo>
                  <a:lnTo>
                    <a:pt x="481" y="173"/>
                  </a:lnTo>
                  <a:lnTo>
                    <a:pt x="481" y="177"/>
                  </a:lnTo>
                  <a:lnTo>
                    <a:pt x="480" y="179"/>
                  </a:lnTo>
                  <a:lnTo>
                    <a:pt x="479" y="184"/>
                  </a:lnTo>
                  <a:lnTo>
                    <a:pt x="479" y="192"/>
                  </a:lnTo>
                  <a:lnTo>
                    <a:pt x="479" y="196"/>
                  </a:lnTo>
                  <a:lnTo>
                    <a:pt x="478" y="200"/>
                  </a:lnTo>
                  <a:lnTo>
                    <a:pt x="478" y="202"/>
                  </a:lnTo>
                  <a:lnTo>
                    <a:pt x="476" y="205"/>
                  </a:lnTo>
                  <a:lnTo>
                    <a:pt x="475" y="207"/>
                  </a:lnTo>
                  <a:lnTo>
                    <a:pt x="474" y="209"/>
                  </a:lnTo>
                  <a:lnTo>
                    <a:pt x="473" y="210"/>
                  </a:lnTo>
                  <a:lnTo>
                    <a:pt x="471" y="212"/>
                  </a:lnTo>
                  <a:lnTo>
                    <a:pt x="469" y="213"/>
                  </a:lnTo>
                  <a:lnTo>
                    <a:pt x="462" y="217"/>
                  </a:lnTo>
                  <a:lnTo>
                    <a:pt x="461" y="218"/>
                  </a:lnTo>
                  <a:lnTo>
                    <a:pt x="461" y="219"/>
                  </a:lnTo>
                  <a:lnTo>
                    <a:pt x="461" y="220"/>
                  </a:lnTo>
                  <a:lnTo>
                    <a:pt x="461" y="222"/>
                  </a:lnTo>
                  <a:lnTo>
                    <a:pt x="461" y="224"/>
                  </a:lnTo>
                  <a:lnTo>
                    <a:pt x="466" y="235"/>
                  </a:lnTo>
                  <a:lnTo>
                    <a:pt x="467" y="239"/>
                  </a:lnTo>
                  <a:lnTo>
                    <a:pt x="470" y="247"/>
                  </a:lnTo>
                  <a:lnTo>
                    <a:pt x="471" y="252"/>
                  </a:lnTo>
                  <a:lnTo>
                    <a:pt x="471" y="257"/>
                  </a:lnTo>
                  <a:lnTo>
                    <a:pt x="471" y="261"/>
                  </a:lnTo>
                  <a:lnTo>
                    <a:pt x="471" y="266"/>
                  </a:lnTo>
                  <a:lnTo>
                    <a:pt x="471" y="270"/>
                  </a:lnTo>
                  <a:lnTo>
                    <a:pt x="470" y="272"/>
                  </a:lnTo>
                  <a:lnTo>
                    <a:pt x="469" y="275"/>
                  </a:lnTo>
                  <a:lnTo>
                    <a:pt x="467" y="278"/>
                  </a:lnTo>
                  <a:lnTo>
                    <a:pt x="465" y="279"/>
                  </a:lnTo>
                  <a:lnTo>
                    <a:pt x="464" y="280"/>
                  </a:lnTo>
                  <a:lnTo>
                    <a:pt x="463" y="281"/>
                  </a:lnTo>
                  <a:lnTo>
                    <a:pt x="458" y="282"/>
                  </a:lnTo>
                  <a:lnTo>
                    <a:pt x="455" y="284"/>
                  </a:lnTo>
                  <a:lnTo>
                    <a:pt x="453" y="285"/>
                  </a:lnTo>
                  <a:lnTo>
                    <a:pt x="451" y="286"/>
                  </a:lnTo>
                  <a:lnTo>
                    <a:pt x="450" y="287"/>
                  </a:lnTo>
                  <a:lnTo>
                    <a:pt x="449" y="288"/>
                  </a:lnTo>
                  <a:lnTo>
                    <a:pt x="447" y="290"/>
                  </a:lnTo>
                  <a:lnTo>
                    <a:pt x="446" y="293"/>
                  </a:lnTo>
                  <a:lnTo>
                    <a:pt x="445" y="297"/>
                  </a:lnTo>
                  <a:lnTo>
                    <a:pt x="444" y="302"/>
                  </a:lnTo>
                  <a:lnTo>
                    <a:pt x="444" y="304"/>
                  </a:lnTo>
                  <a:lnTo>
                    <a:pt x="443" y="307"/>
                  </a:lnTo>
                  <a:lnTo>
                    <a:pt x="441" y="309"/>
                  </a:lnTo>
                  <a:lnTo>
                    <a:pt x="438" y="314"/>
                  </a:lnTo>
                  <a:lnTo>
                    <a:pt x="432" y="321"/>
                  </a:lnTo>
                  <a:lnTo>
                    <a:pt x="429" y="325"/>
                  </a:lnTo>
                  <a:lnTo>
                    <a:pt x="426" y="328"/>
                  </a:lnTo>
                  <a:lnTo>
                    <a:pt x="424" y="330"/>
                  </a:lnTo>
                  <a:lnTo>
                    <a:pt x="421" y="331"/>
                  </a:lnTo>
                  <a:lnTo>
                    <a:pt x="421" y="332"/>
                  </a:lnTo>
                  <a:lnTo>
                    <a:pt x="420" y="332"/>
                  </a:lnTo>
                  <a:lnTo>
                    <a:pt x="419" y="332"/>
                  </a:lnTo>
                  <a:lnTo>
                    <a:pt x="419" y="330"/>
                  </a:lnTo>
                  <a:lnTo>
                    <a:pt x="417" y="330"/>
                  </a:lnTo>
                  <a:lnTo>
                    <a:pt x="417" y="331"/>
                  </a:lnTo>
                  <a:lnTo>
                    <a:pt x="414" y="330"/>
                  </a:lnTo>
                  <a:lnTo>
                    <a:pt x="412" y="329"/>
                  </a:lnTo>
                  <a:lnTo>
                    <a:pt x="411" y="329"/>
                  </a:lnTo>
                  <a:lnTo>
                    <a:pt x="411" y="328"/>
                  </a:lnTo>
                  <a:lnTo>
                    <a:pt x="411" y="327"/>
                  </a:lnTo>
                  <a:lnTo>
                    <a:pt x="411" y="327"/>
                  </a:lnTo>
                  <a:lnTo>
                    <a:pt x="410" y="327"/>
                  </a:lnTo>
                  <a:lnTo>
                    <a:pt x="409" y="327"/>
                  </a:lnTo>
                  <a:lnTo>
                    <a:pt x="409" y="327"/>
                  </a:lnTo>
                  <a:lnTo>
                    <a:pt x="408" y="327"/>
                  </a:lnTo>
                  <a:lnTo>
                    <a:pt x="406" y="329"/>
                  </a:lnTo>
                  <a:lnTo>
                    <a:pt x="405" y="330"/>
                  </a:lnTo>
                  <a:lnTo>
                    <a:pt x="403" y="334"/>
                  </a:lnTo>
                  <a:lnTo>
                    <a:pt x="400" y="340"/>
                  </a:lnTo>
                  <a:lnTo>
                    <a:pt x="396" y="345"/>
                  </a:lnTo>
                  <a:lnTo>
                    <a:pt x="394" y="349"/>
                  </a:lnTo>
                  <a:lnTo>
                    <a:pt x="393" y="351"/>
                  </a:lnTo>
                  <a:lnTo>
                    <a:pt x="391" y="352"/>
                  </a:lnTo>
                  <a:lnTo>
                    <a:pt x="390" y="352"/>
                  </a:lnTo>
                  <a:lnTo>
                    <a:pt x="388" y="354"/>
                  </a:lnTo>
                  <a:lnTo>
                    <a:pt x="386" y="354"/>
                  </a:lnTo>
                  <a:lnTo>
                    <a:pt x="379" y="356"/>
                  </a:lnTo>
                  <a:lnTo>
                    <a:pt x="376" y="357"/>
                  </a:lnTo>
                  <a:lnTo>
                    <a:pt x="372" y="359"/>
                  </a:lnTo>
                  <a:lnTo>
                    <a:pt x="369" y="361"/>
                  </a:lnTo>
                  <a:lnTo>
                    <a:pt x="366" y="362"/>
                  </a:lnTo>
                  <a:lnTo>
                    <a:pt x="365" y="363"/>
                  </a:lnTo>
                  <a:lnTo>
                    <a:pt x="364" y="364"/>
                  </a:lnTo>
                  <a:lnTo>
                    <a:pt x="364" y="365"/>
                  </a:lnTo>
                  <a:lnTo>
                    <a:pt x="363" y="367"/>
                  </a:lnTo>
                  <a:lnTo>
                    <a:pt x="362" y="368"/>
                  </a:lnTo>
                  <a:lnTo>
                    <a:pt x="362" y="369"/>
                  </a:lnTo>
                  <a:lnTo>
                    <a:pt x="362" y="372"/>
                  </a:lnTo>
                  <a:lnTo>
                    <a:pt x="362" y="377"/>
                  </a:lnTo>
                  <a:lnTo>
                    <a:pt x="364" y="391"/>
                  </a:lnTo>
                  <a:lnTo>
                    <a:pt x="364" y="401"/>
                  </a:lnTo>
                  <a:lnTo>
                    <a:pt x="365" y="405"/>
                  </a:lnTo>
                  <a:lnTo>
                    <a:pt x="366" y="411"/>
                  </a:lnTo>
                  <a:lnTo>
                    <a:pt x="366" y="415"/>
                  </a:lnTo>
                  <a:lnTo>
                    <a:pt x="367" y="419"/>
                  </a:lnTo>
                  <a:lnTo>
                    <a:pt x="369" y="423"/>
                  </a:lnTo>
                  <a:lnTo>
                    <a:pt x="371" y="428"/>
                  </a:lnTo>
                  <a:lnTo>
                    <a:pt x="372" y="433"/>
                  </a:lnTo>
                  <a:lnTo>
                    <a:pt x="375" y="438"/>
                  </a:lnTo>
                  <a:lnTo>
                    <a:pt x="376" y="441"/>
                  </a:lnTo>
                  <a:lnTo>
                    <a:pt x="381" y="447"/>
                  </a:lnTo>
                  <a:lnTo>
                    <a:pt x="382" y="451"/>
                  </a:lnTo>
                  <a:lnTo>
                    <a:pt x="383" y="452"/>
                  </a:lnTo>
                  <a:lnTo>
                    <a:pt x="383" y="454"/>
                  </a:lnTo>
                  <a:lnTo>
                    <a:pt x="383" y="455"/>
                  </a:lnTo>
                  <a:lnTo>
                    <a:pt x="382" y="457"/>
                  </a:lnTo>
                  <a:lnTo>
                    <a:pt x="382" y="457"/>
                  </a:lnTo>
                  <a:lnTo>
                    <a:pt x="381" y="458"/>
                  </a:lnTo>
                  <a:lnTo>
                    <a:pt x="381" y="458"/>
                  </a:lnTo>
                  <a:lnTo>
                    <a:pt x="380" y="459"/>
                  </a:lnTo>
                  <a:lnTo>
                    <a:pt x="379" y="459"/>
                  </a:lnTo>
                  <a:lnTo>
                    <a:pt x="377" y="459"/>
                  </a:lnTo>
                  <a:lnTo>
                    <a:pt x="374" y="459"/>
                  </a:lnTo>
                  <a:lnTo>
                    <a:pt x="371" y="457"/>
                  </a:lnTo>
                  <a:lnTo>
                    <a:pt x="363" y="455"/>
                  </a:lnTo>
                  <a:lnTo>
                    <a:pt x="353" y="451"/>
                  </a:lnTo>
                  <a:lnTo>
                    <a:pt x="349" y="450"/>
                  </a:lnTo>
                  <a:lnTo>
                    <a:pt x="346" y="449"/>
                  </a:lnTo>
                  <a:lnTo>
                    <a:pt x="344" y="449"/>
                  </a:lnTo>
                  <a:lnTo>
                    <a:pt x="341" y="449"/>
                  </a:lnTo>
                  <a:lnTo>
                    <a:pt x="339" y="449"/>
                  </a:lnTo>
                  <a:lnTo>
                    <a:pt x="337" y="449"/>
                  </a:lnTo>
                  <a:lnTo>
                    <a:pt x="336" y="450"/>
                  </a:lnTo>
                  <a:lnTo>
                    <a:pt x="334" y="451"/>
                  </a:lnTo>
                  <a:lnTo>
                    <a:pt x="333" y="452"/>
                  </a:lnTo>
                  <a:lnTo>
                    <a:pt x="331" y="453"/>
                  </a:lnTo>
                  <a:lnTo>
                    <a:pt x="331" y="454"/>
                  </a:lnTo>
                  <a:lnTo>
                    <a:pt x="329" y="456"/>
                  </a:lnTo>
                  <a:lnTo>
                    <a:pt x="329" y="457"/>
                  </a:lnTo>
                  <a:lnTo>
                    <a:pt x="328" y="460"/>
                  </a:lnTo>
                  <a:lnTo>
                    <a:pt x="328" y="462"/>
                  </a:lnTo>
                  <a:lnTo>
                    <a:pt x="327" y="464"/>
                  </a:lnTo>
                  <a:lnTo>
                    <a:pt x="327" y="467"/>
                  </a:lnTo>
                  <a:lnTo>
                    <a:pt x="327" y="470"/>
                  </a:lnTo>
                  <a:lnTo>
                    <a:pt x="327" y="473"/>
                  </a:lnTo>
                  <a:lnTo>
                    <a:pt x="328" y="480"/>
                  </a:lnTo>
                  <a:lnTo>
                    <a:pt x="329" y="487"/>
                  </a:lnTo>
                  <a:lnTo>
                    <a:pt x="330" y="492"/>
                  </a:lnTo>
                  <a:lnTo>
                    <a:pt x="332" y="501"/>
                  </a:lnTo>
                  <a:lnTo>
                    <a:pt x="333" y="504"/>
                  </a:lnTo>
                  <a:lnTo>
                    <a:pt x="334" y="506"/>
                  </a:lnTo>
                  <a:lnTo>
                    <a:pt x="334" y="509"/>
                  </a:lnTo>
                  <a:lnTo>
                    <a:pt x="334" y="510"/>
                  </a:lnTo>
                  <a:lnTo>
                    <a:pt x="333" y="512"/>
                  </a:lnTo>
                  <a:lnTo>
                    <a:pt x="332" y="514"/>
                  </a:lnTo>
                  <a:lnTo>
                    <a:pt x="332" y="516"/>
                  </a:lnTo>
                  <a:lnTo>
                    <a:pt x="331" y="517"/>
                  </a:lnTo>
                  <a:lnTo>
                    <a:pt x="330" y="519"/>
                  </a:lnTo>
                  <a:lnTo>
                    <a:pt x="325" y="526"/>
                  </a:lnTo>
                  <a:lnTo>
                    <a:pt x="321" y="532"/>
                  </a:lnTo>
                  <a:lnTo>
                    <a:pt x="314" y="542"/>
                  </a:lnTo>
                  <a:lnTo>
                    <a:pt x="311" y="545"/>
                  </a:lnTo>
                  <a:lnTo>
                    <a:pt x="310" y="548"/>
                  </a:lnTo>
                  <a:lnTo>
                    <a:pt x="309" y="551"/>
                  </a:lnTo>
                  <a:lnTo>
                    <a:pt x="306" y="555"/>
                  </a:lnTo>
                  <a:lnTo>
                    <a:pt x="306" y="556"/>
                  </a:lnTo>
                  <a:lnTo>
                    <a:pt x="306" y="559"/>
                  </a:lnTo>
                  <a:lnTo>
                    <a:pt x="306" y="560"/>
                  </a:lnTo>
                  <a:lnTo>
                    <a:pt x="306" y="561"/>
                  </a:lnTo>
                  <a:lnTo>
                    <a:pt x="305" y="561"/>
                  </a:lnTo>
                  <a:lnTo>
                    <a:pt x="304" y="561"/>
                  </a:lnTo>
                  <a:lnTo>
                    <a:pt x="301" y="561"/>
                  </a:lnTo>
                  <a:lnTo>
                    <a:pt x="298" y="560"/>
                  </a:lnTo>
                  <a:lnTo>
                    <a:pt x="288" y="559"/>
                  </a:lnTo>
                  <a:lnTo>
                    <a:pt x="283" y="558"/>
                  </a:lnTo>
                  <a:lnTo>
                    <a:pt x="279" y="557"/>
                  </a:lnTo>
                  <a:lnTo>
                    <a:pt x="274" y="556"/>
                  </a:lnTo>
                  <a:lnTo>
                    <a:pt x="263" y="556"/>
                  </a:lnTo>
                  <a:lnTo>
                    <a:pt x="259" y="556"/>
                  </a:lnTo>
                  <a:lnTo>
                    <a:pt x="254" y="555"/>
                  </a:lnTo>
                  <a:lnTo>
                    <a:pt x="249" y="554"/>
                  </a:lnTo>
                  <a:lnTo>
                    <a:pt x="244" y="552"/>
                  </a:lnTo>
                  <a:lnTo>
                    <a:pt x="241" y="551"/>
                  </a:lnTo>
                  <a:lnTo>
                    <a:pt x="239" y="550"/>
                  </a:lnTo>
                  <a:lnTo>
                    <a:pt x="237" y="549"/>
                  </a:lnTo>
                  <a:lnTo>
                    <a:pt x="236" y="546"/>
                  </a:lnTo>
                  <a:lnTo>
                    <a:pt x="232" y="541"/>
                  </a:lnTo>
                  <a:lnTo>
                    <a:pt x="232" y="539"/>
                  </a:lnTo>
                  <a:lnTo>
                    <a:pt x="230" y="538"/>
                  </a:lnTo>
                  <a:lnTo>
                    <a:pt x="229" y="536"/>
                  </a:lnTo>
                  <a:lnTo>
                    <a:pt x="227" y="536"/>
                  </a:lnTo>
                  <a:lnTo>
                    <a:pt x="217" y="533"/>
                  </a:lnTo>
                  <a:lnTo>
                    <a:pt x="215" y="532"/>
                  </a:lnTo>
                  <a:lnTo>
                    <a:pt x="212" y="531"/>
                  </a:lnTo>
                  <a:lnTo>
                    <a:pt x="210" y="529"/>
                  </a:lnTo>
                  <a:lnTo>
                    <a:pt x="209" y="527"/>
                  </a:lnTo>
                  <a:lnTo>
                    <a:pt x="207" y="525"/>
                  </a:lnTo>
                  <a:lnTo>
                    <a:pt x="207" y="523"/>
                  </a:lnTo>
                  <a:lnTo>
                    <a:pt x="205" y="517"/>
                  </a:lnTo>
                  <a:lnTo>
                    <a:pt x="204" y="515"/>
                  </a:lnTo>
                  <a:lnTo>
                    <a:pt x="204" y="513"/>
                  </a:lnTo>
                  <a:lnTo>
                    <a:pt x="203" y="512"/>
                  </a:lnTo>
                  <a:lnTo>
                    <a:pt x="202" y="511"/>
                  </a:lnTo>
                  <a:lnTo>
                    <a:pt x="201" y="511"/>
                  </a:lnTo>
                  <a:lnTo>
                    <a:pt x="199" y="510"/>
                  </a:lnTo>
                  <a:lnTo>
                    <a:pt x="197" y="510"/>
                  </a:lnTo>
                  <a:lnTo>
                    <a:pt x="191" y="509"/>
                  </a:lnTo>
                  <a:lnTo>
                    <a:pt x="188" y="509"/>
                  </a:lnTo>
                  <a:lnTo>
                    <a:pt x="180" y="507"/>
                  </a:lnTo>
                  <a:lnTo>
                    <a:pt x="169" y="505"/>
                  </a:lnTo>
                  <a:lnTo>
                    <a:pt x="165" y="504"/>
                  </a:lnTo>
                  <a:lnTo>
                    <a:pt x="163" y="503"/>
                  </a:lnTo>
                  <a:lnTo>
                    <a:pt x="162" y="502"/>
                  </a:lnTo>
                  <a:lnTo>
                    <a:pt x="159" y="501"/>
                  </a:lnTo>
                  <a:lnTo>
                    <a:pt x="158" y="500"/>
                  </a:lnTo>
                  <a:lnTo>
                    <a:pt x="157" y="499"/>
                  </a:lnTo>
                  <a:lnTo>
                    <a:pt x="156" y="497"/>
                  </a:lnTo>
                  <a:lnTo>
                    <a:pt x="152" y="492"/>
                  </a:lnTo>
                  <a:lnTo>
                    <a:pt x="150" y="489"/>
                  </a:lnTo>
                  <a:lnTo>
                    <a:pt x="148" y="487"/>
                  </a:lnTo>
                  <a:lnTo>
                    <a:pt x="143" y="483"/>
                  </a:lnTo>
                  <a:lnTo>
                    <a:pt x="138" y="479"/>
                  </a:lnTo>
                  <a:lnTo>
                    <a:pt x="136" y="477"/>
                  </a:lnTo>
                  <a:lnTo>
                    <a:pt x="134" y="474"/>
                  </a:lnTo>
                  <a:lnTo>
                    <a:pt x="132" y="471"/>
                  </a:lnTo>
                  <a:lnTo>
                    <a:pt x="130" y="467"/>
                  </a:lnTo>
                  <a:lnTo>
                    <a:pt x="129" y="463"/>
                  </a:lnTo>
                  <a:lnTo>
                    <a:pt x="127" y="455"/>
                  </a:lnTo>
                  <a:lnTo>
                    <a:pt x="125" y="452"/>
                  </a:lnTo>
                  <a:lnTo>
                    <a:pt x="124" y="447"/>
                  </a:lnTo>
                  <a:lnTo>
                    <a:pt x="121" y="443"/>
                  </a:lnTo>
                  <a:lnTo>
                    <a:pt x="119" y="439"/>
                  </a:lnTo>
                  <a:lnTo>
                    <a:pt x="114" y="432"/>
                  </a:lnTo>
                  <a:lnTo>
                    <a:pt x="112" y="430"/>
                  </a:lnTo>
                  <a:lnTo>
                    <a:pt x="107" y="426"/>
                  </a:lnTo>
                  <a:lnTo>
                    <a:pt x="105" y="424"/>
                  </a:lnTo>
                  <a:lnTo>
                    <a:pt x="104" y="422"/>
                  </a:lnTo>
                  <a:lnTo>
                    <a:pt x="102" y="420"/>
                  </a:lnTo>
                  <a:lnTo>
                    <a:pt x="101" y="417"/>
                  </a:lnTo>
                  <a:lnTo>
                    <a:pt x="100" y="416"/>
                  </a:lnTo>
                  <a:lnTo>
                    <a:pt x="99" y="414"/>
                  </a:lnTo>
                  <a:lnTo>
                    <a:pt x="99" y="412"/>
                  </a:lnTo>
                  <a:lnTo>
                    <a:pt x="99" y="410"/>
                  </a:lnTo>
                  <a:lnTo>
                    <a:pt x="99" y="407"/>
                  </a:lnTo>
                  <a:lnTo>
                    <a:pt x="98" y="404"/>
                  </a:lnTo>
                  <a:lnTo>
                    <a:pt x="97" y="402"/>
                  </a:lnTo>
                  <a:lnTo>
                    <a:pt x="97" y="399"/>
                  </a:lnTo>
                  <a:lnTo>
                    <a:pt x="94" y="392"/>
                  </a:lnTo>
                  <a:lnTo>
                    <a:pt x="92" y="384"/>
                  </a:lnTo>
                  <a:lnTo>
                    <a:pt x="89" y="379"/>
                  </a:lnTo>
                  <a:lnTo>
                    <a:pt x="87" y="374"/>
                  </a:lnTo>
                  <a:lnTo>
                    <a:pt x="79" y="361"/>
                  </a:lnTo>
                  <a:lnTo>
                    <a:pt x="77" y="357"/>
                  </a:lnTo>
                  <a:lnTo>
                    <a:pt x="75" y="353"/>
                  </a:lnTo>
                  <a:lnTo>
                    <a:pt x="72" y="349"/>
                  </a:lnTo>
                  <a:lnTo>
                    <a:pt x="69" y="345"/>
                  </a:lnTo>
                  <a:lnTo>
                    <a:pt x="64" y="339"/>
                  </a:lnTo>
                  <a:lnTo>
                    <a:pt x="57" y="332"/>
                  </a:lnTo>
                  <a:lnTo>
                    <a:pt x="55" y="330"/>
                  </a:lnTo>
                  <a:lnTo>
                    <a:pt x="54" y="328"/>
                  </a:lnTo>
                  <a:lnTo>
                    <a:pt x="53" y="326"/>
                  </a:lnTo>
                  <a:lnTo>
                    <a:pt x="52" y="324"/>
                  </a:lnTo>
                  <a:lnTo>
                    <a:pt x="51" y="322"/>
                  </a:lnTo>
                  <a:lnTo>
                    <a:pt x="51" y="320"/>
                  </a:lnTo>
                  <a:lnTo>
                    <a:pt x="50" y="317"/>
                  </a:lnTo>
                  <a:lnTo>
                    <a:pt x="50" y="313"/>
                  </a:lnTo>
                  <a:lnTo>
                    <a:pt x="52" y="306"/>
                  </a:lnTo>
                  <a:lnTo>
                    <a:pt x="53" y="295"/>
                  </a:lnTo>
                  <a:lnTo>
                    <a:pt x="54" y="292"/>
                  </a:lnTo>
                  <a:lnTo>
                    <a:pt x="55" y="288"/>
                  </a:lnTo>
                  <a:lnTo>
                    <a:pt x="58" y="280"/>
                  </a:lnTo>
                  <a:lnTo>
                    <a:pt x="59" y="277"/>
                  </a:lnTo>
                  <a:lnTo>
                    <a:pt x="60" y="274"/>
                  </a:lnTo>
                  <a:lnTo>
                    <a:pt x="61" y="269"/>
                  </a:lnTo>
                  <a:lnTo>
                    <a:pt x="61" y="267"/>
                  </a:lnTo>
                  <a:lnTo>
                    <a:pt x="62" y="264"/>
                  </a:lnTo>
                  <a:lnTo>
                    <a:pt x="65" y="260"/>
                  </a:lnTo>
                  <a:lnTo>
                    <a:pt x="66" y="259"/>
                  </a:lnTo>
                  <a:lnTo>
                    <a:pt x="66" y="258"/>
                  </a:lnTo>
                  <a:lnTo>
                    <a:pt x="67" y="257"/>
                  </a:lnTo>
                  <a:lnTo>
                    <a:pt x="67" y="255"/>
                  </a:lnTo>
                  <a:lnTo>
                    <a:pt x="67" y="253"/>
                  </a:lnTo>
                  <a:lnTo>
                    <a:pt x="66" y="249"/>
                  </a:lnTo>
                  <a:lnTo>
                    <a:pt x="66" y="247"/>
                  </a:lnTo>
                  <a:lnTo>
                    <a:pt x="67" y="245"/>
                  </a:lnTo>
                  <a:lnTo>
                    <a:pt x="68" y="240"/>
                  </a:lnTo>
                  <a:lnTo>
                    <a:pt x="69" y="239"/>
                  </a:lnTo>
                  <a:lnTo>
                    <a:pt x="69" y="237"/>
                  </a:lnTo>
                  <a:lnTo>
                    <a:pt x="68" y="236"/>
                  </a:lnTo>
                  <a:lnTo>
                    <a:pt x="68" y="235"/>
                  </a:lnTo>
                  <a:lnTo>
                    <a:pt x="67" y="232"/>
                  </a:lnTo>
                  <a:lnTo>
                    <a:pt x="65" y="230"/>
                  </a:lnTo>
                  <a:lnTo>
                    <a:pt x="64" y="230"/>
                  </a:lnTo>
                  <a:lnTo>
                    <a:pt x="63" y="228"/>
                  </a:lnTo>
                  <a:lnTo>
                    <a:pt x="59" y="225"/>
                  </a:lnTo>
                  <a:lnTo>
                    <a:pt x="57" y="223"/>
                  </a:lnTo>
                  <a:lnTo>
                    <a:pt x="55" y="222"/>
                  </a:lnTo>
                  <a:lnTo>
                    <a:pt x="54" y="220"/>
                  </a:lnTo>
                  <a:lnTo>
                    <a:pt x="54" y="219"/>
                  </a:lnTo>
                  <a:lnTo>
                    <a:pt x="54" y="217"/>
                  </a:lnTo>
                  <a:lnTo>
                    <a:pt x="55" y="216"/>
                  </a:lnTo>
                  <a:lnTo>
                    <a:pt x="57" y="214"/>
                  </a:lnTo>
                  <a:lnTo>
                    <a:pt x="57" y="212"/>
                  </a:lnTo>
                  <a:lnTo>
                    <a:pt x="57" y="210"/>
                  </a:lnTo>
                  <a:lnTo>
                    <a:pt x="57" y="208"/>
                  </a:lnTo>
                  <a:lnTo>
                    <a:pt x="56" y="206"/>
                  </a:lnTo>
                  <a:lnTo>
                    <a:pt x="53" y="199"/>
                  </a:lnTo>
                  <a:lnTo>
                    <a:pt x="52" y="195"/>
                  </a:lnTo>
                  <a:lnTo>
                    <a:pt x="51" y="192"/>
                  </a:lnTo>
                  <a:lnTo>
                    <a:pt x="50" y="187"/>
                  </a:lnTo>
                  <a:lnTo>
                    <a:pt x="49" y="185"/>
                  </a:lnTo>
                  <a:lnTo>
                    <a:pt x="48" y="182"/>
                  </a:lnTo>
                  <a:lnTo>
                    <a:pt x="45" y="177"/>
                  </a:lnTo>
                  <a:lnTo>
                    <a:pt x="44" y="175"/>
                  </a:lnTo>
                  <a:lnTo>
                    <a:pt x="43" y="172"/>
                  </a:lnTo>
                  <a:lnTo>
                    <a:pt x="43" y="172"/>
                  </a:lnTo>
                  <a:lnTo>
                    <a:pt x="42" y="170"/>
                  </a:lnTo>
                  <a:lnTo>
                    <a:pt x="42" y="169"/>
                  </a:lnTo>
                  <a:lnTo>
                    <a:pt x="43" y="167"/>
                  </a:lnTo>
                  <a:lnTo>
                    <a:pt x="43" y="167"/>
                  </a:lnTo>
                  <a:lnTo>
                    <a:pt x="44" y="164"/>
                  </a:lnTo>
                  <a:lnTo>
                    <a:pt x="46" y="162"/>
                  </a:lnTo>
                  <a:lnTo>
                    <a:pt x="48" y="160"/>
                  </a:lnTo>
                  <a:lnTo>
                    <a:pt x="49" y="158"/>
                  </a:lnTo>
                  <a:lnTo>
                    <a:pt x="51" y="157"/>
                  </a:lnTo>
                  <a:lnTo>
                    <a:pt x="53" y="157"/>
                  </a:lnTo>
                  <a:lnTo>
                    <a:pt x="57" y="155"/>
                  </a:lnTo>
                  <a:lnTo>
                    <a:pt x="59" y="154"/>
                  </a:lnTo>
                  <a:lnTo>
                    <a:pt x="61" y="152"/>
                  </a:lnTo>
                  <a:lnTo>
                    <a:pt x="63" y="150"/>
                  </a:lnTo>
                  <a:lnTo>
                    <a:pt x="64" y="148"/>
                  </a:lnTo>
                  <a:lnTo>
                    <a:pt x="66" y="145"/>
                  </a:lnTo>
                  <a:lnTo>
                    <a:pt x="67" y="142"/>
                  </a:lnTo>
                  <a:lnTo>
                    <a:pt x="69" y="140"/>
                  </a:lnTo>
                  <a:lnTo>
                    <a:pt x="69" y="138"/>
                  </a:lnTo>
                  <a:lnTo>
                    <a:pt x="69" y="136"/>
                  </a:lnTo>
                  <a:lnTo>
                    <a:pt x="69" y="135"/>
                  </a:lnTo>
                  <a:lnTo>
                    <a:pt x="69" y="134"/>
                  </a:lnTo>
                  <a:lnTo>
                    <a:pt x="69" y="132"/>
                  </a:lnTo>
                  <a:lnTo>
                    <a:pt x="68" y="132"/>
                  </a:lnTo>
                  <a:lnTo>
                    <a:pt x="67" y="131"/>
                  </a:lnTo>
                  <a:lnTo>
                    <a:pt x="67" y="131"/>
                  </a:lnTo>
                  <a:lnTo>
                    <a:pt x="66" y="130"/>
                  </a:lnTo>
                  <a:lnTo>
                    <a:pt x="62" y="130"/>
                  </a:lnTo>
                  <a:lnTo>
                    <a:pt x="60" y="129"/>
                  </a:lnTo>
                  <a:lnTo>
                    <a:pt x="59" y="128"/>
                  </a:lnTo>
                  <a:lnTo>
                    <a:pt x="57" y="127"/>
                  </a:lnTo>
                  <a:lnTo>
                    <a:pt x="53" y="122"/>
                  </a:lnTo>
                  <a:lnTo>
                    <a:pt x="53" y="121"/>
                  </a:lnTo>
                  <a:lnTo>
                    <a:pt x="52" y="120"/>
                  </a:lnTo>
                  <a:lnTo>
                    <a:pt x="52" y="118"/>
                  </a:lnTo>
                  <a:lnTo>
                    <a:pt x="52" y="117"/>
                  </a:lnTo>
                  <a:lnTo>
                    <a:pt x="52" y="116"/>
                  </a:lnTo>
                  <a:lnTo>
                    <a:pt x="52" y="115"/>
                  </a:lnTo>
                  <a:lnTo>
                    <a:pt x="54" y="114"/>
                  </a:lnTo>
                  <a:lnTo>
                    <a:pt x="54" y="113"/>
                  </a:lnTo>
                  <a:lnTo>
                    <a:pt x="54" y="112"/>
                  </a:lnTo>
                  <a:lnTo>
                    <a:pt x="54" y="112"/>
                  </a:lnTo>
                  <a:lnTo>
                    <a:pt x="53" y="111"/>
                  </a:lnTo>
                  <a:lnTo>
                    <a:pt x="52" y="110"/>
                  </a:lnTo>
                  <a:lnTo>
                    <a:pt x="50" y="110"/>
                  </a:lnTo>
                  <a:lnTo>
                    <a:pt x="49" y="109"/>
                  </a:lnTo>
                  <a:lnTo>
                    <a:pt x="46" y="108"/>
                  </a:lnTo>
                  <a:lnTo>
                    <a:pt x="44" y="108"/>
                  </a:lnTo>
                  <a:lnTo>
                    <a:pt x="43" y="107"/>
                  </a:lnTo>
                  <a:lnTo>
                    <a:pt x="41" y="106"/>
                  </a:lnTo>
                  <a:lnTo>
                    <a:pt x="39" y="105"/>
                  </a:lnTo>
                  <a:lnTo>
                    <a:pt x="37" y="102"/>
                  </a:lnTo>
                  <a:lnTo>
                    <a:pt x="34" y="97"/>
                  </a:lnTo>
                  <a:lnTo>
                    <a:pt x="33" y="97"/>
                  </a:lnTo>
                  <a:lnTo>
                    <a:pt x="32" y="96"/>
                  </a:lnTo>
                  <a:lnTo>
                    <a:pt x="30" y="95"/>
                  </a:lnTo>
                  <a:lnTo>
                    <a:pt x="27" y="92"/>
                  </a:lnTo>
                  <a:lnTo>
                    <a:pt x="25" y="91"/>
                  </a:lnTo>
                  <a:lnTo>
                    <a:pt x="22" y="90"/>
                  </a:lnTo>
                  <a:lnTo>
                    <a:pt x="19" y="89"/>
                  </a:lnTo>
                  <a:lnTo>
                    <a:pt x="17" y="87"/>
                  </a:lnTo>
                  <a:lnTo>
                    <a:pt x="14" y="87"/>
                  </a:lnTo>
                  <a:lnTo>
                    <a:pt x="5" y="86"/>
                  </a:lnTo>
                  <a:lnTo>
                    <a:pt x="3" y="85"/>
                  </a:lnTo>
                  <a:lnTo>
                    <a:pt x="2" y="85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2" y="82"/>
                  </a:lnTo>
                  <a:lnTo>
                    <a:pt x="5" y="77"/>
                  </a:lnTo>
                  <a:lnTo>
                    <a:pt x="6" y="75"/>
                  </a:lnTo>
                  <a:lnTo>
                    <a:pt x="7" y="73"/>
                  </a:lnTo>
                  <a:lnTo>
                    <a:pt x="9" y="72"/>
                  </a:lnTo>
                  <a:lnTo>
                    <a:pt x="10" y="70"/>
                  </a:lnTo>
                  <a:lnTo>
                    <a:pt x="12" y="70"/>
                  </a:lnTo>
                  <a:lnTo>
                    <a:pt x="15" y="68"/>
                  </a:lnTo>
                  <a:lnTo>
                    <a:pt x="17" y="67"/>
                  </a:lnTo>
                  <a:lnTo>
                    <a:pt x="19" y="67"/>
                  </a:lnTo>
                  <a:lnTo>
                    <a:pt x="22" y="67"/>
                  </a:lnTo>
                  <a:lnTo>
                    <a:pt x="29" y="67"/>
                  </a:lnTo>
                  <a:lnTo>
                    <a:pt x="32" y="67"/>
                  </a:lnTo>
                  <a:lnTo>
                    <a:pt x="34" y="66"/>
                  </a:lnTo>
                  <a:lnTo>
                    <a:pt x="37" y="65"/>
                  </a:lnTo>
                  <a:lnTo>
                    <a:pt x="39" y="65"/>
                  </a:lnTo>
                  <a:lnTo>
                    <a:pt x="42" y="63"/>
                  </a:lnTo>
                  <a:lnTo>
                    <a:pt x="44" y="61"/>
                  </a:lnTo>
                  <a:lnTo>
                    <a:pt x="48" y="57"/>
                  </a:lnTo>
                  <a:lnTo>
                    <a:pt x="49" y="56"/>
                  </a:lnTo>
                  <a:lnTo>
                    <a:pt x="51" y="55"/>
                  </a:lnTo>
                  <a:lnTo>
                    <a:pt x="52" y="55"/>
                  </a:lnTo>
                  <a:lnTo>
                    <a:pt x="53" y="55"/>
                  </a:lnTo>
                  <a:lnTo>
                    <a:pt x="55" y="55"/>
                  </a:lnTo>
                  <a:lnTo>
                    <a:pt x="57" y="55"/>
                  </a:lnTo>
                  <a:lnTo>
                    <a:pt x="59" y="55"/>
                  </a:lnTo>
                  <a:lnTo>
                    <a:pt x="59" y="54"/>
                  </a:lnTo>
                  <a:lnTo>
                    <a:pt x="61" y="53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3" y="50"/>
                  </a:lnTo>
                  <a:lnTo>
                    <a:pt x="64" y="47"/>
                  </a:lnTo>
                  <a:lnTo>
                    <a:pt x="67" y="43"/>
                  </a:lnTo>
                  <a:lnTo>
                    <a:pt x="69" y="41"/>
                  </a:lnTo>
                  <a:lnTo>
                    <a:pt x="70" y="37"/>
                  </a:lnTo>
                  <a:lnTo>
                    <a:pt x="72" y="32"/>
                  </a:lnTo>
                  <a:lnTo>
                    <a:pt x="73" y="30"/>
                  </a:lnTo>
                  <a:lnTo>
                    <a:pt x="74" y="25"/>
                  </a:lnTo>
                  <a:lnTo>
                    <a:pt x="74" y="23"/>
                  </a:lnTo>
                  <a:lnTo>
                    <a:pt x="76" y="21"/>
                  </a:lnTo>
                  <a:lnTo>
                    <a:pt x="77" y="20"/>
                  </a:lnTo>
                  <a:lnTo>
                    <a:pt x="79" y="18"/>
                  </a:lnTo>
                  <a:lnTo>
                    <a:pt x="82" y="17"/>
                  </a:lnTo>
                  <a:lnTo>
                    <a:pt x="96" y="10"/>
                  </a:lnTo>
                  <a:lnTo>
                    <a:pt x="102" y="7"/>
                  </a:lnTo>
                  <a:lnTo>
                    <a:pt x="105" y="5"/>
                  </a:lnTo>
                  <a:lnTo>
                    <a:pt x="108" y="5"/>
                  </a:lnTo>
                  <a:lnTo>
                    <a:pt x="119" y="1"/>
                  </a:lnTo>
                  <a:lnTo>
                    <a:pt x="120" y="1"/>
                  </a:lnTo>
                  <a:close/>
                </a:path>
              </a:pathLst>
            </a:custGeom>
            <a:solidFill>
              <a:srgbClr val="BC8F00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 101">
              <a:extLst>
                <a:ext uri="{FF2B5EF4-FFF2-40B4-BE49-F238E27FC236}">
                  <a16:creationId xmlns:a16="http://schemas.microsoft.com/office/drawing/2014/main" id="{F812830D-0010-3776-5D49-230EB444B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186" y="5395750"/>
              <a:ext cx="1076325" cy="930275"/>
            </a:xfrm>
            <a:custGeom>
              <a:avLst/>
              <a:gdLst>
                <a:gd name="T0" fmla="*/ 141 w 678"/>
                <a:gd name="T1" fmla="*/ 7 h 586"/>
                <a:gd name="T2" fmla="*/ 179 w 678"/>
                <a:gd name="T3" fmla="*/ 19 h 586"/>
                <a:gd name="T4" fmla="*/ 197 w 678"/>
                <a:gd name="T5" fmla="*/ 39 h 586"/>
                <a:gd name="T6" fmla="*/ 244 w 678"/>
                <a:gd name="T7" fmla="*/ 42 h 586"/>
                <a:gd name="T8" fmla="*/ 296 w 678"/>
                <a:gd name="T9" fmla="*/ 62 h 586"/>
                <a:gd name="T10" fmla="*/ 324 w 678"/>
                <a:gd name="T11" fmla="*/ 74 h 586"/>
                <a:gd name="T12" fmla="*/ 364 w 678"/>
                <a:gd name="T13" fmla="*/ 65 h 586"/>
                <a:gd name="T14" fmla="*/ 394 w 678"/>
                <a:gd name="T15" fmla="*/ 40 h 586"/>
                <a:gd name="T16" fmla="*/ 410 w 678"/>
                <a:gd name="T17" fmla="*/ 47 h 586"/>
                <a:gd name="T18" fmla="*/ 434 w 678"/>
                <a:gd name="T19" fmla="*/ 51 h 586"/>
                <a:gd name="T20" fmla="*/ 447 w 678"/>
                <a:gd name="T21" fmla="*/ 68 h 586"/>
                <a:gd name="T22" fmla="*/ 470 w 678"/>
                <a:gd name="T23" fmla="*/ 95 h 586"/>
                <a:gd name="T24" fmla="*/ 510 w 678"/>
                <a:gd name="T25" fmla="*/ 107 h 586"/>
                <a:gd name="T26" fmla="*/ 601 w 678"/>
                <a:gd name="T27" fmla="*/ 105 h 586"/>
                <a:gd name="T28" fmla="*/ 629 w 678"/>
                <a:gd name="T29" fmla="*/ 94 h 586"/>
                <a:gd name="T30" fmla="*/ 644 w 678"/>
                <a:gd name="T31" fmla="*/ 75 h 586"/>
                <a:gd name="T32" fmla="*/ 652 w 678"/>
                <a:gd name="T33" fmla="*/ 92 h 586"/>
                <a:gd name="T34" fmla="*/ 652 w 678"/>
                <a:gd name="T35" fmla="*/ 145 h 586"/>
                <a:gd name="T36" fmla="*/ 677 w 678"/>
                <a:gd name="T37" fmla="*/ 182 h 586"/>
                <a:gd name="T38" fmla="*/ 668 w 678"/>
                <a:gd name="T39" fmla="*/ 201 h 586"/>
                <a:gd name="T40" fmla="*/ 639 w 678"/>
                <a:gd name="T41" fmla="*/ 226 h 586"/>
                <a:gd name="T42" fmla="*/ 606 w 678"/>
                <a:gd name="T43" fmla="*/ 244 h 586"/>
                <a:gd name="T44" fmla="*/ 591 w 678"/>
                <a:gd name="T45" fmla="*/ 274 h 586"/>
                <a:gd name="T46" fmla="*/ 584 w 678"/>
                <a:gd name="T47" fmla="*/ 312 h 586"/>
                <a:gd name="T48" fmla="*/ 574 w 678"/>
                <a:gd name="T49" fmla="*/ 336 h 586"/>
                <a:gd name="T50" fmla="*/ 585 w 678"/>
                <a:gd name="T51" fmla="*/ 365 h 586"/>
                <a:gd name="T52" fmla="*/ 584 w 678"/>
                <a:gd name="T53" fmla="*/ 379 h 586"/>
                <a:gd name="T54" fmla="*/ 570 w 678"/>
                <a:gd name="T55" fmla="*/ 385 h 586"/>
                <a:gd name="T56" fmla="*/ 527 w 678"/>
                <a:gd name="T57" fmla="*/ 367 h 586"/>
                <a:gd name="T58" fmla="*/ 474 w 678"/>
                <a:gd name="T59" fmla="*/ 367 h 586"/>
                <a:gd name="T60" fmla="*/ 411 w 678"/>
                <a:gd name="T61" fmla="*/ 379 h 586"/>
                <a:gd name="T62" fmla="*/ 379 w 678"/>
                <a:gd name="T63" fmla="*/ 379 h 586"/>
                <a:gd name="T64" fmla="*/ 376 w 678"/>
                <a:gd name="T65" fmla="*/ 409 h 586"/>
                <a:gd name="T66" fmla="*/ 384 w 678"/>
                <a:gd name="T67" fmla="*/ 464 h 586"/>
                <a:gd name="T68" fmla="*/ 393 w 678"/>
                <a:gd name="T69" fmla="*/ 515 h 586"/>
                <a:gd name="T70" fmla="*/ 375 w 678"/>
                <a:gd name="T71" fmla="*/ 559 h 586"/>
                <a:gd name="T72" fmla="*/ 347 w 678"/>
                <a:gd name="T73" fmla="*/ 573 h 586"/>
                <a:gd name="T74" fmla="*/ 326 w 678"/>
                <a:gd name="T75" fmla="*/ 576 h 586"/>
                <a:gd name="T76" fmla="*/ 281 w 678"/>
                <a:gd name="T77" fmla="*/ 551 h 586"/>
                <a:gd name="T78" fmla="*/ 243 w 678"/>
                <a:gd name="T79" fmla="*/ 531 h 586"/>
                <a:gd name="T80" fmla="*/ 226 w 678"/>
                <a:gd name="T81" fmla="*/ 477 h 586"/>
                <a:gd name="T82" fmla="*/ 203 w 678"/>
                <a:gd name="T83" fmla="*/ 454 h 586"/>
                <a:gd name="T84" fmla="*/ 181 w 678"/>
                <a:gd name="T85" fmla="*/ 402 h 586"/>
                <a:gd name="T86" fmla="*/ 148 w 678"/>
                <a:gd name="T87" fmla="*/ 394 h 586"/>
                <a:gd name="T88" fmla="*/ 115 w 678"/>
                <a:gd name="T89" fmla="*/ 384 h 586"/>
                <a:gd name="T90" fmla="*/ 75 w 678"/>
                <a:gd name="T91" fmla="*/ 308 h 586"/>
                <a:gd name="T92" fmla="*/ 57 w 678"/>
                <a:gd name="T93" fmla="*/ 301 h 586"/>
                <a:gd name="T94" fmla="*/ 34 w 678"/>
                <a:gd name="T95" fmla="*/ 275 h 586"/>
                <a:gd name="T96" fmla="*/ 8 w 678"/>
                <a:gd name="T97" fmla="*/ 270 h 586"/>
                <a:gd name="T98" fmla="*/ 0 w 678"/>
                <a:gd name="T99" fmla="*/ 232 h 586"/>
                <a:gd name="T100" fmla="*/ 13 w 678"/>
                <a:gd name="T101" fmla="*/ 184 h 586"/>
                <a:gd name="T102" fmla="*/ 40 w 678"/>
                <a:gd name="T103" fmla="*/ 159 h 586"/>
                <a:gd name="T104" fmla="*/ 56 w 678"/>
                <a:gd name="T105" fmla="*/ 140 h 586"/>
                <a:gd name="T106" fmla="*/ 47 w 678"/>
                <a:gd name="T107" fmla="*/ 91 h 586"/>
                <a:gd name="T108" fmla="*/ 52 w 678"/>
                <a:gd name="T109" fmla="*/ 40 h 586"/>
                <a:gd name="T110" fmla="*/ 74 w 678"/>
                <a:gd name="T111" fmla="*/ 27 h 586"/>
                <a:gd name="T112" fmla="*/ 99 w 678"/>
                <a:gd name="T113" fmla="*/ 22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78" h="586">
                  <a:moveTo>
                    <a:pt x="132" y="0"/>
                  </a:moveTo>
                  <a:lnTo>
                    <a:pt x="135" y="2"/>
                  </a:lnTo>
                  <a:lnTo>
                    <a:pt x="137" y="1"/>
                  </a:lnTo>
                  <a:lnTo>
                    <a:pt x="137" y="1"/>
                  </a:lnTo>
                  <a:lnTo>
                    <a:pt x="138" y="2"/>
                  </a:lnTo>
                  <a:lnTo>
                    <a:pt x="139" y="2"/>
                  </a:lnTo>
                  <a:lnTo>
                    <a:pt x="140" y="5"/>
                  </a:lnTo>
                  <a:lnTo>
                    <a:pt x="140" y="6"/>
                  </a:lnTo>
                  <a:lnTo>
                    <a:pt x="140" y="6"/>
                  </a:lnTo>
                  <a:lnTo>
                    <a:pt x="141" y="7"/>
                  </a:lnTo>
                  <a:lnTo>
                    <a:pt x="143" y="8"/>
                  </a:lnTo>
                  <a:lnTo>
                    <a:pt x="145" y="9"/>
                  </a:lnTo>
                  <a:lnTo>
                    <a:pt x="147" y="10"/>
                  </a:lnTo>
                  <a:lnTo>
                    <a:pt x="150" y="10"/>
                  </a:lnTo>
                  <a:lnTo>
                    <a:pt x="161" y="12"/>
                  </a:lnTo>
                  <a:lnTo>
                    <a:pt x="167" y="14"/>
                  </a:lnTo>
                  <a:lnTo>
                    <a:pt x="171" y="15"/>
                  </a:lnTo>
                  <a:lnTo>
                    <a:pt x="174" y="16"/>
                  </a:lnTo>
                  <a:lnTo>
                    <a:pt x="177" y="17"/>
                  </a:lnTo>
                  <a:lnTo>
                    <a:pt x="179" y="19"/>
                  </a:lnTo>
                  <a:lnTo>
                    <a:pt x="182" y="20"/>
                  </a:lnTo>
                  <a:lnTo>
                    <a:pt x="184" y="22"/>
                  </a:lnTo>
                  <a:lnTo>
                    <a:pt x="185" y="23"/>
                  </a:lnTo>
                  <a:lnTo>
                    <a:pt x="187" y="25"/>
                  </a:lnTo>
                  <a:lnTo>
                    <a:pt x="188" y="26"/>
                  </a:lnTo>
                  <a:lnTo>
                    <a:pt x="189" y="28"/>
                  </a:lnTo>
                  <a:lnTo>
                    <a:pt x="192" y="35"/>
                  </a:lnTo>
                  <a:lnTo>
                    <a:pt x="194" y="36"/>
                  </a:lnTo>
                  <a:lnTo>
                    <a:pt x="195" y="37"/>
                  </a:lnTo>
                  <a:lnTo>
                    <a:pt x="197" y="39"/>
                  </a:lnTo>
                  <a:lnTo>
                    <a:pt x="199" y="40"/>
                  </a:lnTo>
                  <a:lnTo>
                    <a:pt x="201" y="41"/>
                  </a:lnTo>
                  <a:lnTo>
                    <a:pt x="204" y="42"/>
                  </a:lnTo>
                  <a:lnTo>
                    <a:pt x="206" y="42"/>
                  </a:lnTo>
                  <a:lnTo>
                    <a:pt x="208" y="43"/>
                  </a:lnTo>
                  <a:lnTo>
                    <a:pt x="212" y="43"/>
                  </a:lnTo>
                  <a:lnTo>
                    <a:pt x="215" y="43"/>
                  </a:lnTo>
                  <a:lnTo>
                    <a:pt x="225" y="42"/>
                  </a:lnTo>
                  <a:lnTo>
                    <a:pt x="231" y="42"/>
                  </a:lnTo>
                  <a:lnTo>
                    <a:pt x="244" y="42"/>
                  </a:lnTo>
                  <a:lnTo>
                    <a:pt x="256" y="43"/>
                  </a:lnTo>
                  <a:lnTo>
                    <a:pt x="281" y="44"/>
                  </a:lnTo>
                  <a:lnTo>
                    <a:pt x="283" y="45"/>
                  </a:lnTo>
                  <a:lnTo>
                    <a:pt x="284" y="45"/>
                  </a:lnTo>
                  <a:lnTo>
                    <a:pt x="287" y="46"/>
                  </a:lnTo>
                  <a:lnTo>
                    <a:pt x="288" y="47"/>
                  </a:lnTo>
                  <a:lnTo>
                    <a:pt x="290" y="50"/>
                  </a:lnTo>
                  <a:lnTo>
                    <a:pt x="292" y="53"/>
                  </a:lnTo>
                  <a:lnTo>
                    <a:pt x="294" y="57"/>
                  </a:lnTo>
                  <a:lnTo>
                    <a:pt x="296" y="62"/>
                  </a:lnTo>
                  <a:lnTo>
                    <a:pt x="299" y="70"/>
                  </a:lnTo>
                  <a:lnTo>
                    <a:pt x="301" y="73"/>
                  </a:lnTo>
                  <a:lnTo>
                    <a:pt x="302" y="75"/>
                  </a:lnTo>
                  <a:lnTo>
                    <a:pt x="302" y="75"/>
                  </a:lnTo>
                  <a:lnTo>
                    <a:pt x="304" y="75"/>
                  </a:lnTo>
                  <a:lnTo>
                    <a:pt x="304" y="76"/>
                  </a:lnTo>
                  <a:lnTo>
                    <a:pt x="307" y="76"/>
                  </a:lnTo>
                  <a:lnTo>
                    <a:pt x="314" y="74"/>
                  </a:lnTo>
                  <a:lnTo>
                    <a:pt x="318" y="74"/>
                  </a:lnTo>
                  <a:lnTo>
                    <a:pt x="324" y="74"/>
                  </a:lnTo>
                  <a:lnTo>
                    <a:pt x="332" y="74"/>
                  </a:lnTo>
                  <a:lnTo>
                    <a:pt x="337" y="74"/>
                  </a:lnTo>
                  <a:lnTo>
                    <a:pt x="339" y="74"/>
                  </a:lnTo>
                  <a:lnTo>
                    <a:pt x="340" y="74"/>
                  </a:lnTo>
                  <a:lnTo>
                    <a:pt x="342" y="73"/>
                  </a:lnTo>
                  <a:lnTo>
                    <a:pt x="344" y="72"/>
                  </a:lnTo>
                  <a:lnTo>
                    <a:pt x="353" y="68"/>
                  </a:lnTo>
                  <a:lnTo>
                    <a:pt x="357" y="67"/>
                  </a:lnTo>
                  <a:lnTo>
                    <a:pt x="359" y="66"/>
                  </a:lnTo>
                  <a:lnTo>
                    <a:pt x="364" y="65"/>
                  </a:lnTo>
                  <a:lnTo>
                    <a:pt x="377" y="63"/>
                  </a:lnTo>
                  <a:lnTo>
                    <a:pt x="379" y="62"/>
                  </a:lnTo>
                  <a:lnTo>
                    <a:pt x="381" y="62"/>
                  </a:lnTo>
                  <a:lnTo>
                    <a:pt x="382" y="61"/>
                  </a:lnTo>
                  <a:lnTo>
                    <a:pt x="383" y="60"/>
                  </a:lnTo>
                  <a:lnTo>
                    <a:pt x="384" y="59"/>
                  </a:lnTo>
                  <a:lnTo>
                    <a:pt x="387" y="54"/>
                  </a:lnTo>
                  <a:lnTo>
                    <a:pt x="392" y="44"/>
                  </a:lnTo>
                  <a:lnTo>
                    <a:pt x="394" y="41"/>
                  </a:lnTo>
                  <a:lnTo>
                    <a:pt x="394" y="40"/>
                  </a:lnTo>
                  <a:lnTo>
                    <a:pt x="396" y="39"/>
                  </a:lnTo>
                  <a:lnTo>
                    <a:pt x="397" y="38"/>
                  </a:lnTo>
                  <a:lnTo>
                    <a:pt x="399" y="37"/>
                  </a:lnTo>
                  <a:lnTo>
                    <a:pt x="401" y="38"/>
                  </a:lnTo>
                  <a:lnTo>
                    <a:pt x="401" y="38"/>
                  </a:lnTo>
                  <a:lnTo>
                    <a:pt x="402" y="39"/>
                  </a:lnTo>
                  <a:lnTo>
                    <a:pt x="404" y="40"/>
                  </a:lnTo>
                  <a:lnTo>
                    <a:pt x="406" y="42"/>
                  </a:lnTo>
                  <a:lnTo>
                    <a:pt x="408" y="45"/>
                  </a:lnTo>
                  <a:lnTo>
                    <a:pt x="410" y="47"/>
                  </a:lnTo>
                  <a:lnTo>
                    <a:pt x="412" y="49"/>
                  </a:lnTo>
                  <a:lnTo>
                    <a:pt x="414" y="50"/>
                  </a:lnTo>
                  <a:lnTo>
                    <a:pt x="416" y="51"/>
                  </a:lnTo>
                  <a:lnTo>
                    <a:pt x="416" y="51"/>
                  </a:lnTo>
                  <a:lnTo>
                    <a:pt x="420" y="51"/>
                  </a:lnTo>
                  <a:lnTo>
                    <a:pt x="422" y="51"/>
                  </a:lnTo>
                  <a:lnTo>
                    <a:pt x="429" y="50"/>
                  </a:lnTo>
                  <a:lnTo>
                    <a:pt x="432" y="50"/>
                  </a:lnTo>
                  <a:lnTo>
                    <a:pt x="434" y="51"/>
                  </a:lnTo>
                  <a:lnTo>
                    <a:pt x="434" y="51"/>
                  </a:lnTo>
                  <a:lnTo>
                    <a:pt x="436" y="52"/>
                  </a:lnTo>
                  <a:lnTo>
                    <a:pt x="436" y="52"/>
                  </a:lnTo>
                  <a:lnTo>
                    <a:pt x="439" y="54"/>
                  </a:lnTo>
                  <a:lnTo>
                    <a:pt x="439" y="56"/>
                  </a:lnTo>
                  <a:lnTo>
                    <a:pt x="440" y="58"/>
                  </a:lnTo>
                  <a:lnTo>
                    <a:pt x="442" y="62"/>
                  </a:lnTo>
                  <a:lnTo>
                    <a:pt x="443" y="64"/>
                  </a:lnTo>
                  <a:lnTo>
                    <a:pt x="444" y="65"/>
                  </a:lnTo>
                  <a:lnTo>
                    <a:pt x="445" y="66"/>
                  </a:lnTo>
                  <a:lnTo>
                    <a:pt x="447" y="68"/>
                  </a:lnTo>
                  <a:lnTo>
                    <a:pt x="453" y="74"/>
                  </a:lnTo>
                  <a:lnTo>
                    <a:pt x="456" y="77"/>
                  </a:lnTo>
                  <a:lnTo>
                    <a:pt x="457" y="78"/>
                  </a:lnTo>
                  <a:lnTo>
                    <a:pt x="459" y="80"/>
                  </a:lnTo>
                  <a:lnTo>
                    <a:pt x="463" y="87"/>
                  </a:lnTo>
                  <a:lnTo>
                    <a:pt x="465" y="90"/>
                  </a:lnTo>
                  <a:lnTo>
                    <a:pt x="466" y="91"/>
                  </a:lnTo>
                  <a:lnTo>
                    <a:pt x="467" y="92"/>
                  </a:lnTo>
                  <a:lnTo>
                    <a:pt x="469" y="94"/>
                  </a:lnTo>
                  <a:lnTo>
                    <a:pt x="470" y="95"/>
                  </a:lnTo>
                  <a:lnTo>
                    <a:pt x="472" y="96"/>
                  </a:lnTo>
                  <a:lnTo>
                    <a:pt x="475" y="97"/>
                  </a:lnTo>
                  <a:lnTo>
                    <a:pt x="477" y="97"/>
                  </a:lnTo>
                  <a:lnTo>
                    <a:pt x="484" y="98"/>
                  </a:lnTo>
                  <a:lnTo>
                    <a:pt x="489" y="100"/>
                  </a:lnTo>
                  <a:lnTo>
                    <a:pt x="492" y="100"/>
                  </a:lnTo>
                  <a:lnTo>
                    <a:pt x="498" y="103"/>
                  </a:lnTo>
                  <a:lnTo>
                    <a:pt x="501" y="105"/>
                  </a:lnTo>
                  <a:lnTo>
                    <a:pt x="504" y="105"/>
                  </a:lnTo>
                  <a:lnTo>
                    <a:pt x="510" y="107"/>
                  </a:lnTo>
                  <a:lnTo>
                    <a:pt x="520" y="107"/>
                  </a:lnTo>
                  <a:lnTo>
                    <a:pt x="525" y="107"/>
                  </a:lnTo>
                  <a:lnTo>
                    <a:pt x="536" y="107"/>
                  </a:lnTo>
                  <a:lnTo>
                    <a:pt x="550" y="106"/>
                  </a:lnTo>
                  <a:lnTo>
                    <a:pt x="561" y="105"/>
                  </a:lnTo>
                  <a:lnTo>
                    <a:pt x="574" y="105"/>
                  </a:lnTo>
                  <a:lnTo>
                    <a:pt x="580" y="105"/>
                  </a:lnTo>
                  <a:lnTo>
                    <a:pt x="591" y="105"/>
                  </a:lnTo>
                  <a:lnTo>
                    <a:pt x="596" y="105"/>
                  </a:lnTo>
                  <a:lnTo>
                    <a:pt x="601" y="105"/>
                  </a:lnTo>
                  <a:lnTo>
                    <a:pt x="605" y="104"/>
                  </a:lnTo>
                  <a:lnTo>
                    <a:pt x="608" y="103"/>
                  </a:lnTo>
                  <a:lnTo>
                    <a:pt x="611" y="103"/>
                  </a:lnTo>
                  <a:lnTo>
                    <a:pt x="614" y="102"/>
                  </a:lnTo>
                  <a:lnTo>
                    <a:pt x="616" y="101"/>
                  </a:lnTo>
                  <a:lnTo>
                    <a:pt x="619" y="100"/>
                  </a:lnTo>
                  <a:lnTo>
                    <a:pt x="622" y="98"/>
                  </a:lnTo>
                  <a:lnTo>
                    <a:pt x="624" y="97"/>
                  </a:lnTo>
                  <a:lnTo>
                    <a:pt x="627" y="95"/>
                  </a:lnTo>
                  <a:lnTo>
                    <a:pt x="629" y="94"/>
                  </a:lnTo>
                  <a:lnTo>
                    <a:pt x="631" y="92"/>
                  </a:lnTo>
                  <a:lnTo>
                    <a:pt x="634" y="90"/>
                  </a:lnTo>
                  <a:lnTo>
                    <a:pt x="636" y="87"/>
                  </a:lnTo>
                  <a:lnTo>
                    <a:pt x="639" y="84"/>
                  </a:lnTo>
                  <a:lnTo>
                    <a:pt x="641" y="82"/>
                  </a:lnTo>
                  <a:lnTo>
                    <a:pt x="641" y="80"/>
                  </a:lnTo>
                  <a:lnTo>
                    <a:pt x="642" y="78"/>
                  </a:lnTo>
                  <a:lnTo>
                    <a:pt x="643" y="76"/>
                  </a:lnTo>
                  <a:lnTo>
                    <a:pt x="643" y="75"/>
                  </a:lnTo>
                  <a:lnTo>
                    <a:pt x="644" y="75"/>
                  </a:lnTo>
                  <a:lnTo>
                    <a:pt x="646" y="75"/>
                  </a:lnTo>
                  <a:lnTo>
                    <a:pt x="647" y="75"/>
                  </a:lnTo>
                  <a:lnTo>
                    <a:pt x="648" y="77"/>
                  </a:lnTo>
                  <a:lnTo>
                    <a:pt x="650" y="78"/>
                  </a:lnTo>
                  <a:lnTo>
                    <a:pt x="651" y="79"/>
                  </a:lnTo>
                  <a:lnTo>
                    <a:pt x="651" y="80"/>
                  </a:lnTo>
                  <a:lnTo>
                    <a:pt x="652" y="82"/>
                  </a:lnTo>
                  <a:lnTo>
                    <a:pt x="652" y="85"/>
                  </a:lnTo>
                  <a:lnTo>
                    <a:pt x="652" y="87"/>
                  </a:lnTo>
                  <a:lnTo>
                    <a:pt x="652" y="92"/>
                  </a:lnTo>
                  <a:lnTo>
                    <a:pt x="651" y="110"/>
                  </a:lnTo>
                  <a:lnTo>
                    <a:pt x="651" y="114"/>
                  </a:lnTo>
                  <a:lnTo>
                    <a:pt x="649" y="122"/>
                  </a:lnTo>
                  <a:lnTo>
                    <a:pt x="648" y="127"/>
                  </a:lnTo>
                  <a:lnTo>
                    <a:pt x="648" y="131"/>
                  </a:lnTo>
                  <a:lnTo>
                    <a:pt x="648" y="134"/>
                  </a:lnTo>
                  <a:lnTo>
                    <a:pt x="649" y="137"/>
                  </a:lnTo>
                  <a:lnTo>
                    <a:pt x="650" y="140"/>
                  </a:lnTo>
                  <a:lnTo>
                    <a:pt x="651" y="142"/>
                  </a:lnTo>
                  <a:lnTo>
                    <a:pt x="652" y="145"/>
                  </a:lnTo>
                  <a:lnTo>
                    <a:pt x="653" y="146"/>
                  </a:lnTo>
                  <a:lnTo>
                    <a:pt x="654" y="149"/>
                  </a:lnTo>
                  <a:lnTo>
                    <a:pt x="656" y="150"/>
                  </a:lnTo>
                  <a:lnTo>
                    <a:pt x="658" y="152"/>
                  </a:lnTo>
                  <a:lnTo>
                    <a:pt x="663" y="158"/>
                  </a:lnTo>
                  <a:lnTo>
                    <a:pt x="666" y="160"/>
                  </a:lnTo>
                  <a:lnTo>
                    <a:pt x="668" y="163"/>
                  </a:lnTo>
                  <a:lnTo>
                    <a:pt x="670" y="167"/>
                  </a:lnTo>
                  <a:lnTo>
                    <a:pt x="676" y="179"/>
                  </a:lnTo>
                  <a:lnTo>
                    <a:pt x="677" y="182"/>
                  </a:lnTo>
                  <a:lnTo>
                    <a:pt x="678" y="185"/>
                  </a:lnTo>
                  <a:lnTo>
                    <a:pt x="678" y="187"/>
                  </a:lnTo>
                  <a:lnTo>
                    <a:pt x="678" y="189"/>
                  </a:lnTo>
                  <a:lnTo>
                    <a:pt x="677" y="192"/>
                  </a:lnTo>
                  <a:lnTo>
                    <a:pt x="677" y="194"/>
                  </a:lnTo>
                  <a:lnTo>
                    <a:pt x="677" y="195"/>
                  </a:lnTo>
                  <a:lnTo>
                    <a:pt x="676" y="196"/>
                  </a:lnTo>
                  <a:lnTo>
                    <a:pt x="676" y="197"/>
                  </a:lnTo>
                  <a:lnTo>
                    <a:pt x="673" y="198"/>
                  </a:lnTo>
                  <a:lnTo>
                    <a:pt x="668" y="201"/>
                  </a:lnTo>
                  <a:lnTo>
                    <a:pt x="667" y="202"/>
                  </a:lnTo>
                  <a:lnTo>
                    <a:pt x="666" y="203"/>
                  </a:lnTo>
                  <a:lnTo>
                    <a:pt x="663" y="205"/>
                  </a:lnTo>
                  <a:lnTo>
                    <a:pt x="660" y="209"/>
                  </a:lnTo>
                  <a:lnTo>
                    <a:pt x="658" y="213"/>
                  </a:lnTo>
                  <a:lnTo>
                    <a:pt x="654" y="216"/>
                  </a:lnTo>
                  <a:lnTo>
                    <a:pt x="648" y="220"/>
                  </a:lnTo>
                  <a:lnTo>
                    <a:pt x="646" y="222"/>
                  </a:lnTo>
                  <a:lnTo>
                    <a:pt x="643" y="224"/>
                  </a:lnTo>
                  <a:lnTo>
                    <a:pt x="639" y="226"/>
                  </a:lnTo>
                  <a:lnTo>
                    <a:pt x="636" y="227"/>
                  </a:lnTo>
                  <a:lnTo>
                    <a:pt x="633" y="229"/>
                  </a:lnTo>
                  <a:lnTo>
                    <a:pt x="628" y="231"/>
                  </a:lnTo>
                  <a:lnTo>
                    <a:pt x="620" y="234"/>
                  </a:lnTo>
                  <a:lnTo>
                    <a:pt x="618" y="234"/>
                  </a:lnTo>
                  <a:lnTo>
                    <a:pt x="618" y="234"/>
                  </a:lnTo>
                  <a:lnTo>
                    <a:pt x="615" y="237"/>
                  </a:lnTo>
                  <a:lnTo>
                    <a:pt x="611" y="239"/>
                  </a:lnTo>
                  <a:lnTo>
                    <a:pt x="608" y="241"/>
                  </a:lnTo>
                  <a:lnTo>
                    <a:pt x="606" y="244"/>
                  </a:lnTo>
                  <a:lnTo>
                    <a:pt x="603" y="247"/>
                  </a:lnTo>
                  <a:lnTo>
                    <a:pt x="601" y="250"/>
                  </a:lnTo>
                  <a:lnTo>
                    <a:pt x="599" y="253"/>
                  </a:lnTo>
                  <a:lnTo>
                    <a:pt x="599" y="255"/>
                  </a:lnTo>
                  <a:lnTo>
                    <a:pt x="598" y="257"/>
                  </a:lnTo>
                  <a:lnTo>
                    <a:pt x="596" y="263"/>
                  </a:lnTo>
                  <a:lnTo>
                    <a:pt x="596" y="264"/>
                  </a:lnTo>
                  <a:lnTo>
                    <a:pt x="595" y="267"/>
                  </a:lnTo>
                  <a:lnTo>
                    <a:pt x="591" y="272"/>
                  </a:lnTo>
                  <a:lnTo>
                    <a:pt x="591" y="274"/>
                  </a:lnTo>
                  <a:lnTo>
                    <a:pt x="590" y="275"/>
                  </a:lnTo>
                  <a:lnTo>
                    <a:pt x="590" y="277"/>
                  </a:lnTo>
                  <a:lnTo>
                    <a:pt x="589" y="279"/>
                  </a:lnTo>
                  <a:lnTo>
                    <a:pt x="589" y="284"/>
                  </a:lnTo>
                  <a:lnTo>
                    <a:pt x="589" y="290"/>
                  </a:lnTo>
                  <a:lnTo>
                    <a:pt x="589" y="294"/>
                  </a:lnTo>
                  <a:lnTo>
                    <a:pt x="588" y="297"/>
                  </a:lnTo>
                  <a:lnTo>
                    <a:pt x="587" y="299"/>
                  </a:lnTo>
                  <a:lnTo>
                    <a:pt x="585" y="306"/>
                  </a:lnTo>
                  <a:lnTo>
                    <a:pt x="584" y="312"/>
                  </a:lnTo>
                  <a:lnTo>
                    <a:pt x="584" y="312"/>
                  </a:lnTo>
                  <a:lnTo>
                    <a:pt x="583" y="313"/>
                  </a:lnTo>
                  <a:lnTo>
                    <a:pt x="581" y="316"/>
                  </a:lnTo>
                  <a:lnTo>
                    <a:pt x="579" y="317"/>
                  </a:lnTo>
                  <a:lnTo>
                    <a:pt x="576" y="323"/>
                  </a:lnTo>
                  <a:lnTo>
                    <a:pt x="576" y="326"/>
                  </a:lnTo>
                  <a:lnTo>
                    <a:pt x="575" y="328"/>
                  </a:lnTo>
                  <a:lnTo>
                    <a:pt x="574" y="332"/>
                  </a:lnTo>
                  <a:lnTo>
                    <a:pt x="574" y="334"/>
                  </a:lnTo>
                  <a:lnTo>
                    <a:pt x="574" y="336"/>
                  </a:lnTo>
                  <a:lnTo>
                    <a:pt x="574" y="339"/>
                  </a:lnTo>
                  <a:lnTo>
                    <a:pt x="576" y="344"/>
                  </a:lnTo>
                  <a:lnTo>
                    <a:pt x="576" y="347"/>
                  </a:lnTo>
                  <a:lnTo>
                    <a:pt x="576" y="349"/>
                  </a:lnTo>
                  <a:lnTo>
                    <a:pt x="577" y="352"/>
                  </a:lnTo>
                  <a:lnTo>
                    <a:pt x="578" y="353"/>
                  </a:lnTo>
                  <a:lnTo>
                    <a:pt x="579" y="354"/>
                  </a:lnTo>
                  <a:lnTo>
                    <a:pt x="582" y="359"/>
                  </a:lnTo>
                  <a:lnTo>
                    <a:pt x="585" y="364"/>
                  </a:lnTo>
                  <a:lnTo>
                    <a:pt x="585" y="365"/>
                  </a:lnTo>
                  <a:lnTo>
                    <a:pt x="585" y="366"/>
                  </a:lnTo>
                  <a:lnTo>
                    <a:pt x="585" y="367"/>
                  </a:lnTo>
                  <a:lnTo>
                    <a:pt x="584" y="369"/>
                  </a:lnTo>
                  <a:lnTo>
                    <a:pt x="584" y="370"/>
                  </a:lnTo>
                  <a:lnTo>
                    <a:pt x="584" y="372"/>
                  </a:lnTo>
                  <a:lnTo>
                    <a:pt x="586" y="374"/>
                  </a:lnTo>
                  <a:lnTo>
                    <a:pt x="586" y="375"/>
                  </a:lnTo>
                  <a:lnTo>
                    <a:pt x="586" y="377"/>
                  </a:lnTo>
                  <a:lnTo>
                    <a:pt x="585" y="378"/>
                  </a:lnTo>
                  <a:lnTo>
                    <a:pt x="584" y="379"/>
                  </a:lnTo>
                  <a:lnTo>
                    <a:pt x="584" y="382"/>
                  </a:lnTo>
                  <a:lnTo>
                    <a:pt x="582" y="383"/>
                  </a:lnTo>
                  <a:lnTo>
                    <a:pt x="581" y="384"/>
                  </a:lnTo>
                  <a:lnTo>
                    <a:pt x="579" y="387"/>
                  </a:lnTo>
                  <a:lnTo>
                    <a:pt x="578" y="388"/>
                  </a:lnTo>
                  <a:lnTo>
                    <a:pt x="576" y="388"/>
                  </a:lnTo>
                  <a:lnTo>
                    <a:pt x="576" y="388"/>
                  </a:lnTo>
                  <a:lnTo>
                    <a:pt x="574" y="388"/>
                  </a:lnTo>
                  <a:lnTo>
                    <a:pt x="573" y="387"/>
                  </a:lnTo>
                  <a:lnTo>
                    <a:pt x="570" y="385"/>
                  </a:lnTo>
                  <a:lnTo>
                    <a:pt x="564" y="380"/>
                  </a:lnTo>
                  <a:lnTo>
                    <a:pt x="558" y="376"/>
                  </a:lnTo>
                  <a:lnTo>
                    <a:pt x="551" y="370"/>
                  </a:lnTo>
                  <a:lnTo>
                    <a:pt x="550" y="369"/>
                  </a:lnTo>
                  <a:lnTo>
                    <a:pt x="548" y="369"/>
                  </a:lnTo>
                  <a:lnTo>
                    <a:pt x="546" y="368"/>
                  </a:lnTo>
                  <a:lnTo>
                    <a:pt x="544" y="367"/>
                  </a:lnTo>
                  <a:lnTo>
                    <a:pt x="531" y="367"/>
                  </a:lnTo>
                  <a:lnTo>
                    <a:pt x="529" y="367"/>
                  </a:lnTo>
                  <a:lnTo>
                    <a:pt x="527" y="367"/>
                  </a:lnTo>
                  <a:lnTo>
                    <a:pt x="519" y="368"/>
                  </a:lnTo>
                  <a:lnTo>
                    <a:pt x="515" y="368"/>
                  </a:lnTo>
                  <a:lnTo>
                    <a:pt x="511" y="367"/>
                  </a:lnTo>
                  <a:lnTo>
                    <a:pt x="501" y="366"/>
                  </a:lnTo>
                  <a:lnTo>
                    <a:pt x="495" y="366"/>
                  </a:lnTo>
                  <a:lnTo>
                    <a:pt x="491" y="365"/>
                  </a:lnTo>
                  <a:lnTo>
                    <a:pt x="486" y="366"/>
                  </a:lnTo>
                  <a:lnTo>
                    <a:pt x="484" y="366"/>
                  </a:lnTo>
                  <a:lnTo>
                    <a:pt x="477" y="367"/>
                  </a:lnTo>
                  <a:lnTo>
                    <a:pt x="474" y="367"/>
                  </a:lnTo>
                  <a:lnTo>
                    <a:pt x="454" y="369"/>
                  </a:lnTo>
                  <a:lnTo>
                    <a:pt x="444" y="371"/>
                  </a:lnTo>
                  <a:lnTo>
                    <a:pt x="440" y="372"/>
                  </a:lnTo>
                  <a:lnTo>
                    <a:pt x="436" y="372"/>
                  </a:lnTo>
                  <a:lnTo>
                    <a:pt x="434" y="373"/>
                  </a:lnTo>
                  <a:lnTo>
                    <a:pt x="421" y="378"/>
                  </a:lnTo>
                  <a:lnTo>
                    <a:pt x="419" y="379"/>
                  </a:lnTo>
                  <a:lnTo>
                    <a:pt x="416" y="379"/>
                  </a:lnTo>
                  <a:lnTo>
                    <a:pt x="414" y="379"/>
                  </a:lnTo>
                  <a:lnTo>
                    <a:pt x="411" y="379"/>
                  </a:lnTo>
                  <a:lnTo>
                    <a:pt x="409" y="379"/>
                  </a:lnTo>
                  <a:lnTo>
                    <a:pt x="405" y="377"/>
                  </a:lnTo>
                  <a:lnTo>
                    <a:pt x="401" y="377"/>
                  </a:lnTo>
                  <a:lnTo>
                    <a:pt x="399" y="377"/>
                  </a:lnTo>
                  <a:lnTo>
                    <a:pt x="396" y="377"/>
                  </a:lnTo>
                  <a:lnTo>
                    <a:pt x="390" y="377"/>
                  </a:lnTo>
                  <a:lnTo>
                    <a:pt x="384" y="378"/>
                  </a:lnTo>
                  <a:lnTo>
                    <a:pt x="382" y="378"/>
                  </a:lnTo>
                  <a:lnTo>
                    <a:pt x="380" y="379"/>
                  </a:lnTo>
                  <a:lnTo>
                    <a:pt x="379" y="379"/>
                  </a:lnTo>
                  <a:lnTo>
                    <a:pt x="377" y="381"/>
                  </a:lnTo>
                  <a:lnTo>
                    <a:pt x="377" y="382"/>
                  </a:lnTo>
                  <a:lnTo>
                    <a:pt x="375" y="384"/>
                  </a:lnTo>
                  <a:lnTo>
                    <a:pt x="374" y="386"/>
                  </a:lnTo>
                  <a:lnTo>
                    <a:pt x="374" y="389"/>
                  </a:lnTo>
                  <a:lnTo>
                    <a:pt x="374" y="393"/>
                  </a:lnTo>
                  <a:lnTo>
                    <a:pt x="374" y="395"/>
                  </a:lnTo>
                  <a:lnTo>
                    <a:pt x="374" y="397"/>
                  </a:lnTo>
                  <a:lnTo>
                    <a:pt x="376" y="406"/>
                  </a:lnTo>
                  <a:lnTo>
                    <a:pt x="376" y="409"/>
                  </a:lnTo>
                  <a:lnTo>
                    <a:pt x="376" y="413"/>
                  </a:lnTo>
                  <a:lnTo>
                    <a:pt x="376" y="417"/>
                  </a:lnTo>
                  <a:lnTo>
                    <a:pt x="375" y="425"/>
                  </a:lnTo>
                  <a:lnTo>
                    <a:pt x="375" y="429"/>
                  </a:lnTo>
                  <a:lnTo>
                    <a:pt x="375" y="432"/>
                  </a:lnTo>
                  <a:lnTo>
                    <a:pt x="375" y="437"/>
                  </a:lnTo>
                  <a:lnTo>
                    <a:pt x="376" y="442"/>
                  </a:lnTo>
                  <a:lnTo>
                    <a:pt x="377" y="446"/>
                  </a:lnTo>
                  <a:lnTo>
                    <a:pt x="379" y="451"/>
                  </a:lnTo>
                  <a:lnTo>
                    <a:pt x="384" y="464"/>
                  </a:lnTo>
                  <a:lnTo>
                    <a:pt x="387" y="470"/>
                  </a:lnTo>
                  <a:lnTo>
                    <a:pt x="389" y="476"/>
                  </a:lnTo>
                  <a:lnTo>
                    <a:pt x="390" y="481"/>
                  </a:lnTo>
                  <a:lnTo>
                    <a:pt x="391" y="484"/>
                  </a:lnTo>
                  <a:lnTo>
                    <a:pt x="391" y="488"/>
                  </a:lnTo>
                  <a:lnTo>
                    <a:pt x="392" y="494"/>
                  </a:lnTo>
                  <a:lnTo>
                    <a:pt x="394" y="506"/>
                  </a:lnTo>
                  <a:lnTo>
                    <a:pt x="394" y="510"/>
                  </a:lnTo>
                  <a:lnTo>
                    <a:pt x="394" y="512"/>
                  </a:lnTo>
                  <a:lnTo>
                    <a:pt x="393" y="515"/>
                  </a:lnTo>
                  <a:lnTo>
                    <a:pt x="393" y="517"/>
                  </a:lnTo>
                  <a:lnTo>
                    <a:pt x="391" y="523"/>
                  </a:lnTo>
                  <a:lnTo>
                    <a:pt x="390" y="526"/>
                  </a:lnTo>
                  <a:lnTo>
                    <a:pt x="389" y="531"/>
                  </a:lnTo>
                  <a:lnTo>
                    <a:pt x="384" y="539"/>
                  </a:lnTo>
                  <a:lnTo>
                    <a:pt x="380" y="550"/>
                  </a:lnTo>
                  <a:lnTo>
                    <a:pt x="379" y="552"/>
                  </a:lnTo>
                  <a:lnTo>
                    <a:pt x="378" y="554"/>
                  </a:lnTo>
                  <a:lnTo>
                    <a:pt x="377" y="556"/>
                  </a:lnTo>
                  <a:lnTo>
                    <a:pt x="375" y="559"/>
                  </a:lnTo>
                  <a:lnTo>
                    <a:pt x="373" y="560"/>
                  </a:lnTo>
                  <a:lnTo>
                    <a:pt x="372" y="561"/>
                  </a:lnTo>
                  <a:lnTo>
                    <a:pt x="370" y="563"/>
                  </a:lnTo>
                  <a:lnTo>
                    <a:pt x="369" y="564"/>
                  </a:lnTo>
                  <a:lnTo>
                    <a:pt x="366" y="565"/>
                  </a:lnTo>
                  <a:lnTo>
                    <a:pt x="358" y="567"/>
                  </a:lnTo>
                  <a:lnTo>
                    <a:pt x="355" y="568"/>
                  </a:lnTo>
                  <a:lnTo>
                    <a:pt x="352" y="569"/>
                  </a:lnTo>
                  <a:lnTo>
                    <a:pt x="348" y="571"/>
                  </a:lnTo>
                  <a:lnTo>
                    <a:pt x="347" y="573"/>
                  </a:lnTo>
                  <a:lnTo>
                    <a:pt x="344" y="574"/>
                  </a:lnTo>
                  <a:lnTo>
                    <a:pt x="343" y="576"/>
                  </a:lnTo>
                  <a:lnTo>
                    <a:pt x="342" y="578"/>
                  </a:lnTo>
                  <a:lnTo>
                    <a:pt x="341" y="579"/>
                  </a:lnTo>
                  <a:lnTo>
                    <a:pt x="339" y="581"/>
                  </a:lnTo>
                  <a:lnTo>
                    <a:pt x="337" y="586"/>
                  </a:lnTo>
                  <a:lnTo>
                    <a:pt x="337" y="586"/>
                  </a:lnTo>
                  <a:lnTo>
                    <a:pt x="335" y="584"/>
                  </a:lnTo>
                  <a:lnTo>
                    <a:pt x="330" y="580"/>
                  </a:lnTo>
                  <a:lnTo>
                    <a:pt x="326" y="576"/>
                  </a:lnTo>
                  <a:lnTo>
                    <a:pt x="321" y="573"/>
                  </a:lnTo>
                  <a:lnTo>
                    <a:pt x="316" y="569"/>
                  </a:lnTo>
                  <a:lnTo>
                    <a:pt x="310" y="565"/>
                  </a:lnTo>
                  <a:lnTo>
                    <a:pt x="305" y="561"/>
                  </a:lnTo>
                  <a:lnTo>
                    <a:pt x="300" y="559"/>
                  </a:lnTo>
                  <a:lnTo>
                    <a:pt x="296" y="556"/>
                  </a:lnTo>
                  <a:lnTo>
                    <a:pt x="293" y="555"/>
                  </a:lnTo>
                  <a:lnTo>
                    <a:pt x="289" y="554"/>
                  </a:lnTo>
                  <a:lnTo>
                    <a:pt x="285" y="552"/>
                  </a:lnTo>
                  <a:lnTo>
                    <a:pt x="281" y="551"/>
                  </a:lnTo>
                  <a:lnTo>
                    <a:pt x="264" y="547"/>
                  </a:lnTo>
                  <a:lnTo>
                    <a:pt x="259" y="545"/>
                  </a:lnTo>
                  <a:lnTo>
                    <a:pt x="256" y="544"/>
                  </a:lnTo>
                  <a:lnTo>
                    <a:pt x="254" y="542"/>
                  </a:lnTo>
                  <a:lnTo>
                    <a:pt x="250" y="540"/>
                  </a:lnTo>
                  <a:lnTo>
                    <a:pt x="248" y="539"/>
                  </a:lnTo>
                  <a:lnTo>
                    <a:pt x="247" y="537"/>
                  </a:lnTo>
                  <a:lnTo>
                    <a:pt x="245" y="535"/>
                  </a:lnTo>
                  <a:lnTo>
                    <a:pt x="244" y="533"/>
                  </a:lnTo>
                  <a:lnTo>
                    <a:pt x="243" y="531"/>
                  </a:lnTo>
                  <a:lnTo>
                    <a:pt x="243" y="529"/>
                  </a:lnTo>
                  <a:lnTo>
                    <a:pt x="242" y="526"/>
                  </a:lnTo>
                  <a:lnTo>
                    <a:pt x="240" y="514"/>
                  </a:lnTo>
                  <a:lnTo>
                    <a:pt x="240" y="511"/>
                  </a:lnTo>
                  <a:lnTo>
                    <a:pt x="239" y="508"/>
                  </a:lnTo>
                  <a:lnTo>
                    <a:pt x="238" y="504"/>
                  </a:lnTo>
                  <a:lnTo>
                    <a:pt x="236" y="499"/>
                  </a:lnTo>
                  <a:lnTo>
                    <a:pt x="230" y="485"/>
                  </a:lnTo>
                  <a:lnTo>
                    <a:pt x="228" y="480"/>
                  </a:lnTo>
                  <a:lnTo>
                    <a:pt x="226" y="477"/>
                  </a:lnTo>
                  <a:lnTo>
                    <a:pt x="223" y="472"/>
                  </a:lnTo>
                  <a:lnTo>
                    <a:pt x="222" y="470"/>
                  </a:lnTo>
                  <a:lnTo>
                    <a:pt x="221" y="469"/>
                  </a:lnTo>
                  <a:lnTo>
                    <a:pt x="219" y="467"/>
                  </a:lnTo>
                  <a:lnTo>
                    <a:pt x="217" y="466"/>
                  </a:lnTo>
                  <a:lnTo>
                    <a:pt x="210" y="461"/>
                  </a:lnTo>
                  <a:lnTo>
                    <a:pt x="207" y="459"/>
                  </a:lnTo>
                  <a:lnTo>
                    <a:pt x="206" y="457"/>
                  </a:lnTo>
                  <a:lnTo>
                    <a:pt x="204" y="455"/>
                  </a:lnTo>
                  <a:lnTo>
                    <a:pt x="203" y="454"/>
                  </a:lnTo>
                  <a:lnTo>
                    <a:pt x="202" y="451"/>
                  </a:lnTo>
                  <a:lnTo>
                    <a:pt x="200" y="449"/>
                  </a:lnTo>
                  <a:lnTo>
                    <a:pt x="199" y="445"/>
                  </a:lnTo>
                  <a:lnTo>
                    <a:pt x="197" y="442"/>
                  </a:lnTo>
                  <a:lnTo>
                    <a:pt x="195" y="437"/>
                  </a:lnTo>
                  <a:lnTo>
                    <a:pt x="190" y="426"/>
                  </a:lnTo>
                  <a:lnTo>
                    <a:pt x="187" y="414"/>
                  </a:lnTo>
                  <a:lnTo>
                    <a:pt x="184" y="409"/>
                  </a:lnTo>
                  <a:lnTo>
                    <a:pt x="182" y="404"/>
                  </a:lnTo>
                  <a:lnTo>
                    <a:pt x="181" y="402"/>
                  </a:lnTo>
                  <a:lnTo>
                    <a:pt x="179" y="399"/>
                  </a:lnTo>
                  <a:lnTo>
                    <a:pt x="177" y="396"/>
                  </a:lnTo>
                  <a:lnTo>
                    <a:pt x="174" y="394"/>
                  </a:lnTo>
                  <a:lnTo>
                    <a:pt x="173" y="393"/>
                  </a:lnTo>
                  <a:lnTo>
                    <a:pt x="171" y="392"/>
                  </a:lnTo>
                  <a:lnTo>
                    <a:pt x="169" y="392"/>
                  </a:lnTo>
                  <a:lnTo>
                    <a:pt x="167" y="392"/>
                  </a:lnTo>
                  <a:lnTo>
                    <a:pt x="158" y="393"/>
                  </a:lnTo>
                  <a:lnTo>
                    <a:pt x="153" y="394"/>
                  </a:lnTo>
                  <a:lnTo>
                    <a:pt x="148" y="394"/>
                  </a:lnTo>
                  <a:lnTo>
                    <a:pt x="140" y="394"/>
                  </a:lnTo>
                  <a:lnTo>
                    <a:pt x="137" y="393"/>
                  </a:lnTo>
                  <a:lnTo>
                    <a:pt x="134" y="393"/>
                  </a:lnTo>
                  <a:lnTo>
                    <a:pt x="130" y="392"/>
                  </a:lnTo>
                  <a:lnTo>
                    <a:pt x="126" y="391"/>
                  </a:lnTo>
                  <a:lnTo>
                    <a:pt x="123" y="390"/>
                  </a:lnTo>
                  <a:lnTo>
                    <a:pt x="122" y="389"/>
                  </a:lnTo>
                  <a:lnTo>
                    <a:pt x="120" y="388"/>
                  </a:lnTo>
                  <a:lnTo>
                    <a:pt x="117" y="386"/>
                  </a:lnTo>
                  <a:lnTo>
                    <a:pt x="115" y="384"/>
                  </a:lnTo>
                  <a:lnTo>
                    <a:pt x="107" y="374"/>
                  </a:lnTo>
                  <a:lnTo>
                    <a:pt x="105" y="372"/>
                  </a:lnTo>
                  <a:lnTo>
                    <a:pt x="103" y="369"/>
                  </a:lnTo>
                  <a:lnTo>
                    <a:pt x="100" y="364"/>
                  </a:lnTo>
                  <a:lnTo>
                    <a:pt x="97" y="358"/>
                  </a:lnTo>
                  <a:lnTo>
                    <a:pt x="92" y="348"/>
                  </a:lnTo>
                  <a:lnTo>
                    <a:pt x="88" y="340"/>
                  </a:lnTo>
                  <a:lnTo>
                    <a:pt x="84" y="329"/>
                  </a:lnTo>
                  <a:lnTo>
                    <a:pt x="79" y="317"/>
                  </a:lnTo>
                  <a:lnTo>
                    <a:pt x="75" y="308"/>
                  </a:lnTo>
                  <a:lnTo>
                    <a:pt x="75" y="307"/>
                  </a:lnTo>
                  <a:lnTo>
                    <a:pt x="74" y="305"/>
                  </a:lnTo>
                  <a:lnTo>
                    <a:pt x="72" y="304"/>
                  </a:lnTo>
                  <a:lnTo>
                    <a:pt x="72" y="304"/>
                  </a:lnTo>
                  <a:lnTo>
                    <a:pt x="71" y="303"/>
                  </a:lnTo>
                  <a:lnTo>
                    <a:pt x="70" y="303"/>
                  </a:lnTo>
                  <a:lnTo>
                    <a:pt x="67" y="302"/>
                  </a:lnTo>
                  <a:lnTo>
                    <a:pt x="62" y="302"/>
                  </a:lnTo>
                  <a:lnTo>
                    <a:pt x="60" y="302"/>
                  </a:lnTo>
                  <a:lnTo>
                    <a:pt x="57" y="301"/>
                  </a:lnTo>
                  <a:lnTo>
                    <a:pt x="56" y="300"/>
                  </a:lnTo>
                  <a:lnTo>
                    <a:pt x="53" y="297"/>
                  </a:lnTo>
                  <a:lnTo>
                    <a:pt x="50" y="294"/>
                  </a:lnTo>
                  <a:lnTo>
                    <a:pt x="48" y="292"/>
                  </a:lnTo>
                  <a:lnTo>
                    <a:pt x="43" y="284"/>
                  </a:lnTo>
                  <a:lnTo>
                    <a:pt x="42" y="282"/>
                  </a:lnTo>
                  <a:lnTo>
                    <a:pt x="40" y="281"/>
                  </a:lnTo>
                  <a:lnTo>
                    <a:pt x="38" y="279"/>
                  </a:lnTo>
                  <a:lnTo>
                    <a:pt x="36" y="277"/>
                  </a:lnTo>
                  <a:lnTo>
                    <a:pt x="34" y="275"/>
                  </a:lnTo>
                  <a:lnTo>
                    <a:pt x="32" y="274"/>
                  </a:lnTo>
                  <a:lnTo>
                    <a:pt x="29" y="273"/>
                  </a:lnTo>
                  <a:lnTo>
                    <a:pt x="27" y="272"/>
                  </a:lnTo>
                  <a:lnTo>
                    <a:pt x="25" y="271"/>
                  </a:lnTo>
                  <a:lnTo>
                    <a:pt x="21" y="271"/>
                  </a:lnTo>
                  <a:lnTo>
                    <a:pt x="17" y="270"/>
                  </a:lnTo>
                  <a:lnTo>
                    <a:pt x="13" y="269"/>
                  </a:lnTo>
                  <a:lnTo>
                    <a:pt x="10" y="270"/>
                  </a:lnTo>
                  <a:lnTo>
                    <a:pt x="9" y="270"/>
                  </a:lnTo>
                  <a:lnTo>
                    <a:pt x="8" y="270"/>
                  </a:lnTo>
                  <a:lnTo>
                    <a:pt x="8" y="269"/>
                  </a:lnTo>
                  <a:lnTo>
                    <a:pt x="7" y="267"/>
                  </a:lnTo>
                  <a:lnTo>
                    <a:pt x="4" y="256"/>
                  </a:lnTo>
                  <a:lnTo>
                    <a:pt x="2" y="252"/>
                  </a:lnTo>
                  <a:lnTo>
                    <a:pt x="2" y="250"/>
                  </a:lnTo>
                  <a:lnTo>
                    <a:pt x="2" y="247"/>
                  </a:lnTo>
                  <a:lnTo>
                    <a:pt x="1" y="244"/>
                  </a:lnTo>
                  <a:lnTo>
                    <a:pt x="1" y="240"/>
                  </a:lnTo>
                  <a:lnTo>
                    <a:pt x="0" y="237"/>
                  </a:lnTo>
                  <a:lnTo>
                    <a:pt x="0" y="232"/>
                  </a:lnTo>
                  <a:lnTo>
                    <a:pt x="1" y="228"/>
                  </a:lnTo>
                  <a:lnTo>
                    <a:pt x="1" y="223"/>
                  </a:lnTo>
                  <a:lnTo>
                    <a:pt x="2" y="219"/>
                  </a:lnTo>
                  <a:lnTo>
                    <a:pt x="3" y="212"/>
                  </a:lnTo>
                  <a:lnTo>
                    <a:pt x="5" y="207"/>
                  </a:lnTo>
                  <a:lnTo>
                    <a:pt x="6" y="201"/>
                  </a:lnTo>
                  <a:lnTo>
                    <a:pt x="7" y="197"/>
                  </a:lnTo>
                  <a:lnTo>
                    <a:pt x="8" y="194"/>
                  </a:lnTo>
                  <a:lnTo>
                    <a:pt x="10" y="191"/>
                  </a:lnTo>
                  <a:lnTo>
                    <a:pt x="13" y="184"/>
                  </a:lnTo>
                  <a:lnTo>
                    <a:pt x="17" y="177"/>
                  </a:lnTo>
                  <a:lnTo>
                    <a:pt x="20" y="174"/>
                  </a:lnTo>
                  <a:lnTo>
                    <a:pt x="22" y="171"/>
                  </a:lnTo>
                  <a:lnTo>
                    <a:pt x="24" y="169"/>
                  </a:lnTo>
                  <a:lnTo>
                    <a:pt x="26" y="167"/>
                  </a:lnTo>
                  <a:lnTo>
                    <a:pt x="27" y="165"/>
                  </a:lnTo>
                  <a:lnTo>
                    <a:pt x="30" y="164"/>
                  </a:lnTo>
                  <a:lnTo>
                    <a:pt x="32" y="162"/>
                  </a:lnTo>
                  <a:lnTo>
                    <a:pt x="33" y="162"/>
                  </a:lnTo>
                  <a:lnTo>
                    <a:pt x="40" y="159"/>
                  </a:lnTo>
                  <a:lnTo>
                    <a:pt x="42" y="158"/>
                  </a:lnTo>
                  <a:lnTo>
                    <a:pt x="45" y="156"/>
                  </a:lnTo>
                  <a:lnTo>
                    <a:pt x="47" y="154"/>
                  </a:lnTo>
                  <a:lnTo>
                    <a:pt x="50" y="152"/>
                  </a:lnTo>
                  <a:lnTo>
                    <a:pt x="51" y="150"/>
                  </a:lnTo>
                  <a:lnTo>
                    <a:pt x="52" y="148"/>
                  </a:lnTo>
                  <a:lnTo>
                    <a:pt x="54" y="146"/>
                  </a:lnTo>
                  <a:lnTo>
                    <a:pt x="55" y="145"/>
                  </a:lnTo>
                  <a:lnTo>
                    <a:pt x="55" y="142"/>
                  </a:lnTo>
                  <a:lnTo>
                    <a:pt x="56" y="140"/>
                  </a:lnTo>
                  <a:lnTo>
                    <a:pt x="57" y="138"/>
                  </a:lnTo>
                  <a:lnTo>
                    <a:pt x="57" y="135"/>
                  </a:lnTo>
                  <a:lnTo>
                    <a:pt x="57" y="130"/>
                  </a:lnTo>
                  <a:lnTo>
                    <a:pt x="57" y="127"/>
                  </a:lnTo>
                  <a:lnTo>
                    <a:pt x="56" y="122"/>
                  </a:lnTo>
                  <a:lnTo>
                    <a:pt x="53" y="110"/>
                  </a:lnTo>
                  <a:lnTo>
                    <a:pt x="52" y="107"/>
                  </a:lnTo>
                  <a:lnTo>
                    <a:pt x="51" y="102"/>
                  </a:lnTo>
                  <a:lnTo>
                    <a:pt x="47" y="95"/>
                  </a:lnTo>
                  <a:lnTo>
                    <a:pt x="47" y="91"/>
                  </a:lnTo>
                  <a:lnTo>
                    <a:pt x="46" y="87"/>
                  </a:lnTo>
                  <a:lnTo>
                    <a:pt x="46" y="85"/>
                  </a:lnTo>
                  <a:lnTo>
                    <a:pt x="46" y="82"/>
                  </a:lnTo>
                  <a:lnTo>
                    <a:pt x="46" y="80"/>
                  </a:lnTo>
                  <a:lnTo>
                    <a:pt x="49" y="72"/>
                  </a:lnTo>
                  <a:lnTo>
                    <a:pt x="50" y="68"/>
                  </a:lnTo>
                  <a:lnTo>
                    <a:pt x="50" y="64"/>
                  </a:lnTo>
                  <a:lnTo>
                    <a:pt x="50" y="52"/>
                  </a:lnTo>
                  <a:lnTo>
                    <a:pt x="51" y="47"/>
                  </a:lnTo>
                  <a:lnTo>
                    <a:pt x="52" y="40"/>
                  </a:lnTo>
                  <a:lnTo>
                    <a:pt x="53" y="35"/>
                  </a:lnTo>
                  <a:lnTo>
                    <a:pt x="54" y="30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7" y="25"/>
                  </a:lnTo>
                  <a:lnTo>
                    <a:pt x="58" y="25"/>
                  </a:lnTo>
                  <a:lnTo>
                    <a:pt x="60" y="25"/>
                  </a:lnTo>
                  <a:lnTo>
                    <a:pt x="62" y="25"/>
                  </a:lnTo>
                  <a:lnTo>
                    <a:pt x="63" y="25"/>
                  </a:lnTo>
                  <a:lnTo>
                    <a:pt x="74" y="27"/>
                  </a:lnTo>
                  <a:lnTo>
                    <a:pt x="77" y="28"/>
                  </a:lnTo>
                  <a:lnTo>
                    <a:pt x="80" y="29"/>
                  </a:lnTo>
                  <a:lnTo>
                    <a:pt x="82" y="29"/>
                  </a:lnTo>
                  <a:lnTo>
                    <a:pt x="85" y="29"/>
                  </a:lnTo>
                  <a:lnTo>
                    <a:pt x="87" y="28"/>
                  </a:lnTo>
                  <a:lnTo>
                    <a:pt x="90" y="27"/>
                  </a:lnTo>
                  <a:lnTo>
                    <a:pt x="92" y="27"/>
                  </a:lnTo>
                  <a:lnTo>
                    <a:pt x="94" y="26"/>
                  </a:lnTo>
                  <a:lnTo>
                    <a:pt x="96" y="25"/>
                  </a:lnTo>
                  <a:lnTo>
                    <a:pt x="99" y="22"/>
                  </a:lnTo>
                  <a:lnTo>
                    <a:pt x="104" y="20"/>
                  </a:lnTo>
                  <a:lnTo>
                    <a:pt x="107" y="17"/>
                  </a:lnTo>
                  <a:lnTo>
                    <a:pt x="119" y="7"/>
                  </a:lnTo>
                  <a:lnTo>
                    <a:pt x="122" y="5"/>
                  </a:lnTo>
                  <a:lnTo>
                    <a:pt x="125" y="3"/>
                  </a:lnTo>
                  <a:lnTo>
                    <a:pt x="129" y="1"/>
                  </a:lnTo>
                  <a:lnTo>
                    <a:pt x="131" y="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E6AF00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102">
              <a:extLst>
                <a:ext uri="{FF2B5EF4-FFF2-40B4-BE49-F238E27FC236}">
                  <a16:creationId xmlns:a16="http://schemas.microsoft.com/office/drawing/2014/main" id="{E7D56730-91C2-1436-9340-5127BFFCAD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436" y="4598825"/>
              <a:ext cx="846138" cy="966788"/>
            </a:xfrm>
            <a:custGeom>
              <a:avLst/>
              <a:gdLst>
                <a:gd name="T0" fmla="*/ 147 w 533"/>
                <a:gd name="T1" fmla="*/ 19 h 609"/>
                <a:gd name="T2" fmla="*/ 172 w 533"/>
                <a:gd name="T3" fmla="*/ 6 h 609"/>
                <a:gd name="T4" fmla="*/ 193 w 533"/>
                <a:gd name="T5" fmla="*/ 21 h 609"/>
                <a:gd name="T6" fmla="*/ 222 w 533"/>
                <a:gd name="T7" fmla="*/ 35 h 609"/>
                <a:gd name="T8" fmla="*/ 252 w 533"/>
                <a:gd name="T9" fmla="*/ 44 h 609"/>
                <a:gd name="T10" fmla="*/ 273 w 533"/>
                <a:gd name="T11" fmla="*/ 61 h 609"/>
                <a:gd name="T12" fmla="*/ 279 w 533"/>
                <a:gd name="T13" fmla="*/ 70 h 609"/>
                <a:gd name="T14" fmla="*/ 294 w 533"/>
                <a:gd name="T15" fmla="*/ 84 h 609"/>
                <a:gd name="T16" fmla="*/ 290 w 533"/>
                <a:gd name="T17" fmla="*/ 103 h 609"/>
                <a:gd name="T18" fmla="*/ 270 w 533"/>
                <a:gd name="T19" fmla="*/ 120 h 609"/>
                <a:gd name="T20" fmla="*/ 279 w 533"/>
                <a:gd name="T21" fmla="*/ 148 h 609"/>
                <a:gd name="T22" fmla="*/ 282 w 533"/>
                <a:gd name="T23" fmla="*/ 175 h 609"/>
                <a:gd name="T24" fmla="*/ 295 w 533"/>
                <a:gd name="T25" fmla="*/ 193 h 609"/>
                <a:gd name="T26" fmla="*/ 288 w 533"/>
                <a:gd name="T27" fmla="*/ 220 h 609"/>
                <a:gd name="T28" fmla="*/ 278 w 533"/>
                <a:gd name="T29" fmla="*/ 273 h 609"/>
                <a:gd name="T30" fmla="*/ 304 w 533"/>
                <a:gd name="T31" fmla="*/ 310 h 609"/>
                <a:gd name="T32" fmla="*/ 326 w 533"/>
                <a:gd name="T33" fmla="*/ 365 h 609"/>
                <a:gd name="T34" fmla="*/ 348 w 533"/>
                <a:gd name="T35" fmla="*/ 396 h 609"/>
                <a:gd name="T36" fmla="*/ 375 w 533"/>
                <a:gd name="T37" fmla="*/ 440 h 609"/>
                <a:gd name="T38" fmla="*/ 407 w 533"/>
                <a:gd name="T39" fmla="*/ 460 h 609"/>
                <a:gd name="T40" fmla="*/ 434 w 533"/>
                <a:gd name="T41" fmla="*/ 476 h 609"/>
                <a:gd name="T42" fmla="*/ 459 w 533"/>
                <a:gd name="T43" fmla="*/ 494 h 609"/>
                <a:gd name="T44" fmla="*/ 506 w 533"/>
                <a:gd name="T45" fmla="*/ 510 h 609"/>
                <a:gd name="T46" fmla="*/ 532 w 533"/>
                <a:gd name="T47" fmla="*/ 524 h 609"/>
                <a:gd name="T48" fmla="*/ 512 w 533"/>
                <a:gd name="T49" fmla="*/ 542 h 609"/>
                <a:gd name="T50" fmla="*/ 505 w 533"/>
                <a:gd name="T51" fmla="*/ 557 h 609"/>
                <a:gd name="T52" fmla="*/ 496 w 533"/>
                <a:gd name="T53" fmla="*/ 564 h 609"/>
                <a:gd name="T54" fmla="*/ 489 w 533"/>
                <a:gd name="T55" fmla="*/ 596 h 609"/>
                <a:gd name="T56" fmla="*/ 456 w 533"/>
                <a:gd name="T57" fmla="*/ 607 h 609"/>
                <a:gd name="T58" fmla="*/ 361 w 533"/>
                <a:gd name="T59" fmla="*/ 607 h 609"/>
                <a:gd name="T60" fmla="*/ 326 w 533"/>
                <a:gd name="T61" fmla="*/ 593 h 609"/>
                <a:gd name="T62" fmla="*/ 302 w 533"/>
                <a:gd name="T63" fmla="*/ 564 h 609"/>
                <a:gd name="T64" fmla="*/ 280 w 533"/>
                <a:gd name="T65" fmla="*/ 553 h 609"/>
                <a:gd name="T66" fmla="*/ 261 w 533"/>
                <a:gd name="T67" fmla="*/ 540 h 609"/>
                <a:gd name="T68" fmla="*/ 241 w 533"/>
                <a:gd name="T69" fmla="*/ 564 h 609"/>
                <a:gd name="T70" fmla="*/ 197 w 533"/>
                <a:gd name="T71" fmla="*/ 576 h 609"/>
                <a:gd name="T72" fmla="*/ 159 w 533"/>
                <a:gd name="T73" fmla="*/ 572 h 609"/>
                <a:gd name="T74" fmla="*/ 104 w 533"/>
                <a:gd name="T75" fmla="*/ 544 h 609"/>
                <a:gd name="T76" fmla="*/ 55 w 533"/>
                <a:gd name="T77" fmla="*/ 539 h 609"/>
                <a:gd name="T78" fmla="*/ 34 w 533"/>
                <a:gd name="T79" fmla="*/ 518 h 609"/>
                <a:gd name="T80" fmla="*/ 0 w 533"/>
                <a:gd name="T81" fmla="*/ 507 h 609"/>
                <a:gd name="T82" fmla="*/ 13 w 533"/>
                <a:gd name="T83" fmla="*/ 466 h 609"/>
                <a:gd name="T84" fmla="*/ 18 w 533"/>
                <a:gd name="T85" fmla="*/ 440 h 609"/>
                <a:gd name="T86" fmla="*/ 7 w 533"/>
                <a:gd name="T87" fmla="*/ 407 h 609"/>
                <a:gd name="T88" fmla="*/ 29 w 533"/>
                <a:gd name="T89" fmla="*/ 387 h 609"/>
                <a:gd name="T90" fmla="*/ 24 w 533"/>
                <a:gd name="T91" fmla="*/ 368 h 609"/>
                <a:gd name="T92" fmla="*/ 18 w 533"/>
                <a:gd name="T93" fmla="*/ 350 h 609"/>
                <a:gd name="T94" fmla="*/ 35 w 533"/>
                <a:gd name="T95" fmla="*/ 335 h 609"/>
                <a:gd name="T96" fmla="*/ 37 w 533"/>
                <a:gd name="T97" fmla="*/ 310 h 609"/>
                <a:gd name="T98" fmla="*/ 71 w 533"/>
                <a:gd name="T99" fmla="*/ 275 h 609"/>
                <a:gd name="T100" fmla="*/ 92 w 533"/>
                <a:gd name="T101" fmla="*/ 228 h 609"/>
                <a:gd name="T102" fmla="*/ 81 w 533"/>
                <a:gd name="T103" fmla="*/ 201 h 609"/>
                <a:gd name="T104" fmla="*/ 79 w 533"/>
                <a:gd name="T105" fmla="*/ 143 h 609"/>
                <a:gd name="T106" fmla="*/ 77 w 533"/>
                <a:gd name="T107" fmla="*/ 99 h 609"/>
                <a:gd name="T108" fmla="*/ 68 w 533"/>
                <a:gd name="T109" fmla="*/ 56 h 609"/>
                <a:gd name="T110" fmla="*/ 71 w 533"/>
                <a:gd name="T111" fmla="*/ 24 h 609"/>
                <a:gd name="T112" fmla="*/ 86 w 533"/>
                <a:gd name="T113" fmla="*/ 21 h 609"/>
                <a:gd name="T114" fmla="*/ 106 w 533"/>
                <a:gd name="T115" fmla="*/ 12 h 609"/>
                <a:gd name="T116" fmla="*/ 127 w 533"/>
                <a:gd name="T117" fmla="*/ 0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3" h="609">
                  <a:moveTo>
                    <a:pt x="127" y="0"/>
                  </a:moveTo>
                  <a:lnTo>
                    <a:pt x="128" y="0"/>
                  </a:lnTo>
                  <a:lnTo>
                    <a:pt x="129" y="0"/>
                  </a:lnTo>
                  <a:lnTo>
                    <a:pt x="132" y="6"/>
                  </a:lnTo>
                  <a:lnTo>
                    <a:pt x="138" y="15"/>
                  </a:lnTo>
                  <a:lnTo>
                    <a:pt x="139" y="17"/>
                  </a:lnTo>
                  <a:lnTo>
                    <a:pt x="139" y="18"/>
                  </a:lnTo>
                  <a:lnTo>
                    <a:pt x="141" y="18"/>
                  </a:lnTo>
                  <a:lnTo>
                    <a:pt x="142" y="19"/>
                  </a:lnTo>
                  <a:lnTo>
                    <a:pt x="143" y="19"/>
                  </a:lnTo>
                  <a:lnTo>
                    <a:pt x="147" y="19"/>
                  </a:lnTo>
                  <a:lnTo>
                    <a:pt x="148" y="19"/>
                  </a:lnTo>
                  <a:lnTo>
                    <a:pt x="150" y="18"/>
                  </a:lnTo>
                  <a:lnTo>
                    <a:pt x="153" y="17"/>
                  </a:lnTo>
                  <a:lnTo>
                    <a:pt x="155" y="15"/>
                  </a:lnTo>
                  <a:lnTo>
                    <a:pt x="157" y="13"/>
                  </a:lnTo>
                  <a:lnTo>
                    <a:pt x="164" y="8"/>
                  </a:lnTo>
                  <a:lnTo>
                    <a:pt x="165" y="7"/>
                  </a:lnTo>
                  <a:lnTo>
                    <a:pt x="167" y="6"/>
                  </a:lnTo>
                  <a:lnTo>
                    <a:pt x="169" y="6"/>
                  </a:lnTo>
                  <a:lnTo>
                    <a:pt x="170" y="6"/>
                  </a:lnTo>
                  <a:lnTo>
                    <a:pt x="172" y="6"/>
                  </a:lnTo>
                  <a:lnTo>
                    <a:pt x="174" y="7"/>
                  </a:lnTo>
                  <a:lnTo>
                    <a:pt x="175" y="7"/>
                  </a:lnTo>
                  <a:lnTo>
                    <a:pt x="176" y="8"/>
                  </a:lnTo>
                  <a:lnTo>
                    <a:pt x="177" y="9"/>
                  </a:lnTo>
                  <a:lnTo>
                    <a:pt x="179" y="10"/>
                  </a:lnTo>
                  <a:lnTo>
                    <a:pt x="183" y="15"/>
                  </a:lnTo>
                  <a:lnTo>
                    <a:pt x="184" y="16"/>
                  </a:lnTo>
                  <a:lnTo>
                    <a:pt x="186" y="17"/>
                  </a:lnTo>
                  <a:lnTo>
                    <a:pt x="187" y="18"/>
                  </a:lnTo>
                  <a:lnTo>
                    <a:pt x="192" y="20"/>
                  </a:lnTo>
                  <a:lnTo>
                    <a:pt x="193" y="21"/>
                  </a:lnTo>
                  <a:lnTo>
                    <a:pt x="194" y="21"/>
                  </a:lnTo>
                  <a:lnTo>
                    <a:pt x="194" y="22"/>
                  </a:lnTo>
                  <a:lnTo>
                    <a:pt x="195" y="25"/>
                  </a:lnTo>
                  <a:lnTo>
                    <a:pt x="196" y="25"/>
                  </a:lnTo>
                  <a:lnTo>
                    <a:pt x="197" y="26"/>
                  </a:lnTo>
                  <a:lnTo>
                    <a:pt x="198" y="27"/>
                  </a:lnTo>
                  <a:lnTo>
                    <a:pt x="201" y="28"/>
                  </a:lnTo>
                  <a:lnTo>
                    <a:pt x="208" y="31"/>
                  </a:lnTo>
                  <a:lnTo>
                    <a:pt x="212" y="33"/>
                  </a:lnTo>
                  <a:lnTo>
                    <a:pt x="218" y="35"/>
                  </a:lnTo>
                  <a:lnTo>
                    <a:pt x="222" y="35"/>
                  </a:lnTo>
                  <a:lnTo>
                    <a:pt x="227" y="36"/>
                  </a:lnTo>
                  <a:lnTo>
                    <a:pt x="227" y="37"/>
                  </a:lnTo>
                  <a:lnTo>
                    <a:pt x="228" y="38"/>
                  </a:lnTo>
                  <a:lnTo>
                    <a:pt x="229" y="38"/>
                  </a:lnTo>
                  <a:lnTo>
                    <a:pt x="230" y="38"/>
                  </a:lnTo>
                  <a:lnTo>
                    <a:pt x="232" y="39"/>
                  </a:lnTo>
                  <a:lnTo>
                    <a:pt x="241" y="40"/>
                  </a:lnTo>
                  <a:lnTo>
                    <a:pt x="244" y="40"/>
                  </a:lnTo>
                  <a:lnTo>
                    <a:pt x="246" y="42"/>
                  </a:lnTo>
                  <a:lnTo>
                    <a:pt x="249" y="43"/>
                  </a:lnTo>
                  <a:lnTo>
                    <a:pt x="252" y="44"/>
                  </a:lnTo>
                  <a:lnTo>
                    <a:pt x="254" y="45"/>
                  </a:lnTo>
                  <a:lnTo>
                    <a:pt x="257" y="48"/>
                  </a:lnTo>
                  <a:lnTo>
                    <a:pt x="259" y="49"/>
                  </a:lnTo>
                  <a:lnTo>
                    <a:pt x="260" y="50"/>
                  </a:lnTo>
                  <a:lnTo>
                    <a:pt x="261" y="50"/>
                  </a:lnTo>
                  <a:lnTo>
                    <a:pt x="264" y="55"/>
                  </a:lnTo>
                  <a:lnTo>
                    <a:pt x="266" y="58"/>
                  </a:lnTo>
                  <a:lnTo>
                    <a:pt x="268" y="59"/>
                  </a:lnTo>
                  <a:lnTo>
                    <a:pt x="270" y="60"/>
                  </a:lnTo>
                  <a:lnTo>
                    <a:pt x="271" y="61"/>
                  </a:lnTo>
                  <a:lnTo>
                    <a:pt x="273" y="61"/>
                  </a:lnTo>
                  <a:lnTo>
                    <a:pt x="276" y="62"/>
                  </a:lnTo>
                  <a:lnTo>
                    <a:pt x="277" y="63"/>
                  </a:lnTo>
                  <a:lnTo>
                    <a:pt x="279" y="63"/>
                  </a:lnTo>
                  <a:lnTo>
                    <a:pt x="280" y="64"/>
                  </a:lnTo>
                  <a:lnTo>
                    <a:pt x="281" y="65"/>
                  </a:lnTo>
                  <a:lnTo>
                    <a:pt x="281" y="65"/>
                  </a:lnTo>
                  <a:lnTo>
                    <a:pt x="281" y="66"/>
                  </a:lnTo>
                  <a:lnTo>
                    <a:pt x="281" y="67"/>
                  </a:lnTo>
                  <a:lnTo>
                    <a:pt x="279" y="68"/>
                  </a:lnTo>
                  <a:lnTo>
                    <a:pt x="279" y="69"/>
                  </a:lnTo>
                  <a:lnTo>
                    <a:pt x="279" y="70"/>
                  </a:lnTo>
                  <a:lnTo>
                    <a:pt x="279" y="71"/>
                  </a:lnTo>
                  <a:lnTo>
                    <a:pt x="279" y="73"/>
                  </a:lnTo>
                  <a:lnTo>
                    <a:pt x="280" y="74"/>
                  </a:lnTo>
                  <a:lnTo>
                    <a:pt x="280" y="75"/>
                  </a:lnTo>
                  <a:lnTo>
                    <a:pt x="284" y="80"/>
                  </a:lnTo>
                  <a:lnTo>
                    <a:pt x="286" y="81"/>
                  </a:lnTo>
                  <a:lnTo>
                    <a:pt x="287" y="82"/>
                  </a:lnTo>
                  <a:lnTo>
                    <a:pt x="289" y="83"/>
                  </a:lnTo>
                  <a:lnTo>
                    <a:pt x="293" y="83"/>
                  </a:lnTo>
                  <a:lnTo>
                    <a:pt x="294" y="84"/>
                  </a:lnTo>
                  <a:lnTo>
                    <a:pt x="294" y="84"/>
                  </a:lnTo>
                  <a:lnTo>
                    <a:pt x="295" y="85"/>
                  </a:lnTo>
                  <a:lnTo>
                    <a:pt x="296" y="85"/>
                  </a:lnTo>
                  <a:lnTo>
                    <a:pt x="296" y="87"/>
                  </a:lnTo>
                  <a:lnTo>
                    <a:pt x="296" y="88"/>
                  </a:lnTo>
                  <a:lnTo>
                    <a:pt x="296" y="89"/>
                  </a:lnTo>
                  <a:lnTo>
                    <a:pt x="296" y="91"/>
                  </a:lnTo>
                  <a:lnTo>
                    <a:pt x="296" y="93"/>
                  </a:lnTo>
                  <a:lnTo>
                    <a:pt x="294" y="95"/>
                  </a:lnTo>
                  <a:lnTo>
                    <a:pt x="293" y="98"/>
                  </a:lnTo>
                  <a:lnTo>
                    <a:pt x="291" y="101"/>
                  </a:lnTo>
                  <a:lnTo>
                    <a:pt x="290" y="103"/>
                  </a:lnTo>
                  <a:lnTo>
                    <a:pt x="288" y="105"/>
                  </a:lnTo>
                  <a:lnTo>
                    <a:pt x="286" y="107"/>
                  </a:lnTo>
                  <a:lnTo>
                    <a:pt x="284" y="108"/>
                  </a:lnTo>
                  <a:lnTo>
                    <a:pt x="280" y="110"/>
                  </a:lnTo>
                  <a:lnTo>
                    <a:pt x="278" y="110"/>
                  </a:lnTo>
                  <a:lnTo>
                    <a:pt x="276" y="111"/>
                  </a:lnTo>
                  <a:lnTo>
                    <a:pt x="275" y="113"/>
                  </a:lnTo>
                  <a:lnTo>
                    <a:pt x="273" y="115"/>
                  </a:lnTo>
                  <a:lnTo>
                    <a:pt x="271" y="117"/>
                  </a:lnTo>
                  <a:lnTo>
                    <a:pt x="270" y="120"/>
                  </a:lnTo>
                  <a:lnTo>
                    <a:pt x="270" y="120"/>
                  </a:lnTo>
                  <a:lnTo>
                    <a:pt x="269" y="122"/>
                  </a:lnTo>
                  <a:lnTo>
                    <a:pt x="269" y="123"/>
                  </a:lnTo>
                  <a:lnTo>
                    <a:pt x="270" y="125"/>
                  </a:lnTo>
                  <a:lnTo>
                    <a:pt x="270" y="125"/>
                  </a:lnTo>
                  <a:lnTo>
                    <a:pt x="271" y="128"/>
                  </a:lnTo>
                  <a:lnTo>
                    <a:pt x="272" y="130"/>
                  </a:lnTo>
                  <a:lnTo>
                    <a:pt x="275" y="135"/>
                  </a:lnTo>
                  <a:lnTo>
                    <a:pt x="276" y="138"/>
                  </a:lnTo>
                  <a:lnTo>
                    <a:pt x="277" y="140"/>
                  </a:lnTo>
                  <a:lnTo>
                    <a:pt x="278" y="145"/>
                  </a:lnTo>
                  <a:lnTo>
                    <a:pt x="279" y="148"/>
                  </a:lnTo>
                  <a:lnTo>
                    <a:pt x="280" y="152"/>
                  </a:lnTo>
                  <a:lnTo>
                    <a:pt x="283" y="159"/>
                  </a:lnTo>
                  <a:lnTo>
                    <a:pt x="284" y="161"/>
                  </a:lnTo>
                  <a:lnTo>
                    <a:pt x="284" y="163"/>
                  </a:lnTo>
                  <a:lnTo>
                    <a:pt x="284" y="165"/>
                  </a:lnTo>
                  <a:lnTo>
                    <a:pt x="284" y="167"/>
                  </a:lnTo>
                  <a:lnTo>
                    <a:pt x="282" y="169"/>
                  </a:lnTo>
                  <a:lnTo>
                    <a:pt x="281" y="170"/>
                  </a:lnTo>
                  <a:lnTo>
                    <a:pt x="281" y="172"/>
                  </a:lnTo>
                  <a:lnTo>
                    <a:pt x="281" y="173"/>
                  </a:lnTo>
                  <a:lnTo>
                    <a:pt x="282" y="175"/>
                  </a:lnTo>
                  <a:lnTo>
                    <a:pt x="284" y="176"/>
                  </a:lnTo>
                  <a:lnTo>
                    <a:pt x="286" y="178"/>
                  </a:lnTo>
                  <a:lnTo>
                    <a:pt x="290" y="181"/>
                  </a:lnTo>
                  <a:lnTo>
                    <a:pt x="291" y="183"/>
                  </a:lnTo>
                  <a:lnTo>
                    <a:pt x="292" y="183"/>
                  </a:lnTo>
                  <a:lnTo>
                    <a:pt x="294" y="185"/>
                  </a:lnTo>
                  <a:lnTo>
                    <a:pt x="295" y="188"/>
                  </a:lnTo>
                  <a:lnTo>
                    <a:pt x="295" y="189"/>
                  </a:lnTo>
                  <a:lnTo>
                    <a:pt x="296" y="190"/>
                  </a:lnTo>
                  <a:lnTo>
                    <a:pt x="296" y="192"/>
                  </a:lnTo>
                  <a:lnTo>
                    <a:pt x="295" y="193"/>
                  </a:lnTo>
                  <a:lnTo>
                    <a:pt x="294" y="198"/>
                  </a:lnTo>
                  <a:lnTo>
                    <a:pt x="293" y="200"/>
                  </a:lnTo>
                  <a:lnTo>
                    <a:pt x="293" y="202"/>
                  </a:lnTo>
                  <a:lnTo>
                    <a:pt x="294" y="206"/>
                  </a:lnTo>
                  <a:lnTo>
                    <a:pt x="294" y="208"/>
                  </a:lnTo>
                  <a:lnTo>
                    <a:pt x="294" y="210"/>
                  </a:lnTo>
                  <a:lnTo>
                    <a:pt x="293" y="211"/>
                  </a:lnTo>
                  <a:lnTo>
                    <a:pt x="293" y="212"/>
                  </a:lnTo>
                  <a:lnTo>
                    <a:pt x="292" y="213"/>
                  </a:lnTo>
                  <a:lnTo>
                    <a:pt x="289" y="217"/>
                  </a:lnTo>
                  <a:lnTo>
                    <a:pt x="288" y="220"/>
                  </a:lnTo>
                  <a:lnTo>
                    <a:pt x="288" y="222"/>
                  </a:lnTo>
                  <a:lnTo>
                    <a:pt x="287" y="227"/>
                  </a:lnTo>
                  <a:lnTo>
                    <a:pt x="286" y="230"/>
                  </a:lnTo>
                  <a:lnTo>
                    <a:pt x="285" y="233"/>
                  </a:lnTo>
                  <a:lnTo>
                    <a:pt x="282" y="241"/>
                  </a:lnTo>
                  <a:lnTo>
                    <a:pt x="281" y="245"/>
                  </a:lnTo>
                  <a:lnTo>
                    <a:pt x="280" y="248"/>
                  </a:lnTo>
                  <a:lnTo>
                    <a:pt x="279" y="259"/>
                  </a:lnTo>
                  <a:lnTo>
                    <a:pt x="277" y="266"/>
                  </a:lnTo>
                  <a:lnTo>
                    <a:pt x="277" y="270"/>
                  </a:lnTo>
                  <a:lnTo>
                    <a:pt x="278" y="273"/>
                  </a:lnTo>
                  <a:lnTo>
                    <a:pt x="278" y="275"/>
                  </a:lnTo>
                  <a:lnTo>
                    <a:pt x="279" y="277"/>
                  </a:lnTo>
                  <a:lnTo>
                    <a:pt x="280" y="279"/>
                  </a:lnTo>
                  <a:lnTo>
                    <a:pt x="281" y="281"/>
                  </a:lnTo>
                  <a:lnTo>
                    <a:pt x="282" y="283"/>
                  </a:lnTo>
                  <a:lnTo>
                    <a:pt x="284" y="285"/>
                  </a:lnTo>
                  <a:lnTo>
                    <a:pt x="291" y="292"/>
                  </a:lnTo>
                  <a:lnTo>
                    <a:pt x="296" y="298"/>
                  </a:lnTo>
                  <a:lnTo>
                    <a:pt x="299" y="302"/>
                  </a:lnTo>
                  <a:lnTo>
                    <a:pt x="302" y="306"/>
                  </a:lnTo>
                  <a:lnTo>
                    <a:pt x="304" y="310"/>
                  </a:lnTo>
                  <a:lnTo>
                    <a:pt x="306" y="314"/>
                  </a:lnTo>
                  <a:lnTo>
                    <a:pt x="314" y="327"/>
                  </a:lnTo>
                  <a:lnTo>
                    <a:pt x="316" y="332"/>
                  </a:lnTo>
                  <a:lnTo>
                    <a:pt x="319" y="337"/>
                  </a:lnTo>
                  <a:lnTo>
                    <a:pt x="321" y="345"/>
                  </a:lnTo>
                  <a:lnTo>
                    <a:pt x="324" y="352"/>
                  </a:lnTo>
                  <a:lnTo>
                    <a:pt x="324" y="355"/>
                  </a:lnTo>
                  <a:lnTo>
                    <a:pt x="325" y="357"/>
                  </a:lnTo>
                  <a:lnTo>
                    <a:pt x="326" y="360"/>
                  </a:lnTo>
                  <a:lnTo>
                    <a:pt x="326" y="363"/>
                  </a:lnTo>
                  <a:lnTo>
                    <a:pt x="326" y="365"/>
                  </a:lnTo>
                  <a:lnTo>
                    <a:pt x="326" y="367"/>
                  </a:lnTo>
                  <a:lnTo>
                    <a:pt x="327" y="369"/>
                  </a:lnTo>
                  <a:lnTo>
                    <a:pt x="328" y="370"/>
                  </a:lnTo>
                  <a:lnTo>
                    <a:pt x="329" y="373"/>
                  </a:lnTo>
                  <a:lnTo>
                    <a:pt x="331" y="375"/>
                  </a:lnTo>
                  <a:lnTo>
                    <a:pt x="332" y="377"/>
                  </a:lnTo>
                  <a:lnTo>
                    <a:pt x="334" y="379"/>
                  </a:lnTo>
                  <a:lnTo>
                    <a:pt x="339" y="383"/>
                  </a:lnTo>
                  <a:lnTo>
                    <a:pt x="341" y="385"/>
                  </a:lnTo>
                  <a:lnTo>
                    <a:pt x="346" y="392"/>
                  </a:lnTo>
                  <a:lnTo>
                    <a:pt x="348" y="396"/>
                  </a:lnTo>
                  <a:lnTo>
                    <a:pt x="351" y="400"/>
                  </a:lnTo>
                  <a:lnTo>
                    <a:pt x="352" y="405"/>
                  </a:lnTo>
                  <a:lnTo>
                    <a:pt x="354" y="408"/>
                  </a:lnTo>
                  <a:lnTo>
                    <a:pt x="356" y="416"/>
                  </a:lnTo>
                  <a:lnTo>
                    <a:pt x="357" y="420"/>
                  </a:lnTo>
                  <a:lnTo>
                    <a:pt x="359" y="424"/>
                  </a:lnTo>
                  <a:lnTo>
                    <a:pt x="361" y="427"/>
                  </a:lnTo>
                  <a:lnTo>
                    <a:pt x="363" y="430"/>
                  </a:lnTo>
                  <a:lnTo>
                    <a:pt x="365" y="432"/>
                  </a:lnTo>
                  <a:lnTo>
                    <a:pt x="370" y="436"/>
                  </a:lnTo>
                  <a:lnTo>
                    <a:pt x="375" y="440"/>
                  </a:lnTo>
                  <a:lnTo>
                    <a:pt x="377" y="442"/>
                  </a:lnTo>
                  <a:lnTo>
                    <a:pt x="379" y="445"/>
                  </a:lnTo>
                  <a:lnTo>
                    <a:pt x="383" y="450"/>
                  </a:lnTo>
                  <a:lnTo>
                    <a:pt x="384" y="452"/>
                  </a:lnTo>
                  <a:lnTo>
                    <a:pt x="385" y="453"/>
                  </a:lnTo>
                  <a:lnTo>
                    <a:pt x="386" y="454"/>
                  </a:lnTo>
                  <a:lnTo>
                    <a:pt x="389" y="455"/>
                  </a:lnTo>
                  <a:lnTo>
                    <a:pt x="390" y="456"/>
                  </a:lnTo>
                  <a:lnTo>
                    <a:pt x="392" y="457"/>
                  </a:lnTo>
                  <a:lnTo>
                    <a:pt x="396" y="458"/>
                  </a:lnTo>
                  <a:lnTo>
                    <a:pt x="407" y="460"/>
                  </a:lnTo>
                  <a:lnTo>
                    <a:pt x="415" y="462"/>
                  </a:lnTo>
                  <a:lnTo>
                    <a:pt x="418" y="462"/>
                  </a:lnTo>
                  <a:lnTo>
                    <a:pt x="424" y="463"/>
                  </a:lnTo>
                  <a:lnTo>
                    <a:pt x="426" y="463"/>
                  </a:lnTo>
                  <a:lnTo>
                    <a:pt x="428" y="464"/>
                  </a:lnTo>
                  <a:lnTo>
                    <a:pt x="429" y="464"/>
                  </a:lnTo>
                  <a:lnTo>
                    <a:pt x="430" y="465"/>
                  </a:lnTo>
                  <a:lnTo>
                    <a:pt x="431" y="466"/>
                  </a:lnTo>
                  <a:lnTo>
                    <a:pt x="431" y="468"/>
                  </a:lnTo>
                  <a:lnTo>
                    <a:pt x="432" y="470"/>
                  </a:lnTo>
                  <a:lnTo>
                    <a:pt x="434" y="476"/>
                  </a:lnTo>
                  <a:lnTo>
                    <a:pt x="434" y="478"/>
                  </a:lnTo>
                  <a:lnTo>
                    <a:pt x="436" y="480"/>
                  </a:lnTo>
                  <a:lnTo>
                    <a:pt x="437" y="482"/>
                  </a:lnTo>
                  <a:lnTo>
                    <a:pt x="439" y="484"/>
                  </a:lnTo>
                  <a:lnTo>
                    <a:pt x="442" y="485"/>
                  </a:lnTo>
                  <a:lnTo>
                    <a:pt x="444" y="486"/>
                  </a:lnTo>
                  <a:lnTo>
                    <a:pt x="454" y="489"/>
                  </a:lnTo>
                  <a:lnTo>
                    <a:pt x="456" y="489"/>
                  </a:lnTo>
                  <a:lnTo>
                    <a:pt x="457" y="491"/>
                  </a:lnTo>
                  <a:lnTo>
                    <a:pt x="459" y="492"/>
                  </a:lnTo>
                  <a:lnTo>
                    <a:pt x="459" y="494"/>
                  </a:lnTo>
                  <a:lnTo>
                    <a:pt x="463" y="499"/>
                  </a:lnTo>
                  <a:lnTo>
                    <a:pt x="464" y="502"/>
                  </a:lnTo>
                  <a:lnTo>
                    <a:pt x="466" y="503"/>
                  </a:lnTo>
                  <a:lnTo>
                    <a:pt x="468" y="504"/>
                  </a:lnTo>
                  <a:lnTo>
                    <a:pt x="471" y="505"/>
                  </a:lnTo>
                  <a:lnTo>
                    <a:pt x="476" y="507"/>
                  </a:lnTo>
                  <a:lnTo>
                    <a:pt x="481" y="508"/>
                  </a:lnTo>
                  <a:lnTo>
                    <a:pt x="486" y="509"/>
                  </a:lnTo>
                  <a:lnTo>
                    <a:pt x="490" y="509"/>
                  </a:lnTo>
                  <a:lnTo>
                    <a:pt x="501" y="509"/>
                  </a:lnTo>
                  <a:lnTo>
                    <a:pt x="506" y="510"/>
                  </a:lnTo>
                  <a:lnTo>
                    <a:pt x="510" y="511"/>
                  </a:lnTo>
                  <a:lnTo>
                    <a:pt x="515" y="512"/>
                  </a:lnTo>
                  <a:lnTo>
                    <a:pt x="525" y="513"/>
                  </a:lnTo>
                  <a:lnTo>
                    <a:pt x="528" y="514"/>
                  </a:lnTo>
                  <a:lnTo>
                    <a:pt x="531" y="514"/>
                  </a:lnTo>
                  <a:lnTo>
                    <a:pt x="532" y="514"/>
                  </a:lnTo>
                  <a:lnTo>
                    <a:pt x="533" y="514"/>
                  </a:lnTo>
                  <a:lnTo>
                    <a:pt x="533" y="515"/>
                  </a:lnTo>
                  <a:lnTo>
                    <a:pt x="533" y="517"/>
                  </a:lnTo>
                  <a:lnTo>
                    <a:pt x="533" y="521"/>
                  </a:lnTo>
                  <a:lnTo>
                    <a:pt x="532" y="524"/>
                  </a:lnTo>
                  <a:lnTo>
                    <a:pt x="531" y="527"/>
                  </a:lnTo>
                  <a:lnTo>
                    <a:pt x="531" y="529"/>
                  </a:lnTo>
                  <a:lnTo>
                    <a:pt x="530" y="532"/>
                  </a:lnTo>
                  <a:lnTo>
                    <a:pt x="529" y="533"/>
                  </a:lnTo>
                  <a:lnTo>
                    <a:pt x="526" y="537"/>
                  </a:lnTo>
                  <a:lnTo>
                    <a:pt x="524" y="537"/>
                  </a:lnTo>
                  <a:lnTo>
                    <a:pt x="523" y="539"/>
                  </a:lnTo>
                  <a:lnTo>
                    <a:pt x="520" y="539"/>
                  </a:lnTo>
                  <a:lnTo>
                    <a:pt x="518" y="541"/>
                  </a:lnTo>
                  <a:lnTo>
                    <a:pt x="516" y="541"/>
                  </a:lnTo>
                  <a:lnTo>
                    <a:pt x="512" y="542"/>
                  </a:lnTo>
                  <a:lnTo>
                    <a:pt x="511" y="542"/>
                  </a:lnTo>
                  <a:lnTo>
                    <a:pt x="511" y="543"/>
                  </a:lnTo>
                  <a:lnTo>
                    <a:pt x="510" y="544"/>
                  </a:lnTo>
                  <a:lnTo>
                    <a:pt x="509" y="544"/>
                  </a:lnTo>
                  <a:lnTo>
                    <a:pt x="508" y="546"/>
                  </a:lnTo>
                  <a:lnTo>
                    <a:pt x="508" y="547"/>
                  </a:lnTo>
                  <a:lnTo>
                    <a:pt x="507" y="549"/>
                  </a:lnTo>
                  <a:lnTo>
                    <a:pt x="506" y="554"/>
                  </a:lnTo>
                  <a:lnTo>
                    <a:pt x="506" y="556"/>
                  </a:lnTo>
                  <a:lnTo>
                    <a:pt x="506" y="557"/>
                  </a:lnTo>
                  <a:lnTo>
                    <a:pt x="505" y="557"/>
                  </a:lnTo>
                  <a:lnTo>
                    <a:pt x="504" y="557"/>
                  </a:lnTo>
                  <a:lnTo>
                    <a:pt x="502" y="558"/>
                  </a:lnTo>
                  <a:lnTo>
                    <a:pt x="499" y="559"/>
                  </a:lnTo>
                  <a:lnTo>
                    <a:pt x="498" y="559"/>
                  </a:lnTo>
                  <a:lnTo>
                    <a:pt x="497" y="559"/>
                  </a:lnTo>
                  <a:lnTo>
                    <a:pt x="496" y="560"/>
                  </a:lnTo>
                  <a:lnTo>
                    <a:pt x="496" y="561"/>
                  </a:lnTo>
                  <a:lnTo>
                    <a:pt x="496" y="562"/>
                  </a:lnTo>
                  <a:lnTo>
                    <a:pt x="496" y="562"/>
                  </a:lnTo>
                  <a:lnTo>
                    <a:pt x="496" y="563"/>
                  </a:lnTo>
                  <a:lnTo>
                    <a:pt x="496" y="564"/>
                  </a:lnTo>
                  <a:lnTo>
                    <a:pt x="501" y="572"/>
                  </a:lnTo>
                  <a:lnTo>
                    <a:pt x="503" y="577"/>
                  </a:lnTo>
                  <a:lnTo>
                    <a:pt x="503" y="578"/>
                  </a:lnTo>
                  <a:lnTo>
                    <a:pt x="502" y="580"/>
                  </a:lnTo>
                  <a:lnTo>
                    <a:pt x="501" y="582"/>
                  </a:lnTo>
                  <a:lnTo>
                    <a:pt x="501" y="584"/>
                  </a:lnTo>
                  <a:lnTo>
                    <a:pt x="499" y="586"/>
                  </a:lnTo>
                  <a:lnTo>
                    <a:pt x="496" y="589"/>
                  </a:lnTo>
                  <a:lnTo>
                    <a:pt x="494" y="592"/>
                  </a:lnTo>
                  <a:lnTo>
                    <a:pt x="491" y="594"/>
                  </a:lnTo>
                  <a:lnTo>
                    <a:pt x="489" y="596"/>
                  </a:lnTo>
                  <a:lnTo>
                    <a:pt x="487" y="597"/>
                  </a:lnTo>
                  <a:lnTo>
                    <a:pt x="484" y="599"/>
                  </a:lnTo>
                  <a:lnTo>
                    <a:pt x="482" y="600"/>
                  </a:lnTo>
                  <a:lnTo>
                    <a:pt x="479" y="602"/>
                  </a:lnTo>
                  <a:lnTo>
                    <a:pt x="476" y="603"/>
                  </a:lnTo>
                  <a:lnTo>
                    <a:pt x="474" y="604"/>
                  </a:lnTo>
                  <a:lnTo>
                    <a:pt x="471" y="605"/>
                  </a:lnTo>
                  <a:lnTo>
                    <a:pt x="468" y="605"/>
                  </a:lnTo>
                  <a:lnTo>
                    <a:pt x="465" y="606"/>
                  </a:lnTo>
                  <a:lnTo>
                    <a:pt x="461" y="607"/>
                  </a:lnTo>
                  <a:lnTo>
                    <a:pt x="456" y="607"/>
                  </a:lnTo>
                  <a:lnTo>
                    <a:pt x="451" y="607"/>
                  </a:lnTo>
                  <a:lnTo>
                    <a:pt x="440" y="607"/>
                  </a:lnTo>
                  <a:lnTo>
                    <a:pt x="434" y="607"/>
                  </a:lnTo>
                  <a:lnTo>
                    <a:pt x="421" y="607"/>
                  </a:lnTo>
                  <a:lnTo>
                    <a:pt x="410" y="608"/>
                  </a:lnTo>
                  <a:lnTo>
                    <a:pt x="396" y="609"/>
                  </a:lnTo>
                  <a:lnTo>
                    <a:pt x="385" y="609"/>
                  </a:lnTo>
                  <a:lnTo>
                    <a:pt x="380" y="609"/>
                  </a:lnTo>
                  <a:lnTo>
                    <a:pt x="370" y="609"/>
                  </a:lnTo>
                  <a:lnTo>
                    <a:pt x="364" y="607"/>
                  </a:lnTo>
                  <a:lnTo>
                    <a:pt x="361" y="607"/>
                  </a:lnTo>
                  <a:lnTo>
                    <a:pt x="358" y="605"/>
                  </a:lnTo>
                  <a:lnTo>
                    <a:pt x="352" y="602"/>
                  </a:lnTo>
                  <a:lnTo>
                    <a:pt x="349" y="602"/>
                  </a:lnTo>
                  <a:lnTo>
                    <a:pt x="344" y="600"/>
                  </a:lnTo>
                  <a:lnTo>
                    <a:pt x="337" y="599"/>
                  </a:lnTo>
                  <a:lnTo>
                    <a:pt x="335" y="599"/>
                  </a:lnTo>
                  <a:lnTo>
                    <a:pt x="332" y="598"/>
                  </a:lnTo>
                  <a:lnTo>
                    <a:pt x="330" y="597"/>
                  </a:lnTo>
                  <a:lnTo>
                    <a:pt x="329" y="596"/>
                  </a:lnTo>
                  <a:lnTo>
                    <a:pt x="327" y="594"/>
                  </a:lnTo>
                  <a:lnTo>
                    <a:pt x="326" y="593"/>
                  </a:lnTo>
                  <a:lnTo>
                    <a:pt x="325" y="592"/>
                  </a:lnTo>
                  <a:lnTo>
                    <a:pt x="323" y="589"/>
                  </a:lnTo>
                  <a:lnTo>
                    <a:pt x="319" y="582"/>
                  </a:lnTo>
                  <a:lnTo>
                    <a:pt x="317" y="580"/>
                  </a:lnTo>
                  <a:lnTo>
                    <a:pt x="316" y="579"/>
                  </a:lnTo>
                  <a:lnTo>
                    <a:pt x="313" y="576"/>
                  </a:lnTo>
                  <a:lnTo>
                    <a:pt x="307" y="570"/>
                  </a:lnTo>
                  <a:lnTo>
                    <a:pt x="305" y="568"/>
                  </a:lnTo>
                  <a:lnTo>
                    <a:pt x="304" y="567"/>
                  </a:lnTo>
                  <a:lnTo>
                    <a:pt x="303" y="566"/>
                  </a:lnTo>
                  <a:lnTo>
                    <a:pt x="302" y="564"/>
                  </a:lnTo>
                  <a:lnTo>
                    <a:pt x="300" y="560"/>
                  </a:lnTo>
                  <a:lnTo>
                    <a:pt x="299" y="558"/>
                  </a:lnTo>
                  <a:lnTo>
                    <a:pt x="299" y="556"/>
                  </a:lnTo>
                  <a:lnTo>
                    <a:pt x="296" y="554"/>
                  </a:lnTo>
                  <a:lnTo>
                    <a:pt x="296" y="554"/>
                  </a:lnTo>
                  <a:lnTo>
                    <a:pt x="294" y="553"/>
                  </a:lnTo>
                  <a:lnTo>
                    <a:pt x="294" y="553"/>
                  </a:lnTo>
                  <a:lnTo>
                    <a:pt x="292" y="552"/>
                  </a:lnTo>
                  <a:lnTo>
                    <a:pt x="289" y="552"/>
                  </a:lnTo>
                  <a:lnTo>
                    <a:pt x="282" y="553"/>
                  </a:lnTo>
                  <a:lnTo>
                    <a:pt x="280" y="553"/>
                  </a:lnTo>
                  <a:lnTo>
                    <a:pt x="276" y="553"/>
                  </a:lnTo>
                  <a:lnTo>
                    <a:pt x="276" y="553"/>
                  </a:lnTo>
                  <a:lnTo>
                    <a:pt x="274" y="552"/>
                  </a:lnTo>
                  <a:lnTo>
                    <a:pt x="272" y="551"/>
                  </a:lnTo>
                  <a:lnTo>
                    <a:pt x="270" y="549"/>
                  </a:lnTo>
                  <a:lnTo>
                    <a:pt x="268" y="547"/>
                  </a:lnTo>
                  <a:lnTo>
                    <a:pt x="266" y="544"/>
                  </a:lnTo>
                  <a:lnTo>
                    <a:pt x="264" y="542"/>
                  </a:lnTo>
                  <a:lnTo>
                    <a:pt x="262" y="541"/>
                  </a:lnTo>
                  <a:lnTo>
                    <a:pt x="261" y="540"/>
                  </a:lnTo>
                  <a:lnTo>
                    <a:pt x="261" y="540"/>
                  </a:lnTo>
                  <a:lnTo>
                    <a:pt x="259" y="539"/>
                  </a:lnTo>
                  <a:lnTo>
                    <a:pt x="257" y="540"/>
                  </a:lnTo>
                  <a:lnTo>
                    <a:pt x="256" y="541"/>
                  </a:lnTo>
                  <a:lnTo>
                    <a:pt x="254" y="542"/>
                  </a:lnTo>
                  <a:lnTo>
                    <a:pt x="254" y="543"/>
                  </a:lnTo>
                  <a:lnTo>
                    <a:pt x="252" y="546"/>
                  </a:lnTo>
                  <a:lnTo>
                    <a:pt x="247" y="556"/>
                  </a:lnTo>
                  <a:lnTo>
                    <a:pt x="244" y="561"/>
                  </a:lnTo>
                  <a:lnTo>
                    <a:pt x="243" y="562"/>
                  </a:lnTo>
                  <a:lnTo>
                    <a:pt x="242" y="563"/>
                  </a:lnTo>
                  <a:lnTo>
                    <a:pt x="241" y="564"/>
                  </a:lnTo>
                  <a:lnTo>
                    <a:pt x="239" y="564"/>
                  </a:lnTo>
                  <a:lnTo>
                    <a:pt x="237" y="565"/>
                  </a:lnTo>
                  <a:lnTo>
                    <a:pt x="224" y="567"/>
                  </a:lnTo>
                  <a:lnTo>
                    <a:pt x="219" y="568"/>
                  </a:lnTo>
                  <a:lnTo>
                    <a:pt x="217" y="569"/>
                  </a:lnTo>
                  <a:lnTo>
                    <a:pt x="213" y="570"/>
                  </a:lnTo>
                  <a:lnTo>
                    <a:pt x="204" y="574"/>
                  </a:lnTo>
                  <a:lnTo>
                    <a:pt x="202" y="575"/>
                  </a:lnTo>
                  <a:lnTo>
                    <a:pt x="200" y="576"/>
                  </a:lnTo>
                  <a:lnTo>
                    <a:pt x="199" y="576"/>
                  </a:lnTo>
                  <a:lnTo>
                    <a:pt x="197" y="576"/>
                  </a:lnTo>
                  <a:lnTo>
                    <a:pt x="192" y="576"/>
                  </a:lnTo>
                  <a:lnTo>
                    <a:pt x="184" y="576"/>
                  </a:lnTo>
                  <a:lnTo>
                    <a:pt x="178" y="576"/>
                  </a:lnTo>
                  <a:lnTo>
                    <a:pt x="174" y="576"/>
                  </a:lnTo>
                  <a:lnTo>
                    <a:pt x="167" y="578"/>
                  </a:lnTo>
                  <a:lnTo>
                    <a:pt x="164" y="578"/>
                  </a:lnTo>
                  <a:lnTo>
                    <a:pt x="164" y="577"/>
                  </a:lnTo>
                  <a:lnTo>
                    <a:pt x="162" y="577"/>
                  </a:lnTo>
                  <a:lnTo>
                    <a:pt x="162" y="577"/>
                  </a:lnTo>
                  <a:lnTo>
                    <a:pt x="161" y="575"/>
                  </a:lnTo>
                  <a:lnTo>
                    <a:pt x="159" y="572"/>
                  </a:lnTo>
                  <a:lnTo>
                    <a:pt x="156" y="564"/>
                  </a:lnTo>
                  <a:lnTo>
                    <a:pt x="154" y="559"/>
                  </a:lnTo>
                  <a:lnTo>
                    <a:pt x="152" y="555"/>
                  </a:lnTo>
                  <a:lnTo>
                    <a:pt x="150" y="552"/>
                  </a:lnTo>
                  <a:lnTo>
                    <a:pt x="148" y="549"/>
                  </a:lnTo>
                  <a:lnTo>
                    <a:pt x="147" y="548"/>
                  </a:lnTo>
                  <a:lnTo>
                    <a:pt x="144" y="547"/>
                  </a:lnTo>
                  <a:lnTo>
                    <a:pt x="143" y="547"/>
                  </a:lnTo>
                  <a:lnTo>
                    <a:pt x="141" y="546"/>
                  </a:lnTo>
                  <a:lnTo>
                    <a:pt x="116" y="545"/>
                  </a:lnTo>
                  <a:lnTo>
                    <a:pt x="104" y="544"/>
                  </a:lnTo>
                  <a:lnTo>
                    <a:pt x="91" y="544"/>
                  </a:lnTo>
                  <a:lnTo>
                    <a:pt x="85" y="544"/>
                  </a:lnTo>
                  <a:lnTo>
                    <a:pt x="75" y="545"/>
                  </a:lnTo>
                  <a:lnTo>
                    <a:pt x="72" y="545"/>
                  </a:lnTo>
                  <a:lnTo>
                    <a:pt x="68" y="545"/>
                  </a:lnTo>
                  <a:lnTo>
                    <a:pt x="66" y="544"/>
                  </a:lnTo>
                  <a:lnTo>
                    <a:pt x="64" y="544"/>
                  </a:lnTo>
                  <a:lnTo>
                    <a:pt x="61" y="543"/>
                  </a:lnTo>
                  <a:lnTo>
                    <a:pt x="59" y="542"/>
                  </a:lnTo>
                  <a:lnTo>
                    <a:pt x="57" y="541"/>
                  </a:lnTo>
                  <a:lnTo>
                    <a:pt x="55" y="539"/>
                  </a:lnTo>
                  <a:lnTo>
                    <a:pt x="54" y="538"/>
                  </a:lnTo>
                  <a:lnTo>
                    <a:pt x="52" y="537"/>
                  </a:lnTo>
                  <a:lnTo>
                    <a:pt x="49" y="530"/>
                  </a:lnTo>
                  <a:lnTo>
                    <a:pt x="48" y="528"/>
                  </a:lnTo>
                  <a:lnTo>
                    <a:pt x="47" y="527"/>
                  </a:lnTo>
                  <a:lnTo>
                    <a:pt x="45" y="525"/>
                  </a:lnTo>
                  <a:lnTo>
                    <a:pt x="44" y="524"/>
                  </a:lnTo>
                  <a:lnTo>
                    <a:pt x="42" y="522"/>
                  </a:lnTo>
                  <a:lnTo>
                    <a:pt x="39" y="521"/>
                  </a:lnTo>
                  <a:lnTo>
                    <a:pt x="37" y="519"/>
                  </a:lnTo>
                  <a:lnTo>
                    <a:pt x="34" y="518"/>
                  </a:lnTo>
                  <a:lnTo>
                    <a:pt x="31" y="517"/>
                  </a:lnTo>
                  <a:lnTo>
                    <a:pt x="27" y="516"/>
                  </a:lnTo>
                  <a:lnTo>
                    <a:pt x="21" y="514"/>
                  </a:lnTo>
                  <a:lnTo>
                    <a:pt x="10" y="512"/>
                  </a:lnTo>
                  <a:lnTo>
                    <a:pt x="7" y="512"/>
                  </a:lnTo>
                  <a:lnTo>
                    <a:pt x="5" y="511"/>
                  </a:lnTo>
                  <a:lnTo>
                    <a:pt x="3" y="510"/>
                  </a:lnTo>
                  <a:lnTo>
                    <a:pt x="1" y="509"/>
                  </a:lnTo>
                  <a:lnTo>
                    <a:pt x="0" y="508"/>
                  </a:lnTo>
                  <a:lnTo>
                    <a:pt x="0" y="508"/>
                  </a:lnTo>
                  <a:lnTo>
                    <a:pt x="0" y="507"/>
                  </a:lnTo>
                  <a:lnTo>
                    <a:pt x="0" y="507"/>
                  </a:lnTo>
                  <a:lnTo>
                    <a:pt x="0" y="502"/>
                  </a:lnTo>
                  <a:lnTo>
                    <a:pt x="0" y="499"/>
                  </a:lnTo>
                  <a:lnTo>
                    <a:pt x="4" y="484"/>
                  </a:lnTo>
                  <a:lnTo>
                    <a:pt x="5" y="480"/>
                  </a:lnTo>
                  <a:lnTo>
                    <a:pt x="6" y="477"/>
                  </a:lnTo>
                  <a:lnTo>
                    <a:pt x="7" y="474"/>
                  </a:lnTo>
                  <a:lnTo>
                    <a:pt x="8" y="472"/>
                  </a:lnTo>
                  <a:lnTo>
                    <a:pt x="9" y="471"/>
                  </a:lnTo>
                  <a:lnTo>
                    <a:pt x="10" y="469"/>
                  </a:lnTo>
                  <a:lnTo>
                    <a:pt x="13" y="466"/>
                  </a:lnTo>
                  <a:lnTo>
                    <a:pt x="18" y="461"/>
                  </a:lnTo>
                  <a:lnTo>
                    <a:pt x="19" y="459"/>
                  </a:lnTo>
                  <a:lnTo>
                    <a:pt x="20" y="458"/>
                  </a:lnTo>
                  <a:lnTo>
                    <a:pt x="21" y="457"/>
                  </a:lnTo>
                  <a:lnTo>
                    <a:pt x="21" y="455"/>
                  </a:lnTo>
                  <a:lnTo>
                    <a:pt x="22" y="453"/>
                  </a:lnTo>
                  <a:lnTo>
                    <a:pt x="22" y="451"/>
                  </a:lnTo>
                  <a:lnTo>
                    <a:pt x="21" y="447"/>
                  </a:lnTo>
                  <a:lnTo>
                    <a:pt x="20" y="445"/>
                  </a:lnTo>
                  <a:lnTo>
                    <a:pt x="19" y="442"/>
                  </a:lnTo>
                  <a:lnTo>
                    <a:pt x="18" y="440"/>
                  </a:lnTo>
                  <a:lnTo>
                    <a:pt x="17" y="438"/>
                  </a:lnTo>
                  <a:lnTo>
                    <a:pt x="12" y="432"/>
                  </a:lnTo>
                  <a:lnTo>
                    <a:pt x="10" y="430"/>
                  </a:lnTo>
                  <a:lnTo>
                    <a:pt x="8" y="425"/>
                  </a:lnTo>
                  <a:lnTo>
                    <a:pt x="7" y="422"/>
                  </a:lnTo>
                  <a:lnTo>
                    <a:pt x="6" y="419"/>
                  </a:lnTo>
                  <a:lnTo>
                    <a:pt x="5" y="416"/>
                  </a:lnTo>
                  <a:lnTo>
                    <a:pt x="5" y="414"/>
                  </a:lnTo>
                  <a:lnTo>
                    <a:pt x="5" y="412"/>
                  </a:lnTo>
                  <a:lnTo>
                    <a:pt x="6" y="410"/>
                  </a:lnTo>
                  <a:lnTo>
                    <a:pt x="7" y="407"/>
                  </a:lnTo>
                  <a:lnTo>
                    <a:pt x="8" y="406"/>
                  </a:lnTo>
                  <a:lnTo>
                    <a:pt x="9" y="405"/>
                  </a:lnTo>
                  <a:lnTo>
                    <a:pt x="11" y="402"/>
                  </a:lnTo>
                  <a:lnTo>
                    <a:pt x="15" y="398"/>
                  </a:lnTo>
                  <a:lnTo>
                    <a:pt x="19" y="393"/>
                  </a:lnTo>
                  <a:lnTo>
                    <a:pt x="20" y="392"/>
                  </a:lnTo>
                  <a:lnTo>
                    <a:pt x="22" y="391"/>
                  </a:lnTo>
                  <a:lnTo>
                    <a:pt x="26" y="390"/>
                  </a:lnTo>
                  <a:lnTo>
                    <a:pt x="27" y="389"/>
                  </a:lnTo>
                  <a:lnTo>
                    <a:pt x="29" y="388"/>
                  </a:lnTo>
                  <a:lnTo>
                    <a:pt x="29" y="387"/>
                  </a:lnTo>
                  <a:lnTo>
                    <a:pt x="30" y="386"/>
                  </a:lnTo>
                  <a:lnTo>
                    <a:pt x="31" y="384"/>
                  </a:lnTo>
                  <a:lnTo>
                    <a:pt x="32" y="380"/>
                  </a:lnTo>
                  <a:lnTo>
                    <a:pt x="33" y="378"/>
                  </a:lnTo>
                  <a:lnTo>
                    <a:pt x="33" y="377"/>
                  </a:lnTo>
                  <a:lnTo>
                    <a:pt x="33" y="376"/>
                  </a:lnTo>
                  <a:lnTo>
                    <a:pt x="32" y="375"/>
                  </a:lnTo>
                  <a:lnTo>
                    <a:pt x="32" y="375"/>
                  </a:lnTo>
                  <a:lnTo>
                    <a:pt x="31" y="373"/>
                  </a:lnTo>
                  <a:lnTo>
                    <a:pt x="26" y="370"/>
                  </a:lnTo>
                  <a:lnTo>
                    <a:pt x="24" y="368"/>
                  </a:lnTo>
                  <a:lnTo>
                    <a:pt x="22" y="366"/>
                  </a:lnTo>
                  <a:lnTo>
                    <a:pt x="21" y="365"/>
                  </a:lnTo>
                  <a:lnTo>
                    <a:pt x="20" y="363"/>
                  </a:lnTo>
                  <a:lnTo>
                    <a:pt x="19" y="361"/>
                  </a:lnTo>
                  <a:lnTo>
                    <a:pt x="19" y="360"/>
                  </a:lnTo>
                  <a:lnTo>
                    <a:pt x="18" y="357"/>
                  </a:lnTo>
                  <a:lnTo>
                    <a:pt x="18" y="356"/>
                  </a:lnTo>
                  <a:lnTo>
                    <a:pt x="18" y="355"/>
                  </a:lnTo>
                  <a:lnTo>
                    <a:pt x="18" y="352"/>
                  </a:lnTo>
                  <a:lnTo>
                    <a:pt x="18" y="351"/>
                  </a:lnTo>
                  <a:lnTo>
                    <a:pt x="18" y="350"/>
                  </a:lnTo>
                  <a:lnTo>
                    <a:pt x="19" y="349"/>
                  </a:lnTo>
                  <a:lnTo>
                    <a:pt x="19" y="348"/>
                  </a:lnTo>
                  <a:lnTo>
                    <a:pt x="20" y="347"/>
                  </a:lnTo>
                  <a:lnTo>
                    <a:pt x="21" y="346"/>
                  </a:lnTo>
                  <a:lnTo>
                    <a:pt x="22" y="345"/>
                  </a:lnTo>
                  <a:lnTo>
                    <a:pt x="29" y="342"/>
                  </a:lnTo>
                  <a:lnTo>
                    <a:pt x="30" y="340"/>
                  </a:lnTo>
                  <a:lnTo>
                    <a:pt x="32" y="340"/>
                  </a:lnTo>
                  <a:lnTo>
                    <a:pt x="33" y="338"/>
                  </a:lnTo>
                  <a:lnTo>
                    <a:pt x="34" y="337"/>
                  </a:lnTo>
                  <a:lnTo>
                    <a:pt x="35" y="335"/>
                  </a:lnTo>
                  <a:lnTo>
                    <a:pt x="36" y="334"/>
                  </a:lnTo>
                  <a:lnTo>
                    <a:pt x="37" y="332"/>
                  </a:lnTo>
                  <a:lnTo>
                    <a:pt x="37" y="330"/>
                  </a:lnTo>
                  <a:lnTo>
                    <a:pt x="37" y="329"/>
                  </a:lnTo>
                  <a:lnTo>
                    <a:pt x="37" y="327"/>
                  </a:lnTo>
                  <a:lnTo>
                    <a:pt x="37" y="325"/>
                  </a:lnTo>
                  <a:lnTo>
                    <a:pt x="37" y="321"/>
                  </a:lnTo>
                  <a:lnTo>
                    <a:pt x="37" y="317"/>
                  </a:lnTo>
                  <a:lnTo>
                    <a:pt x="37" y="315"/>
                  </a:lnTo>
                  <a:lnTo>
                    <a:pt x="37" y="312"/>
                  </a:lnTo>
                  <a:lnTo>
                    <a:pt x="37" y="310"/>
                  </a:lnTo>
                  <a:lnTo>
                    <a:pt x="37" y="307"/>
                  </a:lnTo>
                  <a:lnTo>
                    <a:pt x="39" y="305"/>
                  </a:lnTo>
                  <a:lnTo>
                    <a:pt x="39" y="302"/>
                  </a:lnTo>
                  <a:lnTo>
                    <a:pt x="42" y="300"/>
                  </a:lnTo>
                  <a:lnTo>
                    <a:pt x="47" y="295"/>
                  </a:lnTo>
                  <a:lnTo>
                    <a:pt x="49" y="292"/>
                  </a:lnTo>
                  <a:lnTo>
                    <a:pt x="52" y="290"/>
                  </a:lnTo>
                  <a:lnTo>
                    <a:pt x="59" y="285"/>
                  </a:lnTo>
                  <a:lnTo>
                    <a:pt x="67" y="279"/>
                  </a:lnTo>
                  <a:lnTo>
                    <a:pt x="69" y="277"/>
                  </a:lnTo>
                  <a:lnTo>
                    <a:pt x="71" y="275"/>
                  </a:lnTo>
                  <a:lnTo>
                    <a:pt x="73" y="273"/>
                  </a:lnTo>
                  <a:lnTo>
                    <a:pt x="74" y="270"/>
                  </a:lnTo>
                  <a:lnTo>
                    <a:pt x="76" y="265"/>
                  </a:lnTo>
                  <a:lnTo>
                    <a:pt x="79" y="258"/>
                  </a:lnTo>
                  <a:lnTo>
                    <a:pt x="81" y="254"/>
                  </a:lnTo>
                  <a:lnTo>
                    <a:pt x="83" y="249"/>
                  </a:lnTo>
                  <a:lnTo>
                    <a:pt x="87" y="243"/>
                  </a:lnTo>
                  <a:lnTo>
                    <a:pt x="88" y="240"/>
                  </a:lnTo>
                  <a:lnTo>
                    <a:pt x="89" y="237"/>
                  </a:lnTo>
                  <a:lnTo>
                    <a:pt x="90" y="233"/>
                  </a:lnTo>
                  <a:lnTo>
                    <a:pt x="92" y="228"/>
                  </a:lnTo>
                  <a:lnTo>
                    <a:pt x="92" y="225"/>
                  </a:lnTo>
                  <a:lnTo>
                    <a:pt x="93" y="223"/>
                  </a:lnTo>
                  <a:lnTo>
                    <a:pt x="93" y="220"/>
                  </a:lnTo>
                  <a:lnTo>
                    <a:pt x="92" y="219"/>
                  </a:lnTo>
                  <a:lnTo>
                    <a:pt x="92" y="217"/>
                  </a:lnTo>
                  <a:lnTo>
                    <a:pt x="91" y="215"/>
                  </a:lnTo>
                  <a:lnTo>
                    <a:pt x="89" y="213"/>
                  </a:lnTo>
                  <a:lnTo>
                    <a:pt x="88" y="211"/>
                  </a:lnTo>
                  <a:lnTo>
                    <a:pt x="84" y="207"/>
                  </a:lnTo>
                  <a:lnTo>
                    <a:pt x="83" y="205"/>
                  </a:lnTo>
                  <a:lnTo>
                    <a:pt x="81" y="201"/>
                  </a:lnTo>
                  <a:lnTo>
                    <a:pt x="77" y="193"/>
                  </a:lnTo>
                  <a:lnTo>
                    <a:pt x="74" y="188"/>
                  </a:lnTo>
                  <a:lnTo>
                    <a:pt x="73" y="183"/>
                  </a:lnTo>
                  <a:lnTo>
                    <a:pt x="69" y="173"/>
                  </a:lnTo>
                  <a:lnTo>
                    <a:pt x="69" y="170"/>
                  </a:lnTo>
                  <a:lnTo>
                    <a:pt x="69" y="169"/>
                  </a:lnTo>
                  <a:lnTo>
                    <a:pt x="69" y="168"/>
                  </a:lnTo>
                  <a:lnTo>
                    <a:pt x="74" y="155"/>
                  </a:lnTo>
                  <a:lnTo>
                    <a:pt x="75" y="151"/>
                  </a:lnTo>
                  <a:lnTo>
                    <a:pt x="77" y="147"/>
                  </a:lnTo>
                  <a:lnTo>
                    <a:pt x="79" y="143"/>
                  </a:lnTo>
                  <a:lnTo>
                    <a:pt x="80" y="140"/>
                  </a:lnTo>
                  <a:lnTo>
                    <a:pt x="87" y="130"/>
                  </a:lnTo>
                  <a:lnTo>
                    <a:pt x="88" y="128"/>
                  </a:lnTo>
                  <a:lnTo>
                    <a:pt x="89" y="127"/>
                  </a:lnTo>
                  <a:lnTo>
                    <a:pt x="89" y="125"/>
                  </a:lnTo>
                  <a:lnTo>
                    <a:pt x="88" y="123"/>
                  </a:lnTo>
                  <a:lnTo>
                    <a:pt x="86" y="118"/>
                  </a:lnTo>
                  <a:lnTo>
                    <a:pt x="82" y="112"/>
                  </a:lnTo>
                  <a:lnTo>
                    <a:pt x="80" y="106"/>
                  </a:lnTo>
                  <a:lnTo>
                    <a:pt x="79" y="103"/>
                  </a:lnTo>
                  <a:lnTo>
                    <a:pt x="77" y="99"/>
                  </a:lnTo>
                  <a:lnTo>
                    <a:pt x="77" y="93"/>
                  </a:lnTo>
                  <a:lnTo>
                    <a:pt x="76" y="89"/>
                  </a:lnTo>
                  <a:lnTo>
                    <a:pt x="76" y="86"/>
                  </a:lnTo>
                  <a:lnTo>
                    <a:pt x="75" y="75"/>
                  </a:lnTo>
                  <a:lnTo>
                    <a:pt x="75" y="73"/>
                  </a:lnTo>
                  <a:lnTo>
                    <a:pt x="74" y="69"/>
                  </a:lnTo>
                  <a:lnTo>
                    <a:pt x="73" y="65"/>
                  </a:lnTo>
                  <a:lnTo>
                    <a:pt x="72" y="61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68" y="56"/>
                  </a:lnTo>
                  <a:lnTo>
                    <a:pt x="67" y="53"/>
                  </a:lnTo>
                  <a:lnTo>
                    <a:pt x="66" y="52"/>
                  </a:lnTo>
                  <a:lnTo>
                    <a:pt x="65" y="50"/>
                  </a:lnTo>
                  <a:lnTo>
                    <a:pt x="65" y="49"/>
                  </a:lnTo>
                  <a:lnTo>
                    <a:pt x="64" y="48"/>
                  </a:lnTo>
                  <a:lnTo>
                    <a:pt x="64" y="46"/>
                  </a:lnTo>
                  <a:lnTo>
                    <a:pt x="64" y="45"/>
                  </a:lnTo>
                  <a:lnTo>
                    <a:pt x="65" y="41"/>
                  </a:lnTo>
                  <a:lnTo>
                    <a:pt x="69" y="28"/>
                  </a:lnTo>
                  <a:lnTo>
                    <a:pt x="70" y="25"/>
                  </a:lnTo>
                  <a:lnTo>
                    <a:pt x="71" y="24"/>
                  </a:lnTo>
                  <a:lnTo>
                    <a:pt x="72" y="23"/>
                  </a:lnTo>
                  <a:lnTo>
                    <a:pt x="74" y="20"/>
                  </a:lnTo>
                  <a:lnTo>
                    <a:pt x="75" y="18"/>
                  </a:lnTo>
                  <a:lnTo>
                    <a:pt x="76" y="18"/>
                  </a:lnTo>
                  <a:lnTo>
                    <a:pt x="77" y="17"/>
                  </a:lnTo>
                  <a:lnTo>
                    <a:pt x="77" y="17"/>
                  </a:lnTo>
                  <a:lnTo>
                    <a:pt x="77" y="18"/>
                  </a:lnTo>
                  <a:lnTo>
                    <a:pt x="79" y="19"/>
                  </a:lnTo>
                  <a:lnTo>
                    <a:pt x="81" y="20"/>
                  </a:lnTo>
                  <a:lnTo>
                    <a:pt x="83" y="20"/>
                  </a:lnTo>
                  <a:lnTo>
                    <a:pt x="86" y="21"/>
                  </a:lnTo>
                  <a:lnTo>
                    <a:pt x="89" y="22"/>
                  </a:lnTo>
                  <a:lnTo>
                    <a:pt x="92" y="23"/>
                  </a:lnTo>
                  <a:lnTo>
                    <a:pt x="93" y="22"/>
                  </a:lnTo>
                  <a:lnTo>
                    <a:pt x="94" y="21"/>
                  </a:lnTo>
                  <a:lnTo>
                    <a:pt x="95" y="20"/>
                  </a:lnTo>
                  <a:lnTo>
                    <a:pt x="98" y="18"/>
                  </a:lnTo>
                  <a:lnTo>
                    <a:pt x="101" y="13"/>
                  </a:lnTo>
                  <a:lnTo>
                    <a:pt x="102" y="13"/>
                  </a:lnTo>
                  <a:lnTo>
                    <a:pt x="102" y="13"/>
                  </a:lnTo>
                  <a:lnTo>
                    <a:pt x="104" y="12"/>
                  </a:lnTo>
                  <a:lnTo>
                    <a:pt x="106" y="12"/>
                  </a:lnTo>
                  <a:lnTo>
                    <a:pt x="109" y="13"/>
                  </a:lnTo>
                  <a:lnTo>
                    <a:pt x="113" y="13"/>
                  </a:lnTo>
                  <a:lnTo>
                    <a:pt x="114" y="13"/>
                  </a:lnTo>
                  <a:lnTo>
                    <a:pt x="115" y="13"/>
                  </a:lnTo>
                  <a:lnTo>
                    <a:pt x="118" y="11"/>
                  </a:lnTo>
                  <a:lnTo>
                    <a:pt x="119" y="10"/>
                  </a:lnTo>
                  <a:lnTo>
                    <a:pt x="119" y="10"/>
                  </a:lnTo>
                  <a:lnTo>
                    <a:pt x="121" y="7"/>
                  </a:lnTo>
                  <a:lnTo>
                    <a:pt x="122" y="5"/>
                  </a:lnTo>
                  <a:lnTo>
                    <a:pt x="124" y="3"/>
                  </a:lnTo>
                  <a:lnTo>
                    <a:pt x="127" y="0"/>
                  </a:lnTo>
                  <a:lnTo>
                    <a:pt x="127" y="0"/>
                  </a:lnTo>
                  <a:close/>
                </a:path>
              </a:pathLst>
            </a:custGeom>
            <a:solidFill>
              <a:srgbClr val="FFCC29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103">
              <a:extLst>
                <a:ext uri="{FF2B5EF4-FFF2-40B4-BE49-F238E27FC236}">
                  <a16:creationId xmlns:a16="http://schemas.microsoft.com/office/drawing/2014/main" id="{4DD83EF8-8838-FF3C-D161-5151384E3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6961" y="4421025"/>
              <a:ext cx="774700" cy="1096963"/>
            </a:xfrm>
            <a:custGeom>
              <a:avLst/>
              <a:gdLst>
                <a:gd name="T0" fmla="*/ 351 w 488"/>
                <a:gd name="T1" fmla="*/ 8 h 691"/>
                <a:gd name="T2" fmla="*/ 404 w 488"/>
                <a:gd name="T3" fmla="*/ 43 h 691"/>
                <a:gd name="T4" fmla="*/ 426 w 488"/>
                <a:gd name="T5" fmla="*/ 36 h 691"/>
                <a:gd name="T6" fmla="*/ 440 w 488"/>
                <a:gd name="T7" fmla="*/ 58 h 691"/>
                <a:gd name="T8" fmla="*/ 469 w 488"/>
                <a:gd name="T9" fmla="*/ 92 h 691"/>
                <a:gd name="T10" fmla="*/ 488 w 488"/>
                <a:gd name="T11" fmla="*/ 103 h 691"/>
                <a:gd name="T12" fmla="*/ 480 w 488"/>
                <a:gd name="T13" fmla="*/ 125 h 691"/>
                <a:gd name="T14" fmla="*/ 466 w 488"/>
                <a:gd name="T15" fmla="*/ 138 h 691"/>
                <a:gd name="T16" fmla="*/ 481 w 488"/>
                <a:gd name="T17" fmla="*/ 177 h 691"/>
                <a:gd name="T18" fmla="*/ 474 w 488"/>
                <a:gd name="T19" fmla="*/ 228 h 691"/>
                <a:gd name="T20" fmla="*/ 464 w 488"/>
                <a:gd name="T21" fmla="*/ 270 h 691"/>
                <a:gd name="T22" fmla="*/ 453 w 488"/>
                <a:gd name="T23" fmla="*/ 325 h 691"/>
                <a:gd name="T24" fmla="*/ 476 w 488"/>
                <a:gd name="T25" fmla="*/ 350 h 691"/>
                <a:gd name="T26" fmla="*/ 468 w 488"/>
                <a:gd name="T27" fmla="*/ 382 h 691"/>
                <a:gd name="T28" fmla="*/ 478 w 488"/>
                <a:gd name="T29" fmla="*/ 416 h 691"/>
                <a:gd name="T30" fmla="*/ 466 w 488"/>
                <a:gd name="T31" fmla="*/ 423 h 691"/>
                <a:gd name="T32" fmla="*/ 429 w 488"/>
                <a:gd name="T33" fmla="*/ 439 h 691"/>
                <a:gd name="T34" fmla="*/ 444 w 488"/>
                <a:gd name="T35" fmla="*/ 464 h 691"/>
                <a:gd name="T36" fmla="*/ 429 w 488"/>
                <a:gd name="T37" fmla="*/ 513 h 691"/>
                <a:gd name="T38" fmla="*/ 393 w 488"/>
                <a:gd name="T39" fmla="*/ 539 h 691"/>
                <a:gd name="T40" fmla="*/ 338 w 488"/>
                <a:gd name="T41" fmla="*/ 538 h 691"/>
                <a:gd name="T42" fmla="*/ 324 w 488"/>
                <a:gd name="T43" fmla="*/ 545 h 691"/>
                <a:gd name="T44" fmla="*/ 338 w 488"/>
                <a:gd name="T45" fmla="*/ 584 h 691"/>
                <a:gd name="T46" fmla="*/ 364 w 488"/>
                <a:gd name="T47" fmla="*/ 604 h 691"/>
                <a:gd name="T48" fmla="*/ 347 w 488"/>
                <a:gd name="T49" fmla="*/ 638 h 691"/>
                <a:gd name="T50" fmla="*/ 362 w 488"/>
                <a:gd name="T51" fmla="*/ 669 h 691"/>
                <a:gd name="T52" fmla="*/ 377 w 488"/>
                <a:gd name="T53" fmla="*/ 691 h 691"/>
                <a:gd name="T54" fmla="*/ 350 w 488"/>
                <a:gd name="T55" fmla="*/ 679 h 691"/>
                <a:gd name="T56" fmla="*/ 319 w 488"/>
                <a:gd name="T57" fmla="*/ 681 h 691"/>
                <a:gd name="T58" fmla="*/ 293 w 488"/>
                <a:gd name="T59" fmla="*/ 657 h 691"/>
                <a:gd name="T60" fmla="*/ 263 w 488"/>
                <a:gd name="T61" fmla="*/ 649 h 691"/>
                <a:gd name="T62" fmla="*/ 220 w 488"/>
                <a:gd name="T63" fmla="*/ 624 h 691"/>
                <a:gd name="T64" fmla="*/ 194 w 488"/>
                <a:gd name="T65" fmla="*/ 594 h 691"/>
                <a:gd name="T66" fmla="*/ 168 w 488"/>
                <a:gd name="T67" fmla="*/ 554 h 691"/>
                <a:gd name="T68" fmla="*/ 124 w 488"/>
                <a:gd name="T69" fmla="*/ 530 h 691"/>
                <a:gd name="T70" fmla="*/ 87 w 488"/>
                <a:gd name="T71" fmla="*/ 512 h 691"/>
                <a:gd name="T72" fmla="*/ 62 w 488"/>
                <a:gd name="T73" fmla="*/ 472 h 691"/>
                <a:gd name="T74" fmla="*/ 28 w 488"/>
                <a:gd name="T75" fmla="*/ 475 h 691"/>
                <a:gd name="T76" fmla="*/ 16 w 488"/>
                <a:gd name="T77" fmla="*/ 453 h 691"/>
                <a:gd name="T78" fmla="*/ 1 w 488"/>
                <a:gd name="T79" fmla="*/ 397 h 691"/>
                <a:gd name="T80" fmla="*/ 25 w 488"/>
                <a:gd name="T81" fmla="*/ 367 h 691"/>
                <a:gd name="T82" fmla="*/ 45 w 488"/>
                <a:gd name="T83" fmla="*/ 345 h 691"/>
                <a:gd name="T84" fmla="*/ 48 w 488"/>
                <a:gd name="T85" fmla="*/ 304 h 691"/>
                <a:gd name="T86" fmla="*/ 55 w 488"/>
                <a:gd name="T87" fmla="*/ 274 h 691"/>
                <a:gd name="T88" fmla="*/ 64 w 488"/>
                <a:gd name="T89" fmla="*/ 232 h 691"/>
                <a:gd name="T90" fmla="*/ 64 w 488"/>
                <a:gd name="T91" fmla="*/ 198 h 691"/>
                <a:gd name="T92" fmla="*/ 52 w 488"/>
                <a:gd name="T93" fmla="*/ 160 h 691"/>
                <a:gd name="T94" fmla="*/ 63 w 488"/>
                <a:gd name="T95" fmla="*/ 124 h 691"/>
                <a:gd name="T96" fmla="*/ 73 w 488"/>
                <a:gd name="T97" fmla="*/ 100 h 691"/>
                <a:gd name="T98" fmla="*/ 103 w 488"/>
                <a:gd name="T99" fmla="*/ 99 h 691"/>
                <a:gd name="T100" fmla="*/ 147 w 488"/>
                <a:gd name="T101" fmla="*/ 110 h 691"/>
                <a:gd name="T102" fmla="*/ 176 w 488"/>
                <a:gd name="T103" fmla="*/ 95 h 691"/>
                <a:gd name="T104" fmla="*/ 172 w 488"/>
                <a:gd name="T105" fmla="*/ 122 h 691"/>
                <a:gd name="T106" fmla="*/ 198 w 488"/>
                <a:gd name="T107" fmla="*/ 131 h 691"/>
                <a:gd name="T108" fmla="*/ 230 w 488"/>
                <a:gd name="T109" fmla="*/ 142 h 691"/>
                <a:gd name="T110" fmla="*/ 269 w 488"/>
                <a:gd name="T111" fmla="*/ 103 h 691"/>
                <a:gd name="T112" fmla="*/ 304 w 488"/>
                <a:gd name="T113" fmla="*/ 85 h 691"/>
                <a:gd name="T114" fmla="*/ 300 w 488"/>
                <a:gd name="T115" fmla="*/ 48 h 691"/>
                <a:gd name="T116" fmla="*/ 311 w 488"/>
                <a:gd name="T117" fmla="*/ 22 h 691"/>
                <a:gd name="T118" fmla="*/ 339 w 488"/>
                <a:gd name="T119" fmla="*/ 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88" h="691">
                  <a:moveTo>
                    <a:pt x="339" y="0"/>
                  </a:moveTo>
                  <a:lnTo>
                    <a:pt x="340" y="0"/>
                  </a:lnTo>
                  <a:lnTo>
                    <a:pt x="341" y="0"/>
                  </a:lnTo>
                  <a:lnTo>
                    <a:pt x="342" y="1"/>
                  </a:lnTo>
                  <a:lnTo>
                    <a:pt x="343" y="2"/>
                  </a:lnTo>
                  <a:lnTo>
                    <a:pt x="344" y="3"/>
                  </a:lnTo>
                  <a:lnTo>
                    <a:pt x="344" y="3"/>
                  </a:lnTo>
                  <a:lnTo>
                    <a:pt x="344" y="3"/>
                  </a:lnTo>
                  <a:lnTo>
                    <a:pt x="345" y="4"/>
                  </a:lnTo>
                  <a:lnTo>
                    <a:pt x="347" y="5"/>
                  </a:lnTo>
                  <a:lnTo>
                    <a:pt x="351" y="8"/>
                  </a:lnTo>
                  <a:lnTo>
                    <a:pt x="366" y="15"/>
                  </a:lnTo>
                  <a:lnTo>
                    <a:pt x="370" y="18"/>
                  </a:lnTo>
                  <a:lnTo>
                    <a:pt x="374" y="20"/>
                  </a:lnTo>
                  <a:lnTo>
                    <a:pt x="378" y="23"/>
                  </a:lnTo>
                  <a:lnTo>
                    <a:pt x="381" y="25"/>
                  </a:lnTo>
                  <a:lnTo>
                    <a:pt x="384" y="28"/>
                  </a:lnTo>
                  <a:lnTo>
                    <a:pt x="391" y="34"/>
                  </a:lnTo>
                  <a:lnTo>
                    <a:pt x="395" y="38"/>
                  </a:lnTo>
                  <a:lnTo>
                    <a:pt x="398" y="39"/>
                  </a:lnTo>
                  <a:lnTo>
                    <a:pt x="400" y="41"/>
                  </a:lnTo>
                  <a:lnTo>
                    <a:pt x="404" y="43"/>
                  </a:lnTo>
                  <a:lnTo>
                    <a:pt x="406" y="44"/>
                  </a:lnTo>
                  <a:lnTo>
                    <a:pt x="407" y="45"/>
                  </a:lnTo>
                  <a:lnTo>
                    <a:pt x="409" y="45"/>
                  </a:lnTo>
                  <a:lnTo>
                    <a:pt x="409" y="45"/>
                  </a:lnTo>
                  <a:lnTo>
                    <a:pt x="411" y="44"/>
                  </a:lnTo>
                  <a:lnTo>
                    <a:pt x="412" y="43"/>
                  </a:lnTo>
                  <a:lnTo>
                    <a:pt x="416" y="40"/>
                  </a:lnTo>
                  <a:lnTo>
                    <a:pt x="419" y="39"/>
                  </a:lnTo>
                  <a:lnTo>
                    <a:pt x="421" y="38"/>
                  </a:lnTo>
                  <a:lnTo>
                    <a:pt x="424" y="37"/>
                  </a:lnTo>
                  <a:lnTo>
                    <a:pt x="426" y="36"/>
                  </a:lnTo>
                  <a:lnTo>
                    <a:pt x="427" y="36"/>
                  </a:lnTo>
                  <a:lnTo>
                    <a:pt x="428" y="37"/>
                  </a:lnTo>
                  <a:lnTo>
                    <a:pt x="429" y="38"/>
                  </a:lnTo>
                  <a:lnTo>
                    <a:pt x="431" y="38"/>
                  </a:lnTo>
                  <a:lnTo>
                    <a:pt x="431" y="38"/>
                  </a:lnTo>
                  <a:lnTo>
                    <a:pt x="431" y="39"/>
                  </a:lnTo>
                  <a:lnTo>
                    <a:pt x="432" y="40"/>
                  </a:lnTo>
                  <a:lnTo>
                    <a:pt x="434" y="43"/>
                  </a:lnTo>
                  <a:lnTo>
                    <a:pt x="436" y="49"/>
                  </a:lnTo>
                  <a:lnTo>
                    <a:pt x="437" y="53"/>
                  </a:lnTo>
                  <a:lnTo>
                    <a:pt x="440" y="58"/>
                  </a:lnTo>
                  <a:lnTo>
                    <a:pt x="444" y="66"/>
                  </a:lnTo>
                  <a:lnTo>
                    <a:pt x="448" y="74"/>
                  </a:lnTo>
                  <a:lnTo>
                    <a:pt x="452" y="81"/>
                  </a:lnTo>
                  <a:lnTo>
                    <a:pt x="454" y="83"/>
                  </a:lnTo>
                  <a:lnTo>
                    <a:pt x="456" y="85"/>
                  </a:lnTo>
                  <a:lnTo>
                    <a:pt x="457" y="87"/>
                  </a:lnTo>
                  <a:lnTo>
                    <a:pt x="459" y="88"/>
                  </a:lnTo>
                  <a:lnTo>
                    <a:pt x="463" y="90"/>
                  </a:lnTo>
                  <a:lnTo>
                    <a:pt x="464" y="91"/>
                  </a:lnTo>
                  <a:lnTo>
                    <a:pt x="466" y="91"/>
                  </a:lnTo>
                  <a:lnTo>
                    <a:pt x="469" y="92"/>
                  </a:lnTo>
                  <a:lnTo>
                    <a:pt x="470" y="92"/>
                  </a:lnTo>
                  <a:lnTo>
                    <a:pt x="472" y="92"/>
                  </a:lnTo>
                  <a:lnTo>
                    <a:pt x="474" y="92"/>
                  </a:lnTo>
                  <a:lnTo>
                    <a:pt x="476" y="92"/>
                  </a:lnTo>
                  <a:lnTo>
                    <a:pt x="478" y="92"/>
                  </a:lnTo>
                  <a:lnTo>
                    <a:pt x="480" y="91"/>
                  </a:lnTo>
                  <a:lnTo>
                    <a:pt x="482" y="91"/>
                  </a:lnTo>
                  <a:lnTo>
                    <a:pt x="486" y="89"/>
                  </a:lnTo>
                  <a:lnTo>
                    <a:pt x="486" y="90"/>
                  </a:lnTo>
                  <a:lnTo>
                    <a:pt x="486" y="92"/>
                  </a:lnTo>
                  <a:lnTo>
                    <a:pt x="488" y="103"/>
                  </a:lnTo>
                  <a:lnTo>
                    <a:pt x="488" y="107"/>
                  </a:lnTo>
                  <a:lnTo>
                    <a:pt x="488" y="110"/>
                  </a:lnTo>
                  <a:lnTo>
                    <a:pt x="488" y="112"/>
                  </a:lnTo>
                  <a:lnTo>
                    <a:pt x="488" y="113"/>
                  </a:lnTo>
                  <a:lnTo>
                    <a:pt x="488" y="115"/>
                  </a:lnTo>
                  <a:lnTo>
                    <a:pt x="487" y="117"/>
                  </a:lnTo>
                  <a:lnTo>
                    <a:pt x="486" y="120"/>
                  </a:lnTo>
                  <a:lnTo>
                    <a:pt x="485" y="121"/>
                  </a:lnTo>
                  <a:lnTo>
                    <a:pt x="483" y="122"/>
                  </a:lnTo>
                  <a:lnTo>
                    <a:pt x="482" y="123"/>
                  </a:lnTo>
                  <a:lnTo>
                    <a:pt x="480" y="125"/>
                  </a:lnTo>
                  <a:lnTo>
                    <a:pt x="476" y="126"/>
                  </a:lnTo>
                  <a:lnTo>
                    <a:pt x="473" y="127"/>
                  </a:lnTo>
                  <a:lnTo>
                    <a:pt x="471" y="128"/>
                  </a:lnTo>
                  <a:lnTo>
                    <a:pt x="469" y="129"/>
                  </a:lnTo>
                  <a:lnTo>
                    <a:pt x="468" y="130"/>
                  </a:lnTo>
                  <a:lnTo>
                    <a:pt x="467" y="132"/>
                  </a:lnTo>
                  <a:lnTo>
                    <a:pt x="466" y="132"/>
                  </a:lnTo>
                  <a:lnTo>
                    <a:pt x="466" y="135"/>
                  </a:lnTo>
                  <a:lnTo>
                    <a:pt x="466" y="135"/>
                  </a:lnTo>
                  <a:lnTo>
                    <a:pt x="466" y="137"/>
                  </a:lnTo>
                  <a:lnTo>
                    <a:pt x="466" y="138"/>
                  </a:lnTo>
                  <a:lnTo>
                    <a:pt x="467" y="140"/>
                  </a:lnTo>
                  <a:lnTo>
                    <a:pt x="469" y="142"/>
                  </a:lnTo>
                  <a:lnTo>
                    <a:pt x="474" y="152"/>
                  </a:lnTo>
                  <a:lnTo>
                    <a:pt x="476" y="154"/>
                  </a:lnTo>
                  <a:lnTo>
                    <a:pt x="476" y="157"/>
                  </a:lnTo>
                  <a:lnTo>
                    <a:pt x="478" y="160"/>
                  </a:lnTo>
                  <a:lnTo>
                    <a:pt x="478" y="162"/>
                  </a:lnTo>
                  <a:lnTo>
                    <a:pt x="479" y="165"/>
                  </a:lnTo>
                  <a:lnTo>
                    <a:pt x="480" y="169"/>
                  </a:lnTo>
                  <a:lnTo>
                    <a:pt x="481" y="174"/>
                  </a:lnTo>
                  <a:lnTo>
                    <a:pt x="481" y="177"/>
                  </a:lnTo>
                  <a:lnTo>
                    <a:pt x="481" y="181"/>
                  </a:lnTo>
                  <a:lnTo>
                    <a:pt x="479" y="190"/>
                  </a:lnTo>
                  <a:lnTo>
                    <a:pt x="479" y="193"/>
                  </a:lnTo>
                  <a:lnTo>
                    <a:pt x="478" y="197"/>
                  </a:lnTo>
                  <a:lnTo>
                    <a:pt x="479" y="203"/>
                  </a:lnTo>
                  <a:lnTo>
                    <a:pt x="479" y="207"/>
                  </a:lnTo>
                  <a:lnTo>
                    <a:pt x="478" y="212"/>
                  </a:lnTo>
                  <a:lnTo>
                    <a:pt x="478" y="215"/>
                  </a:lnTo>
                  <a:lnTo>
                    <a:pt x="477" y="219"/>
                  </a:lnTo>
                  <a:lnTo>
                    <a:pt x="476" y="223"/>
                  </a:lnTo>
                  <a:lnTo>
                    <a:pt x="474" y="228"/>
                  </a:lnTo>
                  <a:lnTo>
                    <a:pt x="470" y="237"/>
                  </a:lnTo>
                  <a:lnTo>
                    <a:pt x="467" y="247"/>
                  </a:lnTo>
                  <a:lnTo>
                    <a:pt x="464" y="255"/>
                  </a:lnTo>
                  <a:lnTo>
                    <a:pt x="463" y="257"/>
                  </a:lnTo>
                  <a:lnTo>
                    <a:pt x="463" y="259"/>
                  </a:lnTo>
                  <a:lnTo>
                    <a:pt x="462" y="260"/>
                  </a:lnTo>
                  <a:lnTo>
                    <a:pt x="463" y="262"/>
                  </a:lnTo>
                  <a:lnTo>
                    <a:pt x="464" y="265"/>
                  </a:lnTo>
                  <a:lnTo>
                    <a:pt x="464" y="267"/>
                  </a:lnTo>
                  <a:lnTo>
                    <a:pt x="464" y="268"/>
                  </a:lnTo>
                  <a:lnTo>
                    <a:pt x="464" y="270"/>
                  </a:lnTo>
                  <a:lnTo>
                    <a:pt x="461" y="280"/>
                  </a:lnTo>
                  <a:lnTo>
                    <a:pt x="459" y="288"/>
                  </a:lnTo>
                  <a:lnTo>
                    <a:pt x="458" y="292"/>
                  </a:lnTo>
                  <a:lnTo>
                    <a:pt x="456" y="298"/>
                  </a:lnTo>
                  <a:lnTo>
                    <a:pt x="454" y="305"/>
                  </a:lnTo>
                  <a:lnTo>
                    <a:pt x="453" y="308"/>
                  </a:lnTo>
                  <a:lnTo>
                    <a:pt x="452" y="312"/>
                  </a:lnTo>
                  <a:lnTo>
                    <a:pt x="451" y="317"/>
                  </a:lnTo>
                  <a:lnTo>
                    <a:pt x="451" y="321"/>
                  </a:lnTo>
                  <a:lnTo>
                    <a:pt x="452" y="323"/>
                  </a:lnTo>
                  <a:lnTo>
                    <a:pt x="453" y="325"/>
                  </a:lnTo>
                  <a:lnTo>
                    <a:pt x="453" y="327"/>
                  </a:lnTo>
                  <a:lnTo>
                    <a:pt x="454" y="328"/>
                  </a:lnTo>
                  <a:lnTo>
                    <a:pt x="454" y="329"/>
                  </a:lnTo>
                  <a:lnTo>
                    <a:pt x="455" y="331"/>
                  </a:lnTo>
                  <a:lnTo>
                    <a:pt x="457" y="334"/>
                  </a:lnTo>
                  <a:lnTo>
                    <a:pt x="460" y="337"/>
                  </a:lnTo>
                  <a:lnTo>
                    <a:pt x="464" y="339"/>
                  </a:lnTo>
                  <a:lnTo>
                    <a:pt x="470" y="344"/>
                  </a:lnTo>
                  <a:lnTo>
                    <a:pt x="472" y="347"/>
                  </a:lnTo>
                  <a:lnTo>
                    <a:pt x="474" y="348"/>
                  </a:lnTo>
                  <a:lnTo>
                    <a:pt x="476" y="350"/>
                  </a:lnTo>
                  <a:lnTo>
                    <a:pt x="478" y="353"/>
                  </a:lnTo>
                  <a:lnTo>
                    <a:pt x="481" y="357"/>
                  </a:lnTo>
                  <a:lnTo>
                    <a:pt x="481" y="359"/>
                  </a:lnTo>
                  <a:lnTo>
                    <a:pt x="481" y="360"/>
                  </a:lnTo>
                  <a:lnTo>
                    <a:pt x="481" y="361"/>
                  </a:lnTo>
                  <a:lnTo>
                    <a:pt x="481" y="362"/>
                  </a:lnTo>
                  <a:lnTo>
                    <a:pt x="481" y="363"/>
                  </a:lnTo>
                  <a:lnTo>
                    <a:pt x="473" y="374"/>
                  </a:lnTo>
                  <a:lnTo>
                    <a:pt x="470" y="377"/>
                  </a:lnTo>
                  <a:lnTo>
                    <a:pt x="469" y="379"/>
                  </a:lnTo>
                  <a:lnTo>
                    <a:pt x="468" y="382"/>
                  </a:lnTo>
                  <a:lnTo>
                    <a:pt x="467" y="384"/>
                  </a:lnTo>
                  <a:lnTo>
                    <a:pt x="466" y="385"/>
                  </a:lnTo>
                  <a:lnTo>
                    <a:pt x="466" y="387"/>
                  </a:lnTo>
                  <a:lnTo>
                    <a:pt x="466" y="389"/>
                  </a:lnTo>
                  <a:lnTo>
                    <a:pt x="467" y="392"/>
                  </a:lnTo>
                  <a:lnTo>
                    <a:pt x="467" y="394"/>
                  </a:lnTo>
                  <a:lnTo>
                    <a:pt x="469" y="397"/>
                  </a:lnTo>
                  <a:lnTo>
                    <a:pt x="471" y="401"/>
                  </a:lnTo>
                  <a:lnTo>
                    <a:pt x="476" y="412"/>
                  </a:lnTo>
                  <a:lnTo>
                    <a:pt x="477" y="414"/>
                  </a:lnTo>
                  <a:lnTo>
                    <a:pt x="478" y="416"/>
                  </a:lnTo>
                  <a:lnTo>
                    <a:pt x="478" y="417"/>
                  </a:lnTo>
                  <a:lnTo>
                    <a:pt x="478" y="419"/>
                  </a:lnTo>
                  <a:lnTo>
                    <a:pt x="478" y="420"/>
                  </a:lnTo>
                  <a:lnTo>
                    <a:pt x="478" y="421"/>
                  </a:lnTo>
                  <a:lnTo>
                    <a:pt x="477" y="422"/>
                  </a:lnTo>
                  <a:lnTo>
                    <a:pt x="476" y="422"/>
                  </a:lnTo>
                  <a:lnTo>
                    <a:pt x="474" y="422"/>
                  </a:lnTo>
                  <a:lnTo>
                    <a:pt x="472" y="422"/>
                  </a:lnTo>
                  <a:lnTo>
                    <a:pt x="469" y="422"/>
                  </a:lnTo>
                  <a:lnTo>
                    <a:pt x="467" y="422"/>
                  </a:lnTo>
                  <a:lnTo>
                    <a:pt x="466" y="423"/>
                  </a:lnTo>
                  <a:lnTo>
                    <a:pt x="463" y="424"/>
                  </a:lnTo>
                  <a:lnTo>
                    <a:pt x="460" y="425"/>
                  </a:lnTo>
                  <a:lnTo>
                    <a:pt x="447" y="427"/>
                  </a:lnTo>
                  <a:lnTo>
                    <a:pt x="442" y="429"/>
                  </a:lnTo>
                  <a:lnTo>
                    <a:pt x="439" y="430"/>
                  </a:lnTo>
                  <a:lnTo>
                    <a:pt x="436" y="432"/>
                  </a:lnTo>
                  <a:lnTo>
                    <a:pt x="433" y="434"/>
                  </a:lnTo>
                  <a:lnTo>
                    <a:pt x="431" y="435"/>
                  </a:lnTo>
                  <a:lnTo>
                    <a:pt x="430" y="436"/>
                  </a:lnTo>
                  <a:lnTo>
                    <a:pt x="429" y="437"/>
                  </a:lnTo>
                  <a:lnTo>
                    <a:pt x="429" y="439"/>
                  </a:lnTo>
                  <a:lnTo>
                    <a:pt x="429" y="440"/>
                  </a:lnTo>
                  <a:lnTo>
                    <a:pt x="430" y="442"/>
                  </a:lnTo>
                  <a:lnTo>
                    <a:pt x="431" y="445"/>
                  </a:lnTo>
                  <a:lnTo>
                    <a:pt x="432" y="447"/>
                  </a:lnTo>
                  <a:lnTo>
                    <a:pt x="434" y="449"/>
                  </a:lnTo>
                  <a:lnTo>
                    <a:pt x="439" y="455"/>
                  </a:lnTo>
                  <a:lnTo>
                    <a:pt x="441" y="459"/>
                  </a:lnTo>
                  <a:lnTo>
                    <a:pt x="443" y="460"/>
                  </a:lnTo>
                  <a:lnTo>
                    <a:pt x="444" y="462"/>
                  </a:lnTo>
                  <a:lnTo>
                    <a:pt x="444" y="463"/>
                  </a:lnTo>
                  <a:lnTo>
                    <a:pt x="444" y="464"/>
                  </a:lnTo>
                  <a:lnTo>
                    <a:pt x="444" y="466"/>
                  </a:lnTo>
                  <a:lnTo>
                    <a:pt x="444" y="467"/>
                  </a:lnTo>
                  <a:lnTo>
                    <a:pt x="444" y="469"/>
                  </a:lnTo>
                  <a:lnTo>
                    <a:pt x="442" y="473"/>
                  </a:lnTo>
                  <a:lnTo>
                    <a:pt x="441" y="477"/>
                  </a:lnTo>
                  <a:lnTo>
                    <a:pt x="436" y="485"/>
                  </a:lnTo>
                  <a:lnTo>
                    <a:pt x="435" y="488"/>
                  </a:lnTo>
                  <a:lnTo>
                    <a:pt x="433" y="494"/>
                  </a:lnTo>
                  <a:lnTo>
                    <a:pt x="432" y="497"/>
                  </a:lnTo>
                  <a:lnTo>
                    <a:pt x="431" y="502"/>
                  </a:lnTo>
                  <a:lnTo>
                    <a:pt x="429" y="513"/>
                  </a:lnTo>
                  <a:lnTo>
                    <a:pt x="429" y="516"/>
                  </a:lnTo>
                  <a:lnTo>
                    <a:pt x="428" y="518"/>
                  </a:lnTo>
                  <a:lnTo>
                    <a:pt x="427" y="519"/>
                  </a:lnTo>
                  <a:lnTo>
                    <a:pt x="426" y="521"/>
                  </a:lnTo>
                  <a:lnTo>
                    <a:pt x="424" y="522"/>
                  </a:lnTo>
                  <a:lnTo>
                    <a:pt x="422" y="524"/>
                  </a:lnTo>
                  <a:lnTo>
                    <a:pt x="415" y="528"/>
                  </a:lnTo>
                  <a:lnTo>
                    <a:pt x="407" y="533"/>
                  </a:lnTo>
                  <a:lnTo>
                    <a:pt x="404" y="534"/>
                  </a:lnTo>
                  <a:lnTo>
                    <a:pt x="397" y="538"/>
                  </a:lnTo>
                  <a:lnTo>
                    <a:pt x="393" y="539"/>
                  </a:lnTo>
                  <a:lnTo>
                    <a:pt x="389" y="541"/>
                  </a:lnTo>
                  <a:lnTo>
                    <a:pt x="374" y="544"/>
                  </a:lnTo>
                  <a:lnTo>
                    <a:pt x="371" y="545"/>
                  </a:lnTo>
                  <a:lnTo>
                    <a:pt x="367" y="545"/>
                  </a:lnTo>
                  <a:lnTo>
                    <a:pt x="364" y="545"/>
                  </a:lnTo>
                  <a:lnTo>
                    <a:pt x="359" y="544"/>
                  </a:lnTo>
                  <a:lnTo>
                    <a:pt x="355" y="544"/>
                  </a:lnTo>
                  <a:lnTo>
                    <a:pt x="351" y="542"/>
                  </a:lnTo>
                  <a:lnTo>
                    <a:pt x="346" y="541"/>
                  </a:lnTo>
                  <a:lnTo>
                    <a:pt x="340" y="539"/>
                  </a:lnTo>
                  <a:lnTo>
                    <a:pt x="338" y="538"/>
                  </a:lnTo>
                  <a:lnTo>
                    <a:pt x="336" y="537"/>
                  </a:lnTo>
                  <a:lnTo>
                    <a:pt x="334" y="537"/>
                  </a:lnTo>
                  <a:lnTo>
                    <a:pt x="332" y="537"/>
                  </a:lnTo>
                  <a:lnTo>
                    <a:pt x="331" y="538"/>
                  </a:lnTo>
                  <a:lnTo>
                    <a:pt x="329" y="538"/>
                  </a:lnTo>
                  <a:lnTo>
                    <a:pt x="328" y="539"/>
                  </a:lnTo>
                  <a:lnTo>
                    <a:pt x="326" y="539"/>
                  </a:lnTo>
                  <a:lnTo>
                    <a:pt x="325" y="541"/>
                  </a:lnTo>
                  <a:lnTo>
                    <a:pt x="324" y="542"/>
                  </a:lnTo>
                  <a:lnTo>
                    <a:pt x="324" y="544"/>
                  </a:lnTo>
                  <a:lnTo>
                    <a:pt x="324" y="545"/>
                  </a:lnTo>
                  <a:lnTo>
                    <a:pt x="324" y="547"/>
                  </a:lnTo>
                  <a:lnTo>
                    <a:pt x="324" y="548"/>
                  </a:lnTo>
                  <a:lnTo>
                    <a:pt x="324" y="550"/>
                  </a:lnTo>
                  <a:lnTo>
                    <a:pt x="324" y="554"/>
                  </a:lnTo>
                  <a:lnTo>
                    <a:pt x="326" y="563"/>
                  </a:lnTo>
                  <a:lnTo>
                    <a:pt x="328" y="566"/>
                  </a:lnTo>
                  <a:lnTo>
                    <a:pt x="330" y="571"/>
                  </a:lnTo>
                  <a:lnTo>
                    <a:pt x="332" y="576"/>
                  </a:lnTo>
                  <a:lnTo>
                    <a:pt x="335" y="580"/>
                  </a:lnTo>
                  <a:lnTo>
                    <a:pt x="336" y="582"/>
                  </a:lnTo>
                  <a:lnTo>
                    <a:pt x="338" y="584"/>
                  </a:lnTo>
                  <a:lnTo>
                    <a:pt x="340" y="586"/>
                  </a:lnTo>
                  <a:lnTo>
                    <a:pt x="341" y="587"/>
                  </a:lnTo>
                  <a:lnTo>
                    <a:pt x="344" y="589"/>
                  </a:lnTo>
                  <a:lnTo>
                    <a:pt x="349" y="592"/>
                  </a:lnTo>
                  <a:lnTo>
                    <a:pt x="351" y="593"/>
                  </a:lnTo>
                  <a:lnTo>
                    <a:pt x="356" y="596"/>
                  </a:lnTo>
                  <a:lnTo>
                    <a:pt x="359" y="599"/>
                  </a:lnTo>
                  <a:lnTo>
                    <a:pt x="361" y="600"/>
                  </a:lnTo>
                  <a:lnTo>
                    <a:pt x="362" y="601"/>
                  </a:lnTo>
                  <a:lnTo>
                    <a:pt x="363" y="603"/>
                  </a:lnTo>
                  <a:lnTo>
                    <a:pt x="364" y="604"/>
                  </a:lnTo>
                  <a:lnTo>
                    <a:pt x="364" y="607"/>
                  </a:lnTo>
                  <a:lnTo>
                    <a:pt x="364" y="609"/>
                  </a:lnTo>
                  <a:lnTo>
                    <a:pt x="364" y="611"/>
                  </a:lnTo>
                  <a:lnTo>
                    <a:pt x="364" y="614"/>
                  </a:lnTo>
                  <a:lnTo>
                    <a:pt x="363" y="616"/>
                  </a:lnTo>
                  <a:lnTo>
                    <a:pt x="361" y="618"/>
                  </a:lnTo>
                  <a:lnTo>
                    <a:pt x="353" y="626"/>
                  </a:lnTo>
                  <a:lnTo>
                    <a:pt x="351" y="630"/>
                  </a:lnTo>
                  <a:lnTo>
                    <a:pt x="349" y="633"/>
                  </a:lnTo>
                  <a:lnTo>
                    <a:pt x="348" y="635"/>
                  </a:lnTo>
                  <a:lnTo>
                    <a:pt x="347" y="638"/>
                  </a:lnTo>
                  <a:lnTo>
                    <a:pt x="346" y="641"/>
                  </a:lnTo>
                  <a:lnTo>
                    <a:pt x="347" y="644"/>
                  </a:lnTo>
                  <a:lnTo>
                    <a:pt x="347" y="645"/>
                  </a:lnTo>
                  <a:lnTo>
                    <a:pt x="348" y="647"/>
                  </a:lnTo>
                  <a:lnTo>
                    <a:pt x="349" y="651"/>
                  </a:lnTo>
                  <a:lnTo>
                    <a:pt x="350" y="653"/>
                  </a:lnTo>
                  <a:lnTo>
                    <a:pt x="351" y="655"/>
                  </a:lnTo>
                  <a:lnTo>
                    <a:pt x="352" y="657"/>
                  </a:lnTo>
                  <a:lnTo>
                    <a:pt x="355" y="661"/>
                  </a:lnTo>
                  <a:lnTo>
                    <a:pt x="359" y="666"/>
                  </a:lnTo>
                  <a:lnTo>
                    <a:pt x="362" y="669"/>
                  </a:lnTo>
                  <a:lnTo>
                    <a:pt x="369" y="676"/>
                  </a:lnTo>
                  <a:lnTo>
                    <a:pt x="376" y="681"/>
                  </a:lnTo>
                  <a:lnTo>
                    <a:pt x="376" y="682"/>
                  </a:lnTo>
                  <a:lnTo>
                    <a:pt x="378" y="684"/>
                  </a:lnTo>
                  <a:lnTo>
                    <a:pt x="379" y="685"/>
                  </a:lnTo>
                  <a:lnTo>
                    <a:pt x="379" y="686"/>
                  </a:lnTo>
                  <a:lnTo>
                    <a:pt x="379" y="688"/>
                  </a:lnTo>
                  <a:lnTo>
                    <a:pt x="379" y="689"/>
                  </a:lnTo>
                  <a:lnTo>
                    <a:pt x="379" y="689"/>
                  </a:lnTo>
                  <a:lnTo>
                    <a:pt x="378" y="690"/>
                  </a:lnTo>
                  <a:lnTo>
                    <a:pt x="377" y="691"/>
                  </a:lnTo>
                  <a:lnTo>
                    <a:pt x="376" y="691"/>
                  </a:lnTo>
                  <a:lnTo>
                    <a:pt x="374" y="691"/>
                  </a:lnTo>
                  <a:lnTo>
                    <a:pt x="372" y="691"/>
                  </a:lnTo>
                  <a:lnTo>
                    <a:pt x="371" y="690"/>
                  </a:lnTo>
                  <a:lnTo>
                    <a:pt x="369" y="689"/>
                  </a:lnTo>
                  <a:lnTo>
                    <a:pt x="361" y="684"/>
                  </a:lnTo>
                  <a:lnTo>
                    <a:pt x="359" y="682"/>
                  </a:lnTo>
                  <a:lnTo>
                    <a:pt x="356" y="681"/>
                  </a:lnTo>
                  <a:lnTo>
                    <a:pt x="355" y="680"/>
                  </a:lnTo>
                  <a:lnTo>
                    <a:pt x="353" y="679"/>
                  </a:lnTo>
                  <a:lnTo>
                    <a:pt x="350" y="679"/>
                  </a:lnTo>
                  <a:lnTo>
                    <a:pt x="348" y="678"/>
                  </a:lnTo>
                  <a:lnTo>
                    <a:pt x="346" y="678"/>
                  </a:lnTo>
                  <a:lnTo>
                    <a:pt x="344" y="678"/>
                  </a:lnTo>
                  <a:lnTo>
                    <a:pt x="341" y="678"/>
                  </a:lnTo>
                  <a:lnTo>
                    <a:pt x="339" y="678"/>
                  </a:lnTo>
                  <a:lnTo>
                    <a:pt x="335" y="679"/>
                  </a:lnTo>
                  <a:lnTo>
                    <a:pt x="329" y="681"/>
                  </a:lnTo>
                  <a:lnTo>
                    <a:pt x="326" y="681"/>
                  </a:lnTo>
                  <a:lnTo>
                    <a:pt x="324" y="681"/>
                  </a:lnTo>
                  <a:lnTo>
                    <a:pt x="321" y="681"/>
                  </a:lnTo>
                  <a:lnTo>
                    <a:pt x="319" y="681"/>
                  </a:lnTo>
                  <a:lnTo>
                    <a:pt x="317" y="681"/>
                  </a:lnTo>
                  <a:lnTo>
                    <a:pt x="314" y="681"/>
                  </a:lnTo>
                  <a:lnTo>
                    <a:pt x="313" y="680"/>
                  </a:lnTo>
                  <a:lnTo>
                    <a:pt x="311" y="679"/>
                  </a:lnTo>
                  <a:lnTo>
                    <a:pt x="309" y="678"/>
                  </a:lnTo>
                  <a:lnTo>
                    <a:pt x="308" y="676"/>
                  </a:lnTo>
                  <a:lnTo>
                    <a:pt x="306" y="674"/>
                  </a:lnTo>
                  <a:lnTo>
                    <a:pt x="304" y="671"/>
                  </a:lnTo>
                  <a:lnTo>
                    <a:pt x="298" y="664"/>
                  </a:lnTo>
                  <a:lnTo>
                    <a:pt x="295" y="659"/>
                  </a:lnTo>
                  <a:lnTo>
                    <a:pt x="293" y="657"/>
                  </a:lnTo>
                  <a:lnTo>
                    <a:pt x="290" y="655"/>
                  </a:lnTo>
                  <a:lnTo>
                    <a:pt x="288" y="654"/>
                  </a:lnTo>
                  <a:lnTo>
                    <a:pt x="285" y="651"/>
                  </a:lnTo>
                  <a:lnTo>
                    <a:pt x="283" y="650"/>
                  </a:lnTo>
                  <a:lnTo>
                    <a:pt x="280" y="649"/>
                  </a:lnTo>
                  <a:lnTo>
                    <a:pt x="277" y="649"/>
                  </a:lnTo>
                  <a:lnTo>
                    <a:pt x="274" y="648"/>
                  </a:lnTo>
                  <a:lnTo>
                    <a:pt x="272" y="648"/>
                  </a:lnTo>
                  <a:lnTo>
                    <a:pt x="270" y="648"/>
                  </a:lnTo>
                  <a:lnTo>
                    <a:pt x="268" y="648"/>
                  </a:lnTo>
                  <a:lnTo>
                    <a:pt x="263" y="649"/>
                  </a:lnTo>
                  <a:lnTo>
                    <a:pt x="262" y="649"/>
                  </a:lnTo>
                  <a:lnTo>
                    <a:pt x="262" y="648"/>
                  </a:lnTo>
                  <a:lnTo>
                    <a:pt x="261" y="647"/>
                  </a:lnTo>
                  <a:lnTo>
                    <a:pt x="252" y="644"/>
                  </a:lnTo>
                  <a:lnTo>
                    <a:pt x="247" y="642"/>
                  </a:lnTo>
                  <a:lnTo>
                    <a:pt x="239" y="639"/>
                  </a:lnTo>
                  <a:lnTo>
                    <a:pt x="236" y="636"/>
                  </a:lnTo>
                  <a:lnTo>
                    <a:pt x="232" y="634"/>
                  </a:lnTo>
                  <a:lnTo>
                    <a:pt x="228" y="631"/>
                  </a:lnTo>
                  <a:lnTo>
                    <a:pt x="225" y="629"/>
                  </a:lnTo>
                  <a:lnTo>
                    <a:pt x="220" y="624"/>
                  </a:lnTo>
                  <a:lnTo>
                    <a:pt x="219" y="622"/>
                  </a:lnTo>
                  <a:lnTo>
                    <a:pt x="217" y="621"/>
                  </a:lnTo>
                  <a:lnTo>
                    <a:pt x="212" y="618"/>
                  </a:lnTo>
                  <a:lnTo>
                    <a:pt x="210" y="617"/>
                  </a:lnTo>
                  <a:lnTo>
                    <a:pt x="209" y="616"/>
                  </a:lnTo>
                  <a:lnTo>
                    <a:pt x="207" y="614"/>
                  </a:lnTo>
                  <a:lnTo>
                    <a:pt x="201" y="607"/>
                  </a:lnTo>
                  <a:lnTo>
                    <a:pt x="199" y="606"/>
                  </a:lnTo>
                  <a:lnTo>
                    <a:pt x="198" y="604"/>
                  </a:lnTo>
                  <a:lnTo>
                    <a:pt x="197" y="601"/>
                  </a:lnTo>
                  <a:lnTo>
                    <a:pt x="194" y="594"/>
                  </a:lnTo>
                  <a:lnTo>
                    <a:pt x="193" y="593"/>
                  </a:lnTo>
                  <a:lnTo>
                    <a:pt x="192" y="591"/>
                  </a:lnTo>
                  <a:lnTo>
                    <a:pt x="190" y="589"/>
                  </a:lnTo>
                  <a:lnTo>
                    <a:pt x="184" y="583"/>
                  </a:lnTo>
                  <a:lnTo>
                    <a:pt x="177" y="575"/>
                  </a:lnTo>
                  <a:lnTo>
                    <a:pt x="175" y="573"/>
                  </a:lnTo>
                  <a:lnTo>
                    <a:pt x="174" y="571"/>
                  </a:lnTo>
                  <a:lnTo>
                    <a:pt x="172" y="568"/>
                  </a:lnTo>
                  <a:lnTo>
                    <a:pt x="171" y="565"/>
                  </a:lnTo>
                  <a:lnTo>
                    <a:pt x="170" y="562"/>
                  </a:lnTo>
                  <a:lnTo>
                    <a:pt x="168" y="554"/>
                  </a:lnTo>
                  <a:lnTo>
                    <a:pt x="166" y="550"/>
                  </a:lnTo>
                  <a:lnTo>
                    <a:pt x="165" y="548"/>
                  </a:lnTo>
                  <a:lnTo>
                    <a:pt x="164" y="546"/>
                  </a:lnTo>
                  <a:lnTo>
                    <a:pt x="162" y="544"/>
                  </a:lnTo>
                  <a:lnTo>
                    <a:pt x="161" y="543"/>
                  </a:lnTo>
                  <a:lnTo>
                    <a:pt x="159" y="542"/>
                  </a:lnTo>
                  <a:lnTo>
                    <a:pt x="158" y="542"/>
                  </a:lnTo>
                  <a:lnTo>
                    <a:pt x="154" y="540"/>
                  </a:lnTo>
                  <a:lnTo>
                    <a:pt x="152" y="539"/>
                  </a:lnTo>
                  <a:lnTo>
                    <a:pt x="142" y="537"/>
                  </a:lnTo>
                  <a:lnTo>
                    <a:pt x="124" y="530"/>
                  </a:lnTo>
                  <a:lnTo>
                    <a:pt x="118" y="529"/>
                  </a:lnTo>
                  <a:lnTo>
                    <a:pt x="108" y="527"/>
                  </a:lnTo>
                  <a:lnTo>
                    <a:pt x="104" y="526"/>
                  </a:lnTo>
                  <a:lnTo>
                    <a:pt x="102" y="525"/>
                  </a:lnTo>
                  <a:lnTo>
                    <a:pt x="100" y="524"/>
                  </a:lnTo>
                  <a:lnTo>
                    <a:pt x="99" y="523"/>
                  </a:lnTo>
                  <a:lnTo>
                    <a:pt x="97" y="522"/>
                  </a:lnTo>
                  <a:lnTo>
                    <a:pt x="94" y="520"/>
                  </a:lnTo>
                  <a:lnTo>
                    <a:pt x="92" y="518"/>
                  </a:lnTo>
                  <a:lnTo>
                    <a:pt x="90" y="516"/>
                  </a:lnTo>
                  <a:lnTo>
                    <a:pt x="87" y="512"/>
                  </a:lnTo>
                  <a:lnTo>
                    <a:pt x="84" y="509"/>
                  </a:lnTo>
                  <a:lnTo>
                    <a:pt x="78" y="500"/>
                  </a:lnTo>
                  <a:lnTo>
                    <a:pt x="77" y="498"/>
                  </a:lnTo>
                  <a:lnTo>
                    <a:pt x="75" y="495"/>
                  </a:lnTo>
                  <a:lnTo>
                    <a:pt x="73" y="489"/>
                  </a:lnTo>
                  <a:lnTo>
                    <a:pt x="72" y="486"/>
                  </a:lnTo>
                  <a:lnTo>
                    <a:pt x="69" y="482"/>
                  </a:lnTo>
                  <a:lnTo>
                    <a:pt x="68" y="479"/>
                  </a:lnTo>
                  <a:lnTo>
                    <a:pt x="67" y="477"/>
                  </a:lnTo>
                  <a:lnTo>
                    <a:pt x="64" y="474"/>
                  </a:lnTo>
                  <a:lnTo>
                    <a:pt x="62" y="472"/>
                  </a:lnTo>
                  <a:lnTo>
                    <a:pt x="59" y="471"/>
                  </a:lnTo>
                  <a:lnTo>
                    <a:pt x="57" y="469"/>
                  </a:lnTo>
                  <a:lnTo>
                    <a:pt x="55" y="468"/>
                  </a:lnTo>
                  <a:lnTo>
                    <a:pt x="53" y="468"/>
                  </a:lnTo>
                  <a:lnTo>
                    <a:pt x="49" y="467"/>
                  </a:lnTo>
                  <a:lnTo>
                    <a:pt x="47" y="468"/>
                  </a:lnTo>
                  <a:lnTo>
                    <a:pt x="43" y="469"/>
                  </a:lnTo>
                  <a:lnTo>
                    <a:pt x="39" y="469"/>
                  </a:lnTo>
                  <a:lnTo>
                    <a:pt x="36" y="472"/>
                  </a:lnTo>
                  <a:lnTo>
                    <a:pt x="30" y="474"/>
                  </a:lnTo>
                  <a:lnTo>
                    <a:pt x="28" y="475"/>
                  </a:lnTo>
                  <a:lnTo>
                    <a:pt x="27" y="475"/>
                  </a:lnTo>
                  <a:lnTo>
                    <a:pt x="25" y="475"/>
                  </a:lnTo>
                  <a:lnTo>
                    <a:pt x="25" y="475"/>
                  </a:lnTo>
                  <a:lnTo>
                    <a:pt x="23" y="474"/>
                  </a:lnTo>
                  <a:lnTo>
                    <a:pt x="22" y="473"/>
                  </a:lnTo>
                  <a:lnTo>
                    <a:pt x="22" y="472"/>
                  </a:lnTo>
                  <a:lnTo>
                    <a:pt x="21" y="470"/>
                  </a:lnTo>
                  <a:lnTo>
                    <a:pt x="20" y="468"/>
                  </a:lnTo>
                  <a:lnTo>
                    <a:pt x="20" y="466"/>
                  </a:lnTo>
                  <a:lnTo>
                    <a:pt x="17" y="458"/>
                  </a:lnTo>
                  <a:lnTo>
                    <a:pt x="16" y="453"/>
                  </a:lnTo>
                  <a:lnTo>
                    <a:pt x="14" y="447"/>
                  </a:lnTo>
                  <a:lnTo>
                    <a:pt x="10" y="439"/>
                  </a:lnTo>
                  <a:lnTo>
                    <a:pt x="9" y="434"/>
                  </a:lnTo>
                  <a:lnTo>
                    <a:pt x="7" y="430"/>
                  </a:lnTo>
                  <a:lnTo>
                    <a:pt x="5" y="420"/>
                  </a:lnTo>
                  <a:lnTo>
                    <a:pt x="2" y="413"/>
                  </a:lnTo>
                  <a:lnTo>
                    <a:pt x="1" y="408"/>
                  </a:lnTo>
                  <a:lnTo>
                    <a:pt x="0" y="401"/>
                  </a:lnTo>
                  <a:lnTo>
                    <a:pt x="0" y="397"/>
                  </a:lnTo>
                  <a:lnTo>
                    <a:pt x="0" y="397"/>
                  </a:lnTo>
                  <a:lnTo>
                    <a:pt x="1" y="397"/>
                  </a:lnTo>
                  <a:lnTo>
                    <a:pt x="2" y="397"/>
                  </a:lnTo>
                  <a:lnTo>
                    <a:pt x="2" y="396"/>
                  </a:lnTo>
                  <a:lnTo>
                    <a:pt x="5" y="395"/>
                  </a:lnTo>
                  <a:lnTo>
                    <a:pt x="7" y="393"/>
                  </a:lnTo>
                  <a:lnTo>
                    <a:pt x="10" y="390"/>
                  </a:lnTo>
                  <a:lnTo>
                    <a:pt x="13" y="386"/>
                  </a:lnTo>
                  <a:lnTo>
                    <a:pt x="19" y="379"/>
                  </a:lnTo>
                  <a:lnTo>
                    <a:pt x="22" y="374"/>
                  </a:lnTo>
                  <a:lnTo>
                    <a:pt x="24" y="372"/>
                  </a:lnTo>
                  <a:lnTo>
                    <a:pt x="25" y="369"/>
                  </a:lnTo>
                  <a:lnTo>
                    <a:pt x="25" y="367"/>
                  </a:lnTo>
                  <a:lnTo>
                    <a:pt x="26" y="362"/>
                  </a:lnTo>
                  <a:lnTo>
                    <a:pt x="27" y="358"/>
                  </a:lnTo>
                  <a:lnTo>
                    <a:pt x="28" y="355"/>
                  </a:lnTo>
                  <a:lnTo>
                    <a:pt x="30" y="353"/>
                  </a:lnTo>
                  <a:lnTo>
                    <a:pt x="31" y="352"/>
                  </a:lnTo>
                  <a:lnTo>
                    <a:pt x="32" y="351"/>
                  </a:lnTo>
                  <a:lnTo>
                    <a:pt x="34" y="350"/>
                  </a:lnTo>
                  <a:lnTo>
                    <a:pt x="36" y="349"/>
                  </a:lnTo>
                  <a:lnTo>
                    <a:pt x="39" y="347"/>
                  </a:lnTo>
                  <a:lnTo>
                    <a:pt x="44" y="346"/>
                  </a:lnTo>
                  <a:lnTo>
                    <a:pt x="45" y="345"/>
                  </a:lnTo>
                  <a:lnTo>
                    <a:pt x="46" y="344"/>
                  </a:lnTo>
                  <a:lnTo>
                    <a:pt x="48" y="343"/>
                  </a:lnTo>
                  <a:lnTo>
                    <a:pt x="50" y="340"/>
                  </a:lnTo>
                  <a:lnTo>
                    <a:pt x="51" y="337"/>
                  </a:lnTo>
                  <a:lnTo>
                    <a:pt x="52" y="335"/>
                  </a:lnTo>
                  <a:lnTo>
                    <a:pt x="52" y="331"/>
                  </a:lnTo>
                  <a:lnTo>
                    <a:pt x="52" y="326"/>
                  </a:lnTo>
                  <a:lnTo>
                    <a:pt x="52" y="322"/>
                  </a:lnTo>
                  <a:lnTo>
                    <a:pt x="52" y="317"/>
                  </a:lnTo>
                  <a:lnTo>
                    <a:pt x="51" y="312"/>
                  </a:lnTo>
                  <a:lnTo>
                    <a:pt x="48" y="304"/>
                  </a:lnTo>
                  <a:lnTo>
                    <a:pt x="47" y="300"/>
                  </a:lnTo>
                  <a:lnTo>
                    <a:pt x="42" y="289"/>
                  </a:lnTo>
                  <a:lnTo>
                    <a:pt x="42" y="287"/>
                  </a:lnTo>
                  <a:lnTo>
                    <a:pt x="42" y="285"/>
                  </a:lnTo>
                  <a:lnTo>
                    <a:pt x="42" y="284"/>
                  </a:lnTo>
                  <a:lnTo>
                    <a:pt x="42" y="283"/>
                  </a:lnTo>
                  <a:lnTo>
                    <a:pt x="43" y="282"/>
                  </a:lnTo>
                  <a:lnTo>
                    <a:pt x="50" y="278"/>
                  </a:lnTo>
                  <a:lnTo>
                    <a:pt x="52" y="277"/>
                  </a:lnTo>
                  <a:lnTo>
                    <a:pt x="54" y="275"/>
                  </a:lnTo>
                  <a:lnTo>
                    <a:pt x="55" y="274"/>
                  </a:lnTo>
                  <a:lnTo>
                    <a:pt x="56" y="272"/>
                  </a:lnTo>
                  <a:lnTo>
                    <a:pt x="57" y="270"/>
                  </a:lnTo>
                  <a:lnTo>
                    <a:pt x="59" y="267"/>
                  </a:lnTo>
                  <a:lnTo>
                    <a:pt x="59" y="265"/>
                  </a:lnTo>
                  <a:lnTo>
                    <a:pt x="60" y="261"/>
                  </a:lnTo>
                  <a:lnTo>
                    <a:pt x="60" y="257"/>
                  </a:lnTo>
                  <a:lnTo>
                    <a:pt x="60" y="249"/>
                  </a:lnTo>
                  <a:lnTo>
                    <a:pt x="61" y="244"/>
                  </a:lnTo>
                  <a:lnTo>
                    <a:pt x="62" y="242"/>
                  </a:lnTo>
                  <a:lnTo>
                    <a:pt x="62" y="238"/>
                  </a:lnTo>
                  <a:lnTo>
                    <a:pt x="64" y="232"/>
                  </a:lnTo>
                  <a:lnTo>
                    <a:pt x="64" y="230"/>
                  </a:lnTo>
                  <a:lnTo>
                    <a:pt x="64" y="226"/>
                  </a:lnTo>
                  <a:lnTo>
                    <a:pt x="64" y="219"/>
                  </a:lnTo>
                  <a:lnTo>
                    <a:pt x="64" y="216"/>
                  </a:lnTo>
                  <a:lnTo>
                    <a:pt x="65" y="214"/>
                  </a:lnTo>
                  <a:lnTo>
                    <a:pt x="66" y="210"/>
                  </a:lnTo>
                  <a:lnTo>
                    <a:pt x="67" y="207"/>
                  </a:lnTo>
                  <a:lnTo>
                    <a:pt x="67" y="205"/>
                  </a:lnTo>
                  <a:lnTo>
                    <a:pt x="67" y="203"/>
                  </a:lnTo>
                  <a:lnTo>
                    <a:pt x="66" y="201"/>
                  </a:lnTo>
                  <a:lnTo>
                    <a:pt x="64" y="198"/>
                  </a:lnTo>
                  <a:lnTo>
                    <a:pt x="63" y="196"/>
                  </a:lnTo>
                  <a:lnTo>
                    <a:pt x="59" y="190"/>
                  </a:lnTo>
                  <a:lnTo>
                    <a:pt x="57" y="188"/>
                  </a:lnTo>
                  <a:lnTo>
                    <a:pt x="55" y="185"/>
                  </a:lnTo>
                  <a:lnTo>
                    <a:pt x="54" y="182"/>
                  </a:lnTo>
                  <a:lnTo>
                    <a:pt x="54" y="181"/>
                  </a:lnTo>
                  <a:lnTo>
                    <a:pt x="53" y="178"/>
                  </a:lnTo>
                  <a:lnTo>
                    <a:pt x="52" y="174"/>
                  </a:lnTo>
                  <a:lnTo>
                    <a:pt x="53" y="167"/>
                  </a:lnTo>
                  <a:lnTo>
                    <a:pt x="53" y="162"/>
                  </a:lnTo>
                  <a:lnTo>
                    <a:pt x="52" y="160"/>
                  </a:lnTo>
                  <a:lnTo>
                    <a:pt x="51" y="153"/>
                  </a:lnTo>
                  <a:lnTo>
                    <a:pt x="51" y="151"/>
                  </a:lnTo>
                  <a:lnTo>
                    <a:pt x="50" y="150"/>
                  </a:lnTo>
                  <a:lnTo>
                    <a:pt x="51" y="147"/>
                  </a:lnTo>
                  <a:lnTo>
                    <a:pt x="51" y="145"/>
                  </a:lnTo>
                  <a:lnTo>
                    <a:pt x="52" y="143"/>
                  </a:lnTo>
                  <a:lnTo>
                    <a:pt x="52" y="141"/>
                  </a:lnTo>
                  <a:lnTo>
                    <a:pt x="54" y="139"/>
                  </a:lnTo>
                  <a:lnTo>
                    <a:pt x="57" y="135"/>
                  </a:lnTo>
                  <a:lnTo>
                    <a:pt x="59" y="130"/>
                  </a:lnTo>
                  <a:lnTo>
                    <a:pt x="63" y="124"/>
                  </a:lnTo>
                  <a:lnTo>
                    <a:pt x="64" y="120"/>
                  </a:lnTo>
                  <a:lnTo>
                    <a:pt x="65" y="118"/>
                  </a:lnTo>
                  <a:lnTo>
                    <a:pt x="66" y="115"/>
                  </a:lnTo>
                  <a:lnTo>
                    <a:pt x="66" y="114"/>
                  </a:lnTo>
                  <a:lnTo>
                    <a:pt x="66" y="113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7" y="109"/>
                  </a:lnTo>
                  <a:lnTo>
                    <a:pt x="68" y="107"/>
                  </a:lnTo>
                  <a:lnTo>
                    <a:pt x="71" y="102"/>
                  </a:lnTo>
                  <a:lnTo>
                    <a:pt x="73" y="100"/>
                  </a:lnTo>
                  <a:lnTo>
                    <a:pt x="75" y="98"/>
                  </a:lnTo>
                  <a:lnTo>
                    <a:pt x="77" y="97"/>
                  </a:lnTo>
                  <a:lnTo>
                    <a:pt x="78" y="96"/>
                  </a:lnTo>
                  <a:lnTo>
                    <a:pt x="79" y="95"/>
                  </a:lnTo>
                  <a:lnTo>
                    <a:pt x="82" y="95"/>
                  </a:lnTo>
                  <a:lnTo>
                    <a:pt x="84" y="95"/>
                  </a:lnTo>
                  <a:lnTo>
                    <a:pt x="91" y="97"/>
                  </a:lnTo>
                  <a:lnTo>
                    <a:pt x="97" y="97"/>
                  </a:lnTo>
                  <a:lnTo>
                    <a:pt x="100" y="98"/>
                  </a:lnTo>
                  <a:lnTo>
                    <a:pt x="102" y="98"/>
                  </a:lnTo>
                  <a:lnTo>
                    <a:pt x="103" y="99"/>
                  </a:lnTo>
                  <a:lnTo>
                    <a:pt x="107" y="103"/>
                  </a:lnTo>
                  <a:lnTo>
                    <a:pt x="110" y="105"/>
                  </a:lnTo>
                  <a:lnTo>
                    <a:pt x="113" y="106"/>
                  </a:lnTo>
                  <a:lnTo>
                    <a:pt x="118" y="107"/>
                  </a:lnTo>
                  <a:lnTo>
                    <a:pt x="121" y="108"/>
                  </a:lnTo>
                  <a:lnTo>
                    <a:pt x="126" y="108"/>
                  </a:lnTo>
                  <a:lnTo>
                    <a:pt x="128" y="108"/>
                  </a:lnTo>
                  <a:lnTo>
                    <a:pt x="138" y="110"/>
                  </a:lnTo>
                  <a:lnTo>
                    <a:pt x="142" y="110"/>
                  </a:lnTo>
                  <a:lnTo>
                    <a:pt x="145" y="110"/>
                  </a:lnTo>
                  <a:lnTo>
                    <a:pt x="147" y="110"/>
                  </a:lnTo>
                  <a:lnTo>
                    <a:pt x="149" y="110"/>
                  </a:lnTo>
                  <a:lnTo>
                    <a:pt x="150" y="110"/>
                  </a:lnTo>
                  <a:lnTo>
                    <a:pt x="154" y="108"/>
                  </a:lnTo>
                  <a:lnTo>
                    <a:pt x="156" y="108"/>
                  </a:lnTo>
                  <a:lnTo>
                    <a:pt x="159" y="107"/>
                  </a:lnTo>
                  <a:lnTo>
                    <a:pt x="160" y="107"/>
                  </a:lnTo>
                  <a:lnTo>
                    <a:pt x="162" y="107"/>
                  </a:lnTo>
                  <a:lnTo>
                    <a:pt x="168" y="103"/>
                  </a:lnTo>
                  <a:lnTo>
                    <a:pt x="170" y="101"/>
                  </a:lnTo>
                  <a:lnTo>
                    <a:pt x="173" y="99"/>
                  </a:lnTo>
                  <a:lnTo>
                    <a:pt x="176" y="95"/>
                  </a:lnTo>
                  <a:lnTo>
                    <a:pt x="176" y="96"/>
                  </a:lnTo>
                  <a:lnTo>
                    <a:pt x="176" y="98"/>
                  </a:lnTo>
                  <a:lnTo>
                    <a:pt x="175" y="101"/>
                  </a:lnTo>
                  <a:lnTo>
                    <a:pt x="173" y="107"/>
                  </a:lnTo>
                  <a:lnTo>
                    <a:pt x="172" y="110"/>
                  </a:lnTo>
                  <a:lnTo>
                    <a:pt x="171" y="114"/>
                  </a:lnTo>
                  <a:lnTo>
                    <a:pt x="170" y="116"/>
                  </a:lnTo>
                  <a:lnTo>
                    <a:pt x="170" y="119"/>
                  </a:lnTo>
                  <a:lnTo>
                    <a:pt x="170" y="120"/>
                  </a:lnTo>
                  <a:lnTo>
                    <a:pt x="171" y="121"/>
                  </a:lnTo>
                  <a:lnTo>
                    <a:pt x="172" y="122"/>
                  </a:lnTo>
                  <a:lnTo>
                    <a:pt x="172" y="123"/>
                  </a:lnTo>
                  <a:lnTo>
                    <a:pt x="172" y="124"/>
                  </a:lnTo>
                  <a:lnTo>
                    <a:pt x="174" y="125"/>
                  </a:lnTo>
                  <a:lnTo>
                    <a:pt x="174" y="126"/>
                  </a:lnTo>
                  <a:lnTo>
                    <a:pt x="177" y="127"/>
                  </a:lnTo>
                  <a:lnTo>
                    <a:pt x="178" y="127"/>
                  </a:lnTo>
                  <a:lnTo>
                    <a:pt x="179" y="128"/>
                  </a:lnTo>
                  <a:lnTo>
                    <a:pt x="182" y="128"/>
                  </a:lnTo>
                  <a:lnTo>
                    <a:pt x="190" y="130"/>
                  </a:lnTo>
                  <a:lnTo>
                    <a:pt x="194" y="130"/>
                  </a:lnTo>
                  <a:lnTo>
                    <a:pt x="198" y="131"/>
                  </a:lnTo>
                  <a:lnTo>
                    <a:pt x="203" y="132"/>
                  </a:lnTo>
                  <a:lnTo>
                    <a:pt x="208" y="134"/>
                  </a:lnTo>
                  <a:lnTo>
                    <a:pt x="212" y="136"/>
                  </a:lnTo>
                  <a:lnTo>
                    <a:pt x="215" y="138"/>
                  </a:lnTo>
                  <a:lnTo>
                    <a:pt x="221" y="142"/>
                  </a:lnTo>
                  <a:lnTo>
                    <a:pt x="223" y="143"/>
                  </a:lnTo>
                  <a:lnTo>
                    <a:pt x="224" y="143"/>
                  </a:lnTo>
                  <a:lnTo>
                    <a:pt x="226" y="144"/>
                  </a:lnTo>
                  <a:lnTo>
                    <a:pt x="227" y="143"/>
                  </a:lnTo>
                  <a:lnTo>
                    <a:pt x="229" y="143"/>
                  </a:lnTo>
                  <a:lnTo>
                    <a:pt x="230" y="142"/>
                  </a:lnTo>
                  <a:lnTo>
                    <a:pt x="232" y="140"/>
                  </a:lnTo>
                  <a:lnTo>
                    <a:pt x="233" y="138"/>
                  </a:lnTo>
                  <a:lnTo>
                    <a:pt x="236" y="133"/>
                  </a:lnTo>
                  <a:lnTo>
                    <a:pt x="237" y="131"/>
                  </a:lnTo>
                  <a:lnTo>
                    <a:pt x="240" y="127"/>
                  </a:lnTo>
                  <a:lnTo>
                    <a:pt x="243" y="124"/>
                  </a:lnTo>
                  <a:lnTo>
                    <a:pt x="246" y="121"/>
                  </a:lnTo>
                  <a:lnTo>
                    <a:pt x="248" y="119"/>
                  </a:lnTo>
                  <a:lnTo>
                    <a:pt x="257" y="112"/>
                  </a:lnTo>
                  <a:lnTo>
                    <a:pt x="264" y="107"/>
                  </a:lnTo>
                  <a:lnTo>
                    <a:pt x="269" y="103"/>
                  </a:lnTo>
                  <a:lnTo>
                    <a:pt x="273" y="101"/>
                  </a:lnTo>
                  <a:lnTo>
                    <a:pt x="275" y="100"/>
                  </a:lnTo>
                  <a:lnTo>
                    <a:pt x="277" y="100"/>
                  </a:lnTo>
                  <a:lnTo>
                    <a:pt x="287" y="97"/>
                  </a:lnTo>
                  <a:lnTo>
                    <a:pt x="292" y="95"/>
                  </a:lnTo>
                  <a:lnTo>
                    <a:pt x="296" y="93"/>
                  </a:lnTo>
                  <a:lnTo>
                    <a:pt x="299" y="91"/>
                  </a:lnTo>
                  <a:lnTo>
                    <a:pt x="301" y="90"/>
                  </a:lnTo>
                  <a:lnTo>
                    <a:pt x="303" y="88"/>
                  </a:lnTo>
                  <a:lnTo>
                    <a:pt x="304" y="87"/>
                  </a:lnTo>
                  <a:lnTo>
                    <a:pt x="304" y="85"/>
                  </a:lnTo>
                  <a:lnTo>
                    <a:pt x="305" y="83"/>
                  </a:lnTo>
                  <a:lnTo>
                    <a:pt x="305" y="82"/>
                  </a:lnTo>
                  <a:lnTo>
                    <a:pt x="304" y="78"/>
                  </a:lnTo>
                  <a:lnTo>
                    <a:pt x="302" y="72"/>
                  </a:lnTo>
                  <a:lnTo>
                    <a:pt x="301" y="66"/>
                  </a:lnTo>
                  <a:lnTo>
                    <a:pt x="299" y="62"/>
                  </a:lnTo>
                  <a:lnTo>
                    <a:pt x="299" y="59"/>
                  </a:lnTo>
                  <a:lnTo>
                    <a:pt x="299" y="56"/>
                  </a:lnTo>
                  <a:lnTo>
                    <a:pt x="299" y="53"/>
                  </a:lnTo>
                  <a:lnTo>
                    <a:pt x="299" y="50"/>
                  </a:lnTo>
                  <a:lnTo>
                    <a:pt x="300" y="48"/>
                  </a:lnTo>
                  <a:lnTo>
                    <a:pt x="301" y="43"/>
                  </a:lnTo>
                  <a:lnTo>
                    <a:pt x="302" y="40"/>
                  </a:lnTo>
                  <a:lnTo>
                    <a:pt x="303" y="38"/>
                  </a:lnTo>
                  <a:lnTo>
                    <a:pt x="303" y="34"/>
                  </a:lnTo>
                  <a:lnTo>
                    <a:pt x="303" y="31"/>
                  </a:lnTo>
                  <a:lnTo>
                    <a:pt x="304" y="30"/>
                  </a:lnTo>
                  <a:lnTo>
                    <a:pt x="304" y="29"/>
                  </a:lnTo>
                  <a:lnTo>
                    <a:pt x="305" y="26"/>
                  </a:lnTo>
                  <a:lnTo>
                    <a:pt x="306" y="25"/>
                  </a:lnTo>
                  <a:lnTo>
                    <a:pt x="307" y="24"/>
                  </a:lnTo>
                  <a:lnTo>
                    <a:pt x="311" y="22"/>
                  </a:lnTo>
                  <a:lnTo>
                    <a:pt x="313" y="20"/>
                  </a:lnTo>
                  <a:lnTo>
                    <a:pt x="314" y="18"/>
                  </a:lnTo>
                  <a:lnTo>
                    <a:pt x="316" y="14"/>
                  </a:lnTo>
                  <a:lnTo>
                    <a:pt x="319" y="12"/>
                  </a:lnTo>
                  <a:lnTo>
                    <a:pt x="321" y="9"/>
                  </a:lnTo>
                  <a:lnTo>
                    <a:pt x="326" y="6"/>
                  </a:lnTo>
                  <a:lnTo>
                    <a:pt x="330" y="4"/>
                  </a:lnTo>
                  <a:lnTo>
                    <a:pt x="334" y="1"/>
                  </a:lnTo>
                  <a:lnTo>
                    <a:pt x="336" y="0"/>
                  </a:lnTo>
                  <a:lnTo>
                    <a:pt x="339" y="0"/>
                  </a:lnTo>
                  <a:lnTo>
                    <a:pt x="339" y="0"/>
                  </a:lnTo>
                  <a:close/>
                </a:path>
              </a:pathLst>
            </a:custGeom>
            <a:solidFill>
              <a:srgbClr val="E6AF00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Rectangle 189">
              <a:extLst>
                <a:ext uri="{FF2B5EF4-FFF2-40B4-BE49-F238E27FC236}">
                  <a16:creationId xmlns:a16="http://schemas.microsoft.com/office/drawing/2014/main" id="{0768A569-2CE8-D4C1-BAD1-8231BFF36D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7504" y="5439947"/>
              <a:ext cx="121828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H</a:t>
              </a:r>
            </a:p>
          </p:txBody>
        </p:sp>
        <p:sp>
          <p:nvSpPr>
            <p:cNvPr id="131" name="Rectangle 193">
              <a:extLst>
                <a:ext uri="{FF2B5EF4-FFF2-40B4-BE49-F238E27FC236}">
                  <a16:creationId xmlns:a16="http://schemas.microsoft.com/office/drawing/2014/main" id="{CB0CD266-0039-6AF5-C6E0-3307C4F8CA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5997" y="4840034"/>
              <a:ext cx="10259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I</a:t>
              </a:r>
            </a:p>
          </p:txBody>
        </p:sp>
        <p:sp>
          <p:nvSpPr>
            <p:cNvPr id="141" name="Rectangle 197">
              <a:extLst>
                <a:ext uri="{FF2B5EF4-FFF2-40B4-BE49-F238E27FC236}">
                  <a16:creationId xmlns:a16="http://schemas.microsoft.com/office/drawing/2014/main" id="{3FA43D34-09DA-6372-58A1-8B6799C51F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6617" y="5705227"/>
              <a:ext cx="13946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B</a:t>
              </a:r>
            </a:p>
          </p:txBody>
        </p:sp>
        <p:sp>
          <p:nvSpPr>
            <p:cNvPr id="142" name="Rectangle 198">
              <a:extLst>
                <a:ext uri="{FF2B5EF4-FFF2-40B4-BE49-F238E27FC236}">
                  <a16:creationId xmlns:a16="http://schemas.microsoft.com/office/drawing/2014/main" id="{C4CF894D-3CE7-B277-93F4-342DE342C1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8299" y="6235423"/>
              <a:ext cx="137858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K</a:t>
              </a:r>
            </a:p>
          </p:txBody>
        </p:sp>
        <p:sp>
          <p:nvSpPr>
            <p:cNvPr id="143" name="Rectangle 201">
              <a:extLst>
                <a:ext uri="{FF2B5EF4-FFF2-40B4-BE49-F238E27FC236}">
                  <a16:creationId xmlns:a16="http://schemas.microsoft.com/office/drawing/2014/main" id="{AE2F3C56-2263-37AB-1137-C709A19CC0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7814" y="4873912"/>
              <a:ext cx="14106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A</a:t>
              </a:r>
            </a:p>
          </p:txBody>
        </p:sp>
        <p:sp>
          <p:nvSpPr>
            <p:cNvPr id="144" name="Rectangle 204">
              <a:extLst>
                <a:ext uri="{FF2B5EF4-FFF2-40B4-BE49-F238E27FC236}">
                  <a16:creationId xmlns:a16="http://schemas.microsoft.com/office/drawing/2014/main" id="{DF62F0C3-9B8B-1FE1-601C-EAB93D3647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5736" y="5668800"/>
              <a:ext cx="13305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T</a:t>
              </a:r>
            </a:p>
          </p:txBody>
        </p:sp>
        <p:sp>
          <p:nvSpPr>
            <p:cNvPr id="230" name="Rectangle 222">
              <a:extLst>
                <a:ext uri="{FF2B5EF4-FFF2-40B4-BE49-F238E27FC236}">
                  <a16:creationId xmlns:a16="http://schemas.microsoft.com/office/drawing/2014/main" id="{D00EA22E-E386-1F4A-CA9B-C43A9A1515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8409" y="5116435"/>
              <a:ext cx="12503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0128589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25C584A9-EC5A-9BC5-016F-F7EA640C81CD}"/>
              </a:ext>
            </a:extLst>
          </p:cNvPr>
          <p:cNvSpPr/>
          <p:nvPr/>
        </p:nvSpPr>
        <p:spPr>
          <a:xfrm>
            <a:off x="498603" y="1218421"/>
            <a:ext cx="7341805" cy="176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Nadpis 18">
            <a:extLst>
              <a:ext uri="{FF2B5EF4-FFF2-40B4-BE49-F238E27FC236}">
                <a16:creationId xmlns:a16="http://schemas.microsoft.com/office/drawing/2014/main" id="{D62B0AFD-F7A2-0BD9-6E71-6CF4757B8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Mortalita zhoubných novotvarů v letech 2019–2023: srovnání JHC a ČR</a:t>
            </a:r>
            <a:br>
              <a:rPr lang="cs-CZ" dirty="0"/>
            </a:br>
            <a:endParaRPr lang="cs-CZ" dirty="0"/>
          </a:p>
        </p:txBody>
      </p:sp>
      <p:sp>
        <p:nvSpPr>
          <p:cNvPr id="8" name="Text Box 20">
            <a:extLst>
              <a:ext uri="{FF2B5EF4-FFF2-40B4-BE49-F238E27FC236}">
                <a16:creationId xmlns:a16="http://schemas.microsoft.com/office/drawing/2014/main" id="{6DA2279D-3154-4FE4-9D83-F5F642B8B21E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93107" y="656647"/>
            <a:ext cx="553668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ční počet zemřelých s onemocněním na 100 000 osob</a:t>
            </a:r>
          </a:p>
        </p:txBody>
      </p:sp>
      <p:sp>
        <p:nvSpPr>
          <p:cNvPr id="15" name="TextBox 6">
            <a:extLst>
              <a:ext uri="{FF2B5EF4-FFF2-40B4-BE49-F238E27FC236}">
                <a16:creationId xmlns:a16="http://schemas.microsoft.com/office/drawing/2014/main" id="{BFA19679-E927-A926-79F1-5DB0F2FA28A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8281" y="468586"/>
            <a:ext cx="23054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onkologický registr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B104FD49-D8D9-8F9E-E14D-5627B3FAE695}"/>
              </a:ext>
            </a:extLst>
          </p:cNvPr>
          <p:cNvGraphicFramePr>
            <a:graphicFrameLocks noGrp="1"/>
          </p:cNvGraphicFramePr>
          <p:nvPr/>
        </p:nvGraphicFramePr>
        <p:xfrm>
          <a:off x="5901183" y="3014815"/>
          <a:ext cx="5714117" cy="1219200"/>
        </p:xfrm>
        <a:graphic>
          <a:graphicData uri="http://schemas.openxmlformats.org/drawingml/2006/table">
            <a:tbl>
              <a:tblPr/>
              <a:tblGrid>
                <a:gridCol w="3987979">
                  <a:extLst>
                    <a:ext uri="{9D8B030D-6E8A-4147-A177-3AD203B41FA5}">
                      <a16:colId xmlns:a16="http://schemas.microsoft.com/office/drawing/2014/main" val="2411398723"/>
                    </a:ext>
                  </a:extLst>
                </a:gridCol>
                <a:gridCol w="863069">
                  <a:extLst>
                    <a:ext uri="{9D8B030D-6E8A-4147-A177-3AD203B41FA5}">
                      <a16:colId xmlns:a16="http://schemas.microsoft.com/office/drawing/2014/main" val="1316542829"/>
                    </a:ext>
                  </a:extLst>
                </a:gridCol>
                <a:gridCol w="863069">
                  <a:extLst>
                    <a:ext uri="{9D8B030D-6E8A-4147-A177-3AD203B41FA5}">
                      <a16:colId xmlns:a16="http://schemas.microsoft.com/office/drawing/2014/main" val="394226161"/>
                    </a:ext>
                  </a:extLst>
                </a:gridCol>
              </a:tblGrid>
              <a:tr h="144780">
                <a:tc>
                  <a:txBody>
                    <a:bodyPr/>
                    <a:lstStyle/>
                    <a:p>
                      <a:pPr algn="l" fontAlgn="auto"/>
                      <a:r>
                        <a:rPr lang="cs-CZ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  <a:endParaRPr lang="cs-CZ" b="1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  <a:endParaRPr lang="cs-CZ" b="1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601421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zemřelých s C33, C34 ročně</a:t>
                      </a:r>
                      <a:r>
                        <a:rPr lang="cs-CZ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cs-CZ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9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85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3167827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zemřelých s C33, C34 ročně na 100 000 osob</a:t>
                      </a:r>
                      <a:endParaRPr lang="cs-CZ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,4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5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190342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íl ze zhoubných novotvarů</a:t>
                      </a:r>
                      <a:r>
                        <a:rPr lang="cs-CZ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cs-CZ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 %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 %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3262670"/>
                  </a:ext>
                </a:extLst>
              </a:tr>
            </a:tbl>
          </a:graphicData>
        </a:graphic>
      </p:graphicFrame>
      <p:sp>
        <p:nvSpPr>
          <p:cNvPr id="20" name="Text Box 20">
            <a:extLst>
              <a:ext uri="{FF2B5EF4-FFF2-40B4-BE49-F238E27FC236}">
                <a16:creationId xmlns:a16="http://schemas.microsoft.com/office/drawing/2014/main" id="{358776E1-BEB7-0059-94F3-D08CC135F07A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23925" y="849915"/>
            <a:ext cx="266151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agnostická skupina:</a:t>
            </a:r>
          </a:p>
        </p:txBody>
      </p:sp>
      <p:sp>
        <p:nvSpPr>
          <p:cNvPr id="11" name="Rectangle 233">
            <a:extLst>
              <a:ext uri="{FF2B5EF4-FFF2-40B4-BE49-F238E27FC236}">
                <a16:creationId xmlns:a16="http://schemas.microsoft.com/office/drawing/2014/main" id="{E9935E30-E1A0-472E-B505-FBAE12665FBB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943600" y="2408305"/>
            <a:ext cx="107950" cy="107950"/>
          </a:xfrm>
          <a:prstGeom prst="rect">
            <a:avLst/>
          </a:prstGeom>
          <a:solidFill>
            <a:srgbClr val="858585"/>
          </a:solidFill>
          <a:ln w="1651" algn="ctr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Rectangle 234">
            <a:extLst>
              <a:ext uri="{FF2B5EF4-FFF2-40B4-BE49-F238E27FC236}">
                <a16:creationId xmlns:a16="http://schemas.microsoft.com/office/drawing/2014/main" id="{F47512FE-66DB-457D-B5D9-C79C69E7DB89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943600" y="2238933"/>
            <a:ext cx="107950" cy="107950"/>
          </a:xfrm>
          <a:prstGeom prst="rect">
            <a:avLst/>
          </a:prstGeom>
          <a:solidFill>
            <a:srgbClr val="C00000"/>
          </a:solidFill>
          <a:ln w="1651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altLang="cs-CZ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" name="Text Box 237">
            <a:extLst>
              <a:ext uri="{FF2B5EF4-FFF2-40B4-BE49-F238E27FC236}">
                <a16:creationId xmlns:a16="http://schemas.microsoft.com/office/drawing/2014/main" id="{4C325B2C-77CB-4329-983F-A4E09D8F3DD9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096000" y="2193292"/>
            <a:ext cx="1874471" cy="383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ihočeský kraj</a:t>
            </a:r>
          </a:p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ská republika</a:t>
            </a:r>
          </a:p>
        </p:txBody>
      </p:sp>
      <p:graphicFrame>
        <p:nvGraphicFramePr>
          <p:cNvPr id="4" name="Object 35">
            <a:extLst>
              <a:ext uri="{FF2B5EF4-FFF2-40B4-BE49-F238E27FC236}">
                <a16:creationId xmlns:a16="http://schemas.microsoft.com/office/drawing/2014/main" id="{0F220EBB-6095-1FF1-B881-C262A45F2958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3483839" y="905785"/>
          <a:ext cx="4186961" cy="55585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5" name="Group 91">
            <a:extLst>
              <a:ext uri="{FF2B5EF4-FFF2-40B4-BE49-F238E27FC236}">
                <a16:creationId xmlns:a16="http://schemas.microsoft.com/office/drawing/2014/main" id="{020CEAC4-1E08-2470-FD33-8203FC4CE9C1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394290" y="1211040"/>
          <a:ext cx="3224099" cy="5191074"/>
        </p:xfrm>
        <a:graphic>
          <a:graphicData uri="http://schemas.openxmlformats.org/drawingml/2006/table">
            <a:tbl>
              <a:tblPr/>
              <a:tblGrid>
                <a:gridCol w="32240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ůdušnice, průdušky a plíce (C33, C3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tlustého střeva a konečníku (C18–C20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slinivky břišní (C2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su (C50) u žen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ostaty (C61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ledviny (C6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ukémie (C91–C9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žaludku (C16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jater a intrahepatálních žlučových cest (C2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močového měchýře (C67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mozku, míchy a jiných částí CNS (C70–C7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pl-P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lavy a krku (C00–C14, C30–C31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žlučníku a žlučových cest (C23, C2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vaječníku (C56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-Hodgkinův lymfom (C82–C86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jícnu (C1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dělohy (C54, C5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ohočetný myelom (C90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houbný melanom kůže (C43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rdla děložního (C53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elanomový kožní ZN (C4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rtanu (C3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oj. a měk. tkání a perif. nervů (C47, C49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štítné žlázy (C73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gkinův lymfom (C81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varlete (C6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houbné novotvary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010389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>
            <a:extLst>
              <a:ext uri="{FF2B5EF4-FFF2-40B4-BE49-F238E27FC236}">
                <a16:creationId xmlns:a16="http://schemas.microsoft.com/office/drawing/2014/main" id="{16A351A3-F0AE-0353-7E25-87EF4559BC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Epidemiologie nádorů prsu a onkologická léčba</a:t>
            </a:r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72543925-3314-FC7D-5A63-1A33CD0F49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8639463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Nadpis 138">
            <a:extLst>
              <a:ext uri="{FF2B5EF4-FFF2-40B4-BE49-F238E27FC236}">
                <a16:creationId xmlns:a16="http://schemas.microsoft.com/office/drawing/2014/main" id="{6839B9D1-D146-07B7-88E2-886672E67F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Mortalita </a:t>
            </a:r>
            <a:r>
              <a:rPr lang="es-ES" dirty="0"/>
              <a:t>ZN </a:t>
            </a:r>
            <a:r>
              <a:rPr lang="cs-CZ" dirty="0"/>
              <a:t>průdušnice, průdušky a plíce </a:t>
            </a:r>
            <a:r>
              <a:rPr lang="es-ES" dirty="0"/>
              <a:t>(C</a:t>
            </a:r>
            <a:r>
              <a:rPr lang="cs-CZ" dirty="0"/>
              <a:t>33, C34</a:t>
            </a:r>
            <a:r>
              <a:rPr lang="es-ES" dirty="0"/>
              <a:t>)</a:t>
            </a:r>
            <a:br>
              <a:rPr lang="es-ES" dirty="0"/>
            </a:br>
            <a:endParaRPr lang="cs-CZ" dirty="0"/>
          </a:p>
        </p:txBody>
      </p:sp>
      <p:graphicFrame>
        <p:nvGraphicFramePr>
          <p:cNvPr id="36" name="Object 123">
            <a:extLst>
              <a:ext uri="{FF2B5EF4-FFF2-40B4-BE49-F238E27FC236}">
                <a16:creationId xmlns:a16="http://schemas.microsoft.com/office/drawing/2014/main" id="{3C877F9B-0772-2307-4A69-A6BC69F9DDD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601106" y="1911300"/>
          <a:ext cx="4122000" cy="3813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3" name="Group 110">
            <a:extLst>
              <a:ext uri="{FF2B5EF4-FFF2-40B4-BE49-F238E27FC236}">
                <a16:creationId xmlns:a16="http://schemas.microsoft.com/office/drawing/2014/main" id="{0EB1675A-69A4-4717-95C6-DD9F58ADD5A1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4597801" y="1833771"/>
          <a:ext cx="1931064" cy="2484000"/>
        </p:xfrm>
        <a:graphic>
          <a:graphicData uri="http://schemas.openxmlformats.org/drawingml/2006/table">
            <a:tbl>
              <a:tblPr/>
              <a:tblGrid>
                <a:gridCol w="19310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marL="0" algn="r" defTabSz="914400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cs-CZ" sz="12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Jihoče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oravskoslez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á republik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4" name="TextBox 9">
            <a:extLst>
              <a:ext uri="{FF2B5EF4-FFF2-40B4-BE49-F238E27FC236}">
                <a16:creationId xmlns:a16="http://schemas.microsoft.com/office/drawing/2014/main" id="{0A51F226-86A0-4005-BB9C-D648577A80D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998859" y="3547350"/>
            <a:ext cx="27715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očet úmrtí na diagnózu na 100 000 osob</a:t>
            </a:r>
          </a:p>
        </p:txBody>
      </p:sp>
      <p:sp>
        <p:nvSpPr>
          <p:cNvPr id="5" name="Rectangle 110">
            <a:extLst>
              <a:ext uri="{FF2B5EF4-FFF2-40B4-BE49-F238E27FC236}">
                <a16:creationId xmlns:a16="http://schemas.microsoft.com/office/drawing/2014/main" id="{6F4D1A70-A3A9-4D04-AA89-C9474BF7C1B7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397843" y="5696482"/>
            <a:ext cx="529069" cy="131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k</a:t>
            </a:r>
          </a:p>
        </p:txBody>
      </p:sp>
      <p:sp>
        <p:nvSpPr>
          <p:cNvPr id="6" name="TextovéPole 7">
            <a:extLst>
              <a:ext uri="{FF2B5EF4-FFF2-40B4-BE49-F238E27FC236}">
                <a16:creationId xmlns:a16="http://schemas.microsoft.com/office/drawing/2014/main" id="{B287C757-E904-45E7-B046-9EC04007401D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89670" y="3622369"/>
            <a:ext cx="65932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8585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5,2</a:t>
            </a:r>
          </a:p>
        </p:txBody>
      </p:sp>
      <p:sp>
        <p:nvSpPr>
          <p:cNvPr id="7" name="TextBox 9">
            <a:extLst>
              <a:ext uri="{FF2B5EF4-FFF2-40B4-BE49-F238E27FC236}">
                <a16:creationId xmlns:a16="http://schemas.microsoft.com/office/drawing/2014/main" id="{33D1BF51-3B9F-493E-A550-8897179273C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316861" y="1026669"/>
            <a:ext cx="35748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očet úmrtí na diagnózu na 100 000 oso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(roční průměr za období 2019–2023)</a:t>
            </a:r>
          </a:p>
        </p:txBody>
      </p:sp>
      <p:graphicFrame>
        <p:nvGraphicFramePr>
          <p:cNvPr id="8" name="Object 16">
            <a:extLst>
              <a:ext uri="{FF2B5EF4-FFF2-40B4-BE49-F238E27FC236}">
                <a16:creationId xmlns:a16="http://schemas.microsoft.com/office/drawing/2014/main" id="{CD67FA2A-DCB1-4B10-B2E7-EA42181B475C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6449966" y="1533313"/>
          <a:ext cx="2376793" cy="28147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AFD084D9-53D8-4820-929C-135EFBAF7618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256137" y="747842"/>
            <a:ext cx="338230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rtalita: časový trend </a:t>
            </a: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2A011C0A-EFAA-464B-8FE9-A461B2CD7CDF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495098" y="747842"/>
            <a:ext cx="338230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rtalita: regionální srovnání </a:t>
            </a: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7">
            <a:extLst>
              <a:ext uri="{FF2B5EF4-FFF2-40B4-BE49-F238E27FC236}">
                <a16:creationId xmlns:a16="http://schemas.microsoft.com/office/drawing/2014/main" id="{D50B36CC-0574-406E-8799-2B063A4E4186}"/>
              </a:ext>
            </a:extLst>
          </p:cNvPr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589670" y="3431587"/>
            <a:ext cx="65932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9,8</a:t>
            </a:r>
          </a:p>
        </p:txBody>
      </p:sp>
      <p:grpSp>
        <p:nvGrpSpPr>
          <p:cNvPr id="14" name="Skupina 13">
            <a:extLst>
              <a:ext uri="{FF2B5EF4-FFF2-40B4-BE49-F238E27FC236}">
                <a16:creationId xmlns:a16="http://schemas.microsoft.com/office/drawing/2014/main" id="{0C6B2F2A-ABBD-4292-B8F6-D1991BA731A0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2132483" y="1181883"/>
            <a:ext cx="2106409" cy="593942"/>
            <a:chOff x="4637416" y="1161434"/>
            <a:chExt cx="2106409" cy="593942"/>
          </a:xfrm>
        </p:grpSpPr>
        <p:sp>
          <p:nvSpPr>
            <p:cNvPr id="15" name="TextovéPole 14">
              <a:extLst>
                <a:ext uri="{FF2B5EF4-FFF2-40B4-BE49-F238E27FC236}">
                  <a16:creationId xmlns:a16="http://schemas.microsoft.com/office/drawing/2014/main" id="{426CBE04-0581-4F51-8C9C-A8321D2B61B4}"/>
                </a:ext>
              </a:extLst>
            </p:cNvPr>
            <p:cNvSpPr txBox="1"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4973409" y="1570710"/>
              <a:ext cx="1770416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ozsah hodnot krajů</a:t>
              </a:r>
            </a:p>
          </p:txBody>
        </p:sp>
        <p:sp>
          <p:nvSpPr>
            <p:cNvPr id="16" name="Rectangle 53">
              <a:extLst>
                <a:ext uri="{FF2B5EF4-FFF2-40B4-BE49-F238E27FC236}">
                  <a16:creationId xmlns:a16="http://schemas.microsoft.com/office/drawing/2014/main" id="{8B14D4AE-536F-4C73-87DA-E1B5D7B78B51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>
            <a:xfrm>
              <a:off x="4709976" y="1592059"/>
              <a:ext cx="144000" cy="143777"/>
            </a:xfrm>
            <a:prstGeom prst="rect">
              <a:avLst/>
            </a:prstGeom>
            <a:solidFill>
              <a:srgbClr val="C8C8C8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CC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TextovéPole 7">
              <a:extLst>
                <a:ext uri="{FF2B5EF4-FFF2-40B4-BE49-F238E27FC236}">
                  <a16:creationId xmlns:a16="http://schemas.microsoft.com/office/drawing/2014/main" id="{F9FED6A7-3F97-4B3E-B397-F128EA107D43}"/>
                </a:ext>
              </a:extLst>
            </p:cNvPr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4979145" y="1355266"/>
              <a:ext cx="1414709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ihočeský kraj</a:t>
              </a:r>
            </a:p>
          </p:txBody>
        </p:sp>
        <p:cxnSp>
          <p:nvCxnSpPr>
            <p:cNvPr id="18" name="Straight Connector 35">
              <a:extLst>
                <a:ext uri="{FF2B5EF4-FFF2-40B4-BE49-F238E27FC236}">
                  <a16:creationId xmlns:a16="http://schemas.microsoft.com/office/drawing/2014/main" id="{8FF49DB3-EA1B-4E51-8DFE-A45DFF44F920}"/>
                </a:ext>
              </a:extLst>
            </p:cNvPr>
            <p:cNvCxnSpPr/>
            <p:nvPr>
              <p:custDataLst>
                <p:tags r:id="rId20"/>
              </p:custDataLst>
            </p:nvPr>
          </p:nvCxnSpPr>
          <p:spPr>
            <a:xfrm>
              <a:off x="4637416" y="1452250"/>
              <a:ext cx="287338" cy="0"/>
            </a:xfrm>
            <a:prstGeom prst="line">
              <a:avLst/>
            </a:prstGeom>
            <a:solidFill>
              <a:srgbClr val="FF6600"/>
            </a:solidFill>
            <a:ln w="25400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19" name="TextovéPole 7">
              <a:extLst>
                <a:ext uri="{FF2B5EF4-FFF2-40B4-BE49-F238E27FC236}">
                  <a16:creationId xmlns:a16="http://schemas.microsoft.com/office/drawing/2014/main" id="{DD0B0EBA-999B-4443-AE93-FE8C1F9D1030}"/>
                </a:ext>
              </a:extLst>
            </p:cNvPr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4971744" y="1161434"/>
              <a:ext cx="1302677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Česká republika</a:t>
              </a:r>
            </a:p>
          </p:txBody>
        </p:sp>
        <p:cxnSp>
          <p:nvCxnSpPr>
            <p:cNvPr id="20" name="Straight Connector 35">
              <a:extLst>
                <a:ext uri="{FF2B5EF4-FFF2-40B4-BE49-F238E27FC236}">
                  <a16:creationId xmlns:a16="http://schemas.microsoft.com/office/drawing/2014/main" id="{B46A3F8D-3055-42AA-9A3B-A03A0A8C6233}"/>
                </a:ext>
              </a:extLst>
            </p:cNvPr>
            <p:cNvCxnSpPr/>
            <p:nvPr>
              <p:custDataLst>
                <p:tags r:id="rId22"/>
              </p:custDataLst>
            </p:nvPr>
          </p:nvCxnSpPr>
          <p:spPr>
            <a:xfrm>
              <a:off x="4639346" y="1258418"/>
              <a:ext cx="287338" cy="0"/>
            </a:xfrm>
            <a:prstGeom prst="line">
              <a:avLst/>
            </a:prstGeom>
            <a:solidFill>
              <a:srgbClr val="FF6600"/>
            </a:solidFill>
            <a:ln w="25400" cap="flat" cmpd="sng" algn="ctr">
              <a:solidFill>
                <a:srgbClr val="858585"/>
              </a:solidFill>
              <a:prstDash val="solid"/>
              <a:miter lim="800000"/>
            </a:ln>
            <a:effectLst/>
          </p:spPr>
        </p:cxnSp>
      </p:grpSp>
      <p:sp>
        <p:nvSpPr>
          <p:cNvPr id="21" name="TextBox 6">
            <a:extLst>
              <a:ext uri="{FF2B5EF4-FFF2-40B4-BE49-F238E27FC236}">
                <a16:creationId xmlns:a16="http://schemas.microsoft.com/office/drawing/2014/main" id="{578E4CDB-52CB-4798-B12C-F19A803F9D00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278281" y="468586"/>
            <a:ext cx="37208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onkologický registr, Český statistický úřad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DAD395C-5D30-51B7-D227-BCC80380EC24}"/>
              </a:ext>
            </a:extLst>
          </p:cNvPr>
          <p:cNvGrpSpPr/>
          <p:nvPr/>
        </p:nvGrpSpPr>
        <p:grpSpPr>
          <a:xfrm>
            <a:off x="10951469" y="1905027"/>
            <a:ext cx="920040" cy="839147"/>
            <a:chOff x="5368539" y="5686843"/>
            <a:chExt cx="920040" cy="839147"/>
          </a:xfrm>
        </p:grpSpPr>
        <p:sp>
          <p:nvSpPr>
            <p:cNvPr id="24" name="Text Box 58">
              <a:extLst>
                <a:ext uri="{FF2B5EF4-FFF2-40B4-BE49-F238E27FC236}">
                  <a16:creationId xmlns:a16="http://schemas.microsoft.com/office/drawing/2014/main" id="{ABA97A06-CD9E-1DB5-0B67-19AD7AC0DA2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42967" y="5694325"/>
              <a:ext cx="745612" cy="83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&gt; 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1–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 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1–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≤ 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 </a:t>
              </a:r>
            </a:p>
          </p:txBody>
        </p:sp>
        <p:sp>
          <p:nvSpPr>
            <p:cNvPr id="25" name="Rectangle 56">
              <a:extLst>
                <a:ext uri="{FF2B5EF4-FFF2-40B4-BE49-F238E27FC236}">
                  <a16:creationId xmlns:a16="http://schemas.microsoft.com/office/drawing/2014/main" id="{66F78460-848A-AC58-4C84-992F5860CB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6183266"/>
              <a:ext cx="144000" cy="144000"/>
            </a:xfrm>
            <a:prstGeom prst="rect">
              <a:avLst/>
            </a:prstGeom>
            <a:solidFill>
              <a:srgbClr val="D1D1D1"/>
            </a:solidFill>
            <a:ln w="1651">
              <a:noFill/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6" name="Rectangle 56">
              <a:extLst>
                <a:ext uri="{FF2B5EF4-FFF2-40B4-BE49-F238E27FC236}">
                  <a16:creationId xmlns:a16="http://schemas.microsoft.com/office/drawing/2014/main" id="{08F54FC7-F814-B91A-ACE1-22EC858CE0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6017791"/>
              <a:ext cx="144000" cy="144000"/>
            </a:xfrm>
            <a:prstGeom prst="rect">
              <a:avLst/>
            </a:prstGeom>
            <a:solidFill>
              <a:srgbClr val="A8A8A8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7" name="Rectangle 56">
              <a:extLst>
                <a:ext uri="{FF2B5EF4-FFF2-40B4-BE49-F238E27FC236}">
                  <a16:creationId xmlns:a16="http://schemas.microsoft.com/office/drawing/2014/main" id="{22D94027-6996-7AF5-B2B4-E4374B0CBE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5852317"/>
              <a:ext cx="144000" cy="144000"/>
            </a:xfrm>
            <a:prstGeom prst="rect">
              <a:avLst/>
            </a:prstGeom>
            <a:solidFill>
              <a:srgbClr val="828282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8" name="Rectangle 56">
              <a:extLst>
                <a:ext uri="{FF2B5EF4-FFF2-40B4-BE49-F238E27FC236}">
                  <a16:creationId xmlns:a16="http://schemas.microsoft.com/office/drawing/2014/main" id="{CE401C00-A584-C457-214C-D466CD73D0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5686843"/>
              <a:ext cx="144000" cy="144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graphicFrame>
        <p:nvGraphicFramePr>
          <p:cNvPr id="42" name="Object 16">
            <a:extLst>
              <a:ext uri="{FF2B5EF4-FFF2-40B4-BE49-F238E27FC236}">
                <a16:creationId xmlns:a16="http://schemas.microsoft.com/office/drawing/2014/main" id="{02F703FC-0E33-607B-7EAD-913892D77A85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6449966" y="4396196"/>
          <a:ext cx="2311760" cy="2039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pSp>
        <p:nvGrpSpPr>
          <p:cNvPr id="145" name="Group 5">
            <a:extLst>
              <a:ext uri="{FF2B5EF4-FFF2-40B4-BE49-F238E27FC236}">
                <a16:creationId xmlns:a16="http://schemas.microsoft.com/office/drawing/2014/main" id="{F6D30733-1F96-00EF-A35D-76062EB31D9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779704" y="1850178"/>
            <a:ext cx="3308350" cy="2682875"/>
            <a:chOff x="771" y="2585"/>
            <a:chExt cx="2084" cy="1690"/>
          </a:xfrm>
        </p:grpSpPr>
        <p:sp>
          <p:nvSpPr>
            <p:cNvPr id="146" name="AutoShape 4">
              <a:extLst>
                <a:ext uri="{FF2B5EF4-FFF2-40B4-BE49-F238E27FC236}">
                  <a16:creationId xmlns:a16="http://schemas.microsoft.com/office/drawing/2014/main" id="{16D3D5E6-771A-7D43-F7DB-40F3C38F8B0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71" y="2585"/>
              <a:ext cx="2084" cy="16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Freeform 6">
              <a:extLst>
                <a:ext uri="{FF2B5EF4-FFF2-40B4-BE49-F238E27FC236}">
                  <a16:creationId xmlns:a16="http://schemas.microsoft.com/office/drawing/2014/main" id="{949CD10B-E397-3EB6-DB9E-27784E66F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4" y="3272"/>
              <a:ext cx="138" cy="106"/>
            </a:xfrm>
            <a:custGeom>
              <a:avLst/>
              <a:gdLst>
                <a:gd name="T0" fmla="*/ 88 w 138"/>
                <a:gd name="T1" fmla="*/ 1 h 106"/>
                <a:gd name="T2" fmla="*/ 90 w 138"/>
                <a:gd name="T3" fmla="*/ 4 h 106"/>
                <a:gd name="T4" fmla="*/ 99 w 138"/>
                <a:gd name="T5" fmla="*/ 11 h 106"/>
                <a:gd name="T6" fmla="*/ 105 w 138"/>
                <a:gd name="T7" fmla="*/ 13 h 106"/>
                <a:gd name="T8" fmla="*/ 108 w 138"/>
                <a:gd name="T9" fmla="*/ 19 h 106"/>
                <a:gd name="T10" fmla="*/ 112 w 138"/>
                <a:gd name="T11" fmla="*/ 22 h 106"/>
                <a:gd name="T12" fmla="*/ 124 w 138"/>
                <a:gd name="T13" fmla="*/ 27 h 106"/>
                <a:gd name="T14" fmla="*/ 128 w 138"/>
                <a:gd name="T15" fmla="*/ 32 h 106"/>
                <a:gd name="T16" fmla="*/ 135 w 138"/>
                <a:gd name="T17" fmla="*/ 38 h 106"/>
                <a:gd name="T18" fmla="*/ 138 w 138"/>
                <a:gd name="T19" fmla="*/ 43 h 106"/>
                <a:gd name="T20" fmla="*/ 136 w 138"/>
                <a:gd name="T21" fmla="*/ 48 h 106"/>
                <a:gd name="T22" fmla="*/ 126 w 138"/>
                <a:gd name="T23" fmla="*/ 54 h 106"/>
                <a:gd name="T24" fmla="*/ 123 w 138"/>
                <a:gd name="T25" fmla="*/ 57 h 106"/>
                <a:gd name="T26" fmla="*/ 123 w 138"/>
                <a:gd name="T27" fmla="*/ 61 h 106"/>
                <a:gd name="T28" fmla="*/ 126 w 138"/>
                <a:gd name="T29" fmla="*/ 64 h 106"/>
                <a:gd name="T30" fmla="*/ 127 w 138"/>
                <a:gd name="T31" fmla="*/ 74 h 106"/>
                <a:gd name="T32" fmla="*/ 124 w 138"/>
                <a:gd name="T33" fmla="*/ 79 h 106"/>
                <a:gd name="T34" fmla="*/ 118 w 138"/>
                <a:gd name="T35" fmla="*/ 83 h 106"/>
                <a:gd name="T36" fmla="*/ 112 w 138"/>
                <a:gd name="T37" fmla="*/ 82 h 106"/>
                <a:gd name="T38" fmla="*/ 104 w 138"/>
                <a:gd name="T39" fmla="*/ 78 h 106"/>
                <a:gd name="T40" fmla="*/ 97 w 138"/>
                <a:gd name="T41" fmla="*/ 77 h 106"/>
                <a:gd name="T42" fmla="*/ 89 w 138"/>
                <a:gd name="T43" fmla="*/ 79 h 106"/>
                <a:gd name="T44" fmla="*/ 85 w 138"/>
                <a:gd name="T45" fmla="*/ 82 h 106"/>
                <a:gd name="T46" fmla="*/ 78 w 138"/>
                <a:gd name="T47" fmla="*/ 86 h 106"/>
                <a:gd name="T48" fmla="*/ 67 w 138"/>
                <a:gd name="T49" fmla="*/ 93 h 106"/>
                <a:gd name="T50" fmla="*/ 58 w 138"/>
                <a:gd name="T51" fmla="*/ 97 h 106"/>
                <a:gd name="T52" fmla="*/ 50 w 138"/>
                <a:gd name="T53" fmla="*/ 99 h 106"/>
                <a:gd name="T54" fmla="*/ 46 w 138"/>
                <a:gd name="T55" fmla="*/ 105 h 106"/>
                <a:gd name="T56" fmla="*/ 44 w 138"/>
                <a:gd name="T57" fmla="*/ 106 h 106"/>
                <a:gd name="T58" fmla="*/ 34 w 138"/>
                <a:gd name="T59" fmla="*/ 105 h 106"/>
                <a:gd name="T60" fmla="*/ 30 w 138"/>
                <a:gd name="T61" fmla="*/ 103 h 106"/>
                <a:gd name="T62" fmla="*/ 29 w 138"/>
                <a:gd name="T63" fmla="*/ 99 h 106"/>
                <a:gd name="T64" fmla="*/ 30 w 138"/>
                <a:gd name="T65" fmla="*/ 95 h 106"/>
                <a:gd name="T66" fmla="*/ 29 w 138"/>
                <a:gd name="T67" fmla="*/ 91 h 106"/>
                <a:gd name="T68" fmla="*/ 29 w 138"/>
                <a:gd name="T69" fmla="*/ 87 h 106"/>
                <a:gd name="T70" fmla="*/ 23 w 138"/>
                <a:gd name="T71" fmla="*/ 84 h 106"/>
                <a:gd name="T72" fmla="*/ 20 w 138"/>
                <a:gd name="T73" fmla="*/ 81 h 106"/>
                <a:gd name="T74" fmla="*/ 21 w 138"/>
                <a:gd name="T75" fmla="*/ 77 h 106"/>
                <a:gd name="T76" fmla="*/ 21 w 138"/>
                <a:gd name="T77" fmla="*/ 73 h 106"/>
                <a:gd name="T78" fmla="*/ 13 w 138"/>
                <a:gd name="T79" fmla="*/ 65 h 106"/>
                <a:gd name="T80" fmla="*/ 9 w 138"/>
                <a:gd name="T81" fmla="*/ 58 h 106"/>
                <a:gd name="T82" fmla="*/ 6 w 138"/>
                <a:gd name="T83" fmla="*/ 53 h 106"/>
                <a:gd name="T84" fmla="*/ 10 w 138"/>
                <a:gd name="T85" fmla="*/ 49 h 106"/>
                <a:gd name="T86" fmla="*/ 13 w 138"/>
                <a:gd name="T87" fmla="*/ 45 h 106"/>
                <a:gd name="T88" fmla="*/ 7 w 138"/>
                <a:gd name="T89" fmla="*/ 38 h 106"/>
                <a:gd name="T90" fmla="*/ 1 w 138"/>
                <a:gd name="T91" fmla="*/ 34 h 106"/>
                <a:gd name="T92" fmla="*/ 0 w 138"/>
                <a:gd name="T93" fmla="*/ 33 h 106"/>
                <a:gd name="T94" fmla="*/ 9 w 138"/>
                <a:gd name="T95" fmla="*/ 28 h 106"/>
                <a:gd name="T96" fmla="*/ 20 w 138"/>
                <a:gd name="T97" fmla="*/ 24 h 106"/>
                <a:gd name="T98" fmla="*/ 23 w 138"/>
                <a:gd name="T99" fmla="*/ 25 h 106"/>
                <a:gd name="T100" fmla="*/ 30 w 138"/>
                <a:gd name="T101" fmla="*/ 27 h 106"/>
                <a:gd name="T102" fmla="*/ 35 w 138"/>
                <a:gd name="T103" fmla="*/ 26 h 106"/>
                <a:gd name="T104" fmla="*/ 37 w 138"/>
                <a:gd name="T105" fmla="*/ 19 h 106"/>
                <a:gd name="T106" fmla="*/ 41 w 138"/>
                <a:gd name="T107" fmla="*/ 16 h 106"/>
                <a:gd name="T108" fmla="*/ 49 w 138"/>
                <a:gd name="T109" fmla="*/ 14 h 106"/>
                <a:gd name="T110" fmla="*/ 61 w 138"/>
                <a:gd name="T111" fmla="*/ 9 h 106"/>
                <a:gd name="T112" fmla="*/ 73 w 138"/>
                <a:gd name="T113" fmla="*/ 4 h 106"/>
                <a:gd name="T114" fmla="*/ 87 w 138"/>
                <a:gd name="T115" fmla="*/ 1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8" h="106">
                  <a:moveTo>
                    <a:pt x="88" y="0"/>
                  </a:moveTo>
                  <a:lnTo>
                    <a:pt x="88" y="0"/>
                  </a:lnTo>
                  <a:lnTo>
                    <a:pt x="89" y="0"/>
                  </a:lnTo>
                  <a:lnTo>
                    <a:pt x="89" y="0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2"/>
                  </a:lnTo>
                  <a:lnTo>
                    <a:pt x="89" y="2"/>
                  </a:lnTo>
                  <a:lnTo>
                    <a:pt x="89" y="3"/>
                  </a:lnTo>
                  <a:lnTo>
                    <a:pt x="89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1" y="5"/>
                  </a:lnTo>
                  <a:lnTo>
                    <a:pt x="94" y="7"/>
                  </a:lnTo>
                  <a:lnTo>
                    <a:pt x="95" y="8"/>
                  </a:lnTo>
                  <a:lnTo>
                    <a:pt x="98" y="10"/>
                  </a:lnTo>
                  <a:lnTo>
                    <a:pt x="99" y="11"/>
                  </a:lnTo>
                  <a:lnTo>
                    <a:pt x="100" y="11"/>
                  </a:lnTo>
                  <a:lnTo>
                    <a:pt x="101" y="12"/>
                  </a:lnTo>
                  <a:lnTo>
                    <a:pt x="103" y="12"/>
                  </a:lnTo>
                  <a:lnTo>
                    <a:pt x="104" y="12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6" y="14"/>
                  </a:lnTo>
                  <a:lnTo>
                    <a:pt x="107" y="16"/>
                  </a:lnTo>
                  <a:lnTo>
                    <a:pt x="107" y="17"/>
                  </a:lnTo>
                  <a:lnTo>
                    <a:pt x="107" y="18"/>
                  </a:lnTo>
                  <a:lnTo>
                    <a:pt x="108" y="19"/>
                  </a:lnTo>
                  <a:lnTo>
                    <a:pt x="109" y="19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4" y="23"/>
                  </a:lnTo>
                  <a:lnTo>
                    <a:pt x="117" y="23"/>
                  </a:lnTo>
                  <a:lnTo>
                    <a:pt x="118" y="24"/>
                  </a:lnTo>
                  <a:lnTo>
                    <a:pt x="122" y="26"/>
                  </a:lnTo>
                  <a:lnTo>
                    <a:pt x="123" y="27"/>
                  </a:lnTo>
                  <a:lnTo>
                    <a:pt x="124" y="27"/>
                  </a:lnTo>
                  <a:lnTo>
                    <a:pt x="124" y="28"/>
                  </a:lnTo>
                  <a:lnTo>
                    <a:pt x="125" y="28"/>
                  </a:lnTo>
                  <a:lnTo>
                    <a:pt x="126" y="29"/>
                  </a:lnTo>
                  <a:lnTo>
                    <a:pt x="127" y="31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9" y="33"/>
                  </a:lnTo>
                  <a:lnTo>
                    <a:pt x="130" y="34"/>
                  </a:lnTo>
                  <a:lnTo>
                    <a:pt x="133" y="36"/>
                  </a:lnTo>
                  <a:lnTo>
                    <a:pt x="134" y="37"/>
                  </a:lnTo>
                  <a:lnTo>
                    <a:pt x="135" y="37"/>
                  </a:lnTo>
                  <a:lnTo>
                    <a:pt x="135" y="38"/>
                  </a:lnTo>
                  <a:lnTo>
                    <a:pt x="136" y="39"/>
                  </a:lnTo>
                  <a:lnTo>
                    <a:pt x="137" y="40"/>
                  </a:lnTo>
                  <a:lnTo>
                    <a:pt x="137" y="41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38" y="43"/>
                  </a:lnTo>
                  <a:lnTo>
                    <a:pt x="138" y="43"/>
                  </a:lnTo>
                  <a:lnTo>
                    <a:pt x="138" y="44"/>
                  </a:lnTo>
                  <a:lnTo>
                    <a:pt x="138" y="45"/>
                  </a:lnTo>
                  <a:lnTo>
                    <a:pt x="137" y="46"/>
                  </a:lnTo>
                  <a:lnTo>
                    <a:pt x="137" y="47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5" y="49"/>
                  </a:lnTo>
                  <a:lnTo>
                    <a:pt x="134" y="49"/>
                  </a:lnTo>
                  <a:lnTo>
                    <a:pt x="134" y="50"/>
                  </a:lnTo>
                  <a:lnTo>
                    <a:pt x="131" y="51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25" y="55"/>
                  </a:lnTo>
                  <a:lnTo>
                    <a:pt x="124" y="56"/>
                  </a:lnTo>
                  <a:lnTo>
                    <a:pt x="123" y="56"/>
                  </a:lnTo>
                  <a:lnTo>
                    <a:pt x="123" y="57"/>
                  </a:lnTo>
                  <a:lnTo>
                    <a:pt x="123" y="57"/>
                  </a:lnTo>
                  <a:lnTo>
                    <a:pt x="123" y="58"/>
                  </a:lnTo>
                  <a:lnTo>
                    <a:pt x="122" y="58"/>
                  </a:lnTo>
                  <a:lnTo>
                    <a:pt x="122" y="59"/>
                  </a:lnTo>
                  <a:lnTo>
                    <a:pt x="122" y="60"/>
                  </a:lnTo>
                  <a:lnTo>
                    <a:pt x="123" y="60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4" y="62"/>
                  </a:lnTo>
                  <a:lnTo>
                    <a:pt x="125" y="63"/>
                  </a:lnTo>
                  <a:lnTo>
                    <a:pt x="125" y="63"/>
                  </a:lnTo>
                  <a:lnTo>
                    <a:pt x="125" y="64"/>
                  </a:lnTo>
                  <a:lnTo>
                    <a:pt x="126" y="64"/>
                  </a:lnTo>
                  <a:lnTo>
                    <a:pt x="126" y="65"/>
                  </a:lnTo>
                  <a:lnTo>
                    <a:pt x="126" y="66"/>
                  </a:lnTo>
                  <a:lnTo>
                    <a:pt x="126" y="68"/>
                  </a:lnTo>
                  <a:lnTo>
                    <a:pt x="127" y="72"/>
                  </a:lnTo>
                  <a:lnTo>
                    <a:pt x="127" y="73"/>
                  </a:lnTo>
                  <a:lnTo>
                    <a:pt x="127" y="74"/>
                  </a:lnTo>
                  <a:lnTo>
                    <a:pt x="127" y="75"/>
                  </a:lnTo>
                  <a:lnTo>
                    <a:pt x="127" y="76"/>
                  </a:lnTo>
                  <a:lnTo>
                    <a:pt x="126" y="77"/>
                  </a:lnTo>
                  <a:lnTo>
                    <a:pt x="126" y="78"/>
                  </a:lnTo>
                  <a:lnTo>
                    <a:pt x="125" y="79"/>
                  </a:lnTo>
                  <a:lnTo>
                    <a:pt x="124" y="79"/>
                  </a:lnTo>
                  <a:lnTo>
                    <a:pt x="122" y="81"/>
                  </a:lnTo>
                  <a:lnTo>
                    <a:pt x="121" y="82"/>
                  </a:lnTo>
                  <a:lnTo>
                    <a:pt x="120" y="82"/>
                  </a:lnTo>
                  <a:lnTo>
                    <a:pt x="120" y="83"/>
                  </a:lnTo>
                  <a:lnTo>
                    <a:pt x="119" y="83"/>
                  </a:lnTo>
                  <a:lnTo>
                    <a:pt x="118" y="83"/>
                  </a:lnTo>
                  <a:lnTo>
                    <a:pt x="118" y="83"/>
                  </a:lnTo>
                  <a:lnTo>
                    <a:pt x="117" y="83"/>
                  </a:lnTo>
                  <a:lnTo>
                    <a:pt x="115" y="83"/>
                  </a:lnTo>
                  <a:lnTo>
                    <a:pt x="114" y="83"/>
                  </a:lnTo>
                  <a:lnTo>
                    <a:pt x="113" y="82"/>
                  </a:lnTo>
                  <a:lnTo>
                    <a:pt x="112" y="82"/>
                  </a:lnTo>
                  <a:lnTo>
                    <a:pt x="112" y="82"/>
                  </a:lnTo>
                  <a:lnTo>
                    <a:pt x="110" y="81"/>
                  </a:lnTo>
                  <a:lnTo>
                    <a:pt x="108" y="80"/>
                  </a:lnTo>
                  <a:lnTo>
                    <a:pt x="107" y="79"/>
                  </a:lnTo>
                  <a:lnTo>
                    <a:pt x="106" y="78"/>
                  </a:lnTo>
                  <a:lnTo>
                    <a:pt x="104" y="78"/>
                  </a:lnTo>
                  <a:lnTo>
                    <a:pt x="103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1" y="77"/>
                  </a:lnTo>
                  <a:lnTo>
                    <a:pt x="99" y="77"/>
                  </a:lnTo>
                  <a:lnTo>
                    <a:pt x="97" y="77"/>
                  </a:lnTo>
                  <a:lnTo>
                    <a:pt x="95" y="77"/>
                  </a:lnTo>
                  <a:lnTo>
                    <a:pt x="94" y="78"/>
                  </a:lnTo>
                  <a:lnTo>
                    <a:pt x="91" y="78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89" y="79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7" y="80"/>
                  </a:lnTo>
                  <a:lnTo>
                    <a:pt x="87" y="80"/>
                  </a:lnTo>
                  <a:lnTo>
                    <a:pt x="86" y="82"/>
                  </a:lnTo>
                  <a:lnTo>
                    <a:pt x="85" y="82"/>
                  </a:lnTo>
                  <a:lnTo>
                    <a:pt x="84" y="83"/>
                  </a:lnTo>
                  <a:lnTo>
                    <a:pt x="83" y="83"/>
                  </a:lnTo>
                  <a:lnTo>
                    <a:pt x="82" y="84"/>
                  </a:lnTo>
                  <a:lnTo>
                    <a:pt x="81" y="84"/>
                  </a:lnTo>
                  <a:lnTo>
                    <a:pt x="79" y="85"/>
                  </a:lnTo>
                  <a:lnTo>
                    <a:pt x="78" y="86"/>
                  </a:lnTo>
                  <a:lnTo>
                    <a:pt x="77" y="86"/>
                  </a:lnTo>
                  <a:lnTo>
                    <a:pt x="76" y="86"/>
                  </a:lnTo>
                  <a:lnTo>
                    <a:pt x="75" y="87"/>
                  </a:lnTo>
                  <a:lnTo>
                    <a:pt x="73" y="89"/>
                  </a:lnTo>
                  <a:lnTo>
                    <a:pt x="68" y="93"/>
                  </a:lnTo>
                  <a:lnTo>
                    <a:pt x="67" y="93"/>
                  </a:lnTo>
                  <a:lnTo>
                    <a:pt x="66" y="94"/>
                  </a:lnTo>
                  <a:lnTo>
                    <a:pt x="65" y="94"/>
                  </a:lnTo>
                  <a:lnTo>
                    <a:pt x="64" y="95"/>
                  </a:lnTo>
                  <a:lnTo>
                    <a:pt x="62" y="95"/>
                  </a:lnTo>
                  <a:lnTo>
                    <a:pt x="59" y="96"/>
                  </a:lnTo>
                  <a:lnTo>
                    <a:pt x="58" y="97"/>
                  </a:lnTo>
                  <a:lnTo>
                    <a:pt x="56" y="97"/>
                  </a:lnTo>
                  <a:lnTo>
                    <a:pt x="55" y="98"/>
                  </a:lnTo>
                  <a:lnTo>
                    <a:pt x="52" y="98"/>
                  </a:lnTo>
                  <a:lnTo>
                    <a:pt x="51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49" y="100"/>
                  </a:lnTo>
                  <a:lnTo>
                    <a:pt x="49" y="100"/>
                  </a:lnTo>
                  <a:lnTo>
                    <a:pt x="49" y="101"/>
                  </a:lnTo>
                  <a:lnTo>
                    <a:pt x="48" y="102"/>
                  </a:lnTo>
                  <a:lnTo>
                    <a:pt x="47" y="104"/>
                  </a:lnTo>
                  <a:lnTo>
                    <a:pt x="46" y="105"/>
                  </a:lnTo>
                  <a:lnTo>
                    <a:pt x="46" y="105"/>
                  </a:lnTo>
                  <a:lnTo>
                    <a:pt x="46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1" y="106"/>
                  </a:lnTo>
                  <a:lnTo>
                    <a:pt x="40" y="106"/>
                  </a:lnTo>
                  <a:lnTo>
                    <a:pt x="36" y="106"/>
                  </a:lnTo>
                  <a:lnTo>
                    <a:pt x="35" y="106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3" y="105"/>
                  </a:lnTo>
                  <a:lnTo>
                    <a:pt x="32" y="105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3"/>
                  </a:lnTo>
                  <a:lnTo>
                    <a:pt x="30" y="103"/>
                  </a:lnTo>
                  <a:lnTo>
                    <a:pt x="30" y="102"/>
                  </a:lnTo>
                  <a:lnTo>
                    <a:pt x="29" y="102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30" y="97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1"/>
                  </a:lnTo>
                  <a:lnTo>
                    <a:pt x="29" y="90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7"/>
                  </a:lnTo>
                  <a:lnTo>
                    <a:pt x="28" y="87"/>
                  </a:lnTo>
                  <a:lnTo>
                    <a:pt x="28" y="86"/>
                  </a:lnTo>
                  <a:lnTo>
                    <a:pt x="27" y="86"/>
                  </a:lnTo>
                  <a:lnTo>
                    <a:pt x="25" y="85"/>
                  </a:lnTo>
                  <a:lnTo>
                    <a:pt x="24" y="85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2" y="83"/>
                  </a:lnTo>
                  <a:lnTo>
                    <a:pt x="21" y="83"/>
                  </a:lnTo>
                  <a:lnTo>
                    <a:pt x="21" y="82"/>
                  </a:lnTo>
                  <a:lnTo>
                    <a:pt x="20" y="82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0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8"/>
                  </a:lnTo>
                  <a:lnTo>
                    <a:pt x="21" y="77"/>
                  </a:lnTo>
                  <a:lnTo>
                    <a:pt x="21" y="76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4"/>
                  </a:lnTo>
                  <a:lnTo>
                    <a:pt x="21" y="73"/>
                  </a:lnTo>
                  <a:lnTo>
                    <a:pt x="21" y="73"/>
                  </a:lnTo>
                  <a:lnTo>
                    <a:pt x="20" y="72"/>
                  </a:lnTo>
                  <a:lnTo>
                    <a:pt x="20" y="71"/>
                  </a:lnTo>
                  <a:lnTo>
                    <a:pt x="17" y="69"/>
                  </a:lnTo>
                  <a:lnTo>
                    <a:pt x="15" y="67"/>
                  </a:lnTo>
                  <a:lnTo>
                    <a:pt x="14" y="66"/>
                  </a:lnTo>
                  <a:lnTo>
                    <a:pt x="13" y="65"/>
                  </a:lnTo>
                  <a:lnTo>
                    <a:pt x="12" y="64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0" y="59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7" y="56"/>
                  </a:lnTo>
                  <a:lnTo>
                    <a:pt x="7" y="55"/>
                  </a:lnTo>
                  <a:lnTo>
                    <a:pt x="7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3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8" y="51"/>
                  </a:lnTo>
                  <a:lnTo>
                    <a:pt x="8" y="50"/>
                  </a:lnTo>
                  <a:lnTo>
                    <a:pt x="9" y="50"/>
                  </a:lnTo>
                  <a:lnTo>
                    <a:pt x="10" y="49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6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4"/>
                  </a:lnTo>
                  <a:lnTo>
                    <a:pt x="12" y="44"/>
                  </a:lnTo>
                  <a:lnTo>
                    <a:pt x="11" y="43"/>
                  </a:lnTo>
                  <a:lnTo>
                    <a:pt x="9" y="40"/>
                  </a:lnTo>
                  <a:lnTo>
                    <a:pt x="7" y="38"/>
                  </a:lnTo>
                  <a:lnTo>
                    <a:pt x="5" y="37"/>
                  </a:lnTo>
                  <a:lnTo>
                    <a:pt x="5" y="36"/>
                  </a:lnTo>
                  <a:lnTo>
                    <a:pt x="4" y="35"/>
                  </a:lnTo>
                  <a:lnTo>
                    <a:pt x="3" y="35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0" y="34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32"/>
                  </a:lnTo>
                  <a:lnTo>
                    <a:pt x="2" y="31"/>
                  </a:lnTo>
                  <a:lnTo>
                    <a:pt x="3" y="31"/>
                  </a:lnTo>
                  <a:lnTo>
                    <a:pt x="4" y="30"/>
                  </a:lnTo>
                  <a:lnTo>
                    <a:pt x="6" y="29"/>
                  </a:lnTo>
                  <a:lnTo>
                    <a:pt x="9" y="28"/>
                  </a:lnTo>
                  <a:lnTo>
                    <a:pt x="11" y="28"/>
                  </a:lnTo>
                  <a:lnTo>
                    <a:pt x="14" y="27"/>
                  </a:lnTo>
                  <a:lnTo>
                    <a:pt x="15" y="27"/>
                  </a:lnTo>
                  <a:lnTo>
                    <a:pt x="16" y="26"/>
                  </a:lnTo>
                  <a:lnTo>
                    <a:pt x="19" y="25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2" y="24"/>
                  </a:lnTo>
                  <a:lnTo>
                    <a:pt x="23" y="24"/>
                  </a:lnTo>
                  <a:lnTo>
                    <a:pt x="23" y="25"/>
                  </a:lnTo>
                  <a:lnTo>
                    <a:pt x="24" y="25"/>
                  </a:lnTo>
                  <a:lnTo>
                    <a:pt x="26" y="26"/>
                  </a:lnTo>
                  <a:lnTo>
                    <a:pt x="27" y="26"/>
                  </a:lnTo>
                  <a:lnTo>
                    <a:pt x="27" y="27"/>
                  </a:lnTo>
                  <a:lnTo>
                    <a:pt x="28" y="27"/>
                  </a:lnTo>
                  <a:lnTo>
                    <a:pt x="30" y="27"/>
                  </a:lnTo>
                  <a:lnTo>
                    <a:pt x="31" y="27"/>
                  </a:lnTo>
                  <a:lnTo>
                    <a:pt x="33" y="27"/>
                  </a:lnTo>
                  <a:lnTo>
                    <a:pt x="34" y="27"/>
                  </a:lnTo>
                  <a:lnTo>
                    <a:pt x="34" y="26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5" y="25"/>
                  </a:lnTo>
                  <a:lnTo>
                    <a:pt x="36" y="24"/>
                  </a:lnTo>
                  <a:lnTo>
                    <a:pt x="36" y="23"/>
                  </a:lnTo>
                  <a:lnTo>
                    <a:pt x="37" y="21"/>
                  </a:lnTo>
                  <a:lnTo>
                    <a:pt x="37" y="20"/>
                  </a:lnTo>
                  <a:lnTo>
                    <a:pt x="37" y="19"/>
                  </a:lnTo>
                  <a:lnTo>
                    <a:pt x="38" y="18"/>
                  </a:lnTo>
                  <a:lnTo>
                    <a:pt x="38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40" y="16"/>
                  </a:lnTo>
                  <a:lnTo>
                    <a:pt x="41" y="16"/>
                  </a:lnTo>
                  <a:lnTo>
                    <a:pt x="41" y="15"/>
                  </a:lnTo>
                  <a:lnTo>
                    <a:pt x="43" y="15"/>
                  </a:lnTo>
                  <a:lnTo>
                    <a:pt x="44" y="15"/>
                  </a:lnTo>
                  <a:lnTo>
                    <a:pt x="47" y="15"/>
                  </a:lnTo>
                  <a:lnTo>
                    <a:pt x="48" y="14"/>
                  </a:lnTo>
                  <a:lnTo>
                    <a:pt x="49" y="14"/>
                  </a:lnTo>
                  <a:lnTo>
                    <a:pt x="52" y="14"/>
                  </a:lnTo>
                  <a:lnTo>
                    <a:pt x="53" y="13"/>
                  </a:lnTo>
                  <a:lnTo>
                    <a:pt x="54" y="12"/>
                  </a:lnTo>
                  <a:lnTo>
                    <a:pt x="58" y="10"/>
                  </a:lnTo>
                  <a:lnTo>
                    <a:pt x="59" y="10"/>
                  </a:lnTo>
                  <a:lnTo>
                    <a:pt x="61" y="9"/>
                  </a:lnTo>
                  <a:lnTo>
                    <a:pt x="64" y="9"/>
                  </a:lnTo>
                  <a:lnTo>
                    <a:pt x="66" y="8"/>
                  </a:lnTo>
                  <a:lnTo>
                    <a:pt x="67" y="7"/>
                  </a:lnTo>
                  <a:lnTo>
                    <a:pt x="70" y="5"/>
                  </a:lnTo>
                  <a:lnTo>
                    <a:pt x="71" y="5"/>
                  </a:lnTo>
                  <a:lnTo>
                    <a:pt x="73" y="4"/>
                  </a:lnTo>
                  <a:lnTo>
                    <a:pt x="75" y="3"/>
                  </a:lnTo>
                  <a:lnTo>
                    <a:pt x="77" y="3"/>
                  </a:lnTo>
                  <a:lnTo>
                    <a:pt x="79" y="2"/>
                  </a:lnTo>
                  <a:lnTo>
                    <a:pt x="84" y="1"/>
                  </a:lnTo>
                  <a:lnTo>
                    <a:pt x="86" y="1"/>
                  </a:lnTo>
                  <a:lnTo>
                    <a:pt x="87" y="1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88" y="0"/>
                  </a:lnTo>
                  <a:close/>
                </a:path>
              </a:pathLst>
            </a:custGeom>
            <a:solidFill>
              <a:srgbClr val="C00000"/>
            </a:solidFill>
            <a:ln w="63500">
              <a:solidFill>
                <a:srgbClr val="C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7">
              <a:extLst>
                <a:ext uri="{FF2B5EF4-FFF2-40B4-BE49-F238E27FC236}">
                  <a16:creationId xmlns:a16="http://schemas.microsoft.com/office/drawing/2014/main" id="{113C2CCF-720E-CA6D-6E98-B424F0873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6" y="3069"/>
              <a:ext cx="633" cy="513"/>
            </a:xfrm>
            <a:custGeom>
              <a:avLst/>
              <a:gdLst>
                <a:gd name="T0" fmla="*/ 487 w 633"/>
                <a:gd name="T1" fmla="*/ 20 h 513"/>
                <a:gd name="T2" fmla="*/ 512 w 633"/>
                <a:gd name="T3" fmla="*/ 53 h 513"/>
                <a:gd name="T4" fmla="*/ 516 w 633"/>
                <a:gd name="T5" fmla="*/ 105 h 513"/>
                <a:gd name="T6" fmla="*/ 525 w 633"/>
                <a:gd name="T7" fmla="*/ 128 h 513"/>
                <a:gd name="T8" fmla="*/ 553 w 633"/>
                <a:gd name="T9" fmla="*/ 151 h 513"/>
                <a:gd name="T10" fmla="*/ 587 w 633"/>
                <a:gd name="T11" fmla="*/ 174 h 513"/>
                <a:gd name="T12" fmla="*/ 583 w 633"/>
                <a:gd name="T13" fmla="*/ 217 h 513"/>
                <a:gd name="T14" fmla="*/ 599 w 633"/>
                <a:gd name="T15" fmla="*/ 238 h 513"/>
                <a:gd name="T16" fmla="*/ 591 w 633"/>
                <a:gd name="T17" fmla="*/ 260 h 513"/>
                <a:gd name="T18" fmla="*/ 603 w 633"/>
                <a:gd name="T19" fmla="*/ 280 h 513"/>
                <a:gd name="T20" fmla="*/ 632 w 633"/>
                <a:gd name="T21" fmla="*/ 303 h 513"/>
                <a:gd name="T22" fmla="*/ 624 w 633"/>
                <a:gd name="T23" fmla="*/ 350 h 513"/>
                <a:gd name="T24" fmla="*/ 604 w 633"/>
                <a:gd name="T25" fmla="*/ 375 h 513"/>
                <a:gd name="T26" fmla="*/ 566 w 633"/>
                <a:gd name="T27" fmla="*/ 394 h 513"/>
                <a:gd name="T28" fmla="*/ 532 w 633"/>
                <a:gd name="T29" fmla="*/ 420 h 513"/>
                <a:gd name="T30" fmla="*/ 549 w 633"/>
                <a:gd name="T31" fmla="*/ 455 h 513"/>
                <a:gd name="T32" fmla="*/ 524 w 633"/>
                <a:gd name="T33" fmla="*/ 473 h 513"/>
                <a:gd name="T34" fmla="*/ 473 w 633"/>
                <a:gd name="T35" fmla="*/ 469 h 513"/>
                <a:gd name="T36" fmla="*/ 455 w 633"/>
                <a:gd name="T37" fmla="*/ 494 h 513"/>
                <a:gd name="T38" fmla="*/ 430 w 633"/>
                <a:gd name="T39" fmla="*/ 479 h 513"/>
                <a:gd name="T40" fmla="*/ 394 w 633"/>
                <a:gd name="T41" fmla="*/ 475 h 513"/>
                <a:gd name="T42" fmla="*/ 369 w 633"/>
                <a:gd name="T43" fmla="*/ 512 h 513"/>
                <a:gd name="T44" fmla="*/ 342 w 633"/>
                <a:gd name="T45" fmla="*/ 501 h 513"/>
                <a:gd name="T46" fmla="*/ 298 w 633"/>
                <a:gd name="T47" fmla="*/ 492 h 513"/>
                <a:gd name="T48" fmla="*/ 273 w 633"/>
                <a:gd name="T49" fmla="*/ 499 h 513"/>
                <a:gd name="T50" fmla="*/ 239 w 633"/>
                <a:gd name="T51" fmla="*/ 498 h 513"/>
                <a:gd name="T52" fmla="*/ 195 w 633"/>
                <a:gd name="T53" fmla="*/ 493 h 513"/>
                <a:gd name="T54" fmla="*/ 164 w 633"/>
                <a:gd name="T55" fmla="*/ 508 h 513"/>
                <a:gd name="T56" fmla="*/ 127 w 633"/>
                <a:gd name="T57" fmla="*/ 508 h 513"/>
                <a:gd name="T58" fmla="*/ 101 w 633"/>
                <a:gd name="T59" fmla="*/ 493 h 513"/>
                <a:gd name="T60" fmla="*/ 87 w 633"/>
                <a:gd name="T61" fmla="*/ 456 h 513"/>
                <a:gd name="T62" fmla="*/ 84 w 633"/>
                <a:gd name="T63" fmla="*/ 439 h 513"/>
                <a:gd name="T64" fmla="*/ 78 w 633"/>
                <a:gd name="T65" fmla="*/ 424 h 513"/>
                <a:gd name="T66" fmla="*/ 111 w 633"/>
                <a:gd name="T67" fmla="*/ 404 h 513"/>
                <a:gd name="T68" fmla="*/ 117 w 633"/>
                <a:gd name="T69" fmla="*/ 367 h 513"/>
                <a:gd name="T70" fmla="*/ 110 w 633"/>
                <a:gd name="T71" fmla="*/ 311 h 513"/>
                <a:gd name="T72" fmla="*/ 74 w 633"/>
                <a:gd name="T73" fmla="*/ 283 h 513"/>
                <a:gd name="T74" fmla="*/ 33 w 633"/>
                <a:gd name="T75" fmla="*/ 269 h 513"/>
                <a:gd name="T76" fmla="*/ 2 w 633"/>
                <a:gd name="T77" fmla="*/ 265 h 513"/>
                <a:gd name="T78" fmla="*/ 5 w 633"/>
                <a:gd name="T79" fmla="*/ 235 h 513"/>
                <a:gd name="T80" fmla="*/ 27 w 633"/>
                <a:gd name="T81" fmla="*/ 212 h 513"/>
                <a:gd name="T82" fmla="*/ 69 w 633"/>
                <a:gd name="T83" fmla="*/ 184 h 513"/>
                <a:gd name="T84" fmla="*/ 113 w 633"/>
                <a:gd name="T85" fmla="*/ 171 h 513"/>
                <a:gd name="T86" fmla="*/ 149 w 633"/>
                <a:gd name="T87" fmla="*/ 158 h 513"/>
                <a:gd name="T88" fmla="*/ 176 w 633"/>
                <a:gd name="T89" fmla="*/ 133 h 513"/>
                <a:gd name="T90" fmla="*/ 236 w 633"/>
                <a:gd name="T91" fmla="*/ 127 h 513"/>
                <a:gd name="T92" fmla="*/ 287 w 633"/>
                <a:gd name="T93" fmla="*/ 120 h 513"/>
                <a:gd name="T94" fmla="*/ 299 w 633"/>
                <a:gd name="T95" fmla="*/ 88 h 513"/>
                <a:gd name="T96" fmla="*/ 318 w 633"/>
                <a:gd name="T97" fmla="*/ 59 h 513"/>
                <a:gd name="T98" fmla="*/ 340 w 633"/>
                <a:gd name="T99" fmla="*/ 53 h 513"/>
                <a:gd name="T100" fmla="*/ 361 w 633"/>
                <a:gd name="T101" fmla="*/ 65 h 513"/>
                <a:gd name="T102" fmla="*/ 404 w 633"/>
                <a:gd name="T103" fmla="*/ 32 h 513"/>
                <a:gd name="T104" fmla="*/ 435 w 633"/>
                <a:gd name="T105" fmla="*/ 21 h 513"/>
                <a:gd name="T106" fmla="*/ 306 w 633"/>
                <a:gd name="T107" fmla="*/ 213 h 513"/>
                <a:gd name="T108" fmla="*/ 269 w 633"/>
                <a:gd name="T109" fmla="*/ 227 h 513"/>
                <a:gd name="T110" fmla="*/ 258 w 633"/>
                <a:gd name="T111" fmla="*/ 252 h 513"/>
                <a:gd name="T112" fmla="*/ 269 w 633"/>
                <a:gd name="T113" fmla="*/ 285 h 513"/>
                <a:gd name="T114" fmla="*/ 280 w 633"/>
                <a:gd name="T115" fmla="*/ 308 h 513"/>
                <a:gd name="T116" fmla="*/ 326 w 633"/>
                <a:gd name="T117" fmla="*/ 289 h 513"/>
                <a:gd name="T118" fmla="*/ 368 w 633"/>
                <a:gd name="T119" fmla="*/ 286 h 513"/>
                <a:gd name="T120" fmla="*/ 383 w 633"/>
                <a:gd name="T121" fmla="*/ 252 h 513"/>
                <a:gd name="T122" fmla="*/ 356 w 633"/>
                <a:gd name="T123" fmla="*/ 222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3" h="513">
                  <a:moveTo>
                    <a:pt x="451" y="0"/>
                  </a:moveTo>
                  <a:lnTo>
                    <a:pt x="451" y="0"/>
                  </a:lnTo>
                  <a:lnTo>
                    <a:pt x="452" y="0"/>
                  </a:lnTo>
                  <a:lnTo>
                    <a:pt x="452" y="1"/>
                  </a:lnTo>
                  <a:lnTo>
                    <a:pt x="453" y="1"/>
                  </a:lnTo>
                  <a:lnTo>
                    <a:pt x="455" y="3"/>
                  </a:lnTo>
                  <a:lnTo>
                    <a:pt x="456" y="4"/>
                  </a:lnTo>
                  <a:lnTo>
                    <a:pt x="457" y="5"/>
                  </a:lnTo>
                  <a:lnTo>
                    <a:pt x="459" y="6"/>
                  </a:lnTo>
                  <a:lnTo>
                    <a:pt x="460" y="7"/>
                  </a:lnTo>
                  <a:lnTo>
                    <a:pt x="460" y="7"/>
                  </a:lnTo>
                  <a:lnTo>
                    <a:pt x="461" y="8"/>
                  </a:lnTo>
                  <a:lnTo>
                    <a:pt x="461" y="9"/>
                  </a:lnTo>
                  <a:lnTo>
                    <a:pt x="462" y="9"/>
                  </a:lnTo>
                  <a:lnTo>
                    <a:pt x="463" y="9"/>
                  </a:lnTo>
                  <a:lnTo>
                    <a:pt x="463" y="10"/>
                  </a:lnTo>
                  <a:lnTo>
                    <a:pt x="464" y="10"/>
                  </a:lnTo>
                  <a:lnTo>
                    <a:pt x="465" y="10"/>
                  </a:lnTo>
                  <a:lnTo>
                    <a:pt x="465" y="10"/>
                  </a:lnTo>
                  <a:lnTo>
                    <a:pt x="465" y="9"/>
                  </a:lnTo>
                  <a:lnTo>
                    <a:pt x="466" y="9"/>
                  </a:lnTo>
                  <a:lnTo>
                    <a:pt x="467" y="8"/>
                  </a:lnTo>
                  <a:lnTo>
                    <a:pt x="468" y="8"/>
                  </a:lnTo>
                  <a:lnTo>
                    <a:pt x="468" y="8"/>
                  </a:lnTo>
                  <a:lnTo>
                    <a:pt x="469" y="7"/>
                  </a:lnTo>
                  <a:lnTo>
                    <a:pt x="470" y="7"/>
                  </a:lnTo>
                  <a:lnTo>
                    <a:pt x="471" y="7"/>
                  </a:lnTo>
                  <a:lnTo>
                    <a:pt x="471" y="7"/>
                  </a:lnTo>
                  <a:lnTo>
                    <a:pt x="474" y="8"/>
                  </a:lnTo>
                  <a:lnTo>
                    <a:pt x="475" y="8"/>
                  </a:lnTo>
                  <a:lnTo>
                    <a:pt x="476" y="8"/>
                  </a:lnTo>
                  <a:lnTo>
                    <a:pt x="476" y="8"/>
                  </a:lnTo>
                  <a:lnTo>
                    <a:pt x="476" y="9"/>
                  </a:lnTo>
                  <a:lnTo>
                    <a:pt x="477" y="9"/>
                  </a:lnTo>
                  <a:lnTo>
                    <a:pt x="479" y="10"/>
                  </a:lnTo>
                  <a:lnTo>
                    <a:pt x="481" y="14"/>
                  </a:lnTo>
                  <a:lnTo>
                    <a:pt x="485" y="18"/>
                  </a:lnTo>
                  <a:lnTo>
                    <a:pt x="487" y="20"/>
                  </a:lnTo>
                  <a:lnTo>
                    <a:pt x="488" y="21"/>
                  </a:lnTo>
                  <a:lnTo>
                    <a:pt x="488" y="21"/>
                  </a:lnTo>
                  <a:lnTo>
                    <a:pt x="489" y="22"/>
                  </a:lnTo>
                  <a:lnTo>
                    <a:pt x="490" y="22"/>
                  </a:lnTo>
                  <a:lnTo>
                    <a:pt x="491" y="22"/>
                  </a:lnTo>
                  <a:lnTo>
                    <a:pt x="493" y="23"/>
                  </a:lnTo>
                  <a:lnTo>
                    <a:pt x="494" y="24"/>
                  </a:lnTo>
                  <a:lnTo>
                    <a:pt x="495" y="24"/>
                  </a:lnTo>
                  <a:lnTo>
                    <a:pt x="496" y="25"/>
                  </a:lnTo>
                  <a:lnTo>
                    <a:pt x="497" y="26"/>
                  </a:lnTo>
                  <a:lnTo>
                    <a:pt x="499" y="27"/>
                  </a:lnTo>
                  <a:lnTo>
                    <a:pt x="500" y="28"/>
                  </a:lnTo>
                  <a:lnTo>
                    <a:pt x="501" y="29"/>
                  </a:lnTo>
                  <a:lnTo>
                    <a:pt x="501" y="30"/>
                  </a:lnTo>
                  <a:lnTo>
                    <a:pt x="502" y="31"/>
                  </a:lnTo>
                  <a:lnTo>
                    <a:pt x="503" y="32"/>
                  </a:lnTo>
                  <a:lnTo>
                    <a:pt x="505" y="35"/>
                  </a:lnTo>
                  <a:lnTo>
                    <a:pt x="505" y="36"/>
                  </a:lnTo>
                  <a:lnTo>
                    <a:pt x="505" y="37"/>
                  </a:lnTo>
                  <a:lnTo>
                    <a:pt x="506" y="37"/>
                  </a:lnTo>
                  <a:lnTo>
                    <a:pt x="507" y="38"/>
                  </a:lnTo>
                  <a:lnTo>
                    <a:pt x="508" y="38"/>
                  </a:lnTo>
                  <a:lnTo>
                    <a:pt x="508" y="39"/>
                  </a:lnTo>
                  <a:lnTo>
                    <a:pt x="509" y="39"/>
                  </a:lnTo>
                  <a:lnTo>
                    <a:pt x="511" y="40"/>
                  </a:lnTo>
                  <a:lnTo>
                    <a:pt x="512" y="41"/>
                  </a:lnTo>
                  <a:lnTo>
                    <a:pt x="517" y="43"/>
                  </a:lnTo>
                  <a:lnTo>
                    <a:pt x="518" y="43"/>
                  </a:lnTo>
                  <a:lnTo>
                    <a:pt x="519" y="44"/>
                  </a:lnTo>
                  <a:lnTo>
                    <a:pt x="518" y="45"/>
                  </a:lnTo>
                  <a:lnTo>
                    <a:pt x="517" y="46"/>
                  </a:lnTo>
                  <a:lnTo>
                    <a:pt x="515" y="48"/>
                  </a:lnTo>
                  <a:lnTo>
                    <a:pt x="514" y="49"/>
                  </a:lnTo>
                  <a:lnTo>
                    <a:pt x="513" y="50"/>
                  </a:lnTo>
                  <a:lnTo>
                    <a:pt x="512" y="51"/>
                  </a:lnTo>
                  <a:lnTo>
                    <a:pt x="512" y="52"/>
                  </a:lnTo>
                  <a:lnTo>
                    <a:pt x="512" y="52"/>
                  </a:lnTo>
                  <a:lnTo>
                    <a:pt x="512" y="53"/>
                  </a:lnTo>
                  <a:lnTo>
                    <a:pt x="512" y="54"/>
                  </a:lnTo>
                  <a:lnTo>
                    <a:pt x="512" y="54"/>
                  </a:lnTo>
                  <a:lnTo>
                    <a:pt x="512" y="55"/>
                  </a:lnTo>
                  <a:lnTo>
                    <a:pt x="512" y="56"/>
                  </a:lnTo>
                  <a:lnTo>
                    <a:pt x="513" y="58"/>
                  </a:lnTo>
                  <a:lnTo>
                    <a:pt x="514" y="60"/>
                  </a:lnTo>
                  <a:lnTo>
                    <a:pt x="514" y="61"/>
                  </a:lnTo>
                  <a:lnTo>
                    <a:pt x="515" y="63"/>
                  </a:lnTo>
                  <a:lnTo>
                    <a:pt x="516" y="65"/>
                  </a:lnTo>
                  <a:lnTo>
                    <a:pt x="516" y="66"/>
                  </a:lnTo>
                  <a:lnTo>
                    <a:pt x="516" y="66"/>
                  </a:lnTo>
                  <a:lnTo>
                    <a:pt x="516" y="67"/>
                  </a:lnTo>
                  <a:lnTo>
                    <a:pt x="516" y="69"/>
                  </a:lnTo>
                  <a:lnTo>
                    <a:pt x="516" y="74"/>
                  </a:lnTo>
                  <a:lnTo>
                    <a:pt x="516" y="75"/>
                  </a:lnTo>
                  <a:lnTo>
                    <a:pt x="516" y="76"/>
                  </a:lnTo>
                  <a:lnTo>
                    <a:pt x="517" y="77"/>
                  </a:lnTo>
                  <a:lnTo>
                    <a:pt x="517" y="78"/>
                  </a:lnTo>
                  <a:lnTo>
                    <a:pt x="517" y="78"/>
                  </a:lnTo>
                  <a:lnTo>
                    <a:pt x="518" y="80"/>
                  </a:lnTo>
                  <a:lnTo>
                    <a:pt x="519" y="81"/>
                  </a:lnTo>
                  <a:lnTo>
                    <a:pt x="519" y="82"/>
                  </a:lnTo>
                  <a:lnTo>
                    <a:pt x="520" y="83"/>
                  </a:lnTo>
                  <a:lnTo>
                    <a:pt x="520" y="84"/>
                  </a:lnTo>
                  <a:lnTo>
                    <a:pt x="521" y="87"/>
                  </a:lnTo>
                  <a:lnTo>
                    <a:pt x="522" y="89"/>
                  </a:lnTo>
                  <a:lnTo>
                    <a:pt x="522" y="90"/>
                  </a:lnTo>
                  <a:lnTo>
                    <a:pt x="522" y="91"/>
                  </a:lnTo>
                  <a:lnTo>
                    <a:pt x="522" y="93"/>
                  </a:lnTo>
                  <a:lnTo>
                    <a:pt x="521" y="94"/>
                  </a:lnTo>
                  <a:lnTo>
                    <a:pt x="521" y="95"/>
                  </a:lnTo>
                  <a:lnTo>
                    <a:pt x="520" y="96"/>
                  </a:lnTo>
                  <a:lnTo>
                    <a:pt x="520" y="97"/>
                  </a:lnTo>
                  <a:lnTo>
                    <a:pt x="518" y="99"/>
                  </a:lnTo>
                  <a:lnTo>
                    <a:pt x="518" y="100"/>
                  </a:lnTo>
                  <a:lnTo>
                    <a:pt x="517" y="101"/>
                  </a:lnTo>
                  <a:lnTo>
                    <a:pt x="516" y="104"/>
                  </a:lnTo>
                  <a:lnTo>
                    <a:pt x="516" y="105"/>
                  </a:lnTo>
                  <a:lnTo>
                    <a:pt x="516" y="105"/>
                  </a:lnTo>
                  <a:lnTo>
                    <a:pt x="515" y="105"/>
                  </a:lnTo>
                  <a:lnTo>
                    <a:pt x="515" y="106"/>
                  </a:lnTo>
                  <a:lnTo>
                    <a:pt x="514" y="106"/>
                  </a:lnTo>
                  <a:lnTo>
                    <a:pt x="512" y="108"/>
                  </a:lnTo>
                  <a:lnTo>
                    <a:pt x="511" y="108"/>
                  </a:lnTo>
                  <a:lnTo>
                    <a:pt x="511" y="108"/>
                  </a:lnTo>
                  <a:lnTo>
                    <a:pt x="510" y="109"/>
                  </a:lnTo>
                  <a:lnTo>
                    <a:pt x="510" y="110"/>
                  </a:lnTo>
                  <a:lnTo>
                    <a:pt x="510" y="110"/>
                  </a:lnTo>
                  <a:lnTo>
                    <a:pt x="509" y="111"/>
                  </a:lnTo>
                  <a:lnTo>
                    <a:pt x="509" y="111"/>
                  </a:lnTo>
                  <a:lnTo>
                    <a:pt x="509" y="112"/>
                  </a:lnTo>
                  <a:lnTo>
                    <a:pt x="509" y="113"/>
                  </a:lnTo>
                  <a:lnTo>
                    <a:pt x="510" y="114"/>
                  </a:lnTo>
                  <a:lnTo>
                    <a:pt x="510" y="114"/>
                  </a:lnTo>
                  <a:lnTo>
                    <a:pt x="510" y="115"/>
                  </a:lnTo>
                  <a:lnTo>
                    <a:pt x="511" y="117"/>
                  </a:lnTo>
                  <a:lnTo>
                    <a:pt x="512" y="118"/>
                  </a:lnTo>
                  <a:lnTo>
                    <a:pt x="512" y="119"/>
                  </a:lnTo>
                  <a:lnTo>
                    <a:pt x="513" y="120"/>
                  </a:lnTo>
                  <a:lnTo>
                    <a:pt x="513" y="121"/>
                  </a:lnTo>
                  <a:lnTo>
                    <a:pt x="513" y="122"/>
                  </a:lnTo>
                  <a:lnTo>
                    <a:pt x="514" y="123"/>
                  </a:lnTo>
                  <a:lnTo>
                    <a:pt x="514" y="124"/>
                  </a:lnTo>
                  <a:lnTo>
                    <a:pt x="515" y="124"/>
                  </a:lnTo>
                  <a:lnTo>
                    <a:pt x="515" y="125"/>
                  </a:lnTo>
                  <a:lnTo>
                    <a:pt x="516" y="125"/>
                  </a:lnTo>
                  <a:lnTo>
                    <a:pt x="517" y="126"/>
                  </a:lnTo>
                  <a:lnTo>
                    <a:pt x="518" y="126"/>
                  </a:lnTo>
                  <a:lnTo>
                    <a:pt x="518" y="126"/>
                  </a:lnTo>
                  <a:lnTo>
                    <a:pt x="519" y="127"/>
                  </a:lnTo>
                  <a:lnTo>
                    <a:pt x="519" y="127"/>
                  </a:lnTo>
                  <a:lnTo>
                    <a:pt x="520" y="127"/>
                  </a:lnTo>
                  <a:lnTo>
                    <a:pt x="521" y="127"/>
                  </a:lnTo>
                  <a:lnTo>
                    <a:pt x="524" y="127"/>
                  </a:lnTo>
                  <a:lnTo>
                    <a:pt x="525" y="128"/>
                  </a:lnTo>
                  <a:lnTo>
                    <a:pt x="525" y="128"/>
                  </a:lnTo>
                  <a:lnTo>
                    <a:pt x="527" y="128"/>
                  </a:lnTo>
                  <a:lnTo>
                    <a:pt x="528" y="129"/>
                  </a:lnTo>
                  <a:lnTo>
                    <a:pt x="529" y="129"/>
                  </a:lnTo>
                  <a:lnTo>
                    <a:pt x="529" y="130"/>
                  </a:lnTo>
                  <a:lnTo>
                    <a:pt x="530" y="130"/>
                  </a:lnTo>
                  <a:lnTo>
                    <a:pt x="531" y="132"/>
                  </a:lnTo>
                  <a:lnTo>
                    <a:pt x="531" y="132"/>
                  </a:lnTo>
                  <a:lnTo>
                    <a:pt x="532" y="133"/>
                  </a:lnTo>
                  <a:lnTo>
                    <a:pt x="533" y="134"/>
                  </a:lnTo>
                  <a:lnTo>
                    <a:pt x="534" y="135"/>
                  </a:lnTo>
                  <a:lnTo>
                    <a:pt x="536" y="137"/>
                  </a:lnTo>
                  <a:lnTo>
                    <a:pt x="536" y="137"/>
                  </a:lnTo>
                  <a:lnTo>
                    <a:pt x="537" y="138"/>
                  </a:lnTo>
                  <a:lnTo>
                    <a:pt x="537" y="139"/>
                  </a:lnTo>
                  <a:lnTo>
                    <a:pt x="538" y="139"/>
                  </a:lnTo>
                  <a:lnTo>
                    <a:pt x="538" y="140"/>
                  </a:lnTo>
                  <a:lnTo>
                    <a:pt x="538" y="142"/>
                  </a:lnTo>
                  <a:lnTo>
                    <a:pt x="538" y="144"/>
                  </a:lnTo>
                  <a:lnTo>
                    <a:pt x="538" y="144"/>
                  </a:lnTo>
                  <a:lnTo>
                    <a:pt x="538" y="145"/>
                  </a:lnTo>
                  <a:lnTo>
                    <a:pt x="538" y="146"/>
                  </a:lnTo>
                  <a:lnTo>
                    <a:pt x="539" y="147"/>
                  </a:lnTo>
                  <a:lnTo>
                    <a:pt x="539" y="148"/>
                  </a:lnTo>
                  <a:lnTo>
                    <a:pt x="539" y="148"/>
                  </a:lnTo>
                  <a:lnTo>
                    <a:pt x="540" y="149"/>
                  </a:lnTo>
                  <a:lnTo>
                    <a:pt x="540" y="149"/>
                  </a:lnTo>
                  <a:lnTo>
                    <a:pt x="541" y="150"/>
                  </a:lnTo>
                  <a:lnTo>
                    <a:pt x="542" y="150"/>
                  </a:lnTo>
                  <a:lnTo>
                    <a:pt x="542" y="151"/>
                  </a:lnTo>
                  <a:lnTo>
                    <a:pt x="543" y="151"/>
                  </a:lnTo>
                  <a:lnTo>
                    <a:pt x="544" y="151"/>
                  </a:lnTo>
                  <a:lnTo>
                    <a:pt x="545" y="152"/>
                  </a:lnTo>
                  <a:lnTo>
                    <a:pt x="545" y="152"/>
                  </a:lnTo>
                  <a:lnTo>
                    <a:pt x="546" y="152"/>
                  </a:lnTo>
                  <a:lnTo>
                    <a:pt x="547" y="152"/>
                  </a:lnTo>
                  <a:lnTo>
                    <a:pt x="548" y="152"/>
                  </a:lnTo>
                  <a:lnTo>
                    <a:pt x="552" y="151"/>
                  </a:lnTo>
                  <a:lnTo>
                    <a:pt x="553" y="151"/>
                  </a:lnTo>
                  <a:lnTo>
                    <a:pt x="554" y="151"/>
                  </a:lnTo>
                  <a:lnTo>
                    <a:pt x="558" y="152"/>
                  </a:lnTo>
                  <a:lnTo>
                    <a:pt x="561" y="152"/>
                  </a:lnTo>
                  <a:lnTo>
                    <a:pt x="564" y="153"/>
                  </a:lnTo>
                  <a:lnTo>
                    <a:pt x="565" y="153"/>
                  </a:lnTo>
                  <a:lnTo>
                    <a:pt x="566" y="153"/>
                  </a:lnTo>
                  <a:lnTo>
                    <a:pt x="567" y="153"/>
                  </a:lnTo>
                  <a:lnTo>
                    <a:pt x="568" y="152"/>
                  </a:lnTo>
                  <a:lnTo>
                    <a:pt x="572" y="151"/>
                  </a:lnTo>
                  <a:lnTo>
                    <a:pt x="574" y="150"/>
                  </a:lnTo>
                  <a:lnTo>
                    <a:pt x="575" y="150"/>
                  </a:lnTo>
                  <a:lnTo>
                    <a:pt x="577" y="149"/>
                  </a:lnTo>
                  <a:lnTo>
                    <a:pt x="577" y="149"/>
                  </a:lnTo>
                  <a:lnTo>
                    <a:pt x="578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80" y="149"/>
                  </a:lnTo>
                  <a:lnTo>
                    <a:pt x="581" y="149"/>
                  </a:lnTo>
                  <a:lnTo>
                    <a:pt x="581" y="150"/>
                  </a:lnTo>
                  <a:lnTo>
                    <a:pt x="582" y="151"/>
                  </a:lnTo>
                  <a:lnTo>
                    <a:pt x="584" y="152"/>
                  </a:lnTo>
                  <a:lnTo>
                    <a:pt x="584" y="153"/>
                  </a:lnTo>
                  <a:lnTo>
                    <a:pt x="585" y="153"/>
                  </a:lnTo>
                  <a:lnTo>
                    <a:pt x="586" y="154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7" y="156"/>
                  </a:lnTo>
                  <a:lnTo>
                    <a:pt x="587" y="158"/>
                  </a:lnTo>
                  <a:lnTo>
                    <a:pt x="587" y="158"/>
                  </a:lnTo>
                  <a:lnTo>
                    <a:pt x="587" y="160"/>
                  </a:lnTo>
                  <a:lnTo>
                    <a:pt x="587" y="162"/>
                  </a:lnTo>
                  <a:lnTo>
                    <a:pt x="588" y="165"/>
                  </a:lnTo>
                  <a:lnTo>
                    <a:pt x="588" y="167"/>
                  </a:lnTo>
                  <a:lnTo>
                    <a:pt x="587" y="168"/>
                  </a:lnTo>
                  <a:lnTo>
                    <a:pt x="587" y="171"/>
                  </a:lnTo>
                  <a:lnTo>
                    <a:pt x="587" y="172"/>
                  </a:lnTo>
                  <a:lnTo>
                    <a:pt x="587" y="173"/>
                  </a:lnTo>
                  <a:lnTo>
                    <a:pt x="587" y="174"/>
                  </a:lnTo>
                  <a:lnTo>
                    <a:pt x="587" y="176"/>
                  </a:lnTo>
                  <a:lnTo>
                    <a:pt x="587" y="178"/>
                  </a:lnTo>
                  <a:lnTo>
                    <a:pt x="587" y="179"/>
                  </a:lnTo>
                  <a:lnTo>
                    <a:pt x="587" y="179"/>
                  </a:lnTo>
                  <a:lnTo>
                    <a:pt x="587" y="180"/>
                  </a:lnTo>
                  <a:lnTo>
                    <a:pt x="588" y="182"/>
                  </a:lnTo>
                  <a:lnTo>
                    <a:pt x="589" y="183"/>
                  </a:lnTo>
                  <a:lnTo>
                    <a:pt x="591" y="185"/>
                  </a:lnTo>
                  <a:lnTo>
                    <a:pt x="591" y="186"/>
                  </a:lnTo>
                  <a:lnTo>
                    <a:pt x="592" y="188"/>
                  </a:lnTo>
                  <a:lnTo>
                    <a:pt x="592" y="189"/>
                  </a:lnTo>
                  <a:lnTo>
                    <a:pt x="593" y="191"/>
                  </a:lnTo>
                  <a:lnTo>
                    <a:pt x="593" y="191"/>
                  </a:lnTo>
                  <a:lnTo>
                    <a:pt x="593" y="192"/>
                  </a:lnTo>
                  <a:lnTo>
                    <a:pt x="593" y="192"/>
                  </a:lnTo>
                  <a:lnTo>
                    <a:pt x="593" y="193"/>
                  </a:lnTo>
                  <a:lnTo>
                    <a:pt x="593" y="194"/>
                  </a:lnTo>
                  <a:lnTo>
                    <a:pt x="592" y="195"/>
                  </a:lnTo>
                  <a:lnTo>
                    <a:pt x="592" y="196"/>
                  </a:lnTo>
                  <a:lnTo>
                    <a:pt x="591" y="198"/>
                  </a:lnTo>
                  <a:lnTo>
                    <a:pt x="591" y="199"/>
                  </a:lnTo>
                  <a:lnTo>
                    <a:pt x="590" y="200"/>
                  </a:lnTo>
                  <a:lnTo>
                    <a:pt x="589" y="202"/>
                  </a:lnTo>
                  <a:lnTo>
                    <a:pt x="588" y="203"/>
                  </a:lnTo>
                  <a:lnTo>
                    <a:pt x="587" y="204"/>
                  </a:lnTo>
                  <a:lnTo>
                    <a:pt x="586" y="206"/>
                  </a:lnTo>
                  <a:lnTo>
                    <a:pt x="585" y="207"/>
                  </a:lnTo>
                  <a:lnTo>
                    <a:pt x="584" y="208"/>
                  </a:lnTo>
                  <a:lnTo>
                    <a:pt x="584" y="209"/>
                  </a:lnTo>
                  <a:lnTo>
                    <a:pt x="583" y="210"/>
                  </a:lnTo>
                  <a:lnTo>
                    <a:pt x="583" y="210"/>
                  </a:lnTo>
                  <a:lnTo>
                    <a:pt x="583" y="211"/>
                  </a:lnTo>
                  <a:lnTo>
                    <a:pt x="584" y="212"/>
                  </a:lnTo>
                  <a:lnTo>
                    <a:pt x="584" y="213"/>
                  </a:lnTo>
                  <a:lnTo>
                    <a:pt x="584" y="214"/>
                  </a:lnTo>
                  <a:lnTo>
                    <a:pt x="584" y="214"/>
                  </a:lnTo>
                  <a:lnTo>
                    <a:pt x="583" y="217"/>
                  </a:lnTo>
                  <a:lnTo>
                    <a:pt x="583" y="217"/>
                  </a:lnTo>
                  <a:lnTo>
                    <a:pt x="583" y="217"/>
                  </a:lnTo>
                  <a:lnTo>
                    <a:pt x="583" y="218"/>
                  </a:lnTo>
                  <a:lnTo>
                    <a:pt x="583" y="218"/>
                  </a:lnTo>
                  <a:lnTo>
                    <a:pt x="584" y="218"/>
                  </a:lnTo>
                  <a:lnTo>
                    <a:pt x="585" y="219"/>
                  </a:lnTo>
                  <a:lnTo>
                    <a:pt x="588" y="220"/>
                  </a:lnTo>
                  <a:lnTo>
                    <a:pt x="592" y="221"/>
                  </a:lnTo>
                  <a:lnTo>
                    <a:pt x="593" y="221"/>
                  </a:lnTo>
                  <a:lnTo>
                    <a:pt x="594" y="221"/>
                  </a:lnTo>
                  <a:lnTo>
                    <a:pt x="596" y="222"/>
                  </a:lnTo>
                  <a:lnTo>
                    <a:pt x="597" y="222"/>
                  </a:lnTo>
                  <a:lnTo>
                    <a:pt x="598" y="222"/>
                  </a:lnTo>
                  <a:lnTo>
                    <a:pt x="599" y="223"/>
                  </a:lnTo>
                  <a:lnTo>
                    <a:pt x="600" y="223"/>
                  </a:lnTo>
                  <a:lnTo>
                    <a:pt x="602" y="225"/>
                  </a:lnTo>
                  <a:lnTo>
                    <a:pt x="603" y="226"/>
                  </a:lnTo>
                  <a:lnTo>
                    <a:pt x="605" y="226"/>
                  </a:lnTo>
                  <a:lnTo>
                    <a:pt x="605" y="227"/>
                  </a:lnTo>
                  <a:lnTo>
                    <a:pt x="605" y="227"/>
                  </a:lnTo>
                  <a:lnTo>
                    <a:pt x="606" y="228"/>
                  </a:lnTo>
                  <a:lnTo>
                    <a:pt x="606" y="228"/>
                  </a:lnTo>
                  <a:lnTo>
                    <a:pt x="606" y="229"/>
                  </a:lnTo>
                  <a:lnTo>
                    <a:pt x="606" y="229"/>
                  </a:lnTo>
                  <a:lnTo>
                    <a:pt x="606" y="230"/>
                  </a:lnTo>
                  <a:lnTo>
                    <a:pt x="606" y="231"/>
                  </a:lnTo>
                  <a:lnTo>
                    <a:pt x="606" y="231"/>
                  </a:lnTo>
                  <a:lnTo>
                    <a:pt x="606" y="233"/>
                  </a:lnTo>
                  <a:lnTo>
                    <a:pt x="606" y="234"/>
                  </a:lnTo>
                  <a:lnTo>
                    <a:pt x="606" y="235"/>
                  </a:lnTo>
                  <a:lnTo>
                    <a:pt x="605" y="235"/>
                  </a:lnTo>
                  <a:lnTo>
                    <a:pt x="605" y="236"/>
                  </a:lnTo>
                  <a:lnTo>
                    <a:pt x="605" y="236"/>
                  </a:lnTo>
                  <a:lnTo>
                    <a:pt x="604" y="236"/>
                  </a:lnTo>
                  <a:lnTo>
                    <a:pt x="603" y="236"/>
                  </a:lnTo>
                  <a:lnTo>
                    <a:pt x="603" y="237"/>
                  </a:lnTo>
                  <a:lnTo>
                    <a:pt x="602" y="237"/>
                  </a:lnTo>
                  <a:lnTo>
                    <a:pt x="600" y="237"/>
                  </a:lnTo>
                  <a:lnTo>
                    <a:pt x="599" y="238"/>
                  </a:lnTo>
                  <a:lnTo>
                    <a:pt x="599" y="238"/>
                  </a:lnTo>
                  <a:lnTo>
                    <a:pt x="598" y="238"/>
                  </a:lnTo>
                  <a:lnTo>
                    <a:pt x="598" y="239"/>
                  </a:lnTo>
                  <a:lnTo>
                    <a:pt x="597" y="239"/>
                  </a:lnTo>
                  <a:lnTo>
                    <a:pt x="597" y="239"/>
                  </a:lnTo>
                  <a:lnTo>
                    <a:pt x="597" y="240"/>
                  </a:lnTo>
                  <a:lnTo>
                    <a:pt x="597" y="240"/>
                  </a:lnTo>
                  <a:lnTo>
                    <a:pt x="597" y="241"/>
                  </a:lnTo>
                  <a:lnTo>
                    <a:pt x="597" y="241"/>
                  </a:lnTo>
                  <a:lnTo>
                    <a:pt x="597" y="241"/>
                  </a:lnTo>
                  <a:lnTo>
                    <a:pt x="598" y="242"/>
                  </a:lnTo>
                  <a:lnTo>
                    <a:pt x="599" y="243"/>
                  </a:lnTo>
                  <a:lnTo>
                    <a:pt x="599" y="243"/>
                  </a:lnTo>
                  <a:lnTo>
                    <a:pt x="599" y="244"/>
                  </a:lnTo>
                  <a:lnTo>
                    <a:pt x="599" y="244"/>
                  </a:lnTo>
                  <a:lnTo>
                    <a:pt x="599" y="245"/>
                  </a:lnTo>
                  <a:lnTo>
                    <a:pt x="599" y="245"/>
                  </a:lnTo>
                  <a:lnTo>
                    <a:pt x="598" y="246"/>
                  </a:lnTo>
                  <a:lnTo>
                    <a:pt x="598" y="247"/>
                  </a:lnTo>
                  <a:lnTo>
                    <a:pt x="598" y="247"/>
                  </a:lnTo>
                  <a:lnTo>
                    <a:pt x="598" y="249"/>
                  </a:lnTo>
                  <a:lnTo>
                    <a:pt x="597" y="251"/>
                  </a:lnTo>
                  <a:lnTo>
                    <a:pt x="597" y="252"/>
                  </a:lnTo>
                  <a:lnTo>
                    <a:pt x="597" y="253"/>
                  </a:lnTo>
                  <a:lnTo>
                    <a:pt x="597" y="254"/>
                  </a:lnTo>
                  <a:lnTo>
                    <a:pt x="596" y="254"/>
                  </a:lnTo>
                  <a:lnTo>
                    <a:pt x="596" y="255"/>
                  </a:lnTo>
                  <a:lnTo>
                    <a:pt x="596" y="255"/>
                  </a:lnTo>
                  <a:lnTo>
                    <a:pt x="595" y="256"/>
                  </a:lnTo>
                  <a:lnTo>
                    <a:pt x="594" y="256"/>
                  </a:lnTo>
                  <a:lnTo>
                    <a:pt x="592" y="258"/>
                  </a:lnTo>
                  <a:lnTo>
                    <a:pt x="591" y="259"/>
                  </a:lnTo>
                  <a:lnTo>
                    <a:pt x="591" y="259"/>
                  </a:lnTo>
                  <a:lnTo>
                    <a:pt x="591" y="259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1"/>
                  </a:lnTo>
                  <a:lnTo>
                    <a:pt x="592" y="262"/>
                  </a:lnTo>
                  <a:lnTo>
                    <a:pt x="592" y="262"/>
                  </a:lnTo>
                  <a:lnTo>
                    <a:pt x="593" y="263"/>
                  </a:lnTo>
                  <a:lnTo>
                    <a:pt x="593" y="263"/>
                  </a:lnTo>
                  <a:lnTo>
                    <a:pt x="592" y="263"/>
                  </a:lnTo>
                  <a:lnTo>
                    <a:pt x="592" y="263"/>
                  </a:lnTo>
                  <a:lnTo>
                    <a:pt x="592" y="264"/>
                  </a:lnTo>
                  <a:lnTo>
                    <a:pt x="591" y="264"/>
                  </a:lnTo>
                  <a:lnTo>
                    <a:pt x="589" y="265"/>
                  </a:lnTo>
                  <a:lnTo>
                    <a:pt x="589" y="265"/>
                  </a:lnTo>
                  <a:lnTo>
                    <a:pt x="588" y="265"/>
                  </a:lnTo>
                  <a:lnTo>
                    <a:pt x="588" y="266"/>
                  </a:lnTo>
                  <a:lnTo>
                    <a:pt x="587" y="266"/>
                  </a:lnTo>
                  <a:lnTo>
                    <a:pt x="587" y="267"/>
                  </a:lnTo>
                  <a:lnTo>
                    <a:pt x="587" y="267"/>
                  </a:lnTo>
                  <a:lnTo>
                    <a:pt x="587" y="267"/>
                  </a:lnTo>
                  <a:lnTo>
                    <a:pt x="587" y="268"/>
                  </a:lnTo>
                  <a:lnTo>
                    <a:pt x="587" y="269"/>
                  </a:lnTo>
                  <a:lnTo>
                    <a:pt x="587" y="269"/>
                  </a:lnTo>
                  <a:lnTo>
                    <a:pt x="587" y="270"/>
                  </a:lnTo>
                  <a:lnTo>
                    <a:pt x="588" y="271"/>
                  </a:lnTo>
                  <a:lnTo>
                    <a:pt x="588" y="272"/>
                  </a:lnTo>
                  <a:lnTo>
                    <a:pt x="589" y="272"/>
                  </a:lnTo>
                  <a:lnTo>
                    <a:pt x="590" y="273"/>
                  </a:lnTo>
                  <a:lnTo>
                    <a:pt x="591" y="274"/>
                  </a:lnTo>
                  <a:lnTo>
                    <a:pt x="592" y="274"/>
                  </a:lnTo>
                  <a:lnTo>
                    <a:pt x="593" y="275"/>
                  </a:lnTo>
                  <a:lnTo>
                    <a:pt x="594" y="275"/>
                  </a:lnTo>
                  <a:lnTo>
                    <a:pt x="595" y="276"/>
                  </a:lnTo>
                  <a:lnTo>
                    <a:pt x="598" y="276"/>
                  </a:lnTo>
                  <a:lnTo>
                    <a:pt x="598" y="277"/>
                  </a:lnTo>
                  <a:lnTo>
                    <a:pt x="599" y="277"/>
                  </a:lnTo>
                  <a:lnTo>
                    <a:pt x="601" y="278"/>
                  </a:lnTo>
                  <a:lnTo>
                    <a:pt x="601" y="278"/>
                  </a:lnTo>
                  <a:lnTo>
                    <a:pt x="602" y="279"/>
                  </a:lnTo>
                  <a:lnTo>
                    <a:pt x="603" y="279"/>
                  </a:lnTo>
                  <a:lnTo>
                    <a:pt x="603" y="280"/>
                  </a:lnTo>
                  <a:lnTo>
                    <a:pt x="604" y="280"/>
                  </a:lnTo>
                  <a:lnTo>
                    <a:pt x="604" y="280"/>
                  </a:lnTo>
                  <a:lnTo>
                    <a:pt x="605" y="281"/>
                  </a:lnTo>
                  <a:lnTo>
                    <a:pt x="607" y="281"/>
                  </a:lnTo>
                  <a:lnTo>
                    <a:pt x="608" y="282"/>
                  </a:lnTo>
                  <a:lnTo>
                    <a:pt x="610" y="282"/>
                  </a:lnTo>
                  <a:lnTo>
                    <a:pt x="610" y="282"/>
                  </a:lnTo>
                  <a:lnTo>
                    <a:pt x="611" y="282"/>
                  </a:lnTo>
                  <a:lnTo>
                    <a:pt x="611" y="282"/>
                  </a:lnTo>
                  <a:lnTo>
                    <a:pt x="611" y="283"/>
                  </a:lnTo>
                  <a:lnTo>
                    <a:pt x="612" y="284"/>
                  </a:lnTo>
                  <a:lnTo>
                    <a:pt x="613" y="284"/>
                  </a:lnTo>
                  <a:lnTo>
                    <a:pt x="613" y="284"/>
                  </a:lnTo>
                  <a:lnTo>
                    <a:pt x="614" y="285"/>
                  </a:lnTo>
                  <a:lnTo>
                    <a:pt x="615" y="285"/>
                  </a:lnTo>
                  <a:lnTo>
                    <a:pt x="615" y="285"/>
                  </a:lnTo>
                  <a:lnTo>
                    <a:pt x="615" y="285"/>
                  </a:lnTo>
                  <a:lnTo>
                    <a:pt x="615" y="286"/>
                  </a:lnTo>
                  <a:lnTo>
                    <a:pt x="616" y="286"/>
                  </a:lnTo>
                  <a:lnTo>
                    <a:pt x="616" y="287"/>
                  </a:lnTo>
                  <a:lnTo>
                    <a:pt x="616" y="290"/>
                  </a:lnTo>
                  <a:lnTo>
                    <a:pt x="616" y="290"/>
                  </a:lnTo>
                  <a:lnTo>
                    <a:pt x="616" y="291"/>
                  </a:lnTo>
                  <a:lnTo>
                    <a:pt x="616" y="291"/>
                  </a:lnTo>
                  <a:lnTo>
                    <a:pt x="616" y="292"/>
                  </a:lnTo>
                  <a:lnTo>
                    <a:pt x="617" y="293"/>
                  </a:lnTo>
                  <a:lnTo>
                    <a:pt x="617" y="293"/>
                  </a:lnTo>
                  <a:lnTo>
                    <a:pt x="618" y="294"/>
                  </a:lnTo>
                  <a:lnTo>
                    <a:pt x="620" y="295"/>
                  </a:lnTo>
                  <a:lnTo>
                    <a:pt x="621" y="296"/>
                  </a:lnTo>
                  <a:lnTo>
                    <a:pt x="622" y="297"/>
                  </a:lnTo>
                  <a:lnTo>
                    <a:pt x="624" y="298"/>
                  </a:lnTo>
                  <a:lnTo>
                    <a:pt x="625" y="299"/>
                  </a:lnTo>
                  <a:lnTo>
                    <a:pt x="628" y="300"/>
                  </a:lnTo>
                  <a:lnTo>
                    <a:pt x="629" y="301"/>
                  </a:lnTo>
                  <a:lnTo>
                    <a:pt x="630" y="301"/>
                  </a:lnTo>
                  <a:lnTo>
                    <a:pt x="631" y="302"/>
                  </a:lnTo>
                  <a:lnTo>
                    <a:pt x="632" y="303"/>
                  </a:lnTo>
                  <a:lnTo>
                    <a:pt x="632" y="304"/>
                  </a:lnTo>
                  <a:lnTo>
                    <a:pt x="633" y="304"/>
                  </a:lnTo>
                  <a:lnTo>
                    <a:pt x="633" y="305"/>
                  </a:lnTo>
                  <a:lnTo>
                    <a:pt x="633" y="306"/>
                  </a:lnTo>
                  <a:lnTo>
                    <a:pt x="633" y="307"/>
                  </a:lnTo>
                  <a:lnTo>
                    <a:pt x="633" y="307"/>
                  </a:lnTo>
                  <a:lnTo>
                    <a:pt x="633" y="309"/>
                  </a:lnTo>
                  <a:lnTo>
                    <a:pt x="632" y="311"/>
                  </a:lnTo>
                  <a:lnTo>
                    <a:pt x="632" y="312"/>
                  </a:lnTo>
                  <a:lnTo>
                    <a:pt x="632" y="312"/>
                  </a:lnTo>
                  <a:lnTo>
                    <a:pt x="632" y="313"/>
                  </a:lnTo>
                  <a:lnTo>
                    <a:pt x="632" y="314"/>
                  </a:lnTo>
                  <a:lnTo>
                    <a:pt x="632" y="314"/>
                  </a:lnTo>
                  <a:lnTo>
                    <a:pt x="633" y="317"/>
                  </a:lnTo>
                  <a:lnTo>
                    <a:pt x="633" y="318"/>
                  </a:lnTo>
                  <a:lnTo>
                    <a:pt x="633" y="319"/>
                  </a:lnTo>
                  <a:lnTo>
                    <a:pt x="633" y="320"/>
                  </a:lnTo>
                  <a:lnTo>
                    <a:pt x="633" y="321"/>
                  </a:lnTo>
                  <a:lnTo>
                    <a:pt x="633" y="322"/>
                  </a:lnTo>
                  <a:lnTo>
                    <a:pt x="632" y="324"/>
                  </a:lnTo>
                  <a:lnTo>
                    <a:pt x="631" y="325"/>
                  </a:lnTo>
                  <a:lnTo>
                    <a:pt x="630" y="329"/>
                  </a:lnTo>
                  <a:lnTo>
                    <a:pt x="629" y="330"/>
                  </a:lnTo>
                  <a:lnTo>
                    <a:pt x="629" y="331"/>
                  </a:lnTo>
                  <a:lnTo>
                    <a:pt x="627" y="333"/>
                  </a:lnTo>
                  <a:lnTo>
                    <a:pt x="627" y="333"/>
                  </a:lnTo>
                  <a:lnTo>
                    <a:pt x="626" y="334"/>
                  </a:lnTo>
                  <a:lnTo>
                    <a:pt x="626" y="335"/>
                  </a:lnTo>
                  <a:lnTo>
                    <a:pt x="626" y="336"/>
                  </a:lnTo>
                  <a:lnTo>
                    <a:pt x="626" y="336"/>
                  </a:lnTo>
                  <a:lnTo>
                    <a:pt x="626" y="340"/>
                  </a:lnTo>
                  <a:lnTo>
                    <a:pt x="625" y="343"/>
                  </a:lnTo>
                  <a:lnTo>
                    <a:pt x="625" y="347"/>
                  </a:lnTo>
                  <a:lnTo>
                    <a:pt x="624" y="349"/>
                  </a:lnTo>
                  <a:lnTo>
                    <a:pt x="624" y="349"/>
                  </a:lnTo>
                  <a:lnTo>
                    <a:pt x="624" y="350"/>
                  </a:lnTo>
                  <a:lnTo>
                    <a:pt x="624" y="349"/>
                  </a:lnTo>
                  <a:lnTo>
                    <a:pt x="624" y="350"/>
                  </a:lnTo>
                  <a:lnTo>
                    <a:pt x="624" y="350"/>
                  </a:lnTo>
                  <a:lnTo>
                    <a:pt x="624" y="351"/>
                  </a:lnTo>
                  <a:lnTo>
                    <a:pt x="623" y="351"/>
                  </a:lnTo>
                  <a:lnTo>
                    <a:pt x="623" y="352"/>
                  </a:lnTo>
                  <a:lnTo>
                    <a:pt x="622" y="353"/>
                  </a:lnTo>
                  <a:lnTo>
                    <a:pt x="619" y="354"/>
                  </a:lnTo>
                  <a:lnTo>
                    <a:pt x="617" y="356"/>
                  </a:lnTo>
                  <a:lnTo>
                    <a:pt x="616" y="357"/>
                  </a:lnTo>
                  <a:lnTo>
                    <a:pt x="616" y="357"/>
                  </a:lnTo>
                  <a:lnTo>
                    <a:pt x="616" y="357"/>
                  </a:lnTo>
                  <a:lnTo>
                    <a:pt x="615" y="358"/>
                  </a:lnTo>
                  <a:lnTo>
                    <a:pt x="614" y="358"/>
                  </a:lnTo>
                  <a:lnTo>
                    <a:pt x="613" y="358"/>
                  </a:lnTo>
                  <a:lnTo>
                    <a:pt x="611" y="358"/>
                  </a:lnTo>
                  <a:lnTo>
                    <a:pt x="610" y="358"/>
                  </a:lnTo>
                  <a:lnTo>
                    <a:pt x="609" y="359"/>
                  </a:lnTo>
                  <a:lnTo>
                    <a:pt x="608" y="359"/>
                  </a:lnTo>
                  <a:lnTo>
                    <a:pt x="607" y="359"/>
                  </a:lnTo>
                  <a:lnTo>
                    <a:pt x="607" y="360"/>
                  </a:lnTo>
                  <a:lnTo>
                    <a:pt x="606" y="360"/>
                  </a:lnTo>
                  <a:lnTo>
                    <a:pt x="606" y="361"/>
                  </a:lnTo>
                  <a:lnTo>
                    <a:pt x="604" y="362"/>
                  </a:lnTo>
                  <a:lnTo>
                    <a:pt x="603" y="363"/>
                  </a:lnTo>
                  <a:lnTo>
                    <a:pt x="603" y="364"/>
                  </a:lnTo>
                  <a:lnTo>
                    <a:pt x="603" y="364"/>
                  </a:lnTo>
                  <a:lnTo>
                    <a:pt x="602" y="365"/>
                  </a:lnTo>
                  <a:lnTo>
                    <a:pt x="602" y="365"/>
                  </a:lnTo>
                  <a:lnTo>
                    <a:pt x="602" y="366"/>
                  </a:lnTo>
                  <a:lnTo>
                    <a:pt x="602" y="367"/>
                  </a:lnTo>
                  <a:lnTo>
                    <a:pt x="602" y="367"/>
                  </a:lnTo>
                  <a:lnTo>
                    <a:pt x="602" y="368"/>
                  </a:lnTo>
                  <a:lnTo>
                    <a:pt x="602" y="369"/>
                  </a:lnTo>
                  <a:lnTo>
                    <a:pt x="602" y="369"/>
                  </a:lnTo>
                  <a:lnTo>
                    <a:pt x="603" y="372"/>
                  </a:lnTo>
                  <a:lnTo>
                    <a:pt x="604" y="373"/>
                  </a:lnTo>
                  <a:lnTo>
                    <a:pt x="604" y="374"/>
                  </a:lnTo>
                  <a:lnTo>
                    <a:pt x="604" y="375"/>
                  </a:lnTo>
                  <a:lnTo>
                    <a:pt x="604" y="375"/>
                  </a:lnTo>
                  <a:lnTo>
                    <a:pt x="604" y="376"/>
                  </a:lnTo>
                  <a:lnTo>
                    <a:pt x="604" y="377"/>
                  </a:lnTo>
                  <a:lnTo>
                    <a:pt x="604" y="377"/>
                  </a:lnTo>
                  <a:lnTo>
                    <a:pt x="604" y="377"/>
                  </a:lnTo>
                  <a:lnTo>
                    <a:pt x="604" y="378"/>
                  </a:lnTo>
                  <a:lnTo>
                    <a:pt x="604" y="378"/>
                  </a:lnTo>
                  <a:lnTo>
                    <a:pt x="603" y="379"/>
                  </a:lnTo>
                  <a:lnTo>
                    <a:pt x="603" y="379"/>
                  </a:lnTo>
                  <a:lnTo>
                    <a:pt x="602" y="379"/>
                  </a:lnTo>
                  <a:lnTo>
                    <a:pt x="602" y="380"/>
                  </a:lnTo>
                  <a:lnTo>
                    <a:pt x="601" y="380"/>
                  </a:lnTo>
                  <a:lnTo>
                    <a:pt x="600" y="380"/>
                  </a:lnTo>
                  <a:lnTo>
                    <a:pt x="599" y="380"/>
                  </a:lnTo>
                  <a:lnTo>
                    <a:pt x="598" y="380"/>
                  </a:lnTo>
                  <a:lnTo>
                    <a:pt x="597" y="380"/>
                  </a:lnTo>
                  <a:lnTo>
                    <a:pt x="594" y="380"/>
                  </a:lnTo>
                  <a:lnTo>
                    <a:pt x="592" y="380"/>
                  </a:lnTo>
                  <a:lnTo>
                    <a:pt x="592" y="380"/>
                  </a:lnTo>
                  <a:lnTo>
                    <a:pt x="591" y="380"/>
                  </a:lnTo>
                  <a:lnTo>
                    <a:pt x="590" y="381"/>
                  </a:lnTo>
                  <a:lnTo>
                    <a:pt x="590" y="381"/>
                  </a:lnTo>
                  <a:lnTo>
                    <a:pt x="589" y="382"/>
                  </a:lnTo>
                  <a:lnTo>
                    <a:pt x="588" y="382"/>
                  </a:lnTo>
                  <a:lnTo>
                    <a:pt x="587" y="383"/>
                  </a:lnTo>
                  <a:lnTo>
                    <a:pt x="586" y="386"/>
                  </a:lnTo>
                  <a:lnTo>
                    <a:pt x="585" y="387"/>
                  </a:lnTo>
                  <a:lnTo>
                    <a:pt x="584" y="387"/>
                  </a:lnTo>
                  <a:lnTo>
                    <a:pt x="584" y="388"/>
                  </a:lnTo>
                  <a:lnTo>
                    <a:pt x="582" y="389"/>
                  </a:lnTo>
                  <a:lnTo>
                    <a:pt x="581" y="390"/>
                  </a:lnTo>
                  <a:lnTo>
                    <a:pt x="580" y="390"/>
                  </a:lnTo>
                  <a:lnTo>
                    <a:pt x="578" y="391"/>
                  </a:lnTo>
                  <a:lnTo>
                    <a:pt x="576" y="391"/>
                  </a:lnTo>
                  <a:lnTo>
                    <a:pt x="575" y="391"/>
                  </a:lnTo>
                  <a:lnTo>
                    <a:pt x="573" y="392"/>
                  </a:lnTo>
                  <a:lnTo>
                    <a:pt x="570" y="393"/>
                  </a:lnTo>
                  <a:lnTo>
                    <a:pt x="568" y="393"/>
                  </a:lnTo>
                  <a:lnTo>
                    <a:pt x="566" y="394"/>
                  </a:lnTo>
                  <a:lnTo>
                    <a:pt x="565" y="394"/>
                  </a:lnTo>
                  <a:lnTo>
                    <a:pt x="563" y="395"/>
                  </a:lnTo>
                  <a:lnTo>
                    <a:pt x="562" y="396"/>
                  </a:lnTo>
                  <a:lnTo>
                    <a:pt x="559" y="397"/>
                  </a:lnTo>
                  <a:lnTo>
                    <a:pt x="558" y="398"/>
                  </a:lnTo>
                  <a:lnTo>
                    <a:pt x="557" y="398"/>
                  </a:lnTo>
                  <a:lnTo>
                    <a:pt x="556" y="399"/>
                  </a:lnTo>
                  <a:lnTo>
                    <a:pt x="555" y="399"/>
                  </a:lnTo>
                  <a:lnTo>
                    <a:pt x="555" y="399"/>
                  </a:lnTo>
                  <a:lnTo>
                    <a:pt x="554" y="399"/>
                  </a:lnTo>
                  <a:lnTo>
                    <a:pt x="553" y="399"/>
                  </a:lnTo>
                  <a:lnTo>
                    <a:pt x="553" y="398"/>
                  </a:lnTo>
                  <a:lnTo>
                    <a:pt x="552" y="398"/>
                  </a:lnTo>
                  <a:lnTo>
                    <a:pt x="552" y="398"/>
                  </a:lnTo>
                  <a:lnTo>
                    <a:pt x="551" y="398"/>
                  </a:lnTo>
                  <a:lnTo>
                    <a:pt x="550" y="397"/>
                  </a:lnTo>
                  <a:lnTo>
                    <a:pt x="549" y="397"/>
                  </a:lnTo>
                  <a:lnTo>
                    <a:pt x="549" y="397"/>
                  </a:lnTo>
                  <a:lnTo>
                    <a:pt x="548" y="397"/>
                  </a:lnTo>
                  <a:lnTo>
                    <a:pt x="547" y="398"/>
                  </a:lnTo>
                  <a:lnTo>
                    <a:pt x="546" y="398"/>
                  </a:lnTo>
                  <a:lnTo>
                    <a:pt x="546" y="398"/>
                  </a:lnTo>
                  <a:lnTo>
                    <a:pt x="545" y="399"/>
                  </a:lnTo>
                  <a:lnTo>
                    <a:pt x="544" y="399"/>
                  </a:lnTo>
                  <a:lnTo>
                    <a:pt x="544" y="400"/>
                  </a:lnTo>
                  <a:lnTo>
                    <a:pt x="543" y="400"/>
                  </a:lnTo>
                  <a:lnTo>
                    <a:pt x="543" y="401"/>
                  </a:lnTo>
                  <a:lnTo>
                    <a:pt x="543" y="401"/>
                  </a:lnTo>
                  <a:lnTo>
                    <a:pt x="543" y="402"/>
                  </a:lnTo>
                  <a:lnTo>
                    <a:pt x="542" y="404"/>
                  </a:lnTo>
                  <a:lnTo>
                    <a:pt x="542" y="405"/>
                  </a:lnTo>
                  <a:lnTo>
                    <a:pt x="541" y="407"/>
                  </a:lnTo>
                  <a:lnTo>
                    <a:pt x="539" y="410"/>
                  </a:lnTo>
                  <a:lnTo>
                    <a:pt x="539" y="411"/>
                  </a:lnTo>
                  <a:lnTo>
                    <a:pt x="539" y="412"/>
                  </a:lnTo>
                  <a:lnTo>
                    <a:pt x="538" y="412"/>
                  </a:lnTo>
                  <a:lnTo>
                    <a:pt x="532" y="419"/>
                  </a:lnTo>
                  <a:lnTo>
                    <a:pt x="532" y="420"/>
                  </a:lnTo>
                  <a:lnTo>
                    <a:pt x="531" y="421"/>
                  </a:lnTo>
                  <a:lnTo>
                    <a:pt x="531" y="422"/>
                  </a:lnTo>
                  <a:lnTo>
                    <a:pt x="530" y="423"/>
                  </a:lnTo>
                  <a:lnTo>
                    <a:pt x="530" y="424"/>
                  </a:lnTo>
                  <a:lnTo>
                    <a:pt x="530" y="425"/>
                  </a:lnTo>
                  <a:lnTo>
                    <a:pt x="530" y="426"/>
                  </a:lnTo>
                  <a:lnTo>
                    <a:pt x="529" y="427"/>
                  </a:lnTo>
                  <a:lnTo>
                    <a:pt x="529" y="428"/>
                  </a:lnTo>
                  <a:lnTo>
                    <a:pt x="529" y="429"/>
                  </a:lnTo>
                  <a:lnTo>
                    <a:pt x="529" y="430"/>
                  </a:lnTo>
                  <a:lnTo>
                    <a:pt x="530" y="432"/>
                  </a:lnTo>
                  <a:lnTo>
                    <a:pt x="530" y="433"/>
                  </a:lnTo>
                  <a:lnTo>
                    <a:pt x="530" y="434"/>
                  </a:lnTo>
                  <a:lnTo>
                    <a:pt x="531" y="435"/>
                  </a:lnTo>
                  <a:lnTo>
                    <a:pt x="531" y="436"/>
                  </a:lnTo>
                  <a:lnTo>
                    <a:pt x="531" y="436"/>
                  </a:lnTo>
                  <a:lnTo>
                    <a:pt x="532" y="437"/>
                  </a:lnTo>
                  <a:lnTo>
                    <a:pt x="533" y="437"/>
                  </a:lnTo>
                  <a:lnTo>
                    <a:pt x="533" y="438"/>
                  </a:lnTo>
                  <a:lnTo>
                    <a:pt x="537" y="440"/>
                  </a:lnTo>
                  <a:lnTo>
                    <a:pt x="539" y="440"/>
                  </a:lnTo>
                  <a:lnTo>
                    <a:pt x="541" y="441"/>
                  </a:lnTo>
                  <a:lnTo>
                    <a:pt x="542" y="442"/>
                  </a:lnTo>
                  <a:lnTo>
                    <a:pt x="543" y="442"/>
                  </a:lnTo>
                  <a:lnTo>
                    <a:pt x="544" y="443"/>
                  </a:lnTo>
                  <a:lnTo>
                    <a:pt x="544" y="443"/>
                  </a:lnTo>
                  <a:lnTo>
                    <a:pt x="545" y="444"/>
                  </a:lnTo>
                  <a:lnTo>
                    <a:pt x="545" y="444"/>
                  </a:lnTo>
                  <a:lnTo>
                    <a:pt x="546" y="445"/>
                  </a:lnTo>
                  <a:lnTo>
                    <a:pt x="547" y="446"/>
                  </a:lnTo>
                  <a:lnTo>
                    <a:pt x="548" y="448"/>
                  </a:lnTo>
                  <a:lnTo>
                    <a:pt x="548" y="449"/>
                  </a:lnTo>
                  <a:lnTo>
                    <a:pt x="549" y="450"/>
                  </a:lnTo>
                  <a:lnTo>
                    <a:pt x="549" y="451"/>
                  </a:lnTo>
                  <a:lnTo>
                    <a:pt x="549" y="451"/>
                  </a:lnTo>
                  <a:lnTo>
                    <a:pt x="549" y="452"/>
                  </a:lnTo>
                  <a:lnTo>
                    <a:pt x="549" y="454"/>
                  </a:lnTo>
                  <a:lnTo>
                    <a:pt x="549" y="455"/>
                  </a:lnTo>
                  <a:lnTo>
                    <a:pt x="549" y="456"/>
                  </a:lnTo>
                  <a:lnTo>
                    <a:pt x="549" y="457"/>
                  </a:lnTo>
                  <a:lnTo>
                    <a:pt x="549" y="457"/>
                  </a:lnTo>
                  <a:lnTo>
                    <a:pt x="548" y="458"/>
                  </a:lnTo>
                  <a:lnTo>
                    <a:pt x="548" y="459"/>
                  </a:lnTo>
                  <a:lnTo>
                    <a:pt x="548" y="460"/>
                  </a:lnTo>
                  <a:lnTo>
                    <a:pt x="547" y="460"/>
                  </a:lnTo>
                  <a:lnTo>
                    <a:pt x="547" y="461"/>
                  </a:lnTo>
                  <a:lnTo>
                    <a:pt x="546" y="461"/>
                  </a:lnTo>
                  <a:lnTo>
                    <a:pt x="544" y="463"/>
                  </a:lnTo>
                  <a:lnTo>
                    <a:pt x="543" y="463"/>
                  </a:lnTo>
                  <a:lnTo>
                    <a:pt x="543" y="464"/>
                  </a:lnTo>
                  <a:lnTo>
                    <a:pt x="542" y="464"/>
                  </a:lnTo>
                  <a:lnTo>
                    <a:pt x="541" y="464"/>
                  </a:lnTo>
                  <a:lnTo>
                    <a:pt x="540" y="464"/>
                  </a:lnTo>
                  <a:lnTo>
                    <a:pt x="539" y="464"/>
                  </a:lnTo>
                  <a:lnTo>
                    <a:pt x="537" y="464"/>
                  </a:lnTo>
                  <a:lnTo>
                    <a:pt x="536" y="464"/>
                  </a:lnTo>
                  <a:lnTo>
                    <a:pt x="534" y="464"/>
                  </a:lnTo>
                  <a:lnTo>
                    <a:pt x="533" y="464"/>
                  </a:lnTo>
                  <a:lnTo>
                    <a:pt x="532" y="464"/>
                  </a:lnTo>
                  <a:lnTo>
                    <a:pt x="532" y="464"/>
                  </a:lnTo>
                  <a:lnTo>
                    <a:pt x="531" y="464"/>
                  </a:lnTo>
                  <a:lnTo>
                    <a:pt x="531" y="464"/>
                  </a:lnTo>
                  <a:lnTo>
                    <a:pt x="530" y="464"/>
                  </a:lnTo>
                  <a:lnTo>
                    <a:pt x="529" y="466"/>
                  </a:lnTo>
                  <a:lnTo>
                    <a:pt x="528" y="466"/>
                  </a:lnTo>
                  <a:lnTo>
                    <a:pt x="528" y="466"/>
                  </a:lnTo>
                  <a:lnTo>
                    <a:pt x="528" y="467"/>
                  </a:lnTo>
                  <a:lnTo>
                    <a:pt x="527" y="467"/>
                  </a:lnTo>
                  <a:lnTo>
                    <a:pt x="526" y="469"/>
                  </a:lnTo>
                  <a:lnTo>
                    <a:pt x="526" y="470"/>
                  </a:lnTo>
                  <a:lnTo>
                    <a:pt x="525" y="471"/>
                  </a:lnTo>
                  <a:lnTo>
                    <a:pt x="525" y="472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3" y="473"/>
                  </a:lnTo>
                  <a:lnTo>
                    <a:pt x="523" y="473"/>
                  </a:lnTo>
                  <a:lnTo>
                    <a:pt x="522" y="473"/>
                  </a:lnTo>
                  <a:lnTo>
                    <a:pt x="521" y="473"/>
                  </a:lnTo>
                  <a:lnTo>
                    <a:pt x="519" y="471"/>
                  </a:lnTo>
                  <a:lnTo>
                    <a:pt x="519" y="471"/>
                  </a:lnTo>
                  <a:lnTo>
                    <a:pt x="518" y="470"/>
                  </a:lnTo>
                  <a:lnTo>
                    <a:pt x="517" y="470"/>
                  </a:lnTo>
                  <a:lnTo>
                    <a:pt x="515" y="470"/>
                  </a:lnTo>
                  <a:lnTo>
                    <a:pt x="514" y="469"/>
                  </a:lnTo>
                  <a:lnTo>
                    <a:pt x="512" y="469"/>
                  </a:lnTo>
                  <a:lnTo>
                    <a:pt x="510" y="468"/>
                  </a:lnTo>
                  <a:lnTo>
                    <a:pt x="510" y="468"/>
                  </a:lnTo>
                  <a:lnTo>
                    <a:pt x="509" y="468"/>
                  </a:lnTo>
                  <a:lnTo>
                    <a:pt x="509" y="468"/>
                  </a:lnTo>
                  <a:lnTo>
                    <a:pt x="508" y="468"/>
                  </a:lnTo>
                  <a:lnTo>
                    <a:pt x="507" y="468"/>
                  </a:lnTo>
                  <a:lnTo>
                    <a:pt x="505" y="469"/>
                  </a:lnTo>
                  <a:lnTo>
                    <a:pt x="502" y="470"/>
                  </a:lnTo>
                  <a:lnTo>
                    <a:pt x="500" y="471"/>
                  </a:lnTo>
                  <a:lnTo>
                    <a:pt x="500" y="471"/>
                  </a:lnTo>
                  <a:lnTo>
                    <a:pt x="498" y="471"/>
                  </a:lnTo>
                  <a:lnTo>
                    <a:pt x="496" y="472"/>
                  </a:lnTo>
                  <a:lnTo>
                    <a:pt x="495" y="472"/>
                  </a:lnTo>
                  <a:lnTo>
                    <a:pt x="494" y="472"/>
                  </a:lnTo>
                  <a:lnTo>
                    <a:pt x="492" y="472"/>
                  </a:lnTo>
                  <a:lnTo>
                    <a:pt x="491" y="472"/>
                  </a:lnTo>
                  <a:lnTo>
                    <a:pt x="487" y="471"/>
                  </a:lnTo>
                  <a:lnTo>
                    <a:pt x="486" y="471"/>
                  </a:lnTo>
                  <a:lnTo>
                    <a:pt x="483" y="471"/>
                  </a:lnTo>
                  <a:lnTo>
                    <a:pt x="482" y="471"/>
                  </a:lnTo>
                  <a:lnTo>
                    <a:pt x="481" y="470"/>
                  </a:lnTo>
                  <a:lnTo>
                    <a:pt x="480" y="470"/>
                  </a:lnTo>
                  <a:lnTo>
                    <a:pt x="476" y="469"/>
                  </a:lnTo>
                  <a:lnTo>
                    <a:pt x="475" y="469"/>
                  </a:lnTo>
                  <a:lnTo>
                    <a:pt x="474" y="469"/>
                  </a:lnTo>
                  <a:lnTo>
                    <a:pt x="474" y="469"/>
                  </a:lnTo>
                  <a:lnTo>
                    <a:pt x="473" y="469"/>
                  </a:lnTo>
                  <a:lnTo>
                    <a:pt x="472" y="469"/>
                  </a:lnTo>
                  <a:lnTo>
                    <a:pt x="471" y="469"/>
                  </a:lnTo>
                  <a:lnTo>
                    <a:pt x="471" y="470"/>
                  </a:lnTo>
                  <a:lnTo>
                    <a:pt x="470" y="470"/>
                  </a:lnTo>
                  <a:lnTo>
                    <a:pt x="470" y="471"/>
                  </a:lnTo>
                  <a:lnTo>
                    <a:pt x="470" y="471"/>
                  </a:lnTo>
                  <a:lnTo>
                    <a:pt x="469" y="472"/>
                  </a:lnTo>
                  <a:lnTo>
                    <a:pt x="469" y="472"/>
                  </a:lnTo>
                  <a:lnTo>
                    <a:pt x="469" y="473"/>
                  </a:lnTo>
                  <a:lnTo>
                    <a:pt x="469" y="473"/>
                  </a:lnTo>
                  <a:lnTo>
                    <a:pt x="469" y="474"/>
                  </a:lnTo>
                  <a:lnTo>
                    <a:pt x="470" y="476"/>
                  </a:lnTo>
                  <a:lnTo>
                    <a:pt x="470" y="477"/>
                  </a:lnTo>
                  <a:lnTo>
                    <a:pt x="470" y="477"/>
                  </a:lnTo>
                  <a:lnTo>
                    <a:pt x="470" y="478"/>
                  </a:lnTo>
                  <a:lnTo>
                    <a:pt x="470" y="478"/>
                  </a:lnTo>
                  <a:lnTo>
                    <a:pt x="470" y="478"/>
                  </a:lnTo>
                  <a:lnTo>
                    <a:pt x="469" y="479"/>
                  </a:lnTo>
                  <a:lnTo>
                    <a:pt x="469" y="479"/>
                  </a:lnTo>
                  <a:lnTo>
                    <a:pt x="468" y="479"/>
                  </a:lnTo>
                  <a:lnTo>
                    <a:pt x="468" y="480"/>
                  </a:lnTo>
                  <a:lnTo>
                    <a:pt x="467" y="480"/>
                  </a:lnTo>
                  <a:lnTo>
                    <a:pt x="466" y="480"/>
                  </a:lnTo>
                  <a:lnTo>
                    <a:pt x="461" y="482"/>
                  </a:lnTo>
                  <a:lnTo>
                    <a:pt x="460" y="482"/>
                  </a:lnTo>
                  <a:lnTo>
                    <a:pt x="460" y="482"/>
                  </a:lnTo>
                  <a:lnTo>
                    <a:pt x="459" y="482"/>
                  </a:lnTo>
                  <a:lnTo>
                    <a:pt x="459" y="483"/>
                  </a:lnTo>
                  <a:lnTo>
                    <a:pt x="459" y="483"/>
                  </a:lnTo>
                  <a:lnTo>
                    <a:pt x="458" y="484"/>
                  </a:lnTo>
                  <a:lnTo>
                    <a:pt x="458" y="484"/>
                  </a:lnTo>
                  <a:lnTo>
                    <a:pt x="458" y="485"/>
                  </a:lnTo>
                  <a:lnTo>
                    <a:pt x="457" y="486"/>
                  </a:lnTo>
                  <a:lnTo>
                    <a:pt x="457" y="487"/>
                  </a:lnTo>
                  <a:lnTo>
                    <a:pt x="457" y="490"/>
                  </a:lnTo>
                  <a:lnTo>
                    <a:pt x="456" y="491"/>
                  </a:lnTo>
                  <a:lnTo>
                    <a:pt x="456" y="492"/>
                  </a:lnTo>
                  <a:lnTo>
                    <a:pt x="455" y="494"/>
                  </a:lnTo>
                  <a:lnTo>
                    <a:pt x="455" y="494"/>
                  </a:lnTo>
                  <a:lnTo>
                    <a:pt x="455" y="494"/>
                  </a:lnTo>
                  <a:lnTo>
                    <a:pt x="454" y="495"/>
                  </a:lnTo>
                  <a:lnTo>
                    <a:pt x="453" y="495"/>
                  </a:lnTo>
                  <a:lnTo>
                    <a:pt x="453" y="495"/>
                  </a:lnTo>
                  <a:lnTo>
                    <a:pt x="452" y="495"/>
                  </a:lnTo>
                  <a:lnTo>
                    <a:pt x="451" y="495"/>
                  </a:lnTo>
                  <a:lnTo>
                    <a:pt x="451" y="495"/>
                  </a:lnTo>
                  <a:lnTo>
                    <a:pt x="450" y="495"/>
                  </a:lnTo>
                  <a:lnTo>
                    <a:pt x="449" y="495"/>
                  </a:lnTo>
                  <a:lnTo>
                    <a:pt x="449" y="495"/>
                  </a:lnTo>
                  <a:lnTo>
                    <a:pt x="447" y="494"/>
                  </a:lnTo>
                  <a:lnTo>
                    <a:pt x="447" y="494"/>
                  </a:lnTo>
                  <a:lnTo>
                    <a:pt x="446" y="494"/>
                  </a:lnTo>
                  <a:lnTo>
                    <a:pt x="445" y="493"/>
                  </a:lnTo>
                  <a:lnTo>
                    <a:pt x="445" y="492"/>
                  </a:lnTo>
                  <a:lnTo>
                    <a:pt x="444" y="492"/>
                  </a:lnTo>
                  <a:lnTo>
                    <a:pt x="443" y="491"/>
                  </a:lnTo>
                  <a:lnTo>
                    <a:pt x="442" y="489"/>
                  </a:lnTo>
                  <a:lnTo>
                    <a:pt x="441" y="487"/>
                  </a:lnTo>
                  <a:lnTo>
                    <a:pt x="440" y="484"/>
                  </a:lnTo>
                  <a:lnTo>
                    <a:pt x="439" y="482"/>
                  </a:lnTo>
                  <a:lnTo>
                    <a:pt x="438" y="481"/>
                  </a:lnTo>
                  <a:lnTo>
                    <a:pt x="438" y="479"/>
                  </a:lnTo>
                  <a:lnTo>
                    <a:pt x="437" y="478"/>
                  </a:lnTo>
                  <a:lnTo>
                    <a:pt x="437" y="478"/>
                  </a:lnTo>
                  <a:lnTo>
                    <a:pt x="437" y="477"/>
                  </a:lnTo>
                  <a:lnTo>
                    <a:pt x="437" y="477"/>
                  </a:lnTo>
                  <a:lnTo>
                    <a:pt x="436" y="477"/>
                  </a:lnTo>
                  <a:lnTo>
                    <a:pt x="436" y="477"/>
                  </a:lnTo>
                  <a:lnTo>
                    <a:pt x="435" y="477"/>
                  </a:lnTo>
                  <a:lnTo>
                    <a:pt x="435" y="477"/>
                  </a:lnTo>
                  <a:lnTo>
                    <a:pt x="434" y="477"/>
                  </a:lnTo>
                  <a:lnTo>
                    <a:pt x="433" y="478"/>
                  </a:lnTo>
                  <a:lnTo>
                    <a:pt x="432" y="478"/>
                  </a:lnTo>
                  <a:lnTo>
                    <a:pt x="431" y="479"/>
                  </a:lnTo>
                  <a:lnTo>
                    <a:pt x="430" y="479"/>
                  </a:lnTo>
                  <a:lnTo>
                    <a:pt x="430" y="479"/>
                  </a:lnTo>
                  <a:lnTo>
                    <a:pt x="429" y="479"/>
                  </a:lnTo>
                  <a:lnTo>
                    <a:pt x="429" y="479"/>
                  </a:lnTo>
                  <a:lnTo>
                    <a:pt x="428" y="479"/>
                  </a:lnTo>
                  <a:lnTo>
                    <a:pt x="428" y="479"/>
                  </a:lnTo>
                  <a:lnTo>
                    <a:pt x="427" y="478"/>
                  </a:lnTo>
                  <a:lnTo>
                    <a:pt x="426" y="477"/>
                  </a:lnTo>
                  <a:lnTo>
                    <a:pt x="425" y="477"/>
                  </a:lnTo>
                  <a:lnTo>
                    <a:pt x="423" y="475"/>
                  </a:lnTo>
                  <a:lnTo>
                    <a:pt x="420" y="473"/>
                  </a:lnTo>
                  <a:lnTo>
                    <a:pt x="419" y="472"/>
                  </a:lnTo>
                  <a:lnTo>
                    <a:pt x="418" y="471"/>
                  </a:lnTo>
                  <a:lnTo>
                    <a:pt x="417" y="471"/>
                  </a:lnTo>
                  <a:lnTo>
                    <a:pt x="416" y="470"/>
                  </a:lnTo>
                  <a:lnTo>
                    <a:pt x="412" y="468"/>
                  </a:lnTo>
                  <a:lnTo>
                    <a:pt x="411" y="467"/>
                  </a:lnTo>
                  <a:lnTo>
                    <a:pt x="410" y="467"/>
                  </a:lnTo>
                  <a:lnTo>
                    <a:pt x="408" y="465"/>
                  </a:lnTo>
                  <a:lnTo>
                    <a:pt x="407" y="465"/>
                  </a:lnTo>
                  <a:lnTo>
                    <a:pt x="406" y="464"/>
                  </a:lnTo>
                  <a:lnTo>
                    <a:pt x="405" y="464"/>
                  </a:lnTo>
                  <a:lnTo>
                    <a:pt x="405" y="464"/>
                  </a:lnTo>
                  <a:lnTo>
                    <a:pt x="405" y="464"/>
                  </a:lnTo>
                  <a:lnTo>
                    <a:pt x="404" y="465"/>
                  </a:lnTo>
                  <a:lnTo>
                    <a:pt x="404" y="465"/>
                  </a:lnTo>
                  <a:lnTo>
                    <a:pt x="402" y="466"/>
                  </a:lnTo>
                  <a:lnTo>
                    <a:pt x="400" y="467"/>
                  </a:lnTo>
                  <a:lnTo>
                    <a:pt x="399" y="468"/>
                  </a:lnTo>
                  <a:lnTo>
                    <a:pt x="399" y="469"/>
                  </a:lnTo>
                  <a:lnTo>
                    <a:pt x="398" y="469"/>
                  </a:lnTo>
                  <a:lnTo>
                    <a:pt x="398" y="471"/>
                  </a:lnTo>
                  <a:lnTo>
                    <a:pt x="397" y="471"/>
                  </a:lnTo>
                  <a:lnTo>
                    <a:pt x="397" y="472"/>
                  </a:lnTo>
                  <a:lnTo>
                    <a:pt x="396" y="473"/>
                  </a:lnTo>
                  <a:lnTo>
                    <a:pt x="395" y="473"/>
                  </a:lnTo>
                  <a:lnTo>
                    <a:pt x="395" y="474"/>
                  </a:lnTo>
                  <a:lnTo>
                    <a:pt x="394" y="474"/>
                  </a:lnTo>
                  <a:lnTo>
                    <a:pt x="394" y="475"/>
                  </a:lnTo>
                  <a:lnTo>
                    <a:pt x="394" y="475"/>
                  </a:lnTo>
                  <a:lnTo>
                    <a:pt x="394" y="477"/>
                  </a:lnTo>
                  <a:lnTo>
                    <a:pt x="394" y="478"/>
                  </a:lnTo>
                  <a:lnTo>
                    <a:pt x="394" y="479"/>
                  </a:lnTo>
                  <a:lnTo>
                    <a:pt x="393" y="481"/>
                  </a:lnTo>
                  <a:lnTo>
                    <a:pt x="393" y="482"/>
                  </a:lnTo>
                  <a:lnTo>
                    <a:pt x="393" y="484"/>
                  </a:lnTo>
                  <a:lnTo>
                    <a:pt x="393" y="484"/>
                  </a:lnTo>
                  <a:lnTo>
                    <a:pt x="393" y="485"/>
                  </a:lnTo>
                  <a:lnTo>
                    <a:pt x="394" y="487"/>
                  </a:lnTo>
                  <a:lnTo>
                    <a:pt x="394" y="489"/>
                  </a:lnTo>
                  <a:lnTo>
                    <a:pt x="395" y="491"/>
                  </a:lnTo>
                  <a:lnTo>
                    <a:pt x="395" y="492"/>
                  </a:lnTo>
                  <a:lnTo>
                    <a:pt x="395" y="492"/>
                  </a:lnTo>
                  <a:lnTo>
                    <a:pt x="395" y="493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3" y="495"/>
                  </a:lnTo>
                  <a:lnTo>
                    <a:pt x="393" y="495"/>
                  </a:lnTo>
                  <a:lnTo>
                    <a:pt x="391" y="496"/>
                  </a:lnTo>
                  <a:lnTo>
                    <a:pt x="390" y="496"/>
                  </a:lnTo>
                  <a:lnTo>
                    <a:pt x="389" y="497"/>
                  </a:lnTo>
                  <a:lnTo>
                    <a:pt x="386" y="498"/>
                  </a:lnTo>
                  <a:lnTo>
                    <a:pt x="385" y="498"/>
                  </a:lnTo>
                  <a:lnTo>
                    <a:pt x="384" y="498"/>
                  </a:lnTo>
                  <a:lnTo>
                    <a:pt x="383" y="499"/>
                  </a:lnTo>
                  <a:lnTo>
                    <a:pt x="381" y="500"/>
                  </a:lnTo>
                  <a:lnTo>
                    <a:pt x="379" y="502"/>
                  </a:lnTo>
                  <a:lnTo>
                    <a:pt x="376" y="504"/>
                  </a:lnTo>
                  <a:lnTo>
                    <a:pt x="375" y="505"/>
                  </a:lnTo>
                  <a:lnTo>
                    <a:pt x="374" y="507"/>
                  </a:lnTo>
                  <a:lnTo>
                    <a:pt x="373" y="508"/>
                  </a:lnTo>
                  <a:lnTo>
                    <a:pt x="372" y="509"/>
                  </a:lnTo>
                  <a:lnTo>
                    <a:pt x="371" y="511"/>
                  </a:lnTo>
                  <a:lnTo>
                    <a:pt x="370" y="511"/>
                  </a:lnTo>
                  <a:lnTo>
                    <a:pt x="370" y="512"/>
                  </a:lnTo>
                  <a:lnTo>
                    <a:pt x="369" y="512"/>
                  </a:lnTo>
                  <a:lnTo>
                    <a:pt x="369" y="512"/>
                  </a:lnTo>
                  <a:lnTo>
                    <a:pt x="369" y="512"/>
                  </a:lnTo>
                  <a:lnTo>
                    <a:pt x="368" y="512"/>
                  </a:lnTo>
                  <a:lnTo>
                    <a:pt x="368" y="512"/>
                  </a:lnTo>
                  <a:lnTo>
                    <a:pt x="368" y="512"/>
                  </a:lnTo>
                  <a:lnTo>
                    <a:pt x="367" y="512"/>
                  </a:lnTo>
                  <a:lnTo>
                    <a:pt x="367" y="512"/>
                  </a:lnTo>
                  <a:lnTo>
                    <a:pt x="365" y="510"/>
                  </a:lnTo>
                  <a:lnTo>
                    <a:pt x="364" y="510"/>
                  </a:lnTo>
                  <a:lnTo>
                    <a:pt x="363" y="509"/>
                  </a:lnTo>
                  <a:lnTo>
                    <a:pt x="361" y="509"/>
                  </a:lnTo>
                  <a:lnTo>
                    <a:pt x="360" y="508"/>
                  </a:lnTo>
                  <a:lnTo>
                    <a:pt x="358" y="508"/>
                  </a:lnTo>
                  <a:lnTo>
                    <a:pt x="357" y="508"/>
                  </a:lnTo>
                  <a:lnTo>
                    <a:pt x="355" y="507"/>
                  </a:lnTo>
                  <a:lnTo>
                    <a:pt x="353" y="507"/>
                  </a:lnTo>
                  <a:lnTo>
                    <a:pt x="353" y="507"/>
                  </a:lnTo>
                  <a:lnTo>
                    <a:pt x="352" y="507"/>
                  </a:lnTo>
                  <a:lnTo>
                    <a:pt x="352" y="506"/>
                  </a:lnTo>
                  <a:lnTo>
                    <a:pt x="351" y="506"/>
                  </a:lnTo>
                  <a:lnTo>
                    <a:pt x="351" y="506"/>
                  </a:lnTo>
                  <a:lnTo>
                    <a:pt x="350" y="505"/>
                  </a:lnTo>
                  <a:lnTo>
                    <a:pt x="350" y="505"/>
                  </a:lnTo>
                  <a:lnTo>
                    <a:pt x="350" y="505"/>
                  </a:lnTo>
                  <a:lnTo>
                    <a:pt x="350" y="504"/>
                  </a:lnTo>
                  <a:lnTo>
                    <a:pt x="350" y="504"/>
                  </a:lnTo>
                  <a:lnTo>
                    <a:pt x="351" y="501"/>
                  </a:lnTo>
                  <a:lnTo>
                    <a:pt x="351" y="500"/>
                  </a:lnTo>
                  <a:lnTo>
                    <a:pt x="351" y="500"/>
                  </a:lnTo>
                  <a:lnTo>
                    <a:pt x="351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48" y="500"/>
                  </a:lnTo>
                  <a:lnTo>
                    <a:pt x="346" y="500"/>
                  </a:lnTo>
                  <a:lnTo>
                    <a:pt x="345" y="500"/>
                  </a:lnTo>
                  <a:lnTo>
                    <a:pt x="343" y="501"/>
                  </a:lnTo>
                  <a:lnTo>
                    <a:pt x="342" y="501"/>
                  </a:lnTo>
                  <a:lnTo>
                    <a:pt x="341" y="501"/>
                  </a:lnTo>
                  <a:lnTo>
                    <a:pt x="339" y="501"/>
                  </a:lnTo>
                  <a:lnTo>
                    <a:pt x="338" y="501"/>
                  </a:lnTo>
                  <a:lnTo>
                    <a:pt x="334" y="500"/>
                  </a:lnTo>
                  <a:lnTo>
                    <a:pt x="332" y="500"/>
                  </a:lnTo>
                  <a:lnTo>
                    <a:pt x="331" y="500"/>
                  </a:lnTo>
                  <a:lnTo>
                    <a:pt x="330" y="499"/>
                  </a:lnTo>
                  <a:lnTo>
                    <a:pt x="329" y="499"/>
                  </a:lnTo>
                  <a:lnTo>
                    <a:pt x="327" y="498"/>
                  </a:lnTo>
                  <a:lnTo>
                    <a:pt x="327" y="498"/>
                  </a:lnTo>
                  <a:lnTo>
                    <a:pt x="326" y="498"/>
                  </a:lnTo>
                  <a:lnTo>
                    <a:pt x="325" y="498"/>
                  </a:lnTo>
                  <a:lnTo>
                    <a:pt x="324" y="497"/>
                  </a:lnTo>
                  <a:lnTo>
                    <a:pt x="322" y="497"/>
                  </a:lnTo>
                  <a:lnTo>
                    <a:pt x="321" y="497"/>
                  </a:lnTo>
                  <a:lnTo>
                    <a:pt x="320" y="497"/>
                  </a:lnTo>
                  <a:lnTo>
                    <a:pt x="320" y="497"/>
                  </a:lnTo>
                  <a:lnTo>
                    <a:pt x="319" y="498"/>
                  </a:lnTo>
                  <a:lnTo>
                    <a:pt x="318" y="498"/>
                  </a:lnTo>
                  <a:lnTo>
                    <a:pt x="317" y="499"/>
                  </a:lnTo>
                  <a:lnTo>
                    <a:pt x="316" y="500"/>
                  </a:lnTo>
                  <a:lnTo>
                    <a:pt x="315" y="500"/>
                  </a:lnTo>
                  <a:lnTo>
                    <a:pt x="315" y="500"/>
                  </a:lnTo>
                  <a:lnTo>
                    <a:pt x="314" y="500"/>
                  </a:lnTo>
                  <a:lnTo>
                    <a:pt x="314" y="500"/>
                  </a:lnTo>
                  <a:lnTo>
                    <a:pt x="313" y="500"/>
                  </a:lnTo>
                  <a:lnTo>
                    <a:pt x="312" y="499"/>
                  </a:lnTo>
                  <a:lnTo>
                    <a:pt x="311" y="499"/>
                  </a:lnTo>
                  <a:lnTo>
                    <a:pt x="308" y="496"/>
                  </a:lnTo>
                  <a:lnTo>
                    <a:pt x="307" y="496"/>
                  </a:lnTo>
                  <a:lnTo>
                    <a:pt x="306" y="495"/>
                  </a:lnTo>
                  <a:lnTo>
                    <a:pt x="304" y="495"/>
                  </a:lnTo>
                  <a:lnTo>
                    <a:pt x="303" y="494"/>
                  </a:lnTo>
                  <a:lnTo>
                    <a:pt x="302" y="494"/>
                  </a:lnTo>
                  <a:lnTo>
                    <a:pt x="300" y="492"/>
                  </a:lnTo>
                  <a:lnTo>
                    <a:pt x="299" y="492"/>
                  </a:lnTo>
                  <a:lnTo>
                    <a:pt x="298" y="492"/>
                  </a:lnTo>
                  <a:lnTo>
                    <a:pt x="298" y="492"/>
                  </a:lnTo>
                  <a:lnTo>
                    <a:pt x="297" y="492"/>
                  </a:lnTo>
                  <a:lnTo>
                    <a:pt x="297" y="492"/>
                  </a:lnTo>
                  <a:lnTo>
                    <a:pt x="297" y="493"/>
                  </a:lnTo>
                  <a:lnTo>
                    <a:pt x="297" y="493"/>
                  </a:lnTo>
                  <a:lnTo>
                    <a:pt x="297" y="493"/>
                  </a:lnTo>
                  <a:lnTo>
                    <a:pt x="297" y="494"/>
                  </a:lnTo>
                  <a:lnTo>
                    <a:pt x="297" y="496"/>
                  </a:lnTo>
                  <a:lnTo>
                    <a:pt x="297" y="497"/>
                  </a:lnTo>
                  <a:lnTo>
                    <a:pt x="297" y="497"/>
                  </a:lnTo>
                  <a:lnTo>
                    <a:pt x="297" y="498"/>
                  </a:lnTo>
                  <a:lnTo>
                    <a:pt x="297" y="498"/>
                  </a:lnTo>
                  <a:lnTo>
                    <a:pt x="296" y="498"/>
                  </a:lnTo>
                  <a:lnTo>
                    <a:pt x="296" y="498"/>
                  </a:lnTo>
                  <a:lnTo>
                    <a:pt x="296" y="498"/>
                  </a:lnTo>
                  <a:lnTo>
                    <a:pt x="294" y="498"/>
                  </a:lnTo>
                  <a:lnTo>
                    <a:pt x="293" y="498"/>
                  </a:lnTo>
                  <a:lnTo>
                    <a:pt x="292" y="498"/>
                  </a:lnTo>
                  <a:lnTo>
                    <a:pt x="291" y="498"/>
                  </a:lnTo>
                  <a:lnTo>
                    <a:pt x="290" y="499"/>
                  </a:lnTo>
                  <a:lnTo>
                    <a:pt x="289" y="499"/>
                  </a:lnTo>
                  <a:lnTo>
                    <a:pt x="288" y="500"/>
                  </a:lnTo>
                  <a:lnTo>
                    <a:pt x="285" y="502"/>
                  </a:lnTo>
                  <a:lnTo>
                    <a:pt x="285" y="502"/>
                  </a:lnTo>
                  <a:lnTo>
                    <a:pt x="284" y="502"/>
                  </a:lnTo>
                  <a:lnTo>
                    <a:pt x="284" y="503"/>
                  </a:lnTo>
                  <a:lnTo>
                    <a:pt x="282" y="503"/>
                  </a:lnTo>
                  <a:lnTo>
                    <a:pt x="281" y="503"/>
                  </a:lnTo>
                  <a:lnTo>
                    <a:pt x="280" y="503"/>
                  </a:lnTo>
                  <a:lnTo>
                    <a:pt x="279" y="503"/>
                  </a:lnTo>
                  <a:lnTo>
                    <a:pt x="277" y="503"/>
                  </a:lnTo>
                  <a:lnTo>
                    <a:pt x="276" y="503"/>
                  </a:lnTo>
                  <a:lnTo>
                    <a:pt x="275" y="502"/>
                  </a:lnTo>
                  <a:lnTo>
                    <a:pt x="275" y="502"/>
                  </a:lnTo>
                  <a:lnTo>
                    <a:pt x="275" y="502"/>
                  </a:lnTo>
                  <a:lnTo>
                    <a:pt x="274" y="502"/>
                  </a:lnTo>
                  <a:lnTo>
                    <a:pt x="274" y="501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3" y="498"/>
                  </a:lnTo>
                  <a:lnTo>
                    <a:pt x="272" y="497"/>
                  </a:lnTo>
                  <a:lnTo>
                    <a:pt x="271" y="497"/>
                  </a:lnTo>
                  <a:lnTo>
                    <a:pt x="270" y="496"/>
                  </a:lnTo>
                  <a:lnTo>
                    <a:pt x="270" y="496"/>
                  </a:lnTo>
                  <a:lnTo>
                    <a:pt x="268" y="495"/>
                  </a:lnTo>
                  <a:lnTo>
                    <a:pt x="267" y="494"/>
                  </a:lnTo>
                  <a:lnTo>
                    <a:pt x="265" y="494"/>
                  </a:lnTo>
                  <a:lnTo>
                    <a:pt x="265" y="494"/>
                  </a:lnTo>
                  <a:lnTo>
                    <a:pt x="264" y="493"/>
                  </a:lnTo>
                  <a:lnTo>
                    <a:pt x="264" y="493"/>
                  </a:lnTo>
                  <a:lnTo>
                    <a:pt x="263" y="492"/>
                  </a:lnTo>
                  <a:lnTo>
                    <a:pt x="263" y="492"/>
                  </a:lnTo>
                  <a:lnTo>
                    <a:pt x="262" y="490"/>
                  </a:lnTo>
                  <a:lnTo>
                    <a:pt x="261" y="489"/>
                  </a:lnTo>
                  <a:lnTo>
                    <a:pt x="260" y="489"/>
                  </a:lnTo>
                  <a:lnTo>
                    <a:pt x="259" y="488"/>
                  </a:lnTo>
                  <a:lnTo>
                    <a:pt x="258" y="487"/>
                  </a:lnTo>
                  <a:lnTo>
                    <a:pt x="257" y="487"/>
                  </a:lnTo>
                  <a:lnTo>
                    <a:pt x="255" y="486"/>
                  </a:lnTo>
                  <a:lnTo>
                    <a:pt x="254" y="486"/>
                  </a:lnTo>
                  <a:lnTo>
                    <a:pt x="254" y="486"/>
                  </a:lnTo>
                  <a:lnTo>
                    <a:pt x="253" y="486"/>
                  </a:lnTo>
                  <a:lnTo>
                    <a:pt x="252" y="486"/>
                  </a:lnTo>
                  <a:lnTo>
                    <a:pt x="251" y="486"/>
                  </a:lnTo>
                  <a:lnTo>
                    <a:pt x="249" y="487"/>
                  </a:lnTo>
                  <a:lnTo>
                    <a:pt x="246" y="488"/>
                  </a:lnTo>
                  <a:lnTo>
                    <a:pt x="245" y="488"/>
                  </a:lnTo>
                  <a:lnTo>
                    <a:pt x="244" y="488"/>
                  </a:lnTo>
                  <a:lnTo>
                    <a:pt x="244" y="489"/>
                  </a:lnTo>
                  <a:lnTo>
                    <a:pt x="243" y="490"/>
                  </a:lnTo>
                  <a:lnTo>
                    <a:pt x="243" y="490"/>
                  </a:lnTo>
                  <a:lnTo>
                    <a:pt x="242" y="492"/>
                  </a:lnTo>
                  <a:lnTo>
                    <a:pt x="241" y="494"/>
                  </a:lnTo>
                  <a:lnTo>
                    <a:pt x="240" y="495"/>
                  </a:lnTo>
                  <a:lnTo>
                    <a:pt x="239" y="496"/>
                  </a:lnTo>
                  <a:lnTo>
                    <a:pt x="239" y="498"/>
                  </a:lnTo>
                  <a:lnTo>
                    <a:pt x="238" y="499"/>
                  </a:lnTo>
                  <a:lnTo>
                    <a:pt x="238" y="499"/>
                  </a:lnTo>
                  <a:lnTo>
                    <a:pt x="237" y="499"/>
                  </a:lnTo>
                  <a:lnTo>
                    <a:pt x="237" y="499"/>
                  </a:lnTo>
                  <a:lnTo>
                    <a:pt x="236" y="499"/>
                  </a:lnTo>
                  <a:lnTo>
                    <a:pt x="236" y="499"/>
                  </a:lnTo>
                  <a:lnTo>
                    <a:pt x="234" y="499"/>
                  </a:lnTo>
                  <a:lnTo>
                    <a:pt x="233" y="499"/>
                  </a:lnTo>
                  <a:lnTo>
                    <a:pt x="231" y="499"/>
                  </a:lnTo>
                  <a:lnTo>
                    <a:pt x="228" y="500"/>
                  </a:lnTo>
                  <a:lnTo>
                    <a:pt x="220" y="500"/>
                  </a:lnTo>
                  <a:lnTo>
                    <a:pt x="219" y="500"/>
                  </a:lnTo>
                  <a:lnTo>
                    <a:pt x="215" y="500"/>
                  </a:lnTo>
                  <a:lnTo>
                    <a:pt x="214" y="500"/>
                  </a:lnTo>
                  <a:lnTo>
                    <a:pt x="213" y="500"/>
                  </a:lnTo>
                  <a:lnTo>
                    <a:pt x="211" y="501"/>
                  </a:lnTo>
                  <a:lnTo>
                    <a:pt x="210" y="501"/>
                  </a:lnTo>
                  <a:lnTo>
                    <a:pt x="208" y="501"/>
                  </a:lnTo>
                  <a:lnTo>
                    <a:pt x="206" y="501"/>
                  </a:lnTo>
                  <a:lnTo>
                    <a:pt x="206" y="501"/>
                  </a:lnTo>
                  <a:lnTo>
                    <a:pt x="205" y="501"/>
                  </a:lnTo>
                  <a:lnTo>
                    <a:pt x="204" y="501"/>
                  </a:lnTo>
                  <a:lnTo>
                    <a:pt x="203" y="501"/>
                  </a:lnTo>
                  <a:lnTo>
                    <a:pt x="202" y="502"/>
                  </a:lnTo>
                  <a:lnTo>
                    <a:pt x="200" y="501"/>
                  </a:lnTo>
                  <a:lnTo>
                    <a:pt x="200" y="501"/>
                  </a:lnTo>
                  <a:lnTo>
                    <a:pt x="199" y="501"/>
                  </a:lnTo>
                  <a:lnTo>
                    <a:pt x="198" y="501"/>
                  </a:lnTo>
                  <a:lnTo>
                    <a:pt x="197" y="500"/>
                  </a:lnTo>
                  <a:lnTo>
                    <a:pt x="197" y="500"/>
                  </a:lnTo>
                  <a:lnTo>
                    <a:pt x="196" y="499"/>
                  </a:lnTo>
                  <a:lnTo>
                    <a:pt x="196" y="499"/>
                  </a:lnTo>
                  <a:lnTo>
                    <a:pt x="195" y="498"/>
                  </a:lnTo>
                  <a:lnTo>
                    <a:pt x="195" y="498"/>
                  </a:lnTo>
                  <a:lnTo>
                    <a:pt x="195" y="497"/>
                  </a:lnTo>
                  <a:lnTo>
                    <a:pt x="195" y="496"/>
                  </a:lnTo>
                  <a:lnTo>
                    <a:pt x="195" y="495"/>
                  </a:lnTo>
                  <a:lnTo>
                    <a:pt x="195" y="493"/>
                  </a:lnTo>
                  <a:lnTo>
                    <a:pt x="195" y="489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2" y="487"/>
                  </a:lnTo>
                  <a:lnTo>
                    <a:pt x="190" y="488"/>
                  </a:lnTo>
                  <a:lnTo>
                    <a:pt x="189" y="488"/>
                  </a:lnTo>
                  <a:lnTo>
                    <a:pt x="188" y="489"/>
                  </a:lnTo>
                  <a:lnTo>
                    <a:pt x="185" y="490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80" y="493"/>
                  </a:lnTo>
                  <a:lnTo>
                    <a:pt x="180" y="493"/>
                  </a:lnTo>
                  <a:lnTo>
                    <a:pt x="179" y="494"/>
                  </a:lnTo>
                  <a:lnTo>
                    <a:pt x="179" y="494"/>
                  </a:lnTo>
                  <a:lnTo>
                    <a:pt x="179" y="495"/>
                  </a:lnTo>
                  <a:lnTo>
                    <a:pt x="178" y="497"/>
                  </a:lnTo>
                  <a:lnTo>
                    <a:pt x="177" y="499"/>
                  </a:lnTo>
                  <a:lnTo>
                    <a:pt x="176" y="500"/>
                  </a:lnTo>
                  <a:lnTo>
                    <a:pt x="176" y="501"/>
                  </a:lnTo>
                  <a:lnTo>
                    <a:pt x="175" y="502"/>
                  </a:lnTo>
                  <a:lnTo>
                    <a:pt x="175" y="503"/>
                  </a:lnTo>
                  <a:lnTo>
                    <a:pt x="174" y="503"/>
                  </a:lnTo>
                  <a:lnTo>
                    <a:pt x="174" y="504"/>
                  </a:lnTo>
                  <a:lnTo>
                    <a:pt x="173" y="504"/>
                  </a:lnTo>
                  <a:lnTo>
                    <a:pt x="173" y="504"/>
                  </a:lnTo>
                  <a:lnTo>
                    <a:pt x="171" y="505"/>
                  </a:lnTo>
                  <a:lnTo>
                    <a:pt x="171" y="505"/>
                  </a:lnTo>
                  <a:lnTo>
                    <a:pt x="170" y="505"/>
                  </a:lnTo>
                  <a:lnTo>
                    <a:pt x="168" y="507"/>
                  </a:lnTo>
                  <a:lnTo>
                    <a:pt x="167" y="507"/>
                  </a:lnTo>
                  <a:lnTo>
                    <a:pt x="166" y="508"/>
                  </a:lnTo>
                  <a:lnTo>
                    <a:pt x="166" y="508"/>
                  </a:lnTo>
                  <a:lnTo>
                    <a:pt x="165" y="508"/>
                  </a:lnTo>
                  <a:lnTo>
                    <a:pt x="164" y="508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59" y="509"/>
                  </a:lnTo>
                  <a:lnTo>
                    <a:pt x="158" y="510"/>
                  </a:lnTo>
                  <a:lnTo>
                    <a:pt x="157" y="510"/>
                  </a:lnTo>
                  <a:lnTo>
                    <a:pt x="155" y="511"/>
                  </a:lnTo>
                  <a:lnTo>
                    <a:pt x="155" y="512"/>
                  </a:lnTo>
                  <a:lnTo>
                    <a:pt x="154" y="512"/>
                  </a:lnTo>
                  <a:lnTo>
                    <a:pt x="153" y="513"/>
                  </a:lnTo>
                  <a:lnTo>
                    <a:pt x="152" y="513"/>
                  </a:lnTo>
                  <a:lnTo>
                    <a:pt x="151" y="513"/>
                  </a:lnTo>
                  <a:lnTo>
                    <a:pt x="150" y="513"/>
                  </a:lnTo>
                  <a:lnTo>
                    <a:pt x="149" y="513"/>
                  </a:lnTo>
                  <a:lnTo>
                    <a:pt x="148" y="512"/>
                  </a:lnTo>
                  <a:lnTo>
                    <a:pt x="147" y="512"/>
                  </a:lnTo>
                  <a:lnTo>
                    <a:pt x="147" y="512"/>
                  </a:lnTo>
                  <a:lnTo>
                    <a:pt x="145" y="511"/>
                  </a:lnTo>
                  <a:lnTo>
                    <a:pt x="144" y="511"/>
                  </a:lnTo>
                  <a:lnTo>
                    <a:pt x="144" y="510"/>
                  </a:lnTo>
                  <a:lnTo>
                    <a:pt x="143" y="510"/>
                  </a:lnTo>
                  <a:lnTo>
                    <a:pt x="143" y="509"/>
                  </a:lnTo>
                  <a:lnTo>
                    <a:pt x="142" y="509"/>
                  </a:lnTo>
                  <a:lnTo>
                    <a:pt x="142" y="509"/>
                  </a:lnTo>
                  <a:lnTo>
                    <a:pt x="140" y="508"/>
                  </a:lnTo>
                  <a:lnTo>
                    <a:pt x="140" y="507"/>
                  </a:lnTo>
                  <a:lnTo>
                    <a:pt x="137" y="506"/>
                  </a:lnTo>
                  <a:lnTo>
                    <a:pt x="137" y="505"/>
                  </a:lnTo>
                  <a:lnTo>
                    <a:pt x="136" y="505"/>
                  </a:lnTo>
                  <a:lnTo>
                    <a:pt x="136" y="505"/>
                  </a:lnTo>
                  <a:lnTo>
                    <a:pt x="135" y="505"/>
                  </a:lnTo>
                  <a:lnTo>
                    <a:pt x="134" y="505"/>
                  </a:lnTo>
                  <a:lnTo>
                    <a:pt x="133" y="505"/>
                  </a:lnTo>
                  <a:lnTo>
                    <a:pt x="132" y="505"/>
                  </a:lnTo>
                  <a:lnTo>
                    <a:pt x="130" y="507"/>
                  </a:lnTo>
                  <a:lnTo>
                    <a:pt x="129" y="507"/>
                  </a:lnTo>
                  <a:lnTo>
                    <a:pt x="128" y="507"/>
                  </a:lnTo>
                  <a:lnTo>
                    <a:pt x="128" y="508"/>
                  </a:lnTo>
                  <a:lnTo>
                    <a:pt x="127" y="508"/>
                  </a:lnTo>
                  <a:lnTo>
                    <a:pt x="127" y="508"/>
                  </a:lnTo>
                  <a:lnTo>
                    <a:pt x="126" y="507"/>
                  </a:lnTo>
                  <a:lnTo>
                    <a:pt x="125" y="507"/>
                  </a:lnTo>
                  <a:lnTo>
                    <a:pt x="125" y="507"/>
                  </a:lnTo>
                  <a:lnTo>
                    <a:pt x="124" y="507"/>
                  </a:lnTo>
                  <a:lnTo>
                    <a:pt x="122" y="505"/>
                  </a:lnTo>
                  <a:lnTo>
                    <a:pt x="122" y="504"/>
                  </a:lnTo>
                  <a:lnTo>
                    <a:pt x="121" y="504"/>
                  </a:lnTo>
                  <a:lnTo>
                    <a:pt x="121" y="504"/>
                  </a:lnTo>
                  <a:lnTo>
                    <a:pt x="120" y="504"/>
                  </a:lnTo>
                  <a:lnTo>
                    <a:pt x="120" y="504"/>
                  </a:lnTo>
                  <a:lnTo>
                    <a:pt x="119" y="504"/>
                  </a:lnTo>
                  <a:lnTo>
                    <a:pt x="119" y="504"/>
                  </a:lnTo>
                  <a:lnTo>
                    <a:pt x="117" y="505"/>
                  </a:lnTo>
                  <a:lnTo>
                    <a:pt x="115" y="506"/>
                  </a:lnTo>
                  <a:lnTo>
                    <a:pt x="112" y="507"/>
                  </a:lnTo>
                  <a:lnTo>
                    <a:pt x="109" y="508"/>
                  </a:lnTo>
                  <a:lnTo>
                    <a:pt x="108" y="508"/>
                  </a:lnTo>
                  <a:lnTo>
                    <a:pt x="106" y="508"/>
                  </a:lnTo>
                  <a:lnTo>
                    <a:pt x="105" y="508"/>
                  </a:lnTo>
                  <a:lnTo>
                    <a:pt x="105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7"/>
                  </a:lnTo>
                  <a:lnTo>
                    <a:pt x="104" y="506"/>
                  </a:lnTo>
                  <a:lnTo>
                    <a:pt x="104" y="505"/>
                  </a:lnTo>
                  <a:lnTo>
                    <a:pt x="104" y="503"/>
                  </a:lnTo>
                  <a:lnTo>
                    <a:pt x="104" y="502"/>
                  </a:lnTo>
                  <a:lnTo>
                    <a:pt x="104" y="501"/>
                  </a:lnTo>
                  <a:lnTo>
                    <a:pt x="104" y="500"/>
                  </a:lnTo>
                  <a:lnTo>
                    <a:pt x="104" y="499"/>
                  </a:lnTo>
                  <a:lnTo>
                    <a:pt x="103" y="497"/>
                  </a:lnTo>
                  <a:lnTo>
                    <a:pt x="103" y="496"/>
                  </a:lnTo>
                  <a:lnTo>
                    <a:pt x="103" y="495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1" y="493"/>
                  </a:lnTo>
                  <a:lnTo>
                    <a:pt x="100" y="492"/>
                  </a:lnTo>
                  <a:lnTo>
                    <a:pt x="99" y="492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7" y="490"/>
                  </a:lnTo>
                  <a:lnTo>
                    <a:pt x="97" y="490"/>
                  </a:lnTo>
                  <a:lnTo>
                    <a:pt x="97" y="489"/>
                  </a:lnTo>
                  <a:lnTo>
                    <a:pt x="97" y="489"/>
                  </a:lnTo>
                  <a:lnTo>
                    <a:pt x="97" y="485"/>
                  </a:lnTo>
                  <a:lnTo>
                    <a:pt x="97" y="484"/>
                  </a:lnTo>
                  <a:lnTo>
                    <a:pt x="97" y="481"/>
                  </a:lnTo>
                  <a:lnTo>
                    <a:pt x="98" y="478"/>
                  </a:lnTo>
                  <a:lnTo>
                    <a:pt x="98" y="476"/>
                  </a:lnTo>
                  <a:lnTo>
                    <a:pt x="98" y="474"/>
                  </a:lnTo>
                  <a:lnTo>
                    <a:pt x="99" y="471"/>
                  </a:lnTo>
                  <a:lnTo>
                    <a:pt x="99" y="469"/>
                  </a:lnTo>
                  <a:lnTo>
                    <a:pt x="99" y="468"/>
                  </a:lnTo>
                  <a:lnTo>
                    <a:pt x="99" y="466"/>
                  </a:lnTo>
                  <a:lnTo>
                    <a:pt x="99" y="464"/>
                  </a:lnTo>
                  <a:lnTo>
                    <a:pt x="99" y="462"/>
                  </a:lnTo>
                  <a:lnTo>
                    <a:pt x="99" y="461"/>
                  </a:lnTo>
                  <a:lnTo>
                    <a:pt x="99" y="460"/>
                  </a:lnTo>
                  <a:lnTo>
                    <a:pt x="99" y="460"/>
                  </a:lnTo>
                  <a:lnTo>
                    <a:pt x="98" y="459"/>
                  </a:lnTo>
                  <a:lnTo>
                    <a:pt x="98" y="459"/>
                  </a:lnTo>
                  <a:lnTo>
                    <a:pt x="98" y="458"/>
                  </a:lnTo>
                  <a:lnTo>
                    <a:pt x="97" y="458"/>
                  </a:lnTo>
                  <a:lnTo>
                    <a:pt x="96" y="457"/>
                  </a:lnTo>
                  <a:lnTo>
                    <a:pt x="95" y="457"/>
                  </a:lnTo>
                  <a:lnTo>
                    <a:pt x="94" y="456"/>
                  </a:lnTo>
                  <a:lnTo>
                    <a:pt x="93" y="456"/>
                  </a:lnTo>
                  <a:lnTo>
                    <a:pt x="92" y="456"/>
                  </a:lnTo>
                  <a:lnTo>
                    <a:pt x="91" y="456"/>
                  </a:lnTo>
                  <a:lnTo>
                    <a:pt x="89" y="456"/>
                  </a:lnTo>
                  <a:lnTo>
                    <a:pt x="88" y="456"/>
                  </a:lnTo>
                  <a:lnTo>
                    <a:pt x="87" y="456"/>
                  </a:lnTo>
                  <a:lnTo>
                    <a:pt x="87" y="456"/>
                  </a:lnTo>
                  <a:lnTo>
                    <a:pt x="87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4"/>
                  </a:lnTo>
                  <a:lnTo>
                    <a:pt x="86" y="453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1"/>
                  </a:lnTo>
                  <a:lnTo>
                    <a:pt x="86" y="451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49"/>
                  </a:lnTo>
                  <a:lnTo>
                    <a:pt x="82" y="449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7"/>
                  </a:lnTo>
                  <a:lnTo>
                    <a:pt x="84" y="447"/>
                  </a:lnTo>
                  <a:lnTo>
                    <a:pt x="85" y="447"/>
                  </a:lnTo>
                  <a:lnTo>
                    <a:pt x="86" y="447"/>
                  </a:lnTo>
                  <a:lnTo>
                    <a:pt x="86" y="447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8" y="445"/>
                  </a:lnTo>
                  <a:lnTo>
                    <a:pt x="88" y="445"/>
                  </a:lnTo>
                  <a:lnTo>
                    <a:pt x="88" y="444"/>
                  </a:lnTo>
                  <a:lnTo>
                    <a:pt x="87" y="443"/>
                  </a:lnTo>
                  <a:lnTo>
                    <a:pt x="87" y="443"/>
                  </a:lnTo>
                  <a:lnTo>
                    <a:pt x="86" y="442"/>
                  </a:lnTo>
                  <a:lnTo>
                    <a:pt x="86" y="441"/>
                  </a:lnTo>
                  <a:lnTo>
                    <a:pt x="84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4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5"/>
                  </a:lnTo>
                  <a:lnTo>
                    <a:pt x="88" y="434"/>
                  </a:lnTo>
                  <a:lnTo>
                    <a:pt x="89" y="433"/>
                  </a:lnTo>
                  <a:lnTo>
                    <a:pt x="90" y="433"/>
                  </a:lnTo>
                  <a:lnTo>
                    <a:pt x="90" y="432"/>
                  </a:lnTo>
                  <a:lnTo>
                    <a:pt x="90" y="432"/>
                  </a:lnTo>
                  <a:lnTo>
                    <a:pt x="91" y="431"/>
                  </a:lnTo>
                  <a:lnTo>
                    <a:pt x="90" y="431"/>
                  </a:lnTo>
                  <a:lnTo>
                    <a:pt x="90" y="431"/>
                  </a:lnTo>
                  <a:lnTo>
                    <a:pt x="90" y="430"/>
                  </a:lnTo>
                  <a:lnTo>
                    <a:pt x="90" y="430"/>
                  </a:lnTo>
                  <a:lnTo>
                    <a:pt x="89" y="430"/>
                  </a:lnTo>
                  <a:lnTo>
                    <a:pt x="89" y="430"/>
                  </a:lnTo>
                  <a:lnTo>
                    <a:pt x="88" y="429"/>
                  </a:lnTo>
                  <a:lnTo>
                    <a:pt x="86" y="429"/>
                  </a:lnTo>
                  <a:lnTo>
                    <a:pt x="85" y="429"/>
                  </a:lnTo>
                  <a:lnTo>
                    <a:pt x="84" y="429"/>
                  </a:lnTo>
                  <a:lnTo>
                    <a:pt x="83" y="429"/>
                  </a:lnTo>
                  <a:lnTo>
                    <a:pt x="81" y="430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8"/>
                  </a:lnTo>
                  <a:lnTo>
                    <a:pt x="78" y="428"/>
                  </a:lnTo>
                  <a:lnTo>
                    <a:pt x="78" y="427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8" y="425"/>
                  </a:lnTo>
                  <a:lnTo>
                    <a:pt x="78" y="424"/>
                  </a:lnTo>
                  <a:lnTo>
                    <a:pt x="79" y="423"/>
                  </a:lnTo>
                  <a:lnTo>
                    <a:pt x="79" y="422"/>
                  </a:lnTo>
                  <a:lnTo>
                    <a:pt x="79" y="421"/>
                  </a:lnTo>
                  <a:lnTo>
                    <a:pt x="80" y="420"/>
                  </a:lnTo>
                  <a:lnTo>
                    <a:pt x="83" y="417"/>
                  </a:lnTo>
                  <a:lnTo>
                    <a:pt x="84" y="415"/>
                  </a:lnTo>
                  <a:lnTo>
                    <a:pt x="84" y="414"/>
                  </a:lnTo>
                  <a:lnTo>
                    <a:pt x="85" y="414"/>
                  </a:lnTo>
                  <a:lnTo>
                    <a:pt x="86" y="413"/>
                  </a:lnTo>
                  <a:lnTo>
                    <a:pt x="87" y="412"/>
                  </a:lnTo>
                  <a:lnTo>
                    <a:pt x="88" y="411"/>
                  </a:lnTo>
                  <a:lnTo>
                    <a:pt x="89" y="411"/>
                  </a:lnTo>
                  <a:lnTo>
                    <a:pt x="90" y="410"/>
                  </a:lnTo>
                  <a:lnTo>
                    <a:pt x="92" y="409"/>
                  </a:lnTo>
                  <a:lnTo>
                    <a:pt x="93" y="409"/>
                  </a:lnTo>
                  <a:lnTo>
                    <a:pt x="94" y="408"/>
                  </a:lnTo>
                  <a:lnTo>
                    <a:pt x="95" y="408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7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101" y="410"/>
                  </a:lnTo>
                  <a:lnTo>
                    <a:pt x="102" y="410"/>
                  </a:lnTo>
                  <a:lnTo>
                    <a:pt x="103" y="411"/>
                  </a:lnTo>
                  <a:lnTo>
                    <a:pt x="103" y="411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7" y="409"/>
                  </a:lnTo>
                  <a:lnTo>
                    <a:pt x="108" y="408"/>
                  </a:lnTo>
                  <a:lnTo>
                    <a:pt x="109" y="406"/>
                  </a:lnTo>
                  <a:lnTo>
                    <a:pt x="110" y="405"/>
                  </a:lnTo>
                  <a:lnTo>
                    <a:pt x="111" y="404"/>
                  </a:lnTo>
                  <a:lnTo>
                    <a:pt x="112" y="403"/>
                  </a:lnTo>
                  <a:lnTo>
                    <a:pt x="115" y="400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17" y="398"/>
                  </a:lnTo>
                  <a:lnTo>
                    <a:pt x="117" y="398"/>
                  </a:lnTo>
                  <a:lnTo>
                    <a:pt x="118" y="397"/>
                  </a:lnTo>
                  <a:lnTo>
                    <a:pt x="118" y="397"/>
                  </a:lnTo>
                  <a:lnTo>
                    <a:pt x="118" y="396"/>
                  </a:lnTo>
                  <a:lnTo>
                    <a:pt x="118" y="395"/>
                  </a:lnTo>
                  <a:lnTo>
                    <a:pt x="117" y="395"/>
                  </a:lnTo>
                  <a:lnTo>
                    <a:pt x="117" y="394"/>
                  </a:lnTo>
                  <a:lnTo>
                    <a:pt x="116" y="394"/>
                  </a:lnTo>
                  <a:lnTo>
                    <a:pt x="116" y="393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3" y="392"/>
                  </a:lnTo>
                  <a:lnTo>
                    <a:pt x="113" y="391"/>
                  </a:lnTo>
                  <a:lnTo>
                    <a:pt x="113" y="390"/>
                  </a:lnTo>
                  <a:lnTo>
                    <a:pt x="114" y="388"/>
                  </a:lnTo>
                  <a:lnTo>
                    <a:pt x="114" y="387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5" y="384"/>
                  </a:lnTo>
                  <a:lnTo>
                    <a:pt x="115" y="383"/>
                  </a:lnTo>
                  <a:lnTo>
                    <a:pt x="115" y="380"/>
                  </a:lnTo>
                  <a:lnTo>
                    <a:pt x="115" y="379"/>
                  </a:lnTo>
                  <a:lnTo>
                    <a:pt x="115" y="378"/>
                  </a:lnTo>
                  <a:lnTo>
                    <a:pt x="115" y="377"/>
                  </a:lnTo>
                  <a:lnTo>
                    <a:pt x="115" y="376"/>
                  </a:lnTo>
                  <a:lnTo>
                    <a:pt x="115" y="376"/>
                  </a:lnTo>
                  <a:lnTo>
                    <a:pt x="116" y="373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7" y="369"/>
                  </a:lnTo>
                  <a:lnTo>
                    <a:pt x="117" y="368"/>
                  </a:lnTo>
                  <a:lnTo>
                    <a:pt x="117" y="367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7" y="361"/>
                  </a:lnTo>
                  <a:lnTo>
                    <a:pt x="118" y="356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9" y="351"/>
                  </a:lnTo>
                  <a:lnTo>
                    <a:pt x="120" y="349"/>
                  </a:lnTo>
                  <a:lnTo>
                    <a:pt x="120" y="348"/>
                  </a:lnTo>
                  <a:lnTo>
                    <a:pt x="121" y="347"/>
                  </a:lnTo>
                  <a:lnTo>
                    <a:pt x="121" y="346"/>
                  </a:lnTo>
                  <a:lnTo>
                    <a:pt x="122" y="346"/>
                  </a:lnTo>
                  <a:lnTo>
                    <a:pt x="122" y="345"/>
                  </a:lnTo>
                  <a:lnTo>
                    <a:pt x="124" y="344"/>
                  </a:lnTo>
                  <a:lnTo>
                    <a:pt x="124" y="343"/>
                  </a:lnTo>
                  <a:lnTo>
                    <a:pt x="125" y="343"/>
                  </a:lnTo>
                  <a:lnTo>
                    <a:pt x="125" y="342"/>
                  </a:lnTo>
                  <a:lnTo>
                    <a:pt x="125" y="341"/>
                  </a:lnTo>
                  <a:lnTo>
                    <a:pt x="125" y="341"/>
                  </a:lnTo>
                  <a:lnTo>
                    <a:pt x="125" y="340"/>
                  </a:lnTo>
                  <a:lnTo>
                    <a:pt x="125" y="339"/>
                  </a:lnTo>
                  <a:lnTo>
                    <a:pt x="125" y="335"/>
                  </a:lnTo>
                  <a:lnTo>
                    <a:pt x="125" y="333"/>
                  </a:lnTo>
                  <a:lnTo>
                    <a:pt x="125" y="329"/>
                  </a:lnTo>
                  <a:lnTo>
                    <a:pt x="124" y="326"/>
                  </a:lnTo>
                  <a:lnTo>
                    <a:pt x="124" y="324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8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7"/>
                  </a:lnTo>
                  <a:lnTo>
                    <a:pt x="122" y="317"/>
                  </a:lnTo>
                  <a:lnTo>
                    <a:pt x="116" y="313"/>
                  </a:lnTo>
                  <a:lnTo>
                    <a:pt x="113" y="312"/>
                  </a:lnTo>
                  <a:lnTo>
                    <a:pt x="112" y="311"/>
                  </a:lnTo>
                  <a:lnTo>
                    <a:pt x="110" y="311"/>
                  </a:lnTo>
                  <a:lnTo>
                    <a:pt x="107" y="310"/>
                  </a:lnTo>
                  <a:lnTo>
                    <a:pt x="104" y="309"/>
                  </a:lnTo>
                  <a:lnTo>
                    <a:pt x="104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2" y="308"/>
                  </a:lnTo>
                  <a:lnTo>
                    <a:pt x="102" y="307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1" y="303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0" y="301"/>
                  </a:lnTo>
                  <a:lnTo>
                    <a:pt x="100" y="301"/>
                  </a:lnTo>
                  <a:lnTo>
                    <a:pt x="99" y="300"/>
                  </a:lnTo>
                  <a:lnTo>
                    <a:pt x="98" y="300"/>
                  </a:lnTo>
                  <a:lnTo>
                    <a:pt x="98" y="299"/>
                  </a:lnTo>
                  <a:lnTo>
                    <a:pt x="97" y="299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2" y="298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6"/>
                  </a:lnTo>
                  <a:lnTo>
                    <a:pt x="85" y="294"/>
                  </a:lnTo>
                  <a:lnTo>
                    <a:pt x="83" y="292"/>
                  </a:lnTo>
                  <a:lnTo>
                    <a:pt x="82" y="291"/>
                  </a:lnTo>
                  <a:lnTo>
                    <a:pt x="80" y="289"/>
                  </a:lnTo>
                  <a:lnTo>
                    <a:pt x="78" y="286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0" y="283"/>
                  </a:lnTo>
                  <a:lnTo>
                    <a:pt x="69" y="283"/>
                  </a:lnTo>
                  <a:lnTo>
                    <a:pt x="68" y="283"/>
                  </a:lnTo>
                  <a:lnTo>
                    <a:pt x="65" y="284"/>
                  </a:lnTo>
                  <a:lnTo>
                    <a:pt x="64" y="284"/>
                  </a:lnTo>
                  <a:lnTo>
                    <a:pt x="63" y="285"/>
                  </a:lnTo>
                  <a:lnTo>
                    <a:pt x="61" y="285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7" y="285"/>
                  </a:lnTo>
                  <a:lnTo>
                    <a:pt x="56" y="285"/>
                  </a:lnTo>
                  <a:lnTo>
                    <a:pt x="55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1" y="284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48" y="282"/>
                  </a:lnTo>
                  <a:lnTo>
                    <a:pt x="47" y="281"/>
                  </a:lnTo>
                  <a:lnTo>
                    <a:pt x="44" y="279"/>
                  </a:lnTo>
                  <a:lnTo>
                    <a:pt x="42" y="277"/>
                  </a:lnTo>
                  <a:lnTo>
                    <a:pt x="40" y="276"/>
                  </a:lnTo>
                  <a:lnTo>
                    <a:pt x="37" y="275"/>
                  </a:lnTo>
                  <a:lnTo>
                    <a:pt x="36" y="274"/>
                  </a:lnTo>
                  <a:lnTo>
                    <a:pt x="35" y="273"/>
                  </a:lnTo>
                  <a:lnTo>
                    <a:pt x="34" y="273"/>
                  </a:lnTo>
                  <a:lnTo>
                    <a:pt x="33" y="272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2" y="271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6" y="267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5" y="265"/>
                  </a:lnTo>
                  <a:lnTo>
                    <a:pt x="34" y="264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0" y="263"/>
                  </a:lnTo>
                  <a:lnTo>
                    <a:pt x="19" y="263"/>
                  </a:lnTo>
                  <a:lnTo>
                    <a:pt x="17" y="263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4" y="264"/>
                  </a:lnTo>
                  <a:lnTo>
                    <a:pt x="12" y="264"/>
                  </a:lnTo>
                  <a:lnTo>
                    <a:pt x="10" y="265"/>
                  </a:lnTo>
                  <a:lnTo>
                    <a:pt x="9" y="266"/>
                  </a:lnTo>
                  <a:lnTo>
                    <a:pt x="8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5"/>
                  </a:lnTo>
                  <a:lnTo>
                    <a:pt x="2" y="265"/>
                  </a:lnTo>
                  <a:lnTo>
                    <a:pt x="1" y="265"/>
                  </a:lnTo>
                  <a:lnTo>
                    <a:pt x="1" y="265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1" y="260"/>
                  </a:lnTo>
                  <a:lnTo>
                    <a:pt x="1" y="259"/>
                  </a:lnTo>
                  <a:lnTo>
                    <a:pt x="2" y="257"/>
                  </a:lnTo>
                  <a:lnTo>
                    <a:pt x="3" y="255"/>
                  </a:lnTo>
                  <a:lnTo>
                    <a:pt x="4" y="254"/>
                  </a:lnTo>
                  <a:lnTo>
                    <a:pt x="5" y="252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0"/>
                  </a:lnTo>
                  <a:lnTo>
                    <a:pt x="6" y="249"/>
                  </a:lnTo>
                  <a:lnTo>
                    <a:pt x="6" y="248"/>
                  </a:lnTo>
                  <a:lnTo>
                    <a:pt x="6" y="247"/>
                  </a:lnTo>
                  <a:lnTo>
                    <a:pt x="6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4" y="243"/>
                  </a:lnTo>
                  <a:lnTo>
                    <a:pt x="3" y="242"/>
                  </a:lnTo>
                  <a:lnTo>
                    <a:pt x="2" y="241"/>
                  </a:lnTo>
                  <a:lnTo>
                    <a:pt x="2" y="240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8"/>
                  </a:lnTo>
                  <a:lnTo>
                    <a:pt x="2" y="237"/>
                  </a:lnTo>
                  <a:lnTo>
                    <a:pt x="3" y="237"/>
                  </a:lnTo>
                  <a:lnTo>
                    <a:pt x="4" y="236"/>
                  </a:lnTo>
                  <a:lnTo>
                    <a:pt x="5" y="235"/>
                  </a:lnTo>
                  <a:lnTo>
                    <a:pt x="6" y="234"/>
                  </a:lnTo>
                  <a:lnTo>
                    <a:pt x="7" y="233"/>
                  </a:lnTo>
                  <a:lnTo>
                    <a:pt x="8" y="233"/>
                  </a:lnTo>
                  <a:lnTo>
                    <a:pt x="9" y="232"/>
                  </a:lnTo>
                  <a:lnTo>
                    <a:pt x="10" y="232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3" y="231"/>
                  </a:lnTo>
                  <a:lnTo>
                    <a:pt x="14" y="231"/>
                  </a:lnTo>
                  <a:lnTo>
                    <a:pt x="15" y="231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7" y="231"/>
                  </a:lnTo>
                  <a:lnTo>
                    <a:pt x="17" y="230"/>
                  </a:lnTo>
                  <a:lnTo>
                    <a:pt x="18" y="230"/>
                  </a:lnTo>
                  <a:lnTo>
                    <a:pt x="19" y="228"/>
                  </a:lnTo>
                  <a:lnTo>
                    <a:pt x="19" y="227"/>
                  </a:lnTo>
                  <a:lnTo>
                    <a:pt x="20" y="226"/>
                  </a:lnTo>
                  <a:lnTo>
                    <a:pt x="21" y="224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2" y="223"/>
                  </a:lnTo>
                  <a:lnTo>
                    <a:pt x="22" y="222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6"/>
                  </a:lnTo>
                  <a:lnTo>
                    <a:pt x="26" y="215"/>
                  </a:lnTo>
                  <a:lnTo>
                    <a:pt x="26" y="215"/>
                  </a:lnTo>
                  <a:lnTo>
                    <a:pt x="26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6"/>
                  </a:lnTo>
                  <a:lnTo>
                    <a:pt x="29" y="206"/>
                  </a:lnTo>
                  <a:lnTo>
                    <a:pt x="29" y="205"/>
                  </a:lnTo>
                  <a:lnTo>
                    <a:pt x="31" y="203"/>
                  </a:lnTo>
                  <a:lnTo>
                    <a:pt x="33" y="202"/>
                  </a:lnTo>
                  <a:lnTo>
                    <a:pt x="34" y="201"/>
                  </a:lnTo>
                  <a:lnTo>
                    <a:pt x="36" y="200"/>
                  </a:lnTo>
                  <a:lnTo>
                    <a:pt x="36" y="199"/>
                  </a:lnTo>
                  <a:lnTo>
                    <a:pt x="38" y="198"/>
                  </a:lnTo>
                  <a:lnTo>
                    <a:pt x="40" y="197"/>
                  </a:lnTo>
                  <a:lnTo>
                    <a:pt x="41" y="196"/>
                  </a:lnTo>
                  <a:lnTo>
                    <a:pt x="42" y="195"/>
                  </a:lnTo>
                  <a:lnTo>
                    <a:pt x="43" y="195"/>
                  </a:lnTo>
                  <a:lnTo>
                    <a:pt x="44" y="194"/>
                  </a:lnTo>
                  <a:lnTo>
                    <a:pt x="45" y="194"/>
                  </a:lnTo>
                  <a:lnTo>
                    <a:pt x="47" y="194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51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4"/>
                  </a:lnTo>
                  <a:lnTo>
                    <a:pt x="57" y="193"/>
                  </a:lnTo>
                  <a:lnTo>
                    <a:pt x="59" y="193"/>
                  </a:lnTo>
                  <a:lnTo>
                    <a:pt x="60" y="192"/>
                  </a:lnTo>
                  <a:lnTo>
                    <a:pt x="61" y="192"/>
                  </a:lnTo>
                  <a:lnTo>
                    <a:pt x="62" y="191"/>
                  </a:lnTo>
                  <a:lnTo>
                    <a:pt x="63" y="190"/>
                  </a:lnTo>
                  <a:lnTo>
                    <a:pt x="64" y="190"/>
                  </a:lnTo>
                  <a:lnTo>
                    <a:pt x="65" y="188"/>
                  </a:lnTo>
                  <a:lnTo>
                    <a:pt x="66" y="18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9" y="184"/>
                  </a:lnTo>
                  <a:lnTo>
                    <a:pt x="72" y="182"/>
                  </a:lnTo>
                  <a:lnTo>
                    <a:pt x="76" y="178"/>
                  </a:lnTo>
                  <a:lnTo>
                    <a:pt x="77" y="177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2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4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7" y="178"/>
                  </a:lnTo>
                  <a:lnTo>
                    <a:pt x="99" y="178"/>
                  </a:lnTo>
                  <a:lnTo>
                    <a:pt x="100" y="178"/>
                  </a:lnTo>
                  <a:lnTo>
                    <a:pt x="101" y="178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1" y="173"/>
                  </a:lnTo>
                  <a:lnTo>
                    <a:pt x="111" y="173"/>
                  </a:lnTo>
                  <a:lnTo>
                    <a:pt x="113" y="172"/>
                  </a:lnTo>
                  <a:lnTo>
                    <a:pt x="113" y="171"/>
                  </a:lnTo>
                  <a:lnTo>
                    <a:pt x="115" y="170"/>
                  </a:lnTo>
                  <a:lnTo>
                    <a:pt x="118" y="167"/>
                  </a:lnTo>
                  <a:lnTo>
                    <a:pt x="119" y="166"/>
                  </a:lnTo>
                  <a:lnTo>
                    <a:pt x="120" y="165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3"/>
                  </a:lnTo>
                  <a:lnTo>
                    <a:pt x="123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7" y="164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69"/>
                  </a:lnTo>
                  <a:lnTo>
                    <a:pt x="136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8" y="167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2" y="162"/>
                  </a:lnTo>
                  <a:lnTo>
                    <a:pt x="143" y="161"/>
                  </a:lnTo>
                  <a:lnTo>
                    <a:pt x="144" y="161"/>
                  </a:lnTo>
                  <a:lnTo>
                    <a:pt x="145" y="160"/>
                  </a:lnTo>
                  <a:lnTo>
                    <a:pt x="146" y="159"/>
                  </a:lnTo>
                  <a:lnTo>
                    <a:pt x="147" y="159"/>
                  </a:lnTo>
                  <a:lnTo>
                    <a:pt x="147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1" y="157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6"/>
                  </a:lnTo>
                  <a:lnTo>
                    <a:pt x="157" y="155"/>
                  </a:lnTo>
                  <a:lnTo>
                    <a:pt x="158" y="154"/>
                  </a:lnTo>
                  <a:lnTo>
                    <a:pt x="160" y="153"/>
                  </a:lnTo>
                  <a:lnTo>
                    <a:pt x="160" y="153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4" y="150"/>
                  </a:lnTo>
                  <a:lnTo>
                    <a:pt x="164" y="149"/>
                  </a:lnTo>
                  <a:lnTo>
                    <a:pt x="165" y="148"/>
                  </a:lnTo>
                  <a:lnTo>
                    <a:pt x="165" y="147"/>
                  </a:lnTo>
                  <a:lnTo>
                    <a:pt x="166" y="146"/>
                  </a:lnTo>
                  <a:lnTo>
                    <a:pt x="166" y="145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68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4" y="143"/>
                  </a:lnTo>
                  <a:lnTo>
                    <a:pt x="174" y="142"/>
                  </a:lnTo>
                  <a:lnTo>
                    <a:pt x="175" y="142"/>
                  </a:lnTo>
                  <a:lnTo>
                    <a:pt x="175" y="142"/>
                  </a:lnTo>
                  <a:lnTo>
                    <a:pt x="175" y="141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39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6" y="134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1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7" y="129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9" y="127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4" y="125"/>
                  </a:lnTo>
                  <a:lnTo>
                    <a:pt x="185" y="125"/>
                  </a:lnTo>
                  <a:lnTo>
                    <a:pt x="186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4" y="126"/>
                  </a:lnTo>
                  <a:lnTo>
                    <a:pt x="198" y="127"/>
                  </a:lnTo>
                  <a:lnTo>
                    <a:pt x="202" y="128"/>
                  </a:lnTo>
                  <a:lnTo>
                    <a:pt x="205" y="129"/>
                  </a:lnTo>
                  <a:lnTo>
                    <a:pt x="207" y="129"/>
                  </a:lnTo>
                  <a:lnTo>
                    <a:pt x="209" y="129"/>
                  </a:lnTo>
                  <a:lnTo>
                    <a:pt x="215" y="130"/>
                  </a:lnTo>
                  <a:lnTo>
                    <a:pt x="217" y="130"/>
                  </a:lnTo>
                  <a:lnTo>
                    <a:pt x="219" y="130"/>
                  </a:lnTo>
                  <a:lnTo>
                    <a:pt x="222" y="130"/>
                  </a:lnTo>
                  <a:lnTo>
                    <a:pt x="224" y="130"/>
                  </a:lnTo>
                  <a:lnTo>
                    <a:pt x="226" y="130"/>
                  </a:lnTo>
                  <a:lnTo>
                    <a:pt x="228" y="129"/>
                  </a:lnTo>
                  <a:lnTo>
                    <a:pt x="230" y="129"/>
                  </a:lnTo>
                  <a:lnTo>
                    <a:pt x="232" y="129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5" y="127"/>
                  </a:lnTo>
                  <a:lnTo>
                    <a:pt x="236" y="127"/>
                  </a:lnTo>
                  <a:lnTo>
                    <a:pt x="236" y="127"/>
                  </a:lnTo>
                  <a:lnTo>
                    <a:pt x="237" y="127"/>
                  </a:lnTo>
                  <a:lnTo>
                    <a:pt x="239" y="128"/>
                  </a:lnTo>
                  <a:lnTo>
                    <a:pt x="241" y="128"/>
                  </a:lnTo>
                  <a:lnTo>
                    <a:pt x="245" y="129"/>
                  </a:lnTo>
                  <a:lnTo>
                    <a:pt x="248" y="130"/>
                  </a:lnTo>
                  <a:lnTo>
                    <a:pt x="250" y="130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6" y="128"/>
                  </a:lnTo>
                  <a:lnTo>
                    <a:pt x="257" y="127"/>
                  </a:lnTo>
                  <a:lnTo>
                    <a:pt x="259" y="125"/>
                  </a:lnTo>
                  <a:lnTo>
                    <a:pt x="260" y="124"/>
                  </a:lnTo>
                  <a:lnTo>
                    <a:pt x="260" y="124"/>
                  </a:lnTo>
                  <a:lnTo>
                    <a:pt x="261" y="124"/>
                  </a:lnTo>
                  <a:lnTo>
                    <a:pt x="262" y="123"/>
                  </a:lnTo>
                  <a:lnTo>
                    <a:pt x="263" y="123"/>
                  </a:lnTo>
                  <a:lnTo>
                    <a:pt x="264" y="123"/>
                  </a:lnTo>
                  <a:lnTo>
                    <a:pt x="270" y="122"/>
                  </a:lnTo>
                  <a:lnTo>
                    <a:pt x="272" y="121"/>
                  </a:lnTo>
                  <a:lnTo>
                    <a:pt x="276" y="121"/>
                  </a:lnTo>
                  <a:lnTo>
                    <a:pt x="277" y="121"/>
                  </a:lnTo>
                  <a:lnTo>
                    <a:pt x="279" y="121"/>
                  </a:lnTo>
                  <a:lnTo>
                    <a:pt x="280" y="121"/>
                  </a:lnTo>
                  <a:lnTo>
                    <a:pt x="282" y="122"/>
                  </a:lnTo>
                  <a:lnTo>
                    <a:pt x="284" y="122"/>
                  </a:lnTo>
                  <a:lnTo>
                    <a:pt x="284" y="122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0"/>
                  </a:lnTo>
                  <a:lnTo>
                    <a:pt x="288" y="120"/>
                  </a:lnTo>
                  <a:lnTo>
                    <a:pt x="288" y="119"/>
                  </a:lnTo>
                  <a:lnTo>
                    <a:pt x="289" y="118"/>
                  </a:lnTo>
                  <a:lnTo>
                    <a:pt x="289" y="117"/>
                  </a:lnTo>
                  <a:lnTo>
                    <a:pt x="289" y="116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91" y="109"/>
                  </a:lnTo>
                  <a:lnTo>
                    <a:pt x="291" y="108"/>
                  </a:lnTo>
                  <a:lnTo>
                    <a:pt x="291" y="106"/>
                  </a:lnTo>
                  <a:lnTo>
                    <a:pt x="291" y="105"/>
                  </a:lnTo>
                  <a:lnTo>
                    <a:pt x="291" y="104"/>
                  </a:lnTo>
                  <a:lnTo>
                    <a:pt x="291" y="103"/>
                  </a:lnTo>
                  <a:lnTo>
                    <a:pt x="290" y="102"/>
                  </a:lnTo>
                  <a:lnTo>
                    <a:pt x="290" y="99"/>
                  </a:lnTo>
                  <a:lnTo>
                    <a:pt x="289" y="98"/>
                  </a:lnTo>
                  <a:lnTo>
                    <a:pt x="289" y="97"/>
                  </a:lnTo>
                  <a:lnTo>
                    <a:pt x="289" y="96"/>
                  </a:lnTo>
                  <a:lnTo>
                    <a:pt x="289" y="95"/>
                  </a:lnTo>
                  <a:lnTo>
                    <a:pt x="289" y="94"/>
                  </a:lnTo>
                  <a:lnTo>
                    <a:pt x="289" y="93"/>
                  </a:lnTo>
                  <a:lnTo>
                    <a:pt x="289" y="91"/>
                  </a:lnTo>
                  <a:lnTo>
                    <a:pt x="289" y="89"/>
                  </a:lnTo>
                  <a:lnTo>
                    <a:pt x="289" y="88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90" y="86"/>
                  </a:lnTo>
                  <a:lnTo>
                    <a:pt x="291" y="86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7" y="88"/>
                  </a:lnTo>
                  <a:lnTo>
                    <a:pt x="298" y="88"/>
                  </a:lnTo>
                  <a:lnTo>
                    <a:pt x="299" y="88"/>
                  </a:lnTo>
                  <a:lnTo>
                    <a:pt x="300" y="88"/>
                  </a:lnTo>
                  <a:lnTo>
                    <a:pt x="301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3" y="88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3" y="86"/>
                  </a:lnTo>
                  <a:lnTo>
                    <a:pt x="303" y="85"/>
                  </a:lnTo>
                  <a:lnTo>
                    <a:pt x="305" y="83"/>
                  </a:lnTo>
                  <a:lnTo>
                    <a:pt x="306" y="80"/>
                  </a:lnTo>
                  <a:lnTo>
                    <a:pt x="306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8" y="78"/>
                  </a:lnTo>
                  <a:lnTo>
                    <a:pt x="311" y="78"/>
                  </a:lnTo>
                  <a:lnTo>
                    <a:pt x="314" y="77"/>
                  </a:lnTo>
                  <a:lnTo>
                    <a:pt x="316" y="76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7" y="75"/>
                  </a:lnTo>
                  <a:lnTo>
                    <a:pt x="318" y="75"/>
                  </a:lnTo>
                  <a:lnTo>
                    <a:pt x="318" y="75"/>
                  </a:lnTo>
                  <a:lnTo>
                    <a:pt x="318" y="74"/>
                  </a:lnTo>
                  <a:lnTo>
                    <a:pt x="319" y="74"/>
                  </a:lnTo>
                  <a:lnTo>
                    <a:pt x="319" y="73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1"/>
                  </a:lnTo>
                  <a:lnTo>
                    <a:pt x="319" y="70"/>
                  </a:lnTo>
                  <a:lnTo>
                    <a:pt x="319" y="67"/>
                  </a:lnTo>
                  <a:lnTo>
                    <a:pt x="319" y="66"/>
                  </a:lnTo>
                  <a:lnTo>
                    <a:pt x="319" y="64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8" y="58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19" y="55"/>
                  </a:lnTo>
                  <a:lnTo>
                    <a:pt x="319" y="54"/>
                  </a:lnTo>
                  <a:lnTo>
                    <a:pt x="320" y="53"/>
                  </a:lnTo>
                  <a:lnTo>
                    <a:pt x="321" y="53"/>
                  </a:lnTo>
                  <a:lnTo>
                    <a:pt x="321" y="52"/>
                  </a:lnTo>
                  <a:lnTo>
                    <a:pt x="322" y="52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5" y="53"/>
                  </a:lnTo>
                  <a:lnTo>
                    <a:pt x="325" y="53"/>
                  </a:lnTo>
                  <a:lnTo>
                    <a:pt x="326" y="53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7" y="54"/>
                  </a:lnTo>
                  <a:lnTo>
                    <a:pt x="328" y="54"/>
                  </a:lnTo>
                  <a:lnTo>
                    <a:pt x="328" y="53"/>
                  </a:lnTo>
                  <a:lnTo>
                    <a:pt x="329" y="53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2" y="51"/>
                  </a:lnTo>
                  <a:lnTo>
                    <a:pt x="333" y="51"/>
                  </a:lnTo>
                  <a:lnTo>
                    <a:pt x="334" y="51"/>
                  </a:lnTo>
                  <a:lnTo>
                    <a:pt x="335" y="51"/>
                  </a:lnTo>
                  <a:lnTo>
                    <a:pt x="335" y="52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0" y="53"/>
                  </a:lnTo>
                  <a:lnTo>
                    <a:pt x="340" y="53"/>
                  </a:lnTo>
                  <a:lnTo>
                    <a:pt x="341" y="53"/>
                  </a:lnTo>
                  <a:lnTo>
                    <a:pt x="341" y="53"/>
                  </a:lnTo>
                  <a:lnTo>
                    <a:pt x="342" y="53"/>
                  </a:lnTo>
                  <a:lnTo>
                    <a:pt x="343" y="53"/>
                  </a:lnTo>
                  <a:lnTo>
                    <a:pt x="344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7" y="51"/>
                  </a:lnTo>
                  <a:lnTo>
                    <a:pt x="348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49" y="51"/>
                  </a:lnTo>
                  <a:lnTo>
                    <a:pt x="350" y="51"/>
                  </a:lnTo>
                  <a:lnTo>
                    <a:pt x="350" y="52"/>
                  </a:lnTo>
                  <a:lnTo>
                    <a:pt x="350" y="52"/>
                  </a:lnTo>
                  <a:lnTo>
                    <a:pt x="350" y="53"/>
                  </a:lnTo>
                  <a:lnTo>
                    <a:pt x="351" y="54"/>
                  </a:lnTo>
                  <a:lnTo>
                    <a:pt x="351" y="55"/>
                  </a:lnTo>
                  <a:lnTo>
                    <a:pt x="352" y="57"/>
                  </a:lnTo>
                  <a:lnTo>
                    <a:pt x="352" y="59"/>
                  </a:lnTo>
                  <a:lnTo>
                    <a:pt x="352" y="60"/>
                  </a:lnTo>
                  <a:lnTo>
                    <a:pt x="353" y="61"/>
                  </a:lnTo>
                  <a:lnTo>
                    <a:pt x="353" y="62"/>
                  </a:lnTo>
                  <a:lnTo>
                    <a:pt x="353" y="62"/>
                  </a:lnTo>
                  <a:lnTo>
                    <a:pt x="354" y="63"/>
                  </a:lnTo>
                  <a:lnTo>
                    <a:pt x="354" y="63"/>
                  </a:lnTo>
                  <a:lnTo>
                    <a:pt x="355" y="64"/>
                  </a:lnTo>
                  <a:lnTo>
                    <a:pt x="355" y="64"/>
                  </a:lnTo>
                  <a:lnTo>
                    <a:pt x="356" y="64"/>
                  </a:lnTo>
                  <a:lnTo>
                    <a:pt x="356" y="65"/>
                  </a:lnTo>
                  <a:lnTo>
                    <a:pt x="357" y="65"/>
                  </a:lnTo>
                  <a:lnTo>
                    <a:pt x="358" y="65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7" y="63"/>
                  </a:lnTo>
                  <a:lnTo>
                    <a:pt x="368" y="62"/>
                  </a:lnTo>
                  <a:lnTo>
                    <a:pt x="369" y="62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81" y="61"/>
                  </a:lnTo>
                  <a:lnTo>
                    <a:pt x="382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6" y="58"/>
                  </a:lnTo>
                  <a:lnTo>
                    <a:pt x="389" y="56"/>
                  </a:lnTo>
                  <a:lnTo>
                    <a:pt x="391" y="55"/>
                  </a:lnTo>
                  <a:lnTo>
                    <a:pt x="391" y="54"/>
                  </a:lnTo>
                  <a:lnTo>
                    <a:pt x="392" y="53"/>
                  </a:lnTo>
                  <a:lnTo>
                    <a:pt x="393" y="52"/>
                  </a:lnTo>
                  <a:lnTo>
                    <a:pt x="395" y="49"/>
                  </a:lnTo>
                  <a:lnTo>
                    <a:pt x="395" y="49"/>
                  </a:lnTo>
                  <a:lnTo>
                    <a:pt x="396" y="48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9" y="46"/>
                  </a:lnTo>
                  <a:lnTo>
                    <a:pt x="400" y="45"/>
                  </a:lnTo>
                  <a:lnTo>
                    <a:pt x="400" y="44"/>
                  </a:lnTo>
                  <a:lnTo>
                    <a:pt x="401" y="44"/>
                  </a:lnTo>
                  <a:lnTo>
                    <a:pt x="401" y="43"/>
                  </a:lnTo>
                  <a:lnTo>
                    <a:pt x="402" y="42"/>
                  </a:lnTo>
                  <a:lnTo>
                    <a:pt x="402" y="41"/>
                  </a:lnTo>
                  <a:lnTo>
                    <a:pt x="402" y="40"/>
                  </a:lnTo>
                  <a:lnTo>
                    <a:pt x="403" y="39"/>
                  </a:lnTo>
                  <a:lnTo>
                    <a:pt x="403" y="35"/>
                  </a:lnTo>
                  <a:lnTo>
                    <a:pt x="403" y="34"/>
                  </a:lnTo>
                  <a:lnTo>
                    <a:pt x="403" y="33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1"/>
                  </a:lnTo>
                  <a:lnTo>
                    <a:pt x="406" y="31"/>
                  </a:lnTo>
                  <a:lnTo>
                    <a:pt x="407" y="30"/>
                  </a:lnTo>
                  <a:lnTo>
                    <a:pt x="407" y="30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1" y="30"/>
                  </a:lnTo>
                  <a:lnTo>
                    <a:pt x="413" y="31"/>
                  </a:lnTo>
                  <a:lnTo>
                    <a:pt x="415" y="31"/>
                  </a:lnTo>
                  <a:lnTo>
                    <a:pt x="417" y="32"/>
                  </a:lnTo>
                  <a:lnTo>
                    <a:pt x="420" y="33"/>
                  </a:lnTo>
                  <a:lnTo>
                    <a:pt x="422" y="33"/>
                  </a:lnTo>
                  <a:lnTo>
                    <a:pt x="423" y="33"/>
                  </a:lnTo>
                  <a:lnTo>
                    <a:pt x="423" y="33"/>
                  </a:lnTo>
                  <a:lnTo>
                    <a:pt x="424" y="33"/>
                  </a:lnTo>
                  <a:lnTo>
                    <a:pt x="425" y="33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29" y="31"/>
                  </a:lnTo>
                  <a:lnTo>
                    <a:pt x="430" y="31"/>
                  </a:lnTo>
                  <a:lnTo>
                    <a:pt x="430" y="30"/>
                  </a:lnTo>
                  <a:lnTo>
                    <a:pt x="431" y="29"/>
                  </a:lnTo>
                  <a:lnTo>
                    <a:pt x="431" y="29"/>
                  </a:lnTo>
                  <a:lnTo>
                    <a:pt x="432" y="28"/>
                  </a:lnTo>
                  <a:lnTo>
                    <a:pt x="432" y="28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3" y="24"/>
                  </a:lnTo>
                  <a:lnTo>
                    <a:pt x="433" y="23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4" y="22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7" y="20"/>
                  </a:lnTo>
                  <a:lnTo>
                    <a:pt x="437" y="19"/>
                  </a:lnTo>
                  <a:lnTo>
                    <a:pt x="439" y="18"/>
                  </a:lnTo>
                  <a:lnTo>
                    <a:pt x="443" y="16"/>
                  </a:lnTo>
                  <a:lnTo>
                    <a:pt x="444" y="16"/>
                  </a:lnTo>
                  <a:lnTo>
                    <a:pt x="445" y="15"/>
                  </a:lnTo>
                  <a:lnTo>
                    <a:pt x="445" y="15"/>
                  </a:lnTo>
                  <a:lnTo>
                    <a:pt x="446" y="14"/>
                  </a:lnTo>
                  <a:lnTo>
                    <a:pt x="446" y="14"/>
                  </a:lnTo>
                  <a:lnTo>
                    <a:pt x="447" y="13"/>
                  </a:lnTo>
                  <a:lnTo>
                    <a:pt x="447" y="12"/>
                  </a:lnTo>
                  <a:lnTo>
                    <a:pt x="447" y="11"/>
                  </a:lnTo>
                  <a:lnTo>
                    <a:pt x="447" y="9"/>
                  </a:lnTo>
                  <a:lnTo>
                    <a:pt x="447" y="8"/>
                  </a:lnTo>
                  <a:lnTo>
                    <a:pt x="448" y="6"/>
                  </a:lnTo>
                  <a:lnTo>
                    <a:pt x="449" y="4"/>
                  </a:lnTo>
                  <a:lnTo>
                    <a:pt x="450" y="3"/>
                  </a:lnTo>
                  <a:lnTo>
                    <a:pt x="45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1" y="0"/>
                  </a:lnTo>
                  <a:lnTo>
                    <a:pt x="451" y="0"/>
                  </a:lnTo>
                  <a:close/>
                  <a:moveTo>
                    <a:pt x="335" y="203"/>
                  </a:moveTo>
                  <a:lnTo>
                    <a:pt x="335" y="204"/>
                  </a:lnTo>
                  <a:lnTo>
                    <a:pt x="334" y="204"/>
                  </a:lnTo>
                  <a:lnTo>
                    <a:pt x="332" y="204"/>
                  </a:lnTo>
                  <a:lnTo>
                    <a:pt x="327" y="205"/>
                  </a:lnTo>
                  <a:lnTo>
                    <a:pt x="325" y="206"/>
                  </a:lnTo>
                  <a:lnTo>
                    <a:pt x="323" y="206"/>
                  </a:lnTo>
                  <a:lnTo>
                    <a:pt x="321" y="207"/>
                  </a:lnTo>
                  <a:lnTo>
                    <a:pt x="319" y="208"/>
                  </a:lnTo>
                  <a:lnTo>
                    <a:pt x="318" y="208"/>
                  </a:lnTo>
                  <a:lnTo>
                    <a:pt x="315" y="210"/>
                  </a:lnTo>
                  <a:lnTo>
                    <a:pt x="314" y="211"/>
                  </a:lnTo>
                  <a:lnTo>
                    <a:pt x="312" y="212"/>
                  </a:lnTo>
                  <a:lnTo>
                    <a:pt x="309" y="212"/>
                  </a:lnTo>
                  <a:lnTo>
                    <a:pt x="307" y="213"/>
                  </a:lnTo>
                  <a:lnTo>
                    <a:pt x="306" y="213"/>
                  </a:lnTo>
                  <a:lnTo>
                    <a:pt x="302" y="215"/>
                  </a:lnTo>
                  <a:lnTo>
                    <a:pt x="301" y="216"/>
                  </a:lnTo>
                  <a:lnTo>
                    <a:pt x="300" y="217"/>
                  </a:lnTo>
                  <a:lnTo>
                    <a:pt x="297" y="217"/>
                  </a:lnTo>
                  <a:lnTo>
                    <a:pt x="296" y="217"/>
                  </a:lnTo>
                  <a:lnTo>
                    <a:pt x="295" y="218"/>
                  </a:lnTo>
                  <a:lnTo>
                    <a:pt x="292" y="218"/>
                  </a:lnTo>
                  <a:lnTo>
                    <a:pt x="291" y="218"/>
                  </a:lnTo>
                  <a:lnTo>
                    <a:pt x="289" y="218"/>
                  </a:lnTo>
                  <a:lnTo>
                    <a:pt x="289" y="219"/>
                  </a:lnTo>
                  <a:lnTo>
                    <a:pt x="288" y="219"/>
                  </a:lnTo>
                  <a:lnTo>
                    <a:pt x="287" y="219"/>
                  </a:lnTo>
                  <a:lnTo>
                    <a:pt x="287" y="220"/>
                  </a:lnTo>
                  <a:lnTo>
                    <a:pt x="286" y="220"/>
                  </a:lnTo>
                  <a:lnTo>
                    <a:pt x="286" y="221"/>
                  </a:lnTo>
                  <a:lnTo>
                    <a:pt x="285" y="222"/>
                  </a:lnTo>
                  <a:lnTo>
                    <a:pt x="285" y="223"/>
                  </a:lnTo>
                  <a:lnTo>
                    <a:pt x="285" y="224"/>
                  </a:lnTo>
                  <a:lnTo>
                    <a:pt x="284" y="226"/>
                  </a:lnTo>
                  <a:lnTo>
                    <a:pt x="284" y="227"/>
                  </a:lnTo>
                  <a:lnTo>
                    <a:pt x="283" y="228"/>
                  </a:lnTo>
                  <a:lnTo>
                    <a:pt x="283" y="229"/>
                  </a:lnTo>
                  <a:lnTo>
                    <a:pt x="283" y="229"/>
                  </a:lnTo>
                  <a:lnTo>
                    <a:pt x="282" y="229"/>
                  </a:lnTo>
                  <a:lnTo>
                    <a:pt x="282" y="230"/>
                  </a:lnTo>
                  <a:lnTo>
                    <a:pt x="281" y="230"/>
                  </a:lnTo>
                  <a:lnTo>
                    <a:pt x="279" y="230"/>
                  </a:lnTo>
                  <a:lnTo>
                    <a:pt x="278" y="230"/>
                  </a:lnTo>
                  <a:lnTo>
                    <a:pt x="276" y="230"/>
                  </a:lnTo>
                  <a:lnTo>
                    <a:pt x="275" y="230"/>
                  </a:lnTo>
                  <a:lnTo>
                    <a:pt x="275" y="229"/>
                  </a:lnTo>
                  <a:lnTo>
                    <a:pt x="274" y="229"/>
                  </a:lnTo>
                  <a:lnTo>
                    <a:pt x="272" y="228"/>
                  </a:lnTo>
                  <a:lnTo>
                    <a:pt x="271" y="228"/>
                  </a:lnTo>
                  <a:lnTo>
                    <a:pt x="271" y="227"/>
                  </a:lnTo>
                  <a:lnTo>
                    <a:pt x="270" y="227"/>
                  </a:lnTo>
                  <a:lnTo>
                    <a:pt x="269" y="227"/>
                  </a:lnTo>
                  <a:lnTo>
                    <a:pt x="269" y="227"/>
                  </a:lnTo>
                  <a:lnTo>
                    <a:pt x="268" y="227"/>
                  </a:lnTo>
                  <a:lnTo>
                    <a:pt x="268" y="227"/>
                  </a:lnTo>
                  <a:lnTo>
                    <a:pt x="267" y="228"/>
                  </a:lnTo>
                  <a:lnTo>
                    <a:pt x="264" y="229"/>
                  </a:lnTo>
                  <a:lnTo>
                    <a:pt x="263" y="230"/>
                  </a:lnTo>
                  <a:lnTo>
                    <a:pt x="262" y="230"/>
                  </a:lnTo>
                  <a:lnTo>
                    <a:pt x="259" y="231"/>
                  </a:lnTo>
                  <a:lnTo>
                    <a:pt x="257" y="231"/>
                  </a:lnTo>
                  <a:lnTo>
                    <a:pt x="254" y="232"/>
                  </a:lnTo>
                  <a:lnTo>
                    <a:pt x="252" y="233"/>
                  </a:lnTo>
                  <a:lnTo>
                    <a:pt x="251" y="234"/>
                  </a:lnTo>
                  <a:lnTo>
                    <a:pt x="250" y="234"/>
                  </a:lnTo>
                  <a:lnTo>
                    <a:pt x="249" y="235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7"/>
                  </a:lnTo>
                  <a:lnTo>
                    <a:pt x="249" y="237"/>
                  </a:lnTo>
                  <a:lnTo>
                    <a:pt x="249" y="237"/>
                  </a:lnTo>
                  <a:lnTo>
                    <a:pt x="251" y="238"/>
                  </a:lnTo>
                  <a:lnTo>
                    <a:pt x="252" y="238"/>
                  </a:lnTo>
                  <a:lnTo>
                    <a:pt x="253" y="239"/>
                  </a:lnTo>
                  <a:lnTo>
                    <a:pt x="253" y="240"/>
                  </a:lnTo>
                  <a:lnTo>
                    <a:pt x="255" y="241"/>
                  </a:lnTo>
                  <a:lnTo>
                    <a:pt x="257" y="243"/>
                  </a:lnTo>
                  <a:lnTo>
                    <a:pt x="259" y="246"/>
                  </a:lnTo>
                  <a:lnTo>
                    <a:pt x="260" y="247"/>
                  </a:lnTo>
                  <a:lnTo>
                    <a:pt x="261" y="247"/>
                  </a:lnTo>
                  <a:lnTo>
                    <a:pt x="261" y="248"/>
                  </a:lnTo>
                  <a:lnTo>
                    <a:pt x="261" y="248"/>
                  </a:lnTo>
                  <a:lnTo>
                    <a:pt x="261" y="249"/>
                  </a:lnTo>
                  <a:lnTo>
                    <a:pt x="261" y="250"/>
                  </a:lnTo>
                  <a:lnTo>
                    <a:pt x="261" y="250"/>
                  </a:lnTo>
                  <a:lnTo>
                    <a:pt x="260" y="251"/>
                  </a:lnTo>
                  <a:lnTo>
                    <a:pt x="260" y="251"/>
                  </a:lnTo>
                  <a:lnTo>
                    <a:pt x="258" y="252"/>
                  </a:lnTo>
                  <a:lnTo>
                    <a:pt x="257" y="253"/>
                  </a:lnTo>
                  <a:lnTo>
                    <a:pt x="256" y="253"/>
                  </a:lnTo>
                  <a:lnTo>
                    <a:pt x="256" y="254"/>
                  </a:lnTo>
                  <a:lnTo>
                    <a:pt x="255" y="255"/>
                  </a:lnTo>
                  <a:lnTo>
                    <a:pt x="255" y="255"/>
                  </a:lnTo>
                  <a:lnTo>
                    <a:pt x="254" y="256"/>
                  </a:lnTo>
                  <a:lnTo>
                    <a:pt x="254" y="257"/>
                  </a:lnTo>
                  <a:lnTo>
                    <a:pt x="254" y="257"/>
                  </a:lnTo>
                  <a:lnTo>
                    <a:pt x="255" y="257"/>
                  </a:lnTo>
                  <a:lnTo>
                    <a:pt x="255" y="258"/>
                  </a:lnTo>
                  <a:lnTo>
                    <a:pt x="255" y="259"/>
                  </a:lnTo>
                  <a:lnTo>
                    <a:pt x="257" y="261"/>
                  </a:lnTo>
                  <a:lnTo>
                    <a:pt x="257" y="261"/>
                  </a:lnTo>
                  <a:lnTo>
                    <a:pt x="258" y="262"/>
                  </a:lnTo>
                  <a:lnTo>
                    <a:pt x="259" y="265"/>
                  </a:lnTo>
                  <a:lnTo>
                    <a:pt x="259" y="265"/>
                  </a:lnTo>
                  <a:lnTo>
                    <a:pt x="260" y="267"/>
                  </a:lnTo>
                  <a:lnTo>
                    <a:pt x="261" y="268"/>
                  </a:lnTo>
                  <a:lnTo>
                    <a:pt x="262" y="269"/>
                  </a:lnTo>
                  <a:lnTo>
                    <a:pt x="263" y="270"/>
                  </a:lnTo>
                  <a:lnTo>
                    <a:pt x="265" y="272"/>
                  </a:lnTo>
                  <a:lnTo>
                    <a:pt x="268" y="274"/>
                  </a:lnTo>
                  <a:lnTo>
                    <a:pt x="268" y="275"/>
                  </a:lnTo>
                  <a:lnTo>
                    <a:pt x="269" y="276"/>
                  </a:lnTo>
                  <a:lnTo>
                    <a:pt x="269" y="276"/>
                  </a:lnTo>
                  <a:lnTo>
                    <a:pt x="269" y="277"/>
                  </a:lnTo>
                  <a:lnTo>
                    <a:pt x="269" y="278"/>
                  </a:lnTo>
                  <a:lnTo>
                    <a:pt x="269" y="278"/>
                  </a:lnTo>
                  <a:lnTo>
                    <a:pt x="269" y="279"/>
                  </a:lnTo>
                  <a:lnTo>
                    <a:pt x="269" y="280"/>
                  </a:lnTo>
                  <a:lnTo>
                    <a:pt x="268" y="281"/>
                  </a:lnTo>
                  <a:lnTo>
                    <a:pt x="268" y="282"/>
                  </a:lnTo>
                  <a:lnTo>
                    <a:pt x="268" y="282"/>
                  </a:lnTo>
                  <a:lnTo>
                    <a:pt x="268" y="283"/>
                  </a:lnTo>
                  <a:lnTo>
                    <a:pt x="268" y="284"/>
                  </a:lnTo>
                  <a:lnTo>
                    <a:pt x="268" y="284"/>
                  </a:lnTo>
                  <a:lnTo>
                    <a:pt x="268" y="285"/>
                  </a:lnTo>
                  <a:lnTo>
                    <a:pt x="269" y="285"/>
                  </a:lnTo>
                  <a:lnTo>
                    <a:pt x="269" y="286"/>
                  </a:lnTo>
                  <a:lnTo>
                    <a:pt x="270" y="286"/>
                  </a:lnTo>
                  <a:lnTo>
                    <a:pt x="271" y="287"/>
                  </a:lnTo>
                  <a:lnTo>
                    <a:pt x="271" y="287"/>
                  </a:lnTo>
                  <a:lnTo>
                    <a:pt x="272" y="288"/>
                  </a:lnTo>
                  <a:lnTo>
                    <a:pt x="273" y="288"/>
                  </a:lnTo>
                  <a:lnTo>
                    <a:pt x="275" y="289"/>
                  </a:lnTo>
                  <a:lnTo>
                    <a:pt x="276" y="289"/>
                  </a:lnTo>
                  <a:lnTo>
                    <a:pt x="276" y="290"/>
                  </a:lnTo>
                  <a:lnTo>
                    <a:pt x="277" y="290"/>
                  </a:lnTo>
                  <a:lnTo>
                    <a:pt x="277" y="291"/>
                  </a:lnTo>
                  <a:lnTo>
                    <a:pt x="277" y="291"/>
                  </a:lnTo>
                  <a:lnTo>
                    <a:pt x="277" y="292"/>
                  </a:lnTo>
                  <a:lnTo>
                    <a:pt x="277" y="292"/>
                  </a:lnTo>
                  <a:lnTo>
                    <a:pt x="277" y="293"/>
                  </a:lnTo>
                  <a:lnTo>
                    <a:pt x="277" y="294"/>
                  </a:lnTo>
                  <a:lnTo>
                    <a:pt x="277" y="296"/>
                  </a:lnTo>
                  <a:lnTo>
                    <a:pt x="277" y="296"/>
                  </a:lnTo>
                  <a:lnTo>
                    <a:pt x="277" y="297"/>
                  </a:lnTo>
                  <a:lnTo>
                    <a:pt x="277" y="297"/>
                  </a:lnTo>
                  <a:lnTo>
                    <a:pt x="278" y="298"/>
                  </a:lnTo>
                  <a:lnTo>
                    <a:pt x="278" y="298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8" y="300"/>
                  </a:lnTo>
                  <a:lnTo>
                    <a:pt x="277" y="302"/>
                  </a:lnTo>
                  <a:lnTo>
                    <a:pt x="277" y="302"/>
                  </a:lnTo>
                  <a:lnTo>
                    <a:pt x="277" y="303"/>
                  </a:lnTo>
                  <a:lnTo>
                    <a:pt x="277" y="304"/>
                  </a:lnTo>
                  <a:lnTo>
                    <a:pt x="277" y="304"/>
                  </a:lnTo>
                  <a:lnTo>
                    <a:pt x="277" y="305"/>
                  </a:lnTo>
                  <a:lnTo>
                    <a:pt x="278" y="305"/>
                  </a:lnTo>
                  <a:lnTo>
                    <a:pt x="278" y="306"/>
                  </a:lnTo>
                  <a:lnTo>
                    <a:pt x="279" y="306"/>
                  </a:lnTo>
                  <a:lnTo>
                    <a:pt x="279" y="307"/>
                  </a:lnTo>
                  <a:lnTo>
                    <a:pt x="279" y="307"/>
                  </a:lnTo>
                  <a:lnTo>
                    <a:pt x="280" y="308"/>
                  </a:lnTo>
                  <a:lnTo>
                    <a:pt x="281" y="308"/>
                  </a:lnTo>
                  <a:lnTo>
                    <a:pt x="282" y="308"/>
                  </a:lnTo>
                  <a:lnTo>
                    <a:pt x="282" y="308"/>
                  </a:lnTo>
                  <a:lnTo>
                    <a:pt x="283" y="309"/>
                  </a:lnTo>
                  <a:lnTo>
                    <a:pt x="284" y="309"/>
                  </a:lnTo>
                  <a:lnTo>
                    <a:pt x="288" y="309"/>
                  </a:lnTo>
                  <a:lnTo>
                    <a:pt x="289" y="309"/>
                  </a:lnTo>
                  <a:lnTo>
                    <a:pt x="292" y="309"/>
                  </a:lnTo>
                  <a:lnTo>
                    <a:pt x="292" y="309"/>
                  </a:lnTo>
                  <a:lnTo>
                    <a:pt x="293" y="309"/>
                  </a:lnTo>
                  <a:lnTo>
                    <a:pt x="293" y="309"/>
                  </a:lnTo>
                  <a:lnTo>
                    <a:pt x="294" y="309"/>
                  </a:lnTo>
                  <a:lnTo>
                    <a:pt x="294" y="308"/>
                  </a:lnTo>
                  <a:lnTo>
                    <a:pt x="294" y="308"/>
                  </a:lnTo>
                  <a:lnTo>
                    <a:pt x="295" y="307"/>
                  </a:lnTo>
                  <a:lnTo>
                    <a:pt x="296" y="305"/>
                  </a:lnTo>
                  <a:lnTo>
                    <a:pt x="297" y="304"/>
                  </a:lnTo>
                  <a:lnTo>
                    <a:pt x="297" y="303"/>
                  </a:lnTo>
                  <a:lnTo>
                    <a:pt x="297" y="303"/>
                  </a:lnTo>
                  <a:lnTo>
                    <a:pt x="298" y="302"/>
                  </a:lnTo>
                  <a:lnTo>
                    <a:pt x="298" y="302"/>
                  </a:lnTo>
                  <a:lnTo>
                    <a:pt x="299" y="302"/>
                  </a:lnTo>
                  <a:lnTo>
                    <a:pt x="300" y="301"/>
                  </a:lnTo>
                  <a:lnTo>
                    <a:pt x="303" y="301"/>
                  </a:lnTo>
                  <a:lnTo>
                    <a:pt x="304" y="300"/>
                  </a:lnTo>
                  <a:lnTo>
                    <a:pt x="306" y="300"/>
                  </a:lnTo>
                  <a:lnTo>
                    <a:pt x="307" y="299"/>
                  </a:lnTo>
                  <a:lnTo>
                    <a:pt x="310" y="298"/>
                  </a:lnTo>
                  <a:lnTo>
                    <a:pt x="312" y="298"/>
                  </a:lnTo>
                  <a:lnTo>
                    <a:pt x="313" y="297"/>
                  </a:lnTo>
                  <a:lnTo>
                    <a:pt x="314" y="297"/>
                  </a:lnTo>
                  <a:lnTo>
                    <a:pt x="315" y="296"/>
                  </a:lnTo>
                  <a:lnTo>
                    <a:pt x="316" y="296"/>
                  </a:lnTo>
                  <a:lnTo>
                    <a:pt x="321" y="292"/>
                  </a:lnTo>
                  <a:lnTo>
                    <a:pt x="323" y="290"/>
                  </a:lnTo>
                  <a:lnTo>
                    <a:pt x="324" y="289"/>
                  </a:lnTo>
                  <a:lnTo>
                    <a:pt x="325" y="289"/>
                  </a:lnTo>
                  <a:lnTo>
                    <a:pt x="326" y="289"/>
                  </a:lnTo>
                  <a:lnTo>
                    <a:pt x="327" y="288"/>
                  </a:lnTo>
                  <a:lnTo>
                    <a:pt x="329" y="287"/>
                  </a:lnTo>
                  <a:lnTo>
                    <a:pt x="330" y="287"/>
                  </a:lnTo>
                  <a:lnTo>
                    <a:pt x="331" y="286"/>
                  </a:lnTo>
                  <a:lnTo>
                    <a:pt x="332" y="286"/>
                  </a:lnTo>
                  <a:lnTo>
                    <a:pt x="333" y="285"/>
                  </a:lnTo>
                  <a:lnTo>
                    <a:pt x="334" y="285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6" y="282"/>
                  </a:lnTo>
                  <a:lnTo>
                    <a:pt x="336" y="282"/>
                  </a:lnTo>
                  <a:lnTo>
                    <a:pt x="337" y="282"/>
                  </a:lnTo>
                  <a:lnTo>
                    <a:pt x="338" y="281"/>
                  </a:lnTo>
                  <a:lnTo>
                    <a:pt x="338" y="281"/>
                  </a:lnTo>
                  <a:lnTo>
                    <a:pt x="339" y="281"/>
                  </a:lnTo>
                  <a:lnTo>
                    <a:pt x="342" y="281"/>
                  </a:lnTo>
                  <a:lnTo>
                    <a:pt x="343" y="280"/>
                  </a:lnTo>
                  <a:lnTo>
                    <a:pt x="345" y="280"/>
                  </a:lnTo>
                  <a:lnTo>
                    <a:pt x="347" y="280"/>
                  </a:lnTo>
                  <a:lnTo>
                    <a:pt x="349" y="280"/>
                  </a:lnTo>
                  <a:lnTo>
                    <a:pt x="350" y="280"/>
                  </a:lnTo>
                  <a:lnTo>
                    <a:pt x="350" y="280"/>
                  </a:lnTo>
                  <a:lnTo>
                    <a:pt x="351" y="280"/>
                  </a:lnTo>
                  <a:lnTo>
                    <a:pt x="352" y="281"/>
                  </a:lnTo>
                  <a:lnTo>
                    <a:pt x="354" y="281"/>
                  </a:lnTo>
                  <a:lnTo>
                    <a:pt x="355" y="282"/>
                  </a:lnTo>
                  <a:lnTo>
                    <a:pt x="356" y="283"/>
                  </a:lnTo>
                  <a:lnTo>
                    <a:pt x="358" y="284"/>
                  </a:lnTo>
                  <a:lnTo>
                    <a:pt x="360" y="285"/>
                  </a:lnTo>
                  <a:lnTo>
                    <a:pt x="360" y="285"/>
                  </a:lnTo>
                  <a:lnTo>
                    <a:pt x="361" y="285"/>
                  </a:lnTo>
                  <a:lnTo>
                    <a:pt x="362" y="286"/>
                  </a:lnTo>
                  <a:lnTo>
                    <a:pt x="363" y="286"/>
                  </a:lnTo>
                  <a:lnTo>
                    <a:pt x="365" y="286"/>
                  </a:lnTo>
                  <a:lnTo>
                    <a:pt x="366" y="286"/>
                  </a:lnTo>
                  <a:lnTo>
                    <a:pt x="366" y="286"/>
                  </a:lnTo>
                  <a:lnTo>
                    <a:pt x="367" y="286"/>
                  </a:lnTo>
                  <a:lnTo>
                    <a:pt x="368" y="286"/>
                  </a:lnTo>
                  <a:lnTo>
                    <a:pt x="368" y="285"/>
                  </a:lnTo>
                  <a:lnTo>
                    <a:pt x="369" y="285"/>
                  </a:lnTo>
                  <a:lnTo>
                    <a:pt x="370" y="284"/>
                  </a:lnTo>
                  <a:lnTo>
                    <a:pt x="372" y="282"/>
                  </a:lnTo>
                  <a:lnTo>
                    <a:pt x="373" y="282"/>
                  </a:lnTo>
                  <a:lnTo>
                    <a:pt x="374" y="281"/>
                  </a:lnTo>
                  <a:lnTo>
                    <a:pt x="374" y="280"/>
                  </a:lnTo>
                  <a:lnTo>
                    <a:pt x="375" y="279"/>
                  </a:lnTo>
                  <a:lnTo>
                    <a:pt x="375" y="278"/>
                  </a:lnTo>
                  <a:lnTo>
                    <a:pt x="375" y="277"/>
                  </a:lnTo>
                  <a:lnTo>
                    <a:pt x="375" y="276"/>
                  </a:lnTo>
                  <a:lnTo>
                    <a:pt x="375" y="275"/>
                  </a:lnTo>
                  <a:lnTo>
                    <a:pt x="374" y="271"/>
                  </a:lnTo>
                  <a:lnTo>
                    <a:pt x="374" y="269"/>
                  </a:lnTo>
                  <a:lnTo>
                    <a:pt x="374" y="268"/>
                  </a:lnTo>
                  <a:lnTo>
                    <a:pt x="374" y="267"/>
                  </a:lnTo>
                  <a:lnTo>
                    <a:pt x="373" y="267"/>
                  </a:lnTo>
                  <a:lnTo>
                    <a:pt x="373" y="266"/>
                  </a:lnTo>
                  <a:lnTo>
                    <a:pt x="373" y="266"/>
                  </a:lnTo>
                  <a:lnTo>
                    <a:pt x="372" y="265"/>
                  </a:lnTo>
                  <a:lnTo>
                    <a:pt x="371" y="264"/>
                  </a:lnTo>
                  <a:lnTo>
                    <a:pt x="371" y="264"/>
                  </a:lnTo>
                  <a:lnTo>
                    <a:pt x="371" y="263"/>
                  </a:lnTo>
                  <a:lnTo>
                    <a:pt x="370" y="263"/>
                  </a:lnTo>
                  <a:lnTo>
                    <a:pt x="370" y="262"/>
                  </a:lnTo>
                  <a:lnTo>
                    <a:pt x="370" y="261"/>
                  </a:lnTo>
                  <a:lnTo>
                    <a:pt x="371" y="261"/>
                  </a:lnTo>
                  <a:lnTo>
                    <a:pt x="371" y="260"/>
                  </a:lnTo>
                  <a:lnTo>
                    <a:pt x="371" y="260"/>
                  </a:lnTo>
                  <a:lnTo>
                    <a:pt x="371" y="259"/>
                  </a:lnTo>
                  <a:lnTo>
                    <a:pt x="372" y="259"/>
                  </a:lnTo>
                  <a:lnTo>
                    <a:pt x="373" y="258"/>
                  </a:lnTo>
                  <a:lnTo>
                    <a:pt x="374" y="257"/>
                  </a:lnTo>
                  <a:lnTo>
                    <a:pt x="374" y="257"/>
                  </a:lnTo>
                  <a:lnTo>
                    <a:pt x="379" y="254"/>
                  </a:lnTo>
                  <a:lnTo>
                    <a:pt x="382" y="253"/>
                  </a:lnTo>
                  <a:lnTo>
                    <a:pt x="382" y="252"/>
                  </a:lnTo>
                  <a:lnTo>
                    <a:pt x="383" y="252"/>
                  </a:lnTo>
                  <a:lnTo>
                    <a:pt x="384" y="251"/>
                  </a:lnTo>
                  <a:lnTo>
                    <a:pt x="384" y="251"/>
                  </a:lnTo>
                  <a:lnTo>
                    <a:pt x="385" y="250"/>
                  </a:lnTo>
                  <a:lnTo>
                    <a:pt x="385" y="249"/>
                  </a:lnTo>
                  <a:lnTo>
                    <a:pt x="386" y="248"/>
                  </a:lnTo>
                  <a:lnTo>
                    <a:pt x="386" y="247"/>
                  </a:lnTo>
                  <a:lnTo>
                    <a:pt x="386" y="246"/>
                  </a:lnTo>
                  <a:lnTo>
                    <a:pt x="386" y="246"/>
                  </a:lnTo>
                  <a:lnTo>
                    <a:pt x="386" y="245"/>
                  </a:lnTo>
                  <a:lnTo>
                    <a:pt x="386" y="245"/>
                  </a:lnTo>
                  <a:lnTo>
                    <a:pt x="385" y="244"/>
                  </a:lnTo>
                  <a:lnTo>
                    <a:pt x="385" y="243"/>
                  </a:lnTo>
                  <a:lnTo>
                    <a:pt x="384" y="242"/>
                  </a:lnTo>
                  <a:lnTo>
                    <a:pt x="383" y="241"/>
                  </a:lnTo>
                  <a:lnTo>
                    <a:pt x="383" y="240"/>
                  </a:lnTo>
                  <a:lnTo>
                    <a:pt x="382" y="240"/>
                  </a:lnTo>
                  <a:lnTo>
                    <a:pt x="381" y="239"/>
                  </a:lnTo>
                  <a:lnTo>
                    <a:pt x="378" y="237"/>
                  </a:lnTo>
                  <a:lnTo>
                    <a:pt x="377" y="236"/>
                  </a:lnTo>
                  <a:lnTo>
                    <a:pt x="376" y="235"/>
                  </a:lnTo>
                  <a:lnTo>
                    <a:pt x="376" y="235"/>
                  </a:lnTo>
                  <a:lnTo>
                    <a:pt x="375" y="234"/>
                  </a:lnTo>
                  <a:lnTo>
                    <a:pt x="374" y="232"/>
                  </a:lnTo>
                  <a:lnTo>
                    <a:pt x="373" y="231"/>
                  </a:lnTo>
                  <a:lnTo>
                    <a:pt x="372" y="231"/>
                  </a:lnTo>
                  <a:lnTo>
                    <a:pt x="372" y="230"/>
                  </a:lnTo>
                  <a:lnTo>
                    <a:pt x="371" y="230"/>
                  </a:lnTo>
                  <a:lnTo>
                    <a:pt x="370" y="229"/>
                  </a:lnTo>
                  <a:lnTo>
                    <a:pt x="366" y="227"/>
                  </a:lnTo>
                  <a:lnTo>
                    <a:pt x="365" y="226"/>
                  </a:lnTo>
                  <a:lnTo>
                    <a:pt x="362" y="226"/>
                  </a:lnTo>
                  <a:lnTo>
                    <a:pt x="360" y="225"/>
                  </a:lnTo>
                  <a:lnTo>
                    <a:pt x="360" y="225"/>
                  </a:lnTo>
                  <a:lnTo>
                    <a:pt x="359" y="224"/>
                  </a:lnTo>
                  <a:lnTo>
                    <a:pt x="358" y="224"/>
                  </a:lnTo>
                  <a:lnTo>
                    <a:pt x="357" y="223"/>
                  </a:lnTo>
                  <a:lnTo>
                    <a:pt x="357" y="222"/>
                  </a:lnTo>
                  <a:lnTo>
                    <a:pt x="356" y="222"/>
                  </a:lnTo>
                  <a:lnTo>
                    <a:pt x="355" y="221"/>
                  </a:lnTo>
                  <a:lnTo>
                    <a:pt x="355" y="220"/>
                  </a:lnTo>
                  <a:lnTo>
                    <a:pt x="355" y="219"/>
                  </a:lnTo>
                  <a:lnTo>
                    <a:pt x="354" y="217"/>
                  </a:lnTo>
                  <a:lnTo>
                    <a:pt x="353" y="216"/>
                  </a:lnTo>
                  <a:lnTo>
                    <a:pt x="353" y="216"/>
                  </a:lnTo>
                  <a:lnTo>
                    <a:pt x="353" y="216"/>
                  </a:lnTo>
                  <a:lnTo>
                    <a:pt x="352" y="215"/>
                  </a:lnTo>
                  <a:lnTo>
                    <a:pt x="351" y="215"/>
                  </a:lnTo>
                  <a:lnTo>
                    <a:pt x="349" y="215"/>
                  </a:lnTo>
                  <a:lnTo>
                    <a:pt x="348" y="214"/>
                  </a:lnTo>
                  <a:lnTo>
                    <a:pt x="347" y="214"/>
                  </a:lnTo>
                  <a:lnTo>
                    <a:pt x="346" y="213"/>
                  </a:lnTo>
                  <a:lnTo>
                    <a:pt x="343" y="211"/>
                  </a:lnTo>
                  <a:lnTo>
                    <a:pt x="342" y="210"/>
                  </a:lnTo>
                  <a:lnTo>
                    <a:pt x="339" y="208"/>
                  </a:lnTo>
                  <a:lnTo>
                    <a:pt x="338" y="207"/>
                  </a:lnTo>
                  <a:lnTo>
                    <a:pt x="338" y="207"/>
                  </a:lnTo>
                  <a:lnTo>
                    <a:pt x="337" y="207"/>
                  </a:lnTo>
                  <a:lnTo>
                    <a:pt x="337" y="206"/>
                  </a:lnTo>
                  <a:lnTo>
                    <a:pt x="337" y="205"/>
                  </a:lnTo>
                  <a:lnTo>
                    <a:pt x="336" y="205"/>
                  </a:lnTo>
                  <a:lnTo>
                    <a:pt x="336" y="204"/>
                  </a:lnTo>
                  <a:lnTo>
                    <a:pt x="336" y="204"/>
                  </a:lnTo>
                  <a:lnTo>
                    <a:pt x="336" y="204"/>
                  </a:lnTo>
                  <a:lnTo>
                    <a:pt x="337" y="203"/>
                  </a:lnTo>
                  <a:lnTo>
                    <a:pt x="336" y="203"/>
                  </a:lnTo>
                  <a:lnTo>
                    <a:pt x="336" y="203"/>
                  </a:lnTo>
                  <a:lnTo>
                    <a:pt x="335" y="203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8">
              <a:extLst>
                <a:ext uri="{FF2B5EF4-FFF2-40B4-BE49-F238E27FC236}">
                  <a16:creationId xmlns:a16="http://schemas.microsoft.com/office/drawing/2014/main" id="{BC7F1EF3-C133-39CD-BCDD-0F6D2BF4B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1" y="3069"/>
              <a:ext cx="438" cy="512"/>
            </a:xfrm>
            <a:custGeom>
              <a:avLst/>
              <a:gdLst>
                <a:gd name="T0" fmla="*/ 269 w 438"/>
                <a:gd name="T1" fmla="*/ 10 h 512"/>
                <a:gd name="T2" fmla="*/ 282 w 438"/>
                <a:gd name="T3" fmla="*/ 9 h 512"/>
                <a:gd name="T4" fmla="*/ 306 w 438"/>
                <a:gd name="T5" fmla="*/ 29 h 512"/>
                <a:gd name="T6" fmla="*/ 323 w 438"/>
                <a:gd name="T7" fmla="*/ 45 h 512"/>
                <a:gd name="T8" fmla="*/ 321 w 438"/>
                <a:gd name="T9" fmla="*/ 65 h 512"/>
                <a:gd name="T10" fmla="*/ 327 w 438"/>
                <a:gd name="T11" fmla="*/ 89 h 512"/>
                <a:gd name="T12" fmla="*/ 317 w 438"/>
                <a:gd name="T13" fmla="*/ 108 h 512"/>
                <a:gd name="T14" fmla="*/ 318 w 438"/>
                <a:gd name="T15" fmla="*/ 121 h 512"/>
                <a:gd name="T16" fmla="*/ 332 w 438"/>
                <a:gd name="T17" fmla="*/ 128 h 512"/>
                <a:gd name="T18" fmla="*/ 343 w 438"/>
                <a:gd name="T19" fmla="*/ 144 h 512"/>
                <a:gd name="T20" fmla="*/ 352 w 438"/>
                <a:gd name="T21" fmla="*/ 152 h 512"/>
                <a:gd name="T22" fmla="*/ 383 w 438"/>
                <a:gd name="T23" fmla="*/ 149 h 512"/>
                <a:gd name="T24" fmla="*/ 392 w 438"/>
                <a:gd name="T25" fmla="*/ 162 h 512"/>
                <a:gd name="T26" fmla="*/ 397 w 438"/>
                <a:gd name="T27" fmla="*/ 188 h 512"/>
                <a:gd name="T28" fmla="*/ 390 w 438"/>
                <a:gd name="T29" fmla="*/ 207 h 512"/>
                <a:gd name="T30" fmla="*/ 393 w 438"/>
                <a:gd name="T31" fmla="*/ 220 h 512"/>
                <a:gd name="T32" fmla="*/ 411 w 438"/>
                <a:gd name="T33" fmla="*/ 229 h 512"/>
                <a:gd name="T34" fmla="*/ 403 w 438"/>
                <a:gd name="T35" fmla="*/ 238 h 512"/>
                <a:gd name="T36" fmla="*/ 403 w 438"/>
                <a:gd name="T37" fmla="*/ 247 h 512"/>
                <a:gd name="T38" fmla="*/ 396 w 438"/>
                <a:gd name="T39" fmla="*/ 260 h 512"/>
                <a:gd name="T40" fmla="*/ 392 w 438"/>
                <a:gd name="T41" fmla="*/ 267 h 512"/>
                <a:gd name="T42" fmla="*/ 403 w 438"/>
                <a:gd name="T43" fmla="*/ 277 h 512"/>
                <a:gd name="T44" fmla="*/ 417 w 438"/>
                <a:gd name="T45" fmla="*/ 284 h 512"/>
                <a:gd name="T46" fmla="*/ 423 w 438"/>
                <a:gd name="T47" fmla="*/ 294 h 512"/>
                <a:gd name="T48" fmla="*/ 438 w 438"/>
                <a:gd name="T49" fmla="*/ 309 h 512"/>
                <a:gd name="T50" fmla="*/ 434 w 438"/>
                <a:gd name="T51" fmla="*/ 331 h 512"/>
                <a:gd name="T52" fmla="*/ 428 w 438"/>
                <a:gd name="T53" fmla="*/ 351 h 512"/>
                <a:gd name="T54" fmla="*/ 411 w 438"/>
                <a:gd name="T55" fmla="*/ 360 h 512"/>
                <a:gd name="T56" fmla="*/ 409 w 438"/>
                <a:gd name="T57" fmla="*/ 375 h 512"/>
                <a:gd name="T58" fmla="*/ 399 w 438"/>
                <a:gd name="T59" fmla="*/ 380 h 512"/>
                <a:gd name="T60" fmla="*/ 381 w 438"/>
                <a:gd name="T61" fmla="*/ 391 h 512"/>
                <a:gd name="T62" fmla="*/ 358 w 438"/>
                <a:gd name="T63" fmla="*/ 398 h 512"/>
                <a:gd name="T64" fmla="*/ 348 w 438"/>
                <a:gd name="T65" fmla="*/ 402 h 512"/>
                <a:gd name="T66" fmla="*/ 334 w 438"/>
                <a:gd name="T67" fmla="*/ 428 h 512"/>
                <a:gd name="T68" fmla="*/ 349 w 438"/>
                <a:gd name="T69" fmla="*/ 443 h 512"/>
                <a:gd name="T70" fmla="*/ 353 w 438"/>
                <a:gd name="T71" fmla="*/ 458 h 512"/>
                <a:gd name="T72" fmla="*/ 337 w 438"/>
                <a:gd name="T73" fmla="*/ 464 h 512"/>
                <a:gd name="T74" fmla="*/ 329 w 438"/>
                <a:gd name="T75" fmla="*/ 473 h 512"/>
                <a:gd name="T76" fmla="*/ 312 w 438"/>
                <a:gd name="T77" fmla="*/ 468 h 512"/>
                <a:gd name="T78" fmla="*/ 281 w 438"/>
                <a:gd name="T79" fmla="*/ 469 h 512"/>
                <a:gd name="T80" fmla="*/ 275 w 438"/>
                <a:gd name="T81" fmla="*/ 477 h 512"/>
                <a:gd name="T82" fmla="*/ 263 w 438"/>
                <a:gd name="T83" fmla="*/ 484 h 512"/>
                <a:gd name="T84" fmla="*/ 255 w 438"/>
                <a:gd name="T85" fmla="*/ 495 h 512"/>
                <a:gd name="T86" fmla="*/ 242 w 438"/>
                <a:gd name="T87" fmla="*/ 478 h 512"/>
                <a:gd name="T88" fmla="*/ 232 w 438"/>
                <a:gd name="T89" fmla="*/ 478 h 512"/>
                <a:gd name="T90" fmla="*/ 210 w 438"/>
                <a:gd name="T91" fmla="*/ 464 h 512"/>
                <a:gd name="T92" fmla="*/ 199 w 438"/>
                <a:gd name="T93" fmla="*/ 477 h 512"/>
                <a:gd name="T94" fmla="*/ 198 w 438"/>
                <a:gd name="T95" fmla="*/ 495 h 512"/>
                <a:gd name="T96" fmla="*/ 175 w 438"/>
                <a:gd name="T97" fmla="*/ 511 h 512"/>
                <a:gd name="T98" fmla="*/ 160 w 438"/>
                <a:gd name="T99" fmla="*/ 507 h 512"/>
                <a:gd name="T100" fmla="*/ 155 w 438"/>
                <a:gd name="T101" fmla="*/ 499 h 512"/>
                <a:gd name="T102" fmla="*/ 132 w 438"/>
                <a:gd name="T103" fmla="*/ 498 h 512"/>
                <a:gd name="T104" fmla="*/ 117 w 438"/>
                <a:gd name="T105" fmla="*/ 499 h 512"/>
                <a:gd name="T106" fmla="*/ 102 w 438"/>
                <a:gd name="T107" fmla="*/ 494 h 512"/>
                <a:gd name="T108" fmla="*/ 90 w 438"/>
                <a:gd name="T109" fmla="*/ 502 h 512"/>
                <a:gd name="T110" fmla="*/ 78 w 438"/>
                <a:gd name="T111" fmla="*/ 498 h 512"/>
                <a:gd name="T112" fmla="*/ 63 w 438"/>
                <a:gd name="T113" fmla="*/ 487 h 512"/>
                <a:gd name="T114" fmla="*/ 45 w 438"/>
                <a:gd name="T115" fmla="*/ 495 h 512"/>
                <a:gd name="T116" fmla="*/ 18 w 438"/>
                <a:gd name="T117" fmla="*/ 500 h 512"/>
                <a:gd name="T118" fmla="*/ 1 w 438"/>
                <a:gd name="T119" fmla="*/ 499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8" h="512">
                  <a:moveTo>
                    <a:pt x="256" y="0"/>
                  </a:moveTo>
                  <a:lnTo>
                    <a:pt x="256" y="0"/>
                  </a:lnTo>
                  <a:lnTo>
                    <a:pt x="257" y="0"/>
                  </a:lnTo>
                  <a:lnTo>
                    <a:pt x="257" y="1"/>
                  </a:lnTo>
                  <a:lnTo>
                    <a:pt x="258" y="1"/>
                  </a:lnTo>
                  <a:lnTo>
                    <a:pt x="260" y="3"/>
                  </a:lnTo>
                  <a:lnTo>
                    <a:pt x="261" y="4"/>
                  </a:lnTo>
                  <a:lnTo>
                    <a:pt x="262" y="5"/>
                  </a:lnTo>
                  <a:lnTo>
                    <a:pt x="264" y="6"/>
                  </a:lnTo>
                  <a:lnTo>
                    <a:pt x="265" y="7"/>
                  </a:lnTo>
                  <a:lnTo>
                    <a:pt x="265" y="7"/>
                  </a:lnTo>
                  <a:lnTo>
                    <a:pt x="266" y="8"/>
                  </a:lnTo>
                  <a:lnTo>
                    <a:pt x="266" y="9"/>
                  </a:lnTo>
                  <a:lnTo>
                    <a:pt x="267" y="9"/>
                  </a:lnTo>
                  <a:lnTo>
                    <a:pt x="268" y="9"/>
                  </a:lnTo>
                  <a:lnTo>
                    <a:pt x="268" y="10"/>
                  </a:lnTo>
                  <a:lnTo>
                    <a:pt x="269" y="10"/>
                  </a:lnTo>
                  <a:lnTo>
                    <a:pt x="270" y="10"/>
                  </a:lnTo>
                  <a:lnTo>
                    <a:pt x="270" y="10"/>
                  </a:lnTo>
                  <a:lnTo>
                    <a:pt x="270" y="9"/>
                  </a:lnTo>
                  <a:lnTo>
                    <a:pt x="271" y="9"/>
                  </a:lnTo>
                  <a:lnTo>
                    <a:pt x="272" y="8"/>
                  </a:lnTo>
                  <a:lnTo>
                    <a:pt x="273" y="8"/>
                  </a:lnTo>
                  <a:lnTo>
                    <a:pt x="273" y="8"/>
                  </a:lnTo>
                  <a:lnTo>
                    <a:pt x="274" y="7"/>
                  </a:lnTo>
                  <a:lnTo>
                    <a:pt x="275" y="7"/>
                  </a:lnTo>
                  <a:lnTo>
                    <a:pt x="276" y="7"/>
                  </a:lnTo>
                  <a:lnTo>
                    <a:pt x="276" y="7"/>
                  </a:lnTo>
                  <a:lnTo>
                    <a:pt x="279" y="8"/>
                  </a:lnTo>
                  <a:lnTo>
                    <a:pt x="280" y="8"/>
                  </a:lnTo>
                  <a:lnTo>
                    <a:pt x="281" y="8"/>
                  </a:lnTo>
                  <a:lnTo>
                    <a:pt x="281" y="8"/>
                  </a:lnTo>
                  <a:lnTo>
                    <a:pt x="281" y="9"/>
                  </a:lnTo>
                  <a:lnTo>
                    <a:pt x="282" y="9"/>
                  </a:lnTo>
                  <a:lnTo>
                    <a:pt x="284" y="10"/>
                  </a:lnTo>
                  <a:lnTo>
                    <a:pt x="286" y="14"/>
                  </a:lnTo>
                  <a:lnTo>
                    <a:pt x="290" y="18"/>
                  </a:lnTo>
                  <a:lnTo>
                    <a:pt x="292" y="20"/>
                  </a:lnTo>
                  <a:lnTo>
                    <a:pt x="293" y="21"/>
                  </a:lnTo>
                  <a:lnTo>
                    <a:pt x="293" y="21"/>
                  </a:lnTo>
                  <a:lnTo>
                    <a:pt x="294" y="22"/>
                  </a:lnTo>
                  <a:lnTo>
                    <a:pt x="295" y="22"/>
                  </a:lnTo>
                  <a:lnTo>
                    <a:pt x="296" y="22"/>
                  </a:lnTo>
                  <a:lnTo>
                    <a:pt x="298" y="23"/>
                  </a:lnTo>
                  <a:lnTo>
                    <a:pt x="299" y="24"/>
                  </a:lnTo>
                  <a:lnTo>
                    <a:pt x="300" y="24"/>
                  </a:lnTo>
                  <a:lnTo>
                    <a:pt x="301" y="25"/>
                  </a:lnTo>
                  <a:lnTo>
                    <a:pt x="302" y="26"/>
                  </a:lnTo>
                  <a:lnTo>
                    <a:pt x="304" y="27"/>
                  </a:lnTo>
                  <a:lnTo>
                    <a:pt x="305" y="28"/>
                  </a:lnTo>
                  <a:lnTo>
                    <a:pt x="306" y="29"/>
                  </a:lnTo>
                  <a:lnTo>
                    <a:pt x="306" y="30"/>
                  </a:lnTo>
                  <a:lnTo>
                    <a:pt x="307" y="31"/>
                  </a:lnTo>
                  <a:lnTo>
                    <a:pt x="308" y="32"/>
                  </a:lnTo>
                  <a:lnTo>
                    <a:pt x="310" y="35"/>
                  </a:lnTo>
                  <a:lnTo>
                    <a:pt x="310" y="36"/>
                  </a:lnTo>
                  <a:lnTo>
                    <a:pt x="310" y="37"/>
                  </a:lnTo>
                  <a:lnTo>
                    <a:pt x="311" y="37"/>
                  </a:lnTo>
                  <a:lnTo>
                    <a:pt x="312" y="38"/>
                  </a:lnTo>
                  <a:lnTo>
                    <a:pt x="313" y="38"/>
                  </a:lnTo>
                  <a:lnTo>
                    <a:pt x="313" y="39"/>
                  </a:lnTo>
                  <a:lnTo>
                    <a:pt x="314" y="39"/>
                  </a:lnTo>
                  <a:lnTo>
                    <a:pt x="316" y="40"/>
                  </a:lnTo>
                  <a:lnTo>
                    <a:pt x="317" y="41"/>
                  </a:lnTo>
                  <a:lnTo>
                    <a:pt x="322" y="43"/>
                  </a:lnTo>
                  <a:lnTo>
                    <a:pt x="323" y="43"/>
                  </a:lnTo>
                  <a:lnTo>
                    <a:pt x="324" y="44"/>
                  </a:lnTo>
                  <a:lnTo>
                    <a:pt x="323" y="45"/>
                  </a:lnTo>
                  <a:lnTo>
                    <a:pt x="322" y="46"/>
                  </a:lnTo>
                  <a:lnTo>
                    <a:pt x="320" y="48"/>
                  </a:lnTo>
                  <a:lnTo>
                    <a:pt x="319" y="49"/>
                  </a:lnTo>
                  <a:lnTo>
                    <a:pt x="318" y="50"/>
                  </a:lnTo>
                  <a:lnTo>
                    <a:pt x="317" y="51"/>
                  </a:lnTo>
                  <a:lnTo>
                    <a:pt x="317" y="52"/>
                  </a:lnTo>
                  <a:lnTo>
                    <a:pt x="317" y="52"/>
                  </a:lnTo>
                  <a:lnTo>
                    <a:pt x="317" y="53"/>
                  </a:lnTo>
                  <a:lnTo>
                    <a:pt x="317" y="54"/>
                  </a:lnTo>
                  <a:lnTo>
                    <a:pt x="317" y="54"/>
                  </a:lnTo>
                  <a:lnTo>
                    <a:pt x="317" y="55"/>
                  </a:lnTo>
                  <a:lnTo>
                    <a:pt x="317" y="56"/>
                  </a:lnTo>
                  <a:lnTo>
                    <a:pt x="318" y="58"/>
                  </a:lnTo>
                  <a:lnTo>
                    <a:pt x="319" y="60"/>
                  </a:lnTo>
                  <a:lnTo>
                    <a:pt x="319" y="61"/>
                  </a:lnTo>
                  <a:lnTo>
                    <a:pt x="320" y="63"/>
                  </a:lnTo>
                  <a:lnTo>
                    <a:pt x="321" y="65"/>
                  </a:lnTo>
                  <a:lnTo>
                    <a:pt x="321" y="66"/>
                  </a:lnTo>
                  <a:lnTo>
                    <a:pt x="321" y="66"/>
                  </a:lnTo>
                  <a:lnTo>
                    <a:pt x="321" y="67"/>
                  </a:lnTo>
                  <a:lnTo>
                    <a:pt x="321" y="69"/>
                  </a:lnTo>
                  <a:lnTo>
                    <a:pt x="321" y="74"/>
                  </a:lnTo>
                  <a:lnTo>
                    <a:pt x="321" y="75"/>
                  </a:lnTo>
                  <a:lnTo>
                    <a:pt x="321" y="76"/>
                  </a:lnTo>
                  <a:lnTo>
                    <a:pt x="322" y="77"/>
                  </a:lnTo>
                  <a:lnTo>
                    <a:pt x="322" y="78"/>
                  </a:lnTo>
                  <a:lnTo>
                    <a:pt x="322" y="78"/>
                  </a:lnTo>
                  <a:lnTo>
                    <a:pt x="323" y="80"/>
                  </a:lnTo>
                  <a:lnTo>
                    <a:pt x="324" y="81"/>
                  </a:lnTo>
                  <a:lnTo>
                    <a:pt x="324" y="82"/>
                  </a:lnTo>
                  <a:lnTo>
                    <a:pt x="325" y="83"/>
                  </a:lnTo>
                  <a:lnTo>
                    <a:pt x="325" y="84"/>
                  </a:lnTo>
                  <a:lnTo>
                    <a:pt x="326" y="87"/>
                  </a:lnTo>
                  <a:lnTo>
                    <a:pt x="327" y="89"/>
                  </a:lnTo>
                  <a:lnTo>
                    <a:pt x="327" y="90"/>
                  </a:lnTo>
                  <a:lnTo>
                    <a:pt x="327" y="91"/>
                  </a:lnTo>
                  <a:lnTo>
                    <a:pt x="327" y="93"/>
                  </a:lnTo>
                  <a:lnTo>
                    <a:pt x="326" y="94"/>
                  </a:lnTo>
                  <a:lnTo>
                    <a:pt x="326" y="95"/>
                  </a:lnTo>
                  <a:lnTo>
                    <a:pt x="325" y="96"/>
                  </a:lnTo>
                  <a:lnTo>
                    <a:pt x="325" y="97"/>
                  </a:lnTo>
                  <a:lnTo>
                    <a:pt x="323" y="99"/>
                  </a:lnTo>
                  <a:lnTo>
                    <a:pt x="323" y="100"/>
                  </a:lnTo>
                  <a:lnTo>
                    <a:pt x="322" y="101"/>
                  </a:lnTo>
                  <a:lnTo>
                    <a:pt x="321" y="104"/>
                  </a:lnTo>
                  <a:lnTo>
                    <a:pt x="321" y="105"/>
                  </a:lnTo>
                  <a:lnTo>
                    <a:pt x="321" y="105"/>
                  </a:lnTo>
                  <a:lnTo>
                    <a:pt x="320" y="105"/>
                  </a:lnTo>
                  <a:lnTo>
                    <a:pt x="320" y="106"/>
                  </a:lnTo>
                  <a:lnTo>
                    <a:pt x="319" y="106"/>
                  </a:lnTo>
                  <a:lnTo>
                    <a:pt x="317" y="108"/>
                  </a:lnTo>
                  <a:lnTo>
                    <a:pt x="316" y="108"/>
                  </a:lnTo>
                  <a:lnTo>
                    <a:pt x="316" y="108"/>
                  </a:lnTo>
                  <a:lnTo>
                    <a:pt x="315" y="109"/>
                  </a:lnTo>
                  <a:lnTo>
                    <a:pt x="315" y="110"/>
                  </a:lnTo>
                  <a:lnTo>
                    <a:pt x="315" y="110"/>
                  </a:lnTo>
                  <a:lnTo>
                    <a:pt x="314" y="111"/>
                  </a:lnTo>
                  <a:lnTo>
                    <a:pt x="314" y="111"/>
                  </a:lnTo>
                  <a:lnTo>
                    <a:pt x="314" y="112"/>
                  </a:lnTo>
                  <a:lnTo>
                    <a:pt x="314" y="113"/>
                  </a:lnTo>
                  <a:lnTo>
                    <a:pt x="315" y="114"/>
                  </a:lnTo>
                  <a:lnTo>
                    <a:pt x="315" y="114"/>
                  </a:lnTo>
                  <a:lnTo>
                    <a:pt x="315" y="115"/>
                  </a:lnTo>
                  <a:lnTo>
                    <a:pt x="316" y="117"/>
                  </a:lnTo>
                  <a:lnTo>
                    <a:pt x="317" y="118"/>
                  </a:lnTo>
                  <a:lnTo>
                    <a:pt x="317" y="119"/>
                  </a:lnTo>
                  <a:lnTo>
                    <a:pt x="318" y="120"/>
                  </a:lnTo>
                  <a:lnTo>
                    <a:pt x="318" y="121"/>
                  </a:lnTo>
                  <a:lnTo>
                    <a:pt x="318" y="122"/>
                  </a:lnTo>
                  <a:lnTo>
                    <a:pt x="319" y="123"/>
                  </a:lnTo>
                  <a:lnTo>
                    <a:pt x="319" y="124"/>
                  </a:lnTo>
                  <a:lnTo>
                    <a:pt x="320" y="124"/>
                  </a:lnTo>
                  <a:lnTo>
                    <a:pt x="320" y="125"/>
                  </a:lnTo>
                  <a:lnTo>
                    <a:pt x="321" y="125"/>
                  </a:lnTo>
                  <a:lnTo>
                    <a:pt x="322" y="126"/>
                  </a:lnTo>
                  <a:lnTo>
                    <a:pt x="323" y="126"/>
                  </a:lnTo>
                  <a:lnTo>
                    <a:pt x="323" y="126"/>
                  </a:lnTo>
                  <a:lnTo>
                    <a:pt x="324" y="127"/>
                  </a:lnTo>
                  <a:lnTo>
                    <a:pt x="324" y="127"/>
                  </a:lnTo>
                  <a:lnTo>
                    <a:pt x="325" y="127"/>
                  </a:lnTo>
                  <a:lnTo>
                    <a:pt x="326" y="127"/>
                  </a:lnTo>
                  <a:lnTo>
                    <a:pt x="329" y="127"/>
                  </a:lnTo>
                  <a:lnTo>
                    <a:pt x="330" y="128"/>
                  </a:lnTo>
                  <a:lnTo>
                    <a:pt x="330" y="128"/>
                  </a:lnTo>
                  <a:lnTo>
                    <a:pt x="332" y="128"/>
                  </a:lnTo>
                  <a:lnTo>
                    <a:pt x="333" y="129"/>
                  </a:lnTo>
                  <a:lnTo>
                    <a:pt x="334" y="129"/>
                  </a:lnTo>
                  <a:lnTo>
                    <a:pt x="334" y="130"/>
                  </a:lnTo>
                  <a:lnTo>
                    <a:pt x="335" y="130"/>
                  </a:lnTo>
                  <a:lnTo>
                    <a:pt x="336" y="132"/>
                  </a:lnTo>
                  <a:lnTo>
                    <a:pt x="336" y="132"/>
                  </a:lnTo>
                  <a:lnTo>
                    <a:pt x="337" y="133"/>
                  </a:lnTo>
                  <a:lnTo>
                    <a:pt x="338" y="134"/>
                  </a:lnTo>
                  <a:lnTo>
                    <a:pt x="339" y="135"/>
                  </a:lnTo>
                  <a:lnTo>
                    <a:pt x="341" y="137"/>
                  </a:lnTo>
                  <a:lnTo>
                    <a:pt x="341" y="137"/>
                  </a:lnTo>
                  <a:lnTo>
                    <a:pt x="342" y="138"/>
                  </a:lnTo>
                  <a:lnTo>
                    <a:pt x="342" y="139"/>
                  </a:lnTo>
                  <a:lnTo>
                    <a:pt x="343" y="139"/>
                  </a:lnTo>
                  <a:lnTo>
                    <a:pt x="343" y="140"/>
                  </a:lnTo>
                  <a:lnTo>
                    <a:pt x="343" y="142"/>
                  </a:lnTo>
                  <a:lnTo>
                    <a:pt x="343" y="144"/>
                  </a:lnTo>
                  <a:lnTo>
                    <a:pt x="343" y="144"/>
                  </a:lnTo>
                  <a:lnTo>
                    <a:pt x="343" y="145"/>
                  </a:lnTo>
                  <a:lnTo>
                    <a:pt x="343" y="146"/>
                  </a:lnTo>
                  <a:lnTo>
                    <a:pt x="344" y="147"/>
                  </a:lnTo>
                  <a:lnTo>
                    <a:pt x="344" y="148"/>
                  </a:lnTo>
                  <a:lnTo>
                    <a:pt x="344" y="148"/>
                  </a:lnTo>
                  <a:lnTo>
                    <a:pt x="345" y="149"/>
                  </a:lnTo>
                  <a:lnTo>
                    <a:pt x="345" y="149"/>
                  </a:lnTo>
                  <a:lnTo>
                    <a:pt x="346" y="150"/>
                  </a:lnTo>
                  <a:lnTo>
                    <a:pt x="347" y="150"/>
                  </a:lnTo>
                  <a:lnTo>
                    <a:pt x="347" y="151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50" y="152"/>
                  </a:lnTo>
                  <a:lnTo>
                    <a:pt x="350" y="152"/>
                  </a:lnTo>
                  <a:lnTo>
                    <a:pt x="351" y="152"/>
                  </a:lnTo>
                  <a:lnTo>
                    <a:pt x="352" y="152"/>
                  </a:lnTo>
                  <a:lnTo>
                    <a:pt x="353" y="152"/>
                  </a:lnTo>
                  <a:lnTo>
                    <a:pt x="357" y="151"/>
                  </a:lnTo>
                  <a:lnTo>
                    <a:pt x="358" y="151"/>
                  </a:lnTo>
                  <a:lnTo>
                    <a:pt x="359" y="151"/>
                  </a:lnTo>
                  <a:lnTo>
                    <a:pt x="363" y="152"/>
                  </a:lnTo>
                  <a:lnTo>
                    <a:pt x="366" y="152"/>
                  </a:lnTo>
                  <a:lnTo>
                    <a:pt x="369" y="153"/>
                  </a:lnTo>
                  <a:lnTo>
                    <a:pt x="370" y="153"/>
                  </a:lnTo>
                  <a:lnTo>
                    <a:pt x="371" y="153"/>
                  </a:lnTo>
                  <a:lnTo>
                    <a:pt x="372" y="153"/>
                  </a:lnTo>
                  <a:lnTo>
                    <a:pt x="373" y="152"/>
                  </a:lnTo>
                  <a:lnTo>
                    <a:pt x="377" y="151"/>
                  </a:lnTo>
                  <a:lnTo>
                    <a:pt x="379" y="150"/>
                  </a:lnTo>
                  <a:lnTo>
                    <a:pt x="380" y="150"/>
                  </a:lnTo>
                  <a:lnTo>
                    <a:pt x="382" y="149"/>
                  </a:lnTo>
                  <a:lnTo>
                    <a:pt x="382" y="149"/>
                  </a:lnTo>
                  <a:lnTo>
                    <a:pt x="383" y="149"/>
                  </a:lnTo>
                  <a:lnTo>
                    <a:pt x="384" y="149"/>
                  </a:lnTo>
                  <a:lnTo>
                    <a:pt x="384" y="149"/>
                  </a:lnTo>
                  <a:lnTo>
                    <a:pt x="385" y="149"/>
                  </a:lnTo>
                  <a:lnTo>
                    <a:pt x="386" y="149"/>
                  </a:lnTo>
                  <a:lnTo>
                    <a:pt x="386" y="150"/>
                  </a:lnTo>
                  <a:lnTo>
                    <a:pt x="387" y="151"/>
                  </a:lnTo>
                  <a:lnTo>
                    <a:pt x="389" y="152"/>
                  </a:lnTo>
                  <a:lnTo>
                    <a:pt x="389" y="153"/>
                  </a:lnTo>
                  <a:lnTo>
                    <a:pt x="390" y="153"/>
                  </a:lnTo>
                  <a:lnTo>
                    <a:pt x="391" y="154"/>
                  </a:lnTo>
                  <a:lnTo>
                    <a:pt x="391" y="155"/>
                  </a:lnTo>
                  <a:lnTo>
                    <a:pt x="391" y="155"/>
                  </a:lnTo>
                  <a:lnTo>
                    <a:pt x="392" y="156"/>
                  </a:lnTo>
                  <a:lnTo>
                    <a:pt x="392" y="158"/>
                  </a:lnTo>
                  <a:lnTo>
                    <a:pt x="392" y="158"/>
                  </a:lnTo>
                  <a:lnTo>
                    <a:pt x="392" y="160"/>
                  </a:lnTo>
                  <a:lnTo>
                    <a:pt x="392" y="162"/>
                  </a:lnTo>
                  <a:lnTo>
                    <a:pt x="393" y="165"/>
                  </a:lnTo>
                  <a:lnTo>
                    <a:pt x="393" y="167"/>
                  </a:lnTo>
                  <a:lnTo>
                    <a:pt x="392" y="168"/>
                  </a:lnTo>
                  <a:lnTo>
                    <a:pt x="392" y="171"/>
                  </a:lnTo>
                  <a:lnTo>
                    <a:pt x="392" y="172"/>
                  </a:lnTo>
                  <a:lnTo>
                    <a:pt x="392" y="173"/>
                  </a:lnTo>
                  <a:lnTo>
                    <a:pt x="392" y="174"/>
                  </a:lnTo>
                  <a:lnTo>
                    <a:pt x="392" y="176"/>
                  </a:lnTo>
                  <a:lnTo>
                    <a:pt x="392" y="178"/>
                  </a:lnTo>
                  <a:lnTo>
                    <a:pt x="392" y="179"/>
                  </a:lnTo>
                  <a:lnTo>
                    <a:pt x="392" y="179"/>
                  </a:lnTo>
                  <a:lnTo>
                    <a:pt x="392" y="180"/>
                  </a:lnTo>
                  <a:lnTo>
                    <a:pt x="393" y="182"/>
                  </a:lnTo>
                  <a:lnTo>
                    <a:pt x="394" y="183"/>
                  </a:lnTo>
                  <a:lnTo>
                    <a:pt x="396" y="185"/>
                  </a:lnTo>
                  <a:lnTo>
                    <a:pt x="396" y="186"/>
                  </a:lnTo>
                  <a:lnTo>
                    <a:pt x="397" y="188"/>
                  </a:lnTo>
                  <a:lnTo>
                    <a:pt x="397" y="189"/>
                  </a:lnTo>
                  <a:lnTo>
                    <a:pt x="398" y="191"/>
                  </a:lnTo>
                  <a:lnTo>
                    <a:pt x="398" y="191"/>
                  </a:lnTo>
                  <a:lnTo>
                    <a:pt x="398" y="192"/>
                  </a:lnTo>
                  <a:lnTo>
                    <a:pt x="398" y="192"/>
                  </a:lnTo>
                  <a:lnTo>
                    <a:pt x="398" y="193"/>
                  </a:lnTo>
                  <a:lnTo>
                    <a:pt x="398" y="194"/>
                  </a:lnTo>
                  <a:lnTo>
                    <a:pt x="397" y="195"/>
                  </a:lnTo>
                  <a:lnTo>
                    <a:pt x="397" y="196"/>
                  </a:lnTo>
                  <a:lnTo>
                    <a:pt x="396" y="198"/>
                  </a:lnTo>
                  <a:lnTo>
                    <a:pt x="396" y="199"/>
                  </a:lnTo>
                  <a:lnTo>
                    <a:pt x="395" y="200"/>
                  </a:lnTo>
                  <a:lnTo>
                    <a:pt x="394" y="202"/>
                  </a:lnTo>
                  <a:lnTo>
                    <a:pt x="393" y="203"/>
                  </a:lnTo>
                  <a:lnTo>
                    <a:pt x="392" y="204"/>
                  </a:lnTo>
                  <a:lnTo>
                    <a:pt x="391" y="206"/>
                  </a:lnTo>
                  <a:lnTo>
                    <a:pt x="390" y="207"/>
                  </a:lnTo>
                  <a:lnTo>
                    <a:pt x="389" y="208"/>
                  </a:lnTo>
                  <a:lnTo>
                    <a:pt x="389" y="209"/>
                  </a:lnTo>
                  <a:lnTo>
                    <a:pt x="388" y="210"/>
                  </a:lnTo>
                  <a:lnTo>
                    <a:pt x="388" y="210"/>
                  </a:lnTo>
                  <a:lnTo>
                    <a:pt x="388" y="211"/>
                  </a:lnTo>
                  <a:lnTo>
                    <a:pt x="389" y="212"/>
                  </a:lnTo>
                  <a:lnTo>
                    <a:pt x="389" y="213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8" y="217"/>
                  </a:lnTo>
                  <a:lnTo>
                    <a:pt x="388" y="217"/>
                  </a:lnTo>
                  <a:lnTo>
                    <a:pt x="388" y="217"/>
                  </a:lnTo>
                  <a:lnTo>
                    <a:pt x="388" y="218"/>
                  </a:lnTo>
                  <a:lnTo>
                    <a:pt x="388" y="218"/>
                  </a:lnTo>
                  <a:lnTo>
                    <a:pt x="389" y="218"/>
                  </a:lnTo>
                  <a:lnTo>
                    <a:pt x="390" y="219"/>
                  </a:lnTo>
                  <a:lnTo>
                    <a:pt x="393" y="220"/>
                  </a:lnTo>
                  <a:lnTo>
                    <a:pt x="397" y="221"/>
                  </a:lnTo>
                  <a:lnTo>
                    <a:pt x="398" y="221"/>
                  </a:lnTo>
                  <a:lnTo>
                    <a:pt x="399" y="221"/>
                  </a:lnTo>
                  <a:lnTo>
                    <a:pt x="401" y="222"/>
                  </a:lnTo>
                  <a:lnTo>
                    <a:pt x="402" y="222"/>
                  </a:lnTo>
                  <a:lnTo>
                    <a:pt x="403" y="222"/>
                  </a:lnTo>
                  <a:lnTo>
                    <a:pt x="404" y="223"/>
                  </a:lnTo>
                  <a:lnTo>
                    <a:pt x="405" y="223"/>
                  </a:lnTo>
                  <a:lnTo>
                    <a:pt x="407" y="225"/>
                  </a:lnTo>
                  <a:lnTo>
                    <a:pt x="408" y="226"/>
                  </a:lnTo>
                  <a:lnTo>
                    <a:pt x="410" y="226"/>
                  </a:lnTo>
                  <a:lnTo>
                    <a:pt x="410" y="227"/>
                  </a:lnTo>
                  <a:lnTo>
                    <a:pt x="410" y="227"/>
                  </a:lnTo>
                  <a:lnTo>
                    <a:pt x="411" y="228"/>
                  </a:lnTo>
                  <a:lnTo>
                    <a:pt x="411" y="228"/>
                  </a:lnTo>
                  <a:lnTo>
                    <a:pt x="411" y="229"/>
                  </a:lnTo>
                  <a:lnTo>
                    <a:pt x="411" y="229"/>
                  </a:lnTo>
                  <a:lnTo>
                    <a:pt x="411" y="230"/>
                  </a:lnTo>
                  <a:lnTo>
                    <a:pt x="411" y="231"/>
                  </a:lnTo>
                  <a:lnTo>
                    <a:pt x="411" y="231"/>
                  </a:lnTo>
                  <a:lnTo>
                    <a:pt x="411" y="233"/>
                  </a:lnTo>
                  <a:lnTo>
                    <a:pt x="411" y="234"/>
                  </a:lnTo>
                  <a:lnTo>
                    <a:pt x="411" y="235"/>
                  </a:lnTo>
                  <a:lnTo>
                    <a:pt x="410" y="235"/>
                  </a:lnTo>
                  <a:lnTo>
                    <a:pt x="410" y="236"/>
                  </a:lnTo>
                  <a:lnTo>
                    <a:pt x="410" y="236"/>
                  </a:lnTo>
                  <a:lnTo>
                    <a:pt x="409" y="236"/>
                  </a:lnTo>
                  <a:lnTo>
                    <a:pt x="408" y="236"/>
                  </a:lnTo>
                  <a:lnTo>
                    <a:pt x="408" y="237"/>
                  </a:lnTo>
                  <a:lnTo>
                    <a:pt x="407" y="237"/>
                  </a:lnTo>
                  <a:lnTo>
                    <a:pt x="405" y="237"/>
                  </a:lnTo>
                  <a:lnTo>
                    <a:pt x="404" y="238"/>
                  </a:lnTo>
                  <a:lnTo>
                    <a:pt x="404" y="238"/>
                  </a:lnTo>
                  <a:lnTo>
                    <a:pt x="403" y="238"/>
                  </a:lnTo>
                  <a:lnTo>
                    <a:pt x="403" y="239"/>
                  </a:lnTo>
                  <a:lnTo>
                    <a:pt x="402" y="239"/>
                  </a:lnTo>
                  <a:lnTo>
                    <a:pt x="402" y="239"/>
                  </a:lnTo>
                  <a:lnTo>
                    <a:pt x="402" y="240"/>
                  </a:lnTo>
                  <a:lnTo>
                    <a:pt x="402" y="240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403" y="242"/>
                  </a:lnTo>
                  <a:lnTo>
                    <a:pt x="404" y="243"/>
                  </a:lnTo>
                  <a:lnTo>
                    <a:pt x="404" y="243"/>
                  </a:lnTo>
                  <a:lnTo>
                    <a:pt x="404" y="244"/>
                  </a:lnTo>
                  <a:lnTo>
                    <a:pt x="404" y="244"/>
                  </a:lnTo>
                  <a:lnTo>
                    <a:pt x="404" y="245"/>
                  </a:lnTo>
                  <a:lnTo>
                    <a:pt x="404" y="245"/>
                  </a:lnTo>
                  <a:lnTo>
                    <a:pt x="403" y="246"/>
                  </a:lnTo>
                  <a:lnTo>
                    <a:pt x="403" y="247"/>
                  </a:lnTo>
                  <a:lnTo>
                    <a:pt x="403" y="247"/>
                  </a:lnTo>
                  <a:lnTo>
                    <a:pt x="403" y="249"/>
                  </a:lnTo>
                  <a:lnTo>
                    <a:pt x="402" y="251"/>
                  </a:lnTo>
                  <a:lnTo>
                    <a:pt x="402" y="252"/>
                  </a:lnTo>
                  <a:lnTo>
                    <a:pt x="402" y="253"/>
                  </a:lnTo>
                  <a:lnTo>
                    <a:pt x="402" y="254"/>
                  </a:lnTo>
                  <a:lnTo>
                    <a:pt x="401" y="254"/>
                  </a:lnTo>
                  <a:lnTo>
                    <a:pt x="401" y="255"/>
                  </a:lnTo>
                  <a:lnTo>
                    <a:pt x="401" y="255"/>
                  </a:lnTo>
                  <a:lnTo>
                    <a:pt x="400" y="256"/>
                  </a:lnTo>
                  <a:lnTo>
                    <a:pt x="399" y="256"/>
                  </a:lnTo>
                  <a:lnTo>
                    <a:pt x="397" y="258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1"/>
                  </a:lnTo>
                  <a:lnTo>
                    <a:pt x="397" y="262"/>
                  </a:lnTo>
                  <a:lnTo>
                    <a:pt x="397" y="262"/>
                  </a:lnTo>
                  <a:lnTo>
                    <a:pt x="398" y="263"/>
                  </a:lnTo>
                  <a:lnTo>
                    <a:pt x="398" y="263"/>
                  </a:lnTo>
                  <a:lnTo>
                    <a:pt x="397" y="263"/>
                  </a:lnTo>
                  <a:lnTo>
                    <a:pt x="397" y="263"/>
                  </a:lnTo>
                  <a:lnTo>
                    <a:pt x="397" y="264"/>
                  </a:lnTo>
                  <a:lnTo>
                    <a:pt x="396" y="264"/>
                  </a:lnTo>
                  <a:lnTo>
                    <a:pt x="394" y="265"/>
                  </a:lnTo>
                  <a:lnTo>
                    <a:pt x="394" y="265"/>
                  </a:lnTo>
                  <a:lnTo>
                    <a:pt x="393" y="265"/>
                  </a:lnTo>
                  <a:lnTo>
                    <a:pt x="393" y="266"/>
                  </a:lnTo>
                  <a:lnTo>
                    <a:pt x="392" y="266"/>
                  </a:lnTo>
                  <a:lnTo>
                    <a:pt x="392" y="267"/>
                  </a:lnTo>
                  <a:lnTo>
                    <a:pt x="392" y="267"/>
                  </a:lnTo>
                  <a:lnTo>
                    <a:pt x="392" y="267"/>
                  </a:lnTo>
                  <a:lnTo>
                    <a:pt x="392" y="268"/>
                  </a:lnTo>
                  <a:lnTo>
                    <a:pt x="392" y="269"/>
                  </a:lnTo>
                  <a:lnTo>
                    <a:pt x="392" y="269"/>
                  </a:lnTo>
                  <a:lnTo>
                    <a:pt x="392" y="270"/>
                  </a:lnTo>
                  <a:lnTo>
                    <a:pt x="393" y="271"/>
                  </a:lnTo>
                  <a:lnTo>
                    <a:pt x="393" y="272"/>
                  </a:lnTo>
                  <a:lnTo>
                    <a:pt x="394" y="272"/>
                  </a:lnTo>
                  <a:lnTo>
                    <a:pt x="395" y="273"/>
                  </a:lnTo>
                  <a:lnTo>
                    <a:pt x="396" y="274"/>
                  </a:lnTo>
                  <a:lnTo>
                    <a:pt x="397" y="274"/>
                  </a:lnTo>
                  <a:lnTo>
                    <a:pt x="398" y="275"/>
                  </a:lnTo>
                  <a:lnTo>
                    <a:pt x="399" y="275"/>
                  </a:lnTo>
                  <a:lnTo>
                    <a:pt x="400" y="276"/>
                  </a:lnTo>
                  <a:lnTo>
                    <a:pt x="403" y="276"/>
                  </a:lnTo>
                  <a:lnTo>
                    <a:pt x="403" y="277"/>
                  </a:lnTo>
                  <a:lnTo>
                    <a:pt x="404" y="277"/>
                  </a:lnTo>
                  <a:lnTo>
                    <a:pt x="406" y="278"/>
                  </a:lnTo>
                  <a:lnTo>
                    <a:pt x="406" y="278"/>
                  </a:lnTo>
                  <a:lnTo>
                    <a:pt x="407" y="279"/>
                  </a:lnTo>
                  <a:lnTo>
                    <a:pt x="408" y="279"/>
                  </a:lnTo>
                  <a:lnTo>
                    <a:pt x="408" y="280"/>
                  </a:lnTo>
                  <a:lnTo>
                    <a:pt x="409" y="280"/>
                  </a:lnTo>
                  <a:lnTo>
                    <a:pt x="409" y="280"/>
                  </a:lnTo>
                  <a:lnTo>
                    <a:pt x="410" y="281"/>
                  </a:lnTo>
                  <a:lnTo>
                    <a:pt x="412" y="281"/>
                  </a:lnTo>
                  <a:lnTo>
                    <a:pt x="413" y="282"/>
                  </a:lnTo>
                  <a:lnTo>
                    <a:pt x="415" y="282"/>
                  </a:lnTo>
                  <a:lnTo>
                    <a:pt x="415" y="282"/>
                  </a:lnTo>
                  <a:lnTo>
                    <a:pt x="416" y="282"/>
                  </a:lnTo>
                  <a:lnTo>
                    <a:pt x="416" y="282"/>
                  </a:lnTo>
                  <a:lnTo>
                    <a:pt x="416" y="283"/>
                  </a:lnTo>
                  <a:lnTo>
                    <a:pt x="417" y="284"/>
                  </a:lnTo>
                  <a:lnTo>
                    <a:pt x="418" y="284"/>
                  </a:lnTo>
                  <a:lnTo>
                    <a:pt x="418" y="284"/>
                  </a:lnTo>
                  <a:lnTo>
                    <a:pt x="419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6"/>
                  </a:lnTo>
                  <a:lnTo>
                    <a:pt x="421" y="286"/>
                  </a:lnTo>
                  <a:lnTo>
                    <a:pt x="421" y="287"/>
                  </a:lnTo>
                  <a:lnTo>
                    <a:pt x="421" y="290"/>
                  </a:lnTo>
                  <a:lnTo>
                    <a:pt x="421" y="290"/>
                  </a:lnTo>
                  <a:lnTo>
                    <a:pt x="421" y="291"/>
                  </a:lnTo>
                  <a:lnTo>
                    <a:pt x="421" y="291"/>
                  </a:lnTo>
                  <a:lnTo>
                    <a:pt x="421" y="292"/>
                  </a:lnTo>
                  <a:lnTo>
                    <a:pt x="422" y="293"/>
                  </a:lnTo>
                  <a:lnTo>
                    <a:pt x="422" y="293"/>
                  </a:lnTo>
                  <a:lnTo>
                    <a:pt x="423" y="294"/>
                  </a:lnTo>
                  <a:lnTo>
                    <a:pt x="425" y="295"/>
                  </a:lnTo>
                  <a:lnTo>
                    <a:pt x="426" y="296"/>
                  </a:lnTo>
                  <a:lnTo>
                    <a:pt x="427" y="297"/>
                  </a:lnTo>
                  <a:lnTo>
                    <a:pt x="429" y="298"/>
                  </a:lnTo>
                  <a:lnTo>
                    <a:pt x="430" y="299"/>
                  </a:lnTo>
                  <a:lnTo>
                    <a:pt x="433" y="300"/>
                  </a:lnTo>
                  <a:lnTo>
                    <a:pt x="434" y="301"/>
                  </a:lnTo>
                  <a:lnTo>
                    <a:pt x="435" y="301"/>
                  </a:lnTo>
                  <a:lnTo>
                    <a:pt x="436" y="302"/>
                  </a:lnTo>
                  <a:lnTo>
                    <a:pt x="437" y="303"/>
                  </a:lnTo>
                  <a:lnTo>
                    <a:pt x="437" y="304"/>
                  </a:lnTo>
                  <a:lnTo>
                    <a:pt x="438" y="304"/>
                  </a:lnTo>
                  <a:lnTo>
                    <a:pt x="438" y="305"/>
                  </a:lnTo>
                  <a:lnTo>
                    <a:pt x="438" y="306"/>
                  </a:lnTo>
                  <a:lnTo>
                    <a:pt x="438" y="307"/>
                  </a:lnTo>
                  <a:lnTo>
                    <a:pt x="438" y="307"/>
                  </a:lnTo>
                  <a:lnTo>
                    <a:pt x="438" y="309"/>
                  </a:lnTo>
                  <a:lnTo>
                    <a:pt x="437" y="311"/>
                  </a:lnTo>
                  <a:lnTo>
                    <a:pt x="437" y="312"/>
                  </a:lnTo>
                  <a:lnTo>
                    <a:pt x="437" y="312"/>
                  </a:lnTo>
                  <a:lnTo>
                    <a:pt x="437" y="313"/>
                  </a:lnTo>
                  <a:lnTo>
                    <a:pt x="437" y="314"/>
                  </a:lnTo>
                  <a:lnTo>
                    <a:pt x="437" y="314"/>
                  </a:lnTo>
                  <a:lnTo>
                    <a:pt x="438" y="317"/>
                  </a:lnTo>
                  <a:lnTo>
                    <a:pt x="438" y="318"/>
                  </a:lnTo>
                  <a:lnTo>
                    <a:pt x="438" y="319"/>
                  </a:lnTo>
                  <a:lnTo>
                    <a:pt x="438" y="320"/>
                  </a:lnTo>
                  <a:lnTo>
                    <a:pt x="438" y="321"/>
                  </a:lnTo>
                  <a:lnTo>
                    <a:pt x="438" y="322"/>
                  </a:lnTo>
                  <a:lnTo>
                    <a:pt x="437" y="324"/>
                  </a:lnTo>
                  <a:lnTo>
                    <a:pt x="436" y="325"/>
                  </a:lnTo>
                  <a:lnTo>
                    <a:pt x="435" y="329"/>
                  </a:lnTo>
                  <a:lnTo>
                    <a:pt x="434" y="330"/>
                  </a:lnTo>
                  <a:lnTo>
                    <a:pt x="434" y="331"/>
                  </a:lnTo>
                  <a:lnTo>
                    <a:pt x="432" y="333"/>
                  </a:lnTo>
                  <a:lnTo>
                    <a:pt x="432" y="333"/>
                  </a:lnTo>
                  <a:lnTo>
                    <a:pt x="431" y="334"/>
                  </a:lnTo>
                  <a:lnTo>
                    <a:pt x="431" y="335"/>
                  </a:lnTo>
                  <a:lnTo>
                    <a:pt x="431" y="336"/>
                  </a:lnTo>
                  <a:lnTo>
                    <a:pt x="431" y="336"/>
                  </a:lnTo>
                  <a:lnTo>
                    <a:pt x="431" y="340"/>
                  </a:lnTo>
                  <a:lnTo>
                    <a:pt x="430" y="343"/>
                  </a:lnTo>
                  <a:lnTo>
                    <a:pt x="430" y="347"/>
                  </a:lnTo>
                  <a:lnTo>
                    <a:pt x="429" y="349"/>
                  </a:lnTo>
                  <a:lnTo>
                    <a:pt x="429" y="349"/>
                  </a:lnTo>
                  <a:lnTo>
                    <a:pt x="429" y="350"/>
                  </a:lnTo>
                  <a:lnTo>
                    <a:pt x="429" y="349"/>
                  </a:lnTo>
                  <a:lnTo>
                    <a:pt x="429" y="350"/>
                  </a:lnTo>
                  <a:lnTo>
                    <a:pt x="429" y="350"/>
                  </a:lnTo>
                  <a:lnTo>
                    <a:pt x="429" y="351"/>
                  </a:lnTo>
                  <a:lnTo>
                    <a:pt x="428" y="351"/>
                  </a:lnTo>
                  <a:lnTo>
                    <a:pt x="428" y="352"/>
                  </a:lnTo>
                  <a:lnTo>
                    <a:pt x="427" y="353"/>
                  </a:lnTo>
                  <a:lnTo>
                    <a:pt x="424" y="354"/>
                  </a:lnTo>
                  <a:lnTo>
                    <a:pt x="422" y="356"/>
                  </a:lnTo>
                  <a:lnTo>
                    <a:pt x="421" y="357"/>
                  </a:lnTo>
                  <a:lnTo>
                    <a:pt x="421" y="357"/>
                  </a:lnTo>
                  <a:lnTo>
                    <a:pt x="421" y="357"/>
                  </a:lnTo>
                  <a:lnTo>
                    <a:pt x="420" y="358"/>
                  </a:lnTo>
                  <a:lnTo>
                    <a:pt x="419" y="358"/>
                  </a:lnTo>
                  <a:lnTo>
                    <a:pt x="418" y="358"/>
                  </a:lnTo>
                  <a:lnTo>
                    <a:pt x="416" y="358"/>
                  </a:lnTo>
                  <a:lnTo>
                    <a:pt x="415" y="358"/>
                  </a:lnTo>
                  <a:lnTo>
                    <a:pt x="414" y="359"/>
                  </a:lnTo>
                  <a:lnTo>
                    <a:pt x="413" y="359"/>
                  </a:lnTo>
                  <a:lnTo>
                    <a:pt x="412" y="359"/>
                  </a:lnTo>
                  <a:lnTo>
                    <a:pt x="412" y="360"/>
                  </a:lnTo>
                  <a:lnTo>
                    <a:pt x="411" y="360"/>
                  </a:lnTo>
                  <a:lnTo>
                    <a:pt x="411" y="361"/>
                  </a:lnTo>
                  <a:lnTo>
                    <a:pt x="409" y="362"/>
                  </a:lnTo>
                  <a:lnTo>
                    <a:pt x="408" y="363"/>
                  </a:lnTo>
                  <a:lnTo>
                    <a:pt x="408" y="364"/>
                  </a:lnTo>
                  <a:lnTo>
                    <a:pt x="408" y="364"/>
                  </a:lnTo>
                  <a:lnTo>
                    <a:pt x="407" y="365"/>
                  </a:lnTo>
                  <a:lnTo>
                    <a:pt x="407" y="365"/>
                  </a:lnTo>
                  <a:lnTo>
                    <a:pt x="407" y="366"/>
                  </a:lnTo>
                  <a:lnTo>
                    <a:pt x="407" y="367"/>
                  </a:lnTo>
                  <a:lnTo>
                    <a:pt x="407" y="367"/>
                  </a:lnTo>
                  <a:lnTo>
                    <a:pt x="407" y="368"/>
                  </a:lnTo>
                  <a:lnTo>
                    <a:pt x="407" y="369"/>
                  </a:lnTo>
                  <a:lnTo>
                    <a:pt x="407" y="369"/>
                  </a:lnTo>
                  <a:lnTo>
                    <a:pt x="408" y="372"/>
                  </a:lnTo>
                  <a:lnTo>
                    <a:pt x="409" y="373"/>
                  </a:lnTo>
                  <a:lnTo>
                    <a:pt x="409" y="374"/>
                  </a:lnTo>
                  <a:lnTo>
                    <a:pt x="409" y="375"/>
                  </a:lnTo>
                  <a:lnTo>
                    <a:pt x="409" y="375"/>
                  </a:lnTo>
                  <a:lnTo>
                    <a:pt x="409" y="376"/>
                  </a:lnTo>
                  <a:lnTo>
                    <a:pt x="409" y="377"/>
                  </a:lnTo>
                  <a:lnTo>
                    <a:pt x="409" y="377"/>
                  </a:lnTo>
                  <a:lnTo>
                    <a:pt x="409" y="377"/>
                  </a:lnTo>
                  <a:lnTo>
                    <a:pt x="409" y="378"/>
                  </a:lnTo>
                  <a:lnTo>
                    <a:pt x="409" y="378"/>
                  </a:lnTo>
                  <a:lnTo>
                    <a:pt x="408" y="379"/>
                  </a:lnTo>
                  <a:lnTo>
                    <a:pt x="408" y="379"/>
                  </a:lnTo>
                  <a:lnTo>
                    <a:pt x="407" y="379"/>
                  </a:lnTo>
                  <a:lnTo>
                    <a:pt x="407" y="380"/>
                  </a:lnTo>
                  <a:lnTo>
                    <a:pt x="406" y="380"/>
                  </a:lnTo>
                  <a:lnTo>
                    <a:pt x="405" y="380"/>
                  </a:lnTo>
                  <a:lnTo>
                    <a:pt x="404" y="380"/>
                  </a:lnTo>
                  <a:lnTo>
                    <a:pt x="403" y="380"/>
                  </a:lnTo>
                  <a:lnTo>
                    <a:pt x="402" y="380"/>
                  </a:lnTo>
                  <a:lnTo>
                    <a:pt x="399" y="380"/>
                  </a:lnTo>
                  <a:lnTo>
                    <a:pt x="397" y="380"/>
                  </a:lnTo>
                  <a:lnTo>
                    <a:pt x="397" y="380"/>
                  </a:lnTo>
                  <a:lnTo>
                    <a:pt x="396" y="380"/>
                  </a:lnTo>
                  <a:lnTo>
                    <a:pt x="395" y="381"/>
                  </a:lnTo>
                  <a:lnTo>
                    <a:pt x="395" y="381"/>
                  </a:lnTo>
                  <a:lnTo>
                    <a:pt x="394" y="382"/>
                  </a:lnTo>
                  <a:lnTo>
                    <a:pt x="393" y="382"/>
                  </a:lnTo>
                  <a:lnTo>
                    <a:pt x="392" y="383"/>
                  </a:lnTo>
                  <a:lnTo>
                    <a:pt x="391" y="386"/>
                  </a:lnTo>
                  <a:lnTo>
                    <a:pt x="390" y="387"/>
                  </a:lnTo>
                  <a:lnTo>
                    <a:pt x="389" y="387"/>
                  </a:lnTo>
                  <a:lnTo>
                    <a:pt x="389" y="388"/>
                  </a:lnTo>
                  <a:lnTo>
                    <a:pt x="387" y="389"/>
                  </a:lnTo>
                  <a:lnTo>
                    <a:pt x="386" y="390"/>
                  </a:lnTo>
                  <a:lnTo>
                    <a:pt x="385" y="390"/>
                  </a:lnTo>
                  <a:lnTo>
                    <a:pt x="383" y="391"/>
                  </a:lnTo>
                  <a:lnTo>
                    <a:pt x="381" y="391"/>
                  </a:lnTo>
                  <a:lnTo>
                    <a:pt x="380" y="391"/>
                  </a:lnTo>
                  <a:lnTo>
                    <a:pt x="378" y="392"/>
                  </a:lnTo>
                  <a:lnTo>
                    <a:pt x="375" y="393"/>
                  </a:lnTo>
                  <a:lnTo>
                    <a:pt x="373" y="393"/>
                  </a:lnTo>
                  <a:lnTo>
                    <a:pt x="371" y="394"/>
                  </a:lnTo>
                  <a:lnTo>
                    <a:pt x="370" y="394"/>
                  </a:lnTo>
                  <a:lnTo>
                    <a:pt x="368" y="395"/>
                  </a:lnTo>
                  <a:lnTo>
                    <a:pt x="367" y="396"/>
                  </a:lnTo>
                  <a:lnTo>
                    <a:pt x="364" y="397"/>
                  </a:lnTo>
                  <a:lnTo>
                    <a:pt x="363" y="398"/>
                  </a:lnTo>
                  <a:lnTo>
                    <a:pt x="362" y="398"/>
                  </a:lnTo>
                  <a:lnTo>
                    <a:pt x="361" y="399"/>
                  </a:lnTo>
                  <a:lnTo>
                    <a:pt x="360" y="399"/>
                  </a:lnTo>
                  <a:lnTo>
                    <a:pt x="360" y="399"/>
                  </a:lnTo>
                  <a:lnTo>
                    <a:pt x="359" y="399"/>
                  </a:lnTo>
                  <a:lnTo>
                    <a:pt x="358" y="399"/>
                  </a:lnTo>
                  <a:lnTo>
                    <a:pt x="358" y="398"/>
                  </a:lnTo>
                  <a:lnTo>
                    <a:pt x="357" y="398"/>
                  </a:lnTo>
                  <a:lnTo>
                    <a:pt x="357" y="398"/>
                  </a:lnTo>
                  <a:lnTo>
                    <a:pt x="356" y="398"/>
                  </a:lnTo>
                  <a:lnTo>
                    <a:pt x="355" y="397"/>
                  </a:lnTo>
                  <a:lnTo>
                    <a:pt x="354" y="397"/>
                  </a:lnTo>
                  <a:lnTo>
                    <a:pt x="354" y="397"/>
                  </a:lnTo>
                  <a:lnTo>
                    <a:pt x="353" y="397"/>
                  </a:lnTo>
                  <a:lnTo>
                    <a:pt x="352" y="398"/>
                  </a:lnTo>
                  <a:lnTo>
                    <a:pt x="351" y="398"/>
                  </a:lnTo>
                  <a:lnTo>
                    <a:pt x="351" y="398"/>
                  </a:lnTo>
                  <a:lnTo>
                    <a:pt x="350" y="399"/>
                  </a:lnTo>
                  <a:lnTo>
                    <a:pt x="349" y="399"/>
                  </a:lnTo>
                  <a:lnTo>
                    <a:pt x="349" y="400"/>
                  </a:lnTo>
                  <a:lnTo>
                    <a:pt x="348" y="400"/>
                  </a:lnTo>
                  <a:lnTo>
                    <a:pt x="348" y="401"/>
                  </a:lnTo>
                  <a:lnTo>
                    <a:pt x="348" y="401"/>
                  </a:lnTo>
                  <a:lnTo>
                    <a:pt x="348" y="402"/>
                  </a:lnTo>
                  <a:lnTo>
                    <a:pt x="347" y="404"/>
                  </a:lnTo>
                  <a:lnTo>
                    <a:pt x="347" y="405"/>
                  </a:lnTo>
                  <a:lnTo>
                    <a:pt x="346" y="407"/>
                  </a:lnTo>
                  <a:lnTo>
                    <a:pt x="344" y="410"/>
                  </a:lnTo>
                  <a:lnTo>
                    <a:pt x="344" y="411"/>
                  </a:lnTo>
                  <a:lnTo>
                    <a:pt x="344" y="412"/>
                  </a:lnTo>
                  <a:lnTo>
                    <a:pt x="343" y="412"/>
                  </a:lnTo>
                  <a:lnTo>
                    <a:pt x="337" y="419"/>
                  </a:lnTo>
                  <a:lnTo>
                    <a:pt x="337" y="420"/>
                  </a:lnTo>
                  <a:lnTo>
                    <a:pt x="336" y="421"/>
                  </a:lnTo>
                  <a:lnTo>
                    <a:pt x="336" y="422"/>
                  </a:lnTo>
                  <a:lnTo>
                    <a:pt x="335" y="423"/>
                  </a:lnTo>
                  <a:lnTo>
                    <a:pt x="335" y="424"/>
                  </a:lnTo>
                  <a:lnTo>
                    <a:pt x="335" y="425"/>
                  </a:lnTo>
                  <a:lnTo>
                    <a:pt x="335" y="426"/>
                  </a:lnTo>
                  <a:lnTo>
                    <a:pt x="334" y="427"/>
                  </a:lnTo>
                  <a:lnTo>
                    <a:pt x="334" y="428"/>
                  </a:lnTo>
                  <a:lnTo>
                    <a:pt x="334" y="429"/>
                  </a:lnTo>
                  <a:lnTo>
                    <a:pt x="334" y="430"/>
                  </a:lnTo>
                  <a:lnTo>
                    <a:pt x="335" y="432"/>
                  </a:lnTo>
                  <a:lnTo>
                    <a:pt x="335" y="433"/>
                  </a:lnTo>
                  <a:lnTo>
                    <a:pt x="335" y="434"/>
                  </a:lnTo>
                  <a:lnTo>
                    <a:pt x="336" y="435"/>
                  </a:lnTo>
                  <a:lnTo>
                    <a:pt x="336" y="436"/>
                  </a:lnTo>
                  <a:lnTo>
                    <a:pt x="336" y="436"/>
                  </a:lnTo>
                  <a:lnTo>
                    <a:pt x="337" y="437"/>
                  </a:lnTo>
                  <a:lnTo>
                    <a:pt x="338" y="437"/>
                  </a:lnTo>
                  <a:lnTo>
                    <a:pt x="338" y="438"/>
                  </a:lnTo>
                  <a:lnTo>
                    <a:pt x="342" y="440"/>
                  </a:lnTo>
                  <a:lnTo>
                    <a:pt x="344" y="440"/>
                  </a:lnTo>
                  <a:lnTo>
                    <a:pt x="346" y="441"/>
                  </a:lnTo>
                  <a:lnTo>
                    <a:pt x="347" y="442"/>
                  </a:lnTo>
                  <a:lnTo>
                    <a:pt x="348" y="442"/>
                  </a:lnTo>
                  <a:lnTo>
                    <a:pt x="349" y="443"/>
                  </a:lnTo>
                  <a:lnTo>
                    <a:pt x="349" y="443"/>
                  </a:lnTo>
                  <a:lnTo>
                    <a:pt x="350" y="444"/>
                  </a:lnTo>
                  <a:lnTo>
                    <a:pt x="350" y="444"/>
                  </a:lnTo>
                  <a:lnTo>
                    <a:pt x="351" y="445"/>
                  </a:lnTo>
                  <a:lnTo>
                    <a:pt x="352" y="446"/>
                  </a:lnTo>
                  <a:lnTo>
                    <a:pt x="353" y="448"/>
                  </a:lnTo>
                  <a:lnTo>
                    <a:pt x="353" y="449"/>
                  </a:lnTo>
                  <a:lnTo>
                    <a:pt x="354" y="450"/>
                  </a:lnTo>
                  <a:lnTo>
                    <a:pt x="354" y="451"/>
                  </a:lnTo>
                  <a:lnTo>
                    <a:pt x="354" y="451"/>
                  </a:lnTo>
                  <a:lnTo>
                    <a:pt x="354" y="452"/>
                  </a:lnTo>
                  <a:lnTo>
                    <a:pt x="354" y="454"/>
                  </a:lnTo>
                  <a:lnTo>
                    <a:pt x="354" y="455"/>
                  </a:lnTo>
                  <a:lnTo>
                    <a:pt x="354" y="456"/>
                  </a:lnTo>
                  <a:lnTo>
                    <a:pt x="354" y="457"/>
                  </a:lnTo>
                  <a:lnTo>
                    <a:pt x="354" y="457"/>
                  </a:lnTo>
                  <a:lnTo>
                    <a:pt x="353" y="458"/>
                  </a:lnTo>
                  <a:lnTo>
                    <a:pt x="353" y="459"/>
                  </a:lnTo>
                  <a:lnTo>
                    <a:pt x="353" y="460"/>
                  </a:lnTo>
                  <a:lnTo>
                    <a:pt x="352" y="460"/>
                  </a:lnTo>
                  <a:lnTo>
                    <a:pt x="352" y="461"/>
                  </a:lnTo>
                  <a:lnTo>
                    <a:pt x="351" y="461"/>
                  </a:lnTo>
                  <a:lnTo>
                    <a:pt x="349" y="463"/>
                  </a:lnTo>
                  <a:lnTo>
                    <a:pt x="348" y="463"/>
                  </a:lnTo>
                  <a:lnTo>
                    <a:pt x="348" y="464"/>
                  </a:lnTo>
                  <a:lnTo>
                    <a:pt x="347" y="464"/>
                  </a:lnTo>
                  <a:lnTo>
                    <a:pt x="346" y="464"/>
                  </a:lnTo>
                  <a:lnTo>
                    <a:pt x="345" y="464"/>
                  </a:lnTo>
                  <a:lnTo>
                    <a:pt x="344" y="464"/>
                  </a:lnTo>
                  <a:lnTo>
                    <a:pt x="342" y="464"/>
                  </a:lnTo>
                  <a:lnTo>
                    <a:pt x="341" y="464"/>
                  </a:lnTo>
                  <a:lnTo>
                    <a:pt x="339" y="464"/>
                  </a:lnTo>
                  <a:lnTo>
                    <a:pt x="338" y="464"/>
                  </a:lnTo>
                  <a:lnTo>
                    <a:pt x="337" y="464"/>
                  </a:lnTo>
                  <a:lnTo>
                    <a:pt x="337" y="464"/>
                  </a:lnTo>
                  <a:lnTo>
                    <a:pt x="336" y="464"/>
                  </a:lnTo>
                  <a:lnTo>
                    <a:pt x="336" y="464"/>
                  </a:lnTo>
                  <a:lnTo>
                    <a:pt x="335" y="464"/>
                  </a:lnTo>
                  <a:lnTo>
                    <a:pt x="334" y="466"/>
                  </a:lnTo>
                  <a:lnTo>
                    <a:pt x="333" y="466"/>
                  </a:lnTo>
                  <a:lnTo>
                    <a:pt x="333" y="466"/>
                  </a:lnTo>
                  <a:lnTo>
                    <a:pt x="333" y="467"/>
                  </a:lnTo>
                  <a:lnTo>
                    <a:pt x="332" y="467"/>
                  </a:lnTo>
                  <a:lnTo>
                    <a:pt x="331" y="469"/>
                  </a:lnTo>
                  <a:lnTo>
                    <a:pt x="331" y="470"/>
                  </a:lnTo>
                  <a:lnTo>
                    <a:pt x="330" y="471"/>
                  </a:lnTo>
                  <a:lnTo>
                    <a:pt x="330" y="472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8" y="473"/>
                  </a:lnTo>
                  <a:lnTo>
                    <a:pt x="328" y="473"/>
                  </a:lnTo>
                  <a:lnTo>
                    <a:pt x="327" y="473"/>
                  </a:lnTo>
                  <a:lnTo>
                    <a:pt x="326" y="473"/>
                  </a:lnTo>
                  <a:lnTo>
                    <a:pt x="324" y="471"/>
                  </a:lnTo>
                  <a:lnTo>
                    <a:pt x="324" y="471"/>
                  </a:lnTo>
                  <a:lnTo>
                    <a:pt x="323" y="470"/>
                  </a:lnTo>
                  <a:lnTo>
                    <a:pt x="322" y="470"/>
                  </a:lnTo>
                  <a:lnTo>
                    <a:pt x="320" y="470"/>
                  </a:lnTo>
                  <a:lnTo>
                    <a:pt x="319" y="469"/>
                  </a:lnTo>
                  <a:lnTo>
                    <a:pt x="317" y="469"/>
                  </a:lnTo>
                  <a:lnTo>
                    <a:pt x="315" y="468"/>
                  </a:lnTo>
                  <a:lnTo>
                    <a:pt x="315" y="468"/>
                  </a:lnTo>
                  <a:lnTo>
                    <a:pt x="314" y="468"/>
                  </a:lnTo>
                  <a:lnTo>
                    <a:pt x="314" y="468"/>
                  </a:lnTo>
                  <a:lnTo>
                    <a:pt x="313" y="468"/>
                  </a:lnTo>
                  <a:lnTo>
                    <a:pt x="312" y="468"/>
                  </a:lnTo>
                  <a:lnTo>
                    <a:pt x="310" y="469"/>
                  </a:lnTo>
                  <a:lnTo>
                    <a:pt x="307" y="470"/>
                  </a:lnTo>
                  <a:lnTo>
                    <a:pt x="305" y="471"/>
                  </a:lnTo>
                  <a:lnTo>
                    <a:pt x="305" y="471"/>
                  </a:lnTo>
                  <a:lnTo>
                    <a:pt x="303" y="471"/>
                  </a:lnTo>
                  <a:lnTo>
                    <a:pt x="301" y="472"/>
                  </a:lnTo>
                  <a:lnTo>
                    <a:pt x="300" y="472"/>
                  </a:lnTo>
                  <a:lnTo>
                    <a:pt x="299" y="472"/>
                  </a:lnTo>
                  <a:lnTo>
                    <a:pt x="297" y="472"/>
                  </a:lnTo>
                  <a:lnTo>
                    <a:pt x="296" y="472"/>
                  </a:lnTo>
                  <a:lnTo>
                    <a:pt x="292" y="471"/>
                  </a:lnTo>
                  <a:lnTo>
                    <a:pt x="291" y="471"/>
                  </a:lnTo>
                  <a:lnTo>
                    <a:pt x="288" y="471"/>
                  </a:lnTo>
                  <a:lnTo>
                    <a:pt x="287" y="471"/>
                  </a:lnTo>
                  <a:lnTo>
                    <a:pt x="286" y="470"/>
                  </a:lnTo>
                  <a:lnTo>
                    <a:pt x="285" y="470"/>
                  </a:lnTo>
                  <a:lnTo>
                    <a:pt x="281" y="469"/>
                  </a:lnTo>
                  <a:lnTo>
                    <a:pt x="280" y="469"/>
                  </a:lnTo>
                  <a:lnTo>
                    <a:pt x="279" y="469"/>
                  </a:lnTo>
                  <a:lnTo>
                    <a:pt x="279" y="469"/>
                  </a:lnTo>
                  <a:lnTo>
                    <a:pt x="278" y="469"/>
                  </a:lnTo>
                  <a:lnTo>
                    <a:pt x="277" y="469"/>
                  </a:lnTo>
                  <a:lnTo>
                    <a:pt x="276" y="469"/>
                  </a:lnTo>
                  <a:lnTo>
                    <a:pt x="276" y="470"/>
                  </a:lnTo>
                  <a:lnTo>
                    <a:pt x="275" y="470"/>
                  </a:lnTo>
                  <a:lnTo>
                    <a:pt x="275" y="471"/>
                  </a:lnTo>
                  <a:lnTo>
                    <a:pt x="275" y="471"/>
                  </a:lnTo>
                  <a:lnTo>
                    <a:pt x="274" y="472"/>
                  </a:lnTo>
                  <a:lnTo>
                    <a:pt x="274" y="472"/>
                  </a:lnTo>
                  <a:lnTo>
                    <a:pt x="274" y="473"/>
                  </a:lnTo>
                  <a:lnTo>
                    <a:pt x="274" y="473"/>
                  </a:lnTo>
                  <a:lnTo>
                    <a:pt x="274" y="474"/>
                  </a:lnTo>
                  <a:lnTo>
                    <a:pt x="275" y="476"/>
                  </a:lnTo>
                  <a:lnTo>
                    <a:pt x="275" y="477"/>
                  </a:lnTo>
                  <a:lnTo>
                    <a:pt x="275" y="477"/>
                  </a:lnTo>
                  <a:lnTo>
                    <a:pt x="275" y="478"/>
                  </a:lnTo>
                  <a:lnTo>
                    <a:pt x="275" y="478"/>
                  </a:lnTo>
                  <a:lnTo>
                    <a:pt x="275" y="478"/>
                  </a:lnTo>
                  <a:lnTo>
                    <a:pt x="274" y="479"/>
                  </a:lnTo>
                  <a:lnTo>
                    <a:pt x="274" y="479"/>
                  </a:lnTo>
                  <a:lnTo>
                    <a:pt x="273" y="479"/>
                  </a:lnTo>
                  <a:lnTo>
                    <a:pt x="273" y="480"/>
                  </a:lnTo>
                  <a:lnTo>
                    <a:pt x="272" y="480"/>
                  </a:lnTo>
                  <a:lnTo>
                    <a:pt x="271" y="480"/>
                  </a:lnTo>
                  <a:lnTo>
                    <a:pt x="266" y="482"/>
                  </a:lnTo>
                  <a:lnTo>
                    <a:pt x="265" y="482"/>
                  </a:lnTo>
                  <a:lnTo>
                    <a:pt x="265" y="482"/>
                  </a:lnTo>
                  <a:lnTo>
                    <a:pt x="264" y="482"/>
                  </a:lnTo>
                  <a:lnTo>
                    <a:pt x="264" y="483"/>
                  </a:lnTo>
                  <a:lnTo>
                    <a:pt x="264" y="483"/>
                  </a:lnTo>
                  <a:lnTo>
                    <a:pt x="263" y="484"/>
                  </a:lnTo>
                  <a:lnTo>
                    <a:pt x="263" y="484"/>
                  </a:lnTo>
                  <a:lnTo>
                    <a:pt x="263" y="485"/>
                  </a:lnTo>
                  <a:lnTo>
                    <a:pt x="262" y="486"/>
                  </a:lnTo>
                  <a:lnTo>
                    <a:pt x="262" y="487"/>
                  </a:lnTo>
                  <a:lnTo>
                    <a:pt x="262" y="490"/>
                  </a:lnTo>
                  <a:lnTo>
                    <a:pt x="261" y="491"/>
                  </a:lnTo>
                  <a:lnTo>
                    <a:pt x="261" y="492"/>
                  </a:lnTo>
                  <a:lnTo>
                    <a:pt x="260" y="494"/>
                  </a:lnTo>
                  <a:lnTo>
                    <a:pt x="260" y="494"/>
                  </a:lnTo>
                  <a:lnTo>
                    <a:pt x="260" y="494"/>
                  </a:lnTo>
                  <a:lnTo>
                    <a:pt x="259" y="495"/>
                  </a:lnTo>
                  <a:lnTo>
                    <a:pt x="258" y="495"/>
                  </a:lnTo>
                  <a:lnTo>
                    <a:pt x="258" y="495"/>
                  </a:lnTo>
                  <a:lnTo>
                    <a:pt x="257" y="495"/>
                  </a:lnTo>
                  <a:lnTo>
                    <a:pt x="256" y="495"/>
                  </a:lnTo>
                  <a:lnTo>
                    <a:pt x="256" y="495"/>
                  </a:lnTo>
                  <a:lnTo>
                    <a:pt x="255" y="495"/>
                  </a:lnTo>
                  <a:lnTo>
                    <a:pt x="254" y="495"/>
                  </a:lnTo>
                  <a:lnTo>
                    <a:pt x="254" y="495"/>
                  </a:lnTo>
                  <a:lnTo>
                    <a:pt x="252" y="494"/>
                  </a:lnTo>
                  <a:lnTo>
                    <a:pt x="252" y="494"/>
                  </a:lnTo>
                  <a:lnTo>
                    <a:pt x="251" y="494"/>
                  </a:lnTo>
                  <a:lnTo>
                    <a:pt x="250" y="493"/>
                  </a:lnTo>
                  <a:lnTo>
                    <a:pt x="250" y="492"/>
                  </a:lnTo>
                  <a:lnTo>
                    <a:pt x="249" y="492"/>
                  </a:lnTo>
                  <a:lnTo>
                    <a:pt x="248" y="491"/>
                  </a:lnTo>
                  <a:lnTo>
                    <a:pt x="247" y="489"/>
                  </a:lnTo>
                  <a:lnTo>
                    <a:pt x="246" y="487"/>
                  </a:lnTo>
                  <a:lnTo>
                    <a:pt x="245" y="484"/>
                  </a:lnTo>
                  <a:lnTo>
                    <a:pt x="244" y="482"/>
                  </a:lnTo>
                  <a:lnTo>
                    <a:pt x="243" y="481"/>
                  </a:lnTo>
                  <a:lnTo>
                    <a:pt x="243" y="479"/>
                  </a:lnTo>
                  <a:lnTo>
                    <a:pt x="242" y="478"/>
                  </a:lnTo>
                  <a:lnTo>
                    <a:pt x="242" y="478"/>
                  </a:lnTo>
                  <a:lnTo>
                    <a:pt x="242" y="477"/>
                  </a:lnTo>
                  <a:lnTo>
                    <a:pt x="242" y="477"/>
                  </a:lnTo>
                  <a:lnTo>
                    <a:pt x="241" y="477"/>
                  </a:lnTo>
                  <a:lnTo>
                    <a:pt x="241" y="477"/>
                  </a:lnTo>
                  <a:lnTo>
                    <a:pt x="240" y="477"/>
                  </a:lnTo>
                  <a:lnTo>
                    <a:pt x="240" y="477"/>
                  </a:lnTo>
                  <a:lnTo>
                    <a:pt x="239" y="477"/>
                  </a:lnTo>
                  <a:lnTo>
                    <a:pt x="238" y="478"/>
                  </a:lnTo>
                  <a:lnTo>
                    <a:pt x="237" y="478"/>
                  </a:lnTo>
                  <a:lnTo>
                    <a:pt x="236" y="479"/>
                  </a:lnTo>
                  <a:lnTo>
                    <a:pt x="235" y="479"/>
                  </a:lnTo>
                  <a:lnTo>
                    <a:pt x="235" y="479"/>
                  </a:lnTo>
                  <a:lnTo>
                    <a:pt x="234" y="479"/>
                  </a:lnTo>
                  <a:lnTo>
                    <a:pt x="234" y="479"/>
                  </a:lnTo>
                  <a:lnTo>
                    <a:pt x="233" y="479"/>
                  </a:lnTo>
                  <a:lnTo>
                    <a:pt x="233" y="479"/>
                  </a:lnTo>
                  <a:lnTo>
                    <a:pt x="232" y="478"/>
                  </a:lnTo>
                  <a:lnTo>
                    <a:pt x="231" y="477"/>
                  </a:lnTo>
                  <a:lnTo>
                    <a:pt x="230" y="477"/>
                  </a:lnTo>
                  <a:lnTo>
                    <a:pt x="228" y="475"/>
                  </a:lnTo>
                  <a:lnTo>
                    <a:pt x="225" y="473"/>
                  </a:lnTo>
                  <a:lnTo>
                    <a:pt x="224" y="472"/>
                  </a:lnTo>
                  <a:lnTo>
                    <a:pt x="223" y="471"/>
                  </a:lnTo>
                  <a:lnTo>
                    <a:pt x="222" y="471"/>
                  </a:lnTo>
                  <a:lnTo>
                    <a:pt x="221" y="470"/>
                  </a:lnTo>
                  <a:lnTo>
                    <a:pt x="217" y="468"/>
                  </a:lnTo>
                  <a:lnTo>
                    <a:pt x="216" y="467"/>
                  </a:lnTo>
                  <a:lnTo>
                    <a:pt x="215" y="467"/>
                  </a:lnTo>
                  <a:lnTo>
                    <a:pt x="213" y="465"/>
                  </a:lnTo>
                  <a:lnTo>
                    <a:pt x="212" y="465"/>
                  </a:lnTo>
                  <a:lnTo>
                    <a:pt x="211" y="464"/>
                  </a:lnTo>
                  <a:lnTo>
                    <a:pt x="210" y="464"/>
                  </a:lnTo>
                  <a:lnTo>
                    <a:pt x="210" y="464"/>
                  </a:lnTo>
                  <a:lnTo>
                    <a:pt x="210" y="464"/>
                  </a:lnTo>
                  <a:lnTo>
                    <a:pt x="209" y="465"/>
                  </a:lnTo>
                  <a:lnTo>
                    <a:pt x="209" y="465"/>
                  </a:lnTo>
                  <a:lnTo>
                    <a:pt x="207" y="466"/>
                  </a:lnTo>
                  <a:lnTo>
                    <a:pt x="205" y="467"/>
                  </a:lnTo>
                  <a:lnTo>
                    <a:pt x="204" y="468"/>
                  </a:lnTo>
                  <a:lnTo>
                    <a:pt x="204" y="469"/>
                  </a:lnTo>
                  <a:lnTo>
                    <a:pt x="203" y="469"/>
                  </a:lnTo>
                  <a:lnTo>
                    <a:pt x="203" y="471"/>
                  </a:lnTo>
                  <a:lnTo>
                    <a:pt x="202" y="471"/>
                  </a:lnTo>
                  <a:lnTo>
                    <a:pt x="202" y="472"/>
                  </a:lnTo>
                  <a:lnTo>
                    <a:pt x="201" y="473"/>
                  </a:lnTo>
                  <a:lnTo>
                    <a:pt x="200" y="473"/>
                  </a:lnTo>
                  <a:lnTo>
                    <a:pt x="200" y="474"/>
                  </a:lnTo>
                  <a:lnTo>
                    <a:pt x="199" y="474"/>
                  </a:lnTo>
                  <a:lnTo>
                    <a:pt x="199" y="475"/>
                  </a:lnTo>
                  <a:lnTo>
                    <a:pt x="199" y="475"/>
                  </a:lnTo>
                  <a:lnTo>
                    <a:pt x="199" y="477"/>
                  </a:lnTo>
                  <a:lnTo>
                    <a:pt x="199" y="478"/>
                  </a:lnTo>
                  <a:lnTo>
                    <a:pt x="199" y="479"/>
                  </a:lnTo>
                  <a:lnTo>
                    <a:pt x="198" y="481"/>
                  </a:lnTo>
                  <a:lnTo>
                    <a:pt x="198" y="482"/>
                  </a:lnTo>
                  <a:lnTo>
                    <a:pt x="198" y="484"/>
                  </a:lnTo>
                  <a:lnTo>
                    <a:pt x="198" y="484"/>
                  </a:lnTo>
                  <a:lnTo>
                    <a:pt x="198" y="485"/>
                  </a:lnTo>
                  <a:lnTo>
                    <a:pt x="199" y="487"/>
                  </a:lnTo>
                  <a:lnTo>
                    <a:pt x="199" y="489"/>
                  </a:lnTo>
                  <a:lnTo>
                    <a:pt x="200" y="491"/>
                  </a:lnTo>
                  <a:lnTo>
                    <a:pt x="200" y="492"/>
                  </a:lnTo>
                  <a:lnTo>
                    <a:pt x="200" y="492"/>
                  </a:lnTo>
                  <a:lnTo>
                    <a:pt x="200" y="493"/>
                  </a:lnTo>
                  <a:lnTo>
                    <a:pt x="199" y="494"/>
                  </a:lnTo>
                  <a:lnTo>
                    <a:pt x="199" y="494"/>
                  </a:lnTo>
                  <a:lnTo>
                    <a:pt x="199" y="494"/>
                  </a:lnTo>
                  <a:lnTo>
                    <a:pt x="198" y="495"/>
                  </a:lnTo>
                  <a:lnTo>
                    <a:pt x="198" y="495"/>
                  </a:lnTo>
                  <a:lnTo>
                    <a:pt x="196" y="496"/>
                  </a:lnTo>
                  <a:lnTo>
                    <a:pt x="195" y="496"/>
                  </a:lnTo>
                  <a:lnTo>
                    <a:pt x="194" y="497"/>
                  </a:lnTo>
                  <a:lnTo>
                    <a:pt x="191" y="498"/>
                  </a:lnTo>
                  <a:lnTo>
                    <a:pt x="190" y="498"/>
                  </a:lnTo>
                  <a:lnTo>
                    <a:pt x="189" y="498"/>
                  </a:lnTo>
                  <a:lnTo>
                    <a:pt x="188" y="499"/>
                  </a:lnTo>
                  <a:lnTo>
                    <a:pt x="186" y="500"/>
                  </a:lnTo>
                  <a:lnTo>
                    <a:pt x="184" y="502"/>
                  </a:lnTo>
                  <a:lnTo>
                    <a:pt x="181" y="504"/>
                  </a:lnTo>
                  <a:lnTo>
                    <a:pt x="180" y="505"/>
                  </a:lnTo>
                  <a:lnTo>
                    <a:pt x="179" y="507"/>
                  </a:lnTo>
                  <a:lnTo>
                    <a:pt x="178" y="508"/>
                  </a:lnTo>
                  <a:lnTo>
                    <a:pt x="177" y="509"/>
                  </a:lnTo>
                  <a:lnTo>
                    <a:pt x="176" y="511"/>
                  </a:lnTo>
                  <a:lnTo>
                    <a:pt x="175" y="511"/>
                  </a:lnTo>
                  <a:lnTo>
                    <a:pt x="175" y="512"/>
                  </a:lnTo>
                  <a:lnTo>
                    <a:pt x="174" y="512"/>
                  </a:lnTo>
                  <a:lnTo>
                    <a:pt x="174" y="512"/>
                  </a:lnTo>
                  <a:lnTo>
                    <a:pt x="174" y="512"/>
                  </a:lnTo>
                  <a:lnTo>
                    <a:pt x="173" y="512"/>
                  </a:lnTo>
                  <a:lnTo>
                    <a:pt x="173" y="512"/>
                  </a:lnTo>
                  <a:lnTo>
                    <a:pt x="173" y="512"/>
                  </a:lnTo>
                  <a:lnTo>
                    <a:pt x="172" y="512"/>
                  </a:lnTo>
                  <a:lnTo>
                    <a:pt x="172" y="512"/>
                  </a:lnTo>
                  <a:lnTo>
                    <a:pt x="170" y="510"/>
                  </a:lnTo>
                  <a:lnTo>
                    <a:pt x="169" y="510"/>
                  </a:lnTo>
                  <a:lnTo>
                    <a:pt x="168" y="509"/>
                  </a:lnTo>
                  <a:lnTo>
                    <a:pt x="166" y="509"/>
                  </a:lnTo>
                  <a:lnTo>
                    <a:pt x="165" y="508"/>
                  </a:lnTo>
                  <a:lnTo>
                    <a:pt x="163" y="508"/>
                  </a:lnTo>
                  <a:lnTo>
                    <a:pt x="162" y="508"/>
                  </a:lnTo>
                  <a:lnTo>
                    <a:pt x="160" y="507"/>
                  </a:lnTo>
                  <a:lnTo>
                    <a:pt x="158" y="507"/>
                  </a:lnTo>
                  <a:lnTo>
                    <a:pt x="158" y="507"/>
                  </a:lnTo>
                  <a:lnTo>
                    <a:pt x="157" y="507"/>
                  </a:lnTo>
                  <a:lnTo>
                    <a:pt x="157" y="506"/>
                  </a:lnTo>
                  <a:lnTo>
                    <a:pt x="156" y="506"/>
                  </a:lnTo>
                  <a:lnTo>
                    <a:pt x="156" y="506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5" y="504"/>
                  </a:lnTo>
                  <a:lnTo>
                    <a:pt x="155" y="504"/>
                  </a:lnTo>
                  <a:lnTo>
                    <a:pt x="156" y="501"/>
                  </a:lnTo>
                  <a:lnTo>
                    <a:pt x="156" y="500"/>
                  </a:lnTo>
                  <a:lnTo>
                    <a:pt x="156" y="500"/>
                  </a:lnTo>
                  <a:lnTo>
                    <a:pt x="156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3" y="500"/>
                  </a:lnTo>
                  <a:lnTo>
                    <a:pt x="151" y="500"/>
                  </a:lnTo>
                  <a:lnTo>
                    <a:pt x="150" y="500"/>
                  </a:lnTo>
                  <a:lnTo>
                    <a:pt x="148" y="501"/>
                  </a:lnTo>
                  <a:lnTo>
                    <a:pt x="147" y="501"/>
                  </a:lnTo>
                  <a:lnTo>
                    <a:pt x="146" y="501"/>
                  </a:lnTo>
                  <a:lnTo>
                    <a:pt x="144" y="501"/>
                  </a:lnTo>
                  <a:lnTo>
                    <a:pt x="143" y="501"/>
                  </a:lnTo>
                  <a:lnTo>
                    <a:pt x="139" y="500"/>
                  </a:lnTo>
                  <a:lnTo>
                    <a:pt x="137" y="500"/>
                  </a:lnTo>
                  <a:lnTo>
                    <a:pt x="136" y="500"/>
                  </a:lnTo>
                  <a:lnTo>
                    <a:pt x="135" y="499"/>
                  </a:lnTo>
                  <a:lnTo>
                    <a:pt x="134" y="499"/>
                  </a:lnTo>
                  <a:lnTo>
                    <a:pt x="132" y="498"/>
                  </a:lnTo>
                  <a:lnTo>
                    <a:pt x="132" y="498"/>
                  </a:lnTo>
                  <a:lnTo>
                    <a:pt x="131" y="498"/>
                  </a:lnTo>
                  <a:lnTo>
                    <a:pt x="130" y="498"/>
                  </a:lnTo>
                  <a:lnTo>
                    <a:pt x="129" y="497"/>
                  </a:lnTo>
                  <a:lnTo>
                    <a:pt x="127" y="497"/>
                  </a:lnTo>
                  <a:lnTo>
                    <a:pt x="126" y="497"/>
                  </a:lnTo>
                  <a:lnTo>
                    <a:pt x="125" y="497"/>
                  </a:lnTo>
                  <a:lnTo>
                    <a:pt x="125" y="497"/>
                  </a:lnTo>
                  <a:lnTo>
                    <a:pt x="124" y="498"/>
                  </a:lnTo>
                  <a:lnTo>
                    <a:pt x="123" y="498"/>
                  </a:lnTo>
                  <a:lnTo>
                    <a:pt x="122" y="499"/>
                  </a:lnTo>
                  <a:lnTo>
                    <a:pt x="121" y="500"/>
                  </a:lnTo>
                  <a:lnTo>
                    <a:pt x="120" y="500"/>
                  </a:lnTo>
                  <a:lnTo>
                    <a:pt x="120" y="500"/>
                  </a:lnTo>
                  <a:lnTo>
                    <a:pt x="119" y="500"/>
                  </a:lnTo>
                  <a:lnTo>
                    <a:pt x="119" y="500"/>
                  </a:lnTo>
                  <a:lnTo>
                    <a:pt x="118" y="500"/>
                  </a:lnTo>
                  <a:lnTo>
                    <a:pt x="117" y="499"/>
                  </a:lnTo>
                  <a:lnTo>
                    <a:pt x="116" y="499"/>
                  </a:lnTo>
                  <a:lnTo>
                    <a:pt x="113" y="496"/>
                  </a:lnTo>
                  <a:lnTo>
                    <a:pt x="112" y="496"/>
                  </a:lnTo>
                  <a:lnTo>
                    <a:pt x="111" y="495"/>
                  </a:lnTo>
                  <a:lnTo>
                    <a:pt x="109" y="495"/>
                  </a:lnTo>
                  <a:lnTo>
                    <a:pt x="108" y="494"/>
                  </a:lnTo>
                  <a:lnTo>
                    <a:pt x="107" y="494"/>
                  </a:lnTo>
                  <a:lnTo>
                    <a:pt x="105" y="492"/>
                  </a:lnTo>
                  <a:lnTo>
                    <a:pt x="104" y="492"/>
                  </a:lnTo>
                  <a:lnTo>
                    <a:pt x="103" y="492"/>
                  </a:lnTo>
                  <a:lnTo>
                    <a:pt x="103" y="492"/>
                  </a:lnTo>
                  <a:lnTo>
                    <a:pt x="102" y="492"/>
                  </a:lnTo>
                  <a:lnTo>
                    <a:pt x="102" y="492"/>
                  </a:lnTo>
                  <a:lnTo>
                    <a:pt x="102" y="493"/>
                  </a:lnTo>
                  <a:lnTo>
                    <a:pt x="102" y="493"/>
                  </a:lnTo>
                  <a:lnTo>
                    <a:pt x="102" y="493"/>
                  </a:lnTo>
                  <a:lnTo>
                    <a:pt x="102" y="494"/>
                  </a:lnTo>
                  <a:lnTo>
                    <a:pt x="102" y="496"/>
                  </a:lnTo>
                  <a:lnTo>
                    <a:pt x="102" y="497"/>
                  </a:lnTo>
                  <a:lnTo>
                    <a:pt x="102" y="497"/>
                  </a:lnTo>
                  <a:lnTo>
                    <a:pt x="102" y="498"/>
                  </a:lnTo>
                  <a:lnTo>
                    <a:pt x="102" y="498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99" y="498"/>
                  </a:lnTo>
                  <a:lnTo>
                    <a:pt x="98" y="498"/>
                  </a:lnTo>
                  <a:lnTo>
                    <a:pt x="97" y="498"/>
                  </a:lnTo>
                  <a:lnTo>
                    <a:pt x="96" y="498"/>
                  </a:lnTo>
                  <a:lnTo>
                    <a:pt x="95" y="499"/>
                  </a:lnTo>
                  <a:lnTo>
                    <a:pt x="94" y="499"/>
                  </a:lnTo>
                  <a:lnTo>
                    <a:pt x="93" y="500"/>
                  </a:lnTo>
                  <a:lnTo>
                    <a:pt x="90" y="502"/>
                  </a:lnTo>
                  <a:lnTo>
                    <a:pt x="90" y="502"/>
                  </a:lnTo>
                  <a:lnTo>
                    <a:pt x="89" y="502"/>
                  </a:lnTo>
                  <a:lnTo>
                    <a:pt x="89" y="503"/>
                  </a:lnTo>
                  <a:lnTo>
                    <a:pt x="87" y="503"/>
                  </a:lnTo>
                  <a:lnTo>
                    <a:pt x="86" y="503"/>
                  </a:lnTo>
                  <a:lnTo>
                    <a:pt x="85" y="503"/>
                  </a:lnTo>
                  <a:lnTo>
                    <a:pt x="84" y="503"/>
                  </a:lnTo>
                  <a:lnTo>
                    <a:pt x="82" y="503"/>
                  </a:lnTo>
                  <a:lnTo>
                    <a:pt x="81" y="503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79" y="502"/>
                  </a:lnTo>
                  <a:lnTo>
                    <a:pt x="79" y="501"/>
                  </a:lnTo>
                  <a:lnTo>
                    <a:pt x="78" y="499"/>
                  </a:lnTo>
                  <a:lnTo>
                    <a:pt x="78" y="499"/>
                  </a:lnTo>
                  <a:lnTo>
                    <a:pt x="78" y="499"/>
                  </a:lnTo>
                  <a:lnTo>
                    <a:pt x="78" y="498"/>
                  </a:lnTo>
                  <a:lnTo>
                    <a:pt x="77" y="497"/>
                  </a:lnTo>
                  <a:lnTo>
                    <a:pt x="76" y="497"/>
                  </a:lnTo>
                  <a:lnTo>
                    <a:pt x="75" y="496"/>
                  </a:lnTo>
                  <a:lnTo>
                    <a:pt x="75" y="496"/>
                  </a:lnTo>
                  <a:lnTo>
                    <a:pt x="73" y="495"/>
                  </a:lnTo>
                  <a:lnTo>
                    <a:pt x="72" y="494"/>
                  </a:lnTo>
                  <a:lnTo>
                    <a:pt x="70" y="494"/>
                  </a:lnTo>
                  <a:lnTo>
                    <a:pt x="70" y="494"/>
                  </a:lnTo>
                  <a:lnTo>
                    <a:pt x="69" y="493"/>
                  </a:lnTo>
                  <a:lnTo>
                    <a:pt x="69" y="493"/>
                  </a:lnTo>
                  <a:lnTo>
                    <a:pt x="68" y="492"/>
                  </a:lnTo>
                  <a:lnTo>
                    <a:pt x="68" y="492"/>
                  </a:lnTo>
                  <a:lnTo>
                    <a:pt x="67" y="490"/>
                  </a:lnTo>
                  <a:lnTo>
                    <a:pt x="66" y="489"/>
                  </a:lnTo>
                  <a:lnTo>
                    <a:pt x="65" y="489"/>
                  </a:lnTo>
                  <a:lnTo>
                    <a:pt x="64" y="488"/>
                  </a:lnTo>
                  <a:lnTo>
                    <a:pt x="63" y="487"/>
                  </a:lnTo>
                  <a:lnTo>
                    <a:pt x="62" y="487"/>
                  </a:lnTo>
                  <a:lnTo>
                    <a:pt x="60" y="486"/>
                  </a:lnTo>
                  <a:lnTo>
                    <a:pt x="59" y="486"/>
                  </a:lnTo>
                  <a:lnTo>
                    <a:pt x="59" y="486"/>
                  </a:lnTo>
                  <a:lnTo>
                    <a:pt x="58" y="486"/>
                  </a:lnTo>
                  <a:lnTo>
                    <a:pt x="57" y="486"/>
                  </a:lnTo>
                  <a:lnTo>
                    <a:pt x="56" y="486"/>
                  </a:lnTo>
                  <a:lnTo>
                    <a:pt x="54" y="487"/>
                  </a:lnTo>
                  <a:lnTo>
                    <a:pt x="51" y="488"/>
                  </a:lnTo>
                  <a:lnTo>
                    <a:pt x="50" y="488"/>
                  </a:lnTo>
                  <a:lnTo>
                    <a:pt x="49" y="488"/>
                  </a:lnTo>
                  <a:lnTo>
                    <a:pt x="49" y="489"/>
                  </a:lnTo>
                  <a:lnTo>
                    <a:pt x="48" y="490"/>
                  </a:lnTo>
                  <a:lnTo>
                    <a:pt x="48" y="490"/>
                  </a:lnTo>
                  <a:lnTo>
                    <a:pt x="47" y="492"/>
                  </a:lnTo>
                  <a:lnTo>
                    <a:pt x="46" y="494"/>
                  </a:lnTo>
                  <a:lnTo>
                    <a:pt x="45" y="495"/>
                  </a:lnTo>
                  <a:lnTo>
                    <a:pt x="44" y="496"/>
                  </a:lnTo>
                  <a:lnTo>
                    <a:pt x="44" y="498"/>
                  </a:lnTo>
                  <a:lnTo>
                    <a:pt x="43" y="499"/>
                  </a:lnTo>
                  <a:lnTo>
                    <a:pt x="43" y="499"/>
                  </a:lnTo>
                  <a:lnTo>
                    <a:pt x="42" y="499"/>
                  </a:lnTo>
                  <a:lnTo>
                    <a:pt x="42" y="499"/>
                  </a:lnTo>
                  <a:lnTo>
                    <a:pt x="41" y="499"/>
                  </a:lnTo>
                  <a:lnTo>
                    <a:pt x="41" y="499"/>
                  </a:lnTo>
                  <a:lnTo>
                    <a:pt x="39" y="499"/>
                  </a:lnTo>
                  <a:lnTo>
                    <a:pt x="38" y="499"/>
                  </a:lnTo>
                  <a:lnTo>
                    <a:pt x="36" y="499"/>
                  </a:lnTo>
                  <a:lnTo>
                    <a:pt x="33" y="500"/>
                  </a:lnTo>
                  <a:lnTo>
                    <a:pt x="25" y="500"/>
                  </a:lnTo>
                  <a:lnTo>
                    <a:pt x="24" y="500"/>
                  </a:lnTo>
                  <a:lnTo>
                    <a:pt x="20" y="500"/>
                  </a:lnTo>
                  <a:lnTo>
                    <a:pt x="19" y="500"/>
                  </a:lnTo>
                  <a:lnTo>
                    <a:pt x="18" y="500"/>
                  </a:lnTo>
                  <a:lnTo>
                    <a:pt x="16" y="501"/>
                  </a:lnTo>
                  <a:lnTo>
                    <a:pt x="15" y="501"/>
                  </a:lnTo>
                  <a:lnTo>
                    <a:pt x="13" y="501"/>
                  </a:lnTo>
                  <a:lnTo>
                    <a:pt x="11" y="501"/>
                  </a:lnTo>
                  <a:lnTo>
                    <a:pt x="11" y="501"/>
                  </a:lnTo>
                  <a:lnTo>
                    <a:pt x="10" y="501"/>
                  </a:lnTo>
                  <a:lnTo>
                    <a:pt x="9" y="501"/>
                  </a:lnTo>
                  <a:lnTo>
                    <a:pt x="8" y="501"/>
                  </a:lnTo>
                  <a:lnTo>
                    <a:pt x="7" y="502"/>
                  </a:lnTo>
                  <a:lnTo>
                    <a:pt x="5" y="501"/>
                  </a:lnTo>
                  <a:lnTo>
                    <a:pt x="5" y="501"/>
                  </a:lnTo>
                  <a:lnTo>
                    <a:pt x="4" y="501"/>
                  </a:lnTo>
                  <a:lnTo>
                    <a:pt x="3" y="501"/>
                  </a:lnTo>
                  <a:lnTo>
                    <a:pt x="2" y="500"/>
                  </a:lnTo>
                  <a:lnTo>
                    <a:pt x="2" y="500"/>
                  </a:lnTo>
                  <a:lnTo>
                    <a:pt x="1" y="499"/>
                  </a:lnTo>
                  <a:lnTo>
                    <a:pt x="1" y="499"/>
                  </a:lnTo>
                  <a:lnTo>
                    <a:pt x="0" y="498"/>
                  </a:lnTo>
                  <a:lnTo>
                    <a:pt x="0" y="498"/>
                  </a:lnTo>
                  <a:lnTo>
                    <a:pt x="0" y="497"/>
                  </a:lnTo>
                  <a:lnTo>
                    <a:pt x="0" y="496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Freeform 9">
              <a:extLst>
                <a:ext uri="{FF2B5EF4-FFF2-40B4-BE49-F238E27FC236}">
                  <a16:creationId xmlns:a16="http://schemas.microsoft.com/office/drawing/2014/main" id="{7837A00A-345B-ABF5-4E59-0E55E5EC2F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" y="3069"/>
              <a:ext cx="451" cy="513"/>
            </a:xfrm>
            <a:custGeom>
              <a:avLst/>
              <a:gdLst>
                <a:gd name="T0" fmla="*/ 182 w 451"/>
                <a:gd name="T1" fmla="*/ 492 h 513"/>
                <a:gd name="T2" fmla="*/ 173 w 451"/>
                <a:gd name="T3" fmla="*/ 504 h 513"/>
                <a:gd name="T4" fmla="*/ 155 w 451"/>
                <a:gd name="T5" fmla="*/ 512 h 513"/>
                <a:gd name="T6" fmla="*/ 142 w 451"/>
                <a:gd name="T7" fmla="*/ 509 h 513"/>
                <a:gd name="T8" fmla="*/ 127 w 451"/>
                <a:gd name="T9" fmla="*/ 508 h 513"/>
                <a:gd name="T10" fmla="*/ 109 w 451"/>
                <a:gd name="T11" fmla="*/ 508 h 513"/>
                <a:gd name="T12" fmla="*/ 103 w 451"/>
                <a:gd name="T13" fmla="*/ 497 h 513"/>
                <a:gd name="T14" fmla="*/ 97 w 451"/>
                <a:gd name="T15" fmla="*/ 484 h 513"/>
                <a:gd name="T16" fmla="*/ 98 w 451"/>
                <a:gd name="T17" fmla="*/ 458 h 513"/>
                <a:gd name="T18" fmla="*/ 86 w 451"/>
                <a:gd name="T19" fmla="*/ 455 h 513"/>
                <a:gd name="T20" fmla="*/ 83 w 451"/>
                <a:gd name="T21" fmla="*/ 447 h 513"/>
                <a:gd name="T22" fmla="*/ 84 w 451"/>
                <a:gd name="T23" fmla="*/ 439 h 513"/>
                <a:gd name="T24" fmla="*/ 90 w 451"/>
                <a:gd name="T25" fmla="*/ 431 h 513"/>
                <a:gd name="T26" fmla="*/ 79 w 451"/>
                <a:gd name="T27" fmla="*/ 429 h 513"/>
                <a:gd name="T28" fmla="*/ 86 w 451"/>
                <a:gd name="T29" fmla="*/ 413 h 513"/>
                <a:gd name="T30" fmla="*/ 102 w 451"/>
                <a:gd name="T31" fmla="*/ 410 h 513"/>
                <a:gd name="T32" fmla="*/ 116 w 451"/>
                <a:gd name="T33" fmla="*/ 399 h 513"/>
                <a:gd name="T34" fmla="*/ 113 w 451"/>
                <a:gd name="T35" fmla="*/ 391 h 513"/>
                <a:gd name="T36" fmla="*/ 117 w 451"/>
                <a:gd name="T37" fmla="*/ 370 h 513"/>
                <a:gd name="T38" fmla="*/ 122 w 451"/>
                <a:gd name="T39" fmla="*/ 346 h 513"/>
                <a:gd name="T40" fmla="*/ 124 w 451"/>
                <a:gd name="T41" fmla="*/ 319 h 513"/>
                <a:gd name="T42" fmla="*/ 103 w 451"/>
                <a:gd name="T43" fmla="*/ 308 h 513"/>
                <a:gd name="T44" fmla="*/ 92 w 451"/>
                <a:gd name="T45" fmla="*/ 298 h 513"/>
                <a:gd name="T46" fmla="*/ 72 w 451"/>
                <a:gd name="T47" fmla="*/ 283 h 513"/>
                <a:gd name="T48" fmla="*/ 51 w 451"/>
                <a:gd name="T49" fmla="*/ 284 h 513"/>
                <a:gd name="T50" fmla="*/ 32 w 451"/>
                <a:gd name="T51" fmla="*/ 270 h 513"/>
                <a:gd name="T52" fmla="*/ 35 w 451"/>
                <a:gd name="T53" fmla="*/ 265 h 513"/>
                <a:gd name="T54" fmla="*/ 15 w 451"/>
                <a:gd name="T55" fmla="*/ 264 h 513"/>
                <a:gd name="T56" fmla="*/ 0 w 451"/>
                <a:gd name="T57" fmla="*/ 264 h 513"/>
                <a:gd name="T58" fmla="*/ 6 w 451"/>
                <a:gd name="T59" fmla="*/ 249 h 513"/>
                <a:gd name="T60" fmla="*/ 4 w 451"/>
                <a:gd name="T61" fmla="*/ 236 h 513"/>
                <a:gd name="T62" fmla="*/ 18 w 451"/>
                <a:gd name="T63" fmla="*/ 230 h 513"/>
                <a:gd name="T64" fmla="*/ 26 w 451"/>
                <a:gd name="T65" fmla="*/ 218 h 513"/>
                <a:gd name="T66" fmla="*/ 33 w 451"/>
                <a:gd name="T67" fmla="*/ 202 h 513"/>
                <a:gd name="T68" fmla="*/ 54 w 451"/>
                <a:gd name="T69" fmla="*/ 194 h 513"/>
                <a:gd name="T70" fmla="*/ 77 w 451"/>
                <a:gd name="T71" fmla="*/ 177 h 513"/>
                <a:gd name="T72" fmla="*/ 90 w 451"/>
                <a:gd name="T73" fmla="*/ 179 h 513"/>
                <a:gd name="T74" fmla="*/ 111 w 451"/>
                <a:gd name="T75" fmla="*/ 173 h 513"/>
                <a:gd name="T76" fmla="*/ 128 w 451"/>
                <a:gd name="T77" fmla="*/ 165 h 513"/>
                <a:gd name="T78" fmla="*/ 139 w 451"/>
                <a:gd name="T79" fmla="*/ 166 h 513"/>
                <a:gd name="T80" fmla="*/ 158 w 451"/>
                <a:gd name="T81" fmla="*/ 154 h 513"/>
                <a:gd name="T82" fmla="*/ 170 w 451"/>
                <a:gd name="T83" fmla="*/ 143 h 513"/>
                <a:gd name="T84" fmla="*/ 176 w 451"/>
                <a:gd name="T85" fmla="*/ 132 h 513"/>
                <a:gd name="T86" fmla="*/ 186 w 451"/>
                <a:gd name="T87" fmla="*/ 125 h 513"/>
                <a:gd name="T88" fmla="*/ 230 w 451"/>
                <a:gd name="T89" fmla="*/ 129 h 513"/>
                <a:gd name="T90" fmla="*/ 253 w 451"/>
                <a:gd name="T91" fmla="*/ 130 h 513"/>
                <a:gd name="T92" fmla="*/ 277 w 451"/>
                <a:gd name="T93" fmla="*/ 121 h 513"/>
                <a:gd name="T94" fmla="*/ 289 w 451"/>
                <a:gd name="T95" fmla="*/ 116 h 513"/>
                <a:gd name="T96" fmla="*/ 289 w 451"/>
                <a:gd name="T97" fmla="*/ 93 h 513"/>
                <a:gd name="T98" fmla="*/ 298 w 451"/>
                <a:gd name="T99" fmla="*/ 88 h 513"/>
                <a:gd name="T100" fmla="*/ 307 w 451"/>
                <a:gd name="T101" fmla="*/ 79 h 513"/>
                <a:gd name="T102" fmla="*/ 319 w 451"/>
                <a:gd name="T103" fmla="*/ 71 h 513"/>
                <a:gd name="T104" fmla="*/ 321 w 451"/>
                <a:gd name="T105" fmla="*/ 53 h 513"/>
                <a:gd name="T106" fmla="*/ 327 w 451"/>
                <a:gd name="T107" fmla="*/ 54 h 513"/>
                <a:gd name="T108" fmla="*/ 341 w 451"/>
                <a:gd name="T109" fmla="*/ 53 h 513"/>
                <a:gd name="T110" fmla="*/ 351 w 451"/>
                <a:gd name="T111" fmla="*/ 55 h 513"/>
                <a:gd name="T112" fmla="*/ 360 w 451"/>
                <a:gd name="T113" fmla="*/ 65 h 513"/>
                <a:gd name="T114" fmla="*/ 383 w 451"/>
                <a:gd name="T115" fmla="*/ 61 h 513"/>
                <a:gd name="T116" fmla="*/ 401 w 451"/>
                <a:gd name="T117" fmla="*/ 44 h 513"/>
                <a:gd name="T118" fmla="*/ 409 w 451"/>
                <a:gd name="T119" fmla="*/ 30 h 513"/>
                <a:gd name="T120" fmla="*/ 429 w 451"/>
                <a:gd name="T121" fmla="*/ 31 h 513"/>
                <a:gd name="T122" fmla="*/ 437 w 451"/>
                <a:gd name="T123" fmla="*/ 20 h 513"/>
                <a:gd name="T124" fmla="*/ 450 w 451"/>
                <a:gd name="T125" fmla="*/ 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1" h="513">
                  <a:moveTo>
                    <a:pt x="195" y="496"/>
                  </a:moveTo>
                  <a:lnTo>
                    <a:pt x="195" y="495"/>
                  </a:lnTo>
                  <a:lnTo>
                    <a:pt x="195" y="493"/>
                  </a:lnTo>
                  <a:lnTo>
                    <a:pt x="195" y="489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2" y="487"/>
                  </a:lnTo>
                  <a:lnTo>
                    <a:pt x="190" y="488"/>
                  </a:lnTo>
                  <a:lnTo>
                    <a:pt x="189" y="488"/>
                  </a:lnTo>
                  <a:lnTo>
                    <a:pt x="188" y="489"/>
                  </a:lnTo>
                  <a:lnTo>
                    <a:pt x="185" y="490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80" y="493"/>
                  </a:lnTo>
                  <a:lnTo>
                    <a:pt x="180" y="493"/>
                  </a:lnTo>
                  <a:lnTo>
                    <a:pt x="179" y="494"/>
                  </a:lnTo>
                  <a:lnTo>
                    <a:pt x="179" y="494"/>
                  </a:lnTo>
                  <a:lnTo>
                    <a:pt x="179" y="495"/>
                  </a:lnTo>
                  <a:lnTo>
                    <a:pt x="178" y="497"/>
                  </a:lnTo>
                  <a:lnTo>
                    <a:pt x="177" y="499"/>
                  </a:lnTo>
                  <a:lnTo>
                    <a:pt x="176" y="500"/>
                  </a:lnTo>
                  <a:lnTo>
                    <a:pt x="176" y="501"/>
                  </a:lnTo>
                  <a:lnTo>
                    <a:pt x="175" y="502"/>
                  </a:lnTo>
                  <a:lnTo>
                    <a:pt x="175" y="503"/>
                  </a:lnTo>
                  <a:lnTo>
                    <a:pt x="174" y="503"/>
                  </a:lnTo>
                  <a:lnTo>
                    <a:pt x="174" y="504"/>
                  </a:lnTo>
                  <a:lnTo>
                    <a:pt x="173" y="504"/>
                  </a:lnTo>
                  <a:lnTo>
                    <a:pt x="173" y="504"/>
                  </a:lnTo>
                  <a:lnTo>
                    <a:pt x="171" y="505"/>
                  </a:lnTo>
                  <a:lnTo>
                    <a:pt x="171" y="505"/>
                  </a:lnTo>
                  <a:lnTo>
                    <a:pt x="170" y="505"/>
                  </a:lnTo>
                  <a:lnTo>
                    <a:pt x="168" y="507"/>
                  </a:lnTo>
                  <a:lnTo>
                    <a:pt x="167" y="507"/>
                  </a:lnTo>
                  <a:lnTo>
                    <a:pt x="166" y="508"/>
                  </a:lnTo>
                  <a:lnTo>
                    <a:pt x="166" y="508"/>
                  </a:lnTo>
                  <a:lnTo>
                    <a:pt x="165" y="508"/>
                  </a:lnTo>
                  <a:lnTo>
                    <a:pt x="164" y="508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59" y="509"/>
                  </a:lnTo>
                  <a:lnTo>
                    <a:pt x="158" y="510"/>
                  </a:lnTo>
                  <a:lnTo>
                    <a:pt x="157" y="510"/>
                  </a:lnTo>
                  <a:lnTo>
                    <a:pt x="155" y="511"/>
                  </a:lnTo>
                  <a:lnTo>
                    <a:pt x="155" y="512"/>
                  </a:lnTo>
                  <a:lnTo>
                    <a:pt x="154" y="512"/>
                  </a:lnTo>
                  <a:lnTo>
                    <a:pt x="153" y="513"/>
                  </a:lnTo>
                  <a:lnTo>
                    <a:pt x="152" y="513"/>
                  </a:lnTo>
                  <a:lnTo>
                    <a:pt x="151" y="513"/>
                  </a:lnTo>
                  <a:lnTo>
                    <a:pt x="150" y="513"/>
                  </a:lnTo>
                  <a:lnTo>
                    <a:pt x="149" y="513"/>
                  </a:lnTo>
                  <a:lnTo>
                    <a:pt x="148" y="512"/>
                  </a:lnTo>
                  <a:lnTo>
                    <a:pt x="147" y="512"/>
                  </a:lnTo>
                  <a:lnTo>
                    <a:pt x="147" y="512"/>
                  </a:lnTo>
                  <a:lnTo>
                    <a:pt x="145" y="511"/>
                  </a:lnTo>
                  <a:lnTo>
                    <a:pt x="144" y="511"/>
                  </a:lnTo>
                  <a:lnTo>
                    <a:pt x="144" y="510"/>
                  </a:lnTo>
                  <a:lnTo>
                    <a:pt x="143" y="510"/>
                  </a:lnTo>
                  <a:lnTo>
                    <a:pt x="143" y="509"/>
                  </a:lnTo>
                  <a:lnTo>
                    <a:pt x="142" y="509"/>
                  </a:lnTo>
                  <a:lnTo>
                    <a:pt x="142" y="509"/>
                  </a:lnTo>
                  <a:lnTo>
                    <a:pt x="140" y="508"/>
                  </a:lnTo>
                  <a:lnTo>
                    <a:pt x="140" y="507"/>
                  </a:lnTo>
                  <a:lnTo>
                    <a:pt x="137" y="506"/>
                  </a:lnTo>
                  <a:lnTo>
                    <a:pt x="137" y="505"/>
                  </a:lnTo>
                  <a:lnTo>
                    <a:pt x="136" y="505"/>
                  </a:lnTo>
                  <a:lnTo>
                    <a:pt x="136" y="505"/>
                  </a:lnTo>
                  <a:lnTo>
                    <a:pt x="135" y="505"/>
                  </a:lnTo>
                  <a:lnTo>
                    <a:pt x="134" y="505"/>
                  </a:lnTo>
                  <a:lnTo>
                    <a:pt x="133" y="505"/>
                  </a:lnTo>
                  <a:lnTo>
                    <a:pt x="132" y="505"/>
                  </a:lnTo>
                  <a:lnTo>
                    <a:pt x="130" y="507"/>
                  </a:lnTo>
                  <a:lnTo>
                    <a:pt x="129" y="507"/>
                  </a:lnTo>
                  <a:lnTo>
                    <a:pt x="128" y="507"/>
                  </a:lnTo>
                  <a:lnTo>
                    <a:pt x="128" y="508"/>
                  </a:lnTo>
                  <a:lnTo>
                    <a:pt x="127" y="508"/>
                  </a:lnTo>
                  <a:lnTo>
                    <a:pt x="127" y="508"/>
                  </a:lnTo>
                  <a:lnTo>
                    <a:pt x="126" y="507"/>
                  </a:lnTo>
                  <a:lnTo>
                    <a:pt x="125" y="507"/>
                  </a:lnTo>
                  <a:lnTo>
                    <a:pt x="125" y="507"/>
                  </a:lnTo>
                  <a:lnTo>
                    <a:pt x="124" y="507"/>
                  </a:lnTo>
                  <a:lnTo>
                    <a:pt x="122" y="505"/>
                  </a:lnTo>
                  <a:lnTo>
                    <a:pt x="122" y="504"/>
                  </a:lnTo>
                  <a:lnTo>
                    <a:pt x="121" y="504"/>
                  </a:lnTo>
                  <a:lnTo>
                    <a:pt x="121" y="504"/>
                  </a:lnTo>
                  <a:lnTo>
                    <a:pt x="120" y="504"/>
                  </a:lnTo>
                  <a:lnTo>
                    <a:pt x="120" y="504"/>
                  </a:lnTo>
                  <a:lnTo>
                    <a:pt x="119" y="504"/>
                  </a:lnTo>
                  <a:lnTo>
                    <a:pt x="119" y="504"/>
                  </a:lnTo>
                  <a:lnTo>
                    <a:pt x="117" y="505"/>
                  </a:lnTo>
                  <a:lnTo>
                    <a:pt x="115" y="506"/>
                  </a:lnTo>
                  <a:lnTo>
                    <a:pt x="112" y="507"/>
                  </a:lnTo>
                  <a:lnTo>
                    <a:pt x="109" y="508"/>
                  </a:lnTo>
                  <a:lnTo>
                    <a:pt x="108" y="508"/>
                  </a:lnTo>
                  <a:lnTo>
                    <a:pt x="106" y="508"/>
                  </a:lnTo>
                  <a:lnTo>
                    <a:pt x="105" y="508"/>
                  </a:lnTo>
                  <a:lnTo>
                    <a:pt x="105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7"/>
                  </a:lnTo>
                  <a:lnTo>
                    <a:pt x="104" y="506"/>
                  </a:lnTo>
                  <a:lnTo>
                    <a:pt x="104" y="505"/>
                  </a:lnTo>
                  <a:lnTo>
                    <a:pt x="104" y="503"/>
                  </a:lnTo>
                  <a:lnTo>
                    <a:pt x="104" y="502"/>
                  </a:lnTo>
                  <a:lnTo>
                    <a:pt x="104" y="501"/>
                  </a:lnTo>
                  <a:lnTo>
                    <a:pt x="104" y="500"/>
                  </a:lnTo>
                  <a:lnTo>
                    <a:pt x="104" y="499"/>
                  </a:lnTo>
                  <a:lnTo>
                    <a:pt x="103" y="497"/>
                  </a:lnTo>
                  <a:lnTo>
                    <a:pt x="103" y="496"/>
                  </a:lnTo>
                  <a:lnTo>
                    <a:pt x="103" y="495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1" y="493"/>
                  </a:lnTo>
                  <a:lnTo>
                    <a:pt x="100" y="492"/>
                  </a:lnTo>
                  <a:lnTo>
                    <a:pt x="99" y="492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7" y="490"/>
                  </a:lnTo>
                  <a:lnTo>
                    <a:pt x="97" y="490"/>
                  </a:lnTo>
                  <a:lnTo>
                    <a:pt x="97" y="489"/>
                  </a:lnTo>
                  <a:lnTo>
                    <a:pt x="97" y="489"/>
                  </a:lnTo>
                  <a:lnTo>
                    <a:pt x="97" y="485"/>
                  </a:lnTo>
                  <a:lnTo>
                    <a:pt x="97" y="484"/>
                  </a:lnTo>
                  <a:lnTo>
                    <a:pt x="97" y="481"/>
                  </a:lnTo>
                  <a:lnTo>
                    <a:pt x="98" y="478"/>
                  </a:lnTo>
                  <a:lnTo>
                    <a:pt x="98" y="476"/>
                  </a:lnTo>
                  <a:lnTo>
                    <a:pt x="98" y="474"/>
                  </a:lnTo>
                  <a:lnTo>
                    <a:pt x="99" y="471"/>
                  </a:lnTo>
                  <a:lnTo>
                    <a:pt x="99" y="469"/>
                  </a:lnTo>
                  <a:lnTo>
                    <a:pt x="99" y="468"/>
                  </a:lnTo>
                  <a:lnTo>
                    <a:pt x="99" y="466"/>
                  </a:lnTo>
                  <a:lnTo>
                    <a:pt x="99" y="464"/>
                  </a:lnTo>
                  <a:lnTo>
                    <a:pt x="99" y="462"/>
                  </a:lnTo>
                  <a:lnTo>
                    <a:pt x="99" y="461"/>
                  </a:lnTo>
                  <a:lnTo>
                    <a:pt x="99" y="460"/>
                  </a:lnTo>
                  <a:lnTo>
                    <a:pt x="99" y="460"/>
                  </a:lnTo>
                  <a:lnTo>
                    <a:pt x="98" y="459"/>
                  </a:lnTo>
                  <a:lnTo>
                    <a:pt x="98" y="459"/>
                  </a:lnTo>
                  <a:lnTo>
                    <a:pt x="98" y="458"/>
                  </a:lnTo>
                  <a:lnTo>
                    <a:pt x="97" y="458"/>
                  </a:lnTo>
                  <a:lnTo>
                    <a:pt x="96" y="457"/>
                  </a:lnTo>
                  <a:lnTo>
                    <a:pt x="95" y="457"/>
                  </a:lnTo>
                  <a:lnTo>
                    <a:pt x="94" y="456"/>
                  </a:lnTo>
                  <a:lnTo>
                    <a:pt x="93" y="456"/>
                  </a:lnTo>
                  <a:lnTo>
                    <a:pt x="92" y="456"/>
                  </a:lnTo>
                  <a:lnTo>
                    <a:pt x="91" y="456"/>
                  </a:lnTo>
                  <a:lnTo>
                    <a:pt x="89" y="456"/>
                  </a:lnTo>
                  <a:lnTo>
                    <a:pt x="88" y="456"/>
                  </a:lnTo>
                  <a:lnTo>
                    <a:pt x="87" y="456"/>
                  </a:lnTo>
                  <a:lnTo>
                    <a:pt x="87" y="456"/>
                  </a:lnTo>
                  <a:lnTo>
                    <a:pt x="87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4"/>
                  </a:lnTo>
                  <a:lnTo>
                    <a:pt x="86" y="453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1"/>
                  </a:lnTo>
                  <a:lnTo>
                    <a:pt x="86" y="451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49"/>
                  </a:lnTo>
                  <a:lnTo>
                    <a:pt x="82" y="449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7"/>
                  </a:lnTo>
                  <a:lnTo>
                    <a:pt x="84" y="447"/>
                  </a:lnTo>
                  <a:lnTo>
                    <a:pt x="85" y="447"/>
                  </a:lnTo>
                  <a:lnTo>
                    <a:pt x="86" y="447"/>
                  </a:lnTo>
                  <a:lnTo>
                    <a:pt x="86" y="447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8" y="445"/>
                  </a:lnTo>
                  <a:lnTo>
                    <a:pt x="88" y="445"/>
                  </a:lnTo>
                  <a:lnTo>
                    <a:pt x="88" y="444"/>
                  </a:lnTo>
                  <a:lnTo>
                    <a:pt x="87" y="443"/>
                  </a:lnTo>
                  <a:lnTo>
                    <a:pt x="87" y="443"/>
                  </a:lnTo>
                  <a:lnTo>
                    <a:pt x="86" y="442"/>
                  </a:lnTo>
                  <a:lnTo>
                    <a:pt x="86" y="441"/>
                  </a:lnTo>
                  <a:lnTo>
                    <a:pt x="84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4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5"/>
                  </a:lnTo>
                  <a:lnTo>
                    <a:pt x="88" y="434"/>
                  </a:lnTo>
                  <a:lnTo>
                    <a:pt x="89" y="433"/>
                  </a:lnTo>
                  <a:lnTo>
                    <a:pt x="90" y="433"/>
                  </a:lnTo>
                  <a:lnTo>
                    <a:pt x="90" y="432"/>
                  </a:lnTo>
                  <a:lnTo>
                    <a:pt x="90" y="432"/>
                  </a:lnTo>
                  <a:lnTo>
                    <a:pt x="91" y="431"/>
                  </a:lnTo>
                  <a:lnTo>
                    <a:pt x="90" y="431"/>
                  </a:lnTo>
                  <a:lnTo>
                    <a:pt x="90" y="431"/>
                  </a:lnTo>
                  <a:lnTo>
                    <a:pt x="90" y="430"/>
                  </a:lnTo>
                  <a:lnTo>
                    <a:pt x="90" y="430"/>
                  </a:lnTo>
                  <a:lnTo>
                    <a:pt x="89" y="430"/>
                  </a:lnTo>
                  <a:lnTo>
                    <a:pt x="89" y="430"/>
                  </a:lnTo>
                  <a:lnTo>
                    <a:pt x="88" y="429"/>
                  </a:lnTo>
                  <a:lnTo>
                    <a:pt x="86" y="429"/>
                  </a:lnTo>
                  <a:lnTo>
                    <a:pt x="85" y="429"/>
                  </a:lnTo>
                  <a:lnTo>
                    <a:pt x="84" y="429"/>
                  </a:lnTo>
                  <a:lnTo>
                    <a:pt x="83" y="429"/>
                  </a:lnTo>
                  <a:lnTo>
                    <a:pt x="81" y="430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8"/>
                  </a:lnTo>
                  <a:lnTo>
                    <a:pt x="78" y="428"/>
                  </a:lnTo>
                  <a:lnTo>
                    <a:pt x="78" y="427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8" y="425"/>
                  </a:lnTo>
                  <a:lnTo>
                    <a:pt x="78" y="424"/>
                  </a:lnTo>
                  <a:lnTo>
                    <a:pt x="79" y="423"/>
                  </a:lnTo>
                  <a:lnTo>
                    <a:pt x="79" y="422"/>
                  </a:lnTo>
                  <a:lnTo>
                    <a:pt x="79" y="421"/>
                  </a:lnTo>
                  <a:lnTo>
                    <a:pt x="80" y="420"/>
                  </a:lnTo>
                  <a:lnTo>
                    <a:pt x="83" y="417"/>
                  </a:lnTo>
                  <a:lnTo>
                    <a:pt x="84" y="415"/>
                  </a:lnTo>
                  <a:lnTo>
                    <a:pt x="84" y="414"/>
                  </a:lnTo>
                  <a:lnTo>
                    <a:pt x="85" y="414"/>
                  </a:lnTo>
                  <a:lnTo>
                    <a:pt x="86" y="413"/>
                  </a:lnTo>
                  <a:lnTo>
                    <a:pt x="87" y="412"/>
                  </a:lnTo>
                  <a:lnTo>
                    <a:pt x="88" y="411"/>
                  </a:lnTo>
                  <a:lnTo>
                    <a:pt x="89" y="411"/>
                  </a:lnTo>
                  <a:lnTo>
                    <a:pt x="90" y="410"/>
                  </a:lnTo>
                  <a:lnTo>
                    <a:pt x="92" y="409"/>
                  </a:lnTo>
                  <a:lnTo>
                    <a:pt x="93" y="409"/>
                  </a:lnTo>
                  <a:lnTo>
                    <a:pt x="94" y="408"/>
                  </a:lnTo>
                  <a:lnTo>
                    <a:pt x="95" y="408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7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101" y="410"/>
                  </a:lnTo>
                  <a:lnTo>
                    <a:pt x="102" y="410"/>
                  </a:lnTo>
                  <a:lnTo>
                    <a:pt x="103" y="411"/>
                  </a:lnTo>
                  <a:lnTo>
                    <a:pt x="103" y="411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7" y="409"/>
                  </a:lnTo>
                  <a:lnTo>
                    <a:pt x="108" y="408"/>
                  </a:lnTo>
                  <a:lnTo>
                    <a:pt x="109" y="406"/>
                  </a:lnTo>
                  <a:lnTo>
                    <a:pt x="110" y="405"/>
                  </a:lnTo>
                  <a:lnTo>
                    <a:pt x="111" y="404"/>
                  </a:lnTo>
                  <a:lnTo>
                    <a:pt x="112" y="403"/>
                  </a:lnTo>
                  <a:lnTo>
                    <a:pt x="115" y="400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17" y="398"/>
                  </a:lnTo>
                  <a:lnTo>
                    <a:pt x="117" y="398"/>
                  </a:lnTo>
                  <a:lnTo>
                    <a:pt x="118" y="397"/>
                  </a:lnTo>
                  <a:lnTo>
                    <a:pt x="118" y="397"/>
                  </a:lnTo>
                  <a:lnTo>
                    <a:pt x="118" y="396"/>
                  </a:lnTo>
                  <a:lnTo>
                    <a:pt x="118" y="395"/>
                  </a:lnTo>
                  <a:lnTo>
                    <a:pt x="117" y="395"/>
                  </a:lnTo>
                  <a:lnTo>
                    <a:pt x="117" y="394"/>
                  </a:lnTo>
                  <a:lnTo>
                    <a:pt x="116" y="394"/>
                  </a:lnTo>
                  <a:lnTo>
                    <a:pt x="116" y="393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3" y="392"/>
                  </a:lnTo>
                  <a:lnTo>
                    <a:pt x="113" y="391"/>
                  </a:lnTo>
                  <a:lnTo>
                    <a:pt x="113" y="390"/>
                  </a:lnTo>
                  <a:lnTo>
                    <a:pt x="114" y="388"/>
                  </a:lnTo>
                  <a:lnTo>
                    <a:pt x="114" y="387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5" y="384"/>
                  </a:lnTo>
                  <a:lnTo>
                    <a:pt x="115" y="383"/>
                  </a:lnTo>
                  <a:lnTo>
                    <a:pt x="115" y="380"/>
                  </a:lnTo>
                  <a:lnTo>
                    <a:pt x="115" y="379"/>
                  </a:lnTo>
                  <a:lnTo>
                    <a:pt x="115" y="378"/>
                  </a:lnTo>
                  <a:lnTo>
                    <a:pt x="115" y="377"/>
                  </a:lnTo>
                  <a:lnTo>
                    <a:pt x="115" y="376"/>
                  </a:lnTo>
                  <a:lnTo>
                    <a:pt x="115" y="376"/>
                  </a:lnTo>
                  <a:lnTo>
                    <a:pt x="116" y="373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7" y="369"/>
                  </a:lnTo>
                  <a:lnTo>
                    <a:pt x="117" y="368"/>
                  </a:lnTo>
                  <a:lnTo>
                    <a:pt x="117" y="367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7" y="361"/>
                  </a:lnTo>
                  <a:lnTo>
                    <a:pt x="118" y="356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9" y="351"/>
                  </a:lnTo>
                  <a:lnTo>
                    <a:pt x="120" y="349"/>
                  </a:lnTo>
                  <a:lnTo>
                    <a:pt x="120" y="348"/>
                  </a:lnTo>
                  <a:lnTo>
                    <a:pt x="121" y="347"/>
                  </a:lnTo>
                  <a:lnTo>
                    <a:pt x="121" y="346"/>
                  </a:lnTo>
                  <a:lnTo>
                    <a:pt x="122" y="346"/>
                  </a:lnTo>
                  <a:lnTo>
                    <a:pt x="122" y="345"/>
                  </a:lnTo>
                  <a:lnTo>
                    <a:pt x="124" y="344"/>
                  </a:lnTo>
                  <a:lnTo>
                    <a:pt x="124" y="343"/>
                  </a:lnTo>
                  <a:lnTo>
                    <a:pt x="125" y="343"/>
                  </a:lnTo>
                  <a:lnTo>
                    <a:pt x="125" y="342"/>
                  </a:lnTo>
                  <a:lnTo>
                    <a:pt x="125" y="341"/>
                  </a:lnTo>
                  <a:lnTo>
                    <a:pt x="125" y="341"/>
                  </a:lnTo>
                  <a:lnTo>
                    <a:pt x="125" y="340"/>
                  </a:lnTo>
                  <a:lnTo>
                    <a:pt x="125" y="339"/>
                  </a:lnTo>
                  <a:lnTo>
                    <a:pt x="125" y="335"/>
                  </a:lnTo>
                  <a:lnTo>
                    <a:pt x="125" y="333"/>
                  </a:lnTo>
                  <a:lnTo>
                    <a:pt x="125" y="329"/>
                  </a:lnTo>
                  <a:lnTo>
                    <a:pt x="124" y="326"/>
                  </a:lnTo>
                  <a:lnTo>
                    <a:pt x="124" y="324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8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7"/>
                  </a:lnTo>
                  <a:lnTo>
                    <a:pt x="122" y="317"/>
                  </a:lnTo>
                  <a:lnTo>
                    <a:pt x="116" y="313"/>
                  </a:lnTo>
                  <a:lnTo>
                    <a:pt x="113" y="312"/>
                  </a:lnTo>
                  <a:lnTo>
                    <a:pt x="112" y="311"/>
                  </a:lnTo>
                  <a:lnTo>
                    <a:pt x="110" y="311"/>
                  </a:lnTo>
                  <a:lnTo>
                    <a:pt x="107" y="310"/>
                  </a:lnTo>
                  <a:lnTo>
                    <a:pt x="104" y="309"/>
                  </a:lnTo>
                  <a:lnTo>
                    <a:pt x="104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2" y="308"/>
                  </a:lnTo>
                  <a:lnTo>
                    <a:pt x="102" y="307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1" y="303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0" y="301"/>
                  </a:lnTo>
                  <a:lnTo>
                    <a:pt x="100" y="301"/>
                  </a:lnTo>
                  <a:lnTo>
                    <a:pt x="99" y="300"/>
                  </a:lnTo>
                  <a:lnTo>
                    <a:pt x="98" y="300"/>
                  </a:lnTo>
                  <a:lnTo>
                    <a:pt x="98" y="299"/>
                  </a:lnTo>
                  <a:lnTo>
                    <a:pt x="97" y="299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2" y="298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6"/>
                  </a:lnTo>
                  <a:lnTo>
                    <a:pt x="85" y="294"/>
                  </a:lnTo>
                  <a:lnTo>
                    <a:pt x="83" y="292"/>
                  </a:lnTo>
                  <a:lnTo>
                    <a:pt x="82" y="291"/>
                  </a:lnTo>
                  <a:lnTo>
                    <a:pt x="80" y="289"/>
                  </a:lnTo>
                  <a:lnTo>
                    <a:pt x="78" y="286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0" y="283"/>
                  </a:lnTo>
                  <a:lnTo>
                    <a:pt x="69" y="283"/>
                  </a:lnTo>
                  <a:lnTo>
                    <a:pt x="68" y="283"/>
                  </a:lnTo>
                  <a:lnTo>
                    <a:pt x="65" y="284"/>
                  </a:lnTo>
                  <a:lnTo>
                    <a:pt x="64" y="284"/>
                  </a:lnTo>
                  <a:lnTo>
                    <a:pt x="63" y="285"/>
                  </a:lnTo>
                  <a:lnTo>
                    <a:pt x="61" y="285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7" y="285"/>
                  </a:lnTo>
                  <a:lnTo>
                    <a:pt x="56" y="285"/>
                  </a:lnTo>
                  <a:lnTo>
                    <a:pt x="55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1" y="284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48" y="282"/>
                  </a:lnTo>
                  <a:lnTo>
                    <a:pt x="47" y="281"/>
                  </a:lnTo>
                  <a:lnTo>
                    <a:pt x="44" y="279"/>
                  </a:lnTo>
                  <a:lnTo>
                    <a:pt x="42" y="277"/>
                  </a:lnTo>
                  <a:lnTo>
                    <a:pt x="40" y="276"/>
                  </a:lnTo>
                  <a:lnTo>
                    <a:pt x="37" y="275"/>
                  </a:lnTo>
                  <a:lnTo>
                    <a:pt x="36" y="274"/>
                  </a:lnTo>
                  <a:lnTo>
                    <a:pt x="35" y="273"/>
                  </a:lnTo>
                  <a:lnTo>
                    <a:pt x="34" y="273"/>
                  </a:lnTo>
                  <a:lnTo>
                    <a:pt x="33" y="272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2" y="271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6" y="267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5" y="265"/>
                  </a:lnTo>
                  <a:lnTo>
                    <a:pt x="34" y="264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0" y="263"/>
                  </a:lnTo>
                  <a:lnTo>
                    <a:pt x="19" y="263"/>
                  </a:lnTo>
                  <a:lnTo>
                    <a:pt x="17" y="263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4" y="264"/>
                  </a:lnTo>
                  <a:lnTo>
                    <a:pt x="12" y="264"/>
                  </a:lnTo>
                  <a:lnTo>
                    <a:pt x="10" y="265"/>
                  </a:lnTo>
                  <a:lnTo>
                    <a:pt x="9" y="266"/>
                  </a:lnTo>
                  <a:lnTo>
                    <a:pt x="8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5"/>
                  </a:lnTo>
                  <a:lnTo>
                    <a:pt x="2" y="265"/>
                  </a:lnTo>
                  <a:lnTo>
                    <a:pt x="1" y="265"/>
                  </a:lnTo>
                  <a:lnTo>
                    <a:pt x="1" y="265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1" y="260"/>
                  </a:lnTo>
                  <a:lnTo>
                    <a:pt x="1" y="259"/>
                  </a:lnTo>
                  <a:lnTo>
                    <a:pt x="2" y="257"/>
                  </a:lnTo>
                  <a:lnTo>
                    <a:pt x="3" y="255"/>
                  </a:lnTo>
                  <a:lnTo>
                    <a:pt x="4" y="254"/>
                  </a:lnTo>
                  <a:lnTo>
                    <a:pt x="5" y="252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0"/>
                  </a:lnTo>
                  <a:lnTo>
                    <a:pt x="6" y="249"/>
                  </a:lnTo>
                  <a:lnTo>
                    <a:pt x="6" y="248"/>
                  </a:lnTo>
                  <a:lnTo>
                    <a:pt x="6" y="247"/>
                  </a:lnTo>
                  <a:lnTo>
                    <a:pt x="6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4" y="243"/>
                  </a:lnTo>
                  <a:lnTo>
                    <a:pt x="3" y="242"/>
                  </a:lnTo>
                  <a:lnTo>
                    <a:pt x="2" y="241"/>
                  </a:lnTo>
                  <a:lnTo>
                    <a:pt x="2" y="240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8"/>
                  </a:lnTo>
                  <a:lnTo>
                    <a:pt x="2" y="237"/>
                  </a:lnTo>
                  <a:lnTo>
                    <a:pt x="3" y="237"/>
                  </a:lnTo>
                  <a:lnTo>
                    <a:pt x="4" y="236"/>
                  </a:lnTo>
                  <a:lnTo>
                    <a:pt x="5" y="235"/>
                  </a:lnTo>
                  <a:lnTo>
                    <a:pt x="6" y="234"/>
                  </a:lnTo>
                  <a:lnTo>
                    <a:pt x="7" y="233"/>
                  </a:lnTo>
                  <a:lnTo>
                    <a:pt x="8" y="233"/>
                  </a:lnTo>
                  <a:lnTo>
                    <a:pt x="9" y="232"/>
                  </a:lnTo>
                  <a:lnTo>
                    <a:pt x="10" y="232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3" y="231"/>
                  </a:lnTo>
                  <a:lnTo>
                    <a:pt x="14" y="231"/>
                  </a:lnTo>
                  <a:lnTo>
                    <a:pt x="15" y="231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7" y="231"/>
                  </a:lnTo>
                  <a:lnTo>
                    <a:pt x="17" y="230"/>
                  </a:lnTo>
                  <a:lnTo>
                    <a:pt x="18" y="230"/>
                  </a:lnTo>
                  <a:lnTo>
                    <a:pt x="19" y="228"/>
                  </a:lnTo>
                  <a:lnTo>
                    <a:pt x="19" y="227"/>
                  </a:lnTo>
                  <a:lnTo>
                    <a:pt x="20" y="226"/>
                  </a:lnTo>
                  <a:lnTo>
                    <a:pt x="21" y="224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2" y="223"/>
                  </a:lnTo>
                  <a:lnTo>
                    <a:pt x="22" y="222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6"/>
                  </a:lnTo>
                  <a:lnTo>
                    <a:pt x="26" y="215"/>
                  </a:lnTo>
                  <a:lnTo>
                    <a:pt x="26" y="215"/>
                  </a:lnTo>
                  <a:lnTo>
                    <a:pt x="26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6"/>
                  </a:lnTo>
                  <a:lnTo>
                    <a:pt x="29" y="206"/>
                  </a:lnTo>
                  <a:lnTo>
                    <a:pt x="29" y="205"/>
                  </a:lnTo>
                  <a:lnTo>
                    <a:pt x="31" y="203"/>
                  </a:lnTo>
                  <a:lnTo>
                    <a:pt x="33" y="202"/>
                  </a:lnTo>
                  <a:lnTo>
                    <a:pt x="34" y="201"/>
                  </a:lnTo>
                  <a:lnTo>
                    <a:pt x="36" y="200"/>
                  </a:lnTo>
                  <a:lnTo>
                    <a:pt x="36" y="199"/>
                  </a:lnTo>
                  <a:lnTo>
                    <a:pt x="38" y="198"/>
                  </a:lnTo>
                  <a:lnTo>
                    <a:pt x="40" y="197"/>
                  </a:lnTo>
                  <a:lnTo>
                    <a:pt x="41" y="196"/>
                  </a:lnTo>
                  <a:lnTo>
                    <a:pt x="42" y="195"/>
                  </a:lnTo>
                  <a:lnTo>
                    <a:pt x="43" y="195"/>
                  </a:lnTo>
                  <a:lnTo>
                    <a:pt x="44" y="194"/>
                  </a:lnTo>
                  <a:lnTo>
                    <a:pt x="45" y="194"/>
                  </a:lnTo>
                  <a:lnTo>
                    <a:pt x="47" y="194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51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4"/>
                  </a:lnTo>
                  <a:lnTo>
                    <a:pt x="57" y="193"/>
                  </a:lnTo>
                  <a:lnTo>
                    <a:pt x="59" y="193"/>
                  </a:lnTo>
                  <a:lnTo>
                    <a:pt x="60" y="192"/>
                  </a:lnTo>
                  <a:lnTo>
                    <a:pt x="61" y="192"/>
                  </a:lnTo>
                  <a:lnTo>
                    <a:pt x="62" y="191"/>
                  </a:lnTo>
                  <a:lnTo>
                    <a:pt x="63" y="190"/>
                  </a:lnTo>
                  <a:lnTo>
                    <a:pt x="64" y="190"/>
                  </a:lnTo>
                  <a:lnTo>
                    <a:pt x="65" y="188"/>
                  </a:lnTo>
                  <a:lnTo>
                    <a:pt x="66" y="18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9" y="184"/>
                  </a:lnTo>
                  <a:lnTo>
                    <a:pt x="72" y="182"/>
                  </a:lnTo>
                  <a:lnTo>
                    <a:pt x="76" y="178"/>
                  </a:lnTo>
                  <a:lnTo>
                    <a:pt x="77" y="177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2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4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7" y="178"/>
                  </a:lnTo>
                  <a:lnTo>
                    <a:pt x="99" y="178"/>
                  </a:lnTo>
                  <a:lnTo>
                    <a:pt x="100" y="178"/>
                  </a:lnTo>
                  <a:lnTo>
                    <a:pt x="101" y="178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1" y="173"/>
                  </a:lnTo>
                  <a:lnTo>
                    <a:pt x="111" y="173"/>
                  </a:lnTo>
                  <a:lnTo>
                    <a:pt x="113" y="172"/>
                  </a:lnTo>
                  <a:lnTo>
                    <a:pt x="113" y="171"/>
                  </a:lnTo>
                  <a:lnTo>
                    <a:pt x="115" y="170"/>
                  </a:lnTo>
                  <a:lnTo>
                    <a:pt x="118" y="167"/>
                  </a:lnTo>
                  <a:lnTo>
                    <a:pt x="119" y="166"/>
                  </a:lnTo>
                  <a:lnTo>
                    <a:pt x="120" y="165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3"/>
                  </a:lnTo>
                  <a:lnTo>
                    <a:pt x="123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7" y="164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69"/>
                  </a:lnTo>
                  <a:lnTo>
                    <a:pt x="136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8" y="167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2" y="162"/>
                  </a:lnTo>
                  <a:lnTo>
                    <a:pt x="143" y="161"/>
                  </a:lnTo>
                  <a:lnTo>
                    <a:pt x="144" y="161"/>
                  </a:lnTo>
                  <a:lnTo>
                    <a:pt x="145" y="160"/>
                  </a:lnTo>
                  <a:lnTo>
                    <a:pt x="146" y="159"/>
                  </a:lnTo>
                  <a:lnTo>
                    <a:pt x="147" y="159"/>
                  </a:lnTo>
                  <a:lnTo>
                    <a:pt x="147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1" y="157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6"/>
                  </a:lnTo>
                  <a:lnTo>
                    <a:pt x="157" y="155"/>
                  </a:lnTo>
                  <a:lnTo>
                    <a:pt x="158" y="154"/>
                  </a:lnTo>
                  <a:lnTo>
                    <a:pt x="160" y="153"/>
                  </a:lnTo>
                  <a:lnTo>
                    <a:pt x="160" y="153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4" y="150"/>
                  </a:lnTo>
                  <a:lnTo>
                    <a:pt x="164" y="149"/>
                  </a:lnTo>
                  <a:lnTo>
                    <a:pt x="165" y="148"/>
                  </a:lnTo>
                  <a:lnTo>
                    <a:pt x="165" y="147"/>
                  </a:lnTo>
                  <a:lnTo>
                    <a:pt x="166" y="146"/>
                  </a:lnTo>
                  <a:lnTo>
                    <a:pt x="166" y="145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68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4" y="143"/>
                  </a:lnTo>
                  <a:lnTo>
                    <a:pt x="174" y="142"/>
                  </a:lnTo>
                  <a:lnTo>
                    <a:pt x="175" y="142"/>
                  </a:lnTo>
                  <a:lnTo>
                    <a:pt x="175" y="142"/>
                  </a:lnTo>
                  <a:lnTo>
                    <a:pt x="175" y="141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39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6" y="134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1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7" y="129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9" y="127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4" y="125"/>
                  </a:lnTo>
                  <a:lnTo>
                    <a:pt x="185" y="125"/>
                  </a:lnTo>
                  <a:lnTo>
                    <a:pt x="186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4" y="126"/>
                  </a:lnTo>
                  <a:lnTo>
                    <a:pt x="198" y="127"/>
                  </a:lnTo>
                  <a:lnTo>
                    <a:pt x="202" y="128"/>
                  </a:lnTo>
                  <a:lnTo>
                    <a:pt x="205" y="129"/>
                  </a:lnTo>
                  <a:lnTo>
                    <a:pt x="207" y="129"/>
                  </a:lnTo>
                  <a:lnTo>
                    <a:pt x="209" y="129"/>
                  </a:lnTo>
                  <a:lnTo>
                    <a:pt x="215" y="130"/>
                  </a:lnTo>
                  <a:lnTo>
                    <a:pt x="217" y="130"/>
                  </a:lnTo>
                  <a:lnTo>
                    <a:pt x="219" y="130"/>
                  </a:lnTo>
                  <a:lnTo>
                    <a:pt x="222" y="130"/>
                  </a:lnTo>
                  <a:lnTo>
                    <a:pt x="224" y="130"/>
                  </a:lnTo>
                  <a:lnTo>
                    <a:pt x="226" y="130"/>
                  </a:lnTo>
                  <a:lnTo>
                    <a:pt x="228" y="129"/>
                  </a:lnTo>
                  <a:lnTo>
                    <a:pt x="230" y="129"/>
                  </a:lnTo>
                  <a:lnTo>
                    <a:pt x="232" y="129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5" y="127"/>
                  </a:lnTo>
                  <a:lnTo>
                    <a:pt x="236" y="127"/>
                  </a:lnTo>
                  <a:lnTo>
                    <a:pt x="236" y="127"/>
                  </a:lnTo>
                  <a:lnTo>
                    <a:pt x="237" y="127"/>
                  </a:lnTo>
                  <a:lnTo>
                    <a:pt x="239" y="128"/>
                  </a:lnTo>
                  <a:lnTo>
                    <a:pt x="241" y="128"/>
                  </a:lnTo>
                  <a:lnTo>
                    <a:pt x="245" y="129"/>
                  </a:lnTo>
                  <a:lnTo>
                    <a:pt x="248" y="130"/>
                  </a:lnTo>
                  <a:lnTo>
                    <a:pt x="250" y="130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6" y="128"/>
                  </a:lnTo>
                  <a:lnTo>
                    <a:pt x="257" y="127"/>
                  </a:lnTo>
                  <a:lnTo>
                    <a:pt x="259" y="125"/>
                  </a:lnTo>
                  <a:lnTo>
                    <a:pt x="260" y="124"/>
                  </a:lnTo>
                  <a:lnTo>
                    <a:pt x="260" y="124"/>
                  </a:lnTo>
                  <a:lnTo>
                    <a:pt x="261" y="124"/>
                  </a:lnTo>
                  <a:lnTo>
                    <a:pt x="262" y="123"/>
                  </a:lnTo>
                  <a:lnTo>
                    <a:pt x="263" y="123"/>
                  </a:lnTo>
                  <a:lnTo>
                    <a:pt x="264" y="123"/>
                  </a:lnTo>
                  <a:lnTo>
                    <a:pt x="270" y="122"/>
                  </a:lnTo>
                  <a:lnTo>
                    <a:pt x="272" y="121"/>
                  </a:lnTo>
                  <a:lnTo>
                    <a:pt x="276" y="121"/>
                  </a:lnTo>
                  <a:lnTo>
                    <a:pt x="277" y="121"/>
                  </a:lnTo>
                  <a:lnTo>
                    <a:pt x="279" y="121"/>
                  </a:lnTo>
                  <a:lnTo>
                    <a:pt x="280" y="121"/>
                  </a:lnTo>
                  <a:lnTo>
                    <a:pt x="282" y="122"/>
                  </a:lnTo>
                  <a:lnTo>
                    <a:pt x="284" y="122"/>
                  </a:lnTo>
                  <a:lnTo>
                    <a:pt x="284" y="122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0"/>
                  </a:lnTo>
                  <a:lnTo>
                    <a:pt x="288" y="120"/>
                  </a:lnTo>
                  <a:lnTo>
                    <a:pt x="288" y="119"/>
                  </a:lnTo>
                  <a:lnTo>
                    <a:pt x="289" y="118"/>
                  </a:lnTo>
                  <a:lnTo>
                    <a:pt x="289" y="117"/>
                  </a:lnTo>
                  <a:lnTo>
                    <a:pt x="289" y="116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91" y="109"/>
                  </a:lnTo>
                  <a:lnTo>
                    <a:pt x="291" y="108"/>
                  </a:lnTo>
                  <a:lnTo>
                    <a:pt x="291" y="106"/>
                  </a:lnTo>
                  <a:lnTo>
                    <a:pt x="291" y="105"/>
                  </a:lnTo>
                  <a:lnTo>
                    <a:pt x="291" y="104"/>
                  </a:lnTo>
                  <a:lnTo>
                    <a:pt x="291" y="103"/>
                  </a:lnTo>
                  <a:lnTo>
                    <a:pt x="290" y="102"/>
                  </a:lnTo>
                  <a:lnTo>
                    <a:pt x="290" y="99"/>
                  </a:lnTo>
                  <a:lnTo>
                    <a:pt x="289" y="98"/>
                  </a:lnTo>
                  <a:lnTo>
                    <a:pt x="289" y="97"/>
                  </a:lnTo>
                  <a:lnTo>
                    <a:pt x="289" y="96"/>
                  </a:lnTo>
                  <a:lnTo>
                    <a:pt x="289" y="95"/>
                  </a:lnTo>
                  <a:lnTo>
                    <a:pt x="289" y="94"/>
                  </a:lnTo>
                  <a:lnTo>
                    <a:pt x="289" y="93"/>
                  </a:lnTo>
                  <a:lnTo>
                    <a:pt x="289" y="91"/>
                  </a:lnTo>
                  <a:lnTo>
                    <a:pt x="289" y="89"/>
                  </a:lnTo>
                  <a:lnTo>
                    <a:pt x="289" y="88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90" y="86"/>
                  </a:lnTo>
                  <a:lnTo>
                    <a:pt x="291" y="86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7" y="88"/>
                  </a:lnTo>
                  <a:lnTo>
                    <a:pt x="298" y="88"/>
                  </a:lnTo>
                  <a:lnTo>
                    <a:pt x="299" y="88"/>
                  </a:lnTo>
                  <a:lnTo>
                    <a:pt x="300" y="88"/>
                  </a:lnTo>
                  <a:lnTo>
                    <a:pt x="301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3" y="88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3" y="86"/>
                  </a:lnTo>
                  <a:lnTo>
                    <a:pt x="303" y="85"/>
                  </a:lnTo>
                  <a:lnTo>
                    <a:pt x="305" y="83"/>
                  </a:lnTo>
                  <a:lnTo>
                    <a:pt x="306" y="80"/>
                  </a:lnTo>
                  <a:lnTo>
                    <a:pt x="306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8" y="78"/>
                  </a:lnTo>
                  <a:lnTo>
                    <a:pt x="311" y="78"/>
                  </a:lnTo>
                  <a:lnTo>
                    <a:pt x="314" y="77"/>
                  </a:lnTo>
                  <a:lnTo>
                    <a:pt x="316" y="76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7" y="75"/>
                  </a:lnTo>
                  <a:lnTo>
                    <a:pt x="318" y="75"/>
                  </a:lnTo>
                  <a:lnTo>
                    <a:pt x="318" y="75"/>
                  </a:lnTo>
                  <a:lnTo>
                    <a:pt x="318" y="74"/>
                  </a:lnTo>
                  <a:lnTo>
                    <a:pt x="319" y="74"/>
                  </a:lnTo>
                  <a:lnTo>
                    <a:pt x="319" y="73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1"/>
                  </a:lnTo>
                  <a:lnTo>
                    <a:pt x="319" y="70"/>
                  </a:lnTo>
                  <a:lnTo>
                    <a:pt x="319" y="67"/>
                  </a:lnTo>
                  <a:lnTo>
                    <a:pt x="319" y="66"/>
                  </a:lnTo>
                  <a:lnTo>
                    <a:pt x="319" y="64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8" y="58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19" y="55"/>
                  </a:lnTo>
                  <a:lnTo>
                    <a:pt x="319" y="54"/>
                  </a:lnTo>
                  <a:lnTo>
                    <a:pt x="320" y="53"/>
                  </a:lnTo>
                  <a:lnTo>
                    <a:pt x="321" y="53"/>
                  </a:lnTo>
                  <a:lnTo>
                    <a:pt x="321" y="52"/>
                  </a:lnTo>
                  <a:lnTo>
                    <a:pt x="322" y="52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5" y="53"/>
                  </a:lnTo>
                  <a:lnTo>
                    <a:pt x="325" y="53"/>
                  </a:lnTo>
                  <a:lnTo>
                    <a:pt x="326" y="53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7" y="54"/>
                  </a:lnTo>
                  <a:lnTo>
                    <a:pt x="328" y="54"/>
                  </a:lnTo>
                  <a:lnTo>
                    <a:pt x="328" y="53"/>
                  </a:lnTo>
                  <a:lnTo>
                    <a:pt x="329" y="53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2" y="51"/>
                  </a:lnTo>
                  <a:lnTo>
                    <a:pt x="333" y="51"/>
                  </a:lnTo>
                  <a:lnTo>
                    <a:pt x="334" y="51"/>
                  </a:lnTo>
                  <a:lnTo>
                    <a:pt x="335" y="51"/>
                  </a:lnTo>
                  <a:lnTo>
                    <a:pt x="335" y="52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0" y="53"/>
                  </a:lnTo>
                  <a:lnTo>
                    <a:pt x="340" y="53"/>
                  </a:lnTo>
                  <a:lnTo>
                    <a:pt x="341" y="53"/>
                  </a:lnTo>
                  <a:lnTo>
                    <a:pt x="341" y="53"/>
                  </a:lnTo>
                  <a:lnTo>
                    <a:pt x="342" y="53"/>
                  </a:lnTo>
                  <a:lnTo>
                    <a:pt x="343" y="53"/>
                  </a:lnTo>
                  <a:lnTo>
                    <a:pt x="344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7" y="51"/>
                  </a:lnTo>
                  <a:lnTo>
                    <a:pt x="348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49" y="51"/>
                  </a:lnTo>
                  <a:lnTo>
                    <a:pt x="350" y="51"/>
                  </a:lnTo>
                  <a:lnTo>
                    <a:pt x="350" y="52"/>
                  </a:lnTo>
                  <a:lnTo>
                    <a:pt x="350" y="52"/>
                  </a:lnTo>
                  <a:lnTo>
                    <a:pt x="350" y="53"/>
                  </a:lnTo>
                  <a:lnTo>
                    <a:pt x="351" y="54"/>
                  </a:lnTo>
                  <a:lnTo>
                    <a:pt x="351" y="55"/>
                  </a:lnTo>
                  <a:lnTo>
                    <a:pt x="352" y="57"/>
                  </a:lnTo>
                  <a:lnTo>
                    <a:pt x="352" y="59"/>
                  </a:lnTo>
                  <a:lnTo>
                    <a:pt x="352" y="60"/>
                  </a:lnTo>
                  <a:lnTo>
                    <a:pt x="353" y="61"/>
                  </a:lnTo>
                  <a:lnTo>
                    <a:pt x="353" y="62"/>
                  </a:lnTo>
                  <a:lnTo>
                    <a:pt x="353" y="62"/>
                  </a:lnTo>
                  <a:lnTo>
                    <a:pt x="354" y="63"/>
                  </a:lnTo>
                  <a:lnTo>
                    <a:pt x="354" y="63"/>
                  </a:lnTo>
                  <a:lnTo>
                    <a:pt x="355" y="64"/>
                  </a:lnTo>
                  <a:lnTo>
                    <a:pt x="355" y="64"/>
                  </a:lnTo>
                  <a:lnTo>
                    <a:pt x="356" y="64"/>
                  </a:lnTo>
                  <a:lnTo>
                    <a:pt x="356" y="65"/>
                  </a:lnTo>
                  <a:lnTo>
                    <a:pt x="357" y="65"/>
                  </a:lnTo>
                  <a:lnTo>
                    <a:pt x="358" y="65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7" y="63"/>
                  </a:lnTo>
                  <a:lnTo>
                    <a:pt x="368" y="62"/>
                  </a:lnTo>
                  <a:lnTo>
                    <a:pt x="369" y="62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81" y="61"/>
                  </a:lnTo>
                  <a:lnTo>
                    <a:pt x="382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6" y="58"/>
                  </a:lnTo>
                  <a:lnTo>
                    <a:pt x="389" y="56"/>
                  </a:lnTo>
                  <a:lnTo>
                    <a:pt x="391" y="55"/>
                  </a:lnTo>
                  <a:lnTo>
                    <a:pt x="391" y="54"/>
                  </a:lnTo>
                  <a:lnTo>
                    <a:pt x="392" y="53"/>
                  </a:lnTo>
                  <a:lnTo>
                    <a:pt x="393" y="52"/>
                  </a:lnTo>
                  <a:lnTo>
                    <a:pt x="395" y="49"/>
                  </a:lnTo>
                  <a:lnTo>
                    <a:pt x="395" y="49"/>
                  </a:lnTo>
                  <a:lnTo>
                    <a:pt x="396" y="48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9" y="46"/>
                  </a:lnTo>
                  <a:lnTo>
                    <a:pt x="400" y="45"/>
                  </a:lnTo>
                  <a:lnTo>
                    <a:pt x="400" y="44"/>
                  </a:lnTo>
                  <a:lnTo>
                    <a:pt x="401" y="44"/>
                  </a:lnTo>
                  <a:lnTo>
                    <a:pt x="401" y="43"/>
                  </a:lnTo>
                  <a:lnTo>
                    <a:pt x="402" y="42"/>
                  </a:lnTo>
                  <a:lnTo>
                    <a:pt x="402" y="41"/>
                  </a:lnTo>
                  <a:lnTo>
                    <a:pt x="402" y="40"/>
                  </a:lnTo>
                  <a:lnTo>
                    <a:pt x="403" y="39"/>
                  </a:lnTo>
                  <a:lnTo>
                    <a:pt x="403" y="35"/>
                  </a:lnTo>
                  <a:lnTo>
                    <a:pt x="403" y="34"/>
                  </a:lnTo>
                  <a:lnTo>
                    <a:pt x="403" y="33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1"/>
                  </a:lnTo>
                  <a:lnTo>
                    <a:pt x="406" y="31"/>
                  </a:lnTo>
                  <a:lnTo>
                    <a:pt x="407" y="30"/>
                  </a:lnTo>
                  <a:lnTo>
                    <a:pt x="407" y="30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1" y="30"/>
                  </a:lnTo>
                  <a:lnTo>
                    <a:pt x="413" y="31"/>
                  </a:lnTo>
                  <a:lnTo>
                    <a:pt x="415" y="31"/>
                  </a:lnTo>
                  <a:lnTo>
                    <a:pt x="417" y="32"/>
                  </a:lnTo>
                  <a:lnTo>
                    <a:pt x="420" y="33"/>
                  </a:lnTo>
                  <a:lnTo>
                    <a:pt x="422" y="33"/>
                  </a:lnTo>
                  <a:lnTo>
                    <a:pt x="423" y="33"/>
                  </a:lnTo>
                  <a:lnTo>
                    <a:pt x="423" y="33"/>
                  </a:lnTo>
                  <a:lnTo>
                    <a:pt x="424" y="33"/>
                  </a:lnTo>
                  <a:lnTo>
                    <a:pt x="425" y="33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29" y="31"/>
                  </a:lnTo>
                  <a:lnTo>
                    <a:pt x="430" y="31"/>
                  </a:lnTo>
                  <a:lnTo>
                    <a:pt x="430" y="30"/>
                  </a:lnTo>
                  <a:lnTo>
                    <a:pt x="431" y="29"/>
                  </a:lnTo>
                  <a:lnTo>
                    <a:pt x="431" y="29"/>
                  </a:lnTo>
                  <a:lnTo>
                    <a:pt x="432" y="28"/>
                  </a:lnTo>
                  <a:lnTo>
                    <a:pt x="432" y="28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3" y="24"/>
                  </a:lnTo>
                  <a:lnTo>
                    <a:pt x="433" y="23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4" y="22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7" y="20"/>
                  </a:lnTo>
                  <a:lnTo>
                    <a:pt x="437" y="19"/>
                  </a:lnTo>
                  <a:lnTo>
                    <a:pt x="439" y="18"/>
                  </a:lnTo>
                  <a:lnTo>
                    <a:pt x="443" y="16"/>
                  </a:lnTo>
                  <a:lnTo>
                    <a:pt x="444" y="16"/>
                  </a:lnTo>
                  <a:lnTo>
                    <a:pt x="445" y="15"/>
                  </a:lnTo>
                  <a:lnTo>
                    <a:pt x="445" y="15"/>
                  </a:lnTo>
                  <a:lnTo>
                    <a:pt x="446" y="14"/>
                  </a:lnTo>
                  <a:lnTo>
                    <a:pt x="446" y="14"/>
                  </a:lnTo>
                  <a:lnTo>
                    <a:pt x="447" y="13"/>
                  </a:lnTo>
                  <a:lnTo>
                    <a:pt x="447" y="12"/>
                  </a:lnTo>
                  <a:lnTo>
                    <a:pt x="447" y="11"/>
                  </a:lnTo>
                  <a:lnTo>
                    <a:pt x="447" y="9"/>
                  </a:lnTo>
                  <a:lnTo>
                    <a:pt x="447" y="8"/>
                  </a:lnTo>
                  <a:lnTo>
                    <a:pt x="448" y="6"/>
                  </a:lnTo>
                  <a:lnTo>
                    <a:pt x="449" y="4"/>
                  </a:lnTo>
                  <a:lnTo>
                    <a:pt x="450" y="3"/>
                  </a:lnTo>
                  <a:lnTo>
                    <a:pt x="45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1" y="0"/>
                  </a:lnTo>
                  <a:lnTo>
                    <a:pt x="451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Freeform 10">
              <a:extLst>
                <a:ext uri="{FF2B5EF4-FFF2-40B4-BE49-F238E27FC236}">
                  <a16:creationId xmlns:a16="http://schemas.microsoft.com/office/drawing/2014/main" id="{412C054B-FD22-4193-4860-38F9B9C877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4" y="3272"/>
              <a:ext cx="138" cy="106"/>
            </a:xfrm>
            <a:custGeom>
              <a:avLst/>
              <a:gdLst>
                <a:gd name="T0" fmla="*/ 77 w 138"/>
                <a:gd name="T1" fmla="*/ 3 h 106"/>
                <a:gd name="T2" fmla="*/ 66 w 138"/>
                <a:gd name="T3" fmla="*/ 8 h 106"/>
                <a:gd name="T4" fmla="*/ 53 w 138"/>
                <a:gd name="T5" fmla="*/ 13 h 106"/>
                <a:gd name="T6" fmla="*/ 43 w 138"/>
                <a:gd name="T7" fmla="*/ 15 h 106"/>
                <a:gd name="T8" fmla="*/ 38 w 138"/>
                <a:gd name="T9" fmla="*/ 17 h 106"/>
                <a:gd name="T10" fmla="*/ 36 w 138"/>
                <a:gd name="T11" fmla="*/ 24 h 106"/>
                <a:gd name="T12" fmla="*/ 33 w 138"/>
                <a:gd name="T13" fmla="*/ 27 h 106"/>
                <a:gd name="T14" fmla="*/ 26 w 138"/>
                <a:gd name="T15" fmla="*/ 26 h 106"/>
                <a:gd name="T16" fmla="*/ 21 w 138"/>
                <a:gd name="T17" fmla="*/ 24 h 106"/>
                <a:gd name="T18" fmla="*/ 14 w 138"/>
                <a:gd name="T19" fmla="*/ 27 h 106"/>
                <a:gd name="T20" fmla="*/ 2 w 138"/>
                <a:gd name="T21" fmla="*/ 31 h 106"/>
                <a:gd name="T22" fmla="*/ 0 w 138"/>
                <a:gd name="T23" fmla="*/ 33 h 106"/>
                <a:gd name="T24" fmla="*/ 5 w 138"/>
                <a:gd name="T25" fmla="*/ 36 h 106"/>
                <a:gd name="T26" fmla="*/ 13 w 138"/>
                <a:gd name="T27" fmla="*/ 44 h 106"/>
                <a:gd name="T28" fmla="*/ 12 w 138"/>
                <a:gd name="T29" fmla="*/ 48 h 106"/>
                <a:gd name="T30" fmla="*/ 7 w 138"/>
                <a:gd name="T31" fmla="*/ 52 h 106"/>
                <a:gd name="T32" fmla="*/ 7 w 138"/>
                <a:gd name="T33" fmla="*/ 55 h 106"/>
                <a:gd name="T34" fmla="*/ 11 w 138"/>
                <a:gd name="T35" fmla="*/ 62 h 106"/>
                <a:gd name="T36" fmla="*/ 20 w 138"/>
                <a:gd name="T37" fmla="*/ 71 h 106"/>
                <a:gd name="T38" fmla="*/ 21 w 138"/>
                <a:gd name="T39" fmla="*/ 75 h 106"/>
                <a:gd name="T40" fmla="*/ 20 w 138"/>
                <a:gd name="T41" fmla="*/ 80 h 106"/>
                <a:gd name="T42" fmla="*/ 22 w 138"/>
                <a:gd name="T43" fmla="*/ 83 h 106"/>
                <a:gd name="T44" fmla="*/ 28 w 138"/>
                <a:gd name="T45" fmla="*/ 86 h 106"/>
                <a:gd name="T46" fmla="*/ 29 w 138"/>
                <a:gd name="T47" fmla="*/ 89 h 106"/>
                <a:gd name="T48" fmla="*/ 29 w 138"/>
                <a:gd name="T49" fmla="*/ 94 h 106"/>
                <a:gd name="T50" fmla="*/ 30 w 138"/>
                <a:gd name="T51" fmla="*/ 97 h 106"/>
                <a:gd name="T52" fmla="*/ 29 w 138"/>
                <a:gd name="T53" fmla="*/ 102 h 106"/>
                <a:gd name="T54" fmla="*/ 32 w 138"/>
                <a:gd name="T55" fmla="*/ 105 h 106"/>
                <a:gd name="T56" fmla="*/ 40 w 138"/>
                <a:gd name="T57" fmla="*/ 106 h 106"/>
                <a:gd name="T58" fmla="*/ 46 w 138"/>
                <a:gd name="T59" fmla="*/ 106 h 106"/>
                <a:gd name="T60" fmla="*/ 49 w 138"/>
                <a:gd name="T61" fmla="*/ 100 h 106"/>
                <a:gd name="T62" fmla="*/ 55 w 138"/>
                <a:gd name="T63" fmla="*/ 98 h 106"/>
                <a:gd name="T64" fmla="*/ 65 w 138"/>
                <a:gd name="T65" fmla="*/ 94 h 106"/>
                <a:gd name="T66" fmla="*/ 76 w 138"/>
                <a:gd name="T67" fmla="*/ 86 h 106"/>
                <a:gd name="T68" fmla="*/ 83 w 138"/>
                <a:gd name="T69" fmla="*/ 83 h 106"/>
                <a:gd name="T70" fmla="*/ 88 w 138"/>
                <a:gd name="T71" fmla="*/ 79 h 106"/>
                <a:gd name="T72" fmla="*/ 94 w 138"/>
                <a:gd name="T73" fmla="*/ 78 h 106"/>
                <a:gd name="T74" fmla="*/ 102 w 138"/>
                <a:gd name="T75" fmla="*/ 77 h 106"/>
                <a:gd name="T76" fmla="*/ 110 w 138"/>
                <a:gd name="T77" fmla="*/ 81 h 106"/>
                <a:gd name="T78" fmla="*/ 117 w 138"/>
                <a:gd name="T79" fmla="*/ 83 h 106"/>
                <a:gd name="T80" fmla="*/ 121 w 138"/>
                <a:gd name="T81" fmla="*/ 82 h 106"/>
                <a:gd name="T82" fmla="*/ 127 w 138"/>
                <a:gd name="T83" fmla="*/ 76 h 106"/>
                <a:gd name="T84" fmla="*/ 126 w 138"/>
                <a:gd name="T85" fmla="*/ 66 h 106"/>
                <a:gd name="T86" fmla="*/ 124 w 138"/>
                <a:gd name="T87" fmla="*/ 62 h 106"/>
                <a:gd name="T88" fmla="*/ 122 w 138"/>
                <a:gd name="T89" fmla="*/ 58 h 106"/>
                <a:gd name="T90" fmla="*/ 125 w 138"/>
                <a:gd name="T91" fmla="*/ 55 h 106"/>
                <a:gd name="T92" fmla="*/ 135 w 138"/>
                <a:gd name="T93" fmla="*/ 49 h 106"/>
                <a:gd name="T94" fmla="*/ 138 w 138"/>
                <a:gd name="T95" fmla="*/ 44 h 106"/>
                <a:gd name="T96" fmla="*/ 137 w 138"/>
                <a:gd name="T97" fmla="*/ 40 h 106"/>
                <a:gd name="T98" fmla="*/ 130 w 138"/>
                <a:gd name="T99" fmla="*/ 34 h 106"/>
                <a:gd name="T100" fmla="*/ 125 w 138"/>
                <a:gd name="T101" fmla="*/ 28 h 106"/>
                <a:gd name="T102" fmla="*/ 117 w 138"/>
                <a:gd name="T103" fmla="*/ 23 h 106"/>
                <a:gd name="T104" fmla="*/ 109 w 138"/>
                <a:gd name="T105" fmla="*/ 20 h 106"/>
                <a:gd name="T106" fmla="*/ 106 w 138"/>
                <a:gd name="T107" fmla="*/ 14 h 106"/>
                <a:gd name="T108" fmla="*/ 101 w 138"/>
                <a:gd name="T109" fmla="*/ 12 h 106"/>
                <a:gd name="T110" fmla="*/ 91 w 138"/>
                <a:gd name="T111" fmla="*/ 5 h 106"/>
                <a:gd name="T112" fmla="*/ 88 w 138"/>
                <a:gd name="T113" fmla="*/ 2 h 106"/>
                <a:gd name="T114" fmla="*/ 88 w 138"/>
                <a:gd name="T11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8" h="106">
                  <a:moveTo>
                    <a:pt x="87" y="0"/>
                  </a:moveTo>
                  <a:lnTo>
                    <a:pt x="87" y="1"/>
                  </a:lnTo>
                  <a:lnTo>
                    <a:pt x="86" y="1"/>
                  </a:lnTo>
                  <a:lnTo>
                    <a:pt x="84" y="1"/>
                  </a:lnTo>
                  <a:lnTo>
                    <a:pt x="79" y="2"/>
                  </a:lnTo>
                  <a:lnTo>
                    <a:pt x="77" y="3"/>
                  </a:lnTo>
                  <a:lnTo>
                    <a:pt x="75" y="3"/>
                  </a:lnTo>
                  <a:lnTo>
                    <a:pt x="73" y="4"/>
                  </a:lnTo>
                  <a:lnTo>
                    <a:pt x="71" y="5"/>
                  </a:lnTo>
                  <a:lnTo>
                    <a:pt x="70" y="5"/>
                  </a:lnTo>
                  <a:lnTo>
                    <a:pt x="67" y="7"/>
                  </a:lnTo>
                  <a:lnTo>
                    <a:pt x="66" y="8"/>
                  </a:lnTo>
                  <a:lnTo>
                    <a:pt x="64" y="9"/>
                  </a:lnTo>
                  <a:lnTo>
                    <a:pt x="61" y="9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4" y="12"/>
                  </a:lnTo>
                  <a:lnTo>
                    <a:pt x="53" y="13"/>
                  </a:lnTo>
                  <a:lnTo>
                    <a:pt x="52" y="14"/>
                  </a:lnTo>
                  <a:lnTo>
                    <a:pt x="49" y="14"/>
                  </a:lnTo>
                  <a:lnTo>
                    <a:pt x="48" y="14"/>
                  </a:lnTo>
                  <a:lnTo>
                    <a:pt x="47" y="15"/>
                  </a:lnTo>
                  <a:lnTo>
                    <a:pt x="44" y="15"/>
                  </a:lnTo>
                  <a:lnTo>
                    <a:pt x="43" y="15"/>
                  </a:lnTo>
                  <a:lnTo>
                    <a:pt x="41" y="15"/>
                  </a:lnTo>
                  <a:lnTo>
                    <a:pt x="41" y="16"/>
                  </a:lnTo>
                  <a:lnTo>
                    <a:pt x="40" y="16"/>
                  </a:lnTo>
                  <a:lnTo>
                    <a:pt x="39" y="16"/>
                  </a:lnTo>
                  <a:lnTo>
                    <a:pt x="39" y="17"/>
                  </a:lnTo>
                  <a:lnTo>
                    <a:pt x="38" y="17"/>
                  </a:lnTo>
                  <a:lnTo>
                    <a:pt x="38" y="18"/>
                  </a:lnTo>
                  <a:lnTo>
                    <a:pt x="37" y="19"/>
                  </a:lnTo>
                  <a:lnTo>
                    <a:pt x="37" y="20"/>
                  </a:lnTo>
                  <a:lnTo>
                    <a:pt x="37" y="21"/>
                  </a:lnTo>
                  <a:lnTo>
                    <a:pt x="36" y="23"/>
                  </a:lnTo>
                  <a:lnTo>
                    <a:pt x="36" y="24"/>
                  </a:lnTo>
                  <a:lnTo>
                    <a:pt x="35" y="25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4" y="26"/>
                  </a:lnTo>
                  <a:lnTo>
                    <a:pt x="34" y="27"/>
                  </a:lnTo>
                  <a:lnTo>
                    <a:pt x="33" y="27"/>
                  </a:lnTo>
                  <a:lnTo>
                    <a:pt x="31" y="27"/>
                  </a:lnTo>
                  <a:lnTo>
                    <a:pt x="30" y="27"/>
                  </a:lnTo>
                  <a:lnTo>
                    <a:pt x="28" y="27"/>
                  </a:lnTo>
                  <a:lnTo>
                    <a:pt x="27" y="27"/>
                  </a:lnTo>
                  <a:lnTo>
                    <a:pt x="27" y="26"/>
                  </a:lnTo>
                  <a:lnTo>
                    <a:pt x="26" y="26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3" y="24"/>
                  </a:lnTo>
                  <a:lnTo>
                    <a:pt x="22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9" y="25"/>
                  </a:lnTo>
                  <a:lnTo>
                    <a:pt x="16" y="26"/>
                  </a:lnTo>
                  <a:lnTo>
                    <a:pt x="15" y="27"/>
                  </a:lnTo>
                  <a:lnTo>
                    <a:pt x="14" y="27"/>
                  </a:lnTo>
                  <a:lnTo>
                    <a:pt x="11" y="28"/>
                  </a:lnTo>
                  <a:lnTo>
                    <a:pt x="9" y="28"/>
                  </a:lnTo>
                  <a:lnTo>
                    <a:pt x="6" y="29"/>
                  </a:lnTo>
                  <a:lnTo>
                    <a:pt x="4" y="30"/>
                  </a:lnTo>
                  <a:lnTo>
                    <a:pt x="3" y="31"/>
                  </a:lnTo>
                  <a:lnTo>
                    <a:pt x="2" y="31"/>
                  </a:lnTo>
                  <a:lnTo>
                    <a:pt x="1" y="32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4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3" y="35"/>
                  </a:lnTo>
                  <a:lnTo>
                    <a:pt x="4" y="35"/>
                  </a:lnTo>
                  <a:lnTo>
                    <a:pt x="5" y="36"/>
                  </a:lnTo>
                  <a:lnTo>
                    <a:pt x="5" y="37"/>
                  </a:lnTo>
                  <a:lnTo>
                    <a:pt x="7" y="38"/>
                  </a:lnTo>
                  <a:lnTo>
                    <a:pt x="9" y="40"/>
                  </a:lnTo>
                  <a:lnTo>
                    <a:pt x="11" y="43"/>
                  </a:lnTo>
                  <a:lnTo>
                    <a:pt x="12" y="44"/>
                  </a:lnTo>
                  <a:lnTo>
                    <a:pt x="13" y="44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6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0" y="49"/>
                  </a:lnTo>
                  <a:lnTo>
                    <a:pt x="9" y="50"/>
                  </a:lnTo>
                  <a:lnTo>
                    <a:pt x="8" y="50"/>
                  </a:lnTo>
                  <a:lnTo>
                    <a:pt x="8" y="51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6" y="53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7" y="54"/>
                  </a:lnTo>
                  <a:lnTo>
                    <a:pt x="7" y="55"/>
                  </a:lnTo>
                  <a:lnTo>
                    <a:pt x="7" y="56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10" y="59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2" y="64"/>
                  </a:lnTo>
                  <a:lnTo>
                    <a:pt x="13" y="65"/>
                  </a:lnTo>
                  <a:lnTo>
                    <a:pt x="14" y="66"/>
                  </a:lnTo>
                  <a:lnTo>
                    <a:pt x="15" y="67"/>
                  </a:lnTo>
                  <a:lnTo>
                    <a:pt x="17" y="69"/>
                  </a:lnTo>
                  <a:lnTo>
                    <a:pt x="20" y="71"/>
                  </a:lnTo>
                  <a:lnTo>
                    <a:pt x="20" y="72"/>
                  </a:lnTo>
                  <a:lnTo>
                    <a:pt x="21" y="73"/>
                  </a:lnTo>
                  <a:lnTo>
                    <a:pt x="21" y="73"/>
                  </a:lnTo>
                  <a:lnTo>
                    <a:pt x="21" y="74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6"/>
                  </a:lnTo>
                  <a:lnTo>
                    <a:pt x="21" y="77"/>
                  </a:lnTo>
                  <a:lnTo>
                    <a:pt x="20" y="78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80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2"/>
                  </a:lnTo>
                  <a:lnTo>
                    <a:pt x="21" y="82"/>
                  </a:lnTo>
                  <a:lnTo>
                    <a:pt x="21" y="83"/>
                  </a:lnTo>
                  <a:lnTo>
                    <a:pt x="22" y="83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4" y="85"/>
                  </a:lnTo>
                  <a:lnTo>
                    <a:pt x="25" y="85"/>
                  </a:lnTo>
                  <a:lnTo>
                    <a:pt x="27" y="86"/>
                  </a:lnTo>
                  <a:lnTo>
                    <a:pt x="28" y="86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29" y="90"/>
                  </a:lnTo>
                  <a:lnTo>
                    <a:pt x="29" y="91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7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29" y="100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102"/>
                  </a:lnTo>
                  <a:lnTo>
                    <a:pt x="30" y="102"/>
                  </a:lnTo>
                  <a:lnTo>
                    <a:pt x="30" y="103"/>
                  </a:lnTo>
                  <a:lnTo>
                    <a:pt x="31" y="103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2" y="105"/>
                  </a:lnTo>
                  <a:lnTo>
                    <a:pt x="33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5" y="106"/>
                  </a:lnTo>
                  <a:lnTo>
                    <a:pt x="36" y="106"/>
                  </a:lnTo>
                  <a:lnTo>
                    <a:pt x="40" y="106"/>
                  </a:lnTo>
                  <a:lnTo>
                    <a:pt x="41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6" y="106"/>
                  </a:lnTo>
                  <a:lnTo>
                    <a:pt x="46" y="105"/>
                  </a:lnTo>
                  <a:lnTo>
                    <a:pt x="46" y="105"/>
                  </a:lnTo>
                  <a:lnTo>
                    <a:pt x="47" y="104"/>
                  </a:lnTo>
                  <a:lnTo>
                    <a:pt x="48" y="102"/>
                  </a:lnTo>
                  <a:lnTo>
                    <a:pt x="49" y="101"/>
                  </a:lnTo>
                  <a:lnTo>
                    <a:pt x="49" y="100"/>
                  </a:lnTo>
                  <a:lnTo>
                    <a:pt x="49" y="100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1" y="99"/>
                  </a:lnTo>
                  <a:lnTo>
                    <a:pt x="52" y="98"/>
                  </a:lnTo>
                  <a:lnTo>
                    <a:pt x="55" y="98"/>
                  </a:lnTo>
                  <a:lnTo>
                    <a:pt x="56" y="97"/>
                  </a:lnTo>
                  <a:lnTo>
                    <a:pt x="58" y="97"/>
                  </a:lnTo>
                  <a:lnTo>
                    <a:pt x="59" y="96"/>
                  </a:lnTo>
                  <a:lnTo>
                    <a:pt x="62" y="95"/>
                  </a:lnTo>
                  <a:lnTo>
                    <a:pt x="64" y="95"/>
                  </a:lnTo>
                  <a:lnTo>
                    <a:pt x="65" y="94"/>
                  </a:lnTo>
                  <a:lnTo>
                    <a:pt x="66" y="94"/>
                  </a:lnTo>
                  <a:lnTo>
                    <a:pt x="67" y="93"/>
                  </a:lnTo>
                  <a:lnTo>
                    <a:pt x="68" y="93"/>
                  </a:lnTo>
                  <a:lnTo>
                    <a:pt x="73" y="89"/>
                  </a:lnTo>
                  <a:lnTo>
                    <a:pt x="75" y="87"/>
                  </a:lnTo>
                  <a:lnTo>
                    <a:pt x="76" y="86"/>
                  </a:lnTo>
                  <a:lnTo>
                    <a:pt x="77" y="86"/>
                  </a:lnTo>
                  <a:lnTo>
                    <a:pt x="78" y="86"/>
                  </a:lnTo>
                  <a:lnTo>
                    <a:pt x="79" y="85"/>
                  </a:lnTo>
                  <a:lnTo>
                    <a:pt x="81" y="84"/>
                  </a:lnTo>
                  <a:lnTo>
                    <a:pt x="82" y="84"/>
                  </a:lnTo>
                  <a:lnTo>
                    <a:pt x="83" y="83"/>
                  </a:lnTo>
                  <a:lnTo>
                    <a:pt x="84" y="83"/>
                  </a:lnTo>
                  <a:lnTo>
                    <a:pt x="85" y="82"/>
                  </a:lnTo>
                  <a:lnTo>
                    <a:pt x="86" y="82"/>
                  </a:lnTo>
                  <a:lnTo>
                    <a:pt x="87" y="80"/>
                  </a:lnTo>
                  <a:lnTo>
                    <a:pt x="87" y="80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9" y="79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91" y="78"/>
                  </a:lnTo>
                  <a:lnTo>
                    <a:pt x="94" y="78"/>
                  </a:lnTo>
                  <a:lnTo>
                    <a:pt x="95" y="77"/>
                  </a:lnTo>
                  <a:lnTo>
                    <a:pt x="97" y="77"/>
                  </a:lnTo>
                  <a:lnTo>
                    <a:pt x="99" y="77"/>
                  </a:lnTo>
                  <a:lnTo>
                    <a:pt x="101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3" y="77"/>
                  </a:lnTo>
                  <a:lnTo>
                    <a:pt x="104" y="78"/>
                  </a:lnTo>
                  <a:lnTo>
                    <a:pt x="106" y="78"/>
                  </a:lnTo>
                  <a:lnTo>
                    <a:pt x="107" y="79"/>
                  </a:lnTo>
                  <a:lnTo>
                    <a:pt x="108" y="80"/>
                  </a:lnTo>
                  <a:lnTo>
                    <a:pt x="110" y="81"/>
                  </a:lnTo>
                  <a:lnTo>
                    <a:pt x="112" y="82"/>
                  </a:lnTo>
                  <a:lnTo>
                    <a:pt x="112" y="82"/>
                  </a:lnTo>
                  <a:lnTo>
                    <a:pt x="113" y="82"/>
                  </a:lnTo>
                  <a:lnTo>
                    <a:pt x="114" y="83"/>
                  </a:lnTo>
                  <a:lnTo>
                    <a:pt x="115" y="83"/>
                  </a:lnTo>
                  <a:lnTo>
                    <a:pt x="117" y="83"/>
                  </a:lnTo>
                  <a:lnTo>
                    <a:pt x="118" y="83"/>
                  </a:lnTo>
                  <a:lnTo>
                    <a:pt x="118" y="83"/>
                  </a:lnTo>
                  <a:lnTo>
                    <a:pt x="119" y="83"/>
                  </a:lnTo>
                  <a:lnTo>
                    <a:pt x="120" y="83"/>
                  </a:lnTo>
                  <a:lnTo>
                    <a:pt x="120" y="82"/>
                  </a:lnTo>
                  <a:lnTo>
                    <a:pt x="121" y="82"/>
                  </a:lnTo>
                  <a:lnTo>
                    <a:pt x="122" y="81"/>
                  </a:lnTo>
                  <a:lnTo>
                    <a:pt x="124" y="79"/>
                  </a:lnTo>
                  <a:lnTo>
                    <a:pt x="125" y="79"/>
                  </a:lnTo>
                  <a:lnTo>
                    <a:pt x="126" y="78"/>
                  </a:lnTo>
                  <a:lnTo>
                    <a:pt x="126" y="77"/>
                  </a:lnTo>
                  <a:lnTo>
                    <a:pt x="127" y="76"/>
                  </a:lnTo>
                  <a:lnTo>
                    <a:pt x="127" y="75"/>
                  </a:lnTo>
                  <a:lnTo>
                    <a:pt x="127" y="74"/>
                  </a:lnTo>
                  <a:lnTo>
                    <a:pt x="127" y="73"/>
                  </a:lnTo>
                  <a:lnTo>
                    <a:pt x="127" y="72"/>
                  </a:lnTo>
                  <a:lnTo>
                    <a:pt x="126" y="68"/>
                  </a:lnTo>
                  <a:lnTo>
                    <a:pt x="126" y="66"/>
                  </a:lnTo>
                  <a:lnTo>
                    <a:pt x="126" y="65"/>
                  </a:lnTo>
                  <a:lnTo>
                    <a:pt x="126" y="64"/>
                  </a:lnTo>
                  <a:lnTo>
                    <a:pt x="125" y="64"/>
                  </a:lnTo>
                  <a:lnTo>
                    <a:pt x="125" y="63"/>
                  </a:lnTo>
                  <a:lnTo>
                    <a:pt x="125" y="63"/>
                  </a:lnTo>
                  <a:lnTo>
                    <a:pt x="124" y="62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3" y="60"/>
                  </a:lnTo>
                  <a:lnTo>
                    <a:pt x="122" y="60"/>
                  </a:lnTo>
                  <a:lnTo>
                    <a:pt x="122" y="59"/>
                  </a:lnTo>
                  <a:lnTo>
                    <a:pt x="122" y="58"/>
                  </a:lnTo>
                  <a:lnTo>
                    <a:pt x="123" y="58"/>
                  </a:lnTo>
                  <a:lnTo>
                    <a:pt x="123" y="57"/>
                  </a:lnTo>
                  <a:lnTo>
                    <a:pt x="123" y="57"/>
                  </a:lnTo>
                  <a:lnTo>
                    <a:pt x="123" y="56"/>
                  </a:lnTo>
                  <a:lnTo>
                    <a:pt x="124" y="56"/>
                  </a:lnTo>
                  <a:lnTo>
                    <a:pt x="125" y="55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31" y="51"/>
                  </a:lnTo>
                  <a:lnTo>
                    <a:pt x="134" y="50"/>
                  </a:lnTo>
                  <a:lnTo>
                    <a:pt x="134" y="49"/>
                  </a:lnTo>
                  <a:lnTo>
                    <a:pt x="135" y="49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7" y="47"/>
                  </a:lnTo>
                  <a:lnTo>
                    <a:pt x="137" y="46"/>
                  </a:lnTo>
                  <a:lnTo>
                    <a:pt x="138" y="45"/>
                  </a:lnTo>
                  <a:lnTo>
                    <a:pt x="138" y="44"/>
                  </a:lnTo>
                  <a:lnTo>
                    <a:pt x="138" y="43"/>
                  </a:lnTo>
                  <a:lnTo>
                    <a:pt x="138" y="43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37" y="41"/>
                  </a:lnTo>
                  <a:lnTo>
                    <a:pt x="137" y="40"/>
                  </a:lnTo>
                  <a:lnTo>
                    <a:pt x="136" y="39"/>
                  </a:lnTo>
                  <a:lnTo>
                    <a:pt x="135" y="38"/>
                  </a:lnTo>
                  <a:lnTo>
                    <a:pt x="135" y="37"/>
                  </a:lnTo>
                  <a:lnTo>
                    <a:pt x="134" y="37"/>
                  </a:lnTo>
                  <a:lnTo>
                    <a:pt x="133" y="36"/>
                  </a:lnTo>
                  <a:lnTo>
                    <a:pt x="130" y="34"/>
                  </a:lnTo>
                  <a:lnTo>
                    <a:pt x="129" y="33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7" y="31"/>
                  </a:lnTo>
                  <a:lnTo>
                    <a:pt x="126" y="29"/>
                  </a:lnTo>
                  <a:lnTo>
                    <a:pt x="125" y="28"/>
                  </a:lnTo>
                  <a:lnTo>
                    <a:pt x="124" y="28"/>
                  </a:lnTo>
                  <a:lnTo>
                    <a:pt x="124" y="27"/>
                  </a:lnTo>
                  <a:lnTo>
                    <a:pt x="123" y="27"/>
                  </a:lnTo>
                  <a:lnTo>
                    <a:pt x="122" y="26"/>
                  </a:lnTo>
                  <a:lnTo>
                    <a:pt x="118" y="24"/>
                  </a:lnTo>
                  <a:lnTo>
                    <a:pt x="117" y="23"/>
                  </a:lnTo>
                  <a:lnTo>
                    <a:pt x="114" y="23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1" y="21"/>
                  </a:lnTo>
                  <a:lnTo>
                    <a:pt x="110" y="21"/>
                  </a:lnTo>
                  <a:lnTo>
                    <a:pt x="109" y="20"/>
                  </a:lnTo>
                  <a:lnTo>
                    <a:pt x="109" y="19"/>
                  </a:lnTo>
                  <a:lnTo>
                    <a:pt x="108" y="19"/>
                  </a:lnTo>
                  <a:lnTo>
                    <a:pt x="107" y="18"/>
                  </a:lnTo>
                  <a:lnTo>
                    <a:pt x="107" y="17"/>
                  </a:lnTo>
                  <a:lnTo>
                    <a:pt x="107" y="16"/>
                  </a:lnTo>
                  <a:lnTo>
                    <a:pt x="106" y="14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4" y="12"/>
                  </a:lnTo>
                  <a:lnTo>
                    <a:pt x="103" y="12"/>
                  </a:lnTo>
                  <a:lnTo>
                    <a:pt x="101" y="12"/>
                  </a:lnTo>
                  <a:lnTo>
                    <a:pt x="100" y="11"/>
                  </a:lnTo>
                  <a:lnTo>
                    <a:pt x="99" y="11"/>
                  </a:lnTo>
                  <a:lnTo>
                    <a:pt x="98" y="10"/>
                  </a:lnTo>
                  <a:lnTo>
                    <a:pt x="95" y="8"/>
                  </a:lnTo>
                  <a:lnTo>
                    <a:pt x="94" y="7"/>
                  </a:lnTo>
                  <a:lnTo>
                    <a:pt x="91" y="5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89" y="4"/>
                  </a:lnTo>
                  <a:lnTo>
                    <a:pt x="89" y="3"/>
                  </a:lnTo>
                  <a:lnTo>
                    <a:pt x="89" y="2"/>
                  </a:lnTo>
                  <a:lnTo>
                    <a:pt x="88" y="2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9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7" y="0"/>
                  </a:lnTo>
                </a:path>
              </a:pathLst>
            </a:custGeom>
            <a:solidFill>
              <a:srgbClr val="A8A8A8"/>
            </a:solidFill>
            <a:ln w="635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Freeform 11">
              <a:extLst>
                <a:ext uri="{FF2B5EF4-FFF2-40B4-BE49-F238E27FC236}">
                  <a16:creationId xmlns:a16="http://schemas.microsoft.com/office/drawing/2014/main" id="{F828F0EF-8C9B-741B-C691-74B72EC83C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3533"/>
              <a:ext cx="624" cy="488"/>
            </a:xfrm>
            <a:custGeom>
              <a:avLst/>
              <a:gdLst>
                <a:gd name="T0" fmla="*/ 178 w 624"/>
                <a:gd name="T1" fmla="*/ 37 h 488"/>
                <a:gd name="T2" fmla="*/ 217 w 624"/>
                <a:gd name="T3" fmla="*/ 23 h 488"/>
                <a:gd name="T4" fmla="*/ 241 w 624"/>
                <a:gd name="T5" fmla="*/ 35 h 488"/>
                <a:gd name="T6" fmla="*/ 265 w 624"/>
                <a:gd name="T7" fmla="*/ 33 h 488"/>
                <a:gd name="T8" fmla="*/ 286 w 624"/>
                <a:gd name="T9" fmla="*/ 34 h 488"/>
                <a:gd name="T10" fmla="*/ 319 w 624"/>
                <a:gd name="T11" fmla="*/ 35 h 488"/>
                <a:gd name="T12" fmla="*/ 337 w 624"/>
                <a:gd name="T13" fmla="*/ 48 h 488"/>
                <a:gd name="T14" fmla="*/ 363 w 624"/>
                <a:gd name="T15" fmla="*/ 27 h 488"/>
                <a:gd name="T16" fmla="*/ 373 w 624"/>
                <a:gd name="T17" fmla="*/ 0 h 488"/>
                <a:gd name="T18" fmla="*/ 403 w 624"/>
                <a:gd name="T19" fmla="*/ 13 h 488"/>
                <a:gd name="T20" fmla="*/ 422 w 624"/>
                <a:gd name="T21" fmla="*/ 31 h 488"/>
                <a:gd name="T22" fmla="*/ 417 w 624"/>
                <a:gd name="T23" fmla="*/ 47 h 488"/>
                <a:gd name="T24" fmla="*/ 415 w 624"/>
                <a:gd name="T25" fmla="*/ 88 h 488"/>
                <a:gd name="T26" fmla="*/ 421 w 624"/>
                <a:gd name="T27" fmla="*/ 120 h 488"/>
                <a:gd name="T28" fmla="*/ 435 w 624"/>
                <a:gd name="T29" fmla="*/ 153 h 488"/>
                <a:gd name="T30" fmla="*/ 468 w 624"/>
                <a:gd name="T31" fmla="*/ 159 h 488"/>
                <a:gd name="T32" fmla="*/ 473 w 624"/>
                <a:gd name="T33" fmla="*/ 171 h 488"/>
                <a:gd name="T34" fmla="*/ 502 w 624"/>
                <a:gd name="T35" fmla="*/ 178 h 488"/>
                <a:gd name="T36" fmla="*/ 542 w 624"/>
                <a:gd name="T37" fmla="*/ 184 h 488"/>
                <a:gd name="T38" fmla="*/ 551 w 624"/>
                <a:gd name="T39" fmla="*/ 212 h 488"/>
                <a:gd name="T40" fmla="*/ 591 w 624"/>
                <a:gd name="T41" fmla="*/ 227 h 488"/>
                <a:gd name="T42" fmla="*/ 614 w 624"/>
                <a:gd name="T43" fmla="*/ 228 h 488"/>
                <a:gd name="T44" fmla="*/ 621 w 624"/>
                <a:gd name="T45" fmla="*/ 249 h 488"/>
                <a:gd name="T46" fmla="*/ 600 w 624"/>
                <a:gd name="T47" fmla="*/ 276 h 488"/>
                <a:gd name="T48" fmla="*/ 605 w 624"/>
                <a:gd name="T49" fmla="*/ 293 h 488"/>
                <a:gd name="T50" fmla="*/ 617 w 624"/>
                <a:gd name="T51" fmla="*/ 312 h 488"/>
                <a:gd name="T52" fmla="*/ 606 w 624"/>
                <a:gd name="T53" fmla="*/ 325 h 488"/>
                <a:gd name="T54" fmla="*/ 560 w 624"/>
                <a:gd name="T55" fmla="*/ 297 h 488"/>
                <a:gd name="T56" fmla="*/ 529 w 624"/>
                <a:gd name="T57" fmla="*/ 291 h 488"/>
                <a:gd name="T58" fmla="*/ 496 w 624"/>
                <a:gd name="T59" fmla="*/ 309 h 488"/>
                <a:gd name="T60" fmla="*/ 484 w 624"/>
                <a:gd name="T61" fmla="*/ 286 h 488"/>
                <a:gd name="T62" fmla="*/ 448 w 624"/>
                <a:gd name="T63" fmla="*/ 277 h 488"/>
                <a:gd name="T64" fmla="*/ 438 w 624"/>
                <a:gd name="T65" fmla="*/ 313 h 488"/>
                <a:gd name="T66" fmla="*/ 432 w 624"/>
                <a:gd name="T67" fmla="*/ 370 h 488"/>
                <a:gd name="T68" fmla="*/ 425 w 624"/>
                <a:gd name="T69" fmla="*/ 394 h 488"/>
                <a:gd name="T70" fmla="*/ 386 w 624"/>
                <a:gd name="T71" fmla="*/ 391 h 488"/>
                <a:gd name="T72" fmla="*/ 358 w 624"/>
                <a:gd name="T73" fmla="*/ 437 h 488"/>
                <a:gd name="T74" fmla="*/ 350 w 624"/>
                <a:gd name="T75" fmla="*/ 476 h 488"/>
                <a:gd name="T76" fmla="*/ 326 w 624"/>
                <a:gd name="T77" fmla="*/ 461 h 488"/>
                <a:gd name="T78" fmla="*/ 291 w 624"/>
                <a:gd name="T79" fmla="*/ 458 h 488"/>
                <a:gd name="T80" fmla="*/ 273 w 624"/>
                <a:gd name="T81" fmla="*/ 465 h 488"/>
                <a:gd name="T82" fmla="*/ 253 w 624"/>
                <a:gd name="T83" fmla="*/ 481 h 488"/>
                <a:gd name="T84" fmla="*/ 211 w 624"/>
                <a:gd name="T85" fmla="*/ 477 h 488"/>
                <a:gd name="T86" fmla="*/ 158 w 624"/>
                <a:gd name="T87" fmla="*/ 467 h 488"/>
                <a:gd name="T88" fmla="*/ 145 w 624"/>
                <a:gd name="T89" fmla="*/ 446 h 488"/>
                <a:gd name="T90" fmla="*/ 142 w 624"/>
                <a:gd name="T91" fmla="*/ 422 h 488"/>
                <a:gd name="T92" fmla="*/ 101 w 624"/>
                <a:gd name="T93" fmla="*/ 392 h 488"/>
                <a:gd name="T94" fmla="*/ 73 w 624"/>
                <a:gd name="T95" fmla="*/ 361 h 488"/>
                <a:gd name="T96" fmla="*/ 46 w 624"/>
                <a:gd name="T97" fmla="*/ 336 h 488"/>
                <a:gd name="T98" fmla="*/ 20 w 624"/>
                <a:gd name="T99" fmla="*/ 306 h 488"/>
                <a:gd name="T100" fmla="*/ 0 w 624"/>
                <a:gd name="T101" fmla="*/ 286 h 488"/>
                <a:gd name="T102" fmla="*/ 17 w 624"/>
                <a:gd name="T103" fmla="*/ 255 h 488"/>
                <a:gd name="T104" fmla="*/ 18 w 624"/>
                <a:gd name="T105" fmla="*/ 214 h 488"/>
                <a:gd name="T106" fmla="*/ 47 w 624"/>
                <a:gd name="T107" fmla="*/ 201 h 488"/>
                <a:gd name="T108" fmla="*/ 49 w 624"/>
                <a:gd name="T109" fmla="*/ 174 h 488"/>
                <a:gd name="T110" fmla="*/ 52 w 624"/>
                <a:gd name="T111" fmla="*/ 157 h 488"/>
                <a:gd name="T112" fmla="*/ 59 w 624"/>
                <a:gd name="T113" fmla="*/ 140 h 488"/>
                <a:gd name="T114" fmla="*/ 74 w 624"/>
                <a:gd name="T115" fmla="*/ 107 h 488"/>
                <a:gd name="T116" fmla="*/ 71 w 624"/>
                <a:gd name="T117" fmla="*/ 67 h 488"/>
                <a:gd name="T118" fmla="*/ 73 w 624"/>
                <a:gd name="T119" fmla="*/ 44 h 488"/>
                <a:gd name="T120" fmla="*/ 102 w 624"/>
                <a:gd name="T121" fmla="*/ 41 h 488"/>
                <a:gd name="T122" fmla="*/ 127 w 624"/>
                <a:gd name="T123" fmla="*/ 45 h 488"/>
                <a:gd name="T124" fmla="*/ 150 w 624"/>
                <a:gd name="T125" fmla="*/ 28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24" h="488">
                  <a:moveTo>
                    <a:pt x="162" y="23"/>
                  </a:moveTo>
                  <a:lnTo>
                    <a:pt x="162" y="23"/>
                  </a:lnTo>
                  <a:lnTo>
                    <a:pt x="162" y="23"/>
                  </a:lnTo>
                  <a:lnTo>
                    <a:pt x="163" y="24"/>
                  </a:lnTo>
                  <a:lnTo>
                    <a:pt x="163" y="24"/>
                  </a:lnTo>
                  <a:lnTo>
                    <a:pt x="163" y="25"/>
                  </a:lnTo>
                  <a:lnTo>
                    <a:pt x="163" y="29"/>
                  </a:lnTo>
                  <a:lnTo>
                    <a:pt x="163" y="31"/>
                  </a:lnTo>
                  <a:lnTo>
                    <a:pt x="163" y="32"/>
                  </a:lnTo>
                  <a:lnTo>
                    <a:pt x="163" y="33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4" y="35"/>
                  </a:lnTo>
                  <a:lnTo>
                    <a:pt x="164" y="35"/>
                  </a:lnTo>
                  <a:lnTo>
                    <a:pt x="165" y="36"/>
                  </a:lnTo>
                  <a:lnTo>
                    <a:pt x="165" y="36"/>
                  </a:lnTo>
                  <a:lnTo>
                    <a:pt x="166" y="37"/>
                  </a:lnTo>
                  <a:lnTo>
                    <a:pt x="167" y="37"/>
                  </a:lnTo>
                  <a:lnTo>
                    <a:pt x="168" y="37"/>
                  </a:lnTo>
                  <a:lnTo>
                    <a:pt x="168" y="37"/>
                  </a:lnTo>
                  <a:lnTo>
                    <a:pt x="170" y="38"/>
                  </a:lnTo>
                  <a:lnTo>
                    <a:pt x="171" y="37"/>
                  </a:lnTo>
                  <a:lnTo>
                    <a:pt x="172" y="37"/>
                  </a:lnTo>
                  <a:lnTo>
                    <a:pt x="173" y="37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6" y="37"/>
                  </a:lnTo>
                  <a:lnTo>
                    <a:pt x="178" y="37"/>
                  </a:lnTo>
                  <a:lnTo>
                    <a:pt x="179" y="37"/>
                  </a:lnTo>
                  <a:lnTo>
                    <a:pt x="181" y="36"/>
                  </a:lnTo>
                  <a:lnTo>
                    <a:pt x="182" y="36"/>
                  </a:lnTo>
                  <a:lnTo>
                    <a:pt x="183" y="36"/>
                  </a:lnTo>
                  <a:lnTo>
                    <a:pt x="187" y="36"/>
                  </a:lnTo>
                  <a:lnTo>
                    <a:pt x="188" y="36"/>
                  </a:lnTo>
                  <a:lnTo>
                    <a:pt x="196" y="36"/>
                  </a:lnTo>
                  <a:lnTo>
                    <a:pt x="199" y="35"/>
                  </a:lnTo>
                  <a:lnTo>
                    <a:pt x="201" y="35"/>
                  </a:lnTo>
                  <a:lnTo>
                    <a:pt x="202" y="35"/>
                  </a:lnTo>
                  <a:lnTo>
                    <a:pt x="204" y="35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6" y="35"/>
                  </a:lnTo>
                  <a:lnTo>
                    <a:pt x="206" y="35"/>
                  </a:lnTo>
                  <a:lnTo>
                    <a:pt x="207" y="34"/>
                  </a:lnTo>
                  <a:lnTo>
                    <a:pt x="207" y="32"/>
                  </a:lnTo>
                  <a:lnTo>
                    <a:pt x="208" y="31"/>
                  </a:lnTo>
                  <a:lnTo>
                    <a:pt x="209" y="30"/>
                  </a:lnTo>
                  <a:lnTo>
                    <a:pt x="210" y="28"/>
                  </a:lnTo>
                  <a:lnTo>
                    <a:pt x="211" y="26"/>
                  </a:lnTo>
                  <a:lnTo>
                    <a:pt x="211" y="26"/>
                  </a:lnTo>
                  <a:lnTo>
                    <a:pt x="212" y="25"/>
                  </a:lnTo>
                  <a:lnTo>
                    <a:pt x="212" y="24"/>
                  </a:lnTo>
                  <a:lnTo>
                    <a:pt x="213" y="24"/>
                  </a:lnTo>
                  <a:lnTo>
                    <a:pt x="214" y="24"/>
                  </a:lnTo>
                  <a:lnTo>
                    <a:pt x="217" y="23"/>
                  </a:lnTo>
                  <a:lnTo>
                    <a:pt x="219" y="22"/>
                  </a:lnTo>
                  <a:lnTo>
                    <a:pt x="220" y="22"/>
                  </a:lnTo>
                  <a:lnTo>
                    <a:pt x="221" y="22"/>
                  </a:lnTo>
                  <a:lnTo>
                    <a:pt x="222" y="22"/>
                  </a:lnTo>
                  <a:lnTo>
                    <a:pt x="222" y="22"/>
                  </a:lnTo>
                  <a:lnTo>
                    <a:pt x="223" y="22"/>
                  </a:lnTo>
                  <a:lnTo>
                    <a:pt x="225" y="23"/>
                  </a:lnTo>
                  <a:lnTo>
                    <a:pt x="226" y="23"/>
                  </a:lnTo>
                  <a:lnTo>
                    <a:pt x="227" y="24"/>
                  </a:lnTo>
                  <a:lnTo>
                    <a:pt x="228" y="25"/>
                  </a:lnTo>
                  <a:lnTo>
                    <a:pt x="229" y="25"/>
                  </a:lnTo>
                  <a:lnTo>
                    <a:pt x="230" y="26"/>
                  </a:lnTo>
                  <a:lnTo>
                    <a:pt x="231" y="28"/>
                  </a:lnTo>
                  <a:lnTo>
                    <a:pt x="231" y="28"/>
                  </a:lnTo>
                  <a:lnTo>
                    <a:pt x="232" y="29"/>
                  </a:lnTo>
                  <a:lnTo>
                    <a:pt x="232" y="29"/>
                  </a:lnTo>
                  <a:lnTo>
                    <a:pt x="233" y="30"/>
                  </a:lnTo>
                  <a:lnTo>
                    <a:pt x="233" y="30"/>
                  </a:lnTo>
                  <a:lnTo>
                    <a:pt x="235" y="30"/>
                  </a:lnTo>
                  <a:lnTo>
                    <a:pt x="236" y="31"/>
                  </a:lnTo>
                  <a:lnTo>
                    <a:pt x="238" y="32"/>
                  </a:lnTo>
                  <a:lnTo>
                    <a:pt x="238" y="32"/>
                  </a:lnTo>
                  <a:lnTo>
                    <a:pt x="239" y="33"/>
                  </a:lnTo>
                  <a:lnTo>
                    <a:pt x="240" y="33"/>
                  </a:lnTo>
                  <a:lnTo>
                    <a:pt x="241" y="34"/>
                  </a:lnTo>
                  <a:lnTo>
                    <a:pt x="241" y="35"/>
                  </a:lnTo>
                  <a:lnTo>
                    <a:pt x="241" y="35"/>
                  </a:lnTo>
                  <a:lnTo>
                    <a:pt x="241" y="35"/>
                  </a:lnTo>
                  <a:lnTo>
                    <a:pt x="242" y="37"/>
                  </a:lnTo>
                  <a:lnTo>
                    <a:pt x="242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4" y="39"/>
                  </a:lnTo>
                  <a:lnTo>
                    <a:pt x="245" y="39"/>
                  </a:lnTo>
                  <a:lnTo>
                    <a:pt x="247" y="39"/>
                  </a:lnTo>
                  <a:lnTo>
                    <a:pt x="248" y="39"/>
                  </a:lnTo>
                  <a:lnTo>
                    <a:pt x="249" y="39"/>
                  </a:lnTo>
                  <a:lnTo>
                    <a:pt x="250" y="39"/>
                  </a:lnTo>
                  <a:lnTo>
                    <a:pt x="252" y="39"/>
                  </a:lnTo>
                  <a:lnTo>
                    <a:pt x="252" y="38"/>
                  </a:lnTo>
                  <a:lnTo>
                    <a:pt x="253" y="38"/>
                  </a:lnTo>
                  <a:lnTo>
                    <a:pt x="253" y="38"/>
                  </a:lnTo>
                  <a:lnTo>
                    <a:pt x="256" y="36"/>
                  </a:lnTo>
                  <a:lnTo>
                    <a:pt x="257" y="35"/>
                  </a:lnTo>
                  <a:lnTo>
                    <a:pt x="258" y="35"/>
                  </a:lnTo>
                  <a:lnTo>
                    <a:pt x="259" y="34"/>
                  </a:lnTo>
                  <a:lnTo>
                    <a:pt x="260" y="34"/>
                  </a:lnTo>
                  <a:lnTo>
                    <a:pt x="261" y="34"/>
                  </a:lnTo>
                  <a:lnTo>
                    <a:pt x="262" y="34"/>
                  </a:lnTo>
                  <a:lnTo>
                    <a:pt x="264" y="34"/>
                  </a:lnTo>
                  <a:lnTo>
                    <a:pt x="264" y="34"/>
                  </a:lnTo>
                  <a:lnTo>
                    <a:pt x="264" y="34"/>
                  </a:lnTo>
                  <a:lnTo>
                    <a:pt x="265" y="34"/>
                  </a:lnTo>
                  <a:lnTo>
                    <a:pt x="265" y="34"/>
                  </a:lnTo>
                  <a:lnTo>
                    <a:pt x="265" y="33"/>
                  </a:lnTo>
                  <a:lnTo>
                    <a:pt x="265" y="33"/>
                  </a:lnTo>
                  <a:lnTo>
                    <a:pt x="265" y="32"/>
                  </a:lnTo>
                  <a:lnTo>
                    <a:pt x="265" y="30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8"/>
                  </a:lnTo>
                  <a:lnTo>
                    <a:pt x="265" y="28"/>
                  </a:lnTo>
                  <a:lnTo>
                    <a:pt x="266" y="28"/>
                  </a:lnTo>
                  <a:lnTo>
                    <a:pt x="266" y="28"/>
                  </a:lnTo>
                  <a:lnTo>
                    <a:pt x="267" y="28"/>
                  </a:lnTo>
                  <a:lnTo>
                    <a:pt x="268" y="28"/>
                  </a:lnTo>
                  <a:lnTo>
                    <a:pt x="270" y="30"/>
                  </a:lnTo>
                  <a:lnTo>
                    <a:pt x="271" y="30"/>
                  </a:lnTo>
                  <a:lnTo>
                    <a:pt x="272" y="31"/>
                  </a:lnTo>
                  <a:lnTo>
                    <a:pt x="274" y="31"/>
                  </a:lnTo>
                  <a:lnTo>
                    <a:pt x="275" y="32"/>
                  </a:lnTo>
                  <a:lnTo>
                    <a:pt x="276" y="32"/>
                  </a:lnTo>
                  <a:lnTo>
                    <a:pt x="279" y="35"/>
                  </a:lnTo>
                  <a:lnTo>
                    <a:pt x="280" y="35"/>
                  </a:lnTo>
                  <a:lnTo>
                    <a:pt x="281" y="36"/>
                  </a:lnTo>
                  <a:lnTo>
                    <a:pt x="282" y="36"/>
                  </a:lnTo>
                  <a:lnTo>
                    <a:pt x="282" y="36"/>
                  </a:lnTo>
                  <a:lnTo>
                    <a:pt x="283" y="36"/>
                  </a:lnTo>
                  <a:lnTo>
                    <a:pt x="283" y="36"/>
                  </a:lnTo>
                  <a:lnTo>
                    <a:pt x="284" y="36"/>
                  </a:lnTo>
                  <a:lnTo>
                    <a:pt x="285" y="35"/>
                  </a:lnTo>
                  <a:lnTo>
                    <a:pt x="286" y="34"/>
                  </a:lnTo>
                  <a:lnTo>
                    <a:pt x="287" y="34"/>
                  </a:lnTo>
                  <a:lnTo>
                    <a:pt x="288" y="33"/>
                  </a:lnTo>
                  <a:lnTo>
                    <a:pt x="288" y="33"/>
                  </a:lnTo>
                  <a:lnTo>
                    <a:pt x="289" y="33"/>
                  </a:lnTo>
                  <a:lnTo>
                    <a:pt x="290" y="33"/>
                  </a:lnTo>
                  <a:lnTo>
                    <a:pt x="292" y="33"/>
                  </a:lnTo>
                  <a:lnTo>
                    <a:pt x="293" y="34"/>
                  </a:lnTo>
                  <a:lnTo>
                    <a:pt x="294" y="34"/>
                  </a:lnTo>
                  <a:lnTo>
                    <a:pt x="295" y="34"/>
                  </a:lnTo>
                  <a:lnTo>
                    <a:pt x="295" y="34"/>
                  </a:lnTo>
                  <a:lnTo>
                    <a:pt x="297" y="35"/>
                  </a:lnTo>
                  <a:lnTo>
                    <a:pt x="298" y="35"/>
                  </a:lnTo>
                  <a:lnTo>
                    <a:pt x="299" y="36"/>
                  </a:lnTo>
                  <a:lnTo>
                    <a:pt x="300" y="36"/>
                  </a:lnTo>
                  <a:lnTo>
                    <a:pt x="302" y="36"/>
                  </a:lnTo>
                  <a:lnTo>
                    <a:pt x="306" y="37"/>
                  </a:lnTo>
                  <a:lnTo>
                    <a:pt x="307" y="37"/>
                  </a:lnTo>
                  <a:lnTo>
                    <a:pt x="309" y="37"/>
                  </a:lnTo>
                  <a:lnTo>
                    <a:pt x="310" y="37"/>
                  </a:lnTo>
                  <a:lnTo>
                    <a:pt x="311" y="37"/>
                  </a:lnTo>
                  <a:lnTo>
                    <a:pt x="313" y="36"/>
                  </a:lnTo>
                  <a:lnTo>
                    <a:pt x="314" y="36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9" y="35"/>
                  </a:lnTo>
                  <a:lnTo>
                    <a:pt x="319" y="36"/>
                  </a:lnTo>
                  <a:lnTo>
                    <a:pt x="319" y="36"/>
                  </a:lnTo>
                  <a:lnTo>
                    <a:pt x="319" y="37"/>
                  </a:lnTo>
                  <a:lnTo>
                    <a:pt x="318" y="40"/>
                  </a:lnTo>
                  <a:lnTo>
                    <a:pt x="318" y="40"/>
                  </a:lnTo>
                  <a:lnTo>
                    <a:pt x="318" y="41"/>
                  </a:lnTo>
                  <a:lnTo>
                    <a:pt x="318" y="41"/>
                  </a:lnTo>
                  <a:lnTo>
                    <a:pt x="318" y="41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20" y="42"/>
                  </a:lnTo>
                  <a:lnTo>
                    <a:pt x="320" y="43"/>
                  </a:lnTo>
                  <a:lnTo>
                    <a:pt x="321" y="43"/>
                  </a:lnTo>
                  <a:lnTo>
                    <a:pt x="321" y="43"/>
                  </a:lnTo>
                  <a:lnTo>
                    <a:pt x="323" y="43"/>
                  </a:lnTo>
                  <a:lnTo>
                    <a:pt x="325" y="44"/>
                  </a:lnTo>
                  <a:lnTo>
                    <a:pt x="326" y="44"/>
                  </a:lnTo>
                  <a:lnTo>
                    <a:pt x="328" y="44"/>
                  </a:lnTo>
                  <a:lnTo>
                    <a:pt x="329" y="45"/>
                  </a:lnTo>
                  <a:lnTo>
                    <a:pt x="331" y="45"/>
                  </a:lnTo>
                  <a:lnTo>
                    <a:pt x="332" y="46"/>
                  </a:lnTo>
                  <a:lnTo>
                    <a:pt x="333" y="46"/>
                  </a:lnTo>
                  <a:lnTo>
                    <a:pt x="335" y="48"/>
                  </a:lnTo>
                  <a:lnTo>
                    <a:pt x="335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8" y="48"/>
                  </a:lnTo>
                  <a:lnTo>
                    <a:pt x="338" y="47"/>
                  </a:lnTo>
                  <a:lnTo>
                    <a:pt x="339" y="47"/>
                  </a:lnTo>
                  <a:lnTo>
                    <a:pt x="340" y="45"/>
                  </a:lnTo>
                  <a:lnTo>
                    <a:pt x="341" y="44"/>
                  </a:lnTo>
                  <a:lnTo>
                    <a:pt x="342" y="43"/>
                  </a:lnTo>
                  <a:lnTo>
                    <a:pt x="343" y="41"/>
                  </a:lnTo>
                  <a:lnTo>
                    <a:pt x="344" y="40"/>
                  </a:lnTo>
                  <a:lnTo>
                    <a:pt x="347" y="38"/>
                  </a:lnTo>
                  <a:lnTo>
                    <a:pt x="349" y="36"/>
                  </a:lnTo>
                  <a:lnTo>
                    <a:pt x="351" y="35"/>
                  </a:lnTo>
                  <a:lnTo>
                    <a:pt x="352" y="34"/>
                  </a:lnTo>
                  <a:lnTo>
                    <a:pt x="353" y="34"/>
                  </a:lnTo>
                  <a:lnTo>
                    <a:pt x="354" y="34"/>
                  </a:lnTo>
                  <a:lnTo>
                    <a:pt x="357" y="33"/>
                  </a:lnTo>
                  <a:lnTo>
                    <a:pt x="358" y="32"/>
                  </a:lnTo>
                  <a:lnTo>
                    <a:pt x="359" y="32"/>
                  </a:lnTo>
                  <a:lnTo>
                    <a:pt x="361" y="31"/>
                  </a:lnTo>
                  <a:lnTo>
                    <a:pt x="361" y="31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3" y="29"/>
                  </a:lnTo>
                  <a:lnTo>
                    <a:pt x="363" y="28"/>
                  </a:lnTo>
                  <a:lnTo>
                    <a:pt x="363" y="28"/>
                  </a:lnTo>
                  <a:lnTo>
                    <a:pt x="363" y="27"/>
                  </a:lnTo>
                  <a:lnTo>
                    <a:pt x="362" y="25"/>
                  </a:lnTo>
                  <a:lnTo>
                    <a:pt x="362" y="23"/>
                  </a:lnTo>
                  <a:lnTo>
                    <a:pt x="361" y="21"/>
                  </a:lnTo>
                  <a:lnTo>
                    <a:pt x="361" y="20"/>
                  </a:lnTo>
                  <a:lnTo>
                    <a:pt x="361" y="20"/>
                  </a:lnTo>
                  <a:lnTo>
                    <a:pt x="361" y="18"/>
                  </a:lnTo>
                  <a:lnTo>
                    <a:pt x="361" y="17"/>
                  </a:lnTo>
                  <a:lnTo>
                    <a:pt x="362" y="15"/>
                  </a:lnTo>
                  <a:lnTo>
                    <a:pt x="362" y="14"/>
                  </a:lnTo>
                  <a:lnTo>
                    <a:pt x="362" y="13"/>
                  </a:lnTo>
                  <a:lnTo>
                    <a:pt x="362" y="11"/>
                  </a:lnTo>
                  <a:lnTo>
                    <a:pt x="362" y="11"/>
                  </a:lnTo>
                  <a:lnTo>
                    <a:pt x="362" y="10"/>
                  </a:lnTo>
                  <a:lnTo>
                    <a:pt x="363" y="10"/>
                  </a:lnTo>
                  <a:lnTo>
                    <a:pt x="363" y="9"/>
                  </a:lnTo>
                  <a:lnTo>
                    <a:pt x="364" y="9"/>
                  </a:lnTo>
                  <a:lnTo>
                    <a:pt x="365" y="8"/>
                  </a:lnTo>
                  <a:lnTo>
                    <a:pt x="365" y="7"/>
                  </a:lnTo>
                  <a:lnTo>
                    <a:pt x="366" y="7"/>
                  </a:lnTo>
                  <a:lnTo>
                    <a:pt x="366" y="5"/>
                  </a:lnTo>
                  <a:lnTo>
                    <a:pt x="367" y="5"/>
                  </a:lnTo>
                  <a:lnTo>
                    <a:pt x="367" y="4"/>
                  </a:lnTo>
                  <a:lnTo>
                    <a:pt x="368" y="3"/>
                  </a:lnTo>
                  <a:lnTo>
                    <a:pt x="370" y="2"/>
                  </a:lnTo>
                  <a:lnTo>
                    <a:pt x="372" y="1"/>
                  </a:lnTo>
                  <a:lnTo>
                    <a:pt x="372" y="1"/>
                  </a:lnTo>
                  <a:lnTo>
                    <a:pt x="373" y="0"/>
                  </a:lnTo>
                  <a:lnTo>
                    <a:pt x="373" y="0"/>
                  </a:lnTo>
                  <a:lnTo>
                    <a:pt x="373" y="0"/>
                  </a:lnTo>
                  <a:lnTo>
                    <a:pt x="374" y="0"/>
                  </a:lnTo>
                  <a:lnTo>
                    <a:pt x="375" y="1"/>
                  </a:lnTo>
                  <a:lnTo>
                    <a:pt x="376" y="1"/>
                  </a:lnTo>
                  <a:lnTo>
                    <a:pt x="378" y="3"/>
                  </a:lnTo>
                  <a:lnTo>
                    <a:pt x="379" y="3"/>
                  </a:lnTo>
                  <a:lnTo>
                    <a:pt x="380" y="4"/>
                  </a:lnTo>
                  <a:lnTo>
                    <a:pt x="384" y="6"/>
                  </a:lnTo>
                  <a:lnTo>
                    <a:pt x="385" y="7"/>
                  </a:lnTo>
                  <a:lnTo>
                    <a:pt x="386" y="7"/>
                  </a:lnTo>
                  <a:lnTo>
                    <a:pt x="387" y="8"/>
                  </a:lnTo>
                  <a:lnTo>
                    <a:pt x="388" y="9"/>
                  </a:lnTo>
                  <a:lnTo>
                    <a:pt x="391" y="11"/>
                  </a:lnTo>
                  <a:lnTo>
                    <a:pt x="393" y="13"/>
                  </a:lnTo>
                  <a:lnTo>
                    <a:pt x="394" y="13"/>
                  </a:lnTo>
                  <a:lnTo>
                    <a:pt x="395" y="14"/>
                  </a:lnTo>
                  <a:lnTo>
                    <a:pt x="396" y="15"/>
                  </a:lnTo>
                  <a:lnTo>
                    <a:pt x="396" y="15"/>
                  </a:lnTo>
                  <a:lnTo>
                    <a:pt x="397" y="15"/>
                  </a:lnTo>
                  <a:lnTo>
                    <a:pt x="397" y="15"/>
                  </a:lnTo>
                  <a:lnTo>
                    <a:pt x="398" y="15"/>
                  </a:lnTo>
                  <a:lnTo>
                    <a:pt x="398" y="15"/>
                  </a:lnTo>
                  <a:lnTo>
                    <a:pt x="399" y="15"/>
                  </a:lnTo>
                  <a:lnTo>
                    <a:pt x="400" y="14"/>
                  </a:lnTo>
                  <a:lnTo>
                    <a:pt x="401" y="14"/>
                  </a:lnTo>
                  <a:lnTo>
                    <a:pt x="402" y="13"/>
                  </a:lnTo>
                  <a:lnTo>
                    <a:pt x="403" y="13"/>
                  </a:lnTo>
                  <a:lnTo>
                    <a:pt x="403" y="13"/>
                  </a:lnTo>
                  <a:lnTo>
                    <a:pt x="404" y="13"/>
                  </a:lnTo>
                  <a:lnTo>
                    <a:pt x="404" y="13"/>
                  </a:lnTo>
                  <a:lnTo>
                    <a:pt x="405" y="13"/>
                  </a:lnTo>
                  <a:lnTo>
                    <a:pt x="405" y="13"/>
                  </a:lnTo>
                  <a:lnTo>
                    <a:pt x="405" y="14"/>
                  </a:lnTo>
                  <a:lnTo>
                    <a:pt x="405" y="14"/>
                  </a:lnTo>
                  <a:lnTo>
                    <a:pt x="406" y="15"/>
                  </a:lnTo>
                  <a:lnTo>
                    <a:pt x="406" y="17"/>
                  </a:lnTo>
                  <a:lnTo>
                    <a:pt x="407" y="18"/>
                  </a:lnTo>
                  <a:lnTo>
                    <a:pt x="408" y="20"/>
                  </a:lnTo>
                  <a:lnTo>
                    <a:pt x="409" y="23"/>
                  </a:lnTo>
                  <a:lnTo>
                    <a:pt x="410" y="25"/>
                  </a:lnTo>
                  <a:lnTo>
                    <a:pt x="411" y="27"/>
                  </a:lnTo>
                  <a:lnTo>
                    <a:pt x="412" y="28"/>
                  </a:lnTo>
                  <a:lnTo>
                    <a:pt x="413" y="28"/>
                  </a:lnTo>
                  <a:lnTo>
                    <a:pt x="413" y="29"/>
                  </a:lnTo>
                  <a:lnTo>
                    <a:pt x="414" y="30"/>
                  </a:lnTo>
                  <a:lnTo>
                    <a:pt x="415" y="30"/>
                  </a:lnTo>
                  <a:lnTo>
                    <a:pt x="415" y="30"/>
                  </a:lnTo>
                  <a:lnTo>
                    <a:pt x="417" y="31"/>
                  </a:lnTo>
                  <a:lnTo>
                    <a:pt x="417" y="31"/>
                  </a:lnTo>
                  <a:lnTo>
                    <a:pt x="418" y="31"/>
                  </a:lnTo>
                  <a:lnTo>
                    <a:pt x="419" y="31"/>
                  </a:lnTo>
                  <a:lnTo>
                    <a:pt x="419" y="31"/>
                  </a:lnTo>
                  <a:lnTo>
                    <a:pt x="420" y="31"/>
                  </a:lnTo>
                  <a:lnTo>
                    <a:pt x="421" y="31"/>
                  </a:lnTo>
                  <a:lnTo>
                    <a:pt x="421" y="31"/>
                  </a:lnTo>
                  <a:lnTo>
                    <a:pt x="422" y="31"/>
                  </a:lnTo>
                  <a:lnTo>
                    <a:pt x="423" y="30"/>
                  </a:lnTo>
                  <a:lnTo>
                    <a:pt x="423" y="30"/>
                  </a:lnTo>
                  <a:lnTo>
                    <a:pt x="423" y="30"/>
                  </a:lnTo>
                  <a:lnTo>
                    <a:pt x="423" y="31"/>
                  </a:lnTo>
                  <a:lnTo>
                    <a:pt x="424" y="35"/>
                  </a:lnTo>
                  <a:lnTo>
                    <a:pt x="424" y="36"/>
                  </a:lnTo>
                  <a:lnTo>
                    <a:pt x="424" y="37"/>
                  </a:lnTo>
                  <a:lnTo>
                    <a:pt x="424" y="38"/>
                  </a:lnTo>
                  <a:lnTo>
                    <a:pt x="424" y="39"/>
                  </a:lnTo>
                  <a:lnTo>
                    <a:pt x="424" y="39"/>
                  </a:lnTo>
                  <a:lnTo>
                    <a:pt x="424" y="40"/>
                  </a:lnTo>
                  <a:lnTo>
                    <a:pt x="423" y="40"/>
                  </a:lnTo>
                  <a:lnTo>
                    <a:pt x="423" y="41"/>
                  </a:lnTo>
                  <a:lnTo>
                    <a:pt x="422" y="41"/>
                  </a:lnTo>
                  <a:lnTo>
                    <a:pt x="422" y="42"/>
                  </a:lnTo>
                  <a:lnTo>
                    <a:pt x="421" y="42"/>
                  </a:lnTo>
                  <a:lnTo>
                    <a:pt x="420" y="43"/>
                  </a:lnTo>
                  <a:lnTo>
                    <a:pt x="419" y="43"/>
                  </a:lnTo>
                  <a:lnTo>
                    <a:pt x="418" y="43"/>
                  </a:lnTo>
                  <a:lnTo>
                    <a:pt x="418" y="44"/>
                  </a:lnTo>
                  <a:lnTo>
                    <a:pt x="417" y="44"/>
                  </a:lnTo>
                  <a:lnTo>
                    <a:pt x="417" y="44"/>
                  </a:lnTo>
                  <a:lnTo>
                    <a:pt x="417" y="45"/>
                  </a:lnTo>
                  <a:lnTo>
                    <a:pt x="417" y="45"/>
                  </a:lnTo>
                  <a:lnTo>
                    <a:pt x="417" y="46"/>
                  </a:lnTo>
                  <a:lnTo>
                    <a:pt x="417" y="46"/>
                  </a:lnTo>
                  <a:lnTo>
                    <a:pt x="417" y="47"/>
                  </a:lnTo>
                  <a:lnTo>
                    <a:pt x="417" y="47"/>
                  </a:lnTo>
                  <a:lnTo>
                    <a:pt x="417" y="48"/>
                  </a:lnTo>
                  <a:lnTo>
                    <a:pt x="419" y="51"/>
                  </a:lnTo>
                  <a:lnTo>
                    <a:pt x="420" y="52"/>
                  </a:lnTo>
                  <a:lnTo>
                    <a:pt x="420" y="53"/>
                  </a:lnTo>
                  <a:lnTo>
                    <a:pt x="420" y="54"/>
                  </a:lnTo>
                  <a:lnTo>
                    <a:pt x="421" y="55"/>
                  </a:lnTo>
                  <a:lnTo>
                    <a:pt x="421" y="56"/>
                  </a:lnTo>
                  <a:lnTo>
                    <a:pt x="421" y="57"/>
                  </a:lnTo>
                  <a:lnTo>
                    <a:pt x="421" y="59"/>
                  </a:lnTo>
                  <a:lnTo>
                    <a:pt x="421" y="60"/>
                  </a:lnTo>
                  <a:lnTo>
                    <a:pt x="421" y="61"/>
                  </a:lnTo>
                  <a:lnTo>
                    <a:pt x="421" y="64"/>
                  </a:lnTo>
                  <a:lnTo>
                    <a:pt x="421" y="65"/>
                  </a:lnTo>
                  <a:lnTo>
                    <a:pt x="421" y="66"/>
                  </a:lnTo>
                  <a:lnTo>
                    <a:pt x="421" y="68"/>
                  </a:lnTo>
                  <a:lnTo>
                    <a:pt x="421" y="69"/>
                  </a:lnTo>
                  <a:lnTo>
                    <a:pt x="421" y="71"/>
                  </a:lnTo>
                  <a:lnTo>
                    <a:pt x="420" y="72"/>
                  </a:lnTo>
                  <a:lnTo>
                    <a:pt x="420" y="73"/>
                  </a:lnTo>
                  <a:lnTo>
                    <a:pt x="420" y="75"/>
                  </a:lnTo>
                  <a:lnTo>
                    <a:pt x="419" y="77"/>
                  </a:lnTo>
                  <a:lnTo>
                    <a:pt x="418" y="80"/>
                  </a:lnTo>
                  <a:lnTo>
                    <a:pt x="417" y="83"/>
                  </a:lnTo>
                  <a:lnTo>
                    <a:pt x="416" y="85"/>
                  </a:lnTo>
                  <a:lnTo>
                    <a:pt x="415" y="86"/>
                  </a:lnTo>
                  <a:lnTo>
                    <a:pt x="415" y="87"/>
                  </a:lnTo>
                  <a:lnTo>
                    <a:pt x="415" y="88"/>
                  </a:lnTo>
                  <a:lnTo>
                    <a:pt x="415" y="88"/>
                  </a:lnTo>
                  <a:lnTo>
                    <a:pt x="416" y="89"/>
                  </a:lnTo>
                  <a:lnTo>
                    <a:pt x="416" y="89"/>
                  </a:lnTo>
                  <a:lnTo>
                    <a:pt x="416" y="90"/>
                  </a:lnTo>
                  <a:lnTo>
                    <a:pt x="416" y="90"/>
                  </a:lnTo>
                  <a:lnTo>
                    <a:pt x="415" y="94"/>
                  </a:lnTo>
                  <a:lnTo>
                    <a:pt x="414" y="97"/>
                  </a:lnTo>
                  <a:lnTo>
                    <a:pt x="414" y="98"/>
                  </a:lnTo>
                  <a:lnTo>
                    <a:pt x="413" y="100"/>
                  </a:lnTo>
                  <a:lnTo>
                    <a:pt x="412" y="102"/>
                  </a:lnTo>
                  <a:lnTo>
                    <a:pt x="412" y="103"/>
                  </a:lnTo>
                  <a:lnTo>
                    <a:pt x="412" y="105"/>
                  </a:lnTo>
                  <a:lnTo>
                    <a:pt x="412" y="106"/>
                  </a:lnTo>
                  <a:lnTo>
                    <a:pt x="412" y="106"/>
                  </a:lnTo>
                  <a:lnTo>
                    <a:pt x="412" y="107"/>
                  </a:lnTo>
                  <a:lnTo>
                    <a:pt x="412" y="108"/>
                  </a:lnTo>
                  <a:lnTo>
                    <a:pt x="412" y="109"/>
                  </a:lnTo>
                  <a:lnTo>
                    <a:pt x="412" y="110"/>
                  </a:lnTo>
                  <a:lnTo>
                    <a:pt x="413" y="111"/>
                  </a:lnTo>
                  <a:lnTo>
                    <a:pt x="414" y="112"/>
                  </a:lnTo>
                  <a:lnTo>
                    <a:pt x="415" y="113"/>
                  </a:lnTo>
                  <a:lnTo>
                    <a:pt x="416" y="113"/>
                  </a:lnTo>
                  <a:lnTo>
                    <a:pt x="418" y="115"/>
                  </a:lnTo>
                  <a:lnTo>
                    <a:pt x="419" y="116"/>
                  </a:lnTo>
                  <a:lnTo>
                    <a:pt x="419" y="117"/>
                  </a:lnTo>
                  <a:lnTo>
                    <a:pt x="420" y="117"/>
                  </a:lnTo>
                  <a:lnTo>
                    <a:pt x="420" y="118"/>
                  </a:lnTo>
                  <a:lnTo>
                    <a:pt x="421" y="119"/>
                  </a:lnTo>
                  <a:lnTo>
                    <a:pt x="421" y="120"/>
                  </a:lnTo>
                  <a:lnTo>
                    <a:pt x="421" y="120"/>
                  </a:lnTo>
                  <a:lnTo>
                    <a:pt x="421" y="121"/>
                  </a:lnTo>
                  <a:lnTo>
                    <a:pt x="421" y="121"/>
                  </a:lnTo>
                  <a:lnTo>
                    <a:pt x="421" y="122"/>
                  </a:lnTo>
                  <a:lnTo>
                    <a:pt x="421" y="122"/>
                  </a:lnTo>
                  <a:lnTo>
                    <a:pt x="420" y="124"/>
                  </a:lnTo>
                  <a:lnTo>
                    <a:pt x="419" y="125"/>
                  </a:lnTo>
                  <a:lnTo>
                    <a:pt x="418" y="126"/>
                  </a:lnTo>
                  <a:lnTo>
                    <a:pt x="417" y="127"/>
                  </a:lnTo>
                  <a:lnTo>
                    <a:pt x="417" y="128"/>
                  </a:lnTo>
                  <a:lnTo>
                    <a:pt x="417" y="129"/>
                  </a:lnTo>
                  <a:lnTo>
                    <a:pt x="417" y="129"/>
                  </a:lnTo>
                  <a:lnTo>
                    <a:pt x="417" y="130"/>
                  </a:lnTo>
                  <a:lnTo>
                    <a:pt x="417" y="131"/>
                  </a:lnTo>
                  <a:lnTo>
                    <a:pt x="417" y="131"/>
                  </a:lnTo>
                  <a:lnTo>
                    <a:pt x="417" y="132"/>
                  </a:lnTo>
                  <a:lnTo>
                    <a:pt x="417" y="133"/>
                  </a:lnTo>
                  <a:lnTo>
                    <a:pt x="418" y="134"/>
                  </a:lnTo>
                  <a:lnTo>
                    <a:pt x="420" y="137"/>
                  </a:lnTo>
                  <a:lnTo>
                    <a:pt x="422" y="140"/>
                  </a:lnTo>
                  <a:lnTo>
                    <a:pt x="423" y="140"/>
                  </a:lnTo>
                  <a:lnTo>
                    <a:pt x="423" y="141"/>
                  </a:lnTo>
                  <a:lnTo>
                    <a:pt x="427" y="144"/>
                  </a:lnTo>
                  <a:lnTo>
                    <a:pt x="427" y="145"/>
                  </a:lnTo>
                  <a:lnTo>
                    <a:pt x="429" y="147"/>
                  </a:lnTo>
                  <a:lnTo>
                    <a:pt x="430" y="149"/>
                  </a:lnTo>
                  <a:lnTo>
                    <a:pt x="433" y="151"/>
                  </a:lnTo>
                  <a:lnTo>
                    <a:pt x="435" y="153"/>
                  </a:lnTo>
                  <a:lnTo>
                    <a:pt x="436" y="154"/>
                  </a:lnTo>
                  <a:lnTo>
                    <a:pt x="437" y="154"/>
                  </a:lnTo>
                  <a:lnTo>
                    <a:pt x="437" y="154"/>
                  </a:lnTo>
                  <a:lnTo>
                    <a:pt x="438" y="154"/>
                  </a:lnTo>
                  <a:lnTo>
                    <a:pt x="439" y="155"/>
                  </a:lnTo>
                  <a:lnTo>
                    <a:pt x="440" y="155"/>
                  </a:lnTo>
                  <a:lnTo>
                    <a:pt x="441" y="154"/>
                  </a:lnTo>
                  <a:lnTo>
                    <a:pt x="442" y="154"/>
                  </a:lnTo>
                  <a:lnTo>
                    <a:pt x="443" y="154"/>
                  </a:lnTo>
                  <a:lnTo>
                    <a:pt x="447" y="152"/>
                  </a:lnTo>
                  <a:lnTo>
                    <a:pt x="448" y="151"/>
                  </a:lnTo>
                  <a:lnTo>
                    <a:pt x="449" y="151"/>
                  </a:lnTo>
                  <a:lnTo>
                    <a:pt x="450" y="150"/>
                  </a:lnTo>
                  <a:lnTo>
                    <a:pt x="451" y="150"/>
                  </a:lnTo>
                  <a:lnTo>
                    <a:pt x="452" y="150"/>
                  </a:lnTo>
                  <a:lnTo>
                    <a:pt x="453" y="150"/>
                  </a:lnTo>
                  <a:lnTo>
                    <a:pt x="453" y="150"/>
                  </a:lnTo>
                  <a:lnTo>
                    <a:pt x="454" y="151"/>
                  </a:lnTo>
                  <a:lnTo>
                    <a:pt x="455" y="151"/>
                  </a:lnTo>
                  <a:lnTo>
                    <a:pt x="456" y="151"/>
                  </a:lnTo>
                  <a:lnTo>
                    <a:pt x="456" y="152"/>
                  </a:lnTo>
                  <a:lnTo>
                    <a:pt x="458" y="154"/>
                  </a:lnTo>
                  <a:lnTo>
                    <a:pt x="460" y="155"/>
                  </a:lnTo>
                  <a:lnTo>
                    <a:pt x="461" y="156"/>
                  </a:lnTo>
                  <a:lnTo>
                    <a:pt x="463" y="156"/>
                  </a:lnTo>
                  <a:lnTo>
                    <a:pt x="463" y="157"/>
                  </a:lnTo>
                  <a:lnTo>
                    <a:pt x="464" y="157"/>
                  </a:lnTo>
                  <a:lnTo>
                    <a:pt x="468" y="159"/>
                  </a:lnTo>
                  <a:lnTo>
                    <a:pt x="469" y="159"/>
                  </a:lnTo>
                  <a:lnTo>
                    <a:pt x="471" y="160"/>
                  </a:lnTo>
                  <a:lnTo>
                    <a:pt x="472" y="160"/>
                  </a:lnTo>
                  <a:lnTo>
                    <a:pt x="472" y="160"/>
                  </a:lnTo>
                  <a:lnTo>
                    <a:pt x="473" y="161"/>
                  </a:lnTo>
                  <a:lnTo>
                    <a:pt x="473" y="161"/>
                  </a:lnTo>
                  <a:lnTo>
                    <a:pt x="473" y="162"/>
                  </a:lnTo>
                  <a:lnTo>
                    <a:pt x="473" y="162"/>
                  </a:lnTo>
                  <a:lnTo>
                    <a:pt x="473" y="163"/>
                  </a:lnTo>
                  <a:lnTo>
                    <a:pt x="473" y="163"/>
                  </a:lnTo>
                  <a:lnTo>
                    <a:pt x="473" y="164"/>
                  </a:lnTo>
                  <a:lnTo>
                    <a:pt x="473" y="165"/>
                  </a:lnTo>
                  <a:lnTo>
                    <a:pt x="473" y="166"/>
                  </a:lnTo>
                  <a:lnTo>
                    <a:pt x="473" y="166"/>
                  </a:lnTo>
                  <a:lnTo>
                    <a:pt x="473" y="167"/>
                  </a:lnTo>
                  <a:lnTo>
                    <a:pt x="472" y="167"/>
                  </a:lnTo>
                  <a:lnTo>
                    <a:pt x="472" y="167"/>
                  </a:lnTo>
                  <a:lnTo>
                    <a:pt x="471" y="168"/>
                  </a:lnTo>
                  <a:lnTo>
                    <a:pt x="470" y="168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70"/>
                  </a:lnTo>
                  <a:lnTo>
                    <a:pt x="471" y="170"/>
                  </a:lnTo>
                  <a:lnTo>
                    <a:pt x="472" y="170"/>
                  </a:lnTo>
                  <a:lnTo>
                    <a:pt x="473" y="171"/>
                  </a:lnTo>
                  <a:lnTo>
                    <a:pt x="473" y="171"/>
                  </a:lnTo>
                  <a:lnTo>
                    <a:pt x="474" y="171"/>
                  </a:lnTo>
                  <a:lnTo>
                    <a:pt x="477" y="171"/>
                  </a:lnTo>
                  <a:lnTo>
                    <a:pt x="478" y="171"/>
                  </a:lnTo>
                  <a:lnTo>
                    <a:pt x="478" y="172"/>
                  </a:lnTo>
                  <a:lnTo>
                    <a:pt x="479" y="172"/>
                  </a:lnTo>
                  <a:lnTo>
                    <a:pt x="480" y="172"/>
                  </a:lnTo>
                  <a:lnTo>
                    <a:pt x="480" y="172"/>
                  </a:lnTo>
                  <a:lnTo>
                    <a:pt x="481" y="173"/>
                  </a:lnTo>
                  <a:lnTo>
                    <a:pt x="482" y="173"/>
                  </a:lnTo>
                  <a:lnTo>
                    <a:pt x="483" y="175"/>
                  </a:lnTo>
                  <a:lnTo>
                    <a:pt x="484" y="176"/>
                  </a:lnTo>
                  <a:lnTo>
                    <a:pt x="486" y="178"/>
                  </a:lnTo>
                  <a:lnTo>
                    <a:pt x="487" y="179"/>
                  </a:lnTo>
                  <a:lnTo>
                    <a:pt x="487" y="180"/>
                  </a:lnTo>
                  <a:lnTo>
                    <a:pt x="487" y="180"/>
                  </a:lnTo>
                  <a:lnTo>
                    <a:pt x="488" y="180"/>
                  </a:lnTo>
                  <a:lnTo>
                    <a:pt x="489" y="181"/>
                  </a:lnTo>
                  <a:lnTo>
                    <a:pt x="490" y="181"/>
                  </a:lnTo>
                  <a:lnTo>
                    <a:pt x="491" y="181"/>
                  </a:lnTo>
                  <a:lnTo>
                    <a:pt x="492" y="182"/>
                  </a:lnTo>
                  <a:lnTo>
                    <a:pt x="493" y="182"/>
                  </a:lnTo>
                  <a:lnTo>
                    <a:pt x="494" y="181"/>
                  </a:lnTo>
                  <a:lnTo>
                    <a:pt x="495" y="181"/>
                  </a:lnTo>
                  <a:lnTo>
                    <a:pt x="496" y="181"/>
                  </a:lnTo>
                  <a:lnTo>
                    <a:pt x="497" y="180"/>
                  </a:lnTo>
                  <a:lnTo>
                    <a:pt x="500" y="179"/>
                  </a:lnTo>
                  <a:lnTo>
                    <a:pt x="501" y="179"/>
                  </a:lnTo>
                  <a:lnTo>
                    <a:pt x="502" y="178"/>
                  </a:lnTo>
                  <a:lnTo>
                    <a:pt x="502" y="178"/>
                  </a:lnTo>
                  <a:lnTo>
                    <a:pt x="503" y="178"/>
                  </a:lnTo>
                  <a:lnTo>
                    <a:pt x="503" y="178"/>
                  </a:lnTo>
                  <a:lnTo>
                    <a:pt x="504" y="178"/>
                  </a:lnTo>
                  <a:lnTo>
                    <a:pt x="505" y="178"/>
                  </a:lnTo>
                  <a:lnTo>
                    <a:pt x="510" y="180"/>
                  </a:lnTo>
                  <a:lnTo>
                    <a:pt x="513" y="181"/>
                  </a:lnTo>
                  <a:lnTo>
                    <a:pt x="516" y="182"/>
                  </a:lnTo>
                  <a:lnTo>
                    <a:pt x="517" y="182"/>
                  </a:lnTo>
                  <a:lnTo>
                    <a:pt x="518" y="183"/>
                  </a:lnTo>
                  <a:lnTo>
                    <a:pt x="519" y="184"/>
                  </a:lnTo>
                  <a:lnTo>
                    <a:pt x="519" y="184"/>
                  </a:lnTo>
                  <a:lnTo>
                    <a:pt x="521" y="185"/>
                  </a:lnTo>
                  <a:lnTo>
                    <a:pt x="521" y="186"/>
                  </a:lnTo>
                  <a:lnTo>
                    <a:pt x="521" y="186"/>
                  </a:lnTo>
                  <a:lnTo>
                    <a:pt x="522" y="186"/>
                  </a:lnTo>
                  <a:lnTo>
                    <a:pt x="523" y="186"/>
                  </a:lnTo>
                  <a:lnTo>
                    <a:pt x="523" y="186"/>
                  </a:lnTo>
                  <a:lnTo>
                    <a:pt x="527" y="186"/>
                  </a:lnTo>
                  <a:lnTo>
                    <a:pt x="528" y="185"/>
                  </a:lnTo>
                  <a:lnTo>
                    <a:pt x="531" y="185"/>
                  </a:lnTo>
                  <a:lnTo>
                    <a:pt x="532" y="185"/>
                  </a:lnTo>
                  <a:lnTo>
                    <a:pt x="533" y="185"/>
                  </a:lnTo>
                  <a:lnTo>
                    <a:pt x="536" y="184"/>
                  </a:lnTo>
                  <a:lnTo>
                    <a:pt x="539" y="184"/>
                  </a:lnTo>
                  <a:lnTo>
                    <a:pt x="540" y="184"/>
                  </a:lnTo>
                  <a:lnTo>
                    <a:pt x="541" y="184"/>
                  </a:lnTo>
                  <a:lnTo>
                    <a:pt x="542" y="184"/>
                  </a:lnTo>
                  <a:lnTo>
                    <a:pt x="543" y="184"/>
                  </a:lnTo>
                  <a:lnTo>
                    <a:pt x="544" y="184"/>
                  </a:lnTo>
                  <a:lnTo>
                    <a:pt x="544" y="185"/>
                  </a:lnTo>
                  <a:lnTo>
                    <a:pt x="545" y="185"/>
                  </a:lnTo>
                  <a:lnTo>
                    <a:pt x="545" y="185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7" y="187"/>
                  </a:lnTo>
                  <a:lnTo>
                    <a:pt x="547" y="188"/>
                  </a:lnTo>
                  <a:lnTo>
                    <a:pt x="548" y="189"/>
                  </a:lnTo>
                  <a:lnTo>
                    <a:pt x="548" y="190"/>
                  </a:lnTo>
                  <a:lnTo>
                    <a:pt x="548" y="192"/>
                  </a:lnTo>
                  <a:lnTo>
                    <a:pt x="548" y="193"/>
                  </a:lnTo>
                  <a:lnTo>
                    <a:pt x="549" y="194"/>
                  </a:lnTo>
                  <a:lnTo>
                    <a:pt x="549" y="195"/>
                  </a:lnTo>
                  <a:lnTo>
                    <a:pt x="549" y="196"/>
                  </a:lnTo>
                  <a:lnTo>
                    <a:pt x="548" y="198"/>
                  </a:lnTo>
                  <a:lnTo>
                    <a:pt x="548" y="201"/>
                  </a:lnTo>
                  <a:lnTo>
                    <a:pt x="548" y="202"/>
                  </a:lnTo>
                  <a:lnTo>
                    <a:pt x="548" y="204"/>
                  </a:lnTo>
                  <a:lnTo>
                    <a:pt x="548" y="205"/>
                  </a:lnTo>
                  <a:lnTo>
                    <a:pt x="548" y="206"/>
                  </a:lnTo>
                  <a:lnTo>
                    <a:pt x="548" y="208"/>
                  </a:lnTo>
                  <a:lnTo>
                    <a:pt x="549" y="209"/>
                  </a:lnTo>
                  <a:lnTo>
                    <a:pt x="550" y="210"/>
                  </a:lnTo>
                  <a:lnTo>
                    <a:pt x="550" y="211"/>
                  </a:lnTo>
                  <a:lnTo>
                    <a:pt x="551" y="212"/>
                  </a:lnTo>
                  <a:lnTo>
                    <a:pt x="551" y="212"/>
                  </a:lnTo>
                  <a:lnTo>
                    <a:pt x="553" y="214"/>
                  </a:lnTo>
                  <a:lnTo>
                    <a:pt x="554" y="215"/>
                  </a:lnTo>
                  <a:lnTo>
                    <a:pt x="557" y="217"/>
                  </a:lnTo>
                  <a:lnTo>
                    <a:pt x="560" y="219"/>
                  </a:lnTo>
                  <a:lnTo>
                    <a:pt x="560" y="220"/>
                  </a:lnTo>
                  <a:lnTo>
                    <a:pt x="562" y="221"/>
                  </a:lnTo>
                  <a:lnTo>
                    <a:pt x="564" y="222"/>
                  </a:lnTo>
                  <a:lnTo>
                    <a:pt x="568" y="225"/>
                  </a:lnTo>
                  <a:lnTo>
                    <a:pt x="571" y="226"/>
                  </a:lnTo>
                  <a:lnTo>
                    <a:pt x="571" y="227"/>
                  </a:lnTo>
                  <a:lnTo>
                    <a:pt x="572" y="227"/>
                  </a:lnTo>
                  <a:lnTo>
                    <a:pt x="572" y="227"/>
                  </a:lnTo>
                  <a:lnTo>
                    <a:pt x="573" y="227"/>
                  </a:lnTo>
                  <a:lnTo>
                    <a:pt x="573" y="227"/>
                  </a:lnTo>
                  <a:lnTo>
                    <a:pt x="573" y="226"/>
                  </a:lnTo>
                  <a:lnTo>
                    <a:pt x="575" y="226"/>
                  </a:lnTo>
                  <a:lnTo>
                    <a:pt x="576" y="226"/>
                  </a:lnTo>
                  <a:lnTo>
                    <a:pt x="577" y="225"/>
                  </a:lnTo>
                  <a:lnTo>
                    <a:pt x="578" y="225"/>
                  </a:lnTo>
                  <a:lnTo>
                    <a:pt x="578" y="225"/>
                  </a:lnTo>
                  <a:lnTo>
                    <a:pt x="579" y="226"/>
                  </a:lnTo>
                  <a:lnTo>
                    <a:pt x="580" y="226"/>
                  </a:lnTo>
                  <a:lnTo>
                    <a:pt x="583" y="227"/>
                  </a:lnTo>
                  <a:lnTo>
                    <a:pt x="584" y="227"/>
                  </a:lnTo>
                  <a:lnTo>
                    <a:pt x="585" y="227"/>
                  </a:lnTo>
                  <a:lnTo>
                    <a:pt x="587" y="227"/>
                  </a:lnTo>
                  <a:lnTo>
                    <a:pt x="589" y="227"/>
                  </a:lnTo>
                  <a:lnTo>
                    <a:pt x="591" y="227"/>
                  </a:lnTo>
                  <a:lnTo>
                    <a:pt x="593" y="227"/>
                  </a:lnTo>
                  <a:lnTo>
                    <a:pt x="594" y="227"/>
                  </a:lnTo>
                  <a:lnTo>
                    <a:pt x="595" y="227"/>
                  </a:lnTo>
                  <a:lnTo>
                    <a:pt x="596" y="226"/>
                  </a:lnTo>
                  <a:lnTo>
                    <a:pt x="599" y="225"/>
                  </a:lnTo>
                  <a:lnTo>
                    <a:pt x="600" y="225"/>
                  </a:lnTo>
                  <a:lnTo>
                    <a:pt x="602" y="225"/>
                  </a:lnTo>
                  <a:lnTo>
                    <a:pt x="604" y="224"/>
                  </a:lnTo>
                  <a:lnTo>
                    <a:pt x="605" y="224"/>
                  </a:lnTo>
                  <a:lnTo>
                    <a:pt x="605" y="224"/>
                  </a:lnTo>
                  <a:lnTo>
                    <a:pt x="607" y="223"/>
                  </a:lnTo>
                  <a:lnTo>
                    <a:pt x="607" y="223"/>
                  </a:lnTo>
                  <a:lnTo>
                    <a:pt x="608" y="223"/>
                  </a:lnTo>
                  <a:lnTo>
                    <a:pt x="608" y="223"/>
                  </a:lnTo>
                  <a:lnTo>
                    <a:pt x="609" y="223"/>
                  </a:lnTo>
                  <a:lnTo>
                    <a:pt x="609" y="223"/>
                  </a:lnTo>
                  <a:lnTo>
                    <a:pt x="610" y="223"/>
                  </a:lnTo>
                  <a:lnTo>
                    <a:pt x="610" y="223"/>
                  </a:lnTo>
                  <a:lnTo>
                    <a:pt x="611" y="224"/>
                  </a:lnTo>
                  <a:lnTo>
                    <a:pt x="612" y="224"/>
                  </a:lnTo>
                  <a:lnTo>
                    <a:pt x="613" y="225"/>
                  </a:lnTo>
                  <a:lnTo>
                    <a:pt x="613" y="225"/>
                  </a:lnTo>
                  <a:lnTo>
                    <a:pt x="614" y="225"/>
                  </a:lnTo>
                  <a:lnTo>
                    <a:pt x="614" y="226"/>
                  </a:lnTo>
                  <a:lnTo>
                    <a:pt x="614" y="227"/>
                  </a:lnTo>
                  <a:lnTo>
                    <a:pt x="614" y="227"/>
                  </a:lnTo>
                  <a:lnTo>
                    <a:pt x="615" y="228"/>
                  </a:lnTo>
                  <a:lnTo>
                    <a:pt x="614" y="228"/>
                  </a:lnTo>
                  <a:lnTo>
                    <a:pt x="614" y="229"/>
                  </a:lnTo>
                  <a:lnTo>
                    <a:pt x="614" y="230"/>
                  </a:lnTo>
                  <a:lnTo>
                    <a:pt x="614" y="230"/>
                  </a:lnTo>
                  <a:lnTo>
                    <a:pt x="614" y="231"/>
                  </a:lnTo>
                  <a:lnTo>
                    <a:pt x="614" y="231"/>
                  </a:lnTo>
                  <a:lnTo>
                    <a:pt x="615" y="232"/>
                  </a:lnTo>
                  <a:lnTo>
                    <a:pt x="615" y="232"/>
                  </a:lnTo>
                  <a:lnTo>
                    <a:pt x="616" y="233"/>
                  </a:lnTo>
                  <a:lnTo>
                    <a:pt x="616" y="234"/>
                  </a:lnTo>
                  <a:lnTo>
                    <a:pt x="618" y="234"/>
                  </a:lnTo>
                  <a:lnTo>
                    <a:pt x="619" y="236"/>
                  </a:lnTo>
                  <a:lnTo>
                    <a:pt x="620" y="236"/>
                  </a:lnTo>
                  <a:lnTo>
                    <a:pt x="621" y="237"/>
                  </a:lnTo>
                  <a:lnTo>
                    <a:pt x="621" y="237"/>
                  </a:lnTo>
                  <a:lnTo>
                    <a:pt x="623" y="240"/>
                  </a:lnTo>
                  <a:lnTo>
                    <a:pt x="624" y="241"/>
                  </a:lnTo>
                  <a:lnTo>
                    <a:pt x="624" y="242"/>
                  </a:lnTo>
                  <a:lnTo>
                    <a:pt x="624" y="243"/>
                  </a:lnTo>
                  <a:lnTo>
                    <a:pt x="624" y="243"/>
                  </a:lnTo>
                  <a:lnTo>
                    <a:pt x="624" y="244"/>
                  </a:lnTo>
                  <a:lnTo>
                    <a:pt x="624" y="245"/>
                  </a:lnTo>
                  <a:lnTo>
                    <a:pt x="624" y="246"/>
                  </a:lnTo>
                  <a:lnTo>
                    <a:pt x="623" y="247"/>
                  </a:lnTo>
                  <a:lnTo>
                    <a:pt x="623" y="247"/>
                  </a:lnTo>
                  <a:lnTo>
                    <a:pt x="623" y="248"/>
                  </a:lnTo>
                  <a:lnTo>
                    <a:pt x="622" y="248"/>
                  </a:lnTo>
                  <a:lnTo>
                    <a:pt x="622" y="248"/>
                  </a:lnTo>
                  <a:lnTo>
                    <a:pt x="621" y="249"/>
                  </a:lnTo>
                  <a:lnTo>
                    <a:pt x="620" y="249"/>
                  </a:lnTo>
                  <a:lnTo>
                    <a:pt x="618" y="250"/>
                  </a:lnTo>
                  <a:lnTo>
                    <a:pt x="615" y="250"/>
                  </a:lnTo>
                  <a:lnTo>
                    <a:pt x="614" y="250"/>
                  </a:lnTo>
                  <a:lnTo>
                    <a:pt x="614" y="251"/>
                  </a:lnTo>
                  <a:lnTo>
                    <a:pt x="614" y="251"/>
                  </a:lnTo>
                  <a:lnTo>
                    <a:pt x="613" y="251"/>
                  </a:lnTo>
                  <a:lnTo>
                    <a:pt x="613" y="252"/>
                  </a:lnTo>
                  <a:lnTo>
                    <a:pt x="612" y="253"/>
                  </a:lnTo>
                  <a:lnTo>
                    <a:pt x="611" y="254"/>
                  </a:lnTo>
                  <a:lnTo>
                    <a:pt x="610" y="256"/>
                  </a:lnTo>
                  <a:lnTo>
                    <a:pt x="610" y="257"/>
                  </a:lnTo>
                  <a:lnTo>
                    <a:pt x="609" y="258"/>
                  </a:lnTo>
                  <a:lnTo>
                    <a:pt x="609" y="259"/>
                  </a:lnTo>
                  <a:lnTo>
                    <a:pt x="609" y="261"/>
                  </a:lnTo>
                  <a:lnTo>
                    <a:pt x="608" y="262"/>
                  </a:lnTo>
                  <a:lnTo>
                    <a:pt x="608" y="262"/>
                  </a:lnTo>
                  <a:lnTo>
                    <a:pt x="608" y="263"/>
                  </a:lnTo>
                  <a:lnTo>
                    <a:pt x="608" y="264"/>
                  </a:lnTo>
                  <a:lnTo>
                    <a:pt x="606" y="266"/>
                  </a:lnTo>
                  <a:lnTo>
                    <a:pt x="605" y="267"/>
                  </a:lnTo>
                  <a:lnTo>
                    <a:pt x="605" y="268"/>
                  </a:lnTo>
                  <a:lnTo>
                    <a:pt x="604" y="270"/>
                  </a:lnTo>
                  <a:lnTo>
                    <a:pt x="604" y="271"/>
                  </a:lnTo>
                  <a:lnTo>
                    <a:pt x="603" y="272"/>
                  </a:lnTo>
                  <a:lnTo>
                    <a:pt x="603" y="273"/>
                  </a:lnTo>
                  <a:lnTo>
                    <a:pt x="602" y="273"/>
                  </a:lnTo>
                  <a:lnTo>
                    <a:pt x="600" y="276"/>
                  </a:lnTo>
                  <a:lnTo>
                    <a:pt x="599" y="277"/>
                  </a:lnTo>
                  <a:lnTo>
                    <a:pt x="598" y="278"/>
                  </a:lnTo>
                  <a:lnTo>
                    <a:pt x="597" y="279"/>
                  </a:lnTo>
                  <a:lnTo>
                    <a:pt x="596" y="281"/>
                  </a:lnTo>
                  <a:lnTo>
                    <a:pt x="595" y="282"/>
                  </a:lnTo>
                  <a:lnTo>
                    <a:pt x="594" y="283"/>
                  </a:lnTo>
                  <a:lnTo>
                    <a:pt x="594" y="283"/>
                  </a:lnTo>
                  <a:lnTo>
                    <a:pt x="594" y="284"/>
                  </a:lnTo>
                  <a:lnTo>
                    <a:pt x="594" y="284"/>
                  </a:lnTo>
                  <a:lnTo>
                    <a:pt x="594" y="285"/>
                  </a:lnTo>
                  <a:lnTo>
                    <a:pt x="594" y="285"/>
                  </a:lnTo>
                  <a:lnTo>
                    <a:pt x="594" y="286"/>
                  </a:lnTo>
                  <a:lnTo>
                    <a:pt x="595" y="286"/>
                  </a:lnTo>
                  <a:lnTo>
                    <a:pt x="595" y="286"/>
                  </a:lnTo>
                  <a:lnTo>
                    <a:pt x="595" y="286"/>
                  </a:lnTo>
                  <a:lnTo>
                    <a:pt x="596" y="286"/>
                  </a:lnTo>
                  <a:lnTo>
                    <a:pt x="598" y="287"/>
                  </a:lnTo>
                  <a:lnTo>
                    <a:pt x="599" y="287"/>
                  </a:lnTo>
                  <a:lnTo>
                    <a:pt x="599" y="287"/>
                  </a:lnTo>
                  <a:lnTo>
                    <a:pt x="600" y="287"/>
                  </a:lnTo>
                  <a:lnTo>
                    <a:pt x="601" y="287"/>
                  </a:lnTo>
                  <a:lnTo>
                    <a:pt x="601" y="287"/>
                  </a:lnTo>
                  <a:lnTo>
                    <a:pt x="602" y="288"/>
                  </a:lnTo>
                  <a:lnTo>
                    <a:pt x="602" y="289"/>
                  </a:lnTo>
                  <a:lnTo>
                    <a:pt x="603" y="289"/>
                  </a:lnTo>
                  <a:lnTo>
                    <a:pt x="604" y="292"/>
                  </a:lnTo>
                  <a:lnTo>
                    <a:pt x="604" y="292"/>
                  </a:lnTo>
                  <a:lnTo>
                    <a:pt x="605" y="293"/>
                  </a:lnTo>
                  <a:lnTo>
                    <a:pt x="606" y="294"/>
                  </a:lnTo>
                  <a:lnTo>
                    <a:pt x="607" y="295"/>
                  </a:lnTo>
                  <a:lnTo>
                    <a:pt x="608" y="295"/>
                  </a:lnTo>
                  <a:lnTo>
                    <a:pt x="609" y="296"/>
                  </a:lnTo>
                  <a:lnTo>
                    <a:pt x="611" y="297"/>
                  </a:lnTo>
                  <a:lnTo>
                    <a:pt x="613" y="297"/>
                  </a:lnTo>
                  <a:lnTo>
                    <a:pt x="614" y="298"/>
                  </a:lnTo>
                  <a:lnTo>
                    <a:pt x="615" y="299"/>
                  </a:lnTo>
                  <a:lnTo>
                    <a:pt x="617" y="300"/>
                  </a:lnTo>
                  <a:lnTo>
                    <a:pt x="618" y="301"/>
                  </a:lnTo>
                  <a:lnTo>
                    <a:pt x="618" y="301"/>
                  </a:lnTo>
                  <a:lnTo>
                    <a:pt x="619" y="302"/>
                  </a:lnTo>
                  <a:lnTo>
                    <a:pt x="619" y="303"/>
                  </a:lnTo>
                  <a:lnTo>
                    <a:pt x="620" y="303"/>
                  </a:lnTo>
                  <a:lnTo>
                    <a:pt x="620" y="304"/>
                  </a:lnTo>
                  <a:lnTo>
                    <a:pt x="621" y="306"/>
                  </a:lnTo>
                  <a:lnTo>
                    <a:pt x="622" y="307"/>
                  </a:lnTo>
                  <a:lnTo>
                    <a:pt x="622" y="308"/>
                  </a:lnTo>
                  <a:lnTo>
                    <a:pt x="622" y="308"/>
                  </a:lnTo>
                  <a:lnTo>
                    <a:pt x="622" y="309"/>
                  </a:lnTo>
                  <a:lnTo>
                    <a:pt x="620" y="310"/>
                  </a:lnTo>
                  <a:lnTo>
                    <a:pt x="620" y="311"/>
                  </a:lnTo>
                  <a:lnTo>
                    <a:pt x="620" y="311"/>
                  </a:lnTo>
                  <a:lnTo>
                    <a:pt x="619" y="311"/>
                  </a:lnTo>
                  <a:lnTo>
                    <a:pt x="619" y="311"/>
                  </a:lnTo>
                  <a:lnTo>
                    <a:pt x="618" y="311"/>
                  </a:lnTo>
                  <a:lnTo>
                    <a:pt x="617" y="311"/>
                  </a:lnTo>
                  <a:lnTo>
                    <a:pt x="617" y="312"/>
                  </a:lnTo>
                  <a:lnTo>
                    <a:pt x="617" y="312"/>
                  </a:lnTo>
                  <a:lnTo>
                    <a:pt x="617" y="313"/>
                  </a:lnTo>
                  <a:lnTo>
                    <a:pt x="617" y="313"/>
                  </a:lnTo>
                  <a:lnTo>
                    <a:pt x="617" y="314"/>
                  </a:lnTo>
                  <a:lnTo>
                    <a:pt x="616" y="315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7"/>
                  </a:lnTo>
                  <a:lnTo>
                    <a:pt x="616" y="317"/>
                  </a:lnTo>
                  <a:lnTo>
                    <a:pt x="616" y="317"/>
                  </a:lnTo>
                  <a:lnTo>
                    <a:pt x="615" y="317"/>
                  </a:lnTo>
                  <a:lnTo>
                    <a:pt x="615" y="318"/>
                  </a:lnTo>
                  <a:lnTo>
                    <a:pt x="614" y="319"/>
                  </a:lnTo>
                  <a:lnTo>
                    <a:pt x="613" y="319"/>
                  </a:lnTo>
                  <a:lnTo>
                    <a:pt x="613" y="319"/>
                  </a:lnTo>
                  <a:lnTo>
                    <a:pt x="612" y="320"/>
                  </a:lnTo>
                  <a:lnTo>
                    <a:pt x="612" y="320"/>
                  </a:lnTo>
                  <a:lnTo>
                    <a:pt x="611" y="320"/>
                  </a:lnTo>
                  <a:lnTo>
                    <a:pt x="611" y="321"/>
                  </a:lnTo>
                  <a:lnTo>
                    <a:pt x="610" y="324"/>
                  </a:lnTo>
                  <a:lnTo>
                    <a:pt x="609" y="326"/>
                  </a:lnTo>
                  <a:lnTo>
                    <a:pt x="609" y="326"/>
                  </a:lnTo>
                  <a:lnTo>
                    <a:pt x="608" y="326"/>
                  </a:lnTo>
                  <a:lnTo>
                    <a:pt x="608" y="326"/>
                  </a:lnTo>
                  <a:lnTo>
                    <a:pt x="607" y="326"/>
                  </a:lnTo>
                  <a:lnTo>
                    <a:pt x="606" y="325"/>
                  </a:lnTo>
                  <a:lnTo>
                    <a:pt x="604" y="324"/>
                  </a:lnTo>
                  <a:lnTo>
                    <a:pt x="603" y="323"/>
                  </a:lnTo>
                  <a:lnTo>
                    <a:pt x="601" y="321"/>
                  </a:lnTo>
                  <a:lnTo>
                    <a:pt x="600" y="320"/>
                  </a:lnTo>
                  <a:lnTo>
                    <a:pt x="599" y="319"/>
                  </a:lnTo>
                  <a:lnTo>
                    <a:pt x="596" y="315"/>
                  </a:lnTo>
                  <a:lnTo>
                    <a:pt x="595" y="314"/>
                  </a:lnTo>
                  <a:lnTo>
                    <a:pt x="594" y="313"/>
                  </a:lnTo>
                  <a:lnTo>
                    <a:pt x="593" y="312"/>
                  </a:lnTo>
                  <a:lnTo>
                    <a:pt x="592" y="311"/>
                  </a:lnTo>
                  <a:lnTo>
                    <a:pt x="590" y="310"/>
                  </a:lnTo>
                  <a:lnTo>
                    <a:pt x="589" y="310"/>
                  </a:lnTo>
                  <a:lnTo>
                    <a:pt x="588" y="309"/>
                  </a:lnTo>
                  <a:lnTo>
                    <a:pt x="587" y="309"/>
                  </a:lnTo>
                  <a:lnTo>
                    <a:pt x="586" y="308"/>
                  </a:lnTo>
                  <a:lnTo>
                    <a:pt x="585" y="308"/>
                  </a:lnTo>
                  <a:lnTo>
                    <a:pt x="583" y="308"/>
                  </a:lnTo>
                  <a:lnTo>
                    <a:pt x="582" y="307"/>
                  </a:lnTo>
                  <a:lnTo>
                    <a:pt x="577" y="307"/>
                  </a:lnTo>
                  <a:lnTo>
                    <a:pt x="576" y="306"/>
                  </a:lnTo>
                  <a:lnTo>
                    <a:pt x="575" y="306"/>
                  </a:lnTo>
                  <a:lnTo>
                    <a:pt x="574" y="305"/>
                  </a:lnTo>
                  <a:lnTo>
                    <a:pt x="573" y="305"/>
                  </a:lnTo>
                  <a:lnTo>
                    <a:pt x="572" y="304"/>
                  </a:lnTo>
                  <a:lnTo>
                    <a:pt x="571" y="304"/>
                  </a:lnTo>
                  <a:lnTo>
                    <a:pt x="569" y="302"/>
                  </a:lnTo>
                  <a:lnTo>
                    <a:pt x="564" y="300"/>
                  </a:lnTo>
                  <a:lnTo>
                    <a:pt x="560" y="297"/>
                  </a:lnTo>
                  <a:lnTo>
                    <a:pt x="559" y="296"/>
                  </a:lnTo>
                  <a:lnTo>
                    <a:pt x="558" y="295"/>
                  </a:lnTo>
                  <a:lnTo>
                    <a:pt x="556" y="294"/>
                  </a:lnTo>
                  <a:lnTo>
                    <a:pt x="554" y="293"/>
                  </a:lnTo>
                  <a:lnTo>
                    <a:pt x="552" y="293"/>
                  </a:lnTo>
                  <a:lnTo>
                    <a:pt x="551" y="293"/>
                  </a:lnTo>
                  <a:lnTo>
                    <a:pt x="550" y="292"/>
                  </a:lnTo>
                  <a:lnTo>
                    <a:pt x="549" y="292"/>
                  </a:lnTo>
                  <a:lnTo>
                    <a:pt x="547" y="292"/>
                  </a:lnTo>
                  <a:lnTo>
                    <a:pt x="545" y="292"/>
                  </a:lnTo>
                  <a:lnTo>
                    <a:pt x="542" y="293"/>
                  </a:lnTo>
                  <a:lnTo>
                    <a:pt x="541" y="293"/>
                  </a:lnTo>
                  <a:lnTo>
                    <a:pt x="540" y="293"/>
                  </a:lnTo>
                  <a:lnTo>
                    <a:pt x="539" y="292"/>
                  </a:lnTo>
                  <a:lnTo>
                    <a:pt x="537" y="292"/>
                  </a:lnTo>
                  <a:lnTo>
                    <a:pt x="536" y="292"/>
                  </a:lnTo>
                  <a:lnTo>
                    <a:pt x="536" y="292"/>
                  </a:lnTo>
                  <a:lnTo>
                    <a:pt x="534" y="291"/>
                  </a:lnTo>
                  <a:lnTo>
                    <a:pt x="532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0" y="290"/>
                  </a:lnTo>
                  <a:lnTo>
                    <a:pt x="530" y="290"/>
                  </a:lnTo>
                  <a:lnTo>
                    <a:pt x="529" y="290"/>
                  </a:lnTo>
                  <a:lnTo>
                    <a:pt x="529" y="291"/>
                  </a:lnTo>
                  <a:lnTo>
                    <a:pt x="529" y="291"/>
                  </a:lnTo>
                  <a:lnTo>
                    <a:pt x="528" y="292"/>
                  </a:lnTo>
                  <a:lnTo>
                    <a:pt x="528" y="295"/>
                  </a:lnTo>
                  <a:lnTo>
                    <a:pt x="527" y="296"/>
                  </a:lnTo>
                  <a:lnTo>
                    <a:pt x="526" y="298"/>
                  </a:lnTo>
                  <a:lnTo>
                    <a:pt x="525" y="300"/>
                  </a:lnTo>
                  <a:lnTo>
                    <a:pt x="524" y="301"/>
                  </a:lnTo>
                  <a:lnTo>
                    <a:pt x="524" y="302"/>
                  </a:lnTo>
                  <a:lnTo>
                    <a:pt x="523" y="302"/>
                  </a:lnTo>
                  <a:lnTo>
                    <a:pt x="522" y="303"/>
                  </a:lnTo>
                  <a:lnTo>
                    <a:pt x="522" y="303"/>
                  </a:lnTo>
                  <a:lnTo>
                    <a:pt x="521" y="303"/>
                  </a:lnTo>
                  <a:lnTo>
                    <a:pt x="521" y="304"/>
                  </a:lnTo>
                  <a:lnTo>
                    <a:pt x="519" y="304"/>
                  </a:lnTo>
                  <a:lnTo>
                    <a:pt x="517" y="304"/>
                  </a:lnTo>
                  <a:lnTo>
                    <a:pt x="514" y="304"/>
                  </a:lnTo>
                  <a:lnTo>
                    <a:pt x="513" y="304"/>
                  </a:lnTo>
                  <a:lnTo>
                    <a:pt x="511" y="305"/>
                  </a:lnTo>
                  <a:lnTo>
                    <a:pt x="510" y="305"/>
                  </a:lnTo>
                  <a:lnTo>
                    <a:pt x="508" y="306"/>
                  </a:lnTo>
                  <a:lnTo>
                    <a:pt x="506" y="307"/>
                  </a:lnTo>
                  <a:lnTo>
                    <a:pt x="503" y="308"/>
                  </a:lnTo>
                  <a:lnTo>
                    <a:pt x="502" y="309"/>
                  </a:lnTo>
                  <a:lnTo>
                    <a:pt x="501" y="309"/>
                  </a:lnTo>
                  <a:lnTo>
                    <a:pt x="500" y="309"/>
                  </a:lnTo>
                  <a:lnTo>
                    <a:pt x="499" y="309"/>
                  </a:lnTo>
                  <a:lnTo>
                    <a:pt x="497" y="309"/>
                  </a:lnTo>
                  <a:lnTo>
                    <a:pt x="496" y="309"/>
                  </a:lnTo>
                  <a:lnTo>
                    <a:pt x="496" y="309"/>
                  </a:lnTo>
                  <a:lnTo>
                    <a:pt x="495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4" y="308"/>
                  </a:lnTo>
                  <a:lnTo>
                    <a:pt x="493" y="308"/>
                  </a:lnTo>
                  <a:lnTo>
                    <a:pt x="493" y="308"/>
                  </a:lnTo>
                  <a:lnTo>
                    <a:pt x="493" y="307"/>
                  </a:lnTo>
                  <a:lnTo>
                    <a:pt x="493" y="307"/>
                  </a:lnTo>
                  <a:lnTo>
                    <a:pt x="493" y="306"/>
                  </a:lnTo>
                  <a:lnTo>
                    <a:pt x="493" y="302"/>
                  </a:lnTo>
                  <a:lnTo>
                    <a:pt x="493" y="302"/>
                  </a:lnTo>
                  <a:lnTo>
                    <a:pt x="493" y="301"/>
                  </a:lnTo>
                  <a:lnTo>
                    <a:pt x="493" y="300"/>
                  </a:lnTo>
                  <a:lnTo>
                    <a:pt x="493" y="299"/>
                  </a:lnTo>
                  <a:lnTo>
                    <a:pt x="492" y="297"/>
                  </a:lnTo>
                  <a:lnTo>
                    <a:pt x="492" y="296"/>
                  </a:lnTo>
                  <a:lnTo>
                    <a:pt x="491" y="293"/>
                  </a:lnTo>
                  <a:lnTo>
                    <a:pt x="491" y="291"/>
                  </a:lnTo>
                  <a:lnTo>
                    <a:pt x="490" y="290"/>
                  </a:lnTo>
                  <a:lnTo>
                    <a:pt x="490" y="290"/>
                  </a:lnTo>
                  <a:lnTo>
                    <a:pt x="490" y="289"/>
                  </a:lnTo>
                  <a:lnTo>
                    <a:pt x="489" y="288"/>
                  </a:lnTo>
                  <a:lnTo>
                    <a:pt x="488" y="288"/>
                  </a:lnTo>
                  <a:lnTo>
                    <a:pt x="487" y="287"/>
                  </a:lnTo>
                  <a:lnTo>
                    <a:pt x="487" y="287"/>
                  </a:lnTo>
                  <a:lnTo>
                    <a:pt x="485" y="286"/>
                  </a:lnTo>
                  <a:lnTo>
                    <a:pt x="484" y="286"/>
                  </a:lnTo>
                  <a:lnTo>
                    <a:pt x="483" y="286"/>
                  </a:lnTo>
                  <a:lnTo>
                    <a:pt x="481" y="285"/>
                  </a:lnTo>
                  <a:lnTo>
                    <a:pt x="479" y="285"/>
                  </a:lnTo>
                  <a:lnTo>
                    <a:pt x="478" y="285"/>
                  </a:lnTo>
                  <a:lnTo>
                    <a:pt x="475" y="285"/>
                  </a:lnTo>
                  <a:lnTo>
                    <a:pt x="473" y="285"/>
                  </a:lnTo>
                  <a:lnTo>
                    <a:pt x="472" y="285"/>
                  </a:lnTo>
                  <a:lnTo>
                    <a:pt x="471" y="285"/>
                  </a:lnTo>
                  <a:lnTo>
                    <a:pt x="470" y="284"/>
                  </a:lnTo>
                  <a:lnTo>
                    <a:pt x="468" y="284"/>
                  </a:lnTo>
                  <a:lnTo>
                    <a:pt x="468" y="284"/>
                  </a:lnTo>
                  <a:lnTo>
                    <a:pt x="467" y="283"/>
                  </a:lnTo>
                  <a:lnTo>
                    <a:pt x="466" y="283"/>
                  </a:lnTo>
                  <a:lnTo>
                    <a:pt x="465" y="283"/>
                  </a:lnTo>
                  <a:lnTo>
                    <a:pt x="464" y="282"/>
                  </a:lnTo>
                  <a:lnTo>
                    <a:pt x="462" y="280"/>
                  </a:lnTo>
                  <a:lnTo>
                    <a:pt x="462" y="280"/>
                  </a:lnTo>
                  <a:lnTo>
                    <a:pt x="461" y="279"/>
                  </a:lnTo>
                  <a:lnTo>
                    <a:pt x="461" y="279"/>
                  </a:lnTo>
                  <a:lnTo>
                    <a:pt x="460" y="279"/>
                  </a:lnTo>
                  <a:lnTo>
                    <a:pt x="459" y="278"/>
                  </a:lnTo>
                  <a:lnTo>
                    <a:pt x="459" y="278"/>
                  </a:lnTo>
                  <a:lnTo>
                    <a:pt x="455" y="278"/>
                  </a:lnTo>
                  <a:lnTo>
                    <a:pt x="452" y="277"/>
                  </a:lnTo>
                  <a:lnTo>
                    <a:pt x="451" y="277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8" y="277"/>
                  </a:lnTo>
                  <a:lnTo>
                    <a:pt x="447" y="277"/>
                  </a:lnTo>
                  <a:lnTo>
                    <a:pt x="446" y="278"/>
                  </a:lnTo>
                  <a:lnTo>
                    <a:pt x="445" y="278"/>
                  </a:lnTo>
                  <a:lnTo>
                    <a:pt x="444" y="279"/>
                  </a:lnTo>
                  <a:lnTo>
                    <a:pt x="444" y="279"/>
                  </a:lnTo>
                  <a:lnTo>
                    <a:pt x="443" y="280"/>
                  </a:lnTo>
                  <a:lnTo>
                    <a:pt x="443" y="280"/>
                  </a:lnTo>
                  <a:lnTo>
                    <a:pt x="443" y="280"/>
                  </a:lnTo>
                  <a:lnTo>
                    <a:pt x="443" y="281"/>
                  </a:lnTo>
                  <a:lnTo>
                    <a:pt x="442" y="283"/>
                  </a:lnTo>
                  <a:lnTo>
                    <a:pt x="442" y="284"/>
                  </a:lnTo>
                  <a:lnTo>
                    <a:pt x="442" y="286"/>
                  </a:lnTo>
                  <a:lnTo>
                    <a:pt x="441" y="287"/>
                  </a:lnTo>
                  <a:lnTo>
                    <a:pt x="440" y="288"/>
                  </a:lnTo>
                  <a:lnTo>
                    <a:pt x="439" y="290"/>
                  </a:lnTo>
                  <a:lnTo>
                    <a:pt x="439" y="292"/>
                  </a:lnTo>
                  <a:lnTo>
                    <a:pt x="439" y="292"/>
                  </a:lnTo>
                  <a:lnTo>
                    <a:pt x="438" y="294"/>
                  </a:lnTo>
                  <a:lnTo>
                    <a:pt x="438" y="295"/>
                  </a:lnTo>
                  <a:lnTo>
                    <a:pt x="437" y="296"/>
                  </a:lnTo>
                  <a:lnTo>
                    <a:pt x="437" y="297"/>
                  </a:lnTo>
                  <a:lnTo>
                    <a:pt x="437" y="298"/>
                  </a:lnTo>
                  <a:lnTo>
                    <a:pt x="437" y="300"/>
                  </a:lnTo>
                  <a:lnTo>
                    <a:pt x="437" y="302"/>
                  </a:lnTo>
                  <a:lnTo>
                    <a:pt x="437" y="304"/>
                  </a:lnTo>
                  <a:lnTo>
                    <a:pt x="437" y="305"/>
                  </a:lnTo>
                  <a:lnTo>
                    <a:pt x="438" y="308"/>
                  </a:lnTo>
                  <a:lnTo>
                    <a:pt x="438" y="313"/>
                  </a:lnTo>
                  <a:lnTo>
                    <a:pt x="439" y="316"/>
                  </a:lnTo>
                  <a:lnTo>
                    <a:pt x="439" y="318"/>
                  </a:lnTo>
                  <a:lnTo>
                    <a:pt x="440" y="323"/>
                  </a:lnTo>
                  <a:lnTo>
                    <a:pt x="440" y="325"/>
                  </a:lnTo>
                  <a:lnTo>
                    <a:pt x="440" y="326"/>
                  </a:lnTo>
                  <a:lnTo>
                    <a:pt x="440" y="328"/>
                  </a:lnTo>
                  <a:lnTo>
                    <a:pt x="440" y="329"/>
                  </a:lnTo>
                  <a:lnTo>
                    <a:pt x="440" y="330"/>
                  </a:lnTo>
                  <a:lnTo>
                    <a:pt x="440" y="332"/>
                  </a:lnTo>
                  <a:lnTo>
                    <a:pt x="439" y="334"/>
                  </a:lnTo>
                  <a:lnTo>
                    <a:pt x="438" y="340"/>
                  </a:lnTo>
                  <a:lnTo>
                    <a:pt x="438" y="341"/>
                  </a:lnTo>
                  <a:lnTo>
                    <a:pt x="437" y="343"/>
                  </a:lnTo>
                  <a:lnTo>
                    <a:pt x="437" y="344"/>
                  </a:lnTo>
                  <a:lnTo>
                    <a:pt x="436" y="346"/>
                  </a:lnTo>
                  <a:lnTo>
                    <a:pt x="436" y="347"/>
                  </a:lnTo>
                  <a:lnTo>
                    <a:pt x="436" y="349"/>
                  </a:lnTo>
                  <a:lnTo>
                    <a:pt x="436" y="350"/>
                  </a:lnTo>
                  <a:lnTo>
                    <a:pt x="436" y="354"/>
                  </a:lnTo>
                  <a:lnTo>
                    <a:pt x="436" y="355"/>
                  </a:lnTo>
                  <a:lnTo>
                    <a:pt x="436" y="356"/>
                  </a:lnTo>
                  <a:lnTo>
                    <a:pt x="436" y="357"/>
                  </a:lnTo>
                  <a:lnTo>
                    <a:pt x="436" y="357"/>
                  </a:lnTo>
                  <a:lnTo>
                    <a:pt x="435" y="360"/>
                  </a:lnTo>
                  <a:lnTo>
                    <a:pt x="434" y="361"/>
                  </a:lnTo>
                  <a:lnTo>
                    <a:pt x="433" y="366"/>
                  </a:lnTo>
                  <a:lnTo>
                    <a:pt x="432" y="369"/>
                  </a:lnTo>
                  <a:lnTo>
                    <a:pt x="432" y="370"/>
                  </a:lnTo>
                  <a:lnTo>
                    <a:pt x="431" y="372"/>
                  </a:lnTo>
                  <a:lnTo>
                    <a:pt x="431" y="374"/>
                  </a:lnTo>
                  <a:lnTo>
                    <a:pt x="431" y="376"/>
                  </a:lnTo>
                  <a:lnTo>
                    <a:pt x="431" y="377"/>
                  </a:lnTo>
                  <a:lnTo>
                    <a:pt x="431" y="378"/>
                  </a:lnTo>
                  <a:lnTo>
                    <a:pt x="431" y="379"/>
                  </a:lnTo>
                  <a:lnTo>
                    <a:pt x="431" y="380"/>
                  </a:lnTo>
                  <a:lnTo>
                    <a:pt x="431" y="381"/>
                  </a:lnTo>
                  <a:lnTo>
                    <a:pt x="432" y="382"/>
                  </a:lnTo>
                  <a:lnTo>
                    <a:pt x="432" y="383"/>
                  </a:lnTo>
                  <a:lnTo>
                    <a:pt x="434" y="385"/>
                  </a:lnTo>
                  <a:lnTo>
                    <a:pt x="434" y="386"/>
                  </a:lnTo>
                  <a:lnTo>
                    <a:pt x="434" y="386"/>
                  </a:lnTo>
                  <a:lnTo>
                    <a:pt x="435" y="387"/>
                  </a:lnTo>
                  <a:lnTo>
                    <a:pt x="435" y="388"/>
                  </a:lnTo>
                  <a:lnTo>
                    <a:pt x="435" y="389"/>
                  </a:lnTo>
                  <a:lnTo>
                    <a:pt x="435" y="390"/>
                  </a:lnTo>
                  <a:lnTo>
                    <a:pt x="434" y="390"/>
                  </a:lnTo>
                  <a:lnTo>
                    <a:pt x="434" y="391"/>
                  </a:lnTo>
                  <a:lnTo>
                    <a:pt x="433" y="392"/>
                  </a:lnTo>
                  <a:lnTo>
                    <a:pt x="433" y="393"/>
                  </a:lnTo>
                  <a:lnTo>
                    <a:pt x="432" y="393"/>
                  </a:lnTo>
                  <a:lnTo>
                    <a:pt x="431" y="394"/>
                  </a:lnTo>
                  <a:lnTo>
                    <a:pt x="430" y="394"/>
                  </a:lnTo>
                  <a:lnTo>
                    <a:pt x="429" y="394"/>
                  </a:lnTo>
                  <a:lnTo>
                    <a:pt x="428" y="394"/>
                  </a:lnTo>
                  <a:lnTo>
                    <a:pt x="426" y="394"/>
                  </a:lnTo>
                  <a:lnTo>
                    <a:pt x="425" y="394"/>
                  </a:lnTo>
                  <a:lnTo>
                    <a:pt x="420" y="392"/>
                  </a:lnTo>
                  <a:lnTo>
                    <a:pt x="417" y="391"/>
                  </a:lnTo>
                  <a:lnTo>
                    <a:pt x="415" y="391"/>
                  </a:lnTo>
                  <a:lnTo>
                    <a:pt x="414" y="391"/>
                  </a:lnTo>
                  <a:lnTo>
                    <a:pt x="410" y="389"/>
                  </a:lnTo>
                  <a:lnTo>
                    <a:pt x="409" y="389"/>
                  </a:lnTo>
                  <a:lnTo>
                    <a:pt x="407" y="388"/>
                  </a:lnTo>
                  <a:lnTo>
                    <a:pt x="406" y="388"/>
                  </a:lnTo>
                  <a:lnTo>
                    <a:pt x="405" y="387"/>
                  </a:lnTo>
                  <a:lnTo>
                    <a:pt x="404" y="387"/>
                  </a:lnTo>
                  <a:lnTo>
                    <a:pt x="400" y="386"/>
                  </a:lnTo>
                  <a:lnTo>
                    <a:pt x="397" y="386"/>
                  </a:lnTo>
                  <a:lnTo>
                    <a:pt x="395" y="385"/>
                  </a:lnTo>
                  <a:lnTo>
                    <a:pt x="394" y="385"/>
                  </a:lnTo>
                  <a:lnTo>
                    <a:pt x="393" y="385"/>
                  </a:lnTo>
                  <a:lnTo>
                    <a:pt x="392" y="385"/>
                  </a:lnTo>
                  <a:lnTo>
                    <a:pt x="391" y="386"/>
                  </a:lnTo>
                  <a:lnTo>
                    <a:pt x="391" y="386"/>
                  </a:lnTo>
                  <a:lnTo>
                    <a:pt x="390" y="386"/>
                  </a:lnTo>
                  <a:lnTo>
                    <a:pt x="389" y="386"/>
                  </a:lnTo>
                  <a:lnTo>
                    <a:pt x="389" y="387"/>
                  </a:lnTo>
                  <a:lnTo>
                    <a:pt x="388" y="387"/>
                  </a:lnTo>
                  <a:lnTo>
                    <a:pt x="387" y="388"/>
                  </a:lnTo>
                  <a:lnTo>
                    <a:pt x="387" y="388"/>
                  </a:lnTo>
                  <a:lnTo>
                    <a:pt x="386" y="389"/>
                  </a:lnTo>
                  <a:lnTo>
                    <a:pt x="386" y="389"/>
                  </a:lnTo>
                  <a:lnTo>
                    <a:pt x="386" y="390"/>
                  </a:lnTo>
                  <a:lnTo>
                    <a:pt x="386" y="391"/>
                  </a:lnTo>
                  <a:lnTo>
                    <a:pt x="385" y="394"/>
                  </a:lnTo>
                  <a:lnTo>
                    <a:pt x="384" y="399"/>
                  </a:lnTo>
                  <a:lnTo>
                    <a:pt x="384" y="401"/>
                  </a:lnTo>
                  <a:lnTo>
                    <a:pt x="383" y="404"/>
                  </a:lnTo>
                  <a:lnTo>
                    <a:pt x="383" y="405"/>
                  </a:lnTo>
                  <a:lnTo>
                    <a:pt x="383" y="406"/>
                  </a:lnTo>
                  <a:lnTo>
                    <a:pt x="382" y="407"/>
                  </a:lnTo>
                  <a:lnTo>
                    <a:pt x="382" y="408"/>
                  </a:lnTo>
                  <a:lnTo>
                    <a:pt x="381" y="409"/>
                  </a:lnTo>
                  <a:lnTo>
                    <a:pt x="380" y="410"/>
                  </a:lnTo>
                  <a:lnTo>
                    <a:pt x="379" y="412"/>
                  </a:lnTo>
                  <a:lnTo>
                    <a:pt x="377" y="414"/>
                  </a:lnTo>
                  <a:lnTo>
                    <a:pt x="376" y="415"/>
                  </a:lnTo>
                  <a:lnTo>
                    <a:pt x="375" y="416"/>
                  </a:lnTo>
                  <a:lnTo>
                    <a:pt x="374" y="416"/>
                  </a:lnTo>
                  <a:lnTo>
                    <a:pt x="373" y="417"/>
                  </a:lnTo>
                  <a:lnTo>
                    <a:pt x="370" y="419"/>
                  </a:lnTo>
                  <a:lnTo>
                    <a:pt x="367" y="422"/>
                  </a:lnTo>
                  <a:lnTo>
                    <a:pt x="365" y="423"/>
                  </a:lnTo>
                  <a:lnTo>
                    <a:pt x="364" y="424"/>
                  </a:lnTo>
                  <a:lnTo>
                    <a:pt x="364" y="425"/>
                  </a:lnTo>
                  <a:lnTo>
                    <a:pt x="363" y="426"/>
                  </a:lnTo>
                  <a:lnTo>
                    <a:pt x="362" y="427"/>
                  </a:lnTo>
                  <a:lnTo>
                    <a:pt x="361" y="429"/>
                  </a:lnTo>
                  <a:lnTo>
                    <a:pt x="360" y="431"/>
                  </a:lnTo>
                  <a:lnTo>
                    <a:pt x="360" y="432"/>
                  </a:lnTo>
                  <a:lnTo>
                    <a:pt x="359" y="434"/>
                  </a:lnTo>
                  <a:lnTo>
                    <a:pt x="358" y="437"/>
                  </a:lnTo>
                  <a:lnTo>
                    <a:pt x="358" y="438"/>
                  </a:lnTo>
                  <a:lnTo>
                    <a:pt x="357" y="440"/>
                  </a:lnTo>
                  <a:lnTo>
                    <a:pt x="357" y="441"/>
                  </a:lnTo>
                  <a:lnTo>
                    <a:pt x="357" y="443"/>
                  </a:lnTo>
                  <a:lnTo>
                    <a:pt x="357" y="444"/>
                  </a:lnTo>
                  <a:lnTo>
                    <a:pt x="357" y="445"/>
                  </a:lnTo>
                  <a:lnTo>
                    <a:pt x="357" y="451"/>
                  </a:lnTo>
                  <a:lnTo>
                    <a:pt x="357" y="453"/>
                  </a:lnTo>
                  <a:lnTo>
                    <a:pt x="357" y="454"/>
                  </a:lnTo>
                  <a:lnTo>
                    <a:pt x="357" y="456"/>
                  </a:lnTo>
                  <a:lnTo>
                    <a:pt x="357" y="461"/>
                  </a:lnTo>
                  <a:lnTo>
                    <a:pt x="357" y="464"/>
                  </a:lnTo>
                  <a:lnTo>
                    <a:pt x="357" y="465"/>
                  </a:lnTo>
                  <a:lnTo>
                    <a:pt x="356" y="467"/>
                  </a:lnTo>
                  <a:lnTo>
                    <a:pt x="356" y="468"/>
                  </a:lnTo>
                  <a:lnTo>
                    <a:pt x="356" y="469"/>
                  </a:lnTo>
                  <a:lnTo>
                    <a:pt x="356" y="469"/>
                  </a:lnTo>
                  <a:lnTo>
                    <a:pt x="355" y="471"/>
                  </a:lnTo>
                  <a:lnTo>
                    <a:pt x="355" y="472"/>
                  </a:lnTo>
                  <a:lnTo>
                    <a:pt x="354" y="473"/>
                  </a:lnTo>
                  <a:lnTo>
                    <a:pt x="353" y="473"/>
                  </a:lnTo>
                  <a:lnTo>
                    <a:pt x="353" y="474"/>
                  </a:lnTo>
                  <a:lnTo>
                    <a:pt x="352" y="475"/>
                  </a:lnTo>
                  <a:lnTo>
                    <a:pt x="352" y="475"/>
                  </a:lnTo>
                  <a:lnTo>
                    <a:pt x="351" y="475"/>
                  </a:lnTo>
                  <a:lnTo>
                    <a:pt x="351" y="476"/>
                  </a:lnTo>
                  <a:lnTo>
                    <a:pt x="350" y="476"/>
                  </a:lnTo>
                  <a:lnTo>
                    <a:pt x="350" y="476"/>
                  </a:lnTo>
                  <a:lnTo>
                    <a:pt x="349" y="476"/>
                  </a:lnTo>
                  <a:lnTo>
                    <a:pt x="348" y="476"/>
                  </a:lnTo>
                  <a:lnTo>
                    <a:pt x="347" y="476"/>
                  </a:lnTo>
                  <a:lnTo>
                    <a:pt x="346" y="476"/>
                  </a:lnTo>
                  <a:lnTo>
                    <a:pt x="345" y="476"/>
                  </a:lnTo>
                  <a:lnTo>
                    <a:pt x="344" y="476"/>
                  </a:lnTo>
                  <a:lnTo>
                    <a:pt x="344" y="476"/>
                  </a:lnTo>
                  <a:lnTo>
                    <a:pt x="343" y="476"/>
                  </a:lnTo>
                  <a:lnTo>
                    <a:pt x="342" y="475"/>
                  </a:lnTo>
                  <a:lnTo>
                    <a:pt x="342" y="475"/>
                  </a:lnTo>
                  <a:lnTo>
                    <a:pt x="342" y="475"/>
                  </a:lnTo>
                  <a:lnTo>
                    <a:pt x="341" y="474"/>
                  </a:lnTo>
                  <a:lnTo>
                    <a:pt x="340" y="474"/>
                  </a:lnTo>
                  <a:lnTo>
                    <a:pt x="340" y="473"/>
                  </a:lnTo>
                  <a:lnTo>
                    <a:pt x="337" y="470"/>
                  </a:lnTo>
                  <a:lnTo>
                    <a:pt x="337" y="469"/>
                  </a:lnTo>
                  <a:lnTo>
                    <a:pt x="336" y="468"/>
                  </a:lnTo>
                  <a:lnTo>
                    <a:pt x="335" y="467"/>
                  </a:lnTo>
                  <a:lnTo>
                    <a:pt x="334" y="467"/>
                  </a:lnTo>
                  <a:lnTo>
                    <a:pt x="333" y="467"/>
                  </a:lnTo>
                  <a:lnTo>
                    <a:pt x="332" y="466"/>
                  </a:lnTo>
                  <a:lnTo>
                    <a:pt x="331" y="466"/>
                  </a:lnTo>
                  <a:lnTo>
                    <a:pt x="330" y="465"/>
                  </a:lnTo>
                  <a:lnTo>
                    <a:pt x="330" y="465"/>
                  </a:lnTo>
                  <a:lnTo>
                    <a:pt x="329" y="464"/>
                  </a:lnTo>
                  <a:lnTo>
                    <a:pt x="328" y="463"/>
                  </a:lnTo>
                  <a:lnTo>
                    <a:pt x="328" y="463"/>
                  </a:lnTo>
                  <a:lnTo>
                    <a:pt x="326" y="461"/>
                  </a:lnTo>
                  <a:lnTo>
                    <a:pt x="326" y="459"/>
                  </a:lnTo>
                  <a:lnTo>
                    <a:pt x="325" y="459"/>
                  </a:lnTo>
                  <a:lnTo>
                    <a:pt x="324" y="458"/>
                  </a:lnTo>
                  <a:lnTo>
                    <a:pt x="324" y="458"/>
                  </a:lnTo>
                  <a:lnTo>
                    <a:pt x="323" y="458"/>
                  </a:lnTo>
                  <a:lnTo>
                    <a:pt x="323" y="458"/>
                  </a:lnTo>
                  <a:lnTo>
                    <a:pt x="322" y="458"/>
                  </a:lnTo>
                  <a:lnTo>
                    <a:pt x="322" y="458"/>
                  </a:lnTo>
                  <a:lnTo>
                    <a:pt x="321" y="458"/>
                  </a:lnTo>
                  <a:lnTo>
                    <a:pt x="320" y="459"/>
                  </a:lnTo>
                  <a:lnTo>
                    <a:pt x="314" y="462"/>
                  </a:lnTo>
                  <a:lnTo>
                    <a:pt x="313" y="463"/>
                  </a:lnTo>
                  <a:lnTo>
                    <a:pt x="312" y="464"/>
                  </a:lnTo>
                  <a:lnTo>
                    <a:pt x="311" y="464"/>
                  </a:lnTo>
                  <a:lnTo>
                    <a:pt x="310" y="464"/>
                  </a:lnTo>
                  <a:lnTo>
                    <a:pt x="309" y="465"/>
                  </a:lnTo>
                  <a:lnTo>
                    <a:pt x="308" y="465"/>
                  </a:lnTo>
                  <a:lnTo>
                    <a:pt x="308" y="465"/>
                  </a:lnTo>
                  <a:lnTo>
                    <a:pt x="307" y="465"/>
                  </a:lnTo>
                  <a:lnTo>
                    <a:pt x="307" y="464"/>
                  </a:lnTo>
                  <a:lnTo>
                    <a:pt x="306" y="464"/>
                  </a:lnTo>
                  <a:lnTo>
                    <a:pt x="303" y="463"/>
                  </a:lnTo>
                  <a:lnTo>
                    <a:pt x="299" y="462"/>
                  </a:lnTo>
                  <a:lnTo>
                    <a:pt x="297" y="461"/>
                  </a:lnTo>
                  <a:lnTo>
                    <a:pt x="294" y="460"/>
                  </a:lnTo>
                  <a:lnTo>
                    <a:pt x="293" y="459"/>
                  </a:lnTo>
                  <a:lnTo>
                    <a:pt x="292" y="459"/>
                  </a:lnTo>
                  <a:lnTo>
                    <a:pt x="291" y="458"/>
                  </a:lnTo>
                  <a:lnTo>
                    <a:pt x="290" y="457"/>
                  </a:lnTo>
                  <a:lnTo>
                    <a:pt x="289" y="457"/>
                  </a:lnTo>
                  <a:lnTo>
                    <a:pt x="288" y="455"/>
                  </a:lnTo>
                  <a:lnTo>
                    <a:pt x="287" y="454"/>
                  </a:lnTo>
                  <a:lnTo>
                    <a:pt x="284" y="451"/>
                  </a:lnTo>
                  <a:lnTo>
                    <a:pt x="283" y="450"/>
                  </a:lnTo>
                  <a:lnTo>
                    <a:pt x="282" y="449"/>
                  </a:lnTo>
                  <a:lnTo>
                    <a:pt x="281" y="449"/>
                  </a:lnTo>
                  <a:lnTo>
                    <a:pt x="280" y="448"/>
                  </a:lnTo>
                  <a:lnTo>
                    <a:pt x="280" y="448"/>
                  </a:lnTo>
                  <a:lnTo>
                    <a:pt x="279" y="448"/>
                  </a:lnTo>
                  <a:lnTo>
                    <a:pt x="279" y="449"/>
                  </a:lnTo>
                  <a:lnTo>
                    <a:pt x="278" y="449"/>
                  </a:lnTo>
                  <a:lnTo>
                    <a:pt x="278" y="449"/>
                  </a:lnTo>
                  <a:lnTo>
                    <a:pt x="277" y="449"/>
                  </a:lnTo>
                  <a:lnTo>
                    <a:pt x="277" y="450"/>
                  </a:lnTo>
                  <a:lnTo>
                    <a:pt x="276" y="450"/>
                  </a:lnTo>
                  <a:lnTo>
                    <a:pt x="276" y="450"/>
                  </a:lnTo>
                  <a:lnTo>
                    <a:pt x="276" y="451"/>
                  </a:lnTo>
                  <a:lnTo>
                    <a:pt x="275" y="451"/>
                  </a:lnTo>
                  <a:lnTo>
                    <a:pt x="275" y="452"/>
                  </a:lnTo>
                  <a:lnTo>
                    <a:pt x="275" y="456"/>
                  </a:lnTo>
                  <a:lnTo>
                    <a:pt x="275" y="457"/>
                  </a:lnTo>
                  <a:lnTo>
                    <a:pt x="275" y="458"/>
                  </a:lnTo>
                  <a:lnTo>
                    <a:pt x="274" y="460"/>
                  </a:lnTo>
                  <a:lnTo>
                    <a:pt x="274" y="463"/>
                  </a:lnTo>
                  <a:lnTo>
                    <a:pt x="273" y="464"/>
                  </a:lnTo>
                  <a:lnTo>
                    <a:pt x="273" y="465"/>
                  </a:lnTo>
                  <a:lnTo>
                    <a:pt x="272" y="466"/>
                  </a:lnTo>
                  <a:lnTo>
                    <a:pt x="272" y="467"/>
                  </a:lnTo>
                  <a:lnTo>
                    <a:pt x="271" y="468"/>
                  </a:lnTo>
                  <a:lnTo>
                    <a:pt x="270" y="469"/>
                  </a:lnTo>
                  <a:lnTo>
                    <a:pt x="270" y="470"/>
                  </a:lnTo>
                  <a:lnTo>
                    <a:pt x="269" y="470"/>
                  </a:lnTo>
                  <a:lnTo>
                    <a:pt x="269" y="471"/>
                  </a:lnTo>
                  <a:lnTo>
                    <a:pt x="268" y="472"/>
                  </a:lnTo>
                  <a:lnTo>
                    <a:pt x="267" y="472"/>
                  </a:lnTo>
                  <a:lnTo>
                    <a:pt x="267" y="472"/>
                  </a:lnTo>
                  <a:lnTo>
                    <a:pt x="266" y="472"/>
                  </a:lnTo>
                  <a:lnTo>
                    <a:pt x="265" y="472"/>
                  </a:lnTo>
                  <a:lnTo>
                    <a:pt x="262" y="472"/>
                  </a:lnTo>
                  <a:lnTo>
                    <a:pt x="260" y="473"/>
                  </a:lnTo>
                  <a:lnTo>
                    <a:pt x="259" y="473"/>
                  </a:lnTo>
                  <a:lnTo>
                    <a:pt x="259" y="473"/>
                  </a:lnTo>
                  <a:lnTo>
                    <a:pt x="258" y="473"/>
                  </a:lnTo>
                  <a:lnTo>
                    <a:pt x="257" y="474"/>
                  </a:lnTo>
                  <a:lnTo>
                    <a:pt x="257" y="474"/>
                  </a:lnTo>
                  <a:lnTo>
                    <a:pt x="257" y="475"/>
                  </a:lnTo>
                  <a:lnTo>
                    <a:pt x="256" y="476"/>
                  </a:lnTo>
                  <a:lnTo>
                    <a:pt x="256" y="477"/>
                  </a:lnTo>
                  <a:lnTo>
                    <a:pt x="255" y="478"/>
                  </a:lnTo>
                  <a:lnTo>
                    <a:pt x="255" y="479"/>
                  </a:lnTo>
                  <a:lnTo>
                    <a:pt x="255" y="479"/>
                  </a:lnTo>
                  <a:lnTo>
                    <a:pt x="254" y="480"/>
                  </a:lnTo>
                  <a:lnTo>
                    <a:pt x="254" y="480"/>
                  </a:lnTo>
                  <a:lnTo>
                    <a:pt x="253" y="481"/>
                  </a:lnTo>
                  <a:lnTo>
                    <a:pt x="252" y="481"/>
                  </a:lnTo>
                  <a:lnTo>
                    <a:pt x="251" y="482"/>
                  </a:lnTo>
                  <a:lnTo>
                    <a:pt x="249" y="482"/>
                  </a:lnTo>
                  <a:lnTo>
                    <a:pt x="248" y="482"/>
                  </a:lnTo>
                  <a:lnTo>
                    <a:pt x="248" y="482"/>
                  </a:lnTo>
                  <a:lnTo>
                    <a:pt x="247" y="483"/>
                  </a:lnTo>
                  <a:lnTo>
                    <a:pt x="246" y="483"/>
                  </a:lnTo>
                  <a:lnTo>
                    <a:pt x="245" y="484"/>
                  </a:lnTo>
                  <a:lnTo>
                    <a:pt x="244" y="486"/>
                  </a:lnTo>
                  <a:lnTo>
                    <a:pt x="243" y="487"/>
                  </a:lnTo>
                  <a:lnTo>
                    <a:pt x="242" y="487"/>
                  </a:lnTo>
                  <a:lnTo>
                    <a:pt x="241" y="487"/>
                  </a:lnTo>
                  <a:lnTo>
                    <a:pt x="241" y="488"/>
                  </a:lnTo>
                  <a:lnTo>
                    <a:pt x="240" y="488"/>
                  </a:lnTo>
                  <a:lnTo>
                    <a:pt x="239" y="488"/>
                  </a:lnTo>
                  <a:lnTo>
                    <a:pt x="239" y="488"/>
                  </a:lnTo>
                  <a:lnTo>
                    <a:pt x="238" y="488"/>
                  </a:lnTo>
                  <a:lnTo>
                    <a:pt x="237" y="487"/>
                  </a:lnTo>
                  <a:lnTo>
                    <a:pt x="235" y="486"/>
                  </a:lnTo>
                  <a:lnTo>
                    <a:pt x="231" y="485"/>
                  </a:lnTo>
                  <a:lnTo>
                    <a:pt x="228" y="483"/>
                  </a:lnTo>
                  <a:lnTo>
                    <a:pt x="221" y="479"/>
                  </a:lnTo>
                  <a:lnTo>
                    <a:pt x="219" y="478"/>
                  </a:lnTo>
                  <a:lnTo>
                    <a:pt x="218" y="478"/>
                  </a:lnTo>
                  <a:lnTo>
                    <a:pt x="217" y="478"/>
                  </a:lnTo>
                  <a:lnTo>
                    <a:pt x="216" y="477"/>
                  </a:lnTo>
                  <a:lnTo>
                    <a:pt x="212" y="477"/>
                  </a:lnTo>
                  <a:lnTo>
                    <a:pt x="211" y="477"/>
                  </a:lnTo>
                  <a:lnTo>
                    <a:pt x="209" y="476"/>
                  </a:lnTo>
                  <a:lnTo>
                    <a:pt x="205" y="475"/>
                  </a:lnTo>
                  <a:lnTo>
                    <a:pt x="200" y="473"/>
                  </a:lnTo>
                  <a:lnTo>
                    <a:pt x="197" y="472"/>
                  </a:lnTo>
                  <a:lnTo>
                    <a:pt x="196" y="472"/>
                  </a:lnTo>
                  <a:lnTo>
                    <a:pt x="195" y="472"/>
                  </a:lnTo>
                  <a:lnTo>
                    <a:pt x="193" y="472"/>
                  </a:lnTo>
                  <a:lnTo>
                    <a:pt x="190" y="472"/>
                  </a:lnTo>
                  <a:lnTo>
                    <a:pt x="188" y="472"/>
                  </a:lnTo>
                  <a:lnTo>
                    <a:pt x="187" y="471"/>
                  </a:lnTo>
                  <a:lnTo>
                    <a:pt x="183" y="471"/>
                  </a:lnTo>
                  <a:lnTo>
                    <a:pt x="181" y="471"/>
                  </a:lnTo>
                  <a:lnTo>
                    <a:pt x="179" y="470"/>
                  </a:lnTo>
                  <a:lnTo>
                    <a:pt x="178" y="470"/>
                  </a:lnTo>
                  <a:lnTo>
                    <a:pt x="177" y="470"/>
                  </a:lnTo>
                  <a:lnTo>
                    <a:pt x="173" y="471"/>
                  </a:lnTo>
                  <a:lnTo>
                    <a:pt x="172" y="471"/>
                  </a:lnTo>
                  <a:lnTo>
                    <a:pt x="171" y="471"/>
                  </a:lnTo>
                  <a:lnTo>
                    <a:pt x="170" y="471"/>
                  </a:lnTo>
                  <a:lnTo>
                    <a:pt x="169" y="471"/>
                  </a:lnTo>
                  <a:lnTo>
                    <a:pt x="168" y="471"/>
                  </a:lnTo>
                  <a:lnTo>
                    <a:pt x="168" y="471"/>
                  </a:lnTo>
                  <a:lnTo>
                    <a:pt x="165" y="470"/>
                  </a:lnTo>
                  <a:lnTo>
                    <a:pt x="164" y="469"/>
                  </a:lnTo>
                  <a:lnTo>
                    <a:pt x="163" y="469"/>
                  </a:lnTo>
                  <a:lnTo>
                    <a:pt x="160" y="468"/>
                  </a:lnTo>
                  <a:lnTo>
                    <a:pt x="159" y="468"/>
                  </a:lnTo>
                  <a:lnTo>
                    <a:pt x="158" y="467"/>
                  </a:lnTo>
                  <a:lnTo>
                    <a:pt x="158" y="467"/>
                  </a:lnTo>
                  <a:lnTo>
                    <a:pt x="156" y="466"/>
                  </a:lnTo>
                  <a:lnTo>
                    <a:pt x="154" y="464"/>
                  </a:lnTo>
                  <a:lnTo>
                    <a:pt x="154" y="464"/>
                  </a:lnTo>
                  <a:lnTo>
                    <a:pt x="153" y="463"/>
                  </a:lnTo>
                  <a:lnTo>
                    <a:pt x="152" y="462"/>
                  </a:lnTo>
                  <a:lnTo>
                    <a:pt x="152" y="461"/>
                  </a:lnTo>
                  <a:lnTo>
                    <a:pt x="151" y="461"/>
                  </a:lnTo>
                  <a:lnTo>
                    <a:pt x="151" y="460"/>
                  </a:lnTo>
                  <a:lnTo>
                    <a:pt x="150" y="457"/>
                  </a:lnTo>
                  <a:lnTo>
                    <a:pt x="149" y="457"/>
                  </a:lnTo>
                  <a:lnTo>
                    <a:pt x="149" y="456"/>
                  </a:lnTo>
                  <a:lnTo>
                    <a:pt x="149" y="456"/>
                  </a:lnTo>
                  <a:lnTo>
                    <a:pt x="148" y="455"/>
                  </a:lnTo>
                  <a:lnTo>
                    <a:pt x="147" y="454"/>
                  </a:lnTo>
                  <a:lnTo>
                    <a:pt x="146" y="454"/>
                  </a:lnTo>
                  <a:lnTo>
                    <a:pt x="145" y="453"/>
                  </a:lnTo>
                  <a:lnTo>
                    <a:pt x="145" y="452"/>
                  </a:lnTo>
                  <a:lnTo>
                    <a:pt x="144" y="451"/>
                  </a:lnTo>
                  <a:lnTo>
                    <a:pt x="144" y="451"/>
                  </a:lnTo>
                  <a:lnTo>
                    <a:pt x="144" y="450"/>
                  </a:lnTo>
                  <a:lnTo>
                    <a:pt x="144" y="449"/>
                  </a:lnTo>
                  <a:lnTo>
                    <a:pt x="144" y="449"/>
                  </a:lnTo>
                  <a:lnTo>
                    <a:pt x="144" y="448"/>
                  </a:lnTo>
                  <a:lnTo>
                    <a:pt x="144" y="448"/>
                  </a:lnTo>
                  <a:lnTo>
                    <a:pt x="144" y="447"/>
                  </a:lnTo>
                  <a:lnTo>
                    <a:pt x="144" y="447"/>
                  </a:lnTo>
                  <a:lnTo>
                    <a:pt x="145" y="446"/>
                  </a:lnTo>
                  <a:lnTo>
                    <a:pt x="145" y="445"/>
                  </a:lnTo>
                  <a:lnTo>
                    <a:pt x="146" y="445"/>
                  </a:lnTo>
                  <a:lnTo>
                    <a:pt x="147" y="444"/>
                  </a:lnTo>
                  <a:lnTo>
                    <a:pt x="148" y="443"/>
                  </a:lnTo>
                  <a:lnTo>
                    <a:pt x="149" y="443"/>
                  </a:lnTo>
                  <a:lnTo>
                    <a:pt x="151" y="442"/>
                  </a:lnTo>
                  <a:lnTo>
                    <a:pt x="152" y="442"/>
                  </a:lnTo>
                  <a:lnTo>
                    <a:pt x="152" y="441"/>
                  </a:lnTo>
                  <a:lnTo>
                    <a:pt x="153" y="441"/>
                  </a:lnTo>
                  <a:lnTo>
                    <a:pt x="153" y="440"/>
                  </a:lnTo>
                  <a:lnTo>
                    <a:pt x="153" y="440"/>
                  </a:lnTo>
                  <a:lnTo>
                    <a:pt x="154" y="439"/>
                  </a:lnTo>
                  <a:lnTo>
                    <a:pt x="154" y="438"/>
                  </a:lnTo>
                  <a:lnTo>
                    <a:pt x="154" y="438"/>
                  </a:lnTo>
                  <a:lnTo>
                    <a:pt x="154" y="437"/>
                  </a:lnTo>
                  <a:lnTo>
                    <a:pt x="154" y="436"/>
                  </a:lnTo>
                  <a:lnTo>
                    <a:pt x="154" y="435"/>
                  </a:lnTo>
                  <a:lnTo>
                    <a:pt x="153" y="434"/>
                  </a:lnTo>
                  <a:lnTo>
                    <a:pt x="153" y="434"/>
                  </a:lnTo>
                  <a:lnTo>
                    <a:pt x="152" y="433"/>
                  </a:lnTo>
                  <a:lnTo>
                    <a:pt x="152" y="433"/>
                  </a:lnTo>
                  <a:lnTo>
                    <a:pt x="149" y="431"/>
                  </a:lnTo>
                  <a:lnTo>
                    <a:pt x="148" y="430"/>
                  </a:lnTo>
                  <a:lnTo>
                    <a:pt x="147" y="429"/>
                  </a:lnTo>
                  <a:lnTo>
                    <a:pt x="146" y="428"/>
                  </a:lnTo>
                  <a:lnTo>
                    <a:pt x="144" y="425"/>
                  </a:lnTo>
                  <a:lnTo>
                    <a:pt x="143" y="424"/>
                  </a:lnTo>
                  <a:lnTo>
                    <a:pt x="142" y="422"/>
                  </a:lnTo>
                  <a:lnTo>
                    <a:pt x="140" y="421"/>
                  </a:lnTo>
                  <a:lnTo>
                    <a:pt x="139" y="420"/>
                  </a:lnTo>
                  <a:lnTo>
                    <a:pt x="139" y="419"/>
                  </a:lnTo>
                  <a:lnTo>
                    <a:pt x="138" y="419"/>
                  </a:lnTo>
                  <a:lnTo>
                    <a:pt x="137" y="418"/>
                  </a:lnTo>
                  <a:lnTo>
                    <a:pt x="136" y="418"/>
                  </a:lnTo>
                  <a:lnTo>
                    <a:pt x="136" y="418"/>
                  </a:lnTo>
                  <a:lnTo>
                    <a:pt x="134" y="417"/>
                  </a:lnTo>
                  <a:lnTo>
                    <a:pt x="131" y="416"/>
                  </a:lnTo>
                  <a:lnTo>
                    <a:pt x="129" y="415"/>
                  </a:lnTo>
                  <a:lnTo>
                    <a:pt x="128" y="414"/>
                  </a:lnTo>
                  <a:lnTo>
                    <a:pt x="126" y="414"/>
                  </a:lnTo>
                  <a:lnTo>
                    <a:pt x="125" y="414"/>
                  </a:lnTo>
                  <a:lnTo>
                    <a:pt x="125" y="413"/>
                  </a:lnTo>
                  <a:lnTo>
                    <a:pt x="121" y="410"/>
                  </a:lnTo>
                  <a:lnTo>
                    <a:pt x="120" y="410"/>
                  </a:lnTo>
                  <a:lnTo>
                    <a:pt x="119" y="409"/>
                  </a:lnTo>
                  <a:lnTo>
                    <a:pt x="118" y="408"/>
                  </a:lnTo>
                  <a:lnTo>
                    <a:pt x="117" y="407"/>
                  </a:lnTo>
                  <a:lnTo>
                    <a:pt x="116" y="405"/>
                  </a:lnTo>
                  <a:lnTo>
                    <a:pt x="111" y="401"/>
                  </a:lnTo>
                  <a:lnTo>
                    <a:pt x="110" y="399"/>
                  </a:lnTo>
                  <a:lnTo>
                    <a:pt x="108" y="398"/>
                  </a:lnTo>
                  <a:lnTo>
                    <a:pt x="107" y="396"/>
                  </a:lnTo>
                  <a:lnTo>
                    <a:pt x="105" y="395"/>
                  </a:lnTo>
                  <a:lnTo>
                    <a:pt x="104" y="394"/>
                  </a:lnTo>
                  <a:lnTo>
                    <a:pt x="103" y="393"/>
                  </a:lnTo>
                  <a:lnTo>
                    <a:pt x="101" y="392"/>
                  </a:lnTo>
                  <a:lnTo>
                    <a:pt x="100" y="391"/>
                  </a:lnTo>
                  <a:lnTo>
                    <a:pt x="99" y="390"/>
                  </a:lnTo>
                  <a:lnTo>
                    <a:pt x="97" y="390"/>
                  </a:lnTo>
                  <a:lnTo>
                    <a:pt x="96" y="389"/>
                  </a:lnTo>
                  <a:lnTo>
                    <a:pt x="94" y="389"/>
                  </a:lnTo>
                  <a:lnTo>
                    <a:pt x="88" y="387"/>
                  </a:lnTo>
                  <a:lnTo>
                    <a:pt x="86" y="386"/>
                  </a:lnTo>
                  <a:lnTo>
                    <a:pt x="85" y="386"/>
                  </a:lnTo>
                  <a:lnTo>
                    <a:pt x="84" y="385"/>
                  </a:lnTo>
                  <a:lnTo>
                    <a:pt x="83" y="385"/>
                  </a:lnTo>
                  <a:lnTo>
                    <a:pt x="82" y="384"/>
                  </a:lnTo>
                  <a:lnTo>
                    <a:pt x="82" y="384"/>
                  </a:lnTo>
                  <a:lnTo>
                    <a:pt x="81" y="383"/>
                  </a:lnTo>
                  <a:lnTo>
                    <a:pt x="81" y="383"/>
                  </a:lnTo>
                  <a:lnTo>
                    <a:pt x="81" y="382"/>
                  </a:lnTo>
                  <a:lnTo>
                    <a:pt x="80" y="380"/>
                  </a:lnTo>
                  <a:lnTo>
                    <a:pt x="80" y="379"/>
                  </a:lnTo>
                  <a:lnTo>
                    <a:pt x="80" y="376"/>
                  </a:lnTo>
                  <a:lnTo>
                    <a:pt x="79" y="375"/>
                  </a:lnTo>
                  <a:lnTo>
                    <a:pt x="79" y="374"/>
                  </a:lnTo>
                  <a:lnTo>
                    <a:pt x="79" y="373"/>
                  </a:lnTo>
                  <a:lnTo>
                    <a:pt x="78" y="371"/>
                  </a:lnTo>
                  <a:lnTo>
                    <a:pt x="76" y="366"/>
                  </a:lnTo>
                  <a:lnTo>
                    <a:pt x="75" y="365"/>
                  </a:lnTo>
                  <a:lnTo>
                    <a:pt x="75" y="364"/>
                  </a:lnTo>
                  <a:lnTo>
                    <a:pt x="74" y="362"/>
                  </a:lnTo>
                  <a:lnTo>
                    <a:pt x="73" y="362"/>
                  </a:lnTo>
                  <a:lnTo>
                    <a:pt x="73" y="361"/>
                  </a:lnTo>
                  <a:lnTo>
                    <a:pt x="72" y="361"/>
                  </a:lnTo>
                  <a:lnTo>
                    <a:pt x="72" y="360"/>
                  </a:lnTo>
                  <a:lnTo>
                    <a:pt x="70" y="359"/>
                  </a:lnTo>
                  <a:lnTo>
                    <a:pt x="69" y="358"/>
                  </a:lnTo>
                  <a:lnTo>
                    <a:pt x="68" y="357"/>
                  </a:lnTo>
                  <a:lnTo>
                    <a:pt x="68" y="357"/>
                  </a:lnTo>
                  <a:lnTo>
                    <a:pt x="67" y="356"/>
                  </a:lnTo>
                  <a:lnTo>
                    <a:pt x="67" y="355"/>
                  </a:lnTo>
                  <a:lnTo>
                    <a:pt x="66" y="355"/>
                  </a:lnTo>
                  <a:lnTo>
                    <a:pt x="66" y="353"/>
                  </a:lnTo>
                  <a:lnTo>
                    <a:pt x="65" y="352"/>
                  </a:lnTo>
                  <a:lnTo>
                    <a:pt x="65" y="351"/>
                  </a:lnTo>
                  <a:lnTo>
                    <a:pt x="63" y="347"/>
                  </a:lnTo>
                  <a:lnTo>
                    <a:pt x="62" y="343"/>
                  </a:lnTo>
                  <a:lnTo>
                    <a:pt x="61" y="341"/>
                  </a:lnTo>
                  <a:lnTo>
                    <a:pt x="60" y="340"/>
                  </a:lnTo>
                  <a:lnTo>
                    <a:pt x="60" y="339"/>
                  </a:lnTo>
                  <a:lnTo>
                    <a:pt x="59" y="338"/>
                  </a:lnTo>
                  <a:lnTo>
                    <a:pt x="58" y="337"/>
                  </a:lnTo>
                  <a:lnTo>
                    <a:pt x="58" y="336"/>
                  </a:lnTo>
                  <a:lnTo>
                    <a:pt x="57" y="336"/>
                  </a:lnTo>
                  <a:lnTo>
                    <a:pt x="57" y="336"/>
                  </a:lnTo>
                  <a:lnTo>
                    <a:pt x="56" y="336"/>
                  </a:lnTo>
                  <a:lnTo>
                    <a:pt x="55" y="336"/>
                  </a:lnTo>
                  <a:lnTo>
                    <a:pt x="52" y="336"/>
                  </a:lnTo>
                  <a:lnTo>
                    <a:pt x="51" y="336"/>
                  </a:lnTo>
                  <a:lnTo>
                    <a:pt x="49" y="336"/>
                  </a:lnTo>
                  <a:lnTo>
                    <a:pt x="46" y="336"/>
                  </a:lnTo>
                  <a:lnTo>
                    <a:pt x="45" y="336"/>
                  </a:lnTo>
                  <a:lnTo>
                    <a:pt x="44" y="336"/>
                  </a:lnTo>
                  <a:lnTo>
                    <a:pt x="43" y="336"/>
                  </a:lnTo>
                  <a:lnTo>
                    <a:pt x="42" y="335"/>
                  </a:lnTo>
                  <a:lnTo>
                    <a:pt x="41" y="335"/>
                  </a:lnTo>
                  <a:lnTo>
                    <a:pt x="40" y="335"/>
                  </a:lnTo>
                  <a:lnTo>
                    <a:pt x="40" y="334"/>
                  </a:lnTo>
                  <a:lnTo>
                    <a:pt x="39" y="334"/>
                  </a:lnTo>
                  <a:lnTo>
                    <a:pt x="38" y="333"/>
                  </a:lnTo>
                  <a:lnTo>
                    <a:pt x="35" y="330"/>
                  </a:lnTo>
                  <a:lnTo>
                    <a:pt x="34" y="329"/>
                  </a:lnTo>
                  <a:lnTo>
                    <a:pt x="34" y="328"/>
                  </a:lnTo>
                  <a:lnTo>
                    <a:pt x="33" y="326"/>
                  </a:lnTo>
                  <a:lnTo>
                    <a:pt x="32" y="324"/>
                  </a:lnTo>
                  <a:lnTo>
                    <a:pt x="30" y="321"/>
                  </a:lnTo>
                  <a:lnTo>
                    <a:pt x="29" y="318"/>
                  </a:lnTo>
                  <a:lnTo>
                    <a:pt x="28" y="315"/>
                  </a:lnTo>
                  <a:lnTo>
                    <a:pt x="26" y="311"/>
                  </a:lnTo>
                  <a:lnTo>
                    <a:pt x="25" y="308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2" y="306"/>
                  </a:lnTo>
                  <a:lnTo>
                    <a:pt x="20" y="306"/>
                  </a:lnTo>
                  <a:lnTo>
                    <a:pt x="20" y="306"/>
                  </a:lnTo>
                  <a:lnTo>
                    <a:pt x="19" y="305"/>
                  </a:lnTo>
                  <a:lnTo>
                    <a:pt x="18" y="305"/>
                  </a:lnTo>
                  <a:lnTo>
                    <a:pt x="17" y="304"/>
                  </a:lnTo>
                  <a:lnTo>
                    <a:pt x="16" y="303"/>
                  </a:lnTo>
                  <a:lnTo>
                    <a:pt x="16" y="302"/>
                  </a:lnTo>
                  <a:lnTo>
                    <a:pt x="14" y="300"/>
                  </a:lnTo>
                  <a:lnTo>
                    <a:pt x="13" y="299"/>
                  </a:lnTo>
                  <a:lnTo>
                    <a:pt x="13" y="299"/>
                  </a:lnTo>
                  <a:lnTo>
                    <a:pt x="12" y="298"/>
                  </a:lnTo>
                  <a:lnTo>
                    <a:pt x="12" y="297"/>
                  </a:lnTo>
                  <a:lnTo>
                    <a:pt x="11" y="297"/>
                  </a:lnTo>
                  <a:lnTo>
                    <a:pt x="10" y="296"/>
                  </a:lnTo>
                  <a:lnTo>
                    <a:pt x="9" y="296"/>
                  </a:lnTo>
                  <a:lnTo>
                    <a:pt x="9" y="296"/>
                  </a:lnTo>
                  <a:lnTo>
                    <a:pt x="8" y="296"/>
                  </a:lnTo>
                  <a:lnTo>
                    <a:pt x="7" y="295"/>
                  </a:lnTo>
                  <a:lnTo>
                    <a:pt x="5" y="295"/>
                  </a:lnTo>
                  <a:lnTo>
                    <a:pt x="4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2" y="295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1" y="290"/>
                  </a:lnTo>
                  <a:lnTo>
                    <a:pt x="0" y="289"/>
                  </a:lnTo>
                  <a:lnTo>
                    <a:pt x="0" y="288"/>
                  </a:lnTo>
                  <a:lnTo>
                    <a:pt x="0" y="287"/>
                  </a:lnTo>
                  <a:lnTo>
                    <a:pt x="0" y="286"/>
                  </a:lnTo>
                  <a:lnTo>
                    <a:pt x="0" y="285"/>
                  </a:lnTo>
                  <a:lnTo>
                    <a:pt x="0" y="284"/>
                  </a:lnTo>
                  <a:lnTo>
                    <a:pt x="0" y="282"/>
                  </a:lnTo>
                  <a:lnTo>
                    <a:pt x="0" y="281"/>
                  </a:lnTo>
                  <a:lnTo>
                    <a:pt x="0" y="279"/>
                  </a:lnTo>
                  <a:lnTo>
                    <a:pt x="0" y="278"/>
                  </a:lnTo>
                  <a:lnTo>
                    <a:pt x="1" y="276"/>
                  </a:lnTo>
                  <a:lnTo>
                    <a:pt x="1" y="274"/>
                  </a:lnTo>
                  <a:lnTo>
                    <a:pt x="2" y="272"/>
                  </a:lnTo>
                  <a:lnTo>
                    <a:pt x="2" y="271"/>
                  </a:lnTo>
                  <a:lnTo>
                    <a:pt x="2" y="270"/>
                  </a:lnTo>
                  <a:lnTo>
                    <a:pt x="3" y="269"/>
                  </a:lnTo>
                  <a:lnTo>
                    <a:pt x="4" y="266"/>
                  </a:lnTo>
                  <a:lnTo>
                    <a:pt x="5" y="264"/>
                  </a:lnTo>
                  <a:lnTo>
                    <a:pt x="6" y="263"/>
                  </a:lnTo>
                  <a:lnTo>
                    <a:pt x="7" y="262"/>
                  </a:lnTo>
                  <a:lnTo>
                    <a:pt x="8" y="261"/>
                  </a:lnTo>
                  <a:lnTo>
                    <a:pt x="8" y="261"/>
                  </a:lnTo>
                  <a:lnTo>
                    <a:pt x="9" y="260"/>
                  </a:lnTo>
                  <a:lnTo>
                    <a:pt x="9" y="260"/>
                  </a:lnTo>
                  <a:lnTo>
                    <a:pt x="10" y="259"/>
                  </a:lnTo>
                  <a:lnTo>
                    <a:pt x="11" y="259"/>
                  </a:lnTo>
                  <a:lnTo>
                    <a:pt x="13" y="258"/>
                  </a:lnTo>
                  <a:lnTo>
                    <a:pt x="14" y="258"/>
                  </a:lnTo>
                  <a:lnTo>
                    <a:pt x="14" y="257"/>
                  </a:lnTo>
                  <a:lnTo>
                    <a:pt x="15" y="256"/>
                  </a:lnTo>
                  <a:lnTo>
                    <a:pt x="16" y="256"/>
                  </a:lnTo>
                  <a:lnTo>
                    <a:pt x="17" y="255"/>
                  </a:lnTo>
                  <a:lnTo>
                    <a:pt x="17" y="255"/>
                  </a:lnTo>
                  <a:lnTo>
                    <a:pt x="17" y="254"/>
                  </a:lnTo>
                  <a:lnTo>
                    <a:pt x="18" y="253"/>
                  </a:lnTo>
                  <a:lnTo>
                    <a:pt x="18" y="253"/>
                  </a:lnTo>
                  <a:lnTo>
                    <a:pt x="18" y="252"/>
                  </a:lnTo>
                  <a:lnTo>
                    <a:pt x="18" y="251"/>
                  </a:lnTo>
                  <a:lnTo>
                    <a:pt x="18" y="250"/>
                  </a:lnTo>
                  <a:lnTo>
                    <a:pt x="18" y="249"/>
                  </a:lnTo>
                  <a:lnTo>
                    <a:pt x="18" y="248"/>
                  </a:lnTo>
                  <a:lnTo>
                    <a:pt x="18" y="246"/>
                  </a:lnTo>
                  <a:lnTo>
                    <a:pt x="17" y="242"/>
                  </a:lnTo>
                  <a:lnTo>
                    <a:pt x="17" y="241"/>
                  </a:lnTo>
                  <a:lnTo>
                    <a:pt x="17" y="239"/>
                  </a:lnTo>
                  <a:lnTo>
                    <a:pt x="15" y="237"/>
                  </a:lnTo>
                  <a:lnTo>
                    <a:pt x="15" y="235"/>
                  </a:lnTo>
                  <a:lnTo>
                    <a:pt x="15" y="234"/>
                  </a:lnTo>
                  <a:lnTo>
                    <a:pt x="15" y="233"/>
                  </a:lnTo>
                  <a:lnTo>
                    <a:pt x="15" y="233"/>
                  </a:lnTo>
                  <a:lnTo>
                    <a:pt x="15" y="232"/>
                  </a:lnTo>
                  <a:lnTo>
                    <a:pt x="16" y="229"/>
                  </a:lnTo>
                  <a:lnTo>
                    <a:pt x="16" y="228"/>
                  </a:lnTo>
                  <a:lnTo>
                    <a:pt x="16" y="226"/>
                  </a:lnTo>
                  <a:lnTo>
                    <a:pt x="16" y="223"/>
                  </a:lnTo>
                  <a:lnTo>
                    <a:pt x="17" y="221"/>
                  </a:lnTo>
                  <a:lnTo>
                    <a:pt x="17" y="219"/>
                  </a:lnTo>
                  <a:lnTo>
                    <a:pt x="18" y="215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9" y="214"/>
                  </a:lnTo>
                  <a:lnTo>
                    <a:pt x="19" y="214"/>
                  </a:lnTo>
                  <a:lnTo>
                    <a:pt x="20" y="214"/>
                  </a:lnTo>
                  <a:lnTo>
                    <a:pt x="21" y="214"/>
                  </a:lnTo>
                  <a:lnTo>
                    <a:pt x="24" y="214"/>
                  </a:lnTo>
                  <a:lnTo>
                    <a:pt x="25" y="215"/>
                  </a:lnTo>
                  <a:lnTo>
                    <a:pt x="26" y="215"/>
                  </a:lnTo>
                  <a:lnTo>
                    <a:pt x="27" y="215"/>
                  </a:lnTo>
                  <a:lnTo>
                    <a:pt x="28" y="215"/>
                  </a:lnTo>
                  <a:lnTo>
                    <a:pt x="29" y="214"/>
                  </a:lnTo>
                  <a:lnTo>
                    <a:pt x="29" y="214"/>
                  </a:lnTo>
                  <a:lnTo>
                    <a:pt x="30" y="214"/>
                  </a:lnTo>
                  <a:lnTo>
                    <a:pt x="31" y="214"/>
                  </a:lnTo>
                  <a:lnTo>
                    <a:pt x="32" y="213"/>
                  </a:lnTo>
                  <a:lnTo>
                    <a:pt x="33" y="212"/>
                  </a:lnTo>
                  <a:lnTo>
                    <a:pt x="35" y="211"/>
                  </a:lnTo>
                  <a:lnTo>
                    <a:pt x="38" y="209"/>
                  </a:lnTo>
                  <a:lnTo>
                    <a:pt x="38" y="208"/>
                  </a:lnTo>
                  <a:lnTo>
                    <a:pt x="40" y="208"/>
                  </a:lnTo>
                  <a:lnTo>
                    <a:pt x="41" y="207"/>
                  </a:lnTo>
                  <a:lnTo>
                    <a:pt x="44" y="206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6" y="205"/>
                  </a:lnTo>
                  <a:lnTo>
                    <a:pt x="46" y="204"/>
                  </a:lnTo>
                  <a:lnTo>
                    <a:pt x="47" y="201"/>
                  </a:lnTo>
                  <a:lnTo>
                    <a:pt x="48" y="198"/>
                  </a:lnTo>
                  <a:lnTo>
                    <a:pt x="48" y="197"/>
                  </a:lnTo>
                  <a:lnTo>
                    <a:pt x="49" y="196"/>
                  </a:lnTo>
                  <a:lnTo>
                    <a:pt x="49" y="195"/>
                  </a:lnTo>
                  <a:lnTo>
                    <a:pt x="50" y="194"/>
                  </a:lnTo>
                  <a:lnTo>
                    <a:pt x="51" y="193"/>
                  </a:lnTo>
                  <a:lnTo>
                    <a:pt x="52" y="192"/>
                  </a:lnTo>
                  <a:lnTo>
                    <a:pt x="53" y="191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3" y="189"/>
                  </a:lnTo>
                  <a:lnTo>
                    <a:pt x="53" y="188"/>
                  </a:lnTo>
                  <a:lnTo>
                    <a:pt x="53" y="187"/>
                  </a:lnTo>
                  <a:lnTo>
                    <a:pt x="53" y="186"/>
                  </a:lnTo>
                  <a:lnTo>
                    <a:pt x="52" y="185"/>
                  </a:lnTo>
                  <a:lnTo>
                    <a:pt x="52" y="185"/>
                  </a:lnTo>
                  <a:lnTo>
                    <a:pt x="52" y="184"/>
                  </a:lnTo>
                  <a:lnTo>
                    <a:pt x="50" y="182"/>
                  </a:lnTo>
                  <a:lnTo>
                    <a:pt x="50" y="181"/>
                  </a:lnTo>
                  <a:lnTo>
                    <a:pt x="49" y="179"/>
                  </a:lnTo>
                  <a:lnTo>
                    <a:pt x="48" y="178"/>
                  </a:lnTo>
                  <a:lnTo>
                    <a:pt x="48" y="177"/>
                  </a:lnTo>
                  <a:lnTo>
                    <a:pt x="48" y="176"/>
                  </a:lnTo>
                  <a:lnTo>
                    <a:pt x="48" y="176"/>
                  </a:lnTo>
                  <a:lnTo>
                    <a:pt x="48" y="175"/>
                  </a:lnTo>
                  <a:lnTo>
                    <a:pt x="48" y="174"/>
                  </a:lnTo>
                  <a:lnTo>
                    <a:pt x="49" y="174"/>
                  </a:lnTo>
                  <a:lnTo>
                    <a:pt x="49" y="173"/>
                  </a:lnTo>
                  <a:lnTo>
                    <a:pt x="49" y="172"/>
                  </a:lnTo>
                  <a:lnTo>
                    <a:pt x="50" y="172"/>
                  </a:lnTo>
                  <a:lnTo>
                    <a:pt x="51" y="171"/>
                  </a:lnTo>
                  <a:lnTo>
                    <a:pt x="52" y="169"/>
                  </a:lnTo>
                  <a:lnTo>
                    <a:pt x="53" y="169"/>
                  </a:lnTo>
                  <a:lnTo>
                    <a:pt x="53" y="168"/>
                  </a:lnTo>
                  <a:lnTo>
                    <a:pt x="55" y="168"/>
                  </a:lnTo>
                  <a:lnTo>
                    <a:pt x="55" y="167"/>
                  </a:lnTo>
                  <a:lnTo>
                    <a:pt x="56" y="167"/>
                  </a:lnTo>
                  <a:lnTo>
                    <a:pt x="56" y="167"/>
                  </a:lnTo>
                  <a:lnTo>
                    <a:pt x="56" y="166"/>
                  </a:lnTo>
                  <a:lnTo>
                    <a:pt x="57" y="166"/>
                  </a:lnTo>
                  <a:lnTo>
                    <a:pt x="57" y="165"/>
                  </a:lnTo>
                  <a:lnTo>
                    <a:pt x="57" y="164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2"/>
                  </a:lnTo>
                  <a:lnTo>
                    <a:pt x="55" y="161"/>
                  </a:lnTo>
                  <a:lnTo>
                    <a:pt x="54" y="161"/>
                  </a:lnTo>
                  <a:lnTo>
                    <a:pt x="54" y="160"/>
                  </a:lnTo>
                  <a:lnTo>
                    <a:pt x="53" y="159"/>
                  </a:lnTo>
                  <a:lnTo>
                    <a:pt x="53" y="159"/>
                  </a:lnTo>
                  <a:lnTo>
                    <a:pt x="53" y="158"/>
                  </a:lnTo>
                  <a:lnTo>
                    <a:pt x="52" y="158"/>
                  </a:lnTo>
                  <a:lnTo>
                    <a:pt x="52" y="157"/>
                  </a:lnTo>
                  <a:lnTo>
                    <a:pt x="52" y="156"/>
                  </a:lnTo>
                  <a:lnTo>
                    <a:pt x="52" y="156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2" y="154"/>
                  </a:lnTo>
                  <a:lnTo>
                    <a:pt x="52" y="154"/>
                  </a:lnTo>
                  <a:lnTo>
                    <a:pt x="53" y="154"/>
                  </a:lnTo>
                  <a:lnTo>
                    <a:pt x="53" y="153"/>
                  </a:lnTo>
                  <a:lnTo>
                    <a:pt x="53" y="153"/>
                  </a:lnTo>
                  <a:lnTo>
                    <a:pt x="54" y="153"/>
                  </a:lnTo>
                  <a:lnTo>
                    <a:pt x="56" y="152"/>
                  </a:lnTo>
                  <a:lnTo>
                    <a:pt x="56" y="151"/>
                  </a:lnTo>
                  <a:lnTo>
                    <a:pt x="57" y="151"/>
                  </a:lnTo>
                  <a:lnTo>
                    <a:pt x="57" y="151"/>
                  </a:lnTo>
                  <a:lnTo>
                    <a:pt x="57" y="150"/>
                  </a:lnTo>
                  <a:lnTo>
                    <a:pt x="58" y="150"/>
                  </a:lnTo>
                  <a:lnTo>
                    <a:pt x="58" y="149"/>
                  </a:lnTo>
                  <a:lnTo>
                    <a:pt x="58" y="149"/>
                  </a:lnTo>
                  <a:lnTo>
                    <a:pt x="59" y="148"/>
                  </a:lnTo>
                  <a:lnTo>
                    <a:pt x="59" y="147"/>
                  </a:lnTo>
                  <a:lnTo>
                    <a:pt x="59" y="147"/>
                  </a:lnTo>
                  <a:lnTo>
                    <a:pt x="59" y="146"/>
                  </a:lnTo>
                  <a:lnTo>
                    <a:pt x="58" y="145"/>
                  </a:lnTo>
                  <a:lnTo>
                    <a:pt x="58" y="144"/>
                  </a:lnTo>
                  <a:lnTo>
                    <a:pt x="58" y="143"/>
                  </a:lnTo>
                  <a:lnTo>
                    <a:pt x="58" y="142"/>
                  </a:lnTo>
                  <a:lnTo>
                    <a:pt x="59" y="141"/>
                  </a:lnTo>
                  <a:lnTo>
                    <a:pt x="59" y="140"/>
                  </a:lnTo>
                  <a:lnTo>
                    <a:pt x="59" y="139"/>
                  </a:lnTo>
                  <a:lnTo>
                    <a:pt x="59" y="139"/>
                  </a:lnTo>
                  <a:lnTo>
                    <a:pt x="60" y="138"/>
                  </a:lnTo>
                  <a:lnTo>
                    <a:pt x="62" y="136"/>
                  </a:lnTo>
                  <a:lnTo>
                    <a:pt x="62" y="135"/>
                  </a:lnTo>
                  <a:lnTo>
                    <a:pt x="64" y="135"/>
                  </a:lnTo>
                  <a:lnTo>
                    <a:pt x="66" y="133"/>
                  </a:lnTo>
                  <a:lnTo>
                    <a:pt x="69" y="131"/>
                  </a:lnTo>
                  <a:lnTo>
                    <a:pt x="69" y="130"/>
                  </a:lnTo>
                  <a:lnTo>
                    <a:pt x="70" y="130"/>
                  </a:lnTo>
                  <a:lnTo>
                    <a:pt x="70" y="129"/>
                  </a:lnTo>
                  <a:lnTo>
                    <a:pt x="71" y="128"/>
                  </a:lnTo>
                  <a:lnTo>
                    <a:pt x="71" y="126"/>
                  </a:lnTo>
                  <a:lnTo>
                    <a:pt x="72" y="124"/>
                  </a:lnTo>
                  <a:lnTo>
                    <a:pt x="73" y="122"/>
                  </a:lnTo>
                  <a:lnTo>
                    <a:pt x="74" y="121"/>
                  </a:lnTo>
                  <a:lnTo>
                    <a:pt x="75" y="119"/>
                  </a:lnTo>
                  <a:lnTo>
                    <a:pt x="76" y="118"/>
                  </a:lnTo>
                  <a:lnTo>
                    <a:pt x="76" y="117"/>
                  </a:lnTo>
                  <a:lnTo>
                    <a:pt x="76" y="116"/>
                  </a:lnTo>
                  <a:lnTo>
                    <a:pt x="77" y="114"/>
                  </a:lnTo>
                  <a:lnTo>
                    <a:pt x="77" y="113"/>
                  </a:lnTo>
                  <a:lnTo>
                    <a:pt x="77" y="112"/>
                  </a:lnTo>
                  <a:lnTo>
                    <a:pt x="77" y="111"/>
                  </a:lnTo>
                  <a:lnTo>
                    <a:pt x="77" y="110"/>
                  </a:lnTo>
                  <a:lnTo>
                    <a:pt x="76" y="110"/>
                  </a:lnTo>
                  <a:lnTo>
                    <a:pt x="76" y="109"/>
                  </a:lnTo>
                  <a:lnTo>
                    <a:pt x="74" y="107"/>
                  </a:lnTo>
                  <a:lnTo>
                    <a:pt x="74" y="106"/>
                  </a:lnTo>
                  <a:lnTo>
                    <a:pt x="73" y="105"/>
                  </a:lnTo>
                  <a:lnTo>
                    <a:pt x="71" y="102"/>
                  </a:lnTo>
                  <a:lnTo>
                    <a:pt x="71" y="101"/>
                  </a:lnTo>
                  <a:lnTo>
                    <a:pt x="71" y="99"/>
                  </a:lnTo>
                  <a:lnTo>
                    <a:pt x="70" y="98"/>
                  </a:lnTo>
                  <a:lnTo>
                    <a:pt x="70" y="96"/>
                  </a:lnTo>
                  <a:lnTo>
                    <a:pt x="70" y="95"/>
                  </a:lnTo>
                  <a:lnTo>
                    <a:pt x="70" y="93"/>
                  </a:lnTo>
                  <a:lnTo>
                    <a:pt x="71" y="90"/>
                  </a:lnTo>
                  <a:lnTo>
                    <a:pt x="71" y="89"/>
                  </a:lnTo>
                  <a:lnTo>
                    <a:pt x="71" y="88"/>
                  </a:lnTo>
                  <a:lnTo>
                    <a:pt x="72" y="87"/>
                  </a:lnTo>
                  <a:lnTo>
                    <a:pt x="72" y="86"/>
                  </a:lnTo>
                  <a:lnTo>
                    <a:pt x="73" y="84"/>
                  </a:lnTo>
                  <a:lnTo>
                    <a:pt x="75" y="81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5" y="79"/>
                  </a:lnTo>
                  <a:lnTo>
                    <a:pt x="75" y="78"/>
                  </a:lnTo>
                  <a:lnTo>
                    <a:pt x="75" y="77"/>
                  </a:lnTo>
                  <a:lnTo>
                    <a:pt x="74" y="75"/>
                  </a:lnTo>
                  <a:lnTo>
                    <a:pt x="73" y="73"/>
                  </a:lnTo>
                  <a:lnTo>
                    <a:pt x="72" y="72"/>
                  </a:lnTo>
                  <a:lnTo>
                    <a:pt x="72" y="71"/>
                  </a:lnTo>
                  <a:lnTo>
                    <a:pt x="71" y="68"/>
                  </a:lnTo>
                  <a:lnTo>
                    <a:pt x="71" y="67"/>
                  </a:lnTo>
                  <a:lnTo>
                    <a:pt x="71" y="63"/>
                  </a:lnTo>
                  <a:lnTo>
                    <a:pt x="71" y="62"/>
                  </a:lnTo>
                  <a:lnTo>
                    <a:pt x="71" y="61"/>
                  </a:lnTo>
                  <a:lnTo>
                    <a:pt x="71" y="59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69" y="57"/>
                  </a:lnTo>
                  <a:lnTo>
                    <a:pt x="68" y="56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4"/>
                  </a:lnTo>
                  <a:lnTo>
                    <a:pt x="68" y="54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68" y="52"/>
                  </a:lnTo>
                  <a:lnTo>
                    <a:pt x="69" y="47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70" y="45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4" y="44"/>
                  </a:lnTo>
                  <a:lnTo>
                    <a:pt x="76" y="44"/>
                  </a:lnTo>
                  <a:lnTo>
                    <a:pt x="77" y="44"/>
                  </a:lnTo>
                  <a:lnTo>
                    <a:pt x="80" y="43"/>
                  </a:lnTo>
                  <a:lnTo>
                    <a:pt x="83" y="42"/>
                  </a:lnTo>
                  <a:lnTo>
                    <a:pt x="85" y="41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90" y="40"/>
                  </a:lnTo>
                  <a:lnTo>
                    <a:pt x="90" y="41"/>
                  </a:lnTo>
                  <a:lnTo>
                    <a:pt x="92" y="43"/>
                  </a:lnTo>
                  <a:lnTo>
                    <a:pt x="93" y="43"/>
                  </a:lnTo>
                  <a:lnTo>
                    <a:pt x="93" y="43"/>
                  </a:lnTo>
                  <a:lnTo>
                    <a:pt x="94" y="43"/>
                  </a:lnTo>
                  <a:lnTo>
                    <a:pt x="95" y="44"/>
                  </a:lnTo>
                  <a:lnTo>
                    <a:pt x="95" y="44"/>
                  </a:lnTo>
                  <a:lnTo>
                    <a:pt x="96" y="44"/>
                  </a:lnTo>
                  <a:lnTo>
                    <a:pt x="96" y="43"/>
                  </a:lnTo>
                  <a:lnTo>
                    <a:pt x="97" y="43"/>
                  </a:lnTo>
                  <a:lnTo>
                    <a:pt x="98" y="43"/>
                  </a:lnTo>
                  <a:lnTo>
                    <a:pt x="100" y="41"/>
                  </a:lnTo>
                  <a:lnTo>
                    <a:pt x="101" y="41"/>
                  </a:lnTo>
                  <a:lnTo>
                    <a:pt x="102" y="41"/>
                  </a:lnTo>
                  <a:lnTo>
                    <a:pt x="103" y="41"/>
                  </a:lnTo>
                  <a:lnTo>
                    <a:pt x="104" y="41"/>
                  </a:lnTo>
                  <a:lnTo>
                    <a:pt x="104" y="41"/>
                  </a:lnTo>
                  <a:lnTo>
                    <a:pt x="105" y="41"/>
                  </a:lnTo>
                  <a:lnTo>
                    <a:pt x="105" y="42"/>
                  </a:lnTo>
                  <a:lnTo>
                    <a:pt x="108" y="43"/>
                  </a:lnTo>
                  <a:lnTo>
                    <a:pt x="108" y="44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1" y="45"/>
                  </a:lnTo>
                  <a:lnTo>
                    <a:pt x="111" y="46"/>
                  </a:lnTo>
                  <a:lnTo>
                    <a:pt x="112" y="46"/>
                  </a:lnTo>
                  <a:lnTo>
                    <a:pt x="112" y="47"/>
                  </a:lnTo>
                  <a:lnTo>
                    <a:pt x="113" y="47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6" y="48"/>
                  </a:lnTo>
                  <a:lnTo>
                    <a:pt x="117" y="49"/>
                  </a:lnTo>
                  <a:lnTo>
                    <a:pt x="118" y="49"/>
                  </a:lnTo>
                  <a:lnTo>
                    <a:pt x="119" y="49"/>
                  </a:lnTo>
                  <a:lnTo>
                    <a:pt x="120" y="49"/>
                  </a:lnTo>
                  <a:lnTo>
                    <a:pt x="121" y="49"/>
                  </a:lnTo>
                  <a:lnTo>
                    <a:pt x="122" y="48"/>
                  </a:lnTo>
                  <a:lnTo>
                    <a:pt x="123" y="48"/>
                  </a:lnTo>
                  <a:lnTo>
                    <a:pt x="123" y="47"/>
                  </a:lnTo>
                  <a:lnTo>
                    <a:pt x="125" y="46"/>
                  </a:lnTo>
                  <a:lnTo>
                    <a:pt x="126" y="46"/>
                  </a:lnTo>
                  <a:lnTo>
                    <a:pt x="127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32" y="44"/>
                  </a:lnTo>
                  <a:lnTo>
                    <a:pt x="133" y="44"/>
                  </a:lnTo>
                  <a:lnTo>
                    <a:pt x="134" y="44"/>
                  </a:lnTo>
                  <a:lnTo>
                    <a:pt x="134" y="44"/>
                  </a:lnTo>
                  <a:lnTo>
                    <a:pt x="135" y="43"/>
                  </a:lnTo>
                  <a:lnTo>
                    <a:pt x="136" y="43"/>
                  </a:lnTo>
                  <a:lnTo>
                    <a:pt x="138" y="41"/>
                  </a:lnTo>
                  <a:lnTo>
                    <a:pt x="139" y="41"/>
                  </a:lnTo>
                  <a:lnTo>
                    <a:pt x="139" y="41"/>
                  </a:lnTo>
                  <a:lnTo>
                    <a:pt x="141" y="40"/>
                  </a:lnTo>
                  <a:lnTo>
                    <a:pt x="141" y="40"/>
                  </a:lnTo>
                  <a:lnTo>
                    <a:pt x="142" y="40"/>
                  </a:lnTo>
                  <a:lnTo>
                    <a:pt x="142" y="39"/>
                  </a:lnTo>
                  <a:lnTo>
                    <a:pt x="143" y="39"/>
                  </a:lnTo>
                  <a:lnTo>
                    <a:pt x="143" y="38"/>
                  </a:lnTo>
                  <a:lnTo>
                    <a:pt x="144" y="37"/>
                  </a:lnTo>
                  <a:lnTo>
                    <a:pt x="144" y="36"/>
                  </a:lnTo>
                  <a:lnTo>
                    <a:pt x="145" y="35"/>
                  </a:lnTo>
                  <a:lnTo>
                    <a:pt x="146" y="33"/>
                  </a:lnTo>
                  <a:lnTo>
                    <a:pt x="147" y="31"/>
                  </a:lnTo>
                  <a:lnTo>
                    <a:pt x="147" y="30"/>
                  </a:lnTo>
                  <a:lnTo>
                    <a:pt x="147" y="30"/>
                  </a:lnTo>
                  <a:lnTo>
                    <a:pt x="148" y="29"/>
                  </a:lnTo>
                  <a:lnTo>
                    <a:pt x="148" y="29"/>
                  </a:lnTo>
                  <a:lnTo>
                    <a:pt x="149" y="28"/>
                  </a:lnTo>
                  <a:lnTo>
                    <a:pt x="150" y="28"/>
                  </a:lnTo>
                  <a:lnTo>
                    <a:pt x="153" y="26"/>
                  </a:lnTo>
                  <a:lnTo>
                    <a:pt x="156" y="25"/>
                  </a:lnTo>
                  <a:lnTo>
                    <a:pt x="157" y="24"/>
                  </a:lnTo>
                  <a:lnTo>
                    <a:pt x="158" y="24"/>
                  </a:lnTo>
                  <a:lnTo>
                    <a:pt x="160" y="23"/>
                  </a:lnTo>
                  <a:lnTo>
                    <a:pt x="162" y="23"/>
                  </a:lnTo>
                  <a:lnTo>
                    <a:pt x="162" y="23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Freeform 12">
              <a:extLst>
                <a:ext uri="{FF2B5EF4-FFF2-40B4-BE49-F238E27FC236}">
                  <a16:creationId xmlns:a16="http://schemas.microsoft.com/office/drawing/2014/main" id="{5EF9D8DE-1D1D-84C1-FE53-CEA74FCA13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0" y="3533"/>
              <a:ext cx="462" cy="417"/>
            </a:xfrm>
            <a:custGeom>
              <a:avLst/>
              <a:gdLst>
                <a:gd name="T0" fmla="*/ 4 w 462"/>
                <a:gd name="T1" fmla="*/ 37 h 417"/>
                <a:gd name="T2" fmla="*/ 26 w 462"/>
                <a:gd name="T3" fmla="*/ 36 h 417"/>
                <a:gd name="T4" fmla="*/ 49 w 462"/>
                <a:gd name="T5" fmla="*/ 26 h 417"/>
                <a:gd name="T6" fmla="*/ 68 w 462"/>
                <a:gd name="T7" fmla="*/ 26 h 417"/>
                <a:gd name="T8" fmla="*/ 80 w 462"/>
                <a:gd name="T9" fmla="*/ 37 h 417"/>
                <a:gd name="T10" fmla="*/ 96 w 462"/>
                <a:gd name="T11" fmla="*/ 35 h 417"/>
                <a:gd name="T12" fmla="*/ 103 w 462"/>
                <a:gd name="T13" fmla="*/ 28 h 417"/>
                <a:gd name="T14" fmla="*/ 121 w 462"/>
                <a:gd name="T15" fmla="*/ 36 h 417"/>
                <a:gd name="T16" fmla="*/ 137 w 462"/>
                <a:gd name="T17" fmla="*/ 36 h 417"/>
                <a:gd name="T18" fmla="*/ 157 w 462"/>
                <a:gd name="T19" fmla="*/ 36 h 417"/>
                <a:gd name="T20" fmla="*/ 167 w 462"/>
                <a:gd name="T21" fmla="*/ 45 h 417"/>
                <a:gd name="T22" fmla="*/ 180 w 462"/>
                <a:gd name="T23" fmla="*/ 43 h 417"/>
                <a:gd name="T24" fmla="*/ 201 w 462"/>
                <a:gd name="T25" fmla="*/ 29 h 417"/>
                <a:gd name="T26" fmla="*/ 201 w 462"/>
                <a:gd name="T27" fmla="*/ 10 h 417"/>
                <a:gd name="T28" fmla="*/ 213 w 462"/>
                <a:gd name="T29" fmla="*/ 1 h 417"/>
                <a:gd name="T30" fmla="*/ 235 w 462"/>
                <a:gd name="T31" fmla="*/ 15 h 417"/>
                <a:gd name="T32" fmla="*/ 245 w 462"/>
                <a:gd name="T33" fmla="*/ 18 h 417"/>
                <a:gd name="T34" fmla="*/ 259 w 462"/>
                <a:gd name="T35" fmla="*/ 31 h 417"/>
                <a:gd name="T36" fmla="*/ 260 w 462"/>
                <a:gd name="T37" fmla="*/ 42 h 417"/>
                <a:gd name="T38" fmla="*/ 258 w 462"/>
                <a:gd name="T39" fmla="*/ 53 h 417"/>
                <a:gd name="T40" fmla="*/ 257 w 462"/>
                <a:gd name="T41" fmla="*/ 77 h 417"/>
                <a:gd name="T42" fmla="*/ 250 w 462"/>
                <a:gd name="T43" fmla="*/ 103 h 417"/>
                <a:gd name="T44" fmla="*/ 259 w 462"/>
                <a:gd name="T45" fmla="*/ 119 h 417"/>
                <a:gd name="T46" fmla="*/ 255 w 462"/>
                <a:gd name="T47" fmla="*/ 132 h 417"/>
                <a:gd name="T48" fmla="*/ 277 w 462"/>
                <a:gd name="T49" fmla="*/ 155 h 417"/>
                <a:gd name="T50" fmla="*/ 296 w 462"/>
                <a:gd name="T51" fmla="*/ 154 h 417"/>
                <a:gd name="T52" fmla="*/ 311 w 462"/>
                <a:gd name="T53" fmla="*/ 164 h 417"/>
                <a:gd name="T54" fmla="*/ 311 w 462"/>
                <a:gd name="T55" fmla="*/ 171 h 417"/>
                <a:gd name="T56" fmla="*/ 327 w 462"/>
                <a:gd name="T57" fmla="*/ 181 h 417"/>
                <a:gd name="T58" fmla="*/ 348 w 462"/>
                <a:gd name="T59" fmla="*/ 180 h 417"/>
                <a:gd name="T60" fmla="*/ 371 w 462"/>
                <a:gd name="T61" fmla="*/ 185 h 417"/>
                <a:gd name="T62" fmla="*/ 386 w 462"/>
                <a:gd name="T63" fmla="*/ 192 h 417"/>
                <a:gd name="T64" fmla="*/ 391 w 462"/>
                <a:gd name="T65" fmla="*/ 214 h 417"/>
                <a:gd name="T66" fmla="*/ 415 w 462"/>
                <a:gd name="T67" fmla="*/ 225 h 417"/>
                <a:gd name="T68" fmla="*/ 440 w 462"/>
                <a:gd name="T69" fmla="*/ 225 h 417"/>
                <a:gd name="T70" fmla="*/ 452 w 462"/>
                <a:gd name="T71" fmla="*/ 226 h 417"/>
                <a:gd name="T72" fmla="*/ 459 w 462"/>
                <a:gd name="T73" fmla="*/ 237 h 417"/>
                <a:gd name="T74" fmla="*/ 456 w 462"/>
                <a:gd name="T75" fmla="*/ 250 h 417"/>
                <a:gd name="T76" fmla="*/ 446 w 462"/>
                <a:gd name="T77" fmla="*/ 264 h 417"/>
                <a:gd name="T78" fmla="*/ 432 w 462"/>
                <a:gd name="T79" fmla="*/ 284 h 417"/>
                <a:gd name="T80" fmla="*/ 441 w 462"/>
                <a:gd name="T81" fmla="*/ 289 h 417"/>
                <a:gd name="T82" fmla="*/ 458 w 462"/>
                <a:gd name="T83" fmla="*/ 303 h 417"/>
                <a:gd name="T84" fmla="*/ 455 w 462"/>
                <a:gd name="T85" fmla="*/ 313 h 417"/>
                <a:gd name="T86" fmla="*/ 449 w 462"/>
                <a:gd name="T87" fmla="*/ 320 h 417"/>
                <a:gd name="T88" fmla="*/ 431 w 462"/>
                <a:gd name="T89" fmla="*/ 312 h 417"/>
                <a:gd name="T90" fmla="*/ 407 w 462"/>
                <a:gd name="T91" fmla="*/ 302 h 417"/>
                <a:gd name="T92" fmla="*/ 375 w 462"/>
                <a:gd name="T93" fmla="*/ 292 h 417"/>
                <a:gd name="T94" fmla="*/ 364 w 462"/>
                <a:gd name="T95" fmla="*/ 298 h 417"/>
                <a:gd name="T96" fmla="*/ 341 w 462"/>
                <a:gd name="T97" fmla="*/ 308 h 417"/>
                <a:gd name="T98" fmla="*/ 331 w 462"/>
                <a:gd name="T99" fmla="*/ 306 h 417"/>
                <a:gd name="T100" fmla="*/ 323 w 462"/>
                <a:gd name="T101" fmla="*/ 286 h 417"/>
                <a:gd name="T102" fmla="*/ 300 w 462"/>
                <a:gd name="T103" fmla="*/ 280 h 417"/>
                <a:gd name="T104" fmla="*/ 282 w 462"/>
                <a:gd name="T105" fmla="*/ 279 h 417"/>
                <a:gd name="T106" fmla="*/ 275 w 462"/>
                <a:gd name="T107" fmla="*/ 298 h 417"/>
                <a:gd name="T108" fmla="*/ 276 w 462"/>
                <a:gd name="T109" fmla="*/ 340 h 417"/>
                <a:gd name="T110" fmla="*/ 270 w 462"/>
                <a:gd name="T111" fmla="*/ 370 h 417"/>
                <a:gd name="T112" fmla="*/ 273 w 462"/>
                <a:gd name="T113" fmla="*/ 390 h 417"/>
                <a:gd name="T114" fmla="*/ 247 w 462"/>
                <a:gd name="T115" fmla="*/ 389 h 417"/>
                <a:gd name="T116" fmla="*/ 225 w 462"/>
                <a:gd name="T117" fmla="*/ 388 h 417"/>
                <a:gd name="T118" fmla="*/ 215 w 462"/>
                <a:gd name="T119" fmla="*/ 414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62" h="417">
                  <a:moveTo>
                    <a:pt x="0" y="23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5"/>
                  </a:lnTo>
                  <a:lnTo>
                    <a:pt x="1" y="29"/>
                  </a:lnTo>
                  <a:lnTo>
                    <a:pt x="1" y="31"/>
                  </a:lnTo>
                  <a:lnTo>
                    <a:pt x="1" y="32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4" y="37"/>
                  </a:lnTo>
                  <a:lnTo>
                    <a:pt x="5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8" y="38"/>
                  </a:lnTo>
                  <a:lnTo>
                    <a:pt x="9" y="37"/>
                  </a:lnTo>
                  <a:lnTo>
                    <a:pt x="10" y="37"/>
                  </a:lnTo>
                  <a:lnTo>
                    <a:pt x="11" y="37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4" y="37"/>
                  </a:lnTo>
                  <a:lnTo>
                    <a:pt x="16" y="37"/>
                  </a:lnTo>
                  <a:lnTo>
                    <a:pt x="17" y="37"/>
                  </a:lnTo>
                  <a:lnTo>
                    <a:pt x="19" y="36"/>
                  </a:lnTo>
                  <a:lnTo>
                    <a:pt x="20" y="36"/>
                  </a:lnTo>
                  <a:lnTo>
                    <a:pt x="21" y="36"/>
                  </a:lnTo>
                  <a:lnTo>
                    <a:pt x="25" y="36"/>
                  </a:lnTo>
                  <a:lnTo>
                    <a:pt x="26" y="36"/>
                  </a:lnTo>
                  <a:lnTo>
                    <a:pt x="34" y="36"/>
                  </a:lnTo>
                  <a:lnTo>
                    <a:pt x="37" y="35"/>
                  </a:lnTo>
                  <a:lnTo>
                    <a:pt x="39" y="35"/>
                  </a:lnTo>
                  <a:lnTo>
                    <a:pt x="40" y="35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5" y="34"/>
                  </a:lnTo>
                  <a:lnTo>
                    <a:pt x="45" y="32"/>
                  </a:lnTo>
                  <a:lnTo>
                    <a:pt x="46" y="31"/>
                  </a:lnTo>
                  <a:lnTo>
                    <a:pt x="47" y="30"/>
                  </a:lnTo>
                  <a:lnTo>
                    <a:pt x="48" y="28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50" y="25"/>
                  </a:lnTo>
                  <a:lnTo>
                    <a:pt x="50" y="24"/>
                  </a:lnTo>
                  <a:lnTo>
                    <a:pt x="51" y="24"/>
                  </a:lnTo>
                  <a:lnTo>
                    <a:pt x="52" y="24"/>
                  </a:lnTo>
                  <a:lnTo>
                    <a:pt x="55" y="23"/>
                  </a:lnTo>
                  <a:lnTo>
                    <a:pt x="57" y="22"/>
                  </a:lnTo>
                  <a:lnTo>
                    <a:pt x="58" y="22"/>
                  </a:lnTo>
                  <a:lnTo>
                    <a:pt x="59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1" y="22"/>
                  </a:lnTo>
                  <a:lnTo>
                    <a:pt x="63" y="23"/>
                  </a:lnTo>
                  <a:lnTo>
                    <a:pt x="64" y="23"/>
                  </a:lnTo>
                  <a:lnTo>
                    <a:pt x="65" y="24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8" y="26"/>
                  </a:lnTo>
                  <a:lnTo>
                    <a:pt x="69" y="28"/>
                  </a:lnTo>
                  <a:lnTo>
                    <a:pt x="69" y="28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3" y="30"/>
                  </a:lnTo>
                  <a:lnTo>
                    <a:pt x="74" y="31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7" y="33"/>
                  </a:lnTo>
                  <a:lnTo>
                    <a:pt x="78" y="33"/>
                  </a:lnTo>
                  <a:lnTo>
                    <a:pt x="79" y="34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80" y="37"/>
                  </a:lnTo>
                  <a:lnTo>
                    <a:pt x="80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2" y="39"/>
                  </a:lnTo>
                  <a:lnTo>
                    <a:pt x="83" y="39"/>
                  </a:lnTo>
                  <a:lnTo>
                    <a:pt x="85" y="39"/>
                  </a:lnTo>
                  <a:lnTo>
                    <a:pt x="86" y="39"/>
                  </a:lnTo>
                  <a:lnTo>
                    <a:pt x="87" y="39"/>
                  </a:lnTo>
                  <a:lnTo>
                    <a:pt x="88" y="39"/>
                  </a:lnTo>
                  <a:lnTo>
                    <a:pt x="90" y="39"/>
                  </a:lnTo>
                  <a:lnTo>
                    <a:pt x="90" y="38"/>
                  </a:lnTo>
                  <a:lnTo>
                    <a:pt x="91" y="38"/>
                  </a:lnTo>
                  <a:lnTo>
                    <a:pt x="91" y="38"/>
                  </a:lnTo>
                  <a:lnTo>
                    <a:pt x="94" y="36"/>
                  </a:lnTo>
                  <a:lnTo>
                    <a:pt x="95" y="35"/>
                  </a:lnTo>
                  <a:lnTo>
                    <a:pt x="96" y="35"/>
                  </a:lnTo>
                  <a:lnTo>
                    <a:pt x="97" y="34"/>
                  </a:lnTo>
                  <a:lnTo>
                    <a:pt x="98" y="34"/>
                  </a:lnTo>
                  <a:lnTo>
                    <a:pt x="99" y="34"/>
                  </a:lnTo>
                  <a:lnTo>
                    <a:pt x="100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3"/>
                  </a:lnTo>
                  <a:lnTo>
                    <a:pt x="103" y="33"/>
                  </a:lnTo>
                  <a:lnTo>
                    <a:pt x="103" y="32"/>
                  </a:lnTo>
                  <a:lnTo>
                    <a:pt x="103" y="30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5" y="28"/>
                  </a:lnTo>
                  <a:lnTo>
                    <a:pt x="106" y="28"/>
                  </a:lnTo>
                  <a:lnTo>
                    <a:pt x="108" y="30"/>
                  </a:lnTo>
                  <a:lnTo>
                    <a:pt x="109" y="30"/>
                  </a:lnTo>
                  <a:lnTo>
                    <a:pt x="110" y="31"/>
                  </a:lnTo>
                  <a:lnTo>
                    <a:pt x="112" y="31"/>
                  </a:lnTo>
                  <a:lnTo>
                    <a:pt x="113" y="32"/>
                  </a:lnTo>
                  <a:lnTo>
                    <a:pt x="114" y="32"/>
                  </a:lnTo>
                  <a:lnTo>
                    <a:pt x="117" y="35"/>
                  </a:lnTo>
                  <a:lnTo>
                    <a:pt x="118" y="35"/>
                  </a:lnTo>
                  <a:lnTo>
                    <a:pt x="119" y="36"/>
                  </a:lnTo>
                  <a:lnTo>
                    <a:pt x="120" y="36"/>
                  </a:lnTo>
                  <a:lnTo>
                    <a:pt x="120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2" y="36"/>
                  </a:lnTo>
                  <a:lnTo>
                    <a:pt x="123" y="35"/>
                  </a:lnTo>
                  <a:lnTo>
                    <a:pt x="124" y="34"/>
                  </a:lnTo>
                  <a:lnTo>
                    <a:pt x="125" y="34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7" y="33"/>
                  </a:lnTo>
                  <a:lnTo>
                    <a:pt x="128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2" y="34"/>
                  </a:lnTo>
                  <a:lnTo>
                    <a:pt x="133" y="34"/>
                  </a:lnTo>
                  <a:lnTo>
                    <a:pt x="133" y="34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7" y="36"/>
                  </a:lnTo>
                  <a:lnTo>
                    <a:pt x="138" y="36"/>
                  </a:lnTo>
                  <a:lnTo>
                    <a:pt x="140" y="36"/>
                  </a:lnTo>
                  <a:lnTo>
                    <a:pt x="144" y="37"/>
                  </a:lnTo>
                  <a:lnTo>
                    <a:pt x="145" y="37"/>
                  </a:lnTo>
                  <a:lnTo>
                    <a:pt x="147" y="37"/>
                  </a:lnTo>
                  <a:lnTo>
                    <a:pt x="148" y="37"/>
                  </a:lnTo>
                  <a:lnTo>
                    <a:pt x="149" y="37"/>
                  </a:lnTo>
                  <a:lnTo>
                    <a:pt x="151" y="36"/>
                  </a:lnTo>
                  <a:lnTo>
                    <a:pt x="152" y="36"/>
                  </a:lnTo>
                  <a:lnTo>
                    <a:pt x="154" y="36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7" y="35"/>
                  </a:lnTo>
                  <a:lnTo>
                    <a:pt x="157" y="36"/>
                  </a:lnTo>
                  <a:lnTo>
                    <a:pt x="157" y="36"/>
                  </a:lnTo>
                  <a:lnTo>
                    <a:pt x="157" y="37"/>
                  </a:lnTo>
                  <a:lnTo>
                    <a:pt x="156" y="40"/>
                  </a:lnTo>
                  <a:lnTo>
                    <a:pt x="156" y="40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7" y="42"/>
                  </a:lnTo>
                  <a:lnTo>
                    <a:pt x="157" y="42"/>
                  </a:lnTo>
                  <a:lnTo>
                    <a:pt x="158" y="42"/>
                  </a:lnTo>
                  <a:lnTo>
                    <a:pt x="158" y="43"/>
                  </a:lnTo>
                  <a:lnTo>
                    <a:pt x="159" y="43"/>
                  </a:lnTo>
                  <a:lnTo>
                    <a:pt x="159" y="43"/>
                  </a:lnTo>
                  <a:lnTo>
                    <a:pt x="161" y="43"/>
                  </a:lnTo>
                  <a:lnTo>
                    <a:pt x="163" y="44"/>
                  </a:lnTo>
                  <a:lnTo>
                    <a:pt x="164" y="44"/>
                  </a:lnTo>
                  <a:lnTo>
                    <a:pt x="166" y="44"/>
                  </a:lnTo>
                  <a:lnTo>
                    <a:pt x="167" y="45"/>
                  </a:lnTo>
                  <a:lnTo>
                    <a:pt x="169" y="45"/>
                  </a:lnTo>
                  <a:lnTo>
                    <a:pt x="170" y="46"/>
                  </a:lnTo>
                  <a:lnTo>
                    <a:pt x="171" y="46"/>
                  </a:lnTo>
                  <a:lnTo>
                    <a:pt x="173" y="48"/>
                  </a:lnTo>
                  <a:lnTo>
                    <a:pt x="173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6" y="48"/>
                  </a:lnTo>
                  <a:lnTo>
                    <a:pt x="176" y="47"/>
                  </a:lnTo>
                  <a:lnTo>
                    <a:pt x="177" y="47"/>
                  </a:lnTo>
                  <a:lnTo>
                    <a:pt x="178" y="45"/>
                  </a:lnTo>
                  <a:lnTo>
                    <a:pt x="179" y="44"/>
                  </a:lnTo>
                  <a:lnTo>
                    <a:pt x="180" y="43"/>
                  </a:lnTo>
                  <a:lnTo>
                    <a:pt x="181" y="41"/>
                  </a:lnTo>
                  <a:lnTo>
                    <a:pt x="182" y="40"/>
                  </a:lnTo>
                  <a:lnTo>
                    <a:pt x="185" y="38"/>
                  </a:lnTo>
                  <a:lnTo>
                    <a:pt x="187" y="36"/>
                  </a:lnTo>
                  <a:lnTo>
                    <a:pt x="189" y="35"/>
                  </a:lnTo>
                  <a:lnTo>
                    <a:pt x="190" y="34"/>
                  </a:lnTo>
                  <a:lnTo>
                    <a:pt x="191" y="34"/>
                  </a:lnTo>
                  <a:lnTo>
                    <a:pt x="192" y="34"/>
                  </a:lnTo>
                  <a:lnTo>
                    <a:pt x="195" y="33"/>
                  </a:lnTo>
                  <a:lnTo>
                    <a:pt x="196" y="32"/>
                  </a:lnTo>
                  <a:lnTo>
                    <a:pt x="197" y="32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1" y="29"/>
                  </a:lnTo>
                  <a:lnTo>
                    <a:pt x="201" y="28"/>
                  </a:lnTo>
                  <a:lnTo>
                    <a:pt x="201" y="28"/>
                  </a:lnTo>
                  <a:lnTo>
                    <a:pt x="201" y="27"/>
                  </a:lnTo>
                  <a:lnTo>
                    <a:pt x="200" y="25"/>
                  </a:lnTo>
                  <a:lnTo>
                    <a:pt x="200" y="23"/>
                  </a:lnTo>
                  <a:lnTo>
                    <a:pt x="199" y="21"/>
                  </a:lnTo>
                  <a:lnTo>
                    <a:pt x="199" y="20"/>
                  </a:lnTo>
                  <a:lnTo>
                    <a:pt x="199" y="20"/>
                  </a:lnTo>
                  <a:lnTo>
                    <a:pt x="199" y="18"/>
                  </a:lnTo>
                  <a:lnTo>
                    <a:pt x="199" y="17"/>
                  </a:lnTo>
                  <a:lnTo>
                    <a:pt x="200" y="15"/>
                  </a:lnTo>
                  <a:lnTo>
                    <a:pt x="200" y="14"/>
                  </a:lnTo>
                  <a:lnTo>
                    <a:pt x="200" y="13"/>
                  </a:lnTo>
                  <a:lnTo>
                    <a:pt x="200" y="11"/>
                  </a:lnTo>
                  <a:lnTo>
                    <a:pt x="200" y="11"/>
                  </a:lnTo>
                  <a:lnTo>
                    <a:pt x="200" y="10"/>
                  </a:lnTo>
                  <a:lnTo>
                    <a:pt x="201" y="10"/>
                  </a:lnTo>
                  <a:lnTo>
                    <a:pt x="201" y="9"/>
                  </a:lnTo>
                  <a:lnTo>
                    <a:pt x="202" y="9"/>
                  </a:lnTo>
                  <a:lnTo>
                    <a:pt x="203" y="8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4" y="5"/>
                  </a:lnTo>
                  <a:lnTo>
                    <a:pt x="205" y="5"/>
                  </a:lnTo>
                  <a:lnTo>
                    <a:pt x="205" y="4"/>
                  </a:lnTo>
                  <a:lnTo>
                    <a:pt x="206" y="3"/>
                  </a:lnTo>
                  <a:lnTo>
                    <a:pt x="208" y="2"/>
                  </a:lnTo>
                  <a:lnTo>
                    <a:pt x="210" y="1"/>
                  </a:lnTo>
                  <a:lnTo>
                    <a:pt x="210" y="1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2" y="0"/>
                  </a:lnTo>
                  <a:lnTo>
                    <a:pt x="213" y="1"/>
                  </a:lnTo>
                  <a:lnTo>
                    <a:pt x="214" y="1"/>
                  </a:lnTo>
                  <a:lnTo>
                    <a:pt x="216" y="3"/>
                  </a:lnTo>
                  <a:lnTo>
                    <a:pt x="217" y="3"/>
                  </a:lnTo>
                  <a:lnTo>
                    <a:pt x="218" y="4"/>
                  </a:lnTo>
                  <a:lnTo>
                    <a:pt x="222" y="6"/>
                  </a:lnTo>
                  <a:lnTo>
                    <a:pt x="223" y="7"/>
                  </a:lnTo>
                  <a:lnTo>
                    <a:pt x="224" y="7"/>
                  </a:lnTo>
                  <a:lnTo>
                    <a:pt x="225" y="8"/>
                  </a:lnTo>
                  <a:lnTo>
                    <a:pt x="226" y="9"/>
                  </a:lnTo>
                  <a:lnTo>
                    <a:pt x="229" y="11"/>
                  </a:lnTo>
                  <a:lnTo>
                    <a:pt x="231" y="13"/>
                  </a:lnTo>
                  <a:lnTo>
                    <a:pt x="232" y="13"/>
                  </a:lnTo>
                  <a:lnTo>
                    <a:pt x="233" y="14"/>
                  </a:lnTo>
                  <a:lnTo>
                    <a:pt x="234" y="15"/>
                  </a:lnTo>
                  <a:lnTo>
                    <a:pt x="234" y="15"/>
                  </a:lnTo>
                  <a:lnTo>
                    <a:pt x="235" y="15"/>
                  </a:lnTo>
                  <a:lnTo>
                    <a:pt x="235" y="15"/>
                  </a:lnTo>
                  <a:lnTo>
                    <a:pt x="236" y="15"/>
                  </a:lnTo>
                  <a:lnTo>
                    <a:pt x="236" y="15"/>
                  </a:lnTo>
                  <a:lnTo>
                    <a:pt x="237" y="15"/>
                  </a:lnTo>
                  <a:lnTo>
                    <a:pt x="238" y="14"/>
                  </a:lnTo>
                  <a:lnTo>
                    <a:pt x="239" y="14"/>
                  </a:lnTo>
                  <a:lnTo>
                    <a:pt x="240" y="13"/>
                  </a:lnTo>
                  <a:lnTo>
                    <a:pt x="241" y="13"/>
                  </a:lnTo>
                  <a:lnTo>
                    <a:pt x="241" y="13"/>
                  </a:lnTo>
                  <a:lnTo>
                    <a:pt x="242" y="13"/>
                  </a:lnTo>
                  <a:lnTo>
                    <a:pt x="242" y="13"/>
                  </a:lnTo>
                  <a:lnTo>
                    <a:pt x="243" y="13"/>
                  </a:lnTo>
                  <a:lnTo>
                    <a:pt x="243" y="13"/>
                  </a:lnTo>
                  <a:lnTo>
                    <a:pt x="243" y="14"/>
                  </a:lnTo>
                  <a:lnTo>
                    <a:pt x="243" y="14"/>
                  </a:lnTo>
                  <a:lnTo>
                    <a:pt x="244" y="15"/>
                  </a:lnTo>
                  <a:lnTo>
                    <a:pt x="244" y="17"/>
                  </a:lnTo>
                  <a:lnTo>
                    <a:pt x="245" y="18"/>
                  </a:lnTo>
                  <a:lnTo>
                    <a:pt x="246" y="20"/>
                  </a:lnTo>
                  <a:lnTo>
                    <a:pt x="247" y="23"/>
                  </a:lnTo>
                  <a:lnTo>
                    <a:pt x="248" y="25"/>
                  </a:lnTo>
                  <a:lnTo>
                    <a:pt x="249" y="27"/>
                  </a:lnTo>
                  <a:lnTo>
                    <a:pt x="250" y="28"/>
                  </a:lnTo>
                  <a:lnTo>
                    <a:pt x="251" y="28"/>
                  </a:lnTo>
                  <a:lnTo>
                    <a:pt x="251" y="29"/>
                  </a:lnTo>
                  <a:lnTo>
                    <a:pt x="252" y="30"/>
                  </a:lnTo>
                  <a:lnTo>
                    <a:pt x="253" y="30"/>
                  </a:lnTo>
                  <a:lnTo>
                    <a:pt x="253" y="30"/>
                  </a:lnTo>
                  <a:lnTo>
                    <a:pt x="255" y="31"/>
                  </a:lnTo>
                  <a:lnTo>
                    <a:pt x="255" y="31"/>
                  </a:lnTo>
                  <a:lnTo>
                    <a:pt x="256" y="31"/>
                  </a:lnTo>
                  <a:lnTo>
                    <a:pt x="257" y="31"/>
                  </a:lnTo>
                  <a:lnTo>
                    <a:pt x="257" y="31"/>
                  </a:lnTo>
                  <a:lnTo>
                    <a:pt x="258" y="31"/>
                  </a:lnTo>
                  <a:lnTo>
                    <a:pt x="259" y="31"/>
                  </a:lnTo>
                  <a:lnTo>
                    <a:pt x="259" y="31"/>
                  </a:lnTo>
                  <a:lnTo>
                    <a:pt x="260" y="31"/>
                  </a:lnTo>
                  <a:lnTo>
                    <a:pt x="261" y="30"/>
                  </a:lnTo>
                  <a:lnTo>
                    <a:pt x="261" y="30"/>
                  </a:lnTo>
                  <a:lnTo>
                    <a:pt x="261" y="30"/>
                  </a:lnTo>
                  <a:lnTo>
                    <a:pt x="261" y="31"/>
                  </a:lnTo>
                  <a:lnTo>
                    <a:pt x="262" y="35"/>
                  </a:lnTo>
                  <a:lnTo>
                    <a:pt x="262" y="36"/>
                  </a:lnTo>
                  <a:lnTo>
                    <a:pt x="262" y="37"/>
                  </a:lnTo>
                  <a:lnTo>
                    <a:pt x="262" y="38"/>
                  </a:lnTo>
                  <a:lnTo>
                    <a:pt x="262" y="39"/>
                  </a:lnTo>
                  <a:lnTo>
                    <a:pt x="262" y="39"/>
                  </a:lnTo>
                  <a:lnTo>
                    <a:pt x="262" y="40"/>
                  </a:lnTo>
                  <a:lnTo>
                    <a:pt x="261" y="40"/>
                  </a:lnTo>
                  <a:lnTo>
                    <a:pt x="261" y="41"/>
                  </a:lnTo>
                  <a:lnTo>
                    <a:pt x="260" y="41"/>
                  </a:lnTo>
                  <a:lnTo>
                    <a:pt x="260" y="42"/>
                  </a:lnTo>
                  <a:lnTo>
                    <a:pt x="259" y="42"/>
                  </a:lnTo>
                  <a:lnTo>
                    <a:pt x="258" y="43"/>
                  </a:lnTo>
                  <a:lnTo>
                    <a:pt x="257" y="43"/>
                  </a:lnTo>
                  <a:lnTo>
                    <a:pt x="256" y="43"/>
                  </a:lnTo>
                  <a:lnTo>
                    <a:pt x="256" y="44"/>
                  </a:lnTo>
                  <a:lnTo>
                    <a:pt x="255" y="44"/>
                  </a:lnTo>
                  <a:lnTo>
                    <a:pt x="255" y="44"/>
                  </a:lnTo>
                  <a:lnTo>
                    <a:pt x="255" y="45"/>
                  </a:lnTo>
                  <a:lnTo>
                    <a:pt x="255" y="45"/>
                  </a:lnTo>
                  <a:lnTo>
                    <a:pt x="255" y="46"/>
                  </a:lnTo>
                  <a:lnTo>
                    <a:pt x="255" y="46"/>
                  </a:lnTo>
                  <a:lnTo>
                    <a:pt x="255" y="47"/>
                  </a:lnTo>
                  <a:lnTo>
                    <a:pt x="255" y="47"/>
                  </a:lnTo>
                  <a:lnTo>
                    <a:pt x="255" y="48"/>
                  </a:lnTo>
                  <a:lnTo>
                    <a:pt x="257" y="51"/>
                  </a:lnTo>
                  <a:lnTo>
                    <a:pt x="258" y="52"/>
                  </a:lnTo>
                  <a:lnTo>
                    <a:pt x="258" y="53"/>
                  </a:lnTo>
                  <a:lnTo>
                    <a:pt x="258" y="54"/>
                  </a:lnTo>
                  <a:lnTo>
                    <a:pt x="259" y="55"/>
                  </a:lnTo>
                  <a:lnTo>
                    <a:pt x="259" y="56"/>
                  </a:lnTo>
                  <a:lnTo>
                    <a:pt x="259" y="57"/>
                  </a:lnTo>
                  <a:lnTo>
                    <a:pt x="259" y="59"/>
                  </a:lnTo>
                  <a:lnTo>
                    <a:pt x="259" y="60"/>
                  </a:lnTo>
                  <a:lnTo>
                    <a:pt x="259" y="61"/>
                  </a:lnTo>
                  <a:lnTo>
                    <a:pt x="259" y="64"/>
                  </a:lnTo>
                  <a:lnTo>
                    <a:pt x="259" y="65"/>
                  </a:lnTo>
                  <a:lnTo>
                    <a:pt x="259" y="66"/>
                  </a:lnTo>
                  <a:lnTo>
                    <a:pt x="259" y="68"/>
                  </a:lnTo>
                  <a:lnTo>
                    <a:pt x="259" y="69"/>
                  </a:lnTo>
                  <a:lnTo>
                    <a:pt x="259" y="71"/>
                  </a:lnTo>
                  <a:lnTo>
                    <a:pt x="258" y="72"/>
                  </a:lnTo>
                  <a:lnTo>
                    <a:pt x="258" y="73"/>
                  </a:lnTo>
                  <a:lnTo>
                    <a:pt x="258" y="75"/>
                  </a:lnTo>
                  <a:lnTo>
                    <a:pt x="257" y="77"/>
                  </a:lnTo>
                  <a:lnTo>
                    <a:pt x="256" y="80"/>
                  </a:lnTo>
                  <a:lnTo>
                    <a:pt x="255" y="83"/>
                  </a:lnTo>
                  <a:lnTo>
                    <a:pt x="254" y="85"/>
                  </a:lnTo>
                  <a:lnTo>
                    <a:pt x="253" y="86"/>
                  </a:lnTo>
                  <a:lnTo>
                    <a:pt x="253" y="87"/>
                  </a:lnTo>
                  <a:lnTo>
                    <a:pt x="253" y="88"/>
                  </a:lnTo>
                  <a:lnTo>
                    <a:pt x="253" y="88"/>
                  </a:lnTo>
                  <a:lnTo>
                    <a:pt x="254" y="89"/>
                  </a:lnTo>
                  <a:lnTo>
                    <a:pt x="254" y="89"/>
                  </a:lnTo>
                  <a:lnTo>
                    <a:pt x="254" y="90"/>
                  </a:lnTo>
                  <a:lnTo>
                    <a:pt x="254" y="90"/>
                  </a:lnTo>
                  <a:lnTo>
                    <a:pt x="253" y="94"/>
                  </a:lnTo>
                  <a:lnTo>
                    <a:pt x="252" y="97"/>
                  </a:lnTo>
                  <a:lnTo>
                    <a:pt x="252" y="98"/>
                  </a:lnTo>
                  <a:lnTo>
                    <a:pt x="251" y="100"/>
                  </a:lnTo>
                  <a:lnTo>
                    <a:pt x="250" y="102"/>
                  </a:lnTo>
                  <a:lnTo>
                    <a:pt x="250" y="103"/>
                  </a:lnTo>
                  <a:lnTo>
                    <a:pt x="250" y="105"/>
                  </a:lnTo>
                  <a:lnTo>
                    <a:pt x="250" y="106"/>
                  </a:lnTo>
                  <a:lnTo>
                    <a:pt x="250" y="106"/>
                  </a:lnTo>
                  <a:lnTo>
                    <a:pt x="250" y="107"/>
                  </a:lnTo>
                  <a:lnTo>
                    <a:pt x="250" y="108"/>
                  </a:lnTo>
                  <a:lnTo>
                    <a:pt x="250" y="109"/>
                  </a:lnTo>
                  <a:lnTo>
                    <a:pt x="250" y="110"/>
                  </a:lnTo>
                  <a:lnTo>
                    <a:pt x="251" y="111"/>
                  </a:lnTo>
                  <a:lnTo>
                    <a:pt x="252" y="112"/>
                  </a:lnTo>
                  <a:lnTo>
                    <a:pt x="253" y="113"/>
                  </a:lnTo>
                  <a:lnTo>
                    <a:pt x="254" y="113"/>
                  </a:lnTo>
                  <a:lnTo>
                    <a:pt x="256" y="115"/>
                  </a:lnTo>
                  <a:lnTo>
                    <a:pt x="257" y="116"/>
                  </a:lnTo>
                  <a:lnTo>
                    <a:pt x="257" y="117"/>
                  </a:lnTo>
                  <a:lnTo>
                    <a:pt x="258" y="117"/>
                  </a:lnTo>
                  <a:lnTo>
                    <a:pt x="258" y="118"/>
                  </a:lnTo>
                  <a:lnTo>
                    <a:pt x="259" y="119"/>
                  </a:lnTo>
                  <a:lnTo>
                    <a:pt x="259" y="120"/>
                  </a:lnTo>
                  <a:lnTo>
                    <a:pt x="259" y="120"/>
                  </a:lnTo>
                  <a:lnTo>
                    <a:pt x="259" y="121"/>
                  </a:lnTo>
                  <a:lnTo>
                    <a:pt x="259" y="121"/>
                  </a:lnTo>
                  <a:lnTo>
                    <a:pt x="259" y="122"/>
                  </a:lnTo>
                  <a:lnTo>
                    <a:pt x="259" y="122"/>
                  </a:lnTo>
                  <a:lnTo>
                    <a:pt x="258" y="124"/>
                  </a:lnTo>
                  <a:lnTo>
                    <a:pt x="257" y="125"/>
                  </a:lnTo>
                  <a:lnTo>
                    <a:pt x="256" y="126"/>
                  </a:lnTo>
                  <a:lnTo>
                    <a:pt x="255" y="127"/>
                  </a:lnTo>
                  <a:lnTo>
                    <a:pt x="255" y="128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5" y="130"/>
                  </a:lnTo>
                  <a:lnTo>
                    <a:pt x="255" y="131"/>
                  </a:lnTo>
                  <a:lnTo>
                    <a:pt x="255" y="131"/>
                  </a:lnTo>
                  <a:lnTo>
                    <a:pt x="255" y="132"/>
                  </a:lnTo>
                  <a:lnTo>
                    <a:pt x="255" y="133"/>
                  </a:lnTo>
                  <a:lnTo>
                    <a:pt x="256" y="134"/>
                  </a:lnTo>
                  <a:lnTo>
                    <a:pt x="258" y="137"/>
                  </a:lnTo>
                  <a:lnTo>
                    <a:pt x="260" y="140"/>
                  </a:lnTo>
                  <a:lnTo>
                    <a:pt x="261" y="140"/>
                  </a:lnTo>
                  <a:lnTo>
                    <a:pt x="261" y="141"/>
                  </a:lnTo>
                  <a:lnTo>
                    <a:pt x="265" y="144"/>
                  </a:lnTo>
                  <a:lnTo>
                    <a:pt x="265" y="145"/>
                  </a:lnTo>
                  <a:lnTo>
                    <a:pt x="267" y="147"/>
                  </a:lnTo>
                  <a:lnTo>
                    <a:pt x="268" y="149"/>
                  </a:lnTo>
                  <a:lnTo>
                    <a:pt x="271" y="151"/>
                  </a:lnTo>
                  <a:lnTo>
                    <a:pt x="273" y="153"/>
                  </a:lnTo>
                  <a:lnTo>
                    <a:pt x="274" y="154"/>
                  </a:lnTo>
                  <a:lnTo>
                    <a:pt x="275" y="154"/>
                  </a:lnTo>
                  <a:lnTo>
                    <a:pt x="275" y="154"/>
                  </a:lnTo>
                  <a:lnTo>
                    <a:pt x="276" y="154"/>
                  </a:lnTo>
                  <a:lnTo>
                    <a:pt x="277" y="155"/>
                  </a:lnTo>
                  <a:lnTo>
                    <a:pt x="278" y="155"/>
                  </a:lnTo>
                  <a:lnTo>
                    <a:pt x="279" y="154"/>
                  </a:lnTo>
                  <a:lnTo>
                    <a:pt x="280" y="154"/>
                  </a:lnTo>
                  <a:lnTo>
                    <a:pt x="281" y="154"/>
                  </a:lnTo>
                  <a:lnTo>
                    <a:pt x="285" y="152"/>
                  </a:lnTo>
                  <a:lnTo>
                    <a:pt x="286" y="151"/>
                  </a:lnTo>
                  <a:lnTo>
                    <a:pt x="287" y="151"/>
                  </a:lnTo>
                  <a:lnTo>
                    <a:pt x="288" y="150"/>
                  </a:lnTo>
                  <a:lnTo>
                    <a:pt x="289" y="150"/>
                  </a:lnTo>
                  <a:lnTo>
                    <a:pt x="290" y="150"/>
                  </a:lnTo>
                  <a:lnTo>
                    <a:pt x="291" y="150"/>
                  </a:lnTo>
                  <a:lnTo>
                    <a:pt x="291" y="150"/>
                  </a:lnTo>
                  <a:lnTo>
                    <a:pt x="292" y="151"/>
                  </a:lnTo>
                  <a:lnTo>
                    <a:pt x="293" y="151"/>
                  </a:lnTo>
                  <a:lnTo>
                    <a:pt x="294" y="151"/>
                  </a:lnTo>
                  <a:lnTo>
                    <a:pt x="294" y="152"/>
                  </a:lnTo>
                  <a:lnTo>
                    <a:pt x="296" y="154"/>
                  </a:lnTo>
                  <a:lnTo>
                    <a:pt x="298" y="155"/>
                  </a:lnTo>
                  <a:lnTo>
                    <a:pt x="299" y="156"/>
                  </a:lnTo>
                  <a:lnTo>
                    <a:pt x="301" y="156"/>
                  </a:lnTo>
                  <a:lnTo>
                    <a:pt x="301" y="157"/>
                  </a:lnTo>
                  <a:lnTo>
                    <a:pt x="302" y="157"/>
                  </a:lnTo>
                  <a:lnTo>
                    <a:pt x="306" y="159"/>
                  </a:lnTo>
                  <a:lnTo>
                    <a:pt x="307" y="159"/>
                  </a:lnTo>
                  <a:lnTo>
                    <a:pt x="309" y="160"/>
                  </a:lnTo>
                  <a:lnTo>
                    <a:pt x="310" y="160"/>
                  </a:lnTo>
                  <a:lnTo>
                    <a:pt x="310" y="160"/>
                  </a:lnTo>
                  <a:lnTo>
                    <a:pt x="311" y="161"/>
                  </a:lnTo>
                  <a:lnTo>
                    <a:pt x="311" y="161"/>
                  </a:lnTo>
                  <a:lnTo>
                    <a:pt x="311" y="162"/>
                  </a:lnTo>
                  <a:lnTo>
                    <a:pt x="311" y="162"/>
                  </a:lnTo>
                  <a:lnTo>
                    <a:pt x="311" y="163"/>
                  </a:lnTo>
                  <a:lnTo>
                    <a:pt x="311" y="163"/>
                  </a:lnTo>
                  <a:lnTo>
                    <a:pt x="311" y="164"/>
                  </a:lnTo>
                  <a:lnTo>
                    <a:pt x="311" y="165"/>
                  </a:lnTo>
                  <a:lnTo>
                    <a:pt x="311" y="166"/>
                  </a:lnTo>
                  <a:lnTo>
                    <a:pt x="311" y="166"/>
                  </a:lnTo>
                  <a:lnTo>
                    <a:pt x="311" y="167"/>
                  </a:lnTo>
                  <a:lnTo>
                    <a:pt x="310" y="167"/>
                  </a:lnTo>
                  <a:lnTo>
                    <a:pt x="310" y="167"/>
                  </a:lnTo>
                  <a:lnTo>
                    <a:pt x="309" y="168"/>
                  </a:lnTo>
                  <a:lnTo>
                    <a:pt x="308" y="168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70"/>
                  </a:lnTo>
                  <a:lnTo>
                    <a:pt x="309" y="170"/>
                  </a:lnTo>
                  <a:lnTo>
                    <a:pt x="310" y="170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2" y="171"/>
                  </a:lnTo>
                  <a:lnTo>
                    <a:pt x="315" y="171"/>
                  </a:lnTo>
                  <a:lnTo>
                    <a:pt x="316" y="171"/>
                  </a:lnTo>
                  <a:lnTo>
                    <a:pt x="316" y="172"/>
                  </a:lnTo>
                  <a:lnTo>
                    <a:pt x="317" y="172"/>
                  </a:lnTo>
                  <a:lnTo>
                    <a:pt x="318" y="172"/>
                  </a:lnTo>
                  <a:lnTo>
                    <a:pt x="318" y="172"/>
                  </a:lnTo>
                  <a:lnTo>
                    <a:pt x="319" y="173"/>
                  </a:lnTo>
                  <a:lnTo>
                    <a:pt x="320" y="173"/>
                  </a:lnTo>
                  <a:lnTo>
                    <a:pt x="321" y="175"/>
                  </a:lnTo>
                  <a:lnTo>
                    <a:pt x="322" y="176"/>
                  </a:lnTo>
                  <a:lnTo>
                    <a:pt x="324" y="178"/>
                  </a:lnTo>
                  <a:lnTo>
                    <a:pt x="325" y="179"/>
                  </a:lnTo>
                  <a:lnTo>
                    <a:pt x="325" y="180"/>
                  </a:lnTo>
                  <a:lnTo>
                    <a:pt x="325" y="180"/>
                  </a:lnTo>
                  <a:lnTo>
                    <a:pt x="326" y="180"/>
                  </a:lnTo>
                  <a:lnTo>
                    <a:pt x="327" y="181"/>
                  </a:lnTo>
                  <a:lnTo>
                    <a:pt x="328" y="181"/>
                  </a:lnTo>
                  <a:lnTo>
                    <a:pt x="329" y="181"/>
                  </a:lnTo>
                  <a:lnTo>
                    <a:pt x="330" y="182"/>
                  </a:lnTo>
                  <a:lnTo>
                    <a:pt x="331" y="182"/>
                  </a:lnTo>
                  <a:lnTo>
                    <a:pt x="332" y="181"/>
                  </a:lnTo>
                  <a:lnTo>
                    <a:pt x="333" y="181"/>
                  </a:lnTo>
                  <a:lnTo>
                    <a:pt x="334" y="181"/>
                  </a:lnTo>
                  <a:lnTo>
                    <a:pt x="335" y="180"/>
                  </a:lnTo>
                  <a:lnTo>
                    <a:pt x="338" y="179"/>
                  </a:lnTo>
                  <a:lnTo>
                    <a:pt x="339" y="179"/>
                  </a:lnTo>
                  <a:lnTo>
                    <a:pt x="340" y="178"/>
                  </a:lnTo>
                  <a:lnTo>
                    <a:pt x="340" y="178"/>
                  </a:lnTo>
                  <a:lnTo>
                    <a:pt x="341" y="178"/>
                  </a:lnTo>
                  <a:lnTo>
                    <a:pt x="341" y="178"/>
                  </a:lnTo>
                  <a:lnTo>
                    <a:pt x="342" y="178"/>
                  </a:lnTo>
                  <a:lnTo>
                    <a:pt x="343" y="178"/>
                  </a:lnTo>
                  <a:lnTo>
                    <a:pt x="348" y="180"/>
                  </a:lnTo>
                  <a:lnTo>
                    <a:pt x="351" y="181"/>
                  </a:lnTo>
                  <a:lnTo>
                    <a:pt x="354" y="182"/>
                  </a:lnTo>
                  <a:lnTo>
                    <a:pt x="355" y="182"/>
                  </a:lnTo>
                  <a:lnTo>
                    <a:pt x="356" y="183"/>
                  </a:lnTo>
                  <a:lnTo>
                    <a:pt x="357" y="184"/>
                  </a:lnTo>
                  <a:lnTo>
                    <a:pt x="357" y="184"/>
                  </a:lnTo>
                  <a:lnTo>
                    <a:pt x="359" y="185"/>
                  </a:lnTo>
                  <a:lnTo>
                    <a:pt x="359" y="186"/>
                  </a:lnTo>
                  <a:lnTo>
                    <a:pt x="359" y="186"/>
                  </a:lnTo>
                  <a:lnTo>
                    <a:pt x="360" y="186"/>
                  </a:lnTo>
                  <a:lnTo>
                    <a:pt x="361" y="186"/>
                  </a:lnTo>
                  <a:lnTo>
                    <a:pt x="361" y="186"/>
                  </a:lnTo>
                  <a:lnTo>
                    <a:pt x="365" y="186"/>
                  </a:lnTo>
                  <a:lnTo>
                    <a:pt x="366" y="185"/>
                  </a:lnTo>
                  <a:lnTo>
                    <a:pt x="369" y="185"/>
                  </a:lnTo>
                  <a:lnTo>
                    <a:pt x="370" y="185"/>
                  </a:lnTo>
                  <a:lnTo>
                    <a:pt x="371" y="185"/>
                  </a:lnTo>
                  <a:lnTo>
                    <a:pt x="374" y="184"/>
                  </a:lnTo>
                  <a:lnTo>
                    <a:pt x="377" y="184"/>
                  </a:lnTo>
                  <a:lnTo>
                    <a:pt x="378" y="184"/>
                  </a:lnTo>
                  <a:lnTo>
                    <a:pt x="379" y="184"/>
                  </a:lnTo>
                  <a:lnTo>
                    <a:pt x="380" y="184"/>
                  </a:lnTo>
                  <a:lnTo>
                    <a:pt x="381" y="184"/>
                  </a:lnTo>
                  <a:lnTo>
                    <a:pt x="382" y="184"/>
                  </a:lnTo>
                  <a:lnTo>
                    <a:pt x="382" y="185"/>
                  </a:lnTo>
                  <a:lnTo>
                    <a:pt x="383" y="185"/>
                  </a:lnTo>
                  <a:lnTo>
                    <a:pt x="383" y="185"/>
                  </a:lnTo>
                  <a:lnTo>
                    <a:pt x="384" y="186"/>
                  </a:lnTo>
                  <a:lnTo>
                    <a:pt x="384" y="186"/>
                  </a:lnTo>
                  <a:lnTo>
                    <a:pt x="385" y="187"/>
                  </a:lnTo>
                  <a:lnTo>
                    <a:pt x="385" y="188"/>
                  </a:lnTo>
                  <a:lnTo>
                    <a:pt x="386" y="189"/>
                  </a:lnTo>
                  <a:lnTo>
                    <a:pt x="386" y="190"/>
                  </a:lnTo>
                  <a:lnTo>
                    <a:pt x="386" y="192"/>
                  </a:lnTo>
                  <a:lnTo>
                    <a:pt x="386" y="193"/>
                  </a:lnTo>
                  <a:lnTo>
                    <a:pt x="387" y="194"/>
                  </a:lnTo>
                  <a:lnTo>
                    <a:pt x="387" y="195"/>
                  </a:lnTo>
                  <a:lnTo>
                    <a:pt x="387" y="196"/>
                  </a:lnTo>
                  <a:lnTo>
                    <a:pt x="386" y="198"/>
                  </a:lnTo>
                  <a:lnTo>
                    <a:pt x="386" y="201"/>
                  </a:lnTo>
                  <a:lnTo>
                    <a:pt x="386" y="202"/>
                  </a:lnTo>
                  <a:lnTo>
                    <a:pt x="386" y="204"/>
                  </a:lnTo>
                  <a:lnTo>
                    <a:pt x="386" y="205"/>
                  </a:lnTo>
                  <a:lnTo>
                    <a:pt x="386" y="206"/>
                  </a:lnTo>
                  <a:lnTo>
                    <a:pt x="386" y="208"/>
                  </a:lnTo>
                  <a:lnTo>
                    <a:pt x="387" y="209"/>
                  </a:lnTo>
                  <a:lnTo>
                    <a:pt x="388" y="210"/>
                  </a:lnTo>
                  <a:lnTo>
                    <a:pt x="388" y="211"/>
                  </a:lnTo>
                  <a:lnTo>
                    <a:pt x="389" y="212"/>
                  </a:lnTo>
                  <a:lnTo>
                    <a:pt x="389" y="212"/>
                  </a:lnTo>
                  <a:lnTo>
                    <a:pt x="391" y="214"/>
                  </a:lnTo>
                  <a:lnTo>
                    <a:pt x="392" y="215"/>
                  </a:lnTo>
                  <a:lnTo>
                    <a:pt x="395" y="217"/>
                  </a:lnTo>
                  <a:lnTo>
                    <a:pt x="398" y="219"/>
                  </a:lnTo>
                  <a:lnTo>
                    <a:pt x="398" y="220"/>
                  </a:lnTo>
                  <a:lnTo>
                    <a:pt x="400" y="221"/>
                  </a:lnTo>
                  <a:lnTo>
                    <a:pt x="402" y="222"/>
                  </a:lnTo>
                  <a:lnTo>
                    <a:pt x="406" y="225"/>
                  </a:lnTo>
                  <a:lnTo>
                    <a:pt x="409" y="226"/>
                  </a:lnTo>
                  <a:lnTo>
                    <a:pt x="409" y="227"/>
                  </a:lnTo>
                  <a:lnTo>
                    <a:pt x="410" y="227"/>
                  </a:lnTo>
                  <a:lnTo>
                    <a:pt x="410" y="227"/>
                  </a:lnTo>
                  <a:lnTo>
                    <a:pt x="411" y="227"/>
                  </a:lnTo>
                  <a:lnTo>
                    <a:pt x="411" y="227"/>
                  </a:lnTo>
                  <a:lnTo>
                    <a:pt x="411" y="226"/>
                  </a:lnTo>
                  <a:lnTo>
                    <a:pt x="413" y="226"/>
                  </a:lnTo>
                  <a:lnTo>
                    <a:pt x="414" y="226"/>
                  </a:lnTo>
                  <a:lnTo>
                    <a:pt x="415" y="225"/>
                  </a:lnTo>
                  <a:lnTo>
                    <a:pt x="416" y="225"/>
                  </a:lnTo>
                  <a:lnTo>
                    <a:pt x="416" y="225"/>
                  </a:lnTo>
                  <a:lnTo>
                    <a:pt x="417" y="226"/>
                  </a:lnTo>
                  <a:lnTo>
                    <a:pt x="418" y="226"/>
                  </a:lnTo>
                  <a:lnTo>
                    <a:pt x="421" y="227"/>
                  </a:lnTo>
                  <a:lnTo>
                    <a:pt x="422" y="227"/>
                  </a:lnTo>
                  <a:lnTo>
                    <a:pt x="423" y="227"/>
                  </a:lnTo>
                  <a:lnTo>
                    <a:pt x="425" y="227"/>
                  </a:lnTo>
                  <a:lnTo>
                    <a:pt x="427" y="227"/>
                  </a:lnTo>
                  <a:lnTo>
                    <a:pt x="429" y="227"/>
                  </a:lnTo>
                  <a:lnTo>
                    <a:pt x="431" y="227"/>
                  </a:lnTo>
                  <a:lnTo>
                    <a:pt x="432" y="227"/>
                  </a:lnTo>
                  <a:lnTo>
                    <a:pt x="433" y="227"/>
                  </a:lnTo>
                  <a:lnTo>
                    <a:pt x="434" y="226"/>
                  </a:lnTo>
                  <a:lnTo>
                    <a:pt x="437" y="225"/>
                  </a:lnTo>
                  <a:lnTo>
                    <a:pt x="438" y="225"/>
                  </a:lnTo>
                  <a:lnTo>
                    <a:pt x="440" y="225"/>
                  </a:lnTo>
                  <a:lnTo>
                    <a:pt x="442" y="224"/>
                  </a:lnTo>
                  <a:lnTo>
                    <a:pt x="443" y="224"/>
                  </a:lnTo>
                  <a:lnTo>
                    <a:pt x="443" y="224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6" y="223"/>
                  </a:lnTo>
                  <a:lnTo>
                    <a:pt x="446" y="223"/>
                  </a:lnTo>
                  <a:lnTo>
                    <a:pt x="447" y="223"/>
                  </a:lnTo>
                  <a:lnTo>
                    <a:pt x="447" y="223"/>
                  </a:lnTo>
                  <a:lnTo>
                    <a:pt x="448" y="223"/>
                  </a:lnTo>
                  <a:lnTo>
                    <a:pt x="448" y="223"/>
                  </a:lnTo>
                  <a:lnTo>
                    <a:pt x="449" y="224"/>
                  </a:lnTo>
                  <a:lnTo>
                    <a:pt x="450" y="224"/>
                  </a:lnTo>
                  <a:lnTo>
                    <a:pt x="451" y="225"/>
                  </a:lnTo>
                  <a:lnTo>
                    <a:pt x="451" y="225"/>
                  </a:lnTo>
                  <a:lnTo>
                    <a:pt x="452" y="225"/>
                  </a:lnTo>
                  <a:lnTo>
                    <a:pt x="452" y="226"/>
                  </a:lnTo>
                  <a:lnTo>
                    <a:pt x="452" y="227"/>
                  </a:lnTo>
                  <a:lnTo>
                    <a:pt x="452" y="227"/>
                  </a:lnTo>
                  <a:lnTo>
                    <a:pt x="453" y="228"/>
                  </a:lnTo>
                  <a:lnTo>
                    <a:pt x="452" y="228"/>
                  </a:lnTo>
                  <a:lnTo>
                    <a:pt x="452" y="229"/>
                  </a:lnTo>
                  <a:lnTo>
                    <a:pt x="452" y="230"/>
                  </a:lnTo>
                  <a:lnTo>
                    <a:pt x="452" y="230"/>
                  </a:lnTo>
                  <a:lnTo>
                    <a:pt x="452" y="231"/>
                  </a:lnTo>
                  <a:lnTo>
                    <a:pt x="452" y="231"/>
                  </a:lnTo>
                  <a:lnTo>
                    <a:pt x="453" y="232"/>
                  </a:lnTo>
                  <a:lnTo>
                    <a:pt x="453" y="232"/>
                  </a:lnTo>
                  <a:lnTo>
                    <a:pt x="454" y="233"/>
                  </a:lnTo>
                  <a:lnTo>
                    <a:pt x="454" y="234"/>
                  </a:lnTo>
                  <a:lnTo>
                    <a:pt x="456" y="234"/>
                  </a:lnTo>
                  <a:lnTo>
                    <a:pt x="457" y="236"/>
                  </a:lnTo>
                  <a:lnTo>
                    <a:pt x="458" y="236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61" y="240"/>
                  </a:lnTo>
                  <a:lnTo>
                    <a:pt x="462" y="241"/>
                  </a:lnTo>
                  <a:lnTo>
                    <a:pt x="462" y="242"/>
                  </a:lnTo>
                  <a:lnTo>
                    <a:pt x="462" y="243"/>
                  </a:lnTo>
                  <a:lnTo>
                    <a:pt x="462" y="243"/>
                  </a:lnTo>
                  <a:lnTo>
                    <a:pt x="462" y="244"/>
                  </a:lnTo>
                  <a:lnTo>
                    <a:pt x="462" y="245"/>
                  </a:lnTo>
                  <a:lnTo>
                    <a:pt x="462" y="246"/>
                  </a:lnTo>
                  <a:lnTo>
                    <a:pt x="461" y="247"/>
                  </a:lnTo>
                  <a:lnTo>
                    <a:pt x="461" y="247"/>
                  </a:lnTo>
                  <a:lnTo>
                    <a:pt x="461" y="248"/>
                  </a:lnTo>
                  <a:lnTo>
                    <a:pt x="460" y="248"/>
                  </a:lnTo>
                  <a:lnTo>
                    <a:pt x="460" y="248"/>
                  </a:lnTo>
                  <a:lnTo>
                    <a:pt x="459" y="249"/>
                  </a:lnTo>
                  <a:lnTo>
                    <a:pt x="458" y="249"/>
                  </a:lnTo>
                  <a:lnTo>
                    <a:pt x="456" y="250"/>
                  </a:lnTo>
                  <a:lnTo>
                    <a:pt x="453" y="250"/>
                  </a:lnTo>
                  <a:lnTo>
                    <a:pt x="452" y="250"/>
                  </a:lnTo>
                  <a:lnTo>
                    <a:pt x="452" y="251"/>
                  </a:lnTo>
                  <a:lnTo>
                    <a:pt x="452" y="251"/>
                  </a:lnTo>
                  <a:lnTo>
                    <a:pt x="451" y="251"/>
                  </a:lnTo>
                  <a:lnTo>
                    <a:pt x="451" y="252"/>
                  </a:lnTo>
                  <a:lnTo>
                    <a:pt x="450" y="253"/>
                  </a:lnTo>
                  <a:lnTo>
                    <a:pt x="449" y="254"/>
                  </a:lnTo>
                  <a:lnTo>
                    <a:pt x="448" y="256"/>
                  </a:lnTo>
                  <a:lnTo>
                    <a:pt x="448" y="257"/>
                  </a:lnTo>
                  <a:lnTo>
                    <a:pt x="447" y="258"/>
                  </a:lnTo>
                  <a:lnTo>
                    <a:pt x="447" y="259"/>
                  </a:lnTo>
                  <a:lnTo>
                    <a:pt x="447" y="261"/>
                  </a:lnTo>
                  <a:lnTo>
                    <a:pt x="446" y="262"/>
                  </a:lnTo>
                  <a:lnTo>
                    <a:pt x="446" y="262"/>
                  </a:lnTo>
                  <a:lnTo>
                    <a:pt x="446" y="263"/>
                  </a:lnTo>
                  <a:lnTo>
                    <a:pt x="446" y="264"/>
                  </a:lnTo>
                  <a:lnTo>
                    <a:pt x="444" y="266"/>
                  </a:lnTo>
                  <a:lnTo>
                    <a:pt x="443" y="267"/>
                  </a:lnTo>
                  <a:lnTo>
                    <a:pt x="443" y="268"/>
                  </a:lnTo>
                  <a:lnTo>
                    <a:pt x="442" y="270"/>
                  </a:lnTo>
                  <a:lnTo>
                    <a:pt x="442" y="271"/>
                  </a:lnTo>
                  <a:lnTo>
                    <a:pt x="441" y="272"/>
                  </a:lnTo>
                  <a:lnTo>
                    <a:pt x="441" y="273"/>
                  </a:lnTo>
                  <a:lnTo>
                    <a:pt x="440" y="273"/>
                  </a:lnTo>
                  <a:lnTo>
                    <a:pt x="438" y="276"/>
                  </a:lnTo>
                  <a:lnTo>
                    <a:pt x="437" y="277"/>
                  </a:lnTo>
                  <a:lnTo>
                    <a:pt x="436" y="278"/>
                  </a:lnTo>
                  <a:lnTo>
                    <a:pt x="435" y="279"/>
                  </a:lnTo>
                  <a:lnTo>
                    <a:pt x="434" y="281"/>
                  </a:lnTo>
                  <a:lnTo>
                    <a:pt x="433" y="282"/>
                  </a:lnTo>
                  <a:lnTo>
                    <a:pt x="432" y="283"/>
                  </a:lnTo>
                  <a:lnTo>
                    <a:pt x="432" y="283"/>
                  </a:lnTo>
                  <a:lnTo>
                    <a:pt x="432" y="284"/>
                  </a:lnTo>
                  <a:lnTo>
                    <a:pt x="432" y="284"/>
                  </a:lnTo>
                  <a:lnTo>
                    <a:pt x="432" y="285"/>
                  </a:lnTo>
                  <a:lnTo>
                    <a:pt x="432" y="285"/>
                  </a:lnTo>
                  <a:lnTo>
                    <a:pt x="432" y="286"/>
                  </a:lnTo>
                  <a:lnTo>
                    <a:pt x="433" y="286"/>
                  </a:lnTo>
                  <a:lnTo>
                    <a:pt x="433" y="286"/>
                  </a:lnTo>
                  <a:lnTo>
                    <a:pt x="433" y="286"/>
                  </a:lnTo>
                  <a:lnTo>
                    <a:pt x="434" y="286"/>
                  </a:lnTo>
                  <a:lnTo>
                    <a:pt x="436" y="287"/>
                  </a:lnTo>
                  <a:lnTo>
                    <a:pt x="437" y="287"/>
                  </a:lnTo>
                  <a:lnTo>
                    <a:pt x="437" y="287"/>
                  </a:lnTo>
                  <a:lnTo>
                    <a:pt x="438" y="287"/>
                  </a:lnTo>
                  <a:lnTo>
                    <a:pt x="439" y="287"/>
                  </a:lnTo>
                  <a:lnTo>
                    <a:pt x="439" y="287"/>
                  </a:lnTo>
                  <a:lnTo>
                    <a:pt x="440" y="288"/>
                  </a:lnTo>
                  <a:lnTo>
                    <a:pt x="440" y="289"/>
                  </a:lnTo>
                  <a:lnTo>
                    <a:pt x="441" y="289"/>
                  </a:lnTo>
                  <a:lnTo>
                    <a:pt x="442" y="292"/>
                  </a:lnTo>
                  <a:lnTo>
                    <a:pt x="442" y="292"/>
                  </a:lnTo>
                  <a:lnTo>
                    <a:pt x="443" y="293"/>
                  </a:lnTo>
                  <a:lnTo>
                    <a:pt x="444" y="294"/>
                  </a:lnTo>
                  <a:lnTo>
                    <a:pt x="445" y="295"/>
                  </a:lnTo>
                  <a:lnTo>
                    <a:pt x="446" y="295"/>
                  </a:lnTo>
                  <a:lnTo>
                    <a:pt x="447" y="296"/>
                  </a:lnTo>
                  <a:lnTo>
                    <a:pt x="449" y="297"/>
                  </a:lnTo>
                  <a:lnTo>
                    <a:pt x="451" y="297"/>
                  </a:lnTo>
                  <a:lnTo>
                    <a:pt x="452" y="298"/>
                  </a:lnTo>
                  <a:lnTo>
                    <a:pt x="453" y="299"/>
                  </a:lnTo>
                  <a:lnTo>
                    <a:pt x="455" y="300"/>
                  </a:lnTo>
                  <a:lnTo>
                    <a:pt x="456" y="301"/>
                  </a:lnTo>
                  <a:lnTo>
                    <a:pt x="456" y="301"/>
                  </a:lnTo>
                  <a:lnTo>
                    <a:pt x="457" y="302"/>
                  </a:lnTo>
                  <a:lnTo>
                    <a:pt x="457" y="303"/>
                  </a:lnTo>
                  <a:lnTo>
                    <a:pt x="458" y="303"/>
                  </a:lnTo>
                  <a:lnTo>
                    <a:pt x="458" y="304"/>
                  </a:lnTo>
                  <a:lnTo>
                    <a:pt x="459" y="306"/>
                  </a:lnTo>
                  <a:lnTo>
                    <a:pt x="460" y="307"/>
                  </a:lnTo>
                  <a:lnTo>
                    <a:pt x="460" y="308"/>
                  </a:lnTo>
                  <a:lnTo>
                    <a:pt x="460" y="308"/>
                  </a:lnTo>
                  <a:lnTo>
                    <a:pt x="460" y="309"/>
                  </a:lnTo>
                  <a:lnTo>
                    <a:pt x="458" y="310"/>
                  </a:lnTo>
                  <a:lnTo>
                    <a:pt x="458" y="311"/>
                  </a:lnTo>
                  <a:lnTo>
                    <a:pt x="458" y="311"/>
                  </a:lnTo>
                  <a:lnTo>
                    <a:pt x="457" y="311"/>
                  </a:lnTo>
                  <a:lnTo>
                    <a:pt x="457" y="311"/>
                  </a:lnTo>
                  <a:lnTo>
                    <a:pt x="456" y="311"/>
                  </a:lnTo>
                  <a:lnTo>
                    <a:pt x="455" y="311"/>
                  </a:lnTo>
                  <a:lnTo>
                    <a:pt x="455" y="312"/>
                  </a:lnTo>
                  <a:lnTo>
                    <a:pt x="455" y="312"/>
                  </a:lnTo>
                  <a:lnTo>
                    <a:pt x="455" y="313"/>
                  </a:lnTo>
                  <a:lnTo>
                    <a:pt x="455" y="313"/>
                  </a:lnTo>
                  <a:lnTo>
                    <a:pt x="455" y="314"/>
                  </a:lnTo>
                  <a:lnTo>
                    <a:pt x="454" y="315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7"/>
                  </a:lnTo>
                  <a:lnTo>
                    <a:pt x="454" y="317"/>
                  </a:lnTo>
                  <a:lnTo>
                    <a:pt x="454" y="317"/>
                  </a:lnTo>
                  <a:lnTo>
                    <a:pt x="453" y="317"/>
                  </a:lnTo>
                  <a:lnTo>
                    <a:pt x="453" y="318"/>
                  </a:lnTo>
                  <a:lnTo>
                    <a:pt x="452" y="319"/>
                  </a:lnTo>
                  <a:lnTo>
                    <a:pt x="451" y="319"/>
                  </a:lnTo>
                  <a:lnTo>
                    <a:pt x="451" y="319"/>
                  </a:lnTo>
                  <a:lnTo>
                    <a:pt x="450" y="320"/>
                  </a:lnTo>
                  <a:lnTo>
                    <a:pt x="450" y="320"/>
                  </a:lnTo>
                  <a:lnTo>
                    <a:pt x="449" y="320"/>
                  </a:lnTo>
                  <a:lnTo>
                    <a:pt x="449" y="321"/>
                  </a:lnTo>
                  <a:lnTo>
                    <a:pt x="448" y="324"/>
                  </a:lnTo>
                  <a:lnTo>
                    <a:pt x="447" y="326"/>
                  </a:lnTo>
                  <a:lnTo>
                    <a:pt x="447" y="326"/>
                  </a:lnTo>
                  <a:lnTo>
                    <a:pt x="446" y="326"/>
                  </a:lnTo>
                  <a:lnTo>
                    <a:pt x="446" y="326"/>
                  </a:lnTo>
                  <a:lnTo>
                    <a:pt x="445" y="326"/>
                  </a:lnTo>
                  <a:lnTo>
                    <a:pt x="444" y="325"/>
                  </a:lnTo>
                  <a:lnTo>
                    <a:pt x="442" y="324"/>
                  </a:lnTo>
                  <a:lnTo>
                    <a:pt x="441" y="323"/>
                  </a:lnTo>
                  <a:lnTo>
                    <a:pt x="439" y="321"/>
                  </a:lnTo>
                  <a:lnTo>
                    <a:pt x="438" y="320"/>
                  </a:lnTo>
                  <a:lnTo>
                    <a:pt x="437" y="319"/>
                  </a:lnTo>
                  <a:lnTo>
                    <a:pt x="434" y="315"/>
                  </a:lnTo>
                  <a:lnTo>
                    <a:pt x="433" y="314"/>
                  </a:lnTo>
                  <a:lnTo>
                    <a:pt x="432" y="313"/>
                  </a:lnTo>
                  <a:lnTo>
                    <a:pt x="431" y="312"/>
                  </a:lnTo>
                  <a:lnTo>
                    <a:pt x="430" y="311"/>
                  </a:lnTo>
                  <a:lnTo>
                    <a:pt x="428" y="310"/>
                  </a:lnTo>
                  <a:lnTo>
                    <a:pt x="427" y="310"/>
                  </a:lnTo>
                  <a:lnTo>
                    <a:pt x="426" y="309"/>
                  </a:lnTo>
                  <a:lnTo>
                    <a:pt x="425" y="309"/>
                  </a:lnTo>
                  <a:lnTo>
                    <a:pt x="424" y="308"/>
                  </a:lnTo>
                  <a:lnTo>
                    <a:pt x="423" y="308"/>
                  </a:lnTo>
                  <a:lnTo>
                    <a:pt x="421" y="308"/>
                  </a:lnTo>
                  <a:lnTo>
                    <a:pt x="420" y="307"/>
                  </a:lnTo>
                  <a:lnTo>
                    <a:pt x="415" y="307"/>
                  </a:lnTo>
                  <a:lnTo>
                    <a:pt x="414" y="306"/>
                  </a:lnTo>
                  <a:lnTo>
                    <a:pt x="413" y="306"/>
                  </a:lnTo>
                  <a:lnTo>
                    <a:pt x="412" y="305"/>
                  </a:lnTo>
                  <a:lnTo>
                    <a:pt x="411" y="305"/>
                  </a:lnTo>
                  <a:lnTo>
                    <a:pt x="410" y="304"/>
                  </a:lnTo>
                  <a:lnTo>
                    <a:pt x="409" y="304"/>
                  </a:lnTo>
                  <a:lnTo>
                    <a:pt x="407" y="302"/>
                  </a:lnTo>
                  <a:lnTo>
                    <a:pt x="402" y="300"/>
                  </a:lnTo>
                  <a:lnTo>
                    <a:pt x="398" y="297"/>
                  </a:lnTo>
                  <a:lnTo>
                    <a:pt x="397" y="296"/>
                  </a:lnTo>
                  <a:lnTo>
                    <a:pt x="396" y="295"/>
                  </a:lnTo>
                  <a:lnTo>
                    <a:pt x="394" y="294"/>
                  </a:lnTo>
                  <a:lnTo>
                    <a:pt x="392" y="293"/>
                  </a:lnTo>
                  <a:lnTo>
                    <a:pt x="390" y="293"/>
                  </a:lnTo>
                  <a:lnTo>
                    <a:pt x="389" y="293"/>
                  </a:lnTo>
                  <a:lnTo>
                    <a:pt x="388" y="292"/>
                  </a:lnTo>
                  <a:lnTo>
                    <a:pt x="387" y="292"/>
                  </a:lnTo>
                  <a:lnTo>
                    <a:pt x="385" y="292"/>
                  </a:lnTo>
                  <a:lnTo>
                    <a:pt x="383" y="292"/>
                  </a:lnTo>
                  <a:lnTo>
                    <a:pt x="380" y="293"/>
                  </a:lnTo>
                  <a:lnTo>
                    <a:pt x="379" y="293"/>
                  </a:lnTo>
                  <a:lnTo>
                    <a:pt x="378" y="293"/>
                  </a:lnTo>
                  <a:lnTo>
                    <a:pt x="377" y="292"/>
                  </a:lnTo>
                  <a:lnTo>
                    <a:pt x="375" y="292"/>
                  </a:lnTo>
                  <a:lnTo>
                    <a:pt x="374" y="292"/>
                  </a:lnTo>
                  <a:lnTo>
                    <a:pt x="374" y="292"/>
                  </a:lnTo>
                  <a:lnTo>
                    <a:pt x="372" y="291"/>
                  </a:lnTo>
                  <a:lnTo>
                    <a:pt x="370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8" y="290"/>
                  </a:lnTo>
                  <a:lnTo>
                    <a:pt x="368" y="290"/>
                  </a:lnTo>
                  <a:lnTo>
                    <a:pt x="367" y="290"/>
                  </a:lnTo>
                  <a:lnTo>
                    <a:pt x="367" y="291"/>
                  </a:lnTo>
                  <a:lnTo>
                    <a:pt x="367" y="291"/>
                  </a:lnTo>
                  <a:lnTo>
                    <a:pt x="366" y="292"/>
                  </a:lnTo>
                  <a:lnTo>
                    <a:pt x="366" y="295"/>
                  </a:lnTo>
                  <a:lnTo>
                    <a:pt x="365" y="296"/>
                  </a:lnTo>
                  <a:lnTo>
                    <a:pt x="364" y="298"/>
                  </a:lnTo>
                  <a:lnTo>
                    <a:pt x="363" y="300"/>
                  </a:lnTo>
                  <a:lnTo>
                    <a:pt x="362" y="301"/>
                  </a:lnTo>
                  <a:lnTo>
                    <a:pt x="362" y="302"/>
                  </a:lnTo>
                  <a:lnTo>
                    <a:pt x="361" y="302"/>
                  </a:lnTo>
                  <a:lnTo>
                    <a:pt x="360" y="303"/>
                  </a:lnTo>
                  <a:lnTo>
                    <a:pt x="360" y="303"/>
                  </a:lnTo>
                  <a:lnTo>
                    <a:pt x="359" y="303"/>
                  </a:lnTo>
                  <a:lnTo>
                    <a:pt x="359" y="304"/>
                  </a:lnTo>
                  <a:lnTo>
                    <a:pt x="357" y="304"/>
                  </a:lnTo>
                  <a:lnTo>
                    <a:pt x="355" y="304"/>
                  </a:lnTo>
                  <a:lnTo>
                    <a:pt x="352" y="304"/>
                  </a:lnTo>
                  <a:lnTo>
                    <a:pt x="351" y="304"/>
                  </a:lnTo>
                  <a:lnTo>
                    <a:pt x="349" y="305"/>
                  </a:lnTo>
                  <a:lnTo>
                    <a:pt x="348" y="305"/>
                  </a:lnTo>
                  <a:lnTo>
                    <a:pt x="346" y="306"/>
                  </a:lnTo>
                  <a:lnTo>
                    <a:pt x="344" y="307"/>
                  </a:lnTo>
                  <a:lnTo>
                    <a:pt x="341" y="308"/>
                  </a:lnTo>
                  <a:lnTo>
                    <a:pt x="340" y="309"/>
                  </a:lnTo>
                  <a:lnTo>
                    <a:pt x="339" y="309"/>
                  </a:lnTo>
                  <a:lnTo>
                    <a:pt x="338" y="309"/>
                  </a:lnTo>
                  <a:lnTo>
                    <a:pt x="337" y="309"/>
                  </a:lnTo>
                  <a:lnTo>
                    <a:pt x="335" y="309"/>
                  </a:lnTo>
                  <a:lnTo>
                    <a:pt x="334" y="309"/>
                  </a:lnTo>
                  <a:lnTo>
                    <a:pt x="334" y="309"/>
                  </a:lnTo>
                  <a:lnTo>
                    <a:pt x="333" y="309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2" y="308"/>
                  </a:lnTo>
                  <a:lnTo>
                    <a:pt x="331" y="308"/>
                  </a:lnTo>
                  <a:lnTo>
                    <a:pt x="331" y="308"/>
                  </a:lnTo>
                  <a:lnTo>
                    <a:pt x="331" y="307"/>
                  </a:lnTo>
                  <a:lnTo>
                    <a:pt x="331" y="307"/>
                  </a:lnTo>
                  <a:lnTo>
                    <a:pt x="331" y="306"/>
                  </a:lnTo>
                  <a:lnTo>
                    <a:pt x="331" y="302"/>
                  </a:lnTo>
                  <a:lnTo>
                    <a:pt x="331" y="302"/>
                  </a:lnTo>
                  <a:lnTo>
                    <a:pt x="331" y="301"/>
                  </a:lnTo>
                  <a:lnTo>
                    <a:pt x="331" y="300"/>
                  </a:lnTo>
                  <a:lnTo>
                    <a:pt x="331" y="299"/>
                  </a:lnTo>
                  <a:lnTo>
                    <a:pt x="330" y="297"/>
                  </a:lnTo>
                  <a:lnTo>
                    <a:pt x="330" y="296"/>
                  </a:lnTo>
                  <a:lnTo>
                    <a:pt x="329" y="293"/>
                  </a:lnTo>
                  <a:lnTo>
                    <a:pt x="329" y="291"/>
                  </a:lnTo>
                  <a:lnTo>
                    <a:pt x="328" y="290"/>
                  </a:lnTo>
                  <a:lnTo>
                    <a:pt x="328" y="290"/>
                  </a:lnTo>
                  <a:lnTo>
                    <a:pt x="328" y="289"/>
                  </a:lnTo>
                  <a:lnTo>
                    <a:pt x="327" y="288"/>
                  </a:lnTo>
                  <a:lnTo>
                    <a:pt x="326" y="288"/>
                  </a:lnTo>
                  <a:lnTo>
                    <a:pt x="325" y="287"/>
                  </a:lnTo>
                  <a:lnTo>
                    <a:pt x="325" y="287"/>
                  </a:lnTo>
                  <a:lnTo>
                    <a:pt x="323" y="286"/>
                  </a:lnTo>
                  <a:lnTo>
                    <a:pt x="322" y="286"/>
                  </a:lnTo>
                  <a:lnTo>
                    <a:pt x="321" y="286"/>
                  </a:lnTo>
                  <a:lnTo>
                    <a:pt x="319" y="285"/>
                  </a:lnTo>
                  <a:lnTo>
                    <a:pt x="317" y="285"/>
                  </a:lnTo>
                  <a:lnTo>
                    <a:pt x="316" y="285"/>
                  </a:lnTo>
                  <a:lnTo>
                    <a:pt x="313" y="285"/>
                  </a:lnTo>
                  <a:lnTo>
                    <a:pt x="311" y="285"/>
                  </a:lnTo>
                  <a:lnTo>
                    <a:pt x="310" y="285"/>
                  </a:lnTo>
                  <a:lnTo>
                    <a:pt x="309" y="285"/>
                  </a:lnTo>
                  <a:lnTo>
                    <a:pt x="308" y="284"/>
                  </a:lnTo>
                  <a:lnTo>
                    <a:pt x="306" y="284"/>
                  </a:lnTo>
                  <a:lnTo>
                    <a:pt x="306" y="284"/>
                  </a:lnTo>
                  <a:lnTo>
                    <a:pt x="305" y="283"/>
                  </a:lnTo>
                  <a:lnTo>
                    <a:pt x="304" y="283"/>
                  </a:lnTo>
                  <a:lnTo>
                    <a:pt x="303" y="283"/>
                  </a:lnTo>
                  <a:lnTo>
                    <a:pt x="302" y="282"/>
                  </a:lnTo>
                  <a:lnTo>
                    <a:pt x="300" y="280"/>
                  </a:lnTo>
                  <a:lnTo>
                    <a:pt x="300" y="280"/>
                  </a:lnTo>
                  <a:lnTo>
                    <a:pt x="299" y="279"/>
                  </a:lnTo>
                  <a:lnTo>
                    <a:pt x="299" y="279"/>
                  </a:lnTo>
                  <a:lnTo>
                    <a:pt x="298" y="279"/>
                  </a:lnTo>
                  <a:lnTo>
                    <a:pt x="297" y="278"/>
                  </a:lnTo>
                  <a:lnTo>
                    <a:pt x="297" y="278"/>
                  </a:lnTo>
                  <a:lnTo>
                    <a:pt x="293" y="278"/>
                  </a:lnTo>
                  <a:lnTo>
                    <a:pt x="290" y="277"/>
                  </a:lnTo>
                  <a:lnTo>
                    <a:pt x="289" y="277"/>
                  </a:lnTo>
                  <a:lnTo>
                    <a:pt x="288" y="277"/>
                  </a:lnTo>
                  <a:lnTo>
                    <a:pt x="287" y="277"/>
                  </a:lnTo>
                  <a:lnTo>
                    <a:pt x="286" y="277"/>
                  </a:lnTo>
                  <a:lnTo>
                    <a:pt x="285" y="277"/>
                  </a:lnTo>
                  <a:lnTo>
                    <a:pt x="284" y="278"/>
                  </a:lnTo>
                  <a:lnTo>
                    <a:pt x="283" y="278"/>
                  </a:lnTo>
                  <a:lnTo>
                    <a:pt x="282" y="279"/>
                  </a:lnTo>
                  <a:lnTo>
                    <a:pt x="282" y="279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1"/>
                  </a:lnTo>
                  <a:lnTo>
                    <a:pt x="280" y="283"/>
                  </a:lnTo>
                  <a:lnTo>
                    <a:pt x="280" y="284"/>
                  </a:lnTo>
                  <a:lnTo>
                    <a:pt x="280" y="286"/>
                  </a:lnTo>
                  <a:lnTo>
                    <a:pt x="279" y="287"/>
                  </a:lnTo>
                  <a:lnTo>
                    <a:pt x="278" y="288"/>
                  </a:lnTo>
                  <a:lnTo>
                    <a:pt x="277" y="290"/>
                  </a:lnTo>
                  <a:lnTo>
                    <a:pt x="277" y="292"/>
                  </a:lnTo>
                  <a:lnTo>
                    <a:pt x="277" y="292"/>
                  </a:lnTo>
                  <a:lnTo>
                    <a:pt x="276" y="294"/>
                  </a:lnTo>
                  <a:lnTo>
                    <a:pt x="276" y="295"/>
                  </a:lnTo>
                  <a:lnTo>
                    <a:pt x="275" y="296"/>
                  </a:lnTo>
                  <a:lnTo>
                    <a:pt x="275" y="297"/>
                  </a:lnTo>
                  <a:lnTo>
                    <a:pt x="275" y="298"/>
                  </a:lnTo>
                  <a:lnTo>
                    <a:pt x="275" y="300"/>
                  </a:lnTo>
                  <a:lnTo>
                    <a:pt x="275" y="302"/>
                  </a:lnTo>
                  <a:lnTo>
                    <a:pt x="275" y="304"/>
                  </a:lnTo>
                  <a:lnTo>
                    <a:pt x="275" y="305"/>
                  </a:lnTo>
                  <a:lnTo>
                    <a:pt x="276" y="308"/>
                  </a:lnTo>
                  <a:lnTo>
                    <a:pt x="276" y="313"/>
                  </a:lnTo>
                  <a:lnTo>
                    <a:pt x="277" y="316"/>
                  </a:lnTo>
                  <a:lnTo>
                    <a:pt x="277" y="318"/>
                  </a:lnTo>
                  <a:lnTo>
                    <a:pt x="278" y="323"/>
                  </a:lnTo>
                  <a:lnTo>
                    <a:pt x="278" y="325"/>
                  </a:lnTo>
                  <a:lnTo>
                    <a:pt x="278" y="326"/>
                  </a:lnTo>
                  <a:lnTo>
                    <a:pt x="278" y="328"/>
                  </a:lnTo>
                  <a:lnTo>
                    <a:pt x="278" y="329"/>
                  </a:lnTo>
                  <a:lnTo>
                    <a:pt x="278" y="330"/>
                  </a:lnTo>
                  <a:lnTo>
                    <a:pt x="278" y="332"/>
                  </a:lnTo>
                  <a:lnTo>
                    <a:pt x="277" y="334"/>
                  </a:lnTo>
                  <a:lnTo>
                    <a:pt x="276" y="340"/>
                  </a:lnTo>
                  <a:lnTo>
                    <a:pt x="276" y="341"/>
                  </a:lnTo>
                  <a:lnTo>
                    <a:pt x="275" y="343"/>
                  </a:lnTo>
                  <a:lnTo>
                    <a:pt x="275" y="344"/>
                  </a:lnTo>
                  <a:lnTo>
                    <a:pt x="274" y="346"/>
                  </a:lnTo>
                  <a:lnTo>
                    <a:pt x="274" y="347"/>
                  </a:lnTo>
                  <a:lnTo>
                    <a:pt x="274" y="349"/>
                  </a:lnTo>
                  <a:lnTo>
                    <a:pt x="274" y="350"/>
                  </a:lnTo>
                  <a:lnTo>
                    <a:pt x="274" y="354"/>
                  </a:lnTo>
                  <a:lnTo>
                    <a:pt x="274" y="355"/>
                  </a:lnTo>
                  <a:lnTo>
                    <a:pt x="274" y="356"/>
                  </a:lnTo>
                  <a:lnTo>
                    <a:pt x="274" y="357"/>
                  </a:lnTo>
                  <a:lnTo>
                    <a:pt x="274" y="357"/>
                  </a:lnTo>
                  <a:lnTo>
                    <a:pt x="273" y="360"/>
                  </a:lnTo>
                  <a:lnTo>
                    <a:pt x="272" y="361"/>
                  </a:lnTo>
                  <a:lnTo>
                    <a:pt x="271" y="366"/>
                  </a:lnTo>
                  <a:lnTo>
                    <a:pt x="270" y="369"/>
                  </a:lnTo>
                  <a:lnTo>
                    <a:pt x="270" y="370"/>
                  </a:lnTo>
                  <a:lnTo>
                    <a:pt x="269" y="372"/>
                  </a:lnTo>
                  <a:lnTo>
                    <a:pt x="269" y="374"/>
                  </a:lnTo>
                  <a:lnTo>
                    <a:pt x="269" y="376"/>
                  </a:lnTo>
                  <a:lnTo>
                    <a:pt x="269" y="377"/>
                  </a:lnTo>
                  <a:lnTo>
                    <a:pt x="269" y="378"/>
                  </a:lnTo>
                  <a:lnTo>
                    <a:pt x="269" y="379"/>
                  </a:lnTo>
                  <a:lnTo>
                    <a:pt x="269" y="380"/>
                  </a:lnTo>
                  <a:lnTo>
                    <a:pt x="269" y="381"/>
                  </a:lnTo>
                  <a:lnTo>
                    <a:pt x="270" y="382"/>
                  </a:lnTo>
                  <a:lnTo>
                    <a:pt x="270" y="383"/>
                  </a:lnTo>
                  <a:lnTo>
                    <a:pt x="272" y="385"/>
                  </a:lnTo>
                  <a:lnTo>
                    <a:pt x="272" y="386"/>
                  </a:lnTo>
                  <a:lnTo>
                    <a:pt x="272" y="386"/>
                  </a:lnTo>
                  <a:lnTo>
                    <a:pt x="273" y="387"/>
                  </a:lnTo>
                  <a:lnTo>
                    <a:pt x="273" y="388"/>
                  </a:lnTo>
                  <a:lnTo>
                    <a:pt x="273" y="389"/>
                  </a:lnTo>
                  <a:lnTo>
                    <a:pt x="273" y="390"/>
                  </a:lnTo>
                  <a:lnTo>
                    <a:pt x="272" y="390"/>
                  </a:lnTo>
                  <a:lnTo>
                    <a:pt x="272" y="391"/>
                  </a:lnTo>
                  <a:lnTo>
                    <a:pt x="271" y="392"/>
                  </a:lnTo>
                  <a:lnTo>
                    <a:pt x="271" y="393"/>
                  </a:lnTo>
                  <a:lnTo>
                    <a:pt x="270" y="393"/>
                  </a:lnTo>
                  <a:lnTo>
                    <a:pt x="269" y="394"/>
                  </a:lnTo>
                  <a:lnTo>
                    <a:pt x="268" y="394"/>
                  </a:lnTo>
                  <a:lnTo>
                    <a:pt x="267" y="394"/>
                  </a:lnTo>
                  <a:lnTo>
                    <a:pt x="266" y="394"/>
                  </a:lnTo>
                  <a:lnTo>
                    <a:pt x="264" y="394"/>
                  </a:lnTo>
                  <a:lnTo>
                    <a:pt x="263" y="394"/>
                  </a:lnTo>
                  <a:lnTo>
                    <a:pt x="258" y="392"/>
                  </a:lnTo>
                  <a:lnTo>
                    <a:pt x="255" y="391"/>
                  </a:lnTo>
                  <a:lnTo>
                    <a:pt x="253" y="391"/>
                  </a:lnTo>
                  <a:lnTo>
                    <a:pt x="252" y="391"/>
                  </a:lnTo>
                  <a:lnTo>
                    <a:pt x="248" y="389"/>
                  </a:lnTo>
                  <a:lnTo>
                    <a:pt x="247" y="389"/>
                  </a:lnTo>
                  <a:lnTo>
                    <a:pt x="245" y="388"/>
                  </a:lnTo>
                  <a:lnTo>
                    <a:pt x="244" y="388"/>
                  </a:lnTo>
                  <a:lnTo>
                    <a:pt x="243" y="387"/>
                  </a:lnTo>
                  <a:lnTo>
                    <a:pt x="242" y="387"/>
                  </a:lnTo>
                  <a:lnTo>
                    <a:pt x="238" y="386"/>
                  </a:lnTo>
                  <a:lnTo>
                    <a:pt x="235" y="386"/>
                  </a:lnTo>
                  <a:lnTo>
                    <a:pt x="233" y="385"/>
                  </a:lnTo>
                  <a:lnTo>
                    <a:pt x="232" y="385"/>
                  </a:lnTo>
                  <a:lnTo>
                    <a:pt x="231" y="385"/>
                  </a:lnTo>
                  <a:lnTo>
                    <a:pt x="230" y="385"/>
                  </a:lnTo>
                  <a:lnTo>
                    <a:pt x="229" y="386"/>
                  </a:lnTo>
                  <a:lnTo>
                    <a:pt x="229" y="386"/>
                  </a:lnTo>
                  <a:lnTo>
                    <a:pt x="228" y="386"/>
                  </a:lnTo>
                  <a:lnTo>
                    <a:pt x="227" y="386"/>
                  </a:lnTo>
                  <a:lnTo>
                    <a:pt x="227" y="387"/>
                  </a:lnTo>
                  <a:lnTo>
                    <a:pt x="226" y="387"/>
                  </a:lnTo>
                  <a:lnTo>
                    <a:pt x="225" y="388"/>
                  </a:lnTo>
                  <a:lnTo>
                    <a:pt x="225" y="388"/>
                  </a:lnTo>
                  <a:lnTo>
                    <a:pt x="224" y="389"/>
                  </a:lnTo>
                  <a:lnTo>
                    <a:pt x="224" y="389"/>
                  </a:lnTo>
                  <a:lnTo>
                    <a:pt x="224" y="390"/>
                  </a:lnTo>
                  <a:lnTo>
                    <a:pt x="224" y="391"/>
                  </a:lnTo>
                  <a:lnTo>
                    <a:pt x="223" y="394"/>
                  </a:lnTo>
                  <a:lnTo>
                    <a:pt x="222" y="399"/>
                  </a:lnTo>
                  <a:lnTo>
                    <a:pt x="222" y="401"/>
                  </a:lnTo>
                  <a:lnTo>
                    <a:pt x="221" y="404"/>
                  </a:lnTo>
                  <a:lnTo>
                    <a:pt x="221" y="405"/>
                  </a:lnTo>
                  <a:lnTo>
                    <a:pt x="221" y="406"/>
                  </a:lnTo>
                  <a:lnTo>
                    <a:pt x="220" y="407"/>
                  </a:lnTo>
                  <a:lnTo>
                    <a:pt x="220" y="408"/>
                  </a:lnTo>
                  <a:lnTo>
                    <a:pt x="219" y="409"/>
                  </a:lnTo>
                  <a:lnTo>
                    <a:pt x="218" y="410"/>
                  </a:lnTo>
                  <a:lnTo>
                    <a:pt x="217" y="412"/>
                  </a:lnTo>
                  <a:lnTo>
                    <a:pt x="215" y="414"/>
                  </a:lnTo>
                  <a:lnTo>
                    <a:pt x="214" y="415"/>
                  </a:lnTo>
                  <a:lnTo>
                    <a:pt x="213" y="416"/>
                  </a:lnTo>
                  <a:lnTo>
                    <a:pt x="212" y="416"/>
                  </a:lnTo>
                  <a:lnTo>
                    <a:pt x="211" y="417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Freeform 13">
              <a:extLst>
                <a:ext uri="{FF2B5EF4-FFF2-40B4-BE49-F238E27FC236}">
                  <a16:creationId xmlns:a16="http://schemas.microsoft.com/office/drawing/2014/main" id="{025D1216-EB86-27AB-886B-F67A4EBB51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3556"/>
              <a:ext cx="373" cy="465"/>
            </a:xfrm>
            <a:custGeom>
              <a:avLst/>
              <a:gdLst>
                <a:gd name="T0" fmla="*/ 359 w 373"/>
                <a:gd name="T1" fmla="*/ 411 h 465"/>
                <a:gd name="T2" fmla="*/ 357 w 373"/>
                <a:gd name="T3" fmla="*/ 438 h 465"/>
                <a:gd name="T4" fmla="*/ 352 w 373"/>
                <a:gd name="T5" fmla="*/ 452 h 465"/>
                <a:gd name="T6" fmla="*/ 344 w 373"/>
                <a:gd name="T7" fmla="*/ 453 h 465"/>
                <a:gd name="T8" fmla="*/ 334 w 373"/>
                <a:gd name="T9" fmla="*/ 444 h 465"/>
                <a:gd name="T10" fmla="*/ 324 w 373"/>
                <a:gd name="T11" fmla="*/ 435 h 465"/>
                <a:gd name="T12" fmla="*/ 310 w 373"/>
                <a:gd name="T13" fmla="*/ 441 h 465"/>
                <a:gd name="T14" fmla="*/ 292 w 373"/>
                <a:gd name="T15" fmla="*/ 436 h 465"/>
                <a:gd name="T16" fmla="*/ 279 w 373"/>
                <a:gd name="T17" fmla="*/ 425 h 465"/>
                <a:gd name="T18" fmla="*/ 275 w 373"/>
                <a:gd name="T19" fmla="*/ 434 h 465"/>
                <a:gd name="T20" fmla="*/ 269 w 373"/>
                <a:gd name="T21" fmla="*/ 448 h 465"/>
                <a:gd name="T22" fmla="*/ 257 w 373"/>
                <a:gd name="T23" fmla="*/ 451 h 465"/>
                <a:gd name="T24" fmla="*/ 249 w 373"/>
                <a:gd name="T25" fmla="*/ 459 h 465"/>
                <a:gd name="T26" fmla="*/ 239 w 373"/>
                <a:gd name="T27" fmla="*/ 465 h 465"/>
                <a:gd name="T28" fmla="*/ 212 w 373"/>
                <a:gd name="T29" fmla="*/ 454 h 465"/>
                <a:gd name="T30" fmla="*/ 183 w 373"/>
                <a:gd name="T31" fmla="*/ 448 h 465"/>
                <a:gd name="T32" fmla="*/ 165 w 373"/>
                <a:gd name="T33" fmla="*/ 447 h 465"/>
                <a:gd name="T34" fmla="*/ 152 w 373"/>
                <a:gd name="T35" fmla="*/ 438 h 465"/>
                <a:gd name="T36" fmla="*/ 144 w 373"/>
                <a:gd name="T37" fmla="*/ 428 h 465"/>
                <a:gd name="T38" fmla="*/ 147 w 373"/>
                <a:gd name="T39" fmla="*/ 421 h 465"/>
                <a:gd name="T40" fmla="*/ 154 w 373"/>
                <a:gd name="T41" fmla="*/ 414 h 465"/>
                <a:gd name="T42" fmla="*/ 143 w 373"/>
                <a:gd name="T43" fmla="*/ 401 h 465"/>
                <a:gd name="T44" fmla="*/ 128 w 373"/>
                <a:gd name="T45" fmla="*/ 391 h 465"/>
                <a:gd name="T46" fmla="*/ 108 w 373"/>
                <a:gd name="T47" fmla="*/ 375 h 465"/>
                <a:gd name="T48" fmla="*/ 86 w 373"/>
                <a:gd name="T49" fmla="*/ 363 h 465"/>
                <a:gd name="T50" fmla="*/ 79 w 373"/>
                <a:gd name="T51" fmla="*/ 352 h 465"/>
                <a:gd name="T52" fmla="*/ 70 w 373"/>
                <a:gd name="T53" fmla="*/ 336 h 465"/>
                <a:gd name="T54" fmla="*/ 61 w 373"/>
                <a:gd name="T55" fmla="*/ 318 h 465"/>
                <a:gd name="T56" fmla="*/ 49 w 373"/>
                <a:gd name="T57" fmla="*/ 313 h 465"/>
                <a:gd name="T58" fmla="*/ 34 w 373"/>
                <a:gd name="T59" fmla="*/ 306 h 465"/>
                <a:gd name="T60" fmla="*/ 23 w 373"/>
                <a:gd name="T61" fmla="*/ 283 h 465"/>
                <a:gd name="T62" fmla="*/ 13 w 373"/>
                <a:gd name="T63" fmla="*/ 276 h 465"/>
                <a:gd name="T64" fmla="*/ 3 w 373"/>
                <a:gd name="T65" fmla="*/ 272 h 465"/>
                <a:gd name="T66" fmla="*/ 0 w 373"/>
                <a:gd name="T67" fmla="*/ 259 h 465"/>
                <a:gd name="T68" fmla="*/ 6 w 373"/>
                <a:gd name="T69" fmla="*/ 240 h 465"/>
                <a:gd name="T70" fmla="*/ 16 w 373"/>
                <a:gd name="T71" fmla="*/ 233 h 465"/>
                <a:gd name="T72" fmla="*/ 17 w 373"/>
                <a:gd name="T73" fmla="*/ 219 h 465"/>
                <a:gd name="T74" fmla="*/ 16 w 373"/>
                <a:gd name="T75" fmla="*/ 200 h 465"/>
                <a:gd name="T76" fmla="*/ 25 w 373"/>
                <a:gd name="T77" fmla="*/ 192 h 465"/>
                <a:gd name="T78" fmla="*/ 38 w 373"/>
                <a:gd name="T79" fmla="*/ 185 h 465"/>
                <a:gd name="T80" fmla="*/ 49 w 373"/>
                <a:gd name="T81" fmla="*/ 173 h 465"/>
                <a:gd name="T82" fmla="*/ 53 w 373"/>
                <a:gd name="T83" fmla="*/ 163 h 465"/>
                <a:gd name="T84" fmla="*/ 48 w 373"/>
                <a:gd name="T85" fmla="*/ 151 h 465"/>
                <a:gd name="T86" fmla="*/ 56 w 373"/>
                <a:gd name="T87" fmla="*/ 144 h 465"/>
                <a:gd name="T88" fmla="*/ 54 w 373"/>
                <a:gd name="T89" fmla="*/ 137 h 465"/>
                <a:gd name="T90" fmla="*/ 53 w 373"/>
                <a:gd name="T91" fmla="*/ 131 h 465"/>
                <a:gd name="T92" fmla="*/ 59 w 373"/>
                <a:gd name="T93" fmla="*/ 125 h 465"/>
                <a:gd name="T94" fmla="*/ 60 w 373"/>
                <a:gd name="T95" fmla="*/ 115 h 465"/>
                <a:gd name="T96" fmla="*/ 73 w 373"/>
                <a:gd name="T97" fmla="*/ 99 h 465"/>
                <a:gd name="T98" fmla="*/ 76 w 373"/>
                <a:gd name="T99" fmla="*/ 86 h 465"/>
                <a:gd name="T100" fmla="*/ 71 w 373"/>
                <a:gd name="T101" fmla="*/ 66 h 465"/>
                <a:gd name="T102" fmla="*/ 74 w 373"/>
                <a:gd name="T103" fmla="*/ 52 h 465"/>
                <a:gd name="T104" fmla="*/ 70 w 373"/>
                <a:gd name="T105" fmla="*/ 35 h 465"/>
                <a:gd name="T106" fmla="*/ 70 w 373"/>
                <a:gd name="T107" fmla="*/ 23 h 465"/>
                <a:gd name="T108" fmla="*/ 76 w 373"/>
                <a:gd name="T109" fmla="*/ 21 h 465"/>
                <a:gd name="T110" fmla="*/ 90 w 373"/>
                <a:gd name="T111" fmla="*/ 18 h 465"/>
                <a:gd name="T112" fmla="*/ 101 w 373"/>
                <a:gd name="T113" fmla="*/ 18 h 465"/>
                <a:gd name="T114" fmla="*/ 111 w 373"/>
                <a:gd name="T115" fmla="*/ 23 h 465"/>
                <a:gd name="T116" fmla="*/ 122 w 373"/>
                <a:gd name="T117" fmla="*/ 25 h 465"/>
                <a:gd name="T118" fmla="*/ 135 w 373"/>
                <a:gd name="T119" fmla="*/ 20 h 465"/>
                <a:gd name="T120" fmla="*/ 144 w 373"/>
                <a:gd name="T121" fmla="*/ 13 h 465"/>
                <a:gd name="T122" fmla="*/ 157 w 373"/>
                <a:gd name="T123" fmla="*/ 1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" h="465">
                  <a:moveTo>
                    <a:pt x="373" y="394"/>
                  </a:moveTo>
                  <a:lnTo>
                    <a:pt x="370" y="396"/>
                  </a:lnTo>
                  <a:lnTo>
                    <a:pt x="367" y="399"/>
                  </a:lnTo>
                  <a:lnTo>
                    <a:pt x="365" y="400"/>
                  </a:lnTo>
                  <a:lnTo>
                    <a:pt x="364" y="401"/>
                  </a:lnTo>
                  <a:lnTo>
                    <a:pt x="364" y="402"/>
                  </a:lnTo>
                  <a:lnTo>
                    <a:pt x="363" y="403"/>
                  </a:lnTo>
                  <a:lnTo>
                    <a:pt x="362" y="404"/>
                  </a:lnTo>
                  <a:lnTo>
                    <a:pt x="361" y="406"/>
                  </a:lnTo>
                  <a:lnTo>
                    <a:pt x="360" y="408"/>
                  </a:lnTo>
                  <a:lnTo>
                    <a:pt x="360" y="409"/>
                  </a:lnTo>
                  <a:lnTo>
                    <a:pt x="359" y="411"/>
                  </a:lnTo>
                  <a:lnTo>
                    <a:pt x="358" y="414"/>
                  </a:lnTo>
                  <a:lnTo>
                    <a:pt x="358" y="415"/>
                  </a:lnTo>
                  <a:lnTo>
                    <a:pt x="357" y="417"/>
                  </a:lnTo>
                  <a:lnTo>
                    <a:pt x="357" y="418"/>
                  </a:lnTo>
                  <a:lnTo>
                    <a:pt x="357" y="420"/>
                  </a:lnTo>
                  <a:lnTo>
                    <a:pt x="357" y="421"/>
                  </a:lnTo>
                  <a:lnTo>
                    <a:pt x="357" y="422"/>
                  </a:lnTo>
                  <a:lnTo>
                    <a:pt x="357" y="428"/>
                  </a:lnTo>
                  <a:lnTo>
                    <a:pt x="357" y="430"/>
                  </a:lnTo>
                  <a:lnTo>
                    <a:pt x="357" y="431"/>
                  </a:lnTo>
                  <a:lnTo>
                    <a:pt x="357" y="433"/>
                  </a:lnTo>
                  <a:lnTo>
                    <a:pt x="357" y="438"/>
                  </a:lnTo>
                  <a:lnTo>
                    <a:pt x="357" y="441"/>
                  </a:lnTo>
                  <a:lnTo>
                    <a:pt x="357" y="442"/>
                  </a:lnTo>
                  <a:lnTo>
                    <a:pt x="356" y="444"/>
                  </a:lnTo>
                  <a:lnTo>
                    <a:pt x="356" y="445"/>
                  </a:lnTo>
                  <a:lnTo>
                    <a:pt x="356" y="446"/>
                  </a:lnTo>
                  <a:lnTo>
                    <a:pt x="356" y="446"/>
                  </a:lnTo>
                  <a:lnTo>
                    <a:pt x="355" y="448"/>
                  </a:lnTo>
                  <a:lnTo>
                    <a:pt x="355" y="449"/>
                  </a:lnTo>
                  <a:lnTo>
                    <a:pt x="354" y="450"/>
                  </a:lnTo>
                  <a:lnTo>
                    <a:pt x="353" y="450"/>
                  </a:lnTo>
                  <a:lnTo>
                    <a:pt x="353" y="451"/>
                  </a:lnTo>
                  <a:lnTo>
                    <a:pt x="352" y="452"/>
                  </a:lnTo>
                  <a:lnTo>
                    <a:pt x="352" y="452"/>
                  </a:lnTo>
                  <a:lnTo>
                    <a:pt x="351" y="452"/>
                  </a:lnTo>
                  <a:lnTo>
                    <a:pt x="351" y="453"/>
                  </a:lnTo>
                  <a:lnTo>
                    <a:pt x="350" y="453"/>
                  </a:lnTo>
                  <a:lnTo>
                    <a:pt x="350" y="453"/>
                  </a:lnTo>
                  <a:lnTo>
                    <a:pt x="349" y="453"/>
                  </a:lnTo>
                  <a:lnTo>
                    <a:pt x="348" y="453"/>
                  </a:lnTo>
                  <a:lnTo>
                    <a:pt x="347" y="453"/>
                  </a:lnTo>
                  <a:lnTo>
                    <a:pt x="346" y="453"/>
                  </a:lnTo>
                  <a:lnTo>
                    <a:pt x="345" y="453"/>
                  </a:lnTo>
                  <a:lnTo>
                    <a:pt x="344" y="453"/>
                  </a:lnTo>
                  <a:lnTo>
                    <a:pt x="344" y="453"/>
                  </a:lnTo>
                  <a:lnTo>
                    <a:pt x="343" y="453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1" y="451"/>
                  </a:lnTo>
                  <a:lnTo>
                    <a:pt x="340" y="451"/>
                  </a:lnTo>
                  <a:lnTo>
                    <a:pt x="340" y="450"/>
                  </a:lnTo>
                  <a:lnTo>
                    <a:pt x="337" y="447"/>
                  </a:lnTo>
                  <a:lnTo>
                    <a:pt x="337" y="446"/>
                  </a:lnTo>
                  <a:lnTo>
                    <a:pt x="336" y="445"/>
                  </a:lnTo>
                  <a:lnTo>
                    <a:pt x="335" y="444"/>
                  </a:lnTo>
                  <a:lnTo>
                    <a:pt x="334" y="444"/>
                  </a:lnTo>
                  <a:lnTo>
                    <a:pt x="333" y="444"/>
                  </a:lnTo>
                  <a:lnTo>
                    <a:pt x="332" y="443"/>
                  </a:lnTo>
                  <a:lnTo>
                    <a:pt x="331" y="443"/>
                  </a:lnTo>
                  <a:lnTo>
                    <a:pt x="330" y="442"/>
                  </a:lnTo>
                  <a:lnTo>
                    <a:pt x="330" y="442"/>
                  </a:lnTo>
                  <a:lnTo>
                    <a:pt x="329" y="441"/>
                  </a:lnTo>
                  <a:lnTo>
                    <a:pt x="328" y="440"/>
                  </a:lnTo>
                  <a:lnTo>
                    <a:pt x="328" y="440"/>
                  </a:lnTo>
                  <a:lnTo>
                    <a:pt x="326" y="438"/>
                  </a:lnTo>
                  <a:lnTo>
                    <a:pt x="326" y="436"/>
                  </a:lnTo>
                  <a:lnTo>
                    <a:pt x="325" y="436"/>
                  </a:lnTo>
                  <a:lnTo>
                    <a:pt x="324" y="435"/>
                  </a:lnTo>
                  <a:lnTo>
                    <a:pt x="324" y="435"/>
                  </a:lnTo>
                  <a:lnTo>
                    <a:pt x="323" y="435"/>
                  </a:lnTo>
                  <a:lnTo>
                    <a:pt x="323" y="435"/>
                  </a:lnTo>
                  <a:lnTo>
                    <a:pt x="322" y="435"/>
                  </a:lnTo>
                  <a:lnTo>
                    <a:pt x="322" y="435"/>
                  </a:lnTo>
                  <a:lnTo>
                    <a:pt x="321" y="435"/>
                  </a:lnTo>
                  <a:lnTo>
                    <a:pt x="320" y="436"/>
                  </a:lnTo>
                  <a:lnTo>
                    <a:pt x="314" y="439"/>
                  </a:lnTo>
                  <a:lnTo>
                    <a:pt x="313" y="440"/>
                  </a:lnTo>
                  <a:lnTo>
                    <a:pt x="312" y="441"/>
                  </a:lnTo>
                  <a:lnTo>
                    <a:pt x="311" y="441"/>
                  </a:lnTo>
                  <a:lnTo>
                    <a:pt x="310" y="441"/>
                  </a:lnTo>
                  <a:lnTo>
                    <a:pt x="309" y="442"/>
                  </a:lnTo>
                  <a:lnTo>
                    <a:pt x="308" y="442"/>
                  </a:lnTo>
                  <a:lnTo>
                    <a:pt x="308" y="442"/>
                  </a:lnTo>
                  <a:lnTo>
                    <a:pt x="307" y="442"/>
                  </a:lnTo>
                  <a:lnTo>
                    <a:pt x="307" y="441"/>
                  </a:lnTo>
                  <a:lnTo>
                    <a:pt x="306" y="441"/>
                  </a:lnTo>
                  <a:lnTo>
                    <a:pt x="303" y="440"/>
                  </a:lnTo>
                  <a:lnTo>
                    <a:pt x="299" y="439"/>
                  </a:lnTo>
                  <a:lnTo>
                    <a:pt x="297" y="438"/>
                  </a:lnTo>
                  <a:lnTo>
                    <a:pt x="294" y="437"/>
                  </a:lnTo>
                  <a:lnTo>
                    <a:pt x="293" y="436"/>
                  </a:lnTo>
                  <a:lnTo>
                    <a:pt x="292" y="436"/>
                  </a:lnTo>
                  <a:lnTo>
                    <a:pt x="291" y="435"/>
                  </a:lnTo>
                  <a:lnTo>
                    <a:pt x="290" y="434"/>
                  </a:lnTo>
                  <a:lnTo>
                    <a:pt x="289" y="434"/>
                  </a:lnTo>
                  <a:lnTo>
                    <a:pt x="288" y="432"/>
                  </a:lnTo>
                  <a:lnTo>
                    <a:pt x="287" y="431"/>
                  </a:lnTo>
                  <a:lnTo>
                    <a:pt x="284" y="428"/>
                  </a:lnTo>
                  <a:lnTo>
                    <a:pt x="283" y="427"/>
                  </a:lnTo>
                  <a:lnTo>
                    <a:pt x="282" y="426"/>
                  </a:lnTo>
                  <a:lnTo>
                    <a:pt x="281" y="426"/>
                  </a:lnTo>
                  <a:lnTo>
                    <a:pt x="280" y="425"/>
                  </a:lnTo>
                  <a:lnTo>
                    <a:pt x="280" y="425"/>
                  </a:lnTo>
                  <a:lnTo>
                    <a:pt x="279" y="425"/>
                  </a:lnTo>
                  <a:lnTo>
                    <a:pt x="279" y="426"/>
                  </a:lnTo>
                  <a:lnTo>
                    <a:pt x="278" y="426"/>
                  </a:lnTo>
                  <a:lnTo>
                    <a:pt x="278" y="426"/>
                  </a:lnTo>
                  <a:lnTo>
                    <a:pt x="277" y="426"/>
                  </a:lnTo>
                  <a:lnTo>
                    <a:pt x="277" y="427"/>
                  </a:lnTo>
                  <a:lnTo>
                    <a:pt x="276" y="427"/>
                  </a:lnTo>
                  <a:lnTo>
                    <a:pt x="276" y="427"/>
                  </a:lnTo>
                  <a:lnTo>
                    <a:pt x="276" y="428"/>
                  </a:lnTo>
                  <a:lnTo>
                    <a:pt x="275" y="428"/>
                  </a:lnTo>
                  <a:lnTo>
                    <a:pt x="275" y="429"/>
                  </a:lnTo>
                  <a:lnTo>
                    <a:pt x="275" y="433"/>
                  </a:lnTo>
                  <a:lnTo>
                    <a:pt x="275" y="434"/>
                  </a:lnTo>
                  <a:lnTo>
                    <a:pt x="275" y="435"/>
                  </a:lnTo>
                  <a:lnTo>
                    <a:pt x="274" y="437"/>
                  </a:lnTo>
                  <a:lnTo>
                    <a:pt x="274" y="440"/>
                  </a:lnTo>
                  <a:lnTo>
                    <a:pt x="273" y="441"/>
                  </a:lnTo>
                  <a:lnTo>
                    <a:pt x="273" y="442"/>
                  </a:lnTo>
                  <a:lnTo>
                    <a:pt x="272" y="443"/>
                  </a:lnTo>
                  <a:lnTo>
                    <a:pt x="272" y="444"/>
                  </a:lnTo>
                  <a:lnTo>
                    <a:pt x="271" y="445"/>
                  </a:lnTo>
                  <a:lnTo>
                    <a:pt x="270" y="446"/>
                  </a:lnTo>
                  <a:lnTo>
                    <a:pt x="270" y="447"/>
                  </a:lnTo>
                  <a:lnTo>
                    <a:pt x="269" y="447"/>
                  </a:lnTo>
                  <a:lnTo>
                    <a:pt x="269" y="448"/>
                  </a:lnTo>
                  <a:lnTo>
                    <a:pt x="268" y="449"/>
                  </a:lnTo>
                  <a:lnTo>
                    <a:pt x="267" y="449"/>
                  </a:lnTo>
                  <a:lnTo>
                    <a:pt x="267" y="449"/>
                  </a:lnTo>
                  <a:lnTo>
                    <a:pt x="266" y="449"/>
                  </a:lnTo>
                  <a:lnTo>
                    <a:pt x="265" y="449"/>
                  </a:lnTo>
                  <a:lnTo>
                    <a:pt x="262" y="449"/>
                  </a:lnTo>
                  <a:lnTo>
                    <a:pt x="260" y="450"/>
                  </a:lnTo>
                  <a:lnTo>
                    <a:pt x="259" y="450"/>
                  </a:lnTo>
                  <a:lnTo>
                    <a:pt x="259" y="450"/>
                  </a:lnTo>
                  <a:lnTo>
                    <a:pt x="258" y="450"/>
                  </a:lnTo>
                  <a:lnTo>
                    <a:pt x="257" y="451"/>
                  </a:lnTo>
                  <a:lnTo>
                    <a:pt x="257" y="451"/>
                  </a:lnTo>
                  <a:lnTo>
                    <a:pt x="257" y="452"/>
                  </a:lnTo>
                  <a:lnTo>
                    <a:pt x="256" y="453"/>
                  </a:lnTo>
                  <a:lnTo>
                    <a:pt x="256" y="454"/>
                  </a:lnTo>
                  <a:lnTo>
                    <a:pt x="255" y="455"/>
                  </a:lnTo>
                  <a:lnTo>
                    <a:pt x="255" y="456"/>
                  </a:lnTo>
                  <a:lnTo>
                    <a:pt x="255" y="456"/>
                  </a:lnTo>
                  <a:lnTo>
                    <a:pt x="254" y="457"/>
                  </a:lnTo>
                  <a:lnTo>
                    <a:pt x="254" y="457"/>
                  </a:lnTo>
                  <a:lnTo>
                    <a:pt x="253" y="458"/>
                  </a:lnTo>
                  <a:lnTo>
                    <a:pt x="252" y="458"/>
                  </a:lnTo>
                  <a:lnTo>
                    <a:pt x="251" y="459"/>
                  </a:lnTo>
                  <a:lnTo>
                    <a:pt x="249" y="459"/>
                  </a:lnTo>
                  <a:lnTo>
                    <a:pt x="248" y="459"/>
                  </a:lnTo>
                  <a:lnTo>
                    <a:pt x="248" y="459"/>
                  </a:lnTo>
                  <a:lnTo>
                    <a:pt x="247" y="460"/>
                  </a:lnTo>
                  <a:lnTo>
                    <a:pt x="246" y="460"/>
                  </a:lnTo>
                  <a:lnTo>
                    <a:pt x="245" y="461"/>
                  </a:lnTo>
                  <a:lnTo>
                    <a:pt x="244" y="463"/>
                  </a:lnTo>
                  <a:lnTo>
                    <a:pt x="243" y="464"/>
                  </a:lnTo>
                  <a:lnTo>
                    <a:pt x="242" y="464"/>
                  </a:lnTo>
                  <a:lnTo>
                    <a:pt x="241" y="464"/>
                  </a:lnTo>
                  <a:lnTo>
                    <a:pt x="241" y="465"/>
                  </a:lnTo>
                  <a:lnTo>
                    <a:pt x="240" y="465"/>
                  </a:lnTo>
                  <a:lnTo>
                    <a:pt x="239" y="465"/>
                  </a:lnTo>
                  <a:lnTo>
                    <a:pt x="239" y="465"/>
                  </a:lnTo>
                  <a:lnTo>
                    <a:pt x="238" y="465"/>
                  </a:lnTo>
                  <a:lnTo>
                    <a:pt x="237" y="464"/>
                  </a:lnTo>
                  <a:lnTo>
                    <a:pt x="235" y="463"/>
                  </a:lnTo>
                  <a:lnTo>
                    <a:pt x="231" y="462"/>
                  </a:lnTo>
                  <a:lnTo>
                    <a:pt x="228" y="460"/>
                  </a:lnTo>
                  <a:lnTo>
                    <a:pt x="221" y="456"/>
                  </a:lnTo>
                  <a:lnTo>
                    <a:pt x="219" y="455"/>
                  </a:lnTo>
                  <a:lnTo>
                    <a:pt x="218" y="455"/>
                  </a:lnTo>
                  <a:lnTo>
                    <a:pt x="217" y="455"/>
                  </a:lnTo>
                  <a:lnTo>
                    <a:pt x="216" y="454"/>
                  </a:lnTo>
                  <a:lnTo>
                    <a:pt x="212" y="454"/>
                  </a:lnTo>
                  <a:lnTo>
                    <a:pt x="211" y="454"/>
                  </a:lnTo>
                  <a:lnTo>
                    <a:pt x="209" y="453"/>
                  </a:lnTo>
                  <a:lnTo>
                    <a:pt x="205" y="452"/>
                  </a:lnTo>
                  <a:lnTo>
                    <a:pt x="200" y="450"/>
                  </a:lnTo>
                  <a:lnTo>
                    <a:pt x="197" y="449"/>
                  </a:lnTo>
                  <a:lnTo>
                    <a:pt x="196" y="449"/>
                  </a:lnTo>
                  <a:lnTo>
                    <a:pt x="195" y="449"/>
                  </a:lnTo>
                  <a:lnTo>
                    <a:pt x="193" y="449"/>
                  </a:lnTo>
                  <a:lnTo>
                    <a:pt x="190" y="449"/>
                  </a:lnTo>
                  <a:lnTo>
                    <a:pt x="188" y="449"/>
                  </a:lnTo>
                  <a:lnTo>
                    <a:pt x="187" y="448"/>
                  </a:lnTo>
                  <a:lnTo>
                    <a:pt x="183" y="448"/>
                  </a:lnTo>
                  <a:lnTo>
                    <a:pt x="181" y="448"/>
                  </a:lnTo>
                  <a:lnTo>
                    <a:pt x="179" y="447"/>
                  </a:lnTo>
                  <a:lnTo>
                    <a:pt x="178" y="447"/>
                  </a:lnTo>
                  <a:lnTo>
                    <a:pt x="177" y="447"/>
                  </a:lnTo>
                  <a:lnTo>
                    <a:pt x="173" y="448"/>
                  </a:lnTo>
                  <a:lnTo>
                    <a:pt x="172" y="448"/>
                  </a:lnTo>
                  <a:lnTo>
                    <a:pt x="171" y="448"/>
                  </a:lnTo>
                  <a:lnTo>
                    <a:pt x="170" y="448"/>
                  </a:lnTo>
                  <a:lnTo>
                    <a:pt x="169" y="448"/>
                  </a:lnTo>
                  <a:lnTo>
                    <a:pt x="168" y="448"/>
                  </a:lnTo>
                  <a:lnTo>
                    <a:pt x="168" y="448"/>
                  </a:lnTo>
                  <a:lnTo>
                    <a:pt x="165" y="447"/>
                  </a:lnTo>
                  <a:lnTo>
                    <a:pt x="164" y="446"/>
                  </a:lnTo>
                  <a:lnTo>
                    <a:pt x="163" y="446"/>
                  </a:lnTo>
                  <a:lnTo>
                    <a:pt x="160" y="445"/>
                  </a:lnTo>
                  <a:lnTo>
                    <a:pt x="159" y="445"/>
                  </a:lnTo>
                  <a:lnTo>
                    <a:pt x="158" y="444"/>
                  </a:lnTo>
                  <a:lnTo>
                    <a:pt x="158" y="444"/>
                  </a:lnTo>
                  <a:lnTo>
                    <a:pt x="156" y="443"/>
                  </a:lnTo>
                  <a:lnTo>
                    <a:pt x="154" y="441"/>
                  </a:lnTo>
                  <a:lnTo>
                    <a:pt x="154" y="441"/>
                  </a:lnTo>
                  <a:lnTo>
                    <a:pt x="153" y="440"/>
                  </a:lnTo>
                  <a:lnTo>
                    <a:pt x="152" y="439"/>
                  </a:lnTo>
                  <a:lnTo>
                    <a:pt x="152" y="438"/>
                  </a:lnTo>
                  <a:lnTo>
                    <a:pt x="151" y="438"/>
                  </a:lnTo>
                  <a:lnTo>
                    <a:pt x="151" y="437"/>
                  </a:lnTo>
                  <a:lnTo>
                    <a:pt x="150" y="434"/>
                  </a:lnTo>
                  <a:lnTo>
                    <a:pt x="149" y="434"/>
                  </a:lnTo>
                  <a:lnTo>
                    <a:pt x="149" y="433"/>
                  </a:lnTo>
                  <a:lnTo>
                    <a:pt x="149" y="433"/>
                  </a:lnTo>
                  <a:lnTo>
                    <a:pt x="148" y="432"/>
                  </a:lnTo>
                  <a:lnTo>
                    <a:pt x="147" y="431"/>
                  </a:lnTo>
                  <a:lnTo>
                    <a:pt x="146" y="431"/>
                  </a:lnTo>
                  <a:lnTo>
                    <a:pt x="145" y="430"/>
                  </a:lnTo>
                  <a:lnTo>
                    <a:pt x="145" y="429"/>
                  </a:lnTo>
                  <a:lnTo>
                    <a:pt x="144" y="428"/>
                  </a:lnTo>
                  <a:lnTo>
                    <a:pt x="144" y="428"/>
                  </a:lnTo>
                  <a:lnTo>
                    <a:pt x="144" y="427"/>
                  </a:lnTo>
                  <a:lnTo>
                    <a:pt x="144" y="426"/>
                  </a:lnTo>
                  <a:lnTo>
                    <a:pt x="144" y="426"/>
                  </a:lnTo>
                  <a:lnTo>
                    <a:pt x="144" y="425"/>
                  </a:lnTo>
                  <a:lnTo>
                    <a:pt x="144" y="425"/>
                  </a:lnTo>
                  <a:lnTo>
                    <a:pt x="144" y="424"/>
                  </a:lnTo>
                  <a:lnTo>
                    <a:pt x="144" y="424"/>
                  </a:lnTo>
                  <a:lnTo>
                    <a:pt x="145" y="423"/>
                  </a:lnTo>
                  <a:lnTo>
                    <a:pt x="145" y="422"/>
                  </a:lnTo>
                  <a:lnTo>
                    <a:pt x="146" y="422"/>
                  </a:lnTo>
                  <a:lnTo>
                    <a:pt x="147" y="421"/>
                  </a:lnTo>
                  <a:lnTo>
                    <a:pt x="148" y="420"/>
                  </a:lnTo>
                  <a:lnTo>
                    <a:pt x="149" y="420"/>
                  </a:lnTo>
                  <a:lnTo>
                    <a:pt x="151" y="419"/>
                  </a:lnTo>
                  <a:lnTo>
                    <a:pt x="152" y="419"/>
                  </a:lnTo>
                  <a:lnTo>
                    <a:pt x="152" y="418"/>
                  </a:lnTo>
                  <a:lnTo>
                    <a:pt x="153" y="418"/>
                  </a:lnTo>
                  <a:lnTo>
                    <a:pt x="153" y="417"/>
                  </a:lnTo>
                  <a:lnTo>
                    <a:pt x="153" y="417"/>
                  </a:lnTo>
                  <a:lnTo>
                    <a:pt x="154" y="416"/>
                  </a:lnTo>
                  <a:lnTo>
                    <a:pt x="154" y="415"/>
                  </a:lnTo>
                  <a:lnTo>
                    <a:pt x="154" y="415"/>
                  </a:lnTo>
                  <a:lnTo>
                    <a:pt x="154" y="414"/>
                  </a:lnTo>
                  <a:lnTo>
                    <a:pt x="154" y="413"/>
                  </a:lnTo>
                  <a:lnTo>
                    <a:pt x="154" y="412"/>
                  </a:lnTo>
                  <a:lnTo>
                    <a:pt x="153" y="411"/>
                  </a:lnTo>
                  <a:lnTo>
                    <a:pt x="153" y="411"/>
                  </a:lnTo>
                  <a:lnTo>
                    <a:pt x="152" y="410"/>
                  </a:lnTo>
                  <a:lnTo>
                    <a:pt x="152" y="410"/>
                  </a:lnTo>
                  <a:lnTo>
                    <a:pt x="149" y="408"/>
                  </a:lnTo>
                  <a:lnTo>
                    <a:pt x="148" y="407"/>
                  </a:lnTo>
                  <a:lnTo>
                    <a:pt x="147" y="406"/>
                  </a:lnTo>
                  <a:lnTo>
                    <a:pt x="146" y="405"/>
                  </a:lnTo>
                  <a:lnTo>
                    <a:pt x="144" y="402"/>
                  </a:lnTo>
                  <a:lnTo>
                    <a:pt x="143" y="401"/>
                  </a:lnTo>
                  <a:lnTo>
                    <a:pt x="142" y="399"/>
                  </a:lnTo>
                  <a:lnTo>
                    <a:pt x="140" y="398"/>
                  </a:lnTo>
                  <a:lnTo>
                    <a:pt x="139" y="397"/>
                  </a:lnTo>
                  <a:lnTo>
                    <a:pt x="139" y="396"/>
                  </a:lnTo>
                  <a:lnTo>
                    <a:pt x="138" y="396"/>
                  </a:lnTo>
                  <a:lnTo>
                    <a:pt x="137" y="395"/>
                  </a:lnTo>
                  <a:lnTo>
                    <a:pt x="136" y="395"/>
                  </a:lnTo>
                  <a:lnTo>
                    <a:pt x="136" y="395"/>
                  </a:lnTo>
                  <a:lnTo>
                    <a:pt x="134" y="394"/>
                  </a:lnTo>
                  <a:lnTo>
                    <a:pt x="131" y="393"/>
                  </a:lnTo>
                  <a:lnTo>
                    <a:pt x="129" y="392"/>
                  </a:lnTo>
                  <a:lnTo>
                    <a:pt x="128" y="391"/>
                  </a:lnTo>
                  <a:lnTo>
                    <a:pt x="126" y="391"/>
                  </a:lnTo>
                  <a:lnTo>
                    <a:pt x="125" y="391"/>
                  </a:lnTo>
                  <a:lnTo>
                    <a:pt x="125" y="390"/>
                  </a:lnTo>
                  <a:lnTo>
                    <a:pt x="121" y="387"/>
                  </a:lnTo>
                  <a:lnTo>
                    <a:pt x="120" y="387"/>
                  </a:lnTo>
                  <a:lnTo>
                    <a:pt x="119" y="386"/>
                  </a:lnTo>
                  <a:lnTo>
                    <a:pt x="118" y="385"/>
                  </a:lnTo>
                  <a:lnTo>
                    <a:pt x="117" y="384"/>
                  </a:lnTo>
                  <a:lnTo>
                    <a:pt x="116" y="382"/>
                  </a:lnTo>
                  <a:lnTo>
                    <a:pt x="111" y="378"/>
                  </a:lnTo>
                  <a:lnTo>
                    <a:pt x="110" y="376"/>
                  </a:lnTo>
                  <a:lnTo>
                    <a:pt x="108" y="375"/>
                  </a:lnTo>
                  <a:lnTo>
                    <a:pt x="107" y="373"/>
                  </a:lnTo>
                  <a:lnTo>
                    <a:pt x="105" y="372"/>
                  </a:lnTo>
                  <a:lnTo>
                    <a:pt x="104" y="371"/>
                  </a:lnTo>
                  <a:lnTo>
                    <a:pt x="103" y="370"/>
                  </a:lnTo>
                  <a:lnTo>
                    <a:pt x="101" y="369"/>
                  </a:lnTo>
                  <a:lnTo>
                    <a:pt x="100" y="368"/>
                  </a:lnTo>
                  <a:lnTo>
                    <a:pt x="99" y="367"/>
                  </a:lnTo>
                  <a:lnTo>
                    <a:pt x="97" y="367"/>
                  </a:lnTo>
                  <a:lnTo>
                    <a:pt x="96" y="366"/>
                  </a:lnTo>
                  <a:lnTo>
                    <a:pt x="94" y="366"/>
                  </a:lnTo>
                  <a:lnTo>
                    <a:pt x="88" y="364"/>
                  </a:lnTo>
                  <a:lnTo>
                    <a:pt x="86" y="363"/>
                  </a:lnTo>
                  <a:lnTo>
                    <a:pt x="85" y="363"/>
                  </a:lnTo>
                  <a:lnTo>
                    <a:pt x="84" y="362"/>
                  </a:lnTo>
                  <a:lnTo>
                    <a:pt x="83" y="362"/>
                  </a:lnTo>
                  <a:lnTo>
                    <a:pt x="82" y="361"/>
                  </a:lnTo>
                  <a:lnTo>
                    <a:pt x="82" y="361"/>
                  </a:lnTo>
                  <a:lnTo>
                    <a:pt x="81" y="360"/>
                  </a:lnTo>
                  <a:lnTo>
                    <a:pt x="81" y="360"/>
                  </a:lnTo>
                  <a:lnTo>
                    <a:pt x="81" y="359"/>
                  </a:lnTo>
                  <a:lnTo>
                    <a:pt x="80" y="357"/>
                  </a:lnTo>
                  <a:lnTo>
                    <a:pt x="80" y="356"/>
                  </a:lnTo>
                  <a:lnTo>
                    <a:pt x="80" y="353"/>
                  </a:lnTo>
                  <a:lnTo>
                    <a:pt x="79" y="352"/>
                  </a:lnTo>
                  <a:lnTo>
                    <a:pt x="79" y="351"/>
                  </a:lnTo>
                  <a:lnTo>
                    <a:pt x="79" y="350"/>
                  </a:lnTo>
                  <a:lnTo>
                    <a:pt x="78" y="348"/>
                  </a:lnTo>
                  <a:lnTo>
                    <a:pt x="76" y="343"/>
                  </a:lnTo>
                  <a:lnTo>
                    <a:pt x="75" y="342"/>
                  </a:lnTo>
                  <a:lnTo>
                    <a:pt x="75" y="341"/>
                  </a:lnTo>
                  <a:lnTo>
                    <a:pt x="74" y="339"/>
                  </a:lnTo>
                  <a:lnTo>
                    <a:pt x="73" y="339"/>
                  </a:lnTo>
                  <a:lnTo>
                    <a:pt x="73" y="338"/>
                  </a:lnTo>
                  <a:lnTo>
                    <a:pt x="72" y="338"/>
                  </a:lnTo>
                  <a:lnTo>
                    <a:pt x="72" y="337"/>
                  </a:lnTo>
                  <a:lnTo>
                    <a:pt x="70" y="336"/>
                  </a:lnTo>
                  <a:lnTo>
                    <a:pt x="69" y="335"/>
                  </a:lnTo>
                  <a:lnTo>
                    <a:pt x="68" y="334"/>
                  </a:lnTo>
                  <a:lnTo>
                    <a:pt x="68" y="334"/>
                  </a:lnTo>
                  <a:lnTo>
                    <a:pt x="67" y="333"/>
                  </a:lnTo>
                  <a:lnTo>
                    <a:pt x="67" y="332"/>
                  </a:lnTo>
                  <a:lnTo>
                    <a:pt x="66" y="332"/>
                  </a:lnTo>
                  <a:lnTo>
                    <a:pt x="66" y="330"/>
                  </a:lnTo>
                  <a:lnTo>
                    <a:pt x="65" y="329"/>
                  </a:lnTo>
                  <a:lnTo>
                    <a:pt x="65" y="328"/>
                  </a:lnTo>
                  <a:lnTo>
                    <a:pt x="63" y="324"/>
                  </a:lnTo>
                  <a:lnTo>
                    <a:pt x="62" y="320"/>
                  </a:lnTo>
                  <a:lnTo>
                    <a:pt x="61" y="318"/>
                  </a:lnTo>
                  <a:lnTo>
                    <a:pt x="60" y="317"/>
                  </a:lnTo>
                  <a:lnTo>
                    <a:pt x="60" y="316"/>
                  </a:lnTo>
                  <a:lnTo>
                    <a:pt x="59" y="315"/>
                  </a:lnTo>
                  <a:lnTo>
                    <a:pt x="58" y="314"/>
                  </a:lnTo>
                  <a:lnTo>
                    <a:pt x="58" y="313"/>
                  </a:lnTo>
                  <a:lnTo>
                    <a:pt x="57" y="313"/>
                  </a:lnTo>
                  <a:lnTo>
                    <a:pt x="57" y="313"/>
                  </a:lnTo>
                  <a:lnTo>
                    <a:pt x="56" y="313"/>
                  </a:lnTo>
                  <a:lnTo>
                    <a:pt x="55" y="313"/>
                  </a:lnTo>
                  <a:lnTo>
                    <a:pt x="52" y="313"/>
                  </a:lnTo>
                  <a:lnTo>
                    <a:pt x="51" y="313"/>
                  </a:lnTo>
                  <a:lnTo>
                    <a:pt x="49" y="313"/>
                  </a:lnTo>
                  <a:lnTo>
                    <a:pt x="46" y="313"/>
                  </a:lnTo>
                  <a:lnTo>
                    <a:pt x="45" y="313"/>
                  </a:lnTo>
                  <a:lnTo>
                    <a:pt x="44" y="313"/>
                  </a:lnTo>
                  <a:lnTo>
                    <a:pt x="43" y="313"/>
                  </a:lnTo>
                  <a:lnTo>
                    <a:pt x="42" y="312"/>
                  </a:lnTo>
                  <a:lnTo>
                    <a:pt x="41" y="312"/>
                  </a:lnTo>
                  <a:lnTo>
                    <a:pt x="40" y="312"/>
                  </a:lnTo>
                  <a:lnTo>
                    <a:pt x="40" y="311"/>
                  </a:lnTo>
                  <a:lnTo>
                    <a:pt x="39" y="311"/>
                  </a:lnTo>
                  <a:lnTo>
                    <a:pt x="38" y="310"/>
                  </a:lnTo>
                  <a:lnTo>
                    <a:pt x="35" y="307"/>
                  </a:lnTo>
                  <a:lnTo>
                    <a:pt x="34" y="306"/>
                  </a:lnTo>
                  <a:lnTo>
                    <a:pt x="34" y="305"/>
                  </a:lnTo>
                  <a:lnTo>
                    <a:pt x="33" y="303"/>
                  </a:lnTo>
                  <a:lnTo>
                    <a:pt x="32" y="301"/>
                  </a:lnTo>
                  <a:lnTo>
                    <a:pt x="30" y="298"/>
                  </a:lnTo>
                  <a:lnTo>
                    <a:pt x="29" y="295"/>
                  </a:lnTo>
                  <a:lnTo>
                    <a:pt x="28" y="292"/>
                  </a:lnTo>
                  <a:lnTo>
                    <a:pt x="26" y="288"/>
                  </a:lnTo>
                  <a:lnTo>
                    <a:pt x="25" y="285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2" y="283"/>
                  </a:lnTo>
                  <a:lnTo>
                    <a:pt x="20" y="283"/>
                  </a:lnTo>
                  <a:lnTo>
                    <a:pt x="20" y="283"/>
                  </a:lnTo>
                  <a:lnTo>
                    <a:pt x="19" y="282"/>
                  </a:lnTo>
                  <a:lnTo>
                    <a:pt x="18" y="282"/>
                  </a:lnTo>
                  <a:lnTo>
                    <a:pt x="17" y="281"/>
                  </a:lnTo>
                  <a:lnTo>
                    <a:pt x="16" y="280"/>
                  </a:lnTo>
                  <a:lnTo>
                    <a:pt x="16" y="279"/>
                  </a:lnTo>
                  <a:lnTo>
                    <a:pt x="14" y="277"/>
                  </a:lnTo>
                  <a:lnTo>
                    <a:pt x="13" y="276"/>
                  </a:lnTo>
                  <a:lnTo>
                    <a:pt x="13" y="276"/>
                  </a:lnTo>
                  <a:lnTo>
                    <a:pt x="12" y="275"/>
                  </a:lnTo>
                  <a:lnTo>
                    <a:pt x="12" y="274"/>
                  </a:lnTo>
                  <a:lnTo>
                    <a:pt x="11" y="274"/>
                  </a:lnTo>
                  <a:lnTo>
                    <a:pt x="10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8" y="273"/>
                  </a:lnTo>
                  <a:lnTo>
                    <a:pt x="7" y="272"/>
                  </a:lnTo>
                  <a:lnTo>
                    <a:pt x="5" y="272"/>
                  </a:lnTo>
                  <a:lnTo>
                    <a:pt x="4" y="272"/>
                  </a:lnTo>
                  <a:lnTo>
                    <a:pt x="3" y="272"/>
                  </a:lnTo>
                  <a:lnTo>
                    <a:pt x="3" y="272"/>
                  </a:lnTo>
                  <a:lnTo>
                    <a:pt x="2" y="272"/>
                  </a:lnTo>
                  <a:lnTo>
                    <a:pt x="2" y="272"/>
                  </a:lnTo>
                  <a:lnTo>
                    <a:pt x="2" y="271"/>
                  </a:lnTo>
                  <a:lnTo>
                    <a:pt x="1" y="267"/>
                  </a:lnTo>
                  <a:lnTo>
                    <a:pt x="0" y="266"/>
                  </a:lnTo>
                  <a:lnTo>
                    <a:pt x="0" y="265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59"/>
                  </a:lnTo>
                  <a:lnTo>
                    <a:pt x="0" y="258"/>
                  </a:lnTo>
                  <a:lnTo>
                    <a:pt x="0" y="256"/>
                  </a:lnTo>
                  <a:lnTo>
                    <a:pt x="0" y="255"/>
                  </a:lnTo>
                  <a:lnTo>
                    <a:pt x="1" y="253"/>
                  </a:lnTo>
                  <a:lnTo>
                    <a:pt x="1" y="251"/>
                  </a:lnTo>
                  <a:lnTo>
                    <a:pt x="2" y="249"/>
                  </a:lnTo>
                  <a:lnTo>
                    <a:pt x="2" y="248"/>
                  </a:lnTo>
                  <a:lnTo>
                    <a:pt x="2" y="247"/>
                  </a:lnTo>
                  <a:lnTo>
                    <a:pt x="3" y="246"/>
                  </a:lnTo>
                  <a:lnTo>
                    <a:pt x="4" y="243"/>
                  </a:lnTo>
                  <a:lnTo>
                    <a:pt x="5" y="241"/>
                  </a:lnTo>
                  <a:lnTo>
                    <a:pt x="6" y="240"/>
                  </a:lnTo>
                  <a:lnTo>
                    <a:pt x="7" y="239"/>
                  </a:lnTo>
                  <a:lnTo>
                    <a:pt x="8" y="238"/>
                  </a:lnTo>
                  <a:lnTo>
                    <a:pt x="8" y="238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10" y="236"/>
                  </a:lnTo>
                  <a:lnTo>
                    <a:pt x="11" y="236"/>
                  </a:lnTo>
                  <a:lnTo>
                    <a:pt x="13" y="235"/>
                  </a:lnTo>
                  <a:lnTo>
                    <a:pt x="14" y="235"/>
                  </a:lnTo>
                  <a:lnTo>
                    <a:pt x="14" y="234"/>
                  </a:lnTo>
                  <a:lnTo>
                    <a:pt x="15" y="233"/>
                  </a:lnTo>
                  <a:lnTo>
                    <a:pt x="16" y="233"/>
                  </a:lnTo>
                  <a:lnTo>
                    <a:pt x="17" y="232"/>
                  </a:lnTo>
                  <a:lnTo>
                    <a:pt x="17" y="232"/>
                  </a:lnTo>
                  <a:lnTo>
                    <a:pt x="17" y="231"/>
                  </a:lnTo>
                  <a:lnTo>
                    <a:pt x="18" y="230"/>
                  </a:lnTo>
                  <a:lnTo>
                    <a:pt x="18" y="230"/>
                  </a:lnTo>
                  <a:lnTo>
                    <a:pt x="18" y="229"/>
                  </a:lnTo>
                  <a:lnTo>
                    <a:pt x="18" y="228"/>
                  </a:lnTo>
                  <a:lnTo>
                    <a:pt x="18" y="227"/>
                  </a:lnTo>
                  <a:lnTo>
                    <a:pt x="18" y="226"/>
                  </a:lnTo>
                  <a:lnTo>
                    <a:pt x="18" y="225"/>
                  </a:lnTo>
                  <a:lnTo>
                    <a:pt x="18" y="223"/>
                  </a:lnTo>
                  <a:lnTo>
                    <a:pt x="17" y="219"/>
                  </a:lnTo>
                  <a:lnTo>
                    <a:pt x="17" y="218"/>
                  </a:lnTo>
                  <a:lnTo>
                    <a:pt x="17" y="216"/>
                  </a:lnTo>
                  <a:lnTo>
                    <a:pt x="15" y="214"/>
                  </a:lnTo>
                  <a:lnTo>
                    <a:pt x="15" y="212"/>
                  </a:lnTo>
                  <a:lnTo>
                    <a:pt x="15" y="211"/>
                  </a:lnTo>
                  <a:lnTo>
                    <a:pt x="15" y="210"/>
                  </a:lnTo>
                  <a:lnTo>
                    <a:pt x="15" y="210"/>
                  </a:lnTo>
                  <a:lnTo>
                    <a:pt x="15" y="209"/>
                  </a:lnTo>
                  <a:lnTo>
                    <a:pt x="16" y="206"/>
                  </a:lnTo>
                  <a:lnTo>
                    <a:pt x="16" y="205"/>
                  </a:lnTo>
                  <a:lnTo>
                    <a:pt x="16" y="203"/>
                  </a:lnTo>
                  <a:lnTo>
                    <a:pt x="16" y="200"/>
                  </a:lnTo>
                  <a:lnTo>
                    <a:pt x="17" y="198"/>
                  </a:lnTo>
                  <a:lnTo>
                    <a:pt x="17" y="196"/>
                  </a:lnTo>
                  <a:lnTo>
                    <a:pt x="18" y="192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9" y="191"/>
                  </a:lnTo>
                  <a:lnTo>
                    <a:pt x="19" y="191"/>
                  </a:lnTo>
                  <a:lnTo>
                    <a:pt x="20" y="191"/>
                  </a:lnTo>
                  <a:lnTo>
                    <a:pt x="21" y="191"/>
                  </a:lnTo>
                  <a:lnTo>
                    <a:pt x="24" y="191"/>
                  </a:lnTo>
                  <a:lnTo>
                    <a:pt x="25" y="192"/>
                  </a:lnTo>
                  <a:lnTo>
                    <a:pt x="26" y="192"/>
                  </a:lnTo>
                  <a:lnTo>
                    <a:pt x="27" y="192"/>
                  </a:lnTo>
                  <a:lnTo>
                    <a:pt x="28" y="192"/>
                  </a:lnTo>
                  <a:lnTo>
                    <a:pt x="29" y="191"/>
                  </a:lnTo>
                  <a:lnTo>
                    <a:pt x="29" y="191"/>
                  </a:lnTo>
                  <a:lnTo>
                    <a:pt x="30" y="191"/>
                  </a:lnTo>
                  <a:lnTo>
                    <a:pt x="31" y="191"/>
                  </a:lnTo>
                  <a:lnTo>
                    <a:pt x="32" y="190"/>
                  </a:lnTo>
                  <a:lnTo>
                    <a:pt x="33" y="189"/>
                  </a:lnTo>
                  <a:lnTo>
                    <a:pt x="35" y="188"/>
                  </a:lnTo>
                  <a:lnTo>
                    <a:pt x="38" y="186"/>
                  </a:lnTo>
                  <a:lnTo>
                    <a:pt x="38" y="185"/>
                  </a:lnTo>
                  <a:lnTo>
                    <a:pt x="40" y="185"/>
                  </a:lnTo>
                  <a:lnTo>
                    <a:pt x="41" y="184"/>
                  </a:lnTo>
                  <a:lnTo>
                    <a:pt x="44" y="183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6" y="182"/>
                  </a:lnTo>
                  <a:lnTo>
                    <a:pt x="46" y="181"/>
                  </a:lnTo>
                  <a:lnTo>
                    <a:pt x="47" y="178"/>
                  </a:lnTo>
                  <a:lnTo>
                    <a:pt x="48" y="175"/>
                  </a:lnTo>
                  <a:lnTo>
                    <a:pt x="48" y="174"/>
                  </a:lnTo>
                  <a:lnTo>
                    <a:pt x="49" y="173"/>
                  </a:lnTo>
                  <a:lnTo>
                    <a:pt x="49" y="172"/>
                  </a:lnTo>
                  <a:lnTo>
                    <a:pt x="50" y="171"/>
                  </a:lnTo>
                  <a:lnTo>
                    <a:pt x="51" y="170"/>
                  </a:lnTo>
                  <a:lnTo>
                    <a:pt x="52" y="169"/>
                  </a:lnTo>
                  <a:lnTo>
                    <a:pt x="53" y="168"/>
                  </a:lnTo>
                  <a:lnTo>
                    <a:pt x="53" y="167"/>
                  </a:lnTo>
                  <a:lnTo>
                    <a:pt x="53" y="167"/>
                  </a:lnTo>
                  <a:lnTo>
                    <a:pt x="53" y="167"/>
                  </a:lnTo>
                  <a:lnTo>
                    <a:pt x="53" y="166"/>
                  </a:lnTo>
                  <a:lnTo>
                    <a:pt x="53" y="165"/>
                  </a:lnTo>
                  <a:lnTo>
                    <a:pt x="53" y="164"/>
                  </a:lnTo>
                  <a:lnTo>
                    <a:pt x="53" y="163"/>
                  </a:lnTo>
                  <a:lnTo>
                    <a:pt x="52" y="162"/>
                  </a:lnTo>
                  <a:lnTo>
                    <a:pt x="52" y="162"/>
                  </a:lnTo>
                  <a:lnTo>
                    <a:pt x="52" y="161"/>
                  </a:lnTo>
                  <a:lnTo>
                    <a:pt x="50" y="159"/>
                  </a:lnTo>
                  <a:lnTo>
                    <a:pt x="50" y="158"/>
                  </a:lnTo>
                  <a:lnTo>
                    <a:pt x="49" y="156"/>
                  </a:lnTo>
                  <a:lnTo>
                    <a:pt x="48" y="155"/>
                  </a:lnTo>
                  <a:lnTo>
                    <a:pt x="48" y="154"/>
                  </a:lnTo>
                  <a:lnTo>
                    <a:pt x="48" y="153"/>
                  </a:lnTo>
                  <a:lnTo>
                    <a:pt x="48" y="153"/>
                  </a:lnTo>
                  <a:lnTo>
                    <a:pt x="48" y="152"/>
                  </a:lnTo>
                  <a:lnTo>
                    <a:pt x="48" y="151"/>
                  </a:lnTo>
                  <a:lnTo>
                    <a:pt x="49" y="151"/>
                  </a:lnTo>
                  <a:lnTo>
                    <a:pt x="49" y="150"/>
                  </a:lnTo>
                  <a:lnTo>
                    <a:pt x="49" y="149"/>
                  </a:lnTo>
                  <a:lnTo>
                    <a:pt x="50" y="149"/>
                  </a:lnTo>
                  <a:lnTo>
                    <a:pt x="51" y="148"/>
                  </a:lnTo>
                  <a:lnTo>
                    <a:pt x="52" y="146"/>
                  </a:lnTo>
                  <a:lnTo>
                    <a:pt x="53" y="146"/>
                  </a:lnTo>
                  <a:lnTo>
                    <a:pt x="53" y="145"/>
                  </a:lnTo>
                  <a:lnTo>
                    <a:pt x="55" y="145"/>
                  </a:lnTo>
                  <a:lnTo>
                    <a:pt x="55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3"/>
                  </a:lnTo>
                  <a:lnTo>
                    <a:pt x="57" y="143"/>
                  </a:lnTo>
                  <a:lnTo>
                    <a:pt x="57" y="142"/>
                  </a:lnTo>
                  <a:lnTo>
                    <a:pt x="57" y="141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39"/>
                  </a:lnTo>
                  <a:lnTo>
                    <a:pt x="55" y="138"/>
                  </a:lnTo>
                  <a:lnTo>
                    <a:pt x="54" y="138"/>
                  </a:lnTo>
                  <a:lnTo>
                    <a:pt x="54" y="137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5"/>
                  </a:lnTo>
                  <a:lnTo>
                    <a:pt x="52" y="135"/>
                  </a:lnTo>
                  <a:lnTo>
                    <a:pt x="52" y="134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3" y="131"/>
                  </a:lnTo>
                  <a:lnTo>
                    <a:pt x="53" y="130"/>
                  </a:lnTo>
                  <a:lnTo>
                    <a:pt x="53" y="130"/>
                  </a:lnTo>
                  <a:lnTo>
                    <a:pt x="54" y="130"/>
                  </a:lnTo>
                  <a:lnTo>
                    <a:pt x="56" y="129"/>
                  </a:lnTo>
                  <a:lnTo>
                    <a:pt x="56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7"/>
                  </a:lnTo>
                  <a:lnTo>
                    <a:pt x="58" y="127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5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3"/>
                  </a:lnTo>
                  <a:lnTo>
                    <a:pt x="58" y="122"/>
                  </a:lnTo>
                  <a:lnTo>
                    <a:pt x="58" y="121"/>
                  </a:lnTo>
                  <a:lnTo>
                    <a:pt x="58" y="120"/>
                  </a:lnTo>
                  <a:lnTo>
                    <a:pt x="58" y="119"/>
                  </a:lnTo>
                  <a:lnTo>
                    <a:pt x="59" y="118"/>
                  </a:lnTo>
                  <a:lnTo>
                    <a:pt x="59" y="117"/>
                  </a:lnTo>
                  <a:lnTo>
                    <a:pt x="59" y="116"/>
                  </a:lnTo>
                  <a:lnTo>
                    <a:pt x="59" y="116"/>
                  </a:lnTo>
                  <a:lnTo>
                    <a:pt x="60" y="115"/>
                  </a:lnTo>
                  <a:lnTo>
                    <a:pt x="62" y="113"/>
                  </a:lnTo>
                  <a:lnTo>
                    <a:pt x="62" y="112"/>
                  </a:lnTo>
                  <a:lnTo>
                    <a:pt x="64" y="112"/>
                  </a:lnTo>
                  <a:lnTo>
                    <a:pt x="66" y="110"/>
                  </a:lnTo>
                  <a:lnTo>
                    <a:pt x="69" y="108"/>
                  </a:lnTo>
                  <a:lnTo>
                    <a:pt x="69" y="107"/>
                  </a:lnTo>
                  <a:lnTo>
                    <a:pt x="70" y="107"/>
                  </a:lnTo>
                  <a:lnTo>
                    <a:pt x="70" y="106"/>
                  </a:lnTo>
                  <a:lnTo>
                    <a:pt x="71" y="105"/>
                  </a:lnTo>
                  <a:lnTo>
                    <a:pt x="71" y="103"/>
                  </a:lnTo>
                  <a:lnTo>
                    <a:pt x="72" y="101"/>
                  </a:lnTo>
                  <a:lnTo>
                    <a:pt x="73" y="99"/>
                  </a:lnTo>
                  <a:lnTo>
                    <a:pt x="74" y="98"/>
                  </a:lnTo>
                  <a:lnTo>
                    <a:pt x="75" y="96"/>
                  </a:lnTo>
                  <a:lnTo>
                    <a:pt x="76" y="95"/>
                  </a:lnTo>
                  <a:lnTo>
                    <a:pt x="76" y="94"/>
                  </a:lnTo>
                  <a:lnTo>
                    <a:pt x="76" y="93"/>
                  </a:lnTo>
                  <a:lnTo>
                    <a:pt x="77" y="91"/>
                  </a:lnTo>
                  <a:lnTo>
                    <a:pt x="77" y="90"/>
                  </a:lnTo>
                  <a:lnTo>
                    <a:pt x="77" y="89"/>
                  </a:lnTo>
                  <a:lnTo>
                    <a:pt x="77" y="88"/>
                  </a:lnTo>
                  <a:lnTo>
                    <a:pt x="77" y="87"/>
                  </a:lnTo>
                  <a:lnTo>
                    <a:pt x="76" y="87"/>
                  </a:lnTo>
                  <a:lnTo>
                    <a:pt x="76" y="86"/>
                  </a:lnTo>
                  <a:lnTo>
                    <a:pt x="74" y="84"/>
                  </a:lnTo>
                  <a:lnTo>
                    <a:pt x="74" y="83"/>
                  </a:lnTo>
                  <a:lnTo>
                    <a:pt x="73" y="82"/>
                  </a:lnTo>
                  <a:lnTo>
                    <a:pt x="71" y="79"/>
                  </a:lnTo>
                  <a:lnTo>
                    <a:pt x="71" y="78"/>
                  </a:lnTo>
                  <a:lnTo>
                    <a:pt x="71" y="76"/>
                  </a:lnTo>
                  <a:lnTo>
                    <a:pt x="70" y="75"/>
                  </a:lnTo>
                  <a:lnTo>
                    <a:pt x="70" y="73"/>
                  </a:lnTo>
                  <a:lnTo>
                    <a:pt x="70" y="72"/>
                  </a:lnTo>
                  <a:lnTo>
                    <a:pt x="70" y="70"/>
                  </a:lnTo>
                  <a:lnTo>
                    <a:pt x="71" y="67"/>
                  </a:lnTo>
                  <a:lnTo>
                    <a:pt x="71" y="66"/>
                  </a:lnTo>
                  <a:lnTo>
                    <a:pt x="71" y="65"/>
                  </a:lnTo>
                  <a:lnTo>
                    <a:pt x="72" y="64"/>
                  </a:lnTo>
                  <a:lnTo>
                    <a:pt x="72" y="63"/>
                  </a:lnTo>
                  <a:lnTo>
                    <a:pt x="73" y="61"/>
                  </a:lnTo>
                  <a:lnTo>
                    <a:pt x="75" y="58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5" y="56"/>
                  </a:lnTo>
                  <a:lnTo>
                    <a:pt x="75" y="55"/>
                  </a:lnTo>
                  <a:lnTo>
                    <a:pt x="75" y="54"/>
                  </a:lnTo>
                  <a:lnTo>
                    <a:pt x="74" y="52"/>
                  </a:lnTo>
                  <a:lnTo>
                    <a:pt x="73" y="50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1" y="45"/>
                  </a:lnTo>
                  <a:lnTo>
                    <a:pt x="71" y="44"/>
                  </a:lnTo>
                  <a:lnTo>
                    <a:pt x="71" y="40"/>
                  </a:lnTo>
                  <a:lnTo>
                    <a:pt x="71" y="39"/>
                  </a:lnTo>
                  <a:lnTo>
                    <a:pt x="71" y="38"/>
                  </a:lnTo>
                  <a:lnTo>
                    <a:pt x="71" y="36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69" y="34"/>
                  </a:lnTo>
                  <a:lnTo>
                    <a:pt x="68" y="33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8" y="29"/>
                  </a:lnTo>
                  <a:lnTo>
                    <a:pt x="69" y="24"/>
                  </a:lnTo>
                  <a:lnTo>
                    <a:pt x="70" y="23"/>
                  </a:lnTo>
                  <a:lnTo>
                    <a:pt x="70" y="23"/>
                  </a:lnTo>
                  <a:lnTo>
                    <a:pt x="70" y="22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3" y="21"/>
                  </a:lnTo>
                  <a:lnTo>
                    <a:pt x="73" y="21"/>
                  </a:lnTo>
                  <a:lnTo>
                    <a:pt x="74" y="21"/>
                  </a:lnTo>
                  <a:lnTo>
                    <a:pt x="76" y="21"/>
                  </a:lnTo>
                  <a:lnTo>
                    <a:pt x="77" y="21"/>
                  </a:lnTo>
                  <a:lnTo>
                    <a:pt x="80" y="20"/>
                  </a:lnTo>
                  <a:lnTo>
                    <a:pt x="83" y="19"/>
                  </a:lnTo>
                  <a:lnTo>
                    <a:pt x="85" y="18"/>
                  </a:lnTo>
                  <a:lnTo>
                    <a:pt x="87" y="17"/>
                  </a:lnTo>
                  <a:lnTo>
                    <a:pt x="87" y="17"/>
                  </a:lnTo>
                  <a:lnTo>
                    <a:pt x="88" y="17"/>
                  </a:lnTo>
                  <a:lnTo>
                    <a:pt x="88" y="17"/>
                  </a:lnTo>
                  <a:lnTo>
                    <a:pt x="89" y="17"/>
                  </a:lnTo>
                  <a:lnTo>
                    <a:pt x="89" y="17"/>
                  </a:lnTo>
                  <a:lnTo>
                    <a:pt x="90" y="17"/>
                  </a:lnTo>
                  <a:lnTo>
                    <a:pt x="90" y="18"/>
                  </a:lnTo>
                  <a:lnTo>
                    <a:pt x="92" y="20"/>
                  </a:lnTo>
                  <a:lnTo>
                    <a:pt x="93" y="20"/>
                  </a:lnTo>
                  <a:lnTo>
                    <a:pt x="93" y="20"/>
                  </a:lnTo>
                  <a:lnTo>
                    <a:pt x="94" y="20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6" y="21"/>
                  </a:lnTo>
                  <a:lnTo>
                    <a:pt x="96" y="20"/>
                  </a:lnTo>
                  <a:lnTo>
                    <a:pt x="97" y="20"/>
                  </a:lnTo>
                  <a:lnTo>
                    <a:pt x="98" y="20"/>
                  </a:lnTo>
                  <a:lnTo>
                    <a:pt x="100" y="18"/>
                  </a:lnTo>
                  <a:lnTo>
                    <a:pt x="101" y="18"/>
                  </a:lnTo>
                  <a:lnTo>
                    <a:pt x="102" y="18"/>
                  </a:lnTo>
                  <a:lnTo>
                    <a:pt x="103" y="18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5" y="18"/>
                  </a:lnTo>
                  <a:lnTo>
                    <a:pt x="105" y="19"/>
                  </a:lnTo>
                  <a:lnTo>
                    <a:pt x="108" y="20"/>
                  </a:lnTo>
                  <a:lnTo>
                    <a:pt x="108" y="21"/>
                  </a:lnTo>
                  <a:lnTo>
                    <a:pt x="110" y="22"/>
                  </a:lnTo>
                  <a:lnTo>
                    <a:pt x="110" y="22"/>
                  </a:lnTo>
                  <a:lnTo>
                    <a:pt x="111" y="22"/>
                  </a:lnTo>
                  <a:lnTo>
                    <a:pt x="111" y="23"/>
                  </a:lnTo>
                  <a:lnTo>
                    <a:pt x="112" y="23"/>
                  </a:lnTo>
                  <a:lnTo>
                    <a:pt x="112" y="24"/>
                  </a:lnTo>
                  <a:lnTo>
                    <a:pt x="113" y="24"/>
                  </a:lnTo>
                  <a:lnTo>
                    <a:pt x="115" y="25"/>
                  </a:lnTo>
                  <a:lnTo>
                    <a:pt x="115" y="25"/>
                  </a:lnTo>
                  <a:lnTo>
                    <a:pt x="116" y="25"/>
                  </a:lnTo>
                  <a:lnTo>
                    <a:pt x="117" y="26"/>
                  </a:lnTo>
                  <a:lnTo>
                    <a:pt x="118" y="26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6"/>
                  </a:lnTo>
                  <a:lnTo>
                    <a:pt x="122" y="25"/>
                  </a:lnTo>
                  <a:lnTo>
                    <a:pt x="123" y="25"/>
                  </a:lnTo>
                  <a:lnTo>
                    <a:pt x="123" y="24"/>
                  </a:lnTo>
                  <a:lnTo>
                    <a:pt x="125" y="23"/>
                  </a:lnTo>
                  <a:lnTo>
                    <a:pt x="126" y="23"/>
                  </a:lnTo>
                  <a:lnTo>
                    <a:pt x="127" y="22"/>
                  </a:lnTo>
                  <a:lnTo>
                    <a:pt x="128" y="22"/>
                  </a:lnTo>
                  <a:lnTo>
                    <a:pt x="128" y="22"/>
                  </a:lnTo>
                  <a:lnTo>
                    <a:pt x="132" y="21"/>
                  </a:lnTo>
                  <a:lnTo>
                    <a:pt x="133" y="21"/>
                  </a:lnTo>
                  <a:lnTo>
                    <a:pt x="134" y="21"/>
                  </a:lnTo>
                  <a:lnTo>
                    <a:pt x="134" y="21"/>
                  </a:lnTo>
                  <a:lnTo>
                    <a:pt x="135" y="20"/>
                  </a:lnTo>
                  <a:lnTo>
                    <a:pt x="136" y="20"/>
                  </a:lnTo>
                  <a:lnTo>
                    <a:pt x="138" y="18"/>
                  </a:lnTo>
                  <a:lnTo>
                    <a:pt x="139" y="18"/>
                  </a:lnTo>
                  <a:lnTo>
                    <a:pt x="139" y="18"/>
                  </a:lnTo>
                  <a:lnTo>
                    <a:pt x="141" y="17"/>
                  </a:lnTo>
                  <a:lnTo>
                    <a:pt x="141" y="17"/>
                  </a:lnTo>
                  <a:lnTo>
                    <a:pt x="142" y="17"/>
                  </a:lnTo>
                  <a:lnTo>
                    <a:pt x="142" y="16"/>
                  </a:lnTo>
                  <a:lnTo>
                    <a:pt x="143" y="16"/>
                  </a:lnTo>
                  <a:lnTo>
                    <a:pt x="143" y="15"/>
                  </a:lnTo>
                  <a:lnTo>
                    <a:pt x="144" y="14"/>
                  </a:lnTo>
                  <a:lnTo>
                    <a:pt x="144" y="13"/>
                  </a:lnTo>
                  <a:lnTo>
                    <a:pt x="145" y="12"/>
                  </a:lnTo>
                  <a:lnTo>
                    <a:pt x="146" y="10"/>
                  </a:lnTo>
                  <a:lnTo>
                    <a:pt x="147" y="8"/>
                  </a:lnTo>
                  <a:lnTo>
                    <a:pt x="147" y="7"/>
                  </a:lnTo>
                  <a:lnTo>
                    <a:pt x="147" y="7"/>
                  </a:lnTo>
                  <a:lnTo>
                    <a:pt x="148" y="6"/>
                  </a:lnTo>
                  <a:lnTo>
                    <a:pt x="148" y="6"/>
                  </a:lnTo>
                  <a:lnTo>
                    <a:pt x="149" y="5"/>
                  </a:lnTo>
                  <a:lnTo>
                    <a:pt x="150" y="5"/>
                  </a:lnTo>
                  <a:lnTo>
                    <a:pt x="153" y="3"/>
                  </a:lnTo>
                  <a:lnTo>
                    <a:pt x="156" y="2"/>
                  </a:lnTo>
                  <a:lnTo>
                    <a:pt x="157" y="1"/>
                  </a:lnTo>
                  <a:lnTo>
                    <a:pt x="158" y="1"/>
                  </a:lnTo>
                  <a:lnTo>
                    <a:pt x="160" y="0"/>
                  </a:lnTo>
                  <a:lnTo>
                    <a:pt x="162" y="0"/>
                  </a:lnTo>
                  <a:lnTo>
                    <a:pt x="162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Freeform 14">
              <a:extLst>
                <a:ext uri="{FF2B5EF4-FFF2-40B4-BE49-F238E27FC236}">
                  <a16:creationId xmlns:a16="http://schemas.microsoft.com/office/drawing/2014/main" id="{8B54BAAA-8D1F-0605-643C-F9C3105EB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301"/>
              <a:ext cx="427" cy="537"/>
            </a:xfrm>
            <a:custGeom>
              <a:avLst/>
              <a:gdLst>
                <a:gd name="T0" fmla="*/ 287 w 427"/>
                <a:gd name="T1" fmla="*/ 2 h 537"/>
                <a:gd name="T2" fmla="*/ 301 w 427"/>
                <a:gd name="T3" fmla="*/ 10 h 537"/>
                <a:gd name="T4" fmla="*/ 305 w 427"/>
                <a:gd name="T5" fmla="*/ 23 h 537"/>
                <a:gd name="T6" fmla="*/ 311 w 427"/>
                <a:gd name="T7" fmla="*/ 34 h 537"/>
                <a:gd name="T8" fmla="*/ 338 w 427"/>
                <a:gd name="T9" fmla="*/ 34 h 537"/>
                <a:gd name="T10" fmla="*/ 337 w 427"/>
                <a:gd name="T11" fmla="*/ 41 h 537"/>
                <a:gd name="T12" fmla="*/ 367 w 427"/>
                <a:gd name="T13" fmla="*/ 52 h 537"/>
                <a:gd name="T14" fmla="*/ 394 w 427"/>
                <a:gd name="T15" fmla="*/ 66 h 537"/>
                <a:gd name="T16" fmla="*/ 406 w 427"/>
                <a:gd name="T17" fmla="*/ 77 h 537"/>
                <a:gd name="T18" fmla="*/ 427 w 427"/>
                <a:gd name="T19" fmla="*/ 109 h 537"/>
                <a:gd name="T20" fmla="*/ 419 w 427"/>
                <a:gd name="T21" fmla="*/ 137 h 537"/>
                <a:gd name="T22" fmla="*/ 416 w 427"/>
                <a:gd name="T23" fmla="*/ 160 h 537"/>
                <a:gd name="T24" fmla="*/ 408 w 427"/>
                <a:gd name="T25" fmla="*/ 178 h 537"/>
                <a:gd name="T26" fmla="*/ 390 w 427"/>
                <a:gd name="T27" fmla="*/ 179 h 537"/>
                <a:gd name="T28" fmla="*/ 382 w 427"/>
                <a:gd name="T29" fmla="*/ 198 h 537"/>
                <a:gd name="T30" fmla="*/ 386 w 427"/>
                <a:gd name="T31" fmla="*/ 204 h 537"/>
                <a:gd name="T32" fmla="*/ 388 w 427"/>
                <a:gd name="T33" fmla="*/ 215 h 537"/>
                <a:gd name="T34" fmla="*/ 388 w 427"/>
                <a:gd name="T35" fmla="*/ 223 h 537"/>
                <a:gd name="T36" fmla="*/ 401 w 427"/>
                <a:gd name="T37" fmla="*/ 232 h 537"/>
                <a:gd name="T38" fmla="*/ 404 w 427"/>
                <a:gd name="T39" fmla="*/ 262 h 537"/>
                <a:gd name="T40" fmla="*/ 403 w 427"/>
                <a:gd name="T41" fmla="*/ 279 h 537"/>
                <a:gd name="T42" fmla="*/ 407 w 427"/>
                <a:gd name="T43" fmla="*/ 305 h 537"/>
                <a:gd name="T44" fmla="*/ 405 w 427"/>
                <a:gd name="T45" fmla="*/ 334 h 537"/>
                <a:gd name="T46" fmla="*/ 404 w 427"/>
                <a:gd name="T47" fmla="*/ 362 h 537"/>
                <a:gd name="T48" fmla="*/ 392 w 427"/>
                <a:gd name="T49" fmla="*/ 381 h 537"/>
                <a:gd name="T50" fmla="*/ 387 w 427"/>
                <a:gd name="T51" fmla="*/ 391 h 537"/>
                <a:gd name="T52" fmla="*/ 384 w 427"/>
                <a:gd name="T53" fmla="*/ 404 h 537"/>
                <a:gd name="T54" fmla="*/ 387 w 427"/>
                <a:gd name="T55" fmla="*/ 422 h 537"/>
                <a:gd name="T56" fmla="*/ 369 w 427"/>
                <a:gd name="T57" fmla="*/ 443 h 537"/>
                <a:gd name="T58" fmla="*/ 351 w 427"/>
                <a:gd name="T59" fmla="*/ 453 h 537"/>
                <a:gd name="T60" fmla="*/ 352 w 427"/>
                <a:gd name="T61" fmla="*/ 485 h 537"/>
                <a:gd name="T62" fmla="*/ 336 w 427"/>
                <a:gd name="T63" fmla="*/ 503 h 537"/>
                <a:gd name="T64" fmla="*/ 334 w 427"/>
                <a:gd name="T65" fmla="*/ 526 h 537"/>
                <a:gd name="T66" fmla="*/ 318 w 427"/>
                <a:gd name="T67" fmla="*/ 537 h 537"/>
                <a:gd name="T68" fmla="*/ 292 w 427"/>
                <a:gd name="T69" fmla="*/ 509 h 537"/>
                <a:gd name="T70" fmla="*/ 269 w 427"/>
                <a:gd name="T71" fmla="*/ 465 h 537"/>
                <a:gd name="T72" fmla="*/ 236 w 427"/>
                <a:gd name="T73" fmla="*/ 454 h 537"/>
                <a:gd name="T74" fmla="*/ 220 w 427"/>
                <a:gd name="T75" fmla="*/ 429 h 537"/>
                <a:gd name="T76" fmla="*/ 191 w 427"/>
                <a:gd name="T77" fmla="*/ 392 h 537"/>
                <a:gd name="T78" fmla="*/ 176 w 427"/>
                <a:gd name="T79" fmla="*/ 366 h 537"/>
                <a:gd name="T80" fmla="*/ 141 w 427"/>
                <a:gd name="T81" fmla="*/ 347 h 537"/>
                <a:gd name="T82" fmla="*/ 117 w 427"/>
                <a:gd name="T83" fmla="*/ 349 h 537"/>
                <a:gd name="T84" fmla="*/ 98 w 427"/>
                <a:gd name="T85" fmla="*/ 322 h 537"/>
                <a:gd name="T86" fmla="*/ 71 w 427"/>
                <a:gd name="T87" fmla="*/ 300 h 537"/>
                <a:gd name="T88" fmla="*/ 66 w 427"/>
                <a:gd name="T89" fmla="*/ 263 h 537"/>
                <a:gd name="T90" fmla="*/ 48 w 427"/>
                <a:gd name="T91" fmla="*/ 242 h 537"/>
                <a:gd name="T92" fmla="*/ 35 w 427"/>
                <a:gd name="T93" fmla="*/ 213 h 537"/>
                <a:gd name="T94" fmla="*/ 32 w 427"/>
                <a:gd name="T95" fmla="*/ 188 h 537"/>
                <a:gd name="T96" fmla="*/ 1 w 427"/>
                <a:gd name="T97" fmla="*/ 160 h 537"/>
                <a:gd name="T98" fmla="*/ 18 w 427"/>
                <a:gd name="T99" fmla="*/ 138 h 537"/>
                <a:gd name="T100" fmla="*/ 35 w 427"/>
                <a:gd name="T101" fmla="*/ 103 h 537"/>
                <a:gd name="T102" fmla="*/ 63 w 427"/>
                <a:gd name="T103" fmla="*/ 87 h 537"/>
                <a:gd name="T104" fmla="*/ 83 w 427"/>
                <a:gd name="T105" fmla="*/ 91 h 537"/>
                <a:gd name="T106" fmla="*/ 95 w 427"/>
                <a:gd name="T107" fmla="*/ 79 h 537"/>
                <a:gd name="T108" fmla="*/ 124 w 427"/>
                <a:gd name="T109" fmla="*/ 74 h 537"/>
                <a:gd name="T110" fmla="*/ 156 w 427"/>
                <a:gd name="T111" fmla="*/ 80 h 537"/>
                <a:gd name="T112" fmla="*/ 170 w 427"/>
                <a:gd name="T113" fmla="*/ 60 h 537"/>
                <a:gd name="T114" fmla="*/ 200 w 427"/>
                <a:gd name="T115" fmla="*/ 41 h 537"/>
                <a:gd name="T116" fmla="*/ 229 w 427"/>
                <a:gd name="T117" fmla="*/ 36 h 537"/>
                <a:gd name="T118" fmla="*/ 250 w 427"/>
                <a:gd name="T119" fmla="*/ 46 h 537"/>
                <a:gd name="T120" fmla="*/ 259 w 427"/>
                <a:gd name="T121" fmla="*/ 24 h 537"/>
                <a:gd name="T122" fmla="*/ 267 w 427"/>
                <a:gd name="T123" fmla="*/ 11 h 537"/>
                <a:gd name="T124" fmla="*/ 278 w 427"/>
                <a:gd name="T125" fmla="*/ 1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537">
                  <a:moveTo>
                    <a:pt x="279" y="1"/>
                  </a:moveTo>
                  <a:lnTo>
                    <a:pt x="279" y="1"/>
                  </a:lnTo>
                  <a:lnTo>
                    <a:pt x="279" y="1"/>
                  </a:lnTo>
                  <a:lnTo>
                    <a:pt x="279" y="2"/>
                  </a:lnTo>
                  <a:lnTo>
                    <a:pt x="279" y="4"/>
                  </a:lnTo>
                  <a:lnTo>
                    <a:pt x="279" y="4"/>
                  </a:lnTo>
                  <a:lnTo>
                    <a:pt x="280" y="5"/>
                  </a:lnTo>
                  <a:lnTo>
                    <a:pt x="280" y="5"/>
                  </a:lnTo>
                  <a:lnTo>
                    <a:pt x="280" y="6"/>
                  </a:lnTo>
                  <a:lnTo>
                    <a:pt x="281" y="6"/>
                  </a:lnTo>
                  <a:lnTo>
                    <a:pt x="281" y="6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83" y="5"/>
                  </a:lnTo>
                  <a:lnTo>
                    <a:pt x="283" y="5"/>
                  </a:lnTo>
                  <a:lnTo>
                    <a:pt x="285" y="3"/>
                  </a:lnTo>
                  <a:lnTo>
                    <a:pt x="285" y="3"/>
                  </a:lnTo>
                  <a:lnTo>
                    <a:pt x="286" y="2"/>
                  </a:lnTo>
                  <a:lnTo>
                    <a:pt x="286" y="2"/>
                  </a:lnTo>
                  <a:lnTo>
                    <a:pt x="287" y="2"/>
                  </a:lnTo>
                  <a:lnTo>
                    <a:pt x="288" y="1"/>
                  </a:lnTo>
                  <a:lnTo>
                    <a:pt x="288" y="2"/>
                  </a:lnTo>
                  <a:lnTo>
                    <a:pt x="288" y="2"/>
                  </a:lnTo>
                  <a:lnTo>
                    <a:pt x="289" y="3"/>
                  </a:lnTo>
                  <a:lnTo>
                    <a:pt x="289" y="4"/>
                  </a:lnTo>
                  <a:lnTo>
                    <a:pt x="291" y="6"/>
                  </a:lnTo>
                  <a:lnTo>
                    <a:pt x="292" y="7"/>
                  </a:lnTo>
                  <a:lnTo>
                    <a:pt x="292" y="8"/>
                  </a:lnTo>
                  <a:lnTo>
                    <a:pt x="293" y="10"/>
                  </a:lnTo>
                  <a:lnTo>
                    <a:pt x="293" y="11"/>
                  </a:lnTo>
                  <a:lnTo>
                    <a:pt x="293" y="11"/>
                  </a:lnTo>
                  <a:lnTo>
                    <a:pt x="294" y="11"/>
                  </a:lnTo>
                  <a:lnTo>
                    <a:pt x="294" y="12"/>
                  </a:lnTo>
                  <a:lnTo>
                    <a:pt x="294" y="12"/>
                  </a:lnTo>
                  <a:lnTo>
                    <a:pt x="295" y="12"/>
                  </a:lnTo>
                  <a:lnTo>
                    <a:pt x="295" y="12"/>
                  </a:lnTo>
                  <a:lnTo>
                    <a:pt x="296" y="12"/>
                  </a:lnTo>
                  <a:lnTo>
                    <a:pt x="299" y="11"/>
                  </a:lnTo>
                  <a:lnTo>
                    <a:pt x="299" y="11"/>
                  </a:lnTo>
                  <a:lnTo>
                    <a:pt x="299" y="11"/>
                  </a:lnTo>
                  <a:lnTo>
                    <a:pt x="301" y="10"/>
                  </a:lnTo>
                  <a:lnTo>
                    <a:pt x="302" y="9"/>
                  </a:lnTo>
                  <a:lnTo>
                    <a:pt x="302" y="9"/>
                  </a:lnTo>
                  <a:lnTo>
                    <a:pt x="303" y="8"/>
                  </a:lnTo>
                  <a:lnTo>
                    <a:pt x="304" y="7"/>
                  </a:lnTo>
                  <a:lnTo>
                    <a:pt x="304" y="8"/>
                  </a:lnTo>
                  <a:lnTo>
                    <a:pt x="304" y="9"/>
                  </a:lnTo>
                  <a:lnTo>
                    <a:pt x="305" y="10"/>
                  </a:lnTo>
                  <a:lnTo>
                    <a:pt x="306" y="11"/>
                  </a:lnTo>
                  <a:lnTo>
                    <a:pt x="307" y="13"/>
                  </a:lnTo>
                  <a:lnTo>
                    <a:pt x="307" y="14"/>
                  </a:lnTo>
                  <a:lnTo>
                    <a:pt x="308" y="14"/>
                  </a:lnTo>
                  <a:lnTo>
                    <a:pt x="308" y="15"/>
                  </a:lnTo>
                  <a:lnTo>
                    <a:pt x="308" y="16"/>
                  </a:lnTo>
                  <a:lnTo>
                    <a:pt x="308" y="17"/>
                  </a:lnTo>
                  <a:lnTo>
                    <a:pt x="308" y="18"/>
                  </a:lnTo>
                  <a:lnTo>
                    <a:pt x="308" y="19"/>
                  </a:lnTo>
                  <a:lnTo>
                    <a:pt x="308" y="19"/>
                  </a:lnTo>
                  <a:lnTo>
                    <a:pt x="308" y="19"/>
                  </a:lnTo>
                  <a:lnTo>
                    <a:pt x="307" y="20"/>
                  </a:lnTo>
                  <a:lnTo>
                    <a:pt x="306" y="22"/>
                  </a:lnTo>
                  <a:lnTo>
                    <a:pt x="305" y="23"/>
                  </a:lnTo>
                  <a:lnTo>
                    <a:pt x="304" y="25"/>
                  </a:lnTo>
                  <a:lnTo>
                    <a:pt x="303" y="27"/>
                  </a:lnTo>
                  <a:lnTo>
                    <a:pt x="303" y="28"/>
                  </a:lnTo>
                  <a:lnTo>
                    <a:pt x="302" y="28"/>
                  </a:lnTo>
                  <a:lnTo>
                    <a:pt x="302" y="29"/>
                  </a:lnTo>
                  <a:lnTo>
                    <a:pt x="302" y="30"/>
                  </a:lnTo>
                  <a:lnTo>
                    <a:pt x="302" y="30"/>
                  </a:lnTo>
                  <a:lnTo>
                    <a:pt x="302" y="31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3" y="33"/>
                  </a:lnTo>
                  <a:lnTo>
                    <a:pt x="303" y="33"/>
                  </a:lnTo>
                  <a:lnTo>
                    <a:pt x="304" y="33"/>
                  </a:lnTo>
                  <a:lnTo>
                    <a:pt x="305" y="33"/>
                  </a:lnTo>
                  <a:lnTo>
                    <a:pt x="308" y="34"/>
                  </a:lnTo>
                  <a:lnTo>
                    <a:pt x="308" y="34"/>
                  </a:lnTo>
                  <a:lnTo>
                    <a:pt x="309" y="34"/>
                  </a:lnTo>
                  <a:lnTo>
                    <a:pt x="309" y="34"/>
                  </a:lnTo>
                  <a:lnTo>
                    <a:pt x="310" y="34"/>
                  </a:lnTo>
                  <a:lnTo>
                    <a:pt x="311" y="34"/>
                  </a:lnTo>
                  <a:lnTo>
                    <a:pt x="312" y="33"/>
                  </a:lnTo>
                  <a:lnTo>
                    <a:pt x="314" y="32"/>
                  </a:lnTo>
                  <a:lnTo>
                    <a:pt x="316" y="32"/>
                  </a:lnTo>
                  <a:lnTo>
                    <a:pt x="317" y="32"/>
                  </a:lnTo>
                  <a:lnTo>
                    <a:pt x="317" y="31"/>
                  </a:lnTo>
                  <a:lnTo>
                    <a:pt x="319" y="31"/>
                  </a:lnTo>
                  <a:lnTo>
                    <a:pt x="321" y="31"/>
                  </a:lnTo>
                  <a:lnTo>
                    <a:pt x="322" y="31"/>
                  </a:lnTo>
                  <a:lnTo>
                    <a:pt x="323" y="32"/>
                  </a:lnTo>
                  <a:lnTo>
                    <a:pt x="326" y="32"/>
                  </a:lnTo>
                  <a:lnTo>
                    <a:pt x="327" y="32"/>
                  </a:lnTo>
                  <a:lnTo>
                    <a:pt x="328" y="32"/>
                  </a:lnTo>
                  <a:lnTo>
                    <a:pt x="328" y="32"/>
                  </a:lnTo>
                  <a:lnTo>
                    <a:pt x="331" y="32"/>
                  </a:lnTo>
                  <a:lnTo>
                    <a:pt x="333" y="32"/>
                  </a:lnTo>
                  <a:lnTo>
                    <a:pt x="334" y="32"/>
                  </a:lnTo>
                  <a:lnTo>
                    <a:pt x="334" y="32"/>
                  </a:lnTo>
                  <a:lnTo>
                    <a:pt x="335" y="32"/>
                  </a:lnTo>
                  <a:lnTo>
                    <a:pt x="336" y="32"/>
                  </a:lnTo>
                  <a:lnTo>
                    <a:pt x="337" y="33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9" y="34"/>
                  </a:lnTo>
                  <a:lnTo>
                    <a:pt x="338" y="35"/>
                  </a:lnTo>
                  <a:lnTo>
                    <a:pt x="338" y="35"/>
                  </a:lnTo>
                  <a:lnTo>
                    <a:pt x="336" y="36"/>
                  </a:lnTo>
                  <a:lnTo>
                    <a:pt x="336" y="36"/>
                  </a:lnTo>
                  <a:lnTo>
                    <a:pt x="335" y="37"/>
                  </a:lnTo>
                  <a:lnTo>
                    <a:pt x="335" y="37"/>
                  </a:lnTo>
                  <a:lnTo>
                    <a:pt x="334" y="37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9"/>
                  </a:lnTo>
                  <a:lnTo>
                    <a:pt x="335" y="39"/>
                  </a:lnTo>
                  <a:lnTo>
                    <a:pt x="335" y="39"/>
                  </a:lnTo>
                  <a:lnTo>
                    <a:pt x="335" y="40"/>
                  </a:lnTo>
                  <a:lnTo>
                    <a:pt x="336" y="41"/>
                  </a:lnTo>
                  <a:lnTo>
                    <a:pt x="337" y="41"/>
                  </a:lnTo>
                  <a:lnTo>
                    <a:pt x="338" y="42"/>
                  </a:lnTo>
                  <a:lnTo>
                    <a:pt x="339" y="43"/>
                  </a:lnTo>
                  <a:lnTo>
                    <a:pt x="342" y="44"/>
                  </a:lnTo>
                  <a:lnTo>
                    <a:pt x="344" y="45"/>
                  </a:lnTo>
                  <a:lnTo>
                    <a:pt x="346" y="47"/>
                  </a:lnTo>
                  <a:lnTo>
                    <a:pt x="349" y="49"/>
                  </a:lnTo>
                  <a:lnTo>
                    <a:pt x="350" y="50"/>
                  </a:lnTo>
                  <a:lnTo>
                    <a:pt x="352" y="51"/>
                  </a:lnTo>
                  <a:lnTo>
                    <a:pt x="352" y="51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6" y="52"/>
                  </a:lnTo>
                  <a:lnTo>
                    <a:pt x="357" y="52"/>
                  </a:lnTo>
                  <a:lnTo>
                    <a:pt x="358" y="53"/>
                  </a:lnTo>
                  <a:lnTo>
                    <a:pt x="359" y="53"/>
                  </a:lnTo>
                  <a:lnTo>
                    <a:pt x="361" y="53"/>
                  </a:lnTo>
                  <a:lnTo>
                    <a:pt x="362" y="53"/>
                  </a:lnTo>
                  <a:lnTo>
                    <a:pt x="363" y="53"/>
                  </a:lnTo>
                  <a:lnTo>
                    <a:pt x="365" y="53"/>
                  </a:lnTo>
                  <a:lnTo>
                    <a:pt x="366" y="52"/>
                  </a:lnTo>
                  <a:lnTo>
                    <a:pt x="367" y="52"/>
                  </a:lnTo>
                  <a:lnTo>
                    <a:pt x="370" y="51"/>
                  </a:lnTo>
                  <a:lnTo>
                    <a:pt x="371" y="51"/>
                  </a:lnTo>
                  <a:lnTo>
                    <a:pt x="372" y="51"/>
                  </a:lnTo>
                  <a:lnTo>
                    <a:pt x="374" y="51"/>
                  </a:lnTo>
                  <a:lnTo>
                    <a:pt x="374" y="51"/>
                  </a:lnTo>
                  <a:lnTo>
                    <a:pt x="376" y="51"/>
                  </a:lnTo>
                  <a:lnTo>
                    <a:pt x="376" y="52"/>
                  </a:lnTo>
                  <a:lnTo>
                    <a:pt x="377" y="52"/>
                  </a:lnTo>
                  <a:lnTo>
                    <a:pt x="378" y="52"/>
                  </a:lnTo>
                  <a:lnTo>
                    <a:pt x="378" y="53"/>
                  </a:lnTo>
                  <a:lnTo>
                    <a:pt x="379" y="53"/>
                  </a:lnTo>
                  <a:lnTo>
                    <a:pt x="380" y="54"/>
                  </a:lnTo>
                  <a:lnTo>
                    <a:pt x="382" y="57"/>
                  </a:lnTo>
                  <a:lnTo>
                    <a:pt x="384" y="59"/>
                  </a:lnTo>
                  <a:lnTo>
                    <a:pt x="385" y="60"/>
                  </a:lnTo>
                  <a:lnTo>
                    <a:pt x="387" y="62"/>
                  </a:lnTo>
                  <a:lnTo>
                    <a:pt x="390" y="64"/>
                  </a:lnTo>
                  <a:lnTo>
                    <a:pt x="391" y="65"/>
                  </a:lnTo>
                  <a:lnTo>
                    <a:pt x="392" y="66"/>
                  </a:lnTo>
                  <a:lnTo>
                    <a:pt x="393" y="66"/>
                  </a:lnTo>
                  <a:lnTo>
                    <a:pt x="394" y="66"/>
                  </a:lnTo>
                  <a:lnTo>
                    <a:pt x="397" y="67"/>
                  </a:lnTo>
                  <a:lnTo>
                    <a:pt x="398" y="67"/>
                  </a:lnTo>
                  <a:lnTo>
                    <a:pt x="399" y="67"/>
                  </a:lnTo>
                  <a:lnTo>
                    <a:pt x="400" y="67"/>
                  </a:lnTo>
                  <a:lnTo>
                    <a:pt x="400" y="68"/>
                  </a:lnTo>
                  <a:lnTo>
                    <a:pt x="401" y="68"/>
                  </a:lnTo>
                  <a:lnTo>
                    <a:pt x="402" y="69"/>
                  </a:lnTo>
                  <a:lnTo>
                    <a:pt x="402" y="69"/>
                  </a:lnTo>
                  <a:lnTo>
                    <a:pt x="403" y="70"/>
                  </a:lnTo>
                  <a:lnTo>
                    <a:pt x="403" y="70"/>
                  </a:lnTo>
                  <a:lnTo>
                    <a:pt x="403" y="71"/>
                  </a:lnTo>
                  <a:lnTo>
                    <a:pt x="404" y="72"/>
                  </a:lnTo>
                  <a:lnTo>
                    <a:pt x="404" y="72"/>
                  </a:lnTo>
                  <a:lnTo>
                    <a:pt x="404" y="75"/>
                  </a:lnTo>
                  <a:lnTo>
                    <a:pt x="404" y="76"/>
                  </a:lnTo>
                  <a:lnTo>
                    <a:pt x="405" y="76"/>
                  </a:lnTo>
                  <a:lnTo>
                    <a:pt x="405" y="76"/>
                  </a:lnTo>
                  <a:lnTo>
                    <a:pt x="405" y="77"/>
                  </a:lnTo>
                  <a:lnTo>
                    <a:pt x="405" y="77"/>
                  </a:lnTo>
                  <a:lnTo>
                    <a:pt x="406" y="77"/>
                  </a:lnTo>
                  <a:lnTo>
                    <a:pt x="406" y="77"/>
                  </a:lnTo>
                  <a:lnTo>
                    <a:pt x="409" y="78"/>
                  </a:lnTo>
                  <a:lnTo>
                    <a:pt x="412" y="79"/>
                  </a:lnTo>
                  <a:lnTo>
                    <a:pt x="414" y="79"/>
                  </a:lnTo>
                  <a:lnTo>
                    <a:pt x="415" y="80"/>
                  </a:lnTo>
                  <a:lnTo>
                    <a:pt x="418" y="81"/>
                  </a:lnTo>
                  <a:lnTo>
                    <a:pt x="424" y="85"/>
                  </a:lnTo>
                  <a:lnTo>
                    <a:pt x="425" y="85"/>
                  </a:lnTo>
                  <a:lnTo>
                    <a:pt x="425" y="86"/>
                  </a:lnTo>
                  <a:lnTo>
                    <a:pt x="425" y="86"/>
                  </a:lnTo>
                  <a:lnTo>
                    <a:pt x="426" y="86"/>
                  </a:lnTo>
                  <a:lnTo>
                    <a:pt x="426" y="87"/>
                  </a:lnTo>
                  <a:lnTo>
                    <a:pt x="426" y="87"/>
                  </a:lnTo>
                  <a:lnTo>
                    <a:pt x="426" y="92"/>
                  </a:lnTo>
                  <a:lnTo>
                    <a:pt x="426" y="94"/>
                  </a:lnTo>
                  <a:lnTo>
                    <a:pt x="427" y="97"/>
                  </a:lnTo>
                  <a:lnTo>
                    <a:pt x="427" y="101"/>
                  </a:lnTo>
                  <a:lnTo>
                    <a:pt x="427" y="103"/>
                  </a:lnTo>
                  <a:lnTo>
                    <a:pt x="427" y="107"/>
                  </a:lnTo>
                  <a:lnTo>
                    <a:pt x="427" y="108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7" y="110"/>
                  </a:lnTo>
                  <a:lnTo>
                    <a:pt x="427" y="111"/>
                  </a:lnTo>
                  <a:lnTo>
                    <a:pt x="426" y="111"/>
                  </a:lnTo>
                  <a:lnTo>
                    <a:pt x="426" y="112"/>
                  </a:lnTo>
                  <a:lnTo>
                    <a:pt x="424" y="113"/>
                  </a:lnTo>
                  <a:lnTo>
                    <a:pt x="424" y="114"/>
                  </a:lnTo>
                  <a:lnTo>
                    <a:pt x="423" y="114"/>
                  </a:lnTo>
                  <a:lnTo>
                    <a:pt x="423" y="115"/>
                  </a:lnTo>
                  <a:lnTo>
                    <a:pt x="422" y="116"/>
                  </a:lnTo>
                  <a:lnTo>
                    <a:pt x="422" y="117"/>
                  </a:lnTo>
                  <a:lnTo>
                    <a:pt x="421" y="119"/>
                  </a:lnTo>
                  <a:lnTo>
                    <a:pt x="420" y="122"/>
                  </a:lnTo>
                  <a:lnTo>
                    <a:pt x="420" y="123"/>
                  </a:lnTo>
                  <a:lnTo>
                    <a:pt x="420" y="124"/>
                  </a:lnTo>
                  <a:lnTo>
                    <a:pt x="419" y="129"/>
                  </a:lnTo>
                  <a:lnTo>
                    <a:pt x="419" y="130"/>
                  </a:lnTo>
                  <a:lnTo>
                    <a:pt x="419" y="131"/>
                  </a:lnTo>
                  <a:lnTo>
                    <a:pt x="419" y="134"/>
                  </a:lnTo>
                  <a:lnTo>
                    <a:pt x="419" y="135"/>
                  </a:lnTo>
                  <a:lnTo>
                    <a:pt x="419" y="136"/>
                  </a:lnTo>
                  <a:lnTo>
                    <a:pt x="419" y="137"/>
                  </a:lnTo>
                  <a:lnTo>
                    <a:pt x="419" y="138"/>
                  </a:lnTo>
                  <a:lnTo>
                    <a:pt x="419" y="139"/>
                  </a:lnTo>
                  <a:lnTo>
                    <a:pt x="418" y="141"/>
                  </a:lnTo>
                  <a:lnTo>
                    <a:pt x="417" y="144"/>
                  </a:lnTo>
                  <a:lnTo>
                    <a:pt x="417" y="144"/>
                  </a:lnTo>
                  <a:lnTo>
                    <a:pt x="417" y="145"/>
                  </a:lnTo>
                  <a:lnTo>
                    <a:pt x="417" y="146"/>
                  </a:lnTo>
                  <a:lnTo>
                    <a:pt x="417" y="147"/>
                  </a:lnTo>
                  <a:lnTo>
                    <a:pt x="417" y="148"/>
                  </a:lnTo>
                  <a:lnTo>
                    <a:pt x="417" y="151"/>
                  </a:lnTo>
                  <a:lnTo>
                    <a:pt x="417" y="152"/>
                  </a:lnTo>
                  <a:lnTo>
                    <a:pt x="416" y="153"/>
                  </a:lnTo>
                  <a:lnTo>
                    <a:pt x="416" y="154"/>
                  </a:lnTo>
                  <a:lnTo>
                    <a:pt x="416" y="155"/>
                  </a:lnTo>
                  <a:lnTo>
                    <a:pt x="416" y="156"/>
                  </a:lnTo>
                  <a:lnTo>
                    <a:pt x="415" y="158"/>
                  </a:lnTo>
                  <a:lnTo>
                    <a:pt x="415" y="159"/>
                  </a:lnTo>
                  <a:lnTo>
                    <a:pt x="415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8" y="161"/>
                  </a:lnTo>
                  <a:lnTo>
                    <a:pt x="418" y="162"/>
                  </a:lnTo>
                  <a:lnTo>
                    <a:pt x="419" y="162"/>
                  </a:lnTo>
                  <a:lnTo>
                    <a:pt x="419" y="163"/>
                  </a:lnTo>
                  <a:lnTo>
                    <a:pt x="420" y="163"/>
                  </a:lnTo>
                  <a:lnTo>
                    <a:pt x="420" y="164"/>
                  </a:lnTo>
                  <a:lnTo>
                    <a:pt x="420" y="165"/>
                  </a:lnTo>
                  <a:lnTo>
                    <a:pt x="420" y="165"/>
                  </a:lnTo>
                  <a:lnTo>
                    <a:pt x="419" y="166"/>
                  </a:lnTo>
                  <a:lnTo>
                    <a:pt x="419" y="166"/>
                  </a:lnTo>
                  <a:lnTo>
                    <a:pt x="419" y="167"/>
                  </a:lnTo>
                  <a:lnTo>
                    <a:pt x="418" y="167"/>
                  </a:lnTo>
                  <a:lnTo>
                    <a:pt x="417" y="168"/>
                  </a:lnTo>
                  <a:lnTo>
                    <a:pt x="414" y="171"/>
                  </a:lnTo>
                  <a:lnTo>
                    <a:pt x="413" y="172"/>
                  </a:lnTo>
                  <a:lnTo>
                    <a:pt x="412" y="173"/>
                  </a:lnTo>
                  <a:lnTo>
                    <a:pt x="411" y="174"/>
                  </a:lnTo>
                  <a:lnTo>
                    <a:pt x="410" y="176"/>
                  </a:lnTo>
                  <a:lnTo>
                    <a:pt x="409" y="177"/>
                  </a:lnTo>
                  <a:lnTo>
                    <a:pt x="408" y="177"/>
                  </a:lnTo>
                  <a:lnTo>
                    <a:pt x="408" y="178"/>
                  </a:lnTo>
                  <a:lnTo>
                    <a:pt x="407" y="178"/>
                  </a:lnTo>
                  <a:lnTo>
                    <a:pt x="407" y="178"/>
                  </a:lnTo>
                  <a:lnTo>
                    <a:pt x="406" y="179"/>
                  </a:lnTo>
                  <a:lnTo>
                    <a:pt x="406" y="179"/>
                  </a:lnTo>
                  <a:lnTo>
                    <a:pt x="405" y="179"/>
                  </a:lnTo>
                  <a:lnTo>
                    <a:pt x="405" y="179"/>
                  </a:lnTo>
                  <a:lnTo>
                    <a:pt x="404" y="178"/>
                  </a:lnTo>
                  <a:lnTo>
                    <a:pt x="403" y="178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399" y="176"/>
                  </a:lnTo>
                  <a:lnTo>
                    <a:pt x="398" y="176"/>
                  </a:lnTo>
                  <a:lnTo>
                    <a:pt x="397" y="176"/>
                  </a:lnTo>
                  <a:lnTo>
                    <a:pt x="397" y="176"/>
                  </a:lnTo>
                  <a:lnTo>
                    <a:pt x="396" y="176"/>
                  </a:lnTo>
                  <a:lnTo>
                    <a:pt x="395" y="177"/>
                  </a:lnTo>
                  <a:lnTo>
                    <a:pt x="394" y="177"/>
                  </a:lnTo>
                  <a:lnTo>
                    <a:pt x="392" y="178"/>
                  </a:lnTo>
                  <a:lnTo>
                    <a:pt x="391" y="179"/>
                  </a:lnTo>
                  <a:lnTo>
                    <a:pt x="390" y="179"/>
                  </a:lnTo>
                  <a:lnTo>
                    <a:pt x="389" y="180"/>
                  </a:lnTo>
                  <a:lnTo>
                    <a:pt x="388" y="181"/>
                  </a:lnTo>
                  <a:lnTo>
                    <a:pt x="387" y="182"/>
                  </a:lnTo>
                  <a:lnTo>
                    <a:pt x="386" y="182"/>
                  </a:lnTo>
                  <a:lnTo>
                    <a:pt x="386" y="183"/>
                  </a:lnTo>
                  <a:lnTo>
                    <a:pt x="385" y="185"/>
                  </a:lnTo>
                  <a:lnTo>
                    <a:pt x="382" y="188"/>
                  </a:lnTo>
                  <a:lnTo>
                    <a:pt x="381" y="189"/>
                  </a:lnTo>
                  <a:lnTo>
                    <a:pt x="381" y="190"/>
                  </a:lnTo>
                  <a:lnTo>
                    <a:pt x="381" y="191"/>
                  </a:lnTo>
                  <a:lnTo>
                    <a:pt x="380" y="192"/>
                  </a:lnTo>
                  <a:lnTo>
                    <a:pt x="380" y="193"/>
                  </a:lnTo>
                  <a:lnTo>
                    <a:pt x="380" y="194"/>
                  </a:lnTo>
                  <a:lnTo>
                    <a:pt x="380" y="195"/>
                  </a:lnTo>
                  <a:lnTo>
                    <a:pt x="380" y="195"/>
                  </a:lnTo>
                  <a:lnTo>
                    <a:pt x="380" y="196"/>
                  </a:lnTo>
                  <a:lnTo>
                    <a:pt x="381" y="196"/>
                  </a:lnTo>
                  <a:lnTo>
                    <a:pt x="381" y="197"/>
                  </a:lnTo>
                  <a:lnTo>
                    <a:pt x="381" y="197"/>
                  </a:lnTo>
                  <a:lnTo>
                    <a:pt x="381" y="197"/>
                  </a:lnTo>
                  <a:lnTo>
                    <a:pt x="382" y="198"/>
                  </a:lnTo>
                  <a:lnTo>
                    <a:pt x="382" y="198"/>
                  </a:lnTo>
                  <a:lnTo>
                    <a:pt x="383" y="198"/>
                  </a:lnTo>
                  <a:lnTo>
                    <a:pt x="385" y="197"/>
                  </a:lnTo>
                  <a:lnTo>
                    <a:pt x="386" y="197"/>
                  </a:lnTo>
                  <a:lnTo>
                    <a:pt x="387" y="197"/>
                  </a:lnTo>
                  <a:lnTo>
                    <a:pt x="388" y="197"/>
                  </a:lnTo>
                  <a:lnTo>
                    <a:pt x="390" y="197"/>
                  </a:lnTo>
                  <a:lnTo>
                    <a:pt x="391" y="198"/>
                  </a:lnTo>
                  <a:lnTo>
                    <a:pt x="391" y="198"/>
                  </a:lnTo>
                  <a:lnTo>
                    <a:pt x="392" y="198"/>
                  </a:lnTo>
                  <a:lnTo>
                    <a:pt x="392" y="198"/>
                  </a:lnTo>
                  <a:lnTo>
                    <a:pt x="392" y="199"/>
                  </a:lnTo>
                  <a:lnTo>
                    <a:pt x="392" y="199"/>
                  </a:lnTo>
                  <a:lnTo>
                    <a:pt x="393" y="199"/>
                  </a:lnTo>
                  <a:lnTo>
                    <a:pt x="392" y="200"/>
                  </a:lnTo>
                  <a:lnTo>
                    <a:pt x="392" y="200"/>
                  </a:lnTo>
                  <a:lnTo>
                    <a:pt x="392" y="201"/>
                  </a:lnTo>
                  <a:lnTo>
                    <a:pt x="391" y="201"/>
                  </a:lnTo>
                  <a:lnTo>
                    <a:pt x="390" y="202"/>
                  </a:lnTo>
                  <a:lnTo>
                    <a:pt x="386" y="203"/>
                  </a:lnTo>
                  <a:lnTo>
                    <a:pt x="386" y="204"/>
                  </a:lnTo>
                  <a:lnTo>
                    <a:pt x="386" y="204"/>
                  </a:lnTo>
                  <a:lnTo>
                    <a:pt x="386" y="204"/>
                  </a:lnTo>
                  <a:lnTo>
                    <a:pt x="385" y="204"/>
                  </a:lnTo>
                  <a:lnTo>
                    <a:pt x="385" y="205"/>
                  </a:lnTo>
                  <a:lnTo>
                    <a:pt x="385" y="206"/>
                  </a:lnTo>
                  <a:lnTo>
                    <a:pt x="386" y="206"/>
                  </a:lnTo>
                  <a:lnTo>
                    <a:pt x="386" y="207"/>
                  </a:lnTo>
                  <a:lnTo>
                    <a:pt x="386" y="207"/>
                  </a:lnTo>
                  <a:lnTo>
                    <a:pt x="386" y="208"/>
                  </a:lnTo>
                  <a:lnTo>
                    <a:pt x="388" y="209"/>
                  </a:lnTo>
                  <a:lnTo>
                    <a:pt x="388" y="210"/>
                  </a:lnTo>
                  <a:lnTo>
                    <a:pt x="389" y="211"/>
                  </a:lnTo>
                  <a:lnTo>
                    <a:pt x="389" y="211"/>
                  </a:lnTo>
                  <a:lnTo>
                    <a:pt x="390" y="212"/>
                  </a:lnTo>
                  <a:lnTo>
                    <a:pt x="390" y="213"/>
                  </a:lnTo>
                  <a:lnTo>
                    <a:pt x="390" y="213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8" y="215"/>
                  </a:lnTo>
                  <a:lnTo>
                    <a:pt x="388" y="215"/>
                  </a:lnTo>
                  <a:lnTo>
                    <a:pt x="387" y="215"/>
                  </a:lnTo>
                  <a:lnTo>
                    <a:pt x="386" y="215"/>
                  </a:lnTo>
                  <a:lnTo>
                    <a:pt x="385" y="215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7"/>
                  </a:lnTo>
                  <a:lnTo>
                    <a:pt x="385" y="217"/>
                  </a:lnTo>
                  <a:lnTo>
                    <a:pt x="386" y="218"/>
                  </a:lnTo>
                  <a:lnTo>
                    <a:pt x="387" y="219"/>
                  </a:lnTo>
                  <a:lnTo>
                    <a:pt x="388" y="219"/>
                  </a:lnTo>
                  <a:lnTo>
                    <a:pt x="388" y="219"/>
                  </a:lnTo>
                  <a:lnTo>
                    <a:pt x="388" y="220"/>
                  </a:lnTo>
                  <a:lnTo>
                    <a:pt x="388" y="220"/>
                  </a:lnTo>
                  <a:lnTo>
                    <a:pt x="388" y="221"/>
                  </a:lnTo>
                  <a:lnTo>
                    <a:pt x="388" y="222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9" y="223"/>
                  </a:lnTo>
                  <a:lnTo>
                    <a:pt x="389" y="224"/>
                  </a:lnTo>
                  <a:lnTo>
                    <a:pt x="389" y="224"/>
                  </a:lnTo>
                  <a:lnTo>
                    <a:pt x="390" y="224"/>
                  </a:lnTo>
                  <a:lnTo>
                    <a:pt x="391" y="224"/>
                  </a:lnTo>
                  <a:lnTo>
                    <a:pt x="393" y="224"/>
                  </a:lnTo>
                  <a:lnTo>
                    <a:pt x="394" y="224"/>
                  </a:lnTo>
                  <a:lnTo>
                    <a:pt x="395" y="224"/>
                  </a:lnTo>
                  <a:lnTo>
                    <a:pt x="396" y="224"/>
                  </a:lnTo>
                  <a:lnTo>
                    <a:pt x="397" y="225"/>
                  </a:lnTo>
                  <a:lnTo>
                    <a:pt x="398" y="225"/>
                  </a:lnTo>
                  <a:lnTo>
                    <a:pt x="399" y="226"/>
                  </a:lnTo>
                  <a:lnTo>
                    <a:pt x="400" y="226"/>
                  </a:lnTo>
                  <a:lnTo>
                    <a:pt x="400" y="227"/>
                  </a:lnTo>
                  <a:lnTo>
                    <a:pt x="400" y="227"/>
                  </a:lnTo>
                  <a:lnTo>
                    <a:pt x="401" y="228"/>
                  </a:lnTo>
                  <a:lnTo>
                    <a:pt x="401" y="228"/>
                  </a:lnTo>
                  <a:lnTo>
                    <a:pt x="401" y="229"/>
                  </a:lnTo>
                  <a:lnTo>
                    <a:pt x="401" y="230"/>
                  </a:lnTo>
                  <a:lnTo>
                    <a:pt x="401" y="232"/>
                  </a:lnTo>
                  <a:lnTo>
                    <a:pt x="401" y="234"/>
                  </a:lnTo>
                  <a:lnTo>
                    <a:pt x="401" y="236"/>
                  </a:lnTo>
                  <a:lnTo>
                    <a:pt x="401" y="237"/>
                  </a:lnTo>
                  <a:lnTo>
                    <a:pt x="401" y="239"/>
                  </a:lnTo>
                  <a:lnTo>
                    <a:pt x="400" y="242"/>
                  </a:lnTo>
                  <a:lnTo>
                    <a:pt x="400" y="244"/>
                  </a:lnTo>
                  <a:lnTo>
                    <a:pt x="400" y="246"/>
                  </a:lnTo>
                  <a:lnTo>
                    <a:pt x="399" y="249"/>
                  </a:lnTo>
                  <a:lnTo>
                    <a:pt x="399" y="252"/>
                  </a:lnTo>
                  <a:lnTo>
                    <a:pt x="399" y="253"/>
                  </a:lnTo>
                  <a:lnTo>
                    <a:pt x="399" y="257"/>
                  </a:lnTo>
                  <a:lnTo>
                    <a:pt x="399" y="257"/>
                  </a:lnTo>
                  <a:lnTo>
                    <a:pt x="399" y="258"/>
                  </a:lnTo>
                  <a:lnTo>
                    <a:pt x="399" y="258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1" y="260"/>
                  </a:lnTo>
                  <a:lnTo>
                    <a:pt x="402" y="260"/>
                  </a:lnTo>
                  <a:lnTo>
                    <a:pt x="403" y="261"/>
                  </a:lnTo>
                  <a:lnTo>
                    <a:pt x="404" y="262"/>
                  </a:lnTo>
                  <a:lnTo>
                    <a:pt x="404" y="262"/>
                  </a:lnTo>
                  <a:lnTo>
                    <a:pt x="405" y="263"/>
                  </a:lnTo>
                  <a:lnTo>
                    <a:pt x="405" y="264"/>
                  </a:lnTo>
                  <a:lnTo>
                    <a:pt x="405" y="265"/>
                  </a:lnTo>
                  <a:lnTo>
                    <a:pt x="406" y="267"/>
                  </a:lnTo>
                  <a:lnTo>
                    <a:pt x="406" y="268"/>
                  </a:lnTo>
                  <a:lnTo>
                    <a:pt x="406" y="269"/>
                  </a:lnTo>
                  <a:lnTo>
                    <a:pt x="406" y="270"/>
                  </a:lnTo>
                  <a:lnTo>
                    <a:pt x="406" y="271"/>
                  </a:lnTo>
                  <a:lnTo>
                    <a:pt x="406" y="273"/>
                  </a:lnTo>
                  <a:lnTo>
                    <a:pt x="406" y="274"/>
                  </a:lnTo>
                  <a:lnTo>
                    <a:pt x="406" y="275"/>
                  </a:lnTo>
                  <a:lnTo>
                    <a:pt x="406" y="276"/>
                  </a:lnTo>
                  <a:lnTo>
                    <a:pt x="406" y="276"/>
                  </a:lnTo>
                  <a:lnTo>
                    <a:pt x="405" y="276"/>
                  </a:lnTo>
                  <a:lnTo>
                    <a:pt x="405" y="276"/>
                  </a:lnTo>
                  <a:lnTo>
                    <a:pt x="405" y="276"/>
                  </a:lnTo>
                  <a:lnTo>
                    <a:pt x="404" y="277"/>
                  </a:lnTo>
                  <a:lnTo>
                    <a:pt x="404" y="278"/>
                  </a:lnTo>
                  <a:lnTo>
                    <a:pt x="404" y="278"/>
                  </a:lnTo>
                  <a:lnTo>
                    <a:pt x="403" y="279"/>
                  </a:lnTo>
                  <a:lnTo>
                    <a:pt x="402" y="284"/>
                  </a:lnTo>
                  <a:lnTo>
                    <a:pt x="402" y="285"/>
                  </a:lnTo>
                  <a:lnTo>
                    <a:pt x="402" y="285"/>
                  </a:lnTo>
                  <a:lnTo>
                    <a:pt x="402" y="286"/>
                  </a:lnTo>
                  <a:lnTo>
                    <a:pt x="402" y="286"/>
                  </a:lnTo>
                  <a:lnTo>
                    <a:pt x="402" y="287"/>
                  </a:lnTo>
                  <a:lnTo>
                    <a:pt x="402" y="287"/>
                  </a:lnTo>
                  <a:lnTo>
                    <a:pt x="402" y="288"/>
                  </a:lnTo>
                  <a:lnTo>
                    <a:pt x="403" y="289"/>
                  </a:lnTo>
                  <a:lnTo>
                    <a:pt x="404" y="290"/>
                  </a:lnTo>
                  <a:lnTo>
                    <a:pt x="404" y="290"/>
                  </a:lnTo>
                  <a:lnTo>
                    <a:pt x="404" y="290"/>
                  </a:lnTo>
                  <a:lnTo>
                    <a:pt x="405" y="291"/>
                  </a:lnTo>
                  <a:lnTo>
                    <a:pt x="405" y="293"/>
                  </a:lnTo>
                  <a:lnTo>
                    <a:pt x="405" y="294"/>
                  </a:lnTo>
                  <a:lnTo>
                    <a:pt x="405" y="295"/>
                  </a:lnTo>
                  <a:lnTo>
                    <a:pt x="405" y="299"/>
                  </a:lnTo>
                  <a:lnTo>
                    <a:pt x="405" y="300"/>
                  </a:lnTo>
                  <a:lnTo>
                    <a:pt x="406" y="303"/>
                  </a:lnTo>
                  <a:lnTo>
                    <a:pt x="406" y="304"/>
                  </a:lnTo>
                  <a:lnTo>
                    <a:pt x="407" y="305"/>
                  </a:lnTo>
                  <a:lnTo>
                    <a:pt x="408" y="307"/>
                  </a:lnTo>
                  <a:lnTo>
                    <a:pt x="409" y="309"/>
                  </a:lnTo>
                  <a:lnTo>
                    <a:pt x="409" y="310"/>
                  </a:lnTo>
                  <a:lnTo>
                    <a:pt x="409" y="311"/>
                  </a:lnTo>
                  <a:lnTo>
                    <a:pt x="410" y="312"/>
                  </a:lnTo>
                  <a:lnTo>
                    <a:pt x="410" y="312"/>
                  </a:lnTo>
                  <a:lnTo>
                    <a:pt x="410" y="312"/>
                  </a:lnTo>
                  <a:lnTo>
                    <a:pt x="409" y="313"/>
                  </a:lnTo>
                  <a:lnTo>
                    <a:pt x="407" y="316"/>
                  </a:lnTo>
                  <a:lnTo>
                    <a:pt x="406" y="318"/>
                  </a:lnTo>
                  <a:lnTo>
                    <a:pt x="406" y="319"/>
                  </a:lnTo>
                  <a:lnTo>
                    <a:pt x="405" y="320"/>
                  </a:lnTo>
                  <a:lnTo>
                    <a:pt x="405" y="321"/>
                  </a:lnTo>
                  <a:lnTo>
                    <a:pt x="405" y="322"/>
                  </a:lnTo>
                  <a:lnTo>
                    <a:pt x="404" y="325"/>
                  </a:lnTo>
                  <a:lnTo>
                    <a:pt x="404" y="327"/>
                  </a:lnTo>
                  <a:lnTo>
                    <a:pt x="404" y="328"/>
                  </a:lnTo>
                  <a:lnTo>
                    <a:pt x="404" y="330"/>
                  </a:lnTo>
                  <a:lnTo>
                    <a:pt x="405" y="331"/>
                  </a:lnTo>
                  <a:lnTo>
                    <a:pt x="405" y="333"/>
                  </a:lnTo>
                  <a:lnTo>
                    <a:pt x="405" y="334"/>
                  </a:lnTo>
                  <a:lnTo>
                    <a:pt x="407" y="337"/>
                  </a:lnTo>
                  <a:lnTo>
                    <a:pt x="408" y="338"/>
                  </a:lnTo>
                  <a:lnTo>
                    <a:pt x="408" y="339"/>
                  </a:lnTo>
                  <a:lnTo>
                    <a:pt x="410" y="341"/>
                  </a:lnTo>
                  <a:lnTo>
                    <a:pt x="410" y="342"/>
                  </a:lnTo>
                  <a:lnTo>
                    <a:pt x="411" y="342"/>
                  </a:lnTo>
                  <a:lnTo>
                    <a:pt x="411" y="343"/>
                  </a:lnTo>
                  <a:lnTo>
                    <a:pt x="411" y="344"/>
                  </a:lnTo>
                  <a:lnTo>
                    <a:pt x="411" y="345"/>
                  </a:lnTo>
                  <a:lnTo>
                    <a:pt x="411" y="346"/>
                  </a:lnTo>
                  <a:lnTo>
                    <a:pt x="410" y="348"/>
                  </a:lnTo>
                  <a:lnTo>
                    <a:pt x="410" y="349"/>
                  </a:lnTo>
                  <a:lnTo>
                    <a:pt x="410" y="350"/>
                  </a:lnTo>
                  <a:lnTo>
                    <a:pt x="409" y="351"/>
                  </a:lnTo>
                  <a:lnTo>
                    <a:pt x="408" y="353"/>
                  </a:lnTo>
                  <a:lnTo>
                    <a:pt x="407" y="354"/>
                  </a:lnTo>
                  <a:lnTo>
                    <a:pt x="406" y="356"/>
                  </a:lnTo>
                  <a:lnTo>
                    <a:pt x="405" y="358"/>
                  </a:lnTo>
                  <a:lnTo>
                    <a:pt x="405" y="360"/>
                  </a:lnTo>
                  <a:lnTo>
                    <a:pt x="404" y="361"/>
                  </a:lnTo>
                  <a:lnTo>
                    <a:pt x="404" y="362"/>
                  </a:lnTo>
                  <a:lnTo>
                    <a:pt x="403" y="362"/>
                  </a:lnTo>
                  <a:lnTo>
                    <a:pt x="403" y="363"/>
                  </a:lnTo>
                  <a:lnTo>
                    <a:pt x="400" y="365"/>
                  </a:lnTo>
                  <a:lnTo>
                    <a:pt x="398" y="367"/>
                  </a:lnTo>
                  <a:lnTo>
                    <a:pt x="396" y="367"/>
                  </a:lnTo>
                  <a:lnTo>
                    <a:pt x="396" y="368"/>
                  </a:lnTo>
                  <a:lnTo>
                    <a:pt x="394" y="370"/>
                  </a:lnTo>
                  <a:lnTo>
                    <a:pt x="393" y="371"/>
                  </a:lnTo>
                  <a:lnTo>
                    <a:pt x="393" y="371"/>
                  </a:lnTo>
                  <a:lnTo>
                    <a:pt x="393" y="372"/>
                  </a:lnTo>
                  <a:lnTo>
                    <a:pt x="393" y="373"/>
                  </a:lnTo>
                  <a:lnTo>
                    <a:pt x="392" y="374"/>
                  </a:lnTo>
                  <a:lnTo>
                    <a:pt x="392" y="375"/>
                  </a:lnTo>
                  <a:lnTo>
                    <a:pt x="392" y="376"/>
                  </a:lnTo>
                  <a:lnTo>
                    <a:pt x="392" y="377"/>
                  </a:lnTo>
                  <a:lnTo>
                    <a:pt x="393" y="378"/>
                  </a:lnTo>
                  <a:lnTo>
                    <a:pt x="393" y="379"/>
                  </a:lnTo>
                  <a:lnTo>
                    <a:pt x="393" y="379"/>
                  </a:lnTo>
                  <a:lnTo>
                    <a:pt x="393" y="380"/>
                  </a:lnTo>
                  <a:lnTo>
                    <a:pt x="392" y="381"/>
                  </a:lnTo>
                  <a:lnTo>
                    <a:pt x="392" y="381"/>
                  </a:lnTo>
                  <a:lnTo>
                    <a:pt x="392" y="382"/>
                  </a:lnTo>
                  <a:lnTo>
                    <a:pt x="391" y="382"/>
                  </a:lnTo>
                  <a:lnTo>
                    <a:pt x="391" y="383"/>
                  </a:lnTo>
                  <a:lnTo>
                    <a:pt x="391" y="383"/>
                  </a:lnTo>
                  <a:lnTo>
                    <a:pt x="390" y="383"/>
                  </a:lnTo>
                  <a:lnTo>
                    <a:pt x="390" y="384"/>
                  </a:lnTo>
                  <a:lnTo>
                    <a:pt x="388" y="385"/>
                  </a:lnTo>
                  <a:lnTo>
                    <a:pt x="387" y="385"/>
                  </a:lnTo>
                  <a:lnTo>
                    <a:pt x="387" y="385"/>
                  </a:lnTo>
                  <a:lnTo>
                    <a:pt x="387" y="386"/>
                  </a:lnTo>
                  <a:lnTo>
                    <a:pt x="386" y="386"/>
                  </a:lnTo>
                  <a:lnTo>
                    <a:pt x="386" y="386"/>
                  </a:lnTo>
                  <a:lnTo>
                    <a:pt x="386" y="387"/>
                  </a:lnTo>
                  <a:lnTo>
                    <a:pt x="386" y="387"/>
                  </a:lnTo>
                  <a:lnTo>
                    <a:pt x="386" y="388"/>
                  </a:lnTo>
                  <a:lnTo>
                    <a:pt x="386" y="388"/>
                  </a:lnTo>
                  <a:lnTo>
                    <a:pt x="386" y="389"/>
                  </a:lnTo>
                  <a:lnTo>
                    <a:pt x="386" y="390"/>
                  </a:lnTo>
                  <a:lnTo>
                    <a:pt x="387" y="390"/>
                  </a:lnTo>
                  <a:lnTo>
                    <a:pt x="387" y="391"/>
                  </a:lnTo>
                  <a:lnTo>
                    <a:pt x="387" y="391"/>
                  </a:lnTo>
                  <a:lnTo>
                    <a:pt x="388" y="392"/>
                  </a:lnTo>
                  <a:lnTo>
                    <a:pt x="388" y="393"/>
                  </a:lnTo>
                  <a:lnTo>
                    <a:pt x="389" y="393"/>
                  </a:lnTo>
                  <a:lnTo>
                    <a:pt x="391" y="394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6"/>
                  </a:lnTo>
                  <a:lnTo>
                    <a:pt x="391" y="397"/>
                  </a:lnTo>
                  <a:lnTo>
                    <a:pt x="391" y="398"/>
                  </a:lnTo>
                  <a:lnTo>
                    <a:pt x="390" y="398"/>
                  </a:lnTo>
                  <a:lnTo>
                    <a:pt x="390" y="399"/>
                  </a:lnTo>
                  <a:lnTo>
                    <a:pt x="390" y="399"/>
                  </a:lnTo>
                  <a:lnTo>
                    <a:pt x="389" y="399"/>
                  </a:lnTo>
                  <a:lnTo>
                    <a:pt x="389" y="400"/>
                  </a:lnTo>
                  <a:lnTo>
                    <a:pt x="387" y="400"/>
                  </a:lnTo>
                  <a:lnTo>
                    <a:pt x="387" y="401"/>
                  </a:lnTo>
                  <a:lnTo>
                    <a:pt x="386" y="401"/>
                  </a:lnTo>
                  <a:lnTo>
                    <a:pt x="385" y="403"/>
                  </a:lnTo>
                  <a:lnTo>
                    <a:pt x="384" y="404"/>
                  </a:lnTo>
                  <a:lnTo>
                    <a:pt x="383" y="404"/>
                  </a:lnTo>
                  <a:lnTo>
                    <a:pt x="383" y="405"/>
                  </a:lnTo>
                  <a:lnTo>
                    <a:pt x="383" y="406"/>
                  </a:lnTo>
                  <a:lnTo>
                    <a:pt x="382" y="406"/>
                  </a:lnTo>
                  <a:lnTo>
                    <a:pt x="382" y="407"/>
                  </a:lnTo>
                  <a:lnTo>
                    <a:pt x="382" y="408"/>
                  </a:lnTo>
                  <a:lnTo>
                    <a:pt x="382" y="408"/>
                  </a:lnTo>
                  <a:lnTo>
                    <a:pt x="382" y="409"/>
                  </a:lnTo>
                  <a:lnTo>
                    <a:pt x="382" y="410"/>
                  </a:lnTo>
                  <a:lnTo>
                    <a:pt x="383" y="411"/>
                  </a:lnTo>
                  <a:lnTo>
                    <a:pt x="384" y="413"/>
                  </a:lnTo>
                  <a:lnTo>
                    <a:pt x="384" y="414"/>
                  </a:lnTo>
                  <a:lnTo>
                    <a:pt x="386" y="416"/>
                  </a:lnTo>
                  <a:lnTo>
                    <a:pt x="386" y="417"/>
                  </a:lnTo>
                  <a:lnTo>
                    <a:pt x="386" y="417"/>
                  </a:lnTo>
                  <a:lnTo>
                    <a:pt x="387" y="418"/>
                  </a:lnTo>
                  <a:lnTo>
                    <a:pt x="387" y="419"/>
                  </a:lnTo>
                  <a:lnTo>
                    <a:pt x="387" y="420"/>
                  </a:lnTo>
                  <a:lnTo>
                    <a:pt x="387" y="421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3"/>
                  </a:lnTo>
                  <a:lnTo>
                    <a:pt x="386" y="424"/>
                  </a:lnTo>
                  <a:lnTo>
                    <a:pt x="385" y="425"/>
                  </a:lnTo>
                  <a:lnTo>
                    <a:pt x="384" y="426"/>
                  </a:lnTo>
                  <a:lnTo>
                    <a:pt x="383" y="427"/>
                  </a:lnTo>
                  <a:lnTo>
                    <a:pt x="383" y="428"/>
                  </a:lnTo>
                  <a:lnTo>
                    <a:pt x="382" y="429"/>
                  </a:lnTo>
                  <a:lnTo>
                    <a:pt x="382" y="430"/>
                  </a:lnTo>
                  <a:lnTo>
                    <a:pt x="381" y="433"/>
                  </a:lnTo>
                  <a:lnTo>
                    <a:pt x="380" y="436"/>
                  </a:lnTo>
                  <a:lnTo>
                    <a:pt x="380" y="437"/>
                  </a:lnTo>
                  <a:lnTo>
                    <a:pt x="379" y="437"/>
                  </a:lnTo>
                  <a:lnTo>
                    <a:pt x="379" y="437"/>
                  </a:lnTo>
                  <a:lnTo>
                    <a:pt x="379" y="437"/>
                  </a:lnTo>
                  <a:lnTo>
                    <a:pt x="378" y="438"/>
                  </a:lnTo>
                  <a:lnTo>
                    <a:pt x="375" y="439"/>
                  </a:lnTo>
                  <a:lnTo>
                    <a:pt x="374" y="440"/>
                  </a:lnTo>
                  <a:lnTo>
                    <a:pt x="372" y="440"/>
                  </a:lnTo>
                  <a:lnTo>
                    <a:pt x="372" y="441"/>
                  </a:lnTo>
                  <a:lnTo>
                    <a:pt x="369" y="443"/>
                  </a:lnTo>
                  <a:lnTo>
                    <a:pt x="367" y="444"/>
                  </a:lnTo>
                  <a:lnTo>
                    <a:pt x="366" y="445"/>
                  </a:lnTo>
                  <a:lnTo>
                    <a:pt x="365" y="446"/>
                  </a:lnTo>
                  <a:lnTo>
                    <a:pt x="364" y="446"/>
                  </a:lnTo>
                  <a:lnTo>
                    <a:pt x="363" y="446"/>
                  </a:lnTo>
                  <a:lnTo>
                    <a:pt x="363" y="446"/>
                  </a:lnTo>
                  <a:lnTo>
                    <a:pt x="362" y="447"/>
                  </a:lnTo>
                  <a:lnTo>
                    <a:pt x="361" y="447"/>
                  </a:lnTo>
                  <a:lnTo>
                    <a:pt x="360" y="447"/>
                  </a:lnTo>
                  <a:lnTo>
                    <a:pt x="359" y="447"/>
                  </a:lnTo>
                  <a:lnTo>
                    <a:pt x="358" y="446"/>
                  </a:lnTo>
                  <a:lnTo>
                    <a:pt x="355" y="446"/>
                  </a:lnTo>
                  <a:lnTo>
                    <a:pt x="354" y="446"/>
                  </a:lnTo>
                  <a:lnTo>
                    <a:pt x="353" y="446"/>
                  </a:lnTo>
                  <a:lnTo>
                    <a:pt x="353" y="446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2" y="447"/>
                  </a:lnTo>
                  <a:lnTo>
                    <a:pt x="351" y="451"/>
                  </a:lnTo>
                  <a:lnTo>
                    <a:pt x="351" y="453"/>
                  </a:lnTo>
                  <a:lnTo>
                    <a:pt x="350" y="455"/>
                  </a:lnTo>
                  <a:lnTo>
                    <a:pt x="350" y="458"/>
                  </a:lnTo>
                  <a:lnTo>
                    <a:pt x="350" y="460"/>
                  </a:lnTo>
                  <a:lnTo>
                    <a:pt x="350" y="461"/>
                  </a:lnTo>
                  <a:lnTo>
                    <a:pt x="349" y="464"/>
                  </a:lnTo>
                  <a:lnTo>
                    <a:pt x="349" y="465"/>
                  </a:lnTo>
                  <a:lnTo>
                    <a:pt x="349" y="465"/>
                  </a:lnTo>
                  <a:lnTo>
                    <a:pt x="349" y="466"/>
                  </a:lnTo>
                  <a:lnTo>
                    <a:pt x="349" y="467"/>
                  </a:lnTo>
                  <a:lnTo>
                    <a:pt x="349" y="469"/>
                  </a:lnTo>
                  <a:lnTo>
                    <a:pt x="351" y="471"/>
                  </a:lnTo>
                  <a:lnTo>
                    <a:pt x="351" y="473"/>
                  </a:lnTo>
                  <a:lnTo>
                    <a:pt x="351" y="474"/>
                  </a:lnTo>
                  <a:lnTo>
                    <a:pt x="352" y="478"/>
                  </a:lnTo>
                  <a:lnTo>
                    <a:pt x="352" y="480"/>
                  </a:lnTo>
                  <a:lnTo>
                    <a:pt x="352" y="481"/>
                  </a:lnTo>
                  <a:lnTo>
                    <a:pt x="352" y="482"/>
                  </a:lnTo>
                  <a:lnTo>
                    <a:pt x="352" y="483"/>
                  </a:lnTo>
                  <a:lnTo>
                    <a:pt x="352" y="484"/>
                  </a:lnTo>
                  <a:lnTo>
                    <a:pt x="352" y="485"/>
                  </a:lnTo>
                  <a:lnTo>
                    <a:pt x="352" y="485"/>
                  </a:lnTo>
                  <a:lnTo>
                    <a:pt x="351" y="486"/>
                  </a:lnTo>
                  <a:lnTo>
                    <a:pt x="351" y="487"/>
                  </a:lnTo>
                  <a:lnTo>
                    <a:pt x="351" y="487"/>
                  </a:lnTo>
                  <a:lnTo>
                    <a:pt x="350" y="488"/>
                  </a:lnTo>
                  <a:lnTo>
                    <a:pt x="349" y="488"/>
                  </a:lnTo>
                  <a:lnTo>
                    <a:pt x="348" y="489"/>
                  </a:lnTo>
                  <a:lnTo>
                    <a:pt x="348" y="490"/>
                  </a:lnTo>
                  <a:lnTo>
                    <a:pt x="347" y="490"/>
                  </a:lnTo>
                  <a:lnTo>
                    <a:pt x="345" y="491"/>
                  </a:lnTo>
                  <a:lnTo>
                    <a:pt x="344" y="491"/>
                  </a:lnTo>
                  <a:lnTo>
                    <a:pt x="343" y="492"/>
                  </a:lnTo>
                  <a:lnTo>
                    <a:pt x="343" y="492"/>
                  </a:lnTo>
                  <a:lnTo>
                    <a:pt x="342" y="493"/>
                  </a:lnTo>
                  <a:lnTo>
                    <a:pt x="342" y="493"/>
                  </a:lnTo>
                  <a:lnTo>
                    <a:pt x="341" y="494"/>
                  </a:lnTo>
                  <a:lnTo>
                    <a:pt x="340" y="495"/>
                  </a:lnTo>
                  <a:lnTo>
                    <a:pt x="339" y="496"/>
                  </a:lnTo>
                  <a:lnTo>
                    <a:pt x="338" y="498"/>
                  </a:lnTo>
                  <a:lnTo>
                    <a:pt x="337" y="501"/>
                  </a:lnTo>
                  <a:lnTo>
                    <a:pt x="336" y="502"/>
                  </a:lnTo>
                  <a:lnTo>
                    <a:pt x="336" y="503"/>
                  </a:lnTo>
                  <a:lnTo>
                    <a:pt x="336" y="504"/>
                  </a:lnTo>
                  <a:lnTo>
                    <a:pt x="335" y="506"/>
                  </a:lnTo>
                  <a:lnTo>
                    <a:pt x="335" y="508"/>
                  </a:lnTo>
                  <a:lnTo>
                    <a:pt x="334" y="510"/>
                  </a:lnTo>
                  <a:lnTo>
                    <a:pt x="334" y="511"/>
                  </a:lnTo>
                  <a:lnTo>
                    <a:pt x="334" y="513"/>
                  </a:lnTo>
                  <a:lnTo>
                    <a:pt x="334" y="514"/>
                  </a:lnTo>
                  <a:lnTo>
                    <a:pt x="334" y="516"/>
                  </a:lnTo>
                  <a:lnTo>
                    <a:pt x="334" y="517"/>
                  </a:lnTo>
                  <a:lnTo>
                    <a:pt x="334" y="518"/>
                  </a:lnTo>
                  <a:lnTo>
                    <a:pt x="334" y="519"/>
                  </a:lnTo>
                  <a:lnTo>
                    <a:pt x="334" y="520"/>
                  </a:lnTo>
                  <a:lnTo>
                    <a:pt x="334" y="521"/>
                  </a:lnTo>
                  <a:lnTo>
                    <a:pt x="335" y="522"/>
                  </a:lnTo>
                  <a:lnTo>
                    <a:pt x="336" y="526"/>
                  </a:lnTo>
                  <a:lnTo>
                    <a:pt x="336" y="527"/>
                  </a:lnTo>
                  <a:lnTo>
                    <a:pt x="336" y="527"/>
                  </a:lnTo>
                  <a:lnTo>
                    <a:pt x="336" y="527"/>
                  </a:lnTo>
                  <a:lnTo>
                    <a:pt x="335" y="527"/>
                  </a:lnTo>
                  <a:lnTo>
                    <a:pt x="334" y="526"/>
                  </a:lnTo>
                  <a:lnTo>
                    <a:pt x="334" y="526"/>
                  </a:lnTo>
                  <a:lnTo>
                    <a:pt x="333" y="526"/>
                  </a:lnTo>
                  <a:lnTo>
                    <a:pt x="331" y="527"/>
                  </a:lnTo>
                  <a:lnTo>
                    <a:pt x="331" y="527"/>
                  </a:lnTo>
                  <a:lnTo>
                    <a:pt x="329" y="527"/>
                  </a:lnTo>
                  <a:lnTo>
                    <a:pt x="328" y="528"/>
                  </a:lnTo>
                  <a:lnTo>
                    <a:pt x="328" y="528"/>
                  </a:lnTo>
                  <a:lnTo>
                    <a:pt x="327" y="529"/>
                  </a:lnTo>
                  <a:lnTo>
                    <a:pt x="326" y="529"/>
                  </a:lnTo>
                  <a:lnTo>
                    <a:pt x="325" y="530"/>
                  </a:lnTo>
                  <a:lnTo>
                    <a:pt x="325" y="531"/>
                  </a:lnTo>
                  <a:lnTo>
                    <a:pt x="324" y="531"/>
                  </a:lnTo>
                  <a:lnTo>
                    <a:pt x="324" y="532"/>
                  </a:lnTo>
                  <a:lnTo>
                    <a:pt x="322" y="535"/>
                  </a:lnTo>
                  <a:lnTo>
                    <a:pt x="322" y="535"/>
                  </a:lnTo>
                  <a:lnTo>
                    <a:pt x="322" y="536"/>
                  </a:lnTo>
                  <a:lnTo>
                    <a:pt x="321" y="536"/>
                  </a:lnTo>
                  <a:lnTo>
                    <a:pt x="321" y="536"/>
                  </a:lnTo>
                  <a:lnTo>
                    <a:pt x="321" y="536"/>
                  </a:lnTo>
                  <a:lnTo>
                    <a:pt x="320" y="537"/>
                  </a:lnTo>
                  <a:lnTo>
                    <a:pt x="319" y="537"/>
                  </a:lnTo>
                  <a:lnTo>
                    <a:pt x="318" y="537"/>
                  </a:lnTo>
                  <a:lnTo>
                    <a:pt x="318" y="536"/>
                  </a:lnTo>
                  <a:lnTo>
                    <a:pt x="317" y="536"/>
                  </a:lnTo>
                  <a:lnTo>
                    <a:pt x="317" y="536"/>
                  </a:lnTo>
                  <a:lnTo>
                    <a:pt x="315" y="535"/>
                  </a:lnTo>
                  <a:lnTo>
                    <a:pt x="312" y="533"/>
                  </a:lnTo>
                  <a:lnTo>
                    <a:pt x="311" y="532"/>
                  </a:lnTo>
                  <a:lnTo>
                    <a:pt x="308" y="530"/>
                  </a:lnTo>
                  <a:lnTo>
                    <a:pt x="304" y="527"/>
                  </a:lnTo>
                  <a:lnTo>
                    <a:pt x="302" y="526"/>
                  </a:lnTo>
                  <a:lnTo>
                    <a:pt x="300" y="524"/>
                  </a:lnTo>
                  <a:lnTo>
                    <a:pt x="299" y="523"/>
                  </a:lnTo>
                  <a:lnTo>
                    <a:pt x="298" y="522"/>
                  </a:lnTo>
                  <a:lnTo>
                    <a:pt x="296" y="521"/>
                  </a:lnTo>
                  <a:lnTo>
                    <a:pt x="295" y="520"/>
                  </a:lnTo>
                  <a:lnTo>
                    <a:pt x="295" y="519"/>
                  </a:lnTo>
                  <a:lnTo>
                    <a:pt x="294" y="518"/>
                  </a:lnTo>
                  <a:lnTo>
                    <a:pt x="294" y="517"/>
                  </a:lnTo>
                  <a:lnTo>
                    <a:pt x="293" y="516"/>
                  </a:lnTo>
                  <a:lnTo>
                    <a:pt x="293" y="514"/>
                  </a:lnTo>
                  <a:lnTo>
                    <a:pt x="293" y="513"/>
                  </a:lnTo>
                  <a:lnTo>
                    <a:pt x="292" y="509"/>
                  </a:lnTo>
                  <a:lnTo>
                    <a:pt x="292" y="505"/>
                  </a:lnTo>
                  <a:lnTo>
                    <a:pt x="292" y="501"/>
                  </a:lnTo>
                  <a:lnTo>
                    <a:pt x="291" y="500"/>
                  </a:lnTo>
                  <a:lnTo>
                    <a:pt x="291" y="497"/>
                  </a:lnTo>
                  <a:lnTo>
                    <a:pt x="291" y="496"/>
                  </a:lnTo>
                  <a:lnTo>
                    <a:pt x="290" y="494"/>
                  </a:lnTo>
                  <a:lnTo>
                    <a:pt x="289" y="491"/>
                  </a:lnTo>
                  <a:lnTo>
                    <a:pt x="289" y="489"/>
                  </a:lnTo>
                  <a:lnTo>
                    <a:pt x="289" y="488"/>
                  </a:lnTo>
                  <a:lnTo>
                    <a:pt x="288" y="488"/>
                  </a:lnTo>
                  <a:lnTo>
                    <a:pt x="288" y="487"/>
                  </a:lnTo>
                  <a:lnTo>
                    <a:pt x="287" y="486"/>
                  </a:lnTo>
                  <a:lnTo>
                    <a:pt x="284" y="483"/>
                  </a:lnTo>
                  <a:lnTo>
                    <a:pt x="282" y="480"/>
                  </a:lnTo>
                  <a:lnTo>
                    <a:pt x="279" y="476"/>
                  </a:lnTo>
                  <a:lnTo>
                    <a:pt x="275" y="471"/>
                  </a:lnTo>
                  <a:lnTo>
                    <a:pt x="274" y="470"/>
                  </a:lnTo>
                  <a:lnTo>
                    <a:pt x="272" y="468"/>
                  </a:lnTo>
                  <a:lnTo>
                    <a:pt x="271" y="467"/>
                  </a:lnTo>
                  <a:lnTo>
                    <a:pt x="270" y="466"/>
                  </a:lnTo>
                  <a:lnTo>
                    <a:pt x="269" y="465"/>
                  </a:lnTo>
                  <a:lnTo>
                    <a:pt x="267" y="463"/>
                  </a:lnTo>
                  <a:lnTo>
                    <a:pt x="266" y="462"/>
                  </a:lnTo>
                  <a:lnTo>
                    <a:pt x="265" y="461"/>
                  </a:lnTo>
                  <a:lnTo>
                    <a:pt x="263" y="460"/>
                  </a:lnTo>
                  <a:lnTo>
                    <a:pt x="262" y="459"/>
                  </a:lnTo>
                  <a:lnTo>
                    <a:pt x="260" y="458"/>
                  </a:lnTo>
                  <a:lnTo>
                    <a:pt x="258" y="457"/>
                  </a:lnTo>
                  <a:lnTo>
                    <a:pt x="258" y="457"/>
                  </a:lnTo>
                  <a:lnTo>
                    <a:pt x="256" y="457"/>
                  </a:lnTo>
                  <a:lnTo>
                    <a:pt x="255" y="456"/>
                  </a:lnTo>
                  <a:lnTo>
                    <a:pt x="253" y="456"/>
                  </a:lnTo>
                  <a:lnTo>
                    <a:pt x="252" y="456"/>
                  </a:lnTo>
                  <a:lnTo>
                    <a:pt x="250" y="456"/>
                  </a:lnTo>
                  <a:lnTo>
                    <a:pt x="246" y="456"/>
                  </a:lnTo>
                  <a:lnTo>
                    <a:pt x="243" y="456"/>
                  </a:lnTo>
                  <a:lnTo>
                    <a:pt x="242" y="456"/>
                  </a:lnTo>
                  <a:lnTo>
                    <a:pt x="241" y="456"/>
                  </a:lnTo>
                  <a:lnTo>
                    <a:pt x="240" y="455"/>
                  </a:lnTo>
                  <a:lnTo>
                    <a:pt x="239" y="455"/>
                  </a:lnTo>
                  <a:lnTo>
                    <a:pt x="237" y="454"/>
                  </a:lnTo>
                  <a:lnTo>
                    <a:pt x="236" y="454"/>
                  </a:lnTo>
                  <a:lnTo>
                    <a:pt x="235" y="453"/>
                  </a:lnTo>
                  <a:lnTo>
                    <a:pt x="233" y="452"/>
                  </a:lnTo>
                  <a:lnTo>
                    <a:pt x="231" y="451"/>
                  </a:lnTo>
                  <a:lnTo>
                    <a:pt x="231" y="451"/>
                  </a:lnTo>
                  <a:lnTo>
                    <a:pt x="229" y="449"/>
                  </a:lnTo>
                  <a:lnTo>
                    <a:pt x="228" y="448"/>
                  </a:lnTo>
                  <a:lnTo>
                    <a:pt x="227" y="447"/>
                  </a:lnTo>
                  <a:lnTo>
                    <a:pt x="226" y="446"/>
                  </a:lnTo>
                  <a:lnTo>
                    <a:pt x="226" y="446"/>
                  </a:lnTo>
                  <a:lnTo>
                    <a:pt x="225" y="444"/>
                  </a:lnTo>
                  <a:lnTo>
                    <a:pt x="225" y="443"/>
                  </a:lnTo>
                  <a:lnTo>
                    <a:pt x="224" y="442"/>
                  </a:lnTo>
                  <a:lnTo>
                    <a:pt x="224" y="441"/>
                  </a:lnTo>
                  <a:lnTo>
                    <a:pt x="223" y="436"/>
                  </a:lnTo>
                  <a:lnTo>
                    <a:pt x="223" y="434"/>
                  </a:lnTo>
                  <a:lnTo>
                    <a:pt x="222" y="433"/>
                  </a:lnTo>
                  <a:lnTo>
                    <a:pt x="222" y="432"/>
                  </a:lnTo>
                  <a:lnTo>
                    <a:pt x="222" y="431"/>
                  </a:lnTo>
                  <a:lnTo>
                    <a:pt x="221" y="430"/>
                  </a:lnTo>
                  <a:lnTo>
                    <a:pt x="221" y="430"/>
                  </a:lnTo>
                  <a:lnTo>
                    <a:pt x="220" y="429"/>
                  </a:lnTo>
                  <a:lnTo>
                    <a:pt x="217" y="426"/>
                  </a:lnTo>
                  <a:lnTo>
                    <a:pt x="214" y="422"/>
                  </a:lnTo>
                  <a:lnTo>
                    <a:pt x="209" y="417"/>
                  </a:lnTo>
                  <a:lnTo>
                    <a:pt x="208" y="416"/>
                  </a:lnTo>
                  <a:lnTo>
                    <a:pt x="208" y="416"/>
                  </a:lnTo>
                  <a:lnTo>
                    <a:pt x="207" y="415"/>
                  </a:lnTo>
                  <a:lnTo>
                    <a:pt x="207" y="414"/>
                  </a:lnTo>
                  <a:lnTo>
                    <a:pt x="206" y="413"/>
                  </a:lnTo>
                  <a:lnTo>
                    <a:pt x="205" y="410"/>
                  </a:lnTo>
                  <a:lnTo>
                    <a:pt x="204" y="409"/>
                  </a:lnTo>
                  <a:lnTo>
                    <a:pt x="203" y="407"/>
                  </a:lnTo>
                  <a:lnTo>
                    <a:pt x="201" y="404"/>
                  </a:lnTo>
                  <a:lnTo>
                    <a:pt x="200" y="403"/>
                  </a:lnTo>
                  <a:lnTo>
                    <a:pt x="199" y="402"/>
                  </a:lnTo>
                  <a:lnTo>
                    <a:pt x="197" y="399"/>
                  </a:lnTo>
                  <a:lnTo>
                    <a:pt x="197" y="398"/>
                  </a:lnTo>
                  <a:lnTo>
                    <a:pt x="196" y="397"/>
                  </a:lnTo>
                  <a:lnTo>
                    <a:pt x="196" y="396"/>
                  </a:lnTo>
                  <a:lnTo>
                    <a:pt x="195" y="396"/>
                  </a:lnTo>
                  <a:lnTo>
                    <a:pt x="192" y="393"/>
                  </a:lnTo>
                  <a:lnTo>
                    <a:pt x="191" y="392"/>
                  </a:lnTo>
                  <a:lnTo>
                    <a:pt x="190" y="391"/>
                  </a:lnTo>
                  <a:lnTo>
                    <a:pt x="189" y="389"/>
                  </a:lnTo>
                  <a:lnTo>
                    <a:pt x="188" y="388"/>
                  </a:lnTo>
                  <a:lnTo>
                    <a:pt x="187" y="388"/>
                  </a:lnTo>
                  <a:lnTo>
                    <a:pt x="185" y="385"/>
                  </a:lnTo>
                  <a:lnTo>
                    <a:pt x="184" y="385"/>
                  </a:lnTo>
                  <a:lnTo>
                    <a:pt x="184" y="384"/>
                  </a:lnTo>
                  <a:lnTo>
                    <a:pt x="183" y="383"/>
                  </a:lnTo>
                  <a:lnTo>
                    <a:pt x="183" y="382"/>
                  </a:lnTo>
                  <a:lnTo>
                    <a:pt x="182" y="381"/>
                  </a:lnTo>
                  <a:lnTo>
                    <a:pt x="182" y="380"/>
                  </a:lnTo>
                  <a:lnTo>
                    <a:pt x="182" y="379"/>
                  </a:lnTo>
                  <a:lnTo>
                    <a:pt x="181" y="375"/>
                  </a:lnTo>
                  <a:lnTo>
                    <a:pt x="181" y="373"/>
                  </a:lnTo>
                  <a:lnTo>
                    <a:pt x="181" y="372"/>
                  </a:lnTo>
                  <a:lnTo>
                    <a:pt x="180" y="371"/>
                  </a:lnTo>
                  <a:lnTo>
                    <a:pt x="180" y="370"/>
                  </a:lnTo>
                  <a:lnTo>
                    <a:pt x="179" y="370"/>
                  </a:lnTo>
                  <a:lnTo>
                    <a:pt x="179" y="369"/>
                  </a:lnTo>
                  <a:lnTo>
                    <a:pt x="178" y="368"/>
                  </a:lnTo>
                  <a:lnTo>
                    <a:pt x="176" y="366"/>
                  </a:lnTo>
                  <a:lnTo>
                    <a:pt x="173" y="363"/>
                  </a:lnTo>
                  <a:lnTo>
                    <a:pt x="170" y="359"/>
                  </a:lnTo>
                  <a:lnTo>
                    <a:pt x="168" y="358"/>
                  </a:lnTo>
                  <a:lnTo>
                    <a:pt x="167" y="356"/>
                  </a:lnTo>
                  <a:lnTo>
                    <a:pt x="166" y="355"/>
                  </a:lnTo>
                  <a:lnTo>
                    <a:pt x="164" y="354"/>
                  </a:lnTo>
                  <a:lnTo>
                    <a:pt x="163" y="354"/>
                  </a:lnTo>
                  <a:lnTo>
                    <a:pt x="163" y="353"/>
                  </a:lnTo>
                  <a:lnTo>
                    <a:pt x="161" y="352"/>
                  </a:lnTo>
                  <a:lnTo>
                    <a:pt x="159" y="351"/>
                  </a:lnTo>
                  <a:lnTo>
                    <a:pt x="158" y="351"/>
                  </a:lnTo>
                  <a:lnTo>
                    <a:pt x="157" y="350"/>
                  </a:lnTo>
                  <a:lnTo>
                    <a:pt x="156" y="350"/>
                  </a:lnTo>
                  <a:lnTo>
                    <a:pt x="153" y="349"/>
                  </a:lnTo>
                  <a:lnTo>
                    <a:pt x="151" y="348"/>
                  </a:lnTo>
                  <a:lnTo>
                    <a:pt x="146" y="347"/>
                  </a:lnTo>
                  <a:lnTo>
                    <a:pt x="144" y="347"/>
                  </a:lnTo>
                  <a:lnTo>
                    <a:pt x="142" y="347"/>
                  </a:lnTo>
                  <a:lnTo>
                    <a:pt x="142" y="347"/>
                  </a:lnTo>
                  <a:lnTo>
                    <a:pt x="141" y="347"/>
                  </a:lnTo>
                  <a:lnTo>
                    <a:pt x="141" y="347"/>
                  </a:lnTo>
                  <a:lnTo>
                    <a:pt x="140" y="347"/>
                  </a:lnTo>
                  <a:lnTo>
                    <a:pt x="139" y="348"/>
                  </a:lnTo>
                  <a:lnTo>
                    <a:pt x="139" y="348"/>
                  </a:lnTo>
                  <a:lnTo>
                    <a:pt x="139" y="349"/>
                  </a:lnTo>
                  <a:lnTo>
                    <a:pt x="138" y="350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36" y="351"/>
                  </a:lnTo>
                  <a:lnTo>
                    <a:pt x="135" y="352"/>
                  </a:lnTo>
                  <a:lnTo>
                    <a:pt x="135" y="352"/>
                  </a:lnTo>
                  <a:lnTo>
                    <a:pt x="134" y="351"/>
                  </a:lnTo>
                  <a:lnTo>
                    <a:pt x="133" y="351"/>
                  </a:lnTo>
                  <a:lnTo>
                    <a:pt x="130" y="351"/>
                  </a:lnTo>
                  <a:lnTo>
                    <a:pt x="128" y="350"/>
                  </a:lnTo>
                  <a:lnTo>
                    <a:pt x="126" y="350"/>
                  </a:lnTo>
                  <a:lnTo>
                    <a:pt x="125" y="349"/>
                  </a:lnTo>
                  <a:lnTo>
                    <a:pt x="122" y="349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7" y="349"/>
                  </a:lnTo>
                  <a:lnTo>
                    <a:pt x="115" y="348"/>
                  </a:lnTo>
                  <a:lnTo>
                    <a:pt x="114" y="348"/>
                  </a:lnTo>
                  <a:lnTo>
                    <a:pt x="113" y="347"/>
                  </a:lnTo>
                  <a:lnTo>
                    <a:pt x="111" y="347"/>
                  </a:lnTo>
                  <a:lnTo>
                    <a:pt x="110" y="346"/>
                  </a:lnTo>
                  <a:lnTo>
                    <a:pt x="110" y="346"/>
                  </a:lnTo>
                  <a:lnTo>
                    <a:pt x="109" y="345"/>
                  </a:lnTo>
                  <a:lnTo>
                    <a:pt x="108" y="344"/>
                  </a:lnTo>
                  <a:lnTo>
                    <a:pt x="108" y="343"/>
                  </a:lnTo>
                  <a:lnTo>
                    <a:pt x="107" y="343"/>
                  </a:lnTo>
                  <a:lnTo>
                    <a:pt x="106" y="340"/>
                  </a:lnTo>
                  <a:lnTo>
                    <a:pt x="104" y="336"/>
                  </a:lnTo>
                  <a:lnTo>
                    <a:pt x="103" y="335"/>
                  </a:lnTo>
                  <a:lnTo>
                    <a:pt x="102" y="333"/>
                  </a:lnTo>
                  <a:lnTo>
                    <a:pt x="102" y="332"/>
                  </a:lnTo>
                  <a:lnTo>
                    <a:pt x="101" y="329"/>
                  </a:lnTo>
                  <a:lnTo>
                    <a:pt x="100" y="327"/>
                  </a:lnTo>
                  <a:lnTo>
                    <a:pt x="100" y="326"/>
                  </a:lnTo>
                  <a:lnTo>
                    <a:pt x="99" y="325"/>
                  </a:lnTo>
                  <a:lnTo>
                    <a:pt x="99" y="324"/>
                  </a:lnTo>
                  <a:lnTo>
                    <a:pt x="98" y="322"/>
                  </a:lnTo>
                  <a:lnTo>
                    <a:pt x="97" y="321"/>
                  </a:lnTo>
                  <a:lnTo>
                    <a:pt x="96" y="320"/>
                  </a:lnTo>
                  <a:lnTo>
                    <a:pt x="94" y="318"/>
                  </a:lnTo>
                  <a:lnTo>
                    <a:pt x="93" y="317"/>
                  </a:lnTo>
                  <a:lnTo>
                    <a:pt x="87" y="313"/>
                  </a:lnTo>
                  <a:lnTo>
                    <a:pt x="86" y="312"/>
                  </a:lnTo>
                  <a:lnTo>
                    <a:pt x="85" y="311"/>
                  </a:lnTo>
                  <a:lnTo>
                    <a:pt x="84" y="310"/>
                  </a:lnTo>
                  <a:lnTo>
                    <a:pt x="82" y="310"/>
                  </a:lnTo>
                  <a:lnTo>
                    <a:pt x="79" y="308"/>
                  </a:lnTo>
                  <a:lnTo>
                    <a:pt x="77" y="307"/>
                  </a:lnTo>
                  <a:lnTo>
                    <a:pt x="76" y="307"/>
                  </a:lnTo>
                  <a:lnTo>
                    <a:pt x="75" y="306"/>
                  </a:lnTo>
                  <a:lnTo>
                    <a:pt x="74" y="305"/>
                  </a:lnTo>
                  <a:lnTo>
                    <a:pt x="73" y="304"/>
                  </a:lnTo>
                  <a:lnTo>
                    <a:pt x="73" y="304"/>
                  </a:lnTo>
                  <a:lnTo>
                    <a:pt x="73" y="303"/>
                  </a:lnTo>
                  <a:lnTo>
                    <a:pt x="72" y="303"/>
                  </a:lnTo>
                  <a:lnTo>
                    <a:pt x="72" y="302"/>
                  </a:lnTo>
                  <a:lnTo>
                    <a:pt x="72" y="301"/>
                  </a:lnTo>
                  <a:lnTo>
                    <a:pt x="71" y="300"/>
                  </a:lnTo>
                  <a:lnTo>
                    <a:pt x="71" y="299"/>
                  </a:lnTo>
                  <a:lnTo>
                    <a:pt x="70" y="295"/>
                  </a:lnTo>
                  <a:lnTo>
                    <a:pt x="69" y="293"/>
                  </a:lnTo>
                  <a:lnTo>
                    <a:pt x="68" y="291"/>
                  </a:lnTo>
                  <a:lnTo>
                    <a:pt x="67" y="287"/>
                  </a:lnTo>
                  <a:lnTo>
                    <a:pt x="67" y="286"/>
                  </a:lnTo>
                  <a:lnTo>
                    <a:pt x="67" y="285"/>
                  </a:lnTo>
                  <a:lnTo>
                    <a:pt x="67" y="284"/>
                  </a:lnTo>
                  <a:lnTo>
                    <a:pt x="67" y="283"/>
                  </a:lnTo>
                  <a:lnTo>
                    <a:pt x="67" y="282"/>
                  </a:lnTo>
                  <a:lnTo>
                    <a:pt x="67" y="280"/>
                  </a:lnTo>
                  <a:lnTo>
                    <a:pt x="67" y="278"/>
                  </a:lnTo>
                  <a:lnTo>
                    <a:pt x="67" y="276"/>
                  </a:lnTo>
                  <a:lnTo>
                    <a:pt x="67" y="273"/>
                  </a:lnTo>
                  <a:lnTo>
                    <a:pt x="67" y="270"/>
                  </a:lnTo>
                  <a:lnTo>
                    <a:pt x="67" y="268"/>
                  </a:lnTo>
                  <a:lnTo>
                    <a:pt x="67" y="267"/>
                  </a:lnTo>
                  <a:lnTo>
                    <a:pt x="67" y="266"/>
                  </a:lnTo>
                  <a:lnTo>
                    <a:pt x="67" y="265"/>
                  </a:lnTo>
                  <a:lnTo>
                    <a:pt x="66" y="264"/>
                  </a:lnTo>
                  <a:lnTo>
                    <a:pt x="66" y="263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4" y="261"/>
                  </a:lnTo>
                  <a:lnTo>
                    <a:pt x="62" y="260"/>
                  </a:lnTo>
                  <a:lnTo>
                    <a:pt x="60" y="260"/>
                  </a:lnTo>
                  <a:lnTo>
                    <a:pt x="58" y="259"/>
                  </a:lnTo>
                  <a:lnTo>
                    <a:pt x="57" y="258"/>
                  </a:lnTo>
                  <a:lnTo>
                    <a:pt x="57" y="258"/>
                  </a:lnTo>
                  <a:lnTo>
                    <a:pt x="56" y="257"/>
                  </a:lnTo>
                  <a:lnTo>
                    <a:pt x="55" y="257"/>
                  </a:lnTo>
                  <a:lnTo>
                    <a:pt x="55" y="256"/>
                  </a:lnTo>
                  <a:lnTo>
                    <a:pt x="54" y="255"/>
                  </a:lnTo>
                  <a:lnTo>
                    <a:pt x="53" y="254"/>
                  </a:lnTo>
                  <a:lnTo>
                    <a:pt x="52" y="252"/>
                  </a:lnTo>
                  <a:lnTo>
                    <a:pt x="51" y="250"/>
                  </a:lnTo>
                  <a:lnTo>
                    <a:pt x="50" y="249"/>
                  </a:lnTo>
                  <a:lnTo>
                    <a:pt x="50" y="247"/>
                  </a:lnTo>
                  <a:lnTo>
                    <a:pt x="49" y="246"/>
                  </a:lnTo>
                  <a:lnTo>
                    <a:pt x="49" y="245"/>
                  </a:lnTo>
                  <a:lnTo>
                    <a:pt x="48" y="243"/>
                  </a:lnTo>
                  <a:lnTo>
                    <a:pt x="48" y="242"/>
                  </a:lnTo>
                  <a:lnTo>
                    <a:pt x="48" y="241"/>
                  </a:lnTo>
                  <a:lnTo>
                    <a:pt x="47" y="235"/>
                  </a:lnTo>
                  <a:lnTo>
                    <a:pt x="47" y="234"/>
                  </a:lnTo>
                  <a:lnTo>
                    <a:pt x="47" y="232"/>
                  </a:lnTo>
                  <a:lnTo>
                    <a:pt x="47" y="230"/>
                  </a:lnTo>
                  <a:lnTo>
                    <a:pt x="45" y="226"/>
                  </a:lnTo>
                  <a:lnTo>
                    <a:pt x="45" y="224"/>
                  </a:lnTo>
                  <a:lnTo>
                    <a:pt x="44" y="223"/>
                  </a:lnTo>
                  <a:lnTo>
                    <a:pt x="43" y="222"/>
                  </a:lnTo>
                  <a:lnTo>
                    <a:pt x="43" y="221"/>
                  </a:lnTo>
                  <a:lnTo>
                    <a:pt x="42" y="220"/>
                  </a:lnTo>
                  <a:lnTo>
                    <a:pt x="42" y="219"/>
                  </a:lnTo>
                  <a:lnTo>
                    <a:pt x="41" y="219"/>
                  </a:lnTo>
                  <a:lnTo>
                    <a:pt x="40" y="218"/>
                  </a:lnTo>
                  <a:lnTo>
                    <a:pt x="38" y="217"/>
                  </a:lnTo>
                  <a:lnTo>
                    <a:pt x="38" y="217"/>
                  </a:lnTo>
                  <a:lnTo>
                    <a:pt x="37" y="217"/>
                  </a:lnTo>
                  <a:lnTo>
                    <a:pt x="37" y="216"/>
                  </a:lnTo>
                  <a:lnTo>
                    <a:pt x="36" y="215"/>
                  </a:lnTo>
                  <a:lnTo>
                    <a:pt x="35" y="214"/>
                  </a:lnTo>
                  <a:lnTo>
                    <a:pt x="35" y="213"/>
                  </a:lnTo>
                  <a:lnTo>
                    <a:pt x="34" y="212"/>
                  </a:lnTo>
                  <a:lnTo>
                    <a:pt x="34" y="211"/>
                  </a:lnTo>
                  <a:lnTo>
                    <a:pt x="34" y="209"/>
                  </a:lnTo>
                  <a:lnTo>
                    <a:pt x="34" y="208"/>
                  </a:lnTo>
                  <a:lnTo>
                    <a:pt x="33" y="206"/>
                  </a:lnTo>
                  <a:lnTo>
                    <a:pt x="33" y="206"/>
                  </a:lnTo>
                  <a:lnTo>
                    <a:pt x="33" y="205"/>
                  </a:lnTo>
                  <a:lnTo>
                    <a:pt x="34" y="204"/>
                  </a:lnTo>
                  <a:lnTo>
                    <a:pt x="34" y="202"/>
                  </a:lnTo>
                  <a:lnTo>
                    <a:pt x="34" y="199"/>
                  </a:lnTo>
                  <a:lnTo>
                    <a:pt x="35" y="197"/>
                  </a:lnTo>
                  <a:lnTo>
                    <a:pt x="35" y="196"/>
                  </a:lnTo>
                  <a:lnTo>
                    <a:pt x="35" y="195"/>
                  </a:lnTo>
                  <a:lnTo>
                    <a:pt x="35" y="194"/>
                  </a:lnTo>
                  <a:lnTo>
                    <a:pt x="35" y="193"/>
                  </a:lnTo>
                  <a:lnTo>
                    <a:pt x="34" y="192"/>
                  </a:lnTo>
                  <a:lnTo>
                    <a:pt x="34" y="190"/>
                  </a:lnTo>
                  <a:lnTo>
                    <a:pt x="33" y="189"/>
                  </a:lnTo>
                  <a:lnTo>
                    <a:pt x="33" y="189"/>
                  </a:lnTo>
                  <a:lnTo>
                    <a:pt x="32" y="188"/>
                  </a:lnTo>
                  <a:lnTo>
                    <a:pt x="32" y="188"/>
                  </a:lnTo>
                  <a:lnTo>
                    <a:pt x="31" y="187"/>
                  </a:lnTo>
                  <a:lnTo>
                    <a:pt x="30" y="187"/>
                  </a:lnTo>
                  <a:lnTo>
                    <a:pt x="26" y="185"/>
                  </a:lnTo>
                  <a:lnTo>
                    <a:pt x="25" y="185"/>
                  </a:lnTo>
                  <a:lnTo>
                    <a:pt x="24" y="184"/>
                  </a:lnTo>
                  <a:lnTo>
                    <a:pt x="21" y="183"/>
                  </a:lnTo>
                  <a:lnTo>
                    <a:pt x="17" y="180"/>
                  </a:lnTo>
                  <a:lnTo>
                    <a:pt x="14" y="179"/>
                  </a:lnTo>
                  <a:lnTo>
                    <a:pt x="14" y="178"/>
                  </a:lnTo>
                  <a:lnTo>
                    <a:pt x="13" y="177"/>
                  </a:lnTo>
                  <a:lnTo>
                    <a:pt x="12" y="177"/>
                  </a:lnTo>
                  <a:lnTo>
                    <a:pt x="11" y="176"/>
                  </a:lnTo>
                  <a:lnTo>
                    <a:pt x="10" y="175"/>
                  </a:lnTo>
                  <a:lnTo>
                    <a:pt x="10" y="174"/>
                  </a:lnTo>
                  <a:lnTo>
                    <a:pt x="9" y="174"/>
                  </a:lnTo>
                  <a:lnTo>
                    <a:pt x="8" y="173"/>
                  </a:lnTo>
                  <a:lnTo>
                    <a:pt x="7" y="170"/>
                  </a:lnTo>
                  <a:lnTo>
                    <a:pt x="5" y="167"/>
                  </a:lnTo>
                  <a:lnTo>
                    <a:pt x="3" y="163"/>
                  </a:lnTo>
                  <a:lnTo>
                    <a:pt x="2" y="162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6"/>
                  </a:lnTo>
                  <a:lnTo>
                    <a:pt x="0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6" y="147"/>
                  </a:lnTo>
                  <a:lnTo>
                    <a:pt x="9" y="146"/>
                  </a:lnTo>
                  <a:lnTo>
                    <a:pt x="14" y="143"/>
                  </a:lnTo>
                  <a:lnTo>
                    <a:pt x="15" y="142"/>
                  </a:lnTo>
                  <a:lnTo>
                    <a:pt x="16" y="141"/>
                  </a:lnTo>
                  <a:lnTo>
                    <a:pt x="17" y="140"/>
                  </a:lnTo>
                  <a:lnTo>
                    <a:pt x="18" y="140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9" y="138"/>
                  </a:lnTo>
                  <a:lnTo>
                    <a:pt x="19" y="137"/>
                  </a:lnTo>
                  <a:lnTo>
                    <a:pt x="19" y="136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21" y="128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3" y="119"/>
                  </a:lnTo>
                  <a:lnTo>
                    <a:pt x="24" y="118"/>
                  </a:lnTo>
                  <a:lnTo>
                    <a:pt x="25" y="117"/>
                  </a:lnTo>
                  <a:lnTo>
                    <a:pt x="26" y="116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9" y="112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3" y="106"/>
                  </a:lnTo>
                  <a:lnTo>
                    <a:pt x="34" y="105"/>
                  </a:lnTo>
                  <a:lnTo>
                    <a:pt x="35" y="103"/>
                  </a:lnTo>
                  <a:lnTo>
                    <a:pt x="37" y="98"/>
                  </a:lnTo>
                  <a:lnTo>
                    <a:pt x="38" y="96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2"/>
                  </a:lnTo>
                  <a:lnTo>
                    <a:pt x="44" y="88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2" y="87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89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5" y="86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8" y="84"/>
                  </a:lnTo>
                  <a:lnTo>
                    <a:pt x="69" y="84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8" y="85"/>
                  </a:lnTo>
                  <a:lnTo>
                    <a:pt x="79" y="86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1" y="89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89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7"/>
                  </a:lnTo>
                  <a:lnTo>
                    <a:pt x="86" y="86"/>
                  </a:lnTo>
                  <a:lnTo>
                    <a:pt x="87" y="86"/>
                  </a:lnTo>
                  <a:lnTo>
                    <a:pt x="88" y="85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1" y="77"/>
                  </a:lnTo>
                  <a:lnTo>
                    <a:pt x="103" y="77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9" y="75"/>
                  </a:lnTo>
                  <a:lnTo>
                    <a:pt x="110" y="75"/>
                  </a:lnTo>
                  <a:lnTo>
                    <a:pt x="112" y="75"/>
                  </a:lnTo>
                  <a:lnTo>
                    <a:pt x="113" y="75"/>
                  </a:lnTo>
                  <a:lnTo>
                    <a:pt x="114" y="75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0" y="73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7" y="75"/>
                  </a:lnTo>
                  <a:lnTo>
                    <a:pt x="132" y="76"/>
                  </a:lnTo>
                  <a:lnTo>
                    <a:pt x="133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8"/>
                  </a:lnTo>
                  <a:lnTo>
                    <a:pt x="142" y="78"/>
                  </a:lnTo>
                  <a:lnTo>
                    <a:pt x="144" y="78"/>
                  </a:lnTo>
                  <a:lnTo>
                    <a:pt x="146" y="78"/>
                  </a:lnTo>
                  <a:lnTo>
                    <a:pt x="147" y="78"/>
                  </a:lnTo>
                  <a:lnTo>
                    <a:pt x="148" y="77"/>
                  </a:lnTo>
                  <a:lnTo>
                    <a:pt x="149" y="77"/>
                  </a:lnTo>
                  <a:lnTo>
                    <a:pt x="150" y="78"/>
                  </a:lnTo>
                  <a:lnTo>
                    <a:pt x="151" y="78"/>
                  </a:lnTo>
                  <a:lnTo>
                    <a:pt x="152" y="78"/>
                  </a:lnTo>
                  <a:lnTo>
                    <a:pt x="155" y="79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7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7" y="74"/>
                  </a:lnTo>
                  <a:lnTo>
                    <a:pt x="168" y="73"/>
                  </a:lnTo>
                  <a:lnTo>
                    <a:pt x="168" y="72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70" y="66"/>
                  </a:lnTo>
                  <a:lnTo>
                    <a:pt x="170" y="65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1" y="59"/>
                  </a:lnTo>
                  <a:lnTo>
                    <a:pt x="171" y="58"/>
                  </a:lnTo>
                  <a:lnTo>
                    <a:pt x="172" y="58"/>
                  </a:lnTo>
                  <a:lnTo>
                    <a:pt x="172" y="57"/>
                  </a:lnTo>
                  <a:lnTo>
                    <a:pt x="173" y="57"/>
                  </a:lnTo>
                  <a:lnTo>
                    <a:pt x="174" y="57"/>
                  </a:lnTo>
                  <a:lnTo>
                    <a:pt x="176" y="56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92" y="47"/>
                  </a:lnTo>
                  <a:lnTo>
                    <a:pt x="194" y="45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0" y="42"/>
                  </a:lnTo>
                  <a:lnTo>
                    <a:pt x="200" y="41"/>
                  </a:lnTo>
                  <a:lnTo>
                    <a:pt x="202" y="40"/>
                  </a:lnTo>
                  <a:lnTo>
                    <a:pt x="203" y="38"/>
                  </a:lnTo>
                  <a:lnTo>
                    <a:pt x="205" y="37"/>
                  </a:lnTo>
                  <a:lnTo>
                    <a:pt x="207" y="35"/>
                  </a:lnTo>
                  <a:lnTo>
                    <a:pt x="207" y="34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7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6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2" y="38"/>
                  </a:lnTo>
                  <a:lnTo>
                    <a:pt x="233" y="39"/>
                  </a:lnTo>
                  <a:lnTo>
                    <a:pt x="235" y="41"/>
                  </a:lnTo>
                  <a:lnTo>
                    <a:pt x="236" y="41"/>
                  </a:lnTo>
                  <a:lnTo>
                    <a:pt x="237" y="42"/>
                  </a:lnTo>
                  <a:lnTo>
                    <a:pt x="240" y="44"/>
                  </a:lnTo>
                  <a:lnTo>
                    <a:pt x="241" y="45"/>
                  </a:lnTo>
                  <a:lnTo>
                    <a:pt x="242" y="46"/>
                  </a:lnTo>
                  <a:lnTo>
                    <a:pt x="243" y="46"/>
                  </a:lnTo>
                  <a:lnTo>
                    <a:pt x="244" y="47"/>
                  </a:lnTo>
                  <a:lnTo>
                    <a:pt x="245" y="47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7"/>
                  </a:lnTo>
                  <a:lnTo>
                    <a:pt x="249" y="47"/>
                  </a:lnTo>
                  <a:lnTo>
                    <a:pt x="249" y="46"/>
                  </a:lnTo>
                  <a:lnTo>
                    <a:pt x="250" y="46"/>
                  </a:lnTo>
                  <a:lnTo>
                    <a:pt x="250" y="45"/>
                  </a:lnTo>
                  <a:lnTo>
                    <a:pt x="250" y="44"/>
                  </a:lnTo>
                  <a:lnTo>
                    <a:pt x="250" y="43"/>
                  </a:lnTo>
                  <a:lnTo>
                    <a:pt x="252" y="37"/>
                  </a:lnTo>
                  <a:lnTo>
                    <a:pt x="252" y="36"/>
                  </a:lnTo>
                  <a:lnTo>
                    <a:pt x="252" y="35"/>
                  </a:lnTo>
                  <a:lnTo>
                    <a:pt x="252" y="34"/>
                  </a:lnTo>
                  <a:lnTo>
                    <a:pt x="252" y="32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2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3" y="26"/>
                  </a:lnTo>
                  <a:lnTo>
                    <a:pt x="254" y="26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7" y="25"/>
                  </a:lnTo>
                  <a:lnTo>
                    <a:pt x="259" y="24"/>
                  </a:lnTo>
                  <a:lnTo>
                    <a:pt x="262" y="23"/>
                  </a:lnTo>
                  <a:lnTo>
                    <a:pt x="263" y="23"/>
                  </a:lnTo>
                  <a:lnTo>
                    <a:pt x="264" y="22"/>
                  </a:lnTo>
                  <a:lnTo>
                    <a:pt x="265" y="21"/>
                  </a:lnTo>
                  <a:lnTo>
                    <a:pt x="266" y="21"/>
                  </a:lnTo>
                  <a:lnTo>
                    <a:pt x="267" y="20"/>
                  </a:lnTo>
                  <a:lnTo>
                    <a:pt x="268" y="20"/>
                  </a:lnTo>
                  <a:lnTo>
                    <a:pt x="268" y="19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7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4"/>
                  </a:lnTo>
                  <a:lnTo>
                    <a:pt x="268" y="14"/>
                  </a:lnTo>
                  <a:lnTo>
                    <a:pt x="268" y="12"/>
                  </a:lnTo>
                  <a:lnTo>
                    <a:pt x="267" y="12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0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8" y="7"/>
                  </a:lnTo>
                  <a:lnTo>
                    <a:pt x="268" y="6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70" y="3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6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79" y="0"/>
                  </a:lnTo>
                  <a:lnTo>
                    <a:pt x="279" y="1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Freeform 15">
              <a:extLst>
                <a:ext uri="{FF2B5EF4-FFF2-40B4-BE49-F238E27FC236}">
                  <a16:creationId xmlns:a16="http://schemas.microsoft.com/office/drawing/2014/main" id="{FD35F4A4-176F-DBA6-72E1-808DFF391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" y="3302"/>
              <a:ext cx="419" cy="536"/>
            </a:xfrm>
            <a:custGeom>
              <a:avLst/>
              <a:gdLst>
                <a:gd name="T0" fmla="*/ 277 w 419"/>
                <a:gd name="T1" fmla="*/ 2 h 536"/>
                <a:gd name="T2" fmla="*/ 286 w 419"/>
                <a:gd name="T3" fmla="*/ 11 h 536"/>
                <a:gd name="T4" fmla="*/ 299 w 419"/>
                <a:gd name="T5" fmla="*/ 12 h 536"/>
                <a:gd name="T6" fmla="*/ 294 w 419"/>
                <a:gd name="T7" fmla="*/ 28 h 536"/>
                <a:gd name="T8" fmla="*/ 304 w 419"/>
                <a:gd name="T9" fmla="*/ 32 h 536"/>
                <a:gd name="T10" fmla="*/ 327 w 419"/>
                <a:gd name="T11" fmla="*/ 31 h 536"/>
                <a:gd name="T12" fmla="*/ 326 w 419"/>
                <a:gd name="T13" fmla="*/ 37 h 536"/>
                <a:gd name="T14" fmla="*/ 345 w 419"/>
                <a:gd name="T15" fmla="*/ 51 h 536"/>
                <a:gd name="T16" fmla="*/ 368 w 419"/>
                <a:gd name="T17" fmla="*/ 50 h 536"/>
                <a:gd name="T18" fmla="*/ 390 w 419"/>
                <a:gd name="T19" fmla="*/ 66 h 536"/>
                <a:gd name="T20" fmla="*/ 397 w 419"/>
                <a:gd name="T21" fmla="*/ 76 h 536"/>
                <a:gd name="T22" fmla="*/ 419 w 419"/>
                <a:gd name="T23" fmla="*/ 96 h 536"/>
                <a:gd name="T24" fmla="*/ 413 w 419"/>
                <a:gd name="T25" fmla="*/ 118 h 536"/>
                <a:gd name="T26" fmla="*/ 409 w 419"/>
                <a:gd name="T27" fmla="*/ 145 h 536"/>
                <a:gd name="T28" fmla="*/ 411 w 419"/>
                <a:gd name="T29" fmla="*/ 161 h 536"/>
                <a:gd name="T30" fmla="*/ 400 w 419"/>
                <a:gd name="T31" fmla="*/ 176 h 536"/>
                <a:gd name="T32" fmla="*/ 388 w 419"/>
                <a:gd name="T33" fmla="*/ 175 h 536"/>
                <a:gd name="T34" fmla="*/ 372 w 419"/>
                <a:gd name="T35" fmla="*/ 192 h 536"/>
                <a:gd name="T36" fmla="*/ 383 w 419"/>
                <a:gd name="T37" fmla="*/ 197 h 536"/>
                <a:gd name="T38" fmla="*/ 377 w 419"/>
                <a:gd name="T39" fmla="*/ 204 h 536"/>
                <a:gd name="T40" fmla="*/ 380 w 419"/>
                <a:gd name="T41" fmla="*/ 214 h 536"/>
                <a:gd name="T42" fmla="*/ 380 w 419"/>
                <a:gd name="T43" fmla="*/ 220 h 536"/>
                <a:gd name="T44" fmla="*/ 391 w 419"/>
                <a:gd name="T45" fmla="*/ 225 h 536"/>
                <a:gd name="T46" fmla="*/ 391 w 419"/>
                <a:gd name="T47" fmla="*/ 251 h 536"/>
                <a:gd name="T48" fmla="*/ 398 w 419"/>
                <a:gd name="T49" fmla="*/ 266 h 536"/>
                <a:gd name="T50" fmla="*/ 394 w 419"/>
                <a:gd name="T51" fmla="*/ 283 h 536"/>
                <a:gd name="T52" fmla="*/ 397 w 419"/>
                <a:gd name="T53" fmla="*/ 299 h 536"/>
                <a:gd name="T54" fmla="*/ 397 w 419"/>
                <a:gd name="T55" fmla="*/ 321 h 536"/>
                <a:gd name="T56" fmla="*/ 403 w 419"/>
                <a:gd name="T57" fmla="*/ 345 h 536"/>
                <a:gd name="T58" fmla="*/ 388 w 419"/>
                <a:gd name="T59" fmla="*/ 367 h 536"/>
                <a:gd name="T60" fmla="*/ 383 w 419"/>
                <a:gd name="T61" fmla="*/ 381 h 536"/>
                <a:gd name="T62" fmla="*/ 379 w 419"/>
                <a:gd name="T63" fmla="*/ 389 h 536"/>
                <a:gd name="T64" fmla="*/ 381 w 419"/>
                <a:gd name="T65" fmla="*/ 398 h 536"/>
                <a:gd name="T66" fmla="*/ 376 w 419"/>
                <a:gd name="T67" fmla="*/ 412 h 536"/>
                <a:gd name="T68" fmla="*/ 375 w 419"/>
                <a:gd name="T69" fmla="*/ 427 h 536"/>
                <a:gd name="T70" fmla="*/ 357 w 419"/>
                <a:gd name="T71" fmla="*/ 445 h 536"/>
                <a:gd name="T72" fmla="*/ 343 w 419"/>
                <a:gd name="T73" fmla="*/ 450 h 536"/>
                <a:gd name="T74" fmla="*/ 344 w 419"/>
                <a:gd name="T75" fmla="*/ 480 h 536"/>
                <a:gd name="T76" fmla="*/ 335 w 419"/>
                <a:gd name="T77" fmla="*/ 491 h 536"/>
                <a:gd name="T78" fmla="*/ 326 w 419"/>
                <a:gd name="T79" fmla="*/ 515 h 536"/>
                <a:gd name="T80" fmla="*/ 321 w 419"/>
                <a:gd name="T81" fmla="*/ 526 h 536"/>
                <a:gd name="T82" fmla="*/ 310 w 419"/>
                <a:gd name="T83" fmla="*/ 536 h 536"/>
                <a:gd name="T84" fmla="*/ 286 w 419"/>
                <a:gd name="T85" fmla="*/ 516 h 536"/>
                <a:gd name="T86" fmla="*/ 276 w 419"/>
                <a:gd name="T87" fmla="*/ 482 h 536"/>
                <a:gd name="T88" fmla="*/ 248 w 419"/>
                <a:gd name="T89" fmla="*/ 456 h 536"/>
                <a:gd name="T90" fmla="*/ 221 w 419"/>
                <a:gd name="T91" fmla="*/ 448 h 536"/>
                <a:gd name="T92" fmla="*/ 209 w 419"/>
                <a:gd name="T93" fmla="*/ 425 h 536"/>
                <a:gd name="T94" fmla="*/ 188 w 419"/>
                <a:gd name="T95" fmla="*/ 395 h 536"/>
                <a:gd name="T96" fmla="*/ 173 w 419"/>
                <a:gd name="T97" fmla="*/ 372 h 536"/>
                <a:gd name="T98" fmla="*/ 151 w 419"/>
                <a:gd name="T99" fmla="*/ 350 h 536"/>
                <a:gd name="T100" fmla="*/ 129 w 419"/>
                <a:gd name="T101" fmla="*/ 350 h 536"/>
                <a:gd name="T102" fmla="*/ 106 w 419"/>
                <a:gd name="T103" fmla="*/ 347 h 536"/>
                <a:gd name="T104" fmla="*/ 91 w 419"/>
                <a:gd name="T105" fmla="*/ 324 h 536"/>
                <a:gd name="T106" fmla="*/ 65 w 419"/>
                <a:gd name="T107" fmla="*/ 303 h 536"/>
                <a:gd name="T108" fmla="*/ 59 w 419"/>
                <a:gd name="T109" fmla="*/ 279 h 536"/>
                <a:gd name="T110" fmla="*/ 49 w 419"/>
                <a:gd name="T111" fmla="*/ 257 h 536"/>
                <a:gd name="T112" fmla="*/ 39 w 419"/>
                <a:gd name="T113" fmla="*/ 233 h 536"/>
                <a:gd name="T114" fmla="*/ 27 w 419"/>
                <a:gd name="T115" fmla="*/ 213 h 536"/>
                <a:gd name="T116" fmla="*/ 26 w 419"/>
                <a:gd name="T117" fmla="*/ 191 h 536"/>
                <a:gd name="T118" fmla="*/ 3 w 419"/>
                <a:gd name="T119" fmla="*/ 175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9" h="536">
                  <a:moveTo>
                    <a:pt x="271" y="0"/>
                  </a:moveTo>
                  <a:lnTo>
                    <a:pt x="271" y="0"/>
                  </a:lnTo>
                  <a:lnTo>
                    <a:pt x="271" y="0"/>
                  </a:lnTo>
                  <a:lnTo>
                    <a:pt x="271" y="1"/>
                  </a:lnTo>
                  <a:lnTo>
                    <a:pt x="271" y="3"/>
                  </a:lnTo>
                  <a:lnTo>
                    <a:pt x="271" y="3"/>
                  </a:lnTo>
                  <a:lnTo>
                    <a:pt x="272" y="4"/>
                  </a:lnTo>
                  <a:lnTo>
                    <a:pt x="272" y="4"/>
                  </a:lnTo>
                  <a:lnTo>
                    <a:pt x="272" y="5"/>
                  </a:lnTo>
                  <a:lnTo>
                    <a:pt x="273" y="5"/>
                  </a:lnTo>
                  <a:lnTo>
                    <a:pt x="273" y="5"/>
                  </a:lnTo>
                  <a:lnTo>
                    <a:pt x="274" y="5"/>
                  </a:lnTo>
                  <a:lnTo>
                    <a:pt x="274" y="5"/>
                  </a:lnTo>
                  <a:lnTo>
                    <a:pt x="274" y="5"/>
                  </a:lnTo>
                  <a:lnTo>
                    <a:pt x="275" y="4"/>
                  </a:lnTo>
                  <a:lnTo>
                    <a:pt x="275" y="4"/>
                  </a:lnTo>
                  <a:lnTo>
                    <a:pt x="277" y="2"/>
                  </a:lnTo>
                  <a:lnTo>
                    <a:pt x="277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80" y="0"/>
                  </a:lnTo>
                  <a:lnTo>
                    <a:pt x="280" y="1"/>
                  </a:lnTo>
                  <a:lnTo>
                    <a:pt x="280" y="1"/>
                  </a:lnTo>
                  <a:lnTo>
                    <a:pt x="281" y="2"/>
                  </a:lnTo>
                  <a:lnTo>
                    <a:pt x="281" y="3"/>
                  </a:lnTo>
                  <a:lnTo>
                    <a:pt x="283" y="5"/>
                  </a:lnTo>
                  <a:lnTo>
                    <a:pt x="284" y="6"/>
                  </a:lnTo>
                  <a:lnTo>
                    <a:pt x="284" y="7"/>
                  </a:lnTo>
                  <a:lnTo>
                    <a:pt x="285" y="9"/>
                  </a:lnTo>
                  <a:lnTo>
                    <a:pt x="285" y="10"/>
                  </a:lnTo>
                  <a:lnTo>
                    <a:pt x="285" y="10"/>
                  </a:lnTo>
                  <a:lnTo>
                    <a:pt x="286" y="10"/>
                  </a:lnTo>
                  <a:lnTo>
                    <a:pt x="286" y="11"/>
                  </a:lnTo>
                  <a:lnTo>
                    <a:pt x="286" y="11"/>
                  </a:lnTo>
                  <a:lnTo>
                    <a:pt x="287" y="11"/>
                  </a:lnTo>
                  <a:lnTo>
                    <a:pt x="287" y="11"/>
                  </a:lnTo>
                  <a:lnTo>
                    <a:pt x="288" y="11"/>
                  </a:lnTo>
                  <a:lnTo>
                    <a:pt x="291" y="10"/>
                  </a:lnTo>
                  <a:lnTo>
                    <a:pt x="291" y="10"/>
                  </a:lnTo>
                  <a:lnTo>
                    <a:pt x="291" y="10"/>
                  </a:lnTo>
                  <a:lnTo>
                    <a:pt x="293" y="9"/>
                  </a:lnTo>
                  <a:lnTo>
                    <a:pt x="294" y="8"/>
                  </a:lnTo>
                  <a:lnTo>
                    <a:pt x="294" y="8"/>
                  </a:lnTo>
                  <a:lnTo>
                    <a:pt x="295" y="7"/>
                  </a:lnTo>
                  <a:lnTo>
                    <a:pt x="296" y="6"/>
                  </a:lnTo>
                  <a:lnTo>
                    <a:pt x="296" y="7"/>
                  </a:lnTo>
                  <a:lnTo>
                    <a:pt x="296" y="8"/>
                  </a:lnTo>
                  <a:lnTo>
                    <a:pt x="297" y="9"/>
                  </a:lnTo>
                  <a:lnTo>
                    <a:pt x="298" y="10"/>
                  </a:lnTo>
                  <a:lnTo>
                    <a:pt x="299" y="12"/>
                  </a:lnTo>
                  <a:lnTo>
                    <a:pt x="299" y="13"/>
                  </a:lnTo>
                  <a:lnTo>
                    <a:pt x="300" y="13"/>
                  </a:lnTo>
                  <a:lnTo>
                    <a:pt x="300" y="14"/>
                  </a:lnTo>
                  <a:lnTo>
                    <a:pt x="300" y="15"/>
                  </a:lnTo>
                  <a:lnTo>
                    <a:pt x="300" y="16"/>
                  </a:lnTo>
                  <a:lnTo>
                    <a:pt x="300" y="17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299" y="19"/>
                  </a:lnTo>
                  <a:lnTo>
                    <a:pt x="298" y="21"/>
                  </a:lnTo>
                  <a:lnTo>
                    <a:pt x="297" y="22"/>
                  </a:lnTo>
                  <a:lnTo>
                    <a:pt x="296" y="24"/>
                  </a:lnTo>
                  <a:lnTo>
                    <a:pt x="295" y="26"/>
                  </a:lnTo>
                  <a:lnTo>
                    <a:pt x="295" y="27"/>
                  </a:lnTo>
                  <a:lnTo>
                    <a:pt x="294" y="27"/>
                  </a:lnTo>
                  <a:lnTo>
                    <a:pt x="294" y="28"/>
                  </a:lnTo>
                  <a:lnTo>
                    <a:pt x="294" y="29"/>
                  </a:lnTo>
                  <a:lnTo>
                    <a:pt x="294" y="29"/>
                  </a:lnTo>
                  <a:lnTo>
                    <a:pt x="294" y="30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5" y="32"/>
                  </a:lnTo>
                  <a:lnTo>
                    <a:pt x="295" y="32"/>
                  </a:lnTo>
                  <a:lnTo>
                    <a:pt x="296" y="32"/>
                  </a:lnTo>
                  <a:lnTo>
                    <a:pt x="297" y="32"/>
                  </a:lnTo>
                  <a:lnTo>
                    <a:pt x="300" y="33"/>
                  </a:lnTo>
                  <a:lnTo>
                    <a:pt x="300" y="33"/>
                  </a:lnTo>
                  <a:lnTo>
                    <a:pt x="301" y="33"/>
                  </a:lnTo>
                  <a:lnTo>
                    <a:pt x="301" y="33"/>
                  </a:lnTo>
                  <a:lnTo>
                    <a:pt x="302" y="33"/>
                  </a:lnTo>
                  <a:lnTo>
                    <a:pt x="303" y="33"/>
                  </a:lnTo>
                  <a:lnTo>
                    <a:pt x="304" y="32"/>
                  </a:lnTo>
                  <a:lnTo>
                    <a:pt x="306" y="31"/>
                  </a:lnTo>
                  <a:lnTo>
                    <a:pt x="308" y="31"/>
                  </a:lnTo>
                  <a:lnTo>
                    <a:pt x="309" y="31"/>
                  </a:lnTo>
                  <a:lnTo>
                    <a:pt x="309" y="30"/>
                  </a:lnTo>
                  <a:lnTo>
                    <a:pt x="311" y="30"/>
                  </a:lnTo>
                  <a:lnTo>
                    <a:pt x="313" y="30"/>
                  </a:lnTo>
                  <a:lnTo>
                    <a:pt x="314" y="30"/>
                  </a:lnTo>
                  <a:lnTo>
                    <a:pt x="315" y="31"/>
                  </a:lnTo>
                  <a:lnTo>
                    <a:pt x="318" y="31"/>
                  </a:lnTo>
                  <a:lnTo>
                    <a:pt x="319" y="31"/>
                  </a:lnTo>
                  <a:lnTo>
                    <a:pt x="320" y="31"/>
                  </a:lnTo>
                  <a:lnTo>
                    <a:pt x="320" y="31"/>
                  </a:lnTo>
                  <a:lnTo>
                    <a:pt x="323" y="31"/>
                  </a:lnTo>
                  <a:lnTo>
                    <a:pt x="325" y="31"/>
                  </a:lnTo>
                  <a:lnTo>
                    <a:pt x="326" y="31"/>
                  </a:lnTo>
                  <a:lnTo>
                    <a:pt x="326" y="31"/>
                  </a:lnTo>
                  <a:lnTo>
                    <a:pt x="327" y="31"/>
                  </a:lnTo>
                  <a:lnTo>
                    <a:pt x="328" y="31"/>
                  </a:lnTo>
                  <a:lnTo>
                    <a:pt x="329" y="32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1" y="33"/>
                  </a:lnTo>
                  <a:lnTo>
                    <a:pt x="330" y="34"/>
                  </a:lnTo>
                  <a:lnTo>
                    <a:pt x="330" y="34"/>
                  </a:lnTo>
                  <a:lnTo>
                    <a:pt x="328" y="35"/>
                  </a:lnTo>
                  <a:lnTo>
                    <a:pt x="328" y="35"/>
                  </a:lnTo>
                  <a:lnTo>
                    <a:pt x="327" y="36"/>
                  </a:lnTo>
                  <a:lnTo>
                    <a:pt x="327" y="36"/>
                  </a:lnTo>
                  <a:lnTo>
                    <a:pt x="326" y="36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8"/>
                  </a:lnTo>
                  <a:lnTo>
                    <a:pt x="327" y="38"/>
                  </a:lnTo>
                  <a:lnTo>
                    <a:pt x="327" y="38"/>
                  </a:lnTo>
                  <a:lnTo>
                    <a:pt x="327" y="39"/>
                  </a:lnTo>
                  <a:lnTo>
                    <a:pt x="328" y="40"/>
                  </a:lnTo>
                  <a:lnTo>
                    <a:pt x="329" y="40"/>
                  </a:lnTo>
                  <a:lnTo>
                    <a:pt x="330" y="41"/>
                  </a:lnTo>
                  <a:lnTo>
                    <a:pt x="331" y="42"/>
                  </a:lnTo>
                  <a:lnTo>
                    <a:pt x="334" y="43"/>
                  </a:lnTo>
                  <a:lnTo>
                    <a:pt x="336" y="44"/>
                  </a:lnTo>
                  <a:lnTo>
                    <a:pt x="338" y="46"/>
                  </a:lnTo>
                  <a:lnTo>
                    <a:pt x="341" y="48"/>
                  </a:lnTo>
                  <a:lnTo>
                    <a:pt x="342" y="49"/>
                  </a:lnTo>
                  <a:lnTo>
                    <a:pt x="344" y="50"/>
                  </a:lnTo>
                  <a:lnTo>
                    <a:pt x="344" y="50"/>
                  </a:lnTo>
                  <a:lnTo>
                    <a:pt x="345" y="51"/>
                  </a:lnTo>
                  <a:lnTo>
                    <a:pt x="346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50" y="52"/>
                  </a:lnTo>
                  <a:lnTo>
                    <a:pt x="351" y="52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5" y="52"/>
                  </a:lnTo>
                  <a:lnTo>
                    <a:pt x="357" y="52"/>
                  </a:lnTo>
                  <a:lnTo>
                    <a:pt x="358" y="51"/>
                  </a:lnTo>
                  <a:lnTo>
                    <a:pt x="359" y="51"/>
                  </a:lnTo>
                  <a:lnTo>
                    <a:pt x="362" y="50"/>
                  </a:lnTo>
                  <a:lnTo>
                    <a:pt x="363" y="50"/>
                  </a:lnTo>
                  <a:lnTo>
                    <a:pt x="364" y="50"/>
                  </a:lnTo>
                  <a:lnTo>
                    <a:pt x="366" y="50"/>
                  </a:lnTo>
                  <a:lnTo>
                    <a:pt x="366" y="50"/>
                  </a:lnTo>
                  <a:lnTo>
                    <a:pt x="368" y="50"/>
                  </a:lnTo>
                  <a:lnTo>
                    <a:pt x="368" y="51"/>
                  </a:lnTo>
                  <a:lnTo>
                    <a:pt x="369" y="51"/>
                  </a:lnTo>
                  <a:lnTo>
                    <a:pt x="370" y="51"/>
                  </a:lnTo>
                  <a:lnTo>
                    <a:pt x="370" y="52"/>
                  </a:lnTo>
                  <a:lnTo>
                    <a:pt x="371" y="52"/>
                  </a:lnTo>
                  <a:lnTo>
                    <a:pt x="372" y="53"/>
                  </a:lnTo>
                  <a:lnTo>
                    <a:pt x="374" y="56"/>
                  </a:lnTo>
                  <a:lnTo>
                    <a:pt x="376" y="58"/>
                  </a:lnTo>
                  <a:lnTo>
                    <a:pt x="377" y="59"/>
                  </a:lnTo>
                  <a:lnTo>
                    <a:pt x="379" y="61"/>
                  </a:lnTo>
                  <a:lnTo>
                    <a:pt x="382" y="63"/>
                  </a:lnTo>
                  <a:lnTo>
                    <a:pt x="383" y="64"/>
                  </a:lnTo>
                  <a:lnTo>
                    <a:pt x="384" y="65"/>
                  </a:lnTo>
                  <a:lnTo>
                    <a:pt x="385" y="65"/>
                  </a:lnTo>
                  <a:lnTo>
                    <a:pt x="386" y="65"/>
                  </a:lnTo>
                  <a:lnTo>
                    <a:pt x="389" y="66"/>
                  </a:lnTo>
                  <a:lnTo>
                    <a:pt x="390" y="66"/>
                  </a:lnTo>
                  <a:lnTo>
                    <a:pt x="391" y="66"/>
                  </a:lnTo>
                  <a:lnTo>
                    <a:pt x="392" y="66"/>
                  </a:lnTo>
                  <a:lnTo>
                    <a:pt x="392" y="67"/>
                  </a:lnTo>
                  <a:lnTo>
                    <a:pt x="393" y="67"/>
                  </a:lnTo>
                  <a:lnTo>
                    <a:pt x="394" y="68"/>
                  </a:lnTo>
                  <a:lnTo>
                    <a:pt x="394" y="68"/>
                  </a:lnTo>
                  <a:lnTo>
                    <a:pt x="395" y="69"/>
                  </a:lnTo>
                  <a:lnTo>
                    <a:pt x="395" y="69"/>
                  </a:lnTo>
                  <a:lnTo>
                    <a:pt x="395" y="70"/>
                  </a:lnTo>
                  <a:lnTo>
                    <a:pt x="396" y="71"/>
                  </a:lnTo>
                  <a:lnTo>
                    <a:pt x="396" y="71"/>
                  </a:lnTo>
                  <a:lnTo>
                    <a:pt x="396" y="74"/>
                  </a:lnTo>
                  <a:lnTo>
                    <a:pt x="396" y="75"/>
                  </a:lnTo>
                  <a:lnTo>
                    <a:pt x="397" y="75"/>
                  </a:lnTo>
                  <a:lnTo>
                    <a:pt x="397" y="75"/>
                  </a:lnTo>
                  <a:lnTo>
                    <a:pt x="397" y="76"/>
                  </a:lnTo>
                  <a:lnTo>
                    <a:pt x="397" y="76"/>
                  </a:lnTo>
                  <a:lnTo>
                    <a:pt x="398" y="76"/>
                  </a:lnTo>
                  <a:lnTo>
                    <a:pt x="398" y="76"/>
                  </a:lnTo>
                  <a:lnTo>
                    <a:pt x="401" y="77"/>
                  </a:lnTo>
                  <a:lnTo>
                    <a:pt x="404" y="78"/>
                  </a:lnTo>
                  <a:lnTo>
                    <a:pt x="406" y="78"/>
                  </a:lnTo>
                  <a:lnTo>
                    <a:pt x="407" y="79"/>
                  </a:lnTo>
                  <a:lnTo>
                    <a:pt x="410" y="80"/>
                  </a:lnTo>
                  <a:lnTo>
                    <a:pt x="416" y="84"/>
                  </a:lnTo>
                  <a:lnTo>
                    <a:pt x="417" y="84"/>
                  </a:lnTo>
                  <a:lnTo>
                    <a:pt x="417" y="85"/>
                  </a:lnTo>
                  <a:lnTo>
                    <a:pt x="417" y="85"/>
                  </a:lnTo>
                  <a:lnTo>
                    <a:pt x="418" y="85"/>
                  </a:lnTo>
                  <a:lnTo>
                    <a:pt x="418" y="86"/>
                  </a:lnTo>
                  <a:lnTo>
                    <a:pt x="418" y="86"/>
                  </a:lnTo>
                  <a:lnTo>
                    <a:pt x="418" y="91"/>
                  </a:lnTo>
                  <a:lnTo>
                    <a:pt x="418" y="93"/>
                  </a:lnTo>
                  <a:lnTo>
                    <a:pt x="419" y="96"/>
                  </a:lnTo>
                  <a:lnTo>
                    <a:pt x="419" y="100"/>
                  </a:lnTo>
                  <a:lnTo>
                    <a:pt x="419" y="102"/>
                  </a:lnTo>
                  <a:lnTo>
                    <a:pt x="419" y="106"/>
                  </a:lnTo>
                  <a:lnTo>
                    <a:pt x="419" y="107"/>
                  </a:lnTo>
                  <a:lnTo>
                    <a:pt x="419" y="108"/>
                  </a:lnTo>
                  <a:lnTo>
                    <a:pt x="419" y="108"/>
                  </a:lnTo>
                  <a:lnTo>
                    <a:pt x="419" y="109"/>
                  </a:lnTo>
                  <a:lnTo>
                    <a:pt x="419" y="110"/>
                  </a:lnTo>
                  <a:lnTo>
                    <a:pt x="418" y="110"/>
                  </a:lnTo>
                  <a:lnTo>
                    <a:pt x="418" y="111"/>
                  </a:lnTo>
                  <a:lnTo>
                    <a:pt x="416" y="112"/>
                  </a:lnTo>
                  <a:lnTo>
                    <a:pt x="416" y="113"/>
                  </a:lnTo>
                  <a:lnTo>
                    <a:pt x="415" y="113"/>
                  </a:lnTo>
                  <a:lnTo>
                    <a:pt x="415" y="114"/>
                  </a:lnTo>
                  <a:lnTo>
                    <a:pt x="414" y="115"/>
                  </a:lnTo>
                  <a:lnTo>
                    <a:pt x="414" y="116"/>
                  </a:lnTo>
                  <a:lnTo>
                    <a:pt x="413" y="118"/>
                  </a:lnTo>
                  <a:lnTo>
                    <a:pt x="412" y="121"/>
                  </a:lnTo>
                  <a:lnTo>
                    <a:pt x="412" y="122"/>
                  </a:lnTo>
                  <a:lnTo>
                    <a:pt x="412" y="123"/>
                  </a:lnTo>
                  <a:lnTo>
                    <a:pt x="411" y="128"/>
                  </a:lnTo>
                  <a:lnTo>
                    <a:pt x="411" y="129"/>
                  </a:lnTo>
                  <a:lnTo>
                    <a:pt x="411" y="130"/>
                  </a:lnTo>
                  <a:lnTo>
                    <a:pt x="411" y="133"/>
                  </a:lnTo>
                  <a:lnTo>
                    <a:pt x="411" y="134"/>
                  </a:lnTo>
                  <a:lnTo>
                    <a:pt x="411" y="135"/>
                  </a:lnTo>
                  <a:lnTo>
                    <a:pt x="411" y="136"/>
                  </a:lnTo>
                  <a:lnTo>
                    <a:pt x="411" y="137"/>
                  </a:lnTo>
                  <a:lnTo>
                    <a:pt x="411" y="138"/>
                  </a:lnTo>
                  <a:lnTo>
                    <a:pt x="410" y="140"/>
                  </a:lnTo>
                  <a:lnTo>
                    <a:pt x="409" y="143"/>
                  </a:lnTo>
                  <a:lnTo>
                    <a:pt x="409" y="143"/>
                  </a:lnTo>
                  <a:lnTo>
                    <a:pt x="409" y="144"/>
                  </a:lnTo>
                  <a:lnTo>
                    <a:pt x="409" y="145"/>
                  </a:lnTo>
                  <a:lnTo>
                    <a:pt x="409" y="146"/>
                  </a:lnTo>
                  <a:lnTo>
                    <a:pt x="409" y="147"/>
                  </a:lnTo>
                  <a:lnTo>
                    <a:pt x="409" y="150"/>
                  </a:lnTo>
                  <a:lnTo>
                    <a:pt x="409" y="151"/>
                  </a:lnTo>
                  <a:lnTo>
                    <a:pt x="408" y="152"/>
                  </a:lnTo>
                  <a:lnTo>
                    <a:pt x="408" y="153"/>
                  </a:lnTo>
                  <a:lnTo>
                    <a:pt x="408" y="154"/>
                  </a:lnTo>
                  <a:lnTo>
                    <a:pt x="408" y="155"/>
                  </a:lnTo>
                  <a:lnTo>
                    <a:pt x="407" y="157"/>
                  </a:lnTo>
                  <a:lnTo>
                    <a:pt x="407" y="158"/>
                  </a:lnTo>
                  <a:lnTo>
                    <a:pt x="407" y="159"/>
                  </a:lnTo>
                  <a:lnTo>
                    <a:pt x="408" y="159"/>
                  </a:lnTo>
                  <a:lnTo>
                    <a:pt x="408" y="159"/>
                  </a:lnTo>
                  <a:lnTo>
                    <a:pt x="408" y="159"/>
                  </a:lnTo>
                  <a:lnTo>
                    <a:pt x="410" y="160"/>
                  </a:lnTo>
                  <a:lnTo>
                    <a:pt x="410" y="161"/>
                  </a:lnTo>
                  <a:lnTo>
                    <a:pt x="411" y="161"/>
                  </a:lnTo>
                  <a:lnTo>
                    <a:pt x="411" y="162"/>
                  </a:lnTo>
                  <a:lnTo>
                    <a:pt x="412" y="162"/>
                  </a:lnTo>
                  <a:lnTo>
                    <a:pt x="412" y="163"/>
                  </a:lnTo>
                  <a:lnTo>
                    <a:pt x="412" y="164"/>
                  </a:lnTo>
                  <a:lnTo>
                    <a:pt x="412" y="164"/>
                  </a:lnTo>
                  <a:lnTo>
                    <a:pt x="411" y="165"/>
                  </a:lnTo>
                  <a:lnTo>
                    <a:pt x="411" y="165"/>
                  </a:lnTo>
                  <a:lnTo>
                    <a:pt x="411" y="166"/>
                  </a:lnTo>
                  <a:lnTo>
                    <a:pt x="410" y="166"/>
                  </a:lnTo>
                  <a:lnTo>
                    <a:pt x="409" y="167"/>
                  </a:lnTo>
                  <a:lnTo>
                    <a:pt x="406" y="170"/>
                  </a:lnTo>
                  <a:lnTo>
                    <a:pt x="405" y="171"/>
                  </a:lnTo>
                  <a:lnTo>
                    <a:pt x="404" y="172"/>
                  </a:lnTo>
                  <a:lnTo>
                    <a:pt x="403" y="173"/>
                  </a:lnTo>
                  <a:lnTo>
                    <a:pt x="402" y="175"/>
                  </a:lnTo>
                  <a:lnTo>
                    <a:pt x="401" y="176"/>
                  </a:lnTo>
                  <a:lnTo>
                    <a:pt x="400" y="176"/>
                  </a:lnTo>
                  <a:lnTo>
                    <a:pt x="400" y="177"/>
                  </a:lnTo>
                  <a:lnTo>
                    <a:pt x="399" y="177"/>
                  </a:lnTo>
                  <a:lnTo>
                    <a:pt x="399" y="177"/>
                  </a:lnTo>
                  <a:lnTo>
                    <a:pt x="398" y="178"/>
                  </a:lnTo>
                  <a:lnTo>
                    <a:pt x="398" y="178"/>
                  </a:lnTo>
                  <a:lnTo>
                    <a:pt x="397" y="178"/>
                  </a:lnTo>
                  <a:lnTo>
                    <a:pt x="397" y="178"/>
                  </a:lnTo>
                  <a:lnTo>
                    <a:pt x="396" y="177"/>
                  </a:lnTo>
                  <a:lnTo>
                    <a:pt x="395" y="177"/>
                  </a:lnTo>
                  <a:lnTo>
                    <a:pt x="392" y="175"/>
                  </a:lnTo>
                  <a:lnTo>
                    <a:pt x="392" y="175"/>
                  </a:lnTo>
                  <a:lnTo>
                    <a:pt x="392" y="175"/>
                  </a:lnTo>
                  <a:lnTo>
                    <a:pt x="391" y="175"/>
                  </a:lnTo>
                  <a:lnTo>
                    <a:pt x="390" y="175"/>
                  </a:lnTo>
                  <a:lnTo>
                    <a:pt x="389" y="175"/>
                  </a:lnTo>
                  <a:lnTo>
                    <a:pt x="389" y="175"/>
                  </a:lnTo>
                  <a:lnTo>
                    <a:pt x="388" y="175"/>
                  </a:lnTo>
                  <a:lnTo>
                    <a:pt x="387" y="176"/>
                  </a:lnTo>
                  <a:lnTo>
                    <a:pt x="386" y="176"/>
                  </a:lnTo>
                  <a:lnTo>
                    <a:pt x="384" y="177"/>
                  </a:lnTo>
                  <a:lnTo>
                    <a:pt x="383" y="178"/>
                  </a:lnTo>
                  <a:lnTo>
                    <a:pt x="382" y="178"/>
                  </a:lnTo>
                  <a:lnTo>
                    <a:pt x="381" y="179"/>
                  </a:lnTo>
                  <a:lnTo>
                    <a:pt x="380" y="180"/>
                  </a:lnTo>
                  <a:lnTo>
                    <a:pt x="379" y="181"/>
                  </a:lnTo>
                  <a:lnTo>
                    <a:pt x="378" y="181"/>
                  </a:lnTo>
                  <a:lnTo>
                    <a:pt x="378" y="182"/>
                  </a:lnTo>
                  <a:lnTo>
                    <a:pt x="377" y="184"/>
                  </a:lnTo>
                  <a:lnTo>
                    <a:pt x="374" y="187"/>
                  </a:lnTo>
                  <a:lnTo>
                    <a:pt x="373" y="188"/>
                  </a:lnTo>
                  <a:lnTo>
                    <a:pt x="373" y="189"/>
                  </a:lnTo>
                  <a:lnTo>
                    <a:pt x="373" y="190"/>
                  </a:lnTo>
                  <a:lnTo>
                    <a:pt x="372" y="191"/>
                  </a:lnTo>
                  <a:lnTo>
                    <a:pt x="372" y="192"/>
                  </a:lnTo>
                  <a:lnTo>
                    <a:pt x="372" y="193"/>
                  </a:lnTo>
                  <a:lnTo>
                    <a:pt x="372" y="194"/>
                  </a:lnTo>
                  <a:lnTo>
                    <a:pt x="372" y="194"/>
                  </a:lnTo>
                  <a:lnTo>
                    <a:pt x="372" y="195"/>
                  </a:lnTo>
                  <a:lnTo>
                    <a:pt x="373" y="195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4" y="197"/>
                  </a:lnTo>
                  <a:lnTo>
                    <a:pt x="374" y="197"/>
                  </a:lnTo>
                  <a:lnTo>
                    <a:pt x="375" y="197"/>
                  </a:lnTo>
                  <a:lnTo>
                    <a:pt x="377" y="196"/>
                  </a:lnTo>
                  <a:lnTo>
                    <a:pt x="378" y="196"/>
                  </a:lnTo>
                  <a:lnTo>
                    <a:pt x="379" y="196"/>
                  </a:lnTo>
                  <a:lnTo>
                    <a:pt x="380" y="196"/>
                  </a:lnTo>
                  <a:lnTo>
                    <a:pt x="382" y="196"/>
                  </a:lnTo>
                  <a:lnTo>
                    <a:pt x="383" y="197"/>
                  </a:lnTo>
                  <a:lnTo>
                    <a:pt x="383" y="197"/>
                  </a:lnTo>
                  <a:lnTo>
                    <a:pt x="384" y="197"/>
                  </a:lnTo>
                  <a:lnTo>
                    <a:pt x="384" y="197"/>
                  </a:lnTo>
                  <a:lnTo>
                    <a:pt x="384" y="198"/>
                  </a:lnTo>
                  <a:lnTo>
                    <a:pt x="384" y="198"/>
                  </a:lnTo>
                  <a:lnTo>
                    <a:pt x="385" y="198"/>
                  </a:lnTo>
                  <a:lnTo>
                    <a:pt x="384" y="199"/>
                  </a:lnTo>
                  <a:lnTo>
                    <a:pt x="384" y="199"/>
                  </a:lnTo>
                  <a:lnTo>
                    <a:pt x="384" y="200"/>
                  </a:lnTo>
                  <a:lnTo>
                    <a:pt x="383" y="200"/>
                  </a:lnTo>
                  <a:lnTo>
                    <a:pt x="382" y="201"/>
                  </a:lnTo>
                  <a:lnTo>
                    <a:pt x="378" y="202"/>
                  </a:lnTo>
                  <a:lnTo>
                    <a:pt x="378" y="203"/>
                  </a:lnTo>
                  <a:lnTo>
                    <a:pt x="378" y="203"/>
                  </a:lnTo>
                  <a:lnTo>
                    <a:pt x="378" y="203"/>
                  </a:lnTo>
                  <a:lnTo>
                    <a:pt x="377" y="203"/>
                  </a:lnTo>
                  <a:lnTo>
                    <a:pt x="377" y="204"/>
                  </a:lnTo>
                  <a:lnTo>
                    <a:pt x="377" y="205"/>
                  </a:lnTo>
                  <a:lnTo>
                    <a:pt x="378" y="205"/>
                  </a:lnTo>
                  <a:lnTo>
                    <a:pt x="378" y="206"/>
                  </a:lnTo>
                  <a:lnTo>
                    <a:pt x="378" y="206"/>
                  </a:lnTo>
                  <a:lnTo>
                    <a:pt x="378" y="207"/>
                  </a:lnTo>
                  <a:lnTo>
                    <a:pt x="380" y="208"/>
                  </a:lnTo>
                  <a:lnTo>
                    <a:pt x="380" y="209"/>
                  </a:lnTo>
                  <a:lnTo>
                    <a:pt x="381" y="210"/>
                  </a:lnTo>
                  <a:lnTo>
                    <a:pt x="381" y="210"/>
                  </a:lnTo>
                  <a:lnTo>
                    <a:pt x="382" y="211"/>
                  </a:lnTo>
                  <a:lnTo>
                    <a:pt x="382" y="212"/>
                  </a:lnTo>
                  <a:lnTo>
                    <a:pt x="382" y="212"/>
                  </a:lnTo>
                  <a:lnTo>
                    <a:pt x="381" y="213"/>
                  </a:lnTo>
                  <a:lnTo>
                    <a:pt x="381" y="213"/>
                  </a:lnTo>
                  <a:lnTo>
                    <a:pt x="381" y="213"/>
                  </a:lnTo>
                  <a:lnTo>
                    <a:pt x="380" y="214"/>
                  </a:lnTo>
                  <a:lnTo>
                    <a:pt x="380" y="214"/>
                  </a:lnTo>
                  <a:lnTo>
                    <a:pt x="379" y="214"/>
                  </a:lnTo>
                  <a:lnTo>
                    <a:pt x="378" y="214"/>
                  </a:lnTo>
                  <a:lnTo>
                    <a:pt x="377" y="214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6"/>
                  </a:lnTo>
                  <a:lnTo>
                    <a:pt x="377" y="216"/>
                  </a:lnTo>
                  <a:lnTo>
                    <a:pt x="378" y="217"/>
                  </a:lnTo>
                  <a:lnTo>
                    <a:pt x="379" y="218"/>
                  </a:lnTo>
                  <a:lnTo>
                    <a:pt x="380" y="218"/>
                  </a:lnTo>
                  <a:lnTo>
                    <a:pt x="380" y="218"/>
                  </a:lnTo>
                  <a:lnTo>
                    <a:pt x="380" y="219"/>
                  </a:lnTo>
                  <a:lnTo>
                    <a:pt x="380" y="219"/>
                  </a:lnTo>
                  <a:lnTo>
                    <a:pt x="380" y="220"/>
                  </a:lnTo>
                  <a:lnTo>
                    <a:pt x="380" y="221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1" y="222"/>
                  </a:lnTo>
                  <a:lnTo>
                    <a:pt x="381" y="223"/>
                  </a:lnTo>
                  <a:lnTo>
                    <a:pt x="381" y="223"/>
                  </a:lnTo>
                  <a:lnTo>
                    <a:pt x="382" y="223"/>
                  </a:lnTo>
                  <a:lnTo>
                    <a:pt x="383" y="223"/>
                  </a:lnTo>
                  <a:lnTo>
                    <a:pt x="385" y="223"/>
                  </a:lnTo>
                  <a:lnTo>
                    <a:pt x="386" y="223"/>
                  </a:lnTo>
                  <a:lnTo>
                    <a:pt x="387" y="223"/>
                  </a:lnTo>
                  <a:lnTo>
                    <a:pt x="388" y="223"/>
                  </a:lnTo>
                  <a:lnTo>
                    <a:pt x="389" y="224"/>
                  </a:lnTo>
                  <a:lnTo>
                    <a:pt x="390" y="224"/>
                  </a:lnTo>
                  <a:lnTo>
                    <a:pt x="391" y="225"/>
                  </a:lnTo>
                  <a:lnTo>
                    <a:pt x="392" y="225"/>
                  </a:lnTo>
                  <a:lnTo>
                    <a:pt x="392" y="226"/>
                  </a:lnTo>
                  <a:lnTo>
                    <a:pt x="392" y="226"/>
                  </a:lnTo>
                  <a:lnTo>
                    <a:pt x="393" y="227"/>
                  </a:lnTo>
                  <a:lnTo>
                    <a:pt x="393" y="227"/>
                  </a:lnTo>
                  <a:lnTo>
                    <a:pt x="393" y="228"/>
                  </a:lnTo>
                  <a:lnTo>
                    <a:pt x="393" y="229"/>
                  </a:lnTo>
                  <a:lnTo>
                    <a:pt x="393" y="231"/>
                  </a:lnTo>
                  <a:lnTo>
                    <a:pt x="393" y="233"/>
                  </a:lnTo>
                  <a:lnTo>
                    <a:pt x="393" y="235"/>
                  </a:lnTo>
                  <a:lnTo>
                    <a:pt x="393" y="236"/>
                  </a:lnTo>
                  <a:lnTo>
                    <a:pt x="393" y="238"/>
                  </a:lnTo>
                  <a:lnTo>
                    <a:pt x="392" y="241"/>
                  </a:lnTo>
                  <a:lnTo>
                    <a:pt x="392" y="243"/>
                  </a:lnTo>
                  <a:lnTo>
                    <a:pt x="392" y="245"/>
                  </a:lnTo>
                  <a:lnTo>
                    <a:pt x="391" y="248"/>
                  </a:lnTo>
                  <a:lnTo>
                    <a:pt x="391" y="251"/>
                  </a:lnTo>
                  <a:lnTo>
                    <a:pt x="391" y="252"/>
                  </a:lnTo>
                  <a:lnTo>
                    <a:pt x="391" y="256"/>
                  </a:lnTo>
                  <a:lnTo>
                    <a:pt x="391" y="256"/>
                  </a:lnTo>
                  <a:lnTo>
                    <a:pt x="391" y="257"/>
                  </a:lnTo>
                  <a:lnTo>
                    <a:pt x="391" y="257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3" y="259"/>
                  </a:lnTo>
                  <a:lnTo>
                    <a:pt x="394" y="259"/>
                  </a:lnTo>
                  <a:lnTo>
                    <a:pt x="395" y="260"/>
                  </a:lnTo>
                  <a:lnTo>
                    <a:pt x="396" y="261"/>
                  </a:lnTo>
                  <a:lnTo>
                    <a:pt x="396" y="261"/>
                  </a:lnTo>
                  <a:lnTo>
                    <a:pt x="397" y="262"/>
                  </a:lnTo>
                  <a:lnTo>
                    <a:pt x="397" y="263"/>
                  </a:lnTo>
                  <a:lnTo>
                    <a:pt x="397" y="264"/>
                  </a:lnTo>
                  <a:lnTo>
                    <a:pt x="398" y="266"/>
                  </a:lnTo>
                  <a:lnTo>
                    <a:pt x="398" y="267"/>
                  </a:lnTo>
                  <a:lnTo>
                    <a:pt x="398" y="268"/>
                  </a:lnTo>
                  <a:lnTo>
                    <a:pt x="398" y="269"/>
                  </a:lnTo>
                  <a:lnTo>
                    <a:pt x="398" y="270"/>
                  </a:lnTo>
                  <a:lnTo>
                    <a:pt x="398" y="272"/>
                  </a:lnTo>
                  <a:lnTo>
                    <a:pt x="398" y="273"/>
                  </a:lnTo>
                  <a:lnTo>
                    <a:pt x="398" y="274"/>
                  </a:lnTo>
                  <a:lnTo>
                    <a:pt x="398" y="275"/>
                  </a:lnTo>
                  <a:lnTo>
                    <a:pt x="398" y="275"/>
                  </a:lnTo>
                  <a:lnTo>
                    <a:pt x="397" y="275"/>
                  </a:lnTo>
                  <a:lnTo>
                    <a:pt x="397" y="275"/>
                  </a:lnTo>
                  <a:lnTo>
                    <a:pt x="397" y="275"/>
                  </a:lnTo>
                  <a:lnTo>
                    <a:pt x="396" y="276"/>
                  </a:lnTo>
                  <a:lnTo>
                    <a:pt x="396" y="277"/>
                  </a:lnTo>
                  <a:lnTo>
                    <a:pt x="396" y="277"/>
                  </a:lnTo>
                  <a:lnTo>
                    <a:pt x="395" y="278"/>
                  </a:lnTo>
                  <a:lnTo>
                    <a:pt x="394" y="283"/>
                  </a:lnTo>
                  <a:lnTo>
                    <a:pt x="394" y="284"/>
                  </a:lnTo>
                  <a:lnTo>
                    <a:pt x="394" y="284"/>
                  </a:lnTo>
                  <a:lnTo>
                    <a:pt x="394" y="285"/>
                  </a:lnTo>
                  <a:lnTo>
                    <a:pt x="394" y="285"/>
                  </a:lnTo>
                  <a:lnTo>
                    <a:pt x="394" y="286"/>
                  </a:lnTo>
                  <a:lnTo>
                    <a:pt x="394" y="286"/>
                  </a:lnTo>
                  <a:lnTo>
                    <a:pt x="394" y="287"/>
                  </a:lnTo>
                  <a:lnTo>
                    <a:pt x="395" y="288"/>
                  </a:lnTo>
                  <a:lnTo>
                    <a:pt x="396" y="289"/>
                  </a:lnTo>
                  <a:lnTo>
                    <a:pt x="396" y="289"/>
                  </a:lnTo>
                  <a:lnTo>
                    <a:pt x="396" y="289"/>
                  </a:lnTo>
                  <a:lnTo>
                    <a:pt x="397" y="290"/>
                  </a:lnTo>
                  <a:lnTo>
                    <a:pt x="397" y="292"/>
                  </a:lnTo>
                  <a:lnTo>
                    <a:pt x="397" y="293"/>
                  </a:lnTo>
                  <a:lnTo>
                    <a:pt x="397" y="294"/>
                  </a:lnTo>
                  <a:lnTo>
                    <a:pt x="397" y="298"/>
                  </a:lnTo>
                  <a:lnTo>
                    <a:pt x="397" y="299"/>
                  </a:lnTo>
                  <a:lnTo>
                    <a:pt x="398" y="302"/>
                  </a:lnTo>
                  <a:lnTo>
                    <a:pt x="398" y="303"/>
                  </a:lnTo>
                  <a:lnTo>
                    <a:pt x="399" y="304"/>
                  </a:lnTo>
                  <a:lnTo>
                    <a:pt x="400" y="306"/>
                  </a:lnTo>
                  <a:lnTo>
                    <a:pt x="401" y="308"/>
                  </a:lnTo>
                  <a:lnTo>
                    <a:pt x="401" y="309"/>
                  </a:lnTo>
                  <a:lnTo>
                    <a:pt x="401" y="310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1" y="312"/>
                  </a:lnTo>
                  <a:lnTo>
                    <a:pt x="399" y="315"/>
                  </a:lnTo>
                  <a:lnTo>
                    <a:pt x="398" y="317"/>
                  </a:lnTo>
                  <a:lnTo>
                    <a:pt x="398" y="318"/>
                  </a:lnTo>
                  <a:lnTo>
                    <a:pt x="397" y="319"/>
                  </a:lnTo>
                  <a:lnTo>
                    <a:pt x="397" y="320"/>
                  </a:lnTo>
                  <a:lnTo>
                    <a:pt x="397" y="321"/>
                  </a:lnTo>
                  <a:lnTo>
                    <a:pt x="396" y="324"/>
                  </a:lnTo>
                  <a:lnTo>
                    <a:pt x="396" y="326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7" y="330"/>
                  </a:lnTo>
                  <a:lnTo>
                    <a:pt x="397" y="332"/>
                  </a:lnTo>
                  <a:lnTo>
                    <a:pt x="397" y="333"/>
                  </a:lnTo>
                  <a:lnTo>
                    <a:pt x="399" y="336"/>
                  </a:lnTo>
                  <a:lnTo>
                    <a:pt x="400" y="337"/>
                  </a:lnTo>
                  <a:lnTo>
                    <a:pt x="400" y="338"/>
                  </a:lnTo>
                  <a:lnTo>
                    <a:pt x="402" y="340"/>
                  </a:lnTo>
                  <a:lnTo>
                    <a:pt x="402" y="341"/>
                  </a:lnTo>
                  <a:lnTo>
                    <a:pt x="403" y="341"/>
                  </a:lnTo>
                  <a:lnTo>
                    <a:pt x="403" y="342"/>
                  </a:lnTo>
                  <a:lnTo>
                    <a:pt x="403" y="343"/>
                  </a:lnTo>
                  <a:lnTo>
                    <a:pt x="403" y="344"/>
                  </a:lnTo>
                  <a:lnTo>
                    <a:pt x="403" y="345"/>
                  </a:lnTo>
                  <a:lnTo>
                    <a:pt x="402" y="347"/>
                  </a:lnTo>
                  <a:lnTo>
                    <a:pt x="402" y="348"/>
                  </a:lnTo>
                  <a:lnTo>
                    <a:pt x="402" y="349"/>
                  </a:lnTo>
                  <a:lnTo>
                    <a:pt x="401" y="350"/>
                  </a:lnTo>
                  <a:lnTo>
                    <a:pt x="400" y="352"/>
                  </a:lnTo>
                  <a:lnTo>
                    <a:pt x="399" y="353"/>
                  </a:lnTo>
                  <a:lnTo>
                    <a:pt x="398" y="355"/>
                  </a:lnTo>
                  <a:lnTo>
                    <a:pt x="397" y="357"/>
                  </a:lnTo>
                  <a:lnTo>
                    <a:pt x="397" y="359"/>
                  </a:lnTo>
                  <a:lnTo>
                    <a:pt x="396" y="360"/>
                  </a:lnTo>
                  <a:lnTo>
                    <a:pt x="396" y="361"/>
                  </a:lnTo>
                  <a:lnTo>
                    <a:pt x="395" y="361"/>
                  </a:lnTo>
                  <a:lnTo>
                    <a:pt x="395" y="362"/>
                  </a:lnTo>
                  <a:lnTo>
                    <a:pt x="392" y="364"/>
                  </a:lnTo>
                  <a:lnTo>
                    <a:pt x="390" y="366"/>
                  </a:lnTo>
                  <a:lnTo>
                    <a:pt x="388" y="366"/>
                  </a:lnTo>
                  <a:lnTo>
                    <a:pt x="388" y="367"/>
                  </a:lnTo>
                  <a:lnTo>
                    <a:pt x="386" y="369"/>
                  </a:lnTo>
                  <a:lnTo>
                    <a:pt x="385" y="370"/>
                  </a:lnTo>
                  <a:lnTo>
                    <a:pt x="385" y="370"/>
                  </a:lnTo>
                  <a:lnTo>
                    <a:pt x="385" y="371"/>
                  </a:lnTo>
                  <a:lnTo>
                    <a:pt x="385" y="372"/>
                  </a:lnTo>
                  <a:lnTo>
                    <a:pt x="384" y="373"/>
                  </a:lnTo>
                  <a:lnTo>
                    <a:pt x="384" y="374"/>
                  </a:lnTo>
                  <a:lnTo>
                    <a:pt x="384" y="375"/>
                  </a:lnTo>
                  <a:lnTo>
                    <a:pt x="384" y="376"/>
                  </a:lnTo>
                  <a:lnTo>
                    <a:pt x="385" y="377"/>
                  </a:lnTo>
                  <a:lnTo>
                    <a:pt x="385" y="378"/>
                  </a:lnTo>
                  <a:lnTo>
                    <a:pt x="385" y="378"/>
                  </a:lnTo>
                  <a:lnTo>
                    <a:pt x="385" y="379"/>
                  </a:lnTo>
                  <a:lnTo>
                    <a:pt x="384" y="380"/>
                  </a:lnTo>
                  <a:lnTo>
                    <a:pt x="384" y="380"/>
                  </a:lnTo>
                  <a:lnTo>
                    <a:pt x="384" y="381"/>
                  </a:lnTo>
                  <a:lnTo>
                    <a:pt x="383" y="381"/>
                  </a:lnTo>
                  <a:lnTo>
                    <a:pt x="383" y="382"/>
                  </a:lnTo>
                  <a:lnTo>
                    <a:pt x="383" y="382"/>
                  </a:lnTo>
                  <a:lnTo>
                    <a:pt x="382" y="382"/>
                  </a:lnTo>
                  <a:lnTo>
                    <a:pt x="382" y="383"/>
                  </a:lnTo>
                  <a:lnTo>
                    <a:pt x="380" y="384"/>
                  </a:lnTo>
                  <a:lnTo>
                    <a:pt x="379" y="384"/>
                  </a:lnTo>
                  <a:lnTo>
                    <a:pt x="379" y="384"/>
                  </a:lnTo>
                  <a:lnTo>
                    <a:pt x="379" y="385"/>
                  </a:lnTo>
                  <a:lnTo>
                    <a:pt x="378" y="385"/>
                  </a:lnTo>
                  <a:lnTo>
                    <a:pt x="378" y="385"/>
                  </a:lnTo>
                  <a:lnTo>
                    <a:pt x="378" y="386"/>
                  </a:lnTo>
                  <a:lnTo>
                    <a:pt x="378" y="386"/>
                  </a:lnTo>
                  <a:lnTo>
                    <a:pt x="378" y="387"/>
                  </a:lnTo>
                  <a:lnTo>
                    <a:pt x="378" y="387"/>
                  </a:lnTo>
                  <a:lnTo>
                    <a:pt x="378" y="388"/>
                  </a:lnTo>
                  <a:lnTo>
                    <a:pt x="378" y="389"/>
                  </a:lnTo>
                  <a:lnTo>
                    <a:pt x="379" y="389"/>
                  </a:lnTo>
                  <a:lnTo>
                    <a:pt x="379" y="390"/>
                  </a:lnTo>
                  <a:lnTo>
                    <a:pt x="379" y="390"/>
                  </a:lnTo>
                  <a:lnTo>
                    <a:pt x="380" y="391"/>
                  </a:lnTo>
                  <a:lnTo>
                    <a:pt x="380" y="392"/>
                  </a:lnTo>
                  <a:lnTo>
                    <a:pt x="381" y="392"/>
                  </a:lnTo>
                  <a:lnTo>
                    <a:pt x="383" y="393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5"/>
                  </a:lnTo>
                  <a:lnTo>
                    <a:pt x="383" y="396"/>
                  </a:lnTo>
                  <a:lnTo>
                    <a:pt x="383" y="397"/>
                  </a:lnTo>
                  <a:lnTo>
                    <a:pt x="382" y="397"/>
                  </a:lnTo>
                  <a:lnTo>
                    <a:pt x="382" y="398"/>
                  </a:lnTo>
                  <a:lnTo>
                    <a:pt x="382" y="398"/>
                  </a:lnTo>
                  <a:lnTo>
                    <a:pt x="381" y="398"/>
                  </a:lnTo>
                  <a:lnTo>
                    <a:pt x="381" y="399"/>
                  </a:lnTo>
                  <a:lnTo>
                    <a:pt x="379" y="399"/>
                  </a:lnTo>
                  <a:lnTo>
                    <a:pt x="379" y="400"/>
                  </a:lnTo>
                  <a:lnTo>
                    <a:pt x="378" y="400"/>
                  </a:lnTo>
                  <a:lnTo>
                    <a:pt x="377" y="402"/>
                  </a:lnTo>
                  <a:lnTo>
                    <a:pt x="376" y="403"/>
                  </a:lnTo>
                  <a:lnTo>
                    <a:pt x="375" y="403"/>
                  </a:lnTo>
                  <a:lnTo>
                    <a:pt x="375" y="404"/>
                  </a:lnTo>
                  <a:lnTo>
                    <a:pt x="375" y="405"/>
                  </a:lnTo>
                  <a:lnTo>
                    <a:pt x="374" y="405"/>
                  </a:lnTo>
                  <a:lnTo>
                    <a:pt x="374" y="406"/>
                  </a:lnTo>
                  <a:lnTo>
                    <a:pt x="374" y="407"/>
                  </a:lnTo>
                  <a:lnTo>
                    <a:pt x="374" y="407"/>
                  </a:lnTo>
                  <a:lnTo>
                    <a:pt x="374" y="408"/>
                  </a:lnTo>
                  <a:lnTo>
                    <a:pt x="374" y="409"/>
                  </a:lnTo>
                  <a:lnTo>
                    <a:pt x="375" y="410"/>
                  </a:lnTo>
                  <a:lnTo>
                    <a:pt x="376" y="412"/>
                  </a:lnTo>
                  <a:lnTo>
                    <a:pt x="376" y="413"/>
                  </a:lnTo>
                  <a:lnTo>
                    <a:pt x="378" y="415"/>
                  </a:lnTo>
                  <a:lnTo>
                    <a:pt x="378" y="416"/>
                  </a:lnTo>
                  <a:lnTo>
                    <a:pt x="378" y="416"/>
                  </a:lnTo>
                  <a:lnTo>
                    <a:pt x="379" y="417"/>
                  </a:lnTo>
                  <a:lnTo>
                    <a:pt x="379" y="418"/>
                  </a:lnTo>
                  <a:lnTo>
                    <a:pt x="379" y="419"/>
                  </a:lnTo>
                  <a:lnTo>
                    <a:pt x="379" y="420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2"/>
                  </a:lnTo>
                  <a:lnTo>
                    <a:pt x="378" y="423"/>
                  </a:lnTo>
                  <a:lnTo>
                    <a:pt x="377" y="424"/>
                  </a:lnTo>
                  <a:lnTo>
                    <a:pt x="376" y="425"/>
                  </a:lnTo>
                  <a:lnTo>
                    <a:pt x="375" y="426"/>
                  </a:lnTo>
                  <a:lnTo>
                    <a:pt x="375" y="427"/>
                  </a:lnTo>
                  <a:lnTo>
                    <a:pt x="374" y="428"/>
                  </a:lnTo>
                  <a:lnTo>
                    <a:pt x="374" y="429"/>
                  </a:lnTo>
                  <a:lnTo>
                    <a:pt x="373" y="432"/>
                  </a:lnTo>
                  <a:lnTo>
                    <a:pt x="372" y="435"/>
                  </a:lnTo>
                  <a:lnTo>
                    <a:pt x="372" y="436"/>
                  </a:lnTo>
                  <a:lnTo>
                    <a:pt x="371" y="436"/>
                  </a:lnTo>
                  <a:lnTo>
                    <a:pt x="371" y="436"/>
                  </a:lnTo>
                  <a:lnTo>
                    <a:pt x="371" y="436"/>
                  </a:lnTo>
                  <a:lnTo>
                    <a:pt x="370" y="437"/>
                  </a:lnTo>
                  <a:lnTo>
                    <a:pt x="367" y="438"/>
                  </a:lnTo>
                  <a:lnTo>
                    <a:pt x="366" y="439"/>
                  </a:lnTo>
                  <a:lnTo>
                    <a:pt x="364" y="439"/>
                  </a:lnTo>
                  <a:lnTo>
                    <a:pt x="364" y="440"/>
                  </a:lnTo>
                  <a:lnTo>
                    <a:pt x="361" y="442"/>
                  </a:lnTo>
                  <a:lnTo>
                    <a:pt x="359" y="443"/>
                  </a:lnTo>
                  <a:lnTo>
                    <a:pt x="358" y="444"/>
                  </a:lnTo>
                  <a:lnTo>
                    <a:pt x="357" y="445"/>
                  </a:lnTo>
                  <a:lnTo>
                    <a:pt x="356" y="445"/>
                  </a:lnTo>
                  <a:lnTo>
                    <a:pt x="355" y="445"/>
                  </a:lnTo>
                  <a:lnTo>
                    <a:pt x="355" y="445"/>
                  </a:lnTo>
                  <a:lnTo>
                    <a:pt x="354" y="446"/>
                  </a:lnTo>
                  <a:lnTo>
                    <a:pt x="353" y="446"/>
                  </a:lnTo>
                  <a:lnTo>
                    <a:pt x="352" y="446"/>
                  </a:lnTo>
                  <a:lnTo>
                    <a:pt x="351" y="446"/>
                  </a:lnTo>
                  <a:lnTo>
                    <a:pt x="350" y="445"/>
                  </a:lnTo>
                  <a:lnTo>
                    <a:pt x="347" y="445"/>
                  </a:lnTo>
                  <a:lnTo>
                    <a:pt x="346" y="445"/>
                  </a:lnTo>
                  <a:lnTo>
                    <a:pt x="345" y="445"/>
                  </a:lnTo>
                  <a:lnTo>
                    <a:pt x="345" y="445"/>
                  </a:lnTo>
                  <a:lnTo>
                    <a:pt x="344" y="445"/>
                  </a:lnTo>
                  <a:lnTo>
                    <a:pt x="344" y="445"/>
                  </a:lnTo>
                  <a:lnTo>
                    <a:pt x="344" y="445"/>
                  </a:lnTo>
                  <a:lnTo>
                    <a:pt x="344" y="446"/>
                  </a:lnTo>
                  <a:lnTo>
                    <a:pt x="343" y="450"/>
                  </a:lnTo>
                  <a:lnTo>
                    <a:pt x="343" y="452"/>
                  </a:lnTo>
                  <a:lnTo>
                    <a:pt x="342" y="454"/>
                  </a:lnTo>
                  <a:lnTo>
                    <a:pt x="342" y="457"/>
                  </a:lnTo>
                  <a:lnTo>
                    <a:pt x="342" y="459"/>
                  </a:lnTo>
                  <a:lnTo>
                    <a:pt x="342" y="460"/>
                  </a:lnTo>
                  <a:lnTo>
                    <a:pt x="341" y="463"/>
                  </a:lnTo>
                  <a:lnTo>
                    <a:pt x="341" y="464"/>
                  </a:lnTo>
                  <a:lnTo>
                    <a:pt x="341" y="464"/>
                  </a:lnTo>
                  <a:lnTo>
                    <a:pt x="341" y="465"/>
                  </a:lnTo>
                  <a:lnTo>
                    <a:pt x="341" y="466"/>
                  </a:lnTo>
                  <a:lnTo>
                    <a:pt x="341" y="468"/>
                  </a:lnTo>
                  <a:lnTo>
                    <a:pt x="343" y="470"/>
                  </a:lnTo>
                  <a:lnTo>
                    <a:pt x="343" y="472"/>
                  </a:lnTo>
                  <a:lnTo>
                    <a:pt x="343" y="473"/>
                  </a:lnTo>
                  <a:lnTo>
                    <a:pt x="344" y="477"/>
                  </a:lnTo>
                  <a:lnTo>
                    <a:pt x="344" y="479"/>
                  </a:lnTo>
                  <a:lnTo>
                    <a:pt x="344" y="480"/>
                  </a:lnTo>
                  <a:lnTo>
                    <a:pt x="344" y="481"/>
                  </a:lnTo>
                  <a:lnTo>
                    <a:pt x="344" y="482"/>
                  </a:lnTo>
                  <a:lnTo>
                    <a:pt x="344" y="483"/>
                  </a:lnTo>
                  <a:lnTo>
                    <a:pt x="344" y="484"/>
                  </a:lnTo>
                  <a:lnTo>
                    <a:pt x="344" y="484"/>
                  </a:lnTo>
                  <a:lnTo>
                    <a:pt x="343" y="485"/>
                  </a:lnTo>
                  <a:lnTo>
                    <a:pt x="343" y="486"/>
                  </a:lnTo>
                  <a:lnTo>
                    <a:pt x="343" y="486"/>
                  </a:lnTo>
                  <a:lnTo>
                    <a:pt x="342" y="487"/>
                  </a:lnTo>
                  <a:lnTo>
                    <a:pt x="341" y="487"/>
                  </a:lnTo>
                  <a:lnTo>
                    <a:pt x="340" y="488"/>
                  </a:lnTo>
                  <a:lnTo>
                    <a:pt x="340" y="489"/>
                  </a:lnTo>
                  <a:lnTo>
                    <a:pt x="339" y="489"/>
                  </a:lnTo>
                  <a:lnTo>
                    <a:pt x="337" y="490"/>
                  </a:lnTo>
                  <a:lnTo>
                    <a:pt x="336" y="490"/>
                  </a:lnTo>
                  <a:lnTo>
                    <a:pt x="335" y="491"/>
                  </a:lnTo>
                  <a:lnTo>
                    <a:pt x="335" y="491"/>
                  </a:lnTo>
                  <a:lnTo>
                    <a:pt x="334" y="492"/>
                  </a:lnTo>
                  <a:lnTo>
                    <a:pt x="334" y="492"/>
                  </a:lnTo>
                  <a:lnTo>
                    <a:pt x="333" y="493"/>
                  </a:lnTo>
                  <a:lnTo>
                    <a:pt x="332" y="494"/>
                  </a:lnTo>
                  <a:lnTo>
                    <a:pt x="331" y="495"/>
                  </a:lnTo>
                  <a:lnTo>
                    <a:pt x="330" y="497"/>
                  </a:lnTo>
                  <a:lnTo>
                    <a:pt x="329" y="500"/>
                  </a:lnTo>
                  <a:lnTo>
                    <a:pt x="328" y="501"/>
                  </a:lnTo>
                  <a:lnTo>
                    <a:pt x="328" y="502"/>
                  </a:lnTo>
                  <a:lnTo>
                    <a:pt x="328" y="503"/>
                  </a:lnTo>
                  <a:lnTo>
                    <a:pt x="327" y="505"/>
                  </a:lnTo>
                  <a:lnTo>
                    <a:pt x="327" y="507"/>
                  </a:lnTo>
                  <a:lnTo>
                    <a:pt x="326" y="509"/>
                  </a:lnTo>
                  <a:lnTo>
                    <a:pt x="326" y="510"/>
                  </a:lnTo>
                  <a:lnTo>
                    <a:pt x="326" y="512"/>
                  </a:lnTo>
                  <a:lnTo>
                    <a:pt x="326" y="513"/>
                  </a:lnTo>
                  <a:lnTo>
                    <a:pt x="326" y="515"/>
                  </a:lnTo>
                  <a:lnTo>
                    <a:pt x="326" y="516"/>
                  </a:lnTo>
                  <a:lnTo>
                    <a:pt x="326" y="517"/>
                  </a:lnTo>
                  <a:lnTo>
                    <a:pt x="326" y="518"/>
                  </a:lnTo>
                  <a:lnTo>
                    <a:pt x="326" y="519"/>
                  </a:lnTo>
                  <a:lnTo>
                    <a:pt x="326" y="520"/>
                  </a:lnTo>
                  <a:lnTo>
                    <a:pt x="327" y="521"/>
                  </a:lnTo>
                  <a:lnTo>
                    <a:pt x="328" y="525"/>
                  </a:lnTo>
                  <a:lnTo>
                    <a:pt x="328" y="526"/>
                  </a:lnTo>
                  <a:lnTo>
                    <a:pt x="328" y="526"/>
                  </a:lnTo>
                  <a:lnTo>
                    <a:pt x="328" y="526"/>
                  </a:lnTo>
                  <a:lnTo>
                    <a:pt x="327" y="526"/>
                  </a:lnTo>
                  <a:lnTo>
                    <a:pt x="326" y="525"/>
                  </a:lnTo>
                  <a:lnTo>
                    <a:pt x="326" y="525"/>
                  </a:lnTo>
                  <a:lnTo>
                    <a:pt x="325" y="525"/>
                  </a:lnTo>
                  <a:lnTo>
                    <a:pt x="323" y="526"/>
                  </a:lnTo>
                  <a:lnTo>
                    <a:pt x="323" y="526"/>
                  </a:lnTo>
                  <a:lnTo>
                    <a:pt x="321" y="526"/>
                  </a:lnTo>
                  <a:lnTo>
                    <a:pt x="320" y="527"/>
                  </a:lnTo>
                  <a:lnTo>
                    <a:pt x="320" y="527"/>
                  </a:lnTo>
                  <a:lnTo>
                    <a:pt x="319" y="528"/>
                  </a:lnTo>
                  <a:lnTo>
                    <a:pt x="318" y="528"/>
                  </a:lnTo>
                  <a:lnTo>
                    <a:pt x="317" y="529"/>
                  </a:lnTo>
                  <a:lnTo>
                    <a:pt x="317" y="530"/>
                  </a:lnTo>
                  <a:lnTo>
                    <a:pt x="316" y="530"/>
                  </a:lnTo>
                  <a:lnTo>
                    <a:pt x="316" y="531"/>
                  </a:lnTo>
                  <a:lnTo>
                    <a:pt x="314" y="534"/>
                  </a:lnTo>
                  <a:lnTo>
                    <a:pt x="314" y="534"/>
                  </a:lnTo>
                  <a:lnTo>
                    <a:pt x="314" y="535"/>
                  </a:lnTo>
                  <a:lnTo>
                    <a:pt x="313" y="535"/>
                  </a:lnTo>
                  <a:lnTo>
                    <a:pt x="313" y="535"/>
                  </a:lnTo>
                  <a:lnTo>
                    <a:pt x="313" y="535"/>
                  </a:lnTo>
                  <a:lnTo>
                    <a:pt x="312" y="536"/>
                  </a:lnTo>
                  <a:lnTo>
                    <a:pt x="311" y="536"/>
                  </a:lnTo>
                  <a:lnTo>
                    <a:pt x="310" y="536"/>
                  </a:lnTo>
                  <a:lnTo>
                    <a:pt x="310" y="535"/>
                  </a:lnTo>
                  <a:lnTo>
                    <a:pt x="309" y="535"/>
                  </a:lnTo>
                  <a:lnTo>
                    <a:pt x="309" y="535"/>
                  </a:lnTo>
                  <a:lnTo>
                    <a:pt x="307" y="534"/>
                  </a:lnTo>
                  <a:lnTo>
                    <a:pt x="304" y="532"/>
                  </a:lnTo>
                  <a:lnTo>
                    <a:pt x="303" y="531"/>
                  </a:lnTo>
                  <a:lnTo>
                    <a:pt x="300" y="529"/>
                  </a:lnTo>
                  <a:lnTo>
                    <a:pt x="296" y="526"/>
                  </a:lnTo>
                  <a:lnTo>
                    <a:pt x="294" y="525"/>
                  </a:lnTo>
                  <a:lnTo>
                    <a:pt x="292" y="523"/>
                  </a:lnTo>
                  <a:lnTo>
                    <a:pt x="291" y="522"/>
                  </a:lnTo>
                  <a:lnTo>
                    <a:pt x="290" y="521"/>
                  </a:lnTo>
                  <a:lnTo>
                    <a:pt x="288" y="520"/>
                  </a:lnTo>
                  <a:lnTo>
                    <a:pt x="287" y="519"/>
                  </a:lnTo>
                  <a:lnTo>
                    <a:pt x="287" y="518"/>
                  </a:lnTo>
                  <a:lnTo>
                    <a:pt x="286" y="517"/>
                  </a:lnTo>
                  <a:lnTo>
                    <a:pt x="286" y="516"/>
                  </a:lnTo>
                  <a:lnTo>
                    <a:pt x="285" y="515"/>
                  </a:lnTo>
                  <a:lnTo>
                    <a:pt x="285" y="513"/>
                  </a:lnTo>
                  <a:lnTo>
                    <a:pt x="285" y="512"/>
                  </a:lnTo>
                  <a:lnTo>
                    <a:pt x="284" y="508"/>
                  </a:lnTo>
                  <a:lnTo>
                    <a:pt x="284" y="504"/>
                  </a:lnTo>
                  <a:lnTo>
                    <a:pt x="284" y="500"/>
                  </a:lnTo>
                  <a:lnTo>
                    <a:pt x="283" y="499"/>
                  </a:lnTo>
                  <a:lnTo>
                    <a:pt x="283" y="496"/>
                  </a:lnTo>
                  <a:lnTo>
                    <a:pt x="283" y="495"/>
                  </a:lnTo>
                  <a:lnTo>
                    <a:pt x="282" y="493"/>
                  </a:lnTo>
                  <a:lnTo>
                    <a:pt x="281" y="490"/>
                  </a:lnTo>
                  <a:lnTo>
                    <a:pt x="281" y="488"/>
                  </a:lnTo>
                  <a:lnTo>
                    <a:pt x="281" y="487"/>
                  </a:lnTo>
                  <a:lnTo>
                    <a:pt x="280" y="487"/>
                  </a:lnTo>
                  <a:lnTo>
                    <a:pt x="280" y="486"/>
                  </a:lnTo>
                  <a:lnTo>
                    <a:pt x="279" y="485"/>
                  </a:lnTo>
                  <a:lnTo>
                    <a:pt x="276" y="482"/>
                  </a:lnTo>
                  <a:lnTo>
                    <a:pt x="274" y="479"/>
                  </a:lnTo>
                  <a:lnTo>
                    <a:pt x="271" y="475"/>
                  </a:lnTo>
                  <a:lnTo>
                    <a:pt x="267" y="470"/>
                  </a:lnTo>
                  <a:lnTo>
                    <a:pt x="266" y="469"/>
                  </a:lnTo>
                  <a:lnTo>
                    <a:pt x="264" y="467"/>
                  </a:lnTo>
                  <a:lnTo>
                    <a:pt x="263" y="466"/>
                  </a:lnTo>
                  <a:lnTo>
                    <a:pt x="262" y="465"/>
                  </a:lnTo>
                  <a:lnTo>
                    <a:pt x="261" y="464"/>
                  </a:lnTo>
                  <a:lnTo>
                    <a:pt x="259" y="462"/>
                  </a:lnTo>
                  <a:lnTo>
                    <a:pt x="258" y="461"/>
                  </a:lnTo>
                  <a:lnTo>
                    <a:pt x="257" y="460"/>
                  </a:lnTo>
                  <a:lnTo>
                    <a:pt x="255" y="459"/>
                  </a:lnTo>
                  <a:lnTo>
                    <a:pt x="254" y="458"/>
                  </a:lnTo>
                  <a:lnTo>
                    <a:pt x="252" y="457"/>
                  </a:lnTo>
                  <a:lnTo>
                    <a:pt x="250" y="456"/>
                  </a:lnTo>
                  <a:lnTo>
                    <a:pt x="250" y="456"/>
                  </a:lnTo>
                  <a:lnTo>
                    <a:pt x="248" y="456"/>
                  </a:lnTo>
                  <a:lnTo>
                    <a:pt x="247" y="455"/>
                  </a:lnTo>
                  <a:lnTo>
                    <a:pt x="245" y="455"/>
                  </a:lnTo>
                  <a:lnTo>
                    <a:pt x="244" y="455"/>
                  </a:lnTo>
                  <a:lnTo>
                    <a:pt x="242" y="455"/>
                  </a:lnTo>
                  <a:lnTo>
                    <a:pt x="238" y="455"/>
                  </a:lnTo>
                  <a:lnTo>
                    <a:pt x="235" y="455"/>
                  </a:lnTo>
                  <a:lnTo>
                    <a:pt x="234" y="455"/>
                  </a:lnTo>
                  <a:lnTo>
                    <a:pt x="233" y="455"/>
                  </a:lnTo>
                  <a:lnTo>
                    <a:pt x="232" y="454"/>
                  </a:lnTo>
                  <a:lnTo>
                    <a:pt x="231" y="454"/>
                  </a:lnTo>
                  <a:lnTo>
                    <a:pt x="229" y="453"/>
                  </a:lnTo>
                  <a:lnTo>
                    <a:pt x="228" y="453"/>
                  </a:lnTo>
                  <a:lnTo>
                    <a:pt x="227" y="452"/>
                  </a:lnTo>
                  <a:lnTo>
                    <a:pt x="225" y="451"/>
                  </a:lnTo>
                  <a:lnTo>
                    <a:pt x="223" y="450"/>
                  </a:lnTo>
                  <a:lnTo>
                    <a:pt x="223" y="450"/>
                  </a:lnTo>
                  <a:lnTo>
                    <a:pt x="221" y="448"/>
                  </a:lnTo>
                  <a:lnTo>
                    <a:pt x="220" y="447"/>
                  </a:lnTo>
                  <a:lnTo>
                    <a:pt x="219" y="446"/>
                  </a:lnTo>
                  <a:lnTo>
                    <a:pt x="218" y="445"/>
                  </a:lnTo>
                  <a:lnTo>
                    <a:pt x="218" y="445"/>
                  </a:lnTo>
                  <a:lnTo>
                    <a:pt x="217" y="443"/>
                  </a:lnTo>
                  <a:lnTo>
                    <a:pt x="217" y="442"/>
                  </a:lnTo>
                  <a:lnTo>
                    <a:pt x="216" y="441"/>
                  </a:lnTo>
                  <a:lnTo>
                    <a:pt x="216" y="440"/>
                  </a:lnTo>
                  <a:lnTo>
                    <a:pt x="215" y="435"/>
                  </a:lnTo>
                  <a:lnTo>
                    <a:pt x="215" y="433"/>
                  </a:lnTo>
                  <a:lnTo>
                    <a:pt x="214" y="432"/>
                  </a:lnTo>
                  <a:lnTo>
                    <a:pt x="214" y="431"/>
                  </a:lnTo>
                  <a:lnTo>
                    <a:pt x="214" y="430"/>
                  </a:lnTo>
                  <a:lnTo>
                    <a:pt x="213" y="429"/>
                  </a:lnTo>
                  <a:lnTo>
                    <a:pt x="213" y="429"/>
                  </a:lnTo>
                  <a:lnTo>
                    <a:pt x="212" y="428"/>
                  </a:lnTo>
                  <a:lnTo>
                    <a:pt x="209" y="425"/>
                  </a:lnTo>
                  <a:lnTo>
                    <a:pt x="206" y="421"/>
                  </a:lnTo>
                  <a:lnTo>
                    <a:pt x="201" y="416"/>
                  </a:lnTo>
                  <a:lnTo>
                    <a:pt x="200" y="415"/>
                  </a:lnTo>
                  <a:lnTo>
                    <a:pt x="200" y="415"/>
                  </a:lnTo>
                  <a:lnTo>
                    <a:pt x="199" y="414"/>
                  </a:lnTo>
                  <a:lnTo>
                    <a:pt x="199" y="413"/>
                  </a:lnTo>
                  <a:lnTo>
                    <a:pt x="198" y="412"/>
                  </a:lnTo>
                  <a:lnTo>
                    <a:pt x="197" y="409"/>
                  </a:lnTo>
                  <a:lnTo>
                    <a:pt x="196" y="408"/>
                  </a:lnTo>
                  <a:lnTo>
                    <a:pt x="195" y="406"/>
                  </a:lnTo>
                  <a:lnTo>
                    <a:pt x="193" y="403"/>
                  </a:lnTo>
                  <a:lnTo>
                    <a:pt x="192" y="402"/>
                  </a:lnTo>
                  <a:lnTo>
                    <a:pt x="191" y="401"/>
                  </a:lnTo>
                  <a:lnTo>
                    <a:pt x="189" y="398"/>
                  </a:lnTo>
                  <a:lnTo>
                    <a:pt x="189" y="397"/>
                  </a:lnTo>
                  <a:lnTo>
                    <a:pt x="188" y="396"/>
                  </a:lnTo>
                  <a:lnTo>
                    <a:pt x="188" y="395"/>
                  </a:lnTo>
                  <a:lnTo>
                    <a:pt x="187" y="395"/>
                  </a:lnTo>
                  <a:lnTo>
                    <a:pt x="184" y="392"/>
                  </a:lnTo>
                  <a:lnTo>
                    <a:pt x="183" y="391"/>
                  </a:lnTo>
                  <a:lnTo>
                    <a:pt x="182" y="390"/>
                  </a:lnTo>
                  <a:lnTo>
                    <a:pt x="181" y="388"/>
                  </a:lnTo>
                  <a:lnTo>
                    <a:pt x="180" y="387"/>
                  </a:lnTo>
                  <a:lnTo>
                    <a:pt x="179" y="387"/>
                  </a:lnTo>
                  <a:lnTo>
                    <a:pt x="177" y="384"/>
                  </a:lnTo>
                  <a:lnTo>
                    <a:pt x="176" y="384"/>
                  </a:lnTo>
                  <a:lnTo>
                    <a:pt x="176" y="383"/>
                  </a:lnTo>
                  <a:lnTo>
                    <a:pt x="175" y="382"/>
                  </a:lnTo>
                  <a:lnTo>
                    <a:pt x="175" y="381"/>
                  </a:lnTo>
                  <a:lnTo>
                    <a:pt x="174" y="380"/>
                  </a:lnTo>
                  <a:lnTo>
                    <a:pt x="174" y="379"/>
                  </a:lnTo>
                  <a:lnTo>
                    <a:pt x="174" y="378"/>
                  </a:lnTo>
                  <a:lnTo>
                    <a:pt x="173" y="374"/>
                  </a:lnTo>
                  <a:lnTo>
                    <a:pt x="173" y="372"/>
                  </a:lnTo>
                  <a:lnTo>
                    <a:pt x="173" y="371"/>
                  </a:lnTo>
                  <a:lnTo>
                    <a:pt x="172" y="370"/>
                  </a:lnTo>
                  <a:lnTo>
                    <a:pt x="172" y="369"/>
                  </a:lnTo>
                  <a:lnTo>
                    <a:pt x="171" y="369"/>
                  </a:lnTo>
                  <a:lnTo>
                    <a:pt x="171" y="368"/>
                  </a:lnTo>
                  <a:lnTo>
                    <a:pt x="170" y="367"/>
                  </a:lnTo>
                  <a:lnTo>
                    <a:pt x="168" y="365"/>
                  </a:lnTo>
                  <a:lnTo>
                    <a:pt x="165" y="362"/>
                  </a:lnTo>
                  <a:lnTo>
                    <a:pt x="162" y="358"/>
                  </a:lnTo>
                  <a:lnTo>
                    <a:pt x="160" y="357"/>
                  </a:lnTo>
                  <a:lnTo>
                    <a:pt x="159" y="355"/>
                  </a:lnTo>
                  <a:lnTo>
                    <a:pt x="158" y="354"/>
                  </a:lnTo>
                  <a:lnTo>
                    <a:pt x="156" y="353"/>
                  </a:lnTo>
                  <a:lnTo>
                    <a:pt x="155" y="353"/>
                  </a:lnTo>
                  <a:lnTo>
                    <a:pt x="155" y="352"/>
                  </a:lnTo>
                  <a:lnTo>
                    <a:pt x="153" y="351"/>
                  </a:lnTo>
                  <a:lnTo>
                    <a:pt x="151" y="350"/>
                  </a:lnTo>
                  <a:lnTo>
                    <a:pt x="150" y="350"/>
                  </a:lnTo>
                  <a:lnTo>
                    <a:pt x="149" y="349"/>
                  </a:lnTo>
                  <a:lnTo>
                    <a:pt x="148" y="349"/>
                  </a:lnTo>
                  <a:lnTo>
                    <a:pt x="145" y="348"/>
                  </a:lnTo>
                  <a:lnTo>
                    <a:pt x="143" y="347"/>
                  </a:lnTo>
                  <a:lnTo>
                    <a:pt x="138" y="346"/>
                  </a:lnTo>
                  <a:lnTo>
                    <a:pt x="136" y="346"/>
                  </a:lnTo>
                  <a:lnTo>
                    <a:pt x="134" y="346"/>
                  </a:lnTo>
                  <a:lnTo>
                    <a:pt x="134" y="346"/>
                  </a:lnTo>
                  <a:lnTo>
                    <a:pt x="133" y="346"/>
                  </a:lnTo>
                  <a:lnTo>
                    <a:pt x="133" y="346"/>
                  </a:lnTo>
                  <a:lnTo>
                    <a:pt x="132" y="346"/>
                  </a:lnTo>
                  <a:lnTo>
                    <a:pt x="131" y="347"/>
                  </a:lnTo>
                  <a:lnTo>
                    <a:pt x="131" y="347"/>
                  </a:lnTo>
                  <a:lnTo>
                    <a:pt x="131" y="348"/>
                  </a:lnTo>
                  <a:lnTo>
                    <a:pt x="130" y="349"/>
                  </a:lnTo>
                  <a:lnTo>
                    <a:pt x="129" y="350"/>
                  </a:lnTo>
                  <a:lnTo>
                    <a:pt x="129" y="350"/>
                  </a:lnTo>
                  <a:lnTo>
                    <a:pt x="129" y="350"/>
                  </a:lnTo>
                  <a:lnTo>
                    <a:pt x="128" y="350"/>
                  </a:lnTo>
                  <a:lnTo>
                    <a:pt x="127" y="351"/>
                  </a:lnTo>
                  <a:lnTo>
                    <a:pt x="127" y="351"/>
                  </a:lnTo>
                  <a:lnTo>
                    <a:pt x="126" y="350"/>
                  </a:lnTo>
                  <a:lnTo>
                    <a:pt x="125" y="350"/>
                  </a:lnTo>
                  <a:lnTo>
                    <a:pt x="122" y="350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7" y="348"/>
                  </a:lnTo>
                  <a:lnTo>
                    <a:pt x="114" y="348"/>
                  </a:lnTo>
                  <a:lnTo>
                    <a:pt x="112" y="348"/>
                  </a:lnTo>
                  <a:lnTo>
                    <a:pt x="110" y="348"/>
                  </a:lnTo>
                  <a:lnTo>
                    <a:pt x="109" y="348"/>
                  </a:lnTo>
                  <a:lnTo>
                    <a:pt x="107" y="347"/>
                  </a:lnTo>
                  <a:lnTo>
                    <a:pt x="106" y="347"/>
                  </a:lnTo>
                  <a:lnTo>
                    <a:pt x="105" y="346"/>
                  </a:lnTo>
                  <a:lnTo>
                    <a:pt x="103" y="346"/>
                  </a:lnTo>
                  <a:lnTo>
                    <a:pt x="102" y="345"/>
                  </a:lnTo>
                  <a:lnTo>
                    <a:pt x="102" y="345"/>
                  </a:lnTo>
                  <a:lnTo>
                    <a:pt x="101" y="344"/>
                  </a:lnTo>
                  <a:lnTo>
                    <a:pt x="100" y="343"/>
                  </a:lnTo>
                  <a:lnTo>
                    <a:pt x="100" y="342"/>
                  </a:lnTo>
                  <a:lnTo>
                    <a:pt x="99" y="342"/>
                  </a:lnTo>
                  <a:lnTo>
                    <a:pt x="98" y="339"/>
                  </a:lnTo>
                  <a:lnTo>
                    <a:pt x="96" y="335"/>
                  </a:lnTo>
                  <a:lnTo>
                    <a:pt x="95" y="334"/>
                  </a:lnTo>
                  <a:lnTo>
                    <a:pt x="94" y="332"/>
                  </a:lnTo>
                  <a:lnTo>
                    <a:pt x="94" y="331"/>
                  </a:lnTo>
                  <a:lnTo>
                    <a:pt x="93" y="328"/>
                  </a:lnTo>
                  <a:lnTo>
                    <a:pt x="92" y="326"/>
                  </a:lnTo>
                  <a:lnTo>
                    <a:pt x="92" y="325"/>
                  </a:lnTo>
                  <a:lnTo>
                    <a:pt x="91" y="324"/>
                  </a:lnTo>
                  <a:lnTo>
                    <a:pt x="91" y="323"/>
                  </a:lnTo>
                  <a:lnTo>
                    <a:pt x="90" y="321"/>
                  </a:lnTo>
                  <a:lnTo>
                    <a:pt x="89" y="320"/>
                  </a:lnTo>
                  <a:lnTo>
                    <a:pt x="88" y="319"/>
                  </a:lnTo>
                  <a:lnTo>
                    <a:pt x="86" y="317"/>
                  </a:lnTo>
                  <a:lnTo>
                    <a:pt x="85" y="316"/>
                  </a:lnTo>
                  <a:lnTo>
                    <a:pt x="79" y="312"/>
                  </a:lnTo>
                  <a:lnTo>
                    <a:pt x="78" y="311"/>
                  </a:lnTo>
                  <a:lnTo>
                    <a:pt x="77" y="310"/>
                  </a:lnTo>
                  <a:lnTo>
                    <a:pt x="76" y="309"/>
                  </a:lnTo>
                  <a:lnTo>
                    <a:pt x="74" y="309"/>
                  </a:lnTo>
                  <a:lnTo>
                    <a:pt x="71" y="307"/>
                  </a:lnTo>
                  <a:lnTo>
                    <a:pt x="69" y="306"/>
                  </a:lnTo>
                  <a:lnTo>
                    <a:pt x="68" y="306"/>
                  </a:lnTo>
                  <a:lnTo>
                    <a:pt x="67" y="305"/>
                  </a:lnTo>
                  <a:lnTo>
                    <a:pt x="66" y="304"/>
                  </a:lnTo>
                  <a:lnTo>
                    <a:pt x="65" y="303"/>
                  </a:lnTo>
                  <a:lnTo>
                    <a:pt x="65" y="303"/>
                  </a:lnTo>
                  <a:lnTo>
                    <a:pt x="65" y="302"/>
                  </a:lnTo>
                  <a:lnTo>
                    <a:pt x="64" y="302"/>
                  </a:lnTo>
                  <a:lnTo>
                    <a:pt x="64" y="301"/>
                  </a:lnTo>
                  <a:lnTo>
                    <a:pt x="64" y="300"/>
                  </a:lnTo>
                  <a:lnTo>
                    <a:pt x="63" y="299"/>
                  </a:lnTo>
                  <a:lnTo>
                    <a:pt x="63" y="298"/>
                  </a:lnTo>
                  <a:lnTo>
                    <a:pt x="62" y="294"/>
                  </a:lnTo>
                  <a:lnTo>
                    <a:pt x="61" y="292"/>
                  </a:lnTo>
                  <a:lnTo>
                    <a:pt x="60" y="290"/>
                  </a:lnTo>
                  <a:lnTo>
                    <a:pt x="59" y="286"/>
                  </a:lnTo>
                  <a:lnTo>
                    <a:pt x="59" y="285"/>
                  </a:lnTo>
                  <a:lnTo>
                    <a:pt x="59" y="284"/>
                  </a:lnTo>
                  <a:lnTo>
                    <a:pt x="59" y="283"/>
                  </a:lnTo>
                  <a:lnTo>
                    <a:pt x="59" y="282"/>
                  </a:lnTo>
                  <a:lnTo>
                    <a:pt x="59" y="281"/>
                  </a:lnTo>
                  <a:lnTo>
                    <a:pt x="59" y="279"/>
                  </a:lnTo>
                  <a:lnTo>
                    <a:pt x="59" y="277"/>
                  </a:lnTo>
                  <a:lnTo>
                    <a:pt x="59" y="275"/>
                  </a:lnTo>
                  <a:lnTo>
                    <a:pt x="59" y="272"/>
                  </a:lnTo>
                  <a:lnTo>
                    <a:pt x="59" y="269"/>
                  </a:lnTo>
                  <a:lnTo>
                    <a:pt x="59" y="267"/>
                  </a:lnTo>
                  <a:lnTo>
                    <a:pt x="59" y="266"/>
                  </a:lnTo>
                  <a:lnTo>
                    <a:pt x="59" y="265"/>
                  </a:lnTo>
                  <a:lnTo>
                    <a:pt x="59" y="264"/>
                  </a:lnTo>
                  <a:lnTo>
                    <a:pt x="58" y="263"/>
                  </a:lnTo>
                  <a:lnTo>
                    <a:pt x="58" y="262"/>
                  </a:lnTo>
                  <a:lnTo>
                    <a:pt x="57" y="261"/>
                  </a:lnTo>
                  <a:lnTo>
                    <a:pt x="57" y="261"/>
                  </a:lnTo>
                  <a:lnTo>
                    <a:pt x="56" y="260"/>
                  </a:lnTo>
                  <a:lnTo>
                    <a:pt x="54" y="259"/>
                  </a:lnTo>
                  <a:lnTo>
                    <a:pt x="52" y="259"/>
                  </a:lnTo>
                  <a:lnTo>
                    <a:pt x="50" y="258"/>
                  </a:lnTo>
                  <a:lnTo>
                    <a:pt x="49" y="257"/>
                  </a:lnTo>
                  <a:lnTo>
                    <a:pt x="49" y="257"/>
                  </a:lnTo>
                  <a:lnTo>
                    <a:pt x="48" y="256"/>
                  </a:lnTo>
                  <a:lnTo>
                    <a:pt x="47" y="256"/>
                  </a:lnTo>
                  <a:lnTo>
                    <a:pt x="47" y="255"/>
                  </a:lnTo>
                  <a:lnTo>
                    <a:pt x="46" y="254"/>
                  </a:lnTo>
                  <a:lnTo>
                    <a:pt x="45" y="253"/>
                  </a:lnTo>
                  <a:lnTo>
                    <a:pt x="44" y="251"/>
                  </a:lnTo>
                  <a:lnTo>
                    <a:pt x="43" y="249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1" y="245"/>
                  </a:lnTo>
                  <a:lnTo>
                    <a:pt x="41" y="244"/>
                  </a:lnTo>
                  <a:lnTo>
                    <a:pt x="40" y="242"/>
                  </a:lnTo>
                  <a:lnTo>
                    <a:pt x="40" y="241"/>
                  </a:lnTo>
                  <a:lnTo>
                    <a:pt x="40" y="240"/>
                  </a:lnTo>
                  <a:lnTo>
                    <a:pt x="39" y="234"/>
                  </a:lnTo>
                  <a:lnTo>
                    <a:pt x="39" y="233"/>
                  </a:lnTo>
                  <a:lnTo>
                    <a:pt x="39" y="231"/>
                  </a:lnTo>
                  <a:lnTo>
                    <a:pt x="39" y="229"/>
                  </a:lnTo>
                  <a:lnTo>
                    <a:pt x="37" y="225"/>
                  </a:lnTo>
                  <a:lnTo>
                    <a:pt x="37" y="223"/>
                  </a:lnTo>
                  <a:lnTo>
                    <a:pt x="36" y="222"/>
                  </a:lnTo>
                  <a:lnTo>
                    <a:pt x="35" y="221"/>
                  </a:lnTo>
                  <a:lnTo>
                    <a:pt x="35" y="220"/>
                  </a:lnTo>
                  <a:lnTo>
                    <a:pt x="34" y="219"/>
                  </a:lnTo>
                  <a:lnTo>
                    <a:pt x="34" y="218"/>
                  </a:lnTo>
                  <a:lnTo>
                    <a:pt x="33" y="218"/>
                  </a:lnTo>
                  <a:lnTo>
                    <a:pt x="32" y="217"/>
                  </a:lnTo>
                  <a:lnTo>
                    <a:pt x="30" y="216"/>
                  </a:lnTo>
                  <a:lnTo>
                    <a:pt x="30" y="216"/>
                  </a:lnTo>
                  <a:lnTo>
                    <a:pt x="29" y="216"/>
                  </a:lnTo>
                  <a:lnTo>
                    <a:pt x="29" y="215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27" y="212"/>
                  </a:lnTo>
                  <a:lnTo>
                    <a:pt x="26" y="211"/>
                  </a:lnTo>
                  <a:lnTo>
                    <a:pt x="26" y="210"/>
                  </a:lnTo>
                  <a:lnTo>
                    <a:pt x="26" y="208"/>
                  </a:lnTo>
                  <a:lnTo>
                    <a:pt x="26" y="207"/>
                  </a:lnTo>
                  <a:lnTo>
                    <a:pt x="25" y="205"/>
                  </a:lnTo>
                  <a:lnTo>
                    <a:pt x="25" y="205"/>
                  </a:lnTo>
                  <a:lnTo>
                    <a:pt x="25" y="204"/>
                  </a:lnTo>
                  <a:lnTo>
                    <a:pt x="26" y="203"/>
                  </a:lnTo>
                  <a:lnTo>
                    <a:pt x="26" y="201"/>
                  </a:lnTo>
                  <a:lnTo>
                    <a:pt x="26" y="198"/>
                  </a:lnTo>
                  <a:lnTo>
                    <a:pt x="27" y="196"/>
                  </a:lnTo>
                  <a:lnTo>
                    <a:pt x="27" y="195"/>
                  </a:lnTo>
                  <a:lnTo>
                    <a:pt x="27" y="194"/>
                  </a:lnTo>
                  <a:lnTo>
                    <a:pt x="27" y="193"/>
                  </a:lnTo>
                  <a:lnTo>
                    <a:pt x="27" y="192"/>
                  </a:lnTo>
                  <a:lnTo>
                    <a:pt x="26" y="191"/>
                  </a:lnTo>
                  <a:lnTo>
                    <a:pt x="26" y="189"/>
                  </a:lnTo>
                  <a:lnTo>
                    <a:pt x="25" y="188"/>
                  </a:lnTo>
                  <a:lnTo>
                    <a:pt x="25" y="188"/>
                  </a:lnTo>
                  <a:lnTo>
                    <a:pt x="24" y="187"/>
                  </a:lnTo>
                  <a:lnTo>
                    <a:pt x="24" y="187"/>
                  </a:lnTo>
                  <a:lnTo>
                    <a:pt x="23" y="186"/>
                  </a:lnTo>
                  <a:lnTo>
                    <a:pt x="22" y="186"/>
                  </a:lnTo>
                  <a:lnTo>
                    <a:pt x="18" y="184"/>
                  </a:lnTo>
                  <a:lnTo>
                    <a:pt x="17" y="184"/>
                  </a:lnTo>
                  <a:lnTo>
                    <a:pt x="16" y="183"/>
                  </a:lnTo>
                  <a:lnTo>
                    <a:pt x="13" y="182"/>
                  </a:lnTo>
                  <a:lnTo>
                    <a:pt x="9" y="179"/>
                  </a:lnTo>
                  <a:lnTo>
                    <a:pt x="6" y="178"/>
                  </a:lnTo>
                  <a:lnTo>
                    <a:pt x="6" y="177"/>
                  </a:lnTo>
                  <a:lnTo>
                    <a:pt x="5" y="176"/>
                  </a:lnTo>
                  <a:lnTo>
                    <a:pt x="4" y="176"/>
                  </a:lnTo>
                  <a:lnTo>
                    <a:pt x="3" y="175"/>
                  </a:lnTo>
                  <a:lnTo>
                    <a:pt x="2" y="174"/>
                  </a:lnTo>
                  <a:lnTo>
                    <a:pt x="2" y="173"/>
                  </a:lnTo>
                  <a:lnTo>
                    <a:pt x="1" y="173"/>
                  </a:lnTo>
                  <a:lnTo>
                    <a:pt x="0" y="172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Freeform 16">
              <a:extLst>
                <a:ext uri="{FF2B5EF4-FFF2-40B4-BE49-F238E27FC236}">
                  <a16:creationId xmlns:a16="http://schemas.microsoft.com/office/drawing/2014/main" id="{30B3E1CB-E442-2EBA-5C94-5D58C039A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301"/>
              <a:ext cx="279" cy="173"/>
            </a:xfrm>
            <a:custGeom>
              <a:avLst/>
              <a:gdLst>
                <a:gd name="T0" fmla="*/ 2 w 279"/>
                <a:gd name="T1" fmla="*/ 162 h 173"/>
                <a:gd name="T2" fmla="*/ 0 w 279"/>
                <a:gd name="T3" fmla="*/ 155 h 173"/>
                <a:gd name="T4" fmla="*/ 2 w 279"/>
                <a:gd name="T5" fmla="*/ 151 h 173"/>
                <a:gd name="T6" fmla="*/ 9 w 279"/>
                <a:gd name="T7" fmla="*/ 146 h 173"/>
                <a:gd name="T8" fmla="*/ 18 w 279"/>
                <a:gd name="T9" fmla="*/ 140 h 173"/>
                <a:gd name="T10" fmla="*/ 19 w 279"/>
                <a:gd name="T11" fmla="*/ 136 h 173"/>
                <a:gd name="T12" fmla="*/ 23 w 279"/>
                <a:gd name="T13" fmla="*/ 120 h 173"/>
                <a:gd name="T14" fmla="*/ 27 w 279"/>
                <a:gd name="T15" fmla="*/ 114 h 173"/>
                <a:gd name="T16" fmla="*/ 31 w 279"/>
                <a:gd name="T17" fmla="*/ 108 h 173"/>
                <a:gd name="T18" fmla="*/ 38 w 279"/>
                <a:gd name="T19" fmla="*/ 96 h 173"/>
                <a:gd name="T20" fmla="*/ 45 w 279"/>
                <a:gd name="T21" fmla="*/ 87 h 173"/>
                <a:gd name="T22" fmla="*/ 52 w 279"/>
                <a:gd name="T23" fmla="*/ 87 h 173"/>
                <a:gd name="T24" fmla="*/ 60 w 279"/>
                <a:gd name="T25" fmla="*/ 89 h 173"/>
                <a:gd name="T26" fmla="*/ 65 w 279"/>
                <a:gd name="T27" fmla="*/ 86 h 173"/>
                <a:gd name="T28" fmla="*/ 71 w 279"/>
                <a:gd name="T29" fmla="*/ 83 h 173"/>
                <a:gd name="T30" fmla="*/ 76 w 279"/>
                <a:gd name="T31" fmla="*/ 84 h 173"/>
                <a:gd name="T32" fmla="*/ 80 w 279"/>
                <a:gd name="T33" fmla="*/ 87 h 173"/>
                <a:gd name="T34" fmla="*/ 83 w 279"/>
                <a:gd name="T35" fmla="*/ 91 h 173"/>
                <a:gd name="T36" fmla="*/ 84 w 279"/>
                <a:gd name="T37" fmla="*/ 90 h 173"/>
                <a:gd name="T38" fmla="*/ 86 w 279"/>
                <a:gd name="T39" fmla="*/ 86 h 173"/>
                <a:gd name="T40" fmla="*/ 91 w 279"/>
                <a:gd name="T41" fmla="*/ 83 h 173"/>
                <a:gd name="T42" fmla="*/ 94 w 279"/>
                <a:gd name="T43" fmla="*/ 80 h 173"/>
                <a:gd name="T44" fmla="*/ 101 w 279"/>
                <a:gd name="T45" fmla="*/ 77 h 173"/>
                <a:gd name="T46" fmla="*/ 110 w 279"/>
                <a:gd name="T47" fmla="*/ 75 h 173"/>
                <a:gd name="T48" fmla="*/ 118 w 279"/>
                <a:gd name="T49" fmla="*/ 73 h 173"/>
                <a:gd name="T50" fmla="*/ 123 w 279"/>
                <a:gd name="T51" fmla="*/ 73 h 173"/>
                <a:gd name="T52" fmla="*/ 132 w 279"/>
                <a:gd name="T53" fmla="*/ 76 h 173"/>
                <a:gd name="T54" fmla="*/ 139 w 279"/>
                <a:gd name="T55" fmla="*/ 78 h 173"/>
                <a:gd name="T56" fmla="*/ 146 w 279"/>
                <a:gd name="T57" fmla="*/ 78 h 173"/>
                <a:gd name="T58" fmla="*/ 151 w 279"/>
                <a:gd name="T59" fmla="*/ 78 h 173"/>
                <a:gd name="T60" fmla="*/ 157 w 279"/>
                <a:gd name="T61" fmla="*/ 80 h 173"/>
                <a:gd name="T62" fmla="*/ 162 w 279"/>
                <a:gd name="T63" fmla="*/ 78 h 173"/>
                <a:gd name="T64" fmla="*/ 168 w 279"/>
                <a:gd name="T65" fmla="*/ 73 h 173"/>
                <a:gd name="T66" fmla="*/ 170 w 279"/>
                <a:gd name="T67" fmla="*/ 65 h 173"/>
                <a:gd name="T68" fmla="*/ 170 w 279"/>
                <a:gd name="T69" fmla="*/ 60 h 173"/>
                <a:gd name="T70" fmla="*/ 173 w 279"/>
                <a:gd name="T71" fmla="*/ 57 h 173"/>
                <a:gd name="T72" fmla="*/ 182 w 279"/>
                <a:gd name="T73" fmla="*/ 53 h 173"/>
                <a:gd name="T74" fmla="*/ 192 w 279"/>
                <a:gd name="T75" fmla="*/ 47 h 173"/>
                <a:gd name="T76" fmla="*/ 200 w 279"/>
                <a:gd name="T77" fmla="*/ 41 h 173"/>
                <a:gd name="T78" fmla="*/ 207 w 279"/>
                <a:gd name="T79" fmla="*/ 34 h 173"/>
                <a:gd name="T80" fmla="*/ 210 w 279"/>
                <a:gd name="T81" fmla="*/ 33 h 173"/>
                <a:gd name="T82" fmla="*/ 217 w 279"/>
                <a:gd name="T83" fmla="*/ 35 h 173"/>
                <a:gd name="T84" fmla="*/ 228 w 279"/>
                <a:gd name="T85" fmla="*/ 36 h 173"/>
                <a:gd name="T86" fmla="*/ 233 w 279"/>
                <a:gd name="T87" fmla="*/ 39 h 173"/>
                <a:gd name="T88" fmla="*/ 241 w 279"/>
                <a:gd name="T89" fmla="*/ 45 h 173"/>
                <a:gd name="T90" fmla="*/ 245 w 279"/>
                <a:gd name="T91" fmla="*/ 47 h 173"/>
                <a:gd name="T92" fmla="*/ 249 w 279"/>
                <a:gd name="T93" fmla="*/ 47 h 173"/>
                <a:gd name="T94" fmla="*/ 250 w 279"/>
                <a:gd name="T95" fmla="*/ 43 h 173"/>
                <a:gd name="T96" fmla="*/ 252 w 279"/>
                <a:gd name="T97" fmla="*/ 32 h 173"/>
                <a:gd name="T98" fmla="*/ 252 w 279"/>
                <a:gd name="T99" fmla="*/ 27 h 173"/>
                <a:gd name="T100" fmla="*/ 255 w 279"/>
                <a:gd name="T101" fmla="*/ 25 h 173"/>
                <a:gd name="T102" fmla="*/ 263 w 279"/>
                <a:gd name="T103" fmla="*/ 23 h 173"/>
                <a:gd name="T104" fmla="*/ 268 w 279"/>
                <a:gd name="T105" fmla="*/ 20 h 173"/>
                <a:gd name="T106" fmla="*/ 269 w 279"/>
                <a:gd name="T107" fmla="*/ 16 h 173"/>
                <a:gd name="T108" fmla="*/ 268 w 279"/>
                <a:gd name="T109" fmla="*/ 14 h 173"/>
                <a:gd name="T110" fmla="*/ 267 w 279"/>
                <a:gd name="T111" fmla="*/ 10 h 173"/>
                <a:gd name="T112" fmla="*/ 269 w 279"/>
                <a:gd name="T113" fmla="*/ 4 h 173"/>
                <a:gd name="T114" fmla="*/ 271 w 279"/>
                <a:gd name="T115" fmla="*/ 2 h 173"/>
                <a:gd name="T116" fmla="*/ 274 w 279"/>
                <a:gd name="T117" fmla="*/ 2 h 173"/>
                <a:gd name="T118" fmla="*/ 278 w 279"/>
                <a:gd name="T119" fmla="*/ 1 h 173"/>
                <a:gd name="T120" fmla="*/ 279 w 279"/>
                <a:gd name="T121" fmla="*/ 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9" h="173">
                  <a:moveTo>
                    <a:pt x="8" y="173"/>
                  </a:moveTo>
                  <a:lnTo>
                    <a:pt x="7" y="170"/>
                  </a:lnTo>
                  <a:lnTo>
                    <a:pt x="5" y="167"/>
                  </a:lnTo>
                  <a:lnTo>
                    <a:pt x="3" y="163"/>
                  </a:lnTo>
                  <a:lnTo>
                    <a:pt x="2" y="162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6"/>
                  </a:lnTo>
                  <a:lnTo>
                    <a:pt x="0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6" y="147"/>
                  </a:lnTo>
                  <a:lnTo>
                    <a:pt x="9" y="146"/>
                  </a:lnTo>
                  <a:lnTo>
                    <a:pt x="14" y="143"/>
                  </a:lnTo>
                  <a:lnTo>
                    <a:pt x="15" y="142"/>
                  </a:lnTo>
                  <a:lnTo>
                    <a:pt x="16" y="141"/>
                  </a:lnTo>
                  <a:lnTo>
                    <a:pt x="17" y="140"/>
                  </a:lnTo>
                  <a:lnTo>
                    <a:pt x="18" y="140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9" y="138"/>
                  </a:lnTo>
                  <a:lnTo>
                    <a:pt x="19" y="137"/>
                  </a:lnTo>
                  <a:lnTo>
                    <a:pt x="19" y="136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21" y="128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3" y="119"/>
                  </a:lnTo>
                  <a:lnTo>
                    <a:pt x="24" y="118"/>
                  </a:lnTo>
                  <a:lnTo>
                    <a:pt x="25" y="117"/>
                  </a:lnTo>
                  <a:lnTo>
                    <a:pt x="26" y="116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9" y="112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3" y="106"/>
                  </a:lnTo>
                  <a:lnTo>
                    <a:pt x="34" y="105"/>
                  </a:lnTo>
                  <a:lnTo>
                    <a:pt x="35" y="103"/>
                  </a:lnTo>
                  <a:lnTo>
                    <a:pt x="37" y="98"/>
                  </a:lnTo>
                  <a:lnTo>
                    <a:pt x="38" y="96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2"/>
                  </a:lnTo>
                  <a:lnTo>
                    <a:pt x="44" y="88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2" y="87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89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5" y="86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8" y="84"/>
                  </a:lnTo>
                  <a:lnTo>
                    <a:pt x="69" y="84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8" y="85"/>
                  </a:lnTo>
                  <a:lnTo>
                    <a:pt x="79" y="86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1" y="89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89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7"/>
                  </a:lnTo>
                  <a:lnTo>
                    <a:pt x="86" y="86"/>
                  </a:lnTo>
                  <a:lnTo>
                    <a:pt x="87" y="86"/>
                  </a:lnTo>
                  <a:lnTo>
                    <a:pt x="88" y="85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1" y="77"/>
                  </a:lnTo>
                  <a:lnTo>
                    <a:pt x="103" y="77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9" y="75"/>
                  </a:lnTo>
                  <a:lnTo>
                    <a:pt x="110" y="75"/>
                  </a:lnTo>
                  <a:lnTo>
                    <a:pt x="112" y="75"/>
                  </a:lnTo>
                  <a:lnTo>
                    <a:pt x="113" y="75"/>
                  </a:lnTo>
                  <a:lnTo>
                    <a:pt x="114" y="75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0" y="73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7" y="75"/>
                  </a:lnTo>
                  <a:lnTo>
                    <a:pt x="132" y="76"/>
                  </a:lnTo>
                  <a:lnTo>
                    <a:pt x="133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8"/>
                  </a:lnTo>
                  <a:lnTo>
                    <a:pt x="142" y="78"/>
                  </a:lnTo>
                  <a:lnTo>
                    <a:pt x="144" y="78"/>
                  </a:lnTo>
                  <a:lnTo>
                    <a:pt x="146" y="78"/>
                  </a:lnTo>
                  <a:lnTo>
                    <a:pt x="147" y="78"/>
                  </a:lnTo>
                  <a:lnTo>
                    <a:pt x="148" y="77"/>
                  </a:lnTo>
                  <a:lnTo>
                    <a:pt x="149" y="77"/>
                  </a:lnTo>
                  <a:lnTo>
                    <a:pt x="150" y="78"/>
                  </a:lnTo>
                  <a:lnTo>
                    <a:pt x="151" y="78"/>
                  </a:lnTo>
                  <a:lnTo>
                    <a:pt x="152" y="78"/>
                  </a:lnTo>
                  <a:lnTo>
                    <a:pt x="155" y="79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7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7" y="74"/>
                  </a:lnTo>
                  <a:lnTo>
                    <a:pt x="168" y="73"/>
                  </a:lnTo>
                  <a:lnTo>
                    <a:pt x="168" y="72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70" y="66"/>
                  </a:lnTo>
                  <a:lnTo>
                    <a:pt x="170" y="65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1" y="59"/>
                  </a:lnTo>
                  <a:lnTo>
                    <a:pt x="171" y="58"/>
                  </a:lnTo>
                  <a:lnTo>
                    <a:pt x="172" y="58"/>
                  </a:lnTo>
                  <a:lnTo>
                    <a:pt x="172" y="57"/>
                  </a:lnTo>
                  <a:lnTo>
                    <a:pt x="173" y="57"/>
                  </a:lnTo>
                  <a:lnTo>
                    <a:pt x="174" y="57"/>
                  </a:lnTo>
                  <a:lnTo>
                    <a:pt x="176" y="56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92" y="47"/>
                  </a:lnTo>
                  <a:lnTo>
                    <a:pt x="194" y="45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0" y="42"/>
                  </a:lnTo>
                  <a:lnTo>
                    <a:pt x="200" y="41"/>
                  </a:lnTo>
                  <a:lnTo>
                    <a:pt x="202" y="40"/>
                  </a:lnTo>
                  <a:lnTo>
                    <a:pt x="203" y="38"/>
                  </a:lnTo>
                  <a:lnTo>
                    <a:pt x="205" y="37"/>
                  </a:lnTo>
                  <a:lnTo>
                    <a:pt x="207" y="35"/>
                  </a:lnTo>
                  <a:lnTo>
                    <a:pt x="207" y="34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7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6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2" y="38"/>
                  </a:lnTo>
                  <a:lnTo>
                    <a:pt x="233" y="39"/>
                  </a:lnTo>
                  <a:lnTo>
                    <a:pt x="235" y="41"/>
                  </a:lnTo>
                  <a:lnTo>
                    <a:pt x="236" y="41"/>
                  </a:lnTo>
                  <a:lnTo>
                    <a:pt x="237" y="42"/>
                  </a:lnTo>
                  <a:lnTo>
                    <a:pt x="240" y="44"/>
                  </a:lnTo>
                  <a:lnTo>
                    <a:pt x="241" y="45"/>
                  </a:lnTo>
                  <a:lnTo>
                    <a:pt x="242" y="46"/>
                  </a:lnTo>
                  <a:lnTo>
                    <a:pt x="243" y="46"/>
                  </a:lnTo>
                  <a:lnTo>
                    <a:pt x="244" y="47"/>
                  </a:lnTo>
                  <a:lnTo>
                    <a:pt x="245" y="47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7"/>
                  </a:lnTo>
                  <a:lnTo>
                    <a:pt x="249" y="47"/>
                  </a:lnTo>
                  <a:lnTo>
                    <a:pt x="249" y="46"/>
                  </a:lnTo>
                  <a:lnTo>
                    <a:pt x="250" y="46"/>
                  </a:lnTo>
                  <a:lnTo>
                    <a:pt x="250" y="45"/>
                  </a:lnTo>
                  <a:lnTo>
                    <a:pt x="250" y="44"/>
                  </a:lnTo>
                  <a:lnTo>
                    <a:pt x="250" y="43"/>
                  </a:lnTo>
                  <a:lnTo>
                    <a:pt x="252" y="37"/>
                  </a:lnTo>
                  <a:lnTo>
                    <a:pt x="252" y="36"/>
                  </a:lnTo>
                  <a:lnTo>
                    <a:pt x="252" y="35"/>
                  </a:lnTo>
                  <a:lnTo>
                    <a:pt x="252" y="34"/>
                  </a:lnTo>
                  <a:lnTo>
                    <a:pt x="252" y="32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2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3" y="26"/>
                  </a:lnTo>
                  <a:lnTo>
                    <a:pt x="254" y="26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7" y="25"/>
                  </a:lnTo>
                  <a:lnTo>
                    <a:pt x="259" y="24"/>
                  </a:lnTo>
                  <a:lnTo>
                    <a:pt x="262" y="23"/>
                  </a:lnTo>
                  <a:lnTo>
                    <a:pt x="263" y="23"/>
                  </a:lnTo>
                  <a:lnTo>
                    <a:pt x="264" y="22"/>
                  </a:lnTo>
                  <a:lnTo>
                    <a:pt x="265" y="21"/>
                  </a:lnTo>
                  <a:lnTo>
                    <a:pt x="266" y="21"/>
                  </a:lnTo>
                  <a:lnTo>
                    <a:pt x="267" y="20"/>
                  </a:lnTo>
                  <a:lnTo>
                    <a:pt x="268" y="20"/>
                  </a:lnTo>
                  <a:lnTo>
                    <a:pt x="268" y="19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7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4"/>
                  </a:lnTo>
                  <a:lnTo>
                    <a:pt x="268" y="14"/>
                  </a:lnTo>
                  <a:lnTo>
                    <a:pt x="268" y="12"/>
                  </a:lnTo>
                  <a:lnTo>
                    <a:pt x="267" y="12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0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8" y="7"/>
                  </a:lnTo>
                  <a:lnTo>
                    <a:pt x="268" y="6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70" y="3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6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79" y="0"/>
                  </a:lnTo>
                  <a:lnTo>
                    <a:pt x="279" y="1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Freeform 17">
              <a:extLst>
                <a:ext uri="{FF2B5EF4-FFF2-40B4-BE49-F238E27FC236}">
                  <a16:creationId xmlns:a16="http://schemas.microsoft.com/office/drawing/2014/main" id="{AAF38B95-A98F-B4B5-D8A1-071E4498F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" y="3133"/>
              <a:ext cx="354" cy="259"/>
            </a:xfrm>
            <a:custGeom>
              <a:avLst/>
              <a:gdLst>
                <a:gd name="T0" fmla="*/ 244 w 354"/>
                <a:gd name="T1" fmla="*/ 19 h 259"/>
                <a:gd name="T2" fmla="*/ 262 w 354"/>
                <a:gd name="T3" fmla="*/ 31 h 259"/>
                <a:gd name="T4" fmla="*/ 289 w 354"/>
                <a:gd name="T5" fmla="*/ 36 h 259"/>
                <a:gd name="T6" fmla="*/ 298 w 354"/>
                <a:gd name="T7" fmla="*/ 48 h 259"/>
                <a:gd name="T8" fmla="*/ 305 w 354"/>
                <a:gd name="T9" fmla="*/ 51 h 259"/>
                <a:gd name="T10" fmla="*/ 329 w 354"/>
                <a:gd name="T11" fmla="*/ 51 h 259"/>
                <a:gd name="T12" fmla="*/ 336 w 354"/>
                <a:gd name="T13" fmla="*/ 63 h 259"/>
                <a:gd name="T14" fmla="*/ 333 w 354"/>
                <a:gd name="T15" fmla="*/ 85 h 259"/>
                <a:gd name="T16" fmla="*/ 335 w 354"/>
                <a:gd name="T17" fmla="*/ 104 h 259"/>
                <a:gd name="T18" fmla="*/ 340 w 354"/>
                <a:gd name="T19" fmla="*/ 118 h 259"/>
                <a:gd name="T20" fmla="*/ 349 w 354"/>
                <a:gd name="T21" fmla="*/ 141 h 259"/>
                <a:gd name="T22" fmla="*/ 347 w 354"/>
                <a:gd name="T23" fmla="*/ 150 h 259"/>
                <a:gd name="T24" fmla="*/ 336 w 354"/>
                <a:gd name="T25" fmla="*/ 152 h 259"/>
                <a:gd name="T26" fmla="*/ 345 w 354"/>
                <a:gd name="T27" fmla="*/ 158 h 259"/>
                <a:gd name="T28" fmla="*/ 352 w 354"/>
                <a:gd name="T29" fmla="*/ 171 h 259"/>
                <a:gd name="T30" fmla="*/ 351 w 354"/>
                <a:gd name="T31" fmla="*/ 182 h 259"/>
                <a:gd name="T32" fmla="*/ 344 w 354"/>
                <a:gd name="T33" fmla="*/ 191 h 259"/>
                <a:gd name="T34" fmla="*/ 334 w 354"/>
                <a:gd name="T35" fmla="*/ 202 h 259"/>
                <a:gd name="T36" fmla="*/ 327 w 354"/>
                <a:gd name="T37" fmla="*/ 215 h 259"/>
                <a:gd name="T38" fmla="*/ 308 w 354"/>
                <a:gd name="T39" fmla="*/ 204 h 259"/>
                <a:gd name="T40" fmla="*/ 289 w 354"/>
                <a:gd name="T41" fmla="*/ 203 h 259"/>
                <a:gd name="T42" fmla="*/ 262 w 354"/>
                <a:gd name="T43" fmla="*/ 222 h 259"/>
                <a:gd name="T44" fmla="*/ 252 w 354"/>
                <a:gd name="T45" fmla="*/ 234 h 259"/>
                <a:gd name="T46" fmla="*/ 238 w 354"/>
                <a:gd name="T47" fmla="*/ 248 h 259"/>
                <a:gd name="T48" fmla="*/ 220 w 354"/>
                <a:gd name="T49" fmla="*/ 246 h 259"/>
                <a:gd name="T50" fmla="*/ 199 w 354"/>
                <a:gd name="T51" fmla="*/ 242 h 259"/>
                <a:gd name="T52" fmla="*/ 176 w 354"/>
                <a:gd name="T53" fmla="*/ 248 h 259"/>
                <a:gd name="T54" fmla="*/ 166 w 354"/>
                <a:gd name="T55" fmla="*/ 258 h 259"/>
                <a:gd name="T56" fmla="*/ 157 w 354"/>
                <a:gd name="T57" fmla="*/ 251 h 259"/>
                <a:gd name="T58" fmla="*/ 141 w 354"/>
                <a:gd name="T59" fmla="*/ 257 h 259"/>
                <a:gd name="T60" fmla="*/ 124 w 354"/>
                <a:gd name="T61" fmla="*/ 247 h 259"/>
                <a:gd name="T62" fmla="*/ 107 w 354"/>
                <a:gd name="T63" fmla="*/ 233 h 259"/>
                <a:gd name="T64" fmla="*/ 110 w 354"/>
                <a:gd name="T65" fmla="*/ 220 h 259"/>
                <a:gd name="T66" fmla="*/ 95 w 354"/>
                <a:gd name="T67" fmla="*/ 213 h 259"/>
                <a:gd name="T68" fmla="*/ 80 w 354"/>
                <a:gd name="T69" fmla="*/ 201 h 259"/>
                <a:gd name="T70" fmla="*/ 61 w 354"/>
                <a:gd name="T71" fmla="*/ 187 h 259"/>
                <a:gd name="T72" fmla="*/ 46 w 354"/>
                <a:gd name="T73" fmla="*/ 177 h 259"/>
                <a:gd name="T74" fmla="*/ 39 w 354"/>
                <a:gd name="T75" fmla="*/ 163 h 259"/>
                <a:gd name="T76" fmla="*/ 27 w 354"/>
                <a:gd name="T77" fmla="*/ 150 h 259"/>
                <a:gd name="T78" fmla="*/ 30 w 354"/>
                <a:gd name="T79" fmla="*/ 125 h 259"/>
                <a:gd name="T80" fmla="*/ 18 w 354"/>
                <a:gd name="T81" fmla="*/ 106 h 259"/>
                <a:gd name="T82" fmla="*/ 3 w 354"/>
                <a:gd name="T83" fmla="*/ 94 h 259"/>
                <a:gd name="T84" fmla="*/ 2 w 354"/>
                <a:gd name="T85" fmla="*/ 84 h 259"/>
                <a:gd name="T86" fmla="*/ 9 w 354"/>
                <a:gd name="T87" fmla="*/ 73 h 259"/>
                <a:gd name="T88" fmla="*/ 4 w 354"/>
                <a:gd name="T89" fmla="*/ 58 h 259"/>
                <a:gd name="T90" fmla="*/ 23 w 354"/>
                <a:gd name="T91" fmla="*/ 58 h 259"/>
                <a:gd name="T92" fmla="*/ 32 w 354"/>
                <a:gd name="T93" fmla="*/ 77 h 259"/>
                <a:gd name="T94" fmla="*/ 47 w 354"/>
                <a:gd name="T95" fmla="*/ 87 h 259"/>
                <a:gd name="T96" fmla="*/ 45 w 354"/>
                <a:gd name="T97" fmla="*/ 94 h 259"/>
                <a:gd name="T98" fmla="*/ 54 w 354"/>
                <a:gd name="T99" fmla="*/ 112 h 259"/>
                <a:gd name="T100" fmla="*/ 58 w 354"/>
                <a:gd name="T101" fmla="*/ 126 h 259"/>
                <a:gd name="T102" fmla="*/ 67 w 354"/>
                <a:gd name="T103" fmla="*/ 121 h 259"/>
                <a:gd name="T104" fmla="*/ 69 w 354"/>
                <a:gd name="T105" fmla="*/ 99 h 259"/>
                <a:gd name="T106" fmla="*/ 75 w 354"/>
                <a:gd name="T107" fmla="*/ 90 h 259"/>
                <a:gd name="T108" fmla="*/ 88 w 354"/>
                <a:gd name="T109" fmla="*/ 69 h 259"/>
                <a:gd name="T110" fmla="*/ 100 w 354"/>
                <a:gd name="T111" fmla="*/ 55 h 259"/>
                <a:gd name="T112" fmla="*/ 116 w 354"/>
                <a:gd name="T113" fmla="*/ 43 h 259"/>
                <a:gd name="T114" fmla="*/ 128 w 354"/>
                <a:gd name="T115" fmla="*/ 26 h 259"/>
                <a:gd name="T116" fmla="*/ 171 w 354"/>
                <a:gd name="T117" fmla="*/ 21 h 259"/>
                <a:gd name="T118" fmla="*/ 191 w 354"/>
                <a:gd name="T119" fmla="*/ 14 h 259"/>
                <a:gd name="T120" fmla="*/ 208 w 354"/>
                <a:gd name="T121" fmla="*/ 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4" h="259">
                  <a:moveTo>
                    <a:pt x="217" y="0"/>
                  </a:moveTo>
                  <a:lnTo>
                    <a:pt x="218" y="1"/>
                  </a:lnTo>
                  <a:lnTo>
                    <a:pt x="220" y="2"/>
                  </a:lnTo>
                  <a:lnTo>
                    <a:pt x="221" y="3"/>
                  </a:lnTo>
                  <a:lnTo>
                    <a:pt x="226" y="6"/>
                  </a:lnTo>
                  <a:lnTo>
                    <a:pt x="231" y="10"/>
                  </a:lnTo>
                  <a:lnTo>
                    <a:pt x="233" y="12"/>
                  </a:lnTo>
                  <a:lnTo>
                    <a:pt x="235" y="12"/>
                  </a:lnTo>
                  <a:lnTo>
                    <a:pt x="237" y="14"/>
                  </a:lnTo>
                  <a:lnTo>
                    <a:pt x="239" y="16"/>
                  </a:lnTo>
                  <a:lnTo>
                    <a:pt x="240" y="16"/>
                  </a:lnTo>
                  <a:lnTo>
                    <a:pt x="241" y="17"/>
                  </a:lnTo>
                  <a:lnTo>
                    <a:pt x="242" y="18"/>
                  </a:lnTo>
                  <a:lnTo>
                    <a:pt x="243" y="18"/>
                  </a:lnTo>
                  <a:lnTo>
                    <a:pt x="244" y="19"/>
                  </a:lnTo>
                  <a:lnTo>
                    <a:pt x="246" y="20"/>
                  </a:lnTo>
                  <a:lnTo>
                    <a:pt x="248" y="22"/>
                  </a:lnTo>
                  <a:lnTo>
                    <a:pt x="249" y="23"/>
                  </a:lnTo>
                  <a:lnTo>
                    <a:pt x="251" y="25"/>
                  </a:lnTo>
                  <a:lnTo>
                    <a:pt x="251" y="26"/>
                  </a:lnTo>
                  <a:lnTo>
                    <a:pt x="252" y="26"/>
                  </a:lnTo>
                  <a:lnTo>
                    <a:pt x="252" y="26"/>
                  </a:lnTo>
                  <a:lnTo>
                    <a:pt x="253" y="26"/>
                  </a:lnTo>
                  <a:lnTo>
                    <a:pt x="253" y="26"/>
                  </a:lnTo>
                  <a:lnTo>
                    <a:pt x="253" y="26"/>
                  </a:lnTo>
                  <a:lnTo>
                    <a:pt x="257" y="29"/>
                  </a:lnTo>
                  <a:lnTo>
                    <a:pt x="259" y="30"/>
                  </a:lnTo>
                  <a:lnTo>
                    <a:pt x="260" y="30"/>
                  </a:lnTo>
                  <a:lnTo>
                    <a:pt x="260" y="31"/>
                  </a:lnTo>
                  <a:lnTo>
                    <a:pt x="262" y="31"/>
                  </a:lnTo>
                  <a:lnTo>
                    <a:pt x="265" y="32"/>
                  </a:lnTo>
                  <a:lnTo>
                    <a:pt x="267" y="32"/>
                  </a:lnTo>
                  <a:lnTo>
                    <a:pt x="269" y="32"/>
                  </a:lnTo>
                  <a:lnTo>
                    <a:pt x="272" y="32"/>
                  </a:lnTo>
                  <a:lnTo>
                    <a:pt x="273" y="33"/>
                  </a:lnTo>
                  <a:lnTo>
                    <a:pt x="275" y="33"/>
                  </a:lnTo>
                  <a:lnTo>
                    <a:pt x="278" y="34"/>
                  </a:lnTo>
                  <a:lnTo>
                    <a:pt x="280" y="35"/>
                  </a:lnTo>
                  <a:lnTo>
                    <a:pt x="281" y="35"/>
                  </a:lnTo>
                  <a:lnTo>
                    <a:pt x="283" y="35"/>
                  </a:lnTo>
                  <a:lnTo>
                    <a:pt x="285" y="35"/>
                  </a:lnTo>
                  <a:lnTo>
                    <a:pt x="287" y="35"/>
                  </a:lnTo>
                  <a:lnTo>
                    <a:pt x="288" y="36"/>
                  </a:lnTo>
                  <a:lnTo>
                    <a:pt x="289" y="36"/>
                  </a:lnTo>
                  <a:lnTo>
                    <a:pt x="289" y="36"/>
                  </a:lnTo>
                  <a:lnTo>
                    <a:pt x="291" y="37"/>
                  </a:lnTo>
                  <a:lnTo>
                    <a:pt x="294" y="38"/>
                  </a:lnTo>
                  <a:lnTo>
                    <a:pt x="295" y="39"/>
                  </a:lnTo>
                  <a:lnTo>
                    <a:pt x="295" y="39"/>
                  </a:lnTo>
                  <a:lnTo>
                    <a:pt x="296" y="40"/>
                  </a:lnTo>
                  <a:lnTo>
                    <a:pt x="296" y="40"/>
                  </a:lnTo>
                  <a:lnTo>
                    <a:pt x="296" y="41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7" y="42"/>
                  </a:lnTo>
                  <a:lnTo>
                    <a:pt x="297" y="43"/>
                  </a:lnTo>
                  <a:lnTo>
                    <a:pt x="298" y="44"/>
                  </a:lnTo>
                  <a:lnTo>
                    <a:pt x="298" y="46"/>
                  </a:lnTo>
                  <a:lnTo>
                    <a:pt x="298" y="47"/>
                  </a:lnTo>
                  <a:lnTo>
                    <a:pt x="298" y="48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9" y="50"/>
                  </a:lnTo>
                  <a:lnTo>
                    <a:pt x="299" y="50"/>
                  </a:lnTo>
                  <a:lnTo>
                    <a:pt x="299" y="51"/>
                  </a:lnTo>
                  <a:lnTo>
                    <a:pt x="300" y="51"/>
                  </a:lnTo>
                  <a:lnTo>
                    <a:pt x="300" y="51"/>
                  </a:lnTo>
                  <a:lnTo>
                    <a:pt x="301" y="51"/>
                  </a:lnTo>
                  <a:lnTo>
                    <a:pt x="301" y="51"/>
                  </a:lnTo>
                  <a:lnTo>
                    <a:pt x="302" y="51"/>
                  </a:lnTo>
                  <a:lnTo>
                    <a:pt x="302" y="51"/>
                  </a:lnTo>
                  <a:lnTo>
                    <a:pt x="303" y="51"/>
                  </a:lnTo>
                  <a:lnTo>
                    <a:pt x="304" y="51"/>
                  </a:lnTo>
                  <a:lnTo>
                    <a:pt x="305" y="51"/>
                  </a:lnTo>
                  <a:lnTo>
                    <a:pt x="307" y="51"/>
                  </a:lnTo>
                  <a:lnTo>
                    <a:pt x="308" y="50"/>
                  </a:lnTo>
                  <a:lnTo>
                    <a:pt x="308" y="50"/>
                  </a:lnTo>
                  <a:lnTo>
                    <a:pt x="310" y="50"/>
                  </a:lnTo>
                  <a:lnTo>
                    <a:pt x="311" y="51"/>
                  </a:lnTo>
                  <a:lnTo>
                    <a:pt x="315" y="51"/>
                  </a:lnTo>
                  <a:lnTo>
                    <a:pt x="317" y="51"/>
                  </a:lnTo>
                  <a:lnTo>
                    <a:pt x="318" y="51"/>
                  </a:lnTo>
                  <a:lnTo>
                    <a:pt x="321" y="51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7" y="51"/>
                  </a:lnTo>
                  <a:lnTo>
                    <a:pt x="328" y="51"/>
                  </a:lnTo>
                  <a:lnTo>
                    <a:pt x="328" y="51"/>
                  </a:lnTo>
                  <a:lnTo>
                    <a:pt x="329" y="51"/>
                  </a:lnTo>
                  <a:lnTo>
                    <a:pt x="329" y="51"/>
                  </a:lnTo>
                  <a:lnTo>
                    <a:pt x="330" y="51"/>
                  </a:lnTo>
                  <a:lnTo>
                    <a:pt x="331" y="52"/>
                  </a:lnTo>
                  <a:lnTo>
                    <a:pt x="332" y="52"/>
                  </a:lnTo>
                  <a:lnTo>
                    <a:pt x="332" y="53"/>
                  </a:lnTo>
                  <a:lnTo>
                    <a:pt x="333" y="54"/>
                  </a:lnTo>
                  <a:lnTo>
                    <a:pt x="333" y="54"/>
                  </a:lnTo>
                  <a:lnTo>
                    <a:pt x="334" y="55"/>
                  </a:lnTo>
                  <a:lnTo>
                    <a:pt x="334" y="56"/>
                  </a:lnTo>
                  <a:lnTo>
                    <a:pt x="335" y="58"/>
                  </a:lnTo>
                  <a:lnTo>
                    <a:pt x="336" y="59"/>
                  </a:lnTo>
                  <a:lnTo>
                    <a:pt x="336" y="60"/>
                  </a:lnTo>
                  <a:lnTo>
                    <a:pt x="336" y="61"/>
                  </a:lnTo>
                  <a:lnTo>
                    <a:pt x="336" y="62"/>
                  </a:lnTo>
                  <a:lnTo>
                    <a:pt x="336" y="63"/>
                  </a:lnTo>
                  <a:lnTo>
                    <a:pt x="336" y="64"/>
                  </a:lnTo>
                  <a:lnTo>
                    <a:pt x="336" y="66"/>
                  </a:lnTo>
                  <a:lnTo>
                    <a:pt x="336" y="67"/>
                  </a:lnTo>
                  <a:lnTo>
                    <a:pt x="335" y="69"/>
                  </a:lnTo>
                  <a:lnTo>
                    <a:pt x="335" y="70"/>
                  </a:lnTo>
                  <a:lnTo>
                    <a:pt x="335" y="71"/>
                  </a:lnTo>
                  <a:lnTo>
                    <a:pt x="335" y="72"/>
                  </a:lnTo>
                  <a:lnTo>
                    <a:pt x="335" y="73"/>
                  </a:lnTo>
                  <a:lnTo>
                    <a:pt x="335" y="76"/>
                  </a:lnTo>
                  <a:lnTo>
                    <a:pt x="335" y="76"/>
                  </a:lnTo>
                  <a:lnTo>
                    <a:pt x="335" y="77"/>
                  </a:lnTo>
                  <a:lnTo>
                    <a:pt x="334" y="78"/>
                  </a:lnTo>
                  <a:lnTo>
                    <a:pt x="334" y="80"/>
                  </a:lnTo>
                  <a:lnTo>
                    <a:pt x="333" y="84"/>
                  </a:lnTo>
                  <a:lnTo>
                    <a:pt x="333" y="85"/>
                  </a:lnTo>
                  <a:lnTo>
                    <a:pt x="333" y="86"/>
                  </a:lnTo>
                  <a:lnTo>
                    <a:pt x="333" y="87"/>
                  </a:lnTo>
                  <a:lnTo>
                    <a:pt x="333" y="88"/>
                  </a:lnTo>
                  <a:lnTo>
                    <a:pt x="333" y="89"/>
                  </a:lnTo>
                  <a:lnTo>
                    <a:pt x="334" y="91"/>
                  </a:lnTo>
                  <a:lnTo>
                    <a:pt x="334" y="92"/>
                  </a:lnTo>
                  <a:lnTo>
                    <a:pt x="335" y="94"/>
                  </a:lnTo>
                  <a:lnTo>
                    <a:pt x="335" y="96"/>
                  </a:lnTo>
                  <a:lnTo>
                    <a:pt x="335" y="98"/>
                  </a:lnTo>
                  <a:lnTo>
                    <a:pt x="335" y="99"/>
                  </a:lnTo>
                  <a:lnTo>
                    <a:pt x="335" y="100"/>
                  </a:lnTo>
                  <a:lnTo>
                    <a:pt x="335" y="102"/>
                  </a:lnTo>
                  <a:lnTo>
                    <a:pt x="335" y="103"/>
                  </a:lnTo>
                  <a:lnTo>
                    <a:pt x="334" y="103"/>
                  </a:lnTo>
                  <a:lnTo>
                    <a:pt x="335" y="104"/>
                  </a:lnTo>
                  <a:lnTo>
                    <a:pt x="335" y="105"/>
                  </a:lnTo>
                  <a:lnTo>
                    <a:pt x="335" y="105"/>
                  </a:lnTo>
                  <a:lnTo>
                    <a:pt x="335" y="106"/>
                  </a:lnTo>
                  <a:lnTo>
                    <a:pt x="336" y="106"/>
                  </a:lnTo>
                  <a:lnTo>
                    <a:pt x="336" y="107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9" y="110"/>
                  </a:lnTo>
                  <a:lnTo>
                    <a:pt x="339" y="111"/>
                  </a:lnTo>
                  <a:lnTo>
                    <a:pt x="339" y="111"/>
                  </a:lnTo>
                  <a:lnTo>
                    <a:pt x="340" y="113"/>
                  </a:lnTo>
                  <a:lnTo>
                    <a:pt x="340" y="114"/>
                  </a:lnTo>
                  <a:lnTo>
                    <a:pt x="340" y="117"/>
                  </a:lnTo>
                  <a:lnTo>
                    <a:pt x="340" y="118"/>
                  </a:lnTo>
                  <a:lnTo>
                    <a:pt x="340" y="118"/>
                  </a:lnTo>
                  <a:lnTo>
                    <a:pt x="340" y="119"/>
                  </a:lnTo>
                  <a:lnTo>
                    <a:pt x="340" y="119"/>
                  </a:lnTo>
                  <a:lnTo>
                    <a:pt x="342" y="122"/>
                  </a:lnTo>
                  <a:lnTo>
                    <a:pt x="343" y="123"/>
                  </a:lnTo>
                  <a:lnTo>
                    <a:pt x="344" y="125"/>
                  </a:lnTo>
                  <a:lnTo>
                    <a:pt x="345" y="127"/>
                  </a:lnTo>
                  <a:lnTo>
                    <a:pt x="347" y="131"/>
                  </a:lnTo>
                  <a:lnTo>
                    <a:pt x="347" y="133"/>
                  </a:lnTo>
                  <a:lnTo>
                    <a:pt x="348" y="134"/>
                  </a:lnTo>
                  <a:lnTo>
                    <a:pt x="348" y="137"/>
                  </a:lnTo>
                  <a:lnTo>
                    <a:pt x="349" y="138"/>
                  </a:lnTo>
                  <a:lnTo>
                    <a:pt x="349" y="139"/>
                  </a:lnTo>
                  <a:lnTo>
                    <a:pt x="349" y="139"/>
                  </a:lnTo>
                  <a:lnTo>
                    <a:pt x="349" y="140"/>
                  </a:lnTo>
                  <a:lnTo>
                    <a:pt x="349" y="141"/>
                  </a:lnTo>
                  <a:lnTo>
                    <a:pt x="348" y="141"/>
                  </a:lnTo>
                  <a:lnTo>
                    <a:pt x="348" y="142"/>
                  </a:lnTo>
                  <a:lnTo>
                    <a:pt x="348" y="142"/>
                  </a:lnTo>
                  <a:lnTo>
                    <a:pt x="347" y="143"/>
                  </a:lnTo>
                  <a:lnTo>
                    <a:pt x="347" y="144"/>
                  </a:lnTo>
                  <a:lnTo>
                    <a:pt x="347" y="144"/>
                  </a:lnTo>
                  <a:lnTo>
                    <a:pt x="347" y="145"/>
                  </a:lnTo>
                  <a:lnTo>
                    <a:pt x="347" y="146"/>
                  </a:lnTo>
                  <a:lnTo>
                    <a:pt x="347" y="148"/>
                  </a:lnTo>
                  <a:lnTo>
                    <a:pt x="348" y="149"/>
                  </a:lnTo>
                  <a:lnTo>
                    <a:pt x="348" y="149"/>
                  </a:lnTo>
                  <a:lnTo>
                    <a:pt x="348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1"/>
                  </a:lnTo>
                  <a:lnTo>
                    <a:pt x="346" y="151"/>
                  </a:lnTo>
                  <a:lnTo>
                    <a:pt x="346" y="151"/>
                  </a:lnTo>
                  <a:lnTo>
                    <a:pt x="343" y="150"/>
                  </a:lnTo>
                  <a:lnTo>
                    <a:pt x="342" y="150"/>
                  </a:lnTo>
                  <a:lnTo>
                    <a:pt x="341" y="150"/>
                  </a:lnTo>
                  <a:lnTo>
                    <a:pt x="340" y="150"/>
                  </a:lnTo>
                  <a:lnTo>
                    <a:pt x="340" y="150"/>
                  </a:lnTo>
                  <a:lnTo>
                    <a:pt x="339" y="150"/>
                  </a:lnTo>
                  <a:lnTo>
                    <a:pt x="338" y="151"/>
                  </a:lnTo>
                  <a:lnTo>
                    <a:pt x="337" y="151"/>
                  </a:lnTo>
                  <a:lnTo>
                    <a:pt x="337" y="151"/>
                  </a:lnTo>
                  <a:lnTo>
                    <a:pt x="337" y="152"/>
                  </a:lnTo>
                  <a:lnTo>
                    <a:pt x="336" y="152"/>
                  </a:lnTo>
                  <a:lnTo>
                    <a:pt x="336" y="153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7" y="156"/>
                  </a:lnTo>
                  <a:lnTo>
                    <a:pt x="338" y="156"/>
                  </a:lnTo>
                  <a:lnTo>
                    <a:pt x="338" y="157"/>
                  </a:lnTo>
                  <a:lnTo>
                    <a:pt x="339" y="157"/>
                  </a:lnTo>
                  <a:lnTo>
                    <a:pt x="343" y="157"/>
                  </a:lnTo>
                  <a:lnTo>
                    <a:pt x="344" y="158"/>
                  </a:lnTo>
                  <a:lnTo>
                    <a:pt x="344" y="158"/>
                  </a:lnTo>
                  <a:lnTo>
                    <a:pt x="345" y="158"/>
                  </a:lnTo>
                  <a:lnTo>
                    <a:pt x="346" y="159"/>
                  </a:lnTo>
                  <a:lnTo>
                    <a:pt x="347" y="159"/>
                  </a:lnTo>
                  <a:lnTo>
                    <a:pt x="348" y="160"/>
                  </a:lnTo>
                  <a:lnTo>
                    <a:pt x="348" y="161"/>
                  </a:lnTo>
                  <a:lnTo>
                    <a:pt x="349" y="162"/>
                  </a:lnTo>
                  <a:lnTo>
                    <a:pt x="351" y="164"/>
                  </a:lnTo>
                  <a:lnTo>
                    <a:pt x="352" y="165"/>
                  </a:lnTo>
                  <a:lnTo>
                    <a:pt x="352" y="166"/>
                  </a:lnTo>
                  <a:lnTo>
                    <a:pt x="353" y="167"/>
                  </a:lnTo>
                  <a:lnTo>
                    <a:pt x="353" y="168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3" y="170"/>
                  </a:lnTo>
                  <a:lnTo>
                    <a:pt x="352" y="171"/>
                  </a:lnTo>
                  <a:lnTo>
                    <a:pt x="352" y="171"/>
                  </a:lnTo>
                  <a:lnTo>
                    <a:pt x="351" y="172"/>
                  </a:lnTo>
                  <a:lnTo>
                    <a:pt x="351" y="172"/>
                  </a:lnTo>
                  <a:lnTo>
                    <a:pt x="351" y="172"/>
                  </a:lnTo>
                  <a:lnTo>
                    <a:pt x="350" y="174"/>
                  </a:lnTo>
                  <a:lnTo>
                    <a:pt x="350" y="175"/>
                  </a:lnTo>
                  <a:lnTo>
                    <a:pt x="349" y="177"/>
                  </a:lnTo>
                  <a:lnTo>
                    <a:pt x="349" y="177"/>
                  </a:lnTo>
                  <a:lnTo>
                    <a:pt x="349" y="178"/>
                  </a:lnTo>
                  <a:lnTo>
                    <a:pt x="349" y="179"/>
                  </a:lnTo>
                  <a:lnTo>
                    <a:pt x="349" y="179"/>
                  </a:lnTo>
                  <a:lnTo>
                    <a:pt x="349" y="180"/>
                  </a:lnTo>
                  <a:lnTo>
                    <a:pt x="350" y="180"/>
                  </a:lnTo>
                  <a:lnTo>
                    <a:pt x="350" y="182"/>
                  </a:lnTo>
                  <a:lnTo>
                    <a:pt x="351" y="182"/>
                  </a:lnTo>
                  <a:lnTo>
                    <a:pt x="351" y="183"/>
                  </a:lnTo>
                  <a:lnTo>
                    <a:pt x="351" y="183"/>
                  </a:lnTo>
                  <a:lnTo>
                    <a:pt x="351" y="184"/>
                  </a:lnTo>
                  <a:lnTo>
                    <a:pt x="351" y="184"/>
                  </a:lnTo>
                  <a:lnTo>
                    <a:pt x="351" y="185"/>
                  </a:lnTo>
                  <a:lnTo>
                    <a:pt x="351" y="186"/>
                  </a:lnTo>
                  <a:lnTo>
                    <a:pt x="351" y="186"/>
                  </a:lnTo>
                  <a:lnTo>
                    <a:pt x="350" y="187"/>
                  </a:lnTo>
                  <a:lnTo>
                    <a:pt x="350" y="188"/>
                  </a:lnTo>
                  <a:lnTo>
                    <a:pt x="349" y="188"/>
                  </a:lnTo>
                  <a:lnTo>
                    <a:pt x="348" y="189"/>
                  </a:lnTo>
                  <a:lnTo>
                    <a:pt x="347" y="189"/>
                  </a:lnTo>
                  <a:lnTo>
                    <a:pt x="346" y="190"/>
                  </a:lnTo>
                  <a:lnTo>
                    <a:pt x="345" y="191"/>
                  </a:lnTo>
                  <a:lnTo>
                    <a:pt x="344" y="191"/>
                  </a:lnTo>
                  <a:lnTo>
                    <a:pt x="341" y="192"/>
                  </a:lnTo>
                  <a:lnTo>
                    <a:pt x="339" y="193"/>
                  </a:lnTo>
                  <a:lnTo>
                    <a:pt x="339" y="193"/>
                  </a:lnTo>
                  <a:lnTo>
                    <a:pt x="337" y="193"/>
                  </a:lnTo>
                  <a:lnTo>
                    <a:pt x="336" y="194"/>
                  </a:lnTo>
                  <a:lnTo>
                    <a:pt x="335" y="194"/>
                  </a:lnTo>
                  <a:lnTo>
                    <a:pt x="335" y="195"/>
                  </a:lnTo>
                  <a:lnTo>
                    <a:pt x="335" y="195"/>
                  </a:lnTo>
                  <a:lnTo>
                    <a:pt x="334" y="195"/>
                  </a:lnTo>
                  <a:lnTo>
                    <a:pt x="334" y="196"/>
                  </a:lnTo>
                  <a:lnTo>
                    <a:pt x="334" y="196"/>
                  </a:lnTo>
                  <a:lnTo>
                    <a:pt x="334" y="197"/>
                  </a:lnTo>
                  <a:lnTo>
                    <a:pt x="334" y="199"/>
                  </a:lnTo>
                  <a:lnTo>
                    <a:pt x="334" y="200"/>
                  </a:lnTo>
                  <a:lnTo>
                    <a:pt x="334" y="202"/>
                  </a:lnTo>
                  <a:lnTo>
                    <a:pt x="334" y="203"/>
                  </a:lnTo>
                  <a:lnTo>
                    <a:pt x="334" y="204"/>
                  </a:lnTo>
                  <a:lnTo>
                    <a:pt x="334" y="205"/>
                  </a:lnTo>
                  <a:lnTo>
                    <a:pt x="332" y="211"/>
                  </a:lnTo>
                  <a:lnTo>
                    <a:pt x="332" y="212"/>
                  </a:lnTo>
                  <a:lnTo>
                    <a:pt x="332" y="213"/>
                  </a:lnTo>
                  <a:lnTo>
                    <a:pt x="332" y="214"/>
                  </a:lnTo>
                  <a:lnTo>
                    <a:pt x="331" y="214"/>
                  </a:lnTo>
                  <a:lnTo>
                    <a:pt x="331" y="215"/>
                  </a:lnTo>
                  <a:lnTo>
                    <a:pt x="330" y="215"/>
                  </a:lnTo>
                  <a:lnTo>
                    <a:pt x="329" y="215"/>
                  </a:lnTo>
                  <a:lnTo>
                    <a:pt x="329" y="215"/>
                  </a:lnTo>
                  <a:lnTo>
                    <a:pt x="328" y="215"/>
                  </a:lnTo>
                  <a:lnTo>
                    <a:pt x="327" y="215"/>
                  </a:lnTo>
                  <a:lnTo>
                    <a:pt x="327" y="215"/>
                  </a:lnTo>
                  <a:lnTo>
                    <a:pt x="326" y="215"/>
                  </a:lnTo>
                  <a:lnTo>
                    <a:pt x="325" y="214"/>
                  </a:lnTo>
                  <a:lnTo>
                    <a:pt x="324" y="214"/>
                  </a:lnTo>
                  <a:lnTo>
                    <a:pt x="323" y="213"/>
                  </a:lnTo>
                  <a:lnTo>
                    <a:pt x="322" y="212"/>
                  </a:lnTo>
                  <a:lnTo>
                    <a:pt x="319" y="210"/>
                  </a:lnTo>
                  <a:lnTo>
                    <a:pt x="318" y="209"/>
                  </a:lnTo>
                  <a:lnTo>
                    <a:pt x="317" y="209"/>
                  </a:lnTo>
                  <a:lnTo>
                    <a:pt x="315" y="207"/>
                  </a:lnTo>
                  <a:lnTo>
                    <a:pt x="314" y="206"/>
                  </a:lnTo>
                  <a:lnTo>
                    <a:pt x="313" y="205"/>
                  </a:lnTo>
                  <a:lnTo>
                    <a:pt x="312" y="205"/>
                  </a:lnTo>
                  <a:lnTo>
                    <a:pt x="311" y="204"/>
                  </a:lnTo>
                  <a:lnTo>
                    <a:pt x="310" y="204"/>
                  </a:lnTo>
                  <a:lnTo>
                    <a:pt x="308" y="204"/>
                  </a:lnTo>
                  <a:lnTo>
                    <a:pt x="307" y="203"/>
                  </a:lnTo>
                  <a:lnTo>
                    <a:pt x="306" y="203"/>
                  </a:lnTo>
                  <a:lnTo>
                    <a:pt x="303" y="203"/>
                  </a:lnTo>
                  <a:lnTo>
                    <a:pt x="299" y="203"/>
                  </a:lnTo>
                  <a:lnTo>
                    <a:pt x="299" y="202"/>
                  </a:lnTo>
                  <a:lnTo>
                    <a:pt x="296" y="202"/>
                  </a:lnTo>
                  <a:lnTo>
                    <a:pt x="294" y="201"/>
                  </a:lnTo>
                  <a:lnTo>
                    <a:pt x="293" y="201"/>
                  </a:lnTo>
                  <a:lnTo>
                    <a:pt x="292" y="201"/>
                  </a:lnTo>
                  <a:lnTo>
                    <a:pt x="292" y="201"/>
                  </a:lnTo>
                  <a:lnTo>
                    <a:pt x="291" y="201"/>
                  </a:lnTo>
                  <a:lnTo>
                    <a:pt x="291" y="202"/>
                  </a:lnTo>
                  <a:lnTo>
                    <a:pt x="290" y="202"/>
                  </a:lnTo>
                  <a:lnTo>
                    <a:pt x="289" y="202"/>
                  </a:lnTo>
                  <a:lnTo>
                    <a:pt x="289" y="203"/>
                  </a:lnTo>
                  <a:lnTo>
                    <a:pt x="287" y="205"/>
                  </a:lnTo>
                  <a:lnTo>
                    <a:pt x="285" y="206"/>
                  </a:lnTo>
                  <a:lnTo>
                    <a:pt x="284" y="208"/>
                  </a:lnTo>
                  <a:lnTo>
                    <a:pt x="282" y="209"/>
                  </a:lnTo>
                  <a:lnTo>
                    <a:pt x="282" y="210"/>
                  </a:lnTo>
                  <a:lnTo>
                    <a:pt x="279" y="211"/>
                  </a:lnTo>
                  <a:lnTo>
                    <a:pt x="277" y="212"/>
                  </a:lnTo>
                  <a:lnTo>
                    <a:pt x="276" y="213"/>
                  </a:lnTo>
                  <a:lnTo>
                    <a:pt x="274" y="215"/>
                  </a:lnTo>
                  <a:lnTo>
                    <a:pt x="269" y="218"/>
                  </a:lnTo>
                  <a:lnTo>
                    <a:pt x="268" y="218"/>
                  </a:lnTo>
                  <a:lnTo>
                    <a:pt x="266" y="219"/>
                  </a:lnTo>
                  <a:lnTo>
                    <a:pt x="265" y="220"/>
                  </a:lnTo>
                  <a:lnTo>
                    <a:pt x="264" y="221"/>
                  </a:lnTo>
                  <a:lnTo>
                    <a:pt x="262" y="222"/>
                  </a:lnTo>
                  <a:lnTo>
                    <a:pt x="262" y="222"/>
                  </a:lnTo>
                  <a:lnTo>
                    <a:pt x="258" y="224"/>
                  </a:lnTo>
                  <a:lnTo>
                    <a:pt x="256" y="225"/>
                  </a:lnTo>
                  <a:lnTo>
                    <a:pt x="255" y="225"/>
                  </a:lnTo>
                  <a:lnTo>
                    <a:pt x="254" y="225"/>
                  </a:lnTo>
                  <a:lnTo>
                    <a:pt x="254" y="226"/>
                  </a:lnTo>
                  <a:lnTo>
                    <a:pt x="253" y="226"/>
                  </a:lnTo>
                  <a:lnTo>
                    <a:pt x="253" y="227"/>
                  </a:lnTo>
                  <a:lnTo>
                    <a:pt x="252" y="228"/>
                  </a:lnTo>
                  <a:lnTo>
                    <a:pt x="252" y="228"/>
                  </a:lnTo>
                  <a:lnTo>
                    <a:pt x="252" y="229"/>
                  </a:lnTo>
                  <a:lnTo>
                    <a:pt x="252" y="229"/>
                  </a:lnTo>
                  <a:lnTo>
                    <a:pt x="252" y="232"/>
                  </a:lnTo>
                  <a:lnTo>
                    <a:pt x="252" y="233"/>
                  </a:lnTo>
                  <a:lnTo>
                    <a:pt x="252" y="234"/>
                  </a:lnTo>
                  <a:lnTo>
                    <a:pt x="251" y="239"/>
                  </a:lnTo>
                  <a:lnTo>
                    <a:pt x="251" y="239"/>
                  </a:lnTo>
                  <a:lnTo>
                    <a:pt x="250" y="240"/>
                  </a:lnTo>
                  <a:lnTo>
                    <a:pt x="250" y="241"/>
                  </a:lnTo>
                  <a:lnTo>
                    <a:pt x="249" y="242"/>
                  </a:lnTo>
                  <a:lnTo>
                    <a:pt x="248" y="243"/>
                  </a:lnTo>
                  <a:lnTo>
                    <a:pt x="247" y="244"/>
                  </a:lnTo>
                  <a:lnTo>
                    <a:pt x="245" y="245"/>
                  </a:lnTo>
                  <a:lnTo>
                    <a:pt x="244" y="246"/>
                  </a:lnTo>
                  <a:lnTo>
                    <a:pt x="243" y="247"/>
                  </a:lnTo>
                  <a:lnTo>
                    <a:pt x="242" y="247"/>
                  </a:lnTo>
                  <a:lnTo>
                    <a:pt x="241" y="248"/>
                  </a:lnTo>
                  <a:lnTo>
                    <a:pt x="240" y="248"/>
                  </a:lnTo>
                  <a:lnTo>
                    <a:pt x="239" y="248"/>
                  </a:lnTo>
                  <a:lnTo>
                    <a:pt x="238" y="248"/>
                  </a:lnTo>
                  <a:lnTo>
                    <a:pt x="238" y="248"/>
                  </a:lnTo>
                  <a:lnTo>
                    <a:pt x="237" y="247"/>
                  </a:lnTo>
                  <a:lnTo>
                    <a:pt x="234" y="246"/>
                  </a:lnTo>
                  <a:lnTo>
                    <a:pt x="233" y="246"/>
                  </a:lnTo>
                  <a:lnTo>
                    <a:pt x="232" y="246"/>
                  </a:lnTo>
                  <a:lnTo>
                    <a:pt x="231" y="245"/>
                  </a:lnTo>
                  <a:lnTo>
                    <a:pt x="230" y="245"/>
                  </a:lnTo>
                  <a:lnTo>
                    <a:pt x="229" y="246"/>
                  </a:lnTo>
                  <a:lnTo>
                    <a:pt x="228" y="246"/>
                  </a:lnTo>
                  <a:lnTo>
                    <a:pt x="226" y="246"/>
                  </a:lnTo>
                  <a:lnTo>
                    <a:pt x="224" y="246"/>
                  </a:lnTo>
                  <a:lnTo>
                    <a:pt x="223" y="246"/>
                  </a:lnTo>
                  <a:lnTo>
                    <a:pt x="222" y="246"/>
                  </a:lnTo>
                  <a:lnTo>
                    <a:pt x="221" y="246"/>
                  </a:lnTo>
                  <a:lnTo>
                    <a:pt x="220" y="246"/>
                  </a:lnTo>
                  <a:lnTo>
                    <a:pt x="219" y="246"/>
                  </a:lnTo>
                  <a:lnTo>
                    <a:pt x="218" y="246"/>
                  </a:lnTo>
                  <a:lnTo>
                    <a:pt x="215" y="245"/>
                  </a:lnTo>
                  <a:lnTo>
                    <a:pt x="214" y="244"/>
                  </a:lnTo>
                  <a:lnTo>
                    <a:pt x="209" y="243"/>
                  </a:lnTo>
                  <a:lnTo>
                    <a:pt x="208" y="242"/>
                  </a:lnTo>
                  <a:lnTo>
                    <a:pt x="206" y="242"/>
                  </a:lnTo>
                  <a:lnTo>
                    <a:pt x="205" y="241"/>
                  </a:lnTo>
                  <a:lnTo>
                    <a:pt x="205" y="241"/>
                  </a:lnTo>
                  <a:lnTo>
                    <a:pt x="203" y="241"/>
                  </a:lnTo>
                  <a:lnTo>
                    <a:pt x="202" y="241"/>
                  </a:lnTo>
                  <a:lnTo>
                    <a:pt x="201" y="241"/>
                  </a:lnTo>
                  <a:lnTo>
                    <a:pt x="201" y="241"/>
                  </a:lnTo>
                  <a:lnTo>
                    <a:pt x="200" y="241"/>
                  </a:lnTo>
                  <a:lnTo>
                    <a:pt x="199" y="242"/>
                  </a:lnTo>
                  <a:lnTo>
                    <a:pt x="196" y="243"/>
                  </a:lnTo>
                  <a:lnTo>
                    <a:pt x="195" y="243"/>
                  </a:lnTo>
                  <a:lnTo>
                    <a:pt x="194" y="243"/>
                  </a:lnTo>
                  <a:lnTo>
                    <a:pt x="192" y="243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6" y="244"/>
                  </a:lnTo>
                  <a:lnTo>
                    <a:pt x="185" y="245"/>
                  </a:lnTo>
                  <a:lnTo>
                    <a:pt x="183" y="245"/>
                  </a:lnTo>
                  <a:lnTo>
                    <a:pt x="182" y="246"/>
                  </a:lnTo>
                  <a:lnTo>
                    <a:pt x="180" y="246"/>
                  </a:lnTo>
                  <a:lnTo>
                    <a:pt x="178" y="247"/>
                  </a:lnTo>
                  <a:lnTo>
                    <a:pt x="177" y="247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4" y="250"/>
                  </a:lnTo>
                  <a:lnTo>
                    <a:pt x="174" y="250"/>
                  </a:lnTo>
                  <a:lnTo>
                    <a:pt x="173" y="251"/>
                  </a:lnTo>
                  <a:lnTo>
                    <a:pt x="173" y="251"/>
                  </a:lnTo>
                  <a:lnTo>
                    <a:pt x="171" y="253"/>
                  </a:lnTo>
                  <a:lnTo>
                    <a:pt x="170" y="253"/>
                  </a:lnTo>
                  <a:lnTo>
                    <a:pt x="169" y="254"/>
                  </a:lnTo>
                  <a:lnTo>
                    <a:pt x="168" y="254"/>
                  </a:lnTo>
                  <a:lnTo>
                    <a:pt x="168" y="255"/>
                  </a:lnTo>
                  <a:lnTo>
                    <a:pt x="167" y="255"/>
                  </a:lnTo>
                  <a:lnTo>
                    <a:pt x="167" y="256"/>
                  </a:lnTo>
                  <a:lnTo>
                    <a:pt x="167" y="257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5" y="259"/>
                  </a:lnTo>
                  <a:lnTo>
                    <a:pt x="165" y="259"/>
                  </a:lnTo>
                  <a:lnTo>
                    <a:pt x="165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3" y="257"/>
                  </a:lnTo>
                  <a:lnTo>
                    <a:pt x="162" y="255"/>
                  </a:lnTo>
                  <a:lnTo>
                    <a:pt x="162" y="255"/>
                  </a:lnTo>
                  <a:lnTo>
                    <a:pt x="161" y="254"/>
                  </a:lnTo>
                  <a:lnTo>
                    <a:pt x="160" y="253"/>
                  </a:lnTo>
                  <a:lnTo>
                    <a:pt x="159" y="252"/>
                  </a:lnTo>
                  <a:lnTo>
                    <a:pt x="158" y="252"/>
                  </a:lnTo>
                  <a:lnTo>
                    <a:pt x="157" y="251"/>
                  </a:lnTo>
                  <a:lnTo>
                    <a:pt x="155" y="251"/>
                  </a:lnTo>
                  <a:lnTo>
                    <a:pt x="155" y="251"/>
                  </a:lnTo>
                  <a:lnTo>
                    <a:pt x="154" y="251"/>
                  </a:lnTo>
                  <a:lnTo>
                    <a:pt x="153" y="251"/>
                  </a:lnTo>
                  <a:lnTo>
                    <a:pt x="151" y="252"/>
                  </a:lnTo>
                  <a:lnTo>
                    <a:pt x="150" y="252"/>
                  </a:lnTo>
                  <a:lnTo>
                    <a:pt x="149" y="253"/>
                  </a:lnTo>
                  <a:lnTo>
                    <a:pt x="148" y="253"/>
                  </a:lnTo>
                  <a:lnTo>
                    <a:pt x="147" y="254"/>
                  </a:lnTo>
                  <a:lnTo>
                    <a:pt x="145" y="255"/>
                  </a:lnTo>
                  <a:lnTo>
                    <a:pt x="144" y="256"/>
                  </a:lnTo>
                  <a:lnTo>
                    <a:pt x="144" y="256"/>
                  </a:lnTo>
                  <a:lnTo>
                    <a:pt x="143" y="257"/>
                  </a:lnTo>
                  <a:lnTo>
                    <a:pt x="142" y="257"/>
                  </a:lnTo>
                  <a:lnTo>
                    <a:pt x="141" y="257"/>
                  </a:lnTo>
                  <a:lnTo>
                    <a:pt x="140" y="257"/>
                  </a:lnTo>
                  <a:lnTo>
                    <a:pt x="140" y="257"/>
                  </a:lnTo>
                  <a:lnTo>
                    <a:pt x="139" y="257"/>
                  </a:lnTo>
                  <a:lnTo>
                    <a:pt x="134" y="255"/>
                  </a:lnTo>
                  <a:lnTo>
                    <a:pt x="130" y="254"/>
                  </a:lnTo>
                  <a:lnTo>
                    <a:pt x="128" y="254"/>
                  </a:lnTo>
                  <a:lnTo>
                    <a:pt x="128" y="253"/>
                  </a:lnTo>
                  <a:lnTo>
                    <a:pt x="128" y="253"/>
                  </a:lnTo>
                  <a:lnTo>
                    <a:pt x="128" y="252"/>
                  </a:lnTo>
                  <a:lnTo>
                    <a:pt x="127" y="251"/>
                  </a:lnTo>
                  <a:lnTo>
                    <a:pt x="127" y="250"/>
                  </a:lnTo>
                  <a:lnTo>
                    <a:pt x="126" y="250"/>
                  </a:lnTo>
                  <a:lnTo>
                    <a:pt x="125" y="249"/>
                  </a:lnTo>
                  <a:lnTo>
                    <a:pt x="125" y="248"/>
                  </a:lnTo>
                  <a:lnTo>
                    <a:pt x="124" y="247"/>
                  </a:lnTo>
                  <a:lnTo>
                    <a:pt x="123" y="246"/>
                  </a:lnTo>
                  <a:lnTo>
                    <a:pt x="120" y="245"/>
                  </a:lnTo>
                  <a:lnTo>
                    <a:pt x="119" y="244"/>
                  </a:lnTo>
                  <a:lnTo>
                    <a:pt x="114" y="241"/>
                  </a:lnTo>
                  <a:lnTo>
                    <a:pt x="112" y="240"/>
                  </a:lnTo>
                  <a:lnTo>
                    <a:pt x="110" y="239"/>
                  </a:lnTo>
                  <a:lnTo>
                    <a:pt x="109" y="238"/>
                  </a:lnTo>
                  <a:lnTo>
                    <a:pt x="108" y="237"/>
                  </a:lnTo>
                  <a:lnTo>
                    <a:pt x="108" y="237"/>
                  </a:lnTo>
                  <a:lnTo>
                    <a:pt x="108" y="236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4"/>
                  </a:lnTo>
                  <a:lnTo>
                    <a:pt x="107" y="233"/>
                  </a:lnTo>
                  <a:lnTo>
                    <a:pt x="107" y="232"/>
                  </a:lnTo>
                  <a:lnTo>
                    <a:pt x="108" y="231"/>
                  </a:lnTo>
                  <a:lnTo>
                    <a:pt x="108" y="230"/>
                  </a:lnTo>
                  <a:lnTo>
                    <a:pt x="108" y="230"/>
                  </a:lnTo>
                  <a:lnTo>
                    <a:pt x="110" y="227"/>
                  </a:lnTo>
                  <a:lnTo>
                    <a:pt x="110" y="226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1" y="224"/>
                  </a:lnTo>
                  <a:lnTo>
                    <a:pt x="111" y="223"/>
                  </a:lnTo>
                  <a:lnTo>
                    <a:pt x="111" y="222"/>
                  </a:lnTo>
                  <a:lnTo>
                    <a:pt x="111" y="222"/>
                  </a:lnTo>
                  <a:lnTo>
                    <a:pt x="110" y="221"/>
                  </a:lnTo>
                  <a:lnTo>
                    <a:pt x="110" y="220"/>
                  </a:lnTo>
                  <a:lnTo>
                    <a:pt x="110" y="220"/>
                  </a:lnTo>
                  <a:lnTo>
                    <a:pt x="110" y="219"/>
                  </a:lnTo>
                  <a:lnTo>
                    <a:pt x="109" y="219"/>
                  </a:lnTo>
                  <a:lnTo>
                    <a:pt x="109" y="218"/>
                  </a:lnTo>
                  <a:lnTo>
                    <a:pt x="107" y="216"/>
                  </a:lnTo>
                  <a:lnTo>
                    <a:pt x="105" y="215"/>
                  </a:lnTo>
                  <a:lnTo>
                    <a:pt x="104" y="215"/>
                  </a:lnTo>
                  <a:lnTo>
                    <a:pt x="104" y="214"/>
                  </a:lnTo>
                  <a:lnTo>
                    <a:pt x="103" y="214"/>
                  </a:lnTo>
                  <a:lnTo>
                    <a:pt x="102" y="214"/>
                  </a:lnTo>
                  <a:lnTo>
                    <a:pt x="101" y="213"/>
                  </a:lnTo>
                  <a:lnTo>
                    <a:pt x="100" y="213"/>
                  </a:lnTo>
                  <a:lnTo>
                    <a:pt x="98" y="213"/>
                  </a:lnTo>
                  <a:lnTo>
                    <a:pt x="97" y="213"/>
                  </a:lnTo>
                  <a:lnTo>
                    <a:pt x="96" y="213"/>
                  </a:lnTo>
                  <a:lnTo>
                    <a:pt x="95" y="213"/>
                  </a:lnTo>
                  <a:lnTo>
                    <a:pt x="95" y="212"/>
                  </a:lnTo>
                  <a:lnTo>
                    <a:pt x="94" y="212"/>
                  </a:lnTo>
                  <a:lnTo>
                    <a:pt x="94" y="212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2" y="209"/>
                  </a:lnTo>
                  <a:lnTo>
                    <a:pt x="91" y="208"/>
                  </a:lnTo>
                  <a:lnTo>
                    <a:pt x="90" y="207"/>
                  </a:lnTo>
                  <a:lnTo>
                    <a:pt x="87" y="205"/>
                  </a:lnTo>
                  <a:lnTo>
                    <a:pt x="85" y="204"/>
                  </a:lnTo>
                  <a:lnTo>
                    <a:pt x="84" y="203"/>
                  </a:lnTo>
                  <a:lnTo>
                    <a:pt x="83" y="203"/>
                  </a:lnTo>
                  <a:lnTo>
                    <a:pt x="83" y="202"/>
                  </a:lnTo>
                  <a:lnTo>
                    <a:pt x="81" y="201"/>
                  </a:lnTo>
                  <a:lnTo>
                    <a:pt x="80" y="201"/>
                  </a:lnTo>
                  <a:lnTo>
                    <a:pt x="79" y="200"/>
                  </a:lnTo>
                  <a:lnTo>
                    <a:pt x="76" y="199"/>
                  </a:lnTo>
                  <a:lnTo>
                    <a:pt x="75" y="198"/>
                  </a:lnTo>
                  <a:lnTo>
                    <a:pt x="73" y="196"/>
                  </a:lnTo>
                  <a:lnTo>
                    <a:pt x="70" y="193"/>
                  </a:lnTo>
                  <a:lnTo>
                    <a:pt x="69" y="192"/>
                  </a:lnTo>
                  <a:lnTo>
                    <a:pt x="68" y="192"/>
                  </a:lnTo>
                  <a:lnTo>
                    <a:pt x="68" y="192"/>
                  </a:lnTo>
                  <a:lnTo>
                    <a:pt x="67" y="191"/>
                  </a:lnTo>
                  <a:lnTo>
                    <a:pt x="65" y="190"/>
                  </a:lnTo>
                  <a:lnTo>
                    <a:pt x="64" y="190"/>
                  </a:lnTo>
                  <a:lnTo>
                    <a:pt x="64" y="190"/>
                  </a:lnTo>
                  <a:lnTo>
                    <a:pt x="63" y="189"/>
                  </a:lnTo>
                  <a:lnTo>
                    <a:pt x="62" y="188"/>
                  </a:lnTo>
                  <a:lnTo>
                    <a:pt x="61" y="187"/>
                  </a:lnTo>
                  <a:lnTo>
                    <a:pt x="60" y="185"/>
                  </a:lnTo>
                  <a:lnTo>
                    <a:pt x="59" y="185"/>
                  </a:lnTo>
                  <a:lnTo>
                    <a:pt x="59" y="184"/>
                  </a:lnTo>
                  <a:lnTo>
                    <a:pt x="58" y="183"/>
                  </a:lnTo>
                  <a:lnTo>
                    <a:pt x="57" y="182"/>
                  </a:lnTo>
                  <a:lnTo>
                    <a:pt x="55" y="182"/>
                  </a:lnTo>
                  <a:lnTo>
                    <a:pt x="54" y="181"/>
                  </a:lnTo>
                  <a:lnTo>
                    <a:pt x="51" y="180"/>
                  </a:lnTo>
                  <a:lnTo>
                    <a:pt x="50" y="180"/>
                  </a:lnTo>
                  <a:lnTo>
                    <a:pt x="48" y="179"/>
                  </a:lnTo>
                  <a:lnTo>
                    <a:pt x="47" y="179"/>
                  </a:lnTo>
                  <a:lnTo>
                    <a:pt x="47" y="178"/>
                  </a:lnTo>
                  <a:lnTo>
                    <a:pt x="47" y="178"/>
                  </a:lnTo>
                  <a:lnTo>
                    <a:pt x="46" y="178"/>
                  </a:lnTo>
                  <a:lnTo>
                    <a:pt x="46" y="177"/>
                  </a:lnTo>
                  <a:lnTo>
                    <a:pt x="46" y="177"/>
                  </a:lnTo>
                  <a:lnTo>
                    <a:pt x="46" y="176"/>
                  </a:lnTo>
                  <a:lnTo>
                    <a:pt x="46" y="176"/>
                  </a:lnTo>
                  <a:lnTo>
                    <a:pt x="46" y="174"/>
                  </a:lnTo>
                  <a:lnTo>
                    <a:pt x="46" y="173"/>
                  </a:lnTo>
                  <a:lnTo>
                    <a:pt x="46" y="172"/>
                  </a:lnTo>
                  <a:lnTo>
                    <a:pt x="46" y="171"/>
                  </a:lnTo>
                  <a:lnTo>
                    <a:pt x="45" y="170"/>
                  </a:lnTo>
                  <a:lnTo>
                    <a:pt x="44" y="169"/>
                  </a:lnTo>
                  <a:lnTo>
                    <a:pt x="43" y="167"/>
                  </a:lnTo>
                  <a:lnTo>
                    <a:pt x="42" y="166"/>
                  </a:lnTo>
                  <a:lnTo>
                    <a:pt x="41" y="165"/>
                  </a:lnTo>
                  <a:lnTo>
                    <a:pt x="40" y="164"/>
                  </a:lnTo>
                  <a:lnTo>
                    <a:pt x="40" y="163"/>
                  </a:lnTo>
                  <a:lnTo>
                    <a:pt x="39" y="163"/>
                  </a:lnTo>
                  <a:lnTo>
                    <a:pt x="38" y="162"/>
                  </a:lnTo>
                  <a:lnTo>
                    <a:pt x="37" y="162"/>
                  </a:lnTo>
                  <a:lnTo>
                    <a:pt x="36" y="161"/>
                  </a:lnTo>
                  <a:lnTo>
                    <a:pt x="35" y="161"/>
                  </a:lnTo>
                  <a:lnTo>
                    <a:pt x="34" y="160"/>
                  </a:lnTo>
                  <a:lnTo>
                    <a:pt x="32" y="158"/>
                  </a:lnTo>
                  <a:lnTo>
                    <a:pt x="31" y="158"/>
                  </a:lnTo>
                  <a:lnTo>
                    <a:pt x="30" y="157"/>
                  </a:lnTo>
                  <a:lnTo>
                    <a:pt x="30" y="157"/>
                  </a:lnTo>
                  <a:lnTo>
                    <a:pt x="29" y="156"/>
                  </a:lnTo>
                  <a:lnTo>
                    <a:pt x="29" y="155"/>
                  </a:lnTo>
                  <a:lnTo>
                    <a:pt x="28" y="154"/>
                  </a:lnTo>
                  <a:lnTo>
                    <a:pt x="28" y="153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7" y="149"/>
                  </a:lnTo>
                  <a:lnTo>
                    <a:pt x="27" y="148"/>
                  </a:lnTo>
                  <a:lnTo>
                    <a:pt x="27" y="146"/>
                  </a:lnTo>
                  <a:lnTo>
                    <a:pt x="27" y="145"/>
                  </a:lnTo>
                  <a:lnTo>
                    <a:pt x="27" y="143"/>
                  </a:lnTo>
                  <a:lnTo>
                    <a:pt x="27" y="142"/>
                  </a:lnTo>
                  <a:lnTo>
                    <a:pt x="27" y="141"/>
                  </a:lnTo>
                  <a:lnTo>
                    <a:pt x="28" y="136"/>
                  </a:lnTo>
                  <a:lnTo>
                    <a:pt x="30" y="133"/>
                  </a:lnTo>
                  <a:lnTo>
                    <a:pt x="30" y="131"/>
                  </a:lnTo>
                  <a:lnTo>
                    <a:pt x="30" y="130"/>
                  </a:lnTo>
                  <a:lnTo>
                    <a:pt x="30" y="129"/>
                  </a:lnTo>
                  <a:lnTo>
                    <a:pt x="30" y="128"/>
                  </a:lnTo>
                  <a:lnTo>
                    <a:pt x="30" y="127"/>
                  </a:lnTo>
                  <a:lnTo>
                    <a:pt x="30" y="125"/>
                  </a:lnTo>
                  <a:lnTo>
                    <a:pt x="29" y="124"/>
                  </a:lnTo>
                  <a:lnTo>
                    <a:pt x="29" y="122"/>
                  </a:lnTo>
                  <a:lnTo>
                    <a:pt x="28" y="121"/>
                  </a:lnTo>
                  <a:lnTo>
                    <a:pt x="28" y="120"/>
                  </a:lnTo>
                  <a:lnTo>
                    <a:pt x="27" y="117"/>
                  </a:lnTo>
                  <a:lnTo>
                    <a:pt x="26" y="115"/>
                  </a:lnTo>
                  <a:lnTo>
                    <a:pt x="26" y="115"/>
                  </a:lnTo>
                  <a:lnTo>
                    <a:pt x="25" y="114"/>
                  </a:lnTo>
                  <a:lnTo>
                    <a:pt x="24" y="113"/>
                  </a:lnTo>
                  <a:lnTo>
                    <a:pt x="23" y="111"/>
                  </a:lnTo>
                  <a:lnTo>
                    <a:pt x="21" y="109"/>
                  </a:lnTo>
                  <a:lnTo>
                    <a:pt x="21" y="109"/>
                  </a:lnTo>
                  <a:lnTo>
                    <a:pt x="19" y="107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7" y="103"/>
                  </a:lnTo>
                  <a:lnTo>
                    <a:pt x="16" y="102"/>
                  </a:lnTo>
                  <a:lnTo>
                    <a:pt x="15" y="101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2" y="98"/>
                  </a:lnTo>
                  <a:lnTo>
                    <a:pt x="11" y="98"/>
                  </a:lnTo>
                  <a:lnTo>
                    <a:pt x="9" y="97"/>
                  </a:lnTo>
                  <a:lnTo>
                    <a:pt x="8" y="97"/>
                  </a:lnTo>
                  <a:lnTo>
                    <a:pt x="7" y="96"/>
                  </a:lnTo>
                  <a:lnTo>
                    <a:pt x="6" y="96"/>
                  </a:lnTo>
                  <a:lnTo>
                    <a:pt x="5" y="95"/>
                  </a:lnTo>
                  <a:lnTo>
                    <a:pt x="4" y="95"/>
                  </a:lnTo>
                  <a:lnTo>
                    <a:pt x="4" y="94"/>
                  </a:lnTo>
                  <a:lnTo>
                    <a:pt x="3" y="94"/>
                  </a:lnTo>
                  <a:lnTo>
                    <a:pt x="2" y="93"/>
                  </a:lnTo>
                  <a:lnTo>
                    <a:pt x="1" y="92"/>
                  </a:lnTo>
                  <a:lnTo>
                    <a:pt x="1" y="91"/>
                  </a:lnTo>
                  <a:lnTo>
                    <a:pt x="0" y="91"/>
                  </a:lnTo>
                  <a:lnTo>
                    <a:pt x="0" y="90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8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6"/>
                  </a:lnTo>
                  <a:lnTo>
                    <a:pt x="1" y="85"/>
                  </a:lnTo>
                  <a:lnTo>
                    <a:pt x="1" y="85"/>
                  </a:lnTo>
                  <a:lnTo>
                    <a:pt x="2" y="84"/>
                  </a:lnTo>
                  <a:lnTo>
                    <a:pt x="3" y="83"/>
                  </a:lnTo>
                  <a:lnTo>
                    <a:pt x="4" y="82"/>
                  </a:lnTo>
                  <a:lnTo>
                    <a:pt x="5" y="81"/>
                  </a:lnTo>
                  <a:lnTo>
                    <a:pt x="6" y="80"/>
                  </a:lnTo>
                  <a:lnTo>
                    <a:pt x="7" y="80"/>
                  </a:lnTo>
                  <a:lnTo>
                    <a:pt x="8" y="79"/>
                  </a:lnTo>
                  <a:lnTo>
                    <a:pt x="8" y="78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9" y="76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3"/>
                  </a:lnTo>
                  <a:lnTo>
                    <a:pt x="8" y="70"/>
                  </a:lnTo>
                  <a:lnTo>
                    <a:pt x="8" y="69"/>
                  </a:lnTo>
                  <a:lnTo>
                    <a:pt x="7" y="67"/>
                  </a:lnTo>
                  <a:lnTo>
                    <a:pt x="7" y="65"/>
                  </a:lnTo>
                  <a:lnTo>
                    <a:pt x="7" y="64"/>
                  </a:lnTo>
                  <a:lnTo>
                    <a:pt x="6" y="63"/>
                  </a:lnTo>
                  <a:lnTo>
                    <a:pt x="6" y="62"/>
                  </a:lnTo>
                  <a:lnTo>
                    <a:pt x="5" y="61"/>
                  </a:lnTo>
                  <a:lnTo>
                    <a:pt x="4" y="60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5" y="58"/>
                  </a:lnTo>
                  <a:lnTo>
                    <a:pt x="6" y="58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12" y="57"/>
                  </a:lnTo>
                  <a:lnTo>
                    <a:pt x="14" y="57"/>
                  </a:lnTo>
                  <a:lnTo>
                    <a:pt x="16" y="57"/>
                  </a:lnTo>
                  <a:lnTo>
                    <a:pt x="18" y="57"/>
                  </a:lnTo>
                  <a:lnTo>
                    <a:pt x="19" y="57"/>
                  </a:lnTo>
                  <a:lnTo>
                    <a:pt x="21" y="57"/>
                  </a:lnTo>
                  <a:lnTo>
                    <a:pt x="22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4" y="59"/>
                  </a:lnTo>
                  <a:lnTo>
                    <a:pt x="25" y="59"/>
                  </a:lnTo>
                  <a:lnTo>
                    <a:pt x="26" y="60"/>
                  </a:lnTo>
                  <a:lnTo>
                    <a:pt x="27" y="61"/>
                  </a:lnTo>
                  <a:lnTo>
                    <a:pt x="28" y="63"/>
                  </a:lnTo>
                  <a:lnTo>
                    <a:pt x="28" y="64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6"/>
                  </a:lnTo>
                  <a:lnTo>
                    <a:pt x="30" y="70"/>
                  </a:lnTo>
                  <a:lnTo>
                    <a:pt x="30" y="71"/>
                  </a:lnTo>
                  <a:lnTo>
                    <a:pt x="31" y="74"/>
                  </a:lnTo>
                  <a:lnTo>
                    <a:pt x="31" y="75"/>
                  </a:lnTo>
                  <a:lnTo>
                    <a:pt x="32" y="76"/>
                  </a:lnTo>
                  <a:lnTo>
                    <a:pt x="32" y="77"/>
                  </a:lnTo>
                  <a:lnTo>
                    <a:pt x="33" y="78"/>
                  </a:lnTo>
                  <a:lnTo>
                    <a:pt x="33" y="79"/>
                  </a:lnTo>
                  <a:lnTo>
                    <a:pt x="34" y="79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6" y="80"/>
                  </a:lnTo>
                  <a:lnTo>
                    <a:pt x="37" y="81"/>
                  </a:lnTo>
                  <a:lnTo>
                    <a:pt x="42" y="83"/>
                  </a:lnTo>
                  <a:lnTo>
                    <a:pt x="43" y="83"/>
                  </a:lnTo>
                  <a:lnTo>
                    <a:pt x="44" y="83"/>
                  </a:lnTo>
                  <a:lnTo>
                    <a:pt x="45" y="84"/>
                  </a:lnTo>
                  <a:lnTo>
                    <a:pt x="45" y="85"/>
                  </a:lnTo>
                  <a:lnTo>
                    <a:pt x="46" y="85"/>
                  </a:lnTo>
                  <a:lnTo>
                    <a:pt x="46" y="86"/>
                  </a:lnTo>
                  <a:lnTo>
                    <a:pt x="47" y="87"/>
                  </a:lnTo>
                  <a:lnTo>
                    <a:pt x="47" y="87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7" y="89"/>
                  </a:lnTo>
                  <a:lnTo>
                    <a:pt x="46" y="89"/>
                  </a:lnTo>
                  <a:lnTo>
                    <a:pt x="46" y="89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4" y="90"/>
                  </a:lnTo>
                  <a:lnTo>
                    <a:pt x="44" y="91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3"/>
                  </a:lnTo>
                  <a:lnTo>
                    <a:pt x="44" y="94"/>
                  </a:lnTo>
                  <a:lnTo>
                    <a:pt x="45" y="94"/>
                  </a:lnTo>
                  <a:lnTo>
                    <a:pt x="45" y="95"/>
                  </a:lnTo>
                  <a:lnTo>
                    <a:pt x="46" y="96"/>
                  </a:lnTo>
                  <a:lnTo>
                    <a:pt x="47" y="97"/>
                  </a:lnTo>
                  <a:lnTo>
                    <a:pt x="48" y="98"/>
                  </a:lnTo>
                  <a:lnTo>
                    <a:pt x="51" y="100"/>
                  </a:lnTo>
                  <a:lnTo>
                    <a:pt x="51" y="101"/>
                  </a:lnTo>
                  <a:lnTo>
                    <a:pt x="52" y="102"/>
                  </a:lnTo>
                  <a:lnTo>
                    <a:pt x="53" y="103"/>
                  </a:lnTo>
                  <a:lnTo>
                    <a:pt x="54" y="104"/>
                  </a:lnTo>
                  <a:lnTo>
                    <a:pt x="54" y="105"/>
                  </a:lnTo>
                  <a:lnTo>
                    <a:pt x="54" y="105"/>
                  </a:lnTo>
                  <a:lnTo>
                    <a:pt x="54" y="106"/>
                  </a:lnTo>
                  <a:lnTo>
                    <a:pt x="54" y="107"/>
                  </a:lnTo>
                  <a:lnTo>
                    <a:pt x="54" y="109"/>
                  </a:lnTo>
                  <a:lnTo>
                    <a:pt x="54" y="112"/>
                  </a:lnTo>
                  <a:lnTo>
                    <a:pt x="53" y="113"/>
                  </a:lnTo>
                  <a:lnTo>
                    <a:pt x="53" y="115"/>
                  </a:lnTo>
                  <a:lnTo>
                    <a:pt x="53" y="116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8"/>
                  </a:lnTo>
                  <a:lnTo>
                    <a:pt x="53" y="119"/>
                  </a:lnTo>
                  <a:lnTo>
                    <a:pt x="54" y="121"/>
                  </a:lnTo>
                  <a:lnTo>
                    <a:pt x="55" y="122"/>
                  </a:lnTo>
                  <a:lnTo>
                    <a:pt x="56" y="123"/>
                  </a:lnTo>
                  <a:lnTo>
                    <a:pt x="56" y="124"/>
                  </a:lnTo>
                  <a:lnTo>
                    <a:pt x="57" y="125"/>
                  </a:lnTo>
                  <a:lnTo>
                    <a:pt x="57" y="125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6"/>
                  </a:lnTo>
                  <a:lnTo>
                    <a:pt x="60" y="127"/>
                  </a:lnTo>
                  <a:lnTo>
                    <a:pt x="61" y="127"/>
                  </a:lnTo>
                  <a:lnTo>
                    <a:pt x="62" y="127"/>
                  </a:lnTo>
                  <a:lnTo>
                    <a:pt x="63" y="127"/>
                  </a:lnTo>
                  <a:lnTo>
                    <a:pt x="64" y="128"/>
                  </a:lnTo>
                  <a:lnTo>
                    <a:pt x="64" y="127"/>
                  </a:lnTo>
                  <a:lnTo>
                    <a:pt x="65" y="127"/>
                  </a:lnTo>
                  <a:lnTo>
                    <a:pt x="65" y="127"/>
                  </a:lnTo>
                  <a:lnTo>
                    <a:pt x="66" y="127"/>
                  </a:lnTo>
                  <a:lnTo>
                    <a:pt x="66" y="127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7" y="123"/>
                  </a:lnTo>
                  <a:lnTo>
                    <a:pt x="67" y="121"/>
                  </a:lnTo>
                  <a:lnTo>
                    <a:pt x="67" y="120"/>
                  </a:lnTo>
                  <a:lnTo>
                    <a:pt x="67" y="119"/>
                  </a:lnTo>
                  <a:lnTo>
                    <a:pt x="67" y="118"/>
                  </a:lnTo>
                  <a:lnTo>
                    <a:pt x="67" y="116"/>
                  </a:lnTo>
                  <a:lnTo>
                    <a:pt x="67" y="114"/>
                  </a:lnTo>
                  <a:lnTo>
                    <a:pt x="67" y="113"/>
                  </a:lnTo>
                  <a:lnTo>
                    <a:pt x="67" y="112"/>
                  </a:lnTo>
                  <a:lnTo>
                    <a:pt x="67" y="110"/>
                  </a:lnTo>
                  <a:lnTo>
                    <a:pt x="67" y="109"/>
                  </a:lnTo>
                  <a:lnTo>
                    <a:pt x="67" y="105"/>
                  </a:lnTo>
                  <a:lnTo>
                    <a:pt x="68" y="102"/>
                  </a:lnTo>
                  <a:lnTo>
                    <a:pt x="68" y="101"/>
                  </a:lnTo>
                  <a:lnTo>
                    <a:pt x="68" y="100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8"/>
                  </a:lnTo>
                  <a:lnTo>
                    <a:pt x="70" y="98"/>
                  </a:lnTo>
                  <a:lnTo>
                    <a:pt x="70" y="98"/>
                  </a:lnTo>
                  <a:lnTo>
                    <a:pt x="70" y="97"/>
                  </a:lnTo>
                  <a:lnTo>
                    <a:pt x="72" y="97"/>
                  </a:lnTo>
                  <a:lnTo>
                    <a:pt x="73" y="97"/>
                  </a:lnTo>
                  <a:lnTo>
                    <a:pt x="73" y="96"/>
                  </a:lnTo>
                  <a:lnTo>
                    <a:pt x="73" y="96"/>
                  </a:lnTo>
                  <a:lnTo>
                    <a:pt x="74" y="96"/>
                  </a:lnTo>
                  <a:lnTo>
                    <a:pt x="74" y="95"/>
                  </a:lnTo>
                  <a:lnTo>
                    <a:pt x="74" y="94"/>
                  </a:lnTo>
                  <a:lnTo>
                    <a:pt x="74" y="94"/>
                  </a:lnTo>
                  <a:lnTo>
                    <a:pt x="75" y="93"/>
                  </a:lnTo>
                  <a:lnTo>
                    <a:pt x="75" y="91"/>
                  </a:lnTo>
                  <a:lnTo>
                    <a:pt x="75" y="90"/>
                  </a:lnTo>
                  <a:lnTo>
                    <a:pt x="75" y="89"/>
                  </a:lnTo>
                  <a:lnTo>
                    <a:pt x="76" y="87"/>
                  </a:lnTo>
                  <a:lnTo>
                    <a:pt x="76" y="86"/>
                  </a:lnTo>
                  <a:lnTo>
                    <a:pt x="77" y="84"/>
                  </a:lnTo>
                  <a:lnTo>
                    <a:pt x="78" y="82"/>
                  </a:lnTo>
                  <a:lnTo>
                    <a:pt x="78" y="81"/>
                  </a:lnTo>
                  <a:lnTo>
                    <a:pt x="79" y="80"/>
                  </a:lnTo>
                  <a:lnTo>
                    <a:pt x="80" y="79"/>
                  </a:lnTo>
                  <a:lnTo>
                    <a:pt x="81" y="78"/>
                  </a:lnTo>
                  <a:lnTo>
                    <a:pt x="82" y="76"/>
                  </a:lnTo>
                  <a:lnTo>
                    <a:pt x="86" y="73"/>
                  </a:lnTo>
                  <a:lnTo>
                    <a:pt x="86" y="72"/>
                  </a:lnTo>
                  <a:lnTo>
                    <a:pt x="87" y="71"/>
                  </a:lnTo>
                  <a:lnTo>
                    <a:pt x="88" y="70"/>
                  </a:lnTo>
                  <a:lnTo>
                    <a:pt x="88" y="69"/>
                  </a:lnTo>
                  <a:lnTo>
                    <a:pt x="89" y="68"/>
                  </a:lnTo>
                  <a:lnTo>
                    <a:pt x="90" y="65"/>
                  </a:lnTo>
                  <a:lnTo>
                    <a:pt x="91" y="63"/>
                  </a:lnTo>
                  <a:lnTo>
                    <a:pt x="91" y="62"/>
                  </a:lnTo>
                  <a:lnTo>
                    <a:pt x="91" y="62"/>
                  </a:lnTo>
                  <a:lnTo>
                    <a:pt x="91" y="61"/>
                  </a:lnTo>
                  <a:lnTo>
                    <a:pt x="92" y="61"/>
                  </a:lnTo>
                  <a:lnTo>
                    <a:pt x="93" y="60"/>
                  </a:lnTo>
                  <a:lnTo>
                    <a:pt x="94" y="60"/>
                  </a:lnTo>
                  <a:lnTo>
                    <a:pt x="94" y="59"/>
                  </a:lnTo>
                  <a:lnTo>
                    <a:pt x="97" y="58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9" y="56"/>
                  </a:lnTo>
                  <a:lnTo>
                    <a:pt x="100" y="55"/>
                  </a:lnTo>
                  <a:lnTo>
                    <a:pt x="102" y="53"/>
                  </a:lnTo>
                  <a:lnTo>
                    <a:pt x="103" y="51"/>
                  </a:lnTo>
                  <a:lnTo>
                    <a:pt x="105" y="50"/>
                  </a:lnTo>
                  <a:lnTo>
                    <a:pt x="106" y="49"/>
                  </a:lnTo>
                  <a:lnTo>
                    <a:pt x="108" y="48"/>
                  </a:lnTo>
                  <a:lnTo>
                    <a:pt x="109" y="47"/>
                  </a:lnTo>
                  <a:lnTo>
                    <a:pt x="110" y="47"/>
                  </a:lnTo>
                  <a:lnTo>
                    <a:pt x="112" y="46"/>
                  </a:lnTo>
                  <a:lnTo>
                    <a:pt x="113" y="46"/>
                  </a:lnTo>
                  <a:lnTo>
                    <a:pt x="114" y="46"/>
                  </a:lnTo>
                  <a:lnTo>
                    <a:pt x="114" y="46"/>
                  </a:lnTo>
                  <a:lnTo>
                    <a:pt x="115" y="45"/>
                  </a:lnTo>
                  <a:lnTo>
                    <a:pt x="115" y="45"/>
                  </a:lnTo>
                  <a:lnTo>
                    <a:pt x="115" y="44"/>
                  </a:lnTo>
                  <a:lnTo>
                    <a:pt x="116" y="43"/>
                  </a:lnTo>
                  <a:lnTo>
                    <a:pt x="116" y="42"/>
                  </a:lnTo>
                  <a:lnTo>
                    <a:pt x="117" y="39"/>
                  </a:lnTo>
                  <a:lnTo>
                    <a:pt x="118" y="38"/>
                  </a:lnTo>
                  <a:lnTo>
                    <a:pt x="118" y="37"/>
                  </a:lnTo>
                  <a:lnTo>
                    <a:pt x="119" y="35"/>
                  </a:lnTo>
                  <a:lnTo>
                    <a:pt x="120" y="33"/>
                  </a:lnTo>
                  <a:lnTo>
                    <a:pt x="121" y="31"/>
                  </a:lnTo>
                  <a:lnTo>
                    <a:pt x="122" y="31"/>
                  </a:lnTo>
                  <a:lnTo>
                    <a:pt x="123" y="30"/>
                  </a:lnTo>
                  <a:lnTo>
                    <a:pt x="123" y="29"/>
                  </a:lnTo>
                  <a:lnTo>
                    <a:pt x="124" y="29"/>
                  </a:lnTo>
                  <a:lnTo>
                    <a:pt x="125" y="28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8" y="26"/>
                  </a:lnTo>
                  <a:lnTo>
                    <a:pt x="130" y="26"/>
                  </a:lnTo>
                  <a:lnTo>
                    <a:pt x="133" y="25"/>
                  </a:lnTo>
                  <a:lnTo>
                    <a:pt x="137" y="24"/>
                  </a:lnTo>
                  <a:lnTo>
                    <a:pt x="139" y="24"/>
                  </a:lnTo>
                  <a:lnTo>
                    <a:pt x="145" y="22"/>
                  </a:lnTo>
                  <a:lnTo>
                    <a:pt x="150" y="21"/>
                  </a:lnTo>
                  <a:lnTo>
                    <a:pt x="154" y="20"/>
                  </a:lnTo>
                  <a:lnTo>
                    <a:pt x="155" y="20"/>
                  </a:lnTo>
                  <a:lnTo>
                    <a:pt x="156" y="20"/>
                  </a:lnTo>
                  <a:lnTo>
                    <a:pt x="157" y="20"/>
                  </a:lnTo>
                  <a:lnTo>
                    <a:pt x="159" y="20"/>
                  </a:lnTo>
                  <a:lnTo>
                    <a:pt x="160" y="20"/>
                  </a:lnTo>
                  <a:lnTo>
                    <a:pt x="164" y="20"/>
                  </a:lnTo>
                  <a:lnTo>
                    <a:pt x="169" y="20"/>
                  </a:lnTo>
                  <a:lnTo>
                    <a:pt x="171" y="21"/>
                  </a:lnTo>
                  <a:lnTo>
                    <a:pt x="172" y="21"/>
                  </a:lnTo>
                  <a:lnTo>
                    <a:pt x="173" y="21"/>
                  </a:lnTo>
                  <a:lnTo>
                    <a:pt x="174" y="22"/>
                  </a:lnTo>
                  <a:lnTo>
                    <a:pt x="177" y="23"/>
                  </a:lnTo>
                  <a:lnTo>
                    <a:pt x="178" y="24"/>
                  </a:lnTo>
                  <a:lnTo>
                    <a:pt x="179" y="24"/>
                  </a:lnTo>
                  <a:lnTo>
                    <a:pt x="179" y="24"/>
                  </a:lnTo>
                  <a:lnTo>
                    <a:pt x="180" y="24"/>
                  </a:lnTo>
                  <a:lnTo>
                    <a:pt x="181" y="24"/>
                  </a:lnTo>
                  <a:lnTo>
                    <a:pt x="181" y="24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90" y="15"/>
                  </a:lnTo>
                  <a:lnTo>
                    <a:pt x="191" y="14"/>
                  </a:lnTo>
                  <a:lnTo>
                    <a:pt x="192" y="13"/>
                  </a:lnTo>
                  <a:lnTo>
                    <a:pt x="192" y="12"/>
                  </a:lnTo>
                  <a:lnTo>
                    <a:pt x="194" y="12"/>
                  </a:lnTo>
                  <a:lnTo>
                    <a:pt x="195" y="11"/>
                  </a:lnTo>
                  <a:lnTo>
                    <a:pt x="197" y="10"/>
                  </a:lnTo>
                  <a:lnTo>
                    <a:pt x="199" y="9"/>
                  </a:lnTo>
                  <a:lnTo>
                    <a:pt x="201" y="8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5" y="7"/>
                  </a:lnTo>
                  <a:lnTo>
                    <a:pt x="206" y="7"/>
                  </a:lnTo>
                  <a:lnTo>
                    <a:pt x="207" y="7"/>
                  </a:lnTo>
                  <a:lnTo>
                    <a:pt x="207" y="7"/>
                  </a:lnTo>
                  <a:lnTo>
                    <a:pt x="207" y="7"/>
                  </a:lnTo>
                  <a:lnTo>
                    <a:pt x="208" y="7"/>
                  </a:lnTo>
                  <a:lnTo>
                    <a:pt x="210" y="8"/>
                  </a:lnTo>
                  <a:lnTo>
                    <a:pt x="211" y="8"/>
                  </a:lnTo>
                  <a:lnTo>
                    <a:pt x="211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3" y="7"/>
                  </a:lnTo>
                  <a:lnTo>
                    <a:pt x="213" y="7"/>
                  </a:lnTo>
                  <a:lnTo>
                    <a:pt x="213" y="7"/>
                  </a:lnTo>
                  <a:lnTo>
                    <a:pt x="215" y="3"/>
                  </a:lnTo>
                  <a:lnTo>
                    <a:pt x="216" y="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CCCCCC"/>
            </a:solidFill>
            <a:ln w="63500">
              <a:solidFill>
                <a:srgbClr val="CCCCC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Freeform 18">
              <a:extLst>
                <a:ext uri="{FF2B5EF4-FFF2-40B4-BE49-F238E27FC236}">
                  <a16:creationId xmlns:a16="http://schemas.microsoft.com/office/drawing/2014/main" id="{89393697-C0A3-8EA4-E70A-B343AD7370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2866"/>
              <a:ext cx="504" cy="447"/>
            </a:xfrm>
            <a:custGeom>
              <a:avLst/>
              <a:gdLst>
                <a:gd name="T0" fmla="*/ 434 w 504"/>
                <a:gd name="T1" fmla="*/ 15 h 447"/>
                <a:gd name="T2" fmla="*/ 459 w 504"/>
                <a:gd name="T3" fmla="*/ 8 h 447"/>
                <a:gd name="T4" fmla="*/ 472 w 504"/>
                <a:gd name="T5" fmla="*/ 21 h 447"/>
                <a:gd name="T6" fmla="*/ 486 w 504"/>
                <a:gd name="T7" fmla="*/ 47 h 447"/>
                <a:gd name="T8" fmla="*/ 489 w 504"/>
                <a:gd name="T9" fmla="*/ 63 h 447"/>
                <a:gd name="T10" fmla="*/ 497 w 504"/>
                <a:gd name="T11" fmla="*/ 84 h 447"/>
                <a:gd name="T12" fmla="*/ 479 w 504"/>
                <a:gd name="T13" fmla="*/ 108 h 447"/>
                <a:gd name="T14" fmla="*/ 458 w 504"/>
                <a:gd name="T15" fmla="*/ 114 h 447"/>
                <a:gd name="T16" fmla="*/ 445 w 504"/>
                <a:gd name="T17" fmla="*/ 127 h 447"/>
                <a:gd name="T18" fmla="*/ 436 w 504"/>
                <a:gd name="T19" fmla="*/ 148 h 447"/>
                <a:gd name="T20" fmla="*/ 417 w 504"/>
                <a:gd name="T21" fmla="*/ 176 h 447"/>
                <a:gd name="T22" fmla="*/ 425 w 504"/>
                <a:gd name="T23" fmla="*/ 209 h 447"/>
                <a:gd name="T24" fmla="*/ 450 w 504"/>
                <a:gd name="T25" fmla="*/ 247 h 447"/>
                <a:gd name="T26" fmla="*/ 449 w 504"/>
                <a:gd name="T27" fmla="*/ 259 h 447"/>
                <a:gd name="T28" fmla="*/ 445 w 504"/>
                <a:gd name="T29" fmla="*/ 280 h 447"/>
                <a:gd name="T30" fmla="*/ 423 w 504"/>
                <a:gd name="T31" fmla="*/ 289 h 447"/>
                <a:gd name="T32" fmla="*/ 422 w 504"/>
                <a:gd name="T33" fmla="*/ 308 h 447"/>
                <a:gd name="T34" fmla="*/ 407 w 504"/>
                <a:gd name="T35" fmla="*/ 324 h 447"/>
                <a:gd name="T36" fmla="*/ 370 w 504"/>
                <a:gd name="T37" fmla="*/ 331 h 447"/>
                <a:gd name="T38" fmla="*/ 322 w 504"/>
                <a:gd name="T39" fmla="*/ 328 h 447"/>
                <a:gd name="T40" fmla="*/ 307 w 504"/>
                <a:gd name="T41" fmla="*/ 343 h 447"/>
                <a:gd name="T42" fmla="*/ 292 w 504"/>
                <a:gd name="T43" fmla="*/ 355 h 447"/>
                <a:gd name="T44" fmla="*/ 267 w 504"/>
                <a:gd name="T45" fmla="*/ 371 h 447"/>
                <a:gd name="T46" fmla="*/ 249 w 504"/>
                <a:gd name="T47" fmla="*/ 370 h 447"/>
                <a:gd name="T48" fmla="*/ 218 w 504"/>
                <a:gd name="T49" fmla="*/ 381 h 447"/>
                <a:gd name="T50" fmla="*/ 194 w 504"/>
                <a:gd name="T51" fmla="*/ 393 h 447"/>
                <a:gd name="T52" fmla="*/ 164 w 504"/>
                <a:gd name="T53" fmla="*/ 405 h 447"/>
                <a:gd name="T54" fmla="*/ 155 w 504"/>
                <a:gd name="T55" fmla="*/ 424 h 447"/>
                <a:gd name="T56" fmla="*/ 137 w 504"/>
                <a:gd name="T57" fmla="*/ 437 h 447"/>
                <a:gd name="T58" fmla="*/ 122 w 504"/>
                <a:gd name="T59" fmla="*/ 446 h 447"/>
                <a:gd name="T60" fmla="*/ 109 w 504"/>
                <a:gd name="T61" fmla="*/ 440 h 447"/>
                <a:gd name="T62" fmla="*/ 101 w 504"/>
                <a:gd name="T63" fmla="*/ 437 h 447"/>
                <a:gd name="T64" fmla="*/ 83 w 504"/>
                <a:gd name="T65" fmla="*/ 421 h 447"/>
                <a:gd name="T66" fmla="*/ 95 w 504"/>
                <a:gd name="T67" fmla="*/ 416 h 447"/>
                <a:gd name="T68" fmla="*/ 87 w 504"/>
                <a:gd name="T69" fmla="*/ 386 h 447"/>
                <a:gd name="T70" fmla="*/ 82 w 504"/>
                <a:gd name="T71" fmla="*/ 365 h 447"/>
                <a:gd name="T72" fmla="*/ 83 w 504"/>
                <a:gd name="T73" fmla="*/ 331 h 447"/>
                <a:gd name="T74" fmla="*/ 65 w 504"/>
                <a:gd name="T75" fmla="*/ 318 h 447"/>
                <a:gd name="T76" fmla="*/ 45 w 504"/>
                <a:gd name="T77" fmla="*/ 315 h 447"/>
                <a:gd name="T78" fmla="*/ 25 w 504"/>
                <a:gd name="T79" fmla="*/ 301 h 447"/>
                <a:gd name="T80" fmla="*/ 8 w 504"/>
                <a:gd name="T81" fmla="*/ 287 h 447"/>
                <a:gd name="T82" fmla="*/ 26 w 504"/>
                <a:gd name="T83" fmla="*/ 249 h 447"/>
                <a:gd name="T84" fmla="*/ 54 w 504"/>
                <a:gd name="T85" fmla="*/ 245 h 447"/>
                <a:gd name="T86" fmla="*/ 78 w 504"/>
                <a:gd name="T87" fmla="*/ 240 h 447"/>
                <a:gd name="T88" fmla="*/ 94 w 504"/>
                <a:gd name="T89" fmla="*/ 210 h 447"/>
                <a:gd name="T90" fmla="*/ 111 w 504"/>
                <a:gd name="T91" fmla="*/ 211 h 447"/>
                <a:gd name="T92" fmla="*/ 129 w 504"/>
                <a:gd name="T93" fmla="*/ 186 h 447"/>
                <a:gd name="T94" fmla="*/ 151 w 504"/>
                <a:gd name="T95" fmla="*/ 203 h 447"/>
                <a:gd name="T96" fmla="*/ 171 w 504"/>
                <a:gd name="T97" fmla="*/ 182 h 447"/>
                <a:gd name="T98" fmla="*/ 178 w 504"/>
                <a:gd name="T99" fmla="*/ 158 h 447"/>
                <a:gd name="T100" fmla="*/ 209 w 504"/>
                <a:gd name="T101" fmla="*/ 149 h 447"/>
                <a:gd name="T102" fmla="*/ 232 w 504"/>
                <a:gd name="T103" fmla="*/ 149 h 447"/>
                <a:gd name="T104" fmla="*/ 270 w 504"/>
                <a:gd name="T105" fmla="*/ 148 h 447"/>
                <a:gd name="T106" fmla="*/ 283 w 504"/>
                <a:gd name="T107" fmla="*/ 126 h 447"/>
                <a:gd name="T108" fmla="*/ 308 w 504"/>
                <a:gd name="T109" fmla="*/ 110 h 447"/>
                <a:gd name="T110" fmla="*/ 345 w 504"/>
                <a:gd name="T111" fmla="*/ 104 h 447"/>
                <a:gd name="T112" fmla="*/ 388 w 504"/>
                <a:gd name="T113" fmla="*/ 77 h 447"/>
                <a:gd name="T114" fmla="*/ 423 w 504"/>
                <a:gd name="T115" fmla="*/ 72 h 447"/>
                <a:gd name="T116" fmla="*/ 426 w 504"/>
                <a:gd name="T117" fmla="*/ 54 h 447"/>
                <a:gd name="T118" fmla="*/ 408 w 504"/>
                <a:gd name="T119" fmla="*/ 37 h 447"/>
                <a:gd name="T120" fmla="*/ 393 w 504"/>
                <a:gd name="T121" fmla="*/ 30 h 447"/>
                <a:gd name="T122" fmla="*/ 402 w 504"/>
                <a:gd name="T123" fmla="*/ 1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4" h="447">
                  <a:moveTo>
                    <a:pt x="404" y="0"/>
                  </a:moveTo>
                  <a:lnTo>
                    <a:pt x="405" y="0"/>
                  </a:lnTo>
                  <a:lnTo>
                    <a:pt x="405" y="0"/>
                  </a:lnTo>
                  <a:lnTo>
                    <a:pt x="406" y="1"/>
                  </a:lnTo>
                  <a:lnTo>
                    <a:pt x="410" y="3"/>
                  </a:lnTo>
                  <a:lnTo>
                    <a:pt x="411" y="4"/>
                  </a:lnTo>
                  <a:lnTo>
                    <a:pt x="413" y="5"/>
                  </a:lnTo>
                  <a:lnTo>
                    <a:pt x="414" y="5"/>
                  </a:lnTo>
                  <a:lnTo>
                    <a:pt x="415" y="5"/>
                  </a:lnTo>
                  <a:lnTo>
                    <a:pt x="419" y="6"/>
                  </a:lnTo>
                  <a:lnTo>
                    <a:pt x="420" y="6"/>
                  </a:lnTo>
                  <a:lnTo>
                    <a:pt x="421" y="7"/>
                  </a:lnTo>
                  <a:lnTo>
                    <a:pt x="422" y="7"/>
                  </a:lnTo>
                  <a:lnTo>
                    <a:pt x="423" y="8"/>
                  </a:lnTo>
                  <a:lnTo>
                    <a:pt x="425" y="9"/>
                  </a:lnTo>
                  <a:lnTo>
                    <a:pt x="426" y="10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0" y="13"/>
                  </a:lnTo>
                  <a:lnTo>
                    <a:pt x="431" y="14"/>
                  </a:lnTo>
                  <a:lnTo>
                    <a:pt x="432" y="14"/>
                  </a:lnTo>
                  <a:lnTo>
                    <a:pt x="433" y="15"/>
                  </a:lnTo>
                  <a:lnTo>
                    <a:pt x="434" y="15"/>
                  </a:lnTo>
                  <a:lnTo>
                    <a:pt x="435" y="15"/>
                  </a:lnTo>
                  <a:lnTo>
                    <a:pt x="436" y="15"/>
                  </a:lnTo>
                  <a:lnTo>
                    <a:pt x="437" y="15"/>
                  </a:lnTo>
                  <a:lnTo>
                    <a:pt x="438" y="14"/>
                  </a:lnTo>
                  <a:lnTo>
                    <a:pt x="439" y="14"/>
                  </a:lnTo>
                  <a:lnTo>
                    <a:pt x="440" y="14"/>
                  </a:lnTo>
                  <a:lnTo>
                    <a:pt x="444" y="12"/>
                  </a:lnTo>
                  <a:lnTo>
                    <a:pt x="445" y="12"/>
                  </a:lnTo>
                  <a:lnTo>
                    <a:pt x="447" y="11"/>
                  </a:lnTo>
                  <a:lnTo>
                    <a:pt x="448" y="11"/>
                  </a:lnTo>
                  <a:lnTo>
                    <a:pt x="449" y="11"/>
                  </a:lnTo>
                  <a:lnTo>
                    <a:pt x="450" y="11"/>
                  </a:lnTo>
                  <a:lnTo>
                    <a:pt x="451" y="11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5" y="12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8" y="10"/>
                  </a:lnTo>
                  <a:lnTo>
                    <a:pt x="459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2" y="9"/>
                  </a:lnTo>
                  <a:lnTo>
                    <a:pt x="462" y="9"/>
                  </a:lnTo>
                  <a:lnTo>
                    <a:pt x="462" y="11"/>
                  </a:lnTo>
                  <a:lnTo>
                    <a:pt x="462" y="12"/>
                  </a:lnTo>
                  <a:lnTo>
                    <a:pt x="462" y="12"/>
                  </a:lnTo>
                  <a:lnTo>
                    <a:pt x="463" y="13"/>
                  </a:lnTo>
                  <a:lnTo>
                    <a:pt x="463" y="14"/>
                  </a:lnTo>
                  <a:lnTo>
                    <a:pt x="464" y="14"/>
                  </a:lnTo>
                  <a:lnTo>
                    <a:pt x="464" y="15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9" y="18"/>
                  </a:lnTo>
                  <a:lnTo>
                    <a:pt x="470" y="19"/>
                  </a:lnTo>
                  <a:lnTo>
                    <a:pt x="471" y="21"/>
                  </a:lnTo>
                  <a:lnTo>
                    <a:pt x="472" y="21"/>
                  </a:lnTo>
                  <a:lnTo>
                    <a:pt x="473" y="22"/>
                  </a:lnTo>
                  <a:lnTo>
                    <a:pt x="474" y="22"/>
                  </a:lnTo>
                  <a:lnTo>
                    <a:pt x="475" y="22"/>
                  </a:lnTo>
                  <a:lnTo>
                    <a:pt x="478" y="23"/>
                  </a:lnTo>
                  <a:lnTo>
                    <a:pt x="478" y="23"/>
                  </a:lnTo>
                  <a:lnTo>
                    <a:pt x="479" y="24"/>
                  </a:lnTo>
                  <a:lnTo>
                    <a:pt x="480" y="24"/>
                  </a:lnTo>
                  <a:lnTo>
                    <a:pt x="481" y="25"/>
                  </a:lnTo>
                  <a:lnTo>
                    <a:pt x="482" y="26"/>
                  </a:lnTo>
                  <a:lnTo>
                    <a:pt x="483" y="26"/>
                  </a:lnTo>
                  <a:lnTo>
                    <a:pt x="484" y="28"/>
                  </a:lnTo>
                  <a:lnTo>
                    <a:pt x="486" y="30"/>
                  </a:lnTo>
                  <a:lnTo>
                    <a:pt x="487" y="31"/>
                  </a:lnTo>
                  <a:lnTo>
                    <a:pt x="487" y="32"/>
                  </a:lnTo>
                  <a:lnTo>
                    <a:pt x="488" y="34"/>
                  </a:lnTo>
                  <a:lnTo>
                    <a:pt x="488" y="35"/>
                  </a:lnTo>
                  <a:lnTo>
                    <a:pt x="488" y="36"/>
                  </a:lnTo>
                  <a:lnTo>
                    <a:pt x="488" y="38"/>
                  </a:lnTo>
                  <a:lnTo>
                    <a:pt x="488" y="39"/>
                  </a:lnTo>
                  <a:lnTo>
                    <a:pt x="488" y="41"/>
                  </a:lnTo>
                  <a:lnTo>
                    <a:pt x="487" y="43"/>
                  </a:lnTo>
                  <a:lnTo>
                    <a:pt x="487" y="45"/>
                  </a:lnTo>
                  <a:lnTo>
                    <a:pt x="486" y="47"/>
                  </a:lnTo>
                  <a:lnTo>
                    <a:pt x="485" y="50"/>
                  </a:lnTo>
                  <a:lnTo>
                    <a:pt x="484" y="51"/>
                  </a:lnTo>
                  <a:lnTo>
                    <a:pt x="482" y="55"/>
                  </a:lnTo>
                  <a:lnTo>
                    <a:pt x="482" y="56"/>
                  </a:lnTo>
                  <a:lnTo>
                    <a:pt x="481" y="57"/>
                  </a:lnTo>
                  <a:lnTo>
                    <a:pt x="481" y="57"/>
                  </a:lnTo>
                  <a:lnTo>
                    <a:pt x="481" y="59"/>
                  </a:lnTo>
                  <a:lnTo>
                    <a:pt x="481" y="59"/>
                  </a:lnTo>
                  <a:lnTo>
                    <a:pt x="481" y="60"/>
                  </a:lnTo>
                  <a:lnTo>
                    <a:pt x="481" y="60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4" y="63"/>
                  </a:lnTo>
                  <a:lnTo>
                    <a:pt x="485" y="64"/>
                  </a:lnTo>
                  <a:lnTo>
                    <a:pt x="485" y="64"/>
                  </a:lnTo>
                  <a:lnTo>
                    <a:pt x="486" y="64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2"/>
                  </a:lnTo>
                  <a:lnTo>
                    <a:pt x="495" y="61"/>
                  </a:lnTo>
                  <a:lnTo>
                    <a:pt x="497" y="61"/>
                  </a:lnTo>
                  <a:lnTo>
                    <a:pt x="498" y="60"/>
                  </a:lnTo>
                  <a:lnTo>
                    <a:pt x="499" y="60"/>
                  </a:lnTo>
                  <a:lnTo>
                    <a:pt x="500" y="60"/>
                  </a:lnTo>
                  <a:lnTo>
                    <a:pt x="501" y="60"/>
                  </a:lnTo>
                  <a:lnTo>
                    <a:pt x="501" y="60"/>
                  </a:lnTo>
                  <a:lnTo>
                    <a:pt x="502" y="60"/>
                  </a:lnTo>
                  <a:lnTo>
                    <a:pt x="502" y="61"/>
                  </a:lnTo>
                  <a:lnTo>
                    <a:pt x="503" y="61"/>
                  </a:lnTo>
                  <a:lnTo>
                    <a:pt x="503" y="62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4"/>
                  </a:lnTo>
                  <a:lnTo>
                    <a:pt x="504" y="65"/>
                  </a:lnTo>
                  <a:lnTo>
                    <a:pt x="504" y="66"/>
                  </a:lnTo>
                  <a:lnTo>
                    <a:pt x="504" y="68"/>
                  </a:lnTo>
                  <a:lnTo>
                    <a:pt x="504" y="69"/>
                  </a:lnTo>
                  <a:lnTo>
                    <a:pt x="503" y="70"/>
                  </a:lnTo>
                  <a:lnTo>
                    <a:pt x="502" y="73"/>
                  </a:lnTo>
                  <a:lnTo>
                    <a:pt x="501" y="75"/>
                  </a:lnTo>
                  <a:lnTo>
                    <a:pt x="497" y="84"/>
                  </a:lnTo>
                  <a:lnTo>
                    <a:pt x="495" y="90"/>
                  </a:lnTo>
                  <a:lnTo>
                    <a:pt x="495" y="91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4" y="93"/>
                  </a:lnTo>
                  <a:lnTo>
                    <a:pt x="494" y="93"/>
                  </a:lnTo>
                  <a:lnTo>
                    <a:pt x="493" y="95"/>
                  </a:lnTo>
                  <a:lnTo>
                    <a:pt x="491" y="96"/>
                  </a:lnTo>
                  <a:lnTo>
                    <a:pt x="490" y="97"/>
                  </a:lnTo>
                  <a:lnTo>
                    <a:pt x="489" y="98"/>
                  </a:lnTo>
                  <a:lnTo>
                    <a:pt x="487" y="99"/>
                  </a:lnTo>
                  <a:lnTo>
                    <a:pt x="485" y="100"/>
                  </a:lnTo>
                  <a:lnTo>
                    <a:pt x="484" y="101"/>
                  </a:lnTo>
                  <a:lnTo>
                    <a:pt x="482" y="102"/>
                  </a:lnTo>
                  <a:lnTo>
                    <a:pt x="482" y="102"/>
                  </a:lnTo>
                  <a:lnTo>
                    <a:pt x="482" y="103"/>
                  </a:lnTo>
                  <a:lnTo>
                    <a:pt x="481" y="104"/>
                  </a:lnTo>
                  <a:lnTo>
                    <a:pt x="481" y="104"/>
                  </a:lnTo>
                  <a:lnTo>
                    <a:pt x="480" y="105"/>
                  </a:lnTo>
                  <a:lnTo>
                    <a:pt x="480" y="107"/>
                  </a:lnTo>
                  <a:lnTo>
                    <a:pt x="479" y="108"/>
                  </a:lnTo>
                  <a:lnTo>
                    <a:pt x="478" y="114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6" y="116"/>
                  </a:lnTo>
                  <a:lnTo>
                    <a:pt x="476" y="117"/>
                  </a:lnTo>
                  <a:lnTo>
                    <a:pt x="476" y="117"/>
                  </a:lnTo>
                  <a:lnTo>
                    <a:pt x="475" y="118"/>
                  </a:lnTo>
                  <a:lnTo>
                    <a:pt x="475" y="118"/>
                  </a:lnTo>
                  <a:lnTo>
                    <a:pt x="474" y="118"/>
                  </a:lnTo>
                  <a:lnTo>
                    <a:pt x="474" y="119"/>
                  </a:lnTo>
                  <a:lnTo>
                    <a:pt x="473" y="119"/>
                  </a:lnTo>
                  <a:lnTo>
                    <a:pt x="472" y="119"/>
                  </a:lnTo>
                  <a:lnTo>
                    <a:pt x="471" y="119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69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6" y="118"/>
                  </a:lnTo>
                  <a:lnTo>
                    <a:pt x="464" y="118"/>
                  </a:lnTo>
                  <a:lnTo>
                    <a:pt x="463" y="117"/>
                  </a:lnTo>
                  <a:lnTo>
                    <a:pt x="460" y="115"/>
                  </a:lnTo>
                  <a:lnTo>
                    <a:pt x="458" y="114"/>
                  </a:lnTo>
                  <a:lnTo>
                    <a:pt x="457" y="114"/>
                  </a:lnTo>
                  <a:lnTo>
                    <a:pt x="455" y="113"/>
                  </a:lnTo>
                  <a:lnTo>
                    <a:pt x="454" y="112"/>
                  </a:lnTo>
                  <a:lnTo>
                    <a:pt x="453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1" y="112"/>
                  </a:lnTo>
                  <a:lnTo>
                    <a:pt x="450" y="112"/>
                  </a:lnTo>
                  <a:lnTo>
                    <a:pt x="448" y="113"/>
                  </a:lnTo>
                  <a:lnTo>
                    <a:pt x="447" y="113"/>
                  </a:lnTo>
                  <a:lnTo>
                    <a:pt x="447" y="113"/>
                  </a:lnTo>
                  <a:lnTo>
                    <a:pt x="446" y="113"/>
                  </a:lnTo>
                  <a:lnTo>
                    <a:pt x="446" y="113"/>
                  </a:lnTo>
                  <a:lnTo>
                    <a:pt x="446" y="114"/>
                  </a:lnTo>
                  <a:lnTo>
                    <a:pt x="446" y="114"/>
                  </a:lnTo>
                  <a:lnTo>
                    <a:pt x="446" y="115"/>
                  </a:lnTo>
                  <a:lnTo>
                    <a:pt x="446" y="116"/>
                  </a:lnTo>
                  <a:lnTo>
                    <a:pt x="446" y="119"/>
                  </a:lnTo>
                  <a:lnTo>
                    <a:pt x="446" y="121"/>
                  </a:lnTo>
                  <a:lnTo>
                    <a:pt x="446" y="122"/>
                  </a:lnTo>
                  <a:lnTo>
                    <a:pt x="446" y="123"/>
                  </a:lnTo>
                  <a:lnTo>
                    <a:pt x="446" y="126"/>
                  </a:lnTo>
                  <a:lnTo>
                    <a:pt x="445" y="127"/>
                  </a:lnTo>
                  <a:lnTo>
                    <a:pt x="445" y="128"/>
                  </a:lnTo>
                  <a:lnTo>
                    <a:pt x="445" y="128"/>
                  </a:lnTo>
                  <a:lnTo>
                    <a:pt x="444" y="129"/>
                  </a:lnTo>
                  <a:lnTo>
                    <a:pt x="444" y="130"/>
                  </a:lnTo>
                  <a:lnTo>
                    <a:pt x="442" y="132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0" y="134"/>
                  </a:lnTo>
                  <a:lnTo>
                    <a:pt x="440" y="135"/>
                  </a:lnTo>
                  <a:lnTo>
                    <a:pt x="439" y="136"/>
                  </a:lnTo>
                  <a:lnTo>
                    <a:pt x="439" y="137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7" y="141"/>
                  </a:lnTo>
                  <a:lnTo>
                    <a:pt x="437" y="142"/>
                  </a:lnTo>
                  <a:lnTo>
                    <a:pt x="437" y="143"/>
                  </a:lnTo>
                  <a:lnTo>
                    <a:pt x="437" y="144"/>
                  </a:lnTo>
                  <a:lnTo>
                    <a:pt x="437" y="146"/>
                  </a:lnTo>
                  <a:lnTo>
                    <a:pt x="437" y="146"/>
                  </a:lnTo>
                  <a:lnTo>
                    <a:pt x="437" y="147"/>
                  </a:lnTo>
                  <a:lnTo>
                    <a:pt x="436" y="147"/>
                  </a:lnTo>
                  <a:lnTo>
                    <a:pt x="436" y="147"/>
                  </a:lnTo>
                  <a:lnTo>
                    <a:pt x="436" y="148"/>
                  </a:lnTo>
                  <a:lnTo>
                    <a:pt x="435" y="148"/>
                  </a:lnTo>
                  <a:lnTo>
                    <a:pt x="434" y="149"/>
                  </a:lnTo>
                  <a:lnTo>
                    <a:pt x="433" y="149"/>
                  </a:lnTo>
                  <a:lnTo>
                    <a:pt x="433" y="149"/>
                  </a:lnTo>
                  <a:lnTo>
                    <a:pt x="430" y="152"/>
                  </a:lnTo>
                  <a:lnTo>
                    <a:pt x="427" y="154"/>
                  </a:lnTo>
                  <a:lnTo>
                    <a:pt x="426" y="155"/>
                  </a:lnTo>
                  <a:lnTo>
                    <a:pt x="425" y="156"/>
                  </a:lnTo>
                  <a:lnTo>
                    <a:pt x="425" y="156"/>
                  </a:lnTo>
                  <a:lnTo>
                    <a:pt x="424" y="157"/>
                  </a:lnTo>
                  <a:lnTo>
                    <a:pt x="424" y="158"/>
                  </a:lnTo>
                  <a:lnTo>
                    <a:pt x="423" y="159"/>
                  </a:lnTo>
                  <a:lnTo>
                    <a:pt x="423" y="160"/>
                  </a:lnTo>
                  <a:lnTo>
                    <a:pt x="422" y="162"/>
                  </a:lnTo>
                  <a:lnTo>
                    <a:pt x="422" y="163"/>
                  </a:lnTo>
                  <a:lnTo>
                    <a:pt x="422" y="164"/>
                  </a:lnTo>
                  <a:lnTo>
                    <a:pt x="421" y="167"/>
                  </a:lnTo>
                  <a:lnTo>
                    <a:pt x="421" y="168"/>
                  </a:lnTo>
                  <a:lnTo>
                    <a:pt x="421" y="169"/>
                  </a:lnTo>
                  <a:lnTo>
                    <a:pt x="420" y="170"/>
                  </a:lnTo>
                  <a:lnTo>
                    <a:pt x="420" y="171"/>
                  </a:lnTo>
                  <a:lnTo>
                    <a:pt x="418" y="174"/>
                  </a:lnTo>
                  <a:lnTo>
                    <a:pt x="417" y="176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8"/>
                  </a:lnTo>
                  <a:lnTo>
                    <a:pt x="415" y="178"/>
                  </a:lnTo>
                  <a:lnTo>
                    <a:pt x="415" y="179"/>
                  </a:lnTo>
                  <a:lnTo>
                    <a:pt x="415" y="180"/>
                  </a:lnTo>
                  <a:lnTo>
                    <a:pt x="415" y="181"/>
                  </a:lnTo>
                  <a:lnTo>
                    <a:pt x="415" y="182"/>
                  </a:lnTo>
                  <a:lnTo>
                    <a:pt x="416" y="182"/>
                  </a:lnTo>
                  <a:lnTo>
                    <a:pt x="416" y="183"/>
                  </a:lnTo>
                  <a:lnTo>
                    <a:pt x="417" y="185"/>
                  </a:lnTo>
                  <a:lnTo>
                    <a:pt x="417" y="186"/>
                  </a:lnTo>
                  <a:lnTo>
                    <a:pt x="418" y="187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19" y="193"/>
                  </a:lnTo>
                  <a:lnTo>
                    <a:pt x="419" y="196"/>
                  </a:lnTo>
                  <a:lnTo>
                    <a:pt x="420" y="196"/>
                  </a:lnTo>
                  <a:lnTo>
                    <a:pt x="420" y="198"/>
                  </a:lnTo>
                  <a:lnTo>
                    <a:pt x="421" y="199"/>
                  </a:lnTo>
                  <a:lnTo>
                    <a:pt x="422" y="201"/>
                  </a:lnTo>
                  <a:lnTo>
                    <a:pt x="423" y="205"/>
                  </a:lnTo>
                  <a:lnTo>
                    <a:pt x="425" y="209"/>
                  </a:lnTo>
                  <a:lnTo>
                    <a:pt x="426" y="210"/>
                  </a:lnTo>
                  <a:lnTo>
                    <a:pt x="427" y="211"/>
                  </a:lnTo>
                  <a:lnTo>
                    <a:pt x="428" y="213"/>
                  </a:lnTo>
                  <a:lnTo>
                    <a:pt x="428" y="214"/>
                  </a:lnTo>
                  <a:lnTo>
                    <a:pt x="430" y="216"/>
                  </a:lnTo>
                  <a:lnTo>
                    <a:pt x="430" y="217"/>
                  </a:lnTo>
                  <a:lnTo>
                    <a:pt x="431" y="218"/>
                  </a:lnTo>
                  <a:lnTo>
                    <a:pt x="432" y="220"/>
                  </a:lnTo>
                  <a:lnTo>
                    <a:pt x="433" y="222"/>
                  </a:lnTo>
                  <a:lnTo>
                    <a:pt x="433" y="223"/>
                  </a:lnTo>
                  <a:lnTo>
                    <a:pt x="436" y="230"/>
                  </a:lnTo>
                  <a:lnTo>
                    <a:pt x="436" y="230"/>
                  </a:lnTo>
                  <a:lnTo>
                    <a:pt x="437" y="231"/>
                  </a:lnTo>
                  <a:lnTo>
                    <a:pt x="439" y="236"/>
                  </a:lnTo>
                  <a:lnTo>
                    <a:pt x="441" y="240"/>
                  </a:lnTo>
                  <a:lnTo>
                    <a:pt x="442" y="240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44" y="243"/>
                  </a:lnTo>
                  <a:lnTo>
                    <a:pt x="445" y="243"/>
                  </a:lnTo>
                  <a:lnTo>
                    <a:pt x="447" y="245"/>
                  </a:lnTo>
                  <a:lnTo>
                    <a:pt x="448" y="246"/>
                  </a:lnTo>
                  <a:lnTo>
                    <a:pt x="450" y="247"/>
                  </a:lnTo>
                  <a:lnTo>
                    <a:pt x="451" y="248"/>
                  </a:lnTo>
                  <a:lnTo>
                    <a:pt x="451" y="249"/>
                  </a:lnTo>
                  <a:lnTo>
                    <a:pt x="452" y="249"/>
                  </a:lnTo>
                  <a:lnTo>
                    <a:pt x="453" y="250"/>
                  </a:lnTo>
                  <a:lnTo>
                    <a:pt x="453" y="251"/>
                  </a:lnTo>
                  <a:lnTo>
                    <a:pt x="454" y="252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5"/>
                  </a:lnTo>
                  <a:lnTo>
                    <a:pt x="455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3" y="254"/>
                  </a:lnTo>
                  <a:lnTo>
                    <a:pt x="453" y="255"/>
                  </a:lnTo>
                  <a:lnTo>
                    <a:pt x="452" y="255"/>
                  </a:lnTo>
                  <a:lnTo>
                    <a:pt x="452" y="256"/>
                  </a:lnTo>
                  <a:lnTo>
                    <a:pt x="451" y="256"/>
                  </a:lnTo>
                  <a:lnTo>
                    <a:pt x="450" y="257"/>
                  </a:lnTo>
                  <a:lnTo>
                    <a:pt x="450" y="258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60"/>
                  </a:lnTo>
                  <a:lnTo>
                    <a:pt x="449" y="260"/>
                  </a:lnTo>
                  <a:lnTo>
                    <a:pt x="449" y="261"/>
                  </a:lnTo>
                  <a:lnTo>
                    <a:pt x="449" y="262"/>
                  </a:lnTo>
                  <a:lnTo>
                    <a:pt x="449" y="262"/>
                  </a:lnTo>
                  <a:lnTo>
                    <a:pt x="449" y="264"/>
                  </a:lnTo>
                  <a:lnTo>
                    <a:pt x="450" y="267"/>
                  </a:lnTo>
                  <a:lnTo>
                    <a:pt x="450" y="269"/>
                  </a:lnTo>
                  <a:lnTo>
                    <a:pt x="450" y="270"/>
                  </a:lnTo>
                  <a:lnTo>
                    <a:pt x="450" y="273"/>
                  </a:lnTo>
                  <a:lnTo>
                    <a:pt x="450" y="274"/>
                  </a:lnTo>
                  <a:lnTo>
                    <a:pt x="450" y="275"/>
                  </a:lnTo>
                  <a:lnTo>
                    <a:pt x="450" y="275"/>
                  </a:lnTo>
                  <a:lnTo>
                    <a:pt x="450" y="276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7" y="279"/>
                  </a:lnTo>
                  <a:lnTo>
                    <a:pt x="445" y="280"/>
                  </a:lnTo>
                  <a:lnTo>
                    <a:pt x="442" y="281"/>
                  </a:lnTo>
                  <a:lnTo>
                    <a:pt x="439" y="281"/>
                  </a:lnTo>
                  <a:lnTo>
                    <a:pt x="438" y="282"/>
                  </a:lnTo>
                  <a:lnTo>
                    <a:pt x="438" y="282"/>
                  </a:lnTo>
                  <a:lnTo>
                    <a:pt x="437" y="282"/>
                  </a:lnTo>
                  <a:lnTo>
                    <a:pt x="437" y="283"/>
                  </a:lnTo>
                  <a:lnTo>
                    <a:pt x="436" y="286"/>
                  </a:lnTo>
                  <a:lnTo>
                    <a:pt x="434" y="288"/>
                  </a:lnTo>
                  <a:lnTo>
                    <a:pt x="434" y="289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2" y="291"/>
                  </a:lnTo>
                  <a:lnTo>
                    <a:pt x="431" y="291"/>
                  </a:lnTo>
                  <a:lnTo>
                    <a:pt x="430" y="291"/>
                  </a:lnTo>
                  <a:lnTo>
                    <a:pt x="429" y="291"/>
                  </a:lnTo>
                  <a:lnTo>
                    <a:pt x="428" y="291"/>
                  </a:lnTo>
                  <a:lnTo>
                    <a:pt x="424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2" y="289"/>
                  </a:lnTo>
                  <a:lnTo>
                    <a:pt x="422" y="289"/>
                  </a:lnTo>
                  <a:lnTo>
                    <a:pt x="421" y="289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1"/>
                  </a:lnTo>
                  <a:lnTo>
                    <a:pt x="420" y="292"/>
                  </a:lnTo>
                  <a:lnTo>
                    <a:pt x="420" y="294"/>
                  </a:lnTo>
                  <a:lnTo>
                    <a:pt x="420" y="296"/>
                  </a:lnTo>
                  <a:lnTo>
                    <a:pt x="420" y="297"/>
                  </a:lnTo>
                  <a:lnTo>
                    <a:pt x="420" y="298"/>
                  </a:lnTo>
                  <a:lnTo>
                    <a:pt x="420" y="299"/>
                  </a:lnTo>
                  <a:lnTo>
                    <a:pt x="420" y="300"/>
                  </a:lnTo>
                  <a:lnTo>
                    <a:pt x="420" y="301"/>
                  </a:lnTo>
                  <a:lnTo>
                    <a:pt x="421" y="302"/>
                  </a:lnTo>
                  <a:lnTo>
                    <a:pt x="421" y="305"/>
                  </a:lnTo>
                  <a:lnTo>
                    <a:pt x="422" y="306"/>
                  </a:lnTo>
                  <a:lnTo>
                    <a:pt x="422" y="307"/>
                  </a:lnTo>
                  <a:lnTo>
                    <a:pt x="422" y="308"/>
                  </a:lnTo>
                  <a:lnTo>
                    <a:pt x="422" y="309"/>
                  </a:lnTo>
                  <a:lnTo>
                    <a:pt x="422" y="311"/>
                  </a:lnTo>
                  <a:lnTo>
                    <a:pt x="422" y="312"/>
                  </a:lnTo>
                  <a:lnTo>
                    <a:pt x="421" y="313"/>
                  </a:lnTo>
                  <a:lnTo>
                    <a:pt x="421" y="315"/>
                  </a:lnTo>
                  <a:lnTo>
                    <a:pt x="420" y="319"/>
                  </a:lnTo>
                  <a:lnTo>
                    <a:pt x="420" y="320"/>
                  </a:lnTo>
                  <a:lnTo>
                    <a:pt x="420" y="321"/>
                  </a:lnTo>
                  <a:lnTo>
                    <a:pt x="419" y="322"/>
                  </a:lnTo>
                  <a:lnTo>
                    <a:pt x="419" y="323"/>
                  </a:lnTo>
                  <a:lnTo>
                    <a:pt x="418" y="323"/>
                  </a:lnTo>
                  <a:lnTo>
                    <a:pt x="418" y="324"/>
                  </a:lnTo>
                  <a:lnTo>
                    <a:pt x="418" y="324"/>
                  </a:lnTo>
                  <a:lnTo>
                    <a:pt x="417" y="324"/>
                  </a:lnTo>
                  <a:lnTo>
                    <a:pt x="417" y="325"/>
                  </a:lnTo>
                  <a:lnTo>
                    <a:pt x="416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3" y="325"/>
                  </a:lnTo>
                  <a:lnTo>
                    <a:pt x="411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4"/>
                  </a:lnTo>
                  <a:lnTo>
                    <a:pt x="401" y="325"/>
                  </a:lnTo>
                  <a:lnTo>
                    <a:pt x="395" y="326"/>
                  </a:lnTo>
                  <a:lnTo>
                    <a:pt x="394" y="326"/>
                  </a:lnTo>
                  <a:lnTo>
                    <a:pt x="393" y="326"/>
                  </a:lnTo>
                  <a:lnTo>
                    <a:pt x="392" y="327"/>
                  </a:lnTo>
                  <a:lnTo>
                    <a:pt x="391" y="327"/>
                  </a:lnTo>
                  <a:lnTo>
                    <a:pt x="391" y="327"/>
                  </a:lnTo>
                  <a:lnTo>
                    <a:pt x="390" y="328"/>
                  </a:lnTo>
                  <a:lnTo>
                    <a:pt x="388" y="330"/>
                  </a:lnTo>
                  <a:lnTo>
                    <a:pt x="387" y="331"/>
                  </a:lnTo>
                  <a:lnTo>
                    <a:pt x="386" y="332"/>
                  </a:lnTo>
                  <a:lnTo>
                    <a:pt x="385" y="332"/>
                  </a:lnTo>
                  <a:lnTo>
                    <a:pt x="384" y="333"/>
                  </a:lnTo>
                  <a:lnTo>
                    <a:pt x="384" y="333"/>
                  </a:lnTo>
                  <a:lnTo>
                    <a:pt x="383" y="333"/>
                  </a:lnTo>
                  <a:lnTo>
                    <a:pt x="383" y="333"/>
                  </a:lnTo>
                  <a:lnTo>
                    <a:pt x="382" y="333"/>
                  </a:lnTo>
                  <a:lnTo>
                    <a:pt x="381" y="333"/>
                  </a:lnTo>
                  <a:lnTo>
                    <a:pt x="379" y="333"/>
                  </a:lnTo>
                  <a:lnTo>
                    <a:pt x="376" y="332"/>
                  </a:lnTo>
                  <a:lnTo>
                    <a:pt x="372" y="331"/>
                  </a:lnTo>
                  <a:lnTo>
                    <a:pt x="370" y="331"/>
                  </a:lnTo>
                  <a:lnTo>
                    <a:pt x="368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6" y="330"/>
                  </a:lnTo>
                  <a:lnTo>
                    <a:pt x="365" y="330"/>
                  </a:lnTo>
                  <a:lnTo>
                    <a:pt x="365" y="331"/>
                  </a:lnTo>
                  <a:lnTo>
                    <a:pt x="363" y="332"/>
                  </a:lnTo>
                  <a:lnTo>
                    <a:pt x="361" y="332"/>
                  </a:lnTo>
                  <a:lnTo>
                    <a:pt x="359" y="332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3" y="333"/>
                  </a:lnTo>
                  <a:lnTo>
                    <a:pt x="350" y="333"/>
                  </a:lnTo>
                  <a:lnTo>
                    <a:pt x="348" y="333"/>
                  </a:lnTo>
                  <a:lnTo>
                    <a:pt x="346" y="333"/>
                  </a:lnTo>
                  <a:lnTo>
                    <a:pt x="340" y="332"/>
                  </a:lnTo>
                  <a:lnTo>
                    <a:pt x="338" y="332"/>
                  </a:lnTo>
                  <a:lnTo>
                    <a:pt x="336" y="332"/>
                  </a:lnTo>
                  <a:lnTo>
                    <a:pt x="333" y="331"/>
                  </a:lnTo>
                  <a:lnTo>
                    <a:pt x="329" y="330"/>
                  </a:lnTo>
                  <a:lnTo>
                    <a:pt x="325" y="329"/>
                  </a:lnTo>
                  <a:lnTo>
                    <a:pt x="323" y="328"/>
                  </a:lnTo>
                  <a:lnTo>
                    <a:pt x="322" y="328"/>
                  </a:lnTo>
                  <a:lnTo>
                    <a:pt x="317" y="328"/>
                  </a:lnTo>
                  <a:lnTo>
                    <a:pt x="316" y="328"/>
                  </a:lnTo>
                  <a:lnTo>
                    <a:pt x="315" y="328"/>
                  </a:lnTo>
                  <a:lnTo>
                    <a:pt x="314" y="328"/>
                  </a:lnTo>
                  <a:lnTo>
                    <a:pt x="313" y="328"/>
                  </a:lnTo>
                  <a:lnTo>
                    <a:pt x="313" y="328"/>
                  </a:lnTo>
                  <a:lnTo>
                    <a:pt x="312" y="329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09" y="331"/>
                  </a:lnTo>
                  <a:lnTo>
                    <a:pt x="309" y="331"/>
                  </a:lnTo>
                  <a:lnTo>
                    <a:pt x="308" y="332"/>
                  </a:lnTo>
                  <a:lnTo>
                    <a:pt x="307" y="333"/>
                  </a:lnTo>
                  <a:lnTo>
                    <a:pt x="307" y="333"/>
                  </a:lnTo>
                  <a:lnTo>
                    <a:pt x="307" y="334"/>
                  </a:lnTo>
                  <a:lnTo>
                    <a:pt x="307" y="335"/>
                  </a:lnTo>
                  <a:lnTo>
                    <a:pt x="307" y="335"/>
                  </a:lnTo>
                  <a:lnTo>
                    <a:pt x="307" y="336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4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4" y="346"/>
                  </a:lnTo>
                  <a:lnTo>
                    <a:pt x="304" y="346"/>
                  </a:lnTo>
                  <a:lnTo>
                    <a:pt x="302" y="346"/>
                  </a:lnTo>
                  <a:lnTo>
                    <a:pt x="301" y="346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298" y="347"/>
                  </a:lnTo>
                  <a:lnTo>
                    <a:pt x="298" y="347"/>
                  </a:lnTo>
                  <a:lnTo>
                    <a:pt x="297" y="347"/>
                  </a:lnTo>
                  <a:lnTo>
                    <a:pt x="297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2"/>
                  </a:lnTo>
                  <a:lnTo>
                    <a:pt x="295" y="353"/>
                  </a:lnTo>
                  <a:lnTo>
                    <a:pt x="294" y="353"/>
                  </a:lnTo>
                  <a:lnTo>
                    <a:pt x="292" y="355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89" y="357"/>
                  </a:lnTo>
                  <a:lnTo>
                    <a:pt x="288" y="358"/>
                  </a:lnTo>
                  <a:lnTo>
                    <a:pt x="287" y="359"/>
                  </a:lnTo>
                  <a:lnTo>
                    <a:pt x="286" y="359"/>
                  </a:lnTo>
                  <a:lnTo>
                    <a:pt x="285" y="359"/>
                  </a:lnTo>
                  <a:lnTo>
                    <a:pt x="282" y="360"/>
                  </a:lnTo>
                  <a:lnTo>
                    <a:pt x="281" y="361"/>
                  </a:lnTo>
                  <a:lnTo>
                    <a:pt x="280" y="361"/>
                  </a:lnTo>
                  <a:lnTo>
                    <a:pt x="278" y="361"/>
                  </a:lnTo>
                  <a:lnTo>
                    <a:pt x="278" y="362"/>
                  </a:lnTo>
                  <a:lnTo>
                    <a:pt x="277" y="362"/>
                  </a:lnTo>
                  <a:lnTo>
                    <a:pt x="276" y="363"/>
                  </a:lnTo>
                  <a:lnTo>
                    <a:pt x="275" y="364"/>
                  </a:lnTo>
                  <a:lnTo>
                    <a:pt x="274" y="364"/>
                  </a:lnTo>
                  <a:lnTo>
                    <a:pt x="273" y="365"/>
                  </a:lnTo>
                  <a:lnTo>
                    <a:pt x="272" y="367"/>
                  </a:lnTo>
                  <a:lnTo>
                    <a:pt x="270" y="369"/>
                  </a:lnTo>
                  <a:lnTo>
                    <a:pt x="269" y="370"/>
                  </a:lnTo>
                  <a:lnTo>
                    <a:pt x="268" y="371"/>
                  </a:lnTo>
                  <a:lnTo>
                    <a:pt x="268" y="371"/>
                  </a:lnTo>
                  <a:lnTo>
                    <a:pt x="267" y="371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5" y="372"/>
                  </a:lnTo>
                  <a:lnTo>
                    <a:pt x="265" y="372"/>
                  </a:lnTo>
                  <a:lnTo>
                    <a:pt x="264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3" y="371"/>
                  </a:lnTo>
                  <a:lnTo>
                    <a:pt x="262" y="371"/>
                  </a:lnTo>
                  <a:lnTo>
                    <a:pt x="261" y="370"/>
                  </a:lnTo>
                  <a:lnTo>
                    <a:pt x="259" y="368"/>
                  </a:lnTo>
                  <a:lnTo>
                    <a:pt x="259" y="368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4" y="366"/>
                  </a:lnTo>
                  <a:lnTo>
                    <a:pt x="253" y="366"/>
                  </a:lnTo>
                  <a:lnTo>
                    <a:pt x="253" y="367"/>
                  </a:lnTo>
                  <a:lnTo>
                    <a:pt x="252" y="367"/>
                  </a:lnTo>
                  <a:lnTo>
                    <a:pt x="251" y="368"/>
                  </a:lnTo>
                  <a:lnTo>
                    <a:pt x="250" y="369"/>
                  </a:lnTo>
                  <a:lnTo>
                    <a:pt x="249" y="370"/>
                  </a:lnTo>
                  <a:lnTo>
                    <a:pt x="246" y="373"/>
                  </a:lnTo>
                  <a:lnTo>
                    <a:pt x="244" y="374"/>
                  </a:lnTo>
                  <a:lnTo>
                    <a:pt x="244" y="375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8" y="378"/>
                  </a:lnTo>
                  <a:lnTo>
                    <a:pt x="236" y="380"/>
                  </a:lnTo>
                  <a:lnTo>
                    <a:pt x="235" y="380"/>
                  </a:lnTo>
                  <a:lnTo>
                    <a:pt x="234" y="381"/>
                  </a:lnTo>
                  <a:lnTo>
                    <a:pt x="233" y="381"/>
                  </a:lnTo>
                  <a:lnTo>
                    <a:pt x="232" y="381"/>
                  </a:lnTo>
                  <a:lnTo>
                    <a:pt x="231" y="381"/>
                  </a:lnTo>
                  <a:lnTo>
                    <a:pt x="230" y="381"/>
                  </a:lnTo>
                  <a:lnTo>
                    <a:pt x="228" y="381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2"/>
                  </a:lnTo>
                  <a:lnTo>
                    <a:pt x="220" y="382"/>
                  </a:lnTo>
                  <a:lnTo>
                    <a:pt x="218" y="381"/>
                  </a:lnTo>
                  <a:lnTo>
                    <a:pt x="217" y="381"/>
                  </a:lnTo>
                  <a:lnTo>
                    <a:pt x="215" y="381"/>
                  </a:lnTo>
                  <a:lnTo>
                    <a:pt x="214" y="380"/>
                  </a:lnTo>
                  <a:lnTo>
                    <a:pt x="214" y="380"/>
                  </a:lnTo>
                  <a:lnTo>
                    <a:pt x="213" y="380"/>
                  </a:lnTo>
                  <a:lnTo>
                    <a:pt x="212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09" y="379"/>
                  </a:lnTo>
                  <a:lnTo>
                    <a:pt x="208" y="380"/>
                  </a:lnTo>
                  <a:lnTo>
                    <a:pt x="207" y="381"/>
                  </a:lnTo>
                  <a:lnTo>
                    <a:pt x="203" y="385"/>
                  </a:lnTo>
                  <a:lnTo>
                    <a:pt x="200" y="387"/>
                  </a:lnTo>
                  <a:lnTo>
                    <a:pt x="198" y="389"/>
                  </a:lnTo>
                  <a:lnTo>
                    <a:pt x="198" y="389"/>
                  </a:lnTo>
                  <a:lnTo>
                    <a:pt x="197" y="390"/>
                  </a:lnTo>
                  <a:lnTo>
                    <a:pt x="196" y="391"/>
                  </a:lnTo>
                  <a:lnTo>
                    <a:pt x="195" y="393"/>
                  </a:lnTo>
                  <a:lnTo>
                    <a:pt x="194" y="393"/>
                  </a:lnTo>
                  <a:lnTo>
                    <a:pt x="193" y="394"/>
                  </a:lnTo>
                  <a:lnTo>
                    <a:pt x="192" y="395"/>
                  </a:lnTo>
                  <a:lnTo>
                    <a:pt x="191" y="395"/>
                  </a:lnTo>
                  <a:lnTo>
                    <a:pt x="190" y="396"/>
                  </a:lnTo>
                  <a:lnTo>
                    <a:pt x="188" y="396"/>
                  </a:lnTo>
                  <a:lnTo>
                    <a:pt x="186" y="397"/>
                  </a:lnTo>
                  <a:lnTo>
                    <a:pt x="185" y="397"/>
                  </a:lnTo>
                  <a:lnTo>
                    <a:pt x="183" y="397"/>
                  </a:lnTo>
                  <a:lnTo>
                    <a:pt x="182" y="397"/>
                  </a:lnTo>
                  <a:lnTo>
                    <a:pt x="181" y="397"/>
                  </a:lnTo>
                  <a:lnTo>
                    <a:pt x="179" y="397"/>
                  </a:lnTo>
                  <a:lnTo>
                    <a:pt x="178" y="397"/>
                  </a:lnTo>
                  <a:lnTo>
                    <a:pt x="176" y="397"/>
                  </a:lnTo>
                  <a:lnTo>
                    <a:pt x="175" y="397"/>
                  </a:lnTo>
                  <a:lnTo>
                    <a:pt x="174" y="398"/>
                  </a:lnTo>
                  <a:lnTo>
                    <a:pt x="173" y="398"/>
                  </a:lnTo>
                  <a:lnTo>
                    <a:pt x="172" y="399"/>
                  </a:lnTo>
                  <a:lnTo>
                    <a:pt x="171" y="400"/>
                  </a:lnTo>
                  <a:lnTo>
                    <a:pt x="169" y="401"/>
                  </a:lnTo>
                  <a:lnTo>
                    <a:pt x="167" y="402"/>
                  </a:lnTo>
                  <a:lnTo>
                    <a:pt x="167" y="403"/>
                  </a:lnTo>
                  <a:lnTo>
                    <a:pt x="165" y="404"/>
                  </a:lnTo>
                  <a:lnTo>
                    <a:pt x="164" y="405"/>
                  </a:lnTo>
                  <a:lnTo>
                    <a:pt x="162" y="406"/>
                  </a:lnTo>
                  <a:lnTo>
                    <a:pt x="160" y="408"/>
                  </a:lnTo>
                  <a:lnTo>
                    <a:pt x="160" y="409"/>
                  </a:lnTo>
                  <a:lnTo>
                    <a:pt x="159" y="409"/>
                  </a:lnTo>
                  <a:lnTo>
                    <a:pt x="159" y="410"/>
                  </a:lnTo>
                  <a:lnTo>
                    <a:pt x="159" y="410"/>
                  </a:lnTo>
                  <a:lnTo>
                    <a:pt x="158" y="411"/>
                  </a:lnTo>
                  <a:lnTo>
                    <a:pt x="158" y="412"/>
                  </a:lnTo>
                  <a:lnTo>
                    <a:pt x="158" y="415"/>
                  </a:lnTo>
                  <a:lnTo>
                    <a:pt x="158" y="415"/>
                  </a:lnTo>
                  <a:lnTo>
                    <a:pt x="157" y="416"/>
                  </a:lnTo>
                  <a:lnTo>
                    <a:pt x="157" y="418"/>
                  </a:lnTo>
                  <a:lnTo>
                    <a:pt x="157" y="418"/>
                  </a:lnTo>
                  <a:lnTo>
                    <a:pt x="157" y="419"/>
                  </a:lnTo>
                  <a:lnTo>
                    <a:pt x="157" y="420"/>
                  </a:lnTo>
                  <a:lnTo>
                    <a:pt x="157" y="421"/>
                  </a:lnTo>
                  <a:lnTo>
                    <a:pt x="157" y="422"/>
                  </a:lnTo>
                  <a:lnTo>
                    <a:pt x="156" y="423"/>
                  </a:lnTo>
                  <a:lnTo>
                    <a:pt x="156" y="423"/>
                  </a:lnTo>
                  <a:lnTo>
                    <a:pt x="156" y="424"/>
                  </a:lnTo>
                  <a:lnTo>
                    <a:pt x="156" y="424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3" y="425"/>
                  </a:lnTo>
                  <a:lnTo>
                    <a:pt x="153" y="426"/>
                  </a:lnTo>
                  <a:lnTo>
                    <a:pt x="152" y="426"/>
                  </a:lnTo>
                  <a:lnTo>
                    <a:pt x="152" y="426"/>
                  </a:lnTo>
                  <a:lnTo>
                    <a:pt x="152" y="427"/>
                  </a:lnTo>
                  <a:lnTo>
                    <a:pt x="151" y="429"/>
                  </a:lnTo>
                  <a:lnTo>
                    <a:pt x="150" y="430"/>
                  </a:lnTo>
                  <a:lnTo>
                    <a:pt x="150" y="431"/>
                  </a:lnTo>
                  <a:lnTo>
                    <a:pt x="149" y="433"/>
                  </a:lnTo>
                  <a:lnTo>
                    <a:pt x="148" y="433"/>
                  </a:lnTo>
                  <a:lnTo>
                    <a:pt x="148" y="434"/>
                  </a:lnTo>
                  <a:lnTo>
                    <a:pt x="147" y="434"/>
                  </a:lnTo>
                  <a:lnTo>
                    <a:pt x="147" y="434"/>
                  </a:lnTo>
                  <a:lnTo>
                    <a:pt x="146" y="434"/>
                  </a:lnTo>
                  <a:lnTo>
                    <a:pt x="145" y="434"/>
                  </a:lnTo>
                  <a:lnTo>
                    <a:pt x="144" y="434"/>
                  </a:lnTo>
                  <a:lnTo>
                    <a:pt x="143" y="434"/>
                  </a:lnTo>
                  <a:lnTo>
                    <a:pt x="142" y="435"/>
                  </a:lnTo>
                  <a:lnTo>
                    <a:pt x="141" y="435"/>
                  </a:lnTo>
                  <a:lnTo>
                    <a:pt x="140" y="435"/>
                  </a:lnTo>
                  <a:lnTo>
                    <a:pt x="139" y="436"/>
                  </a:lnTo>
                  <a:lnTo>
                    <a:pt x="138" y="436"/>
                  </a:lnTo>
                  <a:lnTo>
                    <a:pt x="137" y="437"/>
                  </a:lnTo>
                  <a:lnTo>
                    <a:pt x="136" y="438"/>
                  </a:lnTo>
                  <a:lnTo>
                    <a:pt x="135" y="439"/>
                  </a:lnTo>
                  <a:lnTo>
                    <a:pt x="134" y="440"/>
                  </a:lnTo>
                  <a:lnTo>
                    <a:pt x="133" y="440"/>
                  </a:lnTo>
                  <a:lnTo>
                    <a:pt x="133" y="441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2" y="443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0" y="445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5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3" y="447"/>
                  </a:lnTo>
                  <a:lnTo>
                    <a:pt x="123" y="447"/>
                  </a:lnTo>
                  <a:lnTo>
                    <a:pt x="123" y="446"/>
                  </a:lnTo>
                  <a:lnTo>
                    <a:pt x="122" y="446"/>
                  </a:lnTo>
                  <a:lnTo>
                    <a:pt x="122" y="446"/>
                  </a:lnTo>
                  <a:lnTo>
                    <a:pt x="122" y="445"/>
                  </a:lnTo>
                  <a:lnTo>
                    <a:pt x="121" y="443"/>
                  </a:lnTo>
                  <a:lnTo>
                    <a:pt x="121" y="442"/>
                  </a:lnTo>
                  <a:lnTo>
                    <a:pt x="120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7" y="436"/>
                  </a:lnTo>
                  <a:lnTo>
                    <a:pt x="116" y="437"/>
                  </a:lnTo>
                  <a:lnTo>
                    <a:pt x="115" y="437"/>
                  </a:lnTo>
                  <a:lnTo>
                    <a:pt x="115" y="437"/>
                  </a:lnTo>
                  <a:lnTo>
                    <a:pt x="114" y="438"/>
                  </a:lnTo>
                  <a:lnTo>
                    <a:pt x="114" y="438"/>
                  </a:lnTo>
                  <a:lnTo>
                    <a:pt x="112" y="440"/>
                  </a:lnTo>
                  <a:lnTo>
                    <a:pt x="112" y="440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0" y="441"/>
                  </a:lnTo>
                  <a:lnTo>
                    <a:pt x="110" y="441"/>
                  </a:lnTo>
                  <a:lnTo>
                    <a:pt x="109" y="441"/>
                  </a:lnTo>
                  <a:lnTo>
                    <a:pt x="109" y="440"/>
                  </a:lnTo>
                  <a:lnTo>
                    <a:pt x="109" y="440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8" y="437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5"/>
                  </a:lnTo>
                  <a:lnTo>
                    <a:pt x="108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5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0" y="435"/>
                  </a:lnTo>
                  <a:lnTo>
                    <a:pt x="100" y="434"/>
                  </a:lnTo>
                  <a:lnTo>
                    <a:pt x="99" y="433"/>
                  </a:lnTo>
                  <a:lnTo>
                    <a:pt x="99" y="432"/>
                  </a:lnTo>
                  <a:lnTo>
                    <a:pt x="98" y="431"/>
                  </a:lnTo>
                  <a:lnTo>
                    <a:pt x="96" y="429"/>
                  </a:lnTo>
                  <a:lnTo>
                    <a:pt x="95" y="428"/>
                  </a:lnTo>
                  <a:lnTo>
                    <a:pt x="95" y="427"/>
                  </a:lnTo>
                  <a:lnTo>
                    <a:pt x="94" y="426"/>
                  </a:lnTo>
                  <a:lnTo>
                    <a:pt x="93" y="426"/>
                  </a:lnTo>
                  <a:lnTo>
                    <a:pt x="92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0" y="424"/>
                  </a:lnTo>
                  <a:lnTo>
                    <a:pt x="86" y="424"/>
                  </a:lnTo>
                  <a:lnTo>
                    <a:pt x="85" y="424"/>
                  </a:lnTo>
                  <a:lnTo>
                    <a:pt x="85" y="423"/>
                  </a:lnTo>
                  <a:lnTo>
                    <a:pt x="84" y="423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4" y="419"/>
                  </a:lnTo>
                  <a:lnTo>
                    <a:pt x="84" y="418"/>
                  </a:lnTo>
                  <a:lnTo>
                    <a:pt x="84" y="418"/>
                  </a:lnTo>
                  <a:lnTo>
                    <a:pt x="85" y="418"/>
                  </a:lnTo>
                  <a:lnTo>
                    <a:pt x="86" y="417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8" y="417"/>
                  </a:lnTo>
                  <a:lnTo>
                    <a:pt x="89" y="417"/>
                  </a:lnTo>
                  <a:lnTo>
                    <a:pt x="90" y="417"/>
                  </a:lnTo>
                  <a:lnTo>
                    <a:pt x="93" y="418"/>
                  </a:lnTo>
                  <a:lnTo>
                    <a:pt x="93" y="418"/>
                  </a:lnTo>
                  <a:lnTo>
                    <a:pt x="94" y="418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5" y="417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4" y="415"/>
                  </a:lnTo>
                  <a:lnTo>
                    <a:pt x="94" y="413"/>
                  </a:lnTo>
                  <a:lnTo>
                    <a:pt x="94" y="412"/>
                  </a:lnTo>
                  <a:lnTo>
                    <a:pt x="94" y="411"/>
                  </a:lnTo>
                  <a:lnTo>
                    <a:pt x="94" y="411"/>
                  </a:lnTo>
                  <a:lnTo>
                    <a:pt x="94" y="410"/>
                  </a:lnTo>
                  <a:lnTo>
                    <a:pt x="95" y="409"/>
                  </a:lnTo>
                  <a:lnTo>
                    <a:pt x="95" y="409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6" y="407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6" y="405"/>
                  </a:lnTo>
                  <a:lnTo>
                    <a:pt x="95" y="404"/>
                  </a:lnTo>
                  <a:lnTo>
                    <a:pt x="95" y="401"/>
                  </a:lnTo>
                  <a:lnTo>
                    <a:pt x="94" y="400"/>
                  </a:lnTo>
                  <a:lnTo>
                    <a:pt x="94" y="398"/>
                  </a:lnTo>
                  <a:lnTo>
                    <a:pt x="92" y="394"/>
                  </a:lnTo>
                  <a:lnTo>
                    <a:pt x="91" y="392"/>
                  </a:lnTo>
                  <a:lnTo>
                    <a:pt x="90" y="390"/>
                  </a:lnTo>
                  <a:lnTo>
                    <a:pt x="89" y="389"/>
                  </a:lnTo>
                  <a:lnTo>
                    <a:pt x="87" y="386"/>
                  </a:lnTo>
                  <a:lnTo>
                    <a:pt x="87" y="386"/>
                  </a:lnTo>
                  <a:lnTo>
                    <a:pt x="87" y="385"/>
                  </a:lnTo>
                  <a:lnTo>
                    <a:pt x="87" y="385"/>
                  </a:lnTo>
                  <a:lnTo>
                    <a:pt x="87" y="384"/>
                  </a:lnTo>
                  <a:lnTo>
                    <a:pt x="87" y="381"/>
                  </a:lnTo>
                  <a:lnTo>
                    <a:pt x="87" y="380"/>
                  </a:lnTo>
                  <a:lnTo>
                    <a:pt x="86" y="378"/>
                  </a:lnTo>
                  <a:lnTo>
                    <a:pt x="86" y="378"/>
                  </a:lnTo>
                  <a:lnTo>
                    <a:pt x="86" y="377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3" y="374"/>
                  </a:lnTo>
                  <a:lnTo>
                    <a:pt x="83" y="373"/>
                  </a:lnTo>
                  <a:lnTo>
                    <a:pt x="82" y="373"/>
                  </a:lnTo>
                  <a:lnTo>
                    <a:pt x="82" y="372"/>
                  </a:lnTo>
                  <a:lnTo>
                    <a:pt x="82" y="372"/>
                  </a:lnTo>
                  <a:lnTo>
                    <a:pt x="82" y="371"/>
                  </a:lnTo>
                  <a:lnTo>
                    <a:pt x="81" y="370"/>
                  </a:lnTo>
                  <a:lnTo>
                    <a:pt x="82" y="370"/>
                  </a:lnTo>
                  <a:lnTo>
                    <a:pt x="82" y="369"/>
                  </a:lnTo>
                  <a:lnTo>
                    <a:pt x="82" y="367"/>
                  </a:lnTo>
                  <a:lnTo>
                    <a:pt x="82" y="366"/>
                  </a:lnTo>
                  <a:lnTo>
                    <a:pt x="82" y="365"/>
                  </a:lnTo>
                  <a:lnTo>
                    <a:pt x="82" y="363"/>
                  </a:lnTo>
                  <a:lnTo>
                    <a:pt x="82" y="361"/>
                  </a:lnTo>
                  <a:lnTo>
                    <a:pt x="81" y="359"/>
                  </a:lnTo>
                  <a:lnTo>
                    <a:pt x="81" y="358"/>
                  </a:lnTo>
                  <a:lnTo>
                    <a:pt x="80" y="356"/>
                  </a:lnTo>
                  <a:lnTo>
                    <a:pt x="80" y="355"/>
                  </a:lnTo>
                  <a:lnTo>
                    <a:pt x="80" y="354"/>
                  </a:lnTo>
                  <a:lnTo>
                    <a:pt x="80" y="353"/>
                  </a:lnTo>
                  <a:lnTo>
                    <a:pt x="80" y="352"/>
                  </a:lnTo>
                  <a:lnTo>
                    <a:pt x="80" y="351"/>
                  </a:lnTo>
                  <a:lnTo>
                    <a:pt x="81" y="347"/>
                  </a:lnTo>
                  <a:lnTo>
                    <a:pt x="81" y="345"/>
                  </a:lnTo>
                  <a:lnTo>
                    <a:pt x="82" y="344"/>
                  </a:lnTo>
                  <a:lnTo>
                    <a:pt x="82" y="343"/>
                  </a:lnTo>
                  <a:lnTo>
                    <a:pt x="82" y="343"/>
                  </a:lnTo>
                  <a:lnTo>
                    <a:pt x="82" y="340"/>
                  </a:lnTo>
                  <a:lnTo>
                    <a:pt x="82" y="339"/>
                  </a:lnTo>
                  <a:lnTo>
                    <a:pt x="82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3" y="334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0"/>
                  </a:lnTo>
                  <a:lnTo>
                    <a:pt x="83" y="329"/>
                  </a:lnTo>
                  <a:lnTo>
                    <a:pt x="83" y="328"/>
                  </a:lnTo>
                  <a:lnTo>
                    <a:pt x="83" y="327"/>
                  </a:lnTo>
                  <a:lnTo>
                    <a:pt x="83" y="326"/>
                  </a:lnTo>
                  <a:lnTo>
                    <a:pt x="82" y="325"/>
                  </a:lnTo>
                  <a:lnTo>
                    <a:pt x="81" y="323"/>
                  </a:lnTo>
                  <a:lnTo>
                    <a:pt x="81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9" y="319"/>
                  </a:lnTo>
                  <a:lnTo>
                    <a:pt x="78" y="319"/>
                  </a:lnTo>
                  <a:lnTo>
                    <a:pt x="77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4" y="318"/>
                  </a:lnTo>
                  <a:lnTo>
                    <a:pt x="70" y="318"/>
                  </a:lnTo>
                  <a:lnTo>
                    <a:pt x="69" y="318"/>
                  </a:lnTo>
                  <a:lnTo>
                    <a:pt x="68" y="318"/>
                  </a:lnTo>
                  <a:lnTo>
                    <a:pt x="65" y="318"/>
                  </a:lnTo>
                  <a:lnTo>
                    <a:pt x="64" y="318"/>
                  </a:lnTo>
                  <a:lnTo>
                    <a:pt x="62" y="318"/>
                  </a:lnTo>
                  <a:lnTo>
                    <a:pt x="58" y="318"/>
                  </a:lnTo>
                  <a:lnTo>
                    <a:pt x="57" y="317"/>
                  </a:lnTo>
                  <a:lnTo>
                    <a:pt x="55" y="317"/>
                  </a:lnTo>
                  <a:lnTo>
                    <a:pt x="55" y="317"/>
                  </a:lnTo>
                  <a:lnTo>
                    <a:pt x="54" y="318"/>
                  </a:lnTo>
                  <a:lnTo>
                    <a:pt x="52" y="318"/>
                  </a:lnTo>
                  <a:lnTo>
                    <a:pt x="51" y="318"/>
                  </a:lnTo>
                  <a:lnTo>
                    <a:pt x="50" y="318"/>
                  </a:lnTo>
                  <a:lnTo>
                    <a:pt x="49" y="318"/>
                  </a:lnTo>
                  <a:lnTo>
                    <a:pt x="49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6" y="318"/>
                  </a:lnTo>
                  <a:lnTo>
                    <a:pt x="46" y="317"/>
                  </a:lnTo>
                  <a:lnTo>
                    <a:pt x="46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5"/>
                  </a:lnTo>
                  <a:lnTo>
                    <a:pt x="45" y="314"/>
                  </a:lnTo>
                  <a:lnTo>
                    <a:pt x="45" y="313"/>
                  </a:lnTo>
                  <a:lnTo>
                    <a:pt x="45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4" y="309"/>
                  </a:lnTo>
                  <a:lnTo>
                    <a:pt x="44" y="308"/>
                  </a:lnTo>
                  <a:lnTo>
                    <a:pt x="43" y="308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1" y="305"/>
                  </a:lnTo>
                  <a:lnTo>
                    <a:pt x="38" y="304"/>
                  </a:lnTo>
                  <a:lnTo>
                    <a:pt x="36" y="303"/>
                  </a:lnTo>
                  <a:lnTo>
                    <a:pt x="36" y="303"/>
                  </a:lnTo>
                  <a:lnTo>
                    <a:pt x="35" y="303"/>
                  </a:lnTo>
                  <a:lnTo>
                    <a:pt x="34" y="302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5" y="301"/>
                  </a:lnTo>
                  <a:lnTo>
                    <a:pt x="22" y="300"/>
                  </a:lnTo>
                  <a:lnTo>
                    <a:pt x="20" y="300"/>
                  </a:lnTo>
                  <a:lnTo>
                    <a:pt x="19" y="299"/>
                  </a:lnTo>
                  <a:lnTo>
                    <a:pt x="16" y="299"/>
                  </a:lnTo>
                  <a:lnTo>
                    <a:pt x="14" y="299"/>
                  </a:lnTo>
                  <a:lnTo>
                    <a:pt x="12" y="299"/>
                  </a:lnTo>
                  <a:lnTo>
                    <a:pt x="9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6" y="297"/>
                  </a:lnTo>
                  <a:lnTo>
                    <a:pt x="4" y="296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1" y="291"/>
                  </a:lnTo>
                  <a:lnTo>
                    <a:pt x="1" y="291"/>
                  </a:lnTo>
                  <a:lnTo>
                    <a:pt x="2" y="290"/>
                  </a:lnTo>
                  <a:lnTo>
                    <a:pt x="6" y="288"/>
                  </a:lnTo>
                  <a:lnTo>
                    <a:pt x="8" y="287"/>
                  </a:lnTo>
                  <a:lnTo>
                    <a:pt x="10" y="286"/>
                  </a:lnTo>
                  <a:lnTo>
                    <a:pt x="11" y="285"/>
                  </a:lnTo>
                  <a:lnTo>
                    <a:pt x="12" y="284"/>
                  </a:lnTo>
                  <a:lnTo>
                    <a:pt x="13" y="283"/>
                  </a:lnTo>
                  <a:lnTo>
                    <a:pt x="18" y="278"/>
                  </a:lnTo>
                  <a:lnTo>
                    <a:pt x="19" y="276"/>
                  </a:lnTo>
                  <a:lnTo>
                    <a:pt x="20" y="275"/>
                  </a:lnTo>
                  <a:lnTo>
                    <a:pt x="21" y="274"/>
                  </a:lnTo>
                  <a:lnTo>
                    <a:pt x="21" y="273"/>
                  </a:lnTo>
                  <a:lnTo>
                    <a:pt x="21" y="272"/>
                  </a:lnTo>
                  <a:lnTo>
                    <a:pt x="22" y="271"/>
                  </a:lnTo>
                  <a:lnTo>
                    <a:pt x="22" y="269"/>
                  </a:lnTo>
                  <a:lnTo>
                    <a:pt x="22" y="264"/>
                  </a:lnTo>
                  <a:lnTo>
                    <a:pt x="22" y="261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4" y="254"/>
                  </a:lnTo>
                  <a:lnTo>
                    <a:pt x="24" y="253"/>
                  </a:lnTo>
                  <a:lnTo>
                    <a:pt x="25" y="252"/>
                  </a:lnTo>
                  <a:lnTo>
                    <a:pt x="25" y="251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8" y="248"/>
                  </a:lnTo>
                  <a:lnTo>
                    <a:pt x="28" y="248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8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7" y="247"/>
                  </a:lnTo>
                  <a:lnTo>
                    <a:pt x="51" y="246"/>
                  </a:lnTo>
                  <a:lnTo>
                    <a:pt x="52" y="245"/>
                  </a:lnTo>
                  <a:lnTo>
                    <a:pt x="53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5" y="245"/>
                  </a:lnTo>
                  <a:lnTo>
                    <a:pt x="56" y="245"/>
                  </a:lnTo>
                  <a:lnTo>
                    <a:pt x="57" y="246"/>
                  </a:lnTo>
                  <a:lnTo>
                    <a:pt x="59" y="246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4" y="246"/>
                  </a:lnTo>
                  <a:lnTo>
                    <a:pt x="75" y="245"/>
                  </a:lnTo>
                  <a:lnTo>
                    <a:pt x="77" y="241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81" y="235"/>
                  </a:lnTo>
                  <a:lnTo>
                    <a:pt x="81" y="233"/>
                  </a:lnTo>
                  <a:lnTo>
                    <a:pt x="82" y="232"/>
                  </a:lnTo>
                  <a:lnTo>
                    <a:pt x="83" y="230"/>
                  </a:lnTo>
                  <a:lnTo>
                    <a:pt x="83" y="228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4" y="222"/>
                  </a:lnTo>
                  <a:lnTo>
                    <a:pt x="85" y="221"/>
                  </a:lnTo>
                  <a:lnTo>
                    <a:pt x="87" y="216"/>
                  </a:lnTo>
                  <a:lnTo>
                    <a:pt x="87" y="215"/>
                  </a:lnTo>
                  <a:lnTo>
                    <a:pt x="88" y="215"/>
                  </a:lnTo>
                  <a:lnTo>
                    <a:pt x="88" y="214"/>
                  </a:lnTo>
                  <a:lnTo>
                    <a:pt x="89" y="213"/>
                  </a:lnTo>
                  <a:lnTo>
                    <a:pt x="89" y="212"/>
                  </a:lnTo>
                  <a:lnTo>
                    <a:pt x="90" y="212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2" y="210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4" y="210"/>
                  </a:lnTo>
                  <a:lnTo>
                    <a:pt x="95" y="210"/>
                  </a:lnTo>
                  <a:lnTo>
                    <a:pt x="95" y="210"/>
                  </a:lnTo>
                  <a:lnTo>
                    <a:pt x="96" y="210"/>
                  </a:lnTo>
                  <a:lnTo>
                    <a:pt x="98" y="210"/>
                  </a:lnTo>
                  <a:lnTo>
                    <a:pt x="99" y="211"/>
                  </a:lnTo>
                  <a:lnTo>
                    <a:pt x="99" y="211"/>
                  </a:lnTo>
                  <a:lnTo>
                    <a:pt x="100" y="211"/>
                  </a:lnTo>
                  <a:lnTo>
                    <a:pt x="102" y="213"/>
                  </a:lnTo>
                  <a:lnTo>
                    <a:pt x="103" y="213"/>
                  </a:lnTo>
                  <a:lnTo>
                    <a:pt x="104" y="214"/>
                  </a:lnTo>
                  <a:lnTo>
                    <a:pt x="104" y="214"/>
                  </a:lnTo>
                  <a:lnTo>
                    <a:pt x="105" y="214"/>
                  </a:lnTo>
                  <a:lnTo>
                    <a:pt x="106" y="214"/>
                  </a:lnTo>
                  <a:lnTo>
                    <a:pt x="107" y="214"/>
                  </a:lnTo>
                  <a:lnTo>
                    <a:pt x="107" y="214"/>
                  </a:lnTo>
                  <a:lnTo>
                    <a:pt x="108" y="214"/>
                  </a:lnTo>
                  <a:lnTo>
                    <a:pt x="109" y="214"/>
                  </a:lnTo>
                  <a:lnTo>
                    <a:pt x="109" y="213"/>
                  </a:lnTo>
                  <a:lnTo>
                    <a:pt x="110" y="213"/>
                  </a:lnTo>
                  <a:lnTo>
                    <a:pt x="110" y="213"/>
                  </a:lnTo>
                  <a:lnTo>
                    <a:pt x="111" y="212"/>
                  </a:lnTo>
                  <a:lnTo>
                    <a:pt x="111" y="212"/>
                  </a:lnTo>
                  <a:lnTo>
                    <a:pt x="111" y="211"/>
                  </a:lnTo>
                  <a:lnTo>
                    <a:pt x="112" y="210"/>
                  </a:lnTo>
                  <a:lnTo>
                    <a:pt x="113" y="207"/>
                  </a:lnTo>
                  <a:lnTo>
                    <a:pt x="113" y="206"/>
                  </a:lnTo>
                  <a:lnTo>
                    <a:pt x="114" y="205"/>
                  </a:lnTo>
                  <a:lnTo>
                    <a:pt x="115" y="204"/>
                  </a:lnTo>
                  <a:lnTo>
                    <a:pt x="115" y="204"/>
                  </a:lnTo>
                  <a:lnTo>
                    <a:pt x="116" y="202"/>
                  </a:lnTo>
                  <a:lnTo>
                    <a:pt x="118" y="201"/>
                  </a:lnTo>
                  <a:lnTo>
                    <a:pt x="119" y="200"/>
                  </a:lnTo>
                  <a:lnTo>
                    <a:pt x="122" y="198"/>
                  </a:lnTo>
                  <a:lnTo>
                    <a:pt x="123" y="197"/>
                  </a:lnTo>
                  <a:lnTo>
                    <a:pt x="124" y="196"/>
                  </a:lnTo>
                  <a:lnTo>
                    <a:pt x="125" y="196"/>
                  </a:lnTo>
                  <a:lnTo>
                    <a:pt x="125" y="195"/>
                  </a:lnTo>
                  <a:lnTo>
                    <a:pt x="126" y="195"/>
                  </a:lnTo>
                  <a:lnTo>
                    <a:pt x="127" y="193"/>
                  </a:lnTo>
                  <a:lnTo>
                    <a:pt x="127" y="192"/>
                  </a:lnTo>
                  <a:lnTo>
                    <a:pt x="128" y="191"/>
                  </a:lnTo>
                  <a:lnTo>
                    <a:pt x="128" y="188"/>
                  </a:lnTo>
                  <a:lnTo>
                    <a:pt x="129" y="187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1" y="185"/>
                  </a:lnTo>
                  <a:lnTo>
                    <a:pt x="132" y="186"/>
                  </a:lnTo>
                  <a:lnTo>
                    <a:pt x="132" y="186"/>
                  </a:lnTo>
                  <a:lnTo>
                    <a:pt x="133" y="186"/>
                  </a:lnTo>
                  <a:lnTo>
                    <a:pt x="133" y="186"/>
                  </a:lnTo>
                  <a:lnTo>
                    <a:pt x="133" y="187"/>
                  </a:lnTo>
                  <a:lnTo>
                    <a:pt x="135" y="188"/>
                  </a:lnTo>
                  <a:lnTo>
                    <a:pt x="136" y="190"/>
                  </a:lnTo>
                  <a:lnTo>
                    <a:pt x="137" y="191"/>
                  </a:lnTo>
                  <a:lnTo>
                    <a:pt x="139" y="195"/>
                  </a:lnTo>
                  <a:lnTo>
                    <a:pt x="140" y="196"/>
                  </a:lnTo>
                  <a:lnTo>
                    <a:pt x="141" y="197"/>
                  </a:lnTo>
                  <a:lnTo>
                    <a:pt x="142" y="198"/>
                  </a:lnTo>
                  <a:lnTo>
                    <a:pt x="142" y="199"/>
                  </a:lnTo>
                  <a:lnTo>
                    <a:pt x="144" y="200"/>
                  </a:lnTo>
                  <a:lnTo>
                    <a:pt x="145" y="201"/>
                  </a:lnTo>
                  <a:lnTo>
                    <a:pt x="146" y="201"/>
                  </a:lnTo>
                  <a:lnTo>
                    <a:pt x="147" y="201"/>
                  </a:lnTo>
                  <a:lnTo>
                    <a:pt x="149" y="202"/>
                  </a:lnTo>
                  <a:lnTo>
                    <a:pt x="151" y="203"/>
                  </a:lnTo>
                  <a:lnTo>
                    <a:pt x="152" y="203"/>
                  </a:lnTo>
                  <a:lnTo>
                    <a:pt x="152" y="203"/>
                  </a:lnTo>
                  <a:lnTo>
                    <a:pt x="153" y="203"/>
                  </a:lnTo>
                  <a:lnTo>
                    <a:pt x="153" y="203"/>
                  </a:lnTo>
                  <a:lnTo>
                    <a:pt x="154" y="203"/>
                  </a:lnTo>
                  <a:lnTo>
                    <a:pt x="154" y="203"/>
                  </a:lnTo>
                  <a:lnTo>
                    <a:pt x="155" y="203"/>
                  </a:lnTo>
                  <a:lnTo>
                    <a:pt x="156" y="202"/>
                  </a:lnTo>
                  <a:lnTo>
                    <a:pt x="156" y="202"/>
                  </a:lnTo>
                  <a:lnTo>
                    <a:pt x="157" y="201"/>
                  </a:lnTo>
                  <a:lnTo>
                    <a:pt x="158" y="201"/>
                  </a:lnTo>
                  <a:lnTo>
                    <a:pt x="159" y="199"/>
                  </a:lnTo>
                  <a:lnTo>
                    <a:pt x="163" y="196"/>
                  </a:lnTo>
                  <a:lnTo>
                    <a:pt x="166" y="193"/>
                  </a:lnTo>
                  <a:lnTo>
                    <a:pt x="169" y="190"/>
                  </a:lnTo>
                  <a:lnTo>
                    <a:pt x="170" y="189"/>
                  </a:lnTo>
                  <a:lnTo>
                    <a:pt x="170" y="188"/>
                  </a:lnTo>
                  <a:lnTo>
                    <a:pt x="171" y="188"/>
                  </a:lnTo>
                  <a:lnTo>
                    <a:pt x="171" y="187"/>
                  </a:lnTo>
                  <a:lnTo>
                    <a:pt x="171" y="186"/>
                  </a:lnTo>
                  <a:lnTo>
                    <a:pt x="171" y="185"/>
                  </a:lnTo>
                  <a:lnTo>
                    <a:pt x="171" y="183"/>
                  </a:lnTo>
                  <a:lnTo>
                    <a:pt x="171" y="182"/>
                  </a:lnTo>
                  <a:lnTo>
                    <a:pt x="172" y="181"/>
                  </a:lnTo>
                  <a:lnTo>
                    <a:pt x="172" y="181"/>
                  </a:lnTo>
                  <a:lnTo>
                    <a:pt x="172" y="180"/>
                  </a:lnTo>
                  <a:lnTo>
                    <a:pt x="173" y="179"/>
                  </a:lnTo>
                  <a:lnTo>
                    <a:pt x="174" y="177"/>
                  </a:lnTo>
                  <a:lnTo>
                    <a:pt x="175" y="175"/>
                  </a:lnTo>
                  <a:lnTo>
                    <a:pt x="176" y="174"/>
                  </a:lnTo>
                  <a:lnTo>
                    <a:pt x="176" y="174"/>
                  </a:lnTo>
                  <a:lnTo>
                    <a:pt x="176" y="173"/>
                  </a:lnTo>
                  <a:lnTo>
                    <a:pt x="176" y="172"/>
                  </a:lnTo>
                  <a:lnTo>
                    <a:pt x="177" y="171"/>
                  </a:lnTo>
                  <a:lnTo>
                    <a:pt x="177" y="170"/>
                  </a:lnTo>
                  <a:lnTo>
                    <a:pt x="177" y="170"/>
                  </a:lnTo>
                  <a:lnTo>
                    <a:pt x="177" y="168"/>
                  </a:lnTo>
                  <a:lnTo>
                    <a:pt x="177" y="166"/>
                  </a:lnTo>
                  <a:lnTo>
                    <a:pt x="176" y="163"/>
                  </a:lnTo>
                  <a:lnTo>
                    <a:pt x="176" y="162"/>
                  </a:lnTo>
                  <a:lnTo>
                    <a:pt x="176" y="161"/>
                  </a:lnTo>
                  <a:lnTo>
                    <a:pt x="176" y="160"/>
                  </a:lnTo>
                  <a:lnTo>
                    <a:pt x="176" y="160"/>
                  </a:lnTo>
                  <a:lnTo>
                    <a:pt x="177" y="159"/>
                  </a:lnTo>
                  <a:lnTo>
                    <a:pt x="177" y="159"/>
                  </a:lnTo>
                  <a:lnTo>
                    <a:pt x="178" y="158"/>
                  </a:lnTo>
                  <a:lnTo>
                    <a:pt x="178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80" y="156"/>
                  </a:lnTo>
                  <a:lnTo>
                    <a:pt x="181" y="156"/>
                  </a:lnTo>
                  <a:lnTo>
                    <a:pt x="182" y="156"/>
                  </a:lnTo>
                  <a:lnTo>
                    <a:pt x="183" y="155"/>
                  </a:lnTo>
                  <a:lnTo>
                    <a:pt x="184" y="155"/>
                  </a:lnTo>
                  <a:lnTo>
                    <a:pt x="185" y="155"/>
                  </a:lnTo>
                  <a:lnTo>
                    <a:pt x="187" y="155"/>
                  </a:lnTo>
                  <a:lnTo>
                    <a:pt x="192" y="155"/>
                  </a:lnTo>
                  <a:lnTo>
                    <a:pt x="194" y="155"/>
                  </a:lnTo>
                  <a:lnTo>
                    <a:pt x="196" y="155"/>
                  </a:lnTo>
                  <a:lnTo>
                    <a:pt x="197" y="154"/>
                  </a:lnTo>
                  <a:lnTo>
                    <a:pt x="199" y="154"/>
                  </a:lnTo>
                  <a:lnTo>
                    <a:pt x="200" y="153"/>
                  </a:lnTo>
                  <a:lnTo>
                    <a:pt x="201" y="153"/>
                  </a:lnTo>
                  <a:lnTo>
                    <a:pt x="202" y="152"/>
                  </a:lnTo>
                  <a:lnTo>
                    <a:pt x="204" y="151"/>
                  </a:lnTo>
                  <a:lnTo>
                    <a:pt x="205" y="151"/>
                  </a:lnTo>
                  <a:lnTo>
                    <a:pt x="206" y="150"/>
                  </a:lnTo>
                  <a:lnTo>
                    <a:pt x="208" y="149"/>
                  </a:lnTo>
                  <a:lnTo>
                    <a:pt x="209" y="149"/>
                  </a:lnTo>
                  <a:lnTo>
                    <a:pt x="210" y="148"/>
                  </a:lnTo>
                  <a:lnTo>
                    <a:pt x="211" y="148"/>
                  </a:lnTo>
                  <a:lnTo>
                    <a:pt x="212" y="148"/>
                  </a:lnTo>
                  <a:lnTo>
                    <a:pt x="213" y="148"/>
                  </a:lnTo>
                  <a:lnTo>
                    <a:pt x="214" y="148"/>
                  </a:lnTo>
                  <a:lnTo>
                    <a:pt x="215" y="148"/>
                  </a:lnTo>
                  <a:lnTo>
                    <a:pt x="215" y="148"/>
                  </a:lnTo>
                  <a:lnTo>
                    <a:pt x="216" y="149"/>
                  </a:lnTo>
                  <a:lnTo>
                    <a:pt x="217" y="149"/>
                  </a:lnTo>
                  <a:lnTo>
                    <a:pt x="220" y="151"/>
                  </a:lnTo>
                  <a:lnTo>
                    <a:pt x="222" y="151"/>
                  </a:lnTo>
                  <a:lnTo>
                    <a:pt x="223" y="151"/>
                  </a:lnTo>
                  <a:lnTo>
                    <a:pt x="223" y="152"/>
                  </a:lnTo>
                  <a:lnTo>
                    <a:pt x="224" y="152"/>
                  </a:lnTo>
                  <a:lnTo>
                    <a:pt x="225" y="152"/>
                  </a:lnTo>
                  <a:lnTo>
                    <a:pt x="225" y="152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7" y="151"/>
                  </a:lnTo>
                  <a:lnTo>
                    <a:pt x="228" y="151"/>
                  </a:lnTo>
                  <a:lnTo>
                    <a:pt x="229" y="150"/>
                  </a:lnTo>
                  <a:lnTo>
                    <a:pt x="231" y="149"/>
                  </a:lnTo>
                  <a:lnTo>
                    <a:pt x="232" y="149"/>
                  </a:lnTo>
                  <a:lnTo>
                    <a:pt x="233" y="148"/>
                  </a:lnTo>
                  <a:lnTo>
                    <a:pt x="234" y="148"/>
                  </a:lnTo>
                  <a:lnTo>
                    <a:pt x="238" y="148"/>
                  </a:lnTo>
                  <a:lnTo>
                    <a:pt x="242" y="147"/>
                  </a:lnTo>
                  <a:lnTo>
                    <a:pt x="243" y="147"/>
                  </a:lnTo>
                  <a:lnTo>
                    <a:pt x="244" y="147"/>
                  </a:lnTo>
                  <a:lnTo>
                    <a:pt x="247" y="147"/>
                  </a:lnTo>
                  <a:lnTo>
                    <a:pt x="248" y="147"/>
                  </a:lnTo>
                  <a:lnTo>
                    <a:pt x="250" y="147"/>
                  </a:lnTo>
                  <a:lnTo>
                    <a:pt x="252" y="147"/>
                  </a:lnTo>
                  <a:lnTo>
                    <a:pt x="254" y="147"/>
                  </a:lnTo>
                  <a:lnTo>
                    <a:pt x="255" y="147"/>
                  </a:lnTo>
                  <a:lnTo>
                    <a:pt x="256" y="148"/>
                  </a:lnTo>
                  <a:lnTo>
                    <a:pt x="259" y="149"/>
                  </a:lnTo>
                  <a:lnTo>
                    <a:pt x="260" y="149"/>
                  </a:lnTo>
                  <a:lnTo>
                    <a:pt x="261" y="149"/>
                  </a:lnTo>
                  <a:lnTo>
                    <a:pt x="263" y="150"/>
                  </a:lnTo>
                  <a:lnTo>
                    <a:pt x="264" y="150"/>
                  </a:lnTo>
                  <a:lnTo>
                    <a:pt x="266" y="150"/>
                  </a:lnTo>
                  <a:lnTo>
                    <a:pt x="267" y="149"/>
                  </a:lnTo>
                  <a:lnTo>
                    <a:pt x="268" y="149"/>
                  </a:lnTo>
                  <a:lnTo>
                    <a:pt x="269" y="149"/>
                  </a:lnTo>
                  <a:lnTo>
                    <a:pt x="270" y="148"/>
                  </a:lnTo>
                  <a:lnTo>
                    <a:pt x="271" y="147"/>
                  </a:lnTo>
                  <a:lnTo>
                    <a:pt x="273" y="146"/>
                  </a:lnTo>
                  <a:lnTo>
                    <a:pt x="274" y="145"/>
                  </a:lnTo>
                  <a:lnTo>
                    <a:pt x="275" y="145"/>
                  </a:lnTo>
                  <a:lnTo>
                    <a:pt x="278" y="144"/>
                  </a:lnTo>
                  <a:lnTo>
                    <a:pt x="278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80" y="142"/>
                  </a:lnTo>
                  <a:lnTo>
                    <a:pt x="281" y="142"/>
                  </a:lnTo>
                  <a:lnTo>
                    <a:pt x="281" y="141"/>
                  </a:lnTo>
                  <a:lnTo>
                    <a:pt x="282" y="140"/>
                  </a:lnTo>
                  <a:lnTo>
                    <a:pt x="282" y="139"/>
                  </a:lnTo>
                  <a:lnTo>
                    <a:pt x="282" y="138"/>
                  </a:lnTo>
                  <a:lnTo>
                    <a:pt x="282" y="138"/>
                  </a:lnTo>
                  <a:lnTo>
                    <a:pt x="282" y="136"/>
                  </a:lnTo>
                  <a:lnTo>
                    <a:pt x="282" y="133"/>
                  </a:lnTo>
                  <a:lnTo>
                    <a:pt x="282" y="132"/>
                  </a:lnTo>
                  <a:lnTo>
                    <a:pt x="282" y="130"/>
                  </a:lnTo>
                  <a:lnTo>
                    <a:pt x="282" y="129"/>
                  </a:lnTo>
                  <a:lnTo>
                    <a:pt x="282" y="128"/>
                  </a:lnTo>
                  <a:lnTo>
                    <a:pt x="283" y="127"/>
                  </a:lnTo>
                  <a:lnTo>
                    <a:pt x="283" y="126"/>
                  </a:lnTo>
                  <a:lnTo>
                    <a:pt x="283" y="125"/>
                  </a:lnTo>
                  <a:lnTo>
                    <a:pt x="284" y="124"/>
                  </a:lnTo>
                  <a:lnTo>
                    <a:pt x="284" y="124"/>
                  </a:lnTo>
                  <a:lnTo>
                    <a:pt x="284" y="123"/>
                  </a:lnTo>
                  <a:lnTo>
                    <a:pt x="285" y="123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2"/>
                  </a:lnTo>
                  <a:lnTo>
                    <a:pt x="287" y="121"/>
                  </a:lnTo>
                  <a:lnTo>
                    <a:pt x="288" y="121"/>
                  </a:lnTo>
                  <a:lnTo>
                    <a:pt x="291" y="120"/>
                  </a:lnTo>
                  <a:lnTo>
                    <a:pt x="292" y="120"/>
                  </a:lnTo>
                  <a:lnTo>
                    <a:pt x="294" y="119"/>
                  </a:lnTo>
                  <a:lnTo>
                    <a:pt x="295" y="119"/>
                  </a:lnTo>
                  <a:lnTo>
                    <a:pt x="297" y="118"/>
                  </a:lnTo>
                  <a:lnTo>
                    <a:pt x="298" y="117"/>
                  </a:lnTo>
                  <a:lnTo>
                    <a:pt x="299" y="116"/>
                  </a:lnTo>
                  <a:lnTo>
                    <a:pt x="301" y="114"/>
                  </a:lnTo>
                  <a:lnTo>
                    <a:pt x="302" y="113"/>
                  </a:lnTo>
                  <a:lnTo>
                    <a:pt x="303" y="113"/>
                  </a:lnTo>
                  <a:lnTo>
                    <a:pt x="305" y="112"/>
                  </a:lnTo>
                  <a:lnTo>
                    <a:pt x="306" y="111"/>
                  </a:lnTo>
                  <a:lnTo>
                    <a:pt x="308" y="110"/>
                  </a:lnTo>
                  <a:lnTo>
                    <a:pt x="309" y="110"/>
                  </a:lnTo>
                  <a:lnTo>
                    <a:pt x="310" y="110"/>
                  </a:lnTo>
                  <a:lnTo>
                    <a:pt x="311" y="110"/>
                  </a:lnTo>
                  <a:lnTo>
                    <a:pt x="312" y="110"/>
                  </a:lnTo>
                  <a:lnTo>
                    <a:pt x="313" y="110"/>
                  </a:lnTo>
                  <a:lnTo>
                    <a:pt x="314" y="110"/>
                  </a:lnTo>
                  <a:lnTo>
                    <a:pt x="316" y="111"/>
                  </a:lnTo>
                  <a:lnTo>
                    <a:pt x="319" y="112"/>
                  </a:lnTo>
                  <a:lnTo>
                    <a:pt x="321" y="113"/>
                  </a:lnTo>
                  <a:lnTo>
                    <a:pt x="322" y="113"/>
                  </a:lnTo>
                  <a:lnTo>
                    <a:pt x="323" y="113"/>
                  </a:lnTo>
                  <a:lnTo>
                    <a:pt x="324" y="113"/>
                  </a:lnTo>
                  <a:lnTo>
                    <a:pt x="327" y="112"/>
                  </a:lnTo>
                  <a:lnTo>
                    <a:pt x="331" y="112"/>
                  </a:lnTo>
                  <a:lnTo>
                    <a:pt x="331" y="111"/>
                  </a:lnTo>
                  <a:lnTo>
                    <a:pt x="332" y="111"/>
                  </a:lnTo>
                  <a:lnTo>
                    <a:pt x="334" y="111"/>
                  </a:lnTo>
                  <a:lnTo>
                    <a:pt x="335" y="110"/>
                  </a:lnTo>
                  <a:lnTo>
                    <a:pt x="336" y="109"/>
                  </a:lnTo>
                  <a:lnTo>
                    <a:pt x="339" y="107"/>
                  </a:lnTo>
                  <a:lnTo>
                    <a:pt x="340" y="106"/>
                  </a:lnTo>
                  <a:lnTo>
                    <a:pt x="342" y="105"/>
                  </a:lnTo>
                  <a:lnTo>
                    <a:pt x="345" y="104"/>
                  </a:lnTo>
                  <a:lnTo>
                    <a:pt x="352" y="101"/>
                  </a:lnTo>
                  <a:lnTo>
                    <a:pt x="357" y="98"/>
                  </a:lnTo>
                  <a:lnTo>
                    <a:pt x="360" y="97"/>
                  </a:lnTo>
                  <a:lnTo>
                    <a:pt x="362" y="96"/>
                  </a:lnTo>
                  <a:lnTo>
                    <a:pt x="368" y="94"/>
                  </a:lnTo>
                  <a:lnTo>
                    <a:pt x="370" y="94"/>
                  </a:lnTo>
                  <a:lnTo>
                    <a:pt x="372" y="93"/>
                  </a:lnTo>
                  <a:lnTo>
                    <a:pt x="373" y="92"/>
                  </a:lnTo>
                  <a:lnTo>
                    <a:pt x="374" y="92"/>
                  </a:lnTo>
                  <a:lnTo>
                    <a:pt x="375" y="91"/>
                  </a:lnTo>
                  <a:lnTo>
                    <a:pt x="377" y="89"/>
                  </a:lnTo>
                  <a:lnTo>
                    <a:pt x="378" y="88"/>
                  </a:lnTo>
                  <a:lnTo>
                    <a:pt x="379" y="87"/>
                  </a:lnTo>
                  <a:lnTo>
                    <a:pt x="380" y="86"/>
                  </a:lnTo>
                  <a:lnTo>
                    <a:pt x="381" y="85"/>
                  </a:lnTo>
                  <a:lnTo>
                    <a:pt x="382" y="84"/>
                  </a:lnTo>
                  <a:lnTo>
                    <a:pt x="384" y="81"/>
                  </a:lnTo>
                  <a:lnTo>
                    <a:pt x="384" y="80"/>
                  </a:lnTo>
                  <a:lnTo>
                    <a:pt x="384" y="79"/>
                  </a:lnTo>
                  <a:lnTo>
                    <a:pt x="385" y="79"/>
                  </a:lnTo>
                  <a:lnTo>
                    <a:pt x="386" y="78"/>
                  </a:lnTo>
                  <a:lnTo>
                    <a:pt x="387" y="78"/>
                  </a:lnTo>
                  <a:lnTo>
                    <a:pt x="388" y="77"/>
                  </a:lnTo>
                  <a:lnTo>
                    <a:pt x="389" y="76"/>
                  </a:lnTo>
                  <a:lnTo>
                    <a:pt x="391" y="76"/>
                  </a:lnTo>
                  <a:lnTo>
                    <a:pt x="392" y="76"/>
                  </a:lnTo>
                  <a:lnTo>
                    <a:pt x="393" y="76"/>
                  </a:lnTo>
                  <a:lnTo>
                    <a:pt x="394" y="76"/>
                  </a:lnTo>
                  <a:lnTo>
                    <a:pt x="395" y="76"/>
                  </a:lnTo>
                  <a:lnTo>
                    <a:pt x="397" y="76"/>
                  </a:lnTo>
                  <a:lnTo>
                    <a:pt x="399" y="77"/>
                  </a:lnTo>
                  <a:lnTo>
                    <a:pt x="401" y="77"/>
                  </a:lnTo>
                  <a:lnTo>
                    <a:pt x="402" y="77"/>
                  </a:lnTo>
                  <a:lnTo>
                    <a:pt x="403" y="77"/>
                  </a:lnTo>
                  <a:lnTo>
                    <a:pt x="404" y="77"/>
                  </a:lnTo>
                  <a:lnTo>
                    <a:pt x="405" y="77"/>
                  </a:lnTo>
                  <a:lnTo>
                    <a:pt x="407" y="77"/>
                  </a:lnTo>
                  <a:lnTo>
                    <a:pt x="410" y="76"/>
                  </a:lnTo>
                  <a:lnTo>
                    <a:pt x="411" y="76"/>
                  </a:lnTo>
                  <a:lnTo>
                    <a:pt x="412" y="75"/>
                  </a:lnTo>
                  <a:lnTo>
                    <a:pt x="414" y="75"/>
                  </a:lnTo>
                  <a:lnTo>
                    <a:pt x="417" y="74"/>
                  </a:lnTo>
                  <a:lnTo>
                    <a:pt x="418" y="73"/>
                  </a:lnTo>
                  <a:lnTo>
                    <a:pt x="419" y="73"/>
                  </a:lnTo>
                  <a:lnTo>
                    <a:pt x="422" y="72"/>
                  </a:lnTo>
                  <a:lnTo>
                    <a:pt x="423" y="72"/>
                  </a:lnTo>
                  <a:lnTo>
                    <a:pt x="424" y="72"/>
                  </a:lnTo>
                  <a:lnTo>
                    <a:pt x="425" y="71"/>
                  </a:lnTo>
                  <a:lnTo>
                    <a:pt x="425" y="71"/>
                  </a:lnTo>
                  <a:lnTo>
                    <a:pt x="426" y="70"/>
                  </a:lnTo>
                  <a:lnTo>
                    <a:pt x="426" y="70"/>
                  </a:lnTo>
                  <a:lnTo>
                    <a:pt x="427" y="69"/>
                  </a:lnTo>
                  <a:lnTo>
                    <a:pt x="427" y="69"/>
                  </a:lnTo>
                  <a:lnTo>
                    <a:pt x="428" y="68"/>
                  </a:lnTo>
                  <a:lnTo>
                    <a:pt x="428" y="65"/>
                  </a:lnTo>
                  <a:lnTo>
                    <a:pt x="429" y="63"/>
                  </a:lnTo>
                  <a:lnTo>
                    <a:pt x="430" y="61"/>
                  </a:lnTo>
                  <a:lnTo>
                    <a:pt x="430" y="60"/>
                  </a:lnTo>
                  <a:lnTo>
                    <a:pt x="430" y="60"/>
                  </a:lnTo>
                  <a:lnTo>
                    <a:pt x="430" y="59"/>
                  </a:lnTo>
                  <a:lnTo>
                    <a:pt x="430" y="58"/>
                  </a:lnTo>
                  <a:lnTo>
                    <a:pt x="430" y="58"/>
                  </a:lnTo>
                  <a:lnTo>
                    <a:pt x="430" y="57"/>
                  </a:lnTo>
                  <a:lnTo>
                    <a:pt x="429" y="57"/>
                  </a:lnTo>
                  <a:lnTo>
                    <a:pt x="429" y="56"/>
                  </a:lnTo>
                  <a:lnTo>
                    <a:pt x="428" y="55"/>
                  </a:lnTo>
                  <a:lnTo>
                    <a:pt x="428" y="55"/>
                  </a:lnTo>
                  <a:lnTo>
                    <a:pt x="427" y="55"/>
                  </a:lnTo>
                  <a:lnTo>
                    <a:pt x="426" y="54"/>
                  </a:lnTo>
                  <a:lnTo>
                    <a:pt x="425" y="54"/>
                  </a:lnTo>
                  <a:lnTo>
                    <a:pt x="423" y="53"/>
                  </a:lnTo>
                  <a:lnTo>
                    <a:pt x="419" y="51"/>
                  </a:lnTo>
                  <a:lnTo>
                    <a:pt x="417" y="50"/>
                  </a:lnTo>
                  <a:lnTo>
                    <a:pt x="412" y="49"/>
                  </a:lnTo>
                  <a:lnTo>
                    <a:pt x="411" y="48"/>
                  </a:lnTo>
                  <a:lnTo>
                    <a:pt x="410" y="48"/>
                  </a:lnTo>
                  <a:lnTo>
                    <a:pt x="409" y="47"/>
                  </a:lnTo>
                  <a:lnTo>
                    <a:pt x="409" y="47"/>
                  </a:lnTo>
                  <a:lnTo>
                    <a:pt x="408" y="46"/>
                  </a:lnTo>
                  <a:lnTo>
                    <a:pt x="408" y="46"/>
                  </a:lnTo>
                  <a:lnTo>
                    <a:pt x="408" y="45"/>
                  </a:lnTo>
                  <a:lnTo>
                    <a:pt x="407" y="45"/>
                  </a:lnTo>
                  <a:lnTo>
                    <a:pt x="407" y="44"/>
                  </a:lnTo>
                  <a:lnTo>
                    <a:pt x="406" y="43"/>
                  </a:lnTo>
                  <a:lnTo>
                    <a:pt x="406" y="42"/>
                  </a:lnTo>
                  <a:lnTo>
                    <a:pt x="406" y="42"/>
                  </a:lnTo>
                  <a:lnTo>
                    <a:pt x="406" y="41"/>
                  </a:lnTo>
                  <a:lnTo>
                    <a:pt x="406" y="41"/>
                  </a:lnTo>
                  <a:lnTo>
                    <a:pt x="406" y="40"/>
                  </a:lnTo>
                  <a:lnTo>
                    <a:pt x="406" y="40"/>
                  </a:lnTo>
                  <a:lnTo>
                    <a:pt x="407" y="39"/>
                  </a:lnTo>
                  <a:lnTo>
                    <a:pt x="408" y="37"/>
                  </a:lnTo>
                  <a:lnTo>
                    <a:pt x="408" y="37"/>
                  </a:lnTo>
                  <a:lnTo>
                    <a:pt x="408" y="37"/>
                  </a:lnTo>
                  <a:lnTo>
                    <a:pt x="408" y="36"/>
                  </a:lnTo>
                  <a:lnTo>
                    <a:pt x="408" y="36"/>
                  </a:lnTo>
                  <a:lnTo>
                    <a:pt x="408" y="35"/>
                  </a:lnTo>
                  <a:lnTo>
                    <a:pt x="407" y="35"/>
                  </a:lnTo>
                  <a:lnTo>
                    <a:pt x="407" y="35"/>
                  </a:lnTo>
                  <a:lnTo>
                    <a:pt x="407" y="34"/>
                  </a:lnTo>
                  <a:lnTo>
                    <a:pt x="406" y="34"/>
                  </a:lnTo>
                  <a:lnTo>
                    <a:pt x="405" y="34"/>
                  </a:lnTo>
                  <a:lnTo>
                    <a:pt x="404" y="34"/>
                  </a:lnTo>
                  <a:lnTo>
                    <a:pt x="401" y="34"/>
                  </a:lnTo>
                  <a:lnTo>
                    <a:pt x="400" y="34"/>
                  </a:lnTo>
                  <a:lnTo>
                    <a:pt x="399" y="34"/>
                  </a:lnTo>
                  <a:lnTo>
                    <a:pt x="398" y="34"/>
                  </a:lnTo>
                  <a:lnTo>
                    <a:pt x="397" y="33"/>
                  </a:lnTo>
                  <a:lnTo>
                    <a:pt x="396" y="33"/>
                  </a:lnTo>
                  <a:lnTo>
                    <a:pt x="395" y="32"/>
                  </a:lnTo>
                  <a:lnTo>
                    <a:pt x="394" y="32"/>
                  </a:lnTo>
                  <a:lnTo>
                    <a:pt x="394" y="31"/>
                  </a:lnTo>
                  <a:lnTo>
                    <a:pt x="393" y="31"/>
                  </a:lnTo>
                  <a:lnTo>
                    <a:pt x="393" y="30"/>
                  </a:lnTo>
                  <a:lnTo>
                    <a:pt x="393" y="30"/>
                  </a:lnTo>
                  <a:lnTo>
                    <a:pt x="392" y="29"/>
                  </a:lnTo>
                  <a:lnTo>
                    <a:pt x="392" y="28"/>
                  </a:lnTo>
                  <a:lnTo>
                    <a:pt x="392" y="28"/>
                  </a:lnTo>
                  <a:lnTo>
                    <a:pt x="392" y="27"/>
                  </a:lnTo>
                  <a:lnTo>
                    <a:pt x="392" y="24"/>
                  </a:lnTo>
                  <a:lnTo>
                    <a:pt x="392" y="24"/>
                  </a:lnTo>
                  <a:lnTo>
                    <a:pt x="392" y="23"/>
                  </a:lnTo>
                  <a:lnTo>
                    <a:pt x="393" y="22"/>
                  </a:lnTo>
                  <a:lnTo>
                    <a:pt x="393" y="21"/>
                  </a:lnTo>
                  <a:lnTo>
                    <a:pt x="394" y="19"/>
                  </a:lnTo>
                  <a:lnTo>
                    <a:pt x="395" y="18"/>
                  </a:lnTo>
                  <a:lnTo>
                    <a:pt x="395" y="17"/>
                  </a:lnTo>
                  <a:lnTo>
                    <a:pt x="396" y="16"/>
                  </a:lnTo>
                  <a:lnTo>
                    <a:pt x="396" y="14"/>
                  </a:lnTo>
                  <a:lnTo>
                    <a:pt x="396" y="13"/>
                  </a:lnTo>
                  <a:lnTo>
                    <a:pt x="397" y="12"/>
                  </a:lnTo>
                  <a:lnTo>
                    <a:pt x="397" y="9"/>
                  </a:lnTo>
                  <a:lnTo>
                    <a:pt x="398" y="8"/>
                  </a:lnTo>
                  <a:lnTo>
                    <a:pt x="398" y="8"/>
                  </a:lnTo>
                  <a:lnTo>
                    <a:pt x="398" y="7"/>
                  </a:lnTo>
                  <a:lnTo>
                    <a:pt x="398" y="6"/>
                  </a:lnTo>
                  <a:lnTo>
                    <a:pt x="399" y="5"/>
                  </a:lnTo>
                  <a:lnTo>
                    <a:pt x="402" y="1"/>
                  </a:lnTo>
                  <a:lnTo>
                    <a:pt x="403" y="0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04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Freeform 19">
              <a:extLst>
                <a:ext uri="{FF2B5EF4-FFF2-40B4-BE49-F238E27FC236}">
                  <a16:creationId xmlns:a16="http://schemas.microsoft.com/office/drawing/2014/main" id="{73F45412-4252-4043-213C-7005606AF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2866"/>
              <a:ext cx="504" cy="447"/>
            </a:xfrm>
            <a:custGeom>
              <a:avLst/>
              <a:gdLst>
                <a:gd name="T0" fmla="*/ 428 w 504"/>
                <a:gd name="T1" fmla="*/ 12 h 447"/>
                <a:gd name="T2" fmla="*/ 449 w 504"/>
                <a:gd name="T3" fmla="*/ 11 h 447"/>
                <a:gd name="T4" fmla="*/ 461 w 504"/>
                <a:gd name="T5" fmla="*/ 8 h 447"/>
                <a:gd name="T6" fmla="*/ 471 w 504"/>
                <a:gd name="T7" fmla="*/ 21 h 447"/>
                <a:gd name="T8" fmla="*/ 488 w 504"/>
                <a:gd name="T9" fmla="*/ 35 h 447"/>
                <a:gd name="T10" fmla="*/ 481 w 504"/>
                <a:gd name="T11" fmla="*/ 60 h 447"/>
                <a:gd name="T12" fmla="*/ 498 w 504"/>
                <a:gd name="T13" fmla="*/ 60 h 447"/>
                <a:gd name="T14" fmla="*/ 502 w 504"/>
                <a:gd name="T15" fmla="*/ 73 h 447"/>
                <a:gd name="T16" fmla="*/ 484 w 504"/>
                <a:gd name="T17" fmla="*/ 101 h 447"/>
                <a:gd name="T18" fmla="*/ 474 w 504"/>
                <a:gd name="T19" fmla="*/ 118 h 447"/>
                <a:gd name="T20" fmla="*/ 454 w 504"/>
                <a:gd name="T21" fmla="*/ 112 h 447"/>
                <a:gd name="T22" fmla="*/ 446 w 504"/>
                <a:gd name="T23" fmla="*/ 122 h 447"/>
                <a:gd name="T24" fmla="*/ 437 w 504"/>
                <a:gd name="T25" fmla="*/ 141 h 447"/>
                <a:gd name="T26" fmla="*/ 425 w 504"/>
                <a:gd name="T27" fmla="*/ 156 h 447"/>
                <a:gd name="T28" fmla="*/ 416 w 504"/>
                <a:gd name="T29" fmla="*/ 177 h 447"/>
                <a:gd name="T30" fmla="*/ 420 w 504"/>
                <a:gd name="T31" fmla="*/ 198 h 447"/>
                <a:gd name="T32" fmla="*/ 437 w 504"/>
                <a:gd name="T33" fmla="*/ 231 h 447"/>
                <a:gd name="T34" fmla="*/ 455 w 504"/>
                <a:gd name="T35" fmla="*/ 254 h 447"/>
                <a:gd name="T36" fmla="*/ 449 w 504"/>
                <a:gd name="T37" fmla="*/ 260 h 447"/>
                <a:gd name="T38" fmla="*/ 449 w 504"/>
                <a:gd name="T39" fmla="*/ 278 h 447"/>
                <a:gd name="T40" fmla="*/ 434 w 504"/>
                <a:gd name="T41" fmla="*/ 291 h 447"/>
                <a:gd name="T42" fmla="*/ 420 w 504"/>
                <a:gd name="T43" fmla="*/ 290 h 447"/>
                <a:gd name="T44" fmla="*/ 422 w 504"/>
                <a:gd name="T45" fmla="*/ 308 h 447"/>
                <a:gd name="T46" fmla="*/ 415 w 504"/>
                <a:gd name="T47" fmla="*/ 325 h 447"/>
                <a:gd name="T48" fmla="*/ 387 w 504"/>
                <a:gd name="T49" fmla="*/ 331 h 447"/>
                <a:gd name="T50" fmla="*/ 365 w 504"/>
                <a:gd name="T51" fmla="*/ 330 h 447"/>
                <a:gd name="T52" fmla="*/ 323 w 504"/>
                <a:gd name="T53" fmla="*/ 328 h 447"/>
                <a:gd name="T54" fmla="*/ 307 w 504"/>
                <a:gd name="T55" fmla="*/ 335 h 447"/>
                <a:gd name="T56" fmla="*/ 301 w 504"/>
                <a:gd name="T57" fmla="*/ 346 h 447"/>
                <a:gd name="T58" fmla="*/ 288 w 504"/>
                <a:gd name="T59" fmla="*/ 358 h 447"/>
                <a:gd name="T60" fmla="*/ 268 w 504"/>
                <a:gd name="T61" fmla="*/ 371 h 447"/>
                <a:gd name="T62" fmla="*/ 256 w 504"/>
                <a:gd name="T63" fmla="*/ 366 h 447"/>
                <a:gd name="T64" fmla="*/ 239 w 504"/>
                <a:gd name="T65" fmla="*/ 377 h 447"/>
                <a:gd name="T66" fmla="*/ 214 w 504"/>
                <a:gd name="T67" fmla="*/ 380 h 447"/>
                <a:gd name="T68" fmla="*/ 197 w 504"/>
                <a:gd name="T69" fmla="*/ 390 h 447"/>
                <a:gd name="T70" fmla="*/ 175 w 504"/>
                <a:gd name="T71" fmla="*/ 397 h 447"/>
                <a:gd name="T72" fmla="*/ 158 w 504"/>
                <a:gd name="T73" fmla="*/ 412 h 447"/>
                <a:gd name="T74" fmla="*/ 153 w 504"/>
                <a:gd name="T75" fmla="*/ 426 h 447"/>
                <a:gd name="T76" fmla="*/ 141 w 504"/>
                <a:gd name="T77" fmla="*/ 435 h 447"/>
                <a:gd name="T78" fmla="*/ 128 w 504"/>
                <a:gd name="T79" fmla="*/ 446 h 447"/>
                <a:gd name="T80" fmla="*/ 117 w 504"/>
                <a:gd name="T81" fmla="*/ 437 h 447"/>
                <a:gd name="T82" fmla="*/ 109 w 504"/>
                <a:gd name="T83" fmla="*/ 440 h 447"/>
                <a:gd name="T84" fmla="*/ 102 w 504"/>
                <a:gd name="T85" fmla="*/ 437 h 447"/>
                <a:gd name="T86" fmla="*/ 91 w 504"/>
                <a:gd name="T87" fmla="*/ 425 h 447"/>
                <a:gd name="T88" fmla="*/ 84 w 504"/>
                <a:gd name="T89" fmla="*/ 418 h 447"/>
                <a:gd name="T90" fmla="*/ 95 w 504"/>
                <a:gd name="T91" fmla="*/ 416 h 447"/>
                <a:gd name="T92" fmla="*/ 94 w 504"/>
                <a:gd name="T93" fmla="*/ 400 h 447"/>
                <a:gd name="T94" fmla="*/ 85 w 504"/>
                <a:gd name="T95" fmla="*/ 376 h 447"/>
                <a:gd name="T96" fmla="*/ 80 w 504"/>
                <a:gd name="T97" fmla="*/ 356 h 447"/>
                <a:gd name="T98" fmla="*/ 83 w 504"/>
                <a:gd name="T99" fmla="*/ 333 h 447"/>
                <a:gd name="T100" fmla="*/ 76 w 504"/>
                <a:gd name="T101" fmla="*/ 318 h 447"/>
                <a:gd name="T102" fmla="*/ 50 w 504"/>
                <a:gd name="T103" fmla="*/ 318 h 447"/>
                <a:gd name="T104" fmla="*/ 44 w 504"/>
                <a:gd name="T105" fmla="*/ 310 h 447"/>
                <a:gd name="T106" fmla="*/ 28 w 504"/>
                <a:gd name="T107" fmla="*/ 302 h 447"/>
                <a:gd name="T108" fmla="*/ 0 w 504"/>
                <a:gd name="T109" fmla="*/ 293 h 447"/>
                <a:gd name="T110" fmla="*/ 21 w 504"/>
                <a:gd name="T111" fmla="*/ 273 h 447"/>
                <a:gd name="T112" fmla="*/ 28 w 504"/>
                <a:gd name="T113" fmla="*/ 248 h 447"/>
                <a:gd name="T114" fmla="*/ 52 w 504"/>
                <a:gd name="T115" fmla="*/ 245 h 447"/>
                <a:gd name="T116" fmla="*/ 72 w 504"/>
                <a:gd name="T117" fmla="*/ 248 h 447"/>
                <a:gd name="T118" fmla="*/ 84 w 504"/>
                <a:gd name="T119" fmla="*/ 223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4" h="447">
                  <a:moveTo>
                    <a:pt x="404" y="0"/>
                  </a:moveTo>
                  <a:lnTo>
                    <a:pt x="405" y="0"/>
                  </a:lnTo>
                  <a:lnTo>
                    <a:pt x="405" y="0"/>
                  </a:lnTo>
                  <a:lnTo>
                    <a:pt x="406" y="1"/>
                  </a:lnTo>
                  <a:lnTo>
                    <a:pt x="410" y="3"/>
                  </a:lnTo>
                  <a:lnTo>
                    <a:pt x="411" y="4"/>
                  </a:lnTo>
                  <a:lnTo>
                    <a:pt x="413" y="5"/>
                  </a:lnTo>
                  <a:lnTo>
                    <a:pt x="414" y="5"/>
                  </a:lnTo>
                  <a:lnTo>
                    <a:pt x="415" y="5"/>
                  </a:lnTo>
                  <a:lnTo>
                    <a:pt x="419" y="6"/>
                  </a:lnTo>
                  <a:lnTo>
                    <a:pt x="420" y="6"/>
                  </a:lnTo>
                  <a:lnTo>
                    <a:pt x="421" y="7"/>
                  </a:lnTo>
                  <a:lnTo>
                    <a:pt x="422" y="7"/>
                  </a:lnTo>
                  <a:lnTo>
                    <a:pt x="423" y="8"/>
                  </a:lnTo>
                  <a:lnTo>
                    <a:pt x="425" y="9"/>
                  </a:lnTo>
                  <a:lnTo>
                    <a:pt x="426" y="10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0" y="13"/>
                  </a:lnTo>
                  <a:lnTo>
                    <a:pt x="431" y="14"/>
                  </a:lnTo>
                  <a:lnTo>
                    <a:pt x="432" y="14"/>
                  </a:lnTo>
                  <a:lnTo>
                    <a:pt x="433" y="15"/>
                  </a:lnTo>
                  <a:lnTo>
                    <a:pt x="434" y="15"/>
                  </a:lnTo>
                  <a:lnTo>
                    <a:pt x="435" y="15"/>
                  </a:lnTo>
                  <a:lnTo>
                    <a:pt x="436" y="15"/>
                  </a:lnTo>
                  <a:lnTo>
                    <a:pt x="437" y="15"/>
                  </a:lnTo>
                  <a:lnTo>
                    <a:pt x="438" y="14"/>
                  </a:lnTo>
                  <a:lnTo>
                    <a:pt x="439" y="14"/>
                  </a:lnTo>
                  <a:lnTo>
                    <a:pt x="440" y="14"/>
                  </a:lnTo>
                  <a:lnTo>
                    <a:pt x="444" y="12"/>
                  </a:lnTo>
                  <a:lnTo>
                    <a:pt x="445" y="12"/>
                  </a:lnTo>
                  <a:lnTo>
                    <a:pt x="447" y="11"/>
                  </a:lnTo>
                  <a:lnTo>
                    <a:pt x="448" y="11"/>
                  </a:lnTo>
                  <a:lnTo>
                    <a:pt x="449" y="11"/>
                  </a:lnTo>
                  <a:lnTo>
                    <a:pt x="450" y="11"/>
                  </a:lnTo>
                  <a:lnTo>
                    <a:pt x="451" y="11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5" y="12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8" y="10"/>
                  </a:lnTo>
                  <a:lnTo>
                    <a:pt x="459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2" y="9"/>
                  </a:lnTo>
                  <a:lnTo>
                    <a:pt x="462" y="9"/>
                  </a:lnTo>
                  <a:lnTo>
                    <a:pt x="462" y="11"/>
                  </a:lnTo>
                  <a:lnTo>
                    <a:pt x="462" y="12"/>
                  </a:lnTo>
                  <a:lnTo>
                    <a:pt x="462" y="12"/>
                  </a:lnTo>
                  <a:lnTo>
                    <a:pt x="463" y="13"/>
                  </a:lnTo>
                  <a:lnTo>
                    <a:pt x="463" y="14"/>
                  </a:lnTo>
                  <a:lnTo>
                    <a:pt x="464" y="14"/>
                  </a:lnTo>
                  <a:lnTo>
                    <a:pt x="464" y="15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9" y="18"/>
                  </a:lnTo>
                  <a:lnTo>
                    <a:pt x="470" y="19"/>
                  </a:lnTo>
                  <a:lnTo>
                    <a:pt x="471" y="21"/>
                  </a:lnTo>
                  <a:lnTo>
                    <a:pt x="472" y="21"/>
                  </a:lnTo>
                  <a:lnTo>
                    <a:pt x="473" y="22"/>
                  </a:lnTo>
                  <a:lnTo>
                    <a:pt x="474" y="22"/>
                  </a:lnTo>
                  <a:lnTo>
                    <a:pt x="475" y="22"/>
                  </a:lnTo>
                  <a:lnTo>
                    <a:pt x="478" y="23"/>
                  </a:lnTo>
                  <a:lnTo>
                    <a:pt x="478" y="23"/>
                  </a:lnTo>
                  <a:lnTo>
                    <a:pt x="479" y="24"/>
                  </a:lnTo>
                  <a:lnTo>
                    <a:pt x="480" y="24"/>
                  </a:lnTo>
                  <a:lnTo>
                    <a:pt x="481" y="25"/>
                  </a:lnTo>
                  <a:lnTo>
                    <a:pt x="482" y="26"/>
                  </a:lnTo>
                  <a:lnTo>
                    <a:pt x="483" y="26"/>
                  </a:lnTo>
                  <a:lnTo>
                    <a:pt x="484" y="28"/>
                  </a:lnTo>
                  <a:lnTo>
                    <a:pt x="486" y="30"/>
                  </a:lnTo>
                  <a:lnTo>
                    <a:pt x="487" y="31"/>
                  </a:lnTo>
                  <a:lnTo>
                    <a:pt x="487" y="32"/>
                  </a:lnTo>
                  <a:lnTo>
                    <a:pt x="488" y="34"/>
                  </a:lnTo>
                  <a:lnTo>
                    <a:pt x="488" y="35"/>
                  </a:lnTo>
                  <a:lnTo>
                    <a:pt x="488" y="36"/>
                  </a:lnTo>
                  <a:lnTo>
                    <a:pt x="488" y="38"/>
                  </a:lnTo>
                  <a:lnTo>
                    <a:pt x="488" y="39"/>
                  </a:lnTo>
                  <a:lnTo>
                    <a:pt x="488" y="41"/>
                  </a:lnTo>
                  <a:lnTo>
                    <a:pt x="487" y="43"/>
                  </a:lnTo>
                  <a:lnTo>
                    <a:pt x="487" y="45"/>
                  </a:lnTo>
                  <a:lnTo>
                    <a:pt x="486" y="47"/>
                  </a:lnTo>
                  <a:lnTo>
                    <a:pt x="485" y="50"/>
                  </a:lnTo>
                  <a:lnTo>
                    <a:pt x="484" y="51"/>
                  </a:lnTo>
                  <a:lnTo>
                    <a:pt x="482" y="55"/>
                  </a:lnTo>
                  <a:lnTo>
                    <a:pt x="482" y="56"/>
                  </a:lnTo>
                  <a:lnTo>
                    <a:pt x="481" y="57"/>
                  </a:lnTo>
                  <a:lnTo>
                    <a:pt x="481" y="57"/>
                  </a:lnTo>
                  <a:lnTo>
                    <a:pt x="481" y="59"/>
                  </a:lnTo>
                  <a:lnTo>
                    <a:pt x="481" y="59"/>
                  </a:lnTo>
                  <a:lnTo>
                    <a:pt x="481" y="60"/>
                  </a:lnTo>
                  <a:lnTo>
                    <a:pt x="481" y="60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4" y="63"/>
                  </a:lnTo>
                  <a:lnTo>
                    <a:pt x="485" y="64"/>
                  </a:lnTo>
                  <a:lnTo>
                    <a:pt x="485" y="64"/>
                  </a:lnTo>
                  <a:lnTo>
                    <a:pt x="486" y="64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2"/>
                  </a:lnTo>
                  <a:lnTo>
                    <a:pt x="495" y="61"/>
                  </a:lnTo>
                  <a:lnTo>
                    <a:pt x="497" y="61"/>
                  </a:lnTo>
                  <a:lnTo>
                    <a:pt x="498" y="60"/>
                  </a:lnTo>
                  <a:lnTo>
                    <a:pt x="499" y="60"/>
                  </a:lnTo>
                  <a:lnTo>
                    <a:pt x="500" y="60"/>
                  </a:lnTo>
                  <a:lnTo>
                    <a:pt x="501" y="60"/>
                  </a:lnTo>
                  <a:lnTo>
                    <a:pt x="501" y="60"/>
                  </a:lnTo>
                  <a:lnTo>
                    <a:pt x="502" y="60"/>
                  </a:lnTo>
                  <a:lnTo>
                    <a:pt x="502" y="61"/>
                  </a:lnTo>
                  <a:lnTo>
                    <a:pt x="503" y="61"/>
                  </a:lnTo>
                  <a:lnTo>
                    <a:pt x="503" y="62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4"/>
                  </a:lnTo>
                  <a:lnTo>
                    <a:pt x="504" y="65"/>
                  </a:lnTo>
                  <a:lnTo>
                    <a:pt x="504" y="66"/>
                  </a:lnTo>
                  <a:lnTo>
                    <a:pt x="504" y="68"/>
                  </a:lnTo>
                  <a:lnTo>
                    <a:pt x="504" y="69"/>
                  </a:lnTo>
                  <a:lnTo>
                    <a:pt x="503" y="70"/>
                  </a:lnTo>
                  <a:lnTo>
                    <a:pt x="502" y="73"/>
                  </a:lnTo>
                  <a:lnTo>
                    <a:pt x="501" y="75"/>
                  </a:lnTo>
                  <a:lnTo>
                    <a:pt x="497" y="84"/>
                  </a:lnTo>
                  <a:lnTo>
                    <a:pt x="495" y="90"/>
                  </a:lnTo>
                  <a:lnTo>
                    <a:pt x="495" y="91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4" y="93"/>
                  </a:lnTo>
                  <a:lnTo>
                    <a:pt x="494" y="93"/>
                  </a:lnTo>
                  <a:lnTo>
                    <a:pt x="493" y="95"/>
                  </a:lnTo>
                  <a:lnTo>
                    <a:pt x="491" y="96"/>
                  </a:lnTo>
                  <a:lnTo>
                    <a:pt x="490" y="97"/>
                  </a:lnTo>
                  <a:lnTo>
                    <a:pt x="489" y="98"/>
                  </a:lnTo>
                  <a:lnTo>
                    <a:pt x="487" y="99"/>
                  </a:lnTo>
                  <a:lnTo>
                    <a:pt x="485" y="100"/>
                  </a:lnTo>
                  <a:lnTo>
                    <a:pt x="484" y="101"/>
                  </a:lnTo>
                  <a:lnTo>
                    <a:pt x="482" y="102"/>
                  </a:lnTo>
                  <a:lnTo>
                    <a:pt x="482" y="102"/>
                  </a:lnTo>
                  <a:lnTo>
                    <a:pt x="482" y="103"/>
                  </a:lnTo>
                  <a:lnTo>
                    <a:pt x="481" y="104"/>
                  </a:lnTo>
                  <a:lnTo>
                    <a:pt x="481" y="104"/>
                  </a:lnTo>
                  <a:lnTo>
                    <a:pt x="480" y="105"/>
                  </a:lnTo>
                  <a:lnTo>
                    <a:pt x="480" y="107"/>
                  </a:lnTo>
                  <a:lnTo>
                    <a:pt x="479" y="108"/>
                  </a:lnTo>
                  <a:lnTo>
                    <a:pt x="478" y="114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6" y="116"/>
                  </a:lnTo>
                  <a:lnTo>
                    <a:pt x="476" y="117"/>
                  </a:lnTo>
                  <a:lnTo>
                    <a:pt x="476" y="117"/>
                  </a:lnTo>
                  <a:lnTo>
                    <a:pt x="475" y="118"/>
                  </a:lnTo>
                  <a:lnTo>
                    <a:pt x="475" y="118"/>
                  </a:lnTo>
                  <a:lnTo>
                    <a:pt x="474" y="118"/>
                  </a:lnTo>
                  <a:lnTo>
                    <a:pt x="474" y="119"/>
                  </a:lnTo>
                  <a:lnTo>
                    <a:pt x="473" y="119"/>
                  </a:lnTo>
                  <a:lnTo>
                    <a:pt x="472" y="119"/>
                  </a:lnTo>
                  <a:lnTo>
                    <a:pt x="471" y="119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69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6" y="118"/>
                  </a:lnTo>
                  <a:lnTo>
                    <a:pt x="464" y="118"/>
                  </a:lnTo>
                  <a:lnTo>
                    <a:pt x="463" y="117"/>
                  </a:lnTo>
                  <a:lnTo>
                    <a:pt x="460" y="115"/>
                  </a:lnTo>
                  <a:lnTo>
                    <a:pt x="458" y="114"/>
                  </a:lnTo>
                  <a:lnTo>
                    <a:pt x="457" y="114"/>
                  </a:lnTo>
                  <a:lnTo>
                    <a:pt x="455" y="113"/>
                  </a:lnTo>
                  <a:lnTo>
                    <a:pt x="454" y="112"/>
                  </a:lnTo>
                  <a:lnTo>
                    <a:pt x="453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1" y="112"/>
                  </a:lnTo>
                  <a:lnTo>
                    <a:pt x="450" y="112"/>
                  </a:lnTo>
                  <a:lnTo>
                    <a:pt x="448" y="113"/>
                  </a:lnTo>
                  <a:lnTo>
                    <a:pt x="447" y="113"/>
                  </a:lnTo>
                  <a:lnTo>
                    <a:pt x="447" y="113"/>
                  </a:lnTo>
                  <a:lnTo>
                    <a:pt x="446" y="113"/>
                  </a:lnTo>
                  <a:lnTo>
                    <a:pt x="446" y="113"/>
                  </a:lnTo>
                  <a:lnTo>
                    <a:pt x="446" y="114"/>
                  </a:lnTo>
                  <a:lnTo>
                    <a:pt x="446" y="114"/>
                  </a:lnTo>
                  <a:lnTo>
                    <a:pt x="446" y="115"/>
                  </a:lnTo>
                  <a:lnTo>
                    <a:pt x="446" y="116"/>
                  </a:lnTo>
                  <a:lnTo>
                    <a:pt x="446" y="119"/>
                  </a:lnTo>
                  <a:lnTo>
                    <a:pt x="446" y="121"/>
                  </a:lnTo>
                  <a:lnTo>
                    <a:pt x="446" y="122"/>
                  </a:lnTo>
                  <a:lnTo>
                    <a:pt x="446" y="123"/>
                  </a:lnTo>
                  <a:lnTo>
                    <a:pt x="446" y="126"/>
                  </a:lnTo>
                  <a:lnTo>
                    <a:pt x="445" y="127"/>
                  </a:lnTo>
                  <a:lnTo>
                    <a:pt x="445" y="128"/>
                  </a:lnTo>
                  <a:lnTo>
                    <a:pt x="445" y="128"/>
                  </a:lnTo>
                  <a:lnTo>
                    <a:pt x="444" y="129"/>
                  </a:lnTo>
                  <a:lnTo>
                    <a:pt x="444" y="130"/>
                  </a:lnTo>
                  <a:lnTo>
                    <a:pt x="442" y="132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0" y="134"/>
                  </a:lnTo>
                  <a:lnTo>
                    <a:pt x="440" y="135"/>
                  </a:lnTo>
                  <a:lnTo>
                    <a:pt x="439" y="136"/>
                  </a:lnTo>
                  <a:lnTo>
                    <a:pt x="439" y="137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7" y="141"/>
                  </a:lnTo>
                  <a:lnTo>
                    <a:pt x="437" y="142"/>
                  </a:lnTo>
                  <a:lnTo>
                    <a:pt x="437" y="143"/>
                  </a:lnTo>
                  <a:lnTo>
                    <a:pt x="437" y="144"/>
                  </a:lnTo>
                  <a:lnTo>
                    <a:pt x="437" y="146"/>
                  </a:lnTo>
                  <a:lnTo>
                    <a:pt x="437" y="146"/>
                  </a:lnTo>
                  <a:lnTo>
                    <a:pt x="437" y="147"/>
                  </a:lnTo>
                  <a:lnTo>
                    <a:pt x="436" y="147"/>
                  </a:lnTo>
                  <a:lnTo>
                    <a:pt x="436" y="147"/>
                  </a:lnTo>
                  <a:lnTo>
                    <a:pt x="436" y="148"/>
                  </a:lnTo>
                  <a:lnTo>
                    <a:pt x="435" y="148"/>
                  </a:lnTo>
                  <a:lnTo>
                    <a:pt x="434" y="149"/>
                  </a:lnTo>
                  <a:lnTo>
                    <a:pt x="433" y="149"/>
                  </a:lnTo>
                  <a:lnTo>
                    <a:pt x="433" y="149"/>
                  </a:lnTo>
                  <a:lnTo>
                    <a:pt x="430" y="152"/>
                  </a:lnTo>
                  <a:lnTo>
                    <a:pt x="427" y="154"/>
                  </a:lnTo>
                  <a:lnTo>
                    <a:pt x="426" y="155"/>
                  </a:lnTo>
                  <a:lnTo>
                    <a:pt x="425" y="156"/>
                  </a:lnTo>
                  <a:lnTo>
                    <a:pt x="425" y="156"/>
                  </a:lnTo>
                  <a:lnTo>
                    <a:pt x="424" y="157"/>
                  </a:lnTo>
                  <a:lnTo>
                    <a:pt x="424" y="158"/>
                  </a:lnTo>
                  <a:lnTo>
                    <a:pt x="423" y="159"/>
                  </a:lnTo>
                  <a:lnTo>
                    <a:pt x="423" y="160"/>
                  </a:lnTo>
                  <a:lnTo>
                    <a:pt x="422" y="162"/>
                  </a:lnTo>
                  <a:lnTo>
                    <a:pt x="422" y="163"/>
                  </a:lnTo>
                  <a:lnTo>
                    <a:pt x="422" y="164"/>
                  </a:lnTo>
                  <a:lnTo>
                    <a:pt x="421" y="167"/>
                  </a:lnTo>
                  <a:lnTo>
                    <a:pt x="421" y="168"/>
                  </a:lnTo>
                  <a:lnTo>
                    <a:pt x="421" y="169"/>
                  </a:lnTo>
                  <a:lnTo>
                    <a:pt x="420" y="170"/>
                  </a:lnTo>
                  <a:lnTo>
                    <a:pt x="420" y="171"/>
                  </a:lnTo>
                  <a:lnTo>
                    <a:pt x="418" y="174"/>
                  </a:lnTo>
                  <a:lnTo>
                    <a:pt x="417" y="176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8"/>
                  </a:lnTo>
                  <a:lnTo>
                    <a:pt x="415" y="178"/>
                  </a:lnTo>
                  <a:lnTo>
                    <a:pt x="415" y="179"/>
                  </a:lnTo>
                  <a:lnTo>
                    <a:pt x="415" y="180"/>
                  </a:lnTo>
                  <a:lnTo>
                    <a:pt x="415" y="181"/>
                  </a:lnTo>
                  <a:lnTo>
                    <a:pt x="415" y="182"/>
                  </a:lnTo>
                  <a:lnTo>
                    <a:pt x="416" y="182"/>
                  </a:lnTo>
                  <a:lnTo>
                    <a:pt x="416" y="183"/>
                  </a:lnTo>
                  <a:lnTo>
                    <a:pt x="417" y="185"/>
                  </a:lnTo>
                  <a:lnTo>
                    <a:pt x="417" y="186"/>
                  </a:lnTo>
                  <a:lnTo>
                    <a:pt x="418" y="187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19" y="193"/>
                  </a:lnTo>
                  <a:lnTo>
                    <a:pt x="419" y="196"/>
                  </a:lnTo>
                  <a:lnTo>
                    <a:pt x="420" y="196"/>
                  </a:lnTo>
                  <a:lnTo>
                    <a:pt x="420" y="198"/>
                  </a:lnTo>
                  <a:lnTo>
                    <a:pt x="421" y="199"/>
                  </a:lnTo>
                  <a:lnTo>
                    <a:pt x="422" y="201"/>
                  </a:lnTo>
                  <a:lnTo>
                    <a:pt x="423" y="205"/>
                  </a:lnTo>
                  <a:lnTo>
                    <a:pt x="425" y="209"/>
                  </a:lnTo>
                  <a:lnTo>
                    <a:pt x="426" y="210"/>
                  </a:lnTo>
                  <a:lnTo>
                    <a:pt x="427" y="211"/>
                  </a:lnTo>
                  <a:lnTo>
                    <a:pt x="428" y="213"/>
                  </a:lnTo>
                  <a:lnTo>
                    <a:pt x="428" y="214"/>
                  </a:lnTo>
                  <a:lnTo>
                    <a:pt x="430" y="216"/>
                  </a:lnTo>
                  <a:lnTo>
                    <a:pt x="430" y="217"/>
                  </a:lnTo>
                  <a:lnTo>
                    <a:pt x="431" y="218"/>
                  </a:lnTo>
                  <a:lnTo>
                    <a:pt x="432" y="220"/>
                  </a:lnTo>
                  <a:lnTo>
                    <a:pt x="433" y="222"/>
                  </a:lnTo>
                  <a:lnTo>
                    <a:pt x="433" y="223"/>
                  </a:lnTo>
                  <a:lnTo>
                    <a:pt x="436" y="230"/>
                  </a:lnTo>
                  <a:lnTo>
                    <a:pt x="436" y="230"/>
                  </a:lnTo>
                  <a:lnTo>
                    <a:pt x="437" y="231"/>
                  </a:lnTo>
                  <a:lnTo>
                    <a:pt x="439" y="236"/>
                  </a:lnTo>
                  <a:lnTo>
                    <a:pt x="441" y="240"/>
                  </a:lnTo>
                  <a:lnTo>
                    <a:pt x="442" y="240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44" y="243"/>
                  </a:lnTo>
                  <a:lnTo>
                    <a:pt x="445" y="243"/>
                  </a:lnTo>
                  <a:lnTo>
                    <a:pt x="447" y="245"/>
                  </a:lnTo>
                  <a:lnTo>
                    <a:pt x="448" y="246"/>
                  </a:lnTo>
                  <a:lnTo>
                    <a:pt x="450" y="247"/>
                  </a:lnTo>
                  <a:lnTo>
                    <a:pt x="451" y="248"/>
                  </a:lnTo>
                  <a:lnTo>
                    <a:pt x="451" y="249"/>
                  </a:lnTo>
                  <a:lnTo>
                    <a:pt x="452" y="249"/>
                  </a:lnTo>
                  <a:lnTo>
                    <a:pt x="453" y="250"/>
                  </a:lnTo>
                  <a:lnTo>
                    <a:pt x="453" y="251"/>
                  </a:lnTo>
                  <a:lnTo>
                    <a:pt x="454" y="252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5"/>
                  </a:lnTo>
                  <a:lnTo>
                    <a:pt x="455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3" y="254"/>
                  </a:lnTo>
                  <a:lnTo>
                    <a:pt x="453" y="255"/>
                  </a:lnTo>
                  <a:lnTo>
                    <a:pt x="452" y="255"/>
                  </a:lnTo>
                  <a:lnTo>
                    <a:pt x="452" y="256"/>
                  </a:lnTo>
                  <a:lnTo>
                    <a:pt x="451" y="256"/>
                  </a:lnTo>
                  <a:lnTo>
                    <a:pt x="450" y="257"/>
                  </a:lnTo>
                  <a:lnTo>
                    <a:pt x="450" y="258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60"/>
                  </a:lnTo>
                  <a:lnTo>
                    <a:pt x="449" y="260"/>
                  </a:lnTo>
                  <a:lnTo>
                    <a:pt x="449" y="261"/>
                  </a:lnTo>
                  <a:lnTo>
                    <a:pt x="449" y="262"/>
                  </a:lnTo>
                  <a:lnTo>
                    <a:pt x="449" y="262"/>
                  </a:lnTo>
                  <a:lnTo>
                    <a:pt x="449" y="264"/>
                  </a:lnTo>
                  <a:lnTo>
                    <a:pt x="450" y="267"/>
                  </a:lnTo>
                  <a:lnTo>
                    <a:pt x="450" y="269"/>
                  </a:lnTo>
                  <a:lnTo>
                    <a:pt x="450" y="270"/>
                  </a:lnTo>
                  <a:lnTo>
                    <a:pt x="450" y="273"/>
                  </a:lnTo>
                  <a:lnTo>
                    <a:pt x="450" y="274"/>
                  </a:lnTo>
                  <a:lnTo>
                    <a:pt x="450" y="275"/>
                  </a:lnTo>
                  <a:lnTo>
                    <a:pt x="450" y="275"/>
                  </a:lnTo>
                  <a:lnTo>
                    <a:pt x="450" y="276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7" y="279"/>
                  </a:lnTo>
                  <a:lnTo>
                    <a:pt x="445" y="280"/>
                  </a:lnTo>
                  <a:lnTo>
                    <a:pt x="442" y="281"/>
                  </a:lnTo>
                  <a:lnTo>
                    <a:pt x="439" y="281"/>
                  </a:lnTo>
                  <a:lnTo>
                    <a:pt x="438" y="282"/>
                  </a:lnTo>
                  <a:lnTo>
                    <a:pt x="438" y="282"/>
                  </a:lnTo>
                  <a:lnTo>
                    <a:pt x="437" y="282"/>
                  </a:lnTo>
                  <a:lnTo>
                    <a:pt x="437" y="283"/>
                  </a:lnTo>
                  <a:lnTo>
                    <a:pt x="436" y="286"/>
                  </a:lnTo>
                  <a:lnTo>
                    <a:pt x="434" y="288"/>
                  </a:lnTo>
                  <a:lnTo>
                    <a:pt x="434" y="289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2" y="291"/>
                  </a:lnTo>
                  <a:lnTo>
                    <a:pt x="431" y="291"/>
                  </a:lnTo>
                  <a:lnTo>
                    <a:pt x="430" y="291"/>
                  </a:lnTo>
                  <a:lnTo>
                    <a:pt x="429" y="291"/>
                  </a:lnTo>
                  <a:lnTo>
                    <a:pt x="428" y="291"/>
                  </a:lnTo>
                  <a:lnTo>
                    <a:pt x="424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2" y="289"/>
                  </a:lnTo>
                  <a:lnTo>
                    <a:pt x="422" y="289"/>
                  </a:lnTo>
                  <a:lnTo>
                    <a:pt x="421" y="289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1"/>
                  </a:lnTo>
                  <a:lnTo>
                    <a:pt x="420" y="292"/>
                  </a:lnTo>
                  <a:lnTo>
                    <a:pt x="420" y="294"/>
                  </a:lnTo>
                  <a:lnTo>
                    <a:pt x="420" y="296"/>
                  </a:lnTo>
                  <a:lnTo>
                    <a:pt x="420" y="297"/>
                  </a:lnTo>
                  <a:lnTo>
                    <a:pt x="420" y="298"/>
                  </a:lnTo>
                  <a:lnTo>
                    <a:pt x="420" y="299"/>
                  </a:lnTo>
                  <a:lnTo>
                    <a:pt x="420" y="300"/>
                  </a:lnTo>
                  <a:lnTo>
                    <a:pt x="420" y="301"/>
                  </a:lnTo>
                  <a:lnTo>
                    <a:pt x="421" y="302"/>
                  </a:lnTo>
                  <a:lnTo>
                    <a:pt x="421" y="305"/>
                  </a:lnTo>
                  <a:lnTo>
                    <a:pt x="422" y="306"/>
                  </a:lnTo>
                  <a:lnTo>
                    <a:pt x="422" y="307"/>
                  </a:lnTo>
                  <a:lnTo>
                    <a:pt x="422" y="308"/>
                  </a:lnTo>
                  <a:lnTo>
                    <a:pt x="422" y="309"/>
                  </a:lnTo>
                  <a:lnTo>
                    <a:pt x="422" y="311"/>
                  </a:lnTo>
                  <a:lnTo>
                    <a:pt x="422" y="312"/>
                  </a:lnTo>
                  <a:lnTo>
                    <a:pt x="421" y="313"/>
                  </a:lnTo>
                  <a:lnTo>
                    <a:pt x="421" y="315"/>
                  </a:lnTo>
                  <a:lnTo>
                    <a:pt x="420" y="319"/>
                  </a:lnTo>
                  <a:lnTo>
                    <a:pt x="420" y="320"/>
                  </a:lnTo>
                  <a:lnTo>
                    <a:pt x="420" y="321"/>
                  </a:lnTo>
                  <a:lnTo>
                    <a:pt x="419" y="322"/>
                  </a:lnTo>
                  <a:lnTo>
                    <a:pt x="419" y="323"/>
                  </a:lnTo>
                  <a:lnTo>
                    <a:pt x="418" y="323"/>
                  </a:lnTo>
                  <a:lnTo>
                    <a:pt x="418" y="324"/>
                  </a:lnTo>
                  <a:lnTo>
                    <a:pt x="418" y="324"/>
                  </a:lnTo>
                  <a:lnTo>
                    <a:pt x="417" y="324"/>
                  </a:lnTo>
                  <a:lnTo>
                    <a:pt x="417" y="325"/>
                  </a:lnTo>
                  <a:lnTo>
                    <a:pt x="416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3" y="325"/>
                  </a:lnTo>
                  <a:lnTo>
                    <a:pt x="411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4"/>
                  </a:lnTo>
                  <a:lnTo>
                    <a:pt x="401" y="325"/>
                  </a:lnTo>
                  <a:lnTo>
                    <a:pt x="395" y="326"/>
                  </a:lnTo>
                  <a:lnTo>
                    <a:pt x="394" y="326"/>
                  </a:lnTo>
                  <a:lnTo>
                    <a:pt x="393" y="326"/>
                  </a:lnTo>
                  <a:lnTo>
                    <a:pt x="392" y="327"/>
                  </a:lnTo>
                  <a:lnTo>
                    <a:pt x="391" y="327"/>
                  </a:lnTo>
                  <a:lnTo>
                    <a:pt x="391" y="327"/>
                  </a:lnTo>
                  <a:lnTo>
                    <a:pt x="390" y="328"/>
                  </a:lnTo>
                  <a:lnTo>
                    <a:pt x="388" y="330"/>
                  </a:lnTo>
                  <a:lnTo>
                    <a:pt x="387" y="331"/>
                  </a:lnTo>
                  <a:lnTo>
                    <a:pt x="386" y="332"/>
                  </a:lnTo>
                  <a:lnTo>
                    <a:pt x="385" y="332"/>
                  </a:lnTo>
                  <a:lnTo>
                    <a:pt x="384" y="333"/>
                  </a:lnTo>
                  <a:lnTo>
                    <a:pt x="384" y="333"/>
                  </a:lnTo>
                  <a:lnTo>
                    <a:pt x="383" y="333"/>
                  </a:lnTo>
                  <a:lnTo>
                    <a:pt x="383" y="333"/>
                  </a:lnTo>
                  <a:lnTo>
                    <a:pt x="382" y="333"/>
                  </a:lnTo>
                  <a:lnTo>
                    <a:pt x="381" y="333"/>
                  </a:lnTo>
                  <a:lnTo>
                    <a:pt x="379" y="333"/>
                  </a:lnTo>
                  <a:lnTo>
                    <a:pt x="376" y="332"/>
                  </a:lnTo>
                  <a:lnTo>
                    <a:pt x="372" y="331"/>
                  </a:lnTo>
                  <a:lnTo>
                    <a:pt x="370" y="331"/>
                  </a:lnTo>
                  <a:lnTo>
                    <a:pt x="368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6" y="330"/>
                  </a:lnTo>
                  <a:lnTo>
                    <a:pt x="365" y="330"/>
                  </a:lnTo>
                  <a:lnTo>
                    <a:pt x="365" y="331"/>
                  </a:lnTo>
                  <a:lnTo>
                    <a:pt x="363" y="332"/>
                  </a:lnTo>
                  <a:lnTo>
                    <a:pt x="361" y="332"/>
                  </a:lnTo>
                  <a:lnTo>
                    <a:pt x="359" y="332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3" y="333"/>
                  </a:lnTo>
                  <a:lnTo>
                    <a:pt x="350" y="333"/>
                  </a:lnTo>
                  <a:lnTo>
                    <a:pt x="348" y="333"/>
                  </a:lnTo>
                  <a:lnTo>
                    <a:pt x="346" y="333"/>
                  </a:lnTo>
                  <a:lnTo>
                    <a:pt x="340" y="332"/>
                  </a:lnTo>
                  <a:lnTo>
                    <a:pt x="338" y="332"/>
                  </a:lnTo>
                  <a:lnTo>
                    <a:pt x="336" y="332"/>
                  </a:lnTo>
                  <a:lnTo>
                    <a:pt x="333" y="331"/>
                  </a:lnTo>
                  <a:lnTo>
                    <a:pt x="329" y="330"/>
                  </a:lnTo>
                  <a:lnTo>
                    <a:pt x="325" y="329"/>
                  </a:lnTo>
                  <a:lnTo>
                    <a:pt x="323" y="328"/>
                  </a:lnTo>
                  <a:lnTo>
                    <a:pt x="322" y="328"/>
                  </a:lnTo>
                  <a:lnTo>
                    <a:pt x="317" y="328"/>
                  </a:lnTo>
                  <a:lnTo>
                    <a:pt x="316" y="328"/>
                  </a:lnTo>
                  <a:lnTo>
                    <a:pt x="315" y="328"/>
                  </a:lnTo>
                  <a:lnTo>
                    <a:pt x="314" y="328"/>
                  </a:lnTo>
                  <a:lnTo>
                    <a:pt x="313" y="328"/>
                  </a:lnTo>
                  <a:lnTo>
                    <a:pt x="313" y="328"/>
                  </a:lnTo>
                  <a:lnTo>
                    <a:pt x="312" y="329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09" y="331"/>
                  </a:lnTo>
                  <a:lnTo>
                    <a:pt x="309" y="331"/>
                  </a:lnTo>
                  <a:lnTo>
                    <a:pt x="308" y="332"/>
                  </a:lnTo>
                  <a:lnTo>
                    <a:pt x="307" y="333"/>
                  </a:lnTo>
                  <a:lnTo>
                    <a:pt x="307" y="333"/>
                  </a:lnTo>
                  <a:lnTo>
                    <a:pt x="307" y="334"/>
                  </a:lnTo>
                  <a:lnTo>
                    <a:pt x="307" y="335"/>
                  </a:lnTo>
                  <a:lnTo>
                    <a:pt x="307" y="335"/>
                  </a:lnTo>
                  <a:lnTo>
                    <a:pt x="307" y="336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4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4" y="346"/>
                  </a:lnTo>
                  <a:lnTo>
                    <a:pt x="304" y="346"/>
                  </a:lnTo>
                  <a:lnTo>
                    <a:pt x="302" y="346"/>
                  </a:lnTo>
                  <a:lnTo>
                    <a:pt x="301" y="346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298" y="347"/>
                  </a:lnTo>
                  <a:lnTo>
                    <a:pt x="298" y="347"/>
                  </a:lnTo>
                  <a:lnTo>
                    <a:pt x="297" y="347"/>
                  </a:lnTo>
                  <a:lnTo>
                    <a:pt x="297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2"/>
                  </a:lnTo>
                  <a:lnTo>
                    <a:pt x="295" y="353"/>
                  </a:lnTo>
                  <a:lnTo>
                    <a:pt x="294" y="353"/>
                  </a:lnTo>
                  <a:lnTo>
                    <a:pt x="292" y="355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89" y="357"/>
                  </a:lnTo>
                  <a:lnTo>
                    <a:pt x="288" y="358"/>
                  </a:lnTo>
                  <a:lnTo>
                    <a:pt x="287" y="359"/>
                  </a:lnTo>
                  <a:lnTo>
                    <a:pt x="286" y="359"/>
                  </a:lnTo>
                  <a:lnTo>
                    <a:pt x="285" y="359"/>
                  </a:lnTo>
                  <a:lnTo>
                    <a:pt x="282" y="360"/>
                  </a:lnTo>
                  <a:lnTo>
                    <a:pt x="281" y="361"/>
                  </a:lnTo>
                  <a:lnTo>
                    <a:pt x="280" y="361"/>
                  </a:lnTo>
                  <a:lnTo>
                    <a:pt x="278" y="361"/>
                  </a:lnTo>
                  <a:lnTo>
                    <a:pt x="278" y="362"/>
                  </a:lnTo>
                  <a:lnTo>
                    <a:pt x="277" y="362"/>
                  </a:lnTo>
                  <a:lnTo>
                    <a:pt x="276" y="363"/>
                  </a:lnTo>
                  <a:lnTo>
                    <a:pt x="275" y="364"/>
                  </a:lnTo>
                  <a:lnTo>
                    <a:pt x="274" y="364"/>
                  </a:lnTo>
                  <a:lnTo>
                    <a:pt x="273" y="365"/>
                  </a:lnTo>
                  <a:lnTo>
                    <a:pt x="272" y="367"/>
                  </a:lnTo>
                  <a:lnTo>
                    <a:pt x="270" y="369"/>
                  </a:lnTo>
                  <a:lnTo>
                    <a:pt x="269" y="370"/>
                  </a:lnTo>
                  <a:lnTo>
                    <a:pt x="268" y="371"/>
                  </a:lnTo>
                  <a:lnTo>
                    <a:pt x="268" y="371"/>
                  </a:lnTo>
                  <a:lnTo>
                    <a:pt x="267" y="371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5" y="372"/>
                  </a:lnTo>
                  <a:lnTo>
                    <a:pt x="265" y="372"/>
                  </a:lnTo>
                  <a:lnTo>
                    <a:pt x="264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3" y="371"/>
                  </a:lnTo>
                  <a:lnTo>
                    <a:pt x="262" y="371"/>
                  </a:lnTo>
                  <a:lnTo>
                    <a:pt x="261" y="370"/>
                  </a:lnTo>
                  <a:lnTo>
                    <a:pt x="259" y="368"/>
                  </a:lnTo>
                  <a:lnTo>
                    <a:pt x="259" y="368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4" y="366"/>
                  </a:lnTo>
                  <a:lnTo>
                    <a:pt x="253" y="366"/>
                  </a:lnTo>
                  <a:lnTo>
                    <a:pt x="253" y="367"/>
                  </a:lnTo>
                  <a:lnTo>
                    <a:pt x="252" y="367"/>
                  </a:lnTo>
                  <a:lnTo>
                    <a:pt x="251" y="368"/>
                  </a:lnTo>
                  <a:lnTo>
                    <a:pt x="250" y="369"/>
                  </a:lnTo>
                  <a:lnTo>
                    <a:pt x="249" y="370"/>
                  </a:lnTo>
                  <a:lnTo>
                    <a:pt x="246" y="373"/>
                  </a:lnTo>
                  <a:lnTo>
                    <a:pt x="244" y="374"/>
                  </a:lnTo>
                  <a:lnTo>
                    <a:pt x="244" y="375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8" y="378"/>
                  </a:lnTo>
                  <a:lnTo>
                    <a:pt x="236" y="380"/>
                  </a:lnTo>
                  <a:lnTo>
                    <a:pt x="235" y="380"/>
                  </a:lnTo>
                  <a:lnTo>
                    <a:pt x="234" y="381"/>
                  </a:lnTo>
                  <a:lnTo>
                    <a:pt x="233" y="381"/>
                  </a:lnTo>
                  <a:lnTo>
                    <a:pt x="232" y="381"/>
                  </a:lnTo>
                  <a:lnTo>
                    <a:pt x="231" y="381"/>
                  </a:lnTo>
                  <a:lnTo>
                    <a:pt x="230" y="381"/>
                  </a:lnTo>
                  <a:lnTo>
                    <a:pt x="228" y="381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2"/>
                  </a:lnTo>
                  <a:lnTo>
                    <a:pt x="220" y="382"/>
                  </a:lnTo>
                  <a:lnTo>
                    <a:pt x="218" y="381"/>
                  </a:lnTo>
                  <a:lnTo>
                    <a:pt x="217" y="381"/>
                  </a:lnTo>
                  <a:lnTo>
                    <a:pt x="215" y="381"/>
                  </a:lnTo>
                  <a:lnTo>
                    <a:pt x="214" y="380"/>
                  </a:lnTo>
                  <a:lnTo>
                    <a:pt x="214" y="380"/>
                  </a:lnTo>
                  <a:lnTo>
                    <a:pt x="213" y="380"/>
                  </a:lnTo>
                  <a:lnTo>
                    <a:pt x="212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09" y="379"/>
                  </a:lnTo>
                  <a:lnTo>
                    <a:pt x="208" y="380"/>
                  </a:lnTo>
                  <a:lnTo>
                    <a:pt x="207" y="381"/>
                  </a:lnTo>
                  <a:lnTo>
                    <a:pt x="203" y="385"/>
                  </a:lnTo>
                  <a:lnTo>
                    <a:pt x="200" y="387"/>
                  </a:lnTo>
                  <a:lnTo>
                    <a:pt x="198" y="389"/>
                  </a:lnTo>
                  <a:lnTo>
                    <a:pt x="198" y="389"/>
                  </a:lnTo>
                  <a:lnTo>
                    <a:pt x="197" y="390"/>
                  </a:lnTo>
                  <a:lnTo>
                    <a:pt x="196" y="391"/>
                  </a:lnTo>
                  <a:lnTo>
                    <a:pt x="195" y="393"/>
                  </a:lnTo>
                  <a:lnTo>
                    <a:pt x="194" y="393"/>
                  </a:lnTo>
                  <a:lnTo>
                    <a:pt x="193" y="394"/>
                  </a:lnTo>
                  <a:lnTo>
                    <a:pt x="192" y="395"/>
                  </a:lnTo>
                  <a:lnTo>
                    <a:pt x="191" y="395"/>
                  </a:lnTo>
                  <a:lnTo>
                    <a:pt x="190" y="396"/>
                  </a:lnTo>
                  <a:lnTo>
                    <a:pt x="188" y="396"/>
                  </a:lnTo>
                  <a:lnTo>
                    <a:pt x="186" y="397"/>
                  </a:lnTo>
                  <a:lnTo>
                    <a:pt x="185" y="397"/>
                  </a:lnTo>
                  <a:lnTo>
                    <a:pt x="183" y="397"/>
                  </a:lnTo>
                  <a:lnTo>
                    <a:pt x="182" y="397"/>
                  </a:lnTo>
                  <a:lnTo>
                    <a:pt x="181" y="397"/>
                  </a:lnTo>
                  <a:lnTo>
                    <a:pt x="179" y="397"/>
                  </a:lnTo>
                  <a:lnTo>
                    <a:pt x="178" y="397"/>
                  </a:lnTo>
                  <a:lnTo>
                    <a:pt x="176" y="397"/>
                  </a:lnTo>
                  <a:lnTo>
                    <a:pt x="175" y="397"/>
                  </a:lnTo>
                  <a:lnTo>
                    <a:pt x="174" y="398"/>
                  </a:lnTo>
                  <a:lnTo>
                    <a:pt x="173" y="398"/>
                  </a:lnTo>
                  <a:lnTo>
                    <a:pt x="172" y="399"/>
                  </a:lnTo>
                  <a:lnTo>
                    <a:pt x="171" y="400"/>
                  </a:lnTo>
                  <a:lnTo>
                    <a:pt x="169" y="401"/>
                  </a:lnTo>
                  <a:lnTo>
                    <a:pt x="167" y="402"/>
                  </a:lnTo>
                  <a:lnTo>
                    <a:pt x="167" y="403"/>
                  </a:lnTo>
                  <a:lnTo>
                    <a:pt x="165" y="404"/>
                  </a:lnTo>
                  <a:lnTo>
                    <a:pt x="164" y="405"/>
                  </a:lnTo>
                  <a:lnTo>
                    <a:pt x="162" y="406"/>
                  </a:lnTo>
                  <a:lnTo>
                    <a:pt x="160" y="408"/>
                  </a:lnTo>
                  <a:lnTo>
                    <a:pt x="160" y="409"/>
                  </a:lnTo>
                  <a:lnTo>
                    <a:pt x="159" y="409"/>
                  </a:lnTo>
                  <a:lnTo>
                    <a:pt x="159" y="410"/>
                  </a:lnTo>
                  <a:lnTo>
                    <a:pt x="159" y="410"/>
                  </a:lnTo>
                  <a:lnTo>
                    <a:pt x="158" y="411"/>
                  </a:lnTo>
                  <a:lnTo>
                    <a:pt x="158" y="412"/>
                  </a:lnTo>
                  <a:lnTo>
                    <a:pt x="158" y="415"/>
                  </a:lnTo>
                  <a:lnTo>
                    <a:pt x="158" y="415"/>
                  </a:lnTo>
                  <a:lnTo>
                    <a:pt x="157" y="416"/>
                  </a:lnTo>
                  <a:lnTo>
                    <a:pt x="157" y="418"/>
                  </a:lnTo>
                  <a:lnTo>
                    <a:pt x="157" y="418"/>
                  </a:lnTo>
                  <a:lnTo>
                    <a:pt x="157" y="419"/>
                  </a:lnTo>
                  <a:lnTo>
                    <a:pt x="157" y="420"/>
                  </a:lnTo>
                  <a:lnTo>
                    <a:pt x="157" y="421"/>
                  </a:lnTo>
                  <a:lnTo>
                    <a:pt x="157" y="422"/>
                  </a:lnTo>
                  <a:lnTo>
                    <a:pt x="156" y="423"/>
                  </a:lnTo>
                  <a:lnTo>
                    <a:pt x="156" y="423"/>
                  </a:lnTo>
                  <a:lnTo>
                    <a:pt x="156" y="424"/>
                  </a:lnTo>
                  <a:lnTo>
                    <a:pt x="156" y="424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3" y="425"/>
                  </a:lnTo>
                  <a:lnTo>
                    <a:pt x="153" y="426"/>
                  </a:lnTo>
                  <a:lnTo>
                    <a:pt x="152" y="426"/>
                  </a:lnTo>
                  <a:lnTo>
                    <a:pt x="152" y="426"/>
                  </a:lnTo>
                  <a:lnTo>
                    <a:pt x="152" y="427"/>
                  </a:lnTo>
                  <a:lnTo>
                    <a:pt x="151" y="429"/>
                  </a:lnTo>
                  <a:lnTo>
                    <a:pt x="150" y="430"/>
                  </a:lnTo>
                  <a:lnTo>
                    <a:pt x="150" y="431"/>
                  </a:lnTo>
                  <a:lnTo>
                    <a:pt x="149" y="433"/>
                  </a:lnTo>
                  <a:lnTo>
                    <a:pt x="148" y="433"/>
                  </a:lnTo>
                  <a:lnTo>
                    <a:pt x="148" y="434"/>
                  </a:lnTo>
                  <a:lnTo>
                    <a:pt x="147" y="434"/>
                  </a:lnTo>
                  <a:lnTo>
                    <a:pt x="147" y="434"/>
                  </a:lnTo>
                  <a:lnTo>
                    <a:pt x="146" y="434"/>
                  </a:lnTo>
                  <a:lnTo>
                    <a:pt x="145" y="434"/>
                  </a:lnTo>
                  <a:lnTo>
                    <a:pt x="144" y="434"/>
                  </a:lnTo>
                  <a:lnTo>
                    <a:pt x="143" y="434"/>
                  </a:lnTo>
                  <a:lnTo>
                    <a:pt x="142" y="435"/>
                  </a:lnTo>
                  <a:lnTo>
                    <a:pt x="141" y="435"/>
                  </a:lnTo>
                  <a:lnTo>
                    <a:pt x="140" y="435"/>
                  </a:lnTo>
                  <a:lnTo>
                    <a:pt x="139" y="436"/>
                  </a:lnTo>
                  <a:lnTo>
                    <a:pt x="138" y="436"/>
                  </a:lnTo>
                  <a:lnTo>
                    <a:pt x="137" y="437"/>
                  </a:lnTo>
                  <a:lnTo>
                    <a:pt x="136" y="438"/>
                  </a:lnTo>
                  <a:lnTo>
                    <a:pt x="135" y="439"/>
                  </a:lnTo>
                  <a:lnTo>
                    <a:pt x="134" y="440"/>
                  </a:lnTo>
                  <a:lnTo>
                    <a:pt x="133" y="440"/>
                  </a:lnTo>
                  <a:lnTo>
                    <a:pt x="133" y="441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2" y="443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0" y="445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5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3" y="447"/>
                  </a:lnTo>
                  <a:lnTo>
                    <a:pt x="123" y="447"/>
                  </a:lnTo>
                  <a:lnTo>
                    <a:pt x="123" y="446"/>
                  </a:lnTo>
                  <a:lnTo>
                    <a:pt x="122" y="446"/>
                  </a:lnTo>
                  <a:lnTo>
                    <a:pt x="122" y="446"/>
                  </a:lnTo>
                  <a:lnTo>
                    <a:pt x="122" y="445"/>
                  </a:lnTo>
                  <a:lnTo>
                    <a:pt x="121" y="443"/>
                  </a:lnTo>
                  <a:lnTo>
                    <a:pt x="121" y="442"/>
                  </a:lnTo>
                  <a:lnTo>
                    <a:pt x="120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7" y="436"/>
                  </a:lnTo>
                  <a:lnTo>
                    <a:pt x="116" y="437"/>
                  </a:lnTo>
                  <a:lnTo>
                    <a:pt x="115" y="437"/>
                  </a:lnTo>
                  <a:lnTo>
                    <a:pt x="115" y="437"/>
                  </a:lnTo>
                  <a:lnTo>
                    <a:pt x="114" y="438"/>
                  </a:lnTo>
                  <a:lnTo>
                    <a:pt x="114" y="438"/>
                  </a:lnTo>
                  <a:lnTo>
                    <a:pt x="112" y="440"/>
                  </a:lnTo>
                  <a:lnTo>
                    <a:pt x="112" y="440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0" y="441"/>
                  </a:lnTo>
                  <a:lnTo>
                    <a:pt x="110" y="441"/>
                  </a:lnTo>
                  <a:lnTo>
                    <a:pt x="109" y="441"/>
                  </a:lnTo>
                  <a:lnTo>
                    <a:pt x="109" y="440"/>
                  </a:lnTo>
                  <a:lnTo>
                    <a:pt x="109" y="440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8" y="437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5"/>
                  </a:lnTo>
                  <a:lnTo>
                    <a:pt x="108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5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0" y="435"/>
                  </a:lnTo>
                  <a:lnTo>
                    <a:pt x="100" y="434"/>
                  </a:lnTo>
                  <a:lnTo>
                    <a:pt x="99" y="433"/>
                  </a:lnTo>
                  <a:lnTo>
                    <a:pt x="99" y="432"/>
                  </a:lnTo>
                  <a:lnTo>
                    <a:pt x="98" y="431"/>
                  </a:lnTo>
                  <a:lnTo>
                    <a:pt x="96" y="429"/>
                  </a:lnTo>
                  <a:lnTo>
                    <a:pt x="95" y="428"/>
                  </a:lnTo>
                  <a:lnTo>
                    <a:pt x="95" y="427"/>
                  </a:lnTo>
                  <a:lnTo>
                    <a:pt x="94" y="426"/>
                  </a:lnTo>
                  <a:lnTo>
                    <a:pt x="93" y="426"/>
                  </a:lnTo>
                  <a:lnTo>
                    <a:pt x="92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0" y="424"/>
                  </a:lnTo>
                  <a:lnTo>
                    <a:pt x="86" y="424"/>
                  </a:lnTo>
                  <a:lnTo>
                    <a:pt x="85" y="424"/>
                  </a:lnTo>
                  <a:lnTo>
                    <a:pt x="85" y="423"/>
                  </a:lnTo>
                  <a:lnTo>
                    <a:pt x="84" y="423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4" y="419"/>
                  </a:lnTo>
                  <a:lnTo>
                    <a:pt x="84" y="418"/>
                  </a:lnTo>
                  <a:lnTo>
                    <a:pt x="84" y="418"/>
                  </a:lnTo>
                  <a:lnTo>
                    <a:pt x="85" y="418"/>
                  </a:lnTo>
                  <a:lnTo>
                    <a:pt x="86" y="417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8" y="417"/>
                  </a:lnTo>
                  <a:lnTo>
                    <a:pt x="89" y="417"/>
                  </a:lnTo>
                  <a:lnTo>
                    <a:pt x="90" y="417"/>
                  </a:lnTo>
                  <a:lnTo>
                    <a:pt x="93" y="418"/>
                  </a:lnTo>
                  <a:lnTo>
                    <a:pt x="93" y="418"/>
                  </a:lnTo>
                  <a:lnTo>
                    <a:pt x="94" y="418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5" y="417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4" y="415"/>
                  </a:lnTo>
                  <a:lnTo>
                    <a:pt x="94" y="413"/>
                  </a:lnTo>
                  <a:lnTo>
                    <a:pt x="94" y="412"/>
                  </a:lnTo>
                  <a:lnTo>
                    <a:pt x="94" y="411"/>
                  </a:lnTo>
                  <a:lnTo>
                    <a:pt x="94" y="411"/>
                  </a:lnTo>
                  <a:lnTo>
                    <a:pt x="94" y="410"/>
                  </a:lnTo>
                  <a:lnTo>
                    <a:pt x="95" y="409"/>
                  </a:lnTo>
                  <a:lnTo>
                    <a:pt x="95" y="409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6" y="407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6" y="405"/>
                  </a:lnTo>
                  <a:lnTo>
                    <a:pt x="95" y="404"/>
                  </a:lnTo>
                  <a:lnTo>
                    <a:pt x="95" y="401"/>
                  </a:lnTo>
                  <a:lnTo>
                    <a:pt x="94" y="400"/>
                  </a:lnTo>
                  <a:lnTo>
                    <a:pt x="94" y="398"/>
                  </a:lnTo>
                  <a:lnTo>
                    <a:pt x="92" y="394"/>
                  </a:lnTo>
                  <a:lnTo>
                    <a:pt x="91" y="392"/>
                  </a:lnTo>
                  <a:lnTo>
                    <a:pt x="90" y="390"/>
                  </a:lnTo>
                  <a:lnTo>
                    <a:pt x="89" y="389"/>
                  </a:lnTo>
                  <a:lnTo>
                    <a:pt x="87" y="386"/>
                  </a:lnTo>
                  <a:lnTo>
                    <a:pt x="87" y="386"/>
                  </a:lnTo>
                  <a:lnTo>
                    <a:pt x="87" y="385"/>
                  </a:lnTo>
                  <a:lnTo>
                    <a:pt x="87" y="385"/>
                  </a:lnTo>
                  <a:lnTo>
                    <a:pt x="87" y="384"/>
                  </a:lnTo>
                  <a:lnTo>
                    <a:pt x="87" y="381"/>
                  </a:lnTo>
                  <a:lnTo>
                    <a:pt x="87" y="380"/>
                  </a:lnTo>
                  <a:lnTo>
                    <a:pt x="86" y="378"/>
                  </a:lnTo>
                  <a:lnTo>
                    <a:pt x="86" y="378"/>
                  </a:lnTo>
                  <a:lnTo>
                    <a:pt x="86" y="377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3" y="374"/>
                  </a:lnTo>
                  <a:lnTo>
                    <a:pt x="83" y="373"/>
                  </a:lnTo>
                  <a:lnTo>
                    <a:pt x="82" y="373"/>
                  </a:lnTo>
                  <a:lnTo>
                    <a:pt x="82" y="372"/>
                  </a:lnTo>
                  <a:lnTo>
                    <a:pt x="82" y="372"/>
                  </a:lnTo>
                  <a:lnTo>
                    <a:pt x="82" y="371"/>
                  </a:lnTo>
                  <a:lnTo>
                    <a:pt x="81" y="370"/>
                  </a:lnTo>
                  <a:lnTo>
                    <a:pt x="82" y="370"/>
                  </a:lnTo>
                  <a:lnTo>
                    <a:pt x="82" y="369"/>
                  </a:lnTo>
                  <a:lnTo>
                    <a:pt x="82" y="367"/>
                  </a:lnTo>
                  <a:lnTo>
                    <a:pt x="82" y="366"/>
                  </a:lnTo>
                  <a:lnTo>
                    <a:pt x="82" y="365"/>
                  </a:lnTo>
                  <a:lnTo>
                    <a:pt x="82" y="363"/>
                  </a:lnTo>
                  <a:lnTo>
                    <a:pt x="82" y="361"/>
                  </a:lnTo>
                  <a:lnTo>
                    <a:pt x="81" y="359"/>
                  </a:lnTo>
                  <a:lnTo>
                    <a:pt x="81" y="358"/>
                  </a:lnTo>
                  <a:lnTo>
                    <a:pt x="80" y="356"/>
                  </a:lnTo>
                  <a:lnTo>
                    <a:pt x="80" y="355"/>
                  </a:lnTo>
                  <a:lnTo>
                    <a:pt x="80" y="354"/>
                  </a:lnTo>
                  <a:lnTo>
                    <a:pt x="80" y="353"/>
                  </a:lnTo>
                  <a:lnTo>
                    <a:pt x="80" y="352"/>
                  </a:lnTo>
                  <a:lnTo>
                    <a:pt x="80" y="351"/>
                  </a:lnTo>
                  <a:lnTo>
                    <a:pt x="81" y="347"/>
                  </a:lnTo>
                  <a:lnTo>
                    <a:pt x="81" y="345"/>
                  </a:lnTo>
                  <a:lnTo>
                    <a:pt x="82" y="344"/>
                  </a:lnTo>
                  <a:lnTo>
                    <a:pt x="82" y="343"/>
                  </a:lnTo>
                  <a:lnTo>
                    <a:pt x="82" y="343"/>
                  </a:lnTo>
                  <a:lnTo>
                    <a:pt x="82" y="340"/>
                  </a:lnTo>
                  <a:lnTo>
                    <a:pt x="82" y="339"/>
                  </a:lnTo>
                  <a:lnTo>
                    <a:pt x="82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3" y="334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0"/>
                  </a:lnTo>
                  <a:lnTo>
                    <a:pt x="83" y="329"/>
                  </a:lnTo>
                  <a:lnTo>
                    <a:pt x="83" y="328"/>
                  </a:lnTo>
                  <a:lnTo>
                    <a:pt x="83" y="327"/>
                  </a:lnTo>
                  <a:lnTo>
                    <a:pt x="83" y="326"/>
                  </a:lnTo>
                  <a:lnTo>
                    <a:pt x="82" y="325"/>
                  </a:lnTo>
                  <a:lnTo>
                    <a:pt x="81" y="323"/>
                  </a:lnTo>
                  <a:lnTo>
                    <a:pt x="81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9" y="319"/>
                  </a:lnTo>
                  <a:lnTo>
                    <a:pt x="78" y="319"/>
                  </a:lnTo>
                  <a:lnTo>
                    <a:pt x="77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4" y="318"/>
                  </a:lnTo>
                  <a:lnTo>
                    <a:pt x="70" y="318"/>
                  </a:lnTo>
                  <a:lnTo>
                    <a:pt x="69" y="318"/>
                  </a:lnTo>
                  <a:lnTo>
                    <a:pt x="68" y="318"/>
                  </a:lnTo>
                  <a:lnTo>
                    <a:pt x="65" y="318"/>
                  </a:lnTo>
                  <a:lnTo>
                    <a:pt x="64" y="318"/>
                  </a:lnTo>
                  <a:lnTo>
                    <a:pt x="62" y="318"/>
                  </a:lnTo>
                  <a:lnTo>
                    <a:pt x="58" y="318"/>
                  </a:lnTo>
                  <a:lnTo>
                    <a:pt x="57" y="317"/>
                  </a:lnTo>
                  <a:lnTo>
                    <a:pt x="55" y="317"/>
                  </a:lnTo>
                  <a:lnTo>
                    <a:pt x="55" y="317"/>
                  </a:lnTo>
                  <a:lnTo>
                    <a:pt x="54" y="318"/>
                  </a:lnTo>
                  <a:lnTo>
                    <a:pt x="52" y="318"/>
                  </a:lnTo>
                  <a:lnTo>
                    <a:pt x="51" y="318"/>
                  </a:lnTo>
                  <a:lnTo>
                    <a:pt x="50" y="318"/>
                  </a:lnTo>
                  <a:lnTo>
                    <a:pt x="49" y="318"/>
                  </a:lnTo>
                  <a:lnTo>
                    <a:pt x="49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6" y="318"/>
                  </a:lnTo>
                  <a:lnTo>
                    <a:pt x="46" y="317"/>
                  </a:lnTo>
                  <a:lnTo>
                    <a:pt x="46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5"/>
                  </a:lnTo>
                  <a:lnTo>
                    <a:pt x="45" y="314"/>
                  </a:lnTo>
                  <a:lnTo>
                    <a:pt x="45" y="313"/>
                  </a:lnTo>
                  <a:lnTo>
                    <a:pt x="45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4" y="309"/>
                  </a:lnTo>
                  <a:lnTo>
                    <a:pt x="44" y="308"/>
                  </a:lnTo>
                  <a:lnTo>
                    <a:pt x="43" y="308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1" y="305"/>
                  </a:lnTo>
                  <a:lnTo>
                    <a:pt x="38" y="304"/>
                  </a:lnTo>
                  <a:lnTo>
                    <a:pt x="36" y="303"/>
                  </a:lnTo>
                  <a:lnTo>
                    <a:pt x="36" y="303"/>
                  </a:lnTo>
                  <a:lnTo>
                    <a:pt x="35" y="303"/>
                  </a:lnTo>
                  <a:lnTo>
                    <a:pt x="34" y="302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5" y="301"/>
                  </a:lnTo>
                  <a:lnTo>
                    <a:pt x="22" y="300"/>
                  </a:lnTo>
                  <a:lnTo>
                    <a:pt x="20" y="300"/>
                  </a:lnTo>
                  <a:lnTo>
                    <a:pt x="19" y="299"/>
                  </a:lnTo>
                  <a:lnTo>
                    <a:pt x="16" y="299"/>
                  </a:lnTo>
                  <a:lnTo>
                    <a:pt x="14" y="299"/>
                  </a:lnTo>
                  <a:lnTo>
                    <a:pt x="12" y="299"/>
                  </a:lnTo>
                  <a:lnTo>
                    <a:pt x="9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6" y="297"/>
                  </a:lnTo>
                  <a:lnTo>
                    <a:pt x="4" y="296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1" y="291"/>
                  </a:lnTo>
                  <a:lnTo>
                    <a:pt x="1" y="291"/>
                  </a:lnTo>
                  <a:lnTo>
                    <a:pt x="2" y="290"/>
                  </a:lnTo>
                  <a:lnTo>
                    <a:pt x="6" y="288"/>
                  </a:lnTo>
                  <a:lnTo>
                    <a:pt x="8" y="287"/>
                  </a:lnTo>
                  <a:lnTo>
                    <a:pt x="10" y="286"/>
                  </a:lnTo>
                  <a:lnTo>
                    <a:pt x="11" y="285"/>
                  </a:lnTo>
                  <a:lnTo>
                    <a:pt x="12" y="284"/>
                  </a:lnTo>
                  <a:lnTo>
                    <a:pt x="13" y="283"/>
                  </a:lnTo>
                  <a:lnTo>
                    <a:pt x="18" y="278"/>
                  </a:lnTo>
                  <a:lnTo>
                    <a:pt x="19" y="276"/>
                  </a:lnTo>
                  <a:lnTo>
                    <a:pt x="20" y="275"/>
                  </a:lnTo>
                  <a:lnTo>
                    <a:pt x="21" y="274"/>
                  </a:lnTo>
                  <a:lnTo>
                    <a:pt x="21" y="273"/>
                  </a:lnTo>
                  <a:lnTo>
                    <a:pt x="21" y="272"/>
                  </a:lnTo>
                  <a:lnTo>
                    <a:pt x="22" y="271"/>
                  </a:lnTo>
                  <a:lnTo>
                    <a:pt x="22" y="269"/>
                  </a:lnTo>
                  <a:lnTo>
                    <a:pt x="22" y="264"/>
                  </a:lnTo>
                  <a:lnTo>
                    <a:pt x="22" y="261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4" y="254"/>
                  </a:lnTo>
                  <a:lnTo>
                    <a:pt x="24" y="253"/>
                  </a:lnTo>
                  <a:lnTo>
                    <a:pt x="25" y="252"/>
                  </a:lnTo>
                  <a:lnTo>
                    <a:pt x="25" y="251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8" y="248"/>
                  </a:lnTo>
                  <a:lnTo>
                    <a:pt x="28" y="248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8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7" y="247"/>
                  </a:lnTo>
                  <a:lnTo>
                    <a:pt x="51" y="246"/>
                  </a:lnTo>
                  <a:lnTo>
                    <a:pt x="52" y="245"/>
                  </a:lnTo>
                  <a:lnTo>
                    <a:pt x="53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5" y="245"/>
                  </a:lnTo>
                  <a:lnTo>
                    <a:pt x="56" y="245"/>
                  </a:lnTo>
                  <a:lnTo>
                    <a:pt x="57" y="246"/>
                  </a:lnTo>
                  <a:lnTo>
                    <a:pt x="59" y="246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4" y="246"/>
                  </a:lnTo>
                  <a:lnTo>
                    <a:pt x="75" y="245"/>
                  </a:lnTo>
                  <a:lnTo>
                    <a:pt x="77" y="241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81" y="235"/>
                  </a:lnTo>
                  <a:lnTo>
                    <a:pt x="81" y="233"/>
                  </a:lnTo>
                  <a:lnTo>
                    <a:pt x="82" y="232"/>
                  </a:lnTo>
                  <a:lnTo>
                    <a:pt x="83" y="230"/>
                  </a:lnTo>
                  <a:lnTo>
                    <a:pt x="83" y="228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4" y="222"/>
                  </a:lnTo>
                  <a:lnTo>
                    <a:pt x="85" y="221"/>
                  </a:lnTo>
                  <a:lnTo>
                    <a:pt x="87" y="216"/>
                  </a:lnTo>
                  <a:lnTo>
                    <a:pt x="87" y="215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Freeform 20">
              <a:extLst>
                <a:ext uri="{FF2B5EF4-FFF2-40B4-BE49-F238E27FC236}">
                  <a16:creationId xmlns:a16="http://schemas.microsoft.com/office/drawing/2014/main" id="{D51BAD0F-0B7A-74B9-42B5-DA5F00B4D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" y="2866"/>
              <a:ext cx="343" cy="215"/>
            </a:xfrm>
            <a:custGeom>
              <a:avLst/>
              <a:gdLst>
                <a:gd name="T0" fmla="*/ 4 w 343"/>
                <a:gd name="T1" fmla="*/ 211 h 215"/>
                <a:gd name="T2" fmla="*/ 8 w 343"/>
                <a:gd name="T3" fmla="*/ 210 h 215"/>
                <a:gd name="T4" fmla="*/ 16 w 343"/>
                <a:gd name="T5" fmla="*/ 213 h 215"/>
                <a:gd name="T6" fmla="*/ 21 w 343"/>
                <a:gd name="T7" fmla="*/ 214 h 215"/>
                <a:gd name="T8" fmla="*/ 24 w 343"/>
                <a:gd name="T9" fmla="*/ 211 h 215"/>
                <a:gd name="T10" fmla="*/ 29 w 343"/>
                <a:gd name="T11" fmla="*/ 202 h 215"/>
                <a:gd name="T12" fmla="*/ 38 w 343"/>
                <a:gd name="T13" fmla="*/ 195 h 215"/>
                <a:gd name="T14" fmla="*/ 42 w 343"/>
                <a:gd name="T15" fmla="*/ 186 h 215"/>
                <a:gd name="T16" fmla="*/ 45 w 343"/>
                <a:gd name="T17" fmla="*/ 186 h 215"/>
                <a:gd name="T18" fmla="*/ 50 w 343"/>
                <a:gd name="T19" fmla="*/ 191 h 215"/>
                <a:gd name="T20" fmla="*/ 58 w 343"/>
                <a:gd name="T21" fmla="*/ 201 h 215"/>
                <a:gd name="T22" fmla="*/ 66 w 343"/>
                <a:gd name="T23" fmla="*/ 203 h 215"/>
                <a:gd name="T24" fmla="*/ 70 w 343"/>
                <a:gd name="T25" fmla="*/ 201 h 215"/>
                <a:gd name="T26" fmla="*/ 83 w 343"/>
                <a:gd name="T27" fmla="*/ 188 h 215"/>
                <a:gd name="T28" fmla="*/ 85 w 343"/>
                <a:gd name="T29" fmla="*/ 181 h 215"/>
                <a:gd name="T30" fmla="*/ 89 w 343"/>
                <a:gd name="T31" fmla="*/ 174 h 215"/>
                <a:gd name="T32" fmla="*/ 90 w 343"/>
                <a:gd name="T33" fmla="*/ 166 h 215"/>
                <a:gd name="T34" fmla="*/ 90 w 343"/>
                <a:gd name="T35" fmla="*/ 159 h 215"/>
                <a:gd name="T36" fmla="*/ 95 w 343"/>
                <a:gd name="T37" fmla="*/ 156 h 215"/>
                <a:gd name="T38" fmla="*/ 109 w 343"/>
                <a:gd name="T39" fmla="*/ 155 h 215"/>
                <a:gd name="T40" fmla="*/ 118 w 343"/>
                <a:gd name="T41" fmla="*/ 151 h 215"/>
                <a:gd name="T42" fmla="*/ 126 w 343"/>
                <a:gd name="T43" fmla="*/ 148 h 215"/>
                <a:gd name="T44" fmla="*/ 135 w 343"/>
                <a:gd name="T45" fmla="*/ 151 h 215"/>
                <a:gd name="T46" fmla="*/ 139 w 343"/>
                <a:gd name="T47" fmla="*/ 152 h 215"/>
                <a:gd name="T48" fmla="*/ 147 w 343"/>
                <a:gd name="T49" fmla="*/ 148 h 215"/>
                <a:gd name="T50" fmla="*/ 163 w 343"/>
                <a:gd name="T51" fmla="*/ 147 h 215"/>
                <a:gd name="T52" fmla="*/ 174 w 343"/>
                <a:gd name="T53" fmla="*/ 149 h 215"/>
                <a:gd name="T54" fmla="*/ 183 w 343"/>
                <a:gd name="T55" fmla="*/ 148 h 215"/>
                <a:gd name="T56" fmla="*/ 192 w 343"/>
                <a:gd name="T57" fmla="*/ 143 h 215"/>
                <a:gd name="T58" fmla="*/ 195 w 343"/>
                <a:gd name="T59" fmla="*/ 138 h 215"/>
                <a:gd name="T60" fmla="*/ 195 w 343"/>
                <a:gd name="T61" fmla="*/ 128 h 215"/>
                <a:gd name="T62" fmla="*/ 198 w 343"/>
                <a:gd name="T63" fmla="*/ 123 h 215"/>
                <a:gd name="T64" fmla="*/ 205 w 343"/>
                <a:gd name="T65" fmla="*/ 120 h 215"/>
                <a:gd name="T66" fmla="*/ 215 w 343"/>
                <a:gd name="T67" fmla="*/ 113 h 215"/>
                <a:gd name="T68" fmla="*/ 224 w 343"/>
                <a:gd name="T69" fmla="*/ 110 h 215"/>
                <a:gd name="T70" fmla="*/ 235 w 343"/>
                <a:gd name="T71" fmla="*/ 113 h 215"/>
                <a:gd name="T72" fmla="*/ 247 w 343"/>
                <a:gd name="T73" fmla="*/ 111 h 215"/>
                <a:gd name="T74" fmla="*/ 265 w 343"/>
                <a:gd name="T75" fmla="*/ 101 h 215"/>
                <a:gd name="T76" fmla="*/ 286 w 343"/>
                <a:gd name="T77" fmla="*/ 92 h 215"/>
                <a:gd name="T78" fmla="*/ 294 w 343"/>
                <a:gd name="T79" fmla="*/ 85 h 215"/>
                <a:gd name="T80" fmla="*/ 300 w 343"/>
                <a:gd name="T81" fmla="*/ 78 h 215"/>
                <a:gd name="T82" fmla="*/ 308 w 343"/>
                <a:gd name="T83" fmla="*/ 76 h 215"/>
                <a:gd name="T84" fmla="*/ 318 w 343"/>
                <a:gd name="T85" fmla="*/ 77 h 215"/>
                <a:gd name="T86" fmla="*/ 331 w 343"/>
                <a:gd name="T87" fmla="*/ 73 h 215"/>
                <a:gd name="T88" fmla="*/ 339 w 343"/>
                <a:gd name="T89" fmla="*/ 70 h 215"/>
                <a:gd name="T90" fmla="*/ 343 w 343"/>
                <a:gd name="T91" fmla="*/ 61 h 215"/>
                <a:gd name="T92" fmla="*/ 342 w 343"/>
                <a:gd name="T93" fmla="*/ 57 h 215"/>
                <a:gd name="T94" fmla="*/ 336 w 343"/>
                <a:gd name="T95" fmla="*/ 53 h 215"/>
                <a:gd name="T96" fmla="*/ 322 w 343"/>
                <a:gd name="T97" fmla="*/ 47 h 215"/>
                <a:gd name="T98" fmla="*/ 319 w 343"/>
                <a:gd name="T99" fmla="*/ 42 h 215"/>
                <a:gd name="T100" fmla="*/ 321 w 343"/>
                <a:gd name="T101" fmla="*/ 37 h 215"/>
                <a:gd name="T102" fmla="*/ 320 w 343"/>
                <a:gd name="T103" fmla="*/ 35 h 215"/>
                <a:gd name="T104" fmla="*/ 312 w 343"/>
                <a:gd name="T105" fmla="*/ 34 h 215"/>
                <a:gd name="T106" fmla="*/ 306 w 343"/>
                <a:gd name="T107" fmla="*/ 31 h 215"/>
                <a:gd name="T108" fmla="*/ 305 w 343"/>
                <a:gd name="T109" fmla="*/ 24 h 215"/>
                <a:gd name="T110" fmla="*/ 308 w 343"/>
                <a:gd name="T111" fmla="*/ 17 h 215"/>
                <a:gd name="T112" fmla="*/ 311 w 343"/>
                <a:gd name="T113" fmla="*/ 8 h 215"/>
                <a:gd name="T114" fmla="*/ 317 w 343"/>
                <a:gd name="T115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43" h="215">
                  <a:moveTo>
                    <a:pt x="0" y="215"/>
                  </a:moveTo>
                  <a:lnTo>
                    <a:pt x="1" y="215"/>
                  </a:lnTo>
                  <a:lnTo>
                    <a:pt x="1" y="214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12"/>
                  </a:lnTo>
                  <a:lnTo>
                    <a:pt x="4" y="211"/>
                  </a:lnTo>
                  <a:lnTo>
                    <a:pt x="4" y="211"/>
                  </a:lnTo>
                  <a:lnTo>
                    <a:pt x="5" y="210"/>
                  </a:lnTo>
                  <a:lnTo>
                    <a:pt x="6" y="210"/>
                  </a:lnTo>
                  <a:lnTo>
                    <a:pt x="6" y="210"/>
                  </a:lnTo>
                  <a:lnTo>
                    <a:pt x="7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9" y="210"/>
                  </a:lnTo>
                  <a:lnTo>
                    <a:pt x="11" y="210"/>
                  </a:lnTo>
                  <a:lnTo>
                    <a:pt x="12" y="211"/>
                  </a:lnTo>
                  <a:lnTo>
                    <a:pt x="12" y="211"/>
                  </a:lnTo>
                  <a:lnTo>
                    <a:pt x="13" y="211"/>
                  </a:lnTo>
                  <a:lnTo>
                    <a:pt x="15" y="213"/>
                  </a:lnTo>
                  <a:lnTo>
                    <a:pt x="16" y="213"/>
                  </a:lnTo>
                  <a:lnTo>
                    <a:pt x="17" y="214"/>
                  </a:lnTo>
                  <a:lnTo>
                    <a:pt x="17" y="214"/>
                  </a:lnTo>
                  <a:lnTo>
                    <a:pt x="18" y="214"/>
                  </a:lnTo>
                  <a:lnTo>
                    <a:pt x="19" y="214"/>
                  </a:lnTo>
                  <a:lnTo>
                    <a:pt x="20" y="214"/>
                  </a:lnTo>
                  <a:lnTo>
                    <a:pt x="20" y="214"/>
                  </a:lnTo>
                  <a:lnTo>
                    <a:pt x="21" y="214"/>
                  </a:lnTo>
                  <a:lnTo>
                    <a:pt x="22" y="214"/>
                  </a:lnTo>
                  <a:lnTo>
                    <a:pt x="22" y="213"/>
                  </a:lnTo>
                  <a:lnTo>
                    <a:pt x="23" y="213"/>
                  </a:lnTo>
                  <a:lnTo>
                    <a:pt x="23" y="213"/>
                  </a:lnTo>
                  <a:lnTo>
                    <a:pt x="24" y="212"/>
                  </a:lnTo>
                  <a:lnTo>
                    <a:pt x="24" y="212"/>
                  </a:lnTo>
                  <a:lnTo>
                    <a:pt x="24" y="211"/>
                  </a:lnTo>
                  <a:lnTo>
                    <a:pt x="25" y="210"/>
                  </a:lnTo>
                  <a:lnTo>
                    <a:pt x="26" y="207"/>
                  </a:lnTo>
                  <a:lnTo>
                    <a:pt x="26" y="206"/>
                  </a:lnTo>
                  <a:lnTo>
                    <a:pt x="27" y="205"/>
                  </a:lnTo>
                  <a:lnTo>
                    <a:pt x="28" y="204"/>
                  </a:lnTo>
                  <a:lnTo>
                    <a:pt x="28" y="204"/>
                  </a:lnTo>
                  <a:lnTo>
                    <a:pt x="29" y="202"/>
                  </a:lnTo>
                  <a:lnTo>
                    <a:pt x="31" y="201"/>
                  </a:lnTo>
                  <a:lnTo>
                    <a:pt x="32" y="200"/>
                  </a:lnTo>
                  <a:lnTo>
                    <a:pt x="35" y="198"/>
                  </a:lnTo>
                  <a:lnTo>
                    <a:pt x="36" y="197"/>
                  </a:lnTo>
                  <a:lnTo>
                    <a:pt x="37" y="196"/>
                  </a:lnTo>
                  <a:lnTo>
                    <a:pt x="38" y="196"/>
                  </a:lnTo>
                  <a:lnTo>
                    <a:pt x="38" y="195"/>
                  </a:lnTo>
                  <a:lnTo>
                    <a:pt x="39" y="195"/>
                  </a:lnTo>
                  <a:lnTo>
                    <a:pt x="40" y="193"/>
                  </a:lnTo>
                  <a:lnTo>
                    <a:pt x="40" y="192"/>
                  </a:lnTo>
                  <a:lnTo>
                    <a:pt x="41" y="191"/>
                  </a:lnTo>
                  <a:lnTo>
                    <a:pt x="41" y="188"/>
                  </a:lnTo>
                  <a:lnTo>
                    <a:pt x="42" y="187"/>
                  </a:lnTo>
                  <a:lnTo>
                    <a:pt x="42" y="186"/>
                  </a:lnTo>
                  <a:lnTo>
                    <a:pt x="42" y="186"/>
                  </a:lnTo>
                  <a:lnTo>
                    <a:pt x="42" y="186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4" y="185"/>
                  </a:lnTo>
                  <a:lnTo>
                    <a:pt x="45" y="186"/>
                  </a:lnTo>
                  <a:lnTo>
                    <a:pt x="45" y="186"/>
                  </a:lnTo>
                  <a:lnTo>
                    <a:pt x="46" y="186"/>
                  </a:lnTo>
                  <a:lnTo>
                    <a:pt x="46" y="186"/>
                  </a:lnTo>
                  <a:lnTo>
                    <a:pt x="46" y="187"/>
                  </a:lnTo>
                  <a:lnTo>
                    <a:pt x="48" y="188"/>
                  </a:lnTo>
                  <a:lnTo>
                    <a:pt x="49" y="190"/>
                  </a:lnTo>
                  <a:lnTo>
                    <a:pt x="50" y="191"/>
                  </a:lnTo>
                  <a:lnTo>
                    <a:pt x="52" y="195"/>
                  </a:lnTo>
                  <a:lnTo>
                    <a:pt x="53" y="196"/>
                  </a:lnTo>
                  <a:lnTo>
                    <a:pt x="54" y="197"/>
                  </a:lnTo>
                  <a:lnTo>
                    <a:pt x="55" y="198"/>
                  </a:lnTo>
                  <a:lnTo>
                    <a:pt x="55" y="199"/>
                  </a:lnTo>
                  <a:lnTo>
                    <a:pt x="57" y="200"/>
                  </a:lnTo>
                  <a:lnTo>
                    <a:pt x="58" y="201"/>
                  </a:lnTo>
                  <a:lnTo>
                    <a:pt x="59" y="201"/>
                  </a:lnTo>
                  <a:lnTo>
                    <a:pt x="60" y="201"/>
                  </a:lnTo>
                  <a:lnTo>
                    <a:pt x="62" y="202"/>
                  </a:lnTo>
                  <a:lnTo>
                    <a:pt x="64" y="203"/>
                  </a:lnTo>
                  <a:lnTo>
                    <a:pt x="65" y="203"/>
                  </a:lnTo>
                  <a:lnTo>
                    <a:pt x="65" y="203"/>
                  </a:lnTo>
                  <a:lnTo>
                    <a:pt x="66" y="203"/>
                  </a:lnTo>
                  <a:lnTo>
                    <a:pt x="66" y="203"/>
                  </a:lnTo>
                  <a:lnTo>
                    <a:pt x="67" y="203"/>
                  </a:lnTo>
                  <a:lnTo>
                    <a:pt x="67" y="203"/>
                  </a:lnTo>
                  <a:lnTo>
                    <a:pt x="68" y="203"/>
                  </a:lnTo>
                  <a:lnTo>
                    <a:pt x="69" y="202"/>
                  </a:lnTo>
                  <a:lnTo>
                    <a:pt x="69" y="202"/>
                  </a:lnTo>
                  <a:lnTo>
                    <a:pt x="70" y="201"/>
                  </a:lnTo>
                  <a:lnTo>
                    <a:pt x="71" y="201"/>
                  </a:lnTo>
                  <a:lnTo>
                    <a:pt x="72" y="199"/>
                  </a:lnTo>
                  <a:lnTo>
                    <a:pt x="76" y="196"/>
                  </a:lnTo>
                  <a:lnTo>
                    <a:pt x="79" y="193"/>
                  </a:lnTo>
                  <a:lnTo>
                    <a:pt x="82" y="190"/>
                  </a:lnTo>
                  <a:lnTo>
                    <a:pt x="83" y="189"/>
                  </a:lnTo>
                  <a:lnTo>
                    <a:pt x="83" y="188"/>
                  </a:lnTo>
                  <a:lnTo>
                    <a:pt x="84" y="188"/>
                  </a:lnTo>
                  <a:lnTo>
                    <a:pt x="84" y="187"/>
                  </a:lnTo>
                  <a:lnTo>
                    <a:pt x="84" y="186"/>
                  </a:lnTo>
                  <a:lnTo>
                    <a:pt x="84" y="185"/>
                  </a:lnTo>
                  <a:lnTo>
                    <a:pt x="84" y="183"/>
                  </a:lnTo>
                  <a:lnTo>
                    <a:pt x="84" y="182"/>
                  </a:lnTo>
                  <a:lnTo>
                    <a:pt x="85" y="181"/>
                  </a:lnTo>
                  <a:lnTo>
                    <a:pt x="85" y="181"/>
                  </a:lnTo>
                  <a:lnTo>
                    <a:pt x="85" y="180"/>
                  </a:lnTo>
                  <a:lnTo>
                    <a:pt x="86" y="179"/>
                  </a:lnTo>
                  <a:lnTo>
                    <a:pt x="87" y="177"/>
                  </a:lnTo>
                  <a:lnTo>
                    <a:pt x="88" y="175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3"/>
                  </a:lnTo>
                  <a:lnTo>
                    <a:pt x="89" y="172"/>
                  </a:lnTo>
                  <a:lnTo>
                    <a:pt x="90" y="171"/>
                  </a:lnTo>
                  <a:lnTo>
                    <a:pt x="90" y="170"/>
                  </a:lnTo>
                  <a:lnTo>
                    <a:pt x="90" y="170"/>
                  </a:lnTo>
                  <a:lnTo>
                    <a:pt x="90" y="168"/>
                  </a:lnTo>
                  <a:lnTo>
                    <a:pt x="90" y="166"/>
                  </a:lnTo>
                  <a:lnTo>
                    <a:pt x="89" y="163"/>
                  </a:lnTo>
                  <a:lnTo>
                    <a:pt x="89" y="162"/>
                  </a:lnTo>
                  <a:lnTo>
                    <a:pt x="89" y="161"/>
                  </a:lnTo>
                  <a:lnTo>
                    <a:pt x="89" y="160"/>
                  </a:lnTo>
                  <a:lnTo>
                    <a:pt x="89" y="160"/>
                  </a:lnTo>
                  <a:lnTo>
                    <a:pt x="90" y="159"/>
                  </a:lnTo>
                  <a:lnTo>
                    <a:pt x="90" y="159"/>
                  </a:lnTo>
                  <a:lnTo>
                    <a:pt x="91" y="158"/>
                  </a:lnTo>
                  <a:lnTo>
                    <a:pt x="91" y="157"/>
                  </a:lnTo>
                  <a:lnTo>
                    <a:pt x="92" y="157"/>
                  </a:lnTo>
                  <a:lnTo>
                    <a:pt x="92" y="157"/>
                  </a:lnTo>
                  <a:lnTo>
                    <a:pt x="93" y="156"/>
                  </a:lnTo>
                  <a:lnTo>
                    <a:pt x="94" y="156"/>
                  </a:lnTo>
                  <a:lnTo>
                    <a:pt x="95" y="156"/>
                  </a:lnTo>
                  <a:lnTo>
                    <a:pt x="96" y="155"/>
                  </a:lnTo>
                  <a:lnTo>
                    <a:pt x="97" y="155"/>
                  </a:lnTo>
                  <a:lnTo>
                    <a:pt x="98" y="155"/>
                  </a:lnTo>
                  <a:lnTo>
                    <a:pt x="100" y="155"/>
                  </a:lnTo>
                  <a:lnTo>
                    <a:pt x="105" y="155"/>
                  </a:lnTo>
                  <a:lnTo>
                    <a:pt x="107" y="155"/>
                  </a:lnTo>
                  <a:lnTo>
                    <a:pt x="109" y="155"/>
                  </a:lnTo>
                  <a:lnTo>
                    <a:pt x="110" y="154"/>
                  </a:lnTo>
                  <a:lnTo>
                    <a:pt x="112" y="154"/>
                  </a:lnTo>
                  <a:lnTo>
                    <a:pt x="113" y="153"/>
                  </a:lnTo>
                  <a:lnTo>
                    <a:pt x="114" y="153"/>
                  </a:lnTo>
                  <a:lnTo>
                    <a:pt x="115" y="152"/>
                  </a:lnTo>
                  <a:lnTo>
                    <a:pt x="117" y="151"/>
                  </a:lnTo>
                  <a:lnTo>
                    <a:pt x="118" y="151"/>
                  </a:lnTo>
                  <a:lnTo>
                    <a:pt x="119" y="150"/>
                  </a:lnTo>
                  <a:lnTo>
                    <a:pt x="121" y="149"/>
                  </a:lnTo>
                  <a:lnTo>
                    <a:pt x="122" y="149"/>
                  </a:lnTo>
                  <a:lnTo>
                    <a:pt x="123" y="148"/>
                  </a:lnTo>
                  <a:lnTo>
                    <a:pt x="124" y="148"/>
                  </a:lnTo>
                  <a:lnTo>
                    <a:pt x="125" y="148"/>
                  </a:lnTo>
                  <a:lnTo>
                    <a:pt x="126" y="148"/>
                  </a:lnTo>
                  <a:lnTo>
                    <a:pt x="127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9" y="149"/>
                  </a:lnTo>
                  <a:lnTo>
                    <a:pt x="130" y="149"/>
                  </a:lnTo>
                  <a:lnTo>
                    <a:pt x="133" y="151"/>
                  </a:lnTo>
                  <a:lnTo>
                    <a:pt x="135" y="151"/>
                  </a:lnTo>
                  <a:lnTo>
                    <a:pt x="136" y="151"/>
                  </a:lnTo>
                  <a:lnTo>
                    <a:pt x="136" y="152"/>
                  </a:lnTo>
                  <a:lnTo>
                    <a:pt x="137" y="152"/>
                  </a:lnTo>
                  <a:lnTo>
                    <a:pt x="138" y="152"/>
                  </a:lnTo>
                  <a:lnTo>
                    <a:pt x="138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40" y="151"/>
                  </a:lnTo>
                  <a:lnTo>
                    <a:pt x="141" y="151"/>
                  </a:lnTo>
                  <a:lnTo>
                    <a:pt x="142" y="150"/>
                  </a:lnTo>
                  <a:lnTo>
                    <a:pt x="144" y="149"/>
                  </a:lnTo>
                  <a:lnTo>
                    <a:pt x="145" y="149"/>
                  </a:lnTo>
                  <a:lnTo>
                    <a:pt x="146" y="148"/>
                  </a:lnTo>
                  <a:lnTo>
                    <a:pt x="147" y="148"/>
                  </a:lnTo>
                  <a:lnTo>
                    <a:pt x="151" y="148"/>
                  </a:lnTo>
                  <a:lnTo>
                    <a:pt x="155" y="147"/>
                  </a:lnTo>
                  <a:lnTo>
                    <a:pt x="156" y="147"/>
                  </a:lnTo>
                  <a:lnTo>
                    <a:pt x="157" y="147"/>
                  </a:lnTo>
                  <a:lnTo>
                    <a:pt x="160" y="147"/>
                  </a:lnTo>
                  <a:lnTo>
                    <a:pt x="161" y="147"/>
                  </a:lnTo>
                  <a:lnTo>
                    <a:pt x="163" y="147"/>
                  </a:lnTo>
                  <a:lnTo>
                    <a:pt x="165" y="147"/>
                  </a:lnTo>
                  <a:lnTo>
                    <a:pt x="167" y="147"/>
                  </a:lnTo>
                  <a:lnTo>
                    <a:pt x="168" y="147"/>
                  </a:lnTo>
                  <a:lnTo>
                    <a:pt x="169" y="148"/>
                  </a:lnTo>
                  <a:lnTo>
                    <a:pt x="172" y="149"/>
                  </a:lnTo>
                  <a:lnTo>
                    <a:pt x="173" y="149"/>
                  </a:lnTo>
                  <a:lnTo>
                    <a:pt x="174" y="149"/>
                  </a:lnTo>
                  <a:lnTo>
                    <a:pt x="176" y="150"/>
                  </a:lnTo>
                  <a:lnTo>
                    <a:pt x="177" y="150"/>
                  </a:lnTo>
                  <a:lnTo>
                    <a:pt x="179" y="150"/>
                  </a:lnTo>
                  <a:lnTo>
                    <a:pt x="180" y="149"/>
                  </a:lnTo>
                  <a:lnTo>
                    <a:pt x="181" y="149"/>
                  </a:lnTo>
                  <a:lnTo>
                    <a:pt x="182" y="149"/>
                  </a:lnTo>
                  <a:lnTo>
                    <a:pt x="183" y="148"/>
                  </a:lnTo>
                  <a:lnTo>
                    <a:pt x="184" y="147"/>
                  </a:lnTo>
                  <a:lnTo>
                    <a:pt x="186" y="146"/>
                  </a:lnTo>
                  <a:lnTo>
                    <a:pt x="187" y="145"/>
                  </a:lnTo>
                  <a:lnTo>
                    <a:pt x="188" y="145"/>
                  </a:lnTo>
                  <a:lnTo>
                    <a:pt x="191" y="144"/>
                  </a:lnTo>
                  <a:lnTo>
                    <a:pt x="191" y="143"/>
                  </a:lnTo>
                  <a:lnTo>
                    <a:pt x="192" y="143"/>
                  </a:lnTo>
                  <a:lnTo>
                    <a:pt x="192" y="143"/>
                  </a:lnTo>
                  <a:lnTo>
                    <a:pt x="193" y="142"/>
                  </a:lnTo>
                  <a:lnTo>
                    <a:pt x="194" y="142"/>
                  </a:lnTo>
                  <a:lnTo>
                    <a:pt x="194" y="141"/>
                  </a:lnTo>
                  <a:lnTo>
                    <a:pt x="195" y="140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6"/>
                  </a:lnTo>
                  <a:lnTo>
                    <a:pt x="195" y="133"/>
                  </a:lnTo>
                  <a:lnTo>
                    <a:pt x="195" y="132"/>
                  </a:lnTo>
                  <a:lnTo>
                    <a:pt x="195" y="130"/>
                  </a:lnTo>
                  <a:lnTo>
                    <a:pt x="195" y="129"/>
                  </a:lnTo>
                  <a:lnTo>
                    <a:pt x="195" y="128"/>
                  </a:lnTo>
                  <a:lnTo>
                    <a:pt x="196" y="127"/>
                  </a:lnTo>
                  <a:lnTo>
                    <a:pt x="196" y="126"/>
                  </a:lnTo>
                  <a:lnTo>
                    <a:pt x="196" y="125"/>
                  </a:lnTo>
                  <a:lnTo>
                    <a:pt x="197" y="124"/>
                  </a:lnTo>
                  <a:lnTo>
                    <a:pt x="197" y="124"/>
                  </a:lnTo>
                  <a:lnTo>
                    <a:pt x="197" y="123"/>
                  </a:lnTo>
                  <a:lnTo>
                    <a:pt x="198" y="123"/>
                  </a:lnTo>
                  <a:lnTo>
                    <a:pt x="198" y="122"/>
                  </a:lnTo>
                  <a:lnTo>
                    <a:pt x="199" y="122"/>
                  </a:lnTo>
                  <a:lnTo>
                    <a:pt x="199" y="122"/>
                  </a:lnTo>
                  <a:lnTo>
                    <a:pt x="200" y="121"/>
                  </a:lnTo>
                  <a:lnTo>
                    <a:pt x="201" y="121"/>
                  </a:lnTo>
                  <a:lnTo>
                    <a:pt x="204" y="120"/>
                  </a:lnTo>
                  <a:lnTo>
                    <a:pt x="205" y="120"/>
                  </a:lnTo>
                  <a:lnTo>
                    <a:pt x="207" y="119"/>
                  </a:lnTo>
                  <a:lnTo>
                    <a:pt x="208" y="119"/>
                  </a:lnTo>
                  <a:lnTo>
                    <a:pt x="210" y="118"/>
                  </a:lnTo>
                  <a:lnTo>
                    <a:pt x="211" y="117"/>
                  </a:lnTo>
                  <a:lnTo>
                    <a:pt x="212" y="116"/>
                  </a:lnTo>
                  <a:lnTo>
                    <a:pt x="214" y="114"/>
                  </a:lnTo>
                  <a:lnTo>
                    <a:pt x="215" y="113"/>
                  </a:lnTo>
                  <a:lnTo>
                    <a:pt x="216" y="113"/>
                  </a:lnTo>
                  <a:lnTo>
                    <a:pt x="218" y="112"/>
                  </a:lnTo>
                  <a:lnTo>
                    <a:pt x="219" y="111"/>
                  </a:lnTo>
                  <a:lnTo>
                    <a:pt x="221" y="110"/>
                  </a:lnTo>
                  <a:lnTo>
                    <a:pt x="222" y="110"/>
                  </a:lnTo>
                  <a:lnTo>
                    <a:pt x="223" y="110"/>
                  </a:lnTo>
                  <a:lnTo>
                    <a:pt x="224" y="110"/>
                  </a:lnTo>
                  <a:lnTo>
                    <a:pt x="225" y="110"/>
                  </a:lnTo>
                  <a:lnTo>
                    <a:pt x="226" y="110"/>
                  </a:lnTo>
                  <a:lnTo>
                    <a:pt x="227" y="110"/>
                  </a:lnTo>
                  <a:lnTo>
                    <a:pt x="229" y="111"/>
                  </a:lnTo>
                  <a:lnTo>
                    <a:pt x="232" y="112"/>
                  </a:lnTo>
                  <a:lnTo>
                    <a:pt x="234" y="113"/>
                  </a:lnTo>
                  <a:lnTo>
                    <a:pt x="235" y="113"/>
                  </a:lnTo>
                  <a:lnTo>
                    <a:pt x="236" y="113"/>
                  </a:lnTo>
                  <a:lnTo>
                    <a:pt x="237" y="113"/>
                  </a:lnTo>
                  <a:lnTo>
                    <a:pt x="240" y="112"/>
                  </a:lnTo>
                  <a:lnTo>
                    <a:pt x="244" y="112"/>
                  </a:lnTo>
                  <a:lnTo>
                    <a:pt x="244" y="111"/>
                  </a:lnTo>
                  <a:lnTo>
                    <a:pt x="245" y="111"/>
                  </a:lnTo>
                  <a:lnTo>
                    <a:pt x="247" y="111"/>
                  </a:lnTo>
                  <a:lnTo>
                    <a:pt x="248" y="110"/>
                  </a:lnTo>
                  <a:lnTo>
                    <a:pt x="249" y="109"/>
                  </a:lnTo>
                  <a:lnTo>
                    <a:pt x="252" y="107"/>
                  </a:lnTo>
                  <a:lnTo>
                    <a:pt x="253" y="106"/>
                  </a:lnTo>
                  <a:lnTo>
                    <a:pt x="255" y="105"/>
                  </a:lnTo>
                  <a:lnTo>
                    <a:pt x="258" y="104"/>
                  </a:lnTo>
                  <a:lnTo>
                    <a:pt x="265" y="101"/>
                  </a:lnTo>
                  <a:lnTo>
                    <a:pt x="270" y="98"/>
                  </a:lnTo>
                  <a:lnTo>
                    <a:pt x="273" y="97"/>
                  </a:lnTo>
                  <a:lnTo>
                    <a:pt x="275" y="96"/>
                  </a:lnTo>
                  <a:lnTo>
                    <a:pt x="281" y="94"/>
                  </a:lnTo>
                  <a:lnTo>
                    <a:pt x="283" y="94"/>
                  </a:lnTo>
                  <a:lnTo>
                    <a:pt x="285" y="93"/>
                  </a:lnTo>
                  <a:lnTo>
                    <a:pt x="286" y="92"/>
                  </a:lnTo>
                  <a:lnTo>
                    <a:pt x="287" y="92"/>
                  </a:lnTo>
                  <a:lnTo>
                    <a:pt x="288" y="91"/>
                  </a:lnTo>
                  <a:lnTo>
                    <a:pt x="290" y="89"/>
                  </a:lnTo>
                  <a:lnTo>
                    <a:pt x="291" y="88"/>
                  </a:lnTo>
                  <a:lnTo>
                    <a:pt x="292" y="87"/>
                  </a:lnTo>
                  <a:lnTo>
                    <a:pt x="293" y="86"/>
                  </a:lnTo>
                  <a:lnTo>
                    <a:pt x="294" y="85"/>
                  </a:lnTo>
                  <a:lnTo>
                    <a:pt x="295" y="84"/>
                  </a:lnTo>
                  <a:lnTo>
                    <a:pt x="297" y="81"/>
                  </a:lnTo>
                  <a:lnTo>
                    <a:pt x="297" y="80"/>
                  </a:lnTo>
                  <a:lnTo>
                    <a:pt x="297" y="79"/>
                  </a:lnTo>
                  <a:lnTo>
                    <a:pt x="298" y="79"/>
                  </a:lnTo>
                  <a:lnTo>
                    <a:pt x="299" y="78"/>
                  </a:lnTo>
                  <a:lnTo>
                    <a:pt x="300" y="78"/>
                  </a:lnTo>
                  <a:lnTo>
                    <a:pt x="301" y="77"/>
                  </a:lnTo>
                  <a:lnTo>
                    <a:pt x="302" y="76"/>
                  </a:lnTo>
                  <a:lnTo>
                    <a:pt x="304" y="76"/>
                  </a:lnTo>
                  <a:lnTo>
                    <a:pt x="305" y="76"/>
                  </a:lnTo>
                  <a:lnTo>
                    <a:pt x="306" y="76"/>
                  </a:lnTo>
                  <a:lnTo>
                    <a:pt x="307" y="76"/>
                  </a:lnTo>
                  <a:lnTo>
                    <a:pt x="308" y="76"/>
                  </a:lnTo>
                  <a:lnTo>
                    <a:pt x="310" y="76"/>
                  </a:lnTo>
                  <a:lnTo>
                    <a:pt x="312" y="77"/>
                  </a:lnTo>
                  <a:lnTo>
                    <a:pt x="314" y="77"/>
                  </a:lnTo>
                  <a:lnTo>
                    <a:pt x="315" y="77"/>
                  </a:lnTo>
                  <a:lnTo>
                    <a:pt x="316" y="77"/>
                  </a:lnTo>
                  <a:lnTo>
                    <a:pt x="317" y="77"/>
                  </a:lnTo>
                  <a:lnTo>
                    <a:pt x="318" y="77"/>
                  </a:lnTo>
                  <a:lnTo>
                    <a:pt x="320" y="77"/>
                  </a:lnTo>
                  <a:lnTo>
                    <a:pt x="323" y="76"/>
                  </a:lnTo>
                  <a:lnTo>
                    <a:pt x="324" y="76"/>
                  </a:lnTo>
                  <a:lnTo>
                    <a:pt x="325" y="75"/>
                  </a:lnTo>
                  <a:lnTo>
                    <a:pt x="327" y="75"/>
                  </a:lnTo>
                  <a:lnTo>
                    <a:pt x="330" y="74"/>
                  </a:lnTo>
                  <a:lnTo>
                    <a:pt x="331" y="73"/>
                  </a:lnTo>
                  <a:lnTo>
                    <a:pt x="332" y="73"/>
                  </a:lnTo>
                  <a:lnTo>
                    <a:pt x="335" y="72"/>
                  </a:lnTo>
                  <a:lnTo>
                    <a:pt x="336" y="72"/>
                  </a:lnTo>
                  <a:lnTo>
                    <a:pt x="337" y="72"/>
                  </a:lnTo>
                  <a:lnTo>
                    <a:pt x="338" y="71"/>
                  </a:lnTo>
                  <a:lnTo>
                    <a:pt x="338" y="71"/>
                  </a:lnTo>
                  <a:lnTo>
                    <a:pt x="339" y="70"/>
                  </a:lnTo>
                  <a:lnTo>
                    <a:pt x="339" y="70"/>
                  </a:lnTo>
                  <a:lnTo>
                    <a:pt x="340" y="69"/>
                  </a:lnTo>
                  <a:lnTo>
                    <a:pt x="340" y="69"/>
                  </a:lnTo>
                  <a:lnTo>
                    <a:pt x="341" y="68"/>
                  </a:lnTo>
                  <a:lnTo>
                    <a:pt x="341" y="65"/>
                  </a:lnTo>
                  <a:lnTo>
                    <a:pt x="342" y="63"/>
                  </a:lnTo>
                  <a:lnTo>
                    <a:pt x="343" y="61"/>
                  </a:lnTo>
                  <a:lnTo>
                    <a:pt x="343" y="60"/>
                  </a:lnTo>
                  <a:lnTo>
                    <a:pt x="343" y="60"/>
                  </a:lnTo>
                  <a:lnTo>
                    <a:pt x="343" y="59"/>
                  </a:lnTo>
                  <a:lnTo>
                    <a:pt x="343" y="58"/>
                  </a:lnTo>
                  <a:lnTo>
                    <a:pt x="343" y="58"/>
                  </a:lnTo>
                  <a:lnTo>
                    <a:pt x="343" y="57"/>
                  </a:lnTo>
                  <a:lnTo>
                    <a:pt x="342" y="57"/>
                  </a:lnTo>
                  <a:lnTo>
                    <a:pt x="342" y="56"/>
                  </a:lnTo>
                  <a:lnTo>
                    <a:pt x="341" y="55"/>
                  </a:lnTo>
                  <a:lnTo>
                    <a:pt x="341" y="55"/>
                  </a:lnTo>
                  <a:lnTo>
                    <a:pt x="340" y="55"/>
                  </a:lnTo>
                  <a:lnTo>
                    <a:pt x="339" y="54"/>
                  </a:lnTo>
                  <a:lnTo>
                    <a:pt x="338" y="54"/>
                  </a:lnTo>
                  <a:lnTo>
                    <a:pt x="336" y="53"/>
                  </a:lnTo>
                  <a:lnTo>
                    <a:pt x="332" y="51"/>
                  </a:lnTo>
                  <a:lnTo>
                    <a:pt x="330" y="50"/>
                  </a:lnTo>
                  <a:lnTo>
                    <a:pt x="325" y="49"/>
                  </a:lnTo>
                  <a:lnTo>
                    <a:pt x="324" y="48"/>
                  </a:lnTo>
                  <a:lnTo>
                    <a:pt x="323" y="48"/>
                  </a:lnTo>
                  <a:lnTo>
                    <a:pt x="322" y="47"/>
                  </a:lnTo>
                  <a:lnTo>
                    <a:pt x="322" y="47"/>
                  </a:lnTo>
                  <a:lnTo>
                    <a:pt x="321" y="46"/>
                  </a:lnTo>
                  <a:lnTo>
                    <a:pt x="321" y="46"/>
                  </a:lnTo>
                  <a:lnTo>
                    <a:pt x="321" y="45"/>
                  </a:lnTo>
                  <a:lnTo>
                    <a:pt x="320" y="45"/>
                  </a:lnTo>
                  <a:lnTo>
                    <a:pt x="320" y="44"/>
                  </a:lnTo>
                  <a:lnTo>
                    <a:pt x="319" y="43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19" y="41"/>
                  </a:lnTo>
                  <a:lnTo>
                    <a:pt x="319" y="41"/>
                  </a:lnTo>
                  <a:lnTo>
                    <a:pt x="319" y="40"/>
                  </a:lnTo>
                  <a:lnTo>
                    <a:pt x="319" y="40"/>
                  </a:lnTo>
                  <a:lnTo>
                    <a:pt x="320" y="39"/>
                  </a:lnTo>
                  <a:lnTo>
                    <a:pt x="321" y="37"/>
                  </a:lnTo>
                  <a:lnTo>
                    <a:pt x="321" y="37"/>
                  </a:lnTo>
                  <a:lnTo>
                    <a:pt x="321" y="37"/>
                  </a:lnTo>
                  <a:lnTo>
                    <a:pt x="321" y="36"/>
                  </a:lnTo>
                  <a:lnTo>
                    <a:pt x="321" y="36"/>
                  </a:lnTo>
                  <a:lnTo>
                    <a:pt x="321" y="35"/>
                  </a:lnTo>
                  <a:lnTo>
                    <a:pt x="320" y="35"/>
                  </a:lnTo>
                  <a:lnTo>
                    <a:pt x="320" y="35"/>
                  </a:lnTo>
                  <a:lnTo>
                    <a:pt x="320" y="34"/>
                  </a:lnTo>
                  <a:lnTo>
                    <a:pt x="319" y="34"/>
                  </a:lnTo>
                  <a:lnTo>
                    <a:pt x="318" y="34"/>
                  </a:lnTo>
                  <a:lnTo>
                    <a:pt x="317" y="34"/>
                  </a:lnTo>
                  <a:lnTo>
                    <a:pt x="314" y="34"/>
                  </a:lnTo>
                  <a:lnTo>
                    <a:pt x="313" y="34"/>
                  </a:lnTo>
                  <a:lnTo>
                    <a:pt x="312" y="34"/>
                  </a:lnTo>
                  <a:lnTo>
                    <a:pt x="311" y="34"/>
                  </a:lnTo>
                  <a:lnTo>
                    <a:pt x="310" y="33"/>
                  </a:lnTo>
                  <a:lnTo>
                    <a:pt x="309" y="33"/>
                  </a:lnTo>
                  <a:lnTo>
                    <a:pt x="308" y="32"/>
                  </a:lnTo>
                  <a:lnTo>
                    <a:pt x="307" y="32"/>
                  </a:lnTo>
                  <a:lnTo>
                    <a:pt x="307" y="31"/>
                  </a:lnTo>
                  <a:lnTo>
                    <a:pt x="306" y="31"/>
                  </a:lnTo>
                  <a:lnTo>
                    <a:pt x="306" y="30"/>
                  </a:lnTo>
                  <a:lnTo>
                    <a:pt x="306" y="30"/>
                  </a:lnTo>
                  <a:lnTo>
                    <a:pt x="305" y="29"/>
                  </a:lnTo>
                  <a:lnTo>
                    <a:pt x="305" y="28"/>
                  </a:lnTo>
                  <a:lnTo>
                    <a:pt x="305" y="28"/>
                  </a:lnTo>
                  <a:lnTo>
                    <a:pt x="305" y="27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3"/>
                  </a:lnTo>
                  <a:lnTo>
                    <a:pt x="306" y="22"/>
                  </a:lnTo>
                  <a:lnTo>
                    <a:pt x="306" y="21"/>
                  </a:lnTo>
                  <a:lnTo>
                    <a:pt x="307" y="19"/>
                  </a:lnTo>
                  <a:lnTo>
                    <a:pt x="308" y="18"/>
                  </a:lnTo>
                  <a:lnTo>
                    <a:pt x="308" y="17"/>
                  </a:lnTo>
                  <a:lnTo>
                    <a:pt x="309" y="16"/>
                  </a:lnTo>
                  <a:lnTo>
                    <a:pt x="309" y="14"/>
                  </a:lnTo>
                  <a:lnTo>
                    <a:pt x="309" y="13"/>
                  </a:lnTo>
                  <a:lnTo>
                    <a:pt x="310" y="12"/>
                  </a:lnTo>
                  <a:lnTo>
                    <a:pt x="310" y="9"/>
                  </a:lnTo>
                  <a:lnTo>
                    <a:pt x="311" y="8"/>
                  </a:lnTo>
                  <a:lnTo>
                    <a:pt x="311" y="8"/>
                  </a:lnTo>
                  <a:lnTo>
                    <a:pt x="311" y="7"/>
                  </a:lnTo>
                  <a:lnTo>
                    <a:pt x="311" y="6"/>
                  </a:lnTo>
                  <a:lnTo>
                    <a:pt x="312" y="5"/>
                  </a:lnTo>
                  <a:lnTo>
                    <a:pt x="315" y="1"/>
                  </a:lnTo>
                  <a:lnTo>
                    <a:pt x="316" y="0"/>
                  </a:lnTo>
                  <a:lnTo>
                    <a:pt x="317" y="0"/>
                  </a:lnTo>
                  <a:lnTo>
                    <a:pt x="317" y="0"/>
                  </a:lnTo>
                  <a:lnTo>
                    <a:pt x="317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Freeform 21">
              <a:extLst>
                <a:ext uri="{FF2B5EF4-FFF2-40B4-BE49-F238E27FC236}">
                  <a16:creationId xmlns:a16="http://schemas.microsoft.com/office/drawing/2014/main" id="{E418D4A3-BC1C-E6CF-D081-114FB820D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0" y="2882"/>
              <a:ext cx="376" cy="252"/>
            </a:xfrm>
            <a:custGeom>
              <a:avLst/>
              <a:gdLst>
                <a:gd name="T0" fmla="*/ 210 w 376"/>
                <a:gd name="T1" fmla="*/ 2 h 252"/>
                <a:gd name="T2" fmla="*/ 222 w 376"/>
                <a:gd name="T3" fmla="*/ 11 h 252"/>
                <a:gd name="T4" fmla="*/ 231 w 376"/>
                <a:gd name="T5" fmla="*/ 11 h 252"/>
                <a:gd name="T6" fmla="*/ 240 w 376"/>
                <a:gd name="T7" fmla="*/ 5 h 252"/>
                <a:gd name="T8" fmla="*/ 247 w 376"/>
                <a:gd name="T9" fmla="*/ 16 h 252"/>
                <a:gd name="T10" fmla="*/ 261 w 376"/>
                <a:gd name="T11" fmla="*/ 14 h 252"/>
                <a:gd name="T12" fmla="*/ 274 w 376"/>
                <a:gd name="T13" fmla="*/ 32 h 252"/>
                <a:gd name="T14" fmla="*/ 272 w 376"/>
                <a:gd name="T15" fmla="*/ 55 h 252"/>
                <a:gd name="T16" fmla="*/ 285 w 376"/>
                <a:gd name="T17" fmla="*/ 74 h 252"/>
                <a:gd name="T18" fmla="*/ 300 w 376"/>
                <a:gd name="T19" fmla="*/ 94 h 252"/>
                <a:gd name="T20" fmla="*/ 305 w 376"/>
                <a:gd name="T21" fmla="*/ 111 h 252"/>
                <a:gd name="T22" fmla="*/ 318 w 376"/>
                <a:gd name="T23" fmla="*/ 101 h 252"/>
                <a:gd name="T24" fmla="*/ 342 w 376"/>
                <a:gd name="T25" fmla="*/ 109 h 252"/>
                <a:gd name="T26" fmla="*/ 353 w 376"/>
                <a:gd name="T27" fmla="*/ 122 h 252"/>
                <a:gd name="T28" fmla="*/ 358 w 376"/>
                <a:gd name="T29" fmla="*/ 156 h 252"/>
                <a:gd name="T30" fmla="*/ 363 w 376"/>
                <a:gd name="T31" fmla="*/ 183 h 252"/>
                <a:gd name="T32" fmla="*/ 363 w 376"/>
                <a:gd name="T33" fmla="*/ 202 h 252"/>
                <a:gd name="T34" fmla="*/ 376 w 376"/>
                <a:gd name="T35" fmla="*/ 226 h 252"/>
                <a:gd name="T36" fmla="*/ 365 w 376"/>
                <a:gd name="T37" fmla="*/ 232 h 252"/>
                <a:gd name="T38" fmla="*/ 348 w 376"/>
                <a:gd name="T39" fmla="*/ 233 h 252"/>
                <a:gd name="T40" fmla="*/ 334 w 376"/>
                <a:gd name="T41" fmla="*/ 222 h 252"/>
                <a:gd name="T42" fmla="*/ 322 w 376"/>
                <a:gd name="T43" fmla="*/ 233 h 252"/>
                <a:gd name="T44" fmla="*/ 318 w 376"/>
                <a:gd name="T45" fmla="*/ 247 h 252"/>
                <a:gd name="T46" fmla="*/ 306 w 376"/>
                <a:gd name="T47" fmla="*/ 247 h 252"/>
                <a:gd name="T48" fmla="*/ 299 w 376"/>
                <a:gd name="T49" fmla="*/ 241 h 252"/>
                <a:gd name="T50" fmla="*/ 278 w 376"/>
                <a:gd name="T51" fmla="*/ 232 h 252"/>
                <a:gd name="T52" fmla="*/ 265 w 376"/>
                <a:gd name="T53" fmla="*/ 236 h 252"/>
                <a:gd name="T54" fmla="*/ 250 w 376"/>
                <a:gd name="T55" fmla="*/ 240 h 252"/>
                <a:gd name="T56" fmla="*/ 227 w 376"/>
                <a:gd name="T57" fmla="*/ 227 h 252"/>
                <a:gd name="T58" fmla="*/ 213 w 376"/>
                <a:gd name="T59" fmla="*/ 213 h 252"/>
                <a:gd name="T60" fmla="*/ 192 w 376"/>
                <a:gd name="T61" fmla="*/ 196 h 252"/>
                <a:gd name="T62" fmla="*/ 181 w 376"/>
                <a:gd name="T63" fmla="*/ 197 h 252"/>
                <a:gd name="T64" fmla="*/ 168 w 376"/>
                <a:gd name="T65" fmla="*/ 187 h 252"/>
                <a:gd name="T66" fmla="*/ 162 w 376"/>
                <a:gd name="T67" fmla="*/ 201 h 252"/>
                <a:gd name="T68" fmla="*/ 149 w 376"/>
                <a:gd name="T69" fmla="*/ 211 h 252"/>
                <a:gd name="T70" fmla="*/ 141 w 376"/>
                <a:gd name="T71" fmla="*/ 220 h 252"/>
                <a:gd name="T72" fmla="*/ 121 w 376"/>
                <a:gd name="T73" fmla="*/ 218 h 252"/>
                <a:gd name="T74" fmla="*/ 113 w 376"/>
                <a:gd name="T75" fmla="*/ 234 h 252"/>
                <a:gd name="T76" fmla="*/ 97 w 376"/>
                <a:gd name="T77" fmla="*/ 248 h 252"/>
                <a:gd name="T78" fmla="*/ 74 w 376"/>
                <a:gd name="T79" fmla="*/ 252 h 252"/>
                <a:gd name="T80" fmla="*/ 67 w 376"/>
                <a:gd name="T81" fmla="*/ 241 h 252"/>
                <a:gd name="T82" fmla="*/ 57 w 376"/>
                <a:gd name="T83" fmla="*/ 240 h 252"/>
                <a:gd name="T84" fmla="*/ 44 w 376"/>
                <a:gd name="T85" fmla="*/ 241 h 252"/>
                <a:gd name="T86" fmla="*/ 38 w 376"/>
                <a:gd name="T87" fmla="*/ 234 h 252"/>
                <a:gd name="T88" fmla="*/ 21 w 376"/>
                <a:gd name="T89" fmla="*/ 214 h 252"/>
                <a:gd name="T90" fmla="*/ 6 w 376"/>
                <a:gd name="T91" fmla="*/ 183 h 252"/>
                <a:gd name="T92" fmla="*/ 0 w 376"/>
                <a:gd name="T93" fmla="*/ 163 h 252"/>
                <a:gd name="T94" fmla="*/ 8 w 376"/>
                <a:gd name="T95" fmla="*/ 144 h 252"/>
                <a:gd name="T96" fmla="*/ 21 w 376"/>
                <a:gd name="T97" fmla="*/ 131 h 252"/>
                <a:gd name="T98" fmla="*/ 26 w 376"/>
                <a:gd name="T99" fmla="*/ 117 h 252"/>
                <a:gd name="T100" fmla="*/ 31 w 376"/>
                <a:gd name="T101" fmla="*/ 98 h 252"/>
                <a:gd name="T102" fmla="*/ 45 w 376"/>
                <a:gd name="T103" fmla="*/ 99 h 252"/>
                <a:gd name="T104" fmla="*/ 60 w 376"/>
                <a:gd name="T105" fmla="*/ 102 h 252"/>
                <a:gd name="T106" fmla="*/ 69 w 376"/>
                <a:gd name="T107" fmla="*/ 85 h 252"/>
                <a:gd name="T108" fmla="*/ 92 w 376"/>
                <a:gd name="T109" fmla="*/ 80 h 252"/>
                <a:gd name="T110" fmla="*/ 117 w 376"/>
                <a:gd name="T111" fmla="*/ 91 h 252"/>
                <a:gd name="T112" fmla="*/ 134 w 376"/>
                <a:gd name="T113" fmla="*/ 86 h 252"/>
                <a:gd name="T114" fmla="*/ 153 w 376"/>
                <a:gd name="T115" fmla="*/ 69 h 252"/>
                <a:gd name="T116" fmla="*/ 179 w 376"/>
                <a:gd name="T117" fmla="*/ 72 h 252"/>
                <a:gd name="T118" fmla="*/ 191 w 376"/>
                <a:gd name="T119" fmla="*/ 67 h 252"/>
                <a:gd name="T120" fmla="*/ 194 w 376"/>
                <a:gd name="T121" fmla="*/ 37 h 252"/>
                <a:gd name="T122" fmla="*/ 193 w 376"/>
                <a:gd name="T123" fmla="*/ 19 h 252"/>
                <a:gd name="T124" fmla="*/ 185 w 376"/>
                <a:gd name="T125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6" h="252">
                  <a:moveTo>
                    <a:pt x="198" y="0"/>
                  </a:moveTo>
                  <a:lnTo>
                    <a:pt x="198" y="0"/>
                  </a:lnTo>
                  <a:lnTo>
                    <a:pt x="201" y="1"/>
                  </a:lnTo>
                  <a:lnTo>
                    <a:pt x="201" y="2"/>
                  </a:lnTo>
                  <a:lnTo>
                    <a:pt x="202" y="2"/>
                  </a:lnTo>
                  <a:lnTo>
                    <a:pt x="203" y="2"/>
                  </a:lnTo>
                  <a:lnTo>
                    <a:pt x="204" y="3"/>
                  </a:lnTo>
                  <a:lnTo>
                    <a:pt x="205" y="3"/>
                  </a:lnTo>
                  <a:lnTo>
                    <a:pt x="205" y="3"/>
                  </a:lnTo>
                  <a:lnTo>
                    <a:pt x="206" y="3"/>
                  </a:lnTo>
                  <a:lnTo>
                    <a:pt x="206" y="3"/>
                  </a:lnTo>
                  <a:lnTo>
                    <a:pt x="207" y="2"/>
                  </a:lnTo>
                  <a:lnTo>
                    <a:pt x="209" y="2"/>
                  </a:lnTo>
                  <a:lnTo>
                    <a:pt x="209" y="2"/>
                  </a:lnTo>
                  <a:lnTo>
                    <a:pt x="210" y="2"/>
                  </a:lnTo>
                  <a:lnTo>
                    <a:pt x="211" y="2"/>
                  </a:lnTo>
                  <a:lnTo>
                    <a:pt x="212" y="2"/>
                  </a:lnTo>
                  <a:lnTo>
                    <a:pt x="213" y="2"/>
                  </a:lnTo>
                  <a:lnTo>
                    <a:pt x="217" y="4"/>
                  </a:lnTo>
                  <a:lnTo>
                    <a:pt x="219" y="5"/>
                  </a:lnTo>
                  <a:lnTo>
                    <a:pt x="220" y="5"/>
                  </a:lnTo>
                  <a:lnTo>
                    <a:pt x="220" y="5"/>
                  </a:lnTo>
                  <a:lnTo>
                    <a:pt x="221" y="6"/>
                  </a:lnTo>
                  <a:lnTo>
                    <a:pt x="221" y="6"/>
                  </a:lnTo>
                  <a:lnTo>
                    <a:pt x="221" y="7"/>
                  </a:lnTo>
                  <a:lnTo>
                    <a:pt x="221" y="7"/>
                  </a:lnTo>
                  <a:lnTo>
                    <a:pt x="221" y="9"/>
                  </a:lnTo>
                  <a:lnTo>
                    <a:pt x="221" y="10"/>
                  </a:lnTo>
                  <a:lnTo>
                    <a:pt x="222" y="11"/>
                  </a:lnTo>
                  <a:lnTo>
                    <a:pt x="222" y="11"/>
                  </a:lnTo>
                  <a:lnTo>
                    <a:pt x="223" y="12"/>
                  </a:lnTo>
                  <a:lnTo>
                    <a:pt x="223" y="13"/>
                  </a:lnTo>
                  <a:lnTo>
                    <a:pt x="224" y="13"/>
                  </a:lnTo>
                  <a:lnTo>
                    <a:pt x="225" y="13"/>
                  </a:lnTo>
                  <a:lnTo>
                    <a:pt x="226" y="13"/>
                  </a:lnTo>
                  <a:lnTo>
                    <a:pt x="226" y="14"/>
                  </a:lnTo>
                  <a:lnTo>
                    <a:pt x="227" y="14"/>
                  </a:lnTo>
                  <a:lnTo>
                    <a:pt x="228" y="14"/>
                  </a:lnTo>
                  <a:lnTo>
                    <a:pt x="229" y="13"/>
                  </a:lnTo>
                  <a:lnTo>
                    <a:pt x="229" y="13"/>
                  </a:lnTo>
                  <a:lnTo>
                    <a:pt x="230" y="13"/>
                  </a:lnTo>
                  <a:lnTo>
                    <a:pt x="230" y="13"/>
                  </a:lnTo>
                  <a:lnTo>
                    <a:pt x="230" y="12"/>
                  </a:lnTo>
                  <a:lnTo>
                    <a:pt x="231" y="12"/>
                  </a:lnTo>
                  <a:lnTo>
                    <a:pt x="231" y="11"/>
                  </a:lnTo>
                  <a:lnTo>
                    <a:pt x="232" y="10"/>
                  </a:lnTo>
                  <a:lnTo>
                    <a:pt x="233" y="8"/>
                  </a:lnTo>
                  <a:lnTo>
                    <a:pt x="234" y="7"/>
                  </a:lnTo>
                  <a:lnTo>
                    <a:pt x="235" y="6"/>
                  </a:lnTo>
                  <a:lnTo>
                    <a:pt x="235" y="6"/>
                  </a:lnTo>
                  <a:lnTo>
                    <a:pt x="235" y="5"/>
                  </a:lnTo>
                  <a:lnTo>
                    <a:pt x="236" y="5"/>
                  </a:lnTo>
                  <a:lnTo>
                    <a:pt x="237" y="5"/>
                  </a:lnTo>
                  <a:lnTo>
                    <a:pt x="237" y="5"/>
                  </a:lnTo>
                  <a:lnTo>
                    <a:pt x="238" y="5"/>
                  </a:lnTo>
                  <a:lnTo>
                    <a:pt x="238" y="4"/>
                  </a:lnTo>
                  <a:lnTo>
                    <a:pt x="239" y="4"/>
                  </a:lnTo>
                  <a:lnTo>
                    <a:pt x="239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1" y="6"/>
                  </a:lnTo>
                  <a:lnTo>
                    <a:pt x="241" y="6"/>
                  </a:lnTo>
                  <a:lnTo>
                    <a:pt x="242" y="8"/>
                  </a:lnTo>
                  <a:lnTo>
                    <a:pt x="242" y="9"/>
                  </a:lnTo>
                  <a:lnTo>
                    <a:pt x="243" y="12"/>
                  </a:lnTo>
                  <a:lnTo>
                    <a:pt x="243" y="13"/>
                  </a:lnTo>
                  <a:lnTo>
                    <a:pt x="244" y="14"/>
                  </a:lnTo>
                  <a:lnTo>
                    <a:pt x="244" y="15"/>
                  </a:lnTo>
                  <a:lnTo>
                    <a:pt x="245" y="15"/>
                  </a:lnTo>
                  <a:lnTo>
                    <a:pt x="245" y="16"/>
                  </a:lnTo>
                  <a:lnTo>
                    <a:pt x="246" y="16"/>
                  </a:lnTo>
                  <a:lnTo>
                    <a:pt x="247" y="16"/>
                  </a:lnTo>
                  <a:lnTo>
                    <a:pt x="247" y="16"/>
                  </a:lnTo>
                  <a:lnTo>
                    <a:pt x="248" y="16"/>
                  </a:lnTo>
                  <a:lnTo>
                    <a:pt x="248" y="16"/>
                  </a:lnTo>
                  <a:lnTo>
                    <a:pt x="249" y="16"/>
                  </a:lnTo>
                  <a:lnTo>
                    <a:pt x="251" y="15"/>
                  </a:lnTo>
                  <a:lnTo>
                    <a:pt x="253" y="14"/>
                  </a:lnTo>
                  <a:lnTo>
                    <a:pt x="255" y="13"/>
                  </a:lnTo>
                  <a:lnTo>
                    <a:pt x="256" y="13"/>
                  </a:lnTo>
                  <a:lnTo>
                    <a:pt x="257" y="13"/>
                  </a:lnTo>
                  <a:lnTo>
                    <a:pt x="258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60" y="13"/>
                  </a:lnTo>
                  <a:lnTo>
                    <a:pt x="260" y="13"/>
                  </a:lnTo>
                  <a:lnTo>
                    <a:pt x="261" y="14"/>
                  </a:lnTo>
                  <a:lnTo>
                    <a:pt x="261" y="14"/>
                  </a:lnTo>
                  <a:lnTo>
                    <a:pt x="263" y="16"/>
                  </a:lnTo>
                  <a:lnTo>
                    <a:pt x="264" y="17"/>
                  </a:lnTo>
                  <a:lnTo>
                    <a:pt x="265" y="18"/>
                  </a:lnTo>
                  <a:lnTo>
                    <a:pt x="268" y="19"/>
                  </a:lnTo>
                  <a:lnTo>
                    <a:pt x="269" y="20"/>
                  </a:lnTo>
                  <a:lnTo>
                    <a:pt x="269" y="21"/>
                  </a:lnTo>
                  <a:lnTo>
                    <a:pt x="270" y="21"/>
                  </a:lnTo>
                  <a:lnTo>
                    <a:pt x="271" y="22"/>
                  </a:lnTo>
                  <a:lnTo>
                    <a:pt x="271" y="23"/>
                  </a:lnTo>
                  <a:lnTo>
                    <a:pt x="272" y="24"/>
                  </a:lnTo>
                  <a:lnTo>
                    <a:pt x="274" y="28"/>
                  </a:lnTo>
                  <a:lnTo>
                    <a:pt x="274" y="29"/>
                  </a:lnTo>
                  <a:lnTo>
                    <a:pt x="274" y="31"/>
                  </a:lnTo>
                  <a:lnTo>
                    <a:pt x="274" y="32"/>
                  </a:lnTo>
                  <a:lnTo>
                    <a:pt x="274" y="33"/>
                  </a:lnTo>
                  <a:lnTo>
                    <a:pt x="274" y="34"/>
                  </a:lnTo>
                  <a:lnTo>
                    <a:pt x="274" y="34"/>
                  </a:lnTo>
                  <a:lnTo>
                    <a:pt x="274" y="35"/>
                  </a:lnTo>
                  <a:lnTo>
                    <a:pt x="272" y="40"/>
                  </a:lnTo>
                  <a:lnTo>
                    <a:pt x="271" y="41"/>
                  </a:lnTo>
                  <a:lnTo>
                    <a:pt x="271" y="43"/>
                  </a:lnTo>
                  <a:lnTo>
                    <a:pt x="271" y="44"/>
                  </a:lnTo>
                  <a:lnTo>
                    <a:pt x="271" y="45"/>
                  </a:lnTo>
                  <a:lnTo>
                    <a:pt x="271" y="47"/>
                  </a:lnTo>
                  <a:lnTo>
                    <a:pt x="271" y="48"/>
                  </a:lnTo>
                  <a:lnTo>
                    <a:pt x="271" y="50"/>
                  </a:lnTo>
                  <a:lnTo>
                    <a:pt x="271" y="52"/>
                  </a:lnTo>
                  <a:lnTo>
                    <a:pt x="272" y="53"/>
                  </a:lnTo>
                  <a:lnTo>
                    <a:pt x="272" y="55"/>
                  </a:lnTo>
                  <a:lnTo>
                    <a:pt x="273" y="57"/>
                  </a:lnTo>
                  <a:lnTo>
                    <a:pt x="273" y="59"/>
                  </a:lnTo>
                  <a:lnTo>
                    <a:pt x="274" y="60"/>
                  </a:lnTo>
                  <a:lnTo>
                    <a:pt x="274" y="62"/>
                  </a:lnTo>
                  <a:lnTo>
                    <a:pt x="275" y="64"/>
                  </a:lnTo>
                  <a:lnTo>
                    <a:pt x="277" y="66"/>
                  </a:lnTo>
                  <a:lnTo>
                    <a:pt x="278" y="67"/>
                  </a:lnTo>
                  <a:lnTo>
                    <a:pt x="279" y="69"/>
                  </a:lnTo>
                  <a:lnTo>
                    <a:pt x="280" y="70"/>
                  </a:lnTo>
                  <a:lnTo>
                    <a:pt x="281" y="71"/>
                  </a:lnTo>
                  <a:lnTo>
                    <a:pt x="282" y="72"/>
                  </a:lnTo>
                  <a:lnTo>
                    <a:pt x="282" y="73"/>
                  </a:lnTo>
                  <a:lnTo>
                    <a:pt x="283" y="73"/>
                  </a:lnTo>
                  <a:lnTo>
                    <a:pt x="284" y="74"/>
                  </a:lnTo>
                  <a:lnTo>
                    <a:pt x="285" y="74"/>
                  </a:lnTo>
                  <a:lnTo>
                    <a:pt x="286" y="75"/>
                  </a:lnTo>
                  <a:lnTo>
                    <a:pt x="287" y="76"/>
                  </a:lnTo>
                  <a:lnTo>
                    <a:pt x="291" y="77"/>
                  </a:lnTo>
                  <a:lnTo>
                    <a:pt x="292" y="78"/>
                  </a:lnTo>
                  <a:lnTo>
                    <a:pt x="293" y="78"/>
                  </a:lnTo>
                  <a:lnTo>
                    <a:pt x="294" y="79"/>
                  </a:lnTo>
                  <a:lnTo>
                    <a:pt x="295" y="80"/>
                  </a:lnTo>
                  <a:lnTo>
                    <a:pt x="296" y="81"/>
                  </a:lnTo>
                  <a:lnTo>
                    <a:pt x="297" y="83"/>
                  </a:lnTo>
                  <a:lnTo>
                    <a:pt x="298" y="85"/>
                  </a:lnTo>
                  <a:lnTo>
                    <a:pt x="299" y="86"/>
                  </a:lnTo>
                  <a:lnTo>
                    <a:pt x="299" y="88"/>
                  </a:lnTo>
                  <a:lnTo>
                    <a:pt x="300" y="90"/>
                  </a:lnTo>
                  <a:lnTo>
                    <a:pt x="300" y="92"/>
                  </a:lnTo>
                  <a:lnTo>
                    <a:pt x="300" y="94"/>
                  </a:lnTo>
                  <a:lnTo>
                    <a:pt x="300" y="97"/>
                  </a:lnTo>
                  <a:lnTo>
                    <a:pt x="300" y="102"/>
                  </a:lnTo>
                  <a:lnTo>
                    <a:pt x="300" y="102"/>
                  </a:lnTo>
                  <a:lnTo>
                    <a:pt x="300" y="104"/>
                  </a:lnTo>
                  <a:lnTo>
                    <a:pt x="301" y="106"/>
                  </a:lnTo>
                  <a:lnTo>
                    <a:pt x="301" y="107"/>
                  </a:lnTo>
                  <a:lnTo>
                    <a:pt x="301" y="108"/>
                  </a:lnTo>
                  <a:lnTo>
                    <a:pt x="302" y="109"/>
                  </a:lnTo>
                  <a:lnTo>
                    <a:pt x="302" y="109"/>
                  </a:lnTo>
                  <a:lnTo>
                    <a:pt x="302" y="110"/>
                  </a:lnTo>
                  <a:lnTo>
                    <a:pt x="302" y="110"/>
                  </a:lnTo>
                  <a:lnTo>
                    <a:pt x="303" y="110"/>
                  </a:lnTo>
                  <a:lnTo>
                    <a:pt x="303" y="111"/>
                  </a:lnTo>
                  <a:lnTo>
                    <a:pt x="304" y="111"/>
                  </a:lnTo>
                  <a:lnTo>
                    <a:pt x="305" y="111"/>
                  </a:lnTo>
                  <a:lnTo>
                    <a:pt x="305" y="111"/>
                  </a:lnTo>
                  <a:lnTo>
                    <a:pt x="306" y="111"/>
                  </a:lnTo>
                  <a:lnTo>
                    <a:pt x="307" y="111"/>
                  </a:lnTo>
                  <a:lnTo>
                    <a:pt x="307" y="111"/>
                  </a:lnTo>
                  <a:lnTo>
                    <a:pt x="308" y="110"/>
                  </a:lnTo>
                  <a:lnTo>
                    <a:pt x="308" y="110"/>
                  </a:lnTo>
                  <a:lnTo>
                    <a:pt x="309" y="109"/>
                  </a:lnTo>
                  <a:lnTo>
                    <a:pt x="310" y="109"/>
                  </a:lnTo>
                  <a:lnTo>
                    <a:pt x="311" y="107"/>
                  </a:lnTo>
                  <a:lnTo>
                    <a:pt x="314" y="104"/>
                  </a:lnTo>
                  <a:lnTo>
                    <a:pt x="316" y="103"/>
                  </a:lnTo>
                  <a:lnTo>
                    <a:pt x="317" y="102"/>
                  </a:lnTo>
                  <a:lnTo>
                    <a:pt x="317" y="102"/>
                  </a:lnTo>
                  <a:lnTo>
                    <a:pt x="318" y="101"/>
                  </a:lnTo>
                  <a:lnTo>
                    <a:pt x="318" y="101"/>
                  </a:lnTo>
                  <a:lnTo>
                    <a:pt x="319" y="101"/>
                  </a:lnTo>
                  <a:lnTo>
                    <a:pt x="320" y="101"/>
                  </a:lnTo>
                  <a:lnTo>
                    <a:pt x="320" y="101"/>
                  </a:lnTo>
                  <a:lnTo>
                    <a:pt x="321" y="101"/>
                  </a:lnTo>
                  <a:lnTo>
                    <a:pt x="322" y="101"/>
                  </a:lnTo>
                  <a:lnTo>
                    <a:pt x="322" y="101"/>
                  </a:lnTo>
                  <a:lnTo>
                    <a:pt x="324" y="101"/>
                  </a:lnTo>
                  <a:lnTo>
                    <a:pt x="326" y="102"/>
                  </a:lnTo>
                  <a:lnTo>
                    <a:pt x="327" y="102"/>
                  </a:lnTo>
                  <a:lnTo>
                    <a:pt x="329" y="103"/>
                  </a:lnTo>
                  <a:lnTo>
                    <a:pt x="332" y="105"/>
                  </a:lnTo>
                  <a:lnTo>
                    <a:pt x="334" y="106"/>
                  </a:lnTo>
                  <a:lnTo>
                    <a:pt x="337" y="107"/>
                  </a:lnTo>
                  <a:lnTo>
                    <a:pt x="341" y="108"/>
                  </a:lnTo>
                  <a:lnTo>
                    <a:pt x="342" y="109"/>
                  </a:lnTo>
                  <a:lnTo>
                    <a:pt x="344" y="110"/>
                  </a:lnTo>
                  <a:lnTo>
                    <a:pt x="347" y="111"/>
                  </a:lnTo>
                  <a:lnTo>
                    <a:pt x="347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3"/>
                  </a:lnTo>
                  <a:lnTo>
                    <a:pt x="349" y="114"/>
                  </a:lnTo>
                  <a:lnTo>
                    <a:pt x="349" y="115"/>
                  </a:lnTo>
                  <a:lnTo>
                    <a:pt x="349" y="116"/>
                  </a:lnTo>
                  <a:lnTo>
                    <a:pt x="350" y="117"/>
                  </a:lnTo>
                  <a:lnTo>
                    <a:pt x="351" y="119"/>
                  </a:lnTo>
                  <a:lnTo>
                    <a:pt x="352" y="121"/>
                  </a:lnTo>
                  <a:lnTo>
                    <a:pt x="353" y="122"/>
                  </a:lnTo>
                  <a:lnTo>
                    <a:pt x="355" y="126"/>
                  </a:lnTo>
                  <a:lnTo>
                    <a:pt x="356" y="127"/>
                  </a:lnTo>
                  <a:lnTo>
                    <a:pt x="357" y="129"/>
                  </a:lnTo>
                  <a:lnTo>
                    <a:pt x="357" y="130"/>
                  </a:lnTo>
                  <a:lnTo>
                    <a:pt x="357" y="131"/>
                  </a:lnTo>
                  <a:lnTo>
                    <a:pt x="358" y="131"/>
                  </a:lnTo>
                  <a:lnTo>
                    <a:pt x="358" y="133"/>
                  </a:lnTo>
                  <a:lnTo>
                    <a:pt x="358" y="134"/>
                  </a:lnTo>
                  <a:lnTo>
                    <a:pt x="358" y="136"/>
                  </a:lnTo>
                  <a:lnTo>
                    <a:pt x="357" y="140"/>
                  </a:lnTo>
                  <a:lnTo>
                    <a:pt x="357" y="141"/>
                  </a:lnTo>
                  <a:lnTo>
                    <a:pt x="357" y="142"/>
                  </a:lnTo>
                  <a:lnTo>
                    <a:pt x="357" y="147"/>
                  </a:lnTo>
                  <a:lnTo>
                    <a:pt x="357" y="154"/>
                  </a:lnTo>
                  <a:lnTo>
                    <a:pt x="358" y="156"/>
                  </a:lnTo>
                  <a:lnTo>
                    <a:pt x="358" y="157"/>
                  </a:lnTo>
                  <a:lnTo>
                    <a:pt x="358" y="159"/>
                  </a:lnTo>
                  <a:lnTo>
                    <a:pt x="359" y="162"/>
                  </a:lnTo>
                  <a:lnTo>
                    <a:pt x="359" y="165"/>
                  </a:lnTo>
                  <a:lnTo>
                    <a:pt x="360" y="168"/>
                  </a:lnTo>
                  <a:lnTo>
                    <a:pt x="361" y="170"/>
                  </a:lnTo>
                  <a:lnTo>
                    <a:pt x="361" y="170"/>
                  </a:lnTo>
                  <a:lnTo>
                    <a:pt x="361" y="171"/>
                  </a:lnTo>
                  <a:lnTo>
                    <a:pt x="361" y="174"/>
                  </a:lnTo>
                  <a:lnTo>
                    <a:pt x="361" y="175"/>
                  </a:lnTo>
                  <a:lnTo>
                    <a:pt x="361" y="176"/>
                  </a:lnTo>
                  <a:lnTo>
                    <a:pt x="361" y="177"/>
                  </a:lnTo>
                  <a:lnTo>
                    <a:pt x="361" y="178"/>
                  </a:lnTo>
                  <a:lnTo>
                    <a:pt x="361" y="178"/>
                  </a:lnTo>
                  <a:lnTo>
                    <a:pt x="363" y="183"/>
                  </a:lnTo>
                  <a:lnTo>
                    <a:pt x="365" y="185"/>
                  </a:lnTo>
                  <a:lnTo>
                    <a:pt x="365" y="186"/>
                  </a:lnTo>
                  <a:lnTo>
                    <a:pt x="365" y="187"/>
                  </a:lnTo>
                  <a:lnTo>
                    <a:pt x="365" y="187"/>
                  </a:lnTo>
                  <a:lnTo>
                    <a:pt x="366" y="188"/>
                  </a:lnTo>
                  <a:lnTo>
                    <a:pt x="366" y="189"/>
                  </a:lnTo>
                  <a:lnTo>
                    <a:pt x="366" y="189"/>
                  </a:lnTo>
                  <a:lnTo>
                    <a:pt x="365" y="190"/>
                  </a:lnTo>
                  <a:lnTo>
                    <a:pt x="365" y="191"/>
                  </a:lnTo>
                  <a:lnTo>
                    <a:pt x="364" y="195"/>
                  </a:lnTo>
                  <a:lnTo>
                    <a:pt x="363" y="197"/>
                  </a:lnTo>
                  <a:lnTo>
                    <a:pt x="363" y="199"/>
                  </a:lnTo>
                  <a:lnTo>
                    <a:pt x="363" y="200"/>
                  </a:lnTo>
                  <a:lnTo>
                    <a:pt x="362" y="201"/>
                  </a:lnTo>
                  <a:lnTo>
                    <a:pt x="363" y="202"/>
                  </a:lnTo>
                  <a:lnTo>
                    <a:pt x="363" y="203"/>
                  </a:lnTo>
                  <a:lnTo>
                    <a:pt x="363" y="204"/>
                  </a:lnTo>
                  <a:lnTo>
                    <a:pt x="363" y="204"/>
                  </a:lnTo>
                  <a:lnTo>
                    <a:pt x="365" y="207"/>
                  </a:lnTo>
                  <a:lnTo>
                    <a:pt x="366" y="210"/>
                  </a:lnTo>
                  <a:lnTo>
                    <a:pt x="368" y="214"/>
                  </a:lnTo>
                  <a:lnTo>
                    <a:pt x="368" y="214"/>
                  </a:lnTo>
                  <a:lnTo>
                    <a:pt x="370" y="216"/>
                  </a:lnTo>
                  <a:lnTo>
                    <a:pt x="372" y="220"/>
                  </a:lnTo>
                  <a:lnTo>
                    <a:pt x="374" y="222"/>
                  </a:lnTo>
                  <a:lnTo>
                    <a:pt x="374" y="223"/>
                  </a:lnTo>
                  <a:lnTo>
                    <a:pt x="375" y="224"/>
                  </a:lnTo>
                  <a:lnTo>
                    <a:pt x="375" y="224"/>
                  </a:lnTo>
                  <a:lnTo>
                    <a:pt x="375" y="225"/>
                  </a:lnTo>
                  <a:lnTo>
                    <a:pt x="376" y="226"/>
                  </a:lnTo>
                  <a:lnTo>
                    <a:pt x="376" y="227"/>
                  </a:lnTo>
                  <a:lnTo>
                    <a:pt x="376" y="228"/>
                  </a:lnTo>
                  <a:lnTo>
                    <a:pt x="375" y="228"/>
                  </a:lnTo>
                  <a:lnTo>
                    <a:pt x="375" y="229"/>
                  </a:lnTo>
                  <a:lnTo>
                    <a:pt x="375" y="229"/>
                  </a:lnTo>
                  <a:lnTo>
                    <a:pt x="374" y="229"/>
                  </a:lnTo>
                  <a:lnTo>
                    <a:pt x="374" y="230"/>
                  </a:lnTo>
                  <a:lnTo>
                    <a:pt x="373" y="230"/>
                  </a:lnTo>
                  <a:lnTo>
                    <a:pt x="372" y="231"/>
                  </a:lnTo>
                  <a:lnTo>
                    <a:pt x="371" y="231"/>
                  </a:lnTo>
                  <a:lnTo>
                    <a:pt x="369" y="232"/>
                  </a:lnTo>
                  <a:lnTo>
                    <a:pt x="368" y="232"/>
                  </a:lnTo>
                  <a:lnTo>
                    <a:pt x="367" y="232"/>
                  </a:lnTo>
                  <a:lnTo>
                    <a:pt x="365" y="232"/>
                  </a:lnTo>
                  <a:lnTo>
                    <a:pt x="365" y="232"/>
                  </a:lnTo>
                  <a:lnTo>
                    <a:pt x="364" y="232"/>
                  </a:lnTo>
                  <a:lnTo>
                    <a:pt x="364" y="232"/>
                  </a:lnTo>
                  <a:lnTo>
                    <a:pt x="362" y="232"/>
                  </a:lnTo>
                  <a:lnTo>
                    <a:pt x="361" y="231"/>
                  </a:lnTo>
                  <a:lnTo>
                    <a:pt x="359" y="231"/>
                  </a:lnTo>
                  <a:lnTo>
                    <a:pt x="358" y="231"/>
                  </a:lnTo>
                  <a:lnTo>
                    <a:pt x="357" y="231"/>
                  </a:lnTo>
                  <a:lnTo>
                    <a:pt x="356" y="231"/>
                  </a:lnTo>
                  <a:lnTo>
                    <a:pt x="355" y="232"/>
                  </a:lnTo>
                  <a:lnTo>
                    <a:pt x="352" y="232"/>
                  </a:lnTo>
                  <a:lnTo>
                    <a:pt x="351" y="233"/>
                  </a:lnTo>
                  <a:lnTo>
                    <a:pt x="350" y="233"/>
                  </a:lnTo>
                  <a:lnTo>
                    <a:pt x="350" y="233"/>
                  </a:lnTo>
                  <a:lnTo>
                    <a:pt x="349" y="233"/>
                  </a:lnTo>
                  <a:lnTo>
                    <a:pt x="348" y="233"/>
                  </a:lnTo>
                  <a:lnTo>
                    <a:pt x="347" y="232"/>
                  </a:lnTo>
                  <a:lnTo>
                    <a:pt x="346" y="232"/>
                  </a:lnTo>
                  <a:lnTo>
                    <a:pt x="345" y="231"/>
                  </a:lnTo>
                  <a:lnTo>
                    <a:pt x="343" y="231"/>
                  </a:lnTo>
                  <a:lnTo>
                    <a:pt x="343" y="230"/>
                  </a:lnTo>
                  <a:lnTo>
                    <a:pt x="342" y="229"/>
                  </a:lnTo>
                  <a:lnTo>
                    <a:pt x="341" y="229"/>
                  </a:lnTo>
                  <a:lnTo>
                    <a:pt x="340" y="228"/>
                  </a:lnTo>
                  <a:lnTo>
                    <a:pt x="339" y="226"/>
                  </a:lnTo>
                  <a:lnTo>
                    <a:pt x="337" y="224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6" y="222"/>
                  </a:lnTo>
                  <a:lnTo>
                    <a:pt x="335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3" y="222"/>
                  </a:lnTo>
                  <a:lnTo>
                    <a:pt x="333" y="222"/>
                  </a:lnTo>
                  <a:lnTo>
                    <a:pt x="332" y="223"/>
                  </a:lnTo>
                  <a:lnTo>
                    <a:pt x="332" y="224"/>
                  </a:lnTo>
                  <a:lnTo>
                    <a:pt x="331" y="224"/>
                  </a:lnTo>
                  <a:lnTo>
                    <a:pt x="329" y="226"/>
                  </a:lnTo>
                  <a:lnTo>
                    <a:pt x="327" y="228"/>
                  </a:lnTo>
                  <a:lnTo>
                    <a:pt x="325" y="230"/>
                  </a:lnTo>
                  <a:lnTo>
                    <a:pt x="324" y="230"/>
                  </a:lnTo>
                  <a:lnTo>
                    <a:pt x="323" y="231"/>
                  </a:lnTo>
                  <a:lnTo>
                    <a:pt x="323" y="232"/>
                  </a:lnTo>
                  <a:lnTo>
                    <a:pt x="322" y="233"/>
                  </a:lnTo>
                  <a:lnTo>
                    <a:pt x="322" y="233"/>
                  </a:lnTo>
                  <a:lnTo>
                    <a:pt x="322" y="234"/>
                  </a:lnTo>
                  <a:lnTo>
                    <a:pt x="322" y="235"/>
                  </a:lnTo>
                  <a:lnTo>
                    <a:pt x="322" y="236"/>
                  </a:lnTo>
                  <a:lnTo>
                    <a:pt x="322" y="237"/>
                  </a:lnTo>
                  <a:lnTo>
                    <a:pt x="323" y="240"/>
                  </a:lnTo>
                  <a:lnTo>
                    <a:pt x="323" y="241"/>
                  </a:lnTo>
                  <a:lnTo>
                    <a:pt x="323" y="241"/>
                  </a:lnTo>
                  <a:lnTo>
                    <a:pt x="323" y="242"/>
                  </a:lnTo>
                  <a:lnTo>
                    <a:pt x="322" y="243"/>
                  </a:lnTo>
                  <a:lnTo>
                    <a:pt x="322" y="244"/>
                  </a:lnTo>
                  <a:lnTo>
                    <a:pt x="321" y="245"/>
                  </a:lnTo>
                  <a:lnTo>
                    <a:pt x="321" y="245"/>
                  </a:lnTo>
                  <a:lnTo>
                    <a:pt x="321" y="246"/>
                  </a:lnTo>
                  <a:lnTo>
                    <a:pt x="318" y="247"/>
                  </a:lnTo>
                  <a:lnTo>
                    <a:pt x="318" y="247"/>
                  </a:lnTo>
                  <a:lnTo>
                    <a:pt x="317" y="248"/>
                  </a:lnTo>
                  <a:lnTo>
                    <a:pt x="316" y="248"/>
                  </a:lnTo>
                  <a:lnTo>
                    <a:pt x="315" y="249"/>
                  </a:lnTo>
                  <a:lnTo>
                    <a:pt x="314" y="249"/>
                  </a:lnTo>
                  <a:lnTo>
                    <a:pt x="313" y="249"/>
                  </a:lnTo>
                  <a:lnTo>
                    <a:pt x="312" y="249"/>
                  </a:lnTo>
                  <a:lnTo>
                    <a:pt x="311" y="249"/>
                  </a:lnTo>
                  <a:lnTo>
                    <a:pt x="310" y="249"/>
                  </a:lnTo>
                  <a:lnTo>
                    <a:pt x="310" y="249"/>
                  </a:lnTo>
                  <a:lnTo>
                    <a:pt x="309" y="249"/>
                  </a:lnTo>
                  <a:lnTo>
                    <a:pt x="308" y="249"/>
                  </a:lnTo>
                  <a:lnTo>
                    <a:pt x="308" y="248"/>
                  </a:lnTo>
                  <a:lnTo>
                    <a:pt x="308" y="248"/>
                  </a:lnTo>
                  <a:lnTo>
                    <a:pt x="307" y="248"/>
                  </a:lnTo>
                  <a:lnTo>
                    <a:pt x="306" y="247"/>
                  </a:lnTo>
                  <a:lnTo>
                    <a:pt x="306" y="246"/>
                  </a:lnTo>
                  <a:lnTo>
                    <a:pt x="306" y="246"/>
                  </a:lnTo>
                  <a:lnTo>
                    <a:pt x="305" y="245"/>
                  </a:lnTo>
                  <a:lnTo>
                    <a:pt x="305" y="244"/>
                  </a:lnTo>
                  <a:lnTo>
                    <a:pt x="305" y="243"/>
                  </a:lnTo>
                  <a:lnTo>
                    <a:pt x="304" y="242"/>
                  </a:lnTo>
                  <a:lnTo>
                    <a:pt x="304" y="242"/>
                  </a:lnTo>
                  <a:lnTo>
                    <a:pt x="304" y="241"/>
                  </a:lnTo>
                  <a:lnTo>
                    <a:pt x="303" y="241"/>
                  </a:lnTo>
                  <a:lnTo>
                    <a:pt x="303" y="241"/>
                  </a:lnTo>
                  <a:lnTo>
                    <a:pt x="303" y="240"/>
                  </a:lnTo>
                  <a:lnTo>
                    <a:pt x="302" y="240"/>
                  </a:lnTo>
                  <a:lnTo>
                    <a:pt x="300" y="241"/>
                  </a:lnTo>
                  <a:lnTo>
                    <a:pt x="299" y="241"/>
                  </a:lnTo>
                  <a:lnTo>
                    <a:pt x="299" y="241"/>
                  </a:lnTo>
                  <a:lnTo>
                    <a:pt x="298" y="240"/>
                  </a:lnTo>
                  <a:lnTo>
                    <a:pt x="296" y="240"/>
                  </a:lnTo>
                  <a:lnTo>
                    <a:pt x="294" y="239"/>
                  </a:lnTo>
                  <a:lnTo>
                    <a:pt x="293" y="238"/>
                  </a:lnTo>
                  <a:lnTo>
                    <a:pt x="291" y="237"/>
                  </a:lnTo>
                  <a:lnTo>
                    <a:pt x="290" y="236"/>
                  </a:lnTo>
                  <a:lnTo>
                    <a:pt x="289" y="236"/>
                  </a:lnTo>
                  <a:lnTo>
                    <a:pt x="288" y="236"/>
                  </a:lnTo>
                  <a:lnTo>
                    <a:pt x="287" y="235"/>
                  </a:lnTo>
                  <a:lnTo>
                    <a:pt x="286" y="235"/>
                  </a:lnTo>
                  <a:lnTo>
                    <a:pt x="284" y="235"/>
                  </a:lnTo>
                  <a:lnTo>
                    <a:pt x="283" y="234"/>
                  </a:lnTo>
                  <a:lnTo>
                    <a:pt x="281" y="234"/>
                  </a:lnTo>
                  <a:lnTo>
                    <a:pt x="279" y="233"/>
                  </a:lnTo>
                  <a:lnTo>
                    <a:pt x="278" y="232"/>
                  </a:lnTo>
                  <a:lnTo>
                    <a:pt x="277" y="232"/>
                  </a:lnTo>
                  <a:lnTo>
                    <a:pt x="276" y="231"/>
                  </a:lnTo>
                  <a:lnTo>
                    <a:pt x="275" y="231"/>
                  </a:lnTo>
                  <a:lnTo>
                    <a:pt x="274" y="231"/>
                  </a:lnTo>
                  <a:lnTo>
                    <a:pt x="273" y="231"/>
                  </a:lnTo>
                  <a:lnTo>
                    <a:pt x="272" y="231"/>
                  </a:lnTo>
                  <a:lnTo>
                    <a:pt x="271" y="231"/>
                  </a:lnTo>
                  <a:lnTo>
                    <a:pt x="271" y="231"/>
                  </a:lnTo>
                  <a:lnTo>
                    <a:pt x="270" y="232"/>
                  </a:lnTo>
                  <a:lnTo>
                    <a:pt x="270" y="232"/>
                  </a:lnTo>
                  <a:lnTo>
                    <a:pt x="269" y="232"/>
                  </a:lnTo>
                  <a:lnTo>
                    <a:pt x="269" y="233"/>
                  </a:lnTo>
                  <a:lnTo>
                    <a:pt x="268" y="233"/>
                  </a:lnTo>
                  <a:lnTo>
                    <a:pt x="267" y="234"/>
                  </a:lnTo>
                  <a:lnTo>
                    <a:pt x="265" y="236"/>
                  </a:lnTo>
                  <a:lnTo>
                    <a:pt x="263" y="239"/>
                  </a:lnTo>
                  <a:lnTo>
                    <a:pt x="262" y="240"/>
                  </a:lnTo>
                  <a:lnTo>
                    <a:pt x="261" y="241"/>
                  </a:lnTo>
                  <a:lnTo>
                    <a:pt x="261" y="241"/>
                  </a:lnTo>
                  <a:lnTo>
                    <a:pt x="260" y="242"/>
                  </a:lnTo>
                  <a:lnTo>
                    <a:pt x="259" y="242"/>
                  </a:lnTo>
                  <a:lnTo>
                    <a:pt x="259" y="242"/>
                  </a:lnTo>
                  <a:lnTo>
                    <a:pt x="258" y="242"/>
                  </a:lnTo>
                  <a:lnTo>
                    <a:pt x="257" y="242"/>
                  </a:lnTo>
                  <a:lnTo>
                    <a:pt x="256" y="242"/>
                  </a:lnTo>
                  <a:lnTo>
                    <a:pt x="255" y="242"/>
                  </a:lnTo>
                  <a:lnTo>
                    <a:pt x="255" y="242"/>
                  </a:lnTo>
                  <a:lnTo>
                    <a:pt x="253" y="241"/>
                  </a:lnTo>
                  <a:lnTo>
                    <a:pt x="252" y="241"/>
                  </a:lnTo>
                  <a:lnTo>
                    <a:pt x="250" y="240"/>
                  </a:lnTo>
                  <a:lnTo>
                    <a:pt x="249" y="239"/>
                  </a:lnTo>
                  <a:lnTo>
                    <a:pt x="247" y="239"/>
                  </a:lnTo>
                  <a:lnTo>
                    <a:pt x="246" y="238"/>
                  </a:lnTo>
                  <a:lnTo>
                    <a:pt x="242" y="236"/>
                  </a:lnTo>
                  <a:lnTo>
                    <a:pt x="240" y="235"/>
                  </a:lnTo>
                  <a:lnTo>
                    <a:pt x="238" y="233"/>
                  </a:lnTo>
                  <a:lnTo>
                    <a:pt x="236" y="233"/>
                  </a:lnTo>
                  <a:lnTo>
                    <a:pt x="235" y="232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4" y="230"/>
                  </a:lnTo>
                  <a:lnTo>
                    <a:pt x="233" y="230"/>
                  </a:lnTo>
                  <a:lnTo>
                    <a:pt x="228" y="228"/>
                  </a:lnTo>
                  <a:lnTo>
                    <a:pt x="227" y="227"/>
                  </a:lnTo>
                  <a:lnTo>
                    <a:pt x="225" y="226"/>
                  </a:lnTo>
                  <a:lnTo>
                    <a:pt x="224" y="226"/>
                  </a:lnTo>
                  <a:lnTo>
                    <a:pt x="224" y="225"/>
                  </a:lnTo>
                  <a:lnTo>
                    <a:pt x="223" y="225"/>
                  </a:lnTo>
                  <a:lnTo>
                    <a:pt x="222" y="224"/>
                  </a:lnTo>
                  <a:lnTo>
                    <a:pt x="221" y="224"/>
                  </a:lnTo>
                  <a:lnTo>
                    <a:pt x="221" y="223"/>
                  </a:lnTo>
                  <a:lnTo>
                    <a:pt x="221" y="222"/>
                  </a:lnTo>
                  <a:lnTo>
                    <a:pt x="219" y="219"/>
                  </a:lnTo>
                  <a:lnTo>
                    <a:pt x="218" y="218"/>
                  </a:lnTo>
                  <a:lnTo>
                    <a:pt x="217" y="217"/>
                  </a:lnTo>
                  <a:lnTo>
                    <a:pt x="217" y="216"/>
                  </a:lnTo>
                  <a:lnTo>
                    <a:pt x="216" y="215"/>
                  </a:lnTo>
                  <a:lnTo>
                    <a:pt x="215" y="214"/>
                  </a:lnTo>
                  <a:lnTo>
                    <a:pt x="213" y="213"/>
                  </a:lnTo>
                  <a:lnTo>
                    <a:pt x="212" y="212"/>
                  </a:lnTo>
                  <a:lnTo>
                    <a:pt x="211" y="211"/>
                  </a:lnTo>
                  <a:lnTo>
                    <a:pt x="210" y="211"/>
                  </a:lnTo>
                  <a:lnTo>
                    <a:pt x="209" y="210"/>
                  </a:lnTo>
                  <a:lnTo>
                    <a:pt x="207" y="209"/>
                  </a:lnTo>
                  <a:lnTo>
                    <a:pt x="206" y="209"/>
                  </a:lnTo>
                  <a:lnTo>
                    <a:pt x="205" y="209"/>
                  </a:lnTo>
                  <a:lnTo>
                    <a:pt x="204" y="208"/>
                  </a:lnTo>
                  <a:lnTo>
                    <a:pt x="204" y="208"/>
                  </a:lnTo>
                  <a:lnTo>
                    <a:pt x="203" y="207"/>
                  </a:lnTo>
                  <a:lnTo>
                    <a:pt x="201" y="205"/>
                  </a:lnTo>
                  <a:lnTo>
                    <a:pt x="197" y="201"/>
                  </a:lnTo>
                  <a:lnTo>
                    <a:pt x="195" y="197"/>
                  </a:lnTo>
                  <a:lnTo>
                    <a:pt x="193" y="196"/>
                  </a:lnTo>
                  <a:lnTo>
                    <a:pt x="192" y="196"/>
                  </a:lnTo>
                  <a:lnTo>
                    <a:pt x="192" y="195"/>
                  </a:lnTo>
                  <a:lnTo>
                    <a:pt x="192" y="195"/>
                  </a:lnTo>
                  <a:lnTo>
                    <a:pt x="191" y="195"/>
                  </a:lnTo>
                  <a:lnTo>
                    <a:pt x="190" y="195"/>
                  </a:lnTo>
                  <a:lnTo>
                    <a:pt x="187" y="194"/>
                  </a:lnTo>
                  <a:lnTo>
                    <a:pt x="187" y="194"/>
                  </a:lnTo>
                  <a:lnTo>
                    <a:pt x="186" y="194"/>
                  </a:lnTo>
                  <a:lnTo>
                    <a:pt x="185" y="194"/>
                  </a:lnTo>
                  <a:lnTo>
                    <a:pt x="184" y="195"/>
                  </a:lnTo>
                  <a:lnTo>
                    <a:pt x="184" y="195"/>
                  </a:lnTo>
                  <a:lnTo>
                    <a:pt x="183" y="195"/>
                  </a:lnTo>
                  <a:lnTo>
                    <a:pt x="182" y="196"/>
                  </a:lnTo>
                  <a:lnTo>
                    <a:pt x="181" y="196"/>
                  </a:lnTo>
                  <a:lnTo>
                    <a:pt x="181" y="197"/>
                  </a:lnTo>
                  <a:lnTo>
                    <a:pt x="181" y="197"/>
                  </a:lnTo>
                  <a:lnTo>
                    <a:pt x="180" y="197"/>
                  </a:lnTo>
                  <a:lnTo>
                    <a:pt x="179" y="197"/>
                  </a:lnTo>
                  <a:lnTo>
                    <a:pt x="179" y="196"/>
                  </a:lnTo>
                  <a:lnTo>
                    <a:pt x="178" y="196"/>
                  </a:lnTo>
                  <a:lnTo>
                    <a:pt x="177" y="196"/>
                  </a:lnTo>
                  <a:lnTo>
                    <a:pt x="177" y="195"/>
                  </a:lnTo>
                  <a:lnTo>
                    <a:pt x="176" y="194"/>
                  </a:lnTo>
                  <a:lnTo>
                    <a:pt x="176" y="194"/>
                  </a:lnTo>
                  <a:lnTo>
                    <a:pt x="175" y="193"/>
                  </a:lnTo>
                  <a:lnTo>
                    <a:pt x="173" y="192"/>
                  </a:lnTo>
                  <a:lnTo>
                    <a:pt x="172" y="191"/>
                  </a:lnTo>
                  <a:lnTo>
                    <a:pt x="171" y="190"/>
                  </a:lnTo>
                  <a:lnTo>
                    <a:pt x="169" y="188"/>
                  </a:lnTo>
                  <a:lnTo>
                    <a:pt x="168" y="188"/>
                  </a:lnTo>
                  <a:lnTo>
                    <a:pt x="168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6" y="187"/>
                  </a:lnTo>
                  <a:lnTo>
                    <a:pt x="166" y="187"/>
                  </a:lnTo>
                  <a:lnTo>
                    <a:pt x="166" y="189"/>
                  </a:lnTo>
                  <a:lnTo>
                    <a:pt x="166" y="190"/>
                  </a:lnTo>
                  <a:lnTo>
                    <a:pt x="165" y="191"/>
                  </a:lnTo>
                  <a:lnTo>
                    <a:pt x="164" y="193"/>
                  </a:lnTo>
                  <a:lnTo>
                    <a:pt x="163" y="195"/>
                  </a:lnTo>
                  <a:lnTo>
                    <a:pt x="163" y="196"/>
                  </a:lnTo>
                  <a:lnTo>
                    <a:pt x="163" y="198"/>
                  </a:lnTo>
                  <a:lnTo>
                    <a:pt x="163" y="199"/>
                  </a:lnTo>
                  <a:lnTo>
                    <a:pt x="163" y="200"/>
                  </a:lnTo>
                  <a:lnTo>
                    <a:pt x="162" y="201"/>
                  </a:lnTo>
                  <a:lnTo>
                    <a:pt x="162" y="201"/>
                  </a:lnTo>
                  <a:lnTo>
                    <a:pt x="161" y="202"/>
                  </a:lnTo>
                  <a:lnTo>
                    <a:pt x="161" y="202"/>
                  </a:lnTo>
                  <a:lnTo>
                    <a:pt x="160" y="203"/>
                  </a:lnTo>
                  <a:lnTo>
                    <a:pt x="159" y="203"/>
                  </a:lnTo>
                  <a:lnTo>
                    <a:pt x="155" y="205"/>
                  </a:lnTo>
                  <a:lnTo>
                    <a:pt x="153" y="206"/>
                  </a:lnTo>
                  <a:lnTo>
                    <a:pt x="153" y="207"/>
                  </a:lnTo>
                  <a:lnTo>
                    <a:pt x="151" y="208"/>
                  </a:lnTo>
                  <a:lnTo>
                    <a:pt x="151" y="208"/>
                  </a:lnTo>
                  <a:lnTo>
                    <a:pt x="150" y="209"/>
                  </a:lnTo>
                  <a:lnTo>
                    <a:pt x="149" y="209"/>
                  </a:lnTo>
                  <a:lnTo>
                    <a:pt x="149" y="209"/>
                  </a:lnTo>
                  <a:lnTo>
                    <a:pt x="149" y="210"/>
                  </a:lnTo>
                  <a:lnTo>
                    <a:pt x="149" y="211"/>
                  </a:lnTo>
                  <a:lnTo>
                    <a:pt x="148" y="212"/>
                  </a:lnTo>
                  <a:lnTo>
                    <a:pt x="148" y="214"/>
                  </a:lnTo>
                  <a:lnTo>
                    <a:pt x="148" y="215"/>
                  </a:lnTo>
                  <a:lnTo>
                    <a:pt x="148" y="215"/>
                  </a:lnTo>
                  <a:lnTo>
                    <a:pt x="147" y="216"/>
                  </a:lnTo>
                  <a:lnTo>
                    <a:pt x="147" y="216"/>
                  </a:lnTo>
                  <a:lnTo>
                    <a:pt x="146" y="217"/>
                  </a:lnTo>
                  <a:lnTo>
                    <a:pt x="146" y="218"/>
                  </a:lnTo>
                  <a:lnTo>
                    <a:pt x="145" y="218"/>
                  </a:lnTo>
                  <a:lnTo>
                    <a:pt x="144" y="219"/>
                  </a:lnTo>
                  <a:lnTo>
                    <a:pt x="143" y="219"/>
                  </a:lnTo>
                  <a:lnTo>
                    <a:pt x="143" y="219"/>
                  </a:lnTo>
                  <a:lnTo>
                    <a:pt x="142" y="220"/>
                  </a:lnTo>
                  <a:lnTo>
                    <a:pt x="141" y="220"/>
                  </a:lnTo>
                  <a:lnTo>
                    <a:pt x="141" y="220"/>
                  </a:lnTo>
                  <a:lnTo>
                    <a:pt x="140" y="220"/>
                  </a:lnTo>
                  <a:lnTo>
                    <a:pt x="139" y="220"/>
                  </a:lnTo>
                  <a:lnTo>
                    <a:pt x="139" y="220"/>
                  </a:lnTo>
                  <a:lnTo>
                    <a:pt x="138" y="220"/>
                  </a:lnTo>
                  <a:lnTo>
                    <a:pt x="136" y="220"/>
                  </a:lnTo>
                  <a:lnTo>
                    <a:pt x="133" y="219"/>
                  </a:lnTo>
                  <a:lnTo>
                    <a:pt x="131" y="218"/>
                  </a:lnTo>
                  <a:lnTo>
                    <a:pt x="129" y="218"/>
                  </a:lnTo>
                  <a:lnTo>
                    <a:pt x="127" y="217"/>
                  </a:lnTo>
                  <a:lnTo>
                    <a:pt x="125" y="217"/>
                  </a:lnTo>
                  <a:lnTo>
                    <a:pt x="124" y="217"/>
                  </a:lnTo>
                  <a:lnTo>
                    <a:pt x="123" y="217"/>
                  </a:lnTo>
                  <a:lnTo>
                    <a:pt x="123" y="217"/>
                  </a:lnTo>
                  <a:lnTo>
                    <a:pt x="122" y="218"/>
                  </a:lnTo>
                  <a:lnTo>
                    <a:pt x="121" y="218"/>
                  </a:lnTo>
                  <a:lnTo>
                    <a:pt x="120" y="219"/>
                  </a:lnTo>
                  <a:lnTo>
                    <a:pt x="120" y="219"/>
                  </a:lnTo>
                  <a:lnTo>
                    <a:pt x="119" y="220"/>
                  </a:lnTo>
                  <a:lnTo>
                    <a:pt x="119" y="221"/>
                  </a:lnTo>
                  <a:lnTo>
                    <a:pt x="119" y="222"/>
                  </a:lnTo>
                  <a:lnTo>
                    <a:pt x="119" y="226"/>
                  </a:lnTo>
                  <a:lnTo>
                    <a:pt x="118" y="227"/>
                  </a:lnTo>
                  <a:lnTo>
                    <a:pt x="118" y="228"/>
                  </a:lnTo>
                  <a:lnTo>
                    <a:pt x="118" y="229"/>
                  </a:lnTo>
                  <a:lnTo>
                    <a:pt x="117" y="230"/>
                  </a:lnTo>
                  <a:lnTo>
                    <a:pt x="117" y="231"/>
                  </a:lnTo>
                  <a:lnTo>
                    <a:pt x="116" y="231"/>
                  </a:lnTo>
                  <a:lnTo>
                    <a:pt x="116" y="232"/>
                  </a:lnTo>
                  <a:lnTo>
                    <a:pt x="115" y="233"/>
                  </a:lnTo>
                  <a:lnTo>
                    <a:pt x="113" y="234"/>
                  </a:lnTo>
                  <a:lnTo>
                    <a:pt x="112" y="234"/>
                  </a:lnTo>
                  <a:lnTo>
                    <a:pt x="112" y="235"/>
                  </a:lnTo>
                  <a:lnTo>
                    <a:pt x="111" y="236"/>
                  </a:lnTo>
                  <a:lnTo>
                    <a:pt x="111" y="236"/>
                  </a:lnTo>
                  <a:lnTo>
                    <a:pt x="109" y="239"/>
                  </a:lnTo>
                  <a:lnTo>
                    <a:pt x="108" y="240"/>
                  </a:lnTo>
                  <a:lnTo>
                    <a:pt x="107" y="241"/>
                  </a:lnTo>
                  <a:lnTo>
                    <a:pt x="107" y="242"/>
                  </a:lnTo>
                  <a:lnTo>
                    <a:pt x="105" y="243"/>
                  </a:lnTo>
                  <a:lnTo>
                    <a:pt x="102" y="245"/>
                  </a:lnTo>
                  <a:lnTo>
                    <a:pt x="100" y="248"/>
                  </a:lnTo>
                  <a:lnTo>
                    <a:pt x="99" y="248"/>
                  </a:lnTo>
                  <a:lnTo>
                    <a:pt x="99" y="248"/>
                  </a:lnTo>
                  <a:lnTo>
                    <a:pt x="98" y="248"/>
                  </a:lnTo>
                  <a:lnTo>
                    <a:pt x="97" y="248"/>
                  </a:lnTo>
                  <a:lnTo>
                    <a:pt x="91" y="249"/>
                  </a:lnTo>
                  <a:lnTo>
                    <a:pt x="90" y="249"/>
                  </a:lnTo>
                  <a:lnTo>
                    <a:pt x="88" y="249"/>
                  </a:lnTo>
                  <a:lnTo>
                    <a:pt x="87" y="249"/>
                  </a:lnTo>
                  <a:lnTo>
                    <a:pt x="85" y="249"/>
                  </a:lnTo>
                  <a:lnTo>
                    <a:pt x="84" y="249"/>
                  </a:lnTo>
                  <a:lnTo>
                    <a:pt x="83" y="250"/>
                  </a:lnTo>
                  <a:lnTo>
                    <a:pt x="79" y="251"/>
                  </a:lnTo>
                  <a:lnTo>
                    <a:pt x="78" y="251"/>
                  </a:lnTo>
                  <a:lnTo>
                    <a:pt x="77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5" y="252"/>
                  </a:lnTo>
                  <a:lnTo>
                    <a:pt x="74" y="252"/>
                  </a:lnTo>
                  <a:lnTo>
                    <a:pt x="73" y="252"/>
                  </a:lnTo>
                  <a:lnTo>
                    <a:pt x="72" y="252"/>
                  </a:lnTo>
                  <a:lnTo>
                    <a:pt x="72" y="251"/>
                  </a:lnTo>
                  <a:lnTo>
                    <a:pt x="71" y="251"/>
                  </a:lnTo>
                  <a:lnTo>
                    <a:pt x="71" y="251"/>
                  </a:lnTo>
                  <a:lnTo>
                    <a:pt x="70" y="250"/>
                  </a:lnTo>
                  <a:lnTo>
                    <a:pt x="70" y="250"/>
                  </a:lnTo>
                  <a:lnTo>
                    <a:pt x="69" y="249"/>
                  </a:lnTo>
                  <a:lnTo>
                    <a:pt x="69" y="249"/>
                  </a:lnTo>
                  <a:lnTo>
                    <a:pt x="69" y="248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8" y="244"/>
                  </a:lnTo>
                  <a:lnTo>
                    <a:pt x="67" y="242"/>
                  </a:lnTo>
                  <a:lnTo>
                    <a:pt x="67" y="241"/>
                  </a:lnTo>
                  <a:lnTo>
                    <a:pt x="66" y="240"/>
                  </a:lnTo>
                  <a:lnTo>
                    <a:pt x="66" y="239"/>
                  </a:lnTo>
                  <a:lnTo>
                    <a:pt x="66" y="239"/>
                  </a:lnTo>
                  <a:lnTo>
                    <a:pt x="66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4" y="238"/>
                  </a:lnTo>
                  <a:lnTo>
                    <a:pt x="63" y="238"/>
                  </a:lnTo>
                  <a:lnTo>
                    <a:pt x="62" y="239"/>
                  </a:lnTo>
                  <a:lnTo>
                    <a:pt x="61" y="239"/>
                  </a:lnTo>
                  <a:lnTo>
                    <a:pt x="60" y="239"/>
                  </a:lnTo>
                  <a:lnTo>
                    <a:pt x="59" y="240"/>
                  </a:lnTo>
                  <a:lnTo>
                    <a:pt x="58" y="240"/>
                  </a:lnTo>
                  <a:lnTo>
                    <a:pt x="57" y="240"/>
                  </a:lnTo>
                  <a:lnTo>
                    <a:pt x="57" y="240"/>
                  </a:lnTo>
                  <a:lnTo>
                    <a:pt x="56" y="240"/>
                  </a:lnTo>
                  <a:lnTo>
                    <a:pt x="56" y="240"/>
                  </a:lnTo>
                  <a:lnTo>
                    <a:pt x="55" y="240"/>
                  </a:lnTo>
                  <a:lnTo>
                    <a:pt x="54" y="240"/>
                  </a:lnTo>
                  <a:lnTo>
                    <a:pt x="51" y="239"/>
                  </a:lnTo>
                  <a:lnTo>
                    <a:pt x="51" y="238"/>
                  </a:lnTo>
                  <a:lnTo>
                    <a:pt x="50" y="238"/>
                  </a:lnTo>
                  <a:lnTo>
                    <a:pt x="49" y="238"/>
                  </a:lnTo>
                  <a:lnTo>
                    <a:pt x="48" y="238"/>
                  </a:lnTo>
                  <a:lnTo>
                    <a:pt x="47" y="239"/>
                  </a:lnTo>
                  <a:lnTo>
                    <a:pt x="47" y="239"/>
                  </a:lnTo>
                  <a:lnTo>
                    <a:pt x="45" y="240"/>
                  </a:lnTo>
                  <a:lnTo>
                    <a:pt x="44" y="240"/>
                  </a:lnTo>
                  <a:lnTo>
                    <a:pt x="44" y="241"/>
                  </a:lnTo>
                  <a:lnTo>
                    <a:pt x="43" y="241"/>
                  </a:lnTo>
                  <a:lnTo>
                    <a:pt x="42" y="241"/>
                  </a:lnTo>
                  <a:lnTo>
                    <a:pt x="42" y="241"/>
                  </a:lnTo>
                  <a:lnTo>
                    <a:pt x="42" y="240"/>
                  </a:lnTo>
                  <a:lnTo>
                    <a:pt x="41" y="240"/>
                  </a:lnTo>
                  <a:lnTo>
                    <a:pt x="41" y="240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39" y="236"/>
                  </a:lnTo>
                  <a:lnTo>
                    <a:pt x="38" y="235"/>
                  </a:lnTo>
                  <a:lnTo>
                    <a:pt x="38" y="234"/>
                  </a:lnTo>
                  <a:lnTo>
                    <a:pt x="37" y="233"/>
                  </a:lnTo>
                  <a:lnTo>
                    <a:pt x="36" y="233"/>
                  </a:lnTo>
                  <a:lnTo>
                    <a:pt x="36" y="232"/>
                  </a:lnTo>
                  <a:lnTo>
                    <a:pt x="35" y="231"/>
                  </a:lnTo>
                  <a:lnTo>
                    <a:pt x="33" y="230"/>
                  </a:lnTo>
                  <a:lnTo>
                    <a:pt x="32" y="229"/>
                  </a:lnTo>
                  <a:lnTo>
                    <a:pt x="30" y="227"/>
                  </a:lnTo>
                  <a:lnTo>
                    <a:pt x="29" y="227"/>
                  </a:lnTo>
                  <a:lnTo>
                    <a:pt x="28" y="226"/>
                  </a:lnTo>
                  <a:lnTo>
                    <a:pt x="27" y="225"/>
                  </a:lnTo>
                  <a:lnTo>
                    <a:pt x="27" y="224"/>
                  </a:lnTo>
                  <a:lnTo>
                    <a:pt x="26" y="224"/>
                  </a:lnTo>
                  <a:lnTo>
                    <a:pt x="24" y="220"/>
                  </a:lnTo>
                  <a:lnTo>
                    <a:pt x="22" y="215"/>
                  </a:lnTo>
                  <a:lnTo>
                    <a:pt x="21" y="214"/>
                  </a:lnTo>
                  <a:lnTo>
                    <a:pt x="21" y="214"/>
                  </a:lnTo>
                  <a:lnTo>
                    <a:pt x="18" y="207"/>
                  </a:lnTo>
                  <a:lnTo>
                    <a:pt x="18" y="206"/>
                  </a:lnTo>
                  <a:lnTo>
                    <a:pt x="17" y="204"/>
                  </a:lnTo>
                  <a:lnTo>
                    <a:pt x="16" y="202"/>
                  </a:lnTo>
                  <a:lnTo>
                    <a:pt x="15" y="201"/>
                  </a:lnTo>
                  <a:lnTo>
                    <a:pt x="15" y="200"/>
                  </a:lnTo>
                  <a:lnTo>
                    <a:pt x="13" y="198"/>
                  </a:lnTo>
                  <a:lnTo>
                    <a:pt x="13" y="197"/>
                  </a:lnTo>
                  <a:lnTo>
                    <a:pt x="12" y="195"/>
                  </a:lnTo>
                  <a:lnTo>
                    <a:pt x="11" y="194"/>
                  </a:lnTo>
                  <a:lnTo>
                    <a:pt x="10" y="193"/>
                  </a:lnTo>
                  <a:lnTo>
                    <a:pt x="8" y="189"/>
                  </a:lnTo>
                  <a:lnTo>
                    <a:pt x="7" y="185"/>
                  </a:lnTo>
                  <a:lnTo>
                    <a:pt x="6" y="183"/>
                  </a:lnTo>
                  <a:lnTo>
                    <a:pt x="5" y="182"/>
                  </a:lnTo>
                  <a:lnTo>
                    <a:pt x="5" y="180"/>
                  </a:lnTo>
                  <a:lnTo>
                    <a:pt x="4" y="180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3" y="174"/>
                  </a:lnTo>
                  <a:lnTo>
                    <a:pt x="3" y="171"/>
                  </a:lnTo>
                  <a:lnTo>
                    <a:pt x="2" y="170"/>
                  </a:lnTo>
                  <a:lnTo>
                    <a:pt x="2" y="169"/>
                  </a:lnTo>
                  <a:lnTo>
                    <a:pt x="1" y="167"/>
                  </a:lnTo>
                  <a:lnTo>
                    <a:pt x="1" y="166"/>
                  </a:lnTo>
                  <a:lnTo>
                    <a:pt x="0" y="166"/>
                  </a:lnTo>
                  <a:lnTo>
                    <a:pt x="0" y="165"/>
                  </a:lnTo>
                  <a:lnTo>
                    <a:pt x="0" y="164"/>
                  </a:lnTo>
                  <a:lnTo>
                    <a:pt x="0" y="163"/>
                  </a:lnTo>
                  <a:lnTo>
                    <a:pt x="0" y="162"/>
                  </a:lnTo>
                  <a:lnTo>
                    <a:pt x="1" y="162"/>
                  </a:lnTo>
                  <a:lnTo>
                    <a:pt x="1" y="161"/>
                  </a:lnTo>
                  <a:lnTo>
                    <a:pt x="1" y="161"/>
                  </a:lnTo>
                  <a:lnTo>
                    <a:pt x="2" y="160"/>
                  </a:lnTo>
                  <a:lnTo>
                    <a:pt x="3" y="158"/>
                  </a:lnTo>
                  <a:lnTo>
                    <a:pt x="5" y="155"/>
                  </a:lnTo>
                  <a:lnTo>
                    <a:pt x="5" y="154"/>
                  </a:lnTo>
                  <a:lnTo>
                    <a:pt x="6" y="153"/>
                  </a:lnTo>
                  <a:lnTo>
                    <a:pt x="6" y="152"/>
                  </a:lnTo>
                  <a:lnTo>
                    <a:pt x="6" y="151"/>
                  </a:lnTo>
                  <a:lnTo>
                    <a:pt x="7" y="148"/>
                  </a:lnTo>
                  <a:lnTo>
                    <a:pt x="7" y="147"/>
                  </a:lnTo>
                  <a:lnTo>
                    <a:pt x="7" y="146"/>
                  </a:lnTo>
                  <a:lnTo>
                    <a:pt x="8" y="144"/>
                  </a:lnTo>
                  <a:lnTo>
                    <a:pt x="8" y="143"/>
                  </a:lnTo>
                  <a:lnTo>
                    <a:pt x="9" y="142"/>
                  </a:lnTo>
                  <a:lnTo>
                    <a:pt x="9" y="141"/>
                  </a:lnTo>
                  <a:lnTo>
                    <a:pt x="10" y="140"/>
                  </a:lnTo>
                  <a:lnTo>
                    <a:pt x="10" y="140"/>
                  </a:lnTo>
                  <a:lnTo>
                    <a:pt x="11" y="139"/>
                  </a:lnTo>
                  <a:lnTo>
                    <a:pt x="12" y="138"/>
                  </a:lnTo>
                  <a:lnTo>
                    <a:pt x="15" y="136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9" y="133"/>
                  </a:lnTo>
                  <a:lnTo>
                    <a:pt x="20" y="132"/>
                  </a:lnTo>
                  <a:lnTo>
                    <a:pt x="21" y="132"/>
                  </a:lnTo>
                  <a:lnTo>
                    <a:pt x="21" y="131"/>
                  </a:lnTo>
                  <a:lnTo>
                    <a:pt x="21" y="131"/>
                  </a:lnTo>
                  <a:lnTo>
                    <a:pt x="22" y="131"/>
                  </a:lnTo>
                  <a:lnTo>
                    <a:pt x="22" y="130"/>
                  </a:lnTo>
                  <a:lnTo>
                    <a:pt x="22" y="130"/>
                  </a:lnTo>
                  <a:lnTo>
                    <a:pt x="22" y="128"/>
                  </a:lnTo>
                  <a:lnTo>
                    <a:pt x="22" y="127"/>
                  </a:lnTo>
                  <a:lnTo>
                    <a:pt x="22" y="126"/>
                  </a:lnTo>
                  <a:lnTo>
                    <a:pt x="22" y="125"/>
                  </a:lnTo>
                  <a:lnTo>
                    <a:pt x="23" y="124"/>
                  </a:lnTo>
                  <a:lnTo>
                    <a:pt x="23" y="122"/>
                  </a:lnTo>
                  <a:lnTo>
                    <a:pt x="24" y="121"/>
                  </a:lnTo>
                  <a:lnTo>
                    <a:pt x="24" y="120"/>
                  </a:lnTo>
                  <a:lnTo>
                    <a:pt x="25" y="119"/>
                  </a:lnTo>
                  <a:lnTo>
                    <a:pt x="25" y="118"/>
                  </a:lnTo>
                  <a:lnTo>
                    <a:pt x="26" y="117"/>
                  </a:lnTo>
                  <a:lnTo>
                    <a:pt x="26" y="117"/>
                  </a:lnTo>
                  <a:lnTo>
                    <a:pt x="27" y="116"/>
                  </a:lnTo>
                  <a:lnTo>
                    <a:pt x="29" y="114"/>
                  </a:lnTo>
                  <a:lnTo>
                    <a:pt x="29" y="113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0" y="111"/>
                  </a:lnTo>
                  <a:lnTo>
                    <a:pt x="31" y="110"/>
                  </a:lnTo>
                  <a:lnTo>
                    <a:pt x="31" y="107"/>
                  </a:lnTo>
                  <a:lnTo>
                    <a:pt x="31" y="106"/>
                  </a:lnTo>
                  <a:lnTo>
                    <a:pt x="31" y="105"/>
                  </a:lnTo>
                  <a:lnTo>
                    <a:pt x="31" y="103"/>
                  </a:lnTo>
                  <a:lnTo>
                    <a:pt x="31" y="100"/>
                  </a:lnTo>
                  <a:lnTo>
                    <a:pt x="31" y="99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3" y="97"/>
                  </a:lnTo>
                  <a:lnTo>
                    <a:pt x="35" y="96"/>
                  </a:lnTo>
                  <a:lnTo>
                    <a:pt x="36" y="96"/>
                  </a:lnTo>
                  <a:lnTo>
                    <a:pt x="37" y="96"/>
                  </a:lnTo>
                  <a:lnTo>
                    <a:pt x="37" y="96"/>
                  </a:lnTo>
                  <a:lnTo>
                    <a:pt x="38" y="96"/>
                  </a:lnTo>
                  <a:lnTo>
                    <a:pt x="39" y="96"/>
                  </a:lnTo>
                  <a:lnTo>
                    <a:pt x="40" y="97"/>
                  </a:lnTo>
                  <a:lnTo>
                    <a:pt x="42" y="98"/>
                  </a:lnTo>
                  <a:lnTo>
                    <a:pt x="43" y="98"/>
                  </a:lnTo>
                  <a:lnTo>
                    <a:pt x="45" y="99"/>
                  </a:lnTo>
                  <a:lnTo>
                    <a:pt x="48" y="101"/>
                  </a:lnTo>
                  <a:lnTo>
                    <a:pt x="49" y="102"/>
                  </a:lnTo>
                  <a:lnTo>
                    <a:pt x="51" y="102"/>
                  </a:lnTo>
                  <a:lnTo>
                    <a:pt x="52" y="103"/>
                  </a:lnTo>
                  <a:lnTo>
                    <a:pt x="53" y="103"/>
                  </a:lnTo>
                  <a:lnTo>
                    <a:pt x="54" y="103"/>
                  </a:lnTo>
                  <a:lnTo>
                    <a:pt x="55" y="103"/>
                  </a:lnTo>
                  <a:lnTo>
                    <a:pt x="56" y="103"/>
                  </a:lnTo>
                  <a:lnTo>
                    <a:pt x="56" y="103"/>
                  </a:lnTo>
                  <a:lnTo>
                    <a:pt x="57" y="103"/>
                  </a:lnTo>
                  <a:lnTo>
                    <a:pt x="58" y="103"/>
                  </a:lnTo>
                  <a:lnTo>
                    <a:pt x="59" y="103"/>
                  </a:lnTo>
                  <a:lnTo>
                    <a:pt x="59" y="102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1" y="101"/>
                  </a:lnTo>
                  <a:lnTo>
                    <a:pt x="61" y="101"/>
                  </a:lnTo>
                  <a:lnTo>
                    <a:pt x="61" y="100"/>
                  </a:lnTo>
                  <a:lnTo>
                    <a:pt x="62" y="99"/>
                  </a:lnTo>
                  <a:lnTo>
                    <a:pt x="62" y="99"/>
                  </a:lnTo>
                  <a:lnTo>
                    <a:pt x="63" y="98"/>
                  </a:lnTo>
                  <a:lnTo>
                    <a:pt x="64" y="92"/>
                  </a:lnTo>
                  <a:lnTo>
                    <a:pt x="65" y="91"/>
                  </a:lnTo>
                  <a:lnTo>
                    <a:pt x="65" y="89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7" y="87"/>
                  </a:lnTo>
                  <a:lnTo>
                    <a:pt x="67" y="86"/>
                  </a:lnTo>
                  <a:lnTo>
                    <a:pt x="67" y="86"/>
                  </a:lnTo>
                  <a:lnTo>
                    <a:pt x="69" y="85"/>
                  </a:lnTo>
                  <a:lnTo>
                    <a:pt x="70" y="84"/>
                  </a:lnTo>
                  <a:lnTo>
                    <a:pt x="72" y="83"/>
                  </a:lnTo>
                  <a:lnTo>
                    <a:pt x="74" y="82"/>
                  </a:lnTo>
                  <a:lnTo>
                    <a:pt x="75" y="81"/>
                  </a:lnTo>
                  <a:lnTo>
                    <a:pt x="76" y="80"/>
                  </a:lnTo>
                  <a:lnTo>
                    <a:pt x="78" y="79"/>
                  </a:lnTo>
                  <a:lnTo>
                    <a:pt x="79" y="77"/>
                  </a:lnTo>
                  <a:lnTo>
                    <a:pt x="79" y="77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1" y="76"/>
                  </a:lnTo>
                  <a:lnTo>
                    <a:pt x="86" y="78"/>
                  </a:lnTo>
                  <a:lnTo>
                    <a:pt x="90" y="80"/>
                  </a:lnTo>
                  <a:lnTo>
                    <a:pt x="92" y="80"/>
                  </a:lnTo>
                  <a:lnTo>
                    <a:pt x="95" y="81"/>
                  </a:lnTo>
                  <a:lnTo>
                    <a:pt x="100" y="84"/>
                  </a:lnTo>
                  <a:lnTo>
                    <a:pt x="103" y="85"/>
                  </a:lnTo>
                  <a:lnTo>
                    <a:pt x="104" y="85"/>
                  </a:lnTo>
                  <a:lnTo>
                    <a:pt x="105" y="86"/>
                  </a:lnTo>
                  <a:lnTo>
                    <a:pt x="106" y="87"/>
                  </a:lnTo>
                  <a:lnTo>
                    <a:pt x="108" y="88"/>
                  </a:lnTo>
                  <a:lnTo>
                    <a:pt x="109" y="89"/>
                  </a:lnTo>
                  <a:lnTo>
                    <a:pt x="110" y="89"/>
                  </a:lnTo>
                  <a:lnTo>
                    <a:pt x="110" y="90"/>
                  </a:lnTo>
                  <a:lnTo>
                    <a:pt x="111" y="90"/>
                  </a:lnTo>
                  <a:lnTo>
                    <a:pt x="112" y="90"/>
                  </a:lnTo>
                  <a:lnTo>
                    <a:pt x="113" y="91"/>
                  </a:lnTo>
                  <a:lnTo>
                    <a:pt x="116" y="91"/>
                  </a:lnTo>
                  <a:lnTo>
                    <a:pt x="117" y="91"/>
                  </a:lnTo>
                  <a:lnTo>
                    <a:pt x="121" y="92"/>
                  </a:lnTo>
                  <a:lnTo>
                    <a:pt x="123" y="92"/>
                  </a:lnTo>
                  <a:lnTo>
                    <a:pt x="124" y="92"/>
                  </a:lnTo>
                  <a:lnTo>
                    <a:pt x="125" y="92"/>
                  </a:lnTo>
                  <a:lnTo>
                    <a:pt x="126" y="92"/>
                  </a:lnTo>
                  <a:lnTo>
                    <a:pt x="128" y="92"/>
                  </a:lnTo>
                  <a:lnTo>
                    <a:pt x="129" y="92"/>
                  </a:lnTo>
                  <a:lnTo>
                    <a:pt x="129" y="92"/>
                  </a:lnTo>
                  <a:lnTo>
                    <a:pt x="130" y="91"/>
                  </a:lnTo>
                  <a:lnTo>
                    <a:pt x="131" y="91"/>
                  </a:lnTo>
                  <a:lnTo>
                    <a:pt x="131" y="90"/>
                  </a:lnTo>
                  <a:lnTo>
                    <a:pt x="132" y="90"/>
                  </a:lnTo>
                  <a:lnTo>
                    <a:pt x="133" y="89"/>
                  </a:lnTo>
                  <a:lnTo>
                    <a:pt x="133" y="88"/>
                  </a:lnTo>
                  <a:lnTo>
                    <a:pt x="134" y="86"/>
                  </a:lnTo>
                  <a:lnTo>
                    <a:pt x="136" y="81"/>
                  </a:lnTo>
                  <a:lnTo>
                    <a:pt x="137" y="79"/>
                  </a:lnTo>
                  <a:lnTo>
                    <a:pt x="138" y="77"/>
                  </a:lnTo>
                  <a:lnTo>
                    <a:pt x="139" y="75"/>
                  </a:lnTo>
                  <a:lnTo>
                    <a:pt x="140" y="73"/>
                  </a:lnTo>
                  <a:lnTo>
                    <a:pt x="141" y="73"/>
                  </a:lnTo>
                  <a:lnTo>
                    <a:pt x="141" y="72"/>
                  </a:lnTo>
                  <a:lnTo>
                    <a:pt x="142" y="72"/>
                  </a:lnTo>
                  <a:lnTo>
                    <a:pt x="142" y="71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44" y="70"/>
                  </a:lnTo>
                  <a:lnTo>
                    <a:pt x="145" y="70"/>
                  </a:lnTo>
                  <a:lnTo>
                    <a:pt x="149" y="69"/>
                  </a:lnTo>
                  <a:lnTo>
                    <a:pt x="153" y="69"/>
                  </a:lnTo>
                  <a:lnTo>
                    <a:pt x="154" y="68"/>
                  </a:lnTo>
                  <a:lnTo>
                    <a:pt x="155" y="68"/>
                  </a:lnTo>
                  <a:lnTo>
                    <a:pt x="157" y="69"/>
                  </a:lnTo>
                  <a:lnTo>
                    <a:pt x="159" y="69"/>
                  </a:lnTo>
                  <a:lnTo>
                    <a:pt x="160" y="69"/>
                  </a:lnTo>
                  <a:lnTo>
                    <a:pt x="161" y="69"/>
                  </a:lnTo>
                  <a:lnTo>
                    <a:pt x="164" y="69"/>
                  </a:lnTo>
                  <a:lnTo>
                    <a:pt x="165" y="69"/>
                  </a:lnTo>
                  <a:lnTo>
                    <a:pt x="166" y="69"/>
                  </a:lnTo>
                  <a:lnTo>
                    <a:pt x="167" y="70"/>
                  </a:lnTo>
                  <a:lnTo>
                    <a:pt x="169" y="70"/>
                  </a:lnTo>
                  <a:lnTo>
                    <a:pt x="175" y="72"/>
                  </a:lnTo>
                  <a:lnTo>
                    <a:pt x="177" y="72"/>
                  </a:lnTo>
                  <a:lnTo>
                    <a:pt x="178" y="72"/>
                  </a:lnTo>
                  <a:lnTo>
                    <a:pt x="179" y="72"/>
                  </a:lnTo>
                  <a:lnTo>
                    <a:pt x="180" y="72"/>
                  </a:lnTo>
                  <a:lnTo>
                    <a:pt x="181" y="72"/>
                  </a:lnTo>
                  <a:lnTo>
                    <a:pt x="182" y="72"/>
                  </a:lnTo>
                  <a:lnTo>
                    <a:pt x="183" y="72"/>
                  </a:lnTo>
                  <a:lnTo>
                    <a:pt x="184" y="72"/>
                  </a:lnTo>
                  <a:lnTo>
                    <a:pt x="186" y="71"/>
                  </a:lnTo>
                  <a:lnTo>
                    <a:pt x="187" y="71"/>
                  </a:lnTo>
                  <a:lnTo>
                    <a:pt x="187" y="70"/>
                  </a:lnTo>
                  <a:lnTo>
                    <a:pt x="188" y="70"/>
                  </a:lnTo>
                  <a:lnTo>
                    <a:pt x="189" y="70"/>
                  </a:lnTo>
                  <a:lnTo>
                    <a:pt x="189" y="69"/>
                  </a:lnTo>
                  <a:lnTo>
                    <a:pt x="190" y="69"/>
                  </a:lnTo>
                  <a:lnTo>
                    <a:pt x="190" y="68"/>
                  </a:lnTo>
                  <a:lnTo>
                    <a:pt x="190" y="68"/>
                  </a:lnTo>
                  <a:lnTo>
                    <a:pt x="191" y="67"/>
                  </a:lnTo>
                  <a:lnTo>
                    <a:pt x="191" y="67"/>
                  </a:lnTo>
                  <a:lnTo>
                    <a:pt x="191" y="66"/>
                  </a:lnTo>
                  <a:lnTo>
                    <a:pt x="191" y="65"/>
                  </a:lnTo>
                  <a:lnTo>
                    <a:pt x="191" y="63"/>
                  </a:lnTo>
                  <a:lnTo>
                    <a:pt x="191" y="59"/>
                  </a:lnTo>
                  <a:lnTo>
                    <a:pt x="192" y="54"/>
                  </a:lnTo>
                  <a:lnTo>
                    <a:pt x="192" y="54"/>
                  </a:lnTo>
                  <a:lnTo>
                    <a:pt x="191" y="51"/>
                  </a:lnTo>
                  <a:lnTo>
                    <a:pt x="191" y="49"/>
                  </a:lnTo>
                  <a:lnTo>
                    <a:pt x="191" y="48"/>
                  </a:lnTo>
                  <a:lnTo>
                    <a:pt x="191" y="47"/>
                  </a:lnTo>
                  <a:lnTo>
                    <a:pt x="191" y="46"/>
                  </a:lnTo>
                  <a:lnTo>
                    <a:pt x="192" y="44"/>
                  </a:lnTo>
                  <a:lnTo>
                    <a:pt x="194" y="39"/>
                  </a:lnTo>
                  <a:lnTo>
                    <a:pt x="194" y="37"/>
                  </a:lnTo>
                  <a:lnTo>
                    <a:pt x="195" y="36"/>
                  </a:lnTo>
                  <a:lnTo>
                    <a:pt x="195" y="34"/>
                  </a:lnTo>
                  <a:lnTo>
                    <a:pt x="195" y="32"/>
                  </a:lnTo>
                  <a:lnTo>
                    <a:pt x="196" y="27"/>
                  </a:lnTo>
                  <a:lnTo>
                    <a:pt x="196" y="25"/>
                  </a:lnTo>
                  <a:lnTo>
                    <a:pt x="196" y="24"/>
                  </a:lnTo>
                  <a:lnTo>
                    <a:pt x="196" y="24"/>
                  </a:lnTo>
                  <a:lnTo>
                    <a:pt x="195" y="23"/>
                  </a:lnTo>
                  <a:lnTo>
                    <a:pt x="195" y="22"/>
                  </a:lnTo>
                  <a:lnTo>
                    <a:pt x="195" y="22"/>
                  </a:lnTo>
                  <a:lnTo>
                    <a:pt x="194" y="21"/>
                  </a:lnTo>
                  <a:lnTo>
                    <a:pt x="194" y="20"/>
                  </a:lnTo>
                  <a:lnTo>
                    <a:pt x="194" y="20"/>
                  </a:lnTo>
                  <a:lnTo>
                    <a:pt x="193" y="20"/>
                  </a:lnTo>
                  <a:lnTo>
                    <a:pt x="193" y="19"/>
                  </a:lnTo>
                  <a:lnTo>
                    <a:pt x="192" y="19"/>
                  </a:lnTo>
                  <a:lnTo>
                    <a:pt x="191" y="18"/>
                  </a:lnTo>
                  <a:lnTo>
                    <a:pt x="189" y="18"/>
                  </a:lnTo>
                  <a:lnTo>
                    <a:pt x="188" y="18"/>
                  </a:lnTo>
                  <a:lnTo>
                    <a:pt x="188" y="17"/>
                  </a:lnTo>
                  <a:lnTo>
                    <a:pt x="187" y="17"/>
                  </a:lnTo>
                  <a:lnTo>
                    <a:pt x="186" y="16"/>
                  </a:lnTo>
                  <a:lnTo>
                    <a:pt x="186" y="15"/>
                  </a:lnTo>
                  <a:lnTo>
                    <a:pt x="186" y="15"/>
                  </a:lnTo>
                  <a:lnTo>
                    <a:pt x="185" y="15"/>
                  </a:lnTo>
                  <a:lnTo>
                    <a:pt x="185" y="14"/>
                  </a:lnTo>
                  <a:lnTo>
                    <a:pt x="185" y="13"/>
                  </a:lnTo>
                  <a:lnTo>
                    <a:pt x="185" y="13"/>
                  </a:lnTo>
                  <a:lnTo>
                    <a:pt x="185" y="12"/>
                  </a:lnTo>
                  <a:lnTo>
                    <a:pt x="185" y="12"/>
                  </a:lnTo>
                  <a:lnTo>
                    <a:pt x="186" y="11"/>
                  </a:lnTo>
                  <a:lnTo>
                    <a:pt x="186" y="10"/>
                  </a:lnTo>
                  <a:lnTo>
                    <a:pt x="186" y="9"/>
                  </a:lnTo>
                  <a:lnTo>
                    <a:pt x="187" y="8"/>
                  </a:lnTo>
                  <a:lnTo>
                    <a:pt x="187" y="8"/>
                  </a:lnTo>
                  <a:lnTo>
                    <a:pt x="188" y="7"/>
                  </a:lnTo>
                  <a:lnTo>
                    <a:pt x="189" y="6"/>
                  </a:lnTo>
                  <a:lnTo>
                    <a:pt x="190" y="5"/>
                  </a:lnTo>
                  <a:lnTo>
                    <a:pt x="195" y="2"/>
                  </a:lnTo>
                  <a:lnTo>
                    <a:pt x="196" y="1"/>
                  </a:lnTo>
                  <a:lnTo>
                    <a:pt x="197" y="0"/>
                  </a:lnTo>
                  <a:lnTo>
                    <a:pt x="197" y="0"/>
                  </a:lnTo>
                  <a:lnTo>
                    <a:pt x="198" y="0"/>
                  </a:lnTo>
                  <a:close/>
                </a:path>
              </a:pathLst>
            </a:custGeom>
            <a:solidFill>
              <a:srgbClr val="CCCCCC"/>
            </a:solidFill>
            <a:ln w="63500">
              <a:solidFill>
                <a:srgbClr val="CCCCC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Freeform 22">
              <a:extLst>
                <a:ext uri="{FF2B5EF4-FFF2-40B4-BE49-F238E27FC236}">
                  <a16:creationId xmlns:a16="http://schemas.microsoft.com/office/drawing/2014/main" id="{5A1B2482-E03D-1396-1713-157443D5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993"/>
              <a:ext cx="436" cy="339"/>
            </a:xfrm>
            <a:custGeom>
              <a:avLst/>
              <a:gdLst>
                <a:gd name="T0" fmla="*/ 170 w 436"/>
                <a:gd name="T1" fmla="*/ 16 h 339"/>
                <a:gd name="T2" fmla="*/ 204 w 436"/>
                <a:gd name="T3" fmla="*/ 13 h 339"/>
                <a:gd name="T4" fmla="*/ 221 w 436"/>
                <a:gd name="T5" fmla="*/ 46 h 339"/>
                <a:gd name="T6" fmla="*/ 247 w 436"/>
                <a:gd name="T7" fmla="*/ 42 h 339"/>
                <a:gd name="T8" fmla="*/ 262 w 436"/>
                <a:gd name="T9" fmla="*/ 61 h 339"/>
                <a:gd name="T10" fmla="*/ 264 w 436"/>
                <a:gd name="T11" fmla="*/ 79 h 339"/>
                <a:gd name="T12" fmla="*/ 283 w 436"/>
                <a:gd name="T13" fmla="*/ 62 h 339"/>
                <a:gd name="T14" fmla="*/ 310 w 436"/>
                <a:gd name="T15" fmla="*/ 62 h 339"/>
                <a:gd name="T16" fmla="*/ 325 w 436"/>
                <a:gd name="T17" fmla="*/ 61 h 339"/>
                <a:gd name="T18" fmla="*/ 345 w 436"/>
                <a:gd name="T19" fmla="*/ 51 h 339"/>
                <a:gd name="T20" fmla="*/ 376 w 436"/>
                <a:gd name="T21" fmla="*/ 69 h 339"/>
                <a:gd name="T22" fmla="*/ 384 w 436"/>
                <a:gd name="T23" fmla="*/ 96 h 339"/>
                <a:gd name="T24" fmla="*/ 367 w 436"/>
                <a:gd name="T25" fmla="*/ 125 h 339"/>
                <a:gd name="T26" fmla="*/ 348 w 436"/>
                <a:gd name="T27" fmla="*/ 134 h 339"/>
                <a:gd name="T28" fmla="*/ 329 w 436"/>
                <a:gd name="T29" fmla="*/ 147 h 339"/>
                <a:gd name="T30" fmla="*/ 322 w 436"/>
                <a:gd name="T31" fmla="*/ 157 h 339"/>
                <a:gd name="T32" fmla="*/ 335 w 436"/>
                <a:gd name="T33" fmla="*/ 173 h 339"/>
                <a:gd name="T34" fmla="*/ 353 w 436"/>
                <a:gd name="T35" fmla="*/ 183 h 339"/>
                <a:gd name="T36" fmla="*/ 372 w 436"/>
                <a:gd name="T37" fmla="*/ 196 h 339"/>
                <a:gd name="T38" fmla="*/ 392 w 436"/>
                <a:gd name="T39" fmla="*/ 212 h 339"/>
                <a:gd name="T40" fmla="*/ 424 w 436"/>
                <a:gd name="T41" fmla="*/ 250 h 339"/>
                <a:gd name="T42" fmla="*/ 436 w 436"/>
                <a:gd name="T43" fmla="*/ 287 h 339"/>
                <a:gd name="T44" fmla="*/ 417 w 436"/>
                <a:gd name="T45" fmla="*/ 283 h 339"/>
                <a:gd name="T46" fmla="*/ 403 w 436"/>
                <a:gd name="T47" fmla="*/ 293 h 339"/>
                <a:gd name="T48" fmla="*/ 372 w 436"/>
                <a:gd name="T49" fmla="*/ 312 h 339"/>
                <a:gd name="T50" fmla="*/ 361 w 436"/>
                <a:gd name="T51" fmla="*/ 328 h 339"/>
                <a:gd name="T52" fmla="*/ 355 w 436"/>
                <a:gd name="T53" fmla="*/ 337 h 339"/>
                <a:gd name="T54" fmla="*/ 332 w 436"/>
                <a:gd name="T55" fmla="*/ 338 h 339"/>
                <a:gd name="T56" fmla="*/ 303 w 436"/>
                <a:gd name="T57" fmla="*/ 327 h 339"/>
                <a:gd name="T58" fmla="*/ 278 w 436"/>
                <a:gd name="T59" fmla="*/ 308 h 339"/>
                <a:gd name="T60" fmla="*/ 261 w 436"/>
                <a:gd name="T61" fmla="*/ 289 h 339"/>
                <a:gd name="T62" fmla="*/ 229 w 436"/>
                <a:gd name="T63" fmla="*/ 290 h 339"/>
                <a:gd name="T64" fmla="*/ 209 w 436"/>
                <a:gd name="T65" fmla="*/ 296 h 339"/>
                <a:gd name="T66" fmla="*/ 198 w 436"/>
                <a:gd name="T67" fmla="*/ 280 h 339"/>
                <a:gd name="T68" fmla="*/ 181 w 436"/>
                <a:gd name="T69" fmla="*/ 297 h 339"/>
                <a:gd name="T70" fmla="*/ 155 w 436"/>
                <a:gd name="T71" fmla="*/ 298 h 339"/>
                <a:gd name="T72" fmla="*/ 136 w 436"/>
                <a:gd name="T73" fmla="*/ 294 h 339"/>
                <a:gd name="T74" fmla="*/ 117 w 436"/>
                <a:gd name="T75" fmla="*/ 308 h 339"/>
                <a:gd name="T76" fmla="*/ 98 w 436"/>
                <a:gd name="T77" fmla="*/ 312 h 339"/>
                <a:gd name="T78" fmla="*/ 90 w 436"/>
                <a:gd name="T79" fmla="*/ 299 h 339"/>
                <a:gd name="T80" fmla="*/ 74 w 436"/>
                <a:gd name="T81" fmla="*/ 286 h 339"/>
                <a:gd name="T82" fmla="*/ 83 w 436"/>
                <a:gd name="T83" fmla="*/ 265 h 339"/>
                <a:gd name="T84" fmla="*/ 78 w 436"/>
                <a:gd name="T85" fmla="*/ 234 h 339"/>
                <a:gd name="T86" fmla="*/ 63 w 436"/>
                <a:gd name="T87" fmla="*/ 227 h 339"/>
                <a:gd name="T88" fmla="*/ 32 w 436"/>
                <a:gd name="T89" fmla="*/ 226 h 339"/>
                <a:gd name="T90" fmla="*/ 22 w 436"/>
                <a:gd name="T91" fmla="*/ 208 h 339"/>
                <a:gd name="T92" fmla="*/ 5 w 436"/>
                <a:gd name="T93" fmla="*/ 200 h 339"/>
                <a:gd name="T94" fmla="*/ 3 w 436"/>
                <a:gd name="T95" fmla="*/ 184 h 339"/>
                <a:gd name="T96" fmla="*/ 11 w 436"/>
                <a:gd name="T97" fmla="*/ 159 h 339"/>
                <a:gd name="T98" fmla="*/ 3 w 436"/>
                <a:gd name="T99" fmla="*/ 131 h 339"/>
                <a:gd name="T100" fmla="*/ 21 w 436"/>
                <a:gd name="T101" fmla="*/ 127 h 339"/>
                <a:gd name="T102" fmla="*/ 43 w 436"/>
                <a:gd name="T103" fmla="*/ 122 h 339"/>
                <a:gd name="T104" fmla="*/ 63 w 436"/>
                <a:gd name="T105" fmla="*/ 125 h 339"/>
                <a:gd name="T106" fmla="*/ 80 w 436"/>
                <a:gd name="T107" fmla="*/ 134 h 339"/>
                <a:gd name="T108" fmla="*/ 96 w 436"/>
                <a:gd name="T109" fmla="*/ 135 h 339"/>
                <a:gd name="T110" fmla="*/ 104 w 436"/>
                <a:gd name="T111" fmla="*/ 115 h 339"/>
                <a:gd name="T112" fmla="*/ 120 w 436"/>
                <a:gd name="T113" fmla="*/ 120 h 339"/>
                <a:gd name="T114" fmla="*/ 142 w 436"/>
                <a:gd name="T115" fmla="*/ 121 h 339"/>
                <a:gd name="T116" fmla="*/ 145 w 436"/>
                <a:gd name="T117" fmla="*/ 105 h 339"/>
                <a:gd name="T118" fmla="*/ 140 w 436"/>
                <a:gd name="T119" fmla="*/ 76 h 339"/>
                <a:gd name="T120" fmla="*/ 132 w 436"/>
                <a:gd name="T121" fmla="*/ 36 h 339"/>
                <a:gd name="T122" fmla="*/ 123 w 436"/>
                <a:gd name="T123" fmla="*/ 2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36" h="339">
                  <a:moveTo>
                    <a:pt x="127" y="1"/>
                  </a:moveTo>
                  <a:lnTo>
                    <a:pt x="129" y="1"/>
                  </a:lnTo>
                  <a:lnTo>
                    <a:pt x="135" y="1"/>
                  </a:lnTo>
                  <a:lnTo>
                    <a:pt x="137" y="2"/>
                  </a:lnTo>
                  <a:lnTo>
                    <a:pt x="139" y="2"/>
                  </a:lnTo>
                  <a:lnTo>
                    <a:pt x="141" y="2"/>
                  </a:lnTo>
                  <a:lnTo>
                    <a:pt x="143" y="3"/>
                  </a:lnTo>
                  <a:lnTo>
                    <a:pt x="144" y="3"/>
                  </a:lnTo>
                  <a:lnTo>
                    <a:pt x="145" y="4"/>
                  </a:lnTo>
                  <a:lnTo>
                    <a:pt x="146" y="4"/>
                  </a:lnTo>
                  <a:lnTo>
                    <a:pt x="150" y="6"/>
                  </a:lnTo>
                  <a:lnTo>
                    <a:pt x="152" y="7"/>
                  </a:lnTo>
                  <a:lnTo>
                    <a:pt x="155" y="9"/>
                  </a:lnTo>
                  <a:lnTo>
                    <a:pt x="160" y="10"/>
                  </a:lnTo>
                  <a:lnTo>
                    <a:pt x="161" y="11"/>
                  </a:lnTo>
                  <a:lnTo>
                    <a:pt x="163" y="12"/>
                  </a:lnTo>
                  <a:lnTo>
                    <a:pt x="164" y="12"/>
                  </a:lnTo>
                  <a:lnTo>
                    <a:pt x="165" y="13"/>
                  </a:lnTo>
                  <a:lnTo>
                    <a:pt x="166" y="14"/>
                  </a:lnTo>
                  <a:lnTo>
                    <a:pt x="170" y="16"/>
                  </a:lnTo>
                  <a:lnTo>
                    <a:pt x="170" y="17"/>
                  </a:lnTo>
                  <a:lnTo>
                    <a:pt x="171" y="17"/>
                  </a:lnTo>
                  <a:lnTo>
                    <a:pt x="173" y="18"/>
                  </a:lnTo>
                  <a:lnTo>
                    <a:pt x="174" y="18"/>
                  </a:lnTo>
                  <a:lnTo>
                    <a:pt x="175" y="18"/>
                  </a:lnTo>
                  <a:lnTo>
                    <a:pt x="175" y="19"/>
                  </a:lnTo>
                  <a:lnTo>
                    <a:pt x="176" y="19"/>
                  </a:lnTo>
                  <a:lnTo>
                    <a:pt x="178" y="19"/>
                  </a:lnTo>
                  <a:lnTo>
                    <a:pt x="181" y="19"/>
                  </a:lnTo>
                  <a:lnTo>
                    <a:pt x="183" y="19"/>
                  </a:lnTo>
                  <a:lnTo>
                    <a:pt x="184" y="19"/>
                  </a:lnTo>
                  <a:lnTo>
                    <a:pt x="184" y="19"/>
                  </a:lnTo>
                  <a:lnTo>
                    <a:pt x="187" y="18"/>
                  </a:lnTo>
                  <a:lnTo>
                    <a:pt x="194" y="16"/>
                  </a:lnTo>
                  <a:lnTo>
                    <a:pt x="196" y="16"/>
                  </a:lnTo>
                  <a:lnTo>
                    <a:pt x="199" y="14"/>
                  </a:lnTo>
                  <a:lnTo>
                    <a:pt x="200" y="14"/>
                  </a:lnTo>
                  <a:lnTo>
                    <a:pt x="201" y="14"/>
                  </a:lnTo>
                  <a:lnTo>
                    <a:pt x="203" y="13"/>
                  </a:lnTo>
                  <a:lnTo>
                    <a:pt x="204" y="13"/>
                  </a:lnTo>
                  <a:lnTo>
                    <a:pt x="204" y="14"/>
                  </a:lnTo>
                  <a:lnTo>
                    <a:pt x="205" y="14"/>
                  </a:lnTo>
                  <a:lnTo>
                    <a:pt x="206" y="14"/>
                  </a:lnTo>
                  <a:lnTo>
                    <a:pt x="206" y="15"/>
                  </a:lnTo>
                  <a:lnTo>
                    <a:pt x="207" y="15"/>
                  </a:lnTo>
                  <a:lnTo>
                    <a:pt x="208" y="16"/>
                  </a:lnTo>
                  <a:lnTo>
                    <a:pt x="209" y="17"/>
                  </a:lnTo>
                  <a:lnTo>
                    <a:pt x="209" y="18"/>
                  </a:lnTo>
                  <a:lnTo>
                    <a:pt x="210" y="19"/>
                  </a:lnTo>
                  <a:lnTo>
                    <a:pt x="210" y="20"/>
                  </a:lnTo>
                  <a:lnTo>
                    <a:pt x="211" y="24"/>
                  </a:lnTo>
                  <a:lnTo>
                    <a:pt x="212" y="26"/>
                  </a:lnTo>
                  <a:lnTo>
                    <a:pt x="213" y="28"/>
                  </a:lnTo>
                  <a:lnTo>
                    <a:pt x="216" y="34"/>
                  </a:lnTo>
                  <a:lnTo>
                    <a:pt x="217" y="38"/>
                  </a:lnTo>
                  <a:lnTo>
                    <a:pt x="219" y="41"/>
                  </a:lnTo>
                  <a:lnTo>
                    <a:pt x="219" y="43"/>
                  </a:lnTo>
                  <a:lnTo>
                    <a:pt x="220" y="44"/>
                  </a:lnTo>
                  <a:lnTo>
                    <a:pt x="221" y="45"/>
                  </a:lnTo>
                  <a:lnTo>
                    <a:pt x="221" y="46"/>
                  </a:lnTo>
                  <a:lnTo>
                    <a:pt x="222" y="46"/>
                  </a:lnTo>
                  <a:lnTo>
                    <a:pt x="222" y="46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4" y="48"/>
                  </a:lnTo>
                  <a:lnTo>
                    <a:pt x="225" y="48"/>
                  </a:lnTo>
                  <a:lnTo>
                    <a:pt x="225" y="48"/>
                  </a:lnTo>
                  <a:lnTo>
                    <a:pt x="226" y="48"/>
                  </a:lnTo>
                  <a:lnTo>
                    <a:pt x="227" y="48"/>
                  </a:lnTo>
                  <a:lnTo>
                    <a:pt x="228" y="47"/>
                  </a:lnTo>
                  <a:lnTo>
                    <a:pt x="229" y="47"/>
                  </a:lnTo>
                  <a:lnTo>
                    <a:pt x="231" y="46"/>
                  </a:lnTo>
                  <a:lnTo>
                    <a:pt x="236" y="45"/>
                  </a:lnTo>
                  <a:lnTo>
                    <a:pt x="238" y="44"/>
                  </a:lnTo>
                  <a:lnTo>
                    <a:pt x="241" y="43"/>
                  </a:lnTo>
                  <a:lnTo>
                    <a:pt x="242" y="43"/>
                  </a:lnTo>
                  <a:lnTo>
                    <a:pt x="244" y="42"/>
                  </a:lnTo>
                  <a:lnTo>
                    <a:pt x="245" y="42"/>
                  </a:lnTo>
                  <a:lnTo>
                    <a:pt x="247" y="42"/>
                  </a:lnTo>
                  <a:lnTo>
                    <a:pt x="247" y="41"/>
                  </a:lnTo>
                  <a:lnTo>
                    <a:pt x="249" y="41"/>
                  </a:lnTo>
                  <a:lnTo>
                    <a:pt x="250" y="41"/>
                  </a:lnTo>
                  <a:lnTo>
                    <a:pt x="251" y="42"/>
                  </a:lnTo>
                  <a:lnTo>
                    <a:pt x="252" y="42"/>
                  </a:lnTo>
                  <a:lnTo>
                    <a:pt x="253" y="43"/>
                  </a:lnTo>
                  <a:lnTo>
                    <a:pt x="254" y="43"/>
                  </a:lnTo>
                  <a:lnTo>
                    <a:pt x="255" y="44"/>
                  </a:lnTo>
                  <a:lnTo>
                    <a:pt x="256" y="45"/>
                  </a:lnTo>
                  <a:lnTo>
                    <a:pt x="257" y="45"/>
                  </a:lnTo>
                  <a:lnTo>
                    <a:pt x="257" y="46"/>
                  </a:lnTo>
                  <a:lnTo>
                    <a:pt x="258" y="47"/>
                  </a:lnTo>
                  <a:lnTo>
                    <a:pt x="259" y="49"/>
                  </a:lnTo>
                  <a:lnTo>
                    <a:pt x="259" y="49"/>
                  </a:lnTo>
                  <a:lnTo>
                    <a:pt x="260" y="50"/>
                  </a:lnTo>
                  <a:lnTo>
                    <a:pt x="260" y="52"/>
                  </a:lnTo>
                  <a:lnTo>
                    <a:pt x="261" y="54"/>
                  </a:lnTo>
                  <a:lnTo>
                    <a:pt x="262" y="56"/>
                  </a:lnTo>
                  <a:lnTo>
                    <a:pt x="262" y="58"/>
                  </a:lnTo>
                  <a:lnTo>
                    <a:pt x="262" y="61"/>
                  </a:lnTo>
                  <a:lnTo>
                    <a:pt x="263" y="65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3" y="68"/>
                  </a:lnTo>
                  <a:lnTo>
                    <a:pt x="263" y="68"/>
                  </a:lnTo>
                  <a:lnTo>
                    <a:pt x="263" y="69"/>
                  </a:lnTo>
                  <a:lnTo>
                    <a:pt x="263" y="69"/>
                  </a:lnTo>
                  <a:lnTo>
                    <a:pt x="263" y="70"/>
                  </a:lnTo>
                  <a:lnTo>
                    <a:pt x="261" y="73"/>
                  </a:lnTo>
                  <a:lnTo>
                    <a:pt x="261" y="74"/>
                  </a:lnTo>
                  <a:lnTo>
                    <a:pt x="261" y="74"/>
                  </a:lnTo>
                  <a:lnTo>
                    <a:pt x="260" y="75"/>
                  </a:lnTo>
                  <a:lnTo>
                    <a:pt x="260" y="76"/>
                  </a:lnTo>
                  <a:lnTo>
                    <a:pt x="261" y="76"/>
                  </a:lnTo>
                  <a:lnTo>
                    <a:pt x="261" y="77"/>
                  </a:lnTo>
                  <a:lnTo>
                    <a:pt x="261" y="77"/>
                  </a:lnTo>
                  <a:lnTo>
                    <a:pt x="262" y="78"/>
                  </a:lnTo>
                  <a:lnTo>
                    <a:pt x="262" y="79"/>
                  </a:lnTo>
                  <a:lnTo>
                    <a:pt x="263" y="79"/>
                  </a:lnTo>
                  <a:lnTo>
                    <a:pt x="264" y="79"/>
                  </a:lnTo>
                  <a:lnTo>
                    <a:pt x="265" y="80"/>
                  </a:lnTo>
                  <a:lnTo>
                    <a:pt x="266" y="80"/>
                  </a:lnTo>
                  <a:lnTo>
                    <a:pt x="267" y="80"/>
                  </a:lnTo>
                  <a:lnTo>
                    <a:pt x="267" y="80"/>
                  </a:lnTo>
                  <a:lnTo>
                    <a:pt x="268" y="80"/>
                  </a:lnTo>
                  <a:lnTo>
                    <a:pt x="269" y="79"/>
                  </a:lnTo>
                  <a:lnTo>
                    <a:pt x="270" y="79"/>
                  </a:lnTo>
                  <a:lnTo>
                    <a:pt x="272" y="78"/>
                  </a:lnTo>
                  <a:lnTo>
                    <a:pt x="274" y="76"/>
                  </a:lnTo>
                  <a:lnTo>
                    <a:pt x="275" y="76"/>
                  </a:lnTo>
                  <a:lnTo>
                    <a:pt x="276" y="75"/>
                  </a:lnTo>
                  <a:lnTo>
                    <a:pt x="276" y="75"/>
                  </a:lnTo>
                  <a:lnTo>
                    <a:pt x="276" y="74"/>
                  </a:lnTo>
                  <a:lnTo>
                    <a:pt x="277" y="74"/>
                  </a:lnTo>
                  <a:lnTo>
                    <a:pt x="277" y="73"/>
                  </a:lnTo>
                  <a:lnTo>
                    <a:pt x="278" y="72"/>
                  </a:lnTo>
                  <a:lnTo>
                    <a:pt x="280" y="68"/>
                  </a:lnTo>
                  <a:lnTo>
                    <a:pt x="281" y="65"/>
                  </a:lnTo>
                  <a:lnTo>
                    <a:pt x="282" y="64"/>
                  </a:lnTo>
                  <a:lnTo>
                    <a:pt x="283" y="62"/>
                  </a:lnTo>
                  <a:lnTo>
                    <a:pt x="285" y="61"/>
                  </a:lnTo>
                  <a:lnTo>
                    <a:pt x="286" y="59"/>
                  </a:lnTo>
                  <a:lnTo>
                    <a:pt x="287" y="58"/>
                  </a:lnTo>
                  <a:lnTo>
                    <a:pt x="289" y="57"/>
                  </a:lnTo>
                  <a:lnTo>
                    <a:pt x="290" y="56"/>
                  </a:lnTo>
                  <a:lnTo>
                    <a:pt x="291" y="55"/>
                  </a:lnTo>
                  <a:lnTo>
                    <a:pt x="291" y="55"/>
                  </a:lnTo>
                  <a:lnTo>
                    <a:pt x="292" y="55"/>
                  </a:lnTo>
                  <a:lnTo>
                    <a:pt x="293" y="54"/>
                  </a:lnTo>
                  <a:lnTo>
                    <a:pt x="295" y="54"/>
                  </a:lnTo>
                  <a:lnTo>
                    <a:pt x="296" y="55"/>
                  </a:lnTo>
                  <a:lnTo>
                    <a:pt x="297" y="55"/>
                  </a:lnTo>
                  <a:lnTo>
                    <a:pt x="298" y="55"/>
                  </a:lnTo>
                  <a:lnTo>
                    <a:pt x="299" y="56"/>
                  </a:lnTo>
                  <a:lnTo>
                    <a:pt x="304" y="58"/>
                  </a:lnTo>
                  <a:lnTo>
                    <a:pt x="305" y="58"/>
                  </a:lnTo>
                  <a:lnTo>
                    <a:pt x="306" y="59"/>
                  </a:lnTo>
                  <a:lnTo>
                    <a:pt x="307" y="60"/>
                  </a:lnTo>
                  <a:lnTo>
                    <a:pt x="309" y="61"/>
                  </a:lnTo>
                  <a:lnTo>
                    <a:pt x="310" y="62"/>
                  </a:lnTo>
                  <a:lnTo>
                    <a:pt x="313" y="65"/>
                  </a:lnTo>
                  <a:lnTo>
                    <a:pt x="314" y="65"/>
                  </a:lnTo>
                  <a:lnTo>
                    <a:pt x="315" y="66"/>
                  </a:lnTo>
                  <a:lnTo>
                    <a:pt x="315" y="66"/>
                  </a:lnTo>
                  <a:lnTo>
                    <a:pt x="316" y="66"/>
                  </a:lnTo>
                  <a:lnTo>
                    <a:pt x="316" y="66"/>
                  </a:lnTo>
                  <a:lnTo>
                    <a:pt x="317" y="66"/>
                  </a:lnTo>
                  <a:lnTo>
                    <a:pt x="318" y="66"/>
                  </a:lnTo>
                  <a:lnTo>
                    <a:pt x="319" y="66"/>
                  </a:lnTo>
                  <a:lnTo>
                    <a:pt x="319" y="66"/>
                  </a:lnTo>
                  <a:lnTo>
                    <a:pt x="320" y="66"/>
                  </a:lnTo>
                  <a:lnTo>
                    <a:pt x="321" y="66"/>
                  </a:lnTo>
                  <a:lnTo>
                    <a:pt x="322" y="65"/>
                  </a:lnTo>
                  <a:lnTo>
                    <a:pt x="322" y="65"/>
                  </a:lnTo>
                  <a:lnTo>
                    <a:pt x="323" y="64"/>
                  </a:lnTo>
                  <a:lnTo>
                    <a:pt x="323" y="64"/>
                  </a:lnTo>
                  <a:lnTo>
                    <a:pt x="324" y="63"/>
                  </a:lnTo>
                  <a:lnTo>
                    <a:pt x="324" y="63"/>
                  </a:lnTo>
                  <a:lnTo>
                    <a:pt x="325" y="62"/>
                  </a:lnTo>
                  <a:lnTo>
                    <a:pt x="325" y="61"/>
                  </a:lnTo>
                  <a:lnTo>
                    <a:pt x="326" y="57"/>
                  </a:lnTo>
                  <a:lnTo>
                    <a:pt x="327" y="55"/>
                  </a:lnTo>
                  <a:lnTo>
                    <a:pt x="328" y="54"/>
                  </a:lnTo>
                  <a:lnTo>
                    <a:pt x="329" y="53"/>
                  </a:lnTo>
                  <a:lnTo>
                    <a:pt x="329" y="53"/>
                  </a:lnTo>
                  <a:lnTo>
                    <a:pt x="330" y="52"/>
                  </a:lnTo>
                  <a:lnTo>
                    <a:pt x="330" y="52"/>
                  </a:lnTo>
                  <a:lnTo>
                    <a:pt x="330" y="51"/>
                  </a:lnTo>
                  <a:lnTo>
                    <a:pt x="331" y="51"/>
                  </a:lnTo>
                  <a:lnTo>
                    <a:pt x="332" y="50"/>
                  </a:lnTo>
                  <a:lnTo>
                    <a:pt x="332" y="50"/>
                  </a:lnTo>
                  <a:lnTo>
                    <a:pt x="333" y="50"/>
                  </a:lnTo>
                  <a:lnTo>
                    <a:pt x="334" y="50"/>
                  </a:lnTo>
                  <a:lnTo>
                    <a:pt x="335" y="50"/>
                  </a:lnTo>
                  <a:lnTo>
                    <a:pt x="336" y="50"/>
                  </a:lnTo>
                  <a:lnTo>
                    <a:pt x="338" y="50"/>
                  </a:lnTo>
                  <a:lnTo>
                    <a:pt x="339" y="50"/>
                  </a:lnTo>
                  <a:lnTo>
                    <a:pt x="340" y="50"/>
                  </a:lnTo>
                  <a:lnTo>
                    <a:pt x="341" y="50"/>
                  </a:lnTo>
                  <a:lnTo>
                    <a:pt x="345" y="51"/>
                  </a:lnTo>
                  <a:lnTo>
                    <a:pt x="346" y="51"/>
                  </a:lnTo>
                  <a:lnTo>
                    <a:pt x="347" y="51"/>
                  </a:lnTo>
                  <a:lnTo>
                    <a:pt x="348" y="52"/>
                  </a:lnTo>
                  <a:lnTo>
                    <a:pt x="350" y="52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6" y="52"/>
                  </a:lnTo>
                  <a:lnTo>
                    <a:pt x="357" y="52"/>
                  </a:lnTo>
                  <a:lnTo>
                    <a:pt x="358" y="52"/>
                  </a:lnTo>
                  <a:lnTo>
                    <a:pt x="359" y="53"/>
                  </a:lnTo>
                  <a:lnTo>
                    <a:pt x="360" y="53"/>
                  </a:lnTo>
                  <a:lnTo>
                    <a:pt x="361" y="54"/>
                  </a:lnTo>
                  <a:lnTo>
                    <a:pt x="362" y="55"/>
                  </a:lnTo>
                  <a:lnTo>
                    <a:pt x="365" y="57"/>
                  </a:lnTo>
                  <a:lnTo>
                    <a:pt x="367" y="59"/>
                  </a:lnTo>
                  <a:lnTo>
                    <a:pt x="367" y="59"/>
                  </a:lnTo>
                  <a:lnTo>
                    <a:pt x="369" y="61"/>
                  </a:lnTo>
                  <a:lnTo>
                    <a:pt x="371" y="64"/>
                  </a:lnTo>
                  <a:lnTo>
                    <a:pt x="374" y="67"/>
                  </a:lnTo>
                  <a:lnTo>
                    <a:pt x="376" y="69"/>
                  </a:lnTo>
                  <a:lnTo>
                    <a:pt x="378" y="71"/>
                  </a:lnTo>
                  <a:lnTo>
                    <a:pt x="381" y="74"/>
                  </a:lnTo>
                  <a:lnTo>
                    <a:pt x="383" y="76"/>
                  </a:lnTo>
                  <a:lnTo>
                    <a:pt x="385" y="78"/>
                  </a:lnTo>
                  <a:lnTo>
                    <a:pt x="386" y="80"/>
                  </a:lnTo>
                  <a:lnTo>
                    <a:pt x="388" y="81"/>
                  </a:lnTo>
                  <a:lnTo>
                    <a:pt x="388" y="83"/>
                  </a:lnTo>
                  <a:lnTo>
                    <a:pt x="389" y="84"/>
                  </a:lnTo>
                  <a:lnTo>
                    <a:pt x="389" y="85"/>
                  </a:lnTo>
                  <a:lnTo>
                    <a:pt x="389" y="86"/>
                  </a:lnTo>
                  <a:lnTo>
                    <a:pt x="389" y="87"/>
                  </a:lnTo>
                  <a:lnTo>
                    <a:pt x="389" y="88"/>
                  </a:lnTo>
                  <a:lnTo>
                    <a:pt x="389" y="89"/>
                  </a:lnTo>
                  <a:lnTo>
                    <a:pt x="389" y="90"/>
                  </a:lnTo>
                  <a:lnTo>
                    <a:pt x="389" y="90"/>
                  </a:lnTo>
                  <a:lnTo>
                    <a:pt x="388" y="91"/>
                  </a:lnTo>
                  <a:lnTo>
                    <a:pt x="388" y="92"/>
                  </a:lnTo>
                  <a:lnTo>
                    <a:pt x="386" y="93"/>
                  </a:lnTo>
                  <a:lnTo>
                    <a:pt x="384" y="95"/>
                  </a:lnTo>
                  <a:lnTo>
                    <a:pt x="384" y="96"/>
                  </a:lnTo>
                  <a:lnTo>
                    <a:pt x="383" y="96"/>
                  </a:lnTo>
                  <a:lnTo>
                    <a:pt x="383" y="97"/>
                  </a:lnTo>
                  <a:lnTo>
                    <a:pt x="382" y="98"/>
                  </a:lnTo>
                  <a:lnTo>
                    <a:pt x="381" y="101"/>
                  </a:lnTo>
                  <a:lnTo>
                    <a:pt x="381" y="103"/>
                  </a:lnTo>
                  <a:lnTo>
                    <a:pt x="380" y="104"/>
                  </a:lnTo>
                  <a:lnTo>
                    <a:pt x="379" y="107"/>
                  </a:lnTo>
                  <a:lnTo>
                    <a:pt x="378" y="108"/>
                  </a:lnTo>
                  <a:lnTo>
                    <a:pt x="378" y="109"/>
                  </a:lnTo>
                  <a:lnTo>
                    <a:pt x="378" y="111"/>
                  </a:lnTo>
                  <a:lnTo>
                    <a:pt x="378" y="112"/>
                  </a:lnTo>
                  <a:lnTo>
                    <a:pt x="377" y="113"/>
                  </a:lnTo>
                  <a:lnTo>
                    <a:pt x="377" y="114"/>
                  </a:lnTo>
                  <a:lnTo>
                    <a:pt x="376" y="116"/>
                  </a:lnTo>
                  <a:lnTo>
                    <a:pt x="375" y="117"/>
                  </a:lnTo>
                  <a:lnTo>
                    <a:pt x="373" y="118"/>
                  </a:lnTo>
                  <a:lnTo>
                    <a:pt x="370" y="122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7" y="125"/>
                  </a:lnTo>
                  <a:lnTo>
                    <a:pt x="366" y="125"/>
                  </a:lnTo>
                  <a:lnTo>
                    <a:pt x="366" y="126"/>
                  </a:lnTo>
                  <a:lnTo>
                    <a:pt x="365" y="126"/>
                  </a:lnTo>
                  <a:lnTo>
                    <a:pt x="364" y="126"/>
                  </a:lnTo>
                  <a:lnTo>
                    <a:pt x="363" y="127"/>
                  </a:lnTo>
                  <a:lnTo>
                    <a:pt x="362" y="127"/>
                  </a:lnTo>
                  <a:lnTo>
                    <a:pt x="361" y="127"/>
                  </a:lnTo>
                  <a:lnTo>
                    <a:pt x="359" y="126"/>
                  </a:lnTo>
                  <a:lnTo>
                    <a:pt x="357" y="126"/>
                  </a:lnTo>
                  <a:lnTo>
                    <a:pt x="357" y="126"/>
                  </a:lnTo>
                  <a:lnTo>
                    <a:pt x="356" y="126"/>
                  </a:lnTo>
                  <a:lnTo>
                    <a:pt x="356" y="127"/>
                  </a:lnTo>
                  <a:lnTo>
                    <a:pt x="355" y="127"/>
                  </a:lnTo>
                  <a:lnTo>
                    <a:pt x="355" y="127"/>
                  </a:lnTo>
                  <a:lnTo>
                    <a:pt x="354" y="128"/>
                  </a:lnTo>
                  <a:lnTo>
                    <a:pt x="354" y="128"/>
                  </a:lnTo>
                  <a:lnTo>
                    <a:pt x="352" y="130"/>
                  </a:lnTo>
                  <a:lnTo>
                    <a:pt x="350" y="132"/>
                  </a:lnTo>
                  <a:lnTo>
                    <a:pt x="349" y="133"/>
                  </a:lnTo>
                  <a:lnTo>
                    <a:pt x="348" y="134"/>
                  </a:lnTo>
                  <a:lnTo>
                    <a:pt x="347" y="135"/>
                  </a:lnTo>
                  <a:lnTo>
                    <a:pt x="346" y="135"/>
                  </a:lnTo>
                  <a:lnTo>
                    <a:pt x="345" y="135"/>
                  </a:lnTo>
                  <a:lnTo>
                    <a:pt x="343" y="136"/>
                  </a:lnTo>
                  <a:lnTo>
                    <a:pt x="343" y="136"/>
                  </a:lnTo>
                  <a:lnTo>
                    <a:pt x="342" y="136"/>
                  </a:lnTo>
                  <a:lnTo>
                    <a:pt x="341" y="137"/>
                  </a:lnTo>
                  <a:lnTo>
                    <a:pt x="339" y="138"/>
                  </a:lnTo>
                  <a:lnTo>
                    <a:pt x="338" y="139"/>
                  </a:lnTo>
                  <a:lnTo>
                    <a:pt x="337" y="139"/>
                  </a:lnTo>
                  <a:lnTo>
                    <a:pt x="337" y="140"/>
                  </a:lnTo>
                  <a:lnTo>
                    <a:pt x="335" y="141"/>
                  </a:lnTo>
                  <a:lnTo>
                    <a:pt x="335" y="142"/>
                  </a:lnTo>
                  <a:lnTo>
                    <a:pt x="334" y="143"/>
                  </a:lnTo>
                  <a:lnTo>
                    <a:pt x="332" y="144"/>
                  </a:lnTo>
                  <a:lnTo>
                    <a:pt x="332" y="144"/>
                  </a:lnTo>
                  <a:lnTo>
                    <a:pt x="331" y="145"/>
                  </a:lnTo>
                  <a:lnTo>
                    <a:pt x="330" y="146"/>
                  </a:lnTo>
                  <a:lnTo>
                    <a:pt x="330" y="147"/>
                  </a:lnTo>
                  <a:lnTo>
                    <a:pt x="329" y="147"/>
                  </a:lnTo>
                  <a:lnTo>
                    <a:pt x="329" y="148"/>
                  </a:lnTo>
                  <a:lnTo>
                    <a:pt x="329" y="149"/>
                  </a:lnTo>
                  <a:lnTo>
                    <a:pt x="329" y="150"/>
                  </a:lnTo>
                  <a:lnTo>
                    <a:pt x="329" y="151"/>
                  </a:lnTo>
                  <a:lnTo>
                    <a:pt x="328" y="151"/>
                  </a:lnTo>
                  <a:lnTo>
                    <a:pt x="328" y="152"/>
                  </a:lnTo>
                  <a:lnTo>
                    <a:pt x="327" y="152"/>
                  </a:lnTo>
                  <a:lnTo>
                    <a:pt x="327" y="152"/>
                  </a:lnTo>
                  <a:lnTo>
                    <a:pt x="326" y="152"/>
                  </a:lnTo>
                  <a:lnTo>
                    <a:pt x="325" y="152"/>
                  </a:lnTo>
                  <a:lnTo>
                    <a:pt x="325" y="152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3" y="154"/>
                  </a:lnTo>
                  <a:lnTo>
                    <a:pt x="323" y="154"/>
                  </a:lnTo>
                  <a:lnTo>
                    <a:pt x="322" y="155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9"/>
                  </a:lnTo>
                  <a:lnTo>
                    <a:pt x="322" y="160"/>
                  </a:lnTo>
                  <a:lnTo>
                    <a:pt x="322" y="160"/>
                  </a:lnTo>
                  <a:lnTo>
                    <a:pt x="323" y="161"/>
                  </a:lnTo>
                  <a:lnTo>
                    <a:pt x="324" y="164"/>
                  </a:lnTo>
                  <a:lnTo>
                    <a:pt x="325" y="166"/>
                  </a:lnTo>
                  <a:lnTo>
                    <a:pt x="326" y="167"/>
                  </a:lnTo>
                  <a:lnTo>
                    <a:pt x="326" y="167"/>
                  </a:lnTo>
                  <a:lnTo>
                    <a:pt x="327" y="168"/>
                  </a:lnTo>
                  <a:lnTo>
                    <a:pt x="327" y="168"/>
                  </a:lnTo>
                  <a:lnTo>
                    <a:pt x="328" y="168"/>
                  </a:lnTo>
                  <a:lnTo>
                    <a:pt x="329" y="169"/>
                  </a:lnTo>
                  <a:lnTo>
                    <a:pt x="331" y="169"/>
                  </a:lnTo>
                  <a:lnTo>
                    <a:pt x="331" y="169"/>
                  </a:lnTo>
                  <a:lnTo>
                    <a:pt x="332" y="170"/>
                  </a:lnTo>
                  <a:lnTo>
                    <a:pt x="333" y="171"/>
                  </a:lnTo>
                  <a:lnTo>
                    <a:pt x="334" y="171"/>
                  </a:lnTo>
                  <a:lnTo>
                    <a:pt x="335" y="172"/>
                  </a:lnTo>
                  <a:lnTo>
                    <a:pt x="335" y="173"/>
                  </a:lnTo>
                  <a:lnTo>
                    <a:pt x="337" y="176"/>
                  </a:lnTo>
                  <a:lnTo>
                    <a:pt x="338" y="176"/>
                  </a:lnTo>
                  <a:lnTo>
                    <a:pt x="339" y="178"/>
                  </a:lnTo>
                  <a:lnTo>
                    <a:pt x="339" y="178"/>
                  </a:lnTo>
                  <a:lnTo>
                    <a:pt x="340" y="180"/>
                  </a:lnTo>
                  <a:lnTo>
                    <a:pt x="342" y="181"/>
                  </a:lnTo>
                  <a:lnTo>
                    <a:pt x="342" y="182"/>
                  </a:lnTo>
                  <a:lnTo>
                    <a:pt x="343" y="183"/>
                  </a:lnTo>
                  <a:lnTo>
                    <a:pt x="344" y="184"/>
                  </a:lnTo>
                  <a:lnTo>
                    <a:pt x="344" y="185"/>
                  </a:lnTo>
                  <a:lnTo>
                    <a:pt x="345" y="185"/>
                  </a:lnTo>
                  <a:lnTo>
                    <a:pt x="346" y="186"/>
                  </a:lnTo>
                  <a:lnTo>
                    <a:pt x="346" y="186"/>
                  </a:lnTo>
                  <a:lnTo>
                    <a:pt x="347" y="186"/>
                  </a:lnTo>
                  <a:lnTo>
                    <a:pt x="348" y="186"/>
                  </a:lnTo>
                  <a:lnTo>
                    <a:pt x="348" y="186"/>
                  </a:lnTo>
                  <a:lnTo>
                    <a:pt x="349" y="185"/>
                  </a:lnTo>
                  <a:lnTo>
                    <a:pt x="352" y="184"/>
                  </a:lnTo>
                  <a:lnTo>
                    <a:pt x="353" y="183"/>
                  </a:lnTo>
                  <a:lnTo>
                    <a:pt x="353" y="183"/>
                  </a:lnTo>
                  <a:lnTo>
                    <a:pt x="354" y="183"/>
                  </a:lnTo>
                  <a:lnTo>
                    <a:pt x="355" y="183"/>
                  </a:lnTo>
                  <a:lnTo>
                    <a:pt x="356" y="183"/>
                  </a:lnTo>
                  <a:lnTo>
                    <a:pt x="358" y="183"/>
                  </a:lnTo>
                  <a:lnTo>
                    <a:pt x="359" y="183"/>
                  </a:lnTo>
                  <a:lnTo>
                    <a:pt x="361" y="183"/>
                  </a:lnTo>
                  <a:lnTo>
                    <a:pt x="362" y="183"/>
                  </a:lnTo>
                  <a:lnTo>
                    <a:pt x="363" y="183"/>
                  </a:lnTo>
                  <a:lnTo>
                    <a:pt x="365" y="183"/>
                  </a:lnTo>
                  <a:lnTo>
                    <a:pt x="365" y="184"/>
                  </a:lnTo>
                  <a:lnTo>
                    <a:pt x="366" y="184"/>
                  </a:lnTo>
                  <a:lnTo>
                    <a:pt x="367" y="185"/>
                  </a:lnTo>
                  <a:lnTo>
                    <a:pt x="368" y="185"/>
                  </a:lnTo>
                  <a:lnTo>
                    <a:pt x="368" y="185"/>
                  </a:lnTo>
                  <a:lnTo>
                    <a:pt x="368" y="186"/>
                  </a:lnTo>
                  <a:lnTo>
                    <a:pt x="369" y="187"/>
                  </a:lnTo>
                  <a:lnTo>
                    <a:pt x="370" y="189"/>
                  </a:lnTo>
                  <a:lnTo>
                    <a:pt x="370" y="190"/>
                  </a:lnTo>
                  <a:lnTo>
                    <a:pt x="371" y="194"/>
                  </a:lnTo>
                  <a:lnTo>
                    <a:pt x="372" y="196"/>
                  </a:lnTo>
                  <a:lnTo>
                    <a:pt x="372" y="197"/>
                  </a:lnTo>
                  <a:lnTo>
                    <a:pt x="373" y="198"/>
                  </a:lnTo>
                  <a:lnTo>
                    <a:pt x="373" y="200"/>
                  </a:lnTo>
                  <a:lnTo>
                    <a:pt x="374" y="201"/>
                  </a:lnTo>
                  <a:lnTo>
                    <a:pt x="375" y="203"/>
                  </a:lnTo>
                  <a:lnTo>
                    <a:pt x="376" y="203"/>
                  </a:lnTo>
                  <a:lnTo>
                    <a:pt x="377" y="205"/>
                  </a:lnTo>
                  <a:lnTo>
                    <a:pt x="378" y="205"/>
                  </a:lnTo>
                  <a:lnTo>
                    <a:pt x="379" y="206"/>
                  </a:lnTo>
                  <a:lnTo>
                    <a:pt x="380" y="207"/>
                  </a:lnTo>
                  <a:lnTo>
                    <a:pt x="381" y="208"/>
                  </a:lnTo>
                  <a:lnTo>
                    <a:pt x="382" y="208"/>
                  </a:lnTo>
                  <a:lnTo>
                    <a:pt x="383" y="208"/>
                  </a:lnTo>
                  <a:lnTo>
                    <a:pt x="386" y="208"/>
                  </a:lnTo>
                  <a:lnTo>
                    <a:pt x="387" y="209"/>
                  </a:lnTo>
                  <a:lnTo>
                    <a:pt x="388" y="209"/>
                  </a:lnTo>
                  <a:lnTo>
                    <a:pt x="389" y="210"/>
                  </a:lnTo>
                  <a:lnTo>
                    <a:pt x="390" y="210"/>
                  </a:lnTo>
                  <a:lnTo>
                    <a:pt x="391" y="211"/>
                  </a:lnTo>
                  <a:lnTo>
                    <a:pt x="392" y="212"/>
                  </a:lnTo>
                  <a:lnTo>
                    <a:pt x="394" y="213"/>
                  </a:lnTo>
                  <a:lnTo>
                    <a:pt x="395" y="215"/>
                  </a:lnTo>
                  <a:lnTo>
                    <a:pt x="397" y="218"/>
                  </a:lnTo>
                  <a:lnTo>
                    <a:pt x="399" y="220"/>
                  </a:lnTo>
                  <a:lnTo>
                    <a:pt x="400" y="222"/>
                  </a:lnTo>
                  <a:lnTo>
                    <a:pt x="402" y="225"/>
                  </a:lnTo>
                  <a:lnTo>
                    <a:pt x="404" y="229"/>
                  </a:lnTo>
                  <a:lnTo>
                    <a:pt x="406" y="231"/>
                  </a:lnTo>
                  <a:lnTo>
                    <a:pt x="408" y="234"/>
                  </a:lnTo>
                  <a:lnTo>
                    <a:pt x="409" y="234"/>
                  </a:lnTo>
                  <a:lnTo>
                    <a:pt x="410" y="235"/>
                  </a:lnTo>
                  <a:lnTo>
                    <a:pt x="413" y="238"/>
                  </a:lnTo>
                  <a:lnTo>
                    <a:pt x="416" y="243"/>
                  </a:lnTo>
                  <a:lnTo>
                    <a:pt x="417" y="244"/>
                  </a:lnTo>
                  <a:lnTo>
                    <a:pt x="418" y="245"/>
                  </a:lnTo>
                  <a:lnTo>
                    <a:pt x="419" y="246"/>
                  </a:lnTo>
                  <a:lnTo>
                    <a:pt x="422" y="248"/>
                  </a:lnTo>
                  <a:lnTo>
                    <a:pt x="423" y="249"/>
                  </a:lnTo>
                  <a:lnTo>
                    <a:pt x="423" y="249"/>
                  </a:lnTo>
                  <a:lnTo>
                    <a:pt x="424" y="250"/>
                  </a:lnTo>
                  <a:lnTo>
                    <a:pt x="425" y="252"/>
                  </a:lnTo>
                  <a:lnTo>
                    <a:pt x="426" y="253"/>
                  </a:lnTo>
                  <a:lnTo>
                    <a:pt x="426" y="254"/>
                  </a:lnTo>
                  <a:lnTo>
                    <a:pt x="427" y="255"/>
                  </a:lnTo>
                  <a:lnTo>
                    <a:pt x="428" y="256"/>
                  </a:lnTo>
                  <a:lnTo>
                    <a:pt x="428" y="259"/>
                  </a:lnTo>
                  <a:lnTo>
                    <a:pt x="429" y="260"/>
                  </a:lnTo>
                  <a:lnTo>
                    <a:pt x="429" y="262"/>
                  </a:lnTo>
                  <a:lnTo>
                    <a:pt x="429" y="266"/>
                  </a:lnTo>
                  <a:lnTo>
                    <a:pt x="429" y="269"/>
                  </a:lnTo>
                  <a:lnTo>
                    <a:pt x="430" y="271"/>
                  </a:lnTo>
                  <a:lnTo>
                    <a:pt x="430" y="273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2" y="281"/>
                  </a:lnTo>
                  <a:lnTo>
                    <a:pt x="433" y="283"/>
                  </a:lnTo>
                  <a:lnTo>
                    <a:pt x="435" y="286"/>
                  </a:lnTo>
                  <a:lnTo>
                    <a:pt x="436" y="287"/>
                  </a:lnTo>
                  <a:lnTo>
                    <a:pt x="436" y="288"/>
                  </a:lnTo>
                  <a:lnTo>
                    <a:pt x="436" y="289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5" y="291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1" y="290"/>
                  </a:lnTo>
                  <a:lnTo>
                    <a:pt x="430" y="290"/>
                  </a:lnTo>
                  <a:lnTo>
                    <a:pt x="425" y="288"/>
                  </a:lnTo>
                  <a:lnTo>
                    <a:pt x="423" y="287"/>
                  </a:lnTo>
                  <a:lnTo>
                    <a:pt x="421" y="286"/>
                  </a:lnTo>
                  <a:lnTo>
                    <a:pt x="420" y="285"/>
                  </a:lnTo>
                  <a:lnTo>
                    <a:pt x="417" y="284"/>
                  </a:lnTo>
                  <a:lnTo>
                    <a:pt x="417" y="283"/>
                  </a:lnTo>
                  <a:lnTo>
                    <a:pt x="416" y="283"/>
                  </a:lnTo>
                  <a:lnTo>
                    <a:pt x="414" y="282"/>
                  </a:lnTo>
                  <a:lnTo>
                    <a:pt x="414" y="282"/>
                  </a:lnTo>
                  <a:lnTo>
                    <a:pt x="413" y="282"/>
                  </a:lnTo>
                  <a:lnTo>
                    <a:pt x="412" y="282"/>
                  </a:lnTo>
                  <a:lnTo>
                    <a:pt x="412" y="282"/>
                  </a:lnTo>
                  <a:lnTo>
                    <a:pt x="411" y="282"/>
                  </a:lnTo>
                  <a:lnTo>
                    <a:pt x="411" y="282"/>
                  </a:lnTo>
                  <a:lnTo>
                    <a:pt x="410" y="282"/>
                  </a:lnTo>
                  <a:lnTo>
                    <a:pt x="410" y="282"/>
                  </a:lnTo>
                  <a:lnTo>
                    <a:pt x="409" y="283"/>
                  </a:lnTo>
                  <a:lnTo>
                    <a:pt x="408" y="283"/>
                  </a:lnTo>
                  <a:lnTo>
                    <a:pt x="408" y="283"/>
                  </a:lnTo>
                  <a:lnTo>
                    <a:pt x="407" y="284"/>
                  </a:lnTo>
                  <a:lnTo>
                    <a:pt x="407" y="285"/>
                  </a:lnTo>
                  <a:lnTo>
                    <a:pt x="407" y="286"/>
                  </a:lnTo>
                  <a:lnTo>
                    <a:pt x="405" y="289"/>
                  </a:lnTo>
                  <a:lnTo>
                    <a:pt x="404" y="291"/>
                  </a:lnTo>
                  <a:lnTo>
                    <a:pt x="404" y="292"/>
                  </a:lnTo>
                  <a:lnTo>
                    <a:pt x="403" y="293"/>
                  </a:lnTo>
                  <a:lnTo>
                    <a:pt x="402" y="293"/>
                  </a:lnTo>
                  <a:lnTo>
                    <a:pt x="401" y="294"/>
                  </a:lnTo>
                  <a:lnTo>
                    <a:pt x="400" y="295"/>
                  </a:lnTo>
                  <a:lnTo>
                    <a:pt x="399" y="296"/>
                  </a:lnTo>
                  <a:lnTo>
                    <a:pt x="398" y="297"/>
                  </a:lnTo>
                  <a:lnTo>
                    <a:pt x="396" y="297"/>
                  </a:lnTo>
                  <a:lnTo>
                    <a:pt x="394" y="298"/>
                  </a:lnTo>
                  <a:lnTo>
                    <a:pt x="392" y="300"/>
                  </a:lnTo>
                  <a:lnTo>
                    <a:pt x="392" y="300"/>
                  </a:lnTo>
                  <a:lnTo>
                    <a:pt x="390" y="301"/>
                  </a:lnTo>
                  <a:lnTo>
                    <a:pt x="390" y="301"/>
                  </a:lnTo>
                  <a:lnTo>
                    <a:pt x="387" y="303"/>
                  </a:lnTo>
                  <a:lnTo>
                    <a:pt x="384" y="304"/>
                  </a:lnTo>
                  <a:lnTo>
                    <a:pt x="382" y="305"/>
                  </a:lnTo>
                  <a:lnTo>
                    <a:pt x="381" y="305"/>
                  </a:lnTo>
                  <a:lnTo>
                    <a:pt x="380" y="306"/>
                  </a:lnTo>
                  <a:lnTo>
                    <a:pt x="378" y="308"/>
                  </a:lnTo>
                  <a:lnTo>
                    <a:pt x="376" y="309"/>
                  </a:lnTo>
                  <a:lnTo>
                    <a:pt x="374" y="310"/>
                  </a:lnTo>
                  <a:lnTo>
                    <a:pt x="372" y="312"/>
                  </a:lnTo>
                  <a:lnTo>
                    <a:pt x="371" y="312"/>
                  </a:lnTo>
                  <a:lnTo>
                    <a:pt x="370" y="313"/>
                  </a:lnTo>
                  <a:lnTo>
                    <a:pt x="369" y="314"/>
                  </a:lnTo>
                  <a:lnTo>
                    <a:pt x="368" y="315"/>
                  </a:lnTo>
                  <a:lnTo>
                    <a:pt x="368" y="316"/>
                  </a:lnTo>
                  <a:lnTo>
                    <a:pt x="368" y="316"/>
                  </a:lnTo>
                  <a:lnTo>
                    <a:pt x="367" y="317"/>
                  </a:lnTo>
                  <a:lnTo>
                    <a:pt x="367" y="318"/>
                  </a:lnTo>
                  <a:lnTo>
                    <a:pt x="367" y="318"/>
                  </a:lnTo>
                  <a:lnTo>
                    <a:pt x="367" y="321"/>
                  </a:lnTo>
                  <a:lnTo>
                    <a:pt x="367" y="321"/>
                  </a:lnTo>
                  <a:lnTo>
                    <a:pt x="367" y="322"/>
                  </a:lnTo>
                  <a:lnTo>
                    <a:pt x="366" y="323"/>
                  </a:lnTo>
                  <a:lnTo>
                    <a:pt x="366" y="323"/>
                  </a:lnTo>
                  <a:lnTo>
                    <a:pt x="366" y="324"/>
                  </a:lnTo>
                  <a:lnTo>
                    <a:pt x="365" y="325"/>
                  </a:lnTo>
                  <a:lnTo>
                    <a:pt x="364" y="326"/>
                  </a:lnTo>
                  <a:lnTo>
                    <a:pt x="362" y="327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60" y="329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1"/>
                  </a:lnTo>
                  <a:lnTo>
                    <a:pt x="360" y="331"/>
                  </a:lnTo>
                  <a:lnTo>
                    <a:pt x="360" y="332"/>
                  </a:lnTo>
                  <a:lnTo>
                    <a:pt x="361" y="335"/>
                  </a:lnTo>
                  <a:lnTo>
                    <a:pt x="361" y="335"/>
                  </a:lnTo>
                  <a:lnTo>
                    <a:pt x="361" y="336"/>
                  </a:lnTo>
                  <a:lnTo>
                    <a:pt x="361" y="336"/>
                  </a:lnTo>
                  <a:lnTo>
                    <a:pt x="361" y="337"/>
                  </a:lnTo>
                  <a:lnTo>
                    <a:pt x="360" y="337"/>
                  </a:lnTo>
                  <a:lnTo>
                    <a:pt x="360" y="337"/>
                  </a:lnTo>
                  <a:lnTo>
                    <a:pt x="359" y="337"/>
                  </a:lnTo>
                  <a:lnTo>
                    <a:pt x="359" y="338"/>
                  </a:lnTo>
                  <a:lnTo>
                    <a:pt x="358" y="338"/>
                  </a:lnTo>
                  <a:lnTo>
                    <a:pt x="357" y="338"/>
                  </a:lnTo>
                  <a:lnTo>
                    <a:pt x="356" y="338"/>
                  </a:lnTo>
                  <a:lnTo>
                    <a:pt x="355" y="337"/>
                  </a:lnTo>
                  <a:lnTo>
                    <a:pt x="353" y="337"/>
                  </a:lnTo>
                  <a:lnTo>
                    <a:pt x="352" y="336"/>
                  </a:lnTo>
                  <a:lnTo>
                    <a:pt x="351" y="336"/>
                  </a:lnTo>
                  <a:lnTo>
                    <a:pt x="350" y="336"/>
                  </a:lnTo>
                  <a:lnTo>
                    <a:pt x="349" y="336"/>
                  </a:lnTo>
                  <a:lnTo>
                    <a:pt x="347" y="337"/>
                  </a:lnTo>
                  <a:lnTo>
                    <a:pt x="344" y="337"/>
                  </a:lnTo>
                  <a:lnTo>
                    <a:pt x="343" y="337"/>
                  </a:lnTo>
                  <a:lnTo>
                    <a:pt x="341" y="337"/>
                  </a:lnTo>
                  <a:lnTo>
                    <a:pt x="341" y="337"/>
                  </a:lnTo>
                  <a:lnTo>
                    <a:pt x="340" y="337"/>
                  </a:lnTo>
                  <a:lnTo>
                    <a:pt x="339" y="336"/>
                  </a:lnTo>
                  <a:lnTo>
                    <a:pt x="338" y="336"/>
                  </a:lnTo>
                  <a:lnTo>
                    <a:pt x="338" y="336"/>
                  </a:lnTo>
                  <a:lnTo>
                    <a:pt x="337" y="336"/>
                  </a:lnTo>
                  <a:lnTo>
                    <a:pt x="337" y="336"/>
                  </a:lnTo>
                  <a:lnTo>
                    <a:pt x="336" y="336"/>
                  </a:lnTo>
                  <a:lnTo>
                    <a:pt x="334" y="337"/>
                  </a:lnTo>
                  <a:lnTo>
                    <a:pt x="333" y="337"/>
                  </a:lnTo>
                  <a:lnTo>
                    <a:pt x="332" y="338"/>
                  </a:lnTo>
                  <a:lnTo>
                    <a:pt x="329" y="338"/>
                  </a:lnTo>
                  <a:lnTo>
                    <a:pt x="327" y="339"/>
                  </a:lnTo>
                  <a:lnTo>
                    <a:pt x="326" y="339"/>
                  </a:lnTo>
                  <a:lnTo>
                    <a:pt x="325" y="339"/>
                  </a:lnTo>
                  <a:lnTo>
                    <a:pt x="324" y="339"/>
                  </a:lnTo>
                  <a:lnTo>
                    <a:pt x="324" y="339"/>
                  </a:lnTo>
                  <a:lnTo>
                    <a:pt x="323" y="338"/>
                  </a:lnTo>
                  <a:lnTo>
                    <a:pt x="322" y="338"/>
                  </a:lnTo>
                  <a:lnTo>
                    <a:pt x="321" y="337"/>
                  </a:lnTo>
                  <a:lnTo>
                    <a:pt x="320" y="337"/>
                  </a:lnTo>
                  <a:lnTo>
                    <a:pt x="316" y="334"/>
                  </a:lnTo>
                  <a:lnTo>
                    <a:pt x="315" y="333"/>
                  </a:lnTo>
                  <a:lnTo>
                    <a:pt x="314" y="332"/>
                  </a:lnTo>
                  <a:lnTo>
                    <a:pt x="313" y="331"/>
                  </a:lnTo>
                  <a:lnTo>
                    <a:pt x="311" y="331"/>
                  </a:lnTo>
                  <a:lnTo>
                    <a:pt x="309" y="330"/>
                  </a:lnTo>
                  <a:lnTo>
                    <a:pt x="306" y="329"/>
                  </a:lnTo>
                  <a:lnTo>
                    <a:pt x="305" y="328"/>
                  </a:lnTo>
                  <a:lnTo>
                    <a:pt x="305" y="328"/>
                  </a:lnTo>
                  <a:lnTo>
                    <a:pt x="303" y="327"/>
                  </a:lnTo>
                  <a:lnTo>
                    <a:pt x="302" y="326"/>
                  </a:lnTo>
                  <a:lnTo>
                    <a:pt x="300" y="324"/>
                  </a:lnTo>
                  <a:lnTo>
                    <a:pt x="299" y="323"/>
                  </a:lnTo>
                  <a:lnTo>
                    <a:pt x="298" y="323"/>
                  </a:lnTo>
                  <a:lnTo>
                    <a:pt x="297" y="322"/>
                  </a:lnTo>
                  <a:lnTo>
                    <a:pt x="296" y="322"/>
                  </a:lnTo>
                  <a:lnTo>
                    <a:pt x="293" y="320"/>
                  </a:lnTo>
                  <a:lnTo>
                    <a:pt x="291" y="320"/>
                  </a:lnTo>
                  <a:lnTo>
                    <a:pt x="290" y="319"/>
                  </a:lnTo>
                  <a:lnTo>
                    <a:pt x="289" y="318"/>
                  </a:lnTo>
                  <a:lnTo>
                    <a:pt x="288" y="317"/>
                  </a:lnTo>
                  <a:lnTo>
                    <a:pt x="287" y="316"/>
                  </a:lnTo>
                  <a:lnTo>
                    <a:pt x="286" y="315"/>
                  </a:lnTo>
                  <a:lnTo>
                    <a:pt x="284" y="312"/>
                  </a:lnTo>
                  <a:lnTo>
                    <a:pt x="282" y="311"/>
                  </a:lnTo>
                  <a:lnTo>
                    <a:pt x="281" y="310"/>
                  </a:lnTo>
                  <a:lnTo>
                    <a:pt x="281" y="310"/>
                  </a:lnTo>
                  <a:lnTo>
                    <a:pt x="281" y="310"/>
                  </a:lnTo>
                  <a:lnTo>
                    <a:pt x="279" y="309"/>
                  </a:lnTo>
                  <a:lnTo>
                    <a:pt x="278" y="308"/>
                  </a:lnTo>
                  <a:lnTo>
                    <a:pt x="277" y="308"/>
                  </a:lnTo>
                  <a:lnTo>
                    <a:pt x="274" y="307"/>
                  </a:lnTo>
                  <a:lnTo>
                    <a:pt x="272" y="307"/>
                  </a:lnTo>
                  <a:lnTo>
                    <a:pt x="271" y="306"/>
                  </a:lnTo>
                  <a:lnTo>
                    <a:pt x="270" y="306"/>
                  </a:lnTo>
                  <a:lnTo>
                    <a:pt x="270" y="305"/>
                  </a:lnTo>
                  <a:lnTo>
                    <a:pt x="269" y="305"/>
                  </a:lnTo>
                  <a:lnTo>
                    <a:pt x="269" y="304"/>
                  </a:lnTo>
                  <a:lnTo>
                    <a:pt x="268" y="303"/>
                  </a:lnTo>
                  <a:lnTo>
                    <a:pt x="268" y="302"/>
                  </a:lnTo>
                  <a:lnTo>
                    <a:pt x="267" y="301"/>
                  </a:lnTo>
                  <a:lnTo>
                    <a:pt x="266" y="297"/>
                  </a:lnTo>
                  <a:lnTo>
                    <a:pt x="266" y="296"/>
                  </a:lnTo>
                  <a:lnTo>
                    <a:pt x="265" y="295"/>
                  </a:lnTo>
                  <a:lnTo>
                    <a:pt x="265" y="294"/>
                  </a:lnTo>
                  <a:lnTo>
                    <a:pt x="264" y="294"/>
                  </a:lnTo>
                  <a:lnTo>
                    <a:pt x="264" y="293"/>
                  </a:lnTo>
                  <a:lnTo>
                    <a:pt x="263" y="293"/>
                  </a:lnTo>
                  <a:lnTo>
                    <a:pt x="261" y="290"/>
                  </a:lnTo>
                  <a:lnTo>
                    <a:pt x="261" y="289"/>
                  </a:lnTo>
                  <a:lnTo>
                    <a:pt x="260" y="289"/>
                  </a:lnTo>
                  <a:lnTo>
                    <a:pt x="259" y="288"/>
                  </a:lnTo>
                  <a:lnTo>
                    <a:pt x="258" y="288"/>
                  </a:lnTo>
                  <a:lnTo>
                    <a:pt x="257" y="287"/>
                  </a:lnTo>
                  <a:lnTo>
                    <a:pt x="255" y="287"/>
                  </a:lnTo>
                  <a:lnTo>
                    <a:pt x="252" y="286"/>
                  </a:lnTo>
                  <a:lnTo>
                    <a:pt x="248" y="285"/>
                  </a:lnTo>
                  <a:lnTo>
                    <a:pt x="246" y="284"/>
                  </a:lnTo>
                  <a:lnTo>
                    <a:pt x="243" y="284"/>
                  </a:lnTo>
                  <a:lnTo>
                    <a:pt x="242" y="283"/>
                  </a:lnTo>
                  <a:lnTo>
                    <a:pt x="241" y="283"/>
                  </a:lnTo>
                  <a:lnTo>
                    <a:pt x="240" y="283"/>
                  </a:lnTo>
                  <a:lnTo>
                    <a:pt x="239" y="283"/>
                  </a:lnTo>
                  <a:lnTo>
                    <a:pt x="238" y="284"/>
                  </a:lnTo>
                  <a:lnTo>
                    <a:pt x="236" y="285"/>
                  </a:lnTo>
                  <a:lnTo>
                    <a:pt x="234" y="285"/>
                  </a:lnTo>
                  <a:lnTo>
                    <a:pt x="233" y="286"/>
                  </a:lnTo>
                  <a:lnTo>
                    <a:pt x="232" y="287"/>
                  </a:lnTo>
                  <a:lnTo>
                    <a:pt x="232" y="287"/>
                  </a:lnTo>
                  <a:lnTo>
                    <a:pt x="229" y="290"/>
                  </a:lnTo>
                  <a:lnTo>
                    <a:pt x="228" y="290"/>
                  </a:lnTo>
                  <a:lnTo>
                    <a:pt x="228" y="291"/>
                  </a:lnTo>
                  <a:lnTo>
                    <a:pt x="227" y="291"/>
                  </a:lnTo>
                  <a:lnTo>
                    <a:pt x="226" y="292"/>
                  </a:lnTo>
                  <a:lnTo>
                    <a:pt x="223" y="293"/>
                  </a:lnTo>
                  <a:lnTo>
                    <a:pt x="222" y="294"/>
                  </a:lnTo>
                  <a:lnTo>
                    <a:pt x="221" y="294"/>
                  </a:lnTo>
                  <a:lnTo>
                    <a:pt x="218" y="296"/>
                  </a:lnTo>
                  <a:lnTo>
                    <a:pt x="217" y="297"/>
                  </a:lnTo>
                  <a:lnTo>
                    <a:pt x="216" y="297"/>
                  </a:lnTo>
                  <a:lnTo>
                    <a:pt x="215" y="297"/>
                  </a:lnTo>
                  <a:lnTo>
                    <a:pt x="215" y="297"/>
                  </a:lnTo>
                  <a:lnTo>
                    <a:pt x="214" y="297"/>
                  </a:lnTo>
                  <a:lnTo>
                    <a:pt x="214" y="297"/>
                  </a:lnTo>
                  <a:lnTo>
                    <a:pt x="213" y="297"/>
                  </a:lnTo>
                  <a:lnTo>
                    <a:pt x="212" y="297"/>
                  </a:lnTo>
                  <a:lnTo>
                    <a:pt x="211" y="297"/>
                  </a:lnTo>
                  <a:lnTo>
                    <a:pt x="210" y="297"/>
                  </a:lnTo>
                  <a:lnTo>
                    <a:pt x="210" y="297"/>
                  </a:lnTo>
                  <a:lnTo>
                    <a:pt x="209" y="296"/>
                  </a:lnTo>
                  <a:lnTo>
                    <a:pt x="209" y="296"/>
                  </a:lnTo>
                  <a:lnTo>
                    <a:pt x="208" y="295"/>
                  </a:lnTo>
                  <a:lnTo>
                    <a:pt x="207" y="295"/>
                  </a:lnTo>
                  <a:lnTo>
                    <a:pt x="207" y="294"/>
                  </a:lnTo>
                  <a:lnTo>
                    <a:pt x="206" y="293"/>
                  </a:lnTo>
                  <a:lnTo>
                    <a:pt x="206" y="292"/>
                  </a:lnTo>
                  <a:lnTo>
                    <a:pt x="205" y="289"/>
                  </a:lnTo>
                  <a:lnTo>
                    <a:pt x="204" y="287"/>
                  </a:lnTo>
                  <a:lnTo>
                    <a:pt x="204" y="286"/>
                  </a:lnTo>
                  <a:lnTo>
                    <a:pt x="203" y="284"/>
                  </a:lnTo>
                  <a:lnTo>
                    <a:pt x="202" y="283"/>
                  </a:lnTo>
                  <a:lnTo>
                    <a:pt x="201" y="283"/>
                  </a:lnTo>
                  <a:lnTo>
                    <a:pt x="201" y="282"/>
                  </a:lnTo>
                  <a:lnTo>
                    <a:pt x="200" y="282"/>
                  </a:lnTo>
                  <a:lnTo>
                    <a:pt x="200" y="281"/>
                  </a:lnTo>
                  <a:lnTo>
                    <a:pt x="199" y="280"/>
                  </a:lnTo>
                  <a:lnTo>
                    <a:pt x="199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6" y="281"/>
                  </a:lnTo>
                  <a:lnTo>
                    <a:pt x="194" y="282"/>
                  </a:lnTo>
                  <a:lnTo>
                    <a:pt x="193" y="283"/>
                  </a:lnTo>
                  <a:lnTo>
                    <a:pt x="192" y="284"/>
                  </a:lnTo>
                  <a:lnTo>
                    <a:pt x="191" y="285"/>
                  </a:lnTo>
                  <a:lnTo>
                    <a:pt x="190" y="286"/>
                  </a:lnTo>
                  <a:lnTo>
                    <a:pt x="189" y="286"/>
                  </a:lnTo>
                  <a:lnTo>
                    <a:pt x="189" y="287"/>
                  </a:lnTo>
                  <a:lnTo>
                    <a:pt x="188" y="288"/>
                  </a:lnTo>
                  <a:lnTo>
                    <a:pt x="188" y="288"/>
                  </a:lnTo>
                  <a:lnTo>
                    <a:pt x="187" y="289"/>
                  </a:lnTo>
                  <a:lnTo>
                    <a:pt x="186" y="292"/>
                  </a:lnTo>
                  <a:lnTo>
                    <a:pt x="186" y="293"/>
                  </a:lnTo>
                  <a:lnTo>
                    <a:pt x="185" y="293"/>
                  </a:lnTo>
                  <a:lnTo>
                    <a:pt x="185" y="294"/>
                  </a:lnTo>
                  <a:lnTo>
                    <a:pt x="184" y="295"/>
                  </a:lnTo>
                  <a:lnTo>
                    <a:pt x="184" y="295"/>
                  </a:lnTo>
                  <a:lnTo>
                    <a:pt x="183" y="296"/>
                  </a:lnTo>
                  <a:lnTo>
                    <a:pt x="182" y="297"/>
                  </a:lnTo>
                  <a:lnTo>
                    <a:pt x="181" y="297"/>
                  </a:lnTo>
                  <a:lnTo>
                    <a:pt x="180" y="297"/>
                  </a:lnTo>
                  <a:lnTo>
                    <a:pt x="178" y="298"/>
                  </a:lnTo>
                  <a:lnTo>
                    <a:pt x="176" y="298"/>
                  </a:lnTo>
                  <a:lnTo>
                    <a:pt x="175" y="299"/>
                  </a:lnTo>
                  <a:lnTo>
                    <a:pt x="172" y="300"/>
                  </a:lnTo>
                  <a:lnTo>
                    <a:pt x="171" y="301"/>
                  </a:lnTo>
                  <a:lnTo>
                    <a:pt x="170" y="301"/>
                  </a:lnTo>
                  <a:lnTo>
                    <a:pt x="170" y="301"/>
                  </a:lnTo>
                  <a:lnTo>
                    <a:pt x="168" y="301"/>
                  </a:lnTo>
                  <a:lnTo>
                    <a:pt x="167" y="301"/>
                  </a:lnTo>
                  <a:lnTo>
                    <a:pt x="167" y="301"/>
                  </a:lnTo>
                  <a:lnTo>
                    <a:pt x="165" y="300"/>
                  </a:lnTo>
                  <a:lnTo>
                    <a:pt x="163" y="299"/>
                  </a:lnTo>
                  <a:lnTo>
                    <a:pt x="161" y="299"/>
                  </a:lnTo>
                  <a:lnTo>
                    <a:pt x="161" y="298"/>
                  </a:lnTo>
                  <a:lnTo>
                    <a:pt x="160" y="298"/>
                  </a:lnTo>
                  <a:lnTo>
                    <a:pt x="159" y="298"/>
                  </a:lnTo>
                  <a:lnTo>
                    <a:pt x="158" y="298"/>
                  </a:lnTo>
                  <a:lnTo>
                    <a:pt x="156" y="298"/>
                  </a:lnTo>
                  <a:lnTo>
                    <a:pt x="155" y="298"/>
                  </a:lnTo>
                  <a:lnTo>
                    <a:pt x="153" y="298"/>
                  </a:lnTo>
                  <a:lnTo>
                    <a:pt x="152" y="298"/>
                  </a:lnTo>
                  <a:lnTo>
                    <a:pt x="151" y="298"/>
                  </a:lnTo>
                  <a:lnTo>
                    <a:pt x="148" y="298"/>
                  </a:lnTo>
                  <a:lnTo>
                    <a:pt x="147" y="298"/>
                  </a:lnTo>
                  <a:lnTo>
                    <a:pt x="146" y="298"/>
                  </a:lnTo>
                  <a:lnTo>
                    <a:pt x="144" y="298"/>
                  </a:lnTo>
                  <a:lnTo>
                    <a:pt x="144" y="298"/>
                  </a:lnTo>
                  <a:lnTo>
                    <a:pt x="143" y="298"/>
                  </a:lnTo>
                  <a:lnTo>
                    <a:pt x="142" y="297"/>
                  </a:lnTo>
                  <a:lnTo>
                    <a:pt x="141" y="297"/>
                  </a:lnTo>
                  <a:lnTo>
                    <a:pt x="140" y="297"/>
                  </a:lnTo>
                  <a:lnTo>
                    <a:pt x="139" y="295"/>
                  </a:lnTo>
                  <a:lnTo>
                    <a:pt x="138" y="295"/>
                  </a:lnTo>
                  <a:lnTo>
                    <a:pt x="138" y="295"/>
                  </a:lnTo>
                  <a:lnTo>
                    <a:pt x="137" y="294"/>
                  </a:lnTo>
                  <a:lnTo>
                    <a:pt x="137" y="294"/>
                  </a:lnTo>
                  <a:lnTo>
                    <a:pt x="136" y="294"/>
                  </a:lnTo>
                  <a:lnTo>
                    <a:pt x="136" y="294"/>
                  </a:lnTo>
                  <a:lnTo>
                    <a:pt x="136" y="294"/>
                  </a:lnTo>
                  <a:lnTo>
                    <a:pt x="135" y="294"/>
                  </a:lnTo>
                  <a:lnTo>
                    <a:pt x="132" y="296"/>
                  </a:lnTo>
                  <a:lnTo>
                    <a:pt x="131" y="297"/>
                  </a:lnTo>
                  <a:lnTo>
                    <a:pt x="130" y="297"/>
                  </a:lnTo>
                  <a:lnTo>
                    <a:pt x="128" y="297"/>
                  </a:lnTo>
                  <a:lnTo>
                    <a:pt x="127" y="297"/>
                  </a:lnTo>
                  <a:lnTo>
                    <a:pt x="126" y="298"/>
                  </a:lnTo>
                  <a:lnTo>
                    <a:pt x="125" y="298"/>
                  </a:lnTo>
                  <a:lnTo>
                    <a:pt x="125" y="299"/>
                  </a:lnTo>
                  <a:lnTo>
                    <a:pt x="124" y="299"/>
                  </a:lnTo>
                  <a:lnTo>
                    <a:pt x="123" y="300"/>
                  </a:lnTo>
                  <a:lnTo>
                    <a:pt x="123" y="301"/>
                  </a:lnTo>
                  <a:lnTo>
                    <a:pt x="122" y="301"/>
                  </a:lnTo>
                  <a:lnTo>
                    <a:pt x="122" y="302"/>
                  </a:lnTo>
                  <a:lnTo>
                    <a:pt x="121" y="304"/>
                  </a:lnTo>
                  <a:lnTo>
                    <a:pt x="121" y="304"/>
                  </a:lnTo>
                  <a:lnTo>
                    <a:pt x="120" y="305"/>
                  </a:lnTo>
                  <a:lnTo>
                    <a:pt x="120" y="306"/>
                  </a:lnTo>
                  <a:lnTo>
                    <a:pt x="118" y="307"/>
                  </a:lnTo>
                  <a:lnTo>
                    <a:pt x="117" y="308"/>
                  </a:lnTo>
                  <a:lnTo>
                    <a:pt x="116" y="308"/>
                  </a:lnTo>
                  <a:lnTo>
                    <a:pt x="115" y="309"/>
                  </a:lnTo>
                  <a:lnTo>
                    <a:pt x="114" y="309"/>
                  </a:lnTo>
                  <a:lnTo>
                    <a:pt x="112" y="311"/>
                  </a:lnTo>
                  <a:lnTo>
                    <a:pt x="111" y="311"/>
                  </a:lnTo>
                  <a:lnTo>
                    <a:pt x="110" y="312"/>
                  </a:lnTo>
                  <a:lnTo>
                    <a:pt x="109" y="312"/>
                  </a:lnTo>
                  <a:lnTo>
                    <a:pt x="108" y="313"/>
                  </a:lnTo>
                  <a:lnTo>
                    <a:pt x="107" y="313"/>
                  </a:lnTo>
                  <a:lnTo>
                    <a:pt x="106" y="313"/>
                  </a:lnTo>
                  <a:lnTo>
                    <a:pt x="105" y="313"/>
                  </a:lnTo>
                  <a:lnTo>
                    <a:pt x="104" y="314"/>
                  </a:lnTo>
                  <a:lnTo>
                    <a:pt x="103" y="314"/>
                  </a:lnTo>
                  <a:lnTo>
                    <a:pt x="102" y="314"/>
                  </a:lnTo>
                  <a:lnTo>
                    <a:pt x="102" y="314"/>
                  </a:lnTo>
                  <a:lnTo>
                    <a:pt x="101" y="313"/>
                  </a:lnTo>
                  <a:lnTo>
                    <a:pt x="100" y="313"/>
                  </a:lnTo>
                  <a:lnTo>
                    <a:pt x="99" y="313"/>
                  </a:lnTo>
                  <a:lnTo>
                    <a:pt x="98" y="312"/>
                  </a:lnTo>
                  <a:lnTo>
                    <a:pt x="98" y="312"/>
                  </a:lnTo>
                  <a:lnTo>
                    <a:pt x="97" y="312"/>
                  </a:lnTo>
                  <a:lnTo>
                    <a:pt x="97" y="311"/>
                  </a:lnTo>
                  <a:lnTo>
                    <a:pt x="97" y="311"/>
                  </a:lnTo>
                  <a:lnTo>
                    <a:pt x="97" y="311"/>
                  </a:lnTo>
                  <a:lnTo>
                    <a:pt x="97" y="310"/>
                  </a:lnTo>
                  <a:lnTo>
                    <a:pt x="97" y="309"/>
                  </a:lnTo>
                  <a:lnTo>
                    <a:pt x="97" y="307"/>
                  </a:lnTo>
                  <a:lnTo>
                    <a:pt x="97" y="307"/>
                  </a:lnTo>
                  <a:lnTo>
                    <a:pt x="97" y="306"/>
                  </a:lnTo>
                  <a:lnTo>
                    <a:pt x="97" y="305"/>
                  </a:lnTo>
                  <a:lnTo>
                    <a:pt x="97" y="305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6" y="303"/>
                  </a:lnTo>
                  <a:lnTo>
                    <a:pt x="96" y="303"/>
                  </a:lnTo>
                  <a:lnTo>
                    <a:pt x="96" y="302"/>
                  </a:lnTo>
                  <a:lnTo>
                    <a:pt x="94" y="302"/>
                  </a:lnTo>
                  <a:lnTo>
                    <a:pt x="93" y="301"/>
                  </a:lnTo>
                  <a:lnTo>
                    <a:pt x="91" y="299"/>
                  </a:lnTo>
                  <a:lnTo>
                    <a:pt x="90" y="299"/>
                  </a:lnTo>
                  <a:lnTo>
                    <a:pt x="89" y="298"/>
                  </a:lnTo>
                  <a:lnTo>
                    <a:pt x="88" y="298"/>
                  </a:lnTo>
                  <a:lnTo>
                    <a:pt x="87" y="298"/>
                  </a:lnTo>
                  <a:lnTo>
                    <a:pt x="85" y="297"/>
                  </a:lnTo>
                  <a:lnTo>
                    <a:pt x="84" y="297"/>
                  </a:lnTo>
                  <a:lnTo>
                    <a:pt x="83" y="297"/>
                  </a:lnTo>
                  <a:lnTo>
                    <a:pt x="79" y="296"/>
                  </a:lnTo>
                  <a:lnTo>
                    <a:pt x="76" y="295"/>
                  </a:lnTo>
                  <a:lnTo>
                    <a:pt x="75" y="294"/>
                  </a:lnTo>
                  <a:lnTo>
                    <a:pt x="74" y="294"/>
                  </a:lnTo>
                  <a:lnTo>
                    <a:pt x="74" y="294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5" y="290"/>
                  </a:lnTo>
                  <a:lnTo>
                    <a:pt x="75" y="290"/>
                  </a:lnTo>
                  <a:lnTo>
                    <a:pt x="75" y="289"/>
                  </a:lnTo>
                  <a:lnTo>
                    <a:pt x="75" y="288"/>
                  </a:lnTo>
                  <a:lnTo>
                    <a:pt x="74" y="287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5" y="285"/>
                  </a:lnTo>
                  <a:lnTo>
                    <a:pt x="75" y="284"/>
                  </a:lnTo>
                  <a:lnTo>
                    <a:pt x="76" y="283"/>
                  </a:lnTo>
                  <a:lnTo>
                    <a:pt x="77" y="282"/>
                  </a:lnTo>
                  <a:lnTo>
                    <a:pt x="78" y="280"/>
                  </a:lnTo>
                  <a:lnTo>
                    <a:pt x="79" y="279"/>
                  </a:lnTo>
                  <a:lnTo>
                    <a:pt x="80" y="278"/>
                  </a:lnTo>
                  <a:lnTo>
                    <a:pt x="81" y="276"/>
                  </a:lnTo>
                  <a:lnTo>
                    <a:pt x="82" y="275"/>
                  </a:lnTo>
                  <a:lnTo>
                    <a:pt x="82" y="274"/>
                  </a:lnTo>
                  <a:lnTo>
                    <a:pt x="83" y="272"/>
                  </a:lnTo>
                  <a:lnTo>
                    <a:pt x="83" y="271"/>
                  </a:lnTo>
                  <a:lnTo>
                    <a:pt x="84" y="270"/>
                  </a:lnTo>
                  <a:lnTo>
                    <a:pt x="84" y="269"/>
                  </a:lnTo>
                  <a:lnTo>
                    <a:pt x="84" y="268"/>
                  </a:lnTo>
                  <a:lnTo>
                    <a:pt x="84" y="268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3" y="265"/>
                  </a:lnTo>
                  <a:lnTo>
                    <a:pt x="83" y="264"/>
                  </a:lnTo>
                  <a:lnTo>
                    <a:pt x="82" y="262"/>
                  </a:lnTo>
                  <a:lnTo>
                    <a:pt x="82" y="261"/>
                  </a:lnTo>
                  <a:lnTo>
                    <a:pt x="80" y="259"/>
                  </a:lnTo>
                  <a:lnTo>
                    <a:pt x="79" y="258"/>
                  </a:lnTo>
                  <a:lnTo>
                    <a:pt x="78" y="256"/>
                  </a:lnTo>
                  <a:lnTo>
                    <a:pt x="78" y="255"/>
                  </a:lnTo>
                  <a:lnTo>
                    <a:pt x="78" y="255"/>
                  </a:lnTo>
                  <a:lnTo>
                    <a:pt x="78" y="254"/>
                  </a:lnTo>
                  <a:lnTo>
                    <a:pt x="78" y="252"/>
                  </a:lnTo>
                  <a:lnTo>
                    <a:pt x="78" y="250"/>
                  </a:lnTo>
                  <a:lnTo>
                    <a:pt x="78" y="249"/>
                  </a:lnTo>
                  <a:lnTo>
                    <a:pt x="78" y="248"/>
                  </a:lnTo>
                  <a:lnTo>
                    <a:pt x="78" y="247"/>
                  </a:lnTo>
                  <a:lnTo>
                    <a:pt x="78" y="244"/>
                  </a:lnTo>
                  <a:lnTo>
                    <a:pt x="79" y="243"/>
                  </a:lnTo>
                  <a:lnTo>
                    <a:pt x="79" y="241"/>
                  </a:lnTo>
                  <a:lnTo>
                    <a:pt x="78" y="238"/>
                  </a:lnTo>
                  <a:lnTo>
                    <a:pt x="78" y="236"/>
                  </a:lnTo>
                  <a:lnTo>
                    <a:pt x="78" y="234"/>
                  </a:lnTo>
                  <a:lnTo>
                    <a:pt x="78" y="234"/>
                  </a:lnTo>
                  <a:lnTo>
                    <a:pt x="78" y="232"/>
                  </a:lnTo>
                  <a:lnTo>
                    <a:pt x="77" y="231"/>
                  </a:lnTo>
                  <a:lnTo>
                    <a:pt x="77" y="231"/>
                  </a:lnTo>
                  <a:lnTo>
                    <a:pt x="77" y="230"/>
                  </a:lnTo>
                  <a:lnTo>
                    <a:pt x="76" y="229"/>
                  </a:lnTo>
                  <a:lnTo>
                    <a:pt x="75" y="229"/>
                  </a:lnTo>
                  <a:lnTo>
                    <a:pt x="75" y="228"/>
                  </a:lnTo>
                  <a:lnTo>
                    <a:pt x="73" y="227"/>
                  </a:lnTo>
                  <a:lnTo>
                    <a:pt x="72" y="226"/>
                  </a:lnTo>
                  <a:lnTo>
                    <a:pt x="72" y="225"/>
                  </a:lnTo>
                  <a:lnTo>
                    <a:pt x="71" y="225"/>
                  </a:lnTo>
                  <a:lnTo>
                    <a:pt x="70" y="225"/>
                  </a:lnTo>
                  <a:lnTo>
                    <a:pt x="70" y="225"/>
                  </a:lnTo>
                  <a:lnTo>
                    <a:pt x="69" y="225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66" y="226"/>
                  </a:lnTo>
                  <a:lnTo>
                    <a:pt x="65" y="226"/>
                  </a:lnTo>
                  <a:lnTo>
                    <a:pt x="63" y="227"/>
                  </a:lnTo>
                  <a:lnTo>
                    <a:pt x="59" y="228"/>
                  </a:lnTo>
                  <a:lnTo>
                    <a:pt x="58" y="229"/>
                  </a:lnTo>
                  <a:lnTo>
                    <a:pt x="57" y="229"/>
                  </a:lnTo>
                  <a:lnTo>
                    <a:pt x="56" y="229"/>
                  </a:lnTo>
                  <a:lnTo>
                    <a:pt x="55" y="229"/>
                  </a:lnTo>
                  <a:lnTo>
                    <a:pt x="52" y="228"/>
                  </a:lnTo>
                  <a:lnTo>
                    <a:pt x="49" y="228"/>
                  </a:lnTo>
                  <a:lnTo>
                    <a:pt x="45" y="227"/>
                  </a:lnTo>
                  <a:lnTo>
                    <a:pt x="44" y="227"/>
                  </a:lnTo>
                  <a:lnTo>
                    <a:pt x="43" y="227"/>
                  </a:lnTo>
                  <a:lnTo>
                    <a:pt x="39" y="228"/>
                  </a:lnTo>
                  <a:lnTo>
                    <a:pt x="38" y="228"/>
                  </a:lnTo>
                  <a:lnTo>
                    <a:pt x="37" y="228"/>
                  </a:lnTo>
                  <a:lnTo>
                    <a:pt x="36" y="228"/>
                  </a:lnTo>
                  <a:lnTo>
                    <a:pt x="36" y="228"/>
                  </a:lnTo>
                  <a:lnTo>
                    <a:pt x="35" y="227"/>
                  </a:lnTo>
                  <a:lnTo>
                    <a:pt x="34" y="227"/>
                  </a:lnTo>
                  <a:lnTo>
                    <a:pt x="33" y="227"/>
                  </a:lnTo>
                  <a:lnTo>
                    <a:pt x="33" y="226"/>
                  </a:lnTo>
                  <a:lnTo>
                    <a:pt x="32" y="226"/>
                  </a:lnTo>
                  <a:lnTo>
                    <a:pt x="31" y="225"/>
                  </a:lnTo>
                  <a:lnTo>
                    <a:pt x="31" y="225"/>
                  </a:lnTo>
                  <a:lnTo>
                    <a:pt x="30" y="224"/>
                  </a:lnTo>
                  <a:lnTo>
                    <a:pt x="30" y="224"/>
                  </a:lnTo>
                  <a:lnTo>
                    <a:pt x="30" y="223"/>
                  </a:lnTo>
                  <a:lnTo>
                    <a:pt x="29" y="222"/>
                  </a:lnTo>
                  <a:lnTo>
                    <a:pt x="29" y="221"/>
                  </a:lnTo>
                  <a:lnTo>
                    <a:pt x="29" y="220"/>
                  </a:lnTo>
                  <a:lnTo>
                    <a:pt x="29" y="220"/>
                  </a:lnTo>
                  <a:lnTo>
                    <a:pt x="29" y="218"/>
                  </a:lnTo>
                  <a:lnTo>
                    <a:pt x="29" y="216"/>
                  </a:lnTo>
                  <a:lnTo>
                    <a:pt x="29" y="215"/>
                  </a:lnTo>
                  <a:lnTo>
                    <a:pt x="28" y="215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27" y="213"/>
                  </a:lnTo>
                  <a:lnTo>
                    <a:pt x="25" y="211"/>
                  </a:lnTo>
                  <a:lnTo>
                    <a:pt x="24" y="210"/>
                  </a:lnTo>
                  <a:lnTo>
                    <a:pt x="23" y="209"/>
                  </a:lnTo>
                  <a:lnTo>
                    <a:pt x="22" y="208"/>
                  </a:lnTo>
                  <a:lnTo>
                    <a:pt x="22" y="208"/>
                  </a:lnTo>
                  <a:lnTo>
                    <a:pt x="21" y="206"/>
                  </a:lnTo>
                  <a:lnTo>
                    <a:pt x="20" y="206"/>
                  </a:lnTo>
                  <a:lnTo>
                    <a:pt x="20" y="205"/>
                  </a:lnTo>
                  <a:lnTo>
                    <a:pt x="19" y="205"/>
                  </a:lnTo>
                  <a:lnTo>
                    <a:pt x="18" y="204"/>
                  </a:lnTo>
                  <a:lnTo>
                    <a:pt x="16" y="204"/>
                  </a:lnTo>
                  <a:lnTo>
                    <a:pt x="16" y="204"/>
                  </a:lnTo>
                  <a:lnTo>
                    <a:pt x="15" y="203"/>
                  </a:lnTo>
                  <a:lnTo>
                    <a:pt x="12" y="203"/>
                  </a:lnTo>
                  <a:lnTo>
                    <a:pt x="11" y="203"/>
                  </a:lnTo>
                  <a:lnTo>
                    <a:pt x="10" y="203"/>
                  </a:lnTo>
                  <a:lnTo>
                    <a:pt x="10" y="203"/>
                  </a:lnTo>
                  <a:lnTo>
                    <a:pt x="9" y="202"/>
                  </a:lnTo>
                  <a:lnTo>
                    <a:pt x="9" y="202"/>
                  </a:lnTo>
                  <a:lnTo>
                    <a:pt x="8" y="202"/>
                  </a:lnTo>
                  <a:lnTo>
                    <a:pt x="7" y="201"/>
                  </a:lnTo>
                  <a:lnTo>
                    <a:pt x="6" y="201"/>
                  </a:lnTo>
                  <a:lnTo>
                    <a:pt x="6" y="200"/>
                  </a:lnTo>
                  <a:lnTo>
                    <a:pt x="5" y="200"/>
                  </a:lnTo>
                  <a:lnTo>
                    <a:pt x="5" y="199"/>
                  </a:lnTo>
                  <a:lnTo>
                    <a:pt x="4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3" y="195"/>
                  </a:lnTo>
                  <a:lnTo>
                    <a:pt x="3" y="194"/>
                  </a:lnTo>
                  <a:lnTo>
                    <a:pt x="2" y="193"/>
                  </a:lnTo>
                  <a:lnTo>
                    <a:pt x="1" y="191"/>
                  </a:lnTo>
                  <a:lnTo>
                    <a:pt x="1" y="190"/>
                  </a:lnTo>
                  <a:lnTo>
                    <a:pt x="1" y="190"/>
                  </a:lnTo>
                  <a:lnTo>
                    <a:pt x="0" y="189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0" y="187"/>
                  </a:lnTo>
                  <a:lnTo>
                    <a:pt x="1" y="186"/>
                  </a:lnTo>
                  <a:lnTo>
                    <a:pt x="1" y="186"/>
                  </a:lnTo>
                  <a:lnTo>
                    <a:pt x="1" y="185"/>
                  </a:lnTo>
                  <a:lnTo>
                    <a:pt x="2" y="184"/>
                  </a:lnTo>
                  <a:lnTo>
                    <a:pt x="2" y="184"/>
                  </a:lnTo>
                  <a:lnTo>
                    <a:pt x="3" y="184"/>
                  </a:lnTo>
                  <a:lnTo>
                    <a:pt x="5" y="182"/>
                  </a:lnTo>
                  <a:lnTo>
                    <a:pt x="6" y="182"/>
                  </a:lnTo>
                  <a:lnTo>
                    <a:pt x="6" y="181"/>
                  </a:lnTo>
                  <a:lnTo>
                    <a:pt x="7" y="181"/>
                  </a:lnTo>
                  <a:lnTo>
                    <a:pt x="7" y="181"/>
                  </a:lnTo>
                  <a:lnTo>
                    <a:pt x="7" y="180"/>
                  </a:lnTo>
                  <a:lnTo>
                    <a:pt x="8" y="177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2" y="171"/>
                  </a:lnTo>
                  <a:lnTo>
                    <a:pt x="12" y="170"/>
                  </a:lnTo>
                  <a:lnTo>
                    <a:pt x="13" y="169"/>
                  </a:lnTo>
                  <a:lnTo>
                    <a:pt x="13" y="167"/>
                  </a:lnTo>
                  <a:lnTo>
                    <a:pt x="13" y="166"/>
                  </a:lnTo>
                  <a:lnTo>
                    <a:pt x="13" y="165"/>
                  </a:lnTo>
                  <a:lnTo>
                    <a:pt x="12" y="163"/>
                  </a:lnTo>
                  <a:lnTo>
                    <a:pt x="11" y="160"/>
                  </a:lnTo>
                  <a:lnTo>
                    <a:pt x="11" y="159"/>
                  </a:lnTo>
                  <a:lnTo>
                    <a:pt x="10" y="158"/>
                  </a:lnTo>
                  <a:lnTo>
                    <a:pt x="10" y="157"/>
                  </a:lnTo>
                  <a:lnTo>
                    <a:pt x="9" y="156"/>
                  </a:lnTo>
                  <a:lnTo>
                    <a:pt x="8" y="154"/>
                  </a:lnTo>
                  <a:lnTo>
                    <a:pt x="8" y="154"/>
                  </a:lnTo>
                  <a:lnTo>
                    <a:pt x="8" y="153"/>
                  </a:lnTo>
                  <a:lnTo>
                    <a:pt x="7" y="152"/>
                  </a:lnTo>
                  <a:lnTo>
                    <a:pt x="7" y="151"/>
                  </a:lnTo>
                  <a:lnTo>
                    <a:pt x="7" y="150"/>
                  </a:lnTo>
                  <a:lnTo>
                    <a:pt x="7" y="145"/>
                  </a:lnTo>
                  <a:lnTo>
                    <a:pt x="7" y="143"/>
                  </a:lnTo>
                  <a:lnTo>
                    <a:pt x="7" y="142"/>
                  </a:lnTo>
                  <a:lnTo>
                    <a:pt x="7" y="142"/>
                  </a:lnTo>
                  <a:lnTo>
                    <a:pt x="7" y="141"/>
                  </a:lnTo>
                  <a:lnTo>
                    <a:pt x="6" y="139"/>
                  </a:lnTo>
                  <a:lnTo>
                    <a:pt x="5" y="137"/>
                  </a:lnTo>
                  <a:lnTo>
                    <a:pt x="5" y="136"/>
                  </a:lnTo>
                  <a:lnTo>
                    <a:pt x="4" y="134"/>
                  </a:lnTo>
                  <a:lnTo>
                    <a:pt x="3" y="132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4" y="126"/>
                  </a:lnTo>
                  <a:lnTo>
                    <a:pt x="5" y="125"/>
                  </a:lnTo>
                  <a:lnTo>
                    <a:pt x="6" y="124"/>
                  </a:lnTo>
                  <a:lnTo>
                    <a:pt x="8" y="122"/>
                  </a:lnTo>
                  <a:lnTo>
                    <a:pt x="9" y="121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0" y="121"/>
                  </a:lnTo>
                  <a:lnTo>
                    <a:pt x="11" y="122"/>
                  </a:lnTo>
                  <a:lnTo>
                    <a:pt x="13" y="122"/>
                  </a:lnTo>
                  <a:lnTo>
                    <a:pt x="15" y="124"/>
                  </a:lnTo>
                  <a:lnTo>
                    <a:pt x="17" y="125"/>
                  </a:lnTo>
                  <a:lnTo>
                    <a:pt x="21" y="127"/>
                  </a:lnTo>
                  <a:lnTo>
                    <a:pt x="22" y="128"/>
                  </a:lnTo>
                  <a:lnTo>
                    <a:pt x="24" y="128"/>
                  </a:lnTo>
                  <a:lnTo>
                    <a:pt x="25" y="129"/>
                  </a:lnTo>
                  <a:lnTo>
                    <a:pt x="27" y="130"/>
                  </a:lnTo>
                  <a:lnTo>
                    <a:pt x="28" y="130"/>
                  </a:lnTo>
                  <a:lnTo>
                    <a:pt x="30" y="131"/>
                  </a:lnTo>
                  <a:lnTo>
                    <a:pt x="30" y="131"/>
                  </a:lnTo>
                  <a:lnTo>
                    <a:pt x="31" y="131"/>
                  </a:lnTo>
                  <a:lnTo>
                    <a:pt x="32" y="131"/>
                  </a:lnTo>
                  <a:lnTo>
                    <a:pt x="33" y="131"/>
                  </a:lnTo>
                  <a:lnTo>
                    <a:pt x="34" y="131"/>
                  </a:lnTo>
                  <a:lnTo>
                    <a:pt x="34" y="131"/>
                  </a:lnTo>
                  <a:lnTo>
                    <a:pt x="35" y="131"/>
                  </a:lnTo>
                  <a:lnTo>
                    <a:pt x="36" y="130"/>
                  </a:lnTo>
                  <a:lnTo>
                    <a:pt x="36" y="130"/>
                  </a:lnTo>
                  <a:lnTo>
                    <a:pt x="37" y="129"/>
                  </a:lnTo>
                  <a:lnTo>
                    <a:pt x="38" y="128"/>
                  </a:lnTo>
                  <a:lnTo>
                    <a:pt x="40" y="125"/>
                  </a:lnTo>
                  <a:lnTo>
                    <a:pt x="42" y="123"/>
                  </a:lnTo>
                  <a:lnTo>
                    <a:pt x="43" y="122"/>
                  </a:lnTo>
                  <a:lnTo>
                    <a:pt x="44" y="122"/>
                  </a:lnTo>
                  <a:lnTo>
                    <a:pt x="44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6" y="120"/>
                  </a:lnTo>
                  <a:lnTo>
                    <a:pt x="46" y="120"/>
                  </a:lnTo>
                  <a:lnTo>
                    <a:pt x="47" y="120"/>
                  </a:lnTo>
                  <a:lnTo>
                    <a:pt x="48" y="120"/>
                  </a:lnTo>
                  <a:lnTo>
                    <a:pt x="49" y="120"/>
                  </a:lnTo>
                  <a:lnTo>
                    <a:pt x="50" y="120"/>
                  </a:lnTo>
                  <a:lnTo>
                    <a:pt x="51" y="120"/>
                  </a:lnTo>
                  <a:lnTo>
                    <a:pt x="52" y="121"/>
                  </a:lnTo>
                  <a:lnTo>
                    <a:pt x="53" y="121"/>
                  </a:lnTo>
                  <a:lnTo>
                    <a:pt x="54" y="122"/>
                  </a:lnTo>
                  <a:lnTo>
                    <a:pt x="56" y="123"/>
                  </a:lnTo>
                  <a:lnTo>
                    <a:pt x="58" y="123"/>
                  </a:lnTo>
                  <a:lnTo>
                    <a:pt x="59" y="124"/>
                  </a:lnTo>
                  <a:lnTo>
                    <a:pt x="61" y="124"/>
                  </a:lnTo>
                  <a:lnTo>
                    <a:pt x="62" y="124"/>
                  </a:lnTo>
                  <a:lnTo>
                    <a:pt x="63" y="125"/>
                  </a:lnTo>
                  <a:lnTo>
                    <a:pt x="64" y="125"/>
                  </a:lnTo>
                  <a:lnTo>
                    <a:pt x="65" y="125"/>
                  </a:lnTo>
                  <a:lnTo>
                    <a:pt x="66" y="126"/>
                  </a:lnTo>
                  <a:lnTo>
                    <a:pt x="68" y="127"/>
                  </a:lnTo>
                  <a:lnTo>
                    <a:pt x="69" y="128"/>
                  </a:lnTo>
                  <a:lnTo>
                    <a:pt x="71" y="129"/>
                  </a:lnTo>
                  <a:lnTo>
                    <a:pt x="73" y="129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5" y="130"/>
                  </a:lnTo>
                  <a:lnTo>
                    <a:pt x="77" y="129"/>
                  </a:lnTo>
                  <a:lnTo>
                    <a:pt x="78" y="129"/>
                  </a:lnTo>
                  <a:lnTo>
                    <a:pt x="78" y="130"/>
                  </a:lnTo>
                  <a:lnTo>
                    <a:pt x="78" y="130"/>
                  </a:lnTo>
                  <a:lnTo>
                    <a:pt x="79" y="130"/>
                  </a:lnTo>
                  <a:lnTo>
                    <a:pt x="79" y="131"/>
                  </a:lnTo>
                  <a:lnTo>
                    <a:pt x="79" y="131"/>
                  </a:lnTo>
                  <a:lnTo>
                    <a:pt x="80" y="132"/>
                  </a:lnTo>
                  <a:lnTo>
                    <a:pt x="80" y="133"/>
                  </a:lnTo>
                  <a:lnTo>
                    <a:pt x="80" y="134"/>
                  </a:lnTo>
                  <a:lnTo>
                    <a:pt x="81" y="135"/>
                  </a:lnTo>
                  <a:lnTo>
                    <a:pt x="81" y="135"/>
                  </a:lnTo>
                  <a:lnTo>
                    <a:pt x="81" y="136"/>
                  </a:lnTo>
                  <a:lnTo>
                    <a:pt x="82" y="137"/>
                  </a:lnTo>
                  <a:lnTo>
                    <a:pt x="83" y="137"/>
                  </a:lnTo>
                  <a:lnTo>
                    <a:pt x="83" y="137"/>
                  </a:lnTo>
                  <a:lnTo>
                    <a:pt x="83" y="138"/>
                  </a:lnTo>
                  <a:lnTo>
                    <a:pt x="84" y="138"/>
                  </a:lnTo>
                  <a:lnTo>
                    <a:pt x="85" y="138"/>
                  </a:lnTo>
                  <a:lnTo>
                    <a:pt x="85" y="138"/>
                  </a:lnTo>
                  <a:lnTo>
                    <a:pt x="86" y="138"/>
                  </a:lnTo>
                  <a:lnTo>
                    <a:pt x="87" y="138"/>
                  </a:lnTo>
                  <a:lnTo>
                    <a:pt x="88" y="138"/>
                  </a:lnTo>
                  <a:lnTo>
                    <a:pt x="89" y="138"/>
                  </a:lnTo>
                  <a:lnTo>
                    <a:pt x="90" y="138"/>
                  </a:lnTo>
                  <a:lnTo>
                    <a:pt x="91" y="137"/>
                  </a:lnTo>
                  <a:lnTo>
                    <a:pt x="92" y="137"/>
                  </a:lnTo>
                  <a:lnTo>
                    <a:pt x="93" y="136"/>
                  </a:lnTo>
                  <a:lnTo>
                    <a:pt x="93" y="136"/>
                  </a:lnTo>
                  <a:lnTo>
                    <a:pt x="96" y="135"/>
                  </a:lnTo>
                  <a:lnTo>
                    <a:pt x="96" y="134"/>
                  </a:lnTo>
                  <a:lnTo>
                    <a:pt x="96" y="134"/>
                  </a:lnTo>
                  <a:lnTo>
                    <a:pt x="97" y="133"/>
                  </a:lnTo>
                  <a:lnTo>
                    <a:pt x="97" y="132"/>
                  </a:lnTo>
                  <a:lnTo>
                    <a:pt x="98" y="131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98" y="129"/>
                  </a:lnTo>
                  <a:lnTo>
                    <a:pt x="97" y="126"/>
                  </a:lnTo>
                  <a:lnTo>
                    <a:pt x="97" y="125"/>
                  </a:lnTo>
                  <a:lnTo>
                    <a:pt x="97" y="124"/>
                  </a:lnTo>
                  <a:lnTo>
                    <a:pt x="97" y="123"/>
                  </a:lnTo>
                  <a:lnTo>
                    <a:pt x="97" y="122"/>
                  </a:lnTo>
                  <a:lnTo>
                    <a:pt x="97" y="122"/>
                  </a:lnTo>
                  <a:lnTo>
                    <a:pt x="98" y="121"/>
                  </a:lnTo>
                  <a:lnTo>
                    <a:pt x="98" y="120"/>
                  </a:lnTo>
                  <a:lnTo>
                    <a:pt x="99" y="119"/>
                  </a:lnTo>
                  <a:lnTo>
                    <a:pt x="100" y="119"/>
                  </a:lnTo>
                  <a:lnTo>
                    <a:pt x="102" y="117"/>
                  </a:lnTo>
                  <a:lnTo>
                    <a:pt x="104" y="115"/>
                  </a:lnTo>
                  <a:lnTo>
                    <a:pt x="106" y="113"/>
                  </a:lnTo>
                  <a:lnTo>
                    <a:pt x="107" y="113"/>
                  </a:lnTo>
                  <a:lnTo>
                    <a:pt x="107" y="112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10" y="111"/>
                  </a:lnTo>
                  <a:lnTo>
                    <a:pt x="111" y="111"/>
                  </a:lnTo>
                  <a:lnTo>
                    <a:pt x="112" y="112"/>
                  </a:lnTo>
                  <a:lnTo>
                    <a:pt x="112" y="112"/>
                  </a:lnTo>
                  <a:lnTo>
                    <a:pt x="112" y="113"/>
                  </a:lnTo>
                  <a:lnTo>
                    <a:pt x="114" y="115"/>
                  </a:lnTo>
                  <a:lnTo>
                    <a:pt x="115" y="117"/>
                  </a:lnTo>
                  <a:lnTo>
                    <a:pt x="116" y="118"/>
                  </a:lnTo>
                  <a:lnTo>
                    <a:pt x="117" y="118"/>
                  </a:lnTo>
                  <a:lnTo>
                    <a:pt x="118" y="119"/>
                  </a:lnTo>
                  <a:lnTo>
                    <a:pt x="118" y="120"/>
                  </a:lnTo>
                  <a:lnTo>
                    <a:pt x="120" y="120"/>
                  </a:lnTo>
                  <a:lnTo>
                    <a:pt x="121" y="121"/>
                  </a:lnTo>
                  <a:lnTo>
                    <a:pt x="122" y="121"/>
                  </a:lnTo>
                  <a:lnTo>
                    <a:pt x="123" y="122"/>
                  </a:lnTo>
                  <a:lnTo>
                    <a:pt x="124" y="122"/>
                  </a:lnTo>
                  <a:lnTo>
                    <a:pt x="125" y="122"/>
                  </a:lnTo>
                  <a:lnTo>
                    <a:pt x="125" y="122"/>
                  </a:lnTo>
                  <a:lnTo>
                    <a:pt x="126" y="122"/>
                  </a:lnTo>
                  <a:lnTo>
                    <a:pt x="127" y="121"/>
                  </a:lnTo>
                  <a:lnTo>
                    <a:pt x="130" y="121"/>
                  </a:lnTo>
                  <a:lnTo>
                    <a:pt x="131" y="120"/>
                  </a:lnTo>
                  <a:lnTo>
                    <a:pt x="132" y="120"/>
                  </a:lnTo>
                  <a:lnTo>
                    <a:pt x="133" y="120"/>
                  </a:lnTo>
                  <a:lnTo>
                    <a:pt x="134" y="120"/>
                  </a:lnTo>
                  <a:lnTo>
                    <a:pt x="136" y="120"/>
                  </a:lnTo>
                  <a:lnTo>
                    <a:pt x="137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40" y="121"/>
                  </a:lnTo>
                  <a:lnTo>
                    <a:pt x="140" y="121"/>
                  </a:lnTo>
                  <a:lnTo>
                    <a:pt x="142" y="121"/>
                  </a:lnTo>
                  <a:lnTo>
                    <a:pt x="143" y="121"/>
                  </a:lnTo>
                  <a:lnTo>
                    <a:pt x="144" y="121"/>
                  </a:lnTo>
                  <a:lnTo>
                    <a:pt x="146" y="120"/>
                  </a:lnTo>
                  <a:lnTo>
                    <a:pt x="147" y="120"/>
                  </a:lnTo>
                  <a:lnTo>
                    <a:pt x="148" y="119"/>
                  </a:lnTo>
                  <a:lnTo>
                    <a:pt x="149" y="119"/>
                  </a:lnTo>
                  <a:lnTo>
                    <a:pt x="149" y="118"/>
                  </a:lnTo>
                  <a:lnTo>
                    <a:pt x="150" y="118"/>
                  </a:lnTo>
                  <a:lnTo>
                    <a:pt x="150" y="118"/>
                  </a:lnTo>
                  <a:lnTo>
                    <a:pt x="150" y="117"/>
                  </a:lnTo>
                  <a:lnTo>
                    <a:pt x="151" y="117"/>
                  </a:lnTo>
                  <a:lnTo>
                    <a:pt x="151" y="116"/>
                  </a:lnTo>
                  <a:lnTo>
                    <a:pt x="151" y="115"/>
                  </a:lnTo>
                  <a:lnTo>
                    <a:pt x="150" y="114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49" y="112"/>
                  </a:lnTo>
                  <a:lnTo>
                    <a:pt x="149" y="111"/>
                  </a:lnTo>
                  <a:lnTo>
                    <a:pt x="147" y="109"/>
                  </a:lnTo>
                  <a:lnTo>
                    <a:pt x="145" y="105"/>
                  </a:lnTo>
                  <a:lnTo>
                    <a:pt x="143" y="103"/>
                  </a:lnTo>
                  <a:lnTo>
                    <a:pt x="143" y="103"/>
                  </a:lnTo>
                  <a:lnTo>
                    <a:pt x="141" y="99"/>
                  </a:lnTo>
                  <a:lnTo>
                    <a:pt x="140" y="96"/>
                  </a:lnTo>
                  <a:lnTo>
                    <a:pt x="138" y="93"/>
                  </a:lnTo>
                  <a:lnTo>
                    <a:pt x="138" y="93"/>
                  </a:lnTo>
                  <a:lnTo>
                    <a:pt x="138" y="92"/>
                  </a:lnTo>
                  <a:lnTo>
                    <a:pt x="138" y="91"/>
                  </a:lnTo>
                  <a:lnTo>
                    <a:pt x="137" y="90"/>
                  </a:lnTo>
                  <a:lnTo>
                    <a:pt x="138" y="89"/>
                  </a:lnTo>
                  <a:lnTo>
                    <a:pt x="138" y="88"/>
                  </a:lnTo>
                  <a:lnTo>
                    <a:pt x="138" y="86"/>
                  </a:lnTo>
                  <a:lnTo>
                    <a:pt x="139" y="84"/>
                  </a:lnTo>
                  <a:lnTo>
                    <a:pt x="140" y="80"/>
                  </a:lnTo>
                  <a:lnTo>
                    <a:pt x="140" y="79"/>
                  </a:lnTo>
                  <a:lnTo>
                    <a:pt x="141" y="78"/>
                  </a:lnTo>
                  <a:lnTo>
                    <a:pt x="141" y="78"/>
                  </a:lnTo>
                  <a:lnTo>
                    <a:pt x="141" y="77"/>
                  </a:lnTo>
                  <a:lnTo>
                    <a:pt x="140" y="76"/>
                  </a:lnTo>
                  <a:lnTo>
                    <a:pt x="140" y="76"/>
                  </a:lnTo>
                  <a:lnTo>
                    <a:pt x="140" y="75"/>
                  </a:lnTo>
                  <a:lnTo>
                    <a:pt x="140" y="74"/>
                  </a:lnTo>
                  <a:lnTo>
                    <a:pt x="138" y="72"/>
                  </a:lnTo>
                  <a:lnTo>
                    <a:pt x="136" y="67"/>
                  </a:lnTo>
                  <a:lnTo>
                    <a:pt x="136" y="67"/>
                  </a:lnTo>
                  <a:lnTo>
                    <a:pt x="136" y="66"/>
                  </a:lnTo>
                  <a:lnTo>
                    <a:pt x="136" y="65"/>
                  </a:lnTo>
                  <a:lnTo>
                    <a:pt x="136" y="64"/>
                  </a:lnTo>
                  <a:lnTo>
                    <a:pt x="136" y="63"/>
                  </a:lnTo>
                  <a:lnTo>
                    <a:pt x="136" y="60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5" y="57"/>
                  </a:lnTo>
                  <a:lnTo>
                    <a:pt x="134" y="54"/>
                  </a:lnTo>
                  <a:lnTo>
                    <a:pt x="134" y="51"/>
                  </a:lnTo>
                  <a:lnTo>
                    <a:pt x="133" y="48"/>
                  </a:lnTo>
                  <a:lnTo>
                    <a:pt x="133" y="46"/>
                  </a:lnTo>
                  <a:lnTo>
                    <a:pt x="133" y="45"/>
                  </a:lnTo>
                  <a:lnTo>
                    <a:pt x="132" y="43"/>
                  </a:lnTo>
                  <a:lnTo>
                    <a:pt x="132" y="36"/>
                  </a:lnTo>
                  <a:lnTo>
                    <a:pt x="132" y="31"/>
                  </a:lnTo>
                  <a:lnTo>
                    <a:pt x="132" y="30"/>
                  </a:lnTo>
                  <a:lnTo>
                    <a:pt x="132" y="29"/>
                  </a:lnTo>
                  <a:lnTo>
                    <a:pt x="133" y="25"/>
                  </a:lnTo>
                  <a:lnTo>
                    <a:pt x="133" y="23"/>
                  </a:lnTo>
                  <a:lnTo>
                    <a:pt x="133" y="22"/>
                  </a:lnTo>
                  <a:lnTo>
                    <a:pt x="133" y="20"/>
                  </a:lnTo>
                  <a:lnTo>
                    <a:pt x="132" y="20"/>
                  </a:lnTo>
                  <a:lnTo>
                    <a:pt x="132" y="19"/>
                  </a:lnTo>
                  <a:lnTo>
                    <a:pt x="132" y="18"/>
                  </a:lnTo>
                  <a:lnTo>
                    <a:pt x="131" y="16"/>
                  </a:lnTo>
                  <a:lnTo>
                    <a:pt x="130" y="15"/>
                  </a:lnTo>
                  <a:lnTo>
                    <a:pt x="128" y="11"/>
                  </a:lnTo>
                  <a:lnTo>
                    <a:pt x="127" y="10"/>
                  </a:lnTo>
                  <a:lnTo>
                    <a:pt x="126" y="8"/>
                  </a:lnTo>
                  <a:lnTo>
                    <a:pt x="125" y="6"/>
                  </a:lnTo>
                  <a:lnTo>
                    <a:pt x="124" y="5"/>
                  </a:lnTo>
                  <a:lnTo>
                    <a:pt x="124" y="4"/>
                  </a:lnTo>
                  <a:lnTo>
                    <a:pt x="124" y="3"/>
                  </a:lnTo>
                  <a:lnTo>
                    <a:pt x="123" y="2"/>
                  </a:lnTo>
                  <a:lnTo>
                    <a:pt x="123" y="1"/>
                  </a:lnTo>
                  <a:lnTo>
                    <a:pt x="123" y="1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27" y="1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Freeform 23">
              <a:extLst>
                <a:ext uri="{FF2B5EF4-FFF2-40B4-BE49-F238E27FC236}">
                  <a16:creationId xmlns:a16="http://schemas.microsoft.com/office/drawing/2014/main" id="{C007DD0F-ED80-9874-71F3-4039525D9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994"/>
              <a:ext cx="436" cy="338"/>
            </a:xfrm>
            <a:custGeom>
              <a:avLst/>
              <a:gdLst>
                <a:gd name="T0" fmla="*/ 164 w 436"/>
                <a:gd name="T1" fmla="*/ 11 h 338"/>
                <a:gd name="T2" fmla="*/ 194 w 436"/>
                <a:gd name="T3" fmla="*/ 15 h 338"/>
                <a:gd name="T4" fmla="*/ 211 w 436"/>
                <a:gd name="T5" fmla="*/ 23 h 338"/>
                <a:gd name="T6" fmla="*/ 225 w 436"/>
                <a:gd name="T7" fmla="*/ 47 h 338"/>
                <a:gd name="T8" fmla="*/ 252 w 436"/>
                <a:gd name="T9" fmla="*/ 41 h 338"/>
                <a:gd name="T10" fmla="*/ 263 w 436"/>
                <a:gd name="T11" fmla="*/ 65 h 338"/>
                <a:gd name="T12" fmla="*/ 263 w 436"/>
                <a:gd name="T13" fmla="*/ 78 h 338"/>
                <a:gd name="T14" fmla="*/ 278 w 436"/>
                <a:gd name="T15" fmla="*/ 71 h 338"/>
                <a:gd name="T16" fmla="*/ 298 w 436"/>
                <a:gd name="T17" fmla="*/ 54 h 338"/>
                <a:gd name="T18" fmla="*/ 319 w 436"/>
                <a:gd name="T19" fmla="*/ 65 h 338"/>
                <a:gd name="T20" fmla="*/ 330 w 436"/>
                <a:gd name="T21" fmla="*/ 51 h 338"/>
                <a:gd name="T22" fmla="*/ 350 w 436"/>
                <a:gd name="T23" fmla="*/ 51 h 338"/>
                <a:gd name="T24" fmla="*/ 378 w 436"/>
                <a:gd name="T25" fmla="*/ 70 h 338"/>
                <a:gd name="T26" fmla="*/ 386 w 436"/>
                <a:gd name="T27" fmla="*/ 92 h 338"/>
                <a:gd name="T28" fmla="*/ 375 w 436"/>
                <a:gd name="T29" fmla="*/ 116 h 338"/>
                <a:gd name="T30" fmla="*/ 356 w 436"/>
                <a:gd name="T31" fmla="*/ 126 h 338"/>
                <a:gd name="T32" fmla="*/ 338 w 436"/>
                <a:gd name="T33" fmla="*/ 138 h 338"/>
                <a:gd name="T34" fmla="*/ 328 w 436"/>
                <a:gd name="T35" fmla="*/ 151 h 338"/>
                <a:gd name="T36" fmla="*/ 322 w 436"/>
                <a:gd name="T37" fmla="*/ 159 h 338"/>
                <a:gd name="T38" fmla="*/ 335 w 436"/>
                <a:gd name="T39" fmla="*/ 172 h 338"/>
                <a:gd name="T40" fmla="*/ 349 w 436"/>
                <a:gd name="T41" fmla="*/ 184 h 338"/>
                <a:gd name="T42" fmla="*/ 368 w 436"/>
                <a:gd name="T43" fmla="*/ 184 h 338"/>
                <a:gd name="T44" fmla="*/ 381 w 436"/>
                <a:gd name="T45" fmla="*/ 207 h 338"/>
                <a:gd name="T46" fmla="*/ 406 w 436"/>
                <a:gd name="T47" fmla="*/ 230 h 338"/>
                <a:gd name="T48" fmla="*/ 428 w 436"/>
                <a:gd name="T49" fmla="*/ 255 h 338"/>
                <a:gd name="T50" fmla="*/ 436 w 436"/>
                <a:gd name="T51" fmla="*/ 288 h 338"/>
                <a:gd name="T52" fmla="*/ 417 w 436"/>
                <a:gd name="T53" fmla="*/ 283 h 338"/>
                <a:gd name="T54" fmla="*/ 407 w 436"/>
                <a:gd name="T55" fmla="*/ 285 h 338"/>
                <a:gd name="T56" fmla="*/ 384 w 436"/>
                <a:gd name="T57" fmla="*/ 303 h 338"/>
                <a:gd name="T58" fmla="*/ 367 w 436"/>
                <a:gd name="T59" fmla="*/ 320 h 338"/>
                <a:gd name="T60" fmla="*/ 360 w 436"/>
                <a:gd name="T61" fmla="*/ 331 h 338"/>
                <a:gd name="T62" fmla="*/ 350 w 436"/>
                <a:gd name="T63" fmla="*/ 335 h 338"/>
                <a:gd name="T64" fmla="*/ 329 w 436"/>
                <a:gd name="T65" fmla="*/ 337 h 338"/>
                <a:gd name="T66" fmla="*/ 305 w 436"/>
                <a:gd name="T67" fmla="*/ 327 h 338"/>
                <a:gd name="T68" fmla="*/ 282 w 436"/>
                <a:gd name="T69" fmla="*/ 310 h 338"/>
                <a:gd name="T70" fmla="*/ 266 w 436"/>
                <a:gd name="T71" fmla="*/ 296 h 338"/>
                <a:gd name="T72" fmla="*/ 243 w 436"/>
                <a:gd name="T73" fmla="*/ 283 h 338"/>
                <a:gd name="T74" fmla="*/ 222 w 436"/>
                <a:gd name="T75" fmla="*/ 293 h 338"/>
                <a:gd name="T76" fmla="*/ 207 w 436"/>
                <a:gd name="T77" fmla="*/ 294 h 338"/>
                <a:gd name="T78" fmla="*/ 198 w 436"/>
                <a:gd name="T79" fmla="*/ 279 h 338"/>
                <a:gd name="T80" fmla="*/ 184 w 436"/>
                <a:gd name="T81" fmla="*/ 294 h 338"/>
                <a:gd name="T82" fmla="*/ 161 w 436"/>
                <a:gd name="T83" fmla="*/ 298 h 338"/>
                <a:gd name="T84" fmla="*/ 141 w 436"/>
                <a:gd name="T85" fmla="*/ 296 h 338"/>
                <a:gd name="T86" fmla="*/ 125 w 436"/>
                <a:gd name="T87" fmla="*/ 297 h 338"/>
                <a:gd name="T88" fmla="*/ 111 w 436"/>
                <a:gd name="T89" fmla="*/ 310 h 338"/>
                <a:gd name="T90" fmla="*/ 97 w 436"/>
                <a:gd name="T91" fmla="*/ 310 h 338"/>
                <a:gd name="T92" fmla="*/ 91 w 436"/>
                <a:gd name="T93" fmla="*/ 298 h 338"/>
                <a:gd name="T94" fmla="*/ 75 w 436"/>
                <a:gd name="T95" fmla="*/ 289 h 338"/>
                <a:gd name="T96" fmla="*/ 83 w 436"/>
                <a:gd name="T97" fmla="*/ 270 h 338"/>
                <a:gd name="T98" fmla="*/ 78 w 436"/>
                <a:gd name="T99" fmla="*/ 251 h 338"/>
                <a:gd name="T100" fmla="*/ 75 w 436"/>
                <a:gd name="T101" fmla="*/ 228 h 338"/>
                <a:gd name="T102" fmla="*/ 56 w 436"/>
                <a:gd name="T103" fmla="*/ 228 h 338"/>
                <a:gd name="T104" fmla="*/ 31 w 436"/>
                <a:gd name="T105" fmla="*/ 224 h 338"/>
                <a:gd name="T106" fmla="*/ 24 w 436"/>
                <a:gd name="T107" fmla="*/ 209 h 338"/>
                <a:gd name="T108" fmla="*/ 9 w 436"/>
                <a:gd name="T109" fmla="*/ 201 h 338"/>
                <a:gd name="T110" fmla="*/ 0 w 436"/>
                <a:gd name="T111" fmla="*/ 187 h 338"/>
                <a:gd name="T112" fmla="*/ 9 w 436"/>
                <a:gd name="T113" fmla="*/ 174 h 338"/>
                <a:gd name="T114" fmla="*/ 8 w 436"/>
                <a:gd name="T115" fmla="*/ 152 h 338"/>
                <a:gd name="T116" fmla="*/ 3 w 436"/>
                <a:gd name="T117" fmla="*/ 128 h 338"/>
                <a:gd name="T118" fmla="*/ 21 w 436"/>
                <a:gd name="T119" fmla="*/ 126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6" h="338">
                  <a:moveTo>
                    <a:pt x="127" y="0"/>
                  </a:moveTo>
                  <a:lnTo>
                    <a:pt x="129" y="0"/>
                  </a:lnTo>
                  <a:lnTo>
                    <a:pt x="135" y="0"/>
                  </a:lnTo>
                  <a:lnTo>
                    <a:pt x="137" y="1"/>
                  </a:lnTo>
                  <a:lnTo>
                    <a:pt x="139" y="1"/>
                  </a:lnTo>
                  <a:lnTo>
                    <a:pt x="141" y="1"/>
                  </a:lnTo>
                  <a:lnTo>
                    <a:pt x="143" y="2"/>
                  </a:lnTo>
                  <a:lnTo>
                    <a:pt x="144" y="2"/>
                  </a:lnTo>
                  <a:lnTo>
                    <a:pt x="145" y="3"/>
                  </a:lnTo>
                  <a:lnTo>
                    <a:pt x="146" y="3"/>
                  </a:lnTo>
                  <a:lnTo>
                    <a:pt x="150" y="5"/>
                  </a:lnTo>
                  <a:lnTo>
                    <a:pt x="152" y="6"/>
                  </a:lnTo>
                  <a:lnTo>
                    <a:pt x="155" y="8"/>
                  </a:lnTo>
                  <a:lnTo>
                    <a:pt x="160" y="9"/>
                  </a:lnTo>
                  <a:lnTo>
                    <a:pt x="161" y="10"/>
                  </a:lnTo>
                  <a:lnTo>
                    <a:pt x="163" y="11"/>
                  </a:lnTo>
                  <a:lnTo>
                    <a:pt x="164" y="11"/>
                  </a:lnTo>
                  <a:lnTo>
                    <a:pt x="165" y="12"/>
                  </a:lnTo>
                  <a:lnTo>
                    <a:pt x="166" y="13"/>
                  </a:lnTo>
                  <a:lnTo>
                    <a:pt x="170" y="15"/>
                  </a:lnTo>
                  <a:lnTo>
                    <a:pt x="170" y="16"/>
                  </a:lnTo>
                  <a:lnTo>
                    <a:pt x="171" y="16"/>
                  </a:lnTo>
                  <a:lnTo>
                    <a:pt x="173" y="17"/>
                  </a:lnTo>
                  <a:lnTo>
                    <a:pt x="174" y="17"/>
                  </a:lnTo>
                  <a:lnTo>
                    <a:pt x="175" y="17"/>
                  </a:lnTo>
                  <a:lnTo>
                    <a:pt x="175" y="18"/>
                  </a:lnTo>
                  <a:lnTo>
                    <a:pt x="176" y="18"/>
                  </a:lnTo>
                  <a:lnTo>
                    <a:pt x="178" y="18"/>
                  </a:lnTo>
                  <a:lnTo>
                    <a:pt x="181" y="18"/>
                  </a:lnTo>
                  <a:lnTo>
                    <a:pt x="183" y="18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87" y="17"/>
                  </a:lnTo>
                  <a:lnTo>
                    <a:pt x="194" y="15"/>
                  </a:lnTo>
                  <a:lnTo>
                    <a:pt x="196" y="15"/>
                  </a:lnTo>
                  <a:lnTo>
                    <a:pt x="199" y="13"/>
                  </a:lnTo>
                  <a:lnTo>
                    <a:pt x="200" y="13"/>
                  </a:lnTo>
                  <a:lnTo>
                    <a:pt x="201" y="13"/>
                  </a:lnTo>
                  <a:lnTo>
                    <a:pt x="203" y="12"/>
                  </a:lnTo>
                  <a:lnTo>
                    <a:pt x="204" y="12"/>
                  </a:lnTo>
                  <a:lnTo>
                    <a:pt x="204" y="13"/>
                  </a:lnTo>
                  <a:lnTo>
                    <a:pt x="205" y="13"/>
                  </a:lnTo>
                  <a:lnTo>
                    <a:pt x="206" y="13"/>
                  </a:lnTo>
                  <a:lnTo>
                    <a:pt x="206" y="14"/>
                  </a:lnTo>
                  <a:lnTo>
                    <a:pt x="207" y="14"/>
                  </a:lnTo>
                  <a:lnTo>
                    <a:pt x="208" y="15"/>
                  </a:lnTo>
                  <a:lnTo>
                    <a:pt x="209" y="16"/>
                  </a:lnTo>
                  <a:lnTo>
                    <a:pt x="209" y="17"/>
                  </a:lnTo>
                  <a:lnTo>
                    <a:pt x="210" y="18"/>
                  </a:lnTo>
                  <a:lnTo>
                    <a:pt x="210" y="19"/>
                  </a:lnTo>
                  <a:lnTo>
                    <a:pt x="211" y="23"/>
                  </a:lnTo>
                  <a:lnTo>
                    <a:pt x="212" y="25"/>
                  </a:lnTo>
                  <a:lnTo>
                    <a:pt x="213" y="27"/>
                  </a:lnTo>
                  <a:lnTo>
                    <a:pt x="216" y="33"/>
                  </a:lnTo>
                  <a:lnTo>
                    <a:pt x="217" y="37"/>
                  </a:lnTo>
                  <a:lnTo>
                    <a:pt x="219" y="40"/>
                  </a:lnTo>
                  <a:lnTo>
                    <a:pt x="219" y="42"/>
                  </a:lnTo>
                  <a:lnTo>
                    <a:pt x="220" y="43"/>
                  </a:lnTo>
                  <a:lnTo>
                    <a:pt x="221" y="44"/>
                  </a:lnTo>
                  <a:lnTo>
                    <a:pt x="221" y="45"/>
                  </a:lnTo>
                  <a:lnTo>
                    <a:pt x="222" y="45"/>
                  </a:lnTo>
                  <a:lnTo>
                    <a:pt x="222" y="45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4" y="47"/>
                  </a:lnTo>
                  <a:lnTo>
                    <a:pt x="225" y="47"/>
                  </a:lnTo>
                  <a:lnTo>
                    <a:pt x="225" y="47"/>
                  </a:lnTo>
                  <a:lnTo>
                    <a:pt x="226" y="47"/>
                  </a:lnTo>
                  <a:lnTo>
                    <a:pt x="227" y="47"/>
                  </a:lnTo>
                  <a:lnTo>
                    <a:pt x="228" y="46"/>
                  </a:lnTo>
                  <a:lnTo>
                    <a:pt x="229" y="46"/>
                  </a:lnTo>
                  <a:lnTo>
                    <a:pt x="231" y="45"/>
                  </a:lnTo>
                  <a:lnTo>
                    <a:pt x="236" y="44"/>
                  </a:lnTo>
                  <a:lnTo>
                    <a:pt x="238" y="43"/>
                  </a:lnTo>
                  <a:lnTo>
                    <a:pt x="241" y="42"/>
                  </a:lnTo>
                  <a:lnTo>
                    <a:pt x="242" y="42"/>
                  </a:lnTo>
                  <a:lnTo>
                    <a:pt x="244" y="41"/>
                  </a:lnTo>
                  <a:lnTo>
                    <a:pt x="245" y="41"/>
                  </a:lnTo>
                  <a:lnTo>
                    <a:pt x="247" y="41"/>
                  </a:lnTo>
                  <a:lnTo>
                    <a:pt x="247" y="40"/>
                  </a:lnTo>
                  <a:lnTo>
                    <a:pt x="249" y="40"/>
                  </a:lnTo>
                  <a:lnTo>
                    <a:pt x="250" y="40"/>
                  </a:lnTo>
                  <a:lnTo>
                    <a:pt x="251" y="41"/>
                  </a:lnTo>
                  <a:lnTo>
                    <a:pt x="252" y="41"/>
                  </a:lnTo>
                  <a:lnTo>
                    <a:pt x="253" y="42"/>
                  </a:lnTo>
                  <a:lnTo>
                    <a:pt x="254" y="42"/>
                  </a:lnTo>
                  <a:lnTo>
                    <a:pt x="255" y="43"/>
                  </a:lnTo>
                  <a:lnTo>
                    <a:pt x="256" y="44"/>
                  </a:lnTo>
                  <a:lnTo>
                    <a:pt x="257" y="44"/>
                  </a:lnTo>
                  <a:lnTo>
                    <a:pt x="257" y="45"/>
                  </a:lnTo>
                  <a:lnTo>
                    <a:pt x="258" y="46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60" y="49"/>
                  </a:lnTo>
                  <a:lnTo>
                    <a:pt x="260" y="51"/>
                  </a:lnTo>
                  <a:lnTo>
                    <a:pt x="261" y="53"/>
                  </a:lnTo>
                  <a:lnTo>
                    <a:pt x="262" y="55"/>
                  </a:lnTo>
                  <a:lnTo>
                    <a:pt x="262" y="57"/>
                  </a:lnTo>
                  <a:lnTo>
                    <a:pt x="262" y="60"/>
                  </a:lnTo>
                  <a:lnTo>
                    <a:pt x="263" y="64"/>
                  </a:lnTo>
                  <a:lnTo>
                    <a:pt x="263" y="65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3" y="67"/>
                  </a:lnTo>
                  <a:lnTo>
                    <a:pt x="263" y="68"/>
                  </a:lnTo>
                  <a:lnTo>
                    <a:pt x="263" y="68"/>
                  </a:lnTo>
                  <a:lnTo>
                    <a:pt x="263" y="69"/>
                  </a:lnTo>
                  <a:lnTo>
                    <a:pt x="261" y="72"/>
                  </a:lnTo>
                  <a:lnTo>
                    <a:pt x="261" y="73"/>
                  </a:lnTo>
                  <a:lnTo>
                    <a:pt x="261" y="73"/>
                  </a:lnTo>
                  <a:lnTo>
                    <a:pt x="260" y="74"/>
                  </a:lnTo>
                  <a:lnTo>
                    <a:pt x="260" y="75"/>
                  </a:lnTo>
                  <a:lnTo>
                    <a:pt x="261" y="75"/>
                  </a:lnTo>
                  <a:lnTo>
                    <a:pt x="261" y="76"/>
                  </a:lnTo>
                  <a:lnTo>
                    <a:pt x="261" y="76"/>
                  </a:lnTo>
                  <a:lnTo>
                    <a:pt x="262" y="77"/>
                  </a:lnTo>
                  <a:lnTo>
                    <a:pt x="262" y="78"/>
                  </a:lnTo>
                  <a:lnTo>
                    <a:pt x="263" y="78"/>
                  </a:lnTo>
                  <a:lnTo>
                    <a:pt x="264" y="78"/>
                  </a:lnTo>
                  <a:lnTo>
                    <a:pt x="265" y="79"/>
                  </a:lnTo>
                  <a:lnTo>
                    <a:pt x="266" y="79"/>
                  </a:lnTo>
                  <a:lnTo>
                    <a:pt x="267" y="79"/>
                  </a:lnTo>
                  <a:lnTo>
                    <a:pt x="267" y="79"/>
                  </a:lnTo>
                  <a:lnTo>
                    <a:pt x="268" y="79"/>
                  </a:lnTo>
                  <a:lnTo>
                    <a:pt x="269" y="78"/>
                  </a:lnTo>
                  <a:lnTo>
                    <a:pt x="270" y="78"/>
                  </a:lnTo>
                  <a:lnTo>
                    <a:pt x="272" y="77"/>
                  </a:lnTo>
                  <a:lnTo>
                    <a:pt x="274" y="75"/>
                  </a:lnTo>
                  <a:lnTo>
                    <a:pt x="275" y="75"/>
                  </a:lnTo>
                  <a:lnTo>
                    <a:pt x="276" y="74"/>
                  </a:lnTo>
                  <a:lnTo>
                    <a:pt x="276" y="74"/>
                  </a:lnTo>
                  <a:lnTo>
                    <a:pt x="276" y="73"/>
                  </a:lnTo>
                  <a:lnTo>
                    <a:pt x="277" y="73"/>
                  </a:lnTo>
                  <a:lnTo>
                    <a:pt x="277" y="72"/>
                  </a:lnTo>
                  <a:lnTo>
                    <a:pt x="278" y="71"/>
                  </a:lnTo>
                  <a:lnTo>
                    <a:pt x="280" y="67"/>
                  </a:lnTo>
                  <a:lnTo>
                    <a:pt x="281" y="64"/>
                  </a:lnTo>
                  <a:lnTo>
                    <a:pt x="282" y="63"/>
                  </a:lnTo>
                  <a:lnTo>
                    <a:pt x="283" y="61"/>
                  </a:lnTo>
                  <a:lnTo>
                    <a:pt x="285" y="60"/>
                  </a:lnTo>
                  <a:lnTo>
                    <a:pt x="286" y="58"/>
                  </a:lnTo>
                  <a:lnTo>
                    <a:pt x="287" y="57"/>
                  </a:lnTo>
                  <a:lnTo>
                    <a:pt x="289" y="56"/>
                  </a:lnTo>
                  <a:lnTo>
                    <a:pt x="290" y="55"/>
                  </a:lnTo>
                  <a:lnTo>
                    <a:pt x="291" y="54"/>
                  </a:lnTo>
                  <a:lnTo>
                    <a:pt x="291" y="54"/>
                  </a:lnTo>
                  <a:lnTo>
                    <a:pt x="292" y="54"/>
                  </a:lnTo>
                  <a:lnTo>
                    <a:pt x="293" y="53"/>
                  </a:lnTo>
                  <a:lnTo>
                    <a:pt x="295" y="53"/>
                  </a:lnTo>
                  <a:lnTo>
                    <a:pt x="296" y="54"/>
                  </a:lnTo>
                  <a:lnTo>
                    <a:pt x="297" y="54"/>
                  </a:lnTo>
                  <a:lnTo>
                    <a:pt x="298" y="54"/>
                  </a:lnTo>
                  <a:lnTo>
                    <a:pt x="299" y="55"/>
                  </a:lnTo>
                  <a:lnTo>
                    <a:pt x="304" y="57"/>
                  </a:lnTo>
                  <a:lnTo>
                    <a:pt x="305" y="57"/>
                  </a:lnTo>
                  <a:lnTo>
                    <a:pt x="306" y="58"/>
                  </a:lnTo>
                  <a:lnTo>
                    <a:pt x="307" y="59"/>
                  </a:lnTo>
                  <a:lnTo>
                    <a:pt x="309" y="60"/>
                  </a:lnTo>
                  <a:lnTo>
                    <a:pt x="310" y="61"/>
                  </a:lnTo>
                  <a:lnTo>
                    <a:pt x="313" y="64"/>
                  </a:lnTo>
                  <a:lnTo>
                    <a:pt x="314" y="64"/>
                  </a:lnTo>
                  <a:lnTo>
                    <a:pt x="315" y="65"/>
                  </a:lnTo>
                  <a:lnTo>
                    <a:pt x="315" y="65"/>
                  </a:lnTo>
                  <a:lnTo>
                    <a:pt x="316" y="65"/>
                  </a:lnTo>
                  <a:lnTo>
                    <a:pt x="316" y="65"/>
                  </a:lnTo>
                  <a:lnTo>
                    <a:pt x="317" y="65"/>
                  </a:lnTo>
                  <a:lnTo>
                    <a:pt x="318" y="65"/>
                  </a:lnTo>
                  <a:lnTo>
                    <a:pt x="319" y="65"/>
                  </a:lnTo>
                  <a:lnTo>
                    <a:pt x="319" y="65"/>
                  </a:lnTo>
                  <a:lnTo>
                    <a:pt x="320" y="65"/>
                  </a:lnTo>
                  <a:lnTo>
                    <a:pt x="321" y="65"/>
                  </a:lnTo>
                  <a:lnTo>
                    <a:pt x="322" y="64"/>
                  </a:lnTo>
                  <a:lnTo>
                    <a:pt x="322" y="64"/>
                  </a:lnTo>
                  <a:lnTo>
                    <a:pt x="323" y="63"/>
                  </a:lnTo>
                  <a:lnTo>
                    <a:pt x="323" y="63"/>
                  </a:lnTo>
                  <a:lnTo>
                    <a:pt x="324" y="62"/>
                  </a:lnTo>
                  <a:lnTo>
                    <a:pt x="324" y="62"/>
                  </a:lnTo>
                  <a:lnTo>
                    <a:pt x="325" y="61"/>
                  </a:lnTo>
                  <a:lnTo>
                    <a:pt x="325" y="60"/>
                  </a:lnTo>
                  <a:lnTo>
                    <a:pt x="326" y="56"/>
                  </a:lnTo>
                  <a:lnTo>
                    <a:pt x="327" y="54"/>
                  </a:lnTo>
                  <a:lnTo>
                    <a:pt x="328" y="53"/>
                  </a:lnTo>
                  <a:lnTo>
                    <a:pt x="329" y="52"/>
                  </a:lnTo>
                  <a:lnTo>
                    <a:pt x="329" y="52"/>
                  </a:lnTo>
                  <a:lnTo>
                    <a:pt x="330" y="51"/>
                  </a:lnTo>
                  <a:lnTo>
                    <a:pt x="330" y="51"/>
                  </a:lnTo>
                  <a:lnTo>
                    <a:pt x="330" y="50"/>
                  </a:lnTo>
                  <a:lnTo>
                    <a:pt x="331" y="50"/>
                  </a:lnTo>
                  <a:lnTo>
                    <a:pt x="332" y="49"/>
                  </a:lnTo>
                  <a:lnTo>
                    <a:pt x="332" y="49"/>
                  </a:lnTo>
                  <a:lnTo>
                    <a:pt x="333" y="49"/>
                  </a:lnTo>
                  <a:lnTo>
                    <a:pt x="334" y="49"/>
                  </a:lnTo>
                  <a:lnTo>
                    <a:pt x="335" y="49"/>
                  </a:lnTo>
                  <a:lnTo>
                    <a:pt x="336" y="49"/>
                  </a:lnTo>
                  <a:lnTo>
                    <a:pt x="338" y="49"/>
                  </a:lnTo>
                  <a:lnTo>
                    <a:pt x="339" y="49"/>
                  </a:lnTo>
                  <a:lnTo>
                    <a:pt x="340" y="49"/>
                  </a:lnTo>
                  <a:lnTo>
                    <a:pt x="341" y="49"/>
                  </a:lnTo>
                  <a:lnTo>
                    <a:pt x="345" y="50"/>
                  </a:lnTo>
                  <a:lnTo>
                    <a:pt x="346" y="50"/>
                  </a:lnTo>
                  <a:lnTo>
                    <a:pt x="347" y="50"/>
                  </a:lnTo>
                  <a:lnTo>
                    <a:pt x="348" y="51"/>
                  </a:lnTo>
                  <a:lnTo>
                    <a:pt x="350" y="51"/>
                  </a:lnTo>
                  <a:lnTo>
                    <a:pt x="353" y="51"/>
                  </a:lnTo>
                  <a:lnTo>
                    <a:pt x="354" y="51"/>
                  </a:lnTo>
                  <a:lnTo>
                    <a:pt x="356" y="51"/>
                  </a:lnTo>
                  <a:lnTo>
                    <a:pt x="357" y="51"/>
                  </a:lnTo>
                  <a:lnTo>
                    <a:pt x="358" y="51"/>
                  </a:lnTo>
                  <a:lnTo>
                    <a:pt x="359" y="52"/>
                  </a:lnTo>
                  <a:lnTo>
                    <a:pt x="360" y="52"/>
                  </a:lnTo>
                  <a:lnTo>
                    <a:pt x="361" y="53"/>
                  </a:lnTo>
                  <a:lnTo>
                    <a:pt x="362" y="54"/>
                  </a:lnTo>
                  <a:lnTo>
                    <a:pt x="365" y="56"/>
                  </a:lnTo>
                  <a:lnTo>
                    <a:pt x="367" y="58"/>
                  </a:lnTo>
                  <a:lnTo>
                    <a:pt x="367" y="58"/>
                  </a:lnTo>
                  <a:lnTo>
                    <a:pt x="369" y="60"/>
                  </a:lnTo>
                  <a:lnTo>
                    <a:pt x="371" y="63"/>
                  </a:lnTo>
                  <a:lnTo>
                    <a:pt x="374" y="66"/>
                  </a:lnTo>
                  <a:lnTo>
                    <a:pt x="376" y="68"/>
                  </a:lnTo>
                  <a:lnTo>
                    <a:pt x="378" y="70"/>
                  </a:lnTo>
                  <a:lnTo>
                    <a:pt x="381" y="73"/>
                  </a:lnTo>
                  <a:lnTo>
                    <a:pt x="383" y="75"/>
                  </a:lnTo>
                  <a:lnTo>
                    <a:pt x="385" y="77"/>
                  </a:lnTo>
                  <a:lnTo>
                    <a:pt x="386" y="79"/>
                  </a:lnTo>
                  <a:lnTo>
                    <a:pt x="388" y="80"/>
                  </a:lnTo>
                  <a:lnTo>
                    <a:pt x="388" y="82"/>
                  </a:lnTo>
                  <a:lnTo>
                    <a:pt x="389" y="83"/>
                  </a:lnTo>
                  <a:lnTo>
                    <a:pt x="389" y="84"/>
                  </a:lnTo>
                  <a:lnTo>
                    <a:pt x="389" y="85"/>
                  </a:lnTo>
                  <a:lnTo>
                    <a:pt x="389" y="86"/>
                  </a:lnTo>
                  <a:lnTo>
                    <a:pt x="389" y="87"/>
                  </a:lnTo>
                  <a:lnTo>
                    <a:pt x="389" y="88"/>
                  </a:lnTo>
                  <a:lnTo>
                    <a:pt x="389" y="89"/>
                  </a:lnTo>
                  <a:lnTo>
                    <a:pt x="389" y="89"/>
                  </a:lnTo>
                  <a:lnTo>
                    <a:pt x="388" y="90"/>
                  </a:lnTo>
                  <a:lnTo>
                    <a:pt x="388" y="91"/>
                  </a:lnTo>
                  <a:lnTo>
                    <a:pt x="386" y="92"/>
                  </a:lnTo>
                  <a:lnTo>
                    <a:pt x="384" y="94"/>
                  </a:lnTo>
                  <a:lnTo>
                    <a:pt x="384" y="95"/>
                  </a:lnTo>
                  <a:lnTo>
                    <a:pt x="383" y="95"/>
                  </a:lnTo>
                  <a:lnTo>
                    <a:pt x="383" y="96"/>
                  </a:lnTo>
                  <a:lnTo>
                    <a:pt x="382" y="97"/>
                  </a:lnTo>
                  <a:lnTo>
                    <a:pt x="381" y="100"/>
                  </a:lnTo>
                  <a:lnTo>
                    <a:pt x="381" y="102"/>
                  </a:lnTo>
                  <a:lnTo>
                    <a:pt x="380" y="103"/>
                  </a:lnTo>
                  <a:lnTo>
                    <a:pt x="379" y="106"/>
                  </a:lnTo>
                  <a:lnTo>
                    <a:pt x="378" y="107"/>
                  </a:lnTo>
                  <a:lnTo>
                    <a:pt x="378" y="108"/>
                  </a:lnTo>
                  <a:lnTo>
                    <a:pt x="378" y="110"/>
                  </a:lnTo>
                  <a:lnTo>
                    <a:pt x="378" y="111"/>
                  </a:lnTo>
                  <a:lnTo>
                    <a:pt x="377" y="112"/>
                  </a:lnTo>
                  <a:lnTo>
                    <a:pt x="377" y="113"/>
                  </a:lnTo>
                  <a:lnTo>
                    <a:pt x="376" y="115"/>
                  </a:lnTo>
                  <a:lnTo>
                    <a:pt x="375" y="116"/>
                  </a:lnTo>
                  <a:lnTo>
                    <a:pt x="373" y="117"/>
                  </a:lnTo>
                  <a:lnTo>
                    <a:pt x="370" y="121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7" y="124"/>
                  </a:lnTo>
                  <a:lnTo>
                    <a:pt x="366" y="124"/>
                  </a:lnTo>
                  <a:lnTo>
                    <a:pt x="366" y="125"/>
                  </a:lnTo>
                  <a:lnTo>
                    <a:pt x="365" y="125"/>
                  </a:lnTo>
                  <a:lnTo>
                    <a:pt x="364" y="125"/>
                  </a:lnTo>
                  <a:lnTo>
                    <a:pt x="363" y="126"/>
                  </a:lnTo>
                  <a:lnTo>
                    <a:pt x="362" y="126"/>
                  </a:lnTo>
                  <a:lnTo>
                    <a:pt x="361" y="126"/>
                  </a:lnTo>
                  <a:lnTo>
                    <a:pt x="359" y="125"/>
                  </a:lnTo>
                  <a:lnTo>
                    <a:pt x="357" y="125"/>
                  </a:lnTo>
                  <a:lnTo>
                    <a:pt x="357" y="125"/>
                  </a:lnTo>
                  <a:lnTo>
                    <a:pt x="356" y="125"/>
                  </a:lnTo>
                  <a:lnTo>
                    <a:pt x="356" y="126"/>
                  </a:lnTo>
                  <a:lnTo>
                    <a:pt x="355" y="126"/>
                  </a:lnTo>
                  <a:lnTo>
                    <a:pt x="355" y="126"/>
                  </a:lnTo>
                  <a:lnTo>
                    <a:pt x="354" y="127"/>
                  </a:lnTo>
                  <a:lnTo>
                    <a:pt x="354" y="127"/>
                  </a:lnTo>
                  <a:lnTo>
                    <a:pt x="352" y="129"/>
                  </a:lnTo>
                  <a:lnTo>
                    <a:pt x="350" y="131"/>
                  </a:lnTo>
                  <a:lnTo>
                    <a:pt x="349" y="132"/>
                  </a:lnTo>
                  <a:lnTo>
                    <a:pt x="348" y="133"/>
                  </a:lnTo>
                  <a:lnTo>
                    <a:pt x="347" y="134"/>
                  </a:lnTo>
                  <a:lnTo>
                    <a:pt x="346" y="134"/>
                  </a:lnTo>
                  <a:lnTo>
                    <a:pt x="345" y="134"/>
                  </a:lnTo>
                  <a:lnTo>
                    <a:pt x="343" y="135"/>
                  </a:lnTo>
                  <a:lnTo>
                    <a:pt x="343" y="135"/>
                  </a:lnTo>
                  <a:lnTo>
                    <a:pt x="342" y="135"/>
                  </a:lnTo>
                  <a:lnTo>
                    <a:pt x="341" y="136"/>
                  </a:lnTo>
                  <a:lnTo>
                    <a:pt x="339" y="137"/>
                  </a:lnTo>
                  <a:lnTo>
                    <a:pt x="338" y="138"/>
                  </a:lnTo>
                  <a:lnTo>
                    <a:pt x="337" y="138"/>
                  </a:lnTo>
                  <a:lnTo>
                    <a:pt x="337" y="139"/>
                  </a:lnTo>
                  <a:lnTo>
                    <a:pt x="335" y="140"/>
                  </a:lnTo>
                  <a:lnTo>
                    <a:pt x="335" y="141"/>
                  </a:lnTo>
                  <a:lnTo>
                    <a:pt x="334" y="142"/>
                  </a:lnTo>
                  <a:lnTo>
                    <a:pt x="332" y="143"/>
                  </a:lnTo>
                  <a:lnTo>
                    <a:pt x="332" y="143"/>
                  </a:lnTo>
                  <a:lnTo>
                    <a:pt x="331" y="144"/>
                  </a:lnTo>
                  <a:lnTo>
                    <a:pt x="330" y="145"/>
                  </a:lnTo>
                  <a:lnTo>
                    <a:pt x="330" y="146"/>
                  </a:lnTo>
                  <a:lnTo>
                    <a:pt x="329" y="146"/>
                  </a:lnTo>
                  <a:lnTo>
                    <a:pt x="329" y="147"/>
                  </a:lnTo>
                  <a:lnTo>
                    <a:pt x="329" y="148"/>
                  </a:lnTo>
                  <a:lnTo>
                    <a:pt x="329" y="149"/>
                  </a:lnTo>
                  <a:lnTo>
                    <a:pt x="329" y="150"/>
                  </a:lnTo>
                  <a:lnTo>
                    <a:pt x="328" y="150"/>
                  </a:lnTo>
                  <a:lnTo>
                    <a:pt x="328" y="151"/>
                  </a:lnTo>
                  <a:lnTo>
                    <a:pt x="327" y="151"/>
                  </a:lnTo>
                  <a:lnTo>
                    <a:pt x="327" y="151"/>
                  </a:lnTo>
                  <a:lnTo>
                    <a:pt x="326" y="151"/>
                  </a:lnTo>
                  <a:lnTo>
                    <a:pt x="325" y="151"/>
                  </a:lnTo>
                  <a:lnTo>
                    <a:pt x="325" y="151"/>
                  </a:lnTo>
                  <a:lnTo>
                    <a:pt x="324" y="152"/>
                  </a:lnTo>
                  <a:lnTo>
                    <a:pt x="324" y="152"/>
                  </a:lnTo>
                  <a:lnTo>
                    <a:pt x="324" y="152"/>
                  </a:lnTo>
                  <a:lnTo>
                    <a:pt x="323" y="153"/>
                  </a:lnTo>
                  <a:lnTo>
                    <a:pt x="323" y="153"/>
                  </a:lnTo>
                  <a:lnTo>
                    <a:pt x="322" y="154"/>
                  </a:lnTo>
                  <a:lnTo>
                    <a:pt x="322" y="155"/>
                  </a:lnTo>
                  <a:lnTo>
                    <a:pt x="322" y="155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9"/>
                  </a:lnTo>
                  <a:lnTo>
                    <a:pt x="322" y="159"/>
                  </a:lnTo>
                  <a:lnTo>
                    <a:pt x="323" y="160"/>
                  </a:lnTo>
                  <a:lnTo>
                    <a:pt x="324" y="163"/>
                  </a:lnTo>
                  <a:lnTo>
                    <a:pt x="325" y="165"/>
                  </a:lnTo>
                  <a:lnTo>
                    <a:pt x="326" y="166"/>
                  </a:lnTo>
                  <a:lnTo>
                    <a:pt x="326" y="166"/>
                  </a:lnTo>
                  <a:lnTo>
                    <a:pt x="327" y="167"/>
                  </a:lnTo>
                  <a:lnTo>
                    <a:pt x="327" y="167"/>
                  </a:lnTo>
                  <a:lnTo>
                    <a:pt x="328" y="167"/>
                  </a:lnTo>
                  <a:lnTo>
                    <a:pt x="329" y="168"/>
                  </a:lnTo>
                  <a:lnTo>
                    <a:pt x="331" y="168"/>
                  </a:lnTo>
                  <a:lnTo>
                    <a:pt x="331" y="168"/>
                  </a:lnTo>
                  <a:lnTo>
                    <a:pt x="332" y="169"/>
                  </a:lnTo>
                  <a:lnTo>
                    <a:pt x="333" y="170"/>
                  </a:lnTo>
                  <a:lnTo>
                    <a:pt x="334" y="170"/>
                  </a:lnTo>
                  <a:lnTo>
                    <a:pt x="335" y="171"/>
                  </a:lnTo>
                  <a:lnTo>
                    <a:pt x="335" y="172"/>
                  </a:lnTo>
                  <a:lnTo>
                    <a:pt x="337" y="175"/>
                  </a:lnTo>
                  <a:lnTo>
                    <a:pt x="338" y="175"/>
                  </a:lnTo>
                  <a:lnTo>
                    <a:pt x="339" y="177"/>
                  </a:lnTo>
                  <a:lnTo>
                    <a:pt x="339" y="177"/>
                  </a:lnTo>
                  <a:lnTo>
                    <a:pt x="340" y="179"/>
                  </a:lnTo>
                  <a:lnTo>
                    <a:pt x="342" y="180"/>
                  </a:lnTo>
                  <a:lnTo>
                    <a:pt x="342" y="181"/>
                  </a:lnTo>
                  <a:lnTo>
                    <a:pt x="343" y="182"/>
                  </a:lnTo>
                  <a:lnTo>
                    <a:pt x="344" y="183"/>
                  </a:lnTo>
                  <a:lnTo>
                    <a:pt x="344" y="184"/>
                  </a:lnTo>
                  <a:lnTo>
                    <a:pt x="345" y="184"/>
                  </a:lnTo>
                  <a:lnTo>
                    <a:pt x="346" y="185"/>
                  </a:lnTo>
                  <a:lnTo>
                    <a:pt x="346" y="185"/>
                  </a:lnTo>
                  <a:lnTo>
                    <a:pt x="347" y="185"/>
                  </a:lnTo>
                  <a:lnTo>
                    <a:pt x="348" y="185"/>
                  </a:lnTo>
                  <a:lnTo>
                    <a:pt x="348" y="185"/>
                  </a:lnTo>
                  <a:lnTo>
                    <a:pt x="349" y="184"/>
                  </a:lnTo>
                  <a:lnTo>
                    <a:pt x="352" y="183"/>
                  </a:lnTo>
                  <a:lnTo>
                    <a:pt x="353" y="182"/>
                  </a:lnTo>
                  <a:lnTo>
                    <a:pt x="353" y="182"/>
                  </a:lnTo>
                  <a:lnTo>
                    <a:pt x="354" y="182"/>
                  </a:lnTo>
                  <a:lnTo>
                    <a:pt x="355" y="182"/>
                  </a:lnTo>
                  <a:lnTo>
                    <a:pt x="356" y="182"/>
                  </a:lnTo>
                  <a:lnTo>
                    <a:pt x="358" y="182"/>
                  </a:lnTo>
                  <a:lnTo>
                    <a:pt x="359" y="182"/>
                  </a:lnTo>
                  <a:lnTo>
                    <a:pt x="361" y="182"/>
                  </a:lnTo>
                  <a:lnTo>
                    <a:pt x="362" y="182"/>
                  </a:lnTo>
                  <a:lnTo>
                    <a:pt x="363" y="182"/>
                  </a:lnTo>
                  <a:lnTo>
                    <a:pt x="365" y="182"/>
                  </a:lnTo>
                  <a:lnTo>
                    <a:pt x="365" y="183"/>
                  </a:lnTo>
                  <a:lnTo>
                    <a:pt x="366" y="183"/>
                  </a:lnTo>
                  <a:lnTo>
                    <a:pt x="367" y="184"/>
                  </a:lnTo>
                  <a:lnTo>
                    <a:pt x="368" y="184"/>
                  </a:lnTo>
                  <a:lnTo>
                    <a:pt x="368" y="184"/>
                  </a:lnTo>
                  <a:lnTo>
                    <a:pt x="368" y="185"/>
                  </a:lnTo>
                  <a:lnTo>
                    <a:pt x="369" y="186"/>
                  </a:lnTo>
                  <a:lnTo>
                    <a:pt x="370" y="188"/>
                  </a:lnTo>
                  <a:lnTo>
                    <a:pt x="370" y="189"/>
                  </a:lnTo>
                  <a:lnTo>
                    <a:pt x="371" y="193"/>
                  </a:lnTo>
                  <a:lnTo>
                    <a:pt x="372" y="195"/>
                  </a:lnTo>
                  <a:lnTo>
                    <a:pt x="372" y="196"/>
                  </a:lnTo>
                  <a:lnTo>
                    <a:pt x="373" y="197"/>
                  </a:lnTo>
                  <a:lnTo>
                    <a:pt x="373" y="199"/>
                  </a:lnTo>
                  <a:lnTo>
                    <a:pt x="374" y="200"/>
                  </a:lnTo>
                  <a:lnTo>
                    <a:pt x="375" y="202"/>
                  </a:lnTo>
                  <a:lnTo>
                    <a:pt x="376" y="202"/>
                  </a:lnTo>
                  <a:lnTo>
                    <a:pt x="377" y="204"/>
                  </a:lnTo>
                  <a:lnTo>
                    <a:pt x="378" y="204"/>
                  </a:lnTo>
                  <a:lnTo>
                    <a:pt x="379" y="205"/>
                  </a:lnTo>
                  <a:lnTo>
                    <a:pt x="380" y="206"/>
                  </a:lnTo>
                  <a:lnTo>
                    <a:pt x="381" y="207"/>
                  </a:lnTo>
                  <a:lnTo>
                    <a:pt x="382" y="207"/>
                  </a:lnTo>
                  <a:lnTo>
                    <a:pt x="383" y="207"/>
                  </a:lnTo>
                  <a:lnTo>
                    <a:pt x="386" y="207"/>
                  </a:lnTo>
                  <a:lnTo>
                    <a:pt x="387" y="208"/>
                  </a:lnTo>
                  <a:lnTo>
                    <a:pt x="388" y="208"/>
                  </a:lnTo>
                  <a:lnTo>
                    <a:pt x="389" y="209"/>
                  </a:lnTo>
                  <a:lnTo>
                    <a:pt x="390" y="209"/>
                  </a:lnTo>
                  <a:lnTo>
                    <a:pt x="391" y="210"/>
                  </a:lnTo>
                  <a:lnTo>
                    <a:pt x="392" y="211"/>
                  </a:lnTo>
                  <a:lnTo>
                    <a:pt x="394" y="212"/>
                  </a:lnTo>
                  <a:lnTo>
                    <a:pt x="395" y="214"/>
                  </a:lnTo>
                  <a:lnTo>
                    <a:pt x="397" y="217"/>
                  </a:lnTo>
                  <a:lnTo>
                    <a:pt x="399" y="219"/>
                  </a:lnTo>
                  <a:lnTo>
                    <a:pt x="400" y="221"/>
                  </a:lnTo>
                  <a:lnTo>
                    <a:pt x="402" y="224"/>
                  </a:lnTo>
                  <a:lnTo>
                    <a:pt x="404" y="228"/>
                  </a:lnTo>
                  <a:lnTo>
                    <a:pt x="406" y="230"/>
                  </a:lnTo>
                  <a:lnTo>
                    <a:pt x="408" y="233"/>
                  </a:lnTo>
                  <a:lnTo>
                    <a:pt x="409" y="233"/>
                  </a:lnTo>
                  <a:lnTo>
                    <a:pt x="410" y="234"/>
                  </a:lnTo>
                  <a:lnTo>
                    <a:pt x="413" y="237"/>
                  </a:lnTo>
                  <a:lnTo>
                    <a:pt x="416" y="242"/>
                  </a:lnTo>
                  <a:lnTo>
                    <a:pt x="417" y="243"/>
                  </a:lnTo>
                  <a:lnTo>
                    <a:pt x="418" y="244"/>
                  </a:lnTo>
                  <a:lnTo>
                    <a:pt x="419" y="245"/>
                  </a:lnTo>
                  <a:lnTo>
                    <a:pt x="422" y="247"/>
                  </a:lnTo>
                  <a:lnTo>
                    <a:pt x="423" y="248"/>
                  </a:lnTo>
                  <a:lnTo>
                    <a:pt x="423" y="248"/>
                  </a:lnTo>
                  <a:lnTo>
                    <a:pt x="424" y="249"/>
                  </a:lnTo>
                  <a:lnTo>
                    <a:pt x="425" y="251"/>
                  </a:lnTo>
                  <a:lnTo>
                    <a:pt x="426" y="252"/>
                  </a:lnTo>
                  <a:lnTo>
                    <a:pt x="426" y="253"/>
                  </a:lnTo>
                  <a:lnTo>
                    <a:pt x="427" y="254"/>
                  </a:lnTo>
                  <a:lnTo>
                    <a:pt x="428" y="255"/>
                  </a:lnTo>
                  <a:lnTo>
                    <a:pt x="428" y="258"/>
                  </a:lnTo>
                  <a:lnTo>
                    <a:pt x="429" y="259"/>
                  </a:lnTo>
                  <a:lnTo>
                    <a:pt x="429" y="261"/>
                  </a:lnTo>
                  <a:lnTo>
                    <a:pt x="429" y="265"/>
                  </a:lnTo>
                  <a:lnTo>
                    <a:pt x="429" y="268"/>
                  </a:lnTo>
                  <a:lnTo>
                    <a:pt x="430" y="270"/>
                  </a:lnTo>
                  <a:lnTo>
                    <a:pt x="430" y="272"/>
                  </a:lnTo>
                  <a:lnTo>
                    <a:pt x="431" y="275"/>
                  </a:lnTo>
                  <a:lnTo>
                    <a:pt x="431" y="277"/>
                  </a:lnTo>
                  <a:lnTo>
                    <a:pt x="431" y="277"/>
                  </a:lnTo>
                  <a:lnTo>
                    <a:pt x="431" y="278"/>
                  </a:lnTo>
                  <a:lnTo>
                    <a:pt x="432" y="280"/>
                  </a:lnTo>
                  <a:lnTo>
                    <a:pt x="433" y="282"/>
                  </a:lnTo>
                  <a:lnTo>
                    <a:pt x="435" y="285"/>
                  </a:lnTo>
                  <a:lnTo>
                    <a:pt x="436" y="286"/>
                  </a:lnTo>
                  <a:lnTo>
                    <a:pt x="436" y="287"/>
                  </a:lnTo>
                  <a:lnTo>
                    <a:pt x="436" y="288"/>
                  </a:lnTo>
                  <a:lnTo>
                    <a:pt x="436" y="289"/>
                  </a:lnTo>
                  <a:lnTo>
                    <a:pt x="436" y="289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5" y="290"/>
                  </a:lnTo>
                  <a:lnTo>
                    <a:pt x="434" y="290"/>
                  </a:lnTo>
                  <a:lnTo>
                    <a:pt x="433" y="290"/>
                  </a:lnTo>
                  <a:lnTo>
                    <a:pt x="431" y="289"/>
                  </a:lnTo>
                  <a:lnTo>
                    <a:pt x="430" y="289"/>
                  </a:lnTo>
                  <a:lnTo>
                    <a:pt x="425" y="287"/>
                  </a:lnTo>
                  <a:lnTo>
                    <a:pt x="423" y="286"/>
                  </a:lnTo>
                  <a:lnTo>
                    <a:pt x="421" y="285"/>
                  </a:lnTo>
                  <a:lnTo>
                    <a:pt x="420" y="284"/>
                  </a:lnTo>
                  <a:lnTo>
                    <a:pt x="417" y="283"/>
                  </a:lnTo>
                  <a:lnTo>
                    <a:pt x="417" y="282"/>
                  </a:lnTo>
                  <a:lnTo>
                    <a:pt x="416" y="282"/>
                  </a:lnTo>
                  <a:lnTo>
                    <a:pt x="414" y="281"/>
                  </a:lnTo>
                  <a:lnTo>
                    <a:pt x="414" y="281"/>
                  </a:lnTo>
                  <a:lnTo>
                    <a:pt x="413" y="281"/>
                  </a:lnTo>
                  <a:lnTo>
                    <a:pt x="412" y="281"/>
                  </a:lnTo>
                  <a:lnTo>
                    <a:pt x="412" y="281"/>
                  </a:lnTo>
                  <a:lnTo>
                    <a:pt x="411" y="281"/>
                  </a:lnTo>
                  <a:lnTo>
                    <a:pt x="411" y="281"/>
                  </a:lnTo>
                  <a:lnTo>
                    <a:pt x="410" y="281"/>
                  </a:lnTo>
                  <a:lnTo>
                    <a:pt x="410" y="281"/>
                  </a:lnTo>
                  <a:lnTo>
                    <a:pt x="409" y="282"/>
                  </a:lnTo>
                  <a:lnTo>
                    <a:pt x="408" y="282"/>
                  </a:lnTo>
                  <a:lnTo>
                    <a:pt x="408" y="282"/>
                  </a:lnTo>
                  <a:lnTo>
                    <a:pt x="407" y="283"/>
                  </a:lnTo>
                  <a:lnTo>
                    <a:pt x="407" y="284"/>
                  </a:lnTo>
                  <a:lnTo>
                    <a:pt x="407" y="285"/>
                  </a:lnTo>
                  <a:lnTo>
                    <a:pt x="405" y="288"/>
                  </a:lnTo>
                  <a:lnTo>
                    <a:pt x="404" y="290"/>
                  </a:lnTo>
                  <a:lnTo>
                    <a:pt x="404" y="291"/>
                  </a:lnTo>
                  <a:lnTo>
                    <a:pt x="403" y="292"/>
                  </a:lnTo>
                  <a:lnTo>
                    <a:pt x="402" y="292"/>
                  </a:lnTo>
                  <a:lnTo>
                    <a:pt x="401" y="293"/>
                  </a:lnTo>
                  <a:lnTo>
                    <a:pt x="400" y="294"/>
                  </a:lnTo>
                  <a:lnTo>
                    <a:pt x="399" y="295"/>
                  </a:lnTo>
                  <a:lnTo>
                    <a:pt x="398" y="296"/>
                  </a:lnTo>
                  <a:lnTo>
                    <a:pt x="396" y="296"/>
                  </a:lnTo>
                  <a:lnTo>
                    <a:pt x="394" y="297"/>
                  </a:lnTo>
                  <a:lnTo>
                    <a:pt x="392" y="299"/>
                  </a:lnTo>
                  <a:lnTo>
                    <a:pt x="392" y="299"/>
                  </a:lnTo>
                  <a:lnTo>
                    <a:pt x="390" y="300"/>
                  </a:lnTo>
                  <a:lnTo>
                    <a:pt x="390" y="300"/>
                  </a:lnTo>
                  <a:lnTo>
                    <a:pt x="387" y="302"/>
                  </a:lnTo>
                  <a:lnTo>
                    <a:pt x="384" y="303"/>
                  </a:lnTo>
                  <a:lnTo>
                    <a:pt x="382" y="304"/>
                  </a:lnTo>
                  <a:lnTo>
                    <a:pt x="381" y="304"/>
                  </a:lnTo>
                  <a:lnTo>
                    <a:pt x="380" y="305"/>
                  </a:lnTo>
                  <a:lnTo>
                    <a:pt x="378" y="307"/>
                  </a:lnTo>
                  <a:lnTo>
                    <a:pt x="376" y="308"/>
                  </a:lnTo>
                  <a:lnTo>
                    <a:pt x="374" y="309"/>
                  </a:lnTo>
                  <a:lnTo>
                    <a:pt x="372" y="311"/>
                  </a:lnTo>
                  <a:lnTo>
                    <a:pt x="371" y="311"/>
                  </a:lnTo>
                  <a:lnTo>
                    <a:pt x="370" y="312"/>
                  </a:lnTo>
                  <a:lnTo>
                    <a:pt x="369" y="313"/>
                  </a:lnTo>
                  <a:lnTo>
                    <a:pt x="368" y="314"/>
                  </a:lnTo>
                  <a:lnTo>
                    <a:pt x="368" y="315"/>
                  </a:lnTo>
                  <a:lnTo>
                    <a:pt x="368" y="315"/>
                  </a:lnTo>
                  <a:lnTo>
                    <a:pt x="367" y="316"/>
                  </a:lnTo>
                  <a:lnTo>
                    <a:pt x="367" y="317"/>
                  </a:lnTo>
                  <a:lnTo>
                    <a:pt x="367" y="317"/>
                  </a:lnTo>
                  <a:lnTo>
                    <a:pt x="367" y="320"/>
                  </a:lnTo>
                  <a:lnTo>
                    <a:pt x="367" y="320"/>
                  </a:lnTo>
                  <a:lnTo>
                    <a:pt x="367" y="321"/>
                  </a:lnTo>
                  <a:lnTo>
                    <a:pt x="366" y="322"/>
                  </a:lnTo>
                  <a:lnTo>
                    <a:pt x="366" y="322"/>
                  </a:lnTo>
                  <a:lnTo>
                    <a:pt x="366" y="323"/>
                  </a:lnTo>
                  <a:lnTo>
                    <a:pt x="365" y="324"/>
                  </a:lnTo>
                  <a:lnTo>
                    <a:pt x="364" y="325"/>
                  </a:lnTo>
                  <a:lnTo>
                    <a:pt x="362" y="326"/>
                  </a:lnTo>
                  <a:lnTo>
                    <a:pt x="361" y="327"/>
                  </a:lnTo>
                  <a:lnTo>
                    <a:pt x="361" y="327"/>
                  </a:lnTo>
                  <a:lnTo>
                    <a:pt x="361" y="327"/>
                  </a:lnTo>
                  <a:lnTo>
                    <a:pt x="360" y="328"/>
                  </a:lnTo>
                  <a:lnTo>
                    <a:pt x="360" y="329"/>
                  </a:lnTo>
                  <a:lnTo>
                    <a:pt x="360" y="329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1"/>
                  </a:lnTo>
                  <a:lnTo>
                    <a:pt x="361" y="334"/>
                  </a:lnTo>
                  <a:lnTo>
                    <a:pt x="361" y="334"/>
                  </a:lnTo>
                  <a:lnTo>
                    <a:pt x="361" y="335"/>
                  </a:lnTo>
                  <a:lnTo>
                    <a:pt x="361" y="335"/>
                  </a:lnTo>
                  <a:lnTo>
                    <a:pt x="361" y="336"/>
                  </a:lnTo>
                  <a:lnTo>
                    <a:pt x="360" y="336"/>
                  </a:lnTo>
                  <a:lnTo>
                    <a:pt x="360" y="336"/>
                  </a:lnTo>
                  <a:lnTo>
                    <a:pt x="359" y="336"/>
                  </a:lnTo>
                  <a:lnTo>
                    <a:pt x="359" y="337"/>
                  </a:lnTo>
                  <a:lnTo>
                    <a:pt x="358" y="337"/>
                  </a:lnTo>
                  <a:lnTo>
                    <a:pt x="357" y="337"/>
                  </a:lnTo>
                  <a:lnTo>
                    <a:pt x="356" y="337"/>
                  </a:lnTo>
                  <a:lnTo>
                    <a:pt x="355" y="336"/>
                  </a:lnTo>
                  <a:lnTo>
                    <a:pt x="353" y="336"/>
                  </a:lnTo>
                  <a:lnTo>
                    <a:pt x="352" y="335"/>
                  </a:lnTo>
                  <a:lnTo>
                    <a:pt x="351" y="335"/>
                  </a:lnTo>
                  <a:lnTo>
                    <a:pt x="350" y="335"/>
                  </a:lnTo>
                  <a:lnTo>
                    <a:pt x="349" y="335"/>
                  </a:lnTo>
                  <a:lnTo>
                    <a:pt x="347" y="336"/>
                  </a:lnTo>
                  <a:lnTo>
                    <a:pt x="344" y="336"/>
                  </a:lnTo>
                  <a:lnTo>
                    <a:pt x="343" y="336"/>
                  </a:lnTo>
                  <a:lnTo>
                    <a:pt x="341" y="336"/>
                  </a:lnTo>
                  <a:lnTo>
                    <a:pt x="341" y="336"/>
                  </a:lnTo>
                  <a:lnTo>
                    <a:pt x="340" y="336"/>
                  </a:lnTo>
                  <a:lnTo>
                    <a:pt x="339" y="335"/>
                  </a:lnTo>
                  <a:lnTo>
                    <a:pt x="338" y="335"/>
                  </a:lnTo>
                  <a:lnTo>
                    <a:pt x="338" y="335"/>
                  </a:lnTo>
                  <a:lnTo>
                    <a:pt x="337" y="335"/>
                  </a:lnTo>
                  <a:lnTo>
                    <a:pt x="337" y="335"/>
                  </a:lnTo>
                  <a:lnTo>
                    <a:pt x="336" y="335"/>
                  </a:lnTo>
                  <a:lnTo>
                    <a:pt x="334" y="336"/>
                  </a:lnTo>
                  <a:lnTo>
                    <a:pt x="333" y="336"/>
                  </a:lnTo>
                  <a:lnTo>
                    <a:pt x="332" y="337"/>
                  </a:lnTo>
                  <a:lnTo>
                    <a:pt x="329" y="337"/>
                  </a:lnTo>
                  <a:lnTo>
                    <a:pt x="327" y="338"/>
                  </a:lnTo>
                  <a:lnTo>
                    <a:pt x="326" y="338"/>
                  </a:lnTo>
                  <a:lnTo>
                    <a:pt x="325" y="338"/>
                  </a:lnTo>
                  <a:lnTo>
                    <a:pt x="324" y="338"/>
                  </a:lnTo>
                  <a:lnTo>
                    <a:pt x="324" y="338"/>
                  </a:lnTo>
                  <a:lnTo>
                    <a:pt x="323" y="337"/>
                  </a:lnTo>
                  <a:lnTo>
                    <a:pt x="322" y="337"/>
                  </a:lnTo>
                  <a:lnTo>
                    <a:pt x="321" y="336"/>
                  </a:lnTo>
                  <a:lnTo>
                    <a:pt x="320" y="336"/>
                  </a:lnTo>
                  <a:lnTo>
                    <a:pt x="316" y="333"/>
                  </a:lnTo>
                  <a:lnTo>
                    <a:pt x="315" y="332"/>
                  </a:lnTo>
                  <a:lnTo>
                    <a:pt x="314" y="331"/>
                  </a:lnTo>
                  <a:lnTo>
                    <a:pt x="313" y="330"/>
                  </a:lnTo>
                  <a:lnTo>
                    <a:pt x="311" y="330"/>
                  </a:lnTo>
                  <a:lnTo>
                    <a:pt x="309" y="329"/>
                  </a:lnTo>
                  <a:lnTo>
                    <a:pt x="306" y="328"/>
                  </a:lnTo>
                  <a:lnTo>
                    <a:pt x="305" y="327"/>
                  </a:lnTo>
                  <a:lnTo>
                    <a:pt x="305" y="327"/>
                  </a:lnTo>
                  <a:lnTo>
                    <a:pt x="303" y="326"/>
                  </a:lnTo>
                  <a:lnTo>
                    <a:pt x="302" y="325"/>
                  </a:lnTo>
                  <a:lnTo>
                    <a:pt x="300" y="323"/>
                  </a:lnTo>
                  <a:lnTo>
                    <a:pt x="299" y="322"/>
                  </a:lnTo>
                  <a:lnTo>
                    <a:pt x="298" y="322"/>
                  </a:lnTo>
                  <a:lnTo>
                    <a:pt x="297" y="321"/>
                  </a:lnTo>
                  <a:lnTo>
                    <a:pt x="296" y="321"/>
                  </a:lnTo>
                  <a:lnTo>
                    <a:pt x="293" y="319"/>
                  </a:lnTo>
                  <a:lnTo>
                    <a:pt x="291" y="319"/>
                  </a:lnTo>
                  <a:lnTo>
                    <a:pt x="290" y="318"/>
                  </a:lnTo>
                  <a:lnTo>
                    <a:pt x="289" y="317"/>
                  </a:lnTo>
                  <a:lnTo>
                    <a:pt x="288" y="316"/>
                  </a:lnTo>
                  <a:lnTo>
                    <a:pt x="287" y="315"/>
                  </a:lnTo>
                  <a:lnTo>
                    <a:pt x="286" y="314"/>
                  </a:lnTo>
                  <a:lnTo>
                    <a:pt x="284" y="311"/>
                  </a:lnTo>
                  <a:lnTo>
                    <a:pt x="282" y="310"/>
                  </a:lnTo>
                  <a:lnTo>
                    <a:pt x="281" y="309"/>
                  </a:lnTo>
                  <a:lnTo>
                    <a:pt x="281" y="309"/>
                  </a:lnTo>
                  <a:lnTo>
                    <a:pt x="281" y="309"/>
                  </a:lnTo>
                  <a:lnTo>
                    <a:pt x="279" y="308"/>
                  </a:lnTo>
                  <a:lnTo>
                    <a:pt x="278" y="307"/>
                  </a:lnTo>
                  <a:lnTo>
                    <a:pt x="277" y="307"/>
                  </a:lnTo>
                  <a:lnTo>
                    <a:pt x="274" y="306"/>
                  </a:lnTo>
                  <a:lnTo>
                    <a:pt x="272" y="306"/>
                  </a:lnTo>
                  <a:lnTo>
                    <a:pt x="271" y="305"/>
                  </a:lnTo>
                  <a:lnTo>
                    <a:pt x="270" y="305"/>
                  </a:lnTo>
                  <a:lnTo>
                    <a:pt x="270" y="304"/>
                  </a:lnTo>
                  <a:lnTo>
                    <a:pt x="269" y="304"/>
                  </a:lnTo>
                  <a:lnTo>
                    <a:pt x="269" y="303"/>
                  </a:lnTo>
                  <a:lnTo>
                    <a:pt x="268" y="302"/>
                  </a:lnTo>
                  <a:lnTo>
                    <a:pt x="268" y="301"/>
                  </a:lnTo>
                  <a:lnTo>
                    <a:pt x="267" y="300"/>
                  </a:lnTo>
                  <a:lnTo>
                    <a:pt x="266" y="296"/>
                  </a:lnTo>
                  <a:lnTo>
                    <a:pt x="266" y="295"/>
                  </a:lnTo>
                  <a:lnTo>
                    <a:pt x="265" y="294"/>
                  </a:lnTo>
                  <a:lnTo>
                    <a:pt x="265" y="293"/>
                  </a:lnTo>
                  <a:lnTo>
                    <a:pt x="264" y="293"/>
                  </a:lnTo>
                  <a:lnTo>
                    <a:pt x="264" y="292"/>
                  </a:lnTo>
                  <a:lnTo>
                    <a:pt x="263" y="292"/>
                  </a:lnTo>
                  <a:lnTo>
                    <a:pt x="261" y="289"/>
                  </a:lnTo>
                  <a:lnTo>
                    <a:pt x="261" y="288"/>
                  </a:lnTo>
                  <a:lnTo>
                    <a:pt x="260" y="288"/>
                  </a:lnTo>
                  <a:lnTo>
                    <a:pt x="259" y="287"/>
                  </a:lnTo>
                  <a:lnTo>
                    <a:pt x="258" y="287"/>
                  </a:lnTo>
                  <a:lnTo>
                    <a:pt x="257" y="286"/>
                  </a:lnTo>
                  <a:lnTo>
                    <a:pt x="255" y="286"/>
                  </a:lnTo>
                  <a:lnTo>
                    <a:pt x="252" y="285"/>
                  </a:lnTo>
                  <a:lnTo>
                    <a:pt x="248" y="284"/>
                  </a:lnTo>
                  <a:lnTo>
                    <a:pt x="246" y="283"/>
                  </a:lnTo>
                  <a:lnTo>
                    <a:pt x="243" y="283"/>
                  </a:lnTo>
                  <a:lnTo>
                    <a:pt x="242" y="282"/>
                  </a:lnTo>
                  <a:lnTo>
                    <a:pt x="241" y="282"/>
                  </a:lnTo>
                  <a:lnTo>
                    <a:pt x="240" y="282"/>
                  </a:lnTo>
                  <a:lnTo>
                    <a:pt x="239" y="282"/>
                  </a:lnTo>
                  <a:lnTo>
                    <a:pt x="238" y="283"/>
                  </a:lnTo>
                  <a:lnTo>
                    <a:pt x="236" y="284"/>
                  </a:lnTo>
                  <a:lnTo>
                    <a:pt x="234" y="284"/>
                  </a:lnTo>
                  <a:lnTo>
                    <a:pt x="233" y="285"/>
                  </a:lnTo>
                  <a:lnTo>
                    <a:pt x="232" y="286"/>
                  </a:lnTo>
                  <a:lnTo>
                    <a:pt x="232" y="286"/>
                  </a:lnTo>
                  <a:lnTo>
                    <a:pt x="229" y="289"/>
                  </a:lnTo>
                  <a:lnTo>
                    <a:pt x="228" y="289"/>
                  </a:lnTo>
                  <a:lnTo>
                    <a:pt x="228" y="290"/>
                  </a:lnTo>
                  <a:lnTo>
                    <a:pt x="227" y="290"/>
                  </a:lnTo>
                  <a:lnTo>
                    <a:pt x="226" y="291"/>
                  </a:lnTo>
                  <a:lnTo>
                    <a:pt x="223" y="292"/>
                  </a:lnTo>
                  <a:lnTo>
                    <a:pt x="222" y="293"/>
                  </a:lnTo>
                  <a:lnTo>
                    <a:pt x="221" y="293"/>
                  </a:lnTo>
                  <a:lnTo>
                    <a:pt x="218" y="295"/>
                  </a:lnTo>
                  <a:lnTo>
                    <a:pt x="217" y="296"/>
                  </a:lnTo>
                  <a:lnTo>
                    <a:pt x="216" y="296"/>
                  </a:lnTo>
                  <a:lnTo>
                    <a:pt x="215" y="296"/>
                  </a:lnTo>
                  <a:lnTo>
                    <a:pt x="215" y="296"/>
                  </a:lnTo>
                  <a:lnTo>
                    <a:pt x="214" y="296"/>
                  </a:lnTo>
                  <a:lnTo>
                    <a:pt x="214" y="296"/>
                  </a:lnTo>
                  <a:lnTo>
                    <a:pt x="213" y="296"/>
                  </a:lnTo>
                  <a:lnTo>
                    <a:pt x="212" y="296"/>
                  </a:lnTo>
                  <a:lnTo>
                    <a:pt x="211" y="296"/>
                  </a:lnTo>
                  <a:lnTo>
                    <a:pt x="210" y="296"/>
                  </a:lnTo>
                  <a:lnTo>
                    <a:pt x="210" y="296"/>
                  </a:lnTo>
                  <a:lnTo>
                    <a:pt x="209" y="295"/>
                  </a:lnTo>
                  <a:lnTo>
                    <a:pt x="209" y="295"/>
                  </a:lnTo>
                  <a:lnTo>
                    <a:pt x="208" y="294"/>
                  </a:lnTo>
                  <a:lnTo>
                    <a:pt x="207" y="294"/>
                  </a:lnTo>
                  <a:lnTo>
                    <a:pt x="207" y="293"/>
                  </a:lnTo>
                  <a:lnTo>
                    <a:pt x="206" y="292"/>
                  </a:lnTo>
                  <a:lnTo>
                    <a:pt x="206" y="291"/>
                  </a:lnTo>
                  <a:lnTo>
                    <a:pt x="205" y="288"/>
                  </a:lnTo>
                  <a:lnTo>
                    <a:pt x="204" y="286"/>
                  </a:lnTo>
                  <a:lnTo>
                    <a:pt x="204" y="285"/>
                  </a:lnTo>
                  <a:lnTo>
                    <a:pt x="203" y="283"/>
                  </a:lnTo>
                  <a:lnTo>
                    <a:pt x="202" y="282"/>
                  </a:lnTo>
                  <a:lnTo>
                    <a:pt x="201" y="282"/>
                  </a:lnTo>
                  <a:lnTo>
                    <a:pt x="201" y="281"/>
                  </a:lnTo>
                  <a:lnTo>
                    <a:pt x="200" y="281"/>
                  </a:lnTo>
                  <a:lnTo>
                    <a:pt x="200" y="280"/>
                  </a:lnTo>
                  <a:lnTo>
                    <a:pt x="199" y="279"/>
                  </a:lnTo>
                  <a:lnTo>
                    <a:pt x="199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6" y="280"/>
                  </a:lnTo>
                  <a:lnTo>
                    <a:pt x="194" y="281"/>
                  </a:lnTo>
                  <a:lnTo>
                    <a:pt x="193" y="282"/>
                  </a:lnTo>
                  <a:lnTo>
                    <a:pt x="192" y="283"/>
                  </a:lnTo>
                  <a:lnTo>
                    <a:pt x="191" y="284"/>
                  </a:lnTo>
                  <a:lnTo>
                    <a:pt x="190" y="285"/>
                  </a:lnTo>
                  <a:lnTo>
                    <a:pt x="189" y="285"/>
                  </a:lnTo>
                  <a:lnTo>
                    <a:pt x="189" y="286"/>
                  </a:lnTo>
                  <a:lnTo>
                    <a:pt x="188" y="287"/>
                  </a:lnTo>
                  <a:lnTo>
                    <a:pt x="188" y="287"/>
                  </a:lnTo>
                  <a:lnTo>
                    <a:pt x="187" y="288"/>
                  </a:lnTo>
                  <a:lnTo>
                    <a:pt x="186" y="291"/>
                  </a:lnTo>
                  <a:lnTo>
                    <a:pt x="186" y="292"/>
                  </a:lnTo>
                  <a:lnTo>
                    <a:pt x="185" y="292"/>
                  </a:lnTo>
                  <a:lnTo>
                    <a:pt x="185" y="293"/>
                  </a:lnTo>
                  <a:lnTo>
                    <a:pt x="184" y="294"/>
                  </a:lnTo>
                  <a:lnTo>
                    <a:pt x="184" y="294"/>
                  </a:lnTo>
                  <a:lnTo>
                    <a:pt x="183" y="295"/>
                  </a:lnTo>
                  <a:lnTo>
                    <a:pt x="182" y="296"/>
                  </a:lnTo>
                  <a:lnTo>
                    <a:pt x="181" y="296"/>
                  </a:lnTo>
                  <a:lnTo>
                    <a:pt x="180" y="296"/>
                  </a:lnTo>
                  <a:lnTo>
                    <a:pt x="178" y="297"/>
                  </a:lnTo>
                  <a:lnTo>
                    <a:pt x="176" y="297"/>
                  </a:lnTo>
                  <a:lnTo>
                    <a:pt x="175" y="298"/>
                  </a:lnTo>
                  <a:lnTo>
                    <a:pt x="172" y="299"/>
                  </a:lnTo>
                  <a:lnTo>
                    <a:pt x="171" y="300"/>
                  </a:lnTo>
                  <a:lnTo>
                    <a:pt x="170" y="300"/>
                  </a:lnTo>
                  <a:lnTo>
                    <a:pt x="170" y="300"/>
                  </a:lnTo>
                  <a:lnTo>
                    <a:pt x="168" y="300"/>
                  </a:lnTo>
                  <a:lnTo>
                    <a:pt x="167" y="300"/>
                  </a:lnTo>
                  <a:lnTo>
                    <a:pt x="167" y="300"/>
                  </a:lnTo>
                  <a:lnTo>
                    <a:pt x="165" y="299"/>
                  </a:lnTo>
                  <a:lnTo>
                    <a:pt x="163" y="298"/>
                  </a:lnTo>
                  <a:lnTo>
                    <a:pt x="161" y="298"/>
                  </a:lnTo>
                  <a:lnTo>
                    <a:pt x="161" y="297"/>
                  </a:lnTo>
                  <a:lnTo>
                    <a:pt x="160" y="297"/>
                  </a:lnTo>
                  <a:lnTo>
                    <a:pt x="159" y="297"/>
                  </a:lnTo>
                  <a:lnTo>
                    <a:pt x="158" y="297"/>
                  </a:lnTo>
                  <a:lnTo>
                    <a:pt x="156" y="297"/>
                  </a:lnTo>
                  <a:lnTo>
                    <a:pt x="155" y="297"/>
                  </a:lnTo>
                  <a:lnTo>
                    <a:pt x="153" y="297"/>
                  </a:lnTo>
                  <a:lnTo>
                    <a:pt x="152" y="297"/>
                  </a:lnTo>
                  <a:lnTo>
                    <a:pt x="151" y="297"/>
                  </a:lnTo>
                  <a:lnTo>
                    <a:pt x="148" y="297"/>
                  </a:lnTo>
                  <a:lnTo>
                    <a:pt x="147" y="297"/>
                  </a:lnTo>
                  <a:lnTo>
                    <a:pt x="146" y="297"/>
                  </a:lnTo>
                  <a:lnTo>
                    <a:pt x="144" y="297"/>
                  </a:lnTo>
                  <a:lnTo>
                    <a:pt x="144" y="297"/>
                  </a:lnTo>
                  <a:lnTo>
                    <a:pt x="143" y="297"/>
                  </a:lnTo>
                  <a:lnTo>
                    <a:pt x="142" y="296"/>
                  </a:lnTo>
                  <a:lnTo>
                    <a:pt x="141" y="296"/>
                  </a:lnTo>
                  <a:lnTo>
                    <a:pt x="140" y="296"/>
                  </a:lnTo>
                  <a:lnTo>
                    <a:pt x="139" y="294"/>
                  </a:lnTo>
                  <a:lnTo>
                    <a:pt x="138" y="294"/>
                  </a:lnTo>
                  <a:lnTo>
                    <a:pt x="138" y="294"/>
                  </a:lnTo>
                  <a:lnTo>
                    <a:pt x="137" y="293"/>
                  </a:lnTo>
                  <a:lnTo>
                    <a:pt x="137" y="293"/>
                  </a:lnTo>
                  <a:lnTo>
                    <a:pt x="136" y="293"/>
                  </a:lnTo>
                  <a:lnTo>
                    <a:pt x="136" y="293"/>
                  </a:lnTo>
                  <a:lnTo>
                    <a:pt x="136" y="293"/>
                  </a:lnTo>
                  <a:lnTo>
                    <a:pt x="135" y="293"/>
                  </a:lnTo>
                  <a:lnTo>
                    <a:pt x="132" y="295"/>
                  </a:lnTo>
                  <a:lnTo>
                    <a:pt x="131" y="296"/>
                  </a:lnTo>
                  <a:lnTo>
                    <a:pt x="130" y="296"/>
                  </a:lnTo>
                  <a:lnTo>
                    <a:pt x="128" y="296"/>
                  </a:lnTo>
                  <a:lnTo>
                    <a:pt x="127" y="296"/>
                  </a:lnTo>
                  <a:lnTo>
                    <a:pt x="126" y="297"/>
                  </a:lnTo>
                  <a:lnTo>
                    <a:pt x="125" y="297"/>
                  </a:lnTo>
                  <a:lnTo>
                    <a:pt x="125" y="298"/>
                  </a:lnTo>
                  <a:lnTo>
                    <a:pt x="124" y="298"/>
                  </a:lnTo>
                  <a:lnTo>
                    <a:pt x="123" y="299"/>
                  </a:lnTo>
                  <a:lnTo>
                    <a:pt x="123" y="300"/>
                  </a:lnTo>
                  <a:lnTo>
                    <a:pt x="122" y="300"/>
                  </a:lnTo>
                  <a:lnTo>
                    <a:pt x="122" y="301"/>
                  </a:lnTo>
                  <a:lnTo>
                    <a:pt x="121" y="303"/>
                  </a:lnTo>
                  <a:lnTo>
                    <a:pt x="121" y="303"/>
                  </a:lnTo>
                  <a:lnTo>
                    <a:pt x="120" y="304"/>
                  </a:lnTo>
                  <a:lnTo>
                    <a:pt x="120" y="305"/>
                  </a:lnTo>
                  <a:lnTo>
                    <a:pt x="118" y="306"/>
                  </a:lnTo>
                  <a:lnTo>
                    <a:pt x="117" y="307"/>
                  </a:lnTo>
                  <a:lnTo>
                    <a:pt x="116" y="307"/>
                  </a:lnTo>
                  <a:lnTo>
                    <a:pt x="115" y="308"/>
                  </a:lnTo>
                  <a:lnTo>
                    <a:pt x="114" y="308"/>
                  </a:lnTo>
                  <a:lnTo>
                    <a:pt x="112" y="310"/>
                  </a:lnTo>
                  <a:lnTo>
                    <a:pt x="111" y="310"/>
                  </a:lnTo>
                  <a:lnTo>
                    <a:pt x="110" y="311"/>
                  </a:lnTo>
                  <a:lnTo>
                    <a:pt x="109" y="311"/>
                  </a:lnTo>
                  <a:lnTo>
                    <a:pt x="108" y="312"/>
                  </a:lnTo>
                  <a:lnTo>
                    <a:pt x="107" y="312"/>
                  </a:lnTo>
                  <a:lnTo>
                    <a:pt x="106" y="312"/>
                  </a:lnTo>
                  <a:lnTo>
                    <a:pt x="105" y="312"/>
                  </a:lnTo>
                  <a:lnTo>
                    <a:pt x="104" y="313"/>
                  </a:lnTo>
                  <a:lnTo>
                    <a:pt x="103" y="313"/>
                  </a:lnTo>
                  <a:lnTo>
                    <a:pt x="102" y="313"/>
                  </a:lnTo>
                  <a:lnTo>
                    <a:pt x="102" y="313"/>
                  </a:lnTo>
                  <a:lnTo>
                    <a:pt x="101" y="312"/>
                  </a:lnTo>
                  <a:lnTo>
                    <a:pt x="100" y="312"/>
                  </a:lnTo>
                  <a:lnTo>
                    <a:pt x="99" y="312"/>
                  </a:lnTo>
                  <a:lnTo>
                    <a:pt x="98" y="311"/>
                  </a:lnTo>
                  <a:lnTo>
                    <a:pt x="98" y="311"/>
                  </a:lnTo>
                  <a:lnTo>
                    <a:pt x="97" y="311"/>
                  </a:lnTo>
                  <a:lnTo>
                    <a:pt x="97" y="310"/>
                  </a:lnTo>
                  <a:lnTo>
                    <a:pt x="97" y="310"/>
                  </a:lnTo>
                  <a:lnTo>
                    <a:pt x="97" y="310"/>
                  </a:lnTo>
                  <a:lnTo>
                    <a:pt x="97" y="309"/>
                  </a:lnTo>
                  <a:lnTo>
                    <a:pt x="97" y="308"/>
                  </a:lnTo>
                  <a:lnTo>
                    <a:pt x="97" y="306"/>
                  </a:lnTo>
                  <a:lnTo>
                    <a:pt x="97" y="306"/>
                  </a:lnTo>
                  <a:lnTo>
                    <a:pt x="97" y="305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7" y="303"/>
                  </a:lnTo>
                  <a:lnTo>
                    <a:pt x="97" y="303"/>
                  </a:lnTo>
                  <a:lnTo>
                    <a:pt x="96" y="302"/>
                  </a:lnTo>
                  <a:lnTo>
                    <a:pt x="96" y="302"/>
                  </a:lnTo>
                  <a:lnTo>
                    <a:pt x="96" y="301"/>
                  </a:lnTo>
                  <a:lnTo>
                    <a:pt x="94" y="301"/>
                  </a:lnTo>
                  <a:lnTo>
                    <a:pt x="93" y="300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7"/>
                  </a:lnTo>
                  <a:lnTo>
                    <a:pt x="87" y="297"/>
                  </a:lnTo>
                  <a:lnTo>
                    <a:pt x="85" y="296"/>
                  </a:lnTo>
                  <a:lnTo>
                    <a:pt x="84" y="296"/>
                  </a:lnTo>
                  <a:lnTo>
                    <a:pt x="83" y="296"/>
                  </a:lnTo>
                  <a:lnTo>
                    <a:pt x="79" y="295"/>
                  </a:lnTo>
                  <a:lnTo>
                    <a:pt x="76" y="294"/>
                  </a:lnTo>
                  <a:lnTo>
                    <a:pt x="75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2"/>
                  </a:lnTo>
                  <a:lnTo>
                    <a:pt x="74" y="292"/>
                  </a:lnTo>
                  <a:lnTo>
                    <a:pt x="74" y="292"/>
                  </a:lnTo>
                  <a:lnTo>
                    <a:pt x="75" y="289"/>
                  </a:lnTo>
                  <a:lnTo>
                    <a:pt x="75" y="289"/>
                  </a:lnTo>
                  <a:lnTo>
                    <a:pt x="75" y="288"/>
                  </a:lnTo>
                  <a:lnTo>
                    <a:pt x="75" y="287"/>
                  </a:lnTo>
                  <a:lnTo>
                    <a:pt x="74" y="286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5" y="284"/>
                  </a:lnTo>
                  <a:lnTo>
                    <a:pt x="75" y="283"/>
                  </a:lnTo>
                  <a:lnTo>
                    <a:pt x="76" y="282"/>
                  </a:lnTo>
                  <a:lnTo>
                    <a:pt x="77" y="281"/>
                  </a:lnTo>
                  <a:lnTo>
                    <a:pt x="78" y="279"/>
                  </a:lnTo>
                  <a:lnTo>
                    <a:pt x="79" y="278"/>
                  </a:lnTo>
                  <a:lnTo>
                    <a:pt x="80" y="277"/>
                  </a:lnTo>
                  <a:lnTo>
                    <a:pt x="81" y="275"/>
                  </a:lnTo>
                  <a:lnTo>
                    <a:pt x="82" y="274"/>
                  </a:lnTo>
                  <a:lnTo>
                    <a:pt x="82" y="273"/>
                  </a:lnTo>
                  <a:lnTo>
                    <a:pt x="83" y="271"/>
                  </a:lnTo>
                  <a:lnTo>
                    <a:pt x="83" y="270"/>
                  </a:lnTo>
                  <a:lnTo>
                    <a:pt x="84" y="269"/>
                  </a:lnTo>
                  <a:lnTo>
                    <a:pt x="84" y="268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66"/>
                  </a:lnTo>
                  <a:lnTo>
                    <a:pt x="84" y="266"/>
                  </a:lnTo>
                  <a:lnTo>
                    <a:pt x="83" y="264"/>
                  </a:lnTo>
                  <a:lnTo>
                    <a:pt x="83" y="263"/>
                  </a:lnTo>
                  <a:lnTo>
                    <a:pt x="82" y="261"/>
                  </a:lnTo>
                  <a:lnTo>
                    <a:pt x="82" y="260"/>
                  </a:lnTo>
                  <a:lnTo>
                    <a:pt x="80" y="258"/>
                  </a:lnTo>
                  <a:lnTo>
                    <a:pt x="79" y="257"/>
                  </a:lnTo>
                  <a:lnTo>
                    <a:pt x="78" y="255"/>
                  </a:lnTo>
                  <a:lnTo>
                    <a:pt x="78" y="254"/>
                  </a:lnTo>
                  <a:lnTo>
                    <a:pt x="78" y="254"/>
                  </a:lnTo>
                  <a:lnTo>
                    <a:pt x="78" y="253"/>
                  </a:lnTo>
                  <a:lnTo>
                    <a:pt x="78" y="251"/>
                  </a:lnTo>
                  <a:lnTo>
                    <a:pt x="78" y="249"/>
                  </a:lnTo>
                  <a:lnTo>
                    <a:pt x="78" y="248"/>
                  </a:lnTo>
                  <a:lnTo>
                    <a:pt x="78" y="247"/>
                  </a:lnTo>
                  <a:lnTo>
                    <a:pt x="78" y="246"/>
                  </a:lnTo>
                  <a:lnTo>
                    <a:pt x="78" y="243"/>
                  </a:lnTo>
                  <a:lnTo>
                    <a:pt x="79" y="242"/>
                  </a:lnTo>
                  <a:lnTo>
                    <a:pt x="79" y="240"/>
                  </a:lnTo>
                  <a:lnTo>
                    <a:pt x="78" y="237"/>
                  </a:lnTo>
                  <a:lnTo>
                    <a:pt x="78" y="235"/>
                  </a:lnTo>
                  <a:lnTo>
                    <a:pt x="78" y="233"/>
                  </a:lnTo>
                  <a:lnTo>
                    <a:pt x="78" y="233"/>
                  </a:lnTo>
                  <a:lnTo>
                    <a:pt x="78" y="231"/>
                  </a:lnTo>
                  <a:lnTo>
                    <a:pt x="77" y="230"/>
                  </a:lnTo>
                  <a:lnTo>
                    <a:pt x="77" y="230"/>
                  </a:lnTo>
                  <a:lnTo>
                    <a:pt x="77" y="229"/>
                  </a:lnTo>
                  <a:lnTo>
                    <a:pt x="76" y="228"/>
                  </a:lnTo>
                  <a:lnTo>
                    <a:pt x="75" y="228"/>
                  </a:lnTo>
                  <a:lnTo>
                    <a:pt x="75" y="227"/>
                  </a:lnTo>
                  <a:lnTo>
                    <a:pt x="73" y="226"/>
                  </a:lnTo>
                  <a:lnTo>
                    <a:pt x="72" y="225"/>
                  </a:lnTo>
                  <a:lnTo>
                    <a:pt x="72" y="224"/>
                  </a:lnTo>
                  <a:lnTo>
                    <a:pt x="71" y="224"/>
                  </a:lnTo>
                  <a:lnTo>
                    <a:pt x="70" y="224"/>
                  </a:lnTo>
                  <a:lnTo>
                    <a:pt x="70" y="224"/>
                  </a:lnTo>
                  <a:lnTo>
                    <a:pt x="69" y="224"/>
                  </a:lnTo>
                  <a:lnTo>
                    <a:pt x="68" y="224"/>
                  </a:lnTo>
                  <a:lnTo>
                    <a:pt x="68" y="224"/>
                  </a:lnTo>
                  <a:lnTo>
                    <a:pt x="66" y="225"/>
                  </a:lnTo>
                  <a:lnTo>
                    <a:pt x="65" y="225"/>
                  </a:lnTo>
                  <a:lnTo>
                    <a:pt x="63" y="226"/>
                  </a:lnTo>
                  <a:lnTo>
                    <a:pt x="59" y="227"/>
                  </a:lnTo>
                  <a:lnTo>
                    <a:pt x="58" y="228"/>
                  </a:lnTo>
                  <a:lnTo>
                    <a:pt x="57" y="228"/>
                  </a:lnTo>
                  <a:lnTo>
                    <a:pt x="56" y="228"/>
                  </a:lnTo>
                  <a:lnTo>
                    <a:pt x="55" y="228"/>
                  </a:lnTo>
                  <a:lnTo>
                    <a:pt x="52" y="227"/>
                  </a:lnTo>
                  <a:lnTo>
                    <a:pt x="49" y="227"/>
                  </a:lnTo>
                  <a:lnTo>
                    <a:pt x="45" y="226"/>
                  </a:lnTo>
                  <a:lnTo>
                    <a:pt x="44" y="226"/>
                  </a:lnTo>
                  <a:lnTo>
                    <a:pt x="43" y="226"/>
                  </a:lnTo>
                  <a:lnTo>
                    <a:pt x="39" y="227"/>
                  </a:lnTo>
                  <a:lnTo>
                    <a:pt x="38" y="227"/>
                  </a:lnTo>
                  <a:lnTo>
                    <a:pt x="37" y="227"/>
                  </a:lnTo>
                  <a:lnTo>
                    <a:pt x="36" y="227"/>
                  </a:lnTo>
                  <a:lnTo>
                    <a:pt x="36" y="227"/>
                  </a:lnTo>
                  <a:lnTo>
                    <a:pt x="35" y="226"/>
                  </a:lnTo>
                  <a:lnTo>
                    <a:pt x="34" y="226"/>
                  </a:lnTo>
                  <a:lnTo>
                    <a:pt x="33" y="226"/>
                  </a:lnTo>
                  <a:lnTo>
                    <a:pt x="33" y="225"/>
                  </a:lnTo>
                  <a:lnTo>
                    <a:pt x="32" y="225"/>
                  </a:lnTo>
                  <a:lnTo>
                    <a:pt x="31" y="224"/>
                  </a:lnTo>
                  <a:lnTo>
                    <a:pt x="31" y="224"/>
                  </a:lnTo>
                  <a:lnTo>
                    <a:pt x="30" y="223"/>
                  </a:lnTo>
                  <a:lnTo>
                    <a:pt x="30" y="223"/>
                  </a:lnTo>
                  <a:lnTo>
                    <a:pt x="30" y="222"/>
                  </a:lnTo>
                  <a:lnTo>
                    <a:pt x="29" y="221"/>
                  </a:lnTo>
                  <a:lnTo>
                    <a:pt x="29" y="220"/>
                  </a:lnTo>
                  <a:lnTo>
                    <a:pt x="29" y="219"/>
                  </a:lnTo>
                  <a:lnTo>
                    <a:pt x="29" y="219"/>
                  </a:lnTo>
                  <a:lnTo>
                    <a:pt x="29" y="217"/>
                  </a:lnTo>
                  <a:lnTo>
                    <a:pt x="29" y="215"/>
                  </a:lnTo>
                  <a:lnTo>
                    <a:pt x="29" y="214"/>
                  </a:lnTo>
                  <a:lnTo>
                    <a:pt x="28" y="214"/>
                  </a:lnTo>
                  <a:lnTo>
                    <a:pt x="28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5" y="210"/>
                  </a:lnTo>
                  <a:lnTo>
                    <a:pt x="24" y="209"/>
                  </a:lnTo>
                  <a:lnTo>
                    <a:pt x="23" y="208"/>
                  </a:lnTo>
                  <a:lnTo>
                    <a:pt x="22" y="207"/>
                  </a:lnTo>
                  <a:lnTo>
                    <a:pt x="22" y="207"/>
                  </a:lnTo>
                  <a:lnTo>
                    <a:pt x="21" y="205"/>
                  </a:lnTo>
                  <a:lnTo>
                    <a:pt x="20" y="205"/>
                  </a:lnTo>
                  <a:lnTo>
                    <a:pt x="20" y="204"/>
                  </a:lnTo>
                  <a:lnTo>
                    <a:pt x="19" y="204"/>
                  </a:lnTo>
                  <a:lnTo>
                    <a:pt x="18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5" y="202"/>
                  </a:lnTo>
                  <a:lnTo>
                    <a:pt x="12" y="202"/>
                  </a:lnTo>
                  <a:lnTo>
                    <a:pt x="11" y="202"/>
                  </a:lnTo>
                  <a:lnTo>
                    <a:pt x="10" y="202"/>
                  </a:lnTo>
                  <a:lnTo>
                    <a:pt x="10" y="202"/>
                  </a:lnTo>
                  <a:lnTo>
                    <a:pt x="9" y="201"/>
                  </a:lnTo>
                  <a:lnTo>
                    <a:pt x="9" y="201"/>
                  </a:lnTo>
                  <a:lnTo>
                    <a:pt x="8" y="201"/>
                  </a:lnTo>
                  <a:lnTo>
                    <a:pt x="7" y="200"/>
                  </a:lnTo>
                  <a:lnTo>
                    <a:pt x="6" y="200"/>
                  </a:lnTo>
                  <a:lnTo>
                    <a:pt x="6" y="199"/>
                  </a:lnTo>
                  <a:lnTo>
                    <a:pt x="5" y="199"/>
                  </a:lnTo>
                  <a:lnTo>
                    <a:pt x="5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3" y="194"/>
                  </a:lnTo>
                  <a:lnTo>
                    <a:pt x="3" y="193"/>
                  </a:lnTo>
                  <a:lnTo>
                    <a:pt x="2" y="192"/>
                  </a:lnTo>
                  <a:lnTo>
                    <a:pt x="1" y="190"/>
                  </a:lnTo>
                  <a:lnTo>
                    <a:pt x="1" y="189"/>
                  </a:lnTo>
                  <a:lnTo>
                    <a:pt x="1" y="189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1" y="185"/>
                  </a:lnTo>
                  <a:lnTo>
                    <a:pt x="1" y="185"/>
                  </a:lnTo>
                  <a:lnTo>
                    <a:pt x="1" y="184"/>
                  </a:lnTo>
                  <a:lnTo>
                    <a:pt x="2" y="183"/>
                  </a:lnTo>
                  <a:lnTo>
                    <a:pt x="2" y="183"/>
                  </a:lnTo>
                  <a:lnTo>
                    <a:pt x="3" y="183"/>
                  </a:lnTo>
                  <a:lnTo>
                    <a:pt x="5" y="181"/>
                  </a:lnTo>
                  <a:lnTo>
                    <a:pt x="6" y="181"/>
                  </a:lnTo>
                  <a:lnTo>
                    <a:pt x="6" y="180"/>
                  </a:lnTo>
                  <a:lnTo>
                    <a:pt x="7" y="180"/>
                  </a:lnTo>
                  <a:lnTo>
                    <a:pt x="7" y="180"/>
                  </a:lnTo>
                  <a:lnTo>
                    <a:pt x="7" y="179"/>
                  </a:lnTo>
                  <a:lnTo>
                    <a:pt x="8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2" y="170"/>
                  </a:lnTo>
                  <a:lnTo>
                    <a:pt x="12" y="169"/>
                  </a:lnTo>
                  <a:lnTo>
                    <a:pt x="13" y="168"/>
                  </a:lnTo>
                  <a:lnTo>
                    <a:pt x="13" y="166"/>
                  </a:lnTo>
                  <a:lnTo>
                    <a:pt x="13" y="165"/>
                  </a:lnTo>
                  <a:lnTo>
                    <a:pt x="13" y="164"/>
                  </a:lnTo>
                  <a:lnTo>
                    <a:pt x="12" y="162"/>
                  </a:lnTo>
                  <a:lnTo>
                    <a:pt x="11" y="159"/>
                  </a:lnTo>
                  <a:lnTo>
                    <a:pt x="11" y="158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9" y="155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2"/>
                  </a:lnTo>
                  <a:lnTo>
                    <a:pt x="7" y="151"/>
                  </a:lnTo>
                  <a:lnTo>
                    <a:pt x="7" y="150"/>
                  </a:lnTo>
                  <a:lnTo>
                    <a:pt x="7" y="149"/>
                  </a:lnTo>
                  <a:lnTo>
                    <a:pt x="7" y="144"/>
                  </a:lnTo>
                  <a:lnTo>
                    <a:pt x="7" y="142"/>
                  </a:lnTo>
                  <a:lnTo>
                    <a:pt x="7" y="141"/>
                  </a:lnTo>
                  <a:lnTo>
                    <a:pt x="7" y="141"/>
                  </a:lnTo>
                  <a:lnTo>
                    <a:pt x="7" y="140"/>
                  </a:lnTo>
                  <a:lnTo>
                    <a:pt x="6" y="138"/>
                  </a:lnTo>
                  <a:lnTo>
                    <a:pt x="5" y="136"/>
                  </a:lnTo>
                  <a:lnTo>
                    <a:pt x="5" y="135"/>
                  </a:lnTo>
                  <a:lnTo>
                    <a:pt x="4" y="133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3" y="127"/>
                  </a:lnTo>
                  <a:lnTo>
                    <a:pt x="3" y="126"/>
                  </a:lnTo>
                  <a:lnTo>
                    <a:pt x="4" y="125"/>
                  </a:lnTo>
                  <a:lnTo>
                    <a:pt x="5" y="124"/>
                  </a:lnTo>
                  <a:lnTo>
                    <a:pt x="6" y="123"/>
                  </a:lnTo>
                  <a:lnTo>
                    <a:pt x="8" y="121"/>
                  </a:lnTo>
                  <a:lnTo>
                    <a:pt x="9" y="120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20"/>
                  </a:lnTo>
                  <a:lnTo>
                    <a:pt x="11" y="121"/>
                  </a:lnTo>
                  <a:lnTo>
                    <a:pt x="13" y="121"/>
                  </a:lnTo>
                  <a:lnTo>
                    <a:pt x="15" y="123"/>
                  </a:lnTo>
                  <a:lnTo>
                    <a:pt x="17" y="124"/>
                  </a:lnTo>
                  <a:lnTo>
                    <a:pt x="21" y="126"/>
                  </a:lnTo>
                  <a:lnTo>
                    <a:pt x="22" y="127"/>
                  </a:lnTo>
                  <a:lnTo>
                    <a:pt x="24" y="127"/>
                  </a:lnTo>
                  <a:lnTo>
                    <a:pt x="25" y="128"/>
                  </a:lnTo>
                  <a:lnTo>
                    <a:pt x="27" y="129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Freeform 24">
              <a:extLst>
                <a:ext uri="{FF2B5EF4-FFF2-40B4-BE49-F238E27FC236}">
                  <a16:creationId xmlns:a16="http://schemas.microsoft.com/office/drawing/2014/main" id="{88A46074-5AEB-4F0B-D971-F1A33FE9CF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2" y="2993"/>
              <a:ext cx="124" cy="138"/>
            </a:xfrm>
            <a:custGeom>
              <a:avLst/>
              <a:gdLst>
                <a:gd name="T0" fmla="*/ 3 w 124"/>
                <a:gd name="T1" fmla="*/ 131 h 138"/>
                <a:gd name="T2" fmla="*/ 7 w 124"/>
                <a:gd name="T3" fmla="*/ 131 h 138"/>
                <a:gd name="T4" fmla="*/ 9 w 124"/>
                <a:gd name="T5" fmla="*/ 130 h 138"/>
                <a:gd name="T6" fmla="*/ 15 w 124"/>
                <a:gd name="T7" fmla="*/ 123 h 138"/>
                <a:gd name="T8" fmla="*/ 18 w 124"/>
                <a:gd name="T9" fmla="*/ 121 h 138"/>
                <a:gd name="T10" fmla="*/ 20 w 124"/>
                <a:gd name="T11" fmla="*/ 120 h 138"/>
                <a:gd name="T12" fmla="*/ 24 w 124"/>
                <a:gd name="T13" fmla="*/ 120 h 138"/>
                <a:gd name="T14" fmla="*/ 29 w 124"/>
                <a:gd name="T15" fmla="*/ 123 h 138"/>
                <a:gd name="T16" fmla="*/ 35 w 124"/>
                <a:gd name="T17" fmla="*/ 124 h 138"/>
                <a:gd name="T18" fmla="*/ 39 w 124"/>
                <a:gd name="T19" fmla="*/ 126 h 138"/>
                <a:gd name="T20" fmla="*/ 46 w 124"/>
                <a:gd name="T21" fmla="*/ 129 h 138"/>
                <a:gd name="T22" fmla="*/ 50 w 124"/>
                <a:gd name="T23" fmla="*/ 129 h 138"/>
                <a:gd name="T24" fmla="*/ 52 w 124"/>
                <a:gd name="T25" fmla="*/ 130 h 138"/>
                <a:gd name="T26" fmla="*/ 53 w 124"/>
                <a:gd name="T27" fmla="*/ 133 h 138"/>
                <a:gd name="T28" fmla="*/ 54 w 124"/>
                <a:gd name="T29" fmla="*/ 136 h 138"/>
                <a:gd name="T30" fmla="*/ 56 w 124"/>
                <a:gd name="T31" fmla="*/ 138 h 138"/>
                <a:gd name="T32" fmla="*/ 59 w 124"/>
                <a:gd name="T33" fmla="*/ 138 h 138"/>
                <a:gd name="T34" fmla="*/ 63 w 124"/>
                <a:gd name="T35" fmla="*/ 138 h 138"/>
                <a:gd name="T36" fmla="*/ 66 w 124"/>
                <a:gd name="T37" fmla="*/ 136 h 138"/>
                <a:gd name="T38" fmla="*/ 70 w 124"/>
                <a:gd name="T39" fmla="*/ 133 h 138"/>
                <a:gd name="T40" fmla="*/ 71 w 124"/>
                <a:gd name="T41" fmla="*/ 130 h 138"/>
                <a:gd name="T42" fmla="*/ 70 w 124"/>
                <a:gd name="T43" fmla="*/ 124 h 138"/>
                <a:gd name="T44" fmla="*/ 71 w 124"/>
                <a:gd name="T45" fmla="*/ 121 h 138"/>
                <a:gd name="T46" fmla="*/ 75 w 124"/>
                <a:gd name="T47" fmla="*/ 117 h 138"/>
                <a:gd name="T48" fmla="*/ 80 w 124"/>
                <a:gd name="T49" fmla="*/ 112 h 138"/>
                <a:gd name="T50" fmla="*/ 82 w 124"/>
                <a:gd name="T51" fmla="*/ 111 h 138"/>
                <a:gd name="T52" fmla="*/ 85 w 124"/>
                <a:gd name="T53" fmla="*/ 112 h 138"/>
                <a:gd name="T54" fmla="*/ 88 w 124"/>
                <a:gd name="T55" fmla="*/ 117 h 138"/>
                <a:gd name="T56" fmla="*/ 91 w 124"/>
                <a:gd name="T57" fmla="*/ 120 h 138"/>
                <a:gd name="T58" fmla="*/ 96 w 124"/>
                <a:gd name="T59" fmla="*/ 122 h 138"/>
                <a:gd name="T60" fmla="*/ 99 w 124"/>
                <a:gd name="T61" fmla="*/ 122 h 138"/>
                <a:gd name="T62" fmla="*/ 105 w 124"/>
                <a:gd name="T63" fmla="*/ 120 h 138"/>
                <a:gd name="T64" fmla="*/ 110 w 124"/>
                <a:gd name="T65" fmla="*/ 121 h 138"/>
                <a:gd name="T66" fmla="*/ 113 w 124"/>
                <a:gd name="T67" fmla="*/ 121 h 138"/>
                <a:gd name="T68" fmla="*/ 119 w 124"/>
                <a:gd name="T69" fmla="*/ 120 h 138"/>
                <a:gd name="T70" fmla="*/ 122 w 124"/>
                <a:gd name="T71" fmla="*/ 118 h 138"/>
                <a:gd name="T72" fmla="*/ 124 w 124"/>
                <a:gd name="T73" fmla="*/ 117 h 138"/>
                <a:gd name="T74" fmla="*/ 123 w 124"/>
                <a:gd name="T75" fmla="*/ 113 h 138"/>
                <a:gd name="T76" fmla="*/ 120 w 124"/>
                <a:gd name="T77" fmla="*/ 109 h 138"/>
                <a:gd name="T78" fmla="*/ 114 w 124"/>
                <a:gd name="T79" fmla="*/ 99 h 138"/>
                <a:gd name="T80" fmla="*/ 111 w 124"/>
                <a:gd name="T81" fmla="*/ 92 h 138"/>
                <a:gd name="T82" fmla="*/ 111 w 124"/>
                <a:gd name="T83" fmla="*/ 88 h 138"/>
                <a:gd name="T84" fmla="*/ 113 w 124"/>
                <a:gd name="T85" fmla="*/ 79 h 138"/>
                <a:gd name="T86" fmla="*/ 113 w 124"/>
                <a:gd name="T87" fmla="*/ 76 h 138"/>
                <a:gd name="T88" fmla="*/ 111 w 124"/>
                <a:gd name="T89" fmla="*/ 72 h 138"/>
                <a:gd name="T90" fmla="*/ 109 w 124"/>
                <a:gd name="T91" fmla="*/ 65 h 138"/>
                <a:gd name="T92" fmla="*/ 109 w 124"/>
                <a:gd name="T93" fmla="*/ 59 h 138"/>
                <a:gd name="T94" fmla="*/ 107 w 124"/>
                <a:gd name="T95" fmla="*/ 51 h 138"/>
                <a:gd name="T96" fmla="*/ 105 w 124"/>
                <a:gd name="T97" fmla="*/ 43 h 138"/>
                <a:gd name="T98" fmla="*/ 105 w 124"/>
                <a:gd name="T99" fmla="*/ 29 h 138"/>
                <a:gd name="T100" fmla="*/ 106 w 124"/>
                <a:gd name="T101" fmla="*/ 20 h 138"/>
                <a:gd name="T102" fmla="*/ 104 w 124"/>
                <a:gd name="T103" fmla="*/ 16 h 138"/>
                <a:gd name="T104" fmla="*/ 99 w 124"/>
                <a:gd name="T105" fmla="*/ 8 h 138"/>
                <a:gd name="T106" fmla="*/ 97 w 124"/>
                <a:gd name="T107" fmla="*/ 3 h 138"/>
                <a:gd name="T108" fmla="*/ 98 w 124"/>
                <a:gd name="T10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4" h="138">
                  <a:moveTo>
                    <a:pt x="0" y="130"/>
                  </a:moveTo>
                  <a:lnTo>
                    <a:pt x="1" y="130"/>
                  </a:lnTo>
                  <a:lnTo>
                    <a:pt x="3" y="131"/>
                  </a:lnTo>
                  <a:lnTo>
                    <a:pt x="3" y="131"/>
                  </a:lnTo>
                  <a:lnTo>
                    <a:pt x="4" y="131"/>
                  </a:lnTo>
                  <a:lnTo>
                    <a:pt x="5" y="131"/>
                  </a:lnTo>
                  <a:lnTo>
                    <a:pt x="6" y="131"/>
                  </a:lnTo>
                  <a:lnTo>
                    <a:pt x="7" y="131"/>
                  </a:lnTo>
                  <a:lnTo>
                    <a:pt x="7" y="131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9" y="130"/>
                  </a:lnTo>
                  <a:lnTo>
                    <a:pt x="10" y="129"/>
                  </a:lnTo>
                  <a:lnTo>
                    <a:pt x="11" y="128"/>
                  </a:lnTo>
                  <a:lnTo>
                    <a:pt x="13" y="125"/>
                  </a:lnTo>
                  <a:lnTo>
                    <a:pt x="15" y="123"/>
                  </a:lnTo>
                  <a:lnTo>
                    <a:pt x="16" y="122"/>
                  </a:lnTo>
                  <a:lnTo>
                    <a:pt x="17" y="122"/>
                  </a:lnTo>
                  <a:lnTo>
                    <a:pt x="17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9" y="120"/>
                  </a:lnTo>
                  <a:lnTo>
                    <a:pt x="19" y="120"/>
                  </a:lnTo>
                  <a:lnTo>
                    <a:pt x="20" y="120"/>
                  </a:lnTo>
                  <a:lnTo>
                    <a:pt x="21" y="120"/>
                  </a:lnTo>
                  <a:lnTo>
                    <a:pt x="22" y="120"/>
                  </a:lnTo>
                  <a:lnTo>
                    <a:pt x="23" y="120"/>
                  </a:lnTo>
                  <a:lnTo>
                    <a:pt x="24" y="120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27" y="122"/>
                  </a:lnTo>
                  <a:lnTo>
                    <a:pt x="29" y="123"/>
                  </a:lnTo>
                  <a:lnTo>
                    <a:pt x="31" y="123"/>
                  </a:lnTo>
                  <a:lnTo>
                    <a:pt x="32" y="124"/>
                  </a:lnTo>
                  <a:lnTo>
                    <a:pt x="34" y="124"/>
                  </a:lnTo>
                  <a:lnTo>
                    <a:pt x="35" y="124"/>
                  </a:lnTo>
                  <a:lnTo>
                    <a:pt x="36" y="125"/>
                  </a:lnTo>
                  <a:lnTo>
                    <a:pt x="37" y="125"/>
                  </a:lnTo>
                  <a:lnTo>
                    <a:pt x="38" y="125"/>
                  </a:lnTo>
                  <a:lnTo>
                    <a:pt x="39" y="126"/>
                  </a:lnTo>
                  <a:lnTo>
                    <a:pt x="41" y="127"/>
                  </a:lnTo>
                  <a:lnTo>
                    <a:pt x="42" y="128"/>
                  </a:lnTo>
                  <a:lnTo>
                    <a:pt x="44" y="129"/>
                  </a:lnTo>
                  <a:lnTo>
                    <a:pt x="46" y="129"/>
                  </a:lnTo>
                  <a:lnTo>
                    <a:pt x="47" y="130"/>
                  </a:lnTo>
                  <a:lnTo>
                    <a:pt x="47" y="130"/>
                  </a:lnTo>
                  <a:lnTo>
                    <a:pt x="48" y="130"/>
                  </a:lnTo>
                  <a:lnTo>
                    <a:pt x="50" y="129"/>
                  </a:lnTo>
                  <a:lnTo>
                    <a:pt x="51" y="129"/>
                  </a:lnTo>
                  <a:lnTo>
                    <a:pt x="51" y="130"/>
                  </a:lnTo>
                  <a:lnTo>
                    <a:pt x="51" y="130"/>
                  </a:lnTo>
                  <a:lnTo>
                    <a:pt x="52" y="130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3" y="132"/>
                  </a:lnTo>
                  <a:lnTo>
                    <a:pt x="53" y="133"/>
                  </a:lnTo>
                  <a:lnTo>
                    <a:pt x="53" y="134"/>
                  </a:lnTo>
                  <a:lnTo>
                    <a:pt x="54" y="135"/>
                  </a:lnTo>
                  <a:lnTo>
                    <a:pt x="54" y="135"/>
                  </a:lnTo>
                  <a:lnTo>
                    <a:pt x="54" y="136"/>
                  </a:lnTo>
                  <a:lnTo>
                    <a:pt x="55" y="137"/>
                  </a:lnTo>
                  <a:lnTo>
                    <a:pt x="56" y="137"/>
                  </a:lnTo>
                  <a:lnTo>
                    <a:pt x="56" y="137"/>
                  </a:lnTo>
                  <a:lnTo>
                    <a:pt x="56" y="138"/>
                  </a:lnTo>
                  <a:lnTo>
                    <a:pt x="57" y="138"/>
                  </a:lnTo>
                  <a:lnTo>
                    <a:pt x="58" y="138"/>
                  </a:lnTo>
                  <a:lnTo>
                    <a:pt x="58" y="138"/>
                  </a:lnTo>
                  <a:lnTo>
                    <a:pt x="59" y="138"/>
                  </a:lnTo>
                  <a:lnTo>
                    <a:pt x="60" y="138"/>
                  </a:lnTo>
                  <a:lnTo>
                    <a:pt x="61" y="138"/>
                  </a:lnTo>
                  <a:lnTo>
                    <a:pt x="62" y="138"/>
                  </a:lnTo>
                  <a:lnTo>
                    <a:pt x="63" y="138"/>
                  </a:lnTo>
                  <a:lnTo>
                    <a:pt x="64" y="137"/>
                  </a:lnTo>
                  <a:lnTo>
                    <a:pt x="65" y="137"/>
                  </a:lnTo>
                  <a:lnTo>
                    <a:pt x="66" y="136"/>
                  </a:lnTo>
                  <a:lnTo>
                    <a:pt x="66" y="136"/>
                  </a:lnTo>
                  <a:lnTo>
                    <a:pt x="69" y="135"/>
                  </a:lnTo>
                  <a:lnTo>
                    <a:pt x="69" y="134"/>
                  </a:lnTo>
                  <a:lnTo>
                    <a:pt x="69" y="134"/>
                  </a:lnTo>
                  <a:lnTo>
                    <a:pt x="70" y="133"/>
                  </a:lnTo>
                  <a:lnTo>
                    <a:pt x="70" y="132"/>
                  </a:lnTo>
                  <a:lnTo>
                    <a:pt x="71" y="131"/>
                  </a:lnTo>
                  <a:lnTo>
                    <a:pt x="71" y="130"/>
                  </a:lnTo>
                  <a:lnTo>
                    <a:pt x="71" y="130"/>
                  </a:lnTo>
                  <a:lnTo>
                    <a:pt x="71" y="129"/>
                  </a:lnTo>
                  <a:lnTo>
                    <a:pt x="70" y="126"/>
                  </a:lnTo>
                  <a:lnTo>
                    <a:pt x="70" y="125"/>
                  </a:lnTo>
                  <a:lnTo>
                    <a:pt x="70" y="124"/>
                  </a:lnTo>
                  <a:lnTo>
                    <a:pt x="70" y="123"/>
                  </a:lnTo>
                  <a:lnTo>
                    <a:pt x="70" y="122"/>
                  </a:lnTo>
                  <a:lnTo>
                    <a:pt x="70" y="122"/>
                  </a:lnTo>
                  <a:lnTo>
                    <a:pt x="71" y="121"/>
                  </a:lnTo>
                  <a:lnTo>
                    <a:pt x="71" y="120"/>
                  </a:lnTo>
                  <a:lnTo>
                    <a:pt x="72" y="119"/>
                  </a:lnTo>
                  <a:lnTo>
                    <a:pt x="73" y="119"/>
                  </a:lnTo>
                  <a:lnTo>
                    <a:pt x="75" y="117"/>
                  </a:lnTo>
                  <a:lnTo>
                    <a:pt x="77" y="115"/>
                  </a:lnTo>
                  <a:lnTo>
                    <a:pt x="79" y="113"/>
                  </a:lnTo>
                  <a:lnTo>
                    <a:pt x="80" y="113"/>
                  </a:lnTo>
                  <a:lnTo>
                    <a:pt x="80" y="112"/>
                  </a:lnTo>
                  <a:lnTo>
                    <a:pt x="81" y="111"/>
                  </a:lnTo>
                  <a:lnTo>
                    <a:pt x="81" y="111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3" y="111"/>
                  </a:lnTo>
                  <a:lnTo>
                    <a:pt x="84" y="111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5" y="113"/>
                  </a:lnTo>
                  <a:lnTo>
                    <a:pt x="87" y="115"/>
                  </a:lnTo>
                  <a:lnTo>
                    <a:pt x="88" y="117"/>
                  </a:lnTo>
                  <a:lnTo>
                    <a:pt x="89" y="118"/>
                  </a:lnTo>
                  <a:lnTo>
                    <a:pt x="90" y="118"/>
                  </a:lnTo>
                  <a:lnTo>
                    <a:pt x="91" y="119"/>
                  </a:lnTo>
                  <a:lnTo>
                    <a:pt x="91" y="120"/>
                  </a:lnTo>
                  <a:lnTo>
                    <a:pt x="93" y="120"/>
                  </a:lnTo>
                  <a:lnTo>
                    <a:pt x="94" y="121"/>
                  </a:lnTo>
                  <a:lnTo>
                    <a:pt x="95" y="121"/>
                  </a:lnTo>
                  <a:lnTo>
                    <a:pt x="96" y="122"/>
                  </a:lnTo>
                  <a:lnTo>
                    <a:pt x="97" y="122"/>
                  </a:lnTo>
                  <a:lnTo>
                    <a:pt x="98" y="122"/>
                  </a:lnTo>
                  <a:lnTo>
                    <a:pt x="98" y="122"/>
                  </a:lnTo>
                  <a:lnTo>
                    <a:pt x="99" y="122"/>
                  </a:lnTo>
                  <a:lnTo>
                    <a:pt x="100" y="121"/>
                  </a:lnTo>
                  <a:lnTo>
                    <a:pt x="103" y="121"/>
                  </a:lnTo>
                  <a:lnTo>
                    <a:pt x="104" y="120"/>
                  </a:lnTo>
                  <a:lnTo>
                    <a:pt x="105" y="120"/>
                  </a:lnTo>
                  <a:lnTo>
                    <a:pt x="106" y="120"/>
                  </a:lnTo>
                  <a:lnTo>
                    <a:pt x="107" y="120"/>
                  </a:lnTo>
                  <a:lnTo>
                    <a:pt x="109" y="120"/>
                  </a:lnTo>
                  <a:lnTo>
                    <a:pt x="110" y="121"/>
                  </a:lnTo>
                  <a:lnTo>
                    <a:pt x="112" y="121"/>
                  </a:lnTo>
                  <a:lnTo>
                    <a:pt x="112" y="121"/>
                  </a:lnTo>
                  <a:lnTo>
                    <a:pt x="113" y="121"/>
                  </a:lnTo>
                  <a:lnTo>
                    <a:pt x="113" y="121"/>
                  </a:lnTo>
                  <a:lnTo>
                    <a:pt x="115" y="121"/>
                  </a:lnTo>
                  <a:lnTo>
                    <a:pt x="116" y="121"/>
                  </a:lnTo>
                  <a:lnTo>
                    <a:pt x="117" y="121"/>
                  </a:lnTo>
                  <a:lnTo>
                    <a:pt x="119" y="120"/>
                  </a:lnTo>
                  <a:lnTo>
                    <a:pt x="120" y="120"/>
                  </a:lnTo>
                  <a:lnTo>
                    <a:pt x="121" y="119"/>
                  </a:lnTo>
                  <a:lnTo>
                    <a:pt x="122" y="119"/>
                  </a:lnTo>
                  <a:lnTo>
                    <a:pt x="122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3" y="117"/>
                  </a:lnTo>
                  <a:lnTo>
                    <a:pt x="124" y="117"/>
                  </a:lnTo>
                  <a:lnTo>
                    <a:pt x="124" y="116"/>
                  </a:lnTo>
                  <a:lnTo>
                    <a:pt x="124" y="115"/>
                  </a:lnTo>
                  <a:lnTo>
                    <a:pt x="123" y="114"/>
                  </a:lnTo>
                  <a:lnTo>
                    <a:pt x="123" y="113"/>
                  </a:lnTo>
                  <a:lnTo>
                    <a:pt x="123" y="113"/>
                  </a:lnTo>
                  <a:lnTo>
                    <a:pt x="122" y="112"/>
                  </a:lnTo>
                  <a:lnTo>
                    <a:pt x="122" y="111"/>
                  </a:lnTo>
                  <a:lnTo>
                    <a:pt x="120" y="109"/>
                  </a:lnTo>
                  <a:lnTo>
                    <a:pt x="118" y="105"/>
                  </a:lnTo>
                  <a:lnTo>
                    <a:pt x="116" y="103"/>
                  </a:lnTo>
                  <a:lnTo>
                    <a:pt x="116" y="103"/>
                  </a:lnTo>
                  <a:lnTo>
                    <a:pt x="114" y="99"/>
                  </a:lnTo>
                  <a:lnTo>
                    <a:pt x="113" y="96"/>
                  </a:lnTo>
                  <a:lnTo>
                    <a:pt x="111" y="93"/>
                  </a:lnTo>
                  <a:lnTo>
                    <a:pt x="111" y="93"/>
                  </a:lnTo>
                  <a:lnTo>
                    <a:pt x="111" y="92"/>
                  </a:lnTo>
                  <a:lnTo>
                    <a:pt x="111" y="91"/>
                  </a:lnTo>
                  <a:lnTo>
                    <a:pt x="110" y="90"/>
                  </a:lnTo>
                  <a:lnTo>
                    <a:pt x="111" y="89"/>
                  </a:lnTo>
                  <a:lnTo>
                    <a:pt x="111" y="88"/>
                  </a:lnTo>
                  <a:lnTo>
                    <a:pt x="111" y="86"/>
                  </a:lnTo>
                  <a:lnTo>
                    <a:pt x="112" y="84"/>
                  </a:lnTo>
                  <a:lnTo>
                    <a:pt x="113" y="80"/>
                  </a:lnTo>
                  <a:lnTo>
                    <a:pt x="113" y="79"/>
                  </a:lnTo>
                  <a:lnTo>
                    <a:pt x="114" y="78"/>
                  </a:lnTo>
                  <a:lnTo>
                    <a:pt x="114" y="78"/>
                  </a:lnTo>
                  <a:lnTo>
                    <a:pt x="114" y="77"/>
                  </a:lnTo>
                  <a:lnTo>
                    <a:pt x="113" y="76"/>
                  </a:lnTo>
                  <a:lnTo>
                    <a:pt x="113" y="76"/>
                  </a:lnTo>
                  <a:lnTo>
                    <a:pt x="113" y="75"/>
                  </a:lnTo>
                  <a:lnTo>
                    <a:pt x="113" y="74"/>
                  </a:lnTo>
                  <a:lnTo>
                    <a:pt x="111" y="72"/>
                  </a:lnTo>
                  <a:lnTo>
                    <a:pt x="109" y="67"/>
                  </a:lnTo>
                  <a:lnTo>
                    <a:pt x="109" y="67"/>
                  </a:lnTo>
                  <a:lnTo>
                    <a:pt x="109" y="66"/>
                  </a:lnTo>
                  <a:lnTo>
                    <a:pt x="109" y="65"/>
                  </a:lnTo>
                  <a:lnTo>
                    <a:pt x="109" y="64"/>
                  </a:lnTo>
                  <a:lnTo>
                    <a:pt x="109" y="63"/>
                  </a:lnTo>
                  <a:lnTo>
                    <a:pt x="109" y="60"/>
                  </a:lnTo>
                  <a:lnTo>
                    <a:pt x="109" y="59"/>
                  </a:lnTo>
                  <a:lnTo>
                    <a:pt x="109" y="59"/>
                  </a:lnTo>
                  <a:lnTo>
                    <a:pt x="108" y="57"/>
                  </a:lnTo>
                  <a:lnTo>
                    <a:pt x="107" y="54"/>
                  </a:lnTo>
                  <a:lnTo>
                    <a:pt x="107" y="51"/>
                  </a:lnTo>
                  <a:lnTo>
                    <a:pt x="106" y="48"/>
                  </a:lnTo>
                  <a:lnTo>
                    <a:pt x="106" y="46"/>
                  </a:lnTo>
                  <a:lnTo>
                    <a:pt x="106" y="45"/>
                  </a:lnTo>
                  <a:lnTo>
                    <a:pt x="105" y="43"/>
                  </a:lnTo>
                  <a:lnTo>
                    <a:pt x="105" y="36"/>
                  </a:lnTo>
                  <a:lnTo>
                    <a:pt x="105" y="31"/>
                  </a:lnTo>
                  <a:lnTo>
                    <a:pt x="105" y="30"/>
                  </a:lnTo>
                  <a:lnTo>
                    <a:pt x="105" y="29"/>
                  </a:lnTo>
                  <a:lnTo>
                    <a:pt x="106" y="25"/>
                  </a:lnTo>
                  <a:lnTo>
                    <a:pt x="106" y="23"/>
                  </a:lnTo>
                  <a:lnTo>
                    <a:pt x="106" y="22"/>
                  </a:lnTo>
                  <a:lnTo>
                    <a:pt x="106" y="20"/>
                  </a:lnTo>
                  <a:lnTo>
                    <a:pt x="105" y="20"/>
                  </a:lnTo>
                  <a:lnTo>
                    <a:pt x="105" y="19"/>
                  </a:lnTo>
                  <a:lnTo>
                    <a:pt x="105" y="18"/>
                  </a:lnTo>
                  <a:lnTo>
                    <a:pt x="104" y="16"/>
                  </a:lnTo>
                  <a:lnTo>
                    <a:pt x="103" y="15"/>
                  </a:lnTo>
                  <a:lnTo>
                    <a:pt x="101" y="11"/>
                  </a:lnTo>
                  <a:lnTo>
                    <a:pt x="100" y="10"/>
                  </a:lnTo>
                  <a:lnTo>
                    <a:pt x="99" y="8"/>
                  </a:lnTo>
                  <a:lnTo>
                    <a:pt x="98" y="6"/>
                  </a:lnTo>
                  <a:lnTo>
                    <a:pt x="97" y="5"/>
                  </a:lnTo>
                  <a:lnTo>
                    <a:pt x="97" y="4"/>
                  </a:lnTo>
                  <a:lnTo>
                    <a:pt x="97" y="3"/>
                  </a:lnTo>
                  <a:lnTo>
                    <a:pt x="96" y="2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100" y="1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Freeform 25">
              <a:extLst>
                <a:ext uri="{FF2B5EF4-FFF2-40B4-BE49-F238E27FC236}">
                  <a16:creationId xmlns:a16="http://schemas.microsoft.com/office/drawing/2014/main" id="{50CFA49A-6FE1-D408-791D-6E98F4FD5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" y="3255"/>
              <a:ext cx="442" cy="291"/>
            </a:xfrm>
            <a:custGeom>
              <a:avLst/>
              <a:gdLst>
                <a:gd name="T0" fmla="*/ 131 w 442"/>
                <a:gd name="T1" fmla="*/ 34 h 291"/>
                <a:gd name="T2" fmla="*/ 150 w 442"/>
                <a:gd name="T3" fmla="*/ 29 h 291"/>
                <a:gd name="T4" fmla="*/ 179 w 442"/>
                <a:gd name="T5" fmla="*/ 25 h 291"/>
                <a:gd name="T6" fmla="*/ 192 w 442"/>
                <a:gd name="T7" fmla="*/ 43 h 291"/>
                <a:gd name="T8" fmla="*/ 213 w 442"/>
                <a:gd name="T9" fmla="*/ 58 h 291"/>
                <a:gd name="T10" fmla="*/ 242 w 442"/>
                <a:gd name="T11" fmla="*/ 75 h 291"/>
                <a:gd name="T12" fmla="*/ 261 w 442"/>
                <a:gd name="T13" fmla="*/ 74 h 291"/>
                <a:gd name="T14" fmla="*/ 282 w 442"/>
                <a:gd name="T15" fmla="*/ 75 h 291"/>
                <a:gd name="T16" fmla="*/ 287 w 442"/>
                <a:gd name="T17" fmla="*/ 63 h 291"/>
                <a:gd name="T18" fmla="*/ 298 w 442"/>
                <a:gd name="T19" fmla="*/ 47 h 291"/>
                <a:gd name="T20" fmla="*/ 325 w 442"/>
                <a:gd name="T21" fmla="*/ 31 h 291"/>
                <a:gd name="T22" fmla="*/ 336 w 442"/>
                <a:gd name="T23" fmla="*/ 20 h 291"/>
                <a:gd name="T24" fmla="*/ 359 w 442"/>
                <a:gd name="T25" fmla="*/ 29 h 291"/>
                <a:gd name="T26" fmla="*/ 389 w 442"/>
                <a:gd name="T27" fmla="*/ 47 h 291"/>
                <a:gd name="T28" fmla="*/ 408 w 442"/>
                <a:gd name="T29" fmla="*/ 34 h 291"/>
                <a:gd name="T30" fmla="*/ 427 w 442"/>
                <a:gd name="T31" fmla="*/ 6 h 291"/>
                <a:gd name="T32" fmla="*/ 441 w 442"/>
                <a:gd name="T33" fmla="*/ 1 h 291"/>
                <a:gd name="T34" fmla="*/ 430 w 442"/>
                <a:gd name="T35" fmla="*/ 40 h 291"/>
                <a:gd name="T36" fmla="*/ 426 w 442"/>
                <a:gd name="T37" fmla="*/ 62 h 291"/>
                <a:gd name="T38" fmla="*/ 416 w 442"/>
                <a:gd name="T39" fmla="*/ 87 h 291"/>
                <a:gd name="T40" fmla="*/ 402 w 442"/>
                <a:gd name="T41" fmla="*/ 96 h 291"/>
                <a:gd name="T42" fmla="*/ 412 w 442"/>
                <a:gd name="T43" fmla="*/ 133 h 291"/>
                <a:gd name="T44" fmla="*/ 409 w 442"/>
                <a:gd name="T45" fmla="*/ 161 h 291"/>
                <a:gd name="T46" fmla="*/ 416 w 442"/>
                <a:gd name="T47" fmla="*/ 185 h 291"/>
                <a:gd name="T48" fmla="*/ 429 w 442"/>
                <a:gd name="T49" fmla="*/ 210 h 291"/>
                <a:gd name="T50" fmla="*/ 436 w 442"/>
                <a:gd name="T51" fmla="*/ 220 h 291"/>
                <a:gd name="T52" fmla="*/ 440 w 442"/>
                <a:gd name="T53" fmla="*/ 241 h 291"/>
                <a:gd name="T54" fmla="*/ 433 w 442"/>
                <a:gd name="T55" fmla="*/ 265 h 291"/>
                <a:gd name="T56" fmla="*/ 423 w 442"/>
                <a:gd name="T57" fmla="*/ 278 h 291"/>
                <a:gd name="T58" fmla="*/ 390 w 442"/>
                <a:gd name="T59" fmla="*/ 267 h 291"/>
                <a:gd name="T60" fmla="*/ 363 w 442"/>
                <a:gd name="T61" fmla="*/ 268 h 291"/>
                <a:gd name="T62" fmla="*/ 351 w 442"/>
                <a:gd name="T63" fmla="*/ 283 h 291"/>
                <a:gd name="T64" fmla="*/ 325 w 442"/>
                <a:gd name="T65" fmla="*/ 284 h 291"/>
                <a:gd name="T66" fmla="*/ 311 w 442"/>
                <a:gd name="T67" fmla="*/ 290 h 291"/>
                <a:gd name="T68" fmla="*/ 290 w 442"/>
                <a:gd name="T69" fmla="*/ 275 h 291"/>
                <a:gd name="T70" fmla="*/ 261 w 442"/>
                <a:gd name="T71" fmla="*/ 255 h 291"/>
                <a:gd name="T72" fmla="*/ 224 w 442"/>
                <a:gd name="T73" fmla="*/ 242 h 291"/>
                <a:gd name="T74" fmla="*/ 207 w 442"/>
                <a:gd name="T75" fmla="*/ 230 h 291"/>
                <a:gd name="T76" fmla="*/ 188 w 442"/>
                <a:gd name="T77" fmla="*/ 221 h 291"/>
                <a:gd name="T78" fmla="*/ 173 w 442"/>
                <a:gd name="T79" fmla="*/ 241 h 291"/>
                <a:gd name="T80" fmla="*/ 148 w 442"/>
                <a:gd name="T81" fmla="*/ 233 h 291"/>
                <a:gd name="T82" fmla="*/ 143 w 442"/>
                <a:gd name="T83" fmla="*/ 218 h 291"/>
                <a:gd name="T84" fmla="*/ 123 w 442"/>
                <a:gd name="T85" fmla="*/ 209 h 291"/>
                <a:gd name="T86" fmla="*/ 109 w 442"/>
                <a:gd name="T87" fmla="*/ 199 h 291"/>
                <a:gd name="T88" fmla="*/ 89 w 442"/>
                <a:gd name="T89" fmla="*/ 186 h 291"/>
                <a:gd name="T90" fmla="*/ 68 w 442"/>
                <a:gd name="T91" fmla="*/ 186 h 291"/>
                <a:gd name="T92" fmla="*/ 38 w 442"/>
                <a:gd name="T93" fmla="*/ 157 h 291"/>
                <a:gd name="T94" fmla="*/ 46 w 442"/>
                <a:gd name="T95" fmla="*/ 131 h 291"/>
                <a:gd name="T96" fmla="*/ 41 w 442"/>
                <a:gd name="T97" fmla="*/ 114 h 291"/>
                <a:gd name="T98" fmla="*/ 28 w 442"/>
                <a:gd name="T99" fmla="*/ 99 h 291"/>
                <a:gd name="T100" fmla="*/ 15 w 442"/>
                <a:gd name="T101" fmla="*/ 93 h 291"/>
                <a:gd name="T102" fmla="*/ 0 w 442"/>
                <a:gd name="T103" fmla="*/ 82 h 291"/>
                <a:gd name="T104" fmla="*/ 4 w 442"/>
                <a:gd name="T105" fmla="*/ 74 h 291"/>
                <a:gd name="T106" fmla="*/ 11 w 442"/>
                <a:gd name="T107" fmla="*/ 61 h 291"/>
                <a:gd name="T108" fmla="*/ 11 w 442"/>
                <a:gd name="T109" fmla="*/ 52 h 291"/>
                <a:gd name="T110" fmla="*/ 22 w 442"/>
                <a:gd name="T111" fmla="*/ 51 h 291"/>
                <a:gd name="T112" fmla="*/ 40 w 442"/>
                <a:gd name="T113" fmla="*/ 45 h 291"/>
                <a:gd name="T114" fmla="*/ 57 w 442"/>
                <a:gd name="T115" fmla="*/ 32 h 291"/>
                <a:gd name="T116" fmla="*/ 73 w 442"/>
                <a:gd name="T117" fmla="*/ 36 h 291"/>
                <a:gd name="T118" fmla="*/ 94 w 442"/>
                <a:gd name="T119" fmla="*/ 38 h 291"/>
                <a:gd name="T120" fmla="*/ 111 w 442"/>
                <a:gd name="T121" fmla="*/ 24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2" h="291">
                  <a:moveTo>
                    <a:pt x="121" y="18"/>
                  </a:moveTo>
                  <a:lnTo>
                    <a:pt x="121" y="18"/>
                  </a:lnTo>
                  <a:lnTo>
                    <a:pt x="122" y="19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5" y="22"/>
                  </a:lnTo>
                  <a:lnTo>
                    <a:pt x="126" y="24"/>
                  </a:lnTo>
                  <a:lnTo>
                    <a:pt x="126" y="25"/>
                  </a:lnTo>
                  <a:lnTo>
                    <a:pt x="127" y="27"/>
                  </a:lnTo>
                  <a:lnTo>
                    <a:pt x="128" y="30"/>
                  </a:lnTo>
                  <a:lnTo>
                    <a:pt x="128" y="31"/>
                  </a:lnTo>
                  <a:lnTo>
                    <a:pt x="129" y="32"/>
                  </a:lnTo>
                  <a:lnTo>
                    <a:pt x="129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8" y="35"/>
                  </a:lnTo>
                  <a:lnTo>
                    <a:pt x="139" y="35"/>
                  </a:lnTo>
                  <a:lnTo>
                    <a:pt x="140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5" y="31"/>
                  </a:lnTo>
                  <a:lnTo>
                    <a:pt x="148" y="30"/>
                  </a:lnTo>
                  <a:lnTo>
                    <a:pt x="149" y="29"/>
                  </a:lnTo>
                  <a:lnTo>
                    <a:pt x="150" y="29"/>
                  </a:lnTo>
                  <a:lnTo>
                    <a:pt x="150" y="28"/>
                  </a:lnTo>
                  <a:lnTo>
                    <a:pt x="151" y="28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4"/>
                  </a:lnTo>
                  <a:lnTo>
                    <a:pt x="156" y="23"/>
                  </a:lnTo>
                  <a:lnTo>
                    <a:pt x="158" y="23"/>
                  </a:lnTo>
                  <a:lnTo>
                    <a:pt x="160" y="22"/>
                  </a:lnTo>
                  <a:lnTo>
                    <a:pt x="161" y="21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70" y="23"/>
                  </a:lnTo>
                  <a:lnTo>
                    <a:pt x="174" y="24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0" y="26"/>
                  </a:lnTo>
                  <a:lnTo>
                    <a:pt x="181" y="26"/>
                  </a:lnTo>
                  <a:lnTo>
                    <a:pt x="182" y="27"/>
                  </a:lnTo>
                  <a:lnTo>
                    <a:pt x="183" y="27"/>
                  </a:lnTo>
                  <a:lnTo>
                    <a:pt x="183" y="28"/>
                  </a:lnTo>
                  <a:lnTo>
                    <a:pt x="185" y="31"/>
                  </a:lnTo>
                  <a:lnTo>
                    <a:pt x="186" y="31"/>
                  </a:lnTo>
                  <a:lnTo>
                    <a:pt x="186" y="32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88" y="35"/>
                  </a:lnTo>
                  <a:lnTo>
                    <a:pt x="189" y="39"/>
                  </a:lnTo>
                  <a:lnTo>
                    <a:pt x="190" y="40"/>
                  </a:lnTo>
                  <a:lnTo>
                    <a:pt x="190" y="41"/>
                  </a:lnTo>
                  <a:lnTo>
                    <a:pt x="191" y="42"/>
                  </a:lnTo>
                  <a:lnTo>
                    <a:pt x="191" y="43"/>
                  </a:lnTo>
                  <a:lnTo>
                    <a:pt x="192" y="43"/>
                  </a:lnTo>
                  <a:lnTo>
                    <a:pt x="192" y="44"/>
                  </a:lnTo>
                  <a:lnTo>
                    <a:pt x="193" y="44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6"/>
                  </a:lnTo>
                  <a:lnTo>
                    <a:pt x="200" y="46"/>
                  </a:lnTo>
                  <a:lnTo>
                    <a:pt x="201" y="47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4" y="49"/>
                  </a:lnTo>
                  <a:lnTo>
                    <a:pt x="206" y="50"/>
                  </a:lnTo>
                  <a:lnTo>
                    <a:pt x="208" y="53"/>
                  </a:lnTo>
                  <a:lnTo>
                    <a:pt x="209" y="54"/>
                  </a:lnTo>
                  <a:lnTo>
                    <a:pt x="210" y="55"/>
                  </a:lnTo>
                  <a:lnTo>
                    <a:pt x="211" y="56"/>
                  </a:lnTo>
                  <a:lnTo>
                    <a:pt x="212" y="57"/>
                  </a:lnTo>
                  <a:lnTo>
                    <a:pt x="213" y="58"/>
                  </a:lnTo>
                  <a:lnTo>
                    <a:pt x="215" y="58"/>
                  </a:lnTo>
                  <a:lnTo>
                    <a:pt x="218" y="60"/>
                  </a:lnTo>
                  <a:lnTo>
                    <a:pt x="219" y="60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2"/>
                  </a:lnTo>
                  <a:lnTo>
                    <a:pt x="224" y="64"/>
                  </a:lnTo>
                  <a:lnTo>
                    <a:pt x="225" y="65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8" y="67"/>
                  </a:lnTo>
                  <a:lnTo>
                    <a:pt x="231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6" y="70"/>
                  </a:lnTo>
                  <a:lnTo>
                    <a:pt x="237" y="71"/>
                  </a:lnTo>
                  <a:lnTo>
                    <a:pt x="238" y="72"/>
                  </a:lnTo>
                  <a:lnTo>
                    <a:pt x="242" y="75"/>
                  </a:lnTo>
                  <a:lnTo>
                    <a:pt x="243" y="75"/>
                  </a:lnTo>
                  <a:lnTo>
                    <a:pt x="244" y="76"/>
                  </a:lnTo>
                  <a:lnTo>
                    <a:pt x="245" y="76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7" y="77"/>
                  </a:lnTo>
                  <a:lnTo>
                    <a:pt x="248" y="77"/>
                  </a:lnTo>
                  <a:lnTo>
                    <a:pt x="249" y="77"/>
                  </a:lnTo>
                  <a:lnTo>
                    <a:pt x="251" y="76"/>
                  </a:lnTo>
                  <a:lnTo>
                    <a:pt x="254" y="76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1" y="74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6" y="75"/>
                  </a:lnTo>
                  <a:lnTo>
                    <a:pt x="269" y="75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4" y="74"/>
                  </a:lnTo>
                  <a:lnTo>
                    <a:pt x="275" y="75"/>
                  </a:lnTo>
                  <a:lnTo>
                    <a:pt x="277" y="75"/>
                  </a:lnTo>
                  <a:lnTo>
                    <a:pt x="278" y="76"/>
                  </a:lnTo>
                  <a:lnTo>
                    <a:pt x="279" y="76"/>
                  </a:lnTo>
                  <a:lnTo>
                    <a:pt x="280" y="76"/>
                  </a:lnTo>
                  <a:lnTo>
                    <a:pt x="281" y="76"/>
                  </a:lnTo>
                  <a:lnTo>
                    <a:pt x="281" y="75"/>
                  </a:lnTo>
                  <a:lnTo>
                    <a:pt x="282" y="75"/>
                  </a:lnTo>
                  <a:lnTo>
                    <a:pt x="282" y="75"/>
                  </a:lnTo>
                  <a:lnTo>
                    <a:pt x="283" y="75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2" y="70"/>
                  </a:lnTo>
                  <a:lnTo>
                    <a:pt x="282" y="69"/>
                  </a:lnTo>
                  <a:lnTo>
                    <a:pt x="282" y="69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7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4" y="65"/>
                  </a:lnTo>
                  <a:lnTo>
                    <a:pt x="286" y="64"/>
                  </a:lnTo>
                  <a:lnTo>
                    <a:pt x="287" y="63"/>
                  </a:lnTo>
                  <a:lnTo>
                    <a:pt x="288" y="62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0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5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1" y="52"/>
                  </a:lnTo>
                  <a:lnTo>
                    <a:pt x="292" y="51"/>
                  </a:lnTo>
                  <a:lnTo>
                    <a:pt x="293" y="50"/>
                  </a:lnTo>
                  <a:lnTo>
                    <a:pt x="294" y="50"/>
                  </a:lnTo>
                  <a:lnTo>
                    <a:pt x="296" y="48"/>
                  </a:lnTo>
                  <a:lnTo>
                    <a:pt x="298" y="47"/>
                  </a:lnTo>
                  <a:lnTo>
                    <a:pt x="300" y="46"/>
                  </a:lnTo>
                  <a:lnTo>
                    <a:pt x="302" y="44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6" y="42"/>
                  </a:lnTo>
                  <a:lnTo>
                    <a:pt x="309" y="41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20" y="35"/>
                  </a:lnTo>
                  <a:lnTo>
                    <a:pt x="321" y="34"/>
                  </a:lnTo>
                  <a:lnTo>
                    <a:pt x="322" y="33"/>
                  </a:lnTo>
                  <a:lnTo>
                    <a:pt x="323" y="32"/>
                  </a:lnTo>
                  <a:lnTo>
                    <a:pt x="324" y="31"/>
                  </a:lnTo>
                  <a:lnTo>
                    <a:pt x="325" y="31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7" y="27"/>
                  </a:lnTo>
                  <a:lnTo>
                    <a:pt x="329" y="24"/>
                  </a:lnTo>
                  <a:lnTo>
                    <a:pt x="329" y="23"/>
                  </a:lnTo>
                  <a:lnTo>
                    <a:pt x="329" y="22"/>
                  </a:lnTo>
                  <a:lnTo>
                    <a:pt x="330" y="21"/>
                  </a:lnTo>
                  <a:lnTo>
                    <a:pt x="330" y="21"/>
                  </a:lnTo>
                  <a:lnTo>
                    <a:pt x="331" y="21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39" y="22"/>
                  </a:lnTo>
                  <a:lnTo>
                    <a:pt x="342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7" y="26"/>
                  </a:lnTo>
                  <a:lnTo>
                    <a:pt x="352" y="28"/>
                  </a:lnTo>
                  <a:lnTo>
                    <a:pt x="353" y="28"/>
                  </a:lnTo>
                  <a:lnTo>
                    <a:pt x="355" y="29"/>
                  </a:lnTo>
                  <a:lnTo>
                    <a:pt x="356" y="29"/>
                  </a:lnTo>
                  <a:lnTo>
                    <a:pt x="357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9" y="29"/>
                  </a:lnTo>
                  <a:lnTo>
                    <a:pt x="359" y="29"/>
                  </a:lnTo>
                  <a:lnTo>
                    <a:pt x="360" y="30"/>
                  </a:lnTo>
                  <a:lnTo>
                    <a:pt x="362" y="31"/>
                  </a:lnTo>
                  <a:lnTo>
                    <a:pt x="363" y="32"/>
                  </a:lnTo>
                  <a:lnTo>
                    <a:pt x="365" y="33"/>
                  </a:lnTo>
                  <a:lnTo>
                    <a:pt x="366" y="34"/>
                  </a:lnTo>
                  <a:lnTo>
                    <a:pt x="367" y="35"/>
                  </a:lnTo>
                  <a:lnTo>
                    <a:pt x="370" y="38"/>
                  </a:lnTo>
                  <a:lnTo>
                    <a:pt x="371" y="39"/>
                  </a:lnTo>
                  <a:lnTo>
                    <a:pt x="373" y="40"/>
                  </a:lnTo>
                  <a:lnTo>
                    <a:pt x="374" y="41"/>
                  </a:lnTo>
                  <a:lnTo>
                    <a:pt x="375" y="41"/>
                  </a:lnTo>
                  <a:lnTo>
                    <a:pt x="376" y="42"/>
                  </a:lnTo>
                  <a:lnTo>
                    <a:pt x="377" y="43"/>
                  </a:lnTo>
                  <a:lnTo>
                    <a:pt x="378" y="43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9" y="47"/>
                  </a:lnTo>
                  <a:lnTo>
                    <a:pt x="390" y="47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3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5" y="47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8" y="46"/>
                  </a:lnTo>
                  <a:lnTo>
                    <a:pt x="399" y="45"/>
                  </a:lnTo>
                  <a:lnTo>
                    <a:pt x="400" y="45"/>
                  </a:lnTo>
                  <a:lnTo>
                    <a:pt x="401" y="44"/>
                  </a:lnTo>
                  <a:lnTo>
                    <a:pt x="402" y="42"/>
                  </a:lnTo>
                  <a:lnTo>
                    <a:pt x="406" y="37"/>
                  </a:lnTo>
                  <a:lnTo>
                    <a:pt x="407" y="35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9" y="33"/>
                  </a:lnTo>
                  <a:lnTo>
                    <a:pt x="412" y="30"/>
                  </a:lnTo>
                  <a:lnTo>
                    <a:pt x="414" y="28"/>
                  </a:lnTo>
                  <a:lnTo>
                    <a:pt x="416" y="27"/>
                  </a:lnTo>
                  <a:lnTo>
                    <a:pt x="417" y="26"/>
                  </a:lnTo>
                  <a:lnTo>
                    <a:pt x="418" y="24"/>
                  </a:lnTo>
                  <a:lnTo>
                    <a:pt x="419" y="22"/>
                  </a:lnTo>
                  <a:lnTo>
                    <a:pt x="420" y="21"/>
                  </a:lnTo>
                  <a:lnTo>
                    <a:pt x="421" y="20"/>
                  </a:lnTo>
                  <a:lnTo>
                    <a:pt x="421" y="18"/>
                  </a:lnTo>
                  <a:lnTo>
                    <a:pt x="422" y="17"/>
                  </a:lnTo>
                  <a:lnTo>
                    <a:pt x="424" y="12"/>
                  </a:lnTo>
                  <a:lnTo>
                    <a:pt x="424" y="11"/>
                  </a:lnTo>
                  <a:lnTo>
                    <a:pt x="425" y="10"/>
                  </a:lnTo>
                  <a:lnTo>
                    <a:pt x="426" y="9"/>
                  </a:lnTo>
                  <a:lnTo>
                    <a:pt x="426" y="7"/>
                  </a:lnTo>
                  <a:lnTo>
                    <a:pt x="427" y="6"/>
                  </a:lnTo>
                  <a:lnTo>
                    <a:pt x="428" y="6"/>
                  </a:lnTo>
                  <a:lnTo>
                    <a:pt x="429" y="5"/>
                  </a:lnTo>
                  <a:lnTo>
                    <a:pt x="430" y="4"/>
                  </a:lnTo>
                  <a:lnTo>
                    <a:pt x="431" y="3"/>
                  </a:lnTo>
                  <a:lnTo>
                    <a:pt x="432" y="2"/>
                  </a:lnTo>
                  <a:lnTo>
                    <a:pt x="433" y="2"/>
                  </a:lnTo>
                  <a:lnTo>
                    <a:pt x="434" y="1"/>
                  </a:lnTo>
                  <a:lnTo>
                    <a:pt x="435" y="1"/>
                  </a:lnTo>
                  <a:lnTo>
                    <a:pt x="436" y="0"/>
                  </a:lnTo>
                  <a:lnTo>
                    <a:pt x="437" y="0"/>
                  </a:lnTo>
                  <a:lnTo>
                    <a:pt x="438" y="0"/>
                  </a:lnTo>
                  <a:lnTo>
                    <a:pt x="439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2" y="1"/>
                  </a:lnTo>
                  <a:lnTo>
                    <a:pt x="442" y="1"/>
                  </a:lnTo>
                  <a:lnTo>
                    <a:pt x="442" y="3"/>
                  </a:lnTo>
                  <a:lnTo>
                    <a:pt x="442" y="4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0" y="11"/>
                  </a:lnTo>
                  <a:lnTo>
                    <a:pt x="440" y="13"/>
                  </a:lnTo>
                  <a:lnTo>
                    <a:pt x="439" y="17"/>
                  </a:lnTo>
                  <a:lnTo>
                    <a:pt x="437" y="20"/>
                  </a:lnTo>
                  <a:lnTo>
                    <a:pt x="435" y="28"/>
                  </a:lnTo>
                  <a:lnTo>
                    <a:pt x="433" y="32"/>
                  </a:lnTo>
                  <a:lnTo>
                    <a:pt x="433" y="33"/>
                  </a:lnTo>
                  <a:lnTo>
                    <a:pt x="431" y="35"/>
                  </a:lnTo>
                  <a:lnTo>
                    <a:pt x="430" y="39"/>
                  </a:lnTo>
                  <a:lnTo>
                    <a:pt x="430" y="40"/>
                  </a:lnTo>
                  <a:lnTo>
                    <a:pt x="429" y="42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6"/>
                  </a:lnTo>
                  <a:lnTo>
                    <a:pt x="428" y="47"/>
                  </a:lnTo>
                  <a:lnTo>
                    <a:pt x="428" y="51"/>
                  </a:lnTo>
                  <a:lnTo>
                    <a:pt x="428" y="52"/>
                  </a:lnTo>
                  <a:lnTo>
                    <a:pt x="428" y="53"/>
                  </a:lnTo>
                  <a:lnTo>
                    <a:pt x="428" y="54"/>
                  </a:lnTo>
                  <a:lnTo>
                    <a:pt x="428" y="55"/>
                  </a:lnTo>
                  <a:lnTo>
                    <a:pt x="427" y="58"/>
                  </a:lnTo>
                  <a:lnTo>
                    <a:pt x="427" y="59"/>
                  </a:lnTo>
                  <a:lnTo>
                    <a:pt x="426" y="60"/>
                  </a:lnTo>
                  <a:lnTo>
                    <a:pt x="426" y="61"/>
                  </a:lnTo>
                  <a:lnTo>
                    <a:pt x="426" y="62"/>
                  </a:lnTo>
                  <a:lnTo>
                    <a:pt x="426" y="62"/>
                  </a:lnTo>
                  <a:lnTo>
                    <a:pt x="427" y="63"/>
                  </a:lnTo>
                  <a:lnTo>
                    <a:pt x="427" y="66"/>
                  </a:lnTo>
                  <a:lnTo>
                    <a:pt x="427" y="67"/>
                  </a:lnTo>
                  <a:lnTo>
                    <a:pt x="428" y="70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8" y="74"/>
                  </a:lnTo>
                  <a:lnTo>
                    <a:pt x="427" y="75"/>
                  </a:lnTo>
                  <a:lnTo>
                    <a:pt x="427" y="76"/>
                  </a:lnTo>
                  <a:lnTo>
                    <a:pt x="426" y="77"/>
                  </a:lnTo>
                  <a:lnTo>
                    <a:pt x="426" y="78"/>
                  </a:lnTo>
                  <a:lnTo>
                    <a:pt x="426" y="78"/>
                  </a:lnTo>
                  <a:lnTo>
                    <a:pt x="425" y="79"/>
                  </a:lnTo>
                  <a:lnTo>
                    <a:pt x="424" y="79"/>
                  </a:lnTo>
                  <a:lnTo>
                    <a:pt x="423" y="81"/>
                  </a:lnTo>
                  <a:lnTo>
                    <a:pt x="420" y="83"/>
                  </a:lnTo>
                  <a:lnTo>
                    <a:pt x="419" y="84"/>
                  </a:lnTo>
                  <a:lnTo>
                    <a:pt x="416" y="87"/>
                  </a:lnTo>
                  <a:lnTo>
                    <a:pt x="416" y="88"/>
                  </a:lnTo>
                  <a:lnTo>
                    <a:pt x="415" y="89"/>
                  </a:lnTo>
                  <a:lnTo>
                    <a:pt x="414" y="90"/>
                  </a:lnTo>
                  <a:lnTo>
                    <a:pt x="413" y="91"/>
                  </a:lnTo>
                  <a:lnTo>
                    <a:pt x="412" y="91"/>
                  </a:lnTo>
                  <a:lnTo>
                    <a:pt x="412" y="92"/>
                  </a:lnTo>
                  <a:lnTo>
                    <a:pt x="411" y="92"/>
                  </a:lnTo>
                  <a:lnTo>
                    <a:pt x="410" y="93"/>
                  </a:lnTo>
                  <a:lnTo>
                    <a:pt x="410" y="93"/>
                  </a:lnTo>
                  <a:lnTo>
                    <a:pt x="409" y="93"/>
                  </a:lnTo>
                  <a:lnTo>
                    <a:pt x="406" y="94"/>
                  </a:lnTo>
                  <a:lnTo>
                    <a:pt x="405" y="94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2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2" y="97"/>
                  </a:lnTo>
                  <a:lnTo>
                    <a:pt x="401" y="98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2" y="101"/>
                  </a:lnTo>
                  <a:lnTo>
                    <a:pt x="404" y="105"/>
                  </a:lnTo>
                  <a:lnTo>
                    <a:pt x="405" y="108"/>
                  </a:lnTo>
                  <a:lnTo>
                    <a:pt x="405" y="110"/>
                  </a:lnTo>
                  <a:lnTo>
                    <a:pt x="406" y="115"/>
                  </a:lnTo>
                  <a:lnTo>
                    <a:pt x="407" y="117"/>
                  </a:lnTo>
                  <a:lnTo>
                    <a:pt x="407" y="119"/>
                  </a:lnTo>
                  <a:lnTo>
                    <a:pt x="408" y="121"/>
                  </a:lnTo>
                  <a:lnTo>
                    <a:pt x="410" y="126"/>
                  </a:lnTo>
                  <a:lnTo>
                    <a:pt x="411" y="131"/>
                  </a:lnTo>
                  <a:lnTo>
                    <a:pt x="412" y="132"/>
                  </a:lnTo>
                  <a:lnTo>
                    <a:pt x="412" y="133"/>
                  </a:lnTo>
                  <a:lnTo>
                    <a:pt x="412" y="135"/>
                  </a:lnTo>
                  <a:lnTo>
                    <a:pt x="413" y="139"/>
                  </a:lnTo>
                  <a:lnTo>
                    <a:pt x="413" y="142"/>
                  </a:lnTo>
                  <a:lnTo>
                    <a:pt x="413" y="143"/>
                  </a:lnTo>
                  <a:lnTo>
                    <a:pt x="413" y="145"/>
                  </a:lnTo>
                  <a:lnTo>
                    <a:pt x="414" y="148"/>
                  </a:lnTo>
                  <a:lnTo>
                    <a:pt x="414" y="150"/>
                  </a:lnTo>
                  <a:lnTo>
                    <a:pt x="414" y="151"/>
                  </a:lnTo>
                  <a:lnTo>
                    <a:pt x="414" y="151"/>
                  </a:lnTo>
                  <a:lnTo>
                    <a:pt x="414" y="152"/>
                  </a:lnTo>
                  <a:lnTo>
                    <a:pt x="414" y="153"/>
                  </a:lnTo>
                  <a:lnTo>
                    <a:pt x="413" y="154"/>
                  </a:lnTo>
                  <a:lnTo>
                    <a:pt x="413" y="154"/>
                  </a:lnTo>
                  <a:lnTo>
                    <a:pt x="411" y="157"/>
                  </a:lnTo>
                  <a:lnTo>
                    <a:pt x="410" y="158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09" y="161"/>
                  </a:lnTo>
                  <a:lnTo>
                    <a:pt x="409" y="162"/>
                  </a:lnTo>
                  <a:lnTo>
                    <a:pt x="409" y="163"/>
                  </a:lnTo>
                  <a:lnTo>
                    <a:pt x="408" y="164"/>
                  </a:lnTo>
                  <a:lnTo>
                    <a:pt x="408" y="165"/>
                  </a:lnTo>
                  <a:lnTo>
                    <a:pt x="408" y="166"/>
                  </a:lnTo>
                  <a:lnTo>
                    <a:pt x="408" y="167"/>
                  </a:lnTo>
                  <a:lnTo>
                    <a:pt x="408" y="169"/>
                  </a:lnTo>
                  <a:lnTo>
                    <a:pt x="409" y="170"/>
                  </a:lnTo>
                  <a:lnTo>
                    <a:pt x="409" y="171"/>
                  </a:lnTo>
                  <a:lnTo>
                    <a:pt x="409" y="172"/>
                  </a:lnTo>
                  <a:lnTo>
                    <a:pt x="410" y="173"/>
                  </a:lnTo>
                  <a:lnTo>
                    <a:pt x="412" y="176"/>
                  </a:lnTo>
                  <a:lnTo>
                    <a:pt x="413" y="177"/>
                  </a:lnTo>
                  <a:lnTo>
                    <a:pt x="413" y="178"/>
                  </a:lnTo>
                  <a:lnTo>
                    <a:pt x="413" y="179"/>
                  </a:lnTo>
                  <a:lnTo>
                    <a:pt x="414" y="180"/>
                  </a:lnTo>
                  <a:lnTo>
                    <a:pt x="415" y="183"/>
                  </a:lnTo>
                  <a:lnTo>
                    <a:pt x="416" y="185"/>
                  </a:lnTo>
                  <a:lnTo>
                    <a:pt x="416" y="187"/>
                  </a:lnTo>
                  <a:lnTo>
                    <a:pt x="417" y="189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21" y="193"/>
                  </a:lnTo>
                  <a:lnTo>
                    <a:pt x="422" y="195"/>
                  </a:lnTo>
                  <a:lnTo>
                    <a:pt x="425" y="198"/>
                  </a:lnTo>
                  <a:lnTo>
                    <a:pt x="425" y="199"/>
                  </a:lnTo>
                  <a:lnTo>
                    <a:pt x="426" y="199"/>
                  </a:lnTo>
                  <a:lnTo>
                    <a:pt x="426" y="200"/>
                  </a:lnTo>
                  <a:lnTo>
                    <a:pt x="427" y="201"/>
                  </a:lnTo>
                  <a:lnTo>
                    <a:pt x="427" y="202"/>
                  </a:lnTo>
                  <a:lnTo>
                    <a:pt x="427" y="205"/>
                  </a:lnTo>
                  <a:lnTo>
                    <a:pt x="427" y="206"/>
                  </a:lnTo>
                  <a:lnTo>
                    <a:pt x="428" y="206"/>
                  </a:lnTo>
                  <a:lnTo>
                    <a:pt x="429" y="209"/>
                  </a:lnTo>
                  <a:lnTo>
                    <a:pt x="429" y="210"/>
                  </a:lnTo>
                  <a:lnTo>
                    <a:pt x="429" y="210"/>
                  </a:lnTo>
                  <a:lnTo>
                    <a:pt x="429" y="211"/>
                  </a:lnTo>
                  <a:lnTo>
                    <a:pt x="429" y="212"/>
                  </a:lnTo>
                  <a:lnTo>
                    <a:pt x="429" y="213"/>
                  </a:lnTo>
                  <a:lnTo>
                    <a:pt x="428" y="215"/>
                  </a:lnTo>
                  <a:lnTo>
                    <a:pt x="428" y="216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8"/>
                  </a:lnTo>
                  <a:lnTo>
                    <a:pt x="428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0" y="218"/>
                  </a:lnTo>
                  <a:lnTo>
                    <a:pt x="431" y="218"/>
                  </a:lnTo>
                  <a:lnTo>
                    <a:pt x="432" y="219"/>
                  </a:lnTo>
                  <a:lnTo>
                    <a:pt x="435" y="219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7" y="220"/>
                  </a:lnTo>
                  <a:lnTo>
                    <a:pt x="438" y="221"/>
                  </a:lnTo>
                  <a:lnTo>
                    <a:pt x="439" y="221"/>
                  </a:lnTo>
                  <a:lnTo>
                    <a:pt x="439" y="222"/>
                  </a:lnTo>
                  <a:lnTo>
                    <a:pt x="440" y="223"/>
                  </a:lnTo>
                  <a:lnTo>
                    <a:pt x="440" y="223"/>
                  </a:lnTo>
                  <a:lnTo>
                    <a:pt x="441" y="224"/>
                  </a:lnTo>
                  <a:lnTo>
                    <a:pt x="441" y="225"/>
                  </a:lnTo>
                  <a:lnTo>
                    <a:pt x="441" y="226"/>
                  </a:lnTo>
                  <a:lnTo>
                    <a:pt x="441" y="227"/>
                  </a:lnTo>
                  <a:lnTo>
                    <a:pt x="442" y="231"/>
                  </a:lnTo>
                  <a:lnTo>
                    <a:pt x="442" y="232"/>
                  </a:lnTo>
                  <a:lnTo>
                    <a:pt x="442" y="233"/>
                  </a:lnTo>
                  <a:lnTo>
                    <a:pt x="442" y="235"/>
                  </a:lnTo>
                  <a:lnTo>
                    <a:pt x="442" y="237"/>
                  </a:lnTo>
                  <a:lnTo>
                    <a:pt x="441" y="238"/>
                  </a:lnTo>
                  <a:lnTo>
                    <a:pt x="441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0" y="242"/>
                  </a:lnTo>
                  <a:lnTo>
                    <a:pt x="439" y="243"/>
                  </a:lnTo>
                  <a:lnTo>
                    <a:pt x="437" y="246"/>
                  </a:lnTo>
                  <a:lnTo>
                    <a:pt x="434" y="249"/>
                  </a:lnTo>
                  <a:lnTo>
                    <a:pt x="434" y="250"/>
                  </a:lnTo>
                  <a:lnTo>
                    <a:pt x="433" y="251"/>
                  </a:lnTo>
                  <a:lnTo>
                    <a:pt x="432" y="252"/>
                  </a:lnTo>
                  <a:lnTo>
                    <a:pt x="432" y="253"/>
                  </a:lnTo>
                  <a:lnTo>
                    <a:pt x="431" y="254"/>
                  </a:lnTo>
                  <a:lnTo>
                    <a:pt x="431" y="255"/>
                  </a:lnTo>
                  <a:lnTo>
                    <a:pt x="431" y="256"/>
                  </a:lnTo>
                  <a:lnTo>
                    <a:pt x="431" y="258"/>
                  </a:lnTo>
                  <a:lnTo>
                    <a:pt x="431" y="259"/>
                  </a:lnTo>
                  <a:lnTo>
                    <a:pt x="431" y="259"/>
                  </a:lnTo>
                  <a:lnTo>
                    <a:pt x="431" y="260"/>
                  </a:lnTo>
                  <a:lnTo>
                    <a:pt x="432" y="262"/>
                  </a:lnTo>
                  <a:lnTo>
                    <a:pt x="433" y="265"/>
                  </a:lnTo>
                  <a:lnTo>
                    <a:pt x="433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9"/>
                  </a:lnTo>
                  <a:lnTo>
                    <a:pt x="432" y="271"/>
                  </a:lnTo>
                  <a:lnTo>
                    <a:pt x="431" y="274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1" y="279"/>
                  </a:lnTo>
                  <a:lnTo>
                    <a:pt x="430" y="279"/>
                  </a:lnTo>
                  <a:lnTo>
                    <a:pt x="430" y="279"/>
                  </a:lnTo>
                  <a:lnTo>
                    <a:pt x="429" y="279"/>
                  </a:lnTo>
                  <a:lnTo>
                    <a:pt x="427" y="279"/>
                  </a:lnTo>
                  <a:lnTo>
                    <a:pt x="426" y="279"/>
                  </a:lnTo>
                  <a:lnTo>
                    <a:pt x="425" y="279"/>
                  </a:lnTo>
                  <a:lnTo>
                    <a:pt x="423" y="278"/>
                  </a:lnTo>
                  <a:lnTo>
                    <a:pt x="421" y="278"/>
                  </a:lnTo>
                  <a:lnTo>
                    <a:pt x="420" y="277"/>
                  </a:lnTo>
                  <a:lnTo>
                    <a:pt x="418" y="277"/>
                  </a:lnTo>
                  <a:lnTo>
                    <a:pt x="416" y="276"/>
                  </a:lnTo>
                  <a:lnTo>
                    <a:pt x="415" y="275"/>
                  </a:lnTo>
                  <a:lnTo>
                    <a:pt x="413" y="275"/>
                  </a:lnTo>
                  <a:lnTo>
                    <a:pt x="406" y="271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9"/>
                  </a:lnTo>
                  <a:lnTo>
                    <a:pt x="400" y="269"/>
                  </a:lnTo>
                  <a:lnTo>
                    <a:pt x="398" y="268"/>
                  </a:lnTo>
                  <a:lnTo>
                    <a:pt x="397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2" y="267"/>
                  </a:lnTo>
                  <a:lnTo>
                    <a:pt x="391" y="267"/>
                  </a:lnTo>
                  <a:lnTo>
                    <a:pt x="390" y="267"/>
                  </a:lnTo>
                  <a:lnTo>
                    <a:pt x="388" y="268"/>
                  </a:lnTo>
                  <a:lnTo>
                    <a:pt x="386" y="268"/>
                  </a:lnTo>
                  <a:lnTo>
                    <a:pt x="385" y="268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3" y="268"/>
                  </a:lnTo>
                  <a:lnTo>
                    <a:pt x="380" y="267"/>
                  </a:lnTo>
                  <a:lnTo>
                    <a:pt x="379" y="267"/>
                  </a:lnTo>
                  <a:lnTo>
                    <a:pt x="378" y="267"/>
                  </a:lnTo>
                  <a:lnTo>
                    <a:pt x="377" y="267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70" y="268"/>
                  </a:lnTo>
                  <a:lnTo>
                    <a:pt x="368" y="268"/>
                  </a:lnTo>
                  <a:lnTo>
                    <a:pt x="365" y="268"/>
                  </a:lnTo>
                  <a:lnTo>
                    <a:pt x="363" y="268"/>
                  </a:lnTo>
                  <a:lnTo>
                    <a:pt x="362" y="267"/>
                  </a:lnTo>
                  <a:lnTo>
                    <a:pt x="359" y="267"/>
                  </a:lnTo>
                  <a:lnTo>
                    <a:pt x="358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6" y="267"/>
                  </a:lnTo>
                  <a:lnTo>
                    <a:pt x="356" y="268"/>
                  </a:lnTo>
                  <a:lnTo>
                    <a:pt x="355" y="269"/>
                  </a:lnTo>
                  <a:lnTo>
                    <a:pt x="355" y="271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2" y="281"/>
                  </a:lnTo>
                  <a:lnTo>
                    <a:pt x="352" y="282"/>
                  </a:lnTo>
                  <a:lnTo>
                    <a:pt x="351" y="283"/>
                  </a:lnTo>
                  <a:lnTo>
                    <a:pt x="351" y="283"/>
                  </a:lnTo>
                  <a:lnTo>
                    <a:pt x="350" y="283"/>
                  </a:lnTo>
                  <a:lnTo>
                    <a:pt x="350" y="283"/>
                  </a:lnTo>
                  <a:lnTo>
                    <a:pt x="349" y="284"/>
                  </a:lnTo>
                  <a:lnTo>
                    <a:pt x="348" y="284"/>
                  </a:lnTo>
                  <a:lnTo>
                    <a:pt x="346" y="284"/>
                  </a:lnTo>
                  <a:lnTo>
                    <a:pt x="344" y="284"/>
                  </a:lnTo>
                  <a:lnTo>
                    <a:pt x="343" y="284"/>
                  </a:lnTo>
                  <a:lnTo>
                    <a:pt x="341" y="284"/>
                  </a:lnTo>
                  <a:lnTo>
                    <a:pt x="337" y="283"/>
                  </a:lnTo>
                  <a:lnTo>
                    <a:pt x="336" y="283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4" y="283"/>
                  </a:lnTo>
                  <a:lnTo>
                    <a:pt x="331" y="283"/>
                  </a:lnTo>
                  <a:lnTo>
                    <a:pt x="329" y="284"/>
                  </a:lnTo>
                  <a:lnTo>
                    <a:pt x="327" y="284"/>
                  </a:lnTo>
                  <a:lnTo>
                    <a:pt x="326" y="284"/>
                  </a:lnTo>
                  <a:lnTo>
                    <a:pt x="325" y="284"/>
                  </a:lnTo>
                  <a:lnTo>
                    <a:pt x="324" y="284"/>
                  </a:lnTo>
                  <a:lnTo>
                    <a:pt x="324" y="284"/>
                  </a:lnTo>
                  <a:lnTo>
                    <a:pt x="323" y="283"/>
                  </a:lnTo>
                  <a:lnTo>
                    <a:pt x="322" y="283"/>
                  </a:lnTo>
                  <a:lnTo>
                    <a:pt x="322" y="283"/>
                  </a:lnTo>
                  <a:lnTo>
                    <a:pt x="321" y="283"/>
                  </a:lnTo>
                  <a:lnTo>
                    <a:pt x="321" y="283"/>
                  </a:lnTo>
                  <a:lnTo>
                    <a:pt x="320" y="283"/>
                  </a:lnTo>
                  <a:lnTo>
                    <a:pt x="319" y="283"/>
                  </a:lnTo>
                  <a:lnTo>
                    <a:pt x="318" y="283"/>
                  </a:lnTo>
                  <a:lnTo>
                    <a:pt x="317" y="284"/>
                  </a:lnTo>
                  <a:lnTo>
                    <a:pt x="316" y="284"/>
                  </a:lnTo>
                  <a:lnTo>
                    <a:pt x="316" y="285"/>
                  </a:lnTo>
                  <a:lnTo>
                    <a:pt x="315" y="285"/>
                  </a:lnTo>
                  <a:lnTo>
                    <a:pt x="314" y="287"/>
                  </a:lnTo>
                  <a:lnTo>
                    <a:pt x="313" y="288"/>
                  </a:lnTo>
                  <a:lnTo>
                    <a:pt x="311" y="289"/>
                  </a:lnTo>
                  <a:lnTo>
                    <a:pt x="311" y="290"/>
                  </a:lnTo>
                  <a:lnTo>
                    <a:pt x="310" y="290"/>
                  </a:lnTo>
                  <a:lnTo>
                    <a:pt x="310" y="291"/>
                  </a:lnTo>
                  <a:lnTo>
                    <a:pt x="309" y="291"/>
                  </a:lnTo>
                  <a:lnTo>
                    <a:pt x="309" y="291"/>
                  </a:lnTo>
                  <a:lnTo>
                    <a:pt x="308" y="291"/>
                  </a:lnTo>
                  <a:lnTo>
                    <a:pt x="308" y="291"/>
                  </a:lnTo>
                  <a:lnTo>
                    <a:pt x="307" y="291"/>
                  </a:lnTo>
                  <a:lnTo>
                    <a:pt x="307" y="290"/>
                  </a:lnTo>
                  <a:lnTo>
                    <a:pt x="307" y="290"/>
                  </a:lnTo>
                  <a:lnTo>
                    <a:pt x="303" y="284"/>
                  </a:lnTo>
                  <a:lnTo>
                    <a:pt x="302" y="283"/>
                  </a:lnTo>
                  <a:lnTo>
                    <a:pt x="301" y="282"/>
                  </a:lnTo>
                  <a:lnTo>
                    <a:pt x="300" y="281"/>
                  </a:lnTo>
                  <a:lnTo>
                    <a:pt x="299" y="281"/>
                  </a:lnTo>
                  <a:lnTo>
                    <a:pt x="296" y="279"/>
                  </a:lnTo>
                  <a:lnTo>
                    <a:pt x="293" y="277"/>
                  </a:lnTo>
                  <a:lnTo>
                    <a:pt x="292" y="276"/>
                  </a:lnTo>
                  <a:lnTo>
                    <a:pt x="290" y="275"/>
                  </a:lnTo>
                  <a:lnTo>
                    <a:pt x="289" y="275"/>
                  </a:lnTo>
                  <a:lnTo>
                    <a:pt x="285" y="274"/>
                  </a:lnTo>
                  <a:lnTo>
                    <a:pt x="281" y="272"/>
                  </a:lnTo>
                  <a:lnTo>
                    <a:pt x="280" y="272"/>
                  </a:lnTo>
                  <a:lnTo>
                    <a:pt x="278" y="272"/>
                  </a:lnTo>
                  <a:lnTo>
                    <a:pt x="277" y="271"/>
                  </a:lnTo>
                  <a:lnTo>
                    <a:pt x="276" y="271"/>
                  </a:lnTo>
                  <a:lnTo>
                    <a:pt x="276" y="271"/>
                  </a:lnTo>
                  <a:lnTo>
                    <a:pt x="275" y="270"/>
                  </a:lnTo>
                  <a:lnTo>
                    <a:pt x="273" y="269"/>
                  </a:lnTo>
                  <a:lnTo>
                    <a:pt x="272" y="267"/>
                  </a:lnTo>
                  <a:lnTo>
                    <a:pt x="271" y="266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2"/>
                  </a:lnTo>
                  <a:lnTo>
                    <a:pt x="264" y="258"/>
                  </a:lnTo>
                  <a:lnTo>
                    <a:pt x="262" y="256"/>
                  </a:lnTo>
                  <a:lnTo>
                    <a:pt x="261" y="255"/>
                  </a:lnTo>
                  <a:lnTo>
                    <a:pt x="260" y="254"/>
                  </a:lnTo>
                  <a:lnTo>
                    <a:pt x="258" y="254"/>
                  </a:lnTo>
                  <a:lnTo>
                    <a:pt x="257" y="253"/>
                  </a:lnTo>
                  <a:lnTo>
                    <a:pt x="256" y="252"/>
                  </a:lnTo>
                  <a:lnTo>
                    <a:pt x="252" y="250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6" y="247"/>
                  </a:lnTo>
                  <a:lnTo>
                    <a:pt x="243" y="246"/>
                  </a:lnTo>
                  <a:lnTo>
                    <a:pt x="239" y="245"/>
                  </a:lnTo>
                  <a:lnTo>
                    <a:pt x="235" y="244"/>
                  </a:lnTo>
                  <a:lnTo>
                    <a:pt x="234" y="244"/>
                  </a:lnTo>
                  <a:lnTo>
                    <a:pt x="232" y="243"/>
                  </a:lnTo>
                  <a:lnTo>
                    <a:pt x="231" y="243"/>
                  </a:lnTo>
                  <a:lnTo>
                    <a:pt x="230" y="242"/>
                  </a:lnTo>
                  <a:lnTo>
                    <a:pt x="229" y="242"/>
                  </a:lnTo>
                  <a:lnTo>
                    <a:pt x="228" y="242"/>
                  </a:lnTo>
                  <a:lnTo>
                    <a:pt x="224" y="242"/>
                  </a:lnTo>
                  <a:lnTo>
                    <a:pt x="222" y="242"/>
                  </a:lnTo>
                  <a:lnTo>
                    <a:pt x="221" y="242"/>
                  </a:lnTo>
                  <a:lnTo>
                    <a:pt x="221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19" y="241"/>
                  </a:lnTo>
                  <a:lnTo>
                    <a:pt x="219" y="240"/>
                  </a:lnTo>
                  <a:lnTo>
                    <a:pt x="218" y="240"/>
                  </a:lnTo>
                  <a:lnTo>
                    <a:pt x="216" y="238"/>
                  </a:lnTo>
                  <a:lnTo>
                    <a:pt x="214" y="236"/>
                  </a:lnTo>
                  <a:lnTo>
                    <a:pt x="213" y="235"/>
                  </a:lnTo>
                  <a:lnTo>
                    <a:pt x="212" y="233"/>
                  </a:lnTo>
                  <a:lnTo>
                    <a:pt x="211" y="233"/>
                  </a:lnTo>
                  <a:lnTo>
                    <a:pt x="210" y="232"/>
                  </a:lnTo>
                  <a:lnTo>
                    <a:pt x="209" y="232"/>
                  </a:lnTo>
                  <a:lnTo>
                    <a:pt x="209" y="231"/>
                  </a:lnTo>
                  <a:lnTo>
                    <a:pt x="208" y="231"/>
                  </a:lnTo>
                  <a:lnTo>
                    <a:pt x="207" y="230"/>
                  </a:lnTo>
                  <a:lnTo>
                    <a:pt x="205" y="230"/>
                  </a:lnTo>
                  <a:lnTo>
                    <a:pt x="202" y="230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6" y="227"/>
                  </a:lnTo>
                  <a:lnTo>
                    <a:pt x="195" y="227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3" y="225"/>
                  </a:lnTo>
                  <a:lnTo>
                    <a:pt x="192" y="224"/>
                  </a:lnTo>
                  <a:lnTo>
                    <a:pt x="191" y="223"/>
                  </a:lnTo>
                  <a:lnTo>
                    <a:pt x="190" y="222"/>
                  </a:lnTo>
                  <a:lnTo>
                    <a:pt x="190" y="221"/>
                  </a:lnTo>
                  <a:lnTo>
                    <a:pt x="189" y="221"/>
                  </a:lnTo>
                  <a:lnTo>
                    <a:pt x="189" y="221"/>
                  </a:lnTo>
                  <a:lnTo>
                    <a:pt x="188" y="221"/>
                  </a:lnTo>
                  <a:lnTo>
                    <a:pt x="188" y="221"/>
                  </a:lnTo>
                  <a:lnTo>
                    <a:pt x="187" y="221"/>
                  </a:lnTo>
                  <a:lnTo>
                    <a:pt x="186" y="222"/>
                  </a:lnTo>
                  <a:lnTo>
                    <a:pt x="185" y="223"/>
                  </a:lnTo>
                  <a:lnTo>
                    <a:pt x="184" y="224"/>
                  </a:lnTo>
                  <a:lnTo>
                    <a:pt x="183" y="225"/>
                  </a:lnTo>
                  <a:lnTo>
                    <a:pt x="182" y="226"/>
                  </a:lnTo>
                  <a:lnTo>
                    <a:pt x="181" y="228"/>
                  </a:lnTo>
                  <a:lnTo>
                    <a:pt x="180" y="230"/>
                  </a:lnTo>
                  <a:lnTo>
                    <a:pt x="179" y="233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8" y="235"/>
                  </a:lnTo>
                  <a:lnTo>
                    <a:pt x="176" y="237"/>
                  </a:lnTo>
                  <a:lnTo>
                    <a:pt x="175" y="240"/>
                  </a:lnTo>
                  <a:lnTo>
                    <a:pt x="174" y="240"/>
                  </a:lnTo>
                  <a:lnTo>
                    <a:pt x="174" y="241"/>
                  </a:lnTo>
                  <a:lnTo>
                    <a:pt x="173" y="241"/>
                  </a:lnTo>
                  <a:lnTo>
                    <a:pt x="173" y="241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6" y="242"/>
                  </a:lnTo>
                  <a:lnTo>
                    <a:pt x="165" y="242"/>
                  </a:lnTo>
                  <a:lnTo>
                    <a:pt x="164" y="242"/>
                  </a:lnTo>
                  <a:lnTo>
                    <a:pt x="164" y="241"/>
                  </a:lnTo>
                  <a:lnTo>
                    <a:pt x="163" y="241"/>
                  </a:lnTo>
                  <a:lnTo>
                    <a:pt x="161" y="240"/>
                  </a:lnTo>
                  <a:lnTo>
                    <a:pt x="158" y="239"/>
                  </a:lnTo>
                  <a:lnTo>
                    <a:pt x="152" y="236"/>
                  </a:lnTo>
                  <a:lnTo>
                    <a:pt x="150" y="235"/>
                  </a:lnTo>
                  <a:lnTo>
                    <a:pt x="150" y="234"/>
                  </a:lnTo>
                  <a:lnTo>
                    <a:pt x="149" y="234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6" y="231"/>
                  </a:lnTo>
                  <a:lnTo>
                    <a:pt x="146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5" y="227"/>
                  </a:lnTo>
                  <a:lnTo>
                    <a:pt x="146" y="226"/>
                  </a:lnTo>
                  <a:lnTo>
                    <a:pt x="146" y="225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5" y="219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7"/>
                  </a:lnTo>
                  <a:lnTo>
                    <a:pt x="140" y="217"/>
                  </a:lnTo>
                  <a:lnTo>
                    <a:pt x="139" y="216"/>
                  </a:lnTo>
                  <a:lnTo>
                    <a:pt x="138" y="216"/>
                  </a:lnTo>
                  <a:lnTo>
                    <a:pt x="137" y="215"/>
                  </a:lnTo>
                  <a:lnTo>
                    <a:pt x="135" y="214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1" y="212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7" y="211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3" y="210"/>
                  </a:lnTo>
                  <a:lnTo>
                    <a:pt x="123" y="209"/>
                  </a:lnTo>
                  <a:lnTo>
                    <a:pt x="122" y="209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3"/>
                  </a:lnTo>
                  <a:lnTo>
                    <a:pt x="120" y="203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19" y="202"/>
                  </a:lnTo>
                  <a:lnTo>
                    <a:pt x="119" y="201"/>
                  </a:lnTo>
                  <a:lnTo>
                    <a:pt x="118" y="201"/>
                  </a:lnTo>
                  <a:lnTo>
                    <a:pt x="115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9" y="199"/>
                  </a:lnTo>
                  <a:lnTo>
                    <a:pt x="108" y="198"/>
                  </a:lnTo>
                  <a:lnTo>
                    <a:pt x="107" y="198"/>
                  </a:lnTo>
                  <a:lnTo>
                    <a:pt x="106" y="197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4" y="195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0" y="191"/>
                  </a:lnTo>
                  <a:lnTo>
                    <a:pt x="99" y="191"/>
                  </a:lnTo>
                  <a:lnTo>
                    <a:pt x="98" y="190"/>
                  </a:lnTo>
                  <a:lnTo>
                    <a:pt x="95" y="189"/>
                  </a:lnTo>
                  <a:lnTo>
                    <a:pt x="94" y="189"/>
                  </a:lnTo>
                  <a:lnTo>
                    <a:pt x="93" y="188"/>
                  </a:lnTo>
                  <a:lnTo>
                    <a:pt x="93" y="187"/>
                  </a:lnTo>
                  <a:lnTo>
                    <a:pt x="92" y="187"/>
                  </a:lnTo>
                  <a:lnTo>
                    <a:pt x="91" y="187"/>
                  </a:lnTo>
                  <a:lnTo>
                    <a:pt x="89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7" y="186"/>
                  </a:lnTo>
                  <a:lnTo>
                    <a:pt x="73" y="186"/>
                  </a:lnTo>
                  <a:lnTo>
                    <a:pt x="72" y="186"/>
                  </a:lnTo>
                  <a:lnTo>
                    <a:pt x="71" y="186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7" y="186"/>
                  </a:lnTo>
                  <a:lnTo>
                    <a:pt x="66" y="186"/>
                  </a:lnTo>
                  <a:lnTo>
                    <a:pt x="66" y="185"/>
                  </a:lnTo>
                  <a:lnTo>
                    <a:pt x="64" y="184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0"/>
                  </a:lnTo>
                  <a:lnTo>
                    <a:pt x="59" y="179"/>
                  </a:lnTo>
                  <a:lnTo>
                    <a:pt x="52" y="174"/>
                  </a:lnTo>
                  <a:lnTo>
                    <a:pt x="49" y="172"/>
                  </a:lnTo>
                  <a:lnTo>
                    <a:pt x="47" y="171"/>
                  </a:lnTo>
                  <a:lnTo>
                    <a:pt x="42" y="167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8" y="161"/>
                  </a:lnTo>
                  <a:lnTo>
                    <a:pt x="38" y="157"/>
                  </a:lnTo>
                  <a:lnTo>
                    <a:pt x="39" y="154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9" y="148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4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6" y="131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19"/>
                  </a:lnTo>
                  <a:lnTo>
                    <a:pt x="46" y="118"/>
                  </a:lnTo>
                  <a:lnTo>
                    <a:pt x="45" y="118"/>
                  </a:lnTo>
                  <a:lnTo>
                    <a:pt x="45" y="117"/>
                  </a:lnTo>
                  <a:lnTo>
                    <a:pt x="44" y="116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1" y="114"/>
                  </a:lnTo>
                  <a:lnTo>
                    <a:pt x="38" y="113"/>
                  </a:lnTo>
                  <a:lnTo>
                    <a:pt x="37" y="112"/>
                  </a:lnTo>
                  <a:lnTo>
                    <a:pt x="35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29" y="106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5" y="98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3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8"/>
                  </a:lnTo>
                  <a:lnTo>
                    <a:pt x="5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2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3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8" y="46"/>
                  </a:lnTo>
                  <a:lnTo>
                    <a:pt x="39" y="46"/>
                  </a:lnTo>
                  <a:lnTo>
                    <a:pt x="40" y="45"/>
                  </a:lnTo>
                  <a:lnTo>
                    <a:pt x="42" y="44"/>
                  </a:lnTo>
                  <a:lnTo>
                    <a:pt x="42" y="43"/>
                  </a:lnTo>
                  <a:lnTo>
                    <a:pt x="43" y="42"/>
                  </a:lnTo>
                  <a:lnTo>
                    <a:pt x="43" y="42"/>
                  </a:lnTo>
                  <a:lnTo>
                    <a:pt x="44" y="40"/>
                  </a:lnTo>
                  <a:lnTo>
                    <a:pt x="44" y="39"/>
                  </a:lnTo>
                  <a:lnTo>
                    <a:pt x="45" y="39"/>
                  </a:lnTo>
                  <a:lnTo>
                    <a:pt x="45" y="38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47" y="36"/>
                  </a:lnTo>
                  <a:lnTo>
                    <a:pt x="48" y="36"/>
                  </a:lnTo>
                  <a:lnTo>
                    <a:pt x="49" y="35"/>
                  </a:lnTo>
                  <a:lnTo>
                    <a:pt x="50" y="35"/>
                  </a:lnTo>
                  <a:lnTo>
                    <a:pt x="52" y="35"/>
                  </a:lnTo>
                  <a:lnTo>
                    <a:pt x="53" y="35"/>
                  </a:lnTo>
                  <a:lnTo>
                    <a:pt x="54" y="34"/>
                  </a:lnTo>
                  <a:lnTo>
                    <a:pt x="57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9" y="32"/>
                  </a:lnTo>
                  <a:lnTo>
                    <a:pt x="59" y="32"/>
                  </a:lnTo>
                  <a:lnTo>
                    <a:pt x="60" y="33"/>
                  </a:lnTo>
                  <a:lnTo>
                    <a:pt x="60" y="33"/>
                  </a:lnTo>
                  <a:lnTo>
                    <a:pt x="61" y="33"/>
                  </a:lnTo>
                  <a:lnTo>
                    <a:pt x="62" y="35"/>
                  </a:lnTo>
                  <a:lnTo>
                    <a:pt x="63" y="35"/>
                  </a:lnTo>
                  <a:lnTo>
                    <a:pt x="64" y="35"/>
                  </a:lnTo>
                  <a:lnTo>
                    <a:pt x="65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8" y="36"/>
                  </a:lnTo>
                  <a:lnTo>
                    <a:pt x="69" y="36"/>
                  </a:lnTo>
                  <a:lnTo>
                    <a:pt x="70" y="36"/>
                  </a:lnTo>
                  <a:lnTo>
                    <a:pt x="73" y="36"/>
                  </a:lnTo>
                  <a:lnTo>
                    <a:pt x="74" y="36"/>
                  </a:lnTo>
                  <a:lnTo>
                    <a:pt x="75" y="36"/>
                  </a:lnTo>
                  <a:lnTo>
                    <a:pt x="77" y="36"/>
                  </a:lnTo>
                  <a:lnTo>
                    <a:pt x="78" y="36"/>
                  </a:lnTo>
                  <a:lnTo>
                    <a:pt x="80" y="36"/>
                  </a:lnTo>
                  <a:lnTo>
                    <a:pt x="81" y="36"/>
                  </a:lnTo>
                  <a:lnTo>
                    <a:pt x="82" y="36"/>
                  </a:lnTo>
                  <a:lnTo>
                    <a:pt x="83" y="36"/>
                  </a:lnTo>
                  <a:lnTo>
                    <a:pt x="83" y="37"/>
                  </a:lnTo>
                  <a:lnTo>
                    <a:pt x="85" y="37"/>
                  </a:lnTo>
                  <a:lnTo>
                    <a:pt x="87" y="38"/>
                  </a:lnTo>
                  <a:lnTo>
                    <a:pt x="89" y="39"/>
                  </a:lnTo>
                  <a:lnTo>
                    <a:pt x="89" y="39"/>
                  </a:lnTo>
                  <a:lnTo>
                    <a:pt x="90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3" y="39"/>
                  </a:lnTo>
                  <a:lnTo>
                    <a:pt x="94" y="38"/>
                  </a:lnTo>
                  <a:lnTo>
                    <a:pt x="97" y="37"/>
                  </a:lnTo>
                  <a:lnTo>
                    <a:pt x="98" y="36"/>
                  </a:lnTo>
                  <a:lnTo>
                    <a:pt x="100" y="36"/>
                  </a:lnTo>
                  <a:lnTo>
                    <a:pt x="102" y="35"/>
                  </a:lnTo>
                  <a:lnTo>
                    <a:pt x="103" y="35"/>
                  </a:lnTo>
                  <a:lnTo>
                    <a:pt x="104" y="35"/>
                  </a:lnTo>
                  <a:lnTo>
                    <a:pt x="105" y="34"/>
                  </a:lnTo>
                  <a:lnTo>
                    <a:pt x="106" y="33"/>
                  </a:lnTo>
                  <a:lnTo>
                    <a:pt x="106" y="33"/>
                  </a:lnTo>
                  <a:lnTo>
                    <a:pt x="107" y="32"/>
                  </a:lnTo>
                  <a:lnTo>
                    <a:pt x="107" y="31"/>
                  </a:lnTo>
                  <a:lnTo>
                    <a:pt x="108" y="31"/>
                  </a:lnTo>
                  <a:lnTo>
                    <a:pt x="108" y="30"/>
                  </a:lnTo>
                  <a:lnTo>
                    <a:pt x="109" y="27"/>
                  </a:lnTo>
                  <a:lnTo>
                    <a:pt x="110" y="26"/>
                  </a:lnTo>
                  <a:lnTo>
                    <a:pt x="110" y="26"/>
                  </a:lnTo>
                  <a:lnTo>
                    <a:pt x="111" y="25"/>
                  </a:lnTo>
                  <a:lnTo>
                    <a:pt x="111" y="24"/>
                  </a:lnTo>
                  <a:lnTo>
                    <a:pt x="112" y="24"/>
                  </a:lnTo>
                  <a:lnTo>
                    <a:pt x="113" y="23"/>
                  </a:lnTo>
                  <a:lnTo>
                    <a:pt x="114" y="22"/>
                  </a:lnTo>
                  <a:lnTo>
                    <a:pt x="115" y="21"/>
                  </a:lnTo>
                  <a:lnTo>
                    <a:pt x="116" y="20"/>
                  </a:lnTo>
                  <a:lnTo>
                    <a:pt x="118" y="19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1" y="18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Freeform 26">
              <a:extLst>
                <a:ext uri="{FF2B5EF4-FFF2-40B4-BE49-F238E27FC236}">
                  <a16:creationId xmlns:a16="http://schemas.microsoft.com/office/drawing/2014/main" id="{107976D1-510B-6CDB-4F99-1EA7D1F1B4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" y="3255"/>
              <a:ext cx="442" cy="291"/>
            </a:xfrm>
            <a:custGeom>
              <a:avLst/>
              <a:gdLst>
                <a:gd name="T0" fmla="*/ 131 w 442"/>
                <a:gd name="T1" fmla="*/ 34 h 291"/>
                <a:gd name="T2" fmla="*/ 148 w 442"/>
                <a:gd name="T3" fmla="*/ 30 h 291"/>
                <a:gd name="T4" fmla="*/ 170 w 442"/>
                <a:gd name="T5" fmla="*/ 23 h 291"/>
                <a:gd name="T6" fmla="*/ 190 w 442"/>
                <a:gd name="T7" fmla="*/ 40 h 291"/>
                <a:gd name="T8" fmla="*/ 208 w 442"/>
                <a:gd name="T9" fmla="*/ 53 h 291"/>
                <a:gd name="T10" fmla="*/ 231 w 442"/>
                <a:gd name="T11" fmla="*/ 68 h 291"/>
                <a:gd name="T12" fmla="*/ 255 w 442"/>
                <a:gd name="T13" fmla="*/ 75 h 291"/>
                <a:gd name="T14" fmla="*/ 274 w 442"/>
                <a:gd name="T15" fmla="*/ 74 h 291"/>
                <a:gd name="T16" fmla="*/ 282 w 442"/>
                <a:gd name="T17" fmla="*/ 69 h 291"/>
                <a:gd name="T18" fmla="*/ 289 w 442"/>
                <a:gd name="T19" fmla="*/ 56 h 291"/>
                <a:gd name="T20" fmla="*/ 312 w 442"/>
                <a:gd name="T21" fmla="*/ 39 h 291"/>
                <a:gd name="T22" fmla="*/ 329 w 442"/>
                <a:gd name="T23" fmla="*/ 22 h 291"/>
                <a:gd name="T24" fmla="*/ 343 w 442"/>
                <a:gd name="T25" fmla="*/ 24 h 291"/>
                <a:gd name="T26" fmla="*/ 365 w 442"/>
                <a:gd name="T27" fmla="*/ 33 h 291"/>
                <a:gd name="T28" fmla="*/ 392 w 442"/>
                <a:gd name="T29" fmla="*/ 48 h 291"/>
                <a:gd name="T30" fmla="*/ 409 w 442"/>
                <a:gd name="T31" fmla="*/ 33 h 291"/>
                <a:gd name="T32" fmla="*/ 428 w 442"/>
                <a:gd name="T33" fmla="*/ 6 h 291"/>
                <a:gd name="T34" fmla="*/ 441 w 442"/>
                <a:gd name="T35" fmla="*/ 1 h 291"/>
                <a:gd name="T36" fmla="*/ 430 w 442"/>
                <a:gd name="T37" fmla="*/ 39 h 291"/>
                <a:gd name="T38" fmla="*/ 426 w 442"/>
                <a:gd name="T39" fmla="*/ 61 h 291"/>
                <a:gd name="T40" fmla="*/ 423 w 442"/>
                <a:gd name="T41" fmla="*/ 81 h 291"/>
                <a:gd name="T42" fmla="*/ 403 w 442"/>
                <a:gd name="T43" fmla="*/ 95 h 291"/>
                <a:gd name="T44" fmla="*/ 407 w 442"/>
                <a:gd name="T45" fmla="*/ 119 h 291"/>
                <a:gd name="T46" fmla="*/ 413 w 442"/>
                <a:gd name="T47" fmla="*/ 154 h 291"/>
                <a:gd name="T48" fmla="*/ 410 w 442"/>
                <a:gd name="T49" fmla="*/ 173 h 291"/>
                <a:gd name="T50" fmla="*/ 426 w 442"/>
                <a:gd name="T51" fmla="*/ 200 h 291"/>
                <a:gd name="T52" fmla="*/ 428 w 442"/>
                <a:gd name="T53" fmla="*/ 218 h 291"/>
                <a:gd name="T54" fmla="*/ 441 w 442"/>
                <a:gd name="T55" fmla="*/ 225 h 291"/>
                <a:gd name="T56" fmla="*/ 433 w 442"/>
                <a:gd name="T57" fmla="*/ 251 h 291"/>
                <a:gd name="T58" fmla="*/ 431 w 442"/>
                <a:gd name="T59" fmla="*/ 274 h 291"/>
                <a:gd name="T60" fmla="*/ 415 w 442"/>
                <a:gd name="T61" fmla="*/ 275 h 291"/>
                <a:gd name="T62" fmla="*/ 384 w 442"/>
                <a:gd name="T63" fmla="*/ 268 h 291"/>
                <a:gd name="T64" fmla="*/ 358 w 442"/>
                <a:gd name="T65" fmla="*/ 266 h 291"/>
                <a:gd name="T66" fmla="*/ 350 w 442"/>
                <a:gd name="T67" fmla="*/ 283 h 291"/>
                <a:gd name="T68" fmla="*/ 324 w 442"/>
                <a:gd name="T69" fmla="*/ 284 h 291"/>
                <a:gd name="T70" fmla="*/ 311 w 442"/>
                <a:gd name="T71" fmla="*/ 290 h 291"/>
                <a:gd name="T72" fmla="*/ 292 w 442"/>
                <a:gd name="T73" fmla="*/ 276 h 291"/>
                <a:gd name="T74" fmla="*/ 264 w 442"/>
                <a:gd name="T75" fmla="*/ 258 h 291"/>
                <a:gd name="T76" fmla="*/ 230 w 442"/>
                <a:gd name="T77" fmla="*/ 242 h 291"/>
                <a:gd name="T78" fmla="*/ 210 w 442"/>
                <a:gd name="T79" fmla="*/ 232 h 291"/>
                <a:gd name="T80" fmla="*/ 191 w 442"/>
                <a:gd name="T81" fmla="*/ 223 h 291"/>
                <a:gd name="T82" fmla="*/ 179 w 442"/>
                <a:gd name="T83" fmla="*/ 234 h 291"/>
                <a:gd name="T84" fmla="*/ 163 w 442"/>
                <a:gd name="T85" fmla="*/ 241 h 291"/>
                <a:gd name="T86" fmla="*/ 147 w 442"/>
                <a:gd name="T87" fmla="*/ 222 h 291"/>
                <a:gd name="T88" fmla="*/ 132 w 442"/>
                <a:gd name="T89" fmla="*/ 213 h 291"/>
                <a:gd name="T90" fmla="*/ 120 w 442"/>
                <a:gd name="T91" fmla="*/ 203 h 291"/>
                <a:gd name="T92" fmla="*/ 101 w 442"/>
                <a:gd name="T93" fmla="*/ 192 h 291"/>
                <a:gd name="T94" fmla="*/ 84 w 442"/>
                <a:gd name="T95" fmla="*/ 187 h 291"/>
                <a:gd name="T96" fmla="*/ 64 w 442"/>
                <a:gd name="T97" fmla="*/ 184 h 291"/>
                <a:gd name="T98" fmla="*/ 39 w 442"/>
                <a:gd name="T99" fmla="*/ 149 h 291"/>
                <a:gd name="T100" fmla="*/ 45 w 442"/>
                <a:gd name="T101" fmla="*/ 127 h 291"/>
                <a:gd name="T102" fmla="*/ 37 w 442"/>
                <a:gd name="T103" fmla="*/ 112 h 291"/>
                <a:gd name="T104" fmla="*/ 28 w 442"/>
                <a:gd name="T105" fmla="*/ 99 h 291"/>
                <a:gd name="T106" fmla="*/ 15 w 442"/>
                <a:gd name="T107" fmla="*/ 93 h 291"/>
                <a:gd name="T108" fmla="*/ 0 w 442"/>
                <a:gd name="T109" fmla="*/ 83 h 291"/>
                <a:gd name="T110" fmla="*/ 5 w 442"/>
                <a:gd name="T111" fmla="*/ 76 h 291"/>
                <a:gd name="T112" fmla="*/ 10 w 442"/>
                <a:gd name="T113" fmla="*/ 66 h 291"/>
                <a:gd name="T114" fmla="*/ 10 w 442"/>
                <a:gd name="T115" fmla="*/ 54 h 291"/>
                <a:gd name="T116" fmla="*/ 19 w 442"/>
                <a:gd name="T117" fmla="*/ 49 h 291"/>
                <a:gd name="T118" fmla="*/ 33 w 442"/>
                <a:gd name="T119" fmla="*/ 49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2" h="291">
                  <a:moveTo>
                    <a:pt x="121" y="18"/>
                  </a:moveTo>
                  <a:lnTo>
                    <a:pt x="121" y="18"/>
                  </a:lnTo>
                  <a:lnTo>
                    <a:pt x="122" y="19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5" y="22"/>
                  </a:lnTo>
                  <a:lnTo>
                    <a:pt x="126" y="24"/>
                  </a:lnTo>
                  <a:lnTo>
                    <a:pt x="126" y="25"/>
                  </a:lnTo>
                  <a:lnTo>
                    <a:pt x="127" y="27"/>
                  </a:lnTo>
                  <a:lnTo>
                    <a:pt x="128" y="30"/>
                  </a:lnTo>
                  <a:lnTo>
                    <a:pt x="128" y="31"/>
                  </a:lnTo>
                  <a:lnTo>
                    <a:pt x="129" y="32"/>
                  </a:lnTo>
                  <a:lnTo>
                    <a:pt x="129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8" y="35"/>
                  </a:lnTo>
                  <a:lnTo>
                    <a:pt x="139" y="35"/>
                  </a:lnTo>
                  <a:lnTo>
                    <a:pt x="140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5" y="31"/>
                  </a:lnTo>
                  <a:lnTo>
                    <a:pt x="148" y="30"/>
                  </a:lnTo>
                  <a:lnTo>
                    <a:pt x="149" y="29"/>
                  </a:lnTo>
                  <a:lnTo>
                    <a:pt x="150" y="29"/>
                  </a:lnTo>
                  <a:lnTo>
                    <a:pt x="150" y="28"/>
                  </a:lnTo>
                  <a:lnTo>
                    <a:pt x="151" y="28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4"/>
                  </a:lnTo>
                  <a:lnTo>
                    <a:pt x="156" y="23"/>
                  </a:lnTo>
                  <a:lnTo>
                    <a:pt x="158" y="23"/>
                  </a:lnTo>
                  <a:lnTo>
                    <a:pt x="160" y="22"/>
                  </a:lnTo>
                  <a:lnTo>
                    <a:pt x="161" y="21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70" y="23"/>
                  </a:lnTo>
                  <a:lnTo>
                    <a:pt x="174" y="24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0" y="26"/>
                  </a:lnTo>
                  <a:lnTo>
                    <a:pt x="181" y="26"/>
                  </a:lnTo>
                  <a:lnTo>
                    <a:pt x="182" y="27"/>
                  </a:lnTo>
                  <a:lnTo>
                    <a:pt x="183" y="27"/>
                  </a:lnTo>
                  <a:lnTo>
                    <a:pt x="183" y="28"/>
                  </a:lnTo>
                  <a:lnTo>
                    <a:pt x="185" y="31"/>
                  </a:lnTo>
                  <a:lnTo>
                    <a:pt x="186" y="31"/>
                  </a:lnTo>
                  <a:lnTo>
                    <a:pt x="186" y="32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88" y="35"/>
                  </a:lnTo>
                  <a:lnTo>
                    <a:pt x="189" y="39"/>
                  </a:lnTo>
                  <a:lnTo>
                    <a:pt x="190" y="40"/>
                  </a:lnTo>
                  <a:lnTo>
                    <a:pt x="190" y="41"/>
                  </a:lnTo>
                  <a:lnTo>
                    <a:pt x="191" y="42"/>
                  </a:lnTo>
                  <a:lnTo>
                    <a:pt x="191" y="43"/>
                  </a:lnTo>
                  <a:lnTo>
                    <a:pt x="192" y="43"/>
                  </a:lnTo>
                  <a:lnTo>
                    <a:pt x="192" y="44"/>
                  </a:lnTo>
                  <a:lnTo>
                    <a:pt x="193" y="44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6"/>
                  </a:lnTo>
                  <a:lnTo>
                    <a:pt x="200" y="46"/>
                  </a:lnTo>
                  <a:lnTo>
                    <a:pt x="201" y="47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4" y="49"/>
                  </a:lnTo>
                  <a:lnTo>
                    <a:pt x="206" y="50"/>
                  </a:lnTo>
                  <a:lnTo>
                    <a:pt x="208" y="53"/>
                  </a:lnTo>
                  <a:lnTo>
                    <a:pt x="209" y="54"/>
                  </a:lnTo>
                  <a:lnTo>
                    <a:pt x="210" y="55"/>
                  </a:lnTo>
                  <a:lnTo>
                    <a:pt x="211" y="56"/>
                  </a:lnTo>
                  <a:lnTo>
                    <a:pt x="212" y="57"/>
                  </a:lnTo>
                  <a:lnTo>
                    <a:pt x="213" y="58"/>
                  </a:lnTo>
                  <a:lnTo>
                    <a:pt x="215" y="58"/>
                  </a:lnTo>
                  <a:lnTo>
                    <a:pt x="218" y="60"/>
                  </a:lnTo>
                  <a:lnTo>
                    <a:pt x="219" y="60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2"/>
                  </a:lnTo>
                  <a:lnTo>
                    <a:pt x="224" y="64"/>
                  </a:lnTo>
                  <a:lnTo>
                    <a:pt x="225" y="65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8" y="67"/>
                  </a:lnTo>
                  <a:lnTo>
                    <a:pt x="231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6" y="70"/>
                  </a:lnTo>
                  <a:lnTo>
                    <a:pt x="237" y="71"/>
                  </a:lnTo>
                  <a:lnTo>
                    <a:pt x="238" y="72"/>
                  </a:lnTo>
                  <a:lnTo>
                    <a:pt x="242" y="75"/>
                  </a:lnTo>
                  <a:lnTo>
                    <a:pt x="243" y="75"/>
                  </a:lnTo>
                  <a:lnTo>
                    <a:pt x="244" y="76"/>
                  </a:lnTo>
                  <a:lnTo>
                    <a:pt x="245" y="76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7" y="77"/>
                  </a:lnTo>
                  <a:lnTo>
                    <a:pt x="248" y="77"/>
                  </a:lnTo>
                  <a:lnTo>
                    <a:pt x="249" y="77"/>
                  </a:lnTo>
                  <a:lnTo>
                    <a:pt x="251" y="76"/>
                  </a:lnTo>
                  <a:lnTo>
                    <a:pt x="254" y="76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1" y="74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6" y="75"/>
                  </a:lnTo>
                  <a:lnTo>
                    <a:pt x="269" y="75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4" y="74"/>
                  </a:lnTo>
                  <a:lnTo>
                    <a:pt x="275" y="75"/>
                  </a:lnTo>
                  <a:lnTo>
                    <a:pt x="277" y="75"/>
                  </a:lnTo>
                  <a:lnTo>
                    <a:pt x="278" y="76"/>
                  </a:lnTo>
                  <a:lnTo>
                    <a:pt x="279" y="76"/>
                  </a:lnTo>
                  <a:lnTo>
                    <a:pt x="280" y="76"/>
                  </a:lnTo>
                  <a:lnTo>
                    <a:pt x="281" y="76"/>
                  </a:lnTo>
                  <a:lnTo>
                    <a:pt x="281" y="75"/>
                  </a:lnTo>
                  <a:lnTo>
                    <a:pt x="282" y="75"/>
                  </a:lnTo>
                  <a:lnTo>
                    <a:pt x="282" y="75"/>
                  </a:lnTo>
                  <a:lnTo>
                    <a:pt x="283" y="75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2" y="70"/>
                  </a:lnTo>
                  <a:lnTo>
                    <a:pt x="282" y="69"/>
                  </a:lnTo>
                  <a:lnTo>
                    <a:pt x="282" y="69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7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4" y="65"/>
                  </a:lnTo>
                  <a:lnTo>
                    <a:pt x="286" y="64"/>
                  </a:lnTo>
                  <a:lnTo>
                    <a:pt x="287" y="63"/>
                  </a:lnTo>
                  <a:lnTo>
                    <a:pt x="288" y="62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0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5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1" y="52"/>
                  </a:lnTo>
                  <a:lnTo>
                    <a:pt x="292" y="51"/>
                  </a:lnTo>
                  <a:lnTo>
                    <a:pt x="293" y="50"/>
                  </a:lnTo>
                  <a:lnTo>
                    <a:pt x="294" y="50"/>
                  </a:lnTo>
                  <a:lnTo>
                    <a:pt x="296" y="48"/>
                  </a:lnTo>
                  <a:lnTo>
                    <a:pt x="298" y="47"/>
                  </a:lnTo>
                  <a:lnTo>
                    <a:pt x="300" y="46"/>
                  </a:lnTo>
                  <a:lnTo>
                    <a:pt x="302" y="44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6" y="42"/>
                  </a:lnTo>
                  <a:lnTo>
                    <a:pt x="309" y="41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20" y="35"/>
                  </a:lnTo>
                  <a:lnTo>
                    <a:pt x="321" y="34"/>
                  </a:lnTo>
                  <a:lnTo>
                    <a:pt x="322" y="33"/>
                  </a:lnTo>
                  <a:lnTo>
                    <a:pt x="323" y="32"/>
                  </a:lnTo>
                  <a:lnTo>
                    <a:pt x="324" y="31"/>
                  </a:lnTo>
                  <a:lnTo>
                    <a:pt x="325" y="31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7" y="27"/>
                  </a:lnTo>
                  <a:lnTo>
                    <a:pt x="329" y="24"/>
                  </a:lnTo>
                  <a:lnTo>
                    <a:pt x="329" y="23"/>
                  </a:lnTo>
                  <a:lnTo>
                    <a:pt x="329" y="22"/>
                  </a:lnTo>
                  <a:lnTo>
                    <a:pt x="330" y="21"/>
                  </a:lnTo>
                  <a:lnTo>
                    <a:pt x="330" y="21"/>
                  </a:lnTo>
                  <a:lnTo>
                    <a:pt x="331" y="21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39" y="22"/>
                  </a:lnTo>
                  <a:lnTo>
                    <a:pt x="342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7" y="26"/>
                  </a:lnTo>
                  <a:lnTo>
                    <a:pt x="352" y="28"/>
                  </a:lnTo>
                  <a:lnTo>
                    <a:pt x="353" y="28"/>
                  </a:lnTo>
                  <a:lnTo>
                    <a:pt x="355" y="29"/>
                  </a:lnTo>
                  <a:lnTo>
                    <a:pt x="356" y="29"/>
                  </a:lnTo>
                  <a:lnTo>
                    <a:pt x="357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9" y="29"/>
                  </a:lnTo>
                  <a:lnTo>
                    <a:pt x="359" y="29"/>
                  </a:lnTo>
                  <a:lnTo>
                    <a:pt x="360" y="30"/>
                  </a:lnTo>
                  <a:lnTo>
                    <a:pt x="362" y="31"/>
                  </a:lnTo>
                  <a:lnTo>
                    <a:pt x="363" y="32"/>
                  </a:lnTo>
                  <a:lnTo>
                    <a:pt x="365" y="33"/>
                  </a:lnTo>
                  <a:lnTo>
                    <a:pt x="366" y="34"/>
                  </a:lnTo>
                  <a:lnTo>
                    <a:pt x="367" y="35"/>
                  </a:lnTo>
                  <a:lnTo>
                    <a:pt x="370" y="38"/>
                  </a:lnTo>
                  <a:lnTo>
                    <a:pt x="371" y="39"/>
                  </a:lnTo>
                  <a:lnTo>
                    <a:pt x="373" y="40"/>
                  </a:lnTo>
                  <a:lnTo>
                    <a:pt x="374" y="41"/>
                  </a:lnTo>
                  <a:lnTo>
                    <a:pt x="375" y="41"/>
                  </a:lnTo>
                  <a:lnTo>
                    <a:pt x="376" y="42"/>
                  </a:lnTo>
                  <a:lnTo>
                    <a:pt x="377" y="43"/>
                  </a:lnTo>
                  <a:lnTo>
                    <a:pt x="378" y="43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9" y="47"/>
                  </a:lnTo>
                  <a:lnTo>
                    <a:pt x="390" y="47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3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5" y="47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8" y="46"/>
                  </a:lnTo>
                  <a:lnTo>
                    <a:pt x="399" y="45"/>
                  </a:lnTo>
                  <a:lnTo>
                    <a:pt x="400" y="45"/>
                  </a:lnTo>
                  <a:lnTo>
                    <a:pt x="401" y="44"/>
                  </a:lnTo>
                  <a:lnTo>
                    <a:pt x="402" y="42"/>
                  </a:lnTo>
                  <a:lnTo>
                    <a:pt x="406" y="37"/>
                  </a:lnTo>
                  <a:lnTo>
                    <a:pt x="407" y="35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9" y="33"/>
                  </a:lnTo>
                  <a:lnTo>
                    <a:pt x="412" y="30"/>
                  </a:lnTo>
                  <a:lnTo>
                    <a:pt x="414" y="28"/>
                  </a:lnTo>
                  <a:lnTo>
                    <a:pt x="416" y="27"/>
                  </a:lnTo>
                  <a:lnTo>
                    <a:pt x="417" y="26"/>
                  </a:lnTo>
                  <a:lnTo>
                    <a:pt x="418" y="24"/>
                  </a:lnTo>
                  <a:lnTo>
                    <a:pt x="419" y="22"/>
                  </a:lnTo>
                  <a:lnTo>
                    <a:pt x="420" y="21"/>
                  </a:lnTo>
                  <a:lnTo>
                    <a:pt x="421" y="20"/>
                  </a:lnTo>
                  <a:lnTo>
                    <a:pt x="421" y="18"/>
                  </a:lnTo>
                  <a:lnTo>
                    <a:pt x="422" y="17"/>
                  </a:lnTo>
                  <a:lnTo>
                    <a:pt x="424" y="12"/>
                  </a:lnTo>
                  <a:lnTo>
                    <a:pt x="424" y="11"/>
                  </a:lnTo>
                  <a:lnTo>
                    <a:pt x="425" y="10"/>
                  </a:lnTo>
                  <a:lnTo>
                    <a:pt x="426" y="9"/>
                  </a:lnTo>
                  <a:lnTo>
                    <a:pt x="426" y="7"/>
                  </a:lnTo>
                  <a:lnTo>
                    <a:pt x="427" y="6"/>
                  </a:lnTo>
                  <a:lnTo>
                    <a:pt x="428" y="6"/>
                  </a:lnTo>
                  <a:lnTo>
                    <a:pt x="429" y="5"/>
                  </a:lnTo>
                  <a:lnTo>
                    <a:pt x="430" y="4"/>
                  </a:lnTo>
                  <a:lnTo>
                    <a:pt x="431" y="3"/>
                  </a:lnTo>
                  <a:lnTo>
                    <a:pt x="432" y="2"/>
                  </a:lnTo>
                  <a:lnTo>
                    <a:pt x="433" y="2"/>
                  </a:lnTo>
                  <a:lnTo>
                    <a:pt x="434" y="1"/>
                  </a:lnTo>
                  <a:lnTo>
                    <a:pt x="435" y="1"/>
                  </a:lnTo>
                  <a:lnTo>
                    <a:pt x="436" y="0"/>
                  </a:lnTo>
                  <a:lnTo>
                    <a:pt x="437" y="0"/>
                  </a:lnTo>
                  <a:lnTo>
                    <a:pt x="438" y="0"/>
                  </a:lnTo>
                  <a:lnTo>
                    <a:pt x="439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2" y="1"/>
                  </a:lnTo>
                  <a:lnTo>
                    <a:pt x="442" y="1"/>
                  </a:lnTo>
                  <a:lnTo>
                    <a:pt x="442" y="3"/>
                  </a:lnTo>
                  <a:lnTo>
                    <a:pt x="442" y="4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0" y="11"/>
                  </a:lnTo>
                  <a:lnTo>
                    <a:pt x="440" y="13"/>
                  </a:lnTo>
                  <a:lnTo>
                    <a:pt x="439" y="17"/>
                  </a:lnTo>
                  <a:lnTo>
                    <a:pt x="437" y="20"/>
                  </a:lnTo>
                  <a:lnTo>
                    <a:pt x="435" y="28"/>
                  </a:lnTo>
                  <a:lnTo>
                    <a:pt x="433" y="32"/>
                  </a:lnTo>
                  <a:lnTo>
                    <a:pt x="433" y="33"/>
                  </a:lnTo>
                  <a:lnTo>
                    <a:pt x="431" y="35"/>
                  </a:lnTo>
                  <a:lnTo>
                    <a:pt x="430" y="39"/>
                  </a:lnTo>
                  <a:lnTo>
                    <a:pt x="430" y="40"/>
                  </a:lnTo>
                  <a:lnTo>
                    <a:pt x="429" y="42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6"/>
                  </a:lnTo>
                  <a:lnTo>
                    <a:pt x="428" y="47"/>
                  </a:lnTo>
                  <a:lnTo>
                    <a:pt x="428" y="51"/>
                  </a:lnTo>
                  <a:lnTo>
                    <a:pt x="428" y="52"/>
                  </a:lnTo>
                  <a:lnTo>
                    <a:pt x="428" y="53"/>
                  </a:lnTo>
                  <a:lnTo>
                    <a:pt x="428" y="54"/>
                  </a:lnTo>
                  <a:lnTo>
                    <a:pt x="428" y="55"/>
                  </a:lnTo>
                  <a:lnTo>
                    <a:pt x="427" y="58"/>
                  </a:lnTo>
                  <a:lnTo>
                    <a:pt x="427" y="59"/>
                  </a:lnTo>
                  <a:lnTo>
                    <a:pt x="426" y="60"/>
                  </a:lnTo>
                  <a:lnTo>
                    <a:pt x="426" y="61"/>
                  </a:lnTo>
                  <a:lnTo>
                    <a:pt x="426" y="62"/>
                  </a:lnTo>
                  <a:lnTo>
                    <a:pt x="426" y="62"/>
                  </a:lnTo>
                  <a:lnTo>
                    <a:pt x="427" y="63"/>
                  </a:lnTo>
                  <a:lnTo>
                    <a:pt x="427" y="66"/>
                  </a:lnTo>
                  <a:lnTo>
                    <a:pt x="427" y="67"/>
                  </a:lnTo>
                  <a:lnTo>
                    <a:pt x="428" y="70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8" y="74"/>
                  </a:lnTo>
                  <a:lnTo>
                    <a:pt x="427" y="75"/>
                  </a:lnTo>
                  <a:lnTo>
                    <a:pt x="427" y="76"/>
                  </a:lnTo>
                  <a:lnTo>
                    <a:pt x="426" y="77"/>
                  </a:lnTo>
                  <a:lnTo>
                    <a:pt x="426" y="78"/>
                  </a:lnTo>
                  <a:lnTo>
                    <a:pt x="426" y="78"/>
                  </a:lnTo>
                  <a:lnTo>
                    <a:pt x="425" y="79"/>
                  </a:lnTo>
                  <a:lnTo>
                    <a:pt x="424" y="79"/>
                  </a:lnTo>
                  <a:lnTo>
                    <a:pt x="423" y="81"/>
                  </a:lnTo>
                  <a:lnTo>
                    <a:pt x="420" y="83"/>
                  </a:lnTo>
                  <a:lnTo>
                    <a:pt x="419" y="84"/>
                  </a:lnTo>
                  <a:lnTo>
                    <a:pt x="416" y="87"/>
                  </a:lnTo>
                  <a:lnTo>
                    <a:pt x="416" y="88"/>
                  </a:lnTo>
                  <a:lnTo>
                    <a:pt x="415" y="89"/>
                  </a:lnTo>
                  <a:lnTo>
                    <a:pt x="414" y="90"/>
                  </a:lnTo>
                  <a:lnTo>
                    <a:pt x="413" y="91"/>
                  </a:lnTo>
                  <a:lnTo>
                    <a:pt x="412" y="91"/>
                  </a:lnTo>
                  <a:lnTo>
                    <a:pt x="412" y="92"/>
                  </a:lnTo>
                  <a:lnTo>
                    <a:pt x="411" y="92"/>
                  </a:lnTo>
                  <a:lnTo>
                    <a:pt x="410" y="93"/>
                  </a:lnTo>
                  <a:lnTo>
                    <a:pt x="410" y="93"/>
                  </a:lnTo>
                  <a:lnTo>
                    <a:pt x="409" y="93"/>
                  </a:lnTo>
                  <a:lnTo>
                    <a:pt x="406" y="94"/>
                  </a:lnTo>
                  <a:lnTo>
                    <a:pt x="405" y="94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2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2" y="97"/>
                  </a:lnTo>
                  <a:lnTo>
                    <a:pt x="401" y="98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2" y="101"/>
                  </a:lnTo>
                  <a:lnTo>
                    <a:pt x="404" y="105"/>
                  </a:lnTo>
                  <a:lnTo>
                    <a:pt x="405" y="108"/>
                  </a:lnTo>
                  <a:lnTo>
                    <a:pt x="405" y="110"/>
                  </a:lnTo>
                  <a:lnTo>
                    <a:pt x="406" y="115"/>
                  </a:lnTo>
                  <a:lnTo>
                    <a:pt x="407" y="117"/>
                  </a:lnTo>
                  <a:lnTo>
                    <a:pt x="407" y="119"/>
                  </a:lnTo>
                  <a:lnTo>
                    <a:pt x="408" y="121"/>
                  </a:lnTo>
                  <a:lnTo>
                    <a:pt x="410" y="126"/>
                  </a:lnTo>
                  <a:lnTo>
                    <a:pt x="411" y="131"/>
                  </a:lnTo>
                  <a:lnTo>
                    <a:pt x="412" y="132"/>
                  </a:lnTo>
                  <a:lnTo>
                    <a:pt x="412" y="133"/>
                  </a:lnTo>
                  <a:lnTo>
                    <a:pt x="412" y="135"/>
                  </a:lnTo>
                  <a:lnTo>
                    <a:pt x="413" y="139"/>
                  </a:lnTo>
                  <a:lnTo>
                    <a:pt x="413" y="142"/>
                  </a:lnTo>
                  <a:lnTo>
                    <a:pt x="413" y="143"/>
                  </a:lnTo>
                  <a:lnTo>
                    <a:pt x="413" y="145"/>
                  </a:lnTo>
                  <a:lnTo>
                    <a:pt x="414" y="148"/>
                  </a:lnTo>
                  <a:lnTo>
                    <a:pt x="414" y="150"/>
                  </a:lnTo>
                  <a:lnTo>
                    <a:pt x="414" y="151"/>
                  </a:lnTo>
                  <a:lnTo>
                    <a:pt x="414" y="151"/>
                  </a:lnTo>
                  <a:lnTo>
                    <a:pt x="414" y="152"/>
                  </a:lnTo>
                  <a:lnTo>
                    <a:pt x="414" y="153"/>
                  </a:lnTo>
                  <a:lnTo>
                    <a:pt x="413" y="154"/>
                  </a:lnTo>
                  <a:lnTo>
                    <a:pt x="413" y="154"/>
                  </a:lnTo>
                  <a:lnTo>
                    <a:pt x="411" y="157"/>
                  </a:lnTo>
                  <a:lnTo>
                    <a:pt x="410" y="158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09" y="161"/>
                  </a:lnTo>
                  <a:lnTo>
                    <a:pt x="409" y="162"/>
                  </a:lnTo>
                  <a:lnTo>
                    <a:pt x="409" y="163"/>
                  </a:lnTo>
                  <a:lnTo>
                    <a:pt x="408" y="164"/>
                  </a:lnTo>
                  <a:lnTo>
                    <a:pt x="408" y="165"/>
                  </a:lnTo>
                  <a:lnTo>
                    <a:pt x="408" y="166"/>
                  </a:lnTo>
                  <a:lnTo>
                    <a:pt x="408" y="167"/>
                  </a:lnTo>
                  <a:lnTo>
                    <a:pt x="408" y="169"/>
                  </a:lnTo>
                  <a:lnTo>
                    <a:pt x="409" y="170"/>
                  </a:lnTo>
                  <a:lnTo>
                    <a:pt x="409" y="171"/>
                  </a:lnTo>
                  <a:lnTo>
                    <a:pt x="409" y="172"/>
                  </a:lnTo>
                  <a:lnTo>
                    <a:pt x="410" y="173"/>
                  </a:lnTo>
                  <a:lnTo>
                    <a:pt x="412" y="176"/>
                  </a:lnTo>
                  <a:lnTo>
                    <a:pt x="413" y="177"/>
                  </a:lnTo>
                  <a:lnTo>
                    <a:pt x="413" y="178"/>
                  </a:lnTo>
                  <a:lnTo>
                    <a:pt x="413" y="179"/>
                  </a:lnTo>
                  <a:lnTo>
                    <a:pt x="414" y="180"/>
                  </a:lnTo>
                  <a:lnTo>
                    <a:pt x="415" y="183"/>
                  </a:lnTo>
                  <a:lnTo>
                    <a:pt x="416" y="185"/>
                  </a:lnTo>
                  <a:lnTo>
                    <a:pt x="416" y="187"/>
                  </a:lnTo>
                  <a:lnTo>
                    <a:pt x="417" y="189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21" y="193"/>
                  </a:lnTo>
                  <a:lnTo>
                    <a:pt x="422" y="195"/>
                  </a:lnTo>
                  <a:lnTo>
                    <a:pt x="425" y="198"/>
                  </a:lnTo>
                  <a:lnTo>
                    <a:pt x="425" y="199"/>
                  </a:lnTo>
                  <a:lnTo>
                    <a:pt x="426" y="199"/>
                  </a:lnTo>
                  <a:lnTo>
                    <a:pt x="426" y="200"/>
                  </a:lnTo>
                  <a:lnTo>
                    <a:pt x="427" y="201"/>
                  </a:lnTo>
                  <a:lnTo>
                    <a:pt x="427" y="202"/>
                  </a:lnTo>
                  <a:lnTo>
                    <a:pt x="427" y="205"/>
                  </a:lnTo>
                  <a:lnTo>
                    <a:pt x="427" y="206"/>
                  </a:lnTo>
                  <a:lnTo>
                    <a:pt x="428" y="206"/>
                  </a:lnTo>
                  <a:lnTo>
                    <a:pt x="429" y="209"/>
                  </a:lnTo>
                  <a:lnTo>
                    <a:pt x="429" y="210"/>
                  </a:lnTo>
                  <a:lnTo>
                    <a:pt x="429" y="210"/>
                  </a:lnTo>
                  <a:lnTo>
                    <a:pt x="429" y="211"/>
                  </a:lnTo>
                  <a:lnTo>
                    <a:pt x="429" y="212"/>
                  </a:lnTo>
                  <a:lnTo>
                    <a:pt x="429" y="213"/>
                  </a:lnTo>
                  <a:lnTo>
                    <a:pt x="428" y="215"/>
                  </a:lnTo>
                  <a:lnTo>
                    <a:pt x="428" y="216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8"/>
                  </a:lnTo>
                  <a:lnTo>
                    <a:pt x="428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0" y="218"/>
                  </a:lnTo>
                  <a:lnTo>
                    <a:pt x="431" y="218"/>
                  </a:lnTo>
                  <a:lnTo>
                    <a:pt x="432" y="219"/>
                  </a:lnTo>
                  <a:lnTo>
                    <a:pt x="435" y="219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7" y="220"/>
                  </a:lnTo>
                  <a:lnTo>
                    <a:pt x="438" y="221"/>
                  </a:lnTo>
                  <a:lnTo>
                    <a:pt x="439" y="221"/>
                  </a:lnTo>
                  <a:lnTo>
                    <a:pt x="439" y="222"/>
                  </a:lnTo>
                  <a:lnTo>
                    <a:pt x="440" y="223"/>
                  </a:lnTo>
                  <a:lnTo>
                    <a:pt x="440" y="223"/>
                  </a:lnTo>
                  <a:lnTo>
                    <a:pt x="441" y="224"/>
                  </a:lnTo>
                  <a:lnTo>
                    <a:pt x="441" y="225"/>
                  </a:lnTo>
                  <a:lnTo>
                    <a:pt x="441" y="226"/>
                  </a:lnTo>
                  <a:lnTo>
                    <a:pt x="441" y="227"/>
                  </a:lnTo>
                  <a:lnTo>
                    <a:pt x="442" y="231"/>
                  </a:lnTo>
                  <a:lnTo>
                    <a:pt x="442" y="232"/>
                  </a:lnTo>
                  <a:lnTo>
                    <a:pt x="442" y="233"/>
                  </a:lnTo>
                  <a:lnTo>
                    <a:pt x="442" y="235"/>
                  </a:lnTo>
                  <a:lnTo>
                    <a:pt x="442" y="237"/>
                  </a:lnTo>
                  <a:lnTo>
                    <a:pt x="441" y="238"/>
                  </a:lnTo>
                  <a:lnTo>
                    <a:pt x="441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0" y="242"/>
                  </a:lnTo>
                  <a:lnTo>
                    <a:pt x="439" y="243"/>
                  </a:lnTo>
                  <a:lnTo>
                    <a:pt x="437" y="246"/>
                  </a:lnTo>
                  <a:lnTo>
                    <a:pt x="434" y="249"/>
                  </a:lnTo>
                  <a:lnTo>
                    <a:pt x="434" y="250"/>
                  </a:lnTo>
                  <a:lnTo>
                    <a:pt x="433" y="251"/>
                  </a:lnTo>
                  <a:lnTo>
                    <a:pt x="432" y="252"/>
                  </a:lnTo>
                  <a:lnTo>
                    <a:pt x="432" y="253"/>
                  </a:lnTo>
                  <a:lnTo>
                    <a:pt x="431" y="254"/>
                  </a:lnTo>
                  <a:lnTo>
                    <a:pt x="431" y="255"/>
                  </a:lnTo>
                  <a:lnTo>
                    <a:pt x="431" y="256"/>
                  </a:lnTo>
                  <a:lnTo>
                    <a:pt x="431" y="258"/>
                  </a:lnTo>
                  <a:lnTo>
                    <a:pt x="431" y="259"/>
                  </a:lnTo>
                  <a:lnTo>
                    <a:pt x="431" y="259"/>
                  </a:lnTo>
                  <a:lnTo>
                    <a:pt x="431" y="260"/>
                  </a:lnTo>
                  <a:lnTo>
                    <a:pt x="432" y="262"/>
                  </a:lnTo>
                  <a:lnTo>
                    <a:pt x="433" y="265"/>
                  </a:lnTo>
                  <a:lnTo>
                    <a:pt x="433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9"/>
                  </a:lnTo>
                  <a:lnTo>
                    <a:pt x="432" y="271"/>
                  </a:lnTo>
                  <a:lnTo>
                    <a:pt x="431" y="274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1" y="279"/>
                  </a:lnTo>
                  <a:lnTo>
                    <a:pt x="430" y="279"/>
                  </a:lnTo>
                  <a:lnTo>
                    <a:pt x="430" y="279"/>
                  </a:lnTo>
                  <a:lnTo>
                    <a:pt x="429" y="279"/>
                  </a:lnTo>
                  <a:lnTo>
                    <a:pt x="427" y="279"/>
                  </a:lnTo>
                  <a:lnTo>
                    <a:pt x="426" y="279"/>
                  </a:lnTo>
                  <a:lnTo>
                    <a:pt x="425" y="279"/>
                  </a:lnTo>
                  <a:lnTo>
                    <a:pt x="423" y="278"/>
                  </a:lnTo>
                  <a:lnTo>
                    <a:pt x="421" y="278"/>
                  </a:lnTo>
                  <a:lnTo>
                    <a:pt x="420" y="277"/>
                  </a:lnTo>
                  <a:lnTo>
                    <a:pt x="418" y="277"/>
                  </a:lnTo>
                  <a:lnTo>
                    <a:pt x="416" y="276"/>
                  </a:lnTo>
                  <a:lnTo>
                    <a:pt x="415" y="275"/>
                  </a:lnTo>
                  <a:lnTo>
                    <a:pt x="413" y="275"/>
                  </a:lnTo>
                  <a:lnTo>
                    <a:pt x="406" y="271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9"/>
                  </a:lnTo>
                  <a:lnTo>
                    <a:pt x="400" y="269"/>
                  </a:lnTo>
                  <a:lnTo>
                    <a:pt x="398" y="268"/>
                  </a:lnTo>
                  <a:lnTo>
                    <a:pt x="397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2" y="267"/>
                  </a:lnTo>
                  <a:lnTo>
                    <a:pt x="391" y="267"/>
                  </a:lnTo>
                  <a:lnTo>
                    <a:pt x="390" y="267"/>
                  </a:lnTo>
                  <a:lnTo>
                    <a:pt x="388" y="268"/>
                  </a:lnTo>
                  <a:lnTo>
                    <a:pt x="386" y="268"/>
                  </a:lnTo>
                  <a:lnTo>
                    <a:pt x="385" y="268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3" y="268"/>
                  </a:lnTo>
                  <a:lnTo>
                    <a:pt x="380" y="267"/>
                  </a:lnTo>
                  <a:lnTo>
                    <a:pt x="379" y="267"/>
                  </a:lnTo>
                  <a:lnTo>
                    <a:pt x="378" y="267"/>
                  </a:lnTo>
                  <a:lnTo>
                    <a:pt x="377" y="267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70" y="268"/>
                  </a:lnTo>
                  <a:lnTo>
                    <a:pt x="368" y="268"/>
                  </a:lnTo>
                  <a:lnTo>
                    <a:pt x="365" y="268"/>
                  </a:lnTo>
                  <a:lnTo>
                    <a:pt x="363" y="268"/>
                  </a:lnTo>
                  <a:lnTo>
                    <a:pt x="362" y="267"/>
                  </a:lnTo>
                  <a:lnTo>
                    <a:pt x="359" y="267"/>
                  </a:lnTo>
                  <a:lnTo>
                    <a:pt x="358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6" y="267"/>
                  </a:lnTo>
                  <a:lnTo>
                    <a:pt x="356" y="268"/>
                  </a:lnTo>
                  <a:lnTo>
                    <a:pt x="355" y="269"/>
                  </a:lnTo>
                  <a:lnTo>
                    <a:pt x="355" y="271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2" y="281"/>
                  </a:lnTo>
                  <a:lnTo>
                    <a:pt x="352" y="282"/>
                  </a:lnTo>
                  <a:lnTo>
                    <a:pt x="351" y="283"/>
                  </a:lnTo>
                  <a:lnTo>
                    <a:pt x="351" y="283"/>
                  </a:lnTo>
                  <a:lnTo>
                    <a:pt x="350" y="283"/>
                  </a:lnTo>
                  <a:lnTo>
                    <a:pt x="350" y="283"/>
                  </a:lnTo>
                  <a:lnTo>
                    <a:pt x="349" y="284"/>
                  </a:lnTo>
                  <a:lnTo>
                    <a:pt x="348" y="284"/>
                  </a:lnTo>
                  <a:lnTo>
                    <a:pt x="346" y="284"/>
                  </a:lnTo>
                  <a:lnTo>
                    <a:pt x="344" y="284"/>
                  </a:lnTo>
                  <a:lnTo>
                    <a:pt x="343" y="284"/>
                  </a:lnTo>
                  <a:lnTo>
                    <a:pt x="341" y="284"/>
                  </a:lnTo>
                  <a:lnTo>
                    <a:pt x="337" y="283"/>
                  </a:lnTo>
                  <a:lnTo>
                    <a:pt x="336" y="283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4" y="283"/>
                  </a:lnTo>
                  <a:lnTo>
                    <a:pt x="331" y="283"/>
                  </a:lnTo>
                  <a:lnTo>
                    <a:pt x="329" y="284"/>
                  </a:lnTo>
                  <a:lnTo>
                    <a:pt x="327" y="284"/>
                  </a:lnTo>
                  <a:lnTo>
                    <a:pt x="326" y="284"/>
                  </a:lnTo>
                  <a:lnTo>
                    <a:pt x="325" y="284"/>
                  </a:lnTo>
                  <a:lnTo>
                    <a:pt x="324" y="284"/>
                  </a:lnTo>
                  <a:lnTo>
                    <a:pt x="324" y="284"/>
                  </a:lnTo>
                  <a:lnTo>
                    <a:pt x="323" y="283"/>
                  </a:lnTo>
                  <a:lnTo>
                    <a:pt x="322" y="283"/>
                  </a:lnTo>
                  <a:lnTo>
                    <a:pt x="322" y="283"/>
                  </a:lnTo>
                  <a:lnTo>
                    <a:pt x="321" y="283"/>
                  </a:lnTo>
                  <a:lnTo>
                    <a:pt x="321" y="283"/>
                  </a:lnTo>
                  <a:lnTo>
                    <a:pt x="320" y="283"/>
                  </a:lnTo>
                  <a:lnTo>
                    <a:pt x="319" y="283"/>
                  </a:lnTo>
                  <a:lnTo>
                    <a:pt x="318" y="283"/>
                  </a:lnTo>
                  <a:lnTo>
                    <a:pt x="317" y="284"/>
                  </a:lnTo>
                  <a:lnTo>
                    <a:pt x="316" y="284"/>
                  </a:lnTo>
                  <a:lnTo>
                    <a:pt x="316" y="285"/>
                  </a:lnTo>
                  <a:lnTo>
                    <a:pt x="315" y="285"/>
                  </a:lnTo>
                  <a:lnTo>
                    <a:pt x="314" y="287"/>
                  </a:lnTo>
                  <a:lnTo>
                    <a:pt x="313" y="288"/>
                  </a:lnTo>
                  <a:lnTo>
                    <a:pt x="311" y="289"/>
                  </a:lnTo>
                  <a:lnTo>
                    <a:pt x="311" y="290"/>
                  </a:lnTo>
                  <a:lnTo>
                    <a:pt x="310" y="290"/>
                  </a:lnTo>
                  <a:lnTo>
                    <a:pt x="310" y="291"/>
                  </a:lnTo>
                  <a:lnTo>
                    <a:pt x="309" y="291"/>
                  </a:lnTo>
                  <a:lnTo>
                    <a:pt x="309" y="291"/>
                  </a:lnTo>
                  <a:lnTo>
                    <a:pt x="308" y="291"/>
                  </a:lnTo>
                  <a:lnTo>
                    <a:pt x="308" y="291"/>
                  </a:lnTo>
                  <a:lnTo>
                    <a:pt x="307" y="291"/>
                  </a:lnTo>
                  <a:lnTo>
                    <a:pt x="307" y="290"/>
                  </a:lnTo>
                  <a:lnTo>
                    <a:pt x="307" y="290"/>
                  </a:lnTo>
                  <a:lnTo>
                    <a:pt x="303" y="284"/>
                  </a:lnTo>
                  <a:lnTo>
                    <a:pt x="302" y="283"/>
                  </a:lnTo>
                  <a:lnTo>
                    <a:pt x="301" y="282"/>
                  </a:lnTo>
                  <a:lnTo>
                    <a:pt x="300" y="281"/>
                  </a:lnTo>
                  <a:lnTo>
                    <a:pt x="299" y="281"/>
                  </a:lnTo>
                  <a:lnTo>
                    <a:pt x="296" y="279"/>
                  </a:lnTo>
                  <a:lnTo>
                    <a:pt x="293" y="277"/>
                  </a:lnTo>
                  <a:lnTo>
                    <a:pt x="292" y="276"/>
                  </a:lnTo>
                  <a:lnTo>
                    <a:pt x="290" y="275"/>
                  </a:lnTo>
                  <a:lnTo>
                    <a:pt x="289" y="275"/>
                  </a:lnTo>
                  <a:lnTo>
                    <a:pt x="285" y="274"/>
                  </a:lnTo>
                  <a:lnTo>
                    <a:pt x="281" y="272"/>
                  </a:lnTo>
                  <a:lnTo>
                    <a:pt x="280" y="272"/>
                  </a:lnTo>
                  <a:lnTo>
                    <a:pt x="278" y="272"/>
                  </a:lnTo>
                  <a:lnTo>
                    <a:pt x="277" y="271"/>
                  </a:lnTo>
                  <a:lnTo>
                    <a:pt x="276" y="271"/>
                  </a:lnTo>
                  <a:lnTo>
                    <a:pt x="276" y="271"/>
                  </a:lnTo>
                  <a:lnTo>
                    <a:pt x="275" y="270"/>
                  </a:lnTo>
                  <a:lnTo>
                    <a:pt x="273" y="269"/>
                  </a:lnTo>
                  <a:lnTo>
                    <a:pt x="272" y="267"/>
                  </a:lnTo>
                  <a:lnTo>
                    <a:pt x="271" y="266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2"/>
                  </a:lnTo>
                  <a:lnTo>
                    <a:pt x="264" y="258"/>
                  </a:lnTo>
                  <a:lnTo>
                    <a:pt x="262" y="256"/>
                  </a:lnTo>
                  <a:lnTo>
                    <a:pt x="261" y="255"/>
                  </a:lnTo>
                  <a:lnTo>
                    <a:pt x="260" y="254"/>
                  </a:lnTo>
                  <a:lnTo>
                    <a:pt x="258" y="254"/>
                  </a:lnTo>
                  <a:lnTo>
                    <a:pt x="257" y="253"/>
                  </a:lnTo>
                  <a:lnTo>
                    <a:pt x="256" y="252"/>
                  </a:lnTo>
                  <a:lnTo>
                    <a:pt x="252" y="250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6" y="247"/>
                  </a:lnTo>
                  <a:lnTo>
                    <a:pt x="243" y="246"/>
                  </a:lnTo>
                  <a:lnTo>
                    <a:pt x="239" y="245"/>
                  </a:lnTo>
                  <a:lnTo>
                    <a:pt x="235" y="244"/>
                  </a:lnTo>
                  <a:lnTo>
                    <a:pt x="234" y="244"/>
                  </a:lnTo>
                  <a:lnTo>
                    <a:pt x="232" y="243"/>
                  </a:lnTo>
                  <a:lnTo>
                    <a:pt x="231" y="243"/>
                  </a:lnTo>
                  <a:lnTo>
                    <a:pt x="230" y="242"/>
                  </a:lnTo>
                  <a:lnTo>
                    <a:pt x="229" y="242"/>
                  </a:lnTo>
                  <a:lnTo>
                    <a:pt x="228" y="242"/>
                  </a:lnTo>
                  <a:lnTo>
                    <a:pt x="224" y="242"/>
                  </a:lnTo>
                  <a:lnTo>
                    <a:pt x="222" y="242"/>
                  </a:lnTo>
                  <a:lnTo>
                    <a:pt x="221" y="242"/>
                  </a:lnTo>
                  <a:lnTo>
                    <a:pt x="221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19" y="241"/>
                  </a:lnTo>
                  <a:lnTo>
                    <a:pt x="219" y="240"/>
                  </a:lnTo>
                  <a:lnTo>
                    <a:pt x="218" y="240"/>
                  </a:lnTo>
                  <a:lnTo>
                    <a:pt x="216" y="238"/>
                  </a:lnTo>
                  <a:lnTo>
                    <a:pt x="214" y="236"/>
                  </a:lnTo>
                  <a:lnTo>
                    <a:pt x="213" y="235"/>
                  </a:lnTo>
                  <a:lnTo>
                    <a:pt x="212" y="233"/>
                  </a:lnTo>
                  <a:lnTo>
                    <a:pt x="211" y="233"/>
                  </a:lnTo>
                  <a:lnTo>
                    <a:pt x="210" y="232"/>
                  </a:lnTo>
                  <a:lnTo>
                    <a:pt x="209" y="232"/>
                  </a:lnTo>
                  <a:lnTo>
                    <a:pt x="209" y="231"/>
                  </a:lnTo>
                  <a:lnTo>
                    <a:pt x="208" y="231"/>
                  </a:lnTo>
                  <a:lnTo>
                    <a:pt x="207" y="230"/>
                  </a:lnTo>
                  <a:lnTo>
                    <a:pt x="205" y="230"/>
                  </a:lnTo>
                  <a:lnTo>
                    <a:pt x="202" y="230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6" y="227"/>
                  </a:lnTo>
                  <a:lnTo>
                    <a:pt x="195" y="227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3" y="225"/>
                  </a:lnTo>
                  <a:lnTo>
                    <a:pt x="192" y="224"/>
                  </a:lnTo>
                  <a:lnTo>
                    <a:pt x="191" y="223"/>
                  </a:lnTo>
                  <a:lnTo>
                    <a:pt x="190" y="222"/>
                  </a:lnTo>
                  <a:lnTo>
                    <a:pt x="190" y="221"/>
                  </a:lnTo>
                  <a:lnTo>
                    <a:pt x="189" y="221"/>
                  </a:lnTo>
                  <a:lnTo>
                    <a:pt x="189" y="221"/>
                  </a:lnTo>
                  <a:lnTo>
                    <a:pt x="188" y="221"/>
                  </a:lnTo>
                  <a:lnTo>
                    <a:pt x="188" y="221"/>
                  </a:lnTo>
                  <a:lnTo>
                    <a:pt x="187" y="221"/>
                  </a:lnTo>
                  <a:lnTo>
                    <a:pt x="186" y="222"/>
                  </a:lnTo>
                  <a:lnTo>
                    <a:pt x="185" y="223"/>
                  </a:lnTo>
                  <a:lnTo>
                    <a:pt x="184" y="224"/>
                  </a:lnTo>
                  <a:lnTo>
                    <a:pt x="183" y="225"/>
                  </a:lnTo>
                  <a:lnTo>
                    <a:pt x="182" y="226"/>
                  </a:lnTo>
                  <a:lnTo>
                    <a:pt x="181" y="228"/>
                  </a:lnTo>
                  <a:lnTo>
                    <a:pt x="180" y="230"/>
                  </a:lnTo>
                  <a:lnTo>
                    <a:pt x="179" y="233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8" y="235"/>
                  </a:lnTo>
                  <a:lnTo>
                    <a:pt x="176" y="237"/>
                  </a:lnTo>
                  <a:lnTo>
                    <a:pt x="175" y="240"/>
                  </a:lnTo>
                  <a:lnTo>
                    <a:pt x="174" y="240"/>
                  </a:lnTo>
                  <a:lnTo>
                    <a:pt x="174" y="241"/>
                  </a:lnTo>
                  <a:lnTo>
                    <a:pt x="173" y="241"/>
                  </a:lnTo>
                  <a:lnTo>
                    <a:pt x="173" y="241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6" y="242"/>
                  </a:lnTo>
                  <a:lnTo>
                    <a:pt x="165" y="242"/>
                  </a:lnTo>
                  <a:lnTo>
                    <a:pt x="164" y="242"/>
                  </a:lnTo>
                  <a:lnTo>
                    <a:pt x="164" y="241"/>
                  </a:lnTo>
                  <a:lnTo>
                    <a:pt x="163" y="241"/>
                  </a:lnTo>
                  <a:lnTo>
                    <a:pt x="161" y="240"/>
                  </a:lnTo>
                  <a:lnTo>
                    <a:pt x="158" y="239"/>
                  </a:lnTo>
                  <a:lnTo>
                    <a:pt x="152" y="236"/>
                  </a:lnTo>
                  <a:lnTo>
                    <a:pt x="150" y="235"/>
                  </a:lnTo>
                  <a:lnTo>
                    <a:pt x="150" y="234"/>
                  </a:lnTo>
                  <a:lnTo>
                    <a:pt x="149" y="234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6" y="231"/>
                  </a:lnTo>
                  <a:lnTo>
                    <a:pt x="146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5" y="227"/>
                  </a:lnTo>
                  <a:lnTo>
                    <a:pt x="146" y="226"/>
                  </a:lnTo>
                  <a:lnTo>
                    <a:pt x="146" y="225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5" y="219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7"/>
                  </a:lnTo>
                  <a:lnTo>
                    <a:pt x="140" y="217"/>
                  </a:lnTo>
                  <a:lnTo>
                    <a:pt x="139" y="216"/>
                  </a:lnTo>
                  <a:lnTo>
                    <a:pt x="138" y="216"/>
                  </a:lnTo>
                  <a:lnTo>
                    <a:pt x="137" y="215"/>
                  </a:lnTo>
                  <a:lnTo>
                    <a:pt x="135" y="214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1" y="212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7" y="211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3" y="210"/>
                  </a:lnTo>
                  <a:lnTo>
                    <a:pt x="123" y="209"/>
                  </a:lnTo>
                  <a:lnTo>
                    <a:pt x="122" y="209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3"/>
                  </a:lnTo>
                  <a:lnTo>
                    <a:pt x="120" y="203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19" y="202"/>
                  </a:lnTo>
                  <a:lnTo>
                    <a:pt x="119" y="201"/>
                  </a:lnTo>
                  <a:lnTo>
                    <a:pt x="118" y="201"/>
                  </a:lnTo>
                  <a:lnTo>
                    <a:pt x="115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9" y="199"/>
                  </a:lnTo>
                  <a:lnTo>
                    <a:pt x="108" y="198"/>
                  </a:lnTo>
                  <a:lnTo>
                    <a:pt x="107" y="198"/>
                  </a:lnTo>
                  <a:lnTo>
                    <a:pt x="106" y="197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4" y="195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0" y="191"/>
                  </a:lnTo>
                  <a:lnTo>
                    <a:pt x="99" y="191"/>
                  </a:lnTo>
                  <a:lnTo>
                    <a:pt x="98" y="190"/>
                  </a:lnTo>
                  <a:lnTo>
                    <a:pt x="95" y="189"/>
                  </a:lnTo>
                  <a:lnTo>
                    <a:pt x="94" y="189"/>
                  </a:lnTo>
                  <a:lnTo>
                    <a:pt x="93" y="188"/>
                  </a:lnTo>
                  <a:lnTo>
                    <a:pt x="93" y="187"/>
                  </a:lnTo>
                  <a:lnTo>
                    <a:pt x="92" y="187"/>
                  </a:lnTo>
                  <a:lnTo>
                    <a:pt x="91" y="187"/>
                  </a:lnTo>
                  <a:lnTo>
                    <a:pt x="89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7" y="186"/>
                  </a:lnTo>
                  <a:lnTo>
                    <a:pt x="73" y="186"/>
                  </a:lnTo>
                  <a:lnTo>
                    <a:pt x="72" y="186"/>
                  </a:lnTo>
                  <a:lnTo>
                    <a:pt x="71" y="186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7" y="186"/>
                  </a:lnTo>
                  <a:lnTo>
                    <a:pt x="66" y="186"/>
                  </a:lnTo>
                  <a:lnTo>
                    <a:pt x="66" y="185"/>
                  </a:lnTo>
                  <a:lnTo>
                    <a:pt x="64" y="184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0"/>
                  </a:lnTo>
                  <a:lnTo>
                    <a:pt x="59" y="179"/>
                  </a:lnTo>
                  <a:lnTo>
                    <a:pt x="52" y="174"/>
                  </a:lnTo>
                  <a:lnTo>
                    <a:pt x="49" y="172"/>
                  </a:lnTo>
                  <a:lnTo>
                    <a:pt x="47" y="171"/>
                  </a:lnTo>
                  <a:lnTo>
                    <a:pt x="42" y="167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8" y="161"/>
                  </a:lnTo>
                  <a:lnTo>
                    <a:pt x="38" y="157"/>
                  </a:lnTo>
                  <a:lnTo>
                    <a:pt x="39" y="154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9" y="148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4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6" y="131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19"/>
                  </a:lnTo>
                  <a:lnTo>
                    <a:pt x="46" y="118"/>
                  </a:lnTo>
                  <a:lnTo>
                    <a:pt x="45" y="118"/>
                  </a:lnTo>
                  <a:lnTo>
                    <a:pt x="45" y="117"/>
                  </a:lnTo>
                  <a:lnTo>
                    <a:pt x="44" y="116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1" y="114"/>
                  </a:lnTo>
                  <a:lnTo>
                    <a:pt x="38" y="113"/>
                  </a:lnTo>
                  <a:lnTo>
                    <a:pt x="37" y="112"/>
                  </a:lnTo>
                  <a:lnTo>
                    <a:pt x="35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29" y="106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5" y="98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3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8"/>
                  </a:lnTo>
                  <a:lnTo>
                    <a:pt x="5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2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3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8" y="46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Freeform 27">
              <a:extLst>
                <a:ext uri="{FF2B5EF4-FFF2-40B4-BE49-F238E27FC236}">
                  <a16:creationId xmlns:a16="http://schemas.microsoft.com/office/drawing/2014/main" id="{35274914-0144-62C7-682E-DEAF82A930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" y="3273"/>
              <a:ext cx="83" cy="28"/>
            </a:xfrm>
            <a:custGeom>
              <a:avLst/>
              <a:gdLst>
                <a:gd name="T0" fmla="*/ 1 w 83"/>
                <a:gd name="T1" fmla="*/ 28 h 28"/>
                <a:gd name="T2" fmla="*/ 4 w 83"/>
                <a:gd name="T3" fmla="*/ 26 h 28"/>
                <a:gd name="T4" fmla="*/ 5 w 83"/>
                <a:gd name="T5" fmla="*/ 24 h 28"/>
                <a:gd name="T6" fmla="*/ 6 w 83"/>
                <a:gd name="T7" fmla="*/ 22 h 28"/>
                <a:gd name="T8" fmla="*/ 7 w 83"/>
                <a:gd name="T9" fmla="*/ 21 h 28"/>
                <a:gd name="T10" fmla="*/ 8 w 83"/>
                <a:gd name="T11" fmla="*/ 19 h 28"/>
                <a:gd name="T12" fmla="*/ 9 w 83"/>
                <a:gd name="T13" fmla="*/ 18 h 28"/>
                <a:gd name="T14" fmla="*/ 11 w 83"/>
                <a:gd name="T15" fmla="*/ 17 h 28"/>
                <a:gd name="T16" fmla="*/ 14 w 83"/>
                <a:gd name="T17" fmla="*/ 17 h 28"/>
                <a:gd name="T18" fmla="*/ 16 w 83"/>
                <a:gd name="T19" fmla="*/ 16 h 28"/>
                <a:gd name="T20" fmla="*/ 20 w 83"/>
                <a:gd name="T21" fmla="*/ 14 h 28"/>
                <a:gd name="T22" fmla="*/ 20 w 83"/>
                <a:gd name="T23" fmla="*/ 14 h 28"/>
                <a:gd name="T24" fmla="*/ 21 w 83"/>
                <a:gd name="T25" fmla="*/ 14 h 28"/>
                <a:gd name="T26" fmla="*/ 22 w 83"/>
                <a:gd name="T27" fmla="*/ 15 h 28"/>
                <a:gd name="T28" fmla="*/ 24 w 83"/>
                <a:gd name="T29" fmla="*/ 17 h 28"/>
                <a:gd name="T30" fmla="*/ 26 w 83"/>
                <a:gd name="T31" fmla="*/ 17 h 28"/>
                <a:gd name="T32" fmla="*/ 28 w 83"/>
                <a:gd name="T33" fmla="*/ 18 h 28"/>
                <a:gd name="T34" fmla="*/ 30 w 83"/>
                <a:gd name="T35" fmla="*/ 18 h 28"/>
                <a:gd name="T36" fmla="*/ 32 w 83"/>
                <a:gd name="T37" fmla="*/ 18 h 28"/>
                <a:gd name="T38" fmla="*/ 36 w 83"/>
                <a:gd name="T39" fmla="*/ 18 h 28"/>
                <a:gd name="T40" fmla="*/ 39 w 83"/>
                <a:gd name="T41" fmla="*/ 18 h 28"/>
                <a:gd name="T42" fmla="*/ 42 w 83"/>
                <a:gd name="T43" fmla="*/ 18 h 28"/>
                <a:gd name="T44" fmla="*/ 44 w 83"/>
                <a:gd name="T45" fmla="*/ 18 h 28"/>
                <a:gd name="T46" fmla="*/ 45 w 83"/>
                <a:gd name="T47" fmla="*/ 19 h 28"/>
                <a:gd name="T48" fmla="*/ 49 w 83"/>
                <a:gd name="T49" fmla="*/ 20 h 28"/>
                <a:gd name="T50" fmla="*/ 51 w 83"/>
                <a:gd name="T51" fmla="*/ 21 h 28"/>
                <a:gd name="T52" fmla="*/ 54 w 83"/>
                <a:gd name="T53" fmla="*/ 21 h 28"/>
                <a:gd name="T54" fmla="*/ 55 w 83"/>
                <a:gd name="T55" fmla="*/ 21 h 28"/>
                <a:gd name="T56" fmla="*/ 59 w 83"/>
                <a:gd name="T57" fmla="*/ 19 h 28"/>
                <a:gd name="T58" fmla="*/ 62 w 83"/>
                <a:gd name="T59" fmla="*/ 18 h 28"/>
                <a:gd name="T60" fmla="*/ 65 w 83"/>
                <a:gd name="T61" fmla="*/ 17 h 28"/>
                <a:gd name="T62" fmla="*/ 67 w 83"/>
                <a:gd name="T63" fmla="*/ 16 h 28"/>
                <a:gd name="T64" fmla="*/ 68 w 83"/>
                <a:gd name="T65" fmla="*/ 15 h 28"/>
                <a:gd name="T66" fmla="*/ 69 w 83"/>
                <a:gd name="T67" fmla="*/ 13 h 28"/>
                <a:gd name="T68" fmla="*/ 70 w 83"/>
                <a:gd name="T69" fmla="*/ 12 h 28"/>
                <a:gd name="T70" fmla="*/ 72 w 83"/>
                <a:gd name="T71" fmla="*/ 8 h 28"/>
                <a:gd name="T72" fmla="*/ 73 w 83"/>
                <a:gd name="T73" fmla="*/ 7 h 28"/>
                <a:gd name="T74" fmla="*/ 74 w 83"/>
                <a:gd name="T75" fmla="*/ 6 h 28"/>
                <a:gd name="T76" fmla="*/ 76 w 83"/>
                <a:gd name="T77" fmla="*/ 4 h 28"/>
                <a:gd name="T78" fmla="*/ 78 w 83"/>
                <a:gd name="T79" fmla="*/ 2 h 28"/>
                <a:gd name="T80" fmla="*/ 82 w 83"/>
                <a:gd name="T81" fmla="*/ 0 h 28"/>
                <a:gd name="T82" fmla="*/ 82 w 83"/>
                <a:gd name="T8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3" h="28">
                  <a:moveTo>
                    <a:pt x="0" y="28"/>
                  </a:moveTo>
                  <a:lnTo>
                    <a:pt x="1" y="28"/>
                  </a:lnTo>
                  <a:lnTo>
                    <a:pt x="2" y="27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6" y="22"/>
                  </a:lnTo>
                  <a:lnTo>
                    <a:pt x="6" y="21"/>
                  </a:lnTo>
                  <a:lnTo>
                    <a:pt x="7" y="21"/>
                  </a:lnTo>
                  <a:lnTo>
                    <a:pt x="7" y="20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10" y="18"/>
                  </a:lnTo>
                  <a:lnTo>
                    <a:pt x="11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5" y="17"/>
                  </a:lnTo>
                  <a:lnTo>
                    <a:pt x="16" y="16"/>
                  </a:lnTo>
                  <a:lnTo>
                    <a:pt x="19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4" y="17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30" y="18"/>
                  </a:lnTo>
                  <a:lnTo>
                    <a:pt x="31" y="18"/>
                  </a:lnTo>
                  <a:lnTo>
                    <a:pt x="32" y="18"/>
                  </a:lnTo>
                  <a:lnTo>
                    <a:pt x="35" y="18"/>
                  </a:lnTo>
                  <a:lnTo>
                    <a:pt x="36" y="18"/>
                  </a:lnTo>
                  <a:lnTo>
                    <a:pt x="37" y="18"/>
                  </a:lnTo>
                  <a:lnTo>
                    <a:pt x="39" y="18"/>
                  </a:lnTo>
                  <a:lnTo>
                    <a:pt x="40" y="18"/>
                  </a:lnTo>
                  <a:lnTo>
                    <a:pt x="42" y="18"/>
                  </a:lnTo>
                  <a:lnTo>
                    <a:pt x="43" y="18"/>
                  </a:lnTo>
                  <a:lnTo>
                    <a:pt x="44" y="18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7" y="19"/>
                  </a:lnTo>
                  <a:lnTo>
                    <a:pt x="49" y="20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52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5" y="21"/>
                  </a:lnTo>
                  <a:lnTo>
                    <a:pt x="56" y="20"/>
                  </a:lnTo>
                  <a:lnTo>
                    <a:pt x="59" y="19"/>
                  </a:lnTo>
                  <a:lnTo>
                    <a:pt x="60" y="18"/>
                  </a:lnTo>
                  <a:lnTo>
                    <a:pt x="62" y="18"/>
                  </a:lnTo>
                  <a:lnTo>
                    <a:pt x="64" y="17"/>
                  </a:lnTo>
                  <a:lnTo>
                    <a:pt x="65" y="17"/>
                  </a:lnTo>
                  <a:lnTo>
                    <a:pt x="66" y="17"/>
                  </a:lnTo>
                  <a:lnTo>
                    <a:pt x="67" y="16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9" y="14"/>
                  </a:lnTo>
                  <a:lnTo>
                    <a:pt x="69" y="13"/>
                  </a:lnTo>
                  <a:lnTo>
                    <a:pt x="70" y="13"/>
                  </a:lnTo>
                  <a:lnTo>
                    <a:pt x="70" y="12"/>
                  </a:lnTo>
                  <a:lnTo>
                    <a:pt x="71" y="9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3" y="7"/>
                  </a:lnTo>
                  <a:lnTo>
                    <a:pt x="73" y="6"/>
                  </a:lnTo>
                  <a:lnTo>
                    <a:pt x="74" y="6"/>
                  </a:lnTo>
                  <a:lnTo>
                    <a:pt x="75" y="5"/>
                  </a:lnTo>
                  <a:lnTo>
                    <a:pt x="76" y="4"/>
                  </a:lnTo>
                  <a:lnTo>
                    <a:pt x="77" y="3"/>
                  </a:lnTo>
                  <a:lnTo>
                    <a:pt x="78" y="2"/>
                  </a:lnTo>
                  <a:lnTo>
                    <a:pt x="80" y="1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3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Freeform 28">
              <a:extLst>
                <a:ext uri="{FF2B5EF4-FFF2-40B4-BE49-F238E27FC236}">
                  <a16:creationId xmlns:a16="http://schemas.microsoft.com/office/drawing/2014/main" id="{EB4A1B39-A433-D3A4-B1E9-74FA974A2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" y="3418"/>
              <a:ext cx="457" cy="425"/>
            </a:xfrm>
            <a:custGeom>
              <a:avLst/>
              <a:gdLst>
                <a:gd name="T0" fmla="*/ 224 w 457"/>
                <a:gd name="T1" fmla="*/ 24 h 425"/>
                <a:gd name="T2" fmla="*/ 248 w 457"/>
                <a:gd name="T3" fmla="*/ 33 h 425"/>
                <a:gd name="T4" fmla="*/ 266 w 457"/>
                <a:gd name="T5" fmla="*/ 47 h 425"/>
                <a:gd name="T6" fmla="*/ 290 w 457"/>
                <a:gd name="T7" fmla="*/ 57 h 425"/>
                <a:gd name="T8" fmla="*/ 309 w 457"/>
                <a:gd name="T9" fmla="*/ 79 h 425"/>
                <a:gd name="T10" fmla="*/ 330 w 457"/>
                <a:gd name="T11" fmla="*/ 58 h 425"/>
                <a:gd name="T12" fmla="*/ 352 w 457"/>
                <a:gd name="T13" fmla="*/ 69 h 425"/>
                <a:gd name="T14" fmla="*/ 382 w 457"/>
                <a:gd name="T15" fmla="*/ 82 h 425"/>
                <a:gd name="T16" fmla="*/ 421 w 457"/>
                <a:gd name="T17" fmla="*/ 109 h 425"/>
                <a:gd name="T18" fmla="*/ 447 w 457"/>
                <a:gd name="T19" fmla="*/ 140 h 425"/>
                <a:gd name="T20" fmla="*/ 456 w 457"/>
                <a:gd name="T21" fmla="*/ 155 h 425"/>
                <a:gd name="T22" fmla="*/ 443 w 457"/>
                <a:gd name="T23" fmla="*/ 168 h 425"/>
                <a:gd name="T24" fmla="*/ 444 w 457"/>
                <a:gd name="T25" fmla="*/ 186 h 425"/>
                <a:gd name="T26" fmla="*/ 430 w 457"/>
                <a:gd name="T27" fmla="*/ 181 h 425"/>
                <a:gd name="T28" fmla="*/ 432 w 457"/>
                <a:gd name="T29" fmla="*/ 192 h 425"/>
                <a:gd name="T30" fmla="*/ 411 w 457"/>
                <a:gd name="T31" fmla="*/ 204 h 425"/>
                <a:gd name="T32" fmla="*/ 403 w 457"/>
                <a:gd name="T33" fmla="*/ 234 h 425"/>
                <a:gd name="T34" fmla="*/ 415 w 457"/>
                <a:gd name="T35" fmla="*/ 248 h 425"/>
                <a:gd name="T36" fmla="*/ 414 w 457"/>
                <a:gd name="T37" fmla="*/ 266 h 425"/>
                <a:gd name="T38" fmla="*/ 409 w 457"/>
                <a:gd name="T39" fmla="*/ 285 h 425"/>
                <a:gd name="T40" fmla="*/ 415 w 457"/>
                <a:gd name="T41" fmla="*/ 304 h 425"/>
                <a:gd name="T42" fmla="*/ 405 w 457"/>
                <a:gd name="T43" fmla="*/ 320 h 425"/>
                <a:gd name="T44" fmla="*/ 400 w 457"/>
                <a:gd name="T45" fmla="*/ 334 h 425"/>
                <a:gd name="T46" fmla="*/ 405 w 457"/>
                <a:gd name="T47" fmla="*/ 353 h 425"/>
                <a:gd name="T48" fmla="*/ 381 w 457"/>
                <a:gd name="T49" fmla="*/ 365 h 425"/>
                <a:gd name="T50" fmla="*/ 362 w 457"/>
                <a:gd name="T51" fmla="*/ 380 h 425"/>
                <a:gd name="T52" fmla="*/ 334 w 457"/>
                <a:gd name="T53" fmla="*/ 383 h 425"/>
                <a:gd name="T54" fmla="*/ 316 w 457"/>
                <a:gd name="T55" fmla="*/ 377 h 425"/>
                <a:gd name="T56" fmla="*/ 300 w 457"/>
                <a:gd name="T57" fmla="*/ 386 h 425"/>
                <a:gd name="T58" fmla="*/ 275 w 457"/>
                <a:gd name="T59" fmla="*/ 400 h 425"/>
                <a:gd name="T60" fmla="*/ 253 w 457"/>
                <a:gd name="T61" fmla="*/ 419 h 425"/>
                <a:gd name="T62" fmla="*/ 229 w 457"/>
                <a:gd name="T63" fmla="*/ 424 h 425"/>
                <a:gd name="T64" fmla="*/ 211 w 457"/>
                <a:gd name="T65" fmla="*/ 422 h 425"/>
                <a:gd name="T66" fmla="*/ 193 w 457"/>
                <a:gd name="T67" fmla="*/ 408 h 425"/>
                <a:gd name="T68" fmla="*/ 183 w 457"/>
                <a:gd name="T69" fmla="*/ 397 h 425"/>
                <a:gd name="T70" fmla="*/ 199 w 457"/>
                <a:gd name="T71" fmla="*/ 369 h 425"/>
                <a:gd name="T72" fmla="*/ 211 w 457"/>
                <a:gd name="T73" fmla="*/ 355 h 425"/>
                <a:gd name="T74" fmla="*/ 200 w 457"/>
                <a:gd name="T75" fmla="*/ 339 h 425"/>
                <a:gd name="T76" fmla="*/ 173 w 457"/>
                <a:gd name="T77" fmla="*/ 342 h 425"/>
                <a:gd name="T78" fmla="*/ 142 w 457"/>
                <a:gd name="T79" fmla="*/ 330 h 425"/>
                <a:gd name="T80" fmla="*/ 134 w 457"/>
                <a:gd name="T81" fmla="*/ 301 h 425"/>
                <a:gd name="T82" fmla="*/ 107 w 457"/>
                <a:gd name="T83" fmla="*/ 299 h 425"/>
                <a:gd name="T84" fmla="*/ 77 w 457"/>
                <a:gd name="T85" fmla="*/ 296 h 425"/>
                <a:gd name="T86" fmla="*/ 58 w 457"/>
                <a:gd name="T87" fmla="*/ 284 h 425"/>
                <a:gd name="T88" fmla="*/ 52 w 457"/>
                <a:gd name="T89" fmla="*/ 272 h 425"/>
                <a:gd name="T90" fmla="*/ 26 w 457"/>
                <a:gd name="T91" fmla="*/ 269 h 425"/>
                <a:gd name="T92" fmla="*/ 5 w 457"/>
                <a:gd name="T93" fmla="*/ 242 h 425"/>
                <a:gd name="T94" fmla="*/ 0 w 457"/>
                <a:gd name="T95" fmla="*/ 222 h 425"/>
                <a:gd name="T96" fmla="*/ 8 w 457"/>
                <a:gd name="T97" fmla="*/ 188 h 425"/>
                <a:gd name="T98" fmla="*/ 5 w 457"/>
                <a:gd name="T99" fmla="*/ 160 h 425"/>
                <a:gd name="T100" fmla="*/ 11 w 457"/>
                <a:gd name="T101" fmla="*/ 145 h 425"/>
                <a:gd name="T102" fmla="*/ 26 w 457"/>
                <a:gd name="T103" fmla="*/ 129 h 425"/>
                <a:gd name="T104" fmla="*/ 39 w 457"/>
                <a:gd name="T105" fmla="*/ 122 h 425"/>
                <a:gd name="T106" fmla="*/ 74 w 457"/>
                <a:gd name="T107" fmla="*/ 121 h 425"/>
                <a:gd name="T108" fmla="*/ 88 w 457"/>
                <a:gd name="T109" fmla="*/ 115 h 425"/>
                <a:gd name="T110" fmla="*/ 105 w 457"/>
                <a:gd name="T111" fmla="*/ 105 h 425"/>
                <a:gd name="T112" fmla="*/ 87 w 457"/>
                <a:gd name="T113" fmla="*/ 86 h 425"/>
                <a:gd name="T114" fmla="*/ 99 w 457"/>
                <a:gd name="T115" fmla="*/ 53 h 425"/>
                <a:gd name="T116" fmla="*/ 113 w 457"/>
                <a:gd name="T117" fmla="*/ 49 h 425"/>
                <a:gd name="T118" fmla="*/ 146 w 457"/>
                <a:gd name="T119" fmla="*/ 32 h 425"/>
                <a:gd name="T120" fmla="*/ 160 w 457"/>
                <a:gd name="T121" fmla="*/ 25 h 425"/>
                <a:gd name="T122" fmla="*/ 169 w 457"/>
                <a:gd name="T123" fmla="*/ 9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7" h="425">
                  <a:moveTo>
                    <a:pt x="185" y="4"/>
                  </a:moveTo>
                  <a:lnTo>
                    <a:pt x="190" y="8"/>
                  </a:lnTo>
                  <a:lnTo>
                    <a:pt x="192" y="9"/>
                  </a:lnTo>
                  <a:lnTo>
                    <a:pt x="195" y="11"/>
                  </a:lnTo>
                  <a:lnTo>
                    <a:pt x="202" y="16"/>
                  </a:lnTo>
                  <a:lnTo>
                    <a:pt x="203" y="17"/>
                  </a:lnTo>
                  <a:lnTo>
                    <a:pt x="205" y="19"/>
                  </a:lnTo>
                  <a:lnTo>
                    <a:pt x="206" y="19"/>
                  </a:lnTo>
                  <a:lnTo>
                    <a:pt x="207" y="21"/>
                  </a:lnTo>
                  <a:lnTo>
                    <a:pt x="209" y="22"/>
                  </a:lnTo>
                  <a:lnTo>
                    <a:pt x="209" y="23"/>
                  </a:lnTo>
                  <a:lnTo>
                    <a:pt x="210" y="23"/>
                  </a:lnTo>
                  <a:lnTo>
                    <a:pt x="211" y="23"/>
                  </a:lnTo>
                  <a:lnTo>
                    <a:pt x="211" y="23"/>
                  </a:lnTo>
                  <a:lnTo>
                    <a:pt x="212" y="23"/>
                  </a:lnTo>
                  <a:lnTo>
                    <a:pt x="214" y="23"/>
                  </a:lnTo>
                  <a:lnTo>
                    <a:pt x="215" y="23"/>
                  </a:lnTo>
                  <a:lnTo>
                    <a:pt x="216" y="23"/>
                  </a:lnTo>
                  <a:lnTo>
                    <a:pt x="220" y="23"/>
                  </a:lnTo>
                  <a:lnTo>
                    <a:pt x="221" y="23"/>
                  </a:lnTo>
                  <a:lnTo>
                    <a:pt x="221" y="23"/>
                  </a:lnTo>
                  <a:lnTo>
                    <a:pt x="222" y="23"/>
                  </a:lnTo>
                  <a:lnTo>
                    <a:pt x="224" y="24"/>
                  </a:lnTo>
                  <a:lnTo>
                    <a:pt x="225" y="24"/>
                  </a:lnTo>
                  <a:lnTo>
                    <a:pt x="226" y="24"/>
                  </a:lnTo>
                  <a:lnTo>
                    <a:pt x="227" y="24"/>
                  </a:lnTo>
                  <a:lnTo>
                    <a:pt x="227" y="23"/>
                  </a:lnTo>
                  <a:lnTo>
                    <a:pt x="229" y="23"/>
                  </a:lnTo>
                  <a:lnTo>
                    <a:pt x="230" y="23"/>
                  </a:lnTo>
                  <a:lnTo>
                    <a:pt x="230" y="23"/>
                  </a:lnTo>
                  <a:lnTo>
                    <a:pt x="231" y="23"/>
                  </a:lnTo>
                  <a:lnTo>
                    <a:pt x="232" y="23"/>
                  </a:lnTo>
                  <a:lnTo>
                    <a:pt x="234" y="24"/>
                  </a:lnTo>
                  <a:lnTo>
                    <a:pt x="235" y="24"/>
                  </a:lnTo>
                  <a:lnTo>
                    <a:pt x="236" y="24"/>
                  </a:lnTo>
                  <a:lnTo>
                    <a:pt x="236" y="25"/>
                  </a:lnTo>
                  <a:lnTo>
                    <a:pt x="237" y="26"/>
                  </a:lnTo>
                  <a:lnTo>
                    <a:pt x="238" y="26"/>
                  </a:lnTo>
                  <a:lnTo>
                    <a:pt x="241" y="27"/>
                  </a:lnTo>
                  <a:lnTo>
                    <a:pt x="242" y="28"/>
                  </a:lnTo>
                  <a:lnTo>
                    <a:pt x="243" y="28"/>
                  </a:lnTo>
                  <a:lnTo>
                    <a:pt x="244" y="29"/>
                  </a:lnTo>
                  <a:lnTo>
                    <a:pt x="244" y="29"/>
                  </a:lnTo>
                  <a:lnTo>
                    <a:pt x="247" y="32"/>
                  </a:lnTo>
                  <a:lnTo>
                    <a:pt x="248" y="33"/>
                  </a:lnTo>
                  <a:lnTo>
                    <a:pt x="248" y="33"/>
                  </a:lnTo>
                  <a:lnTo>
                    <a:pt x="249" y="34"/>
                  </a:lnTo>
                  <a:lnTo>
                    <a:pt x="250" y="35"/>
                  </a:lnTo>
                  <a:lnTo>
                    <a:pt x="251" y="35"/>
                  </a:lnTo>
                  <a:lnTo>
                    <a:pt x="252" y="36"/>
                  </a:lnTo>
                  <a:lnTo>
                    <a:pt x="254" y="36"/>
                  </a:lnTo>
                  <a:lnTo>
                    <a:pt x="254" y="36"/>
                  </a:lnTo>
                  <a:lnTo>
                    <a:pt x="257" y="37"/>
                  </a:lnTo>
                  <a:lnTo>
                    <a:pt x="258" y="37"/>
                  </a:lnTo>
                  <a:lnTo>
                    <a:pt x="261" y="38"/>
                  </a:lnTo>
                  <a:lnTo>
                    <a:pt x="262" y="38"/>
                  </a:lnTo>
                  <a:lnTo>
                    <a:pt x="262" y="39"/>
                  </a:lnTo>
                  <a:lnTo>
                    <a:pt x="263" y="39"/>
                  </a:lnTo>
                  <a:lnTo>
                    <a:pt x="263" y="39"/>
                  </a:lnTo>
                  <a:lnTo>
                    <a:pt x="263" y="40"/>
                  </a:lnTo>
                  <a:lnTo>
                    <a:pt x="264" y="40"/>
                  </a:lnTo>
                  <a:lnTo>
                    <a:pt x="264" y="41"/>
                  </a:lnTo>
                  <a:lnTo>
                    <a:pt x="264" y="41"/>
                  </a:lnTo>
                  <a:lnTo>
                    <a:pt x="264" y="43"/>
                  </a:lnTo>
                  <a:lnTo>
                    <a:pt x="265" y="45"/>
                  </a:lnTo>
                  <a:lnTo>
                    <a:pt x="265" y="45"/>
                  </a:lnTo>
                  <a:lnTo>
                    <a:pt x="265" y="46"/>
                  </a:lnTo>
                  <a:lnTo>
                    <a:pt x="266" y="46"/>
                  </a:lnTo>
                  <a:lnTo>
                    <a:pt x="266" y="47"/>
                  </a:lnTo>
                  <a:lnTo>
                    <a:pt x="267" y="47"/>
                  </a:lnTo>
                  <a:lnTo>
                    <a:pt x="268" y="47"/>
                  </a:lnTo>
                  <a:lnTo>
                    <a:pt x="268" y="47"/>
                  </a:lnTo>
                  <a:lnTo>
                    <a:pt x="270" y="48"/>
                  </a:lnTo>
                  <a:lnTo>
                    <a:pt x="271" y="48"/>
                  </a:lnTo>
                  <a:lnTo>
                    <a:pt x="273" y="48"/>
                  </a:lnTo>
                  <a:lnTo>
                    <a:pt x="274" y="49"/>
                  </a:lnTo>
                  <a:lnTo>
                    <a:pt x="275" y="50"/>
                  </a:lnTo>
                  <a:lnTo>
                    <a:pt x="277" y="50"/>
                  </a:lnTo>
                  <a:lnTo>
                    <a:pt x="278" y="51"/>
                  </a:lnTo>
                  <a:lnTo>
                    <a:pt x="280" y="52"/>
                  </a:lnTo>
                  <a:lnTo>
                    <a:pt x="281" y="53"/>
                  </a:lnTo>
                  <a:lnTo>
                    <a:pt x="282" y="53"/>
                  </a:lnTo>
                  <a:lnTo>
                    <a:pt x="283" y="54"/>
                  </a:lnTo>
                  <a:lnTo>
                    <a:pt x="284" y="54"/>
                  </a:lnTo>
                  <a:lnTo>
                    <a:pt x="286" y="55"/>
                  </a:lnTo>
                  <a:lnTo>
                    <a:pt x="286" y="55"/>
                  </a:lnTo>
                  <a:lnTo>
                    <a:pt x="288" y="56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90" y="58"/>
                  </a:lnTo>
                  <a:lnTo>
                    <a:pt x="290" y="59"/>
                  </a:lnTo>
                  <a:lnTo>
                    <a:pt x="290" y="59"/>
                  </a:lnTo>
                  <a:lnTo>
                    <a:pt x="289" y="62"/>
                  </a:lnTo>
                  <a:lnTo>
                    <a:pt x="289" y="63"/>
                  </a:lnTo>
                  <a:lnTo>
                    <a:pt x="288" y="64"/>
                  </a:lnTo>
                  <a:lnTo>
                    <a:pt x="288" y="65"/>
                  </a:lnTo>
                  <a:lnTo>
                    <a:pt x="289" y="66"/>
                  </a:lnTo>
                  <a:lnTo>
                    <a:pt x="289" y="67"/>
                  </a:lnTo>
                  <a:lnTo>
                    <a:pt x="289" y="68"/>
                  </a:lnTo>
                  <a:lnTo>
                    <a:pt x="290" y="69"/>
                  </a:lnTo>
                  <a:lnTo>
                    <a:pt x="291" y="70"/>
                  </a:lnTo>
                  <a:lnTo>
                    <a:pt x="292" y="71"/>
                  </a:lnTo>
                  <a:lnTo>
                    <a:pt x="293" y="71"/>
                  </a:lnTo>
                  <a:lnTo>
                    <a:pt x="293" y="72"/>
                  </a:lnTo>
                  <a:lnTo>
                    <a:pt x="295" y="73"/>
                  </a:lnTo>
                  <a:lnTo>
                    <a:pt x="301" y="76"/>
                  </a:lnTo>
                  <a:lnTo>
                    <a:pt x="304" y="77"/>
                  </a:lnTo>
                  <a:lnTo>
                    <a:pt x="306" y="78"/>
                  </a:lnTo>
                  <a:lnTo>
                    <a:pt x="307" y="78"/>
                  </a:lnTo>
                  <a:lnTo>
                    <a:pt x="307" y="79"/>
                  </a:lnTo>
                  <a:lnTo>
                    <a:pt x="308" y="79"/>
                  </a:lnTo>
                  <a:lnTo>
                    <a:pt x="309" y="79"/>
                  </a:lnTo>
                  <a:lnTo>
                    <a:pt x="310" y="79"/>
                  </a:lnTo>
                  <a:lnTo>
                    <a:pt x="312" y="79"/>
                  </a:lnTo>
                  <a:lnTo>
                    <a:pt x="313" y="79"/>
                  </a:lnTo>
                  <a:lnTo>
                    <a:pt x="314" y="79"/>
                  </a:lnTo>
                  <a:lnTo>
                    <a:pt x="315" y="79"/>
                  </a:lnTo>
                  <a:lnTo>
                    <a:pt x="316" y="78"/>
                  </a:lnTo>
                  <a:lnTo>
                    <a:pt x="316" y="78"/>
                  </a:lnTo>
                  <a:lnTo>
                    <a:pt x="317" y="78"/>
                  </a:lnTo>
                  <a:lnTo>
                    <a:pt x="317" y="77"/>
                  </a:lnTo>
                  <a:lnTo>
                    <a:pt x="318" y="77"/>
                  </a:lnTo>
                  <a:lnTo>
                    <a:pt x="319" y="74"/>
                  </a:lnTo>
                  <a:lnTo>
                    <a:pt x="321" y="72"/>
                  </a:lnTo>
                  <a:lnTo>
                    <a:pt x="322" y="71"/>
                  </a:lnTo>
                  <a:lnTo>
                    <a:pt x="322" y="71"/>
                  </a:lnTo>
                  <a:lnTo>
                    <a:pt x="322" y="70"/>
                  </a:lnTo>
                  <a:lnTo>
                    <a:pt x="323" y="67"/>
                  </a:lnTo>
                  <a:lnTo>
                    <a:pt x="324" y="65"/>
                  </a:lnTo>
                  <a:lnTo>
                    <a:pt x="325" y="63"/>
                  </a:lnTo>
                  <a:lnTo>
                    <a:pt x="326" y="62"/>
                  </a:lnTo>
                  <a:lnTo>
                    <a:pt x="327" y="61"/>
                  </a:lnTo>
                  <a:lnTo>
                    <a:pt x="328" y="60"/>
                  </a:lnTo>
                  <a:lnTo>
                    <a:pt x="329" y="59"/>
                  </a:lnTo>
                  <a:lnTo>
                    <a:pt x="330" y="58"/>
                  </a:lnTo>
                  <a:lnTo>
                    <a:pt x="331" y="58"/>
                  </a:lnTo>
                  <a:lnTo>
                    <a:pt x="331" y="58"/>
                  </a:lnTo>
                  <a:lnTo>
                    <a:pt x="332" y="58"/>
                  </a:lnTo>
                  <a:lnTo>
                    <a:pt x="332" y="58"/>
                  </a:lnTo>
                  <a:lnTo>
                    <a:pt x="333" y="58"/>
                  </a:lnTo>
                  <a:lnTo>
                    <a:pt x="333" y="59"/>
                  </a:lnTo>
                  <a:lnTo>
                    <a:pt x="334" y="60"/>
                  </a:lnTo>
                  <a:lnTo>
                    <a:pt x="335" y="61"/>
                  </a:lnTo>
                  <a:lnTo>
                    <a:pt x="336" y="62"/>
                  </a:lnTo>
                  <a:lnTo>
                    <a:pt x="337" y="63"/>
                  </a:lnTo>
                  <a:lnTo>
                    <a:pt x="337" y="63"/>
                  </a:lnTo>
                  <a:lnTo>
                    <a:pt x="338" y="64"/>
                  </a:lnTo>
                  <a:lnTo>
                    <a:pt x="339" y="64"/>
                  </a:lnTo>
                  <a:lnTo>
                    <a:pt x="340" y="65"/>
                  </a:lnTo>
                  <a:lnTo>
                    <a:pt x="341" y="65"/>
                  </a:lnTo>
                  <a:lnTo>
                    <a:pt x="342" y="66"/>
                  </a:lnTo>
                  <a:lnTo>
                    <a:pt x="343" y="66"/>
                  </a:lnTo>
                  <a:lnTo>
                    <a:pt x="345" y="67"/>
                  </a:lnTo>
                  <a:lnTo>
                    <a:pt x="348" y="67"/>
                  </a:lnTo>
                  <a:lnTo>
                    <a:pt x="350" y="67"/>
                  </a:lnTo>
                  <a:lnTo>
                    <a:pt x="351" y="68"/>
                  </a:lnTo>
                  <a:lnTo>
                    <a:pt x="352" y="68"/>
                  </a:lnTo>
                  <a:lnTo>
                    <a:pt x="352" y="69"/>
                  </a:lnTo>
                  <a:lnTo>
                    <a:pt x="353" y="69"/>
                  </a:lnTo>
                  <a:lnTo>
                    <a:pt x="354" y="70"/>
                  </a:lnTo>
                  <a:lnTo>
                    <a:pt x="355" y="70"/>
                  </a:lnTo>
                  <a:lnTo>
                    <a:pt x="356" y="72"/>
                  </a:lnTo>
                  <a:lnTo>
                    <a:pt x="357" y="73"/>
                  </a:lnTo>
                  <a:lnTo>
                    <a:pt x="359" y="75"/>
                  </a:lnTo>
                  <a:lnTo>
                    <a:pt x="361" y="77"/>
                  </a:lnTo>
                  <a:lnTo>
                    <a:pt x="362" y="77"/>
                  </a:lnTo>
                  <a:lnTo>
                    <a:pt x="362" y="78"/>
                  </a:lnTo>
                  <a:lnTo>
                    <a:pt x="363" y="78"/>
                  </a:lnTo>
                  <a:lnTo>
                    <a:pt x="363" y="78"/>
                  </a:lnTo>
                  <a:lnTo>
                    <a:pt x="364" y="78"/>
                  </a:lnTo>
                  <a:lnTo>
                    <a:pt x="364" y="79"/>
                  </a:lnTo>
                  <a:lnTo>
                    <a:pt x="365" y="79"/>
                  </a:lnTo>
                  <a:lnTo>
                    <a:pt x="367" y="79"/>
                  </a:lnTo>
                  <a:lnTo>
                    <a:pt x="371" y="79"/>
                  </a:lnTo>
                  <a:lnTo>
                    <a:pt x="372" y="79"/>
                  </a:lnTo>
                  <a:lnTo>
                    <a:pt x="373" y="79"/>
                  </a:lnTo>
                  <a:lnTo>
                    <a:pt x="374" y="80"/>
                  </a:lnTo>
                  <a:lnTo>
                    <a:pt x="375" y="80"/>
                  </a:lnTo>
                  <a:lnTo>
                    <a:pt x="377" y="81"/>
                  </a:lnTo>
                  <a:lnTo>
                    <a:pt x="378" y="81"/>
                  </a:lnTo>
                  <a:lnTo>
                    <a:pt x="382" y="82"/>
                  </a:lnTo>
                  <a:lnTo>
                    <a:pt x="386" y="83"/>
                  </a:lnTo>
                  <a:lnTo>
                    <a:pt x="389" y="84"/>
                  </a:lnTo>
                  <a:lnTo>
                    <a:pt x="390" y="85"/>
                  </a:lnTo>
                  <a:lnTo>
                    <a:pt x="390" y="85"/>
                  </a:lnTo>
                  <a:lnTo>
                    <a:pt x="395" y="87"/>
                  </a:lnTo>
                  <a:lnTo>
                    <a:pt x="399" y="89"/>
                  </a:lnTo>
                  <a:lnTo>
                    <a:pt x="400" y="90"/>
                  </a:lnTo>
                  <a:lnTo>
                    <a:pt x="401" y="91"/>
                  </a:lnTo>
                  <a:lnTo>
                    <a:pt x="403" y="91"/>
                  </a:lnTo>
                  <a:lnTo>
                    <a:pt x="404" y="92"/>
                  </a:lnTo>
                  <a:lnTo>
                    <a:pt x="405" y="93"/>
                  </a:lnTo>
                  <a:lnTo>
                    <a:pt x="407" y="95"/>
                  </a:lnTo>
                  <a:lnTo>
                    <a:pt x="410" y="99"/>
                  </a:lnTo>
                  <a:lnTo>
                    <a:pt x="412" y="100"/>
                  </a:lnTo>
                  <a:lnTo>
                    <a:pt x="413" y="101"/>
                  </a:lnTo>
                  <a:lnTo>
                    <a:pt x="414" y="103"/>
                  </a:lnTo>
                  <a:lnTo>
                    <a:pt x="415" y="104"/>
                  </a:lnTo>
                  <a:lnTo>
                    <a:pt x="416" y="106"/>
                  </a:lnTo>
                  <a:lnTo>
                    <a:pt x="418" y="107"/>
                  </a:lnTo>
                  <a:lnTo>
                    <a:pt x="419" y="108"/>
                  </a:lnTo>
                  <a:lnTo>
                    <a:pt x="419" y="108"/>
                  </a:lnTo>
                  <a:lnTo>
                    <a:pt x="420" y="108"/>
                  </a:lnTo>
                  <a:lnTo>
                    <a:pt x="421" y="109"/>
                  </a:lnTo>
                  <a:lnTo>
                    <a:pt x="423" y="109"/>
                  </a:lnTo>
                  <a:lnTo>
                    <a:pt x="424" y="109"/>
                  </a:lnTo>
                  <a:lnTo>
                    <a:pt x="428" y="111"/>
                  </a:lnTo>
                  <a:lnTo>
                    <a:pt x="432" y="112"/>
                  </a:lnTo>
                  <a:lnTo>
                    <a:pt x="433" y="112"/>
                  </a:lnTo>
                  <a:lnTo>
                    <a:pt x="435" y="113"/>
                  </a:lnTo>
                  <a:lnTo>
                    <a:pt x="436" y="114"/>
                  </a:lnTo>
                  <a:lnTo>
                    <a:pt x="439" y="116"/>
                  </a:lnTo>
                  <a:lnTo>
                    <a:pt x="442" y="118"/>
                  </a:lnTo>
                  <a:lnTo>
                    <a:pt x="443" y="118"/>
                  </a:lnTo>
                  <a:lnTo>
                    <a:pt x="444" y="119"/>
                  </a:lnTo>
                  <a:lnTo>
                    <a:pt x="445" y="120"/>
                  </a:lnTo>
                  <a:lnTo>
                    <a:pt x="446" y="121"/>
                  </a:lnTo>
                  <a:lnTo>
                    <a:pt x="450" y="127"/>
                  </a:lnTo>
                  <a:lnTo>
                    <a:pt x="450" y="127"/>
                  </a:lnTo>
                  <a:lnTo>
                    <a:pt x="450" y="128"/>
                  </a:lnTo>
                  <a:lnTo>
                    <a:pt x="450" y="129"/>
                  </a:lnTo>
                  <a:lnTo>
                    <a:pt x="450" y="131"/>
                  </a:lnTo>
                  <a:lnTo>
                    <a:pt x="449" y="132"/>
                  </a:lnTo>
                  <a:lnTo>
                    <a:pt x="449" y="134"/>
                  </a:lnTo>
                  <a:lnTo>
                    <a:pt x="447" y="138"/>
                  </a:lnTo>
                  <a:lnTo>
                    <a:pt x="447" y="139"/>
                  </a:lnTo>
                  <a:lnTo>
                    <a:pt x="447" y="140"/>
                  </a:lnTo>
                  <a:lnTo>
                    <a:pt x="447" y="140"/>
                  </a:lnTo>
                  <a:lnTo>
                    <a:pt x="447" y="141"/>
                  </a:lnTo>
                  <a:lnTo>
                    <a:pt x="447" y="141"/>
                  </a:lnTo>
                  <a:lnTo>
                    <a:pt x="447" y="142"/>
                  </a:lnTo>
                  <a:lnTo>
                    <a:pt x="448" y="143"/>
                  </a:lnTo>
                  <a:lnTo>
                    <a:pt x="448" y="144"/>
                  </a:lnTo>
                  <a:lnTo>
                    <a:pt x="449" y="144"/>
                  </a:lnTo>
                  <a:lnTo>
                    <a:pt x="450" y="145"/>
                  </a:lnTo>
                  <a:lnTo>
                    <a:pt x="450" y="145"/>
                  </a:lnTo>
                  <a:lnTo>
                    <a:pt x="453" y="147"/>
                  </a:lnTo>
                  <a:lnTo>
                    <a:pt x="454" y="147"/>
                  </a:lnTo>
                  <a:lnTo>
                    <a:pt x="454" y="148"/>
                  </a:lnTo>
                  <a:lnTo>
                    <a:pt x="455" y="149"/>
                  </a:lnTo>
                  <a:lnTo>
                    <a:pt x="455" y="149"/>
                  </a:lnTo>
                  <a:lnTo>
                    <a:pt x="456" y="150"/>
                  </a:lnTo>
                  <a:lnTo>
                    <a:pt x="456" y="150"/>
                  </a:lnTo>
                  <a:lnTo>
                    <a:pt x="456" y="151"/>
                  </a:lnTo>
                  <a:lnTo>
                    <a:pt x="456" y="151"/>
                  </a:lnTo>
                  <a:lnTo>
                    <a:pt x="457" y="152"/>
                  </a:lnTo>
                  <a:lnTo>
                    <a:pt x="457" y="153"/>
                  </a:lnTo>
                  <a:lnTo>
                    <a:pt x="457" y="154"/>
                  </a:lnTo>
                  <a:lnTo>
                    <a:pt x="456" y="154"/>
                  </a:lnTo>
                  <a:lnTo>
                    <a:pt x="456" y="155"/>
                  </a:lnTo>
                  <a:lnTo>
                    <a:pt x="456" y="156"/>
                  </a:lnTo>
                  <a:lnTo>
                    <a:pt x="455" y="157"/>
                  </a:lnTo>
                  <a:lnTo>
                    <a:pt x="455" y="158"/>
                  </a:lnTo>
                  <a:lnTo>
                    <a:pt x="454" y="160"/>
                  </a:lnTo>
                  <a:lnTo>
                    <a:pt x="453" y="161"/>
                  </a:lnTo>
                  <a:lnTo>
                    <a:pt x="452" y="162"/>
                  </a:lnTo>
                  <a:lnTo>
                    <a:pt x="451" y="164"/>
                  </a:lnTo>
                  <a:lnTo>
                    <a:pt x="450" y="164"/>
                  </a:lnTo>
                  <a:lnTo>
                    <a:pt x="449" y="165"/>
                  </a:lnTo>
                  <a:lnTo>
                    <a:pt x="448" y="165"/>
                  </a:lnTo>
                  <a:lnTo>
                    <a:pt x="447" y="166"/>
                  </a:lnTo>
                  <a:lnTo>
                    <a:pt x="446" y="166"/>
                  </a:lnTo>
                  <a:lnTo>
                    <a:pt x="446" y="166"/>
                  </a:lnTo>
                  <a:lnTo>
                    <a:pt x="445" y="166"/>
                  </a:lnTo>
                  <a:lnTo>
                    <a:pt x="443" y="166"/>
                  </a:lnTo>
                  <a:lnTo>
                    <a:pt x="443" y="166"/>
                  </a:lnTo>
                  <a:lnTo>
                    <a:pt x="443" y="166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2" y="167"/>
                  </a:lnTo>
                  <a:lnTo>
                    <a:pt x="442" y="167"/>
                  </a:lnTo>
                  <a:lnTo>
                    <a:pt x="443" y="168"/>
                  </a:lnTo>
                  <a:lnTo>
                    <a:pt x="443" y="169"/>
                  </a:lnTo>
                  <a:lnTo>
                    <a:pt x="443" y="169"/>
                  </a:lnTo>
                  <a:lnTo>
                    <a:pt x="444" y="170"/>
                  </a:lnTo>
                  <a:lnTo>
                    <a:pt x="444" y="171"/>
                  </a:lnTo>
                  <a:lnTo>
                    <a:pt x="446" y="172"/>
                  </a:lnTo>
                  <a:lnTo>
                    <a:pt x="446" y="173"/>
                  </a:lnTo>
                  <a:lnTo>
                    <a:pt x="447" y="174"/>
                  </a:lnTo>
                  <a:lnTo>
                    <a:pt x="448" y="175"/>
                  </a:lnTo>
                  <a:lnTo>
                    <a:pt x="448" y="176"/>
                  </a:lnTo>
                  <a:lnTo>
                    <a:pt x="448" y="177"/>
                  </a:lnTo>
                  <a:lnTo>
                    <a:pt x="448" y="177"/>
                  </a:lnTo>
                  <a:lnTo>
                    <a:pt x="448" y="178"/>
                  </a:lnTo>
                  <a:lnTo>
                    <a:pt x="448" y="178"/>
                  </a:lnTo>
                  <a:lnTo>
                    <a:pt x="448" y="179"/>
                  </a:lnTo>
                  <a:lnTo>
                    <a:pt x="448" y="180"/>
                  </a:lnTo>
                  <a:lnTo>
                    <a:pt x="447" y="181"/>
                  </a:lnTo>
                  <a:lnTo>
                    <a:pt x="447" y="183"/>
                  </a:lnTo>
                  <a:lnTo>
                    <a:pt x="446" y="184"/>
                  </a:lnTo>
                  <a:lnTo>
                    <a:pt x="446" y="185"/>
                  </a:lnTo>
                  <a:lnTo>
                    <a:pt x="446" y="185"/>
                  </a:lnTo>
                  <a:lnTo>
                    <a:pt x="445" y="185"/>
                  </a:lnTo>
                  <a:lnTo>
                    <a:pt x="444" y="186"/>
                  </a:lnTo>
                  <a:lnTo>
                    <a:pt x="444" y="186"/>
                  </a:lnTo>
                  <a:lnTo>
                    <a:pt x="443" y="186"/>
                  </a:lnTo>
                  <a:lnTo>
                    <a:pt x="443" y="186"/>
                  </a:lnTo>
                  <a:lnTo>
                    <a:pt x="442" y="186"/>
                  </a:lnTo>
                  <a:lnTo>
                    <a:pt x="441" y="186"/>
                  </a:lnTo>
                  <a:lnTo>
                    <a:pt x="441" y="186"/>
                  </a:lnTo>
                  <a:lnTo>
                    <a:pt x="440" y="185"/>
                  </a:lnTo>
                  <a:lnTo>
                    <a:pt x="440" y="185"/>
                  </a:lnTo>
                  <a:lnTo>
                    <a:pt x="439" y="184"/>
                  </a:lnTo>
                  <a:lnTo>
                    <a:pt x="439" y="184"/>
                  </a:lnTo>
                  <a:lnTo>
                    <a:pt x="439" y="183"/>
                  </a:lnTo>
                  <a:lnTo>
                    <a:pt x="438" y="182"/>
                  </a:lnTo>
                  <a:lnTo>
                    <a:pt x="438" y="181"/>
                  </a:lnTo>
                  <a:lnTo>
                    <a:pt x="437" y="181"/>
                  </a:lnTo>
                  <a:lnTo>
                    <a:pt x="437" y="180"/>
                  </a:lnTo>
                  <a:lnTo>
                    <a:pt x="436" y="180"/>
                  </a:lnTo>
                  <a:lnTo>
                    <a:pt x="436" y="180"/>
                  </a:lnTo>
                  <a:lnTo>
                    <a:pt x="435" y="180"/>
                  </a:lnTo>
                  <a:lnTo>
                    <a:pt x="434" y="180"/>
                  </a:lnTo>
                  <a:lnTo>
                    <a:pt x="433" y="180"/>
                  </a:lnTo>
                  <a:lnTo>
                    <a:pt x="433" y="180"/>
                  </a:lnTo>
                  <a:lnTo>
                    <a:pt x="432" y="180"/>
                  </a:lnTo>
                  <a:lnTo>
                    <a:pt x="431" y="180"/>
                  </a:lnTo>
                  <a:lnTo>
                    <a:pt x="430" y="181"/>
                  </a:lnTo>
                  <a:lnTo>
                    <a:pt x="429" y="182"/>
                  </a:lnTo>
                  <a:lnTo>
                    <a:pt x="428" y="182"/>
                  </a:lnTo>
                  <a:lnTo>
                    <a:pt x="428" y="183"/>
                  </a:lnTo>
                  <a:lnTo>
                    <a:pt x="426" y="184"/>
                  </a:lnTo>
                  <a:lnTo>
                    <a:pt x="425" y="185"/>
                  </a:lnTo>
                  <a:lnTo>
                    <a:pt x="425" y="186"/>
                  </a:lnTo>
                  <a:lnTo>
                    <a:pt x="424" y="186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25" y="188"/>
                  </a:lnTo>
                  <a:lnTo>
                    <a:pt x="425" y="188"/>
                  </a:lnTo>
                  <a:lnTo>
                    <a:pt x="426" y="188"/>
                  </a:lnTo>
                  <a:lnTo>
                    <a:pt x="428" y="189"/>
                  </a:lnTo>
                  <a:lnTo>
                    <a:pt x="429" y="189"/>
                  </a:lnTo>
                  <a:lnTo>
                    <a:pt x="430" y="189"/>
                  </a:lnTo>
                  <a:lnTo>
                    <a:pt x="430" y="190"/>
                  </a:lnTo>
                  <a:lnTo>
                    <a:pt x="431" y="190"/>
                  </a:lnTo>
                  <a:lnTo>
                    <a:pt x="431" y="190"/>
                  </a:lnTo>
                  <a:lnTo>
                    <a:pt x="432" y="191"/>
                  </a:lnTo>
                  <a:lnTo>
                    <a:pt x="432" y="191"/>
                  </a:lnTo>
                  <a:lnTo>
                    <a:pt x="432" y="192"/>
                  </a:lnTo>
                  <a:lnTo>
                    <a:pt x="432" y="192"/>
                  </a:lnTo>
                  <a:lnTo>
                    <a:pt x="432" y="193"/>
                  </a:lnTo>
                  <a:lnTo>
                    <a:pt x="432" y="193"/>
                  </a:lnTo>
                  <a:lnTo>
                    <a:pt x="432" y="194"/>
                  </a:lnTo>
                  <a:lnTo>
                    <a:pt x="431" y="194"/>
                  </a:lnTo>
                  <a:lnTo>
                    <a:pt x="431" y="195"/>
                  </a:lnTo>
                  <a:lnTo>
                    <a:pt x="430" y="195"/>
                  </a:lnTo>
                  <a:lnTo>
                    <a:pt x="429" y="196"/>
                  </a:lnTo>
                  <a:lnTo>
                    <a:pt x="428" y="196"/>
                  </a:lnTo>
                  <a:lnTo>
                    <a:pt x="427" y="196"/>
                  </a:lnTo>
                  <a:lnTo>
                    <a:pt x="425" y="197"/>
                  </a:lnTo>
                  <a:lnTo>
                    <a:pt x="423" y="197"/>
                  </a:lnTo>
                  <a:lnTo>
                    <a:pt x="420" y="197"/>
                  </a:lnTo>
                  <a:lnTo>
                    <a:pt x="419" y="198"/>
                  </a:lnTo>
                  <a:lnTo>
                    <a:pt x="418" y="198"/>
                  </a:lnTo>
                  <a:lnTo>
                    <a:pt x="417" y="198"/>
                  </a:lnTo>
                  <a:lnTo>
                    <a:pt x="415" y="199"/>
                  </a:lnTo>
                  <a:lnTo>
                    <a:pt x="415" y="199"/>
                  </a:lnTo>
                  <a:lnTo>
                    <a:pt x="414" y="200"/>
                  </a:lnTo>
                  <a:lnTo>
                    <a:pt x="414" y="200"/>
                  </a:lnTo>
                  <a:lnTo>
                    <a:pt x="413" y="201"/>
                  </a:lnTo>
                  <a:lnTo>
                    <a:pt x="413" y="202"/>
                  </a:lnTo>
                  <a:lnTo>
                    <a:pt x="412" y="203"/>
                  </a:lnTo>
                  <a:lnTo>
                    <a:pt x="411" y="204"/>
                  </a:lnTo>
                  <a:lnTo>
                    <a:pt x="410" y="207"/>
                  </a:lnTo>
                  <a:lnTo>
                    <a:pt x="409" y="208"/>
                  </a:lnTo>
                  <a:lnTo>
                    <a:pt x="409" y="208"/>
                  </a:lnTo>
                  <a:lnTo>
                    <a:pt x="407" y="211"/>
                  </a:lnTo>
                  <a:lnTo>
                    <a:pt x="406" y="212"/>
                  </a:lnTo>
                  <a:lnTo>
                    <a:pt x="405" y="213"/>
                  </a:lnTo>
                  <a:lnTo>
                    <a:pt x="404" y="214"/>
                  </a:lnTo>
                  <a:lnTo>
                    <a:pt x="404" y="215"/>
                  </a:lnTo>
                  <a:lnTo>
                    <a:pt x="404" y="216"/>
                  </a:lnTo>
                  <a:lnTo>
                    <a:pt x="404" y="217"/>
                  </a:lnTo>
                  <a:lnTo>
                    <a:pt x="404" y="220"/>
                  </a:lnTo>
                  <a:lnTo>
                    <a:pt x="403" y="222"/>
                  </a:lnTo>
                  <a:lnTo>
                    <a:pt x="403" y="224"/>
                  </a:lnTo>
                  <a:lnTo>
                    <a:pt x="403" y="226"/>
                  </a:lnTo>
                  <a:lnTo>
                    <a:pt x="402" y="229"/>
                  </a:lnTo>
                  <a:lnTo>
                    <a:pt x="402" y="230"/>
                  </a:lnTo>
                  <a:lnTo>
                    <a:pt x="402" y="231"/>
                  </a:lnTo>
                  <a:lnTo>
                    <a:pt x="402" y="232"/>
                  </a:lnTo>
                  <a:lnTo>
                    <a:pt x="402" y="232"/>
                  </a:lnTo>
                  <a:lnTo>
                    <a:pt x="402" y="233"/>
                  </a:lnTo>
                  <a:lnTo>
                    <a:pt x="402" y="233"/>
                  </a:lnTo>
                  <a:lnTo>
                    <a:pt x="403" y="234"/>
                  </a:lnTo>
                  <a:lnTo>
                    <a:pt x="403" y="234"/>
                  </a:lnTo>
                  <a:lnTo>
                    <a:pt x="404" y="235"/>
                  </a:lnTo>
                  <a:lnTo>
                    <a:pt x="407" y="237"/>
                  </a:lnTo>
                  <a:lnTo>
                    <a:pt x="412" y="241"/>
                  </a:lnTo>
                  <a:lnTo>
                    <a:pt x="412" y="241"/>
                  </a:lnTo>
                  <a:lnTo>
                    <a:pt x="413" y="241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2" y="243"/>
                  </a:lnTo>
                  <a:lnTo>
                    <a:pt x="411" y="243"/>
                  </a:lnTo>
                  <a:lnTo>
                    <a:pt x="411" y="244"/>
                  </a:lnTo>
                  <a:lnTo>
                    <a:pt x="411" y="244"/>
                  </a:lnTo>
                  <a:lnTo>
                    <a:pt x="410" y="244"/>
                  </a:lnTo>
                  <a:lnTo>
                    <a:pt x="410" y="245"/>
                  </a:lnTo>
                  <a:lnTo>
                    <a:pt x="410" y="245"/>
                  </a:lnTo>
                  <a:lnTo>
                    <a:pt x="410" y="245"/>
                  </a:lnTo>
                  <a:lnTo>
                    <a:pt x="411" y="246"/>
                  </a:lnTo>
                  <a:lnTo>
                    <a:pt x="411" y="246"/>
                  </a:lnTo>
                  <a:lnTo>
                    <a:pt x="412" y="247"/>
                  </a:lnTo>
                  <a:lnTo>
                    <a:pt x="413" y="247"/>
                  </a:lnTo>
                  <a:lnTo>
                    <a:pt x="413" y="247"/>
                  </a:lnTo>
                  <a:lnTo>
                    <a:pt x="414" y="248"/>
                  </a:lnTo>
                  <a:lnTo>
                    <a:pt x="415" y="248"/>
                  </a:lnTo>
                  <a:lnTo>
                    <a:pt x="418" y="249"/>
                  </a:lnTo>
                  <a:lnTo>
                    <a:pt x="419" y="249"/>
                  </a:lnTo>
                  <a:lnTo>
                    <a:pt x="419" y="249"/>
                  </a:lnTo>
                  <a:lnTo>
                    <a:pt x="419" y="250"/>
                  </a:lnTo>
                  <a:lnTo>
                    <a:pt x="420" y="250"/>
                  </a:lnTo>
                  <a:lnTo>
                    <a:pt x="420" y="250"/>
                  </a:lnTo>
                  <a:lnTo>
                    <a:pt x="420" y="251"/>
                  </a:lnTo>
                  <a:lnTo>
                    <a:pt x="420" y="252"/>
                  </a:lnTo>
                  <a:lnTo>
                    <a:pt x="420" y="252"/>
                  </a:lnTo>
                  <a:lnTo>
                    <a:pt x="420" y="253"/>
                  </a:lnTo>
                  <a:lnTo>
                    <a:pt x="420" y="253"/>
                  </a:lnTo>
                  <a:lnTo>
                    <a:pt x="420" y="254"/>
                  </a:lnTo>
                  <a:lnTo>
                    <a:pt x="419" y="255"/>
                  </a:lnTo>
                  <a:lnTo>
                    <a:pt x="419" y="256"/>
                  </a:lnTo>
                  <a:lnTo>
                    <a:pt x="418" y="258"/>
                  </a:lnTo>
                  <a:lnTo>
                    <a:pt x="415" y="261"/>
                  </a:lnTo>
                  <a:lnTo>
                    <a:pt x="415" y="262"/>
                  </a:lnTo>
                  <a:lnTo>
                    <a:pt x="414" y="262"/>
                  </a:lnTo>
                  <a:lnTo>
                    <a:pt x="414" y="263"/>
                  </a:lnTo>
                  <a:lnTo>
                    <a:pt x="414" y="264"/>
                  </a:lnTo>
                  <a:lnTo>
                    <a:pt x="414" y="265"/>
                  </a:lnTo>
                  <a:lnTo>
                    <a:pt x="414" y="266"/>
                  </a:lnTo>
                  <a:lnTo>
                    <a:pt x="414" y="266"/>
                  </a:lnTo>
                  <a:lnTo>
                    <a:pt x="414" y="267"/>
                  </a:lnTo>
                  <a:lnTo>
                    <a:pt x="414" y="268"/>
                  </a:lnTo>
                  <a:lnTo>
                    <a:pt x="415" y="269"/>
                  </a:lnTo>
                  <a:lnTo>
                    <a:pt x="415" y="269"/>
                  </a:lnTo>
                  <a:lnTo>
                    <a:pt x="417" y="271"/>
                  </a:lnTo>
                  <a:lnTo>
                    <a:pt x="418" y="272"/>
                  </a:lnTo>
                  <a:lnTo>
                    <a:pt x="418" y="273"/>
                  </a:lnTo>
                  <a:lnTo>
                    <a:pt x="418" y="274"/>
                  </a:lnTo>
                  <a:lnTo>
                    <a:pt x="419" y="274"/>
                  </a:lnTo>
                  <a:lnTo>
                    <a:pt x="419" y="275"/>
                  </a:lnTo>
                  <a:lnTo>
                    <a:pt x="419" y="275"/>
                  </a:lnTo>
                  <a:lnTo>
                    <a:pt x="419" y="276"/>
                  </a:lnTo>
                  <a:lnTo>
                    <a:pt x="418" y="276"/>
                  </a:lnTo>
                  <a:lnTo>
                    <a:pt x="418" y="277"/>
                  </a:lnTo>
                  <a:lnTo>
                    <a:pt x="418" y="277"/>
                  </a:lnTo>
                  <a:lnTo>
                    <a:pt x="417" y="278"/>
                  </a:lnTo>
                  <a:lnTo>
                    <a:pt x="416" y="278"/>
                  </a:lnTo>
                  <a:lnTo>
                    <a:pt x="414" y="280"/>
                  </a:lnTo>
                  <a:lnTo>
                    <a:pt x="413" y="281"/>
                  </a:lnTo>
                  <a:lnTo>
                    <a:pt x="412" y="281"/>
                  </a:lnTo>
                  <a:lnTo>
                    <a:pt x="411" y="283"/>
                  </a:lnTo>
                  <a:lnTo>
                    <a:pt x="410" y="284"/>
                  </a:lnTo>
                  <a:lnTo>
                    <a:pt x="409" y="285"/>
                  </a:lnTo>
                  <a:lnTo>
                    <a:pt x="409" y="286"/>
                  </a:lnTo>
                  <a:lnTo>
                    <a:pt x="409" y="287"/>
                  </a:lnTo>
                  <a:lnTo>
                    <a:pt x="408" y="288"/>
                  </a:lnTo>
                  <a:lnTo>
                    <a:pt x="408" y="289"/>
                  </a:lnTo>
                  <a:lnTo>
                    <a:pt x="407" y="290"/>
                  </a:lnTo>
                  <a:lnTo>
                    <a:pt x="407" y="291"/>
                  </a:lnTo>
                  <a:lnTo>
                    <a:pt x="407" y="292"/>
                  </a:lnTo>
                  <a:lnTo>
                    <a:pt x="407" y="293"/>
                  </a:lnTo>
                  <a:lnTo>
                    <a:pt x="407" y="294"/>
                  </a:lnTo>
                  <a:lnTo>
                    <a:pt x="407" y="295"/>
                  </a:lnTo>
                  <a:lnTo>
                    <a:pt x="407" y="295"/>
                  </a:lnTo>
                  <a:lnTo>
                    <a:pt x="407" y="296"/>
                  </a:lnTo>
                  <a:lnTo>
                    <a:pt x="407" y="296"/>
                  </a:lnTo>
                  <a:lnTo>
                    <a:pt x="408" y="297"/>
                  </a:lnTo>
                  <a:lnTo>
                    <a:pt x="408" y="297"/>
                  </a:lnTo>
                  <a:lnTo>
                    <a:pt x="409" y="298"/>
                  </a:lnTo>
                  <a:lnTo>
                    <a:pt x="410" y="299"/>
                  </a:lnTo>
                  <a:lnTo>
                    <a:pt x="412" y="301"/>
                  </a:lnTo>
                  <a:lnTo>
                    <a:pt x="414" y="301"/>
                  </a:lnTo>
                  <a:lnTo>
                    <a:pt x="414" y="302"/>
                  </a:lnTo>
                  <a:lnTo>
                    <a:pt x="414" y="303"/>
                  </a:lnTo>
                  <a:lnTo>
                    <a:pt x="415" y="303"/>
                  </a:lnTo>
                  <a:lnTo>
                    <a:pt x="415" y="304"/>
                  </a:lnTo>
                  <a:lnTo>
                    <a:pt x="415" y="304"/>
                  </a:lnTo>
                  <a:lnTo>
                    <a:pt x="416" y="305"/>
                  </a:lnTo>
                  <a:lnTo>
                    <a:pt x="416" y="305"/>
                  </a:lnTo>
                  <a:lnTo>
                    <a:pt x="416" y="306"/>
                  </a:lnTo>
                  <a:lnTo>
                    <a:pt x="416" y="308"/>
                  </a:lnTo>
                  <a:lnTo>
                    <a:pt x="416" y="309"/>
                  </a:lnTo>
                  <a:lnTo>
                    <a:pt x="416" y="310"/>
                  </a:lnTo>
                  <a:lnTo>
                    <a:pt x="416" y="311"/>
                  </a:lnTo>
                  <a:lnTo>
                    <a:pt x="416" y="311"/>
                  </a:lnTo>
                  <a:lnTo>
                    <a:pt x="415" y="312"/>
                  </a:lnTo>
                  <a:lnTo>
                    <a:pt x="414" y="313"/>
                  </a:lnTo>
                  <a:lnTo>
                    <a:pt x="413" y="314"/>
                  </a:lnTo>
                  <a:lnTo>
                    <a:pt x="412" y="314"/>
                  </a:lnTo>
                  <a:lnTo>
                    <a:pt x="411" y="315"/>
                  </a:lnTo>
                  <a:lnTo>
                    <a:pt x="409" y="316"/>
                  </a:lnTo>
                  <a:lnTo>
                    <a:pt x="408" y="316"/>
                  </a:lnTo>
                  <a:lnTo>
                    <a:pt x="408" y="317"/>
                  </a:lnTo>
                  <a:lnTo>
                    <a:pt x="407" y="317"/>
                  </a:lnTo>
                  <a:lnTo>
                    <a:pt x="407" y="318"/>
                  </a:lnTo>
                  <a:lnTo>
                    <a:pt x="406" y="318"/>
                  </a:lnTo>
                  <a:lnTo>
                    <a:pt x="406" y="319"/>
                  </a:lnTo>
                  <a:lnTo>
                    <a:pt x="406" y="320"/>
                  </a:lnTo>
                  <a:lnTo>
                    <a:pt x="405" y="320"/>
                  </a:lnTo>
                  <a:lnTo>
                    <a:pt x="405" y="321"/>
                  </a:lnTo>
                  <a:lnTo>
                    <a:pt x="405" y="322"/>
                  </a:lnTo>
                  <a:lnTo>
                    <a:pt x="405" y="322"/>
                  </a:lnTo>
                  <a:lnTo>
                    <a:pt x="406" y="325"/>
                  </a:lnTo>
                  <a:lnTo>
                    <a:pt x="406" y="326"/>
                  </a:lnTo>
                  <a:lnTo>
                    <a:pt x="407" y="327"/>
                  </a:lnTo>
                  <a:lnTo>
                    <a:pt x="407" y="327"/>
                  </a:lnTo>
                  <a:lnTo>
                    <a:pt x="407" y="328"/>
                  </a:lnTo>
                  <a:lnTo>
                    <a:pt x="406" y="329"/>
                  </a:lnTo>
                  <a:lnTo>
                    <a:pt x="406" y="329"/>
                  </a:lnTo>
                  <a:lnTo>
                    <a:pt x="406" y="330"/>
                  </a:lnTo>
                  <a:lnTo>
                    <a:pt x="405" y="330"/>
                  </a:lnTo>
                  <a:lnTo>
                    <a:pt x="405" y="331"/>
                  </a:lnTo>
                  <a:lnTo>
                    <a:pt x="404" y="331"/>
                  </a:lnTo>
                  <a:lnTo>
                    <a:pt x="404" y="332"/>
                  </a:lnTo>
                  <a:lnTo>
                    <a:pt x="403" y="332"/>
                  </a:lnTo>
                  <a:lnTo>
                    <a:pt x="402" y="333"/>
                  </a:lnTo>
                  <a:lnTo>
                    <a:pt x="401" y="333"/>
                  </a:lnTo>
                  <a:lnTo>
                    <a:pt x="400" y="333"/>
                  </a:lnTo>
                  <a:lnTo>
                    <a:pt x="400" y="333"/>
                  </a:lnTo>
                  <a:lnTo>
                    <a:pt x="400" y="334"/>
                  </a:lnTo>
                  <a:lnTo>
                    <a:pt x="400" y="334"/>
                  </a:lnTo>
                  <a:lnTo>
                    <a:pt x="400" y="334"/>
                  </a:lnTo>
                  <a:lnTo>
                    <a:pt x="399" y="334"/>
                  </a:lnTo>
                  <a:lnTo>
                    <a:pt x="400" y="335"/>
                  </a:lnTo>
                  <a:lnTo>
                    <a:pt x="400" y="336"/>
                  </a:lnTo>
                  <a:lnTo>
                    <a:pt x="400" y="336"/>
                  </a:lnTo>
                  <a:lnTo>
                    <a:pt x="401" y="337"/>
                  </a:lnTo>
                  <a:lnTo>
                    <a:pt x="402" y="339"/>
                  </a:lnTo>
                  <a:lnTo>
                    <a:pt x="404" y="339"/>
                  </a:lnTo>
                  <a:lnTo>
                    <a:pt x="406" y="342"/>
                  </a:lnTo>
                  <a:lnTo>
                    <a:pt x="407" y="343"/>
                  </a:lnTo>
                  <a:lnTo>
                    <a:pt x="408" y="344"/>
                  </a:lnTo>
                  <a:lnTo>
                    <a:pt x="409" y="344"/>
                  </a:lnTo>
                  <a:lnTo>
                    <a:pt x="409" y="345"/>
                  </a:lnTo>
                  <a:lnTo>
                    <a:pt x="409" y="346"/>
                  </a:lnTo>
                  <a:lnTo>
                    <a:pt x="409" y="346"/>
                  </a:lnTo>
                  <a:lnTo>
                    <a:pt x="409" y="347"/>
                  </a:lnTo>
                  <a:lnTo>
                    <a:pt x="409" y="348"/>
                  </a:lnTo>
                  <a:lnTo>
                    <a:pt x="409" y="348"/>
                  </a:lnTo>
                  <a:lnTo>
                    <a:pt x="409" y="349"/>
                  </a:lnTo>
                  <a:lnTo>
                    <a:pt x="408" y="349"/>
                  </a:lnTo>
                  <a:lnTo>
                    <a:pt x="408" y="350"/>
                  </a:lnTo>
                  <a:lnTo>
                    <a:pt x="407" y="350"/>
                  </a:lnTo>
                  <a:lnTo>
                    <a:pt x="405" y="352"/>
                  </a:lnTo>
                  <a:lnTo>
                    <a:pt x="405" y="353"/>
                  </a:lnTo>
                  <a:lnTo>
                    <a:pt x="404" y="353"/>
                  </a:lnTo>
                  <a:lnTo>
                    <a:pt x="404" y="354"/>
                  </a:lnTo>
                  <a:lnTo>
                    <a:pt x="404" y="354"/>
                  </a:lnTo>
                  <a:lnTo>
                    <a:pt x="403" y="356"/>
                  </a:lnTo>
                  <a:lnTo>
                    <a:pt x="403" y="357"/>
                  </a:lnTo>
                  <a:lnTo>
                    <a:pt x="402" y="358"/>
                  </a:lnTo>
                  <a:lnTo>
                    <a:pt x="401" y="359"/>
                  </a:lnTo>
                  <a:lnTo>
                    <a:pt x="401" y="359"/>
                  </a:lnTo>
                  <a:lnTo>
                    <a:pt x="400" y="360"/>
                  </a:lnTo>
                  <a:lnTo>
                    <a:pt x="400" y="360"/>
                  </a:lnTo>
                  <a:lnTo>
                    <a:pt x="399" y="361"/>
                  </a:lnTo>
                  <a:lnTo>
                    <a:pt x="399" y="361"/>
                  </a:lnTo>
                  <a:lnTo>
                    <a:pt x="398" y="362"/>
                  </a:lnTo>
                  <a:lnTo>
                    <a:pt x="397" y="362"/>
                  </a:lnTo>
                  <a:lnTo>
                    <a:pt x="397" y="362"/>
                  </a:lnTo>
                  <a:lnTo>
                    <a:pt x="395" y="363"/>
                  </a:lnTo>
                  <a:lnTo>
                    <a:pt x="393" y="363"/>
                  </a:lnTo>
                  <a:lnTo>
                    <a:pt x="390" y="363"/>
                  </a:lnTo>
                  <a:lnTo>
                    <a:pt x="386" y="364"/>
                  </a:lnTo>
                  <a:lnTo>
                    <a:pt x="385" y="364"/>
                  </a:lnTo>
                  <a:lnTo>
                    <a:pt x="383" y="364"/>
                  </a:lnTo>
                  <a:lnTo>
                    <a:pt x="382" y="365"/>
                  </a:lnTo>
                  <a:lnTo>
                    <a:pt x="381" y="365"/>
                  </a:lnTo>
                  <a:lnTo>
                    <a:pt x="380" y="366"/>
                  </a:lnTo>
                  <a:lnTo>
                    <a:pt x="379" y="366"/>
                  </a:lnTo>
                  <a:lnTo>
                    <a:pt x="378" y="367"/>
                  </a:lnTo>
                  <a:lnTo>
                    <a:pt x="378" y="368"/>
                  </a:lnTo>
                  <a:lnTo>
                    <a:pt x="377" y="368"/>
                  </a:lnTo>
                  <a:lnTo>
                    <a:pt x="377" y="369"/>
                  </a:lnTo>
                  <a:lnTo>
                    <a:pt x="377" y="370"/>
                  </a:lnTo>
                  <a:lnTo>
                    <a:pt x="377" y="371"/>
                  </a:lnTo>
                  <a:lnTo>
                    <a:pt x="377" y="373"/>
                  </a:lnTo>
                  <a:lnTo>
                    <a:pt x="377" y="373"/>
                  </a:lnTo>
                  <a:lnTo>
                    <a:pt x="377" y="374"/>
                  </a:lnTo>
                  <a:lnTo>
                    <a:pt x="377" y="374"/>
                  </a:lnTo>
                  <a:lnTo>
                    <a:pt x="376" y="375"/>
                  </a:lnTo>
                  <a:lnTo>
                    <a:pt x="376" y="375"/>
                  </a:lnTo>
                  <a:lnTo>
                    <a:pt x="376" y="376"/>
                  </a:lnTo>
                  <a:lnTo>
                    <a:pt x="375" y="376"/>
                  </a:lnTo>
                  <a:lnTo>
                    <a:pt x="372" y="378"/>
                  </a:lnTo>
                  <a:lnTo>
                    <a:pt x="372" y="378"/>
                  </a:lnTo>
                  <a:lnTo>
                    <a:pt x="371" y="378"/>
                  </a:lnTo>
                  <a:lnTo>
                    <a:pt x="370" y="379"/>
                  </a:lnTo>
                  <a:lnTo>
                    <a:pt x="368" y="379"/>
                  </a:lnTo>
                  <a:lnTo>
                    <a:pt x="364" y="380"/>
                  </a:lnTo>
                  <a:lnTo>
                    <a:pt x="362" y="380"/>
                  </a:lnTo>
                  <a:lnTo>
                    <a:pt x="361" y="380"/>
                  </a:lnTo>
                  <a:lnTo>
                    <a:pt x="360" y="380"/>
                  </a:lnTo>
                  <a:lnTo>
                    <a:pt x="358" y="380"/>
                  </a:lnTo>
                  <a:lnTo>
                    <a:pt x="356" y="380"/>
                  </a:lnTo>
                  <a:lnTo>
                    <a:pt x="355" y="379"/>
                  </a:lnTo>
                  <a:lnTo>
                    <a:pt x="352" y="379"/>
                  </a:lnTo>
                  <a:lnTo>
                    <a:pt x="351" y="379"/>
                  </a:lnTo>
                  <a:lnTo>
                    <a:pt x="349" y="378"/>
                  </a:lnTo>
                  <a:lnTo>
                    <a:pt x="348" y="378"/>
                  </a:lnTo>
                  <a:lnTo>
                    <a:pt x="347" y="378"/>
                  </a:lnTo>
                  <a:lnTo>
                    <a:pt x="346" y="378"/>
                  </a:lnTo>
                  <a:lnTo>
                    <a:pt x="346" y="379"/>
                  </a:lnTo>
                  <a:lnTo>
                    <a:pt x="345" y="379"/>
                  </a:lnTo>
                  <a:lnTo>
                    <a:pt x="344" y="380"/>
                  </a:lnTo>
                  <a:lnTo>
                    <a:pt x="343" y="381"/>
                  </a:lnTo>
                  <a:lnTo>
                    <a:pt x="341" y="382"/>
                  </a:lnTo>
                  <a:lnTo>
                    <a:pt x="340" y="382"/>
                  </a:lnTo>
                  <a:lnTo>
                    <a:pt x="339" y="383"/>
                  </a:lnTo>
                  <a:lnTo>
                    <a:pt x="338" y="383"/>
                  </a:lnTo>
                  <a:lnTo>
                    <a:pt x="336" y="383"/>
                  </a:lnTo>
                  <a:lnTo>
                    <a:pt x="335" y="383"/>
                  </a:lnTo>
                  <a:lnTo>
                    <a:pt x="335" y="383"/>
                  </a:lnTo>
                  <a:lnTo>
                    <a:pt x="334" y="383"/>
                  </a:lnTo>
                  <a:lnTo>
                    <a:pt x="333" y="382"/>
                  </a:lnTo>
                  <a:lnTo>
                    <a:pt x="332" y="382"/>
                  </a:lnTo>
                  <a:lnTo>
                    <a:pt x="331" y="381"/>
                  </a:lnTo>
                  <a:lnTo>
                    <a:pt x="329" y="379"/>
                  </a:lnTo>
                  <a:lnTo>
                    <a:pt x="328" y="379"/>
                  </a:lnTo>
                  <a:lnTo>
                    <a:pt x="327" y="378"/>
                  </a:lnTo>
                  <a:lnTo>
                    <a:pt x="327" y="378"/>
                  </a:lnTo>
                  <a:lnTo>
                    <a:pt x="326" y="376"/>
                  </a:lnTo>
                  <a:lnTo>
                    <a:pt x="325" y="375"/>
                  </a:lnTo>
                  <a:lnTo>
                    <a:pt x="325" y="375"/>
                  </a:lnTo>
                  <a:lnTo>
                    <a:pt x="324" y="374"/>
                  </a:lnTo>
                  <a:lnTo>
                    <a:pt x="324" y="374"/>
                  </a:lnTo>
                  <a:lnTo>
                    <a:pt x="323" y="374"/>
                  </a:lnTo>
                  <a:lnTo>
                    <a:pt x="323" y="374"/>
                  </a:lnTo>
                  <a:lnTo>
                    <a:pt x="322" y="374"/>
                  </a:lnTo>
                  <a:lnTo>
                    <a:pt x="322" y="374"/>
                  </a:lnTo>
                  <a:lnTo>
                    <a:pt x="320" y="374"/>
                  </a:lnTo>
                  <a:lnTo>
                    <a:pt x="320" y="375"/>
                  </a:lnTo>
                  <a:lnTo>
                    <a:pt x="318" y="375"/>
                  </a:lnTo>
                  <a:lnTo>
                    <a:pt x="317" y="376"/>
                  </a:lnTo>
                  <a:lnTo>
                    <a:pt x="317" y="376"/>
                  </a:lnTo>
                  <a:lnTo>
                    <a:pt x="316" y="376"/>
                  </a:lnTo>
                  <a:lnTo>
                    <a:pt x="316" y="377"/>
                  </a:lnTo>
                  <a:lnTo>
                    <a:pt x="314" y="379"/>
                  </a:lnTo>
                  <a:lnTo>
                    <a:pt x="313" y="380"/>
                  </a:lnTo>
                  <a:lnTo>
                    <a:pt x="312" y="380"/>
                  </a:lnTo>
                  <a:lnTo>
                    <a:pt x="312" y="381"/>
                  </a:lnTo>
                  <a:lnTo>
                    <a:pt x="311" y="381"/>
                  </a:lnTo>
                  <a:lnTo>
                    <a:pt x="310" y="382"/>
                  </a:lnTo>
                  <a:lnTo>
                    <a:pt x="310" y="382"/>
                  </a:lnTo>
                  <a:lnTo>
                    <a:pt x="309" y="382"/>
                  </a:lnTo>
                  <a:lnTo>
                    <a:pt x="309" y="382"/>
                  </a:lnTo>
                  <a:lnTo>
                    <a:pt x="308" y="382"/>
                  </a:lnTo>
                  <a:lnTo>
                    <a:pt x="307" y="382"/>
                  </a:lnTo>
                  <a:lnTo>
                    <a:pt x="305" y="382"/>
                  </a:lnTo>
                  <a:lnTo>
                    <a:pt x="304" y="382"/>
                  </a:lnTo>
                  <a:lnTo>
                    <a:pt x="304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2" y="383"/>
                  </a:lnTo>
                  <a:lnTo>
                    <a:pt x="302" y="383"/>
                  </a:lnTo>
                  <a:lnTo>
                    <a:pt x="301" y="383"/>
                  </a:lnTo>
                  <a:lnTo>
                    <a:pt x="301" y="384"/>
                  </a:lnTo>
                  <a:lnTo>
                    <a:pt x="300" y="385"/>
                  </a:lnTo>
                  <a:lnTo>
                    <a:pt x="300" y="386"/>
                  </a:lnTo>
                  <a:lnTo>
                    <a:pt x="299" y="389"/>
                  </a:lnTo>
                  <a:lnTo>
                    <a:pt x="298" y="390"/>
                  </a:lnTo>
                  <a:lnTo>
                    <a:pt x="298" y="390"/>
                  </a:lnTo>
                  <a:lnTo>
                    <a:pt x="298" y="391"/>
                  </a:lnTo>
                  <a:lnTo>
                    <a:pt x="297" y="392"/>
                  </a:lnTo>
                  <a:lnTo>
                    <a:pt x="297" y="392"/>
                  </a:lnTo>
                  <a:lnTo>
                    <a:pt x="296" y="392"/>
                  </a:lnTo>
                  <a:lnTo>
                    <a:pt x="295" y="393"/>
                  </a:lnTo>
                  <a:lnTo>
                    <a:pt x="295" y="393"/>
                  </a:lnTo>
                  <a:lnTo>
                    <a:pt x="293" y="393"/>
                  </a:lnTo>
                  <a:lnTo>
                    <a:pt x="291" y="393"/>
                  </a:lnTo>
                  <a:lnTo>
                    <a:pt x="290" y="393"/>
                  </a:lnTo>
                  <a:lnTo>
                    <a:pt x="288" y="393"/>
                  </a:lnTo>
                  <a:lnTo>
                    <a:pt x="286" y="393"/>
                  </a:lnTo>
                  <a:lnTo>
                    <a:pt x="285" y="394"/>
                  </a:lnTo>
                  <a:lnTo>
                    <a:pt x="282" y="395"/>
                  </a:lnTo>
                  <a:lnTo>
                    <a:pt x="281" y="395"/>
                  </a:lnTo>
                  <a:lnTo>
                    <a:pt x="279" y="396"/>
                  </a:lnTo>
                  <a:lnTo>
                    <a:pt x="278" y="397"/>
                  </a:lnTo>
                  <a:lnTo>
                    <a:pt x="277" y="397"/>
                  </a:lnTo>
                  <a:lnTo>
                    <a:pt x="277" y="398"/>
                  </a:lnTo>
                  <a:lnTo>
                    <a:pt x="276" y="399"/>
                  </a:lnTo>
                  <a:lnTo>
                    <a:pt x="275" y="400"/>
                  </a:lnTo>
                  <a:lnTo>
                    <a:pt x="274" y="402"/>
                  </a:lnTo>
                  <a:lnTo>
                    <a:pt x="272" y="403"/>
                  </a:lnTo>
                  <a:lnTo>
                    <a:pt x="271" y="404"/>
                  </a:lnTo>
                  <a:lnTo>
                    <a:pt x="270" y="405"/>
                  </a:lnTo>
                  <a:lnTo>
                    <a:pt x="269" y="406"/>
                  </a:lnTo>
                  <a:lnTo>
                    <a:pt x="268" y="407"/>
                  </a:lnTo>
                  <a:lnTo>
                    <a:pt x="266" y="408"/>
                  </a:lnTo>
                  <a:lnTo>
                    <a:pt x="265" y="409"/>
                  </a:lnTo>
                  <a:lnTo>
                    <a:pt x="264" y="409"/>
                  </a:lnTo>
                  <a:lnTo>
                    <a:pt x="263" y="410"/>
                  </a:lnTo>
                  <a:lnTo>
                    <a:pt x="263" y="410"/>
                  </a:lnTo>
                  <a:lnTo>
                    <a:pt x="261" y="412"/>
                  </a:lnTo>
                  <a:lnTo>
                    <a:pt x="259" y="414"/>
                  </a:lnTo>
                  <a:lnTo>
                    <a:pt x="259" y="414"/>
                  </a:lnTo>
                  <a:lnTo>
                    <a:pt x="258" y="416"/>
                  </a:lnTo>
                  <a:lnTo>
                    <a:pt x="256" y="418"/>
                  </a:lnTo>
                  <a:lnTo>
                    <a:pt x="256" y="418"/>
                  </a:lnTo>
                  <a:lnTo>
                    <a:pt x="255" y="419"/>
                  </a:lnTo>
                  <a:lnTo>
                    <a:pt x="255" y="419"/>
                  </a:lnTo>
                  <a:lnTo>
                    <a:pt x="254" y="419"/>
                  </a:lnTo>
                  <a:lnTo>
                    <a:pt x="254" y="419"/>
                  </a:lnTo>
                  <a:lnTo>
                    <a:pt x="253" y="419"/>
                  </a:lnTo>
                  <a:lnTo>
                    <a:pt x="253" y="419"/>
                  </a:lnTo>
                  <a:lnTo>
                    <a:pt x="252" y="419"/>
                  </a:lnTo>
                  <a:lnTo>
                    <a:pt x="251" y="419"/>
                  </a:lnTo>
                  <a:lnTo>
                    <a:pt x="249" y="417"/>
                  </a:lnTo>
                  <a:lnTo>
                    <a:pt x="248" y="417"/>
                  </a:lnTo>
                  <a:lnTo>
                    <a:pt x="247" y="416"/>
                  </a:lnTo>
                  <a:lnTo>
                    <a:pt x="246" y="416"/>
                  </a:lnTo>
                  <a:lnTo>
                    <a:pt x="245" y="415"/>
                  </a:lnTo>
                  <a:lnTo>
                    <a:pt x="244" y="415"/>
                  </a:lnTo>
                  <a:lnTo>
                    <a:pt x="243" y="415"/>
                  </a:lnTo>
                  <a:lnTo>
                    <a:pt x="242" y="415"/>
                  </a:lnTo>
                  <a:lnTo>
                    <a:pt x="238" y="416"/>
                  </a:lnTo>
                  <a:lnTo>
                    <a:pt x="237" y="416"/>
                  </a:lnTo>
                  <a:lnTo>
                    <a:pt x="236" y="416"/>
                  </a:lnTo>
                  <a:lnTo>
                    <a:pt x="236" y="416"/>
                  </a:lnTo>
                  <a:lnTo>
                    <a:pt x="235" y="416"/>
                  </a:lnTo>
                  <a:lnTo>
                    <a:pt x="235" y="417"/>
                  </a:lnTo>
                  <a:lnTo>
                    <a:pt x="235" y="417"/>
                  </a:lnTo>
                  <a:lnTo>
                    <a:pt x="234" y="417"/>
                  </a:lnTo>
                  <a:lnTo>
                    <a:pt x="232" y="420"/>
                  </a:lnTo>
                  <a:lnTo>
                    <a:pt x="231" y="422"/>
                  </a:lnTo>
                  <a:lnTo>
                    <a:pt x="231" y="422"/>
                  </a:lnTo>
                  <a:lnTo>
                    <a:pt x="230" y="423"/>
                  </a:lnTo>
                  <a:lnTo>
                    <a:pt x="229" y="424"/>
                  </a:lnTo>
                  <a:lnTo>
                    <a:pt x="229" y="424"/>
                  </a:lnTo>
                  <a:lnTo>
                    <a:pt x="228" y="425"/>
                  </a:lnTo>
                  <a:lnTo>
                    <a:pt x="228" y="425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26" y="425"/>
                  </a:lnTo>
                  <a:lnTo>
                    <a:pt x="225" y="425"/>
                  </a:lnTo>
                  <a:lnTo>
                    <a:pt x="224" y="424"/>
                  </a:lnTo>
                  <a:lnTo>
                    <a:pt x="223" y="424"/>
                  </a:lnTo>
                  <a:lnTo>
                    <a:pt x="222" y="424"/>
                  </a:lnTo>
                  <a:lnTo>
                    <a:pt x="222" y="423"/>
                  </a:lnTo>
                  <a:lnTo>
                    <a:pt x="220" y="422"/>
                  </a:lnTo>
                  <a:lnTo>
                    <a:pt x="219" y="421"/>
                  </a:lnTo>
                  <a:lnTo>
                    <a:pt x="218" y="421"/>
                  </a:lnTo>
                  <a:lnTo>
                    <a:pt x="217" y="421"/>
                  </a:lnTo>
                  <a:lnTo>
                    <a:pt x="217" y="421"/>
                  </a:lnTo>
                  <a:lnTo>
                    <a:pt x="216" y="421"/>
                  </a:lnTo>
                  <a:lnTo>
                    <a:pt x="215" y="421"/>
                  </a:lnTo>
                  <a:lnTo>
                    <a:pt x="214" y="421"/>
                  </a:lnTo>
                  <a:lnTo>
                    <a:pt x="213" y="421"/>
                  </a:lnTo>
                  <a:lnTo>
                    <a:pt x="212" y="421"/>
                  </a:lnTo>
                  <a:lnTo>
                    <a:pt x="211" y="422"/>
                  </a:lnTo>
                  <a:lnTo>
                    <a:pt x="211" y="422"/>
                  </a:lnTo>
                  <a:lnTo>
                    <a:pt x="210" y="422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2"/>
                  </a:lnTo>
                  <a:lnTo>
                    <a:pt x="209" y="421"/>
                  </a:lnTo>
                  <a:lnTo>
                    <a:pt x="208" y="419"/>
                  </a:lnTo>
                  <a:lnTo>
                    <a:pt x="208" y="418"/>
                  </a:lnTo>
                  <a:lnTo>
                    <a:pt x="207" y="418"/>
                  </a:lnTo>
                  <a:lnTo>
                    <a:pt x="207" y="417"/>
                  </a:lnTo>
                  <a:lnTo>
                    <a:pt x="206" y="416"/>
                  </a:lnTo>
                  <a:lnTo>
                    <a:pt x="206" y="416"/>
                  </a:lnTo>
                  <a:lnTo>
                    <a:pt x="205" y="415"/>
                  </a:lnTo>
                  <a:lnTo>
                    <a:pt x="203" y="414"/>
                  </a:lnTo>
                  <a:lnTo>
                    <a:pt x="202" y="413"/>
                  </a:lnTo>
                  <a:lnTo>
                    <a:pt x="201" y="412"/>
                  </a:lnTo>
                  <a:lnTo>
                    <a:pt x="199" y="412"/>
                  </a:lnTo>
                  <a:lnTo>
                    <a:pt x="197" y="411"/>
                  </a:lnTo>
                  <a:lnTo>
                    <a:pt x="196" y="410"/>
                  </a:lnTo>
                  <a:lnTo>
                    <a:pt x="195" y="410"/>
                  </a:lnTo>
                  <a:lnTo>
                    <a:pt x="194" y="409"/>
                  </a:lnTo>
                  <a:lnTo>
                    <a:pt x="193" y="408"/>
                  </a:lnTo>
                  <a:lnTo>
                    <a:pt x="192" y="407"/>
                  </a:lnTo>
                  <a:lnTo>
                    <a:pt x="192" y="407"/>
                  </a:lnTo>
                  <a:lnTo>
                    <a:pt x="191" y="404"/>
                  </a:lnTo>
                  <a:lnTo>
                    <a:pt x="190" y="404"/>
                  </a:lnTo>
                  <a:lnTo>
                    <a:pt x="190" y="403"/>
                  </a:lnTo>
                  <a:lnTo>
                    <a:pt x="189" y="402"/>
                  </a:lnTo>
                  <a:lnTo>
                    <a:pt x="189" y="402"/>
                  </a:lnTo>
                  <a:lnTo>
                    <a:pt x="188" y="402"/>
                  </a:lnTo>
                  <a:lnTo>
                    <a:pt x="187" y="402"/>
                  </a:lnTo>
                  <a:lnTo>
                    <a:pt x="187" y="402"/>
                  </a:lnTo>
                  <a:lnTo>
                    <a:pt x="186" y="402"/>
                  </a:lnTo>
                  <a:lnTo>
                    <a:pt x="184" y="401"/>
                  </a:lnTo>
                  <a:lnTo>
                    <a:pt x="183" y="401"/>
                  </a:lnTo>
                  <a:lnTo>
                    <a:pt x="183" y="401"/>
                  </a:lnTo>
                  <a:lnTo>
                    <a:pt x="183" y="401"/>
                  </a:lnTo>
                  <a:lnTo>
                    <a:pt x="182" y="401"/>
                  </a:lnTo>
                  <a:lnTo>
                    <a:pt x="182" y="400"/>
                  </a:lnTo>
                  <a:lnTo>
                    <a:pt x="182" y="400"/>
                  </a:lnTo>
                  <a:lnTo>
                    <a:pt x="182" y="399"/>
                  </a:lnTo>
                  <a:lnTo>
                    <a:pt x="182" y="399"/>
                  </a:lnTo>
                  <a:lnTo>
                    <a:pt x="182" y="398"/>
                  </a:lnTo>
                  <a:lnTo>
                    <a:pt x="182" y="398"/>
                  </a:lnTo>
                  <a:lnTo>
                    <a:pt x="183" y="397"/>
                  </a:lnTo>
                  <a:lnTo>
                    <a:pt x="184" y="396"/>
                  </a:lnTo>
                  <a:lnTo>
                    <a:pt x="185" y="394"/>
                  </a:lnTo>
                  <a:lnTo>
                    <a:pt x="186" y="393"/>
                  </a:lnTo>
                  <a:lnTo>
                    <a:pt x="187" y="392"/>
                  </a:lnTo>
                  <a:lnTo>
                    <a:pt x="188" y="391"/>
                  </a:lnTo>
                  <a:lnTo>
                    <a:pt x="190" y="388"/>
                  </a:lnTo>
                  <a:lnTo>
                    <a:pt x="191" y="388"/>
                  </a:lnTo>
                  <a:lnTo>
                    <a:pt x="191" y="387"/>
                  </a:lnTo>
                  <a:lnTo>
                    <a:pt x="192" y="386"/>
                  </a:lnTo>
                  <a:lnTo>
                    <a:pt x="192" y="385"/>
                  </a:lnTo>
                  <a:lnTo>
                    <a:pt x="193" y="383"/>
                  </a:lnTo>
                  <a:lnTo>
                    <a:pt x="193" y="382"/>
                  </a:lnTo>
                  <a:lnTo>
                    <a:pt x="194" y="381"/>
                  </a:lnTo>
                  <a:lnTo>
                    <a:pt x="196" y="379"/>
                  </a:lnTo>
                  <a:lnTo>
                    <a:pt x="196" y="378"/>
                  </a:lnTo>
                  <a:lnTo>
                    <a:pt x="196" y="377"/>
                  </a:lnTo>
                  <a:lnTo>
                    <a:pt x="196" y="377"/>
                  </a:lnTo>
                  <a:lnTo>
                    <a:pt x="197" y="376"/>
                  </a:lnTo>
                  <a:lnTo>
                    <a:pt x="197" y="374"/>
                  </a:lnTo>
                  <a:lnTo>
                    <a:pt x="197" y="373"/>
                  </a:lnTo>
                  <a:lnTo>
                    <a:pt x="198" y="372"/>
                  </a:lnTo>
                  <a:lnTo>
                    <a:pt x="198" y="371"/>
                  </a:lnTo>
                  <a:lnTo>
                    <a:pt x="199" y="369"/>
                  </a:lnTo>
                  <a:lnTo>
                    <a:pt x="200" y="368"/>
                  </a:lnTo>
                  <a:lnTo>
                    <a:pt x="201" y="367"/>
                  </a:lnTo>
                  <a:lnTo>
                    <a:pt x="201" y="366"/>
                  </a:lnTo>
                  <a:lnTo>
                    <a:pt x="202" y="366"/>
                  </a:lnTo>
                  <a:lnTo>
                    <a:pt x="202" y="366"/>
                  </a:lnTo>
                  <a:lnTo>
                    <a:pt x="202" y="365"/>
                  </a:lnTo>
                  <a:lnTo>
                    <a:pt x="203" y="365"/>
                  </a:lnTo>
                  <a:lnTo>
                    <a:pt x="206" y="365"/>
                  </a:lnTo>
                  <a:lnTo>
                    <a:pt x="208" y="364"/>
                  </a:lnTo>
                  <a:lnTo>
                    <a:pt x="209" y="364"/>
                  </a:lnTo>
                  <a:lnTo>
                    <a:pt x="210" y="363"/>
                  </a:lnTo>
                  <a:lnTo>
                    <a:pt x="210" y="363"/>
                  </a:lnTo>
                  <a:lnTo>
                    <a:pt x="211" y="363"/>
                  </a:lnTo>
                  <a:lnTo>
                    <a:pt x="211" y="362"/>
                  </a:lnTo>
                  <a:lnTo>
                    <a:pt x="211" y="362"/>
                  </a:lnTo>
                  <a:lnTo>
                    <a:pt x="212" y="361"/>
                  </a:lnTo>
                  <a:lnTo>
                    <a:pt x="212" y="360"/>
                  </a:lnTo>
                  <a:lnTo>
                    <a:pt x="212" y="359"/>
                  </a:lnTo>
                  <a:lnTo>
                    <a:pt x="212" y="358"/>
                  </a:lnTo>
                  <a:lnTo>
                    <a:pt x="212" y="358"/>
                  </a:lnTo>
                  <a:lnTo>
                    <a:pt x="212" y="357"/>
                  </a:lnTo>
                  <a:lnTo>
                    <a:pt x="212" y="356"/>
                  </a:lnTo>
                  <a:lnTo>
                    <a:pt x="211" y="355"/>
                  </a:lnTo>
                  <a:lnTo>
                    <a:pt x="209" y="352"/>
                  </a:lnTo>
                  <a:lnTo>
                    <a:pt x="209" y="352"/>
                  </a:lnTo>
                  <a:lnTo>
                    <a:pt x="208" y="351"/>
                  </a:lnTo>
                  <a:lnTo>
                    <a:pt x="207" y="351"/>
                  </a:lnTo>
                  <a:lnTo>
                    <a:pt x="206" y="349"/>
                  </a:lnTo>
                  <a:lnTo>
                    <a:pt x="204" y="349"/>
                  </a:lnTo>
                  <a:lnTo>
                    <a:pt x="204" y="348"/>
                  </a:lnTo>
                  <a:lnTo>
                    <a:pt x="203" y="347"/>
                  </a:lnTo>
                  <a:lnTo>
                    <a:pt x="203" y="347"/>
                  </a:lnTo>
                  <a:lnTo>
                    <a:pt x="202" y="346"/>
                  </a:lnTo>
                  <a:lnTo>
                    <a:pt x="202" y="346"/>
                  </a:lnTo>
                  <a:lnTo>
                    <a:pt x="202" y="345"/>
                  </a:lnTo>
                  <a:lnTo>
                    <a:pt x="202" y="345"/>
                  </a:lnTo>
                  <a:lnTo>
                    <a:pt x="202" y="344"/>
                  </a:lnTo>
                  <a:lnTo>
                    <a:pt x="202" y="343"/>
                  </a:lnTo>
                  <a:lnTo>
                    <a:pt x="203" y="343"/>
                  </a:lnTo>
                  <a:lnTo>
                    <a:pt x="202" y="342"/>
                  </a:lnTo>
                  <a:lnTo>
                    <a:pt x="202" y="342"/>
                  </a:lnTo>
                  <a:lnTo>
                    <a:pt x="202" y="341"/>
                  </a:lnTo>
                  <a:lnTo>
                    <a:pt x="202" y="340"/>
                  </a:lnTo>
                  <a:lnTo>
                    <a:pt x="201" y="340"/>
                  </a:lnTo>
                  <a:lnTo>
                    <a:pt x="201" y="340"/>
                  </a:lnTo>
                  <a:lnTo>
                    <a:pt x="200" y="339"/>
                  </a:lnTo>
                  <a:lnTo>
                    <a:pt x="199" y="339"/>
                  </a:lnTo>
                  <a:lnTo>
                    <a:pt x="198" y="338"/>
                  </a:lnTo>
                  <a:lnTo>
                    <a:pt x="198" y="338"/>
                  </a:lnTo>
                  <a:lnTo>
                    <a:pt x="197" y="338"/>
                  </a:lnTo>
                  <a:lnTo>
                    <a:pt x="197" y="338"/>
                  </a:lnTo>
                  <a:lnTo>
                    <a:pt x="196" y="338"/>
                  </a:lnTo>
                  <a:lnTo>
                    <a:pt x="196" y="338"/>
                  </a:lnTo>
                  <a:lnTo>
                    <a:pt x="195" y="338"/>
                  </a:lnTo>
                  <a:lnTo>
                    <a:pt x="195" y="338"/>
                  </a:lnTo>
                  <a:lnTo>
                    <a:pt x="193" y="339"/>
                  </a:lnTo>
                  <a:lnTo>
                    <a:pt x="193" y="339"/>
                  </a:lnTo>
                  <a:lnTo>
                    <a:pt x="192" y="339"/>
                  </a:lnTo>
                  <a:lnTo>
                    <a:pt x="190" y="340"/>
                  </a:lnTo>
                  <a:lnTo>
                    <a:pt x="188" y="340"/>
                  </a:lnTo>
                  <a:lnTo>
                    <a:pt x="187" y="340"/>
                  </a:lnTo>
                  <a:lnTo>
                    <a:pt x="184" y="341"/>
                  </a:lnTo>
                  <a:lnTo>
                    <a:pt x="183" y="342"/>
                  </a:lnTo>
                  <a:lnTo>
                    <a:pt x="182" y="342"/>
                  </a:lnTo>
                  <a:lnTo>
                    <a:pt x="181" y="342"/>
                  </a:lnTo>
                  <a:lnTo>
                    <a:pt x="179" y="342"/>
                  </a:lnTo>
                  <a:lnTo>
                    <a:pt x="177" y="342"/>
                  </a:lnTo>
                  <a:lnTo>
                    <a:pt x="175" y="342"/>
                  </a:lnTo>
                  <a:lnTo>
                    <a:pt x="173" y="342"/>
                  </a:lnTo>
                  <a:lnTo>
                    <a:pt x="172" y="342"/>
                  </a:lnTo>
                  <a:lnTo>
                    <a:pt x="171" y="342"/>
                  </a:lnTo>
                  <a:lnTo>
                    <a:pt x="168" y="341"/>
                  </a:lnTo>
                  <a:lnTo>
                    <a:pt x="167" y="341"/>
                  </a:lnTo>
                  <a:lnTo>
                    <a:pt x="166" y="340"/>
                  </a:lnTo>
                  <a:lnTo>
                    <a:pt x="166" y="340"/>
                  </a:lnTo>
                  <a:lnTo>
                    <a:pt x="165" y="340"/>
                  </a:lnTo>
                  <a:lnTo>
                    <a:pt x="164" y="341"/>
                  </a:lnTo>
                  <a:lnTo>
                    <a:pt x="163" y="341"/>
                  </a:lnTo>
                  <a:lnTo>
                    <a:pt x="161" y="341"/>
                  </a:lnTo>
                  <a:lnTo>
                    <a:pt x="161" y="342"/>
                  </a:lnTo>
                  <a:lnTo>
                    <a:pt x="161" y="342"/>
                  </a:lnTo>
                  <a:lnTo>
                    <a:pt x="160" y="342"/>
                  </a:lnTo>
                  <a:lnTo>
                    <a:pt x="160" y="342"/>
                  </a:lnTo>
                  <a:lnTo>
                    <a:pt x="159" y="342"/>
                  </a:lnTo>
                  <a:lnTo>
                    <a:pt x="159" y="341"/>
                  </a:lnTo>
                  <a:lnTo>
                    <a:pt x="156" y="340"/>
                  </a:lnTo>
                  <a:lnTo>
                    <a:pt x="152" y="337"/>
                  </a:lnTo>
                  <a:lnTo>
                    <a:pt x="150" y="336"/>
                  </a:lnTo>
                  <a:lnTo>
                    <a:pt x="148" y="335"/>
                  </a:lnTo>
                  <a:lnTo>
                    <a:pt x="148" y="334"/>
                  </a:lnTo>
                  <a:lnTo>
                    <a:pt x="145" y="332"/>
                  </a:lnTo>
                  <a:lnTo>
                    <a:pt x="142" y="330"/>
                  </a:lnTo>
                  <a:lnTo>
                    <a:pt x="141" y="329"/>
                  </a:lnTo>
                  <a:lnTo>
                    <a:pt x="139" y="327"/>
                  </a:lnTo>
                  <a:lnTo>
                    <a:pt x="139" y="327"/>
                  </a:lnTo>
                  <a:lnTo>
                    <a:pt x="138" y="326"/>
                  </a:lnTo>
                  <a:lnTo>
                    <a:pt x="138" y="325"/>
                  </a:lnTo>
                  <a:lnTo>
                    <a:pt x="137" y="324"/>
                  </a:lnTo>
                  <a:lnTo>
                    <a:pt x="136" y="323"/>
                  </a:lnTo>
                  <a:lnTo>
                    <a:pt x="136" y="321"/>
                  </a:lnTo>
                  <a:lnTo>
                    <a:pt x="136" y="320"/>
                  </a:lnTo>
                  <a:lnTo>
                    <a:pt x="136" y="319"/>
                  </a:lnTo>
                  <a:lnTo>
                    <a:pt x="136" y="317"/>
                  </a:lnTo>
                  <a:lnTo>
                    <a:pt x="136" y="316"/>
                  </a:lnTo>
                  <a:lnTo>
                    <a:pt x="136" y="313"/>
                  </a:lnTo>
                  <a:lnTo>
                    <a:pt x="137" y="311"/>
                  </a:lnTo>
                  <a:lnTo>
                    <a:pt x="137" y="310"/>
                  </a:lnTo>
                  <a:lnTo>
                    <a:pt x="137" y="309"/>
                  </a:lnTo>
                  <a:lnTo>
                    <a:pt x="136" y="308"/>
                  </a:lnTo>
                  <a:lnTo>
                    <a:pt x="136" y="307"/>
                  </a:lnTo>
                  <a:lnTo>
                    <a:pt x="136" y="305"/>
                  </a:lnTo>
                  <a:lnTo>
                    <a:pt x="136" y="304"/>
                  </a:lnTo>
                  <a:lnTo>
                    <a:pt x="135" y="303"/>
                  </a:lnTo>
                  <a:lnTo>
                    <a:pt x="135" y="302"/>
                  </a:lnTo>
                  <a:lnTo>
                    <a:pt x="134" y="301"/>
                  </a:lnTo>
                  <a:lnTo>
                    <a:pt x="134" y="301"/>
                  </a:lnTo>
                  <a:lnTo>
                    <a:pt x="133" y="300"/>
                  </a:lnTo>
                  <a:lnTo>
                    <a:pt x="133" y="300"/>
                  </a:lnTo>
                  <a:lnTo>
                    <a:pt x="132" y="300"/>
                  </a:lnTo>
                  <a:lnTo>
                    <a:pt x="132" y="299"/>
                  </a:lnTo>
                  <a:lnTo>
                    <a:pt x="131" y="299"/>
                  </a:lnTo>
                  <a:lnTo>
                    <a:pt x="130" y="299"/>
                  </a:lnTo>
                  <a:lnTo>
                    <a:pt x="129" y="299"/>
                  </a:lnTo>
                  <a:lnTo>
                    <a:pt x="128" y="299"/>
                  </a:lnTo>
                  <a:lnTo>
                    <a:pt x="127" y="299"/>
                  </a:lnTo>
                  <a:lnTo>
                    <a:pt x="124" y="299"/>
                  </a:lnTo>
                  <a:lnTo>
                    <a:pt x="121" y="300"/>
                  </a:lnTo>
                  <a:lnTo>
                    <a:pt x="120" y="300"/>
                  </a:lnTo>
                  <a:lnTo>
                    <a:pt x="119" y="300"/>
                  </a:lnTo>
                  <a:lnTo>
                    <a:pt x="116" y="300"/>
                  </a:lnTo>
                  <a:lnTo>
                    <a:pt x="115" y="301"/>
                  </a:lnTo>
                  <a:lnTo>
                    <a:pt x="111" y="301"/>
                  </a:lnTo>
                  <a:lnTo>
                    <a:pt x="111" y="301"/>
                  </a:lnTo>
                  <a:lnTo>
                    <a:pt x="110" y="301"/>
                  </a:lnTo>
                  <a:lnTo>
                    <a:pt x="109" y="301"/>
                  </a:lnTo>
                  <a:lnTo>
                    <a:pt x="109" y="301"/>
                  </a:lnTo>
                  <a:lnTo>
                    <a:pt x="109" y="300"/>
                  </a:lnTo>
                  <a:lnTo>
                    <a:pt x="107" y="299"/>
                  </a:lnTo>
                  <a:lnTo>
                    <a:pt x="107" y="299"/>
                  </a:lnTo>
                  <a:lnTo>
                    <a:pt x="106" y="298"/>
                  </a:lnTo>
                  <a:lnTo>
                    <a:pt x="105" y="297"/>
                  </a:lnTo>
                  <a:lnTo>
                    <a:pt x="104" y="297"/>
                  </a:lnTo>
                  <a:lnTo>
                    <a:pt x="101" y="296"/>
                  </a:lnTo>
                  <a:lnTo>
                    <a:pt x="98" y="295"/>
                  </a:lnTo>
                  <a:lnTo>
                    <a:pt x="93" y="293"/>
                  </a:lnTo>
                  <a:lnTo>
                    <a:pt x="92" y="293"/>
                  </a:lnTo>
                  <a:lnTo>
                    <a:pt x="91" y="293"/>
                  </a:lnTo>
                  <a:lnTo>
                    <a:pt x="91" y="293"/>
                  </a:lnTo>
                  <a:lnTo>
                    <a:pt x="90" y="293"/>
                  </a:lnTo>
                  <a:lnTo>
                    <a:pt x="90" y="293"/>
                  </a:lnTo>
                  <a:lnTo>
                    <a:pt x="89" y="294"/>
                  </a:lnTo>
                  <a:lnTo>
                    <a:pt x="88" y="294"/>
                  </a:lnTo>
                  <a:lnTo>
                    <a:pt x="85" y="295"/>
                  </a:lnTo>
                  <a:lnTo>
                    <a:pt x="84" y="296"/>
                  </a:lnTo>
                  <a:lnTo>
                    <a:pt x="83" y="296"/>
                  </a:lnTo>
                  <a:lnTo>
                    <a:pt x="82" y="296"/>
                  </a:lnTo>
                  <a:lnTo>
                    <a:pt x="81" y="297"/>
                  </a:lnTo>
                  <a:lnTo>
                    <a:pt x="80" y="297"/>
                  </a:lnTo>
                  <a:lnTo>
                    <a:pt x="79" y="296"/>
                  </a:lnTo>
                  <a:lnTo>
                    <a:pt x="78" y="296"/>
                  </a:lnTo>
                  <a:lnTo>
                    <a:pt x="77" y="296"/>
                  </a:lnTo>
                  <a:lnTo>
                    <a:pt x="76" y="295"/>
                  </a:lnTo>
                  <a:lnTo>
                    <a:pt x="75" y="295"/>
                  </a:lnTo>
                  <a:lnTo>
                    <a:pt x="75" y="295"/>
                  </a:lnTo>
                  <a:lnTo>
                    <a:pt x="75" y="294"/>
                  </a:lnTo>
                  <a:lnTo>
                    <a:pt x="74" y="293"/>
                  </a:lnTo>
                  <a:lnTo>
                    <a:pt x="72" y="291"/>
                  </a:lnTo>
                  <a:lnTo>
                    <a:pt x="71" y="290"/>
                  </a:lnTo>
                  <a:lnTo>
                    <a:pt x="70" y="288"/>
                  </a:lnTo>
                  <a:lnTo>
                    <a:pt x="69" y="288"/>
                  </a:lnTo>
                  <a:lnTo>
                    <a:pt x="68" y="287"/>
                  </a:lnTo>
                  <a:lnTo>
                    <a:pt x="68" y="287"/>
                  </a:lnTo>
                  <a:lnTo>
                    <a:pt x="67" y="287"/>
                  </a:lnTo>
                  <a:lnTo>
                    <a:pt x="66" y="287"/>
                  </a:lnTo>
                  <a:lnTo>
                    <a:pt x="66" y="286"/>
                  </a:lnTo>
                  <a:lnTo>
                    <a:pt x="65" y="286"/>
                  </a:lnTo>
                  <a:lnTo>
                    <a:pt x="62" y="286"/>
                  </a:lnTo>
                  <a:lnTo>
                    <a:pt x="61" y="286"/>
                  </a:lnTo>
                  <a:lnTo>
                    <a:pt x="61" y="286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8" y="285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3"/>
                  </a:lnTo>
                  <a:lnTo>
                    <a:pt x="59" y="283"/>
                  </a:lnTo>
                  <a:lnTo>
                    <a:pt x="60" y="282"/>
                  </a:lnTo>
                  <a:lnTo>
                    <a:pt x="60" y="282"/>
                  </a:lnTo>
                  <a:lnTo>
                    <a:pt x="61" y="282"/>
                  </a:lnTo>
                  <a:lnTo>
                    <a:pt x="61" y="281"/>
                  </a:lnTo>
                  <a:lnTo>
                    <a:pt x="61" y="281"/>
                  </a:lnTo>
                  <a:lnTo>
                    <a:pt x="61" y="280"/>
                  </a:lnTo>
                  <a:lnTo>
                    <a:pt x="61" y="279"/>
                  </a:lnTo>
                  <a:lnTo>
                    <a:pt x="61" y="278"/>
                  </a:lnTo>
                  <a:lnTo>
                    <a:pt x="61" y="278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9" y="275"/>
                  </a:lnTo>
                  <a:lnTo>
                    <a:pt x="57" y="274"/>
                  </a:lnTo>
                  <a:lnTo>
                    <a:pt x="56" y="274"/>
                  </a:lnTo>
                  <a:lnTo>
                    <a:pt x="52" y="272"/>
                  </a:lnTo>
                  <a:lnTo>
                    <a:pt x="51" y="272"/>
                  </a:lnTo>
                  <a:lnTo>
                    <a:pt x="51" y="271"/>
                  </a:lnTo>
                  <a:lnTo>
                    <a:pt x="49" y="271"/>
                  </a:lnTo>
                  <a:lnTo>
                    <a:pt x="48" y="270"/>
                  </a:lnTo>
                  <a:lnTo>
                    <a:pt x="46" y="269"/>
                  </a:lnTo>
                  <a:lnTo>
                    <a:pt x="44" y="267"/>
                  </a:lnTo>
                  <a:lnTo>
                    <a:pt x="44" y="266"/>
                  </a:lnTo>
                  <a:lnTo>
                    <a:pt x="43" y="266"/>
                  </a:lnTo>
                  <a:lnTo>
                    <a:pt x="42" y="266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30" y="269"/>
                  </a:lnTo>
                  <a:lnTo>
                    <a:pt x="29" y="269"/>
                  </a:lnTo>
                  <a:lnTo>
                    <a:pt x="28" y="270"/>
                  </a:lnTo>
                  <a:lnTo>
                    <a:pt x="27" y="270"/>
                  </a:lnTo>
                  <a:lnTo>
                    <a:pt x="26" y="269"/>
                  </a:lnTo>
                  <a:lnTo>
                    <a:pt x="25" y="269"/>
                  </a:lnTo>
                  <a:lnTo>
                    <a:pt x="25" y="269"/>
                  </a:lnTo>
                  <a:lnTo>
                    <a:pt x="24" y="269"/>
                  </a:lnTo>
                  <a:lnTo>
                    <a:pt x="23" y="268"/>
                  </a:lnTo>
                  <a:lnTo>
                    <a:pt x="21" y="266"/>
                  </a:lnTo>
                  <a:lnTo>
                    <a:pt x="18" y="264"/>
                  </a:lnTo>
                  <a:lnTo>
                    <a:pt x="17" y="262"/>
                  </a:lnTo>
                  <a:lnTo>
                    <a:pt x="15" y="260"/>
                  </a:lnTo>
                  <a:lnTo>
                    <a:pt x="15" y="259"/>
                  </a:lnTo>
                  <a:lnTo>
                    <a:pt x="11" y="256"/>
                  </a:lnTo>
                  <a:lnTo>
                    <a:pt x="11" y="255"/>
                  </a:lnTo>
                  <a:lnTo>
                    <a:pt x="10" y="255"/>
                  </a:lnTo>
                  <a:lnTo>
                    <a:pt x="8" y="252"/>
                  </a:lnTo>
                  <a:lnTo>
                    <a:pt x="6" y="249"/>
                  </a:lnTo>
                  <a:lnTo>
                    <a:pt x="5" y="248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5" y="243"/>
                  </a:lnTo>
                  <a:lnTo>
                    <a:pt x="5" y="242"/>
                  </a:lnTo>
                  <a:lnTo>
                    <a:pt x="6" y="241"/>
                  </a:lnTo>
                  <a:lnTo>
                    <a:pt x="7" y="240"/>
                  </a:lnTo>
                  <a:lnTo>
                    <a:pt x="8" y="239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4"/>
                  </a:lnTo>
                  <a:lnTo>
                    <a:pt x="8" y="233"/>
                  </a:lnTo>
                  <a:lnTo>
                    <a:pt x="8" y="232"/>
                  </a:lnTo>
                  <a:lnTo>
                    <a:pt x="7" y="232"/>
                  </a:lnTo>
                  <a:lnTo>
                    <a:pt x="7" y="231"/>
                  </a:lnTo>
                  <a:lnTo>
                    <a:pt x="6" y="230"/>
                  </a:lnTo>
                  <a:lnTo>
                    <a:pt x="4" y="228"/>
                  </a:lnTo>
                  <a:lnTo>
                    <a:pt x="3" y="228"/>
                  </a:lnTo>
                  <a:lnTo>
                    <a:pt x="2" y="227"/>
                  </a:lnTo>
                  <a:lnTo>
                    <a:pt x="1" y="226"/>
                  </a:lnTo>
                  <a:lnTo>
                    <a:pt x="0" y="225"/>
                  </a:lnTo>
                  <a:lnTo>
                    <a:pt x="0" y="224"/>
                  </a:lnTo>
                  <a:lnTo>
                    <a:pt x="0" y="223"/>
                  </a:lnTo>
                  <a:lnTo>
                    <a:pt x="0" y="222"/>
                  </a:lnTo>
                  <a:lnTo>
                    <a:pt x="0" y="221"/>
                  </a:lnTo>
                  <a:lnTo>
                    <a:pt x="0" y="221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1" y="215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09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1"/>
                  </a:lnTo>
                  <a:lnTo>
                    <a:pt x="4" y="200"/>
                  </a:lnTo>
                  <a:lnTo>
                    <a:pt x="5" y="198"/>
                  </a:lnTo>
                  <a:lnTo>
                    <a:pt x="6" y="195"/>
                  </a:lnTo>
                  <a:lnTo>
                    <a:pt x="7" y="192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7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9" y="180"/>
                  </a:lnTo>
                  <a:lnTo>
                    <a:pt x="9" y="179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9" y="172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8" y="169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7" y="166"/>
                  </a:lnTo>
                  <a:lnTo>
                    <a:pt x="5" y="163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9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1" y="156"/>
                  </a:lnTo>
                  <a:lnTo>
                    <a:pt x="11" y="155"/>
                  </a:lnTo>
                  <a:lnTo>
                    <a:pt x="12" y="155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1" y="146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3" y="141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7" y="133"/>
                  </a:lnTo>
                  <a:lnTo>
                    <a:pt x="22" y="131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9" y="120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0"/>
                  </a:lnTo>
                  <a:lnTo>
                    <a:pt x="32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22"/>
                  </a:lnTo>
                  <a:lnTo>
                    <a:pt x="43" y="122"/>
                  </a:lnTo>
                  <a:lnTo>
                    <a:pt x="47" y="123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8" y="121"/>
                  </a:lnTo>
                  <a:lnTo>
                    <a:pt x="61" y="120"/>
                  </a:lnTo>
                  <a:lnTo>
                    <a:pt x="63" y="119"/>
                  </a:lnTo>
                  <a:lnTo>
                    <a:pt x="64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20"/>
                  </a:lnTo>
                  <a:lnTo>
                    <a:pt x="70" y="120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7" y="124"/>
                  </a:lnTo>
                  <a:lnTo>
                    <a:pt x="78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1" y="123"/>
                  </a:lnTo>
                  <a:lnTo>
                    <a:pt x="81" y="122"/>
                  </a:lnTo>
                  <a:lnTo>
                    <a:pt x="82" y="121"/>
                  </a:lnTo>
                  <a:lnTo>
                    <a:pt x="82" y="120"/>
                  </a:lnTo>
                  <a:lnTo>
                    <a:pt x="83" y="118"/>
                  </a:lnTo>
                  <a:lnTo>
                    <a:pt x="84" y="118"/>
                  </a:lnTo>
                  <a:lnTo>
                    <a:pt x="84" y="117"/>
                  </a:lnTo>
                  <a:lnTo>
                    <a:pt x="84" y="117"/>
                  </a:lnTo>
                  <a:lnTo>
                    <a:pt x="85" y="117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9" y="115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5" y="115"/>
                  </a:lnTo>
                  <a:lnTo>
                    <a:pt x="96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100" y="114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4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5" y="101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3" y="97"/>
                  </a:lnTo>
                  <a:lnTo>
                    <a:pt x="102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3"/>
                  </a:lnTo>
                  <a:lnTo>
                    <a:pt x="98" y="93"/>
                  </a:lnTo>
                  <a:lnTo>
                    <a:pt x="97" y="92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6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3"/>
                  </a:lnTo>
                  <a:lnTo>
                    <a:pt x="85" y="81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5" y="78"/>
                  </a:lnTo>
                  <a:lnTo>
                    <a:pt x="86" y="77"/>
                  </a:lnTo>
                  <a:lnTo>
                    <a:pt x="86" y="76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8" y="71"/>
                  </a:lnTo>
                  <a:lnTo>
                    <a:pt x="88" y="70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7" y="58"/>
                  </a:lnTo>
                  <a:lnTo>
                    <a:pt x="98" y="56"/>
                  </a:lnTo>
                  <a:lnTo>
                    <a:pt x="98" y="55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3" y="49"/>
                  </a:lnTo>
                  <a:lnTo>
                    <a:pt x="104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6" y="48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4" y="49"/>
                  </a:lnTo>
                  <a:lnTo>
                    <a:pt x="115" y="48"/>
                  </a:lnTo>
                  <a:lnTo>
                    <a:pt x="118" y="47"/>
                  </a:lnTo>
                  <a:lnTo>
                    <a:pt x="119" y="46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4" y="44"/>
                  </a:lnTo>
                  <a:lnTo>
                    <a:pt x="126" y="44"/>
                  </a:lnTo>
                  <a:lnTo>
                    <a:pt x="129" y="43"/>
                  </a:lnTo>
                  <a:lnTo>
                    <a:pt x="131" y="42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6" y="41"/>
                  </a:lnTo>
                  <a:lnTo>
                    <a:pt x="137" y="41"/>
                  </a:lnTo>
                  <a:lnTo>
                    <a:pt x="138" y="40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41" y="38"/>
                  </a:lnTo>
                  <a:lnTo>
                    <a:pt x="142" y="37"/>
                  </a:lnTo>
                  <a:lnTo>
                    <a:pt x="143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7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4" y="31"/>
                  </a:lnTo>
                  <a:lnTo>
                    <a:pt x="155" y="31"/>
                  </a:lnTo>
                  <a:lnTo>
                    <a:pt x="156" y="31"/>
                  </a:lnTo>
                  <a:lnTo>
                    <a:pt x="157" y="31"/>
                  </a:lnTo>
                  <a:lnTo>
                    <a:pt x="158" y="31"/>
                  </a:lnTo>
                  <a:lnTo>
                    <a:pt x="158" y="30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7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5"/>
                  </a:lnTo>
                  <a:lnTo>
                    <a:pt x="160" y="24"/>
                  </a:lnTo>
                  <a:lnTo>
                    <a:pt x="159" y="23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7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4"/>
                  </a:lnTo>
                  <a:lnTo>
                    <a:pt x="160" y="13"/>
                  </a:lnTo>
                  <a:lnTo>
                    <a:pt x="162" y="12"/>
                  </a:lnTo>
                  <a:lnTo>
                    <a:pt x="162" y="11"/>
                  </a:lnTo>
                  <a:lnTo>
                    <a:pt x="163" y="11"/>
                  </a:lnTo>
                  <a:lnTo>
                    <a:pt x="163" y="10"/>
                  </a:lnTo>
                  <a:lnTo>
                    <a:pt x="164" y="10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9"/>
                  </a:lnTo>
                  <a:lnTo>
                    <a:pt x="170" y="9"/>
                  </a:lnTo>
                  <a:lnTo>
                    <a:pt x="171" y="9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8" y="4"/>
                  </a:lnTo>
                  <a:lnTo>
                    <a:pt x="179" y="3"/>
                  </a:lnTo>
                  <a:lnTo>
                    <a:pt x="179" y="2"/>
                  </a:lnTo>
                  <a:lnTo>
                    <a:pt x="180" y="2"/>
                  </a:lnTo>
                  <a:lnTo>
                    <a:pt x="180" y="1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80" y="1"/>
                  </a:lnTo>
                  <a:lnTo>
                    <a:pt x="185" y="4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Freeform 29">
              <a:extLst>
                <a:ext uri="{FF2B5EF4-FFF2-40B4-BE49-F238E27FC236}">
                  <a16:creationId xmlns:a16="http://schemas.microsoft.com/office/drawing/2014/main" id="{BE0A36EF-EC70-1B36-1750-F0B0C7EAB9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8" y="3422"/>
              <a:ext cx="399" cy="421"/>
            </a:xfrm>
            <a:custGeom>
              <a:avLst/>
              <a:gdLst>
                <a:gd name="T0" fmla="*/ 157 w 399"/>
                <a:gd name="T1" fmla="*/ 19 h 421"/>
                <a:gd name="T2" fmla="*/ 177 w 399"/>
                <a:gd name="T3" fmla="*/ 20 h 421"/>
                <a:gd name="T4" fmla="*/ 196 w 399"/>
                <a:gd name="T5" fmla="*/ 32 h 421"/>
                <a:gd name="T6" fmla="*/ 208 w 399"/>
                <a:gd name="T7" fmla="*/ 42 h 421"/>
                <a:gd name="T8" fmla="*/ 228 w 399"/>
                <a:gd name="T9" fmla="*/ 51 h 421"/>
                <a:gd name="T10" fmla="*/ 231 w 399"/>
                <a:gd name="T11" fmla="*/ 64 h 421"/>
                <a:gd name="T12" fmla="*/ 256 w 399"/>
                <a:gd name="T13" fmla="*/ 75 h 421"/>
                <a:gd name="T14" fmla="*/ 270 w 399"/>
                <a:gd name="T15" fmla="*/ 56 h 421"/>
                <a:gd name="T16" fmla="*/ 283 w 399"/>
                <a:gd name="T17" fmla="*/ 61 h 421"/>
                <a:gd name="T18" fmla="*/ 304 w 399"/>
                <a:gd name="T19" fmla="*/ 74 h 421"/>
                <a:gd name="T20" fmla="*/ 332 w 399"/>
                <a:gd name="T21" fmla="*/ 81 h 421"/>
                <a:gd name="T22" fmla="*/ 361 w 399"/>
                <a:gd name="T23" fmla="*/ 104 h 421"/>
                <a:gd name="T24" fmla="*/ 392 w 399"/>
                <a:gd name="T25" fmla="*/ 123 h 421"/>
                <a:gd name="T26" fmla="*/ 392 w 399"/>
                <a:gd name="T27" fmla="*/ 141 h 421"/>
                <a:gd name="T28" fmla="*/ 397 w 399"/>
                <a:gd name="T29" fmla="*/ 153 h 421"/>
                <a:gd name="T30" fmla="*/ 384 w 399"/>
                <a:gd name="T31" fmla="*/ 162 h 421"/>
                <a:gd name="T32" fmla="*/ 390 w 399"/>
                <a:gd name="T33" fmla="*/ 174 h 421"/>
                <a:gd name="T34" fmla="*/ 382 w 399"/>
                <a:gd name="T35" fmla="*/ 181 h 421"/>
                <a:gd name="T36" fmla="*/ 371 w 399"/>
                <a:gd name="T37" fmla="*/ 178 h 421"/>
                <a:gd name="T38" fmla="*/ 373 w 399"/>
                <a:gd name="T39" fmla="*/ 186 h 421"/>
                <a:gd name="T40" fmla="*/ 362 w 399"/>
                <a:gd name="T41" fmla="*/ 193 h 421"/>
                <a:gd name="T42" fmla="*/ 347 w 399"/>
                <a:gd name="T43" fmla="*/ 209 h 421"/>
                <a:gd name="T44" fmla="*/ 345 w 399"/>
                <a:gd name="T45" fmla="*/ 230 h 421"/>
                <a:gd name="T46" fmla="*/ 353 w 399"/>
                <a:gd name="T47" fmla="*/ 242 h 421"/>
                <a:gd name="T48" fmla="*/ 362 w 399"/>
                <a:gd name="T49" fmla="*/ 249 h 421"/>
                <a:gd name="T50" fmla="*/ 359 w 399"/>
                <a:gd name="T51" fmla="*/ 267 h 421"/>
                <a:gd name="T52" fmla="*/ 352 w 399"/>
                <a:gd name="T53" fmla="*/ 280 h 421"/>
                <a:gd name="T54" fmla="*/ 351 w 399"/>
                <a:gd name="T55" fmla="*/ 294 h 421"/>
                <a:gd name="T56" fmla="*/ 357 w 399"/>
                <a:gd name="T57" fmla="*/ 308 h 421"/>
                <a:gd name="T58" fmla="*/ 348 w 399"/>
                <a:gd name="T59" fmla="*/ 321 h 421"/>
                <a:gd name="T60" fmla="*/ 342 w 399"/>
                <a:gd name="T61" fmla="*/ 330 h 421"/>
                <a:gd name="T62" fmla="*/ 351 w 399"/>
                <a:gd name="T63" fmla="*/ 343 h 421"/>
                <a:gd name="T64" fmla="*/ 342 w 399"/>
                <a:gd name="T65" fmla="*/ 356 h 421"/>
                <a:gd name="T66" fmla="*/ 320 w 399"/>
                <a:gd name="T67" fmla="*/ 363 h 421"/>
                <a:gd name="T68" fmla="*/ 312 w 399"/>
                <a:gd name="T69" fmla="*/ 375 h 421"/>
                <a:gd name="T70" fmla="*/ 286 w 399"/>
                <a:gd name="T71" fmla="*/ 376 h 421"/>
                <a:gd name="T72" fmla="*/ 268 w 399"/>
                <a:gd name="T73" fmla="*/ 372 h 421"/>
                <a:gd name="T74" fmla="*/ 255 w 399"/>
                <a:gd name="T75" fmla="*/ 376 h 421"/>
                <a:gd name="T76" fmla="*/ 244 w 399"/>
                <a:gd name="T77" fmla="*/ 379 h 421"/>
                <a:gd name="T78" fmla="*/ 230 w 399"/>
                <a:gd name="T79" fmla="*/ 389 h 421"/>
                <a:gd name="T80" fmla="*/ 208 w 399"/>
                <a:gd name="T81" fmla="*/ 404 h 421"/>
                <a:gd name="T82" fmla="*/ 194 w 399"/>
                <a:gd name="T83" fmla="*/ 415 h 421"/>
                <a:gd name="T84" fmla="*/ 176 w 399"/>
                <a:gd name="T85" fmla="*/ 413 h 421"/>
                <a:gd name="T86" fmla="*/ 162 w 399"/>
                <a:gd name="T87" fmla="*/ 418 h 421"/>
                <a:gd name="T88" fmla="*/ 152 w 399"/>
                <a:gd name="T89" fmla="*/ 418 h 421"/>
                <a:gd name="T90" fmla="*/ 135 w 399"/>
                <a:gd name="T91" fmla="*/ 404 h 421"/>
                <a:gd name="T92" fmla="*/ 124 w 399"/>
                <a:gd name="T93" fmla="*/ 396 h 421"/>
                <a:gd name="T94" fmla="*/ 135 w 399"/>
                <a:gd name="T95" fmla="*/ 379 h 421"/>
                <a:gd name="T96" fmla="*/ 144 w 399"/>
                <a:gd name="T97" fmla="*/ 362 h 421"/>
                <a:gd name="T98" fmla="*/ 154 w 399"/>
                <a:gd name="T99" fmla="*/ 352 h 421"/>
                <a:gd name="T100" fmla="*/ 145 w 399"/>
                <a:gd name="T101" fmla="*/ 339 h 421"/>
                <a:gd name="T102" fmla="*/ 135 w 399"/>
                <a:gd name="T103" fmla="*/ 335 h 421"/>
                <a:gd name="T104" fmla="*/ 109 w 399"/>
                <a:gd name="T105" fmla="*/ 337 h 421"/>
                <a:gd name="T106" fmla="*/ 90 w 399"/>
                <a:gd name="T107" fmla="*/ 330 h 421"/>
                <a:gd name="T108" fmla="*/ 79 w 399"/>
                <a:gd name="T109" fmla="*/ 306 h 421"/>
                <a:gd name="T110" fmla="*/ 70 w 399"/>
                <a:gd name="T111" fmla="*/ 295 h 421"/>
                <a:gd name="T112" fmla="*/ 47 w 399"/>
                <a:gd name="T113" fmla="*/ 293 h 421"/>
                <a:gd name="T114" fmla="*/ 22 w 399"/>
                <a:gd name="T115" fmla="*/ 293 h 421"/>
                <a:gd name="T116" fmla="*/ 8 w 399"/>
                <a:gd name="T117" fmla="*/ 282 h 421"/>
                <a:gd name="T118" fmla="*/ 3 w 399"/>
                <a:gd name="T119" fmla="*/ 277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9" h="421">
                  <a:moveTo>
                    <a:pt x="127" y="0"/>
                  </a:moveTo>
                  <a:lnTo>
                    <a:pt x="132" y="4"/>
                  </a:lnTo>
                  <a:lnTo>
                    <a:pt x="134" y="5"/>
                  </a:lnTo>
                  <a:lnTo>
                    <a:pt x="137" y="7"/>
                  </a:lnTo>
                  <a:lnTo>
                    <a:pt x="144" y="12"/>
                  </a:lnTo>
                  <a:lnTo>
                    <a:pt x="145" y="13"/>
                  </a:lnTo>
                  <a:lnTo>
                    <a:pt x="147" y="15"/>
                  </a:lnTo>
                  <a:lnTo>
                    <a:pt x="148" y="15"/>
                  </a:lnTo>
                  <a:lnTo>
                    <a:pt x="149" y="17"/>
                  </a:lnTo>
                  <a:lnTo>
                    <a:pt x="151" y="18"/>
                  </a:lnTo>
                  <a:lnTo>
                    <a:pt x="151" y="19"/>
                  </a:lnTo>
                  <a:lnTo>
                    <a:pt x="152" y="1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54" y="19"/>
                  </a:lnTo>
                  <a:lnTo>
                    <a:pt x="156" y="19"/>
                  </a:lnTo>
                  <a:lnTo>
                    <a:pt x="157" y="19"/>
                  </a:lnTo>
                  <a:lnTo>
                    <a:pt x="158" y="19"/>
                  </a:lnTo>
                  <a:lnTo>
                    <a:pt x="162" y="19"/>
                  </a:lnTo>
                  <a:lnTo>
                    <a:pt x="163" y="19"/>
                  </a:lnTo>
                  <a:lnTo>
                    <a:pt x="163" y="19"/>
                  </a:lnTo>
                  <a:lnTo>
                    <a:pt x="164" y="19"/>
                  </a:lnTo>
                  <a:lnTo>
                    <a:pt x="166" y="20"/>
                  </a:lnTo>
                  <a:lnTo>
                    <a:pt x="167" y="20"/>
                  </a:lnTo>
                  <a:lnTo>
                    <a:pt x="168" y="20"/>
                  </a:lnTo>
                  <a:lnTo>
                    <a:pt x="169" y="20"/>
                  </a:lnTo>
                  <a:lnTo>
                    <a:pt x="169" y="19"/>
                  </a:lnTo>
                  <a:lnTo>
                    <a:pt x="171" y="19"/>
                  </a:lnTo>
                  <a:lnTo>
                    <a:pt x="172" y="19"/>
                  </a:lnTo>
                  <a:lnTo>
                    <a:pt x="172" y="19"/>
                  </a:lnTo>
                  <a:lnTo>
                    <a:pt x="173" y="19"/>
                  </a:lnTo>
                  <a:lnTo>
                    <a:pt x="174" y="19"/>
                  </a:lnTo>
                  <a:lnTo>
                    <a:pt x="176" y="20"/>
                  </a:lnTo>
                  <a:lnTo>
                    <a:pt x="177" y="20"/>
                  </a:lnTo>
                  <a:lnTo>
                    <a:pt x="178" y="20"/>
                  </a:lnTo>
                  <a:lnTo>
                    <a:pt x="178" y="21"/>
                  </a:lnTo>
                  <a:lnTo>
                    <a:pt x="179" y="22"/>
                  </a:lnTo>
                  <a:lnTo>
                    <a:pt x="180" y="22"/>
                  </a:lnTo>
                  <a:lnTo>
                    <a:pt x="183" y="23"/>
                  </a:lnTo>
                  <a:lnTo>
                    <a:pt x="184" y="24"/>
                  </a:lnTo>
                  <a:lnTo>
                    <a:pt x="185" y="24"/>
                  </a:lnTo>
                  <a:lnTo>
                    <a:pt x="186" y="25"/>
                  </a:lnTo>
                  <a:lnTo>
                    <a:pt x="186" y="25"/>
                  </a:lnTo>
                  <a:lnTo>
                    <a:pt x="189" y="28"/>
                  </a:lnTo>
                  <a:lnTo>
                    <a:pt x="190" y="29"/>
                  </a:lnTo>
                  <a:lnTo>
                    <a:pt x="190" y="29"/>
                  </a:lnTo>
                  <a:lnTo>
                    <a:pt x="191" y="30"/>
                  </a:lnTo>
                  <a:lnTo>
                    <a:pt x="192" y="31"/>
                  </a:lnTo>
                  <a:lnTo>
                    <a:pt x="193" y="31"/>
                  </a:lnTo>
                  <a:lnTo>
                    <a:pt x="194" y="32"/>
                  </a:lnTo>
                  <a:lnTo>
                    <a:pt x="196" y="32"/>
                  </a:lnTo>
                  <a:lnTo>
                    <a:pt x="196" y="32"/>
                  </a:lnTo>
                  <a:lnTo>
                    <a:pt x="199" y="33"/>
                  </a:lnTo>
                  <a:lnTo>
                    <a:pt x="200" y="33"/>
                  </a:lnTo>
                  <a:lnTo>
                    <a:pt x="203" y="34"/>
                  </a:lnTo>
                  <a:lnTo>
                    <a:pt x="204" y="34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5" y="36"/>
                  </a:lnTo>
                  <a:lnTo>
                    <a:pt x="206" y="36"/>
                  </a:lnTo>
                  <a:lnTo>
                    <a:pt x="206" y="37"/>
                  </a:lnTo>
                  <a:lnTo>
                    <a:pt x="206" y="37"/>
                  </a:lnTo>
                  <a:lnTo>
                    <a:pt x="206" y="39"/>
                  </a:lnTo>
                  <a:lnTo>
                    <a:pt x="207" y="41"/>
                  </a:lnTo>
                  <a:lnTo>
                    <a:pt x="207" y="41"/>
                  </a:lnTo>
                  <a:lnTo>
                    <a:pt x="207" y="42"/>
                  </a:lnTo>
                  <a:lnTo>
                    <a:pt x="208" y="42"/>
                  </a:lnTo>
                  <a:lnTo>
                    <a:pt x="208" y="43"/>
                  </a:lnTo>
                  <a:lnTo>
                    <a:pt x="209" y="43"/>
                  </a:lnTo>
                  <a:lnTo>
                    <a:pt x="210" y="43"/>
                  </a:lnTo>
                  <a:lnTo>
                    <a:pt x="210" y="43"/>
                  </a:lnTo>
                  <a:lnTo>
                    <a:pt x="212" y="44"/>
                  </a:lnTo>
                  <a:lnTo>
                    <a:pt x="213" y="44"/>
                  </a:lnTo>
                  <a:lnTo>
                    <a:pt x="215" y="44"/>
                  </a:lnTo>
                  <a:lnTo>
                    <a:pt x="216" y="45"/>
                  </a:lnTo>
                  <a:lnTo>
                    <a:pt x="217" y="46"/>
                  </a:lnTo>
                  <a:lnTo>
                    <a:pt x="219" y="46"/>
                  </a:lnTo>
                  <a:lnTo>
                    <a:pt x="220" y="47"/>
                  </a:lnTo>
                  <a:lnTo>
                    <a:pt x="222" y="48"/>
                  </a:lnTo>
                  <a:lnTo>
                    <a:pt x="223" y="49"/>
                  </a:lnTo>
                  <a:lnTo>
                    <a:pt x="224" y="49"/>
                  </a:lnTo>
                  <a:lnTo>
                    <a:pt x="225" y="50"/>
                  </a:lnTo>
                  <a:lnTo>
                    <a:pt x="226" y="50"/>
                  </a:lnTo>
                  <a:lnTo>
                    <a:pt x="228" y="51"/>
                  </a:lnTo>
                  <a:lnTo>
                    <a:pt x="228" y="51"/>
                  </a:lnTo>
                  <a:lnTo>
                    <a:pt x="230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2" y="53"/>
                  </a:lnTo>
                  <a:lnTo>
                    <a:pt x="232" y="53"/>
                  </a:lnTo>
                  <a:lnTo>
                    <a:pt x="232" y="54"/>
                  </a:lnTo>
                  <a:lnTo>
                    <a:pt x="232" y="55"/>
                  </a:lnTo>
                  <a:lnTo>
                    <a:pt x="232" y="55"/>
                  </a:lnTo>
                  <a:lnTo>
                    <a:pt x="231" y="58"/>
                  </a:lnTo>
                  <a:lnTo>
                    <a:pt x="231" y="59"/>
                  </a:lnTo>
                  <a:lnTo>
                    <a:pt x="230" y="60"/>
                  </a:lnTo>
                  <a:lnTo>
                    <a:pt x="230" y="61"/>
                  </a:lnTo>
                  <a:lnTo>
                    <a:pt x="231" y="62"/>
                  </a:lnTo>
                  <a:lnTo>
                    <a:pt x="231" y="63"/>
                  </a:lnTo>
                  <a:lnTo>
                    <a:pt x="231" y="64"/>
                  </a:lnTo>
                  <a:lnTo>
                    <a:pt x="232" y="65"/>
                  </a:lnTo>
                  <a:lnTo>
                    <a:pt x="233" y="66"/>
                  </a:lnTo>
                  <a:lnTo>
                    <a:pt x="234" y="67"/>
                  </a:lnTo>
                  <a:lnTo>
                    <a:pt x="235" y="67"/>
                  </a:lnTo>
                  <a:lnTo>
                    <a:pt x="235" y="68"/>
                  </a:lnTo>
                  <a:lnTo>
                    <a:pt x="237" y="69"/>
                  </a:lnTo>
                  <a:lnTo>
                    <a:pt x="243" y="72"/>
                  </a:lnTo>
                  <a:lnTo>
                    <a:pt x="246" y="73"/>
                  </a:lnTo>
                  <a:lnTo>
                    <a:pt x="248" y="74"/>
                  </a:lnTo>
                  <a:lnTo>
                    <a:pt x="249" y="74"/>
                  </a:lnTo>
                  <a:lnTo>
                    <a:pt x="249" y="75"/>
                  </a:lnTo>
                  <a:lnTo>
                    <a:pt x="250" y="75"/>
                  </a:lnTo>
                  <a:lnTo>
                    <a:pt x="251" y="75"/>
                  </a:lnTo>
                  <a:lnTo>
                    <a:pt x="252" y="75"/>
                  </a:lnTo>
                  <a:lnTo>
                    <a:pt x="254" y="75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7" y="75"/>
                  </a:lnTo>
                  <a:lnTo>
                    <a:pt x="258" y="74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3"/>
                  </a:lnTo>
                  <a:lnTo>
                    <a:pt x="260" y="73"/>
                  </a:lnTo>
                  <a:lnTo>
                    <a:pt x="261" y="70"/>
                  </a:lnTo>
                  <a:lnTo>
                    <a:pt x="263" y="68"/>
                  </a:lnTo>
                  <a:lnTo>
                    <a:pt x="264" y="67"/>
                  </a:lnTo>
                  <a:lnTo>
                    <a:pt x="264" y="67"/>
                  </a:lnTo>
                  <a:lnTo>
                    <a:pt x="264" y="66"/>
                  </a:lnTo>
                  <a:lnTo>
                    <a:pt x="265" y="63"/>
                  </a:lnTo>
                  <a:lnTo>
                    <a:pt x="266" y="61"/>
                  </a:lnTo>
                  <a:lnTo>
                    <a:pt x="267" y="59"/>
                  </a:lnTo>
                  <a:lnTo>
                    <a:pt x="268" y="58"/>
                  </a:lnTo>
                  <a:lnTo>
                    <a:pt x="269" y="57"/>
                  </a:lnTo>
                  <a:lnTo>
                    <a:pt x="270" y="56"/>
                  </a:lnTo>
                  <a:lnTo>
                    <a:pt x="271" y="55"/>
                  </a:lnTo>
                  <a:lnTo>
                    <a:pt x="272" y="54"/>
                  </a:lnTo>
                  <a:lnTo>
                    <a:pt x="273" y="54"/>
                  </a:lnTo>
                  <a:lnTo>
                    <a:pt x="273" y="54"/>
                  </a:lnTo>
                  <a:lnTo>
                    <a:pt x="274" y="54"/>
                  </a:lnTo>
                  <a:lnTo>
                    <a:pt x="274" y="54"/>
                  </a:lnTo>
                  <a:lnTo>
                    <a:pt x="275" y="54"/>
                  </a:lnTo>
                  <a:lnTo>
                    <a:pt x="275" y="55"/>
                  </a:lnTo>
                  <a:lnTo>
                    <a:pt x="276" y="56"/>
                  </a:lnTo>
                  <a:lnTo>
                    <a:pt x="277" y="57"/>
                  </a:lnTo>
                  <a:lnTo>
                    <a:pt x="278" y="58"/>
                  </a:lnTo>
                  <a:lnTo>
                    <a:pt x="279" y="59"/>
                  </a:lnTo>
                  <a:lnTo>
                    <a:pt x="279" y="59"/>
                  </a:lnTo>
                  <a:lnTo>
                    <a:pt x="280" y="60"/>
                  </a:lnTo>
                  <a:lnTo>
                    <a:pt x="281" y="60"/>
                  </a:lnTo>
                  <a:lnTo>
                    <a:pt x="282" y="61"/>
                  </a:lnTo>
                  <a:lnTo>
                    <a:pt x="283" y="61"/>
                  </a:lnTo>
                  <a:lnTo>
                    <a:pt x="284" y="62"/>
                  </a:lnTo>
                  <a:lnTo>
                    <a:pt x="285" y="62"/>
                  </a:lnTo>
                  <a:lnTo>
                    <a:pt x="287" y="63"/>
                  </a:lnTo>
                  <a:lnTo>
                    <a:pt x="290" y="63"/>
                  </a:lnTo>
                  <a:lnTo>
                    <a:pt x="292" y="63"/>
                  </a:lnTo>
                  <a:lnTo>
                    <a:pt x="293" y="64"/>
                  </a:lnTo>
                  <a:lnTo>
                    <a:pt x="294" y="64"/>
                  </a:lnTo>
                  <a:lnTo>
                    <a:pt x="294" y="65"/>
                  </a:lnTo>
                  <a:lnTo>
                    <a:pt x="295" y="65"/>
                  </a:lnTo>
                  <a:lnTo>
                    <a:pt x="296" y="66"/>
                  </a:lnTo>
                  <a:lnTo>
                    <a:pt x="297" y="66"/>
                  </a:lnTo>
                  <a:lnTo>
                    <a:pt x="298" y="68"/>
                  </a:lnTo>
                  <a:lnTo>
                    <a:pt x="299" y="69"/>
                  </a:lnTo>
                  <a:lnTo>
                    <a:pt x="301" y="71"/>
                  </a:lnTo>
                  <a:lnTo>
                    <a:pt x="303" y="73"/>
                  </a:lnTo>
                  <a:lnTo>
                    <a:pt x="304" y="73"/>
                  </a:lnTo>
                  <a:lnTo>
                    <a:pt x="304" y="74"/>
                  </a:lnTo>
                  <a:lnTo>
                    <a:pt x="305" y="74"/>
                  </a:lnTo>
                  <a:lnTo>
                    <a:pt x="305" y="74"/>
                  </a:lnTo>
                  <a:lnTo>
                    <a:pt x="306" y="74"/>
                  </a:lnTo>
                  <a:lnTo>
                    <a:pt x="306" y="75"/>
                  </a:lnTo>
                  <a:lnTo>
                    <a:pt x="307" y="75"/>
                  </a:lnTo>
                  <a:lnTo>
                    <a:pt x="309" y="75"/>
                  </a:lnTo>
                  <a:lnTo>
                    <a:pt x="313" y="75"/>
                  </a:lnTo>
                  <a:lnTo>
                    <a:pt x="314" y="75"/>
                  </a:lnTo>
                  <a:lnTo>
                    <a:pt x="315" y="75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9" y="77"/>
                  </a:lnTo>
                  <a:lnTo>
                    <a:pt x="320" y="77"/>
                  </a:lnTo>
                  <a:lnTo>
                    <a:pt x="324" y="78"/>
                  </a:lnTo>
                  <a:lnTo>
                    <a:pt x="328" y="79"/>
                  </a:lnTo>
                  <a:lnTo>
                    <a:pt x="331" y="80"/>
                  </a:lnTo>
                  <a:lnTo>
                    <a:pt x="332" y="81"/>
                  </a:lnTo>
                  <a:lnTo>
                    <a:pt x="332" y="81"/>
                  </a:lnTo>
                  <a:lnTo>
                    <a:pt x="337" y="83"/>
                  </a:lnTo>
                  <a:lnTo>
                    <a:pt x="341" y="85"/>
                  </a:lnTo>
                  <a:lnTo>
                    <a:pt x="342" y="86"/>
                  </a:lnTo>
                  <a:lnTo>
                    <a:pt x="343" y="87"/>
                  </a:lnTo>
                  <a:lnTo>
                    <a:pt x="345" y="87"/>
                  </a:lnTo>
                  <a:lnTo>
                    <a:pt x="346" y="88"/>
                  </a:lnTo>
                  <a:lnTo>
                    <a:pt x="347" y="89"/>
                  </a:lnTo>
                  <a:lnTo>
                    <a:pt x="349" y="91"/>
                  </a:lnTo>
                  <a:lnTo>
                    <a:pt x="352" y="95"/>
                  </a:lnTo>
                  <a:lnTo>
                    <a:pt x="354" y="96"/>
                  </a:lnTo>
                  <a:lnTo>
                    <a:pt x="355" y="97"/>
                  </a:lnTo>
                  <a:lnTo>
                    <a:pt x="356" y="99"/>
                  </a:lnTo>
                  <a:lnTo>
                    <a:pt x="357" y="100"/>
                  </a:lnTo>
                  <a:lnTo>
                    <a:pt x="358" y="102"/>
                  </a:lnTo>
                  <a:lnTo>
                    <a:pt x="360" y="103"/>
                  </a:lnTo>
                  <a:lnTo>
                    <a:pt x="361" y="104"/>
                  </a:lnTo>
                  <a:lnTo>
                    <a:pt x="361" y="104"/>
                  </a:lnTo>
                  <a:lnTo>
                    <a:pt x="362" y="104"/>
                  </a:lnTo>
                  <a:lnTo>
                    <a:pt x="363" y="105"/>
                  </a:lnTo>
                  <a:lnTo>
                    <a:pt x="365" y="105"/>
                  </a:lnTo>
                  <a:lnTo>
                    <a:pt x="366" y="105"/>
                  </a:lnTo>
                  <a:lnTo>
                    <a:pt x="370" y="107"/>
                  </a:lnTo>
                  <a:lnTo>
                    <a:pt x="374" y="108"/>
                  </a:lnTo>
                  <a:lnTo>
                    <a:pt x="375" y="108"/>
                  </a:lnTo>
                  <a:lnTo>
                    <a:pt x="377" y="109"/>
                  </a:lnTo>
                  <a:lnTo>
                    <a:pt x="378" y="110"/>
                  </a:lnTo>
                  <a:lnTo>
                    <a:pt x="381" y="112"/>
                  </a:lnTo>
                  <a:lnTo>
                    <a:pt x="384" y="114"/>
                  </a:lnTo>
                  <a:lnTo>
                    <a:pt x="385" y="114"/>
                  </a:lnTo>
                  <a:lnTo>
                    <a:pt x="386" y="115"/>
                  </a:lnTo>
                  <a:lnTo>
                    <a:pt x="387" y="116"/>
                  </a:lnTo>
                  <a:lnTo>
                    <a:pt x="388" y="117"/>
                  </a:lnTo>
                  <a:lnTo>
                    <a:pt x="392" y="123"/>
                  </a:lnTo>
                  <a:lnTo>
                    <a:pt x="392" y="123"/>
                  </a:lnTo>
                  <a:lnTo>
                    <a:pt x="392" y="124"/>
                  </a:lnTo>
                  <a:lnTo>
                    <a:pt x="392" y="125"/>
                  </a:lnTo>
                  <a:lnTo>
                    <a:pt x="392" y="127"/>
                  </a:lnTo>
                  <a:lnTo>
                    <a:pt x="391" y="128"/>
                  </a:lnTo>
                  <a:lnTo>
                    <a:pt x="391" y="130"/>
                  </a:lnTo>
                  <a:lnTo>
                    <a:pt x="389" y="134"/>
                  </a:lnTo>
                  <a:lnTo>
                    <a:pt x="389" y="135"/>
                  </a:lnTo>
                  <a:lnTo>
                    <a:pt x="389" y="136"/>
                  </a:lnTo>
                  <a:lnTo>
                    <a:pt x="389" y="136"/>
                  </a:lnTo>
                  <a:lnTo>
                    <a:pt x="389" y="137"/>
                  </a:lnTo>
                  <a:lnTo>
                    <a:pt x="389" y="137"/>
                  </a:lnTo>
                  <a:lnTo>
                    <a:pt x="389" y="138"/>
                  </a:lnTo>
                  <a:lnTo>
                    <a:pt x="390" y="139"/>
                  </a:lnTo>
                  <a:lnTo>
                    <a:pt x="390" y="140"/>
                  </a:lnTo>
                  <a:lnTo>
                    <a:pt x="391" y="140"/>
                  </a:lnTo>
                  <a:lnTo>
                    <a:pt x="392" y="141"/>
                  </a:lnTo>
                  <a:lnTo>
                    <a:pt x="392" y="141"/>
                  </a:lnTo>
                  <a:lnTo>
                    <a:pt x="395" y="143"/>
                  </a:lnTo>
                  <a:lnTo>
                    <a:pt x="396" y="143"/>
                  </a:lnTo>
                  <a:lnTo>
                    <a:pt x="396" y="144"/>
                  </a:lnTo>
                  <a:lnTo>
                    <a:pt x="397" y="145"/>
                  </a:lnTo>
                  <a:lnTo>
                    <a:pt x="397" y="145"/>
                  </a:lnTo>
                  <a:lnTo>
                    <a:pt x="398" y="146"/>
                  </a:lnTo>
                  <a:lnTo>
                    <a:pt x="398" y="146"/>
                  </a:lnTo>
                  <a:lnTo>
                    <a:pt x="398" y="147"/>
                  </a:lnTo>
                  <a:lnTo>
                    <a:pt x="398" y="147"/>
                  </a:lnTo>
                  <a:lnTo>
                    <a:pt x="399" y="148"/>
                  </a:lnTo>
                  <a:lnTo>
                    <a:pt x="399" y="149"/>
                  </a:lnTo>
                  <a:lnTo>
                    <a:pt x="399" y="150"/>
                  </a:lnTo>
                  <a:lnTo>
                    <a:pt x="398" y="150"/>
                  </a:lnTo>
                  <a:lnTo>
                    <a:pt x="398" y="151"/>
                  </a:lnTo>
                  <a:lnTo>
                    <a:pt x="398" y="152"/>
                  </a:lnTo>
                  <a:lnTo>
                    <a:pt x="397" y="153"/>
                  </a:lnTo>
                  <a:lnTo>
                    <a:pt x="397" y="154"/>
                  </a:lnTo>
                  <a:lnTo>
                    <a:pt x="396" y="156"/>
                  </a:lnTo>
                  <a:lnTo>
                    <a:pt x="395" y="157"/>
                  </a:lnTo>
                  <a:lnTo>
                    <a:pt x="394" y="158"/>
                  </a:lnTo>
                  <a:lnTo>
                    <a:pt x="393" y="160"/>
                  </a:lnTo>
                  <a:lnTo>
                    <a:pt x="392" y="160"/>
                  </a:lnTo>
                  <a:lnTo>
                    <a:pt x="391" y="161"/>
                  </a:lnTo>
                  <a:lnTo>
                    <a:pt x="390" y="161"/>
                  </a:lnTo>
                  <a:lnTo>
                    <a:pt x="389" y="162"/>
                  </a:lnTo>
                  <a:lnTo>
                    <a:pt x="388" y="162"/>
                  </a:lnTo>
                  <a:lnTo>
                    <a:pt x="388" y="162"/>
                  </a:lnTo>
                  <a:lnTo>
                    <a:pt x="387" y="162"/>
                  </a:lnTo>
                  <a:lnTo>
                    <a:pt x="385" y="162"/>
                  </a:lnTo>
                  <a:lnTo>
                    <a:pt x="385" y="162"/>
                  </a:lnTo>
                  <a:lnTo>
                    <a:pt x="385" y="162"/>
                  </a:lnTo>
                  <a:lnTo>
                    <a:pt x="384" y="162"/>
                  </a:lnTo>
                  <a:lnTo>
                    <a:pt x="384" y="162"/>
                  </a:lnTo>
                  <a:lnTo>
                    <a:pt x="384" y="162"/>
                  </a:lnTo>
                  <a:lnTo>
                    <a:pt x="384" y="163"/>
                  </a:lnTo>
                  <a:lnTo>
                    <a:pt x="384" y="163"/>
                  </a:lnTo>
                  <a:lnTo>
                    <a:pt x="385" y="164"/>
                  </a:lnTo>
                  <a:lnTo>
                    <a:pt x="385" y="165"/>
                  </a:lnTo>
                  <a:lnTo>
                    <a:pt x="385" y="165"/>
                  </a:lnTo>
                  <a:lnTo>
                    <a:pt x="386" y="166"/>
                  </a:lnTo>
                  <a:lnTo>
                    <a:pt x="386" y="167"/>
                  </a:lnTo>
                  <a:lnTo>
                    <a:pt x="388" y="168"/>
                  </a:lnTo>
                  <a:lnTo>
                    <a:pt x="388" y="169"/>
                  </a:lnTo>
                  <a:lnTo>
                    <a:pt x="389" y="170"/>
                  </a:lnTo>
                  <a:lnTo>
                    <a:pt x="390" y="171"/>
                  </a:lnTo>
                  <a:lnTo>
                    <a:pt x="390" y="172"/>
                  </a:lnTo>
                  <a:lnTo>
                    <a:pt x="390" y="173"/>
                  </a:lnTo>
                  <a:lnTo>
                    <a:pt x="390" y="173"/>
                  </a:lnTo>
                  <a:lnTo>
                    <a:pt x="390" y="174"/>
                  </a:lnTo>
                  <a:lnTo>
                    <a:pt x="390" y="174"/>
                  </a:lnTo>
                  <a:lnTo>
                    <a:pt x="390" y="175"/>
                  </a:lnTo>
                  <a:lnTo>
                    <a:pt x="390" y="176"/>
                  </a:lnTo>
                  <a:lnTo>
                    <a:pt x="389" y="177"/>
                  </a:lnTo>
                  <a:lnTo>
                    <a:pt x="389" y="179"/>
                  </a:lnTo>
                  <a:lnTo>
                    <a:pt x="388" y="180"/>
                  </a:lnTo>
                  <a:lnTo>
                    <a:pt x="388" y="181"/>
                  </a:lnTo>
                  <a:lnTo>
                    <a:pt x="388" y="181"/>
                  </a:lnTo>
                  <a:lnTo>
                    <a:pt x="387" y="181"/>
                  </a:lnTo>
                  <a:lnTo>
                    <a:pt x="386" y="182"/>
                  </a:lnTo>
                  <a:lnTo>
                    <a:pt x="386" y="182"/>
                  </a:lnTo>
                  <a:lnTo>
                    <a:pt x="385" y="182"/>
                  </a:lnTo>
                  <a:lnTo>
                    <a:pt x="385" y="182"/>
                  </a:lnTo>
                  <a:lnTo>
                    <a:pt x="384" y="182"/>
                  </a:lnTo>
                  <a:lnTo>
                    <a:pt x="383" y="182"/>
                  </a:lnTo>
                  <a:lnTo>
                    <a:pt x="383" y="182"/>
                  </a:lnTo>
                  <a:lnTo>
                    <a:pt x="382" y="181"/>
                  </a:lnTo>
                  <a:lnTo>
                    <a:pt x="382" y="181"/>
                  </a:lnTo>
                  <a:lnTo>
                    <a:pt x="381" y="180"/>
                  </a:lnTo>
                  <a:lnTo>
                    <a:pt x="381" y="180"/>
                  </a:lnTo>
                  <a:lnTo>
                    <a:pt x="381" y="179"/>
                  </a:lnTo>
                  <a:lnTo>
                    <a:pt x="380" y="178"/>
                  </a:lnTo>
                  <a:lnTo>
                    <a:pt x="380" y="177"/>
                  </a:lnTo>
                  <a:lnTo>
                    <a:pt x="379" y="177"/>
                  </a:lnTo>
                  <a:lnTo>
                    <a:pt x="379" y="176"/>
                  </a:lnTo>
                  <a:lnTo>
                    <a:pt x="378" y="176"/>
                  </a:lnTo>
                  <a:lnTo>
                    <a:pt x="378" y="176"/>
                  </a:lnTo>
                  <a:lnTo>
                    <a:pt x="377" y="176"/>
                  </a:lnTo>
                  <a:lnTo>
                    <a:pt x="376" y="176"/>
                  </a:lnTo>
                  <a:lnTo>
                    <a:pt x="375" y="176"/>
                  </a:lnTo>
                  <a:lnTo>
                    <a:pt x="375" y="176"/>
                  </a:lnTo>
                  <a:lnTo>
                    <a:pt x="374" y="176"/>
                  </a:lnTo>
                  <a:lnTo>
                    <a:pt x="373" y="176"/>
                  </a:lnTo>
                  <a:lnTo>
                    <a:pt x="372" y="177"/>
                  </a:lnTo>
                  <a:lnTo>
                    <a:pt x="371" y="178"/>
                  </a:lnTo>
                  <a:lnTo>
                    <a:pt x="370" y="178"/>
                  </a:lnTo>
                  <a:lnTo>
                    <a:pt x="370" y="179"/>
                  </a:lnTo>
                  <a:lnTo>
                    <a:pt x="368" y="180"/>
                  </a:lnTo>
                  <a:lnTo>
                    <a:pt x="367" y="181"/>
                  </a:lnTo>
                  <a:lnTo>
                    <a:pt x="367" y="182"/>
                  </a:lnTo>
                  <a:lnTo>
                    <a:pt x="366" y="182"/>
                  </a:lnTo>
                  <a:lnTo>
                    <a:pt x="366" y="183"/>
                  </a:lnTo>
                  <a:lnTo>
                    <a:pt x="366" y="183"/>
                  </a:lnTo>
                  <a:lnTo>
                    <a:pt x="366" y="183"/>
                  </a:lnTo>
                  <a:lnTo>
                    <a:pt x="367" y="184"/>
                  </a:lnTo>
                  <a:lnTo>
                    <a:pt x="367" y="184"/>
                  </a:lnTo>
                  <a:lnTo>
                    <a:pt x="368" y="184"/>
                  </a:lnTo>
                  <a:lnTo>
                    <a:pt x="370" y="185"/>
                  </a:lnTo>
                  <a:lnTo>
                    <a:pt x="371" y="185"/>
                  </a:lnTo>
                  <a:lnTo>
                    <a:pt x="372" y="185"/>
                  </a:lnTo>
                  <a:lnTo>
                    <a:pt x="372" y="186"/>
                  </a:lnTo>
                  <a:lnTo>
                    <a:pt x="373" y="186"/>
                  </a:lnTo>
                  <a:lnTo>
                    <a:pt x="373" y="186"/>
                  </a:lnTo>
                  <a:lnTo>
                    <a:pt x="374" y="187"/>
                  </a:lnTo>
                  <a:lnTo>
                    <a:pt x="374" y="187"/>
                  </a:lnTo>
                  <a:lnTo>
                    <a:pt x="374" y="188"/>
                  </a:lnTo>
                  <a:lnTo>
                    <a:pt x="374" y="188"/>
                  </a:lnTo>
                  <a:lnTo>
                    <a:pt x="374" y="189"/>
                  </a:lnTo>
                  <a:lnTo>
                    <a:pt x="374" y="189"/>
                  </a:lnTo>
                  <a:lnTo>
                    <a:pt x="374" y="190"/>
                  </a:lnTo>
                  <a:lnTo>
                    <a:pt x="373" y="190"/>
                  </a:lnTo>
                  <a:lnTo>
                    <a:pt x="373" y="191"/>
                  </a:lnTo>
                  <a:lnTo>
                    <a:pt x="372" y="191"/>
                  </a:lnTo>
                  <a:lnTo>
                    <a:pt x="371" y="192"/>
                  </a:lnTo>
                  <a:lnTo>
                    <a:pt x="370" y="192"/>
                  </a:lnTo>
                  <a:lnTo>
                    <a:pt x="369" y="192"/>
                  </a:lnTo>
                  <a:lnTo>
                    <a:pt x="367" y="193"/>
                  </a:lnTo>
                  <a:lnTo>
                    <a:pt x="365" y="193"/>
                  </a:lnTo>
                  <a:lnTo>
                    <a:pt x="362" y="193"/>
                  </a:lnTo>
                  <a:lnTo>
                    <a:pt x="361" y="194"/>
                  </a:lnTo>
                  <a:lnTo>
                    <a:pt x="360" y="194"/>
                  </a:lnTo>
                  <a:lnTo>
                    <a:pt x="359" y="194"/>
                  </a:lnTo>
                  <a:lnTo>
                    <a:pt x="357" y="195"/>
                  </a:lnTo>
                  <a:lnTo>
                    <a:pt x="357" y="195"/>
                  </a:lnTo>
                  <a:lnTo>
                    <a:pt x="356" y="196"/>
                  </a:lnTo>
                  <a:lnTo>
                    <a:pt x="356" y="196"/>
                  </a:lnTo>
                  <a:lnTo>
                    <a:pt x="355" y="197"/>
                  </a:lnTo>
                  <a:lnTo>
                    <a:pt x="355" y="198"/>
                  </a:lnTo>
                  <a:lnTo>
                    <a:pt x="354" y="199"/>
                  </a:lnTo>
                  <a:lnTo>
                    <a:pt x="353" y="200"/>
                  </a:lnTo>
                  <a:lnTo>
                    <a:pt x="352" y="203"/>
                  </a:lnTo>
                  <a:lnTo>
                    <a:pt x="351" y="204"/>
                  </a:lnTo>
                  <a:lnTo>
                    <a:pt x="351" y="204"/>
                  </a:lnTo>
                  <a:lnTo>
                    <a:pt x="349" y="207"/>
                  </a:lnTo>
                  <a:lnTo>
                    <a:pt x="348" y="208"/>
                  </a:lnTo>
                  <a:lnTo>
                    <a:pt x="347" y="209"/>
                  </a:lnTo>
                  <a:lnTo>
                    <a:pt x="346" y="210"/>
                  </a:lnTo>
                  <a:lnTo>
                    <a:pt x="346" y="211"/>
                  </a:lnTo>
                  <a:lnTo>
                    <a:pt x="346" y="212"/>
                  </a:lnTo>
                  <a:lnTo>
                    <a:pt x="346" y="213"/>
                  </a:lnTo>
                  <a:lnTo>
                    <a:pt x="346" y="216"/>
                  </a:lnTo>
                  <a:lnTo>
                    <a:pt x="345" y="218"/>
                  </a:lnTo>
                  <a:lnTo>
                    <a:pt x="345" y="220"/>
                  </a:lnTo>
                  <a:lnTo>
                    <a:pt x="345" y="222"/>
                  </a:lnTo>
                  <a:lnTo>
                    <a:pt x="344" y="225"/>
                  </a:lnTo>
                  <a:lnTo>
                    <a:pt x="344" y="226"/>
                  </a:lnTo>
                  <a:lnTo>
                    <a:pt x="344" y="227"/>
                  </a:lnTo>
                  <a:lnTo>
                    <a:pt x="344" y="228"/>
                  </a:lnTo>
                  <a:lnTo>
                    <a:pt x="344" y="228"/>
                  </a:lnTo>
                  <a:lnTo>
                    <a:pt x="344" y="229"/>
                  </a:lnTo>
                  <a:lnTo>
                    <a:pt x="344" y="229"/>
                  </a:lnTo>
                  <a:lnTo>
                    <a:pt x="345" y="230"/>
                  </a:lnTo>
                  <a:lnTo>
                    <a:pt x="345" y="230"/>
                  </a:lnTo>
                  <a:lnTo>
                    <a:pt x="346" y="231"/>
                  </a:lnTo>
                  <a:lnTo>
                    <a:pt x="349" y="233"/>
                  </a:lnTo>
                  <a:lnTo>
                    <a:pt x="354" y="237"/>
                  </a:lnTo>
                  <a:lnTo>
                    <a:pt x="354" y="237"/>
                  </a:lnTo>
                  <a:lnTo>
                    <a:pt x="355" y="237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4" y="239"/>
                  </a:lnTo>
                  <a:lnTo>
                    <a:pt x="353" y="239"/>
                  </a:lnTo>
                  <a:lnTo>
                    <a:pt x="353" y="240"/>
                  </a:lnTo>
                  <a:lnTo>
                    <a:pt x="353" y="240"/>
                  </a:lnTo>
                  <a:lnTo>
                    <a:pt x="352" y="240"/>
                  </a:lnTo>
                  <a:lnTo>
                    <a:pt x="352" y="241"/>
                  </a:lnTo>
                  <a:lnTo>
                    <a:pt x="352" y="241"/>
                  </a:lnTo>
                  <a:lnTo>
                    <a:pt x="352" y="241"/>
                  </a:lnTo>
                  <a:lnTo>
                    <a:pt x="353" y="242"/>
                  </a:lnTo>
                  <a:lnTo>
                    <a:pt x="353" y="242"/>
                  </a:lnTo>
                  <a:lnTo>
                    <a:pt x="354" y="243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6" y="244"/>
                  </a:lnTo>
                  <a:lnTo>
                    <a:pt x="357" y="244"/>
                  </a:lnTo>
                  <a:lnTo>
                    <a:pt x="360" y="245"/>
                  </a:lnTo>
                  <a:lnTo>
                    <a:pt x="361" y="245"/>
                  </a:lnTo>
                  <a:lnTo>
                    <a:pt x="361" y="245"/>
                  </a:lnTo>
                  <a:lnTo>
                    <a:pt x="361" y="246"/>
                  </a:lnTo>
                  <a:lnTo>
                    <a:pt x="362" y="246"/>
                  </a:lnTo>
                  <a:lnTo>
                    <a:pt x="362" y="246"/>
                  </a:lnTo>
                  <a:lnTo>
                    <a:pt x="362" y="247"/>
                  </a:lnTo>
                  <a:lnTo>
                    <a:pt x="362" y="248"/>
                  </a:lnTo>
                  <a:lnTo>
                    <a:pt x="362" y="248"/>
                  </a:lnTo>
                  <a:lnTo>
                    <a:pt x="362" y="249"/>
                  </a:lnTo>
                  <a:lnTo>
                    <a:pt x="362" y="249"/>
                  </a:lnTo>
                  <a:lnTo>
                    <a:pt x="362" y="250"/>
                  </a:lnTo>
                  <a:lnTo>
                    <a:pt x="361" y="251"/>
                  </a:lnTo>
                  <a:lnTo>
                    <a:pt x="361" y="252"/>
                  </a:lnTo>
                  <a:lnTo>
                    <a:pt x="360" y="254"/>
                  </a:lnTo>
                  <a:lnTo>
                    <a:pt x="357" y="257"/>
                  </a:lnTo>
                  <a:lnTo>
                    <a:pt x="357" y="258"/>
                  </a:lnTo>
                  <a:lnTo>
                    <a:pt x="356" y="258"/>
                  </a:lnTo>
                  <a:lnTo>
                    <a:pt x="356" y="259"/>
                  </a:lnTo>
                  <a:lnTo>
                    <a:pt x="356" y="260"/>
                  </a:lnTo>
                  <a:lnTo>
                    <a:pt x="356" y="261"/>
                  </a:lnTo>
                  <a:lnTo>
                    <a:pt x="356" y="262"/>
                  </a:lnTo>
                  <a:lnTo>
                    <a:pt x="356" y="262"/>
                  </a:lnTo>
                  <a:lnTo>
                    <a:pt x="356" y="263"/>
                  </a:lnTo>
                  <a:lnTo>
                    <a:pt x="356" y="264"/>
                  </a:lnTo>
                  <a:lnTo>
                    <a:pt x="357" y="265"/>
                  </a:lnTo>
                  <a:lnTo>
                    <a:pt x="357" y="265"/>
                  </a:lnTo>
                  <a:lnTo>
                    <a:pt x="359" y="267"/>
                  </a:lnTo>
                  <a:lnTo>
                    <a:pt x="360" y="268"/>
                  </a:lnTo>
                  <a:lnTo>
                    <a:pt x="360" y="269"/>
                  </a:lnTo>
                  <a:lnTo>
                    <a:pt x="360" y="270"/>
                  </a:lnTo>
                  <a:lnTo>
                    <a:pt x="361" y="270"/>
                  </a:lnTo>
                  <a:lnTo>
                    <a:pt x="361" y="271"/>
                  </a:lnTo>
                  <a:lnTo>
                    <a:pt x="361" y="271"/>
                  </a:lnTo>
                  <a:lnTo>
                    <a:pt x="361" y="272"/>
                  </a:lnTo>
                  <a:lnTo>
                    <a:pt x="360" y="272"/>
                  </a:lnTo>
                  <a:lnTo>
                    <a:pt x="360" y="273"/>
                  </a:lnTo>
                  <a:lnTo>
                    <a:pt x="360" y="273"/>
                  </a:lnTo>
                  <a:lnTo>
                    <a:pt x="359" y="274"/>
                  </a:lnTo>
                  <a:lnTo>
                    <a:pt x="358" y="274"/>
                  </a:lnTo>
                  <a:lnTo>
                    <a:pt x="356" y="276"/>
                  </a:lnTo>
                  <a:lnTo>
                    <a:pt x="355" y="277"/>
                  </a:lnTo>
                  <a:lnTo>
                    <a:pt x="354" y="277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1" y="281"/>
                  </a:lnTo>
                  <a:lnTo>
                    <a:pt x="351" y="282"/>
                  </a:lnTo>
                  <a:lnTo>
                    <a:pt x="351" y="283"/>
                  </a:lnTo>
                  <a:lnTo>
                    <a:pt x="350" y="284"/>
                  </a:lnTo>
                  <a:lnTo>
                    <a:pt x="350" y="285"/>
                  </a:lnTo>
                  <a:lnTo>
                    <a:pt x="349" y="286"/>
                  </a:lnTo>
                  <a:lnTo>
                    <a:pt x="349" y="287"/>
                  </a:lnTo>
                  <a:lnTo>
                    <a:pt x="349" y="288"/>
                  </a:lnTo>
                  <a:lnTo>
                    <a:pt x="349" y="289"/>
                  </a:lnTo>
                  <a:lnTo>
                    <a:pt x="349" y="290"/>
                  </a:lnTo>
                  <a:lnTo>
                    <a:pt x="349" y="291"/>
                  </a:lnTo>
                  <a:lnTo>
                    <a:pt x="349" y="291"/>
                  </a:lnTo>
                  <a:lnTo>
                    <a:pt x="349" y="292"/>
                  </a:lnTo>
                  <a:lnTo>
                    <a:pt x="349" y="292"/>
                  </a:lnTo>
                  <a:lnTo>
                    <a:pt x="350" y="293"/>
                  </a:lnTo>
                  <a:lnTo>
                    <a:pt x="350" y="293"/>
                  </a:lnTo>
                  <a:lnTo>
                    <a:pt x="351" y="294"/>
                  </a:lnTo>
                  <a:lnTo>
                    <a:pt x="352" y="295"/>
                  </a:lnTo>
                  <a:lnTo>
                    <a:pt x="354" y="297"/>
                  </a:lnTo>
                  <a:lnTo>
                    <a:pt x="356" y="297"/>
                  </a:lnTo>
                  <a:lnTo>
                    <a:pt x="356" y="298"/>
                  </a:lnTo>
                  <a:lnTo>
                    <a:pt x="356" y="299"/>
                  </a:lnTo>
                  <a:lnTo>
                    <a:pt x="357" y="299"/>
                  </a:lnTo>
                  <a:lnTo>
                    <a:pt x="357" y="300"/>
                  </a:lnTo>
                  <a:lnTo>
                    <a:pt x="357" y="300"/>
                  </a:lnTo>
                  <a:lnTo>
                    <a:pt x="358" y="301"/>
                  </a:lnTo>
                  <a:lnTo>
                    <a:pt x="358" y="301"/>
                  </a:lnTo>
                  <a:lnTo>
                    <a:pt x="358" y="302"/>
                  </a:lnTo>
                  <a:lnTo>
                    <a:pt x="358" y="304"/>
                  </a:lnTo>
                  <a:lnTo>
                    <a:pt x="358" y="305"/>
                  </a:lnTo>
                  <a:lnTo>
                    <a:pt x="358" y="306"/>
                  </a:lnTo>
                  <a:lnTo>
                    <a:pt x="358" y="307"/>
                  </a:lnTo>
                  <a:lnTo>
                    <a:pt x="358" y="307"/>
                  </a:lnTo>
                  <a:lnTo>
                    <a:pt x="357" y="308"/>
                  </a:lnTo>
                  <a:lnTo>
                    <a:pt x="356" y="309"/>
                  </a:lnTo>
                  <a:lnTo>
                    <a:pt x="355" y="310"/>
                  </a:lnTo>
                  <a:lnTo>
                    <a:pt x="354" y="310"/>
                  </a:lnTo>
                  <a:lnTo>
                    <a:pt x="353" y="311"/>
                  </a:lnTo>
                  <a:lnTo>
                    <a:pt x="351" y="312"/>
                  </a:lnTo>
                  <a:lnTo>
                    <a:pt x="350" y="312"/>
                  </a:lnTo>
                  <a:lnTo>
                    <a:pt x="350" y="313"/>
                  </a:lnTo>
                  <a:lnTo>
                    <a:pt x="349" y="313"/>
                  </a:lnTo>
                  <a:lnTo>
                    <a:pt x="349" y="314"/>
                  </a:lnTo>
                  <a:lnTo>
                    <a:pt x="348" y="314"/>
                  </a:lnTo>
                  <a:lnTo>
                    <a:pt x="348" y="315"/>
                  </a:lnTo>
                  <a:lnTo>
                    <a:pt x="348" y="316"/>
                  </a:lnTo>
                  <a:lnTo>
                    <a:pt x="347" y="316"/>
                  </a:lnTo>
                  <a:lnTo>
                    <a:pt x="347" y="317"/>
                  </a:lnTo>
                  <a:lnTo>
                    <a:pt x="347" y="318"/>
                  </a:lnTo>
                  <a:lnTo>
                    <a:pt x="347" y="318"/>
                  </a:lnTo>
                  <a:lnTo>
                    <a:pt x="348" y="321"/>
                  </a:lnTo>
                  <a:lnTo>
                    <a:pt x="348" y="322"/>
                  </a:lnTo>
                  <a:lnTo>
                    <a:pt x="349" y="323"/>
                  </a:lnTo>
                  <a:lnTo>
                    <a:pt x="349" y="323"/>
                  </a:lnTo>
                  <a:lnTo>
                    <a:pt x="349" y="324"/>
                  </a:lnTo>
                  <a:lnTo>
                    <a:pt x="348" y="325"/>
                  </a:lnTo>
                  <a:lnTo>
                    <a:pt x="348" y="325"/>
                  </a:lnTo>
                  <a:lnTo>
                    <a:pt x="348" y="326"/>
                  </a:lnTo>
                  <a:lnTo>
                    <a:pt x="347" y="326"/>
                  </a:lnTo>
                  <a:lnTo>
                    <a:pt x="347" y="327"/>
                  </a:lnTo>
                  <a:lnTo>
                    <a:pt x="346" y="327"/>
                  </a:lnTo>
                  <a:lnTo>
                    <a:pt x="346" y="328"/>
                  </a:lnTo>
                  <a:lnTo>
                    <a:pt x="345" y="328"/>
                  </a:lnTo>
                  <a:lnTo>
                    <a:pt x="344" y="329"/>
                  </a:lnTo>
                  <a:lnTo>
                    <a:pt x="343" y="329"/>
                  </a:lnTo>
                  <a:lnTo>
                    <a:pt x="342" y="329"/>
                  </a:lnTo>
                  <a:lnTo>
                    <a:pt x="342" y="329"/>
                  </a:lnTo>
                  <a:lnTo>
                    <a:pt x="342" y="330"/>
                  </a:lnTo>
                  <a:lnTo>
                    <a:pt x="342" y="330"/>
                  </a:lnTo>
                  <a:lnTo>
                    <a:pt x="342" y="330"/>
                  </a:lnTo>
                  <a:lnTo>
                    <a:pt x="341" y="330"/>
                  </a:lnTo>
                  <a:lnTo>
                    <a:pt x="342" y="331"/>
                  </a:lnTo>
                  <a:lnTo>
                    <a:pt x="342" y="332"/>
                  </a:lnTo>
                  <a:lnTo>
                    <a:pt x="342" y="332"/>
                  </a:lnTo>
                  <a:lnTo>
                    <a:pt x="343" y="333"/>
                  </a:lnTo>
                  <a:lnTo>
                    <a:pt x="344" y="335"/>
                  </a:lnTo>
                  <a:lnTo>
                    <a:pt x="346" y="335"/>
                  </a:lnTo>
                  <a:lnTo>
                    <a:pt x="348" y="338"/>
                  </a:lnTo>
                  <a:lnTo>
                    <a:pt x="349" y="339"/>
                  </a:lnTo>
                  <a:lnTo>
                    <a:pt x="350" y="340"/>
                  </a:lnTo>
                  <a:lnTo>
                    <a:pt x="351" y="340"/>
                  </a:lnTo>
                  <a:lnTo>
                    <a:pt x="351" y="341"/>
                  </a:lnTo>
                  <a:lnTo>
                    <a:pt x="351" y="342"/>
                  </a:lnTo>
                  <a:lnTo>
                    <a:pt x="351" y="342"/>
                  </a:lnTo>
                  <a:lnTo>
                    <a:pt x="351" y="343"/>
                  </a:lnTo>
                  <a:lnTo>
                    <a:pt x="351" y="344"/>
                  </a:lnTo>
                  <a:lnTo>
                    <a:pt x="351" y="344"/>
                  </a:lnTo>
                  <a:lnTo>
                    <a:pt x="351" y="345"/>
                  </a:lnTo>
                  <a:lnTo>
                    <a:pt x="350" y="345"/>
                  </a:lnTo>
                  <a:lnTo>
                    <a:pt x="350" y="346"/>
                  </a:lnTo>
                  <a:lnTo>
                    <a:pt x="349" y="346"/>
                  </a:lnTo>
                  <a:lnTo>
                    <a:pt x="347" y="348"/>
                  </a:lnTo>
                  <a:lnTo>
                    <a:pt x="347" y="349"/>
                  </a:lnTo>
                  <a:lnTo>
                    <a:pt x="346" y="349"/>
                  </a:lnTo>
                  <a:lnTo>
                    <a:pt x="346" y="350"/>
                  </a:lnTo>
                  <a:lnTo>
                    <a:pt x="346" y="350"/>
                  </a:lnTo>
                  <a:lnTo>
                    <a:pt x="345" y="352"/>
                  </a:lnTo>
                  <a:lnTo>
                    <a:pt x="345" y="353"/>
                  </a:lnTo>
                  <a:lnTo>
                    <a:pt x="344" y="354"/>
                  </a:lnTo>
                  <a:lnTo>
                    <a:pt x="343" y="355"/>
                  </a:lnTo>
                  <a:lnTo>
                    <a:pt x="343" y="355"/>
                  </a:lnTo>
                  <a:lnTo>
                    <a:pt x="342" y="356"/>
                  </a:lnTo>
                  <a:lnTo>
                    <a:pt x="342" y="356"/>
                  </a:lnTo>
                  <a:lnTo>
                    <a:pt x="341" y="357"/>
                  </a:lnTo>
                  <a:lnTo>
                    <a:pt x="341" y="357"/>
                  </a:lnTo>
                  <a:lnTo>
                    <a:pt x="340" y="358"/>
                  </a:lnTo>
                  <a:lnTo>
                    <a:pt x="339" y="358"/>
                  </a:lnTo>
                  <a:lnTo>
                    <a:pt x="339" y="358"/>
                  </a:lnTo>
                  <a:lnTo>
                    <a:pt x="337" y="359"/>
                  </a:lnTo>
                  <a:lnTo>
                    <a:pt x="335" y="359"/>
                  </a:lnTo>
                  <a:lnTo>
                    <a:pt x="332" y="359"/>
                  </a:lnTo>
                  <a:lnTo>
                    <a:pt x="328" y="360"/>
                  </a:lnTo>
                  <a:lnTo>
                    <a:pt x="327" y="360"/>
                  </a:lnTo>
                  <a:lnTo>
                    <a:pt x="325" y="360"/>
                  </a:lnTo>
                  <a:lnTo>
                    <a:pt x="324" y="361"/>
                  </a:lnTo>
                  <a:lnTo>
                    <a:pt x="323" y="361"/>
                  </a:lnTo>
                  <a:lnTo>
                    <a:pt x="322" y="362"/>
                  </a:lnTo>
                  <a:lnTo>
                    <a:pt x="321" y="362"/>
                  </a:lnTo>
                  <a:lnTo>
                    <a:pt x="320" y="363"/>
                  </a:lnTo>
                  <a:lnTo>
                    <a:pt x="320" y="364"/>
                  </a:lnTo>
                  <a:lnTo>
                    <a:pt x="319" y="364"/>
                  </a:lnTo>
                  <a:lnTo>
                    <a:pt x="319" y="365"/>
                  </a:lnTo>
                  <a:lnTo>
                    <a:pt x="319" y="366"/>
                  </a:lnTo>
                  <a:lnTo>
                    <a:pt x="319" y="367"/>
                  </a:lnTo>
                  <a:lnTo>
                    <a:pt x="319" y="369"/>
                  </a:lnTo>
                  <a:lnTo>
                    <a:pt x="319" y="369"/>
                  </a:lnTo>
                  <a:lnTo>
                    <a:pt x="319" y="370"/>
                  </a:lnTo>
                  <a:lnTo>
                    <a:pt x="319" y="370"/>
                  </a:lnTo>
                  <a:lnTo>
                    <a:pt x="318" y="371"/>
                  </a:lnTo>
                  <a:lnTo>
                    <a:pt x="318" y="371"/>
                  </a:lnTo>
                  <a:lnTo>
                    <a:pt x="318" y="372"/>
                  </a:lnTo>
                  <a:lnTo>
                    <a:pt x="317" y="372"/>
                  </a:lnTo>
                  <a:lnTo>
                    <a:pt x="314" y="374"/>
                  </a:lnTo>
                  <a:lnTo>
                    <a:pt x="314" y="374"/>
                  </a:lnTo>
                  <a:lnTo>
                    <a:pt x="313" y="374"/>
                  </a:lnTo>
                  <a:lnTo>
                    <a:pt x="312" y="375"/>
                  </a:lnTo>
                  <a:lnTo>
                    <a:pt x="310" y="375"/>
                  </a:lnTo>
                  <a:lnTo>
                    <a:pt x="306" y="376"/>
                  </a:lnTo>
                  <a:lnTo>
                    <a:pt x="304" y="376"/>
                  </a:lnTo>
                  <a:lnTo>
                    <a:pt x="303" y="376"/>
                  </a:lnTo>
                  <a:lnTo>
                    <a:pt x="302" y="376"/>
                  </a:lnTo>
                  <a:lnTo>
                    <a:pt x="300" y="376"/>
                  </a:lnTo>
                  <a:lnTo>
                    <a:pt x="298" y="376"/>
                  </a:lnTo>
                  <a:lnTo>
                    <a:pt x="297" y="375"/>
                  </a:lnTo>
                  <a:lnTo>
                    <a:pt x="294" y="375"/>
                  </a:lnTo>
                  <a:lnTo>
                    <a:pt x="293" y="375"/>
                  </a:lnTo>
                  <a:lnTo>
                    <a:pt x="291" y="374"/>
                  </a:lnTo>
                  <a:lnTo>
                    <a:pt x="290" y="374"/>
                  </a:lnTo>
                  <a:lnTo>
                    <a:pt x="289" y="374"/>
                  </a:lnTo>
                  <a:lnTo>
                    <a:pt x="288" y="374"/>
                  </a:lnTo>
                  <a:lnTo>
                    <a:pt x="288" y="375"/>
                  </a:lnTo>
                  <a:lnTo>
                    <a:pt x="287" y="375"/>
                  </a:lnTo>
                  <a:lnTo>
                    <a:pt x="286" y="376"/>
                  </a:lnTo>
                  <a:lnTo>
                    <a:pt x="285" y="377"/>
                  </a:lnTo>
                  <a:lnTo>
                    <a:pt x="283" y="378"/>
                  </a:lnTo>
                  <a:lnTo>
                    <a:pt x="282" y="378"/>
                  </a:lnTo>
                  <a:lnTo>
                    <a:pt x="281" y="379"/>
                  </a:lnTo>
                  <a:lnTo>
                    <a:pt x="280" y="379"/>
                  </a:lnTo>
                  <a:lnTo>
                    <a:pt x="278" y="379"/>
                  </a:lnTo>
                  <a:lnTo>
                    <a:pt x="277" y="379"/>
                  </a:lnTo>
                  <a:lnTo>
                    <a:pt x="277" y="379"/>
                  </a:lnTo>
                  <a:lnTo>
                    <a:pt x="276" y="379"/>
                  </a:lnTo>
                  <a:lnTo>
                    <a:pt x="275" y="378"/>
                  </a:lnTo>
                  <a:lnTo>
                    <a:pt x="274" y="378"/>
                  </a:lnTo>
                  <a:lnTo>
                    <a:pt x="273" y="377"/>
                  </a:lnTo>
                  <a:lnTo>
                    <a:pt x="271" y="375"/>
                  </a:lnTo>
                  <a:lnTo>
                    <a:pt x="270" y="375"/>
                  </a:lnTo>
                  <a:lnTo>
                    <a:pt x="269" y="374"/>
                  </a:lnTo>
                  <a:lnTo>
                    <a:pt x="269" y="374"/>
                  </a:lnTo>
                  <a:lnTo>
                    <a:pt x="268" y="372"/>
                  </a:lnTo>
                  <a:lnTo>
                    <a:pt x="267" y="371"/>
                  </a:lnTo>
                  <a:lnTo>
                    <a:pt x="267" y="371"/>
                  </a:lnTo>
                  <a:lnTo>
                    <a:pt x="266" y="370"/>
                  </a:lnTo>
                  <a:lnTo>
                    <a:pt x="266" y="370"/>
                  </a:lnTo>
                  <a:lnTo>
                    <a:pt x="265" y="370"/>
                  </a:lnTo>
                  <a:lnTo>
                    <a:pt x="265" y="370"/>
                  </a:lnTo>
                  <a:lnTo>
                    <a:pt x="264" y="370"/>
                  </a:lnTo>
                  <a:lnTo>
                    <a:pt x="264" y="370"/>
                  </a:lnTo>
                  <a:lnTo>
                    <a:pt x="262" y="370"/>
                  </a:lnTo>
                  <a:lnTo>
                    <a:pt x="262" y="371"/>
                  </a:lnTo>
                  <a:lnTo>
                    <a:pt x="260" y="371"/>
                  </a:lnTo>
                  <a:lnTo>
                    <a:pt x="259" y="372"/>
                  </a:lnTo>
                  <a:lnTo>
                    <a:pt x="259" y="372"/>
                  </a:lnTo>
                  <a:lnTo>
                    <a:pt x="258" y="372"/>
                  </a:lnTo>
                  <a:lnTo>
                    <a:pt x="258" y="373"/>
                  </a:lnTo>
                  <a:lnTo>
                    <a:pt x="256" y="375"/>
                  </a:lnTo>
                  <a:lnTo>
                    <a:pt x="255" y="376"/>
                  </a:lnTo>
                  <a:lnTo>
                    <a:pt x="254" y="376"/>
                  </a:lnTo>
                  <a:lnTo>
                    <a:pt x="254" y="377"/>
                  </a:lnTo>
                  <a:lnTo>
                    <a:pt x="253" y="377"/>
                  </a:lnTo>
                  <a:lnTo>
                    <a:pt x="252" y="378"/>
                  </a:lnTo>
                  <a:lnTo>
                    <a:pt x="252" y="378"/>
                  </a:lnTo>
                  <a:lnTo>
                    <a:pt x="251" y="378"/>
                  </a:lnTo>
                  <a:lnTo>
                    <a:pt x="251" y="378"/>
                  </a:lnTo>
                  <a:lnTo>
                    <a:pt x="250" y="378"/>
                  </a:lnTo>
                  <a:lnTo>
                    <a:pt x="249" y="378"/>
                  </a:lnTo>
                  <a:lnTo>
                    <a:pt x="247" y="378"/>
                  </a:lnTo>
                  <a:lnTo>
                    <a:pt x="246" y="378"/>
                  </a:lnTo>
                  <a:lnTo>
                    <a:pt x="246" y="378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4" y="379"/>
                  </a:lnTo>
                  <a:lnTo>
                    <a:pt x="244" y="379"/>
                  </a:lnTo>
                  <a:lnTo>
                    <a:pt x="243" y="379"/>
                  </a:lnTo>
                  <a:lnTo>
                    <a:pt x="243" y="380"/>
                  </a:lnTo>
                  <a:lnTo>
                    <a:pt x="242" y="381"/>
                  </a:lnTo>
                  <a:lnTo>
                    <a:pt x="242" y="382"/>
                  </a:lnTo>
                  <a:lnTo>
                    <a:pt x="241" y="385"/>
                  </a:lnTo>
                  <a:lnTo>
                    <a:pt x="240" y="386"/>
                  </a:lnTo>
                  <a:lnTo>
                    <a:pt x="240" y="386"/>
                  </a:lnTo>
                  <a:lnTo>
                    <a:pt x="240" y="387"/>
                  </a:lnTo>
                  <a:lnTo>
                    <a:pt x="239" y="388"/>
                  </a:lnTo>
                  <a:lnTo>
                    <a:pt x="239" y="388"/>
                  </a:lnTo>
                  <a:lnTo>
                    <a:pt x="238" y="388"/>
                  </a:lnTo>
                  <a:lnTo>
                    <a:pt x="237" y="389"/>
                  </a:lnTo>
                  <a:lnTo>
                    <a:pt x="237" y="389"/>
                  </a:lnTo>
                  <a:lnTo>
                    <a:pt x="235" y="389"/>
                  </a:lnTo>
                  <a:lnTo>
                    <a:pt x="233" y="389"/>
                  </a:lnTo>
                  <a:lnTo>
                    <a:pt x="232" y="389"/>
                  </a:lnTo>
                  <a:lnTo>
                    <a:pt x="230" y="389"/>
                  </a:lnTo>
                  <a:lnTo>
                    <a:pt x="228" y="389"/>
                  </a:lnTo>
                  <a:lnTo>
                    <a:pt x="227" y="390"/>
                  </a:lnTo>
                  <a:lnTo>
                    <a:pt x="224" y="391"/>
                  </a:lnTo>
                  <a:lnTo>
                    <a:pt x="223" y="391"/>
                  </a:lnTo>
                  <a:lnTo>
                    <a:pt x="221" y="392"/>
                  </a:lnTo>
                  <a:lnTo>
                    <a:pt x="220" y="393"/>
                  </a:lnTo>
                  <a:lnTo>
                    <a:pt x="219" y="393"/>
                  </a:lnTo>
                  <a:lnTo>
                    <a:pt x="219" y="394"/>
                  </a:lnTo>
                  <a:lnTo>
                    <a:pt x="218" y="395"/>
                  </a:lnTo>
                  <a:lnTo>
                    <a:pt x="217" y="396"/>
                  </a:lnTo>
                  <a:lnTo>
                    <a:pt x="216" y="398"/>
                  </a:lnTo>
                  <a:lnTo>
                    <a:pt x="214" y="399"/>
                  </a:lnTo>
                  <a:lnTo>
                    <a:pt x="213" y="400"/>
                  </a:lnTo>
                  <a:lnTo>
                    <a:pt x="212" y="401"/>
                  </a:lnTo>
                  <a:lnTo>
                    <a:pt x="211" y="402"/>
                  </a:lnTo>
                  <a:lnTo>
                    <a:pt x="210" y="403"/>
                  </a:lnTo>
                  <a:lnTo>
                    <a:pt x="208" y="404"/>
                  </a:lnTo>
                  <a:lnTo>
                    <a:pt x="207" y="405"/>
                  </a:lnTo>
                  <a:lnTo>
                    <a:pt x="206" y="405"/>
                  </a:lnTo>
                  <a:lnTo>
                    <a:pt x="205" y="406"/>
                  </a:lnTo>
                  <a:lnTo>
                    <a:pt x="205" y="406"/>
                  </a:lnTo>
                  <a:lnTo>
                    <a:pt x="203" y="408"/>
                  </a:lnTo>
                  <a:lnTo>
                    <a:pt x="201" y="410"/>
                  </a:lnTo>
                  <a:lnTo>
                    <a:pt x="201" y="410"/>
                  </a:lnTo>
                  <a:lnTo>
                    <a:pt x="200" y="412"/>
                  </a:lnTo>
                  <a:lnTo>
                    <a:pt x="198" y="414"/>
                  </a:lnTo>
                  <a:lnTo>
                    <a:pt x="198" y="414"/>
                  </a:lnTo>
                  <a:lnTo>
                    <a:pt x="197" y="415"/>
                  </a:lnTo>
                  <a:lnTo>
                    <a:pt x="197" y="415"/>
                  </a:lnTo>
                  <a:lnTo>
                    <a:pt x="196" y="415"/>
                  </a:lnTo>
                  <a:lnTo>
                    <a:pt x="196" y="415"/>
                  </a:lnTo>
                  <a:lnTo>
                    <a:pt x="195" y="415"/>
                  </a:lnTo>
                  <a:lnTo>
                    <a:pt x="195" y="415"/>
                  </a:lnTo>
                  <a:lnTo>
                    <a:pt x="194" y="415"/>
                  </a:lnTo>
                  <a:lnTo>
                    <a:pt x="193" y="415"/>
                  </a:lnTo>
                  <a:lnTo>
                    <a:pt x="191" y="413"/>
                  </a:lnTo>
                  <a:lnTo>
                    <a:pt x="190" y="413"/>
                  </a:lnTo>
                  <a:lnTo>
                    <a:pt x="189" y="412"/>
                  </a:lnTo>
                  <a:lnTo>
                    <a:pt x="188" y="412"/>
                  </a:lnTo>
                  <a:lnTo>
                    <a:pt x="187" y="411"/>
                  </a:lnTo>
                  <a:lnTo>
                    <a:pt x="186" y="411"/>
                  </a:lnTo>
                  <a:lnTo>
                    <a:pt x="185" y="411"/>
                  </a:lnTo>
                  <a:lnTo>
                    <a:pt x="184" y="411"/>
                  </a:lnTo>
                  <a:lnTo>
                    <a:pt x="180" y="412"/>
                  </a:lnTo>
                  <a:lnTo>
                    <a:pt x="179" y="412"/>
                  </a:lnTo>
                  <a:lnTo>
                    <a:pt x="178" y="412"/>
                  </a:lnTo>
                  <a:lnTo>
                    <a:pt x="178" y="412"/>
                  </a:lnTo>
                  <a:lnTo>
                    <a:pt x="177" y="412"/>
                  </a:lnTo>
                  <a:lnTo>
                    <a:pt x="177" y="413"/>
                  </a:lnTo>
                  <a:lnTo>
                    <a:pt x="177" y="413"/>
                  </a:lnTo>
                  <a:lnTo>
                    <a:pt x="176" y="413"/>
                  </a:lnTo>
                  <a:lnTo>
                    <a:pt x="174" y="416"/>
                  </a:lnTo>
                  <a:lnTo>
                    <a:pt x="173" y="418"/>
                  </a:lnTo>
                  <a:lnTo>
                    <a:pt x="173" y="418"/>
                  </a:lnTo>
                  <a:lnTo>
                    <a:pt x="172" y="419"/>
                  </a:lnTo>
                  <a:lnTo>
                    <a:pt x="171" y="420"/>
                  </a:lnTo>
                  <a:lnTo>
                    <a:pt x="171" y="420"/>
                  </a:lnTo>
                  <a:lnTo>
                    <a:pt x="170" y="421"/>
                  </a:lnTo>
                  <a:lnTo>
                    <a:pt x="170" y="421"/>
                  </a:lnTo>
                  <a:lnTo>
                    <a:pt x="169" y="421"/>
                  </a:lnTo>
                  <a:lnTo>
                    <a:pt x="169" y="421"/>
                  </a:lnTo>
                  <a:lnTo>
                    <a:pt x="168" y="421"/>
                  </a:lnTo>
                  <a:lnTo>
                    <a:pt x="167" y="421"/>
                  </a:lnTo>
                  <a:lnTo>
                    <a:pt x="166" y="420"/>
                  </a:lnTo>
                  <a:lnTo>
                    <a:pt x="165" y="420"/>
                  </a:lnTo>
                  <a:lnTo>
                    <a:pt x="164" y="420"/>
                  </a:lnTo>
                  <a:lnTo>
                    <a:pt x="164" y="419"/>
                  </a:lnTo>
                  <a:lnTo>
                    <a:pt x="162" y="418"/>
                  </a:lnTo>
                  <a:lnTo>
                    <a:pt x="161" y="417"/>
                  </a:lnTo>
                  <a:lnTo>
                    <a:pt x="160" y="417"/>
                  </a:lnTo>
                  <a:lnTo>
                    <a:pt x="159" y="417"/>
                  </a:lnTo>
                  <a:lnTo>
                    <a:pt x="159" y="417"/>
                  </a:lnTo>
                  <a:lnTo>
                    <a:pt x="158" y="417"/>
                  </a:lnTo>
                  <a:lnTo>
                    <a:pt x="157" y="417"/>
                  </a:lnTo>
                  <a:lnTo>
                    <a:pt x="156" y="417"/>
                  </a:lnTo>
                  <a:lnTo>
                    <a:pt x="155" y="417"/>
                  </a:lnTo>
                  <a:lnTo>
                    <a:pt x="154" y="417"/>
                  </a:lnTo>
                  <a:lnTo>
                    <a:pt x="153" y="418"/>
                  </a:lnTo>
                  <a:lnTo>
                    <a:pt x="153" y="418"/>
                  </a:lnTo>
                  <a:lnTo>
                    <a:pt x="152" y="418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8"/>
                  </a:lnTo>
                  <a:lnTo>
                    <a:pt x="151" y="417"/>
                  </a:lnTo>
                  <a:lnTo>
                    <a:pt x="150" y="415"/>
                  </a:lnTo>
                  <a:lnTo>
                    <a:pt x="150" y="414"/>
                  </a:lnTo>
                  <a:lnTo>
                    <a:pt x="149" y="414"/>
                  </a:lnTo>
                  <a:lnTo>
                    <a:pt x="149" y="413"/>
                  </a:lnTo>
                  <a:lnTo>
                    <a:pt x="148" y="412"/>
                  </a:lnTo>
                  <a:lnTo>
                    <a:pt x="148" y="412"/>
                  </a:lnTo>
                  <a:lnTo>
                    <a:pt x="147" y="411"/>
                  </a:lnTo>
                  <a:lnTo>
                    <a:pt x="145" y="410"/>
                  </a:lnTo>
                  <a:lnTo>
                    <a:pt x="144" y="409"/>
                  </a:lnTo>
                  <a:lnTo>
                    <a:pt x="143" y="408"/>
                  </a:lnTo>
                  <a:lnTo>
                    <a:pt x="141" y="408"/>
                  </a:lnTo>
                  <a:lnTo>
                    <a:pt x="139" y="407"/>
                  </a:lnTo>
                  <a:lnTo>
                    <a:pt x="138" y="406"/>
                  </a:lnTo>
                  <a:lnTo>
                    <a:pt x="137" y="406"/>
                  </a:lnTo>
                  <a:lnTo>
                    <a:pt x="136" y="405"/>
                  </a:lnTo>
                  <a:lnTo>
                    <a:pt x="135" y="404"/>
                  </a:lnTo>
                  <a:lnTo>
                    <a:pt x="134" y="403"/>
                  </a:lnTo>
                  <a:lnTo>
                    <a:pt x="134" y="403"/>
                  </a:lnTo>
                  <a:lnTo>
                    <a:pt x="133" y="400"/>
                  </a:lnTo>
                  <a:lnTo>
                    <a:pt x="132" y="400"/>
                  </a:lnTo>
                  <a:lnTo>
                    <a:pt x="132" y="399"/>
                  </a:lnTo>
                  <a:lnTo>
                    <a:pt x="131" y="398"/>
                  </a:lnTo>
                  <a:lnTo>
                    <a:pt x="131" y="398"/>
                  </a:lnTo>
                  <a:lnTo>
                    <a:pt x="130" y="398"/>
                  </a:lnTo>
                  <a:lnTo>
                    <a:pt x="129" y="398"/>
                  </a:lnTo>
                  <a:lnTo>
                    <a:pt x="129" y="398"/>
                  </a:lnTo>
                  <a:lnTo>
                    <a:pt x="128" y="398"/>
                  </a:lnTo>
                  <a:lnTo>
                    <a:pt x="126" y="397"/>
                  </a:lnTo>
                  <a:lnTo>
                    <a:pt x="125" y="397"/>
                  </a:lnTo>
                  <a:lnTo>
                    <a:pt x="125" y="397"/>
                  </a:lnTo>
                  <a:lnTo>
                    <a:pt x="125" y="397"/>
                  </a:lnTo>
                  <a:lnTo>
                    <a:pt x="124" y="397"/>
                  </a:lnTo>
                  <a:lnTo>
                    <a:pt x="124" y="396"/>
                  </a:lnTo>
                  <a:lnTo>
                    <a:pt x="124" y="396"/>
                  </a:lnTo>
                  <a:lnTo>
                    <a:pt x="124" y="395"/>
                  </a:lnTo>
                  <a:lnTo>
                    <a:pt x="124" y="395"/>
                  </a:lnTo>
                  <a:lnTo>
                    <a:pt x="124" y="394"/>
                  </a:lnTo>
                  <a:lnTo>
                    <a:pt x="124" y="394"/>
                  </a:lnTo>
                  <a:lnTo>
                    <a:pt x="125" y="393"/>
                  </a:lnTo>
                  <a:lnTo>
                    <a:pt x="126" y="392"/>
                  </a:lnTo>
                  <a:lnTo>
                    <a:pt x="127" y="390"/>
                  </a:lnTo>
                  <a:lnTo>
                    <a:pt x="128" y="389"/>
                  </a:lnTo>
                  <a:lnTo>
                    <a:pt x="129" y="388"/>
                  </a:lnTo>
                  <a:lnTo>
                    <a:pt x="130" y="387"/>
                  </a:lnTo>
                  <a:lnTo>
                    <a:pt x="132" y="384"/>
                  </a:lnTo>
                  <a:lnTo>
                    <a:pt x="133" y="384"/>
                  </a:lnTo>
                  <a:lnTo>
                    <a:pt x="133" y="383"/>
                  </a:lnTo>
                  <a:lnTo>
                    <a:pt x="134" y="382"/>
                  </a:lnTo>
                  <a:lnTo>
                    <a:pt x="134" y="381"/>
                  </a:lnTo>
                  <a:lnTo>
                    <a:pt x="135" y="379"/>
                  </a:lnTo>
                  <a:lnTo>
                    <a:pt x="135" y="378"/>
                  </a:lnTo>
                  <a:lnTo>
                    <a:pt x="136" y="377"/>
                  </a:lnTo>
                  <a:lnTo>
                    <a:pt x="138" y="375"/>
                  </a:lnTo>
                  <a:lnTo>
                    <a:pt x="138" y="374"/>
                  </a:lnTo>
                  <a:lnTo>
                    <a:pt x="138" y="373"/>
                  </a:lnTo>
                  <a:lnTo>
                    <a:pt x="138" y="373"/>
                  </a:lnTo>
                  <a:lnTo>
                    <a:pt x="139" y="372"/>
                  </a:lnTo>
                  <a:lnTo>
                    <a:pt x="139" y="370"/>
                  </a:lnTo>
                  <a:lnTo>
                    <a:pt x="139" y="369"/>
                  </a:lnTo>
                  <a:lnTo>
                    <a:pt x="140" y="368"/>
                  </a:lnTo>
                  <a:lnTo>
                    <a:pt x="140" y="367"/>
                  </a:lnTo>
                  <a:lnTo>
                    <a:pt x="141" y="365"/>
                  </a:lnTo>
                  <a:lnTo>
                    <a:pt x="142" y="364"/>
                  </a:lnTo>
                  <a:lnTo>
                    <a:pt x="143" y="363"/>
                  </a:lnTo>
                  <a:lnTo>
                    <a:pt x="143" y="362"/>
                  </a:lnTo>
                  <a:lnTo>
                    <a:pt x="144" y="362"/>
                  </a:lnTo>
                  <a:lnTo>
                    <a:pt x="144" y="362"/>
                  </a:lnTo>
                  <a:lnTo>
                    <a:pt x="144" y="361"/>
                  </a:lnTo>
                  <a:lnTo>
                    <a:pt x="145" y="361"/>
                  </a:lnTo>
                  <a:lnTo>
                    <a:pt x="148" y="361"/>
                  </a:lnTo>
                  <a:lnTo>
                    <a:pt x="150" y="360"/>
                  </a:lnTo>
                  <a:lnTo>
                    <a:pt x="151" y="360"/>
                  </a:lnTo>
                  <a:lnTo>
                    <a:pt x="152" y="359"/>
                  </a:lnTo>
                  <a:lnTo>
                    <a:pt x="152" y="359"/>
                  </a:lnTo>
                  <a:lnTo>
                    <a:pt x="153" y="359"/>
                  </a:lnTo>
                  <a:lnTo>
                    <a:pt x="153" y="358"/>
                  </a:lnTo>
                  <a:lnTo>
                    <a:pt x="153" y="358"/>
                  </a:lnTo>
                  <a:lnTo>
                    <a:pt x="154" y="357"/>
                  </a:lnTo>
                  <a:lnTo>
                    <a:pt x="154" y="356"/>
                  </a:lnTo>
                  <a:lnTo>
                    <a:pt x="154" y="355"/>
                  </a:lnTo>
                  <a:lnTo>
                    <a:pt x="154" y="354"/>
                  </a:lnTo>
                  <a:lnTo>
                    <a:pt x="154" y="354"/>
                  </a:lnTo>
                  <a:lnTo>
                    <a:pt x="154" y="353"/>
                  </a:lnTo>
                  <a:lnTo>
                    <a:pt x="154" y="352"/>
                  </a:lnTo>
                  <a:lnTo>
                    <a:pt x="153" y="351"/>
                  </a:lnTo>
                  <a:lnTo>
                    <a:pt x="151" y="348"/>
                  </a:lnTo>
                  <a:lnTo>
                    <a:pt x="151" y="348"/>
                  </a:lnTo>
                  <a:lnTo>
                    <a:pt x="150" y="347"/>
                  </a:lnTo>
                  <a:lnTo>
                    <a:pt x="149" y="347"/>
                  </a:lnTo>
                  <a:lnTo>
                    <a:pt x="148" y="345"/>
                  </a:lnTo>
                  <a:lnTo>
                    <a:pt x="146" y="345"/>
                  </a:lnTo>
                  <a:lnTo>
                    <a:pt x="146" y="344"/>
                  </a:lnTo>
                  <a:lnTo>
                    <a:pt x="145" y="343"/>
                  </a:lnTo>
                  <a:lnTo>
                    <a:pt x="145" y="343"/>
                  </a:lnTo>
                  <a:lnTo>
                    <a:pt x="144" y="342"/>
                  </a:lnTo>
                  <a:lnTo>
                    <a:pt x="144" y="342"/>
                  </a:lnTo>
                  <a:lnTo>
                    <a:pt x="144" y="341"/>
                  </a:lnTo>
                  <a:lnTo>
                    <a:pt x="144" y="341"/>
                  </a:lnTo>
                  <a:lnTo>
                    <a:pt x="144" y="340"/>
                  </a:lnTo>
                  <a:lnTo>
                    <a:pt x="144" y="339"/>
                  </a:lnTo>
                  <a:lnTo>
                    <a:pt x="145" y="339"/>
                  </a:lnTo>
                  <a:lnTo>
                    <a:pt x="144" y="338"/>
                  </a:lnTo>
                  <a:lnTo>
                    <a:pt x="144" y="338"/>
                  </a:lnTo>
                  <a:lnTo>
                    <a:pt x="144" y="337"/>
                  </a:lnTo>
                  <a:lnTo>
                    <a:pt x="144" y="336"/>
                  </a:lnTo>
                  <a:lnTo>
                    <a:pt x="143" y="336"/>
                  </a:lnTo>
                  <a:lnTo>
                    <a:pt x="143" y="336"/>
                  </a:lnTo>
                  <a:lnTo>
                    <a:pt x="142" y="335"/>
                  </a:lnTo>
                  <a:lnTo>
                    <a:pt x="141" y="335"/>
                  </a:lnTo>
                  <a:lnTo>
                    <a:pt x="140" y="334"/>
                  </a:lnTo>
                  <a:lnTo>
                    <a:pt x="140" y="334"/>
                  </a:lnTo>
                  <a:lnTo>
                    <a:pt x="139" y="334"/>
                  </a:lnTo>
                  <a:lnTo>
                    <a:pt x="139" y="334"/>
                  </a:lnTo>
                  <a:lnTo>
                    <a:pt x="138" y="334"/>
                  </a:lnTo>
                  <a:lnTo>
                    <a:pt x="138" y="334"/>
                  </a:lnTo>
                  <a:lnTo>
                    <a:pt x="137" y="334"/>
                  </a:lnTo>
                  <a:lnTo>
                    <a:pt x="137" y="334"/>
                  </a:lnTo>
                  <a:lnTo>
                    <a:pt x="135" y="335"/>
                  </a:lnTo>
                  <a:lnTo>
                    <a:pt x="135" y="335"/>
                  </a:lnTo>
                  <a:lnTo>
                    <a:pt x="134" y="335"/>
                  </a:lnTo>
                  <a:lnTo>
                    <a:pt x="132" y="336"/>
                  </a:lnTo>
                  <a:lnTo>
                    <a:pt x="130" y="336"/>
                  </a:lnTo>
                  <a:lnTo>
                    <a:pt x="129" y="336"/>
                  </a:lnTo>
                  <a:lnTo>
                    <a:pt x="126" y="337"/>
                  </a:lnTo>
                  <a:lnTo>
                    <a:pt x="125" y="338"/>
                  </a:lnTo>
                  <a:lnTo>
                    <a:pt x="124" y="338"/>
                  </a:lnTo>
                  <a:lnTo>
                    <a:pt x="123" y="338"/>
                  </a:lnTo>
                  <a:lnTo>
                    <a:pt x="121" y="338"/>
                  </a:lnTo>
                  <a:lnTo>
                    <a:pt x="119" y="338"/>
                  </a:lnTo>
                  <a:lnTo>
                    <a:pt x="117" y="338"/>
                  </a:lnTo>
                  <a:lnTo>
                    <a:pt x="115" y="338"/>
                  </a:lnTo>
                  <a:lnTo>
                    <a:pt x="114" y="338"/>
                  </a:lnTo>
                  <a:lnTo>
                    <a:pt x="113" y="338"/>
                  </a:lnTo>
                  <a:lnTo>
                    <a:pt x="110" y="337"/>
                  </a:lnTo>
                  <a:lnTo>
                    <a:pt x="109" y="337"/>
                  </a:lnTo>
                  <a:lnTo>
                    <a:pt x="108" y="336"/>
                  </a:lnTo>
                  <a:lnTo>
                    <a:pt x="108" y="336"/>
                  </a:lnTo>
                  <a:lnTo>
                    <a:pt x="107" y="336"/>
                  </a:lnTo>
                  <a:lnTo>
                    <a:pt x="106" y="337"/>
                  </a:lnTo>
                  <a:lnTo>
                    <a:pt x="105" y="337"/>
                  </a:lnTo>
                  <a:lnTo>
                    <a:pt x="103" y="337"/>
                  </a:lnTo>
                  <a:lnTo>
                    <a:pt x="103" y="338"/>
                  </a:lnTo>
                  <a:lnTo>
                    <a:pt x="103" y="338"/>
                  </a:lnTo>
                  <a:lnTo>
                    <a:pt x="102" y="338"/>
                  </a:lnTo>
                  <a:lnTo>
                    <a:pt x="102" y="338"/>
                  </a:lnTo>
                  <a:lnTo>
                    <a:pt x="101" y="338"/>
                  </a:lnTo>
                  <a:lnTo>
                    <a:pt x="101" y="337"/>
                  </a:lnTo>
                  <a:lnTo>
                    <a:pt x="98" y="336"/>
                  </a:lnTo>
                  <a:lnTo>
                    <a:pt x="94" y="333"/>
                  </a:lnTo>
                  <a:lnTo>
                    <a:pt x="92" y="332"/>
                  </a:lnTo>
                  <a:lnTo>
                    <a:pt x="90" y="331"/>
                  </a:lnTo>
                  <a:lnTo>
                    <a:pt x="90" y="330"/>
                  </a:lnTo>
                  <a:lnTo>
                    <a:pt x="87" y="328"/>
                  </a:lnTo>
                  <a:lnTo>
                    <a:pt x="84" y="326"/>
                  </a:lnTo>
                  <a:lnTo>
                    <a:pt x="83" y="325"/>
                  </a:lnTo>
                  <a:lnTo>
                    <a:pt x="81" y="323"/>
                  </a:lnTo>
                  <a:lnTo>
                    <a:pt x="81" y="323"/>
                  </a:lnTo>
                  <a:lnTo>
                    <a:pt x="80" y="322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8" y="319"/>
                  </a:lnTo>
                  <a:lnTo>
                    <a:pt x="78" y="317"/>
                  </a:lnTo>
                  <a:lnTo>
                    <a:pt x="78" y="316"/>
                  </a:lnTo>
                  <a:lnTo>
                    <a:pt x="78" y="315"/>
                  </a:lnTo>
                  <a:lnTo>
                    <a:pt x="78" y="313"/>
                  </a:lnTo>
                  <a:lnTo>
                    <a:pt x="78" y="312"/>
                  </a:lnTo>
                  <a:lnTo>
                    <a:pt x="78" y="309"/>
                  </a:lnTo>
                  <a:lnTo>
                    <a:pt x="79" y="307"/>
                  </a:lnTo>
                  <a:lnTo>
                    <a:pt x="79" y="306"/>
                  </a:lnTo>
                  <a:lnTo>
                    <a:pt x="79" y="305"/>
                  </a:lnTo>
                  <a:lnTo>
                    <a:pt x="78" y="304"/>
                  </a:lnTo>
                  <a:lnTo>
                    <a:pt x="78" y="303"/>
                  </a:lnTo>
                  <a:lnTo>
                    <a:pt x="78" y="301"/>
                  </a:lnTo>
                  <a:lnTo>
                    <a:pt x="78" y="300"/>
                  </a:lnTo>
                  <a:lnTo>
                    <a:pt x="77" y="299"/>
                  </a:lnTo>
                  <a:lnTo>
                    <a:pt x="77" y="298"/>
                  </a:lnTo>
                  <a:lnTo>
                    <a:pt x="76" y="297"/>
                  </a:lnTo>
                  <a:lnTo>
                    <a:pt x="76" y="297"/>
                  </a:lnTo>
                  <a:lnTo>
                    <a:pt x="75" y="296"/>
                  </a:lnTo>
                  <a:lnTo>
                    <a:pt x="75" y="296"/>
                  </a:lnTo>
                  <a:lnTo>
                    <a:pt x="74" y="296"/>
                  </a:lnTo>
                  <a:lnTo>
                    <a:pt x="74" y="295"/>
                  </a:lnTo>
                  <a:lnTo>
                    <a:pt x="73" y="295"/>
                  </a:lnTo>
                  <a:lnTo>
                    <a:pt x="72" y="295"/>
                  </a:lnTo>
                  <a:lnTo>
                    <a:pt x="71" y="295"/>
                  </a:lnTo>
                  <a:lnTo>
                    <a:pt x="70" y="295"/>
                  </a:lnTo>
                  <a:lnTo>
                    <a:pt x="69" y="295"/>
                  </a:lnTo>
                  <a:lnTo>
                    <a:pt x="66" y="295"/>
                  </a:lnTo>
                  <a:lnTo>
                    <a:pt x="63" y="296"/>
                  </a:lnTo>
                  <a:lnTo>
                    <a:pt x="62" y="296"/>
                  </a:lnTo>
                  <a:lnTo>
                    <a:pt x="61" y="296"/>
                  </a:lnTo>
                  <a:lnTo>
                    <a:pt x="58" y="296"/>
                  </a:lnTo>
                  <a:lnTo>
                    <a:pt x="57" y="297"/>
                  </a:lnTo>
                  <a:lnTo>
                    <a:pt x="53" y="297"/>
                  </a:lnTo>
                  <a:lnTo>
                    <a:pt x="53" y="297"/>
                  </a:lnTo>
                  <a:lnTo>
                    <a:pt x="52" y="297"/>
                  </a:lnTo>
                  <a:lnTo>
                    <a:pt x="51" y="297"/>
                  </a:lnTo>
                  <a:lnTo>
                    <a:pt x="51" y="297"/>
                  </a:lnTo>
                  <a:lnTo>
                    <a:pt x="51" y="296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8" y="294"/>
                  </a:lnTo>
                  <a:lnTo>
                    <a:pt x="47" y="293"/>
                  </a:lnTo>
                  <a:lnTo>
                    <a:pt x="46" y="293"/>
                  </a:lnTo>
                  <a:lnTo>
                    <a:pt x="43" y="292"/>
                  </a:lnTo>
                  <a:lnTo>
                    <a:pt x="40" y="291"/>
                  </a:lnTo>
                  <a:lnTo>
                    <a:pt x="35" y="289"/>
                  </a:lnTo>
                  <a:lnTo>
                    <a:pt x="34" y="289"/>
                  </a:lnTo>
                  <a:lnTo>
                    <a:pt x="33" y="289"/>
                  </a:lnTo>
                  <a:lnTo>
                    <a:pt x="33" y="289"/>
                  </a:lnTo>
                  <a:lnTo>
                    <a:pt x="32" y="289"/>
                  </a:lnTo>
                  <a:lnTo>
                    <a:pt x="32" y="289"/>
                  </a:lnTo>
                  <a:lnTo>
                    <a:pt x="31" y="290"/>
                  </a:lnTo>
                  <a:lnTo>
                    <a:pt x="30" y="290"/>
                  </a:lnTo>
                  <a:lnTo>
                    <a:pt x="27" y="291"/>
                  </a:lnTo>
                  <a:lnTo>
                    <a:pt x="26" y="292"/>
                  </a:lnTo>
                  <a:lnTo>
                    <a:pt x="25" y="292"/>
                  </a:lnTo>
                  <a:lnTo>
                    <a:pt x="24" y="292"/>
                  </a:lnTo>
                  <a:lnTo>
                    <a:pt x="23" y="293"/>
                  </a:lnTo>
                  <a:lnTo>
                    <a:pt x="22" y="293"/>
                  </a:lnTo>
                  <a:lnTo>
                    <a:pt x="21" y="292"/>
                  </a:lnTo>
                  <a:lnTo>
                    <a:pt x="20" y="292"/>
                  </a:lnTo>
                  <a:lnTo>
                    <a:pt x="19" y="292"/>
                  </a:lnTo>
                  <a:lnTo>
                    <a:pt x="18" y="291"/>
                  </a:lnTo>
                  <a:lnTo>
                    <a:pt x="17" y="291"/>
                  </a:lnTo>
                  <a:lnTo>
                    <a:pt x="17" y="291"/>
                  </a:lnTo>
                  <a:lnTo>
                    <a:pt x="17" y="290"/>
                  </a:lnTo>
                  <a:lnTo>
                    <a:pt x="16" y="289"/>
                  </a:lnTo>
                  <a:lnTo>
                    <a:pt x="14" y="287"/>
                  </a:lnTo>
                  <a:lnTo>
                    <a:pt x="13" y="286"/>
                  </a:lnTo>
                  <a:lnTo>
                    <a:pt x="12" y="284"/>
                  </a:lnTo>
                  <a:lnTo>
                    <a:pt x="11" y="284"/>
                  </a:lnTo>
                  <a:lnTo>
                    <a:pt x="10" y="283"/>
                  </a:lnTo>
                  <a:lnTo>
                    <a:pt x="10" y="283"/>
                  </a:lnTo>
                  <a:lnTo>
                    <a:pt x="9" y="283"/>
                  </a:lnTo>
                  <a:lnTo>
                    <a:pt x="8" y="283"/>
                  </a:lnTo>
                  <a:lnTo>
                    <a:pt x="8" y="282"/>
                  </a:lnTo>
                  <a:lnTo>
                    <a:pt x="7" y="282"/>
                  </a:lnTo>
                  <a:lnTo>
                    <a:pt x="4" y="282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2" y="281"/>
                  </a:lnTo>
                  <a:lnTo>
                    <a:pt x="1" y="281"/>
                  </a:lnTo>
                  <a:lnTo>
                    <a:pt x="0" y="281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79"/>
                  </a:lnTo>
                  <a:lnTo>
                    <a:pt x="1" y="279"/>
                  </a:lnTo>
                  <a:lnTo>
                    <a:pt x="2" y="278"/>
                  </a:lnTo>
                  <a:lnTo>
                    <a:pt x="2" y="278"/>
                  </a:lnTo>
                  <a:lnTo>
                    <a:pt x="3" y="278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6"/>
                  </a:lnTo>
                  <a:lnTo>
                    <a:pt x="3" y="275"/>
                  </a:lnTo>
                  <a:lnTo>
                    <a:pt x="3" y="274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Freeform 30">
              <a:extLst>
                <a:ext uri="{FF2B5EF4-FFF2-40B4-BE49-F238E27FC236}">
                  <a16:creationId xmlns:a16="http://schemas.microsoft.com/office/drawing/2014/main" id="{0288C28E-0091-9909-959A-9958519CCE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" y="3418"/>
              <a:ext cx="185" cy="278"/>
            </a:xfrm>
            <a:custGeom>
              <a:avLst/>
              <a:gdLst>
                <a:gd name="T0" fmla="*/ 60 w 185"/>
                <a:gd name="T1" fmla="*/ 275 h 278"/>
                <a:gd name="T2" fmla="*/ 51 w 185"/>
                <a:gd name="T3" fmla="*/ 271 h 278"/>
                <a:gd name="T4" fmla="*/ 42 w 185"/>
                <a:gd name="T5" fmla="*/ 266 h 278"/>
                <a:gd name="T6" fmla="*/ 36 w 185"/>
                <a:gd name="T7" fmla="*/ 266 h 278"/>
                <a:gd name="T8" fmla="*/ 26 w 185"/>
                <a:gd name="T9" fmla="*/ 269 h 278"/>
                <a:gd name="T10" fmla="*/ 17 w 185"/>
                <a:gd name="T11" fmla="*/ 262 h 278"/>
                <a:gd name="T12" fmla="*/ 6 w 185"/>
                <a:gd name="T13" fmla="*/ 249 h 278"/>
                <a:gd name="T14" fmla="*/ 5 w 185"/>
                <a:gd name="T15" fmla="*/ 244 h 278"/>
                <a:gd name="T16" fmla="*/ 9 w 185"/>
                <a:gd name="T17" fmla="*/ 237 h 278"/>
                <a:gd name="T18" fmla="*/ 8 w 185"/>
                <a:gd name="T19" fmla="*/ 232 h 278"/>
                <a:gd name="T20" fmla="*/ 1 w 185"/>
                <a:gd name="T21" fmla="*/ 226 h 278"/>
                <a:gd name="T22" fmla="*/ 0 w 185"/>
                <a:gd name="T23" fmla="*/ 220 h 278"/>
                <a:gd name="T24" fmla="*/ 4 w 185"/>
                <a:gd name="T25" fmla="*/ 205 h 278"/>
                <a:gd name="T26" fmla="*/ 3 w 185"/>
                <a:gd name="T27" fmla="*/ 201 h 278"/>
                <a:gd name="T28" fmla="*/ 8 w 185"/>
                <a:gd name="T29" fmla="*/ 187 h 278"/>
                <a:gd name="T30" fmla="*/ 9 w 185"/>
                <a:gd name="T31" fmla="*/ 176 h 278"/>
                <a:gd name="T32" fmla="*/ 8 w 185"/>
                <a:gd name="T33" fmla="*/ 168 h 278"/>
                <a:gd name="T34" fmla="*/ 5 w 185"/>
                <a:gd name="T35" fmla="*/ 161 h 278"/>
                <a:gd name="T36" fmla="*/ 7 w 185"/>
                <a:gd name="T37" fmla="*/ 158 h 278"/>
                <a:gd name="T38" fmla="*/ 12 w 185"/>
                <a:gd name="T39" fmla="*/ 155 h 278"/>
                <a:gd name="T40" fmla="*/ 11 w 185"/>
                <a:gd name="T41" fmla="*/ 146 h 278"/>
                <a:gd name="T42" fmla="*/ 13 w 185"/>
                <a:gd name="T43" fmla="*/ 138 h 278"/>
                <a:gd name="T44" fmla="*/ 15 w 185"/>
                <a:gd name="T45" fmla="*/ 133 h 278"/>
                <a:gd name="T46" fmla="*/ 24 w 185"/>
                <a:gd name="T47" fmla="*/ 130 h 278"/>
                <a:gd name="T48" fmla="*/ 26 w 185"/>
                <a:gd name="T49" fmla="*/ 128 h 278"/>
                <a:gd name="T50" fmla="*/ 26 w 185"/>
                <a:gd name="T51" fmla="*/ 122 h 278"/>
                <a:gd name="T52" fmla="*/ 30 w 185"/>
                <a:gd name="T53" fmla="*/ 120 h 278"/>
                <a:gd name="T54" fmla="*/ 39 w 185"/>
                <a:gd name="T55" fmla="*/ 122 h 278"/>
                <a:gd name="T56" fmla="*/ 52 w 185"/>
                <a:gd name="T57" fmla="*/ 123 h 278"/>
                <a:gd name="T58" fmla="*/ 64 w 185"/>
                <a:gd name="T59" fmla="*/ 119 h 278"/>
                <a:gd name="T60" fmla="*/ 71 w 185"/>
                <a:gd name="T61" fmla="*/ 121 h 278"/>
                <a:gd name="T62" fmla="*/ 79 w 185"/>
                <a:gd name="T63" fmla="*/ 124 h 278"/>
                <a:gd name="T64" fmla="*/ 81 w 185"/>
                <a:gd name="T65" fmla="*/ 122 h 278"/>
                <a:gd name="T66" fmla="*/ 85 w 185"/>
                <a:gd name="T67" fmla="*/ 117 h 278"/>
                <a:gd name="T68" fmla="*/ 90 w 185"/>
                <a:gd name="T69" fmla="*/ 115 h 278"/>
                <a:gd name="T70" fmla="*/ 99 w 185"/>
                <a:gd name="T71" fmla="*/ 115 h 278"/>
                <a:gd name="T72" fmla="*/ 104 w 185"/>
                <a:gd name="T73" fmla="*/ 110 h 278"/>
                <a:gd name="T74" fmla="*/ 105 w 185"/>
                <a:gd name="T75" fmla="*/ 103 h 278"/>
                <a:gd name="T76" fmla="*/ 102 w 185"/>
                <a:gd name="T77" fmla="*/ 96 h 278"/>
                <a:gd name="T78" fmla="*/ 97 w 185"/>
                <a:gd name="T79" fmla="*/ 92 h 278"/>
                <a:gd name="T80" fmla="*/ 87 w 185"/>
                <a:gd name="T81" fmla="*/ 87 h 278"/>
                <a:gd name="T82" fmla="*/ 85 w 185"/>
                <a:gd name="T83" fmla="*/ 79 h 278"/>
                <a:gd name="T84" fmla="*/ 87 w 185"/>
                <a:gd name="T85" fmla="*/ 72 h 278"/>
                <a:gd name="T86" fmla="*/ 97 w 185"/>
                <a:gd name="T87" fmla="*/ 58 h 278"/>
                <a:gd name="T88" fmla="*/ 100 w 185"/>
                <a:gd name="T89" fmla="*/ 51 h 278"/>
                <a:gd name="T90" fmla="*/ 105 w 185"/>
                <a:gd name="T91" fmla="*/ 48 h 278"/>
                <a:gd name="T92" fmla="*/ 109 w 185"/>
                <a:gd name="T93" fmla="*/ 50 h 278"/>
                <a:gd name="T94" fmla="*/ 115 w 185"/>
                <a:gd name="T95" fmla="*/ 48 h 278"/>
                <a:gd name="T96" fmla="*/ 129 w 185"/>
                <a:gd name="T97" fmla="*/ 43 h 278"/>
                <a:gd name="T98" fmla="*/ 140 w 185"/>
                <a:gd name="T99" fmla="*/ 39 h 278"/>
                <a:gd name="T100" fmla="*/ 146 w 185"/>
                <a:gd name="T101" fmla="*/ 32 h 278"/>
                <a:gd name="T102" fmla="*/ 154 w 185"/>
                <a:gd name="T103" fmla="*/ 31 h 278"/>
                <a:gd name="T104" fmla="*/ 159 w 185"/>
                <a:gd name="T105" fmla="*/ 30 h 278"/>
                <a:gd name="T106" fmla="*/ 160 w 185"/>
                <a:gd name="T107" fmla="*/ 26 h 278"/>
                <a:gd name="T108" fmla="*/ 158 w 185"/>
                <a:gd name="T109" fmla="*/ 19 h 278"/>
                <a:gd name="T110" fmla="*/ 159 w 185"/>
                <a:gd name="T111" fmla="*/ 15 h 278"/>
                <a:gd name="T112" fmla="*/ 164 w 185"/>
                <a:gd name="T113" fmla="*/ 10 h 278"/>
                <a:gd name="T114" fmla="*/ 172 w 185"/>
                <a:gd name="T115" fmla="*/ 8 h 278"/>
                <a:gd name="T116" fmla="*/ 179 w 185"/>
                <a:gd name="T117" fmla="*/ 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5" h="278">
                  <a:moveTo>
                    <a:pt x="61" y="278"/>
                  </a:moveTo>
                  <a:lnTo>
                    <a:pt x="61" y="278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9" y="275"/>
                  </a:lnTo>
                  <a:lnTo>
                    <a:pt x="57" y="274"/>
                  </a:lnTo>
                  <a:lnTo>
                    <a:pt x="56" y="274"/>
                  </a:lnTo>
                  <a:lnTo>
                    <a:pt x="52" y="272"/>
                  </a:lnTo>
                  <a:lnTo>
                    <a:pt x="51" y="272"/>
                  </a:lnTo>
                  <a:lnTo>
                    <a:pt x="51" y="271"/>
                  </a:lnTo>
                  <a:lnTo>
                    <a:pt x="49" y="271"/>
                  </a:lnTo>
                  <a:lnTo>
                    <a:pt x="48" y="270"/>
                  </a:lnTo>
                  <a:lnTo>
                    <a:pt x="46" y="269"/>
                  </a:lnTo>
                  <a:lnTo>
                    <a:pt x="44" y="267"/>
                  </a:lnTo>
                  <a:lnTo>
                    <a:pt x="44" y="266"/>
                  </a:lnTo>
                  <a:lnTo>
                    <a:pt x="43" y="266"/>
                  </a:lnTo>
                  <a:lnTo>
                    <a:pt x="42" y="266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30" y="269"/>
                  </a:lnTo>
                  <a:lnTo>
                    <a:pt x="29" y="269"/>
                  </a:lnTo>
                  <a:lnTo>
                    <a:pt x="28" y="270"/>
                  </a:lnTo>
                  <a:lnTo>
                    <a:pt x="27" y="270"/>
                  </a:lnTo>
                  <a:lnTo>
                    <a:pt x="26" y="269"/>
                  </a:lnTo>
                  <a:lnTo>
                    <a:pt x="25" y="269"/>
                  </a:lnTo>
                  <a:lnTo>
                    <a:pt x="25" y="269"/>
                  </a:lnTo>
                  <a:lnTo>
                    <a:pt x="24" y="269"/>
                  </a:lnTo>
                  <a:lnTo>
                    <a:pt x="23" y="268"/>
                  </a:lnTo>
                  <a:lnTo>
                    <a:pt x="21" y="266"/>
                  </a:lnTo>
                  <a:lnTo>
                    <a:pt x="18" y="264"/>
                  </a:lnTo>
                  <a:lnTo>
                    <a:pt x="17" y="262"/>
                  </a:lnTo>
                  <a:lnTo>
                    <a:pt x="15" y="260"/>
                  </a:lnTo>
                  <a:lnTo>
                    <a:pt x="15" y="259"/>
                  </a:lnTo>
                  <a:lnTo>
                    <a:pt x="11" y="256"/>
                  </a:lnTo>
                  <a:lnTo>
                    <a:pt x="11" y="255"/>
                  </a:lnTo>
                  <a:lnTo>
                    <a:pt x="10" y="255"/>
                  </a:lnTo>
                  <a:lnTo>
                    <a:pt x="8" y="252"/>
                  </a:lnTo>
                  <a:lnTo>
                    <a:pt x="6" y="249"/>
                  </a:lnTo>
                  <a:lnTo>
                    <a:pt x="5" y="248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5" y="243"/>
                  </a:lnTo>
                  <a:lnTo>
                    <a:pt x="5" y="242"/>
                  </a:lnTo>
                  <a:lnTo>
                    <a:pt x="6" y="241"/>
                  </a:lnTo>
                  <a:lnTo>
                    <a:pt x="7" y="240"/>
                  </a:lnTo>
                  <a:lnTo>
                    <a:pt x="8" y="239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4"/>
                  </a:lnTo>
                  <a:lnTo>
                    <a:pt x="8" y="233"/>
                  </a:lnTo>
                  <a:lnTo>
                    <a:pt x="8" y="232"/>
                  </a:lnTo>
                  <a:lnTo>
                    <a:pt x="7" y="232"/>
                  </a:lnTo>
                  <a:lnTo>
                    <a:pt x="7" y="231"/>
                  </a:lnTo>
                  <a:lnTo>
                    <a:pt x="6" y="230"/>
                  </a:lnTo>
                  <a:lnTo>
                    <a:pt x="4" y="228"/>
                  </a:lnTo>
                  <a:lnTo>
                    <a:pt x="3" y="228"/>
                  </a:lnTo>
                  <a:lnTo>
                    <a:pt x="2" y="227"/>
                  </a:lnTo>
                  <a:lnTo>
                    <a:pt x="1" y="226"/>
                  </a:lnTo>
                  <a:lnTo>
                    <a:pt x="0" y="225"/>
                  </a:lnTo>
                  <a:lnTo>
                    <a:pt x="0" y="224"/>
                  </a:lnTo>
                  <a:lnTo>
                    <a:pt x="0" y="223"/>
                  </a:lnTo>
                  <a:lnTo>
                    <a:pt x="0" y="222"/>
                  </a:lnTo>
                  <a:lnTo>
                    <a:pt x="0" y="221"/>
                  </a:lnTo>
                  <a:lnTo>
                    <a:pt x="0" y="221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1" y="215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09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1"/>
                  </a:lnTo>
                  <a:lnTo>
                    <a:pt x="4" y="200"/>
                  </a:lnTo>
                  <a:lnTo>
                    <a:pt x="5" y="198"/>
                  </a:lnTo>
                  <a:lnTo>
                    <a:pt x="6" y="195"/>
                  </a:lnTo>
                  <a:lnTo>
                    <a:pt x="7" y="192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7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9" y="180"/>
                  </a:lnTo>
                  <a:lnTo>
                    <a:pt x="9" y="179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9" y="172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8" y="169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7" y="166"/>
                  </a:lnTo>
                  <a:lnTo>
                    <a:pt x="5" y="163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9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1" y="156"/>
                  </a:lnTo>
                  <a:lnTo>
                    <a:pt x="11" y="155"/>
                  </a:lnTo>
                  <a:lnTo>
                    <a:pt x="12" y="155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1" y="146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3" y="141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7" y="133"/>
                  </a:lnTo>
                  <a:lnTo>
                    <a:pt x="22" y="131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9" y="120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0"/>
                  </a:lnTo>
                  <a:lnTo>
                    <a:pt x="32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22"/>
                  </a:lnTo>
                  <a:lnTo>
                    <a:pt x="43" y="122"/>
                  </a:lnTo>
                  <a:lnTo>
                    <a:pt x="47" y="123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8" y="121"/>
                  </a:lnTo>
                  <a:lnTo>
                    <a:pt x="61" y="120"/>
                  </a:lnTo>
                  <a:lnTo>
                    <a:pt x="63" y="119"/>
                  </a:lnTo>
                  <a:lnTo>
                    <a:pt x="64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20"/>
                  </a:lnTo>
                  <a:lnTo>
                    <a:pt x="70" y="120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7" y="124"/>
                  </a:lnTo>
                  <a:lnTo>
                    <a:pt x="78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1" y="123"/>
                  </a:lnTo>
                  <a:lnTo>
                    <a:pt x="81" y="122"/>
                  </a:lnTo>
                  <a:lnTo>
                    <a:pt x="82" y="121"/>
                  </a:lnTo>
                  <a:lnTo>
                    <a:pt x="82" y="120"/>
                  </a:lnTo>
                  <a:lnTo>
                    <a:pt x="83" y="118"/>
                  </a:lnTo>
                  <a:lnTo>
                    <a:pt x="84" y="118"/>
                  </a:lnTo>
                  <a:lnTo>
                    <a:pt x="84" y="117"/>
                  </a:lnTo>
                  <a:lnTo>
                    <a:pt x="84" y="117"/>
                  </a:lnTo>
                  <a:lnTo>
                    <a:pt x="85" y="117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9" y="115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5" y="115"/>
                  </a:lnTo>
                  <a:lnTo>
                    <a:pt x="96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100" y="114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4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5" y="101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3" y="97"/>
                  </a:lnTo>
                  <a:lnTo>
                    <a:pt x="102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3"/>
                  </a:lnTo>
                  <a:lnTo>
                    <a:pt x="98" y="93"/>
                  </a:lnTo>
                  <a:lnTo>
                    <a:pt x="97" y="92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6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3"/>
                  </a:lnTo>
                  <a:lnTo>
                    <a:pt x="85" y="81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5" y="78"/>
                  </a:lnTo>
                  <a:lnTo>
                    <a:pt x="86" y="77"/>
                  </a:lnTo>
                  <a:lnTo>
                    <a:pt x="86" y="76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8" y="71"/>
                  </a:lnTo>
                  <a:lnTo>
                    <a:pt x="88" y="70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7" y="58"/>
                  </a:lnTo>
                  <a:lnTo>
                    <a:pt x="98" y="56"/>
                  </a:lnTo>
                  <a:lnTo>
                    <a:pt x="98" y="55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3" y="49"/>
                  </a:lnTo>
                  <a:lnTo>
                    <a:pt x="104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6" y="48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4" y="49"/>
                  </a:lnTo>
                  <a:lnTo>
                    <a:pt x="115" y="48"/>
                  </a:lnTo>
                  <a:lnTo>
                    <a:pt x="118" y="47"/>
                  </a:lnTo>
                  <a:lnTo>
                    <a:pt x="119" y="46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4" y="44"/>
                  </a:lnTo>
                  <a:lnTo>
                    <a:pt x="126" y="44"/>
                  </a:lnTo>
                  <a:lnTo>
                    <a:pt x="129" y="43"/>
                  </a:lnTo>
                  <a:lnTo>
                    <a:pt x="131" y="42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6" y="41"/>
                  </a:lnTo>
                  <a:lnTo>
                    <a:pt x="137" y="41"/>
                  </a:lnTo>
                  <a:lnTo>
                    <a:pt x="138" y="40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41" y="38"/>
                  </a:lnTo>
                  <a:lnTo>
                    <a:pt x="142" y="37"/>
                  </a:lnTo>
                  <a:lnTo>
                    <a:pt x="143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7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4" y="31"/>
                  </a:lnTo>
                  <a:lnTo>
                    <a:pt x="155" y="31"/>
                  </a:lnTo>
                  <a:lnTo>
                    <a:pt x="156" y="31"/>
                  </a:lnTo>
                  <a:lnTo>
                    <a:pt x="157" y="31"/>
                  </a:lnTo>
                  <a:lnTo>
                    <a:pt x="158" y="31"/>
                  </a:lnTo>
                  <a:lnTo>
                    <a:pt x="158" y="30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7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5"/>
                  </a:lnTo>
                  <a:lnTo>
                    <a:pt x="160" y="24"/>
                  </a:lnTo>
                  <a:lnTo>
                    <a:pt x="159" y="23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7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4"/>
                  </a:lnTo>
                  <a:lnTo>
                    <a:pt x="160" y="13"/>
                  </a:lnTo>
                  <a:lnTo>
                    <a:pt x="162" y="12"/>
                  </a:lnTo>
                  <a:lnTo>
                    <a:pt x="162" y="11"/>
                  </a:lnTo>
                  <a:lnTo>
                    <a:pt x="163" y="11"/>
                  </a:lnTo>
                  <a:lnTo>
                    <a:pt x="163" y="10"/>
                  </a:lnTo>
                  <a:lnTo>
                    <a:pt x="164" y="10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9"/>
                  </a:lnTo>
                  <a:lnTo>
                    <a:pt x="170" y="9"/>
                  </a:lnTo>
                  <a:lnTo>
                    <a:pt x="171" y="9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8" y="4"/>
                  </a:lnTo>
                  <a:lnTo>
                    <a:pt x="179" y="3"/>
                  </a:lnTo>
                  <a:lnTo>
                    <a:pt x="179" y="2"/>
                  </a:lnTo>
                  <a:lnTo>
                    <a:pt x="180" y="2"/>
                  </a:lnTo>
                  <a:lnTo>
                    <a:pt x="180" y="1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80" y="1"/>
                  </a:lnTo>
                  <a:lnTo>
                    <a:pt x="185" y="4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Freeform 31">
              <a:extLst>
                <a:ext uri="{FF2B5EF4-FFF2-40B4-BE49-F238E27FC236}">
                  <a16:creationId xmlns:a16="http://schemas.microsoft.com/office/drawing/2014/main" id="{9BD4A4A8-02D7-06D8-95F6-79172992F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21"/>
              <a:ext cx="642" cy="464"/>
            </a:xfrm>
            <a:custGeom>
              <a:avLst/>
              <a:gdLst>
                <a:gd name="T0" fmla="*/ 339 w 642"/>
                <a:gd name="T1" fmla="*/ 2 h 464"/>
                <a:gd name="T2" fmla="*/ 375 w 642"/>
                <a:gd name="T3" fmla="*/ 17 h 464"/>
                <a:gd name="T4" fmla="*/ 360 w 642"/>
                <a:gd name="T5" fmla="*/ 32 h 464"/>
                <a:gd name="T6" fmla="*/ 381 w 642"/>
                <a:gd name="T7" fmla="*/ 46 h 464"/>
                <a:gd name="T8" fmla="*/ 384 w 642"/>
                <a:gd name="T9" fmla="*/ 87 h 464"/>
                <a:gd name="T10" fmla="*/ 390 w 642"/>
                <a:gd name="T11" fmla="*/ 109 h 464"/>
                <a:gd name="T12" fmla="*/ 410 w 642"/>
                <a:gd name="T13" fmla="*/ 87 h 464"/>
                <a:gd name="T14" fmla="*/ 403 w 642"/>
                <a:gd name="T15" fmla="*/ 62 h 464"/>
                <a:gd name="T16" fmla="*/ 430 w 642"/>
                <a:gd name="T17" fmla="*/ 77 h 464"/>
                <a:gd name="T18" fmla="*/ 448 w 642"/>
                <a:gd name="T19" fmla="*/ 106 h 464"/>
                <a:gd name="T20" fmla="*/ 452 w 642"/>
                <a:gd name="T21" fmla="*/ 121 h 464"/>
                <a:gd name="T22" fmla="*/ 483 w 642"/>
                <a:gd name="T23" fmla="*/ 146 h 464"/>
                <a:gd name="T24" fmla="*/ 488 w 642"/>
                <a:gd name="T25" fmla="*/ 200 h 464"/>
                <a:gd name="T26" fmla="*/ 500 w 642"/>
                <a:gd name="T27" fmla="*/ 213 h 464"/>
                <a:gd name="T28" fmla="*/ 478 w 642"/>
                <a:gd name="T29" fmla="*/ 242 h 464"/>
                <a:gd name="T30" fmla="*/ 504 w 642"/>
                <a:gd name="T31" fmla="*/ 246 h 464"/>
                <a:gd name="T32" fmla="*/ 517 w 642"/>
                <a:gd name="T33" fmla="*/ 270 h 464"/>
                <a:gd name="T34" fmla="*/ 551 w 642"/>
                <a:gd name="T35" fmla="*/ 287 h 464"/>
                <a:gd name="T36" fmla="*/ 578 w 642"/>
                <a:gd name="T37" fmla="*/ 304 h 464"/>
                <a:gd name="T38" fmla="*/ 610 w 642"/>
                <a:gd name="T39" fmla="*/ 313 h 464"/>
                <a:gd name="T40" fmla="*/ 641 w 642"/>
                <a:gd name="T41" fmla="*/ 348 h 464"/>
                <a:gd name="T42" fmla="*/ 611 w 642"/>
                <a:gd name="T43" fmla="*/ 367 h 464"/>
                <a:gd name="T44" fmla="*/ 583 w 642"/>
                <a:gd name="T45" fmla="*/ 358 h 464"/>
                <a:gd name="T46" fmla="*/ 546 w 642"/>
                <a:gd name="T47" fmla="*/ 362 h 464"/>
                <a:gd name="T48" fmla="*/ 503 w 642"/>
                <a:gd name="T49" fmla="*/ 347 h 464"/>
                <a:gd name="T50" fmla="*/ 462 w 642"/>
                <a:gd name="T51" fmla="*/ 396 h 464"/>
                <a:gd name="T52" fmla="*/ 435 w 642"/>
                <a:gd name="T53" fmla="*/ 458 h 464"/>
                <a:gd name="T54" fmla="*/ 422 w 642"/>
                <a:gd name="T55" fmla="*/ 442 h 464"/>
                <a:gd name="T56" fmla="*/ 403 w 642"/>
                <a:gd name="T57" fmla="*/ 421 h 464"/>
                <a:gd name="T58" fmla="*/ 358 w 642"/>
                <a:gd name="T59" fmla="*/ 413 h 464"/>
                <a:gd name="T60" fmla="*/ 342 w 642"/>
                <a:gd name="T61" fmla="*/ 394 h 464"/>
                <a:gd name="T62" fmla="*/ 304 w 642"/>
                <a:gd name="T63" fmla="*/ 381 h 464"/>
                <a:gd name="T64" fmla="*/ 269 w 642"/>
                <a:gd name="T65" fmla="*/ 405 h 464"/>
                <a:gd name="T66" fmla="*/ 242 w 642"/>
                <a:gd name="T67" fmla="*/ 415 h 464"/>
                <a:gd name="T68" fmla="*/ 181 w 642"/>
                <a:gd name="T69" fmla="*/ 412 h 464"/>
                <a:gd name="T70" fmla="*/ 127 w 642"/>
                <a:gd name="T71" fmla="*/ 385 h 464"/>
                <a:gd name="T72" fmla="*/ 110 w 642"/>
                <a:gd name="T73" fmla="*/ 370 h 464"/>
                <a:gd name="T74" fmla="*/ 92 w 642"/>
                <a:gd name="T75" fmla="*/ 356 h 464"/>
                <a:gd name="T76" fmla="*/ 61 w 642"/>
                <a:gd name="T77" fmla="*/ 362 h 464"/>
                <a:gd name="T78" fmla="*/ 7 w 642"/>
                <a:gd name="T79" fmla="*/ 341 h 464"/>
                <a:gd name="T80" fmla="*/ 8 w 642"/>
                <a:gd name="T81" fmla="*/ 323 h 464"/>
                <a:gd name="T82" fmla="*/ 27 w 642"/>
                <a:gd name="T83" fmla="*/ 321 h 464"/>
                <a:gd name="T84" fmla="*/ 51 w 642"/>
                <a:gd name="T85" fmla="*/ 314 h 464"/>
                <a:gd name="T86" fmla="*/ 78 w 642"/>
                <a:gd name="T87" fmla="*/ 297 h 464"/>
                <a:gd name="T88" fmla="*/ 105 w 642"/>
                <a:gd name="T89" fmla="*/ 280 h 464"/>
                <a:gd name="T90" fmla="*/ 125 w 642"/>
                <a:gd name="T91" fmla="*/ 271 h 464"/>
                <a:gd name="T92" fmla="*/ 149 w 642"/>
                <a:gd name="T93" fmla="*/ 275 h 464"/>
                <a:gd name="T94" fmla="*/ 180 w 642"/>
                <a:gd name="T95" fmla="*/ 267 h 464"/>
                <a:gd name="T96" fmla="*/ 207 w 642"/>
                <a:gd name="T97" fmla="*/ 251 h 464"/>
                <a:gd name="T98" fmla="*/ 203 w 642"/>
                <a:gd name="T99" fmla="*/ 231 h 464"/>
                <a:gd name="T100" fmla="*/ 210 w 642"/>
                <a:gd name="T101" fmla="*/ 214 h 464"/>
                <a:gd name="T102" fmla="*/ 211 w 642"/>
                <a:gd name="T103" fmla="*/ 194 h 464"/>
                <a:gd name="T104" fmla="*/ 222 w 642"/>
                <a:gd name="T105" fmla="*/ 172 h 464"/>
                <a:gd name="T106" fmla="*/ 223 w 642"/>
                <a:gd name="T107" fmla="*/ 147 h 464"/>
                <a:gd name="T108" fmla="*/ 210 w 642"/>
                <a:gd name="T109" fmla="*/ 134 h 464"/>
                <a:gd name="T110" fmla="*/ 216 w 642"/>
                <a:gd name="T111" fmla="*/ 99 h 464"/>
                <a:gd name="T112" fmla="*/ 233 w 642"/>
                <a:gd name="T113" fmla="*/ 87 h 464"/>
                <a:gd name="T114" fmla="*/ 240 w 642"/>
                <a:gd name="T115" fmla="*/ 78 h 464"/>
                <a:gd name="T116" fmla="*/ 251 w 642"/>
                <a:gd name="T117" fmla="*/ 73 h 464"/>
                <a:gd name="T118" fmla="*/ 256 w 642"/>
                <a:gd name="T119" fmla="*/ 58 h 464"/>
                <a:gd name="T120" fmla="*/ 250 w 642"/>
                <a:gd name="T121" fmla="*/ 37 h 464"/>
                <a:gd name="T122" fmla="*/ 266 w 642"/>
                <a:gd name="T123" fmla="*/ 17 h 464"/>
                <a:gd name="T124" fmla="*/ 297 w 642"/>
                <a:gd name="T125" fmla="*/ 17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42" h="464">
                  <a:moveTo>
                    <a:pt x="303" y="0"/>
                  </a:moveTo>
                  <a:lnTo>
                    <a:pt x="303" y="0"/>
                  </a:lnTo>
                  <a:lnTo>
                    <a:pt x="304" y="0"/>
                  </a:lnTo>
                  <a:lnTo>
                    <a:pt x="305" y="1"/>
                  </a:lnTo>
                  <a:lnTo>
                    <a:pt x="308" y="1"/>
                  </a:lnTo>
                  <a:lnTo>
                    <a:pt x="309" y="2"/>
                  </a:lnTo>
                  <a:lnTo>
                    <a:pt x="311" y="2"/>
                  </a:lnTo>
                  <a:lnTo>
                    <a:pt x="314" y="2"/>
                  </a:lnTo>
                  <a:lnTo>
                    <a:pt x="316" y="2"/>
                  </a:lnTo>
                  <a:lnTo>
                    <a:pt x="317" y="2"/>
                  </a:lnTo>
                  <a:lnTo>
                    <a:pt x="319" y="2"/>
                  </a:lnTo>
                  <a:lnTo>
                    <a:pt x="322" y="1"/>
                  </a:lnTo>
                  <a:lnTo>
                    <a:pt x="322" y="1"/>
                  </a:lnTo>
                  <a:lnTo>
                    <a:pt x="323" y="1"/>
                  </a:lnTo>
                  <a:lnTo>
                    <a:pt x="324" y="1"/>
                  </a:lnTo>
                  <a:lnTo>
                    <a:pt x="325" y="1"/>
                  </a:lnTo>
                  <a:lnTo>
                    <a:pt x="326" y="1"/>
                  </a:lnTo>
                  <a:lnTo>
                    <a:pt x="329" y="2"/>
                  </a:lnTo>
                  <a:lnTo>
                    <a:pt x="329" y="2"/>
                  </a:lnTo>
                  <a:lnTo>
                    <a:pt x="330" y="2"/>
                  </a:lnTo>
                  <a:lnTo>
                    <a:pt x="331" y="2"/>
                  </a:lnTo>
                  <a:lnTo>
                    <a:pt x="332" y="2"/>
                  </a:lnTo>
                  <a:lnTo>
                    <a:pt x="334" y="2"/>
                  </a:lnTo>
                  <a:lnTo>
                    <a:pt x="336" y="1"/>
                  </a:lnTo>
                  <a:lnTo>
                    <a:pt x="337" y="1"/>
                  </a:lnTo>
                  <a:lnTo>
                    <a:pt x="338" y="1"/>
                  </a:lnTo>
                  <a:lnTo>
                    <a:pt x="339" y="2"/>
                  </a:lnTo>
                  <a:lnTo>
                    <a:pt x="342" y="2"/>
                  </a:lnTo>
                  <a:lnTo>
                    <a:pt x="343" y="2"/>
                  </a:lnTo>
                  <a:lnTo>
                    <a:pt x="344" y="2"/>
                  </a:lnTo>
                  <a:lnTo>
                    <a:pt x="346" y="3"/>
                  </a:lnTo>
                  <a:lnTo>
                    <a:pt x="347" y="3"/>
                  </a:lnTo>
                  <a:lnTo>
                    <a:pt x="348" y="4"/>
                  </a:lnTo>
                  <a:lnTo>
                    <a:pt x="350" y="4"/>
                  </a:lnTo>
                  <a:lnTo>
                    <a:pt x="352" y="5"/>
                  </a:lnTo>
                  <a:lnTo>
                    <a:pt x="359" y="9"/>
                  </a:lnTo>
                  <a:lnTo>
                    <a:pt x="361" y="9"/>
                  </a:lnTo>
                  <a:lnTo>
                    <a:pt x="362" y="10"/>
                  </a:lnTo>
                  <a:lnTo>
                    <a:pt x="364" y="11"/>
                  </a:lnTo>
                  <a:lnTo>
                    <a:pt x="366" y="11"/>
                  </a:lnTo>
                  <a:lnTo>
                    <a:pt x="367" y="12"/>
                  </a:lnTo>
                  <a:lnTo>
                    <a:pt x="369" y="12"/>
                  </a:lnTo>
                  <a:lnTo>
                    <a:pt x="371" y="13"/>
                  </a:lnTo>
                  <a:lnTo>
                    <a:pt x="372" y="13"/>
                  </a:lnTo>
                  <a:lnTo>
                    <a:pt x="373" y="13"/>
                  </a:lnTo>
                  <a:lnTo>
                    <a:pt x="375" y="13"/>
                  </a:lnTo>
                  <a:lnTo>
                    <a:pt x="376" y="13"/>
                  </a:lnTo>
                  <a:lnTo>
                    <a:pt x="376" y="13"/>
                  </a:lnTo>
                  <a:lnTo>
                    <a:pt x="377" y="13"/>
                  </a:lnTo>
                  <a:lnTo>
                    <a:pt x="376" y="13"/>
                  </a:lnTo>
                  <a:lnTo>
                    <a:pt x="376" y="14"/>
                  </a:lnTo>
                  <a:lnTo>
                    <a:pt x="376" y="15"/>
                  </a:lnTo>
                  <a:lnTo>
                    <a:pt x="375" y="16"/>
                  </a:lnTo>
                  <a:lnTo>
                    <a:pt x="375" y="17"/>
                  </a:lnTo>
                  <a:lnTo>
                    <a:pt x="374" y="20"/>
                  </a:lnTo>
                  <a:lnTo>
                    <a:pt x="374" y="20"/>
                  </a:lnTo>
                  <a:lnTo>
                    <a:pt x="374" y="21"/>
                  </a:lnTo>
                  <a:lnTo>
                    <a:pt x="374" y="21"/>
                  </a:lnTo>
                  <a:lnTo>
                    <a:pt x="373" y="22"/>
                  </a:lnTo>
                  <a:lnTo>
                    <a:pt x="373" y="22"/>
                  </a:lnTo>
                  <a:lnTo>
                    <a:pt x="372" y="22"/>
                  </a:lnTo>
                  <a:lnTo>
                    <a:pt x="372" y="23"/>
                  </a:lnTo>
                  <a:lnTo>
                    <a:pt x="372" y="23"/>
                  </a:lnTo>
                  <a:lnTo>
                    <a:pt x="371" y="23"/>
                  </a:lnTo>
                  <a:lnTo>
                    <a:pt x="370" y="23"/>
                  </a:lnTo>
                  <a:lnTo>
                    <a:pt x="369" y="23"/>
                  </a:lnTo>
                  <a:lnTo>
                    <a:pt x="365" y="22"/>
                  </a:lnTo>
                  <a:lnTo>
                    <a:pt x="362" y="21"/>
                  </a:lnTo>
                  <a:lnTo>
                    <a:pt x="362" y="21"/>
                  </a:lnTo>
                  <a:lnTo>
                    <a:pt x="361" y="21"/>
                  </a:lnTo>
                  <a:lnTo>
                    <a:pt x="361" y="22"/>
                  </a:lnTo>
                  <a:lnTo>
                    <a:pt x="360" y="22"/>
                  </a:lnTo>
                  <a:lnTo>
                    <a:pt x="360" y="22"/>
                  </a:lnTo>
                  <a:lnTo>
                    <a:pt x="360" y="23"/>
                  </a:lnTo>
                  <a:lnTo>
                    <a:pt x="360" y="24"/>
                  </a:lnTo>
                  <a:lnTo>
                    <a:pt x="359" y="25"/>
                  </a:lnTo>
                  <a:lnTo>
                    <a:pt x="359" y="26"/>
                  </a:lnTo>
                  <a:lnTo>
                    <a:pt x="359" y="27"/>
                  </a:lnTo>
                  <a:lnTo>
                    <a:pt x="360" y="30"/>
                  </a:lnTo>
                  <a:lnTo>
                    <a:pt x="360" y="31"/>
                  </a:lnTo>
                  <a:lnTo>
                    <a:pt x="360" y="32"/>
                  </a:lnTo>
                  <a:lnTo>
                    <a:pt x="360" y="34"/>
                  </a:lnTo>
                  <a:lnTo>
                    <a:pt x="360" y="35"/>
                  </a:lnTo>
                  <a:lnTo>
                    <a:pt x="360" y="36"/>
                  </a:lnTo>
                  <a:lnTo>
                    <a:pt x="360" y="36"/>
                  </a:lnTo>
                  <a:lnTo>
                    <a:pt x="360" y="37"/>
                  </a:lnTo>
                  <a:lnTo>
                    <a:pt x="360" y="37"/>
                  </a:lnTo>
                  <a:lnTo>
                    <a:pt x="361" y="37"/>
                  </a:lnTo>
                  <a:lnTo>
                    <a:pt x="361" y="38"/>
                  </a:lnTo>
                  <a:lnTo>
                    <a:pt x="362" y="38"/>
                  </a:lnTo>
                  <a:lnTo>
                    <a:pt x="362" y="38"/>
                  </a:lnTo>
                  <a:lnTo>
                    <a:pt x="365" y="39"/>
                  </a:lnTo>
                  <a:lnTo>
                    <a:pt x="368" y="40"/>
                  </a:lnTo>
                  <a:lnTo>
                    <a:pt x="372" y="41"/>
                  </a:lnTo>
                  <a:lnTo>
                    <a:pt x="374" y="42"/>
                  </a:lnTo>
                  <a:lnTo>
                    <a:pt x="376" y="42"/>
                  </a:lnTo>
                  <a:lnTo>
                    <a:pt x="377" y="42"/>
                  </a:lnTo>
                  <a:lnTo>
                    <a:pt x="379" y="42"/>
                  </a:lnTo>
                  <a:lnTo>
                    <a:pt x="381" y="43"/>
                  </a:lnTo>
                  <a:lnTo>
                    <a:pt x="382" y="43"/>
                  </a:lnTo>
                  <a:lnTo>
                    <a:pt x="382" y="43"/>
                  </a:lnTo>
                  <a:lnTo>
                    <a:pt x="383" y="43"/>
                  </a:lnTo>
                  <a:lnTo>
                    <a:pt x="383" y="44"/>
                  </a:lnTo>
                  <a:lnTo>
                    <a:pt x="383" y="44"/>
                  </a:lnTo>
                  <a:lnTo>
                    <a:pt x="382" y="44"/>
                  </a:lnTo>
                  <a:lnTo>
                    <a:pt x="382" y="45"/>
                  </a:lnTo>
                  <a:lnTo>
                    <a:pt x="381" y="45"/>
                  </a:lnTo>
                  <a:lnTo>
                    <a:pt x="381" y="46"/>
                  </a:lnTo>
                  <a:lnTo>
                    <a:pt x="380" y="47"/>
                  </a:lnTo>
                  <a:lnTo>
                    <a:pt x="379" y="47"/>
                  </a:lnTo>
                  <a:lnTo>
                    <a:pt x="379" y="48"/>
                  </a:lnTo>
                  <a:lnTo>
                    <a:pt x="377" y="50"/>
                  </a:lnTo>
                  <a:lnTo>
                    <a:pt x="377" y="51"/>
                  </a:lnTo>
                  <a:lnTo>
                    <a:pt x="375" y="54"/>
                  </a:lnTo>
                  <a:lnTo>
                    <a:pt x="374" y="55"/>
                  </a:lnTo>
                  <a:lnTo>
                    <a:pt x="374" y="56"/>
                  </a:lnTo>
                  <a:lnTo>
                    <a:pt x="374" y="58"/>
                  </a:lnTo>
                  <a:lnTo>
                    <a:pt x="374" y="59"/>
                  </a:lnTo>
                  <a:lnTo>
                    <a:pt x="374" y="61"/>
                  </a:lnTo>
                  <a:lnTo>
                    <a:pt x="374" y="62"/>
                  </a:lnTo>
                  <a:lnTo>
                    <a:pt x="374" y="64"/>
                  </a:lnTo>
                  <a:lnTo>
                    <a:pt x="374" y="65"/>
                  </a:lnTo>
                  <a:lnTo>
                    <a:pt x="375" y="68"/>
                  </a:lnTo>
                  <a:lnTo>
                    <a:pt x="376" y="72"/>
                  </a:lnTo>
                  <a:lnTo>
                    <a:pt x="377" y="75"/>
                  </a:lnTo>
                  <a:lnTo>
                    <a:pt x="377" y="76"/>
                  </a:lnTo>
                  <a:lnTo>
                    <a:pt x="378" y="77"/>
                  </a:lnTo>
                  <a:lnTo>
                    <a:pt x="378" y="78"/>
                  </a:lnTo>
                  <a:lnTo>
                    <a:pt x="379" y="79"/>
                  </a:lnTo>
                  <a:lnTo>
                    <a:pt x="381" y="82"/>
                  </a:lnTo>
                  <a:lnTo>
                    <a:pt x="382" y="83"/>
                  </a:lnTo>
                  <a:lnTo>
                    <a:pt x="382" y="84"/>
                  </a:lnTo>
                  <a:lnTo>
                    <a:pt x="383" y="85"/>
                  </a:lnTo>
                  <a:lnTo>
                    <a:pt x="383" y="86"/>
                  </a:lnTo>
                  <a:lnTo>
                    <a:pt x="384" y="87"/>
                  </a:lnTo>
                  <a:lnTo>
                    <a:pt x="384" y="88"/>
                  </a:lnTo>
                  <a:lnTo>
                    <a:pt x="383" y="88"/>
                  </a:lnTo>
                  <a:lnTo>
                    <a:pt x="383" y="89"/>
                  </a:lnTo>
                  <a:lnTo>
                    <a:pt x="383" y="89"/>
                  </a:lnTo>
                  <a:lnTo>
                    <a:pt x="383" y="90"/>
                  </a:lnTo>
                  <a:lnTo>
                    <a:pt x="382" y="90"/>
                  </a:lnTo>
                  <a:lnTo>
                    <a:pt x="380" y="92"/>
                  </a:lnTo>
                  <a:lnTo>
                    <a:pt x="379" y="93"/>
                  </a:lnTo>
                  <a:lnTo>
                    <a:pt x="379" y="93"/>
                  </a:lnTo>
                  <a:lnTo>
                    <a:pt x="379" y="94"/>
                  </a:lnTo>
                  <a:lnTo>
                    <a:pt x="379" y="94"/>
                  </a:lnTo>
                  <a:lnTo>
                    <a:pt x="378" y="95"/>
                  </a:lnTo>
                  <a:lnTo>
                    <a:pt x="378" y="96"/>
                  </a:lnTo>
                  <a:lnTo>
                    <a:pt x="378" y="96"/>
                  </a:lnTo>
                  <a:lnTo>
                    <a:pt x="378" y="97"/>
                  </a:lnTo>
                  <a:lnTo>
                    <a:pt x="378" y="98"/>
                  </a:lnTo>
                  <a:lnTo>
                    <a:pt x="378" y="99"/>
                  </a:lnTo>
                  <a:lnTo>
                    <a:pt x="378" y="99"/>
                  </a:lnTo>
                  <a:lnTo>
                    <a:pt x="379" y="100"/>
                  </a:lnTo>
                  <a:lnTo>
                    <a:pt x="379" y="100"/>
                  </a:lnTo>
                  <a:lnTo>
                    <a:pt x="381" y="102"/>
                  </a:lnTo>
                  <a:lnTo>
                    <a:pt x="381" y="102"/>
                  </a:lnTo>
                  <a:lnTo>
                    <a:pt x="382" y="103"/>
                  </a:lnTo>
                  <a:lnTo>
                    <a:pt x="384" y="104"/>
                  </a:lnTo>
                  <a:lnTo>
                    <a:pt x="387" y="107"/>
                  </a:lnTo>
                  <a:lnTo>
                    <a:pt x="389" y="108"/>
                  </a:lnTo>
                  <a:lnTo>
                    <a:pt x="390" y="109"/>
                  </a:lnTo>
                  <a:lnTo>
                    <a:pt x="392" y="109"/>
                  </a:lnTo>
                  <a:lnTo>
                    <a:pt x="393" y="110"/>
                  </a:lnTo>
                  <a:lnTo>
                    <a:pt x="394" y="110"/>
                  </a:lnTo>
                  <a:lnTo>
                    <a:pt x="395" y="110"/>
                  </a:lnTo>
                  <a:lnTo>
                    <a:pt x="396" y="110"/>
                  </a:lnTo>
                  <a:lnTo>
                    <a:pt x="397" y="109"/>
                  </a:lnTo>
                  <a:lnTo>
                    <a:pt x="398" y="109"/>
                  </a:lnTo>
                  <a:lnTo>
                    <a:pt x="399" y="108"/>
                  </a:lnTo>
                  <a:lnTo>
                    <a:pt x="400" y="107"/>
                  </a:lnTo>
                  <a:lnTo>
                    <a:pt x="401" y="106"/>
                  </a:lnTo>
                  <a:lnTo>
                    <a:pt x="403" y="105"/>
                  </a:lnTo>
                  <a:lnTo>
                    <a:pt x="403" y="104"/>
                  </a:lnTo>
                  <a:lnTo>
                    <a:pt x="404" y="103"/>
                  </a:lnTo>
                  <a:lnTo>
                    <a:pt x="405" y="102"/>
                  </a:lnTo>
                  <a:lnTo>
                    <a:pt x="405" y="100"/>
                  </a:lnTo>
                  <a:lnTo>
                    <a:pt x="406" y="97"/>
                  </a:lnTo>
                  <a:lnTo>
                    <a:pt x="407" y="95"/>
                  </a:lnTo>
                  <a:lnTo>
                    <a:pt x="408" y="94"/>
                  </a:lnTo>
                  <a:lnTo>
                    <a:pt x="409" y="92"/>
                  </a:lnTo>
                  <a:lnTo>
                    <a:pt x="410" y="91"/>
                  </a:lnTo>
                  <a:lnTo>
                    <a:pt x="410" y="91"/>
                  </a:lnTo>
                  <a:lnTo>
                    <a:pt x="410" y="90"/>
                  </a:lnTo>
                  <a:lnTo>
                    <a:pt x="410" y="90"/>
                  </a:lnTo>
                  <a:lnTo>
                    <a:pt x="410" y="89"/>
                  </a:lnTo>
                  <a:lnTo>
                    <a:pt x="410" y="88"/>
                  </a:lnTo>
                  <a:lnTo>
                    <a:pt x="410" y="88"/>
                  </a:lnTo>
                  <a:lnTo>
                    <a:pt x="410" y="87"/>
                  </a:lnTo>
                  <a:lnTo>
                    <a:pt x="409" y="86"/>
                  </a:lnTo>
                  <a:lnTo>
                    <a:pt x="409" y="85"/>
                  </a:lnTo>
                  <a:lnTo>
                    <a:pt x="408" y="83"/>
                  </a:lnTo>
                  <a:lnTo>
                    <a:pt x="407" y="82"/>
                  </a:lnTo>
                  <a:lnTo>
                    <a:pt x="407" y="81"/>
                  </a:lnTo>
                  <a:lnTo>
                    <a:pt x="406" y="80"/>
                  </a:lnTo>
                  <a:lnTo>
                    <a:pt x="406" y="79"/>
                  </a:lnTo>
                  <a:lnTo>
                    <a:pt x="406" y="78"/>
                  </a:lnTo>
                  <a:lnTo>
                    <a:pt x="405" y="77"/>
                  </a:lnTo>
                  <a:lnTo>
                    <a:pt x="405" y="77"/>
                  </a:lnTo>
                  <a:lnTo>
                    <a:pt x="400" y="72"/>
                  </a:lnTo>
                  <a:lnTo>
                    <a:pt x="399" y="72"/>
                  </a:lnTo>
                  <a:lnTo>
                    <a:pt x="399" y="71"/>
                  </a:lnTo>
                  <a:lnTo>
                    <a:pt x="399" y="71"/>
                  </a:lnTo>
                  <a:lnTo>
                    <a:pt x="398" y="70"/>
                  </a:lnTo>
                  <a:lnTo>
                    <a:pt x="398" y="69"/>
                  </a:lnTo>
                  <a:lnTo>
                    <a:pt x="397" y="69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397" y="67"/>
                  </a:lnTo>
                  <a:lnTo>
                    <a:pt x="397" y="67"/>
                  </a:lnTo>
                  <a:lnTo>
                    <a:pt x="398" y="67"/>
                  </a:lnTo>
                  <a:lnTo>
                    <a:pt x="399" y="65"/>
                  </a:lnTo>
                  <a:lnTo>
                    <a:pt x="401" y="64"/>
                  </a:lnTo>
                  <a:lnTo>
                    <a:pt x="402" y="63"/>
                  </a:lnTo>
                  <a:lnTo>
                    <a:pt x="403" y="62"/>
                  </a:lnTo>
                  <a:lnTo>
                    <a:pt x="405" y="61"/>
                  </a:lnTo>
                  <a:lnTo>
                    <a:pt x="406" y="60"/>
                  </a:lnTo>
                  <a:lnTo>
                    <a:pt x="408" y="60"/>
                  </a:lnTo>
                  <a:lnTo>
                    <a:pt x="409" y="60"/>
                  </a:lnTo>
                  <a:lnTo>
                    <a:pt x="410" y="60"/>
                  </a:lnTo>
                  <a:lnTo>
                    <a:pt x="411" y="60"/>
                  </a:lnTo>
                  <a:lnTo>
                    <a:pt x="412" y="60"/>
                  </a:lnTo>
                  <a:lnTo>
                    <a:pt x="414" y="60"/>
                  </a:lnTo>
                  <a:lnTo>
                    <a:pt x="416" y="61"/>
                  </a:lnTo>
                  <a:lnTo>
                    <a:pt x="418" y="61"/>
                  </a:lnTo>
                  <a:lnTo>
                    <a:pt x="419" y="61"/>
                  </a:lnTo>
                  <a:lnTo>
                    <a:pt x="420" y="62"/>
                  </a:lnTo>
                  <a:lnTo>
                    <a:pt x="420" y="62"/>
                  </a:lnTo>
                  <a:lnTo>
                    <a:pt x="421" y="63"/>
                  </a:lnTo>
                  <a:lnTo>
                    <a:pt x="422" y="64"/>
                  </a:lnTo>
                  <a:lnTo>
                    <a:pt x="423" y="65"/>
                  </a:lnTo>
                  <a:lnTo>
                    <a:pt x="423" y="66"/>
                  </a:lnTo>
                  <a:lnTo>
                    <a:pt x="424" y="67"/>
                  </a:lnTo>
                  <a:lnTo>
                    <a:pt x="425" y="69"/>
                  </a:lnTo>
                  <a:lnTo>
                    <a:pt x="425" y="70"/>
                  </a:lnTo>
                  <a:lnTo>
                    <a:pt x="426" y="71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9" y="74"/>
                  </a:lnTo>
                  <a:lnTo>
                    <a:pt x="430" y="75"/>
                  </a:lnTo>
                  <a:lnTo>
                    <a:pt x="430" y="76"/>
                  </a:lnTo>
                  <a:lnTo>
                    <a:pt x="430" y="77"/>
                  </a:lnTo>
                  <a:lnTo>
                    <a:pt x="431" y="78"/>
                  </a:lnTo>
                  <a:lnTo>
                    <a:pt x="432" y="79"/>
                  </a:lnTo>
                  <a:lnTo>
                    <a:pt x="432" y="80"/>
                  </a:lnTo>
                  <a:lnTo>
                    <a:pt x="433" y="81"/>
                  </a:lnTo>
                  <a:lnTo>
                    <a:pt x="434" y="83"/>
                  </a:lnTo>
                  <a:lnTo>
                    <a:pt x="435" y="87"/>
                  </a:lnTo>
                  <a:lnTo>
                    <a:pt x="435" y="90"/>
                  </a:lnTo>
                  <a:lnTo>
                    <a:pt x="436" y="90"/>
                  </a:lnTo>
                  <a:lnTo>
                    <a:pt x="436" y="91"/>
                  </a:lnTo>
                  <a:lnTo>
                    <a:pt x="437" y="92"/>
                  </a:lnTo>
                  <a:lnTo>
                    <a:pt x="437" y="93"/>
                  </a:lnTo>
                  <a:lnTo>
                    <a:pt x="438" y="94"/>
                  </a:lnTo>
                  <a:lnTo>
                    <a:pt x="440" y="95"/>
                  </a:lnTo>
                  <a:lnTo>
                    <a:pt x="440" y="95"/>
                  </a:lnTo>
                  <a:lnTo>
                    <a:pt x="441" y="96"/>
                  </a:lnTo>
                  <a:lnTo>
                    <a:pt x="441" y="97"/>
                  </a:lnTo>
                  <a:lnTo>
                    <a:pt x="441" y="97"/>
                  </a:lnTo>
                  <a:lnTo>
                    <a:pt x="443" y="100"/>
                  </a:lnTo>
                  <a:lnTo>
                    <a:pt x="443" y="101"/>
                  </a:lnTo>
                  <a:lnTo>
                    <a:pt x="444" y="101"/>
                  </a:lnTo>
                  <a:lnTo>
                    <a:pt x="444" y="102"/>
                  </a:lnTo>
                  <a:lnTo>
                    <a:pt x="445" y="104"/>
                  </a:lnTo>
                  <a:lnTo>
                    <a:pt x="446" y="104"/>
                  </a:lnTo>
                  <a:lnTo>
                    <a:pt x="447" y="105"/>
                  </a:lnTo>
                  <a:lnTo>
                    <a:pt x="447" y="105"/>
                  </a:lnTo>
                  <a:lnTo>
                    <a:pt x="448" y="106"/>
                  </a:lnTo>
                  <a:lnTo>
                    <a:pt x="448" y="106"/>
                  </a:lnTo>
                  <a:lnTo>
                    <a:pt x="448" y="106"/>
                  </a:lnTo>
                  <a:lnTo>
                    <a:pt x="449" y="106"/>
                  </a:lnTo>
                  <a:lnTo>
                    <a:pt x="449" y="106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1" y="106"/>
                  </a:lnTo>
                  <a:lnTo>
                    <a:pt x="451" y="105"/>
                  </a:lnTo>
                  <a:lnTo>
                    <a:pt x="452" y="104"/>
                  </a:lnTo>
                  <a:lnTo>
                    <a:pt x="452" y="103"/>
                  </a:lnTo>
                  <a:lnTo>
                    <a:pt x="453" y="103"/>
                  </a:lnTo>
                  <a:lnTo>
                    <a:pt x="453" y="103"/>
                  </a:lnTo>
                  <a:lnTo>
                    <a:pt x="453" y="103"/>
                  </a:lnTo>
                  <a:lnTo>
                    <a:pt x="454" y="103"/>
                  </a:lnTo>
                  <a:lnTo>
                    <a:pt x="454" y="103"/>
                  </a:lnTo>
                  <a:lnTo>
                    <a:pt x="454" y="104"/>
                  </a:lnTo>
                  <a:lnTo>
                    <a:pt x="454" y="104"/>
                  </a:lnTo>
                  <a:lnTo>
                    <a:pt x="454" y="105"/>
                  </a:lnTo>
                  <a:lnTo>
                    <a:pt x="455" y="107"/>
                  </a:lnTo>
                  <a:lnTo>
                    <a:pt x="454" y="108"/>
                  </a:lnTo>
                  <a:lnTo>
                    <a:pt x="454" y="110"/>
                  </a:lnTo>
                  <a:lnTo>
                    <a:pt x="454" y="111"/>
                  </a:lnTo>
                  <a:lnTo>
                    <a:pt x="454" y="113"/>
                  </a:lnTo>
                  <a:lnTo>
                    <a:pt x="453" y="116"/>
                  </a:lnTo>
                  <a:lnTo>
                    <a:pt x="453" y="119"/>
                  </a:lnTo>
                  <a:lnTo>
                    <a:pt x="452" y="121"/>
                  </a:lnTo>
                  <a:lnTo>
                    <a:pt x="452" y="121"/>
                  </a:lnTo>
                  <a:lnTo>
                    <a:pt x="452" y="122"/>
                  </a:lnTo>
                  <a:lnTo>
                    <a:pt x="452" y="122"/>
                  </a:lnTo>
                  <a:lnTo>
                    <a:pt x="453" y="123"/>
                  </a:lnTo>
                  <a:lnTo>
                    <a:pt x="453" y="123"/>
                  </a:lnTo>
                  <a:lnTo>
                    <a:pt x="453" y="123"/>
                  </a:lnTo>
                  <a:lnTo>
                    <a:pt x="454" y="124"/>
                  </a:lnTo>
                  <a:lnTo>
                    <a:pt x="454" y="124"/>
                  </a:lnTo>
                  <a:lnTo>
                    <a:pt x="455" y="125"/>
                  </a:lnTo>
                  <a:lnTo>
                    <a:pt x="458" y="126"/>
                  </a:lnTo>
                  <a:lnTo>
                    <a:pt x="459" y="127"/>
                  </a:lnTo>
                  <a:lnTo>
                    <a:pt x="461" y="128"/>
                  </a:lnTo>
                  <a:lnTo>
                    <a:pt x="463" y="128"/>
                  </a:lnTo>
                  <a:lnTo>
                    <a:pt x="465" y="129"/>
                  </a:lnTo>
                  <a:lnTo>
                    <a:pt x="468" y="130"/>
                  </a:lnTo>
                  <a:lnTo>
                    <a:pt x="469" y="131"/>
                  </a:lnTo>
                  <a:lnTo>
                    <a:pt x="471" y="131"/>
                  </a:lnTo>
                  <a:lnTo>
                    <a:pt x="473" y="132"/>
                  </a:lnTo>
                  <a:lnTo>
                    <a:pt x="474" y="133"/>
                  </a:lnTo>
                  <a:lnTo>
                    <a:pt x="475" y="134"/>
                  </a:lnTo>
                  <a:lnTo>
                    <a:pt x="478" y="136"/>
                  </a:lnTo>
                  <a:lnTo>
                    <a:pt x="479" y="137"/>
                  </a:lnTo>
                  <a:lnTo>
                    <a:pt x="480" y="138"/>
                  </a:lnTo>
                  <a:lnTo>
                    <a:pt x="480" y="138"/>
                  </a:lnTo>
                  <a:lnTo>
                    <a:pt x="481" y="139"/>
                  </a:lnTo>
                  <a:lnTo>
                    <a:pt x="481" y="140"/>
                  </a:lnTo>
                  <a:lnTo>
                    <a:pt x="481" y="141"/>
                  </a:lnTo>
                  <a:lnTo>
                    <a:pt x="483" y="146"/>
                  </a:lnTo>
                  <a:lnTo>
                    <a:pt x="484" y="149"/>
                  </a:lnTo>
                  <a:lnTo>
                    <a:pt x="484" y="150"/>
                  </a:lnTo>
                  <a:lnTo>
                    <a:pt x="486" y="153"/>
                  </a:lnTo>
                  <a:lnTo>
                    <a:pt x="488" y="158"/>
                  </a:lnTo>
                  <a:lnTo>
                    <a:pt x="488" y="160"/>
                  </a:lnTo>
                  <a:lnTo>
                    <a:pt x="484" y="166"/>
                  </a:lnTo>
                  <a:lnTo>
                    <a:pt x="483" y="168"/>
                  </a:lnTo>
                  <a:lnTo>
                    <a:pt x="483" y="170"/>
                  </a:lnTo>
                  <a:lnTo>
                    <a:pt x="483" y="171"/>
                  </a:lnTo>
                  <a:lnTo>
                    <a:pt x="482" y="172"/>
                  </a:lnTo>
                  <a:lnTo>
                    <a:pt x="482" y="173"/>
                  </a:lnTo>
                  <a:lnTo>
                    <a:pt x="482" y="174"/>
                  </a:lnTo>
                  <a:lnTo>
                    <a:pt x="482" y="175"/>
                  </a:lnTo>
                  <a:lnTo>
                    <a:pt x="482" y="176"/>
                  </a:lnTo>
                  <a:lnTo>
                    <a:pt x="483" y="179"/>
                  </a:lnTo>
                  <a:lnTo>
                    <a:pt x="483" y="181"/>
                  </a:lnTo>
                  <a:lnTo>
                    <a:pt x="483" y="182"/>
                  </a:lnTo>
                  <a:lnTo>
                    <a:pt x="483" y="186"/>
                  </a:lnTo>
                  <a:lnTo>
                    <a:pt x="483" y="187"/>
                  </a:lnTo>
                  <a:lnTo>
                    <a:pt x="484" y="188"/>
                  </a:lnTo>
                  <a:lnTo>
                    <a:pt x="484" y="189"/>
                  </a:lnTo>
                  <a:lnTo>
                    <a:pt x="485" y="191"/>
                  </a:lnTo>
                  <a:lnTo>
                    <a:pt x="487" y="195"/>
                  </a:lnTo>
                  <a:lnTo>
                    <a:pt x="488" y="198"/>
                  </a:lnTo>
                  <a:lnTo>
                    <a:pt x="488" y="199"/>
                  </a:lnTo>
                  <a:lnTo>
                    <a:pt x="488" y="199"/>
                  </a:lnTo>
                  <a:lnTo>
                    <a:pt x="488" y="200"/>
                  </a:lnTo>
                  <a:lnTo>
                    <a:pt x="488" y="201"/>
                  </a:lnTo>
                  <a:lnTo>
                    <a:pt x="488" y="202"/>
                  </a:lnTo>
                  <a:lnTo>
                    <a:pt x="488" y="203"/>
                  </a:lnTo>
                  <a:lnTo>
                    <a:pt x="488" y="204"/>
                  </a:lnTo>
                  <a:lnTo>
                    <a:pt x="488" y="204"/>
                  </a:lnTo>
                  <a:lnTo>
                    <a:pt x="488" y="205"/>
                  </a:lnTo>
                  <a:lnTo>
                    <a:pt x="489" y="205"/>
                  </a:lnTo>
                  <a:lnTo>
                    <a:pt x="489" y="205"/>
                  </a:lnTo>
                  <a:lnTo>
                    <a:pt x="490" y="205"/>
                  </a:lnTo>
                  <a:lnTo>
                    <a:pt x="491" y="205"/>
                  </a:lnTo>
                  <a:lnTo>
                    <a:pt x="493" y="205"/>
                  </a:lnTo>
                  <a:lnTo>
                    <a:pt x="495" y="205"/>
                  </a:lnTo>
                  <a:lnTo>
                    <a:pt x="496" y="205"/>
                  </a:lnTo>
                  <a:lnTo>
                    <a:pt x="497" y="205"/>
                  </a:lnTo>
                  <a:lnTo>
                    <a:pt x="498" y="205"/>
                  </a:lnTo>
                  <a:lnTo>
                    <a:pt x="499" y="205"/>
                  </a:lnTo>
                  <a:lnTo>
                    <a:pt x="499" y="205"/>
                  </a:lnTo>
                  <a:lnTo>
                    <a:pt x="500" y="206"/>
                  </a:lnTo>
                  <a:lnTo>
                    <a:pt x="500" y="206"/>
                  </a:lnTo>
                  <a:lnTo>
                    <a:pt x="500" y="207"/>
                  </a:lnTo>
                  <a:lnTo>
                    <a:pt x="501" y="207"/>
                  </a:lnTo>
                  <a:lnTo>
                    <a:pt x="501" y="208"/>
                  </a:lnTo>
                  <a:lnTo>
                    <a:pt x="501" y="209"/>
                  </a:lnTo>
                  <a:lnTo>
                    <a:pt x="501" y="210"/>
                  </a:lnTo>
                  <a:lnTo>
                    <a:pt x="501" y="211"/>
                  </a:lnTo>
                  <a:lnTo>
                    <a:pt x="501" y="212"/>
                  </a:lnTo>
                  <a:lnTo>
                    <a:pt x="500" y="213"/>
                  </a:lnTo>
                  <a:lnTo>
                    <a:pt x="500" y="214"/>
                  </a:lnTo>
                  <a:lnTo>
                    <a:pt x="499" y="216"/>
                  </a:lnTo>
                  <a:lnTo>
                    <a:pt x="499" y="217"/>
                  </a:lnTo>
                  <a:lnTo>
                    <a:pt x="498" y="218"/>
                  </a:lnTo>
                  <a:lnTo>
                    <a:pt x="498" y="219"/>
                  </a:lnTo>
                  <a:lnTo>
                    <a:pt x="497" y="220"/>
                  </a:lnTo>
                  <a:lnTo>
                    <a:pt x="497" y="221"/>
                  </a:lnTo>
                  <a:lnTo>
                    <a:pt x="497" y="221"/>
                  </a:lnTo>
                  <a:lnTo>
                    <a:pt x="495" y="222"/>
                  </a:lnTo>
                  <a:lnTo>
                    <a:pt x="493" y="224"/>
                  </a:lnTo>
                  <a:lnTo>
                    <a:pt x="491" y="226"/>
                  </a:lnTo>
                  <a:lnTo>
                    <a:pt x="490" y="226"/>
                  </a:lnTo>
                  <a:lnTo>
                    <a:pt x="489" y="227"/>
                  </a:lnTo>
                  <a:lnTo>
                    <a:pt x="488" y="227"/>
                  </a:lnTo>
                  <a:lnTo>
                    <a:pt x="488" y="229"/>
                  </a:lnTo>
                  <a:lnTo>
                    <a:pt x="487" y="230"/>
                  </a:lnTo>
                  <a:lnTo>
                    <a:pt x="486" y="231"/>
                  </a:lnTo>
                  <a:lnTo>
                    <a:pt x="484" y="235"/>
                  </a:lnTo>
                  <a:lnTo>
                    <a:pt x="483" y="236"/>
                  </a:lnTo>
                  <a:lnTo>
                    <a:pt x="483" y="237"/>
                  </a:lnTo>
                  <a:lnTo>
                    <a:pt x="482" y="238"/>
                  </a:lnTo>
                  <a:lnTo>
                    <a:pt x="481" y="239"/>
                  </a:lnTo>
                  <a:lnTo>
                    <a:pt x="481" y="239"/>
                  </a:lnTo>
                  <a:lnTo>
                    <a:pt x="479" y="241"/>
                  </a:lnTo>
                  <a:lnTo>
                    <a:pt x="479" y="241"/>
                  </a:lnTo>
                  <a:lnTo>
                    <a:pt x="478" y="241"/>
                  </a:lnTo>
                  <a:lnTo>
                    <a:pt x="478" y="242"/>
                  </a:lnTo>
                  <a:lnTo>
                    <a:pt x="478" y="243"/>
                  </a:lnTo>
                  <a:lnTo>
                    <a:pt x="477" y="244"/>
                  </a:lnTo>
                  <a:lnTo>
                    <a:pt x="477" y="245"/>
                  </a:lnTo>
                  <a:lnTo>
                    <a:pt x="477" y="246"/>
                  </a:lnTo>
                  <a:lnTo>
                    <a:pt x="477" y="247"/>
                  </a:lnTo>
                  <a:lnTo>
                    <a:pt x="478" y="249"/>
                  </a:lnTo>
                  <a:lnTo>
                    <a:pt x="478" y="250"/>
                  </a:lnTo>
                  <a:lnTo>
                    <a:pt x="478" y="250"/>
                  </a:lnTo>
                  <a:lnTo>
                    <a:pt x="478" y="250"/>
                  </a:lnTo>
                  <a:lnTo>
                    <a:pt x="479" y="251"/>
                  </a:lnTo>
                  <a:lnTo>
                    <a:pt x="479" y="251"/>
                  </a:lnTo>
                  <a:lnTo>
                    <a:pt x="480" y="251"/>
                  </a:lnTo>
                  <a:lnTo>
                    <a:pt x="481" y="251"/>
                  </a:lnTo>
                  <a:lnTo>
                    <a:pt x="482" y="252"/>
                  </a:lnTo>
                  <a:lnTo>
                    <a:pt x="483" y="252"/>
                  </a:lnTo>
                  <a:lnTo>
                    <a:pt x="484" y="251"/>
                  </a:lnTo>
                  <a:lnTo>
                    <a:pt x="485" y="251"/>
                  </a:lnTo>
                  <a:lnTo>
                    <a:pt x="486" y="251"/>
                  </a:lnTo>
                  <a:lnTo>
                    <a:pt x="488" y="251"/>
                  </a:lnTo>
                  <a:lnTo>
                    <a:pt x="490" y="250"/>
                  </a:lnTo>
                  <a:lnTo>
                    <a:pt x="497" y="247"/>
                  </a:lnTo>
                  <a:lnTo>
                    <a:pt x="499" y="247"/>
                  </a:lnTo>
                  <a:lnTo>
                    <a:pt x="500" y="246"/>
                  </a:lnTo>
                  <a:lnTo>
                    <a:pt x="501" y="246"/>
                  </a:lnTo>
                  <a:lnTo>
                    <a:pt x="502" y="246"/>
                  </a:lnTo>
                  <a:lnTo>
                    <a:pt x="503" y="246"/>
                  </a:lnTo>
                  <a:lnTo>
                    <a:pt x="504" y="246"/>
                  </a:lnTo>
                  <a:lnTo>
                    <a:pt x="505" y="246"/>
                  </a:lnTo>
                  <a:lnTo>
                    <a:pt x="505" y="246"/>
                  </a:lnTo>
                  <a:lnTo>
                    <a:pt x="506" y="247"/>
                  </a:lnTo>
                  <a:lnTo>
                    <a:pt x="506" y="247"/>
                  </a:lnTo>
                  <a:lnTo>
                    <a:pt x="507" y="248"/>
                  </a:lnTo>
                  <a:lnTo>
                    <a:pt x="507" y="249"/>
                  </a:lnTo>
                  <a:lnTo>
                    <a:pt x="509" y="250"/>
                  </a:lnTo>
                  <a:lnTo>
                    <a:pt x="510" y="252"/>
                  </a:lnTo>
                  <a:lnTo>
                    <a:pt x="510" y="253"/>
                  </a:lnTo>
                  <a:lnTo>
                    <a:pt x="511" y="254"/>
                  </a:lnTo>
                  <a:lnTo>
                    <a:pt x="511" y="256"/>
                  </a:lnTo>
                  <a:lnTo>
                    <a:pt x="511" y="256"/>
                  </a:lnTo>
                  <a:lnTo>
                    <a:pt x="511" y="258"/>
                  </a:lnTo>
                  <a:lnTo>
                    <a:pt x="511" y="259"/>
                  </a:lnTo>
                  <a:lnTo>
                    <a:pt x="511" y="260"/>
                  </a:lnTo>
                  <a:lnTo>
                    <a:pt x="511" y="264"/>
                  </a:lnTo>
                  <a:lnTo>
                    <a:pt x="511" y="265"/>
                  </a:lnTo>
                  <a:lnTo>
                    <a:pt x="511" y="266"/>
                  </a:lnTo>
                  <a:lnTo>
                    <a:pt x="511" y="267"/>
                  </a:lnTo>
                  <a:lnTo>
                    <a:pt x="511" y="267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3" y="269"/>
                  </a:lnTo>
                  <a:lnTo>
                    <a:pt x="516" y="269"/>
                  </a:lnTo>
                  <a:lnTo>
                    <a:pt x="517" y="270"/>
                  </a:lnTo>
                  <a:lnTo>
                    <a:pt x="517" y="270"/>
                  </a:lnTo>
                  <a:lnTo>
                    <a:pt x="518" y="270"/>
                  </a:lnTo>
                  <a:lnTo>
                    <a:pt x="520" y="271"/>
                  </a:lnTo>
                  <a:lnTo>
                    <a:pt x="522" y="272"/>
                  </a:lnTo>
                  <a:lnTo>
                    <a:pt x="522" y="272"/>
                  </a:lnTo>
                  <a:lnTo>
                    <a:pt x="523" y="273"/>
                  </a:lnTo>
                  <a:lnTo>
                    <a:pt x="524" y="273"/>
                  </a:lnTo>
                  <a:lnTo>
                    <a:pt x="525" y="274"/>
                  </a:lnTo>
                  <a:lnTo>
                    <a:pt x="527" y="276"/>
                  </a:lnTo>
                  <a:lnTo>
                    <a:pt x="527" y="276"/>
                  </a:lnTo>
                  <a:lnTo>
                    <a:pt x="528" y="277"/>
                  </a:lnTo>
                  <a:lnTo>
                    <a:pt x="529" y="277"/>
                  </a:lnTo>
                  <a:lnTo>
                    <a:pt x="529" y="277"/>
                  </a:lnTo>
                  <a:lnTo>
                    <a:pt x="531" y="278"/>
                  </a:lnTo>
                  <a:lnTo>
                    <a:pt x="536" y="278"/>
                  </a:lnTo>
                  <a:lnTo>
                    <a:pt x="539" y="279"/>
                  </a:lnTo>
                  <a:lnTo>
                    <a:pt x="544" y="280"/>
                  </a:lnTo>
                  <a:lnTo>
                    <a:pt x="545" y="280"/>
                  </a:lnTo>
                  <a:lnTo>
                    <a:pt x="546" y="280"/>
                  </a:lnTo>
                  <a:lnTo>
                    <a:pt x="546" y="281"/>
                  </a:lnTo>
                  <a:lnTo>
                    <a:pt x="547" y="281"/>
                  </a:lnTo>
                  <a:lnTo>
                    <a:pt x="549" y="282"/>
                  </a:lnTo>
                  <a:lnTo>
                    <a:pt x="550" y="283"/>
                  </a:lnTo>
                  <a:lnTo>
                    <a:pt x="550" y="284"/>
                  </a:lnTo>
                  <a:lnTo>
                    <a:pt x="551" y="284"/>
                  </a:lnTo>
                  <a:lnTo>
                    <a:pt x="551" y="284"/>
                  </a:lnTo>
                  <a:lnTo>
                    <a:pt x="551" y="285"/>
                  </a:lnTo>
                  <a:lnTo>
                    <a:pt x="551" y="287"/>
                  </a:lnTo>
                  <a:lnTo>
                    <a:pt x="552" y="288"/>
                  </a:lnTo>
                  <a:lnTo>
                    <a:pt x="552" y="291"/>
                  </a:lnTo>
                  <a:lnTo>
                    <a:pt x="552" y="292"/>
                  </a:lnTo>
                  <a:lnTo>
                    <a:pt x="552" y="292"/>
                  </a:lnTo>
                  <a:lnTo>
                    <a:pt x="553" y="293"/>
                  </a:lnTo>
                  <a:lnTo>
                    <a:pt x="553" y="294"/>
                  </a:lnTo>
                  <a:lnTo>
                    <a:pt x="553" y="294"/>
                  </a:lnTo>
                  <a:lnTo>
                    <a:pt x="554" y="294"/>
                  </a:lnTo>
                  <a:lnTo>
                    <a:pt x="554" y="294"/>
                  </a:lnTo>
                  <a:lnTo>
                    <a:pt x="555" y="295"/>
                  </a:lnTo>
                  <a:lnTo>
                    <a:pt x="556" y="295"/>
                  </a:lnTo>
                  <a:lnTo>
                    <a:pt x="558" y="295"/>
                  </a:lnTo>
                  <a:lnTo>
                    <a:pt x="560" y="295"/>
                  </a:lnTo>
                  <a:lnTo>
                    <a:pt x="561" y="296"/>
                  </a:lnTo>
                  <a:lnTo>
                    <a:pt x="562" y="296"/>
                  </a:lnTo>
                  <a:lnTo>
                    <a:pt x="563" y="296"/>
                  </a:lnTo>
                  <a:lnTo>
                    <a:pt x="563" y="297"/>
                  </a:lnTo>
                  <a:lnTo>
                    <a:pt x="564" y="297"/>
                  </a:lnTo>
                  <a:lnTo>
                    <a:pt x="570" y="301"/>
                  </a:lnTo>
                  <a:lnTo>
                    <a:pt x="571" y="302"/>
                  </a:lnTo>
                  <a:lnTo>
                    <a:pt x="572" y="303"/>
                  </a:lnTo>
                  <a:lnTo>
                    <a:pt x="574" y="304"/>
                  </a:lnTo>
                  <a:lnTo>
                    <a:pt x="575" y="304"/>
                  </a:lnTo>
                  <a:lnTo>
                    <a:pt x="575" y="304"/>
                  </a:lnTo>
                  <a:lnTo>
                    <a:pt x="576" y="304"/>
                  </a:lnTo>
                  <a:lnTo>
                    <a:pt x="577" y="305"/>
                  </a:lnTo>
                  <a:lnTo>
                    <a:pt x="578" y="304"/>
                  </a:lnTo>
                  <a:lnTo>
                    <a:pt x="579" y="304"/>
                  </a:lnTo>
                  <a:lnTo>
                    <a:pt x="580" y="304"/>
                  </a:lnTo>
                  <a:lnTo>
                    <a:pt x="584" y="303"/>
                  </a:lnTo>
                  <a:lnTo>
                    <a:pt x="586" y="303"/>
                  </a:lnTo>
                  <a:lnTo>
                    <a:pt x="587" y="303"/>
                  </a:lnTo>
                  <a:lnTo>
                    <a:pt x="590" y="303"/>
                  </a:lnTo>
                  <a:lnTo>
                    <a:pt x="594" y="302"/>
                  </a:lnTo>
                  <a:lnTo>
                    <a:pt x="594" y="302"/>
                  </a:lnTo>
                  <a:lnTo>
                    <a:pt x="595" y="302"/>
                  </a:lnTo>
                  <a:lnTo>
                    <a:pt x="596" y="302"/>
                  </a:lnTo>
                  <a:lnTo>
                    <a:pt x="596" y="302"/>
                  </a:lnTo>
                  <a:lnTo>
                    <a:pt x="597" y="303"/>
                  </a:lnTo>
                  <a:lnTo>
                    <a:pt x="600" y="304"/>
                  </a:lnTo>
                  <a:lnTo>
                    <a:pt x="602" y="304"/>
                  </a:lnTo>
                  <a:lnTo>
                    <a:pt x="603" y="305"/>
                  </a:lnTo>
                  <a:lnTo>
                    <a:pt x="604" y="305"/>
                  </a:lnTo>
                  <a:lnTo>
                    <a:pt x="605" y="306"/>
                  </a:lnTo>
                  <a:lnTo>
                    <a:pt x="607" y="307"/>
                  </a:lnTo>
                  <a:lnTo>
                    <a:pt x="608" y="308"/>
                  </a:lnTo>
                  <a:lnTo>
                    <a:pt x="608" y="308"/>
                  </a:lnTo>
                  <a:lnTo>
                    <a:pt x="608" y="309"/>
                  </a:lnTo>
                  <a:lnTo>
                    <a:pt x="609" y="309"/>
                  </a:lnTo>
                  <a:lnTo>
                    <a:pt x="609" y="310"/>
                  </a:lnTo>
                  <a:lnTo>
                    <a:pt x="609" y="310"/>
                  </a:lnTo>
                  <a:lnTo>
                    <a:pt x="609" y="311"/>
                  </a:lnTo>
                  <a:lnTo>
                    <a:pt x="610" y="312"/>
                  </a:lnTo>
                  <a:lnTo>
                    <a:pt x="610" y="313"/>
                  </a:lnTo>
                  <a:lnTo>
                    <a:pt x="610" y="315"/>
                  </a:lnTo>
                  <a:lnTo>
                    <a:pt x="610" y="316"/>
                  </a:lnTo>
                  <a:lnTo>
                    <a:pt x="610" y="317"/>
                  </a:lnTo>
                  <a:lnTo>
                    <a:pt x="611" y="317"/>
                  </a:lnTo>
                  <a:lnTo>
                    <a:pt x="611" y="318"/>
                  </a:lnTo>
                  <a:lnTo>
                    <a:pt x="611" y="318"/>
                  </a:lnTo>
                  <a:lnTo>
                    <a:pt x="612" y="319"/>
                  </a:lnTo>
                  <a:lnTo>
                    <a:pt x="612" y="319"/>
                  </a:lnTo>
                  <a:lnTo>
                    <a:pt x="613" y="319"/>
                  </a:lnTo>
                  <a:lnTo>
                    <a:pt x="614" y="320"/>
                  </a:lnTo>
                  <a:lnTo>
                    <a:pt x="616" y="321"/>
                  </a:lnTo>
                  <a:lnTo>
                    <a:pt x="617" y="321"/>
                  </a:lnTo>
                  <a:lnTo>
                    <a:pt x="624" y="324"/>
                  </a:lnTo>
                  <a:lnTo>
                    <a:pt x="625" y="325"/>
                  </a:lnTo>
                  <a:lnTo>
                    <a:pt x="626" y="326"/>
                  </a:lnTo>
                  <a:lnTo>
                    <a:pt x="627" y="327"/>
                  </a:lnTo>
                  <a:lnTo>
                    <a:pt x="628" y="328"/>
                  </a:lnTo>
                  <a:lnTo>
                    <a:pt x="630" y="329"/>
                  </a:lnTo>
                  <a:lnTo>
                    <a:pt x="631" y="330"/>
                  </a:lnTo>
                  <a:lnTo>
                    <a:pt x="632" y="332"/>
                  </a:lnTo>
                  <a:lnTo>
                    <a:pt x="635" y="337"/>
                  </a:lnTo>
                  <a:lnTo>
                    <a:pt x="638" y="340"/>
                  </a:lnTo>
                  <a:lnTo>
                    <a:pt x="638" y="341"/>
                  </a:lnTo>
                  <a:lnTo>
                    <a:pt x="639" y="342"/>
                  </a:lnTo>
                  <a:lnTo>
                    <a:pt x="639" y="343"/>
                  </a:lnTo>
                  <a:lnTo>
                    <a:pt x="641" y="346"/>
                  </a:lnTo>
                  <a:lnTo>
                    <a:pt x="641" y="348"/>
                  </a:lnTo>
                  <a:lnTo>
                    <a:pt x="642" y="349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1" y="350"/>
                  </a:lnTo>
                  <a:lnTo>
                    <a:pt x="641" y="350"/>
                  </a:lnTo>
                  <a:lnTo>
                    <a:pt x="640" y="350"/>
                  </a:lnTo>
                  <a:lnTo>
                    <a:pt x="638" y="351"/>
                  </a:lnTo>
                  <a:lnTo>
                    <a:pt x="635" y="354"/>
                  </a:lnTo>
                  <a:lnTo>
                    <a:pt x="630" y="357"/>
                  </a:lnTo>
                  <a:lnTo>
                    <a:pt x="629" y="358"/>
                  </a:lnTo>
                  <a:lnTo>
                    <a:pt x="626" y="361"/>
                  </a:lnTo>
                  <a:lnTo>
                    <a:pt x="625" y="361"/>
                  </a:lnTo>
                  <a:lnTo>
                    <a:pt x="624" y="362"/>
                  </a:lnTo>
                  <a:lnTo>
                    <a:pt x="623" y="362"/>
                  </a:lnTo>
                  <a:lnTo>
                    <a:pt x="623" y="362"/>
                  </a:lnTo>
                  <a:lnTo>
                    <a:pt x="622" y="363"/>
                  </a:lnTo>
                  <a:lnTo>
                    <a:pt x="621" y="363"/>
                  </a:lnTo>
                  <a:lnTo>
                    <a:pt x="619" y="363"/>
                  </a:lnTo>
                  <a:lnTo>
                    <a:pt x="616" y="364"/>
                  </a:lnTo>
                  <a:lnTo>
                    <a:pt x="615" y="364"/>
                  </a:lnTo>
                  <a:lnTo>
                    <a:pt x="615" y="364"/>
                  </a:lnTo>
                  <a:lnTo>
                    <a:pt x="614" y="365"/>
                  </a:lnTo>
                  <a:lnTo>
                    <a:pt x="613" y="366"/>
                  </a:lnTo>
                  <a:lnTo>
                    <a:pt x="612" y="367"/>
                  </a:lnTo>
                  <a:lnTo>
                    <a:pt x="611" y="367"/>
                  </a:lnTo>
                  <a:lnTo>
                    <a:pt x="611" y="367"/>
                  </a:lnTo>
                  <a:lnTo>
                    <a:pt x="610" y="367"/>
                  </a:lnTo>
                  <a:lnTo>
                    <a:pt x="608" y="368"/>
                  </a:lnTo>
                  <a:lnTo>
                    <a:pt x="607" y="368"/>
                  </a:lnTo>
                  <a:lnTo>
                    <a:pt x="607" y="368"/>
                  </a:lnTo>
                  <a:lnTo>
                    <a:pt x="606" y="368"/>
                  </a:lnTo>
                  <a:lnTo>
                    <a:pt x="605" y="368"/>
                  </a:lnTo>
                  <a:lnTo>
                    <a:pt x="605" y="367"/>
                  </a:lnTo>
                  <a:lnTo>
                    <a:pt x="604" y="367"/>
                  </a:lnTo>
                  <a:lnTo>
                    <a:pt x="603" y="366"/>
                  </a:lnTo>
                  <a:lnTo>
                    <a:pt x="603" y="366"/>
                  </a:lnTo>
                  <a:lnTo>
                    <a:pt x="602" y="366"/>
                  </a:lnTo>
                  <a:lnTo>
                    <a:pt x="600" y="365"/>
                  </a:lnTo>
                  <a:lnTo>
                    <a:pt x="600" y="365"/>
                  </a:lnTo>
                  <a:lnTo>
                    <a:pt x="599" y="364"/>
                  </a:lnTo>
                  <a:lnTo>
                    <a:pt x="598" y="363"/>
                  </a:lnTo>
                  <a:lnTo>
                    <a:pt x="594" y="361"/>
                  </a:lnTo>
                  <a:lnTo>
                    <a:pt x="593" y="360"/>
                  </a:lnTo>
                  <a:lnTo>
                    <a:pt x="591" y="359"/>
                  </a:lnTo>
                  <a:lnTo>
                    <a:pt x="590" y="359"/>
                  </a:lnTo>
                  <a:lnTo>
                    <a:pt x="589" y="358"/>
                  </a:lnTo>
                  <a:lnTo>
                    <a:pt x="587" y="358"/>
                  </a:lnTo>
                  <a:lnTo>
                    <a:pt x="586" y="358"/>
                  </a:lnTo>
                  <a:lnTo>
                    <a:pt x="585" y="358"/>
                  </a:lnTo>
                  <a:lnTo>
                    <a:pt x="584" y="358"/>
                  </a:lnTo>
                  <a:lnTo>
                    <a:pt x="583" y="358"/>
                  </a:lnTo>
                  <a:lnTo>
                    <a:pt x="583" y="358"/>
                  </a:lnTo>
                  <a:lnTo>
                    <a:pt x="582" y="358"/>
                  </a:lnTo>
                  <a:lnTo>
                    <a:pt x="581" y="358"/>
                  </a:lnTo>
                  <a:lnTo>
                    <a:pt x="579" y="359"/>
                  </a:lnTo>
                  <a:lnTo>
                    <a:pt x="579" y="360"/>
                  </a:lnTo>
                  <a:lnTo>
                    <a:pt x="578" y="361"/>
                  </a:lnTo>
                  <a:lnTo>
                    <a:pt x="575" y="363"/>
                  </a:lnTo>
                  <a:lnTo>
                    <a:pt x="574" y="364"/>
                  </a:lnTo>
                  <a:lnTo>
                    <a:pt x="569" y="367"/>
                  </a:lnTo>
                  <a:lnTo>
                    <a:pt x="568" y="368"/>
                  </a:lnTo>
                  <a:lnTo>
                    <a:pt x="567" y="369"/>
                  </a:lnTo>
                  <a:lnTo>
                    <a:pt x="566" y="369"/>
                  </a:lnTo>
                  <a:lnTo>
                    <a:pt x="565" y="369"/>
                  </a:lnTo>
                  <a:lnTo>
                    <a:pt x="565" y="369"/>
                  </a:lnTo>
                  <a:lnTo>
                    <a:pt x="564" y="369"/>
                  </a:lnTo>
                  <a:lnTo>
                    <a:pt x="562" y="370"/>
                  </a:lnTo>
                  <a:lnTo>
                    <a:pt x="559" y="370"/>
                  </a:lnTo>
                  <a:lnTo>
                    <a:pt x="558" y="370"/>
                  </a:lnTo>
                  <a:lnTo>
                    <a:pt x="557" y="370"/>
                  </a:lnTo>
                  <a:lnTo>
                    <a:pt x="556" y="369"/>
                  </a:lnTo>
                  <a:lnTo>
                    <a:pt x="555" y="369"/>
                  </a:lnTo>
                  <a:lnTo>
                    <a:pt x="555" y="369"/>
                  </a:lnTo>
                  <a:lnTo>
                    <a:pt x="553" y="368"/>
                  </a:lnTo>
                  <a:lnTo>
                    <a:pt x="552" y="367"/>
                  </a:lnTo>
                  <a:lnTo>
                    <a:pt x="551" y="367"/>
                  </a:lnTo>
                  <a:lnTo>
                    <a:pt x="549" y="365"/>
                  </a:lnTo>
                  <a:lnTo>
                    <a:pt x="548" y="364"/>
                  </a:lnTo>
                  <a:lnTo>
                    <a:pt x="546" y="362"/>
                  </a:lnTo>
                  <a:lnTo>
                    <a:pt x="543" y="360"/>
                  </a:lnTo>
                  <a:lnTo>
                    <a:pt x="542" y="359"/>
                  </a:lnTo>
                  <a:lnTo>
                    <a:pt x="542" y="359"/>
                  </a:lnTo>
                  <a:lnTo>
                    <a:pt x="541" y="358"/>
                  </a:lnTo>
                  <a:lnTo>
                    <a:pt x="538" y="357"/>
                  </a:lnTo>
                  <a:lnTo>
                    <a:pt x="537" y="357"/>
                  </a:lnTo>
                  <a:lnTo>
                    <a:pt x="533" y="354"/>
                  </a:lnTo>
                  <a:lnTo>
                    <a:pt x="530" y="352"/>
                  </a:lnTo>
                  <a:lnTo>
                    <a:pt x="529" y="351"/>
                  </a:lnTo>
                  <a:lnTo>
                    <a:pt x="528" y="351"/>
                  </a:lnTo>
                  <a:lnTo>
                    <a:pt x="527" y="351"/>
                  </a:lnTo>
                  <a:lnTo>
                    <a:pt x="523" y="349"/>
                  </a:lnTo>
                  <a:lnTo>
                    <a:pt x="520" y="348"/>
                  </a:lnTo>
                  <a:lnTo>
                    <a:pt x="518" y="348"/>
                  </a:lnTo>
                  <a:lnTo>
                    <a:pt x="517" y="347"/>
                  </a:lnTo>
                  <a:lnTo>
                    <a:pt x="515" y="347"/>
                  </a:lnTo>
                  <a:lnTo>
                    <a:pt x="514" y="346"/>
                  </a:lnTo>
                  <a:lnTo>
                    <a:pt x="512" y="346"/>
                  </a:lnTo>
                  <a:lnTo>
                    <a:pt x="511" y="346"/>
                  </a:lnTo>
                  <a:lnTo>
                    <a:pt x="509" y="345"/>
                  </a:lnTo>
                  <a:lnTo>
                    <a:pt x="508" y="345"/>
                  </a:lnTo>
                  <a:lnTo>
                    <a:pt x="507" y="345"/>
                  </a:lnTo>
                  <a:lnTo>
                    <a:pt x="506" y="346"/>
                  </a:lnTo>
                  <a:lnTo>
                    <a:pt x="505" y="346"/>
                  </a:lnTo>
                  <a:lnTo>
                    <a:pt x="505" y="346"/>
                  </a:lnTo>
                  <a:lnTo>
                    <a:pt x="504" y="347"/>
                  </a:lnTo>
                  <a:lnTo>
                    <a:pt x="503" y="347"/>
                  </a:lnTo>
                  <a:lnTo>
                    <a:pt x="502" y="348"/>
                  </a:lnTo>
                  <a:lnTo>
                    <a:pt x="501" y="348"/>
                  </a:lnTo>
                  <a:lnTo>
                    <a:pt x="499" y="350"/>
                  </a:lnTo>
                  <a:lnTo>
                    <a:pt x="497" y="353"/>
                  </a:lnTo>
                  <a:lnTo>
                    <a:pt x="492" y="357"/>
                  </a:lnTo>
                  <a:lnTo>
                    <a:pt x="490" y="358"/>
                  </a:lnTo>
                  <a:lnTo>
                    <a:pt x="486" y="361"/>
                  </a:lnTo>
                  <a:lnTo>
                    <a:pt x="484" y="363"/>
                  </a:lnTo>
                  <a:lnTo>
                    <a:pt x="483" y="364"/>
                  </a:lnTo>
                  <a:lnTo>
                    <a:pt x="482" y="365"/>
                  </a:lnTo>
                  <a:lnTo>
                    <a:pt x="481" y="366"/>
                  </a:lnTo>
                  <a:lnTo>
                    <a:pt x="480" y="367"/>
                  </a:lnTo>
                  <a:lnTo>
                    <a:pt x="480" y="367"/>
                  </a:lnTo>
                  <a:lnTo>
                    <a:pt x="479" y="368"/>
                  </a:lnTo>
                  <a:lnTo>
                    <a:pt x="479" y="369"/>
                  </a:lnTo>
                  <a:lnTo>
                    <a:pt x="478" y="370"/>
                  </a:lnTo>
                  <a:lnTo>
                    <a:pt x="477" y="375"/>
                  </a:lnTo>
                  <a:lnTo>
                    <a:pt x="476" y="376"/>
                  </a:lnTo>
                  <a:lnTo>
                    <a:pt x="476" y="377"/>
                  </a:lnTo>
                  <a:lnTo>
                    <a:pt x="475" y="378"/>
                  </a:lnTo>
                  <a:lnTo>
                    <a:pt x="474" y="380"/>
                  </a:lnTo>
                  <a:lnTo>
                    <a:pt x="473" y="383"/>
                  </a:lnTo>
                  <a:lnTo>
                    <a:pt x="472" y="385"/>
                  </a:lnTo>
                  <a:lnTo>
                    <a:pt x="471" y="386"/>
                  </a:lnTo>
                  <a:lnTo>
                    <a:pt x="470" y="387"/>
                  </a:lnTo>
                  <a:lnTo>
                    <a:pt x="466" y="391"/>
                  </a:lnTo>
                  <a:lnTo>
                    <a:pt x="462" y="396"/>
                  </a:lnTo>
                  <a:lnTo>
                    <a:pt x="461" y="397"/>
                  </a:lnTo>
                  <a:lnTo>
                    <a:pt x="459" y="399"/>
                  </a:lnTo>
                  <a:lnTo>
                    <a:pt x="459" y="400"/>
                  </a:lnTo>
                  <a:lnTo>
                    <a:pt x="455" y="406"/>
                  </a:lnTo>
                  <a:lnTo>
                    <a:pt x="454" y="408"/>
                  </a:lnTo>
                  <a:lnTo>
                    <a:pt x="452" y="412"/>
                  </a:lnTo>
                  <a:lnTo>
                    <a:pt x="451" y="414"/>
                  </a:lnTo>
                  <a:lnTo>
                    <a:pt x="449" y="418"/>
                  </a:lnTo>
                  <a:lnTo>
                    <a:pt x="448" y="421"/>
                  </a:lnTo>
                  <a:lnTo>
                    <a:pt x="447" y="423"/>
                  </a:lnTo>
                  <a:lnTo>
                    <a:pt x="446" y="425"/>
                  </a:lnTo>
                  <a:lnTo>
                    <a:pt x="445" y="429"/>
                  </a:lnTo>
                  <a:lnTo>
                    <a:pt x="444" y="431"/>
                  </a:lnTo>
                  <a:lnTo>
                    <a:pt x="444" y="432"/>
                  </a:lnTo>
                  <a:lnTo>
                    <a:pt x="442" y="435"/>
                  </a:lnTo>
                  <a:lnTo>
                    <a:pt x="441" y="436"/>
                  </a:lnTo>
                  <a:lnTo>
                    <a:pt x="440" y="438"/>
                  </a:lnTo>
                  <a:lnTo>
                    <a:pt x="439" y="440"/>
                  </a:lnTo>
                  <a:lnTo>
                    <a:pt x="439" y="442"/>
                  </a:lnTo>
                  <a:lnTo>
                    <a:pt x="439" y="443"/>
                  </a:lnTo>
                  <a:lnTo>
                    <a:pt x="438" y="444"/>
                  </a:lnTo>
                  <a:lnTo>
                    <a:pt x="438" y="447"/>
                  </a:lnTo>
                  <a:lnTo>
                    <a:pt x="437" y="451"/>
                  </a:lnTo>
                  <a:lnTo>
                    <a:pt x="436" y="453"/>
                  </a:lnTo>
                  <a:lnTo>
                    <a:pt x="436" y="455"/>
                  </a:lnTo>
                  <a:lnTo>
                    <a:pt x="436" y="456"/>
                  </a:lnTo>
                  <a:lnTo>
                    <a:pt x="435" y="458"/>
                  </a:lnTo>
                  <a:lnTo>
                    <a:pt x="435" y="458"/>
                  </a:lnTo>
                  <a:lnTo>
                    <a:pt x="434" y="460"/>
                  </a:lnTo>
                  <a:lnTo>
                    <a:pt x="434" y="461"/>
                  </a:lnTo>
                  <a:lnTo>
                    <a:pt x="433" y="461"/>
                  </a:lnTo>
                  <a:lnTo>
                    <a:pt x="432" y="462"/>
                  </a:lnTo>
                  <a:lnTo>
                    <a:pt x="431" y="463"/>
                  </a:lnTo>
                  <a:lnTo>
                    <a:pt x="431" y="463"/>
                  </a:lnTo>
                  <a:lnTo>
                    <a:pt x="430" y="464"/>
                  </a:lnTo>
                  <a:lnTo>
                    <a:pt x="429" y="464"/>
                  </a:lnTo>
                  <a:lnTo>
                    <a:pt x="429" y="464"/>
                  </a:lnTo>
                  <a:lnTo>
                    <a:pt x="428" y="464"/>
                  </a:lnTo>
                  <a:lnTo>
                    <a:pt x="428" y="464"/>
                  </a:lnTo>
                  <a:lnTo>
                    <a:pt x="427" y="464"/>
                  </a:lnTo>
                  <a:lnTo>
                    <a:pt x="426" y="464"/>
                  </a:lnTo>
                  <a:lnTo>
                    <a:pt x="426" y="463"/>
                  </a:lnTo>
                  <a:lnTo>
                    <a:pt x="425" y="463"/>
                  </a:lnTo>
                  <a:lnTo>
                    <a:pt x="425" y="462"/>
                  </a:lnTo>
                  <a:lnTo>
                    <a:pt x="425" y="462"/>
                  </a:lnTo>
                  <a:lnTo>
                    <a:pt x="425" y="461"/>
                  </a:lnTo>
                  <a:lnTo>
                    <a:pt x="425" y="460"/>
                  </a:lnTo>
                  <a:lnTo>
                    <a:pt x="425" y="460"/>
                  </a:lnTo>
                  <a:lnTo>
                    <a:pt x="424" y="456"/>
                  </a:lnTo>
                  <a:lnTo>
                    <a:pt x="423" y="452"/>
                  </a:lnTo>
                  <a:lnTo>
                    <a:pt x="423" y="450"/>
                  </a:lnTo>
                  <a:lnTo>
                    <a:pt x="423" y="447"/>
                  </a:lnTo>
                  <a:lnTo>
                    <a:pt x="423" y="445"/>
                  </a:lnTo>
                  <a:lnTo>
                    <a:pt x="422" y="442"/>
                  </a:lnTo>
                  <a:lnTo>
                    <a:pt x="421" y="439"/>
                  </a:lnTo>
                  <a:lnTo>
                    <a:pt x="421" y="438"/>
                  </a:lnTo>
                  <a:lnTo>
                    <a:pt x="421" y="436"/>
                  </a:lnTo>
                  <a:lnTo>
                    <a:pt x="421" y="432"/>
                  </a:lnTo>
                  <a:lnTo>
                    <a:pt x="420" y="431"/>
                  </a:lnTo>
                  <a:lnTo>
                    <a:pt x="420" y="429"/>
                  </a:lnTo>
                  <a:lnTo>
                    <a:pt x="420" y="428"/>
                  </a:lnTo>
                  <a:lnTo>
                    <a:pt x="420" y="427"/>
                  </a:lnTo>
                  <a:lnTo>
                    <a:pt x="419" y="426"/>
                  </a:lnTo>
                  <a:lnTo>
                    <a:pt x="419" y="425"/>
                  </a:lnTo>
                  <a:lnTo>
                    <a:pt x="418" y="424"/>
                  </a:lnTo>
                  <a:lnTo>
                    <a:pt x="417" y="423"/>
                  </a:lnTo>
                  <a:lnTo>
                    <a:pt x="416" y="422"/>
                  </a:lnTo>
                  <a:lnTo>
                    <a:pt x="416" y="421"/>
                  </a:lnTo>
                  <a:lnTo>
                    <a:pt x="415" y="421"/>
                  </a:lnTo>
                  <a:lnTo>
                    <a:pt x="415" y="421"/>
                  </a:lnTo>
                  <a:lnTo>
                    <a:pt x="414" y="421"/>
                  </a:lnTo>
                  <a:lnTo>
                    <a:pt x="413" y="420"/>
                  </a:lnTo>
                  <a:lnTo>
                    <a:pt x="412" y="420"/>
                  </a:lnTo>
                  <a:lnTo>
                    <a:pt x="411" y="420"/>
                  </a:lnTo>
                  <a:lnTo>
                    <a:pt x="410" y="420"/>
                  </a:lnTo>
                  <a:lnTo>
                    <a:pt x="410" y="420"/>
                  </a:lnTo>
                  <a:lnTo>
                    <a:pt x="409" y="420"/>
                  </a:lnTo>
                  <a:lnTo>
                    <a:pt x="408" y="420"/>
                  </a:lnTo>
                  <a:lnTo>
                    <a:pt x="406" y="421"/>
                  </a:lnTo>
                  <a:lnTo>
                    <a:pt x="405" y="421"/>
                  </a:lnTo>
                  <a:lnTo>
                    <a:pt x="403" y="421"/>
                  </a:lnTo>
                  <a:lnTo>
                    <a:pt x="401" y="422"/>
                  </a:lnTo>
                  <a:lnTo>
                    <a:pt x="399" y="422"/>
                  </a:lnTo>
                  <a:lnTo>
                    <a:pt x="396" y="422"/>
                  </a:lnTo>
                  <a:lnTo>
                    <a:pt x="392" y="423"/>
                  </a:lnTo>
                  <a:lnTo>
                    <a:pt x="390" y="423"/>
                  </a:lnTo>
                  <a:lnTo>
                    <a:pt x="387" y="424"/>
                  </a:lnTo>
                  <a:lnTo>
                    <a:pt x="386" y="424"/>
                  </a:lnTo>
                  <a:lnTo>
                    <a:pt x="385" y="424"/>
                  </a:lnTo>
                  <a:lnTo>
                    <a:pt x="383" y="423"/>
                  </a:lnTo>
                  <a:lnTo>
                    <a:pt x="379" y="423"/>
                  </a:lnTo>
                  <a:lnTo>
                    <a:pt x="378" y="422"/>
                  </a:lnTo>
                  <a:lnTo>
                    <a:pt x="376" y="421"/>
                  </a:lnTo>
                  <a:lnTo>
                    <a:pt x="374" y="420"/>
                  </a:lnTo>
                  <a:lnTo>
                    <a:pt x="373" y="420"/>
                  </a:lnTo>
                  <a:lnTo>
                    <a:pt x="372" y="419"/>
                  </a:lnTo>
                  <a:lnTo>
                    <a:pt x="369" y="417"/>
                  </a:lnTo>
                  <a:lnTo>
                    <a:pt x="368" y="416"/>
                  </a:lnTo>
                  <a:lnTo>
                    <a:pt x="368" y="416"/>
                  </a:lnTo>
                  <a:lnTo>
                    <a:pt x="367" y="415"/>
                  </a:lnTo>
                  <a:lnTo>
                    <a:pt x="365" y="414"/>
                  </a:lnTo>
                  <a:lnTo>
                    <a:pt x="364" y="414"/>
                  </a:lnTo>
                  <a:lnTo>
                    <a:pt x="362" y="414"/>
                  </a:lnTo>
                  <a:lnTo>
                    <a:pt x="362" y="413"/>
                  </a:lnTo>
                  <a:lnTo>
                    <a:pt x="361" y="413"/>
                  </a:lnTo>
                  <a:lnTo>
                    <a:pt x="360" y="413"/>
                  </a:lnTo>
                  <a:lnTo>
                    <a:pt x="359" y="413"/>
                  </a:lnTo>
                  <a:lnTo>
                    <a:pt x="358" y="413"/>
                  </a:lnTo>
                  <a:lnTo>
                    <a:pt x="357" y="413"/>
                  </a:lnTo>
                  <a:lnTo>
                    <a:pt x="354" y="413"/>
                  </a:lnTo>
                  <a:lnTo>
                    <a:pt x="353" y="413"/>
                  </a:lnTo>
                  <a:lnTo>
                    <a:pt x="352" y="413"/>
                  </a:lnTo>
                  <a:lnTo>
                    <a:pt x="352" y="413"/>
                  </a:lnTo>
                  <a:lnTo>
                    <a:pt x="351" y="413"/>
                  </a:lnTo>
                  <a:lnTo>
                    <a:pt x="351" y="413"/>
                  </a:lnTo>
                  <a:lnTo>
                    <a:pt x="350" y="413"/>
                  </a:lnTo>
                  <a:lnTo>
                    <a:pt x="350" y="412"/>
                  </a:lnTo>
                  <a:lnTo>
                    <a:pt x="350" y="412"/>
                  </a:lnTo>
                  <a:lnTo>
                    <a:pt x="349" y="412"/>
                  </a:lnTo>
                  <a:lnTo>
                    <a:pt x="349" y="411"/>
                  </a:lnTo>
                  <a:lnTo>
                    <a:pt x="349" y="411"/>
                  </a:lnTo>
                  <a:lnTo>
                    <a:pt x="348" y="410"/>
                  </a:lnTo>
                  <a:lnTo>
                    <a:pt x="348" y="409"/>
                  </a:lnTo>
                  <a:lnTo>
                    <a:pt x="348" y="409"/>
                  </a:lnTo>
                  <a:lnTo>
                    <a:pt x="347" y="405"/>
                  </a:lnTo>
                  <a:lnTo>
                    <a:pt x="347" y="402"/>
                  </a:lnTo>
                  <a:lnTo>
                    <a:pt x="347" y="401"/>
                  </a:lnTo>
                  <a:lnTo>
                    <a:pt x="347" y="401"/>
                  </a:lnTo>
                  <a:lnTo>
                    <a:pt x="346" y="400"/>
                  </a:lnTo>
                  <a:lnTo>
                    <a:pt x="346" y="399"/>
                  </a:lnTo>
                  <a:lnTo>
                    <a:pt x="345" y="398"/>
                  </a:lnTo>
                  <a:lnTo>
                    <a:pt x="345" y="397"/>
                  </a:lnTo>
                  <a:lnTo>
                    <a:pt x="344" y="396"/>
                  </a:lnTo>
                  <a:lnTo>
                    <a:pt x="343" y="394"/>
                  </a:lnTo>
                  <a:lnTo>
                    <a:pt x="342" y="394"/>
                  </a:lnTo>
                  <a:lnTo>
                    <a:pt x="341" y="393"/>
                  </a:lnTo>
                  <a:lnTo>
                    <a:pt x="340" y="393"/>
                  </a:lnTo>
                  <a:lnTo>
                    <a:pt x="339" y="392"/>
                  </a:lnTo>
                  <a:lnTo>
                    <a:pt x="338" y="392"/>
                  </a:lnTo>
                  <a:lnTo>
                    <a:pt x="337" y="392"/>
                  </a:lnTo>
                  <a:lnTo>
                    <a:pt x="336" y="391"/>
                  </a:lnTo>
                  <a:lnTo>
                    <a:pt x="335" y="391"/>
                  </a:lnTo>
                  <a:lnTo>
                    <a:pt x="331" y="392"/>
                  </a:lnTo>
                  <a:lnTo>
                    <a:pt x="330" y="392"/>
                  </a:lnTo>
                  <a:lnTo>
                    <a:pt x="328" y="392"/>
                  </a:lnTo>
                  <a:lnTo>
                    <a:pt x="327" y="391"/>
                  </a:lnTo>
                  <a:lnTo>
                    <a:pt x="326" y="391"/>
                  </a:lnTo>
                  <a:lnTo>
                    <a:pt x="325" y="391"/>
                  </a:lnTo>
                  <a:lnTo>
                    <a:pt x="323" y="391"/>
                  </a:lnTo>
                  <a:lnTo>
                    <a:pt x="322" y="390"/>
                  </a:lnTo>
                  <a:lnTo>
                    <a:pt x="321" y="390"/>
                  </a:lnTo>
                  <a:lnTo>
                    <a:pt x="315" y="386"/>
                  </a:lnTo>
                  <a:lnTo>
                    <a:pt x="313" y="385"/>
                  </a:lnTo>
                  <a:lnTo>
                    <a:pt x="310" y="383"/>
                  </a:lnTo>
                  <a:lnTo>
                    <a:pt x="309" y="382"/>
                  </a:lnTo>
                  <a:lnTo>
                    <a:pt x="307" y="382"/>
                  </a:lnTo>
                  <a:lnTo>
                    <a:pt x="307" y="381"/>
                  </a:lnTo>
                  <a:lnTo>
                    <a:pt x="306" y="381"/>
                  </a:lnTo>
                  <a:lnTo>
                    <a:pt x="305" y="381"/>
                  </a:lnTo>
                  <a:lnTo>
                    <a:pt x="305" y="381"/>
                  </a:lnTo>
                  <a:lnTo>
                    <a:pt x="304" y="381"/>
                  </a:lnTo>
                  <a:lnTo>
                    <a:pt x="304" y="381"/>
                  </a:lnTo>
                  <a:lnTo>
                    <a:pt x="302" y="381"/>
                  </a:lnTo>
                  <a:lnTo>
                    <a:pt x="300" y="382"/>
                  </a:lnTo>
                  <a:lnTo>
                    <a:pt x="299" y="382"/>
                  </a:lnTo>
                  <a:lnTo>
                    <a:pt x="297" y="382"/>
                  </a:lnTo>
                  <a:lnTo>
                    <a:pt x="296" y="383"/>
                  </a:lnTo>
                  <a:lnTo>
                    <a:pt x="293" y="383"/>
                  </a:lnTo>
                  <a:lnTo>
                    <a:pt x="291" y="383"/>
                  </a:lnTo>
                  <a:lnTo>
                    <a:pt x="288" y="383"/>
                  </a:lnTo>
                  <a:lnTo>
                    <a:pt x="285" y="382"/>
                  </a:lnTo>
                  <a:lnTo>
                    <a:pt x="284" y="382"/>
                  </a:lnTo>
                  <a:lnTo>
                    <a:pt x="283" y="382"/>
                  </a:lnTo>
                  <a:lnTo>
                    <a:pt x="282" y="382"/>
                  </a:lnTo>
                  <a:lnTo>
                    <a:pt x="282" y="383"/>
                  </a:lnTo>
                  <a:lnTo>
                    <a:pt x="281" y="383"/>
                  </a:lnTo>
                  <a:lnTo>
                    <a:pt x="280" y="383"/>
                  </a:lnTo>
                  <a:lnTo>
                    <a:pt x="280" y="384"/>
                  </a:lnTo>
                  <a:lnTo>
                    <a:pt x="279" y="385"/>
                  </a:lnTo>
                  <a:lnTo>
                    <a:pt x="278" y="386"/>
                  </a:lnTo>
                  <a:lnTo>
                    <a:pt x="277" y="387"/>
                  </a:lnTo>
                  <a:lnTo>
                    <a:pt x="276" y="389"/>
                  </a:lnTo>
                  <a:lnTo>
                    <a:pt x="275" y="392"/>
                  </a:lnTo>
                  <a:lnTo>
                    <a:pt x="274" y="394"/>
                  </a:lnTo>
                  <a:lnTo>
                    <a:pt x="273" y="397"/>
                  </a:lnTo>
                  <a:lnTo>
                    <a:pt x="272" y="399"/>
                  </a:lnTo>
                  <a:lnTo>
                    <a:pt x="272" y="400"/>
                  </a:lnTo>
                  <a:lnTo>
                    <a:pt x="271" y="401"/>
                  </a:lnTo>
                  <a:lnTo>
                    <a:pt x="269" y="405"/>
                  </a:lnTo>
                  <a:lnTo>
                    <a:pt x="266" y="409"/>
                  </a:lnTo>
                  <a:lnTo>
                    <a:pt x="265" y="410"/>
                  </a:lnTo>
                  <a:lnTo>
                    <a:pt x="264" y="411"/>
                  </a:lnTo>
                  <a:lnTo>
                    <a:pt x="264" y="412"/>
                  </a:lnTo>
                  <a:lnTo>
                    <a:pt x="262" y="413"/>
                  </a:lnTo>
                  <a:lnTo>
                    <a:pt x="261" y="413"/>
                  </a:lnTo>
                  <a:lnTo>
                    <a:pt x="259" y="415"/>
                  </a:lnTo>
                  <a:lnTo>
                    <a:pt x="258" y="416"/>
                  </a:lnTo>
                  <a:lnTo>
                    <a:pt x="256" y="416"/>
                  </a:lnTo>
                  <a:lnTo>
                    <a:pt x="256" y="417"/>
                  </a:lnTo>
                  <a:lnTo>
                    <a:pt x="255" y="417"/>
                  </a:lnTo>
                  <a:lnTo>
                    <a:pt x="254" y="417"/>
                  </a:lnTo>
                  <a:lnTo>
                    <a:pt x="253" y="417"/>
                  </a:lnTo>
                  <a:lnTo>
                    <a:pt x="252" y="416"/>
                  </a:lnTo>
                  <a:lnTo>
                    <a:pt x="251" y="416"/>
                  </a:lnTo>
                  <a:lnTo>
                    <a:pt x="250" y="416"/>
                  </a:lnTo>
                  <a:lnTo>
                    <a:pt x="250" y="416"/>
                  </a:lnTo>
                  <a:lnTo>
                    <a:pt x="248" y="414"/>
                  </a:lnTo>
                  <a:lnTo>
                    <a:pt x="248" y="414"/>
                  </a:lnTo>
                  <a:lnTo>
                    <a:pt x="247" y="414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5" y="413"/>
                  </a:lnTo>
                  <a:lnTo>
                    <a:pt x="245" y="413"/>
                  </a:lnTo>
                  <a:lnTo>
                    <a:pt x="244" y="414"/>
                  </a:lnTo>
                  <a:lnTo>
                    <a:pt x="242" y="415"/>
                  </a:lnTo>
                  <a:lnTo>
                    <a:pt x="242" y="415"/>
                  </a:lnTo>
                  <a:lnTo>
                    <a:pt x="241" y="415"/>
                  </a:lnTo>
                  <a:lnTo>
                    <a:pt x="241" y="415"/>
                  </a:lnTo>
                  <a:lnTo>
                    <a:pt x="240" y="415"/>
                  </a:lnTo>
                  <a:lnTo>
                    <a:pt x="239" y="415"/>
                  </a:lnTo>
                  <a:lnTo>
                    <a:pt x="238" y="415"/>
                  </a:lnTo>
                  <a:lnTo>
                    <a:pt x="237" y="415"/>
                  </a:lnTo>
                  <a:lnTo>
                    <a:pt x="236" y="415"/>
                  </a:lnTo>
                  <a:lnTo>
                    <a:pt x="233" y="415"/>
                  </a:lnTo>
                  <a:lnTo>
                    <a:pt x="231" y="414"/>
                  </a:lnTo>
                  <a:lnTo>
                    <a:pt x="229" y="414"/>
                  </a:lnTo>
                  <a:lnTo>
                    <a:pt x="227" y="414"/>
                  </a:lnTo>
                  <a:lnTo>
                    <a:pt x="226" y="414"/>
                  </a:lnTo>
                  <a:lnTo>
                    <a:pt x="224" y="414"/>
                  </a:lnTo>
                  <a:lnTo>
                    <a:pt x="220" y="414"/>
                  </a:lnTo>
                  <a:lnTo>
                    <a:pt x="218" y="414"/>
                  </a:lnTo>
                  <a:lnTo>
                    <a:pt x="215" y="414"/>
                  </a:lnTo>
                  <a:lnTo>
                    <a:pt x="212" y="413"/>
                  </a:lnTo>
                  <a:lnTo>
                    <a:pt x="207" y="413"/>
                  </a:lnTo>
                  <a:lnTo>
                    <a:pt x="195" y="412"/>
                  </a:lnTo>
                  <a:lnTo>
                    <a:pt x="192" y="411"/>
                  </a:lnTo>
                  <a:lnTo>
                    <a:pt x="191" y="411"/>
                  </a:lnTo>
                  <a:lnTo>
                    <a:pt x="189" y="411"/>
                  </a:lnTo>
                  <a:lnTo>
                    <a:pt x="188" y="411"/>
                  </a:lnTo>
                  <a:lnTo>
                    <a:pt x="185" y="412"/>
                  </a:lnTo>
                  <a:lnTo>
                    <a:pt x="183" y="412"/>
                  </a:lnTo>
                  <a:lnTo>
                    <a:pt x="181" y="412"/>
                  </a:lnTo>
                  <a:lnTo>
                    <a:pt x="178" y="411"/>
                  </a:lnTo>
                  <a:lnTo>
                    <a:pt x="173" y="411"/>
                  </a:lnTo>
                  <a:lnTo>
                    <a:pt x="172" y="411"/>
                  </a:lnTo>
                  <a:lnTo>
                    <a:pt x="171" y="411"/>
                  </a:lnTo>
                  <a:lnTo>
                    <a:pt x="169" y="411"/>
                  </a:lnTo>
                  <a:lnTo>
                    <a:pt x="168" y="410"/>
                  </a:lnTo>
                  <a:lnTo>
                    <a:pt x="167" y="410"/>
                  </a:lnTo>
                  <a:lnTo>
                    <a:pt x="165" y="409"/>
                  </a:lnTo>
                  <a:lnTo>
                    <a:pt x="164" y="409"/>
                  </a:lnTo>
                  <a:lnTo>
                    <a:pt x="162" y="408"/>
                  </a:lnTo>
                  <a:lnTo>
                    <a:pt x="161" y="407"/>
                  </a:lnTo>
                  <a:lnTo>
                    <a:pt x="159" y="406"/>
                  </a:lnTo>
                  <a:lnTo>
                    <a:pt x="153" y="403"/>
                  </a:lnTo>
                  <a:lnTo>
                    <a:pt x="144" y="399"/>
                  </a:lnTo>
                  <a:lnTo>
                    <a:pt x="141" y="397"/>
                  </a:lnTo>
                  <a:lnTo>
                    <a:pt x="140" y="396"/>
                  </a:lnTo>
                  <a:lnTo>
                    <a:pt x="139" y="396"/>
                  </a:lnTo>
                  <a:lnTo>
                    <a:pt x="138" y="395"/>
                  </a:lnTo>
                  <a:lnTo>
                    <a:pt x="136" y="394"/>
                  </a:lnTo>
                  <a:lnTo>
                    <a:pt x="135" y="392"/>
                  </a:lnTo>
                  <a:lnTo>
                    <a:pt x="133" y="391"/>
                  </a:lnTo>
                  <a:lnTo>
                    <a:pt x="131" y="390"/>
                  </a:lnTo>
                  <a:lnTo>
                    <a:pt x="130" y="388"/>
                  </a:lnTo>
                  <a:lnTo>
                    <a:pt x="129" y="387"/>
                  </a:lnTo>
                  <a:lnTo>
                    <a:pt x="128" y="386"/>
                  </a:lnTo>
                  <a:lnTo>
                    <a:pt x="128" y="386"/>
                  </a:lnTo>
                  <a:lnTo>
                    <a:pt x="127" y="385"/>
                  </a:lnTo>
                  <a:lnTo>
                    <a:pt x="127" y="384"/>
                  </a:lnTo>
                  <a:lnTo>
                    <a:pt x="127" y="384"/>
                  </a:lnTo>
                  <a:lnTo>
                    <a:pt x="126" y="382"/>
                  </a:lnTo>
                  <a:lnTo>
                    <a:pt x="125" y="380"/>
                  </a:lnTo>
                  <a:lnTo>
                    <a:pt x="125" y="379"/>
                  </a:lnTo>
                  <a:lnTo>
                    <a:pt x="125" y="379"/>
                  </a:lnTo>
                  <a:lnTo>
                    <a:pt x="125" y="378"/>
                  </a:lnTo>
                  <a:lnTo>
                    <a:pt x="125" y="378"/>
                  </a:lnTo>
                  <a:lnTo>
                    <a:pt x="124" y="377"/>
                  </a:lnTo>
                  <a:lnTo>
                    <a:pt x="124" y="377"/>
                  </a:lnTo>
                  <a:lnTo>
                    <a:pt x="123" y="377"/>
                  </a:lnTo>
                  <a:lnTo>
                    <a:pt x="123" y="376"/>
                  </a:lnTo>
                  <a:lnTo>
                    <a:pt x="122" y="376"/>
                  </a:lnTo>
                  <a:lnTo>
                    <a:pt x="121" y="376"/>
                  </a:lnTo>
                  <a:lnTo>
                    <a:pt x="120" y="376"/>
                  </a:lnTo>
                  <a:lnTo>
                    <a:pt x="120" y="376"/>
                  </a:lnTo>
                  <a:lnTo>
                    <a:pt x="119" y="375"/>
                  </a:lnTo>
                  <a:lnTo>
                    <a:pt x="119" y="375"/>
                  </a:lnTo>
                  <a:lnTo>
                    <a:pt x="118" y="374"/>
                  </a:lnTo>
                  <a:lnTo>
                    <a:pt x="117" y="373"/>
                  </a:lnTo>
                  <a:lnTo>
                    <a:pt x="116" y="372"/>
                  </a:lnTo>
                  <a:lnTo>
                    <a:pt x="115" y="372"/>
                  </a:lnTo>
                  <a:lnTo>
                    <a:pt x="115" y="371"/>
                  </a:lnTo>
                  <a:lnTo>
                    <a:pt x="114" y="371"/>
                  </a:lnTo>
                  <a:lnTo>
                    <a:pt x="113" y="371"/>
                  </a:lnTo>
                  <a:lnTo>
                    <a:pt x="110" y="370"/>
                  </a:lnTo>
                  <a:lnTo>
                    <a:pt x="110" y="370"/>
                  </a:lnTo>
                  <a:lnTo>
                    <a:pt x="109" y="370"/>
                  </a:lnTo>
                  <a:lnTo>
                    <a:pt x="109" y="369"/>
                  </a:lnTo>
                  <a:lnTo>
                    <a:pt x="109" y="369"/>
                  </a:lnTo>
                  <a:lnTo>
                    <a:pt x="109" y="369"/>
                  </a:lnTo>
                  <a:lnTo>
                    <a:pt x="108" y="368"/>
                  </a:lnTo>
                  <a:lnTo>
                    <a:pt x="108" y="368"/>
                  </a:lnTo>
                  <a:lnTo>
                    <a:pt x="108" y="367"/>
                  </a:lnTo>
                  <a:lnTo>
                    <a:pt x="107" y="367"/>
                  </a:lnTo>
                  <a:lnTo>
                    <a:pt x="107" y="366"/>
                  </a:lnTo>
                  <a:lnTo>
                    <a:pt x="106" y="366"/>
                  </a:lnTo>
                  <a:lnTo>
                    <a:pt x="105" y="365"/>
                  </a:lnTo>
                  <a:lnTo>
                    <a:pt x="104" y="365"/>
                  </a:lnTo>
                  <a:lnTo>
                    <a:pt x="103" y="363"/>
                  </a:lnTo>
                  <a:lnTo>
                    <a:pt x="102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99" y="361"/>
                  </a:lnTo>
                  <a:lnTo>
                    <a:pt x="98" y="361"/>
                  </a:lnTo>
                  <a:lnTo>
                    <a:pt x="96" y="360"/>
                  </a:lnTo>
                  <a:lnTo>
                    <a:pt x="96" y="360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4" y="358"/>
                  </a:lnTo>
                  <a:lnTo>
                    <a:pt x="94" y="358"/>
                  </a:lnTo>
                  <a:lnTo>
                    <a:pt x="93" y="356"/>
                  </a:lnTo>
                  <a:lnTo>
                    <a:pt x="92" y="356"/>
                  </a:lnTo>
                  <a:lnTo>
                    <a:pt x="92" y="356"/>
                  </a:lnTo>
                  <a:lnTo>
                    <a:pt x="92" y="355"/>
                  </a:lnTo>
                  <a:lnTo>
                    <a:pt x="91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90" y="354"/>
                  </a:lnTo>
                  <a:lnTo>
                    <a:pt x="89" y="354"/>
                  </a:lnTo>
                  <a:lnTo>
                    <a:pt x="88" y="354"/>
                  </a:lnTo>
                  <a:lnTo>
                    <a:pt x="85" y="354"/>
                  </a:lnTo>
                  <a:lnTo>
                    <a:pt x="83" y="354"/>
                  </a:lnTo>
                  <a:lnTo>
                    <a:pt x="81" y="354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6" y="355"/>
                  </a:lnTo>
                  <a:lnTo>
                    <a:pt x="75" y="355"/>
                  </a:lnTo>
                  <a:lnTo>
                    <a:pt x="74" y="355"/>
                  </a:lnTo>
                  <a:lnTo>
                    <a:pt x="73" y="356"/>
                  </a:lnTo>
                  <a:lnTo>
                    <a:pt x="72" y="356"/>
                  </a:lnTo>
                  <a:lnTo>
                    <a:pt x="71" y="357"/>
                  </a:lnTo>
                  <a:lnTo>
                    <a:pt x="68" y="359"/>
                  </a:lnTo>
                  <a:lnTo>
                    <a:pt x="67" y="360"/>
                  </a:lnTo>
                  <a:lnTo>
                    <a:pt x="66" y="360"/>
                  </a:lnTo>
                  <a:lnTo>
                    <a:pt x="65" y="361"/>
                  </a:lnTo>
                  <a:lnTo>
                    <a:pt x="64" y="361"/>
                  </a:lnTo>
                  <a:lnTo>
                    <a:pt x="63" y="361"/>
                  </a:lnTo>
                  <a:lnTo>
                    <a:pt x="62" y="362"/>
                  </a:lnTo>
                  <a:lnTo>
                    <a:pt x="61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7" y="362"/>
                  </a:lnTo>
                  <a:lnTo>
                    <a:pt x="54" y="362"/>
                  </a:lnTo>
                  <a:lnTo>
                    <a:pt x="48" y="361"/>
                  </a:lnTo>
                  <a:lnTo>
                    <a:pt x="47" y="360"/>
                  </a:lnTo>
                  <a:lnTo>
                    <a:pt x="45" y="360"/>
                  </a:lnTo>
                  <a:lnTo>
                    <a:pt x="44" y="359"/>
                  </a:lnTo>
                  <a:lnTo>
                    <a:pt x="43" y="359"/>
                  </a:lnTo>
                  <a:lnTo>
                    <a:pt x="42" y="358"/>
                  </a:lnTo>
                  <a:lnTo>
                    <a:pt x="40" y="357"/>
                  </a:lnTo>
                  <a:lnTo>
                    <a:pt x="39" y="356"/>
                  </a:lnTo>
                  <a:lnTo>
                    <a:pt x="35" y="352"/>
                  </a:lnTo>
                  <a:lnTo>
                    <a:pt x="34" y="351"/>
                  </a:lnTo>
                  <a:lnTo>
                    <a:pt x="33" y="350"/>
                  </a:lnTo>
                  <a:lnTo>
                    <a:pt x="31" y="350"/>
                  </a:lnTo>
                  <a:lnTo>
                    <a:pt x="30" y="349"/>
                  </a:lnTo>
                  <a:lnTo>
                    <a:pt x="27" y="348"/>
                  </a:lnTo>
                  <a:lnTo>
                    <a:pt x="24" y="346"/>
                  </a:lnTo>
                  <a:lnTo>
                    <a:pt x="23" y="345"/>
                  </a:lnTo>
                  <a:lnTo>
                    <a:pt x="21" y="344"/>
                  </a:lnTo>
                  <a:lnTo>
                    <a:pt x="20" y="344"/>
                  </a:lnTo>
                  <a:lnTo>
                    <a:pt x="18" y="343"/>
                  </a:lnTo>
                  <a:lnTo>
                    <a:pt x="12" y="342"/>
                  </a:lnTo>
                  <a:lnTo>
                    <a:pt x="10" y="342"/>
                  </a:lnTo>
                  <a:lnTo>
                    <a:pt x="9" y="342"/>
                  </a:lnTo>
                  <a:lnTo>
                    <a:pt x="7" y="341"/>
                  </a:lnTo>
                  <a:lnTo>
                    <a:pt x="5" y="341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1" y="336"/>
                  </a:lnTo>
                  <a:lnTo>
                    <a:pt x="2" y="333"/>
                  </a:lnTo>
                  <a:lnTo>
                    <a:pt x="2" y="332"/>
                  </a:lnTo>
                  <a:lnTo>
                    <a:pt x="3" y="332"/>
                  </a:lnTo>
                  <a:lnTo>
                    <a:pt x="3" y="332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5" y="331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6" y="329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7" y="327"/>
                  </a:lnTo>
                  <a:lnTo>
                    <a:pt x="8" y="326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9" y="323"/>
                  </a:lnTo>
                  <a:lnTo>
                    <a:pt x="10" y="323"/>
                  </a:lnTo>
                  <a:lnTo>
                    <a:pt x="10" y="323"/>
                  </a:lnTo>
                  <a:lnTo>
                    <a:pt x="11" y="323"/>
                  </a:lnTo>
                  <a:lnTo>
                    <a:pt x="11" y="323"/>
                  </a:lnTo>
                  <a:lnTo>
                    <a:pt x="11" y="322"/>
                  </a:lnTo>
                  <a:lnTo>
                    <a:pt x="13" y="321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19"/>
                  </a:lnTo>
                  <a:lnTo>
                    <a:pt x="14" y="319"/>
                  </a:lnTo>
                  <a:lnTo>
                    <a:pt x="14" y="319"/>
                  </a:lnTo>
                  <a:lnTo>
                    <a:pt x="15" y="318"/>
                  </a:lnTo>
                  <a:lnTo>
                    <a:pt x="16" y="318"/>
                  </a:lnTo>
                  <a:lnTo>
                    <a:pt x="17" y="318"/>
                  </a:lnTo>
                  <a:lnTo>
                    <a:pt x="18" y="318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2" y="318"/>
                  </a:lnTo>
                  <a:lnTo>
                    <a:pt x="23" y="319"/>
                  </a:lnTo>
                  <a:lnTo>
                    <a:pt x="25" y="320"/>
                  </a:lnTo>
                  <a:lnTo>
                    <a:pt x="25" y="321"/>
                  </a:lnTo>
                  <a:lnTo>
                    <a:pt x="26" y="321"/>
                  </a:lnTo>
                  <a:lnTo>
                    <a:pt x="27" y="321"/>
                  </a:lnTo>
                  <a:lnTo>
                    <a:pt x="28" y="322"/>
                  </a:lnTo>
                  <a:lnTo>
                    <a:pt x="29" y="322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2" y="321"/>
                  </a:lnTo>
                  <a:lnTo>
                    <a:pt x="32" y="321"/>
                  </a:lnTo>
                  <a:lnTo>
                    <a:pt x="33" y="320"/>
                  </a:lnTo>
                  <a:lnTo>
                    <a:pt x="34" y="319"/>
                  </a:lnTo>
                  <a:lnTo>
                    <a:pt x="34" y="319"/>
                  </a:lnTo>
                  <a:lnTo>
                    <a:pt x="35" y="317"/>
                  </a:lnTo>
                  <a:lnTo>
                    <a:pt x="37" y="314"/>
                  </a:lnTo>
                  <a:lnTo>
                    <a:pt x="38" y="314"/>
                  </a:lnTo>
                  <a:lnTo>
                    <a:pt x="38" y="314"/>
                  </a:lnTo>
                  <a:lnTo>
                    <a:pt x="38" y="313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0" y="313"/>
                  </a:lnTo>
                  <a:lnTo>
                    <a:pt x="41" y="313"/>
                  </a:lnTo>
                  <a:lnTo>
                    <a:pt x="45" y="312"/>
                  </a:lnTo>
                  <a:lnTo>
                    <a:pt x="46" y="312"/>
                  </a:lnTo>
                  <a:lnTo>
                    <a:pt x="47" y="312"/>
                  </a:lnTo>
                  <a:lnTo>
                    <a:pt x="48" y="312"/>
                  </a:lnTo>
                  <a:lnTo>
                    <a:pt x="49" y="313"/>
                  </a:lnTo>
                  <a:lnTo>
                    <a:pt x="50" y="313"/>
                  </a:lnTo>
                  <a:lnTo>
                    <a:pt x="51" y="314"/>
                  </a:lnTo>
                  <a:lnTo>
                    <a:pt x="52" y="314"/>
                  </a:lnTo>
                  <a:lnTo>
                    <a:pt x="54" y="316"/>
                  </a:lnTo>
                  <a:lnTo>
                    <a:pt x="55" y="316"/>
                  </a:lnTo>
                  <a:lnTo>
                    <a:pt x="56" y="316"/>
                  </a:lnTo>
                  <a:lnTo>
                    <a:pt x="56" y="316"/>
                  </a:lnTo>
                  <a:lnTo>
                    <a:pt x="57" y="316"/>
                  </a:lnTo>
                  <a:lnTo>
                    <a:pt x="57" y="316"/>
                  </a:lnTo>
                  <a:lnTo>
                    <a:pt x="58" y="316"/>
                  </a:lnTo>
                  <a:lnTo>
                    <a:pt x="58" y="316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1" y="313"/>
                  </a:lnTo>
                  <a:lnTo>
                    <a:pt x="62" y="311"/>
                  </a:lnTo>
                  <a:lnTo>
                    <a:pt x="62" y="311"/>
                  </a:lnTo>
                  <a:lnTo>
                    <a:pt x="64" y="309"/>
                  </a:lnTo>
                  <a:lnTo>
                    <a:pt x="66" y="307"/>
                  </a:lnTo>
                  <a:lnTo>
                    <a:pt x="66" y="307"/>
                  </a:lnTo>
                  <a:lnTo>
                    <a:pt x="67" y="306"/>
                  </a:lnTo>
                  <a:lnTo>
                    <a:pt x="68" y="306"/>
                  </a:lnTo>
                  <a:lnTo>
                    <a:pt x="69" y="305"/>
                  </a:lnTo>
                  <a:lnTo>
                    <a:pt x="71" y="304"/>
                  </a:lnTo>
                  <a:lnTo>
                    <a:pt x="72" y="303"/>
                  </a:lnTo>
                  <a:lnTo>
                    <a:pt x="73" y="302"/>
                  </a:lnTo>
                  <a:lnTo>
                    <a:pt x="74" y="301"/>
                  </a:lnTo>
                  <a:lnTo>
                    <a:pt x="75" y="300"/>
                  </a:lnTo>
                  <a:lnTo>
                    <a:pt x="77" y="299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81" y="294"/>
                  </a:lnTo>
                  <a:lnTo>
                    <a:pt x="82" y="293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8" y="291"/>
                  </a:lnTo>
                  <a:lnTo>
                    <a:pt x="89" y="290"/>
                  </a:lnTo>
                  <a:lnTo>
                    <a:pt x="91" y="290"/>
                  </a:lnTo>
                  <a:lnTo>
                    <a:pt x="93" y="290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9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1" y="288"/>
                  </a:lnTo>
                  <a:lnTo>
                    <a:pt x="101" y="287"/>
                  </a:lnTo>
                  <a:lnTo>
                    <a:pt x="101" y="287"/>
                  </a:lnTo>
                  <a:lnTo>
                    <a:pt x="102" y="286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4" y="281"/>
                  </a:lnTo>
                  <a:lnTo>
                    <a:pt x="104" y="280"/>
                  </a:lnTo>
                  <a:lnTo>
                    <a:pt x="105" y="280"/>
                  </a:lnTo>
                  <a:lnTo>
                    <a:pt x="105" y="280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4" y="278"/>
                  </a:lnTo>
                  <a:lnTo>
                    <a:pt x="115" y="278"/>
                  </a:lnTo>
                  <a:lnTo>
                    <a:pt x="115" y="277"/>
                  </a:lnTo>
                  <a:lnTo>
                    <a:pt x="116" y="277"/>
                  </a:lnTo>
                  <a:lnTo>
                    <a:pt x="117" y="276"/>
                  </a:lnTo>
                  <a:lnTo>
                    <a:pt x="119" y="274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3"/>
                  </a:lnTo>
                  <a:lnTo>
                    <a:pt x="121" y="272"/>
                  </a:lnTo>
                  <a:lnTo>
                    <a:pt x="123" y="272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6" y="271"/>
                  </a:lnTo>
                  <a:lnTo>
                    <a:pt x="126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29" y="273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1" y="276"/>
                  </a:lnTo>
                  <a:lnTo>
                    <a:pt x="132" y="276"/>
                  </a:lnTo>
                  <a:lnTo>
                    <a:pt x="134" y="278"/>
                  </a:lnTo>
                  <a:lnTo>
                    <a:pt x="135" y="279"/>
                  </a:lnTo>
                  <a:lnTo>
                    <a:pt x="136" y="279"/>
                  </a:lnTo>
                  <a:lnTo>
                    <a:pt x="137" y="280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9" y="280"/>
                  </a:lnTo>
                  <a:lnTo>
                    <a:pt x="141" y="280"/>
                  </a:lnTo>
                  <a:lnTo>
                    <a:pt x="142" y="280"/>
                  </a:lnTo>
                  <a:lnTo>
                    <a:pt x="143" y="279"/>
                  </a:lnTo>
                  <a:lnTo>
                    <a:pt x="144" y="279"/>
                  </a:lnTo>
                  <a:lnTo>
                    <a:pt x="146" y="278"/>
                  </a:lnTo>
                  <a:lnTo>
                    <a:pt x="147" y="277"/>
                  </a:lnTo>
                  <a:lnTo>
                    <a:pt x="148" y="276"/>
                  </a:lnTo>
                  <a:lnTo>
                    <a:pt x="149" y="276"/>
                  </a:lnTo>
                  <a:lnTo>
                    <a:pt x="149" y="275"/>
                  </a:lnTo>
                  <a:lnTo>
                    <a:pt x="150" y="275"/>
                  </a:lnTo>
                  <a:lnTo>
                    <a:pt x="151" y="275"/>
                  </a:lnTo>
                  <a:lnTo>
                    <a:pt x="152" y="275"/>
                  </a:lnTo>
                  <a:lnTo>
                    <a:pt x="154" y="276"/>
                  </a:lnTo>
                  <a:lnTo>
                    <a:pt x="155" y="276"/>
                  </a:lnTo>
                  <a:lnTo>
                    <a:pt x="158" y="276"/>
                  </a:lnTo>
                  <a:lnTo>
                    <a:pt x="159" y="277"/>
                  </a:lnTo>
                  <a:lnTo>
                    <a:pt x="161" y="277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4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8" y="273"/>
                  </a:lnTo>
                  <a:lnTo>
                    <a:pt x="179" y="273"/>
                  </a:lnTo>
                  <a:lnTo>
                    <a:pt x="179" y="272"/>
                  </a:lnTo>
                  <a:lnTo>
                    <a:pt x="179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68"/>
                  </a:lnTo>
                  <a:lnTo>
                    <a:pt x="180" y="267"/>
                  </a:lnTo>
                  <a:lnTo>
                    <a:pt x="180" y="266"/>
                  </a:lnTo>
                  <a:lnTo>
                    <a:pt x="180" y="265"/>
                  </a:lnTo>
                  <a:lnTo>
                    <a:pt x="181" y="265"/>
                  </a:lnTo>
                  <a:lnTo>
                    <a:pt x="181" y="264"/>
                  </a:lnTo>
                  <a:lnTo>
                    <a:pt x="182" y="263"/>
                  </a:lnTo>
                  <a:lnTo>
                    <a:pt x="183" y="263"/>
                  </a:lnTo>
                  <a:lnTo>
                    <a:pt x="184" y="262"/>
                  </a:lnTo>
                  <a:lnTo>
                    <a:pt x="185" y="262"/>
                  </a:lnTo>
                  <a:lnTo>
                    <a:pt x="186" y="261"/>
                  </a:lnTo>
                  <a:lnTo>
                    <a:pt x="188" y="261"/>
                  </a:lnTo>
                  <a:lnTo>
                    <a:pt x="189" y="261"/>
                  </a:lnTo>
                  <a:lnTo>
                    <a:pt x="193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1" y="259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3" y="257"/>
                  </a:lnTo>
                  <a:lnTo>
                    <a:pt x="203" y="257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05" y="255"/>
                  </a:lnTo>
                  <a:lnTo>
                    <a:pt x="206" y="254"/>
                  </a:lnTo>
                  <a:lnTo>
                    <a:pt x="206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7" y="250"/>
                  </a:lnTo>
                  <a:lnTo>
                    <a:pt x="208" y="250"/>
                  </a:lnTo>
                  <a:lnTo>
                    <a:pt x="208" y="249"/>
                  </a:lnTo>
                  <a:lnTo>
                    <a:pt x="210" y="247"/>
                  </a:lnTo>
                  <a:lnTo>
                    <a:pt x="211" y="247"/>
                  </a:lnTo>
                  <a:lnTo>
                    <a:pt x="211" y="246"/>
                  </a:lnTo>
                  <a:lnTo>
                    <a:pt x="212" y="246"/>
                  </a:lnTo>
                  <a:lnTo>
                    <a:pt x="212" y="245"/>
                  </a:lnTo>
                  <a:lnTo>
                    <a:pt x="212" y="245"/>
                  </a:lnTo>
                  <a:lnTo>
                    <a:pt x="212" y="244"/>
                  </a:lnTo>
                  <a:lnTo>
                    <a:pt x="212" y="243"/>
                  </a:lnTo>
                  <a:lnTo>
                    <a:pt x="212" y="243"/>
                  </a:lnTo>
                  <a:lnTo>
                    <a:pt x="212" y="242"/>
                  </a:lnTo>
                  <a:lnTo>
                    <a:pt x="212" y="241"/>
                  </a:lnTo>
                  <a:lnTo>
                    <a:pt x="211" y="241"/>
                  </a:lnTo>
                  <a:lnTo>
                    <a:pt x="210" y="240"/>
                  </a:lnTo>
                  <a:lnTo>
                    <a:pt x="209" y="239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4" y="234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3" y="232"/>
                  </a:lnTo>
                  <a:lnTo>
                    <a:pt x="202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30"/>
                  </a:lnTo>
                  <a:lnTo>
                    <a:pt x="205" y="230"/>
                  </a:lnTo>
                  <a:lnTo>
                    <a:pt x="206" y="229"/>
                  </a:lnTo>
                  <a:lnTo>
                    <a:pt x="207" y="229"/>
                  </a:lnTo>
                  <a:lnTo>
                    <a:pt x="207" y="228"/>
                  </a:lnTo>
                  <a:lnTo>
                    <a:pt x="208" y="228"/>
                  </a:lnTo>
                  <a:lnTo>
                    <a:pt x="208" y="227"/>
                  </a:lnTo>
                  <a:lnTo>
                    <a:pt x="209" y="227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0" y="225"/>
                  </a:lnTo>
                  <a:lnTo>
                    <a:pt x="210" y="224"/>
                  </a:lnTo>
                  <a:lnTo>
                    <a:pt x="210" y="224"/>
                  </a:lnTo>
                  <a:lnTo>
                    <a:pt x="209" y="223"/>
                  </a:lnTo>
                  <a:lnTo>
                    <a:pt x="209" y="222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08" y="218"/>
                  </a:lnTo>
                  <a:lnTo>
                    <a:pt x="208" y="217"/>
                  </a:lnTo>
                  <a:lnTo>
                    <a:pt x="209" y="217"/>
                  </a:lnTo>
                  <a:lnTo>
                    <a:pt x="209" y="216"/>
                  </a:lnTo>
                  <a:lnTo>
                    <a:pt x="209" y="215"/>
                  </a:lnTo>
                  <a:lnTo>
                    <a:pt x="210" y="215"/>
                  </a:lnTo>
                  <a:lnTo>
                    <a:pt x="210" y="214"/>
                  </a:lnTo>
                  <a:lnTo>
                    <a:pt x="211" y="214"/>
                  </a:lnTo>
                  <a:lnTo>
                    <a:pt x="211" y="213"/>
                  </a:lnTo>
                  <a:lnTo>
                    <a:pt x="212" y="213"/>
                  </a:lnTo>
                  <a:lnTo>
                    <a:pt x="214" y="212"/>
                  </a:lnTo>
                  <a:lnTo>
                    <a:pt x="215" y="211"/>
                  </a:lnTo>
                  <a:lnTo>
                    <a:pt x="216" y="211"/>
                  </a:lnTo>
                  <a:lnTo>
                    <a:pt x="217" y="210"/>
                  </a:lnTo>
                  <a:lnTo>
                    <a:pt x="218" y="209"/>
                  </a:lnTo>
                  <a:lnTo>
                    <a:pt x="219" y="208"/>
                  </a:lnTo>
                  <a:lnTo>
                    <a:pt x="219" y="208"/>
                  </a:lnTo>
                  <a:lnTo>
                    <a:pt x="219" y="207"/>
                  </a:lnTo>
                  <a:lnTo>
                    <a:pt x="219" y="206"/>
                  </a:lnTo>
                  <a:lnTo>
                    <a:pt x="219" y="205"/>
                  </a:lnTo>
                  <a:lnTo>
                    <a:pt x="219" y="203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18" y="201"/>
                  </a:lnTo>
                  <a:lnTo>
                    <a:pt x="218" y="201"/>
                  </a:lnTo>
                  <a:lnTo>
                    <a:pt x="218" y="200"/>
                  </a:lnTo>
                  <a:lnTo>
                    <a:pt x="217" y="200"/>
                  </a:lnTo>
                  <a:lnTo>
                    <a:pt x="217" y="199"/>
                  </a:lnTo>
                  <a:lnTo>
                    <a:pt x="217" y="198"/>
                  </a:lnTo>
                  <a:lnTo>
                    <a:pt x="215" y="198"/>
                  </a:lnTo>
                  <a:lnTo>
                    <a:pt x="213" y="196"/>
                  </a:lnTo>
                  <a:lnTo>
                    <a:pt x="212" y="195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10" y="191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0" y="188"/>
                  </a:lnTo>
                  <a:lnTo>
                    <a:pt x="210" y="187"/>
                  </a:lnTo>
                  <a:lnTo>
                    <a:pt x="211" y="186"/>
                  </a:lnTo>
                  <a:lnTo>
                    <a:pt x="211" y="185"/>
                  </a:lnTo>
                  <a:lnTo>
                    <a:pt x="212" y="184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3" y="181"/>
                  </a:lnTo>
                  <a:lnTo>
                    <a:pt x="214" y="180"/>
                  </a:lnTo>
                  <a:lnTo>
                    <a:pt x="215" y="178"/>
                  </a:lnTo>
                  <a:lnTo>
                    <a:pt x="216" y="178"/>
                  </a:lnTo>
                  <a:lnTo>
                    <a:pt x="217" y="177"/>
                  </a:lnTo>
                  <a:lnTo>
                    <a:pt x="219" y="175"/>
                  </a:lnTo>
                  <a:lnTo>
                    <a:pt x="220" y="175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3"/>
                  </a:lnTo>
                  <a:lnTo>
                    <a:pt x="222" y="173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2" y="171"/>
                  </a:lnTo>
                  <a:lnTo>
                    <a:pt x="221" y="171"/>
                  </a:lnTo>
                  <a:lnTo>
                    <a:pt x="221" y="170"/>
                  </a:lnTo>
                  <a:lnTo>
                    <a:pt x="221" y="169"/>
                  </a:lnTo>
                  <a:lnTo>
                    <a:pt x="220" y="168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7" y="165"/>
                  </a:lnTo>
                  <a:lnTo>
                    <a:pt x="217" y="164"/>
                  </a:lnTo>
                  <a:lnTo>
                    <a:pt x="217" y="163"/>
                  </a:lnTo>
                  <a:lnTo>
                    <a:pt x="217" y="163"/>
                  </a:lnTo>
                  <a:lnTo>
                    <a:pt x="217" y="162"/>
                  </a:lnTo>
                  <a:lnTo>
                    <a:pt x="217" y="161"/>
                  </a:lnTo>
                  <a:lnTo>
                    <a:pt x="217" y="160"/>
                  </a:lnTo>
                  <a:lnTo>
                    <a:pt x="217" y="159"/>
                  </a:lnTo>
                  <a:lnTo>
                    <a:pt x="218" y="159"/>
                  </a:lnTo>
                  <a:lnTo>
                    <a:pt x="218" y="158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3" y="151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8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2" y="147"/>
                  </a:lnTo>
                  <a:lnTo>
                    <a:pt x="222" y="146"/>
                  </a:lnTo>
                  <a:lnTo>
                    <a:pt x="222" y="146"/>
                  </a:lnTo>
                  <a:lnTo>
                    <a:pt x="221" y="146"/>
                  </a:lnTo>
                  <a:lnTo>
                    <a:pt x="218" y="145"/>
                  </a:lnTo>
                  <a:lnTo>
                    <a:pt x="217" y="145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5" y="144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0"/>
                  </a:lnTo>
                  <a:lnTo>
                    <a:pt x="215" y="140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8"/>
                  </a:lnTo>
                  <a:lnTo>
                    <a:pt x="215" y="138"/>
                  </a:lnTo>
                  <a:lnTo>
                    <a:pt x="215" y="138"/>
                  </a:lnTo>
                  <a:lnTo>
                    <a:pt x="210" y="134"/>
                  </a:lnTo>
                  <a:lnTo>
                    <a:pt x="207" y="132"/>
                  </a:lnTo>
                  <a:lnTo>
                    <a:pt x="206" y="131"/>
                  </a:lnTo>
                  <a:lnTo>
                    <a:pt x="206" y="131"/>
                  </a:lnTo>
                  <a:lnTo>
                    <a:pt x="205" y="130"/>
                  </a:lnTo>
                  <a:lnTo>
                    <a:pt x="205" y="130"/>
                  </a:lnTo>
                  <a:lnTo>
                    <a:pt x="205" y="129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7"/>
                  </a:lnTo>
                  <a:lnTo>
                    <a:pt x="205" y="126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6" y="119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3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8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4"/>
                  </a:lnTo>
                  <a:lnTo>
                    <a:pt x="214" y="101"/>
                  </a:lnTo>
                  <a:lnTo>
                    <a:pt x="215" y="100"/>
                  </a:lnTo>
                  <a:lnTo>
                    <a:pt x="216" y="99"/>
                  </a:lnTo>
                  <a:lnTo>
                    <a:pt x="216" y="98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20" y="95"/>
                  </a:lnTo>
                  <a:lnTo>
                    <a:pt x="221" y="95"/>
                  </a:lnTo>
                  <a:lnTo>
                    <a:pt x="222" y="95"/>
                  </a:lnTo>
                  <a:lnTo>
                    <a:pt x="223" y="94"/>
                  </a:lnTo>
                  <a:lnTo>
                    <a:pt x="226" y="94"/>
                  </a:lnTo>
                  <a:lnTo>
                    <a:pt x="228" y="94"/>
                  </a:lnTo>
                  <a:lnTo>
                    <a:pt x="230" y="93"/>
                  </a:lnTo>
                  <a:lnTo>
                    <a:pt x="231" y="93"/>
                  </a:lnTo>
                  <a:lnTo>
                    <a:pt x="232" y="93"/>
                  </a:lnTo>
                  <a:lnTo>
                    <a:pt x="233" y="92"/>
                  </a:lnTo>
                  <a:lnTo>
                    <a:pt x="234" y="92"/>
                  </a:lnTo>
                  <a:lnTo>
                    <a:pt x="234" y="91"/>
                  </a:lnTo>
                  <a:lnTo>
                    <a:pt x="235" y="91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8"/>
                  </a:lnTo>
                  <a:lnTo>
                    <a:pt x="235" y="88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3" y="87"/>
                  </a:lnTo>
                  <a:lnTo>
                    <a:pt x="233" y="86"/>
                  </a:lnTo>
                  <a:lnTo>
                    <a:pt x="232" y="86"/>
                  </a:lnTo>
                  <a:lnTo>
                    <a:pt x="231" y="86"/>
                  </a:lnTo>
                  <a:lnTo>
                    <a:pt x="229" y="85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3"/>
                  </a:lnTo>
                  <a:lnTo>
                    <a:pt x="228" y="83"/>
                  </a:lnTo>
                  <a:lnTo>
                    <a:pt x="228" y="82"/>
                  </a:lnTo>
                  <a:lnTo>
                    <a:pt x="229" y="81"/>
                  </a:lnTo>
                  <a:lnTo>
                    <a:pt x="231" y="80"/>
                  </a:lnTo>
                  <a:lnTo>
                    <a:pt x="231" y="79"/>
                  </a:lnTo>
                  <a:lnTo>
                    <a:pt x="232" y="79"/>
                  </a:lnTo>
                  <a:lnTo>
                    <a:pt x="233" y="78"/>
                  </a:lnTo>
                  <a:lnTo>
                    <a:pt x="234" y="77"/>
                  </a:lnTo>
                  <a:lnTo>
                    <a:pt x="235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7" y="77"/>
                  </a:lnTo>
                  <a:lnTo>
                    <a:pt x="238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0" y="77"/>
                  </a:lnTo>
                  <a:lnTo>
                    <a:pt x="240" y="78"/>
                  </a:lnTo>
                  <a:lnTo>
                    <a:pt x="241" y="78"/>
                  </a:lnTo>
                  <a:lnTo>
                    <a:pt x="241" y="79"/>
                  </a:lnTo>
                  <a:lnTo>
                    <a:pt x="242" y="80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3" y="82"/>
                  </a:lnTo>
                  <a:lnTo>
                    <a:pt x="243" y="82"/>
                  </a:lnTo>
                  <a:lnTo>
                    <a:pt x="244" y="83"/>
                  </a:lnTo>
                  <a:lnTo>
                    <a:pt x="244" y="83"/>
                  </a:lnTo>
                  <a:lnTo>
                    <a:pt x="245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8" y="82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1"/>
                  </a:lnTo>
                  <a:lnTo>
                    <a:pt x="250" y="80"/>
                  </a:lnTo>
                  <a:lnTo>
                    <a:pt x="250" y="78"/>
                  </a:lnTo>
                  <a:lnTo>
                    <a:pt x="251" y="77"/>
                  </a:lnTo>
                  <a:lnTo>
                    <a:pt x="251" y="76"/>
                  </a:lnTo>
                  <a:lnTo>
                    <a:pt x="251" y="75"/>
                  </a:lnTo>
                  <a:lnTo>
                    <a:pt x="251" y="75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3"/>
                  </a:lnTo>
                  <a:lnTo>
                    <a:pt x="251" y="72"/>
                  </a:lnTo>
                  <a:lnTo>
                    <a:pt x="250" y="71"/>
                  </a:lnTo>
                  <a:lnTo>
                    <a:pt x="249" y="70"/>
                  </a:lnTo>
                  <a:lnTo>
                    <a:pt x="249" y="69"/>
                  </a:lnTo>
                  <a:lnTo>
                    <a:pt x="247" y="68"/>
                  </a:lnTo>
                  <a:lnTo>
                    <a:pt x="247" y="67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5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3"/>
                  </a:lnTo>
                  <a:lnTo>
                    <a:pt x="249" y="63"/>
                  </a:lnTo>
                  <a:lnTo>
                    <a:pt x="249" y="63"/>
                  </a:lnTo>
                  <a:lnTo>
                    <a:pt x="250" y="63"/>
                  </a:lnTo>
                  <a:lnTo>
                    <a:pt x="251" y="62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4" y="61"/>
                  </a:lnTo>
                  <a:lnTo>
                    <a:pt x="255" y="59"/>
                  </a:lnTo>
                  <a:lnTo>
                    <a:pt x="256" y="58"/>
                  </a:lnTo>
                  <a:lnTo>
                    <a:pt x="257" y="57"/>
                  </a:lnTo>
                  <a:lnTo>
                    <a:pt x="258" y="55"/>
                  </a:lnTo>
                  <a:lnTo>
                    <a:pt x="258" y="54"/>
                  </a:lnTo>
                  <a:lnTo>
                    <a:pt x="259" y="53"/>
                  </a:lnTo>
                  <a:lnTo>
                    <a:pt x="259" y="52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7" y="45"/>
                  </a:lnTo>
                  <a:lnTo>
                    <a:pt x="257" y="44"/>
                  </a:lnTo>
                  <a:lnTo>
                    <a:pt x="256" y="44"/>
                  </a:lnTo>
                  <a:lnTo>
                    <a:pt x="253" y="42"/>
                  </a:lnTo>
                  <a:lnTo>
                    <a:pt x="253" y="42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51" y="40"/>
                  </a:lnTo>
                  <a:lnTo>
                    <a:pt x="250" y="39"/>
                  </a:lnTo>
                  <a:lnTo>
                    <a:pt x="250" y="38"/>
                  </a:lnTo>
                  <a:lnTo>
                    <a:pt x="250" y="38"/>
                  </a:lnTo>
                  <a:lnTo>
                    <a:pt x="250" y="37"/>
                  </a:lnTo>
                  <a:lnTo>
                    <a:pt x="250" y="37"/>
                  </a:lnTo>
                  <a:lnTo>
                    <a:pt x="250" y="36"/>
                  </a:lnTo>
                  <a:lnTo>
                    <a:pt x="250" y="35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6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57" y="23"/>
                  </a:lnTo>
                  <a:lnTo>
                    <a:pt x="259" y="22"/>
                  </a:lnTo>
                  <a:lnTo>
                    <a:pt x="260" y="21"/>
                  </a:lnTo>
                  <a:lnTo>
                    <a:pt x="261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8"/>
                  </a:lnTo>
                  <a:lnTo>
                    <a:pt x="264" y="17"/>
                  </a:lnTo>
                  <a:lnTo>
                    <a:pt x="265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1" y="18"/>
                  </a:lnTo>
                  <a:lnTo>
                    <a:pt x="272" y="18"/>
                  </a:lnTo>
                  <a:lnTo>
                    <a:pt x="273" y="18"/>
                  </a:lnTo>
                  <a:lnTo>
                    <a:pt x="275" y="18"/>
                  </a:lnTo>
                  <a:lnTo>
                    <a:pt x="277" y="17"/>
                  </a:lnTo>
                  <a:lnTo>
                    <a:pt x="280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7" y="18"/>
                  </a:lnTo>
                  <a:lnTo>
                    <a:pt x="289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5" y="18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8" y="16"/>
                  </a:lnTo>
                  <a:lnTo>
                    <a:pt x="298" y="15"/>
                  </a:lnTo>
                  <a:lnTo>
                    <a:pt x="298" y="14"/>
                  </a:lnTo>
                  <a:lnTo>
                    <a:pt x="299" y="13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2" y="2"/>
                  </a:lnTo>
                  <a:lnTo>
                    <a:pt x="302" y="1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Freeform 32">
              <a:extLst>
                <a:ext uri="{FF2B5EF4-FFF2-40B4-BE49-F238E27FC236}">
                  <a16:creationId xmlns:a16="http://schemas.microsoft.com/office/drawing/2014/main" id="{99FC762D-3CFE-5973-4264-FF153F3FF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1" y="3521"/>
              <a:ext cx="548" cy="464"/>
            </a:xfrm>
            <a:custGeom>
              <a:avLst/>
              <a:gdLst>
                <a:gd name="T0" fmla="*/ 232 w 548"/>
                <a:gd name="T1" fmla="*/ 1 h 464"/>
                <a:gd name="T2" fmla="*/ 256 w 548"/>
                <a:gd name="T3" fmla="*/ 4 h 464"/>
                <a:gd name="T4" fmla="*/ 282 w 548"/>
                <a:gd name="T5" fmla="*/ 14 h 464"/>
                <a:gd name="T6" fmla="*/ 268 w 548"/>
                <a:gd name="T7" fmla="*/ 21 h 464"/>
                <a:gd name="T8" fmla="*/ 266 w 548"/>
                <a:gd name="T9" fmla="*/ 36 h 464"/>
                <a:gd name="T10" fmla="*/ 289 w 548"/>
                <a:gd name="T11" fmla="*/ 43 h 464"/>
                <a:gd name="T12" fmla="*/ 280 w 548"/>
                <a:gd name="T13" fmla="*/ 61 h 464"/>
                <a:gd name="T14" fmla="*/ 290 w 548"/>
                <a:gd name="T15" fmla="*/ 88 h 464"/>
                <a:gd name="T16" fmla="*/ 284 w 548"/>
                <a:gd name="T17" fmla="*/ 99 h 464"/>
                <a:gd name="T18" fmla="*/ 305 w 548"/>
                <a:gd name="T19" fmla="*/ 108 h 464"/>
                <a:gd name="T20" fmla="*/ 316 w 548"/>
                <a:gd name="T21" fmla="*/ 88 h 464"/>
                <a:gd name="T22" fmla="*/ 304 w 548"/>
                <a:gd name="T23" fmla="*/ 70 h 464"/>
                <a:gd name="T24" fmla="*/ 316 w 548"/>
                <a:gd name="T25" fmla="*/ 60 h 464"/>
                <a:gd name="T26" fmla="*/ 334 w 548"/>
                <a:gd name="T27" fmla="*/ 72 h 464"/>
                <a:gd name="T28" fmla="*/ 344 w 548"/>
                <a:gd name="T29" fmla="*/ 94 h 464"/>
                <a:gd name="T30" fmla="*/ 355 w 548"/>
                <a:gd name="T31" fmla="*/ 106 h 464"/>
                <a:gd name="T32" fmla="*/ 361 w 548"/>
                <a:gd name="T33" fmla="*/ 107 h 464"/>
                <a:gd name="T34" fmla="*/ 364 w 548"/>
                <a:gd name="T35" fmla="*/ 126 h 464"/>
                <a:gd name="T36" fmla="*/ 387 w 548"/>
                <a:gd name="T37" fmla="*/ 141 h 464"/>
                <a:gd name="T38" fmla="*/ 389 w 548"/>
                <a:gd name="T39" fmla="*/ 181 h 464"/>
                <a:gd name="T40" fmla="*/ 394 w 548"/>
                <a:gd name="T41" fmla="*/ 205 h 464"/>
                <a:gd name="T42" fmla="*/ 407 w 548"/>
                <a:gd name="T43" fmla="*/ 209 h 464"/>
                <a:gd name="T44" fmla="*/ 395 w 548"/>
                <a:gd name="T45" fmla="*/ 227 h 464"/>
                <a:gd name="T46" fmla="*/ 383 w 548"/>
                <a:gd name="T47" fmla="*/ 245 h 464"/>
                <a:gd name="T48" fmla="*/ 396 w 548"/>
                <a:gd name="T49" fmla="*/ 250 h 464"/>
                <a:gd name="T50" fmla="*/ 417 w 548"/>
                <a:gd name="T51" fmla="*/ 254 h 464"/>
                <a:gd name="T52" fmla="*/ 423 w 548"/>
                <a:gd name="T53" fmla="*/ 270 h 464"/>
                <a:gd name="T54" fmla="*/ 451 w 548"/>
                <a:gd name="T55" fmla="*/ 280 h 464"/>
                <a:gd name="T56" fmla="*/ 459 w 548"/>
                <a:gd name="T57" fmla="*/ 294 h 464"/>
                <a:gd name="T58" fmla="*/ 481 w 548"/>
                <a:gd name="T59" fmla="*/ 304 h 464"/>
                <a:gd name="T60" fmla="*/ 508 w 548"/>
                <a:gd name="T61" fmla="*/ 304 h 464"/>
                <a:gd name="T62" fmla="*/ 517 w 548"/>
                <a:gd name="T63" fmla="*/ 317 h 464"/>
                <a:gd name="T64" fmla="*/ 541 w 548"/>
                <a:gd name="T65" fmla="*/ 337 h 464"/>
                <a:gd name="T66" fmla="*/ 536 w 548"/>
                <a:gd name="T67" fmla="*/ 357 h 464"/>
                <a:gd name="T68" fmla="*/ 517 w 548"/>
                <a:gd name="T69" fmla="*/ 367 h 464"/>
                <a:gd name="T70" fmla="*/ 499 w 548"/>
                <a:gd name="T71" fmla="*/ 360 h 464"/>
                <a:gd name="T72" fmla="*/ 475 w 548"/>
                <a:gd name="T73" fmla="*/ 367 h 464"/>
                <a:gd name="T74" fmla="*/ 455 w 548"/>
                <a:gd name="T75" fmla="*/ 365 h 464"/>
                <a:gd name="T76" fmla="*/ 423 w 548"/>
                <a:gd name="T77" fmla="*/ 347 h 464"/>
                <a:gd name="T78" fmla="*/ 398 w 548"/>
                <a:gd name="T79" fmla="*/ 357 h 464"/>
                <a:gd name="T80" fmla="*/ 379 w 548"/>
                <a:gd name="T81" fmla="*/ 383 h 464"/>
                <a:gd name="T82" fmla="*/ 351 w 548"/>
                <a:gd name="T83" fmla="*/ 429 h 464"/>
                <a:gd name="T84" fmla="*/ 340 w 548"/>
                <a:gd name="T85" fmla="*/ 460 h 464"/>
                <a:gd name="T86" fmla="*/ 331 w 548"/>
                <a:gd name="T87" fmla="*/ 461 h 464"/>
                <a:gd name="T88" fmla="*/ 325 w 548"/>
                <a:gd name="T89" fmla="*/ 426 h 464"/>
                <a:gd name="T90" fmla="*/ 311 w 548"/>
                <a:gd name="T91" fmla="*/ 421 h 464"/>
                <a:gd name="T92" fmla="*/ 275 w 548"/>
                <a:gd name="T93" fmla="*/ 417 h 464"/>
                <a:gd name="T94" fmla="*/ 257 w 548"/>
                <a:gd name="T95" fmla="*/ 413 h 464"/>
                <a:gd name="T96" fmla="*/ 251 w 548"/>
                <a:gd name="T97" fmla="*/ 398 h 464"/>
                <a:gd name="T98" fmla="*/ 231 w 548"/>
                <a:gd name="T99" fmla="*/ 391 h 464"/>
                <a:gd name="T100" fmla="*/ 205 w 548"/>
                <a:gd name="T101" fmla="*/ 382 h 464"/>
                <a:gd name="T102" fmla="*/ 182 w 548"/>
                <a:gd name="T103" fmla="*/ 389 h 464"/>
                <a:gd name="T104" fmla="*/ 162 w 548"/>
                <a:gd name="T105" fmla="*/ 417 h 464"/>
                <a:gd name="T106" fmla="*/ 148 w 548"/>
                <a:gd name="T107" fmla="*/ 415 h 464"/>
                <a:gd name="T108" fmla="*/ 121 w 548"/>
                <a:gd name="T109" fmla="*/ 414 h 464"/>
                <a:gd name="T110" fmla="*/ 73 w 548"/>
                <a:gd name="T111" fmla="*/ 410 h 464"/>
                <a:gd name="T112" fmla="*/ 35 w 548"/>
                <a:gd name="T113" fmla="*/ 387 h 464"/>
                <a:gd name="T114" fmla="*/ 27 w 548"/>
                <a:gd name="T115" fmla="*/ 376 h 464"/>
                <a:gd name="T116" fmla="*/ 15 w 548"/>
                <a:gd name="T117" fmla="*/ 369 h 464"/>
                <a:gd name="T118" fmla="*/ 2 w 548"/>
                <a:gd name="T119" fmla="*/ 36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8" h="464">
                  <a:moveTo>
                    <a:pt x="209" y="0"/>
                  </a:moveTo>
                  <a:lnTo>
                    <a:pt x="209" y="0"/>
                  </a:lnTo>
                  <a:lnTo>
                    <a:pt x="210" y="0"/>
                  </a:lnTo>
                  <a:lnTo>
                    <a:pt x="211" y="1"/>
                  </a:lnTo>
                  <a:lnTo>
                    <a:pt x="214" y="1"/>
                  </a:lnTo>
                  <a:lnTo>
                    <a:pt x="215" y="2"/>
                  </a:lnTo>
                  <a:lnTo>
                    <a:pt x="217" y="2"/>
                  </a:lnTo>
                  <a:lnTo>
                    <a:pt x="220" y="2"/>
                  </a:lnTo>
                  <a:lnTo>
                    <a:pt x="222" y="2"/>
                  </a:lnTo>
                  <a:lnTo>
                    <a:pt x="223" y="2"/>
                  </a:lnTo>
                  <a:lnTo>
                    <a:pt x="225" y="2"/>
                  </a:lnTo>
                  <a:lnTo>
                    <a:pt x="228" y="1"/>
                  </a:lnTo>
                  <a:lnTo>
                    <a:pt x="228" y="1"/>
                  </a:lnTo>
                  <a:lnTo>
                    <a:pt x="229" y="1"/>
                  </a:lnTo>
                  <a:lnTo>
                    <a:pt x="230" y="1"/>
                  </a:lnTo>
                  <a:lnTo>
                    <a:pt x="231" y="1"/>
                  </a:lnTo>
                  <a:lnTo>
                    <a:pt x="232" y="1"/>
                  </a:lnTo>
                  <a:lnTo>
                    <a:pt x="235" y="2"/>
                  </a:lnTo>
                  <a:lnTo>
                    <a:pt x="235" y="2"/>
                  </a:lnTo>
                  <a:lnTo>
                    <a:pt x="236" y="2"/>
                  </a:lnTo>
                  <a:lnTo>
                    <a:pt x="237" y="2"/>
                  </a:lnTo>
                  <a:lnTo>
                    <a:pt x="238" y="2"/>
                  </a:lnTo>
                  <a:lnTo>
                    <a:pt x="240" y="2"/>
                  </a:lnTo>
                  <a:lnTo>
                    <a:pt x="242" y="1"/>
                  </a:lnTo>
                  <a:lnTo>
                    <a:pt x="243" y="1"/>
                  </a:lnTo>
                  <a:lnTo>
                    <a:pt x="244" y="1"/>
                  </a:lnTo>
                  <a:lnTo>
                    <a:pt x="245" y="2"/>
                  </a:lnTo>
                  <a:lnTo>
                    <a:pt x="248" y="2"/>
                  </a:lnTo>
                  <a:lnTo>
                    <a:pt x="249" y="2"/>
                  </a:lnTo>
                  <a:lnTo>
                    <a:pt x="250" y="2"/>
                  </a:lnTo>
                  <a:lnTo>
                    <a:pt x="252" y="3"/>
                  </a:lnTo>
                  <a:lnTo>
                    <a:pt x="253" y="3"/>
                  </a:lnTo>
                  <a:lnTo>
                    <a:pt x="254" y="4"/>
                  </a:lnTo>
                  <a:lnTo>
                    <a:pt x="256" y="4"/>
                  </a:lnTo>
                  <a:lnTo>
                    <a:pt x="258" y="5"/>
                  </a:lnTo>
                  <a:lnTo>
                    <a:pt x="265" y="9"/>
                  </a:lnTo>
                  <a:lnTo>
                    <a:pt x="267" y="9"/>
                  </a:lnTo>
                  <a:lnTo>
                    <a:pt x="268" y="10"/>
                  </a:lnTo>
                  <a:lnTo>
                    <a:pt x="270" y="11"/>
                  </a:lnTo>
                  <a:lnTo>
                    <a:pt x="272" y="11"/>
                  </a:lnTo>
                  <a:lnTo>
                    <a:pt x="273" y="12"/>
                  </a:lnTo>
                  <a:lnTo>
                    <a:pt x="275" y="12"/>
                  </a:lnTo>
                  <a:lnTo>
                    <a:pt x="277" y="13"/>
                  </a:lnTo>
                  <a:lnTo>
                    <a:pt x="278" y="13"/>
                  </a:lnTo>
                  <a:lnTo>
                    <a:pt x="279" y="13"/>
                  </a:lnTo>
                  <a:lnTo>
                    <a:pt x="281" y="13"/>
                  </a:lnTo>
                  <a:lnTo>
                    <a:pt x="282" y="13"/>
                  </a:lnTo>
                  <a:lnTo>
                    <a:pt x="282" y="13"/>
                  </a:lnTo>
                  <a:lnTo>
                    <a:pt x="283" y="13"/>
                  </a:lnTo>
                  <a:lnTo>
                    <a:pt x="282" y="13"/>
                  </a:lnTo>
                  <a:lnTo>
                    <a:pt x="282" y="14"/>
                  </a:lnTo>
                  <a:lnTo>
                    <a:pt x="282" y="15"/>
                  </a:lnTo>
                  <a:lnTo>
                    <a:pt x="281" y="16"/>
                  </a:lnTo>
                  <a:lnTo>
                    <a:pt x="281" y="17"/>
                  </a:lnTo>
                  <a:lnTo>
                    <a:pt x="280" y="20"/>
                  </a:lnTo>
                  <a:lnTo>
                    <a:pt x="280" y="20"/>
                  </a:lnTo>
                  <a:lnTo>
                    <a:pt x="280" y="21"/>
                  </a:lnTo>
                  <a:lnTo>
                    <a:pt x="280" y="21"/>
                  </a:lnTo>
                  <a:lnTo>
                    <a:pt x="279" y="22"/>
                  </a:lnTo>
                  <a:lnTo>
                    <a:pt x="279" y="22"/>
                  </a:lnTo>
                  <a:lnTo>
                    <a:pt x="278" y="22"/>
                  </a:lnTo>
                  <a:lnTo>
                    <a:pt x="278" y="23"/>
                  </a:lnTo>
                  <a:lnTo>
                    <a:pt x="278" y="23"/>
                  </a:lnTo>
                  <a:lnTo>
                    <a:pt x="277" y="23"/>
                  </a:lnTo>
                  <a:lnTo>
                    <a:pt x="276" y="23"/>
                  </a:lnTo>
                  <a:lnTo>
                    <a:pt x="275" y="23"/>
                  </a:lnTo>
                  <a:lnTo>
                    <a:pt x="271" y="22"/>
                  </a:lnTo>
                  <a:lnTo>
                    <a:pt x="268" y="21"/>
                  </a:lnTo>
                  <a:lnTo>
                    <a:pt x="268" y="21"/>
                  </a:lnTo>
                  <a:lnTo>
                    <a:pt x="267" y="21"/>
                  </a:lnTo>
                  <a:lnTo>
                    <a:pt x="267" y="22"/>
                  </a:lnTo>
                  <a:lnTo>
                    <a:pt x="266" y="22"/>
                  </a:lnTo>
                  <a:lnTo>
                    <a:pt x="266" y="22"/>
                  </a:lnTo>
                  <a:lnTo>
                    <a:pt x="266" y="23"/>
                  </a:lnTo>
                  <a:lnTo>
                    <a:pt x="266" y="24"/>
                  </a:lnTo>
                  <a:lnTo>
                    <a:pt x="265" y="25"/>
                  </a:lnTo>
                  <a:lnTo>
                    <a:pt x="265" y="26"/>
                  </a:lnTo>
                  <a:lnTo>
                    <a:pt x="265" y="27"/>
                  </a:lnTo>
                  <a:lnTo>
                    <a:pt x="266" y="30"/>
                  </a:lnTo>
                  <a:lnTo>
                    <a:pt x="266" y="31"/>
                  </a:lnTo>
                  <a:lnTo>
                    <a:pt x="266" y="32"/>
                  </a:lnTo>
                  <a:lnTo>
                    <a:pt x="266" y="34"/>
                  </a:lnTo>
                  <a:lnTo>
                    <a:pt x="266" y="35"/>
                  </a:lnTo>
                  <a:lnTo>
                    <a:pt x="266" y="36"/>
                  </a:lnTo>
                  <a:lnTo>
                    <a:pt x="266" y="36"/>
                  </a:lnTo>
                  <a:lnTo>
                    <a:pt x="266" y="37"/>
                  </a:lnTo>
                  <a:lnTo>
                    <a:pt x="266" y="37"/>
                  </a:lnTo>
                  <a:lnTo>
                    <a:pt x="267" y="37"/>
                  </a:lnTo>
                  <a:lnTo>
                    <a:pt x="267" y="38"/>
                  </a:lnTo>
                  <a:lnTo>
                    <a:pt x="268" y="38"/>
                  </a:lnTo>
                  <a:lnTo>
                    <a:pt x="268" y="38"/>
                  </a:lnTo>
                  <a:lnTo>
                    <a:pt x="271" y="39"/>
                  </a:lnTo>
                  <a:lnTo>
                    <a:pt x="274" y="40"/>
                  </a:lnTo>
                  <a:lnTo>
                    <a:pt x="278" y="41"/>
                  </a:lnTo>
                  <a:lnTo>
                    <a:pt x="280" y="42"/>
                  </a:lnTo>
                  <a:lnTo>
                    <a:pt x="282" y="42"/>
                  </a:lnTo>
                  <a:lnTo>
                    <a:pt x="283" y="42"/>
                  </a:lnTo>
                  <a:lnTo>
                    <a:pt x="285" y="42"/>
                  </a:lnTo>
                  <a:lnTo>
                    <a:pt x="287" y="43"/>
                  </a:lnTo>
                  <a:lnTo>
                    <a:pt x="288" y="43"/>
                  </a:lnTo>
                  <a:lnTo>
                    <a:pt x="288" y="43"/>
                  </a:lnTo>
                  <a:lnTo>
                    <a:pt x="289" y="43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8" y="44"/>
                  </a:lnTo>
                  <a:lnTo>
                    <a:pt x="288" y="45"/>
                  </a:lnTo>
                  <a:lnTo>
                    <a:pt x="287" y="45"/>
                  </a:lnTo>
                  <a:lnTo>
                    <a:pt x="287" y="46"/>
                  </a:lnTo>
                  <a:lnTo>
                    <a:pt x="286" y="47"/>
                  </a:lnTo>
                  <a:lnTo>
                    <a:pt x="285" y="47"/>
                  </a:lnTo>
                  <a:lnTo>
                    <a:pt x="285" y="48"/>
                  </a:lnTo>
                  <a:lnTo>
                    <a:pt x="283" y="50"/>
                  </a:lnTo>
                  <a:lnTo>
                    <a:pt x="283" y="51"/>
                  </a:lnTo>
                  <a:lnTo>
                    <a:pt x="281" y="54"/>
                  </a:lnTo>
                  <a:lnTo>
                    <a:pt x="280" y="55"/>
                  </a:lnTo>
                  <a:lnTo>
                    <a:pt x="280" y="56"/>
                  </a:lnTo>
                  <a:lnTo>
                    <a:pt x="280" y="58"/>
                  </a:lnTo>
                  <a:lnTo>
                    <a:pt x="280" y="59"/>
                  </a:lnTo>
                  <a:lnTo>
                    <a:pt x="280" y="61"/>
                  </a:lnTo>
                  <a:lnTo>
                    <a:pt x="280" y="62"/>
                  </a:lnTo>
                  <a:lnTo>
                    <a:pt x="280" y="64"/>
                  </a:lnTo>
                  <a:lnTo>
                    <a:pt x="280" y="65"/>
                  </a:lnTo>
                  <a:lnTo>
                    <a:pt x="281" y="68"/>
                  </a:lnTo>
                  <a:lnTo>
                    <a:pt x="282" y="72"/>
                  </a:lnTo>
                  <a:lnTo>
                    <a:pt x="283" y="75"/>
                  </a:lnTo>
                  <a:lnTo>
                    <a:pt x="283" y="76"/>
                  </a:lnTo>
                  <a:lnTo>
                    <a:pt x="284" y="77"/>
                  </a:lnTo>
                  <a:lnTo>
                    <a:pt x="284" y="78"/>
                  </a:lnTo>
                  <a:lnTo>
                    <a:pt x="285" y="79"/>
                  </a:lnTo>
                  <a:lnTo>
                    <a:pt x="287" y="82"/>
                  </a:lnTo>
                  <a:lnTo>
                    <a:pt x="288" y="83"/>
                  </a:lnTo>
                  <a:lnTo>
                    <a:pt x="288" y="84"/>
                  </a:lnTo>
                  <a:lnTo>
                    <a:pt x="289" y="85"/>
                  </a:lnTo>
                  <a:lnTo>
                    <a:pt x="289" y="86"/>
                  </a:lnTo>
                  <a:lnTo>
                    <a:pt x="290" y="87"/>
                  </a:lnTo>
                  <a:lnTo>
                    <a:pt x="290" y="88"/>
                  </a:lnTo>
                  <a:lnTo>
                    <a:pt x="289" y="88"/>
                  </a:lnTo>
                  <a:lnTo>
                    <a:pt x="289" y="89"/>
                  </a:lnTo>
                  <a:lnTo>
                    <a:pt x="289" y="89"/>
                  </a:lnTo>
                  <a:lnTo>
                    <a:pt x="289" y="90"/>
                  </a:lnTo>
                  <a:lnTo>
                    <a:pt x="288" y="90"/>
                  </a:lnTo>
                  <a:lnTo>
                    <a:pt x="286" y="92"/>
                  </a:lnTo>
                  <a:lnTo>
                    <a:pt x="285" y="93"/>
                  </a:lnTo>
                  <a:lnTo>
                    <a:pt x="285" y="93"/>
                  </a:lnTo>
                  <a:lnTo>
                    <a:pt x="285" y="94"/>
                  </a:lnTo>
                  <a:lnTo>
                    <a:pt x="285" y="94"/>
                  </a:lnTo>
                  <a:lnTo>
                    <a:pt x="284" y="95"/>
                  </a:lnTo>
                  <a:lnTo>
                    <a:pt x="284" y="96"/>
                  </a:lnTo>
                  <a:lnTo>
                    <a:pt x="284" y="96"/>
                  </a:lnTo>
                  <a:lnTo>
                    <a:pt x="284" y="97"/>
                  </a:lnTo>
                  <a:lnTo>
                    <a:pt x="284" y="98"/>
                  </a:lnTo>
                  <a:lnTo>
                    <a:pt x="284" y="99"/>
                  </a:lnTo>
                  <a:lnTo>
                    <a:pt x="284" y="99"/>
                  </a:lnTo>
                  <a:lnTo>
                    <a:pt x="285" y="100"/>
                  </a:lnTo>
                  <a:lnTo>
                    <a:pt x="285" y="100"/>
                  </a:lnTo>
                  <a:lnTo>
                    <a:pt x="287" y="102"/>
                  </a:lnTo>
                  <a:lnTo>
                    <a:pt x="287" y="102"/>
                  </a:lnTo>
                  <a:lnTo>
                    <a:pt x="288" y="103"/>
                  </a:lnTo>
                  <a:lnTo>
                    <a:pt x="290" y="104"/>
                  </a:lnTo>
                  <a:lnTo>
                    <a:pt x="293" y="107"/>
                  </a:lnTo>
                  <a:lnTo>
                    <a:pt x="295" y="108"/>
                  </a:lnTo>
                  <a:lnTo>
                    <a:pt x="296" y="109"/>
                  </a:lnTo>
                  <a:lnTo>
                    <a:pt x="298" y="109"/>
                  </a:lnTo>
                  <a:lnTo>
                    <a:pt x="299" y="110"/>
                  </a:lnTo>
                  <a:lnTo>
                    <a:pt x="300" y="110"/>
                  </a:lnTo>
                  <a:lnTo>
                    <a:pt x="301" y="110"/>
                  </a:lnTo>
                  <a:lnTo>
                    <a:pt x="302" y="110"/>
                  </a:lnTo>
                  <a:lnTo>
                    <a:pt x="303" y="109"/>
                  </a:lnTo>
                  <a:lnTo>
                    <a:pt x="304" y="109"/>
                  </a:lnTo>
                  <a:lnTo>
                    <a:pt x="305" y="108"/>
                  </a:lnTo>
                  <a:lnTo>
                    <a:pt x="306" y="107"/>
                  </a:lnTo>
                  <a:lnTo>
                    <a:pt x="307" y="106"/>
                  </a:lnTo>
                  <a:lnTo>
                    <a:pt x="309" y="105"/>
                  </a:lnTo>
                  <a:lnTo>
                    <a:pt x="309" y="104"/>
                  </a:lnTo>
                  <a:lnTo>
                    <a:pt x="310" y="103"/>
                  </a:lnTo>
                  <a:lnTo>
                    <a:pt x="311" y="102"/>
                  </a:lnTo>
                  <a:lnTo>
                    <a:pt x="311" y="100"/>
                  </a:lnTo>
                  <a:lnTo>
                    <a:pt x="312" y="97"/>
                  </a:lnTo>
                  <a:lnTo>
                    <a:pt x="313" y="95"/>
                  </a:lnTo>
                  <a:lnTo>
                    <a:pt x="314" y="94"/>
                  </a:lnTo>
                  <a:lnTo>
                    <a:pt x="315" y="92"/>
                  </a:lnTo>
                  <a:lnTo>
                    <a:pt x="316" y="91"/>
                  </a:lnTo>
                  <a:lnTo>
                    <a:pt x="316" y="91"/>
                  </a:lnTo>
                  <a:lnTo>
                    <a:pt x="316" y="90"/>
                  </a:lnTo>
                  <a:lnTo>
                    <a:pt x="316" y="90"/>
                  </a:lnTo>
                  <a:lnTo>
                    <a:pt x="316" y="89"/>
                  </a:lnTo>
                  <a:lnTo>
                    <a:pt x="316" y="88"/>
                  </a:lnTo>
                  <a:lnTo>
                    <a:pt x="316" y="88"/>
                  </a:lnTo>
                  <a:lnTo>
                    <a:pt x="316" y="87"/>
                  </a:lnTo>
                  <a:lnTo>
                    <a:pt x="315" y="86"/>
                  </a:lnTo>
                  <a:lnTo>
                    <a:pt x="315" y="85"/>
                  </a:lnTo>
                  <a:lnTo>
                    <a:pt x="314" y="83"/>
                  </a:lnTo>
                  <a:lnTo>
                    <a:pt x="313" y="82"/>
                  </a:lnTo>
                  <a:lnTo>
                    <a:pt x="313" y="81"/>
                  </a:lnTo>
                  <a:lnTo>
                    <a:pt x="312" y="80"/>
                  </a:lnTo>
                  <a:lnTo>
                    <a:pt x="312" y="79"/>
                  </a:lnTo>
                  <a:lnTo>
                    <a:pt x="312" y="78"/>
                  </a:lnTo>
                  <a:lnTo>
                    <a:pt x="311" y="77"/>
                  </a:lnTo>
                  <a:lnTo>
                    <a:pt x="311" y="77"/>
                  </a:lnTo>
                  <a:lnTo>
                    <a:pt x="306" y="72"/>
                  </a:lnTo>
                  <a:lnTo>
                    <a:pt x="305" y="72"/>
                  </a:lnTo>
                  <a:lnTo>
                    <a:pt x="305" y="71"/>
                  </a:lnTo>
                  <a:lnTo>
                    <a:pt x="305" y="71"/>
                  </a:lnTo>
                  <a:lnTo>
                    <a:pt x="304" y="70"/>
                  </a:lnTo>
                  <a:lnTo>
                    <a:pt x="304" y="69"/>
                  </a:lnTo>
                  <a:lnTo>
                    <a:pt x="303" y="69"/>
                  </a:lnTo>
                  <a:lnTo>
                    <a:pt x="303" y="68"/>
                  </a:lnTo>
                  <a:lnTo>
                    <a:pt x="303" y="68"/>
                  </a:lnTo>
                  <a:lnTo>
                    <a:pt x="303" y="68"/>
                  </a:lnTo>
                  <a:lnTo>
                    <a:pt x="303" y="67"/>
                  </a:lnTo>
                  <a:lnTo>
                    <a:pt x="303" y="67"/>
                  </a:lnTo>
                  <a:lnTo>
                    <a:pt x="304" y="67"/>
                  </a:lnTo>
                  <a:lnTo>
                    <a:pt x="305" y="65"/>
                  </a:lnTo>
                  <a:lnTo>
                    <a:pt x="307" y="64"/>
                  </a:lnTo>
                  <a:lnTo>
                    <a:pt x="308" y="63"/>
                  </a:lnTo>
                  <a:lnTo>
                    <a:pt x="309" y="62"/>
                  </a:lnTo>
                  <a:lnTo>
                    <a:pt x="311" y="61"/>
                  </a:lnTo>
                  <a:lnTo>
                    <a:pt x="312" y="60"/>
                  </a:lnTo>
                  <a:lnTo>
                    <a:pt x="314" y="60"/>
                  </a:lnTo>
                  <a:lnTo>
                    <a:pt x="315" y="60"/>
                  </a:lnTo>
                  <a:lnTo>
                    <a:pt x="316" y="60"/>
                  </a:lnTo>
                  <a:lnTo>
                    <a:pt x="317" y="60"/>
                  </a:lnTo>
                  <a:lnTo>
                    <a:pt x="318" y="60"/>
                  </a:lnTo>
                  <a:lnTo>
                    <a:pt x="320" y="60"/>
                  </a:lnTo>
                  <a:lnTo>
                    <a:pt x="322" y="61"/>
                  </a:lnTo>
                  <a:lnTo>
                    <a:pt x="324" y="61"/>
                  </a:lnTo>
                  <a:lnTo>
                    <a:pt x="325" y="61"/>
                  </a:lnTo>
                  <a:lnTo>
                    <a:pt x="326" y="62"/>
                  </a:lnTo>
                  <a:lnTo>
                    <a:pt x="326" y="62"/>
                  </a:lnTo>
                  <a:lnTo>
                    <a:pt x="327" y="63"/>
                  </a:lnTo>
                  <a:lnTo>
                    <a:pt x="328" y="64"/>
                  </a:lnTo>
                  <a:lnTo>
                    <a:pt x="329" y="65"/>
                  </a:lnTo>
                  <a:lnTo>
                    <a:pt x="329" y="66"/>
                  </a:lnTo>
                  <a:lnTo>
                    <a:pt x="330" y="67"/>
                  </a:lnTo>
                  <a:lnTo>
                    <a:pt x="331" y="69"/>
                  </a:lnTo>
                  <a:lnTo>
                    <a:pt x="331" y="70"/>
                  </a:lnTo>
                  <a:lnTo>
                    <a:pt x="332" y="71"/>
                  </a:lnTo>
                  <a:lnTo>
                    <a:pt x="334" y="72"/>
                  </a:lnTo>
                  <a:lnTo>
                    <a:pt x="334" y="73"/>
                  </a:lnTo>
                  <a:lnTo>
                    <a:pt x="335" y="74"/>
                  </a:lnTo>
                  <a:lnTo>
                    <a:pt x="336" y="75"/>
                  </a:lnTo>
                  <a:lnTo>
                    <a:pt x="336" y="76"/>
                  </a:lnTo>
                  <a:lnTo>
                    <a:pt x="336" y="77"/>
                  </a:lnTo>
                  <a:lnTo>
                    <a:pt x="337" y="78"/>
                  </a:lnTo>
                  <a:lnTo>
                    <a:pt x="338" y="79"/>
                  </a:lnTo>
                  <a:lnTo>
                    <a:pt x="338" y="80"/>
                  </a:lnTo>
                  <a:lnTo>
                    <a:pt x="339" y="81"/>
                  </a:lnTo>
                  <a:lnTo>
                    <a:pt x="340" y="83"/>
                  </a:lnTo>
                  <a:lnTo>
                    <a:pt x="341" y="87"/>
                  </a:lnTo>
                  <a:lnTo>
                    <a:pt x="341" y="90"/>
                  </a:lnTo>
                  <a:lnTo>
                    <a:pt x="342" y="90"/>
                  </a:lnTo>
                  <a:lnTo>
                    <a:pt x="342" y="91"/>
                  </a:lnTo>
                  <a:lnTo>
                    <a:pt x="343" y="92"/>
                  </a:lnTo>
                  <a:lnTo>
                    <a:pt x="343" y="93"/>
                  </a:lnTo>
                  <a:lnTo>
                    <a:pt x="344" y="94"/>
                  </a:lnTo>
                  <a:lnTo>
                    <a:pt x="346" y="95"/>
                  </a:lnTo>
                  <a:lnTo>
                    <a:pt x="346" y="95"/>
                  </a:lnTo>
                  <a:lnTo>
                    <a:pt x="347" y="96"/>
                  </a:lnTo>
                  <a:lnTo>
                    <a:pt x="347" y="97"/>
                  </a:lnTo>
                  <a:lnTo>
                    <a:pt x="347" y="97"/>
                  </a:lnTo>
                  <a:lnTo>
                    <a:pt x="349" y="100"/>
                  </a:lnTo>
                  <a:lnTo>
                    <a:pt x="349" y="101"/>
                  </a:lnTo>
                  <a:lnTo>
                    <a:pt x="350" y="101"/>
                  </a:lnTo>
                  <a:lnTo>
                    <a:pt x="350" y="102"/>
                  </a:lnTo>
                  <a:lnTo>
                    <a:pt x="351" y="104"/>
                  </a:lnTo>
                  <a:lnTo>
                    <a:pt x="352" y="104"/>
                  </a:lnTo>
                  <a:lnTo>
                    <a:pt x="353" y="105"/>
                  </a:lnTo>
                  <a:lnTo>
                    <a:pt x="353" y="105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5" y="106"/>
                  </a:lnTo>
                  <a:lnTo>
                    <a:pt x="355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7" y="106"/>
                  </a:lnTo>
                  <a:lnTo>
                    <a:pt x="357" y="105"/>
                  </a:lnTo>
                  <a:lnTo>
                    <a:pt x="358" y="104"/>
                  </a:lnTo>
                  <a:lnTo>
                    <a:pt x="358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60" y="103"/>
                  </a:lnTo>
                  <a:lnTo>
                    <a:pt x="360" y="103"/>
                  </a:lnTo>
                  <a:lnTo>
                    <a:pt x="360" y="104"/>
                  </a:lnTo>
                  <a:lnTo>
                    <a:pt x="360" y="104"/>
                  </a:lnTo>
                  <a:lnTo>
                    <a:pt x="360" y="105"/>
                  </a:lnTo>
                  <a:lnTo>
                    <a:pt x="361" y="107"/>
                  </a:lnTo>
                  <a:lnTo>
                    <a:pt x="360" y="108"/>
                  </a:lnTo>
                  <a:lnTo>
                    <a:pt x="360" y="110"/>
                  </a:lnTo>
                  <a:lnTo>
                    <a:pt x="360" y="111"/>
                  </a:lnTo>
                  <a:lnTo>
                    <a:pt x="360" y="113"/>
                  </a:lnTo>
                  <a:lnTo>
                    <a:pt x="359" y="116"/>
                  </a:lnTo>
                  <a:lnTo>
                    <a:pt x="359" y="119"/>
                  </a:lnTo>
                  <a:lnTo>
                    <a:pt x="358" y="121"/>
                  </a:lnTo>
                  <a:lnTo>
                    <a:pt x="358" y="121"/>
                  </a:lnTo>
                  <a:lnTo>
                    <a:pt x="358" y="122"/>
                  </a:lnTo>
                  <a:lnTo>
                    <a:pt x="358" y="122"/>
                  </a:lnTo>
                  <a:lnTo>
                    <a:pt x="359" y="123"/>
                  </a:lnTo>
                  <a:lnTo>
                    <a:pt x="359" y="123"/>
                  </a:lnTo>
                  <a:lnTo>
                    <a:pt x="359" y="123"/>
                  </a:lnTo>
                  <a:lnTo>
                    <a:pt x="360" y="124"/>
                  </a:lnTo>
                  <a:lnTo>
                    <a:pt x="360" y="124"/>
                  </a:lnTo>
                  <a:lnTo>
                    <a:pt x="361" y="125"/>
                  </a:lnTo>
                  <a:lnTo>
                    <a:pt x="364" y="126"/>
                  </a:lnTo>
                  <a:lnTo>
                    <a:pt x="365" y="127"/>
                  </a:lnTo>
                  <a:lnTo>
                    <a:pt x="367" y="128"/>
                  </a:lnTo>
                  <a:lnTo>
                    <a:pt x="369" y="128"/>
                  </a:lnTo>
                  <a:lnTo>
                    <a:pt x="371" y="129"/>
                  </a:lnTo>
                  <a:lnTo>
                    <a:pt x="374" y="130"/>
                  </a:lnTo>
                  <a:lnTo>
                    <a:pt x="375" y="131"/>
                  </a:lnTo>
                  <a:lnTo>
                    <a:pt x="377" y="131"/>
                  </a:lnTo>
                  <a:lnTo>
                    <a:pt x="379" y="132"/>
                  </a:lnTo>
                  <a:lnTo>
                    <a:pt x="380" y="133"/>
                  </a:lnTo>
                  <a:lnTo>
                    <a:pt x="381" y="134"/>
                  </a:lnTo>
                  <a:lnTo>
                    <a:pt x="384" y="136"/>
                  </a:lnTo>
                  <a:lnTo>
                    <a:pt x="385" y="137"/>
                  </a:lnTo>
                  <a:lnTo>
                    <a:pt x="386" y="138"/>
                  </a:lnTo>
                  <a:lnTo>
                    <a:pt x="386" y="138"/>
                  </a:lnTo>
                  <a:lnTo>
                    <a:pt x="387" y="139"/>
                  </a:lnTo>
                  <a:lnTo>
                    <a:pt x="387" y="140"/>
                  </a:lnTo>
                  <a:lnTo>
                    <a:pt x="387" y="141"/>
                  </a:lnTo>
                  <a:lnTo>
                    <a:pt x="389" y="146"/>
                  </a:lnTo>
                  <a:lnTo>
                    <a:pt x="390" y="149"/>
                  </a:lnTo>
                  <a:lnTo>
                    <a:pt x="390" y="150"/>
                  </a:lnTo>
                  <a:lnTo>
                    <a:pt x="392" y="153"/>
                  </a:lnTo>
                  <a:lnTo>
                    <a:pt x="394" y="158"/>
                  </a:lnTo>
                  <a:lnTo>
                    <a:pt x="394" y="160"/>
                  </a:lnTo>
                  <a:lnTo>
                    <a:pt x="390" y="166"/>
                  </a:lnTo>
                  <a:lnTo>
                    <a:pt x="389" y="168"/>
                  </a:lnTo>
                  <a:lnTo>
                    <a:pt x="389" y="170"/>
                  </a:lnTo>
                  <a:lnTo>
                    <a:pt x="389" y="171"/>
                  </a:lnTo>
                  <a:lnTo>
                    <a:pt x="388" y="172"/>
                  </a:lnTo>
                  <a:lnTo>
                    <a:pt x="388" y="173"/>
                  </a:lnTo>
                  <a:lnTo>
                    <a:pt x="388" y="174"/>
                  </a:lnTo>
                  <a:lnTo>
                    <a:pt x="388" y="175"/>
                  </a:lnTo>
                  <a:lnTo>
                    <a:pt x="388" y="176"/>
                  </a:lnTo>
                  <a:lnTo>
                    <a:pt x="389" y="179"/>
                  </a:lnTo>
                  <a:lnTo>
                    <a:pt x="389" y="181"/>
                  </a:lnTo>
                  <a:lnTo>
                    <a:pt x="389" y="182"/>
                  </a:lnTo>
                  <a:lnTo>
                    <a:pt x="389" y="186"/>
                  </a:lnTo>
                  <a:lnTo>
                    <a:pt x="389" y="187"/>
                  </a:lnTo>
                  <a:lnTo>
                    <a:pt x="390" y="188"/>
                  </a:lnTo>
                  <a:lnTo>
                    <a:pt x="390" y="189"/>
                  </a:lnTo>
                  <a:lnTo>
                    <a:pt x="391" y="191"/>
                  </a:lnTo>
                  <a:lnTo>
                    <a:pt x="393" y="195"/>
                  </a:lnTo>
                  <a:lnTo>
                    <a:pt x="394" y="198"/>
                  </a:lnTo>
                  <a:lnTo>
                    <a:pt x="394" y="199"/>
                  </a:lnTo>
                  <a:lnTo>
                    <a:pt x="394" y="199"/>
                  </a:lnTo>
                  <a:lnTo>
                    <a:pt x="394" y="200"/>
                  </a:lnTo>
                  <a:lnTo>
                    <a:pt x="394" y="201"/>
                  </a:lnTo>
                  <a:lnTo>
                    <a:pt x="394" y="202"/>
                  </a:lnTo>
                  <a:lnTo>
                    <a:pt x="394" y="203"/>
                  </a:lnTo>
                  <a:lnTo>
                    <a:pt x="394" y="204"/>
                  </a:lnTo>
                  <a:lnTo>
                    <a:pt x="394" y="204"/>
                  </a:lnTo>
                  <a:lnTo>
                    <a:pt x="394" y="205"/>
                  </a:lnTo>
                  <a:lnTo>
                    <a:pt x="395" y="205"/>
                  </a:lnTo>
                  <a:lnTo>
                    <a:pt x="395" y="205"/>
                  </a:lnTo>
                  <a:lnTo>
                    <a:pt x="396" y="205"/>
                  </a:lnTo>
                  <a:lnTo>
                    <a:pt x="397" y="205"/>
                  </a:lnTo>
                  <a:lnTo>
                    <a:pt x="399" y="205"/>
                  </a:lnTo>
                  <a:lnTo>
                    <a:pt x="401" y="205"/>
                  </a:lnTo>
                  <a:lnTo>
                    <a:pt x="402" y="205"/>
                  </a:lnTo>
                  <a:lnTo>
                    <a:pt x="403" y="205"/>
                  </a:lnTo>
                  <a:lnTo>
                    <a:pt x="404" y="205"/>
                  </a:lnTo>
                  <a:lnTo>
                    <a:pt x="405" y="205"/>
                  </a:lnTo>
                  <a:lnTo>
                    <a:pt x="405" y="205"/>
                  </a:lnTo>
                  <a:lnTo>
                    <a:pt x="406" y="206"/>
                  </a:lnTo>
                  <a:lnTo>
                    <a:pt x="406" y="206"/>
                  </a:lnTo>
                  <a:lnTo>
                    <a:pt x="406" y="207"/>
                  </a:lnTo>
                  <a:lnTo>
                    <a:pt x="407" y="207"/>
                  </a:lnTo>
                  <a:lnTo>
                    <a:pt x="407" y="208"/>
                  </a:lnTo>
                  <a:lnTo>
                    <a:pt x="407" y="209"/>
                  </a:lnTo>
                  <a:lnTo>
                    <a:pt x="407" y="210"/>
                  </a:lnTo>
                  <a:lnTo>
                    <a:pt x="407" y="211"/>
                  </a:lnTo>
                  <a:lnTo>
                    <a:pt x="407" y="212"/>
                  </a:lnTo>
                  <a:lnTo>
                    <a:pt x="406" y="213"/>
                  </a:lnTo>
                  <a:lnTo>
                    <a:pt x="406" y="214"/>
                  </a:lnTo>
                  <a:lnTo>
                    <a:pt x="405" y="216"/>
                  </a:lnTo>
                  <a:lnTo>
                    <a:pt x="405" y="217"/>
                  </a:lnTo>
                  <a:lnTo>
                    <a:pt x="404" y="218"/>
                  </a:lnTo>
                  <a:lnTo>
                    <a:pt x="404" y="219"/>
                  </a:lnTo>
                  <a:lnTo>
                    <a:pt x="403" y="220"/>
                  </a:lnTo>
                  <a:lnTo>
                    <a:pt x="403" y="221"/>
                  </a:lnTo>
                  <a:lnTo>
                    <a:pt x="403" y="221"/>
                  </a:lnTo>
                  <a:lnTo>
                    <a:pt x="401" y="222"/>
                  </a:lnTo>
                  <a:lnTo>
                    <a:pt x="399" y="224"/>
                  </a:lnTo>
                  <a:lnTo>
                    <a:pt x="397" y="226"/>
                  </a:lnTo>
                  <a:lnTo>
                    <a:pt x="396" y="226"/>
                  </a:lnTo>
                  <a:lnTo>
                    <a:pt x="395" y="227"/>
                  </a:lnTo>
                  <a:lnTo>
                    <a:pt x="394" y="227"/>
                  </a:lnTo>
                  <a:lnTo>
                    <a:pt x="394" y="229"/>
                  </a:lnTo>
                  <a:lnTo>
                    <a:pt x="393" y="230"/>
                  </a:lnTo>
                  <a:lnTo>
                    <a:pt x="392" y="231"/>
                  </a:lnTo>
                  <a:lnTo>
                    <a:pt x="390" y="235"/>
                  </a:lnTo>
                  <a:lnTo>
                    <a:pt x="389" y="236"/>
                  </a:lnTo>
                  <a:lnTo>
                    <a:pt x="389" y="237"/>
                  </a:lnTo>
                  <a:lnTo>
                    <a:pt x="388" y="238"/>
                  </a:lnTo>
                  <a:lnTo>
                    <a:pt x="387" y="239"/>
                  </a:lnTo>
                  <a:lnTo>
                    <a:pt x="387" y="239"/>
                  </a:lnTo>
                  <a:lnTo>
                    <a:pt x="385" y="241"/>
                  </a:lnTo>
                  <a:lnTo>
                    <a:pt x="385" y="241"/>
                  </a:lnTo>
                  <a:lnTo>
                    <a:pt x="384" y="241"/>
                  </a:lnTo>
                  <a:lnTo>
                    <a:pt x="384" y="242"/>
                  </a:lnTo>
                  <a:lnTo>
                    <a:pt x="384" y="243"/>
                  </a:lnTo>
                  <a:lnTo>
                    <a:pt x="383" y="244"/>
                  </a:lnTo>
                  <a:lnTo>
                    <a:pt x="383" y="245"/>
                  </a:lnTo>
                  <a:lnTo>
                    <a:pt x="383" y="246"/>
                  </a:lnTo>
                  <a:lnTo>
                    <a:pt x="383" y="247"/>
                  </a:lnTo>
                  <a:lnTo>
                    <a:pt x="384" y="249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5" y="251"/>
                  </a:lnTo>
                  <a:lnTo>
                    <a:pt x="385" y="251"/>
                  </a:lnTo>
                  <a:lnTo>
                    <a:pt x="386" y="251"/>
                  </a:lnTo>
                  <a:lnTo>
                    <a:pt x="387" y="251"/>
                  </a:lnTo>
                  <a:lnTo>
                    <a:pt x="388" y="252"/>
                  </a:lnTo>
                  <a:lnTo>
                    <a:pt x="389" y="252"/>
                  </a:lnTo>
                  <a:lnTo>
                    <a:pt x="390" y="251"/>
                  </a:lnTo>
                  <a:lnTo>
                    <a:pt x="391" y="251"/>
                  </a:lnTo>
                  <a:lnTo>
                    <a:pt x="392" y="251"/>
                  </a:lnTo>
                  <a:lnTo>
                    <a:pt x="394" y="251"/>
                  </a:lnTo>
                  <a:lnTo>
                    <a:pt x="396" y="250"/>
                  </a:lnTo>
                  <a:lnTo>
                    <a:pt x="403" y="247"/>
                  </a:lnTo>
                  <a:lnTo>
                    <a:pt x="405" y="247"/>
                  </a:lnTo>
                  <a:lnTo>
                    <a:pt x="406" y="246"/>
                  </a:lnTo>
                  <a:lnTo>
                    <a:pt x="407" y="246"/>
                  </a:lnTo>
                  <a:lnTo>
                    <a:pt x="408" y="246"/>
                  </a:lnTo>
                  <a:lnTo>
                    <a:pt x="409" y="246"/>
                  </a:lnTo>
                  <a:lnTo>
                    <a:pt x="410" y="246"/>
                  </a:lnTo>
                  <a:lnTo>
                    <a:pt x="411" y="246"/>
                  </a:lnTo>
                  <a:lnTo>
                    <a:pt x="411" y="246"/>
                  </a:lnTo>
                  <a:lnTo>
                    <a:pt x="412" y="247"/>
                  </a:lnTo>
                  <a:lnTo>
                    <a:pt x="412" y="247"/>
                  </a:lnTo>
                  <a:lnTo>
                    <a:pt x="413" y="248"/>
                  </a:lnTo>
                  <a:lnTo>
                    <a:pt x="413" y="249"/>
                  </a:lnTo>
                  <a:lnTo>
                    <a:pt x="415" y="250"/>
                  </a:lnTo>
                  <a:lnTo>
                    <a:pt x="416" y="252"/>
                  </a:lnTo>
                  <a:lnTo>
                    <a:pt x="416" y="253"/>
                  </a:lnTo>
                  <a:lnTo>
                    <a:pt x="417" y="254"/>
                  </a:lnTo>
                  <a:lnTo>
                    <a:pt x="417" y="256"/>
                  </a:lnTo>
                  <a:lnTo>
                    <a:pt x="417" y="256"/>
                  </a:lnTo>
                  <a:lnTo>
                    <a:pt x="417" y="258"/>
                  </a:lnTo>
                  <a:lnTo>
                    <a:pt x="417" y="259"/>
                  </a:lnTo>
                  <a:lnTo>
                    <a:pt x="417" y="260"/>
                  </a:lnTo>
                  <a:lnTo>
                    <a:pt x="417" y="264"/>
                  </a:lnTo>
                  <a:lnTo>
                    <a:pt x="417" y="265"/>
                  </a:lnTo>
                  <a:lnTo>
                    <a:pt x="417" y="266"/>
                  </a:lnTo>
                  <a:lnTo>
                    <a:pt x="417" y="267"/>
                  </a:lnTo>
                  <a:lnTo>
                    <a:pt x="417" y="267"/>
                  </a:lnTo>
                  <a:lnTo>
                    <a:pt x="418" y="268"/>
                  </a:lnTo>
                  <a:lnTo>
                    <a:pt x="418" y="268"/>
                  </a:lnTo>
                  <a:lnTo>
                    <a:pt x="418" y="268"/>
                  </a:lnTo>
                  <a:lnTo>
                    <a:pt x="419" y="269"/>
                  </a:lnTo>
                  <a:lnTo>
                    <a:pt x="422" y="269"/>
                  </a:lnTo>
                  <a:lnTo>
                    <a:pt x="423" y="270"/>
                  </a:lnTo>
                  <a:lnTo>
                    <a:pt x="423" y="270"/>
                  </a:lnTo>
                  <a:lnTo>
                    <a:pt x="424" y="270"/>
                  </a:lnTo>
                  <a:lnTo>
                    <a:pt x="426" y="271"/>
                  </a:lnTo>
                  <a:lnTo>
                    <a:pt x="428" y="272"/>
                  </a:lnTo>
                  <a:lnTo>
                    <a:pt x="428" y="272"/>
                  </a:lnTo>
                  <a:lnTo>
                    <a:pt x="429" y="273"/>
                  </a:lnTo>
                  <a:lnTo>
                    <a:pt x="430" y="273"/>
                  </a:lnTo>
                  <a:lnTo>
                    <a:pt x="431" y="274"/>
                  </a:lnTo>
                  <a:lnTo>
                    <a:pt x="433" y="276"/>
                  </a:lnTo>
                  <a:lnTo>
                    <a:pt x="433" y="276"/>
                  </a:lnTo>
                  <a:lnTo>
                    <a:pt x="434" y="277"/>
                  </a:lnTo>
                  <a:lnTo>
                    <a:pt x="435" y="277"/>
                  </a:lnTo>
                  <a:lnTo>
                    <a:pt x="435" y="277"/>
                  </a:lnTo>
                  <a:lnTo>
                    <a:pt x="437" y="278"/>
                  </a:lnTo>
                  <a:lnTo>
                    <a:pt x="442" y="278"/>
                  </a:lnTo>
                  <a:lnTo>
                    <a:pt x="445" y="279"/>
                  </a:lnTo>
                  <a:lnTo>
                    <a:pt x="450" y="280"/>
                  </a:lnTo>
                  <a:lnTo>
                    <a:pt x="451" y="280"/>
                  </a:lnTo>
                  <a:lnTo>
                    <a:pt x="452" y="280"/>
                  </a:lnTo>
                  <a:lnTo>
                    <a:pt x="452" y="281"/>
                  </a:lnTo>
                  <a:lnTo>
                    <a:pt x="453" y="281"/>
                  </a:lnTo>
                  <a:lnTo>
                    <a:pt x="455" y="282"/>
                  </a:lnTo>
                  <a:lnTo>
                    <a:pt x="456" y="283"/>
                  </a:lnTo>
                  <a:lnTo>
                    <a:pt x="456" y="284"/>
                  </a:lnTo>
                  <a:lnTo>
                    <a:pt x="457" y="284"/>
                  </a:lnTo>
                  <a:lnTo>
                    <a:pt x="457" y="284"/>
                  </a:lnTo>
                  <a:lnTo>
                    <a:pt x="457" y="285"/>
                  </a:lnTo>
                  <a:lnTo>
                    <a:pt x="457" y="287"/>
                  </a:lnTo>
                  <a:lnTo>
                    <a:pt x="458" y="288"/>
                  </a:lnTo>
                  <a:lnTo>
                    <a:pt x="458" y="291"/>
                  </a:lnTo>
                  <a:lnTo>
                    <a:pt x="458" y="292"/>
                  </a:lnTo>
                  <a:lnTo>
                    <a:pt x="458" y="292"/>
                  </a:lnTo>
                  <a:lnTo>
                    <a:pt x="459" y="293"/>
                  </a:lnTo>
                  <a:lnTo>
                    <a:pt x="459" y="294"/>
                  </a:lnTo>
                  <a:lnTo>
                    <a:pt x="459" y="294"/>
                  </a:lnTo>
                  <a:lnTo>
                    <a:pt x="460" y="294"/>
                  </a:lnTo>
                  <a:lnTo>
                    <a:pt x="460" y="294"/>
                  </a:lnTo>
                  <a:lnTo>
                    <a:pt x="461" y="295"/>
                  </a:lnTo>
                  <a:lnTo>
                    <a:pt x="462" y="295"/>
                  </a:lnTo>
                  <a:lnTo>
                    <a:pt x="464" y="295"/>
                  </a:lnTo>
                  <a:lnTo>
                    <a:pt x="466" y="295"/>
                  </a:lnTo>
                  <a:lnTo>
                    <a:pt x="467" y="296"/>
                  </a:lnTo>
                  <a:lnTo>
                    <a:pt x="468" y="296"/>
                  </a:lnTo>
                  <a:lnTo>
                    <a:pt x="469" y="296"/>
                  </a:lnTo>
                  <a:lnTo>
                    <a:pt x="469" y="297"/>
                  </a:lnTo>
                  <a:lnTo>
                    <a:pt x="470" y="297"/>
                  </a:lnTo>
                  <a:lnTo>
                    <a:pt x="476" y="301"/>
                  </a:lnTo>
                  <a:lnTo>
                    <a:pt x="477" y="302"/>
                  </a:lnTo>
                  <a:lnTo>
                    <a:pt x="478" y="303"/>
                  </a:lnTo>
                  <a:lnTo>
                    <a:pt x="480" y="304"/>
                  </a:lnTo>
                  <a:lnTo>
                    <a:pt x="481" y="304"/>
                  </a:lnTo>
                  <a:lnTo>
                    <a:pt x="481" y="304"/>
                  </a:lnTo>
                  <a:lnTo>
                    <a:pt x="482" y="304"/>
                  </a:lnTo>
                  <a:lnTo>
                    <a:pt x="483" y="305"/>
                  </a:lnTo>
                  <a:lnTo>
                    <a:pt x="484" y="304"/>
                  </a:lnTo>
                  <a:lnTo>
                    <a:pt x="485" y="304"/>
                  </a:lnTo>
                  <a:lnTo>
                    <a:pt x="486" y="304"/>
                  </a:lnTo>
                  <a:lnTo>
                    <a:pt x="490" y="303"/>
                  </a:lnTo>
                  <a:lnTo>
                    <a:pt x="492" y="303"/>
                  </a:lnTo>
                  <a:lnTo>
                    <a:pt x="493" y="303"/>
                  </a:lnTo>
                  <a:lnTo>
                    <a:pt x="496" y="303"/>
                  </a:lnTo>
                  <a:lnTo>
                    <a:pt x="500" y="302"/>
                  </a:lnTo>
                  <a:lnTo>
                    <a:pt x="500" y="302"/>
                  </a:lnTo>
                  <a:lnTo>
                    <a:pt x="501" y="302"/>
                  </a:lnTo>
                  <a:lnTo>
                    <a:pt x="502" y="302"/>
                  </a:lnTo>
                  <a:lnTo>
                    <a:pt x="502" y="302"/>
                  </a:lnTo>
                  <a:lnTo>
                    <a:pt x="503" y="303"/>
                  </a:lnTo>
                  <a:lnTo>
                    <a:pt x="506" y="304"/>
                  </a:lnTo>
                  <a:lnTo>
                    <a:pt x="508" y="304"/>
                  </a:lnTo>
                  <a:lnTo>
                    <a:pt x="509" y="305"/>
                  </a:lnTo>
                  <a:lnTo>
                    <a:pt x="510" y="305"/>
                  </a:lnTo>
                  <a:lnTo>
                    <a:pt x="511" y="306"/>
                  </a:lnTo>
                  <a:lnTo>
                    <a:pt x="513" y="307"/>
                  </a:lnTo>
                  <a:lnTo>
                    <a:pt x="514" y="308"/>
                  </a:lnTo>
                  <a:lnTo>
                    <a:pt x="514" y="308"/>
                  </a:lnTo>
                  <a:lnTo>
                    <a:pt x="514" y="309"/>
                  </a:lnTo>
                  <a:lnTo>
                    <a:pt x="515" y="309"/>
                  </a:lnTo>
                  <a:lnTo>
                    <a:pt x="515" y="310"/>
                  </a:lnTo>
                  <a:lnTo>
                    <a:pt x="515" y="310"/>
                  </a:lnTo>
                  <a:lnTo>
                    <a:pt x="515" y="311"/>
                  </a:lnTo>
                  <a:lnTo>
                    <a:pt x="516" y="312"/>
                  </a:lnTo>
                  <a:lnTo>
                    <a:pt x="516" y="313"/>
                  </a:lnTo>
                  <a:lnTo>
                    <a:pt x="516" y="315"/>
                  </a:lnTo>
                  <a:lnTo>
                    <a:pt x="516" y="316"/>
                  </a:lnTo>
                  <a:lnTo>
                    <a:pt x="516" y="317"/>
                  </a:lnTo>
                  <a:lnTo>
                    <a:pt x="517" y="317"/>
                  </a:lnTo>
                  <a:lnTo>
                    <a:pt x="517" y="318"/>
                  </a:lnTo>
                  <a:lnTo>
                    <a:pt x="517" y="318"/>
                  </a:lnTo>
                  <a:lnTo>
                    <a:pt x="518" y="319"/>
                  </a:lnTo>
                  <a:lnTo>
                    <a:pt x="518" y="319"/>
                  </a:lnTo>
                  <a:lnTo>
                    <a:pt x="519" y="319"/>
                  </a:lnTo>
                  <a:lnTo>
                    <a:pt x="520" y="320"/>
                  </a:lnTo>
                  <a:lnTo>
                    <a:pt x="522" y="321"/>
                  </a:lnTo>
                  <a:lnTo>
                    <a:pt x="523" y="321"/>
                  </a:lnTo>
                  <a:lnTo>
                    <a:pt x="530" y="324"/>
                  </a:lnTo>
                  <a:lnTo>
                    <a:pt x="531" y="325"/>
                  </a:lnTo>
                  <a:lnTo>
                    <a:pt x="532" y="326"/>
                  </a:lnTo>
                  <a:lnTo>
                    <a:pt x="533" y="327"/>
                  </a:lnTo>
                  <a:lnTo>
                    <a:pt x="534" y="328"/>
                  </a:lnTo>
                  <a:lnTo>
                    <a:pt x="536" y="329"/>
                  </a:lnTo>
                  <a:lnTo>
                    <a:pt x="537" y="330"/>
                  </a:lnTo>
                  <a:lnTo>
                    <a:pt x="538" y="332"/>
                  </a:lnTo>
                  <a:lnTo>
                    <a:pt x="541" y="337"/>
                  </a:lnTo>
                  <a:lnTo>
                    <a:pt x="544" y="340"/>
                  </a:lnTo>
                  <a:lnTo>
                    <a:pt x="544" y="341"/>
                  </a:lnTo>
                  <a:lnTo>
                    <a:pt x="545" y="342"/>
                  </a:lnTo>
                  <a:lnTo>
                    <a:pt x="545" y="343"/>
                  </a:lnTo>
                  <a:lnTo>
                    <a:pt x="547" y="346"/>
                  </a:lnTo>
                  <a:lnTo>
                    <a:pt x="547" y="348"/>
                  </a:lnTo>
                  <a:lnTo>
                    <a:pt x="548" y="349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7" y="350"/>
                  </a:lnTo>
                  <a:lnTo>
                    <a:pt x="547" y="350"/>
                  </a:lnTo>
                  <a:lnTo>
                    <a:pt x="546" y="350"/>
                  </a:lnTo>
                  <a:lnTo>
                    <a:pt x="544" y="351"/>
                  </a:lnTo>
                  <a:lnTo>
                    <a:pt x="541" y="354"/>
                  </a:lnTo>
                  <a:lnTo>
                    <a:pt x="536" y="357"/>
                  </a:lnTo>
                  <a:lnTo>
                    <a:pt x="535" y="358"/>
                  </a:lnTo>
                  <a:lnTo>
                    <a:pt x="532" y="361"/>
                  </a:lnTo>
                  <a:lnTo>
                    <a:pt x="531" y="361"/>
                  </a:lnTo>
                  <a:lnTo>
                    <a:pt x="530" y="362"/>
                  </a:lnTo>
                  <a:lnTo>
                    <a:pt x="529" y="362"/>
                  </a:lnTo>
                  <a:lnTo>
                    <a:pt x="529" y="362"/>
                  </a:lnTo>
                  <a:lnTo>
                    <a:pt x="528" y="363"/>
                  </a:lnTo>
                  <a:lnTo>
                    <a:pt x="527" y="363"/>
                  </a:lnTo>
                  <a:lnTo>
                    <a:pt x="525" y="363"/>
                  </a:lnTo>
                  <a:lnTo>
                    <a:pt x="522" y="364"/>
                  </a:lnTo>
                  <a:lnTo>
                    <a:pt x="521" y="364"/>
                  </a:lnTo>
                  <a:lnTo>
                    <a:pt x="521" y="364"/>
                  </a:lnTo>
                  <a:lnTo>
                    <a:pt x="520" y="365"/>
                  </a:lnTo>
                  <a:lnTo>
                    <a:pt x="519" y="366"/>
                  </a:lnTo>
                  <a:lnTo>
                    <a:pt x="518" y="367"/>
                  </a:lnTo>
                  <a:lnTo>
                    <a:pt x="517" y="367"/>
                  </a:lnTo>
                  <a:lnTo>
                    <a:pt x="517" y="367"/>
                  </a:lnTo>
                  <a:lnTo>
                    <a:pt x="516" y="367"/>
                  </a:lnTo>
                  <a:lnTo>
                    <a:pt x="514" y="368"/>
                  </a:lnTo>
                  <a:lnTo>
                    <a:pt x="513" y="368"/>
                  </a:lnTo>
                  <a:lnTo>
                    <a:pt x="513" y="368"/>
                  </a:lnTo>
                  <a:lnTo>
                    <a:pt x="512" y="368"/>
                  </a:lnTo>
                  <a:lnTo>
                    <a:pt x="511" y="368"/>
                  </a:lnTo>
                  <a:lnTo>
                    <a:pt x="511" y="367"/>
                  </a:lnTo>
                  <a:lnTo>
                    <a:pt x="510" y="367"/>
                  </a:lnTo>
                  <a:lnTo>
                    <a:pt x="509" y="366"/>
                  </a:lnTo>
                  <a:lnTo>
                    <a:pt x="509" y="366"/>
                  </a:lnTo>
                  <a:lnTo>
                    <a:pt x="508" y="366"/>
                  </a:lnTo>
                  <a:lnTo>
                    <a:pt x="506" y="365"/>
                  </a:lnTo>
                  <a:lnTo>
                    <a:pt x="506" y="365"/>
                  </a:lnTo>
                  <a:lnTo>
                    <a:pt x="505" y="364"/>
                  </a:lnTo>
                  <a:lnTo>
                    <a:pt x="504" y="363"/>
                  </a:lnTo>
                  <a:lnTo>
                    <a:pt x="500" y="361"/>
                  </a:lnTo>
                  <a:lnTo>
                    <a:pt x="499" y="360"/>
                  </a:lnTo>
                  <a:lnTo>
                    <a:pt x="497" y="359"/>
                  </a:lnTo>
                  <a:lnTo>
                    <a:pt x="496" y="359"/>
                  </a:lnTo>
                  <a:lnTo>
                    <a:pt x="495" y="358"/>
                  </a:lnTo>
                  <a:lnTo>
                    <a:pt x="493" y="358"/>
                  </a:lnTo>
                  <a:lnTo>
                    <a:pt x="492" y="358"/>
                  </a:lnTo>
                  <a:lnTo>
                    <a:pt x="491" y="358"/>
                  </a:lnTo>
                  <a:lnTo>
                    <a:pt x="490" y="358"/>
                  </a:lnTo>
                  <a:lnTo>
                    <a:pt x="489" y="358"/>
                  </a:lnTo>
                  <a:lnTo>
                    <a:pt x="489" y="358"/>
                  </a:lnTo>
                  <a:lnTo>
                    <a:pt x="488" y="358"/>
                  </a:lnTo>
                  <a:lnTo>
                    <a:pt x="487" y="358"/>
                  </a:lnTo>
                  <a:lnTo>
                    <a:pt x="485" y="359"/>
                  </a:lnTo>
                  <a:lnTo>
                    <a:pt x="485" y="360"/>
                  </a:lnTo>
                  <a:lnTo>
                    <a:pt x="484" y="361"/>
                  </a:lnTo>
                  <a:lnTo>
                    <a:pt x="481" y="363"/>
                  </a:lnTo>
                  <a:lnTo>
                    <a:pt x="480" y="364"/>
                  </a:lnTo>
                  <a:lnTo>
                    <a:pt x="475" y="367"/>
                  </a:lnTo>
                  <a:lnTo>
                    <a:pt x="474" y="368"/>
                  </a:lnTo>
                  <a:lnTo>
                    <a:pt x="473" y="369"/>
                  </a:lnTo>
                  <a:lnTo>
                    <a:pt x="472" y="369"/>
                  </a:lnTo>
                  <a:lnTo>
                    <a:pt x="471" y="369"/>
                  </a:lnTo>
                  <a:lnTo>
                    <a:pt x="471" y="369"/>
                  </a:lnTo>
                  <a:lnTo>
                    <a:pt x="470" y="369"/>
                  </a:lnTo>
                  <a:lnTo>
                    <a:pt x="468" y="370"/>
                  </a:lnTo>
                  <a:lnTo>
                    <a:pt x="465" y="370"/>
                  </a:lnTo>
                  <a:lnTo>
                    <a:pt x="464" y="370"/>
                  </a:lnTo>
                  <a:lnTo>
                    <a:pt x="463" y="370"/>
                  </a:lnTo>
                  <a:lnTo>
                    <a:pt x="462" y="369"/>
                  </a:lnTo>
                  <a:lnTo>
                    <a:pt x="461" y="369"/>
                  </a:lnTo>
                  <a:lnTo>
                    <a:pt x="461" y="369"/>
                  </a:lnTo>
                  <a:lnTo>
                    <a:pt x="459" y="368"/>
                  </a:lnTo>
                  <a:lnTo>
                    <a:pt x="458" y="367"/>
                  </a:lnTo>
                  <a:lnTo>
                    <a:pt x="457" y="367"/>
                  </a:lnTo>
                  <a:lnTo>
                    <a:pt x="455" y="365"/>
                  </a:lnTo>
                  <a:lnTo>
                    <a:pt x="454" y="364"/>
                  </a:lnTo>
                  <a:lnTo>
                    <a:pt x="452" y="362"/>
                  </a:lnTo>
                  <a:lnTo>
                    <a:pt x="449" y="360"/>
                  </a:lnTo>
                  <a:lnTo>
                    <a:pt x="448" y="359"/>
                  </a:lnTo>
                  <a:lnTo>
                    <a:pt x="448" y="359"/>
                  </a:lnTo>
                  <a:lnTo>
                    <a:pt x="447" y="358"/>
                  </a:lnTo>
                  <a:lnTo>
                    <a:pt x="444" y="357"/>
                  </a:lnTo>
                  <a:lnTo>
                    <a:pt x="443" y="357"/>
                  </a:lnTo>
                  <a:lnTo>
                    <a:pt x="439" y="354"/>
                  </a:lnTo>
                  <a:lnTo>
                    <a:pt x="436" y="352"/>
                  </a:lnTo>
                  <a:lnTo>
                    <a:pt x="435" y="351"/>
                  </a:lnTo>
                  <a:lnTo>
                    <a:pt x="434" y="351"/>
                  </a:lnTo>
                  <a:lnTo>
                    <a:pt x="433" y="351"/>
                  </a:lnTo>
                  <a:lnTo>
                    <a:pt x="429" y="349"/>
                  </a:lnTo>
                  <a:lnTo>
                    <a:pt x="426" y="348"/>
                  </a:lnTo>
                  <a:lnTo>
                    <a:pt x="424" y="348"/>
                  </a:lnTo>
                  <a:lnTo>
                    <a:pt x="423" y="347"/>
                  </a:lnTo>
                  <a:lnTo>
                    <a:pt x="421" y="347"/>
                  </a:lnTo>
                  <a:lnTo>
                    <a:pt x="420" y="346"/>
                  </a:lnTo>
                  <a:lnTo>
                    <a:pt x="418" y="346"/>
                  </a:lnTo>
                  <a:lnTo>
                    <a:pt x="417" y="346"/>
                  </a:lnTo>
                  <a:lnTo>
                    <a:pt x="415" y="345"/>
                  </a:lnTo>
                  <a:lnTo>
                    <a:pt x="414" y="345"/>
                  </a:lnTo>
                  <a:lnTo>
                    <a:pt x="413" y="345"/>
                  </a:lnTo>
                  <a:lnTo>
                    <a:pt x="412" y="346"/>
                  </a:lnTo>
                  <a:lnTo>
                    <a:pt x="411" y="346"/>
                  </a:lnTo>
                  <a:lnTo>
                    <a:pt x="411" y="346"/>
                  </a:lnTo>
                  <a:lnTo>
                    <a:pt x="410" y="347"/>
                  </a:lnTo>
                  <a:lnTo>
                    <a:pt x="409" y="347"/>
                  </a:lnTo>
                  <a:lnTo>
                    <a:pt x="408" y="348"/>
                  </a:lnTo>
                  <a:lnTo>
                    <a:pt x="407" y="348"/>
                  </a:lnTo>
                  <a:lnTo>
                    <a:pt x="405" y="350"/>
                  </a:lnTo>
                  <a:lnTo>
                    <a:pt x="403" y="353"/>
                  </a:lnTo>
                  <a:lnTo>
                    <a:pt x="398" y="357"/>
                  </a:lnTo>
                  <a:lnTo>
                    <a:pt x="396" y="358"/>
                  </a:lnTo>
                  <a:lnTo>
                    <a:pt x="392" y="361"/>
                  </a:lnTo>
                  <a:lnTo>
                    <a:pt x="390" y="363"/>
                  </a:lnTo>
                  <a:lnTo>
                    <a:pt x="389" y="364"/>
                  </a:lnTo>
                  <a:lnTo>
                    <a:pt x="388" y="365"/>
                  </a:lnTo>
                  <a:lnTo>
                    <a:pt x="387" y="366"/>
                  </a:lnTo>
                  <a:lnTo>
                    <a:pt x="386" y="367"/>
                  </a:lnTo>
                  <a:lnTo>
                    <a:pt x="386" y="367"/>
                  </a:lnTo>
                  <a:lnTo>
                    <a:pt x="385" y="368"/>
                  </a:lnTo>
                  <a:lnTo>
                    <a:pt x="385" y="369"/>
                  </a:lnTo>
                  <a:lnTo>
                    <a:pt x="384" y="370"/>
                  </a:lnTo>
                  <a:lnTo>
                    <a:pt x="383" y="375"/>
                  </a:lnTo>
                  <a:lnTo>
                    <a:pt x="382" y="376"/>
                  </a:lnTo>
                  <a:lnTo>
                    <a:pt x="382" y="377"/>
                  </a:lnTo>
                  <a:lnTo>
                    <a:pt x="381" y="378"/>
                  </a:lnTo>
                  <a:lnTo>
                    <a:pt x="380" y="380"/>
                  </a:lnTo>
                  <a:lnTo>
                    <a:pt x="379" y="383"/>
                  </a:lnTo>
                  <a:lnTo>
                    <a:pt x="378" y="385"/>
                  </a:lnTo>
                  <a:lnTo>
                    <a:pt x="377" y="386"/>
                  </a:lnTo>
                  <a:lnTo>
                    <a:pt x="376" y="387"/>
                  </a:lnTo>
                  <a:lnTo>
                    <a:pt x="372" y="391"/>
                  </a:lnTo>
                  <a:lnTo>
                    <a:pt x="368" y="396"/>
                  </a:lnTo>
                  <a:lnTo>
                    <a:pt x="367" y="397"/>
                  </a:lnTo>
                  <a:lnTo>
                    <a:pt x="365" y="399"/>
                  </a:lnTo>
                  <a:lnTo>
                    <a:pt x="365" y="400"/>
                  </a:lnTo>
                  <a:lnTo>
                    <a:pt x="361" y="406"/>
                  </a:lnTo>
                  <a:lnTo>
                    <a:pt x="360" y="408"/>
                  </a:lnTo>
                  <a:lnTo>
                    <a:pt x="358" y="412"/>
                  </a:lnTo>
                  <a:lnTo>
                    <a:pt x="357" y="414"/>
                  </a:lnTo>
                  <a:lnTo>
                    <a:pt x="355" y="418"/>
                  </a:lnTo>
                  <a:lnTo>
                    <a:pt x="354" y="421"/>
                  </a:lnTo>
                  <a:lnTo>
                    <a:pt x="353" y="423"/>
                  </a:lnTo>
                  <a:lnTo>
                    <a:pt x="352" y="425"/>
                  </a:lnTo>
                  <a:lnTo>
                    <a:pt x="351" y="429"/>
                  </a:lnTo>
                  <a:lnTo>
                    <a:pt x="350" y="431"/>
                  </a:lnTo>
                  <a:lnTo>
                    <a:pt x="350" y="432"/>
                  </a:lnTo>
                  <a:lnTo>
                    <a:pt x="348" y="435"/>
                  </a:lnTo>
                  <a:lnTo>
                    <a:pt x="347" y="436"/>
                  </a:lnTo>
                  <a:lnTo>
                    <a:pt x="346" y="438"/>
                  </a:lnTo>
                  <a:lnTo>
                    <a:pt x="345" y="440"/>
                  </a:lnTo>
                  <a:lnTo>
                    <a:pt x="345" y="442"/>
                  </a:lnTo>
                  <a:lnTo>
                    <a:pt x="345" y="443"/>
                  </a:lnTo>
                  <a:lnTo>
                    <a:pt x="344" y="444"/>
                  </a:lnTo>
                  <a:lnTo>
                    <a:pt x="344" y="447"/>
                  </a:lnTo>
                  <a:lnTo>
                    <a:pt x="343" y="451"/>
                  </a:lnTo>
                  <a:lnTo>
                    <a:pt x="342" y="453"/>
                  </a:lnTo>
                  <a:lnTo>
                    <a:pt x="342" y="455"/>
                  </a:lnTo>
                  <a:lnTo>
                    <a:pt x="342" y="456"/>
                  </a:lnTo>
                  <a:lnTo>
                    <a:pt x="341" y="458"/>
                  </a:lnTo>
                  <a:lnTo>
                    <a:pt x="341" y="458"/>
                  </a:lnTo>
                  <a:lnTo>
                    <a:pt x="340" y="460"/>
                  </a:lnTo>
                  <a:lnTo>
                    <a:pt x="340" y="461"/>
                  </a:lnTo>
                  <a:lnTo>
                    <a:pt x="339" y="461"/>
                  </a:lnTo>
                  <a:lnTo>
                    <a:pt x="338" y="462"/>
                  </a:lnTo>
                  <a:lnTo>
                    <a:pt x="337" y="463"/>
                  </a:lnTo>
                  <a:lnTo>
                    <a:pt x="337" y="463"/>
                  </a:lnTo>
                  <a:lnTo>
                    <a:pt x="336" y="464"/>
                  </a:lnTo>
                  <a:lnTo>
                    <a:pt x="335" y="464"/>
                  </a:lnTo>
                  <a:lnTo>
                    <a:pt x="335" y="464"/>
                  </a:lnTo>
                  <a:lnTo>
                    <a:pt x="334" y="464"/>
                  </a:lnTo>
                  <a:lnTo>
                    <a:pt x="334" y="464"/>
                  </a:lnTo>
                  <a:lnTo>
                    <a:pt x="333" y="464"/>
                  </a:lnTo>
                  <a:lnTo>
                    <a:pt x="332" y="464"/>
                  </a:lnTo>
                  <a:lnTo>
                    <a:pt x="332" y="463"/>
                  </a:lnTo>
                  <a:lnTo>
                    <a:pt x="331" y="463"/>
                  </a:lnTo>
                  <a:lnTo>
                    <a:pt x="331" y="462"/>
                  </a:lnTo>
                  <a:lnTo>
                    <a:pt x="331" y="462"/>
                  </a:lnTo>
                  <a:lnTo>
                    <a:pt x="331" y="461"/>
                  </a:lnTo>
                  <a:lnTo>
                    <a:pt x="331" y="460"/>
                  </a:lnTo>
                  <a:lnTo>
                    <a:pt x="331" y="460"/>
                  </a:lnTo>
                  <a:lnTo>
                    <a:pt x="330" y="456"/>
                  </a:lnTo>
                  <a:lnTo>
                    <a:pt x="329" y="452"/>
                  </a:lnTo>
                  <a:lnTo>
                    <a:pt x="329" y="450"/>
                  </a:lnTo>
                  <a:lnTo>
                    <a:pt x="329" y="447"/>
                  </a:lnTo>
                  <a:lnTo>
                    <a:pt x="329" y="445"/>
                  </a:lnTo>
                  <a:lnTo>
                    <a:pt x="328" y="442"/>
                  </a:lnTo>
                  <a:lnTo>
                    <a:pt x="327" y="439"/>
                  </a:lnTo>
                  <a:lnTo>
                    <a:pt x="327" y="438"/>
                  </a:lnTo>
                  <a:lnTo>
                    <a:pt x="327" y="436"/>
                  </a:lnTo>
                  <a:lnTo>
                    <a:pt x="327" y="432"/>
                  </a:lnTo>
                  <a:lnTo>
                    <a:pt x="326" y="431"/>
                  </a:lnTo>
                  <a:lnTo>
                    <a:pt x="326" y="429"/>
                  </a:lnTo>
                  <a:lnTo>
                    <a:pt x="326" y="428"/>
                  </a:lnTo>
                  <a:lnTo>
                    <a:pt x="326" y="427"/>
                  </a:lnTo>
                  <a:lnTo>
                    <a:pt x="325" y="426"/>
                  </a:lnTo>
                  <a:lnTo>
                    <a:pt x="325" y="425"/>
                  </a:lnTo>
                  <a:lnTo>
                    <a:pt x="324" y="424"/>
                  </a:lnTo>
                  <a:lnTo>
                    <a:pt x="323" y="423"/>
                  </a:lnTo>
                  <a:lnTo>
                    <a:pt x="322" y="422"/>
                  </a:lnTo>
                  <a:lnTo>
                    <a:pt x="322" y="421"/>
                  </a:lnTo>
                  <a:lnTo>
                    <a:pt x="321" y="421"/>
                  </a:lnTo>
                  <a:lnTo>
                    <a:pt x="321" y="421"/>
                  </a:lnTo>
                  <a:lnTo>
                    <a:pt x="320" y="421"/>
                  </a:lnTo>
                  <a:lnTo>
                    <a:pt x="319" y="420"/>
                  </a:lnTo>
                  <a:lnTo>
                    <a:pt x="318" y="420"/>
                  </a:lnTo>
                  <a:lnTo>
                    <a:pt x="317" y="420"/>
                  </a:lnTo>
                  <a:lnTo>
                    <a:pt x="316" y="420"/>
                  </a:lnTo>
                  <a:lnTo>
                    <a:pt x="316" y="420"/>
                  </a:lnTo>
                  <a:lnTo>
                    <a:pt x="315" y="420"/>
                  </a:lnTo>
                  <a:lnTo>
                    <a:pt x="314" y="420"/>
                  </a:lnTo>
                  <a:lnTo>
                    <a:pt x="312" y="421"/>
                  </a:lnTo>
                  <a:lnTo>
                    <a:pt x="311" y="421"/>
                  </a:lnTo>
                  <a:lnTo>
                    <a:pt x="309" y="421"/>
                  </a:lnTo>
                  <a:lnTo>
                    <a:pt x="307" y="422"/>
                  </a:lnTo>
                  <a:lnTo>
                    <a:pt x="305" y="422"/>
                  </a:lnTo>
                  <a:lnTo>
                    <a:pt x="302" y="422"/>
                  </a:lnTo>
                  <a:lnTo>
                    <a:pt x="298" y="423"/>
                  </a:lnTo>
                  <a:lnTo>
                    <a:pt x="296" y="423"/>
                  </a:lnTo>
                  <a:lnTo>
                    <a:pt x="293" y="424"/>
                  </a:lnTo>
                  <a:lnTo>
                    <a:pt x="292" y="424"/>
                  </a:lnTo>
                  <a:lnTo>
                    <a:pt x="291" y="424"/>
                  </a:lnTo>
                  <a:lnTo>
                    <a:pt x="289" y="423"/>
                  </a:lnTo>
                  <a:lnTo>
                    <a:pt x="285" y="423"/>
                  </a:lnTo>
                  <a:lnTo>
                    <a:pt x="284" y="422"/>
                  </a:lnTo>
                  <a:lnTo>
                    <a:pt x="282" y="421"/>
                  </a:lnTo>
                  <a:lnTo>
                    <a:pt x="280" y="420"/>
                  </a:lnTo>
                  <a:lnTo>
                    <a:pt x="279" y="420"/>
                  </a:lnTo>
                  <a:lnTo>
                    <a:pt x="278" y="419"/>
                  </a:lnTo>
                  <a:lnTo>
                    <a:pt x="275" y="417"/>
                  </a:lnTo>
                  <a:lnTo>
                    <a:pt x="274" y="416"/>
                  </a:lnTo>
                  <a:lnTo>
                    <a:pt x="274" y="416"/>
                  </a:lnTo>
                  <a:lnTo>
                    <a:pt x="273" y="415"/>
                  </a:lnTo>
                  <a:lnTo>
                    <a:pt x="271" y="414"/>
                  </a:lnTo>
                  <a:lnTo>
                    <a:pt x="270" y="414"/>
                  </a:lnTo>
                  <a:lnTo>
                    <a:pt x="268" y="414"/>
                  </a:lnTo>
                  <a:lnTo>
                    <a:pt x="268" y="413"/>
                  </a:lnTo>
                  <a:lnTo>
                    <a:pt x="267" y="413"/>
                  </a:lnTo>
                  <a:lnTo>
                    <a:pt x="266" y="413"/>
                  </a:lnTo>
                  <a:lnTo>
                    <a:pt x="265" y="413"/>
                  </a:lnTo>
                  <a:lnTo>
                    <a:pt x="264" y="413"/>
                  </a:lnTo>
                  <a:lnTo>
                    <a:pt x="263" y="413"/>
                  </a:lnTo>
                  <a:lnTo>
                    <a:pt x="260" y="413"/>
                  </a:lnTo>
                  <a:lnTo>
                    <a:pt x="259" y="413"/>
                  </a:lnTo>
                  <a:lnTo>
                    <a:pt x="258" y="413"/>
                  </a:lnTo>
                  <a:lnTo>
                    <a:pt x="258" y="413"/>
                  </a:lnTo>
                  <a:lnTo>
                    <a:pt x="257" y="413"/>
                  </a:lnTo>
                  <a:lnTo>
                    <a:pt x="257" y="413"/>
                  </a:lnTo>
                  <a:lnTo>
                    <a:pt x="256" y="413"/>
                  </a:lnTo>
                  <a:lnTo>
                    <a:pt x="256" y="412"/>
                  </a:lnTo>
                  <a:lnTo>
                    <a:pt x="256" y="412"/>
                  </a:lnTo>
                  <a:lnTo>
                    <a:pt x="255" y="412"/>
                  </a:lnTo>
                  <a:lnTo>
                    <a:pt x="255" y="411"/>
                  </a:lnTo>
                  <a:lnTo>
                    <a:pt x="255" y="411"/>
                  </a:lnTo>
                  <a:lnTo>
                    <a:pt x="254" y="410"/>
                  </a:lnTo>
                  <a:lnTo>
                    <a:pt x="254" y="409"/>
                  </a:lnTo>
                  <a:lnTo>
                    <a:pt x="254" y="409"/>
                  </a:lnTo>
                  <a:lnTo>
                    <a:pt x="253" y="405"/>
                  </a:lnTo>
                  <a:lnTo>
                    <a:pt x="253" y="402"/>
                  </a:lnTo>
                  <a:lnTo>
                    <a:pt x="253" y="401"/>
                  </a:lnTo>
                  <a:lnTo>
                    <a:pt x="253" y="401"/>
                  </a:lnTo>
                  <a:lnTo>
                    <a:pt x="252" y="400"/>
                  </a:lnTo>
                  <a:lnTo>
                    <a:pt x="252" y="399"/>
                  </a:lnTo>
                  <a:lnTo>
                    <a:pt x="251" y="398"/>
                  </a:lnTo>
                  <a:lnTo>
                    <a:pt x="251" y="397"/>
                  </a:lnTo>
                  <a:lnTo>
                    <a:pt x="250" y="396"/>
                  </a:lnTo>
                  <a:lnTo>
                    <a:pt x="249" y="394"/>
                  </a:lnTo>
                  <a:lnTo>
                    <a:pt x="248" y="394"/>
                  </a:lnTo>
                  <a:lnTo>
                    <a:pt x="247" y="393"/>
                  </a:lnTo>
                  <a:lnTo>
                    <a:pt x="246" y="393"/>
                  </a:lnTo>
                  <a:lnTo>
                    <a:pt x="245" y="392"/>
                  </a:lnTo>
                  <a:lnTo>
                    <a:pt x="244" y="392"/>
                  </a:lnTo>
                  <a:lnTo>
                    <a:pt x="243" y="392"/>
                  </a:lnTo>
                  <a:lnTo>
                    <a:pt x="242" y="391"/>
                  </a:lnTo>
                  <a:lnTo>
                    <a:pt x="241" y="391"/>
                  </a:lnTo>
                  <a:lnTo>
                    <a:pt x="237" y="392"/>
                  </a:lnTo>
                  <a:lnTo>
                    <a:pt x="236" y="392"/>
                  </a:lnTo>
                  <a:lnTo>
                    <a:pt x="234" y="392"/>
                  </a:lnTo>
                  <a:lnTo>
                    <a:pt x="233" y="391"/>
                  </a:lnTo>
                  <a:lnTo>
                    <a:pt x="232" y="391"/>
                  </a:lnTo>
                  <a:lnTo>
                    <a:pt x="231" y="391"/>
                  </a:lnTo>
                  <a:lnTo>
                    <a:pt x="229" y="391"/>
                  </a:lnTo>
                  <a:lnTo>
                    <a:pt x="228" y="390"/>
                  </a:lnTo>
                  <a:lnTo>
                    <a:pt x="227" y="390"/>
                  </a:lnTo>
                  <a:lnTo>
                    <a:pt x="221" y="386"/>
                  </a:lnTo>
                  <a:lnTo>
                    <a:pt x="219" y="385"/>
                  </a:lnTo>
                  <a:lnTo>
                    <a:pt x="216" y="383"/>
                  </a:lnTo>
                  <a:lnTo>
                    <a:pt x="215" y="382"/>
                  </a:lnTo>
                  <a:lnTo>
                    <a:pt x="213" y="382"/>
                  </a:lnTo>
                  <a:lnTo>
                    <a:pt x="213" y="381"/>
                  </a:lnTo>
                  <a:lnTo>
                    <a:pt x="212" y="381"/>
                  </a:lnTo>
                  <a:lnTo>
                    <a:pt x="211" y="381"/>
                  </a:lnTo>
                  <a:lnTo>
                    <a:pt x="211" y="381"/>
                  </a:lnTo>
                  <a:lnTo>
                    <a:pt x="210" y="381"/>
                  </a:lnTo>
                  <a:lnTo>
                    <a:pt x="210" y="381"/>
                  </a:lnTo>
                  <a:lnTo>
                    <a:pt x="208" y="381"/>
                  </a:lnTo>
                  <a:lnTo>
                    <a:pt x="206" y="382"/>
                  </a:lnTo>
                  <a:lnTo>
                    <a:pt x="205" y="382"/>
                  </a:lnTo>
                  <a:lnTo>
                    <a:pt x="203" y="382"/>
                  </a:lnTo>
                  <a:lnTo>
                    <a:pt x="202" y="383"/>
                  </a:lnTo>
                  <a:lnTo>
                    <a:pt x="199" y="383"/>
                  </a:lnTo>
                  <a:lnTo>
                    <a:pt x="197" y="383"/>
                  </a:lnTo>
                  <a:lnTo>
                    <a:pt x="194" y="383"/>
                  </a:lnTo>
                  <a:lnTo>
                    <a:pt x="191" y="382"/>
                  </a:lnTo>
                  <a:lnTo>
                    <a:pt x="190" y="382"/>
                  </a:lnTo>
                  <a:lnTo>
                    <a:pt x="189" y="382"/>
                  </a:lnTo>
                  <a:lnTo>
                    <a:pt x="188" y="382"/>
                  </a:lnTo>
                  <a:lnTo>
                    <a:pt x="188" y="383"/>
                  </a:lnTo>
                  <a:lnTo>
                    <a:pt x="187" y="383"/>
                  </a:lnTo>
                  <a:lnTo>
                    <a:pt x="186" y="383"/>
                  </a:lnTo>
                  <a:lnTo>
                    <a:pt x="186" y="384"/>
                  </a:lnTo>
                  <a:lnTo>
                    <a:pt x="185" y="385"/>
                  </a:lnTo>
                  <a:lnTo>
                    <a:pt x="184" y="386"/>
                  </a:lnTo>
                  <a:lnTo>
                    <a:pt x="183" y="387"/>
                  </a:lnTo>
                  <a:lnTo>
                    <a:pt x="182" y="389"/>
                  </a:lnTo>
                  <a:lnTo>
                    <a:pt x="181" y="392"/>
                  </a:lnTo>
                  <a:lnTo>
                    <a:pt x="180" y="394"/>
                  </a:lnTo>
                  <a:lnTo>
                    <a:pt x="179" y="397"/>
                  </a:lnTo>
                  <a:lnTo>
                    <a:pt x="178" y="399"/>
                  </a:lnTo>
                  <a:lnTo>
                    <a:pt x="178" y="400"/>
                  </a:lnTo>
                  <a:lnTo>
                    <a:pt x="177" y="401"/>
                  </a:lnTo>
                  <a:lnTo>
                    <a:pt x="175" y="405"/>
                  </a:lnTo>
                  <a:lnTo>
                    <a:pt x="172" y="409"/>
                  </a:lnTo>
                  <a:lnTo>
                    <a:pt x="171" y="410"/>
                  </a:lnTo>
                  <a:lnTo>
                    <a:pt x="170" y="411"/>
                  </a:lnTo>
                  <a:lnTo>
                    <a:pt x="170" y="412"/>
                  </a:lnTo>
                  <a:lnTo>
                    <a:pt x="168" y="413"/>
                  </a:lnTo>
                  <a:lnTo>
                    <a:pt x="167" y="413"/>
                  </a:lnTo>
                  <a:lnTo>
                    <a:pt x="165" y="415"/>
                  </a:lnTo>
                  <a:lnTo>
                    <a:pt x="164" y="416"/>
                  </a:lnTo>
                  <a:lnTo>
                    <a:pt x="162" y="416"/>
                  </a:lnTo>
                  <a:lnTo>
                    <a:pt x="162" y="417"/>
                  </a:lnTo>
                  <a:lnTo>
                    <a:pt x="161" y="417"/>
                  </a:lnTo>
                  <a:lnTo>
                    <a:pt x="160" y="417"/>
                  </a:lnTo>
                  <a:lnTo>
                    <a:pt x="159" y="417"/>
                  </a:lnTo>
                  <a:lnTo>
                    <a:pt x="158" y="416"/>
                  </a:lnTo>
                  <a:lnTo>
                    <a:pt x="157" y="416"/>
                  </a:lnTo>
                  <a:lnTo>
                    <a:pt x="156" y="416"/>
                  </a:lnTo>
                  <a:lnTo>
                    <a:pt x="156" y="416"/>
                  </a:lnTo>
                  <a:lnTo>
                    <a:pt x="154" y="414"/>
                  </a:lnTo>
                  <a:lnTo>
                    <a:pt x="154" y="414"/>
                  </a:lnTo>
                  <a:lnTo>
                    <a:pt x="153" y="414"/>
                  </a:lnTo>
                  <a:lnTo>
                    <a:pt x="152" y="413"/>
                  </a:lnTo>
                  <a:lnTo>
                    <a:pt x="152" y="413"/>
                  </a:lnTo>
                  <a:lnTo>
                    <a:pt x="152" y="413"/>
                  </a:lnTo>
                  <a:lnTo>
                    <a:pt x="151" y="413"/>
                  </a:lnTo>
                  <a:lnTo>
                    <a:pt x="151" y="413"/>
                  </a:lnTo>
                  <a:lnTo>
                    <a:pt x="150" y="414"/>
                  </a:lnTo>
                  <a:lnTo>
                    <a:pt x="148" y="415"/>
                  </a:lnTo>
                  <a:lnTo>
                    <a:pt x="148" y="415"/>
                  </a:lnTo>
                  <a:lnTo>
                    <a:pt x="147" y="415"/>
                  </a:lnTo>
                  <a:lnTo>
                    <a:pt x="147" y="415"/>
                  </a:lnTo>
                  <a:lnTo>
                    <a:pt x="146" y="415"/>
                  </a:lnTo>
                  <a:lnTo>
                    <a:pt x="145" y="415"/>
                  </a:lnTo>
                  <a:lnTo>
                    <a:pt x="144" y="415"/>
                  </a:lnTo>
                  <a:lnTo>
                    <a:pt x="143" y="415"/>
                  </a:lnTo>
                  <a:lnTo>
                    <a:pt x="142" y="415"/>
                  </a:lnTo>
                  <a:lnTo>
                    <a:pt x="139" y="415"/>
                  </a:lnTo>
                  <a:lnTo>
                    <a:pt x="137" y="414"/>
                  </a:lnTo>
                  <a:lnTo>
                    <a:pt x="135" y="414"/>
                  </a:lnTo>
                  <a:lnTo>
                    <a:pt x="133" y="414"/>
                  </a:lnTo>
                  <a:lnTo>
                    <a:pt x="132" y="414"/>
                  </a:lnTo>
                  <a:lnTo>
                    <a:pt x="130" y="414"/>
                  </a:lnTo>
                  <a:lnTo>
                    <a:pt x="126" y="414"/>
                  </a:lnTo>
                  <a:lnTo>
                    <a:pt x="124" y="414"/>
                  </a:lnTo>
                  <a:lnTo>
                    <a:pt x="121" y="414"/>
                  </a:lnTo>
                  <a:lnTo>
                    <a:pt x="118" y="413"/>
                  </a:lnTo>
                  <a:lnTo>
                    <a:pt x="113" y="413"/>
                  </a:lnTo>
                  <a:lnTo>
                    <a:pt x="101" y="412"/>
                  </a:lnTo>
                  <a:lnTo>
                    <a:pt x="98" y="411"/>
                  </a:lnTo>
                  <a:lnTo>
                    <a:pt x="97" y="411"/>
                  </a:lnTo>
                  <a:lnTo>
                    <a:pt x="95" y="411"/>
                  </a:lnTo>
                  <a:lnTo>
                    <a:pt x="94" y="411"/>
                  </a:lnTo>
                  <a:lnTo>
                    <a:pt x="91" y="412"/>
                  </a:lnTo>
                  <a:lnTo>
                    <a:pt x="89" y="412"/>
                  </a:lnTo>
                  <a:lnTo>
                    <a:pt x="87" y="412"/>
                  </a:lnTo>
                  <a:lnTo>
                    <a:pt x="84" y="411"/>
                  </a:lnTo>
                  <a:lnTo>
                    <a:pt x="79" y="411"/>
                  </a:lnTo>
                  <a:lnTo>
                    <a:pt x="78" y="411"/>
                  </a:lnTo>
                  <a:lnTo>
                    <a:pt x="77" y="411"/>
                  </a:lnTo>
                  <a:lnTo>
                    <a:pt x="75" y="411"/>
                  </a:lnTo>
                  <a:lnTo>
                    <a:pt x="74" y="410"/>
                  </a:lnTo>
                  <a:lnTo>
                    <a:pt x="73" y="410"/>
                  </a:lnTo>
                  <a:lnTo>
                    <a:pt x="71" y="409"/>
                  </a:lnTo>
                  <a:lnTo>
                    <a:pt x="70" y="409"/>
                  </a:lnTo>
                  <a:lnTo>
                    <a:pt x="68" y="408"/>
                  </a:lnTo>
                  <a:lnTo>
                    <a:pt x="67" y="407"/>
                  </a:lnTo>
                  <a:lnTo>
                    <a:pt x="65" y="406"/>
                  </a:lnTo>
                  <a:lnTo>
                    <a:pt x="59" y="403"/>
                  </a:lnTo>
                  <a:lnTo>
                    <a:pt x="50" y="399"/>
                  </a:lnTo>
                  <a:lnTo>
                    <a:pt x="47" y="397"/>
                  </a:lnTo>
                  <a:lnTo>
                    <a:pt x="46" y="396"/>
                  </a:lnTo>
                  <a:lnTo>
                    <a:pt x="45" y="396"/>
                  </a:lnTo>
                  <a:lnTo>
                    <a:pt x="44" y="395"/>
                  </a:lnTo>
                  <a:lnTo>
                    <a:pt x="42" y="394"/>
                  </a:lnTo>
                  <a:lnTo>
                    <a:pt x="41" y="392"/>
                  </a:lnTo>
                  <a:lnTo>
                    <a:pt x="39" y="391"/>
                  </a:lnTo>
                  <a:lnTo>
                    <a:pt x="37" y="390"/>
                  </a:lnTo>
                  <a:lnTo>
                    <a:pt x="36" y="388"/>
                  </a:lnTo>
                  <a:lnTo>
                    <a:pt x="35" y="387"/>
                  </a:lnTo>
                  <a:lnTo>
                    <a:pt x="34" y="386"/>
                  </a:lnTo>
                  <a:lnTo>
                    <a:pt x="34" y="386"/>
                  </a:lnTo>
                  <a:lnTo>
                    <a:pt x="33" y="385"/>
                  </a:lnTo>
                  <a:lnTo>
                    <a:pt x="33" y="384"/>
                  </a:lnTo>
                  <a:lnTo>
                    <a:pt x="33" y="384"/>
                  </a:lnTo>
                  <a:lnTo>
                    <a:pt x="32" y="382"/>
                  </a:lnTo>
                  <a:lnTo>
                    <a:pt x="31" y="380"/>
                  </a:lnTo>
                  <a:lnTo>
                    <a:pt x="31" y="379"/>
                  </a:lnTo>
                  <a:lnTo>
                    <a:pt x="31" y="379"/>
                  </a:lnTo>
                  <a:lnTo>
                    <a:pt x="31" y="378"/>
                  </a:lnTo>
                  <a:lnTo>
                    <a:pt x="31" y="378"/>
                  </a:lnTo>
                  <a:lnTo>
                    <a:pt x="30" y="377"/>
                  </a:lnTo>
                  <a:lnTo>
                    <a:pt x="30" y="377"/>
                  </a:lnTo>
                  <a:lnTo>
                    <a:pt x="29" y="377"/>
                  </a:lnTo>
                  <a:lnTo>
                    <a:pt x="29" y="376"/>
                  </a:lnTo>
                  <a:lnTo>
                    <a:pt x="28" y="376"/>
                  </a:lnTo>
                  <a:lnTo>
                    <a:pt x="27" y="376"/>
                  </a:lnTo>
                  <a:lnTo>
                    <a:pt x="26" y="376"/>
                  </a:lnTo>
                  <a:lnTo>
                    <a:pt x="26" y="376"/>
                  </a:lnTo>
                  <a:lnTo>
                    <a:pt x="25" y="375"/>
                  </a:lnTo>
                  <a:lnTo>
                    <a:pt x="25" y="375"/>
                  </a:lnTo>
                  <a:lnTo>
                    <a:pt x="24" y="374"/>
                  </a:lnTo>
                  <a:lnTo>
                    <a:pt x="23" y="373"/>
                  </a:lnTo>
                  <a:lnTo>
                    <a:pt x="22" y="372"/>
                  </a:lnTo>
                  <a:lnTo>
                    <a:pt x="21" y="372"/>
                  </a:lnTo>
                  <a:lnTo>
                    <a:pt x="21" y="371"/>
                  </a:lnTo>
                  <a:lnTo>
                    <a:pt x="20" y="371"/>
                  </a:lnTo>
                  <a:lnTo>
                    <a:pt x="19" y="371"/>
                  </a:lnTo>
                  <a:lnTo>
                    <a:pt x="16" y="370"/>
                  </a:lnTo>
                  <a:lnTo>
                    <a:pt x="16" y="370"/>
                  </a:lnTo>
                  <a:lnTo>
                    <a:pt x="15" y="370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14" y="368"/>
                  </a:lnTo>
                  <a:lnTo>
                    <a:pt x="14" y="368"/>
                  </a:lnTo>
                  <a:lnTo>
                    <a:pt x="14" y="367"/>
                  </a:lnTo>
                  <a:lnTo>
                    <a:pt x="13" y="367"/>
                  </a:lnTo>
                  <a:lnTo>
                    <a:pt x="13" y="366"/>
                  </a:lnTo>
                  <a:lnTo>
                    <a:pt x="12" y="366"/>
                  </a:lnTo>
                  <a:lnTo>
                    <a:pt x="11" y="365"/>
                  </a:lnTo>
                  <a:lnTo>
                    <a:pt x="10" y="365"/>
                  </a:lnTo>
                  <a:lnTo>
                    <a:pt x="9" y="363"/>
                  </a:lnTo>
                  <a:lnTo>
                    <a:pt x="8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5" y="361"/>
                  </a:lnTo>
                  <a:lnTo>
                    <a:pt x="4" y="361"/>
                  </a:lnTo>
                  <a:lnTo>
                    <a:pt x="2" y="360"/>
                  </a:lnTo>
                  <a:lnTo>
                    <a:pt x="2" y="360"/>
                  </a:lnTo>
                  <a:lnTo>
                    <a:pt x="1" y="359"/>
                  </a:lnTo>
                  <a:lnTo>
                    <a:pt x="1" y="359"/>
                  </a:lnTo>
                  <a:lnTo>
                    <a:pt x="0" y="358"/>
                  </a:lnTo>
                  <a:lnTo>
                    <a:pt x="0" y="358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Freeform 33">
              <a:extLst>
                <a:ext uri="{FF2B5EF4-FFF2-40B4-BE49-F238E27FC236}">
                  <a16:creationId xmlns:a16="http://schemas.microsoft.com/office/drawing/2014/main" id="{153C335B-6DA2-B20A-BE7A-301911AD1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21"/>
              <a:ext cx="303" cy="362"/>
            </a:xfrm>
            <a:custGeom>
              <a:avLst/>
              <a:gdLst>
                <a:gd name="T0" fmla="*/ 88 w 303"/>
                <a:gd name="T1" fmla="*/ 354 h 362"/>
                <a:gd name="T2" fmla="*/ 71 w 303"/>
                <a:gd name="T3" fmla="*/ 357 h 362"/>
                <a:gd name="T4" fmla="*/ 57 w 303"/>
                <a:gd name="T5" fmla="*/ 362 h 362"/>
                <a:gd name="T6" fmla="*/ 34 w 303"/>
                <a:gd name="T7" fmla="*/ 351 h 362"/>
                <a:gd name="T8" fmla="*/ 10 w 303"/>
                <a:gd name="T9" fmla="*/ 342 h 362"/>
                <a:gd name="T10" fmla="*/ 4 w 303"/>
                <a:gd name="T11" fmla="*/ 331 h 362"/>
                <a:gd name="T12" fmla="*/ 6 w 303"/>
                <a:gd name="T13" fmla="*/ 328 h 362"/>
                <a:gd name="T14" fmla="*/ 11 w 303"/>
                <a:gd name="T15" fmla="*/ 323 h 362"/>
                <a:gd name="T16" fmla="*/ 16 w 303"/>
                <a:gd name="T17" fmla="*/ 318 h 362"/>
                <a:gd name="T18" fmla="*/ 26 w 303"/>
                <a:gd name="T19" fmla="*/ 321 h 362"/>
                <a:gd name="T20" fmla="*/ 34 w 303"/>
                <a:gd name="T21" fmla="*/ 319 h 362"/>
                <a:gd name="T22" fmla="*/ 45 w 303"/>
                <a:gd name="T23" fmla="*/ 312 h 362"/>
                <a:gd name="T24" fmla="*/ 56 w 303"/>
                <a:gd name="T25" fmla="*/ 316 h 362"/>
                <a:gd name="T26" fmla="*/ 66 w 303"/>
                <a:gd name="T27" fmla="*/ 307 h 362"/>
                <a:gd name="T28" fmla="*/ 78 w 303"/>
                <a:gd name="T29" fmla="*/ 297 h 362"/>
                <a:gd name="T30" fmla="*/ 93 w 303"/>
                <a:gd name="T31" fmla="*/ 290 h 362"/>
                <a:gd name="T32" fmla="*/ 102 w 303"/>
                <a:gd name="T33" fmla="*/ 286 h 362"/>
                <a:gd name="T34" fmla="*/ 107 w 303"/>
                <a:gd name="T35" fmla="*/ 279 h 362"/>
                <a:gd name="T36" fmla="*/ 116 w 303"/>
                <a:gd name="T37" fmla="*/ 277 h 362"/>
                <a:gd name="T38" fmla="*/ 126 w 303"/>
                <a:gd name="T39" fmla="*/ 271 h 362"/>
                <a:gd name="T40" fmla="*/ 134 w 303"/>
                <a:gd name="T41" fmla="*/ 278 h 362"/>
                <a:gd name="T42" fmla="*/ 146 w 303"/>
                <a:gd name="T43" fmla="*/ 278 h 362"/>
                <a:gd name="T44" fmla="*/ 159 w 303"/>
                <a:gd name="T45" fmla="*/ 277 h 362"/>
                <a:gd name="T46" fmla="*/ 178 w 303"/>
                <a:gd name="T47" fmla="*/ 273 h 362"/>
                <a:gd name="T48" fmla="*/ 180 w 303"/>
                <a:gd name="T49" fmla="*/ 265 h 362"/>
                <a:gd name="T50" fmla="*/ 196 w 303"/>
                <a:gd name="T51" fmla="*/ 260 h 362"/>
                <a:gd name="T52" fmla="*/ 205 w 303"/>
                <a:gd name="T53" fmla="*/ 255 h 362"/>
                <a:gd name="T54" fmla="*/ 212 w 303"/>
                <a:gd name="T55" fmla="*/ 246 h 362"/>
                <a:gd name="T56" fmla="*/ 207 w 303"/>
                <a:gd name="T57" fmla="*/ 236 h 362"/>
                <a:gd name="T58" fmla="*/ 203 w 303"/>
                <a:gd name="T59" fmla="*/ 230 h 362"/>
                <a:gd name="T60" fmla="*/ 210 w 303"/>
                <a:gd name="T61" fmla="*/ 225 h 362"/>
                <a:gd name="T62" fmla="*/ 209 w 303"/>
                <a:gd name="T63" fmla="*/ 215 h 362"/>
                <a:gd name="T64" fmla="*/ 219 w 303"/>
                <a:gd name="T65" fmla="*/ 208 h 362"/>
                <a:gd name="T66" fmla="*/ 217 w 303"/>
                <a:gd name="T67" fmla="*/ 200 h 362"/>
                <a:gd name="T68" fmla="*/ 210 w 303"/>
                <a:gd name="T69" fmla="*/ 192 h 362"/>
                <a:gd name="T70" fmla="*/ 213 w 303"/>
                <a:gd name="T71" fmla="*/ 181 h 362"/>
                <a:gd name="T72" fmla="*/ 222 w 303"/>
                <a:gd name="T73" fmla="*/ 172 h 362"/>
                <a:gd name="T74" fmla="*/ 217 w 303"/>
                <a:gd name="T75" fmla="*/ 163 h 362"/>
                <a:gd name="T76" fmla="*/ 223 w 303"/>
                <a:gd name="T77" fmla="*/ 151 h 362"/>
                <a:gd name="T78" fmla="*/ 221 w 303"/>
                <a:gd name="T79" fmla="*/ 146 h 362"/>
                <a:gd name="T80" fmla="*/ 213 w 303"/>
                <a:gd name="T81" fmla="*/ 141 h 362"/>
                <a:gd name="T82" fmla="*/ 210 w 303"/>
                <a:gd name="T83" fmla="*/ 134 h 362"/>
                <a:gd name="T84" fmla="*/ 206 w 303"/>
                <a:gd name="T85" fmla="*/ 123 h 362"/>
                <a:gd name="T86" fmla="*/ 212 w 303"/>
                <a:gd name="T87" fmla="*/ 105 h 362"/>
                <a:gd name="T88" fmla="*/ 220 w 303"/>
                <a:gd name="T89" fmla="*/ 95 h 362"/>
                <a:gd name="T90" fmla="*/ 234 w 303"/>
                <a:gd name="T91" fmla="*/ 91 h 362"/>
                <a:gd name="T92" fmla="*/ 233 w 303"/>
                <a:gd name="T93" fmla="*/ 86 h 362"/>
                <a:gd name="T94" fmla="*/ 228 w 303"/>
                <a:gd name="T95" fmla="*/ 82 h 362"/>
                <a:gd name="T96" fmla="*/ 238 w 303"/>
                <a:gd name="T97" fmla="*/ 77 h 362"/>
                <a:gd name="T98" fmla="*/ 243 w 303"/>
                <a:gd name="T99" fmla="*/ 82 h 362"/>
                <a:gd name="T100" fmla="*/ 249 w 303"/>
                <a:gd name="T101" fmla="*/ 81 h 362"/>
                <a:gd name="T102" fmla="*/ 250 w 303"/>
                <a:gd name="T103" fmla="*/ 71 h 362"/>
                <a:gd name="T104" fmla="*/ 245 w 303"/>
                <a:gd name="T105" fmla="*/ 63 h 362"/>
                <a:gd name="T106" fmla="*/ 253 w 303"/>
                <a:gd name="T107" fmla="*/ 61 h 362"/>
                <a:gd name="T108" fmla="*/ 260 w 303"/>
                <a:gd name="T109" fmla="*/ 50 h 362"/>
                <a:gd name="T110" fmla="*/ 253 w 303"/>
                <a:gd name="T111" fmla="*/ 42 h 362"/>
                <a:gd name="T112" fmla="*/ 250 w 303"/>
                <a:gd name="T113" fmla="*/ 35 h 362"/>
                <a:gd name="T114" fmla="*/ 255 w 303"/>
                <a:gd name="T115" fmla="*/ 25 h 362"/>
                <a:gd name="T116" fmla="*/ 264 w 303"/>
                <a:gd name="T117" fmla="*/ 17 h 362"/>
                <a:gd name="T118" fmla="*/ 272 w 303"/>
                <a:gd name="T119" fmla="*/ 18 h 362"/>
                <a:gd name="T120" fmla="*/ 290 w 303"/>
                <a:gd name="T121" fmla="*/ 18 h 362"/>
                <a:gd name="T122" fmla="*/ 299 w 303"/>
                <a:gd name="T123" fmla="*/ 13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3" h="362">
                  <a:moveTo>
                    <a:pt x="94" y="358"/>
                  </a:moveTo>
                  <a:lnTo>
                    <a:pt x="93" y="356"/>
                  </a:lnTo>
                  <a:lnTo>
                    <a:pt x="92" y="356"/>
                  </a:lnTo>
                  <a:lnTo>
                    <a:pt x="92" y="356"/>
                  </a:lnTo>
                  <a:lnTo>
                    <a:pt x="92" y="355"/>
                  </a:lnTo>
                  <a:lnTo>
                    <a:pt x="91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90" y="354"/>
                  </a:lnTo>
                  <a:lnTo>
                    <a:pt x="89" y="354"/>
                  </a:lnTo>
                  <a:lnTo>
                    <a:pt x="88" y="354"/>
                  </a:lnTo>
                  <a:lnTo>
                    <a:pt x="85" y="354"/>
                  </a:lnTo>
                  <a:lnTo>
                    <a:pt x="83" y="354"/>
                  </a:lnTo>
                  <a:lnTo>
                    <a:pt x="81" y="354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6" y="355"/>
                  </a:lnTo>
                  <a:lnTo>
                    <a:pt x="75" y="355"/>
                  </a:lnTo>
                  <a:lnTo>
                    <a:pt x="74" y="355"/>
                  </a:lnTo>
                  <a:lnTo>
                    <a:pt x="73" y="356"/>
                  </a:lnTo>
                  <a:lnTo>
                    <a:pt x="72" y="356"/>
                  </a:lnTo>
                  <a:lnTo>
                    <a:pt x="71" y="357"/>
                  </a:lnTo>
                  <a:lnTo>
                    <a:pt x="68" y="359"/>
                  </a:lnTo>
                  <a:lnTo>
                    <a:pt x="67" y="360"/>
                  </a:lnTo>
                  <a:lnTo>
                    <a:pt x="66" y="360"/>
                  </a:lnTo>
                  <a:lnTo>
                    <a:pt x="65" y="361"/>
                  </a:lnTo>
                  <a:lnTo>
                    <a:pt x="64" y="361"/>
                  </a:lnTo>
                  <a:lnTo>
                    <a:pt x="63" y="361"/>
                  </a:lnTo>
                  <a:lnTo>
                    <a:pt x="62" y="362"/>
                  </a:lnTo>
                  <a:lnTo>
                    <a:pt x="61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7" y="362"/>
                  </a:lnTo>
                  <a:lnTo>
                    <a:pt x="54" y="362"/>
                  </a:lnTo>
                  <a:lnTo>
                    <a:pt x="48" y="361"/>
                  </a:lnTo>
                  <a:lnTo>
                    <a:pt x="47" y="360"/>
                  </a:lnTo>
                  <a:lnTo>
                    <a:pt x="45" y="360"/>
                  </a:lnTo>
                  <a:lnTo>
                    <a:pt x="44" y="359"/>
                  </a:lnTo>
                  <a:lnTo>
                    <a:pt x="43" y="359"/>
                  </a:lnTo>
                  <a:lnTo>
                    <a:pt x="42" y="358"/>
                  </a:lnTo>
                  <a:lnTo>
                    <a:pt x="40" y="357"/>
                  </a:lnTo>
                  <a:lnTo>
                    <a:pt x="39" y="356"/>
                  </a:lnTo>
                  <a:lnTo>
                    <a:pt x="35" y="352"/>
                  </a:lnTo>
                  <a:lnTo>
                    <a:pt x="34" y="351"/>
                  </a:lnTo>
                  <a:lnTo>
                    <a:pt x="33" y="350"/>
                  </a:lnTo>
                  <a:lnTo>
                    <a:pt x="31" y="350"/>
                  </a:lnTo>
                  <a:lnTo>
                    <a:pt x="30" y="349"/>
                  </a:lnTo>
                  <a:lnTo>
                    <a:pt x="27" y="348"/>
                  </a:lnTo>
                  <a:lnTo>
                    <a:pt x="24" y="346"/>
                  </a:lnTo>
                  <a:lnTo>
                    <a:pt x="23" y="345"/>
                  </a:lnTo>
                  <a:lnTo>
                    <a:pt x="21" y="344"/>
                  </a:lnTo>
                  <a:lnTo>
                    <a:pt x="20" y="344"/>
                  </a:lnTo>
                  <a:lnTo>
                    <a:pt x="18" y="343"/>
                  </a:lnTo>
                  <a:lnTo>
                    <a:pt x="12" y="342"/>
                  </a:lnTo>
                  <a:lnTo>
                    <a:pt x="10" y="342"/>
                  </a:lnTo>
                  <a:lnTo>
                    <a:pt x="9" y="342"/>
                  </a:lnTo>
                  <a:lnTo>
                    <a:pt x="7" y="341"/>
                  </a:lnTo>
                  <a:lnTo>
                    <a:pt x="5" y="341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1" y="336"/>
                  </a:lnTo>
                  <a:lnTo>
                    <a:pt x="2" y="333"/>
                  </a:lnTo>
                  <a:lnTo>
                    <a:pt x="2" y="332"/>
                  </a:lnTo>
                  <a:lnTo>
                    <a:pt x="3" y="332"/>
                  </a:lnTo>
                  <a:lnTo>
                    <a:pt x="3" y="332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5" y="331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6" y="329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7" y="327"/>
                  </a:lnTo>
                  <a:lnTo>
                    <a:pt x="8" y="326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9" y="323"/>
                  </a:lnTo>
                  <a:lnTo>
                    <a:pt x="10" y="323"/>
                  </a:lnTo>
                  <a:lnTo>
                    <a:pt x="10" y="323"/>
                  </a:lnTo>
                  <a:lnTo>
                    <a:pt x="11" y="323"/>
                  </a:lnTo>
                  <a:lnTo>
                    <a:pt x="11" y="323"/>
                  </a:lnTo>
                  <a:lnTo>
                    <a:pt x="11" y="322"/>
                  </a:lnTo>
                  <a:lnTo>
                    <a:pt x="13" y="321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19"/>
                  </a:lnTo>
                  <a:lnTo>
                    <a:pt x="14" y="319"/>
                  </a:lnTo>
                  <a:lnTo>
                    <a:pt x="14" y="319"/>
                  </a:lnTo>
                  <a:lnTo>
                    <a:pt x="15" y="318"/>
                  </a:lnTo>
                  <a:lnTo>
                    <a:pt x="16" y="318"/>
                  </a:lnTo>
                  <a:lnTo>
                    <a:pt x="17" y="318"/>
                  </a:lnTo>
                  <a:lnTo>
                    <a:pt x="18" y="318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2" y="318"/>
                  </a:lnTo>
                  <a:lnTo>
                    <a:pt x="23" y="319"/>
                  </a:lnTo>
                  <a:lnTo>
                    <a:pt x="25" y="320"/>
                  </a:lnTo>
                  <a:lnTo>
                    <a:pt x="25" y="321"/>
                  </a:lnTo>
                  <a:lnTo>
                    <a:pt x="26" y="321"/>
                  </a:lnTo>
                  <a:lnTo>
                    <a:pt x="27" y="321"/>
                  </a:lnTo>
                  <a:lnTo>
                    <a:pt x="28" y="322"/>
                  </a:lnTo>
                  <a:lnTo>
                    <a:pt x="29" y="322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2" y="321"/>
                  </a:lnTo>
                  <a:lnTo>
                    <a:pt x="32" y="321"/>
                  </a:lnTo>
                  <a:lnTo>
                    <a:pt x="33" y="320"/>
                  </a:lnTo>
                  <a:lnTo>
                    <a:pt x="34" y="319"/>
                  </a:lnTo>
                  <a:lnTo>
                    <a:pt x="34" y="319"/>
                  </a:lnTo>
                  <a:lnTo>
                    <a:pt x="35" y="317"/>
                  </a:lnTo>
                  <a:lnTo>
                    <a:pt x="37" y="314"/>
                  </a:lnTo>
                  <a:lnTo>
                    <a:pt x="38" y="314"/>
                  </a:lnTo>
                  <a:lnTo>
                    <a:pt x="38" y="314"/>
                  </a:lnTo>
                  <a:lnTo>
                    <a:pt x="38" y="313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0" y="313"/>
                  </a:lnTo>
                  <a:lnTo>
                    <a:pt x="41" y="313"/>
                  </a:lnTo>
                  <a:lnTo>
                    <a:pt x="45" y="312"/>
                  </a:lnTo>
                  <a:lnTo>
                    <a:pt x="46" y="312"/>
                  </a:lnTo>
                  <a:lnTo>
                    <a:pt x="47" y="312"/>
                  </a:lnTo>
                  <a:lnTo>
                    <a:pt x="48" y="312"/>
                  </a:lnTo>
                  <a:lnTo>
                    <a:pt x="49" y="313"/>
                  </a:lnTo>
                  <a:lnTo>
                    <a:pt x="50" y="313"/>
                  </a:lnTo>
                  <a:lnTo>
                    <a:pt x="51" y="314"/>
                  </a:lnTo>
                  <a:lnTo>
                    <a:pt x="52" y="314"/>
                  </a:lnTo>
                  <a:lnTo>
                    <a:pt x="54" y="316"/>
                  </a:lnTo>
                  <a:lnTo>
                    <a:pt x="55" y="316"/>
                  </a:lnTo>
                  <a:lnTo>
                    <a:pt x="56" y="316"/>
                  </a:lnTo>
                  <a:lnTo>
                    <a:pt x="56" y="316"/>
                  </a:lnTo>
                  <a:lnTo>
                    <a:pt x="57" y="316"/>
                  </a:lnTo>
                  <a:lnTo>
                    <a:pt x="57" y="316"/>
                  </a:lnTo>
                  <a:lnTo>
                    <a:pt x="58" y="316"/>
                  </a:lnTo>
                  <a:lnTo>
                    <a:pt x="58" y="316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1" y="313"/>
                  </a:lnTo>
                  <a:lnTo>
                    <a:pt x="62" y="311"/>
                  </a:lnTo>
                  <a:lnTo>
                    <a:pt x="62" y="311"/>
                  </a:lnTo>
                  <a:lnTo>
                    <a:pt x="64" y="309"/>
                  </a:lnTo>
                  <a:lnTo>
                    <a:pt x="66" y="307"/>
                  </a:lnTo>
                  <a:lnTo>
                    <a:pt x="66" y="307"/>
                  </a:lnTo>
                  <a:lnTo>
                    <a:pt x="67" y="306"/>
                  </a:lnTo>
                  <a:lnTo>
                    <a:pt x="68" y="306"/>
                  </a:lnTo>
                  <a:lnTo>
                    <a:pt x="69" y="305"/>
                  </a:lnTo>
                  <a:lnTo>
                    <a:pt x="71" y="304"/>
                  </a:lnTo>
                  <a:lnTo>
                    <a:pt x="72" y="303"/>
                  </a:lnTo>
                  <a:lnTo>
                    <a:pt x="73" y="302"/>
                  </a:lnTo>
                  <a:lnTo>
                    <a:pt x="74" y="301"/>
                  </a:lnTo>
                  <a:lnTo>
                    <a:pt x="75" y="300"/>
                  </a:lnTo>
                  <a:lnTo>
                    <a:pt x="77" y="299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81" y="294"/>
                  </a:lnTo>
                  <a:lnTo>
                    <a:pt x="82" y="293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8" y="291"/>
                  </a:lnTo>
                  <a:lnTo>
                    <a:pt x="89" y="290"/>
                  </a:lnTo>
                  <a:lnTo>
                    <a:pt x="91" y="290"/>
                  </a:lnTo>
                  <a:lnTo>
                    <a:pt x="93" y="290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9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1" y="288"/>
                  </a:lnTo>
                  <a:lnTo>
                    <a:pt x="101" y="287"/>
                  </a:lnTo>
                  <a:lnTo>
                    <a:pt x="101" y="287"/>
                  </a:lnTo>
                  <a:lnTo>
                    <a:pt x="102" y="286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4" y="281"/>
                  </a:lnTo>
                  <a:lnTo>
                    <a:pt x="104" y="280"/>
                  </a:lnTo>
                  <a:lnTo>
                    <a:pt x="105" y="280"/>
                  </a:lnTo>
                  <a:lnTo>
                    <a:pt x="105" y="280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4" y="278"/>
                  </a:lnTo>
                  <a:lnTo>
                    <a:pt x="115" y="278"/>
                  </a:lnTo>
                  <a:lnTo>
                    <a:pt x="115" y="277"/>
                  </a:lnTo>
                  <a:lnTo>
                    <a:pt x="116" y="277"/>
                  </a:lnTo>
                  <a:lnTo>
                    <a:pt x="117" y="276"/>
                  </a:lnTo>
                  <a:lnTo>
                    <a:pt x="119" y="274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3"/>
                  </a:lnTo>
                  <a:lnTo>
                    <a:pt x="121" y="272"/>
                  </a:lnTo>
                  <a:lnTo>
                    <a:pt x="123" y="272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6" y="271"/>
                  </a:lnTo>
                  <a:lnTo>
                    <a:pt x="126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29" y="273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1" y="276"/>
                  </a:lnTo>
                  <a:lnTo>
                    <a:pt x="132" y="276"/>
                  </a:lnTo>
                  <a:lnTo>
                    <a:pt x="134" y="278"/>
                  </a:lnTo>
                  <a:lnTo>
                    <a:pt x="135" y="279"/>
                  </a:lnTo>
                  <a:lnTo>
                    <a:pt x="136" y="279"/>
                  </a:lnTo>
                  <a:lnTo>
                    <a:pt x="137" y="280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9" y="280"/>
                  </a:lnTo>
                  <a:lnTo>
                    <a:pt x="141" y="280"/>
                  </a:lnTo>
                  <a:lnTo>
                    <a:pt x="142" y="280"/>
                  </a:lnTo>
                  <a:lnTo>
                    <a:pt x="143" y="279"/>
                  </a:lnTo>
                  <a:lnTo>
                    <a:pt x="144" y="279"/>
                  </a:lnTo>
                  <a:lnTo>
                    <a:pt x="146" y="278"/>
                  </a:lnTo>
                  <a:lnTo>
                    <a:pt x="147" y="277"/>
                  </a:lnTo>
                  <a:lnTo>
                    <a:pt x="148" y="276"/>
                  </a:lnTo>
                  <a:lnTo>
                    <a:pt x="149" y="276"/>
                  </a:lnTo>
                  <a:lnTo>
                    <a:pt x="149" y="275"/>
                  </a:lnTo>
                  <a:lnTo>
                    <a:pt x="150" y="275"/>
                  </a:lnTo>
                  <a:lnTo>
                    <a:pt x="151" y="275"/>
                  </a:lnTo>
                  <a:lnTo>
                    <a:pt x="152" y="275"/>
                  </a:lnTo>
                  <a:lnTo>
                    <a:pt x="154" y="276"/>
                  </a:lnTo>
                  <a:lnTo>
                    <a:pt x="155" y="276"/>
                  </a:lnTo>
                  <a:lnTo>
                    <a:pt x="158" y="276"/>
                  </a:lnTo>
                  <a:lnTo>
                    <a:pt x="159" y="277"/>
                  </a:lnTo>
                  <a:lnTo>
                    <a:pt x="161" y="277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4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8" y="273"/>
                  </a:lnTo>
                  <a:lnTo>
                    <a:pt x="179" y="273"/>
                  </a:lnTo>
                  <a:lnTo>
                    <a:pt x="179" y="272"/>
                  </a:lnTo>
                  <a:lnTo>
                    <a:pt x="179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68"/>
                  </a:lnTo>
                  <a:lnTo>
                    <a:pt x="180" y="267"/>
                  </a:lnTo>
                  <a:lnTo>
                    <a:pt x="180" y="266"/>
                  </a:lnTo>
                  <a:lnTo>
                    <a:pt x="180" y="265"/>
                  </a:lnTo>
                  <a:lnTo>
                    <a:pt x="181" y="265"/>
                  </a:lnTo>
                  <a:lnTo>
                    <a:pt x="181" y="264"/>
                  </a:lnTo>
                  <a:lnTo>
                    <a:pt x="182" y="263"/>
                  </a:lnTo>
                  <a:lnTo>
                    <a:pt x="183" y="263"/>
                  </a:lnTo>
                  <a:lnTo>
                    <a:pt x="184" y="262"/>
                  </a:lnTo>
                  <a:lnTo>
                    <a:pt x="185" y="262"/>
                  </a:lnTo>
                  <a:lnTo>
                    <a:pt x="186" y="261"/>
                  </a:lnTo>
                  <a:lnTo>
                    <a:pt x="188" y="261"/>
                  </a:lnTo>
                  <a:lnTo>
                    <a:pt x="189" y="261"/>
                  </a:lnTo>
                  <a:lnTo>
                    <a:pt x="193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1" y="259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3" y="257"/>
                  </a:lnTo>
                  <a:lnTo>
                    <a:pt x="203" y="257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05" y="255"/>
                  </a:lnTo>
                  <a:lnTo>
                    <a:pt x="206" y="254"/>
                  </a:lnTo>
                  <a:lnTo>
                    <a:pt x="206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7" y="250"/>
                  </a:lnTo>
                  <a:lnTo>
                    <a:pt x="208" y="250"/>
                  </a:lnTo>
                  <a:lnTo>
                    <a:pt x="208" y="249"/>
                  </a:lnTo>
                  <a:lnTo>
                    <a:pt x="210" y="247"/>
                  </a:lnTo>
                  <a:lnTo>
                    <a:pt x="211" y="247"/>
                  </a:lnTo>
                  <a:lnTo>
                    <a:pt x="211" y="246"/>
                  </a:lnTo>
                  <a:lnTo>
                    <a:pt x="212" y="246"/>
                  </a:lnTo>
                  <a:lnTo>
                    <a:pt x="212" y="245"/>
                  </a:lnTo>
                  <a:lnTo>
                    <a:pt x="212" y="245"/>
                  </a:lnTo>
                  <a:lnTo>
                    <a:pt x="212" y="244"/>
                  </a:lnTo>
                  <a:lnTo>
                    <a:pt x="212" y="243"/>
                  </a:lnTo>
                  <a:lnTo>
                    <a:pt x="212" y="243"/>
                  </a:lnTo>
                  <a:lnTo>
                    <a:pt x="212" y="242"/>
                  </a:lnTo>
                  <a:lnTo>
                    <a:pt x="212" y="241"/>
                  </a:lnTo>
                  <a:lnTo>
                    <a:pt x="211" y="241"/>
                  </a:lnTo>
                  <a:lnTo>
                    <a:pt x="210" y="240"/>
                  </a:lnTo>
                  <a:lnTo>
                    <a:pt x="209" y="239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4" y="234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3" y="232"/>
                  </a:lnTo>
                  <a:lnTo>
                    <a:pt x="202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30"/>
                  </a:lnTo>
                  <a:lnTo>
                    <a:pt x="205" y="230"/>
                  </a:lnTo>
                  <a:lnTo>
                    <a:pt x="206" y="229"/>
                  </a:lnTo>
                  <a:lnTo>
                    <a:pt x="207" y="229"/>
                  </a:lnTo>
                  <a:lnTo>
                    <a:pt x="207" y="228"/>
                  </a:lnTo>
                  <a:lnTo>
                    <a:pt x="208" y="228"/>
                  </a:lnTo>
                  <a:lnTo>
                    <a:pt x="208" y="227"/>
                  </a:lnTo>
                  <a:lnTo>
                    <a:pt x="209" y="227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0" y="225"/>
                  </a:lnTo>
                  <a:lnTo>
                    <a:pt x="210" y="224"/>
                  </a:lnTo>
                  <a:lnTo>
                    <a:pt x="210" y="224"/>
                  </a:lnTo>
                  <a:lnTo>
                    <a:pt x="209" y="223"/>
                  </a:lnTo>
                  <a:lnTo>
                    <a:pt x="209" y="222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08" y="218"/>
                  </a:lnTo>
                  <a:lnTo>
                    <a:pt x="208" y="217"/>
                  </a:lnTo>
                  <a:lnTo>
                    <a:pt x="209" y="217"/>
                  </a:lnTo>
                  <a:lnTo>
                    <a:pt x="209" y="216"/>
                  </a:lnTo>
                  <a:lnTo>
                    <a:pt x="209" y="215"/>
                  </a:lnTo>
                  <a:lnTo>
                    <a:pt x="210" y="215"/>
                  </a:lnTo>
                  <a:lnTo>
                    <a:pt x="210" y="214"/>
                  </a:lnTo>
                  <a:lnTo>
                    <a:pt x="211" y="214"/>
                  </a:lnTo>
                  <a:lnTo>
                    <a:pt x="211" y="213"/>
                  </a:lnTo>
                  <a:lnTo>
                    <a:pt x="212" y="213"/>
                  </a:lnTo>
                  <a:lnTo>
                    <a:pt x="214" y="212"/>
                  </a:lnTo>
                  <a:lnTo>
                    <a:pt x="215" y="211"/>
                  </a:lnTo>
                  <a:lnTo>
                    <a:pt x="216" y="211"/>
                  </a:lnTo>
                  <a:lnTo>
                    <a:pt x="217" y="210"/>
                  </a:lnTo>
                  <a:lnTo>
                    <a:pt x="218" y="209"/>
                  </a:lnTo>
                  <a:lnTo>
                    <a:pt x="219" y="208"/>
                  </a:lnTo>
                  <a:lnTo>
                    <a:pt x="219" y="208"/>
                  </a:lnTo>
                  <a:lnTo>
                    <a:pt x="219" y="207"/>
                  </a:lnTo>
                  <a:lnTo>
                    <a:pt x="219" y="206"/>
                  </a:lnTo>
                  <a:lnTo>
                    <a:pt x="219" y="205"/>
                  </a:lnTo>
                  <a:lnTo>
                    <a:pt x="219" y="203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18" y="201"/>
                  </a:lnTo>
                  <a:lnTo>
                    <a:pt x="218" y="201"/>
                  </a:lnTo>
                  <a:lnTo>
                    <a:pt x="218" y="200"/>
                  </a:lnTo>
                  <a:lnTo>
                    <a:pt x="217" y="200"/>
                  </a:lnTo>
                  <a:lnTo>
                    <a:pt x="217" y="199"/>
                  </a:lnTo>
                  <a:lnTo>
                    <a:pt x="217" y="198"/>
                  </a:lnTo>
                  <a:lnTo>
                    <a:pt x="215" y="198"/>
                  </a:lnTo>
                  <a:lnTo>
                    <a:pt x="213" y="196"/>
                  </a:lnTo>
                  <a:lnTo>
                    <a:pt x="212" y="195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10" y="191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0" y="188"/>
                  </a:lnTo>
                  <a:lnTo>
                    <a:pt x="210" y="187"/>
                  </a:lnTo>
                  <a:lnTo>
                    <a:pt x="211" y="186"/>
                  </a:lnTo>
                  <a:lnTo>
                    <a:pt x="211" y="185"/>
                  </a:lnTo>
                  <a:lnTo>
                    <a:pt x="212" y="184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3" y="181"/>
                  </a:lnTo>
                  <a:lnTo>
                    <a:pt x="214" y="180"/>
                  </a:lnTo>
                  <a:lnTo>
                    <a:pt x="215" y="178"/>
                  </a:lnTo>
                  <a:lnTo>
                    <a:pt x="216" y="178"/>
                  </a:lnTo>
                  <a:lnTo>
                    <a:pt x="217" y="177"/>
                  </a:lnTo>
                  <a:lnTo>
                    <a:pt x="219" y="175"/>
                  </a:lnTo>
                  <a:lnTo>
                    <a:pt x="220" y="175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3"/>
                  </a:lnTo>
                  <a:lnTo>
                    <a:pt x="222" y="173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2" y="171"/>
                  </a:lnTo>
                  <a:lnTo>
                    <a:pt x="221" y="171"/>
                  </a:lnTo>
                  <a:lnTo>
                    <a:pt x="221" y="170"/>
                  </a:lnTo>
                  <a:lnTo>
                    <a:pt x="221" y="169"/>
                  </a:lnTo>
                  <a:lnTo>
                    <a:pt x="220" y="168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7" y="165"/>
                  </a:lnTo>
                  <a:lnTo>
                    <a:pt x="217" y="164"/>
                  </a:lnTo>
                  <a:lnTo>
                    <a:pt x="217" y="163"/>
                  </a:lnTo>
                  <a:lnTo>
                    <a:pt x="217" y="163"/>
                  </a:lnTo>
                  <a:lnTo>
                    <a:pt x="217" y="162"/>
                  </a:lnTo>
                  <a:lnTo>
                    <a:pt x="217" y="161"/>
                  </a:lnTo>
                  <a:lnTo>
                    <a:pt x="217" y="160"/>
                  </a:lnTo>
                  <a:lnTo>
                    <a:pt x="217" y="159"/>
                  </a:lnTo>
                  <a:lnTo>
                    <a:pt x="218" y="159"/>
                  </a:lnTo>
                  <a:lnTo>
                    <a:pt x="218" y="158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3" y="151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8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2" y="147"/>
                  </a:lnTo>
                  <a:lnTo>
                    <a:pt x="222" y="146"/>
                  </a:lnTo>
                  <a:lnTo>
                    <a:pt x="222" y="146"/>
                  </a:lnTo>
                  <a:lnTo>
                    <a:pt x="221" y="146"/>
                  </a:lnTo>
                  <a:lnTo>
                    <a:pt x="218" y="145"/>
                  </a:lnTo>
                  <a:lnTo>
                    <a:pt x="217" y="145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5" y="144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0"/>
                  </a:lnTo>
                  <a:lnTo>
                    <a:pt x="215" y="140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8"/>
                  </a:lnTo>
                  <a:lnTo>
                    <a:pt x="215" y="138"/>
                  </a:lnTo>
                  <a:lnTo>
                    <a:pt x="215" y="138"/>
                  </a:lnTo>
                  <a:lnTo>
                    <a:pt x="210" y="134"/>
                  </a:lnTo>
                  <a:lnTo>
                    <a:pt x="207" y="132"/>
                  </a:lnTo>
                  <a:lnTo>
                    <a:pt x="206" y="131"/>
                  </a:lnTo>
                  <a:lnTo>
                    <a:pt x="206" y="131"/>
                  </a:lnTo>
                  <a:lnTo>
                    <a:pt x="205" y="130"/>
                  </a:lnTo>
                  <a:lnTo>
                    <a:pt x="205" y="130"/>
                  </a:lnTo>
                  <a:lnTo>
                    <a:pt x="205" y="129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7"/>
                  </a:lnTo>
                  <a:lnTo>
                    <a:pt x="205" y="126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6" y="119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3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8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4"/>
                  </a:lnTo>
                  <a:lnTo>
                    <a:pt x="214" y="101"/>
                  </a:lnTo>
                  <a:lnTo>
                    <a:pt x="215" y="100"/>
                  </a:lnTo>
                  <a:lnTo>
                    <a:pt x="216" y="99"/>
                  </a:lnTo>
                  <a:lnTo>
                    <a:pt x="216" y="98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20" y="95"/>
                  </a:lnTo>
                  <a:lnTo>
                    <a:pt x="221" y="95"/>
                  </a:lnTo>
                  <a:lnTo>
                    <a:pt x="222" y="95"/>
                  </a:lnTo>
                  <a:lnTo>
                    <a:pt x="223" y="94"/>
                  </a:lnTo>
                  <a:lnTo>
                    <a:pt x="226" y="94"/>
                  </a:lnTo>
                  <a:lnTo>
                    <a:pt x="228" y="94"/>
                  </a:lnTo>
                  <a:lnTo>
                    <a:pt x="230" y="93"/>
                  </a:lnTo>
                  <a:lnTo>
                    <a:pt x="231" y="93"/>
                  </a:lnTo>
                  <a:lnTo>
                    <a:pt x="232" y="93"/>
                  </a:lnTo>
                  <a:lnTo>
                    <a:pt x="233" y="92"/>
                  </a:lnTo>
                  <a:lnTo>
                    <a:pt x="234" y="92"/>
                  </a:lnTo>
                  <a:lnTo>
                    <a:pt x="234" y="91"/>
                  </a:lnTo>
                  <a:lnTo>
                    <a:pt x="235" y="91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8"/>
                  </a:lnTo>
                  <a:lnTo>
                    <a:pt x="235" y="88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3" y="87"/>
                  </a:lnTo>
                  <a:lnTo>
                    <a:pt x="233" y="86"/>
                  </a:lnTo>
                  <a:lnTo>
                    <a:pt x="232" y="86"/>
                  </a:lnTo>
                  <a:lnTo>
                    <a:pt x="231" y="86"/>
                  </a:lnTo>
                  <a:lnTo>
                    <a:pt x="229" y="85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3"/>
                  </a:lnTo>
                  <a:lnTo>
                    <a:pt x="228" y="83"/>
                  </a:lnTo>
                  <a:lnTo>
                    <a:pt x="228" y="82"/>
                  </a:lnTo>
                  <a:lnTo>
                    <a:pt x="229" y="81"/>
                  </a:lnTo>
                  <a:lnTo>
                    <a:pt x="231" y="80"/>
                  </a:lnTo>
                  <a:lnTo>
                    <a:pt x="231" y="79"/>
                  </a:lnTo>
                  <a:lnTo>
                    <a:pt x="232" y="79"/>
                  </a:lnTo>
                  <a:lnTo>
                    <a:pt x="233" y="78"/>
                  </a:lnTo>
                  <a:lnTo>
                    <a:pt x="234" y="77"/>
                  </a:lnTo>
                  <a:lnTo>
                    <a:pt x="235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7" y="77"/>
                  </a:lnTo>
                  <a:lnTo>
                    <a:pt x="238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0" y="77"/>
                  </a:lnTo>
                  <a:lnTo>
                    <a:pt x="240" y="78"/>
                  </a:lnTo>
                  <a:lnTo>
                    <a:pt x="241" y="78"/>
                  </a:lnTo>
                  <a:lnTo>
                    <a:pt x="241" y="79"/>
                  </a:lnTo>
                  <a:lnTo>
                    <a:pt x="242" y="80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3" y="82"/>
                  </a:lnTo>
                  <a:lnTo>
                    <a:pt x="243" y="82"/>
                  </a:lnTo>
                  <a:lnTo>
                    <a:pt x="244" y="83"/>
                  </a:lnTo>
                  <a:lnTo>
                    <a:pt x="244" y="83"/>
                  </a:lnTo>
                  <a:lnTo>
                    <a:pt x="245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8" y="82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1"/>
                  </a:lnTo>
                  <a:lnTo>
                    <a:pt x="250" y="80"/>
                  </a:lnTo>
                  <a:lnTo>
                    <a:pt x="250" y="78"/>
                  </a:lnTo>
                  <a:lnTo>
                    <a:pt x="251" y="77"/>
                  </a:lnTo>
                  <a:lnTo>
                    <a:pt x="251" y="76"/>
                  </a:lnTo>
                  <a:lnTo>
                    <a:pt x="251" y="75"/>
                  </a:lnTo>
                  <a:lnTo>
                    <a:pt x="251" y="75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3"/>
                  </a:lnTo>
                  <a:lnTo>
                    <a:pt x="251" y="72"/>
                  </a:lnTo>
                  <a:lnTo>
                    <a:pt x="250" y="71"/>
                  </a:lnTo>
                  <a:lnTo>
                    <a:pt x="249" y="70"/>
                  </a:lnTo>
                  <a:lnTo>
                    <a:pt x="249" y="69"/>
                  </a:lnTo>
                  <a:lnTo>
                    <a:pt x="247" y="68"/>
                  </a:lnTo>
                  <a:lnTo>
                    <a:pt x="247" y="67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5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3"/>
                  </a:lnTo>
                  <a:lnTo>
                    <a:pt x="249" y="63"/>
                  </a:lnTo>
                  <a:lnTo>
                    <a:pt x="249" y="63"/>
                  </a:lnTo>
                  <a:lnTo>
                    <a:pt x="250" y="63"/>
                  </a:lnTo>
                  <a:lnTo>
                    <a:pt x="251" y="62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4" y="61"/>
                  </a:lnTo>
                  <a:lnTo>
                    <a:pt x="255" y="59"/>
                  </a:lnTo>
                  <a:lnTo>
                    <a:pt x="256" y="58"/>
                  </a:lnTo>
                  <a:lnTo>
                    <a:pt x="257" y="57"/>
                  </a:lnTo>
                  <a:lnTo>
                    <a:pt x="258" y="55"/>
                  </a:lnTo>
                  <a:lnTo>
                    <a:pt x="258" y="54"/>
                  </a:lnTo>
                  <a:lnTo>
                    <a:pt x="259" y="53"/>
                  </a:lnTo>
                  <a:lnTo>
                    <a:pt x="259" y="52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7" y="45"/>
                  </a:lnTo>
                  <a:lnTo>
                    <a:pt x="257" y="44"/>
                  </a:lnTo>
                  <a:lnTo>
                    <a:pt x="256" y="44"/>
                  </a:lnTo>
                  <a:lnTo>
                    <a:pt x="253" y="42"/>
                  </a:lnTo>
                  <a:lnTo>
                    <a:pt x="253" y="42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51" y="40"/>
                  </a:lnTo>
                  <a:lnTo>
                    <a:pt x="250" y="39"/>
                  </a:lnTo>
                  <a:lnTo>
                    <a:pt x="250" y="38"/>
                  </a:lnTo>
                  <a:lnTo>
                    <a:pt x="250" y="38"/>
                  </a:lnTo>
                  <a:lnTo>
                    <a:pt x="250" y="37"/>
                  </a:lnTo>
                  <a:lnTo>
                    <a:pt x="250" y="37"/>
                  </a:lnTo>
                  <a:lnTo>
                    <a:pt x="250" y="36"/>
                  </a:lnTo>
                  <a:lnTo>
                    <a:pt x="250" y="35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6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57" y="23"/>
                  </a:lnTo>
                  <a:lnTo>
                    <a:pt x="259" y="22"/>
                  </a:lnTo>
                  <a:lnTo>
                    <a:pt x="260" y="21"/>
                  </a:lnTo>
                  <a:lnTo>
                    <a:pt x="261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8"/>
                  </a:lnTo>
                  <a:lnTo>
                    <a:pt x="264" y="17"/>
                  </a:lnTo>
                  <a:lnTo>
                    <a:pt x="265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1" y="18"/>
                  </a:lnTo>
                  <a:lnTo>
                    <a:pt x="272" y="18"/>
                  </a:lnTo>
                  <a:lnTo>
                    <a:pt x="273" y="18"/>
                  </a:lnTo>
                  <a:lnTo>
                    <a:pt x="275" y="18"/>
                  </a:lnTo>
                  <a:lnTo>
                    <a:pt x="277" y="17"/>
                  </a:lnTo>
                  <a:lnTo>
                    <a:pt x="280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7" y="18"/>
                  </a:lnTo>
                  <a:lnTo>
                    <a:pt x="289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5" y="18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8" y="16"/>
                  </a:lnTo>
                  <a:lnTo>
                    <a:pt x="298" y="15"/>
                  </a:lnTo>
                  <a:lnTo>
                    <a:pt x="298" y="14"/>
                  </a:lnTo>
                  <a:lnTo>
                    <a:pt x="299" y="13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2" y="2"/>
                  </a:lnTo>
                  <a:lnTo>
                    <a:pt x="302" y="1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Freeform 34">
              <a:extLst>
                <a:ext uri="{FF2B5EF4-FFF2-40B4-BE49-F238E27FC236}">
                  <a16:creationId xmlns:a16="http://schemas.microsoft.com/office/drawing/2014/main" id="{E105C7DB-F2D2-8B20-CF42-3528726D76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140"/>
              <a:ext cx="365" cy="541"/>
            </a:xfrm>
            <a:custGeom>
              <a:avLst/>
              <a:gdLst>
                <a:gd name="T0" fmla="*/ 183 w 365"/>
                <a:gd name="T1" fmla="*/ 74 h 541"/>
                <a:gd name="T2" fmla="*/ 199 w 365"/>
                <a:gd name="T3" fmla="*/ 75 h 541"/>
                <a:gd name="T4" fmla="*/ 205 w 365"/>
                <a:gd name="T5" fmla="*/ 104 h 541"/>
                <a:gd name="T6" fmla="*/ 178 w 365"/>
                <a:gd name="T7" fmla="*/ 117 h 541"/>
                <a:gd name="T8" fmla="*/ 153 w 365"/>
                <a:gd name="T9" fmla="*/ 151 h 541"/>
                <a:gd name="T10" fmla="*/ 137 w 365"/>
                <a:gd name="T11" fmla="*/ 197 h 541"/>
                <a:gd name="T12" fmla="*/ 143 w 365"/>
                <a:gd name="T13" fmla="*/ 226 h 541"/>
                <a:gd name="T14" fmla="*/ 133 w 365"/>
                <a:gd name="T15" fmla="*/ 253 h 541"/>
                <a:gd name="T16" fmla="*/ 143 w 365"/>
                <a:gd name="T17" fmla="*/ 275 h 541"/>
                <a:gd name="T18" fmla="*/ 152 w 365"/>
                <a:gd name="T19" fmla="*/ 287 h 541"/>
                <a:gd name="T20" fmla="*/ 184 w 365"/>
                <a:gd name="T21" fmla="*/ 270 h 541"/>
                <a:gd name="T22" fmla="*/ 195 w 365"/>
                <a:gd name="T23" fmla="*/ 287 h 541"/>
                <a:gd name="T24" fmla="*/ 208 w 365"/>
                <a:gd name="T25" fmla="*/ 288 h 541"/>
                <a:gd name="T26" fmla="*/ 222 w 365"/>
                <a:gd name="T27" fmla="*/ 279 h 541"/>
                <a:gd name="T28" fmla="*/ 229 w 365"/>
                <a:gd name="T29" fmla="*/ 270 h 541"/>
                <a:gd name="T30" fmla="*/ 240 w 365"/>
                <a:gd name="T31" fmla="*/ 299 h 541"/>
                <a:gd name="T32" fmla="*/ 269 w 365"/>
                <a:gd name="T33" fmla="*/ 317 h 541"/>
                <a:gd name="T34" fmla="*/ 294 w 365"/>
                <a:gd name="T35" fmla="*/ 318 h 541"/>
                <a:gd name="T36" fmla="*/ 297 w 365"/>
                <a:gd name="T37" fmla="*/ 350 h 541"/>
                <a:gd name="T38" fmla="*/ 314 w 365"/>
                <a:gd name="T39" fmla="*/ 355 h 541"/>
                <a:gd name="T40" fmla="*/ 347 w 365"/>
                <a:gd name="T41" fmla="*/ 394 h 541"/>
                <a:gd name="T42" fmla="*/ 355 w 365"/>
                <a:gd name="T43" fmla="*/ 401 h 541"/>
                <a:gd name="T44" fmla="*/ 361 w 365"/>
                <a:gd name="T45" fmla="*/ 419 h 541"/>
                <a:gd name="T46" fmla="*/ 341 w 365"/>
                <a:gd name="T47" fmla="*/ 426 h 541"/>
                <a:gd name="T48" fmla="*/ 324 w 365"/>
                <a:gd name="T49" fmla="*/ 456 h 541"/>
                <a:gd name="T50" fmla="*/ 299 w 365"/>
                <a:gd name="T51" fmla="*/ 451 h 541"/>
                <a:gd name="T52" fmla="*/ 282 w 365"/>
                <a:gd name="T53" fmla="*/ 457 h 541"/>
                <a:gd name="T54" fmla="*/ 282 w 365"/>
                <a:gd name="T55" fmla="*/ 476 h 541"/>
                <a:gd name="T56" fmla="*/ 256 w 365"/>
                <a:gd name="T57" fmla="*/ 477 h 541"/>
                <a:gd name="T58" fmla="*/ 239 w 365"/>
                <a:gd name="T59" fmla="*/ 496 h 541"/>
                <a:gd name="T60" fmla="*/ 208 w 365"/>
                <a:gd name="T61" fmla="*/ 488 h 541"/>
                <a:gd name="T62" fmla="*/ 198 w 365"/>
                <a:gd name="T63" fmla="*/ 479 h 541"/>
                <a:gd name="T64" fmla="*/ 196 w 365"/>
                <a:gd name="T65" fmla="*/ 508 h 541"/>
                <a:gd name="T66" fmla="*/ 165 w 365"/>
                <a:gd name="T67" fmla="*/ 530 h 541"/>
                <a:gd name="T68" fmla="*/ 141 w 365"/>
                <a:gd name="T69" fmla="*/ 541 h 541"/>
                <a:gd name="T70" fmla="*/ 111 w 365"/>
                <a:gd name="T71" fmla="*/ 507 h 541"/>
                <a:gd name="T72" fmla="*/ 106 w 365"/>
                <a:gd name="T73" fmla="*/ 484 h 541"/>
                <a:gd name="T74" fmla="*/ 94 w 365"/>
                <a:gd name="T75" fmla="*/ 477 h 541"/>
                <a:gd name="T76" fmla="*/ 77 w 365"/>
                <a:gd name="T77" fmla="*/ 448 h 541"/>
                <a:gd name="T78" fmla="*/ 50 w 365"/>
                <a:gd name="T79" fmla="*/ 448 h 541"/>
                <a:gd name="T80" fmla="*/ 63 w 365"/>
                <a:gd name="T81" fmla="*/ 470 h 541"/>
                <a:gd name="T82" fmla="*/ 43 w 365"/>
                <a:gd name="T83" fmla="*/ 490 h 541"/>
                <a:gd name="T84" fmla="*/ 36 w 365"/>
                <a:gd name="T85" fmla="*/ 470 h 541"/>
                <a:gd name="T86" fmla="*/ 28 w 365"/>
                <a:gd name="T87" fmla="*/ 435 h 541"/>
                <a:gd name="T88" fmla="*/ 15 w 365"/>
                <a:gd name="T89" fmla="*/ 419 h 541"/>
                <a:gd name="T90" fmla="*/ 22 w 365"/>
                <a:gd name="T91" fmla="*/ 404 h 541"/>
                <a:gd name="T92" fmla="*/ 32 w 365"/>
                <a:gd name="T93" fmla="*/ 384 h 541"/>
                <a:gd name="T94" fmla="*/ 40 w 365"/>
                <a:gd name="T95" fmla="*/ 353 h 541"/>
                <a:gd name="T96" fmla="*/ 27 w 365"/>
                <a:gd name="T97" fmla="*/ 333 h 541"/>
                <a:gd name="T98" fmla="*/ 18 w 365"/>
                <a:gd name="T99" fmla="*/ 306 h 541"/>
                <a:gd name="T100" fmla="*/ 9 w 365"/>
                <a:gd name="T101" fmla="*/ 274 h 541"/>
                <a:gd name="T102" fmla="*/ 4 w 365"/>
                <a:gd name="T103" fmla="*/ 225 h 541"/>
                <a:gd name="T104" fmla="*/ 12 w 365"/>
                <a:gd name="T105" fmla="*/ 206 h 541"/>
                <a:gd name="T106" fmla="*/ 25 w 365"/>
                <a:gd name="T107" fmla="*/ 176 h 541"/>
                <a:gd name="T108" fmla="*/ 39 w 365"/>
                <a:gd name="T109" fmla="*/ 128 h 541"/>
                <a:gd name="T110" fmla="*/ 53 w 365"/>
                <a:gd name="T111" fmla="*/ 105 h 541"/>
                <a:gd name="T112" fmla="*/ 80 w 365"/>
                <a:gd name="T113" fmla="*/ 103 h 541"/>
                <a:gd name="T114" fmla="*/ 85 w 365"/>
                <a:gd name="T115" fmla="*/ 78 h 541"/>
                <a:gd name="T116" fmla="*/ 57 w 365"/>
                <a:gd name="T117" fmla="*/ 44 h 541"/>
                <a:gd name="T118" fmla="*/ 40 w 365"/>
                <a:gd name="T119" fmla="*/ 14 h 541"/>
                <a:gd name="T120" fmla="*/ 69 w 365"/>
                <a:gd name="T121" fmla="*/ 10 h 541"/>
                <a:gd name="T122" fmla="*/ 113 w 365"/>
                <a:gd name="T123" fmla="*/ 22 h 541"/>
                <a:gd name="T124" fmla="*/ 143 w 365"/>
                <a:gd name="T125" fmla="*/ 4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5" h="541">
                  <a:moveTo>
                    <a:pt x="169" y="56"/>
                  </a:moveTo>
                  <a:lnTo>
                    <a:pt x="170" y="55"/>
                  </a:lnTo>
                  <a:lnTo>
                    <a:pt x="171" y="55"/>
                  </a:lnTo>
                  <a:lnTo>
                    <a:pt x="172" y="55"/>
                  </a:lnTo>
                  <a:lnTo>
                    <a:pt x="176" y="54"/>
                  </a:lnTo>
                  <a:lnTo>
                    <a:pt x="177" y="54"/>
                  </a:lnTo>
                  <a:lnTo>
                    <a:pt x="178" y="54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5"/>
                  </a:lnTo>
                  <a:lnTo>
                    <a:pt x="181" y="55"/>
                  </a:lnTo>
                  <a:lnTo>
                    <a:pt x="181" y="56"/>
                  </a:lnTo>
                  <a:lnTo>
                    <a:pt x="182" y="58"/>
                  </a:lnTo>
                  <a:lnTo>
                    <a:pt x="183" y="61"/>
                  </a:lnTo>
                  <a:lnTo>
                    <a:pt x="183" y="62"/>
                  </a:lnTo>
                  <a:lnTo>
                    <a:pt x="183" y="62"/>
                  </a:lnTo>
                  <a:lnTo>
                    <a:pt x="183" y="63"/>
                  </a:lnTo>
                  <a:lnTo>
                    <a:pt x="183" y="64"/>
                  </a:lnTo>
                  <a:lnTo>
                    <a:pt x="182" y="72"/>
                  </a:lnTo>
                  <a:lnTo>
                    <a:pt x="182" y="73"/>
                  </a:lnTo>
                  <a:lnTo>
                    <a:pt x="183" y="74"/>
                  </a:lnTo>
                  <a:lnTo>
                    <a:pt x="183" y="76"/>
                  </a:lnTo>
                  <a:lnTo>
                    <a:pt x="183" y="77"/>
                  </a:lnTo>
                  <a:lnTo>
                    <a:pt x="184" y="77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5" y="79"/>
                  </a:lnTo>
                  <a:lnTo>
                    <a:pt x="185" y="79"/>
                  </a:lnTo>
                  <a:lnTo>
                    <a:pt x="186" y="79"/>
                  </a:lnTo>
                  <a:lnTo>
                    <a:pt x="186" y="79"/>
                  </a:lnTo>
                  <a:lnTo>
                    <a:pt x="187" y="78"/>
                  </a:lnTo>
                  <a:lnTo>
                    <a:pt x="187" y="78"/>
                  </a:lnTo>
                  <a:lnTo>
                    <a:pt x="189" y="77"/>
                  </a:lnTo>
                  <a:lnTo>
                    <a:pt x="190" y="76"/>
                  </a:lnTo>
                  <a:lnTo>
                    <a:pt x="190" y="76"/>
                  </a:lnTo>
                  <a:lnTo>
                    <a:pt x="191" y="75"/>
                  </a:lnTo>
                  <a:lnTo>
                    <a:pt x="192" y="75"/>
                  </a:lnTo>
                  <a:lnTo>
                    <a:pt x="192" y="75"/>
                  </a:lnTo>
                  <a:lnTo>
                    <a:pt x="194" y="75"/>
                  </a:lnTo>
                  <a:lnTo>
                    <a:pt x="194" y="74"/>
                  </a:lnTo>
                  <a:lnTo>
                    <a:pt x="195" y="74"/>
                  </a:lnTo>
                  <a:lnTo>
                    <a:pt x="197" y="75"/>
                  </a:lnTo>
                  <a:lnTo>
                    <a:pt x="198" y="75"/>
                  </a:lnTo>
                  <a:lnTo>
                    <a:pt x="199" y="75"/>
                  </a:lnTo>
                  <a:lnTo>
                    <a:pt x="200" y="76"/>
                  </a:lnTo>
                  <a:lnTo>
                    <a:pt x="201" y="76"/>
                  </a:lnTo>
                  <a:lnTo>
                    <a:pt x="202" y="77"/>
                  </a:lnTo>
                  <a:lnTo>
                    <a:pt x="203" y="77"/>
                  </a:lnTo>
                  <a:lnTo>
                    <a:pt x="204" y="78"/>
                  </a:lnTo>
                  <a:lnTo>
                    <a:pt x="204" y="78"/>
                  </a:lnTo>
                  <a:lnTo>
                    <a:pt x="205" y="79"/>
                  </a:lnTo>
                  <a:lnTo>
                    <a:pt x="206" y="80"/>
                  </a:lnTo>
                  <a:lnTo>
                    <a:pt x="206" y="81"/>
                  </a:lnTo>
                  <a:lnTo>
                    <a:pt x="207" y="82"/>
                  </a:lnTo>
                  <a:lnTo>
                    <a:pt x="207" y="82"/>
                  </a:lnTo>
                  <a:lnTo>
                    <a:pt x="208" y="83"/>
                  </a:lnTo>
                  <a:lnTo>
                    <a:pt x="208" y="84"/>
                  </a:lnTo>
                  <a:lnTo>
                    <a:pt x="208" y="85"/>
                  </a:lnTo>
                  <a:lnTo>
                    <a:pt x="208" y="85"/>
                  </a:lnTo>
                  <a:lnTo>
                    <a:pt x="208" y="94"/>
                  </a:lnTo>
                  <a:lnTo>
                    <a:pt x="207" y="97"/>
                  </a:lnTo>
                  <a:lnTo>
                    <a:pt x="207" y="98"/>
                  </a:lnTo>
                  <a:lnTo>
                    <a:pt x="207" y="100"/>
                  </a:lnTo>
                  <a:lnTo>
                    <a:pt x="206" y="101"/>
                  </a:lnTo>
                  <a:lnTo>
                    <a:pt x="206" y="102"/>
                  </a:lnTo>
                  <a:lnTo>
                    <a:pt x="206" y="103"/>
                  </a:lnTo>
                  <a:lnTo>
                    <a:pt x="205" y="104"/>
                  </a:lnTo>
                  <a:lnTo>
                    <a:pt x="205" y="104"/>
                  </a:lnTo>
                  <a:lnTo>
                    <a:pt x="204" y="104"/>
                  </a:lnTo>
                  <a:lnTo>
                    <a:pt x="204" y="105"/>
                  </a:lnTo>
                  <a:lnTo>
                    <a:pt x="203" y="105"/>
                  </a:lnTo>
                  <a:lnTo>
                    <a:pt x="202" y="105"/>
                  </a:lnTo>
                  <a:lnTo>
                    <a:pt x="201" y="105"/>
                  </a:lnTo>
                  <a:lnTo>
                    <a:pt x="201" y="105"/>
                  </a:lnTo>
                  <a:lnTo>
                    <a:pt x="199" y="105"/>
                  </a:lnTo>
                  <a:lnTo>
                    <a:pt x="198" y="105"/>
                  </a:lnTo>
                  <a:lnTo>
                    <a:pt x="197" y="104"/>
                  </a:lnTo>
                  <a:lnTo>
                    <a:pt x="195" y="104"/>
                  </a:lnTo>
                  <a:lnTo>
                    <a:pt x="194" y="104"/>
                  </a:lnTo>
                  <a:lnTo>
                    <a:pt x="194" y="104"/>
                  </a:lnTo>
                  <a:lnTo>
                    <a:pt x="193" y="105"/>
                  </a:lnTo>
                  <a:lnTo>
                    <a:pt x="193" y="105"/>
                  </a:lnTo>
                  <a:lnTo>
                    <a:pt x="191" y="106"/>
                  </a:lnTo>
                  <a:lnTo>
                    <a:pt x="190" y="107"/>
                  </a:lnTo>
                  <a:lnTo>
                    <a:pt x="189" y="109"/>
                  </a:lnTo>
                  <a:lnTo>
                    <a:pt x="185" y="113"/>
                  </a:lnTo>
                  <a:lnTo>
                    <a:pt x="184" y="114"/>
                  </a:lnTo>
                  <a:lnTo>
                    <a:pt x="183" y="115"/>
                  </a:lnTo>
                  <a:lnTo>
                    <a:pt x="182" y="115"/>
                  </a:lnTo>
                  <a:lnTo>
                    <a:pt x="181" y="116"/>
                  </a:lnTo>
                  <a:lnTo>
                    <a:pt x="180" y="116"/>
                  </a:lnTo>
                  <a:lnTo>
                    <a:pt x="178" y="117"/>
                  </a:lnTo>
                  <a:lnTo>
                    <a:pt x="177" y="118"/>
                  </a:lnTo>
                  <a:lnTo>
                    <a:pt x="176" y="118"/>
                  </a:lnTo>
                  <a:lnTo>
                    <a:pt x="175" y="119"/>
                  </a:lnTo>
                  <a:lnTo>
                    <a:pt x="174" y="120"/>
                  </a:lnTo>
                  <a:lnTo>
                    <a:pt x="173" y="120"/>
                  </a:lnTo>
                  <a:lnTo>
                    <a:pt x="171" y="123"/>
                  </a:lnTo>
                  <a:lnTo>
                    <a:pt x="170" y="123"/>
                  </a:lnTo>
                  <a:lnTo>
                    <a:pt x="169" y="124"/>
                  </a:lnTo>
                  <a:lnTo>
                    <a:pt x="167" y="126"/>
                  </a:lnTo>
                  <a:lnTo>
                    <a:pt x="166" y="126"/>
                  </a:lnTo>
                  <a:lnTo>
                    <a:pt x="165" y="128"/>
                  </a:lnTo>
                  <a:lnTo>
                    <a:pt x="163" y="130"/>
                  </a:lnTo>
                  <a:lnTo>
                    <a:pt x="158" y="136"/>
                  </a:lnTo>
                  <a:lnTo>
                    <a:pt x="156" y="138"/>
                  </a:lnTo>
                  <a:lnTo>
                    <a:pt x="156" y="139"/>
                  </a:lnTo>
                  <a:lnTo>
                    <a:pt x="155" y="140"/>
                  </a:lnTo>
                  <a:lnTo>
                    <a:pt x="155" y="141"/>
                  </a:lnTo>
                  <a:lnTo>
                    <a:pt x="155" y="142"/>
                  </a:lnTo>
                  <a:lnTo>
                    <a:pt x="155" y="145"/>
                  </a:lnTo>
                  <a:lnTo>
                    <a:pt x="154" y="147"/>
                  </a:lnTo>
                  <a:lnTo>
                    <a:pt x="154" y="148"/>
                  </a:lnTo>
                  <a:lnTo>
                    <a:pt x="154" y="149"/>
                  </a:lnTo>
                  <a:lnTo>
                    <a:pt x="154" y="150"/>
                  </a:lnTo>
                  <a:lnTo>
                    <a:pt x="153" y="151"/>
                  </a:lnTo>
                  <a:lnTo>
                    <a:pt x="152" y="155"/>
                  </a:lnTo>
                  <a:lnTo>
                    <a:pt x="151" y="156"/>
                  </a:lnTo>
                  <a:lnTo>
                    <a:pt x="151" y="157"/>
                  </a:lnTo>
                  <a:lnTo>
                    <a:pt x="150" y="158"/>
                  </a:lnTo>
                  <a:lnTo>
                    <a:pt x="150" y="160"/>
                  </a:lnTo>
                  <a:lnTo>
                    <a:pt x="150" y="161"/>
                  </a:lnTo>
                  <a:lnTo>
                    <a:pt x="151" y="166"/>
                  </a:lnTo>
                  <a:lnTo>
                    <a:pt x="151" y="170"/>
                  </a:lnTo>
                  <a:lnTo>
                    <a:pt x="151" y="172"/>
                  </a:lnTo>
                  <a:lnTo>
                    <a:pt x="151" y="174"/>
                  </a:lnTo>
                  <a:lnTo>
                    <a:pt x="151" y="175"/>
                  </a:lnTo>
                  <a:lnTo>
                    <a:pt x="150" y="176"/>
                  </a:lnTo>
                  <a:lnTo>
                    <a:pt x="150" y="178"/>
                  </a:lnTo>
                  <a:lnTo>
                    <a:pt x="150" y="179"/>
                  </a:lnTo>
                  <a:lnTo>
                    <a:pt x="149" y="180"/>
                  </a:lnTo>
                  <a:lnTo>
                    <a:pt x="149" y="181"/>
                  </a:lnTo>
                  <a:lnTo>
                    <a:pt x="148" y="182"/>
                  </a:lnTo>
                  <a:lnTo>
                    <a:pt x="147" y="184"/>
                  </a:lnTo>
                  <a:lnTo>
                    <a:pt x="146" y="184"/>
                  </a:lnTo>
                  <a:lnTo>
                    <a:pt x="141" y="191"/>
                  </a:lnTo>
                  <a:lnTo>
                    <a:pt x="140" y="192"/>
                  </a:lnTo>
                  <a:lnTo>
                    <a:pt x="139" y="194"/>
                  </a:lnTo>
                  <a:lnTo>
                    <a:pt x="138" y="195"/>
                  </a:lnTo>
                  <a:lnTo>
                    <a:pt x="137" y="197"/>
                  </a:lnTo>
                  <a:lnTo>
                    <a:pt x="136" y="199"/>
                  </a:lnTo>
                  <a:lnTo>
                    <a:pt x="135" y="200"/>
                  </a:lnTo>
                  <a:lnTo>
                    <a:pt x="135" y="201"/>
                  </a:lnTo>
                  <a:lnTo>
                    <a:pt x="135" y="202"/>
                  </a:lnTo>
                  <a:lnTo>
                    <a:pt x="135" y="203"/>
                  </a:lnTo>
                  <a:lnTo>
                    <a:pt x="134" y="204"/>
                  </a:lnTo>
                  <a:lnTo>
                    <a:pt x="134" y="208"/>
                  </a:lnTo>
                  <a:lnTo>
                    <a:pt x="133" y="212"/>
                  </a:lnTo>
                  <a:lnTo>
                    <a:pt x="133" y="212"/>
                  </a:lnTo>
                  <a:lnTo>
                    <a:pt x="133" y="213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4" y="215"/>
                  </a:lnTo>
                  <a:lnTo>
                    <a:pt x="135" y="216"/>
                  </a:lnTo>
                  <a:lnTo>
                    <a:pt x="135" y="216"/>
                  </a:lnTo>
                  <a:lnTo>
                    <a:pt x="136" y="218"/>
                  </a:lnTo>
                  <a:lnTo>
                    <a:pt x="140" y="222"/>
                  </a:lnTo>
                  <a:lnTo>
                    <a:pt x="141" y="223"/>
                  </a:lnTo>
                  <a:lnTo>
                    <a:pt x="141" y="224"/>
                  </a:lnTo>
                  <a:lnTo>
                    <a:pt x="142" y="224"/>
                  </a:lnTo>
                  <a:lnTo>
                    <a:pt x="142" y="225"/>
                  </a:lnTo>
                  <a:lnTo>
                    <a:pt x="142" y="226"/>
                  </a:lnTo>
                  <a:lnTo>
                    <a:pt x="143" y="226"/>
                  </a:lnTo>
                  <a:lnTo>
                    <a:pt x="143" y="227"/>
                  </a:lnTo>
                  <a:lnTo>
                    <a:pt x="143" y="228"/>
                  </a:lnTo>
                  <a:lnTo>
                    <a:pt x="143" y="228"/>
                  </a:lnTo>
                  <a:lnTo>
                    <a:pt x="143" y="229"/>
                  </a:lnTo>
                  <a:lnTo>
                    <a:pt x="143" y="230"/>
                  </a:lnTo>
                  <a:lnTo>
                    <a:pt x="143" y="231"/>
                  </a:lnTo>
                  <a:lnTo>
                    <a:pt x="142" y="232"/>
                  </a:lnTo>
                  <a:lnTo>
                    <a:pt x="141" y="233"/>
                  </a:lnTo>
                  <a:lnTo>
                    <a:pt x="141" y="234"/>
                  </a:lnTo>
                  <a:lnTo>
                    <a:pt x="140" y="235"/>
                  </a:lnTo>
                  <a:lnTo>
                    <a:pt x="138" y="238"/>
                  </a:lnTo>
                  <a:lnTo>
                    <a:pt x="137" y="240"/>
                  </a:lnTo>
                  <a:lnTo>
                    <a:pt x="136" y="242"/>
                  </a:lnTo>
                  <a:lnTo>
                    <a:pt x="135" y="242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35" y="244"/>
                  </a:lnTo>
                  <a:lnTo>
                    <a:pt x="135" y="245"/>
                  </a:lnTo>
                  <a:lnTo>
                    <a:pt x="135" y="247"/>
                  </a:lnTo>
                  <a:lnTo>
                    <a:pt x="135" y="248"/>
                  </a:lnTo>
                  <a:lnTo>
                    <a:pt x="135" y="249"/>
                  </a:lnTo>
                  <a:lnTo>
                    <a:pt x="134" y="250"/>
                  </a:lnTo>
                  <a:lnTo>
                    <a:pt x="134" y="251"/>
                  </a:lnTo>
                  <a:lnTo>
                    <a:pt x="133" y="253"/>
                  </a:lnTo>
                  <a:lnTo>
                    <a:pt x="132" y="256"/>
                  </a:lnTo>
                  <a:lnTo>
                    <a:pt x="131" y="257"/>
                  </a:lnTo>
                  <a:lnTo>
                    <a:pt x="131" y="258"/>
                  </a:lnTo>
                  <a:lnTo>
                    <a:pt x="131" y="259"/>
                  </a:lnTo>
                  <a:lnTo>
                    <a:pt x="131" y="260"/>
                  </a:lnTo>
                  <a:lnTo>
                    <a:pt x="131" y="261"/>
                  </a:lnTo>
                  <a:lnTo>
                    <a:pt x="131" y="261"/>
                  </a:lnTo>
                  <a:lnTo>
                    <a:pt x="131" y="262"/>
                  </a:lnTo>
                  <a:lnTo>
                    <a:pt x="131" y="262"/>
                  </a:lnTo>
                  <a:lnTo>
                    <a:pt x="131" y="263"/>
                  </a:lnTo>
                  <a:lnTo>
                    <a:pt x="132" y="265"/>
                  </a:lnTo>
                  <a:lnTo>
                    <a:pt x="133" y="266"/>
                  </a:lnTo>
                  <a:lnTo>
                    <a:pt x="134" y="267"/>
                  </a:lnTo>
                  <a:lnTo>
                    <a:pt x="134" y="267"/>
                  </a:lnTo>
                  <a:lnTo>
                    <a:pt x="136" y="269"/>
                  </a:lnTo>
                  <a:lnTo>
                    <a:pt x="137" y="272"/>
                  </a:lnTo>
                  <a:lnTo>
                    <a:pt x="138" y="272"/>
                  </a:lnTo>
                  <a:lnTo>
                    <a:pt x="139" y="273"/>
                  </a:lnTo>
                  <a:lnTo>
                    <a:pt x="140" y="274"/>
                  </a:lnTo>
                  <a:lnTo>
                    <a:pt x="140" y="274"/>
                  </a:lnTo>
                  <a:lnTo>
                    <a:pt x="141" y="274"/>
                  </a:lnTo>
                  <a:lnTo>
                    <a:pt x="141" y="275"/>
                  </a:lnTo>
                  <a:lnTo>
                    <a:pt x="142" y="275"/>
                  </a:lnTo>
                  <a:lnTo>
                    <a:pt x="143" y="275"/>
                  </a:lnTo>
                  <a:lnTo>
                    <a:pt x="144" y="274"/>
                  </a:lnTo>
                  <a:lnTo>
                    <a:pt x="146" y="274"/>
                  </a:lnTo>
                  <a:lnTo>
                    <a:pt x="147" y="274"/>
                  </a:lnTo>
                  <a:lnTo>
                    <a:pt x="148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1" y="273"/>
                  </a:lnTo>
                  <a:lnTo>
                    <a:pt x="151" y="274"/>
                  </a:lnTo>
                  <a:lnTo>
                    <a:pt x="151" y="274"/>
                  </a:lnTo>
                  <a:lnTo>
                    <a:pt x="151" y="275"/>
                  </a:lnTo>
                  <a:lnTo>
                    <a:pt x="151" y="276"/>
                  </a:lnTo>
                  <a:lnTo>
                    <a:pt x="151" y="278"/>
                  </a:lnTo>
                  <a:lnTo>
                    <a:pt x="150" y="281"/>
                  </a:lnTo>
                  <a:lnTo>
                    <a:pt x="150" y="282"/>
                  </a:lnTo>
                  <a:lnTo>
                    <a:pt x="150" y="283"/>
                  </a:lnTo>
                  <a:lnTo>
                    <a:pt x="150" y="284"/>
                  </a:lnTo>
                  <a:lnTo>
                    <a:pt x="151" y="285"/>
                  </a:lnTo>
                  <a:lnTo>
                    <a:pt x="151" y="285"/>
                  </a:lnTo>
                  <a:lnTo>
                    <a:pt x="151" y="286"/>
                  </a:lnTo>
                  <a:lnTo>
                    <a:pt x="151" y="286"/>
                  </a:lnTo>
                  <a:lnTo>
                    <a:pt x="152" y="286"/>
                  </a:lnTo>
                  <a:lnTo>
                    <a:pt x="152" y="287"/>
                  </a:lnTo>
                  <a:lnTo>
                    <a:pt x="153" y="287"/>
                  </a:lnTo>
                  <a:lnTo>
                    <a:pt x="153" y="287"/>
                  </a:lnTo>
                  <a:lnTo>
                    <a:pt x="154" y="287"/>
                  </a:lnTo>
                  <a:lnTo>
                    <a:pt x="158" y="287"/>
                  </a:lnTo>
                  <a:lnTo>
                    <a:pt x="161" y="287"/>
                  </a:lnTo>
                  <a:lnTo>
                    <a:pt x="162" y="287"/>
                  </a:lnTo>
                  <a:lnTo>
                    <a:pt x="163" y="286"/>
                  </a:lnTo>
                  <a:lnTo>
                    <a:pt x="163" y="286"/>
                  </a:lnTo>
                  <a:lnTo>
                    <a:pt x="164" y="286"/>
                  </a:lnTo>
                  <a:lnTo>
                    <a:pt x="164" y="285"/>
                  </a:lnTo>
                  <a:lnTo>
                    <a:pt x="165" y="284"/>
                  </a:lnTo>
                  <a:lnTo>
                    <a:pt x="166" y="283"/>
                  </a:lnTo>
                  <a:lnTo>
                    <a:pt x="167" y="282"/>
                  </a:lnTo>
                  <a:lnTo>
                    <a:pt x="168" y="281"/>
                  </a:lnTo>
                  <a:lnTo>
                    <a:pt x="169" y="280"/>
                  </a:lnTo>
                  <a:lnTo>
                    <a:pt x="172" y="278"/>
                  </a:lnTo>
                  <a:lnTo>
                    <a:pt x="175" y="275"/>
                  </a:lnTo>
                  <a:lnTo>
                    <a:pt x="176" y="274"/>
                  </a:lnTo>
                  <a:lnTo>
                    <a:pt x="178" y="273"/>
                  </a:lnTo>
                  <a:lnTo>
                    <a:pt x="179" y="272"/>
                  </a:lnTo>
                  <a:lnTo>
                    <a:pt x="180" y="272"/>
                  </a:lnTo>
                  <a:lnTo>
                    <a:pt x="181" y="272"/>
                  </a:lnTo>
                  <a:lnTo>
                    <a:pt x="182" y="271"/>
                  </a:lnTo>
                  <a:lnTo>
                    <a:pt x="184" y="270"/>
                  </a:lnTo>
                  <a:lnTo>
                    <a:pt x="185" y="270"/>
                  </a:lnTo>
                  <a:lnTo>
                    <a:pt x="185" y="270"/>
                  </a:lnTo>
                  <a:lnTo>
                    <a:pt x="187" y="269"/>
                  </a:lnTo>
                  <a:lnTo>
                    <a:pt x="189" y="269"/>
                  </a:lnTo>
                  <a:lnTo>
                    <a:pt x="190" y="269"/>
                  </a:lnTo>
                  <a:lnTo>
                    <a:pt x="191" y="269"/>
                  </a:lnTo>
                  <a:lnTo>
                    <a:pt x="192" y="269"/>
                  </a:lnTo>
                  <a:lnTo>
                    <a:pt x="192" y="269"/>
                  </a:lnTo>
                  <a:lnTo>
                    <a:pt x="193" y="270"/>
                  </a:lnTo>
                  <a:lnTo>
                    <a:pt x="194" y="270"/>
                  </a:lnTo>
                  <a:lnTo>
                    <a:pt x="194" y="271"/>
                  </a:lnTo>
                  <a:lnTo>
                    <a:pt x="195" y="271"/>
                  </a:lnTo>
                  <a:lnTo>
                    <a:pt x="196" y="272"/>
                  </a:lnTo>
                  <a:lnTo>
                    <a:pt x="196" y="272"/>
                  </a:lnTo>
                  <a:lnTo>
                    <a:pt x="197" y="273"/>
                  </a:lnTo>
                  <a:lnTo>
                    <a:pt x="197" y="274"/>
                  </a:lnTo>
                  <a:lnTo>
                    <a:pt x="197" y="275"/>
                  </a:lnTo>
                  <a:lnTo>
                    <a:pt x="197" y="275"/>
                  </a:lnTo>
                  <a:lnTo>
                    <a:pt x="197" y="276"/>
                  </a:lnTo>
                  <a:lnTo>
                    <a:pt x="197" y="278"/>
                  </a:lnTo>
                  <a:lnTo>
                    <a:pt x="196" y="280"/>
                  </a:lnTo>
                  <a:lnTo>
                    <a:pt x="195" y="284"/>
                  </a:lnTo>
                  <a:lnTo>
                    <a:pt x="195" y="287"/>
                  </a:lnTo>
                  <a:lnTo>
                    <a:pt x="195" y="287"/>
                  </a:lnTo>
                  <a:lnTo>
                    <a:pt x="195" y="288"/>
                  </a:lnTo>
                  <a:lnTo>
                    <a:pt x="195" y="289"/>
                  </a:lnTo>
                  <a:lnTo>
                    <a:pt x="195" y="290"/>
                  </a:lnTo>
                  <a:lnTo>
                    <a:pt x="196" y="291"/>
                  </a:lnTo>
                  <a:lnTo>
                    <a:pt x="196" y="293"/>
                  </a:lnTo>
                  <a:lnTo>
                    <a:pt x="197" y="294"/>
                  </a:lnTo>
                  <a:lnTo>
                    <a:pt x="198" y="295"/>
                  </a:lnTo>
                  <a:lnTo>
                    <a:pt x="199" y="296"/>
                  </a:lnTo>
                  <a:lnTo>
                    <a:pt x="199" y="296"/>
                  </a:lnTo>
                  <a:lnTo>
                    <a:pt x="200" y="296"/>
                  </a:lnTo>
                  <a:lnTo>
                    <a:pt x="200" y="296"/>
                  </a:lnTo>
                  <a:lnTo>
                    <a:pt x="201" y="296"/>
                  </a:lnTo>
                  <a:lnTo>
                    <a:pt x="201" y="296"/>
                  </a:lnTo>
                  <a:lnTo>
                    <a:pt x="202" y="296"/>
                  </a:lnTo>
                  <a:lnTo>
                    <a:pt x="202" y="296"/>
                  </a:lnTo>
                  <a:lnTo>
                    <a:pt x="202" y="296"/>
                  </a:lnTo>
                  <a:lnTo>
                    <a:pt x="203" y="295"/>
                  </a:lnTo>
                  <a:lnTo>
                    <a:pt x="204" y="293"/>
                  </a:lnTo>
                  <a:lnTo>
                    <a:pt x="205" y="292"/>
                  </a:lnTo>
                  <a:lnTo>
                    <a:pt x="205" y="292"/>
                  </a:lnTo>
                  <a:lnTo>
                    <a:pt x="207" y="290"/>
                  </a:lnTo>
                  <a:lnTo>
                    <a:pt x="208" y="289"/>
                  </a:lnTo>
                  <a:lnTo>
                    <a:pt x="208" y="288"/>
                  </a:lnTo>
                  <a:lnTo>
                    <a:pt x="208" y="288"/>
                  </a:lnTo>
                  <a:lnTo>
                    <a:pt x="209" y="287"/>
                  </a:lnTo>
                  <a:lnTo>
                    <a:pt x="209" y="286"/>
                  </a:lnTo>
                  <a:lnTo>
                    <a:pt x="210" y="285"/>
                  </a:lnTo>
                  <a:lnTo>
                    <a:pt x="210" y="285"/>
                  </a:lnTo>
                  <a:lnTo>
                    <a:pt x="211" y="284"/>
                  </a:lnTo>
                  <a:lnTo>
                    <a:pt x="211" y="284"/>
                  </a:lnTo>
                  <a:lnTo>
                    <a:pt x="213" y="283"/>
                  </a:lnTo>
                  <a:lnTo>
                    <a:pt x="213" y="283"/>
                  </a:lnTo>
                  <a:lnTo>
                    <a:pt x="214" y="282"/>
                  </a:lnTo>
                  <a:lnTo>
                    <a:pt x="215" y="282"/>
                  </a:lnTo>
                  <a:lnTo>
                    <a:pt x="215" y="282"/>
                  </a:lnTo>
                  <a:lnTo>
                    <a:pt x="215" y="282"/>
                  </a:lnTo>
                  <a:lnTo>
                    <a:pt x="216" y="282"/>
                  </a:lnTo>
                  <a:lnTo>
                    <a:pt x="216" y="282"/>
                  </a:lnTo>
                  <a:lnTo>
                    <a:pt x="217" y="282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9" y="282"/>
                  </a:lnTo>
                  <a:lnTo>
                    <a:pt x="220" y="282"/>
                  </a:lnTo>
                  <a:lnTo>
                    <a:pt x="220" y="281"/>
                  </a:lnTo>
                  <a:lnTo>
                    <a:pt x="221" y="280"/>
                  </a:lnTo>
                  <a:lnTo>
                    <a:pt x="222" y="279"/>
                  </a:lnTo>
                  <a:lnTo>
                    <a:pt x="222" y="279"/>
                  </a:lnTo>
                  <a:lnTo>
                    <a:pt x="222" y="278"/>
                  </a:lnTo>
                  <a:lnTo>
                    <a:pt x="223" y="278"/>
                  </a:lnTo>
                  <a:lnTo>
                    <a:pt x="223" y="277"/>
                  </a:lnTo>
                  <a:lnTo>
                    <a:pt x="223" y="276"/>
                  </a:lnTo>
                  <a:lnTo>
                    <a:pt x="223" y="275"/>
                  </a:lnTo>
                  <a:lnTo>
                    <a:pt x="222" y="274"/>
                  </a:lnTo>
                  <a:lnTo>
                    <a:pt x="221" y="267"/>
                  </a:lnTo>
                  <a:lnTo>
                    <a:pt x="220" y="266"/>
                  </a:lnTo>
                  <a:lnTo>
                    <a:pt x="220" y="265"/>
                  </a:lnTo>
                  <a:lnTo>
                    <a:pt x="220" y="265"/>
                  </a:lnTo>
                  <a:lnTo>
                    <a:pt x="221" y="264"/>
                  </a:lnTo>
                  <a:lnTo>
                    <a:pt x="221" y="263"/>
                  </a:lnTo>
                  <a:lnTo>
                    <a:pt x="222" y="263"/>
                  </a:lnTo>
                  <a:lnTo>
                    <a:pt x="222" y="263"/>
                  </a:lnTo>
                  <a:lnTo>
                    <a:pt x="223" y="263"/>
                  </a:lnTo>
                  <a:lnTo>
                    <a:pt x="224" y="263"/>
                  </a:lnTo>
                  <a:lnTo>
                    <a:pt x="225" y="263"/>
                  </a:lnTo>
                  <a:lnTo>
                    <a:pt x="225" y="263"/>
                  </a:lnTo>
                  <a:lnTo>
                    <a:pt x="226" y="264"/>
                  </a:lnTo>
                  <a:lnTo>
                    <a:pt x="226" y="264"/>
                  </a:lnTo>
                  <a:lnTo>
                    <a:pt x="226" y="264"/>
                  </a:lnTo>
                  <a:lnTo>
                    <a:pt x="227" y="265"/>
                  </a:lnTo>
                  <a:lnTo>
                    <a:pt x="228" y="268"/>
                  </a:lnTo>
                  <a:lnTo>
                    <a:pt x="229" y="270"/>
                  </a:lnTo>
                  <a:lnTo>
                    <a:pt x="230" y="272"/>
                  </a:lnTo>
                  <a:lnTo>
                    <a:pt x="230" y="273"/>
                  </a:lnTo>
                  <a:lnTo>
                    <a:pt x="231" y="274"/>
                  </a:lnTo>
                  <a:lnTo>
                    <a:pt x="231" y="276"/>
                  </a:lnTo>
                  <a:lnTo>
                    <a:pt x="231" y="278"/>
                  </a:lnTo>
                  <a:lnTo>
                    <a:pt x="231" y="278"/>
                  </a:lnTo>
                  <a:lnTo>
                    <a:pt x="231" y="280"/>
                  </a:lnTo>
                  <a:lnTo>
                    <a:pt x="231" y="281"/>
                  </a:lnTo>
                  <a:lnTo>
                    <a:pt x="232" y="283"/>
                  </a:lnTo>
                  <a:lnTo>
                    <a:pt x="232" y="284"/>
                  </a:lnTo>
                  <a:lnTo>
                    <a:pt x="234" y="286"/>
                  </a:lnTo>
                  <a:lnTo>
                    <a:pt x="234" y="287"/>
                  </a:lnTo>
                  <a:lnTo>
                    <a:pt x="235" y="288"/>
                  </a:lnTo>
                  <a:lnTo>
                    <a:pt x="235" y="288"/>
                  </a:lnTo>
                  <a:lnTo>
                    <a:pt x="235" y="289"/>
                  </a:lnTo>
                  <a:lnTo>
                    <a:pt x="236" y="290"/>
                  </a:lnTo>
                  <a:lnTo>
                    <a:pt x="236" y="290"/>
                  </a:lnTo>
                  <a:lnTo>
                    <a:pt x="236" y="292"/>
                  </a:lnTo>
                  <a:lnTo>
                    <a:pt x="236" y="293"/>
                  </a:lnTo>
                  <a:lnTo>
                    <a:pt x="236" y="294"/>
                  </a:lnTo>
                  <a:lnTo>
                    <a:pt x="237" y="295"/>
                  </a:lnTo>
                  <a:lnTo>
                    <a:pt x="237" y="296"/>
                  </a:lnTo>
                  <a:lnTo>
                    <a:pt x="237" y="296"/>
                  </a:lnTo>
                  <a:lnTo>
                    <a:pt x="240" y="299"/>
                  </a:lnTo>
                  <a:lnTo>
                    <a:pt x="241" y="300"/>
                  </a:lnTo>
                  <a:lnTo>
                    <a:pt x="242" y="301"/>
                  </a:lnTo>
                  <a:lnTo>
                    <a:pt x="243" y="303"/>
                  </a:lnTo>
                  <a:lnTo>
                    <a:pt x="243" y="304"/>
                  </a:lnTo>
                  <a:lnTo>
                    <a:pt x="244" y="305"/>
                  </a:lnTo>
                  <a:lnTo>
                    <a:pt x="245" y="306"/>
                  </a:lnTo>
                  <a:lnTo>
                    <a:pt x="245" y="306"/>
                  </a:lnTo>
                  <a:lnTo>
                    <a:pt x="246" y="307"/>
                  </a:lnTo>
                  <a:lnTo>
                    <a:pt x="247" y="307"/>
                  </a:lnTo>
                  <a:lnTo>
                    <a:pt x="249" y="308"/>
                  </a:lnTo>
                  <a:lnTo>
                    <a:pt x="250" y="309"/>
                  </a:lnTo>
                  <a:lnTo>
                    <a:pt x="251" y="309"/>
                  </a:lnTo>
                  <a:lnTo>
                    <a:pt x="252" y="310"/>
                  </a:lnTo>
                  <a:lnTo>
                    <a:pt x="253" y="311"/>
                  </a:lnTo>
                  <a:lnTo>
                    <a:pt x="254" y="312"/>
                  </a:lnTo>
                  <a:lnTo>
                    <a:pt x="255" y="313"/>
                  </a:lnTo>
                  <a:lnTo>
                    <a:pt x="256" y="313"/>
                  </a:lnTo>
                  <a:lnTo>
                    <a:pt x="260" y="315"/>
                  </a:lnTo>
                  <a:lnTo>
                    <a:pt x="262" y="316"/>
                  </a:lnTo>
                  <a:lnTo>
                    <a:pt x="263" y="316"/>
                  </a:lnTo>
                  <a:lnTo>
                    <a:pt x="264" y="316"/>
                  </a:lnTo>
                  <a:lnTo>
                    <a:pt x="267" y="317"/>
                  </a:lnTo>
                  <a:lnTo>
                    <a:pt x="268" y="317"/>
                  </a:lnTo>
                  <a:lnTo>
                    <a:pt x="269" y="317"/>
                  </a:lnTo>
                  <a:lnTo>
                    <a:pt x="269" y="317"/>
                  </a:lnTo>
                  <a:lnTo>
                    <a:pt x="270" y="317"/>
                  </a:lnTo>
                  <a:lnTo>
                    <a:pt x="271" y="317"/>
                  </a:lnTo>
                  <a:lnTo>
                    <a:pt x="273" y="316"/>
                  </a:lnTo>
                  <a:lnTo>
                    <a:pt x="275" y="315"/>
                  </a:lnTo>
                  <a:lnTo>
                    <a:pt x="277" y="314"/>
                  </a:lnTo>
                  <a:lnTo>
                    <a:pt x="278" y="314"/>
                  </a:lnTo>
                  <a:lnTo>
                    <a:pt x="283" y="312"/>
                  </a:lnTo>
                  <a:lnTo>
                    <a:pt x="284" y="312"/>
                  </a:lnTo>
                  <a:lnTo>
                    <a:pt x="287" y="311"/>
                  </a:lnTo>
                  <a:lnTo>
                    <a:pt x="287" y="311"/>
                  </a:lnTo>
                  <a:lnTo>
                    <a:pt x="288" y="311"/>
                  </a:lnTo>
                  <a:lnTo>
                    <a:pt x="289" y="311"/>
                  </a:lnTo>
                  <a:lnTo>
                    <a:pt x="289" y="311"/>
                  </a:lnTo>
                  <a:lnTo>
                    <a:pt x="290" y="311"/>
                  </a:lnTo>
                  <a:lnTo>
                    <a:pt x="290" y="311"/>
                  </a:lnTo>
                  <a:lnTo>
                    <a:pt x="291" y="312"/>
                  </a:lnTo>
                  <a:lnTo>
                    <a:pt x="291" y="312"/>
                  </a:lnTo>
                  <a:lnTo>
                    <a:pt x="292" y="313"/>
                  </a:lnTo>
                  <a:lnTo>
                    <a:pt x="292" y="314"/>
                  </a:lnTo>
                  <a:lnTo>
                    <a:pt x="293" y="315"/>
                  </a:lnTo>
                  <a:lnTo>
                    <a:pt x="293" y="316"/>
                  </a:lnTo>
                  <a:lnTo>
                    <a:pt x="294" y="317"/>
                  </a:lnTo>
                  <a:lnTo>
                    <a:pt x="294" y="318"/>
                  </a:lnTo>
                  <a:lnTo>
                    <a:pt x="295" y="320"/>
                  </a:lnTo>
                  <a:lnTo>
                    <a:pt x="295" y="321"/>
                  </a:lnTo>
                  <a:lnTo>
                    <a:pt x="295" y="323"/>
                  </a:lnTo>
                  <a:lnTo>
                    <a:pt x="295" y="324"/>
                  </a:lnTo>
                  <a:lnTo>
                    <a:pt x="295" y="325"/>
                  </a:lnTo>
                  <a:lnTo>
                    <a:pt x="295" y="326"/>
                  </a:lnTo>
                  <a:lnTo>
                    <a:pt x="295" y="327"/>
                  </a:lnTo>
                  <a:lnTo>
                    <a:pt x="295" y="328"/>
                  </a:lnTo>
                  <a:lnTo>
                    <a:pt x="294" y="332"/>
                  </a:lnTo>
                  <a:lnTo>
                    <a:pt x="293" y="334"/>
                  </a:lnTo>
                  <a:lnTo>
                    <a:pt x="293" y="335"/>
                  </a:lnTo>
                  <a:lnTo>
                    <a:pt x="293" y="336"/>
                  </a:lnTo>
                  <a:lnTo>
                    <a:pt x="293" y="337"/>
                  </a:lnTo>
                  <a:lnTo>
                    <a:pt x="293" y="338"/>
                  </a:lnTo>
                  <a:lnTo>
                    <a:pt x="293" y="340"/>
                  </a:lnTo>
                  <a:lnTo>
                    <a:pt x="293" y="341"/>
                  </a:lnTo>
                  <a:lnTo>
                    <a:pt x="294" y="343"/>
                  </a:lnTo>
                  <a:lnTo>
                    <a:pt x="294" y="345"/>
                  </a:lnTo>
                  <a:lnTo>
                    <a:pt x="294" y="346"/>
                  </a:lnTo>
                  <a:lnTo>
                    <a:pt x="295" y="347"/>
                  </a:lnTo>
                  <a:lnTo>
                    <a:pt x="295" y="348"/>
                  </a:lnTo>
                  <a:lnTo>
                    <a:pt x="296" y="349"/>
                  </a:lnTo>
                  <a:lnTo>
                    <a:pt x="296" y="349"/>
                  </a:lnTo>
                  <a:lnTo>
                    <a:pt x="297" y="350"/>
                  </a:lnTo>
                  <a:lnTo>
                    <a:pt x="298" y="351"/>
                  </a:lnTo>
                  <a:lnTo>
                    <a:pt x="299" y="351"/>
                  </a:lnTo>
                  <a:lnTo>
                    <a:pt x="300" y="352"/>
                  </a:lnTo>
                  <a:lnTo>
                    <a:pt x="301" y="353"/>
                  </a:lnTo>
                  <a:lnTo>
                    <a:pt x="302" y="353"/>
                  </a:lnTo>
                  <a:lnTo>
                    <a:pt x="303" y="354"/>
                  </a:lnTo>
                  <a:lnTo>
                    <a:pt x="304" y="354"/>
                  </a:lnTo>
                  <a:lnTo>
                    <a:pt x="304" y="354"/>
                  </a:lnTo>
                  <a:lnTo>
                    <a:pt x="305" y="354"/>
                  </a:lnTo>
                  <a:lnTo>
                    <a:pt x="306" y="353"/>
                  </a:lnTo>
                  <a:lnTo>
                    <a:pt x="306" y="353"/>
                  </a:lnTo>
                  <a:lnTo>
                    <a:pt x="307" y="353"/>
                  </a:lnTo>
                  <a:lnTo>
                    <a:pt x="308" y="352"/>
                  </a:lnTo>
                  <a:lnTo>
                    <a:pt x="309" y="352"/>
                  </a:lnTo>
                  <a:lnTo>
                    <a:pt x="309" y="351"/>
                  </a:lnTo>
                  <a:lnTo>
                    <a:pt x="310" y="351"/>
                  </a:lnTo>
                  <a:lnTo>
                    <a:pt x="310" y="351"/>
                  </a:lnTo>
                  <a:lnTo>
                    <a:pt x="310" y="351"/>
                  </a:lnTo>
                  <a:lnTo>
                    <a:pt x="311" y="351"/>
                  </a:lnTo>
                  <a:lnTo>
                    <a:pt x="311" y="352"/>
                  </a:lnTo>
                  <a:lnTo>
                    <a:pt x="312" y="352"/>
                  </a:lnTo>
                  <a:lnTo>
                    <a:pt x="313" y="353"/>
                  </a:lnTo>
                  <a:lnTo>
                    <a:pt x="313" y="354"/>
                  </a:lnTo>
                  <a:lnTo>
                    <a:pt x="314" y="355"/>
                  </a:lnTo>
                  <a:lnTo>
                    <a:pt x="316" y="356"/>
                  </a:lnTo>
                  <a:lnTo>
                    <a:pt x="317" y="358"/>
                  </a:lnTo>
                  <a:lnTo>
                    <a:pt x="317" y="359"/>
                  </a:lnTo>
                  <a:lnTo>
                    <a:pt x="318" y="360"/>
                  </a:lnTo>
                  <a:lnTo>
                    <a:pt x="319" y="362"/>
                  </a:lnTo>
                  <a:lnTo>
                    <a:pt x="320" y="363"/>
                  </a:lnTo>
                  <a:lnTo>
                    <a:pt x="321" y="365"/>
                  </a:lnTo>
                  <a:lnTo>
                    <a:pt x="322" y="366"/>
                  </a:lnTo>
                  <a:lnTo>
                    <a:pt x="322" y="367"/>
                  </a:lnTo>
                  <a:lnTo>
                    <a:pt x="323" y="367"/>
                  </a:lnTo>
                  <a:lnTo>
                    <a:pt x="324" y="368"/>
                  </a:lnTo>
                  <a:lnTo>
                    <a:pt x="331" y="374"/>
                  </a:lnTo>
                  <a:lnTo>
                    <a:pt x="333" y="374"/>
                  </a:lnTo>
                  <a:lnTo>
                    <a:pt x="334" y="376"/>
                  </a:lnTo>
                  <a:lnTo>
                    <a:pt x="337" y="379"/>
                  </a:lnTo>
                  <a:lnTo>
                    <a:pt x="339" y="381"/>
                  </a:lnTo>
                  <a:lnTo>
                    <a:pt x="340" y="382"/>
                  </a:lnTo>
                  <a:lnTo>
                    <a:pt x="342" y="384"/>
                  </a:lnTo>
                  <a:lnTo>
                    <a:pt x="343" y="386"/>
                  </a:lnTo>
                  <a:lnTo>
                    <a:pt x="345" y="389"/>
                  </a:lnTo>
                  <a:lnTo>
                    <a:pt x="346" y="392"/>
                  </a:lnTo>
                  <a:lnTo>
                    <a:pt x="347" y="393"/>
                  </a:lnTo>
                  <a:lnTo>
                    <a:pt x="347" y="393"/>
                  </a:lnTo>
                  <a:lnTo>
                    <a:pt x="347" y="394"/>
                  </a:lnTo>
                  <a:lnTo>
                    <a:pt x="347" y="395"/>
                  </a:lnTo>
                  <a:lnTo>
                    <a:pt x="347" y="395"/>
                  </a:lnTo>
                  <a:lnTo>
                    <a:pt x="347" y="396"/>
                  </a:lnTo>
                  <a:lnTo>
                    <a:pt x="347" y="397"/>
                  </a:lnTo>
                  <a:lnTo>
                    <a:pt x="346" y="398"/>
                  </a:lnTo>
                  <a:lnTo>
                    <a:pt x="346" y="399"/>
                  </a:lnTo>
                  <a:lnTo>
                    <a:pt x="345" y="400"/>
                  </a:lnTo>
                  <a:lnTo>
                    <a:pt x="345" y="401"/>
                  </a:lnTo>
                  <a:lnTo>
                    <a:pt x="345" y="401"/>
                  </a:lnTo>
                  <a:lnTo>
                    <a:pt x="345" y="402"/>
                  </a:lnTo>
                  <a:lnTo>
                    <a:pt x="346" y="403"/>
                  </a:lnTo>
                  <a:lnTo>
                    <a:pt x="346" y="404"/>
                  </a:lnTo>
                  <a:lnTo>
                    <a:pt x="347" y="404"/>
                  </a:lnTo>
                  <a:lnTo>
                    <a:pt x="347" y="405"/>
                  </a:lnTo>
                  <a:lnTo>
                    <a:pt x="347" y="405"/>
                  </a:lnTo>
                  <a:lnTo>
                    <a:pt x="348" y="405"/>
                  </a:lnTo>
                  <a:lnTo>
                    <a:pt x="349" y="405"/>
                  </a:lnTo>
                  <a:lnTo>
                    <a:pt x="349" y="405"/>
                  </a:lnTo>
                  <a:lnTo>
                    <a:pt x="349" y="405"/>
                  </a:lnTo>
                  <a:lnTo>
                    <a:pt x="350" y="405"/>
                  </a:lnTo>
                  <a:lnTo>
                    <a:pt x="352" y="403"/>
                  </a:lnTo>
                  <a:lnTo>
                    <a:pt x="353" y="402"/>
                  </a:lnTo>
                  <a:lnTo>
                    <a:pt x="354" y="401"/>
                  </a:lnTo>
                  <a:lnTo>
                    <a:pt x="355" y="401"/>
                  </a:lnTo>
                  <a:lnTo>
                    <a:pt x="356" y="401"/>
                  </a:lnTo>
                  <a:lnTo>
                    <a:pt x="357" y="400"/>
                  </a:lnTo>
                  <a:lnTo>
                    <a:pt x="357" y="400"/>
                  </a:lnTo>
                  <a:lnTo>
                    <a:pt x="358" y="400"/>
                  </a:lnTo>
                  <a:lnTo>
                    <a:pt x="358" y="401"/>
                  </a:lnTo>
                  <a:lnTo>
                    <a:pt x="359" y="401"/>
                  </a:lnTo>
                  <a:lnTo>
                    <a:pt x="359" y="401"/>
                  </a:lnTo>
                  <a:lnTo>
                    <a:pt x="359" y="401"/>
                  </a:lnTo>
                  <a:lnTo>
                    <a:pt x="360" y="402"/>
                  </a:lnTo>
                  <a:lnTo>
                    <a:pt x="361" y="403"/>
                  </a:lnTo>
                  <a:lnTo>
                    <a:pt x="362" y="404"/>
                  </a:lnTo>
                  <a:lnTo>
                    <a:pt x="362" y="405"/>
                  </a:lnTo>
                  <a:lnTo>
                    <a:pt x="364" y="408"/>
                  </a:lnTo>
                  <a:lnTo>
                    <a:pt x="365" y="411"/>
                  </a:lnTo>
                  <a:lnTo>
                    <a:pt x="365" y="411"/>
                  </a:lnTo>
                  <a:lnTo>
                    <a:pt x="365" y="412"/>
                  </a:lnTo>
                  <a:lnTo>
                    <a:pt x="365" y="412"/>
                  </a:lnTo>
                  <a:lnTo>
                    <a:pt x="365" y="413"/>
                  </a:lnTo>
                  <a:lnTo>
                    <a:pt x="365" y="413"/>
                  </a:lnTo>
                  <a:lnTo>
                    <a:pt x="364" y="414"/>
                  </a:lnTo>
                  <a:lnTo>
                    <a:pt x="364" y="415"/>
                  </a:lnTo>
                  <a:lnTo>
                    <a:pt x="363" y="416"/>
                  </a:lnTo>
                  <a:lnTo>
                    <a:pt x="362" y="418"/>
                  </a:lnTo>
                  <a:lnTo>
                    <a:pt x="361" y="419"/>
                  </a:lnTo>
                  <a:lnTo>
                    <a:pt x="361" y="420"/>
                  </a:lnTo>
                  <a:lnTo>
                    <a:pt x="360" y="421"/>
                  </a:lnTo>
                  <a:lnTo>
                    <a:pt x="360" y="421"/>
                  </a:lnTo>
                  <a:lnTo>
                    <a:pt x="359" y="422"/>
                  </a:lnTo>
                  <a:lnTo>
                    <a:pt x="358" y="422"/>
                  </a:lnTo>
                  <a:lnTo>
                    <a:pt x="358" y="422"/>
                  </a:lnTo>
                  <a:lnTo>
                    <a:pt x="357" y="423"/>
                  </a:lnTo>
                  <a:lnTo>
                    <a:pt x="357" y="423"/>
                  </a:lnTo>
                  <a:lnTo>
                    <a:pt x="356" y="423"/>
                  </a:lnTo>
                  <a:lnTo>
                    <a:pt x="355" y="423"/>
                  </a:lnTo>
                  <a:lnTo>
                    <a:pt x="355" y="423"/>
                  </a:lnTo>
                  <a:lnTo>
                    <a:pt x="354" y="423"/>
                  </a:lnTo>
                  <a:lnTo>
                    <a:pt x="353" y="423"/>
                  </a:lnTo>
                  <a:lnTo>
                    <a:pt x="351" y="422"/>
                  </a:lnTo>
                  <a:lnTo>
                    <a:pt x="348" y="422"/>
                  </a:lnTo>
                  <a:lnTo>
                    <a:pt x="347" y="421"/>
                  </a:lnTo>
                  <a:lnTo>
                    <a:pt x="346" y="421"/>
                  </a:lnTo>
                  <a:lnTo>
                    <a:pt x="345" y="421"/>
                  </a:lnTo>
                  <a:lnTo>
                    <a:pt x="344" y="421"/>
                  </a:lnTo>
                  <a:lnTo>
                    <a:pt x="344" y="421"/>
                  </a:lnTo>
                  <a:lnTo>
                    <a:pt x="344" y="422"/>
                  </a:lnTo>
                  <a:lnTo>
                    <a:pt x="343" y="423"/>
                  </a:lnTo>
                  <a:lnTo>
                    <a:pt x="342" y="424"/>
                  </a:lnTo>
                  <a:lnTo>
                    <a:pt x="341" y="426"/>
                  </a:lnTo>
                  <a:lnTo>
                    <a:pt x="341" y="426"/>
                  </a:lnTo>
                  <a:lnTo>
                    <a:pt x="340" y="427"/>
                  </a:lnTo>
                  <a:lnTo>
                    <a:pt x="340" y="428"/>
                  </a:lnTo>
                  <a:lnTo>
                    <a:pt x="339" y="428"/>
                  </a:lnTo>
                  <a:lnTo>
                    <a:pt x="338" y="429"/>
                  </a:lnTo>
                  <a:lnTo>
                    <a:pt x="336" y="430"/>
                  </a:lnTo>
                  <a:lnTo>
                    <a:pt x="335" y="431"/>
                  </a:lnTo>
                  <a:lnTo>
                    <a:pt x="334" y="432"/>
                  </a:lnTo>
                  <a:lnTo>
                    <a:pt x="333" y="434"/>
                  </a:lnTo>
                  <a:lnTo>
                    <a:pt x="331" y="436"/>
                  </a:lnTo>
                  <a:lnTo>
                    <a:pt x="330" y="436"/>
                  </a:lnTo>
                  <a:lnTo>
                    <a:pt x="330" y="437"/>
                  </a:lnTo>
                  <a:lnTo>
                    <a:pt x="330" y="438"/>
                  </a:lnTo>
                  <a:lnTo>
                    <a:pt x="330" y="438"/>
                  </a:lnTo>
                  <a:lnTo>
                    <a:pt x="329" y="439"/>
                  </a:lnTo>
                  <a:lnTo>
                    <a:pt x="329" y="442"/>
                  </a:lnTo>
                  <a:lnTo>
                    <a:pt x="329" y="443"/>
                  </a:lnTo>
                  <a:lnTo>
                    <a:pt x="329" y="444"/>
                  </a:lnTo>
                  <a:lnTo>
                    <a:pt x="329" y="446"/>
                  </a:lnTo>
                  <a:lnTo>
                    <a:pt x="328" y="447"/>
                  </a:lnTo>
                  <a:lnTo>
                    <a:pt x="327" y="450"/>
                  </a:lnTo>
                  <a:lnTo>
                    <a:pt x="326" y="453"/>
                  </a:lnTo>
                  <a:lnTo>
                    <a:pt x="325" y="456"/>
                  </a:lnTo>
                  <a:lnTo>
                    <a:pt x="324" y="456"/>
                  </a:lnTo>
                  <a:lnTo>
                    <a:pt x="324" y="457"/>
                  </a:lnTo>
                  <a:lnTo>
                    <a:pt x="323" y="457"/>
                  </a:lnTo>
                  <a:lnTo>
                    <a:pt x="323" y="458"/>
                  </a:lnTo>
                  <a:lnTo>
                    <a:pt x="322" y="458"/>
                  </a:lnTo>
                  <a:lnTo>
                    <a:pt x="322" y="458"/>
                  </a:lnTo>
                  <a:lnTo>
                    <a:pt x="321" y="459"/>
                  </a:lnTo>
                  <a:lnTo>
                    <a:pt x="318" y="460"/>
                  </a:lnTo>
                  <a:lnTo>
                    <a:pt x="316" y="460"/>
                  </a:lnTo>
                  <a:lnTo>
                    <a:pt x="315" y="460"/>
                  </a:lnTo>
                  <a:lnTo>
                    <a:pt x="314" y="460"/>
                  </a:lnTo>
                  <a:lnTo>
                    <a:pt x="312" y="460"/>
                  </a:lnTo>
                  <a:lnTo>
                    <a:pt x="311" y="460"/>
                  </a:lnTo>
                  <a:lnTo>
                    <a:pt x="310" y="459"/>
                  </a:lnTo>
                  <a:lnTo>
                    <a:pt x="309" y="459"/>
                  </a:lnTo>
                  <a:lnTo>
                    <a:pt x="308" y="458"/>
                  </a:lnTo>
                  <a:lnTo>
                    <a:pt x="307" y="458"/>
                  </a:lnTo>
                  <a:lnTo>
                    <a:pt x="306" y="457"/>
                  </a:lnTo>
                  <a:lnTo>
                    <a:pt x="306" y="457"/>
                  </a:lnTo>
                  <a:lnTo>
                    <a:pt x="304" y="455"/>
                  </a:lnTo>
                  <a:lnTo>
                    <a:pt x="303" y="454"/>
                  </a:lnTo>
                  <a:lnTo>
                    <a:pt x="302" y="453"/>
                  </a:lnTo>
                  <a:lnTo>
                    <a:pt x="301" y="452"/>
                  </a:lnTo>
                  <a:lnTo>
                    <a:pt x="300" y="452"/>
                  </a:lnTo>
                  <a:lnTo>
                    <a:pt x="299" y="451"/>
                  </a:lnTo>
                  <a:lnTo>
                    <a:pt x="298" y="451"/>
                  </a:lnTo>
                  <a:lnTo>
                    <a:pt x="297" y="451"/>
                  </a:lnTo>
                  <a:lnTo>
                    <a:pt x="296" y="451"/>
                  </a:lnTo>
                  <a:lnTo>
                    <a:pt x="296" y="451"/>
                  </a:lnTo>
                  <a:lnTo>
                    <a:pt x="295" y="452"/>
                  </a:lnTo>
                  <a:lnTo>
                    <a:pt x="294" y="452"/>
                  </a:lnTo>
                  <a:lnTo>
                    <a:pt x="294" y="452"/>
                  </a:lnTo>
                  <a:lnTo>
                    <a:pt x="293" y="453"/>
                  </a:lnTo>
                  <a:lnTo>
                    <a:pt x="292" y="456"/>
                  </a:lnTo>
                  <a:lnTo>
                    <a:pt x="291" y="456"/>
                  </a:lnTo>
                  <a:lnTo>
                    <a:pt x="291" y="456"/>
                  </a:lnTo>
                  <a:lnTo>
                    <a:pt x="291" y="457"/>
                  </a:lnTo>
                  <a:lnTo>
                    <a:pt x="290" y="457"/>
                  </a:lnTo>
                  <a:lnTo>
                    <a:pt x="290" y="457"/>
                  </a:lnTo>
                  <a:lnTo>
                    <a:pt x="290" y="457"/>
                  </a:lnTo>
                  <a:lnTo>
                    <a:pt x="289" y="457"/>
                  </a:lnTo>
                  <a:lnTo>
                    <a:pt x="288" y="457"/>
                  </a:lnTo>
                  <a:lnTo>
                    <a:pt x="287" y="457"/>
                  </a:lnTo>
                  <a:lnTo>
                    <a:pt x="286" y="457"/>
                  </a:lnTo>
                  <a:lnTo>
                    <a:pt x="285" y="456"/>
                  </a:lnTo>
                  <a:lnTo>
                    <a:pt x="285" y="456"/>
                  </a:lnTo>
                  <a:lnTo>
                    <a:pt x="284" y="456"/>
                  </a:lnTo>
                  <a:lnTo>
                    <a:pt x="283" y="457"/>
                  </a:lnTo>
                  <a:lnTo>
                    <a:pt x="282" y="457"/>
                  </a:lnTo>
                  <a:lnTo>
                    <a:pt x="282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8"/>
                  </a:lnTo>
                  <a:lnTo>
                    <a:pt x="281" y="458"/>
                  </a:lnTo>
                  <a:lnTo>
                    <a:pt x="281" y="458"/>
                  </a:lnTo>
                  <a:lnTo>
                    <a:pt x="281" y="459"/>
                  </a:lnTo>
                  <a:lnTo>
                    <a:pt x="281" y="459"/>
                  </a:lnTo>
                  <a:lnTo>
                    <a:pt x="281" y="460"/>
                  </a:lnTo>
                  <a:lnTo>
                    <a:pt x="281" y="461"/>
                  </a:lnTo>
                  <a:lnTo>
                    <a:pt x="283" y="465"/>
                  </a:lnTo>
                  <a:lnTo>
                    <a:pt x="284" y="467"/>
                  </a:lnTo>
                  <a:lnTo>
                    <a:pt x="284" y="468"/>
                  </a:lnTo>
                  <a:lnTo>
                    <a:pt x="285" y="469"/>
                  </a:lnTo>
                  <a:lnTo>
                    <a:pt x="285" y="470"/>
                  </a:lnTo>
                  <a:lnTo>
                    <a:pt x="285" y="471"/>
                  </a:lnTo>
                  <a:lnTo>
                    <a:pt x="285" y="471"/>
                  </a:lnTo>
                  <a:lnTo>
                    <a:pt x="284" y="472"/>
                  </a:lnTo>
                  <a:lnTo>
                    <a:pt x="284" y="473"/>
                  </a:lnTo>
                  <a:lnTo>
                    <a:pt x="284" y="474"/>
                  </a:lnTo>
                  <a:lnTo>
                    <a:pt x="283" y="475"/>
                  </a:lnTo>
                  <a:lnTo>
                    <a:pt x="282" y="476"/>
                  </a:lnTo>
                  <a:lnTo>
                    <a:pt x="282" y="476"/>
                  </a:lnTo>
                  <a:lnTo>
                    <a:pt x="281" y="477"/>
                  </a:lnTo>
                  <a:lnTo>
                    <a:pt x="280" y="478"/>
                  </a:lnTo>
                  <a:lnTo>
                    <a:pt x="280" y="478"/>
                  </a:lnTo>
                  <a:lnTo>
                    <a:pt x="279" y="478"/>
                  </a:lnTo>
                  <a:lnTo>
                    <a:pt x="278" y="479"/>
                  </a:lnTo>
                  <a:lnTo>
                    <a:pt x="277" y="479"/>
                  </a:lnTo>
                  <a:lnTo>
                    <a:pt x="276" y="479"/>
                  </a:lnTo>
                  <a:lnTo>
                    <a:pt x="275" y="479"/>
                  </a:lnTo>
                  <a:lnTo>
                    <a:pt x="274" y="479"/>
                  </a:lnTo>
                  <a:lnTo>
                    <a:pt x="273" y="479"/>
                  </a:lnTo>
                  <a:lnTo>
                    <a:pt x="273" y="479"/>
                  </a:lnTo>
                  <a:lnTo>
                    <a:pt x="272" y="479"/>
                  </a:lnTo>
                  <a:lnTo>
                    <a:pt x="271" y="479"/>
                  </a:lnTo>
                  <a:lnTo>
                    <a:pt x="270" y="478"/>
                  </a:lnTo>
                  <a:lnTo>
                    <a:pt x="268" y="478"/>
                  </a:lnTo>
                  <a:lnTo>
                    <a:pt x="268" y="477"/>
                  </a:lnTo>
                  <a:lnTo>
                    <a:pt x="267" y="477"/>
                  </a:lnTo>
                  <a:lnTo>
                    <a:pt x="266" y="477"/>
                  </a:lnTo>
                  <a:lnTo>
                    <a:pt x="265" y="477"/>
                  </a:lnTo>
                  <a:lnTo>
                    <a:pt x="263" y="477"/>
                  </a:lnTo>
                  <a:lnTo>
                    <a:pt x="262" y="477"/>
                  </a:lnTo>
                  <a:lnTo>
                    <a:pt x="260" y="477"/>
                  </a:lnTo>
                  <a:lnTo>
                    <a:pt x="258" y="477"/>
                  </a:lnTo>
                  <a:lnTo>
                    <a:pt x="256" y="477"/>
                  </a:lnTo>
                  <a:lnTo>
                    <a:pt x="255" y="478"/>
                  </a:lnTo>
                  <a:lnTo>
                    <a:pt x="253" y="478"/>
                  </a:lnTo>
                  <a:lnTo>
                    <a:pt x="251" y="479"/>
                  </a:lnTo>
                  <a:lnTo>
                    <a:pt x="248" y="480"/>
                  </a:lnTo>
                  <a:lnTo>
                    <a:pt x="247" y="480"/>
                  </a:lnTo>
                  <a:lnTo>
                    <a:pt x="247" y="480"/>
                  </a:lnTo>
                  <a:lnTo>
                    <a:pt x="247" y="480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2"/>
                  </a:lnTo>
                  <a:lnTo>
                    <a:pt x="246" y="483"/>
                  </a:lnTo>
                  <a:lnTo>
                    <a:pt x="245" y="485"/>
                  </a:lnTo>
                  <a:lnTo>
                    <a:pt x="245" y="487"/>
                  </a:lnTo>
                  <a:lnTo>
                    <a:pt x="245" y="488"/>
                  </a:lnTo>
                  <a:lnTo>
                    <a:pt x="244" y="488"/>
                  </a:lnTo>
                  <a:lnTo>
                    <a:pt x="244" y="489"/>
                  </a:lnTo>
                  <a:lnTo>
                    <a:pt x="243" y="490"/>
                  </a:lnTo>
                  <a:lnTo>
                    <a:pt x="242" y="492"/>
                  </a:lnTo>
                  <a:lnTo>
                    <a:pt x="242" y="493"/>
                  </a:lnTo>
                  <a:lnTo>
                    <a:pt x="241" y="494"/>
                  </a:lnTo>
                  <a:lnTo>
                    <a:pt x="240" y="495"/>
                  </a:lnTo>
                  <a:lnTo>
                    <a:pt x="240" y="495"/>
                  </a:lnTo>
                  <a:lnTo>
                    <a:pt x="239" y="496"/>
                  </a:lnTo>
                  <a:lnTo>
                    <a:pt x="238" y="497"/>
                  </a:lnTo>
                  <a:lnTo>
                    <a:pt x="237" y="497"/>
                  </a:lnTo>
                  <a:lnTo>
                    <a:pt x="236" y="497"/>
                  </a:lnTo>
                  <a:lnTo>
                    <a:pt x="236" y="497"/>
                  </a:lnTo>
                  <a:lnTo>
                    <a:pt x="235" y="497"/>
                  </a:lnTo>
                  <a:lnTo>
                    <a:pt x="234" y="497"/>
                  </a:lnTo>
                  <a:lnTo>
                    <a:pt x="233" y="496"/>
                  </a:lnTo>
                  <a:lnTo>
                    <a:pt x="230" y="494"/>
                  </a:lnTo>
                  <a:lnTo>
                    <a:pt x="229" y="493"/>
                  </a:lnTo>
                  <a:lnTo>
                    <a:pt x="228" y="492"/>
                  </a:lnTo>
                  <a:lnTo>
                    <a:pt x="227" y="492"/>
                  </a:lnTo>
                  <a:lnTo>
                    <a:pt x="227" y="491"/>
                  </a:lnTo>
                  <a:lnTo>
                    <a:pt x="226" y="491"/>
                  </a:lnTo>
                  <a:lnTo>
                    <a:pt x="225" y="491"/>
                  </a:lnTo>
                  <a:lnTo>
                    <a:pt x="224" y="491"/>
                  </a:lnTo>
                  <a:lnTo>
                    <a:pt x="223" y="491"/>
                  </a:lnTo>
                  <a:lnTo>
                    <a:pt x="221" y="491"/>
                  </a:lnTo>
                  <a:lnTo>
                    <a:pt x="219" y="490"/>
                  </a:lnTo>
                  <a:lnTo>
                    <a:pt x="217" y="490"/>
                  </a:lnTo>
                  <a:lnTo>
                    <a:pt x="215" y="489"/>
                  </a:lnTo>
                  <a:lnTo>
                    <a:pt x="213" y="489"/>
                  </a:lnTo>
                  <a:lnTo>
                    <a:pt x="212" y="488"/>
                  </a:lnTo>
                  <a:lnTo>
                    <a:pt x="211" y="488"/>
                  </a:lnTo>
                  <a:lnTo>
                    <a:pt x="208" y="488"/>
                  </a:lnTo>
                  <a:lnTo>
                    <a:pt x="208" y="488"/>
                  </a:lnTo>
                  <a:lnTo>
                    <a:pt x="207" y="488"/>
                  </a:lnTo>
                  <a:lnTo>
                    <a:pt x="207" y="487"/>
                  </a:lnTo>
                  <a:lnTo>
                    <a:pt x="206" y="487"/>
                  </a:lnTo>
                  <a:lnTo>
                    <a:pt x="206" y="486"/>
                  </a:lnTo>
                  <a:lnTo>
                    <a:pt x="206" y="486"/>
                  </a:lnTo>
                  <a:lnTo>
                    <a:pt x="205" y="485"/>
                  </a:lnTo>
                  <a:lnTo>
                    <a:pt x="205" y="484"/>
                  </a:lnTo>
                  <a:lnTo>
                    <a:pt x="205" y="481"/>
                  </a:lnTo>
                  <a:lnTo>
                    <a:pt x="205" y="480"/>
                  </a:lnTo>
                  <a:lnTo>
                    <a:pt x="204" y="480"/>
                  </a:lnTo>
                  <a:lnTo>
                    <a:pt x="204" y="479"/>
                  </a:lnTo>
                  <a:lnTo>
                    <a:pt x="204" y="478"/>
                  </a:lnTo>
                  <a:lnTo>
                    <a:pt x="203" y="478"/>
                  </a:lnTo>
                  <a:lnTo>
                    <a:pt x="203" y="477"/>
                  </a:lnTo>
                  <a:lnTo>
                    <a:pt x="202" y="477"/>
                  </a:lnTo>
                  <a:lnTo>
                    <a:pt x="202" y="477"/>
                  </a:lnTo>
                  <a:lnTo>
                    <a:pt x="201" y="477"/>
                  </a:lnTo>
                  <a:lnTo>
                    <a:pt x="201" y="477"/>
                  </a:lnTo>
                  <a:lnTo>
                    <a:pt x="200" y="477"/>
                  </a:lnTo>
                  <a:lnTo>
                    <a:pt x="199" y="478"/>
                  </a:lnTo>
                  <a:lnTo>
                    <a:pt x="199" y="478"/>
                  </a:lnTo>
                  <a:lnTo>
                    <a:pt x="199" y="478"/>
                  </a:lnTo>
                  <a:lnTo>
                    <a:pt x="198" y="479"/>
                  </a:lnTo>
                  <a:lnTo>
                    <a:pt x="198" y="479"/>
                  </a:lnTo>
                  <a:lnTo>
                    <a:pt x="197" y="480"/>
                  </a:lnTo>
                  <a:lnTo>
                    <a:pt x="195" y="484"/>
                  </a:lnTo>
                  <a:lnTo>
                    <a:pt x="194" y="486"/>
                  </a:lnTo>
                  <a:lnTo>
                    <a:pt x="194" y="487"/>
                  </a:lnTo>
                  <a:lnTo>
                    <a:pt x="193" y="488"/>
                  </a:lnTo>
                  <a:lnTo>
                    <a:pt x="193" y="489"/>
                  </a:lnTo>
                  <a:lnTo>
                    <a:pt x="193" y="490"/>
                  </a:lnTo>
                  <a:lnTo>
                    <a:pt x="193" y="491"/>
                  </a:lnTo>
                  <a:lnTo>
                    <a:pt x="193" y="493"/>
                  </a:lnTo>
                  <a:lnTo>
                    <a:pt x="194" y="494"/>
                  </a:lnTo>
                  <a:lnTo>
                    <a:pt x="194" y="496"/>
                  </a:lnTo>
                  <a:lnTo>
                    <a:pt x="195" y="497"/>
                  </a:lnTo>
                  <a:lnTo>
                    <a:pt x="196" y="499"/>
                  </a:lnTo>
                  <a:lnTo>
                    <a:pt x="197" y="501"/>
                  </a:lnTo>
                  <a:lnTo>
                    <a:pt x="197" y="502"/>
                  </a:lnTo>
                  <a:lnTo>
                    <a:pt x="197" y="503"/>
                  </a:lnTo>
                  <a:lnTo>
                    <a:pt x="197" y="504"/>
                  </a:lnTo>
                  <a:lnTo>
                    <a:pt x="197" y="505"/>
                  </a:lnTo>
                  <a:lnTo>
                    <a:pt x="197" y="506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6" y="508"/>
                  </a:lnTo>
                  <a:lnTo>
                    <a:pt x="195" y="509"/>
                  </a:lnTo>
                  <a:lnTo>
                    <a:pt x="193" y="511"/>
                  </a:lnTo>
                  <a:lnTo>
                    <a:pt x="191" y="513"/>
                  </a:lnTo>
                  <a:lnTo>
                    <a:pt x="190" y="514"/>
                  </a:lnTo>
                  <a:lnTo>
                    <a:pt x="189" y="514"/>
                  </a:lnTo>
                  <a:lnTo>
                    <a:pt x="189" y="515"/>
                  </a:lnTo>
                  <a:lnTo>
                    <a:pt x="188" y="516"/>
                  </a:lnTo>
                  <a:lnTo>
                    <a:pt x="186" y="519"/>
                  </a:lnTo>
                  <a:lnTo>
                    <a:pt x="184" y="521"/>
                  </a:lnTo>
                  <a:lnTo>
                    <a:pt x="182" y="524"/>
                  </a:lnTo>
                  <a:lnTo>
                    <a:pt x="181" y="525"/>
                  </a:lnTo>
                  <a:lnTo>
                    <a:pt x="180" y="526"/>
                  </a:lnTo>
                  <a:lnTo>
                    <a:pt x="180" y="527"/>
                  </a:lnTo>
                  <a:lnTo>
                    <a:pt x="179" y="527"/>
                  </a:lnTo>
                  <a:lnTo>
                    <a:pt x="178" y="528"/>
                  </a:lnTo>
                  <a:lnTo>
                    <a:pt x="177" y="528"/>
                  </a:lnTo>
                  <a:lnTo>
                    <a:pt x="177" y="529"/>
                  </a:lnTo>
                  <a:lnTo>
                    <a:pt x="176" y="529"/>
                  </a:lnTo>
                  <a:lnTo>
                    <a:pt x="175" y="529"/>
                  </a:lnTo>
                  <a:lnTo>
                    <a:pt x="174" y="529"/>
                  </a:lnTo>
                  <a:lnTo>
                    <a:pt x="174" y="529"/>
                  </a:lnTo>
                  <a:lnTo>
                    <a:pt x="170" y="529"/>
                  </a:lnTo>
                  <a:lnTo>
                    <a:pt x="169" y="530"/>
                  </a:lnTo>
                  <a:lnTo>
                    <a:pt x="165" y="530"/>
                  </a:lnTo>
                  <a:lnTo>
                    <a:pt x="163" y="530"/>
                  </a:lnTo>
                  <a:lnTo>
                    <a:pt x="162" y="531"/>
                  </a:lnTo>
                  <a:lnTo>
                    <a:pt x="156" y="532"/>
                  </a:lnTo>
                  <a:lnTo>
                    <a:pt x="155" y="532"/>
                  </a:lnTo>
                  <a:lnTo>
                    <a:pt x="153" y="532"/>
                  </a:lnTo>
                  <a:lnTo>
                    <a:pt x="152" y="532"/>
                  </a:lnTo>
                  <a:lnTo>
                    <a:pt x="151" y="533"/>
                  </a:lnTo>
                  <a:lnTo>
                    <a:pt x="151" y="533"/>
                  </a:lnTo>
                  <a:lnTo>
                    <a:pt x="150" y="533"/>
                  </a:lnTo>
                  <a:lnTo>
                    <a:pt x="149" y="534"/>
                  </a:lnTo>
                  <a:lnTo>
                    <a:pt x="148" y="535"/>
                  </a:lnTo>
                  <a:lnTo>
                    <a:pt x="148" y="536"/>
                  </a:lnTo>
                  <a:lnTo>
                    <a:pt x="147" y="536"/>
                  </a:lnTo>
                  <a:lnTo>
                    <a:pt x="146" y="539"/>
                  </a:lnTo>
                  <a:lnTo>
                    <a:pt x="145" y="539"/>
                  </a:lnTo>
                  <a:lnTo>
                    <a:pt x="145" y="540"/>
                  </a:lnTo>
                  <a:lnTo>
                    <a:pt x="144" y="541"/>
                  </a:lnTo>
                  <a:lnTo>
                    <a:pt x="144" y="541"/>
                  </a:lnTo>
                  <a:lnTo>
                    <a:pt x="143" y="541"/>
                  </a:lnTo>
                  <a:lnTo>
                    <a:pt x="143" y="541"/>
                  </a:lnTo>
                  <a:lnTo>
                    <a:pt x="142" y="541"/>
                  </a:lnTo>
                  <a:lnTo>
                    <a:pt x="142" y="541"/>
                  </a:lnTo>
                  <a:lnTo>
                    <a:pt x="141" y="541"/>
                  </a:lnTo>
                  <a:lnTo>
                    <a:pt x="141" y="541"/>
                  </a:lnTo>
                  <a:lnTo>
                    <a:pt x="141" y="541"/>
                  </a:lnTo>
                  <a:lnTo>
                    <a:pt x="141" y="539"/>
                  </a:lnTo>
                  <a:lnTo>
                    <a:pt x="139" y="534"/>
                  </a:lnTo>
                  <a:lnTo>
                    <a:pt x="137" y="531"/>
                  </a:lnTo>
                  <a:lnTo>
                    <a:pt x="137" y="530"/>
                  </a:lnTo>
                  <a:lnTo>
                    <a:pt x="136" y="527"/>
                  </a:lnTo>
                  <a:lnTo>
                    <a:pt x="134" y="522"/>
                  </a:lnTo>
                  <a:lnTo>
                    <a:pt x="134" y="521"/>
                  </a:lnTo>
                  <a:lnTo>
                    <a:pt x="134" y="520"/>
                  </a:lnTo>
                  <a:lnTo>
                    <a:pt x="133" y="519"/>
                  </a:lnTo>
                  <a:lnTo>
                    <a:pt x="133" y="519"/>
                  </a:lnTo>
                  <a:lnTo>
                    <a:pt x="132" y="518"/>
                  </a:lnTo>
                  <a:lnTo>
                    <a:pt x="131" y="517"/>
                  </a:lnTo>
                  <a:lnTo>
                    <a:pt x="128" y="515"/>
                  </a:lnTo>
                  <a:lnTo>
                    <a:pt x="127" y="514"/>
                  </a:lnTo>
                  <a:lnTo>
                    <a:pt x="126" y="513"/>
                  </a:lnTo>
                  <a:lnTo>
                    <a:pt x="124" y="512"/>
                  </a:lnTo>
                  <a:lnTo>
                    <a:pt x="122" y="512"/>
                  </a:lnTo>
                  <a:lnTo>
                    <a:pt x="121" y="511"/>
                  </a:lnTo>
                  <a:lnTo>
                    <a:pt x="118" y="510"/>
                  </a:lnTo>
                  <a:lnTo>
                    <a:pt x="116" y="509"/>
                  </a:lnTo>
                  <a:lnTo>
                    <a:pt x="114" y="509"/>
                  </a:lnTo>
                  <a:lnTo>
                    <a:pt x="112" y="508"/>
                  </a:lnTo>
                  <a:lnTo>
                    <a:pt x="111" y="507"/>
                  </a:lnTo>
                  <a:lnTo>
                    <a:pt x="108" y="506"/>
                  </a:lnTo>
                  <a:lnTo>
                    <a:pt x="107" y="505"/>
                  </a:lnTo>
                  <a:lnTo>
                    <a:pt x="107" y="505"/>
                  </a:lnTo>
                  <a:lnTo>
                    <a:pt x="106" y="504"/>
                  </a:lnTo>
                  <a:lnTo>
                    <a:pt x="106" y="504"/>
                  </a:lnTo>
                  <a:lnTo>
                    <a:pt x="106" y="504"/>
                  </a:lnTo>
                  <a:lnTo>
                    <a:pt x="105" y="503"/>
                  </a:lnTo>
                  <a:lnTo>
                    <a:pt x="105" y="503"/>
                  </a:lnTo>
                  <a:lnTo>
                    <a:pt x="105" y="502"/>
                  </a:lnTo>
                  <a:lnTo>
                    <a:pt x="105" y="502"/>
                  </a:lnTo>
                  <a:lnTo>
                    <a:pt x="106" y="500"/>
                  </a:lnTo>
                  <a:lnTo>
                    <a:pt x="106" y="497"/>
                  </a:lnTo>
                  <a:lnTo>
                    <a:pt x="107" y="494"/>
                  </a:lnTo>
                  <a:lnTo>
                    <a:pt x="107" y="492"/>
                  </a:lnTo>
                  <a:lnTo>
                    <a:pt x="107" y="491"/>
                  </a:lnTo>
                  <a:lnTo>
                    <a:pt x="107" y="489"/>
                  </a:lnTo>
                  <a:lnTo>
                    <a:pt x="108" y="488"/>
                  </a:lnTo>
                  <a:lnTo>
                    <a:pt x="107" y="486"/>
                  </a:lnTo>
                  <a:lnTo>
                    <a:pt x="107" y="485"/>
                  </a:lnTo>
                  <a:lnTo>
                    <a:pt x="107" y="485"/>
                  </a:lnTo>
                  <a:lnTo>
                    <a:pt x="107" y="484"/>
                  </a:lnTo>
                  <a:lnTo>
                    <a:pt x="107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5" y="484"/>
                  </a:lnTo>
                  <a:lnTo>
                    <a:pt x="105" y="485"/>
                  </a:lnTo>
                  <a:lnTo>
                    <a:pt x="104" y="486"/>
                  </a:lnTo>
                  <a:lnTo>
                    <a:pt x="104" y="487"/>
                  </a:lnTo>
                  <a:lnTo>
                    <a:pt x="103" y="487"/>
                  </a:lnTo>
                  <a:lnTo>
                    <a:pt x="103" y="487"/>
                  </a:lnTo>
                  <a:lnTo>
                    <a:pt x="103" y="487"/>
                  </a:lnTo>
                  <a:lnTo>
                    <a:pt x="102" y="487"/>
                  </a:lnTo>
                  <a:lnTo>
                    <a:pt x="102" y="487"/>
                  </a:lnTo>
                  <a:lnTo>
                    <a:pt x="101" y="487"/>
                  </a:lnTo>
                  <a:lnTo>
                    <a:pt x="101" y="487"/>
                  </a:lnTo>
                  <a:lnTo>
                    <a:pt x="101" y="487"/>
                  </a:lnTo>
                  <a:lnTo>
                    <a:pt x="100" y="486"/>
                  </a:lnTo>
                  <a:lnTo>
                    <a:pt x="100" y="486"/>
                  </a:lnTo>
                  <a:lnTo>
                    <a:pt x="99" y="485"/>
                  </a:lnTo>
                  <a:lnTo>
                    <a:pt x="98" y="485"/>
                  </a:lnTo>
                  <a:lnTo>
                    <a:pt x="97" y="483"/>
                  </a:lnTo>
                  <a:lnTo>
                    <a:pt x="97" y="482"/>
                  </a:lnTo>
                  <a:lnTo>
                    <a:pt x="96" y="482"/>
                  </a:lnTo>
                  <a:lnTo>
                    <a:pt x="96" y="481"/>
                  </a:lnTo>
                  <a:lnTo>
                    <a:pt x="94" y="478"/>
                  </a:lnTo>
                  <a:lnTo>
                    <a:pt x="94" y="478"/>
                  </a:lnTo>
                  <a:lnTo>
                    <a:pt x="94" y="477"/>
                  </a:lnTo>
                  <a:lnTo>
                    <a:pt x="93" y="476"/>
                  </a:lnTo>
                  <a:lnTo>
                    <a:pt x="93" y="476"/>
                  </a:lnTo>
                  <a:lnTo>
                    <a:pt x="91" y="475"/>
                  </a:lnTo>
                  <a:lnTo>
                    <a:pt x="90" y="474"/>
                  </a:lnTo>
                  <a:lnTo>
                    <a:pt x="90" y="473"/>
                  </a:lnTo>
                  <a:lnTo>
                    <a:pt x="89" y="472"/>
                  </a:lnTo>
                  <a:lnTo>
                    <a:pt x="89" y="471"/>
                  </a:lnTo>
                  <a:lnTo>
                    <a:pt x="88" y="471"/>
                  </a:lnTo>
                  <a:lnTo>
                    <a:pt x="88" y="468"/>
                  </a:lnTo>
                  <a:lnTo>
                    <a:pt x="87" y="464"/>
                  </a:lnTo>
                  <a:lnTo>
                    <a:pt x="86" y="462"/>
                  </a:lnTo>
                  <a:lnTo>
                    <a:pt x="85" y="461"/>
                  </a:lnTo>
                  <a:lnTo>
                    <a:pt x="85" y="460"/>
                  </a:lnTo>
                  <a:lnTo>
                    <a:pt x="84" y="459"/>
                  </a:lnTo>
                  <a:lnTo>
                    <a:pt x="83" y="458"/>
                  </a:lnTo>
                  <a:lnTo>
                    <a:pt x="83" y="457"/>
                  </a:lnTo>
                  <a:lnTo>
                    <a:pt x="83" y="456"/>
                  </a:lnTo>
                  <a:lnTo>
                    <a:pt x="82" y="455"/>
                  </a:lnTo>
                  <a:lnTo>
                    <a:pt x="81" y="454"/>
                  </a:lnTo>
                  <a:lnTo>
                    <a:pt x="81" y="453"/>
                  </a:lnTo>
                  <a:lnTo>
                    <a:pt x="79" y="452"/>
                  </a:lnTo>
                  <a:lnTo>
                    <a:pt x="78" y="451"/>
                  </a:lnTo>
                  <a:lnTo>
                    <a:pt x="78" y="450"/>
                  </a:lnTo>
                  <a:lnTo>
                    <a:pt x="77" y="448"/>
                  </a:lnTo>
                  <a:lnTo>
                    <a:pt x="76" y="447"/>
                  </a:lnTo>
                  <a:lnTo>
                    <a:pt x="76" y="446"/>
                  </a:lnTo>
                  <a:lnTo>
                    <a:pt x="75" y="445"/>
                  </a:lnTo>
                  <a:lnTo>
                    <a:pt x="74" y="444"/>
                  </a:lnTo>
                  <a:lnTo>
                    <a:pt x="73" y="443"/>
                  </a:lnTo>
                  <a:lnTo>
                    <a:pt x="73" y="443"/>
                  </a:lnTo>
                  <a:lnTo>
                    <a:pt x="72" y="442"/>
                  </a:lnTo>
                  <a:lnTo>
                    <a:pt x="71" y="442"/>
                  </a:lnTo>
                  <a:lnTo>
                    <a:pt x="69" y="442"/>
                  </a:lnTo>
                  <a:lnTo>
                    <a:pt x="67" y="441"/>
                  </a:lnTo>
                  <a:lnTo>
                    <a:pt x="65" y="441"/>
                  </a:lnTo>
                  <a:lnTo>
                    <a:pt x="64" y="441"/>
                  </a:lnTo>
                  <a:lnTo>
                    <a:pt x="63" y="441"/>
                  </a:lnTo>
                  <a:lnTo>
                    <a:pt x="62" y="441"/>
                  </a:lnTo>
                  <a:lnTo>
                    <a:pt x="61" y="441"/>
                  </a:lnTo>
                  <a:lnTo>
                    <a:pt x="59" y="441"/>
                  </a:lnTo>
                  <a:lnTo>
                    <a:pt x="58" y="442"/>
                  </a:lnTo>
                  <a:lnTo>
                    <a:pt x="56" y="443"/>
                  </a:lnTo>
                  <a:lnTo>
                    <a:pt x="55" y="444"/>
                  </a:lnTo>
                  <a:lnTo>
                    <a:pt x="54" y="445"/>
                  </a:lnTo>
                  <a:lnTo>
                    <a:pt x="52" y="446"/>
                  </a:lnTo>
                  <a:lnTo>
                    <a:pt x="51" y="448"/>
                  </a:lnTo>
                  <a:lnTo>
                    <a:pt x="50" y="448"/>
                  </a:lnTo>
                  <a:lnTo>
                    <a:pt x="50" y="448"/>
                  </a:lnTo>
                  <a:lnTo>
                    <a:pt x="50" y="449"/>
                  </a:lnTo>
                  <a:lnTo>
                    <a:pt x="50" y="449"/>
                  </a:lnTo>
                  <a:lnTo>
                    <a:pt x="50" y="449"/>
                  </a:lnTo>
                  <a:lnTo>
                    <a:pt x="50" y="450"/>
                  </a:lnTo>
                  <a:lnTo>
                    <a:pt x="51" y="450"/>
                  </a:lnTo>
                  <a:lnTo>
                    <a:pt x="51" y="451"/>
                  </a:lnTo>
                  <a:lnTo>
                    <a:pt x="52" y="452"/>
                  </a:lnTo>
                  <a:lnTo>
                    <a:pt x="52" y="452"/>
                  </a:lnTo>
                  <a:lnTo>
                    <a:pt x="52" y="453"/>
                  </a:lnTo>
                  <a:lnTo>
                    <a:pt x="53" y="453"/>
                  </a:lnTo>
                  <a:lnTo>
                    <a:pt x="58" y="458"/>
                  </a:lnTo>
                  <a:lnTo>
                    <a:pt x="58" y="458"/>
                  </a:lnTo>
                  <a:lnTo>
                    <a:pt x="59" y="459"/>
                  </a:lnTo>
                  <a:lnTo>
                    <a:pt x="59" y="460"/>
                  </a:lnTo>
                  <a:lnTo>
                    <a:pt x="59" y="461"/>
                  </a:lnTo>
                  <a:lnTo>
                    <a:pt x="60" y="462"/>
                  </a:lnTo>
                  <a:lnTo>
                    <a:pt x="60" y="463"/>
                  </a:lnTo>
                  <a:lnTo>
                    <a:pt x="61" y="464"/>
                  </a:lnTo>
                  <a:lnTo>
                    <a:pt x="62" y="466"/>
                  </a:lnTo>
                  <a:lnTo>
                    <a:pt x="62" y="467"/>
                  </a:lnTo>
                  <a:lnTo>
                    <a:pt x="63" y="468"/>
                  </a:lnTo>
                  <a:lnTo>
                    <a:pt x="63" y="469"/>
                  </a:lnTo>
                  <a:lnTo>
                    <a:pt x="63" y="469"/>
                  </a:lnTo>
                  <a:lnTo>
                    <a:pt x="63" y="470"/>
                  </a:lnTo>
                  <a:lnTo>
                    <a:pt x="63" y="471"/>
                  </a:lnTo>
                  <a:lnTo>
                    <a:pt x="63" y="471"/>
                  </a:lnTo>
                  <a:lnTo>
                    <a:pt x="63" y="472"/>
                  </a:lnTo>
                  <a:lnTo>
                    <a:pt x="63" y="472"/>
                  </a:lnTo>
                  <a:lnTo>
                    <a:pt x="62" y="473"/>
                  </a:lnTo>
                  <a:lnTo>
                    <a:pt x="61" y="475"/>
                  </a:lnTo>
                  <a:lnTo>
                    <a:pt x="60" y="476"/>
                  </a:lnTo>
                  <a:lnTo>
                    <a:pt x="59" y="478"/>
                  </a:lnTo>
                  <a:lnTo>
                    <a:pt x="58" y="481"/>
                  </a:lnTo>
                  <a:lnTo>
                    <a:pt x="58" y="483"/>
                  </a:lnTo>
                  <a:lnTo>
                    <a:pt x="57" y="484"/>
                  </a:lnTo>
                  <a:lnTo>
                    <a:pt x="56" y="485"/>
                  </a:lnTo>
                  <a:lnTo>
                    <a:pt x="56" y="486"/>
                  </a:lnTo>
                  <a:lnTo>
                    <a:pt x="54" y="487"/>
                  </a:lnTo>
                  <a:lnTo>
                    <a:pt x="53" y="488"/>
                  </a:lnTo>
                  <a:lnTo>
                    <a:pt x="52" y="489"/>
                  </a:lnTo>
                  <a:lnTo>
                    <a:pt x="51" y="490"/>
                  </a:lnTo>
                  <a:lnTo>
                    <a:pt x="50" y="490"/>
                  </a:lnTo>
                  <a:lnTo>
                    <a:pt x="49" y="491"/>
                  </a:lnTo>
                  <a:lnTo>
                    <a:pt x="48" y="491"/>
                  </a:lnTo>
                  <a:lnTo>
                    <a:pt x="47" y="491"/>
                  </a:lnTo>
                  <a:lnTo>
                    <a:pt x="46" y="491"/>
                  </a:lnTo>
                  <a:lnTo>
                    <a:pt x="45" y="490"/>
                  </a:lnTo>
                  <a:lnTo>
                    <a:pt x="43" y="490"/>
                  </a:lnTo>
                  <a:lnTo>
                    <a:pt x="42" y="489"/>
                  </a:lnTo>
                  <a:lnTo>
                    <a:pt x="40" y="488"/>
                  </a:lnTo>
                  <a:lnTo>
                    <a:pt x="37" y="485"/>
                  </a:lnTo>
                  <a:lnTo>
                    <a:pt x="35" y="484"/>
                  </a:lnTo>
                  <a:lnTo>
                    <a:pt x="34" y="483"/>
                  </a:lnTo>
                  <a:lnTo>
                    <a:pt x="34" y="483"/>
                  </a:lnTo>
                  <a:lnTo>
                    <a:pt x="32" y="481"/>
                  </a:lnTo>
                  <a:lnTo>
                    <a:pt x="32" y="481"/>
                  </a:lnTo>
                  <a:lnTo>
                    <a:pt x="31" y="480"/>
                  </a:lnTo>
                  <a:lnTo>
                    <a:pt x="31" y="480"/>
                  </a:lnTo>
                  <a:lnTo>
                    <a:pt x="31" y="479"/>
                  </a:lnTo>
                  <a:lnTo>
                    <a:pt x="31" y="478"/>
                  </a:lnTo>
                  <a:lnTo>
                    <a:pt x="31" y="477"/>
                  </a:lnTo>
                  <a:lnTo>
                    <a:pt x="31" y="477"/>
                  </a:lnTo>
                  <a:lnTo>
                    <a:pt x="31" y="476"/>
                  </a:lnTo>
                  <a:lnTo>
                    <a:pt x="32" y="475"/>
                  </a:lnTo>
                  <a:lnTo>
                    <a:pt x="32" y="475"/>
                  </a:lnTo>
                  <a:lnTo>
                    <a:pt x="32" y="474"/>
                  </a:lnTo>
                  <a:lnTo>
                    <a:pt x="32" y="474"/>
                  </a:lnTo>
                  <a:lnTo>
                    <a:pt x="33" y="473"/>
                  </a:lnTo>
                  <a:lnTo>
                    <a:pt x="35" y="471"/>
                  </a:lnTo>
                  <a:lnTo>
                    <a:pt x="36" y="471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9"/>
                  </a:lnTo>
                  <a:lnTo>
                    <a:pt x="37" y="469"/>
                  </a:lnTo>
                  <a:lnTo>
                    <a:pt x="37" y="468"/>
                  </a:lnTo>
                  <a:lnTo>
                    <a:pt x="36" y="467"/>
                  </a:lnTo>
                  <a:lnTo>
                    <a:pt x="36" y="466"/>
                  </a:lnTo>
                  <a:lnTo>
                    <a:pt x="35" y="465"/>
                  </a:lnTo>
                  <a:lnTo>
                    <a:pt x="35" y="464"/>
                  </a:lnTo>
                  <a:lnTo>
                    <a:pt x="34" y="463"/>
                  </a:lnTo>
                  <a:lnTo>
                    <a:pt x="32" y="460"/>
                  </a:lnTo>
                  <a:lnTo>
                    <a:pt x="31" y="459"/>
                  </a:lnTo>
                  <a:lnTo>
                    <a:pt x="31" y="458"/>
                  </a:lnTo>
                  <a:lnTo>
                    <a:pt x="30" y="457"/>
                  </a:lnTo>
                  <a:lnTo>
                    <a:pt x="30" y="456"/>
                  </a:lnTo>
                  <a:lnTo>
                    <a:pt x="29" y="453"/>
                  </a:lnTo>
                  <a:lnTo>
                    <a:pt x="28" y="449"/>
                  </a:lnTo>
                  <a:lnTo>
                    <a:pt x="27" y="446"/>
                  </a:lnTo>
                  <a:lnTo>
                    <a:pt x="27" y="445"/>
                  </a:lnTo>
                  <a:lnTo>
                    <a:pt x="27" y="443"/>
                  </a:lnTo>
                  <a:lnTo>
                    <a:pt x="27" y="442"/>
                  </a:lnTo>
                  <a:lnTo>
                    <a:pt x="27" y="440"/>
                  </a:lnTo>
                  <a:lnTo>
                    <a:pt x="27" y="439"/>
                  </a:lnTo>
                  <a:lnTo>
                    <a:pt x="27" y="437"/>
                  </a:lnTo>
                  <a:lnTo>
                    <a:pt x="27" y="436"/>
                  </a:lnTo>
                  <a:lnTo>
                    <a:pt x="28" y="435"/>
                  </a:lnTo>
                  <a:lnTo>
                    <a:pt x="30" y="432"/>
                  </a:lnTo>
                  <a:lnTo>
                    <a:pt x="30" y="431"/>
                  </a:lnTo>
                  <a:lnTo>
                    <a:pt x="32" y="429"/>
                  </a:lnTo>
                  <a:lnTo>
                    <a:pt x="32" y="428"/>
                  </a:lnTo>
                  <a:lnTo>
                    <a:pt x="33" y="428"/>
                  </a:lnTo>
                  <a:lnTo>
                    <a:pt x="34" y="427"/>
                  </a:lnTo>
                  <a:lnTo>
                    <a:pt x="34" y="426"/>
                  </a:lnTo>
                  <a:lnTo>
                    <a:pt x="35" y="426"/>
                  </a:lnTo>
                  <a:lnTo>
                    <a:pt x="35" y="425"/>
                  </a:lnTo>
                  <a:lnTo>
                    <a:pt x="36" y="425"/>
                  </a:lnTo>
                  <a:lnTo>
                    <a:pt x="36" y="425"/>
                  </a:lnTo>
                  <a:lnTo>
                    <a:pt x="36" y="424"/>
                  </a:lnTo>
                  <a:lnTo>
                    <a:pt x="35" y="424"/>
                  </a:lnTo>
                  <a:lnTo>
                    <a:pt x="35" y="424"/>
                  </a:lnTo>
                  <a:lnTo>
                    <a:pt x="34" y="424"/>
                  </a:lnTo>
                  <a:lnTo>
                    <a:pt x="32" y="423"/>
                  </a:lnTo>
                  <a:lnTo>
                    <a:pt x="30" y="423"/>
                  </a:lnTo>
                  <a:lnTo>
                    <a:pt x="29" y="423"/>
                  </a:lnTo>
                  <a:lnTo>
                    <a:pt x="27" y="423"/>
                  </a:lnTo>
                  <a:lnTo>
                    <a:pt x="25" y="422"/>
                  </a:lnTo>
                  <a:lnTo>
                    <a:pt x="21" y="421"/>
                  </a:lnTo>
                  <a:lnTo>
                    <a:pt x="18" y="420"/>
                  </a:lnTo>
                  <a:lnTo>
                    <a:pt x="15" y="419"/>
                  </a:lnTo>
                  <a:lnTo>
                    <a:pt x="15" y="419"/>
                  </a:lnTo>
                  <a:lnTo>
                    <a:pt x="14" y="419"/>
                  </a:lnTo>
                  <a:lnTo>
                    <a:pt x="14" y="418"/>
                  </a:lnTo>
                  <a:lnTo>
                    <a:pt x="13" y="418"/>
                  </a:lnTo>
                  <a:lnTo>
                    <a:pt x="13" y="418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3" y="416"/>
                  </a:lnTo>
                  <a:lnTo>
                    <a:pt x="13" y="415"/>
                  </a:lnTo>
                  <a:lnTo>
                    <a:pt x="13" y="413"/>
                  </a:lnTo>
                  <a:lnTo>
                    <a:pt x="13" y="412"/>
                  </a:lnTo>
                  <a:lnTo>
                    <a:pt x="13" y="411"/>
                  </a:lnTo>
                  <a:lnTo>
                    <a:pt x="12" y="408"/>
                  </a:lnTo>
                  <a:lnTo>
                    <a:pt x="12" y="407"/>
                  </a:lnTo>
                  <a:lnTo>
                    <a:pt x="12" y="406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4" y="403"/>
                  </a:lnTo>
                  <a:lnTo>
                    <a:pt x="14" y="402"/>
                  </a:lnTo>
                  <a:lnTo>
                    <a:pt x="15" y="402"/>
                  </a:lnTo>
                  <a:lnTo>
                    <a:pt x="15" y="402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3" y="404"/>
                  </a:lnTo>
                  <a:lnTo>
                    <a:pt x="24" y="404"/>
                  </a:lnTo>
                  <a:lnTo>
                    <a:pt x="25" y="404"/>
                  </a:lnTo>
                  <a:lnTo>
                    <a:pt x="25" y="404"/>
                  </a:lnTo>
                  <a:lnTo>
                    <a:pt x="25" y="403"/>
                  </a:lnTo>
                  <a:lnTo>
                    <a:pt x="26" y="403"/>
                  </a:lnTo>
                  <a:lnTo>
                    <a:pt x="26" y="403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8" y="397"/>
                  </a:lnTo>
                  <a:lnTo>
                    <a:pt x="29" y="396"/>
                  </a:lnTo>
                  <a:lnTo>
                    <a:pt x="29" y="395"/>
                  </a:lnTo>
                  <a:lnTo>
                    <a:pt x="29" y="394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0" y="389"/>
                  </a:lnTo>
                  <a:lnTo>
                    <a:pt x="31" y="386"/>
                  </a:lnTo>
                  <a:lnTo>
                    <a:pt x="32" y="384"/>
                  </a:lnTo>
                  <a:lnTo>
                    <a:pt x="32" y="382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80"/>
                  </a:lnTo>
                  <a:lnTo>
                    <a:pt x="31" y="377"/>
                  </a:lnTo>
                  <a:lnTo>
                    <a:pt x="30" y="375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3"/>
                  </a:lnTo>
                  <a:lnTo>
                    <a:pt x="30" y="371"/>
                  </a:lnTo>
                  <a:lnTo>
                    <a:pt x="30" y="370"/>
                  </a:lnTo>
                  <a:lnTo>
                    <a:pt x="30" y="369"/>
                  </a:lnTo>
                  <a:lnTo>
                    <a:pt x="31" y="368"/>
                  </a:lnTo>
                  <a:lnTo>
                    <a:pt x="31" y="367"/>
                  </a:lnTo>
                  <a:lnTo>
                    <a:pt x="32" y="366"/>
                  </a:lnTo>
                  <a:lnTo>
                    <a:pt x="33" y="365"/>
                  </a:lnTo>
                  <a:lnTo>
                    <a:pt x="33" y="364"/>
                  </a:lnTo>
                  <a:lnTo>
                    <a:pt x="36" y="361"/>
                  </a:lnTo>
                  <a:lnTo>
                    <a:pt x="38" y="358"/>
                  </a:lnTo>
                  <a:lnTo>
                    <a:pt x="39" y="357"/>
                  </a:lnTo>
                  <a:lnTo>
                    <a:pt x="39" y="356"/>
                  </a:lnTo>
                  <a:lnTo>
                    <a:pt x="39" y="356"/>
                  </a:lnTo>
                  <a:lnTo>
                    <a:pt x="40" y="355"/>
                  </a:lnTo>
                  <a:lnTo>
                    <a:pt x="40" y="353"/>
                  </a:lnTo>
                  <a:lnTo>
                    <a:pt x="41" y="352"/>
                  </a:lnTo>
                  <a:lnTo>
                    <a:pt x="41" y="350"/>
                  </a:lnTo>
                  <a:lnTo>
                    <a:pt x="41" y="348"/>
                  </a:lnTo>
                  <a:lnTo>
                    <a:pt x="41" y="347"/>
                  </a:lnTo>
                  <a:lnTo>
                    <a:pt x="41" y="346"/>
                  </a:lnTo>
                  <a:lnTo>
                    <a:pt x="40" y="342"/>
                  </a:lnTo>
                  <a:lnTo>
                    <a:pt x="40" y="341"/>
                  </a:lnTo>
                  <a:lnTo>
                    <a:pt x="40" y="340"/>
                  </a:lnTo>
                  <a:lnTo>
                    <a:pt x="40" y="339"/>
                  </a:lnTo>
                  <a:lnTo>
                    <a:pt x="39" y="338"/>
                  </a:lnTo>
                  <a:lnTo>
                    <a:pt x="39" y="338"/>
                  </a:lnTo>
                  <a:lnTo>
                    <a:pt x="38" y="337"/>
                  </a:lnTo>
                  <a:lnTo>
                    <a:pt x="38" y="336"/>
                  </a:lnTo>
                  <a:lnTo>
                    <a:pt x="37" y="336"/>
                  </a:lnTo>
                  <a:lnTo>
                    <a:pt x="36" y="335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4" y="334"/>
                  </a:lnTo>
                  <a:lnTo>
                    <a:pt x="31" y="334"/>
                  </a:lnTo>
                  <a:lnTo>
                    <a:pt x="30" y="333"/>
                  </a:lnTo>
                  <a:lnTo>
                    <a:pt x="29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7" y="333"/>
                  </a:lnTo>
                  <a:lnTo>
                    <a:pt x="27" y="333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1"/>
                  </a:lnTo>
                  <a:lnTo>
                    <a:pt x="27" y="330"/>
                  </a:lnTo>
                  <a:lnTo>
                    <a:pt x="28" y="328"/>
                  </a:lnTo>
                  <a:lnTo>
                    <a:pt x="28" y="327"/>
                  </a:lnTo>
                  <a:lnTo>
                    <a:pt x="28" y="326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8" y="324"/>
                  </a:lnTo>
                  <a:lnTo>
                    <a:pt x="27" y="321"/>
                  </a:lnTo>
                  <a:lnTo>
                    <a:pt x="26" y="321"/>
                  </a:lnTo>
                  <a:lnTo>
                    <a:pt x="26" y="320"/>
                  </a:lnTo>
                  <a:lnTo>
                    <a:pt x="26" y="317"/>
                  </a:lnTo>
                  <a:lnTo>
                    <a:pt x="26" y="316"/>
                  </a:lnTo>
                  <a:lnTo>
                    <a:pt x="25" y="315"/>
                  </a:lnTo>
                  <a:lnTo>
                    <a:pt x="25" y="314"/>
                  </a:lnTo>
                  <a:lnTo>
                    <a:pt x="24" y="314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7" y="305"/>
                  </a:lnTo>
                  <a:lnTo>
                    <a:pt x="16" y="304"/>
                  </a:lnTo>
                  <a:lnTo>
                    <a:pt x="15" y="302"/>
                  </a:lnTo>
                  <a:lnTo>
                    <a:pt x="15" y="300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12" y="294"/>
                  </a:lnTo>
                  <a:lnTo>
                    <a:pt x="12" y="293"/>
                  </a:lnTo>
                  <a:lnTo>
                    <a:pt x="12" y="292"/>
                  </a:lnTo>
                  <a:lnTo>
                    <a:pt x="11" y="291"/>
                  </a:lnTo>
                  <a:lnTo>
                    <a:pt x="9" y="288"/>
                  </a:lnTo>
                  <a:lnTo>
                    <a:pt x="8" y="287"/>
                  </a:lnTo>
                  <a:lnTo>
                    <a:pt x="8" y="286"/>
                  </a:lnTo>
                  <a:lnTo>
                    <a:pt x="8" y="285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6"/>
                  </a:lnTo>
                  <a:lnTo>
                    <a:pt x="9" y="275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2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8"/>
                  </a:lnTo>
                  <a:lnTo>
                    <a:pt x="13" y="267"/>
                  </a:lnTo>
                  <a:lnTo>
                    <a:pt x="13" y="266"/>
                  </a:lnTo>
                  <a:lnTo>
                    <a:pt x="13" y="266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2" y="260"/>
                  </a:lnTo>
                  <a:lnTo>
                    <a:pt x="12" y="258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7"/>
                  </a:lnTo>
                  <a:lnTo>
                    <a:pt x="10" y="246"/>
                  </a:lnTo>
                  <a:lnTo>
                    <a:pt x="9" y="241"/>
                  </a:lnTo>
                  <a:lnTo>
                    <a:pt x="7" y="236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5" y="230"/>
                  </a:lnTo>
                  <a:lnTo>
                    <a:pt x="4" y="225"/>
                  </a:lnTo>
                  <a:lnTo>
                    <a:pt x="4" y="223"/>
                  </a:lnTo>
                  <a:lnTo>
                    <a:pt x="3" y="220"/>
                  </a:lnTo>
                  <a:lnTo>
                    <a:pt x="1" y="216"/>
                  </a:lnTo>
                  <a:lnTo>
                    <a:pt x="1" y="215"/>
                  </a:lnTo>
                  <a:lnTo>
                    <a:pt x="1" y="214"/>
                  </a:lnTo>
                  <a:lnTo>
                    <a:pt x="0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1" y="210"/>
                  </a:lnTo>
                  <a:lnTo>
                    <a:pt x="1" y="210"/>
                  </a:lnTo>
                  <a:lnTo>
                    <a:pt x="2" y="210"/>
                  </a:lnTo>
                  <a:lnTo>
                    <a:pt x="2" y="210"/>
                  </a:lnTo>
                  <a:lnTo>
                    <a:pt x="3" y="209"/>
                  </a:lnTo>
                  <a:lnTo>
                    <a:pt x="4" y="209"/>
                  </a:lnTo>
                  <a:lnTo>
                    <a:pt x="5" y="209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0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3" y="205"/>
                  </a:lnTo>
                  <a:lnTo>
                    <a:pt x="14" y="204"/>
                  </a:lnTo>
                  <a:lnTo>
                    <a:pt x="15" y="203"/>
                  </a:lnTo>
                  <a:lnTo>
                    <a:pt x="15" y="202"/>
                  </a:lnTo>
                  <a:lnTo>
                    <a:pt x="18" y="199"/>
                  </a:lnTo>
                  <a:lnTo>
                    <a:pt x="19" y="198"/>
                  </a:lnTo>
                  <a:lnTo>
                    <a:pt x="22" y="196"/>
                  </a:lnTo>
                  <a:lnTo>
                    <a:pt x="23" y="194"/>
                  </a:lnTo>
                  <a:lnTo>
                    <a:pt x="24" y="194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2"/>
                  </a:lnTo>
                  <a:lnTo>
                    <a:pt x="26" y="191"/>
                  </a:lnTo>
                  <a:lnTo>
                    <a:pt x="26" y="190"/>
                  </a:lnTo>
                  <a:lnTo>
                    <a:pt x="27" y="189"/>
                  </a:lnTo>
                  <a:lnTo>
                    <a:pt x="27" y="188"/>
                  </a:lnTo>
                  <a:lnTo>
                    <a:pt x="27" y="187"/>
                  </a:lnTo>
                  <a:lnTo>
                    <a:pt x="27" y="185"/>
                  </a:lnTo>
                  <a:lnTo>
                    <a:pt x="26" y="182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0"/>
                  </a:lnTo>
                  <a:lnTo>
                    <a:pt x="27" y="169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6"/>
                  </a:lnTo>
                  <a:lnTo>
                    <a:pt x="27" y="162"/>
                  </a:lnTo>
                  <a:lnTo>
                    <a:pt x="27" y="161"/>
                  </a:lnTo>
                  <a:lnTo>
                    <a:pt x="27" y="160"/>
                  </a:lnTo>
                  <a:lnTo>
                    <a:pt x="27" y="159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30" y="150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4" y="143"/>
                  </a:lnTo>
                  <a:lnTo>
                    <a:pt x="36" y="135"/>
                  </a:lnTo>
                  <a:lnTo>
                    <a:pt x="38" y="132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40" y="125"/>
                  </a:lnTo>
                  <a:lnTo>
                    <a:pt x="40" y="123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4" y="114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9" y="108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5" y="105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3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1"/>
                  </a:lnTo>
                  <a:lnTo>
                    <a:pt x="69" y="100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6" y="99"/>
                  </a:lnTo>
                  <a:lnTo>
                    <a:pt x="79" y="102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1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3"/>
                  </a:lnTo>
                  <a:lnTo>
                    <a:pt x="85" y="103"/>
                  </a:lnTo>
                  <a:lnTo>
                    <a:pt x="85" y="102"/>
                  </a:lnTo>
                  <a:lnTo>
                    <a:pt x="86" y="102"/>
                  </a:lnTo>
                  <a:lnTo>
                    <a:pt x="86" y="101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6" y="97"/>
                  </a:lnTo>
                  <a:lnTo>
                    <a:pt x="85" y="94"/>
                  </a:lnTo>
                  <a:lnTo>
                    <a:pt x="85" y="92"/>
                  </a:lnTo>
                  <a:lnTo>
                    <a:pt x="84" y="91"/>
                  </a:lnTo>
                  <a:lnTo>
                    <a:pt x="84" y="89"/>
                  </a:lnTo>
                  <a:lnTo>
                    <a:pt x="84" y="88"/>
                  </a:lnTo>
                  <a:lnTo>
                    <a:pt x="84" y="87"/>
                  </a:lnTo>
                  <a:lnTo>
                    <a:pt x="85" y="83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5" y="78"/>
                  </a:lnTo>
                  <a:lnTo>
                    <a:pt x="84" y="77"/>
                  </a:lnTo>
                  <a:lnTo>
                    <a:pt x="84" y="75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79" y="68"/>
                  </a:lnTo>
                  <a:lnTo>
                    <a:pt x="78" y="67"/>
                  </a:lnTo>
                  <a:lnTo>
                    <a:pt x="77" y="66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68" y="62"/>
                  </a:lnTo>
                  <a:lnTo>
                    <a:pt x="67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1" y="54"/>
                  </a:lnTo>
                  <a:lnTo>
                    <a:pt x="59" y="49"/>
                  </a:lnTo>
                  <a:lnTo>
                    <a:pt x="57" y="44"/>
                  </a:lnTo>
                  <a:lnTo>
                    <a:pt x="56" y="42"/>
                  </a:lnTo>
                  <a:lnTo>
                    <a:pt x="55" y="40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3" y="32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8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4" y="6"/>
                  </a:lnTo>
                  <a:lnTo>
                    <a:pt x="45" y="5"/>
                  </a:lnTo>
                  <a:lnTo>
                    <a:pt x="46" y="4"/>
                  </a:lnTo>
                  <a:lnTo>
                    <a:pt x="47" y="3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9" y="5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0" y="12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6" y="14"/>
                  </a:lnTo>
                  <a:lnTo>
                    <a:pt x="92" y="16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8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3" y="22"/>
                  </a:lnTo>
                  <a:lnTo>
                    <a:pt x="113" y="23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5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8" y="31"/>
                  </a:lnTo>
                  <a:lnTo>
                    <a:pt x="140" y="35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3" y="40"/>
                  </a:lnTo>
                  <a:lnTo>
                    <a:pt x="144" y="41"/>
                  </a:lnTo>
                  <a:lnTo>
                    <a:pt x="145" y="43"/>
                  </a:lnTo>
                  <a:lnTo>
                    <a:pt x="146" y="44"/>
                  </a:lnTo>
                  <a:lnTo>
                    <a:pt x="147" y="45"/>
                  </a:lnTo>
                  <a:lnTo>
                    <a:pt x="148" y="46"/>
                  </a:lnTo>
                  <a:lnTo>
                    <a:pt x="149" y="47"/>
                  </a:lnTo>
                  <a:lnTo>
                    <a:pt x="151" y="49"/>
                  </a:lnTo>
                  <a:lnTo>
                    <a:pt x="153" y="50"/>
                  </a:lnTo>
                  <a:lnTo>
                    <a:pt x="154" y="51"/>
                  </a:lnTo>
                  <a:lnTo>
                    <a:pt x="155" y="52"/>
                  </a:lnTo>
                  <a:lnTo>
                    <a:pt x="156" y="52"/>
                  </a:lnTo>
                  <a:lnTo>
                    <a:pt x="158" y="53"/>
                  </a:lnTo>
                  <a:lnTo>
                    <a:pt x="160" y="54"/>
                  </a:lnTo>
                  <a:lnTo>
                    <a:pt x="161" y="54"/>
                  </a:lnTo>
                  <a:lnTo>
                    <a:pt x="162" y="55"/>
                  </a:lnTo>
                  <a:lnTo>
                    <a:pt x="163" y="55"/>
                  </a:lnTo>
                  <a:lnTo>
                    <a:pt x="164" y="55"/>
                  </a:lnTo>
                  <a:lnTo>
                    <a:pt x="165" y="55"/>
                  </a:lnTo>
                  <a:lnTo>
                    <a:pt x="166" y="56"/>
                  </a:lnTo>
                  <a:lnTo>
                    <a:pt x="167" y="56"/>
                  </a:lnTo>
                  <a:lnTo>
                    <a:pt x="169" y="56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Freeform 35">
              <a:extLst>
                <a:ext uri="{FF2B5EF4-FFF2-40B4-BE49-F238E27FC236}">
                  <a16:creationId xmlns:a16="http://schemas.microsoft.com/office/drawing/2014/main" id="{0F49A5AF-1099-8F89-CCF8-DEFA5AC8B8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5" y="3194"/>
              <a:ext cx="334" cy="487"/>
            </a:xfrm>
            <a:custGeom>
              <a:avLst/>
              <a:gdLst>
                <a:gd name="T0" fmla="*/ 152 w 334"/>
                <a:gd name="T1" fmla="*/ 7 h 487"/>
                <a:gd name="T2" fmla="*/ 155 w 334"/>
                <a:gd name="T3" fmla="*/ 25 h 487"/>
                <a:gd name="T4" fmla="*/ 171 w 334"/>
                <a:gd name="T5" fmla="*/ 23 h 487"/>
                <a:gd name="T6" fmla="*/ 175 w 334"/>
                <a:gd name="T7" fmla="*/ 47 h 487"/>
                <a:gd name="T8" fmla="*/ 162 w 334"/>
                <a:gd name="T9" fmla="*/ 51 h 487"/>
                <a:gd name="T10" fmla="*/ 140 w 334"/>
                <a:gd name="T11" fmla="*/ 69 h 487"/>
                <a:gd name="T12" fmla="*/ 123 w 334"/>
                <a:gd name="T13" fmla="*/ 96 h 487"/>
                <a:gd name="T14" fmla="*/ 118 w 334"/>
                <a:gd name="T15" fmla="*/ 127 h 487"/>
                <a:gd name="T16" fmla="*/ 102 w 334"/>
                <a:gd name="T17" fmla="*/ 158 h 487"/>
                <a:gd name="T18" fmla="*/ 112 w 334"/>
                <a:gd name="T19" fmla="*/ 174 h 487"/>
                <a:gd name="T20" fmla="*/ 104 w 334"/>
                <a:gd name="T21" fmla="*/ 193 h 487"/>
                <a:gd name="T22" fmla="*/ 102 w 334"/>
                <a:gd name="T23" fmla="*/ 212 h 487"/>
                <a:gd name="T24" fmla="*/ 119 w 334"/>
                <a:gd name="T25" fmla="*/ 219 h 487"/>
                <a:gd name="T26" fmla="*/ 120 w 334"/>
                <a:gd name="T27" fmla="*/ 232 h 487"/>
                <a:gd name="T28" fmla="*/ 138 w 334"/>
                <a:gd name="T29" fmla="*/ 226 h 487"/>
                <a:gd name="T30" fmla="*/ 161 w 334"/>
                <a:gd name="T31" fmla="*/ 215 h 487"/>
                <a:gd name="T32" fmla="*/ 164 w 334"/>
                <a:gd name="T33" fmla="*/ 234 h 487"/>
                <a:gd name="T34" fmla="*/ 173 w 334"/>
                <a:gd name="T35" fmla="*/ 239 h 487"/>
                <a:gd name="T36" fmla="*/ 184 w 334"/>
                <a:gd name="T37" fmla="*/ 228 h 487"/>
                <a:gd name="T38" fmla="*/ 192 w 334"/>
                <a:gd name="T39" fmla="*/ 222 h 487"/>
                <a:gd name="T40" fmla="*/ 195 w 334"/>
                <a:gd name="T41" fmla="*/ 210 h 487"/>
                <a:gd name="T42" fmla="*/ 204 w 334"/>
                <a:gd name="T43" fmla="*/ 234 h 487"/>
                <a:gd name="T44" fmla="*/ 214 w 334"/>
                <a:gd name="T45" fmla="*/ 252 h 487"/>
                <a:gd name="T46" fmla="*/ 238 w 334"/>
                <a:gd name="T47" fmla="*/ 263 h 487"/>
                <a:gd name="T48" fmla="*/ 260 w 334"/>
                <a:gd name="T49" fmla="*/ 258 h 487"/>
                <a:gd name="T50" fmla="*/ 262 w 334"/>
                <a:gd name="T51" fmla="*/ 280 h 487"/>
                <a:gd name="T52" fmla="*/ 269 w 334"/>
                <a:gd name="T53" fmla="*/ 298 h 487"/>
                <a:gd name="T54" fmla="*/ 280 w 334"/>
                <a:gd name="T55" fmla="*/ 298 h 487"/>
                <a:gd name="T56" fmla="*/ 302 w 334"/>
                <a:gd name="T57" fmla="*/ 320 h 487"/>
                <a:gd name="T58" fmla="*/ 315 w 334"/>
                <a:gd name="T59" fmla="*/ 345 h 487"/>
                <a:gd name="T60" fmla="*/ 323 w 334"/>
                <a:gd name="T61" fmla="*/ 347 h 487"/>
                <a:gd name="T62" fmla="*/ 334 w 334"/>
                <a:gd name="T63" fmla="*/ 358 h 487"/>
                <a:gd name="T64" fmla="*/ 325 w 334"/>
                <a:gd name="T65" fmla="*/ 369 h 487"/>
                <a:gd name="T66" fmla="*/ 309 w 334"/>
                <a:gd name="T67" fmla="*/ 373 h 487"/>
                <a:gd name="T68" fmla="*/ 298 w 334"/>
                <a:gd name="T69" fmla="*/ 392 h 487"/>
                <a:gd name="T70" fmla="*/ 280 w 334"/>
                <a:gd name="T71" fmla="*/ 406 h 487"/>
                <a:gd name="T72" fmla="*/ 264 w 334"/>
                <a:gd name="T73" fmla="*/ 398 h 487"/>
                <a:gd name="T74" fmla="*/ 253 w 334"/>
                <a:gd name="T75" fmla="*/ 402 h 487"/>
                <a:gd name="T76" fmla="*/ 254 w 334"/>
                <a:gd name="T77" fmla="*/ 415 h 487"/>
                <a:gd name="T78" fmla="*/ 244 w 334"/>
                <a:gd name="T79" fmla="*/ 425 h 487"/>
                <a:gd name="T80" fmla="*/ 224 w 334"/>
                <a:gd name="T81" fmla="*/ 424 h 487"/>
                <a:gd name="T82" fmla="*/ 212 w 334"/>
                <a:gd name="T83" fmla="*/ 436 h 487"/>
                <a:gd name="T84" fmla="*/ 196 w 334"/>
                <a:gd name="T85" fmla="*/ 438 h 487"/>
                <a:gd name="T86" fmla="*/ 175 w 334"/>
                <a:gd name="T87" fmla="*/ 433 h 487"/>
                <a:gd name="T88" fmla="*/ 168 w 334"/>
                <a:gd name="T89" fmla="*/ 424 h 487"/>
                <a:gd name="T90" fmla="*/ 165 w 334"/>
                <a:gd name="T91" fmla="*/ 445 h 487"/>
                <a:gd name="T92" fmla="*/ 157 w 334"/>
                <a:gd name="T93" fmla="*/ 462 h 487"/>
                <a:gd name="T94" fmla="*/ 134 w 334"/>
                <a:gd name="T95" fmla="*/ 476 h 487"/>
                <a:gd name="T96" fmla="*/ 113 w 334"/>
                <a:gd name="T97" fmla="*/ 487 h 487"/>
                <a:gd name="T98" fmla="*/ 102 w 334"/>
                <a:gd name="T99" fmla="*/ 465 h 487"/>
                <a:gd name="T100" fmla="*/ 76 w 334"/>
                <a:gd name="T101" fmla="*/ 451 h 487"/>
                <a:gd name="T102" fmla="*/ 76 w 334"/>
                <a:gd name="T103" fmla="*/ 431 h 487"/>
                <a:gd name="T104" fmla="*/ 70 w 334"/>
                <a:gd name="T105" fmla="*/ 433 h 487"/>
                <a:gd name="T106" fmla="*/ 58 w 334"/>
                <a:gd name="T107" fmla="*/ 418 h 487"/>
                <a:gd name="T108" fmla="*/ 47 w 334"/>
                <a:gd name="T109" fmla="*/ 396 h 487"/>
                <a:gd name="T110" fmla="*/ 28 w 334"/>
                <a:gd name="T111" fmla="*/ 387 h 487"/>
                <a:gd name="T112" fmla="*/ 21 w 334"/>
                <a:gd name="T113" fmla="*/ 399 h 487"/>
                <a:gd name="T114" fmla="*/ 32 w 334"/>
                <a:gd name="T115" fmla="*/ 417 h 487"/>
                <a:gd name="T116" fmla="*/ 18 w 334"/>
                <a:gd name="T117" fmla="*/ 437 h 487"/>
                <a:gd name="T118" fmla="*/ 0 w 334"/>
                <a:gd name="T119" fmla="*/ 424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4" h="487">
                  <a:moveTo>
                    <a:pt x="138" y="2"/>
                  </a:moveTo>
                  <a:lnTo>
                    <a:pt x="139" y="1"/>
                  </a:lnTo>
                  <a:lnTo>
                    <a:pt x="140" y="1"/>
                  </a:lnTo>
                  <a:lnTo>
                    <a:pt x="141" y="1"/>
                  </a:lnTo>
                  <a:lnTo>
                    <a:pt x="145" y="0"/>
                  </a:lnTo>
                  <a:lnTo>
                    <a:pt x="146" y="0"/>
                  </a:lnTo>
                  <a:lnTo>
                    <a:pt x="147" y="0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9" y="1"/>
                  </a:lnTo>
                  <a:lnTo>
                    <a:pt x="150" y="1"/>
                  </a:lnTo>
                  <a:lnTo>
                    <a:pt x="150" y="2"/>
                  </a:lnTo>
                  <a:lnTo>
                    <a:pt x="151" y="4"/>
                  </a:lnTo>
                  <a:lnTo>
                    <a:pt x="152" y="7"/>
                  </a:lnTo>
                  <a:lnTo>
                    <a:pt x="152" y="8"/>
                  </a:lnTo>
                  <a:lnTo>
                    <a:pt x="152" y="8"/>
                  </a:lnTo>
                  <a:lnTo>
                    <a:pt x="152" y="9"/>
                  </a:lnTo>
                  <a:lnTo>
                    <a:pt x="152" y="10"/>
                  </a:lnTo>
                  <a:lnTo>
                    <a:pt x="151" y="18"/>
                  </a:lnTo>
                  <a:lnTo>
                    <a:pt x="151" y="19"/>
                  </a:lnTo>
                  <a:lnTo>
                    <a:pt x="152" y="20"/>
                  </a:lnTo>
                  <a:lnTo>
                    <a:pt x="152" y="22"/>
                  </a:lnTo>
                  <a:lnTo>
                    <a:pt x="152" y="23"/>
                  </a:lnTo>
                  <a:lnTo>
                    <a:pt x="153" y="23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5"/>
                  </a:lnTo>
                  <a:lnTo>
                    <a:pt x="155" y="25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8" y="23"/>
                  </a:lnTo>
                  <a:lnTo>
                    <a:pt x="159" y="22"/>
                  </a:lnTo>
                  <a:lnTo>
                    <a:pt x="159" y="22"/>
                  </a:lnTo>
                  <a:lnTo>
                    <a:pt x="160" y="21"/>
                  </a:lnTo>
                  <a:lnTo>
                    <a:pt x="161" y="21"/>
                  </a:lnTo>
                  <a:lnTo>
                    <a:pt x="161" y="21"/>
                  </a:lnTo>
                  <a:lnTo>
                    <a:pt x="163" y="21"/>
                  </a:lnTo>
                  <a:lnTo>
                    <a:pt x="163" y="20"/>
                  </a:lnTo>
                  <a:lnTo>
                    <a:pt x="164" y="20"/>
                  </a:lnTo>
                  <a:lnTo>
                    <a:pt x="166" y="21"/>
                  </a:lnTo>
                  <a:lnTo>
                    <a:pt x="167" y="21"/>
                  </a:lnTo>
                  <a:lnTo>
                    <a:pt x="168" y="21"/>
                  </a:lnTo>
                  <a:lnTo>
                    <a:pt x="169" y="22"/>
                  </a:lnTo>
                  <a:lnTo>
                    <a:pt x="170" y="22"/>
                  </a:lnTo>
                  <a:lnTo>
                    <a:pt x="171" y="23"/>
                  </a:lnTo>
                  <a:lnTo>
                    <a:pt x="172" y="23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4" y="25"/>
                  </a:lnTo>
                  <a:lnTo>
                    <a:pt x="175" y="26"/>
                  </a:lnTo>
                  <a:lnTo>
                    <a:pt x="175" y="27"/>
                  </a:lnTo>
                  <a:lnTo>
                    <a:pt x="176" y="28"/>
                  </a:lnTo>
                  <a:lnTo>
                    <a:pt x="176" y="28"/>
                  </a:lnTo>
                  <a:lnTo>
                    <a:pt x="177" y="29"/>
                  </a:lnTo>
                  <a:lnTo>
                    <a:pt x="177" y="30"/>
                  </a:lnTo>
                  <a:lnTo>
                    <a:pt x="177" y="31"/>
                  </a:lnTo>
                  <a:lnTo>
                    <a:pt x="177" y="31"/>
                  </a:lnTo>
                  <a:lnTo>
                    <a:pt x="177" y="40"/>
                  </a:lnTo>
                  <a:lnTo>
                    <a:pt x="176" y="43"/>
                  </a:lnTo>
                  <a:lnTo>
                    <a:pt x="176" y="44"/>
                  </a:lnTo>
                  <a:lnTo>
                    <a:pt x="176" y="46"/>
                  </a:lnTo>
                  <a:lnTo>
                    <a:pt x="175" y="47"/>
                  </a:lnTo>
                  <a:lnTo>
                    <a:pt x="175" y="48"/>
                  </a:lnTo>
                  <a:lnTo>
                    <a:pt x="175" y="49"/>
                  </a:lnTo>
                  <a:lnTo>
                    <a:pt x="174" y="50"/>
                  </a:lnTo>
                  <a:lnTo>
                    <a:pt x="174" y="50"/>
                  </a:lnTo>
                  <a:lnTo>
                    <a:pt x="173" y="50"/>
                  </a:lnTo>
                  <a:lnTo>
                    <a:pt x="173" y="51"/>
                  </a:lnTo>
                  <a:lnTo>
                    <a:pt x="172" y="51"/>
                  </a:lnTo>
                  <a:lnTo>
                    <a:pt x="171" y="51"/>
                  </a:lnTo>
                  <a:lnTo>
                    <a:pt x="170" y="51"/>
                  </a:lnTo>
                  <a:lnTo>
                    <a:pt x="170" y="51"/>
                  </a:lnTo>
                  <a:lnTo>
                    <a:pt x="168" y="51"/>
                  </a:lnTo>
                  <a:lnTo>
                    <a:pt x="167" y="51"/>
                  </a:lnTo>
                  <a:lnTo>
                    <a:pt x="166" y="50"/>
                  </a:lnTo>
                  <a:lnTo>
                    <a:pt x="164" y="50"/>
                  </a:lnTo>
                  <a:lnTo>
                    <a:pt x="163" y="50"/>
                  </a:lnTo>
                  <a:lnTo>
                    <a:pt x="163" y="50"/>
                  </a:lnTo>
                  <a:lnTo>
                    <a:pt x="162" y="51"/>
                  </a:lnTo>
                  <a:lnTo>
                    <a:pt x="162" y="51"/>
                  </a:lnTo>
                  <a:lnTo>
                    <a:pt x="160" y="52"/>
                  </a:lnTo>
                  <a:lnTo>
                    <a:pt x="159" y="53"/>
                  </a:lnTo>
                  <a:lnTo>
                    <a:pt x="158" y="55"/>
                  </a:lnTo>
                  <a:lnTo>
                    <a:pt x="154" y="59"/>
                  </a:lnTo>
                  <a:lnTo>
                    <a:pt x="153" y="60"/>
                  </a:lnTo>
                  <a:lnTo>
                    <a:pt x="152" y="61"/>
                  </a:lnTo>
                  <a:lnTo>
                    <a:pt x="151" y="61"/>
                  </a:lnTo>
                  <a:lnTo>
                    <a:pt x="150" y="62"/>
                  </a:lnTo>
                  <a:lnTo>
                    <a:pt x="149" y="62"/>
                  </a:lnTo>
                  <a:lnTo>
                    <a:pt x="147" y="63"/>
                  </a:lnTo>
                  <a:lnTo>
                    <a:pt x="146" y="64"/>
                  </a:lnTo>
                  <a:lnTo>
                    <a:pt x="145" y="64"/>
                  </a:lnTo>
                  <a:lnTo>
                    <a:pt x="144" y="65"/>
                  </a:lnTo>
                  <a:lnTo>
                    <a:pt x="143" y="66"/>
                  </a:lnTo>
                  <a:lnTo>
                    <a:pt x="142" y="66"/>
                  </a:lnTo>
                  <a:lnTo>
                    <a:pt x="140" y="69"/>
                  </a:lnTo>
                  <a:lnTo>
                    <a:pt x="139" y="69"/>
                  </a:lnTo>
                  <a:lnTo>
                    <a:pt x="138" y="70"/>
                  </a:lnTo>
                  <a:lnTo>
                    <a:pt x="136" y="72"/>
                  </a:lnTo>
                  <a:lnTo>
                    <a:pt x="135" y="72"/>
                  </a:lnTo>
                  <a:lnTo>
                    <a:pt x="134" y="74"/>
                  </a:lnTo>
                  <a:lnTo>
                    <a:pt x="132" y="76"/>
                  </a:lnTo>
                  <a:lnTo>
                    <a:pt x="127" y="82"/>
                  </a:lnTo>
                  <a:lnTo>
                    <a:pt x="125" y="84"/>
                  </a:lnTo>
                  <a:lnTo>
                    <a:pt x="125" y="85"/>
                  </a:lnTo>
                  <a:lnTo>
                    <a:pt x="124" y="86"/>
                  </a:lnTo>
                  <a:lnTo>
                    <a:pt x="124" y="87"/>
                  </a:lnTo>
                  <a:lnTo>
                    <a:pt x="124" y="88"/>
                  </a:lnTo>
                  <a:lnTo>
                    <a:pt x="124" y="91"/>
                  </a:lnTo>
                  <a:lnTo>
                    <a:pt x="123" y="93"/>
                  </a:lnTo>
                  <a:lnTo>
                    <a:pt x="123" y="94"/>
                  </a:lnTo>
                  <a:lnTo>
                    <a:pt x="123" y="95"/>
                  </a:lnTo>
                  <a:lnTo>
                    <a:pt x="123" y="96"/>
                  </a:lnTo>
                  <a:lnTo>
                    <a:pt x="122" y="97"/>
                  </a:lnTo>
                  <a:lnTo>
                    <a:pt x="121" y="101"/>
                  </a:lnTo>
                  <a:lnTo>
                    <a:pt x="120" y="102"/>
                  </a:lnTo>
                  <a:lnTo>
                    <a:pt x="120" y="103"/>
                  </a:lnTo>
                  <a:lnTo>
                    <a:pt x="119" y="104"/>
                  </a:lnTo>
                  <a:lnTo>
                    <a:pt x="119" y="106"/>
                  </a:lnTo>
                  <a:lnTo>
                    <a:pt x="119" y="107"/>
                  </a:lnTo>
                  <a:lnTo>
                    <a:pt x="120" y="112"/>
                  </a:lnTo>
                  <a:lnTo>
                    <a:pt x="120" y="116"/>
                  </a:lnTo>
                  <a:lnTo>
                    <a:pt x="120" y="118"/>
                  </a:lnTo>
                  <a:lnTo>
                    <a:pt x="120" y="120"/>
                  </a:lnTo>
                  <a:lnTo>
                    <a:pt x="120" y="121"/>
                  </a:lnTo>
                  <a:lnTo>
                    <a:pt x="119" y="122"/>
                  </a:lnTo>
                  <a:lnTo>
                    <a:pt x="119" y="124"/>
                  </a:lnTo>
                  <a:lnTo>
                    <a:pt x="119" y="125"/>
                  </a:lnTo>
                  <a:lnTo>
                    <a:pt x="118" y="126"/>
                  </a:lnTo>
                  <a:lnTo>
                    <a:pt x="118" y="127"/>
                  </a:lnTo>
                  <a:lnTo>
                    <a:pt x="117" y="128"/>
                  </a:lnTo>
                  <a:lnTo>
                    <a:pt x="116" y="130"/>
                  </a:lnTo>
                  <a:lnTo>
                    <a:pt x="115" y="130"/>
                  </a:lnTo>
                  <a:lnTo>
                    <a:pt x="110" y="137"/>
                  </a:lnTo>
                  <a:lnTo>
                    <a:pt x="109" y="138"/>
                  </a:lnTo>
                  <a:lnTo>
                    <a:pt x="108" y="140"/>
                  </a:lnTo>
                  <a:lnTo>
                    <a:pt x="107" y="141"/>
                  </a:lnTo>
                  <a:lnTo>
                    <a:pt x="106" y="143"/>
                  </a:lnTo>
                  <a:lnTo>
                    <a:pt x="105" y="145"/>
                  </a:lnTo>
                  <a:lnTo>
                    <a:pt x="104" y="146"/>
                  </a:lnTo>
                  <a:lnTo>
                    <a:pt x="104" y="147"/>
                  </a:lnTo>
                  <a:lnTo>
                    <a:pt x="104" y="148"/>
                  </a:lnTo>
                  <a:lnTo>
                    <a:pt x="104" y="149"/>
                  </a:lnTo>
                  <a:lnTo>
                    <a:pt x="103" y="150"/>
                  </a:lnTo>
                  <a:lnTo>
                    <a:pt x="103" y="154"/>
                  </a:lnTo>
                  <a:lnTo>
                    <a:pt x="102" y="158"/>
                  </a:lnTo>
                  <a:lnTo>
                    <a:pt x="102" y="158"/>
                  </a:lnTo>
                  <a:lnTo>
                    <a:pt x="102" y="159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5" y="164"/>
                  </a:lnTo>
                  <a:lnTo>
                    <a:pt x="109" y="168"/>
                  </a:lnTo>
                  <a:lnTo>
                    <a:pt x="110" y="169"/>
                  </a:lnTo>
                  <a:lnTo>
                    <a:pt x="110" y="170"/>
                  </a:lnTo>
                  <a:lnTo>
                    <a:pt x="111" y="170"/>
                  </a:lnTo>
                  <a:lnTo>
                    <a:pt x="111" y="171"/>
                  </a:lnTo>
                  <a:lnTo>
                    <a:pt x="111" y="172"/>
                  </a:lnTo>
                  <a:lnTo>
                    <a:pt x="112" y="172"/>
                  </a:lnTo>
                  <a:lnTo>
                    <a:pt x="112" y="173"/>
                  </a:lnTo>
                  <a:lnTo>
                    <a:pt x="112" y="174"/>
                  </a:lnTo>
                  <a:lnTo>
                    <a:pt x="112" y="174"/>
                  </a:lnTo>
                  <a:lnTo>
                    <a:pt x="112" y="175"/>
                  </a:lnTo>
                  <a:lnTo>
                    <a:pt x="112" y="176"/>
                  </a:lnTo>
                  <a:lnTo>
                    <a:pt x="112" y="177"/>
                  </a:lnTo>
                  <a:lnTo>
                    <a:pt x="111" y="178"/>
                  </a:lnTo>
                  <a:lnTo>
                    <a:pt x="110" y="179"/>
                  </a:lnTo>
                  <a:lnTo>
                    <a:pt x="110" y="180"/>
                  </a:lnTo>
                  <a:lnTo>
                    <a:pt x="109" y="181"/>
                  </a:lnTo>
                  <a:lnTo>
                    <a:pt x="107" y="184"/>
                  </a:lnTo>
                  <a:lnTo>
                    <a:pt x="106" y="186"/>
                  </a:lnTo>
                  <a:lnTo>
                    <a:pt x="105" y="188"/>
                  </a:lnTo>
                  <a:lnTo>
                    <a:pt x="104" y="188"/>
                  </a:lnTo>
                  <a:lnTo>
                    <a:pt x="104" y="189"/>
                  </a:lnTo>
                  <a:lnTo>
                    <a:pt x="104" y="189"/>
                  </a:lnTo>
                  <a:lnTo>
                    <a:pt x="104" y="190"/>
                  </a:lnTo>
                  <a:lnTo>
                    <a:pt x="104" y="191"/>
                  </a:lnTo>
                  <a:lnTo>
                    <a:pt x="104" y="193"/>
                  </a:lnTo>
                  <a:lnTo>
                    <a:pt x="104" y="194"/>
                  </a:lnTo>
                  <a:lnTo>
                    <a:pt x="104" y="195"/>
                  </a:lnTo>
                  <a:lnTo>
                    <a:pt x="103" y="196"/>
                  </a:lnTo>
                  <a:lnTo>
                    <a:pt x="103" y="197"/>
                  </a:lnTo>
                  <a:lnTo>
                    <a:pt x="102" y="199"/>
                  </a:lnTo>
                  <a:lnTo>
                    <a:pt x="101" y="202"/>
                  </a:lnTo>
                  <a:lnTo>
                    <a:pt x="100" y="203"/>
                  </a:lnTo>
                  <a:lnTo>
                    <a:pt x="100" y="204"/>
                  </a:lnTo>
                  <a:lnTo>
                    <a:pt x="100" y="205"/>
                  </a:lnTo>
                  <a:lnTo>
                    <a:pt x="100" y="206"/>
                  </a:lnTo>
                  <a:lnTo>
                    <a:pt x="100" y="207"/>
                  </a:lnTo>
                  <a:lnTo>
                    <a:pt x="100" y="207"/>
                  </a:lnTo>
                  <a:lnTo>
                    <a:pt x="100" y="208"/>
                  </a:lnTo>
                  <a:lnTo>
                    <a:pt x="100" y="208"/>
                  </a:lnTo>
                  <a:lnTo>
                    <a:pt x="100" y="209"/>
                  </a:lnTo>
                  <a:lnTo>
                    <a:pt x="101" y="211"/>
                  </a:lnTo>
                  <a:lnTo>
                    <a:pt x="102" y="212"/>
                  </a:lnTo>
                  <a:lnTo>
                    <a:pt x="103" y="213"/>
                  </a:lnTo>
                  <a:lnTo>
                    <a:pt x="103" y="213"/>
                  </a:lnTo>
                  <a:lnTo>
                    <a:pt x="105" y="215"/>
                  </a:lnTo>
                  <a:lnTo>
                    <a:pt x="106" y="218"/>
                  </a:lnTo>
                  <a:lnTo>
                    <a:pt x="107" y="218"/>
                  </a:lnTo>
                  <a:lnTo>
                    <a:pt x="108" y="219"/>
                  </a:lnTo>
                  <a:lnTo>
                    <a:pt x="109" y="220"/>
                  </a:lnTo>
                  <a:lnTo>
                    <a:pt x="109" y="220"/>
                  </a:lnTo>
                  <a:lnTo>
                    <a:pt x="110" y="220"/>
                  </a:lnTo>
                  <a:lnTo>
                    <a:pt x="110" y="221"/>
                  </a:lnTo>
                  <a:lnTo>
                    <a:pt x="111" y="221"/>
                  </a:lnTo>
                  <a:lnTo>
                    <a:pt x="112" y="221"/>
                  </a:lnTo>
                  <a:lnTo>
                    <a:pt x="113" y="220"/>
                  </a:lnTo>
                  <a:lnTo>
                    <a:pt x="115" y="220"/>
                  </a:lnTo>
                  <a:lnTo>
                    <a:pt x="116" y="220"/>
                  </a:lnTo>
                  <a:lnTo>
                    <a:pt x="117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20" y="219"/>
                  </a:lnTo>
                  <a:lnTo>
                    <a:pt x="120" y="220"/>
                  </a:lnTo>
                  <a:lnTo>
                    <a:pt x="120" y="220"/>
                  </a:lnTo>
                  <a:lnTo>
                    <a:pt x="120" y="221"/>
                  </a:lnTo>
                  <a:lnTo>
                    <a:pt x="120" y="222"/>
                  </a:lnTo>
                  <a:lnTo>
                    <a:pt x="120" y="224"/>
                  </a:lnTo>
                  <a:lnTo>
                    <a:pt x="119" y="227"/>
                  </a:lnTo>
                  <a:lnTo>
                    <a:pt x="119" y="228"/>
                  </a:lnTo>
                  <a:lnTo>
                    <a:pt x="119" y="229"/>
                  </a:lnTo>
                  <a:lnTo>
                    <a:pt x="119" y="230"/>
                  </a:lnTo>
                  <a:lnTo>
                    <a:pt x="120" y="231"/>
                  </a:lnTo>
                  <a:lnTo>
                    <a:pt x="120" y="231"/>
                  </a:lnTo>
                  <a:lnTo>
                    <a:pt x="120" y="232"/>
                  </a:lnTo>
                  <a:lnTo>
                    <a:pt x="120" y="232"/>
                  </a:lnTo>
                  <a:lnTo>
                    <a:pt x="121" y="232"/>
                  </a:lnTo>
                  <a:lnTo>
                    <a:pt x="121" y="233"/>
                  </a:lnTo>
                  <a:lnTo>
                    <a:pt x="122" y="233"/>
                  </a:lnTo>
                  <a:lnTo>
                    <a:pt x="122" y="233"/>
                  </a:lnTo>
                  <a:lnTo>
                    <a:pt x="123" y="233"/>
                  </a:lnTo>
                  <a:lnTo>
                    <a:pt x="127" y="233"/>
                  </a:lnTo>
                  <a:lnTo>
                    <a:pt x="130" y="233"/>
                  </a:lnTo>
                  <a:lnTo>
                    <a:pt x="131" y="233"/>
                  </a:lnTo>
                  <a:lnTo>
                    <a:pt x="132" y="232"/>
                  </a:lnTo>
                  <a:lnTo>
                    <a:pt x="132" y="232"/>
                  </a:lnTo>
                  <a:lnTo>
                    <a:pt x="133" y="232"/>
                  </a:lnTo>
                  <a:lnTo>
                    <a:pt x="133" y="231"/>
                  </a:lnTo>
                  <a:lnTo>
                    <a:pt x="134" y="230"/>
                  </a:lnTo>
                  <a:lnTo>
                    <a:pt x="135" y="229"/>
                  </a:lnTo>
                  <a:lnTo>
                    <a:pt x="136" y="228"/>
                  </a:lnTo>
                  <a:lnTo>
                    <a:pt x="137" y="227"/>
                  </a:lnTo>
                  <a:lnTo>
                    <a:pt x="138" y="226"/>
                  </a:lnTo>
                  <a:lnTo>
                    <a:pt x="141" y="224"/>
                  </a:lnTo>
                  <a:lnTo>
                    <a:pt x="144" y="221"/>
                  </a:lnTo>
                  <a:lnTo>
                    <a:pt x="145" y="220"/>
                  </a:lnTo>
                  <a:lnTo>
                    <a:pt x="147" y="219"/>
                  </a:lnTo>
                  <a:lnTo>
                    <a:pt x="148" y="218"/>
                  </a:lnTo>
                  <a:lnTo>
                    <a:pt x="149" y="218"/>
                  </a:lnTo>
                  <a:lnTo>
                    <a:pt x="150" y="218"/>
                  </a:lnTo>
                  <a:lnTo>
                    <a:pt x="151" y="217"/>
                  </a:lnTo>
                  <a:lnTo>
                    <a:pt x="153" y="216"/>
                  </a:lnTo>
                  <a:lnTo>
                    <a:pt x="154" y="216"/>
                  </a:lnTo>
                  <a:lnTo>
                    <a:pt x="154" y="216"/>
                  </a:lnTo>
                  <a:lnTo>
                    <a:pt x="156" y="215"/>
                  </a:lnTo>
                  <a:lnTo>
                    <a:pt x="158" y="215"/>
                  </a:lnTo>
                  <a:lnTo>
                    <a:pt x="159" y="215"/>
                  </a:lnTo>
                  <a:lnTo>
                    <a:pt x="160" y="215"/>
                  </a:lnTo>
                  <a:lnTo>
                    <a:pt x="161" y="215"/>
                  </a:lnTo>
                  <a:lnTo>
                    <a:pt x="161" y="215"/>
                  </a:lnTo>
                  <a:lnTo>
                    <a:pt x="162" y="216"/>
                  </a:lnTo>
                  <a:lnTo>
                    <a:pt x="163" y="216"/>
                  </a:lnTo>
                  <a:lnTo>
                    <a:pt x="163" y="217"/>
                  </a:lnTo>
                  <a:lnTo>
                    <a:pt x="164" y="217"/>
                  </a:lnTo>
                  <a:lnTo>
                    <a:pt x="165" y="218"/>
                  </a:lnTo>
                  <a:lnTo>
                    <a:pt x="165" y="218"/>
                  </a:lnTo>
                  <a:lnTo>
                    <a:pt x="166" y="219"/>
                  </a:lnTo>
                  <a:lnTo>
                    <a:pt x="166" y="220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2"/>
                  </a:lnTo>
                  <a:lnTo>
                    <a:pt x="166" y="224"/>
                  </a:lnTo>
                  <a:lnTo>
                    <a:pt x="165" y="226"/>
                  </a:lnTo>
                  <a:lnTo>
                    <a:pt x="164" y="230"/>
                  </a:lnTo>
                  <a:lnTo>
                    <a:pt x="164" y="233"/>
                  </a:lnTo>
                  <a:lnTo>
                    <a:pt x="164" y="233"/>
                  </a:lnTo>
                  <a:lnTo>
                    <a:pt x="164" y="234"/>
                  </a:lnTo>
                  <a:lnTo>
                    <a:pt x="164" y="235"/>
                  </a:lnTo>
                  <a:lnTo>
                    <a:pt x="164" y="236"/>
                  </a:lnTo>
                  <a:lnTo>
                    <a:pt x="165" y="237"/>
                  </a:lnTo>
                  <a:lnTo>
                    <a:pt x="165" y="239"/>
                  </a:lnTo>
                  <a:lnTo>
                    <a:pt x="166" y="240"/>
                  </a:lnTo>
                  <a:lnTo>
                    <a:pt x="167" y="241"/>
                  </a:lnTo>
                  <a:lnTo>
                    <a:pt x="168" y="242"/>
                  </a:lnTo>
                  <a:lnTo>
                    <a:pt x="168" y="242"/>
                  </a:lnTo>
                  <a:lnTo>
                    <a:pt x="169" y="242"/>
                  </a:lnTo>
                  <a:lnTo>
                    <a:pt x="169" y="242"/>
                  </a:lnTo>
                  <a:lnTo>
                    <a:pt x="170" y="242"/>
                  </a:lnTo>
                  <a:lnTo>
                    <a:pt x="170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72" y="241"/>
                  </a:lnTo>
                  <a:lnTo>
                    <a:pt x="173" y="239"/>
                  </a:lnTo>
                  <a:lnTo>
                    <a:pt x="174" y="238"/>
                  </a:lnTo>
                  <a:lnTo>
                    <a:pt x="174" y="238"/>
                  </a:lnTo>
                  <a:lnTo>
                    <a:pt x="176" y="236"/>
                  </a:lnTo>
                  <a:lnTo>
                    <a:pt x="177" y="235"/>
                  </a:lnTo>
                  <a:lnTo>
                    <a:pt x="177" y="234"/>
                  </a:lnTo>
                  <a:lnTo>
                    <a:pt x="177" y="234"/>
                  </a:lnTo>
                  <a:lnTo>
                    <a:pt x="178" y="233"/>
                  </a:lnTo>
                  <a:lnTo>
                    <a:pt x="178" y="232"/>
                  </a:lnTo>
                  <a:lnTo>
                    <a:pt x="179" y="231"/>
                  </a:lnTo>
                  <a:lnTo>
                    <a:pt x="179" y="231"/>
                  </a:lnTo>
                  <a:lnTo>
                    <a:pt x="180" y="230"/>
                  </a:lnTo>
                  <a:lnTo>
                    <a:pt x="180" y="230"/>
                  </a:lnTo>
                  <a:lnTo>
                    <a:pt x="182" y="229"/>
                  </a:lnTo>
                  <a:lnTo>
                    <a:pt x="182" y="229"/>
                  </a:lnTo>
                  <a:lnTo>
                    <a:pt x="183" y="228"/>
                  </a:lnTo>
                  <a:lnTo>
                    <a:pt x="184" y="228"/>
                  </a:lnTo>
                  <a:lnTo>
                    <a:pt x="184" y="228"/>
                  </a:lnTo>
                  <a:lnTo>
                    <a:pt x="184" y="228"/>
                  </a:lnTo>
                  <a:lnTo>
                    <a:pt x="185" y="228"/>
                  </a:lnTo>
                  <a:lnTo>
                    <a:pt x="185" y="228"/>
                  </a:lnTo>
                  <a:lnTo>
                    <a:pt x="186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8" y="228"/>
                  </a:lnTo>
                  <a:lnTo>
                    <a:pt x="189" y="228"/>
                  </a:lnTo>
                  <a:lnTo>
                    <a:pt x="189" y="227"/>
                  </a:lnTo>
                  <a:lnTo>
                    <a:pt x="190" y="226"/>
                  </a:lnTo>
                  <a:lnTo>
                    <a:pt x="191" y="225"/>
                  </a:lnTo>
                  <a:lnTo>
                    <a:pt x="191" y="225"/>
                  </a:lnTo>
                  <a:lnTo>
                    <a:pt x="191" y="224"/>
                  </a:lnTo>
                  <a:lnTo>
                    <a:pt x="192" y="224"/>
                  </a:lnTo>
                  <a:lnTo>
                    <a:pt x="192" y="223"/>
                  </a:lnTo>
                  <a:lnTo>
                    <a:pt x="192" y="222"/>
                  </a:lnTo>
                  <a:lnTo>
                    <a:pt x="192" y="221"/>
                  </a:lnTo>
                  <a:lnTo>
                    <a:pt x="191" y="220"/>
                  </a:lnTo>
                  <a:lnTo>
                    <a:pt x="190" y="213"/>
                  </a:lnTo>
                  <a:lnTo>
                    <a:pt x="189" y="212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90" y="210"/>
                  </a:lnTo>
                  <a:lnTo>
                    <a:pt x="190" y="209"/>
                  </a:lnTo>
                  <a:lnTo>
                    <a:pt x="191" y="209"/>
                  </a:lnTo>
                  <a:lnTo>
                    <a:pt x="191" y="209"/>
                  </a:lnTo>
                  <a:lnTo>
                    <a:pt x="192" y="209"/>
                  </a:lnTo>
                  <a:lnTo>
                    <a:pt x="193" y="209"/>
                  </a:lnTo>
                  <a:lnTo>
                    <a:pt x="194" y="209"/>
                  </a:lnTo>
                  <a:lnTo>
                    <a:pt x="194" y="209"/>
                  </a:lnTo>
                  <a:lnTo>
                    <a:pt x="195" y="210"/>
                  </a:lnTo>
                  <a:lnTo>
                    <a:pt x="195" y="210"/>
                  </a:lnTo>
                  <a:lnTo>
                    <a:pt x="195" y="210"/>
                  </a:lnTo>
                  <a:lnTo>
                    <a:pt x="196" y="211"/>
                  </a:lnTo>
                  <a:lnTo>
                    <a:pt x="197" y="214"/>
                  </a:lnTo>
                  <a:lnTo>
                    <a:pt x="198" y="216"/>
                  </a:lnTo>
                  <a:lnTo>
                    <a:pt x="199" y="218"/>
                  </a:lnTo>
                  <a:lnTo>
                    <a:pt x="199" y="219"/>
                  </a:lnTo>
                  <a:lnTo>
                    <a:pt x="200" y="220"/>
                  </a:lnTo>
                  <a:lnTo>
                    <a:pt x="200" y="222"/>
                  </a:lnTo>
                  <a:lnTo>
                    <a:pt x="200" y="224"/>
                  </a:lnTo>
                  <a:lnTo>
                    <a:pt x="200" y="224"/>
                  </a:lnTo>
                  <a:lnTo>
                    <a:pt x="200" y="226"/>
                  </a:lnTo>
                  <a:lnTo>
                    <a:pt x="200" y="227"/>
                  </a:lnTo>
                  <a:lnTo>
                    <a:pt x="201" y="229"/>
                  </a:lnTo>
                  <a:lnTo>
                    <a:pt x="201" y="230"/>
                  </a:lnTo>
                  <a:lnTo>
                    <a:pt x="203" y="232"/>
                  </a:lnTo>
                  <a:lnTo>
                    <a:pt x="203" y="233"/>
                  </a:lnTo>
                  <a:lnTo>
                    <a:pt x="204" y="234"/>
                  </a:lnTo>
                  <a:lnTo>
                    <a:pt x="204" y="234"/>
                  </a:lnTo>
                  <a:lnTo>
                    <a:pt x="204" y="235"/>
                  </a:lnTo>
                  <a:lnTo>
                    <a:pt x="205" y="236"/>
                  </a:lnTo>
                  <a:lnTo>
                    <a:pt x="205" y="236"/>
                  </a:lnTo>
                  <a:lnTo>
                    <a:pt x="205" y="238"/>
                  </a:lnTo>
                  <a:lnTo>
                    <a:pt x="205" y="239"/>
                  </a:lnTo>
                  <a:lnTo>
                    <a:pt x="205" y="240"/>
                  </a:lnTo>
                  <a:lnTo>
                    <a:pt x="206" y="241"/>
                  </a:lnTo>
                  <a:lnTo>
                    <a:pt x="206" y="242"/>
                  </a:lnTo>
                  <a:lnTo>
                    <a:pt x="206" y="242"/>
                  </a:lnTo>
                  <a:lnTo>
                    <a:pt x="209" y="245"/>
                  </a:lnTo>
                  <a:lnTo>
                    <a:pt x="210" y="246"/>
                  </a:lnTo>
                  <a:lnTo>
                    <a:pt x="211" y="247"/>
                  </a:lnTo>
                  <a:lnTo>
                    <a:pt x="212" y="249"/>
                  </a:lnTo>
                  <a:lnTo>
                    <a:pt x="212" y="250"/>
                  </a:lnTo>
                  <a:lnTo>
                    <a:pt x="213" y="251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5" y="253"/>
                  </a:lnTo>
                  <a:lnTo>
                    <a:pt x="216" y="253"/>
                  </a:lnTo>
                  <a:lnTo>
                    <a:pt x="218" y="254"/>
                  </a:lnTo>
                  <a:lnTo>
                    <a:pt x="219" y="255"/>
                  </a:lnTo>
                  <a:lnTo>
                    <a:pt x="220" y="255"/>
                  </a:lnTo>
                  <a:lnTo>
                    <a:pt x="221" y="256"/>
                  </a:lnTo>
                  <a:lnTo>
                    <a:pt x="222" y="257"/>
                  </a:lnTo>
                  <a:lnTo>
                    <a:pt x="223" y="258"/>
                  </a:lnTo>
                  <a:lnTo>
                    <a:pt x="224" y="259"/>
                  </a:lnTo>
                  <a:lnTo>
                    <a:pt x="225" y="259"/>
                  </a:lnTo>
                  <a:lnTo>
                    <a:pt x="229" y="261"/>
                  </a:lnTo>
                  <a:lnTo>
                    <a:pt x="231" y="262"/>
                  </a:lnTo>
                  <a:lnTo>
                    <a:pt x="232" y="262"/>
                  </a:lnTo>
                  <a:lnTo>
                    <a:pt x="233" y="262"/>
                  </a:lnTo>
                  <a:lnTo>
                    <a:pt x="236" y="263"/>
                  </a:lnTo>
                  <a:lnTo>
                    <a:pt x="237" y="263"/>
                  </a:lnTo>
                  <a:lnTo>
                    <a:pt x="238" y="263"/>
                  </a:lnTo>
                  <a:lnTo>
                    <a:pt x="238" y="263"/>
                  </a:lnTo>
                  <a:lnTo>
                    <a:pt x="239" y="263"/>
                  </a:lnTo>
                  <a:lnTo>
                    <a:pt x="240" y="263"/>
                  </a:lnTo>
                  <a:lnTo>
                    <a:pt x="242" y="262"/>
                  </a:lnTo>
                  <a:lnTo>
                    <a:pt x="244" y="261"/>
                  </a:lnTo>
                  <a:lnTo>
                    <a:pt x="246" y="260"/>
                  </a:lnTo>
                  <a:lnTo>
                    <a:pt x="247" y="260"/>
                  </a:lnTo>
                  <a:lnTo>
                    <a:pt x="252" y="258"/>
                  </a:lnTo>
                  <a:lnTo>
                    <a:pt x="253" y="258"/>
                  </a:lnTo>
                  <a:lnTo>
                    <a:pt x="256" y="257"/>
                  </a:lnTo>
                  <a:lnTo>
                    <a:pt x="256" y="257"/>
                  </a:lnTo>
                  <a:lnTo>
                    <a:pt x="257" y="257"/>
                  </a:lnTo>
                  <a:lnTo>
                    <a:pt x="258" y="257"/>
                  </a:lnTo>
                  <a:lnTo>
                    <a:pt x="258" y="257"/>
                  </a:lnTo>
                  <a:lnTo>
                    <a:pt x="259" y="257"/>
                  </a:lnTo>
                  <a:lnTo>
                    <a:pt x="259" y="257"/>
                  </a:lnTo>
                  <a:lnTo>
                    <a:pt x="260" y="258"/>
                  </a:lnTo>
                  <a:lnTo>
                    <a:pt x="260" y="258"/>
                  </a:lnTo>
                  <a:lnTo>
                    <a:pt x="261" y="259"/>
                  </a:lnTo>
                  <a:lnTo>
                    <a:pt x="261" y="260"/>
                  </a:lnTo>
                  <a:lnTo>
                    <a:pt x="262" y="261"/>
                  </a:lnTo>
                  <a:lnTo>
                    <a:pt x="262" y="262"/>
                  </a:lnTo>
                  <a:lnTo>
                    <a:pt x="263" y="263"/>
                  </a:lnTo>
                  <a:lnTo>
                    <a:pt x="263" y="264"/>
                  </a:lnTo>
                  <a:lnTo>
                    <a:pt x="264" y="266"/>
                  </a:lnTo>
                  <a:lnTo>
                    <a:pt x="264" y="267"/>
                  </a:lnTo>
                  <a:lnTo>
                    <a:pt x="264" y="269"/>
                  </a:lnTo>
                  <a:lnTo>
                    <a:pt x="264" y="270"/>
                  </a:lnTo>
                  <a:lnTo>
                    <a:pt x="264" y="271"/>
                  </a:lnTo>
                  <a:lnTo>
                    <a:pt x="264" y="272"/>
                  </a:lnTo>
                  <a:lnTo>
                    <a:pt x="264" y="273"/>
                  </a:lnTo>
                  <a:lnTo>
                    <a:pt x="264" y="274"/>
                  </a:lnTo>
                  <a:lnTo>
                    <a:pt x="263" y="278"/>
                  </a:lnTo>
                  <a:lnTo>
                    <a:pt x="262" y="280"/>
                  </a:lnTo>
                  <a:lnTo>
                    <a:pt x="262" y="281"/>
                  </a:lnTo>
                  <a:lnTo>
                    <a:pt x="262" y="282"/>
                  </a:lnTo>
                  <a:lnTo>
                    <a:pt x="262" y="283"/>
                  </a:lnTo>
                  <a:lnTo>
                    <a:pt x="262" y="284"/>
                  </a:lnTo>
                  <a:lnTo>
                    <a:pt x="262" y="286"/>
                  </a:lnTo>
                  <a:lnTo>
                    <a:pt x="262" y="287"/>
                  </a:lnTo>
                  <a:lnTo>
                    <a:pt x="263" y="289"/>
                  </a:lnTo>
                  <a:lnTo>
                    <a:pt x="263" y="291"/>
                  </a:lnTo>
                  <a:lnTo>
                    <a:pt x="263" y="292"/>
                  </a:lnTo>
                  <a:lnTo>
                    <a:pt x="264" y="293"/>
                  </a:lnTo>
                  <a:lnTo>
                    <a:pt x="264" y="294"/>
                  </a:lnTo>
                  <a:lnTo>
                    <a:pt x="265" y="295"/>
                  </a:lnTo>
                  <a:lnTo>
                    <a:pt x="265" y="295"/>
                  </a:lnTo>
                  <a:lnTo>
                    <a:pt x="266" y="296"/>
                  </a:lnTo>
                  <a:lnTo>
                    <a:pt x="267" y="297"/>
                  </a:lnTo>
                  <a:lnTo>
                    <a:pt x="268" y="297"/>
                  </a:lnTo>
                  <a:lnTo>
                    <a:pt x="269" y="298"/>
                  </a:lnTo>
                  <a:lnTo>
                    <a:pt x="270" y="299"/>
                  </a:lnTo>
                  <a:lnTo>
                    <a:pt x="271" y="299"/>
                  </a:lnTo>
                  <a:lnTo>
                    <a:pt x="272" y="300"/>
                  </a:lnTo>
                  <a:lnTo>
                    <a:pt x="273" y="300"/>
                  </a:lnTo>
                  <a:lnTo>
                    <a:pt x="273" y="300"/>
                  </a:lnTo>
                  <a:lnTo>
                    <a:pt x="274" y="300"/>
                  </a:lnTo>
                  <a:lnTo>
                    <a:pt x="275" y="299"/>
                  </a:lnTo>
                  <a:lnTo>
                    <a:pt x="275" y="299"/>
                  </a:lnTo>
                  <a:lnTo>
                    <a:pt x="276" y="299"/>
                  </a:lnTo>
                  <a:lnTo>
                    <a:pt x="277" y="298"/>
                  </a:lnTo>
                  <a:lnTo>
                    <a:pt x="278" y="298"/>
                  </a:lnTo>
                  <a:lnTo>
                    <a:pt x="278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80" y="297"/>
                  </a:lnTo>
                  <a:lnTo>
                    <a:pt x="280" y="298"/>
                  </a:lnTo>
                  <a:lnTo>
                    <a:pt x="281" y="298"/>
                  </a:lnTo>
                  <a:lnTo>
                    <a:pt x="282" y="299"/>
                  </a:lnTo>
                  <a:lnTo>
                    <a:pt x="282" y="300"/>
                  </a:lnTo>
                  <a:lnTo>
                    <a:pt x="283" y="301"/>
                  </a:lnTo>
                  <a:lnTo>
                    <a:pt x="285" y="302"/>
                  </a:lnTo>
                  <a:lnTo>
                    <a:pt x="286" y="304"/>
                  </a:lnTo>
                  <a:lnTo>
                    <a:pt x="286" y="305"/>
                  </a:lnTo>
                  <a:lnTo>
                    <a:pt x="287" y="306"/>
                  </a:lnTo>
                  <a:lnTo>
                    <a:pt x="288" y="308"/>
                  </a:lnTo>
                  <a:lnTo>
                    <a:pt x="289" y="309"/>
                  </a:lnTo>
                  <a:lnTo>
                    <a:pt x="290" y="311"/>
                  </a:lnTo>
                  <a:lnTo>
                    <a:pt x="291" y="312"/>
                  </a:lnTo>
                  <a:lnTo>
                    <a:pt x="291" y="313"/>
                  </a:lnTo>
                  <a:lnTo>
                    <a:pt x="292" y="313"/>
                  </a:lnTo>
                  <a:lnTo>
                    <a:pt x="293" y="314"/>
                  </a:lnTo>
                  <a:lnTo>
                    <a:pt x="300" y="320"/>
                  </a:lnTo>
                  <a:lnTo>
                    <a:pt x="302" y="320"/>
                  </a:lnTo>
                  <a:lnTo>
                    <a:pt x="303" y="322"/>
                  </a:lnTo>
                  <a:lnTo>
                    <a:pt x="306" y="325"/>
                  </a:lnTo>
                  <a:lnTo>
                    <a:pt x="308" y="327"/>
                  </a:lnTo>
                  <a:lnTo>
                    <a:pt x="309" y="328"/>
                  </a:lnTo>
                  <a:lnTo>
                    <a:pt x="311" y="330"/>
                  </a:lnTo>
                  <a:lnTo>
                    <a:pt x="312" y="332"/>
                  </a:lnTo>
                  <a:lnTo>
                    <a:pt x="314" y="335"/>
                  </a:lnTo>
                  <a:lnTo>
                    <a:pt x="315" y="338"/>
                  </a:lnTo>
                  <a:lnTo>
                    <a:pt x="316" y="339"/>
                  </a:lnTo>
                  <a:lnTo>
                    <a:pt x="316" y="339"/>
                  </a:lnTo>
                  <a:lnTo>
                    <a:pt x="316" y="340"/>
                  </a:lnTo>
                  <a:lnTo>
                    <a:pt x="316" y="341"/>
                  </a:lnTo>
                  <a:lnTo>
                    <a:pt x="316" y="341"/>
                  </a:lnTo>
                  <a:lnTo>
                    <a:pt x="316" y="342"/>
                  </a:lnTo>
                  <a:lnTo>
                    <a:pt x="316" y="343"/>
                  </a:lnTo>
                  <a:lnTo>
                    <a:pt x="315" y="344"/>
                  </a:lnTo>
                  <a:lnTo>
                    <a:pt x="315" y="345"/>
                  </a:lnTo>
                  <a:lnTo>
                    <a:pt x="314" y="346"/>
                  </a:lnTo>
                  <a:lnTo>
                    <a:pt x="314" y="347"/>
                  </a:lnTo>
                  <a:lnTo>
                    <a:pt x="314" y="347"/>
                  </a:lnTo>
                  <a:lnTo>
                    <a:pt x="314" y="348"/>
                  </a:lnTo>
                  <a:lnTo>
                    <a:pt x="315" y="349"/>
                  </a:lnTo>
                  <a:lnTo>
                    <a:pt x="315" y="350"/>
                  </a:lnTo>
                  <a:lnTo>
                    <a:pt x="316" y="350"/>
                  </a:lnTo>
                  <a:lnTo>
                    <a:pt x="316" y="351"/>
                  </a:lnTo>
                  <a:lnTo>
                    <a:pt x="316" y="351"/>
                  </a:lnTo>
                  <a:lnTo>
                    <a:pt x="317" y="351"/>
                  </a:lnTo>
                  <a:lnTo>
                    <a:pt x="318" y="351"/>
                  </a:lnTo>
                  <a:lnTo>
                    <a:pt x="318" y="351"/>
                  </a:lnTo>
                  <a:lnTo>
                    <a:pt x="318" y="351"/>
                  </a:lnTo>
                  <a:lnTo>
                    <a:pt x="319" y="351"/>
                  </a:lnTo>
                  <a:lnTo>
                    <a:pt x="321" y="349"/>
                  </a:lnTo>
                  <a:lnTo>
                    <a:pt x="322" y="348"/>
                  </a:lnTo>
                  <a:lnTo>
                    <a:pt x="323" y="347"/>
                  </a:lnTo>
                  <a:lnTo>
                    <a:pt x="324" y="347"/>
                  </a:lnTo>
                  <a:lnTo>
                    <a:pt x="325" y="347"/>
                  </a:lnTo>
                  <a:lnTo>
                    <a:pt x="326" y="346"/>
                  </a:lnTo>
                  <a:lnTo>
                    <a:pt x="326" y="346"/>
                  </a:lnTo>
                  <a:lnTo>
                    <a:pt x="327" y="346"/>
                  </a:lnTo>
                  <a:lnTo>
                    <a:pt x="327" y="347"/>
                  </a:lnTo>
                  <a:lnTo>
                    <a:pt x="328" y="347"/>
                  </a:lnTo>
                  <a:lnTo>
                    <a:pt x="328" y="347"/>
                  </a:lnTo>
                  <a:lnTo>
                    <a:pt x="328" y="347"/>
                  </a:lnTo>
                  <a:lnTo>
                    <a:pt x="329" y="348"/>
                  </a:lnTo>
                  <a:lnTo>
                    <a:pt x="330" y="349"/>
                  </a:lnTo>
                  <a:lnTo>
                    <a:pt x="331" y="350"/>
                  </a:lnTo>
                  <a:lnTo>
                    <a:pt x="331" y="351"/>
                  </a:lnTo>
                  <a:lnTo>
                    <a:pt x="333" y="354"/>
                  </a:lnTo>
                  <a:lnTo>
                    <a:pt x="334" y="357"/>
                  </a:lnTo>
                  <a:lnTo>
                    <a:pt x="334" y="357"/>
                  </a:lnTo>
                  <a:lnTo>
                    <a:pt x="334" y="358"/>
                  </a:lnTo>
                  <a:lnTo>
                    <a:pt x="334" y="358"/>
                  </a:lnTo>
                  <a:lnTo>
                    <a:pt x="334" y="359"/>
                  </a:lnTo>
                  <a:lnTo>
                    <a:pt x="334" y="359"/>
                  </a:lnTo>
                  <a:lnTo>
                    <a:pt x="333" y="360"/>
                  </a:lnTo>
                  <a:lnTo>
                    <a:pt x="333" y="361"/>
                  </a:lnTo>
                  <a:lnTo>
                    <a:pt x="332" y="362"/>
                  </a:lnTo>
                  <a:lnTo>
                    <a:pt x="331" y="364"/>
                  </a:lnTo>
                  <a:lnTo>
                    <a:pt x="330" y="365"/>
                  </a:lnTo>
                  <a:lnTo>
                    <a:pt x="330" y="366"/>
                  </a:lnTo>
                  <a:lnTo>
                    <a:pt x="329" y="367"/>
                  </a:lnTo>
                  <a:lnTo>
                    <a:pt x="329" y="367"/>
                  </a:lnTo>
                  <a:lnTo>
                    <a:pt x="328" y="368"/>
                  </a:lnTo>
                  <a:lnTo>
                    <a:pt x="327" y="368"/>
                  </a:lnTo>
                  <a:lnTo>
                    <a:pt x="327" y="368"/>
                  </a:lnTo>
                  <a:lnTo>
                    <a:pt x="326" y="369"/>
                  </a:lnTo>
                  <a:lnTo>
                    <a:pt x="326" y="369"/>
                  </a:lnTo>
                  <a:lnTo>
                    <a:pt x="325" y="369"/>
                  </a:lnTo>
                  <a:lnTo>
                    <a:pt x="324" y="369"/>
                  </a:lnTo>
                  <a:lnTo>
                    <a:pt x="324" y="369"/>
                  </a:lnTo>
                  <a:lnTo>
                    <a:pt x="323" y="369"/>
                  </a:lnTo>
                  <a:lnTo>
                    <a:pt x="322" y="369"/>
                  </a:lnTo>
                  <a:lnTo>
                    <a:pt x="320" y="368"/>
                  </a:lnTo>
                  <a:lnTo>
                    <a:pt x="317" y="368"/>
                  </a:lnTo>
                  <a:lnTo>
                    <a:pt x="316" y="367"/>
                  </a:lnTo>
                  <a:lnTo>
                    <a:pt x="315" y="367"/>
                  </a:lnTo>
                  <a:lnTo>
                    <a:pt x="314" y="367"/>
                  </a:lnTo>
                  <a:lnTo>
                    <a:pt x="313" y="367"/>
                  </a:lnTo>
                  <a:lnTo>
                    <a:pt x="313" y="367"/>
                  </a:lnTo>
                  <a:lnTo>
                    <a:pt x="313" y="368"/>
                  </a:lnTo>
                  <a:lnTo>
                    <a:pt x="312" y="369"/>
                  </a:lnTo>
                  <a:lnTo>
                    <a:pt x="311" y="370"/>
                  </a:lnTo>
                  <a:lnTo>
                    <a:pt x="310" y="372"/>
                  </a:lnTo>
                  <a:lnTo>
                    <a:pt x="310" y="372"/>
                  </a:lnTo>
                  <a:lnTo>
                    <a:pt x="309" y="373"/>
                  </a:lnTo>
                  <a:lnTo>
                    <a:pt x="309" y="374"/>
                  </a:lnTo>
                  <a:lnTo>
                    <a:pt x="308" y="374"/>
                  </a:lnTo>
                  <a:lnTo>
                    <a:pt x="307" y="375"/>
                  </a:lnTo>
                  <a:lnTo>
                    <a:pt x="305" y="376"/>
                  </a:lnTo>
                  <a:lnTo>
                    <a:pt x="304" y="377"/>
                  </a:lnTo>
                  <a:lnTo>
                    <a:pt x="303" y="378"/>
                  </a:lnTo>
                  <a:lnTo>
                    <a:pt x="302" y="380"/>
                  </a:lnTo>
                  <a:lnTo>
                    <a:pt x="300" y="382"/>
                  </a:lnTo>
                  <a:lnTo>
                    <a:pt x="299" y="382"/>
                  </a:lnTo>
                  <a:lnTo>
                    <a:pt x="299" y="383"/>
                  </a:lnTo>
                  <a:lnTo>
                    <a:pt x="299" y="384"/>
                  </a:lnTo>
                  <a:lnTo>
                    <a:pt x="299" y="384"/>
                  </a:lnTo>
                  <a:lnTo>
                    <a:pt x="298" y="385"/>
                  </a:lnTo>
                  <a:lnTo>
                    <a:pt x="298" y="388"/>
                  </a:lnTo>
                  <a:lnTo>
                    <a:pt x="298" y="389"/>
                  </a:lnTo>
                  <a:lnTo>
                    <a:pt x="298" y="390"/>
                  </a:lnTo>
                  <a:lnTo>
                    <a:pt x="298" y="392"/>
                  </a:lnTo>
                  <a:lnTo>
                    <a:pt x="297" y="393"/>
                  </a:lnTo>
                  <a:lnTo>
                    <a:pt x="296" y="396"/>
                  </a:lnTo>
                  <a:lnTo>
                    <a:pt x="295" y="399"/>
                  </a:lnTo>
                  <a:lnTo>
                    <a:pt x="294" y="402"/>
                  </a:lnTo>
                  <a:lnTo>
                    <a:pt x="293" y="402"/>
                  </a:lnTo>
                  <a:lnTo>
                    <a:pt x="293" y="403"/>
                  </a:lnTo>
                  <a:lnTo>
                    <a:pt x="292" y="403"/>
                  </a:lnTo>
                  <a:lnTo>
                    <a:pt x="292" y="404"/>
                  </a:lnTo>
                  <a:lnTo>
                    <a:pt x="291" y="404"/>
                  </a:lnTo>
                  <a:lnTo>
                    <a:pt x="291" y="404"/>
                  </a:lnTo>
                  <a:lnTo>
                    <a:pt x="290" y="405"/>
                  </a:lnTo>
                  <a:lnTo>
                    <a:pt x="287" y="406"/>
                  </a:lnTo>
                  <a:lnTo>
                    <a:pt x="285" y="406"/>
                  </a:lnTo>
                  <a:lnTo>
                    <a:pt x="284" y="406"/>
                  </a:lnTo>
                  <a:lnTo>
                    <a:pt x="283" y="406"/>
                  </a:lnTo>
                  <a:lnTo>
                    <a:pt x="281" y="406"/>
                  </a:lnTo>
                  <a:lnTo>
                    <a:pt x="280" y="406"/>
                  </a:lnTo>
                  <a:lnTo>
                    <a:pt x="279" y="405"/>
                  </a:lnTo>
                  <a:lnTo>
                    <a:pt x="278" y="405"/>
                  </a:lnTo>
                  <a:lnTo>
                    <a:pt x="277" y="404"/>
                  </a:lnTo>
                  <a:lnTo>
                    <a:pt x="276" y="404"/>
                  </a:lnTo>
                  <a:lnTo>
                    <a:pt x="275" y="403"/>
                  </a:lnTo>
                  <a:lnTo>
                    <a:pt x="275" y="403"/>
                  </a:lnTo>
                  <a:lnTo>
                    <a:pt x="273" y="401"/>
                  </a:lnTo>
                  <a:lnTo>
                    <a:pt x="272" y="400"/>
                  </a:lnTo>
                  <a:lnTo>
                    <a:pt x="271" y="399"/>
                  </a:lnTo>
                  <a:lnTo>
                    <a:pt x="270" y="398"/>
                  </a:lnTo>
                  <a:lnTo>
                    <a:pt x="269" y="398"/>
                  </a:lnTo>
                  <a:lnTo>
                    <a:pt x="268" y="397"/>
                  </a:lnTo>
                  <a:lnTo>
                    <a:pt x="267" y="397"/>
                  </a:lnTo>
                  <a:lnTo>
                    <a:pt x="266" y="397"/>
                  </a:lnTo>
                  <a:lnTo>
                    <a:pt x="265" y="397"/>
                  </a:lnTo>
                  <a:lnTo>
                    <a:pt x="265" y="397"/>
                  </a:lnTo>
                  <a:lnTo>
                    <a:pt x="264" y="398"/>
                  </a:lnTo>
                  <a:lnTo>
                    <a:pt x="263" y="398"/>
                  </a:lnTo>
                  <a:lnTo>
                    <a:pt x="263" y="398"/>
                  </a:lnTo>
                  <a:lnTo>
                    <a:pt x="262" y="399"/>
                  </a:lnTo>
                  <a:lnTo>
                    <a:pt x="261" y="402"/>
                  </a:lnTo>
                  <a:lnTo>
                    <a:pt x="260" y="402"/>
                  </a:lnTo>
                  <a:lnTo>
                    <a:pt x="260" y="402"/>
                  </a:lnTo>
                  <a:lnTo>
                    <a:pt x="260" y="403"/>
                  </a:lnTo>
                  <a:lnTo>
                    <a:pt x="259" y="403"/>
                  </a:lnTo>
                  <a:lnTo>
                    <a:pt x="259" y="403"/>
                  </a:lnTo>
                  <a:lnTo>
                    <a:pt x="259" y="403"/>
                  </a:lnTo>
                  <a:lnTo>
                    <a:pt x="258" y="403"/>
                  </a:lnTo>
                  <a:lnTo>
                    <a:pt x="257" y="403"/>
                  </a:lnTo>
                  <a:lnTo>
                    <a:pt x="256" y="403"/>
                  </a:lnTo>
                  <a:lnTo>
                    <a:pt x="255" y="403"/>
                  </a:lnTo>
                  <a:lnTo>
                    <a:pt x="254" y="402"/>
                  </a:lnTo>
                  <a:lnTo>
                    <a:pt x="254" y="402"/>
                  </a:lnTo>
                  <a:lnTo>
                    <a:pt x="253" y="402"/>
                  </a:lnTo>
                  <a:lnTo>
                    <a:pt x="252" y="403"/>
                  </a:lnTo>
                  <a:lnTo>
                    <a:pt x="251" y="403"/>
                  </a:lnTo>
                  <a:lnTo>
                    <a:pt x="251" y="403"/>
                  </a:lnTo>
                  <a:lnTo>
                    <a:pt x="250" y="403"/>
                  </a:lnTo>
                  <a:lnTo>
                    <a:pt x="250" y="403"/>
                  </a:lnTo>
                  <a:lnTo>
                    <a:pt x="250" y="403"/>
                  </a:lnTo>
                  <a:lnTo>
                    <a:pt x="250" y="404"/>
                  </a:lnTo>
                  <a:lnTo>
                    <a:pt x="250" y="404"/>
                  </a:lnTo>
                  <a:lnTo>
                    <a:pt x="250" y="404"/>
                  </a:lnTo>
                  <a:lnTo>
                    <a:pt x="250" y="405"/>
                  </a:lnTo>
                  <a:lnTo>
                    <a:pt x="250" y="405"/>
                  </a:lnTo>
                  <a:lnTo>
                    <a:pt x="250" y="406"/>
                  </a:lnTo>
                  <a:lnTo>
                    <a:pt x="250" y="407"/>
                  </a:lnTo>
                  <a:lnTo>
                    <a:pt x="252" y="411"/>
                  </a:lnTo>
                  <a:lnTo>
                    <a:pt x="253" y="413"/>
                  </a:lnTo>
                  <a:lnTo>
                    <a:pt x="253" y="414"/>
                  </a:lnTo>
                  <a:lnTo>
                    <a:pt x="254" y="415"/>
                  </a:lnTo>
                  <a:lnTo>
                    <a:pt x="254" y="416"/>
                  </a:lnTo>
                  <a:lnTo>
                    <a:pt x="254" y="417"/>
                  </a:lnTo>
                  <a:lnTo>
                    <a:pt x="254" y="417"/>
                  </a:lnTo>
                  <a:lnTo>
                    <a:pt x="253" y="418"/>
                  </a:lnTo>
                  <a:lnTo>
                    <a:pt x="253" y="419"/>
                  </a:lnTo>
                  <a:lnTo>
                    <a:pt x="253" y="420"/>
                  </a:lnTo>
                  <a:lnTo>
                    <a:pt x="252" y="421"/>
                  </a:lnTo>
                  <a:lnTo>
                    <a:pt x="251" y="422"/>
                  </a:lnTo>
                  <a:lnTo>
                    <a:pt x="251" y="422"/>
                  </a:lnTo>
                  <a:lnTo>
                    <a:pt x="250" y="423"/>
                  </a:lnTo>
                  <a:lnTo>
                    <a:pt x="249" y="424"/>
                  </a:lnTo>
                  <a:lnTo>
                    <a:pt x="249" y="424"/>
                  </a:lnTo>
                  <a:lnTo>
                    <a:pt x="248" y="424"/>
                  </a:lnTo>
                  <a:lnTo>
                    <a:pt x="247" y="425"/>
                  </a:lnTo>
                  <a:lnTo>
                    <a:pt x="246" y="425"/>
                  </a:lnTo>
                  <a:lnTo>
                    <a:pt x="245" y="425"/>
                  </a:lnTo>
                  <a:lnTo>
                    <a:pt x="244" y="425"/>
                  </a:lnTo>
                  <a:lnTo>
                    <a:pt x="243" y="425"/>
                  </a:lnTo>
                  <a:lnTo>
                    <a:pt x="242" y="425"/>
                  </a:lnTo>
                  <a:lnTo>
                    <a:pt x="242" y="425"/>
                  </a:lnTo>
                  <a:lnTo>
                    <a:pt x="241" y="425"/>
                  </a:lnTo>
                  <a:lnTo>
                    <a:pt x="240" y="425"/>
                  </a:lnTo>
                  <a:lnTo>
                    <a:pt x="239" y="424"/>
                  </a:lnTo>
                  <a:lnTo>
                    <a:pt x="237" y="424"/>
                  </a:lnTo>
                  <a:lnTo>
                    <a:pt x="237" y="423"/>
                  </a:lnTo>
                  <a:lnTo>
                    <a:pt x="236" y="423"/>
                  </a:lnTo>
                  <a:lnTo>
                    <a:pt x="235" y="423"/>
                  </a:lnTo>
                  <a:lnTo>
                    <a:pt x="234" y="423"/>
                  </a:lnTo>
                  <a:lnTo>
                    <a:pt x="232" y="423"/>
                  </a:lnTo>
                  <a:lnTo>
                    <a:pt x="231" y="423"/>
                  </a:lnTo>
                  <a:lnTo>
                    <a:pt x="229" y="423"/>
                  </a:lnTo>
                  <a:lnTo>
                    <a:pt x="227" y="423"/>
                  </a:lnTo>
                  <a:lnTo>
                    <a:pt x="225" y="423"/>
                  </a:lnTo>
                  <a:lnTo>
                    <a:pt x="224" y="424"/>
                  </a:lnTo>
                  <a:lnTo>
                    <a:pt x="222" y="424"/>
                  </a:lnTo>
                  <a:lnTo>
                    <a:pt x="220" y="425"/>
                  </a:lnTo>
                  <a:lnTo>
                    <a:pt x="217" y="426"/>
                  </a:lnTo>
                  <a:lnTo>
                    <a:pt x="216" y="426"/>
                  </a:lnTo>
                  <a:lnTo>
                    <a:pt x="216" y="426"/>
                  </a:lnTo>
                  <a:lnTo>
                    <a:pt x="216" y="426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8"/>
                  </a:lnTo>
                  <a:lnTo>
                    <a:pt x="215" y="429"/>
                  </a:lnTo>
                  <a:lnTo>
                    <a:pt x="214" y="431"/>
                  </a:lnTo>
                  <a:lnTo>
                    <a:pt x="214" y="433"/>
                  </a:lnTo>
                  <a:lnTo>
                    <a:pt x="214" y="434"/>
                  </a:lnTo>
                  <a:lnTo>
                    <a:pt x="213" y="434"/>
                  </a:lnTo>
                  <a:lnTo>
                    <a:pt x="213" y="435"/>
                  </a:lnTo>
                  <a:lnTo>
                    <a:pt x="212" y="436"/>
                  </a:lnTo>
                  <a:lnTo>
                    <a:pt x="211" y="438"/>
                  </a:lnTo>
                  <a:lnTo>
                    <a:pt x="211" y="439"/>
                  </a:lnTo>
                  <a:lnTo>
                    <a:pt x="210" y="440"/>
                  </a:lnTo>
                  <a:lnTo>
                    <a:pt x="209" y="441"/>
                  </a:lnTo>
                  <a:lnTo>
                    <a:pt x="209" y="441"/>
                  </a:lnTo>
                  <a:lnTo>
                    <a:pt x="208" y="442"/>
                  </a:lnTo>
                  <a:lnTo>
                    <a:pt x="207" y="443"/>
                  </a:lnTo>
                  <a:lnTo>
                    <a:pt x="206" y="443"/>
                  </a:lnTo>
                  <a:lnTo>
                    <a:pt x="205" y="443"/>
                  </a:lnTo>
                  <a:lnTo>
                    <a:pt x="205" y="443"/>
                  </a:lnTo>
                  <a:lnTo>
                    <a:pt x="204" y="443"/>
                  </a:lnTo>
                  <a:lnTo>
                    <a:pt x="203" y="443"/>
                  </a:lnTo>
                  <a:lnTo>
                    <a:pt x="202" y="442"/>
                  </a:lnTo>
                  <a:lnTo>
                    <a:pt x="199" y="440"/>
                  </a:lnTo>
                  <a:lnTo>
                    <a:pt x="198" y="439"/>
                  </a:lnTo>
                  <a:lnTo>
                    <a:pt x="197" y="438"/>
                  </a:lnTo>
                  <a:lnTo>
                    <a:pt x="196" y="438"/>
                  </a:lnTo>
                  <a:lnTo>
                    <a:pt x="196" y="437"/>
                  </a:lnTo>
                  <a:lnTo>
                    <a:pt x="195" y="437"/>
                  </a:lnTo>
                  <a:lnTo>
                    <a:pt x="194" y="437"/>
                  </a:lnTo>
                  <a:lnTo>
                    <a:pt x="193" y="437"/>
                  </a:lnTo>
                  <a:lnTo>
                    <a:pt x="192" y="437"/>
                  </a:lnTo>
                  <a:lnTo>
                    <a:pt x="190" y="437"/>
                  </a:lnTo>
                  <a:lnTo>
                    <a:pt x="188" y="436"/>
                  </a:lnTo>
                  <a:lnTo>
                    <a:pt x="186" y="436"/>
                  </a:lnTo>
                  <a:lnTo>
                    <a:pt x="184" y="435"/>
                  </a:lnTo>
                  <a:lnTo>
                    <a:pt x="182" y="435"/>
                  </a:lnTo>
                  <a:lnTo>
                    <a:pt x="181" y="434"/>
                  </a:lnTo>
                  <a:lnTo>
                    <a:pt x="180" y="434"/>
                  </a:lnTo>
                  <a:lnTo>
                    <a:pt x="177" y="434"/>
                  </a:lnTo>
                  <a:lnTo>
                    <a:pt x="177" y="434"/>
                  </a:lnTo>
                  <a:lnTo>
                    <a:pt x="176" y="434"/>
                  </a:lnTo>
                  <a:lnTo>
                    <a:pt x="176" y="433"/>
                  </a:lnTo>
                  <a:lnTo>
                    <a:pt x="175" y="433"/>
                  </a:lnTo>
                  <a:lnTo>
                    <a:pt x="175" y="432"/>
                  </a:lnTo>
                  <a:lnTo>
                    <a:pt x="175" y="432"/>
                  </a:lnTo>
                  <a:lnTo>
                    <a:pt x="174" y="431"/>
                  </a:lnTo>
                  <a:lnTo>
                    <a:pt x="174" y="430"/>
                  </a:lnTo>
                  <a:lnTo>
                    <a:pt x="174" y="427"/>
                  </a:lnTo>
                  <a:lnTo>
                    <a:pt x="174" y="426"/>
                  </a:lnTo>
                  <a:lnTo>
                    <a:pt x="173" y="426"/>
                  </a:lnTo>
                  <a:lnTo>
                    <a:pt x="173" y="425"/>
                  </a:lnTo>
                  <a:lnTo>
                    <a:pt x="173" y="424"/>
                  </a:lnTo>
                  <a:lnTo>
                    <a:pt x="172" y="424"/>
                  </a:lnTo>
                  <a:lnTo>
                    <a:pt x="172" y="423"/>
                  </a:lnTo>
                  <a:lnTo>
                    <a:pt x="171" y="423"/>
                  </a:lnTo>
                  <a:lnTo>
                    <a:pt x="171" y="423"/>
                  </a:lnTo>
                  <a:lnTo>
                    <a:pt x="170" y="423"/>
                  </a:lnTo>
                  <a:lnTo>
                    <a:pt x="170" y="423"/>
                  </a:lnTo>
                  <a:lnTo>
                    <a:pt x="169" y="423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67" y="425"/>
                  </a:lnTo>
                  <a:lnTo>
                    <a:pt x="167" y="425"/>
                  </a:lnTo>
                  <a:lnTo>
                    <a:pt x="166" y="426"/>
                  </a:lnTo>
                  <a:lnTo>
                    <a:pt x="164" y="430"/>
                  </a:lnTo>
                  <a:lnTo>
                    <a:pt x="163" y="432"/>
                  </a:lnTo>
                  <a:lnTo>
                    <a:pt x="163" y="433"/>
                  </a:lnTo>
                  <a:lnTo>
                    <a:pt x="162" y="434"/>
                  </a:lnTo>
                  <a:lnTo>
                    <a:pt x="162" y="435"/>
                  </a:lnTo>
                  <a:lnTo>
                    <a:pt x="162" y="436"/>
                  </a:lnTo>
                  <a:lnTo>
                    <a:pt x="162" y="437"/>
                  </a:lnTo>
                  <a:lnTo>
                    <a:pt x="162" y="439"/>
                  </a:lnTo>
                  <a:lnTo>
                    <a:pt x="163" y="440"/>
                  </a:lnTo>
                  <a:lnTo>
                    <a:pt x="163" y="442"/>
                  </a:lnTo>
                  <a:lnTo>
                    <a:pt x="164" y="443"/>
                  </a:lnTo>
                  <a:lnTo>
                    <a:pt x="165" y="445"/>
                  </a:lnTo>
                  <a:lnTo>
                    <a:pt x="166" y="447"/>
                  </a:lnTo>
                  <a:lnTo>
                    <a:pt x="166" y="448"/>
                  </a:lnTo>
                  <a:lnTo>
                    <a:pt x="166" y="449"/>
                  </a:lnTo>
                  <a:lnTo>
                    <a:pt x="166" y="450"/>
                  </a:lnTo>
                  <a:lnTo>
                    <a:pt x="166" y="451"/>
                  </a:lnTo>
                  <a:lnTo>
                    <a:pt x="166" y="452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65" y="454"/>
                  </a:lnTo>
                  <a:lnTo>
                    <a:pt x="164" y="455"/>
                  </a:lnTo>
                  <a:lnTo>
                    <a:pt x="162" y="457"/>
                  </a:lnTo>
                  <a:lnTo>
                    <a:pt x="160" y="459"/>
                  </a:lnTo>
                  <a:lnTo>
                    <a:pt x="159" y="460"/>
                  </a:lnTo>
                  <a:lnTo>
                    <a:pt x="158" y="460"/>
                  </a:lnTo>
                  <a:lnTo>
                    <a:pt x="158" y="461"/>
                  </a:lnTo>
                  <a:lnTo>
                    <a:pt x="157" y="462"/>
                  </a:lnTo>
                  <a:lnTo>
                    <a:pt x="155" y="465"/>
                  </a:lnTo>
                  <a:lnTo>
                    <a:pt x="153" y="467"/>
                  </a:lnTo>
                  <a:lnTo>
                    <a:pt x="151" y="470"/>
                  </a:lnTo>
                  <a:lnTo>
                    <a:pt x="150" y="471"/>
                  </a:lnTo>
                  <a:lnTo>
                    <a:pt x="149" y="472"/>
                  </a:lnTo>
                  <a:lnTo>
                    <a:pt x="149" y="473"/>
                  </a:lnTo>
                  <a:lnTo>
                    <a:pt x="148" y="473"/>
                  </a:lnTo>
                  <a:lnTo>
                    <a:pt x="147" y="474"/>
                  </a:lnTo>
                  <a:lnTo>
                    <a:pt x="146" y="474"/>
                  </a:lnTo>
                  <a:lnTo>
                    <a:pt x="146" y="475"/>
                  </a:lnTo>
                  <a:lnTo>
                    <a:pt x="145" y="475"/>
                  </a:lnTo>
                  <a:lnTo>
                    <a:pt x="144" y="475"/>
                  </a:lnTo>
                  <a:lnTo>
                    <a:pt x="143" y="475"/>
                  </a:lnTo>
                  <a:lnTo>
                    <a:pt x="143" y="475"/>
                  </a:lnTo>
                  <a:lnTo>
                    <a:pt x="139" y="475"/>
                  </a:lnTo>
                  <a:lnTo>
                    <a:pt x="138" y="476"/>
                  </a:lnTo>
                  <a:lnTo>
                    <a:pt x="134" y="476"/>
                  </a:lnTo>
                  <a:lnTo>
                    <a:pt x="132" y="476"/>
                  </a:lnTo>
                  <a:lnTo>
                    <a:pt x="131" y="477"/>
                  </a:lnTo>
                  <a:lnTo>
                    <a:pt x="125" y="478"/>
                  </a:lnTo>
                  <a:lnTo>
                    <a:pt x="124" y="478"/>
                  </a:lnTo>
                  <a:lnTo>
                    <a:pt x="122" y="478"/>
                  </a:lnTo>
                  <a:lnTo>
                    <a:pt x="121" y="478"/>
                  </a:lnTo>
                  <a:lnTo>
                    <a:pt x="120" y="479"/>
                  </a:lnTo>
                  <a:lnTo>
                    <a:pt x="120" y="479"/>
                  </a:lnTo>
                  <a:lnTo>
                    <a:pt x="119" y="479"/>
                  </a:lnTo>
                  <a:lnTo>
                    <a:pt x="118" y="480"/>
                  </a:lnTo>
                  <a:lnTo>
                    <a:pt x="117" y="481"/>
                  </a:lnTo>
                  <a:lnTo>
                    <a:pt x="117" y="482"/>
                  </a:lnTo>
                  <a:lnTo>
                    <a:pt x="116" y="482"/>
                  </a:lnTo>
                  <a:lnTo>
                    <a:pt x="115" y="485"/>
                  </a:lnTo>
                  <a:lnTo>
                    <a:pt x="114" y="485"/>
                  </a:lnTo>
                  <a:lnTo>
                    <a:pt x="114" y="486"/>
                  </a:lnTo>
                  <a:lnTo>
                    <a:pt x="113" y="487"/>
                  </a:lnTo>
                  <a:lnTo>
                    <a:pt x="113" y="487"/>
                  </a:lnTo>
                  <a:lnTo>
                    <a:pt x="112" y="487"/>
                  </a:lnTo>
                  <a:lnTo>
                    <a:pt x="112" y="487"/>
                  </a:lnTo>
                  <a:lnTo>
                    <a:pt x="111" y="487"/>
                  </a:lnTo>
                  <a:lnTo>
                    <a:pt x="111" y="487"/>
                  </a:lnTo>
                  <a:lnTo>
                    <a:pt x="110" y="487"/>
                  </a:lnTo>
                  <a:lnTo>
                    <a:pt x="110" y="487"/>
                  </a:lnTo>
                  <a:lnTo>
                    <a:pt x="110" y="487"/>
                  </a:lnTo>
                  <a:lnTo>
                    <a:pt x="110" y="485"/>
                  </a:lnTo>
                  <a:lnTo>
                    <a:pt x="108" y="480"/>
                  </a:lnTo>
                  <a:lnTo>
                    <a:pt x="106" y="477"/>
                  </a:lnTo>
                  <a:lnTo>
                    <a:pt x="106" y="476"/>
                  </a:lnTo>
                  <a:lnTo>
                    <a:pt x="105" y="473"/>
                  </a:lnTo>
                  <a:lnTo>
                    <a:pt x="103" y="468"/>
                  </a:lnTo>
                  <a:lnTo>
                    <a:pt x="103" y="467"/>
                  </a:lnTo>
                  <a:lnTo>
                    <a:pt x="103" y="466"/>
                  </a:lnTo>
                  <a:lnTo>
                    <a:pt x="102" y="465"/>
                  </a:lnTo>
                  <a:lnTo>
                    <a:pt x="102" y="465"/>
                  </a:lnTo>
                  <a:lnTo>
                    <a:pt x="101" y="464"/>
                  </a:lnTo>
                  <a:lnTo>
                    <a:pt x="100" y="463"/>
                  </a:lnTo>
                  <a:lnTo>
                    <a:pt x="97" y="461"/>
                  </a:lnTo>
                  <a:lnTo>
                    <a:pt x="96" y="460"/>
                  </a:lnTo>
                  <a:lnTo>
                    <a:pt x="95" y="459"/>
                  </a:lnTo>
                  <a:lnTo>
                    <a:pt x="93" y="458"/>
                  </a:lnTo>
                  <a:lnTo>
                    <a:pt x="91" y="458"/>
                  </a:lnTo>
                  <a:lnTo>
                    <a:pt x="90" y="457"/>
                  </a:lnTo>
                  <a:lnTo>
                    <a:pt x="87" y="456"/>
                  </a:lnTo>
                  <a:lnTo>
                    <a:pt x="85" y="455"/>
                  </a:lnTo>
                  <a:lnTo>
                    <a:pt x="83" y="455"/>
                  </a:lnTo>
                  <a:lnTo>
                    <a:pt x="81" y="454"/>
                  </a:lnTo>
                  <a:lnTo>
                    <a:pt x="80" y="453"/>
                  </a:lnTo>
                  <a:lnTo>
                    <a:pt x="77" y="452"/>
                  </a:lnTo>
                  <a:lnTo>
                    <a:pt x="76" y="451"/>
                  </a:lnTo>
                  <a:lnTo>
                    <a:pt x="76" y="451"/>
                  </a:lnTo>
                  <a:lnTo>
                    <a:pt x="75" y="450"/>
                  </a:lnTo>
                  <a:lnTo>
                    <a:pt x="75" y="450"/>
                  </a:lnTo>
                  <a:lnTo>
                    <a:pt x="75" y="450"/>
                  </a:lnTo>
                  <a:lnTo>
                    <a:pt x="74" y="449"/>
                  </a:lnTo>
                  <a:lnTo>
                    <a:pt x="74" y="449"/>
                  </a:lnTo>
                  <a:lnTo>
                    <a:pt x="74" y="448"/>
                  </a:lnTo>
                  <a:lnTo>
                    <a:pt x="74" y="448"/>
                  </a:lnTo>
                  <a:lnTo>
                    <a:pt x="75" y="446"/>
                  </a:lnTo>
                  <a:lnTo>
                    <a:pt x="75" y="443"/>
                  </a:lnTo>
                  <a:lnTo>
                    <a:pt x="76" y="440"/>
                  </a:lnTo>
                  <a:lnTo>
                    <a:pt x="76" y="438"/>
                  </a:lnTo>
                  <a:lnTo>
                    <a:pt x="76" y="437"/>
                  </a:lnTo>
                  <a:lnTo>
                    <a:pt x="76" y="435"/>
                  </a:lnTo>
                  <a:lnTo>
                    <a:pt x="77" y="434"/>
                  </a:lnTo>
                  <a:lnTo>
                    <a:pt x="76" y="432"/>
                  </a:lnTo>
                  <a:lnTo>
                    <a:pt x="76" y="431"/>
                  </a:lnTo>
                  <a:lnTo>
                    <a:pt x="76" y="431"/>
                  </a:lnTo>
                  <a:lnTo>
                    <a:pt x="76" y="430"/>
                  </a:lnTo>
                  <a:lnTo>
                    <a:pt x="76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4" y="430"/>
                  </a:lnTo>
                  <a:lnTo>
                    <a:pt x="74" y="431"/>
                  </a:lnTo>
                  <a:lnTo>
                    <a:pt x="73" y="432"/>
                  </a:lnTo>
                  <a:lnTo>
                    <a:pt x="73" y="433"/>
                  </a:lnTo>
                  <a:lnTo>
                    <a:pt x="72" y="433"/>
                  </a:lnTo>
                  <a:lnTo>
                    <a:pt x="72" y="433"/>
                  </a:lnTo>
                  <a:lnTo>
                    <a:pt x="72" y="433"/>
                  </a:lnTo>
                  <a:lnTo>
                    <a:pt x="71" y="433"/>
                  </a:lnTo>
                  <a:lnTo>
                    <a:pt x="71" y="433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69" y="432"/>
                  </a:lnTo>
                  <a:lnTo>
                    <a:pt x="69" y="432"/>
                  </a:lnTo>
                  <a:lnTo>
                    <a:pt x="68" y="431"/>
                  </a:lnTo>
                  <a:lnTo>
                    <a:pt x="67" y="431"/>
                  </a:lnTo>
                  <a:lnTo>
                    <a:pt x="66" y="429"/>
                  </a:lnTo>
                  <a:lnTo>
                    <a:pt x="66" y="428"/>
                  </a:lnTo>
                  <a:lnTo>
                    <a:pt x="65" y="428"/>
                  </a:lnTo>
                  <a:lnTo>
                    <a:pt x="65" y="427"/>
                  </a:lnTo>
                  <a:lnTo>
                    <a:pt x="63" y="424"/>
                  </a:lnTo>
                  <a:lnTo>
                    <a:pt x="63" y="424"/>
                  </a:lnTo>
                  <a:lnTo>
                    <a:pt x="63" y="423"/>
                  </a:lnTo>
                  <a:lnTo>
                    <a:pt x="62" y="422"/>
                  </a:lnTo>
                  <a:lnTo>
                    <a:pt x="62" y="422"/>
                  </a:lnTo>
                  <a:lnTo>
                    <a:pt x="60" y="421"/>
                  </a:lnTo>
                  <a:lnTo>
                    <a:pt x="59" y="420"/>
                  </a:lnTo>
                  <a:lnTo>
                    <a:pt x="59" y="419"/>
                  </a:lnTo>
                  <a:lnTo>
                    <a:pt x="58" y="418"/>
                  </a:lnTo>
                  <a:lnTo>
                    <a:pt x="58" y="417"/>
                  </a:lnTo>
                  <a:lnTo>
                    <a:pt x="57" y="417"/>
                  </a:lnTo>
                  <a:lnTo>
                    <a:pt x="57" y="414"/>
                  </a:lnTo>
                  <a:lnTo>
                    <a:pt x="56" y="410"/>
                  </a:lnTo>
                  <a:lnTo>
                    <a:pt x="55" y="408"/>
                  </a:lnTo>
                  <a:lnTo>
                    <a:pt x="54" y="407"/>
                  </a:lnTo>
                  <a:lnTo>
                    <a:pt x="54" y="406"/>
                  </a:lnTo>
                  <a:lnTo>
                    <a:pt x="53" y="405"/>
                  </a:lnTo>
                  <a:lnTo>
                    <a:pt x="52" y="404"/>
                  </a:lnTo>
                  <a:lnTo>
                    <a:pt x="52" y="403"/>
                  </a:lnTo>
                  <a:lnTo>
                    <a:pt x="52" y="402"/>
                  </a:lnTo>
                  <a:lnTo>
                    <a:pt x="51" y="401"/>
                  </a:lnTo>
                  <a:lnTo>
                    <a:pt x="50" y="400"/>
                  </a:lnTo>
                  <a:lnTo>
                    <a:pt x="50" y="399"/>
                  </a:lnTo>
                  <a:lnTo>
                    <a:pt x="48" y="398"/>
                  </a:lnTo>
                  <a:lnTo>
                    <a:pt x="47" y="397"/>
                  </a:lnTo>
                  <a:lnTo>
                    <a:pt x="47" y="396"/>
                  </a:lnTo>
                  <a:lnTo>
                    <a:pt x="46" y="394"/>
                  </a:lnTo>
                  <a:lnTo>
                    <a:pt x="45" y="393"/>
                  </a:lnTo>
                  <a:lnTo>
                    <a:pt x="45" y="392"/>
                  </a:lnTo>
                  <a:lnTo>
                    <a:pt x="44" y="391"/>
                  </a:lnTo>
                  <a:lnTo>
                    <a:pt x="43" y="390"/>
                  </a:lnTo>
                  <a:lnTo>
                    <a:pt x="42" y="389"/>
                  </a:lnTo>
                  <a:lnTo>
                    <a:pt x="42" y="389"/>
                  </a:lnTo>
                  <a:lnTo>
                    <a:pt x="41" y="388"/>
                  </a:lnTo>
                  <a:lnTo>
                    <a:pt x="40" y="388"/>
                  </a:lnTo>
                  <a:lnTo>
                    <a:pt x="38" y="388"/>
                  </a:lnTo>
                  <a:lnTo>
                    <a:pt x="36" y="387"/>
                  </a:lnTo>
                  <a:lnTo>
                    <a:pt x="34" y="387"/>
                  </a:lnTo>
                  <a:lnTo>
                    <a:pt x="33" y="387"/>
                  </a:lnTo>
                  <a:lnTo>
                    <a:pt x="32" y="387"/>
                  </a:lnTo>
                  <a:lnTo>
                    <a:pt x="31" y="387"/>
                  </a:lnTo>
                  <a:lnTo>
                    <a:pt x="30" y="387"/>
                  </a:lnTo>
                  <a:lnTo>
                    <a:pt x="28" y="387"/>
                  </a:lnTo>
                  <a:lnTo>
                    <a:pt x="27" y="388"/>
                  </a:lnTo>
                  <a:lnTo>
                    <a:pt x="25" y="389"/>
                  </a:lnTo>
                  <a:lnTo>
                    <a:pt x="24" y="390"/>
                  </a:lnTo>
                  <a:lnTo>
                    <a:pt x="23" y="391"/>
                  </a:lnTo>
                  <a:lnTo>
                    <a:pt x="21" y="392"/>
                  </a:lnTo>
                  <a:lnTo>
                    <a:pt x="20" y="394"/>
                  </a:lnTo>
                  <a:lnTo>
                    <a:pt x="19" y="394"/>
                  </a:lnTo>
                  <a:lnTo>
                    <a:pt x="19" y="394"/>
                  </a:lnTo>
                  <a:lnTo>
                    <a:pt x="19" y="395"/>
                  </a:lnTo>
                  <a:lnTo>
                    <a:pt x="19" y="395"/>
                  </a:lnTo>
                  <a:lnTo>
                    <a:pt x="19" y="395"/>
                  </a:lnTo>
                  <a:lnTo>
                    <a:pt x="19" y="396"/>
                  </a:lnTo>
                  <a:lnTo>
                    <a:pt x="20" y="396"/>
                  </a:lnTo>
                  <a:lnTo>
                    <a:pt x="20" y="397"/>
                  </a:lnTo>
                  <a:lnTo>
                    <a:pt x="21" y="398"/>
                  </a:lnTo>
                  <a:lnTo>
                    <a:pt x="21" y="398"/>
                  </a:lnTo>
                  <a:lnTo>
                    <a:pt x="21" y="399"/>
                  </a:lnTo>
                  <a:lnTo>
                    <a:pt x="22" y="399"/>
                  </a:lnTo>
                  <a:lnTo>
                    <a:pt x="27" y="404"/>
                  </a:lnTo>
                  <a:lnTo>
                    <a:pt x="27" y="404"/>
                  </a:lnTo>
                  <a:lnTo>
                    <a:pt x="28" y="405"/>
                  </a:lnTo>
                  <a:lnTo>
                    <a:pt x="28" y="406"/>
                  </a:lnTo>
                  <a:lnTo>
                    <a:pt x="28" y="407"/>
                  </a:lnTo>
                  <a:lnTo>
                    <a:pt x="29" y="408"/>
                  </a:lnTo>
                  <a:lnTo>
                    <a:pt x="29" y="409"/>
                  </a:lnTo>
                  <a:lnTo>
                    <a:pt x="30" y="410"/>
                  </a:lnTo>
                  <a:lnTo>
                    <a:pt x="31" y="412"/>
                  </a:lnTo>
                  <a:lnTo>
                    <a:pt x="31" y="413"/>
                  </a:lnTo>
                  <a:lnTo>
                    <a:pt x="32" y="414"/>
                  </a:lnTo>
                  <a:lnTo>
                    <a:pt x="32" y="415"/>
                  </a:lnTo>
                  <a:lnTo>
                    <a:pt x="32" y="415"/>
                  </a:lnTo>
                  <a:lnTo>
                    <a:pt x="32" y="416"/>
                  </a:lnTo>
                  <a:lnTo>
                    <a:pt x="32" y="417"/>
                  </a:lnTo>
                  <a:lnTo>
                    <a:pt x="32" y="417"/>
                  </a:lnTo>
                  <a:lnTo>
                    <a:pt x="32" y="418"/>
                  </a:lnTo>
                  <a:lnTo>
                    <a:pt x="32" y="418"/>
                  </a:lnTo>
                  <a:lnTo>
                    <a:pt x="31" y="419"/>
                  </a:lnTo>
                  <a:lnTo>
                    <a:pt x="30" y="421"/>
                  </a:lnTo>
                  <a:lnTo>
                    <a:pt x="29" y="422"/>
                  </a:lnTo>
                  <a:lnTo>
                    <a:pt x="28" y="424"/>
                  </a:lnTo>
                  <a:lnTo>
                    <a:pt x="27" y="427"/>
                  </a:lnTo>
                  <a:lnTo>
                    <a:pt x="27" y="429"/>
                  </a:lnTo>
                  <a:lnTo>
                    <a:pt x="26" y="430"/>
                  </a:lnTo>
                  <a:lnTo>
                    <a:pt x="25" y="431"/>
                  </a:lnTo>
                  <a:lnTo>
                    <a:pt x="25" y="432"/>
                  </a:lnTo>
                  <a:lnTo>
                    <a:pt x="23" y="433"/>
                  </a:lnTo>
                  <a:lnTo>
                    <a:pt x="22" y="434"/>
                  </a:lnTo>
                  <a:lnTo>
                    <a:pt x="21" y="435"/>
                  </a:lnTo>
                  <a:lnTo>
                    <a:pt x="20" y="436"/>
                  </a:lnTo>
                  <a:lnTo>
                    <a:pt x="19" y="436"/>
                  </a:lnTo>
                  <a:lnTo>
                    <a:pt x="18" y="437"/>
                  </a:lnTo>
                  <a:lnTo>
                    <a:pt x="17" y="437"/>
                  </a:lnTo>
                  <a:lnTo>
                    <a:pt x="16" y="437"/>
                  </a:lnTo>
                  <a:lnTo>
                    <a:pt x="15" y="437"/>
                  </a:lnTo>
                  <a:lnTo>
                    <a:pt x="14" y="436"/>
                  </a:lnTo>
                  <a:lnTo>
                    <a:pt x="12" y="436"/>
                  </a:lnTo>
                  <a:lnTo>
                    <a:pt x="11" y="435"/>
                  </a:lnTo>
                  <a:lnTo>
                    <a:pt x="9" y="434"/>
                  </a:lnTo>
                  <a:lnTo>
                    <a:pt x="6" y="431"/>
                  </a:lnTo>
                  <a:lnTo>
                    <a:pt x="4" y="430"/>
                  </a:lnTo>
                  <a:lnTo>
                    <a:pt x="3" y="429"/>
                  </a:lnTo>
                  <a:lnTo>
                    <a:pt x="3" y="429"/>
                  </a:lnTo>
                  <a:lnTo>
                    <a:pt x="1" y="427"/>
                  </a:lnTo>
                  <a:lnTo>
                    <a:pt x="1" y="427"/>
                  </a:lnTo>
                  <a:lnTo>
                    <a:pt x="0" y="426"/>
                  </a:lnTo>
                  <a:lnTo>
                    <a:pt x="0" y="426"/>
                  </a:lnTo>
                  <a:lnTo>
                    <a:pt x="0" y="425"/>
                  </a:lnTo>
                  <a:lnTo>
                    <a:pt x="0" y="424"/>
                  </a:lnTo>
                  <a:lnTo>
                    <a:pt x="0" y="423"/>
                  </a:lnTo>
                  <a:lnTo>
                    <a:pt x="0" y="423"/>
                  </a:lnTo>
                  <a:lnTo>
                    <a:pt x="0" y="422"/>
                  </a:lnTo>
                  <a:lnTo>
                    <a:pt x="1" y="421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Freeform 36">
              <a:extLst>
                <a:ext uri="{FF2B5EF4-FFF2-40B4-BE49-F238E27FC236}">
                  <a16:creationId xmlns:a16="http://schemas.microsoft.com/office/drawing/2014/main" id="{45872B3A-B518-434C-86E6-ECD9EBB989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140"/>
              <a:ext cx="169" cy="475"/>
            </a:xfrm>
            <a:custGeom>
              <a:avLst/>
              <a:gdLst>
                <a:gd name="T0" fmla="*/ 36 w 169"/>
                <a:gd name="T1" fmla="*/ 470 h 475"/>
                <a:gd name="T2" fmla="*/ 35 w 169"/>
                <a:gd name="T3" fmla="*/ 464 h 475"/>
                <a:gd name="T4" fmla="*/ 28 w 169"/>
                <a:gd name="T5" fmla="*/ 449 h 475"/>
                <a:gd name="T6" fmla="*/ 27 w 169"/>
                <a:gd name="T7" fmla="*/ 436 h 475"/>
                <a:gd name="T8" fmla="*/ 34 w 169"/>
                <a:gd name="T9" fmla="*/ 426 h 475"/>
                <a:gd name="T10" fmla="*/ 34 w 169"/>
                <a:gd name="T11" fmla="*/ 424 h 475"/>
                <a:gd name="T12" fmla="*/ 15 w 169"/>
                <a:gd name="T13" fmla="*/ 419 h 475"/>
                <a:gd name="T14" fmla="*/ 13 w 169"/>
                <a:gd name="T15" fmla="*/ 416 h 475"/>
                <a:gd name="T16" fmla="*/ 13 w 169"/>
                <a:gd name="T17" fmla="*/ 405 h 475"/>
                <a:gd name="T18" fmla="*/ 18 w 169"/>
                <a:gd name="T19" fmla="*/ 403 h 475"/>
                <a:gd name="T20" fmla="*/ 26 w 169"/>
                <a:gd name="T21" fmla="*/ 403 h 475"/>
                <a:gd name="T22" fmla="*/ 29 w 169"/>
                <a:gd name="T23" fmla="*/ 395 h 475"/>
                <a:gd name="T24" fmla="*/ 31 w 169"/>
                <a:gd name="T25" fmla="*/ 386 h 475"/>
                <a:gd name="T26" fmla="*/ 30 w 169"/>
                <a:gd name="T27" fmla="*/ 374 h 475"/>
                <a:gd name="T28" fmla="*/ 32 w 169"/>
                <a:gd name="T29" fmla="*/ 366 h 475"/>
                <a:gd name="T30" fmla="*/ 40 w 169"/>
                <a:gd name="T31" fmla="*/ 355 h 475"/>
                <a:gd name="T32" fmla="*/ 40 w 169"/>
                <a:gd name="T33" fmla="*/ 341 h 475"/>
                <a:gd name="T34" fmla="*/ 36 w 169"/>
                <a:gd name="T35" fmla="*/ 335 h 475"/>
                <a:gd name="T36" fmla="*/ 28 w 169"/>
                <a:gd name="T37" fmla="*/ 333 h 475"/>
                <a:gd name="T38" fmla="*/ 28 w 169"/>
                <a:gd name="T39" fmla="*/ 328 h 475"/>
                <a:gd name="T40" fmla="*/ 26 w 169"/>
                <a:gd name="T41" fmla="*/ 320 h 475"/>
                <a:gd name="T42" fmla="*/ 20 w 169"/>
                <a:gd name="T43" fmla="*/ 308 h 475"/>
                <a:gd name="T44" fmla="*/ 12 w 169"/>
                <a:gd name="T45" fmla="*/ 294 h 475"/>
                <a:gd name="T46" fmla="*/ 7 w 169"/>
                <a:gd name="T47" fmla="*/ 284 h 475"/>
                <a:gd name="T48" fmla="*/ 9 w 169"/>
                <a:gd name="T49" fmla="*/ 275 h 475"/>
                <a:gd name="T50" fmla="*/ 13 w 169"/>
                <a:gd name="T51" fmla="*/ 266 h 475"/>
                <a:gd name="T52" fmla="*/ 11 w 169"/>
                <a:gd name="T53" fmla="*/ 250 h 475"/>
                <a:gd name="T54" fmla="*/ 5 w 169"/>
                <a:gd name="T55" fmla="*/ 230 h 475"/>
                <a:gd name="T56" fmla="*/ 1 w 169"/>
                <a:gd name="T57" fmla="*/ 212 h 475"/>
                <a:gd name="T58" fmla="*/ 3 w 169"/>
                <a:gd name="T59" fmla="*/ 209 h 475"/>
                <a:gd name="T60" fmla="*/ 11 w 169"/>
                <a:gd name="T61" fmla="*/ 206 h 475"/>
                <a:gd name="T62" fmla="*/ 22 w 169"/>
                <a:gd name="T63" fmla="*/ 196 h 475"/>
                <a:gd name="T64" fmla="*/ 27 w 169"/>
                <a:gd name="T65" fmla="*/ 189 h 475"/>
                <a:gd name="T66" fmla="*/ 25 w 169"/>
                <a:gd name="T67" fmla="*/ 177 h 475"/>
                <a:gd name="T68" fmla="*/ 27 w 169"/>
                <a:gd name="T69" fmla="*/ 167 h 475"/>
                <a:gd name="T70" fmla="*/ 28 w 169"/>
                <a:gd name="T71" fmla="*/ 157 h 475"/>
                <a:gd name="T72" fmla="*/ 38 w 169"/>
                <a:gd name="T73" fmla="*/ 132 h 475"/>
                <a:gd name="T74" fmla="*/ 41 w 169"/>
                <a:gd name="T75" fmla="*/ 118 h 475"/>
                <a:gd name="T76" fmla="*/ 43 w 169"/>
                <a:gd name="T77" fmla="*/ 115 h 475"/>
                <a:gd name="T78" fmla="*/ 53 w 169"/>
                <a:gd name="T79" fmla="*/ 106 h 475"/>
                <a:gd name="T80" fmla="*/ 64 w 169"/>
                <a:gd name="T81" fmla="*/ 103 h 475"/>
                <a:gd name="T82" fmla="*/ 72 w 169"/>
                <a:gd name="T83" fmla="*/ 98 h 475"/>
                <a:gd name="T84" fmla="*/ 80 w 169"/>
                <a:gd name="T85" fmla="*/ 103 h 475"/>
                <a:gd name="T86" fmla="*/ 85 w 169"/>
                <a:gd name="T87" fmla="*/ 103 h 475"/>
                <a:gd name="T88" fmla="*/ 85 w 169"/>
                <a:gd name="T89" fmla="*/ 94 h 475"/>
                <a:gd name="T90" fmla="*/ 85 w 169"/>
                <a:gd name="T91" fmla="*/ 80 h 475"/>
                <a:gd name="T92" fmla="*/ 80 w 169"/>
                <a:gd name="T93" fmla="*/ 69 h 475"/>
                <a:gd name="T94" fmla="*/ 66 w 169"/>
                <a:gd name="T95" fmla="*/ 60 h 475"/>
                <a:gd name="T96" fmla="*/ 59 w 169"/>
                <a:gd name="T97" fmla="*/ 49 h 475"/>
                <a:gd name="T98" fmla="*/ 52 w 169"/>
                <a:gd name="T99" fmla="*/ 30 h 475"/>
                <a:gd name="T100" fmla="*/ 42 w 169"/>
                <a:gd name="T101" fmla="*/ 21 h 475"/>
                <a:gd name="T102" fmla="*/ 39 w 169"/>
                <a:gd name="T103" fmla="*/ 15 h 475"/>
                <a:gd name="T104" fmla="*/ 45 w 169"/>
                <a:gd name="T105" fmla="*/ 5 h 475"/>
                <a:gd name="T106" fmla="*/ 51 w 169"/>
                <a:gd name="T107" fmla="*/ 0 h 475"/>
                <a:gd name="T108" fmla="*/ 68 w 169"/>
                <a:gd name="T109" fmla="*/ 10 h 475"/>
                <a:gd name="T110" fmla="*/ 79 w 169"/>
                <a:gd name="T111" fmla="*/ 11 h 475"/>
                <a:gd name="T112" fmla="*/ 98 w 169"/>
                <a:gd name="T113" fmla="*/ 18 h 475"/>
                <a:gd name="T114" fmla="*/ 111 w 169"/>
                <a:gd name="T115" fmla="*/ 21 h 475"/>
                <a:gd name="T116" fmla="*/ 124 w 169"/>
                <a:gd name="T117" fmla="*/ 28 h 475"/>
                <a:gd name="T118" fmla="*/ 136 w 169"/>
                <a:gd name="T119" fmla="*/ 28 h 475"/>
                <a:gd name="T120" fmla="*/ 141 w 169"/>
                <a:gd name="T121" fmla="*/ 38 h 475"/>
                <a:gd name="T122" fmla="*/ 151 w 169"/>
                <a:gd name="T123" fmla="*/ 49 h 475"/>
                <a:gd name="T124" fmla="*/ 162 w 169"/>
                <a:gd name="T125" fmla="*/ 55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9" h="475">
                  <a:moveTo>
                    <a:pt x="32" y="475"/>
                  </a:moveTo>
                  <a:lnTo>
                    <a:pt x="32" y="475"/>
                  </a:lnTo>
                  <a:lnTo>
                    <a:pt x="32" y="474"/>
                  </a:lnTo>
                  <a:lnTo>
                    <a:pt x="32" y="474"/>
                  </a:lnTo>
                  <a:lnTo>
                    <a:pt x="33" y="473"/>
                  </a:lnTo>
                  <a:lnTo>
                    <a:pt x="35" y="471"/>
                  </a:lnTo>
                  <a:lnTo>
                    <a:pt x="36" y="471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9"/>
                  </a:lnTo>
                  <a:lnTo>
                    <a:pt x="37" y="469"/>
                  </a:lnTo>
                  <a:lnTo>
                    <a:pt x="37" y="468"/>
                  </a:lnTo>
                  <a:lnTo>
                    <a:pt x="36" y="467"/>
                  </a:lnTo>
                  <a:lnTo>
                    <a:pt x="36" y="466"/>
                  </a:lnTo>
                  <a:lnTo>
                    <a:pt x="35" y="465"/>
                  </a:lnTo>
                  <a:lnTo>
                    <a:pt x="35" y="464"/>
                  </a:lnTo>
                  <a:lnTo>
                    <a:pt x="34" y="463"/>
                  </a:lnTo>
                  <a:lnTo>
                    <a:pt x="32" y="460"/>
                  </a:lnTo>
                  <a:lnTo>
                    <a:pt x="31" y="459"/>
                  </a:lnTo>
                  <a:lnTo>
                    <a:pt x="31" y="458"/>
                  </a:lnTo>
                  <a:lnTo>
                    <a:pt x="30" y="457"/>
                  </a:lnTo>
                  <a:lnTo>
                    <a:pt x="30" y="456"/>
                  </a:lnTo>
                  <a:lnTo>
                    <a:pt x="29" y="453"/>
                  </a:lnTo>
                  <a:lnTo>
                    <a:pt x="28" y="449"/>
                  </a:lnTo>
                  <a:lnTo>
                    <a:pt x="27" y="446"/>
                  </a:lnTo>
                  <a:lnTo>
                    <a:pt x="27" y="445"/>
                  </a:lnTo>
                  <a:lnTo>
                    <a:pt x="27" y="443"/>
                  </a:lnTo>
                  <a:lnTo>
                    <a:pt x="27" y="442"/>
                  </a:lnTo>
                  <a:lnTo>
                    <a:pt x="27" y="440"/>
                  </a:lnTo>
                  <a:lnTo>
                    <a:pt x="27" y="439"/>
                  </a:lnTo>
                  <a:lnTo>
                    <a:pt x="27" y="437"/>
                  </a:lnTo>
                  <a:lnTo>
                    <a:pt x="27" y="436"/>
                  </a:lnTo>
                  <a:lnTo>
                    <a:pt x="28" y="435"/>
                  </a:lnTo>
                  <a:lnTo>
                    <a:pt x="30" y="432"/>
                  </a:lnTo>
                  <a:lnTo>
                    <a:pt x="30" y="431"/>
                  </a:lnTo>
                  <a:lnTo>
                    <a:pt x="32" y="429"/>
                  </a:lnTo>
                  <a:lnTo>
                    <a:pt x="32" y="428"/>
                  </a:lnTo>
                  <a:lnTo>
                    <a:pt x="33" y="428"/>
                  </a:lnTo>
                  <a:lnTo>
                    <a:pt x="34" y="427"/>
                  </a:lnTo>
                  <a:lnTo>
                    <a:pt x="34" y="426"/>
                  </a:lnTo>
                  <a:lnTo>
                    <a:pt x="35" y="426"/>
                  </a:lnTo>
                  <a:lnTo>
                    <a:pt x="35" y="425"/>
                  </a:lnTo>
                  <a:lnTo>
                    <a:pt x="36" y="425"/>
                  </a:lnTo>
                  <a:lnTo>
                    <a:pt x="36" y="425"/>
                  </a:lnTo>
                  <a:lnTo>
                    <a:pt x="36" y="424"/>
                  </a:lnTo>
                  <a:lnTo>
                    <a:pt x="35" y="424"/>
                  </a:lnTo>
                  <a:lnTo>
                    <a:pt x="35" y="424"/>
                  </a:lnTo>
                  <a:lnTo>
                    <a:pt x="34" y="424"/>
                  </a:lnTo>
                  <a:lnTo>
                    <a:pt x="32" y="423"/>
                  </a:lnTo>
                  <a:lnTo>
                    <a:pt x="30" y="423"/>
                  </a:lnTo>
                  <a:lnTo>
                    <a:pt x="29" y="423"/>
                  </a:lnTo>
                  <a:lnTo>
                    <a:pt x="27" y="423"/>
                  </a:lnTo>
                  <a:lnTo>
                    <a:pt x="25" y="422"/>
                  </a:lnTo>
                  <a:lnTo>
                    <a:pt x="21" y="421"/>
                  </a:lnTo>
                  <a:lnTo>
                    <a:pt x="18" y="420"/>
                  </a:lnTo>
                  <a:lnTo>
                    <a:pt x="15" y="419"/>
                  </a:lnTo>
                  <a:lnTo>
                    <a:pt x="15" y="419"/>
                  </a:lnTo>
                  <a:lnTo>
                    <a:pt x="14" y="419"/>
                  </a:lnTo>
                  <a:lnTo>
                    <a:pt x="14" y="418"/>
                  </a:lnTo>
                  <a:lnTo>
                    <a:pt x="13" y="418"/>
                  </a:lnTo>
                  <a:lnTo>
                    <a:pt x="13" y="418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3" y="416"/>
                  </a:lnTo>
                  <a:lnTo>
                    <a:pt x="13" y="415"/>
                  </a:lnTo>
                  <a:lnTo>
                    <a:pt x="13" y="413"/>
                  </a:lnTo>
                  <a:lnTo>
                    <a:pt x="13" y="412"/>
                  </a:lnTo>
                  <a:lnTo>
                    <a:pt x="13" y="411"/>
                  </a:lnTo>
                  <a:lnTo>
                    <a:pt x="12" y="408"/>
                  </a:lnTo>
                  <a:lnTo>
                    <a:pt x="12" y="407"/>
                  </a:lnTo>
                  <a:lnTo>
                    <a:pt x="12" y="406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4" y="403"/>
                  </a:lnTo>
                  <a:lnTo>
                    <a:pt x="14" y="402"/>
                  </a:lnTo>
                  <a:lnTo>
                    <a:pt x="15" y="402"/>
                  </a:lnTo>
                  <a:lnTo>
                    <a:pt x="15" y="402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3" y="404"/>
                  </a:lnTo>
                  <a:lnTo>
                    <a:pt x="24" y="404"/>
                  </a:lnTo>
                  <a:lnTo>
                    <a:pt x="25" y="404"/>
                  </a:lnTo>
                  <a:lnTo>
                    <a:pt x="25" y="404"/>
                  </a:lnTo>
                  <a:lnTo>
                    <a:pt x="25" y="403"/>
                  </a:lnTo>
                  <a:lnTo>
                    <a:pt x="26" y="403"/>
                  </a:lnTo>
                  <a:lnTo>
                    <a:pt x="26" y="403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8" y="397"/>
                  </a:lnTo>
                  <a:lnTo>
                    <a:pt x="29" y="396"/>
                  </a:lnTo>
                  <a:lnTo>
                    <a:pt x="29" y="395"/>
                  </a:lnTo>
                  <a:lnTo>
                    <a:pt x="29" y="394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0" y="389"/>
                  </a:lnTo>
                  <a:lnTo>
                    <a:pt x="31" y="386"/>
                  </a:lnTo>
                  <a:lnTo>
                    <a:pt x="32" y="384"/>
                  </a:lnTo>
                  <a:lnTo>
                    <a:pt x="32" y="382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80"/>
                  </a:lnTo>
                  <a:lnTo>
                    <a:pt x="31" y="377"/>
                  </a:lnTo>
                  <a:lnTo>
                    <a:pt x="30" y="375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3"/>
                  </a:lnTo>
                  <a:lnTo>
                    <a:pt x="30" y="371"/>
                  </a:lnTo>
                  <a:lnTo>
                    <a:pt x="30" y="370"/>
                  </a:lnTo>
                  <a:lnTo>
                    <a:pt x="30" y="369"/>
                  </a:lnTo>
                  <a:lnTo>
                    <a:pt x="31" y="368"/>
                  </a:lnTo>
                  <a:lnTo>
                    <a:pt x="31" y="367"/>
                  </a:lnTo>
                  <a:lnTo>
                    <a:pt x="32" y="366"/>
                  </a:lnTo>
                  <a:lnTo>
                    <a:pt x="33" y="365"/>
                  </a:lnTo>
                  <a:lnTo>
                    <a:pt x="33" y="364"/>
                  </a:lnTo>
                  <a:lnTo>
                    <a:pt x="36" y="361"/>
                  </a:lnTo>
                  <a:lnTo>
                    <a:pt x="38" y="358"/>
                  </a:lnTo>
                  <a:lnTo>
                    <a:pt x="39" y="357"/>
                  </a:lnTo>
                  <a:lnTo>
                    <a:pt x="39" y="356"/>
                  </a:lnTo>
                  <a:lnTo>
                    <a:pt x="39" y="356"/>
                  </a:lnTo>
                  <a:lnTo>
                    <a:pt x="40" y="355"/>
                  </a:lnTo>
                  <a:lnTo>
                    <a:pt x="40" y="353"/>
                  </a:lnTo>
                  <a:lnTo>
                    <a:pt x="41" y="352"/>
                  </a:lnTo>
                  <a:lnTo>
                    <a:pt x="41" y="350"/>
                  </a:lnTo>
                  <a:lnTo>
                    <a:pt x="41" y="348"/>
                  </a:lnTo>
                  <a:lnTo>
                    <a:pt x="41" y="347"/>
                  </a:lnTo>
                  <a:lnTo>
                    <a:pt x="41" y="346"/>
                  </a:lnTo>
                  <a:lnTo>
                    <a:pt x="40" y="342"/>
                  </a:lnTo>
                  <a:lnTo>
                    <a:pt x="40" y="341"/>
                  </a:lnTo>
                  <a:lnTo>
                    <a:pt x="40" y="340"/>
                  </a:lnTo>
                  <a:lnTo>
                    <a:pt x="40" y="339"/>
                  </a:lnTo>
                  <a:lnTo>
                    <a:pt x="39" y="338"/>
                  </a:lnTo>
                  <a:lnTo>
                    <a:pt x="39" y="338"/>
                  </a:lnTo>
                  <a:lnTo>
                    <a:pt x="38" y="337"/>
                  </a:lnTo>
                  <a:lnTo>
                    <a:pt x="38" y="336"/>
                  </a:lnTo>
                  <a:lnTo>
                    <a:pt x="37" y="336"/>
                  </a:lnTo>
                  <a:lnTo>
                    <a:pt x="36" y="335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4" y="334"/>
                  </a:lnTo>
                  <a:lnTo>
                    <a:pt x="31" y="334"/>
                  </a:lnTo>
                  <a:lnTo>
                    <a:pt x="30" y="333"/>
                  </a:lnTo>
                  <a:lnTo>
                    <a:pt x="29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7" y="333"/>
                  </a:lnTo>
                  <a:lnTo>
                    <a:pt x="27" y="333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1"/>
                  </a:lnTo>
                  <a:lnTo>
                    <a:pt x="27" y="330"/>
                  </a:lnTo>
                  <a:lnTo>
                    <a:pt x="28" y="328"/>
                  </a:lnTo>
                  <a:lnTo>
                    <a:pt x="28" y="327"/>
                  </a:lnTo>
                  <a:lnTo>
                    <a:pt x="28" y="326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8" y="324"/>
                  </a:lnTo>
                  <a:lnTo>
                    <a:pt x="27" y="321"/>
                  </a:lnTo>
                  <a:lnTo>
                    <a:pt x="26" y="321"/>
                  </a:lnTo>
                  <a:lnTo>
                    <a:pt x="26" y="320"/>
                  </a:lnTo>
                  <a:lnTo>
                    <a:pt x="26" y="317"/>
                  </a:lnTo>
                  <a:lnTo>
                    <a:pt x="26" y="316"/>
                  </a:lnTo>
                  <a:lnTo>
                    <a:pt x="25" y="315"/>
                  </a:lnTo>
                  <a:lnTo>
                    <a:pt x="25" y="314"/>
                  </a:lnTo>
                  <a:lnTo>
                    <a:pt x="24" y="314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7" y="305"/>
                  </a:lnTo>
                  <a:lnTo>
                    <a:pt x="16" y="304"/>
                  </a:lnTo>
                  <a:lnTo>
                    <a:pt x="15" y="302"/>
                  </a:lnTo>
                  <a:lnTo>
                    <a:pt x="15" y="300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12" y="294"/>
                  </a:lnTo>
                  <a:lnTo>
                    <a:pt x="12" y="293"/>
                  </a:lnTo>
                  <a:lnTo>
                    <a:pt x="12" y="292"/>
                  </a:lnTo>
                  <a:lnTo>
                    <a:pt x="11" y="291"/>
                  </a:lnTo>
                  <a:lnTo>
                    <a:pt x="9" y="288"/>
                  </a:lnTo>
                  <a:lnTo>
                    <a:pt x="8" y="287"/>
                  </a:lnTo>
                  <a:lnTo>
                    <a:pt x="8" y="286"/>
                  </a:lnTo>
                  <a:lnTo>
                    <a:pt x="8" y="285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6"/>
                  </a:lnTo>
                  <a:lnTo>
                    <a:pt x="9" y="275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2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8"/>
                  </a:lnTo>
                  <a:lnTo>
                    <a:pt x="13" y="267"/>
                  </a:lnTo>
                  <a:lnTo>
                    <a:pt x="13" y="266"/>
                  </a:lnTo>
                  <a:lnTo>
                    <a:pt x="13" y="266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2" y="260"/>
                  </a:lnTo>
                  <a:lnTo>
                    <a:pt x="12" y="258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7"/>
                  </a:lnTo>
                  <a:lnTo>
                    <a:pt x="10" y="246"/>
                  </a:lnTo>
                  <a:lnTo>
                    <a:pt x="9" y="241"/>
                  </a:lnTo>
                  <a:lnTo>
                    <a:pt x="7" y="236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5" y="230"/>
                  </a:lnTo>
                  <a:lnTo>
                    <a:pt x="4" y="225"/>
                  </a:lnTo>
                  <a:lnTo>
                    <a:pt x="4" y="223"/>
                  </a:lnTo>
                  <a:lnTo>
                    <a:pt x="3" y="220"/>
                  </a:lnTo>
                  <a:lnTo>
                    <a:pt x="1" y="216"/>
                  </a:lnTo>
                  <a:lnTo>
                    <a:pt x="1" y="215"/>
                  </a:lnTo>
                  <a:lnTo>
                    <a:pt x="1" y="214"/>
                  </a:lnTo>
                  <a:lnTo>
                    <a:pt x="0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1" y="210"/>
                  </a:lnTo>
                  <a:lnTo>
                    <a:pt x="1" y="210"/>
                  </a:lnTo>
                  <a:lnTo>
                    <a:pt x="2" y="210"/>
                  </a:lnTo>
                  <a:lnTo>
                    <a:pt x="2" y="210"/>
                  </a:lnTo>
                  <a:lnTo>
                    <a:pt x="3" y="209"/>
                  </a:lnTo>
                  <a:lnTo>
                    <a:pt x="4" y="209"/>
                  </a:lnTo>
                  <a:lnTo>
                    <a:pt x="5" y="209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0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3" y="205"/>
                  </a:lnTo>
                  <a:lnTo>
                    <a:pt x="14" y="204"/>
                  </a:lnTo>
                  <a:lnTo>
                    <a:pt x="15" y="203"/>
                  </a:lnTo>
                  <a:lnTo>
                    <a:pt x="15" y="202"/>
                  </a:lnTo>
                  <a:lnTo>
                    <a:pt x="18" y="199"/>
                  </a:lnTo>
                  <a:lnTo>
                    <a:pt x="19" y="198"/>
                  </a:lnTo>
                  <a:lnTo>
                    <a:pt x="22" y="196"/>
                  </a:lnTo>
                  <a:lnTo>
                    <a:pt x="23" y="194"/>
                  </a:lnTo>
                  <a:lnTo>
                    <a:pt x="24" y="194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2"/>
                  </a:lnTo>
                  <a:lnTo>
                    <a:pt x="26" y="191"/>
                  </a:lnTo>
                  <a:lnTo>
                    <a:pt x="26" y="190"/>
                  </a:lnTo>
                  <a:lnTo>
                    <a:pt x="27" y="189"/>
                  </a:lnTo>
                  <a:lnTo>
                    <a:pt x="27" y="188"/>
                  </a:lnTo>
                  <a:lnTo>
                    <a:pt x="27" y="187"/>
                  </a:lnTo>
                  <a:lnTo>
                    <a:pt x="27" y="185"/>
                  </a:lnTo>
                  <a:lnTo>
                    <a:pt x="26" y="182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0"/>
                  </a:lnTo>
                  <a:lnTo>
                    <a:pt x="27" y="169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6"/>
                  </a:lnTo>
                  <a:lnTo>
                    <a:pt x="27" y="162"/>
                  </a:lnTo>
                  <a:lnTo>
                    <a:pt x="27" y="161"/>
                  </a:lnTo>
                  <a:lnTo>
                    <a:pt x="27" y="160"/>
                  </a:lnTo>
                  <a:lnTo>
                    <a:pt x="27" y="159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30" y="150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4" y="143"/>
                  </a:lnTo>
                  <a:lnTo>
                    <a:pt x="36" y="135"/>
                  </a:lnTo>
                  <a:lnTo>
                    <a:pt x="38" y="132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40" y="125"/>
                  </a:lnTo>
                  <a:lnTo>
                    <a:pt x="40" y="123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4" y="114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9" y="108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5" y="105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3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1"/>
                  </a:lnTo>
                  <a:lnTo>
                    <a:pt x="69" y="100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6" y="99"/>
                  </a:lnTo>
                  <a:lnTo>
                    <a:pt x="79" y="102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1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3"/>
                  </a:lnTo>
                  <a:lnTo>
                    <a:pt x="85" y="103"/>
                  </a:lnTo>
                  <a:lnTo>
                    <a:pt x="85" y="102"/>
                  </a:lnTo>
                  <a:lnTo>
                    <a:pt x="86" y="102"/>
                  </a:lnTo>
                  <a:lnTo>
                    <a:pt x="86" y="101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6" y="97"/>
                  </a:lnTo>
                  <a:lnTo>
                    <a:pt x="85" y="94"/>
                  </a:lnTo>
                  <a:lnTo>
                    <a:pt x="85" y="92"/>
                  </a:lnTo>
                  <a:lnTo>
                    <a:pt x="84" y="91"/>
                  </a:lnTo>
                  <a:lnTo>
                    <a:pt x="84" y="89"/>
                  </a:lnTo>
                  <a:lnTo>
                    <a:pt x="84" y="88"/>
                  </a:lnTo>
                  <a:lnTo>
                    <a:pt x="84" y="87"/>
                  </a:lnTo>
                  <a:lnTo>
                    <a:pt x="85" y="83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5" y="78"/>
                  </a:lnTo>
                  <a:lnTo>
                    <a:pt x="84" y="77"/>
                  </a:lnTo>
                  <a:lnTo>
                    <a:pt x="84" y="75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79" y="68"/>
                  </a:lnTo>
                  <a:lnTo>
                    <a:pt x="78" y="67"/>
                  </a:lnTo>
                  <a:lnTo>
                    <a:pt x="77" y="66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68" y="62"/>
                  </a:lnTo>
                  <a:lnTo>
                    <a:pt x="67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1" y="54"/>
                  </a:lnTo>
                  <a:lnTo>
                    <a:pt x="59" y="49"/>
                  </a:lnTo>
                  <a:lnTo>
                    <a:pt x="57" y="44"/>
                  </a:lnTo>
                  <a:lnTo>
                    <a:pt x="56" y="42"/>
                  </a:lnTo>
                  <a:lnTo>
                    <a:pt x="55" y="40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3" y="32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8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4" y="6"/>
                  </a:lnTo>
                  <a:lnTo>
                    <a:pt x="45" y="5"/>
                  </a:lnTo>
                  <a:lnTo>
                    <a:pt x="46" y="4"/>
                  </a:lnTo>
                  <a:lnTo>
                    <a:pt x="47" y="3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9" y="5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0" y="12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6" y="14"/>
                  </a:lnTo>
                  <a:lnTo>
                    <a:pt x="92" y="16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8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3" y="22"/>
                  </a:lnTo>
                  <a:lnTo>
                    <a:pt x="113" y="23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5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8" y="31"/>
                  </a:lnTo>
                  <a:lnTo>
                    <a:pt x="140" y="35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3" y="40"/>
                  </a:lnTo>
                  <a:lnTo>
                    <a:pt x="144" y="41"/>
                  </a:lnTo>
                  <a:lnTo>
                    <a:pt x="145" y="43"/>
                  </a:lnTo>
                  <a:lnTo>
                    <a:pt x="146" y="44"/>
                  </a:lnTo>
                  <a:lnTo>
                    <a:pt x="147" y="45"/>
                  </a:lnTo>
                  <a:lnTo>
                    <a:pt x="148" y="46"/>
                  </a:lnTo>
                  <a:lnTo>
                    <a:pt x="149" y="47"/>
                  </a:lnTo>
                  <a:lnTo>
                    <a:pt x="151" y="49"/>
                  </a:lnTo>
                  <a:lnTo>
                    <a:pt x="153" y="50"/>
                  </a:lnTo>
                  <a:lnTo>
                    <a:pt x="154" y="51"/>
                  </a:lnTo>
                  <a:lnTo>
                    <a:pt x="155" y="52"/>
                  </a:lnTo>
                  <a:lnTo>
                    <a:pt x="156" y="52"/>
                  </a:lnTo>
                  <a:lnTo>
                    <a:pt x="158" y="53"/>
                  </a:lnTo>
                  <a:lnTo>
                    <a:pt x="160" y="54"/>
                  </a:lnTo>
                  <a:lnTo>
                    <a:pt x="161" y="54"/>
                  </a:lnTo>
                  <a:lnTo>
                    <a:pt x="162" y="55"/>
                  </a:lnTo>
                  <a:lnTo>
                    <a:pt x="163" y="55"/>
                  </a:lnTo>
                  <a:lnTo>
                    <a:pt x="164" y="55"/>
                  </a:lnTo>
                  <a:lnTo>
                    <a:pt x="165" y="55"/>
                  </a:lnTo>
                  <a:lnTo>
                    <a:pt x="166" y="56"/>
                  </a:lnTo>
                  <a:lnTo>
                    <a:pt x="167" y="56"/>
                  </a:lnTo>
                  <a:lnTo>
                    <a:pt x="169" y="56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Freeform 37">
              <a:extLst>
                <a:ext uri="{FF2B5EF4-FFF2-40B4-BE49-F238E27FC236}">
                  <a16:creationId xmlns:a16="http://schemas.microsoft.com/office/drawing/2014/main" id="{8B8AA6C0-45B6-EDFD-B774-3704C03F3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4" y="3551"/>
              <a:ext cx="387" cy="320"/>
            </a:xfrm>
            <a:custGeom>
              <a:avLst/>
              <a:gdLst>
                <a:gd name="T0" fmla="*/ 257 w 387"/>
                <a:gd name="T1" fmla="*/ 7 h 320"/>
                <a:gd name="T2" fmla="*/ 275 w 387"/>
                <a:gd name="T3" fmla="*/ 11 h 320"/>
                <a:gd name="T4" fmla="*/ 308 w 387"/>
                <a:gd name="T5" fmla="*/ 10 h 320"/>
                <a:gd name="T6" fmla="*/ 331 w 387"/>
                <a:gd name="T7" fmla="*/ 19 h 320"/>
                <a:gd name="T8" fmla="*/ 349 w 387"/>
                <a:gd name="T9" fmla="*/ 20 h 320"/>
                <a:gd name="T10" fmla="*/ 366 w 387"/>
                <a:gd name="T11" fmla="*/ 38 h 320"/>
                <a:gd name="T12" fmla="*/ 377 w 387"/>
                <a:gd name="T13" fmla="*/ 55 h 320"/>
                <a:gd name="T14" fmla="*/ 387 w 387"/>
                <a:gd name="T15" fmla="*/ 65 h 320"/>
                <a:gd name="T16" fmla="*/ 379 w 387"/>
                <a:gd name="T17" fmla="*/ 89 h 320"/>
                <a:gd name="T18" fmla="*/ 340 w 387"/>
                <a:gd name="T19" fmla="*/ 108 h 320"/>
                <a:gd name="T20" fmla="*/ 319 w 387"/>
                <a:gd name="T21" fmla="*/ 121 h 320"/>
                <a:gd name="T22" fmla="*/ 312 w 387"/>
                <a:gd name="T23" fmla="*/ 144 h 320"/>
                <a:gd name="T24" fmla="*/ 306 w 387"/>
                <a:gd name="T25" fmla="*/ 171 h 320"/>
                <a:gd name="T26" fmla="*/ 303 w 387"/>
                <a:gd name="T27" fmla="*/ 192 h 320"/>
                <a:gd name="T28" fmla="*/ 296 w 387"/>
                <a:gd name="T29" fmla="*/ 221 h 320"/>
                <a:gd name="T30" fmla="*/ 276 w 387"/>
                <a:gd name="T31" fmla="*/ 237 h 320"/>
                <a:gd name="T32" fmla="*/ 250 w 387"/>
                <a:gd name="T33" fmla="*/ 240 h 320"/>
                <a:gd name="T34" fmla="*/ 242 w 387"/>
                <a:gd name="T35" fmla="*/ 258 h 320"/>
                <a:gd name="T36" fmla="*/ 234 w 387"/>
                <a:gd name="T37" fmla="*/ 282 h 320"/>
                <a:gd name="T38" fmla="*/ 210 w 387"/>
                <a:gd name="T39" fmla="*/ 286 h 320"/>
                <a:gd name="T40" fmla="*/ 192 w 387"/>
                <a:gd name="T41" fmla="*/ 305 h 320"/>
                <a:gd name="T42" fmla="*/ 165 w 387"/>
                <a:gd name="T43" fmla="*/ 320 h 320"/>
                <a:gd name="T44" fmla="*/ 149 w 387"/>
                <a:gd name="T45" fmla="*/ 296 h 320"/>
                <a:gd name="T46" fmla="*/ 133 w 387"/>
                <a:gd name="T47" fmla="*/ 285 h 320"/>
                <a:gd name="T48" fmla="*/ 125 w 387"/>
                <a:gd name="T49" fmla="*/ 274 h 320"/>
                <a:gd name="T50" fmla="*/ 101 w 387"/>
                <a:gd name="T51" fmla="*/ 274 h 320"/>
                <a:gd name="T52" fmla="*/ 83 w 387"/>
                <a:gd name="T53" fmla="*/ 265 h 320"/>
                <a:gd name="T54" fmla="*/ 74 w 387"/>
                <a:gd name="T55" fmla="*/ 255 h 320"/>
                <a:gd name="T56" fmla="*/ 52 w 387"/>
                <a:gd name="T57" fmla="*/ 247 h 320"/>
                <a:gd name="T58" fmla="*/ 39 w 387"/>
                <a:gd name="T59" fmla="*/ 239 h 320"/>
                <a:gd name="T60" fmla="*/ 34 w 387"/>
                <a:gd name="T61" fmla="*/ 226 h 320"/>
                <a:gd name="T62" fmla="*/ 24 w 387"/>
                <a:gd name="T63" fmla="*/ 216 h 320"/>
                <a:gd name="T64" fmla="*/ 2 w 387"/>
                <a:gd name="T65" fmla="*/ 221 h 320"/>
                <a:gd name="T66" fmla="*/ 4 w 387"/>
                <a:gd name="T67" fmla="*/ 209 h 320"/>
                <a:gd name="T68" fmla="*/ 18 w 387"/>
                <a:gd name="T69" fmla="*/ 192 h 320"/>
                <a:gd name="T70" fmla="*/ 24 w 387"/>
                <a:gd name="T71" fmla="*/ 178 h 320"/>
                <a:gd name="T72" fmla="*/ 12 w 387"/>
                <a:gd name="T73" fmla="*/ 175 h 320"/>
                <a:gd name="T74" fmla="*/ 7 w 387"/>
                <a:gd name="T75" fmla="*/ 159 h 320"/>
                <a:gd name="T76" fmla="*/ 6 w 387"/>
                <a:gd name="T77" fmla="*/ 138 h 320"/>
                <a:gd name="T78" fmla="*/ 17 w 387"/>
                <a:gd name="T79" fmla="*/ 125 h 320"/>
                <a:gd name="T80" fmla="*/ 39 w 387"/>
                <a:gd name="T81" fmla="*/ 119 h 320"/>
                <a:gd name="T82" fmla="*/ 54 w 387"/>
                <a:gd name="T83" fmla="*/ 110 h 320"/>
                <a:gd name="T84" fmla="*/ 67 w 387"/>
                <a:gd name="T85" fmla="*/ 94 h 320"/>
                <a:gd name="T86" fmla="*/ 64 w 387"/>
                <a:gd name="T87" fmla="*/ 76 h 320"/>
                <a:gd name="T88" fmla="*/ 73 w 387"/>
                <a:gd name="T89" fmla="*/ 66 h 320"/>
                <a:gd name="T90" fmla="*/ 78 w 387"/>
                <a:gd name="T91" fmla="*/ 77 h 320"/>
                <a:gd name="T92" fmla="*/ 97 w 387"/>
                <a:gd name="T93" fmla="*/ 81 h 320"/>
                <a:gd name="T94" fmla="*/ 111 w 387"/>
                <a:gd name="T95" fmla="*/ 83 h 320"/>
                <a:gd name="T96" fmla="*/ 117 w 387"/>
                <a:gd name="T97" fmla="*/ 69 h 320"/>
                <a:gd name="T98" fmla="*/ 137 w 387"/>
                <a:gd name="T99" fmla="*/ 66 h 320"/>
                <a:gd name="T100" fmla="*/ 150 w 387"/>
                <a:gd name="T101" fmla="*/ 67 h 320"/>
                <a:gd name="T102" fmla="*/ 154 w 387"/>
                <a:gd name="T103" fmla="*/ 56 h 320"/>
                <a:gd name="T104" fmla="*/ 153 w 387"/>
                <a:gd name="T105" fmla="*/ 46 h 320"/>
                <a:gd name="T106" fmla="*/ 162 w 387"/>
                <a:gd name="T107" fmla="*/ 45 h 320"/>
                <a:gd name="T108" fmla="*/ 174 w 387"/>
                <a:gd name="T109" fmla="*/ 44 h 320"/>
                <a:gd name="T110" fmla="*/ 192 w 387"/>
                <a:gd name="T111" fmla="*/ 47 h 320"/>
                <a:gd name="T112" fmla="*/ 199 w 387"/>
                <a:gd name="T113" fmla="*/ 28 h 320"/>
                <a:gd name="T114" fmla="*/ 211 w 387"/>
                <a:gd name="T115" fmla="*/ 15 h 320"/>
                <a:gd name="T116" fmla="*/ 225 w 387"/>
                <a:gd name="T117" fmla="*/ 12 h 320"/>
                <a:gd name="T118" fmla="*/ 234 w 387"/>
                <a:gd name="T119" fmla="*/ 4 h 320"/>
                <a:gd name="T120" fmla="*/ 240 w 387"/>
                <a:gd name="T121" fmla="*/ 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87" h="320">
                  <a:moveTo>
                    <a:pt x="241" y="0"/>
                  </a:moveTo>
                  <a:lnTo>
                    <a:pt x="243" y="0"/>
                  </a:lnTo>
                  <a:lnTo>
                    <a:pt x="244" y="0"/>
                  </a:lnTo>
                  <a:lnTo>
                    <a:pt x="246" y="0"/>
                  </a:lnTo>
                  <a:lnTo>
                    <a:pt x="248" y="1"/>
                  </a:lnTo>
                  <a:lnTo>
                    <a:pt x="249" y="1"/>
                  </a:lnTo>
                  <a:lnTo>
                    <a:pt x="250" y="2"/>
                  </a:lnTo>
                  <a:lnTo>
                    <a:pt x="251" y="2"/>
                  </a:lnTo>
                  <a:lnTo>
                    <a:pt x="253" y="3"/>
                  </a:lnTo>
                  <a:lnTo>
                    <a:pt x="254" y="4"/>
                  </a:lnTo>
                  <a:lnTo>
                    <a:pt x="255" y="5"/>
                  </a:lnTo>
                  <a:lnTo>
                    <a:pt x="256" y="6"/>
                  </a:lnTo>
                  <a:lnTo>
                    <a:pt x="256" y="7"/>
                  </a:lnTo>
                  <a:lnTo>
                    <a:pt x="257" y="7"/>
                  </a:lnTo>
                  <a:lnTo>
                    <a:pt x="258" y="10"/>
                  </a:lnTo>
                  <a:lnTo>
                    <a:pt x="259" y="11"/>
                  </a:lnTo>
                  <a:lnTo>
                    <a:pt x="259" y="12"/>
                  </a:lnTo>
                  <a:lnTo>
                    <a:pt x="260" y="12"/>
                  </a:lnTo>
                  <a:lnTo>
                    <a:pt x="260" y="12"/>
                  </a:lnTo>
                  <a:lnTo>
                    <a:pt x="261" y="13"/>
                  </a:lnTo>
                  <a:lnTo>
                    <a:pt x="262" y="13"/>
                  </a:lnTo>
                  <a:lnTo>
                    <a:pt x="262" y="13"/>
                  </a:lnTo>
                  <a:lnTo>
                    <a:pt x="263" y="14"/>
                  </a:lnTo>
                  <a:lnTo>
                    <a:pt x="264" y="13"/>
                  </a:lnTo>
                  <a:lnTo>
                    <a:pt x="265" y="13"/>
                  </a:lnTo>
                  <a:lnTo>
                    <a:pt x="267" y="13"/>
                  </a:lnTo>
                  <a:lnTo>
                    <a:pt x="268" y="13"/>
                  </a:lnTo>
                  <a:lnTo>
                    <a:pt x="275" y="11"/>
                  </a:lnTo>
                  <a:lnTo>
                    <a:pt x="279" y="10"/>
                  </a:lnTo>
                  <a:lnTo>
                    <a:pt x="282" y="9"/>
                  </a:lnTo>
                  <a:lnTo>
                    <a:pt x="286" y="8"/>
                  </a:lnTo>
                  <a:lnTo>
                    <a:pt x="288" y="8"/>
                  </a:lnTo>
                  <a:lnTo>
                    <a:pt x="291" y="8"/>
                  </a:lnTo>
                  <a:lnTo>
                    <a:pt x="294" y="8"/>
                  </a:lnTo>
                  <a:lnTo>
                    <a:pt x="296" y="8"/>
                  </a:lnTo>
                  <a:lnTo>
                    <a:pt x="297" y="8"/>
                  </a:lnTo>
                  <a:lnTo>
                    <a:pt x="298" y="8"/>
                  </a:lnTo>
                  <a:lnTo>
                    <a:pt x="302" y="9"/>
                  </a:lnTo>
                  <a:lnTo>
                    <a:pt x="303" y="9"/>
                  </a:lnTo>
                  <a:lnTo>
                    <a:pt x="304" y="9"/>
                  </a:lnTo>
                  <a:lnTo>
                    <a:pt x="307" y="9"/>
                  </a:lnTo>
                  <a:lnTo>
                    <a:pt x="308" y="10"/>
                  </a:lnTo>
                  <a:lnTo>
                    <a:pt x="309" y="10"/>
                  </a:lnTo>
                  <a:lnTo>
                    <a:pt x="310" y="10"/>
                  </a:lnTo>
                  <a:lnTo>
                    <a:pt x="311" y="11"/>
                  </a:lnTo>
                  <a:lnTo>
                    <a:pt x="312" y="11"/>
                  </a:lnTo>
                  <a:lnTo>
                    <a:pt x="313" y="12"/>
                  </a:lnTo>
                  <a:lnTo>
                    <a:pt x="317" y="15"/>
                  </a:lnTo>
                  <a:lnTo>
                    <a:pt x="319" y="16"/>
                  </a:lnTo>
                  <a:lnTo>
                    <a:pt x="320" y="16"/>
                  </a:lnTo>
                  <a:lnTo>
                    <a:pt x="320" y="17"/>
                  </a:lnTo>
                  <a:lnTo>
                    <a:pt x="322" y="17"/>
                  </a:lnTo>
                  <a:lnTo>
                    <a:pt x="323" y="18"/>
                  </a:lnTo>
                  <a:lnTo>
                    <a:pt x="324" y="18"/>
                  </a:lnTo>
                  <a:lnTo>
                    <a:pt x="330" y="19"/>
                  </a:lnTo>
                  <a:lnTo>
                    <a:pt x="331" y="19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7" y="20"/>
                  </a:lnTo>
                  <a:lnTo>
                    <a:pt x="338" y="20"/>
                  </a:lnTo>
                  <a:lnTo>
                    <a:pt x="339" y="19"/>
                  </a:lnTo>
                  <a:lnTo>
                    <a:pt x="342" y="19"/>
                  </a:lnTo>
                  <a:lnTo>
                    <a:pt x="344" y="18"/>
                  </a:lnTo>
                  <a:lnTo>
                    <a:pt x="344" y="18"/>
                  </a:lnTo>
                  <a:lnTo>
                    <a:pt x="345" y="18"/>
                  </a:lnTo>
                  <a:lnTo>
                    <a:pt x="346" y="18"/>
                  </a:lnTo>
                  <a:lnTo>
                    <a:pt x="347" y="19"/>
                  </a:lnTo>
                  <a:lnTo>
                    <a:pt x="348" y="19"/>
                  </a:lnTo>
                  <a:lnTo>
                    <a:pt x="349" y="20"/>
                  </a:lnTo>
                  <a:lnTo>
                    <a:pt x="350" y="20"/>
                  </a:lnTo>
                  <a:lnTo>
                    <a:pt x="351" y="21"/>
                  </a:lnTo>
                  <a:lnTo>
                    <a:pt x="352" y="21"/>
                  </a:lnTo>
                  <a:lnTo>
                    <a:pt x="352" y="22"/>
                  </a:lnTo>
                  <a:lnTo>
                    <a:pt x="353" y="23"/>
                  </a:lnTo>
                  <a:lnTo>
                    <a:pt x="355" y="27"/>
                  </a:lnTo>
                  <a:lnTo>
                    <a:pt x="356" y="29"/>
                  </a:lnTo>
                  <a:lnTo>
                    <a:pt x="357" y="30"/>
                  </a:lnTo>
                  <a:lnTo>
                    <a:pt x="358" y="31"/>
                  </a:lnTo>
                  <a:lnTo>
                    <a:pt x="358" y="32"/>
                  </a:lnTo>
                  <a:lnTo>
                    <a:pt x="359" y="33"/>
                  </a:lnTo>
                  <a:lnTo>
                    <a:pt x="360" y="34"/>
                  </a:lnTo>
                  <a:lnTo>
                    <a:pt x="361" y="35"/>
                  </a:lnTo>
                  <a:lnTo>
                    <a:pt x="366" y="38"/>
                  </a:lnTo>
                  <a:lnTo>
                    <a:pt x="367" y="39"/>
                  </a:lnTo>
                  <a:lnTo>
                    <a:pt x="368" y="40"/>
                  </a:lnTo>
                  <a:lnTo>
                    <a:pt x="369" y="40"/>
                  </a:lnTo>
                  <a:lnTo>
                    <a:pt x="370" y="41"/>
                  </a:lnTo>
                  <a:lnTo>
                    <a:pt x="372" y="44"/>
                  </a:lnTo>
                  <a:lnTo>
                    <a:pt x="372" y="45"/>
                  </a:lnTo>
                  <a:lnTo>
                    <a:pt x="373" y="46"/>
                  </a:lnTo>
                  <a:lnTo>
                    <a:pt x="373" y="46"/>
                  </a:lnTo>
                  <a:lnTo>
                    <a:pt x="373" y="47"/>
                  </a:lnTo>
                  <a:lnTo>
                    <a:pt x="375" y="51"/>
                  </a:lnTo>
                  <a:lnTo>
                    <a:pt x="376" y="53"/>
                  </a:lnTo>
                  <a:lnTo>
                    <a:pt x="376" y="53"/>
                  </a:lnTo>
                  <a:lnTo>
                    <a:pt x="377" y="54"/>
                  </a:lnTo>
                  <a:lnTo>
                    <a:pt x="377" y="55"/>
                  </a:lnTo>
                  <a:lnTo>
                    <a:pt x="378" y="55"/>
                  </a:lnTo>
                  <a:lnTo>
                    <a:pt x="378" y="56"/>
                  </a:lnTo>
                  <a:lnTo>
                    <a:pt x="379" y="57"/>
                  </a:lnTo>
                  <a:lnTo>
                    <a:pt x="380" y="57"/>
                  </a:lnTo>
                  <a:lnTo>
                    <a:pt x="381" y="58"/>
                  </a:lnTo>
                  <a:lnTo>
                    <a:pt x="382" y="59"/>
                  </a:lnTo>
                  <a:lnTo>
                    <a:pt x="383" y="59"/>
                  </a:lnTo>
                  <a:lnTo>
                    <a:pt x="384" y="60"/>
                  </a:lnTo>
                  <a:lnTo>
                    <a:pt x="384" y="60"/>
                  </a:lnTo>
                  <a:lnTo>
                    <a:pt x="385" y="60"/>
                  </a:lnTo>
                  <a:lnTo>
                    <a:pt x="385" y="60"/>
                  </a:lnTo>
                  <a:lnTo>
                    <a:pt x="385" y="61"/>
                  </a:lnTo>
                  <a:lnTo>
                    <a:pt x="386" y="63"/>
                  </a:lnTo>
                  <a:lnTo>
                    <a:pt x="387" y="65"/>
                  </a:lnTo>
                  <a:lnTo>
                    <a:pt x="387" y="67"/>
                  </a:lnTo>
                  <a:lnTo>
                    <a:pt x="387" y="68"/>
                  </a:lnTo>
                  <a:lnTo>
                    <a:pt x="387" y="70"/>
                  </a:lnTo>
                  <a:lnTo>
                    <a:pt x="387" y="71"/>
                  </a:lnTo>
                  <a:lnTo>
                    <a:pt x="387" y="73"/>
                  </a:lnTo>
                  <a:lnTo>
                    <a:pt x="387" y="75"/>
                  </a:lnTo>
                  <a:lnTo>
                    <a:pt x="386" y="76"/>
                  </a:lnTo>
                  <a:lnTo>
                    <a:pt x="386" y="78"/>
                  </a:lnTo>
                  <a:lnTo>
                    <a:pt x="385" y="80"/>
                  </a:lnTo>
                  <a:lnTo>
                    <a:pt x="384" y="81"/>
                  </a:lnTo>
                  <a:lnTo>
                    <a:pt x="383" y="82"/>
                  </a:lnTo>
                  <a:lnTo>
                    <a:pt x="383" y="84"/>
                  </a:lnTo>
                  <a:lnTo>
                    <a:pt x="380" y="87"/>
                  </a:lnTo>
                  <a:lnTo>
                    <a:pt x="379" y="89"/>
                  </a:lnTo>
                  <a:lnTo>
                    <a:pt x="378" y="90"/>
                  </a:lnTo>
                  <a:lnTo>
                    <a:pt x="376" y="91"/>
                  </a:lnTo>
                  <a:lnTo>
                    <a:pt x="375" y="92"/>
                  </a:lnTo>
                  <a:lnTo>
                    <a:pt x="374" y="93"/>
                  </a:lnTo>
                  <a:lnTo>
                    <a:pt x="372" y="94"/>
                  </a:lnTo>
                  <a:lnTo>
                    <a:pt x="370" y="95"/>
                  </a:lnTo>
                  <a:lnTo>
                    <a:pt x="364" y="98"/>
                  </a:lnTo>
                  <a:lnTo>
                    <a:pt x="358" y="101"/>
                  </a:lnTo>
                  <a:lnTo>
                    <a:pt x="355" y="102"/>
                  </a:lnTo>
                  <a:lnTo>
                    <a:pt x="353" y="103"/>
                  </a:lnTo>
                  <a:lnTo>
                    <a:pt x="351" y="104"/>
                  </a:lnTo>
                  <a:lnTo>
                    <a:pt x="345" y="106"/>
                  </a:lnTo>
                  <a:lnTo>
                    <a:pt x="342" y="107"/>
                  </a:lnTo>
                  <a:lnTo>
                    <a:pt x="340" y="108"/>
                  </a:lnTo>
                  <a:lnTo>
                    <a:pt x="339" y="108"/>
                  </a:lnTo>
                  <a:lnTo>
                    <a:pt x="332" y="109"/>
                  </a:lnTo>
                  <a:lnTo>
                    <a:pt x="330" y="110"/>
                  </a:lnTo>
                  <a:lnTo>
                    <a:pt x="328" y="111"/>
                  </a:lnTo>
                  <a:lnTo>
                    <a:pt x="327" y="111"/>
                  </a:lnTo>
                  <a:lnTo>
                    <a:pt x="326" y="112"/>
                  </a:lnTo>
                  <a:lnTo>
                    <a:pt x="325" y="112"/>
                  </a:lnTo>
                  <a:lnTo>
                    <a:pt x="324" y="113"/>
                  </a:lnTo>
                  <a:lnTo>
                    <a:pt x="323" y="114"/>
                  </a:lnTo>
                  <a:lnTo>
                    <a:pt x="323" y="114"/>
                  </a:lnTo>
                  <a:lnTo>
                    <a:pt x="322" y="115"/>
                  </a:lnTo>
                  <a:lnTo>
                    <a:pt x="321" y="117"/>
                  </a:lnTo>
                  <a:lnTo>
                    <a:pt x="320" y="120"/>
                  </a:lnTo>
                  <a:lnTo>
                    <a:pt x="319" y="121"/>
                  </a:lnTo>
                  <a:lnTo>
                    <a:pt x="318" y="123"/>
                  </a:lnTo>
                  <a:lnTo>
                    <a:pt x="315" y="126"/>
                  </a:lnTo>
                  <a:lnTo>
                    <a:pt x="314" y="128"/>
                  </a:lnTo>
                  <a:lnTo>
                    <a:pt x="313" y="130"/>
                  </a:lnTo>
                  <a:lnTo>
                    <a:pt x="312" y="131"/>
                  </a:lnTo>
                  <a:lnTo>
                    <a:pt x="312" y="133"/>
                  </a:lnTo>
                  <a:lnTo>
                    <a:pt x="311" y="134"/>
                  </a:lnTo>
                  <a:lnTo>
                    <a:pt x="311" y="135"/>
                  </a:lnTo>
                  <a:lnTo>
                    <a:pt x="311" y="137"/>
                  </a:lnTo>
                  <a:lnTo>
                    <a:pt x="311" y="138"/>
                  </a:lnTo>
                  <a:lnTo>
                    <a:pt x="311" y="139"/>
                  </a:lnTo>
                  <a:lnTo>
                    <a:pt x="312" y="142"/>
                  </a:lnTo>
                  <a:lnTo>
                    <a:pt x="312" y="143"/>
                  </a:lnTo>
                  <a:lnTo>
                    <a:pt x="312" y="144"/>
                  </a:lnTo>
                  <a:lnTo>
                    <a:pt x="312" y="145"/>
                  </a:lnTo>
                  <a:lnTo>
                    <a:pt x="311" y="146"/>
                  </a:lnTo>
                  <a:lnTo>
                    <a:pt x="311" y="149"/>
                  </a:lnTo>
                  <a:lnTo>
                    <a:pt x="311" y="151"/>
                  </a:lnTo>
                  <a:lnTo>
                    <a:pt x="310" y="152"/>
                  </a:lnTo>
                  <a:lnTo>
                    <a:pt x="310" y="154"/>
                  </a:lnTo>
                  <a:lnTo>
                    <a:pt x="308" y="158"/>
                  </a:lnTo>
                  <a:lnTo>
                    <a:pt x="308" y="160"/>
                  </a:lnTo>
                  <a:lnTo>
                    <a:pt x="308" y="161"/>
                  </a:lnTo>
                  <a:lnTo>
                    <a:pt x="307" y="162"/>
                  </a:lnTo>
                  <a:lnTo>
                    <a:pt x="307" y="164"/>
                  </a:lnTo>
                  <a:lnTo>
                    <a:pt x="307" y="166"/>
                  </a:lnTo>
                  <a:lnTo>
                    <a:pt x="306" y="170"/>
                  </a:lnTo>
                  <a:lnTo>
                    <a:pt x="306" y="171"/>
                  </a:lnTo>
                  <a:lnTo>
                    <a:pt x="306" y="172"/>
                  </a:lnTo>
                  <a:lnTo>
                    <a:pt x="306" y="173"/>
                  </a:lnTo>
                  <a:lnTo>
                    <a:pt x="306" y="174"/>
                  </a:lnTo>
                  <a:lnTo>
                    <a:pt x="304" y="177"/>
                  </a:lnTo>
                  <a:lnTo>
                    <a:pt x="304" y="178"/>
                  </a:lnTo>
                  <a:lnTo>
                    <a:pt x="303" y="182"/>
                  </a:lnTo>
                  <a:lnTo>
                    <a:pt x="302" y="183"/>
                  </a:lnTo>
                  <a:lnTo>
                    <a:pt x="302" y="184"/>
                  </a:lnTo>
                  <a:lnTo>
                    <a:pt x="302" y="185"/>
                  </a:lnTo>
                  <a:lnTo>
                    <a:pt x="302" y="186"/>
                  </a:lnTo>
                  <a:lnTo>
                    <a:pt x="302" y="187"/>
                  </a:lnTo>
                  <a:lnTo>
                    <a:pt x="303" y="190"/>
                  </a:lnTo>
                  <a:lnTo>
                    <a:pt x="303" y="191"/>
                  </a:lnTo>
                  <a:lnTo>
                    <a:pt x="303" y="192"/>
                  </a:lnTo>
                  <a:lnTo>
                    <a:pt x="303" y="192"/>
                  </a:lnTo>
                  <a:lnTo>
                    <a:pt x="303" y="196"/>
                  </a:lnTo>
                  <a:lnTo>
                    <a:pt x="303" y="201"/>
                  </a:lnTo>
                  <a:lnTo>
                    <a:pt x="302" y="202"/>
                  </a:lnTo>
                  <a:lnTo>
                    <a:pt x="302" y="204"/>
                  </a:lnTo>
                  <a:lnTo>
                    <a:pt x="302" y="206"/>
                  </a:lnTo>
                  <a:lnTo>
                    <a:pt x="302" y="206"/>
                  </a:lnTo>
                  <a:lnTo>
                    <a:pt x="301" y="208"/>
                  </a:lnTo>
                  <a:lnTo>
                    <a:pt x="301" y="209"/>
                  </a:lnTo>
                  <a:lnTo>
                    <a:pt x="301" y="211"/>
                  </a:lnTo>
                  <a:lnTo>
                    <a:pt x="299" y="213"/>
                  </a:lnTo>
                  <a:lnTo>
                    <a:pt x="298" y="217"/>
                  </a:lnTo>
                  <a:lnTo>
                    <a:pt x="297" y="220"/>
                  </a:lnTo>
                  <a:lnTo>
                    <a:pt x="296" y="221"/>
                  </a:lnTo>
                  <a:lnTo>
                    <a:pt x="296" y="222"/>
                  </a:lnTo>
                  <a:lnTo>
                    <a:pt x="294" y="225"/>
                  </a:lnTo>
                  <a:lnTo>
                    <a:pt x="293" y="227"/>
                  </a:lnTo>
                  <a:lnTo>
                    <a:pt x="292" y="228"/>
                  </a:lnTo>
                  <a:lnTo>
                    <a:pt x="291" y="230"/>
                  </a:lnTo>
                  <a:lnTo>
                    <a:pt x="289" y="231"/>
                  </a:lnTo>
                  <a:lnTo>
                    <a:pt x="287" y="232"/>
                  </a:lnTo>
                  <a:lnTo>
                    <a:pt x="286" y="233"/>
                  </a:lnTo>
                  <a:lnTo>
                    <a:pt x="285" y="234"/>
                  </a:lnTo>
                  <a:lnTo>
                    <a:pt x="282" y="235"/>
                  </a:lnTo>
                  <a:lnTo>
                    <a:pt x="281" y="235"/>
                  </a:lnTo>
                  <a:lnTo>
                    <a:pt x="278" y="236"/>
                  </a:lnTo>
                  <a:lnTo>
                    <a:pt x="277" y="237"/>
                  </a:lnTo>
                  <a:lnTo>
                    <a:pt x="276" y="237"/>
                  </a:lnTo>
                  <a:lnTo>
                    <a:pt x="275" y="237"/>
                  </a:lnTo>
                  <a:lnTo>
                    <a:pt x="274" y="237"/>
                  </a:lnTo>
                  <a:lnTo>
                    <a:pt x="272" y="237"/>
                  </a:lnTo>
                  <a:lnTo>
                    <a:pt x="268" y="237"/>
                  </a:lnTo>
                  <a:lnTo>
                    <a:pt x="266" y="237"/>
                  </a:lnTo>
                  <a:lnTo>
                    <a:pt x="265" y="237"/>
                  </a:lnTo>
                  <a:lnTo>
                    <a:pt x="259" y="237"/>
                  </a:lnTo>
                  <a:lnTo>
                    <a:pt x="257" y="238"/>
                  </a:lnTo>
                  <a:lnTo>
                    <a:pt x="256" y="238"/>
                  </a:lnTo>
                  <a:lnTo>
                    <a:pt x="254" y="238"/>
                  </a:lnTo>
                  <a:lnTo>
                    <a:pt x="253" y="239"/>
                  </a:lnTo>
                  <a:lnTo>
                    <a:pt x="252" y="239"/>
                  </a:lnTo>
                  <a:lnTo>
                    <a:pt x="251" y="239"/>
                  </a:lnTo>
                  <a:lnTo>
                    <a:pt x="250" y="240"/>
                  </a:lnTo>
                  <a:lnTo>
                    <a:pt x="250" y="240"/>
                  </a:lnTo>
                  <a:lnTo>
                    <a:pt x="249" y="240"/>
                  </a:lnTo>
                  <a:lnTo>
                    <a:pt x="248" y="241"/>
                  </a:lnTo>
                  <a:lnTo>
                    <a:pt x="248" y="242"/>
                  </a:lnTo>
                  <a:lnTo>
                    <a:pt x="247" y="242"/>
                  </a:lnTo>
                  <a:lnTo>
                    <a:pt x="246" y="243"/>
                  </a:lnTo>
                  <a:lnTo>
                    <a:pt x="246" y="244"/>
                  </a:lnTo>
                  <a:lnTo>
                    <a:pt x="245" y="245"/>
                  </a:lnTo>
                  <a:lnTo>
                    <a:pt x="245" y="246"/>
                  </a:lnTo>
                  <a:lnTo>
                    <a:pt x="244" y="247"/>
                  </a:lnTo>
                  <a:lnTo>
                    <a:pt x="244" y="249"/>
                  </a:lnTo>
                  <a:lnTo>
                    <a:pt x="243" y="252"/>
                  </a:lnTo>
                  <a:lnTo>
                    <a:pt x="242" y="256"/>
                  </a:lnTo>
                  <a:lnTo>
                    <a:pt x="242" y="258"/>
                  </a:lnTo>
                  <a:lnTo>
                    <a:pt x="241" y="259"/>
                  </a:lnTo>
                  <a:lnTo>
                    <a:pt x="241" y="261"/>
                  </a:lnTo>
                  <a:lnTo>
                    <a:pt x="240" y="266"/>
                  </a:lnTo>
                  <a:lnTo>
                    <a:pt x="240" y="267"/>
                  </a:lnTo>
                  <a:lnTo>
                    <a:pt x="240" y="269"/>
                  </a:lnTo>
                  <a:lnTo>
                    <a:pt x="239" y="271"/>
                  </a:lnTo>
                  <a:lnTo>
                    <a:pt x="239" y="273"/>
                  </a:lnTo>
                  <a:lnTo>
                    <a:pt x="238" y="275"/>
                  </a:lnTo>
                  <a:lnTo>
                    <a:pt x="238" y="277"/>
                  </a:lnTo>
                  <a:lnTo>
                    <a:pt x="237" y="278"/>
                  </a:lnTo>
                  <a:lnTo>
                    <a:pt x="236" y="279"/>
                  </a:lnTo>
                  <a:lnTo>
                    <a:pt x="236" y="280"/>
                  </a:lnTo>
                  <a:lnTo>
                    <a:pt x="235" y="281"/>
                  </a:lnTo>
                  <a:lnTo>
                    <a:pt x="234" y="282"/>
                  </a:lnTo>
                  <a:lnTo>
                    <a:pt x="234" y="282"/>
                  </a:lnTo>
                  <a:lnTo>
                    <a:pt x="233" y="282"/>
                  </a:lnTo>
                  <a:lnTo>
                    <a:pt x="233" y="283"/>
                  </a:lnTo>
                  <a:lnTo>
                    <a:pt x="232" y="283"/>
                  </a:lnTo>
                  <a:lnTo>
                    <a:pt x="231" y="284"/>
                  </a:lnTo>
                  <a:lnTo>
                    <a:pt x="230" y="284"/>
                  </a:lnTo>
                  <a:lnTo>
                    <a:pt x="229" y="284"/>
                  </a:lnTo>
                  <a:lnTo>
                    <a:pt x="228" y="284"/>
                  </a:lnTo>
                  <a:lnTo>
                    <a:pt x="219" y="284"/>
                  </a:lnTo>
                  <a:lnTo>
                    <a:pt x="217" y="285"/>
                  </a:lnTo>
                  <a:lnTo>
                    <a:pt x="216" y="285"/>
                  </a:lnTo>
                  <a:lnTo>
                    <a:pt x="213" y="285"/>
                  </a:lnTo>
                  <a:lnTo>
                    <a:pt x="211" y="286"/>
                  </a:lnTo>
                  <a:lnTo>
                    <a:pt x="210" y="286"/>
                  </a:lnTo>
                  <a:lnTo>
                    <a:pt x="209" y="286"/>
                  </a:lnTo>
                  <a:lnTo>
                    <a:pt x="208" y="287"/>
                  </a:lnTo>
                  <a:lnTo>
                    <a:pt x="208" y="287"/>
                  </a:lnTo>
                  <a:lnTo>
                    <a:pt x="207" y="287"/>
                  </a:lnTo>
                  <a:lnTo>
                    <a:pt x="206" y="288"/>
                  </a:lnTo>
                  <a:lnTo>
                    <a:pt x="205" y="289"/>
                  </a:lnTo>
                  <a:lnTo>
                    <a:pt x="202" y="292"/>
                  </a:lnTo>
                  <a:lnTo>
                    <a:pt x="200" y="294"/>
                  </a:lnTo>
                  <a:lnTo>
                    <a:pt x="199" y="295"/>
                  </a:lnTo>
                  <a:lnTo>
                    <a:pt x="197" y="297"/>
                  </a:lnTo>
                  <a:lnTo>
                    <a:pt x="196" y="298"/>
                  </a:lnTo>
                  <a:lnTo>
                    <a:pt x="195" y="301"/>
                  </a:lnTo>
                  <a:lnTo>
                    <a:pt x="193" y="304"/>
                  </a:lnTo>
                  <a:lnTo>
                    <a:pt x="192" y="305"/>
                  </a:lnTo>
                  <a:lnTo>
                    <a:pt x="191" y="306"/>
                  </a:lnTo>
                  <a:lnTo>
                    <a:pt x="190" y="308"/>
                  </a:lnTo>
                  <a:lnTo>
                    <a:pt x="187" y="311"/>
                  </a:lnTo>
                  <a:lnTo>
                    <a:pt x="185" y="312"/>
                  </a:lnTo>
                  <a:lnTo>
                    <a:pt x="184" y="313"/>
                  </a:lnTo>
                  <a:lnTo>
                    <a:pt x="183" y="314"/>
                  </a:lnTo>
                  <a:lnTo>
                    <a:pt x="181" y="315"/>
                  </a:lnTo>
                  <a:lnTo>
                    <a:pt x="179" y="316"/>
                  </a:lnTo>
                  <a:lnTo>
                    <a:pt x="177" y="317"/>
                  </a:lnTo>
                  <a:lnTo>
                    <a:pt x="173" y="318"/>
                  </a:lnTo>
                  <a:lnTo>
                    <a:pt x="170" y="319"/>
                  </a:lnTo>
                  <a:lnTo>
                    <a:pt x="168" y="319"/>
                  </a:lnTo>
                  <a:lnTo>
                    <a:pt x="165" y="320"/>
                  </a:lnTo>
                  <a:lnTo>
                    <a:pt x="165" y="320"/>
                  </a:lnTo>
                  <a:lnTo>
                    <a:pt x="165" y="319"/>
                  </a:lnTo>
                  <a:lnTo>
                    <a:pt x="164" y="318"/>
                  </a:lnTo>
                  <a:lnTo>
                    <a:pt x="164" y="316"/>
                  </a:lnTo>
                  <a:lnTo>
                    <a:pt x="162" y="313"/>
                  </a:lnTo>
                  <a:lnTo>
                    <a:pt x="162" y="312"/>
                  </a:lnTo>
                  <a:lnTo>
                    <a:pt x="161" y="311"/>
                  </a:lnTo>
                  <a:lnTo>
                    <a:pt x="161" y="310"/>
                  </a:lnTo>
                  <a:lnTo>
                    <a:pt x="158" y="307"/>
                  </a:lnTo>
                  <a:lnTo>
                    <a:pt x="155" y="302"/>
                  </a:lnTo>
                  <a:lnTo>
                    <a:pt x="154" y="300"/>
                  </a:lnTo>
                  <a:lnTo>
                    <a:pt x="153" y="299"/>
                  </a:lnTo>
                  <a:lnTo>
                    <a:pt x="151" y="298"/>
                  </a:lnTo>
                  <a:lnTo>
                    <a:pt x="150" y="297"/>
                  </a:lnTo>
                  <a:lnTo>
                    <a:pt x="149" y="296"/>
                  </a:lnTo>
                  <a:lnTo>
                    <a:pt x="148" y="295"/>
                  </a:lnTo>
                  <a:lnTo>
                    <a:pt x="147" y="294"/>
                  </a:lnTo>
                  <a:lnTo>
                    <a:pt x="140" y="291"/>
                  </a:lnTo>
                  <a:lnTo>
                    <a:pt x="139" y="291"/>
                  </a:lnTo>
                  <a:lnTo>
                    <a:pt x="137" y="290"/>
                  </a:lnTo>
                  <a:lnTo>
                    <a:pt x="136" y="289"/>
                  </a:lnTo>
                  <a:lnTo>
                    <a:pt x="135" y="289"/>
                  </a:lnTo>
                  <a:lnTo>
                    <a:pt x="135" y="289"/>
                  </a:lnTo>
                  <a:lnTo>
                    <a:pt x="134" y="288"/>
                  </a:lnTo>
                  <a:lnTo>
                    <a:pt x="134" y="288"/>
                  </a:lnTo>
                  <a:lnTo>
                    <a:pt x="134" y="287"/>
                  </a:lnTo>
                  <a:lnTo>
                    <a:pt x="133" y="287"/>
                  </a:lnTo>
                  <a:lnTo>
                    <a:pt x="133" y="286"/>
                  </a:lnTo>
                  <a:lnTo>
                    <a:pt x="133" y="285"/>
                  </a:lnTo>
                  <a:lnTo>
                    <a:pt x="133" y="283"/>
                  </a:lnTo>
                  <a:lnTo>
                    <a:pt x="133" y="282"/>
                  </a:lnTo>
                  <a:lnTo>
                    <a:pt x="132" y="281"/>
                  </a:lnTo>
                  <a:lnTo>
                    <a:pt x="132" y="280"/>
                  </a:lnTo>
                  <a:lnTo>
                    <a:pt x="132" y="280"/>
                  </a:lnTo>
                  <a:lnTo>
                    <a:pt x="132" y="279"/>
                  </a:lnTo>
                  <a:lnTo>
                    <a:pt x="131" y="279"/>
                  </a:lnTo>
                  <a:lnTo>
                    <a:pt x="131" y="278"/>
                  </a:lnTo>
                  <a:lnTo>
                    <a:pt x="131" y="278"/>
                  </a:lnTo>
                  <a:lnTo>
                    <a:pt x="130" y="277"/>
                  </a:lnTo>
                  <a:lnTo>
                    <a:pt x="128" y="276"/>
                  </a:lnTo>
                  <a:lnTo>
                    <a:pt x="127" y="275"/>
                  </a:lnTo>
                  <a:lnTo>
                    <a:pt x="126" y="275"/>
                  </a:lnTo>
                  <a:lnTo>
                    <a:pt x="125" y="274"/>
                  </a:lnTo>
                  <a:lnTo>
                    <a:pt x="123" y="274"/>
                  </a:lnTo>
                  <a:lnTo>
                    <a:pt x="120" y="273"/>
                  </a:lnTo>
                  <a:lnTo>
                    <a:pt x="119" y="272"/>
                  </a:lnTo>
                  <a:lnTo>
                    <a:pt x="119" y="272"/>
                  </a:lnTo>
                  <a:lnTo>
                    <a:pt x="118" y="272"/>
                  </a:lnTo>
                  <a:lnTo>
                    <a:pt x="117" y="272"/>
                  </a:lnTo>
                  <a:lnTo>
                    <a:pt x="117" y="272"/>
                  </a:lnTo>
                  <a:lnTo>
                    <a:pt x="113" y="273"/>
                  </a:lnTo>
                  <a:lnTo>
                    <a:pt x="110" y="273"/>
                  </a:lnTo>
                  <a:lnTo>
                    <a:pt x="109" y="273"/>
                  </a:lnTo>
                  <a:lnTo>
                    <a:pt x="107" y="273"/>
                  </a:lnTo>
                  <a:lnTo>
                    <a:pt x="103" y="274"/>
                  </a:lnTo>
                  <a:lnTo>
                    <a:pt x="102" y="274"/>
                  </a:lnTo>
                  <a:lnTo>
                    <a:pt x="101" y="274"/>
                  </a:lnTo>
                  <a:lnTo>
                    <a:pt x="100" y="275"/>
                  </a:lnTo>
                  <a:lnTo>
                    <a:pt x="99" y="274"/>
                  </a:lnTo>
                  <a:lnTo>
                    <a:pt x="98" y="274"/>
                  </a:lnTo>
                  <a:lnTo>
                    <a:pt x="98" y="274"/>
                  </a:lnTo>
                  <a:lnTo>
                    <a:pt x="97" y="274"/>
                  </a:lnTo>
                  <a:lnTo>
                    <a:pt x="95" y="273"/>
                  </a:lnTo>
                  <a:lnTo>
                    <a:pt x="94" y="272"/>
                  </a:lnTo>
                  <a:lnTo>
                    <a:pt x="93" y="271"/>
                  </a:lnTo>
                  <a:lnTo>
                    <a:pt x="87" y="267"/>
                  </a:lnTo>
                  <a:lnTo>
                    <a:pt x="86" y="267"/>
                  </a:lnTo>
                  <a:lnTo>
                    <a:pt x="86" y="266"/>
                  </a:lnTo>
                  <a:lnTo>
                    <a:pt x="85" y="266"/>
                  </a:lnTo>
                  <a:lnTo>
                    <a:pt x="84" y="266"/>
                  </a:lnTo>
                  <a:lnTo>
                    <a:pt x="83" y="265"/>
                  </a:lnTo>
                  <a:lnTo>
                    <a:pt x="81" y="265"/>
                  </a:lnTo>
                  <a:lnTo>
                    <a:pt x="79" y="265"/>
                  </a:lnTo>
                  <a:lnTo>
                    <a:pt x="78" y="265"/>
                  </a:lnTo>
                  <a:lnTo>
                    <a:pt x="77" y="264"/>
                  </a:lnTo>
                  <a:lnTo>
                    <a:pt x="77" y="264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6" y="263"/>
                  </a:lnTo>
                  <a:lnTo>
                    <a:pt x="75" y="262"/>
                  </a:lnTo>
                  <a:lnTo>
                    <a:pt x="75" y="262"/>
                  </a:lnTo>
                  <a:lnTo>
                    <a:pt x="75" y="261"/>
                  </a:lnTo>
                  <a:lnTo>
                    <a:pt x="75" y="258"/>
                  </a:lnTo>
                  <a:lnTo>
                    <a:pt x="74" y="257"/>
                  </a:lnTo>
                  <a:lnTo>
                    <a:pt x="74" y="255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3" y="253"/>
                  </a:lnTo>
                  <a:lnTo>
                    <a:pt x="72" y="252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69" y="250"/>
                  </a:lnTo>
                  <a:lnTo>
                    <a:pt x="68" y="250"/>
                  </a:lnTo>
                  <a:lnTo>
                    <a:pt x="67" y="250"/>
                  </a:lnTo>
                  <a:lnTo>
                    <a:pt x="62" y="249"/>
                  </a:lnTo>
                  <a:lnTo>
                    <a:pt x="59" y="248"/>
                  </a:lnTo>
                  <a:lnTo>
                    <a:pt x="54" y="248"/>
                  </a:lnTo>
                  <a:lnTo>
                    <a:pt x="52" y="247"/>
                  </a:lnTo>
                  <a:lnTo>
                    <a:pt x="52" y="247"/>
                  </a:lnTo>
                  <a:lnTo>
                    <a:pt x="51" y="247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48" y="244"/>
                  </a:lnTo>
                  <a:lnTo>
                    <a:pt x="47" y="243"/>
                  </a:lnTo>
                  <a:lnTo>
                    <a:pt x="46" y="243"/>
                  </a:lnTo>
                  <a:lnTo>
                    <a:pt x="45" y="242"/>
                  </a:lnTo>
                  <a:lnTo>
                    <a:pt x="45" y="242"/>
                  </a:lnTo>
                  <a:lnTo>
                    <a:pt x="43" y="241"/>
                  </a:lnTo>
                  <a:lnTo>
                    <a:pt x="41" y="240"/>
                  </a:lnTo>
                  <a:lnTo>
                    <a:pt x="40" y="240"/>
                  </a:lnTo>
                  <a:lnTo>
                    <a:pt x="40" y="240"/>
                  </a:lnTo>
                  <a:lnTo>
                    <a:pt x="39" y="239"/>
                  </a:lnTo>
                  <a:lnTo>
                    <a:pt x="36" y="239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4" y="237"/>
                  </a:lnTo>
                  <a:lnTo>
                    <a:pt x="34" y="237"/>
                  </a:lnTo>
                  <a:lnTo>
                    <a:pt x="34" y="236"/>
                  </a:lnTo>
                  <a:lnTo>
                    <a:pt x="34" y="235"/>
                  </a:lnTo>
                  <a:lnTo>
                    <a:pt x="34" y="234"/>
                  </a:lnTo>
                  <a:lnTo>
                    <a:pt x="34" y="230"/>
                  </a:lnTo>
                  <a:lnTo>
                    <a:pt x="34" y="229"/>
                  </a:lnTo>
                  <a:lnTo>
                    <a:pt x="34" y="228"/>
                  </a:lnTo>
                  <a:lnTo>
                    <a:pt x="34" y="226"/>
                  </a:lnTo>
                  <a:lnTo>
                    <a:pt x="34" y="226"/>
                  </a:lnTo>
                  <a:lnTo>
                    <a:pt x="34" y="224"/>
                  </a:lnTo>
                  <a:lnTo>
                    <a:pt x="33" y="223"/>
                  </a:lnTo>
                  <a:lnTo>
                    <a:pt x="33" y="222"/>
                  </a:lnTo>
                  <a:lnTo>
                    <a:pt x="32" y="220"/>
                  </a:lnTo>
                  <a:lnTo>
                    <a:pt x="30" y="219"/>
                  </a:lnTo>
                  <a:lnTo>
                    <a:pt x="30" y="218"/>
                  </a:lnTo>
                  <a:lnTo>
                    <a:pt x="29" y="217"/>
                  </a:lnTo>
                  <a:lnTo>
                    <a:pt x="29" y="217"/>
                  </a:lnTo>
                  <a:lnTo>
                    <a:pt x="28" y="216"/>
                  </a:lnTo>
                  <a:lnTo>
                    <a:pt x="28" y="216"/>
                  </a:lnTo>
                  <a:lnTo>
                    <a:pt x="27" y="216"/>
                  </a:lnTo>
                  <a:lnTo>
                    <a:pt x="26" y="216"/>
                  </a:lnTo>
                  <a:lnTo>
                    <a:pt x="25" y="216"/>
                  </a:lnTo>
                  <a:lnTo>
                    <a:pt x="24" y="216"/>
                  </a:lnTo>
                  <a:lnTo>
                    <a:pt x="23" y="216"/>
                  </a:lnTo>
                  <a:lnTo>
                    <a:pt x="22" y="217"/>
                  </a:lnTo>
                  <a:lnTo>
                    <a:pt x="20" y="217"/>
                  </a:lnTo>
                  <a:lnTo>
                    <a:pt x="13" y="220"/>
                  </a:lnTo>
                  <a:lnTo>
                    <a:pt x="11" y="221"/>
                  </a:lnTo>
                  <a:lnTo>
                    <a:pt x="9" y="221"/>
                  </a:lnTo>
                  <a:lnTo>
                    <a:pt x="8" y="221"/>
                  </a:lnTo>
                  <a:lnTo>
                    <a:pt x="7" y="221"/>
                  </a:lnTo>
                  <a:lnTo>
                    <a:pt x="6" y="222"/>
                  </a:lnTo>
                  <a:lnTo>
                    <a:pt x="5" y="222"/>
                  </a:lnTo>
                  <a:lnTo>
                    <a:pt x="4" y="221"/>
                  </a:lnTo>
                  <a:lnTo>
                    <a:pt x="3" y="221"/>
                  </a:lnTo>
                  <a:lnTo>
                    <a:pt x="2" y="221"/>
                  </a:lnTo>
                  <a:lnTo>
                    <a:pt x="2" y="221"/>
                  </a:lnTo>
                  <a:lnTo>
                    <a:pt x="1" y="220"/>
                  </a:lnTo>
                  <a:lnTo>
                    <a:pt x="1" y="220"/>
                  </a:lnTo>
                  <a:lnTo>
                    <a:pt x="1" y="220"/>
                  </a:lnTo>
                  <a:lnTo>
                    <a:pt x="1" y="219"/>
                  </a:lnTo>
                  <a:lnTo>
                    <a:pt x="0" y="217"/>
                  </a:lnTo>
                  <a:lnTo>
                    <a:pt x="0" y="216"/>
                  </a:lnTo>
                  <a:lnTo>
                    <a:pt x="0" y="215"/>
                  </a:lnTo>
                  <a:lnTo>
                    <a:pt x="0" y="214"/>
                  </a:lnTo>
                  <a:lnTo>
                    <a:pt x="1" y="213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2" y="211"/>
                  </a:lnTo>
                  <a:lnTo>
                    <a:pt x="2" y="211"/>
                  </a:lnTo>
                  <a:lnTo>
                    <a:pt x="4" y="209"/>
                  </a:lnTo>
                  <a:lnTo>
                    <a:pt x="4" y="209"/>
                  </a:lnTo>
                  <a:lnTo>
                    <a:pt x="5" y="208"/>
                  </a:lnTo>
                  <a:lnTo>
                    <a:pt x="6" y="207"/>
                  </a:lnTo>
                  <a:lnTo>
                    <a:pt x="6" y="206"/>
                  </a:lnTo>
                  <a:lnTo>
                    <a:pt x="7" y="205"/>
                  </a:lnTo>
                  <a:lnTo>
                    <a:pt x="9" y="201"/>
                  </a:lnTo>
                  <a:lnTo>
                    <a:pt x="10" y="200"/>
                  </a:lnTo>
                  <a:lnTo>
                    <a:pt x="11" y="199"/>
                  </a:lnTo>
                  <a:lnTo>
                    <a:pt x="11" y="197"/>
                  </a:lnTo>
                  <a:lnTo>
                    <a:pt x="12" y="197"/>
                  </a:lnTo>
                  <a:lnTo>
                    <a:pt x="13" y="196"/>
                  </a:lnTo>
                  <a:lnTo>
                    <a:pt x="14" y="196"/>
                  </a:lnTo>
                  <a:lnTo>
                    <a:pt x="16" y="194"/>
                  </a:lnTo>
                  <a:lnTo>
                    <a:pt x="18" y="192"/>
                  </a:lnTo>
                  <a:lnTo>
                    <a:pt x="20" y="191"/>
                  </a:lnTo>
                  <a:lnTo>
                    <a:pt x="20" y="191"/>
                  </a:lnTo>
                  <a:lnTo>
                    <a:pt x="20" y="190"/>
                  </a:lnTo>
                  <a:lnTo>
                    <a:pt x="21" y="189"/>
                  </a:lnTo>
                  <a:lnTo>
                    <a:pt x="21" y="188"/>
                  </a:lnTo>
                  <a:lnTo>
                    <a:pt x="22" y="187"/>
                  </a:lnTo>
                  <a:lnTo>
                    <a:pt x="22" y="186"/>
                  </a:lnTo>
                  <a:lnTo>
                    <a:pt x="23" y="184"/>
                  </a:lnTo>
                  <a:lnTo>
                    <a:pt x="23" y="183"/>
                  </a:lnTo>
                  <a:lnTo>
                    <a:pt x="24" y="182"/>
                  </a:lnTo>
                  <a:lnTo>
                    <a:pt x="24" y="181"/>
                  </a:lnTo>
                  <a:lnTo>
                    <a:pt x="24" y="180"/>
                  </a:lnTo>
                  <a:lnTo>
                    <a:pt x="24" y="179"/>
                  </a:lnTo>
                  <a:lnTo>
                    <a:pt x="24" y="178"/>
                  </a:lnTo>
                  <a:lnTo>
                    <a:pt x="24" y="177"/>
                  </a:lnTo>
                  <a:lnTo>
                    <a:pt x="23" y="177"/>
                  </a:lnTo>
                  <a:lnTo>
                    <a:pt x="23" y="176"/>
                  </a:lnTo>
                  <a:lnTo>
                    <a:pt x="23" y="176"/>
                  </a:lnTo>
                  <a:lnTo>
                    <a:pt x="22" y="175"/>
                  </a:lnTo>
                  <a:lnTo>
                    <a:pt x="22" y="175"/>
                  </a:lnTo>
                  <a:lnTo>
                    <a:pt x="21" y="175"/>
                  </a:lnTo>
                  <a:lnTo>
                    <a:pt x="20" y="175"/>
                  </a:lnTo>
                  <a:lnTo>
                    <a:pt x="19" y="175"/>
                  </a:lnTo>
                  <a:lnTo>
                    <a:pt x="18" y="175"/>
                  </a:lnTo>
                  <a:lnTo>
                    <a:pt x="16" y="175"/>
                  </a:lnTo>
                  <a:lnTo>
                    <a:pt x="14" y="175"/>
                  </a:lnTo>
                  <a:lnTo>
                    <a:pt x="13" y="175"/>
                  </a:lnTo>
                  <a:lnTo>
                    <a:pt x="12" y="175"/>
                  </a:lnTo>
                  <a:lnTo>
                    <a:pt x="12" y="175"/>
                  </a:lnTo>
                  <a:lnTo>
                    <a:pt x="11" y="175"/>
                  </a:lnTo>
                  <a:lnTo>
                    <a:pt x="11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1" y="170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1" y="168"/>
                  </a:lnTo>
                  <a:lnTo>
                    <a:pt x="10" y="165"/>
                  </a:lnTo>
                  <a:lnTo>
                    <a:pt x="8" y="161"/>
                  </a:lnTo>
                  <a:lnTo>
                    <a:pt x="7" y="159"/>
                  </a:lnTo>
                  <a:lnTo>
                    <a:pt x="7" y="158"/>
                  </a:lnTo>
                  <a:lnTo>
                    <a:pt x="6" y="157"/>
                  </a:lnTo>
                  <a:lnTo>
                    <a:pt x="6" y="156"/>
                  </a:lnTo>
                  <a:lnTo>
                    <a:pt x="6" y="152"/>
                  </a:lnTo>
                  <a:lnTo>
                    <a:pt x="6" y="151"/>
                  </a:lnTo>
                  <a:lnTo>
                    <a:pt x="6" y="149"/>
                  </a:lnTo>
                  <a:lnTo>
                    <a:pt x="5" y="146"/>
                  </a:lnTo>
                  <a:lnTo>
                    <a:pt x="5" y="145"/>
                  </a:lnTo>
                  <a:lnTo>
                    <a:pt x="5" y="144"/>
                  </a:lnTo>
                  <a:lnTo>
                    <a:pt x="5" y="143"/>
                  </a:lnTo>
                  <a:lnTo>
                    <a:pt x="5" y="142"/>
                  </a:lnTo>
                  <a:lnTo>
                    <a:pt x="6" y="141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7" y="136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5" y="129"/>
                  </a:lnTo>
                  <a:lnTo>
                    <a:pt x="15" y="128"/>
                  </a:lnTo>
                  <a:lnTo>
                    <a:pt x="16" y="128"/>
                  </a:lnTo>
                  <a:lnTo>
                    <a:pt x="17" y="125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19" y="123"/>
                  </a:lnTo>
                  <a:lnTo>
                    <a:pt x="20" y="122"/>
                  </a:lnTo>
                  <a:lnTo>
                    <a:pt x="21" y="122"/>
                  </a:lnTo>
                  <a:lnTo>
                    <a:pt x="21" y="122"/>
                  </a:lnTo>
                  <a:lnTo>
                    <a:pt x="22" y="121"/>
                  </a:lnTo>
                  <a:lnTo>
                    <a:pt x="23" y="121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32" y="120"/>
                  </a:lnTo>
                  <a:lnTo>
                    <a:pt x="33" y="119"/>
                  </a:lnTo>
                  <a:lnTo>
                    <a:pt x="35" y="119"/>
                  </a:lnTo>
                  <a:lnTo>
                    <a:pt x="39" y="119"/>
                  </a:lnTo>
                  <a:lnTo>
                    <a:pt x="40" y="118"/>
                  </a:lnTo>
                  <a:lnTo>
                    <a:pt x="44" y="118"/>
                  </a:lnTo>
                  <a:lnTo>
                    <a:pt x="44" y="118"/>
                  </a:lnTo>
                  <a:lnTo>
                    <a:pt x="45" y="118"/>
                  </a:lnTo>
                  <a:lnTo>
                    <a:pt x="46" y="118"/>
                  </a:lnTo>
                  <a:lnTo>
                    <a:pt x="47" y="118"/>
                  </a:lnTo>
                  <a:lnTo>
                    <a:pt x="47" y="117"/>
                  </a:lnTo>
                  <a:lnTo>
                    <a:pt x="48" y="117"/>
                  </a:lnTo>
                  <a:lnTo>
                    <a:pt x="49" y="116"/>
                  </a:lnTo>
                  <a:lnTo>
                    <a:pt x="50" y="116"/>
                  </a:lnTo>
                  <a:lnTo>
                    <a:pt x="50" y="115"/>
                  </a:lnTo>
                  <a:lnTo>
                    <a:pt x="51" y="114"/>
                  </a:lnTo>
                  <a:lnTo>
                    <a:pt x="52" y="113"/>
                  </a:lnTo>
                  <a:lnTo>
                    <a:pt x="54" y="110"/>
                  </a:lnTo>
                  <a:lnTo>
                    <a:pt x="56" y="108"/>
                  </a:lnTo>
                  <a:lnTo>
                    <a:pt x="58" y="105"/>
                  </a:lnTo>
                  <a:lnTo>
                    <a:pt x="59" y="104"/>
                  </a:lnTo>
                  <a:lnTo>
                    <a:pt x="59" y="103"/>
                  </a:lnTo>
                  <a:lnTo>
                    <a:pt x="60" y="103"/>
                  </a:lnTo>
                  <a:lnTo>
                    <a:pt x="61" y="102"/>
                  </a:lnTo>
                  <a:lnTo>
                    <a:pt x="63" y="100"/>
                  </a:lnTo>
                  <a:lnTo>
                    <a:pt x="65" y="98"/>
                  </a:lnTo>
                  <a:lnTo>
                    <a:pt x="66" y="97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5"/>
                  </a:lnTo>
                  <a:lnTo>
                    <a:pt x="67" y="94"/>
                  </a:lnTo>
                  <a:lnTo>
                    <a:pt x="67" y="93"/>
                  </a:lnTo>
                  <a:lnTo>
                    <a:pt x="67" y="92"/>
                  </a:lnTo>
                  <a:lnTo>
                    <a:pt x="67" y="91"/>
                  </a:lnTo>
                  <a:lnTo>
                    <a:pt x="67" y="90"/>
                  </a:lnTo>
                  <a:lnTo>
                    <a:pt x="66" y="88"/>
                  </a:lnTo>
                  <a:lnTo>
                    <a:pt x="65" y="86"/>
                  </a:lnTo>
                  <a:lnTo>
                    <a:pt x="64" y="85"/>
                  </a:lnTo>
                  <a:lnTo>
                    <a:pt x="64" y="83"/>
                  </a:lnTo>
                  <a:lnTo>
                    <a:pt x="63" y="82"/>
                  </a:lnTo>
                  <a:lnTo>
                    <a:pt x="63" y="80"/>
                  </a:lnTo>
                  <a:lnTo>
                    <a:pt x="63" y="79"/>
                  </a:lnTo>
                  <a:lnTo>
                    <a:pt x="63" y="78"/>
                  </a:lnTo>
                  <a:lnTo>
                    <a:pt x="63" y="77"/>
                  </a:lnTo>
                  <a:lnTo>
                    <a:pt x="64" y="76"/>
                  </a:lnTo>
                  <a:lnTo>
                    <a:pt x="64" y="75"/>
                  </a:lnTo>
                  <a:lnTo>
                    <a:pt x="65" y="73"/>
                  </a:lnTo>
                  <a:lnTo>
                    <a:pt x="67" y="69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70" y="66"/>
                  </a:lnTo>
                  <a:lnTo>
                    <a:pt x="71" y="66"/>
                  </a:lnTo>
                  <a:lnTo>
                    <a:pt x="71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3" y="66"/>
                  </a:lnTo>
                  <a:lnTo>
                    <a:pt x="73" y="67"/>
                  </a:lnTo>
                  <a:lnTo>
                    <a:pt x="74" y="67"/>
                  </a:lnTo>
                  <a:lnTo>
                    <a:pt x="74" y="68"/>
                  </a:lnTo>
                  <a:lnTo>
                    <a:pt x="74" y="69"/>
                  </a:lnTo>
                  <a:lnTo>
                    <a:pt x="75" y="69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4"/>
                  </a:lnTo>
                  <a:lnTo>
                    <a:pt x="76" y="75"/>
                  </a:lnTo>
                  <a:lnTo>
                    <a:pt x="76" y="75"/>
                  </a:lnTo>
                  <a:lnTo>
                    <a:pt x="76" y="76"/>
                  </a:lnTo>
                  <a:lnTo>
                    <a:pt x="77" y="76"/>
                  </a:lnTo>
                  <a:lnTo>
                    <a:pt x="77" y="77"/>
                  </a:lnTo>
                  <a:lnTo>
                    <a:pt x="78" y="77"/>
                  </a:lnTo>
                  <a:lnTo>
                    <a:pt x="78" y="77"/>
                  </a:lnTo>
                  <a:lnTo>
                    <a:pt x="81" y="77"/>
                  </a:lnTo>
                  <a:lnTo>
                    <a:pt x="82" y="77"/>
                  </a:lnTo>
                  <a:lnTo>
                    <a:pt x="83" y="78"/>
                  </a:lnTo>
                  <a:lnTo>
                    <a:pt x="85" y="78"/>
                  </a:lnTo>
                  <a:lnTo>
                    <a:pt x="87" y="79"/>
                  </a:lnTo>
                  <a:lnTo>
                    <a:pt x="89" y="79"/>
                  </a:lnTo>
                  <a:lnTo>
                    <a:pt x="91" y="80"/>
                  </a:lnTo>
                  <a:lnTo>
                    <a:pt x="93" y="80"/>
                  </a:lnTo>
                  <a:lnTo>
                    <a:pt x="94" y="80"/>
                  </a:lnTo>
                  <a:lnTo>
                    <a:pt x="95" y="80"/>
                  </a:lnTo>
                  <a:lnTo>
                    <a:pt x="96" y="80"/>
                  </a:lnTo>
                  <a:lnTo>
                    <a:pt x="97" y="80"/>
                  </a:lnTo>
                  <a:lnTo>
                    <a:pt x="97" y="81"/>
                  </a:lnTo>
                  <a:lnTo>
                    <a:pt x="98" y="81"/>
                  </a:lnTo>
                  <a:lnTo>
                    <a:pt x="99" y="82"/>
                  </a:lnTo>
                  <a:lnTo>
                    <a:pt x="100" y="83"/>
                  </a:lnTo>
                  <a:lnTo>
                    <a:pt x="103" y="85"/>
                  </a:lnTo>
                  <a:lnTo>
                    <a:pt x="104" y="86"/>
                  </a:lnTo>
                  <a:lnTo>
                    <a:pt x="105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7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11" y="83"/>
                  </a:lnTo>
                  <a:lnTo>
                    <a:pt x="112" y="82"/>
                  </a:lnTo>
                  <a:lnTo>
                    <a:pt x="112" y="81"/>
                  </a:lnTo>
                  <a:lnTo>
                    <a:pt x="113" y="79"/>
                  </a:lnTo>
                  <a:lnTo>
                    <a:pt x="114" y="78"/>
                  </a:lnTo>
                  <a:lnTo>
                    <a:pt x="114" y="77"/>
                  </a:lnTo>
                  <a:lnTo>
                    <a:pt x="115" y="77"/>
                  </a:lnTo>
                  <a:lnTo>
                    <a:pt x="115" y="76"/>
                  </a:lnTo>
                  <a:lnTo>
                    <a:pt x="115" y="74"/>
                  </a:lnTo>
                  <a:lnTo>
                    <a:pt x="116" y="72"/>
                  </a:lnTo>
                  <a:lnTo>
                    <a:pt x="116" y="71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8" y="69"/>
                  </a:lnTo>
                  <a:lnTo>
                    <a:pt x="121" y="68"/>
                  </a:lnTo>
                  <a:lnTo>
                    <a:pt x="123" y="67"/>
                  </a:lnTo>
                  <a:lnTo>
                    <a:pt x="125" y="67"/>
                  </a:lnTo>
                  <a:lnTo>
                    <a:pt x="126" y="66"/>
                  </a:lnTo>
                  <a:lnTo>
                    <a:pt x="128" y="66"/>
                  </a:lnTo>
                  <a:lnTo>
                    <a:pt x="130" y="66"/>
                  </a:lnTo>
                  <a:lnTo>
                    <a:pt x="132" y="66"/>
                  </a:lnTo>
                  <a:lnTo>
                    <a:pt x="133" y="66"/>
                  </a:lnTo>
                  <a:lnTo>
                    <a:pt x="135" y="66"/>
                  </a:lnTo>
                  <a:lnTo>
                    <a:pt x="136" y="66"/>
                  </a:lnTo>
                  <a:lnTo>
                    <a:pt x="137" y="66"/>
                  </a:lnTo>
                  <a:lnTo>
                    <a:pt x="138" y="66"/>
                  </a:lnTo>
                  <a:lnTo>
                    <a:pt x="138" y="67"/>
                  </a:lnTo>
                  <a:lnTo>
                    <a:pt x="140" y="67"/>
                  </a:lnTo>
                  <a:lnTo>
                    <a:pt x="141" y="68"/>
                  </a:lnTo>
                  <a:lnTo>
                    <a:pt x="142" y="68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44" y="68"/>
                  </a:lnTo>
                  <a:lnTo>
                    <a:pt x="145" y="68"/>
                  </a:lnTo>
                  <a:lnTo>
                    <a:pt x="146" y="68"/>
                  </a:lnTo>
                  <a:lnTo>
                    <a:pt x="147" y="68"/>
                  </a:lnTo>
                  <a:lnTo>
                    <a:pt x="148" y="68"/>
                  </a:lnTo>
                  <a:lnTo>
                    <a:pt x="149" y="67"/>
                  </a:lnTo>
                  <a:lnTo>
                    <a:pt x="150" y="67"/>
                  </a:lnTo>
                  <a:lnTo>
                    <a:pt x="150" y="67"/>
                  </a:lnTo>
                  <a:lnTo>
                    <a:pt x="151" y="66"/>
                  </a:lnTo>
                  <a:lnTo>
                    <a:pt x="152" y="65"/>
                  </a:lnTo>
                  <a:lnTo>
                    <a:pt x="152" y="65"/>
                  </a:lnTo>
                  <a:lnTo>
                    <a:pt x="153" y="64"/>
                  </a:lnTo>
                  <a:lnTo>
                    <a:pt x="154" y="63"/>
                  </a:lnTo>
                  <a:lnTo>
                    <a:pt x="154" y="62"/>
                  </a:lnTo>
                  <a:lnTo>
                    <a:pt x="154" y="61"/>
                  </a:lnTo>
                  <a:lnTo>
                    <a:pt x="155" y="60"/>
                  </a:lnTo>
                  <a:lnTo>
                    <a:pt x="155" y="60"/>
                  </a:lnTo>
                  <a:lnTo>
                    <a:pt x="155" y="59"/>
                  </a:lnTo>
                  <a:lnTo>
                    <a:pt x="155" y="58"/>
                  </a:lnTo>
                  <a:lnTo>
                    <a:pt x="154" y="57"/>
                  </a:lnTo>
                  <a:lnTo>
                    <a:pt x="154" y="56"/>
                  </a:lnTo>
                  <a:lnTo>
                    <a:pt x="153" y="54"/>
                  </a:lnTo>
                  <a:lnTo>
                    <a:pt x="151" y="50"/>
                  </a:lnTo>
                  <a:lnTo>
                    <a:pt x="151" y="49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52" y="46"/>
                  </a:lnTo>
                  <a:lnTo>
                    <a:pt x="152" y="46"/>
                  </a:lnTo>
                  <a:lnTo>
                    <a:pt x="153" y="46"/>
                  </a:lnTo>
                  <a:lnTo>
                    <a:pt x="154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6" y="46"/>
                  </a:lnTo>
                  <a:lnTo>
                    <a:pt x="157" y="46"/>
                  </a:lnTo>
                  <a:lnTo>
                    <a:pt x="158" y="46"/>
                  </a:lnTo>
                  <a:lnTo>
                    <a:pt x="159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1" y="46"/>
                  </a:lnTo>
                  <a:lnTo>
                    <a:pt x="161" y="45"/>
                  </a:lnTo>
                  <a:lnTo>
                    <a:pt x="161" y="45"/>
                  </a:lnTo>
                  <a:lnTo>
                    <a:pt x="162" y="45"/>
                  </a:lnTo>
                  <a:lnTo>
                    <a:pt x="163" y="42"/>
                  </a:lnTo>
                  <a:lnTo>
                    <a:pt x="164" y="41"/>
                  </a:lnTo>
                  <a:lnTo>
                    <a:pt x="164" y="41"/>
                  </a:lnTo>
                  <a:lnTo>
                    <a:pt x="165" y="41"/>
                  </a:lnTo>
                  <a:lnTo>
                    <a:pt x="166" y="40"/>
                  </a:lnTo>
                  <a:lnTo>
                    <a:pt x="166" y="40"/>
                  </a:lnTo>
                  <a:lnTo>
                    <a:pt x="167" y="40"/>
                  </a:lnTo>
                  <a:lnTo>
                    <a:pt x="168" y="40"/>
                  </a:lnTo>
                  <a:lnTo>
                    <a:pt x="169" y="40"/>
                  </a:lnTo>
                  <a:lnTo>
                    <a:pt x="170" y="41"/>
                  </a:lnTo>
                  <a:lnTo>
                    <a:pt x="171" y="41"/>
                  </a:lnTo>
                  <a:lnTo>
                    <a:pt x="172" y="42"/>
                  </a:lnTo>
                  <a:lnTo>
                    <a:pt x="173" y="43"/>
                  </a:lnTo>
                  <a:lnTo>
                    <a:pt x="174" y="44"/>
                  </a:lnTo>
                  <a:lnTo>
                    <a:pt x="176" y="46"/>
                  </a:lnTo>
                  <a:lnTo>
                    <a:pt x="176" y="46"/>
                  </a:lnTo>
                  <a:lnTo>
                    <a:pt x="177" y="47"/>
                  </a:lnTo>
                  <a:lnTo>
                    <a:pt x="178" y="47"/>
                  </a:lnTo>
                  <a:lnTo>
                    <a:pt x="179" y="48"/>
                  </a:lnTo>
                  <a:lnTo>
                    <a:pt x="180" y="48"/>
                  </a:lnTo>
                  <a:lnTo>
                    <a:pt x="181" y="49"/>
                  </a:lnTo>
                  <a:lnTo>
                    <a:pt x="182" y="49"/>
                  </a:lnTo>
                  <a:lnTo>
                    <a:pt x="184" y="49"/>
                  </a:lnTo>
                  <a:lnTo>
                    <a:pt x="185" y="49"/>
                  </a:lnTo>
                  <a:lnTo>
                    <a:pt x="186" y="49"/>
                  </a:lnTo>
                  <a:lnTo>
                    <a:pt x="188" y="49"/>
                  </a:lnTo>
                  <a:lnTo>
                    <a:pt x="191" y="48"/>
                  </a:lnTo>
                  <a:lnTo>
                    <a:pt x="192" y="47"/>
                  </a:lnTo>
                  <a:lnTo>
                    <a:pt x="192" y="47"/>
                  </a:lnTo>
                  <a:lnTo>
                    <a:pt x="193" y="47"/>
                  </a:lnTo>
                  <a:lnTo>
                    <a:pt x="193" y="46"/>
                  </a:lnTo>
                  <a:lnTo>
                    <a:pt x="194" y="46"/>
                  </a:lnTo>
                  <a:lnTo>
                    <a:pt x="194" y="45"/>
                  </a:lnTo>
                  <a:lnTo>
                    <a:pt x="195" y="45"/>
                  </a:lnTo>
                  <a:lnTo>
                    <a:pt x="196" y="42"/>
                  </a:lnTo>
                  <a:lnTo>
                    <a:pt x="197" y="39"/>
                  </a:lnTo>
                  <a:lnTo>
                    <a:pt x="198" y="36"/>
                  </a:lnTo>
                  <a:lnTo>
                    <a:pt x="199" y="35"/>
                  </a:lnTo>
                  <a:lnTo>
                    <a:pt x="199" y="33"/>
                  </a:lnTo>
                  <a:lnTo>
                    <a:pt x="199" y="32"/>
                  </a:lnTo>
                  <a:lnTo>
                    <a:pt x="199" y="31"/>
                  </a:lnTo>
                  <a:lnTo>
                    <a:pt x="199" y="28"/>
                  </a:lnTo>
                  <a:lnTo>
                    <a:pt x="200" y="27"/>
                  </a:lnTo>
                  <a:lnTo>
                    <a:pt x="200" y="27"/>
                  </a:lnTo>
                  <a:lnTo>
                    <a:pt x="200" y="26"/>
                  </a:lnTo>
                  <a:lnTo>
                    <a:pt x="200" y="25"/>
                  </a:lnTo>
                  <a:lnTo>
                    <a:pt x="201" y="25"/>
                  </a:lnTo>
                  <a:lnTo>
                    <a:pt x="203" y="23"/>
                  </a:lnTo>
                  <a:lnTo>
                    <a:pt x="204" y="21"/>
                  </a:lnTo>
                  <a:lnTo>
                    <a:pt x="205" y="20"/>
                  </a:lnTo>
                  <a:lnTo>
                    <a:pt x="206" y="19"/>
                  </a:lnTo>
                  <a:lnTo>
                    <a:pt x="208" y="18"/>
                  </a:lnTo>
                  <a:lnTo>
                    <a:pt x="209" y="17"/>
                  </a:lnTo>
                  <a:lnTo>
                    <a:pt x="210" y="17"/>
                  </a:lnTo>
                  <a:lnTo>
                    <a:pt x="210" y="16"/>
                  </a:lnTo>
                  <a:lnTo>
                    <a:pt x="211" y="15"/>
                  </a:lnTo>
                  <a:lnTo>
                    <a:pt x="211" y="15"/>
                  </a:lnTo>
                  <a:lnTo>
                    <a:pt x="212" y="13"/>
                  </a:lnTo>
                  <a:lnTo>
                    <a:pt x="213" y="12"/>
                  </a:lnTo>
                  <a:lnTo>
                    <a:pt x="214" y="11"/>
                  </a:lnTo>
                  <a:lnTo>
                    <a:pt x="214" y="10"/>
                  </a:lnTo>
                  <a:lnTo>
                    <a:pt x="214" y="10"/>
                  </a:lnTo>
                  <a:lnTo>
                    <a:pt x="215" y="10"/>
                  </a:lnTo>
                  <a:lnTo>
                    <a:pt x="216" y="10"/>
                  </a:lnTo>
                  <a:lnTo>
                    <a:pt x="217" y="10"/>
                  </a:lnTo>
                  <a:lnTo>
                    <a:pt x="218" y="11"/>
                  </a:lnTo>
                  <a:lnTo>
                    <a:pt x="221" y="11"/>
                  </a:lnTo>
                  <a:lnTo>
                    <a:pt x="223" y="12"/>
                  </a:lnTo>
                  <a:lnTo>
                    <a:pt x="224" y="12"/>
                  </a:lnTo>
                  <a:lnTo>
                    <a:pt x="225" y="12"/>
                  </a:lnTo>
                  <a:lnTo>
                    <a:pt x="225" y="12"/>
                  </a:lnTo>
                  <a:lnTo>
                    <a:pt x="226" y="12"/>
                  </a:lnTo>
                  <a:lnTo>
                    <a:pt x="227" y="12"/>
                  </a:lnTo>
                  <a:lnTo>
                    <a:pt x="227" y="12"/>
                  </a:lnTo>
                  <a:lnTo>
                    <a:pt x="228" y="11"/>
                  </a:lnTo>
                  <a:lnTo>
                    <a:pt x="228" y="11"/>
                  </a:lnTo>
                  <a:lnTo>
                    <a:pt x="229" y="11"/>
                  </a:lnTo>
                  <a:lnTo>
                    <a:pt x="230" y="10"/>
                  </a:lnTo>
                  <a:lnTo>
                    <a:pt x="230" y="10"/>
                  </a:lnTo>
                  <a:lnTo>
                    <a:pt x="231" y="9"/>
                  </a:lnTo>
                  <a:lnTo>
                    <a:pt x="231" y="8"/>
                  </a:lnTo>
                  <a:lnTo>
                    <a:pt x="232" y="7"/>
                  </a:lnTo>
                  <a:lnTo>
                    <a:pt x="233" y="5"/>
                  </a:lnTo>
                  <a:lnTo>
                    <a:pt x="234" y="4"/>
                  </a:lnTo>
                  <a:lnTo>
                    <a:pt x="234" y="3"/>
                  </a:lnTo>
                  <a:lnTo>
                    <a:pt x="235" y="2"/>
                  </a:lnTo>
                  <a:lnTo>
                    <a:pt x="235" y="2"/>
                  </a:lnTo>
                  <a:lnTo>
                    <a:pt x="235" y="1"/>
                  </a:lnTo>
                  <a:lnTo>
                    <a:pt x="235" y="1"/>
                  </a:lnTo>
                  <a:lnTo>
                    <a:pt x="235" y="0"/>
                  </a:lnTo>
                  <a:lnTo>
                    <a:pt x="236" y="1"/>
                  </a:lnTo>
                  <a:lnTo>
                    <a:pt x="236" y="1"/>
                  </a:lnTo>
                  <a:lnTo>
                    <a:pt x="238" y="0"/>
                  </a:lnTo>
                  <a:lnTo>
                    <a:pt x="238" y="0"/>
                  </a:lnTo>
                  <a:lnTo>
                    <a:pt x="239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1" y="0"/>
                  </a:lnTo>
                  <a:close/>
                </a:path>
              </a:pathLst>
            </a:custGeom>
            <a:solidFill>
              <a:srgbClr val="CCCCCC"/>
            </a:solidFill>
            <a:ln w="63500">
              <a:solidFill>
                <a:srgbClr val="CCCCC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9" name="Freeform 38">
              <a:extLst>
                <a:ext uri="{FF2B5EF4-FFF2-40B4-BE49-F238E27FC236}">
                  <a16:creationId xmlns:a16="http://schemas.microsoft.com/office/drawing/2014/main" id="{D9F55AFD-52CD-E032-4AEB-8C65A41A6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192"/>
              <a:ext cx="516" cy="419"/>
            </a:xfrm>
            <a:custGeom>
              <a:avLst/>
              <a:gdLst>
                <a:gd name="T0" fmla="*/ 169 w 516"/>
                <a:gd name="T1" fmla="*/ 9 h 419"/>
                <a:gd name="T2" fmla="*/ 172 w 516"/>
                <a:gd name="T3" fmla="*/ 35 h 419"/>
                <a:gd name="T4" fmla="*/ 169 w 516"/>
                <a:gd name="T5" fmla="*/ 53 h 419"/>
                <a:gd name="T6" fmla="*/ 134 w 516"/>
                <a:gd name="T7" fmla="*/ 70 h 419"/>
                <a:gd name="T8" fmla="*/ 139 w 516"/>
                <a:gd name="T9" fmla="*/ 88 h 419"/>
                <a:gd name="T10" fmla="*/ 161 w 516"/>
                <a:gd name="T11" fmla="*/ 97 h 419"/>
                <a:gd name="T12" fmla="*/ 182 w 516"/>
                <a:gd name="T13" fmla="*/ 131 h 419"/>
                <a:gd name="T14" fmla="*/ 204 w 516"/>
                <a:gd name="T15" fmla="*/ 152 h 419"/>
                <a:gd name="T16" fmla="*/ 235 w 516"/>
                <a:gd name="T17" fmla="*/ 147 h 419"/>
                <a:gd name="T18" fmla="*/ 263 w 516"/>
                <a:gd name="T19" fmla="*/ 138 h 419"/>
                <a:gd name="T20" fmla="*/ 254 w 516"/>
                <a:gd name="T21" fmla="*/ 127 h 419"/>
                <a:gd name="T22" fmla="*/ 262 w 516"/>
                <a:gd name="T23" fmla="*/ 116 h 419"/>
                <a:gd name="T24" fmla="*/ 284 w 516"/>
                <a:gd name="T25" fmla="*/ 143 h 419"/>
                <a:gd name="T26" fmla="*/ 305 w 516"/>
                <a:gd name="T27" fmla="*/ 144 h 419"/>
                <a:gd name="T28" fmla="*/ 326 w 516"/>
                <a:gd name="T29" fmla="*/ 157 h 419"/>
                <a:gd name="T30" fmla="*/ 343 w 516"/>
                <a:gd name="T31" fmla="*/ 176 h 419"/>
                <a:gd name="T32" fmla="*/ 354 w 516"/>
                <a:gd name="T33" fmla="*/ 167 h 419"/>
                <a:gd name="T34" fmla="*/ 388 w 516"/>
                <a:gd name="T35" fmla="*/ 175 h 419"/>
                <a:gd name="T36" fmla="*/ 413 w 516"/>
                <a:gd name="T37" fmla="*/ 181 h 419"/>
                <a:gd name="T38" fmla="*/ 423 w 516"/>
                <a:gd name="T39" fmla="*/ 178 h 419"/>
                <a:gd name="T40" fmla="*/ 430 w 516"/>
                <a:gd name="T41" fmla="*/ 200 h 419"/>
                <a:gd name="T42" fmla="*/ 429 w 516"/>
                <a:gd name="T43" fmla="*/ 225 h 419"/>
                <a:gd name="T44" fmla="*/ 449 w 516"/>
                <a:gd name="T45" fmla="*/ 269 h 419"/>
                <a:gd name="T46" fmla="*/ 479 w 516"/>
                <a:gd name="T47" fmla="*/ 282 h 419"/>
                <a:gd name="T48" fmla="*/ 499 w 516"/>
                <a:gd name="T49" fmla="*/ 288 h 419"/>
                <a:gd name="T50" fmla="*/ 516 w 516"/>
                <a:gd name="T51" fmla="*/ 341 h 419"/>
                <a:gd name="T52" fmla="*/ 499 w 516"/>
                <a:gd name="T53" fmla="*/ 362 h 419"/>
                <a:gd name="T54" fmla="*/ 463 w 516"/>
                <a:gd name="T55" fmla="*/ 366 h 419"/>
                <a:gd name="T56" fmla="*/ 431 w 516"/>
                <a:gd name="T57" fmla="*/ 366 h 419"/>
                <a:gd name="T58" fmla="*/ 422 w 516"/>
                <a:gd name="T59" fmla="*/ 385 h 419"/>
                <a:gd name="T60" fmla="*/ 395 w 516"/>
                <a:gd name="T61" fmla="*/ 418 h 419"/>
                <a:gd name="T62" fmla="*/ 376 w 516"/>
                <a:gd name="T63" fmla="*/ 413 h 419"/>
                <a:gd name="T64" fmla="*/ 354 w 516"/>
                <a:gd name="T65" fmla="*/ 386 h 419"/>
                <a:gd name="T66" fmla="*/ 329 w 516"/>
                <a:gd name="T67" fmla="*/ 378 h 419"/>
                <a:gd name="T68" fmla="*/ 293 w 516"/>
                <a:gd name="T69" fmla="*/ 367 h 419"/>
                <a:gd name="T70" fmla="*/ 255 w 516"/>
                <a:gd name="T71" fmla="*/ 366 h 419"/>
                <a:gd name="T72" fmla="*/ 234 w 516"/>
                <a:gd name="T73" fmla="*/ 359 h 419"/>
                <a:gd name="T74" fmla="*/ 218 w 516"/>
                <a:gd name="T75" fmla="*/ 353 h 419"/>
                <a:gd name="T76" fmla="*/ 215 w 516"/>
                <a:gd name="T77" fmla="*/ 340 h 419"/>
                <a:gd name="T78" fmla="*/ 183 w 516"/>
                <a:gd name="T79" fmla="*/ 303 h 419"/>
                <a:gd name="T80" fmla="*/ 169 w 516"/>
                <a:gd name="T81" fmla="*/ 300 h 419"/>
                <a:gd name="T82" fmla="*/ 164 w 516"/>
                <a:gd name="T83" fmla="*/ 274 h 419"/>
                <a:gd name="T84" fmla="*/ 153 w 516"/>
                <a:gd name="T85" fmla="*/ 260 h 419"/>
                <a:gd name="T86" fmla="*/ 120 w 516"/>
                <a:gd name="T87" fmla="*/ 257 h 419"/>
                <a:gd name="T88" fmla="*/ 104 w 516"/>
                <a:gd name="T89" fmla="*/ 237 h 419"/>
                <a:gd name="T90" fmla="*/ 94 w 516"/>
                <a:gd name="T91" fmla="*/ 211 h 419"/>
                <a:gd name="T92" fmla="*/ 89 w 516"/>
                <a:gd name="T93" fmla="*/ 229 h 419"/>
                <a:gd name="T94" fmla="*/ 77 w 516"/>
                <a:gd name="T95" fmla="*/ 236 h 419"/>
                <a:gd name="T96" fmla="*/ 64 w 516"/>
                <a:gd name="T97" fmla="*/ 238 h 419"/>
                <a:gd name="T98" fmla="*/ 60 w 516"/>
                <a:gd name="T99" fmla="*/ 217 h 419"/>
                <a:gd name="T100" fmla="*/ 33 w 516"/>
                <a:gd name="T101" fmla="*/ 234 h 419"/>
                <a:gd name="T102" fmla="*/ 20 w 516"/>
                <a:gd name="T103" fmla="*/ 223 h 419"/>
                <a:gd name="T104" fmla="*/ 5 w 516"/>
                <a:gd name="T105" fmla="*/ 217 h 419"/>
                <a:gd name="T106" fmla="*/ 4 w 516"/>
                <a:gd name="T107" fmla="*/ 193 h 419"/>
                <a:gd name="T108" fmla="*/ 11 w 516"/>
                <a:gd name="T109" fmla="*/ 172 h 419"/>
                <a:gd name="T110" fmla="*/ 6 w 516"/>
                <a:gd name="T111" fmla="*/ 145 h 419"/>
                <a:gd name="T112" fmla="*/ 20 w 516"/>
                <a:gd name="T113" fmla="*/ 105 h 419"/>
                <a:gd name="T114" fmla="*/ 40 w 516"/>
                <a:gd name="T115" fmla="*/ 71 h 419"/>
                <a:gd name="T116" fmla="*/ 66 w 516"/>
                <a:gd name="T117" fmla="*/ 52 h 419"/>
                <a:gd name="T118" fmla="*/ 77 w 516"/>
                <a:gd name="T119" fmla="*/ 34 h 419"/>
                <a:gd name="T120" fmla="*/ 113 w 516"/>
                <a:gd name="T121" fmla="*/ 24 h 419"/>
                <a:gd name="T122" fmla="*/ 142 w 516"/>
                <a:gd name="T123" fmla="*/ 1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16" h="419">
                  <a:moveTo>
                    <a:pt x="156" y="0"/>
                  </a:moveTo>
                  <a:lnTo>
                    <a:pt x="157" y="0"/>
                  </a:lnTo>
                  <a:lnTo>
                    <a:pt x="158" y="0"/>
                  </a:lnTo>
                  <a:lnTo>
                    <a:pt x="158" y="1"/>
                  </a:lnTo>
                  <a:lnTo>
                    <a:pt x="159" y="1"/>
                  </a:lnTo>
                  <a:lnTo>
                    <a:pt x="160" y="1"/>
                  </a:lnTo>
                  <a:lnTo>
                    <a:pt x="160" y="2"/>
                  </a:lnTo>
                  <a:lnTo>
                    <a:pt x="161" y="2"/>
                  </a:lnTo>
                  <a:lnTo>
                    <a:pt x="162" y="3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64" y="5"/>
                  </a:lnTo>
                  <a:lnTo>
                    <a:pt x="164" y="6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6" y="7"/>
                  </a:lnTo>
                  <a:lnTo>
                    <a:pt x="167" y="8"/>
                  </a:lnTo>
                  <a:lnTo>
                    <a:pt x="167" y="8"/>
                  </a:lnTo>
                  <a:lnTo>
                    <a:pt x="168" y="8"/>
                  </a:lnTo>
                  <a:lnTo>
                    <a:pt x="169" y="9"/>
                  </a:lnTo>
                  <a:lnTo>
                    <a:pt x="169" y="9"/>
                  </a:lnTo>
                  <a:lnTo>
                    <a:pt x="169" y="10"/>
                  </a:lnTo>
                  <a:lnTo>
                    <a:pt x="169" y="10"/>
                  </a:lnTo>
                  <a:lnTo>
                    <a:pt x="169" y="11"/>
                  </a:lnTo>
                  <a:lnTo>
                    <a:pt x="169" y="11"/>
                  </a:lnTo>
                  <a:lnTo>
                    <a:pt x="169" y="12"/>
                  </a:lnTo>
                  <a:lnTo>
                    <a:pt x="169" y="13"/>
                  </a:lnTo>
                  <a:lnTo>
                    <a:pt x="169" y="14"/>
                  </a:lnTo>
                  <a:lnTo>
                    <a:pt x="167" y="18"/>
                  </a:lnTo>
                  <a:lnTo>
                    <a:pt x="167" y="20"/>
                  </a:lnTo>
                  <a:lnTo>
                    <a:pt x="166" y="21"/>
                  </a:lnTo>
                  <a:lnTo>
                    <a:pt x="166" y="22"/>
                  </a:lnTo>
                  <a:lnTo>
                    <a:pt x="166" y="23"/>
                  </a:lnTo>
                  <a:lnTo>
                    <a:pt x="166" y="24"/>
                  </a:lnTo>
                  <a:lnTo>
                    <a:pt x="166" y="26"/>
                  </a:lnTo>
                  <a:lnTo>
                    <a:pt x="166" y="27"/>
                  </a:lnTo>
                  <a:lnTo>
                    <a:pt x="167" y="28"/>
                  </a:lnTo>
                  <a:lnTo>
                    <a:pt x="167" y="29"/>
                  </a:lnTo>
                  <a:lnTo>
                    <a:pt x="168" y="30"/>
                  </a:lnTo>
                  <a:lnTo>
                    <a:pt x="168" y="31"/>
                  </a:lnTo>
                  <a:lnTo>
                    <a:pt x="169" y="32"/>
                  </a:lnTo>
                  <a:lnTo>
                    <a:pt x="172" y="35"/>
                  </a:lnTo>
                  <a:lnTo>
                    <a:pt x="173" y="37"/>
                  </a:lnTo>
                  <a:lnTo>
                    <a:pt x="173" y="38"/>
                  </a:lnTo>
                  <a:lnTo>
                    <a:pt x="174" y="38"/>
                  </a:lnTo>
                  <a:lnTo>
                    <a:pt x="174" y="39"/>
                  </a:lnTo>
                  <a:lnTo>
                    <a:pt x="174" y="40"/>
                  </a:lnTo>
                  <a:lnTo>
                    <a:pt x="174" y="41"/>
                  </a:lnTo>
                  <a:lnTo>
                    <a:pt x="175" y="42"/>
                  </a:lnTo>
                  <a:lnTo>
                    <a:pt x="175" y="43"/>
                  </a:lnTo>
                  <a:lnTo>
                    <a:pt x="175" y="45"/>
                  </a:lnTo>
                  <a:lnTo>
                    <a:pt x="174" y="46"/>
                  </a:lnTo>
                  <a:lnTo>
                    <a:pt x="174" y="47"/>
                  </a:lnTo>
                  <a:lnTo>
                    <a:pt x="174" y="49"/>
                  </a:lnTo>
                  <a:lnTo>
                    <a:pt x="174" y="49"/>
                  </a:lnTo>
                  <a:lnTo>
                    <a:pt x="173" y="50"/>
                  </a:lnTo>
                  <a:lnTo>
                    <a:pt x="173" y="50"/>
                  </a:lnTo>
                  <a:lnTo>
                    <a:pt x="173" y="51"/>
                  </a:lnTo>
                  <a:lnTo>
                    <a:pt x="172" y="52"/>
                  </a:lnTo>
                  <a:lnTo>
                    <a:pt x="171" y="52"/>
                  </a:lnTo>
                  <a:lnTo>
                    <a:pt x="170" y="53"/>
                  </a:lnTo>
                  <a:lnTo>
                    <a:pt x="169" y="53"/>
                  </a:lnTo>
                  <a:lnTo>
                    <a:pt x="169" y="53"/>
                  </a:lnTo>
                  <a:lnTo>
                    <a:pt x="166" y="54"/>
                  </a:lnTo>
                  <a:lnTo>
                    <a:pt x="165" y="54"/>
                  </a:lnTo>
                  <a:lnTo>
                    <a:pt x="164" y="55"/>
                  </a:lnTo>
                  <a:lnTo>
                    <a:pt x="164" y="55"/>
                  </a:lnTo>
                  <a:lnTo>
                    <a:pt x="163" y="56"/>
                  </a:lnTo>
                  <a:lnTo>
                    <a:pt x="162" y="57"/>
                  </a:lnTo>
                  <a:lnTo>
                    <a:pt x="162" y="57"/>
                  </a:lnTo>
                  <a:lnTo>
                    <a:pt x="160" y="59"/>
                  </a:lnTo>
                  <a:lnTo>
                    <a:pt x="160" y="60"/>
                  </a:lnTo>
                  <a:lnTo>
                    <a:pt x="159" y="61"/>
                  </a:lnTo>
                  <a:lnTo>
                    <a:pt x="159" y="61"/>
                  </a:lnTo>
                  <a:lnTo>
                    <a:pt x="158" y="62"/>
                  </a:lnTo>
                  <a:lnTo>
                    <a:pt x="158" y="62"/>
                  </a:lnTo>
                  <a:lnTo>
                    <a:pt x="157" y="63"/>
                  </a:lnTo>
                  <a:lnTo>
                    <a:pt x="156" y="63"/>
                  </a:lnTo>
                  <a:lnTo>
                    <a:pt x="155" y="63"/>
                  </a:lnTo>
                  <a:lnTo>
                    <a:pt x="153" y="64"/>
                  </a:lnTo>
                  <a:lnTo>
                    <a:pt x="148" y="66"/>
                  </a:lnTo>
                  <a:lnTo>
                    <a:pt x="142" y="68"/>
                  </a:lnTo>
                  <a:lnTo>
                    <a:pt x="139" y="69"/>
                  </a:lnTo>
                  <a:lnTo>
                    <a:pt x="134" y="70"/>
                  </a:lnTo>
                  <a:lnTo>
                    <a:pt x="133" y="71"/>
                  </a:lnTo>
                  <a:lnTo>
                    <a:pt x="132" y="71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0" y="73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5"/>
                  </a:lnTo>
                  <a:lnTo>
                    <a:pt x="129" y="76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30" y="78"/>
                  </a:lnTo>
                  <a:lnTo>
                    <a:pt x="130" y="79"/>
                  </a:lnTo>
                  <a:lnTo>
                    <a:pt x="131" y="80"/>
                  </a:lnTo>
                  <a:lnTo>
                    <a:pt x="131" y="81"/>
                  </a:lnTo>
                  <a:lnTo>
                    <a:pt x="132" y="82"/>
                  </a:lnTo>
                  <a:lnTo>
                    <a:pt x="132" y="82"/>
                  </a:lnTo>
                  <a:lnTo>
                    <a:pt x="133" y="83"/>
                  </a:lnTo>
                  <a:lnTo>
                    <a:pt x="134" y="84"/>
                  </a:lnTo>
                  <a:lnTo>
                    <a:pt x="135" y="85"/>
                  </a:lnTo>
                  <a:lnTo>
                    <a:pt x="139" y="88"/>
                  </a:lnTo>
                  <a:lnTo>
                    <a:pt x="140" y="89"/>
                  </a:lnTo>
                  <a:lnTo>
                    <a:pt x="141" y="91"/>
                  </a:lnTo>
                  <a:lnTo>
                    <a:pt x="143" y="93"/>
                  </a:lnTo>
                  <a:lnTo>
                    <a:pt x="144" y="94"/>
                  </a:lnTo>
                  <a:lnTo>
                    <a:pt x="145" y="95"/>
                  </a:lnTo>
                  <a:lnTo>
                    <a:pt x="146" y="96"/>
                  </a:lnTo>
                  <a:lnTo>
                    <a:pt x="147" y="97"/>
                  </a:lnTo>
                  <a:lnTo>
                    <a:pt x="149" y="97"/>
                  </a:lnTo>
                  <a:lnTo>
                    <a:pt x="150" y="98"/>
                  </a:lnTo>
                  <a:lnTo>
                    <a:pt x="151" y="98"/>
                  </a:lnTo>
                  <a:lnTo>
                    <a:pt x="152" y="98"/>
                  </a:lnTo>
                  <a:lnTo>
                    <a:pt x="152" y="98"/>
                  </a:lnTo>
                  <a:lnTo>
                    <a:pt x="153" y="97"/>
                  </a:lnTo>
                  <a:lnTo>
                    <a:pt x="155" y="97"/>
                  </a:lnTo>
                  <a:lnTo>
                    <a:pt x="156" y="97"/>
                  </a:lnTo>
                  <a:lnTo>
                    <a:pt x="157" y="97"/>
                  </a:lnTo>
                  <a:lnTo>
                    <a:pt x="158" y="97"/>
                  </a:lnTo>
                  <a:lnTo>
                    <a:pt x="159" y="97"/>
                  </a:lnTo>
                  <a:lnTo>
                    <a:pt x="159" y="97"/>
                  </a:lnTo>
                  <a:lnTo>
                    <a:pt x="160" y="97"/>
                  </a:lnTo>
                  <a:lnTo>
                    <a:pt x="161" y="97"/>
                  </a:lnTo>
                  <a:lnTo>
                    <a:pt x="161" y="98"/>
                  </a:lnTo>
                  <a:lnTo>
                    <a:pt x="163" y="98"/>
                  </a:lnTo>
                  <a:lnTo>
                    <a:pt x="163" y="99"/>
                  </a:lnTo>
                  <a:lnTo>
                    <a:pt x="164" y="99"/>
                  </a:lnTo>
                  <a:lnTo>
                    <a:pt x="165" y="100"/>
                  </a:lnTo>
                  <a:lnTo>
                    <a:pt x="166" y="101"/>
                  </a:lnTo>
                  <a:lnTo>
                    <a:pt x="167" y="102"/>
                  </a:lnTo>
                  <a:lnTo>
                    <a:pt x="168" y="103"/>
                  </a:lnTo>
                  <a:lnTo>
                    <a:pt x="170" y="106"/>
                  </a:lnTo>
                  <a:lnTo>
                    <a:pt x="171" y="108"/>
                  </a:lnTo>
                  <a:lnTo>
                    <a:pt x="174" y="112"/>
                  </a:lnTo>
                  <a:lnTo>
                    <a:pt x="175" y="113"/>
                  </a:lnTo>
                  <a:lnTo>
                    <a:pt x="176" y="115"/>
                  </a:lnTo>
                  <a:lnTo>
                    <a:pt x="177" y="116"/>
                  </a:lnTo>
                  <a:lnTo>
                    <a:pt x="177" y="117"/>
                  </a:lnTo>
                  <a:lnTo>
                    <a:pt x="178" y="119"/>
                  </a:lnTo>
                  <a:lnTo>
                    <a:pt x="178" y="120"/>
                  </a:lnTo>
                  <a:lnTo>
                    <a:pt x="180" y="124"/>
                  </a:lnTo>
                  <a:lnTo>
                    <a:pt x="181" y="126"/>
                  </a:lnTo>
                  <a:lnTo>
                    <a:pt x="181" y="127"/>
                  </a:lnTo>
                  <a:lnTo>
                    <a:pt x="182" y="131"/>
                  </a:lnTo>
                  <a:lnTo>
                    <a:pt x="184" y="134"/>
                  </a:lnTo>
                  <a:lnTo>
                    <a:pt x="184" y="135"/>
                  </a:lnTo>
                  <a:lnTo>
                    <a:pt x="185" y="136"/>
                  </a:lnTo>
                  <a:lnTo>
                    <a:pt x="185" y="137"/>
                  </a:lnTo>
                  <a:lnTo>
                    <a:pt x="186" y="137"/>
                  </a:lnTo>
                  <a:lnTo>
                    <a:pt x="187" y="138"/>
                  </a:lnTo>
                  <a:lnTo>
                    <a:pt x="188" y="138"/>
                  </a:lnTo>
                  <a:lnTo>
                    <a:pt x="190" y="140"/>
                  </a:lnTo>
                  <a:lnTo>
                    <a:pt x="192" y="141"/>
                  </a:lnTo>
                  <a:lnTo>
                    <a:pt x="195" y="142"/>
                  </a:lnTo>
                  <a:lnTo>
                    <a:pt x="196" y="142"/>
                  </a:lnTo>
                  <a:lnTo>
                    <a:pt x="197" y="143"/>
                  </a:lnTo>
                  <a:lnTo>
                    <a:pt x="198" y="144"/>
                  </a:lnTo>
                  <a:lnTo>
                    <a:pt x="198" y="145"/>
                  </a:lnTo>
                  <a:lnTo>
                    <a:pt x="199" y="146"/>
                  </a:lnTo>
                  <a:lnTo>
                    <a:pt x="200" y="147"/>
                  </a:lnTo>
                  <a:lnTo>
                    <a:pt x="201" y="148"/>
                  </a:lnTo>
                  <a:lnTo>
                    <a:pt x="201" y="149"/>
                  </a:lnTo>
                  <a:lnTo>
                    <a:pt x="202" y="150"/>
                  </a:lnTo>
                  <a:lnTo>
                    <a:pt x="202" y="151"/>
                  </a:lnTo>
                  <a:lnTo>
                    <a:pt x="204" y="152"/>
                  </a:lnTo>
                  <a:lnTo>
                    <a:pt x="205" y="153"/>
                  </a:lnTo>
                  <a:lnTo>
                    <a:pt x="207" y="154"/>
                  </a:lnTo>
                  <a:lnTo>
                    <a:pt x="208" y="155"/>
                  </a:lnTo>
                  <a:lnTo>
                    <a:pt x="209" y="156"/>
                  </a:lnTo>
                  <a:lnTo>
                    <a:pt x="211" y="156"/>
                  </a:lnTo>
                  <a:lnTo>
                    <a:pt x="212" y="157"/>
                  </a:lnTo>
                  <a:lnTo>
                    <a:pt x="213" y="157"/>
                  </a:lnTo>
                  <a:lnTo>
                    <a:pt x="213" y="157"/>
                  </a:lnTo>
                  <a:lnTo>
                    <a:pt x="214" y="157"/>
                  </a:lnTo>
                  <a:lnTo>
                    <a:pt x="215" y="157"/>
                  </a:lnTo>
                  <a:lnTo>
                    <a:pt x="216" y="157"/>
                  </a:lnTo>
                  <a:lnTo>
                    <a:pt x="220" y="156"/>
                  </a:lnTo>
                  <a:lnTo>
                    <a:pt x="222" y="156"/>
                  </a:lnTo>
                  <a:lnTo>
                    <a:pt x="223" y="156"/>
                  </a:lnTo>
                  <a:lnTo>
                    <a:pt x="224" y="155"/>
                  </a:lnTo>
                  <a:lnTo>
                    <a:pt x="225" y="155"/>
                  </a:lnTo>
                  <a:lnTo>
                    <a:pt x="227" y="154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0" y="152"/>
                  </a:lnTo>
                  <a:lnTo>
                    <a:pt x="235" y="147"/>
                  </a:lnTo>
                  <a:lnTo>
                    <a:pt x="236" y="146"/>
                  </a:lnTo>
                  <a:lnTo>
                    <a:pt x="237" y="145"/>
                  </a:lnTo>
                  <a:lnTo>
                    <a:pt x="238" y="145"/>
                  </a:lnTo>
                  <a:lnTo>
                    <a:pt x="239" y="144"/>
                  </a:lnTo>
                  <a:lnTo>
                    <a:pt x="241" y="143"/>
                  </a:lnTo>
                  <a:lnTo>
                    <a:pt x="242" y="142"/>
                  </a:lnTo>
                  <a:lnTo>
                    <a:pt x="245" y="141"/>
                  </a:lnTo>
                  <a:lnTo>
                    <a:pt x="247" y="140"/>
                  </a:lnTo>
                  <a:lnTo>
                    <a:pt x="248" y="140"/>
                  </a:lnTo>
                  <a:lnTo>
                    <a:pt x="249" y="139"/>
                  </a:lnTo>
                  <a:lnTo>
                    <a:pt x="251" y="139"/>
                  </a:lnTo>
                  <a:lnTo>
                    <a:pt x="252" y="139"/>
                  </a:lnTo>
                  <a:lnTo>
                    <a:pt x="252" y="139"/>
                  </a:lnTo>
                  <a:lnTo>
                    <a:pt x="257" y="139"/>
                  </a:lnTo>
                  <a:lnTo>
                    <a:pt x="259" y="139"/>
                  </a:lnTo>
                  <a:lnTo>
                    <a:pt x="260" y="139"/>
                  </a:lnTo>
                  <a:lnTo>
                    <a:pt x="261" y="139"/>
                  </a:lnTo>
                  <a:lnTo>
                    <a:pt x="262" y="139"/>
                  </a:lnTo>
                  <a:lnTo>
                    <a:pt x="262" y="139"/>
                  </a:lnTo>
                  <a:lnTo>
                    <a:pt x="263" y="139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7"/>
                  </a:lnTo>
                  <a:lnTo>
                    <a:pt x="264" y="136"/>
                  </a:lnTo>
                  <a:lnTo>
                    <a:pt x="264" y="135"/>
                  </a:lnTo>
                  <a:lnTo>
                    <a:pt x="263" y="134"/>
                  </a:lnTo>
                  <a:lnTo>
                    <a:pt x="263" y="133"/>
                  </a:lnTo>
                  <a:lnTo>
                    <a:pt x="263" y="132"/>
                  </a:lnTo>
                  <a:lnTo>
                    <a:pt x="263" y="132"/>
                  </a:lnTo>
                  <a:lnTo>
                    <a:pt x="262" y="131"/>
                  </a:lnTo>
                  <a:lnTo>
                    <a:pt x="262" y="130"/>
                  </a:lnTo>
                  <a:lnTo>
                    <a:pt x="261" y="130"/>
                  </a:lnTo>
                  <a:lnTo>
                    <a:pt x="261" y="129"/>
                  </a:lnTo>
                  <a:lnTo>
                    <a:pt x="260" y="129"/>
                  </a:lnTo>
                  <a:lnTo>
                    <a:pt x="259" y="129"/>
                  </a:lnTo>
                  <a:lnTo>
                    <a:pt x="258" y="128"/>
                  </a:lnTo>
                  <a:lnTo>
                    <a:pt x="256" y="128"/>
                  </a:lnTo>
                  <a:lnTo>
                    <a:pt x="256" y="128"/>
                  </a:lnTo>
                  <a:lnTo>
                    <a:pt x="255" y="128"/>
                  </a:lnTo>
                  <a:lnTo>
                    <a:pt x="255" y="127"/>
                  </a:lnTo>
                  <a:lnTo>
                    <a:pt x="254" y="127"/>
                  </a:lnTo>
                  <a:lnTo>
                    <a:pt x="254" y="127"/>
                  </a:lnTo>
                  <a:lnTo>
                    <a:pt x="254" y="126"/>
                  </a:lnTo>
                  <a:lnTo>
                    <a:pt x="253" y="126"/>
                  </a:lnTo>
                  <a:lnTo>
                    <a:pt x="253" y="125"/>
                  </a:lnTo>
                  <a:lnTo>
                    <a:pt x="253" y="124"/>
                  </a:lnTo>
                  <a:lnTo>
                    <a:pt x="253" y="124"/>
                  </a:lnTo>
                  <a:lnTo>
                    <a:pt x="253" y="123"/>
                  </a:lnTo>
                  <a:lnTo>
                    <a:pt x="253" y="122"/>
                  </a:lnTo>
                  <a:lnTo>
                    <a:pt x="253" y="121"/>
                  </a:lnTo>
                  <a:lnTo>
                    <a:pt x="254" y="121"/>
                  </a:lnTo>
                  <a:lnTo>
                    <a:pt x="254" y="120"/>
                  </a:lnTo>
                  <a:lnTo>
                    <a:pt x="255" y="119"/>
                  </a:lnTo>
                  <a:lnTo>
                    <a:pt x="255" y="118"/>
                  </a:lnTo>
                  <a:lnTo>
                    <a:pt x="256" y="118"/>
                  </a:lnTo>
                  <a:lnTo>
                    <a:pt x="257" y="117"/>
                  </a:lnTo>
                  <a:lnTo>
                    <a:pt x="257" y="117"/>
                  </a:lnTo>
                  <a:lnTo>
                    <a:pt x="258" y="117"/>
                  </a:lnTo>
                  <a:lnTo>
                    <a:pt x="259" y="116"/>
                  </a:lnTo>
                  <a:lnTo>
                    <a:pt x="260" y="116"/>
                  </a:lnTo>
                  <a:lnTo>
                    <a:pt x="261" y="116"/>
                  </a:lnTo>
                  <a:lnTo>
                    <a:pt x="261" y="116"/>
                  </a:lnTo>
                  <a:lnTo>
                    <a:pt x="262" y="116"/>
                  </a:lnTo>
                  <a:lnTo>
                    <a:pt x="263" y="117"/>
                  </a:lnTo>
                  <a:lnTo>
                    <a:pt x="265" y="117"/>
                  </a:lnTo>
                  <a:lnTo>
                    <a:pt x="266" y="118"/>
                  </a:lnTo>
                  <a:lnTo>
                    <a:pt x="267" y="118"/>
                  </a:lnTo>
                  <a:lnTo>
                    <a:pt x="268" y="119"/>
                  </a:lnTo>
                  <a:lnTo>
                    <a:pt x="269" y="120"/>
                  </a:lnTo>
                  <a:lnTo>
                    <a:pt x="272" y="122"/>
                  </a:lnTo>
                  <a:lnTo>
                    <a:pt x="273" y="123"/>
                  </a:lnTo>
                  <a:lnTo>
                    <a:pt x="274" y="124"/>
                  </a:lnTo>
                  <a:lnTo>
                    <a:pt x="275" y="125"/>
                  </a:lnTo>
                  <a:lnTo>
                    <a:pt x="276" y="126"/>
                  </a:lnTo>
                  <a:lnTo>
                    <a:pt x="278" y="132"/>
                  </a:lnTo>
                  <a:lnTo>
                    <a:pt x="279" y="133"/>
                  </a:lnTo>
                  <a:lnTo>
                    <a:pt x="279" y="134"/>
                  </a:lnTo>
                  <a:lnTo>
                    <a:pt x="280" y="137"/>
                  </a:lnTo>
                  <a:lnTo>
                    <a:pt x="281" y="138"/>
                  </a:lnTo>
                  <a:lnTo>
                    <a:pt x="281" y="139"/>
                  </a:lnTo>
                  <a:lnTo>
                    <a:pt x="282" y="140"/>
                  </a:lnTo>
                  <a:lnTo>
                    <a:pt x="282" y="142"/>
                  </a:lnTo>
                  <a:lnTo>
                    <a:pt x="283" y="142"/>
                  </a:lnTo>
                  <a:lnTo>
                    <a:pt x="284" y="143"/>
                  </a:lnTo>
                  <a:lnTo>
                    <a:pt x="285" y="143"/>
                  </a:lnTo>
                  <a:lnTo>
                    <a:pt x="285" y="144"/>
                  </a:lnTo>
                  <a:lnTo>
                    <a:pt x="286" y="144"/>
                  </a:lnTo>
                  <a:lnTo>
                    <a:pt x="287" y="145"/>
                  </a:lnTo>
                  <a:lnTo>
                    <a:pt x="287" y="145"/>
                  </a:lnTo>
                  <a:lnTo>
                    <a:pt x="290" y="146"/>
                  </a:lnTo>
                  <a:lnTo>
                    <a:pt x="295" y="148"/>
                  </a:lnTo>
                  <a:lnTo>
                    <a:pt x="296" y="148"/>
                  </a:lnTo>
                  <a:lnTo>
                    <a:pt x="297" y="148"/>
                  </a:lnTo>
                  <a:lnTo>
                    <a:pt x="297" y="148"/>
                  </a:lnTo>
                  <a:lnTo>
                    <a:pt x="298" y="148"/>
                  </a:lnTo>
                  <a:lnTo>
                    <a:pt x="299" y="148"/>
                  </a:lnTo>
                  <a:lnTo>
                    <a:pt x="299" y="147"/>
                  </a:lnTo>
                  <a:lnTo>
                    <a:pt x="300" y="147"/>
                  </a:lnTo>
                  <a:lnTo>
                    <a:pt x="300" y="147"/>
                  </a:lnTo>
                  <a:lnTo>
                    <a:pt x="302" y="146"/>
                  </a:lnTo>
                  <a:lnTo>
                    <a:pt x="303" y="145"/>
                  </a:lnTo>
                  <a:lnTo>
                    <a:pt x="304" y="145"/>
                  </a:lnTo>
                  <a:lnTo>
                    <a:pt x="304" y="145"/>
                  </a:lnTo>
                  <a:lnTo>
                    <a:pt x="305" y="144"/>
                  </a:lnTo>
                  <a:lnTo>
                    <a:pt x="305" y="144"/>
                  </a:lnTo>
                  <a:lnTo>
                    <a:pt x="306" y="144"/>
                  </a:lnTo>
                  <a:lnTo>
                    <a:pt x="307" y="144"/>
                  </a:lnTo>
                  <a:lnTo>
                    <a:pt x="308" y="144"/>
                  </a:lnTo>
                  <a:lnTo>
                    <a:pt x="309" y="145"/>
                  </a:lnTo>
                  <a:lnTo>
                    <a:pt x="310" y="145"/>
                  </a:lnTo>
                  <a:lnTo>
                    <a:pt x="310" y="145"/>
                  </a:lnTo>
                  <a:lnTo>
                    <a:pt x="311" y="146"/>
                  </a:lnTo>
                  <a:lnTo>
                    <a:pt x="311" y="146"/>
                  </a:lnTo>
                  <a:lnTo>
                    <a:pt x="312" y="146"/>
                  </a:lnTo>
                  <a:lnTo>
                    <a:pt x="313" y="147"/>
                  </a:lnTo>
                  <a:lnTo>
                    <a:pt x="313" y="148"/>
                  </a:lnTo>
                  <a:lnTo>
                    <a:pt x="314" y="149"/>
                  </a:lnTo>
                  <a:lnTo>
                    <a:pt x="315" y="151"/>
                  </a:lnTo>
                  <a:lnTo>
                    <a:pt x="316" y="152"/>
                  </a:lnTo>
                  <a:lnTo>
                    <a:pt x="317" y="153"/>
                  </a:lnTo>
                  <a:lnTo>
                    <a:pt x="318" y="153"/>
                  </a:lnTo>
                  <a:lnTo>
                    <a:pt x="318" y="154"/>
                  </a:lnTo>
                  <a:lnTo>
                    <a:pt x="319" y="154"/>
                  </a:lnTo>
                  <a:lnTo>
                    <a:pt x="320" y="155"/>
                  </a:lnTo>
                  <a:lnTo>
                    <a:pt x="321" y="155"/>
                  </a:lnTo>
                  <a:lnTo>
                    <a:pt x="326" y="157"/>
                  </a:lnTo>
                  <a:lnTo>
                    <a:pt x="327" y="157"/>
                  </a:lnTo>
                  <a:lnTo>
                    <a:pt x="328" y="157"/>
                  </a:lnTo>
                  <a:lnTo>
                    <a:pt x="329" y="158"/>
                  </a:lnTo>
                  <a:lnTo>
                    <a:pt x="330" y="159"/>
                  </a:lnTo>
                  <a:lnTo>
                    <a:pt x="331" y="159"/>
                  </a:lnTo>
                  <a:lnTo>
                    <a:pt x="332" y="160"/>
                  </a:lnTo>
                  <a:lnTo>
                    <a:pt x="332" y="160"/>
                  </a:lnTo>
                  <a:lnTo>
                    <a:pt x="333" y="161"/>
                  </a:lnTo>
                  <a:lnTo>
                    <a:pt x="334" y="162"/>
                  </a:lnTo>
                  <a:lnTo>
                    <a:pt x="334" y="163"/>
                  </a:lnTo>
                  <a:lnTo>
                    <a:pt x="335" y="164"/>
                  </a:lnTo>
                  <a:lnTo>
                    <a:pt x="336" y="168"/>
                  </a:lnTo>
                  <a:lnTo>
                    <a:pt x="337" y="169"/>
                  </a:lnTo>
                  <a:lnTo>
                    <a:pt x="337" y="170"/>
                  </a:lnTo>
                  <a:lnTo>
                    <a:pt x="338" y="171"/>
                  </a:lnTo>
                  <a:lnTo>
                    <a:pt x="339" y="172"/>
                  </a:lnTo>
                  <a:lnTo>
                    <a:pt x="339" y="173"/>
                  </a:lnTo>
                  <a:lnTo>
                    <a:pt x="340" y="173"/>
                  </a:lnTo>
                  <a:lnTo>
                    <a:pt x="341" y="174"/>
                  </a:lnTo>
                  <a:lnTo>
                    <a:pt x="342" y="175"/>
                  </a:lnTo>
                  <a:lnTo>
                    <a:pt x="343" y="176"/>
                  </a:lnTo>
                  <a:lnTo>
                    <a:pt x="343" y="176"/>
                  </a:lnTo>
                  <a:lnTo>
                    <a:pt x="344" y="176"/>
                  </a:lnTo>
                  <a:lnTo>
                    <a:pt x="345" y="177"/>
                  </a:lnTo>
                  <a:lnTo>
                    <a:pt x="346" y="177"/>
                  </a:lnTo>
                  <a:lnTo>
                    <a:pt x="347" y="177"/>
                  </a:lnTo>
                  <a:lnTo>
                    <a:pt x="348" y="177"/>
                  </a:lnTo>
                  <a:lnTo>
                    <a:pt x="348" y="177"/>
                  </a:lnTo>
                  <a:lnTo>
                    <a:pt x="349" y="177"/>
                  </a:lnTo>
                  <a:lnTo>
                    <a:pt x="350" y="176"/>
                  </a:lnTo>
                  <a:lnTo>
                    <a:pt x="351" y="175"/>
                  </a:lnTo>
                  <a:lnTo>
                    <a:pt x="353" y="174"/>
                  </a:lnTo>
                  <a:lnTo>
                    <a:pt x="353" y="174"/>
                  </a:lnTo>
                  <a:lnTo>
                    <a:pt x="354" y="173"/>
                  </a:lnTo>
                  <a:lnTo>
                    <a:pt x="354" y="172"/>
                  </a:lnTo>
                  <a:lnTo>
                    <a:pt x="354" y="172"/>
                  </a:lnTo>
                  <a:lnTo>
                    <a:pt x="354" y="171"/>
                  </a:lnTo>
                  <a:lnTo>
                    <a:pt x="354" y="170"/>
                  </a:lnTo>
                  <a:lnTo>
                    <a:pt x="354" y="169"/>
                  </a:lnTo>
                  <a:lnTo>
                    <a:pt x="354" y="168"/>
                  </a:lnTo>
                  <a:lnTo>
                    <a:pt x="354" y="168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5" y="167"/>
                  </a:lnTo>
                  <a:lnTo>
                    <a:pt x="356" y="167"/>
                  </a:lnTo>
                  <a:lnTo>
                    <a:pt x="357" y="167"/>
                  </a:lnTo>
                  <a:lnTo>
                    <a:pt x="358" y="167"/>
                  </a:lnTo>
                  <a:lnTo>
                    <a:pt x="362" y="168"/>
                  </a:lnTo>
                  <a:lnTo>
                    <a:pt x="364" y="169"/>
                  </a:lnTo>
                  <a:lnTo>
                    <a:pt x="365" y="169"/>
                  </a:lnTo>
                  <a:lnTo>
                    <a:pt x="367" y="169"/>
                  </a:lnTo>
                  <a:lnTo>
                    <a:pt x="369" y="169"/>
                  </a:lnTo>
                  <a:lnTo>
                    <a:pt x="374" y="169"/>
                  </a:lnTo>
                  <a:lnTo>
                    <a:pt x="375" y="169"/>
                  </a:lnTo>
                  <a:lnTo>
                    <a:pt x="377" y="170"/>
                  </a:lnTo>
                  <a:lnTo>
                    <a:pt x="378" y="170"/>
                  </a:lnTo>
                  <a:lnTo>
                    <a:pt x="379" y="170"/>
                  </a:lnTo>
                  <a:lnTo>
                    <a:pt x="379" y="170"/>
                  </a:lnTo>
                  <a:lnTo>
                    <a:pt x="380" y="171"/>
                  </a:lnTo>
                  <a:lnTo>
                    <a:pt x="385" y="173"/>
                  </a:lnTo>
                  <a:lnTo>
                    <a:pt x="388" y="175"/>
                  </a:lnTo>
                  <a:lnTo>
                    <a:pt x="390" y="176"/>
                  </a:lnTo>
                  <a:lnTo>
                    <a:pt x="391" y="176"/>
                  </a:lnTo>
                  <a:lnTo>
                    <a:pt x="397" y="181"/>
                  </a:lnTo>
                  <a:lnTo>
                    <a:pt x="398" y="181"/>
                  </a:lnTo>
                  <a:lnTo>
                    <a:pt x="398" y="181"/>
                  </a:lnTo>
                  <a:lnTo>
                    <a:pt x="400" y="182"/>
                  </a:lnTo>
                  <a:lnTo>
                    <a:pt x="401" y="183"/>
                  </a:lnTo>
                  <a:lnTo>
                    <a:pt x="403" y="183"/>
                  </a:lnTo>
                  <a:lnTo>
                    <a:pt x="404" y="183"/>
                  </a:lnTo>
                  <a:lnTo>
                    <a:pt x="406" y="183"/>
                  </a:lnTo>
                  <a:lnTo>
                    <a:pt x="407" y="184"/>
                  </a:lnTo>
                  <a:lnTo>
                    <a:pt x="408" y="184"/>
                  </a:lnTo>
                  <a:lnTo>
                    <a:pt x="409" y="183"/>
                  </a:lnTo>
                  <a:lnTo>
                    <a:pt x="410" y="183"/>
                  </a:lnTo>
                  <a:lnTo>
                    <a:pt x="410" y="183"/>
                  </a:lnTo>
                  <a:lnTo>
                    <a:pt x="411" y="183"/>
                  </a:lnTo>
                  <a:lnTo>
                    <a:pt x="411" y="182"/>
                  </a:lnTo>
                  <a:lnTo>
                    <a:pt x="412" y="182"/>
                  </a:lnTo>
                  <a:lnTo>
                    <a:pt x="412" y="181"/>
                  </a:lnTo>
                  <a:lnTo>
                    <a:pt x="413" y="181"/>
                  </a:lnTo>
                  <a:lnTo>
                    <a:pt x="413" y="181"/>
                  </a:lnTo>
                  <a:lnTo>
                    <a:pt x="413" y="180"/>
                  </a:lnTo>
                  <a:lnTo>
                    <a:pt x="414" y="179"/>
                  </a:lnTo>
                  <a:lnTo>
                    <a:pt x="414" y="177"/>
                  </a:lnTo>
                  <a:lnTo>
                    <a:pt x="415" y="176"/>
                  </a:lnTo>
                  <a:lnTo>
                    <a:pt x="415" y="176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7" y="174"/>
                  </a:lnTo>
                  <a:lnTo>
                    <a:pt x="417" y="174"/>
                  </a:lnTo>
                  <a:lnTo>
                    <a:pt x="418" y="174"/>
                  </a:lnTo>
                  <a:lnTo>
                    <a:pt x="419" y="175"/>
                  </a:lnTo>
                  <a:lnTo>
                    <a:pt x="420" y="175"/>
                  </a:lnTo>
                  <a:lnTo>
                    <a:pt x="420" y="175"/>
                  </a:lnTo>
                  <a:lnTo>
                    <a:pt x="421" y="175"/>
                  </a:lnTo>
                  <a:lnTo>
                    <a:pt x="421" y="176"/>
                  </a:lnTo>
                  <a:lnTo>
                    <a:pt x="422" y="176"/>
                  </a:lnTo>
                  <a:lnTo>
                    <a:pt x="422" y="176"/>
                  </a:lnTo>
                  <a:lnTo>
                    <a:pt x="423" y="177"/>
                  </a:lnTo>
                  <a:lnTo>
                    <a:pt x="423" y="178"/>
                  </a:lnTo>
                  <a:lnTo>
                    <a:pt x="423" y="178"/>
                  </a:lnTo>
                  <a:lnTo>
                    <a:pt x="424" y="179"/>
                  </a:lnTo>
                  <a:lnTo>
                    <a:pt x="424" y="181"/>
                  </a:lnTo>
                  <a:lnTo>
                    <a:pt x="424" y="182"/>
                  </a:lnTo>
                  <a:lnTo>
                    <a:pt x="424" y="183"/>
                  </a:lnTo>
                  <a:lnTo>
                    <a:pt x="424" y="187"/>
                  </a:lnTo>
                  <a:lnTo>
                    <a:pt x="424" y="189"/>
                  </a:lnTo>
                  <a:lnTo>
                    <a:pt x="424" y="191"/>
                  </a:lnTo>
                  <a:lnTo>
                    <a:pt x="424" y="191"/>
                  </a:lnTo>
                  <a:lnTo>
                    <a:pt x="424" y="192"/>
                  </a:lnTo>
                  <a:lnTo>
                    <a:pt x="424" y="192"/>
                  </a:lnTo>
                  <a:lnTo>
                    <a:pt x="425" y="193"/>
                  </a:lnTo>
                  <a:lnTo>
                    <a:pt x="425" y="194"/>
                  </a:lnTo>
                  <a:lnTo>
                    <a:pt x="425" y="195"/>
                  </a:lnTo>
                  <a:lnTo>
                    <a:pt x="426" y="195"/>
                  </a:lnTo>
                  <a:lnTo>
                    <a:pt x="426" y="196"/>
                  </a:lnTo>
                  <a:lnTo>
                    <a:pt x="427" y="196"/>
                  </a:lnTo>
                  <a:lnTo>
                    <a:pt x="427" y="197"/>
                  </a:lnTo>
                  <a:lnTo>
                    <a:pt x="428" y="198"/>
                  </a:lnTo>
                  <a:lnTo>
                    <a:pt x="429" y="199"/>
                  </a:lnTo>
                  <a:lnTo>
                    <a:pt x="430" y="200"/>
                  </a:lnTo>
                  <a:lnTo>
                    <a:pt x="431" y="200"/>
                  </a:lnTo>
                  <a:lnTo>
                    <a:pt x="431" y="201"/>
                  </a:lnTo>
                  <a:lnTo>
                    <a:pt x="431" y="201"/>
                  </a:lnTo>
                  <a:lnTo>
                    <a:pt x="431" y="201"/>
                  </a:lnTo>
                  <a:lnTo>
                    <a:pt x="431" y="202"/>
                  </a:lnTo>
                  <a:lnTo>
                    <a:pt x="431" y="202"/>
                  </a:lnTo>
                  <a:lnTo>
                    <a:pt x="431" y="203"/>
                  </a:lnTo>
                  <a:lnTo>
                    <a:pt x="431" y="204"/>
                  </a:lnTo>
                  <a:lnTo>
                    <a:pt x="429" y="206"/>
                  </a:lnTo>
                  <a:lnTo>
                    <a:pt x="428" y="209"/>
                  </a:lnTo>
                  <a:lnTo>
                    <a:pt x="427" y="212"/>
                  </a:lnTo>
                  <a:lnTo>
                    <a:pt x="427" y="213"/>
                  </a:lnTo>
                  <a:lnTo>
                    <a:pt x="427" y="214"/>
                  </a:lnTo>
                  <a:lnTo>
                    <a:pt x="426" y="215"/>
                  </a:lnTo>
                  <a:lnTo>
                    <a:pt x="426" y="216"/>
                  </a:lnTo>
                  <a:lnTo>
                    <a:pt x="426" y="217"/>
                  </a:lnTo>
                  <a:lnTo>
                    <a:pt x="427" y="219"/>
                  </a:lnTo>
                  <a:lnTo>
                    <a:pt x="427" y="220"/>
                  </a:lnTo>
                  <a:lnTo>
                    <a:pt x="428" y="223"/>
                  </a:lnTo>
                  <a:lnTo>
                    <a:pt x="429" y="224"/>
                  </a:lnTo>
                  <a:lnTo>
                    <a:pt x="429" y="225"/>
                  </a:lnTo>
                  <a:lnTo>
                    <a:pt x="430" y="227"/>
                  </a:lnTo>
                  <a:lnTo>
                    <a:pt x="431" y="230"/>
                  </a:lnTo>
                  <a:lnTo>
                    <a:pt x="433" y="233"/>
                  </a:lnTo>
                  <a:lnTo>
                    <a:pt x="434" y="237"/>
                  </a:lnTo>
                  <a:lnTo>
                    <a:pt x="437" y="243"/>
                  </a:lnTo>
                  <a:lnTo>
                    <a:pt x="440" y="249"/>
                  </a:lnTo>
                  <a:lnTo>
                    <a:pt x="441" y="253"/>
                  </a:lnTo>
                  <a:lnTo>
                    <a:pt x="442" y="254"/>
                  </a:lnTo>
                  <a:lnTo>
                    <a:pt x="442" y="255"/>
                  </a:lnTo>
                  <a:lnTo>
                    <a:pt x="443" y="256"/>
                  </a:lnTo>
                  <a:lnTo>
                    <a:pt x="444" y="261"/>
                  </a:lnTo>
                  <a:lnTo>
                    <a:pt x="444" y="262"/>
                  </a:lnTo>
                  <a:lnTo>
                    <a:pt x="445" y="263"/>
                  </a:lnTo>
                  <a:lnTo>
                    <a:pt x="445" y="264"/>
                  </a:lnTo>
                  <a:lnTo>
                    <a:pt x="445" y="265"/>
                  </a:lnTo>
                  <a:lnTo>
                    <a:pt x="446" y="265"/>
                  </a:lnTo>
                  <a:lnTo>
                    <a:pt x="446" y="266"/>
                  </a:lnTo>
                  <a:lnTo>
                    <a:pt x="447" y="267"/>
                  </a:lnTo>
                  <a:lnTo>
                    <a:pt x="448" y="267"/>
                  </a:lnTo>
                  <a:lnTo>
                    <a:pt x="449" y="268"/>
                  </a:lnTo>
                  <a:lnTo>
                    <a:pt x="449" y="269"/>
                  </a:lnTo>
                  <a:lnTo>
                    <a:pt x="450" y="269"/>
                  </a:lnTo>
                  <a:lnTo>
                    <a:pt x="451" y="269"/>
                  </a:lnTo>
                  <a:lnTo>
                    <a:pt x="452" y="270"/>
                  </a:lnTo>
                  <a:lnTo>
                    <a:pt x="453" y="270"/>
                  </a:lnTo>
                  <a:lnTo>
                    <a:pt x="457" y="272"/>
                  </a:lnTo>
                  <a:lnTo>
                    <a:pt x="459" y="272"/>
                  </a:lnTo>
                  <a:lnTo>
                    <a:pt x="463" y="273"/>
                  </a:lnTo>
                  <a:lnTo>
                    <a:pt x="464" y="273"/>
                  </a:lnTo>
                  <a:lnTo>
                    <a:pt x="465" y="273"/>
                  </a:lnTo>
                  <a:lnTo>
                    <a:pt x="465" y="273"/>
                  </a:lnTo>
                  <a:lnTo>
                    <a:pt x="467" y="274"/>
                  </a:lnTo>
                  <a:lnTo>
                    <a:pt x="468" y="274"/>
                  </a:lnTo>
                  <a:lnTo>
                    <a:pt x="469" y="275"/>
                  </a:lnTo>
                  <a:lnTo>
                    <a:pt x="470" y="277"/>
                  </a:lnTo>
                  <a:lnTo>
                    <a:pt x="472" y="279"/>
                  </a:lnTo>
                  <a:lnTo>
                    <a:pt x="473" y="279"/>
                  </a:lnTo>
                  <a:lnTo>
                    <a:pt x="474" y="280"/>
                  </a:lnTo>
                  <a:lnTo>
                    <a:pt x="474" y="280"/>
                  </a:lnTo>
                  <a:lnTo>
                    <a:pt x="476" y="281"/>
                  </a:lnTo>
                  <a:lnTo>
                    <a:pt x="477" y="282"/>
                  </a:lnTo>
                  <a:lnTo>
                    <a:pt x="479" y="282"/>
                  </a:lnTo>
                  <a:lnTo>
                    <a:pt x="479" y="282"/>
                  </a:lnTo>
                  <a:lnTo>
                    <a:pt x="481" y="282"/>
                  </a:lnTo>
                  <a:lnTo>
                    <a:pt x="481" y="282"/>
                  </a:lnTo>
                  <a:lnTo>
                    <a:pt x="482" y="282"/>
                  </a:lnTo>
                  <a:lnTo>
                    <a:pt x="483" y="282"/>
                  </a:lnTo>
                  <a:lnTo>
                    <a:pt x="486" y="282"/>
                  </a:lnTo>
                  <a:lnTo>
                    <a:pt x="488" y="282"/>
                  </a:lnTo>
                  <a:lnTo>
                    <a:pt x="489" y="282"/>
                  </a:lnTo>
                  <a:lnTo>
                    <a:pt x="490" y="282"/>
                  </a:lnTo>
                  <a:lnTo>
                    <a:pt x="491" y="282"/>
                  </a:lnTo>
                  <a:lnTo>
                    <a:pt x="492" y="282"/>
                  </a:lnTo>
                  <a:lnTo>
                    <a:pt x="493" y="282"/>
                  </a:lnTo>
                  <a:lnTo>
                    <a:pt x="494" y="283"/>
                  </a:lnTo>
                  <a:lnTo>
                    <a:pt x="495" y="283"/>
                  </a:lnTo>
                  <a:lnTo>
                    <a:pt x="496" y="284"/>
                  </a:lnTo>
                  <a:lnTo>
                    <a:pt x="496" y="284"/>
                  </a:lnTo>
                  <a:lnTo>
                    <a:pt x="497" y="285"/>
                  </a:lnTo>
                  <a:lnTo>
                    <a:pt x="498" y="285"/>
                  </a:lnTo>
                  <a:lnTo>
                    <a:pt x="498" y="286"/>
                  </a:lnTo>
                  <a:lnTo>
                    <a:pt x="498" y="287"/>
                  </a:lnTo>
                  <a:lnTo>
                    <a:pt x="499" y="288"/>
                  </a:lnTo>
                  <a:lnTo>
                    <a:pt x="499" y="290"/>
                  </a:lnTo>
                  <a:lnTo>
                    <a:pt x="500" y="292"/>
                  </a:lnTo>
                  <a:lnTo>
                    <a:pt x="501" y="296"/>
                  </a:lnTo>
                  <a:lnTo>
                    <a:pt x="502" y="301"/>
                  </a:lnTo>
                  <a:lnTo>
                    <a:pt x="504" y="310"/>
                  </a:lnTo>
                  <a:lnTo>
                    <a:pt x="506" y="315"/>
                  </a:lnTo>
                  <a:lnTo>
                    <a:pt x="506" y="317"/>
                  </a:lnTo>
                  <a:lnTo>
                    <a:pt x="507" y="318"/>
                  </a:lnTo>
                  <a:lnTo>
                    <a:pt x="507" y="319"/>
                  </a:lnTo>
                  <a:lnTo>
                    <a:pt x="508" y="321"/>
                  </a:lnTo>
                  <a:lnTo>
                    <a:pt x="509" y="322"/>
                  </a:lnTo>
                  <a:lnTo>
                    <a:pt x="509" y="324"/>
                  </a:lnTo>
                  <a:lnTo>
                    <a:pt x="510" y="328"/>
                  </a:lnTo>
                  <a:lnTo>
                    <a:pt x="510" y="329"/>
                  </a:lnTo>
                  <a:lnTo>
                    <a:pt x="510" y="331"/>
                  </a:lnTo>
                  <a:lnTo>
                    <a:pt x="511" y="333"/>
                  </a:lnTo>
                  <a:lnTo>
                    <a:pt x="512" y="335"/>
                  </a:lnTo>
                  <a:lnTo>
                    <a:pt x="513" y="336"/>
                  </a:lnTo>
                  <a:lnTo>
                    <a:pt x="514" y="338"/>
                  </a:lnTo>
                  <a:lnTo>
                    <a:pt x="515" y="340"/>
                  </a:lnTo>
                  <a:lnTo>
                    <a:pt x="516" y="341"/>
                  </a:lnTo>
                  <a:lnTo>
                    <a:pt x="516" y="343"/>
                  </a:lnTo>
                  <a:lnTo>
                    <a:pt x="516" y="344"/>
                  </a:lnTo>
                  <a:lnTo>
                    <a:pt x="516" y="345"/>
                  </a:lnTo>
                  <a:lnTo>
                    <a:pt x="516" y="346"/>
                  </a:lnTo>
                  <a:lnTo>
                    <a:pt x="516" y="346"/>
                  </a:lnTo>
                  <a:lnTo>
                    <a:pt x="515" y="348"/>
                  </a:lnTo>
                  <a:lnTo>
                    <a:pt x="515" y="350"/>
                  </a:lnTo>
                  <a:lnTo>
                    <a:pt x="514" y="352"/>
                  </a:lnTo>
                  <a:lnTo>
                    <a:pt x="513" y="355"/>
                  </a:lnTo>
                  <a:lnTo>
                    <a:pt x="513" y="355"/>
                  </a:lnTo>
                  <a:lnTo>
                    <a:pt x="513" y="356"/>
                  </a:lnTo>
                  <a:lnTo>
                    <a:pt x="513" y="356"/>
                  </a:lnTo>
                  <a:lnTo>
                    <a:pt x="512" y="356"/>
                  </a:lnTo>
                  <a:lnTo>
                    <a:pt x="511" y="357"/>
                  </a:lnTo>
                  <a:lnTo>
                    <a:pt x="511" y="357"/>
                  </a:lnTo>
                  <a:lnTo>
                    <a:pt x="510" y="357"/>
                  </a:lnTo>
                  <a:lnTo>
                    <a:pt x="507" y="358"/>
                  </a:lnTo>
                  <a:lnTo>
                    <a:pt x="505" y="359"/>
                  </a:lnTo>
                  <a:lnTo>
                    <a:pt x="504" y="359"/>
                  </a:lnTo>
                  <a:lnTo>
                    <a:pt x="503" y="360"/>
                  </a:lnTo>
                  <a:lnTo>
                    <a:pt x="499" y="362"/>
                  </a:lnTo>
                  <a:lnTo>
                    <a:pt x="497" y="363"/>
                  </a:lnTo>
                  <a:lnTo>
                    <a:pt x="495" y="364"/>
                  </a:lnTo>
                  <a:lnTo>
                    <a:pt x="491" y="367"/>
                  </a:lnTo>
                  <a:lnTo>
                    <a:pt x="490" y="368"/>
                  </a:lnTo>
                  <a:lnTo>
                    <a:pt x="489" y="368"/>
                  </a:lnTo>
                  <a:lnTo>
                    <a:pt x="487" y="369"/>
                  </a:lnTo>
                  <a:lnTo>
                    <a:pt x="486" y="369"/>
                  </a:lnTo>
                  <a:lnTo>
                    <a:pt x="485" y="369"/>
                  </a:lnTo>
                  <a:lnTo>
                    <a:pt x="484" y="369"/>
                  </a:lnTo>
                  <a:lnTo>
                    <a:pt x="484" y="369"/>
                  </a:lnTo>
                  <a:lnTo>
                    <a:pt x="483" y="369"/>
                  </a:lnTo>
                  <a:lnTo>
                    <a:pt x="482" y="369"/>
                  </a:lnTo>
                  <a:lnTo>
                    <a:pt x="480" y="369"/>
                  </a:lnTo>
                  <a:lnTo>
                    <a:pt x="476" y="367"/>
                  </a:lnTo>
                  <a:lnTo>
                    <a:pt x="475" y="367"/>
                  </a:lnTo>
                  <a:lnTo>
                    <a:pt x="474" y="367"/>
                  </a:lnTo>
                  <a:lnTo>
                    <a:pt x="472" y="367"/>
                  </a:lnTo>
                  <a:lnTo>
                    <a:pt x="469" y="366"/>
                  </a:lnTo>
                  <a:lnTo>
                    <a:pt x="466" y="366"/>
                  </a:lnTo>
                  <a:lnTo>
                    <a:pt x="464" y="366"/>
                  </a:lnTo>
                  <a:lnTo>
                    <a:pt x="463" y="366"/>
                  </a:lnTo>
                  <a:lnTo>
                    <a:pt x="461" y="366"/>
                  </a:lnTo>
                  <a:lnTo>
                    <a:pt x="458" y="366"/>
                  </a:lnTo>
                  <a:lnTo>
                    <a:pt x="452" y="368"/>
                  </a:lnTo>
                  <a:lnTo>
                    <a:pt x="450" y="368"/>
                  </a:lnTo>
                  <a:lnTo>
                    <a:pt x="448" y="368"/>
                  </a:lnTo>
                  <a:lnTo>
                    <a:pt x="447" y="368"/>
                  </a:lnTo>
                  <a:lnTo>
                    <a:pt x="446" y="368"/>
                  </a:lnTo>
                  <a:lnTo>
                    <a:pt x="445" y="368"/>
                  </a:lnTo>
                  <a:lnTo>
                    <a:pt x="444" y="368"/>
                  </a:lnTo>
                  <a:lnTo>
                    <a:pt x="443" y="368"/>
                  </a:lnTo>
                  <a:lnTo>
                    <a:pt x="442" y="367"/>
                  </a:lnTo>
                  <a:lnTo>
                    <a:pt x="440" y="366"/>
                  </a:lnTo>
                  <a:lnTo>
                    <a:pt x="439" y="366"/>
                  </a:lnTo>
                  <a:lnTo>
                    <a:pt x="438" y="366"/>
                  </a:lnTo>
                  <a:lnTo>
                    <a:pt x="437" y="366"/>
                  </a:lnTo>
                  <a:lnTo>
                    <a:pt x="436" y="366"/>
                  </a:lnTo>
                  <a:lnTo>
                    <a:pt x="435" y="366"/>
                  </a:lnTo>
                  <a:lnTo>
                    <a:pt x="434" y="366"/>
                  </a:lnTo>
                  <a:lnTo>
                    <a:pt x="433" y="366"/>
                  </a:lnTo>
                  <a:lnTo>
                    <a:pt x="432" y="366"/>
                  </a:lnTo>
                  <a:lnTo>
                    <a:pt x="431" y="366"/>
                  </a:lnTo>
                  <a:lnTo>
                    <a:pt x="430" y="366"/>
                  </a:lnTo>
                  <a:lnTo>
                    <a:pt x="430" y="367"/>
                  </a:lnTo>
                  <a:lnTo>
                    <a:pt x="429" y="367"/>
                  </a:lnTo>
                  <a:lnTo>
                    <a:pt x="428" y="368"/>
                  </a:lnTo>
                  <a:lnTo>
                    <a:pt x="427" y="369"/>
                  </a:lnTo>
                  <a:lnTo>
                    <a:pt x="426" y="370"/>
                  </a:lnTo>
                  <a:lnTo>
                    <a:pt x="425" y="370"/>
                  </a:lnTo>
                  <a:lnTo>
                    <a:pt x="425" y="371"/>
                  </a:lnTo>
                  <a:lnTo>
                    <a:pt x="424" y="372"/>
                  </a:lnTo>
                  <a:lnTo>
                    <a:pt x="424" y="373"/>
                  </a:lnTo>
                  <a:lnTo>
                    <a:pt x="424" y="374"/>
                  </a:lnTo>
                  <a:lnTo>
                    <a:pt x="423" y="374"/>
                  </a:lnTo>
                  <a:lnTo>
                    <a:pt x="423" y="375"/>
                  </a:lnTo>
                  <a:lnTo>
                    <a:pt x="423" y="376"/>
                  </a:lnTo>
                  <a:lnTo>
                    <a:pt x="423" y="377"/>
                  </a:lnTo>
                  <a:lnTo>
                    <a:pt x="423" y="380"/>
                  </a:lnTo>
                  <a:lnTo>
                    <a:pt x="423" y="381"/>
                  </a:lnTo>
                  <a:lnTo>
                    <a:pt x="423" y="382"/>
                  </a:lnTo>
                  <a:lnTo>
                    <a:pt x="423" y="383"/>
                  </a:lnTo>
                  <a:lnTo>
                    <a:pt x="423" y="384"/>
                  </a:lnTo>
                  <a:lnTo>
                    <a:pt x="422" y="385"/>
                  </a:lnTo>
                  <a:lnTo>
                    <a:pt x="422" y="386"/>
                  </a:lnTo>
                  <a:lnTo>
                    <a:pt x="421" y="387"/>
                  </a:lnTo>
                  <a:lnTo>
                    <a:pt x="420" y="389"/>
                  </a:lnTo>
                  <a:lnTo>
                    <a:pt x="418" y="392"/>
                  </a:lnTo>
                  <a:lnTo>
                    <a:pt x="417" y="393"/>
                  </a:lnTo>
                  <a:lnTo>
                    <a:pt x="414" y="397"/>
                  </a:lnTo>
                  <a:lnTo>
                    <a:pt x="411" y="400"/>
                  </a:lnTo>
                  <a:lnTo>
                    <a:pt x="410" y="401"/>
                  </a:lnTo>
                  <a:lnTo>
                    <a:pt x="409" y="403"/>
                  </a:lnTo>
                  <a:lnTo>
                    <a:pt x="407" y="406"/>
                  </a:lnTo>
                  <a:lnTo>
                    <a:pt x="405" y="410"/>
                  </a:lnTo>
                  <a:lnTo>
                    <a:pt x="404" y="411"/>
                  </a:lnTo>
                  <a:lnTo>
                    <a:pt x="403" y="412"/>
                  </a:lnTo>
                  <a:lnTo>
                    <a:pt x="402" y="413"/>
                  </a:lnTo>
                  <a:lnTo>
                    <a:pt x="401" y="414"/>
                  </a:lnTo>
                  <a:lnTo>
                    <a:pt x="400" y="415"/>
                  </a:lnTo>
                  <a:lnTo>
                    <a:pt x="399" y="416"/>
                  </a:lnTo>
                  <a:lnTo>
                    <a:pt x="398" y="416"/>
                  </a:lnTo>
                  <a:lnTo>
                    <a:pt x="397" y="417"/>
                  </a:lnTo>
                  <a:lnTo>
                    <a:pt x="396" y="418"/>
                  </a:lnTo>
                  <a:lnTo>
                    <a:pt x="395" y="418"/>
                  </a:lnTo>
                  <a:lnTo>
                    <a:pt x="394" y="418"/>
                  </a:lnTo>
                  <a:lnTo>
                    <a:pt x="392" y="419"/>
                  </a:lnTo>
                  <a:lnTo>
                    <a:pt x="391" y="419"/>
                  </a:lnTo>
                  <a:lnTo>
                    <a:pt x="390" y="419"/>
                  </a:lnTo>
                  <a:lnTo>
                    <a:pt x="389" y="419"/>
                  </a:lnTo>
                  <a:lnTo>
                    <a:pt x="388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3" y="419"/>
                  </a:lnTo>
                  <a:lnTo>
                    <a:pt x="383" y="419"/>
                  </a:lnTo>
                  <a:lnTo>
                    <a:pt x="382" y="418"/>
                  </a:lnTo>
                  <a:lnTo>
                    <a:pt x="381" y="418"/>
                  </a:lnTo>
                  <a:lnTo>
                    <a:pt x="380" y="417"/>
                  </a:lnTo>
                  <a:lnTo>
                    <a:pt x="379" y="416"/>
                  </a:lnTo>
                  <a:lnTo>
                    <a:pt x="378" y="416"/>
                  </a:lnTo>
                  <a:lnTo>
                    <a:pt x="377" y="415"/>
                  </a:lnTo>
                  <a:lnTo>
                    <a:pt x="377" y="414"/>
                  </a:lnTo>
                  <a:lnTo>
                    <a:pt x="376" y="414"/>
                  </a:lnTo>
                  <a:lnTo>
                    <a:pt x="376" y="413"/>
                  </a:lnTo>
                  <a:lnTo>
                    <a:pt x="375" y="412"/>
                  </a:lnTo>
                  <a:lnTo>
                    <a:pt x="375" y="412"/>
                  </a:lnTo>
                  <a:lnTo>
                    <a:pt x="374" y="410"/>
                  </a:lnTo>
                  <a:lnTo>
                    <a:pt x="372" y="406"/>
                  </a:lnTo>
                  <a:lnTo>
                    <a:pt x="372" y="405"/>
                  </a:lnTo>
                  <a:lnTo>
                    <a:pt x="372" y="405"/>
                  </a:lnTo>
                  <a:lnTo>
                    <a:pt x="371" y="404"/>
                  </a:lnTo>
                  <a:lnTo>
                    <a:pt x="371" y="403"/>
                  </a:lnTo>
                  <a:lnTo>
                    <a:pt x="369" y="400"/>
                  </a:lnTo>
                  <a:lnTo>
                    <a:pt x="368" y="399"/>
                  </a:lnTo>
                  <a:lnTo>
                    <a:pt x="367" y="399"/>
                  </a:lnTo>
                  <a:lnTo>
                    <a:pt x="366" y="398"/>
                  </a:lnTo>
                  <a:lnTo>
                    <a:pt x="365" y="397"/>
                  </a:lnTo>
                  <a:lnTo>
                    <a:pt x="360" y="394"/>
                  </a:lnTo>
                  <a:lnTo>
                    <a:pt x="359" y="393"/>
                  </a:lnTo>
                  <a:lnTo>
                    <a:pt x="358" y="392"/>
                  </a:lnTo>
                  <a:lnTo>
                    <a:pt x="357" y="391"/>
                  </a:lnTo>
                  <a:lnTo>
                    <a:pt x="357" y="390"/>
                  </a:lnTo>
                  <a:lnTo>
                    <a:pt x="356" y="389"/>
                  </a:lnTo>
                  <a:lnTo>
                    <a:pt x="355" y="388"/>
                  </a:lnTo>
                  <a:lnTo>
                    <a:pt x="354" y="386"/>
                  </a:lnTo>
                  <a:lnTo>
                    <a:pt x="352" y="382"/>
                  </a:lnTo>
                  <a:lnTo>
                    <a:pt x="351" y="381"/>
                  </a:lnTo>
                  <a:lnTo>
                    <a:pt x="351" y="380"/>
                  </a:lnTo>
                  <a:lnTo>
                    <a:pt x="350" y="380"/>
                  </a:lnTo>
                  <a:lnTo>
                    <a:pt x="349" y="379"/>
                  </a:lnTo>
                  <a:lnTo>
                    <a:pt x="348" y="379"/>
                  </a:lnTo>
                  <a:lnTo>
                    <a:pt x="347" y="378"/>
                  </a:lnTo>
                  <a:lnTo>
                    <a:pt x="346" y="378"/>
                  </a:lnTo>
                  <a:lnTo>
                    <a:pt x="345" y="377"/>
                  </a:lnTo>
                  <a:lnTo>
                    <a:pt x="344" y="377"/>
                  </a:lnTo>
                  <a:lnTo>
                    <a:pt x="343" y="377"/>
                  </a:lnTo>
                  <a:lnTo>
                    <a:pt x="343" y="377"/>
                  </a:lnTo>
                  <a:lnTo>
                    <a:pt x="341" y="378"/>
                  </a:lnTo>
                  <a:lnTo>
                    <a:pt x="338" y="378"/>
                  </a:lnTo>
                  <a:lnTo>
                    <a:pt x="337" y="379"/>
                  </a:lnTo>
                  <a:lnTo>
                    <a:pt x="336" y="379"/>
                  </a:lnTo>
                  <a:lnTo>
                    <a:pt x="335" y="379"/>
                  </a:lnTo>
                  <a:lnTo>
                    <a:pt x="334" y="379"/>
                  </a:lnTo>
                  <a:lnTo>
                    <a:pt x="333" y="379"/>
                  </a:lnTo>
                  <a:lnTo>
                    <a:pt x="330" y="378"/>
                  </a:lnTo>
                  <a:lnTo>
                    <a:pt x="329" y="378"/>
                  </a:lnTo>
                  <a:lnTo>
                    <a:pt x="323" y="377"/>
                  </a:lnTo>
                  <a:lnTo>
                    <a:pt x="322" y="377"/>
                  </a:lnTo>
                  <a:lnTo>
                    <a:pt x="321" y="376"/>
                  </a:lnTo>
                  <a:lnTo>
                    <a:pt x="319" y="376"/>
                  </a:lnTo>
                  <a:lnTo>
                    <a:pt x="319" y="375"/>
                  </a:lnTo>
                  <a:lnTo>
                    <a:pt x="318" y="375"/>
                  </a:lnTo>
                  <a:lnTo>
                    <a:pt x="316" y="374"/>
                  </a:lnTo>
                  <a:lnTo>
                    <a:pt x="312" y="371"/>
                  </a:lnTo>
                  <a:lnTo>
                    <a:pt x="311" y="370"/>
                  </a:lnTo>
                  <a:lnTo>
                    <a:pt x="310" y="370"/>
                  </a:lnTo>
                  <a:lnTo>
                    <a:pt x="309" y="369"/>
                  </a:lnTo>
                  <a:lnTo>
                    <a:pt x="308" y="369"/>
                  </a:lnTo>
                  <a:lnTo>
                    <a:pt x="307" y="369"/>
                  </a:lnTo>
                  <a:lnTo>
                    <a:pt x="306" y="368"/>
                  </a:lnTo>
                  <a:lnTo>
                    <a:pt x="303" y="368"/>
                  </a:lnTo>
                  <a:lnTo>
                    <a:pt x="302" y="368"/>
                  </a:lnTo>
                  <a:lnTo>
                    <a:pt x="301" y="368"/>
                  </a:lnTo>
                  <a:lnTo>
                    <a:pt x="297" y="367"/>
                  </a:lnTo>
                  <a:lnTo>
                    <a:pt x="296" y="367"/>
                  </a:lnTo>
                  <a:lnTo>
                    <a:pt x="295" y="367"/>
                  </a:lnTo>
                  <a:lnTo>
                    <a:pt x="293" y="367"/>
                  </a:lnTo>
                  <a:lnTo>
                    <a:pt x="290" y="367"/>
                  </a:lnTo>
                  <a:lnTo>
                    <a:pt x="287" y="367"/>
                  </a:lnTo>
                  <a:lnTo>
                    <a:pt x="285" y="367"/>
                  </a:lnTo>
                  <a:lnTo>
                    <a:pt x="281" y="368"/>
                  </a:lnTo>
                  <a:lnTo>
                    <a:pt x="278" y="369"/>
                  </a:lnTo>
                  <a:lnTo>
                    <a:pt x="274" y="370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2" y="373"/>
                  </a:lnTo>
                  <a:lnTo>
                    <a:pt x="261" y="372"/>
                  </a:lnTo>
                  <a:lnTo>
                    <a:pt x="261" y="372"/>
                  </a:lnTo>
                  <a:lnTo>
                    <a:pt x="260" y="372"/>
                  </a:lnTo>
                  <a:lnTo>
                    <a:pt x="259" y="371"/>
                  </a:lnTo>
                  <a:lnTo>
                    <a:pt x="259" y="371"/>
                  </a:lnTo>
                  <a:lnTo>
                    <a:pt x="258" y="371"/>
                  </a:lnTo>
                  <a:lnTo>
                    <a:pt x="258" y="370"/>
                  </a:lnTo>
                  <a:lnTo>
                    <a:pt x="257" y="369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5" y="365"/>
                  </a:lnTo>
                  <a:lnTo>
                    <a:pt x="254" y="364"/>
                  </a:lnTo>
                  <a:lnTo>
                    <a:pt x="253" y="363"/>
                  </a:lnTo>
                  <a:lnTo>
                    <a:pt x="252" y="362"/>
                  </a:lnTo>
                  <a:lnTo>
                    <a:pt x="250" y="361"/>
                  </a:lnTo>
                  <a:lnTo>
                    <a:pt x="249" y="361"/>
                  </a:lnTo>
                  <a:lnTo>
                    <a:pt x="248" y="360"/>
                  </a:lnTo>
                  <a:lnTo>
                    <a:pt x="247" y="360"/>
                  </a:lnTo>
                  <a:lnTo>
                    <a:pt x="245" y="359"/>
                  </a:lnTo>
                  <a:lnTo>
                    <a:pt x="243" y="359"/>
                  </a:lnTo>
                  <a:lnTo>
                    <a:pt x="242" y="359"/>
                  </a:lnTo>
                  <a:lnTo>
                    <a:pt x="240" y="359"/>
                  </a:lnTo>
                  <a:lnTo>
                    <a:pt x="239" y="359"/>
                  </a:lnTo>
                  <a:lnTo>
                    <a:pt x="239" y="359"/>
                  </a:lnTo>
                  <a:lnTo>
                    <a:pt x="239" y="359"/>
                  </a:lnTo>
                  <a:lnTo>
                    <a:pt x="238" y="359"/>
                  </a:lnTo>
                  <a:lnTo>
                    <a:pt x="237" y="359"/>
                  </a:lnTo>
                  <a:lnTo>
                    <a:pt x="237" y="359"/>
                  </a:lnTo>
                  <a:lnTo>
                    <a:pt x="235" y="360"/>
                  </a:lnTo>
                  <a:lnTo>
                    <a:pt x="235" y="360"/>
                  </a:lnTo>
                  <a:lnTo>
                    <a:pt x="234" y="359"/>
                  </a:lnTo>
                  <a:lnTo>
                    <a:pt x="234" y="359"/>
                  </a:lnTo>
                  <a:lnTo>
                    <a:pt x="233" y="356"/>
                  </a:lnTo>
                  <a:lnTo>
                    <a:pt x="231" y="353"/>
                  </a:lnTo>
                  <a:lnTo>
                    <a:pt x="231" y="352"/>
                  </a:lnTo>
                  <a:lnTo>
                    <a:pt x="230" y="351"/>
                  </a:lnTo>
                  <a:lnTo>
                    <a:pt x="229" y="350"/>
                  </a:lnTo>
                  <a:lnTo>
                    <a:pt x="228" y="349"/>
                  </a:lnTo>
                  <a:lnTo>
                    <a:pt x="228" y="349"/>
                  </a:lnTo>
                  <a:lnTo>
                    <a:pt x="228" y="349"/>
                  </a:lnTo>
                  <a:lnTo>
                    <a:pt x="227" y="349"/>
                  </a:lnTo>
                  <a:lnTo>
                    <a:pt x="227" y="348"/>
                  </a:lnTo>
                  <a:lnTo>
                    <a:pt x="226" y="348"/>
                  </a:lnTo>
                  <a:lnTo>
                    <a:pt x="226" y="348"/>
                  </a:lnTo>
                  <a:lnTo>
                    <a:pt x="225" y="349"/>
                  </a:lnTo>
                  <a:lnTo>
                    <a:pt x="224" y="349"/>
                  </a:lnTo>
                  <a:lnTo>
                    <a:pt x="223" y="349"/>
                  </a:lnTo>
                  <a:lnTo>
                    <a:pt x="222" y="350"/>
                  </a:lnTo>
                  <a:lnTo>
                    <a:pt x="221" y="351"/>
                  </a:lnTo>
                  <a:lnTo>
                    <a:pt x="219" y="353"/>
                  </a:lnTo>
                  <a:lnTo>
                    <a:pt x="218" y="353"/>
                  </a:lnTo>
                  <a:lnTo>
                    <a:pt x="218" y="353"/>
                  </a:lnTo>
                  <a:lnTo>
                    <a:pt x="218" y="353"/>
                  </a:lnTo>
                  <a:lnTo>
                    <a:pt x="217" y="353"/>
                  </a:lnTo>
                  <a:lnTo>
                    <a:pt x="216" y="353"/>
                  </a:lnTo>
                  <a:lnTo>
                    <a:pt x="216" y="353"/>
                  </a:lnTo>
                  <a:lnTo>
                    <a:pt x="216" y="352"/>
                  </a:lnTo>
                  <a:lnTo>
                    <a:pt x="215" y="352"/>
                  </a:lnTo>
                  <a:lnTo>
                    <a:pt x="215" y="351"/>
                  </a:lnTo>
                  <a:lnTo>
                    <a:pt x="214" y="350"/>
                  </a:lnTo>
                  <a:lnTo>
                    <a:pt x="214" y="349"/>
                  </a:lnTo>
                  <a:lnTo>
                    <a:pt x="214" y="349"/>
                  </a:lnTo>
                  <a:lnTo>
                    <a:pt x="214" y="348"/>
                  </a:lnTo>
                  <a:lnTo>
                    <a:pt x="215" y="347"/>
                  </a:lnTo>
                  <a:lnTo>
                    <a:pt x="215" y="346"/>
                  </a:lnTo>
                  <a:lnTo>
                    <a:pt x="216" y="345"/>
                  </a:lnTo>
                  <a:lnTo>
                    <a:pt x="216" y="344"/>
                  </a:lnTo>
                  <a:lnTo>
                    <a:pt x="216" y="343"/>
                  </a:lnTo>
                  <a:lnTo>
                    <a:pt x="216" y="343"/>
                  </a:lnTo>
                  <a:lnTo>
                    <a:pt x="216" y="342"/>
                  </a:lnTo>
                  <a:lnTo>
                    <a:pt x="216" y="341"/>
                  </a:lnTo>
                  <a:lnTo>
                    <a:pt x="216" y="341"/>
                  </a:lnTo>
                  <a:lnTo>
                    <a:pt x="215" y="340"/>
                  </a:lnTo>
                  <a:lnTo>
                    <a:pt x="214" y="337"/>
                  </a:lnTo>
                  <a:lnTo>
                    <a:pt x="212" y="334"/>
                  </a:lnTo>
                  <a:lnTo>
                    <a:pt x="211" y="332"/>
                  </a:lnTo>
                  <a:lnTo>
                    <a:pt x="209" y="330"/>
                  </a:lnTo>
                  <a:lnTo>
                    <a:pt x="208" y="329"/>
                  </a:lnTo>
                  <a:lnTo>
                    <a:pt x="206" y="327"/>
                  </a:lnTo>
                  <a:lnTo>
                    <a:pt x="203" y="324"/>
                  </a:lnTo>
                  <a:lnTo>
                    <a:pt x="202" y="322"/>
                  </a:lnTo>
                  <a:lnTo>
                    <a:pt x="200" y="322"/>
                  </a:lnTo>
                  <a:lnTo>
                    <a:pt x="193" y="316"/>
                  </a:lnTo>
                  <a:lnTo>
                    <a:pt x="192" y="315"/>
                  </a:lnTo>
                  <a:lnTo>
                    <a:pt x="191" y="315"/>
                  </a:lnTo>
                  <a:lnTo>
                    <a:pt x="191" y="314"/>
                  </a:lnTo>
                  <a:lnTo>
                    <a:pt x="190" y="313"/>
                  </a:lnTo>
                  <a:lnTo>
                    <a:pt x="189" y="311"/>
                  </a:lnTo>
                  <a:lnTo>
                    <a:pt x="188" y="310"/>
                  </a:lnTo>
                  <a:lnTo>
                    <a:pt x="187" y="308"/>
                  </a:lnTo>
                  <a:lnTo>
                    <a:pt x="186" y="307"/>
                  </a:lnTo>
                  <a:lnTo>
                    <a:pt x="186" y="306"/>
                  </a:lnTo>
                  <a:lnTo>
                    <a:pt x="185" y="304"/>
                  </a:lnTo>
                  <a:lnTo>
                    <a:pt x="183" y="303"/>
                  </a:lnTo>
                  <a:lnTo>
                    <a:pt x="182" y="302"/>
                  </a:lnTo>
                  <a:lnTo>
                    <a:pt x="182" y="301"/>
                  </a:lnTo>
                  <a:lnTo>
                    <a:pt x="181" y="300"/>
                  </a:lnTo>
                  <a:lnTo>
                    <a:pt x="180" y="300"/>
                  </a:lnTo>
                  <a:lnTo>
                    <a:pt x="180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78" y="299"/>
                  </a:lnTo>
                  <a:lnTo>
                    <a:pt x="178" y="300"/>
                  </a:lnTo>
                  <a:lnTo>
                    <a:pt x="177" y="300"/>
                  </a:lnTo>
                  <a:lnTo>
                    <a:pt x="176" y="301"/>
                  </a:lnTo>
                  <a:lnTo>
                    <a:pt x="175" y="301"/>
                  </a:lnTo>
                  <a:lnTo>
                    <a:pt x="175" y="301"/>
                  </a:lnTo>
                  <a:lnTo>
                    <a:pt x="174" y="302"/>
                  </a:lnTo>
                  <a:lnTo>
                    <a:pt x="173" y="302"/>
                  </a:lnTo>
                  <a:lnTo>
                    <a:pt x="173" y="302"/>
                  </a:lnTo>
                  <a:lnTo>
                    <a:pt x="172" y="302"/>
                  </a:lnTo>
                  <a:lnTo>
                    <a:pt x="171" y="301"/>
                  </a:lnTo>
                  <a:lnTo>
                    <a:pt x="170" y="301"/>
                  </a:lnTo>
                  <a:lnTo>
                    <a:pt x="169" y="300"/>
                  </a:lnTo>
                  <a:lnTo>
                    <a:pt x="168" y="299"/>
                  </a:lnTo>
                  <a:lnTo>
                    <a:pt x="167" y="299"/>
                  </a:lnTo>
                  <a:lnTo>
                    <a:pt x="166" y="298"/>
                  </a:lnTo>
                  <a:lnTo>
                    <a:pt x="165" y="297"/>
                  </a:lnTo>
                  <a:lnTo>
                    <a:pt x="165" y="297"/>
                  </a:lnTo>
                  <a:lnTo>
                    <a:pt x="164" y="296"/>
                  </a:lnTo>
                  <a:lnTo>
                    <a:pt x="164" y="295"/>
                  </a:lnTo>
                  <a:lnTo>
                    <a:pt x="163" y="294"/>
                  </a:lnTo>
                  <a:lnTo>
                    <a:pt x="163" y="293"/>
                  </a:lnTo>
                  <a:lnTo>
                    <a:pt x="163" y="291"/>
                  </a:lnTo>
                  <a:lnTo>
                    <a:pt x="162" y="289"/>
                  </a:lnTo>
                  <a:lnTo>
                    <a:pt x="162" y="288"/>
                  </a:lnTo>
                  <a:lnTo>
                    <a:pt x="162" y="286"/>
                  </a:lnTo>
                  <a:lnTo>
                    <a:pt x="162" y="285"/>
                  </a:lnTo>
                  <a:lnTo>
                    <a:pt x="162" y="284"/>
                  </a:lnTo>
                  <a:lnTo>
                    <a:pt x="162" y="283"/>
                  </a:lnTo>
                  <a:lnTo>
                    <a:pt x="162" y="282"/>
                  </a:lnTo>
                  <a:lnTo>
                    <a:pt x="163" y="280"/>
                  </a:lnTo>
                  <a:lnTo>
                    <a:pt x="164" y="276"/>
                  </a:lnTo>
                  <a:lnTo>
                    <a:pt x="164" y="275"/>
                  </a:lnTo>
                  <a:lnTo>
                    <a:pt x="164" y="274"/>
                  </a:lnTo>
                  <a:lnTo>
                    <a:pt x="164" y="273"/>
                  </a:lnTo>
                  <a:lnTo>
                    <a:pt x="164" y="272"/>
                  </a:lnTo>
                  <a:lnTo>
                    <a:pt x="164" y="271"/>
                  </a:lnTo>
                  <a:lnTo>
                    <a:pt x="164" y="269"/>
                  </a:lnTo>
                  <a:lnTo>
                    <a:pt x="164" y="268"/>
                  </a:lnTo>
                  <a:lnTo>
                    <a:pt x="163" y="266"/>
                  </a:lnTo>
                  <a:lnTo>
                    <a:pt x="163" y="265"/>
                  </a:lnTo>
                  <a:lnTo>
                    <a:pt x="162" y="264"/>
                  </a:lnTo>
                  <a:lnTo>
                    <a:pt x="162" y="263"/>
                  </a:lnTo>
                  <a:lnTo>
                    <a:pt x="161" y="262"/>
                  </a:lnTo>
                  <a:lnTo>
                    <a:pt x="161" y="261"/>
                  </a:lnTo>
                  <a:lnTo>
                    <a:pt x="160" y="260"/>
                  </a:lnTo>
                  <a:lnTo>
                    <a:pt x="160" y="260"/>
                  </a:lnTo>
                  <a:lnTo>
                    <a:pt x="159" y="259"/>
                  </a:lnTo>
                  <a:lnTo>
                    <a:pt x="159" y="259"/>
                  </a:lnTo>
                  <a:lnTo>
                    <a:pt x="158" y="259"/>
                  </a:lnTo>
                  <a:lnTo>
                    <a:pt x="158" y="259"/>
                  </a:lnTo>
                  <a:lnTo>
                    <a:pt x="157" y="259"/>
                  </a:lnTo>
                  <a:lnTo>
                    <a:pt x="156" y="259"/>
                  </a:lnTo>
                  <a:lnTo>
                    <a:pt x="156" y="259"/>
                  </a:lnTo>
                  <a:lnTo>
                    <a:pt x="153" y="260"/>
                  </a:lnTo>
                  <a:lnTo>
                    <a:pt x="152" y="260"/>
                  </a:lnTo>
                  <a:lnTo>
                    <a:pt x="147" y="262"/>
                  </a:lnTo>
                  <a:lnTo>
                    <a:pt x="146" y="262"/>
                  </a:lnTo>
                  <a:lnTo>
                    <a:pt x="144" y="263"/>
                  </a:lnTo>
                  <a:lnTo>
                    <a:pt x="142" y="264"/>
                  </a:lnTo>
                  <a:lnTo>
                    <a:pt x="140" y="265"/>
                  </a:lnTo>
                  <a:lnTo>
                    <a:pt x="139" y="265"/>
                  </a:lnTo>
                  <a:lnTo>
                    <a:pt x="138" y="265"/>
                  </a:lnTo>
                  <a:lnTo>
                    <a:pt x="138" y="265"/>
                  </a:lnTo>
                  <a:lnTo>
                    <a:pt x="137" y="265"/>
                  </a:lnTo>
                  <a:lnTo>
                    <a:pt x="136" y="265"/>
                  </a:lnTo>
                  <a:lnTo>
                    <a:pt x="133" y="264"/>
                  </a:lnTo>
                  <a:lnTo>
                    <a:pt x="132" y="264"/>
                  </a:lnTo>
                  <a:lnTo>
                    <a:pt x="131" y="264"/>
                  </a:lnTo>
                  <a:lnTo>
                    <a:pt x="129" y="263"/>
                  </a:lnTo>
                  <a:lnTo>
                    <a:pt x="125" y="261"/>
                  </a:lnTo>
                  <a:lnTo>
                    <a:pt x="124" y="261"/>
                  </a:lnTo>
                  <a:lnTo>
                    <a:pt x="123" y="260"/>
                  </a:lnTo>
                  <a:lnTo>
                    <a:pt x="122" y="259"/>
                  </a:lnTo>
                  <a:lnTo>
                    <a:pt x="121" y="258"/>
                  </a:lnTo>
                  <a:lnTo>
                    <a:pt x="120" y="257"/>
                  </a:lnTo>
                  <a:lnTo>
                    <a:pt x="119" y="257"/>
                  </a:lnTo>
                  <a:lnTo>
                    <a:pt x="118" y="256"/>
                  </a:lnTo>
                  <a:lnTo>
                    <a:pt x="116" y="255"/>
                  </a:lnTo>
                  <a:lnTo>
                    <a:pt x="115" y="255"/>
                  </a:lnTo>
                  <a:lnTo>
                    <a:pt x="114" y="254"/>
                  </a:lnTo>
                  <a:lnTo>
                    <a:pt x="114" y="254"/>
                  </a:lnTo>
                  <a:lnTo>
                    <a:pt x="113" y="253"/>
                  </a:lnTo>
                  <a:lnTo>
                    <a:pt x="112" y="252"/>
                  </a:lnTo>
                  <a:lnTo>
                    <a:pt x="112" y="251"/>
                  </a:lnTo>
                  <a:lnTo>
                    <a:pt x="111" y="249"/>
                  </a:lnTo>
                  <a:lnTo>
                    <a:pt x="110" y="248"/>
                  </a:lnTo>
                  <a:lnTo>
                    <a:pt x="109" y="247"/>
                  </a:lnTo>
                  <a:lnTo>
                    <a:pt x="106" y="244"/>
                  </a:lnTo>
                  <a:lnTo>
                    <a:pt x="106" y="244"/>
                  </a:lnTo>
                  <a:lnTo>
                    <a:pt x="106" y="243"/>
                  </a:lnTo>
                  <a:lnTo>
                    <a:pt x="105" y="242"/>
                  </a:lnTo>
                  <a:lnTo>
                    <a:pt x="105" y="241"/>
                  </a:lnTo>
                  <a:lnTo>
                    <a:pt x="105" y="240"/>
                  </a:lnTo>
                  <a:lnTo>
                    <a:pt x="105" y="238"/>
                  </a:lnTo>
                  <a:lnTo>
                    <a:pt x="105" y="238"/>
                  </a:lnTo>
                  <a:lnTo>
                    <a:pt x="104" y="237"/>
                  </a:lnTo>
                  <a:lnTo>
                    <a:pt x="104" y="236"/>
                  </a:lnTo>
                  <a:lnTo>
                    <a:pt x="104" y="236"/>
                  </a:lnTo>
                  <a:lnTo>
                    <a:pt x="103" y="235"/>
                  </a:lnTo>
                  <a:lnTo>
                    <a:pt x="103" y="234"/>
                  </a:lnTo>
                  <a:lnTo>
                    <a:pt x="101" y="232"/>
                  </a:lnTo>
                  <a:lnTo>
                    <a:pt x="101" y="231"/>
                  </a:lnTo>
                  <a:lnTo>
                    <a:pt x="100" y="229"/>
                  </a:lnTo>
                  <a:lnTo>
                    <a:pt x="100" y="228"/>
                  </a:lnTo>
                  <a:lnTo>
                    <a:pt x="100" y="226"/>
                  </a:lnTo>
                  <a:lnTo>
                    <a:pt x="100" y="226"/>
                  </a:lnTo>
                  <a:lnTo>
                    <a:pt x="100" y="224"/>
                  </a:lnTo>
                  <a:lnTo>
                    <a:pt x="100" y="222"/>
                  </a:lnTo>
                  <a:lnTo>
                    <a:pt x="99" y="221"/>
                  </a:lnTo>
                  <a:lnTo>
                    <a:pt x="99" y="220"/>
                  </a:lnTo>
                  <a:lnTo>
                    <a:pt x="98" y="218"/>
                  </a:lnTo>
                  <a:lnTo>
                    <a:pt x="97" y="216"/>
                  </a:lnTo>
                  <a:lnTo>
                    <a:pt x="96" y="213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4" y="211"/>
                  </a:lnTo>
                  <a:lnTo>
                    <a:pt x="94" y="211"/>
                  </a:lnTo>
                  <a:lnTo>
                    <a:pt x="93" y="211"/>
                  </a:lnTo>
                  <a:lnTo>
                    <a:pt x="92" y="211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0" y="211"/>
                  </a:lnTo>
                  <a:lnTo>
                    <a:pt x="90" y="212"/>
                  </a:lnTo>
                  <a:lnTo>
                    <a:pt x="89" y="213"/>
                  </a:lnTo>
                  <a:lnTo>
                    <a:pt x="89" y="213"/>
                  </a:lnTo>
                  <a:lnTo>
                    <a:pt x="89" y="214"/>
                  </a:lnTo>
                  <a:lnTo>
                    <a:pt x="90" y="215"/>
                  </a:lnTo>
                  <a:lnTo>
                    <a:pt x="91" y="222"/>
                  </a:lnTo>
                  <a:lnTo>
                    <a:pt x="92" y="223"/>
                  </a:lnTo>
                  <a:lnTo>
                    <a:pt x="92" y="224"/>
                  </a:lnTo>
                  <a:lnTo>
                    <a:pt x="92" y="225"/>
                  </a:lnTo>
                  <a:lnTo>
                    <a:pt x="92" y="226"/>
                  </a:lnTo>
                  <a:lnTo>
                    <a:pt x="91" y="226"/>
                  </a:lnTo>
                  <a:lnTo>
                    <a:pt x="91" y="227"/>
                  </a:lnTo>
                  <a:lnTo>
                    <a:pt x="91" y="227"/>
                  </a:lnTo>
                  <a:lnTo>
                    <a:pt x="90" y="228"/>
                  </a:lnTo>
                  <a:lnTo>
                    <a:pt x="89" y="229"/>
                  </a:lnTo>
                  <a:lnTo>
                    <a:pt x="89" y="230"/>
                  </a:lnTo>
                  <a:lnTo>
                    <a:pt x="88" y="230"/>
                  </a:lnTo>
                  <a:lnTo>
                    <a:pt x="87" y="230"/>
                  </a:lnTo>
                  <a:lnTo>
                    <a:pt x="87" y="230"/>
                  </a:lnTo>
                  <a:lnTo>
                    <a:pt x="87" y="230"/>
                  </a:lnTo>
                  <a:lnTo>
                    <a:pt x="86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3" y="230"/>
                  </a:lnTo>
                  <a:lnTo>
                    <a:pt x="82" y="231"/>
                  </a:lnTo>
                  <a:lnTo>
                    <a:pt x="82" y="231"/>
                  </a:lnTo>
                  <a:lnTo>
                    <a:pt x="80" y="232"/>
                  </a:lnTo>
                  <a:lnTo>
                    <a:pt x="80" y="232"/>
                  </a:lnTo>
                  <a:lnTo>
                    <a:pt x="79" y="233"/>
                  </a:lnTo>
                  <a:lnTo>
                    <a:pt x="79" y="233"/>
                  </a:lnTo>
                  <a:lnTo>
                    <a:pt x="78" y="234"/>
                  </a:lnTo>
                  <a:lnTo>
                    <a:pt x="78" y="235"/>
                  </a:lnTo>
                  <a:lnTo>
                    <a:pt x="77" y="236"/>
                  </a:lnTo>
                  <a:lnTo>
                    <a:pt x="77" y="236"/>
                  </a:lnTo>
                  <a:lnTo>
                    <a:pt x="77" y="237"/>
                  </a:lnTo>
                  <a:lnTo>
                    <a:pt x="76" y="238"/>
                  </a:lnTo>
                  <a:lnTo>
                    <a:pt x="74" y="240"/>
                  </a:lnTo>
                  <a:lnTo>
                    <a:pt x="74" y="240"/>
                  </a:lnTo>
                  <a:lnTo>
                    <a:pt x="73" y="241"/>
                  </a:lnTo>
                  <a:lnTo>
                    <a:pt x="72" y="243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0" y="244"/>
                  </a:lnTo>
                  <a:lnTo>
                    <a:pt x="70" y="244"/>
                  </a:lnTo>
                  <a:lnTo>
                    <a:pt x="69" y="244"/>
                  </a:lnTo>
                  <a:lnTo>
                    <a:pt x="69" y="244"/>
                  </a:lnTo>
                  <a:lnTo>
                    <a:pt x="68" y="244"/>
                  </a:lnTo>
                  <a:lnTo>
                    <a:pt x="68" y="244"/>
                  </a:lnTo>
                  <a:lnTo>
                    <a:pt x="67" y="243"/>
                  </a:lnTo>
                  <a:lnTo>
                    <a:pt x="66" y="242"/>
                  </a:lnTo>
                  <a:lnTo>
                    <a:pt x="65" y="241"/>
                  </a:lnTo>
                  <a:lnTo>
                    <a:pt x="65" y="239"/>
                  </a:lnTo>
                  <a:lnTo>
                    <a:pt x="64" y="238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2"/>
                  </a:lnTo>
                  <a:lnTo>
                    <a:pt x="65" y="228"/>
                  </a:lnTo>
                  <a:lnTo>
                    <a:pt x="66" y="226"/>
                  </a:lnTo>
                  <a:lnTo>
                    <a:pt x="66" y="224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2"/>
                  </a:lnTo>
                  <a:lnTo>
                    <a:pt x="66" y="221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8" y="217"/>
                  </a:lnTo>
                  <a:lnTo>
                    <a:pt x="56" y="217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3" y="218"/>
                  </a:lnTo>
                  <a:lnTo>
                    <a:pt x="51" y="219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8" y="220"/>
                  </a:lnTo>
                  <a:lnTo>
                    <a:pt x="47" y="221"/>
                  </a:lnTo>
                  <a:lnTo>
                    <a:pt x="45" y="222"/>
                  </a:lnTo>
                  <a:lnTo>
                    <a:pt x="44" y="223"/>
                  </a:lnTo>
                  <a:lnTo>
                    <a:pt x="41" y="226"/>
                  </a:lnTo>
                  <a:lnTo>
                    <a:pt x="38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5" y="231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3" y="234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1" y="235"/>
                  </a:lnTo>
                  <a:lnTo>
                    <a:pt x="30" y="235"/>
                  </a:lnTo>
                  <a:lnTo>
                    <a:pt x="27" y="235"/>
                  </a:lnTo>
                  <a:lnTo>
                    <a:pt x="23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1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19" y="232"/>
                  </a:lnTo>
                  <a:lnTo>
                    <a:pt x="19" y="231"/>
                  </a:lnTo>
                  <a:lnTo>
                    <a:pt x="19" y="230"/>
                  </a:lnTo>
                  <a:lnTo>
                    <a:pt x="19" y="229"/>
                  </a:lnTo>
                  <a:lnTo>
                    <a:pt x="20" y="226"/>
                  </a:lnTo>
                  <a:lnTo>
                    <a:pt x="20" y="224"/>
                  </a:lnTo>
                  <a:lnTo>
                    <a:pt x="20" y="223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0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6" y="222"/>
                  </a:lnTo>
                  <a:lnTo>
                    <a:pt x="15" y="222"/>
                  </a:lnTo>
                  <a:lnTo>
                    <a:pt x="13" y="222"/>
                  </a:lnTo>
                  <a:lnTo>
                    <a:pt x="12" y="223"/>
                  </a:lnTo>
                  <a:lnTo>
                    <a:pt x="11" y="223"/>
                  </a:lnTo>
                  <a:lnTo>
                    <a:pt x="10" y="223"/>
                  </a:lnTo>
                  <a:lnTo>
                    <a:pt x="10" y="222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8" y="221"/>
                  </a:lnTo>
                  <a:lnTo>
                    <a:pt x="7" y="220"/>
                  </a:lnTo>
                  <a:lnTo>
                    <a:pt x="6" y="220"/>
                  </a:lnTo>
                  <a:lnTo>
                    <a:pt x="5" y="217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0" y="206"/>
                  </a:lnTo>
                  <a:lnTo>
                    <a:pt x="0" y="205"/>
                  </a:lnTo>
                  <a:lnTo>
                    <a:pt x="1" y="204"/>
                  </a:lnTo>
                  <a:lnTo>
                    <a:pt x="2" y="201"/>
                  </a:lnTo>
                  <a:lnTo>
                    <a:pt x="3" y="199"/>
                  </a:lnTo>
                  <a:lnTo>
                    <a:pt x="3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4" y="193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6" y="188"/>
                  </a:lnTo>
                  <a:lnTo>
                    <a:pt x="7" y="186"/>
                  </a:lnTo>
                  <a:lnTo>
                    <a:pt x="9" y="183"/>
                  </a:lnTo>
                  <a:lnTo>
                    <a:pt x="10" y="182"/>
                  </a:lnTo>
                  <a:lnTo>
                    <a:pt x="10" y="181"/>
                  </a:lnTo>
                  <a:lnTo>
                    <a:pt x="11" y="180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7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5"/>
                  </a:lnTo>
                  <a:lnTo>
                    <a:pt x="12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0" y="172"/>
                  </a:lnTo>
                  <a:lnTo>
                    <a:pt x="10" y="171"/>
                  </a:lnTo>
                  <a:lnTo>
                    <a:pt x="9" y="170"/>
                  </a:lnTo>
                  <a:lnTo>
                    <a:pt x="5" y="166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3" y="156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7"/>
                  </a:lnTo>
                  <a:lnTo>
                    <a:pt x="6" y="145"/>
                  </a:lnTo>
                  <a:lnTo>
                    <a:pt x="7" y="143"/>
                  </a:lnTo>
                  <a:lnTo>
                    <a:pt x="8" y="142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18" y="129"/>
                  </a:lnTo>
                  <a:lnTo>
                    <a:pt x="18" y="128"/>
                  </a:lnTo>
                  <a:lnTo>
                    <a:pt x="19" y="127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20" y="123"/>
                  </a:lnTo>
                  <a:lnTo>
                    <a:pt x="20" y="122"/>
                  </a:lnTo>
                  <a:lnTo>
                    <a:pt x="20" y="120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9" y="106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3"/>
                  </a:lnTo>
                  <a:lnTo>
                    <a:pt x="22" y="99"/>
                  </a:lnTo>
                  <a:lnTo>
                    <a:pt x="23" y="98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7" y="84"/>
                  </a:lnTo>
                  <a:lnTo>
                    <a:pt x="32" y="78"/>
                  </a:lnTo>
                  <a:lnTo>
                    <a:pt x="34" y="76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8" y="72"/>
                  </a:lnTo>
                  <a:lnTo>
                    <a:pt x="39" y="71"/>
                  </a:lnTo>
                  <a:lnTo>
                    <a:pt x="40" y="71"/>
                  </a:lnTo>
                  <a:lnTo>
                    <a:pt x="42" y="68"/>
                  </a:lnTo>
                  <a:lnTo>
                    <a:pt x="43" y="68"/>
                  </a:lnTo>
                  <a:lnTo>
                    <a:pt x="44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8" y="57"/>
                  </a:lnTo>
                  <a:lnTo>
                    <a:pt x="59" y="55"/>
                  </a:lnTo>
                  <a:lnTo>
                    <a:pt x="60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49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5"/>
                  </a:lnTo>
                  <a:lnTo>
                    <a:pt x="77" y="42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8" y="27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7" y="23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8" y="24"/>
                  </a:lnTo>
                  <a:lnTo>
                    <a:pt x="129" y="24"/>
                  </a:lnTo>
                  <a:lnTo>
                    <a:pt x="131" y="24"/>
                  </a:lnTo>
                  <a:lnTo>
                    <a:pt x="132" y="24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6" y="23"/>
                  </a:lnTo>
                  <a:lnTo>
                    <a:pt x="137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2" y="19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9" y="12"/>
                  </a:lnTo>
                  <a:lnTo>
                    <a:pt x="150" y="11"/>
                  </a:lnTo>
                  <a:lnTo>
                    <a:pt x="151" y="10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7"/>
                  </a:lnTo>
                  <a:lnTo>
                    <a:pt x="153" y="2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0" name="Freeform 39">
              <a:extLst>
                <a:ext uri="{FF2B5EF4-FFF2-40B4-BE49-F238E27FC236}">
                  <a16:creationId xmlns:a16="http://schemas.microsoft.com/office/drawing/2014/main" id="{D70D6A38-9B50-3AFC-86A7-BA152A71E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3" y="3192"/>
              <a:ext cx="448" cy="419"/>
            </a:xfrm>
            <a:custGeom>
              <a:avLst/>
              <a:gdLst>
                <a:gd name="T0" fmla="*/ 99 w 448"/>
                <a:gd name="T1" fmla="*/ 8 h 419"/>
                <a:gd name="T2" fmla="*/ 98 w 448"/>
                <a:gd name="T3" fmla="*/ 24 h 419"/>
                <a:gd name="T4" fmla="*/ 107 w 448"/>
                <a:gd name="T5" fmla="*/ 45 h 419"/>
                <a:gd name="T6" fmla="*/ 95 w 448"/>
                <a:gd name="T7" fmla="*/ 56 h 419"/>
                <a:gd name="T8" fmla="*/ 65 w 448"/>
                <a:gd name="T9" fmla="*/ 71 h 419"/>
                <a:gd name="T10" fmla="*/ 65 w 448"/>
                <a:gd name="T11" fmla="*/ 83 h 419"/>
                <a:gd name="T12" fmla="*/ 87 w 448"/>
                <a:gd name="T13" fmla="*/ 97 h 419"/>
                <a:gd name="T14" fmla="*/ 103 w 448"/>
                <a:gd name="T15" fmla="*/ 108 h 419"/>
                <a:gd name="T16" fmla="*/ 119 w 448"/>
                <a:gd name="T17" fmla="*/ 138 h 419"/>
                <a:gd name="T18" fmla="*/ 139 w 448"/>
                <a:gd name="T19" fmla="*/ 154 h 419"/>
                <a:gd name="T20" fmla="*/ 161 w 448"/>
                <a:gd name="T21" fmla="*/ 153 h 419"/>
                <a:gd name="T22" fmla="*/ 191 w 448"/>
                <a:gd name="T23" fmla="*/ 139 h 419"/>
                <a:gd name="T24" fmla="*/ 193 w 448"/>
                <a:gd name="T25" fmla="*/ 130 h 419"/>
                <a:gd name="T26" fmla="*/ 185 w 448"/>
                <a:gd name="T27" fmla="*/ 122 h 419"/>
                <a:gd name="T28" fmla="*/ 198 w 448"/>
                <a:gd name="T29" fmla="*/ 118 h 419"/>
                <a:gd name="T30" fmla="*/ 215 w 448"/>
                <a:gd name="T31" fmla="*/ 142 h 419"/>
                <a:gd name="T32" fmla="*/ 234 w 448"/>
                <a:gd name="T33" fmla="*/ 146 h 419"/>
                <a:gd name="T34" fmla="*/ 246 w 448"/>
                <a:gd name="T35" fmla="*/ 149 h 419"/>
                <a:gd name="T36" fmla="*/ 265 w 448"/>
                <a:gd name="T37" fmla="*/ 161 h 419"/>
                <a:gd name="T38" fmla="*/ 278 w 448"/>
                <a:gd name="T39" fmla="*/ 177 h 419"/>
                <a:gd name="T40" fmla="*/ 286 w 448"/>
                <a:gd name="T41" fmla="*/ 167 h 419"/>
                <a:gd name="T42" fmla="*/ 311 w 448"/>
                <a:gd name="T43" fmla="*/ 170 h 419"/>
                <a:gd name="T44" fmla="*/ 341 w 448"/>
                <a:gd name="T45" fmla="*/ 183 h 419"/>
                <a:gd name="T46" fmla="*/ 348 w 448"/>
                <a:gd name="T47" fmla="*/ 175 h 419"/>
                <a:gd name="T48" fmla="*/ 356 w 448"/>
                <a:gd name="T49" fmla="*/ 183 h 419"/>
                <a:gd name="T50" fmla="*/ 363 w 448"/>
                <a:gd name="T51" fmla="*/ 200 h 419"/>
                <a:gd name="T52" fmla="*/ 359 w 448"/>
                <a:gd name="T53" fmla="*/ 220 h 419"/>
                <a:gd name="T54" fmla="*/ 377 w 448"/>
                <a:gd name="T55" fmla="*/ 264 h 419"/>
                <a:gd name="T56" fmla="*/ 397 w 448"/>
                <a:gd name="T57" fmla="*/ 273 h 419"/>
                <a:gd name="T58" fmla="*/ 418 w 448"/>
                <a:gd name="T59" fmla="*/ 282 h 419"/>
                <a:gd name="T60" fmla="*/ 432 w 448"/>
                <a:gd name="T61" fmla="*/ 292 h 419"/>
                <a:gd name="T62" fmla="*/ 446 w 448"/>
                <a:gd name="T63" fmla="*/ 338 h 419"/>
                <a:gd name="T64" fmla="*/ 443 w 448"/>
                <a:gd name="T65" fmla="*/ 357 h 419"/>
                <a:gd name="T66" fmla="*/ 415 w 448"/>
                <a:gd name="T67" fmla="*/ 369 h 419"/>
                <a:gd name="T68" fmla="*/ 378 w 448"/>
                <a:gd name="T69" fmla="*/ 368 h 419"/>
                <a:gd name="T70" fmla="*/ 361 w 448"/>
                <a:gd name="T71" fmla="*/ 367 h 419"/>
                <a:gd name="T72" fmla="*/ 355 w 448"/>
                <a:gd name="T73" fmla="*/ 384 h 419"/>
                <a:gd name="T74" fmla="*/ 332 w 448"/>
                <a:gd name="T75" fmla="*/ 415 h 419"/>
                <a:gd name="T76" fmla="*/ 315 w 448"/>
                <a:gd name="T77" fmla="*/ 419 h 419"/>
                <a:gd name="T78" fmla="*/ 303 w 448"/>
                <a:gd name="T79" fmla="*/ 403 h 419"/>
                <a:gd name="T80" fmla="*/ 282 w 448"/>
                <a:gd name="T81" fmla="*/ 380 h 419"/>
                <a:gd name="T82" fmla="*/ 261 w 448"/>
                <a:gd name="T83" fmla="*/ 378 h 419"/>
                <a:gd name="T84" fmla="*/ 233 w 448"/>
                <a:gd name="T85" fmla="*/ 368 h 419"/>
                <a:gd name="T86" fmla="*/ 193 w 448"/>
                <a:gd name="T87" fmla="*/ 372 h 419"/>
                <a:gd name="T88" fmla="*/ 177 w 448"/>
                <a:gd name="T89" fmla="*/ 359 h 419"/>
                <a:gd name="T90" fmla="*/ 162 w 448"/>
                <a:gd name="T91" fmla="*/ 351 h 419"/>
                <a:gd name="T92" fmla="*/ 150 w 448"/>
                <a:gd name="T93" fmla="*/ 353 h 419"/>
                <a:gd name="T94" fmla="*/ 148 w 448"/>
                <a:gd name="T95" fmla="*/ 342 h 419"/>
                <a:gd name="T96" fmla="*/ 122 w 448"/>
                <a:gd name="T97" fmla="*/ 313 h 419"/>
                <a:gd name="T98" fmla="*/ 110 w 448"/>
                <a:gd name="T99" fmla="*/ 300 h 419"/>
                <a:gd name="T100" fmla="*/ 96 w 448"/>
                <a:gd name="T101" fmla="*/ 296 h 419"/>
                <a:gd name="T102" fmla="*/ 96 w 448"/>
                <a:gd name="T103" fmla="*/ 272 h 419"/>
                <a:gd name="T104" fmla="*/ 88 w 448"/>
                <a:gd name="T105" fmla="*/ 259 h 419"/>
                <a:gd name="T106" fmla="*/ 61 w 448"/>
                <a:gd name="T107" fmla="*/ 263 h 419"/>
                <a:gd name="T108" fmla="*/ 42 w 448"/>
                <a:gd name="T109" fmla="*/ 248 h 419"/>
                <a:gd name="T110" fmla="*/ 32 w 448"/>
                <a:gd name="T111" fmla="*/ 229 h 419"/>
                <a:gd name="T112" fmla="*/ 24 w 448"/>
                <a:gd name="T113" fmla="*/ 211 h 419"/>
                <a:gd name="T114" fmla="*/ 22 w 448"/>
                <a:gd name="T115" fmla="*/ 228 h 419"/>
                <a:gd name="T116" fmla="*/ 12 w 448"/>
                <a:gd name="T117" fmla="*/ 232 h 419"/>
                <a:gd name="T118" fmla="*/ 2 w 448"/>
                <a:gd name="T119" fmla="*/ 244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8" h="419">
                  <a:moveTo>
                    <a:pt x="88" y="0"/>
                  </a:moveTo>
                  <a:lnTo>
                    <a:pt x="89" y="0"/>
                  </a:lnTo>
                  <a:lnTo>
                    <a:pt x="90" y="0"/>
                  </a:lnTo>
                  <a:lnTo>
                    <a:pt x="90" y="1"/>
                  </a:lnTo>
                  <a:lnTo>
                    <a:pt x="91" y="1"/>
                  </a:lnTo>
                  <a:lnTo>
                    <a:pt x="92" y="1"/>
                  </a:lnTo>
                  <a:lnTo>
                    <a:pt x="92" y="2"/>
                  </a:lnTo>
                  <a:lnTo>
                    <a:pt x="93" y="2"/>
                  </a:lnTo>
                  <a:lnTo>
                    <a:pt x="94" y="3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6" y="5"/>
                  </a:lnTo>
                  <a:lnTo>
                    <a:pt x="96" y="6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8" y="7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100" y="8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2"/>
                  </a:lnTo>
                  <a:lnTo>
                    <a:pt x="101" y="13"/>
                  </a:lnTo>
                  <a:lnTo>
                    <a:pt x="101" y="14"/>
                  </a:lnTo>
                  <a:lnTo>
                    <a:pt x="99" y="18"/>
                  </a:lnTo>
                  <a:lnTo>
                    <a:pt x="99" y="20"/>
                  </a:lnTo>
                  <a:lnTo>
                    <a:pt x="98" y="21"/>
                  </a:lnTo>
                  <a:lnTo>
                    <a:pt x="98" y="22"/>
                  </a:lnTo>
                  <a:lnTo>
                    <a:pt x="98" y="23"/>
                  </a:lnTo>
                  <a:lnTo>
                    <a:pt x="98" y="24"/>
                  </a:lnTo>
                  <a:lnTo>
                    <a:pt x="98" y="26"/>
                  </a:lnTo>
                  <a:lnTo>
                    <a:pt x="98" y="27"/>
                  </a:lnTo>
                  <a:lnTo>
                    <a:pt x="99" y="28"/>
                  </a:lnTo>
                  <a:lnTo>
                    <a:pt x="99" y="29"/>
                  </a:lnTo>
                  <a:lnTo>
                    <a:pt x="100" y="30"/>
                  </a:lnTo>
                  <a:lnTo>
                    <a:pt x="100" y="31"/>
                  </a:lnTo>
                  <a:lnTo>
                    <a:pt x="101" y="32"/>
                  </a:lnTo>
                  <a:lnTo>
                    <a:pt x="104" y="35"/>
                  </a:lnTo>
                  <a:lnTo>
                    <a:pt x="105" y="37"/>
                  </a:lnTo>
                  <a:lnTo>
                    <a:pt x="105" y="38"/>
                  </a:lnTo>
                  <a:lnTo>
                    <a:pt x="106" y="38"/>
                  </a:lnTo>
                  <a:lnTo>
                    <a:pt x="106" y="39"/>
                  </a:lnTo>
                  <a:lnTo>
                    <a:pt x="106" y="40"/>
                  </a:lnTo>
                  <a:lnTo>
                    <a:pt x="106" y="41"/>
                  </a:lnTo>
                  <a:lnTo>
                    <a:pt x="107" y="42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06" y="46"/>
                  </a:lnTo>
                  <a:lnTo>
                    <a:pt x="106" y="47"/>
                  </a:lnTo>
                  <a:lnTo>
                    <a:pt x="106" y="49"/>
                  </a:lnTo>
                  <a:lnTo>
                    <a:pt x="106" y="49"/>
                  </a:lnTo>
                  <a:lnTo>
                    <a:pt x="105" y="50"/>
                  </a:lnTo>
                  <a:lnTo>
                    <a:pt x="105" y="50"/>
                  </a:lnTo>
                  <a:lnTo>
                    <a:pt x="105" y="51"/>
                  </a:lnTo>
                  <a:lnTo>
                    <a:pt x="104" y="52"/>
                  </a:lnTo>
                  <a:lnTo>
                    <a:pt x="103" y="52"/>
                  </a:lnTo>
                  <a:lnTo>
                    <a:pt x="102" y="53"/>
                  </a:lnTo>
                  <a:lnTo>
                    <a:pt x="101" y="53"/>
                  </a:lnTo>
                  <a:lnTo>
                    <a:pt x="101" y="53"/>
                  </a:lnTo>
                  <a:lnTo>
                    <a:pt x="98" y="54"/>
                  </a:lnTo>
                  <a:lnTo>
                    <a:pt x="97" y="54"/>
                  </a:lnTo>
                  <a:lnTo>
                    <a:pt x="96" y="55"/>
                  </a:lnTo>
                  <a:lnTo>
                    <a:pt x="96" y="55"/>
                  </a:lnTo>
                  <a:lnTo>
                    <a:pt x="95" y="56"/>
                  </a:lnTo>
                  <a:lnTo>
                    <a:pt x="94" y="57"/>
                  </a:lnTo>
                  <a:lnTo>
                    <a:pt x="94" y="57"/>
                  </a:lnTo>
                  <a:lnTo>
                    <a:pt x="92" y="59"/>
                  </a:lnTo>
                  <a:lnTo>
                    <a:pt x="92" y="60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90" y="62"/>
                  </a:lnTo>
                  <a:lnTo>
                    <a:pt x="90" y="62"/>
                  </a:lnTo>
                  <a:lnTo>
                    <a:pt x="89" y="63"/>
                  </a:lnTo>
                  <a:lnTo>
                    <a:pt x="88" y="63"/>
                  </a:lnTo>
                  <a:lnTo>
                    <a:pt x="87" y="63"/>
                  </a:lnTo>
                  <a:lnTo>
                    <a:pt x="85" y="64"/>
                  </a:lnTo>
                  <a:lnTo>
                    <a:pt x="80" y="66"/>
                  </a:lnTo>
                  <a:lnTo>
                    <a:pt x="74" y="68"/>
                  </a:lnTo>
                  <a:lnTo>
                    <a:pt x="71" y="69"/>
                  </a:lnTo>
                  <a:lnTo>
                    <a:pt x="66" y="70"/>
                  </a:lnTo>
                  <a:lnTo>
                    <a:pt x="65" y="71"/>
                  </a:lnTo>
                  <a:lnTo>
                    <a:pt x="64" y="71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2" y="73"/>
                  </a:lnTo>
                  <a:lnTo>
                    <a:pt x="62" y="74"/>
                  </a:lnTo>
                  <a:lnTo>
                    <a:pt x="62" y="74"/>
                  </a:lnTo>
                  <a:lnTo>
                    <a:pt x="62" y="75"/>
                  </a:lnTo>
                  <a:lnTo>
                    <a:pt x="61" y="76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8"/>
                  </a:lnTo>
                  <a:lnTo>
                    <a:pt x="62" y="79"/>
                  </a:lnTo>
                  <a:lnTo>
                    <a:pt x="63" y="80"/>
                  </a:lnTo>
                  <a:lnTo>
                    <a:pt x="63" y="81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5" y="83"/>
                  </a:lnTo>
                  <a:lnTo>
                    <a:pt x="66" y="84"/>
                  </a:lnTo>
                  <a:lnTo>
                    <a:pt x="67" y="85"/>
                  </a:lnTo>
                  <a:lnTo>
                    <a:pt x="71" y="88"/>
                  </a:lnTo>
                  <a:lnTo>
                    <a:pt x="72" y="89"/>
                  </a:lnTo>
                  <a:lnTo>
                    <a:pt x="73" y="91"/>
                  </a:lnTo>
                  <a:lnTo>
                    <a:pt x="75" y="93"/>
                  </a:lnTo>
                  <a:lnTo>
                    <a:pt x="76" y="94"/>
                  </a:lnTo>
                  <a:lnTo>
                    <a:pt x="77" y="95"/>
                  </a:lnTo>
                  <a:lnTo>
                    <a:pt x="78" y="96"/>
                  </a:lnTo>
                  <a:lnTo>
                    <a:pt x="79" y="97"/>
                  </a:lnTo>
                  <a:lnTo>
                    <a:pt x="81" y="97"/>
                  </a:lnTo>
                  <a:lnTo>
                    <a:pt x="82" y="98"/>
                  </a:lnTo>
                  <a:lnTo>
                    <a:pt x="83" y="98"/>
                  </a:lnTo>
                  <a:lnTo>
                    <a:pt x="84" y="98"/>
                  </a:lnTo>
                  <a:lnTo>
                    <a:pt x="84" y="98"/>
                  </a:lnTo>
                  <a:lnTo>
                    <a:pt x="85" y="97"/>
                  </a:lnTo>
                  <a:lnTo>
                    <a:pt x="87" y="97"/>
                  </a:lnTo>
                  <a:lnTo>
                    <a:pt x="88" y="97"/>
                  </a:lnTo>
                  <a:lnTo>
                    <a:pt x="89" y="97"/>
                  </a:lnTo>
                  <a:lnTo>
                    <a:pt x="90" y="97"/>
                  </a:lnTo>
                  <a:lnTo>
                    <a:pt x="91" y="97"/>
                  </a:lnTo>
                  <a:lnTo>
                    <a:pt x="91" y="97"/>
                  </a:lnTo>
                  <a:lnTo>
                    <a:pt x="92" y="97"/>
                  </a:lnTo>
                  <a:lnTo>
                    <a:pt x="93" y="97"/>
                  </a:lnTo>
                  <a:lnTo>
                    <a:pt x="93" y="98"/>
                  </a:lnTo>
                  <a:lnTo>
                    <a:pt x="95" y="98"/>
                  </a:lnTo>
                  <a:lnTo>
                    <a:pt x="95" y="99"/>
                  </a:lnTo>
                  <a:lnTo>
                    <a:pt x="96" y="99"/>
                  </a:lnTo>
                  <a:lnTo>
                    <a:pt x="97" y="100"/>
                  </a:lnTo>
                  <a:lnTo>
                    <a:pt x="98" y="101"/>
                  </a:lnTo>
                  <a:lnTo>
                    <a:pt x="99" y="102"/>
                  </a:lnTo>
                  <a:lnTo>
                    <a:pt x="100" y="103"/>
                  </a:lnTo>
                  <a:lnTo>
                    <a:pt x="102" y="106"/>
                  </a:lnTo>
                  <a:lnTo>
                    <a:pt x="103" y="108"/>
                  </a:lnTo>
                  <a:lnTo>
                    <a:pt x="106" y="112"/>
                  </a:lnTo>
                  <a:lnTo>
                    <a:pt x="107" y="113"/>
                  </a:lnTo>
                  <a:lnTo>
                    <a:pt x="108" y="115"/>
                  </a:lnTo>
                  <a:lnTo>
                    <a:pt x="109" y="116"/>
                  </a:lnTo>
                  <a:lnTo>
                    <a:pt x="109" y="117"/>
                  </a:lnTo>
                  <a:lnTo>
                    <a:pt x="110" y="119"/>
                  </a:lnTo>
                  <a:lnTo>
                    <a:pt x="110" y="120"/>
                  </a:lnTo>
                  <a:lnTo>
                    <a:pt x="112" y="124"/>
                  </a:lnTo>
                  <a:lnTo>
                    <a:pt x="113" y="126"/>
                  </a:lnTo>
                  <a:lnTo>
                    <a:pt x="113" y="127"/>
                  </a:lnTo>
                  <a:lnTo>
                    <a:pt x="114" y="131"/>
                  </a:lnTo>
                  <a:lnTo>
                    <a:pt x="116" y="134"/>
                  </a:lnTo>
                  <a:lnTo>
                    <a:pt x="116" y="135"/>
                  </a:lnTo>
                  <a:lnTo>
                    <a:pt x="117" y="136"/>
                  </a:lnTo>
                  <a:lnTo>
                    <a:pt x="117" y="137"/>
                  </a:lnTo>
                  <a:lnTo>
                    <a:pt x="118" y="137"/>
                  </a:lnTo>
                  <a:lnTo>
                    <a:pt x="119" y="138"/>
                  </a:lnTo>
                  <a:lnTo>
                    <a:pt x="120" y="138"/>
                  </a:lnTo>
                  <a:lnTo>
                    <a:pt x="122" y="140"/>
                  </a:lnTo>
                  <a:lnTo>
                    <a:pt x="124" y="141"/>
                  </a:lnTo>
                  <a:lnTo>
                    <a:pt x="127" y="142"/>
                  </a:lnTo>
                  <a:lnTo>
                    <a:pt x="128" y="142"/>
                  </a:lnTo>
                  <a:lnTo>
                    <a:pt x="129" y="143"/>
                  </a:lnTo>
                  <a:lnTo>
                    <a:pt x="130" y="144"/>
                  </a:lnTo>
                  <a:lnTo>
                    <a:pt x="130" y="145"/>
                  </a:lnTo>
                  <a:lnTo>
                    <a:pt x="131" y="146"/>
                  </a:lnTo>
                  <a:lnTo>
                    <a:pt x="132" y="147"/>
                  </a:lnTo>
                  <a:lnTo>
                    <a:pt x="133" y="148"/>
                  </a:lnTo>
                  <a:lnTo>
                    <a:pt x="133" y="149"/>
                  </a:lnTo>
                  <a:lnTo>
                    <a:pt x="134" y="150"/>
                  </a:lnTo>
                  <a:lnTo>
                    <a:pt x="134" y="151"/>
                  </a:lnTo>
                  <a:lnTo>
                    <a:pt x="136" y="152"/>
                  </a:lnTo>
                  <a:lnTo>
                    <a:pt x="137" y="153"/>
                  </a:lnTo>
                  <a:lnTo>
                    <a:pt x="139" y="154"/>
                  </a:lnTo>
                  <a:lnTo>
                    <a:pt x="140" y="155"/>
                  </a:lnTo>
                  <a:lnTo>
                    <a:pt x="141" y="156"/>
                  </a:lnTo>
                  <a:lnTo>
                    <a:pt x="143" y="156"/>
                  </a:lnTo>
                  <a:lnTo>
                    <a:pt x="144" y="157"/>
                  </a:lnTo>
                  <a:lnTo>
                    <a:pt x="145" y="157"/>
                  </a:lnTo>
                  <a:lnTo>
                    <a:pt x="145" y="157"/>
                  </a:lnTo>
                  <a:lnTo>
                    <a:pt x="146" y="157"/>
                  </a:lnTo>
                  <a:lnTo>
                    <a:pt x="147" y="157"/>
                  </a:lnTo>
                  <a:lnTo>
                    <a:pt x="148" y="157"/>
                  </a:lnTo>
                  <a:lnTo>
                    <a:pt x="152" y="156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5"/>
                  </a:lnTo>
                  <a:lnTo>
                    <a:pt x="157" y="155"/>
                  </a:lnTo>
                  <a:lnTo>
                    <a:pt x="159" y="154"/>
                  </a:lnTo>
                  <a:lnTo>
                    <a:pt x="160" y="153"/>
                  </a:lnTo>
                  <a:lnTo>
                    <a:pt x="161" y="153"/>
                  </a:lnTo>
                  <a:lnTo>
                    <a:pt x="162" y="152"/>
                  </a:lnTo>
                  <a:lnTo>
                    <a:pt x="167" y="147"/>
                  </a:lnTo>
                  <a:lnTo>
                    <a:pt x="168" y="146"/>
                  </a:lnTo>
                  <a:lnTo>
                    <a:pt x="169" y="145"/>
                  </a:lnTo>
                  <a:lnTo>
                    <a:pt x="170" y="145"/>
                  </a:lnTo>
                  <a:lnTo>
                    <a:pt x="171" y="144"/>
                  </a:lnTo>
                  <a:lnTo>
                    <a:pt x="173" y="143"/>
                  </a:lnTo>
                  <a:lnTo>
                    <a:pt x="174" y="142"/>
                  </a:lnTo>
                  <a:lnTo>
                    <a:pt x="177" y="141"/>
                  </a:lnTo>
                  <a:lnTo>
                    <a:pt x="179" y="140"/>
                  </a:lnTo>
                  <a:lnTo>
                    <a:pt x="180" y="140"/>
                  </a:lnTo>
                  <a:lnTo>
                    <a:pt x="181" y="139"/>
                  </a:lnTo>
                  <a:lnTo>
                    <a:pt x="183" y="139"/>
                  </a:lnTo>
                  <a:lnTo>
                    <a:pt x="184" y="139"/>
                  </a:lnTo>
                  <a:lnTo>
                    <a:pt x="184" y="139"/>
                  </a:lnTo>
                  <a:lnTo>
                    <a:pt x="189" y="139"/>
                  </a:lnTo>
                  <a:lnTo>
                    <a:pt x="191" y="139"/>
                  </a:lnTo>
                  <a:lnTo>
                    <a:pt x="192" y="139"/>
                  </a:lnTo>
                  <a:lnTo>
                    <a:pt x="193" y="139"/>
                  </a:lnTo>
                  <a:lnTo>
                    <a:pt x="194" y="139"/>
                  </a:lnTo>
                  <a:lnTo>
                    <a:pt x="194" y="139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7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5" y="134"/>
                  </a:lnTo>
                  <a:lnTo>
                    <a:pt x="195" y="133"/>
                  </a:lnTo>
                  <a:lnTo>
                    <a:pt x="195" y="132"/>
                  </a:lnTo>
                  <a:lnTo>
                    <a:pt x="195" y="132"/>
                  </a:lnTo>
                  <a:lnTo>
                    <a:pt x="194" y="131"/>
                  </a:lnTo>
                  <a:lnTo>
                    <a:pt x="194" y="130"/>
                  </a:lnTo>
                  <a:lnTo>
                    <a:pt x="193" y="130"/>
                  </a:lnTo>
                  <a:lnTo>
                    <a:pt x="193" y="129"/>
                  </a:lnTo>
                  <a:lnTo>
                    <a:pt x="192" y="129"/>
                  </a:lnTo>
                  <a:lnTo>
                    <a:pt x="191" y="129"/>
                  </a:lnTo>
                  <a:lnTo>
                    <a:pt x="190" y="128"/>
                  </a:lnTo>
                  <a:lnTo>
                    <a:pt x="188" y="128"/>
                  </a:lnTo>
                  <a:lnTo>
                    <a:pt x="188" y="128"/>
                  </a:lnTo>
                  <a:lnTo>
                    <a:pt x="187" y="128"/>
                  </a:lnTo>
                  <a:lnTo>
                    <a:pt x="187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6"/>
                  </a:lnTo>
                  <a:lnTo>
                    <a:pt x="185" y="126"/>
                  </a:lnTo>
                  <a:lnTo>
                    <a:pt x="185" y="125"/>
                  </a:lnTo>
                  <a:lnTo>
                    <a:pt x="185" y="124"/>
                  </a:lnTo>
                  <a:lnTo>
                    <a:pt x="185" y="124"/>
                  </a:lnTo>
                  <a:lnTo>
                    <a:pt x="185" y="123"/>
                  </a:lnTo>
                  <a:lnTo>
                    <a:pt x="185" y="122"/>
                  </a:lnTo>
                  <a:lnTo>
                    <a:pt x="185" y="121"/>
                  </a:lnTo>
                  <a:lnTo>
                    <a:pt x="186" y="121"/>
                  </a:lnTo>
                  <a:lnTo>
                    <a:pt x="186" y="120"/>
                  </a:lnTo>
                  <a:lnTo>
                    <a:pt x="187" y="119"/>
                  </a:lnTo>
                  <a:lnTo>
                    <a:pt x="187" y="118"/>
                  </a:lnTo>
                  <a:lnTo>
                    <a:pt x="188" y="118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90" y="117"/>
                  </a:lnTo>
                  <a:lnTo>
                    <a:pt x="191" y="116"/>
                  </a:lnTo>
                  <a:lnTo>
                    <a:pt x="192" y="116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4" y="116"/>
                  </a:lnTo>
                  <a:lnTo>
                    <a:pt x="195" y="117"/>
                  </a:lnTo>
                  <a:lnTo>
                    <a:pt x="197" y="117"/>
                  </a:lnTo>
                  <a:lnTo>
                    <a:pt x="198" y="118"/>
                  </a:lnTo>
                  <a:lnTo>
                    <a:pt x="199" y="118"/>
                  </a:lnTo>
                  <a:lnTo>
                    <a:pt x="200" y="119"/>
                  </a:lnTo>
                  <a:lnTo>
                    <a:pt x="201" y="120"/>
                  </a:lnTo>
                  <a:lnTo>
                    <a:pt x="204" y="122"/>
                  </a:lnTo>
                  <a:lnTo>
                    <a:pt x="205" y="123"/>
                  </a:lnTo>
                  <a:lnTo>
                    <a:pt x="206" y="124"/>
                  </a:lnTo>
                  <a:lnTo>
                    <a:pt x="207" y="125"/>
                  </a:lnTo>
                  <a:lnTo>
                    <a:pt x="208" y="126"/>
                  </a:lnTo>
                  <a:lnTo>
                    <a:pt x="210" y="132"/>
                  </a:lnTo>
                  <a:lnTo>
                    <a:pt x="211" y="133"/>
                  </a:lnTo>
                  <a:lnTo>
                    <a:pt x="211" y="134"/>
                  </a:lnTo>
                  <a:lnTo>
                    <a:pt x="212" y="137"/>
                  </a:lnTo>
                  <a:lnTo>
                    <a:pt x="213" y="138"/>
                  </a:lnTo>
                  <a:lnTo>
                    <a:pt x="213" y="139"/>
                  </a:lnTo>
                  <a:lnTo>
                    <a:pt x="214" y="140"/>
                  </a:lnTo>
                  <a:lnTo>
                    <a:pt x="214" y="142"/>
                  </a:lnTo>
                  <a:lnTo>
                    <a:pt x="215" y="142"/>
                  </a:lnTo>
                  <a:lnTo>
                    <a:pt x="216" y="143"/>
                  </a:lnTo>
                  <a:lnTo>
                    <a:pt x="217" y="143"/>
                  </a:lnTo>
                  <a:lnTo>
                    <a:pt x="217" y="144"/>
                  </a:lnTo>
                  <a:lnTo>
                    <a:pt x="218" y="144"/>
                  </a:lnTo>
                  <a:lnTo>
                    <a:pt x="219" y="145"/>
                  </a:lnTo>
                  <a:lnTo>
                    <a:pt x="219" y="145"/>
                  </a:lnTo>
                  <a:lnTo>
                    <a:pt x="222" y="146"/>
                  </a:lnTo>
                  <a:lnTo>
                    <a:pt x="227" y="148"/>
                  </a:lnTo>
                  <a:lnTo>
                    <a:pt x="228" y="148"/>
                  </a:lnTo>
                  <a:lnTo>
                    <a:pt x="229" y="148"/>
                  </a:lnTo>
                  <a:lnTo>
                    <a:pt x="229" y="148"/>
                  </a:lnTo>
                  <a:lnTo>
                    <a:pt x="230" y="148"/>
                  </a:lnTo>
                  <a:lnTo>
                    <a:pt x="231" y="148"/>
                  </a:lnTo>
                  <a:lnTo>
                    <a:pt x="231" y="147"/>
                  </a:lnTo>
                  <a:lnTo>
                    <a:pt x="232" y="147"/>
                  </a:lnTo>
                  <a:lnTo>
                    <a:pt x="232" y="147"/>
                  </a:lnTo>
                  <a:lnTo>
                    <a:pt x="234" y="146"/>
                  </a:lnTo>
                  <a:lnTo>
                    <a:pt x="235" y="145"/>
                  </a:lnTo>
                  <a:lnTo>
                    <a:pt x="236" y="145"/>
                  </a:lnTo>
                  <a:lnTo>
                    <a:pt x="236" y="145"/>
                  </a:lnTo>
                  <a:lnTo>
                    <a:pt x="237" y="144"/>
                  </a:lnTo>
                  <a:lnTo>
                    <a:pt x="237" y="144"/>
                  </a:lnTo>
                  <a:lnTo>
                    <a:pt x="238" y="144"/>
                  </a:lnTo>
                  <a:lnTo>
                    <a:pt x="239" y="144"/>
                  </a:lnTo>
                  <a:lnTo>
                    <a:pt x="240" y="144"/>
                  </a:lnTo>
                  <a:lnTo>
                    <a:pt x="241" y="145"/>
                  </a:lnTo>
                  <a:lnTo>
                    <a:pt x="242" y="145"/>
                  </a:lnTo>
                  <a:lnTo>
                    <a:pt x="242" y="145"/>
                  </a:lnTo>
                  <a:lnTo>
                    <a:pt x="243" y="146"/>
                  </a:lnTo>
                  <a:lnTo>
                    <a:pt x="243" y="146"/>
                  </a:lnTo>
                  <a:lnTo>
                    <a:pt x="244" y="146"/>
                  </a:lnTo>
                  <a:lnTo>
                    <a:pt x="245" y="147"/>
                  </a:lnTo>
                  <a:lnTo>
                    <a:pt x="245" y="148"/>
                  </a:lnTo>
                  <a:lnTo>
                    <a:pt x="246" y="149"/>
                  </a:lnTo>
                  <a:lnTo>
                    <a:pt x="247" y="151"/>
                  </a:lnTo>
                  <a:lnTo>
                    <a:pt x="248" y="152"/>
                  </a:lnTo>
                  <a:lnTo>
                    <a:pt x="249" y="153"/>
                  </a:lnTo>
                  <a:lnTo>
                    <a:pt x="250" y="153"/>
                  </a:lnTo>
                  <a:lnTo>
                    <a:pt x="250" y="154"/>
                  </a:lnTo>
                  <a:lnTo>
                    <a:pt x="251" y="154"/>
                  </a:lnTo>
                  <a:lnTo>
                    <a:pt x="252" y="155"/>
                  </a:lnTo>
                  <a:lnTo>
                    <a:pt x="253" y="155"/>
                  </a:lnTo>
                  <a:lnTo>
                    <a:pt x="258" y="157"/>
                  </a:lnTo>
                  <a:lnTo>
                    <a:pt x="259" y="157"/>
                  </a:lnTo>
                  <a:lnTo>
                    <a:pt x="260" y="157"/>
                  </a:lnTo>
                  <a:lnTo>
                    <a:pt x="261" y="158"/>
                  </a:lnTo>
                  <a:lnTo>
                    <a:pt x="262" y="159"/>
                  </a:lnTo>
                  <a:lnTo>
                    <a:pt x="263" y="159"/>
                  </a:lnTo>
                  <a:lnTo>
                    <a:pt x="264" y="160"/>
                  </a:lnTo>
                  <a:lnTo>
                    <a:pt x="264" y="160"/>
                  </a:lnTo>
                  <a:lnTo>
                    <a:pt x="265" y="161"/>
                  </a:lnTo>
                  <a:lnTo>
                    <a:pt x="266" y="162"/>
                  </a:lnTo>
                  <a:lnTo>
                    <a:pt x="266" y="163"/>
                  </a:lnTo>
                  <a:lnTo>
                    <a:pt x="267" y="164"/>
                  </a:lnTo>
                  <a:lnTo>
                    <a:pt x="268" y="168"/>
                  </a:lnTo>
                  <a:lnTo>
                    <a:pt x="269" y="169"/>
                  </a:lnTo>
                  <a:lnTo>
                    <a:pt x="269" y="170"/>
                  </a:lnTo>
                  <a:lnTo>
                    <a:pt x="270" y="171"/>
                  </a:lnTo>
                  <a:lnTo>
                    <a:pt x="271" y="172"/>
                  </a:lnTo>
                  <a:lnTo>
                    <a:pt x="271" y="173"/>
                  </a:lnTo>
                  <a:lnTo>
                    <a:pt x="272" y="173"/>
                  </a:lnTo>
                  <a:lnTo>
                    <a:pt x="273" y="174"/>
                  </a:lnTo>
                  <a:lnTo>
                    <a:pt x="274" y="175"/>
                  </a:lnTo>
                  <a:lnTo>
                    <a:pt x="275" y="176"/>
                  </a:lnTo>
                  <a:lnTo>
                    <a:pt x="275" y="176"/>
                  </a:lnTo>
                  <a:lnTo>
                    <a:pt x="276" y="176"/>
                  </a:lnTo>
                  <a:lnTo>
                    <a:pt x="277" y="177"/>
                  </a:lnTo>
                  <a:lnTo>
                    <a:pt x="278" y="177"/>
                  </a:lnTo>
                  <a:lnTo>
                    <a:pt x="279" y="177"/>
                  </a:lnTo>
                  <a:lnTo>
                    <a:pt x="280" y="177"/>
                  </a:lnTo>
                  <a:lnTo>
                    <a:pt x="280" y="177"/>
                  </a:lnTo>
                  <a:lnTo>
                    <a:pt x="281" y="177"/>
                  </a:lnTo>
                  <a:lnTo>
                    <a:pt x="282" y="176"/>
                  </a:lnTo>
                  <a:lnTo>
                    <a:pt x="283" y="175"/>
                  </a:lnTo>
                  <a:lnTo>
                    <a:pt x="285" y="174"/>
                  </a:lnTo>
                  <a:lnTo>
                    <a:pt x="285" y="174"/>
                  </a:lnTo>
                  <a:lnTo>
                    <a:pt x="286" y="173"/>
                  </a:lnTo>
                  <a:lnTo>
                    <a:pt x="286" y="172"/>
                  </a:lnTo>
                  <a:lnTo>
                    <a:pt x="286" y="172"/>
                  </a:lnTo>
                  <a:lnTo>
                    <a:pt x="286" y="171"/>
                  </a:lnTo>
                  <a:lnTo>
                    <a:pt x="286" y="170"/>
                  </a:lnTo>
                  <a:lnTo>
                    <a:pt x="286" y="169"/>
                  </a:lnTo>
                  <a:lnTo>
                    <a:pt x="286" y="168"/>
                  </a:lnTo>
                  <a:lnTo>
                    <a:pt x="286" y="168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7" y="167"/>
                  </a:lnTo>
                  <a:lnTo>
                    <a:pt x="288" y="167"/>
                  </a:lnTo>
                  <a:lnTo>
                    <a:pt x="289" y="167"/>
                  </a:lnTo>
                  <a:lnTo>
                    <a:pt x="290" y="167"/>
                  </a:lnTo>
                  <a:lnTo>
                    <a:pt x="294" y="168"/>
                  </a:lnTo>
                  <a:lnTo>
                    <a:pt x="296" y="169"/>
                  </a:lnTo>
                  <a:lnTo>
                    <a:pt x="297" y="169"/>
                  </a:lnTo>
                  <a:lnTo>
                    <a:pt x="299" y="169"/>
                  </a:lnTo>
                  <a:lnTo>
                    <a:pt x="301" y="169"/>
                  </a:lnTo>
                  <a:lnTo>
                    <a:pt x="306" y="169"/>
                  </a:lnTo>
                  <a:lnTo>
                    <a:pt x="307" y="169"/>
                  </a:lnTo>
                  <a:lnTo>
                    <a:pt x="309" y="170"/>
                  </a:lnTo>
                  <a:lnTo>
                    <a:pt x="310" y="170"/>
                  </a:lnTo>
                  <a:lnTo>
                    <a:pt x="311" y="170"/>
                  </a:lnTo>
                  <a:lnTo>
                    <a:pt x="311" y="170"/>
                  </a:lnTo>
                  <a:lnTo>
                    <a:pt x="312" y="171"/>
                  </a:lnTo>
                  <a:lnTo>
                    <a:pt x="317" y="173"/>
                  </a:lnTo>
                  <a:lnTo>
                    <a:pt x="320" y="175"/>
                  </a:lnTo>
                  <a:lnTo>
                    <a:pt x="322" y="176"/>
                  </a:lnTo>
                  <a:lnTo>
                    <a:pt x="323" y="176"/>
                  </a:lnTo>
                  <a:lnTo>
                    <a:pt x="329" y="181"/>
                  </a:lnTo>
                  <a:lnTo>
                    <a:pt x="330" y="181"/>
                  </a:lnTo>
                  <a:lnTo>
                    <a:pt x="330" y="181"/>
                  </a:lnTo>
                  <a:lnTo>
                    <a:pt x="332" y="182"/>
                  </a:lnTo>
                  <a:lnTo>
                    <a:pt x="333" y="183"/>
                  </a:lnTo>
                  <a:lnTo>
                    <a:pt x="335" y="183"/>
                  </a:lnTo>
                  <a:lnTo>
                    <a:pt x="336" y="183"/>
                  </a:lnTo>
                  <a:lnTo>
                    <a:pt x="338" y="183"/>
                  </a:lnTo>
                  <a:lnTo>
                    <a:pt x="339" y="184"/>
                  </a:lnTo>
                  <a:lnTo>
                    <a:pt x="340" y="184"/>
                  </a:lnTo>
                  <a:lnTo>
                    <a:pt x="341" y="183"/>
                  </a:lnTo>
                  <a:lnTo>
                    <a:pt x="342" y="183"/>
                  </a:lnTo>
                  <a:lnTo>
                    <a:pt x="342" y="183"/>
                  </a:lnTo>
                  <a:lnTo>
                    <a:pt x="343" y="183"/>
                  </a:lnTo>
                  <a:lnTo>
                    <a:pt x="343" y="182"/>
                  </a:lnTo>
                  <a:lnTo>
                    <a:pt x="344" y="182"/>
                  </a:lnTo>
                  <a:lnTo>
                    <a:pt x="344" y="181"/>
                  </a:lnTo>
                  <a:lnTo>
                    <a:pt x="345" y="181"/>
                  </a:lnTo>
                  <a:lnTo>
                    <a:pt x="345" y="181"/>
                  </a:lnTo>
                  <a:lnTo>
                    <a:pt x="345" y="180"/>
                  </a:lnTo>
                  <a:lnTo>
                    <a:pt x="346" y="179"/>
                  </a:lnTo>
                  <a:lnTo>
                    <a:pt x="346" y="177"/>
                  </a:lnTo>
                  <a:lnTo>
                    <a:pt x="347" y="176"/>
                  </a:lnTo>
                  <a:lnTo>
                    <a:pt x="347" y="176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9" y="174"/>
                  </a:lnTo>
                  <a:lnTo>
                    <a:pt x="349" y="174"/>
                  </a:lnTo>
                  <a:lnTo>
                    <a:pt x="350" y="174"/>
                  </a:lnTo>
                  <a:lnTo>
                    <a:pt x="351" y="175"/>
                  </a:lnTo>
                  <a:lnTo>
                    <a:pt x="352" y="175"/>
                  </a:lnTo>
                  <a:lnTo>
                    <a:pt x="352" y="175"/>
                  </a:lnTo>
                  <a:lnTo>
                    <a:pt x="353" y="175"/>
                  </a:lnTo>
                  <a:lnTo>
                    <a:pt x="353" y="176"/>
                  </a:lnTo>
                  <a:lnTo>
                    <a:pt x="354" y="176"/>
                  </a:lnTo>
                  <a:lnTo>
                    <a:pt x="354" y="176"/>
                  </a:lnTo>
                  <a:lnTo>
                    <a:pt x="355" y="177"/>
                  </a:lnTo>
                  <a:lnTo>
                    <a:pt x="355" y="178"/>
                  </a:lnTo>
                  <a:lnTo>
                    <a:pt x="355" y="178"/>
                  </a:lnTo>
                  <a:lnTo>
                    <a:pt x="356" y="179"/>
                  </a:lnTo>
                  <a:lnTo>
                    <a:pt x="356" y="181"/>
                  </a:lnTo>
                  <a:lnTo>
                    <a:pt x="356" y="182"/>
                  </a:lnTo>
                  <a:lnTo>
                    <a:pt x="356" y="183"/>
                  </a:lnTo>
                  <a:lnTo>
                    <a:pt x="356" y="187"/>
                  </a:lnTo>
                  <a:lnTo>
                    <a:pt x="356" y="189"/>
                  </a:lnTo>
                  <a:lnTo>
                    <a:pt x="356" y="191"/>
                  </a:lnTo>
                  <a:lnTo>
                    <a:pt x="356" y="191"/>
                  </a:lnTo>
                  <a:lnTo>
                    <a:pt x="356" y="192"/>
                  </a:lnTo>
                  <a:lnTo>
                    <a:pt x="356" y="192"/>
                  </a:lnTo>
                  <a:lnTo>
                    <a:pt x="357" y="193"/>
                  </a:lnTo>
                  <a:lnTo>
                    <a:pt x="357" y="194"/>
                  </a:lnTo>
                  <a:lnTo>
                    <a:pt x="357" y="195"/>
                  </a:lnTo>
                  <a:lnTo>
                    <a:pt x="358" y="195"/>
                  </a:lnTo>
                  <a:lnTo>
                    <a:pt x="358" y="196"/>
                  </a:lnTo>
                  <a:lnTo>
                    <a:pt x="359" y="196"/>
                  </a:lnTo>
                  <a:lnTo>
                    <a:pt x="359" y="197"/>
                  </a:lnTo>
                  <a:lnTo>
                    <a:pt x="360" y="198"/>
                  </a:lnTo>
                  <a:lnTo>
                    <a:pt x="361" y="199"/>
                  </a:lnTo>
                  <a:lnTo>
                    <a:pt x="362" y="200"/>
                  </a:lnTo>
                  <a:lnTo>
                    <a:pt x="363" y="200"/>
                  </a:lnTo>
                  <a:lnTo>
                    <a:pt x="363" y="201"/>
                  </a:lnTo>
                  <a:lnTo>
                    <a:pt x="363" y="201"/>
                  </a:lnTo>
                  <a:lnTo>
                    <a:pt x="363" y="201"/>
                  </a:lnTo>
                  <a:lnTo>
                    <a:pt x="363" y="202"/>
                  </a:lnTo>
                  <a:lnTo>
                    <a:pt x="363" y="202"/>
                  </a:lnTo>
                  <a:lnTo>
                    <a:pt x="363" y="203"/>
                  </a:lnTo>
                  <a:lnTo>
                    <a:pt x="363" y="204"/>
                  </a:lnTo>
                  <a:lnTo>
                    <a:pt x="361" y="206"/>
                  </a:lnTo>
                  <a:lnTo>
                    <a:pt x="360" y="209"/>
                  </a:lnTo>
                  <a:lnTo>
                    <a:pt x="359" y="212"/>
                  </a:lnTo>
                  <a:lnTo>
                    <a:pt x="359" y="213"/>
                  </a:lnTo>
                  <a:lnTo>
                    <a:pt x="359" y="214"/>
                  </a:lnTo>
                  <a:lnTo>
                    <a:pt x="358" y="215"/>
                  </a:lnTo>
                  <a:lnTo>
                    <a:pt x="358" y="216"/>
                  </a:lnTo>
                  <a:lnTo>
                    <a:pt x="358" y="217"/>
                  </a:lnTo>
                  <a:lnTo>
                    <a:pt x="359" y="219"/>
                  </a:lnTo>
                  <a:lnTo>
                    <a:pt x="359" y="220"/>
                  </a:lnTo>
                  <a:lnTo>
                    <a:pt x="360" y="223"/>
                  </a:lnTo>
                  <a:lnTo>
                    <a:pt x="361" y="224"/>
                  </a:lnTo>
                  <a:lnTo>
                    <a:pt x="361" y="225"/>
                  </a:lnTo>
                  <a:lnTo>
                    <a:pt x="362" y="227"/>
                  </a:lnTo>
                  <a:lnTo>
                    <a:pt x="363" y="230"/>
                  </a:lnTo>
                  <a:lnTo>
                    <a:pt x="365" y="233"/>
                  </a:lnTo>
                  <a:lnTo>
                    <a:pt x="366" y="237"/>
                  </a:lnTo>
                  <a:lnTo>
                    <a:pt x="369" y="243"/>
                  </a:lnTo>
                  <a:lnTo>
                    <a:pt x="372" y="249"/>
                  </a:lnTo>
                  <a:lnTo>
                    <a:pt x="373" y="253"/>
                  </a:lnTo>
                  <a:lnTo>
                    <a:pt x="374" y="254"/>
                  </a:lnTo>
                  <a:lnTo>
                    <a:pt x="374" y="255"/>
                  </a:lnTo>
                  <a:lnTo>
                    <a:pt x="375" y="256"/>
                  </a:lnTo>
                  <a:lnTo>
                    <a:pt x="376" y="261"/>
                  </a:lnTo>
                  <a:lnTo>
                    <a:pt x="376" y="262"/>
                  </a:lnTo>
                  <a:lnTo>
                    <a:pt x="377" y="263"/>
                  </a:lnTo>
                  <a:lnTo>
                    <a:pt x="377" y="264"/>
                  </a:lnTo>
                  <a:lnTo>
                    <a:pt x="377" y="265"/>
                  </a:lnTo>
                  <a:lnTo>
                    <a:pt x="378" y="265"/>
                  </a:lnTo>
                  <a:lnTo>
                    <a:pt x="378" y="266"/>
                  </a:lnTo>
                  <a:lnTo>
                    <a:pt x="379" y="267"/>
                  </a:lnTo>
                  <a:lnTo>
                    <a:pt x="380" y="267"/>
                  </a:lnTo>
                  <a:lnTo>
                    <a:pt x="381" y="268"/>
                  </a:lnTo>
                  <a:lnTo>
                    <a:pt x="381" y="269"/>
                  </a:lnTo>
                  <a:lnTo>
                    <a:pt x="382" y="269"/>
                  </a:lnTo>
                  <a:lnTo>
                    <a:pt x="383" y="269"/>
                  </a:lnTo>
                  <a:lnTo>
                    <a:pt x="384" y="270"/>
                  </a:lnTo>
                  <a:lnTo>
                    <a:pt x="385" y="270"/>
                  </a:lnTo>
                  <a:lnTo>
                    <a:pt x="389" y="272"/>
                  </a:lnTo>
                  <a:lnTo>
                    <a:pt x="391" y="272"/>
                  </a:lnTo>
                  <a:lnTo>
                    <a:pt x="395" y="273"/>
                  </a:lnTo>
                  <a:lnTo>
                    <a:pt x="396" y="273"/>
                  </a:lnTo>
                  <a:lnTo>
                    <a:pt x="397" y="273"/>
                  </a:lnTo>
                  <a:lnTo>
                    <a:pt x="397" y="273"/>
                  </a:lnTo>
                  <a:lnTo>
                    <a:pt x="399" y="274"/>
                  </a:lnTo>
                  <a:lnTo>
                    <a:pt x="400" y="274"/>
                  </a:lnTo>
                  <a:lnTo>
                    <a:pt x="401" y="275"/>
                  </a:lnTo>
                  <a:lnTo>
                    <a:pt x="402" y="277"/>
                  </a:lnTo>
                  <a:lnTo>
                    <a:pt x="404" y="279"/>
                  </a:lnTo>
                  <a:lnTo>
                    <a:pt x="405" y="279"/>
                  </a:lnTo>
                  <a:lnTo>
                    <a:pt x="406" y="280"/>
                  </a:lnTo>
                  <a:lnTo>
                    <a:pt x="406" y="280"/>
                  </a:lnTo>
                  <a:lnTo>
                    <a:pt x="408" y="281"/>
                  </a:lnTo>
                  <a:lnTo>
                    <a:pt x="409" y="282"/>
                  </a:lnTo>
                  <a:lnTo>
                    <a:pt x="411" y="282"/>
                  </a:lnTo>
                  <a:lnTo>
                    <a:pt x="411" y="282"/>
                  </a:lnTo>
                  <a:lnTo>
                    <a:pt x="413" y="282"/>
                  </a:lnTo>
                  <a:lnTo>
                    <a:pt x="413" y="282"/>
                  </a:lnTo>
                  <a:lnTo>
                    <a:pt x="414" y="282"/>
                  </a:lnTo>
                  <a:lnTo>
                    <a:pt x="415" y="282"/>
                  </a:lnTo>
                  <a:lnTo>
                    <a:pt x="418" y="282"/>
                  </a:lnTo>
                  <a:lnTo>
                    <a:pt x="420" y="282"/>
                  </a:lnTo>
                  <a:lnTo>
                    <a:pt x="421" y="282"/>
                  </a:lnTo>
                  <a:lnTo>
                    <a:pt x="422" y="282"/>
                  </a:lnTo>
                  <a:lnTo>
                    <a:pt x="423" y="282"/>
                  </a:lnTo>
                  <a:lnTo>
                    <a:pt x="424" y="282"/>
                  </a:lnTo>
                  <a:lnTo>
                    <a:pt x="425" y="282"/>
                  </a:lnTo>
                  <a:lnTo>
                    <a:pt x="426" y="283"/>
                  </a:lnTo>
                  <a:lnTo>
                    <a:pt x="427" y="283"/>
                  </a:lnTo>
                  <a:lnTo>
                    <a:pt x="428" y="284"/>
                  </a:lnTo>
                  <a:lnTo>
                    <a:pt x="428" y="284"/>
                  </a:lnTo>
                  <a:lnTo>
                    <a:pt x="429" y="285"/>
                  </a:lnTo>
                  <a:lnTo>
                    <a:pt x="430" y="285"/>
                  </a:lnTo>
                  <a:lnTo>
                    <a:pt x="430" y="286"/>
                  </a:lnTo>
                  <a:lnTo>
                    <a:pt x="430" y="287"/>
                  </a:lnTo>
                  <a:lnTo>
                    <a:pt x="431" y="288"/>
                  </a:lnTo>
                  <a:lnTo>
                    <a:pt x="431" y="290"/>
                  </a:lnTo>
                  <a:lnTo>
                    <a:pt x="432" y="292"/>
                  </a:lnTo>
                  <a:lnTo>
                    <a:pt x="433" y="296"/>
                  </a:lnTo>
                  <a:lnTo>
                    <a:pt x="434" y="301"/>
                  </a:lnTo>
                  <a:lnTo>
                    <a:pt x="436" y="310"/>
                  </a:lnTo>
                  <a:lnTo>
                    <a:pt x="438" y="315"/>
                  </a:lnTo>
                  <a:lnTo>
                    <a:pt x="438" y="317"/>
                  </a:lnTo>
                  <a:lnTo>
                    <a:pt x="439" y="318"/>
                  </a:lnTo>
                  <a:lnTo>
                    <a:pt x="439" y="319"/>
                  </a:lnTo>
                  <a:lnTo>
                    <a:pt x="440" y="321"/>
                  </a:lnTo>
                  <a:lnTo>
                    <a:pt x="441" y="322"/>
                  </a:lnTo>
                  <a:lnTo>
                    <a:pt x="441" y="324"/>
                  </a:lnTo>
                  <a:lnTo>
                    <a:pt x="442" y="328"/>
                  </a:lnTo>
                  <a:lnTo>
                    <a:pt x="442" y="329"/>
                  </a:lnTo>
                  <a:lnTo>
                    <a:pt x="442" y="331"/>
                  </a:lnTo>
                  <a:lnTo>
                    <a:pt x="443" y="333"/>
                  </a:lnTo>
                  <a:lnTo>
                    <a:pt x="444" y="335"/>
                  </a:lnTo>
                  <a:lnTo>
                    <a:pt x="445" y="336"/>
                  </a:lnTo>
                  <a:lnTo>
                    <a:pt x="446" y="338"/>
                  </a:lnTo>
                  <a:lnTo>
                    <a:pt x="447" y="340"/>
                  </a:lnTo>
                  <a:lnTo>
                    <a:pt x="448" y="341"/>
                  </a:lnTo>
                  <a:lnTo>
                    <a:pt x="448" y="343"/>
                  </a:lnTo>
                  <a:lnTo>
                    <a:pt x="448" y="344"/>
                  </a:lnTo>
                  <a:lnTo>
                    <a:pt x="448" y="345"/>
                  </a:lnTo>
                  <a:lnTo>
                    <a:pt x="448" y="346"/>
                  </a:lnTo>
                  <a:lnTo>
                    <a:pt x="448" y="346"/>
                  </a:lnTo>
                  <a:lnTo>
                    <a:pt x="447" y="348"/>
                  </a:lnTo>
                  <a:lnTo>
                    <a:pt x="447" y="350"/>
                  </a:lnTo>
                  <a:lnTo>
                    <a:pt x="446" y="352"/>
                  </a:lnTo>
                  <a:lnTo>
                    <a:pt x="445" y="355"/>
                  </a:lnTo>
                  <a:lnTo>
                    <a:pt x="445" y="355"/>
                  </a:lnTo>
                  <a:lnTo>
                    <a:pt x="445" y="356"/>
                  </a:lnTo>
                  <a:lnTo>
                    <a:pt x="445" y="356"/>
                  </a:lnTo>
                  <a:lnTo>
                    <a:pt x="444" y="356"/>
                  </a:lnTo>
                  <a:lnTo>
                    <a:pt x="443" y="357"/>
                  </a:lnTo>
                  <a:lnTo>
                    <a:pt x="443" y="357"/>
                  </a:lnTo>
                  <a:lnTo>
                    <a:pt x="442" y="357"/>
                  </a:lnTo>
                  <a:lnTo>
                    <a:pt x="439" y="358"/>
                  </a:lnTo>
                  <a:lnTo>
                    <a:pt x="437" y="359"/>
                  </a:lnTo>
                  <a:lnTo>
                    <a:pt x="436" y="359"/>
                  </a:lnTo>
                  <a:lnTo>
                    <a:pt x="435" y="360"/>
                  </a:lnTo>
                  <a:lnTo>
                    <a:pt x="431" y="362"/>
                  </a:lnTo>
                  <a:lnTo>
                    <a:pt x="429" y="363"/>
                  </a:lnTo>
                  <a:lnTo>
                    <a:pt x="427" y="364"/>
                  </a:lnTo>
                  <a:lnTo>
                    <a:pt x="423" y="367"/>
                  </a:lnTo>
                  <a:lnTo>
                    <a:pt x="422" y="368"/>
                  </a:lnTo>
                  <a:lnTo>
                    <a:pt x="421" y="368"/>
                  </a:lnTo>
                  <a:lnTo>
                    <a:pt x="419" y="369"/>
                  </a:lnTo>
                  <a:lnTo>
                    <a:pt x="418" y="369"/>
                  </a:lnTo>
                  <a:lnTo>
                    <a:pt x="417" y="369"/>
                  </a:lnTo>
                  <a:lnTo>
                    <a:pt x="416" y="369"/>
                  </a:lnTo>
                  <a:lnTo>
                    <a:pt x="416" y="369"/>
                  </a:lnTo>
                  <a:lnTo>
                    <a:pt x="415" y="369"/>
                  </a:lnTo>
                  <a:lnTo>
                    <a:pt x="414" y="369"/>
                  </a:lnTo>
                  <a:lnTo>
                    <a:pt x="412" y="369"/>
                  </a:lnTo>
                  <a:lnTo>
                    <a:pt x="408" y="367"/>
                  </a:lnTo>
                  <a:lnTo>
                    <a:pt x="407" y="367"/>
                  </a:lnTo>
                  <a:lnTo>
                    <a:pt x="406" y="367"/>
                  </a:lnTo>
                  <a:lnTo>
                    <a:pt x="404" y="367"/>
                  </a:lnTo>
                  <a:lnTo>
                    <a:pt x="401" y="366"/>
                  </a:lnTo>
                  <a:lnTo>
                    <a:pt x="398" y="366"/>
                  </a:lnTo>
                  <a:lnTo>
                    <a:pt x="396" y="366"/>
                  </a:lnTo>
                  <a:lnTo>
                    <a:pt x="395" y="366"/>
                  </a:lnTo>
                  <a:lnTo>
                    <a:pt x="393" y="366"/>
                  </a:lnTo>
                  <a:lnTo>
                    <a:pt x="390" y="366"/>
                  </a:lnTo>
                  <a:lnTo>
                    <a:pt x="384" y="368"/>
                  </a:lnTo>
                  <a:lnTo>
                    <a:pt x="382" y="368"/>
                  </a:lnTo>
                  <a:lnTo>
                    <a:pt x="380" y="368"/>
                  </a:lnTo>
                  <a:lnTo>
                    <a:pt x="379" y="368"/>
                  </a:lnTo>
                  <a:lnTo>
                    <a:pt x="378" y="368"/>
                  </a:lnTo>
                  <a:lnTo>
                    <a:pt x="377" y="368"/>
                  </a:lnTo>
                  <a:lnTo>
                    <a:pt x="376" y="368"/>
                  </a:lnTo>
                  <a:lnTo>
                    <a:pt x="375" y="368"/>
                  </a:lnTo>
                  <a:lnTo>
                    <a:pt x="374" y="367"/>
                  </a:lnTo>
                  <a:lnTo>
                    <a:pt x="372" y="366"/>
                  </a:lnTo>
                  <a:lnTo>
                    <a:pt x="371" y="366"/>
                  </a:lnTo>
                  <a:lnTo>
                    <a:pt x="370" y="366"/>
                  </a:lnTo>
                  <a:lnTo>
                    <a:pt x="369" y="366"/>
                  </a:lnTo>
                  <a:lnTo>
                    <a:pt x="368" y="366"/>
                  </a:lnTo>
                  <a:lnTo>
                    <a:pt x="367" y="366"/>
                  </a:lnTo>
                  <a:lnTo>
                    <a:pt x="366" y="366"/>
                  </a:lnTo>
                  <a:lnTo>
                    <a:pt x="365" y="366"/>
                  </a:lnTo>
                  <a:lnTo>
                    <a:pt x="364" y="366"/>
                  </a:lnTo>
                  <a:lnTo>
                    <a:pt x="363" y="366"/>
                  </a:lnTo>
                  <a:lnTo>
                    <a:pt x="362" y="366"/>
                  </a:lnTo>
                  <a:lnTo>
                    <a:pt x="362" y="367"/>
                  </a:lnTo>
                  <a:lnTo>
                    <a:pt x="361" y="367"/>
                  </a:lnTo>
                  <a:lnTo>
                    <a:pt x="360" y="368"/>
                  </a:lnTo>
                  <a:lnTo>
                    <a:pt x="359" y="369"/>
                  </a:lnTo>
                  <a:lnTo>
                    <a:pt x="358" y="370"/>
                  </a:lnTo>
                  <a:lnTo>
                    <a:pt x="357" y="370"/>
                  </a:lnTo>
                  <a:lnTo>
                    <a:pt x="357" y="371"/>
                  </a:lnTo>
                  <a:lnTo>
                    <a:pt x="356" y="372"/>
                  </a:lnTo>
                  <a:lnTo>
                    <a:pt x="356" y="373"/>
                  </a:lnTo>
                  <a:lnTo>
                    <a:pt x="356" y="374"/>
                  </a:lnTo>
                  <a:lnTo>
                    <a:pt x="355" y="374"/>
                  </a:lnTo>
                  <a:lnTo>
                    <a:pt x="355" y="375"/>
                  </a:lnTo>
                  <a:lnTo>
                    <a:pt x="355" y="376"/>
                  </a:lnTo>
                  <a:lnTo>
                    <a:pt x="355" y="377"/>
                  </a:lnTo>
                  <a:lnTo>
                    <a:pt x="355" y="380"/>
                  </a:lnTo>
                  <a:lnTo>
                    <a:pt x="355" y="381"/>
                  </a:lnTo>
                  <a:lnTo>
                    <a:pt x="355" y="382"/>
                  </a:lnTo>
                  <a:lnTo>
                    <a:pt x="355" y="383"/>
                  </a:lnTo>
                  <a:lnTo>
                    <a:pt x="355" y="384"/>
                  </a:lnTo>
                  <a:lnTo>
                    <a:pt x="354" y="385"/>
                  </a:lnTo>
                  <a:lnTo>
                    <a:pt x="354" y="386"/>
                  </a:lnTo>
                  <a:lnTo>
                    <a:pt x="353" y="387"/>
                  </a:lnTo>
                  <a:lnTo>
                    <a:pt x="352" y="389"/>
                  </a:lnTo>
                  <a:lnTo>
                    <a:pt x="350" y="392"/>
                  </a:lnTo>
                  <a:lnTo>
                    <a:pt x="349" y="393"/>
                  </a:lnTo>
                  <a:lnTo>
                    <a:pt x="346" y="397"/>
                  </a:lnTo>
                  <a:lnTo>
                    <a:pt x="343" y="400"/>
                  </a:lnTo>
                  <a:lnTo>
                    <a:pt x="342" y="401"/>
                  </a:lnTo>
                  <a:lnTo>
                    <a:pt x="341" y="403"/>
                  </a:lnTo>
                  <a:lnTo>
                    <a:pt x="339" y="406"/>
                  </a:lnTo>
                  <a:lnTo>
                    <a:pt x="337" y="410"/>
                  </a:lnTo>
                  <a:lnTo>
                    <a:pt x="336" y="411"/>
                  </a:lnTo>
                  <a:lnTo>
                    <a:pt x="335" y="412"/>
                  </a:lnTo>
                  <a:lnTo>
                    <a:pt x="334" y="413"/>
                  </a:lnTo>
                  <a:lnTo>
                    <a:pt x="333" y="414"/>
                  </a:lnTo>
                  <a:lnTo>
                    <a:pt x="332" y="415"/>
                  </a:lnTo>
                  <a:lnTo>
                    <a:pt x="331" y="416"/>
                  </a:lnTo>
                  <a:lnTo>
                    <a:pt x="330" y="416"/>
                  </a:lnTo>
                  <a:lnTo>
                    <a:pt x="329" y="417"/>
                  </a:lnTo>
                  <a:lnTo>
                    <a:pt x="328" y="418"/>
                  </a:lnTo>
                  <a:lnTo>
                    <a:pt x="327" y="418"/>
                  </a:lnTo>
                  <a:lnTo>
                    <a:pt x="326" y="418"/>
                  </a:lnTo>
                  <a:lnTo>
                    <a:pt x="324" y="419"/>
                  </a:lnTo>
                  <a:lnTo>
                    <a:pt x="323" y="419"/>
                  </a:lnTo>
                  <a:lnTo>
                    <a:pt x="322" y="419"/>
                  </a:lnTo>
                  <a:lnTo>
                    <a:pt x="321" y="419"/>
                  </a:lnTo>
                  <a:lnTo>
                    <a:pt x="320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5" y="419"/>
                  </a:lnTo>
                  <a:lnTo>
                    <a:pt x="315" y="419"/>
                  </a:lnTo>
                  <a:lnTo>
                    <a:pt x="314" y="418"/>
                  </a:lnTo>
                  <a:lnTo>
                    <a:pt x="313" y="418"/>
                  </a:lnTo>
                  <a:lnTo>
                    <a:pt x="312" y="417"/>
                  </a:lnTo>
                  <a:lnTo>
                    <a:pt x="311" y="416"/>
                  </a:lnTo>
                  <a:lnTo>
                    <a:pt x="310" y="416"/>
                  </a:lnTo>
                  <a:lnTo>
                    <a:pt x="309" y="415"/>
                  </a:lnTo>
                  <a:lnTo>
                    <a:pt x="309" y="414"/>
                  </a:lnTo>
                  <a:lnTo>
                    <a:pt x="308" y="414"/>
                  </a:lnTo>
                  <a:lnTo>
                    <a:pt x="308" y="413"/>
                  </a:lnTo>
                  <a:lnTo>
                    <a:pt x="307" y="412"/>
                  </a:lnTo>
                  <a:lnTo>
                    <a:pt x="307" y="412"/>
                  </a:lnTo>
                  <a:lnTo>
                    <a:pt x="306" y="410"/>
                  </a:lnTo>
                  <a:lnTo>
                    <a:pt x="304" y="406"/>
                  </a:lnTo>
                  <a:lnTo>
                    <a:pt x="304" y="405"/>
                  </a:lnTo>
                  <a:lnTo>
                    <a:pt x="304" y="405"/>
                  </a:lnTo>
                  <a:lnTo>
                    <a:pt x="303" y="404"/>
                  </a:lnTo>
                  <a:lnTo>
                    <a:pt x="303" y="403"/>
                  </a:lnTo>
                  <a:lnTo>
                    <a:pt x="301" y="400"/>
                  </a:lnTo>
                  <a:lnTo>
                    <a:pt x="300" y="399"/>
                  </a:lnTo>
                  <a:lnTo>
                    <a:pt x="299" y="399"/>
                  </a:lnTo>
                  <a:lnTo>
                    <a:pt x="298" y="398"/>
                  </a:lnTo>
                  <a:lnTo>
                    <a:pt x="297" y="397"/>
                  </a:lnTo>
                  <a:lnTo>
                    <a:pt x="292" y="394"/>
                  </a:lnTo>
                  <a:lnTo>
                    <a:pt x="291" y="393"/>
                  </a:lnTo>
                  <a:lnTo>
                    <a:pt x="290" y="392"/>
                  </a:lnTo>
                  <a:lnTo>
                    <a:pt x="289" y="391"/>
                  </a:lnTo>
                  <a:lnTo>
                    <a:pt x="289" y="390"/>
                  </a:lnTo>
                  <a:lnTo>
                    <a:pt x="288" y="389"/>
                  </a:lnTo>
                  <a:lnTo>
                    <a:pt x="287" y="388"/>
                  </a:lnTo>
                  <a:lnTo>
                    <a:pt x="286" y="386"/>
                  </a:lnTo>
                  <a:lnTo>
                    <a:pt x="284" y="382"/>
                  </a:lnTo>
                  <a:lnTo>
                    <a:pt x="283" y="381"/>
                  </a:lnTo>
                  <a:lnTo>
                    <a:pt x="283" y="380"/>
                  </a:lnTo>
                  <a:lnTo>
                    <a:pt x="282" y="380"/>
                  </a:lnTo>
                  <a:lnTo>
                    <a:pt x="281" y="379"/>
                  </a:lnTo>
                  <a:lnTo>
                    <a:pt x="280" y="379"/>
                  </a:lnTo>
                  <a:lnTo>
                    <a:pt x="279" y="378"/>
                  </a:lnTo>
                  <a:lnTo>
                    <a:pt x="278" y="378"/>
                  </a:lnTo>
                  <a:lnTo>
                    <a:pt x="277" y="377"/>
                  </a:lnTo>
                  <a:lnTo>
                    <a:pt x="276" y="377"/>
                  </a:lnTo>
                  <a:lnTo>
                    <a:pt x="275" y="377"/>
                  </a:lnTo>
                  <a:lnTo>
                    <a:pt x="275" y="377"/>
                  </a:lnTo>
                  <a:lnTo>
                    <a:pt x="273" y="378"/>
                  </a:lnTo>
                  <a:lnTo>
                    <a:pt x="270" y="378"/>
                  </a:lnTo>
                  <a:lnTo>
                    <a:pt x="269" y="379"/>
                  </a:lnTo>
                  <a:lnTo>
                    <a:pt x="268" y="379"/>
                  </a:lnTo>
                  <a:lnTo>
                    <a:pt x="267" y="379"/>
                  </a:lnTo>
                  <a:lnTo>
                    <a:pt x="266" y="379"/>
                  </a:lnTo>
                  <a:lnTo>
                    <a:pt x="265" y="379"/>
                  </a:lnTo>
                  <a:lnTo>
                    <a:pt x="262" y="378"/>
                  </a:lnTo>
                  <a:lnTo>
                    <a:pt x="261" y="378"/>
                  </a:lnTo>
                  <a:lnTo>
                    <a:pt x="255" y="377"/>
                  </a:lnTo>
                  <a:lnTo>
                    <a:pt x="254" y="377"/>
                  </a:lnTo>
                  <a:lnTo>
                    <a:pt x="253" y="376"/>
                  </a:lnTo>
                  <a:lnTo>
                    <a:pt x="251" y="376"/>
                  </a:lnTo>
                  <a:lnTo>
                    <a:pt x="251" y="375"/>
                  </a:lnTo>
                  <a:lnTo>
                    <a:pt x="250" y="375"/>
                  </a:lnTo>
                  <a:lnTo>
                    <a:pt x="248" y="374"/>
                  </a:lnTo>
                  <a:lnTo>
                    <a:pt x="244" y="371"/>
                  </a:lnTo>
                  <a:lnTo>
                    <a:pt x="243" y="370"/>
                  </a:lnTo>
                  <a:lnTo>
                    <a:pt x="242" y="370"/>
                  </a:lnTo>
                  <a:lnTo>
                    <a:pt x="241" y="369"/>
                  </a:lnTo>
                  <a:lnTo>
                    <a:pt x="240" y="369"/>
                  </a:lnTo>
                  <a:lnTo>
                    <a:pt x="239" y="369"/>
                  </a:lnTo>
                  <a:lnTo>
                    <a:pt x="238" y="368"/>
                  </a:lnTo>
                  <a:lnTo>
                    <a:pt x="235" y="368"/>
                  </a:lnTo>
                  <a:lnTo>
                    <a:pt x="234" y="368"/>
                  </a:lnTo>
                  <a:lnTo>
                    <a:pt x="233" y="368"/>
                  </a:lnTo>
                  <a:lnTo>
                    <a:pt x="229" y="367"/>
                  </a:lnTo>
                  <a:lnTo>
                    <a:pt x="228" y="367"/>
                  </a:lnTo>
                  <a:lnTo>
                    <a:pt x="227" y="367"/>
                  </a:lnTo>
                  <a:lnTo>
                    <a:pt x="225" y="367"/>
                  </a:lnTo>
                  <a:lnTo>
                    <a:pt x="222" y="367"/>
                  </a:lnTo>
                  <a:lnTo>
                    <a:pt x="219" y="367"/>
                  </a:lnTo>
                  <a:lnTo>
                    <a:pt x="217" y="367"/>
                  </a:lnTo>
                  <a:lnTo>
                    <a:pt x="213" y="368"/>
                  </a:lnTo>
                  <a:lnTo>
                    <a:pt x="210" y="369"/>
                  </a:lnTo>
                  <a:lnTo>
                    <a:pt x="206" y="370"/>
                  </a:lnTo>
                  <a:lnTo>
                    <a:pt x="199" y="372"/>
                  </a:lnTo>
                  <a:lnTo>
                    <a:pt x="198" y="372"/>
                  </a:lnTo>
                  <a:lnTo>
                    <a:pt x="196" y="372"/>
                  </a:lnTo>
                  <a:lnTo>
                    <a:pt x="195" y="372"/>
                  </a:lnTo>
                  <a:lnTo>
                    <a:pt x="194" y="373"/>
                  </a:lnTo>
                  <a:lnTo>
                    <a:pt x="193" y="372"/>
                  </a:lnTo>
                  <a:lnTo>
                    <a:pt x="193" y="372"/>
                  </a:lnTo>
                  <a:lnTo>
                    <a:pt x="192" y="372"/>
                  </a:lnTo>
                  <a:lnTo>
                    <a:pt x="191" y="371"/>
                  </a:lnTo>
                  <a:lnTo>
                    <a:pt x="191" y="371"/>
                  </a:lnTo>
                  <a:lnTo>
                    <a:pt x="190" y="371"/>
                  </a:lnTo>
                  <a:lnTo>
                    <a:pt x="190" y="370"/>
                  </a:lnTo>
                  <a:lnTo>
                    <a:pt x="189" y="369"/>
                  </a:lnTo>
                  <a:lnTo>
                    <a:pt x="188" y="366"/>
                  </a:lnTo>
                  <a:lnTo>
                    <a:pt x="187" y="366"/>
                  </a:lnTo>
                  <a:lnTo>
                    <a:pt x="187" y="365"/>
                  </a:lnTo>
                  <a:lnTo>
                    <a:pt x="186" y="364"/>
                  </a:lnTo>
                  <a:lnTo>
                    <a:pt x="185" y="363"/>
                  </a:lnTo>
                  <a:lnTo>
                    <a:pt x="184" y="362"/>
                  </a:lnTo>
                  <a:lnTo>
                    <a:pt x="182" y="361"/>
                  </a:lnTo>
                  <a:lnTo>
                    <a:pt x="181" y="361"/>
                  </a:lnTo>
                  <a:lnTo>
                    <a:pt x="180" y="360"/>
                  </a:lnTo>
                  <a:lnTo>
                    <a:pt x="179" y="360"/>
                  </a:lnTo>
                  <a:lnTo>
                    <a:pt x="177" y="359"/>
                  </a:lnTo>
                  <a:lnTo>
                    <a:pt x="175" y="359"/>
                  </a:lnTo>
                  <a:lnTo>
                    <a:pt x="174" y="359"/>
                  </a:lnTo>
                  <a:lnTo>
                    <a:pt x="172" y="359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0" y="359"/>
                  </a:lnTo>
                  <a:lnTo>
                    <a:pt x="169" y="359"/>
                  </a:lnTo>
                  <a:lnTo>
                    <a:pt x="169" y="359"/>
                  </a:lnTo>
                  <a:lnTo>
                    <a:pt x="167" y="360"/>
                  </a:lnTo>
                  <a:lnTo>
                    <a:pt x="167" y="360"/>
                  </a:lnTo>
                  <a:lnTo>
                    <a:pt x="166" y="359"/>
                  </a:lnTo>
                  <a:lnTo>
                    <a:pt x="166" y="359"/>
                  </a:lnTo>
                  <a:lnTo>
                    <a:pt x="165" y="356"/>
                  </a:lnTo>
                  <a:lnTo>
                    <a:pt x="163" y="353"/>
                  </a:lnTo>
                  <a:lnTo>
                    <a:pt x="163" y="352"/>
                  </a:lnTo>
                  <a:lnTo>
                    <a:pt x="162" y="351"/>
                  </a:lnTo>
                  <a:lnTo>
                    <a:pt x="161" y="350"/>
                  </a:lnTo>
                  <a:lnTo>
                    <a:pt x="160" y="349"/>
                  </a:lnTo>
                  <a:lnTo>
                    <a:pt x="160" y="349"/>
                  </a:lnTo>
                  <a:lnTo>
                    <a:pt x="160" y="349"/>
                  </a:lnTo>
                  <a:lnTo>
                    <a:pt x="159" y="349"/>
                  </a:lnTo>
                  <a:lnTo>
                    <a:pt x="159" y="348"/>
                  </a:lnTo>
                  <a:lnTo>
                    <a:pt x="158" y="348"/>
                  </a:lnTo>
                  <a:lnTo>
                    <a:pt x="158" y="348"/>
                  </a:lnTo>
                  <a:lnTo>
                    <a:pt x="157" y="349"/>
                  </a:lnTo>
                  <a:lnTo>
                    <a:pt x="156" y="349"/>
                  </a:lnTo>
                  <a:lnTo>
                    <a:pt x="155" y="349"/>
                  </a:lnTo>
                  <a:lnTo>
                    <a:pt x="154" y="350"/>
                  </a:lnTo>
                  <a:lnTo>
                    <a:pt x="153" y="351"/>
                  </a:lnTo>
                  <a:lnTo>
                    <a:pt x="151" y="353"/>
                  </a:lnTo>
                  <a:lnTo>
                    <a:pt x="150" y="353"/>
                  </a:lnTo>
                  <a:lnTo>
                    <a:pt x="150" y="353"/>
                  </a:lnTo>
                  <a:lnTo>
                    <a:pt x="150" y="353"/>
                  </a:lnTo>
                  <a:lnTo>
                    <a:pt x="149" y="353"/>
                  </a:lnTo>
                  <a:lnTo>
                    <a:pt x="148" y="353"/>
                  </a:lnTo>
                  <a:lnTo>
                    <a:pt x="148" y="353"/>
                  </a:lnTo>
                  <a:lnTo>
                    <a:pt x="148" y="352"/>
                  </a:lnTo>
                  <a:lnTo>
                    <a:pt x="147" y="352"/>
                  </a:lnTo>
                  <a:lnTo>
                    <a:pt x="147" y="351"/>
                  </a:lnTo>
                  <a:lnTo>
                    <a:pt x="146" y="350"/>
                  </a:lnTo>
                  <a:lnTo>
                    <a:pt x="146" y="349"/>
                  </a:lnTo>
                  <a:lnTo>
                    <a:pt x="146" y="349"/>
                  </a:lnTo>
                  <a:lnTo>
                    <a:pt x="146" y="348"/>
                  </a:lnTo>
                  <a:lnTo>
                    <a:pt x="147" y="347"/>
                  </a:lnTo>
                  <a:lnTo>
                    <a:pt x="147" y="346"/>
                  </a:lnTo>
                  <a:lnTo>
                    <a:pt x="148" y="345"/>
                  </a:lnTo>
                  <a:lnTo>
                    <a:pt x="148" y="344"/>
                  </a:lnTo>
                  <a:lnTo>
                    <a:pt x="148" y="343"/>
                  </a:lnTo>
                  <a:lnTo>
                    <a:pt x="148" y="343"/>
                  </a:lnTo>
                  <a:lnTo>
                    <a:pt x="148" y="342"/>
                  </a:lnTo>
                  <a:lnTo>
                    <a:pt x="148" y="341"/>
                  </a:lnTo>
                  <a:lnTo>
                    <a:pt x="148" y="341"/>
                  </a:lnTo>
                  <a:lnTo>
                    <a:pt x="147" y="340"/>
                  </a:lnTo>
                  <a:lnTo>
                    <a:pt x="146" y="337"/>
                  </a:lnTo>
                  <a:lnTo>
                    <a:pt x="144" y="334"/>
                  </a:lnTo>
                  <a:lnTo>
                    <a:pt x="143" y="332"/>
                  </a:lnTo>
                  <a:lnTo>
                    <a:pt x="141" y="330"/>
                  </a:lnTo>
                  <a:lnTo>
                    <a:pt x="140" y="329"/>
                  </a:lnTo>
                  <a:lnTo>
                    <a:pt x="138" y="327"/>
                  </a:lnTo>
                  <a:lnTo>
                    <a:pt x="135" y="324"/>
                  </a:lnTo>
                  <a:lnTo>
                    <a:pt x="134" y="322"/>
                  </a:lnTo>
                  <a:lnTo>
                    <a:pt x="132" y="322"/>
                  </a:lnTo>
                  <a:lnTo>
                    <a:pt x="125" y="316"/>
                  </a:lnTo>
                  <a:lnTo>
                    <a:pt x="124" y="315"/>
                  </a:lnTo>
                  <a:lnTo>
                    <a:pt x="123" y="315"/>
                  </a:lnTo>
                  <a:lnTo>
                    <a:pt x="123" y="314"/>
                  </a:lnTo>
                  <a:lnTo>
                    <a:pt x="122" y="313"/>
                  </a:lnTo>
                  <a:lnTo>
                    <a:pt x="121" y="311"/>
                  </a:lnTo>
                  <a:lnTo>
                    <a:pt x="120" y="310"/>
                  </a:lnTo>
                  <a:lnTo>
                    <a:pt x="119" y="308"/>
                  </a:lnTo>
                  <a:lnTo>
                    <a:pt x="118" y="307"/>
                  </a:lnTo>
                  <a:lnTo>
                    <a:pt x="118" y="306"/>
                  </a:lnTo>
                  <a:lnTo>
                    <a:pt x="117" y="304"/>
                  </a:lnTo>
                  <a:lnTo>
                    <a:pt x="115" y="303"/>
                  </a:lnTo>
                  <a:lnTo>
                    <a:pt x="114" y="302"/>
                  </a:lnTo>
                  <a:lnTo>
                    <a:pt x="114" y="301"/>
                  </a:lnTo>
                  <a:lnTo>
                    <a:pt x="113" y="300"/>
                  </a:lnTo>
                  <a:lnTo>
                    <a:pt x="112" y="300"/>
                  </a:lnTo>
                  <a:lnTo>
                    <a:pt x="112" y="299"/>
                  </a:lnTo>
                  <a:lnTo>
                    <a:pt x="111" y="299"/>
                  </a:lnTo>
                  <a:lnTo>
                    <a:pt x="111" y="299"/>
                  </a:lnTo>
                  <a:lnTo>
                    <a:pt x="111" y="299"/>
                  </a:lnTo>
                  <a:lnTo>
                    <a:pt x="110" y="299"/>
                  </a:lnTo>
                  <a:lnTo>
                    <a:pt x="110" y="300"/>
                  </a:lnTo>
                  <a:lnTo>
                    <a:pt x="109" y="300"/>
                  </a:lnTo>
                  <a:lnTo>
                    <a:pt x="108" y="301"/>
                  </a:lnTo>
                  <a:lnTo>
                    <a:pt x="107" y="301"/>
                  </a:lnTo>
                  <a:lnTo>
                    <a:pt x="107" y="301"/>
                  </a:lnTo>
                  <a:lnTo>
                    <a:pt x="106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4" y="302"/>
                  </a:lnTo>
                  <a:lnTo>
                    <a:pt x="103" y="301"/>
                  </a:lnTo>
                  <a:lnTo>
                    <a:pt x="102" y="301"/>
                  </a:lnTo>
                  <a:lnTo>
                    <a:pt x="101" y="300"/>
                  </a:lnTo>
                  <a:lnTo>
                    <a:pt x="100" y="299"/>
                  </a:lnTo>
                  <a:lnTo>
                    <a:pt x="99" y="299"/>
                  </a:lnTo>
                  <a:lnTo>
                    <a:pt x="98" y="298"/>
                  </a:lnTo>
                  <a:lnTo>
                    <a:pt x="97" y="297"/>
                  </a:lnTo>
                  <a:lnTo>
                    <a:pt x="97" y="297"/>
                  </a:lnTo>
                  <a:lnTo>
                    <a:pt x="96" y="296"/>
                  </a:lnTo>
                  <a:lnTo>
                    <a:pt x="96" y="295"/>
                  </a:lnTo>
                  <a:lnTo>
                    <a:pt x="95" y="294"/>
                  </a:lnTo>
                  <a:lnTo>
                    <a:pt x="95" y="293"/>
                  </a:lnTo>
                  <a:lnTo>
                    <a:pt x="95" y="291"/>
                  </a:lnTo>
                  <a:lnTo>
                    <a:pt x="94" y="289"/>
                  </a:lnTo>
                  <a:lnTo>
                    <a:pt x="94" y="288"/>
                  </a:lnTo>
                  <a:lnTo>
                    <a:pt x="94" y="286"/>
                  </a:lnTo>
                  <a:lnTo>
                    <a:pt x="94" y="285"/>
                  </a:lnTo>
                  <a:lnTo>
                    <a:pt x="94" y="284"/>
                  </a:lnTo>
                  <a:lnTo>
                    <a:pt x="94" y="283"/>
                  </a:lnTo>
                  <a:lnTo>
                    <a:pt x="94" y="282"/>
                  </a:lnTo>
                  <a:lnTo>
                    <a:pt x="95" y="280"/>
                  </a:lnTo>
                  <a:lnTo>
                    <a:pt x="96" y="276"/>
                  </a:lnTo>
                  <a:lnTo>
                    <a:pt x="96" y="275"/>
                  </a:lnTo>
                  <a:lnTo>
                    <a:pt x="96" y="274"/>
                  </a:lnTo>
                  <a:lnTo>
                    <a:pt x="96" y="273"/>
                  </a:lnTo>
                  <a:lnTo>
                    <a:pt x="96" y="272"/>
                  </a:lnTo>
                  <a:lnTo>
                    <a:pt x="96" y="271"/>
                  </a:lnTo>
                  <a:lnTo>
                    <a:pt x="96" y="269"/>
                  </a:lnTo>
                  <a:lnTo>
                    <a:pt x="96" y="268"/>
                  </a:lnTo>
                  <a:lnTo>
                    <a:pt x="95" y="266"/>
                  </a:lnTo>
                  <a:lnTo>
                    <a:pt x="95" y="265"/>
                  </a:lnTo>
                  <a:lnTo>
                    <a:pt x="94" y="264"/>
                  </a:lnTo>
                  <a:lnTo>
                    <a:pt x="94" y="263"/>
                  </a:lnTo>
                  <a:lnTo>
                    <a:pt x="93" y="262"/>
                  </a:lnTo>
                  <a:lnTo>
                    <a:pt x="93" y="261"/>
                  </a:lnTo>
                  <a:lnTo>
                    <a:pt x="92" y="260"/>
                  </a:lnTo>
                  <a:lnTo>
                    <a:pt x="92" y="260"/>
                  </a:lnTo>
                  <a:lnTo>
                    <a:pt x="91" y="259"/>
                  </a:lnTo>
                  <a:lnTo>
                    <a:pt x="91" y="259"/>
                  </a:lnTo>
                  <a:lnTo>
                    <a:pt x="90" y="259"/>
                  </a:lnTo>
                  <a:lnTo>
                    <a:pt x="90" y="259"/>
                  </a:lnTo>
                  <a:lnTo>
                    <a:pt x="89" y="259"/>
                  </a:lnTo>
                  <a:lnTo>
                    <a:pt x="88" y="259"/>
                  </a:lnTo>
                  <a:lnTo>
                    <a:pt x="88" y="259"/>
                  </a:lnTo>
                  <a:lnTo>
                    <a:pt x="85" y="260"/>
                  </a:lnTo>
                  <a:lnTo>
                    <a:pt x="84" y="260"/>
                  </a:lnTo>
                  <a:lnTo>
                    <a:pt x="79" y="262"/>
                  </a:lnTo>
                  <a:lnTo>
                    <a:pt x="78" y="262"/>
                  </a:lnTo>
                  <a:lnTo>
                    <a:pt x="76" y="263"/>
                  </a:lnTo>
                  <a:lnTo>
                    <a:pt x="74" y="264"/>
                  </a:lnTo>
                  <a:lnTo>
                    <a:pt x="72" y="265"/>
                  </a:lnTo>
                  <a:lnTo>
                    <a:pt x="71" y="265"/>
                  </a:lnTo>
                  <a:lnTo>
                    <a:pt x="70" y="265"/>
                  </a:lnTo>
                  <a:lnTo>
                    <a:pt x="70" y="265"/>
                  </a:lnTo>
                  <a:lnTo>
                    <a:pt x="69" y="265"/>
                  </a:lnTo>
                  <a:lnTo>
                    <a:pt x="68" y="265"/>
                  </a:lnTo>
                  <a:lnTo>
                    <a:pt x="65" y="264"/>
                  </a:lnTo>
                  <a:lnTo>
                    <a:pt x="64" y="264"/>
                  </a:lnTo>
                  <a:lnTo>
                    <a:pt x="63" y="264"/>
                  </a:lnTo>
                  <a:lnTo>
                    <a:pt x="61" y="263"/>
                  </a:lnTo>
                  <a:lnTo>
                    <a:pt x="57" y="261"/>
                  </a:lnTo>
                  <a:lnTo>
                    <a:pt x="56" y="261"/>
                  </a:lnTo>
                  <a:lnTo>
                    <a:pt x="55" y="260"/>
                  </a:lnTo>
                  <a:lnTo>
                    <a:pt x="54" y="259"/>
                  </a:lnTo>
                  <a:lnTo>
                    <a:pt x="53" y="258"/>
                  </a:lnTo>
                  <a:lnTo>
                    <a:pt x="52" y="257"/>
                  </a:lnTo>
                  <a:lnTo>
                    <a:pt x="51" y="257"/>
                  </a:lnTo>
                  <a:lnTo>
                    <a:pt x="50" y="256"/>
                  </a:lnTo>
                  <a:lnTo>
                    <a:pt x="48" y="255"/>
                  </a:lnTo>
                  <a:lnTo>
                    <a:pt x="47" y="255"/>
                  </a:lnTo>
                  <a:lnTo>
                    <a:pt x="46" y="254"/>
                  </a:lnTo>
                  <a:lnTo>
                    <a:pt x="46" y="254"/>
                  </a:lnTo>
                  <a:lnTo>
                    <a:pt x="45" y="253"/>
                  </a:lnTo>
                  <a:lnTo>
                    <a:pt x="44" y="252"/>
                  </a:lnTo>
                  <a:lnTo>
                    <a:pt x="44" y="251"/>
                  </a:lnTo>
                  <a:lnTo>
                    <a:pt x="43" y="249"/>
                  </a:lnTo>
                  <a:lnTo>
                    <a:pt x="42" y="248"/>
                  </a:lnTo>
                  <a:lnTo>
                    <a:pt x="41" y="247"/>
                  </a:lnTo>
                  <a:lnTo>
                    <a:pt x="38" y="244"/>
                  </a:lnTo>
                  <a:lnTo>
                    <a:pt x="38" y="244"/>
                  </a:lnTo>
                  <a:lnTo>
                    <a:pt x="38" y="243"/>
                  </a:lnTo>
                  <a:lnTo>
                    <a:pt x="37" y="242"/>
                  </a:lnTo>
                  <a:lnTo>
                    <a:pt x="37" y="241"/>
                  </a:lnTo>
                  <a:lnTo>
                    <a:pt x="37" y="240"/>
                  </a:lnTo>
                  <a:lnTo>
                    <a:pt x="37" y="238"/>
                  </a:lnTo>
                  <a:lnTo>
                    <a:pt x="37" y="238"/>
                  </a:lnTo>
                  <a:lnTo>
                    <a:pt x="36" y="237"/>
                  </a:lnTo>
                  <a:lnTo>
                    <a:pt x="36" y="236"/>
                  </a:lnTo>
                  <a:lnTo>
                    <a:pt x="36" y="236"/>
                  </a:lnTo>
                  <a:lnTo>
                    <a:pt x="35" y="235"/>
                  </a:lnTo>
                  <a:lnTo>
                    <a:pt x="35" y="234"/>
                  </a:lnTo>
                  <a:lnTo>
                    <a:pt x="33" y="232"/>
                  </a:lnTo>
                  <a:lnTo>
                    <a:pt x="33" y="231"/>
                  </a:lnTo>
                  <a:lnTo>
                    <a:pt x="32" y="229"/>
                  </a:lnTo>
                  <a:lnTo>
                    <a:pt x="32" y="228"/>
                  </a:lnTo>
                  <a:lnTo>
                    <a:pt x="32" y="226"/>
                  </a:lnTo>
                  <a:lnTo>
                    <a:pt x="32" y="226"/>
                  </a:lnTo>
                  <a:lnTo>
                    <a:pt x="32" y="224"/>
                  </a:lnTo>
                  <a:lnTo>
                    <a:pt x="32" y="222"/>
                  </a:lnTo>
                  <a:lnTo>
                    <a:pt x="31" y="221"/>
                  </a:lnTo>
                  <a:lnTo>
                    <a:pt x="31" y="220"/>
                  </a:lnTo>
                  <a:lnTo>
                    <a:pt x="30" y="218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6" y="211"/>
                  </a:lnTo>
                  <a:lnTo>
                    <a:pt x="26" y="211"/>
                  </a:lnTo>
                  <a:lnTo>
                    <a:pt x="25" y="211"/>
                  </a:lnTo>
                  <a:lnTo>
                    <a:pt x="24" y="211"/>
                  </a:lnTo>
                  <a:lnTo>
                    <a:pt x="23" y="211"/>
                  </a:lnTo>
                  <a:lnTo>
                    <a:pt x="23" y="211"/>
                  </a:lnTo>
                  <a:lnTo>
                    <a:pt x="22" y="211"/>
                  </a:lnTo>
                  <a:lnTo>
                    <a:pt x="22" y="212"/>
                  </a:lnTo>
                  <a:lnTo>
                    <a:pt x="21" y="213"/>
                  </a:lnTo>
                  <a:lnTo>
                    <a:pt x="21" y="213"/>
                  </a:lnTo>
                  <a:lnTo>
                    <a:pt x="21" y="214"/>
                  </a:lnTo>
                  <a:lnTo>
                    <a:pt x="22" y="215"/>
                  </a:lnTo>
                  <a:lnTo>
                    <a:pt x="23" y="222"/>
                  </a:lnTo>
                  <a:lnTo>
                    <a:pt x="24" y="223"/>
                  </a:lnTo>
                  <a:lnTo>
                    <a:pt x="24" y="224"/>
                  </a:lnTo>
                  <a:lnTo>
                    <a:pt x="24" y="225"/>
                  </a:lnTo>
                  <a:lnTo>
                    <a:pt x="24" y="226"/>
                  </a:lnTo>
                  <a:lnTo>
                    <a:pt x="23" y="226"/>
                  </a:lnTo>
                  <a:lnTo>
                    <a:pt x="23" y="227"/>
                  </a:lnTo>
                  <a:lnTo>
                    <a:pt x="23" y="227"/>
                  </a:lnTo>
                  <a:lnTo>
                    <a:pt x="22" y="228"/>
                  </a:lnTo>
                  <a:lnTo>
                    <a:pt x="21" y="229"/>
                  </a:lnTo>
                  <a:lnTo>
                    <a:pt x="21" y="230"/>
                  </a:lnTo>
                  <a:lnTo>
                    <a:pt x="20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8" y="230"/>
                  </a:lnTo>
                  <a:lnTo>
                    <a:pt x="17" y="230"/>
                  </a:lnTo>
                  <a:lnTo>
                    <a:pt x="17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5" y="230"/>
                  </a:lnTo>
                  <a:lnTo>
                    <a:pt x="14" y="231"/>
                  </a:lnTo>
                  <a:lnTo>
                    <a:pt x="14" y="231"/>
                  </a:lnTo>
                  <a:lnTo>
                    <a:pt x="12" y="232"/>
                  </a:lnTo>
                  <a:lnTo>
                    <a:pt x="12" y="232"/>
                  </a:lnTo>
                  <a:lnTo>
                    <a:pt x="11" y="233"/>
                  </a:lnTo>
                  <a:lnTo>
                    <a:pt x="11" y="233"/>
                  </a:lnTo>
                  <a:lnTo>
                    <a:pt x="10" y="234"/>
                  </a:lnTo>
                  <a:lnTo>
                    <a:pt x="10" y="235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7"/>
                  </a:lnTo>
                  <a:lnTo>
                    <a:pt x="8" y="238"/>
                  </a:lnTo>
                  <a:lnTo>
                    <a:pt x="6" y="240"/>
                  </a:lnTo>
                  <a:lnTo>
                    <a:pt x="6" y="240"/>
                  </a:lnTo>
                  <a:lnTo>
                    <a:pt x="5" y="241"/>
                  </a:lnTo>
                  <a:lnTo>
                    <a:pt x="4" y="243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2" y="244"/>
                  </a:lnTo>
                  <a:lnTo>
                    <a:pt x="2" y="244"/>
                  </a:lnTo>
                  <a:lnTo>
                    <a:pt x="1" y="244"/>
                  </a:lnTo>
                  <a:lnTo>
                    <a:pt x="1" y="244"/>
                  </a:lnTo>
                  <a:lnTo>
                    <a:pt x="0" y="244"/>
                  </a:lnTo>
                  <a:lnTo>
                    <a:pt x="0" y="244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1" name="Freeform 40">
              <a:extLst>
                <a:ext uri="{FF2B5EF4-FFF2-40B4-BE49-F238E27FC236}">
                  <a16:creationId xmlns:a16="http://schemas.microsoft.com/office/drawing/2014/main" id="{95D70570-1CD6-5B92-D854-B78E8739CF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192"/>
              <a:ext cx="156" cy="244"/>
            </a:xfrm>
            <a:custGeom>
              <a:avLst/>
              <a:gdLst>
                <a:gd name="T0" fmla="*/ 65 w 156"/>
                <a:gd name="T1" fmla="*/ 239 h 244"/>
                <a:gd name="T2" fmla="*/ 64 w 156"/>
                <a:gd name="T3" fmla="*/ 235 h 244"/>
                <a:gd name="T4" fmla="*/ 66 w 156"/>
                <a:gd name="T5" fmla="*/ 223 h 244"/>
                <a:gd name="T6" fmla="*/ 65 w 156"/>
                <a:gd name="T7" fmla="*/ 220 h 244"/>
                <a:gd name="T8" fmla="*/ 61 w 156"/>
                <a:gd name="T9" fmla="*/ 217 h 244"/>
                <a:gd name="T10" fmla="*/ 56 w 156"/>
                <a:gd name="T11" fmla="*/ 217 h 244"/>
                <a:gd name="T12" fmla="*/ 50 w 156"/>
                <a:gd name="T13" fmla="*/ 220 h 244"/>
                <a:gd name="T14" fmla="*/ 44 w 156"/>
                <a:gd name="T15" fmla="*/ 223 h 244"/>
                <a:gd name="T16" fmla="*/ 35 w 156"/>
                <a:gd name="T17" fmla="*/ 231 h 244"/>
                <a:gd name="T18" fmla="*/ 32 w 156"/>
                <a:gd name="T19" fmla="*/ 234 h 244"/>
                <a:gd name="T20" fmla="*/ 22 w 156"/>
                <a:gd name="T21" fmla="*/ 235 h 244"/>
                <a:gd name="T22" fmla="*/ 20 w 156"/>
                <a:gd name="T23" fmla="*/ 234 h 244"/>
                <a:gd name="T24" fmla="*/ 19 w 156"/>
                <a:gd name="T25" fmla="*/ 230 h 244"/>
                <a:gd name="T26" fmla="*/ 20 w 156"/>
                <a:gd name="T27" fmla="*/ 222 h 244"/>
                <a:gd name="T28" fmla="*/ 19 w 156"/>
                <a:gd name="T29" fmla="*/ 221 h 244"/>
                <a:gd name="T30" fmla="*/ 13 w 156"/>
                <a:gd name="T31" fmla="*/ 222 h 244"/>
                <a:gd name="T32" fmla="*/ 9 w 156"/>
                <a:gd name="T33" fmla="*/ 222 h 244"/>
                <a:gd name="T34" fmla="*/ 5 w 156"/>
                <a:gd name="T35" fmla="*/ 217 h 244"/>
                <a:gd name="T36" fmla="*/ 0 w 156"/>
                <a:gd name="T37" fmla="*/ 211 h 244"/>
                <a:gd name="T38" fmla="*/ 0 w 156"/>
                <a:gd name="T39" fmla="*/ 208 h 244"/>
                <a:gd name="T40" fmla="*/ 2 w 156"/>
                <a:gd name="T41" fmla="*/ 201 h 244"/>
                <a:gd name="T42" fmla="*/ 4 w 156"/>
                <a:gd name="T43" fmla="*/ 195 h 244"/>
                <a:gd name="T44" fmla="*/ 4 w 156"/>
                <a:gd name="T45" fmla="*/ 190 h 244"/>
                <a:gd name="T46" fmla="*/ 10 w 156"/>
                <a:gd name="T47" fmla="*/ 182 h 244"/>
                <a:gd name="T48" fmla="*/ 12 w 156"/>
                <a:gd name="T49" fmla="*/ 177 h 244"/>
                <a:gd name="T50" fmla="*/ 11 w 156"/>
                <a:gd name="T51" fmla="*/ 174 h 244"/>
                <a:gd name="T52" fmla="*/ 9 w 156"/>
                <a:gd name="T53" fmla="*/ 170 h 244"/>
                <a:gd name="T54" fmla="*/ 3 w 156"/>
                <a:gd name="T55" fmla="*/ 162 h 244"/>
                <a:gd name="T56" fmla="*/ 2 w 156"/>
                <a:gd name="T57" fmla="*/ 160 h 244"/>
                <a:gd name="T58" fmla="*/ 4 w 156"/>
                <a:gd name="T59" fmla="*/ 149 h 244"/>
                <a:gd name="T60" fmla="*/ 8 w 156"/>
                <a:gd name="T61" fmla="*/ 142 h 244"/>
                <a:gd name="T62" fmla="*/ 17 w 156"/>
                <a:gd name="T63" fmla="*/ 130 h 244"/>
                <a:gd name="T64" fmla="*/ 19 w 156"/>
                <a:gd name="T65" fmla="*/ 124 h 244"/>
                <a:gd name="T66" fmla="*/ 20 w 156"/>
                <a:gd name="T67" fmla="*/ 114 h 244"/>
                <a:gd name="T68" fmla="*/ 20 w 156"/>
                <a:gd name="T69" fmla="*/ 104 h 244"/>
                <a:gd name="T70" fmla="*/ 23 w 156"/>
                <a:gd name="T71" fmla="*/ 96 h 244"/>
                <a:gd name="T72" fmla="*/ 24 w 156"/>
                <a:gd name="T73" fmla="*/ 88 h 244"/>
                <a:gd name="T74" fmla="*/ 34 w 156"/>
                <a:gd name="T75" fmla="*/ 76 h 244"/>
                <a:gd name="T76" fmla="*/ 40 w 156"/>
                <a:gd name="T77" fmla="*/ 71 h 244"/>
                <a:gd name="T78" fmla="*/ 46 w 156"/>
                <a:gd name="T79" fmla="*/ 66 h 244"/>
                <a:gd name="T80" fmla="*/ 52 w 156"/>
                <a:gd name="T81" fmla="*/ 63 h 244"/>
                <a:gd name="T82" fmla="*/ 60 w 156"/>
                <a:gd name="T83" fmla="*/ 54 h 244"/>
                <a:gd name="T84" fmla="*/ 64 w 156"/>
                <a:gd name="T85" fmla="*/ 52 h 244"/>
                <a:gd name="T86" fmla="*/ 70 w 156"/>
                <a:gd name="T87" fmla="*/ 53 h 244"/>
                <a:gd name="T88" fmla="*/ 74 w 156"/>
                <a:gd name="T89" fmla="*/ 52 h 244"/>
                <a:gd name="T90" fmla="*/ 76 w 156"/>
                <a:gd name="T91" fmla="*/ 48 h 244"/>
                <a:gd name="T92" fmla="*/ 77 w 156"/>
                <a:gd name="T93" fmla="*/ 34 h 244"/>
                <a:gd name="T94" fmla="*/ 79 w 156"/>
                <a:gd name="T95" fmla="*/ 33 h 244"/>
                <a:gd name="T96" fmla="*/ 86 w 156"/>
                <a:gd name="T97" fmla="*/ 28 h 244"/>
                <a:gd name="T98" fmla="*/ 96 w 156"/>
                <a:gd name="T99" fmla="*/ 24 h 244"/>
                <a:gd name="T100" fmla="*/ 104 w 156"/>
                <a:gd name="T101" fmla="*/ 24 h 244"/>
                <a:gd name="T102" fmla="*/ 116 w 156"/>
                <a:gd name="T103" fmla="*/ 24 h 244"/>
                <a:gd name="T104" fmla="*/ 124 w 156"/>
                <a:gd name="T105" fmla="*/ 22 h 244"/>
                <a:gd name="T106" fmla="*/ 129 w 156"/>
                <a:gd name="T107" fmla="*/ 24 h 244"/>
                <a:gd name="T108" fmla="*/ 136 w 156"/>
                <a:gd name="T109" fmla="*/ 23 h 244"/>
                <a:gd name="T110" fmla="*/ 144 w 156"/>
                <a:gd name="T111" fmla="*/ 18 h 244"/>
                <a:gd name="T112" fmla="*/ 150 w 156"/>
                <a:gd name="T113" fmla="*/ 11 h 244"/>
                <a:gd name="T114" fmla="*/ 153 w 156"/>
                <a:gd name="T115" fmla="*/ 2 h 244"/>
                <a:gd name="T116" fmla="*/ 155 w 156"/>
                <a:gd name="T117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6" h="244">
                  <a:moveTo>
                    <a:pt x="68" y="244"/>
                  </a:moveTo>
                  <a:lnTo>
                    <a:pt x="67" y="243"/>
                  </a:lnTo>
                  <a:lnTo>
                    <a:pt x="66" y="242"/>
                  </a:lnTo>
                  <a:lnTo>
                    <a:pt x="65" y="241"/>
                  </a:lnTo>
                  <a:lnTo>
                    <a:pt x="65" y="239"/>
                  </a:lnTo>
                  <a:lnTo>
                    <a:pt x="64" y="238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2"/>
                  </a:lnTo>
                  <a:lnTo>
                    <a:pt x="65" y="228"/>
                  </a:lnTo>
                  <a:lnTo>
                    <a:pt x="66" y="226"/>
                  </a:lnTo>
                  <a:lnTo>
                    <a:pt x="66" y="224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2"/>
                  </a:lnTo>
                  <a:lnTo>
                    <a:pt x="66" y="221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8" y="217"/>
                  </a:lnTo>
                  <a:lnTo>
                    <a:pt x="56" y="217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3" y="218"/>
                  </a:lnTo>
                  <a:lnTo>
                    <a:pt x="51" y="219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8" y="220"/>
                  </a:lnTo>
                  <a:lnTo>
                    <a:pt x="47" y="221"/>
                  </a:lnTo>
                  <a:lnTo>
                    <a:pt x="45" y="222"/>
                  </a:lnTo>
                  <a:lnTo>
                    <a:pt x="44" y="223"/>
                  </a:lnTo>
                  <a:lnTo>
                    <a:pt x="41" y="226"/>
                  </a:lnTo>
                  <a:lnTo>
                    <a:pt x="38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5" y="231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3" y="234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1" y="235"/>
                  </a:lnTo>
                  <a:lnTo>
                    <a:pt x="30" y="235"/>
                  </a:lnTo>
                  <a:lnTo>
                    <a:pt x="27" y="235"/>
                  </a:lnTo>
                  <a:lnTo>
                    <a:pt x="23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1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19" y="232"/>
                  </a:lnTo>
                  <a:lnTo>
                    <a:pt x="19" y="231"/>
                  </a:lnTo>
                  <a:lnTo>
                    <a:pt x="19" y="230"/>
                  </a:lnTo>
                  <a:lnTo>
                    <a:pt x="19" y="229"/>
                  </a:lnTo>
                  <a:lnTo>
                    <a:pt x="20" y="226"/>
                  </a:lnTo>
                  <a:lnTo>
                    <a:pt x="20" y="224"/>
                  </a:lnTo>
                  <a:lnTo>
                    <a:pt x="20" y="223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0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6" y="222"/>
                  </a:lnTo>
                  <a:lnTo>
                    <a:pt x="15" y="222"/>
                  </a:lnTo>
                  <a:lnTo>
                    <a:pt x="13" y="222"/>
                  </a:lnTo>
                  <a:lnTo>
                    <a:pt x="12" y="223"/>
                  </a:lnTo>
                  <a:lnTo>
                    <a:pt x="11" y="223"/>
                  </a:lnTo>
                  <a:lnTo>
                    <a:pt x="10" y="223"/>
                  </a:lnTo>
                  <a:lnTo>
                    <a:pt x="10" y="222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8" y="221"/>
                  </a:lnTo>
                  <a:lnTo>
                    <a:pt x="7" y="220"/>
                  </a:lnTo>
                  <a:lnTo>
                    <a:pt x="6" y="220"/>
                  </a:lnTo>
                  <a:lnTo>
                    <a:pt x="5" y="217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0" y="206"/>
                  </a:lnTo>
                  <a:lnTo>
                    <a:pt x="0" y="205"/>
                  </a:lnTo>
                  <a:lnTo>
                    <a:pt x="1" y="204"/>
                  </a:lnTo>
                  <a:lnTo>
                    <a:pt x="2" y="201"/>
                  </a:lnTo>
                  <a:lnTo>
                    <a:pt x="3" y="199"/>
                  </a:lnTo>
                  <a:lnTo>
                    <a:pt x="3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4" y="193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6" y="188"/>
                  </a:lnTo>
                  <a:lnTo>
                    <a:pt x="7" y="186"/>
                  </a:lnTo>
                  <a:lnTo>
                    <a:pt x="9" y="183"/>
                  </a:lnTo>
                  <a:lnTo>
                    <a:pt x="10" y="182"/>
                  </a:lnTo>
                  <a:lnTo>
                    <a:pt x="10" y="181"/>
                  </a:lnTo>
                  <a:lnTo>
                    <a:pt x="11" y="180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7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5"/>
                  </a:lnTo>
                  <a:lnTo>
                    <a:pt x="12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0" y="172"/>
                  </a:lnTo>
                  <a:lnTo>
                    <a:pt x="10" y="171"/>
                  </a:lnTo>
                  <a:lnTo>
                    <a:pt x="9" y="170"/>
                  </a:lnTo>
                  <a:lnTo>
                    <a:pt x="5" y="166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3" y="156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7"/>
                  </a:lnTo>
                  <a:lnTo>
                    <a:pt x="6" y="145"/>
                  </a:lnTo>
                  <a:lnTo>
                    <a:pt x="7" y="143"/>
                  </a:lnTo>
                  <a:lnTo>
                    <a:pt x="8" y="142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18" y="129"/>
                  </a:lnTo>
                  <a:lnTo>
                    <a:pt x="18" y="128"/>
                  </a:lnTo>
                  <a:lnTo>
                    <a:pt x="19" y="127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20" y="123"/>
                  </a:lnTo>
                  <a:lnTo>
                    <a:pt x="20" y="122"/>
                  </a:lnTo>
                  <a:lnTo>
                    <a:pt x="20" y="120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9" y="106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3"/>
                  </a:lnTo>
                  <a:lnTo>
                    <a:pt x="22" y="99"/>
                  </a:lnTo>
                  <a:lnTo>
                    <a:pt x="23" y="98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7" y="84"/>
                  </a:lnTo>
                  <a:lnTo>
                    <a:pt x="32" y="78"/>
                  </a:lnTo>
                  <a:lnTo>
                    <a:pt x="34" y="76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8" y="72"/>
                  </a:lnTo>
                  <a:lnTo>
                    <a:pt x="39" y="71"/>
                  </a:lnTo>
                  <a:lnTo>
                    <a:pt x="40" y="71"/>
                  </a:lnTo>
                  <a:lnTo>
                    <a:pt x="42" y="68"/>
                  </a:lnTo>
                  <a:lnTo>
                    <a:pt x="43" y="68"/>
                  </a:lnTo>
                  <a:lnTo>
                    <a:pt x="44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8" y="57"/>
                  </a:lnTo>
                  <a:lnTo>
                    <a:pt x="59" y="55"/>
                  </a:lnTo>
                  <a:lnTo>
                    <a:pt x="60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49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5"/>
                  </a:lnTo>
                  <a:lnTo>
                    <a:pt x="77" y="42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8" y="27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7" y="23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8" y="24"/>
                  </a:lnTo>
                  <a:lnTo>
                    <a:pt x="129" y="24"/>
                  </a:lnTo>
                  <a:lnTo>
                    <a:pt x="131" y="24"/>
                  </a:lnTo>
                  <a:lnTo>
                    <a:pt x="132" y="24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6" y="23"/>
                  </a:lnTo>
                  <a:lnTo>
                    <a:pt x="137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2" y="19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9" y="12"/>
                  </a:lnTo>
                  <a:lnTo>
                    <a:pt x="150" y="11"/>
                  </a:lnTo>
                  <a:lnTo>
                    <a:pt x="151" y="10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7"/>
                  </a:lnTo>
                  <a:lnTo>
                    <a:pt x="153" y="2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6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2" name="Freeform 42">
              <a:extLst>
                <a:ext uri="{FF2B5EF4-FFF2-40B4-BE49-F238E27FC236}">
                  <a16:creationId xmlns:a16="http://schemas.microsoft.com/office/drawing/2014/main" id="{5C6B5FE2-9D66-62CC-564F-6A138C6CBE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6" y="3069"/>
              <a:ext cx="633" cy="513"/>
            </a:xfrm>
            <a:custGeom>
              <a:avLst/>
              <a:gdLst>
                <a:gd name="T0" fmla="*/ 487 w 633"/>
                <a:gd name="T1" fmla="*/ 20 h 513"/>
                <a:gd name="T2" fmla="*/ 512 w 633"/>
                <a:gd name="T3" fmla="*/ 53 h 513"/>
                <a:gd name="T4" fmla="*/ 516 w 633"/>
                <a:gd name="T5" fmla="*/ 105 h 513"/>
                <a:gd name="T6" fmla="*/ 525 w 633"/>
                <a:gd name="T7" fmla="*/ 128 h 513"/>
                <a:gd name="T8" fmla="*/ 553 w 633"/>
                <a:gd name="T9" fmla="*/ 151 h 513"/>
                <a:gd name="T10" fmla="*/ 587 w 633"/>
                <a:gd name="T11" fmla="*/ 174 h 513"/>
                <a:gd name="T12" fmla="*/ 583 w 633"/>
                <a:gd name="T13" fmla="*/ 217 h 513"/>
                <a:gd name="T14" fmla="*/ 599 w 633"/>
                <a:gd name="T15" fmla="*/ 238 h 513"/>
                <a:gd name="T16" fmla="*/ 591 w 633"/>
                <a:gd name="T17" fmla="*/ 260 h 513"/>
                <a:gd name="T18" fmla="*/ 603 w 633"/>
                <a:gd name="T19" fmla="*/ 280 h 513"/>
                <a:gd name="T20" fmla="*/ 632 w 633"/>
                <a:gd name="T21" fmla="*/ 303 h 513"/>
                <a:gd name="T22" fmla="*/ 624 w 633"/>
                <a:gd name="T23" fmla="*/ 350 h 513"/>
                <a:gd name="T24" fmla="*/ 604 w 633"/>
                <a:gd name="T25" fmla="*/ 375 h 513"/>
                <a:gd name="T26" fmla="*/ 566 w 633"/>
                <a:gd name="T27" fmla="*/ 394 h 513"/>
                <a:gd name="T28" fmla="*/ 532 w 633"/>
                <a:gd name="T29" fmla="*/ 420 h 513"/>
                <a:gd name="T30" fmla="*/ 549 w 633"/>
                <a:gd name="T31" fmla="*/ 455 h 513"/>
                <a:gd name="T32" fmla="*/ 524 w 633"/>
                <a:gd name="T33" fmla="*/ 473 h 513"/>
                <a:gd name="T34" fmla="*/ 473 w 633"/>
                <a:gd name="T35" fmla="*/ 469 h 513"/>
                <a:gd name="T36" fmla="*/ 455 w 633"/>
                <a:gd name="T37" fmla="*/ 494 h 513"/>
                <a:gd name="T38" fmla="*/ 430 w 633"/>
                <a:gd name="T39" fmla="*/ 479 h 513"/>
                <a:gd name="T40" fmla="*/ 394 w 633"/>
                <a:gd name="T41" fmla="*/ 475 h 513"/>
                <a:gd name="T42" fmla="*/ 369 w 633"/>
                <a:gd name="T43" fmla="*/ 512 h 513"/>
                <a:gd name="T44" fmla="*/ 342 w 633"/>
                <a:gd name="T45" fmla="*/ 501 h 513"/>
                <a:gd name="T46" fmla="*/ 298 w 633"/>
                <a:gd name="T47" fmla="*/ 492 h 513"/>
                <a:gd name="T48" fmla="*/ 273 w 633"/>
                <a:gd name="T49" fmla="*/ 499 h 513"/>
                <a:gd name="T50" fmla="*/ 239 w 633"/>
                <a:gd name="T51" fmla="*/ 498 h 513"/>
                <a:gd name="T52" fmla="*/ 195 w 633"/>
                <a:gd name="T53" fmla="*/ 493 h 513"/>
                <a:gd name="T54" fmla="*/ 164 w 633"/>
                <a:gd name="T55" fmla="*/ 508 h 513"/>
                <a:gd name="T56" fmla="*/ 127 w 633"/>
                <a:gd name="T57" fmla="*/ 508 h 513"/>
                <a:gd name="T58" fmla="*/ 101 w 633"/>
                <a:gd name="T59" fmla="*/ 493 h 513"/>
                <a:gd name="T60" fmla="*/ 87 w 633"/>
                <a:gd name="T61" fmla="*/ 456 h 513"/>
                <a:gd name="T62" fmla="*/ 84 w 633"/>
                <a:gd name="T63" fmla="*/ 439 h 513"/>
                <a:gd name="T64" fmla="*/ 78 w 633"/>
                <a:gd name="T65" fmla="*/ 424 h 513"/>
                <a:gd name="T66" fmla="*/ 111 w 633"/>
                <a:gd name="T67" fmla="*/ 404 h 513"/>
                <a:gd name="T68" fmla="*/ 117 w 633"/>
                <a:gd name="T69" fmla="*/ 367 h 513"/>
                <a:gd name="T70" fmla="*/ 110 w 633"/>
                <a:gd name="T71" fmla="*/ 311 h 513"/>
                <a:gd name="T72" fmla="*/ 74 w 633"/>
                <a:gd name="T73" fmla="*/ 283 h 513"/>
                <a:gd name="T74" fmla="*/ 33 w 633"/>
                <a:gd name="T75" fmla="*/ 269 h 513"/>
                <a:gd name="T76" fmla="*/ 2 w 633"/>
                <a:gd name="T77" fmla="*/ 265 h 513"/>
                <a:gd name="T78" fmla="*/ 5 w 633"/>
                <a:gd name="T79" fmla="*/ 235 h 513"/>
                <a:gd name="T80" fmla="*/ 27 w 633"/>
                <a:gd name="T81" fmla="*/ 212 h 513"/>
                <a:gd name="T82" fmla="*/ 69 w 633"/>
                <a:gd name="T83" fmla="*/ 184 h 513"/>
                <a:gd name="T84" fmla="*/ 113 w 633"/>
                <a:gd name="T85" fmla="*/ 171 h 513"/>
                <a:gd name="T86" fmla="*/ 149 w 633"/>
                <a:gd name="T87" fmla="*/ 158 h 513"/>
                <a:gd name="T88" fmla="*/ 176 w 633"/>
                <a:gd name="T89" fmla="*/ 133 h 513"/>
                <a:gd name="T90" fmla="*/ 236 w 633"/>
                <a:gd name="T91" fmla="*/ 127 h 513"/>
                <a:gd name="T92" fmla="*/ 287 w 633"/>
                <a:gd name="T93" fmla="*/ 120 h 513"/>
                <a:gd name="T94" fmla="*/ 299 w 633"/>
                <a:gd name="T95" fmla="*/ 88 h 513"/>
                <a:gd name="T96" fmla="*/ 318 w 633"/>
                <a:gd name="T97" fmla="*/ 59 h 513"/>
                <a:gd name="T98" fmla="*/ 340 w 633"/>
                <a:gd name="T99" fmla="*/ 53 h 513"/>
                <a:gd name="T100" fmla="*/ 361 w 633"/>
                <a:gd name="T101" fmla="*/ 65 h 513"/>
                <a:gd name="T102" fmla="*/ 404 w 633"/>
                <a:gd name="T103" fmla="*/ 32 h 513"/>
                <a:gd name="T104" fmla="*/ 435 w 633"/>
                <a:gd name="T105" fmla="*/ 21 h 513"/>
                <a:gd name="T106" fmla="*/ 306 w 633"/>
                <a:gd name="T107" fmla="*/ 213 h 513"/>
                <a:gd name="T108" fmla="*/ 269 w 633"/>
                <a:gd name="T109" fmla="*/ 227 h 513"/>
                <a:gd name="T110" fmla="*/ 258 w 633"/>
                <a:gd name="T111" fmla="*/ 252 h 513"/>
                <a:gd name="T112" fmla="*/ 269 w 633"/>
                <a:gd name="T113" fmla="*/ 285 h 513"/>
                <a:gd name="T114" fmla="*/ 280 w 633"/>
                <a:gd name="T115" fmla="*/ 308 h 513"/>
                <a:gd name="T116" fmla="*/ 326 w 633"/>
                <a:gd name="T117" fmla="*/ 289 h 513"/>
                <a:gd name="T118" fmla="*/ 368 w 633"/>
                <a:gd name="T119" fmla="*/ 286 h 513"/>
                <a:gd name="T120" fmla="*/ 383 w 633"/>
                <a:gd name="T121" fmla="*/ 252 h 513"/>
                <a:gd name="T122" fmla="*/ 356 w 633"/>
                <a:gd name="T123" fmla="*/ 222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3" h="513">
                  <a:moveTo>
                    <a:pt x="451" y="0"/>
                  </a:moveTo>
                  <a:lnTo>
                    <a:pt x="451" y="0"/>
                  </a:lnTo>
                  <a:lnTo>
                    <a:pt x="452" y="0"/>
                  </a:lnTo>
                  <a:lnTo>
                    <a:pt x="452" y="1"/>
                  </a:lnTo>
                  <a:lnTo>
                    <a:pt x="453" y="1"/>
                  </a:lnTo>
                  <a:lnTo>
                    <a:pt x="455" y="3"/>
                  </a:lnTo>
                  <a:lnTo>
                    <a:pt x="456" y="4"/>
                  </a:lnTo>
                  <a:lnTo>
                    <a:pt x="457" y="5"/>
                  </a:lnTo>
                  <a:lnTo>
                    <a:pt x="459" y="6"/>
                  </a:lnTo>
                  <a:lnTo>
                    <a:pt x="460" y="7"/>
                  </a:lnTo>
                  <a:lnTo>
                    <a:pt x="460" y="7"/>
                  </a:lnTo>
                  <a:lnTo>
                    <a:pt x="461" y="8"/>
                  </a:lnTo>
                  <a:lnTo>
                    <a:pt x="461" y="9"/>
                  </a:lnTo>
                  <a:lnTo>
                    <a:pt x="462" y="9"/>
                  </a:lnTo>
                  <a:lnTo>
                    <a:pt x="463" y="9"/>
                  </a:lnTo>
                  <a:lnTo>
                    <a:pt x="463" y="10"/>
                  </a:lnTo>
                  <a:lnTo>
                    <a:pt x="464" y="10"/>
                  </a:lnTo>
                  <a:lnTo>
                    <a:pt x="465" y="10"/>
                  </a:lnTo>
                  <a:lnTo>
                    <a:pt x="465" y="10"/>
                  </a:lnTo>
                  <a:lnTo>
                    <a:pt x="465" y="9"/>
                  </a:lnTo>
                  <a:lnTo>
                    <a:pt x="466" y="9"/>
                  </a:lnTo>
                  <a:lnTo>
                    <a:pt x="467" y="8"/>
                  </a:lnTo>
                  <a:lnTo>
                    <a:pt x="468" y="8"/>
                  </a:lnTo>
                  <a:lnTo>
                    <a:pt x="468" y="8"/>
                  </a:lnTo>
                  <a:lnTo>
                    <a:pt x="469" y="7"/>
                  </a:lnTo>
                  <a:lnTo>
                    <a:pt x="470" y="7"/>
                  </a:lnTo>
                  <a:lnTo>
                    <a:pt x="471" y="7"/>
                  </a:lnTo>
                  <a:lnTo>
                    <a:pt x="471" y="7"/>
                  </a:lnTo>
                  <a:lnTo>
                    <a:pt x="474" y="8"/>
                  </a:lnTo>
                  <a:lnTo>
                    <a:pt x="475" y="8"/>
                  </a:lnTo>
                  <a:lnTo>
                    <a:pt x="476" y="8"/>
                  </a:lnTo>
                  <a:lnTo>
                    <a:pt x="476" y="8"/>
                  </a:lnTo>
                  <a:lnTo>
                    <a:pt x="476" y="9"/>
                  </a:lnTo>
                  <a:lnTo>
                    <a:pt x="477" y="9"/>
                  </a:lnTo>
                  <a:lnTo>
                    <a:pt x="479" y="10"/>
                  </a:lnTo>
                  <a:lnTo>
                    <a:pt x="481" y="14"/>
                  </a:lnTo>
                  <a:lnTo>
                    <a:pt x="485" y="18"/>
                  </a:lnTo>
                  <a:lnTo>
                    <a:pt x="487" y="20"/>
                  </a:lnTo>
                  <a:lnTo>
                    <a:pt x="488" y="21"/>
                  </a:lnTo>
                  <a:lnTo>
                    <a:pt x="488" y="21"/>
                  </a:lnTo>
                  <a:lnTo>
                    <a:pt x="489" y="22"/>
                  </a:lnTo>
                  <a:lnTo>
                    <a:pt x="490" y="22"/>
                  </a:lnTo>
                  <a:lnTo>
                    <a:pt x="491" y="22"/>
                  </a:lnTo>
                  <a:lnTo>
                    <a:pt x="493" y="23"/>
                  </a:lnTo>
                  <a:lnTo>
                    <a:pt x="494" y="24"/>
                  </a:lnTo>
                  <a:lnTo>
                    <a:pt x="495" y="24"/>
                  </a:lnTo>
                  <a:lnTo>
                    <a:pt x="496" y="25"/>
                  </a:lnTo>
                  <a:lnTo>
                    <a:pt x="497" y="26"/>
                  </a:lnTo>
                  <a:lnTo>
                    <a:pt x="499" y="27"/>
                  </a:lnTo>
                  <a:lnTo>
                    <a:pt x="500" y="28"/>
                  </a:lnTo>
                  <a:lnTo>
                    <a:pt x="501" y="29"/>
                  </a:lnTo>
                  <a:lnTo>
                    <a:pt x="501" y="30"/>
                  </a:lnTo>
                  <a:lnTo>
                    <a:pt x="502" y="31"/>
                  </a:lnTo>
                  <a:lnTo>
                    <a:pt x="503" y="32"/>
                  </a:lnTo>
                  <a:lnTo>
                    <a:pt x="505" y="35"/>
                  </a:lnTo>
                  <a:lnTo>
                    <a:pt x="505" y="36"/>
                  </a:lnTo>
                  <a:lnTo>
                    <a:pt x="505" y="37"/>
                  </a:lnTo>
                  <a:lnTo>
                    <a:pt x="506" y="37"/>
                  </a:lnTo>
                  <a:lnTo>
                    <a:pt x="507" y="38"/>
                  </a:lnTo>
                  <a:lnTo>
                    <a:pt x="508" y="38"/>
                  </a:lnTo>
                  <a:lnTo>
                    <a:pt x="508" y="39"/>
                  </a:lnTo>
                  <a:lnTo>
                    <a:pt x="509" y="39"/>
                  </a:lnTo>
                  <a:lnTo>
                    <a:pt x="511" y="40"/>
                  </a:lnTo>
                  <a:lnTo>
                    <a:pt x="512" y="41"/>
                  </a:lnTo>
                  <a:lnTo>
                    <a:pt x="517" y="43"/>
                  </a:lnTo>
                  <a:lnTo>
                    <a:pt x="518" y="43"/>
                  </a:lnTo>
                  <a:lnTo>
                    <a:pt x="519" y="44"/>
                  </a:lnTo>
                  <a:lnTo>
                    <a:pt x="518" y="45"/>
                  </a:lnTo>
                  <a:lnTo>
                    <a:pt x="517" y="46"/>
                  </a:lnTo>
                  <a:lnTo>
                    <a:pt x="515" y="48"/>
                  </a:lnTo>
                  <a:lnTo>
                    <a:pt x="514" y="49"/>
                  </a:lnTo>
                  <a:lnTo>
                    <a:pt x="513" y="50"/>
                  </a:lnTo>
                  <a:lnTo>
                    <a:pt x="512" y="51"/>
                  </a:lnTo>
                  <a:lnTo>
                    <a:pt x="512" y="52"/>
                  </a:lnTo>
                  <a:lnTo>
                    <a:pt x="512" y="52"/>
                  </a:lnTo>
                  <a:lnTo>
                    <a:pt x="512" y="53"/>
                  </a:lnTo>
                  <a:lnTo>
                    <a:pt x="512" y="54"/>
                  </a:lnTo>
                  <a:lnTo>
                    <a:pt x="512" y="54"/>
                  </a:lnTo>
                  <a:lnTo>
                    <a:pt x="512" y="55"/>
                  </a:lnTo>
                  <a:lnTo>
                    <a:pt x="512" y="56"/>
                  </a:lnTo>
                  <a:lnTo>
                    <a:pt x="513" y="58"/>
                  </a:lnTo>
                  <a:lnTo>
                    <a:pt x="514" y="60"/>
                  </a:lnTo>
                  <a:lnTo>
                    <a:pt x="514" y="61"/>
                  </a:lnTo>
                  <a:lnTo>
                    <a:pt x="515" y="63"/>
                  </a:lnTo>
                  <a:lnTo>
                    <a:pt x="516" y="65"/>
                  </a:lnTo>
                  <a:lnTo>
                    <a:pt x="516" y="66"/>
                  </a:lnTo>
                  <a:lnTo>
                    <a:pt x="516" y="66"/>
                  </a:lnTo>
                  <a:lnTo>
                    <a:pt x="516" y="67"/>
                  </a:lnTo>
                  <a:lnTo>
                    <a:pt x="516" y="69"/>
                  </a:lnTo>
                  <a:lnTo>
                    <a:pt x="516" y="74"/>
                  </a:lnTo>
                  <a:lnTo>
                    <a:pt x="516" y="75"/>
                  </a:lnTo>
                  <a:lnTo>
                    <a:pt x="516" y="76"/>
                  </a:lnTo>
                  <a:lnTo>
                    <a:pt x="517" y="77"/>
                  </a:lnTo>
                  <a:lnTo>
                    <a:pt x="517" y="78"/>
                  </a:lnTo>
                  <a:lnTo>
                    <a:pt x="517" y="78"/>
                  </a:lnTo>
                  <a:lnTo>
                    <a:pt x="518" y="80"/>
                  </a:lnTo>
                  <a:lnTo>
                    <a:pt x="519" y="81"/>
                  </a:lnTo>
                  <a:lnTo>
                    <a:pt x="519" y="82"/>
                  </a:lnTo>
                  <a:lnTo>
                    <a:pt x="520" y="83"/>
                  </a:lnTo>
                  <a:lnTo>
                    <a:pt x="520" y="84"/>
                  </a:lnTo>
                  <a:lnTo>
                    <a:pt x="521" y="87"/>
                  </a:lnTo>
                  <a:lnTo>
                    <a:pt x="522" y="89"/>
                  </a:lnTo>
                  <a:lnTo>
                    <a:pt x="522" y="90"/>
                  </a:lnTo>
                  <a:lnTo>
                    <a:pt x="522" y="91"/>
                  </a:lnTo>
                  <a:lnTo>
                    <a:pt x="522" y="93"/>
                  </a:lnTo>
                  <a:lnTo>
                    <a:pt x="521" y="94"/>
                  </a:lnTo>
                  <a:lnTo>
                    <a:pt x="521" y="95"/>
                  </a:lnTo>
                  <a:lnTo>
                    <a:pt x="520" y="96"/>
                  </a:lnTo>
                  <a:lnTo>
                    <a:pt x="520" y="97"/>
                  </a:lnTo>
                  <a:lnTo>
                    <a:pt x="518" y="99"/>
                  </a:lnTo>
                  <a:lnTo>
                    <a:pt x="518" y="100"/>
                  </a:lnTo>
                  <a:lnTo>
                    <a:pt x="517" y="101"/>
                  </a:lnTo>
                  <a:lnTo>
                    <a:pt x="516" y="104"/>
                  </a:lnTo>
                  <a:lnTo>
                    <a:pt x="516" y="105"/>
                  </a:lnTo>
                  <a:lnTo>
                    <a:pt x="516" y="105"/>
                  </a:lnTo>
                  <a:lnTo>
                    <a:pt x="515" y="105"/>
                  </a:lnTo>
                  <a:lnTo>
                    <a:pt x="515" y="106"/>
                  </a:lnTo>
                  <a:lnTo>
                    <a:pt x="514" y="106"/>
                  </a:lnTo>
                  <a:lnTo>
                    <a:pt x="512" y="108"/>
                  </a:lnTo>
                  <a:lnTo>
                    <a:pt x="511" y="108"/>
                  </a:lnTo>
                  <a:lnTo>
                    <a:pt x="511" y="108"/>
                  </a:lnTo>
                  <a:lnTo>
                    <a:pt x="510" y="109"/>
                  </a:lnTo>
                  <a:lnTo>
                    <a:pt x="510" y="110"/>
                  </a:lnTo>
                  <a:lnTo>
                    <a:pt x="510" y="110"/>
                  </a:lnTo>
                  <a:lnTo>
                    <a:pt x="509" y="111"/>
                  </a:lnTo>
                  <a:lnTo>
                    <a:pt x="509" y="111"/>
                  </a:lnTo>
                  <a:lnTo>
                    <a:pt x="509" y="112"/>
                  </a:lnTo>
                  <a:lnTo>
                    <a:pt x="509" y="113"/>
                  </a:lnTo>
                  <a:lnTo>
                    <a:pt x="510" y="114"/>
                  </a:lnTo>
                  <a:lnTo>
                    <a:pt x="510" y="114"/>
                  </a:lnTo>
                  <a:lnTo>
                    <a:pt x="510" y="115"/>
                  </a:lnTo>
                  <a:lnTo>
                    <a:pt x="511" y="117"/>
                  </a:lnTo>
                  <a:lnTo>
                    <a:pt x="512" y="118"/>
                  </a:lnTo>
                  <a:lnTo>
                    <a:pt x="512" y="119"/>
                  </a:lnTo>
                  <a:lnTo>
                    <a:pt x="513" y="120"/>
                  </a:lnTo>
                  <a:lnTo>
                    <a:pt x="513" y="121"/>
                  </a:lnTo>
                  <a:lnTo>
                    <a:pt x="513" y="122"/>
                  </a:lnTo>
                  <a:lnTo>
                    <a:pt x="514" y="123"/>
                  </a:lnTo>
                  <a:lnTo>
                    <a:pt x="514" y="124"/>
                  </a:lnTo>
                  <a:lnTo>
                    <a:pt x="515" y="124"/>
                  </a:lnTo>
                  <a:lnTo>
                    <a:pt x="515" y="125"/>
                  </a:lnTo>
                  <a:lnTo>
                    <a:pt x="516" y="125"/>
                  </a:lnTo>
                  <a:lnTo>
                    <a:pt x="517" y="126"/>
                  </a:lnTo>
                  <a:lnTo>
                    <a:pt x="518" y="126"/>
                  </a:lnTo>
                  <a:lnTo>
                    <a:pt x="518" y="126"/>
                  </a:lnTo>
                  <a:lnTo>
                    <a:pt x="519" y="127"/>
                  </a:lnTo>
                  <a:lnTo>
                    <a:pt x="519" y="127"/>
                  </a:lnTo>
                  <a:lnTo>
                    <a:pt x="520" y="127"/>
                  </a:lnTo>
                  <a:lnTo>
                    <a:pt x="521" y="127"/>
                  </a:lnTo>
                  <a:lnTo>
                    <a:pt x="524" y="127"/>
                  </a:lnTo>
                  <a:lnTo>
                    <a:pt x="525" y="128"/>
                  </a:lnTo>
                  <a:lnTo>
                    <a:pt x="525" y="128"/>
                  </a:lnTo>
                  <a:lnTo>
                    <a:pt x="527" y="128"/>
                  </a:lnTo>
                  <a:lnTo>
                    <a:pt x="528" y="129"/>
                  </a:lnTo>
                  <a:lnTo>
                    <a:pt x="529" y="129"/>
                  </a:lnTo>
                  <a:lnTo>
                    <a:pt x="529" y="130"/>
                  </a:lnTo>
                  <a:lnTo>
                    <a:pt x="530" y="130"/>
                  </a:lnTo>
                  <a:lnTo>
                    <a:pt x="531" y="132"/>
                  </a:lnTo>
                  <a:lnTo>
                    <a:pt x="531" y="132"/>
                  </a:lnTo>
                  <a:lnTo>
                    <a:pt x="532" y="133"/>
                  </a:lnTo>
                  <a:lnTo>
                    <a:pt x="533" y="134"/>
                  </a:lnTo>
                  <a:lnTo>
                    <a:pt x="534" y="135"/>
                  </a:lnTo>
                  <a:lnTo>
                    <a:pt x="536" y="137"/>
                  </a:lnTo>
                  <a:lnTo>
                    <a:pt x="536" y="137"/>
                  </a:lnTo>
                  <a:lnTo>
                    <a:pt x="537" y="138"/>
                  </a:lnTo>
                  <a:lnTo>
                    <a:pt x="537" y="139"/>
                  </a:lnTo>
                  <a:lnTo>
                    <a:pt x="538" y="139"/>
                  </a:lnTo>
                  <a:lnTo>
                    <a:pt x="538" y="140"/>
                  </a:lnTo>
                  <a:lnTo>
                    <a:pt x="538" y="142"/>
                  </a:lnTo>
                  <a:lnTo>
                    <a:pt x="538" y="144"/>
                  </a:lnTo>
                  <a:lnTo>
                    <a:pt x="538" y="144"/>
                  </a:lnTo>
                  <a:lnTo>
                    <a:pt x="538" y="145"/>
                  </a:lnTo>
                  <a:lnTo>
                    <a:pt x="538" y="146"/>
                  </a:lnTo>
                  <a:lnTo>
                    <a:pt x="539" y="147"/>
                  </a:lnTo>
                  <a:lnTo>
                    <a:pt x="539" y="148"/>
                  </a:lnTo>
                  <a:lnTo>
                    <a:pt x="539" y="148"/>
                  </a:lnTo>
                  <a:lnTo>
                    <a:pt x="540" y="149"/>
                  </a:lnTo>
                  <a:lnTo>
                    <a:pt x="540" y="149"/>
                  </a:lnTo>
                  <a:lnTo>
                    <a:pt x="541" y="150"/>
                  </a:lnTo>
                  <a:lnTo>
                    <a:pt x="542" y="150"/>
                  </a:lnTo>
                  <a:lnTo>
                    <a:pt x="542" y="151"/>
                  </a:lnTo>
                  <a:lnTo>
                    <a:pt x="543" y="151"/>
                  </a:lnTo>
                  <a:lnTo>
                    <a:pt x="544" y="151"/>
                  </a:lnTo>
                  <a:lnTo>
                    <a:pt x="545" y="152"/>
                  </a:lnTo>
                  <a:lnTo>
                    <a:pt x="545" y="152"/>
                  </a:lnTo>
                  <a:lnTo>
                    <a:pt x="546" y="152"/>
                  </a:lnTo>
                  <a:lnTo>
                    <a:pt x="547" y="152"/>
                  </a:lnTo>
                  <a:lnTo>
                    <a:pt x="548" y="152"/>
                  </a:lnTo>
                  <a:lnTo>
                    <a:pt x="552" y="151"/>
                  </a:lnTo>
                  <a:lnTo>
                    <a:pt x="553" y="151"/>
                  </a:lnTo>
                  <a:lnTo>
                    <a:pt x="554" y="151"/>
                  </a:lnTo>
                  <a:lnTo>
                    <a:pt x="558" y="152"/>
                  </a:lnTo>
                  <a:lnTo>
                    <a:pt x="561" y="152"/>
                  </a:lnTo>
                  <a:lnTo>
                    <a:pt x="564" y="153"/>
                  </a:lnTo>
                  <a:lnTo>
                    <a:pt x="565" y="153"/>
                  </a:lnTo>
                  <a:lnTo>
                    <a:pt x="566" y="153"/>
                  </a:lnTo>
                  <a:lnTo>
                    <a:pt x="567" y="153"/>
                  </a:lnTo>
                  <a:lnTo>
                    <a:pt x="568" y="152"/>
                  </a:lnTo>
                  <a:lnTo>
                    <a:pt x="572" y="151"/>
                  </a:lnTo>
                  <a:lnTo>
                    <a:pt x="574" y="150"/>
                  </a:lnTo>
                  <a:lnTo>
                    <a:pt x="575" y="150"/>
                  </a:lnTo>
                  <a:lnTo>
                    <a:pt x="577" y="149"/>
                  </a:lnTo>
                  <a:lnTo>
                    <a:pt x="577" y="149"/>
                  </a:lnTo>
                  <a:lnTo>
                    <a:pt x="578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80" y="149"/>
                  </a:lnTo>
                  <a:lnTo>
                    <a:pt x="581" y="149"/>
                  </a:lnTo>
                  <a:lnTo>
                    <a:pt x="581" y="150"/>
                  </a:lnTo>
                  <a:lnTo>
                    <a:pt x="582" y="151"/>
                  </a:lnTo>
                  <a:lnTo>
                    <a:pt x="584" y="152"/>
                  </a:lnTo>
                  <a:lnTo>
                    <a:pt x="584" y="153"/>
                  </a:lnTo>
                  <a:lnTo>
                    <a:pt x="585" y="153"/>
                  </a:lnTo>
                  <a:lnTo>
                    <a:pt x="586" y="154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7" y="156"/>
                  </a:lnTo>
                  <a:lnTo>
                    <a:pt x="587" y="158"/>
                  </a:lnTo>
                  <a:lnTo>
                    <a:pt x="587" y="158"/>
                  </a:lnTo>
                  <a:lnTo>
                    <a:pt x="587" y="160"/>
                  </a:lnTo>
                  <a:lnTo>
                    <a:pt x="587" y="162"/>
                  </a:lnTo>
                  <a:lnTo>
                    <a:pt x="588" y="165"/>
                  </a:lnTo>
                  <a:lnTo>
                    <a:pt x="588" y="167"/>
                  </a:lnTo>
                  <a:lnTo>
                    <a:pt x="587" y="168"/>
                  </a:lnTo>
                  <a:lnTo>
                    <a:pt x="587" y="171"/>
                  </a:lnTo>
                  <a:lnTo>
                    <a:pt x="587" y="172"/>
                  </a:lnTo>
                  <a:lnTo>
                    <a:pt x="587" y="173"/>
                  </a:lnTo>
                  <a:lnTo>
                    <a:pt x="587" y="174"/>
                  </a:lnTo>
                  <a:lnTo>
                    <a:pt x="587" y="176"/>
                  </a:lnTo>
                  <a:lnTo>
                    <a:pt x="587" y="178"/>
                  </a:lnTo>
                  <a:lnTo>
                    <a:pt x="587" y="179"/>
                  </a:lnTo>
                  <a:lnTo>
                    <a:pt x="587" y="179"/>
                  </a:lnTo>
                  <a:lnTo>
                    <a:pt x="587" y="180"/>
                  </a:lnTo>
                  <a:lnTo>
                    <a:pt x="588" y="182"/>
                  </a:lnTo>
                  <a:lnTo>
                    <a:pt x="589" y="183"/>
                  </a:lnTo>
                  <a:lnTo>
                    <a:pt x="591" y="185"/>
                  </a:lnTo>
                  <a:lnTo>
                    <a:pt x="591" y="186"/>
                  </a:lnTo>
                  <a:lnTo>
                    <a:pt x="592" y="188"/>
                  </a:lnTo>
                  <a:lnTo>
                    <a:pt x="592" y="189"/>
                  </a:lnTo>
                  <a:lnTo>
                    <a:pt x="593" y="191"/>
                  </a:lnTo>
                  <a:lnTo>
                    <a:pt x="593" y="191"/>
                  </a:lnTo>
                  <a:lnTo>
                    <a:pt x="593" y="192"/>
                  </a:lnTo>
                  <a:lnTo>
                    <a:pt x="593" y="192"/>
                  </a:lnTo>
                  <a:lnTo>
                    <a:pt x="593" y="193"/>
                  </a:lnTo>
                  <a:lnTo>
                    <a:pt x="593" y="194"/>
                  </a:lnTo>
                  <a:lnTo>
                    <a:pt x="592" y="195"/>
                  </a:lnTo>
                  <a:lnTo>
                    <a:pt x="592" y="196"/>
                  </a:lnTo>
                  <a:lnTo>
                    <a:pt x="591" y="198"/>
                  </a:lnTo>
                  <a:lnTo>
                    <a:pt x="591" y="199"/>
                  </a:lnTo>
                  <a:lnTo>
                    <a:pt x="590" y="200"/>
                  </a:lnTo>
                  <a:lnTo>
                    <a:pt x="589" y="202"/>
                  </a:lnTo>
                  <a:lnTo>
                    <a:pt x="588" y="203"/>
                  </a:lnTo>
                  <a:lnTo>
                    <a:pt x="587" y="204"/>
                  </a:lnTo>
                  <a:lnTo>
                    <a:pt x="586" y="206"/>
                  </a:lnTo>
                  <a:lnTo>
                    <a:pt x="585" y="207"/>
                  </a:lnTo>
                  <a:lnTo>
                    <a:pt x="584" y="208"/>
                  </a:lnTo>
                  <a:lnTo>
                    <a:pt x="584" y="209"/>
                  </a:lnTo>
                  <a:lnTo>
                    <a:pt x="583" y="210"/>
                  </a:lnTo>
                  <a:lnTo>
                    <a:pt x="583" y="210"/>
                  </a:lnTo>
                  <a:lnTo>
                    <a:pt x="583" y="211"/>
                  </a:lnTo>
                  <a:lnTo>
                    <a:pt x="584" y="212"/>
                  </a:lnTo>
                  <a:lnTo>
                    <a:pt x="584" y="213"/>
                  </a:lnTo>
                  <a:lnTo>
                    <a:pt x="584" y="214"/>
                  </a:lnTo>
                  <a:lnTo>
                    <a:pt x="584" y="214"/>
                  </a:lnTo>
                  <a:lnTo>
                    <a:pt x="583" y="217"/>
                  </a:lnTo>
                  <a:lnTo>
                    <a:pt x="583" y="217"/>
                  </a:lnTo>
                  <a:lnTo>
                    <a:pt x="583" y="217"/>
                  </a:lnTo>
                  <a:lnTo>
                    <a:pt x="583" y="218"/>
                  </a:lnTo>
                  <a:lnTo>
                    <a:pt x="583" y="218"/>
                  </a:lnTo>
                  <a:lnTo>
                    <a:pt x="584" y="218"/>
                  </a:lnTo>
                  <a:lnTo>
                    <a:pt x="585" y="219"/>
                  </a:lnTo>
                  <a:lnTo>
                    <a:pt x="588" y="220"/>
                  </a:lnTo>
                  <a:lnTo>
                    <a:pt x="592" y="221"/>
                  </a:lnTo>
                  <a:lnTo>
                    <a:pt x="593" y="221"/>
                  </a:lnTo>
                  <a:lnTo>
                    <a:pt x="594" y="221"/>
                  </a:lnTo>
                  <a:lnTo>
                    <a:pt x="596" y="222"/>
                  </a:lnTo>
                  <a:lnTo>
                    <a:pt x="597" y="222"/>
                  </a:lnTo>
                  <a:lnTo>
                    <a:pt x="598" y="222"/>
                  </a:lnTo>
                  <a:lnTo>
                    <a:pt x="599" y="223"/>
                  </a:lnTo>
                  <a:lnTo>
                    <a:pt x="600" y="223"/>
                  </a:lnTo>
                  <a:lnTo>
                    <a:pt x="602" y="225"/>
                  </a:lnTo>
                  <a:lnTo>
                    <a:pt x="603" y="226"/>
                  </a:lnTo>
                  <a:lnTo>
                    <a:pt x="605" y="226"/>
                  </a:lnTo>
                  <a:lnTo>
                    <a:pt x="605" y="227"/>
                  </a:lnTo>
                  <a:lnTo>
                    <a:pt x="605" y="227"/>
                  </a:lnTo>
                  <a:lnTo>
                    <a:pt x="606" y="228"/>
                  </a:lnTo>
                  <a:lnTo>
                    <a:pt x="606" y="228"/>
                  </a:lnTo>
                  <a:lnTo>
                    <a:pt x="606" y="229"/>
                  </a:lnTo>
                  <a:lnTo>
                    <a:pt x="606" y="229"/>
                  </a:lnTo>
                  <a:lnTo>
                    <a:pt x="606" y="230"/>
                  </a:lnTo>
                  <a:lnTo>
                    <a:pt x="606" y="231"/>
                  </a:lnTo>
                  <a:lnTo>
                    <a:pt x="606" y="231"/>
                  </a:lnTo>
                  <a:lnTo>
                    <a:pt x="606" y="233"/>
                  </a:lnTo>
                  <a:lnTo>
                    <a:pt x="606" y="234"/>
                  </a:lnTo>
                  <a:lnTo>
                    <a:pt x="606" y="235"/>
                  </a:lnTo>
                  <a:lnTo>
                    <a:pt x="605" y="235"/>
                  </a:lnTo>
                  <a:lnTo>
                    <a:pt x="605" y="236"/>
                  </a:lnTo>
                  <a:lnTo>
                    <a:pt x="605" y="236"/>
                  </a:lnTo>
                  <a:lnTo>
                    <a:pt x="604" y="236"/>
                  </a:lnTo>
                  <a:lnTo>
                    <a:pt x="603" y="236"/>
                  </a:lnTo>
                  <a:lnTo>
                    <a:pt x="603" y="237"/>
                  </a:lnTo>
                  <a:lnTo>
                    <a:pt x="602" y="237"/>
                  </a:lnTo>
                  <a:lnTo>
                    <a:pt x="600" y="237"/>
                  </a:lnTo>
                  <a:lnTo>
                    <a:pt x="599" y="238"/>
                  </a:lnTo>
                  <a:lnTo>
                    <a:pt x="599" y="238"/>
                  </a:lnTo>
                  <a:lnTo>
                    <a:pt x="598" y="238"/>
                  </a:lnTo>
                  <a:lnTo>
                    <a:pt x="598" y="239"/>
                  </a:lnTo>
                  <a:lnTo>
                    <a:pt x="597" y="239"/>
                  </a:lnTo>
                  <a:lnTo>
                    <a:pt x="597" y="239"/>
                  </a:lnTo>
                  <a:lnTo>
                    <a:pt x="597" y="240"/>
                  </a:lnTo>
                  <a:lnTo>
                    <a:pt x="597" y="240"/>
                  </a:lnTo>
                  <a:lnTo>
                    <a:pt x="597" y="241"/>
                  </a:lnTo>
                  <a:lnTo>
                    <a:pt x="597" y="241"/>
                  </a:lnTo>
                  <a:lnTo>
                    <a:pt x="597" y="241"/>
                  </a:lnTo>
                  <a:lnTo>
                    <a:pt x="598" y="242"/>
                  </a:lnTo>
                  <a:lnTo>
                    <a:pt x="599" y="243"/>
                  </a:lnTo>
                  <a:lnTo>
                    <a:pt x="599" y="243"/>
                  </a:lnTo>
                  <a:lnTo>
                    <a:pt x="599" y="244"/>
                  </a:lnTo>
                  <a:lnTo>
                    <a:pt x="599" y="244"/>
                  </a:lnTo>
                  <a:lnTo>
                    <a:pt x="599" y="245"/>
                  </a:lnTo>
                  <a:lnTo>
                    <a:pt x="599" y="245"/>
                  </a:lnTo>
                  <a:lnTo>
                    <a:pt x="598" y="246"/>
                  </a:lnTo>
                  <a:lnTo>
                    <a:pt x="598" y="247"/>
                  </a:lnTo>
                  <a:lnTo>
                    <a:pt x="598" y="247"/>
                  </a:lnTo>
                  <a:lnTo>
                    <a:pt x="598" y="249"/>
                  </a:lnTo>
                  <a:lnTo>
                    <a:pt x="597" y="251"/>
                  </a:lnTo>
                  <a:lnTo>
                    <a:pt x="597" y="252"/>
                  </a:lnTo>
                  <a:lnTo>
                    <a:pt x="597" y="253"/>
                  </a:lnTo>
                  <a:lnTo>
                    <a:pt x="597" y="254"/>
                  </a:lnTo>
                  <a:lnTo>
                    <a:pt x="596" y="254"/>
                  </a:lnTo>
                  <a:lnTo>
                    <a:pt x="596" y="255"/>
                  </a:lnTo>
                  <a:lnTo>
                    <a:pt x="596" y="255"/>
                  </a:lnTo>
                  <a:lnTo>
                    <a:pt x="595" y="256"/>
                  </a:lnTo>
                  <a:lnTo>
                    <a:pt x="594" y="256"/>
                  </a:lnTo>
                  <a:lnTo>
                    <a:pt x="592" y="258"/>
                  </a:lnTo>
                  <a:lnTo>
                    <a:pt x="591" y="259"/>
                  </a:lnTo>
                  <a:lnTo>
                    <a:pt x="591" y="259"/>
                  </a:lnTo>
                  <a:lnTo>
                    <a:pt x="591" y="259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1"/>
                  </a:lnTo>
                  <a:lnTo>
                    <a:pt x="592" y="262"/>
                  </a:lnTo>
                  <a:lnTo>
                    <a:pt x="592" y="262"/>
                  </a:lnTo>
                  <a:lnTo>
                    <a:pt x="593" y="263"/>
                  </a:lnTo>
                  <a:lnTo>
                    <a:pt x="593" y="263"/>
                  </a:lnTo>
                  <a:lnTo>
                    <a:pt x="592" y="263"/>
                  </a:lnTo>
                  <a:lnTo>
                    <a:pt x="592" y="263"/>
                  </a:lnTo>
                  <a:lnTo>
                    <a:pt x="592" y="264"/>
                  </a:lnTo>
                  <a:lnTo>
                    <a:pt x="591" y="264"/>
                  </a:lnTo>
                  <a:lnTo>
                    <a:pt x="589" y="265"/>
                  </a:lnTo>
                  <a:lnTo>
                    <a:pt x="589" y="265"/>
                  </a:lnTo>
                  <a:lnTo>
                    <a:pt x="588" y="265"/>
                  </a:lnTo>
                  <a:lnTo>
                    <a:pt x="588" y="266"/>
                  </a:lnTo>
                  <a:lnTo>
                    <a:pt x="587" y="266"/>
                  </a:lnTo>
                  <a:lnTo>
                    <a:pt x="587" y="267"/>
                  </a:lnTo>
                  <a:lnTo>
                    <a:pt x="587" y="267"/>
                  </a:lnTo>
                  <a:lnTo>
                    <a:pt x="587" y="267"/>
                  </a:lnTo>
                  <a:lnTo>
                    <a:pt x="587" y="268"/>
                  </a:lnTo>
                  <a:lnTo>
                    <a:pt x="587" y="269"/>
                  </a:lnTo>
                  <a:lnTo>
                    <a:pt x="587" y="269"/>
                  </a:lnTo>
                  <a:lnTo>
                    <a:pt x="587" y="270"/>
                  </a:lnTo>
                  <a:lnTo>
                    <a:pt x="588" y="271"/>
                  </a:lnTo>
                  <a:lnTo>
                    <a:pt x="588" y="272"/>
                  </a:lnTo>
                  <a:lnTo>
                    <a:pt x="589" y="272"/>
                  </a:lnTo>
                  <a:lnTo>
                    <a:pt x="590" y="273"/>
                  </a:lnTo>
                  <a:lnTo>
                    <a:pt x="591" y="274"/>
                  </a:lnTo>
                  <a:lnTo>
                    <a:pt x="592" y="274"/>
                  </a:lnTo>
                  <a:lnTo>
                    <a:pt x="593" y="275"/>
                  </a:lnTo>
                  <a:lnTo>
                    <a:pt x="594" y="275"/>
                  </a:lnTo>
                  <a:lnTo>
                    <a:pt x="595" y="276"/>
                  </a:lnTo>
                  <a:lnTo>
                    <a:pt x="598" y="276"/>
                  </a:lnTo>
                  <a:lnTo>
                    <a:pt x="598" y="277"/>
                  </a:lnTo>
                  <a:lnTo>
                    <a:pt x="599" y="277"/>
                  </a:lnTo>
                  <a:lnTo>
                    <a:pt x="601" y="278"/>
                  </a:lnTo>
                  <a:lnTo>
                    <a:pt x="601" y="278"/>
                  </a:lnTo>
                  <a:lnTo>
                    <a:pt x="602" y="279"/>
                  </a:lnTo>
                  <a:lnTo>
                    <a:pt x="603" y="279"/>
                  </a:lnTo>
                  <a:lnTo>
                    <a:pt x="603" y="280"/>
                  </a:lnTo>
                  <a:lnTo>
                    <a:pt x="604" y="280"/>
                  </a:lnTo>
                  <a:lnTo>
                    <a:pt x="604" y="280"/>
                  </a:lnTo>
                  <a:lnTo>
                    <a:pt x="605" y="281"/>
                  </a:lnTo>
                  <a:lnTo>
                    <a:pt x="607" y="281"/>
                  </a:lnTo>
                  <a:lnTo>
                    <a:pt x="608" y="282"/>
                  </a:lnTo>
                  <a:lnTo>
                    <a:pt x="610" y="282"/>
                  </a:lnTo>
                  <a:lnTo>
                    <a:pt x="610" y="282"/>
                  </a:lnTo>
                  <a:lnTo>
                    <a:pt x="611" y="282"/>
                  </a:lnTo>
                  <a:lnTo>
                    <a:pt x="611" y="282"/>
                  </a:lnTo>
                  <a:lnTo>
                    <a:pt x="611" y="283"/>
                  </a:lnTo>
                  <a:lnTo>
                    <a:pt x="612" y="284"/>
                  </a:lnTo>
                  <a:lnTo>
                    <a:pt x="613" y="284"/>
                  </a:lnTo>
                  <a:lnTo>
                    <a:pt x="613" y="284"/>
                  </a:lnTo>
                  <a:lnTo>
                    <a:pt x="614" y="285"/>
                  </a:lnTo>
                  <a:lnTo>
                    <a:pt x="615" y="285"/>
                  </a:lnTo>
                  <a:lnTo>
                    <a:pt x="615" y="285"/>
                  </a:lnTo>
                  <a:lnTo>
                    <a:pt x="615" y="285"/>
                  </a:lnTo>
                  <a:lnTo>
                    <a:pt x="615" y="286"/>
                  </a:lnTo>
                  <a:lnTo>
                    <a:pt x="616" y="286"/>
                  </a:lnTo>
                  <a:lnTo>
                    <a:pt x="616" y="287"/>
                  </a:lnTo>
                  <a:lnTo>
                    <a:pt x="616" y="290"/>
                  </a:lnTo>
                  <a:lnTo>
                    <a:pt x="616" y="290"/>
                  </a:lnTo>
                  <a:lnTo>
                    <a:pt x="616" y="291"/>
                  </a:lnTo>
                  <a:lnTo>
                    <a:pt x="616" y="291"/>
                  </a:lnTo>
                  <a:lnTo>
                    <a:pt x="616" y="292"/>
                  </a:lnTo>
                  <a:lnTo>
                    <a:pt x="617" y="293"/>
                  </a:lnTo>
                  <a:lnTo>
                    <a:pt x="617" y="293"/>
                  </a:lnTo>
                  <a:lnTo>
                    <a:pt x="618" y="294"/>
                  </a:lnTo>
                  <a:lnTo>
                    <a:pt x="620" y="295"/>
                  </a:lnTo>
                  <a:lnTo>
                    <a:pt x="621" y="296"/>
                  </a:lnTo>
                  <a:lnTo>
                    <a:pt x="622" y="297"/>
                  </a:lnTo>
                  <a:lnTo>
                    <a:pt x="624" y="298"/>
                  </a:lnTo>
                  <a:lnTo>
                    <a:pt x="625" y="299"/>
                  </a:lnTo>
                  <a:lnTo>
                    <a:pt x="628" y="300"/>
                  </a:lnTo>
                  <a:lnTo>
                    <a:pt x="629" y="301"/>
                  </a:lnTo>
                  <a:lnTo>
                    <a:pt x="630" y="301"/>
                  </a:lnTo>
                  <a:lnTo>
                    <a:pt x="631" y="302"/>
                  </a:lnTo>
                  <a:lnTo>
                    <a:pt x="632" y="303"/>
                  </a:lnTo>
                  <a:lnTo>
                    <a:pt x="632" y="304"/>
                  </a:lnTo>
                  <a:lnTo>
                    <a:pt x="633" y="304"/>
                  </a:lnTo>
                  <a:lnTo>
                    <a:pt x="633" y="305"/>
                  </a:lnTo>
                  <a:lnTo>
                    <a:pt x="633" y="306"/>
                  </a:lnTo>
                  <a:lnTo>
                    <a:pt x="633" y="307"/>
                  </a:lnTo>
                  <a:lnTo>
                    <a:pt x="633" y="307"/>
                  </a:lnTo>
                  <a:lnTo>
                    <a:pt x="633" y="309"/>
                  </a:lnTo>
                  <a:lnTo>
                    <a:pt x="632" y="311"/>
                  </a:lnTo>
                  <a:lnTo>
                    <a:pt x="632" y="312"/>
                  </a:lnTo>
                  <a:lnTo>
                    <a:pt x="632" y="312"/>
                  </a:lnTo>
                  <a:lnTo>
                    <a:pt x="632" y="313"/>
                  </a:lnTo>
                  <a:lnTo>
                    <a:pt x="632" y="314"/>
                  </a:lnTo>
                  <a:lnTo>
                    <a:pt x="632" y="314"/>
                  </a:lnTo>
                  <a:lnTo>
                    <a:pt x="633" y="317"/>
                  </a:lnTo>
                  <a:lnTo>
                    <a:pt x="633" y="318"/>
                  </a:lnTo>
                  <a:lnTo>
                    <a:pt x="633" y="319"/>
                  </a:lnTo>
                  <a:lnTo>
                    <a:pt x="633" y="320"/>
                  </a:lnTo>
                  <a:lnTo>
                    <a:pt x="633" y="321"/>
                  </a:lnTo>
                  <a:lnTo>
                    <a:pt x="633" y="322"/>
                  </a:lnTo>
                  <a:lnTo>
                    <a:pt x="632" y="324"/>
                  </a:lnTo>
                  <a:lnTo>
                    <a:pt x="631" y="325"/>
                  </a:lnTo>
                  <a:lnTo>
                    <a:pt x="630" y="329"/>
                  </a:lnTo>
                  <a:lnTo>
                    <a:pt x="629" y="330"/>
                  </a:lnTo>
                  <a:lnTo>
                    <a:pt x="629" y="331"/>
                  </a:lnTo>
                  <a:lnTo>
                    <a:pt x="627" y="333"/>
                  </a:lnTo>
                  <a:lnTo>
                    <a:pt x="627" y="333"/>
                  </a:lnTo>
                  <a:lnTo>
                    <a:pt x="626" y="334"/>
                  </a:lnTo>
                  <a:lnTo>
                    <a:pt x="626" y="335"/>
                  </a:lnTo>
                  <a:lnTo>
                    <a:pt x="626" y="336"/>
                  </a:lnTo>
                  <a:lnTo>
                    <a:pt x="626" y="336"/>
                  </a:lnTo>
                  <a:lnTo>
                    <a:pt x="626" y="340"/>
                  </a:lnTo>
                  <a:lnTo>
                    <a:pt x="625" y="343"/>
                  </a:lnTo>
                  <a:lnTo>
                    <a:pt x="625" y="347"/>
                  </a:lnTo>
                  <a:lnTo>
                    <a:pt x="624" y="349"/>
                  </a:lnTo>
                  <a:lnTo>
                    <a:pt x="624" y="349"/>
                  </a:lnTo>
                  <a:lnTo>
                    <a:pt x="624" y="350"/>
                  </a:lnTo>
                  <a:lnTo>
                    <a:pt x="624" y="349"/>
                  </a:lnTo>
                  <a:lnTo>
                    <a:pt x="624" y="350"/>
                  </a:lnTo>
                  <a:lnTo>
                    <a:pt x="624" y="350"/>
                  </a:lnTo>
                  <a:lnTo>
                    <a:pt x="624" y="351"/>
                  </a:lnTo>
                  <a:lnTo>
                    <a:pt x="623" y="351"/>
                  </a:lnTo>
                  <a:lnTo>
                    <a:pt x="623" y="352"/>
                  </a:lnTo>
                  <a:lnTo>
                    <a:pt x="622" y="353"/>
                  </a:lnTo>
                  <a:lnTo>
                    <a:pt x="619" y="354"/>
                  </a:lnTo>
                  <a:lnTo>
                    <a:pt x="617" y="356"/>
                  </a:lnTo>
                  <a:lnTo>
                    <a:pt x="616" y="357"/>
                  </a:lnTo>
                  <a:lnTo>
                    <a:pt x="616" y="357"/>
                  </a:lnTo>
                  <a:lnTo>
                    <a:pt x="616" y="357"/>
                  </a:lnTo>
                  <a:lnTo>
                    <a:pt x="615" y="358"/>
                  </a:lnTo>
                  <a:lnTo>
                    <a:pt x="614" y="358"/>
                  </a:lnTo>
                  <a:lnTo>
                    <a:pt x="613" y="358"/>
                  </a:lnTo>
                  <a:lnTo>
                    <a:pt x="611" y="358"/>
                  </a:lnTo>
                  <a:lnTo>
                    <a:pt x="610" y="358"/>
                  </a:lnTo>
                  <a:lnTo>
                    <a:pt x="609" y="359"/>
                  </a:lnTo>
                  <a:lnTo>
                    <a:pt x="608" y="359"/>
                  </a:lnTo>
                  <a:lnTo>
                    <a:pt x="607" y="359"/>
                  </a:lnTo>
                  <a:lnTo>
                    <a:pt x="607" y="360"/>
                  </a:lnTo>
                  <a:lnTo>
                    <a:pt x="606" y="360"/>
                  </a:lnTo>
                  <a:lnTo>
                    <a:pt x="606" y="361"/>
                  </a:lnTo>
                  <a:lnTo>
                    <a:pt x="604" y="362"/>
                  </a:lnTo>
                  <a:lnTo>
                    <a:pt x="603" y="363"/>
                  </a:lnTo>
                  <a:lnTo>
                    <a:pt x="603" y="364"/>
                  </a:lnTo>
                  <a:lnTo>
                    <a:pt x="603" y="364"/>
                  </a:lnTo>
                  <a:lnTo>
                    <a:pt x="602" y="365"/>
                  </a:lnTo>
                  <a:lnTo>
                    <a:pt x="602" y="365"/>
                  </a:lnTo>
                  <a:lnTo>
                    <a:pt x="602" y="366"/>
                  </a:lnTo>
                  <a:lnTo>
                    <a:pt x="602" y="367"/>
                  </a:lnTo>
                  <a:lnTo>
                    <a:pt x="602" y="367"/>
                  </a:lnTo>
                  <a:lnTo>
                    <a:pt x="602" y="368"/>
                  </a:lnTo>
                  <a:lnTo>
                    <a:pt x="602" y="369"/>
                  </a:lnTo>
                  <a:lnTo>
                    <a:pt x="602" y="369"/>
                  </a:lnTo>
                  <a:lnTo>
                    <a:pt x="603" y="372"/>
                  </a:lnTo>
                  <a:lnTo>
                    <a:pt x="604" y="373"/>
                  </a:lnTo>
                  <a:lnTo>
                    <a:pt x="604" y="374"/>
                  </a:lnTo>
                  <a:lnTo>
                    <a:pt x="604" y="375"/>
                  </a:lnTo>
                  <a:lnTo>
                    <a:pt x="604" y="375"/>
                  </a:lnTo>
                  <a:lnTo>
                    <a:pt x="604" y="376"/>
                  </a:lnTo>
                  <a:lnTo>
                    <a:pt x="604" y="377"/>
                  </a:lnTo>
                  <a:lnTo>
                    <a:pt x="604" y="377"/>
                  </a:lnTo>
                  <a:lnTo>
                    <a:pt x="604" y="377"/>
                  </a:lnTo>
                  <a:lnTo>
                    <a:pt x="604" y="378"/>
                  </a:lnTo>
                  <a:lnTo>
                    <a:pt x="604" y="378"/>
                  </a:lnTo>
                  <a:lnTo>
                    <a:pt x="603" y="379"/>
                  </a:lnTo>
                  <a:lnTo>
                    <a:pt x="603" y="379"/>
                  </a:lnTo>
                  <a:lnTo>
                    <a:pt x="602" y="379"/>
                  </a:lnTo>
                  <a:lnTo>
                    <a:pt x="602" y="380"/>
                  </a:lnTo>
                  <a:lnTo>
                    <a:pt x="601" y="380"/>
                  </a:lnTo>
                  <a:lnTo>
                    <a:pt x="600" y="380"/>
                  </a:lnTo>
                  <a:lnTo>
                    <a:pt x="599" y="380"/>
                  </a:lnTo>
                  <a:lnTo>
                    <a:pt x="598" y="380"/>
                  </a:lnTo>
                  <a:lnTo>
                    <a:pt x="597" y="380"/>
                  </a:lnTo>
                  <a:lnTo>
                    <a:pt x="594" y="380"/>
                  </a:lnTo>
                  <a:lnTo>
                    <a:pt x="592" y="380"/>
                  </a:lnTo>
                  <a:lnTo>
                    <a:pt x="592" y="380"/>
                  </a:lnTo>
                  <a:lnTo>
                    <a:pt x="591" y="380"/>
                  </a:lnTo>
                  <a:lnTo>
                    <a:pt x="590" y="381"/>
                  </a:lnTo>
                  <a:lnTo>
                    <a:pt x="590" y="381"/>
                  </a:lnTo>
                  <a:lnTo>
                    <a:pt x="589" y="382"/>
                  </a:lnTo>
                  <a:lnTo>
                    <a:pt x="588" y="382"/>
                  </a:lnTo>
                  <a:lnTo>
                    <a:pt x="587" y="383"/>
                  </a:lnTo>
                  <a:lnTo>
                    <a:pt x="586" y="386"/>
                  </a:lnTo>
                  <a:lnTo>
                    <a:pt x="585" y="387"/>
                  </a:lnTo>
                  <a:lnTo>
                    <a:pt x="584" y="387"/>
                  </a:lnTo>
                  <a:lnTo>
                    <a:pt x="584" y="388"/>
                  </a:lnTo>
                  <a:lnTo>
                    <a:pt x="582" y="389"/>
                  </a:lnTo>
                  <a:lnTo>
                    <a:pt x="581" y="390"/>
                  </a:lnTo>
                  <a:lnTo>
                    <a:pt x="580" y="390"/>
                  </a:lnTo>
                  <a:lnTo>
                    <a:pt x="578" y="391"/>
                  </a:lnTo>
                  <a:lnTo>
                    <a:pt x="576" y="391"/>
                  </a:lnTo>
                  <a:lnTo>
                    <a:pt x="575" y="391"/>
                  </a:lnTo>
                  <a:lnTo>
                    <a:pt x="573" y="392"/>
                  </a:lnTo>
                  <a:lnTo>
                    <a:pt x="570" y="393"/>
                  </a:lnTo>
                  <a:lnTo>
                    <a:pt x="568" y="393"/>
                  </a:lnTo>
                  <a:lnTo>
                    <a:pt x="566" y="394"/>
                  </a:lnTo>
                  <a:lnTo>
                    <a:pt x="565" y="394"/>
                  </a:lnTo>
                  <a:lnTo>
                    <a:pt x="563" y="395"/>
                  </a:lnTo>
                  <a:lnTo>
                    <a:pt x="562" y="396"/>
                  </a:lnTo>
                  <a:lnTo>
                    <a:pt x="559" y="397"/>
                  </a:lnTo>
                  <a:lnTo>
                    <a:pt x="558" y="398"/>
                  </a:lnTo>
                  <a:lnTo>
                    <a:pt x="557" y="398"/>
                  </a:lnTo>
                  <a:lnTo>
                    <a:pt x="556" y="399"/>
                  </a:lnTo>
                  <a:lnTo>
                    <a:pt x="555" y="399"/>
                  </a:lnTo>
                  <a:lnTo>
                    <a:pt x="555" y="399"/>
                  </a:lnTo>
                  <a:lnTo>
                    <a:pt x="554" y="399"/>
                  </a:lnTo>
                  <a:lnTo>
                    <a:pt x="553" y="399"/>
                  </a:lnTo>
                  <a:lnTo>
                    <a:pt x="553" y="398"/>
                  </a:lnTo>
                  <a:lnTo>
                    <a:pt x="552" y="398"/>
                  </a:lnTo>
                  <a:lnTo>
                    <a:pt x="552" y="398"/>
                  </a:lnTo>
                  <a:lnTo>
                    <a:pt x="551" y="398"/>
                  </a:lnTo>
                  <a:lnTo>
                    <a:pt x="550" y="397"/>
                  </a:lnTo>
                  <a:lnTo>
                    <a:pt x="549" y="397"/>
                  </a:lnTo>
                  <a:lnTo>
                    <a:pt x="549" y="397"/>
                  </a:lnTo>
                  <a:lnTo>
                    <a:pt x="548" y="397"/>
                  </a:lnTo>
                  <a:lnTo>
                    <a:pt x="547" y="398"/>
                  </a:lnTo>
                  <a:lnTo>
                    <a:pt x="546" y="398"/>
                  </a:lnTo>
                  <a:lnTo>
                    <a:pt x="546" y="398"/>
                  </a:lnTo>
                  <a:lnTo>
                    <a:pt x="545" y="399"/>
                  </a:lnTo>
                  <a:lnTo>
                    <a:pt x="544" y="399"/>
                  </a:lnTo>
                  <a:lnTo>
                    <a:pt x="544" y="400"/>
                  </a:lnTo>
                  <a:lnTo>
                    <a:pt x="543" y="400"/>
                  </a:lnTo>
                  <a:lnTo>
                    <a:pt x="543" y="401"/>
                  </a:lnTo>
                  <a:lnTo>
                    <a:pt x="543" y="401"/>
                  </a:lnTo>
                  <a:lnTo>
                    <a:pt x="543" y="402"/>
                  </a:lnTo>
                  <a:lnTo>
                    <a:pt x="542" y="404"/>
                  </a:lnTo>
                  <a:lnTo>
                    <a:pt x="542" y="405"/>
                  </a:lnTo>
                  <a:lnTo>
                    <a:pt x="541" y="407"/>
                  </a:lnTo>
                  <a:lnTo>
                    <a:pt x="539" y="410"/>
                  </a:lnTo>
                  <a:lnTo>
                    <a:pt x="539" y="411"/>
                  </a:lnTo>
                  <a:lnTo>
                    <a:pt x="539" y="412"/>
                  </a:lnTo>
                  <a:lnTo>
                    <a:pt x="538" y="412"/>
                  </a:lnTo>
                  <a:lnTo>
                    <a:pt x="532" y="419"/>
                  </a:lnTo>
                  <a:lnTo>
                    <a:pt x="532" y="420"/>
                  </a:lnTo>
                  <a:lnTo>
                    <a:pt x="531" y="421"/>
                  </a:lnTo>
                  <a:lnTo>
                    <a:pt x="531" y="422"/>
                  </a:lnTo>
                  <a:lnTo>
                    <a:pt x="530" y="423"/>
                  </a:lnTo>
                  <a:lnTo>
                    <a:pt x="530" y="424"/>
                  </a:lnTo>
                  <a:lnTo>
                    <a:pt x="530" y="425"/>
                  </a:lnTo>
                  <a:lnTo>
                    <a:pt x="530" y="426"/>
                  </a:lnTo>
                  <a:lnTo>
                    <a:pt x="529" y="427"/>
                  </a:lnTo>
                  <a:lnTo>
                    <a:pt x="529" y="428"/>
                  </a:lnTo>
                  <a:lnTo>
                    <a:pt x="529" y="429"/>
                  </a:lnTo>
                  <a:lnTo>
                    <a:pt x="529" y="430"/>
                  </a:lnTo>
                  <a:lnTo>
                    <a:pt x="530" y="432"/>
                  </a:lnTo>
                  <a:lnTo>
                    <a:pt x="530" y="433"/>
                  </a:lnTo>
                  <a:lnTo>
                    <a:pt x="530" y="434"/>
                  </a:lnTo>
                  <a:lnTo>
                    <a:pt x="531" y="435"/>
                  </a:lnTo>
                  <a:lnTo>
                    <a:pt x="531" y="436"/>
                  </a:lnTo>
                  <a:lnTo>
                    <a:pt x="531" y="436"/>
                  </a:lnTo>
                  <a:lnTo>
                    <a:pt x="532" y="437"/>
                  </a:lnTo>
                  <a:lnTo>
                    <a:pt x="533" y="437"/>
                  </a:lnTo>
                  <a:lnTo>
                    <a:pt x="533" y="438"/>
                  </a:lnTo>
                  <a:lnTo>
                    <a:pt x="537" y="440"/>
                  </a:lnTo>
                  <a:lnTo>
                    <a:pt x="539" y="440"/>
                  </a:lnTo>
                  <a:lnTo>
                    <a:pt x="541" y="441"/>
                  </a:lnTo>
                  <a:lnTo>
                    <a:pt x="542" y="442"/>
                  </a:lnTo>
                  <a:lnTo>
                    <a:pt x="543" y="442"/>
                  </a:lnTo>
                  <a:lnTo>
                    <a:pt x="544" y="443"/>
                  </a:lnTo>
                  <a:lnTo>
                    <a:pt x="544" y="443"/>
                  </a:lnTo>
                  <a:lnTo>
                    <a:pt x="545" y="444"/>
                  </a:lnTo>
                  <a:lnTo>
                    <a:pt x="545" y="444"/>
                  </a:lnTo>
                  <a:lnTo>
                    <a:pt x="546" y="445"/>
                  </a:lnTo>
                  <a:lnTo>
                    <a:pt x="547" y="446"/>
                  </a:lnTo>
                  <a:lnTo>
                    <a:pt x="548" y="448"/>
                  </a:lnTo>
                  <a:lnTo>
                    <a:pt x="548" y="449"/>
                  </a:lnTo>
                  <a:lnTo>
                    <a:pt x="549" y="450"/>
                  </a:lnTo>
                  <a:lnTo>
                    <a:pt x="549" y="451"/>
                  </a:lnTo>
                  <a:lnTo>
                    <a:pt x="549" y="451"/>
                  </a:lnTo>
                  <a:lnTo>
                    <a:pt x="549" y="452"/>
                  </a:lnTo>
                  <a:lnTo>
                    <a:pt x="549" y="454"/>
                  </a:lnTo>
                  <a:lnTo>
                    <a:pt x="549" y="455"/>
                  </a:lnTo>
                  <a:lnTo>
                    <a:pt x="549" y="456"/>
                  </a:lnTo>
                  <a:lnTo>
                    <a:pt x="549" y="457"/>
                  </a:lnTo>
                  <a:lnTo>
                    <a:pt x="549" y="457"/>
                  </a:lnTo>
                  <a:lnTo>
                    <a:pt x="548" y="458"/>
                  </a:lnTo>
                  <a:lnTo>
                    <a:pt x="548" y="459"/>
                  </a:lnTo>
                  <a:lnTo>
                    <a:pt x="548" y="460"/>
                  </a:lnTo>
                  <a:lnTo>
                    <a:pt x="547" y="460"/>
                  </a:lnTo>
                  <a:lnTo>
                    <a:pt x="547" y="461"/>
                  </a:lnTo>
                  <a:lnTo>
                    <a:pt x="546" y="461"/>
                  </a:lnTo>
                  <a:lnTo>
                    <a:pt x="544" y="463"/>
                  </a:lnTo>
                  <a:lnTo>
                    <a:pt x="543" y="463"/>
                  </a:lnTo>
                  <a:lnTo>
                    <a:pt x="543" y="464"/>
                  </a:lnTo>
                  <a:lnTo>
                    <a:pt x="542" y="464"/>
                  </a:lnTo>
                  <a:lnTo>
                    <a:pt x="541" y="464"/>
                  </a:lnTo>
                  <a:lnTo>
                    <a:pt x="540" y="464"/>
                  </a:lnTo>
                  <a:lnTo>
                    <a:pt x="539" y="464"/>
                  </a:lnTo>
                  <a:lnTo>
                    <a:pt x="537" y="464"/>
                  </a:lnTo>
                  <a:lnTo>
                    <a:pt x="536" y="464"/>
                  </a:lnTo>
                  <a:lnTo>
                    <a:pt x="534" y="464"/>
                  </a:lnTo>
                  <a:lnTo>
                    <a:pt x="533" y="464"/>
                  </a:lnTo>
                  <a:lnTo>
                    <a:pt x="532" y="464"/>
                  </a:lnTo>
                  <a:lnTo>
                    <a:pt x="532" y="464"/>
                  </a:lnTo>
                  <a:lnTo>
                    <a:pt x="531" y="464"/>
                  </a:lnTo>
                  <a:lnTo>
                    <a:pt x="531" y="464"/>
                  </a:lnTo>
                  <a:lnTo>
                    <a:pt x="530" y="464"/>
                  </a:lnTo>
                  <a:lnTo>
                    <a:pt x="529" y="466"/>
                  </a:lnTo>
                  <a:lnTo>
                    <a:pt x="528" y="466"/>
                  </a:lnTo>
                  <a:lnTo>
                    <a:pt x="528" y="466"/>
                  </a:lnTo>
                  <a:lnTo>
                    <a:pt x="528" y="467"/>
                  </a:lnTo>
                  <a:lnTo>
                    <a:pt x="527" y="467"/>
                  </a:lnTo>
                  <a:lnTo>
                    <a:pt x="526" y="469"/>
                  </a:lnTo>
                  <a:lnTo>
                    <a:pt x="526" y="470"/>
                  </a:lnTo>
                  <a:lnTo>
                    <a:pt x="525" y="471"/>
                  </a:lnTo>
                  <a:lnTo>
                    <a:pt x="525" y="472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3" y="473"/>
                  </a:lnTo>
                  <a:lnTo>
                    <a:pt x="523" y="473"/>
                  </a:lnTo>
                  <a:lnTo>
                    <a:pt x="522" y="473"/>
                  </a:lnTo>
                  <a:lnTo>
                    <a:pt x="521" y="473"/>
                  </a:lnTo>
                  <a:lnTo>
                    <a:pt x="519" y="471"/>
                  </a:lnTo>
                  <a:lnTo>
                    <a:pt x="519" y="471"/>
                  </a:lnTo>
                  <a:lnTo>
                    <a:pt x="518" y="470"/>
                  </a:lnTo>
                  <a:lnTo>
                    <a:pt x="517" y="470"/>
                  </a:lnTo>
                  <a:lnTo>
                    <a:pt x="515" y="470"/>
                  </a:lnTo>
                  <a:lnTo>
                    <a:pt x="514" y="469"/>
                  </a:lnTo>
                  <a:lnTo>
                    <a:pt x="512" y="469"/>
                  </a:lnTo>
                  <a:lnTo>
                    <a:pt x="510" y="468"/>
                  </a:lnTo>
                  <a:lnTo>
                    <a:pt x="510" y="468"/>
                  </a:lnTo>
                  <a:lnTo>
                    <a:pt x="509" y="468"/>
                  </a:lnTo>
                  <a:lnTo>
                    <a:pt x="509" y="468"/>
                  </a:lnTo>
                  <a:lnTo>
                    <a:pt x="508" y="468"/>
                  </a:lnTo>
                  <a:lnTo>
                    <a:pt x="507" y="468"/>
                  </a:lnTo>
                  <a:lnTo>
                    <a:pt x="505" y="469"/>
                  </a:lnTo>
                  <a:lnTo>
                    <a:pt x="502" y="470"/>
                  </a:lnTo>
                  <a:lnTo>
                    <a:pt x="500" y="471"/>
                  </a:lnTo>
                  <a:lnTo>
                    <a:pt x="500" y="471"/>
                  </a:lnTo>
                  <a:lnTo>
                    <a:pt x="498" y="471"/>
                  </a:lnTo>
                  <a:lnTo>
                    <a:pt x="496" y="472"/>
                  </a:lnTo>
                  <a:lnTo>
                    <a:pt x="495" y="472"/>
                  </a:lnTo>
                  <a:lnTo>
                    <a:pt x="494" y="472"/>
                  </a:lnTo>
                  <a:lnTo>
                    <a:pt x="492" y="472"/>
                  </a:lnTo>
                  <a:lnTo>
                    <a:pt x="491" y="472"/>
                  </a:lnTo>
                  <a:lnTo>
                    <a:pt x="487" y="471"/>
                  </a:lnTo>
                  <a:lnTo>
                    <a:pt x="486" y="471"/>
                  </a:lnTo>
                  <a:lnTo>
                    <a:pt x="483" y="471"/>
                  </a:lnTo>
                  <a:lnTo>
                    <a:pt x="482" y="471"/>
                  </a:lnTo>
                  <a:lnTo>
                    <a:pt x="481" y="470"/>
                  </a:lnTo>
                  <a:lnTo>
                    <a:pt x="480" y="470"/>
                  </a:lnTo>
                  <a:lnTo>
                    <a:pt x="476" y="469"/>
                  </a:lnTo>
                  <a:lnTo>
                    <a:pt x="475" y="469"/>
                  </a:lnTo>
                  <a:lnTo>
                    <a:pt x="474" y="469"/>
                  </a:lnTo>
                  <a:lnTo>
                    <a:pt x="474" y="469"/>
                  </a:lnTo>
                  <a:lnTo>
                    <a:pt x="473" y="469"/>
                  </a:lnTo>
                  <a:lnTo>
                    <a:pt x="472" y="469"/>
                  </a:lnTo>
                  <a:lnTo>
                    <a:pt x="471" y="469"/>
                  </a:lnTo>
                  <a:lnTo>
                    <a:pt x="471" y="470"/>
                  </a:lnTo>
                  <a:lnTo>
                    <a:pt x="470" y="470"/>
                  </a:lnTo>
                  <a:lnTo>
                    <a:pt x="470" y="471"/>
                  </a:lnTo>
                  <a:lnTo>
                    <a:pt x="470" y="471"/>
                  </a:lnTo>
                  <a:lnTo>
                    <a:pt x="469" y="472"/>
                  </a:lnTo>
                  <a:lnTo>
                    <a:pt x="469" y="472"/>
                  </a:lnTo>
                  <a:lnTo>
                    <a:pt x="469" y="473"/>
                  </a:lnTo>
                  <a:lnTo>
                    <a:pt x="469" y="473"/>
                  </a:lnTo>
                  <a:lnTo>
                    <a:pt x="469" y="474"/>
                  </a:lnTo>
                  <a:lnTo>
                    <a:pt x="470" y="476"/>
                  </a:lnTo>
                  <a:lnTo>
                    <a:pt x="470" y="477"/>
                  </a:lnTo>
                  <a:lnTo>
                    <a:pt x="470" y="477"/>
                  </a:lnTo>
                  <a:lnTo>
                    <a:pt x="470" y="478"/>
                  </a:lnTo>
                  <a:lnTo>
                    <a:pt x="470" y="478"/>
                  </a:lnTo>
                  <a:lnTo>
                    <a:pt x="470" y="478"/>
                  </a:lnTo>
                  <a:lnTo>
                    <a:pt x="469" y="479"/>
                  </a:lnTo>
                  <a:lnTo>
                    <a:pt x="469" y="479"/>
                  </a:lnTo>
                  <a:lnTo>
                    <a:pt x="468" y="479"/>
                  </a:lnTo>
                  <a:lnTo>
                    <a:pt x="468" y="480"/>
                  </a:lnTo>
                  <a:lnTo>
                    <a:pt x="467" y="480"/>
                  </a:lnTo>
                  <a:lnTo>
                    <a:pt x="466" y="480"/>
                  </a:lnTo>
                  <a:lnTo>
                    <a:pt x="461" y="482"/>
                  </a:lnTo>
                  <a:lnTo>
                    <a:pt x="460" y="482"/>
                  </a:lnTo>
                  <a:lnTo>
                    <a:pt x="460" y="482"/>
                  </a:lnTo>
                  <a:lnTo>
                    <a:pt x="459" y="482"/>
                  </a:lnTo>
                  <a:lnTo>
                    <a:pt x="459" y="483"/>
                  </a:lnTo>
                  <a:lnTo>
                    <a:pt x="459" y="483"/>
                  </a:lnTo>
                  <a:lnTo>
                    <a:pt x="458" y="484"/>
                  </a:lnTo>
                  <a:lnTo>
                    <a:pt x="458" y="484"/>
                  </a:lnTo>
                  <a:lnTo>
                    <a:pt x="458" y="485"/>
                  </a:lnTo>
                  <a:lnTo>
                    <a:pt x="457" y="486"/>
                  </a:lnTo>
                  <a:lnTo>
                    <a:pt x="457" y="487"/>
                  </a:lnTo>
                  <a:lnTo>
                    <a:pt x="457" y="490"/>
                  </a:lnTo>
                  <a:lnTo>
                    <a:pt x="456" y="491"/>
                  </a:lnTo>
                  <a:lnTo>
                    <a:pt x="456" y="492"/>
                  </a:lnTo>
                  <a:lnTo>
                    <a:pt x="455" y="494"/>
                  </a:lnTo>
                  <a:lnTo>
                    <a:pt x="455" y="494"/>
                  </a:lnTo>
                  <a:lnTo>
                    <a:pt x="455" y="494"/>
                  </a:lnTo>
                  <a:lnTo>
                    <a:pt x="454" y="495"/>
                  </a:lnTo>
                  <a:lnTo>
                    <a:pt x="453" y="495"/>
                  </a:lnTo>
                  <a:lnTo>
                    <a:pt x="453" y="495"/>
                  </a:lnTo>
                  <a:lnTo>
                    <a:pt x="452" y="495"/>
                  </a:lnTo>
                  <a:lnTo>
                    <a:pt x="451" y="495"/>
                  </a:lnTo>
                  <a:lnTo>
                    <a:pt x="451" y="495"/>
                  </a:lnTo>
                  <a:lnTo>
                    <a:pt x="450" y="495"/>
                  </a:lnTo>
                  <a:lnTo>
                    <a:pt x="449" y="495"/>
                  </a:lnTo>
                  <a:lnTo>
                    <a:pt x="449" y="495"/>
                  </a:lnTo>
                  <a:lnTo>
                    <a:pt x="447" y="494"/>
                  </a:lnTo>
                  <a:lnTo>
                    <a:pt x="447" y="494"/>
                  </a:lnTo>
                  <a:lnTo>
                    <a:pt x="446" y="494"/>
                  </a:lnTo>
                  <a:lnTo>
                    <a:pt x="445" y="493"/>
                  </a:lnTo>
                  <a:lnTo>
                    <a:pt x="445" y="492"/>
                  </a:lnTo>
                  <a:lnTo>
                    <a:pt x="444" y="492"/>
                  </a:lnTo>
                  <a:lnTo>
                    <a:pt x="443" y="491"/>
                  </a:lnTo>
                  <a:lnTo>
                    <a:pt x="442" y="489"/>
                  </a:lnTo>
                  <a:lnTo>
                    <a:pt x="441" y="487"/>
                  </a:lnTo>
                  <a:lnTo>
                    <a:pt x="440" y="484"/>
                  </a:lnTo>
                  <a:lnTo>
                    <a:pt x="439" y="482"/>
                  </a:lnTo>
                  <a:lnTo>
                    <a:pt x="438" y="481"/>
                  </a:lnTo>
                  <a:lnTo>
                    <a:pt x="438" y="479"/>
                  </a:lnTo>
                  <a:lnTo>
                    <a:pt x="437" y="478"/>
                  </a:lnTo>
                  <a:lnTo>
                    <a:pt x="437" y="478"/>
                  </a:lnTo>
                  <a:lnTo>
                    <a:pt x="437" y="477"/>
                  </a:lnTo>
                  <a:lnTo>
                    <a:pt x="437" y="477"/>
                  </a:lnTo>
                  <a:lnTo>
                    <a:pt x="436" y="477"/>
                  </a:lnTo>
                  <a:lnTo>
                    <a:pt x="436" y="477"/>
                  </a:lnTo>
                  <a:lnTo>
                    <a:pt x="435" y="477"/>
                  </a:lnTo>
                  <a:lnTo>
                    <a:pt x="435" y="477"/>
                  </a:lnTo>
                  <a:lnTo>
                    <a:pt x="434" y="477"/>
                  </a:lnTo>
                  <a:lnTo>
                    <a:pt x="433" y="478"/>
                  </a:lnTo>
                  <a:lnTo>
                    <a:pt x="432" y="478"/>
                  </a:lnTo>
                  <a:lnTo>
                    <a:pt x="431" y="479"/>
                  </a:lnTo>
                  <a:lnTo>
                    <a:pt x="430" y="479"/>
                  </a:lnTo>
                  <a:lnTo>
                    <a:pt x="430" y="479"/>
                  </a:lnTo>
                  <a:lnTo>
                    <a:pt x="429" y="479"/>
                  </a:lnTo>
                  <a:lnTo>
                    <a:pt x="429" y="479"/>
                  </a:lnTo>
                  <a:lnTo>
                    <a:pt x="428" y="479"/>
                  </a:lnTo>
                  <a:lnTo>
                    <a:pt x="428" y="479"/>
                  </a:lnTo>
                  <a:lnTo>
                    <a:pt x="427" y="478"/>
                  </a:lnTo>
                  <a:lnTo>
                    <a:pt x="426" y="477"/>
                  </a:lnTo>
                  <a:lnTo>
                    <a:pt x="425" y="477"/>
                  </a:lnTo>
                  <a:lnTo>
                    <a:pt x="423" y="475"/>
                  </a:lnTo>
                  <a:lnTo>
                    <a:pt x="420" y="473"/>
                  </a:lnTo>
                  <a:lnTo>
                    <a:pt x="419" y="472"/>
                  </a:lnTo>
                  <a:lnTo>
                    <a:pt x="418" y="471"/>
                  </a:lnTo>
                  <a:lnTo>
                    <a:pt x="417" y="471"/>
                  </a:lnTo>
                  <a:lnTo>
                    <a:pt x="416" y="470"/>
                  </a:lnTo>
                  <a:lnTo>
                    <a:pt x="412" y="468"/>
                  </a:lnTo>
                  <a:lnTo>
                    <a:pt x="411" y="467"/>
                  </a:lnTo>
                  <a:lnTo>
                    <a:pt x="410" y="467"/>
                  </a:lnTo>
                  <a:lnTo>
                    <a:pt x="408" y="465"/>
                  </a:lnTo>
                  <a:lnTo>
                    <a:pt x="407" y="465"/>
                  </a:lnTo>
                  <a:lnTo>
                    <a:pt x="406" y="464"/>
                  </a:lnTo>
                  <a:lnTo>
                    <a:pt x="405" y="464"/>
                  </a:lnTo>
                  <a:lnTo>
                    <a:pt x="405" y="464"/>
                  </a:lnTo>
                  <a:lnTo>
                    <a:pt x="405" y="464"/>
                  </a:lnTo>
                  <a:lnTo>
                    <a:pt x="404" y="465"/>
                  </a:lnTo>
                  <a:lnTo>
                    <a:pt x="404" y="465"/>
                  </a:lnTo>
                  <a:lnTo>
                    <a:pt x="402" y="466"/>
                  </a:lnTo>
                  <a:lnTo>
                    <a:pt x="400" y="467"/>
                  </a:lnTo>
                  <a:lnTo>
                    <a:pt x="399" y="468"/>
                  </a:lnTo>
                  <a:lnTo>
                    <a:pt x="399" y="469"/>
                  </a:lnTo>
                  <a:lnTo>
                    <a:pt x="398" y="469"/>
                  </a:lnTo>
                  <a:lnTo>
                    <a:pt x="398" y="471"/>
                  </a:lnTo>
                  <a:lnTo>
                    <a:pt x="397" y="471"/>
                  </a:lnTo>
                  <a:lnTo>
                    <a:pt x="397" y="472"/>
                  </a:lnTo>
                  <a:lnTo>
                    <a:pt x="396" y="473"/>
                  </a:lnTo>
                  <a:lnTo>
                    <a:pt x="395" y="473"/>
                  </a:lnTo>
                  <a:lnTo>
                    <a:pt x="395" y="474"/>
                  </a:lnTo>
                  <a:lnTo>
                    <a:pt x="394" y="474"/>
                  </a:lnTo>
                  <a:lnTo>
                    <a:pt x="394" y="475"/>
                  </a:lnTo>
                  <a:lnTo>
                    <a:pt x="394" y="475"/>
                  </a:lnTo>
                  <a:lnTo>
                    <a:pt x="394" y="477"/>
                  </a:lnTo>
                  <a:lnTo>
                    <a:pt x="394" y="478"/>
                  </a:lnTo>
                  <a:lnTo>
                    <a:pt x="394" y="479"/>
                  </a:lnTo>
                  <a:lnTo>
                    <a:pt x="393" y="481"/>
                  </a:lnTo>
                  <a:lnTo>
                    <a:pt x="393" y="482"/>
                  </a:lnTo>
                  <a:lnTo>
                    <a:pt x="393" y="484"/>
                  </a:lnTo>
                  <a:lnTo>
                    <a:pt x="393" y="484"/>
                  </a:lnTo>
                  <a:lnTo>
                    <a:pt x="393" y="485"/>
                  </a:lnTo>
                  <a:lnTo>
                    <a:pt x="394" y="487"/>
                  </a:lnTo>
                  <a:lnTo>
                    <a:pt x="394" y="489"/>
                  </a:lnTo>
                  <a:lnTo>
                    <a:pt x="395" y="491"/>
                  </a:lnTo>
                  <a:lnTo>
                    <a:pt x="395" y="492"/>
                  </a:lnTo>
                  <a:lnTo>
                    <a:pt x="395" y="492"/>
                  </a:lnTo>
                  <a:lnTo>
                    <a:pt x="395" y="493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3" y="495"/>
                  </a:lnTo>
                  <a:lnTo>
                    <a:pt x="393" y="495"/>
                  </a:lnTo>
                  <a:lnTo>
                    <a:pt x="391" y="496"/>
                  </a:lnTo>
                  <a:lnTo>
                    <a:pt x="390" y="496"/>
                  </a:lnTo>
                  <a:lnTo>
                    <a:pt x="389" y="497"/>
                  </a:lnTo>
                  <a:lnTo>
                    <a:pt x="386" y="498"/>
                  </a:lnTo>
                  <a:lnTo>
                    <a:pt x="385" y="498"/>
                  </a:lnTo>
                  <a:lnTo>
                    <a:pt x="384" y="498"/>
                  </a:lnTo>
                  <a:lnTo>
                    <a:pt x="383" y="499"/>
                  </a:lnTo>
                  <a:lnTo>
                    <a:pt x="381" y="500"/>
                  </a:lnTo>
                  <a:lnTo>
                    <a:pt x="379" y="502"/>
                  </a:lnTo>
                  <a:lnTo>
                    <a:pt x="376" y="504"/>
                  </a:lnTo>
                  <a:lnTo>
                    <a:pt x="375" y="505"/>
                  </a:lnTo>
                  <a:lnTo>
                    <a:pt x="374" y="507"/>
                  </a:lnTo>
                  <a:lnTo>
                    <a:pt x="373" y="508"/>
                  </a:lnTo>
                  <a:lnTo>
                    <a:pt x="372" y="509"/>
                  </a:lnTo>
                  <a:lnTo>
                    <a:pt x="371" y="511"/>
                  </a:lnTo>
                  <a:lnTo>
                    <a:pt x="370" y="511"/>
                  </a:lnTo>
                  <a:lnTo>
                    <a:pt x="370" y="512"/>
                  </a:lnTo>
                  <a:lnTo>
                    <a:pt x="369" y="512"/>
                  </a:lnTo>
                  <a:lnTo>
                    <a:pt x="369" y="512"/>
                  </a:lnTo>
                  <a:lnTo>
                    <a:pt x="369" y="512"/>
                  </a:lnTo>
                  <a:lnTo>
                    <a:pt x="368" y="512"/>
                  </a:lnTo>
                  <a:lnTo>
                    <a:pt x="368" y="512"/>
                  </a:lnTo>
                  <a:lnTo>
                    <a:pt x="368" y="512"/>
                  </a:lnTo>
                  <a:lnTo>
                    <a:pt x="367" y="512"/>
                  </a:lnTo>
                  <a:lnTo>
                    <a:pt x="367" y="512"/>
                  </a:lnTo>
                  <a:lnTo>
                    <a:pt x="365" y="510"/>
                  </a:lnTo>
                  <a:lnTo>
                    <a:pt x="364" y="510"/>
                  </a:lnTo>
                  <a:lnTo>
                    <a:pt x="363" y="509"/>
                  </a:lnTo>
                  <a:lnTo>
                    <a:pt x="361" y="509"/>
                  </a:lnTo>
                  <a:lnTo>
                    <a:pt x="360" y="508"/>
                  </a:lnTo>
                  <a:lnTo>
                    <a:pt x="358" y="508"/>
                  </a:lnTo>
                  <a:lnTo>
                    <a:pt x="357" y="508"/>
                  </a:lnTo>
                  <a:lnTo>
                    <a:pt x="355" y="507"/>
                  </a:lnTo>
                  <a:lnTo>
                    <a:pt x="353" y="507"/>
                  </a:lnTo>
                  <a:lnTo>
                    <a:pt x="353" y="507"/>
                  </a:lnTo>
                  <a:lnTo>
                    <a:pt x="352" y="507"/>
                  </a:lnTo>
                  <a:lnTo>
                    <a:pt x="352" y="506"/>
                  </a:lnTo>
                  <a:lnTo>
                    <a:pt x="351" y="506"/>
                  </a:lnTo>
                  <a:lnTo>
                    <a:pt x="351" y="506"/>
                  </a:lnTo>
                  <a:lnTo>
                    <a:pt x="350" y="505"/>
                  </a:lnTo>
                  <a:lnTo>
                    <a:pt x="350" y="505"/>
                  </a:lnTo>
                  <a:lnTo>
                    <a:pt x="350" y="505"/>
                  </a:lnTo>
                  <a:lnTo>
                    <a:pt x="350" y="504"/>
                  </a:lnTo>
                  <a:lnTo>
                    <a:pt x="350" y="504"/>
                  </a:lnTo>
                  <a:lnTo>
                    <a:pt x="351" y="501"/>
                  </a:lnTo>
                  <a:lnTo>
                    <a:pt x="351" y="500"/>
                  </a:lnTo>
                  <a:lnTo>
                    <a:pt x="351" y="500"/>
                  </a:lnTo>
                  <a:lnTo>
                    <a:pt x="351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48" y="500"/>
                  </a:lnTo>
                  <a:lnTo>
                    <a:pt x="346" y="500"/>
                  </a:lnTo>
                  <a:lnTo>
                    <a:pt x="345" y="500"/>
                  </a:lnTo>
                  <a:lnTo>
                    <a:pt x="343" y="501"/>
                  </a:lnTo>
                  <a:lnTo>
                    <a:pt x="342" y="501"/>
                  </a:lnTo>
                  <a:lnTo>
                    <a:pt x="341" y="501"/>
                  </a:lnTo>
                  <a:lnTo>
                    <a:pt x="339" y="501"/>
                  </a:lnTo>
                  <a:lnTo>
                    <a:pt x="338" y="501"/>
                  </a:lnTo>
                  <a:lnTo>
                    <a:pt x="334" y="500"/>
                  </a:lnTo>
                  <a:lnTo>
                    <a:pt x="332" y="500"/>
                  </a:lnTo>
                  <a:lnTo>
                    <a:pt x="331" y="500"/>
                  </a:lnTo>
                  <a:lnTo>
                    <a:pt x="330" y="499"/>
                  </a:lnTo>
                  <a:lnTo>
                    <a:pt x="329" y="499"/>
                  </a:lnTo>
                  <a:lnTo>
                    <a:pt x="327" y="498"/>
                  </a:lnTo>
                  <a:lnTo>
                    <a:pt x="327" y="498"/>
                  </a:lnTo>
                  <a:lnTo>
                    <a:pt x="326" y="498"/>
                  </a:lnTo>
                  <a:lnTo>
                    <a:pt x="325" y="498"/>
                  </a:lnTo>
                  <a:lnTo>
                    <a:pt x="324" y="497"/>
                  </a:lnTo>
                  <a:lnTo>
                    <a:pt x="322" y="497"/>
                  </a:lnTo>
                  <a:lnTo>
                    <a:pt x="321" y="497"/>
                  </a:lnTo>
                  <a:lnTo>
                    <a:pt x="320" y="497"/>
                  </a:lnTo>
                  <a:lnTo>
                    <a:pt x="320" y="497"/>
                  </a:lnTo>
                  <a:lnTo>
                    <a:pt x="319" y="498"/>
                  </a:lnTo>
                  <a:lnTo>
                    <a:pt x="318" y="498"/>
                  </a:lnTo>
                  <a:lnTo>
                    <a:pt x="317" y="499"/>
                  </a:lnTo>
                  <a:lnTo>
                    <a:pt x="316" y="500"/>
                  </a:lnTo>
                  <a:lnTo>
                    <a:pt x="315" y="500"/>
                  </a:lnTo>
                  <a:lnTo>
                    <a:pt x="315" y="500"/>
                  </a:lnTo>
                  <a:lnTo>
                    <a:pt x="314" y="500"/>
                  </a:lnTo>
                  <a:lnTo>
                    <a:pt x="314" y="500"/>
                  </a:lnTo>
                  <a:lnTo>
                    <a:pt x="313" y="500"/>
                  </a:lnTo>
                  <a:lnTo>
                    <a:pt x="312" y="499"/>
                  </a:lnTo>
                  <a:lnTo>
                    <a:pt x="311" y="499"/>
                  </a:lnTo>
                  <a:lnTo>
                    <a:pt x="308" y="496"/>
                  </a:lnTo>
                  <a:lnTo>
                    <a:pt x="307" y="496"/>
                  </a:lnTo>
                  <a:lnTo>
                    <a:pt x="306" y="495"/>
                  </a:lnTo>
                  <a:lnTo>
                    <a:pt x="304" y="495"/>
                  </a:lnTo>
                  <a:lnTo>
                    <a:pt x="303" y="494"/>
                  </a:lnTo>
                  <a:lnTo>
                    <a:pt x="302" y="494"/>
                  </a:lnTo>
                  <a:lnTo>
                    <a:pt x="300" y="492"/>
                  </a:lnTo>
                  <a:lnTo>
                    <a:pt x="299" y="492"/>
                  </a:lnTo>
                  <a:lnTo>
                    <a:pt x="298" y="492"/>
                  </a:lnTo>
                  <a:lnTo>
                    <a:pt x="298" y="492"/>
                  </a:lnTo>
                  <a:lnTo>
                    <a:pt x="297" y="492"/>
                  </a:lnTo>
                  <a:lnTo>
                    <a:pt x="297" y="492"/>
                  </a:lnTo>
                  <a:lnTo>
                    <a:pt x="297" y="493"/>
                  </a:lnTo>
                  <a:lnTo>
                    <a:pt x="297" y="493"/>
                  </a:lnTo>
                  <a:lnTo>
                    <a:pt x="297" y="493"/>
                  </a:lnTo>
                  <a:lnTo>
                    <a:pt x="297" y="494"/>
                  </a:lnTo>
                  <a:lnTo>
                    <a:pt x="297" y="496"/>
                  </a:lnTo>
                  <a:lnTo>
                    <a:pt x="297" y="497"/>
                  </a:lnTo>
                  <a:lnTo>
                    <a:pt x="297" y="497"/>
                  </a:lnTo>
                  <a:lnTo>
                    <a:pt x="297" y="498"/>
                  </a:lnTo>
                  <a:lnTo>
                    <a:pt x="297" y="498"/>
                  </a:lnTo>
                  <a:lnTo>
                    <a:pt x="296" y="498"/>
                  </a:lnTo>
                  <a:lnTo>
                    <a:pt x="296" y="498"/>
                  </a:lnTo>
                  <a:lnTo>
                    <a:pt x="296" y="498"/>
                  </a:lnTo>
                  <a:lnTo>
                    <a:pt x="294" y="498"/>
                  </a:lnTo>
                  <a:lnTo>
                    <a:pt x="293" y="498"/>
                  </a:lnTo>
                  <a:lnTo>
                    <a:pt x="292" y="498"/>
                  </a:lnTo>
                  <a:lnTo>
                    <a:pt x="291" y="498"/>
                  </a:lnTo>
                  <a:lnTo>
                    <a:pt x="290" y="499"/>
                  </a:lnTo>
                  <a:lnTo>
                    <a:pt x="289" y="499"/>
                  </a:lnTo>
                  <a:lnTo>
                    <a:pt x="288" y="500"/>
                  </a:lnTo>
                  <a:lnTo>
                    <a:pt x="285" y="502"/>
                  </a:lnTo>
                  <a:lnTo>
                    <a:pt x="285" y="502"/>
                  </a:lnTo>
                  <a:lnTo>
                    <a:pt x="284" y="502"/>
                  </a:lnTo>
                  <a:lnTo>
                    <a:pt x="284" y="503"/>
                  </a:lnTo>
                  <a:lnTo>
                    <a:pt x="282" y="503"/>
                  </a:lnTo>
                  <a:lnTo>
                    <a:pt x="281" y="503"/>
                  </a:lnTo>
                  <a:lnTo>
                    <a:pt x="280" y="503"/>
                  </a:lnTo>
                  <a:lnTo>
                    <a:pt x="279" y="503"/>
                  </a:lnTo>
                  <a:lnTo>
                    <a:pt x="277" y="503"/>
                  </a:lnTo>
                  <a:lnTo>
                    <a:pt x="276" y="503"/>
                  </a:lnTo>
                  <a:lnTo>
                    <a:pt x="275" y="502"/>
                  </a:lnTo>
                  <a:lnTo>
                    <a:pt x="275" y="502"/>
                  </a:lnTo>
                  <a:lnTo>
                    <a:pt x="275" y="502"/>
                  </a:lnTo>
                  <a:lnTo>
                    <a:pt x="274" y="502"/>
                  </a:lnTo>
                  <a:lnTo>
                    <a:pt x="274" y="501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3" y="498"/>
                  </a:lnTo>
                  <a:lnTo>
                    <a:pt x="272" y="497"/>
                  </a:lnTo>
                  <a:lnTo>
                    <a:pt x="271" y="497"/>
                  </a:lnTo>
                  <a:lnTo>
                    <a:pt x="270" y="496"/>
                  </a:lnTo>
                  <a:lnTo>
                    <a:pt x="270" y="496"/>
                  </a:lnTo>
                  <a:lnTo>
                    <a:pt x="268" y="495"/>
                  </a:lnTo>
                  <a:lnTo>
                    <a:pt x="267" y="494"/>
                  </a:lnTo>
                  <a:lnTo>
                    <a:pt x="265" y="494"/>
                  </a:lnTo>
                  <a:lnTo>
                    <a:pt x="265" y="494"/>
                  </a:lnTo>
                  <a:lnTo>
                    <a:pt x="264" y="493"/>
                  </a:lnTo>
                  <a:lnTo>
                    <a:pt x="264" y="493"/>
                  </a:lnTo>
                  <a:lnTo>
                    <a:pt x="263" y="492"/>
                  </a:lnTo>
                  <a:lnTo>
                    <a:pt x="263" y="492"/>
                  </a:lnTo>
                  <a:lnTo>
                    <a:pt x="262" y="490"/>
                  </a:lnTo>
                  <a:lnTo>
                    <a:pt x="261" y="489"/>
                  </a:lnTo>
                  <a:lnTo>
                    <a:pt x="260" y="489"/>
                  </a:lnTo>
                  <a:lnTo>
                    <a:pt x="259" y="488"/>
                  </a:lnTo>
                  <a:lnTo>
                    <a:pt x="258" y="487"/>
                  </a:lnTo>
                  <a:lnTo>
                    <a:pt x="257" y="487"/>
                  </a:lnTo>
                  <a:lnTo>
                    <a:pt x="255" y="486"/>
                  </a:lnTo>
                  <a:lnTo>
                    <a:pt x="254" y="486"/>
                  </a:lnTo>
                  <a:lnTo>
                    <a:pt x="254" y="486"/>
                  </a:lnTo>
                  <a:lnTo>
                    <a:pt x="253" y="486"/>
                  </a:lnTo>
                  <a:lnTo>
                    <a:pt x="252" y="486"/>
                  </a:lnTo>
                  <a:lnTo>
                    <a:pt x="251" y="486"/>
                  </a:lnTo>
                  <a:lnTo>
                    <a:pt x="249" y="487"/>
                  </a:lnTo>
                  <a:lnTo>
                    <a:pt x="246" y="488"/>
                  </a:lnTo>
                  <a:lnTo>
                    <a:pt x="245" y="488"/>
                  </a:lnTo>
                  <a:lnTo>
                    <a:pt x="244" y="488"/>
                  </a:lnTo>
                  <a:lnTo>
                    <a:pt x="244" y="489"/>
                  </a:lnTo>
                  <a:lnTo>
                    <a:pt x="243" y="490"/>
                  </a:lnTo>
                  <a:lnTo>
                    <a:pt x="243" y="490"/>
                  </a:lnTo>
                  <a:lnTo>
                    <a:pt x="242" y="492"/>
                  </a:lnTo>
                  <a:lnTo>
                    <a:pt x="241" y="494"/>
                  </a:lnTo>
                  <a:lnTo>
                    <a:pt x="240" y="495"/>
                  </a:lnTo>
                  <a:lnTo>
                    <a:pt x="239" y="496"/>
                  </a:lnTo>
                  <a:lnTo>
                    <a:pt x="239" y="498"/>
                  </a:lnTo>
                  <a:lnTo>
                    <a:pt x="238" y="499"/>
                  </a:lnTo>
                  <a:lnTo>
                    <a:pt x="238" y="499"/>
                  </a:lnTo>
                  <a:lnTo>
                    <a:pt x="237" y="499"/>
                  </a:lnTo>
                  <a:lnTo>
                    <a:pt x="237" y="499"/>
                  </a:lnTo>
                  <a:lnTo>
                    <a:pt x="236" y="499"/>
                  </a:lnTo>
                  <a:lnTo>
                    <a:pt x="236" y="499"/>
                  </a:lnTo>
                  <a:lnTo>
                    <a:pt x="234" y="499"/>
                  </a:lnTo>
                  <a:lnTo>
                    <a:pt x="233" y="499"/>
                  </a:lnTo>
                  <a:lnTo>
                    <a:pt x="231" y="499"/>
                  </a:lnTo>
                  <a:lnTo>
                    <a:pt x="228" y="500"/>
                  </a:lnTo>
                  <a:lnTo>
                    <a:pt x="220" y="500"/>
                  </a:lnTo>
                  <a:lnTo>
                    <a:pt x="219" y="500"/>
                  </a:lnTo>
                  <a:lnTo>
                    <a:pt x="215" y="500"/>
                  </a:lnTo>
                  <a:lnTo>
                    <a:pt x="214" y="500"/>
                  </a:lnTo>
                  <a:lnTo>
                    <a:pt x="213" y="500"/>
                  </a:lnTo>
                  <a:lnTo>
                    <a:pt x="211" y="501"/>
                  </a:lnTo>
                  <a:lnTo>
                    <a:pt x="210" y="501"/>
                  </a:lnTo>
                  <a:lnTo>
                    <a:pt x="208" y="501"/>
                  </a:lnTo>
                  <a:lnTo>
                    <a:pt x="206" y="501"/>
                  </a:lnTo>
                  <a:lnTo>
                    <a:pt x="206" y="501"/>
                  </a:lnTo>
                  <a:lnTo>
                    <a:pt x="205" y="501"/>
                  </a:lnTo>
                  <a:lnTo>
                    <a:pt x="204" y="501"/>
                  </a:lnTo>
                  <a:lnTo>
                    <a:pt x="203" y="501"/>
                  </a:lnTo>
                  <a:lnTo>
                    <a:pt x="202" y="502"/>
                  </a:lnTo>
                  <a:lnTo>
                    <a:pt x="200" y="501"/>
                  </a:lnTo>
                  <a:lnTo>
                    <a:pt x="200" y="501"/>
                  </a:lnTo>
                  <a:lnTo>
                    <a:pt x="199" y="501"/>
                  </a:lnTo>
                  <a:lnTo>
                    <a:pt x="198" y="501"/>
                  </a:lnTo>
                  <a:lnTo>
                    <a:pt x="197" y="500"/>
                  </a:lnTo>
                  <a:lnTo>
                    <a:pt x="197" y="500"/>
                  </a:lnTo>
                  <a:lnTo>
                    <a:pt x="196" y="499"/>
                  </a:lnTo>
                  <a:lnTo>
                    <a:pt x="196" y="499"/>
                  </a:lnTo>
                  <a:lnTo>
                    <a:pt x="195" y="498"/>
                  </a:lnTo>
                  <a:lnTo>
                    <a:pt x="195" y="498"/>
                  </a:lnTo>
                  <a:lnTo>
                    <a:pt x="195" y="497"/>
                  </a:lnTo>
                  <a:lnTo>
                    <a:pt x="195" y="496"/>
                  </a:lnTo>
                  <a:lnTo>
                    <a:pt x="195" y="495"/>
                  </a:lnTo>
                  <a:lnTo>
                    <a:pt x="195" y="493"/>
                  </a:lnTo>
                  <a:lnTo>
                    <a:pt x="195" y="489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2" y="487"/>
                  </a:lnTo>
                  <a:lnTo>
                    <a:pt x="190" y="488"/>
                  </a:lnTo>
                  <a:lnTo>
                    <a:pt x="189" y="488"/>
                  </a:lnTo>
                  <a:lnTo>
                    <a:pt x="188" y="489"/>
                  </a:lnTo>
                  <a:lnTo>
                    <a:pt x="185" y="490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80" y="493"/>
                  </a:lnTo>
                  <a:lnTo>
                    <a:pt x="180" y="493"/>
                  </a:lnTo>
                  <a:lnTo>
                    <a:pt x="179" y="494"/>
                  </a:lnTo>
                  <a:lnTo>
                    <a:pt x="179" y="494"/>
                  </a:lnTo>
                  <a:lnTo>
                    <a:pt x="179" y="495"/>
                  </a:lnTo>
                  <a:lnTo>
                    <a:pt x="178" y="497"/>
                  </a:lnTo>
                  <a:lnTo>
                    <a:pt x="177" y="499"/>
                  </a:lnTo>
                  <a:lnTo>
                    <a:pt x="176" y="500"/>
                  </a:lnTo>
                  <a:lnTo>
                    <a:pt x="176" y="501"/>
                  </a:lnTo>
                  <a:lnTo>
                    <a:pt x="175" y="502"/>
                  </a:lnTo>
                  <a:lnTo>
                    <a:pt x="175" y="503"/>
                  </a:lnTo>
                  <a:lnTo>
                    <a:pt x="174" y="503"/>
                  </a:lnTo>
                  <a:lnTo>
                    <a:pt x="174" y="504"/>
                  </a:lnTo>
                  <a:lnTo>
                    <a:pt x="173" y="504"/>
                  </a:lnTo>
                  <a:lnTo>
                    <a:pt x="173" y="504"/>
                  </a:lnTo>
                  <a:lnTo>
                    <a:pt x="171" y="505"/>
                  </a:lnTo>
                  <a:lnTo>
                    <a:pt x="171" y="505"/>
                  </a:lnTo>
                  <a:lnTo>
                    <a:pt x="170" y="505"/>
                  </a:lnTo>
                  <a:lnTo>
                    <a:pt x="168" y="507"/>
                  </a:lnTo>
                  <a:lnTo>
                    <a:pt x="167" y="507"/>
                  </a:lnTo>
                  <a:lnTo>
                    <a:pt x="166" y="508"/>
                  </a:lnTo>
                  <a:lnTo>
                    <a:pt x="166" y="508"/>
                  </a:lnTo>
                  <a:lnTo>
                    <a:pt x="165" y="508"/>
                  </a:lnTo>
                  <a:lnTo>
                    <a:pt x="164" y="508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59" y="509"/>
                  </a:lnTo>
                  <a:lnTo>
                    <a:pt x="158" y="510"/>
                  </a:lnTo>
                  <a:lnTo>
                    <a:pt x="157" y="510"/>
                  </a:lnTo>
                  <a:lnTo>
                    <a:pt x="155" y="511"/>
                  </a:lnTo>
                  <a:lnTo>
                    <a:pt x="155" y="512"/>
                  </a:lnTo>
                  <a:lnTo>
                    <a:pt x="154" y="512"/>
                  </a:lnTo>
                  <a:lnTo>
                    <a:pt x="153" y="513"/>
                  </a:lnTo>
                  <a:lnTo>
                    <a:pt x="152" y="513"/>
                  </a:lnTo>
                  <a:lnTo>
                    <a:pt x="151" y="513"/>
                  </a:lnTo>
                  <a:lnTo>
                    <a:pt x="150" y="513"/>
                  </a:lnTo>
                  <a:lnTo>
                    <a:pt x="149" y="513"/>
                  </a:lnTo>
                  <a:lnTo>
                    <a:pt x="148" y="512"/>
                  </a:lnTo>
                  <a:lnTo>
                    <a:pt x="147" y="512"/>
                  </a:lnTo>
                  <a:lnTo>
                    <a:pt x="147" y="512"/>
                  </a:lnTo>
                  <a:lnTo>
                    <a:pt x="145" y="511"/>
                  </a:lnTo>
                  <a:lnTo>
                    <a:pt x="144" y="511"/>
                  </a:lnTo>
                  <a:lnTo>
                    <a:pt x="144" y="510"/>
                  </a:lnTo>
                  <a:lnTo>
                    <a:pt x="143" y="510"/>
                  </a:lnTo>
                  <a:lnTo>
                    <a:pt x="143" y="509"/>
                  </a:lnTo>
                  <a:lnTo>
                    <a:pt x="142" y="509"/>
                  </a:lnTo>
                  <a:lnTo>
                    <a:pt x="142" y="509"/>
                  </a:lnTo>
                  <a:lnTo>
                    <a:pt x="140" y="508"/>
                  </a:lnTo>
                  <a:lnTo>
                    <a:pt x="140" y="507"/>
                  </a:lnTo>
                  <a:lnTo>
                    <a:pt x="137" y="506"/>
                  </a:lnTo>
                  <a:lnTo>
                    <a:pt x="137" y="505"/>
                  </a:lnTo>
                  <a:lnTo>
                    <a:pt x="136" y="505"/>
                  </a:lnTo>
                  <a:lnTo>
                    <a:pt x="136" y="505"/>
                  </a:lnTo>
                  <a:lnTo>
                    <a:pt x="135" y="505"/>
                  </a:lnTo>
                  <a:lnTo>
                    <a:pt x="134" y="505"/>
                  </a:lnTo>
                  <a:lnTo>
                    <a:pt x="133" y="505"/>
                  </a:lnTo>
                  <a:lnTo>
                    <a:pt x="132" y="505"/>
                  </a:lnTo>
                  <a:lnTo>
                    <a:pt x="130" y="507"/>
                  </a:lnTo>
                  <a:lnTo>
                    <a:pt x="129" y="507"/>
                  </a:lnTo>
                  <a:lnTo>
                    <a:pt x="128" y="507"/>
                  </a:lnTo>
                  <a:lnTo>
                    <a:pt x="128" y="508"/>
                  </a:lnTo>
                  <a:lnTo>
                    <a:pt x="127" y="508"/>
                  </a:lnTo>
                  <a:lnTo>
                    <a:pt x="127" y="508"/>
                  </a:lnTo>
                  <a:lnTo>
                    <a:pt x="126" y="507"/>
                  </a:lnTo>
                  <a:lnTo>
                    <a:pt x="125" y="507"/>
                  </a:lnTo>
                  <a:lnTo>
                    <a:pt x="125" y="507"/>
                  </a:lnTo>
                  <a:lnTo>
                    <a:pt x="124" y="507"/>
                  </a:lnTo>
                  <a:lnTo>
                    <a:pt x="122" y="505"/>
                  </a:lnTo>
                  <a:lnTo>
                    <a:pt x="122" y="504"/>
                  </a:lnTo>
                  <a:lnTo>
                    <a:pt x="121" y="504"/>
                  </a:lnTo>
                  <a:lnTo>
                    <a:pt x="121" y="504"/>
                  </a:lnTo>
                  <a:lnTo>
                    <a:pt x="120" y="504"/>
                  </a:lnTo>
                  <a:lnTo>
                    <a:pt x="120" y="504"/>
                  </a:lnTo>
                  <a:lnTo>
                    <a:pt x="119" y="504"/>
                  </a:lnTo>
                  <a:lnTo>
                    <a:pt x="119" y="504"/>
                  </a:lnTo>
                  <a:lnTo>
                    <a:pt x="117" y="505"/>
                  </a:lnTo>
                  <a:lnTo>
                    <a:pt x="115" y="506"/>
                  </a:lnTo>
                  <a:lnTo>
                    <a:pt x="112" y="507"/>
                  </a:lnTo>
                  <a:lnTo>
                    <a:pt x="109" y="508"/>
                  </a:lnTo>
                  <a:lnTo>
                    <a:pt x="108" y="508"/>
                  </a:lnTo>
                  <a:lnTo>
                    <a:pt x="106" y="508"/>
                  </a:lnTo>
                  <a:lnTo>
                    <a:pt x="105" y="508"/>
                  </a:lnTo>
                  <a:lnTo>
                    <a:pt x="105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7"/>
                  </a:lnTo>
                  <a:lnTo>
                    <a:pt x="104" y="506"/>
                  </a:lnTo>
                  <a:lnTo>
                    <a:pt x="104" y="505"/>
                  </a:lnTo>
                  <a:lnTo>
                    <a:pt x="104" y="503"/>
                  </a:lnTo>
                  <a:lnTo>
                    <a:pt x="104" y="502"/>
                  </a:lnTo>
                  <a:lnTo>
                    <a:pt x="104" y="501"/>
                  </a:lnTo>
                  <a:lnTo>
                    <a:pt x="104" y="500"/>
                  </a:lnTo>
                  <a:lnTo>
                    <a:pt x="104" y="499"/>
                  </a:lnTo>
                  <a:lnTo>
                    <a:pt x="103" y="497"/>
                  </a:lnTo>
                  <a:lnTo>
                    <a:pt x="103" y="496"/>
                  </a:lnTo>
                  <a:lnTo>
                    <a:pt x="103" y="495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1" y="493"/>
                  </a:lnTo>
                  <a:lnTo>
                    <a:pt x="100" y="492"/>
                  </a:lnTo>
                  <a:lnTo>
                    <a:pt x="99" y="492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7" y="490"/>
                  </a:lnTo>
                  <a:lnTo>
                    <a:pt x="97" y="490"/>
                  </a:lnTo>
                  <a:lnTo>
                    <a:pt x="97" y="489"/>
                  </a:lnTo>
                  <a:lnTo>
                    <a:pt x="97" y="489"/>
                  </a:lnTo>
                  <a:lnTo>
                    <a:pt x="97" y="485"/>
                  </a:lnTo>
                  <a:lnTo>
                    <a:pt x="97" y="484"/>
                  </a:lnTo>
                  <a:lnTo>
                    <a:pt x="97" y="481"/>
                  </a:lnTo>
                  <a:lnTo>
                    <a:pt x="98" y="478"/>
                  </a:lnTo>
                  <a:lnTo>
                    <a:pt x="98" y="476"/>
                  </a:lnTo>
                  <a:lnTo>
                    <a:pt x="98" y="474"/>
                  </a:lnTo>
                  <a:lnTo>
                    <a:pt x="99" y="471"/>
                  </a:lnTo>
                  <a:lnTo>
                    <a:pt x="99" y="469"/>
                  </a:lnTo>
                  <a:lnTo>
                    <a:pt x="99" y="468"/>
                  </a:lnTo>
                  <a:lnTo>
                    <a:pt x="99" y="466"/>
                  </a:lnTo>
                  <a:lnTo>
                    <a:pt x="99" y="464"/>
                  </a:lnTo>
                  <a:lnTo>
                    <a:pt x="99" y="462"/>
                  </a:lnTo>
                  <a:lnTo>
                    <a:pt x="99" y="461"/>
                  </a:lnTo>
                  <a:lnTo>
                    <a:pt x="99" y="460"/>
                  </a:lnTo>
                  <a:lnTo>
                    <a:pt x="99" y="460"/>
                  </a:lnTo>
                  <a:lnTo>
                    <a:pt x="98" y="459"/>
                  </a:lnTo>
                  <a:lnTo>
                    <a:pt x="98" y="459"/>
                  </a:lnTo>
                  <a:lnTo>
                    <a:pt x="98" y="458"/>
                  </a:lnTo>
                  <a:lnTo>
                    <a:pt x="97" y="458"/>
                  </a:lnTo>
                  <a:lnTo>
                    <a:pt x="96" y="457"/>
                  </a:lnTo>
                  <a:lnTo>
                    <a:pt x="95" y="457"/>
                  </a:lnTo>
                  <a:lnTo>
                    <a:pt x="94" y="456"/>
                  </a:lnTo>
                  <a:lnTo>
                    <a:pt x="93" y="456"/>
                  </a:lnTo>
                  <a:lnTo>
                    <a:pt x="92" y="456"/>
                  </a:lnTo>
                  <a:lnTo>
                    <a:pt x="91" y="456"/>
                  </a:lnTo>
                  <a:lnTo>
                    <a:pt x="89" y="456"/>
                  </a:lnTo>
                  <a:lnTo>
                    <a:pt x="88" y="456"/>
                  </a:lnTo>
                  <a:lnTo>
                    <a:pt x="87" y="456"/>
                  </a:lnTo>
                  <a:lnTo>
                    <a:pt x="87" y="456"/>
                  </a:lnTo>
                  <a:lnTo>
                    <a:pt x="87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4"/>
                  </a:lnTo>
                  <a:lnTo>
                    <a:pt x="86" y="453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1"/>
                  </a:lnTo>
                  <a:lnTo>
                    <a:pt x="86" y="451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49"/>
                  </a:lnTo>
                  <a:lnTo>
                    <a:pt x="82" y="449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7"/>
                  </a:lnTo>
                  <a:lnTo>
                    <a:pt x="84" y="447"/>
                  </a:lnTo>
                  <a:lnTo>
                    <a:pt x="85" y="447"/>
                  </a:lnTo>
                  <a:lnTo>
                    <a:pt x="86" y="447"/>
                  </a:lnTo>
                  <a:lnTo>
                    <a:pt x="86" y="447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8" y="445"/>
                  </a:lnTo>
                  <a:lnTo>
                    <a:pt x="88" y="445"/>
                  </a:lnTo>
                  <a:lnTo>
                    <a:pt x="88" y="444"/>
                  </a:lnTo>
                  <a:lnTo>
                    <a:pt x="87" y="443"/>
                  </a:lnTo>
                  <a:lnTo>
                    <a:pt x="87" y="443"/>
                  </a:lnTo>
                  <a:lnTo>
                    <a:pt x="86" y="442"/>
                  </a:lnTo>
                  <a:lnTo>
                    <a:pt x="86" y="441"/>
                  </a:lnTo>
                  <a:lnTo>
                    <a:pt x="84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4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5"/>
                  </a:lnTo>
                  <a:lnTo>
                    <a:pt x="88" y="434"/>
                  </a:lnTo>
                  <a:lnTo>
                    <a:pt x="89" y="433"/>
                  </a:lnTo>
                  <a:lnTo>
                    <a:pt x="90" y="433"/>
                  </a:lnTo>
                  <a:lnTo>
                    <a:pt x="90" y="432"/>
                  </a:lnTo>
                  <a:lnTo>
                    <a:pt x="90" y="432"/>
                  </a:lnTo>
                  <a:lnTo>
                    <a:pt x="91" y="431"/>
                  </a:lnTo>
                  <a:lnTo>
                    <a:pt x="90" y="431"/>
                  </a:lnTo>
                  <a:lnTo>
                    <a:pt x="90" y="431"/>
                  </a:lnTo>
                  <a:lnTo>
                    <a:pt x="90" y="430"/>
                  </a:lnTo>
                  <a:lnTo>
                    <a:pt x="90" y="430"/>
                  </a:lnTo>
                  <a:lnTo>
                    <a:pt x="89" y="430"/>
                  </a:lnTo>
                  <a:lnTo>
                    <a:pt x="89" y="430"/>
                  </a:lnTo>
                  <a:lnTo>
                    <a:pt x="88" y="429"/>
                  </a:lnTo>
                  <a:lnTo>
                    <a:pt x="86" y="429"/>
                  </a:lnTo>
                  <a:lnTo>
                    <a:pt x="85" y="429"/>
                  </a:lnTo>
                  <a:lnTo>
                    <a:pt x="84" y="429"/>
                  </a:lnTo>
                  <a:lnTo>
                    <a:pt x="83" y="429"/>
                  </a:lnTo>
                  <a:lnTo>
                    <a:pt x="81" y="430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8"/>
                  </a:lnTo>
                  <a:lnTo>
                    <a:pt x="78" y="428"/>
                  </a:lnTo>
                  <a:lnTo>
                    <a:pt x="78" y="427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8" y="425"/>
                  </a:lnTo>
                  <a:lnTo>
                    <a:pt x="78" y="424"/>
                  </a:lnTo>
                  <a:lnTo>
                    <a:pt x="79" y="423"/>
                  </a:lnTo>
                  <a:lnTo>
                    <a:pt x="79" y="422"/>
                  </a:lnTo>
                  <a:lnTo>
                    <a:pt x="79" y="421"/>
                  </a:lnTo>
                  <a:lnTo>
                    <a:pt x="80" y="420"/>
                  </a:lnTo>
                  <a:lnTo>
                    <a:pt x="83" y="417"/>
                  </a:lnTo>
                  <a:lnTo>
                    <a:pt x="84" y="415"/>
                  </a:lnTo>
                  <a:lnTo>
                    <a:pt x="84" y="414"/>
                  </a:lnTo>
                  <a:lnTo>
                    <a:pt x="85" y="414"/>
                  </a:lnTo>
                  <a:lnTo>
                    <a:pt x="86" y="413"/>
                  </a:lnTo>
                  <a:lnTo>
                    <a:pt x="87" y="412"/>
                  </a:lnTo>
                  <a:lnTo>
                    <a:pt x="88" y="411"/>
                  </a:lnTo>
                  <a:lnTo>
                    <a:pt x="89" y="411"/>
                  </a:lnTo>
                  <a:lnTo>
                    <a:pt x="90" y="410"/>
                  </a:lnTo>
                  <a:lnTo>
                    <a:pt x="92" y="409"/>
                  </a:lnTo>
                  <a:lnTo>
                    <a:pt x="93" y="409"/>
                  </a:lnTo>
                  <a:lnTo>
                    <a:pt x="94" y="408"/>
                  </a:lnTo>
                  <a:lnTo>
                    <a:pt x="95" y="408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7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101" y="410"/>
                  </a:lnTo>
                  <a:lnTo>
                    <a:pt x="102" y="410"/>
                  </a:lnTo>
                  <a:lnTo>
                    <a:pt x="103" y="411"/>
                  </a:lnTo>
                  <a:lnTo>
                    <a:pt x="103" y="411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7" y="409"/>
                  </a:lnTo>
                  <a:lnTo>
                    <a:pt x="108" y="408"/>
                  </a:lnTo>
                  <a:lnTo>
                    <a:pt x="109" y="406"/>
                  </a:lnTo>
                  <a:lnTo>
                    <a:pt x="110" y="405"/>
                  </a:lnTo>
                  <a:lnTo>
                    <a:pt x="111" y="404"/>
                  </a:lnTo>
                  <a:lnTo>
                    <a:pt x="112" y="403"/>
                  </a:lnTo>
                  <a:lnTo>
                    <a:pt x="115" y="400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17" y="398"/>
                  </a:lnTo>
                  <a:lnTo>
                    <a:pt x="117" y="398"/>
                  </a:lnTo>
                  <a:lnTo>
                    <a:pt x="118" y="397"/>
                  </a:lnTo>
                  <a:lnTo>
                    <a:pt x="118" y="397"/>
                  </a:lnTo>
                  <a:lnTo>
                    <a:pt x="118" y="396"/>
                  </a:lnTo>
                  <a:lnTo>
                    <a:pt x="118" y="395"/>
                  </a:lnTo>
                  <a:lnTo>
                    <a:pt x="117" y="395"/>
                  </a:lnTo>
                  <a:lnTo>
                    <a:pt x="117" y="394"/>
                  </a:lnTo>
                  <a:lnTo>
                    <a:pt x="116" y="394"/>
                  </a:lnTo>
                  <a:lnTo>
                    <a:pt x="116" y="393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3" y="392"/>
                  </a:lnTo>
                  <a:lnTo>
                    <a:pt x="113" y="391"/>
                  </a:lnTo>
                  <a:lnTo>
                    <a:pt x="113" y="390"/>
                  </a:lnTo>
                  <a:lnTo>
                    <a:pt x="114" y="388"/>
                  </a:lnTo>
                  <a:lnTo>
                    <a:pt x="114" y="387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5" y="384"/>
                  </a:lnTo>
                  <a:lnTo>
                    <a:pt x="115" y="383"/>
                  </a:lnTo>
                  <a:lnTo>
                    <a:pt x="115" y="380"/>
                  </a:lnTo>
                  <a:lnTo>
                    <a:pt x="115" y="379"/>
                  </a:lnTo>
                  <a:lnTo>
                    <a:pt x="115" y="378"/>
                  </a:lnTo>
                  <a:lnTo>
                    <a:pt x="115" y="377"/>
                  </a:lnTo>
                  <a:lnTo>
                    <a:pt x="115" y="376"/>
                  </a:lnTo>
                  <a:lnTo>
                    <a:pt x="115" y="376"/>
                  </a:lnTo>
                  <a:lnTo>
                    <a:pt x="116" y="373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7" y="369"/>
                  </a:lnTo>
                  <a:lnTo>
                    <a:pt x="117" y="368"/>
                  </a:lnTo>
                  <a:lnTo>
                    <a:pt x="117" y="367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7" y="361"/>
                  </a:lnTo>
                  <a:lnTo>
                    <a:pt x="118" y="356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9" y="351"/>
                  </a:lnTo>
                  <a:lnTo>
                    <a:pt x="120" y="349"/>
                  </a:lnTo>
                  <a:lnTo>
                    <a:pt x="120" y="348"/>
                  </a:lnTo>
                  <a:lnTo>
                    <a:pt x="121" y="347"/>
                  </a:lnTo>
                  <a:lnTo>
                    <a:pt x="121" y="346"/>
                  </a:lnTo>
                  <a:lnTo>
                    <a:pt x="122" y="346"/>
                  </a:lnTo>
                  <a:lnTo>
                    <a:pt x="122" y="345"/>
                  </a:lnTo>
                  <a:lnTo>
                    <a:pt x="124" y="344"/>
                  </a:lnTo>
                  <a:lnTo>
                    <a:pt x="124" y="343"/>
                  </a:lnTo>
                  <a:lnTo>
                    <a:pt x="125" y="343"/>
                  </a:lnTo>
                  <a:lnTo>
                    <a:pt x="125" y="342"/>
                  </a:lnTo>
                  <a:lnTo>
                    <a:pt x="125" y="341"/>
                  </a:lnTo>
                  <a:lnTo>
                    <a:pt x="125" y="341"/>
                  </a:lnTo>
                  <a:lnTo>
                    <a:pt x="125" y="340"/>
                  </a:lnTo>
                  <a:lnTo>
                    <a:pt x="125" y="339"/>
                  </a:lnTo>
                  <a:lnTo>
                    <a:pt x="125" y="335"/>
                  </a:lnTo>
                  <a:lnTo>
                    <a:pt x="125" y="333"/>
                  </a:lnTo>
                  <a:lnTo>
                    <a:pt x="125" y="329"/>
                  </a:lnTo>
                  <a:lnTo>
                    <a:pt x="124" y="326"/>
                  </a:lnTo>
                  <a:lnTo>
                    <a:pt x="124" y="324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8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7"/>
                  </a:lnTo>
                  <a:lnTo>
                    <a:pt x="122" y="317"/>
                  </a:lnTo>
                  <a:lnTo>
                    <a:pt x="116" y="313"/>
                  </a:lnTo>
                  <a:lnTo>
                    <a:pt x="113" y="312"/>
                  </a:lnTo>
                  <a:lnTo>
                    <a:pt x="112" y="311"/>
                  </a:lnTo>
                  <a:lnTo>
                    <a:pt x="110" y="311"/>
                  </a:lnTo>
                  <a:lnTo>
                    <a:pt x="107" y="310"/>
                  </a:lnTo>
                  <a:lnTo>
                    <a:pt x="104" y="309"/>
                  </a:lnTo>
                  <a:lnTo>
                    <a:pt x="104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2" y="308"/>
                  </a:lnTo>
                  <a:lnTo>
                    <a:pt x="102" y="307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1" y="303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0" y="301"/>
                  </a:lnTo>
                  <a:lnTo>
                    <a:pt x="100" y="301"/>
                  </a:lnTo>
                  <a:lnTo>
                    <a:pt x="99" y="300"/>
                  </a:lnTo>
                  <a:lnTo>
                    <a:pt x="98" y="300"/>
                  </a:lnTo>
                  <a:lnTo>
                    <a:pt x="98" y="299"/>
                  </a:lnTo>
                  <a:lnTo>
                    <a:pt x="97" y="299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2" y="298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6"/>
                  </a:lnTo>
                  <a:lnTo>
                    <a:pt x="85" y="294"/>
                  </a:lnTo>
                  <a:lnTo>
                    <a:pt x="83" y="292"/>
                  </a:lnTo>
                  <a:lnTo>
                    <a:pt x="82" y="291"/>
                  </a:lnTo>
                  <a:lnTo>
                    <a:pt x="80" y="289"/>
                  </a:lnTo>
                  <a:lnTo>
                    <a:pt x="78" y="286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0" y="283"/>
                  </a:lnTo>
                  <a:lnTo>
                    <a:pt x="69" y="283"/>
                  </a:lnTo>
                  <a:lnTo>
                    <a:pt x="68" y="283"/>
                  </a:lnTo>
                  <a:lnTo>
                    <a:pt x="65" y="284"/>
                  </a:lnTo>
                  <a:lnTo>
                    <a:pt x="64" y="284"/>
                  </a:lnTo>
                  <a:lnTo>
                    <a:pt x="63" y="285"/>
                  </a:lnTo>
                  <a:lnTo>
                    <a:pt x="61" y="285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7" y="285"/>
                  </a:lnTo>
                  <a:lnTo>
                    <a:pt x="56" y="285"/>
                  </a:lnTo>
                  <a:lnTo>
                    <a:pt x="55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1" y="284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48" y="282"/>
                  </a:lnTo>
                  <a:lnTo>
                    <a:pt x="47" y="281"/>
                  </a:lnTo>
                  <a:lnTo>
                    <a:pt x="44" y="279"/>
                  </a:lnTo>
                  <a:lnTo>
                    <a:pt x="42" y="277"/>
                  </a:lnTo>
                  <a:lnTo>
                    <a:pt x="40" y="276"/>
                  </a:lnTo>
                  <a:lnTo>
                    <a:pt x="37" y="275"/>
                  </a:lnTo>
                  <a:lnTo>
                    <a:pt x="36" y="274"/>
                  </a:lnTo>
                  <a:lnTo>
                    <a:pt x="35" y="273"/>
                  </a:lnTo>
                  <a:lnTo>
                    <a:pt x="34" y="273"/>
                  </a:lnTo>
                  <a:lnTo>
                    <a:pt x="33" y="272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2" y="271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6" y="267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5" y="265"/>
                  </a:lnTo>
                  <a:lnTo>
                    <a:pt x="34" y="264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0" y="263"/>
                  </a:lnTo>
                  <a:lnTo>
                    <a:pt x="19" y="263"/>
                  </a:lnTo>
                  <a:lnTo>
                    <a:pt x="17" y="263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4" y="264"/>
                  </a:lnTo>
                  <a:lnTo>
                    <a:pt x="12" y="264"/>
                  </a:lnTo>
                  <a:lnTo>
                    <a:pt x="10" y="265"/>
                  </a:lnTo>
                  <a:lnTo>
                    <a:pt x="9" y="266"/>
                  </a:lnTo>
                  <a:lnTo>
                    <a:pt x="8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5"/>
                  </a:lnTo>
                  <a:lnTo>
                    <a:pt x="2" y="265"/>
                  </a:lnTo>
                  <a:lnTo>
                    <a:pt x="1" y="265"/>
                  </a:lnTo>
                  <a:lnTo>
                    <a:pt x="1" y="265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1" y="260"/>
                  </a:lnTo>
                  <a:lnTo>
                    <a:pt x="1" y="259"/>
                  </a:lnTo>
                  <a:lnTo>
                    <a:pt x="2" y="257"/>
                  </a:lnTo>
                  <a:lnTo>
                    <a:pt x="3" y="255"/>
                  </a:lnTo>
                  <a:lnTo>
                    <a:pt x="4" y="254"/>
                  </a:lnTo>
                  <a:lnTo>
                    <a:pt x="5" y="252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0"/>
                  </a:lnTo>
                  <a:lnTo>
                    <a:pt x="6" y="249"/>
                  </a:lnTo>
                  <a:lnTo>
                    <a:pt x="6" y="248"/>
                  </a:lnTo>
                  <a:lnTo>
                    <a:pt x="6" y="247"/>
                  </a:lnTo>
                  <a:lnTo>
                    <a:pt x="6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4" y="243"/>
                  </a:lnTo>
                  <a:lnTo>
                    <a:pt x="3" y="242"/>
                  </a:lnTo>
                  <a:lnTo>
                    <a:pt x="2" y="241"/>
                  </a:lnTo>
                  <a:lnTo>
                    <a:pt x="2" y="240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8"/>
                  </a:lnTo>
                  <a:lnTo>
                    <a:pt x="2" y="237"/>
                  </a:lnTo>
                  <a:lnTo>
                    <a:pt x="3" y="237"/>
                  </a:lnTo>
                  <a:lnTo>
                    <a:pt x="4" y="236"/>
                  </a:lnTo>
                  <a:lnTo>
                    <a:pt x="5" y="235"/>
                  </a:lnTo>
                  <a:lnTo>
                    <a:pt x="6" y="234"/>
                  </a:lnTo>
                  <a:lnTo>
                    <a:pt x="7" y="233"/>
                  </a:lnTo>
                  <a:lnTo>
                    <a:pt x="8" y="233"/>
                  </a:lnTo>
                  <a:lnTo>
                    <a:pt x="9" y="232"/>
                  </a:lnTo>
                  <a:lnTo>
                    <a:pt x="10" y="232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3" y="231"/>
                  </a:lnTo>
                  <a:lnTo>
                    <a:pt x="14" y="231"/>
                  </a:lnTo>
                  <a:lnTo>
                    <a:pt x="15" y="231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7" y="231"/>
                  </a:lnTo>
                  <a:lnTo>
                    <a:pt x="17" y="230"/>
                  </a:lnTo>
                  <a:lnTo>
                    <a:pt x="18" y="230"/>
                  </a:lnTo>
                  <a:lnTo>
                    <a:pt x="19" y="228"/>
                  </a:lnTo>
                  <a:lnTo>
                    <a:pt x="19" y="227"/>
                  </a:lnTo>
                  <a:lnTo>
                    <a:pt x="20" y="226"/>
                  </a:lnTo>
                  <a:lnTo>
                    <a:pt x="21" y="224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2" y="223"/>
                  </a:lnTo>
                  <a:lnTo>
                    <a:pt x="22" y="222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6"/>
                  </a:lnTo>
                  <a:lnTo>
                    <a:pt x="26" y="215"/>
                  </a:lnTo>
                  <a:lnTo>
                    <a:pt x="26" y="215"/>
                  </a:lnTo>
                  <a:lnTo>
                    <a:pt x="26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6"/>
                  </a:lnTo>
                  <a:lnTo>
                    <a:pt x="29" y="206"/>
                  </a:lnTo>
                  <a:lnTo>
                    <a:pt x="29" y="205"/>
                  </a:lnTo>
                  <a:lnTo>
                    <a:pt x="31" y="203"/>
                  </a:lnTo>
                  <a:lnTo>
                    <a:pt x="33" y="202"/>
                  </a:lnTo>
                  <a:lnTo>
                    <a:pt x="34" y="201"/>
                  </a:lnTo>
                  <a:lnTo>
                    <a:pt x="36" y="200"/>
                  </a:lnTo>
                  <a:lnTo>
                    <a:pt x="36" y="199"/>
                  </a:lnTo>
                  <a:lnTo>
                    <a:pt x="38" y="198"/>
                  </a:lnTo>
                  <a:lnTo>
                    <a:pt x="40" y="197"/>
                  </a:lnTo>
                  <a:lnTo>
                    <a:pt x="41" y="196"/>
                  </a:lnTo>
                  <a:lnTo>
                    <a:pt x="42" y="195"/>
                  </a:lnTo>
                  <a:lnTo>
                    <a:pt x="43" y="195"/>
                  </a:lnTo>
                  <a:lnTo>
                    <a:pt x="44" y="194"/>
                  </a:lnTo>
                  <a:lnTo>
                    <a:pt x="45" y="194"/>
                  </a:lnTo>
                  <a:lnTo>
                    <a:pt x="47" y="194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51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4"/>
                  </a:lnTo>
                  <a:lnTo>
                    <a:pt x="57" y="193"/>
                  </a:lnTo>
                  <a:lnTo>
                    <a:pt x="59" y="193"/>
                  </a:lnTo>
                  <a:lnTo>
                    <a:pt x="60" y="192"/>
                  </a:lnTo>
                  <a:lnTo>
                    <a:pt x="61" y="192"/>
                  </a:lnTo>
                  <a:lnTo>
                    <a:pt x="62" y="191"/>
                  </a:lnTo>
                  <a:lnTo>
                    <a:pt x="63" y="190"/>
                  </a:lnTo>
                  <a:lnTo>
                    <a:pt x="64" y="190"/>
                  </a:lnTo>
                  <a:lnTo>
                    <a:pt x="65" y="188"/>
                  </a:lnTo>
                  <a:lnTo>
                    <a:pt x="66" y="18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9" y="184"/>
                  </a:lnTo>
                  <a:lnTo>
                    <a:pt x="72" y="182"/>
                  </a:lnTo>
                  <a:lnTo>
                    <a:pt x="76" y="178"/>
                  </a:lnTo>
                  <a:lnTo>
                    <a:pt x="77" y="177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2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4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7" y="178"/>
                  </a:lnTo>
                  <a:lnTo>
                    <a:pt x="99" y="178"/>
                  </a:lnTo>
                  <a:lnTo>
                    <a:pt x="100" y="178"/>
                  </a:lnTo>
                  <a:lnTo>
                    <a:pt x="101" y="178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1" y="173"/>
                  </a:lnTo>
                  <a:lnTo>
                    <a:pt x="111" y="173"/>
                  </a:lnTo>
                  <a:lnTo>
                    <a:pt x="113" y="172"/>
                  </a:lnTo>
                  <a:lnTo>
                    <a:pt x="113" y="171"/>
                  </a:lnTo>
                  <a:lnTo>
                    <a:pt x="115" y="170"/>
                  </a:lnTo>
                  <a:lnTo>
                    <a:pt x="118" y="167"/>
                  </a:lnTo>
                  <a:lnTo>
                    <a:pt x="119" y="166"/>
                  </a:lnTo>
                  <a:lnTo>
                    <a:pt x="120" y="165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3"/>
                  </a:lnTo>
                  <a:lnTo>
                    <a:pt x="123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7" y="164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69"/>
                  </a:lnTo>
                  <a:lnTo>
                    <a:pt x="136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8" y="167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2" y="162"/>
                  </a:lnTo>
                  <a:lnTo>
                    <a:pt x="143" y="161"/>
                  </a:lnTo>
                  <a:lnTo>
                    <a:pt x="144" y="161"/>
                  </a:lnTo>
                  <a:lnTo>
                    <a:pt x="145" y="160"/>
                  </a:lnTo>
                  <a:lnTo>
                    <a:pt x="146" y="159"/>
                  </a:lnTo>
                  <a:lnTo>
                    <a:pt x="147" y="159"/>
                  </a:lnTo>
                  <a:lnTo>
                    <a:pt x="147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1" y="157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6"/>
                  </a:lnTo>
                  <a:lnTo>
                    <a:pt x="157" y="155"/>
                  </a:lnTo>
                  <a:lnTo>
                    <a:pt x="158" y="154"/>
                  </a:lnTo>
                  <a:lnTo>
                    <a:pt x="160" y="153"/>
                  </a:lnTo>
                  <a:lnTo>
                    <a:pt x="160" y="153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4" y="150"/>
                  </a:lnTo>
                  <a:lnTo>
                    <a:pt x="164" y="149"/>
                  </a:lnTo>
                  <a:lnTo>
                    <a:pt x="165" y="148"/>
                  </a:lnTo>
                  <a:lnTo>
                    <a:pt x="165" y="147"/>
                  </a:lnTo>
                  <a:lnTo>
                    <a:pt x="166" y="146"/>
                  </a:lnTo>
                  <a:lnTo>
                    <a:pt x="166" y="145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68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4" y="143"/>
                  </a:lnTo>
                  <a:lnTo>
                    <a:pt x="174" y="142"/>
                  </a:lnTo>
                  <a:lnTo>
                    <a:pt x="175" y="142"/>
                  </a:lnTo>
                  <a:lnTo>
                    <a:pt x="175" y="142"/>
                  </a:lnTo>
                  <a:lnTo>
                    <a:pt x="175" y="141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39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6" y="134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1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7" y="129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9" y="127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4" y="125"/>
                  </a:lnTo>
                  <a:lnTo>
                    <a:pt x="185" y="125"/>
                  </a:lnTo>
                  <a:lnTo>
                    <a:pt x="186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4" y="126"/>
                  </a:lnTo>
                  <a:lnTo>
                    <a:pt x="198" y="127"/>
                  </a:lnTo>
                  <a:lnTo>
                    <a:pt x="202" y="128"/>
                  </a:lnTo>
                  <a:lnTo>
                    <a:pt x="205" y="129"/>
                  </a:lnTo>
                  <a:lnTo>
                    <a:pt x="207" y="129"/>
                  </a:lnTo>
                  <a:lnTo>
                    <a:pt x="209" y="129"/>
                  </a:lnTo>
                  <a:lnTo>
                    <a:pt x="215" y="130"/>
                  </a:lnTo>
                  <a:lnTo>
                    <a:pt x="217" y="130"/>
                  </a:lnTo>
                  <a:lnTo>
                    <a:pt x="219" y="130"/>
                  </a:lnTo>
                  <a:lnTo>
                    <a:pt x="222" y="130"/>
                  </a:lnTo>
                  <a:lnTo>
                    <a:pt x="224" y="130"/>
                  </a:lnTo>
                  <a:lnTo>
                    <a:pt x="226" y="130"/>
                  </a:lnTo>
                  <a:lnTo>
                    <a:pt x="228" y="129"/>
                  </a:lnTo>
                  <a:lnTo>
                    <a:pt x="230" y="129"/>
                  </a:lnTo>
                  <a:lnTo>
                    <a:pt x="232" y="129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5" y="127"/>
                  </a:lnTo>
                  <a:lnTo>
                    <a:pt x="236" y="127"/>
                  </a:lnTo>
                  <a:lnTo>
                    <a:pt x="236" y="127"/>
                  </a:lnTo>
                  <a:lnTo>
                    <a:pt x="237" y="127"/>
                  </a:lnTo>
                  <a:lnTo>
                    <a:pt x="239" y="128"/>
                  </a:lnTo>
                  <a:lnTo>
                    <a:pt x="241" y="128"/>
                  </a:lnTo>
                  <a:lnTo>
                    <a:pt x="245" y="129"/>
                  </a:lnTo>
                  <a:lnTo>
                    <a:pt x="248" y="130"/>
                  </a:lnTo>
                  <a:lnTo>
                    <a:pt x="250" y="130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6" y="128"/>
                  </a:lnTo>
                  <a:lnTo>
                    <a:pt x="257" y="127"/>
                  </a:lnTo>
                  <a:lnTo>
                    <a:pt x="259" y="125"/>
                  </a:lnTo>
                  <a:lnTo>
                    <a:pt x="260" y="124"/>
                  </a:lnTo>
                  <a:lnTo>
                    <a:pt x="260" y="124"/>
                  </a:lnTo>
                  <a:lnTo>
                    <a:pt x="261" y="124"/>
                  </a:lnTo>
                  <a:lnTo>
                    <a:pt x="262" y="123"/>
                  </a:lnTo>
                  <a:lnTo>
                    <a:pt x="263" y="123"/>
                  </a:lnTo>
                  <a:lnTo>
                    <a:pt x="264" y="123"/>
                  </a:lnTo>
                  <a:lnTo>
                    <a:pt x="270" y="122"/>
                  </a:lnTo>
                  <a:lnTo>
                    <a:pt x="272" y="121"/>
                  </a:lnTo>
                  <a:lnTo>
                    <a:pt x="276" y="121"/>
                  </a:lnTo>
                  <a:lnTo>
                    <a:pt x="277" y="121"/>
                  </a:lnTo>
                  <a:lnTo>
                    <a:pt x="279" y="121"/>
                  </a:lnTo>
                  <a:lnTo>
                    <a:pt x="280" y="121"/>
                  </a:lnTo>
                  <a:lnTo>
                    <a:pt x="282" y="122"/>
                  </a:lnTo>
                  <a:lnTo>
                    <a:pt x="284" y="122"/>
                  </a:lnTo>
                  <a:lnTo>
                    <a:pt x="284" y="122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0"/>
                  </a:lnTo>
                  <a:lnTo>
                    <a:pt x="288" y="120"/>
                  </a:lnTo>
                  <a:lnTo>
                    <a:pt x="288" y="119"/>
                  </a:lnTo>
                  <a:lnTo>
                    <a:pt x="289" y="118"/>
                  </a:lnTo>
                  <a:lnTo>
                    <a:pt x="289" y="117"/>
                  </a:lnTo>
                  <a:lnTo>
                    <a:pt x="289" y="116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91" y="109"/>
                  </a:lnTo>
                  <a:lnTo>
                    <a:pt x="291" y="108"/>
                  </a:lnTo>
                  <a:lnTo>
                    <a:pt x="291" y="106"/>
                  </a:lnTo>
                  <a:lnTo>
                    <a:pt x="291" y="105"/>
                  </a:lnTo>
                  <a:lnTo>
                    <a:pt x="291" y="104"/>
                  </a:lnTo>
                  <a:lnTo>
                    <a:pt x="291" y="103"/>
                  </a:lnTo>
                  <a:lnTo>
                    <a:pt x="290" y="102"/>
                  </a:lnTo>
                  <a:lnTo>
                    <a:pt x="290" y="99"/>
                  </a:lnTo>
                  <a:lnTo>
                    <a:pt x="289" y="98"/>
                  </a:lnTo>
                  <a:lnTo>
                    <a:pt x="289" y="97"/>
                  </a:lnTo>
                  <a:lnTo>
                    <a:pt x="289" y="96"/>
                  </a:lnTo>
                  <a:lnTo>
                    <a:pt x="289" y="95"/>
                  </a:lnTo>
                  <a:lnTo>
                    <a:pt x="289" y="94"/>
                  </a:lnTo>
                  <a:lnTo>
                    <a:pt x="289" y="93"/>
                  </a:lnTo>
                  <a:lnTo>
                    <a:pt x="289" y="91"/>
                  </a:lnTo>
                  <a:lnTo>
                    <a:pt x="289" y="89"/>
                  </a:lnTo>
                  <a:lnTo>
                    <a:pt x="289" y="88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90" y="86"/>
                  </a:lnTo>
                  <a:lnTo>
                    <a:pt x="291" y="86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7" y="88"/>
                  </a:lnTo>
                  <a:lnTo>
                    <a:pt x="298" y="88"/>
                  </a:lnTo>
                  <a:lnTo>
                    <a:pt x="299" y="88"/>
                  </a:lnTo>
                  <a:lnTo>
                    <a:pt x="300" y="88"/>
                  </a:lnTo>
                  <a:lnTo>
                    <a:pt x="301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3" y="88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3" y="86"/>
                  </a:lnTo>
                  <a:lnTo>
                    <a:pt x="303" y="85"/>
                  </a:lnTo>
                  <a:lnTo>
                    <a:pt x="305" y="83"/>
                  </a:lnTo>
                  <a:lnTo>
                    <a:pt x="306" y="80"/>
                  </a:lnTo>
                  <a:lnTo>
                    <a:pt x="306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8" y="78"/>
                  </a:lnTo>
                  <a:lnTo>
                    <a:pt x="311" y="78"/>
                  </a:lnTo>
                  <a:lnTo>
                    <a:pt x="314" y="77"/>
                  </a:lnTo>
                  <a:lnTo>
                    <a:pt x="316" y="76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7" y="75"/>
                  </a:lnTo>
                  <a:lnTo>
                    <a:pt x="318" y="75"/>
                  </a:lnTo>
                  <a:lnTo>
                    <a:pt x="318" y="75"/>
                  </a:lnTo>
                  <a:lnTo>
                    <a:pt x="318" y="74"/>
                  </a:lnTo>
                  <a:lnTo>
                    <a:pt x="319" y="74"/>
                  </a:lnTo>
                  <a:lnTo>
                    <a:pt x="319" y="73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1"/>
                  </a:lnTo>
                  <a:lnTo>
                    <a:pt x="319" y="70"/>
                  </a:lnTo>
                  <a:lnTo>
                    <a:pt x="319" y="67"/>
                  </a:lnTo>
                  <a:lnTo>
                    <a:pt x="319" y="66"/>
                  </a:lnTo>
                  <a:lnTo>
                    <a:pt x="319" y="64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8" y="58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19" y="55"/>
                  </a:lnTo>
                  <a:lnTo>
                    <a:pt x="319" y="54"/>
                  </a:lnTo>
                  <a:lnTo>
                    <a:pt x="320" y="53"/>
                  </a:lnTo>
                  <a:lnTo>
                    <a:pt x="321" y="53"/>
                  </a:lnTo>
                  <a:lnTo>
                    <a:pt x="321" y="52"/>
                  </a:lnTo>
                  <a:lnTo>
                    <a:pt x="322" y="52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5" y="53"/>
                  </a:lnTo>
                  <a:lnTo>
                    <a:pt x="325" y="53"/>
                  </a:lnTo>
                  <a:lnTo>
                    <a:pt x="326" y="53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7" y="54"/>
                  </a:lnTo>
                  <a:lnTo>
                    <a:pt x="328" y="54"/>
                  </a:lnTo>
                  <a:lnTo>
                    <a:pt x="328" y="53"/>
                  </a:lnTo>
                  <a:lnTo>
                    <a:pt x="329" y="53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2" y="51"/>
                  </a:lnTo>
                  <a:lnTo>
                    <a:pt x="333" y="51"/>
                  </a:lnTo>
                  <a:lnTo>
                    <a:pt x="334" y="51"/>
                  </a:lnTo>
                  <a:lnTo>
                    <a:pt x="335" y="51"/>
                  </a:lnTo>
                  <a:lnTo>
                    <a:pt x="335" y="52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0" y="53"/>
                  </a:lnTo>
                  <a:lnTo>
                    <a:pt x="340" y="53"/>
                  </a:lnTo>
                  <a:lnTo>
                    <a:pt x="341" y="53"/>
                  </a:lnTo>
                  <a:lnTo>
                    <a:pt x="341" y="53"/>
                  </a:lnTo>
                  <a:lnTo>
                    <a:pt x="342" y="53"/>
                  </a:lnTo>
                  <a:lnTo>
                    <a:pt x="343" y="53"/>
                  </a:lnTo>
                  <a:lnTo>
                    <a:pt x="344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7" y="51"/>
                  </a:lnTo>
                  <a:lnTo>
                    <a:pt x="348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49" y="51"/>
                  </a:lnTo>
                  <a:lnTo>
                    <a:pt x="350" y="51"/>
                  </a:lnTo>
                  <a:lnTo>
                    <a:pt x="350" y="52"/>
                  </a:lnTo>
                  <a:lnTo>
                    <a:pt x="350" y="52"/>
                  </a:lnTo>
                  <a:lnTo>
                    <a:pt x="350" y="53"/>
                  </a:lnTo>
                  <a:lnTo>
                    <a:pt x="351" y="54"/>
                  </a:lnTo>
                  <a:lnTo>
                    <a:pt x="351" y="55"/>
                  </a:lnTo>
                  <a:lnTo>
                    <a:pt x="352" y="57"/>
                  </a:lnTo>
                  <a:lnTo>
                    <a:pt x="352" y="59"/>
                  </a:lnTo>
                  <a:lnTo>
                    <a:pt x="352" y="60"/>
                  </a:lnTo>
                  <a:lnTo>
                    <a:pt x="353" y="61"/>
                  </a:lnTo>
                  <a:lnTo>
                    <a:pt x="353" y="62"/>
                  </a:lnTo>
                  <a:lnTo>
                    <a:pt x="353" y="62"/>
                  </a:lnTo>
                  <a:lnTo>
                    <a:pt x="354" y="63"/>
                  </a:lnTo>
                  <a:lnTo>
                    <a:pt x="354" y="63"/>
                  </a:lnTo>
                  <a:lnTo>
                    <a:pt x="355" y="64"/>
                  </a:lnTo>
                  <a:lnTo>
                    <a:pt x="355" y="64"/>
                  </a:lnTo>
                  <a:lnTo>
                    <a:pt x="356" y="64"/>
                  </a:lnTo>
                  <a:lnTo>
                    <a:pt x="356" y="65"/>
                  </a:lnTo>
                  <a:lnTo>
                    <a:pt x="357" y="65"/>
                  </a:lnTo>
                  <a:lnTo>
                    <a:pt x="358" y="65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7" y="63"/>
                  </a:lnTo>
                  <a:lnTo>
                    <a:pt x="368" y="62"/>
                  </a:lnTo>
                  <a:lnTo>
                    <a:pt x="369" y="62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81" y="61"/>
                  </a:lnTo>
                  <a:lnTo>
                    <a:pt x="382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6" y="58"/>
                  </a:lnTo>
                  <a:lnTo>
                    <a:pt x="389" y="56"/>
                  </a:lnTo>
                  <a:lnTo>
                    <a:pt x="391" y="55"/>
                  </a:lnTo>
                  <a:lnTo>
                    <a:pt x="391" y="54"/>
                  </a:lnTo>
                  <a:lnTo>
                    <a:pt x="392" y="53"/>
                  </a:lnTo>
                  <a:lnTo>
                    <a:pt x="393" y="52"/>
                  </a:lnTo>
                  <a:lnTo>
                    <a:pt x="395" y="49"/>
                  </a:lnTo>
                  <a:lnTo>
                    <a:pt x="395" y="49"/>
                  </a:lnTo>
                  <a:lnTo>
                    <a:pt x="396" y="48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9" y="46"/>
                  </a:lnTo>
                  <a:lnTo>
                    <a:pt x="400" y="45"/>
                  </a:lnTo>
                  <a:lnTo>
                    <a:pt x="400" y="44"/>
                  </a:lnTo>
                  <a:lnTo>
                    <a:pt x="401" y="44"/>
                  </a:lnTo>
                  <a:lnTo>
                    <a:pt x="401" y="43"/>
                  </a:lnTo>
                  <a:lnTo>
                    <a:pt x="402" y="42"/>
                  </a:lnTo>
                  <a:lnTo>
                    <a:pt x="402" y="41"/>
                  </a:lnTo>
                  <a:lnTo>
                    <a:pt x="402" y="40"/>
                  </a:lnTo>
                  <a:lnTo>
                    <a:pt x="403" y="39"/>
                  </a:lnTo>
                  <a:lnTo>
                    <a:pt x="403" y="35"/>
                  </a:lnTo>
                  <a:lnTo>
                    <a:pt x="403" y="34"/>
                  </a:lnTo>
                  <a:lnTo>
                    <a:pt x="403" y="33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1"/>
                  </a:lnTo>
                  <a:lnTo>
                    <a:pt x="406" y="31"/>
                  </a:lnTo>
                  <a:lnTo>
                    <a:pt x="407" y="30"/>
                  </a:lnTo>
                  <a:lnTo>
                    <a:pt x="407" y="30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1" y="30"/>
                  </a:lnTo>
                  <a:lnTo>
                    <a:pt x="413" y="31"/>
                  </a:lnTo>
                  <a:lnTo>
                    <a:pt x="415" y="31"/>
                  </a:lnTo>
                  <a:lnTo>
                    <a:pt x="417" y="32"/>
                  </a:lnTo>
                  <a:lnTo>
                    <a:pt x="420" y="33"/>
                  </a:lnTo>
                  <a:lnTo>
                    <a:pt x="422" y="33"/>
                  </a:lnTo>
                  <a:lnTo>
                    <a:pt x="423" y="33"/>
                  </a:lnTo>
                  <a:lnTo>
                    <a:pt x="423" y="33"/>
                  </a:lnTo>
                  <a:lnTo>
                    <a:pt x="424" y="33"/>
                  </a:lnTo>
                  <a:lnTo>
                    <a:pt x="425" y="33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29" y="31"/>
                  </a:lnTo>
                  <a:lnTo>
                    <a:pt x="430" y="31"/>
                  </a:lnTo>
                  <a:lnTo>
                    <a:pt x="430" y="30"/>
                  </a:lnTo>
                  <a:lnTo>
                    <a:pt x="431" y="29"/>
                  </a:lnTo>
                  <a:lnTo>
                    <a:pt x="431" y="29"/>
                  </a:lnTo>
                  <a:lnTo>
                    <a:pt x="432" y="28"/>
                  </a:lnTo>
                  <a:lnTo>
                    <a:pt x="432" y="28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3" y="24"/>
                  </a:lnTo>
                  <a:lnTo>
                    <a:pt x="433" y="23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4" y="22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7" y="20"/>
                  </a:lnTo>
                  <a:lnTo>
                    <a:pt x="437" y="19"/>
                  </a:lnTo>
                  <a:lnTo>
                    <a:pt x="439" y="18"/>
                  </a:lnTo>
                  <a:lnTo>
                    <a:pt x="443" y="16"/>
                  </a:lnTo>
                  <a:lnTo>
                    <a:pt x="444" y="16"/>
                  </a:lnTo>
                  <a:lnTo>
                    <a:pt x="445" y="15"/>
                  </a:lnTo>
                  <a:lnTo>
                    <a:pt x="445" y="15"/>
                  </a:lnTo>
                  <a:lnTo>
                    <a:pt x="446" y="14"/>
                  </a:lnTo>
                  <a:lnTo>
                    <a:pt x="446" y="14"/>
                  </a:lnTo>
                  <a:lnTo>
                    <a:pt x="447" y="13"/>
                  </a:lnTo>
                  <a:lnTo>
                    <a:pt x="447" y="12"/>
                  </a:lnTo>
                  <a:lnTo>
                    <a:pt x="447" y="11"/>
                  </a:lnTo>
                  <a:lnTo>
                    <a:pt x="447" y="9"/>
                  </a:lnTo>
                  <a:lnTo>
                    <a:pt x="447" y="8"/>
                  </a:lnTo>
                  <a:lnTo>
                    <a:pt x="448" y="6"/>
                  </a:lnTo>
                  <a:lnTo>
                    <a:pt x="449" y="4"/>
                  </a:lnTo>
                  <a:lnTo>
                    <a:pt x="450" y="3"/>
                  </a:lnTo>
                  <a:lnTo>
                    <a:pt x="45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1" y="0"/>
                  </a:lnTo>
                  <a:lnTo>
                    <a:pt x="451" y="0"/>
                  </a:lnTo>
                  <a:close/>
                  <a:moveTo>
                    <a:pt x="335" y="203"/>
                  </a:moveTo>
                  <a:lnTo>
                    <a:pt x="335" y="204"/>
                  </a:lnTo>
                  <a:lnTo>
                    <a:pt x="334" y="204"/>
                  </a:lnTo>
                  <a:lnTo>
                    <a:pt x="332" y="204"/>
                  </a:lnTo>
                  <a:lnTo>
                    <a:pt x="327" y="205"/>
                  </a:lnTo>
                  <a:lnTo>
                    <a:pt x="325" y="206"/>
                  </a:lnTo>
                  <a:lnTo>
                    <a:pt x="323" y="206"/>
                  </a:lnTo>
                  <a:lnTo>
                    <a:pt x="321" y="207"/>
                  </a:lnTo>
                  <a:lnTo>
                    <a:pt x="319" y="208"/>
                  </a:lnTo>
                  <a:lnTo>
                    <a:pt x="318" y="208"/>
                  </a:lnTo>
                  <a:lnTo>
                    <a:pt x="315" y="210"/>
                  </a:lnTo>
                  <a:lnTo>
                    <a:pt x="314" y="211"/>
                  </a:lnTo>
                  <a:lnTo>
                    <a:pt x="312" y="212"/>
                  </a:lnTo>
                  <a:lnTo>
                    <a:pt x="309" y="212"/>
                  </a:lnTo>
                  <a:lnTo>
                    <a:pt x="307" y="213"/>
                  </a:lnTo>
                  <a:lnTo>
                    <a:pt x="306" y="213"/>
                  </a:lnTo>
                  <a:lnTo>
                    <a:pt x="302" y="215"/>
                  </a:lnTo>
                  <a:lnTo>
                    <a:pt x="301" y="216"/>
                  </a:lnTo>
                  <a:lnTo>
                    <a:pt x="300" y="217"/>
                  </a:lnTo>
                  <a:lnTo>
                    <a:pt x="297" y="217"/>
                  </a:lnTo>
                  <a:lnTo>
                    <a:pt x="296" y="217"/>
                  </a:lnTo>
                  <a:lnTo>
                    <a:pt x="295" y="218"/>
                  </a:lnTo>
                  <a:lnTo>
                    <a:pt x="292" y="218"/>
                  </a:lnTo>
                  <a:lnTo>
                    <a:pt x="291" y="218"/>
                  </a:lnTo>
                  <a:lnTo>
                    <a:pt x="289" y="218"/>
                  </a:lnTo>
                  <a:lnTo>
                    <a:pt x="289" y="219"/>
                  </a:lnTo>
                  <a:lnTo>
                    <a:pt x="288" y="219"/>
                  </a:lnTo>
                  <a:lnTo>
                    <a:pt x="287" y="219"/>
                  </a:lnTo>
                  <a:lnTo>
                    <a:pt x="287" y="220"/>
                  </a:lnTo>
                  <a:lnTo>
                    <a:pt x="286" y="220"/>
                  </a:lnTo>
                  <a:lnTo>
                    <a:pt x="286" y="221"/>
                  </a:lnTo>
                  <a:lnTo>
                    <a:pt x="285" y="222"/>
                  </a:lnTo>
                  <a:lnTo>
                    <a:pt x="285" y="223"/>
                  </a:lnTo>
                  <a:lnTo>
                    <a:pt x="285" y="224"/>
                  </a:lnTo>
                  <a:lnTo>
                    <a:pt x="284" y="226"/>
                  </a:lnTo>
                  <a:lnTo>
                    <a:pt x="284" y="227"/>
                  </a:lnTo>
                  <a:lnTo>
                    <a:pt x="283" y="228"/>
                  </a:lnTo>
                  <a:lnTo>
                    <a:pt x="283" y="229"/>
                  </a:lnTo>
                  <a:lnTo>
                    <a:pt x="283" y="229"/>
                  </a:lnTo>
                  <a:lnTo>
                    <a:pt x="282" y="229"/>
                  </a:lnTo>
                  <a:lnTo>
                    <a:pt x="282" y="230"/>
                  </a:lnTo>
                  <a:lnTo>
                    <a:pt x="281" y="230"/>
                  </a:lnTo>
                  <a:lnTo>
                    <a:pt x="279" y="230"/>
                  </a:lnTo>
                  <a:lnTo>
                    <a:pt x="278" y="230"/>
                  </a:lnTo>
                  <a:lnTo>
                    <a:pt x="276" y="230"/>
                  </a:lnTo>
                  <a:lnTo>
                    <a:pt x="275" y="230"/>
                  </a:lnTo>
                  <a:lnTo>
                    <a:pt x="275" y="229"/>
                  </a:lnTo>
                  <a:lnTo>
                    <a:pt x="274" y="229"/>
                  </a:lnTo>
                  <a:lnTo>
                    <a:pt x="272" y="228"/>
                  </a:lnTo>
                  <a:lnTo>
                    <a:pt x="271" y="228"/>
                  </a:lnTo>
                  <a:lnTo>
                    <a:pt x="271" y="227"/>
                  </a:lnTo>
                  <a:lnTo>
                    <a:pt x="270" y="227"/>
                  </a:lnTo>
                  <a:lnTo>
                    <a:pt x="269" y="227"/>
                  </a:lnTo>
                  <a:lnTo>
                    <a:pt x="269" y="227"/>
                  </a:lnTo>
                  <a:lnTo>
                    <a:pt x="268" y="227"/>
                  </a:lnTo>
                  <a:lnTo>
                    <a:pt x="268" y="227"/>
                  </a:lnTo>
                  <a:lnTo>
                    <a:pt x="267" y="228"/>
                  </a:lnTo>
                  <a:lnTo>
                    <a:pt x="264" y="229"/>
                  </a:lnTo>
                  <a:lnTo>
                    <a:pt x="263" y="230"/>
                  </a:lnTo>
                  <a:lnTo>
                    <a:pt x="262" y="230"/>
                  </a:lnTo>
                  <a:lnTo>
                    <a:pt x="259" y="231"/>
                  </a:lnTo>
                  <a:lnTo>
                    <a:pt x="257" y="231"/>
                  </a:lnTo>
                  <a:lnTo>
                    <a:pt x="254" y="232"/>
                  </a:lnTo>
                  <a:lnTo>
                    <a:pt x="252" y="233"/>
                  </a:lnTo>
                  <a:lnTo>
                    <a:pt x="251" y="234"/>
                  </a:lnTo>
                  <a:lnTo>
                    <a:pt x="250" y="234"/>
                  </a:lnTo>
                  <a:lnTo>
                    <a:pt x="249" y="235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7"/>
                  </a:lnTo>
                  <a:lnTo>
                    <a:pt x="249" y="237"/>
                  </a:lnTo>
                  <a:lnTo>
                    <a:pt x="249" y="237"/>
                  </a:lnTo>
                  <a:lnTo>
                    <a:pt x="251" y="238"/>
                  </a:lnTo>
                  <a:lnTo>
                    <a:pt x="252" y="238"/>
                  </a:lnTo>
                  <a:lnTo>
                    <a:pt x="253" y="239"/>
                  </a:lnTo>
                  <a:lnTo>
                    <a:pt x="253" y="240"/>
                  </a:lnTo>
                  <a:lnTo>
                    <a:pt x="255" y="241"/>
                  </a:lnTo>
                  <a:lnTo>
                    <a:pt x="257" y="243"/>
                  </a:lnTo>
                  <a:lnTo>
                    <a:pt x="259" y="246"/>
                  </a:lnTo>
                  <a:lnTo>
                    <a:pt x="260" y="247"/>
                  </a:lnTo>
                  <a:lnTo>
                    <a:pt x="261" y="247"/>
                  </a:lnTo>
                  <a:lnTo>
                    <a:pt x="261" y="248"/>
                  </a:lnTo>
                  <a:lnTo>
                    <a:pt x="261" y="248"/>
                  </a:lnTo>
                  <a:lnTo>
                    <a:pt x="261" y="249"/>
                  </a:lnTo>
                  <a:lnTo>
                    <a:pt x="261" y="250"/>
                  </a:lnTo>
                  <a:lnTo>
                    <a:pt x="261" y="250"/>
                  </a:lnTo>
                  <a:lnTo>
                    <a:pt x="260" y="251"/>
                  </a:lnTo>
                  <a:lnTo>
                    <a:pt x="260" y="251"/>
                  </a:lnTo>
                  <a:lnTo>
                    <a:pt x="258" y="252"/>
                  </a:lnTo>
                  <a:lnTo>
                    <a:pt x="257" y="253"/>
                  </a:lnTo>
                  <a:lnTo>
                    <a:pt x="256" y="253"/>
                  </a:lnTo>
                  <a:lnTo>
                    <a:pt x="256" y="254"/>
                  </a:lnTo>
                  <a:lnTo>
                    <a:pt x="255" y="255"/>
                  </a:lnTo>
                  <a:lnTo>
                    <a:pt x="255" y="255"/>
                  </a:lnTo>
                  <a:lnTo>
                    <a:pt x="254" y="256"/>
                  </a:lnTo>
                  <a:lnTo>
                    <a:pt x="254" y="257"/>
                  </a:lnTo>
                  <a:lnTo>
                    <a:pt x="254" y="257"/>
                  </a:lnTo>
                  <a:lnTo>
                    <a:pt x="255" y="257"/>
                  </a:lnTo>
                  <a:lnTo>
                    <a:pt x="255" y="258"/>
                  </a:lnTo>
                  <a:lnTo>
                    <a:pt x="255" y="259"/>
                  </a:lnTo>
                  <a:lnTo>
                    <a:pt x="257" y="261"/>
                  </a:lnTo>
                  <a:lnTo>
                    <a:pt x="257" y="261"/>
                  </a:lnTo>
                  <a:lnTo>
                    <a:pt x="258" y="262"/>
                  </a:lnTo>
                  <a:lnTo>
                    <a:pt x="259" y="265"/>
                  </a:lnTo>
                  <a:lnTo>
                    <a:pt x="259" y="265"/>
                  </a:lnTo>
                  <a:lnTo>
                    <a:pt x="260" y="267"/>
                  </a:lnTo>
                  <a:lnTo>
                    <a:pt x="261" y="268"/>
                  </a:lnTo>
                  <a:lnTo>
                    <a:pt x="262" y="269"/>
                  </a:lnTo>
                  <a:lnTo>
                    <a:pt x="263" y="270"/>
                  </a:lnTo>
                  <a:lnTo>
                    <a:pt x="265" y="272"/>
                  </a:lnTo>
                  <a:lnTo>
                    <a:pt x="268" y="274"/>
                  </a:lnTo>
                  <a:lnTo>
                    <a:pt x="268" y="275"/>
                  </a:lnTo>
                  <a:lnTo>
                    <a:pt x="269" y="276"/>
                  </a:lnTo>
                  <a:lnTo>
                    <a:pt x="269" y="276"/>
                  </a:lnTo>
                  <a:lnTo>
                    <a:pt x="269" y="277"/>
                  </a:lnTo>
                  <a:lnTo>
                    <a:pt x="269" y="278"/>
                  </a:lnTo>
                  <a:lnTo>
                    <a:pt x="269" y="278"/>
                  </a:lnTo>
                  <a:lnTo>
                    <a:pt x="269" y="279"/>
                  </a:lnTo>
                  <a:lnTo>
                    <a:pt x="269" y="280"/>
                  </a:lnTo>
                  <a:lnTo>
                    <a:pt x="268" y="281"/>
                  </a:lnTo>
                  <a:lnTo>
                    <a:pt x="268" y="282"/>
                  </a:lnTo>
                  <a:lnTo>
                    <a:pt x="268" y="282"/>
                  </a:lnTo>
                  <a:lnTo>
                    <a:pt x="268" y="283"/>
                  </a:lnTo>
                  <a:lnTo>
                    <a:pt x="268" y="284"/>
                  </a:lnTo>
                  <a:lnTo>
                    <a:pt x="268" y="284"/>
                  </a:lnTo>
                  <a:lnTo>
                    <a:pt x="268" y="285"/>
                  </a:lnTo>
                  <a:lnTo>
                    <a:pt x="269" y="285"/>
                  </a:lnTo>
                  <a:lnTo>
                    <a:pt x="269" y="286"/>
                  </a:lnTo>
                  <a:lnTo>
                    <a:pt x="270" y="286"/>
                  </a:lnTo>
                  <a:lnTo>
                    <a:pt x="271" y="287"/>
                  </a:lnTo>
                  <a:lnTo>
                    <a:pt x="271" y="287"/>
                  </a:lnTo>
                  <a:lnTo>
                    <a:pt x="272" y="288"/>
                  </a:lnTo>
                  <a:lnTo>
                    <a:pt x="273" y="288"/>
                  </a:lnTo>
                  <a:lnTo>
                    <a:pt x="275" y="289"/>
                  </a:lnTo>
                  <a:lnTo>
                    <a:pt x="276" y="289"/>
                  </a:lnTo>
                  <a:lnTo>
                    <a:pt x="276" y="290"/>
                  </a:lnTo>
                  <a:lnTo>
                    <a:pt x="277" y="290"/>
                  </a:lnTo>
                  <a:lnTo>
                    <a:pt x="277" y="291"/>
                  </a:lnTo>
                  <a:lnTo>
                    <a:pt x="277" y="291"/>
                  </a:lnTo>
                  <a:lnTo>
                    <a:pt x="277" y="292"/>
                  </a:lnTo>
                  <a:lnTo>
                    <a:pt x="277" y="292"/>
                  </a:lnTo>
                  <a:lnTo>
                    <a:pt x="277" y="293"/>
                  </a:lnTo>
                  <a:lnTo>
                    <a:pt x="277" y="294"/>
                  </a:lnTo>
                  <a:lnTo>
                    <a:pt x="277" y="296"/>
                  </a:lnTo>
                  <a:lnTo>
                    <a:pt x="277" y="296"/>
                  </a:lnTo>
                  <a:lnTo>
                    <a:pt x="277" y="297"/>
                  </a:lnTo>
                  <a:lnTo>
                    <a:pt x="277" y="297"/>
                  </a:lnTo>
                  <a:lnTo>
                    <a:pt x="278" y="298"/>
                  </a:lnTo>
                  <a:lnTo>
                    <a:pt x="278" y="298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8" y="300"/>
                  </a:lnTo>
                  <a:lnTo>
                    <a:pt x="277" y="302"/>
                  </a:lnTo>
                  <a:lnTo>
                    <a:pt x="277" y="302"/>
                  </a:lnTo>
                  <a:lnTo>
                    <a:pt x="277" y="303"/>
                  </a:lnTo>
                  <a:lnTo>
                    <a:pt x="277" y="304"/>
                  </a:lnTo>
                  <a:lnTo>
                    <a:pt x="277" y="304"/>
                  </a:lnTo>
                  <a:lnTo>
                    <a:pt x="277" y="305"/>
                  </a:lnTo>
                  <a:lnTo>
                    <a:pt x="278" y="305"/>
                  </a:lnTo>
                  <a:lnTo>
                    <a:pt x="278" y="306"/>
                  </a:lnTo>
                  <a:lnTo>
                    <a:pt x="279" y="306"/>
                  </a:lnTo>
                  <a:lnTo>
                    <a:pt x="279" y="307"/>
                  </a:lnTo>
                  <a:lnTo>
                    <a:pt x="279" y="307"/>
                  </a:lnTo>
                  <a:lnTo>
                    <a:pt x="280" y="308"/>
                  </a:lnTo>
                  <a:lnTo>
                    <a:pt x="281" y="308"/>
                  </a:lnTo>
                  <a:lnTo>
                    <a:pt x="282" y="308"/>
                  </a:lnTo>
                  <a:lnTo>
                    <a:pt x="282" y="308"/>
                  </a:lnTo>
                  <a:lnTo>
                    <a:pt x="283" y="309"/>
                  </a:lnTo>
                  <a:lnTo>
                    <a:pt x="284" y="309"/>
                  </a:lnTo>
                  <a:lnTo>
                    <a:pt x="288" y="309"/>
                  </a:lnTo>
                  <a:lnTo>
                    <a:pt x="289" y="309"/>
                  </a:lnTo>
                  <a:lnTo>
                    <a:pt x="292" y="309"/>
                  </a:lnTo>
                  <a:lnTo>
                    <a:pt x="292" y="309"/>
                  </a:lnTo>
                  <a:lnTo>
                    <a:pt x="293" y="309"/>
                  </a:lnTo>
                  <a:lnTo>
                    <a:pt x="293" y="309"/>
                  </a:lnTo>
                  <a:lnTo>
                    <a:pt x="294" y="309"/>
                  </a:lnTo>
                  <a:lnTo>
                    <a:pt x="294" y="308"/>
                  </a:lnTo>
                  <a:lnTo>
                    <a:pt x="294" y="308"/>
                  </a:lnTo>
                  <a:lnTo>
                    <a:pt x="295" y="307"/>
                  </a:lnTo>
                  <a:lnTo>
                    <a:pt x="296" y="305"/>
                  </a:lnTo>
                  <a:lnTo>
                    <a:pt x="297" y="304"/>
                  </a:lnTo>
                  <a:lnTo>
                    <a:pt x="297" y="303"/>
                  </a:lnTo>
                  <a:lnTo>
                    <a:pt x="297" y="303"/>
                  </a:lnTo>
                  <a:lnTo>
                    <a:pt x="298" y="302"/>
                  </a:lnTo>
                  <a:lnTo>
                    <a:pt x="298" y="302"/>
                  </a:lnTo>
                  <a:lnTo>
                    <a:pt x="299" y="302"/>
                  </a:lnTo>
                  <a:lnTo>
                    <a:pt x="300" y="301"/>
                  </a:lnTo>
                  <a:lnTo>
                    <a:pt x="303" y="301"/>
                  </a:lnTo>
                  <a:lnTo>
                    <a:pt x="304" y="300"/>
                  </a:lnTo>
                  <a:lnTo>
                    <a:pt x="306" y="300"/>
                  </a:lnTo>
                  <a:lnTo>
                    <a:pt x="307" y="299"/>
                  </a:lnTo>
                  <a:lnTo>
                    <a:pt x="310" y="298"/>
                  </a:lnTo>
                  <a:lnTo>
                    <a:pt x="312" y="298"/>
                  </a:lnTo>
                  <a:lnTo>
                    <a:pt x="313" y="297"/>
                  </a:lnTo>
                  <a:lnTo>
                    <a:pt x="314" y="297"/>
                  </a:lnTo>
                  <a:lnTo>
                    <a:pt x="315" y="296"/>
                  </a:lnTo>
                  <a:lnTo>
                    <a:pt x="316" y="296"/>
                  </a:lnTo>
                  <a:lnTo>
                    <a:pt x="321" y="292"/>
                  </a:lnTo>
                  <a:lnTo>
                    <a:pt x="323" y="290"/>
                  </a:lnTo>
                  <a:lnTo>
                    <a:pt x="324" y="289"/>
                  </a:lnTo>
                  <a:lnTo>
                    <a:pt x="325" y="289"/>
                  </a:lnTo>
                  <a:lnTo>
                    <a:pt x="326" y="289"/>
                  </a:lnTo>
                  <a:lnTo>
                    <a:pt x="327" y="288"/>
                  </a:lnTo>
                  <a:lnTo>
                    <a:pt x="329" y="287"/>
                  </a:lnTo>
                  <a:lnTo>
                    <a:pt x="330" y="287"/>
                  </a:lnTo>
                  <a:lnTo>
                    <a:pt x="331" y="286"/>
                  </a:lnTo>
                  <a:lnTo>
                    <a:pt x="332" y="286"/>
                  </a:lnTo>
                  <a:lnTo>
                    <a:pt x="333" y="285"/>
                  </a:lnTo>
                  <a:lnTo>
                    <a:pt x="334" y="285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6" y="282"/>
                  </a:lnTo>
                  <a:lnTo>
                    <a:pt x="336" y="282"/>
                  </a:lnTo>
                  <a:lnTo>
                    <a:pt x="337" y="282"/>
                  </a:lnTo>
                  <a:lnTo>
                    <a:pt x="338" y="281"/>
                  </a:lnTo>
                  <a:lnTo>
                    <a:pt x="338" y="281"/>
                  </a:lnTo>
                  <a:lnTo>
                    <a:pt x="339" y="281"/>
                  </a:lnTo>
                  <a:lnTo>
                    <a:pt x="342" y="281"/>
                  </a:lnTo>
                  <a:lnTo>
                    <a:pt x="343" y="280"/>
                  </a:lnTo>
                  <a:lnTo>
                    <a:pt x="345" y="280"/>
                  </a:lnTo>
                  <a:lnTo>
                    <a:pt x="347" y="280"/>
                  </a:lnTo>
                  <a:lnTo>
                    <a:pt x="349" y="280"/>
                  </a:lnTo>
                  <a:lnTo>
                    <a:pt x="350" y="280"/>
                  </a:lnTo>
                  <a:lnTo>
                    <a:pt x="350" y="280"/>
                  </a:lnTo>
                  <a:lnTo>
                    <a:pt x="351" y="280"/>
                  </a:lnTo>
                  <a:lnTo>
                    <a:pt x="352" y="281"/>
                  </a:lnTo>
                  <a:lnTo>
                    <a:pt x="354" y="281"/>
                  </a:lnTo>
                  <a:lnTo>
                    <a:pt x="355" y="282"/>
                  </a:lnTo>
                  <a:lnTo>
                    <a:pt x="356" y="283"/>
                  </a:lnTo>
                  <a:lnTo>
                    <a:pt x="358" y="284"/>
                  </a:lnTo>
                  <a:lnTo>
                    <a:pt x="360" y="285"/>
                  </a:lnTo>
                  <a:lnTo>
                    <a:pt x="360" y="285"/>
                  </a:lnTo>
                  <a:lnTo>
                    <a:pt x="361" y="285"/>
                  </a:lnTo>
                  <a:lnTo>
                    <a:pt x="362" y="286"/>
                  </a:lnTo>
                  <a:lnTo>
                    <a:pt x="363" y="286"/>
                  </a:lnTo>
                  <a:lnTo>
                    <a:pt x="365" y="286"/>
                  </a:lnTo>
                  <a:lnTo>
                    <a:pt x="366" y="286"/>
                  </a:lnTo>
                  <a:lnTo>
                    <a:pt x="366" y="286"/>
                  </a:lnTo>
                  <a:lnTo>
                    <a:pt x="367" y="286"/>
                  </a:lnTo>
                  <a:lnTo>
                    <a:pt x="368" y="286"/>
                  </a:lnTo>
                  <a:lnTo>
                    <a:pt x="368" y="285"/>
                  </a:lnTo>
                  <a:lnTo>
                    <a:pt x="369" y="285"/>
                  </a:lnTo>
                  <a:lnTo>
                    <a:pt x="370" y="284"/>
                  </a:lnTo>
                  <a:lnTo>
                    <a:pt x="372" y="282"/>
                  </a:lnTo>
                  <a:lnTo>
                    <a:pt x="373" y="282"/>
                  </a:lnTo>
                  <a:lnTo>
                    <a:pt x="374" y="281"/>
                  </a:lnTo>
                  <a:lnTo>
                    <a:pt x="374" y="280"/>
                  </a:lnTo>
                  <a:lnTo>
                    <a:pt x="375" y="279"/>
                  </a:lnTo>
                  <a:lnTo>
                    <a:pt x="375" y="278"/>
                  </a:lnTo>
                  <a:lnTo>
                    <a:pt x="375" y="277"/>
                  </a:lnTo>
                  <a:lnTo>
                    <a:pt x="375" y="276"/>
                  </a:lnTo>
                  <a:lnTo>
                    <a:pt x="375" y="275"/>
                  </a:lnTo>
                  <a:lnTo>
                    <a:pt x="374" y="271"/>
                  </a:lnTo>
                  <a:lnTo>
                    <a:pt x="374" y="269"/>
                  </a:lnTo>
                  <a:lnTo>
                    <a:pt x="374" y="268"/>
                  </a:lnTo>
                  <a:lnTo>
                    <a:pt x="374" y="267"/>
                  </a:lnTo>
                  <a:lnTo>
                    <a:pt x="373" y="267"/>
                  </a:lnTo>
                  <a:lnTo>
                    <a:pt x="373" y="266"/>
                  </a:lnTo>
                  <a:lnTo>
                    <a:pt x="373" y="266"/>
                  </a:lnTo>
                  <a:lnTo>
                    <a:pt x="372" y="265"/>
                  </a:lnTo>
                  <a:lnTo>
                    <a:pt x="371" y="264"/>
                  </a:lnTo>
                  <a:lnTo>
                    <a:pt x="371" y="264"/>
                  </a:lnTo>
                  <a:lnTo>
                    <a:pt x="371" y="263"/>
                  </a:lnTo>
                  <a:lnTo>
                    <a:pt x="370" y="263"/>
                  </a:lnTo>
                  <a:lnTo>
                    <a:pt x="370" y="262"/>
                  </a:lnTo>
                  <a:lnTo>
                    <a:pt x="370" y="261"/>
                  </a:lnTo>
                  <a:lnTo>
                    <a:pt x="371" y="261"/>
                  </a:lnTo>
                  <a:lnTo>
                    <a:pt x="371" y="260"/>
                  </a:lnTo>
                  <a:lnTo>
                    <a:pt x="371" y="260"/>
                  </a:lnTo>
                  <a:lnTo>
                    <a:pt x="371" y="259"/>
                  </a:lnTo>
                  <a:lnTo>
                    <a:pt x="372" y="259"/>
                  </a:lnTo>
                  <a:lnTo>
                    <a:pt x="373" y="258"/>
                  </a:lnTo>
                  <a:lnTo>
                    <a:pt x="374" y="257"/>
                  </a:lnTo>
                  <a:lnTo>
                    <a:pt x="374" y="257"/>
                  </a:lnTo>
                  <a:lnTo>
                    <a:pt x="379" y="254"/>
                  </a:lnTo>
                  <a:lnTo>
                    <a:pt x="382" y="253"/>
                  </a:lnTo>
                  <a:lnTo>
                    <a:pt x="382" y="252"/>
                  </a:lnTo>
                  <a:lnTo>
                    <a:pt x="383" y="252"/>
                  </a:lnTo>
                  <a:lnTo>
                    <a:pt x="384" y="251"/>
                  </a:lnTo>
                  <a:lnTo>
                    <a:pt x="384" y="251"/>
                  </a:lnTo>
                  <a:lnTo>
                    <a:pt x="385" y="250"/>
                  </a:lnTo>
                  <a:lnTo>
                    <a:pt x="385" y="249"/>
                  </a:lnTo>
                  <a:lnTo>
                    <a:pt x="386" y="248"/>
                  </a:lnTo>
                  <a:lnTo>
                    <a:pt x="386" y="247"/>
                  </a:lnTo>
                  <a:lnTo>
                    <a:pt x="386" y="246"/>
                  </a:lnTo>
                  <a:lnTo>
                    <a:pt x="386" y="246"/>
                  </a:lnTo>
                  <a:lnTo>
                    <a:pt x="386" y="245"/>
                  </a:lnTo>
                  <a:lnTo>
                    <a:pt x="386" y="245"/>
                  </a:lnTo>
                  <a:lnTo>
                    <a:pt x="385" y="244"/>
                  </a:lnTo>
                  <a:lnTo>
                    <a:pt x="385" y="243"/>
                  </a:lnTo>
                  <a:lnTo>
                    <a:pt x="384" y="242"/>
                  </a:lnTo>
                  <a:lnTo>
                    <a:pt x="383" y="241"/>
                  </a:lnTo>
                  <a:lnTo>
                    <a:pt x="383" y="240"/>
                  </a:lnTo>
                  <a:lnTo>
                    <a:pt x="382" y="240"/>
                  </a:lnTo>
                  <a:lnTo>
                    <a:pt x="381" y="239"/>
                  </a:lnTo>
                  <a:lnTo>
                    <a:pt x="378" y="237"/>
                  </a:lnTo>
                  <a:lnTo>
                    <a:pt x="377" y="236"/>
                  </a:lnTo>
                  <a:lnTo>
                    <a:pt x="376" y="235"/>
                  </a:lnTo>
                  <a:lnTo>
                    <a:pt x="376" y="235"/>
                  </a:lnTo>
                  <a:lnTo>
                    <a:pt x="375" y="234"/>
                  </a:lnTo>
                  <a:lnTo>
                    <a:pt x="374" y="232"/>
                  </a:lnTo>
                  <a:lnTo>
                    <a:pt x="373" y="231"/>
                  </a:lnTo>
                  <a:lnTo>
                    <a:pt x="372" y="231"/>
                  </a:lnTo>
                  <a:lnTo>
                    <a:pt x="372" y="230"/>
                  </a:lnTo>
                  <a:lnTo>
                    <a:pt x="371" y="230"/>
                  </a:lnTo>
                  <a:lnTo>
                    <a:pt x="370" y="229"/>
                  </a:lnTo>
                  <a:lnTo>
                    <a:pt x="366" y="227"/>
                  </a:lnTo>
                  <a:lnTo>
                    <a:pt x="365" y="226"/>
                  </a:lnTo>
                  <a:lnTo>
                    <a:pt x="362" y="226"/>
                  </a:lnTo>
                  <a:lnTo>
                    <a:pt x="360" y="225"/>
                  </a:lnTo>
                  <a:lnTo>
                    <a:pt x="360" y="225"/>
                  </a:lnTo>
                  <a:lnTo>
                    <a:pt x="359" y="224"/>
                  </a:lnTo>
                  <a:lnTo>
                    <a:pt x="358" y="224"/>
                  </a:lnTo>
                  <a:lnTo>
                    <a:pt x="357" y="223"/>
                  </a:lnTo>
                  <a:lnTo>
                    <a:pt x="357" y="222"/>
                  </a:lnTo>
                  <a:lnTo>
                    <a:pt x="356" y="222"/>
                  </a:lnTo>
                  <a:lnTo>
                    <a:pt x="355" y="221"/>
                  </a:lnTo>
                  <a:lnTo>
                    <a:pt x="355" y="220"/>
                  </a:lnTo>
                  <a:lnTo>
                    <a:pt x="355" y="219"/>
                  </a:lnTo>
                  <a:lnTo>
                    <a:pt x="354" y="217"/>
                  </a:lnTo>
                  <a:lnTo>
                    <a:pt x="353" y="216"/>
                  </a:lnTo>
                  <a:lnTo>
                    <a:pt x="353" y="216"/>
                  </a:lnTo>
                  <a:lnTo>
                    <a:pt x="353" y="216"/>
                  </a:lnTo>
                  <a:lnTo>
                    <a:pt x="352" y="215"/>
                  </a:lnTo>
                  <a:lnTo>
                    <a:pt x="351" y="215"/>
                  </a:lnTo>
                  <a:lnTo>
                    <a:pt x="349" y="215"/>
                  </a:lnTo>
                  <a:lnTo>
                    <a:pt x="348" y="214"/>
                  </a:lnTo>
                  <a:lnTo>
                    <a:pt x="347" y="214"/>
                  </a:lnTo>
                  <a:lnTo>
                    <a:pt x="346" y="213"/>
                  </a:lnTo>
                  <a:lnTo>
                    <a:pt x="343" y="211"/>
                  </a:lnTo>
                  <a:lnTo>
                    <a:pt x="342" y="210"/>
                  </a:lnTo>
                  <a:lnTo>
                    <a:pt x="339" y="208"/>
                  </a:lnTo>
                  <a:lnTo>
                    <a:pt x="338" y="207"/>
                  </a:lnTo>
                  <a:lnTo>
                    <a:pt x="338" y="207"/>
                  </a:lnTo>
                  <a:lnTo>
                    <a:pt x="337" y="207"/>
                  </a:lnTo>
                  <a:lnTo>
                    <a:pt x="337" y="206"/>
                  </a:lnTo>
                  <a:lnTo>
                    <a:pt x="337" y="205"/>
                  </a:lnTo>
                  <a:lnTo>
                    <a:pt x="336" y="205"/>
                  </a:lnTo>
                  <a:lnTo>
                    <a:pt x="336" y="204"/>
                  </a:lnTo>
                  <a:lnTo>
                    <a:pt x="336" y="204"/>
                  </a:lnTo>
                  <a:lnTo>
                    <a:pt x="336" y="204"/>
                  </a:lnTo>
                  <a:lnTo>
                    <a:pt x="337" y="203"/>
                  </a:lnTo>
                  <a:lnTo>
                    <a:pt x="336" y="203"/>
                  </a:lnTo>
                  <a:lnTo>
                    <a:pt x="336" y="203"/>
                  </a:lnTo>
                  <a:lnTo>
                    <a:pt x="335" y="203"/>
                  </a:lnTo>
                  <a:close/>
                </a:path>
              </a:pathLst>
            </a:custGeom>
            <a:solidFill>
              <a:srgbClr val="A8A8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3" name="Freeform 43">
              <a:extLst>
                <a:ext uri="{FF2B5EF4-FFF2-40B4-BE49-F238E27FC236}">
                  <a16:creationId xmlns:a16="http://schemas.microsoft.com/office/drawing/2014/main" id="{D98DDA3C-3659-2AA1-83FE-462BD958B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1" y="3069"/>
              <a:ext cx="438" cy="512"/>
            </a:xfrm>
            <a:custGeom>
              <a:avLst/>
              <a:gdLst>
                <a:gd name="T0" fmla="*/ 269 w 438"/>
                <a:gd name="T1" fmla="*/ 10 h 512"/>
                <a:gd name="T2" fmla="*/ 282 w 438"/>
                <a:gd name="T3" fmla="*/ 9 h 512"/>
                <a:gd name="T4" fmla="*/ 306 w 438"/>
                <a:gd name="T5" fmla="*/ 29 h 512"/>
                <a:gd name="T6" fmla="*/ 323 w 438"/>
                <a:gd name="T7" fmla="*/ 45 h 512"/>
                <a:gd name="T8" fmla="*/ 321 w 438"/>
                <a:gd name="T9" fmla="*/ 65 h 512"/>
                <a:gd name="T10" fmla="*/ 327 w 438"/>
                <a:gd name="T11" fmla="*/ 89 h 512"/>
                <a:gd name="T12" fmla="*/ 317 w 438"/>
                <a:gd name="T13" fmla="*/ 108 h 512"/>
                <a:gd name="T14" fmla="*/ 318 w 438"/>
                <a:gd name="T15" fmla="*/ 121 h 512"/>
                <a:gd name="T16" fmla="*/ 332 w 438"/>
                <a:gd name="T17" fmla="*/ 128 h 512"/>
                <a:gd name="T18" fmla="*/ 343 w 438"/>
                <a:gd name="T19" fmla="*/ 144 h 512"/>
                <a:gd name="T20" fmla="*/ 352 w 438"/>
                <a:gd name="T21" fmla="*/ 152 h 512"/>
                <a:gd name="T22" fmla="*/ 383 w 438"/>
                <a:gd name="T23" fmla="*/ 149 h 512"/>
                <a:gd name="T24" fmla="*/ 392 w 438"/>
                <a:gd name="T25" fmla="*/ 162 h 512"/>
                <a:gd name="T26" fmla="*/ 397 w 438"/>
                <a:gd name="T27" fmla="*/ 188 h 512"/>
                <a:gd name="T28" fmla="*/ 390 w 438"/>
                <a:gd name="T29" fmla="*/ 207 h 512"/>
                <a:gd name="T30" fmla="*/ 393 w 438"/>
                <a:gd name="T31" fmla="*/ 220 h 512"/>
                <a:gd name="T32" fmla="*/ 411 w 438"/>
                <a:gd name="T33" fmla="*/ 229 h 512"/>
                <a:gd name="T34" fmla="*/ 403 w 438"/>
                <a:gd name="T35" fmla="*/ 238 h 512"/>
                <a:gd name="T36" fmla="*/ 403 w 438"/>
                <a:gd name="T37" fmla="*/ 247 h 512"/>
                <a:gd name="T38" fmla="*/ 396 w 438"/>
                <a:gd name="T39" fmla="*/ 260 h 512"/>
                <a:gd name="T40" fmla="*/ 392 w 438"/>
                <a:gd name="T41" fmla="*/ 267 h 512"/>
                <a:gd name="T42" fmla="*/ 403 w 438"/>
                <a:gd name="T43" fmla="*/ 277 h 512"/>
                <a:gd name="T44" fmla="*/ 417 w 438"/>
                <a:gd name="T45" fmla="*/ 284 h 512"/>
                <a:gd name="T46" fmla="*/ 423 w 438"/>
                <a:gd name="T47" fmla="*/ 294 h 512"/>
                <a:gd name="T48" fmla="*/ 438 w 438"/>
                <a:gd name="T49" fmla="*/ 309 h 512"/>
                <a:gd name="T50" fmla="*/ 434 w 438"/>
                <a:gd name="T51" fmla="*/ 331 h 512"/>
                <a:gd name="T52" fmla="*/ 428 w 438"/>
                <a:gd name="T53" fmla="*/ 351 h 512"/>
                <a:gd name="T54" fmla="*/ 411 w 438"/>
                <a:gd name="T55" fmla="*/ 360 h 512"/>
                <a:gd name="T56" fmla="*/ 409 w 438"/>
                <a:gd name="T57" fmla="*/ 375 h 512"/>
                <a:gd name="T58" fmla="*/ 399 w 438"/>
                <a:gd name="T59" fmla="*/ 380 h 512"/>
                <a:gd name="T60" fmla="*/ 381 w 438"/>
                <a:gd name="T61" fmla="*/ 391 h 512"/>
                <a:gd name="T62" fmla="*/ 358 w 438"/>
                <a:gd name="T63" fmla="*/ 398 h 512"/>
                <a:gd name="T64" fmla="*/ 348 w 438"/>
                <a:gd name="T65" fmla="*/ 402 h 512"/>
                <a:gd name="T66" fmla="*/ 334 w 438"/>
                <a:gd name="T67" fmla="*/ 428 h 512"/>
                <a:gd name="T68" fmla="*/ 349 w 438"/>
                <a:gd name="T69" fmla="*/ 443 h 512"/>
                <a:gd name="T70" fmla="*/ 353 w 438"/>
                <a:gd name="T71" fmla="*/ 458 h 512"/>
                <a:gd name="T72" fmla="*/ 337 w 438"/>
                <a:gd name="T73" fmla="*/ 464 h 512"/>
                <a:gd name="T74" fmla="*/ 329 w 438"/>
                <a:gd name="T75" fmla="*/ 473 h 512"/>
                <a:gd name="T76" fmla="*/ 312 w 438"/>
                <a:gd name="T77" fmla="*/ 468 h 512"/>
                <a:gd name="T78" fmla="*/ 281 w 438"/>
                <a:gd name="T79" fmla="*/ 469 h 512"/>
                <a:gd name="T80" fmla="*/ 275 w 438"/>
                <a:gd name="T81" fmla="*/ 477 h 512"/>
                <a:gd name="T82" fmla="*/ 263 w 438"/>
                <a:gd name="T83" fmla="*/ 484 h 512"/>
                <a:gd name="T84" fmla="*/ 255 w 438"/>
                <a:gd name="T85" fmla="*/ 495 h 512"/>
                <a:gd name="T86" fmla="*/ 242 w 438"/>
                <a:gd name="T87" fmla="*/ 478 h 512"/>
                <a:gd name="T88" fmla="*/ 232 w 438"/>
                <a:gd name="T89" fmla="*/ 478 h 512"/>
                <a:gd name="T90" fmla="*/ 210 w 438"/>
                <a:gd name="T91" fmla="*/ 464 h 512"/>
                <a:gd name="T92" fmla="*/ 199 w 438"/>
                <a:gd name="T93" fmla="*/ 477 h 512"/>
                <a:gd name="T94" fmla="*/ 198 w 438"/>
                <a:gd name="T95" fmla="*/ 495 h 512"/>
                <a:gd name="T96" fmla="*/ 175 w 438"/>
                <a:gd name="T97" fmla="*/ 511 h 512"/>
                <a:gd name="T98" fmla="*/ 160 w 438"/>
                <a:gd name="T99" fmla="*/ 507 h 512"/>
                <a:gd name="T100" fmla="*/ 155 w 438"/>
                <a:gd name="T101" fmla="*/ 499 h 512"/>
                <a:gd name="T102" fmla="*/ 132 w 438"/>
                <a:gd name="T103" fmla="*/ 498 h 512"/>
                <a:gd name="T104" fmla="*/ 117 w 438"/>
                <a:gd name="T105" fmla="*/ 499 h 512"/>
                <a:gd name="T106" fmla="*/ 102 w 438"/>
                <a:gd name="T107" fmla="*/ 494 h 512"/>
                <a:gd name="T108" fmla="*/ 90 w 438"/>
                <a:gd name="T109" fmla="*/ 502 h 512"/>
                <a:gd name="T110" fmla="*/ 78 w 438"/>
                <a:gd name="T111" fmla="*/ 498 h 512"/>
                <a:gd name="T112" fmla="*/ 63 w 438"/>
                <a:gd name="T113" fmla="*/ 487 h 512"/>
                <a:gd name="T114" fmla="*/ 45 w 438"/>
                <a:gd name="T115" fmla="*/ 495 h 512"/>
                <a:gd name="T116" fmla="*/ 18 w 438"/>
                <a:gd name="T117" fmla="*/ 500 h 512"/>
                <a:gd name="T118" fmla="*/ 1 w 438"/>
                <a:gd name="T119" fmla="*/ 499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8" h="512">
                  <a:moveTo>
                    <a:pt x="256" y="0"/>
                  </a:moveTo>
                  <a:lnTo>
                    <a:pt x="256" y="0"/>
                  </a:lnTo>
                  <a:lnTo>
                    <a:pt x="257" y="0"/>
                  </a:lnTo>
                  <a:lnTo>
                    <a:pt x="257" y="1"/>
                  </a:lnTo>
                  <a:lnTo>
                    <a:pt x="258" y="1"/>
                  </a:lnTo>
                  <a:lnTo>
                    <a:pt x="260" y="3"/>
                  </a:lnTo>
                  <a:lnTo>
                    <a:pt x="261" y="4"/>
                  </a:lnTo>
                  <a:lnTo>
                    <a:pt x="262" y="5"/>
                  </a:lnTo>
                  <a:lnTo>
                    <a:pt x="264" y="6"/>
                  </a:lnTo>
                  <a:lnTo>
                    <a:pt x="265" y="7"/>
                  </a:lnTo>
                  <a:lnTo>
                    <a:pt x="265" y="7"/>
                  </a:lnTo>
                  <a:lnTo>
                    <a:pt x="266" y="8"/>
                  </a:lnTo>
                  <a:lnTo>
                    <a:pt x="266" y="9"/>
                  </a:lnTo>
                  <a:lnTo>
                    <a:pt x="267" y="9"/>
                  </a:lnTo>
                  <a:lnTo>
                    <a:pt x="268" y="9"/>
                  </a:lnTo>
                  <a:lnTo>
                    <a:pt x="268" y="10"/>
                  </a:lnTo>
                  <a:lnTo>
                    <a:pt x="269" y="10"/>
                  </a:lnTo>
                  <a:lnTo>
                    <a:pt x="270" y="10"/>
                  </a:lnTo>
                  <a:lnTo>
                    <a:pt x="270" y="10"/>
                  </a:lnTo>
                  <a:lnTo>
                    <a:pt x="270" y="9"/>
                  </a:lnTo>
                  <a:lnTo>
                    <a:pt x="271" y="9"/>
                  </a:lnTo>
                  <a:lnTo>
                    <a:pt x="272" y="8"/>
                  </a:lnTo>
                  <a:lnTo>
                    <a:pt x="273" y="8"/>
                  </a:lnTo>
                  <a:lnTo>
                    <a:pt x="273" y="8"/>
                  </a:lnTo>
                  <a:lnTo>
                    <a:pt x="274" y="7"/>
                  </a:lnTo>
                  <a:lnTo>
                    <a:pt x="275" y="7"/>
                  </a:lnTo>
                  <a:lnTo>
                    <a:pt x="276" y="7"/>
                  </a:lnTo>
                  <a:lnTo>
                    <a:pt x="276" y="7"/>
                  </a:lnTo>
                  <a:lnTo>
                    <a:pt x="279" y="8"/>
                  </a:lnTo>
                  <a:lnTo>
                    <a:pt x="280" y="8"/>
                  </a:lnTo>
                  <a:lnTo>
                    <a:pt x="281" y="8"/>
                  </a:lnTo>
                  <a:lnTo>
                    <a:pt x="281" y="8"/>
                  </a:lnTo>
                  <a:lnTo>
                    <a:pt x="281" y="9"/>
                  </a:lnTo>
                  <a:lnTo>
                    <a:pt x="282" y="9"/>
                  </a:lnTo>
                  <a:lnTo>
                    <a:pt x="284" y="10"/>
                  </a:lnTo>
                  <a:lnTo>
                    <a:pt x="286" y="14"/>
                  </a:lnTo>
                  <a:lnTo>
                    <a:pt x="290" y="18"/>
                  </a:lnTo>
                  <a:lnTo>
                    <a:pt x="292" y="20"/>
                  </a:lnTo>
                  <a:lnTo>
                    <a:pt x="293" y="21"/>
                  </a:lnTo>
                  <a:lnTo>
                    <a:pt x="293" y="21"/>
                  </a:lnTo>
                  <a:lnTo>
                    <a:pt x="294" y="22"/>
                  </a:lnTo>
                  <a:lnTo>
                    <a:pt x="295" y="22"/>
                  </a:lnTo>
                  <a:lnTo>
                    <a:pt x="296" y="22"/>
                  </a:lnTo>
                  <a:lnTo>
                    <a:pt x="298" y="23"/>
                  </a:lnTo>
                  <a:lnTo>
                    <a:pt x="299" y="24"/>
                  </a:lnTo>
                  <a:lnTo>
                    <a:pt x="300" y="24"/>
                  </a:lnTo>
                  <a:lnTo>
                    <a:pt x="301" y="25"/>
                  </a:lnTo>
                  <a:lnTo>
                    <a:pt x="302" y="26"/>
                  </a:lnTo>
                  <a:lnTo>
                    <a:pt x="304" y="27"/>
                  </a:lnTo>
                  <a:lnTo>
                    <a:pt x="305" y="28"/>
                  </a:lnTo>
                  <a:lnTo>
                    <a:pt x="306" y="29"/>
                  </a:lnTo>
                  <a:lnTo>
                    <a:pt x="306" y="30"/>
                  </a:lnTo>
                  <a:lnTo>
                    <a:pt x="307" y="31"/>
                  </a:lnTo>
                  <a:lnTo>
                    <a:pt x="308" y="32"/>
                  </a:lnTo>
                  <a:lnTo>
                    <a:pt x="310" y="35"/>
                  </a:lnTo>
                  <a:lnTo>
                    <a:pt x="310" y="36"/>
                  </a:lnTo>
                  <a:lnTo>
                    <a:pt x="310" y="37"/>
                  </a:lnTo>
                  <a:lnTo>
                    <a:pt x="311" y="37"/>
                  </a:lnTo>
                  <a:lnTo>
                    <a:pt x="312" y="38"/>
                  </a:lnTo>
                  <a:lnTo>
                    <a:pt x="313" y="38"/>
                  </a:lnTo>
                  <a:lnTo>
                    <a:pt x="313" y="39"/>
                  </a:lnTo>
                  <a:lnTo>
                    <a:pt x="314" y="39"/>
                  </a:lnTo>
                  <a:lnTo>
                    <a:pt x="316" y="40"/>
                  </a:lnTo>
                  <a:lnTo>
                    <a:pt x="317" y="41"/>
                  </a:lnTo>
                  <a:lnTo>
                    <a:pt x="322" y="43"/>
                  </a:lnTo>
                  <a:lnTo>
                    <a:pt x="323" y="43"/>
                  </a:lnTo>
                  <a:lnTo>
                    <a:pt x="324" y="44"/>
                  </a:lnTo>
                  <a:lnTo>
                    <a:pt x="323" y="45"/>
                  </a:lnTo>
                  <a:lnTo>
                    <a:pt x="322" y="46"/>
                  </a:lnTo>
                  <a:lnTo>
                    <a:pt x="320" y="48"/>
                  </a:lnTo>
                  <a:lnTo>
                    <a:pt x="319" y="49"/>
                  </a:lnTo>
                  <a:lnTo>
                    <a:pt x="318" y="50"/>
                  </a:lnTo>
                  <a:lnTo>
                    <a:pt x="317" y="51"/>
                  </a:lnTo>
                  <a:lnTo>
                    <a:pt x="317" y="52"/>
                  </a:lnTo>
                  <a:lnTo>
                    <a:pt x="317" y="52"/>
                  </a:lnTo>
                  <a:lnTo>
                    <a:pt x="317" y="53"/>
                  </a:lnTo>
                  <a:lnTo>
                    <a:pt x="317" y="54"/>
                  </a:lnTo>
                  <a:lnTo>
                    <a:pt x="317" y="54"/>
                  </a:lnTo>
                  <a:lnTo>
                    <a:pt x="317" y="55"/>
                  </a:lnTo>
                  <a:lnTo>
                    <a:pt x="317" y="56"/>
                  </a:lnTo>
                  <a:lnTo>
                    <a:pt x="318" y="58"/>
                  </a:lnTo>
                  <a:lnTo>
                    <a:pt x="319" y="60"/>
                  </a:lnTo>
                  <a:lnTo>
                    <a:pt x="319" y="61"/>
                  </a:lnTo>
                  <a:lnTo>
                    <a:pt x="320" y="63"/>
                  </a:lnTo>
                  <a:lnTo>
                    <a:pt x="321" y="65"/>
                  </a:lnTo>
                  <a:lnTo>
                    <a:pt x="321" y="66"/>
                  </a:lnTo>
                  <a:lnTo>
                    <a:pt x="321" y="66"/>
                  </a:lnTo>
                  <a:lnTo>
                    <a:pt x="321" y="67"/>
                  </a:lnTo>
                  <a:lnTo>
                    <a:pt x="321" y="69"/>
                  </a:lnTo>
                  <a:lnTo>
                    <a:pt x="321" y="74"/>
                  </a:lnTo>
                  <a:lnTo>
                    <a:pt x="321" y="75"/>
                  </a:lnTo>
                  <a:lnTo>
                    <a:pt x="321" y="76"/>
                  </a:lnTo>
                  <a:lnTo>
                    <a:pt x="322" y="77"/>
                  </a:lnTo>
                  <a:lnTo>
                    <a:pt x="322" y="78"/>
                  </a:lnTo>
                  <a:lnTo>
                    <a:pt x="322" y="78"/>
                  </a:lnTo>
                  <a:lnTo>
                    <a:pt x="323" y="80"/>
                  </a:lnTo>
                  <a:lnTo>
                    <a:pt x="324" y="81"/>
                  </a:lnTo>
                  <a:lnTo>
                    <a:pt x="324" y="82"/>
                  </a:lnTo>
                  <a:lnTo>
                    <a:pt x="325" y="83"/>
                  </a:lnTo>
                  <a:lnTo>
                    <a:pt x="325" y="84"/>
                  </a:lnTo>
                  <a:lnTo>
                    <a:pt x="326" y="87"/>
                  </a:lnTo>
                  <a:lnTo>
                    <a:pt x="327" y="89"/>
                  </a:lnTo>
                  <a:lnTo>
                    <a:pt x="327" y="90"/>
                  </a:lnTo>
                  <a:lnTo>
                    <a:pt x="327" y="91"/>
                  </a:lnTo>
                  <a:lnTo>
                    <a:pt x="327" y="93"/>
                  </a:lnTo>
                  <a:lnTo>
                    <a:pt x="326" y="94"/>
                  </a:lnTo>
                  <a:lnTo>
                    <a:pt x="326" y="95"/>
                  </a:lnTo>
                  <a:lnTo>
                    <a:pt x="325" y="96"/>
                  </a:lnTo>
                  <a:lnTo>
                    <a:pt x="325" y="97"/>
                  </a:lnTo>
                  <a:lnTo>
                    <a:pt x="323" y="99"/>
                  </a:lnTo>
                  <a:lnTo>
                    <a:pt x="323" y="100"/>
                  </a:lnTo>
                  <a:lnTo>
                    <a:pt x="322" y="101"/>
                  </a:lnTo>
                  <a:lnTo>
                    <a:pt x="321" y="104"/>
                  </a:lnTo>
                  <a:lnTo>
                    <a:pt x="321" y="105"/>
                  </a:lnTo>
                  <a:lnTo>
                    <a:pt x="321" y="105"/>
                  </a:lnTo>
                  <a:lnTo>
                    <a:pt x="320" y="105"/>
                  </a:lnTo>
                  <a:lnTo>
                    <a:pt x="320" y="106"/>
                  </a:lnTo>
                  <a:lnTo>
                    <a:pt x="319" y="106"/>
                  </a:lnTo>
                  <a:lnTo>
                    <a:pt x="317" y="108"/>
                  </a:lnTo>
                  <a:lnTo>
                    <a:pt x="316" y="108"/>
                  </a:lnTo>
                  <a:lnTo>
                    <a:pt x="316" y="108"/>
                  </a:lnTo>
                  <a:lnTo>
                    <a:pt x="315" y="109"/>
                  </a:lnTo>
                  <a:lnTo>
                    <a:pt x="315" y="110"/>
                  </a:lnTo>
                  <a:lnTo>
                    <a:pt x="315" y="110"/>
                  </a:lnTo>
                  <a:lnTo>
                    <a:pt x="314" y="111"/>
                  </a:lnTo>
                  <a:lnTo>
                    <a:pt x="314" y="111"/>
                  </a:lnTo>
                  <a:lnTo>
                    <a:pt x="314" y="112"/>
                  </a:lnTo>
                  <a:lnTo>
                    <a:pt x="314" y="113"/>
                  </a:lnTo>
                  <a:lnTo>
                    <a:pt x="315" y="114"/>
                  </a:lnTo>
                  <a:lnTo>
                    <a:pt x="315" y="114"/>
                  </a:lnTo>
                  <a:lnTo>
                    <a:pt x="315" y="115"/>
                  </a:lnTo>
                  <a:lnTo>
                    <a:pt x="316" y="117"/>
                  </a:lnTo>
                  <a:lnTo>
                    <a:pt x="317" y="118"/>
                  </a:lnTo>
                  <a:lnTo>
                    <a:pt x="317" y="119"/>
                  </a:lnTo>
                  <a:lnTo>
                    <a:pt x="318" y="120"/>
                  </a:lnTo>
                  <a:lnTo>
                    <a:pt x="318" y="121"/>
                  </a:lnTo>
                  <a:lnTo>
                    <a:pt x="318" y="122"/>
                  </a:lnTo>
                  <a:lnTo>
                    <a:pt x="319" y="123"/>
                  </a:lnTo>
                  <a:lnTo>
                    <a:pt x="319" y="124"/>
                  </a:lnTo>
                  <a:lnTo>
                    <a:pt x="320" y="124"/>
                  </a:lnTo>
                  <a:lnTo>
                    <a:pt x="320" y="125"/>
                  </a:lnTo>
                  <a:lnTo>
                    <a:pt x="321" y="125"/>
                  </a:lnTo>
                  <a:lnTo>
                    <a:pt x="322" y="126"/>
                  </a:lnTo>
                  <a:lnTo>
                    <a:pt x="323" y="126"/>
                  </a:lnTo>
                  <a:lnTo>
                    <a:pt x="323" y="126"/>
                  </a:lnTo>
                  <a:lnTo>
                    <a:pt x="324" y="127"/>
                  </a:lnTo>
                  <a:lnTo>
                    <a:pt x="324" y="127"/>
                  </a:lnTo>
                  <a:lnTo>
                    <a:pt x="325" y="127"/>
                  </a:lnTo>
                  <a:lnTo>
                    <a:pt x="326" y="127"/>
                  </a:lnTo>
                  <a:lnTo>
                    <a:pt x="329" y="127"/>
                  </a:lnTo>
                  <a:lnTo>
                    <a:pt x="330" y="128"/>
                  </a:lnTo>
                  <a:lnTo>
                    <a:pt x="330" y="128"/>
                  </a:lnTo>
                  <a:lnTo>
                    <a:pt x="332" y="128"/>
                  </a:lnTo>
                  <a:lnTo>
                    <a:pt x="333" y="129"/>
                  </a:lnTo>
                  <a:lnTo>
                    <a:pt x="334" y="129"/>
                  </a:lnTo>
                  <a:lnTo>
                    <a:pt x="334" y="130"/>
                  </a:lnTo>
                  <a:lnTo>
                    <a:pt x="335" y="130"/>
                  </a:lnTo>
                  <a:lnTo>
                    <a:pt x="336" y="132"/>
                  </a:lnTo>
                  <a:lnTo>
                    <a:pt x="336" y="132"/>
                  </a:lnTo>
                  <a:lnTo>
                    <a:pt x="337" y="133"/>
                  </a:lnTo>
                  <a:lnTo>
                    <a:pt x="338" y="134"/>
                  </a:lnTo>
                  <a:lnTo>
                    <a:pt x="339" y="135"/>
                  </a:lnTo>
                  <a:lnTo>
                    <a:pt x="341" y="137"/>
                  </a:lnTo>
                  <a:lnTo>
                    <a:pt x="341" y="137"/>
                  </a:lnTo>
                  <a:lnTo>
                    <a:pt x="342" y="138"/>
                  </a:lnTo>
                  <a:lnTo>
                    <a:pt x="342" y="139"/>
                  </a:lnTo>
                  <a:lnTo>
                    <a:pt x="343" y="139"/>
                  </a:lnTo>
                  <a:lnTo>
                    <a:pt x="343" y="140"/>
                  </a:lnTo>
                  <a:lnTo>
                    <a:pt x="343" y="142"/>
                  </a:lnTo>
                  <a:lnTo>
                    <a:pt x="343" y="144"/>
                  </a:lnTo>
                  <a:lnTo>
                    <a:pt x="343" y="144"/>
                  </a:lnTo>
                  <a:lnTo>
                    <a:pt x="343" y="145"/>
                  </a:lnTo>
                  <a:lnTo>
                    <a:pt x="343" y="146"/>
                  </a:lnTo>
                  <a:lnTo>
                    <a:pt x="344" y="147"/>
                  </a:lnTo>
                  <a:lnTo>
                    <a:pt x="344" y="148"/>
                  </a:lnTo>
                  <a:lnTo>
                    <a:pt x="344" y="148"/>
                  </a:lnTo>
                  <a:lnTo>
                    <a:pt x="345" y="149"/>
                  </a:lnTo>
                  <a:lnTo>
                    <a:pt x="345" y="149"/>
                  </a:lnTo>
                  <a:lnTo>
                    <a:pt x="346" y="150"/>
                  </a:lnTo>
                  <a:lnTo>
                    <a:pt x="347" y="150"/>
                  </a:lnTo>
                  <a:lnTo>
                    <a:pt x="347" y="151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50" y="152"/>
                  </a:lnTo>
                  <a:lnTo>
                    <a:pt x="350" y="152"/>
                  </a:lnTo>
                  <a:lnTo>
                    <a:pt x="351" y="152"/>
                  </a:lnTo>
                  <a:lnTo>
                    <a:pt x="352" y="152"/>
                  </a:lnTo>
                  <a:lnTo>
                    <a:pt x="353" y="152"/>
                  </a:lnTo>
                  <a:lnTo>
                    <a:pt x="357" y="151"/>
                  </a:lnTo>
                  <a:lnTo>
                    <a:pt x="358" y="151"/>
                  </a:lnTo>
                  <a:lnTo>
                    <a:pt x="359" y="151"/>
                  </a:lnTo>
                  <a:lnTo>
                    <a:pt x="363" y="152"/>
                  </a:lnTo>
                  <a:lnTo>
                    <a:pt x="366" y="152"/>
                  </a:lnTo>
                  <a:lnTo>
                    <a:pt x="369" y="153"/>
                  </a:lnTo>
                  <a:lnTo>
                    <a:pt x="370" y="153"/>
                  </a:lnTo>
                  <a:lnTo>
                    <a:pt x="371" y="153"/>
                  </a:lnTo>
                  <a:lnTo>
                    <a:pt x="372" y="153"/>
                  </a:lnTo>
                  <a:lnTo>
                    <a:pt x="373" y="152"/>
                  </a:lnTo>
                  <a:lnTo>
                    <a:pt x="377" y="151"/>
                  </a:lnTo>
                  <a:lnTo>
                    <a:pt x="379" y="150"/>
                  </a:lnTo>
                  <a:lnTo>
                    <a:pt x="380" y="150"/>
                  </a:lnTo>
                  <a:lnTo>
                    <a:pt x="382" y="149"/>
                  </a:lnTo>
                  <a:lnTo>
                    <a:pt x="382" y="149"/>
                  </a:lnTo>
                  <a:lnTo>
                    <a:pt x="383" y="149"/>
                  </a:lnTo>
                  <a:lnTo>
                    <a:pt x="384" y="149"/>
                  </a:lnTo>
                  <a:lnTo>
                    <a:pt x="384" y="149"/>
                  </a:lnTo>
                  <a:lnTo>
                    <a:pt x="385" y="149"/>
                  </a:lnTo>
                  <a:lnTo>
                    <a:pt x="386" y="149"/>
                  </a:lnTo>
                  <a:lnTo>
                    <a:pt x="386" y="150"/>
                  </a:lnTo>
                  <a:lnTo>
                    <a:pt x="387" y="151"/>
                  </a:lnTo>
                  <a:lnTo>
                    <a:pt x="389" y="152"/>
                  </a:lnTo>
                  <a:lnTo>
                    <a:pt x="389" y="153"/>
                  </a:lnTo>
                  <a:lnTo>
                    <a:pt x="390" y="153"/>
                  </a:lnTo>
                  <a:lnTo>
                    <a:pt x="391" y="154"/>
                  </a:lnTo>
                  <a:lnTo>
                    <a:pt x="391" y="155"/>
                  </a:lnTo>
                  <a:lnTo>
                    <a:pt x="391" y="155"/>
                  </a:lnTo>
                  <a:lnTo>
                    <a:pt x="392" y="156"/>
                  </a:lnTo>
                  <a:lnTo>
                    <a:pt x="392" y="158"/>
                  </a:lnTo>
                  <a:lnTo>
                    <a:pt x="392" y="158"/>
                  </a:lnTo>
                  <a:lnTo>
                    <a:pt x="392" y="160"/>
                  </a:lnTo>
                  <a:lnTo>
                    <a:pt x="392" y="162"/>
                  </a:lnTo>
                  <a:lnTo>
                    <a:pt x="393" y="165"/>
                  </a:lnTo>
                  <a:lnTo>
                    <a:pt x="393" y="167"/>
                  </a:lnTo>
                  <a:lnTo>
                    <a:pt x="392" y="168"/>
                  </a:lnTo>
                  <a:lnTo>
                    <a:pt x="392" y="171"/>
                  </a:lnTo>
                  <a:lnTo>
                    <a:pt x="392" y="172"/>
                  </a:lnTo>
                  <a:lnTo>
                    <a:pt x="392" y="173"/>
                  </a:lnTo>
                  <a:lnTo>
                    <a:pt x="392" y="174"/>
                  </a:lnTo>
                  <a:lnTo>
                    <a:pt x="392" y="176"/>
                  </a:lnTo>
                  <a:lnTo>
                    <a:pt x="392" y="178"/>
                  </a:lnTo>
                  <a:lnTo>
                    <a:pt x="392" y="179"/>
                  </a:lnTo>
                  <a:lnTo>
                    <a:pt x="392" y="179"/>
                  </a:lnTo>
                  <a:lnTo>
                    <a:pt x="392" y="180"/>
                  </a:lnTo>
                  <a:lnTo>
                    <a:pt x="393" y="182"/>
                  </a:lnTo>
                  <a:lnTo>
                    <a:pt x="394" y="183"/>
                  </a:lnTo>
                  <a:lnTo>
                    <a:pt x="396" y="185"/>
                  </a:lnTo>
                  <a:lnTo>
                    <a:pt x="396" y="186"/>
                  </a:lnTo>
                  <a:lnTo>
                    <a:pt x="397" y="188"/>
                  </a:lnTo>
                  <a:lnTo>
                    <a:pt x="397" y="189"/>
                  </a:lnTo>
                  <a:lnTo>
                    <a:pt x="398" y="191"/>
                  </a:lnTo>
                  <a:lnTo>
                    <a:pt x="398" y="191"/>
                  </a:lnTo>
                  <a:lnTo>
                    <a:pt x="398" y="192"/>
                  </a:lnTo>
                  <a:lnTo>
                    <a:pt x="398" y="192"/>
                  </a:lnTo>
                  <a:lnTo>
                    <a:pt x="398" y="193"/>
                  </a:lnTo>
                  <a:lnTo>
                    <a:pt x="398" y="194"/>
                  </a:lnTo>
                  <a:lnTo>
                    <a:pt x="397" y="195"/>
                  </a:lnTo>
                  <a:lnTo>
                    <a:pt x="397" y="196"/>
                  </a:lnTo>
                  <a:lnTo>
                    <a:pt x="396" y="198"/>
                  </a:lnTo>
                  <a:lnTo>
                    <a:pt x="396" y="199"/>
                  </a:lnTo>
                  <a:lnTo>
                    <a:pt x="395" y="200"/>
                  </a:lnTo>
                  <a:lnTo>
                    <a:pt x="394" y="202"/>
                  </a:lnTo>
                  <a:lnTo>
                    <a:pt x="393" y="203"/>
                  </a:lnTo>
                  <a:lnTo>
                    <a:pt x="392" y="204"/>
                  </a:lnTo>
                  <a:lnTo>
                    <a:pt x="391" y="206"/>
                  </a:lnTo>
                  <a:lnTo>
                    <a:pt x="390" y="207"/>
                  </a:lnTo>
                  <a:lnTo>
                    <a:pt x="389" y="208"/>
                  </a:lnTo>
                  <a:lnTo>
                    <a:pt x="389" y="209"/>
                  </a:lnTo>
                  <a:lnTo>
                    <a:pt x="388" y="210"/>
                  </a:lnTo>
                  <a:lnTo>
                    <a:pt x="388" y="210"/>
                  </a:lnTo>
                  <a:lnTo>
                    <a:pt x="388" y="211"/>
                  </a:lnTo>
                  <a:lnTo>
                    <a:pt x="389" y="212"/>
                  </a:lnTo>
                  <a:lnTo>
                    <a:pt x="389" y="213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8" y="217"/>
                  </a:lnTo>
                  <a:lnTo>
                    <a:pt x="388" y="217"/>
                  </a:lnTo>
                  <a:lnTo>
                    <a:pt x="388" y="217"/>
                  </a:lnTo>
                  <a:lnTo>
                    <a:pt x="388" y="218"/>
                  </a:lnTo>
                  <a:lnTo>
                    <a:pt x="388" y="218"/>
                  </a:lnTo>
                  <a:lnTo>
                    <a:pt x="389" y="218"/>
                  </a:lnTo>
                  <a:lnTo>
                    <a:pt x="390" y="219"/>
                  </a:lnTo>
                  <a:lnTo>
                    <a:pt x="393" y="220"/>
                  </a:lnTo>
                  <a:lnTo>
                    <a:pt x="397" y="221"/>
                  </a:lnTo>
                  <a:lnTo>
                    <a:pt x="398" y="221"/>
                  </a:lnTo>
                  <a:lnTo>
                    <a:pt x="399" y="221"/>
                  </a:lnTo>
                  <a:lnTo>
                    <a:pt x="401" y="222"/>
                  </a:lnTo>
                  <a:lnTo>
                    <a:pt x="402" y="222"/>
                  </a:lnTo>
                  <a:lnTo>
                    <a:pt x="403" y="222"/>
                  </a:lnTo>
                  <a:lnTo>
                    <a:pt x="404" y="223"/>
                  </a:lnTo>
                  <a:lnTo>
                    <a:pt x="405" y="223"/>
                  </a:lnTo>
                  <a:lnTo>
                    <a:pt x="407" y="225"/>
                  </a:lnTo>
                  <a:lnTo>
                    <a:pt x="408" y="226"/>
                  </a:lnTo>
                  <a:lnTo>
                    <a:pt x="410" y="226"/>
                  </a:lnTo>
                  <a:lnTo>
                    <a:pt x="410" y="227"/>
                  </a:lnTo>
                  <a:lnTo>
                    <a:pt x="410" y="227"/>
                  </a:lnTo>
                  <a:lnTo>
                    <a:pt x="411" y="228"/>
                  </a:lnTo>
                  <a:lnTo>
                    <a:pt x="411" y="228"/>
                  </a:lnTo>
                  <a:lnTo>
                    <a:pt x="411" y="229"/>
                  </a:lnTo>
                  <a:lnTo>
                    <a:pt x="411" y="229"/>
                  </a:lnTo>
                  <a:lnTo>
                    <a:pt x="411" y="230"/>
                  </a:lnTo>
                  <a:lnTo>
                    <a:pt x="411" y="231"/>
                  </a:lnTo>
                  <a:lnTo>
                    <a:pt x="411" y="231"/>
                  </a:lnTo>
                  <a:lnTo>
                    <a:pt x="411" y="233"/>
                  </a:lnTo>
                  <a:lnTo>
                    <a:pt x="411" y="234"/>
                  </a:lnTo>
                  <a:lnTo>
                    <a:pt x="411" y="235"/>
                  </a:lnTo>
                  <a:lnTo>
                    <a:pt x="410" y="235"/>
                  </a:lnTo>
                  <a:lnTo>
                    <a:pt x="410" y="236"/>
                  </a:lnTo>
                  <a:lnTo>
                    <a:pt x="410" y="236"/>
                  </a:lnTo>
                  <a:lnTo>
                    <a:pt x="409" y="236"/>
                  </a:lnTo>
                  <a:lnTo>
                    <a:pt x="408" y="236"/>
                  </a:lnTo>
                  <a:lnTo>
                    <a:pt x="408" y="237"/>
                  </a:lnTo>
                  <a:lnTo>
                    <a:pt x="407" y="237"/>
                  </a:lnTo>
                  <a:lnTo>
                    <a:pt x="405" y="237"/>
                  </a:lnTo>
                  <a:lnTo>
                    <a:pt x="404" y="238"/>
                  </a:lnTo>
                  <a:lnTo>
                    <a:pt x="404" y="238"/>
                  </a:lnTo>
                  <a:lnTo>
                    <a:pt x="403" y="238"/>
                  </a:lnTo>
                  <a:lnTo>
                    <a:pt x="403" y="239"/>
                  </a:lnTo>
                  <a:lnTo>
                    <a:pt x="402" y="239"/>
                  </a:lnTo>
                  <a:lnTo>
                    <a:pt x="402" y="239"/>
                  </a:lnTo>
                  <a:lnTo>
                    <a:pt x="402" y="240"/>
                  </a:lnTo>
                  <a:lnTo>
                    <a:pt x="402" y="240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403" y="242"/>
                  </a:lnTo>
                  <a:lnTo>
                    <a:pt x="404" y="243"/>
                  </a:lnTo>
                  <a:lnTo>
                    <a:pt x="404" y="243"/>
                  </a:lnTo>
                  <a:lnTo>
                    <a:pt x="404" y="244"/>
                  </a:lnTo>
                  <a:lnTo>
                    <a:pt x="404" y="244"/>
                  </a:lnTo>
                  <a:lnTo>
                    <a:pt x="404" y="245"/>
                  </a:lnTo>
                  <a:lnTo>
                    <a:pt x="404" y="245"/>
                  </a:lnTo>
                  <a:lnTo>
                    <a:pt x="403" y="246"/>
                  </a:lnTo>
                  <a:lnTo>
                    <a:pt x="403" y="247"/>
                  </a:lnTo>
                  <a:lnTo>
                    <a:pt x="403" y="247"/>
                  </a:lnTo>
                  <a:lnTo>
                    <a:pt x="403" y="249"/>
                  </a:lnTo>
                  <a:lnTo>
                    <a:pt x="402" y="251"/>
                  </a:lnTo>
                  <a:lnTo>
                    <a:pt x="402" y="252"/>
                  </a:lnTo>
                  <a:lnTo>
                    <a:pt x="402" y="253"/>
                  </a:lnTo>
                  <a:lnTo>
                    <a:pt x="402" y="254"/>
                  </a:lnTo>
                  <a:lnTo>
                    <a:pt x="401" y="254"/>
                  </a:lnTo>
                  <a:lnTo>
                    <a:pt x="401" y="255"/>
                  </a:lnTo>
                  <a:lnTo>
                    <a:pt x="401" y="255"/>
                  </a:lnTo>
                  <a:lnTo>
                    <a:pt x="400" y="256"/>
                  </a:lnTo>
                  <a:lnTo>
                    <a:pt x="399" y="256"/>
                  </a:lnTo>
                  <a:lnTo>
                    <a:pt x="397" y="258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1"/>
                  </a:lnTo>
                  <a:lnTo>
                    <a:pt x="397" y="262"/>
                  </a:lnTo>
                  <a:lnTo>
                    <a:pt x="397" y="262"/>
                  </a:lnTo>
                  <a:lnTo>
                    <a:pt x="398" y="263"/>
                  </a:lnTo>
                  <a:lnTo>
                    <a:pt x="398" y="263"/>
                  </a:lnTo>
                  <a:lnTo>
                    <a:pt x="397" y="263"/>
                  </a:lnTo>
                  <a:lnTo>
                    <a:pt x="397" y="263"/>
                  </a:lnTo>
                  <a:lnTo>
                    <a:pt x="397" y="264"/>
                  </a:lnTo>
                  <a:lnTo>
                    <a:pt x="396" y="264"/>
                  </a:lnTo>
                  <a:lnTo>
                    <a:pt x="394" y="265"/>
                  </a:lnTo>
                  <a:lnTo>
                    <a:pt x="394" y="265"/>
                  </a:lnTo>
                  <a:lnTo>
                    <a:pt x="393" y="265"/>
                  </a:lnTo>
                  <a:lnTo>
                    <a:pt x="393" y="266"/>
                  </a:lnTo>
                  <a:lnTo>
                    <a:pt x="392" y="266"/>
                  </a:lnTo>
                  <a:lnTo>
                    <a:pt x="392" y="267"/>
                  </a:lnTo>
                  <a:lnTo>
                    <a:pt x="392" y="267"/>
                  </a:lnTo>
                  <a:lnTo>
                    <a:pt x="392" y="267"/>
                  </a:lnTo>
                  <a:lnTo>
                    <a:pt x="392" y="268"/>
                  </a:lnTo>
                  <a:lnTo>
                    <a:pt x="392" y="269"/>
                  </a:lnTo>
                  <a:lnTo>
                    <a:pt x="392" y="269"/>
                  </a:lnTo>
                  <a:lnTo>
                    <a:pt x="392" y="270"/>
                  </a:lnTo>
                  <a:lnTo>
                    <a:pt x="393" y="271"/>
                  </a:lnTo>
                  <a:lnTo>
                    <a:pt x="393" y="272"/>
                  </a:lnTo>
                  <a:lnTo>
                    <a:pt x="394" y="272"/>
                  </a:lnTo>
                  <a:lnTo>
                    <a:pt x="395" y="273"/>
                  </a:lnTo>
                  <a:lnTo>
                    <a:pt x="396" y="274"/>
                  </a:lnTo>
                  <a:lnTo>
                    <a:pt x="397" y="274"/>
                  </a:lnTo>
                  <a:lnTo>
                    <a:pt x="398" y="275"/>
                  </a:lnTo>
                  <a:lnTo>
                    <a:pt x="399" y="275"/>
                  </a:lnTo>
                  <a:lnTo>
                    <a:pt x="400" y="276"/>
                  </a:lnTo>
                  <a:lnTo>
                    <a:pt x="403" y="276"/>
                  </a:lnTo>
                  <a:lnTo>
                    <a:pt x="403" y="277"/>
                  </a:lnTo>
                  <a:lnTo>
                    <a:pt x="404" y="277"/>
                  </a:lnTo>
                  <a:lnTo>
                    <a:pt x="406" y="278"/>
                  </a:lnTo>
                  <a:lnTo>
                    <a:pt x="406" y="278"/>
                  </a:lnTo>
                  <a:lnTo>
                    <a:pt x="407" y="279"/>
                  </a:lnTo>
                  <a:lnTo>
                    <a:pt x="408" y="279"/>
                  </a:lnTo>
                  <a:lnTo>
                    <a:pt x="408" y="280"/>
                  </a:lnTo>
                  <a:lnTo>
                    <a:pt x="409" y="280"/>
                  </a:lnTo>
                  <a:lnTo>
                    <a:pt x="409" y="280"/>
                  </a:lnTo>
                  <a:lnTo>
                    <a:pt x="410" y="281"/>
                  </a:lnTo>
                  <a:lnTo>
                    <a:pt x="412" y="281"/>
                  </a:lnTo>
                  <a:lnTo>
                    <a:pt x="413" y="282"/>
                  </a:lnTo>
                  <a:lnTo>
                    <a:pt x="415" y="282"/>
                  </a:lnTo>
                  <a:lnTo>
                    <a:pt x="415" y="282"/>
                  </a:lnTo>
                  <a:lnTo>
                    <a:pt x="416" y="282"/>
                  </a:lnTo>
                  <a:lnTo>
                    <a:pt x="416" y="282"/>
                  </a:lnTo>
                  <a:lnTo>
                    <a:pt x="416" y="283"/>
                  </a:lnTo>
                  <a:lnTo>
                    <a:pt x="417" y="284"/>
                  </a:lnTo>
                  <a:lnTo>
                    <a:pt x="418" y="284"/>
                  </a:lnTo>
                  <a:lnTo>
                    <a:pt x="418" y="284"/>
                  </a:lnTo>
                  <a:lnTo>
                    <a:pt x="419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6"/>
                  </a:lnTo>
                  <a:lnTo>
                    <a:pt x="421" y="286"/>
                  </a:lnTo>
                  <a:lnTo>
                    <a:pt x="421" y="287"/>
                  </a:lnTo>
                  <a:lnTo>
                    <a:pt x="421" y="290"/>
                  </a:lnTo>
                  <a:lnTo>
                    <a:pt x="421" y="290"/>
                  </a:lnTo>
                  <a:lnTo>
                    <a:pt x="421" y="291"/>
                  </a:lnTo>
                  <a:lnTo>
                    <a:pt x="421" y="291"/>
                  </a:lnTo>
                  <a:lnTo>
                    <a:pt x="421" y="292"/>
                  </a:lnTo>
                  <a:lnTo>
                    <a:pt x="422" y="293"/>
                  </a:lnTo>
                  <a:lnTo>
                    <a:pt x="422" y="293"/>
                  </a:lnTo>
                  <a:lnTo>
                    <a:pt x="423" y="294"/>
                  </a:lnTo>
                  <a:lnTo>
                    <a:pt x="425" y="295"/>
                  </a:lnTo>
                  <a:lnTo>
                    <a:pt x="426" y="296"/>
                  </a:lnTo>
                  <a:lnTo>
                    <a:pt x="427" y="297"/>
                  </a:lnTo>
                  <a:lnTo>
                    <a:pt x="429" y="298"/>
                  </a:lnTo>
                  <a:lnTo>
                    <a:pt x="430" y="299"/>
                  </a:lnTo>
                  <a:lnTo>
                    <a:pt x="433" y="300"/>
                  </a:lnTo>
                  <a:lnTo>
                    <a:pt x="434" y="301"/>
                  </a:lnTo>
                  <a:lnTo>
                    <a:pt x="435" y="301"/>
                  </a:lnTo>
                  <a:lnTo>
                    <a:pt x="436" y="302"/>
                  </a:lnTo>
                  <a:lnTo>
                    <a:pt x="437" y="303"/>
                  </a:lnTo>
                  <a:lnTo>
                    <a:pt x="437" y="304"/>
                  </a:lnTo>
                  <a:lnTo>
                    <a:pt x="438" y="304"/>
                  </a:lnTo>
                  <a:lnTo>
                    <a:pt x="438" y="305"/>
                  </a:lnTo>
                  <a:lnTo>
                    <a:pt x="438" y="306"/>
                  </a:lnTo>
                  <a:lnTo>
                    <a:pt x="438" y="307"/>
                  </a:lnTo>
                  <a:lnTo>
                    <a:pt x="438" y="307"/>
                  </a:lnTo>
                  <a:lnTo>
                    <a:pt x="438" y="309"/>
                  </a:lnTo>
                  <a:lnTo>
                    <a:pt x="437" y="311"/>
                  </a:lnTo>
                  <a:lnTo>
                    <a:pt x="437" y="312"/>
                  </a:lnTo>
                  <a:lnTo>
                    <a:pt x="437" y="312"/>
                  </a:lnTo>
                  <a:lnTo>
                    <a:pt x="437" y="313"/>
                  </a:lnTo>
                  <a:lnTo>
                    <a:pt x="437" y="314"/>
                  </a:lnTo>
                  <a:lnTo>
                    <a:pt x="437" y="314"/>
                  </a:lnTo>
                  <a:lnTo>
                    <a:pt x="438" y="317"/>
                  </a:lnTo>
                  <a:lnTo>
                    <a:pt x="438" y="318"/>
                  </a:lnTo>
                  <a:lnTo>
                    <a:pt x="438" y="319"/>
                  </a:lnTo>
                  <a:lnTo>
                    <a:pt x="438" y="320"/>
                  </a:lnTo>
                  <a:lnTo>
                    <a:pt x="438" y="321"/>
                  </a:lnTo>
                  <a:lnTo>
                    <a:pt x="438" y="322"/>
                  </a:lnTo>
                  <a:lnTo>
                    <a:pt x="437" y="324"/>
                  </a:lnTo>
                  <a:lnTo>
                    <a:pt x="436" y="325"/>
                  </a:lnTo>
                  <a:lnTo>
                    <a:pt x="435" y="329"/>
                  </a:lnTo>
                  <a:lnTo>
                    <a:pt x="434" y="330"/>
                  </a:lnTo>
                  <a:lnTo>
                    <a:pt x="434" y="331"/>
                  </a:lnTo>
                  <a:lnTo>
                    <a:pt x="432" y="333"/>
                  </a:lnTo>
                  <a:lnTo>
                    <a:pt x="432" y="333"/>
                  </a:lnTo>
                  <a:lnTo>
                    <a:pt x="431" y="334"/>
                  </a:lnTo>
                  <a:lnTo>
                    <a:pt x="431" y="335"/>
                  </a:lnTo>
                  <a:lnTo>
                    <a:pt x="431" y="336"/>
                  </a:lnTo>
                  <a:lnTo>
                    <a:pt x="431" y="336"/>
                  </a:lnTo>
                  <a:lnTo>
                    <a:pt x="431" y="340"/>
                  </a:lnTo>
                  <a:lnTo>
                    <a:pt x="430" y="343"/>
                  </a:lnTo>
                  <a:lnTo>
                    <a:pt x="430" y="347"/>
                  </a:lnTo>
                  <a:lnTo>
                    <a:pt x="429" y="349"/>
                  </a:lnTo>
                  <a:lnTo>
                    <a:pt x="429" y="349"/>
                  </a:lnTo>
                  <a:lnTo>
                    <a:pt x="429" y="350"/>
                  </a:lnTo>
                  <a:lnTo>
                    <a:pt x="429" y="349"/>
                  </a:lnTo>
                  <a:lnTo>
                    <a:pt x="429" y="350"/>
                  </a:lnTo>
                  <a:lnTo>
                    <a:pt x="429" y="350"/>
                  </a:lnTo>
                  <a:lnTo>
                    <a:pt x="429" y="351"/>
                  </a:lnTo>
                  <a:lnTo>
                    <a:pt x="428" y="351"/>
                  </a:lnTo>
                  <a:lnTo>
                    <a:pt x="428" y="352"/>
                  </a:lnTo>
                  <a:lnTo>
                    <a:pt x="427" y="353"/>
                  </a:lnTo>
                  <a:lnTo>
                    <a:pt x="424" y="354"/>
                  </a:lnTo>
                  <a:lnTo>
                    <a:pt x="422" y="356"/>
                  </a:lnTo>
                  <a:lnTo>
                    <a:pt x="421" y="357"/>
                  </a:lnTo>
                  <a:lnTo>
                    <a:pt x="421" y="357"/>
                  </a:lnTo>
                  <a:lnTo>
                    <a:pt x="421" y="357"/>
                  </a:lnTo>
                  <a:lnTo>
                    <a:pt x="420" y="358"/>
                  </a:lnTo>
                  <a:lnTo>
                    <a:pt x="419" y="358"/>
                  </a:lnTo>
                  <a:lnTo>
                    <a:pt x="418" y="358"/>
                  </a:lnTo>
                  <a:lnTo>
                    <a:pt x="416" y="358"/>
                  </a:lnTo>
                  <a:lnTo>
                    <a:pt x="415" y="358"/>
                  </a:lnTo>
                  <a:lnTo>
                    <a:pt x="414" y="359"/>
                  </a:lnTo>
                  <a:lnTo>
                    <a:pt x="413" y="359"/>
                  </a:lnTo>
                  <a:lnTo>
                    <a:pt x="412" y="359"/>
                  </a:lnTo>
                  <a:lnTo>
                    <a:pt x="412" y="360"/>
                  </a:lnTo>
                  <a:lnTo>
                    <a:pt x="411" y="360"/>
                  </a:lnTo>
                  <a:lnTo>
                    <a:pt x="411" y="361"/>
                  </a:lnTo>
                  <a:lnTo>
                    <a:pt x="409" y="362"/>
                  </a:lnTo>
                  <a:lnTo>
                    <a:pt x="408" y="363"/>
                  </a:lnTo>
                  <a:lnTo>
                    <a:pt x="408" y="364"/>
                  </a:lnTo>
                  <a:lnTo>
                    <a:pt x="408" y="364"/>
                  </a:lnTo>
                  <a:lnTo>
                    <a:pt x="407" y="365"/>
                  </a:lnTo>
                  <a:lnTo>
                    <a:pt x="407" y="365"/>
                  </a:lnTo>
                  <a:lnTo>
                    <a:pt x="407" y="366"/>
                  </a:lnTo>
                  <a:lnTo>
                    <a:pt x="407" y="367"/>
                  </a:lnTo>
                  <a:lnTo>
                    <a:pt x="407" y="367"/>
                  </a:lnTo>
                  <a:lnTo>
                    <a:pt x="407" y="368"/>
                  </a:lnTo>
                  <a:lnTo>
                    <a:pt x="407" y="369"/>
                  </a:lnTo>
                  <a:lnTo>
                    <a:pt x="407" y="369"/>
                  </a:lnTo>
                  <a:lnTo>
                    <a:pt x="408" y="372"/>
                  </a:lnTo>
                  <a:lnTo>
                    <a:pt x="409" y="373"/>
                  </a:lnTo>
                  <a:lnTo>
                    <a:pt x="409" y="374"/>
                  </a:lnTo>
                  <a:lnTo>
                    <a:pt x="409" y="375"/>
                  </a:lnTo>
                  <a:lnTo>
                    <a:pt x="409" y="375"/>
                  </a:lnTo>
                  <a:lnTo>
                    <a:pt x="409" y="376"/>
                  </a:lnTo>
                  <a:lnTo>
                    <a:pt x="409" y="377"/>
                  </a:lnTo>
                  <a:lnTo>
                    <a:pt x="409" y="377"/>
                  </a:lnTo>
                  <a:lnTo>
                    <a:pt x="409" y="377"/>
                  </a:lnTo>
                  <a:lnTo>
                    <a:pt x="409" y="378"/>
                  </a:lnTo>
                  <a:lnTo>
                    <a:pt x="409" y="378"/>
                  </a:lnTo>
                  <a:lnTo>
                    <a:pt x="408" y="379"/>
                  </a:lnTo>
                  <a:lnTo>
                    <a:pt x="408" y="379"/>
                  </a:lnTo>
                  <a:lnTo>
                    <a:pt x="407" y="379"/>
                  </a:lnTo>
                  <a:lnTo>
                    <a:pt x="407" y="380"/>
                  </a:lnTo>
                  <a:lnTo>
                    <a:pt x="406" y="380"/>
                  </a:lnTo>
                  <a:lnTo>
                    <a:pt x="405" y="380"/>
                  </a:lnTo>
                  <a:lnTo>
                    <a:pt x="404" y="380"/>
                  </a:lnTo>
                  <a:lnTo>
                    <a:pt x="403" y="380"/>
                  </a:lnTo>
                  <a:lnTo>
                    <a:pt x="402" y="380"/>
                  </a:lnTo>
                  <a:lnTo>
                    <a:pt x="399" y="380"/>
                  </a:lnTo>
                  <a:lnTo>
                    <a:pt x="397" y="380"/>
                  </a:lnTo>
                  <a:lnTo>
                    <a:pt x="397" y="380"/>
                  </a:lnTo>
                  <a:lnTo>
                    <a:pt x="396" y="380"/>
                  </a:lnTo>
                  <a:lnTo>
                    <a:pt x="395" y="381"/>
                  </a:lnTo>
                  <a:lnTo>
                    <a:pt x="395" y="381"/>
                  </a:lnTo>
                  <a:lnTo>
                    <a:pt x="394" y="382"/>
                  </a:lnTo>
                  <a:lnTo>
                    <a:pt x="393" y="382"/>
                  </a:lnTo>
                  <a:lnTo>
                    <a:pt x="392" y="383"/>
                  </a:lnTo>
                  <a:lnTo>
                    <a:pt x="391" y="386"/>
                  </a:lnTo>
                  <a:lnTo>
                    <a:pt x="390" y="387"/>
                  </a:lnTo>
                  <a:lnTo>
                    <a:pt x="389" y="387"/>
                  </a:lnTo>
                  <a:lnTo>
                    <a:pt x="389" y="388"/>
                  </a:lnTo>
                  <a:lnTo>
                    <a:pt x="387" y="389"/>
                  </a:lnTo>
                  <a:lnTo>
                    <a:pt x="386" y="390"/>
                  </a:lnTo>
                  <a:lnTo>
                    <a:pt x="385" y="390"/>
                  </a:lnTo>
                  <a:lnTo>
                    <a:pt x="383" y="391"/>
                  </a:lnTo>
                  <a:lnTo>
                    <a:pt x="381" y="391"/>
                  </a:lnTo>
                  <a:lnTo>
                    <a:pt x="380" y="391"/>
                  </a:lnTo>
                  <a:lnTo>
                    <a:pt x="378" y="392"/>
                  </a:lnTo>
                  <a:lnTo>
                    <a:pt x="375" y="393"/>
                  </a:lnTo>
                  <a:lnTo>
                    <a:pt x="373" y="393"/>
                  </a:lnTo>
                  <a:lnTo>
                    <a:pt x="371" y="394"/>
                  </a:lnTo>
                  <a:lnTo>
                    <a:pt x="370" y="394"/>
                  </a:lnTo>
                  <a:lnTo>
                    <a:pt x="368" y="395"/>
                  </a:lnTo>
                  <a:lnTo>
                    <a:pt x="367" y="396"/>
                  </a:lnTo>
                  <a:lnTo>
                    <a:pt x="364" y="397"/>
                  </a:lnTo>
                  <a:lnTo>
                    <a:pt x="363" y="398"/>
                  </a:lnTo>
                  <a:lnTo>
                    <a:pt x="362" y="398"/>
                  </a:lnTo>
                  <a:lnTo>
                    <a:pt x="361" y="399"/>
                  </a:lnTo>
                  <a:lnTo>
                    <a:pt x="360" y="399"/>
                  </a:lnTo>
                  <a:lnTo>
                    <a:pt x="360" y="399"/>
                  </a:lnTo>
                  <a:lnTo>
                    <a:pt x="359" y="399"/>
                  </a:lnTo>
                  <a:lnTo>
                    <a:pt x="358" y="399"/>
                  </a:lnTo>
                  <a:lnTo>
                    <a:pt x="358" y="398"/>
                  </a:lnTo>
                  <a:lnTo>
                    <a:pt x="357" y="398"/>
                  </a:lnTo>
                  <a:lnTo>
                    <a:pt x="357" y="398"/>
                  </a:lnTo>
                  <a:lnTo>
                    <a:pt x="356" y="398"/>
                  </a:lnTo>
                  <a:lnTo>
                    <a:pt x="355" y="397"/>
                  </a:lnTo>
                  <a:lnTo>
                    <a:pt x="354" y="397"/>
                  </a:lnTo>
                  <a:lnTo>
                    <a:pt x="354" y="397"/>
                  </a:lnTo>
                  <a:lnTo>
                    <a:pt x="353" y="397"/>
                  </a:lnTo>
                  <a:lnTo>
                    <a:pt x="352" y="398"/>
                  </a:lnTo>
                  <a:lnTo>
                    <a:pt x="351" y="398"/>
                  </a:lnTo>
                  <a:lnTo>
                    <a:pt x="351" y="398"/>
                  </a:lnTo>
                  <a:lnTo>
                    <a:pt x="350" y="399"/>
                  </a:lnTo>
                  <a:lnTo>
                    <a:pt x="349" y="399"/>
                  </a:lnTo>
                  <a:lnTo>
                    <a:pt x="349" y="400"/>
                  </a:lnTo>
                  <a:lnTo>
                    <a:pt x="348" y="400"/>
                  </a:lnTo>
                  <a:lnTo>
                    <a:pt x="348" y="401"/>
                  </a:lnTo>
                  <a:lnTo>
                    <a:pt x="348" y="401"/>
                  </a:lnTo>
                  <a:lnTo>
                    <a:pt x="348" y="402"/>
                  </a:lnTo>
                  <a:lnTo>
                    <a:pt x="347" y="404"/>
                  </a:lnTo>
                  <a:lnTo>
                    <a:pt x="347" y="405"/>
                  </a:lnTo>
                  <a:lnTo>
                    <a:pt x="346" y="407"/>
                  </a:lnTo>
                  <a:lnTo>
                    <a:pt x="344" y="410"/>
                  </a:lnTo>
                  <a:lnTo>
                    <a:pt x="344" y="411"/>
                  </a:lnTo>
                  <a:lnTo>
                    <a:pt x="344" y="412"/>
                  </a:lnTo>
                  <a:lnTo>
                    <a:pt x="343" y="412"/>
                  </a:lnTo>
                  <a:lnTo>
                    <a:pt x="337" y="419"/>
                  </a:lnTo>
                  <a:lnTo>
                    <a:pt x="337" y="420"/>
                  </a:lnTo>
                  <a:lnTo>
                    <a:pt x="336" y="421"/>
                  </a:lnTo>
                  <a:lnTo>
                    <a:pt x="336" y="422"/>
                  </a:lnTo>
                  <a:lnTo>
                    <a:pt x="335" y="423"/>
                  </a:lnTo>
                  <a:lnTo>
                    <a:pt x="335" y="424"/>
                  </a:lnTo>
                  <a:lnTo>
                    <a:pt x="335" y="425"/>
                  </a:lnTo>
                  <a:lnTo>
                    <a:pt x="335" y="426"/>
                  </a:lnTo>
                  <a:lnTo>
                    <a:pt x="334" y="427"/>
                  </a:lnTo>
                  <a:lnTo>
                    <a:pt x="334" y="428"/>
                  </a:lnTo>
                  <a:lnTo>
                    <a:pt x="334" y="429"/>
                  </a:lnTo>
                  <a:lnTo>
                    <a:pt x="334" y="430"/>
                  </a:lnTo>
                  <a:lnTo>
                    <a:pt x="335" y="432"/>
                  </a:lnTo>
                  <a:lnTo>
                    <a:pt x="335" y="433"/>
                  </a:lnTo>
                  <a:lnTo>
                    <a:pt x="335" y="434"/>
                  </a:lnTo>
                  <a:lnTo>
                    <a:pt x="336" y="435"/>
                  </a:lnTo>
                  <a:lnTo>
                    <a:pt x="336" y="436"/>
                  </a:lnTo>
                  <a:lnTo>
                    <a:pt x="336" y="436"/>
                  </a:lnTo>
                  <a:lnTo>
                    <a:pt x="337" y="437"/>
                  </a:lnTo>
                  <a:lnTo>
                    <a:pt x="338" y="437"/>
                  </a:lnTo>
                  <a:lnTo>
                    <a:pt x="338" y="438"/>
                  </a:lnTo>
                  <a:lnTo>
                    <a:pt x="342" y="440"/>
                  </a:lnTo>
                  <a:lnTo>
                    <a:pt x="344" y="440"/>
                  </a:lnTo>
                  <a:lnTo>
                    <a:pt x="346" y="441"/>
                  </a:lnTo>
                  <a:lnTo>
                    <a:pt x="347" y="442"/>
                  </a:lnTo>
                  <a:lnTo>
                    <a:pt x="348" y="442"/>
                  </a:lnTo>
                  <a:lnTo>
                    <a:pt x="349" y="443"/>
                  </a:lnTo>
                  <a:lnTo>
                    <a:pt x="349" y="443"/>
                  </a:lnTo>
                  <a:lnTo>
                    <a:pt x="350" y="444"/>
                  </a:lnTo>
                  <a:lnTo>
                    <a:pt x="350" y="444"/>
                  </a:lnTo>
                  <a:lnTo>
                    <a:pt x="351" y="445"/>
                  </a:lnTo>
                  <a:lnTo>
                    <a:pt x="352" y="446"/>
                  </a:lnTo>
                  <a:lnTo>
                    <a:pt x="353" y="448"/>
                  </a:lnTo>
                  <a:lnTo>
                    <a:pt x="353" y="449"/>
                  </a:lnTo>
                  <a:lnTo>
                    <a:pt x="354" y="450"/>
                  </a:lnTo>
                  <a:lnTo>
                    <a:pt x="354" y="451"/>
                  </a:lnTo>
                  <a:lnTo>
                    <a:pt x="354" y="451"/>
                  </a:lnTo>
                  <a:lnTo>
                    <a:pt x="354" y="452"/>
                  </a:lnTo>
                  <a:lnTo>
                    <a:pt x="354" y="454"/>
                  </a:lnTo>
                  <a:lnTo>
                    <a:pt x="354" y="455"/>
                  </a:lnTo>
                  <a:lnTo>
                    <a:pt x="354" y="456"/>
                  </a:lnTo>
                  <a:lnTo>
                    <a:pt x="354" y="457"/>
                  </a:lnTo>
                  <a:lnTo>
                    <a:pt x="354" y="457"/>
                  </a:lnTo>
                  <a:lnTo>
                    <a:pt x="353" y="458"/>
                  </a:lnTo>
                  <a:lnTo>
                    <a:pt x="353" y="459"/>
                  </a:lnTo>
                  <a:lnTo>
                    <a:pt x="353" y="460"/>
                  </a:lnTo>
                  <a:lnTo>
                    <a:pt x="352" y="460"/>
                  </a:lnTo>
                  <a:lnTo>
                    <a:pt x="352" y="461"/>
                  </a:lnTo>
                  <a:lnTo>
                    <a:pt x="351" y="461"/>
                  </a:lnTo>
                  <a:lnTo>
                    <a:pt x="349" y="463"/>
                  </a:lnTo>
                  <a:lnTo>
                    <a:pt x="348" y="463"/>
                  </a:lnTo>
                  <a:lnTo>
                    <a:pt x="348" y="464"/>
                  </a:lnTo>
                  <a:lnTo>
                    <a:pt x="347" y="464"/>
                  </a:lnTo>
                  <a:lnTo>
                    <a:pt x="346" y="464"/>
                  </a:lnTo>
                  <a:lnTo>
                    <a:pt x="345" y="464"/>
                  </a:lnTo>
                  <a:lnTo>
                    <a:pt x="344" y="464"/>
                  </a:lnTo>
                  <a:lnTo>
                    <a:pt x="342" y="464"/>
                  </a:lnTo>
                  <a:lnTo>
                    <a:pt x="341" y="464"/>
                  </a:lnTo>
                  <a:lnTo>
                    <a:pt x="339" y="464"/>
                  </a:lnTo>
                  <a:lnTo>
                    <a:pt x="338" y="464"/>
                  </a:lnTo>
                  <a:lnTo>
                    <a:pt x="337" y="464"/>
                  </a:lnTo>
                  <a:lnTo>
                    <a:pt x="337" y="464"/>
                  </a:lnTo>
                  <a:lnTo>
                    <a:pt x="336" y="464"/>
                  </a:lnTo>
                  <a:lnTo>
                    <a:pt x="336" y="464"/>
                  </a:lnTo>
                  <a:lnTo>
                    <a:pt x="335" y="464"/>
                  </a:lnTo>
                  <a:lnTo>
                    <a:pt x="334" y="466"/>
                  </a:lnTo>
                  <a:lnTo>
                    <a:pt x="333" y="466"/>
                  </a:lnTo>
                  <a:lnTo>
                    <a:pt x="333" y="466"/>
                  </a:lnTo>
                  <a:lnTo>
                    <a:pt x="333" y="467"/>
                  </a:lnTo>
                  <a:lnTo>
                    <a:pt x="332" y="467"/>
                  </a:lnTo>
                  <a:lnTo>
                    <a:pt x="331" y="469"/>
                  </a:lnTo>
                  <a:lnTo>
                    <a:pt x="331" y="470"/>
                  </a:lnTo>
                  <a:lnTo>
                    <a:pt x="330" y="471"/>
                  </a:lnTo>
                  <a:lnTo>
                    <a:pt x="330" y="472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8" y="473"/>
                  </a:lnTo>
                  <a:lnTo>
                    <a:pt x="328" y="473"/>
                  </a:lnTo>
                  <a:lnTo>
                    <a:pt x="327" y="473"/>
                  </a:lnTo>
                  <a:lnTo>
                    <a:pt x="326" y="473"/>
                  </a:lnTo>
                  <a:lnTo>
                    <a:pt x="324" y="471"/>
                  </a:lnTo>
                  <a:lnTo>
                    <a:pt x="324" y="471"/>
                  </a:lnTo>
                  <a:lnTo>
                    <a:pt x="323" y="470"/>
                  </a:lnTo>
                  <a:lnTo>
                    <a:pt x="322" y="470"/>
                  </a:lnTo>
                  <a:lnTo>
                    <a:pt x="320" y="470"/>
                  </a:lnTo>
                  <a:lnTo>
                    <a:pt x="319" y="469"/>
                  </a:lnTo>
                  <a:lnTo>
                    <a:pt x="317" y="469"/>
                  </a:lnTo>
                  <a:lnTo>
                    <a:pt x="315" y="468"/>
                  </a:lnTo>
                  <a:lnTo>
                    <a:pt x="315" y="468"/>
                  </a:lnTo>
                  <a:lnTo>
                    <a:pt x="314" y="468"/>
                  </a:lnTo>
                  <a:lnTo>
                    <a:pt x="314" y="468"/>
                  </a:lnTo>
                  <a:lnTo>
                    <a:pt x="313" y="468"/>
                  </a:lnTo>
                  <a:lnTo>
                    <a:pt x="312" y="468"/>
                  </a:lnTo>
                  <a:lnTo>
                    <a:pt x="310" y="469"/>
                  </a:lnTo>
                  <a:lnTo>
                    <a:pt x="307" y="470"/>
                  </a:lnTo>
                  <a:lnTo>
                    <a:pt x="305" y="471"/>
                  </a:lnTo>
                  <a:lnTo>
                    <a:pt x="305" y="471"/>
                  </a:lnTo>
                  <a:lnTo>
                    <a:pt x="303" y="471"/>
                  </a:lnTo>
                  <a:lnTo>
                    <a:pt x="301" y="472"/>
                  </a:lnTo>
                  <a:lnTo>
                    <a:pt x="300" y="472"/>
                  </a:lnTo>
                  <a:lnTo>
                    <a:pt x="299" y="472"/>
                  </a:lnTo>
                  <a:lnTo>
                    <a:pt x="297" y="472"/>
                  </a:lnTo>
                  <a:lnTo>
                    <a:pt x="296" y="472"/>
                  </a:lnTo>
                  <a:lnTo>
                    <a:pt x="292" y="471"/>
                  </a:lnTo>
                  <a:lnTo>
                    <a:pt x="291" y="471"/>
                  </a:lnTo>
                  <a:lnTo>
                    <a:pt x="288" y="471"/>
                  </a:lnTo>
                  <a:lnTo>
                    <a:pt x="287" y="471"/>
                  </a:lnTo>
                  <a:lnTo>
                    <a:pt x="286" y="470"/>
                  </a:lnTo>
                  <a:lnTo>
                    <a:pt x="285" y="470"/>
                  </a:lnTo>
                  <a:lnTo>
                    <a:pt x="281" y="469"/>
                  </a:lnTo>
                  <a:lnTo>
                    <a:pt x="280" y="469"/>
                  </a:lnTo>
                  <a:lnTo>
                    <a:pt x="279" y="469"/>
                  </a:lnTo>
                  <a:lnTo>
                    <a:pt x="279" y="469"/>
                  </a:lnTo>
                  <a:lnTo>
                    <a:pt x="278" y="469"/>
                  </a:lnTo>
                  <a:lnTo>
                    <a:pt x="277" y="469"/>
                  </a:lnTo>
                  <a:lnTo>
                    <a:pt x="276" y="469"/>
                  </a:lnTo>
                  <a:lnTo>
                    <a:pt x="276" y="470"/>
                  </a:lnTo>
                  <a:lnTo>
                    <a:pt x="275" y="470"/>
                  </a:lnTo>
                  <a:lnTo>
                    <a:pt x="275" y="471"/>
                  </a:lnTo>
                  <a:lnTo>
                    <a:pt x="275" y="471"/>
                  </a:lnTo>
                  <a:lnTo>
                    <a:pt x="274" y="472"/>
                  </a:lnTo>
                  <a:lnTo>
                    <a:pt x="274" y="472"/>
                  </a:lnTo>
                  <a:lnTo>
                    <a:pt x="274" y="473"/>
                  </a:lnTo>
                  <a:lnTo>
                    <a:pt x="274" y="473"/>
                  </a:lnTo>
                  <a:lnTo>
                    <a:pt x="274" y="474"/>
                  </a:lnTo>
                  <a:lnTo>
                    <a:pt x="275" y="476"/>
                  </a:lnTo>
                  <a:lnTo>
                    <a:pt x="275" y="477"/>
                  </a:lnTo>
                  <a:lnTo>
                    <a:pt x="275" y="477"/>
                  </a:lnTo>
                  <a:lnTo>
                    <a:pt x="275" y="478"/>
                  </a:lnTo>
                  <a:lnTo>
                    <a:pt x="275" y="478"/>
                  </a:lnTo>
                  <a:lnTo>
                    <a:pt x="275" y="478"/>
                  </a:lnTo>
                  <a:lnTo>
                    <a:pt x="274" y="479"/>
                  </a:lnTo>
                  <a:lnTo>
                    <a:pt x="274" y="479"/>
                  </a:lnTo>
                  <a:lnTo>
                    <a:pt x="273" y="479"/>
                  </a:lnTo>
                  <a:lnTo>
                    <a:pt x="273" y="480"/>
                  </a:lnTo>
                  <a:lnTo>
                    <a:pt x="272" y="480"/>
                  </a:lnTo>
                  <a:lnTo>
                    <a:pt x="271" y="480"/>
                  </a:lnTo>
                  <a:lnTo>
                    <a:pt x="266" y="482"/>
                  </a:lnTo>
                  <a:lnTo>
                    <a:pt x="265" y="482"/>
                  </a:lnTo>
                  <a:lnTo>
                    <a:pt x="265" y="482"/>
                  </a:lnTo>
                  <a:lnTo>
                    <a:pt x="264" y="482"/>
                  </a:lnTo>
                  <a:lnTo>
                    <a:pt x="264" y="483"/>
                  </a:lnTo>
                  <a:lnTo>
                    <a:pt x="264" y="483"/>
                  </a:lnTo>
                  <a:lnTo>
                    <a:pt x="263" y="484"/>
                  </a:lnTo>
                  <a:lnTo>
                    <a:pt x="263" y="484"/>
                  </a:lnTo>
                  <a:lnTo>
                    <a:pt x="263" y="485"/>
                  </a:lnTo>
                  <a:lnTo>
                    <a:pt x="262" y="486"/>
                  </a:lnTo>
                  <a:lnTo>
                    <a:pt x="262" y="487"/>
                  </a:lnTo>
                  <a:lnTo>
                    <a:pt x="262" y="490"/>
                  </a:lnTo>
                  <a:lnTo>
                    <a:pt x="261" y="491"/>
                  </a:lnTo>
                  <a:lnTo>
                    <a:pt x="261" y="492"/>
                  </a:lnTo>
                  <a:lnTo>
                    <a:pt x="260" y="494"/>
                  </a:lnTo>
                  <a:lnTo>
                    <a:pt x="260" y="494"/>
                  </a:lnTo>
                  <a:lnTo>
                    <a:pt x="260" y="494"/>
                  </a:lnTo>
                  <a:lnTo>
                    <a:pt x="259" y="495"/>
                  </a:lnTo>
                  <a:lnTo>
                    <a:pt x="258" y="495"/>
                  </a:lnTo>
                  <a:lnTo>
                    <a:pt x="258" y="495"/>
                  </a:lnTo>
                  <a:lnTo>
                    <a:pt x="257" y="495"/>
                  </a:lnTo>
                  <a:lnTo>
                    <a:pt x="256" y="495"/>
                  </a:lnTo>
                  <a:lnTo>
                    <a:pt x="256" y="495"/>
                  </a:lnTo>
                  <a:lnTo>
                    <a:pt x="255" y="495"/>
                  </a:lnTo>
                  <a:lnTo>
                    <a:pt x="254" y="495"/>
                  </a:lnTo>
                  <a:lnTo>
                    <a:pt x="254" y="495"/>
                  </a:lnTo>
                  <a:lnTo>
                    <a:pt x="252" y="494"/>
                  </a:lnTo>
                  <a:lnTo>
                    <a:pt x="252" y="494"/>
                  </a:lnTo>
                  <a:lnTo>
                    <a:pt x="251" y="494"/>
                  </a:lnTo>
                  <a:lnTo>
                    <a:pt x="250" y="493"/>
                  </a:lnTo>
                  <a:lnTo>
                    <a:pt x="250" y="492"/>
                  </a:lnTo>
                  <a:lnTo>
                    <a:pt x="249" y="492"/>
                  </a:lnTo>
                  <a:lnTo>
                    <a:pt x="248" y="491"/>
                  </a:lnTo>
                  <a:lnTo>
                    <a:pt x="247" y="489"/>
                  </a:lnTo>
                  <a:lnTo>
                    <a:pt x="246" y="487"/>
                  </a:lnTo>
                  <a:lnTo>
                    <a:pt x="245" y="484"/>
                  </a:lnTo>
                  <a:lnTo>
                    <a:pt x="244" y="482"/>
                  </a:lnTo>
                  <a:lnTo>
                    <a:pt x="243" y="481"/>
                  </a:lnTo>
                  <a:lnTo>
                    <a:pt x="243" y="479"/>
                  </a:lnTo>
                  <a:lnTo>
                    <a:pt x="242" y="478"/>
                  </a:lnTo>
                  <a:lnTo>
                    <a:pt x="242" y="478"/>
                  </a:lnTo>
                  <a:lnTo>
                    <a:pt x="242" y="477"/>
                  </a:lnTo>
                  <a:lnTo>
                    <a:pt x="242" y="477"/>
                  </a:lnTo>
                  <a:lnTo>
                    <a:pt x="241" y="477"/>
                  </a:lnTo>
                  <a:lnTo>
                    <a:pt x="241" y="477"/>
                  </a:lnTo>
                  <a:lnTo>
                    <a:pt x="240" y="477"/>
                  </a:lnTo>
                  <a:lnTo>
                    <a:pt x="240" y="477"/>
                  </a:lnTo>
                  <a:lnTo>
                    <a:pt x="239" y="477"/>
                  </a:lnTo>
                  <a:lnTo>
                    <a:pt x="238" y="478"/>
                  </a:lnTo>
                  <a:lnTo>
                    <a:pt x="237" y="478"/>
                  </a:lnTo>
                  <a:lnTo>
                    <a:pt x="236" y="479"/>
                  </a:lnTo>
                  <a:lnTo>
                    <a:pt x="235" y="479"/>
                  </a:lnTo>
                  <a:lnTo>
                    <a:pt x="235" y="479"/>
                  </a:lnTo>
                  <a:lnTo>
                    <a:pt x="234" y="479"/>
                  </a:lnTo>
                  <a:lnTo>
                    <a:pt x="234" y="479"/>
                  </a:lnTo>
                  <a:lnTo>
                    <a:pt x="233" y="479"/>
                  </a:lnTo>
                  <a:lnTo>
                    <a:pt x="233" y="479"/>
                  </a:lnTo>
                  <a:lnTo>
                    <a:pt x="232" y="478"/>
                  </a:lnTo>
                  <a:lnTo>
                    <a:pt x="231" y="477"/>
                  </a:lnTo>
                  <a:lnTo>
                    <a:pt x="230" y="477"/>
                  </a:lnTo>
                  <a:lnTo>
                    <a:pt x="228" y="475"/>
                  </a:lnTo>
                  <a:lnTo>
                    <a:pt x="225" y="473"/>
                  </a:lnTo>
                  <a:lnTo>
                    <a:pt x="224" y="472"/>
                  </a:lnTo>
                  <a:lnTo>
                    <a:pt x="223" y="471"/>
                  </a:lnTo>
                  <a:lnTo>
                    <a:pt x="222" y="471"/>
                  </a:lnTo>
                  <a:lnTo>
                    <a:pt x="221" y="470"/>
                  </a:lnTo>
                  <a:lnTo>
                    <a:pt x="217" y="468"/>
                  </a:lnTo>
                  <a:lnTo>
                    <a:pt x="216" y="467"/>
                  </a:lnTo>
                  <a:lnTo>
                    <a:pt x="215" y="467"/>
                  </a:lnTo>
                  <a:lnTo>
                    <a:pt x="213" y="465"/>
                  </a:lnTo>
                  <a:lnTo>
                    <a:pt x="212" y="465"/>
                  </a:lnTo>
                  <a:lnTo>
                    <a:pt x="211" y="464"/>
                  </a:lnTo>
                  <a:lnTo>
                    <a:pt x="210" y="464"/>
                  </a:lnTo>
                  <a:lnTo>
                    <a:pt x="210" y="464"/>
                  </a:lnTo>
                  <a:lnTo>
                    <a:pt x="210" y="464"/>
                  </a:lnTo>
                  <a:lnTo>
                    <a:pt x="209" y="465"/>
                  </a:lnTo>
                  <a:lnTo>
                    <a:pt x="209" y="465"/>
                  </a:lnTo>
                  <a:lnTo>
                    <a:pt x="207" y="466"/>
                  </a:lnTo>
                  <a:lnTo>
                    <a:pt x="205" y="467"/>
                  </a:lnTo>
                  <a:lnTo>
                    <a:pt x="204" y="468"/>
                  </a:lnTo>
                  <a:lnTo>
                    <a:pt x="204" y="469"/>
                  </a:lnTo>
                  <a:lnTo>
                    <a:pt x="203" y="469"/>
                  </a:lnTo>
                  <a:lnTo>
                    <a:pt x="203" y="471"/>
                  </a:lnTo>
                  <a:lnTo>
                    <a:pt x="202" y="471"/>
                  </a:lnTo>
                  <a:lnTo>
                    <a:pt x="202" y="472"/>
                  </a:lnTo>
                  <a:lnTo>
                    <a:pt x="201" y="473"/>
                  </a:lnTo>
                  <a:lnTo>
                    <a:pt x="200" y="473"/>
                  </a:lnTo>
                  <a:lnTo>
                    <a:pt x="200" y="474"/>
                  </a:lnTo>
                  <a:lnTo>
                    <a:pt x="199" y="474"/>
                  </a:lnTo>
                  <a:lnTo>
                    <a:pt x="199" y="475"/>
                  </a:lnTo>
                  <a:lnTo>
                    <a:pt x="199" y="475"/>
                  </a:lnTo>
                  <a:lnTo>
                    <a:pt x="199" y="477"/>
                  </a:lnTo>
                  <a:lnTo>
                    <a:pt x="199" y="478"/>
                  </a:lnTo>
                  <a:lnTo>
                    <a:pt x="199" y="479"/>
                  </a:lnTo>
                  <a:lnTo>
                    <a:pt x="198" y="481"/>
                  </a:lnTo>
                  <a:lnTo>
                    <a:pt x="198" y="482"/>
                  </a:lnTo>
                  <a:lnTo>
                    <a:pt x="198" y="484"/>
                  </a:lnTo>
                  <a:lnTo>
                    <a:pt x="198" y="484"/>
                  </a:lnTo>
                  <a:lnTo>
                    <a:pt x="198" y="485"/>
                  </a:lnTo>
                  <a:lnTo>
                    <a:pt x="199" y="487"/>
                  </a:lnTo>
                  <a:lnTo>
                    <a:pt x="199" y="489"/>
                  </a:lnTo>
                  <a:lnTo>
                    <a:pt x="200" y="491"/>
                  </a:lnTo>
                  <a:lnTo>
                    <a:pt x="200" y="492"/>
                  </a:lnTo>
                  <a:lnTo>
                    <a:pt x="200" y="492"/>
                  </a:lnTo>
                  <a:lnTo>
                    <a:pt x="200" y="493"/>
                  </a:lnTo>
                  <a:lnTo>
                    <a:pt x="199" y="494"/>
                  </a:lnTo>
                  <a:lnTo>
                    <a:pt x="199" y="494"/>
                  </a:lnTo>
                  <a:lnTo>
                    <a:pt x="199" y="494"/>
                  </a:lnTo>
                  <a:lnTo>
                    <a:pt x="198" y="495"/>
                  </a:lnTo>
                  <a:lnTo>
                    <a:pt x="198" y="495"/>
                  </a:lnTo>
                  <a:lnTo>
                    <a:pt x="196" y="496"/>
                  </a:lnTo>
                  <a:lnTo>
                    <a:pt x="195" y="496"/>
                  </a:lnTo>
                  <a:lnTo>
                    <a:pt x="194" y="497"/>
                  </a:lnTo>
                  <a:lnTo>
                    <a:pt x="191" y="498"/>
                  </a:lnTo>
                  <a:lnTo>
                    <a:pt x="190" y="498"/>
                  </a:lnTo>
                  <a:lnTo>
                    <a:pt x="189" y="498"/>
                  </a:lnTo>
                  <a:lnTo>
                    <a:pt x="188" y="499"/>
                  </a:lnTo>
                  <a:lnTo>
                    <a:pt x="186" y="500"/>
                  </a:lnTo>
                  <a:lnTo>
                    <a:pt x="184" y="502"/>
                  </a:lnTo>
                  <a:lnTo>
                    <a:pt x="181" y="504"/>
                  </a:lnTo>
                  <a:lnTo>
                    <a:pt x="180" y="505"/>
                  </a:lnTo>
                  <a:lnTo>
                    <a:pt x="179" y="507"/>
                  </a:lnTo>
                  <a:lnTo>
                    <a:pt x="178" y="508"/>
                  </a:lnTo>
                  <a:lnTo>
                    <a:pt x="177" y="509"/>
                  </a:lnTo>
                  <a:lnTo>
                    <a:pt x="176" y="511"/>
                  </a:lnTo>
                  <a:lnTo>
                    <a:pt x="175" y="511"/>
                  </a:lnTo>
                  <a:lnTo>
                    <a:pt x="175" y="512"/>
                  </a:lnTo>
                  <a:lnTo>
                    <a:pt x="174" y="512"/>
                  </a:lnTo>
                  <a:lnTo>
                    <a:pt x="174" y="512"/>
                  </a:lnTo>
                  <a:lnTo>
                    <a:pt x="174" y="512"/>
                  </a:lnTo>
                  <a:lnTo>
                    <a:pt x="173" y="512"/>
                  </a:lnTo>
                  <a:lnTo>
                    <a:pt x="173" y="512"/>
                  </a:lnTo>
                  <a:lnTo>
                    <a:pt x="173" y="512"/>
                  </a:lnTo>
                  <a:lnTo>
                    <a:pt x="172" y="512"/>
                  </a:lnTo>
                  <a:lnTo>
                    <a:pt x="172" y="512"/>
                  </a:lnTo>
                  <a:lnTo>
                    <a:pt x="170" y="510"/>
                  </a:lnTo>
                  <a:lnTo>
                    <a:pt x="169" y="510"/>
                  </a:lnTo>
                  <a:lnTo>
                    <a:pt x="168" y="509"/>
                  </a:lnTo>
                  <a:lnTo>
                    <a:pt x="166" y="509"/>
                  </a:lnTo>
                  <a:lnTo>
                    <a:pt x="165" y="508"/>
                  </a:lnTo>
                  <a:lnTo>
                    <a:pt x="163" y="508"/>
                  </a:lnTo>
                  <a:lnTo>
                    <a:pt x="162" y="508"/>
                  </a:lnTo>
                  <a:lnTo>
                    <a:pt x="160" y="507"/>
                  </a:lnTo>
                  <a:lnTo>
                    <a:pt x="158" y="507"/>
                  </a:lnTo>
                  <a:lnTo>
                    <a:pt x="158" y="507"/>
                  </a:lnTo>
                  <a:lnTo>
                    <a:pt x="157" y="507"/>
                  </a:lnTo>
                  <a:lnTo>
                    <a:pt x="157" y="506"/>
                  </a:lnTo>
                  <a:lnTo>
                    <a:pt x="156" y="506"/>
                  </a:lnTo>
                  <a:lnTo>
                    <a:pt x="156" y="506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5" y="504"/>
                  </a:lnTo>
                  <a:lnTo>
                    <a:pt x="155" y="504"/>
                  </a:lnTo>
                  <a:lnTo>
                    <a:pt x="156" y="501"/>
                  </a:lnTo>
                  <a:lnTo>
                    <a:pt x="156" y="500"/>
                  </a:lnTo>
                  <a:lnTo>
                    <a:pt x="156" y="500"/>
                  </a:lnTo>
                  <a:lnTo>
                    <a:pt x="156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3" y="500"/>
                  </a:lnTo>
                  <a:lnTo>
                    <a:pt x="151" y="500"/>
                  </a:lnTo>
                  <a:lnTo>
                    <a:pt x="150" y="500"/>
                  </a:lnTo>
                  <a:lnTo>
                    <a:pt x="148" y="501"/>
                  </a:lnTo>
                  <a:lnTo>
                    <a:pt x="147" y="501"/>
                  </a:lnTo>
                  <a:lnTo>
                    <a:pt x="146" y="501"/>
                  </a:lnTo>
                  <a:lnTo>
                    <a:pt x="144" y="501"/>
                  </a:lnTo>
                  <a:lnTo>
                    <a:pt x="143" y="501"/>
                  </a:lnTo>
                  <a:lnTo>
                    <a:pt x="139" y="500"/>
                  </a:lnTo>
                  <a:lnTo>
                    <a:pt x="137" y="500"/>
                  </a:lnTo>
                  <a:lnTo>
                    <a:pt x="136" y="500"/>
                  </a:lnTo>
                  <a:lnTo>
                    <a:pt x="135" y="499"/>
                  </a:lnTo>
                  <a:lnTo>
                    <a:pt x="134" y="499"/>
                  </a:lnTo>
                  <a:lnTo>
                    <a:pt x="132" y="498"/>
                  </a:lnTo>
                  <a:lnTo>
                    <a:pt x="132" y="498"/>
                  </a:lnTo>
                  <a:lnTo>
                    <a:pt x="131" y="498"/>
                  </a:lnTo>
                  <a:lnTo>
                    <a:pt x="130" y="498"/>
                  </a:lnTo>
                  <a:lnTo>
                    <a:pt x="129" y="497"/>
                  </a:lnTo>
                  <a:lnTo>
                    <a:pt x="127" y="497"/>
                  </a:lnTo>
                  <a:lnTo>
                    <a:pt x="126" y="497"/>
                  </a:lnTo>
                  <a:lnTo>
                    <a:pt x="125" y="497"/>
                  </a:lnTo>
                  <a:lnTo>
                    <a:pt x="125" y="497"/>
                  </a:lnTo>
                  <a:lnTo>
                    <a:pt x="124" y="498"/>
                  </a:lnTo>
                  <a:lnTo>
                    <a:pt x="123" y="498"/>
                  </a:lnTo>
                  <a:lnTo>
                    <a:pt x="122" y="499"/>
                  </a:lnTo>
                  <a:lnTo>
                    <a:pt x="121" y="500"/>
                  </a:lnTo>
                  <a:lnTo>
                    <a:pt x="120" y="500"/>
                  </a:lnTo>
                  <a:lnTo>
                    <a:pt x="120" y="500"/>
                  </a:lnTo>
                  <a:lnTo>
                    <a:pt x="119" y="500"/>
                  </a:lnTo>
                  <a:lnTo>
                    <a:pt x="119" y="500"/>
                  </a:lnTo>
                  <a:lnTo>
                    <a:pt x="118" y="500"/>
                  </a:lnTo>
                  <a:lnTo>
                    <a:pt x="117" y="499"/>
                  </a:lnTo>
                  <a:lnTo>
                    <a:pt x="116" y="499"/>
                  </a:lnTo>
                  <a:lnTo>
                    <a:pt x="113" y="496"/>
                  </a:lnTo>
                  <a:lnTo>
                    <a:pt x="112" y="496"/>
                  </a:lnTo>
                  <a:lnTo>
                    <a:pt x="111" y="495"/>
                  </a:lnTo>
                  <a:lnTo>
                    <a:pt x="109" y="495"/>
                  </a:lnTo>
                  <a:lnTo>
                    <a:pt x="108" y="494"/>
                  </a:lnTo>
                  <a:lnTo>
                    <a:pt x="107" y="494"/>
                  </a:lnTo>
                  <a:lnTo>
                    <a:pt x="105" y="492"/>
                  </a:lnTo>
                  <a:lnTo>
                    <a:pt x="104" y="492"/>
                  </a:lnTo>
                  <a:lnTo>
                    <a:pt x="103" y="492"/>
                  </a:lnTo>
                  <a:lnTo>
                    <a:pt x="103" y="492"/>
                  </a:lnTo>
                  <a:lnTo>
                    <a:pt x="102" y="492"/>
                  </a:lnTo>
                  <a:lnTo>
                    <a:pt x="102" y="492"/>
                  </a:lnTo>
                  <a:lnTo>
                    <a:pt x="102" y="493"/>
                  </a:lnTo>
                  <a:lnTo>
                    <a:pt x="102" y="493"/>
                  </a:lnTo>
                  <a:lnTo>
                    <a:pt x="102" y="493"/>
                  </a:lnTo>
                  <a:lnTo>
                    <a:pt x="102" y="494"/>
                  </a:lnTo>
                  <a:lnTo>
                    <a:pt x="102" y="496"/>
                  </a:lnTo>
                  <a:lnTo>
                    <a:pt x="102" y="497"/>
                  </a:lnTo>
                  <a:lnTo>
                    <a:pt x="102" y="497"/>
                  </a:lnTo>
                  <a:lnTo>
                    <a:pt x="102" y="498"/>
                  </a:lnTo>
                  <a:lnTo>
                    <a:pt x="102" y="498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99" y="498"/>
                  </a:lnTo>
                  <a:lnTo>
                    <a:pt x="98" y="498"/>
                  </a:lnTo>
                  <a:lnTo>
                    <a:pt x="97" y="498"/>
                  </a:lnTo>
                  <a:lnTo>
                    <a:pt x="96" y="498"/>
                  </a:lnTo>
                  <a:lnTo>
                    <a:pt x="95" y="499"/>
                  </a:lnTo>
                  <a:lnTo>
                    <a:pt x="94" y="499"/>
                  </a:lnTo>
                  <a:lnTo>
                    <a:pt x="93" y="500"/>
                  </a:lnTo>
                  <a:lnTo>
                    <a:pt x="90" y="502"/>
                  </a:lnTo>
                  <a:lnTo>
                    <a:pt x="90" y="502"/>
                  </a:lnTo>
                  <a:lnTo>
                    <a:pt x="89" y="502"/>
                  </a:lnTo>
                  <a:lnTo>
                    <a:pt x="89" y="503"/>
                  </a:lnTo>
                  <a:lnTo>
                    <a:pt x="87" y="503"/>
                  </a:lnTo>
                  <a:lnTo>
                    <a:pt x="86" y="503"/>
                  </a:lnTo>
                  <a:lnTo>
                    <a:pt x="85" y="503"/>
                  </a:lnTo>
                  <a:lnTo>
                    <a:pt x="84" y="503"/>
                  </a:lnTo>
                  <a:lnTo>
                    <a:pt x="82" y="503"/>
                  </a:lnTo>
                  <a:lnTo>
                    <a:pt x="81" y="503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79" y="502"/>
                  </a:lnTo>
                  <a:lnTo>
                    <a:pt x="79" y="501"/>
                  </a:lnTo>
                  <a:lnTo>
                    <a:pt x="78" y="499"/>
                  </a:lnTo>
                  <a:lnTo>
                    <a:pt x="78" y="499"/>
                  </a:lnTo>
                  <a:lnTo>
                    <a:pt x="78" y="499"/>
                  </a:lnTo>
                  <a:lnTo>
                    <a:pt x="78" y="498"/>
                  </a:lnTo>
                  <a:lnTo>
                    <a:pt x="77" y="497"/>
                  </a:lnTo>
                  <a:lnTo>
                    <a:pt x="76" y="497"/>
                  </a:lnTo>
                  <a:lnTo>
                    <a:pt x="75" y="496"/>
                  </a:lnTo>
                  <a:lnTo>
                    <a:pt x="75" y="496"/>
                  </a:lnTo>
                  <a:lnTo>
                    <a:pt x="73" y="495"/>
                  </a:lnTo>
                  <a:lnTo>
                    <a:pt x="72" y="494"/>
                  </a:lnTo>
                  <a:lnTo>
                    <a:pt x="70" y="494"/>
                  </a:lnTo>
                  <a:lnTo>
                    <a:pt x="70" y="494"/>
                  </a:lnTo>
                  <a:lnTo>
                    <a:pt x="69" y="493"/>
                  </a:lnTo>
                  <a:lnTo>
                    <a:pt x="69" y="493"/>
                  </a:lnTo>
                  <a:lnTo>
                    <a:pt x="68" y="492"/>
                  </a:lnTo>
                  <a:lnTo>
                    <a:pt x="68" y="492"/>
                  </a:lnTo>
                  <a:lnTo>
                    <a:pt x="67" y="490"/>
                  </a:lnTo>
                  <a:lnTo>
                    <a:pt x="66" y="489"/>
                  </a:lnTo>
                  <a:lnTo>
                    <a:pt x="65" y="489"/>
                  </a:lnTo>
                  <a:lnTo>
                    <a:pt x="64" y="488"/>
                  </a:lnTo>
                  <a:lnTo>
                    <a:pt x="63" y="487"/>
                  </a:lnTo>
                  <a:lnTo>
                    <a:pt x="62" y="487"/>
                  </a:lnTo>
                  <a:lnTo>
                    <a:pt x="60" y="486"/>
                  </a:lnTo>
                  <a:lnTo>
                    <a:pt x="59" y="486"/>
                  </a:lnTo>
                  <a:lnTo>
                    <a:pt x="59" y="486"/>
                  </a:lnTo>
                  <a:lnTo>
                    <a:pt x="58" y="486"/>
                  </a:lnTo>
                  <a:lnTo>
                    <a:pt x="57" y="486"/>
                  </a:lnTo>
                  <a:lnTo>
                    <a:pt x="56" y="486"/>
                  </a:lnTo>
                  <a:lnTo>
                    <a:pt x="54" y="487"/>
                  </a:lnTo>
                  <a:lnTo>
                    <a:pt x="51" y="488"/>
                  </a:lnTo>
                  <a:lnTo>
                    <a:pt x="50" y="488"/>
                  </a:lnTo>
                  <a:lnTo>
                    <a:pt x="49" y="488"/>
                  </a:lnTo>
                  <a:lnTo>
                    <a:pt x="49" y="489"/>
                  </a:lnTo>
                  <a:lnTo>
                    <a:pt x="48" y="490"/>
                  </a:lnTo>
                  <a:lnTo>
                    <a:pt x="48" y="490"/>
                  </a:lnTo>
                  <a:lnTo>
                    <a:pt x="47" y="492"/>
                  </a:lnTo>
                  <a:lnTo>
                    <a:pt x="46" y="494"/>
                  </a:lnTo>
                  <a:lnTo>
                    <a:pt x="45" y="495"/>
                  </a:lnTo>
                  <a:lnTo>
                    <a:pt x="44" y="496"/>
                  </a:lnTo>
                  <a:lnTo>
                    <a:pt x="44" y="498"/>
                  </a:lnTo>
                  <a:lnTo>
                    <a:pt x="43" y="499"/>
                  </a:lnTo>
                  <a:lnTo>
                    <a:pt x="43" y="499"/>
                  </a:lnTo>
                  <a:lnTo>
                    <a:pt x="42" y="499"/>
                  </a:lnTo>
                  <a:lnTo>
                    <a:pt x="42" y="499"/>
                  </a:lnTo>
                  <a:lnTo>
                    <a:pt x="41" y="499"/>
                  </a:lnTo>
                  <a:lnTo>
                    <a:pt x="41" y="499"/>
                  </a:lnTo>
                  <a:lnTo>
                    <a:pt x="39" y="499"/>
                  </a:lnTo>
                  <a:lnTo>
                    <a:pt x="38" y="499"/>
                  </a:lnTo>
                  <a:lnTo>
                    <a:pt x="36" y="499"/>
                  </a:lnTo>
                  <a:lnTo>
                    <a:pt x="33" y="500"/>
                  </a:lnTo>
                  <a:lnTo>
                    <a:pt x="25" y="500"/>
                  </a:lnTo>
                  <a:lnTo>
                    <a:pt x="24" y="500"/>
                  </a:lnTo>
                  <a:lnTo>
                    <a:pt x="20" y="500"/>
                  </a:lnTo>
                  <a:lnTo>
                    <a:pt x="19" y="500"/>
                  </a:lnTo>
                  <a:lnTo>
                    <a:pt x="18" y="500"/>
                  </a:lnTo>
                  <a:lnTo>
                    <a:pt x="16" y="501"/>
                  </a:lnTo>
                  <a:lnTo>
                    <a:pt x="15" y="501"/>
                  </a:lnTo>
                  <a:lnTo>
                    <a:pt x="13" y="501"/>
                  </a:lnTo>
                  <a:lnTo>
                    <a:pt x="11" y="501"/>
                  </a:lnTo>
                  <a:lnTo>
                    <a:pt x="11" y="501"/>
                  </a:lnTo>
                  <a:lnTo>
                    <a:pt x="10" y="501"/>
                  </a:lnTo>
                  <a:lnTo>
                    <a:pt x="9" y="501"/>
                  </a:lnTo>
                  <a:lnTo>
                    <a:pt x="8" y="501"/>
                  </a:lnTo>
                  <a:lnTo>
                    <a:pt x="7" y="502"/>
                  </a:lnTo>
                  <a:lnTo>
                    <a:pt x="5" y="501"/>
                  </a:lnTo>
                  <a:lnTo>
                    <a:pt x="5" y="501"/>
                  </a:lnTo>
                  <a:lnTo>
                    <a:pt x="4" y="501"/>
                  </a:lnTo>
                  <a:lnTo>
                    <a:pt x="3" y="501"/>
                  </a:lnTo>
                  <a:lnTo>
                    <a:pt x="2" y="500"/>
                  </a:lnTo>
                  <a:lnTo>
                    <a:pt x="2" y="500"/>
                  </a:lnTo>
                  <a:lnTo>
                    <a:pt x="1" y="499"/>
                  </a:lnTo>
                  <a:lnTo>
                    <a:pt x="1" y="499"/>
                  </a:lnTo>
                  <a:lnTo>
                    <a:pt x="0" y="498"/>
                  </a:lnTo>
                  <a:lnTo>
                    <a:pt x="0" y="498"/>
                  </a:lnTo>
                  <a:lnTo>
                    <a:pt x="0" y="497"/>
                  </a:lnTo>
                  <a:lnTo>
                    <a:pt x="0" y="496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4" name="Freeform 44">
              <a:extLst>
                <a:ext uri="{FF2B5EF4-FFF2-40B4-BE49-F238E27FC236}">
                  <a16:creationId xmlns:a16="http://schemas.microsoft.com/office/drawing/2014/main" id="{7B0CF0D7-1495-E177-659D-4028C072EA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" y="3069"/>
              <a:ext cx="451" cy="513"/>
            </a:xfrm>
            <a:custGeom>
              <a:avLst/>
              <a:gdLst>
                <a:gd name="T0" fmla="*/ 182 w 451"/>
                <a:gd name="T1" fmla="*/ 492 h 513"/>
                <a:gd name="T2" fmla="*/ 173 w 451"/>
                <a:gd name="T3" fmla="*/ 504 h 513"/>
                <a:gd name="T4" fmla="*/ 155 w 451"/>
                <a:gd name="T5" fmla="*/ 512 h 513"/>
                <a:gd name="T6" fmla="*/ 142 w 451"/>
                <a:gd name="T7" fmla="*/ 509 h 513"/>
                <a:gd name="T8" fmla="*/ 127 w 451"/>
                <a:gd name="T9" fmla="*/ 508 h 513"/>
                <a:gd name="T10" fmla="*/ 109 w 451"/>
                <a:gd name="T11" fmla="*/ 508 h 513"/>
                <a:gd name="T12" fmla="*/ 103 w 451"/>
                <a:gd name="T13" fmla="*/ 497 h 513"/>
                <a:gd name="T14" fmla="*/ 97 w 451"/>
                <a:gd name="T15" fmla="*/ 484 h 513"/>
                <a:gd name="T16" fmla="*/ 98 w 451"/>
                <a:gd name="T17" fmla="*/ 458 h 513"/>
                <a:gd name="T18" fmla="*/ 86 w 451"/>
                <a:gd name="T19" fmla="*/ 455 h 513"/>
                <a:gd name="T20" fmla="*/ 83 w 451"/>
                <a:gd name="T21" fmla="*/ 447 h 513"/>
                <a:gd name="T22" fmla="*/ 84 w 451"/>
                <a:gd name="T23" fmla="*/ 439 h 513"/>
                <a:gd name="T24" fmla="*/ 90 w 451"/>
                <a:gd name="T25" fmla="*/ 431 h 513"/>
                <a:gd name="T26" fmla="*/ 79 w 451"/>
                <a:gd name="T27" fmla="*/ 429 h 513"/>
                <a:gd name="T28" fmla="*/ 86 w 451"/>
                <a:gd name="T29" fmla="*/ 413 h 513"/>
                <a:gd name="T30" fmla="*/ 102 w 451"/>
                <a:gd name="T31" fmla="*/ 410 h 513"/>
                <a:gd name="T32" fmla="*/ 116 w 451"/>
                <a:gd name="T33" fmla="*/ 399 h 513"/>
                <a:gd name="T34" fmla="*/ 113 w 451"/>
                <a:gd name="T35" fmla="*/ 391 h 513"/>
                <a:gd name="T36" fmla="*/ 117 w 451"/>
                <a:gd name="T37" fmla="*/ 370 h 513"/>
                <a:gd name="T38" fmla="*/ 122 w 451"/>
                <a:gd name="T39" fmla="*/ 346 h 513"/>
                <a:gd name="T40" fmla="*/ 124 w 451"/>
                <a:gd name="T41" fmla="*/ 319 h 513"/>
                <a:gd name="T42" fmla="*/ 103 w 451"/>
                <a:gd name="T43" fmla="*/ 308 h 513"/>
                <a:gd name="T44" fmla="*/ 92 w 451"/>
                <a:gd name="T45" fmla="*/ 298 h 513"/>
                <a:gd name="T46" fmla="*/ 72 w 451"/>
                <a:gd name="T47" fmla="*/ 283 h 513"/>
                <a:gd name="T48" fmla="*/ 51 w 451"/>
                <a:gd name="T49" fmla="*/ 284 h 513"/>
                <a:gd name="T50" fmla="*/ 32 w 451"/>
                <a:gd name="T51" fmla="*/ 270 h 513"/>
                <a:gd name="T52" fmla="*/ 35 w 451"/>
                <a:gd name="T53" fmla="*/ 265 h 513"/>
                <a:gd name="T54" fmla="*/ 15 w 451"/>
                <a:gd name="T55" fmla="*/ 264 h 513"/>
                <a:gd name="T56" fmla="*/ 0 w 451"/>
                <a:gd name="T57" fmla="*/ 264 h 513"/>
                <a:gd name="T58" fmla="*/ 6 w 451"/>
                <a:gd name="T59" fmla="*/ 249 h 513"/>
                <a:gd name="T60" fmla="*/ 4 w 451"/>
                <a:gd name="T61" fmla="*/ 236 h 513"/>
                <a:gd name="T62" fmla="*/ 18 w 451"/>
                <a:gd name="T63" fmla="*/ 230 h 513"/>
                <a:gd name="T64" fmla="*/ 26 w 451"/>
                <a:gd name="T65" fmla="*/ 218 h 513"/>
                <a:gd name="T66" fmla="*/ 33 w 451"/>
                <a:gd name="T67" fmla="*/ 202 h 513"/>
                <a:gd name="T68" fmla="*/ 54 w 451"/>
                <a:gd name="T69" fmla="*/ 194 h 513"/>
                <a:gd name="T70" fmla="*/ 77 w 451"/>
                <a:gd name="T71" fmla="*/ 177 h 513"/>
                <a:gd name="T72" fmla="*/ 90 w 451"/>
                <a:gd name="T73" fmla="*/ 179 h 513"/>
                <a:gd name="T74" fmla="*/ 111 w 451"/>
                <a:gd name="T75" fmla="*/ 173 h 513"/>
                <a:gd name="T76" fmla="*/ 128 w 451"/>
                <a:gd name="T77" fmla="*/ 165 h 513"/>
                <a:gd name="T78" fmla="*/ 139 w 451"/>
                <a:gd name="T79" fmla="*/ 166 h 513"/>
                <a:gd name="T80" fmla="*/ 158 w 451"/>
                <a:gd name="T81" fmla="*/ 154 h 513"/>
                <a:gd name="T82" fmla="*/ 170 w 451"/>
                <a:gd name="T83" fmla="*/ 143 h 513"/>
                <a:gd name="T84" fmla="*/ 176 w 451"/>
                <a:gd name="T85" fmla="*/ 132 h 513"/>
                <a:gd name="T86" fmla="*/ 186 w 451"/>
                <a:gd name="T87" fmla="*/ 125 h 513"/>
                <a:gd name="T88" fmla="*/ 230 w 451"/>
                <a:gd name="T89" fmla="*/ 129 h 513"/>
                <a:gd name="T90" fmla="*/ 253 w 451"/>
                <a:gd name="T91" fmla="*/ 130 h 513"/>
                <a:gd name="T92" fmla="*/ 277 w 451"/>
                <a:gd name="T93" fmla="*/ 121 h 513"/>
                <a:gd name="T94" fmla="*/ 289 w 451"/>
                <a:gd name="T95" fmla="*/ 116 h 513"/>
                <a:gd name="T96" fmla="*/ 289 w 451"/>
                <a:gd name="T97" fmla="*/ 93 h 513"/>
                <a:gd name="T98" fmla="*/ 298 w 451"/>
                <a:gd name="T99" fmla="*/ 88 h 513"/>
                <a:gd name="T100" fmla="*/ 307 w 451"/>
                <a:gd name="T101" fmla="*/ 79 h 513"/>
                <a:gd name="T102" fmla="*/ 319 w 451"/>
                <a:gd name="T103" fmla="*/ 71 h 513"/>
                <a:gd name="T104" fmla="*/ 321 w 451"/>
                <a:gd name="T105" fmla="*/ 53 h 513"/>
                <a:gd name="T106" fmla="*/ 327 w 451"/>
                <a:gd name="T107" fmla="*/ 54 h 513"/>
                <a:gd name="T108" fmla="*/ 341 w 451"/>
                <a:gd name="T109" fmla="*/ 53 h 513"/>
                <a:gd name="T110" fmla="*/ 351 w 451"/>
                <a:gd name="T111" fmla="*/ 55 h 513"/>
                <a:gd name="T112" fmla="*/ 360 w 451"/>
                <a:gd name="T113" fmla="*/ 65 h 513"/>
                <a:gd name="T114" fmla="*/ 383 w 451"/>
                <a:gd name="T115" fmla="*/ 61 h 513"/>
                <a:gd name="T116" fmla="*/ 401 w 451"/>
                <a:gd name="T117" fmla="*/ 44 h 513"/>
                <a:gd name="T118" fmla="*/ 409 w 451"/>
                <a:gd name="T119" fmla="*/ 30 h 513"/>
                <a:gd name="T120" fmla="*/ 429 w 451"/>
                <a:gd name="T121" fmla="*/ 31 h 513"/>
                <a:gd name="T122" fmla="*/ 437 w 451"/>
                <a:gd name="T123" fmla="*/ 20 h 513"/>
                <a:gd name="T124" fmla="*/ 450 w 451"/>
                <a:gd name="T125" fmla="*/ 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1" h="513">
                  <a:moveTo>
                    <a:pt x="195" y="496"/>
                  </a:moveTo>
                  <a:lnTo>
                    <a:pt x="195" y="495"/>
                  </a:lnTo>
                  <a:lnTo>
                    <a:pt x="195" y="493"/>
                  </a:lnTo>
                  <a:lnTo>
                    <a:pt x="195" y="489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2" y="487"/>
                  </a:lnTo>
                  <a:lnTo>
                    <a:pt x="190" y="488"/>
                  </a:lnTo>
                  <a:lnTo>
                    <a:pt x="189" y="488"/>
                  </a:lnTo>
                  <a:lnTo>
                    <a:pt x="188" y="489"/>
                  </a:lnTo>
                  <a:lnTo>
                    <a:pt x="185" y="490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80" y="493"/>
                  </a:lnTo>
                  <a:lnTo>
                    <a:pt x="180" y="493"/>
                  </a:lnTo>
                  <a:lnTo>
                    <a:pt x="179" y="494"/>
                  </a:lnTo>
                  <a:lnTo>
                    <a:pt x="179" y="494"/>
                  </a:lnTo>
                  <a:lnTo>
                    <a:pt x="179" y="495"/>
                  </a:lnTo>
                  <a:lnTo>
                    <a:pt x="178" y="497"/>
                  </a:lnTo>
                  <a:lnTo>
                    <a:pt x="177" y="499"/>
                  </a:lnTo>
                  <a:lnTo>
                    <a:pt x="176" y="500"/>
                  </a:lnTo>
                  <a:lnTo>
                    <a:pt x="176" y="501"/>
                  </a:lnTo>
                  <a:lnTo>
                    <a:pt x="175" y="502"/>
                  </a:lnTo>
                  <a:lnTo>
                    <a:pt x="175" y="503"/>
                  </a:lnTo>
                  <a:lnTo>
                    <a:pt x="174" y="503"/>
                  </a:lnTo>
                  <a:lnTo>
                    <a:pt x="174" y="504"/>
                  </a:lnTo>
                  <a:lnTo>
                    <a:pt x="173" y="504"/>
                  </a:lnTo>
                  <a:lnTo>
                    <a:pt x="173" y="504"/>
                  </a:lnTo>
                  <a:lnTo>
                    <a:pt x="171" y="505"/>
                  </a:lnTo>
                  <a:lnTo>
                    <a:pt x="171" y="505"/>
                  </a:lnTo>
                  <a:lnTo>
                    <a:pt x="170" y="505"/>
                  </a:lnTo>
                  <a:lnTo>
                    <a:pt x="168" y="507"/>
                  </a:lnTo>
                  <a:lnTo>
                    <a:pt x="167" y="507"/>
                  </a:lnTo>
                  <a:lnTo>
                    <a:pt x="166" y="508"/>
                  </a:lnTo>
                  <a:lnTo>
                    <a:pt x="166" y="508"/>
                  </a:lnTo>
                  <a:lnTo>
                    <a:pt x="165" y="508"/>
                  </a:lnTo>
                  <a:lnTo>
                    <a:pt x="164" y="508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59" y="509"/>
                  </a:lnTo>
                  <a:lnTo>
                    <a:pt x="158" y="510"/>
                  </a:lnTo>
                  <a:lnTo>
                    <a:pt x="157" y="510"/>
                  </a:lnTo>
                  <a:lnTo>
                    <a:pt x="155" y="511"/>
                  </a:lnTo>
                  <a:lnTo>
                    <a:pt x="155" y="512"/>
                  </a:lnTo>
                  <a:lnTo>
                    <a:pt x="154" y="512"/>
                  </a:lnTo>
                  <a:lnTo>
                    <a:pt x="153" y="513"/>
                  </a:lnTo>
                  <a:lnTo>
                    <a:pt x="152" y="513"/>
                  </a:lnTo>
                  <a:lnTo>
                    <a:pt x="151" y="513"/>
                  </a:lnTo>
                  <a:lnTo>
                    <a:pt x="150" y="513"/>
                  </a:lnTo>
                  <a:lnTo>
                    <a:pt x="149" y="513"/>
                  </a:lnTo>
                  <a:lnTo>
                    <a:pt x="148" y="512"/>
                  </a:lnTo>
                  <a:lnTo>
                    <a:pt x="147" y="512"/>
                  </a:lnTo>
                  <a:lnTo>
                    <a:pt x="147" y="512"/>
                  </a:lnTo>
                  <a:lnTo>
                    <a:pt x="145" y="511"/>
                  </a:lnTo>
                  <a:lnTo>
                    <a:pt x="144" y="511"/>
                  </a:lnTo>
                  <a:lnTo>
                    <a:pt x="144" y="510"/>
                  </a:lnTo>
                  <a:lnTo>
                    <a:pt x="143" y="510"/>
                  </a:lnTo>
                  <a:lnTo>
                    <a:pt x="143" y="509"/>
                  </a:lnTo>
                  <a:lnTo>
                    <a:pt x="142" y="509"/>
                  </a:lnTo>
                  <a:lnTo>
                    <a:pt x="142" y="509"/>
                  </a:lnTo>
                  <a:lnTo>
                    <a:pt x="140" y="508"/>
                  </a:lnTo>
                  <a:lnTo>
                    <a:pt x="140" y="507"/>
                  </a:lnTo>
                  <a:lnTo>
                    <a:pt x="137" y="506"/>
                  </a:lnTo>
                  <a:lnTo>
                    <a:pt x="137" y="505"/>
                  </a:lnTo>
                  <a:lnTo>
                    <a:pt x="136" y="505"/>
                  </a:lnTo>
                  <a:lnTo>
                    <a:pt x="136" y="505"/>
                  </a:lnTo>
                  <a:lnTo>
                    <a:pt x="135" y="505"/>
                  </a:lnTo>
                  <a:lnTo>
                    <a:pt x="134" y="505"/>
                  </a:lnTo>
                  <a:lnTo>
                    <a:pt x="133" y="505"/>
                  </a:lnTo>
                  <a:lnTo>
                    <a:pt x="132" y="505"/>
                  </a:lnTo>
                  <a:lnTo>
                    <a:pt x="130" y="507"/>
                  </a:lnTo>
                  <a:lnTo>
                    <a:pt x="129" y="507"/>
                  </a:lnTo>
                  <a:lnTo>
                    <a:pt x="128" y="507"/>
                  </a:lnTo>
                  <a:lnTo>
                    <a:pt x="128" y="508"/>
                  </a:lnTo>
                  <a:lnTo>
                    <a:pt x="127" y="508"/>
                  </a:lnTo>
                  <a:lnTo>
                    <a:pt x="127" y="508"/>
                  </a:lnTo>
                  <a:lnTo>
                    <a:pt x="126" y="507"/>
                  </a:lnTo>
                  <a:lnTo>
                    <a:pt x="125" y="507"/>
                  </a:lnTo>
                  <a:lnTo>
                    <a:pt x="125" y="507"/>
                  </a:lnTo>
                  <a:lnTo>
                    <a:pt x="124" y="507"/>
                  </a:lnTo>
                  <a:lnTo>
                    <a:pt x="122" y="505"/>
                  </a:lnTo>
                  <a:lnTo>
                    <a:pt x="122" y="504"/>
                  </a:lnTo>
                  <a:lnTo>
                    <a:pt x="121" y="504"/>
                  </a:lnTo>
                  <a:lnTo>
                    <a:pt x="121" y="504"/>
                  </a:lnTo>
                  <a:lnTo>
                    <a:pt x="120" y="504"/>
                  </a:lnTo>
                  <a:lnTo>
                    <a:pt x="120" y="504"/>
                  </a:lnTo>
                  <a:lnTo>
                    <a:pt x="119" y="504"/>
                  </a:lnTo>
                  <a:lnTo>
                    <a:pt x="119" y="504"/>
                  </a:lnTo>
                  <a:lnTo>
                    <a:pt x="117" y="505"/>
                  </a:lnTo>
                  <a:lnTo>
                    <a:pt x="115" y="506"/>
                  </a:lnTo>
                  <a:lnTo>
                    <a:pt x="112" y="507"/>
                  </a:lnTo>
                  <a:lnTo>
                    <a:pt x="109" y="508"/>
                  </a:lnTo>
                  <a:lnTo>
                    <a:pt x="108" y="508"/>
                  </a:lnTo>
                  <a:lnTo>
                    <a:pt x="106" y="508"/>
                  </a:lnTo>
                  <a:lnTo>
                    <a:pt x="105" y="508"/>
                  </a:lnTo>
                  <a:lnTo>
                    <a:pt x="105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7"/>
                  </a:lnTo>
                  <a:lnTo>
                    <a:pt x="104" y="506"/>
                  </a:lnTo>
                  <a:lnTo>
                    <a:pt x="104" y="505"/>
                  </a:lnTo>
                  <a:lnTo>
                    <a:pt x="104" y="503"/>
                  </a:lnTo>
                  <a:lnTo>
                    <a:pt x="104" y="502"/>
                  </a:lnTo>
                  <a:lnTo>
                    <a:pt x="104" y="501"/>
                  </a:lnTo>
                  <a:lnTo>
                    <a:pt x="104" y="500"/>
                  </a:lnTo>
                  <a:lnTo>
                    <a:pt x="104" y="499"/>
                  </a:lnTo>
                  <a:lnTo>
                    <a:pt x="103" y="497"/>
                  </a:lnTo>
                  <a:lnTo>
                    <a:pt x="103" y="496"/>
                  </a:lnTo>
                  <a:lnTo>
                    <a:pt x="103" y="495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1" y="493"/>
                  </a:lnTo>
                  <a:lnTo>
                    <a:pt x="100" y="492"/>
                  </a:lnTo>
                  <a:lnTo>
                    <a:pt x="99" y="492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7" y="490"/>
                  </a:lnTo>
                  <a:lnTo>
                    <a:pt x="97" y="490"/>
                  </a:lnTo>
                  <a:lnTo>
                    <a:pt x="97" y="489"/>
                  </a:lnTo>
                  <a:lnTo>
                    <a:pt x="97" y="489"/>
                  </a:lnTo>
                  <a:lnTo>
                    <a:pt x="97" y="485"/>
                  </a:lnTo>
                  <a:lnTo>
                    <a:pt x="97" y="484"/>
                  </a:lnTo>
                  <a:lnTo>
                    <a:pt x="97" y="481"/>
                  </a:lnTo>
                  <a:lnTo>
                    <a:pt x="98" y="478"/>
                  </a:lnTo>
                  <a:lnTo>
                    <a:pt x="98" y="476"/>
                  </a:lnTo>
                  <a:lnTo>
                    <a:pt x="98" y="474"/>
                  </a:lnTo>
                  <a:lnTo>
                    <a:pt x="99" y="471"/>
                  </a:lnTo>
                  <a:lnTo>
                    <a:pt x="99" y="469"/>
                  </a:lnTo>
                  <a:lnTo>
                    <a:pt x="99" y="468"/>
                  </a:lnTo>
                  <a:lnTo>
                    <a:pt x="99" y="466"/>
                  </a:lnTo>
                  <a:lnTo>
                    <a:pt x="99" y="464"/>
                  </a:lnTo>
                  <a:lnTo>
                    <a:pt x="99" y="462"/>
                  </a:lnTo>
                  <a:lnTo>
                    <a:pt x="99" y="461"/>
                  </a:lnTo>
                  <a:lnTo>
                    <a:pt x="99" y="460"/>
                  </a:lnTo>
                  <a:lnTo>
                    <a:pt x="99" y="460"/>
                  </a:lnTo>
                  <a:lnTo>
                    <a:pt x="98" y="459"/>
                  </a:lnTo>
                  <a:lnTo>
                    <a:pt x="98" y="459"/>
                  </a:lnTo>
                  <a:lnTo>
                    <a:pt x="98" y="458"/>
                  </a:lnTo>
                  <a:lnTo>
                    <a:pt x="97" y="458"/>
                  </a:lnTo>
                  <a:lnTo>
                    <a:pt x="96" y="457"/>
                  </a:lnTo>
                  <a:lnTo>
                    <a:pt x="95" y="457"/>
                  </a:lnTo>
                  <a:lnTo>
                    <a:pt x="94" y="456"/>
                  </a:lnTo>
                  <a:lnTo>
                    <a:pt x="93" y="456"/>
                  </a:lnTo>
                  <a:lnTo>
                    <a:pt x="92" y="456"/>
                  </a:lnTo>
                  <a:lnTo>
                    <a:pt x="91" y="456"/>
                  </a:lnTo>
                  <a:lnTo>
                    <a:pt x="89" y="456"/>
                  </a:lnTo>
                  <a:lnTo>
                    <a:pt x="88" y="456"/>
                  </a:lnTo>
                  <a:lnTo>
                    <a:pt x="87" y="456"/>
                  </a:lnTo>
                  <a:lnTo>
                    <a:pt x="87" y="456"/>
                  </a:lnTo>
                  <a:lnTo>
                    <a:pt x="87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4"/>
                  </a:lnTo>
                  <a:lnTo>
                    <a:pt x="86" y="453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1"/>
                  </a:lnTo>
                  <a:lnTo>
                    <a:pt x="86" y="451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49"/>
                  </a:lnTo>
                  <a:lnTo>
                    <a:pt x="82" y="449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7"/>
                  </a:lnTo>
                  <a:lnTo>
                    <a:pt x="84" y="447"/>
                  </a:lnTo>
                  <a:lnTo>
                    <a:pt x="85" y="447"/>
                  </a:lnTo>
                  <a:lnTo>
                    <a:pt x="86" y="447"/>
                  </a:lnTo>
                  <a:lnTo>
                    <a:pt x="86" y="447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8" y="445"/>
                  </a:lnTo>
                  <a:lnTo>
                    <a:pt x="88" y="445"/>
                  </a:lnTo>
                  <a:lnTo>
                    <a:pt x="88" y="444"/>
                  </a:lnTo>
                  <a:lnTo>
                    <a:pt x="87" y="443"/>
                  </a:lnTo>
                  <a:lnTo>
                    <a:pt x="87" y="443"/>
                  </a:lnTo>
                  <a:lnTo>
                    <a:pt x="86" y="442"/>
                  </a:lnTo>
                  <a:lnTo>
                    <a:pt x="86" y="441"/>
                  </a:lnTo>
                  <a:lnTo>
                    <a:pt x="84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4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5"/>
                  </a:lnTo>
                  <a:lnTo>
                    <a:pt x="88" y="434"/>
                  </a:lnTo>
                  <a:lnTo>
                    <a:pt x="89" y="433"/>
                  </a:lnTo>
                  <a:lnTo>
                    <a:pt x="90" y="433"/>
                  </a:lnTo>
                  <a:lnTo>
                    <a:pt x="90" y="432"/>
                  </a:lnTo>
                  <a:lnTo>
                    <a:pt x="90" y="432"/>
                  </a:lnTo>
                  <a:lnTo>
                    <a:pt x="91" y="431"/>
                  </a:lnTo>
                  <a:lnTo>
                    <a:pt x="90" y="431"/>
                  </a:lnTo>
                  <a:lnTo>
                    <a:pt x="90" y="431"/>
                  </a:lnTo>
                  <a:lnTo>
                    <a:pt x="90" y="430"/>
                  </a:lnTo>
                  <a:lnTo>
                    <a:pt x="90" y="430"/>
                  </a:lnTo>
                  <a:lnTo>
                    <a:pt x="89" y="430"/>
                  </a:lnTo>
                  <a:lnTo>
                    <a:pt x="89" y="430"/>
                  </a:lnTo>
                  <a:lnTo>
                    <a:pt x="88" y="429"/>
                  </a:lnTo>
                  <a:lnTo>
                    <a:pt x="86" y="429"/>
                  </a:lnTo>
                  <a:lnTo>
                    <a:pt x="85" y="429"/>
                  </a:lnTo>
                  <a:lnTo>
                    <a:pt x="84" y="429"/>
                  </a:lnTo>
                  <a:lnTo>
                    <a:pt x="83" y="429"/>
                  </a:lnTo>
                  <a:lnTo>
                    <a:pt x="81" y="430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8"/>
                  </a:lnTo>
                  <a:lnTo>
                    <a:pt x="78" y="428"/>
                  </a:lnTo>
                  <a:lnTo>
                    <a:pt x="78" y="427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8" y="425"/>
                  </a:lnTo>
                  <a:lnTo>
                    <a:pt x="78" y="424"/>
                  </a:lnTo>
                  <a:lnTo>
                    <a:pt x="79" y="423"/>
                  </a:lnTo>
                  <a:lnTo>
                    <a:pt x="79" y="422"/>
                  </a:lnTo>
                  <a:lnTo>
                    <a:pt x="79" y="421"/>
                  </a:lnTo>
                  <a:lnTo>
                    <a:pt x="80" y="420"/>
                  </a:lnTo>
                  <a:lnTo>
                    <a:pt x="83" y="417"/>
                  </a:lnTo>
                  <a:lnTo>
                    <a:pt x="84" y="415"/>
                  </a:lnTo>
                  <a:lnTo>
                    <a:pt x="84" y="414"/>
                  </a:lnTo>
                  <a:lnTo>
                    <a:pt x="85" y="414"/>
                  </a:lnTo>
                  <a:lnTo>
                    <a:pt x="86" y="413"/>
                  </a:lnTo>
                  <a:lnTo>
                    <a:pt x="87" y="412"/>
                  </a:lnTo>
                  <a:lnTo>
                    <a:pt x="88" y="411"/>
                  </a:lnTo>
                  <a:lnTo>
                    <a:pt x="89" y="411"/>
                  </a:lnTo>
                  <a:lnTo>
                    <a:pt x="90" y="410"/>
                  </a:lnTo>
                  <a:lnTo>
                    <a:pt x="92" y="409"/>
                  </a:lnTo>
                  <a:lnTo>
                    <a:pt x="93" y="409"/>
                  </a:lnTo>
                  <a:lnTo>
                    <a:pt x="94" y="408"/>
                  </a:lnTo>
                  <a:lnTo>
                    <a:pt x="95" y="408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7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101" y="410"/>
                  </a:lnTo>
                  <a:lnTo>
                    <a:pt x="102" y="410"/>
                  </a:lnTo>
                  <a:lnTo>
                    <a:pt x="103" y="411"/>
                  </a:lnTo>
                  <a:lnTo>
                    <a:pt x="103" y="411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7" y="409"/>
                  </a:lnTo>
                  <a:lnTo>
                    <a:pt x="108" y="408"/>
                  </a:lnTo>
                  <a:lnTo>
                    <a:pt x="109" y="406"/>
                  </a:lnTo>
                  <a:lnTo>
                    <a:pt x="110" y="405"/>
                  </a:lnTo>
                  <a:lnTo>
                    <a:pt x="111" y="404"/>
                  </a:lnTo>
                  <a:lnTo>
                    <a:pt x="112" y="403"/>
                  </a:lnTo>
                  <a:lnTo>
                    <a:pt x="115" y="400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17" y="398"/>
                  </a:lnTo>
                  <a:lnTo>
                    <a:pt x="117" y="398"/>
                  </a:lnTo>
                  <a:lnTo>
                    <a:pt x="118" y="397"/>
                  </a:lnTo>
                  <a:lnTo>
                    <a:pt x="118" y="397"/>
                  </a:lnTo>
                  <a:lnTo>
                    <a:pt x="118" y="396"/>
                  </a:lnTo>
                  <a:lnTo>
                    <a:pt x="118" y="395"/>
                  </a:lnTo>
                  <a:lnTo>
                    <a:pt x="117" y="395"/>
                  </a:lnTo>
                  <a:lnTo>
                    <a:pt x="117" y="394"/>
                  </a:lnTo>
                  <a:lnTo>
                    <a:pt x="116" y="394"/>
                  </a:lnTo>
                  <a:lnTo>
                    <a:pt x="116" y="393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3" y="392"/>
                  </a:lnTo>
                  <a:lnTo>
                    <a:pt x="113" y="391"/>
                  </a:lnTo>
                  <a:lnTo>
                    <a:pt x="113" y="390"/>
                  </a:lnTo>
                  <a:lnTo>
                    <a:pt x="114" y="388"/>
                  </a:lnTo>
                  <a:lnTo>
                    <a:pt x="114" y="387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5" y="384"/>
                  </a:lnTo>
                  <a:lnTo>
                    <a:pt x="115" y="383"/>
                  </a:lnTo>
                  <a:lnTo>
                    <a:pt x="115" y="380"/>
                  </a:lnTo>
                  <a:lnTo>
                    <a:pt x="115" y="379"/>
                  </a:lnTo>
                  <a:lnTo>
                    <a:pt x="115" y="378"/>
                  </a:lnTo>
                  <a:lnTo>
                    <a:pt x="115" y="377"/>
                  </a:lnTo>
                  <a:lnTo>
                    <a:pt x="115" y="376"/>
                  </a:lnTo>
                  <a:lnTo>
                    <a:pt x="115" y="376"/>
                  </a:lnTo>
                  <a:lnTo>
                    <a:pt x="116" y="373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7" y="369"/>
                  </a:lnTo>
                  <a:lnTo>
                    <a:pt x="117" y="368"/>
                  </a:lnTo>
                  <a:lnTo>
                    <a:pt x="117" y="367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7" y="361"/>
                  </a:lnTo>
                  <a:lnTo>
                    <a:pt x="118" y="356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9" y="351"/>
                  </a:lnTo>
                  <a:lnTo>
                    <a:pt x="120" y="349"/>
                  </a:lnTo>
                  <a:lnTo>
                    <a:pt x="120" y="348"/>
                  </a:lnTo>
                  <a:lnTo>
                    <a:pt x="121" y="347"/>
                  </a:lnTo>
                  <a:lnTo>
                    <a:pt x="121" y="346"/>
                  </a:lnTo>
                  <a:lnTo>
                    <a:pt x="122" y="346"/>
                  </a:lnTo>
                  <a:lnTo>
                    <a:pt x="122" y="345"/>
                  </a:lnTo>
                  <a:lnTo>
                    <a:pt x="124" y="344"/>
                  </a:lnTo>
                  <a:lnTo>
                    <a:pt x="124" y="343"/>
                  </a:lnTo>
                  <a:lnTo>
                    <a:pt x="125" y="343"/>
                  </a:lnTo>
                  <a:lnTo>
                    <a:pt x="125" y="342"/>
                  </a:lnTo>
                  <a:lnTo>
                    <a:pt x="125" y="341"/>
                  </a:lnTo>
                  <a:lnTo>
                    <a:pt x="125" y="341"/>
                  </a:lnTo>
                  <a:lnTo>
                    <a:pt x="125" y="340"/>
                  </a:lnTo>
                  <a:lnTo>
                    <a:pt x="125" y="339"/>
                  </a:lnTo>
                  <a:lnTo>
                    <a:pt x="125" y="335"/>
                  </a:lnTo>
                  <a:lnTo>
                    <a:pt x="125" y="333"/>
                  </a:lnTo>
                  <a:lnTo>
                    <a:pt x="125" y="329"/>
                  </a:lnTo>
                  <a:lnTo>
                    <a:pt x="124" y="326"/>
                  </a:lnTo>
                  <a:lnTo>
                    <a:pt x="124" y="324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8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7"/>
                  </a:lnTo>
                  <a:lnTo>
                    <a:pt x="122" y="317"/>
                  </a:lnTo>
                  <a:lnTo>
                    <a:pt x="116" y="313"/>
                  </a:lnTo>
                  <a:lnTo>
                    <a:pt x="113" y="312"/>
                  </a:lnTo>
                  <a:lnTo>
                    <a:pt x="112" y="311"/>
                  </a:lnTo>
                  <a:lnTo>
                    <a:pt x="110" y="311"/>
                  </a:lnTo>
                  <a:lnTo>
                    <a:pt x="107" y="310"/>
                  </a:lnTo>
                  <a:lnTo>
                    <a:pt x="104" y="309"/>
                  </a:lnTo>
                  <a:lnTo>
                    <a:pt x="104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2" y="308"/>
                  </a:lnTo>
                  <a:lnTo>
                    <a:pt x="102" y="307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1" y="303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0" y="301"/>
                  </a:lnTo>
                  <a:lnTo>
                    <a:pt x="100" y="301"/>
                  </a:lnTo>
                  <a:lnTo>
                    <a:pt x="99" y="300"/>
                  </a:lnTo>
                  <a:lnTo>
                    <a:pt x="98" y="300"/>
                  </a:lnTo>
                  <a:lnTo>
                    <a:pt x="98" y="299"/>
                  </a:lnTo>
                  <a:lnTo>
                    <a:pt x="97" y="299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2" y="298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6"/>
                  </a:lnTo>
                  <a:lnTo>
                    <a:pt x="85" y="294"/>
                  </a:lnTo>
                  <a:lnTo>
                    <a:pt x="83" y="292"/>
                  </a:lnTo>
                  <a:lnTo>
                    <a:pt x="82" y="291"/>
                  </a:lnTo>
                  <a:lnTo>
                    <a:pt x="80" y="289"/>
                  </a:lnTo>
                  <a:lnTo>
                    <a:pt x="78" y="286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0" y="283"/>
                  </a:lnTo>
                  <a:lnTo>
                    <a:pt x="69" y="283"/>
                  </a:lnTo>
                  <a:lnTo>
                    <a:pt x="68" y="283"/>
                  </a:lnTo>
                  <a:lnTo>
                    <a:pt x="65" y="284"/>
                  </a:lnTo>
                  <a:lnTo>
                    <a:pt x="64" y="284"/>
                  </a:lnTo>
                  <a:lnTo>
                    <a:pt x="63" y="285"/>
                  </a:lnTo>
                  <a:lnTo>
                    <a:pt x="61" y="285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7" y="285"/>
                  </a:lnTo>
                  <a:lnTo>
                    <a:pt x="56" y="285"/>
                  </a:lnTo>
                  <a:lnTo>
                    <a:pt x="55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1" y="284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48" y="282"/>
                  </a:lnTo>
                  <a:lnTo>
                    <a:pt x="47" y="281"/>
                  </a:lnTo>
                  <a:lnTo>
                    <a:pt x="44" y="279"/>
                  </a:lnTo>
                  <a:lnTo>
                    <a:pt x="42" y="277"/>
                  </a:lnTo>
                  <a:lnTo>
                    <a:pt x="40" y="276"/>
                  </a:lnTo>
                  <a:lnTo>
                    <a:pt x="37" y="275"/>
                  </a:lnTo>
                  <a:lnTo>
                    <a:pt x="36" y="274"/>
                  </a:lnTo>
                  <a:lnTo>
                    <a:pt x="35" y="273"/>
                  </a:lnTo>
                  <a:lnTo>
                    <a:pt x="34" y="273"/>
                  </a:lnTo>
                  <a:lnTo>
                    <a:pt x="33" y="272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2" y="271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6" y="267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5" y="265"/>
                  </a:lnTo>
                  <a:lnTo>
                    <a:pt x="34" y="264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0" y="263"/>
                  </a:lnTo>
                  <a:lnTo>
                    <a:pt x="19" y="263"/>
                  </a:lnTo>
                  <a:lnTo>
                    <a:pt x="17" y="263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4" y="264"/>
                  </a:lnTo>
                  <a:lnTo>
                    <a:pt x="12" y="264"/>
                  </a:lnTo>
                  <a:lnTo>
                    <a:pt x="10" y="265"/>
                  </a:lnTo>
                  <a:lnTo>
                    <a:pt x="9" y="266"/>
                  </a:lnTo>
                  <a:lnTo>
                    <a:pt x="8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5"/>
                  </a:lnTo>
                  <a:lnTo>
                    <a:pt x="2" y="265"/>
                  </a:lnTo>
                  <a:lnTo>
                    <a:pt x="1" y="265"/>
                  </a:lnTo>
                  <a:lnTo>
                    <a:pt x="1" y="265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1" y="260"/>
                  </a:lnTo>
                  <a:lnTo>
                    <a:pt x="1" y="259"/>
                  </a:lnTo>
                  <a:lnTo>
                    <a:pt x="2" y="257"/>
                  </a:lnTo>
                  <a:lnTo>
                    <a:pt x="3" y="255"/>
                  </a:lnTo>
                  <a:lnTo>
                    <a:pt x="4" y="254"/>
                  </a:lnTo>
                  <a:lnTo>
                    <a:pt x="5" y="252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0"/>
                  </a:lnTo>
                  <a:lnTo>
                    <a:pt x="6" y="249"/>
                  </a:lnTo>
                  <a:lnTo>
                    <a:pt x="6" y="248"/>
                  </a:lnTo>
                  <a:lnTo>
                    <a:pt x="6" y="247"/>
                  </a:lnTo>
                  <a:lnTo>
                    <a:pt x="6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4" y="243"/>
                  </a:lnTo>
                  <a:lnTo>
                    <a:pt x="3" y="242"/>
                  </a:lnTo>
                  <a:lnTo>
                    <a:pt x="2" y="241"/>
                  </a:lnTo>
                  <a:lnTo>
                    <a:pt x="2" y="240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8"/>
                  </a:lnTo>
                  <a:lnTo>
                    <a:pt x="2" y="237"/>
                  </a:lnTo>
                  <a:lnTo>
                    <a:pt x="3" y="237"/>
                  </a:lnTo>
                  <a:lnTo>
                    <a:pt x="4" y="236"/>
                  </a:lnTo>
                  <a:lnTo>
                    <a:pt x="5" y="235"/>
                  </a:lnTo>
                  <a:lnTo>
                    <a:pt x="6" y="234"/>
                  </a:lnTo>
                  <a:lnTo>
                    <a:pt x="7" y="233"/>
                  </a:lnTo>
                  <a:lnTo>
                    <a:pt x="8" y="233"/>
                  </a:lnTo>
                  <a:lnTo>
                    <a:pt x="9" y="232"/>
                  </a:lnTo>
                  <a:lnTo>
                    <a:pt x="10" y="232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3" y="231"/>
                  </a:lnTo>
                  <a:lnTo>
                    <a:pt x="14" y="231"/>
                  </a:lnTo>
                  <a:lnTo>
                    <a:pt x="15" y="231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7" y="231"/>
                  </a:lnTo>
                  <a:lnTo>
                    <a:pt x="17" y="230"/>
                  </a:lnTo>
                  <a:lnTo>
                    <a:pt x="18" y="230"/>
                  </a:lnTo>
                  <a:lnTo>
                    <a:pt x="19" y="228"/>
                  </a:lnTo>
                  <a:lnTo>
                    <a:pt x="19" y="227"/>
                  </a:lnTo>
                  <a:lnTo>
                    <a:pt x="20" y="226"/>
                  </a:lnTo>
                  <a:lnTo>
                    <a:pt x="21" y="224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2" y="223"/>
                  </a:lnTo>
                  <a:lnTo>
                    <a:pt x="22" y="222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6"/>
                  </a:lnTo>
                  <a:lnTo>
                    <a:pt x="26" y="215"/>
                  </a:lnTo>
                  <a:lnTo>
                    <a:pt x="26" y="215"/>
                  </a:lnTo>
                  <a:lnTo>
                    <a:pt x="26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6"/>
                  </a:lnTo>
                  <a:lnTo>
                    <a:pt x="29" y="206"/>
                  </a:lnTo>
                  <a:lnTo>
                    <a:pt x="29" y="205"/>
                  </a:lnTo>
                  <a:lnTo>
                    <a:pt x="31" y="203"/>
                  </a:lnTo>
                  <a:lnTo>
                    <a:pt x="33" y="202"/>
                  </a:lnTo>
                  <a:lnTo>
                    <a:pt x="34" y="201"/>
                  </a:lnTo>
                  <a:lnTo>
                    <a:pt x="36" y="200"/>
                  </a:lnTo>
                  <a:lnTo>
                    <a:pt x="36" y="199"/>
                  </a:lnTo>
                  <a:lnTo>
                    <a:pt x="38" y="198"/>
                  </a:lnTo>
                  <a:lnTo>
                    <a:pt x="40" y="197"/>
                  </a:lnTo>
                  <a:lnTo>
                    <a:pt x="41" y="196"/>
                  </a:lnTo>
                  <a:lnTo>
                    <a:pt x="42" y="195"/>
                  </a:lnTo>
                  <a:lnTo>
                    <a:pt x="43" y="195"/>
                  </a:lnTo>
                  <a:lnTo>
                    <a:pt x="44" y="194"/>
                  </a:lnTo>
                  <a:lnTo>
                    <a:pt x="45" y="194"/>
                  </a:lnTo>
                  <a:lnTo>
                    <a:pt x="47" y="194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51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4"/>
                  </a:lnTo>
                  <a:lnTo>
                    <a:pt x="57" y="193"/>
                  </a:lnTo>
                  <a:lnTo>
                    <a:pt x="59" y="193"/>
                  </a:lnTo>
                  <a:lnTo>
                    <a:pt x="60" y="192"/>
                  </a:lnTo>
                  <a:lnTo>
                    <a:pt x="61" y="192"/>
                  </a:lnTo>
                  <a:lnTo>
                    <a:pt x="62" y="191"/>
                  </a:lnTo>
                  <a:lnTo>
                    <a:pt x="63" y="190"/>
                  </a:lnTo>
                  <a:lnTo>
                    <a:pt x="64" y="190"/>
                  </a:lnTo>
                  <a:lnTo>
                    <a:pt x="65" y="188"/>
                  </a:lnTo>
                  <a:lnTo>
                    <a:pt x="66" y="18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9" y="184"/>
                  </a:lnTo>
                  <a:lnTo>
                    <a:pt x="72" y="182"/>
                  </a:lnTo>
                  <a:lnTo>
                    <a:pt x="76" y="178"/>
                  </a:lnTo>
                  <a:lnTo>
                    <a:pt x="77" y="177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2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4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7" y="178"/>
                  </a:lnTo>
                  <a:lnTo>
                    <a:pt x="99" y="178"/>
                  </a:lnTo>
                  <a:lnTo>
                    <a:pt x="100" y="178"/>
                  </a:lnTo>
                  <a:lnTo>
                    <a:pt x="101" y="178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1" y="173"/>
                  </a:lnTo>
                  <a:lnTo>
                    <a:pt x="111" y="173"/>
                  </a:lnTo>
                  <a:lnTo>
                    <a:pt x="113" y="172"/>
                  </a:lnTo>
                  <a:lnTo>
                    <a:pt x="113" y="171"/>
                  </a:lnTo>
                  <a:lnTo>
                    <a:pt x="115" y="170"/>
                  </a:lnTo>
                  <a:lnTo>
                    <a:pt x="118" y="167"/>
                  </a:lnTo>
                  <a:lnTo>
                    <a:pt x="119" y="166"/>
                  </a:lnTo>
                  <a:lnTo>
                    <a:pt x="120" y="165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3"/>
                  </a:lnTo>
                  <a:lnTo>
                    <a:pt x="123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7" y="164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69"/>
                  </a:lnTo>
                  <a:lnTo>
                    <a:pt x="136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8" y="167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2" y="162"/>
                  </a:lnTo>
                  <a:lnTo>
                    <a:pt x="143" y="161"/>
                  </a:lnTo>
                  <a:lnTo>
                    <a:pt x="144" y="161"/>
                  </a:lnTo>
                  <a:lnTo>
                    <a:pt x="145" y="160"/>
                  </a:lnTo>
                  <a:lnTo>
                    <a:pt x="146" y="159"/>
                  </a:lnTo>
                  <a:lnTo>
                    <a:pt x="147" y="159"/>
                  </a:lnTo>
                  <a:lnTo>
                    <a:pt x="147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1" y="157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6"/>
                  </a:lnTo>
                  <a:lnTo>
                    <a:pt x="157" y="155"/>
                  </a:lnTo>
                  <a:lnTo>
                    <a:pt x="158" y="154"/>
                  </a:lnTo>
                  <a:lnTo>
                    <a:pt x="160" y="153"/>
                  </a:lnTo>
                  <a:lnTo>
                    <a:pt x="160" y="153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4" y="150"/>
                  </a:lnTo>
                  <a:lnTo>
                    <a:pt x="164" y="149"/>
                  </a:lnTo>
                  <a:lnTo>
                    <a:pt x="165" y="148"/>
                  </a:lnTo>
                  <a:lnTo>
                    <a:pt x="165" y="147"/>
                  </a:lnTo>
                  <a:lnTo>
                    <a:pt x="166" y="146"/>
                  </a:lnTo>
                  <a:lnTo>
                    <a:pt x="166" y="145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68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4" y="143"/>
                  </a:lnTo>
                  <a:lnTo>
                    <a:pt x="174" y="142"/>
                  </a:lnTo>
                  <a:lnTo>
                    <a:pt x="175" y="142"/>
                  </a:lnTo>
                  <a:lnTo>
                    <a:pt x="175" y="142"/>
                  </a:lnTo>
                  <a:lnTo>
                    <a:pt x="175" y="141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39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6" y="134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1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7" y="129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9" y="127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4" y="125"/>
                  </a:lnTo>
                  <a:lnTo>
                    <a:pt x="185" y="125"/>
                  </a:lnTo>
                  <a:lnTo>
                    <a:pt x="186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4" y="126"/>
                  </a:lnTo>
                  <a:lnTo>
                    <a:pt x="198" y="127"/>
                  </a:lnTo>
                  <a:lnTo>
                    <a:pt x="202" y="128"/>
                  </a:lnTo>
                  <a:lnTo>
                    <a:pt x="205" y="129"/>
                  </a:lnTo>
                  <a:lnTo>
                    <a:pt x="207" y="129"/>
                  </a:lnTo>
                  <a:lnTo>
                    <a:pt x="209" y="129"/>
                  </a:lnTo>
                  <a:lnTo>
                    <a:pt x="215" y="130"/>
                  </a:lnTo>
                  <a:lnTo>
                    <a:pt x="217" y="130"/>
                  </a:lnTo>
                  <a:lnTo>
                    <a:pt x="219" y="130"/>
                  </a:lnTo>
                  <a:lnTo>
                    <a:pt x="222" y="130"/>
                  </a:lnTo>
                  <a:lnTo>
                    <a:pt x="224" y="130"/>
                  </a:lnTo>
                  <a:lnTo>
                    <a:pt x="226" y="130"/>
                  </a:lnTo>
                  <a:lnTo>
                    <a:pt x="228" y="129"/>
                  </a:lnTo>
                  <a:lnTo>
                    <a:pt x="230" y="129"/>
                  </a:lnTo>
                  <a:lnTo>
                    <a:pt x="232" y="129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5" y="127"/>
                  </a:lnTo>
                  <a:lnTo>
                    <a:pt x="236" y="127"/>
                  </a:lnTo>
                  <a:lnTo>
                    <a:pt x="236" y="127"/>
                  </a:lnTo>
                  <a:lnTo>
                    <a:pt x="237" y="127"/>
                  </a:lnTo>
                  <a:lnTo>
                    <a:pt x="239" y="128"/>
                  </a:lnTo>
                  <a:lnTo>
                    <a:pt x="241" y="128"/>
                  </a:lnTo>
                  <a:lnTo>
                    <a:pt x="245" y="129"/>
                  </a:lnTo>
                  <a:lnTo>
                    <a:pt x="248" y="130"/>
                  </a:lnTo>
                  <a:lnTo>
                    <a:pt x="250" y="130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6" y="128"/>
                  </a:lnTo>
                  <a:lnTo>
                    <a:pt x="257" y="127"/>
                  </a:lnTo>
                  <a:lnTo>
                    <a:pt x="259" y="125"/>
                  </a:lnTo>
                  <a:lnTo>
                    <a:pt x="260" y="124"/>
                  </a:lnTo>
                  <a:lnTo>
                    <a:pt x="260" y="124"/>
                  </a:lnTo>
                  <a:lnTo>
                    <a:pt x="261" y="124"/>
                  </a:lnTo>
                  <a:lnTo>
                    <a:pt x="262" y="123"/>
                  </a:lnTo>
                  <a:lnTo>
                    <a:pt x="263" y="123"/>
                  </a:lnTo>
                  <a:lnTo>
                    <a:pt x="264" y="123"/>
                  </a:lnTo>
                  <a:lnTo>
                    <a:pt x="270" y="122"/>
                  </a:lnTo>
                  <a:lnTo>
                    <a:pt x="272" y="121"/>
                  </a:lnTo>
                  <a:lnTo>
                    <a:pt x="276" y="121"/>
                  </a:lnTo>
                  <a:lnTo>
                    <a:pt x="277" y="121"/>
                  </a:lnTo>
                  <a:lnTo>
                    <a:pt x="279" y="121"/>
                  </a:lnTo>
                  <a:lnTo>
                    <a:pt x="280" y="121"/>
                  </a:lnTo>
                  <a:lnTo>
                    <a:pt x="282" y="122"/>
                  </a:lnTo>
                  <a:lnTo>
                    <a:pt x="284" y="122"/>
                  </a:lnTo>
                  <a:lnTo>
                    <a:pt x="284" y="122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0"/>
                  </a:lnTo>
                  <a:lnTo>
                    <a:pt x="288" y="120"/>
                  </a:lnTo>
                  <a:lnTo>
                    <a:pt x="288" y="119"/>
                  </a:lnTo>
                  <a:lnTo>
                    <a:pt x="289" y="118"/>
                  </a:lnTo>
                  <a:lnTo>
                    <a:pt x="289" y="117"/>
                  </a:lnTo>
                  <a:lnTo>
                    <a:pt x="289" y="116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91" y="109"/>
                  </a:lnTo>
                  <a:lnTo>
                    <a:pt x="291" y="108"/>
                  </a:lnTo>
                  <a:lnTo>
                    <a:pt x="291" y="106"/>
                  </a:lnTo>
                  <a:lnTo>
                    <a:pt x="291" y="105"/>
                  </a:lnTo>
                  <a:lnTo>
                    <a:pt x="291" y="104"/>
                  </a:lnTo>
                  <a:lnTo>
                    <a:pt x="291" y="103"/>
                  </a:lnTo>
                  <a:lnTo>
                    <a:pt x="290" y="102"/>
                  </a:lnTo>
                  <a:lnTo>
                    <a:pt x="290" y="99"/>
                  </a:lnTo>
                  <a:lnTo>
                    <a:pt x="289" y="98"/>
                  </a:lnTo>
                  <a:lnTo>
                    <a:pt x="289" y="97"/>
                  </a:lnTo>
                  <a:lnTo>
                    <a:pt x="289" y="96"/>
                  </a:lnTo>
                  <a:lnTo>
                    <a:pt x="289" y="95"/>
                  </a:lnTo>
                  <a:lnTo>
                    <a:pt x="289" y="94"/>
                  </a:lnTo>
                  <a:lnTo>
                    <a:pt x="289" y="93"/>
                  </a:lnTo>
                  <a:lnTo>
                    <a:pt x="289" y="91"/>
                  </a:lnTo>
                  <a:lnTo>
                    <a:pt x="289" y="89"/>
                  </a:lnTo>
                  <a:lnTo>
                    <a:pt x="289" y="88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90" y="86"/>
                  </a:lnTo>
                  <a:lnTo>
                    <a:pt x="291" y="86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7" y="88"/>
                  </a:lnTo>
                  <a:lnTo>
                    <a:pt x="298" y="88"/>
                  </a:lnTo>
                  <a:lnTo>
                    <a:pt x="299" y="88"/>
                  </a:lnTo>
                  <a:lnTo>
                    <a:pt x="300" y="88"/>
                  </a:lnTo>
                  <a:lnTo>
                    <a:pt x="301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3" y="88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3" y="86"/>
                  </a:lnTo>
                  <a:lnTo>
                    <a:pt x="303" y="85"/>
                  </a:lnTo>
                  <a:lnTo>
                    <a:pt x="305" y="83"/>
                  </a:lnTo>
                  <a:lnTo>
                    <a:pt x="306" y="80"/>
                  </a:lnTo>
                  <a:lnTo>
                    <a:pt x="306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8" y="78"/>
                  </a:lnTo>
                  <a:lnTo>
                    <a:pt x="311" y="78"/>
                  </a:lnTo>
                  <a:lnTo>
                    <a:pt x="314" y="77"/>
                  </a:lnTo>
                  <a:lnTo>
                    <a:pt x="316" y="76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7" y="75"/>
                  </a:lnTo>
                  <a:lnTo>
                    <a:pt x="318" y="75"/>
                  </a:lnTo>
                  <a:lnTo>
                    <a:pt x="318" y="75"/>
                  </a:lnTo>
                  <a:lnTo>
                    <a:pt x="318" y="74"/>
                  </a:lnTo>
                  <a:lnTo>
                    <a:pt x="319" y="74"/>
                  </a:lnTo>
                  <a:lnTo>
                    <a:pt x="319" y="73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1"/>
                  </a:lnTo>
                  <a:lnTo>
                    <a:pt x="319" y="70"/>
                  </a:lnTo>
                  <a:lnTo>
                    <a:pt x="319" y="67"/>
                  </a:lnTo>
                  <a:lnTo>
                    <a:pt x="319" y="66"/>
                  </a:lnTo>
                  <a:lnTo>
                    <a:pt x="319" y="64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8" y="58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19" y="55"/>
                  </a:lnTo>
                  <a:lnTo>
                    <a:pt x="319" y="54"/>
                  </a:lnTo>
                  <a:lnTo>
                    <a:pt x="320" y="53"/>
                  </a:lnTo>
                  <a:lnTo>
                    <a:pt x="321" y="53"/>
                  </a:lnTo>
                  <a:lnTo>
                    <a:pt x="321" y="52"/>
                  </a:lnTo>
                  <a:lnTo>
                    <a:pt x="322" y="52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5" y="53"/>
                  </a:lnTo>
                  <a:lnTo>
                    <a:pt x="325" y="53"/>
                  </a:lnTo>
                  <a:lnTo>
                    <a:pt x="326" y="53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7" y="54"/>
                  </a:lnTo>
                  <a:lnTo>
                    <a:pt x="328" y="54"/>
                  </a:lnTo>
                  <a:lnTo>
                    <a:pt x="328" y="53"/>
                  </a:lnTo>
                  <a:lnTo>
                    <a:pt x="329" y="53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2" y="51"/>
                  </a:lnTo>
                  <a:lnTo>
                    <a:pt x="333" y="51"/>
                  </a:lnTo>
                  <a:lnTo>
                    <a:pt x="334" y="51"/>
                  </a:lnTo>
                  <a:lnTo>
                    <a:pt x="335" y="51"/>
                  </a:lnTo>
                  <a:lnTo>
                    <a:pt x="335" y="52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0" y="53"/>
                  </a:lnTo>
                  <a:lnTo>
                    <a:pt x="340" y="53"/>
                  </a:lnTo>
                  <a:lnTo>
                    <a:pt x="341" y="53"/>
                  </a:lnTo>
                  <a:lnTo>
                    <a:pt x="341" y="53"/>
                  </a:lnTo>
                  <a:lnTo>
                    <a:pt x="342" y="53"/>
                  </a:lnTo>
                  <a:lnTo>
                    <a:pt x="343" y="53"/>
                  </a:lnTo>
                  <a:lnTo>
                    <a:pt x="344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7" y="51"/>
                  </a:lnTo>
                  <a:lnTo>
                    <a:pt x="348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49" y="51"/>
                  </a:lnTo>
                  <a:lnTo>
                    <a:pt x="350" y="51"/>
                  </a:lnTo>
                  <a:lnTo>
                    <a:pt x="350" y="52"/>
                  </a:lnTo>
                  <a:lnTo>
                    <a:pt x="350" y="52"/>
                  </a:lnTo>
                  <a:lnTo>
                    <a:pt x="350" y="53"/>
                  </a:lnTo>
                  <a:lnTo>
                    <a:pt x="351" y="54"/>
                  </a:lnTo>
                  <a:lnTo>
                    <a:pt x="351" y="55"/>
                  </a:lnTo>
                  <a:lnTo>
                    <a:pt x="352" y="57"/>
                  </a:lnTo>
                  <a:lnTo>
                    <a:pt x="352" y="59"/>
                  </a:lnTo>
                  <a:lnTo>
                    <a:pt x="352" y="60"/>
                  </a:lnTo>
                  <a:lnTo>
                    <a:pt x="353" y="61"/>
                  </a:lnTo>
                  <a:lnTo>
                    <a:pt x="353" y="62"/>
                  </a:lnTo>
                  <a:lnTo>
                    <a:pt x="353" y="62"/>
                  </a:lnTo>
                  <a:lnTo>
                    <a:pt x="354" y="63"/>
                  </a:lnTo>
                  <a:lnTo>
                    <a:pt x="354" y="63"/>
                  </a:lnTo>
                  <a:lnTo>
                    <a:pt x="355" y="64"/>
                  </a:lnTo>
                  <a:lnTo>
                    <a:pt x="355" y="64"/>
                  </a:lnTo>
                  <a:lnTo>
                    <a:pt x="356" y="64"/>
                  </a:lnTo>
                  <a:lnTo>
                    <a:pt x="356" y="65"/>
                  </a:lnTo>
                  <a:lnTo>
                    <a:pt x="357" y="65"/>
                  </a:lnTo>
                  <a:lnTo>
                    <a:pt x="358" y="65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7" y="63"/>
                  </a:lnTo>
                  <a:lnTo>
                    <a:pt x="368" y="62"/>
                  </a:lnTo>
                  <a:lnTo>
                    <a:pt x="369" y="62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81" y="61"/>
                  </a:lnTo>
                  <a:lnTo>
                    <a:pt x="382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6" y="58"/>
                  </a:lnTo>
                  <a:lnTo>
                    <a:pt x="389" y="56"/>
                  </a:lnTo>
                  <a:lnTo>
                    <a:pt x="391" y="55"/>
                  </a:lnTo>
                  <a:lnTo>
                    <a:pt x="391" y="54"/>
                  </a:lnTo>
                  <a:lnTo>
                    <a:pt x="392" y="53"/>
                  </a:lnTo>
                  <a:lnTo>
                    <a:pt x="393" y="52"/>
                  </a:lnTo>
                  <a:lnTo>
                    <a:pt x="395" y="49"/>
                  </a:lnTo>
                  <a:lnTo>
                    <a:pt x="395" y="49"/>
                  </a:lnTo>
                  <a:lnTo>
                    <a:pt x="396" y="48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9" y="46"/>
                  </a:lnTo>
                  <a:lnTo>
                    <a:pt x="400" y="45"/>
                  </a:lnTo>
                  <a:lnTo>
                    <a:pt x="400" y="44"/>
                  </a:lnTo>
                  <a:lnTo>
                    <a:pt x="401" y="44"/>
                  </a:lnTo>
                  <a:lnTo>
                    <a:pt x="401" y="43"/>
                  </a:lnTo>
                  <a:lnTo>
                    <a:pt x="402" y="42"/>
                  </a:lnTo>
                  <a:lnTo>
                    <a:pt x="402" y="41"/>
                  </a:lnTo>
                  <a:lnTo>
                    <a:pt x="402" y="40"/>
                  </a:lnTo>
                  <a:lnTo>
                    <a:pt x="403" y="39"/>
                  </a:lnTo>
                  <a:lnTo>
                    <a:pt x="403" y="35"/>
                  </a:lnTo>
                  <a:lnTo>
                    <a:pt x="403" y="34"/>
                  </a:lnTo>
                  <a:lnTo>
                    <a:pt x="403" y="33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1"/>
                  </a:lnTo>
                  <a:lnTo>
                    <a:pt x="406" y="31"/>
                  </a:lnTo>
                  <a:lnTo>
                    <a:pt x="407" y="30"/>
                  </a:lnTo>
                  <a:lnTo>
                    <a:pt x="407" y="30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1" y="30"/>
                  </a:lnTo>
                  <a:lnTo>
                    <a:pt x="413" y="31"/>
                  </a:lnTo>
                  <a:lnTo>
                    <a:pt x="415" y="31"/>
                  </a:lnTo>
                  <a:lnTo>
                    <a:pt x="417" y="32"/>
                  </a:lnTo>
                  <a:lnTo>
                    <a:pt x="420" y="33"/>
                  </a:lnTo>
                  <a:lnTo>
                    <a:pt x="422" y="33"/>
                  </a:lnTo>
                  <a:lnTo>
                    <a:pt x="423" y="33"/>
                  </a:lnTo>
                  <a:lnTo>
                    <a:pt x="423" y="33"/>
                  </a:lnTo>
                  <a:lnTo>
                    <a:pt x="424" y="33"/>
                  </a:lnTo>
                  <a:lnTo>
                    <a:pt x="425" y="33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29" y="31"/>
                  </a:lnTo>
                  <a:lnTo>
                    <a:pt x="430" y="31"/>
                  </a:lnTo>
                  <a:lnTo>
                    <a:pt x="430" y="30"/>
                  </a:lnTo>
                  <a:lnTo>
                    <a:pt x="431" y="29"/>
                  </a:lnTo>
                  <a:lnTo>
                    <a:pt x="431" y="29"/>
                  </a:lnTo>
                  <a:lnTo>
                    <a:pt x="432" y="28"/>
                  </a:lnTo>
                  <a:lnTo>
                    <a:pt x="432" y="28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3" y="24"/>
                  </a:lnTo>
                  <a:lnTo>
                    <a:pt x="433" y="23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4" y="22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7" y="20"/>
                  </a:lnTo>
                  <a:lnTo>
                    <a:pt x="437" y="19"/>
                  </a:lnTo>
                  <a:lnTo>
                    <a:pt x="439" y="18"/>
                  </a:lnTo>
                  <a:lnTo>
                    <a:pt x="443" y="16"/>
                  </a:lnTo>
                  <a:lnTo>
                    <a:pt x="444" y="16"/>
                  </a:lnTo>
                  <a:lnTo>
                    <a:pt x="445" y="15"/>
                  </a:lnTo>
                  <a:lnTo>
                    <a:pt x="445" y="15"/>
                  </a:lnTo>
                  <a:lnTo>
                    <a:pt x="446" y="14"/>
                  </a:lnTo>
                  <a:lnTo>
                    <a:pt x="446" y="14"/>
                  </a:lnTo>
                  <a:lnTo>
                    <a:pt x="447" y="13"/>
                  </a:lnTo>
                  <a:lnTo>
                    <a:pt x="447" y="12"/>
                  </a:lnTo>
                  <a:lnTo>
                    <a:pt x="447" y="11"/>
                  </a:lnTo>
                  <a:lnTo>
                    <a:pt x="447" y="9"/>
                  </a:lnTo>
                  <a:lnTo>
                    <a:pt x="447" y="8"/>
                  </a:lnTo>
                  <a:lnTo>
                    <a:pt x="448" y="6"/>
                  </a:lnTo>
                  <a:lnTo>
                    <a:pt x="449" y="4"/>
                  </a:lnTo>
                  <a:lnTo>
                    <a:pt x="450" y="3"/>
                  </a:lnTo>
                  <a:lnTo>
                    <a:pt x="45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1" y="0"/>
                  </a:lnTo>
                  <a:lnTo>
                    <a:pt x="451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5" name="Freeform 45">
              <a:extLst>
                <a:ext uri="{FF2B5EF4-FFF2-40B4-BE49-F238E27FC236}">
                  <a16:creationId xmlns:a16="http://schemas.microsoft.com/office/drawing/2014/main" id="{EDBD2ECE-D590-3256-1C9A-7CBB194C8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4" y="3272"/>
              <a:ext cx="138" cy="106"/>
            </a:xfrm>
            <a:custGeom>
              <a:avLst/>
              <a:gdLst>
                <a:gd name="T0" fmla="*/ 77 w 138"/>
                <a:gd name="T1" fmla="*/ 3 h 106"/>
                <a:gd name="T2" fmla="*/ 66 w 138"/>
                <a:gd name="T3" fmla="*/ 8 h 106"/>
                <a:gd name="T4" fmla="*/ 53 w 138"/>
                <a:gd name="T5" fmla="*/ 13 h 106"/>
                <a:gd name="T6" fmla="*/ 43 w 138"/>
                <a:gd name="T7" fmla="*/ 15 h 106"/>
                <a:gd name="T8" fmla="*/ 38 w 138"/>
                <a:gd name="T9" fmla="*/ 17 h 106"/>
                <a:gd name="T10" fmla="*/ 36 w 138"/>
                <a:gd name="T11" fmla="*/ 24 h 106"/>
                <a:gd name="T12" fmla="*/ 33 w 138"/>
                <a:gd name="T13" fmla="*/ 27 h 106"/>
                <a:gd name="T14" fmla="*/ 26 w 138"/>
                <a:gd name="T15" fmla="*/ 26 h 106"/>
                <a:gd name="T16" fmla="*/ 21 w 138"/>
                <a:gd name="T17" fmla="*/ 24 h 106"/>
                <a:gd name="T18" fmla="*/ 14 w 138"/>
                <a:gd name="T19" fmla="*/ 27 h 106"/>
                <a:gd name="T20" fmla="*/ 2 w 138"/>
                <a:gd name="T21" fmla="*/ 31 h 106"/>
                <a:gd name="T22" fmla="*/ 0 w 138"/>
                <a:gd name="T23" fmla="*/ 33 h 106"/>
                <a:gd name="T24" fmla="*/ 5 w 138"/>
                <a:gd name="T25" fmla="*/ 36 h 106"/>
                <a:gd name="T26" fmla="*/ 13 w 138"/>
                <a:gd name="T27" fmla="*/ 44 h 106"/>
                <a:gd name="T28" fmla="*/ 12 w 138"/>
                <a:gd name="T29" fmla="*/ 48 h 106"/>
                <a:gd name="T30" fmla="*/ 7 w 138"/>
                <a:gd name="T31" fmla="*/ 52 h 106"/>
                <a:gd name="T32" fmla="*/ 7 w 138"/>
                <a:gd name="T33" fmla="*/ 55 h 106"/>
                <a:gd name="T34" fmla="*/ 11 w 138"/>
                <a:gd name="T35" fmla="*/ 62 h 106"/>
                <a:gd name="T36" fmla="*/ 20 w 138"/>
                <a:gd name="T37" fmla="*/ 71 h 106"/>
                <a:gd name="T38" fmla="*/ 21 w 138"/>
                <a:gd name="T39" fmla="*/ 75 h 106"/>
                <a:gd name="T40" fmla="*/ 20 w 138"/>
                <a:gd name="T41" fmla="*/ 80 h 106"/>
                <a:gd name="T42" fmla="*/ 22 w 138"/>
                <a:gd name="T43" fmla="*/ 83 h 106"/>
                <a:gd name="T44" fmla="*/ 28 w 138"/>
                <a:gd name="T45" fmla="*/ 86 h 106"/>
                <a:gd name="T46" fmla="*/ 29 w 138"/>
                <a:gd name="T47" fmla="*/ 89 h 106"/>
                <a:gd name="T48" fmla="*/ 29 w 138"/>
                <a:gd name="T49" fmla="*/ 94 h 106"/>
                <a:gd name="T50" fmla="*/ 30 w 138"/>
                <a:gd name="T51" fmla="*/ 97 h 106"/>
                <a:gd name="T52" fmla="*/ 29 w 138"/>
                <a:gd name="T53" fmla="*/ 102 h 106"/>
                <a:gd name="T54" fmla="*/ 32 w 138"/>
                <a:gd name="T55" fmla="*/ 105 h 106"/>
                <a:gd name="T56" fmla="*/ 40 w 138"/>
                <a:gd name="T57" fmla="*/ 106 h 106"/>
                <a:gd name="T58" fmla="*/ 46 w 138"/>
                <a:gd name="T59" fmla="*/ 106 h 106"/>
                <a:gd name="T60" fmla="*/ 49 w 138"/>
                <a:gd name="T61" fmla="*/ 100 h 106"/>
                <a:gd name="T62" fmla="*/ 55 w 138"/>
                <a:gd name="T63" fmla="*/ 98 h 106"/>
                <a:gd name="T64" fmla="*/ 65 w 138"/>
                <a:gd name="T65" fmla="*/ 94 h 106"/>
                <a:gd name="T66" fmla="*/ 76 w 138"/>
                <a:gd name="T67" fmla="*/ 86 h 106"/>
                <a:gd name="T68" fmla="*/ 83 w 138"/>
                <a:gd name="T69" fmla="*/ 83 h 106"/>
                <a:gd name="T70" fmla="*/ 88 w 138"/>
                <a:gd name="T71" fmla="*/ 79 h 106"/>
                <a:gd name="T72" fmla="*/ 94 w 138"/>
                <a:gd name="T73" fmla="*/ 78 h 106"/>
                <a:gd name="T74" fmla="*/ 102 w 138"/>
                <a:gd name="T75" fmla="*/ 77 h 106"/>
                <a:gd name="T76" fmla="*/ 110 w 138"/>
                <a:gd name="T77" fmla="*/ 81 h 106"/>
                <a:gd name="T78" fmla="*/ 117 w 138"/>
                <a:gd name="T79" fmla="*/ 83 h 106"/>
                <a:gd name="T80" fmla="*/ 121 w 138"/>
                <a:gd name="T81" fmla="*/ 82 h 106"/>
                <a:gd name="T82" fmla="*/ 127 w 138"/>
                <a:gd name="T83" fmla="*/ 76 h 106"/>
                <a:gd name="T84" fmla="*/ 126 w 138"/>
                <a:gd name="T85" fmla="*/ 66 h 106"/>
                <a:gd name="T86" fmla="*/ 124 w 138"/>
                <a:gd name="T87" fmla="*/ 62 h 106"/>
                <a:gd name="T88" fmla="*/ 122 w 138"/>
                <a:gd name="T89" fmla="*/ 58 h 106"/>
                <a:gd name="T90" fmla="*/ 125 w 138"/>
                <a:gd name="T91" fmla="*/ 55 h 106"/>
                <a:gd name="T92" fmla="*/ 135 w 138"/>
                <a:gd name="T93" fmla="*/ 49 h 106"/>
                <a:gd name="T94" fmla="*/ 138 w 138"/>
                <a:gd name="T95" fmla="*/ 44 h 106"/>
                <a:gd name="T96" fmla="*/ 137 w 138"/>
                <a:gd name="T97" fmla="*/ 40 h 106"/>
                <a:gd name="T98" fmla="*/ 130 w 138"/>
                <a:gd name="T99" fmla="*/ 34 h 106"/>
                <a:gd name="T100" fmla="*/ 125 w 138"/>
                <a:gd name="T101" fmla="*/ 28 h 106"/>
                <a:gd name="T102" fmla="*/ 117 w 138"/>
                <a:gd name="T103" fmla="*/ 23 h 106"/>
                <a:gd name="T104" fmla="*/ 109 w 138"/>
                <a:gd name="T105" fmla="*/ 20 h 106"/>
                <a:gd name="T106" fmla="*/ 106 w 138"/>
                <a:gd name="T107" fmla="*/ 14 h 106"/>
                <a:gd name="T108" fmla="*/ 101 w 138"/>
                <a:gd name="T109" fmla="*/ 12 h 106"/>
                <a:gd name="T110" fmla="*/ 91 w 138"/>
                <a:gd name="T111" fmla="*/ 5 h 106"/>
                <a:gd name="T112" fmla="*/ 88 w 138"/>
                <a:gd name="T113" fmla="*/ 2 h 106"/>
                <a:gd name="T114" fmla="*/ 88 w 138"/>
                <a:gd name="T11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8" h="106">
                  <a:moveTo>
                    <a:pt x="87" y="0"/>
                  </a:moveTo>
                  <a:lnTo>
                    <a:pt x="87" y="1"/>
                  </a:lnTo>
                  <a:lnTo>
                    <a:pt x="86" y="1"/>
                  </a:lnTo>
                  <a:lnTo>
                    <a:pt x="84" y="1"/>
                  </a:lnTo>
                  <a:lnTo>
                    <a:pt x="79" y="2"/>
                  </a:lnTo>
                  <a:lnTo>
                    <a:pt x="77" y="3"/>
                  </a:lnTo>
                  <a:lnTo>
                    <a:pt x="75" y="3"/>
                  </a:lnTo>
                  <a:lnTo>
                    <a:pt x="73" y="4"/>
                  </a:lnTo>
                  <a:lnTo>
                    <a:pt x="71" y="5"/>
                  </a:lnTo>
                  <a:lnTo>
                    <a:pt x="70" y="5"/>
                  </a:lnTo>
                  <a:lnTo>
                    <a:pt x="67" y="7"/>
                  </a:lnTo>
                  <a:lnTo>
                    <a:pt x="66" y="8"/>
                  </a:lnTo>
                  <a:lnTo>
                    <a:pt x="64" y="9"/>
                  </a:lnTo>
                  <a:lnTo>
                    <a:pt x="61" y="9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4" y="12"/>
                  </a:lnTo>
                  <a:lnTo>
                    <a:pt x="53" y="13"/>
                  </a:lnTo>
                  <a:lnTo>
                    <a:pt x="52" y="14"/>
                  </a:lnTo>
                  <a:lnTo>
                    <a:pt x="49" y="14"/>
                  </a:lnTo>
                  <a:lnTo>
                    <a:pt x="48" y="14"/>
                  </a:lnTo>
                  <a:lnTo>
                    <a:pt x="47" y="15"/>
                  </a:lnTo>
                  <a:lnTo>
                    <a:pt x="44" y="15"/>
                  </a:lnTo>
                  <a:lnTo>
                    <a:pt x="43" y="15"/>
                  </a:lnTo>
                  <a:lnTo>
                    <a:pt x="41" y="15"/>
                  </a:lnTo>
                  <a:lnTo>
                    <a:pt x="41" y="16"/>
                  </a:lnTo>
                  <a:lnTo>
                    <a:pt x="40" y="16"/>
                  </a:lnTo>
                  <a:lnTo>
                    <a:pt x="39" y="16"/>
                  </a:lnTo>
                  <a:lnTo>
                    <a:pt x="39" y="17"/>
                  </a:lnTo>
                  <a:lnTo>
                    <a:pt x="38" y="17"/>
                  </a:lnTo>
                  <a:lnTo>
                    <a:pt x="38" y="18"/>
                  </a:lnTo>
                  <a:lnTo>
                    <a:pt x="37" y="19"/>
                  </a:lnTo>
                  <a:lnTo>
                    <a:pt x="37" y="20"/>
                  </a:lnTo>
                  <a:lnTo>
                    <a:pt x="37" y="21"/>
                  </a:lnTo>
                  <a:lnTo>
                    <a:pt x="36" y="23"/>
                  </a:lnTo>
                  <a:lnTo>
                    <a:pt x="36" y="24"/>
                  </a:lnTo>
                  <a:lnTo>
                    <a:pt x="35" y="25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4" y="26"/>
                  </a:lnTo>
                  <a:lnTo>
                    <a:pt x="34" y="27"/>
                  </a:lnTo>
                  <a:lnTo>
                    <a:pt x="33" y="27"/>
                  </a:lnTo>
                  <a:lnTo>
                    <a:pt x="31" y="27"/>
                  </a:lnTo>
                  <a:lnTo>
                    <a:pt x="30" y="27"/>
                  </a:lnTo>
                  <a:lnTo>
                    <a:pt x="28" y="27"/>
                  </a:lnTo>
                  <a:lnTo>
                    <a:pt x="27" y="27"/>
                  </a:lnTo>
                  <a:lnTo>
                    <a:pt x="27" y="26"/>
                  </a:lnTo>
                  <a:lnTo>
                    <a:pt x="26" y="26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3" y="24"/>
                  </a:lnTo>
                  <a:lnTo>
                    <a:pt x="22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9" y="25"/>
                  </a:lnTo>
                  <a:lnTo>
                    <a:pt x="16" y="26"/>
                  </a:lnTo>
                  <a:lnTo>
                    <a:pt x="15" y="27"/>
                  </a:lnTo>
                  <a:lnTo>
                    <a:pt x="14" y="27"/>
                  </a:lnTo>
                  <a:lnTo>
                    <a:pt x="11" y="28"/>
                  </a:lnTo>
                  <a:lnTo>
                    <a:pt x="9" y="28"/>
                  </a:lnTo>
                  <a:lnTo>
                    <a:pt x="6" y="29"/>
                  </a:lnTo>
                  <a:lnTo>
                    <a:pt x="4" y="30"/>
                  </a:lnTo>
                  <a:lnTo>
                    <a:pt x="3" y="31"/>
                  </a:lnTo>
                  <a:lnTo>
                    <a:pt x="2" y="31"/>
                  </a:lnTo>
                  <a:lnTo>
                    <a:pt x="1" y="32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4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3" y="35"/>
                  </a:lnTo>
                  <a:lnTo>
                    <a:pt x="4" y="35"/>
                  </a:lnTo>
                  <a:lnTo>
                    <a:pt x="5" y="36"/>
                  </a:lnTo>
                  <a:lnTo>
                    <a:pt x="5" y="37"/>
                  </a:lnTo>
                  <a:lnTo>
                    <a:pt x="7" y="38"/>
                  </a:lnTo>
                  <a:lnTo>
                    <a:pt x="9" y="40"/>
                  </a:lnTo>
                  <a:lnTo>
                    <a:pt x="11" y="43"/>
                  </a:lnTo>
                  <a:lnTo>
                    <a:pt x="12" y="44"/>
                  </a:lnTo>
                  <a:lnTo>
                    <a:pt x="13" y="44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6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0" y="49"/>
                  </a:lnTo>
                  <a:lnTo>
                    <a:pt x="9" y="50"/>
                  </a:lnTo>
                  <a:lnTo>
                    <a:pt x="8" y="50"/>
                  </a:lnTo>
                  <a:lnTo>
                    <a:pt x="8" y="51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6" y="53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7" y="54"/>
                  </a:lnTo>
                  <a:lnTo>
                    <a:pt x="7" y="55"/>
                  </a:lnTo>
                  <a:lnTo>
                    <a:pt x="7" y="56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10" y="59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2" y="64"/>
                  </a:lnTo>
                  <a:lnTo>
                    <a:pt x="13" y="65"/>
                  </a:lnTo>
                  <a:lnTo>
                    <a:pt x="14" y="66"/>
                  </a:lnTo>
                  <a:lnTo>
                    <a:pt x="15" y="67"/>
                  </a:lnTo>
                  <a:lnTo>
                    <a:pt x="17" y="69"/>
                  </a:lnTo>
                  <a:lnTo>
                    <a:pt x="20" y="71"/>
                  </a:lnTo>
                  <a:lnTo>
                    <a:pt x="20" y="72"/>
                  </a:lnTo>
                  <a:lnTo>
                    <a:pt x="21" y="73"/>
                  </a:lnTo>
                  <a:lnTo>
                    <a:pt x="21" y="73"/>
                  </a:lnTo>
                  <a:lnTo>
                    <a:pt x="21" y="74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6"/>
                  </a:lnTo>
                  <a:lnTo>
                    <a:pt x="21" y="77"/>
                  </a:lnTo>
                  <a:lnTo>
                    <a:pt x="20" y="78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80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2"/>
                  </a:lnTo>
                  <a:lnTo>
                    <a:pt x="21" y="82"/>
                  </a:lnTo>
                  <a:lnTo>
                    <a:pt x="21" y="83"/>
                  </a:lnTo>
                  <a:lnTo>
                    <a:pt x="22" y="83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4" y="85"/>
                  </a:lnTo>
                  <a:lnTo>
                    <a:pt x="25" y="85"/>
                  </a:lnTo>
                  <a:lnTo>
                    <a:pt x="27" y="86"/>
                  </a:lnTo>
                  <a:lnTo>
                    <a:pt x="28" y="86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29" y="90"/>
                  </a:lnTo>
                  <a:lnTo>
                    <a:pt x="29" y="91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7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29" y="100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102"/>
                  </a:lnTo>
                  <a:lnTo>
                    <a:pt x="30" y="102"/>
                  </a:lnTo>
                  <a:lnTo>
                    <a:pt x="30" y="103"/>
                  </a:lnTo>
                  <a:lnTo>
                    <a:pt x="31" y="103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2" y="105"/>
                  </a:lnTo>
                  <a:lnTo>
                    <a:pt x="33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5" y="106"/>
                  </a:lnTo>
                  <a:lnTo>
                    <a:pt x="36" y="106"/>
                  </a:lnTo>
                  <a:lnTo>
                    <a:pt x="40" y="106"/>
                  </a:lnTo>
                  <a:lnTo>
                    <a:pt x="41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6" y="106"/>
                  </a:lnTo>
                  <a:lnTo>
                    <a:pt x="46" y="105"/>
                  </a:lnTo>
                  <a:lnTo>
                    <a:pt x="46" y="105"/>
                  </a:lnTo>
                  <a:lnTo>
                    <a:pt x="47" y="104"/>
                  </a:lnTo>
                  <a:lnTo>
                    <a:pt x="48" y="102"/>
                  </a:lnTo>
                  <a:lnTo>
                    <a:pt x="49" y="101"/>
                  </a:lnTo>
                  <a:lnTo>
                    <a:pt x="49" y="100"/>
                  </a:lnTo>
                  <a:lnTo>
                    <a:pt x="49" y="100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1" y="99"/>
                  </a:lnTo>
                  <a:lnTo>
                    <a:pt x="52" y="98"/>
                  </a:lnTo>
                  <a:lnTo>
                    <a:pt x="55" y="98"/>
                  </a:lnTo>
                  <a:lnTo>
                    <a:pt x="56" y="97"/>
                  </a:lnTo>
                  <a:lnTo>
                    <a:pt x="58" y="97"/>
                  </a:lnTo>
                  <a:lnTo>
                    <a:pt x="59" y="96"/>
                  </a:lnTo>
                  <a:lnTo>
                    <a:pt x="62" y="95"/>
                  </a:lnTo>
                  <a:lnTo>
                    <a:pt x="64" y="95"/>
                  </a:lnTo>
                  <a:lnTo>
                    <a:pt x="65" y="94"/>
                  </a:lnTo>
                  <a:lnTo>
                    <a:pt x="66" y="94"/>
                  </a:lnTo>
                  <a:lnTo>
                    <a:pt x="67" y="93"/>
                  </a:lnTo>
                  <a:lnTo>
                    <a:pt x="68" y="93"/>
                  </a:lnTo>
                  <a:lnTo>
                    <a:pt x="73" y="89"/>
                  </a:lnTo>
                  <a:lnTo>
                    <a:pt x="75" y="87"/>
                  </a:lnTo>
                  <a:lnTo>
                    <a:pt x="76" y="86"/>
                  </a:lnTo>
                  <a:lnTo>
                    <a:pt x="77" y="86"/>
                  </a:lnTo>
                  <a:lnTo>
                    <a:pt x="78" y="86"/>
                  </a:lnTo>
                  <a:lnTo>
                    <a:pt x="79" y="85"/>
                  </a:lnTo>
                  <a:lnTo>
                    <a:pt x="81" y="84"/>
                  </a:lnTo>
                  <a:lnTo>
                    <a:pt x="82" y="84"/>
                  </a:lnTo>
                  <a:lnTo>
                    <a:pt x="83" y="83"/>
                  </a:lnTo>
                  <a:lnTo>
                    <a:pt x="84" y="83"/>
                  </a:lnTo>
                  <a:lnTo>
                    <a:pt x="85" y="82"/>
                  </a:lnTo>
                  <a:lnTo>
                    <a:pt x="86" y="82"/>
                  </a:lnTo>
                  <a:lnTo>
                    <a:pt x="87" y="80"/>
                  </a:lnTo>
                  <a:lnTo>
                    <a:pt x="87" y="80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9" y="79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91" y="78"/>
                  </a:lnTo>
                  <a:lnTo>
                    <a:pt x="94" y="78"/>
                  </a:lnTo>
                  <a:lnTo>
                    <a:pt x="95" y="77"/>
                  </a:lnTo>
                  <a:lnTo>
                    <a:pt x="97" y="77"/>
                  </a:lnTo>
                  <a:lnTo>
                    <a:pt x="99" y="77"/>
                  </a:lnTo>
                  <a:lnTo>
                    <a:pt x="101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3" y="77"/>
                  </a:lnTo>
                  <a:lnTo>
                    <a:pt x="104" y="78"/>
                  </a:lnTo>
                  <a:lnTo>
                    <a:pt x="106" y="78"/>
                  </a:lnTo>
                  <a:lnTo>
                    <a:pt x="107" y="79"/>
                  </a:lnTo>
                  <a:lnTo>
                    <a:pt x="108" y="80"/>
                  </a:lnTo>
                  <a:lnTo>
                    <a:pt x="110" y="81"/>
                  </a:lnTo>
                  <a:lnTo>
                    <a:pt x="112" y="82"/>
                  </a:lnTo>
                  <a:lnTo>
                    <a:pt x="112" y="82"/>
                  </a:lnTo>
                  <a:lnTo>
                    <a:pt x="113" y="82"/>
                  </a:lnTo>
                  <a:lnTo>
                    <a:pt x="114" y="83"/>
                  </a:lnTo>
                  <a:lnTo>
                    <a:pt x="115" y="83"/>
                  </a:lnTo>
                  <a:lnTo>
                    <a:pt x="117" y="83"/>
                  </a:lnTo>
                  <a:lnTo>
                    <a:pt x="118" y="83"/>
                  </a:lnTo>
                  <a:lnTo>
                    <a:pt x="118" y="83"/>
                  </a:lnTo>
                  <a:lnTo>
                    <a:pt x="119" y="83"/>
                  </a:lnTo>
                  <a:lnTo>
                    <a:pt x="120" y="83"/>
                  </a:lnTo>
                  <a:lnTo>
                    <a:pt x="120" y="82"/>
                  </a:lnTo>
                  <a:lnTo>
                    <a:pt x="121" y="82"/>
                  </a:lnTo>
                  <a:lnTo>
                    <a:pt x="122" y="81"/>
                  </a:lnTo>
                  <a:lnTo>
                    <a:pt x="124" y="79"/>
                  </a:lnTo>
                  <a:lnTo>
                    <a:pt x="125" y="79"/>
                  </a:lnTo>
                  <a:lnTo>
                    <a:pt x="126" y="78"/>
                  </a:lnTo>
                  <a:lnTo>
                    <a:pt x="126" y="77"/>
                  </a:lnTo>
                  <a:lnTo>
                    <a:pt x="127" y="76"/>
                  </a:lnTo>
                  <a:lnTo>
                    <a:pt x="127" y="75"/>
                  </a:lnTo>
                  <a:lnTo>
                    <a:pt x="127" y="74"/>
                  </a:lnTo>
                  <a:lnTo>
                    <a:pt x="127" y="73"/>
                  </a:lnTo>
                  <a:lnTo>
                    <a:pt x="127" y="72"/>
                  </a:lnTo>
                  <a:lnTo>
                    <a:pt x="126" y="68"/>
                  </a:lnTo>
                  <a:lnTo>
                    <a:pt x="126" y="66"/>
                  </a:lnTo>
                  <a:lnTo>
                    <a:pt x="126" y="65"/>
                  </a:lnTo>
                  <a:lnTo>
                    <a:pt x="126" y="64"/>
                  </a:lnTo>
                  <a:lnTo>
                    <a:pt x="125" y="64"/>
                  </a:lnTo>
                  <a:lnTo>
                    <a:pt x="125" y="63"/>
                  </a:lnTo>
                  <a:lnTo>
                    <a:pt x="125" y="63"/>
                  </a:lnTo>
                  <a:lnTo>
                    <a:pt x="124" y="62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3" y="60"/>
                  </a:lnTo>
                  <a:lnTo>
                    <a:pt x="122" y="60"/>
                  </a:lnTo>
                  <a:lnTo>
                    <a:pt x="122" y="59"/>
                  </a:lnTo>
                  <a:lnTo>
                    <a:pt x="122" y="58"/>
                  </a:lnTo>
                  <a:lnTo>
                    <a:pt x="123" y="58"/>
                  </a:lnTo>
                  <a:lnTo>
                    <a:pt x="123" y="57"/>
                  </a:lnTo>
                  <a:lnTo>
                    <a:pt x="123" y="57"/>
                  </a:lnTo>
                  <a:lnTo>
                    <a:pt x="123" y="56"/>
                  </a:lnTo>
                  <a:lnTo>
                    <a:pt x="124" y="56"/>
                  </a:lnTo>
                  <a:lnTo>
                    <a:pt x="125" y="55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31" y="51"/>
                  </a:lnTo>
                  <a:lnTo>
                    <a:pt x="134" y="50"/>
                  </a:lnTo>
                  <a:lnTo>
                    <a:pt x="134" y="49"/>
                  </a:lnTo>
                  <a:lnTo>
                    <a:pt x="135" y="49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7" y="47"/>
                  </a:lnTo>
                  <a:lnTo>
                    <a:pt x="137" y="46"/>
                  </a:lnTo>
                  <a:lnTo>
                    <a:pt x="138" y="45"/>
                  </a:lnTo>
                  <a:lnTo>
                    <a:pt x="138" y="44"/>
                  </a:lnTo>
                  <a:lnTo>
                    <a:pt x="138" y="43"/>
                  </a:lnTo>
                  <a:lnTo>
                    <a:pt x="138" y="43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37" y="41"/>
                  </a:lnTo>
                  <a:lnTo>
                    <a:pt x="137" y="40"/>
                  </a:lnTo>
                  <a:lnTo>
                    <a:pt x="136" y="39"/>
                  </a:lnTo>
                  <a:lnTo>
                    <a:pt x="135" y="38"/>
                  </a:lnTo>
                  <a:lnTo>
                    <a:pt x="135" y="37"/>
                  </a:lnTo>
                  <a:lnTo>
                    <a:pt x="134" y="37"/>
                  </a:lnTo>
                  <a:lnTo>
                    <a:pt x="133" y="36"/>
                  </a:lnTo>
                  <a:lnTo>
                    <a:pt x="130" y="34"/>
                  </a:lnTo>
                  <a:lnTo>
                    <a:pt x="129" y="33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7" y="31"/>
                  </a:lnTo>
                  <a:lnTo>
                    <a:pt x="126" y="29"/>
                  </a:lnTo>
                  <a:lnTo>
                    <a:pt x="125" y="28"/>
                  </a:lnTo>
                  <a:lnTo>
                    <a:pt x="124" y="28"/>
                  </a:lnTo>
                  <a:lnTo>
                    <a:pt x="124" y="27"/>
                  </a:lnTo>
                  <a:lnTo>
                    <a:pt x="123" y="27"/>
                  </a:lnTo>
                  <a:lnTo>
                    <a:pt x="122" y="26"/>
                  </a:lnTo>
                  <a:lnTo>
                    <a:pt x="118" y="24"/>
                  </a:lnTo>
                  <a:lnTo>
                    <a:pt x="117" y="23"/>
                  </a:lnTo>
                  <a:lnTo>
                    <a:pt x="114" y="23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1" y="21"/>
                  </a:lnTo>
                  <a:lnTo>
                    <a:pt x="110" y="21"/>
                  </a:lnTo>
                  <a:lnTo>
                    <a:pt x="109" y="20"/>
                  </a:lnTo>
                  <a:lnTo>
                    <a:pt x="109" y="19"/>
                  </a:lnTo>
                  <a:lnTo>
                    <a:pt x="108" y="19"/>
                  </a:lnTo>
                  <a:lnTo>
                    <a:pt x="107" y="18"/>
                  </a:lnTo>
                  <a:lnTo>
                    <a:pt x="107" y="17"/>
                  </a:lnTo>
                  <a:lnTo>
                    <a:pt x="107" y="16"/>
                  </a:lnTo>
                  <a:lnTo>
                    <a:pt x="106" y="14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4" y="12"/>
                  </a:lnTo>
                  <a:lnTo>
                    <a:pt x="103" y="12"/>
                  </a:lnTo>
                  <a:lnTo>
                    <a:pt x="101" y="12"/>
                  </a:lnTo>
                  <a:lnTo>
                    <a:pt x="100" y="11"/>
                  </a:lnTo>
                  <a:lnTo>
                    <a:pt x="99" y="11"/>
                  </a:lnTo>
                  <a:lnTo>
                    <a:pt x="98" y="10"/>
                  </a:lnTo>
                  <a:lnTo>
                    <a:pt x="95" y="8"/>
                  </a:lnTo>
                  <a:lnTo>
                    <a:pt x="94" y="7"/>
                  </a:lnTo>
                  <a:lnTo>
                    <a:pt x="91" y="5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89" y="4"/>
                  </a:lnTo>
                  <a:lnTo>
                    <a:pt x="89" y="3"/>
                  </a:lnTo>
                  <a:lnTo>
                    <a:pt x="89" y="2"/>
                  </a:lnTo>
                  <a:lnTo>
                    <a:pt x="88" y="2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9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7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Freeform 46">
              <a:extLst>
                <a:ext uri="{FF2B5EF4-FFF2-40B4-BE49-F238E27FC236}">
                  <a16:creationId xmlns:a16="http://schemas.microsoft.com/office/drawing/2014/main" id="{DAAD85D5-8A92-16E5-E71A-A034DB26D2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3533"/>
              <a:ext cx="624" cy="488"/>
            </a:xfrm>
            <a:custGeom>
              <a:avLst/>
              <a:gdLst>
                <a:gd name="T0" fmla="*/ 178 w 624"/>
                <a:gd name="T1" fmla="*/ 37 h 488"/>
                <a:gd name="T2" fmla="*/ 217 w 624"/>
                <a:gd name="T3" fmla="*/ 23 h 488"/>
                <a:gd name="T4" fmla="*/ 241 w 624"/>
                <a:gd name="T5" fmla="*/ 35 h 488"/>
                <a:gd name="T6" fmla="*/ 265 w 624"/>
                <a:gd name="T7" fmla="*/ 33 h 488"/>
                <a:gd name="T8" fmla="*/ 286 w 624"/>
                <a:gd name="T9" fmla="*/ 34 h 488"/>
                <a:gd name="T10" fmla="*/ 319 w 624"/>
                <a:gd name="T11" fmla="*/ 35 h 488"/>
                <a:gd name="T12" fmla="*/ 337 w 624"/>
                <a:gd name="T13" fmla="*/ 48 h 488"/>
                <a:gd name="T14" fmla="*/ 363 w 624"/>
                <a:gd name="T15" fmla="*/ 27 h 488"/>
                <a:gd name="T16" fmla="*/ 373 w 624"/>
                <a:gd name="T17" fmla="*/ 0 h 488"/>
                <a:gd name="T18" fmla="*/ 403 w 624"/>
                <a:gd name="T19" fmla="*/ 13 h 488"/>
                <a:gd name="T20" fmla="*/ 422 w 624"/>
                <a:gd name="T21" fmla="*/ 31 h 488"/>
                <a:gd name="T22" fmla="*/ 417 w 624"/>
                <a:gd name="T23" fmla="*/ 47 h 488"/>
                <a:gd name="T24" fmla="*/ 415 w 624"/>
                <a:gd name="T25" fmla="*/ 88 h 488"/>
                <a:gd name="T26" fmla="*/ 421 w 624"/>
                <a:gd name="T27" fmla="*/ 120 h 488"/>
                <a:gd name="T28" fmla="*/ 435 w 624"/>
                <a:gd name="T29" fmla="*/ 153 h 488"/>
                <a:gd name="T30" fmla="*/ 468 w 624"/>
                <a:gd name="T31" fmla="*/ 159 h 488"/>
                <a:gd name="T32" fmla="*/ 473 w 624"/>
                <a:gd name="T33" fmla="*/ 171 h 488"/>
                <a:gd name="T34" fmla="*/ 502 w 624"/>
                <a:gd name="T35" fmla="*/ 178 h 488"/>
                <a:gd name="T36" fmla="*/ 542 w 624"/>
                <a:gd name="T37" fmla="*/ 184 h 488"/>
                <a:gd name="T38" fmla="*/ 551 w 624"/>
                <a:gd name="T39" fmla="*/ 212 h 488"/>
                <a:gd name="T40" fmla="*/ 591 w 624"/>
                <a:gd name="T41" fmla="*/ 227 h 488"/>
                <a:gd name="T42" fmla="*/ 614 w 624"/>
                <a:gd name="T43" fmla="*/ 228 h 488"/>
                <a:gd name="T44" fmla="*/ 621 w 624"/>
                <a:gd name="T45" fmla="*/ 249 h 488"/>
                <a:gd name="T46" fmla="*/ 600 w 624"/>
                <a:gd name="T47" fmla="*/ 276 h 488"/>
                <a:gd name="T48" fmla="*/ 605 w 624"/>
                <a:gd name="T49" fmla="*/ 293 h 488"/>
                <a:gd name="T50" fmla="*/ 617 w 624"/>
                <a:gd name="T51" fmla="*/ 312 h 488"/>
                <a:gd name="T52" fmla="*/ 606 w 624"/>
                <a:gd name="T53" fmla="*/ 325 h 488"/>
                <a:gd name="T54" fmla="*/ 560 w 624"/>
                <a:gd name="T55" fmla="*/ 297 h 488"/>
                <a:gd name="T56" fmla="*/ 529 w 624"/>
                <a:gd name="T57" fmla="*/ 291 h 488"/>
                <a:gd name="T58" fmla="*/ 496 w 624"/>
                <a:gd name="T59" fmla="*/ 309 h 488"/>
                <a:gd name="T60" fmla="*/ 484 w 624"/>
                <a:gd name="T61" fmla="*/ 286 h 488"/>
                <a:gd name="T62" fmla="*/ 448 w 624"/>
                <a:gd name="T63" fmla="*/ 277 h 488"/>
                <a:gd name="T64" fmla="*/ 438 w 624"/>
                <a:gd name="T65" fmla="*/ 313 h 488"/>
                <a:gd name="T66" fmla="*/ 432 w 624"/>
                <a:gd name="T67" fmla="*/ 370 h 488"/>
                <a:gd name="T68" fmla="*/ 425 w 624"/>
                <a:gd name="T69" fmla="*/ 394 h 488"/>
                <a:gd name="T70" fmla="*/ 386 w 624"/>
                <a:gd name="T71" fmla="*/ 391 h 488"/>
                <a:gd name="T72" fmla="*/ 358 w 624"/>
                <a:gd name="T73" fmla="*/ 437 h 488"/>
                <a:gd name="T74" fmla="*/ 350 w 624"/>
                <a:gd name="T75" fmla="*/ 476 h 488"/>
                <a:gd name="T76" fmla="*/ 326 w 624"/>
                <a:gd name="T77" fmla="*/ 461 h 488"/>
                <a:gd name="T78" fmla="*/ 291 w 624"/>
                <a:gd name="T79" fmla="*/ 458 h 488"/>
                <a:gd name="T80" fmla="*/ 273 w 624"/>
                <a:gd name="T81" fmla="*/ 465 h 488"/>
                <a:gd name="T82" fmla="*/ 253 w 624"/>
                <a:gd name="T83" fmla="*/ 481 h 488"/>
                <a:gd name="T84" fmla="*/ 211 w 624"/>
                <a:gd name="T85" fmla="*/ 477 h 488"/>
                <a:gd name="T86" fmla="*/ 158 w 624"/>
                <a:gd name="T87" fmla="*/ 467 h 488"/>
                <a:gd name="T88" fmla="*/ 145 w 624"/>
                <a:gd name="T89" fmla="*/ 446 h 488"/>
                <a:gd name="T90" fmla="*/ 142 w 624"/>
                <a:gd name="T91" fmla="*/ 422 h 488"/>
                <a:gd name="T92" fmla="*/ 101 w 624"/>
                <a:gd name="T93" fmla="*/ 392 h 488"/>
                <a:gd name="T94" fmla="*/ 73 w 624"/>
                <a:gd name="T95" fmla="*/ 361 h 488"/>
                <a:gd name="T96" fmla="*/ 46 w 624"/>
                <a:gd name="T97" fmla="*/ 336 h 488"/>
                <a:gd name="T98" fmla="*/ 20 w 624"/>
                <a:gd name="T99" fmla="*/ 306 h 488"/>
                <a:gd name="T100" fmla="*/ 0 w 624"/>
                <a:gd name="T101" fmla="*/ 286 h 488"/>
                <a:gd name="T102" fmla="*/ 17 w 624"/>
                <a:gd name="T103" fmla="*/ 255 h 488"/>
                <a:gd name="T104" fmla="*/ 18 w 624"/>
                <a:gd name="T105" fmla="*/ 214 h 488"/>
                <a:gd name="T106" fmla="*/ 47 w 624"/>
                <a:gd name="T107" fmla="*/ 201 h 488"/>
                <a:gd name="T108" fmla="*/ 49 w 624"/>
                <a:gd name="T109" fmla="*/ 174 h 488"/>
                <a:gd name="T110" fmla="*/ 52 w 624"/>
                <a:gd name="T111" fmla="*/ 157 h 488"/>
                <a:gd name="T112" fmla="*/ 59 w 624"/>
                <a:gd name="T113" fmla="*/ 140 h 488"/>
                <a:gd name="T114" fmla="*/ 74 w 624"/>
                <a:gd name="T115" fmla="*/ 107 h 488"/>
                <a:gd name="T116" fmla="*/ 71 w 624"/>
                <a:gd name="T117" fmla="*/ 67 h 488"/>
                <a:gd name="T118" fmla="*/ 73 w 624"/>
                <a:gd name="T119" fmla="*/ 44 h 488"/>
                <a:gd name="T120" fmla="*/ 102 w 624"/>
                <a:gd name="T121" fmla="*/ 41 h 488"/>
                <a:gd name="T122" fmla="*/ 127 w 624"/>
                <a:gd name="T123" fmla="*/ 45 h 488"/>
                <a:gd name="T124" fmla="*/ 150 w 624"/>
                <a:gd name="T125" fmla="*/ 28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24" h="488">
                  <a:moveTo>
                    <a:pt x="162" y="23"/>
                  </a:moveTo>
                  <a:lnTo>
                    <a:pt x="162" y="23"/>
                  </a:lnTo>
                  <a:lnTo>
                    <a:pt x="162" y="23"/>
                  </a:lnTo>
                  <a:lnTo>
                    <a:pt x="163" y="24"/>
                  </a:lnTo>
                  <a:lnTo>
                    <a:pt x="163" y="24"/>
                  </a:lnTo>
                  <a:lnTo>
                    <a:pt x="163" y="25"/>
                  </a:lnTo>
                  <a:lnTo>
                    <a:pt x="163" y="29"/>
                  </a:lnTo>
                  <a:lnTo>
                    <a:pt x="163" y="31"/>
                  </a:lnTo>
                  <a:lnTo>
                    <a:pt x="163" y="32"/>
                  </a:lnTo>
                  <a:lnTo>
                    <a:pt x="163" y="33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4" y="35"/>
                  </a:lnTo>
                  <a:lnTo>
                    <a:pt x="164" y="35"/>
                  </a:lnTo>
                  <a:lnTo>
                    <a:pt x="165" y="36"/>
                  </a:lnTo>
                  <a:lnTo>
                    <a:pt x="165" y="36"/>
                  </a:lnTo>
                  <a:lnTo>
                    <a:pt x="166" y="37"/>
                  </a:lnTo>
                  <a:lnTo>
                    <a:pt x="167" y="37"/>
                  </a:lnTo>
                  <a:lnTo>
                    <a:pt x="168" y="37"/>
                  </a:lnTo>
                  <a:lnTo>
                    <a:pt x="168" y="37"/>
                  </a:lnTo>
                  <a:lnTo>
                    <a:pt x="170" y="38"/>
                  </a:lnTo>
                  <a:lnTo>
                    <a:pt x="171" y="37"/>
                  </a:lnTo>
                  <a:lnTo>
                    <a:pt x="172" y="37"/>
                  </a:lnTo>
                  <a:lnTo>
                    <a:pt x="173" y="37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6" y="37"/>
                  </a:lnTo>
                  <a:lnTo>
                    <a:pt x="178" y="37"/>
                  </a:lnTo>
                  <a:lnTo>
                    <a:pt x="179" y="37"/>
                  </a:lnTo>
                  <a:lnTo>
                    <a:pt x="181" y="36"/>
                  </a:lnTo>
                  <a:lnTo>
                    <a:pt x="182" y="36"/>
                  </a:lnTo>
                  <a:lnTo>
                    <a:pt x="183" y="36"/>
                  </a:lnTo>
                  <a:lnTo>
                    <a:pt x="187" y="36"/>
                  </a:lnTo>
                  <a:lnTo>
                    <a:pt x="188" y="36"/>
                  </a:lnTo>
                  <a:lnTo>
                    <a:pt x="196" y="36"/>
                  </a:lnTo>
                  <a:lnTo>
                    <a:pt x="199" y="35"/>
                  </a:lnTo>
                  <a:lnTo>
                    <a:pt x="201" y="35"/>
                  </a:lnTo>
                  <a:lnTo>
                    <a:pt x="202" y="35"/>
                  </a:lnTo>
                  <a:lnTo>
                    <a:pt x="204" y="35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6" y="35"/>
                  </a:lnTo>
                  <a:lnTo>
                    <a:pt x="206" y="35"/>
                  </a:lnTo>
                  <a:lnTo>
                    <a:pt x="207" y="34"/>
                  </a:lnTo>
                  <a:lnTo>
                    <a:pt x="207" y="32"/>
                  </a:lnTo>
                  <a:lnTo>
                    <a:pt x="208" y="31"/>
                  </a:lnTo>
                  <a:lnTo>
                    <a:pt x="209" y="30"/>
                  </a:lnTo>
                  <a:lnTo>
                    <a:pt x="210" y="28"/>
                  </a:lnTo>
                  <a:lnTo>
                    <a:pt x="211" y="26"/>
                  </a:lnTo>
                  <a:lnTo>
                    <a:pt x="211" y="26"/>
                  </a:lnTo>
                  <a:lnTo>
                    <a:pt x="212" y="25"/>
                  </a:lnTo>
                  <a:lnTo>
                    <a:pt x="212" y="24"/>
                  </a:lnTo>
                  <a:lnTo>
                    <a:pt x="213" y="24"/>
                  </a:lnTo>
                  <a:lnTo>
                    <a:pt x="214" y="24"/>
                  </a:lnTo>
                  <a:lnTo>
                    <a:pt x="217" y="23"/>
                  </a:lnTo>
                  <a:lnTo>
                    <a:pt x="219" y="22"/>
                  </a:lnTo>
                  <a:lnTo>
                    <a:pt x="220" y="22"/>
                  </a:lnTo>
                  <a:lnTo>
                    <a:pt x="221" y="22"/>
                  </a:lnTo>
                  <a:lnTo>
                    <a:pt x="222" y="22"/>
                  </a:lnTo>
                  <a:lnTo>
                    <a:pt x="222" y="22"/>
                  </a:lnTo>
                  <a:lnTo>
                    <a:pt x="223" y="22"/>
                  </a:lnTo>
                  <a:lnTo>
                    <a:pt x="225" y="23"/>
                  </a:lnTo>
                  <a:lnTo>
                    <a:pt x="226" y="23"/>
                  </a:lnTo>
                  <a:lnTo>
                    <a:pt x="227" y="24"/>
                  </a:lnTo>
                  <a:lnTo>
                    <a:pt x="228" y="25"/>
                  </a:lnTo>
                  <a:lnTo>
                    <a:pt x="229" y="25"/>
                  </a:lnTo>
                  <a:lnTo>
                    <a:pt x="230" y="26"/>
                  </a:lnTo>
                  <a:lnTo>
                    <a:pt x="231" y="28"/>
                  </a:lnTo>
                  <a:lnTo>
                    <a:pt x="231" y="28"/>
                  </a:lnTo>
                  <a:lnTo>
                    <a:pt x="232" y="29"/>
                  </a:lnTo>
                  <a:lnTo>
                    <a:pt x="232" y="29"/>
                  </a:lnTo>
                  <a:lnTo>
                    <a:pt x="233" y="30"/>
                  </a:lnTo>
                  <a:lnTo>
                    <a:pt x="233" y="30"/>
                  </a:lnTo>
                  <a:lnTo>
                    <a:pt x="235" y="30"/>
                  </a:lnTo>
                  <a:lnTo>
                    <a:pt x="236" y="31"/>
                  </a:lnTo>
                  <a:lnTo>
                    <a:pt x="238" y="32"/>
                  </a:lnTo>
                  <a:lnTo>
                    <a:pt x="238" y="32"/>
                  </a:lnTo>
                  <a:lnTo>
                    <a:pt x="239" y="33"/>
                  </a:lnTo>
                  <a:lnTo>
                    <a:pt x="240" y="33"/>
                  </a:lnTo>
                  <a:lnTo>
                    <a:pt x="241" y="34"/>
                  </a:lnTo>
                  <a:lnTo>
                    <a:pt x="241" y="35"/>
                  </a:lnTo>
                  <a:lnTo>
                    <a:pt x="241" y="35"/>
                  </a:lnTo>
                  <a:lnTo>
                    <a:pt x="241" y="35"/>
                  </a:lnTo>
                  <a:lnTo>
                    <a:pt x="242" y="37"/>
                  </a:lnTo>
                  <a:lnTo>
                    <a:pt x="242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4" y="39"/>
                  </a:lnTo>
                  <a:lnTo>
                    <a:pt x="245" y="39"/>
                  </a:lnTo>
                  <a:lnTo>
                    <a:pt x="247" y="39"/>
                  </a:lnTo>
                  <a:lnTo>
                    <a:pt x="248" y="39"/>
                  </a:lnTo>
                  <a:lnTo>
                    <a:pt x="249" y="39"/>
                  </a:lnTo>
                  <a:lnTo>
                    <a:pt x="250" y="39"/>
                  </a:lnTo>
                  <a:lnTo>
                    <a:pt x="252" y="39"/>
                  </a:lnTo>
                  <a:lnTo>
                    <a:pt x="252" y="38"/>
                  </a:lnTo>
                  <a:lnTo>
                    <a:pt x="253" y="38"/>
                  </a:lnTo>
                  <a:lnTo>
                    <a:pt x="253" y="38"/>
                  </a:lnTo>
                  <a:lnTo>
                    <a:pt x="256" y="36"/>
                  </a:lnTo>
                  <a:lnTo>
                    <a:pt x="257" y="35"/>
                  </a:lnTo>
                  <a:lnTo>
                    <a:pt x="258" y="35"/>
                  </a:lnTo>
                  <a:lnTo>
                    <a:pt x="259" y="34"/>
                  </a:lnTo>
                  <a:lnTo>
                    <a:pt x="260" y="34"/>
                  </a:lnTo>
                  <a:lnTo>
                    <a:pt x="261" y="34"/>
                  </a:lnTo>
                  <a:lnTo>
                    <a:pt x="262" y="34"/>
                  </a:lnTo>
                  <a:lnTo>
                    <a:pt x="264" y="34"/>
                  </a:lnTo>
                  <a:lnTo>
                    <a:pt x="264" y="34"/>
                  </a:lnTo>
                  <a:lnTo>
                    <a:pt x="264" y="34"/>
                  </a:lnTo>
                  <a:lnTo>
                    <a:pt x="265" y="34"/>
                  </a:lnTo>
                  <a:lnTo>
                    <a:pt x="265" y="34"/>
                  </a:lnTo>
                  <a:lnTo>
                    <a:pt x="265" y="33"/>
                  </a:lnTo>
                  <a:lnTo>
                    <a:pt x="265" y="33"/>
                  </a:lnTo>
                  <a:lnTo>
                    <a:pt x="265" y="32"/>
                  </a:lnTo>
                  <a:lnTo>
                    <a:pt x="265" y="30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8"/>
                  </a:lnTo>
                  <a:lnTo>
                    <a:pt x="265" y="28"/>
                  </a:lnTo>
                  <a:lnTo>
                    <a:pt x="266" y="28"/>
                  </a:lnTo>
                  <a:lnTo>
                    <a:pt x="266" y="28"/>
                  </a:lnTo>
                  <a:lnTo>
                    <a:pt x="267" y="28"/>
                  </a:lnTo>
                  <a:lnTo>
                    <a:pt x="268" y="28"/>
                  </a:lnTo>
                  <a:lnTo>
                    <a:pt x="270" y="30"/>
                  </a:lnTo>
                  <a:lnTo>
                    <a:pt x="271" y="30"/>
                  </a:lnTo>
                  <a:lnTo>
                    <a:pt x="272" y="31"/>
                  </a:lnTo>
                  <a:lnTo>
                    <a:pt x="274" y="31"/>
                  </a:lnTo>
                  <a:lnTo>
                    <a:pt x="275" y="32"/>
                  </a:lnTo>
                  <a:lnTo>
                    <a:pt x="276" y="32"/>
                  </a:lnTo>
                  <a:lnTo>
                    <a:pt x="279" y="35"/>
                  </a:lnTo>
                  <a:lnTo>
                    <a:pt x="280" y="35"/>
                  </a:lnTo>
                  <a:lnTo>
                    <a:pt x="281" y="36"/>
                  </a:lnTo>
                  <a:lnTo>
                    <a:pt x="282" y="36"/>
                  </a:lnTo>
                  <a:lnTo>
                    <a:pt x="282" y="36"/>
                  </a:lnTo>
                  <a:lnTo>
                    <a:pt x="283" y="36"/>
                  </a:lnTo>
                  <a:lnTo>
                    <a:pt x="283" y="36"/>
                  </a:lnTo>
                  <a:lnTo>
                    <a:pt x="284" y="36"/>
                  </a:lnTo>
                  <a:lnTo>
                    <a:pt x="285" y="35"/>
                  </a:lnTo>
                  <a:lnTo>
                    <a:pt x="286" y="34"/>
                  </a:lnTo>
                  <a:lnTo>
                    <a:pt x="287" y="34"/>
                  </a:lnTo>
                  <a:lnTo>
                    <a:pt x="288" y="33"/>
                  </a:lnTo>
                  <a:lnTo>
                    <a:pt x="288" y="33"/>
                  </a:lnTo>
                  <a:lnTo>
                    <a:pt x="289" y="33"/>
                  </a:lnTo>
                  <a:lnTo>
                    <a:pt x="290" y="33"/>
                  </a:lnTo>
                  <a:lnTo>
                    <a:pt x="292" y="33"/>
                  </a:lnTo>
                  <a:lnTo>
                    <a:pt x="293" y="34"/>
                  </a:lnTo>
                  <a:lnTo>
                    <a:pt x="294" y="34"/>
                  </a:lnTo>
                  <a:lnTo>
                    <a:pt x="295" y="34"/>
                  </a:lnTo>
                  <a:lnTo>
                    <a:pt x="295" y="34"/>
                  </a:lnTo>
                  <a:lnTo>
                    <a:pt x="297" y="35"/>
                  </a:lnTo>
                  <a:lnTo>
                    <a:pt x="298" y="35"/>
                  </a:lnTo>
                  <a:lnTo>
                    <a:pt x="299" y="36"/>
                  </a:lnTo>
                  <a:lnTo>
                    <a:pt x="300" y="36"/>
                  </a:lnTo>
                  <a:lnTo>
                    <a:pt x="302" y="36"/>
                  </a:lnTo>
                  <a:lnTo>
                    <a:pt x="306" y="37"/>
                  </a:lnTo>
                  <a:lnTo>
                    <a:pt x="307" y="37"/>
                  </a:lnTo>
                  <a:lnTo>
                    <a:pt x="309" y="37"/>
                  </a:lnTo>
                  <a:lnTo>
                    <a:pt x="310" y="37"/>
                  </a:lnTo>
                  <a:lnTo>
                    <a:pt x="311" y="37"/>
                  </a:lnTo>
                  <a:lnTo>
                    <a:pt x="313" y="36"/>
                  </a:lnTo>
                  <a:lnTo>
                    <a:pt x="314" y="36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9" y="35"/>
                  </a:lnTo>
                  <a:lnTo>
                    <a:pt x="319" y="36"/>
                  </a:lnTo>
                  <a:lnTo>
                    <a:pt x="319" y="36"/>
                  </a:lnTo>
                  <a:lnTo>
                    <a:pt x="319" y="37"/>
                  </a:lnTo>
                  <a:lnTo>
                    <a:pt x="318" y="40"/>
                  </a:lnTo>
                  <a:lnTo>
                    <a:pt x="318" y="40"/>
                  </a:lnTo>
                  <a:lnTo>
                    <a:pt x="318" y="41"/>
                  </a:lnTo>
                  <a:lnTo>
                    <a:pt x="318" y="41"/>
                  </a:lnTo>
                  <a:lnTo>
                    <a:pt x="318" y="41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20" y="42"/>
                  </a:lnTo>
                  <a:lnTo>
                    <a:pt x="320" y="43"/>
                  </a:lnTo>
                  <a:lnTo>
                    <a:pt x="321" y="43"/>
                  </a:lnTo>
                  <a:lnTo>
                    <a:pt x="321" y="43"/>
                  </a:lnTo>
                  <a:lnTo>
                    <a:pt x="323" y="43"/>
                  </a:lnTo>
                  <a:lnTo>
                    <a:pt x="325" y="44"/>
                  </a:lnTo>
                  <a:lnTo>
                    <a:pt x="326" y="44"/>
                  </a:lnTo>
                  <a:lnTo>
                    <a:pt x="328" y="44"/>
                  </a:lnTo>
                  <a:lnTo>
                    <a:pt x="329" y="45"/>
                  </a:lnTo>
                  <a:lnTo>
                    <a:pt x="331" y="45"/>
                  </a:lnTo>
                  <a:lnTo>
                    <a:pt x="332" y="46"/>
                  </a:lnTo>
                  <a:lnTo>
                    <a:pt x="333" y="46"/>
                  </a:lnTo>
                  <a:lnTo>
                    <a:pt x="335" y="48"/>
                  </a:lnTo>
                  <a:lnTo>
                    <a:pt x="335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8" y="48"/>
                  </a:lnTo>
                  <a:lnTo>
                    <a:pt x="338" y="47"/>
                  </a:lnTo>
                  <a:lnTo>
                    <a:pt x="339" y="47"/>
                  </a:lnTo>
                  <a:lnTo>
                    <a:pt x="340" y="45"/>
                  </a:lnTo>
                  <a:lnTo>
                    <a:pt x="341" y="44"/>
                  </a:lnTo>
                  <a:lnTo>
                    <a:pt x="342" y="43"/>
                  </a:lnTo>
                  <a:lnTo>
                    <a:pt x="343" y="41"/>
                  </a:lnTo>
                  <a:lnTo>
                    <a:pt x="344" y="40"/>
                  </a:lnTo>
                  <a:lnTo>
                    <a:pt x="347" y="38"/>
                  </a:lnTo>
                  <a:lnTo>
                    <a:pt x="349" y="36"/>
                  </a:lnTo>
                  <a:lnTo>
                    <a:pt x="351" y="35"/>
                  </a:lnTo>
                  <a:lnTo>
                    <a:pt x="352" y="34"/>
                  </a:lnTo>
                  <a:lnTo>
                    <a:pt x="353" y="34"/>
                  </a:lnTo>
                  <a:lnTo>
                    <a:pt x="354" y="34"/>
                  </a:lnTo>
                  <a:lnTo>
                    <a:pt x="357" y="33"/>
                  </a:lnTo>
                  <a:lnTo>
                    <a:pt x="358" y="32"/>
                  </a:lnTo>
                  <a:lnTo>
                    <a:pt x="359" y="32"/>
                  </a:lnTo>
                  <a:lnTo>
                    <a:pt x="361" y="31"/>
                  </a:lnTo>
                  <a:lnTo>
                    <a:pt x="361" y="31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3" y="29"/>
                  </a:lnTo>
                  <a:lnTo>
                    <a:pt x="363" y="28"/>
                  </a:lnTo>
                  <a:lnTo>
                    <a:pt x="363" y="28"/>
                  </a:lnTo>
                  <a:lnTo>
                    <a:pt x="363" y="27"/>
                  </a:lnTo>
                  <a:lnTo>
                    <a:pt x="362" y="25"/>
                  </a:lnTo>
                  <a:lnTo>
                    <a:pt x="362" y="23"/>
                  </a:lnTo>
                  <a:lnTo>
                    <a:pt x="361" y="21"/>
                  </a:lnTo>
                  <a:lnTo>
                    <a:pt x="361" y="20"/>
                  </a:lnTo>
                  <a:lnTo>
                    <a:pt x="361" y="20"/>
                  </a:lnTo>
                  <a:lnTo>
                    <a:pt x="361" y="18"/>
                  </a:lnTo>
                  <a:lnTo>
                    <a:pt x="361" y="17"/>
                  </a:lnTo>
                  <a:lnTo>
                    <a:pt x="362" y="15"/>
                  </a:lnTo>
                  <a:lnTo>
                    <a:pt x="362" y="14"/>
                  </a:lnTo>
                  <a:lnTo>
                    <a:pt x="362" y="13"/>
                  </a:lnTo>
                  <a:lnTo>
                    <a:pt x="362" y="11"/>
                  </a:lnTo>
                  <a:lnTo>
                    <a:pt x="362" y="11"/>
                  </a:lnTo>
                  <a:lnTo>
                    <a:pt x="362" y="10"/>
                  </a:lnTo>
                  <a:lnTo>
                    <a:pt x="363" y="10"/>
                  </a:lnTo>
                  <a:lnTo>
                    <a:pt x="363" y="9"/>
                  </a:lnTo>
                  <a:lnTo>
                    <a:pt x="364" y="9"/>
                  </a:lnTo>
                  <a:lnTo>
                    <a:pt x="365" y="8"/>
                  </a:lnTo>
                  <a:lnTo>
                    <a:pt x="365" y="7"/>
                  </a:lnTo>
                  <a:lnTo>
                    <a:pt x="366" y="7"/>
                  </a:lnTo>
                  <a:lnTo>
                    <a:pt x="366" y="5"/>
                  </a:lnTo>
                  <a:lnTo>
                    <a:pt x="367" y="5"/>
                  </a:lnTo>
                  <a:lnTo>
                    <a:pt x="367" y="4"/>
                  </a:lnTo>
                  <a:lnTo>
                    <a:pt x="368" y="3"/>
                  </a:lnTo>
                  <a:lnTo>
                    <a:pt x="370" y="2"/>
                  </a:lnTo>
                  <a:lnTo>
                    <a:pt x="372" y="1"/>
                  </a:lnTo>
                  <a:lnTo>
                    <a:pt x="372" y="1"/>
                  </a:lnTo>
                  <a:lnTo>
                    <a:pt x="373" y="0"/>
                  </a:lnTo>
                  <a:lnTo>
                    <a:pt x="373" y="0"/>
                  </a:lnTo>
                  <a:lnTo>
                    <a:pt x="373" y="0"/>
                  </a:lnTo>
                  <a:lnTo>
                    <a:pt x="374" y="0"/>
                  </a:lnTo>
                  <a:lnTo>
                    <a:pt x="375" y="1"/>
                  </a:lnTo>
                  <a:lnTo>
                    <a:pt x="376" y="1"/>
                  </a:lnTo>
                  <a:lnTo>
                    <a:pt x="378" y="3"/>
                  </a:lnTo>
                  <a:lnTo>
                    <a:pt x="379" y="3"/>
                  </a:lnTo>
                  <a:lnTo>
                    <a:pt x="380" y="4"/>
                  </a:lnTo>
                  <a:lnTo>
                    <a:pt x="384" y="6"/>
                  </a:lnTo>
                  <a:lnTo>
                    <a:pt x="385" y="7"/>
                  </a:lnTo>
                  <a:lnTo>
                    <a:pt x="386" y="7"/>
                  </a:lnTo>
                  <a:lnTo>
                    <a:pt x="387" y="8"/>
                  </a:lnTo>
                  <a:lnTo>
                    <a:pt x="388" y="9"/>
                  </a:lnTo>
                  <a:lnTo>
                    <a:pt x="391" y="11"/>
                  </a:lnTo>
                  <a:lnTo>
                    <a:pt x="393" y="13"/>
                  </a:lnTo>
                  <a:lnTo>
                    <a:pt x="394" y="13"/>
                  </a:lnTo>
                  <a:lnTo>
                    <a:pt x="395" y="14"/>
                  </a:lnTo>
                  <a:lnTo>
                    <a:pt x="396" y="15"/>
                  </a:lnTo>
                  <a:lnTo>
                    <a:pt x="396" y="15"/>
                  </a:lnTo>
                  <a:lnTo>
                    <a:pt x="397" y="15"/>
                  </a:lnTo>
                  <a:lnTo>
                    <a:pt x="397" y="15"/>
                  </a:lnTo>
                  <a:lnTo>
                    <a:pt x="398" y="15"/>
                  </a:lnTo>
                  <a:lnTo>
                    <a:pt x="398" y="15"/>
                  </a:lnTo>
                  <a:lnTo>
                    <a:pt x="399" y="15"/>
                  </a:lnTo>
                  <a:lnTo>
                    <a:pt x="400" y="14"/>
                  </a:lnTo>
                  <a:lnTo>
                    <a:pt x="401" y="14"/>
                  </a:lnTo>
                  <a:lnTo>
                    <a:pt x="402" y="13"/>
                  </a:lnTo>
                  <a:lnTo>
                    <a:pt x="403" y="13"/>
                  </a:lnTo>
                  <a:lnTo>
                    <a:pt x="403" y="13"/>
                  </a:lnTo>
                  <a:lnTo>
                    <a:pt x="404" y="13"/>
                  </a:lnTo>
                  <a:lnTo>
                    <a:pt x="404" y="13"/>
                  </a:lnTo>
                  <a:lnTo>
                    <a:pt x="405" y="13"/>
                  </a:lnTo>
                  <a:lnTo>
                    <a:pt x="405" y="13"/>
                  </a:lnTo>
                  <a:lnTo>
                    <a:pt x="405" y="14"/>
                  </a:lnTo>
                  <a:lnTo>
                    <a:pt x="405" y="14"/>
                  </a:lnTo>
                  <a:lnTo>
                    <a:pt x="406" y="15"/>
                  </a:lnTo>
                  <a:lnTo>
                    <a:pt x="406" y="17"/>
                  </a:lnTo>
                  <a:lnTo>
                    <a:pt x="407" y="18"/>
                  </a:lnTo>
                  <a:lnTo>
                    <a:pt x="408" y="20"/>
                  </a:lnTo>
                  <a:lnTo>
                    <a:pt x="409" y="23"/>
                  </a:lnTo>
                  <a:lnTo>
                    <a:pt x="410" y="25"/>
                  </a:lnTo>
                  <a:lnTo>
                    <a:pt x="411" y="27"/>
                  </a:lnTo>
                  <a:lnTo>
                    <a:pt x="412" y="28"/>
                  </a:lnTo>
                  <a:lnTo>
                    <a:pt x="413" y="28"/>
                  </a:lnTo>
                  <a:lnTo>
                    <a:pt x="413" y="29"/>
                  </a:lnTo>
                  <a:lnTo>
                    <a:pt x="414" y="30"/>
                  </a:lnTo>
                  <a:lnTo>
                    <a:pt x="415" y="30"/>
                  </a:lnTo>
                  <a:lnTo>
                    <a:pt x="415" y="30"/>
                  </a:lnTo>
                  <a:lnTo>
                    <a:pt x="417" y="31"/>
                  </a:lnTo>
                  <a:lnTo>
                    <a:pt x="417" y="31"/>
                  </a:lnTo>
                  <a:lnTo>
                    <a:pt x="418" y="31"/>
                  </a:lnTo>
                  <a:lnTo>
                    <a:pt x="419" y="31"/>
                  </a:lnTo>
                  <a:lnTo>
                    <a:pt x="419" y="31"/>
                  </a:lnTo>
                  <a:lnTo>
                    <a:pt x="420" y="31"/>
                  </a:lnTo>
                  <a:lnTo>
                    <a:pt x="421" y="31"/>
                  </a:lnTo>
                  <a:lnTo>
                    <a:pt x="421" y="31"/>
                  </a:lnTo>
                  <a:lnTo>
                    <a:pt x="422" y="31"/>
                  </a:lnTo>
                  <a:lnTo>
                    <a:pt x="423" y="30"/>
                  </a:lnTo>
                  <a:lnTo>
                    <a:pt x="423" y="30"/>
                  </a:lnTo>
                  <a:lnTo>
                    <a:pt x="423" y="30"/>
                  </a:lnTo>
                  <a:lnTo>
                    <a:pt x="423" y="31"/>
                  </a:lnTo>
                  <a:lnTo>
                    <a:pt x="424" y="35"/>
                  </a:lnTo>
                  <a:lnTo>
                    <a:pt x="424" y="36"/>
                  </a:lnTo>
                  <a:lnTo>
                    <a:pt x="424" y="37"/>
                  </a:lnTo>
                  <a:lnTo>
                    <a:pt x="424" y="38"/>
                  </a:lnTo>
                  <a:lnTo>
                    <a:pt x="424" y="39"/>
                  </a:lnTo>
                  <a:lnTo>
                    <a:pt x="424" y="39"/>
                  </a:lnTo>
                  <a:lnTo>
                    <a:pt x="424" y="40"/>
                  </a:lnTo>
                  <a:lnTo>
                    <a:pt x="423" y="40"/>
                  </a:lnTo>
                  <a:lnTo>
                    <a:pt x="423" y="41"/>
                  </a:lnTo>
                  <a:lnTo>
                    <a:pt x="422" y="41"/>
                  </a:lnTo>
                  <a:lnTo>
                    <a:pt x="422" y="42"/>
                  </a:lnTo>
                  <a:lnTo>
                    <a:pt x="421" y="42"/>
                  </a:lnTo>
                  <a:lnTo>
                    <a:pt x="420" y="43"/>
                  </a:lnTo>
                  <a:lnTo>
                    <a:pt x="419" y="43"/>
                  </a:lnTo>
                  <a:lnTo>
                    <a:pt x="418" y="43"/>
                  </a:lnTo>
                  <a:lnTo>
                    <a:pt x="418" y="44"/>
                  </a:lnTo>
                  <a:lnTo>
                    <a:pt x="417" y="44"/>
                  </a:lnTo>
                  <a:lnTo>
                    <a:pt x="417" y="44"/>
                  </a:lnTo>
                  <a:lnTo>
                    <a:pt x="417" y="45"/>
                  </a:lnTo>
                  <a:lnTo>
                    <a:pt x="417" y="45"/>
                  </a:lnTo>
                  <a:lnTo>
                    <a:pt x="417" y="46"/>
                  </a:lnTo>
                  <a:lnTo>
                    <a:pt x="417" y="46"/>
                  </a:lnTo>
                  <a:lnTo>
                    <a:pt x="417" y="47"/>
                  </a:lnTo>
                  <a:lnTo>
                    <a:pt x="417" y="47"/>
                  </a:lnTo>
                  <a:lnTo>
                    <a:pt x="417" y="48"/>
                  </a:lnTo>
                  <a:lnTo>
                    <a:pt x="419" y="51"/>
                  </a:lnTo>
                  <a:lnTo>
                    <a:pt x="420" y="52"/>
                  </a:lnTo>
                  <a:lnTo>
                    <a:pt x="420" y="53"/>
                  </a:lnTo>
                  <a:lnTo>
                    <a:pt x="420" y="54"/>
                  </a:lnTo>
                  <a:lnTo>
                    <a:pt x="421" y="55"/>
                  </a:lnTo>
                  <a:lnTo>
                    <a:pt x="421" y="56"/>
                  </a:lnTo>
                  <a:lnTo>
                    <a:pt x="421" y="57"/>
                  </a:lnTo>
                  <a:lnTo>
                    <a:pt x="421" y="59"/>
                  </a:lnTo>
                  <a:lnTo>
                    <a:pt x="421" y="60"/>
                  </a:lnTo>
                  <a:lnTo>
                    <a:pt x="421" y="61"/>
                  </a:lnTo>
                  <a:lnTo>
                    <a:pt x="421" y="64"/>
                  </a:lnTo>
                  <a:lnTo>
                    <a:pt x="421" y="65"/>
                  </a:lnTo>
                  <a:lnTo>
                    <a:pt x="421" y="66"/>
                  </a:lnTo>
                  <a:lnTo>
                    <a:pt x="421" y="68"/>
                  </a:lnTo>
                  <a:lnTo>
                    <a:pt x="421" y="69"/>
                  </a:lnTo>
                  <a:lnTo>
                    <a:pt x="421" y="71"/>
                  </a:lnTo>
                  <a:lnTo>
                    <a:pt x="420" y="72"/>
                  </a:lnTo>
                  <a:lnTo>
                    <a:pt x="420" y="73"/>
                  </a:lnTo>
                  <a:lnTo>
                    <a:pt x="420" y="75"/>
                  </a:lnTo>
                  <a:lnTo>
                    <a:pt x="419" y="77"/>
                  </a:lnTo>
                  <a:lnTo>
                    <a:pt x="418" y="80"/>
                  </a:lnTo>
                  <a:lnTo>
                    <a:pt x="417" y="83"/>
                  </a:lnTo>
                  <a:lnTo>
                    <a:pt x="416" y="85"/>
                  </a:lnTo>
                  <a:lnTo>
                    <a:pt x="415" y="86"/>
                  </a:lnTo>
                  <a:lnTo>
                    <a:pt x="415" y="87"/>
                  </a:lnTo>
                  <a:lnTo>
                    <a:pt x="415" y="88"/>
                  </a:lnTo>
                  <a:lnTo>
                    <a:pt x="415" y="88"/>
                  </a:lnTo>
                  <a:lnTo>
                    <a:pt x="416" y="89"/>
                  </a:lnTo>
                  <a:lnTo>
                    <a:pt x="416" y="89"/>
                  </a:lnTo>
                  <a:lnTo>
                    <a:pt x="416" y="90"/>
                  </a:lnTo>
                  <a:lnTo>
                    <a:pt x="416" y="90"/>
                  </a:lnTo>
                  <a:lnTo>
                    <a:pt x="415" y="94"/>
                  </a:lnTo>
                  <a:lnTo>
                    <a:pt x="414" y="97"/>
                  </a:lnTo>
                  <a:lnTo>
                    <a:pt x="414" y="98"/>
                  </a:lnTo>
                  <a:lnTo>
                    <a:pt x="413" y="100"/>
                  </a:lnTo>
                  <a:lnTo>
                    <a:pt x="412" y="102"/>
                  </a:lnTo>
                  <a:lnTo>
                    <a:pt x="412" y="103"/>
                  </a:lnTo>
                  <a:lnTo>
                    <a:pt x="412" y="105"/>
                  </a:lnTo>
                  <a:lnTo>
                    <a:pt x="412" y="106"/>
                  </a:lnTo>
                  <a:lnTo>
                    <a:pt x="412" y="106"/>
                  </a:lnTo>
                  <a:lnTo>
                    <a:pt x="412" y="107"/>
                  </a:lnTo>
                  <a:lnTo>
                    <a:pt x="412" y="108"/>
                  </a:lnTo>
                  <a:lnTo>
                    <a:pt x="412" y="109"/>
                  </a:lnTo>
                  <a:lnTo>
                    <a:pt x="412" y="110"/>
                  </a:lnTo>
                  <a:lnTo>
                    <a:pt x="413" y="111"/>
                  </a:lnTo>
                  <a:lnTo>
                    <a:pt x="414" y="112"/>
                  </a:lnTo>
                  <a:lnTo>
                    <a:pt x="415" y="113"/>
                  </a:lnTo>
                  <a:lnTo>
                    <a:pt x="416" y="113"/>
                  </a:lnTo>
                  <a:lnTo>
                    <a:pt x="418" y="115"/>
                  </a:lnTo>
                  <a:lnTo>
                    <a:pt x="419" y="116"/>
                  </a:lnTo>
                  <a:lnTo>
                    <a:pt x="419" y="117"/>
                  </a:lnTo>
                  <a:lnTo>
                    <a:pt x="420" y="117"/>
                  </a:lnTo>
                  <a:lnTo>
                    <a:pt x="420" y="118"/>
                  </a:lnTo>
                  <a:lnTo>
                    <a:pt x="421" y="119"/>
                  </a:lnTo>
                  <a:lnTo>
                    <a:pt x="421" y="120"/>
                  </a:lnTo>
                  <a:lnTo>
                    <a:pt x="421" y="120"/>
                  </a:lnTo>
                  <a:lnTo>
                    <a:pt x="421" y="121"/>
                  </a:lnTo>
                  <a:lnTo>
                    <a:pt x="421" y="121"/>
                  </a:lnTo>
                  <a:lnTo>
                    <a:pt x="421" y="122"/>
                  </a:lnTo>
                  <a:lnTo>
                    <a:pt x="421" y="122"/>
                  </a:lnTo>
                  <a:lnTo>
                    <a:pt x="420" y="124"/>
                  </a:lnTo>
                  <a:lnTo>
                    <a:pt x="419" y="125"/>
                  </a:lnTo>
                  <a:lnTo>
                    <a:pt x="418" y="126"/>
                  </a:lnTo>
                  <a:lnTo>
                    <a:pt x="417" y="127"/>
                  </a:lnTo>
                  <a:lnTo>
                    <a:pt x="417" y="128"/>
                  </a:lnTo>
                  <a:lnTo>
                    <a:pt x="417" y="129"/>
                  </a:lnTo>
                  <a:lnTo>
                    <a:pt x="417" y="129"/>
                  </a:lnTo>
                  <a:lnTo>
                    <a:pt x="417" y="130"/>
                  </a:lnTo>
                  <a:lnTo>
                    <a:pt x="417" y="131"/>
                  </a:lnTo>
                  <a:lnTo>
                    <a:pt x="417" y="131"/>
                  </a:lnTo>
                  <a:lnTo>
                    <a:pt x="417" y="132"/>
                  </a:lnTo>
                  <a:lnTo>
                    <a:pt x="417" y="133"/>
                  </a:lnTo>
                  <a:lnTo>
                    <a:pt x="418" y="134"/>
                  </a:lnTo>
                  <a:lnTo>
                    <a:pt x="420" y="137"/>
                  </a:lnTo>
                  <a:lnTo>
                    <a:pt x="422" y="140"/>
                  </a:lnTo>
                  <a:lnTo>
                    <a:pt x="423" y="140"/>
                  </a:lnTo>
                  <a:lnTo>
                    <a:pt x="423" y="141"/>
                  </a:lnTo>
                  <a:lnTo>
                    <a:pt x="427" y="144"/>
                  </a:lnTo>
                  <a:lnTo>
                    <a:pt x="427" y="145"/>
                  </a:lnTo>
                  <a:lnTo>
                    <a:pt x="429" y="147"/>
                  </a:lnTo>
                  <a:lnTo>
                    <a:pt x="430" y="149"/>
                  </a:lnTo>
                  <a:lnTo>
                    <a:pt x="433" y="151"/>
                  </a:lnTo>
                  <a:lnTo>
                    <a:pt x="435" y="153"/>
                  </a:lnTo>
                  <a:lnTo>
                    <a:pt x="436" y="154"/>
                  </a:lnTo>
                  <a:lnTo>
                    <a:pt x="437" y="154"/>
                  </a:lnTo>
                  <a:lnTo>
                    <a:pt x="437" y="154"/>
                  </a:lnTo>
                  <a:lnTo>
                    <a:pt x="438" y="154"/>
                  </a:lnTo>
                  <a:lnTo>
                    <a:pt x="439" y="155"/>
                  </a:lnTo>
                  <a:lnTo>
                    <a:pt x="440" y="155"/>
                  </a:lnTo>
                  <a:lnTo>
                    <a:pt x="441" y="154"/>
                  </a:lnTo>
                  <a:lnTo>
                    <a:pt x="442" y="154"/>
                  </a:lnTo>
                  <a:lnTo>
                    <a:pt x="443" y="154"/>
                  </a:lnTo>
                  <a:lnTo>
                    <a:pt x="447" y="152"/>
                  </a:lnTo>
                  <a:lnTo>
                    <a:pt x="448" y="151"/>
                  </a:lnTo>
                  <a:lnTo>
                    <a:pt x="449" y="151"/>
                  </a:lnTo>
                  <a:lnTo>
                    <a:pt x="450" y="150"/>
                  </a:lnTo>
                  <a:lnTo>
                    <a:pt x="451" y="150"/>
                  </a:lnTo>
                  <a:lnTo>
                    <a:pt x="452" y="150"/>
                  </a:lnTo>
                  <a:lnTo>
                    <a:pt x="453" y="150"/>
                  </a:lnTo>
                  <a:lnTo>
                    <a:pt x="453" y="150"/>
                  </a:lnTo>
                  <a:lnTo>
                    <a:pt x="454" y="151"/>
                  </a:lnTo>
                  <a:lnTo>
                    <a:pt x="455" y="151"/>
                  </a:lnTo>
                  <a:lnTo>
                    <a:pt x="456" y="151"/>
                  </a:lnTo>
                  <a:lnTo>
                    <a:pt x="456" y="152"/>
                  </a:lnTo>
                  <a:lnTo>
                    <a:pt x="458" y="154"/>
                  </a:lnTo>
                  <a:lnTo>
                    <a:pt x="460" y="155"/>
                  </a:lnTo>
                  <a:lnTo>
                    <a:pt x="461" y="156"/>
                  </a:lnTo>
                  <a:lnTo>
                    <a:pt x="463" y="156"/>
                  </a:lnTo>
                  <a:lnTo>
                    <a:pt x="463" y="157"/>
                  </a:lnTo>
                  <a:lnTo>
                    <a:pt x="464" y="157"/>
                  </a:lnTo>
                  <a:lnTo>
                    <a:pt x="468" y="159"/>
                  </a:lnTo>
                  <a:lnTo>
                    <a:pt x="469" y="159"/>
                  </a:lnTo>
                  <a:lnTo>
                    <a:pt x="471" y="160"/>
                  </a:lnTo>
                  <a:lnTo>
                    <a:pt x="472" y="160"/>
                  </a:lnTo>
                  <a:lnTo>
                    <a:pt x="472" y="160"/>
                  </a:lnTo>
                  <a:lnTo>
                    <a:pt x="473" y="161"/>
                  </a:lnTo>
                  <a:lnTo>
                    <a:pt x="473" y="161"/>
                  </a:lnTo>
                  <a:lnTo>
                    <a:pt x="473" y="162"/>
                  </a:lnTo>
                  <a:lnTo>
                    <a:pt x="473" y="162"/>
                  </a:lnTo>
                  <a:lnTo>
                    <a:pt x="473" y="163"/>
                  </a:lnTo>
                  <a:lnTo>
                    <a:pt x="473" y="163"/>
                  </a:lnTo>
                  <a:lnTo>
                    <a:pt x="473" y="164"/>
                  </a:lnTo>
                  <a:lnTo>
                    <a:pt x="473" y="165"/>
                  </a:lnTo>
                  <a:lnTo>
                    <a:pt x="473" y="166"/>
                  </a:lnTo>
                  <a:lnTo>
                    <a:pt x="473" y="166"/>
                  </a:lnTo>
                  <a:lnTo>
                    <a:pt x="473" y="167"/>
                  </a:lnTo>
                  <a:lnTo>
                    <a:pt x="472" y="167"/>
                  </a:lnTo>
                  <a:lnTo>
                    <a:pt x="472" y="167"/>
                  </a:lnTo>
                  <a:lnTo>
                    <a:pt x="471" y="168"/>
                  </a:lnTo>
                  <a:lnTo>
                    <a:pt x="470" y="168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70"/>
                  </a:lnTo>
                  <a:lnTo>
                    <a:pt x="471" y="170"/>
                  </a:lnTo>
                  <a:lnTo>
                    <a:pt x="472" y="170"/>
                  </a:lnTo>
                  <a:lnTo>
                    <a:pt x="473" y="171"/>
                  </a:lnTo>
                  <a:lnTo>
                    <a:pt x="473" y="171"/>
                  </a:lnTo>
                  <a:lnTo>
                    <a:pt x="474" y="171"/>
                  </a:lnTo>
                  <a:lnTo>
                    <a:pt x="477" y="171"/>
                  </a:lnTo>
                  <a:lnTo>
                    <a:pt x="478" y="171"/>
                  </a:lnTo>
                  <a:lnTo>
                    <a:pt x="478" y="172"/>
                  </a:lnTo>
                  <a:lnTo>
                    <a:pt x="479" y="172"/>
                  </a:lnTo>
                  <a:lnTo>
                    <a:pt x="480" y="172"/>
                  </a:lnTo>
                  <a:lnTo>
                    <a:pt x="480" y="172"/>
                  </a:lnTo>
                  <a:lnTo>
                    <a:pt x="481" y="173"/>
                  </a:lnTo>
                  <a:lnTo>
                    <a:pt x="482" y="173"/>
                  </a:lnTo>
                  <a:lnTo>
                    <a:pt x="483" y="175"/>
                  </a:lnTo>
                  <a:lnTo>
                    <a:pt x="484" y="176"/>
                  </a:lnTo>
                  <a:lnTo>
                    <a:pt x="486" y="178"/>
                  </a:lnTo>
                  <a:lnTo>
                    <a:pt x="487" y="179"/>
                  </a:lnTo>
                  <a:lnTo>
                    <a:pt x="487" y="180"/>
                  </a:lnTo>
                  <a:lnTo>
                    <a:pt x="487" y="180"/>
                  </a:lnTo>
                  <a:lnTo>
                    <a:pt x="488" y="180"/>
                  </a:lnTo>
                  <a:lnTo>
                    <a:pt x="489" y="181"/>
                  </a:lnTo>
                  <a:lnTo>
                    <a:pt x="490" y="181"/>
                  </a:lnTo>
                  <a:lnTo>
                    <a:pt x="491" y="181"/>
                  </a:lnTo>
                  <a:lnTo>
                    <a:pt x="492" y="182"/>
                  </a:lnTo>
                  <a:lnTo>
                    <a:pt x="493" y="182"/>
                  </a:lnTo>
                  <a:lnTo>
                    <a:pt x="494" y="181"/>
                  </a:lnTo>
                  <a:lnTo>
                    <a:pt x="495" y="181"/>
                  </a:lnTo>
                  <a:lnTo>
                    <a:pt x="496" y="181"/>
                  </a:lnTo>
                  <a:lnTo>
                    <a:pt x="497" y="180"/>
                  </a:lnTo>
                  <a:lnTo>
                    <a:pt x="500" y="179"/>
                  </a:lnTo>
                  <a:lnTo>
                    <a:pt x="501" y="179"/>
                  </a:lnTo>
                  <a:lnTo>
                    <a:pt x="502" y="178"/>
                  </a:lnTo>
                  <a:lnTo>
                    <a:pt x="502" y="178"/>
                  </a:lnTo>
                  <a:lnTo>
                    <a:pt x="503" y="178"/>
                  </a:lnTo>
                  <a:lnTo>
                    <a:pt x="503" y="178"/>
                  </a:lnTo>
                  <a:lnTo>
                    <a:pt x="504" y="178"/>
                  </a:lnTo>
                  <a:lnTo>
                    <a:pt x="505" y="178"/>
                  </a:lnTo>
                  <a:lnTo>
                    <a:pt x="510" y="180"/>
                  </a:lnTo>
                  <a:lnTo>
                    <a:pt x="513" y="181"/>
                  </a:lnTo>
                  <a:lnTo>
                    <a:pt x="516" y="182"/>
                  </a:lnTo>
                  <a:lnTo>
                    <a:pt x="517" y="182"/>
                  </a:lnTo>
                  <a:lnTo>
                    <a:pt x="518" y="183"/>
                  </a:lnTo>
                  <a:lnTo>
                    <a:pt x="519" y="184"/>
                  </a:lnTo>
                  <a:lnTo>
                    <a:pt x="519" y="184"/>
                  </a:lnTo>
                  <a:lnTo>
                    <a:pt x="521" y="185"/>
                  </a:lnTo>
                  <a:lnTo>
                    <a:pt x="521" y="186"/>
                  </a:lnTo>
                  <a:lnTo>
                    <a:pt x="521" y="186"/>
                  </a:lnTo>
                  <a:lnTo>
                    <a:pt x="522" y="186"/>
                  </a:lnTo>
                  <a:lnTo>
                    <a:pt x="523" y="186"/>
                  </a:lnTo>
                  <a:lnTo>
                    <a:pt x="523" y="186"/>
                  </a:lnTo>
                  <a:lnTo>
                    <a:pt x="527" y="186"/>
                  </a:lnTo>
                  <a:lnTo>
                    <a:pt x="528" y="185"/>
                  </a:lnTo>
                  <a:lnTo>
                    <a:pt x="531" y="185"/>
                  </a:lnTo>
                  <a:lnTo>
                    <a:pt x="532" y="185"/>
                  </a:lnTo>
                  <a:lnTo>
                    <a:pt x="533" y="185"/>
                  </a:lnTo>
                  <a:lnTo>
                    <a:pt x="536" y="184"/>
                  </a:lnTo>
                  <a:lnTo>
                    <a:pt x="539" y="184"/>
                  </a:lnTo>
                  <a:lnTo>
                    <a:pt x="540" y="184"/>
                  </a:lnTo>
                  <a:lnTo>
                    <a:pt x="541" y="184"/>
                  </a:lnTo>
                  <a:lnTo>
                    <a:pt x="542" y="184"/>
                  </a:lnTo>
                  <a:lnTo>
                    <a:pt x="543" y="184"/>
                  </a:lnTo>
                  <a:lnTo>
                    <a:pt x="544" y="184"/>
                  </a:lnTo>
                  <a:lnTo>
                    <a:pt x="544" y="185"/>
                  </a:lnTo>
                  <a:lnTo>
                    <a:pt x="545" y="185"/>
                  </a:lnTo>
                  <a:lnTo>
                    <a:pt x="545" y="185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7" y="187"/>
                  </a:lnTo>
                  <a:lnTo>
                    <a:pt x="547" y="188"/>
                  </a:lnTo>
                  <a:lnTo>
                    <a:pt x="548" y="189"/>
                  </a:lnTo>
                  <a:lnTo>
                    <a:pt x="548" y="190"/>
                  </a:lnTo>
                  <a:lnTo>
                    <a:pt x="548" y="192"/>
                  </a:lnTo>
                  <a:lnTo>
                    <a:pt x="548" y="193"/>
                  </a:lnTo>
                  <a:lnTo>
                    <a:pt x="549" y="194"/>
                  </a:lnTo>
                  <a:lnTo>
                    <a:pt x="549" y="195"/>
                  </a:lnTo>
                  <a:lnTo>
                    <a:pt x="549" y="196"/>
                  </a:lnTo>
                  <a:lnTo>
                    <a:pt x="548" y="198"/>
                  </a:lnTo>
                  <a:lnTo>
                    <a:pt x="548" y="201"/>
                  </a:lnTo>
                  <a:lnTo>
                    <a:pt x="548" y="202"/>
                  </a:lnTo>
                  <a:lnTo>
                    <a:pt x="548" y="204"/>
                  </a:lnTo>
                  <a:lnTo>
                    <a:pt x="548" y="205"/>
                  </a:lnTo>
                  <a:lnTo>
                    <a:pt x="548" y="206"/>
                  </a:lnTo>
                  <a:lnTo>
                    <a:pt x="548" y="208"/>
                  </a:lnTo>
                  <a:lnTo>
                    <a:pt x="549" y="209"/>
                  </a:lnTo>
                  <a:lnTo>
                    <a:pt x="550" y="210"/>
                  </a:lnTo>
                  <a:lnTo>
                    <a:pt x="550" y="211"/>
                  </a:lnTo>
                  <a:lnTo>
                    <a:pt x="551" y="212"/>
                  </a:lnTo>
                  <a:lnTo>
                    <a:pt x="551" y="212"/>
                  </a:lnTo>
                  <a:lnTo>
                    <a:pt x="553" y="214"/>
                  </a:lnTo>
                  <a:lnTo>
                    <a:pt x="554" y="215"/>
                  </a:lnTo>
                  <a:lnTo>
                    <a:pt x="557" y="217"/>
                  </a:lnTo>
                  <a:lnTo>
                    <a:pt x="560" y="219"/>
                  </a:lnTo>
                  <a:lnTo>
                    <a:pt x="560" y="220"/>
                  </a:lnTo>
                  <a:lnTo>
                    <a:pt x="562" y="221"/>
                  </a:lnTo>
                  <a:lnTo>
                    <a:pt x="564" y="222"/>
                  </a:lnTo>
                  <a:lnTo>
                    <a:pt x="568" y="225"/>
                  </a:lnTo>
                  <a:lnTo>
                    <a:pt x="571" y="226"/>
                  </a:lnTo>
                  <a:lnTo>
                    <a:pt x="571" y="227"/>
                  </a:lnTo>
                  <a:lnTo>
                    <a:pt x="572" y="227"/>
                  </a:lnTo>
                  <a:lnTo>
                    <a:pt x="572" y="227"/>
                  </a:lnTo>
                  <a:lnTo>
                    <a:pt x="573" y="227"/>
                  </a:lnTo>
                  <a:lnTo>
                    <a:pt x="573" y="227"/>
                  </a:lnTo>
                  <a:lnTo>
                    <a:pt x="573" y="226"/>
                  </a:lnTo>
                  <a:lnTo>
                    <a:pt x="575" y="226"/>
                  </a:lnTo>
                  <a:lnTo>
                    <a:pt x="576" y="226"/>
                  </a:lnTo>
                  <a:lnTo>
                    <a:pt x="577" y="225"/>
                  </a:lnTo>
                  <a:lnTo>
                    <a:pt x="578" y="225"/>
                  </a:lnTo>
                  <a:lnTo>
                    <a:pt x="578" y="225"/>
                  </a:lnTo>
                  <a:lnTo>
                    <a:pt x="579" y="226"/>
                  </a:lnTo>
                  <a:lnTo>
                    <a:pt x="580" y="226"/>
                  </a:lnTo>
                  <a:lnTo>
                    <a:pt x="583" y="227"/>
                  </a:lnTo>
                  <a:lnTo>
                    <a:pt x="584" y="227"/>
                  </a:lnTo>
                  <a:lnTo>
                    <a:pt x="585" y="227"/>
                  </a:lnTo>
                  <a:lnTo>
                    <a:pt x="587" y="227"/>
                  </a:lnTo>
                  <a:lnTo>
                    <a:pt x="589" y="227"/>
                  </a:lnTo>
                  <a:lnTo>
                    <a:pt x="591" y="227"/>
                  </a:lnTo>
                  <a:lnTo>
                    <a:pt x="593" y="227"/>
                  </a:lnTo>
                  <a:lnTo>
                    <a:pt x="594" y="227"/>
                  </a:lnTo>
                  <a:lnTo>
                    <a:pt x="595" y="227"/>
                  </a:lnTo>
                  <a:lnTo>
                    <a:pt x="596" y="226"/>
                  </a:lnTo>
                  <a:lnTo>
                    <a:pt x="599" y="225"/>
                  </a:lnTo>
                  <a:lnTo>
                    <a:pt x="600" y="225"/>
                  </a:lnTo>
                  <a:lnTo>
                    <a:pt x="602" y="225"/>
                  </a:lnTo>
                  <a:lnTo>
                    <a:pt x="604" y="224"/>
                  </a:lnTo>
                  <a:lnTo>
                    <a:pt x="605" y="224"/>
                  </a:lnTo>
                  <a:lnTo>
                    <a:pt x="605" y="224"/>
                  </a:lnTo>
                  <a:lnTo>
                    <a:pt x="607" y="223"/>
                  </a:lnTo>
                  <a:lnTo>
                    <a:pt x="607" y="223"/>
                  </a:lnTo>
                  <a:lnTo>
                    <a:pt x="608" y="223"/>
                  </a:lnTo>
                  <a:lnTo>
                    <a:pt x="608" y="223"/>
                  </a:lnTo>
                  <a:lnTo>
                    <a:pt x="609" y="223"/>
                  </a:lnTo>
                  <a:lnTo>
                    <a:pt x="609" y="223"/>
                  </a:lnTo>
                  <a:lnTo>
                    <a:pt x="610" y="223"/>
                  </a:lnTo>
                  <a:lnTo>
                    <a:pt x="610" y="223"/>
                  </a:lnTo>
                  <a:lnTo>
                    <a:pt x="611" y="224"/>
                  </a:lnTo>
                  <a:lnTo>
                    <a:pt x="612" y="224"/>
                  </a:lnTo>
                  <a:lnTo>
                    <a:pt x="613" y="225"/>
                  </a:lnTo>
                  <a:lnTo>
                    <a:pt x="613" y="225"/>
                  </a:lnTo>
                  <a:lnTo>
                    <a:pt x="614" y="225"/>
                  </a:lnTo>
                  <a:lnTo>
                    <a:pt x="614" y="226"/>
                  </a:lnTo>
                  <a:lnTo>
                    <a:pt x="614" y="227"/>
                  </a:lnTo>
                  <a:lnTo>
                    <a:pt x="614" y="227"/>
                  </a:lnTo>
                  <a:lnTo>
                    <a:pt x="615" y="228"/>
                  </a:lnTo>
                  <a:lnTo>
                    <a:pt x="614" y="228"/>
                  </a:lnTo>
                  <a:lnTo>
                    <a:pt x="614" y="229"/>
                  </a:lnTo>
                  <a:lnTo>
                    <a:pt x="614" y="230"/>
                  </a:lnTo>
                  <a:lnTo>
                    <a:pt x="614" y="230"/>
                  </a:lnTo>
                  <a:lnTo>
                    <a:pt x="614" y="231"/>
                  </a:lnTo>
                  <a:lnTo>
                    <a:pt x="614" y="231"/>
                  </a:lnTo>
                  <a:lnTo>
                    <a:pt x="615" y="232"/>
                  </a:lnTo>
                  <a:lnTo>
                    <a:pt x="615" y="232"/>
                  </a:lnTo>
                  <a:lnTo>
                    <a:pt x="616" y="233"/>
                  </a:lnTo>
                  <a:lnTo>
                    <a:pt x="616" y="234"/>
                  </a:lnTo>
                  <a:lnTo>
                    <a:pt x="618" y="234"/>
                  </a:lnTo>
                  <a:lnTo>
                    <a:pt x="619" y="236"/>
                  </a:lnTo>
                  <a:lnTo>
                    <a:pt x="620" y="236"/>
                  </a:lnTo>
                  <a:lnTo>
                    <a:pt x="621" y="237"/>
                  </a:lnTo>
                  <a:lnTo>
                    <a:pt x="621" y="237"/>
                  </a:lnTo>
                  <a:lnTo>
                    <a:pt x="623" y="240"/>
                  </a:lnTo>
                  <a:lnTo>
                    <a:pt x="624" y="241"/>
                  </a:lnTo>
                  <a:lnTo>
                    <a:pt x="624" y="242"/>
                  </a:lnTo>
                  <a:lnTo>
                    <a:pt x="624" y="243"/>
                  </a:lnTo>
                  <a:lnTo>
                    <a:pt x="624" y="243"/>
                  </a:lnTo>
                  <a:lnTo>
                    <a:pt x="624" y="244"/>
                  </a:lnTo>
                  <a:lnTo>
                    <a:pt x="624" y="245"/>
                  </a:lnTo>
                  <a:lnTo>
                    <a:pt x="624" y="246"/>
                  </a:lnTo>
                  <a:lnTo>
                    <a:pt x="623" y="247"/>
                  </a:lnTo>
                  <a:lnTo>
                    <a:pt x="623" y="247"/>
                  </a:lnTo>
                  <a:lnTo>
                    <a:pt x="623" y="248"/>
                  </a:lnTo>
                  <a:lnTo>
                    <a:pt x="622" y="248"/>
                  </a:lnTo>
                  <a:lnTo>
                    <a:pt x="622" y="248"/>
                  </a:lnTo>
                  <a:lnTo>
                    <a:pt x="621" y="249"/>
                  </a:lnTo>
                  <a:lnTo>
                    <a:pt x="620" y="249"/>
                  </a:lnTo>
                  <a:lnTo>
                    <a:pt x="618" y="250"/>
                  </a:lnTo>
                  <a:lnTo>
                    <a:pt x="615" y="250"/>
                  </a:lnTo>
                  <a:lnTo>
                    <a:pt x="614" y="250"/>
                  </a:lnTo>
                  <a:lnTo>
                    <a:pt x="614" y="251"/>
                  </a:lnTo>
                  <a:lnTo>
                    <a:pt x="614" y="251"/>
                  </a:lnTo>
                  <a:lnTo>
                    <a:pt x="613" y="251"/>
                  </a:lnTo>
                  <a:lnTo>
                    <a:pt x="613" y="252"/>
                  </a:lnTo>
                  <a:lnTo>
                    <a:pt x="612" y="253"/>
                  </a:lnTo>
                  <a:lnTo>
                    <a:pt x="611" y="254"/>
                  </a:lnTo>
                  <a:lnTo>
                    <a:pt x="610" y="256"/>
                  </a:lnTo>
                  <a:lnTo>
                    <a:pt x="610" y="257"/>
                  </a:lnTo>
                  <a:lnTo>
                    <a:pt x="609" y="258"/>
                  </a:lnTo>
                  <a:lnTo>
                    <a:pt x="609" y="259"/>
                  </a:lnTo>
                  <a:lnTo>
                    <a:pt x="609" y="261"/>
                  </a:lnTo>
                  <a:lnTo>
                    <a:pt x="608" y="262"/>
                  </a:lnTo>
                  <a:lnTo>
                    <a:pt x="608" y="262"/>
                  </a:lnTo>
                  <a:lnTo>
                    <a:pt x="608" y="263"/>
                  </a:lnTo>
                  <a:lnTo>
                    <a:pt x="608" y="264"/>
                  </a:lnTo>
                  <a:lnTo>
                    <a:pt x="606" y="266"/>
                  </a:lnTo>
                  <a:lnTo>
                    <a:pt x="605" y="267"/>
                  </a:lnTo>
                  <a:lnTo>
                    <a:pt x="605" y="268"/>
                  </a:lnTo>
                  <a:lnTo>
                    <a:pt x="604" y="270"/>
                  </a:lnTo>
                  <a:lnTo>
                    <a:pt x="604" y="271"/>
                  </a:lnTo>
                  <a:lnTo>
                    <a:pt x="603" y="272"/>
                  </a:lnTo>
                  <a:lnTo>
                    <a:pt x="603" y="273"/>
                  </a:lnTo>
                  <a:lnTo>
                    <a:pt x="602" y="273"/>
                  </a:lnTo>
                  <a:lnTo>
                    <a:pt x="600" y="276"/>
                  </a:lnTo>
                  <a:lnTo>
                    <a:pt x="599" y="277"/>
                  </a:lnTo>
                  <a:lnTo>
                    <a:pt x="598" y="278"/>
                  </a:lnTo>
                  <a:lnTo>
                    <a:pt x="597" y="279"/>
                  </a:lnTo>
                  <a:lnTo>
                    <a:pt x="596" y="281"/>
                  </a:lnTo>
                  <a:lnTo>
                    <a:pt x="595" y="282"/>
                  </a:lnTo>
                  <a:lnTo>
                    <a:pt x="594" y="283"/>
                  </a:lnTo>
                  <a:lnTo>
                    <a:pt x="594" y="283"/>
                  </a:lnTo>
                  <a:lnTo>
                    <a:pt x="594" y="284"/>
                  </a:lnTo>
                  <a:lnTo>
                    <a:pt x="594" y="284"/>
                  </a:lnTo>
                  <a:lnTo>
                    <a:pt x="594" y="285"/>
                  </a:lnTo>
                  <a:lnTo>
                    <a:pt x="594" y="285"/>
                  </a:lnTo>
                  <a:lnTo>
                    <a:pt x="594" y="286"/>
                  </a:lnTo>
                  <a:lnTo>
                    <a:pt x="595" y="286"/>
                  </a:lnTo>
                  <a:lnTo>
                    <a:pt x="595" y="286"/>
                  </a:lnTo>
                  <a:lnTo>
                    <a:pt x="595" y="286"/>
                  </a:lnTo>
                  <a:lnTo>
                    <a:pt x="596" y="286"/>
                  </a:lnTo>
                  <a:lnTo>
                    <a:pt x="598" y="287"/>
                  </a:lnTo>
                  <a:lnTo>
                    <a:pt x="599" y="287"/>
                  </a:lnTo>
                  <a:lnTo>
                    <a:pt x="599" y="287"/>
                  </a:lnTo>
                  <a:lnTo>
                    <a:pt x="600" y="287"/>
                  </a:lnTo>
                  <a:lnTo>
                    <a:pt x="601" y="287"/>
                  </a:lnTo>
                  <a:lnTo>
                    <a:pt x="601" y="287"/>
                  </a:lnTo>
                  <a:lnTo>
                    <a:pt x="602" y="288"/>
                  </a:lnTo>
                  <a:lnTo>
                    <a:pt x="602" y="289"/>
                  </a:lnTo>
                  <a:lnTo>
                    <a:pt x="603" y="289"/>
                  </a:lnTo>
                  <a:lnTo>
                    <a:pt x="604" y="292"/>
                  </a:lnTo>
                  <a:lnTo>
                    <a:pt x="604" y="292"/>
                  </a:lnTo>
                  <a:lnTo>
                    <a:pt x="605" y="293"/>
                  </a:lnTo>
                  <a:lnTo>
                    <a:pt x="606" y="294"/>
                  </a:lnTo>
                  <a:lnTo>
                    <a:pt x="607" y="295"/>
                  </a:lnTo>
                  <a:lnTo>
                    <a:pt x="608" y="295"/>
                  </a:lnTo>
                  <a:lnTo>
                    <a:pt x="609" y="296"/>
                  </a:lnTo>
                  <a:lnTo>
                    <a:pt x="611" y="297"/>
                  </a:lnTo>
                  <a:lnTo>
                    <a:pt x="613" y="297"/>
                  </a:lnTo>
                  <a:lnTo>
                    <a:pt x="614" y="298"/>
                  </a:lnTo>
                  <a:lnTo>
                    <a:pt x="615" y="299"/>
                  </a:lnTo>
                  <a:lnTo>
                    <a:pt x="617" y="300"/>
                  </a:lnTo>
                  <a:lnTo>
                    <a:pt x="618" y="301"/>
                  </a:lnTo>
                  <a:lnTo>
                    <a:pt x="618" y="301"/>
                  </a:lnTo>
                  <a:lnTo>
                    <a:pt x="619" y="302"/>
                  </a:lnTo>
                  <a:lnTo>
                    <a:pt x="619" y="303"/>
                  </a:lnTo>
                  <a:lnTo>
                    <a:pt x="620" y="303"/>
                  </a:lnTo>
                  <a:lnTo>
                    <a:pt x="620" y="304"/>
                  </a:lnTo>
                  <a:lnTo>
                    <a:pt x="621" y="306"/>
                  </a:lnTo>
                  <a:lnTo>
                    <a:pt x="622" y="307"/>
                  </a:lnTo>
                  <a:lnTo>
                    <a:pt x="622" y="308"/>
                  </a:lnTo>
                  <a:lnTo>
                    <a:pt x="622" y="308"/>
                  </a:lnTo>
                  <a:lnTo>
                    <a:pt x="622" y="309"/>
                  </a:lnTo>
                  <a:lnTo>
                    <a:pt x="620" y="310"/>
                  </a:lnTo>
                  <a:lnTo>
                    <a:pt x="620" y="311"/>
                  </a:lnTo>
                  <a:lnTo>
                    <a:pt x="620" y="311"/>
                  </a:lnTo>
                  <a:lnTo>
                    <a:pt x="619" y="311"/>
                  </a:lnTo>
                  <a:lnTo>
                    <a:pt x="619" y="311"/>
                  </a:lnTo>
                  <a:lnTo>
                    <a:pt x="618" y="311"/>
                  </a:lnTo>
                  <a:lnTo>
                    <a:pt x="617" y="311"/>
                  </a:lnTo>
                  <a:lnTo>
                    <a:pt x="617" y="312"/>
                  </a:lnTo>
                  <a:lnTo>
                    <a:pt x="617" y="312"/>
                  </a:lnTo>
                  <a:lnTo>
                    <a:pt x="617" y="313"/>
                  </a:lnTo>
                  <a:lnTo>
                    <a:pt x="617" y="313"/>
                  </a:lnTo>
                  <a:lnTo>
                    <a:pt x="617" y="314"/>
                  </a:lnTo>
                  <a:lnTo>
                    <a:pt x="616" y="315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7"/>
                  </a:lnTo>
                  <a:lnTo>
                    <a:pt x="616" y="317"/>
                  </a:lnTo>
                  <a:lnTo>
                    <a:pt x="616" y="317"/>
                  </a:lnTo>
                  <a:lnTo>
                    <a:pt x="615" y="317"/>
                  </a:lnTo>
                  <a:lnTo>
                    <a:pt x="615" y="318"/>
                  </a:lnTo>
                  <a:lnTo>
                    <a:pt x="614" y="319"/>
                  </a:lnTo>
                  <a:lnTo>
                    <a:pt x="613" y="319"/>
                  </a:lnTo>
                  <a:lnTo>
                    <a:pt x="613" y="319"/>
                  </a:lnTo>
                  <a:lnTo>
                    <a:pt x="612" y="320"/>
                  </a:lnTo>
                  <a:lnTo>
                    <a:pt x="612" y="320"/>
                  </a:lnTo>
                  <a:lnTo>
                    <a:pt x="611" y="320"/>
                  </a:lnTo>
                  <a:lnTo>
                    <a:pt x="611" y="321"/>
                  </a:lnTo>
                  <a:lnTo>
                    <a:pt x="610" y="324"/>
                  </a:lnTo>
                  <a:lnTo>
                    <a:pt x="609" y="326"/>
                  </a:lnTo>
                  <a:lnTo>
                    <a:pt x="609" y="326"/>
                  </a:lnTo>
                  <a:lnTo>
                    <a:pt x="608" y="326"/>
                  </a:lnTo>
                  <a:lnTo>
                    <a:pt x="608" y="326"/>
                  </a:lnTo>
                  <a:lnTo>
                    <a:pt x="607" y="326"/>
                  </a:lnTo>
                  <a:lnTo>
                    <a:pt x="606" y="325"/>
                  </a:lnTo>
                  <a:lnTo>
                    <a:pt x="604" y="324"/>
                  </a:lnTo>
                  <a:lnTo>
                    <a:pt x="603" y="323"/>
                  </a:lnTo>
                  <a:lnTo>
                    <a:pt x="601" y="321"/>
                  </a:lnTo>
                  <a:lnTo>
                    <a:pt x="600" y="320"/>
                  </a:lnTo>
                  <a:lnTo>
                    <a:pt x="599" y="319"/>
                  </a:lnTo>
                  <a:lnTo>
                    <a:pt x="596" y="315"/>
                  </a:lnTo>
                  <a:lnTo>
                    <a:pt x="595" y="314"/>
                  </a:lnTo>
                  <a:lnTo>
                    <a:pt x="594" y="313"/>
                  </a:lnTo>
                  <a:lnTo>
                    <a:pt x="593" y="312"/>
                  </a:lnTo>
                  <a:lnTo>
                    <a:pt x="592" y="311"/>
                  </a:lnTo>
                  <a:lnTo>
                    <a:pt x="590" y="310"/>
                  </a:lnTo>
                  <a:lnTo>
                    <a:pt x="589" y="310"/>
                  </a:lnTo>
                  <a:lnTo>
                    <a:pt x="588" y="309"/>
                  </a:lnTo>
                  <a:lnTo>
                    <a:pt x="587" y="309"/>
                  </a:lnTo>
                  <a:lnTo>
                    <a:pt x="586" y="308"/>
                  </a:lnTo>
                  <a:lnTo>
                    <a:pt x="585" y="308"/>
                  </a:lnTo>
                  <a:lnTo>
                    <a:pt x="583" y="308"/>
                  </a:lnTo>
                  <a:lnTo>
                    <a:pt x="582" y="307"/>
                  </a:lnTo>
                  <a:lnTo>
                    <a:pt x="577" y="307"/>
                  </a:lnTo>
                  <a:lnTo>
                    <a:pt x="576" y="306"/>
                  </a:lnTo>
                  <a:lnTo>
                    <a:pt x="575" y="306"/>
                  </a:lnTo>
                  <a:lnTo>
                    <a:pt x="574" y="305"/>
                  </a:lnTo>
                  <a:lnTo>
                    <a:pt x="573" y="305"/>
                  </a:lnTo>
                  <a:lnTo>
                    <a:pt x="572" y="304"/>
                  </a:lnTo>
                  <a:lnTo>
                    <a:pt x="571" y="304"/>
                  </a:lnTo>
                  <a:lnTo>
                    <a:pt x="569" y="302"/>
                  </a:lnTo>
                  <a:lnTo>
                    <a:pt x="564" y="300"/>
                  </a:lnTo>
                  <a:lnTo>
                    <a:pt x="560" y="297"/>
                  </a:lnTo>
                  <a:lnTo>
                    <a:pt x="559" y="296"/>
                  </a:lnTo>
                  <a:lnTo>
                    <a:pt x="558" y="295"/>
                  </a:lnTo>
                  <a:lnTo>
                    <a:pt x="556" y="294"/>
                  </a:lnTo>
                  <a:lnTo>
                    <a:pt x="554" y="293"/>
                  </a:lnTo>
                  <a:lnTo>
                    <a:pt x="552" y="293"/>
                  </a:lnTo>
                  <a:lnTo>
                    <a:pt x="551" y="293"/>
                  </a:lnTo>
                  <a:lnTo>
                    <a:pt x="550" y="292"/>
                  </a:lnTo>
                  <a:lnTo>
                    <a:pt x="549" y="292"/>
                  </a:lnTo>
                  <a:lnTo>
                    <a:pt x="547" y="292"/>
                  </a:lnTo>
                  <a:lnTo>
                    <a:pt x="545" y="292"/>
                  </a:lnTo>
                  <a:lnTo>
                    <a:pt x="542" y="293"/>
                  </a:lnTo>
                  <a:lnTo>
                    <a:pt x="541" y="293"/>
                  </a:lnTo>
                  <a:lnTo>
                    <a:pt x="540" y="293"/>
                  </a:lnTo>
                  <a:lnTo>
                    <a:pt x="539" y="292"/>
                  </a:lnTo>
                  <a:lnTo>
                    <a:pt x="537" y="292"/>
                  </a:lnTo>
                  <a:lnTo>
                    <a:pt x="536" y="292"/>
                  </a:lnTo>
                  <a:lnTo>
                    <a:pt x="536" y="292"/>
                  </a:lnTo>
                  <a:lnTo>
                    <a:pt x="534" y="291"/>
                  </a:lnTo>
                  <a:lnTo>
                    <a:pt x="532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0" y="290"/>
                  </a:lnTo>
                  <a:lnTo>
                    <a:pt x="530" y="290"/>
                  </a:lnTo>
                  <a:lnTo>
                    <a:pt x="529" y="290"/>
                  </a:lnTo>
                  <a:lnTo>
                    <a:pt x="529" y="291"/>
                  </a:lnTo>
                  <a:lnTo>
                    <a:pt x="529" y="291"/>
                  </a:lnTo>
                  <a:lnTo>
                    <a:pt x="528" y="292"/>
                  </a:lnTo>
                  <a:lnTo>
                    <a:pt x="528" y="295"/>
                  </a:lnTo>
                  <a:lnTo>
                    <a:pt x="527" y="296"/>
                  </a:lnTo>
                  <a:lnTo>
                    <a:pt x="526" y="298"/>
                  </a:lnTo>
                  <a:lnTo>
                    <a:pt x="525" y="300"/>
                  </a:lnTo>
                  <a:lnTo>
                    <a:pt x="524" y="301"/>
                  </a:lnTo>
                  <a:lnTo>
                    <a:pt x="524" y="302"/>
                  </a:lnTo>
                  <a:lnTo>
                    <a:pt x="523" y="302"/>
                  </a:lnTo>
                  <a:lnTo>
                    <a:pt x="522" y="303"/>
                  </a:lnTo>
                  <a:lnTo>
                    <a:pt x="522" y="303"/>
                  </a:lnTo>
                  <a:lnTo>
                    <a:pt x="521" y="303"/>
                  </a:lnTo>
                  <a:lnTo>
                    <a:pt x="521" y="304"/>
                  </a:lnTo>
                  <a:lnTo>
                    <a:pt x="519" y="304"/>
                  </a:lnTo>
                  <a:lnTo>
                    <a:pt x="517" y="304"/>
                  </a:lnTo>
                  <a:lnTo>
                    <a:pt x="514" y="304"/>
                  </a:lnTo>
                  <a:lnTo>
                    <a:pt x="513" y="304"/>
                  </a:lnTo>
                  <a:lnTo>
                    <a:pt x="511" y="305"/>
                  </a:lnTo>
                  <a:lnTo>
                    <a:pt x="510" y="305"/>
                  </a:lnTo>
                  <a:lnTo>
                    <a:pt x="508" y="306"/>
                  </a:lnTo>
                  <a:lnTo>
                    <a:pt x="506" y="307"/>
                  </a:lnTo>
                  <a:lnTo>
                    <a:pt x="503" y="308"/>
                  </a:lnTo>
                  <a:lnTo>
                    <a:pt x="502" y="309"/>
                  </a:lnTo>
                  <a:lnTo>
                    <a:pt x="501" y="309"/>
                  </a:lnTo>
                  <a:lnTo>
                    <a:pt x="500" y="309"/>
                  </a:lnTo>
                  <a:lnTo>
                    <a:pt x="499" y="309"/>
                  </a:lnTo>
                  <a:lnTo>
                    <a:pt x="497" y="309"/>
                  </a:lnTo>
                  <a:lnTo>
                    <a:pt x="496" y="309"/>
                  </a:lnTo>
                  <a:lnTo>
                    <a:pt x="496" y="309"/>
                  </a:lnTo>
                  <a:lnTo>
                    <a:pt x="495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4" y="308"/>
                  </a:lnTo>
                  <a:lnTo>
                    <a:pt x="493" y="308"/>
                  </a:lnTo>
                  <a:lnTo>
                    <a:pt x="493" y="308"/>
                  </a:lnTo>
                  <a:lnTo>
                    <a:pt x="493" y="307"/>
                  </a:lnTo>
                  <a:lnTo>
                    <a:pt x="493" y="307"/>
                  </a:lnTo>
                  <a:lnTo>
                    <a:pt x="493" y="306"/>
                  </a:lnTo>
                  <a:lnTo>
                    <a:pt x="493" y="302"/>
                  </a:lnTo>
                  <a:lnTo>
                    <a:pt x="493" y="302"/>
                  </a:lnTo>
                  <a:lnTo>
                    <a:pt x="493" y="301"/>
                  </a:lnTo>
                  <a:lnTo>
                    <a:pt x="493" y="300"/>
                  </a:lnTo>
                  <a:lnTo>
                    <a:pt x="493" y="299"/>
                  </a:lnTo>
                  <a:lnTo>
                    <a:pt x="492" y="297"/>
                  </a:lnTo>
                  <a:lnTo>
                    <a:pt x="492" y="296"/>
                  </a:lnTo>
                  <a:lnTo>
                    <a:pt x="491" y="293"/>
                  </a:lnTo>
                  <a:lnTo>
                    <a:pt x="491" y="291"/>
                  </a:lnTo>
                  <a:lnTo>
                    <a:pt x="490" y="290"/>
                  </a:lnTo>
                  <a:lnTo>
                    <a:pt x="490" y="290"/>
                  </a:lnTo>
                  <a:lnTo>
                    <a:pt x="490" y="289"/>
                  </a:lnTo>
                  <a:lnTo>
                    <a:pt x="489" y="288"/>
                  </a:lnTo>
                  <a:lnTo>
                    <a:pt x="488" y="288"/>
                  </a:lnTo>
                  <a:lnTo>
                    <a:pt x="487" y="287"/>
                  </a:lnTo>
                  <a:lnTo>
                    <a:pt x="487" y="287"/>
                  </a:lnTo>
                  <a:lnTo>
                    <a:pt x="485" y="286"/>
                  </a:lnTo>
                  <a:lnTo>
                    <a:pt x="484" y="286"/>
                  </a:lnTo>
                  <a:lnTo>
                    <a:pt x="483" y="286"/>
                  </a:lnTo>
                  <a:lnTo>
                    <a:pt x="481" y="285"/>
                  </a:lnTo>
                  <a:lnTo>
                    <a:pt x="479" y="285"/>
                  </a:lnTo>
                  <a:lnTo>
                    <a:pt x="478" y="285"/>
                  </a:lnTo>
                  <a:lnTo>
                    <a:pt x="475" y="285"/>
                  </a:lnTo>
                  <a:lnTo>
                    <a:pt x="473" y="285"/>
                  </a:lnTo>
                  <a:lnTo>
                    <a:pt x="472" y="285"/>
                  </a:lnTo>
                  <a:lnTo>
                    <a:pt x="471" y="285"/>
                  </a:lnTo>
                  <a:lnTo>
                    <a:pt x="470" y="284"/>
                  </a:lnTo>
                  <a:lnTo>
                    <a:pt x="468" y="284"/>
                  </a:lnTo>
                  <a:lnTo>
                    <a:pt x="468" y="284"/>
                  </a:lnTo>
                  <a:lnTo>
                    <a:pt x="467" y="283"/>
                  </a:lnTo>
                  <a:lnTo>
                    <a:pt x="466" y="283"/>
                  </a:lnTo>
                  <a:lnTo>
                    <a:pt x="465" y="283"/>
                  </a:lnTo>
                  <a:lnTo>
                    <a:pt x="464" y="282"/>
                  </a:lnTo>
                  <a:lnTo>
                    <a:pt x="462" y="280"/>
                  </a:lnTo>
                  <a:lnTo>
                    <a:pt x="462" y="280"/>
                  </a:lnTo>
                  <a:lnTo>
                    <a:pt x="461" y="279"/>
                  </a:lnTo>
                  <a:lnTo>
                    <a:pt x="461" y="279"/>
                  </a:lnTo>
                  <a:lnTo>
                    <a:pt x="460" y="279"/>
                  </a:lnTo>
                  <a:lnTo>
                    <a:pt x="459" y="278"/>
                  </a:lnTo>
                  <a:lnTo>
                    <a:pt x="459" y="278"/>
                  </a:lnTo>
                  <a:lnTo>
                    <a:pt x="455" y="278"/>
                  </a:lnTo>
                  <a:lnTo>
                    <a:pt x="452" y="277"/>
                  </a:lnTo>
                  <a:lnTo>
                    <a:pt x="451" y="277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8" y="277"/>
                  </a:lnTo>
                  <a:lnTo>
                    <a:pt x="447" y="277"/>
                  </a:lnTo>
                  <a:lnTo>
                    <a:pt x="446" y="278"/>
                  </a:lnTo>
                  <a:lnTo>
                    <a:pt x="445" y="278"/>
                  </a:lnTo>
                  <a:lnTo>
                    <a:pt x="444" y="279"/>
                  </a:lnTo>
                  <a:lnTo>
                    <a:pt x="444" y="279"/>
                  </a:lnTo>
                  <a:lnTo>
                    <a:pt x="443" y="280"/>
                  </a:lnTo>
                  <a:lnTo>
                    <a:pt x="443" y="280"/>
                  </a:lnTo>
                  <a:lnTo>
                    <a:pt x="443" y="280"/>
                  </a:lnTo>
                  <a:lnTo>
                    <a:pt x="443" y="281"/>
                  </a:lnTo>
                  <a:lnTo>
                    <a:pt x="442" y="283"/>
                  </a:lnTo>
                  <a:lnTo>
                    <a:pt x="442" y="284"/>
                  </a:lnTo>
                  <a:lnTo>
                    <a:pt x="442" y="286"/>
                  </a:lnTo>
                  <a:lnTo>
                    <a:pt x="441" y="287"/>
                  </a:lnTo>
                  <a:lnTo>
                    <a:pt x="440" y="288"/>
                  </a:lnTo>
                  <a:lnTo>
                    <a:pt x="439" y="290"/>
                  </a:lnTo>
                  <a:lnTo>
                    <a:pt x="439" y="292"/>
                  </a:lnTo>
                  <a:lnTo>
                    <a:pt x="439" y="292"/>
                  </a:lnTo>
                  <a:lnTo>
                    <a:pt x="438" y="294"/>
                  </a:lnTo>
                  <a:lnTo>
                    <a:pt x="438" y="295"/>
                  </a:lnTo>
                  <a:lnTo>
                    <a:pt x="437" y="296"/>
                  </a:lnTo>
                  <a:lnTo>
                    <a:pt x="437" y="297"/>
                  </a:lnTo>
                  <a:lnTo>
                    <a:pt x="437" y="298"/>
                  </a:lnTo>
                  <a:lnTo>
                    <a:pt x="437" y="300"/>
                  </a:lnTo>
                  <a:lnTo>
                    <a:pt x="437" y="302"/>
                  </a:lnTo>
                  <a:lnTo>
                    <a:pt x="437" y="304"/>
                  </a:lnTo>
                  <a:lnTo>
                    <a:pt x="437" y="305"/>
                  </a:lnTo>
                  <a:lnTo>
                    <a:pt x="438" y="308"/>
                  </a:lnTo>
                  <a:lnTo>
                    <a:pt x="438" y="313"/>
                  </a:lnTo>
                  <a:lnTo>
                    <a:pt x="439" y="316"/>
                  </a:lnTo>
                  <a:lnTo>
                    <a:pt x="439" y="318"/>
                  </a:lnTo>
                  <a:lnTo>
                    <a:pt x="440" y="323"/>
                  </a:lnTo>
                  <a:lnTo>
                    <a:pt x="440" y="325"/>
                  </a:lnTo>
                  <a:lnTo>
                    <a:pt x="440" y="326"/>
                  </a:lnTo>
                  <a:lnTo>
                    <a:pt x="440" y="328"/>
                  </a:lnTo>
                  <a:lnTo>
                    <a:pt x="440" y="329"/>
                  </a:lnTo>
                  <a:lnTo>
                    <a:pt x="440" y="330"/>
                  </a:lnTo>
                  <a:lnTo>
                    <a:pt x="440" y="332"/>
                  </a:lnTo>
                  <a:lnTo>
                    <a:pt x="439" y="334"/>
                  </a:lnTo>
                  <a:lnTo>
                    <a:pt x="438" y="340"/>
                  </a:lnTo>
                  <a:lnTo>
                    <a:pt x="438" y="341"/>
                  </a:lnTo>
                  <a:lnTo>
                    <a:pt x="437" y="343"/>
                  </a:lnTo>
                  <a:lnTo>
                    <a:pt x="437" y="344"/>
                  </a:lnTo>
                  <a:lnTo>
                    <a:pt x="436" y="346"/>
                  </a:lnTo>
                  <a:lnTo>
                    <a:pt x="436" y="347"/>
                  </a:lnTo>
                  <a:lnTo>
                    <a:pt x="436" y="349"/>
                  </a:lnTo>
                  <a:lnTo>
                    <a:pt x="436" y="350"/>
                  </a:lnTo>
                  <a:lnTo>
                    <a:pt x="436" y="354"/>
                  </a:lnTo>
                  <a:lnTo>
                    <a:pt x="436" y="355"/>
                  </a:lnTo>
                  <a:lnTo>
                    <a:pt x="436" y="356"/>
                  </a:lnTo>
                  <a:lnTo>
                    <a:pt x="436" y="357"/>
                  </a:lnTo>
                  <a:lnTo>
                    <a:pt x="436" y="357"/>
                  </a:lnTo>
                  <a:lnTo>
                    <a:pt x="435" y="360"/>
                  </a:lnTo>
                  <a:lnTo>
                    <a:pt x="434" y="361"/>
                  </a:lnTo>
                  <a:lnTo>
                    <a:pt x="433" y="366"/>
                  </a:lnTo>
                  <a:lnTo>
                    <a:pt x="432" y="369"/>
                  </a:lnTo>
                  <a:lnTo>
                    <a:pt x="432" y="370"/>
                  </a:lnTo>
                  <a:lnTo>
                    <a:pt x="431" y="372"/>
                  </a:lnTo>
                  <a:lnTo>
                    <a:pt x="431" y="374"/>
                  </a:lnTo>
                  <a:lnTo>
                    <a:pt x="431" y="376"/>
                  </a:lnTo>
                  <a:lnTo>
                    <a:pt x="431" y="377"/>
                  </a:lnTo>
                  <a:lnTo>
                    <a:pt x="431" y="378"/>
                  </a:lnTo>
                  <a:lnTo>
                    <a:pt x="431" y="379"/>
                  </a:lnTo>
                  <a:lnTo>
                    <a:pt x="431" y="380"/>
                  </a:lnTo>
                  <a:lnTo>
                    <a:pt x="431" y="381"/>
                  </a:lnTo>
                  <a:lnTo>
                    <a:pt x="432" y="382"/>
                  </a:lnTo>
                  <a:lnTo>
                    <a:pt x="432" y="383"/>
                  </a:lnTo>
                  <a:lnTo>
                    <a:pt x="434" y="385"/>
                  </a:lnTo>
                  <a:lnTo>
                    <a:pt x="434" y="386"/>
                  </a:lnTo>
                  <a:lnTo>
                    <a:pt x="434" y="386"/>
                  </a:lnTo>
                  <a:lnTo>
                    <a:pt x="435" y="387"/>
                  </a:lnTo>
                  <a:lnTo>
                    <a:pt x="435" y="388"/>
                  </a:lnTo>
                  <a:lnTo>
                    <a:pt x="435" y="389"/>
                  </a:lnTo>
                  <a:lnTo>
                    <a:pt x="435" y="390"/>
                  </a:lnTo>
                  <a:lnTo>
                    <a:pt x="434" y="390"/>
                  </a:lnTo>
                  <a:lnTo>
                    <a:pt x="434" y="391"/>
                  </a:lnTo>
                  <a:lnTo>
                    <a:pt x="433" y="392"/>
                  </a:lnTo>
                  <a:lnTo>
                    <a:pt x="433" y="393"/>
                  </a:lnTo>
                  <a:lnTo>
                    <a:pt x="432" y="393"/>
                  </a:lnTo>
                  <a:lnTo>
                    <a:pt x="431" y="394"/>
                  </a:lnTo>
                  <a:lnTo>
                    <a:pt x="430" y="394"/>
                  </a:lnTo>
                  <a:lnTo>
                    <a:pt x="429" y="394"/>
                  </a:lnTo>
                  <a:lnTo>
                    <a:pt x="428" y="394"/>
                  </a:lnTo>
                  <a:lnTo>
                    <a:pt x="426" y="394"/>
                  </a:lnTo>
                  <a:lnTo>
                    <a:pt x="425" y="394"/>
                  </a:lnTo>
                  <a:lnTo>
                    <a:pt x="420" y="392"/>
                  </a:lnTo>
                  <a:lnTo>
                    <a:pt x="417" y="391"/>
                  </a:lnTo>
                  <a:lnTo>
                    <a:pt x="415" y="391"/>
                  </a:lnTo>
                  <a:lnTo>
                    <a:pt x="414" y="391"/>
                  </a:lnTo>
                  <a:lnTo>
                    <a:pt x="410" y="389"/>
                  </a:lnTo>
                  <a:lnTo>
                    <a:pt x="409" y="389"/>
                  </a:lnTo>
                  <a:lnTo>
                    <a:pt x="407" y="388"/>
                  </a:lnTo>
                  <a:lnTo>
                    <a:pt x="406" y="388"/>
                  </a:lnTo>
                  <a:lnTo>
                    <a:pt x="405" y="387"/>
                  </a:lnTo>
                  <a:lnTo>
                    <a:pt x="404" y="387"/>
                  </a:lnTo>
                  <a:lnTo>
                    <a:pt x="400" y="386"/>
                  </a:lnTo>
                  <a:lnTo>
                    <a:pt x="397" y="386"/>
                  </a:lnTo>
                  <a:lnTo>
                    <a:pt x="395" y="385"/>
                  </a:lnTo>
                  <a:lnTo>
                    <a:pt x="394" y="385"/>
                  </a:lnTo>
                  <a:lnTo>
                    <a:pt x="393" y="385"/>
                  </a:lnTo>
                  <a:lnTo>
                    <a:pt x="392" y="385"/>
                  </a:lnTo>
                  <a:lnTo>
                    <a:pt x="391" y="386"/>
                  </a:lnTo>
                  <a:lnTo>
                    <a:pt x="391" y="386"/>
                  </a:lnTo>
                  <a:lnTo>
                    <a:pt x="390" y="386"/>
                  </a:lnTo>
                  <a:lnTo>
                    <a:pt x="389" y="386"/>
                  </a:lnTo>
                  <a:lnTo>
                    <a:pt x="389" y="387"/>
                  </a:lnTo>
                  <a:lnTo>
                    <a:pt x="388" y="387"/>
                  </a:lnTo>
                  <a:lnTo>
                    <a:pt x="387" y="388"/>
                  </a:lnTo>
                  <a:lnTo>
                    <a:pt x="387" y="388"/>
                  </a:lnTo>
                  <a:lnTo>
                    <a:pt x="386" y="389"/>
                  </a:lnTo>
                  <a:lnTo>
                    <a:pt x="386" y="389"/>
                  </a:lnTo>
                  <a:lnTo>
                    <a:pt x="386" y="390"/>
                  </a:lnTo>
                  <a:lnTo>
                    <a:pt x="386" y="391"/>
                  </a:lnTo>
                  <a:lnTo>
                    <a:pt x="385" y="394"/>
                  </a:lnTo>
                  <a:lnTo>
                    <a:pt x="384" y="399"/>
                  </a:lnTo>
                  <a:lnTo>
                    <a:pt x="384" y="401"/>
                  </a:lnTo>
                  <a:lnTo>
                    <a:pt x="383" y="404"/>
                  </a:lnTo>
                  <a:lnTo>
                    <a:pt x="383" y="405"/>
                  </a:lnTo>
                  <a:lnTo>
                    <a:pt x="383" y="406"/>
                  </a:lnTo>
                  <a:lnTo>
                    <a:pt x="382" y="407"/>
                  </a:lnTo>
                  <a:lnTo>
                    <a:pt x="382" y="408"/>
                  </a:lnTo>
                  <a:lnTo>
                    <a:pt x="381" y="409"/>
                  </a:lnTo>
                  <a:lnTo>
                    <a:pt x="380" y="410"/>
                  </a:lnTo>
                  <a:lnTo>
                    <a:pt x="379" y="412"/>
                  </a:lnTo>
                  <a:lnTo>
                    <a:pt x="377" y="414"/>
                  </a:lnTo>
                  <a:lnTo>
                    <a:pt x="376" y="415"/>
                  </a:lnTo>
                  <a:lnTo>
                    <a:pt x="375" y="416"/>
                  </a:lnTo>
                  <a:lnTo>
                    <a:pt x="374" y="416"/>
                  </a:lnTo>
                  <a:lnTo>
                    <a:pt x="373" y="417"/>
                  </a:lnTo>
                  <a:lnTo>
                    <a:pt x="370" y="419"/>
                  </a:lnTo>
                  <a:lnTo>
                    <a:pt x="367" y="422"/>
                  </a:lnTo>
                  <a:lnTo>
                    <a:pt x="365" y="423"/>
                  </a:lnTo>
                  <a:lnTo>
                    <a:pt x="364" y="424"/>
                  </a:lnTo>
                  <a:lnTo>
                    <a:pt x="364" y="425"/>
                  </a:lnTo>
                  <a:lnTo>
                    <a:pt x="363" y="426"/>
                  </a:lnTo>
                  <a:lnTo>
                    <a:pt x="362" y="427"/>
                  </a:lnTo>
                  <a:lnTo>
                    <a:pt x="361" y="429"/>
                  </a:lnTo>
                  <a:lnTo>
                    <a:pt x="360" y="431"/>
                  </a:lnTo>
                  <a:lnTo>
                    <a:pt x="360" y="432"/>
                  </a:lnTo>
                  <a:lnTo>
                    <a:pt x="359" y="434"/>
                  </a:lnTo>
                  <a:lnTo>
                    <a:pt x="358" y="437"/>
                  </a:lnTo>
                  <a:lnTo>
                    <a:pt x="358" y="438"/>
                  </a:lnTo>
                  <a:lnTo>
                    <a:pt x="357" y="440"/>
                  </a:lnTo>
                  <a:lnTo>
                    <a:pt x="357" y="441"/>
                  </a:lnTo>
                  <a:lnTo>
                    <a:pt x="357" y="443"/>
                  </a:lnTo>
                  <a:lnTo>
                    <a:pt x="357" y="444"/>
                  </a:lnTo>
                  <a:lnTo>
                    <a:pt x="357" y="445"/>
                  </a:lnTo>
                  <a:lnTo>
                    <a:pt x="357" y="451"/>
                  </a:lnTo>
                  <a:lnTo>
                    <a:pt x="357" y="453"/>
                  </a:lnTo>
                  <a:lnTo>
                    <a:pt x="357" y="454"/>
                  </a:lnTo>
                  <a:lnTo>
                    <a:pt x="357" y="456"/>
                  </a:lnTo>
                  <a:lnTo>
                    <a:pt x="357" y="461"/>
                  </a:lnTo>
                  <a:lnTo>
                    <a:pt x="357" y="464"/>
                  </a:lnTo>
                  <a:lnTo>
                    <a:pt x="357" y="465"/>
                  </a:lnTo>
                  <a:lnTo>
                    <a:pt x="356" y="467"/>
                  </a:lnTo>
                  <a:lnTo>
                    <a:pt x="356" y="468"/>
                  </a:lnTo>
                  <a:lnTo>
                    <a:pt x="356" y="469"/>
                  </a:lnTo>
                  <a:lnTo>
                    <a:pt x="356" y="469"/>
                  </a:lnTo>
                  <a:lnTo>
                    <a:pt x="355" y="471"/>
                  </a:lnTo>
                  <a:lnTo>
                    <a:pt x="355" y="472"/>
                  </a:lnTo>
                  <a:lnTo>
                    <a:pt x="354" y="473"/>
                  </a:lnTo>
                  <a:lnTo>
                    <a:pt x="353" y="473"/>
                  </a:lnTo>
                  <a:lnTo>
                    <a:pt x="353" y="474"/>
                  </a:lnTo>
                  <a:lnTo>
                    <a:pt x="352" y="475"/>
                  </a:lnTo>
                  <a:lnTo>
                    <a:pt x="352" y="475"/>
                  </a:lnTo>
                  <a:lnTo>
                    <a:pt x="351" y="475"/>
                  </a:lnTo>
                  <a:lnTo>
                    <a:pt x="351" y="476"/>
                  </a:lnTo>
                  <a:lnTo>
                    <a:pt x="350" y="476"/>
                  </a:lnTo>
                  <a:lnTo>
                    <a:pt x="350" y="476"/>
                  </a:lnTo>
                  <a:lnTo>
                    <a:pt x="349" y="476"/>
                  </a:lnTo>
                  <a:lnTo>
                    <a:pt x="348" y="476"/>
                  </a:lnTo>
                  <a:lnTo>
                    <a:pt x="347" y="476"/>
                  </a:lnTo>
                  <a:lnTo>
                    <a:pt x="346" y="476"/>
                  </a:lnTo>
                  <a:lnTo>
                    <a:pt x="345" y="476"/>
                  </a:lnTo>
                  <a:lnTo>
                    <a:pt x="344" y="476"/>
                  </a:lnTo>
                  <a:lnTo>
                    <a:pt x="344" y="476"/>
                  </a:lnTo>
                  <a:lnTo>
                    <a:pt x="343" y="476"/>
                  </a:lnTo>
                  <a:lnTo>
                    <a:pt x="342" y="475"/>
                  </a:lnTo>
                  <a:lnTo>
                    <a:pt x="342" y="475"/>
                  </a:lnTo>
                  <a:lnTo>
                    <a:pt x="342" y="475"/>
                  </a:lnTo>
                  <a:lnTo>
                    <a:pt x="341" y="474"/>
                  </a:lnTo>
                  <a:lnTo>
                    <a:pt x="340" y="474"/>
                  </a:lnTo>
                  <a:lnTo>
                    <a:pt x="340" y="473"/>
                  </a:lnTo>
                  <a:lnTo>
                    <a:pt x="337" y="470"/>
                  </a:lnTo>
                  <a:lnTo>
                    <a:pt x="337" y="469"/>
                  </a:lnTo>
                  <a:lnTo>
                    <a:pt x="336" y="468"/>
                  </a:lnTo>
                  <a:lnTo>
                    <a:pt x="335" y="467"/>
                  </a:lnTo>
                  <a:lnTo>
                    <a:pt x="334" y="467"/>
                  </a:lnTo>
                  <a:lnTo>
                    <a:pt x="333" y="467"/>
                  </a:lnTo>
                  <a:lnTo>
                    <a:pt x="332" y="466"/>
                  </a:lnTo>
                  <a:lnTo>
                    <a:pt x="331" y="466"/>
                  </a:lnTo>
                  <a:lnTo>
                    <a:pt x="330" y="465"/>
                  </a:lnTo>
                  <a:lnTo>
                    <a:pt x="330" y="465"/>
                  </a:lnTo>
                  <a:lnTo>
                    <a:pt x="329" y="464"/>
                  </a:lnTo>
                  <a:lnTo>
                    <a:pt x="328" y="463"/>
                  </a:lnTo>
                  <a:lnTo>
                    <a:pt x="328" y="463"/>
                  </a:lnTo>
                  <a:lnTo>
                    <a:pt x="326" y="461"/>
                  </a:lnTo>
                  <a:lnTo>
                    <a:pt x="326" y="459"/>
                  </a:lnTo>
                  <a:lnTo>
                    <a:pt x="325" y="459"/>
                  </a:lnTo>
                  <a:lnTo>
                    <a:pt x="324" y="458"/>
                  </a:lnTo>
                  <a:lnTo>
                    <a:pt x="324" y="458"/>
                  </a:lnTo>
                  <a:lnTo>
                    <a:pt x="323" y="458"/>
                  </a:lnTo>
                  <a:lnTo>
                    <a:pt x="323" y="458"/>
                  </a:lnTo>
                  <a:lnTo>
                    <a:pt x="322" y="458"/>
                  </a:lnTo>
                  <a:lnTo>
                    <a:pt x="322" y="458"/>
                  </a:lnTo>
                  <a:lnTo>
                    <a:pt x="321" y="458"/>
                  </a:lnTo>
                  <a:lnTo>
                    <a:pt x="320" y="459"/>
                  </a:lnTo>
                  <a:lnTo>
                    <a:pt x="314" y="462"/>
                  </a:lnTo>
                  <a:lnTo>
                    <a:pt x="313" y="463"/>
                  </a:lnTo>
                  <a:lnTo>
                    <a:pt x="312" y="464"/>
                  </a:lnTo>
                  <a:lnTo>
                    <a:pt x="311" y="464"/>
                  </a:lnTo>
                  <a:lnTo>
                    <a:pt x="310" y="464"/>
                  </a:lnTo>
                  <a:lnTo>
                    <a:pt x="309" y="465"/>
                  </a:lnTo>
                  <a:lnTo>
                    <a:pt x="308" y="465"/>
                  </a:lnTo>
                  <a:lnTo>
                    <a:pt x="308" y="465"/>
                  </a:lnTo>
                  <a:lnTo>
                    <a:pt x="307" y="465"/>
                  </a:lnTo>
                  <a:lnTo>
                    <a:pt x="307" y="464"/>
                  </a:lnTo>
                  <a:lnTo>
                    <a:pt x="306" y="464"/>
                  </a:lnTo>
                  <a:lnTo>
                    <a:pt x="303" y="463"/>
                  </a:lnTo>
                  <a:lnTo>
                    <a:pt x="299" y="462"/>
                  </a:lnTo>
                  <a:lnTo>
                    <a:pt x="297" y="461"/>
                  </a:lnTo>
                  <a:lnTo>
                    <a:pt x="294" y="460"/>
                  </a:lnTo>
                  <a:lnTo>
                    <a:pt x="293" y="459"/>
                  </a:lnTo>
                  <a:lnTo>
                    <a:pt x="292" y="459"/>
                  </a:lnTo>
                  <a:lnTo>
                    <a:pt x="291" y="458"/>
                  </a:lnTo>
                  <a:lnTo>
                    <a:pt x="290" y="457"/>
                  </a:lnTo>
                  <a:lnTo>
                    <a:pt x="289" y="457"/>
                  </a:lnTo>
                  <a:lnTo>
                    <a:pt x="288" y="455"/>
                  </a:lnTo>
                  <a:lnTo>
                    <a:pt x="287" y="454"/>
                  </a:lnTo>
                  <a:lnTo>
                    <a:pt x="284" y="451"/>
                  </a:lnTo>
                  <a:lnTo>
                    <a:pt x="283" y="450"/>
                  </a:lnTo>
                  <a:lnTo>
                    <a:pt x="282" y="449"/>
                  </a:lnTo>
                  <a:lnTo>
                    <a:pt x="281" y="449"/>
                  </a:lnTo>
                  <a:lnTo>
                    <a:pt x="280" y="448"/>
                  </a:lnTo>
                  <a:lnTo>
                    <a:pt x="280" y="448"/>
                  </a:lnTo>
                  <a:lnTo>
                    <a:pt x="279" y="448"/>
                  </a:lnTo>
                  <a:lnTo>
                    <a:pt x="279" y="449"/>
                  </a:lnTo>
                  <a:lnTo>
                    <a:pt x="278" y="449"/>
                  </a:lnTo>
                  <a:lnTo>
                    <a:pt x="278" y="449"/>
                  </a:lnTo>
                  <a:lnTo>
                    <a:pt x="277" y="449"/>
                  </a:lnTo>
                  <a:lnTo>
                    <a:pt x="277" y="450"/>
                  </a:lnTo>
                  <a:lnTo>
                    <a:pt x="276" y="450"/>
                  </a:lnTo>
                  <a:lnTo>
                    <a:pt x="276" y="450"/>
                  </a:lnTo>
                  <a:lnTo>
                    <a:pt x="276" y="451"/>
                  </a:lnTo>
                  <a:lnTo>
                    <a:pt x="275" y="451"/>
                  </a:lnTo>
                  <a:lnTo>
                    <a:pt x="275" y="452"/>
                  </a:lnTo>
                  <a:lnTo>
                    <a:pt x="275" y="456"/>
                  </a:lnTo>
                  <a:lnTo>
                    <a:pt x="275" y="457"/>
                  </a:lnTo>
                  <a:lnTo>
                    <a:pt x="275" y="458"/>
                  </a:lnTo>
                  <a:lnTo>
                    <a:pt x="274" y="460"/>
                  </a:lnTo>
                  <a:lnTo>
                    <a:pt x="274" y="463"/>
                  </a:lnTo>
                  <a:lnTo>
                    <a:pt x="273" y="464"/>
                  </a:lnTo>
                  <a:lnTo>
                    <a:pt x="273" y="465"/>
                  </a:lnTo>
                  <a:lnTo>
                    <a:pt x="272" y="466"/>
                  </a:lnTo>
                  <a:lnTo>
                    <a:pt x="272" y="467"/>
                  </a:lnTo>
                  <a:lnTo>
                    <a:pt x="271" y="468"/>
                  </a:lnTo>
                  <a:lnTo>
                    <a:pt x="270" y="469"/>
                  </a:lnTo>
                  <a:lnTo>
                    <a:pt x="270" y="470"/>
                  </a:lnTo>
                  <a:lnTo>
                    <a:pt x="269" y="470"/>
                  </a:lnTo>
                  <a:lnTo>
                    <a:pt x="269" y="471"/>
                  </a:lnTo>
                  <a:lnTo>
                    <a:pt x="268" y="472"/>
                  </a:lnTo>
                  <a:lnTo>
                    <a:pt x="267" y="472"/>
                  </a:lnTo>
                  <a:lnTo>
                    <a:pt x="267" y="472"/>
                  </a:lnTo>
                  <a:lnTo>
                    <a:pt x="266" y="472"/>
                  </a:lnTo>
                  <a:lnTo>
                    <a:pt x="265" y="472"/>
                  </a:lnTo>
                  <a:lnTo>
                    <a:pt x="262" y="472"/>
                  </a:lnTo>
                  <a:lnTo>
                    <a:pt x="260" y="473"/>
                  </a:lnTo>
                  <a:lnTo>
                    <a:pt x="259" y="473"/>
                  </a:lnTo>
                  <a:lnTo>
                    <a:pt x="259" y="473"/>
                  </a:lnTo>
                  <a:lnTo>
                    <a:pt x="258" y="473"/>
                  </a:lnTo>
                  <a:lnTo>
                    <a:pt x="257" y="474"/>
                  </a:lnTo>
                  <a:lnTo>
                    <a:pt x="257" y="474"/>
                  </a:lnTo>
                  <a:lnTo>
                    <a:pt x="257" y="475"/>
                  </a:lnTo>
                  <a:lnTo>
                    <a:pt x="256" y="476"/>
                  </a:lnTo>
                  <a:lnTo>
                    <a:pt x="256" y="477"/>
                  </a:lnTo>
                  <a:lnTo>
                    <a:pt x="255" y="478"/>
                  </a:lnTo>
                  <a:lnTo>
                    <a:pt x="255" y="479"/>
                  </a:lnTo>
                  <a:lnTo>
                    <a:pt x="255" y="479"/>
                  </a:lnTo>
                  <a:lnTo>
                    <a:pt x="254" y="480"/>
                  </a:lnTo>
                  <a:lnTo>
                    <a:pt x="254" y="480"/>
                  </a:lnTo>
                  <a:lnTo>
                    <a:pt x="253" y="481"/>
                  </a:lnTo>
                  <a:lnTo>
                    <a:pt x="252" y="481"/>
                  </a:lnTo>
                  <a:lnTo>
                    <a:pt x="251" y="482"/>
                  </a:lnTo>
                  <a:lnTo>
                    <a:pt x="249" y="482"/>
                  </a:lnTo>
                  <a:lnTo>
                    <a:pt x="248" y="482"/>
                  </a:lnTo>
                  <a:lnTo>
                    <a:pt x="248" y="482"/>
                  </a:lnTo>
                  <a:lnTo>
                    <a:pt x="247" y="483"/>
                  </a:lnTo>
                  <a:lnTo>
                    <a:pt x="246" y="483"/>
                  </a:lnTo>
                  <a:lnTo>
                    <a:pt x="245" y="484"/>
                  </a:lnTo>
                  <a:lnTo>
                    <a:pt x="244" y="486"/>
                  </a:lnTo>
                  <a:lnTo>
                    <a:pt x="243" y="487"/>
                  </a:lnTo>
                  <a:lnTo>
                    <a:pt x="242" y="487"/>
                  </a:lnTo>
                  <a:lnTo>
                    <a:pt x="241" y="487"/>
                  </a:lnTo>
                  <a:lnTo>
                    <a:pt x="241" y="488"/>
                  </a:lnTo>
                  <a:lnTo>
                    <a:pt x="240" y="488"/>
                  </a:lnTo>
                  <a:lnTo>
                    <a:pt x="239" y="488"/>
                  </a:lnTo>
                  <a:lnTo>
                    <a:pt x="239" y="488"/>
                  </a:lnTo>
                  <a:lnTo>
                    <a:pt x="238" y="488"/>
                  </a:lnTo>
                  <a:lnTo>
                    <a:pt x="237" y="487"/>
                  </a:lnTo>
                  <a:lnTo>
                    <a:pt x="235" y="486"/>
                  </a:lnTo>
                  <a:lnTo>
                    <a:pt x="231" y="485"/>
                  </a:lnTo>
                  <a:lnTo>
                    <a:pt x="228" y="483"/>
                  </a:lnTo>
                  <a:lnTo>
                    <a:pt x="221" y="479"/>
                  </a:lnTo>
                  <a:lnTo>
                    <a:pt x="219" y="478"/>
                  </a:lnTo>
                  <a:lnTo>
                    <a:pt x="218" y="478"/>
                  </a:lnTo>
                  <a:lnTo>
                    <a:pt x="217" y="478"/>
                  </a:lnTo>
                  <a:lnTo>
                    <a:pt x="216" y="477"/>
                  </a:lnTo>
                  <a:lnTo>
                    <a:pt x="212" y="477"/>
                  </a:lnTo>
                  <a:lnTo>
                    <a:pt x="211" y="477"/>
                  </a:lnTo>
                  <a:lnTo>
                    <a:pt x="209" y="476"/>
                  </a:lnTo>
                  <a:lnTo>
                    <a:pt x="205" y="475"/>
                  </a:lnTo>
                  <a:lnTo>
                    <a:pt x="200" y="473"/>
                  </a:lnTo>
                  <a:lnTo>
                    <a:pt x="197" y="472"/>
                  </a:lnTo>
                  <a:lnTo>
                    <a:pt x="196" y="472"/>
                  </a:lnTo>
                  <a:lnTo>
                    <a:pt x="195" y="472"/>
                  </a:lnTo>
                  <a:lnTo>
                    <a:pt x="193" y="472"/>
                  </a:lnTo>
                  <a:lnTo>
                    <a:pt x="190" y="472"/>
                  </a:lnTo>
                  <a:lnTo>
                    <a:pt x="188" y="472"/>
                  </a:lnTo>
                  <a:lnTo>
                    <a:pt x="187" y="471"/>
                  </a:lnTo>
                  <a:lnTo>
                    <a:pt x="183" y="471"/>
                  </a:lnTo>
                  <a:lnTo>
                    <a:pt x="181" y="471"/>
                  </a:lnTo>
                  <a:lnTo>
                    <a:pt x="179" y="470"/>
                  </a:lnTo>
                  <a:lnTo>
                    <a:pt x="178" y="470"/>
                  </a:lnTo>
                  <a:lnTo>
                    <a:pt x="177" y="470"/>
                  </a:lnTo>
                  <a:lnTo>
                    <a:pt x="173" y="471"/>
                  </a:lnTo>
                  <a:lnTo>
                    <a:pt x="172" y="471"/>
                  </a:lnTo>
                  <a:lnTo>
                    <a:pt x="171" y="471"/>
                  </a:lnTo>
                  <a:lnTo>
                    <a:pt x="170" y="471"/>
                  </a:lnTo>
                  <a:lnTo>
                    <a:pt x="169" y="471"/>
                  </a:lnTo>
                  <a:lnTo>
                    <a:pt x="168" y="471"/>
                  </a:lnTo>
                  <a:lnTo>
                    <a:pt x="168" y="471"/>
                  </a:lnTo>
                  <a:lnTo>
                    <a:pt x="165" y="470"/>
                  </a:lnTo>
                  <a:lnTo>
                    <a:pt x="164" y="469"/>
                  </a:lnTo>
                  <a:lnTo>
                    <a:pt x="163" y="469"/>
                  </a:lnTo>
                  <a:lnTo>
                    <a:pt x="160" y="468"/>
                  </a:lnTo>
                  <a:lnTo>
                    <a:pt x="159" y="468"/>
                  </a:lnTo>
                  <a:lnTo>
                    <a:pt x="158" y="467"/>
                  </a:lnTo>
                  <a:lnTo>
                    <a:pt x="158" y="467"/>
                  </a:lnTo>
                  <a:lnTo>
                    <a:pt x="156" y="466"/>
                  </a:lnTo>
                  <a:lnTo>
                    <a:pt x="154" y="464"/>
                  </a:lnTo>
                  <a:lnTo>
                    <a:pt x="154" y="464"/>
                  </a:lnTo>
                  <a:lnTo>
                    <a:pt x="153" y="463"/>
                  </a:lnTo>
                  <a:lnTo>
                    <a:pt x="152" y="462"/>
                  </a:lnTo>
                  <a:lnTo>
                    <a:pt x="152" y="461"/>
                  </a:lnTo>
                  <a:lnTo>
                    <a:pt x="151" y="461"/>
                  </a:lnTo>
                  <a:lnTo>
                    <a:pt x="151" y="460"/>
                  </a:lnTo>
                  <a:lnTo>
                    <a:pt x="150" y="457"/>
                  </a:lnTo>
                  <a:lnTo>
                    <a:pt x="149" y="457"/>
                  </a:lnTo>
                  <a:lnTo>
                    <a:pt x="149" y="456"/>
                  </a:lnTo>
                  <a:lnTo>
                    <a:pt x="149" y="456"/>
                  </a:lnTo>
                  <a:lnTo>
                    <a:pt x="148" y="455"/>
                  </a:lnTo>
                  <a:lnTo>
                    <a:pt x="147" y="454"/>
                  </a:lnTo>
                  <a:lnTo>
                    <a:pt x="146" y="454"/>
                  </a:lnTo>
                  <a:lnTo>
                    <a:pt x="145" y="453"/>
                  </a:lnTo>
                  <a:lnTo>
                    <a:pt x="145" y="452"/>
                  </a:lnTo>
                  <a:lnTo>
                    <a:pt x="144" y="451"/>
                  </a:lnTo>
                  <a:lnTo>
                    <a:pt x="144" y="451"/>
                  </a:lnTo>
                  <a:lnTo>
                    <a:pt x="144" y="450"/>
                  </a:lnTo>
                  <a:lnTo>
                    <a:pt x="144" y="449"/>
                  </a:lnTo>
                  <a:lnTo>
                    <a:pt x="144" y="449"/>
                  </a:lnTo>
                  <a:lnTo>
                    <a:pt x="144" y="448"/>
                  </a:lnTo>
                  <a:lnTo>
                    <a:pt x="144" y="448"/>
                  </a:lnTo>
                  <a:lnTo>
                    <a:pt x="144" y="447"/>
                  </a:lnTo>
                  <a:lnTo>
                    <a:pt x="144" y="447"/>
                  </a:lnTo>
                  <a:lnTo>
                    <a:pt x="145" y="446"/>
                  </a:lnTo>
                  <a:lnTo>
                    <a:pt x="145" y="445"/>
                  </a:lnTo>
                  <a:lnTo>
                    <a:pt x="146" y="445"/>
                  </a:lnTo>
                  <a:lnTo>
                    <a:pt x="147" y="444"/>
                  </a:lnTo>
                  <a:lnTo>
                    <a:pt x="148" y="443"/>
                  </a:lnTo>
                  <a:lnTo>
                    <a:pt x="149" y="443"/>
                  </a:lnTo>
                  <a:lnTo>
                    <a:pt x="151" y="442"/>
                  </a:lnTo>
                  <a:lnTo>
                    <a:pt x="152" y="442"/>
                  </a:lnTo>
                  <a:lnTo>
                    <a:pt x="152" y="441"/>
                  </a:lnTo>
                  <a:lnTo>
                    <a:pt x="153" y="441"/>
                  </a:lnTo>
                  <a:lnTo>
                    <a:pt x="153" y="440"/>
                  </a:lnTo>
                  <a:lnTo>
                    <a:pt x="153" y="440"/>
                  </a:lnTo>
                  <a:lnTo>
                    <a:pt x="154" y="439"/>
                  </a:lnTo>
                  <a:lnTo>
                    <a:pt x="154" y="438"/>
                  </a:lnTo>
                  <a:lnTo>
                    <a:pt x="154" y="438"/>
                  </a:lnTo>
                  <a:lnTo>
                    <a:pt x="154" y="437"/>
                  </a:lnTo>
                  <a:lnTo>
                    <a:pt x="154" y="436"/>
                  </a:lnTo>
                  <a:lnTo>
                    <a:pt x="154" y="435"/>
                  </a:lnTo>
                  <a:lnTo>
                    <a:pt x="153" y="434"/>
                  </a:lnTo>
                  <a:lnTo>
                    <a:pt x="153" y="434"/>
                  </a:lnTo>
                  <a:lnTo>
                    <a:pt x="152" y="433"/>
                  </a:lnTo>
                  <a:lnTo>
                    <a:pt x="152" y="433"/>
                  </a:lnTo>
                  <a:lnTo>
                    <a:pt x="149" y="431"/>
                  </a:lnTo>
                  <a:lnTo>
                    <a:pt x="148" y="430"/>
                  </a:lnTo>
                  <a:lnTo>
                    <a:pt x="147" y="429"/>
                  </a:lnTo>
                  <a:lnTo>
                    <a:pt x="146" y="428"/>
                  </a:lnTo>
                  <a:lnTo>
                    <a:pt x="144" y="425"/>
                  </a:lnTo>
                  <a:lnTo>
                    <a:pt x="143" y="424"/>
                  </a:lnTo>
                  <a:lnTo>
                    <a:pt x="142" y="422"/>
                  </a:lnTo>
                  <a:lnTo>
                    <a:pt x="140" y="421"/>
                  </a:lnTo>
                  <a:lnTo>
                    <a:pt x="139" y="420"/>
                  </a:lnTo>
                  <a:lnTo>
                    <a:pt x="139" y="419"/>
                  </a:lnTo>
                  <a:lnTo>
                    <a:pt x="138" y="419"/>
                  </a:lnTo>
                  <a:lnTo>
                    <a:pt x="137" y="418"/>
                  </a:lnTo>
                  <a:lnTo>
                    <a:pt x="136" y="418"/>
                  </a:lnTo>
                  <a:lnTo>
                    <a:pt x="136" y="418"/>
                  </a:lnTo>
                  <a:lnTo>
                    <a:pt x="134" y="417"/>
                  </a:lnTo>
                  <a:lnTo>
                    <a:pt x="131" y="416"/>
                  </a:lnTo>
                  <a:lnTo>
                    <a:pt x="129" y="415"/>
                  </a:lnTo>
                  <a:lnTo>
                    <a:pt x="128" y="414"/>
                  </a:lnTo>
                  <a:lnTo>
                    <a:pt x="126" y="414"/>
                  </a:lnTo>
                  <a:lnTo>
                    <a:pt x="125" y="414"/>
                  </a:lnTo>
                  <a:lnTo>
                    <a:pt x="125" y="413"/>
                  </a:lnTo>
                  <a:lnTo>
                    <a:pt x="121" y="410"/>
                  </a:lnTo>
                  <a:lnTo>
                    <a:pt x="120" y="410"/>
                  </a:lnTo>
                  <a:lnTo>
                    <a:pt x="119" y="409"/>
                  </a:lnTo>
                  <a:lnTo>
                    <a:pt x="118" y="408"/>
                  </a:lnTo>
                  <a:lnTo>
                    <a:pt x="117" y="407"/>
                  </a:lnTo>
                  <a:lnTo>
                    <a:pt x="116" y="405"/>
                  </a:lnTo>
                  <a:lnTo>
                    <a:pt x="111" y="401"/>
                  </a:lnTo>
                  <a:lnTo>
                    <a:pt x="110" y="399"/>
                  </a:lnTo>
                  <a:lnTo>
                    <a:pt x="108" y="398"/>
                  </a:lnTo>
                  <a:lnTo>
                    <a:pt x="107" y="396"/>
                  </a:lnTo>
                  <a:lnTo>
                    <a:pt x="105" y="395"/>
                  </a:lnTo>
                  <a:lnTo>
                    <a:pt x="104" y="394"/>
                  </a:lnTo>
                  <a:lnTo>
                    <a:pt x="103" y="393"/>
                  </a:lnTo>
                  <a:lnTo>
                    <a:pt x="101" y="392"/>
                  </a:lnTo>
                  <a:lnTo>
                    <a:pt x="100" y="391"/>
                  </a:lnTo>
                  <a:lnTo>
                    <a:pt x="99" y="390"/>
                  </a:lnTo>
                  <a:lnTo>
                    <a:pt x="97" y="390"/>
                  </a:lnTo>
                  <a:lnTo>
                    <a:pt x="96" y="389"/>
                  </a:lnTo>
                  <a:lnTo>
                    <a:pt x="94" y="389"/>
                  </a:lnTo>
                  <a:lnTo>
                    <a:pt x="88" y="387"/>
                  </a:lnTo>
                  <a:lnTo>
                    <a:pt x="86" y="386"/>
                  </a:lnTo>
                  <a:lnTo>
                    <a:pt x="85" y="386"/>
                  </a:lnTo>
                  <a:lnTo>
                    <a:pt x="84" y="385"/>
                  </a:lnTo>
                  <a:lnTo>
                    <a:pt x="83" y="385"/>
                  </a:lnTo>
                  <a:lnTo>
                    <a:pt x="82" y="384"/>
                  </a:lnTo>
                  <a:lnTo>
                    <a:pt x="82" y="384"/>
                  </a:lnTo>
                  <a:lnTo>
                    <a:pt x="81" y="383"/>
                  </a:lnTo>
                  <a:lnTo>
                    <a:pt x="81" y="383"/>
                  </a:lnTo>
                  <a:lnTo>
                    <a:pt x="81" y="382"/>
                  </a:lnTo>
                  <a:lnTo>
                    <a:pt x="80" y="380"/>
                  </a:lnTo>
                  <a:lnTo>
                    <a:pt x="80" y="379"/>
                  </a:lnTo>
                  <a:lnTo>
                    <a:pt x="80" y="376"/>
                  </a:lnTo>
                  <a:lnTo>
                    <a:pt x="79" y="375"/>
                  </a:lnTo>
                  <a:lnTo>
                    <a:pt x="79" y="374"/>
                  </a:lnTo>
                  <a:lnTo>
                    <a:pt x="79" y="373"/>
                  </a:lnTo>
                  <a:lnTo>
                    <a:pt x="78" y="371"/>
                  </a:lnTo>
                  <a:lnTo>
                    <a:pt x="76" y="366"/>
                  </a:lnTo>
                  <a:lnTo>
                    <a:pt x="75" y="365"/>
                  </a:lnTo>
                  <a:lnTo>
                    <a:pt x="75" y="364"/>
                  </a:lnTo>
                  <a:lnTo>
                    <a:pt x="74" y="362"/>
                  </a:lnTo>
                  <a:lnTo>
                    <a:pt x="73" y="362"/>
                  </a:lnTo>
                  <a:lnTo>
                    <a:pt x="73" y="361"/>
                  </a:lnTo>
                  <a:lnTo>
                    <a:pt x="72" y="361"/>
                  </a:lnTo>
                  <a:lnTo>
                    <a:pt x="72" y="360"/>
                  </a:lnTo>
                  <a:lnTo>
                    <a:pt x="70" y="359"/>
                  </a:lnTo>
                  <a:lnTo>
                    <a:pt x="69" y="358"/>
                  </a:lnTo>
                  <a:lnTo>
                    <a:pt x="68" y="357"/>
                  </a:lnTo>
                  <a:lnTo>
                    <a:pt x="68" y="357"/>
                  </a:lnTo>
                  <a:lnTo>
                    <a:pt x="67" y="356"/>
                  </a:lnTo>
                  <a:lnTo>
                    <a:pt x="67" y="355"/>
                  </a:lnTo>
                  <a:lnTo>
                    <a:pt x="66" y="355"/>
                  </a:lnTo>
                  <a:lnTo>
                    <a:pt x="66" y="353"/>
                  </a:lnTo>
                  <a:lnTo>
                    <a:pt x="65" y="352"/>
                  </a:lnTo>
                  <a:lnTo>
                    <a:pt x="65" y="351"/>
                  </a:lnTo>
                  <a:lnTo>
                    <a:pt x="63" y="347"/>
                  </a:lnTo>
                  <a:lnTo>
                    <a:pt x="62" y="343"/>
                  </a:lnTo>
                  <a:lnTo>
                    <a:pt x="61" y="341"/>
                  </a:lnTo>
                  <a:lnTo>
                    <a:pt x="60" y="340"/>
                  </a:lnTo>
                  <a:lnTo>
                    <a:pt x="60" y="339"/>
                  </a:lnTo>
                  <a:lnTo>
                    <a:pt x="59" y="338"/>
                  </a:lnTo>
                  <a:lnTo>
                    <a:pt x="58" y="337"/>
                  </a:lnTo>
                  <a:lnTo>
                    <a:pt x="58" y="336"/>
                  </a:lnTo>
                  <a:lnTo>
                    <a:pt x="57" y="336"/>
                  </a:lnTo>
                  <a:lnTo>
                    <a:pt x="57" y="336"/>
                  </a:lnTo>
                  <a:lnTo>
                    <a:pt x="56" y="336"/>
                  </a:lnTo>
                  <a:lnTo>
                    <a:pt x="55" y="336"/>
                  </a:lnTo>
                  <a:lnTo>
                    <a:pt x="52" y="336"/>
                  </a:lnTo>
                  <a:lnTo>
                    <a:pt x="51" y="336"/>
                  </a:lnTo>
                  <a:lnTo>
                    <a:pt x="49" y="336"/>
                  </a:lnTo>
                  <a:lnTo>
                    <a:pt x="46" y="336"/>
                  </a:lnTo>
                  <a:lnTo>
                    <a:pt x="45" y="336"/>
                  </a:lnTo>
                  <a:lnTo>
                    <a:pt x="44" y="336"/>
                  </a:lnTo>
                  <a:lnTo>
                    <a:pt x="43" y="336"/>
                  </a:lnTo>
                  <a:lnTo>
                    <a:pt x="42" y="335"/>
                  </a:lnTo>
                  <a:lnTo>
                    <a:pt x="41" y="335"/>
                  </a:lnTo>
                  <a:lnTo>
                    <a:pt x="40" y="335"/>
                  </a:lnTo>
                  <a:lnTo>
                    <a:pt x="40" y="334"/>
                  </a:lnTo>
                  <a:lnTo>
                    <a:pt x="39" y="334"/>
                  </a:lnTo>
                  <a:lnTo>
                    <a:pt x="38" y="333"/>
                  </a:lnTo>
                  <a:lnTo>
                    <a:pt x="35" y="330"/>
                  </a:lnTo>
                  <a:lnTo>
                    <a:pt x="34" y="329"/>
                  </a:lnTo>
                  <a:lnTo>
                    <a:pt x="34" y="328"/>
                  </a:lnTo>
                  <a:lnTo>
                    <a:pt x="33" y="326"/>
                  </a:lnTo>
                  <a:lnTo>
                    <a:pt x="32" y="324"/>
                  </a:lnTo>
                  <a:lnTo>
                    <a:pt x="30" y="321"/>
                  </a:lnTo>
                  <a:lnTo>
                    <a:pt x="29" y="318"/>
                  </a:lnTo>
                  <a:lnTo>
                    <a:pt x="28" y="315"/>
                  </a:lnTo>
                  <a:lnTo>
                    <a:pt x="26" y="311"/>
                  </a:lnTo>
                  <a:lnTo>
                    <a:pt x="25" y="308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2" y="306"/>
                  </a:lnTo>
                  <a:lnTo>
                    <a:pt x="20" y="306"/>
                  </a:lnTo>
                  <a:lnTo>
                    <a:pt x="20" y="306"/>
                  </a:lnTo>
                  <a:lnTo>
                    <a:pt x="19" y="305"/>
                  </a:lnTo>
                  <a:lnTo>
                    <a:pt x="18" y="305"/>
                  </a:lnTo>
                  <a:lnTo>
                    <a:pt x="17" y="304"/>
                  </a:lnTo>
                  <a:lnTo>
                    <a:pt x="16" y="303"/>
                  </a:lnTo>
                  <a:lnTo>
                    <a:pt x="16" y="302"/>
                  </a:lnTo>
                  <a:lnTo>
                    <a:pt x="14" y="300"/>
                  </a:lnTo>
                  <a:lnTo>
                    <a:pt x="13" y="299"/>
                  </a:lnTo>
                  <a:lnTo>
                    <a:pt x="13" y="299"/>
                  </a:lnTo>
                  <a:lnTo>
                    <a:pt x="12" y="298"/>
                  </a:lnTo>
                  <a:lnTo>
                    <a:pt x="12" y="297"/>
                  </a:lnTo>
                  <a:lnTo>
                    <a:pt x="11" y="297"/>
                  </a:lnTo>
                  <a:lnTo>
                    <a:pt x="10" y="296"/>
                  </a:lnTo>
                  <a:lnTo>
                    <a:pt x="9" y="296"/>
                  </a:lnTo>
                  <a:lnTo>
                    <a:pt x="9" y="296"/>
                  </a:lnTo>
                  <a:lnTo>
                    <a:pt x="8" y="296"/>
                  </a:lnTo>
                  <a:lnTo>
                    <a:pt x="7" y="295"/>
                  </a:lnTo>
                  <a:lnTo>
                    <a:pt x="5" y="295"/>
                  </a:lnTo>
                  <a:lnTo>
                    <a:pt x="4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2" y="295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1" y="290"/>
                  </a:lnTo>
                  <a:lnTo>
                    <a:pt x="0" y="289"/>
                  </a:lnTo>
                  <a:lnTo>
                    <a:pt x="0" y="288"/>
                  </a:lnTo>
                  <a:lnTo>
                    <a:pt x="0" y="287"/>
                  </a:lnTo>
                  <a:lnTo>
                    <a:pt x="0" y="286"/>
                  </a:lnTo>
                  <a:lnTo>
                    <a:pt x="0" y="285"/>
                  </a:lnTo>
                  <a:lnTo>
                    <a:pt x="0" y="284"/>
                  </a:lnTo>
                  <a:lnTo>
                    <a:pt x="0" y="282"/>
                  </a:lnTo>
                  <a:lnTo>
                    <a:pt x="0" y="281"/>
                  </a:lnTo>
                  <a:lnTo>
                    <a:pt x="0" y="279"/>
                  </a:lnTo>
                  <a:lnTo>
                    <a:pt x="0" y="278"/>
                  </a:lnTo>
                  <a:lnTo>
                    <a:pt x="1" y="276"/>
                  </a:lnTo>
                  <a:lnTo>
                    <a:pt x="1" y="274"/>
                  </a:lnTo>
                  <a:lnTo>
                    <a:pt x="2" y="272"/>
                  </a:lnTo>
                  <a:lnTo>
                    <a:pt x="2" y="271"/>
                  </a:lnTo>
                  <a:lnTo>
                    <a:pt x="2" y="270"/>
                  </a:lnTo>
                  <a:lnTo>
                    <a:pt x="3" y="269"/>
                  </a:lnTo>
                  <a:lnTo>
                    <a:pt x="4" y="266"/>
                  </a:lnTo>
                  <a:lnTo>
                    <a:pt x="5" y="264"/>
                  </a:lnTo>
                  <a:lnTo>
                    <a:pt x="6" y="263"/>
                  </a:lnTo>
                  <a:lnTo>
                    <a:pt x="7" y="262"/>
                  </a:lnTo>
                  <a:lnTo>
                    <a:pt x="8" y="261"/>
                  </a:lnTo>
                  <a:lnTo>
                    <a:pt x="8" y="261"/>
                  </a:lnTo>
                  <a:lnTo>
                    <a:pt x="9" y="260"/>
                  </a:lnTo>
                  <a:lnTo>
                    <a:pt x="9" y="260"/>
                  </a:lnTo>
                  <a:lnTo>
                    <a:pt x="10" y="259"/>
                  </a:lnTo>
                  <a:lnTo>
                    <a:pt x="11" y="259"/>
                  </a:lnTo>
                  <a:lnTo>
                    <a:pt x="13" y="258"/>
                  </a:lnTo>
                  <a:lnTo>
                    <a:pt x="14" y="258"/>
                  </a:lnTo>
                  <a:lnTo>
                    <a:pt x="14" y="257"/>
                  </a:lnTo>
                  <a:lnTo>
                    <a:pt x="15" y="256"/>
                  </a:lnTo>
                  <a:lnTo>
                    <a:pt x="16" y="256"/>
                  </a:lnTo>
                  <a:lnTo>
                    <a:pt x="17" y="255"/>
                  </a:lnTo>
                  <a:lnTo>
                    <a:pt x="17" y="255"/>
                  </a:lnTo>
                  <a:lnTo>
                    <a:pt x="17" y="254"/>
                  </a:lnTo>
                  <a:lnTo>
                    <a:pt x="18" y="253"/>
                  </a:lnTo>
                  <a:lnTo>
                    <a:pt x="18" y="253"/>
                  </a:lnTo>
                  <a:lnTo>
                    <a:pt x="18" y="252"/>
                  </a:lnTo>
                  <a:lnTo>
                    <a:pt x="18" y="251"/>
                  </a:lnTo>
                  <a:lnTo>
                    <a:pt x="18" y="250"/>
                  </a:lnTo>
                  <a:lnTo>
                    <a:pt x="18" y="249"/>
                  </a:lnTo>
                  <a:lnTo>
                    <a:pt x="18" y="248"/>
                  </a:lnTo>
                  <a:lnTo>
                    <a:pt x="18" y="246"/>
                  </a:lnTo>
                  <a:lnTo>
                    <a:pt x="17" y="242"/>
                  </a:lnTo>
                  <a:lnTo>
                    <a:pt x="17" y="241"/>
                  </a:lnTo>
                  <a:lnTo>
                    <a:pt x="17" y="239"/>
                  </a:lnTo>
                  <a:lnTo>
                    <a:pt x="15" y="237"/>
                  </a:lnTo>
                  <a:lnTo>
                    <a:pt x="15" y="235"/>
                  </a:lnTo>
                  <a:lnTo>
                    <a:pt x="15" y="234"/>
                  </a:lnTo>
                  <a:lnTo>
                    <a:pt x="15" y="233"/>
                  </a:lnTo>
                  <a:lnTo>
                    <a:pt x="15" y="233"/>
                  </a:lnTo>
                  <a:lnTo>
                    <a:pt x="15" y="232"/>
                  </a:lnTo>
                  <a:lnTo>
                    <a:pt x="16" y="229"/>
                  </a:lnTo>
                  <a:lnTo>
                    <a:pt x="16" y="228"/>
                  </a:lnTo>
                  <a:lnTo>
                    <a:pt x="16" y="226"/>
                  </a:lnTo>
                  <a:lnTo>
                    <a:pt x="16" y="223"/>
                  </a:lnTo>
                  <a:lnTo>
                    <a:pt x="17" y="221"/>
                  </a:lnTo>
                  <a:lnTo>
                    <a:pt x="17" y="219"/>
                  </a:lnTo>
                  <a:lnTo>
                    <a:pt x="18" y="215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9" y="214"/>
                  </a:lnTo>
                  <a:lnTo>
                    <a:pt x="19" y="214"/>
                  </a:lnTo>
                  <a:lnTo>
                    <a:pt x="20" y="214"/>
                  </a:lnTo>
                  <a:lnTo>
                    <a:pt x="21" y="214"/>
                  </a:lnTo>
                  <a:lnTo>
                    <a:pt x="24" y="214"/>
                  </a:lnTo>
                  <a:lnTo>
                    <a:pt x="25" y="215"/>
                  </a:lnTo>
                  <a:lnTo>
                    <a:pt x="26" y="215"/>
                  </a:lnTo>
                  <a:lnTo>
                    <a:pt x="27" y="215"/>
                  </a:lnTo>
                  <a:lnTo>
                    <a:pt x="28" y="215"/>
                  </a:lnTo>
                  <a:lnTo>
                    <a:pt x="29" y="214"/>
                  </a:lnTo>
                  <a:lnTo>
                    <a:pt x="29" y="214"/>
                  </a:lnTo>
                  <a:lnTo>
                    <a:pt x="30" y="214"/>
                  </a:lnTo>
                  <a:lnTo>
                    <a:pt x="31" y="214"/>
                  </a:lnTo>
                  <a:lnTo>
                    <a:pt x="32" y="213"/>
                  </a:lnTo>
                  <a:lnTo>
                    <a:pt x="33" y="212"/>
                  </a:lnTo>
                  <a:lnTo>
                    <a:pt x="35" y="211"/>
                  </a:lnTo>
                  <a:lnTo>
                    <a:pt x="38" y="209"/>
                  </a:lnTo>
                  <a:lnTo>
                    <a:pt x="38" y="208"/>
                  </a:lnTo>
                  <a:lnTo>
                    <a:pt x="40" y="208"/>
                  </a:lnTo>
                  <a:lnTo>
                    <a:pt x="41" y="207"/>
                  </a:lnTo>
                  <a:lnTo>
                    <a:pt x="44" y="206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6" y="205"/>
                  </a:lnTo>
                  <a:lnTo>
                    <a:pt x="46" y="204"/>
                  </a:lnTo>
                  <a:lnTo>
                    <a:pt x="47" y="201"/>
                  </a:lnTo>
                  <a:lnTo>
                    <a:pt x="48" y="198"/>
                  </a:lnTo>
                  <a:lnTo>
                    <a:pt x="48" y="197"/>
                  </a:lnTo>
                  <a:lnTo>
                    <a:pt x="49" y="196"/>
                  </a:lnTo>
                  <a:lnTo>
                    <a:pt x="49" y="195"/>
                  </a:lnTo>
                  <a:lnTo>
                    <a:pt x="50" y="194"/>
                  </a:lnTo>
                  <a:lnTo>
                    <a:pt x="51" y="193"/>
                  </a:lnTo>
                  <a:lnTo>
                    <a:pt x="52" y="192"/>
                  </a:lnTo>
                  <a:lnTo>
                    <a:pt x="53" y="191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3" y="189"/>
                  </a:lnTo>
                  <a:lnTo>
                    <a:pt x="53" y="188"/>
                  </a:lnTo>
                  <a:lnTo>
                    <a:pt x="53" y="187"/>
                  </a:lnTo>
                  <a:lnTo>
                    <a:pt x="53" y="186"/>
                  </a:lnTo>
                  <a:lnTo>
                    <a:pt x="52" y="185"/>
                  </a:lnTo>
                  <a:lnTo>
                    <a:pt x="52" y="185"/>
                  </a:lnTo>
                  <a:lnTo>
                    <a:pt x="52" y="184"/>
                  </a:lnTo>
                  <a:lnTo>
                    <a:pt x="50" y="182"/>
                  </a:lnTo>
                  <a:lnTo>
                    <a:pt x="50" y="181"/>
                  </a:lnTo>
                  <a:lnTo>
                    <a:pt x="49" y="179"/>
                  </a:lnTo>
                  <a:lnTo>
                    <a:pt x="48" y="178"/>
                  </a:lnTo>
                  <a:lnTo>
                    <a:pt x="48" y="177"/>
                  </a:lnTo>
                  <a:lnTo>
                    <a:pt x="48" y="176"/>
                  </a:lnTo>
                  <a:lnTo>
                    <a:pt x="48" y="176"/>
                  </a:lnTo>
                  <a:lnTo>
                    <a:pt x="48" y="175"/>
                  </a:lnTo>
                  <a:lnTo>
                    <a:pt x="48" y="174"/>
                  </a:lnTo>
                  <a:lnTo>
                    <a:pt x="49" y="174"/>
                  </a:lnTo>
                  <a:lnTo>
                    <a:pt x="49" y="173"/>
                  </a:lnTo>
                  <a:lnTo>
                    <a:pt x="49" y="172"/>
                  </a:lnTo>
                  <a:lnTo>
                    <a:pt x="50" y="172"/>
                  </a:lnTo>
                  <a:lnTo>
                    <a:pt x="51" y="171"/>
                  </a:lnTo>
                  <a:lnTo>
                    <a:pt x="52" y="169"/>
                  </a:lnTo>
                  <a:lnTo>
                    <a:pt x="53" y="169"/>
                  </a:lnTo>
                  <a:lnTo>
                    <a:pt x="53" y="168"/>
                  </a:lnTo>
                  <a:lnTo>
                    <a:pt x="55" y="168"/>
                  </a:lnTo>
                  <a:lnTo>
                    <a:pt x="55" y="167"/>
                  </a:lnTo>
                  <a:lnTo>
                    <a:pt x="56" y="167"/>
                  </a:lnTo>
                  <a:lnTo>
                    <a:pt x="56" y="167"/>
                  </a:lnTo>
                  <a:lnTo>
                    <a:pt x="56" y="166"/>
                  </a:lnTo>
                  <a:lnTo>
                    <a:pt x="57" y="166"/>
                  </a:lnTo>
                  <a:lnTo>
                    <a:pt x="57" y="165"/>
                  </a:lnTo>
                  <a:lnTo>
                    <a:pt x="57" y="164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2"/>
                  </a:lnTo>
                  <a:lnTo>
                    <a:pt x="55" y="161"/>
                  </a:lnTo>
                  <a:lnTo>
                    <a:pt x="54" y="161"/>
                  </a:lnTo>
                  <a:lnTo>
                    <a:pt x="54" y="160"/>
                  </a:lnTo>
                  <a:lnTo>
                    <a:pt x="53" y="159"/>
                  </a:lnTo>
                  <a:lnTo>
                    <a:pt x="53" y="159"/>
                  </a:lnTo>
                  <a:lnTo>
                    <a:pt x="53" y="158"/>
                  </a:lnTo>
                  <a:lnTo>
                    <a:pt x="52" y="158"/>
                  </a:lnTo>
                  <a:lnTo>
                    <a:pt x="52" y="157"/>
                  </a:lnTo>
                  <a:lnTo>
                    <a:pt x="52" y="156"/>
                  </a:lnTo>
                  <a:lnTo>
                    <a:pt x="52" y="156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2" y="154"/>
                  </a:lnTo>
                  <a:lnTo>
                    <a:pt x="52" y="154"/>
                  </a:lnTo>
                  <a:lnTo>
                    <a:pt x="53" y="154"/>
                  </a:lnTo>
                  <a:lnTo>
                    <a:pt x="53" y="153"/>
                  </a:lnTo>
                  <a:lnTo>
                    <a:pt x="53" y="153"/>
                  </a:lnTo>
                  <a:lnTo>
                    <a:pt x="54" y="153"/>
                  </a:lnTo>
                  <a:lnTo>
                    <a:pt x="56" y="152"/>
                  </a:lnTo>
                  <a:lnTo>
                    <a:pt x="56" y="151"/>
                  </a:lnTo>
                  <a:lnTo>
                    <a:pt x="57" y="151"/>
                  </a:lnTo>
                  <a:lnTo>
                    <a:pt x="57" y="151"/>
                  </a:lnTo>
                  <a:lnTo>
                    <a:pt x="57" y="150"/>
                  </a:lnTo>
                  <a:lnTo>
                    <a:pt x="58" y="150"/>
                  </a:lnTo>
                  <a:lnTo>
                    <a:pt x="58" y="149"/>
                  </a:lnTo>
                  <a:lnTo>
                    <a:pt x="58" y="149"/>
                  </a:lnTo>
                  <a:lnTo>
                    <a:pt x="59" y="148"/>
                  </a:lnTo>
                  <a:lnTo>
                    <a:pt x="59" y="147"/>
                  </a:lnTo>
                  <a:lnTo>
                    <a:pt x="59" y="147"/>
                  </a:lnTo>
                  <a:lnTo>
                    <a:pt x="59" y="146"/>
                  </a:lnTo>
                  <a:lnTo>
                    <a:pt x="58" y="145"/>
                  </a:lnTo>
                  <a:lnTo>
                    <a:pt x="58" y="144"/>
                  </a:lnTo>
                  <a:lnTo>
                    <a:pt x="58" y="143"/>
                  </a:lnTo>
                  <a:lnTo>
                    <a:pt x="58" y="142"/>
                  </a:lnTo>
                  <a:lnTo>
                    <a:pt x="59" y="141"/>
                  </a:lnTo>
                  <a:lnTo>
                    <a:pt x="59" y="140"/>
                  </a:lnTo>
                  <a:lnTo>
                    <a:pt x="59" y="139"/>
                  </a:lnTo>
                  <a:lnTo>
                    <a:pt x="59" y="139"/>
                  </a:lnTo>
                  <a:lnTo>
                    <a:pt x="60" y="138"/>
                  </a:lnTo>
                  <a:lnTo>
                    <a:pt x="62" y="136"/>
                  </a:lnTo>
                  <a:lnTo>
                    <a:pt x="62" y="135"/>
                  </a:lnTo>
                  <a:lnTo>
                    <a:pt x="64" y="135"/>
                  </a:lnTo>
                  <a:lnTo>
                    <a:pt x="66" y="133"/>
                  </a:lnTo>
                  <a:lnTo>
                    <a:pt x="69" y="131"/>
                  </a:lnTo>
                  <a:lnTo>
                    <a:pt x="69" y="130"/>
                  </a:lnTo>
                  <a:lnTo>
                    <a:pt x="70" y="130"/>
                  </a:lnTo>
                  <a:lnTo>
                    <a:pt x="70" y="129"/>
                  </a:lnTo>
                  <a:lnTo>
                    <a:pt x="71" y="128"/>
                  </a:lnTo>
                  <a:lnTo>
                    <a:pt x="71" y="126"/>
                  </a:lnTo>
                  <a:lnTo>
                    <a:pt x="72" y="124"/>
                  </a:lnTo>
                  <a:lnTo>
                    <a:pt x="73" y="122"/>
                  </a:lnTo>
                  <a:lnTo>
                    <a:pt x="74" y="121"/>
                  </a:lnTo>
                  <a:lnTo>
                    <a:pt x="75" y="119"/>
                  </a:lnTo>
                  <a:lnTo>
                    <a:pt x="76" y="118"/>
                  </a:lnTo>
                  <a:lnTo>
                    <a:pt x="76" y="117"/>
                  </a:lnTo>
                  <a:lnTo>
                    <a:pt x="76" y="116"/>
                  </a:lnTo>
                  <a:lnTo>
                    <a:pt x="77" y="114"/>
                  </a:lnTo>
                  <a:lnTo>
                    <a:pt x="77" y="113"/>
                  </a:lnTo>
                  <a:lnTo>
                    <a:pt x="77" y="112"/>
                  </a:lnTo>
                  <a:lnTo>
                    <a:pt x="77" y="111"/>
                  </a:lnTo>
                  <a:lnTo>
                    <a:pt x="77" y="110"/>
                  </a:lnTo>
                  <a:lnTo>
                    <a:pt x="76" y="110"/>
                  </a:lnTo>
                  <a:lnTo>
                    <a:pt x="76" y="109"/>
                  </a:lnTo>
                  <a:lnTo>
                    <a:pt x="74" y="107"/>
                  </a:lnTo>
                  <a:lnTo>
                    <a:pt x="74" y="106"/>
                  </a:lnTo>
                  <a:lnTo>
                    <a:pt x="73" y="105"/>
                  </a:lnTo>
                  <a:lnTo>
                    <a:pt x="71" y="102"/>
                  </a:lnTo>
                  <a:lnTo>
                    <a:pt x="71" y="101"/>
                  </a:lnTo>
                  <a:lnTo>
                    <a:pt x="71" y="99"/>
                  </a:lnTo>
                  <a:lnTo>
                    <a:pt x="70" y="98"/>
                  </a:lnTo>
                  <a:lnTo>
                    <a:pt x="70" y="96"/>
                  </a:lnTo>
                  <a:lnTo>
                    <a:pt x="70" y="95"/>
                  </a:lnTo>
                  <a:lnTo>
                    <a:pt x="70" y="93"/>
                  </a:lnTo>
                  <a:lnTo>
                    <a:pt x="71" y="90"/>
                  </a:lnTo>
                  <a:lnTo>
                    <a:pt x="71" y="89"/>
                  </a:lnTo>
                  <a:lnTo>
                    <a:pt x="71" y="88"/>
                  </a:lnTo>
                  <a:lnTo>
                    <a:pt x="72" y="87"/>
                  </a:lnTo>
                  <a:lnTo>
                    <a:pt x="72" y="86"/>
                  </a:lnTo>
                  <a:lnTo>
                    <a:pt x="73" y="84"/>
                  </a:lnTo>
                  <a:lnTo>
                    <a:pt x="75" y="81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5" y="79"/>
                  </a:lnTo>
                  <a:lnTo>
                    <a:pt x="75" y="78"/>
                  </a:lnTo>
                  <a:lnTo>
                    <a:pt x="75" y="77"/>
                  </a:lnTo>
                  <a:lnTo>
                    <a:pt x="74" y="75"/>
                  </a:lnTo>
                  <a:lnTo>
                    <a:pt x="73" y="73"/>
                  </a:lnTo>
                  <a:lnTo>
                    <a:pt x="72" y="72"/>
                  </a:lnTo>
                  <a:lnTo>
                    <a:pt x="72" y="71"/>
                  </a:lnTo>
                  <a:lnTo>
                    <a:pt x="71" y="68"/>
                  </a:lnTo>
                  <a:lnTo>
                    <a:pt x="71" y="67"/>
                  </a:lnTo>
                  <a:lnTo>
                    <a:pt x="71" y="63"/>
                  </a:lnTo>
                  <a:lnTo>
                    <a:pt x="71" y="62"/>
                  </a:lnTo>
                  <a:lnTo>
                    <a:pt x="71" y="61"/>
                  </a:lnTo>
                  <a:lnTo>
                    <a:pt x="71" y="59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69" y="57"/>
                  </a:lnTo>
                  <a:lnTo>
                    <a:pt x="68" y="56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4"/>
                  </a:lnTo>
                  <a:lnTo>
                    <a:pt x="68" y="54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68" y="52"/>
                  </a:lnTo>
                  <a:lnTo>
                    <a:pt x="69" y="47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70" y="45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4" y="44"/>
                  </a:lnTo>
                  <a:lnTo>
                    <a:pt x="76" y="44"/>
                  </a:lnTo>
                  <a:lnTo>
                    <a:pt x="77" y="44"/>
                  </a:lnTo>
                  <a:lnTo>
                    <a:pt x="80" y="43"/>
                  </a:lnTo>
                  <a:lnTo>
                    <a:pt x="83" y="42"/>
                  </a:lnTo>
                  <a:lnTo>
                    <a:pt x="85" y="41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90" y="40"/>
                  </a:lnTo>
                  <a:lnTo>
                    <a:pt x="90" y="41"/>
                  </a:lnTo>
                  <a:lnTo>
                    <a:pt x="92" y="43"/>
                  </a:lnTo>
                  <a:lnTo>
                    <a:pt x="93" y="43"/>
                  </a:lnTo>
                  <a:lnTo>
                    <a:pt x="93" y="43"/>
                  </a:lnTo>
                  <a:lnTo>
                    <a:pt x="94" y="43"/>
                  </a:lnTo>
                  <a:lnTo>
                    <a:pt x="95" y="44"/>
                  </a:lnTo>
                  <a:lnTo>
                    <a:pt x="95" y="44"/>
                  </a:lnTo>
                  <a:lnTo>
                    <a:pt x="96" y="44"/>
                  </a:lnTo>
                  <a:lnTo>
                    <a:pt x="96" y="43"/>
                  </a:lnTo>
                  <a:lnTo>
                    <a:pt x="97" y="43"/>
                  </a:lnTo>
                  <a:lnTo>
                    <a:pt x="98" y="43"/>
                  </a:lnTo>
                  <a:lnTo>
                    <a:pt x="100" y="41"/>
                  </a:lnTo>
                  <a:lnTo>
                    <a:pt x="101" y="41"/>
                  </a:lnTo>
                  <a:lnTo>
                    <a:pt x="102" y="41"/>
                  </a:lnTo>
                  <a:lnTo>
                    <a:pt x="103" y="41"/>
                  </a:lnTo>
                  <a:lnTo>
                    <a:pt x="104" y="41"/>
                  </a:lnTo>
                  <a:lnTo>
                    <a:pt x="104" y="41"/>
                  </a:lnTo>
                  <a:lnTo>
                    <a:pt x="105" y="41"/>
                  </a:lnTo>
                  <a:lnTo>
                    <a:pt x="105" y="42"/>
                  </a:lnTo>
                  <a:lnTo>
                    <a:pt x="108" y="43"/>
                  </a:lnTo>
                  <a:lnTo>
                    <a:pt x="108" y="44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1" y="45"/>
                  </a:lnTo>
                  <a:lnTo>
                    <a:pt x="111" y="46"/>
                  </a:lnTo>
                  <a:lnTo>
                    <a:pt x="112" y="46"/>
                  </a:lnTo>
                  <a:lnTo>
                    <a:pt x="112" y="47"/>
                  </a:lnTo>
                  <a:lnTo>
                    <a:pt x="113" y="47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6" y="48"/>
                  </a:lnTo>
                  <a:lnTo>
                    <a:pt x="117" y="49"/>
                  </a:lnTo>
                  <a:lnTo>
                    <a:pt x="118" y="49"/>
                  </a:lnTo>
                  <a:lnTo>
                    <a:pt x="119" y="49"/>
                  </a:lnTo>
                  <a:lnTo>
                    <a:pt x="120" y="49"/>
                  </a:lnTo>
                  <a:lnTo>
                    <a:pt x="121" y="49"/>
                  </a:lnTo>
                  <a:lnTo>
                    <a:pt x="122" y="48"/>
                  </a:lnTo>
                  <a:lnTo>
                    <a:pt x="123" y="48"/>
                  </a:lnTo>
                  <a:lnTo>
                    <a:pt x="123" y="47"/>
                  </a:lnTo>
                  <a:lnTo>
                    <a:pt x="125" y="46"/>
                  </a:lnTo>
                  <a:lnTo>
                    <a:pt x="126" y="46"/>
                  </a:lnTo>
                  <a:lnTo>
                    <a:pt x="127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32" y="44"/>
                  </a:lnTo>
                  <a:lnTo>
                    <a:pt x="133" y="44"/>
                  </a:lnTo>
                  <a:lnTo>
                    <a:pt x="134" y="44"/>
                  </a:lnTo>
                  <a:lnTo>
                    <a:pt x="134" y="44"/>
                  </a:lnTo>
                  <a:lnTo>
                    <a:pt x="135" y="43"/>
                  </a:lnTo>
                  <a:lnTo>
                    <a:pt x="136" y="43"/>
                  </a:lnTo>
                  <a:lnTo>
                    <a:pt x="138" y="41"/>
                  </a:lnTo>
                  <a:lnTo>
                    <a:pt x="139" y="41"/>
                  </a:lnTo>
                  <a:lnTo>
                    <a:pt x="139" y="41"/>
                  </a:lnTo>
                  <a:lnTo>
                    <a:pt x="141" y="40"/>
                  </a:lnTo>
                  <a:lnTo>
                    <a:pt x="141" y="40"/>
                  </a:lnTo>
                  <a:lnTo>
                    <a:pt x="142" y="40"/>
                  </a:lnTo>
                  <a:lnTo>
                    <a:pt x="142" y="39"/>
                  </a:lnTo>
                  <a:lnTo>
                    <a:pt x="143" y="39"/>
                  </a:lnTo>
                  <a:lnTo>
                    <a:pt x="143" y="38"/>
                  </a:lnTo>
                  <a:lnTo>
                    <a:pt x="144" y="37"/>
                  </a:lnTo>
                  <a:lnTo>
                    <a:pt x="144" y="36"/>
                  </a:lnTo>
                  <a:lnTo>
                    <a:pt x="145" y="35"/>
                  </a:lnTo>
                  <a:lnTo>
                    <a:pt x="146" y="33"/>
                  </a:lnTo>
                  <a:lnTo>
                    <a:pt x="147" y="31"/>
                  </a:lnTo>
                  <a:lnTo>
                    <a:pt x="147" y="30"/>
                  </a:lnTo>
                  <a:lnTo>
                    <a:pt x="147" y="30"/>
                  </a:lnTo>
                  <a:lnTo>
                    <a:pt x="148" y="29"/>
                  </a:lnTo>
                  <a:lnTo>
                    <a:pt x="148" y="29"/>
                  </a:lnTo>
                  <a:lnTo>
                    <a:pt x="149" y="28"/>
                  </a:lnTo>
                  <a:lnTo>
                    <a:pt x="150" y="28"/>
                  </a:lnTo>
                  <a:lnTo>
                    <a:pt x="153" y="26"/>
                  </a:lnTo>
                  <a:lnTo>
                    <a:pt x="156" y="25"/>
                  </a:lnTo>
                  <a:lnTo>
                    <a:pt x="157" y="24"/>
                  </a:lnTo>
                  <a:lnTo>
                    <a:pt x="158" y="24"/>
                  </a:lnTo>
                  <a:lnTo>
                    <a:pt x="160" y="23"/>
                  </a:lnTo>
                  <a:lnTo>
                    <a:pt x="162" y="23"/>
                  </a:lnTo>
                  <a:lnTo>
                    <a:pt x="162" y="23"/>
                  </a:lnTo>
                  <a:close/>
                </a:path>
              </a:pathLst>
            </a:custGeom>
            <a:solidFill>
              <a:srgbClr val="A8A8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Freeform 47">
              <a:extLst>
                <a:ext uri="{FF2B5EF4-FFF2-40B4-BE49-F238E27FC236}">
                  <a16:creationId xmlns:a16="http://schemas.microsoft.com/office/drawing/2014/main" id="{14C94EAA-88AD-D5CB-1403-69C1DDF9F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0" y="3533"/>
              <a:ext cx="462" cy="417"/>
            </a:xfrm>
            <a:custGeom>
              <a:avLst/>
              <a:gdLst>
                <a:gd name="T0" fmla="*/ 4 w 462"/>
                <a:gd name="T1" fmla="*/ 37 h 417"/>
                <a:gd name="T2" fmla="*/ 26 w 462"/>
                <a:gd name="T3" fmla="*/ 36 h 417"/>
                <a:gd name="T4" fmla="*/ 49 w 462"/>
                <a:gd name="T5" fmla="*/ 26 h 417"/>
                <a:gd name="T6" fmla="*/ 68 w 462"/>
                <a:gd name="T7" fmla="*/ 26 h 417"/>
                <a:gd name="T8" fmla="*/ 80 w 462"/>
                <a:gd name="T9" fmla="*/ 37 h 417"/>
                <a:gd name="T10" fmla="*/ 96 w 462"/>
                <a:gd name="T11" fmla="*/ 35 h 417"/>
                <a:gd name="T12" fmla="*/ 103 w 462"/>
                <a:gd name="T13" fmla="*/ 28 h 417"/>
                <a:gd name="T14" fmla="*/ 121 w 462"/>
                <a:gd name="T15" fmla="*/ 36 h 417"/>
                <a:gd name="T16" fmla="*/ 137 w 462"/>
                <a:gd name="T17" fmla="*/ 36 h 417"/>
                <a:gd name="T18" fmla="*/ 157 w 462"/>
                <a:gd name="T19" fmla="*/ 36 h 417"/>
                <a:gd name="T20" fmla="*/ 167 w 462"/>
                <a:gd name="T21" fmla="*/ 45 h 417"/>
                <a:gd name="T22" fmla="*/ 180 w 462"/>
                <a:gd name="T23" fmla="*/ 43 h 417"/>
                <a:gd name="T24" fmla="*/ 201 w 462"/>
                <a:gd name="T25" fmla="*/ 29 h 417"/>
                <a:gd name="T26" fmla="*/ 201 w 462"/>
                <a:gd name="T27" fmla="*/ 10 h 417"/>
                <a:gd name="T28" fmla="*/ 213 w 462"/>
                <a:gd name="T29" fmla="*/ 1 h 417"/>
                <a:gd name="T30" fmla="*/ 235 w 462"/>
                <a:gd name="T31" fmla="*/ 15 h 417"/>
                <a:gd name="T32" fmla="*/ 245 w 462"/>
                <a:gd name="T33" fmla="*/ 18 h 417"/>
                <a:gd name="T34" fmla="*/ 259 w 462"/>
                <a:gd name="T35" fmla="*/ 31 h 417"/>
                <a:gd name="T36" fmla="*/ 260 w 462"/>
                <a:gd name="T37" fmla="*/ 42 h 417"/>
                <a:gd name="T38" fmla="*/ 258 w 462"/>
                <a:gd name="T39" fmla="*/ 53 h 417"/>
                <a:gd name="T40" fmla="*/ 257 w 462"/>
                <a:gd name="T41" fmla="*/ 77 h 417"/>
                <a:gd name="T42" fmla="*/ 250 w 462"/>
                <a:gd name="T43" fmla="*/ 103 h 417"/>
                <a:gd name="T44" fmla="*/ 259 w 462"/>
                <a:gd name="T45" fmla="*/ 119 h 417"/>
                <a:gd name="T46" fmla="*/ 255 w 462"/>
                <a:gd name="T47" fmla="*/ 132 h 417"/>
                <a:gd name="T48" fmla="*/ 277 w 462"/>
                <a:gd name="T49" fmla="*/ 155 h 417"/>
                <a:gd name="T50" fmla="*/ 296 w 462"/>
                <a:gd name="T51" fmla="*/ 154 h 417"/>
                <a:gd name="T52" fmla="*/ 311 w 462"/>
                <a:gd name="T53" fmla="*/ 164 h 417"/>
                <a:gd name="T54" fmla="*/ 311 w 462"/>
                <a:gd name="T55" fmla="*/ 171 h 417"/>
                <a:gd name="T56" fmla="*/ 327 w 462"/>
                <a:gd name="T57" fmla="*/ 181 h 417"/>
                <a:gd name="T58" fmla="*/ 348 w 462"/>
                <a:gd name="T59" fmla="*/ 180 h 417"/>
                <a:gd name="T60" fmla="*/ 371 w 462"/>
                <a:gd name="T61" fmla="*/ 185 h 417"/>
                <a:gd name="T62" fmla="*/ 386 w 462"/>
                <a:gd name="T63" fmla="*/ 192 h 417"/>
                <a:gd name="T64" fmla="*/ 391 w 462"/>
                <a:gd name="T65" fmla="*/ 214 h 417"/>
                <a:gd name="T66" fmla="*/ 415 w 462"/>
                <a:gd name="T67" fmla="*/ 225 h 417"/>
                <a:gd name="T68" fmla="*/ 440 w 462"/>
                <a:gd name="T69" fmla="*/ 225 h 417"/>
                <a:gd name="T70" fmla="*/ 452 w 462"/>
                <a:gd name="T71" fmla="*/ 226 h 417"/>
                <a:gd name="T72" fmla="*/ 459 w 462"/>
                <a:gd name="T73" fmla="*/ 237 h 417"/>
                <a:gd name="T74" fmla="*/ 456 w 462"/>
                <a:gd name="T75" fmla="*/ 250 h 417"/>
                <a:gd name="T76" fmla="*/ 446 w 462"/>
                <a:gd name="T77" fmla="*/ 264 h 417"/>
                <a:gd name="T78" fmla="*/ 432 w 462"/>
                <a:gd name="T79" fmla="*/ 284 h 417"/>
                <a:gd name="T80" fmla="*/ 441 w 462"/>
                <a:gd name="T81" fmla="*/ 289 h 417"/>
                <a:gd name="T82" fmla="*/ 458 w 462"/>
                <a:gd name="T83" fmla="*/ 303 h 417"/>
                <a:gd name="T84" fmla="*/ 455 w 462"/>
                <a:gd name="T85" fmla="*/ 313 h 417"/>
                <a:gd name="T86" fmla="*/ 449 w 462"/>
                <a:gd name="T87" fmla="*/ 320 h 417"/>
                <a:gd name="T88" fmla="*/ 431 w 462"/>
                <a:gd name="T89" fmla="*/ 312 h 417"/>
                <a:gd name="T90" fmla="*/ 407 w 462"/>
                <a:gd name="T91" fmla="*/ 302 h 417"/>
                <a:gd name="T92" fmla="*/ 375 w 462"/>
                <a:gd name="T93" fmla="*/ 292 h 417"/>
                <a:gd name="T94" fmla="*/ 364 w 462"/>
                <a:gd name="T95" fmla="*/ 298 h 417"/>
                <a:gd name="T96" fmla="*/ 341 w 462"/>
                <a:gd name="T97" fmla="*/ 308 h 417"/>
                <a:gd name="T98" fmla="*/ 331 w 462"/>
                <a:gd name="T99" fmla="*/ 306 h 417"/>
                <a:gd name="T100" fmla="*/ 323 w 462"/>
                <a:gd name="T101" fmla="*/ 286 h 417"/>
                <a:gd name="T102" fmla="*/ 300 w 462"/>
                <a:gd name="T103" fmla="*/ 280 h 417"/>
                <a:gd name="T104" fmla="*/ 282 w 462"/>
                <a:gd name="T105" fmla="*/ 279 h 417"/>
                <a:gd name="T106" fmla="*/ 275 w 462"/>
                <a:gd name="T107" fmla="*/ 298 h 417"/>
                <a:gd name="T108" fmla="*/ 276 w 462"/>
                <a:gd name="T109" fmla="*/ 340 h 417"/>
                <a:gd name="T110" fmla="*/ 270 w 462"/>
                <a:gd name="T111" fmla="*/ 370 h 417"/>
                <a:gd name="T112" fmla="*/ 273 w 462"/>
                <a:gd name="T113" fmla="*/ 390 h 417"/>
                <a:gd name="T114" fmla="*/ 247 w 462"/>
                <a:gd name="T115" fmla="*/ 389 h 417"/>
                <a:gd name="T116" fmla="*/ 225 w 462"/>
                <a:gd name="T117" fmla="*/ 388 h 417"/>
                <a:gd name="T118" fmla="*/ 215 w 462"/>
                <a:gd name="T119" fmla="*/ 414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62" h="417">
                  <a:moveTo>
                    <a:pt x="0" y="23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5"/>
                  </a:lnTo>
                  <a:lnTo>
                    <a:pt x="1" y="29"/>
                  </a:lnTo>
                  <a:lnTo>
                    <a:pt x="1" y="31"/>
                  </a:lnTo>
                  <a:lnTo>
                    <a:pt x="1" y="32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4" y="37"/>
                  </a:lnTo>
                  <a:lnTo>
                    <a:pt x="5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8" y="38"/>
                  </a:lnTo>
                  <a:lnTo>
                    <a:pt x="9" y="37"/>
                  </a:lnTo>
                  <a:lnTo>
                    <a:pt x="10" y="37"/>
                  </a:lnTo>
                  <a:lnTo>
                    <a:pt x="11" y="37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4" y="37"/>
                  </a:lnTo>
                  <a:lnTo>
                    <a:pt x="16" y="37"/>
                  </a:lnTo>
                  <a:lnTo>
                    <a:pt x="17" y="37"/>
                  </a:lnTo>
                  <a:lnTo>
                    <a:pt x="19" y="36"/>
                  </a:lnTo>
                  <a:lnTo>
                    <a:pt x="20" y="36"/>
                  </a:lnTo>
                  <a:lnTo>
                    <a:pt x="21" y="36"/>
                  </a:lnTo>
                  <a:lnTo>
                    <a:pt x="25" y="36"/>
                  </a:lnTo>
                  <a:lnTo>
                    <a:pt x="26" y="36"/>
                  </a:lnTo>
                  <a:lnTo>
                    <a:pt x="34" y="36"/>
                  </a:lnTo>
                  <a:lnTo>
                    <a:pt x="37" y="35"/>
                  </a:lnTo>
                  <a:lnTo>
                    <a:pt x="39" y="35"/>
                  </a:lnTo>
                  <a:lnTo>
                    <a:pt x="40" y="35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5" y="34"/>
                  </a:lnTo>
                  <a:lnTo>
                    <a:pt x="45" y="32"/>
                  </a:lnTo>
                  <a:lnTo>
                    <a:pt x="46" y="31"/>
                  </a:lnTo>
                  <a:lnTo>
                    <a:pt x="47" y="30"/>
                  </a:lnTo>
                  <a:lnTo>
                    <a:pt x="48" y="28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50" y="25"/>
                  </a:lnTo>
                  <a:lnTo>
                    <a:pt x="50" y="24"/>
                  </a:lnTo>
                  <a:lnTo>
                    <a:pt x="51" y="24"/>
                  </a:lnTo>
                  <a:lnTo>
                    <a:pt x="52" y="24"/>
                  </a:lnTo>
                  <a:lnTo>
                    <a:pt x="55" y="23"/>
                  </a:lnTo>
                  <a:lnTo>
                    <a:pt x="57" y="22"/>
                  </a:lnTo>
                  <a:lnTo>
                    <a:pt x="58" y="22"/>
                  </a:lnTo>
                  <a:lnTo>
                    <a:pt x="59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1" y="22"/>
                  </a:lnTo>
                  <a:lnTo>
                    <a:pt x="63" y="23"/>
                  </a:lnTo>
                  <a:lnTo>
                    <a:pt x="64" y="23"/>
                  </a:lnTo>
                  <a:lnTo>
                    <a:pt x="65" y="24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8" y="26"/>
                  </a:lnTo>
                  <a:lnTo>
                    <a:pt x="69" y="28"/>
                  </a:lnTo>
                  <a:lnTo>
                    <a:pt x="69" y="28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3" y="30"/>
                  </a:lnTo>
                  <a:lnTo>
                    <a:pt x="74" y="31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7" y="33"/>
                  </a:lnTo>
                  <a:lnTo>
                    <a:pt x="78" y="33"/>
                  </a:lnTo>
                  <a:lnTo>
                    <a:pt x="79" y="34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80" y="37"/>
                  </a:lnTo>
                  <a:lnTo>
                    <a:pt x="80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2" y="39"/>
                  </a:lnTo>
                  <a:lnTo>
                    <a:pt x="83" y="39"/>
                  </a:lnTo>
                  <a:lnTo>
                    <a:pt x="85" y="39"/>
                  </a:lnTo>
                  <a:lnTo>
                    <a:pt x="86" y="39"/>
                  </a:lnTo>
                  <a:lnTo>
                    <a:pt x="87" y="39"/>
                  </a:lnTo>
                  <a:lnTo>
                    <a:pt x="88" y="39"/>
                  </a:lnTo>
                  <a:lnTo>
                    <a:pt x="90" y="39"/>
                  </a:lnTo>
                  <a:lnTo>
                    <a:pt x="90" y="38"/>
                  </a:lnTo>
                  <a:lnTo>
                    <a:pt x="91" y="38"/>
                  </a:lnTo>
                  <a:lnTo>
                    <a:pt x="91" y="38"/>
                  </a:lnTo>
                  <a:lnTo>
                    <a:pt x="94" y="36"/>
                  </a:lnTo>
                  <a:lnTo>
                    <a:pt x="95" y="35"/>
                  </a:lnTo>
                  <a:lnTo>
                    <a:pt x="96" y="35"/>
                  </a:lnTo>
                  <a:lnTo>
                    <a:pt x="97" y="34"/>
                  </a:lnTo>
                  <a:lnTo>
                    <a:pt x="98" y="34"/>
                  </a:lnTo>
                  <a:lnTo>
                    <a:pt x="99" y="34"/>
                  </a:lnTo>
                  <a:lnTo>
                    <a:pt x="100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3"/>
                  </a:lnTo>
                  <a:lnTo>
                    <a:pt x="103" y="33"/>
                  </a:lnTo>
                  <a:lnTo>
                    <a:pt x="103" y="32"/>
                  </a:lnTo>
                  <a:lnTo>
                    <a:pt x="103" y="30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5" y="28"/>
                  </a:lnTo>
                  <a:lnTo>
                    <a:pt x="106" y="28"/>
                  </a:lnTo>
                  <a:lnTo>
                    <a:pt x="108" y="30"/>
                  </a:lnTo>
                  <a:lnTo>
                    <a:pt x="109" y="30"/>
                  </a:lnTo>
                  <a:lnTo>
                    <a:pt x="110" y="31"/>
                  </a:lnTo>
                  <a:lnTo>
                    <a:pt x="112" y="31"/>
                  </a:lnTo>
                  <a:lnTo>
                    <a:pt x="113" y="32"/>
                  </a:lnTo>
                  <a:lnTo>
                    <a:pt x="114" y="32"/>
                  </a:lnTo>
                  <a:lnTo>
                    <a:pt x="117" y="35"/>
                  </a:lnTo>
                  <a:lnTo>
                    <a:pt x="118" y="35"/>
                  </a:lnTo>
                  <a:lnTo>
                    <a:pt x="119" y="36"/>
                  </a:lnTo>
                  <a:lnTo>
                    <a:pt x="120" y="36"/>
                  </a:lnTo>
                  <a:lnTo>
                    <a:pt x="120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2" y="36"/>
                  </a:lnTo>
                  <a:lnTo>
                    <a:pt x="123" y="35"/>
                  </a:lnTo>
                  <a:lnTo>
                    <a:pt x="124" y="34"/>
                  </a:lnTo>
                  <a:lnTo>
                    <a:pt x="125" y="34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7" y="33"/>
                  </a:lnTo>
                  <a:lnTo>
                    <a:pt x="128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2" y="34"/>
                  </a:lnTo>
                  <a:lnTo>
                    <a:pt x="133" y="34"/>
                  </a:lnTo>
                  <a:lnTo>
                    <a:pt x="133" y="34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7" y="36"/>
                  </a:lnTo>
                  <a:lnTo>
                    <a:pt x="138" y="36"/>
                  </a:lnTo>
                  <a:lnTo>
                    <a:pt x="140" y="36"/>
                  </a:lnTo>
                  <a:lnTo>
                    <a:pt x="144" y="37"/>
                  </a:lnTo>
                  <a:lnTo>
                    <a:pt x="145" y="37"/>
                  </a:lnTo>
                  <a:lnTo>
                    <a:pt x="147" y="37"/>
                  </a:lnTo>
                  <a:lnTo>
                    <a:pt x="148" y="37"/>
                  </a:lnTo>
                  <a:lnTo>
                    <a:pt x="149" y="37"/>
                  </a:lnTo>
                  <a:lnTo>
                    <a:pt x="151" y="36"/>
                  </a:lnTo>
                  <a:lnTo>
                    <a:pt x="152" y="36"/>
                  </a:lnTo>
                  <a:lnTo>
                    <a:pt x="154" y="36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7" y="35"/>
                  </a:lnTo>
                  <a:lnTo>
                    <a:pt x="157" y="36"/>
                  </a:lnTo>
                  <a:lnTo>
                    <a:pt x="157" y="36"/>
                  </a:lnTo>
                  <a:lnTo>
                    <a:pt x="157" y="37"/>
                  </a:lnTo>
                  <a:lnTo>
                    <a:pt x="156" y="40"/>
                  </a:lnTo>
                  <a:lnTo>
                    <a:pt x="156" y="40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7" y="42"/>
                  </a:lnTo>
                  <a:lnTo>
                    <a:pt x="157" y="42"/>
                  </a:lnTo>
                  <a:lnTo>
                    <a:pt x="158" y="42"/>
                  </a:lnTo>
                  <a:lnTo>
                    <a:pt x="158" y="43"/>
                  </a:lnTo>
                  <a:lnTo>
                    <a:pt x="159" y="43"/>
                  </a:lnTo>
                  <a:lnTo>
                    <a:pt x="159" y="43"/>
                  </a:lnTo>
                  <a:lnTo>
                    <a:pt x="161" y="43"/>
                  </a:lnTo>
                  <a:lnTo>
                    <a:pt x="163" y="44"/>
                  </a:lnTo>
                  <a:lnTo>
                    <a:pt x="164" y="44"/>
                  </a:lnTo>
                  <a:lnTo>
                    <a:pt x="166" y="44"/>
                  </a:lnTo>
                  <a:lnTo>
                    <a:pt x="167" y="45"/>
                  </a:lnTo>
                  <a:lnTo>
                    <a:pt x="169" y="45"/>
                  </a:lnTo>
                  <a:lnTo>
                    <a:pt x="170" y="46"/>
                  </a:lnTo>
                  <a:lnTo>
                    <a:pt x="171" y="46"/>
                  </a:lnTo>
                  <a:lnTo>
                    <a:pt x="173" y="48"/>
                  </a:lnTo>
                  <a:lnTo>
                    <a:pt x="173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6" y="48"/>
                  </a:lnTo>
                  <a:lnTo>
                    <a:pt x="176" y="47"/>
                  </a:lnTo>
                  <a:lnTo>
                    <a:pt x="177" y="47"/>
                  </a:lnTo>
                  <a:lnTo>
                    <a:pt x="178" y="45"/>
                  </a:lnTo>
                  <a:lnTo>
                    <a:pt x="179" y="44"/>
                  </a:lnTo>
                  <a:lnTo>
                    <a:pt x="180" y="43"/>
                  </a:lnTo>
                  <a:lnTo>
                    <a:pt x="181" y="41"/>
                  </a:lnTo>
                  <a:lnTo>
                    <a:pt x="182" y="40"/>
                  </a:lnTo>
                  <a:lnTo>
                    <a:pt x="185" y="38"/>
                  </a:lnTo>
                  <a:lnTo>
                    <a:pt x="187" y="36"/>
                  </a:lnTo>
                  <a:lnTo>
                    <a:pt x="189" y="35"/>
                  </a:lnTo>
                  <a:lnTo>
                    <a:pt x="190" y="34"/>
                  </a:lnTo>
                  <a:lnTo>
                    <a:pt x="191" y="34"/>
                  </a:lnTo>
                  <a:lnTo>
                    <a:pt x="192" y="34"/>
                  </a:lnTo>
                  <a:lnTo>
                    <a:pt x="195" y="33"/>
                  </a:lnTo>
                  <a:lnTo>
                    <a:pt x="196" y="32"/>
                  </a:lnTo>
                  <a:lnTo>
                    <a:pt x="197" y="32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1" y="29"/>
                  </a:lnTo>
                  <a:lnTo>
                    <a:pt x="201" y="28"/>
                  </a:lnTo>
                  <a:lnTo>
                    <a:pt x="201" y="28"/>
                  </a:lnTo>
                  <a:lnTo>
                    <a:pt x="201" y="27"/>
                  </a:lnTo>
                  <a:lnTo>
                    <a:pt x="200" y="25"/>
                  </a:lnTo>
                  <a:lnTo>
                    <a:pt x="200" y="23"/>
                  </a:lnTo>
                  <a:lnTo>
                    <a:pt x="199" y="21"/>
                  </a:lnTo>
                  <a:lnTo>
                    <a:pt x="199" y="20"/>
                  </a:lnTo>
                  <a:lnTo>
                    <a:pt x="199" y="20"/>
                  </a:lnTo>
                  <a:lnTo>
                    <a:pt x="199" y="18"/>
                  </a:lnTo>
                  <a:lnTo>
                    <a:pt x="199" y="17"/>
                  </a:lnTo>
                  <a:lnTo>
                    <a:pt x="200" y="15"/>
                  </a:lnTo>
                  <a:lnTo>
                    <a:pt x="200" y="14"/>
                  </a:lnTo>
                  <a:lnTo>
                    <a:pt x="200" y="13"/>
                  </a:lnTo>
                  <a:lnTo>
                    <a:pt x="200" y="11"/>
                  </a:lnTo>
                  <a:lnTo>
                    <a:pt x="200" y="11"/>
                  </a:lnTo>
                  <a:lnTo>
                    <a:pt x="200" y="10"/>
                  </a:lnTo>
                  <a:lnTo>
                    <a:pt x="201" y="10"/>
                  </a:lnTo>
                  <a:lnTo>
                    <a:pt x="201" y="9"/>
                  </a:lnTo>
                  <a:lnTo>
                    <a:pt x="202" y="9"/>
                  </a:lnTo>
                  <a:lnTo>
                    <a:pt x="203" y="8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4" y="5"/>
                  </a:lnTo>
                  <a:lnTo>
                    <a:pt x="205" y="5"/>
                  </a:lnTo>
                  <a:lnTo>
                    <a:pt x="205" y="4"/>
                  </a:lnTo>
                  <a:lnTo>
                    <a:pt x="206" y="3"/>
                  </a:lnTo>
                  <a:lnTo>
                    <a:pt x="208" y="2"/>
                  </a:lnTo>
                  <a:lnTo>
                    <a:pt x="210" y="1"/>
                  </a:lnTo>
                  <a:lnTo>
                    <a:pt x="210" y="1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2" y="0"/>
                  </a:lnTo>
                  <a:lnTo>
                    <a:pt x="213" y="1"/>
                  </a:lnTo>
                  <a:lnTo>
                    <a:pt x="214" y="1"/>
                  </a:lnTo>
                  <a:lnTo>
                    <a:pt x="216" y="3"/>
                  </a:lnTo>
                  <a:lnTo>
                    <a:pt x="217" y="3"/>
                  </a:lnTo>
                  <a:lnTo>
                    <a:pt x="218" y="4"/>
                  </a:lnTo>
                  <a:lnTo>
                    <a:pt x="222" y="6"/>
                  </a:lnTo>
                  <a:lnTo>
                    <a:pt x="223" y="7"/>
                  </a:lnTo>
                  <a:lnTo>
                    <a:pt x="224" y="7"/>
                  </a:lnTo>
                  <a:lnTo>
                    <a:pt x="225" y="8"/>
                  </a:lnTo>
                  <a:lnTo>
                    <a:pt x="226" y="9"/>
                  </a:lnTo>
                  <a:lnTo>
                    <a:pt x="229" y="11"/>
                  </a:lnTo>
                  <a:lnTo>
                    <a:pt x="231" y="13"/>
                  </a:lnTo>
                  <a:lnTo>
                    <a:pt x="232" y="13"/>
                  </a:lnTo>
                  <a:lnTo>
                    <a:pt x="233" y="14"/>
                  </a:lnTo>
                  <a:lnTo>
                    <a:pt x="234" y="15"/>
                  </a:lnTo>
                  <a:lnTo>
                    <a:pt x="234" y="15"/>
                  </a:lnTo>
                  <a:lnTo>
                    <a:pt x="235" y="15"/>
                  </a:lnTo>
                  <a:lnTo>
                    <a:pt x="235" y="15"/>
                  </a:lnTo>
                  <a:lnTo>
                    <a:pt x="236" y="15"/>
                  </a:lnTo>
                  <a:lnTo>
                    <a:pt x="236" y="15"/>
                  </a:lnTo>
                  <a:lnTo>
                    <a:pt x="237" y="15"/>
                  </a:lnTo>
                  <a:lnTo>
                    <a:pt x="238" y="14"/>
                  </a:lnTo>
                  <a:lnTo>
                    <a:pt x="239" y="14"/>
                  </a:lnTo>
                  <a:lnTo>
                    <a:pt x="240" y="13"/>
                  </a:lnTo>
                  <a:lnTo>
                    <a:pt x="241" y="13"/>
                  </a:lnTo>
                  <a:lnTo>
                    <a:pt x="241" y="13"/>
                  </a:lnTo>
                  <a:lnTo>
                    <a:pt x="242" y="13"/>
                  </a:lnTo>
                  <a:lnTo>
                    <a:pt x="242" y="13"/>
                  </a:lnTo>
                  <a:lnTo>
                    <a:pt x="243" y="13"/>
                  </a:lnTo>
                  <a:lnTo>
                    <a:pt x="243" y="13"/>
                  </a:lnTo>
                  <a:lnTo>
                    <a:pt x="243" y="14"/>
                  </a:lnTo>
                  <a:lnTo>
                    <a:pt x="243" y="14"/>
                  </a:lnTo>
                  <a:lnTo>
                    <a:pt x="244" y="15"/>
                  </a:lnTo>
                  <a:lnTo>
                    <a:pt x="244" y="17"/>
                  </a:lnTo>
                  <a:lnTo>
                    <a:pt x="245" y="18"/>
                  </a:lnTo>
                  <a:lnTo>
                    <a:pt x="246" y="20"/>
                  </a:lnTo>
                  <a:lnTo>
                    <a:pt x="247" y="23"/>
                  </a:lnTo>
                  <a:lnTo>
                    <a:pt x="248" y="25"/>
                  </a:lnTo>
                  <a:lnTo>
                    <a:pt x="249" y="27"/>
                  </a:lnTo>
                  <a:lnTo>
                    <a:pt x="250" y="28"/>
                  </a:lnTo>
                  <a:lnTo>
                    <a:pt x="251" y="28"/>
                  </a:lnTo>
                  <a:lnTo>
                    <a:pt x="251" y="29"/>
                  </a:lnTo>
                  <a:lnTo>
                    <a:pt x="252" y="30"/>
                  </a:lnTo>
                  <a:lnTo>
                    <a:pt x="253" y="30"/>
                  </a:lnTo>
                  <a:lnTo>
                    <a:pt x="253" y="30"/>
                  </a:lnTo>
                  <a:lnTo>
                    <a:pt x="255" y="31"/>
                  </a:lnTo>
                  <a:lnTo>
                    <a:pt x="255" y="31"/>
                  </a:lnTo>
                  <a:lnTo>
                    <a:pt x="256" y="31"/>
                  </a:lnTo>
                  <a:lnTo>
                    <a:pt x="257" y="31"/>
                  </a:lnTo>
                  <a:lnTo>
                    <a:pt x="257" y="31"/>
                  </a:lnTo>
                  <a:lnTo>
                    <a:pt x="258" y="31"/>
                  </a:lnTo>
                  <a:lnTo>
                    <a:pt x="259" y="31"/>
                  </a:lnTo>
                  <a:lnTo>
                    <a:pt x="259" y="31"/>
                  </a:lnTo>
                  <a:lnTo>
                    <a:pt x="260" y="31"/>
                  </a:lnTo>
                  <a:lnTo>
                    <a:pt x="261" y="30"/>
                  </a:lnTo>
                  <a:lnTo>
                    <a:pt x="261" y="30"/>
                  </a:lnTo>
                  <a:lnTo>
                    <a:pt x="261" y="30"/>
                  </a:lnTo>
                  <a:lnTo>
                    <a:pt x="261" y="31"/>
                  </a:lnTo>
                  <a:lnTo>
                    <a:pt x="262" y="35"/>
                  </a:lnTo>
                  <a:lnTo>
                    <a:pt x="262" y="36"/>
                  </a:lnTo>
                  <a:lnTo>
                    <a:pt x="262" y="37"/>
                  </a:lnTo>
                  <a:lnTo>
                    <a:pt x="262" y="38"/>
                  </a:lnTo>
                  <a:lnTo>
                    <a:pt x="262" y="39"/>
                  </a:lnTo>
                  <a:lnTo>
                    <a:pt x="262" y="39"/>
                  </a:lnTo>
                  <a:lnTo>
                    <a:pt x="262" y="40"/>
                  </a:lnTo>
                  <a:lnTo>
                    <a:pt x="261" y="40"/>
                  </a:lnTo>
                  <a:lnTo>
                    <a:pt x="261" y="41"/>
                  </a:lnTo>
                  <a:lnTo>
                    <a:pt x="260" y="41"/>
                  </a:lnTo>
                  <a:lnTo>
                    <a:pt x="260" y="42"/>
                  </a:lnTo>
                  <a:lnTo>
                    <a:pt x="259" y="42"/>
                  </a:lnTo>
                  <a:lnTo>
                    <a:pt x="258" y="43"/>
                  </a:lnTo>
                  <a:lnTo>
                    <a:pt x="257" y="43"/>
                  </a:lnTo>
                  <a:lnTo>
                    <a:pt x="256" y="43"/>
                  </a:lnTo>
                  <a:lnTo>
                    <a:pt x="256" y="44"/>
                  </a:lnTo>
                  <a:lnTo>
                    <a:pt x="255" y="44"/>
                  </a:lnTo>
                  <a:lnTo>
                    <a:pt x="255" y="44"/>
                  </a:lnTo>
                  <a:lnTo>
                    <a:pt x="255" y="45"/>
                  </a:lnTo>
                  <a:lnTo>
                    <a:pt x="255" y="45"/>
                  </a:lnTo>
                  <a:lnTo>
                    <a:pt x="255" y="46"/>
                  </a:lnTo>
                  <a:lnTo>
                    <a:pt x="255" y="46"/>
                  </a:lnTo>
                  <a:lnTo>
                    <a:pt x="255" y="47"/>
                  </a:lnTo>
                  <a:lnTo>
                    <a:pt x="255" y="47"/>
                  </a:lnTo>
                  <a:lnTo>
                    <a:pt x="255" y="48"/>
                  </a:lnTo>
                  <a:lnTo>
                    <a:pt x="257" y="51"/>
                  </a:lnTo>
                  <a:lnTo>
                    <a:pt x="258" y="52"/>
                  </a:lnTo>
                  <a:lnTo>
                    <a:pt x="258" y="53"/>
                  </a:lnTo>
                  <a:lnTo>
                    <a:pt x="258" y="54"/>
                  </a:lnTo>
                  <a:lnTo>
                    <a:pt x="259" y="55"/>
                  </a:lnTo>
                  <a:lnTo>
                    <a:pt x="259" y="56"/>
                  </a:lnTo>
                  <a:lnTo>
                    <a:pt x="259" y="57"/>
                  </a:lnTo>
                  <a:lnTo>
                    <a:pt x="259" y="59"/>
                  </a:lnTo>
                  <a:lnTo>
                    <a:pt x="259" y="60"/>
                  </a:lnTo>
                  <a:lnTo>
                    <a:pt x="259" y="61"/>
                  </a:lnTo>
                  <a:lnTo>
                    <a:pt x="259" y="64"/>
                  </a:lnTo>
                  <a:lnTo>
                    <a:pt x="259" y="65"/>
                  </a:lnTo>
                  <a:lnTo>
                    <a:pt x="259" y="66"/>
                  </a:lnTo>
                  <a:lnTo>
                    <a:pt x="259" y="68"/>
                  </a:lnTo>
                  <a:lnTo>
                    <a:pt x="259" y="69"/>
                  </a:lnTo>
                  <a:lnTo>
                    <a:pt x="259" y="71"/>
                  </a:lnTo>
                  <a:lnTo>
                    <a:pt x="258" y="72"/>
                  </a:lnTo>
                  <a:lnTo>
                    <a:pt x="258" y="73"/>
                  </a:lnTo>
                  <a:lnTo>
                    <a:pt x="258" y="75"/>
                  </a:lnTo>
                  <a:lnTo>
                    <a:pt x="257" y="77"/>
                  </a:lnTo>
                  <a:lnTo>
                    <a:pt x="256" y="80"/>
                  </a:lnTo>
                  <a:lnTo>
                    <a:pt x="255" y="83"/>
                  </a:lnTo>
                  <a:lnTo>
                    <a:pt x="254" y="85"/>
                  </a:lnTo>
                  <a:lnTo>
                    <a:pt x="253" y="86"/>
                  </a:lnTo>
                  <a:lnTo>
                    <a:pt x="253" y="87"/>
                  </a:lnTo>
                  <a:lnTo>
                    <a:pt x="253" y="88"/>
                  </a:lnTo>
                  <a:lnTo>
                    <a:pt x="253" y="88"/>
                  </a:lnTo>
                  <a:lnTo>
                    <a:pt x="254" y="89"/>
                  </a:lnTo>
                  <a:lnTo>
                    <a:pt x="254" y="89"/>
                  </a:lnTo>
                  <a:lnTo>
                    <a:pt x="254" y="90"/>
                  </a:lnTo>
                  <a:lnTo>
                    <a:pt x="254" y="90"/>
                  </a:lnTo>
                  <a:lnTo>
                    <a:pt x="253" y="94"/>
                  </a:lnTo>
                  <a:lnTo>
                    <a:pt x="252" y="97"/>
                  </a:lnTo>
                  <a:lnTo>
                    <a:pt x="252" y="98"/>
                  </a:lnTo>
                  <a:lnTo>
                    <a:pt x="251" y="100"/>
                  </a:lnTo>
                  <a:lnTo>
                    <a:pt x="250" y="102"/>
                  </a:lnTo>
                  <a:lnTo>
                    <a:pt x="250" y="103"/>
                  </a:lnTo>
                  <a:lnTo>
                    <a:pt x="250" y="105"/>
                  </a:lnTo>
                  <a:lnTo>
                    <a:pt x="250" y="106"/>
                  </a:lnTo>
                  <a:lnTo>
                    <a:pt x="250" y="106"/>
                  </a:lnTo>
                  <a:lnTo>
                    <a:pt x="250" y="107"/>
                  </a:lnTo>
                  <a:lnTo>
                    <a:pt x="250" y="108"/>
                  </a:lnTo>
                  <a:lnTo>
                    <a:pt x="250" y="109"/>
                  </a:lnTo>
                  <a:lnTo>
                    <a:pt x="250" y="110"/>
                  </a:lnTo>
                  <a:lnTo>
                    <a:pt x="251" y="111"/>
                  </a:lnTo>
                  <a:lnTo>
                    <a:pt x="252" y="112"/>
                  </a:lnTo>
                  <a:lnTo>
                    <a:pt x="253" y="113"/>
                  </a:lnTo>
                  <a:lnTo>
                    <a:pt x="254" y="113"/>
                  </a:lnTo>
                  <a:lnTo>
                    <a:pt x="256" y="115"/>
                  </a:lnTo>
                  <a:lnTo>
                    <a:pt x="257" y="116"/>
                  </a:lnTo>
                  <a:lnTo>
                    <a:pt x="257" y="117"/>
                  </a:lnTo>
                  <a:lnTo>
                    <a:pt x="258" y="117"/>
                  </a:lnTo>
                  <a:lnTo>
                    <a:pt x="258" y="118"/>
                  </a:lnTo>
                  <a:lnTo>
                    <a:pt x="259" y="119"/>
                  </a:lnTo>
                  <a:lnTo>
                    <a:pt x="259" y="120"/>
                  </a:lnTo>
                  <a:lnTo>
                    <a:pt x="259" y="120"/>
                  </a:lnTo>
                  <a:lnTo>
                    <a:pt x="259" y="121"/>
                  </a:lnTo>
                  <a:lnTo>
                    <a:pt x="259" y="121"/>
                  </a:lnTo>
                  <a:lnTo>
                    <a:pt x="259" y="122"/>
                  </a:lnTo>
                  <a:lnTo>
                    <a:pt x="259" y="122"/>
                  </a:lnTo>
                  <a:lnTo>
                    <a:pt x="258" y="124"/>
                  </a:lnTo>
                  <a:lnTo>
                    <a:pt x="257" y="125"/>
                  </a:lnTo>
                  <a:lnTo>
                    <a:pt x="256" y="126"/>
                  </a:lnTo>
                  <a:lnTo>
                    <a:pt x="255" y="127"/>
                  </a:lnTo>
                  <a:lnTo>
                    <a:pt x="255" y="128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5" y="130"/>
                  </a:lnTo>
                  <a:lnTo>
                    <a:pt x="255" y="131"/>
                  </a:lnTo>
                  <a:lnTo>
                    <a:pt x="255" y="131"/>
                  </a:lnTo>
                  <a:lnTo>
                    <a:pt x="255" y="132"/>
                  </a:lnTo>
                  <a:lnTo>
                    <a:pt x="255" y="133"/>
                  </a:lnTo>
                  <a:lnTo>
                    <a:pt x="256" y="134"/>
                  </a:lnTo>
                  <a:lnTo>
                    <a:pt x="258" y="137"/>
                  </a:lnTo>
                  <a:lnTo>
                    <a:pt x="260" y="140"/>
                  </a:lnTo>
                  <a:lnTo>
                    <a:pt x="261" y="140"/>
                  </a:lnTo>
                  <a:lnTo>
                    <a:pt x="261" y="141"/>
                  </a:lnTo>
                  <a:lnTo>
                    <a:pt x="265" y="144"/>
                  </a:lnTo>
                  <a:lnTo>
                    <a:pt x="265" y="145"/>
                  </a:lnTo>
                  <a:lnTo>
                    <a:pt x="267" y="147"/>
                  </a:lnTo>
                  <a:lnTo>
                    <a:pt x="268" y="149"/>
                  </a:lnTo>
                  <a:lnTo>
                    <a:pt x="271" y="151"/>
                  </a:lnTo>
                  <a:lnTo>
                    <a:pt x="273" y="153"/>
                  </a:lnTo>
                  <a:lnTo>
                    <a:pt x="274" y="154"/>
                  </a:lnTo>
                  <a:lnTo>
                    <a:pt x="275" y="154"/>
                  </a:lnTo>
                  <a:lnTo>
                    <a:pt x="275" y="154"/>
                  </a:lnTo>
                  <a:lnTo>
                    <a:pt x="276" y="154"/>
                  </a:lnTo>
                  <a:lnTo>
                    <a:pt x="277" y="155"/>
                  </a:lnTo>
                  <a:lnTo>
                    <a:pt x="278" y="155"/>
                  </a:lnTo>
                  <a:lnTo>
                    <a:pt x="279" y="154"/>
                  </a:lnTo>
                  <a:lnTo>
                    <a:pt x="280" y="154"/>
                  </a:lnTo>
                  <a:lnTo>
                    <a:pt x="281" y="154"/>
                  </a:lnTo>
                  <a:lnTo>
                    <a:pt x="285" y="152"/>
                  </a:lnTo>
                  <a:lnTo>
                    <a:pt x="286" y="151"/>
                  </a:lnTo>
                  <a:lnTo>
                    <a:pt x="287" y="151"/>
                  </a:lnTo>
                  <a:lnTo>
                    <a:pt x="288" y="150"/>
                  </a:lnTo>
                  <a:lnTo>
                    <a:pt x="289" y="150"/>
                  </a:lnTo>
                  <a:lnTo>
                    <a:pt x="290" y="150"/>
                  </a:lnTo>
                  <a:lnTo>
                    <a:pt x="291" y="150"/>
                  </a:lnTo>
                  <a:lnTo>
                    <a:pt x="291" y="150"/>
                  </a:lnTo>
                  <a:lnTo>
                    <a:pt x="292" y="151"/>
                  </a:lnTo>
                  <a:lnTo>
                    <a:pt x="293" y="151"/>
                  </a:lnTo>
                  <a:lnTo>
                    <a:pt x="294" y="151"/>
                  </a:lnTo>
                  <a:lnTo>
                    <a:pt x="294" y="152"/>
                  </a:lnTo>
                  <a:lnTo>
                    <a:pt x="296" y="154"/>
                  </a:lnTo>
                  <a:lnTo>
                    <a:pt x="298" y="155"/>
                  </a:lnTo>
                  <a:lnTo>
                    <a:pt x="299" y="156"/>
                  </a:lnTo>
                  <a:lnTo>
                    <a:pt x="301" y="156"/>
                  </a:lnTo>
                  <a:lnTo>
                    <a:pt x="301" y="157"/>
                  </a:lnTo>
                  <a:lnTo>
                    <a:pt x="302" y="157"/>
                  </a:lnTo>
                  <a:lnTo>
                    <a:pt x="306" y="159"/>
                  </a:lnTo>
                  <a:lnTo>
                    <a:pt x="307" y="159"/>
                  </a:lnTo>
                  <a:lnTo>
                    <a:pt x="309" y="160"/>
                  </a:lnTo>
                  <a:lnTo>
                    <a:pt x="310" y="160"/>
                  </a:lnTo>
                  <a:lnTo>
                    <a:pt x="310" y="160"/>
                  </a:lnTo>
                  <a:lnTo>
                    <a:pt x="311" y="161"/>
                  </a:lnTo>
                  <a:lnTo>
                    <a:pt x="311" y="161"/>
                  </a:lnTo>
                  <a:lnTo>
                    <a:pt x="311" y="162"/>
                  </a:lnTo>
                  <a:lnTo>
                    <a:pt x="311" y="162"/>
                  </a:lnTo>
                  <a:lnTo>
                    <a:pt x="311" y="163"/>
                  </a:lnTo>
                  <a:lnTo>
                    <a:pt x="311" y="163"/>
                  </a:lnTo>
                  <a:lnTo>
                    <a:pt x="311" y="164"/>
                  </a:lnTo>
                  <a:lnTo>
                    <a:pt x="311" y="165"/>
                  </a:lnTo>
                  <a:lnTo>
                    <a:pt x="311" y="166"/>
                  </a:lnTo>
                  <a:lnTo>
                    <a:pt x="311" y="166"/>
                  </a:lnTo>
                  <a:lnTo>
                    <a:pt x="311" y="167"/>
                  </a:lnTo>
                  <a:lnTo>
                    <a:pt x="310" y="167"/>
                  </a:lnTo>
                  <a:lnTo>
                    <a:pt x="310" y="167"/>
                  </a:lnTo>
                  <a:lnTo>
                    <a:pt x="309" y="168"/>
                  </a:lnTo>
                  <a:lnTo>
                    <a:pt x="308" y="168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70"/>
                  </a:lnTo>
                  <a:lnTo>
                    <a:pt x="309" y="170"/>
                  </a:lnTo>
                  <a:lnTo>
                    <a:pt x="310" y="170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2" y="171"/>
                  </a:lnTo>
                  <a:lnTo>
                    <a:pt x="315" y="171"/>
                  </a:lnTo>
                  <a:lnTo>
                    <a:pt x="316" y="171"/>
                  </a:lnTo>
                  <a:lnTo>
                    <a:pt x="316" y="172"/>
                  </a:lnTo>
                  <a:lnTo>
                    <a:pt x="317" y="172"/>
                  </a:lnTo>
                  <a:lnTo>
                    <a:pt x="318" y="172"/>
                  </a:lnTo>
                  <a:lnTo>
                    <a:pt x="318" y="172"/>
                  </a:lnTo>
                  <a:lnTo>
                    <a:pt x="319" y="173"/>
                  </a:lnTo>
                  <a:lnTo>
                    <a:pt x="320" y="173"/>
                  </a:lnTo>
                  <a:lnTo>
                    <a:pt x="321" y="175"/>
                  </a:lnTo>
                  <a:lnTo>
                    <a:pt x="322" y="176"/>
                  </a:lnTo>
                  <a:lnTo>
                    <a:pt x="324" y="178"/>
                  </a:lnTo>
                  <a:lnTo>
                    <a:pt x="325" y="179"/>
                  </a:lnTo>
                  <a:lnTo>
                    <a:pt x="325" y="180"/>
                  </a:lnTo>
                  <a:lnTo>
                    <a:pt x="325" y="180"/>
                  </a:lnTo>
                  <a:lnTo>
                    <a:pt x="326" y="180"/>
                  </a:lnTo>
                  <a:lnTo>
                    <a:pt x="327" y="181"/>
                  </a:lnTo>
                  <a:lnTo>
                    <a:pt x="328" y="181"/>
                  </a:lnTo>
                  <a:lnTo>
                    <a:pt x="329" y="181"/>
                  </a:lnTo>
                  <a:lnTo>
                    <a:pt x="330" y="182"/>
                  </a:lnTo>
                  <a:lnTo>
                    <a:pt x="331" y="182"/>
                  </a:lnTo>
                  <a:lnTo>
                    <a:pt x="332" y="181"/>
                  </a:lnTo>
                  <a:lnTo>
                    <a:pt x="333" y="181"/>
                  </a:lnTo>
                  <a:lnTo>
                    <a:pt x="334" y="181"/>
                  </a:lnTo>
                  <a:lnTo>
                    <a:pt x="335" y="180"/>
                  </a:lnTo>
                  <a:lnTo>
                    <a:pt x="338" y="179"/>
                  </a:lnTo>
                  <a:lnTo>
                    <a:pt x="339" y="179"/>
                  </a:lnTo>
                  <a:lnTo>
                    <a:pt x="340" y="178"/>
                  </a:lnTo>
                  <a:lnTo>
                    <a:pt x="340" y="178"/>
                  </a:lnTo>
                  <a:lnTo>
                    <a:pt x="341" y="178"/>
                  </a:lnTo>
                  <a:lnTo>
                    <a:pt x="341" y="178"/>
                  </a:lnTo>
                  <a:lnTo>
                    <a:pt x="342" y="178"/>
                  </a:lnTo>
                  <a:lnTo>
                    <a:pt x="343" y="178"/>
                  </a:lnTo>
                  <a:lnTo>
                    <a:pt x="348" y="180"/>
                  </a:lnTo>
                  <a:lnTo>
                    <a:pt x="351" y="181"/>
                  </a:lnTo>
                  <a:lnTo>
                    <a:pt x="354" y="182"/>
                  </a:lnTo>
                  <a:lnTo>
                    <a:pt x="355" y="182"/>
                  </a:lnTo>
                  <a:lnTo>
                    <a:pt x="356" y="183"/>
                  </a:lnTo>
                  <a:lnTo>
                    <a:pt x="357" y="184"/>
                  </a:lnTo>
                  <a:lnTo>
                    <a:pt x="357" y="184"/>
                  </a:lnTo>
                  <a:lnTo>
                    <a:pt x="359" y="185"/>
                  </a:lnTo>
                  <a:lnTo>
                    <a:pt x="359" y="186"/>
                  </a:lnTo>
                  <a:lnTo>
                    <a:pt x="359" y="186"/>
                  </a:lnTo>
                  <a:lnTo>
                    <a:pt x="360" y="186"/>
                  </a:lnTo>
                  <a:lnTo>
                    <a:pt x="361" y="186"/>
                  </a:lnTo>
                  <a:lnTo>
                    <a:pt x="361" y="186"/>
                  </a:lnTo>
                  <a:lnTo>
                    <a:pt x="365" y="186"/>
                  </a:lnTo>
                  <a:lnTo>
                    <a:pt x="366" y="185"/>
                  </a:lnTo>
                  <a:lnTo>
                    <a:pt x="369" y="185"/>
                  </a:lnTo>
                  <a:lnTo>
                    <a:pt x="370" y="185"/>
                  </a:lnTo>
                  <a:lnTo>
                    <a:pt x="371" y="185"/>
                  </a:lnTo>
                  <a:lnTo>
                    <a:pt x="374" y="184"/>
                  </a:lnTo>
                  <a:lnTo>
                    <a:pt x="377" y="184"/>
                  </a:lnTo>
                  <a:lnTo>
                    <a:pt x="378" y="184"/>
                  </a:lnTo>
                  <a:lnTo>
                    <a:pt x="379" y="184"/>
                  </a:lnTo>
                  <a:lnTo>
                    <a:pt x="380" y="184"/>
                  </a:lnTo>
                  <a:lnTo>
                    <a:pt x="381" y="184"/>
                  </a:lnTo>
                  <a:lnTo>
                    <a:pt x="382" y="184"/>
                  </a:lnTo>
                  <a:lnTo>
                    <a:pt x="382" y="185"/>
                  </a:lnTo>
                  <a:lnTo>
                    <a:pt x="383" y="185"/>
                  </a:lnTo>
                  <a:lnTo>
                    <a:pt x="383" y="185"/>
                  </a:lnTo>
                  <a:lnTo>
                    <a:pt x="384" y="186"/>
                  </a:lnTo>
                  <a:lnTo>
                    <a:pt x="384" y="186"/>
                  </a:lnTo>
                  <a:lnTo>
                    <a:pt x="385" y="187"/>
                  </a:lnTo>
                  <a:lnTo>
                    <a:pt x="385" y="188"/>
                  </a:lnTo>
                  <a:lnTo>
                    <a:pt x="386" y="189"/>
                  </a:lnTo>
                  <a:lnTo>
                    <a:pt x="386" y="190"/>
                  </a:lnTo>
                  <a:lnTo>
                    <a:pt x="386" y="192"/>
                  </a:lnTo>
                  <a:lnTo>
                    <a:pt x="386" y="193"/>
                  </a:lnTo>
                  <a:lnTo>
                    <a:pt x="387" y="194"/>
                  </a:lnTo>
                  <a:lnTo>
                    <a:pt x="387" y="195"/>
                  </a:lnTo>
                  <a:lnTo>
                    <a:pt x="387" y="196"/>
                  </a:lnTo>
                  <a:lnTo>
                    <a:pt x="386" y="198"/>
                  </a:lnTo>
                  <a:lnTo>
                    <a:pt x="386" y="201"/>
                  </a:lnTo>
                  <a:lnTo>
                    <a:pt x="386" y="202"/>
                  </a:lnTo>
                  <a:lnTo>
                    <a:pt x="386" y="204"/>
                  </a:lnTo>
                  <a:lnTo>
                    <a:pt x="386" y="205"/>
                  </a:lnTo>
                  <a:lnTo>
                    <a:pt x="386" y="206"/>
                  </a:lnTo>
                  <a:lnTo>
                    <a:pt x="386" y="208"/>
                  </a:lnTo>
                  <a:lnTo>
                    <a:pt x="387" y="209"/>
                  </a:lnTo>
                  <a:lnTo>
                    <a:pt x="388" y="210"/>
                  </a:lnTo>
                  <a:lnTo>
                    <a:pt x="388" y="211"/>
                  </a:lnTo>
                  <a:lnTo>
                    <a:pt x="389" y="212"/>
                  </a:lnTo>
                  <a:lnTo>
                    <a:pt x="389" y="212"/>
                  </a:lnTo>
                  <a:lnTo>
                    <a:pt x="391" y="214"/>
                  </a:lnTo>
                  <a:lnTo>
                    <a:pt x="392" y="215"/>
                  </a:lnTo>
                  <a:lnTo>
                    <a:pt x="395" y="217"/>
                  </a:lnTo>
                  <a:lnTo>
                    <a:pt x="398" y="219"/>
                  </a:lnTo>
                  <a:lnTo>
                    <a:pt x="398" y="220"/>
                  </a:lnTo>
                  <a:lnTo>
                    <a:pt x="400" y="221"/>
                  </a:lnTo>
                  <a:lnTo>
                    <a:pt x="402" y="222"/>
                  </a:lnTo>
                  <a:lnTo>
                    <a:pt x="406" y="225"/>
                  </a:lnTo>
                  <a:lnTo>
                    <a:pt x="409" y="226"/>
                  </a:lnTo>
                  <a:lnTo>
                    <a:pt x="409" y="227"/>
                  </a:lnTo>
                  <a:lnTo>
                    <a:pt x="410" y="227"/>
                  </a:lnTo>
                  <a:lnTo>
                    <a:pt x="410" y="227"/>
                  </a:lnTo>
                  <a:lnTo>
                    <a:pt x="411" y="227"/>
                  </a:lnTo>
                  <a:lnTo>
                    <a:pt x="411" y="227"/>
                  </a:lnTo>
                  <a:lnTo>
                    <a:pt x="411" y="226"/>
                  </a:lnTo>
                  <a:lnTo>
                    <a:pt x="413" y="226"/>
                  </a:lnTo>
                  <a:lnTo>
                    <a:pt x="414" y="226"/>
                  </a:lnTo>
                  <a:lnTo>
                    <a:pt x="415" y="225"/>
                  </a:lnTo>
                  <a:lnTo>
                    <a:pt x="416" y="225"/>
                  </a:lnTo>
                  <a:lnTo>
                    <a:pt x="416" y="225"/>
                  </a:lnTo>
                  <a:lnTo>
                    <a:pt x="417" y="226"/>
                  </a:lnTo>
                  <a:lnTo>
                    <a:pt x="418" y="226"/>
                  </a:lnTo>
                  <a:lnTo>
                    <a:pt x="421" y="227"/>
                  </a:lnTo>
                  <a:lnTo>
                    <a:pt x="422" y="227"/>
                  </a:lnTo>
                  <a:lnTo>
                    <a:pt x="423" y="227"/>
                  </a:lnTo>
                  <a:lnTo>
                    <a:pt x="425" y="227"/>
                  </a:lnTo>
                  <a:lnTo>
                    <a:pt x="427" y="227"/>
                  </a:lnTo>
                  <a:lnTo>
                    <a:pt x="429" y="227"/>
                  </a:lnTo>
                  <a:lnTo>
                    <a:pt x="431" y="227"/>
                  </a:lnTo>
                  <a:lnTo>
                    <a:pt x="432" y="227"/>
                  </a:lnTo>
                  <a:lnTo>
                    <a:pt x="433" y="227"/>
                  </a:lnTo>
                  <a:lnTo>
                    <a:pt x="434" y="226"/>
                  </a:lnTo>
                  <a:lnTo>
                    <a:pt x="437" y="225"/>
                  </a:lnTo>
                  <a:lnTo>
                    <a:pt x="438" y="225"/>
                  </a:lnTo>
                  <a:lnTo>
                    <a:pt x="440" y="225"/>
                  </a:lnTo>
                  <a:lnTo>
                    <a:pt x="442" y="224"/>
                  </a:lnTo>
                  <a:lnTo>
                    <a:pt x="443" y="224"/>
                  </a:lnTo>
                  <a:lnTo>
                    <a:pt x="443" y="224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6" y="223"/>
                  </a:lnTo>
                  <a:lnTo>
                    <a:pt x="446" y="223"/>
                  </a:lnTo>
                  <a:lnTo>
                    <a:pt x="447" y="223"/>
                  </a:lnTo>
                  <a:lnTo>
                    <a:pt x="447" y="223"/>
                  </a:lnTo>
                  <a:lnTo>
                    <a:pt x="448" y="223"/>
                  </a:lnTo>
                  <a:lnTo>
                    <a:pt x="448" y="223"/>
                  </a:lnTo>
                  <a:lnTo>
                    <a:pt x="449" y="224"/>
                  </a:lnTo>
                  <a:lnTo>
                    <a:pt x="450" y="224"/>
                  </a:lnTo>
                  <a:lnTo>
                    <a:pt x="451" y="225"/>
                  </a:lnTo>
                  <a:lnTo>
                    <a:pt x="451" y="225"/>
                  </a:lnTo>
                  <a:lnTo>
                    <a:pt x="452" y="225"/>
                  </a:lnTo>
                  <a:lnTo>
                    <a:pt x="452" y="226"/>
                  </a:lnTo>
                  <a:lnTo>
                    <a:pt x="452" y="227"/>
                  </a:lnTo>
                  <a:lnTo>
                    <a:pt x="452" y="227"/>
                  </a:lnTo>
                  <a:lnTo>
                    <a:pt x="453" y="228"/>
                  </a:lnTo>
                  <a:lnTo>
                    <a:pt x="452" y="228"/>
                  </a:lnTo>
                  <a:lnTo>
                    <a:pt x="452" y="229"/>
                  </a:lnTo>
                  <a:lnTo>
                    <a:pt x="452" y="230"/>
                  </a:lnTo>
                  <a:lnTo>
                    <a:pt x="452" y="230"/>
                  </a:lnTo>
                  <a:lnTo>
                    <a:pt x="452" y="231"/>
                  </a:lnTo>
                  <a:lnTo>
                    <a:pt x="452" y="231"/>
                  </a:lnTo>
                  <a:lnTo>
                    <a:pt x="453" y="232"/>
                  </a:lnTo>
                  <a:lnTo>
                    <a:pt x="453" y="232"/>
                  </a:lnTo>
                  <a:lnTo>
                    <a:pt x="454" y="233"/>
                  </a:lnTo>
                  <a:lnTo>
                    <a:pt x="454" y="234"/>
                  </a:lnTo>
                  <a:lnTo>
                    <a:pt x="456" y="234"/>
                  </a:lnTo>
                  <a:lnTo>
                    <a:pt x="457" y="236"/>
                  </a:lnTo>
                  <a:lnTo>
                    <a:pt x="458" y="236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61" y="240"/>
                  </a:lnTo>
                  <a:lnTo>
                    <a:pt x="462" y="241"/>
                  </a:lnTo>
                  <a:lnTo>
                    <a:pt x="462" y="242"/>
                  </a:lnTo>
                  <a:lnTo>
                    <a:pt x="462" y="243"/>
                  </a:lnTo>
                  <a:lnTo>
                    <a:pt x="462" y="243"/>
                  </a:lnTo>
                  <a:lnTo>
                    <a:pt x="462" y="244"/>
                  </a:lnTo>
                  <a:lnTo>
                    <a:pt x="462" y="245"/>
                  </a:lnTo>
                  <a:lnTo>
                    <a:pt x="462" y="246"/>
                  </a:lnTo>
                  <a:lnTo>
                    <a:pt x="461" y="247"/>
                  </a:lnTo>
                  <a:lnTo>
                    <a:pt x="461" y="247"/>
                  </a:lnTo>
                  <a:lnTo>
                    <a:pt x="461" y="248"/>
                  </a:lnTo>
                  <a:lnTo>
                    <a:pt x="460" y="248"/>
                  </a:lnTo>
                  <a:lnTo>
                    <a:pt x="460" y="248"/>
                  </a:lnTo>
                  <a:lnTo>
                    <a:pt x="459" y="249"/>
                  </a:lnTo>
                  <a:lnTo>
                    <a:pt x="458" y="249"/>
                  </a:lnTo>
                  <a:lnTo>
                    <a:pt x="456" y="250"/>
                  </a:lnTo>
                  <a:lnTo>
                    <a:pt x="453" y="250"/>
                  </a:lnTo>
                  <a:lnTo>
                    <a:pt x="452" y="250"/>
                  </a:lnTo>
                  <a:lnTo>
                    <a:pt x="452" y="251"/>
                  </a:lnTo>
                  <a:lnTo>
                    <a:pt x="452" y="251"/>
                  </a:lnTo>
                  <a:lnTo>
                    <a:pt x="451" y="251"/>
                  </a:lnTo>
                  <a:lnTo>
                    <a:pt x="451" y="252"/>
                  </a:lnTo>
                  <a:lnTo>
                    <a:pt x="450" y="253"/>
                  </a:lnTo>
                  <a:lnTo>
                    <a:pt x="449" y="254"/>
                  </a:lnTo>
                  <a:lnTo>
                    <a:pt x="448" y="256"/>
                  </a:lnTo>
                  <a:lnTo>
                    <a:pt x="448" y="257"/>
                  </a:lnTo>
                  <a:lnTo>
                    <a:pt x="447" y="258"/>
                  </a:lnTo>
                  <a:lnTo>
                    <a:pt x="447" y="259"/>
                  </a:lnTo>
                  <a:lnTo>
                    <a:pt x="447" y="261"/>
                  </a:lnTo>
                  <a:lnTo>
                    <a:pt x="446" y="262"/>
                  </a:lnTo>
                  <a:lnTo>
                    <a:pt x="446" y="262"/>
                  </a:lnTo>
                  <a:lnTo>
                    <a:pt x="446" y="263"/>
                  </a:lnTo>
                  <a:lnTo>
                    <a:pt x="446" y="264"/>
                  </a:lnTo>
                  <a:lnTo>
                    <a:pt x="444" y="266"/>
                  </a:lnTo>
                  <a:lnTo>
                    <a:pt x="443" y="267"/>
                  </a:lnTo>
                  <a:lnTo>
                    <a:pt x="443" y="268"/>
                  </a:lnTo>
                  <a:lnTo>
                    <a:pt x="442" y="270"/>
                  </a:lnTo>
                  <a:lnTo>
                    <a:pt x="442" y="271"/>
                  </a:lnTo>
                  <a:lnTo>
                    <a:pt x="441" y="272"/>
                  </a:lnTo>
                  <a:lnTo>
                    <a:pt x="441" y="273"/>
                  </a:lnTo>
                  <a:lnTo>
                    <a:pt x="440" y="273"/>
                  </a:lnTo>
                  <a:lnTo>
                    <a:pt x="438" y="276"/>
                  </a:lnTo>
                  <a:lnTo>
                    <a:pt x="437" y="277"/>
                  </a:lnTo>
                  <a:lnTo>
                    <a:pt x="436" y="278"/>
                  </a:lnTo>
                  <a:lnTo>
                    <a:pt x="435" y="279"/>
                  </a:lnTo>
                  <a:lnTo>
                    <a:pt x="434" y="281"/>
                  </a:lnTo>
                  <a:lnTo>
                    <a:pt x="433" y="282"/>
                  </a:lnTo>
                  <a:lnTo>
                    <a:pt x="432" y="283"/>
                  </a:lnTo>
                  <a:lnTo>
                    <a:pt x="432" y="283"/>
                  </a:lnTo>
                  <a:lnTo>
                    <a:pt x="432" y="284"/>
                  </a:lnTo>
                  <a:lnTo>
                    <a:pt x="432" y="284"/>
                  </a:lnTo>
                  <a:lnTo>
                    <a:pt x="432" y="285"/>
                  </a:lnTo>
                  <a:lnTo>
                    <a:pt x="432" y="285"/>
                  </a:lnTo>
                  <a:lnTo>
                    <a:pt x="432" y="286"/>
                  </a:lnTo>
                  <a:lnTo>
                    <a:pt x="433" y="286"/>
                  </a:lnTo>
                  <a:lnTo>
                    <a:pt x="433" y="286"/>
                  </a:lnTo>
                  <a:lnTo>
                    <a:pt x="433" y="286"/>
                  </a:lnTo>
                  <a:lnTo>
                    <a:pt x="434" y="286"/>
                  </a:lnTo>
                  <a:lnTo>
                    <a:pt x="436" y="287"/>
                  </a:lnTo>
                  <a:lnTo>
                    <a:pt x="437" y="287"/>
                  </a:lnTo>
                  <a:lnTo>
                    <a:pt x="437" y="287"/>
                  </a:lnTo>
                  <a:lnTo>
                    <a:pt x="438" y="287"/>
                  </a:lnTo>
                  <a:lnTo>
                    <a:pt x="439" y="287"/>
                  </a:lnTo>
                  <a:lnTo>
                    <a:pt x="439" y="287"/>
                  </a:lnTo>
                  <a:lnTo>
                    <a:pt x="440" y="288"/>
                  </a:lnTo>
                  <a:lnTo>
                    <a:pt x="440" y="289"/>
                  </a:lnTo>
                  <a:lnTo>
                    <a:pt x="441" y="289"/>
                  </a:lnTo>
                  <a:lnTo>
                    <a:pt x="442" y="292"/>
                  </a:lnTo>
                  <a:lnTo>
                    <a:pt x="442" y="292"/>
                  </a:lnTo>
                  <a:lnTo>
                    <a:pt x="443" y="293"/>
                  </a:lnTo>
                  <a:lnTo>
                    <a:pt x="444" y="294"/>
                  </a:lnTo>
                  <a:lnTo>
                    <a:pt x="445" y="295"/>
                  </a:lnTo>
                  <a:lnTo>
                    <a:pt x="446" y="295"/>
                  </a:lnTo>
                  <a:lnTo>
                    <a:pt x="447" y="296"/>
                  </a:lnTo>
                  <a:lnTo>
                    <a:pt x="449" y="297"/>
                  </a:lnTo>
                  <a:lnTo>
                    <a:pt x="451" y="297"/>
                  </a:lnTo>
                  <a:lnTo>
                    <a:pt x="452" y="298"/>
                  </a:lnTo>
                  <a:lnTo>
                    <a:pt x="453" y="299"/>
                  </a:lnTo>
                  <a:lnTo>
                    <a:pt x="455" y="300"/>
                  </a:lnTo>
                  <a:lnTo>
                    <a:pt x="456" y="301"/>
                  </a:lnTo>
                  <a:lnTo>
                    <a:pt x="456" y="301"/>
                  </a:lnTo>
                  <a:lnTo>
                    <a:pt x="457" y="302"/>
                  </a:lnTo>
                  <a:lnTo>
                    <a:pt x="457" y="303"/>
                  </a:lnTo>
                  <a:lnTo>
                    <a:pt x="458" y="303"/>
                  </a:lnTo>
                  <a:lnTo>
                    <a:pt x="458" y="304"/>
                  </a:lnTo>
                  <a:lnTo>
                    <a:pt x="459" y="306"/>
                  </a:lnTo>
                  <a:lnTo>
                    <a:pt x="460" y="307"/>
                  </a:lnTo>
                  <a:lnTo>
                    <a:pt x="460" y="308"/>
                  </a:lnTo>
                  <a:lnTo>
                    <a:pt x="460" y="308"/>
                  </a:lnTo>
                  <a:lnTo>
                    <a:pt x="460" y="309"/>
                  </a:lnTo>
                  <a:lnTo>
                    <a:pt x="458" y="310"/>
                  </a:lnTo>
                  <a:lnTo>
                    <a:pt x="458" y="311"/>
                  </a:lnTo>
                  <a:lnTo>
                    <a:pt x="458" y="311"/>
                  </a:lnTo>
                  <a:lnTo>
                    <a:pt x="457" y="311"/>
                  </a:lnTo>
                  <a:lnTo>
                    <a:pt x="457" y="311"/>
                  </a:lnTo>
                  <a:lnTo>
                    <a:pt x="456" y="311"/>
                  </a:lnTo>
                  <a:lnTo>
                    <a:pt x="455" y="311"/>
                  </a:lnTo>
                  <a:lnTo>
                    <a:pt x="455" y="312"/>
                  </a:lnTo>
                  <a:lnTo>
                    <a:pt x="455" y="312"/>
                  </a:lnTo>
                  <a:lnTo>
                    <a:pt x="455" y="313"/>
                  </a:lnTo>
                  <a:lnTo>
                    <a:pt x="455" y="313"/>
                  </a:lnTo>
                  <a:lnTo>
                    <a:pt x="455" y="314"/>
                  </a:lnTo>
                  <a:lnTo>
                    <a:pt x="454" y="315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7"/>
                  </a:lnTo>
                  <a:lnTo>
                    <a:pt x="454" y="317"/>
                  </a:lnTo>
                  <a:lnTo>
                    <a:pt x="454" y="317"/>
                  </a:lnTo>
                  <a:lnTo>
                    <a:pt x="453" y="317"/>
                  </a:lnTo>
                  <a:lnTo>
                    <a:pt x="453" y="318"/>
                  </a:lnTo>
                  <a:lnTo>
                    <a:pt x="452" y="319"/>
                  </a:lnTo>
                  <a:lnTo>
                    <a:pt x="451" y="319"/>
                  </a:lnTo>
                  <a:lnTo>
                    <a:pt x="451" y="319"/>
                  </a:lnTo>
                  <a:lnTo>
                    <a:pt x="450" y="320"/>
                  </a:lnTo>
                  <a:lnTo>
                    <a:pt x="450" y="320"/>
                  </a:lnTo>
                  <a:lnTo>
                    <a:pt x="449" y="320"/>
                  </a:lnTo>
                  <a:lnTo>
                    <a:pt x="449" y="321"/>
                  </a:lnTo>
                  <a:lnTo>
                    <a:pt x="448" y="324"/>
                  </a:lnTo>
                  <a:lnTo>
                    <a:pt x="447" y="326"/>
                  </a:lnTo>
                  <a:lnTo>
                    <a:pt x="447" y="326"/>
                  </a:lnTo>
                  <a:lnTo>
                    <a:pt x="446" y="326"/>
                  </a:lnTo>
                  <a:lnTo>
                    <a:pt x="446" y="326"/>
                  </a:lnTo>
                  <a:lnTo>
                    <a:pt x="445" y="326"/>
                  </a:lnTo>
                  <a:lnTo>
                    <a:pt x="444" y="325"/>
                  </a:lnTo>
                  <a:lnTo>
                    <a:pt x="442" y="324"/>
                  </a:lnTo>
                  <a:lnTo>
                    <a:pt x="441" y="323"/>
                  </a:lnTo>
                  <a:lnTo>
                    <a:pt x="439" y="321"/>
                  </a:lnTo>
                  <a:lnTo>
                    <a:pt x="438" y="320"/>
                  </a:lnTo>
                  <a:lnTo>
                    <a:pt x="437" y="319"/>
                  </a:lnTo>
                  <a:lnTo>
                    <a:pt x="434" y="315"/>
                  </a:lnTo>
                  <a:lnTo>
                    <a:pt x="433" y="314"/>
                  </a:lnTo>
                  <a:lnTo>
                    <a:pt x="432" y="313"/>
                  </a:lnTo>
                  <a:lnTo>
                    <a:pt x="431" y="312"/>
                  </a:lnTo>
                  <a:lnTo>
                    <a:pt x="430" y="311"/>
                  </a:lnTo>
                  <a:lnTo>
                    <a:pt x="428" y="310"/>
                  </a:lnTo>
                  <a:lnTo>
                    <a:pt x="427" y="310"/>
                  </a:lnTo>
                  <a:lnTo>
                    <a:pt x="426" y="309"/>
                  </a:lnTo>
                  <a:lnTo>
                    <a:pt x="425" y="309"/>
                  </a:lnTo>
                  <a:lnTo>
                    <a:pt x="424" y="308"/>
                  </a:lnTo>
                  <a:lnTo>
                    <a:pt x="423" y="308"/>
                  </a:lnTo>
                  <a:lnTo>
                    <a:pt x="421" y="308"/>
                  </a:lnTo>
                  <a:lnTo>
                    <a:pt x="420" y="307"/>
                  </a:lnTo>
                  <a:lnTo>
                    <a:pt x="415" y="307"/>
                  </a:lnTo>
                  <a:lnTo>
                    <a:pt x="414" y="306"/>
                  </a:lnTo>
                  <a:lnTo>
                    <a:pt x="413" y="306"/>
                  </a:lnTo>
                  <a:lnTo>
                    <a:pt x="412" y="305"/>
                  </a:lnTo>
                  <a:lnTo>
                    <a:pt x="411" y="305"/>
                  </a:lnTo>
                  <a:lnTo>
                    <a:pt x="410" y="304"/>
                  </a:lnTo>
                  <a:lnTo>
                    <a:pt x="409" y="304"/>
                  </a:lnTo>
                  <a:lnTo>
                    <a:pt x="407" y="302"/>
                  </a:lnTo>
                  <a:lnTo>
                    <a:pt x="402" y="300"/>
                  </a:lnTo>
                  <a:lnTo>
                    <a:pt x="398" y="297"/>
                  </a:lnTo>
                  <a:lnTo>
                    <a:pt x="397" y="296"/>
                  </a:lnTo>
                  <a:lnTo>
                    <a:pt x="396" y="295"/>
                  </a:lnTo>
                  <a:lnTo>
                    <a:pt x="394" y="294"/>
                  </a:lnTo>
                  <a:lnTo>
                    <a:pt x="392" y="293"/>
                  </a:lnTo>
                  <a:lnTo>
                    <a:pt x="390" y="293"/>
                  </a:lnTo>
                  <a:lnTo>
                    <a:pt x="389" y="293"/>
                  </a:lnTo>
                  <a:lnTo>
                    <a:pt x="388" y="292"/>
                  </a:lnTo>
                  <a:lnTo>
                    <a:pt x="387" y="292"/>
                  </a:lnTo>
                  <a:lnTo>
                    <a:pt x="385" y="292"/>
                  </a:lnTo>
                  <a:lnTo>
                    <a:pt x="383" y="292"/>
                  </a:lnTo>
                  <a:lnTo>
                    <a:pt x="380" y="293"/>
                  </a:lnTo>
                  <a:lnTo>
                    <a:pt x="379" y="293"/>
                  </a:lnTo>
                  <a:lnTo>
                    <a:pt x="378" y="293"/>
                  </a:lnTo>
                  <a:lnTo>
                    <a:pt x="377" y="292"/>
                  </a:lnTo>
                  <a:lnTo>
                    <a:pt x="375" y="292"/>
                  </a:lnTo>
                  <a:lnTo>
                    <a:pt x="374" y="292"/>
                  </a:lnTo>
                  <a:lnTo>
                    <a:pt x="374" y="292"/>
                  </a:lnTo>
                  <a:lnTo>
                    <a:pt x="372" y="291"/>
                  </a:lnTo>
                  <a:lnTo>
                    <a:pt x="370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8" y="290"/>
                  </a:lnTo>
                  <a:lnTo>
                    <a:pt x="368" y="290"/>
                  </a:lnTo>
                  <a:lnTo>
                    <a:pt x="367" y="290"/>
                  </a:lnTo>
                  <a:lnTo>
                    <a:pt x="367" y="291"/>
                  </a:lnTo>
                  <a:lnTo>
                    <a:pt x="367" y="291"/>
                  </a:lnTo>
                  <a:lnTo>
                    <a:pt x="366" y="292"/>
                  </a:lnTo>
                  <a:lnTo>
                    <a:pt x="366" y="295"/>
                  </a:lnTo>
                  <a:lnTo>
                    <a:pt x="365" y="296"/>
                  </a:lnTo>
                  <a:lnTo>
                    <a:pt x="364" y="298"/>
                  </a:lnTo>
                  <a:lnTo>
                    <a:pt x="363" y="300"/>
                  </a:lnTo>
                  <a:lnTo>
                    <a:pt x="362" y="301"/>
                  </a:lnTo>
                  <a:lnTo>
                    <a:pt x="362" y="302"/>
                  </a:lnTo>
                  <a:lnTo>
                    <a:pt x="361" y="302"/>
                  </a:lnTo>
                  <a:lnTo>
                    <a:pt x="360" y="303"/>
                  </a:lnTo>
                  <a:lnTo>
                    <a:pt x="360" y="303"/>
                  </a:lnTo>
                  <a:lnTo>
                    <a:pt x="359" y="303"/>
                  </a:lnTo>
                  <a:lnTo>
                    <a:pt x="359" y="304"/>
                  </a:lnTo>
                  <a:lnTo>
                    <a:pt x="357" y="304"/>
                  </a:lnTo>
                  <a:lnTo>
                    <a:pt x="355" y="304"/>
                  </a:lnTo>
                  <a:lnTo>
                    <a:pt x="352" y="304"/>
                  </a:lnTo>
                  <a:lnTo>
                    <a:pt x="351" y="304"/>
                  </a:lnTo>
                  <a:lnTo>
                    <a:pt x="349" y="305"/>
                  </a:lnTo>
                  <a:lnTo>
                    <a:pt x="348" y="305"/>
                  </a:lnTo>
                  <a:lnTo>
                    <a:pt x="346" y="306"/>
                  </a:lnTo>
                  <a:lnTo>
                    <a:pt x="344" y="307"/>
                  </a:lnTo>
                  <a:lnTo>
                    <a:pt x="341" y="308"/>
                  </a:lnTo>
                  <a:lnTo>
                    <a:pt x="340" y="309"/>
                  </a:lnTo>
                  <a:lnTo>
                    <a:pt x="339" y="309"/>
                  </a:lnTo>
                  <a:lnTo>
                    <a:pt x="338" y="309"/>
                  </a:lnTo>
                  <a:lnTo>
                    <a:pt x="337" y="309"/>
                  </a:lnTo>
                  <a:lnTo>
                    <a:pt x="335" y="309"/>
                  </a:lnTo>
                  <a:lnTo>
                    <a:pt x="334" y="309"/>
                  </a:lnTo>
                  <a:lnTo>
                    <a:pt x="334" y="309"/>
                  </a:lnTo>
                  <a:lnTo>
                    <a:pt x="333" y="309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2" y="308"/>
                  </a:lnTo>
                  <a:lnTo>
                    <a:pt x="331" y="308"/>
                  </a:lnTo>
                  <a:lnTo>
                    <a:pt x="331" y="308"/>
                  </a:lnTo>
                  <a:lnTo>
                    <a:pt x="331" y="307"/>
                  </a:lnTo>
                  <a:lnTo>
                    <a:pt x="331" y="307"/>
                  </a:lnTo>
                  <a:lnTo>
                    <a:pt x="331" y="306"/>
                  </a:lnTo>
                  <a:lnTo>
                    <a:pt x="331" y="302"/>
                  </a:lnTo>
                  <a:lnTo>
                    <a:pt x="331" y="302"/>
                  </a:lnTo>
                  <a:lnTo>
                    <a:pt x="331" y="301"/>
                  </a:lnTo>
                  <a:lnTo>
                    <a:pt x="331" y="300"/>
                  </a:lnTo>
                  <a:lnTo>
                    <a:pt x="331" y="299"/>
                  </a:lnTo>
                  <a:lnTo>
                    <a:pt x="330" y="297"/>
                  </a:lnTo>
                  <a:lnTo>
                    <a:pt x="330" y="296"/>
                  </a:lnTo>
                  <a:lnTo>
                    <a:pt x="329" y="293"/>
                  </a:lnTo>
                  <a:lnTo>
                    <a:pt x="329" y="291"/>
                  </a:lnTo>
                  <a:lnTo>
                    <a:pt x="328" y="290"/>
                  </a:lnTo>
                  <a:lnTo>
                    <a:pt x="328" y="290"/>
                  </a:lnTo>
                  <a:lnTo>
                    <a:pt x="328" y="289"/>
                  </a:lnTo>
                  <a:lnTo>
                    <a:pt x="327" y="288"/>
                  </a:lnTo>
                  <a:lnTo>
                    <a:pt x="326" y="288"/>
                  </a:lnTo>
                  <a:lnTo>
                    <a:pt x="325" y="287"/>
                  </a:lnTo>
                  <a:lnTo>
                    <a:pt x="325" y="287"/>
                  </a:lnTo>
                  <a:lnTo>
                    <a:pt x="323" y="286"/>
                  </a:lnTo>
                  <a:lnTo>
                    <a:pt x="322" y="286"/>
                  </a:lnTo>
                  <a:lnTo>
                    <a:pt x="321" y="286"/>
                  </a:lnTo>
                  <a:lnTo>
                    <a:pt x="319" y="285"/>
                  </a:lnTo>
                  <a:lnTo>
                    <a:pt x="317" y="285"/>
                  </a:lnTo>
                  <a:lnTo>
                    <a:pt x="316" y="285"/>
                  </a:lnTo>
                  <a:lnTo>
                    <a:pt x="313" y="285"/>
                  </a:lnTo>
                  <a:lnTo>
                    <a:pt x="311" y="285"/>
                  </a:lnTo>
                  <a:lnTo>
                    <a:pt x="310" y="285"/>
                  </a:lnTo>
                  <a:lnTo>
                    <a:pt x="309" y="285"/>
                  </a:lnTo>
                  <a:lnTo>
                    <a:pt x="308" y="284"/>
                  </a:lnTo>
                  <a:lnTo>
                    <a:pt x="306" y="284"/>
                  </a:lnTo>
                  <a:lnTo>
                    <a:pt x="306" y="284"/>
                  </a:lnTo>
                  <a:lnTo>
                    <a:pt x="305" y="283"/>
                  </a:lnTo>
                  <a:lnTo>
                    <a:pt x="304" y="283"/>
                  </a:lnTo>
                  <a:lnTo>
                    <a:pt x="303" y="283"/>
                  </a:lnTo>
                  <a:lnTo>
                    <a:pt x="302" y="282"/>
                  </a:lnTo>
                  <a:lnTo>
                    <a:pt x="300" y="280"/>
                  </a:lnTo>
                  <a:lnTo>
                    <a:pt x="300" y="280"/>
                  </a:lnTo>
                  <a:lnTo>
                    <a:pt x="299" y="279"/>
                  </a:lnTo>
                  <a:lnTo>
                    <a:pt x="299" y="279"/>
                  </a:lnTo>
                  <a:lnTo>
                    <a:pt x="298" y="279"/>
                  </a:lnTo>
                  <a:lnTo>
                    <a:pt x="297" y="278"/>
                  </a:lnTo>
                  <a:lnTo>
                    <a:pt x="297" y="278"/>
                  </a:lnTo>
                  <a:lnTo>
                    <a:pt x="293" y="278"/>
                  </a:lnTo>
                  <a:lnTo>
                    <a:pt x="290" y="277"/>
                  </a:lnTo>
                  <a:lnTo>
                    <a:pt x="289" y="277"/>
                  </a:lnTo>
                  <a:lnTo>
                    <a:pt x="288" y="277"/>
                  </a:lnTo>
                  <a:lnTo>
                    <a:pt x="287" y="277"/>
                  </a:lnTo>
                  <a:lnTo>
                    <a:pt x="286" y="277"/>
                  </a:lnTo>
                  <a:lnTo>
                    <a:pt x="285" y="277"/>
                  </a:lnTo>
                  <a:lnTo>
                    <a:pt x="284" y="278"/>
                  </a:lnTo>
                  <a:lnTo>
                    <a:pt x="283" y="278"/>
                  </a:lnTo>
                  <a:lnTo>
                    <a:pt x="282" y="279"/>
                  </a:lnTo>
                  <a:lnTo>
                    <a:pt x="282" y="279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1"/>
                  </a:lnTo>
                  <a:lnTo>
                    <a:pt x="280" y="283"/>
                  </a:lnTo>
                  <a:lnTo>
                    <a:pt x="280" y="284"/>
                  </a:lnTo>
                  <a:lnTo>
                    <a:pt x="280" y="286"/>
                  </a:lnTo>
                  <a:lnTo>
                    <a:pt x="279" y="287"/>
                  </a:lnTo>
                  <a:lnTo>
                    <a:pt x="278" y="288"/>
                  </a:lnTo>
                  <a:lnTo>
                    <a:pt x="277" y="290"/>
                  </a:lnTo>
                  <a:lnTo>
                    <a:pt x="277" y="292"/>
                  </a:lnTo>
                  <a:lnTo>
                    <a:pt x="277" y="292"/>
                  </a:lnTo>
                  <a:lnTo>
                    <a:pt x="276" y="294"/>
                  </a:lnTo>
                  <a:lnTo>
                    <a:pt x="276" y="295"/>
                  </a:lnTo>
                  <a:lnTo>
                    <a:pt x="275" y="296"/>
                  </a:lnTo>
                  <a:lnTo>
                    <a:pt x="275" y="297"/>
                  </a:lnTo>
                  <a:lnTo>
                    <a:pt x="275" y="298"/>
                  </a:lnTo>
                  <a:lnTo>
                    <a:pt x="275" y="300"/>
                  </a:lnTo>
                  <a:lnTo>
                    <a:pt x="275" y="302"/>
                  </a:lnTo>
                  <a:lnTo>
                    <a:pt x="275" y="304"/>
                  </a:lnTo>
                  <a:lnTo>
                    <a:pt x="275" y="305"/>
                  </a:lnTo>
                  <a:lnTo>
                    <a:pt x="276" y="308"/>
                  </a:lnTo>
                  <a:lnTo>
                    <a:pt x="276" y="313"/>
                  </a:lnTo>
                  <a:lnTo>
                    <a:pt x="277" y="316"/>
                  </a:lnTo>
                  <a:lnTo>
                    <a:pt x="277" y="318"/>
                  </a:lnTo>
                  <a:lnTo>
                    <a:pt x="278" y="323"/>
                  </a:lnTo>
                  <a:lnTo>
                    <a:pt x="278" y="325"/>
                  </a:lnTo>
                  <a:lnTo>
                    <a:pt x="278" y="326"/>
                  </a:lnTo>
                  <a:lnTo>
                    <a:pt x="278" y="328"/>
                  </a:lnTo>
                  <a:lnTo>
                    <a:pt x="278" y="329"/>
                  </a:lnTo>
                  <a:lnTo>
                    <a:pt x="278" y="330"/>
                  </a:lnTo>
                  <a:lnTo>
                    <a:pt x="278" y="332"/>
                  </a:lnTo>
                  <a:lnTo>
                    <a:pt x="277" y="334"/>
                  </a:lnTo>
                  <a:lnTo>
                    <a:pt x="276" y="340"/>
                  </a:lnTo>
                  <a:lnTo>
                    <a:pt x="276" y="341"/>
                  </a:lnTo>
                  <a:lnTo>
                    <a:pt x="275" y="343"/>
                  </a:lnTo>
                  <a:lnTo>
                    <a:pt x="275" y="344"/>
                  </a:lnTo>
                  <a:lnTo>
                    <a:pt x="274" y="346"/>
                  </a:lnTo>
                  <a:lnTo>
                    <a:pt x="274" y="347"/>
                  </a:lnTo>
                  <a:lnTo>
                    <a:pt x="274" y="349"/>
                  </a:lnTo>
                  <a:lnTo>
                    <a:pt x="274" y="350"/>
                  </a:lnTo>
                  <a:lnTo>
                    <a:pt x="274" y="354"/>
                  </a:lnTo>
                  <a:lnTo>
                    <a:pt x="274" y="355"/>
                  </a:lnTo>
                  <a:lnTo>
                    <a:pt x="274" y="356"/>
                  </a:lnTo>
                  <a:lnTo>
                    <a:pt x="274" y="357"/>
                  </a:lnTo>
                  <a:lnTo>
                    <a:pt x="274" y="357"/>
                  </a:lnTo>
                  <a:lnTo>
                    <a:pt x="273" y="360"/>
                  </a:lnTo>
                  <a:lnTo>
                    <a:pt x="272" y="361"/>
                  </a:lnTo>
                  <a:lnTo>
                    <a:pt x="271" y="366"/>
                  </a:lnTo>
                  <a:lnTo>
                    <a:pt x="270" y="369"/>
                  </a:lnTo>
                  <a:lnTo>
                    <a:pt x="270" y="370"/>
                  </a:lnTo>
                  <a:lnTo>
                    <a:pt x="269" y="372"/>
                  </a:lnTo>
                  <a:lnTo>
                    <a:pt x="269" y="374"/>
                  </a:lnTo>
                  <a:lnTo>
                    <a:pt x="269" y="376"/>
                  </a:lnTo>
                  <a:lnTo>
                    <a:pt x="269" y="377"/>
                  </a:lnTo>
                  <a:lnTo>
                    <a:pt x="269" y="378"/>
                  </a:lnTo>
                  <a:lnTo>
                    <a:pt x="269" y="379"/>
                  </a:lnTo>
                  <a:lnTo>
                    <a:pt x="269" y="380"/>
                  </a:lnTo>
                  <a:lnTo>
                    <a:pt x="269" y="381"/>
                  </a:lnTo>
                  <a:lnTo>
                    <a:pt x="270" y="382"/>
                  </a:lnTo>
                  <a:lnTo>
                    <a:pt x="270" y="383"/>
                  </a:lnTo>
                  <a:lnTo>
                    <a:pt x="272" y="385"/>
                  </a:lnTo>
                  <a:lnTo>
                    <a:pt x="272" y="386"/>
                  </a:lnTo>
                  <a:lnTo>
                    <a:pt x="272" y="386"/>
                  </a:lnTo>
                  <a:lnTo>
                    <a:pt x="273" y="387"/>
                  </a:lnTo>
                  <a:lnTo>
                    <a:pt x="273" y="388"/>
                  </a:lnTo>
                  <a:lnTo>
                    <a:pt x="273" y="389"/>
                  </a:lnTo>
                  <a:lnTo>
                    <a:pt x="273" y="390"/>
                  </a:lnTo>
                  <a:lnTo>
                    <a:pt x="272" y="390"/>
                  </a:lnTo>
                  <a:lnTo>
                    <a:pt x="272" y="391"/>
                  </a:lnTo>
                  <a:lnTo>
                    <a:pt x="271" y="392"/>
                  </a:lnTo>
                  <a:lnTo>
                    <a:pt x="271" y="393"/>
                  </a:lnTo>
                  <a:lnTo>
                    <a:pt x="270" y="393"/>
                  </a:lnTo>
                  <a:lnTo>
                    <a:pt x="269" y="394"/>
                  </a:lnTo>
                  <a:lnTo>
                    <a:pt x="268" y="394"/>
                  </a:lnTo>
                  <a:lnTo>
                    <a:pt x="267" y="394"/>
                  </a:lnTo>
                  <a:lnTo>
                    <a:pt x="266" y="394"/>
                  </a:lnTo>
                  <a:lnTo>
                    <a:pt x="264" y="394"/>
                  </a:lnTo>
                  <a:lnTo>
                    <a:pt x="263" y="394"/>
                  </a:lnTo>
                  <a:lnTo>
                    <a:pt x="258" y="392"/>
                  </a:lnTo>
                  <a:lnTo>
                    <a:pt x="255" y="391"/>
                  </a:lnTo>
                  <a:lnTo>
                    <a:pt x="253" y="391"/>
                  </a:lnTo>
                  <a:lnTo>
                    <a:pt x="252" y="391"/>
                  </a:lnTo>
                  <a:lnTo>
                    <a:pt x="248" y="389"/>
                  </a:lnTo>
                  <a:lnTo>
                    <a:pt x="247" y="389"/>
                  </a:lnTo>
                  <a:lnTo>
                    <a:pt x="245" y="388"/>
                  </a:lnTo>
                  <a:lnTo>
                    <a:pt x="244" y="388"/>
                  </a:lnTo>
                  <a:lnTo>
                    <a:pt x="243" y="387"/>
                  </a:lnTo>
                  <a:lnTo>
                    <a:pt x="242" y="387"/>
                  </a:lnTo>
                  <a:lnTo>
                    <a:pt x="238" y="386"/>
                  </a:lnTo>
                  <a:lnTo>
                    <a:pt x="235" y="386"/>
                  </a:lnTo>
                  <a:lnTo>
                    <a:pt x="233" y="385"/>
                  </a:lnTo>
                  <a:lnTo>
                    <a:pt x="232" y="385"/>
                  </a:lnTo>
                  <a:lnTo>
                    <a:pt x="231" y="385"/>
                  </a:lnTo>
                  <a:lnTo>
                    <a:pt x="230" y="385"/>
                  </a:lnTo>
                  <a:lnTo>
                    <a:pt x="229" y="386"/>
                  </a:lnTo>
                  <a:lnTo>
                    <a:pt x="229" y="386"/>
                  </a:lnTo>
                  <a:lnTo>
                    <a:pt x="228" y="386"/>
                  </a:lnTo>
                  <a:lnTo>
                    <a:pt x="227" y="386"/>
                  </a:lnTo>
                  <a:lnTo>
                    <a:pt x="227" y="387"/>
                  </a:lnTo>
                  <a:lnTo>
                    <a:pt x="226" y="387"/>
                  </a:lnTo>
                  <a:lnTo>
                    <a:pt x="225" y="388"/>
                  </a:lnTo>
                  <a:lnTo>
                    <a:pt x="225" y="388"/>
                  </a:lnTo>
                  <a:lnTo>
                    <a:pt x="224" y="389"/>
                  </a:lnTo>
                  <a:lnTo>
                    <a:pt x="224" y="389"/>
                  </a:lnTo>
                  <a:lnTo>
                    <a:pt x="224" y="390"/>
                  </a:lnTo>
                  <a:lnTo>
                    <a:pt x="224" y="391"/>
                  </a:lnTo>
                  <a:lnTo>
                    <a:pt x="223" y="394"/>
                  </a:lnTo>
                  <a:lnTo>
                    <a:pt x="222" y="399"/>
                  </a:lnTo>
                  <a:lnTo>
                    <a:pt x="222" y="401"/>
                  </a:lnTo>
                  <a:lnTo>
                    <a:pt x="221" y="404"/>
                  </a:lnTo>
                  <a:lnTo>
                    <a:pt x="221" y="405"/>
                  </a:lnTo>
                  <a:lnTo>
                    <a:pt x="221" y="406"/>
                  </a:lnTo>
                  <a:lnTo>
                    <a:pt x="220" y="407"/>
                  </a:lnTo>
                  <a:lnTo>
                    <a:pt x="220" y="408"/>
                  </a:lnTo>
                  <a:lnTo>
                    <a:pt x="219" y="409"/>
                  </a:lnTo>
                  <a:lnTo>
                    <a:pt x="218" y="410"/>
                  </a:lnTo>
                  <a:lnTo>
                    <a:pt x="217" y="412"/>
                  </a:lnTo>
                  <a:lnTo>
                    <a:pt x="215" y="414"/>
                  </a:lnTo>
                  <a:lnTo>
                    <a:pt x="214" y="415"/>
                  </a:lnTo>
                  <a:lnTo>
                    <a:pt x="213" y="416"/>
                  </a:lnTo>
                  <a:lnTo>
                    <a:pt x="212" y="416"/>
                  </a:lnTo>
                  <a:lnTo>
                    <a:pt x="211" y="417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Freeform 48">
              <a:extLst>
                <a:ext uri="{FF2B5EF4-FFF2-40B4-BE49-F238E27FC236}">
                  <a16:creationId xmlns:a16="http://schemas.microsoft.com/office/drawing/2014/main" id="{4E08A60D-CA27-873A-4BFD-453579634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3556"/>
              <a:ext cx="373" cy="465"/>
            </a:xfrm>
            <a:custGeom>
              <a:avLst/>
              <a:gdLst>
                <a:gd name="T0" fmla="*/ 359 w 373"/>
                <a:gd name="T1" fmla="*/ 411 h 465"/>
                <a:gd name="T2" fmla="*/ 357 w 373"/>
                <a:gd name="T3" fmla="*/ 438 h 465"/>
                <a:gd name="T4" fmla="*/ 352 w 373"/>
                <a:gd name="T5" fmla="*/ 452 h 465"/>
                <a:gd name="T6" fmla="*/ 344 w 373"/>
                <a:gd name="T7" fmla="*/ 453 h 465"/>
                <a:gd name="T8" fmla="*/ 334 w 373"/>
                <a:gd name="T9" fmla="*/ 444 h 465"/>
                <a:gd name="T10" fmla="*/ 324 w 373"/>
                <a:gd name="T11" fmla="*/ 435 h 465"/>
                <a:gd name="T12" fmla="*/ 310 w 373"/>
                <a:gd name="T13" fmla="*/ 441 h 465"/>
                <a:gd name="T14" fmla="*/ 292 w 373"/>
                <a:gd name="T15" fmla="*/ 436 h 465"/>
                <a:gd name="T16" fmla="*/ 279 w 373"/>
                <a:gd name="T17" fmla="*/ 425 h 465"/>
                <a:gd name="T18" fmla="*/ 275 w 373"/>
                <a:gd name="T19" fmla="*/ 434 h 465"/>
                <a:gd name="T20" fmla="*/ 269 w 373"/>
                <a:gd name="T21" fmla="*/ 448 h 465"/>
                <a:gd name="T22" fmla="*/ 257 w 373"/>
                <a:gd name="T23" fmla="*/ 451 h 465"/>
                <a:gd name="T24" fmla="*/ 249 w 373"/>
                <a:gd name="T25" fmla="*/ 459 h 465"/>
                <a:gd name="T26" fmla="*/ 239 w 373"/>
                <a:gd name="T27" fmla="*/ 465 h 465"/>
                <a:gd name="T28" fmla="*/ 212 w 373"/>
                <a:gd name="T29" fmla="*/ 454 h 465"/>
                <a:gd name="T30" fmla="*/ 183 w 373"/>
                <a:gd name="T31" fmla="*/ 448 h 465"/>
                <a:gd name="T32" fmla="*/ 165 w 373"/>
                <a:gd name="T33" fmla="*/ 447 h 465"/>
                <a:gd name="T34" fmla="*/ 152 w 373"/>
                <a:gd name="T35" fmla="*/ 438 h 465"/>
                <a:gd name="T36" fmla="*/ 144 w 373"/>
                <a:gd name="T37" fmla="*/ 428 h 465"/>
                <a:gd name="T38" fmla="*/ 147 w 373"/>
                <a:gd name="T39" fmla="*/ 421 h 465"/>
                <a:gd name="T40" fmla="*/ 154 w 373"/>
                <a:gd name="T41" fmla="*/ 414 h 465"/>
                <a:gd name="T42" fmla="*/ 143 w 373"/>
                <a:gd name="T43" fmla="*/ 401 h 465"/>
                <a:gd name="T44" fmla="*/ 128 w 373"/>
                <a:gd name="T45" fmla="*/ 391 h 465"/>
                <a:gd name="T46" fmla="*/ 108 w 373"/>
                <a:gd name="T47" fmla="*/ 375 h 465"/>
                <a:gd name="T48" fmla="*/ 86 w 373"/>
                <a:gd name="T49" fmla="*/ 363 h 465"/>
                <a:gd name="T50" fmla="*/ 79 w 373"/>
                <a:gd name="T51" fmla="*/ 352 h 465"/>
                <a:gd name="T52" fmla="*/ 70 w 373"/>
                <a:gd name="T53" fmla="*/ 336 h 465"/>
                <a:gd name="T54" fmla="*/ 61 w 373"/>
                <a:gd name="T55" fmla="*/ 318 h 465"/>
                <a:gd name="T56" fmla="*/ 49 w 373"/>
                <a:gd name="T57" fmla="*/ 313 h 465"/>
                <a:gd name="T58" fmla="*/ 34 w 373"/>
                <a:gd name="T59" fmla="*/ 306 h 465"/>
                <a:gd name="T60" fmla="*/ 23 w 373"/>
                <a:gd name="T61" fmla="*/ 283 h 465"/>
                <a:gd name="T62" fmla="*/ 13 w 373"/>
                <a:gd name="T63" fmla="*/ 276 h 465"/>
                <a:gd name="T64" fmla="*/ 3 w 373"/>
                <a:gd name="T65" fmla="*/ 272 h 465"/>
                <a:gd name="T66" fmla="*/ 0 w 373"/>
                <a:gd name="T67" fmla="*/ 259 h 465"/>
                <a:gd name="T68" fmla="*/ 6 w 373"/>
                <a:gd name="T69" fmla="*/ 240 h 465"/>
                <a:gd name="T70" fmla="*/ 16 w 373"/>
                <a:gd name="T71" fmla="*/ 233 h 465"/>
                <a:gd name="T72" fmla="*/ 17 w 373"/>
                <a:gd name="T73" fmla="*/ 219 h 465"/>
                <a:gd name="T74" fmla="*/ 16 w 373"/>
                <a:gd name="T75" fmla="*/ 200 h 465"/>
                <a:gd name="T76" fmla="*/ 25 w 373"/>
                <a:gd name="T77" fmla="*/ 192 h 465"/>
                <a:gd name="T78" fmla="*/ 38 w 373"/>
                <a:gd name="T79" fmla="*/ 185 h 465"/>
                <a:gd name="T80" fmla="*/ 49 w 373"/>
                <a:gd name="T81" fmla="*/ 173 h 465"/>
                <a:gd name="T82" fmla="*/ 53 w 373"/>
                <a:gd name="T83" fmla="*/ 163 h 465"/>
                <a:gd name="T84" fmla="*/ 48 w 373"/>
                <a:gd name="T85" fmla="*/ 151 h 465"/>
                <a:gd name="T86" fmla="*/ 56 w 373"/>
                <a:gd name="T87" fmla="*/ 144 h 465"/>
                <a:gd name="T88" fmla="*/ 54 w 373"/>
                <a:gd name="T89" fmla="*/ 137 h 465"/>
                <a:gd name="T90" fmla="*/ 53 w 373"/>
                <a:gd name="T91" fmla="*/ 131 h 465"/>
                <a:gd name="T92" fmla="*/ 59 w 373"/>
                <a:gd name="T93" fmla="*/ 125 h 465"/>
                <a:gd name="T94" fmla="*/ 60 w 373"/>
                <a:gd name="T95" fmla="*/ 115 h 465"/>
                <a:gd name="T96" fmla="*/ 73 w 373"/>
                <a:gd name="T97" fmla="*/ 99 h 465"/>
                <a:gd name="T98" fmla="*/ 76 w 373"/>
                <a:gd name="T99" fmla="*/ 86 h 465"/>
                <a:gd name="T100" fmla="*/ 71 w 373"/>
                <a:gd name="T101" fmla="*/ 66 h 465"/>
                <a:gd name="T102" fmla="*/ 74 w 373"/>
                <a:gd name="T103" fmla="*/ 52 h 465"/>
                <a:gd name="T104" fmla="*/ 70 w 373"/>
                <a:gd name="T105" fmla="*/ 35 h 465"/>
                <a:gd name="T106" fmla="*/ 70 w 373"/>
                <a:gd name="T107" fmla="*/ 23 h 465"/>
                <a:gd name="T108" fmla="*/ 76 w 373"/>
                <a:gd name="T109" fmla="*/ 21 h 465"/>
                <a:gd name="T110" fmla="*/ 90 w 373"/>
                <a:gd name="T111" fmla="*/ 18 h 465"/>
                <a:gd name="T112" fmla="*/ 101 w 373"/>
                <a:gd name="T113" fmla="*/ 18 h 465"/>
                <a:gd name="T114" fmla="*/ 111 w 373"/>
                <a:gd name="T115" fmla="*/ 23 h 465"/>
                <a:gd name="T116" fmla="*/ 122 w 373"/>
                <a:gd name="T117" fmla="*/ 25 h 465"/>
                <a:gd name="T118" fmla="*/ 135 w 373"/>
                <a:gd name="T119" fmla="*/ 20 h 465"/>
                <a:gd name="T120" fmla="*/ 144 w 373"/>
                <a:gd name="T121" fmla="*/ 13 h 465"/>
                <a:gd name="T122" fmla="*/ 157 w 373"/>
                <a:gd name="T123" fmla="*/ 1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" h="465">
                  <a:moveTo>
                    <a:pt x="373" y="394"/>
                  </a:moveTo>
                  <a:lnTo>
                    <a:pt x="370" y="396"/>
                  </a:lnTo>
                  <a:lnTo>
                    <a:pt x="367" y="399"/>
                  </a:lnTo>
                  <a:lnTo>
                    <a:pt x="365" y="400"/>
                  </a:lnTo>
                  <a:lnTo>
                    <a:pt x="364" y="401"/>
                  </a:lnTo>
                  <a:lnTo>
                    <a:pt x="364" y="402"/>
                  </a:lnTo>
                  <a:lnTo>
                    <a:pt x="363" y="403"/>
                  </a:lnTo>
                  <a:lnTo>
                    <a:pt x="362" y="404"/>
                  </a:lnTo>
                  <a:lnTo>
                    <a:pt x="361" y="406"/>
                  </a:lnTo>
                  <a:lnTo>
                    <a:pt x="360" y="408"/>
                  </a:lnTo>
                  <a:lnTo>
                    <a:pt x="360" y="409"/>
                  </a:lnTo>
                  <a:lnTo>
                    <a:pt x="359" y="411"/>
                  </a:lnTo>
                  <a:lnTo>
                    <a:pt x="358" y="414"/>
                  </a:lnTo>
                  <a:lnTo>
                    <a:pt x="358" y="415"/>
                  </a:lnTo>
                  <a:lnTo>
                    <a:pt x="357" y="417"/>
                  </a:lnTo>
                  <a:lnTo>
                    <a:pt x="357" y="418"/>
                  </a:lnTo>
                  <a:lnTo>
                    <a:pt x="357" y="420"/>
                  </a:lnTo>
                  <a:lnTo>
                    <a:pt x="357" y="421"/>
                  </a:lnTo>
                  <a:lnTo>
                    <a:pt x="357" y="422"/>
                  </a:lnTo>
                  <a:lnTo>
                    <a:pt x="357" y="428"/>
                  </a:lnTo>
                  <a:lnTo>
                    <a:pt x="357" y="430"/>
                  </a:lnTo>
                  <a:lnTo>
                    <a:pt x="357" y="431"/>
                  </a:lnTo>
                  <a:lnTo>
                    <a:pt x="357" y="433"/>
                  </a:lnTo>
                  <a:lnTo>
                    <a:pt x="357" y="438"/>
                  </a:lnTo>
                  <a:lnTo>
                    <a:pt x="357" y="441"/>
                  </a:lnTo>
                  <a:lnTo>
                    <a:pt x="357" y="442"/>
                  </a:lnTo>
                  <a:lnTo>
                    <a:pt x="356" y="444"/>
                  </a:lnTo>
                  <a:lnTo>
                    <a:pt x="356" y="445"/>
                  </a:lnTo>
                  <a:lnTo>
                    <a:pt x="356" y="446"/>
                  </a:lnTo>
                  <a:lnTo>
                    <a:pt x="356" y="446"/>
                  </a:lnTo>
                  <a:lnTo>
                    <a:pt x="355" y="448"/>
                  </a:lnTo>
                  <a:lnTo>
                    <a:pt x="355" y="449"/>
                  </a:lnTo>
                  <a:lnTo>
                    <a:pt x="354" y="450"/>
                  </a:lnTo>
                  <a:lnTo>
                    <a:pt x="353" y="450"/>
                  </a:lnTo>
                  <a:lnTo>
                    <a:pt x="353" y="451"/>
                  </a:lnTo>
                  <a:lnTo>
                    <a:pt x="352" y="452"/>
                  </a:lnTo>
                  <a:lnTo>
                    <a:pt x="352" y="452"/>
                  </a:lnTo>
                  <a:lnTo>
                    <a:pt x="351" y="452"/>
                  </a:lnTo>
                  <a:lnTo>
                    <a:pt x="351" y="453"/>
                  </a:lnTo>
                  <a:lnTo>
                    <a:pt x="350" y="453"/>
                  </a:lnTo>
                  <a:lnTo>
                    <a:pt x="350" y="453"/>
                  </a:lnTo>
                  <a:lnTo>
                    <a:pt x="349" y="453"/>
                  </a:lnTo>
                  <a:lnTo>
                    <a:pt x="348" y="453"/>
                  </a:lnTo>
                  <a:lnTo>
                    <a:pt x="347" y="453"/>
                  </a:lnTo>
                  <a:lnTo>
                    <a:pt x="346" y="453"/>
                  </a:lnTo>
                  <a:lnTo>
                    <a:pt x="345" y="453"/>
                  </a:lnTo>
                  <a:lnTo>
                    <a:pt x="344" y="453"/>
                  </a:lnTo>
                  <a:lnTo>
                    <a:pt x="344" y="453"/>
                  </a:lnTo>
                  <a:lnTo>
                    <a:pt x="343" y="453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1" y="451"/>
                  </a:lnTo>
                  <a:lnTo>
                    <a:pt x="340" y="451"/>
                  </a:lnTo>
                  <a:lnTo>
                    <a:pt x="340" y="450"/>
                  </a:lnTo>
                  <a:lnTo>
                    <a:pt x="337" y="447"/>
                  </a:lnTo>
                  <a:lnTo>
                    <a:pt x="337" y="446"/>
                  </a:lnTo>
                  <a:lnTo>
                    <a:pt x="336" y="445"/>
                  </a:lnTo>
                  <a:lnTo>
                    <a:pt x="335" y="444"/>
                  </a:lnTo>
                  <a:lnTo>
                    <a:pt x="334" y="444"/>
                  </a:lnTo>
                  <a:lnTo>
                    <a:pt x="333" y="444"/>
                  </a:lnTo>
                  <a:lnTo>
                    <a:pt x="332" y="443"/>
                  </a:lnTo>
                  <a:lnTo>
                    <a:pt x="331" y="443"/>
                  </a:lnTo>
                  <a:lnTo>
                    <a:pt x="330" y="442"/>
                  </a:lnTo>
                  <a:lnTo>
                    <a:pt x="330" y="442"/>
                  </a:lnTo>
                  <a:lnTo>
                    <a:pt x="329" y="441"/>
                  </a:lnTo>
                  <a:lnTo>
                    <a:pt x="328" y="440"/>
                  </a:lnTo>
                  <a:lnTo>
                    <a:pt x="328" y="440"/>
                  </a:lnTo>
                  <a:lnTo>
                    <a:pt x="326" y="438"/>
                  </a:lnTo>
                  <a:lnTo>
                    <a:pt x="326" y="436"/>
                  </a:lnTo>
                  <a:lnTo>
                    <a:pt x="325" y="436"/>
                  </a:lnTo>
                  <a:lnTo>
                    <a:pt x="324" y="435"/>
                  </a:lnTo>
                  <a:lnTo>
                    <a:pt x="324" y="435"/>
                  </a:lnTo>
                  <a:lnTo>
                    <a:pt x="323" y="435"/>
                  </a:lnTo>
                  <a:lnTo>
                    <a:pt x="323" y="435"/>
                  </a:lnTo>
                  <a:lnTo>
                    <a:pt x="322" y="435"/>
                  </a:lnTo>
                  <a:lnTo>
                    <a:pt x="322" y="435"/>
                  </a:lnTo>
                  <a:lnTo>
                    <a:pt x="321" y="435"/>
                  </a:lnTo>
                  <a:lnTo>
                    <a:pt x="320" y="436"/>
                  </a:lnTo>
                  <a:lnTo>
                    <a:pt x="314" y="439"/>
                  </a:lnTo>
                  <a:lnTo>
                    <a:pt x="313" y="440"/>
                  </a:lnTo>
                  <a:lnTo>
                    <a:pt x="312" y="441"/>
                  </a:lnTo>
                  <a:lnTo>
                    <a:pt x="311" y="441"/>
                  </a:lnTo>
                  <a:lnTo>
                    <a:pt x="310" y="441"/>
                  </a:lnTo>
                  <a:lnTo>
                    <a:pt x="309" y="442"/>
                  </a:lnTo>
                  <a:lnTo>
                    <a:pt x="308" y="442"/>
                  </a:lnTo>
                  <a:lnTo>
                    <a:pt x="308" y="442"/>
                  </a:lnTo>
                  <a:lnTo>
                    <a:pt x="307" y="442"/>
                  </a:lnTo>
                  <a:lnTo>
                    <a:pt x="307" y="441"/>
                  </a:lnTo>
                  <a:lnTo>
                    <a:pt x="306" y="441"/>
                  </a:lnTo>
                  <a:lnTo>
                    <a:pt x="303" y="440"/>
                  </a:lnTo>
                  <a:lnTo>
                    <a:pt x="299" y="439"/>
                  </a:lnTo>
                  <a:lnTo>
                    <a:pt x="297" y="438"/>
                  </a:lnTo>
                  <a:lnTo>
                    <a:pt x="294" y="437"/>
                  </a:lnTo>
                  <a:lnTo>
                    <a:pt x="293" y="436"/>
                  </a:lnTo>
                  <a:lnTo>
                    <a:pt x="292" y="436"/>
                  </a:lnTo>
                  <a:lnTo>
                    <a:pt x="291" y="435"/>
                  </a:lnTo>
                  <a:lnTo>
                    <a:pt x="290" y="434"/>
                  </a:lnTo>
                  <a:lnTo>
                    <a:pt x="289" y="434"/>
                  </a:lnTo>
                  <a:lnTo>
                    <a:pt x="288" y="432"/>
                  </a:lnTo>
                  <a:lnTo>
                    <a:pt x="287" y="431"/>
                  </a:lnTo>
                  <a:lnTo>
                    <a:pt x="284" y="428"/>
                  </a:lnTo>
                  <a:lnTo>
                    <a:pt x="283" y="427"/>
                  </a:lnTo>
                  <a:lnTo>
                    <a:pt x="282" y="426"/>
                  </a:lnTo>
                  <a:lnTo>
                    <a:pt x="281" y="426"/>
                  </a:lnTo>
                  <a:lnTo>
                    <a:pt x="280" y="425"/>
                  </a:lnTo>
                  <a:lnTo>
                    <a:pt x="280" y="425"/>
                  </a:lnTo>
                  <a:lnTo>
                    <a:pt x="279" y="425"/>
                  </a:lnTo>
                  <a:lnTo>
                    <a:pt x="279" y="426"/>
                  </a:lnTo>
                  <a:lnTo>
                    <a:pt x="278" y="426"/>
                  </a:lnTo>
                  <a:lnTo>
                    <a:pt x="278" y="426"/>
                  </a:lnTo>
                  <a:lnTo>
                    <a:pt x="277" y="426"/>
                  </a:lnTo>
                  <a:lnTo>
                    <a:pt x="277" y="427"/>
                  </a:lnTo>
                  <a:lnTo>
                    <a:pt x="276" y="427"/>
                  </a:lnTo>
                  <a:lnTo>
                    <a:pt x="276" y="427"/>
                  </a:lnTo>
                  <a:lnTo>
                    <a:pt x="276" y="428"/>
                  </a:lnTo>
                  <a:lnTo>
                    <a:pt x="275" y="428"/>
                  </a:lnTo>
                  <a:lnTo>
                    <a:pt x="275" y="429"/>
                  </a:lnTo>
                  <a:lnTo>
                    <a:pt x="275" y="433"/>
                  </a:lnTo>
                  <a:lnTo>
                    <a:pt x="275" y="434"/>
                  </a:lnTo>
                  <a:lnTo>
                    <a:pt x="275" y="435"/>
                  </a:lnTo>
                  <a:lnTo>
                    <a:pt x="274" y="437"/>
                  </a:lnTo>
                  <a:lnTo>
                    <a:pt x="274" y="440"/>
                  </a:lnTo>
                  <a:lnTo>
                    <a:pt x="273" y="441"/>
                  </a:lnTo>
                  <a:lnTo>
                    <a:pt x="273" y="442"/>
                  </a:lnTo>
                  <a:lnTo>
                    <a:pt x="272" y="443"/>
                  </a:lnTo>
                  <a:lnTo>
                    <a:pt x="272" y="444"/>
                  </a:lnTo>
                  <a:lnTo>
                    <a:pt x="271" y="445"/>
                  </a:lnTo>
                  <a:lnTo>
                    <a:pt x="270" y="446"/>
                  </a:lnTo>
                  <a:lnTo>
                    <a:pt x="270" y="447"/>
                  </a:lnTo>
                  <a:lnTo>
                    <a:pt x="269" y="447"/>
                  </a:lnTo>
                  <a:lnTo>
                    <a:pt x="269" y="448"/>
                  </a:lnTo>
                  <a:lnTo>
                    <a:pt x="268" y="449"/>
                  </a:lnTo>
                  <a:lnTo>
                    <a:pt x="267" y="449"/>
                  </a:lnTo>
                  <a:lnTo>
                    <a:pt x="267" y="449"/>
                  </a:lnTo>
                  <a:lnTo>
                    <a:pt x="266" y="449"/>
                  </a:lnTo>
                  <a:lnTo>
                    <a:pt x="265" y="449"/>
                  </a:lnTo>
                  <a:lnTo>
                    <a:pt x="262" y="449"/>
                  </a:lnTo>
                  <a:lnTo>
                    <a:pt x="260" y="450"/>
                  </a:lnTo>
                  <a:lnTo>
                    <a:pt x="259" y="450"/>
                  </a:lnTo>
                  <a:lnTo>
                    <a:pt x="259" y="450"/>
                  </a:lnTo>
                  <a:lnTo>
                    <a:pt x="258" y="450"/>
                  </a:lnTo>
                  <a:lnTo>
                    <a:pt x="257" y="451"/>
                  </a:lnTo>
                  <a:lnTo>
                    <a:pt x="257" y="451"/>
                  </a:lnTo>
                  <a:lnTo>
                    <a:pt x="257" y="452"/>
                  </a:lnTo>
                  <a:lnTo>
                    <a:pt x="256" y="453"/>
                  </a:lnTo>
                  <a:lnTo>
                    <a:pt x="256" y="454"/>
                  </a:lnTo>
                  <a:lnTo>
                    <a:pt x="255" y="455"/>
                  </a:lnTo>
                  <a:lnTo>
                    <a:pt x="255" y="456"/>
                  </a:lnTo>
                  <a:lnTo>
                    <a:pt x="255" y="456"/>
                  </a:lnTo>
                  <a:lnTo>
                    <a:pt x="254" y="457"/>
                  </a:lnTo>
                  <a:lnTo>
                    <a:pt x="254" y="457"/>
                  </a:lnTo>
                  <a:lnTo>
                    <a:pt x="253" y="458"/>
                  </a:lnTo>
                  <a:lnTo>
                    <a:pt x="252" y="458"/>
                  </a:lnTo>
                  <a:lnTo>
                    <a:pt x="251" y="459"/>
                  </a:lnTo>
                  <a:lnTo>
                    <a:pt x="249" y="459"/>
                  </a:lnTo>
                  <a:lnTo>
                    <a:pt x="248" y="459"/>
                  </a:lnTo>
                  <a:lnTo>
                    <a:pt x="248" y="459"/>
                  </a:lnTo>
                  <a:lnTo>
                    <a:pt x="247" y="460"/>
                  </a:lnTo>
                  <a:lnTo>
                    <a:pt x="246" y="460"/>
                  </a:lnTo>
                  <a:lnTo>
                    <a:pt x="245" y="461"/>
                  </a:lnTo>
                  <a:lnTo>
                    <a:pt x="244" y="463"/>
                  </a:lnTo>
                  <a:lnTo>
                    <a:pt x="243" y="464"/>
                  </a:lnTo>
                  <a:lnTo>
                    <a:pt x="242" y="464"/>
                  </a:lnTo>
                  <a:lnTo>
                    <a:pt x="241" y="464"/>
                  </a:lnTo>
                  <a:lnTo>
                    <a:pt x="241" y="465"/>
                  </a:lnTo>
                  <a:lnTo>
                    <a:pt x="240" y="465"/>
                  </a:lnTo>
                  <a:lnTo>
                    <a:pt x="239" y="465"/>
                  </a:lnTo>
                  <a:lnTo>
                    <a:pt x="239" y="465"/>
                  </a:lnTo>
                  <a:lnTo>
                    <a:pt x="238" y="465"/>
                  </a:lnTo>
                  <a:lnTo>
                    <a:pt x="237" y="464"/>
                  </a:lnTo>
                  <a:lnTo>
                    <a:pt x="235" y="463"/>
                  </a:lnTo>
                  <a:lnTo>
                    <a:pt x="231" y="462"/>
                  </a:lnTo>
                  <a:lnTo>
                    <a:pt x="228" y="460"/>
                  </a:lnTo>
                  <a:lnTo>
                    <a:pt x="221" y="456"/>
                  </a:lnTo>
                  <a:lnTo>
                    <a:pt x="219" y="455"/>
                  </a:lnTo>
                  <a:lnTo>
                    <a:pt x="218" y="455"/>
                  </a:lnTo>
                  <a:lnTo>
                    <a:pt x="217" y="455"/>
                  </a:lnTo>
                  <a:lnTo>
                    <a:pt x="216" y="454"/>
                  </a:lnTo>
                  <a:lnTo>
                    <a:pt x="212" y="454"/>
                  </a:lnTo>
                  <a:lnTo>
                    <a:pt x="211" y="454"/>
                  </a:lnTo>
                  <a:lnTo>
                    <a:pt x="209" y="453"/>
                  </a:lnTo>
                  <a:lnTo>
                    <a:pt x="205" y="452"/>
                  </a:lnTo>
                  <a:lnTo>
                    <a:pt x="200" y="450"/>
                  </a:lnTo>
                  <a:lnTo>
                    <a:pt x="197" y="449"/>
                  </a:lnTo>
                  <a:lnTo>
                    <a:pt x="196" y="449"/>
                  </a:lnTo>
                  <a:lnTo>
                    <a:pt x="195" y="449"/>
                  </a:lnTo>
                  <a:lnTo>
                    <a:pt x="193" y="449"/>
                  </a:lnTo>
                  <a:lnTo>
                    <a:pt x="190" y="449"/>
                  </a:lnTo>
                  <a:lnTo>
                    <a:pt x="188" y="449"/>
                  </a:lnTo>
                  <a:lnTo>
                    <a:pt x="187" y="448"/>
                  </a:lnTo>
                  <a:lnTo>
                    <a:pt x="183" y="448"/>
                  </a:lnTo>
                  <a:lnTo>
                    <a:pt x="181" y="448"/>
                  </a:lnTo>
                  <a:lnTo>
                    <a:pt x="179" y="447"/>
                  </a:lnTo>
                  <a:lnTo>
                    <a:pt x="178" y="447"/>
                  </a:lnTo>
                  <a:lnTo>
                    <a:pt x="177" y="447"/>
                  </a:lnTo>
                  <a:lnTo>
                    <a:pt x="173" y="448"/>
                  </a:lnTo>
                  <a:lnTo>
                    <a:pt x="172" y="448"/>
                  </a:lnTo>
                  <a:lnTo>
                    <a:pt x="171" y="448"/>
                  </a:lnTo>
                  <a:lnTo>
                    <a:pt x="170" y="448"/>
                  </a:lnTo>
                  <a:lnTo>
                    <a:pt x="169" y="448"/>
                  </a:lnTo>
                  <a:lnTo>
                    <a:pt x="168" y="448"/>
                  </a:lnTo>
                  <a:lnTo>
                    <a:pt x="168" y="448"/>
                  </a:lnTo>
                  <a:lnTo>
                    <a:pt x="165" y="447"/>
                  </a:lnTo>
                  <a:lnTo>
                    <a:pt x="164" y="446"/>
                  </a:lnTo>
                  <a:lnTo>
                    <a:pt x="163" y="446"/>
                  </a:lnTo>
                  <a:lnTo>
                    <a:pt x="160" y="445"/>
                  </a:lnTo>
                  <a:lnTo>
                    <a:pt x="159" y="445"/>
                  </a:lnTo>
                  <a:lnTo>
                    <a:pt x="158" y="444"/>
                  </a:lnTo>
                  <a:lnTo>
                    <a:pt x="158" y="444"/>
                  </a:lnTo>
                  <a:lnTo>
                    <a:pt x="156" y="443"/>
                  </a:lnTo>
                  <a:lnTo>
                    <a:pt x="154" y="441"/>
                  </a:lnTo>
                  <a:lnTo>
                    <a:pt x="154" y="441"/>
                  </a:lnTo>
                  <a:lnTo>
                    <a:pt x="153" y="440"/>
                  </a:lnTo>
                  <a:lnTo>
                    <a:pt x="152" y="439"/>
                  </a:lnTo>
                  <a:lnTo>
                    <a:pt x="152" y="438"/>
                  </a:lnTo>
                  <a:lnTo>
                    <a:pt x="151" y="438"/>
                  </a:lnTo>
                  <a:lnTo>
                    <a:pt x="151" y="437"/>
                  </a:lnTo>
                  <a:lnTo>
                    <a:pt x="150" y="434"/>
                  </a:lnTo>
                  <a:lnTo>
                    <a:pt x="149" y="434"/>
                  </a:lnTo>
                  <a:lnTo>
                    <a:pt x="149" y="433"/>
                  </a:lnTo>
                  <a:lnTo>
                    <a:pt x="149" y="433"/>
                  </a:lnTo>
                  <a:lnTo>
                    <a:pt x="148" y="432"/>
                  </a:lnTo>
                  <a:lnTo>
                    <a:pt x="147" y="431"/>
                  </a:lnTo>
                  <a:lnTo>
                    <a:pt x="146" y="431"/>
                  </a:lnTo>
                  <a:lnTo>
                    <a:pt x="145" y="430"/>
                  </a:lnTo>
                  <a:lnTo>
                    <a:pt x="145" y="429"/>
                  </a:lnTo>
                  <a:lnTo>
                    <a:pt x="144" y="428"/>
                  </a:lnTo>
                  <a:lnTo>
                    <a:pt x="144" y="428"/>
                  </a:lnTo>
                  <a:lnTo>
                    <a:pt x="144" y="427"/>
                  </a:lnTo>
                  <a:lnTo>
                    <a:pt x="144" y="426"/>
                  </a:lnTo>
                  <a:lnTo>
                    <a:pt x="144" y="426"/>
                  </a:lnTo>
                  <a:lnTo>
                    <a:pt x="144" y="425"/>
                  </a:lnTo>
                  <a:lnTo>
                    <a:pt x="144" y="425"/>
                  </a:lnTo>
                  <a:lnTo>
                    <a:pt x="144" y="424"/>
                  </a:lnTo>
                  <a:lnTo>
                    <a:pt x="144" y="424"/>
                  </a:lnTo>
                  <a:lnTo>
                    <a:pt x="145" y="423"/>
                  </a:lnTo>
                  <a:lnTo>
                    <a:pt x="145" y="422"/>
                  </a:lnTo>
                  <a:lnTo>
                    <a:pt x="146" y="422"/>
                  </a:lnTo>
                  <a:lnTo>
                    <a:pt x="147" y="421"/>
                  </a:lnTo>
                  <a:lnTo>
                    <a:pt x="148" y="420"/>
                  </a:lnTo>
                  <a:lnTo>
                    <a:pt x="149" y="420"/>
                  </a:lnTo>
                  <a:lnTo>
                    <a:pt x="151" y="419"/>
                  </a:lnTo>
                  <a:lnTo>
                    <a:pt x="152" y="419"/>
                  </a:lnTo>
                  <a:lnTo>
                    <a:pt x="152" y="418"/>
                  </a:lnTo>
                  <a:lnTo>
                    <a:pt x="153" y="418"/>
                  </a:lnTo>
                  <a:lnTo>
                    <a:pt x="153" y="417"/>
                  </a:lnTo>
                  <a:lnTo>
                    <a:pt x="153" y="417"/>
                  </a:lnTo>
                  <a:lnTo>
                    <a:pt x="154" y="416"/>
                  </a:lnTo>
                  <a:lnTo>
                    <a:pt x="154" y="415"/>
                  </a:lnTo>
                  <a:lnTo>
                    <a:pt x="154" y="415"/>
                  </a:lnTo>
                  <a:lnTo>
                    <a:pt x="154" y="414"/>
                  </a:lnTo>
                  <a:lnTo>
                    <a:pt x="154" y="413"/>
                  </a:lnTo>
                  <a:lnTo>
                    <a:pt x="154" y="412"/>
                  </a:lnTo>
                  <a:lnTo>
                    <a:pt x="153" y="411"/>
                  </a:lnTo>
                  <a:lnTo>
                    <a:pt x="153" y="411"/>
                  </a:lnTo>
                  <a:lnTo>
                    <a:pt x="152" y="410"/>
                  </a:lnTo>
                  <a:lnTo>
                    <a:pt x="152" y="410"/>
                  </a:lnTo>
                  <a:lnTo>
                    <a:pt x="149" y="408"/>
                  </a:lnTo>
                  <a:lnTo>
                    <a:pt x="148" y="407"/>
                  </a:lnTo>
                  <a:lnTo>
                    <a:pt x="147" y="406"/>
                  </a:lnTo>
                  <a:lnTo>
                    <a:pt x="146" y="405"/>
                  </a:lnTo>
                  <a:lnTo>
                    <a:pt x="144" y="402"/>
                  </a:lnTo>
                  <a:lnTo>
                    <a:pt x="143" y="401"/>
                  </a:lnTo>
                  <a:lnTo>
                    <a:pt x="142" y="399"/>
                  </a:lnTo>
                  <a:lnTo>
                    <a:pt x="140" y="398"/>
                  </a:lnTo>
                  <a:lnTo>
                    <a:pt x="139" y="397"/>
                  </a:lnTo>
                  <a:lnTo>
                    <a:pt x="139" y="396"/>
                  </a:lnTo>
                  <a:lnTo>
                    <a:pt x="138" y="396"/>
                  </a:lnTo>
                  <a:lnTo>
                    <a:pt x="137" y="395"/>
                  </a:lnTo>
                  <a:lnTo>
                    <a:pt x="136" y="395"/>
                  </a:lnTo>
                  <a:lnTo>
                    <a:pt x="136" y="395"/>
                  </a:lnTo>
                  <a:lnTo>
                    <a:pt x="134" y="394"/>
                  </a:lnTo>
                  <a:lnTo>
                    <a:pt x="131" y="393"/>
                  </a:lnTo>
                  <a:lnTo>
                    <a:pt x="129" y="392"/>
                  </a:lnTo>
                  <a:lnTo>
                    <a:pt x="128" y="391"/>
                  </a:lnTo>
                  <a:lnTo>
                    <a:pt x="126" y="391"/>
                  </a:lnTo>
                  <a:lnTo>
                    <a:pt x="125" y="391"/>
                  </a:lnTo>
                  <a:lnTo>
                    <a:pt x="125" y="390"/>
                  </a:lnTo>
                  <a:lnTo>
                    <a:pt x="121" y="387"/>
                  </a:lnTo>
                  <a:lnTo>
                    <a:pt x="120" y="387"/>
                  </a:lnTo>
                  <a:lnTo>
                    <a:pt x="119" y="386"/>
                  </a:lnTo>
                  <a:lnTo>
                    <a:pt x="118" y="385"/>
                  </a:lnTo>
                  <a:lnTo>
                    <a:pt x="117" y="384"/>
                  </a:lnTo>
                  <a:lnTo>
                    <a:pt x="116" y="382"/>
                  </a:lnTo>
                  <a:lnTo>
                    <a:pt x="111" y="378"/>
                  </a:lnTo>
                  <a:lnTo>
                    <a:pt x="110" y="376"/>
                  </a:lnTo>
                  <a:lnTo>
                    <a:pt x="108" y="375"/>
                  </a:lnTo>
                  <a:lnTo>
                    <a:pt x="107" y="373"/>
                  </a:lnTo>
                  <a:lnTo>
                    <a:pt x="105" y="372"/>
                  </a:lnTo>
                  <a:lnTo>
                    <a:pt x="104" y="371"/>
                  </a:lnTo>
                  <a:lnTo>
                    <a:pt x="103" y="370"/>
                  </a:lnTo>
                  <a:lnTo>
                    <a:pt x="101" y="369"/>
                  </a:lnTo>
                  <a:lnTo>
                    <a:pt x="100" y="368"/>
                  </a:lnTo>
                  <a:lnTo>
                    <a:pt x="99" y="367"/>
                  </a:lnTo>
                  <a:lnTo>
                    <a:pt x="97" y="367"/>
                  </a:lnTo>
                  <a:lnTo>
                    <a:pt x="96" y="366"/>
                  </a:lnTo>
                  <a:lnTo>
                    <a:pt x="94" y="366"/>
                  </a:lnTo>
                  <a:lnTo>
                    <a:pt x="88" y="364"/>
                  </a:lnTo>
                  <a:lnTo>
                    <a:pt x="86" y="363"/>
                  </a:lnTo>
                  <a:lnTo>
                    <a:pt x="85" y="363"/>
                  </a:lnTo>
                  <a:lnTo>
                    <a:pt x="84" y="362"/>
                  </a:lnTo>
                  <a:lnTo>
                    <a:pt x="83" y="362"/>
                  </a:lnTo>
                  <a:lnTo>
                    <a:pt x="82" y="361"/>
                  </a:lnTo>
                  <a:lnTo>
                    <a:pt x="82" y="361"/>
                  </a:lnTo>
                  <a:lnTo>
                    <a:pt x="81" y="360"/>
                  </a:lnTo>
                  <a:lnTo>
                    <a:pt x="81" y="360"/>
                  </a:lnTo>
                  <a:lnTo>
                    <a:pt x="81" y="359"/>
                  </a:lnTo>
                  <a:lnTo>
                    <a:pt x="80" y="357"/>
                  </a:lnTo>
                  <a:lnTo>
                    <a:pt x="80" y="356"/>
                  </a:lnTo>
                  <a:lnTo>
                    <a:pt x="80" y="353"/>
                  </a:lnTo>
                  <a:lnTo>
                    <a:pt x="79" y="352"/>
                  </a:lnTo>
                  <a:lnTo>
                    <a:pt x="79" y="351"/>
                  </a:lnTo>
                  <a:lnTo>
                    <a:pt x="79" y="350"/>
                  </a:lnTo>
                  <a:lnTo>
                    <a:pt x="78" y="348"/>
                  </a:lnTo>
                  <a:lnTo>
                    <a:pt x="76" y="343"/>
                  </a:lnTo>
                  <a:lnTo>
                    <a:pt x="75" y="342"/>
                  </a:lnTo>
                  <a:lnTo>
                    <a:pt x="75" y="341"/>
                  </a:lnTo>
                  <a:lnTo>
                    <a:pt x="74" y="339"/>
                  </a:lnTo>
                  <a:lnTo>
                    <a:pt x="73" y="339"/>
                  </a:lnTo>
                  <a:lnTo>
                    <a:pt x="73" y="338"/>
                  </a:lnTo>
                  <a:lnTo>
                    <a:pt x="72" y="338"/>
                  </a:lnTo>
                  <a:lnTo>
                    <a:pt x="72" y="337"/>
                  </a:lnTo>
                  <a:lnTo>
                    <a:pt x="70" y="336"/>
                  </a:lnTo>
                  <a:lnTo>
                    <a:pt x="69" y="335"/>
                  </a:lnTo>
                  <a:lnTo>
                    <a:pt x="68" y="334"/>
                  </a:lnTo>
                  <a:lnTo>
                    <a:pt x="68" y="334"/>
                  </a:lnTo>
                  <a:lnTo>
                    <a:pt x="67" y="333"/>
                  </a:lnTo>
                  <a:lnTo>
                    <a:pt x="67" y="332"/>
                  </a:lnTo>
                  <a:lnTo>
                    <a:pt x="66" y="332"/>
                  </a:lnTo>
                  <a:lnTo>
                    <a:pt x="66" y="330"/>
                  </a:lnTo>
                  <a:lnTo>
                    <a:pt x="65" y="329"/>
                  </a:lnTo>
                  <a:lnTo>
                    <a:pt x="65" y="328"/>
                  </a:lnTo>
                  <a:lnTo>
                    <a:pt x="63" y="324"/>
                  </a:lnTo>
                  <a:lnTo>
                    <a:pt x="62" y="320"/>
                  </a:lnTo>
                  <a:lnTo>
                    <a:pt x="61" y="318"/>
                  </a:lnTo>
                  <a:lnTo>
                    <a:pt x="60" y="317"/>
                  </a:lnTo>
                  <a:lnTo>
                    <a:pt x="60" y="316"/>
                  </a:lnTo>
                  <a:lnTo>
                    <a:pt x="59" y="315"/>
                  </a:lnTo>
                  <a:lnTo>
                    <a:pt x="58" y="314"/>
                  </a:lnTo>
                  <a:lnTo>
                    <a:pt x="58" y="313"/>
                  </a:lnTo>
                  <a:lnTo>
                    <a:pt x="57" y="313"/>
                  </a:lnTo>
                  <a:lnTo>
                    <a:pt x="57" y="313"/>
                  </a:lnTo>
                  <a:lnTo>
                    <a:pt x="56" y="313"/>
                  </a:lnTo>
                  <a:lnTo>
                    <a:pt x="55" y="313"/>
                  </a:lnTo>
                  <a:lnTo>
                    <a:pt x="52" y="313"/>
                  </a:lnTo>
                  <a:lnTo>
                    <a:pt x="51" y="313"/>
                  </a:lnTo>
                  <a:lnTo>
                    <a:pt x="49" y="313"/>
                  </a:lnTo>
                  <a:lnTo>
                    <a:pt x="46" y="313"/>
                  </a:lnTo>
                  <a:lnTo>
                    <a:pt x="45" y="313"/>
                  </a:lnTo>
                  <a:lnTo>
                    <a:pt x="44" y="313"/>
                  </a:lnTo>
                  <a:lnTo>
                    <a:pt x="43" y="313"/>
                  </a:lnTo>
                  <a:lnTo>
                    <a:pt x="42" y="312"/>
                  </a:lnTo>
                  <a:lnTo>
                    <a:pt x="41" y="312"/>
                  </a:lnTo>
                  <a:lnTo>
                    <a:pt x="40" y="312"/>
                  </a:lnTo>
                  <a:lnTo>
                    <a:pt x="40" y="311"/>
                  </a:lnTo>
                  <a:lnTo>
                    <a:pt x="39" y="311"/>
                  </a:lnTo>
                  <a:lnTo>
                    <a:pt x="38" y="310"/>
                  </a:lnTo>
                  <a:lnTo>
                    <a:pt x="35" y="307"/>
                  </a:lnTo>
                  <a:lnTo>
                    <a:pt x="34" y="306"/>
                  </a:lnTo>
                  <a:lnTo>
                    <a:pt x="34" y="305"/>
                  </a:lnTo>
                  <a:lnTo>
                    <a:pt x="33" y="303"/>
                  </a:lnTo>
                  <a:lnTo>
                    <a:pt x="32" y="301"/>
                  </a:lnTo>
                  <a:lnTo>
                    <a:pt x="30" y="298"/>
                  </a:lnTo>
                  <a:lnTo>
                    <a:pt x="29" y="295"/>
                  </a:lnTo>
                  <a:lnTo>
                    <a:pt x="28" y="292"/>
                  </a:lnTo>
                  <a:lnTo>
                    <a:pt x="26" y="288"/>
                  </a:lnTo>
                  <a:lnTo>
                    <a:pt x="25" y="285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2" y="283"/>
                  </a:lnTo>
                  <a:lnTo>
                    <a:pt x="20" y="283"/>
                  </a:lnTo>
                  <a:lnTo>
                    <a:pt x="20" y="283"/>
                  </a:lnTo>
                  <a:lnTo>
                    <a:pt x="19" y="282"/>
                  </a:lnTo>
                  <a:lnTo>
                    <a:pt x="18" y="282"/>
                  </a:lnTo>
                  <a:lnTo>
                    <a:pt x="17" y="281"/>
                  </a:lnTo>
                  <a:lnTo>
                    <a:pt x="16" y="280"/>
                  </a:lnTo>
                  <a:lnTo>
                    <a:pt x="16" y="279"/>
                  </a:lnTo>
                  <a:lnTo>
                    <a:pt x="14" y="277"/>
                  </a:lnTo>
                  <a:lnTo>
                    <a:pt x="13" y="276"/>
                  </a:lnTo>
                  <a:lnTo>
                    <a:pt x="13" y="276"/>
                  </a:lnTo>
                  <a:lnTo>
                    <a:pt x="12" y="275"/>
                  </a:lnTo>
                  <a:lnTo>
                    <a:pt x="12" y="274"/>
                  </a:lnTo>
                  <a:lnTo>
                    <a:pt x="11" y="274"/>
                  </a:lnTo>
                  <a:lnTo>
                    <a:pt x="10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8" y="273"/>
                  </a:lnTo>
                  <a:lnTo>
                    <a:pt x="7" y="272"/>
                  </a:lnTo>
                  <a:lnTo>
                    <a:pt x="5" y="272"/>
                  </a:lnTo>
                  <a:lnTo>
                    <a:pt x="4" y="272"/>
                  </a:lnTo>
                  <a:lnTo>
                    <a:pt x="3" y="272"/>
                  </a:lnTo>
                  <a:lnTo>
                    <a:pt x="3" y="272"/>
                  </a:lnTo>
                  <a:lnTo>
                    <a:pt x="2" y="272"/>
                  </a:lnTo>
                  <a:lnTo>
                    <a:pt x="2" y="272"/>
                  </a:lnTo>
                  <a:lnTo>
                    <a:pt x="2" y="271"/>
                  </a:lnTo>
                  <a:lnTo>
                    <a:pt x="1" y="267"/>
                  </a:lnTo>
                  <a:lnTo>
                    <a:pt x="0" y="266"/>
                  </a:lnTo>
                  <a:lnTo>
                    <a:pt x="0" y="265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59"/>
                  </a:lnTo>
                  <a:lnTo>
                    <a:pt x="0" y="258"/>
                  </a:lnTo>
                  <a:lnTo>
                    <a:pt x="0" y="256"/>
                  </a:lnTo>
                  <a:lnTo>
                    <a:pt x="0" y="255"/>
                  </a:lnTo>
                  <a:lnTo>
                    <a:pt x="1" y="253"/>
                  </a:lnTo>
                  <a:lnTo>
                    <a:pt x="1" y="251"/>
                  </a:lnTo>
                  <a:lnTo>
                    <a:pt x="2" y="249"/>
                  </a:lnTo>
                  <a:lnTo>
                    <a:pt x="2" y="248"/>
                  </a:lnTo>
                  <a:lnTo>
                    <a:pt x="2" y="247"/>
                  </a:lnTo>
                  <a:lnTo>
                    <a:pt x="3" y="246"/>
                  </a:lnTo>
                  <a:lnTo>
                    <a:pt x="4" y="243"/>
                  </a:lnTo>
                  <a:lnTo>
                    <a:pt x="5" y="241"/>
                  </a:lnTo>
                  <a:lnTo>
                    <a:pt x="6" y="240"/>
                  </a:lnTo>
                  <a:lnTo>
                    <a:pt x="7" y="239"/>
                  </a:lnTo>
                  <a:lnTo>
                    <a:pt x="8" y="238"/>
                  </a:lnTo>
                  <a:lnTo>
                    <a:pt x="8" y="238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10" y="236"/>
                  </a:lnTo>
                  <a:lnTo>
                    <a:pt x="11" y="236"/>
                  </a:lnTo>
                  <a:lnTo>
                    <a:pt x="13" y="235"/>
                  </a:lnTo>
                  <a:lnTo>
                    <a:pt x="14" y="235"/>
                  </a:lnTo>
                  <a:lnTo>
                    <a:pt x="14" y="234"/>
                  </a:lnTo>
                  <a:lnTo>
                    <a:pt x="15" y="233"/>
                  </a:lnTo>
                  <a:lnTo>
                    <a:pt x="16" y="233"/>
                  </a:lnTo>
                  <a:lnTo>
                    <a:pt x="17" y="232"/>
                  </a:lnTo>
                  <a:lnTo>
                    <a:pt x="17" y="232"/>
                  </a:lnTo>
                  <a:lnTo>
                    <a:pt x="17" y="231"/>
                  </a:lnTo>
                  <a:lnTo>
                    <a:pt x="18" y="230"/>
                  </a:lnTo>
                  <a:lnTo>
                    <a:pt x="18" y="230"/>
                  </a:lnTo>
                  <a:lnTo>
                    <a:pt x="18" y="229"/>
                  </a:lnTo>
                  <a:lnTo>
                    <a:pt x="18" y="228"/>
                  </a:lnTo>
                  <a:lnTo>
                    <a:pt x="18" y="227"/>
                  </a:lnTo>
                  <a:lnTo>
                    <a:pt x="18" y="226"/>
                  </a:lnTo>
                  <a:lnTo>
                    <a:pt x="18" y="225"/>
                  </a:lnTo>
                  <a:lnTo>
                    <a:pt x="18" y="223"/>
                  </a:lnTo>
                  <a:lnTo>
                    <a:pt x="17" y="219"/>
                  </a:lnTo>
                  <a:lnTo>
                    <a:pt x="17" y="218"/>
                  </a:lnTo>
                  <a:lnTo>
                    <a:pt x="17" y="216"/>
                  </a:lnTo>
                  <a:lnTo>
                    <a:pt x="15" y="214"/>
                  </a:lnTo>
                  <a:lnTo>
                    <a:pt x="15" y="212"/>
                  </a:lnTo>
                  <a:lnTo>
                    <a:pt x="15" y="211"/>
                  </a:lnTo>
                  <a:lnTo>
                    <a:pt x="15" y="210"/>
                  </a:lnTo>
                  <a:lnTo>
                    <a:pt x="15" y="210"/>
                  </a:lnTo>
                  <a:lnTo>
                    <a:pt x="15" y="209"/>
                  </a:lnTo>
                  <a:lnTo>
                    <a:pt x="16" y="206"/>
                  </a:lnTo>
                  <a:lnTo>
                    <a:pt x="16" y="205"/>
                  </a:lnTo>
                  <a:lnTo>
                    <a:pt x="16" y="203"/>
                  </a:lnTo>
                  <a:lnTo>
                    <a:pt x="16" y="200"/>
                  </a:lnTo>
                  <a:lnTo>
                    <a:pt x="17" y="198"/>
                  </a:lnTo>
                  <a:lnTo>
                    <a:pt x="17" y="196"/>
                  </a:lnTo>
                  <a:lnTo>
                    <a:pt x="18" y="192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9" y="191"/>
                  </a:lnTo>
                  <a:lnTo>
                    <a:pt x="19" y="191"/>
                  </a:lnTo>
                  <a:lnTo>
                    <a:pt x="20" y="191"/>
                  </a:lnTo>
                  <a:lnTo>
                    <a:pt x="21" y="191"/>
                  </a:lnTo>
                  <a:lnTo>
                    <a:pt x="24" y="191"/>
                  </a:lnTo>
                  <a:lnTo>
                    <a:pt x="25" y="192"/>
                  </a:lnTo>
                  <a:lnTo>
                    <a:pt x="26" y="192"/>
                  </a:lnTo>
                  <a:lnTo>
                    <a:pt x="27" y="192"/>
                  </a:lnTo>
                  <a:lnTo>
                    <a:pt x="28" y="192"/>
                  </a:lnTo>
                  <a:lnTo>
                    <a:pt x="29" y="191"/>
                  </a:lnTo>
                  <a:lnTo>
                    <a:pt x="29" y="191"/>
                  </a:lnTo>
                  <a:lnTo>
                    <a:pt x="30" y="191"/>
                  </a:lnTo>
                  <a:lnTo>
                    <a:pt x="31" y="191"/>
                  </a:lnTo>
                  <a:lnTo>
                    <a:pt x="32" y="190"/>
                  </a:lnTo>
                  <a:lnTo>
                    <a:pt x="33" y="189"/>
                  </a:lnTo>
                  <a:lnTo>
                    <a:pt x="35" y="188"/>
                  </a:lnTo>
                  <a:lnTo>
                    <a:pt x="38" y="186"/>
                  </a:lnTo>
                  <a:lnTo>
                    <a:pt x="38" y="185"/>
                  </a:lnTo>
                  <a:lnTo>
                    <a:pt x="40" y="185"/>
                  </a:lnTo>
                  <a:lnTo>
                    <a:pt x="41" y="184"/>
                  </a:lnTo>
                  <a:lnTo>
                    <a:pt x="44" y="183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6" y="182"/>
                  </a:lnTo>
                  <a:lnTo>
                    <a:pt x="46" y="181"/>
                  </a:lnTo>
                  <a:lnTo>
                    <a:pt x="47" y="178"/>
                  </a:lnTo>
                  <a:lnTo>
                    <a:pt x="48" y="175"/>
                  </a:lnTo>
                  <a:lnTo>
                    <a:pt x="48" y="174"/>
                  </a:lnTo>
                  <a:lnTo>
                    <a:pt x="49" y="173"/>
                  </a:lnTo>
                  <a:lnTo>
                    <a:pt x="49" y="172"/>
                  </a:lnTo>
                  <a:lnTo>
                    <a:pt x="50" y="171"/>
                  </a:lnTo>
                  <a:lnTo>
                    <a:pt x="51" y="170"/>
                  </a:lnTo>
                  <a:lnTo>
                    <a:pt x="52" y="169"/>
                  </a:lnTo>
                  <a:lnTo>
                    <a:pt x="53" y="168"/>
                  </a:lnTo>
                  <a:lnTo>
                    <a:pt x="53" y="167"/>
                  </a:lnTo>
                  <a:lnTo>
                    <a:pt x="53" y="167"/>
                  </a:lnTo>
                  <a:lnTo>
                    <a:pt x="53" y="167"/>
                  </a:lnTo>
                  <a:lnTo>
                    <a:pt x="53" y="166"/>
                  </a:lnTo>
                  <a:lnTo>
                    <a:pt x="53" y="165"/>
                  </a:lnTo>
                  <a:lnTo>
                    <a:pt x="53" y="164"/>
                  </a:lnTo>
                  <a:lnTo>
                    <a:pt x="53" y="163"/>
                  </a:lnTo>
                  <a:lnTo>
                    <a:pt x="52" y="162"/>
                  </a:lnTo>
                  <a:lnTo>
                    <a:pt x="52" y="162"/>
                  </a:lnTo>
                  <a:lnTo>
                    <a:pt x="52" y="161"/>
                  </a:lnTo>
                  <a:lnTo>
                    <a:pt x="50" y="159"/>
                  </a:lnTo>
                  <a:lnTo>
                    <a:pt x="50" y="158"/>
                  </a:lnTo>
                  <a:lnTo>
                    <a:pt x="49" y="156"/>
                  </a:lnTo>
                  <a:lnTo>
                    <a:pt x="48" y="155"/>
                  </a:lnTo>
                  <a:lnTo>
                    <a:pt x="48" y="154"/>
                  </a:lnTo>
                  <a:lnTo>
                    <a:pt x="48" y="153"/>
                  </a:lnTo>
                  <a:lnTo>
                    <a:pt x="48" y="153"/>
                  </a:lnTo>
                  <a:lnTo>
                    <a:pt x="48" y="152"/>
                  </a:lnTo>
                  <a:lnTo>
                    <a:pt x="48" y="151"/>
                  </a:lnTo>
                  <a:lnTo>
                    <a:pt x="49" y="151"/>
                  </a:lnTo>
                  <a:lnTo>
                    <a:pt x="49" y="150"/>
                  </a:lnTo>
                  <a:lnTo>
                    <a:pt x="49" y="149"/>
                  </a:lnTo>
                  <a:lnTo>
                    <a:pt x="50" y="149"/>
                  </a:lnTo>
                  <a:lnTo>
                    <a:pt x="51" y="148"/>
                  </a:lnTo>
                  <a:lnTo>
                    <a:pt x="52" y="146"/>
                  </a:lnTo>
                  <a:lnTo>
                    <a:pt x="53" y="146"/>
                  </a:lnTo>
                  <a:lnTo>
                    <a:pt x="53" y="145"/>
                  </a:lnTo>
                  <a:lnTo>
                    <a:pt x="55" y="145"/>
                  </a:lnTo>
                  <a:lnTo>
                    <a:pt x="55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3"/>
                  </a:lnTo>
                  <a:lnTo>
                    <a:pt x="57" y="143"/>
                  </a:lnTo>
                  <a:lnTo>
                    <a:pt x="57" y="142"/>
                  </a:lnTo>
                  <a:lnTo>
                    <a:pt x="57" y="141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39"/>
                  </a:lnTo>
                  <a:lnTo>
                    <a:pt x="55" y="138"/>
                  </a:lnTo>
                  <a:lnTo>
                    <a:pt x="54" y="138"/>
                  </a:lnTo>
                  <a:lnTo>
                    <a:pt x="54" y="137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5"/>
                  </a:lnTo>
                  <a:lnTo>
                    <a:pt x="52" y="135"/>
                  </a:lnTo>
                  <a:lnTo>
                    <a:pt x="52" y="134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3" y="131"/>
                  </a:lnTo>
                  <a:lnTo>
                    <a:pt x="53" y="130"/>
                  </a:lnTo>
                  <a:lnTo>
                    <a:pt x="53" y="130"/>
                  </a:lnTo>
                  <a:lnTo>
                    <a:pt x="54" y="130"/>
                  </a:lnTo>
                  <a:lnTo>
                    <a:pt x="56" y="129"/>
                  </a:lnTo>
                  <a:lnTo>
                    <a:pt x="56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7"/>
                  </a:lnTo>
                  <a:lnTo>
                    <a:pt x="58" y="127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5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3"/>
                  </a:lnTo>
                  <a:lnTo>
                    <a:pt x="58" y="122"/>
                  </a:lnTo>
                  <a:lnTo>
                    <a:pt x="58" y="121"/>
                  </a:lnTo>
                  <a:lnTo>
                    <a:pt x="58" y="120"/>
                  </a:lnTo>
                  <a:lnTo>
                    <a:pt x="58" y="119"/>
                  </a:lnTo>
                  <a:lnTo>
                    <a:pt x="59" y="118"/>
                  </a:lnTo>
                  <a:lnTo>
                    <a:pt x="59" y="117"/>
                  </a:lnTo>
                  <a:lnTo>
                    <a:pt x="59" y="116"/>
                  </a:lnTo>
                  <a:lnTo>
                    <a:pt x="59" y="116"/>
                  </a:lnTo>
                  <a:lnTo>
                    <a:pt x="60" y="115"/>
                  </a:lnTo>
                  <a:lnTo>
                    <a:pt x="62" y="113"/>
                  </a:lnTo>
                  <a:lnTo>
                    <a:pt x="62" y="112"/>
                  </a:lnTo>
                  <a:lnTo>
                    <a:pt x="64" y="112"/>
                  </a:lnTo>
                  <a:lnTo>
                    <a:pt x="66" y="110"/>
                  </a:lnTo>
                  <a:lnTo>
                    <a:pt x="69" y="108"/>
                  </a:lnTo>
                  <a:lnTo>
                    <a:pt x="69" y="107"/>
                  </a:lnTo>
                  <a:lnTo>
                    <a:pt x="70" y="107"/>
                  </a:lnTo>
                  <a:lnTo>
                    <a:pt x="70" y="106"/>
                  </a:lnTo>
                  <a:lnTo>
                    <a:pt x="71" y="105"/>
                  </a:lnTo>
                  <a:lnTo>
                    <a:pt x="71" y="103"/>
                  </a:lnTo>
                  <a:lnTo>
                    <a:pt x="72" y="101"/>
                  </a:lnTo>
                  <a:lnTo>
                    <a:pt x="73" y="99"/>
                  </a:lnTo>
                  <a:lnTo>
                    <a:pt x="74" y="98"/>
                  </a:lnTo>
                  <a:lnTo>
                    <a:pt x="75" y="96"/>
                  </a:lnTo>
                  <a:lnTo>
                    <a:pt x="76" y="95"/>
                  </a:lnTo>
                  <a:lnTo>
                    <a:pt x="76" y="94"/>
                  </a:lnTo>
                  <a:lnTo>
                    <a:pt x="76" y="93"/>
                  </a:lnTo>
                  <a:lnTo>
                    <a:pt x="77" y="91"/>
                  </a:lnTo>
                  <a:lnTo>
                    <a:pt x="77" y="90"/>
                  </a:lnTo>
                  <a:lnTo>
                    <a:pt x="77" y="89"/>
                  </a:lnTo>
                  <a:lnTo>
                    <a:pt x="77" y="88"/>
                  </a:lnTo>
                  <a:lnTo>
                    <a:pt x="77" y="87"/>
                  </a:lnTo>
                  <a:lnTo>
                    <a:pt x="76" y="87"/>
                  </a:lnTo>
                  <a:lnTo>
                    <a:pt x="76" y="86"/>
                  </a:lnTo>
                  <a:lnTo>
                    <a:pt x="74" y="84"/>
                  </a:lnTo>
                  <a:lnTo>
                    <a:pt x="74" y="83"/>
                  </a:lnTo>
                  <a:lnTo>
                    <a:pt x="73" y="82"/>
                  </a:lnTo>
                  <a:lnTo>
                    <a:pt x="71" y="79"/>
                  </a:lnTo>
                  <a:lnTo>
                    <a:pt x="71" y="78"/>
                  </a:lnTo>
                  <a:lnTo>
                    <a:pt x="71" y="76"/>
                  </a:lnTo>
                  <a:lnTo>
                    <a:pt x="70" y="75"/>
                  </a:lnTo>
                  <a:lnTo>
                    <a:pt x="70" y="73"/>
                  </a:lnTo>
                  <a:lnTo>
                    <a:pt x="70" y="72"/>
                  </a:lnTo>
                  <a:lnTo>
                    <a:pt x="70" y="70"/>
                  </a:lnTo>
                  <a:lnTo>
                    <a:pt x="71" y="67"/>
                  </a:lnTo>
                  <a:lnTo>
                    <a:pt x="71" y="66"/>
                  </a:lnTo>
                  <a:lnTo>
                    <a:pt x="71" y="65"/>
                  </a:lnTo>
                  <a:lnTo>
                    <a:pt x="72" y="64"/>
                  </a:lnTo>
                  <a:lnTo>
                    <a:pt x="72" y="63"/>
                  </a:lnTo>
                  <a:lnTo>
                    <a:pt x="73" y="61"/>
                  </a:lnTo>
                  <a:lnTo>
                    <a:pt x="75" y="58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5" y="56"/>
                  </a:lnTo>
                  <a:lnTo>
                    <a:pt x="75" y="55"/>
                  </a:lnTo>
                  <a:lnTo>
                    <a:pt x="75" y="54"/>
                  </a:lnTo>
                  <a:lnTo>
                    <a:pt x="74" y="52"/>
                  </a:lnTo>
                  <a:lnTo>
                    <a:pt x="73" y="50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1" y="45"/>
                  </a:lnTo>
                  <a:lnTo>
                    <a:pt x="71" y="44"/>
                  </a:lnTo>
                  <a:lnTo>
                    <a:pt x="71" y="40"/>
                  </a:lnTo>
                  <a:lnTo>
                    <a:pt x="71" y="39"/>
                  </a:lnTo>
                  <a:lnTo>
                    <a:pt x="71" y="38"/>
                  </a:lnTo>
                  <a:lnTo>
                    <a:pt x="71" y="36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69" y="34"/>
                  </a:lnTo>
                  <a:lnTo>
                    <a:pt x="68" y="33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8" y="29"/>
                  </a:lnTo>
                  <a:lnTo>
                    <a:pt x="69" y="24"/>
                  </a:lnTo>
                  <a:lnTo>
                    <a:pt x="70" y="23"/>
                  </a:lnTo>
                  <a:lnTo>
                    <a:pt x="70" y="23"/>
                  </a:lnTo>
                  <a:lnTo>
                    <a:pt x="70" y="22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3" y="21"/>
                  </a:lnTo>
                  <a:lnTo>
                    <a:pt x="73" y="21"/>
                  </a:lnTo>
                  <a:lnTo>
                    <a:pt x="74" y="21"/>
                  </a:lnTo>
                  <a:lnTo>
                    <a:pt x="76" y="21"/>
                  </a:lnTo>
                  <a:lnTo>
                    <a:pt x="77" y="21"/>
                  </a:lnTo>
                  <a:lnTo>
                    <a:pt x="80" y="20"/>
                  </a:lnTo>
                  <a:lnTo>
                    <a:pt x="83" y="19"/>
                  </a:lnTo>
                  <a:lnTo>
                    <a:pt x="85" y="18"/>
                  </a:lnTo>
                  <a:lnTo>
                    <a:pt x="87" y="17"/>
                  </a:lnTo>
                  <a:lnTo>
                    <a:pt x="87" y="17"/>
                  </a:lnTo>
                  <a:lnTo>
                    <a:pt x="88" y="17"/>
                  </a:lnTo>
                  <a:lnTo>
                    <a:pt x="88" y="17"/>
                  </a:lnTo>
                  <a:lnTo>
                    <a:pt x="89" y="17"/>
                  </a:lnTo>
                  <a:lnTo>
                    <a:pt x="89" y="17"/>
                  </a:lnTo>
                  <a:lnTo>
                    <a:pt x="90" y="17"/>
                  </a:lnTo>
                  <a:lnTo>
                    <a:pt x="90" y="18"/>
                  </a:lnTo>
                  <a:lnTo>
                    <a:pt x="92" y="20"/>
                  </a:lnTo>
                  <a:lnTo>
                    <a:pt x="93" y="20"/>
                  </a:lnTo>
                  <a:lnTo>
                    <a:pt x="93" y="20"/>
                  </a:lnTo>
                  <a:lnTo>
                    <a:pt x="94" y="20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6" y="21"/>
                  </a:lnTo>
                  <a:lnTo>
                    <a:pt x="96" y="20"/>
                  </a:lnTo>
                  <a:lnTo>
                    <a:pt x="97" y="20"/>
                  </a:lnTo>
                  <a:lnTo>
                    <a:pt x="98" y="20"/>
                  </a:lnTo>
                  <a:lnTo>
                    <a:pt x="100" y="18"/>
                  </a:lnTo>
                  <a:lnTo>
                    <a:pt x="101" y="18"/>
                  </a:lnTo>
                  <a:lnTo>
                    <a:pt x="102" y="18"/>
                  </a:lnTo>
                  <a:lnTo>
                    <a:pt x="103" y="18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5" y="18"/>
                  </a:lnTo>
                  <a:lnTo>
                    <a:pt x="105" y="19"/>
                  </a:lnTo>
                  <a:lnTo>
                    <a:pt x="108" y="20"/>
                  </a:lnTo>
                  <a:lnTo>
                    <a:pt x="108" y="21"/>
                  </a:lnTo>
                  <a:lnTo>
                    <a:pt x="110" y="22"/>
                  </a:lnTo>
                  <a:lnTo>
                    <a:pt x="110" y="22"/>
                  </a:lnTo>
                  <a:lnTo>
                    <a:pt x="111" y="22"/>
                  </a:lnTo>
                  <a:lnTo>
                    <a:pt x="111" y="23"/>
                  </a:lnTo>
                  <a:lnTo>
                    <a:pt x="112" y="23"/>
                  </a:lnTo>
                  <a:lnTo>
                    <a:pt x="112" y="24"/>
                  </a:lnTo>
                  <a:lnTo>
                    <a:pt x="113" y="24"/>
                  </a:lnTo>
                  <a:lnTo>
                    <a:pt x="115" y="25"/>
                  </a:lnTo>
                  <a:lnTo>
                    <a:pt x="115" y="25"/>
                  </a:lnTo>
                  <a:lnTo>
                    <a:pt x="116" y="25"/>
                  </a:lnTo>
                  <a:lnTo>
                    <a:pt x="117" y="26"/>
                  </a:lnTo>
                  <a:lnTo>
                    <a:pt x="118" y="26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6"/>
                  </a:lnTo>
                  <a:lnTo>
                    <a:pt x="122" y="25"/>
                  </a:lnTo>
                  <a:lnTo>
                    <a:pt x="123" y="25"/>
                  </a:lnTo>
                  <a:lnTo>
                    <a:pt x="123" y="24"/>
                  </a:lnTo>
                  <a:lnTo>
                    <a:pt x="125" y="23"/>
                  </a:lnTo>
                  <a:lnTo>
                    <a:pt x="126" y="23"/>
                  </a:lnTo>
                  <a:lnTo>
                    <a:pt x="127" y="22"/>
                  </a:lnTo>
                  <a:lnTo>
                    <a:pt x="128" y="22"/>
                  </a:lnTo>
                  <a:lnTo>
                    <a:pt x="128" y="22"/>
                  </a:lnTo>
                  <a:lnTo>
                    <a:pt x="132" y="21"/>
                  </a:lnTo>
                  <a:lnTo>
                    <a:pt x="133" y="21"/>
                  </a:lnTo>
                  <a:lnTo>
                    <a:pt x="134" y="21"/>
                  </a:lnTo>
                  <a:lnTo>
                    <a:pt x="134" y="21"/>
                  </a:lnTo>
                  <a:lnTo>
                    <a:pt x="135" y="20"/>
                  </a:lnTo>
                  <a:lnTo>
                    <a:pt x="136" y="20"/>
                  </a:lnTo>
                  <a:lnTo>
                    <a:pt x="138" y="18"/>
                  </a:lnTo>
                  <a:lnTo>
                    <a:pt x="139" y="18"/>
                  </a:lnTo>
                  <a:lnTo>
                    <a:pt x="139" y="18"/>
                  </a:lnTo>
                  <a:lnTo>
                    <a:pt x="141" y="17"/>
                  </a:lnTo>
                  <a:lnTo>
                    <a:pt x="141" y="17"/>
                  </a:lnTo>
                  <a:lnTo>
                    <a:pt x="142" y="17"/>
                  </a:lnTo>
                  <a:lnTo>
                    <a:pt x="142" y="16"/>
                  </a:lnTo>
                  <a:lnTo>
                    <a:pt x="143" y="16"/>
                  </a:lnTo>
                  <a:lnTo>
                    <a:pt x="143" y="15"/>
                  </a:lnTo>
                  <a:lnTo>
                    <a:pt x="144" y="14"/>
                  </a:lnTo>
                  <a:lnTo>
                    <a:pt x="144" y="13"/>
                  </a:lnTo>
                  <a:lnTo>
                    <a:pt x="145" y="12"/>
                  </a:lnTo>
                  <a:lnTo>
                    <a:pt x="146" y="10"/>
                  </a:lnTo>
                  <a:lnTo>
                    <a:pt x="147" y="8"/>
                  </a:lnTo>
                  <a:lnTo>
                    <a:pt x="147" y="7"/>
                  </a:lnTo>
                  <a:lnTo>
                    <a:pt x="147" y="7"/>
                  </a:lnTo>
                  <a:lnTo>
                    <a:pt x="148" y="6"/>
                  </a:lnTo>
                  <a:lnTo>
                    <a:pt x="148" y="6"/>
                  </a:lnTo>
                  <a:lnTo>
                    <a:pt x="149" y="5"/>
                  </a:lnTo>
                  <a:lnTo>
                    <a:pt x="150" y="5"/>
                  </a:lnTo>
                  <a:lnTo>
                    <a:pt x="153" y="3"/>
                  </a:lnTo>
                  <a:lnTo>
                    <a:pt x="156" y="2"/>
                  </a:lnTo>
                  <a:lnTo>
                    <a:pt x="157" y="1"/>
                  </a:lnTo>
                  <a:lnTo>
                    <a:pt x="158" y="1"/>
                  </a:lnTo>
                  <a:lnTo>
                    <a:pt x="160" y="0"/>
                  </a:lnTo>
                  <a:lnTo>
                    <a:pt x="162" y="0"/>
                  </a:lnTo>
                  <a:lnTo>
                    <a:pt x="162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Freeform 49">
              <a:extLst>
                <a:ext uri="{FF2B5EF4-FFF2-40B4-BE49-F238E27FC236}">
                  <a16:creationId xmlns:a16="http://schemas.microsoft.com/office/drawing/2014/main" id="{14B658D5-6B2A-D1C0-87D7-1E6F5529B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301"/>
              <a:ext cx="427" cy="537"/>
            </a:xfrm>
            <a:custGeom>
              <a:avLst/>
              <a:gdLst>
                <a:gd name="T0" fmla="*/ 287 w 427"/>
                <a:gd name="T1" fmla="*/ 2 h 537"/>
                <a:gd name="T2" fmla="*/ 301 w 427"/>
                <a:gd name="T3" fmla="*/ 10 h 537"/>
                <a:gd name="T4" fmla="*/ 305 w 427"/>
                <a:gd name="T5" fmla="*/ 23 h 537"/>
                <a:gd name="T6" fmla="*/ 311 w 427"/>
                <a:gd name="T7" fmla="*/ 34 h 537"/>
                <a:gd name="T8" fmla="*/ 338 w 427"/>
                <a:gd name="T9" fmla="*/ 34 h 537"/>
                <a:gd name="T10" fmla="*/ 337 w 427"/>
                <a:gd name="T11" fmla="*/ 41 h 537"/>
                <a:gd name="T12" fmla="*/ 367 w 427"/>
                <a:gd name="T13" fmla="*/ 52 h 537"/>
                <a:gd name="T14" fmla="*/ 394 w 427"/>
                <a:gd name="T15" fmla="*/ 66 h 537"/>
                <a:gd name="T16" fmla="*/ 406 w 427"/>
                <a:gd name="T17" fmla="*/ 77 h 537"/>
                <a:gd name="T18" fmla="*/ 427 w 427"/>
                <a:gd name="T19" fmla="*/ 109 h 537"/>
                <a:gd name="T20" fmla="*/ 419 w 427"/>
                <a:gd name="T21" fmla="*/ 137 h 537"/>
                <a:gd name="T22" fmla="*/ 416 w 427"/>
                <a:gd name="T23" fmla="*/ 160 h 537"/>
                <a:gd name="T24" fmla="*/ 408 w 427"/>
                <a:gd name="T25" fmla="*/ 178 h 537"/>
                <a:gd name="T26" fmla="*/ 390 w 427"/>
                <a:gd name="T27" fmla="*/ 179 h 537"/>
                <a:gd name="T28" fmla="*/ 382 w 427"/>
                <a:gd name="T29" fmla="*/ 198 h 537"/>
                <a:gd name="T30" fmla="*/ 386 w 427"/>
                <a:gd name="T31" fmla="*/ 204 h 537"/>
                <a:gd name="T32" fmla="*/ 388 w 427"/>
                <a:gd name="T33" fmla="*/ 215 h 537"/>
                <a:gd name="T34" fmla="*/ 388 w 427"/>
                <a:gd name="T35" fmla="*/ 223 h 537"/>
                <a:gd name="T36" fmla="*/ 401 w 427"/>
                <a:gd name="T37" fmla="*/ 232 h 537"/>
                <a:gd name="T38" fmla="*/ 404 w 427"/>
                <a:gd name="T39" fmla="*/ 262 h 537"/>
                <a:gd name="T40" fmla="*/ 403 w 427"/>
                <a:gd name="T41" fmla="*/ 279 h 537"/>
                <a:gd name="T42" fmla="*/ 407 w 427"/>
                <a:gd name="T43" fmla="*/ 305 h 537"/>
                <a:gd name="T44" fmla="*/ 405 w 427"/>
                <a:gd name="T45" fmla="*/ 334 h 537"/>
                <a:gd name="T46" fmla="*/ 404 w 427"/>
                <a:gd name="T47" fmla="*/ 362 h 537"/>
                <a:gd name="T48" fmla="*/ 392 w 427"/>
                <a:gd name="T49" fmla="*/ 381 h 537"/>
                <a:gd name="T50" fmla="*/ 387 w 427"/>
                <a:gd name="T51" fmla="*/ 391 h 537"/>
                <a:gd name="T52" fmla="*/ 384 w 427"/>
                <a:gd name="T53" fmla="*/ 404 h 537"/>
                <a:gd name="T54" fmla="*/ 387 w 427"/>
                <a:gd name="T55" fmla="*/ 422 h 537"/>
                <a:gd name="T56" fmla="*/ 369 w 427"/>
                <a:gd name="T57" fmla="*/ 443 h 537"/>
                <a:gd name="T58" fmla="*/ 351 w 427"/>
                <a:gd name="T59" fmla="*/ 453 h 537"/>
                <a:gd name="T60" fmla="*/ 352 w 427"/>
                <a:gd name="T61" fmla="*/ 485 h 537"/>
                <a:gd name="T62" fmla="*/ 336 w 427"/>
                <a:gd name="T63" fmla="*/ 503 h 537"/>
                <a:gd name="T64" fmla="*/ 334 w 427"/>
                <a:gd name="T65" fmla="*/ 526 h 537"/>
                <a:gd name="T66" fmla="*/ 318 w 427"/>
                <a:gd name="T67" fmla="*/ 537 h 537"/>
                <a:gd name="T68" fmla="*/ 292 w 427"/>
                <a:gd name="T69" fmla="*/ 509 h 537"/>
                <a:gd name="T70" fmla="*/ 269 w 427"/>
                <a:gd name="T71" fmla="*/ 465 h 537"/>
                <a:gd name="T72" fmla="*/ 236 w 427"/>
                <a:gd name="T73" fmla="*/ 454 h 537"/>
                <a:gd name="T74" fmla="*/ 220 w 427"/>
                <a:gd name="T75" fmla="*/ 429 h 537"/>
                <a:gd name="T76" fmla="*/ 191 w 427"/>
                <a:gd name="T77" fmla="*/ 392 h 537"/>
                <a:gd name="T78" fmla="*/ 176 w 427"/>
                <a:gd name="T79" fmla="*/ 366 h 537"/>
                <a:gd name="T80" fmla="*/ 141 w 427"/>
                <a:gd name="T81" fmla="*/ 347 h 537"/>
                <a:gd name="T82" fmla="*/ 117 w 427"/>
                <a:gd name="T83" fmla="*/ 349 h 537"/>
                <a:gd name="T84" fmla="*/ 98 w 427"/>
                <a:gd name="T85" fmla="*/ 322 h 537"/>
                <a:gd name="T86" fmla="*/ 71 w 427"/>
                <a:gd name="T87" fmla="*/ 300 h 537"/>
                <a:gd name="T88" fmla="*/ 66 w 427"/>
                <a:gd name="T89" fmla="*/ 263 h 537"/>
                <a:gd name="T90" fmla="*/ 48 w 427"/>
                <a:gd name="T91" fmla="*/ 242 h 537"/>
                <a:gd name="T92" fmla="*/ 35 w 427"/>
                <a:gd name="T93" fmla="*/ 213 h 537"/>
                <a:gd name="T94" fmla="*/ 32 w 427"/>
                <a:gd name="T95" fmla="*/ 188 h 537"/>
                <a:gd name="T96" fmla="*/ 1 w 427"/>
                <a:gd name="T97" fmla="*/ 160 h 537"/>
                <a:gd name="T98" fmla="*/ 18 w 427"/>
                <a:gd name="T99" fmla="*/ 138 h 537"/>
                <a:gd name="T100" fmla="*/ 35 w 427"/>
                <a:gd name="T101" fmla="*/ 103 h 537"/>
                <a:gd name="T102" fmla="*/ 63 w 427"/>
                <a:gd name="T103" fmla="*/ 87 h 537"/>
                <a:gd name="T104" fmla="*/ 83 w 427"/>
                <a:gd name="T105" fmla="*/ 91 h 537"/>
                <a:gd name="T106" fmla="*/ 95 w 427"/>
                <a:gd name="T107" fmla="*/ 79 h 537"/>
                <a:gd name="T108" fmla="*/ 124 w 427"/>
                <a:gd name="T109" fmla="*/ 74 h 537"/>
                <a:gd name="T110" fmla="*/ 156 w 427"/>
                <a:gd name="T111" fmla="*/ 80 h 537"/>
                <a:gd name="T112" fmla="*/ 170 w 427"/>
                <a:gd name="T113" fmla="*/ 60 h 537"/>
                <a:gd name="T114" fmla="*/ 200 w 427"/>
                <a:gd name="T115" fmla="*/ 41 h 537"/>
                <a:gd name="T116" fmla="*/ 229 w 427"/>
                <a:gd name="T117" fmla="*/ 36 h 537"/>
                <a:gd name="T118" fmla="*/ 250 w 427"/>
                <a:gd name="T119" fmla="*/ 46 h 537"/>
                <a:gd name="T120" fmla="*/ 259 w 427"/>
                <a:gd name="T121" fmla="*/ 24 h 537"/>
                <a:gd name="T122" fmla="*/ 267 w 427"/>
                <a:gd name="T123" fmla="*/ 11 h 537"/>
                <a:gd name="T124" fmla="*/ 278 w 427"/>
                <a:gd name="T125" fmla="*/ 1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537">
                  <a:moveTo>
                    <a:pt x="279" y="1"/>
                  </a:moveTo>
                  <a:lnTo>
                    <a:pt x="279" y="1"/>
                  </a:lnTo>
                  <a:lnTo>
                    <a:pt x="279" y="1"/>
                  </a:lnTo>
                  <a:lnTo>
                    <a:pt x="279" y="2"/>
                  </a:lnTo>
                  <a:lnTo>
                    <a:pt x="279" y="4"/>
                  </a:lnTo>
                  <a:lnTo>
                    <a:pt x="279" y="4"/>
                  </a:lnTo>
                  <a:lnTo>
                    <a:pt x="280" y="5"/>
                  </a:lnTo>
                  <a:lnTo>
                    <a:pt x="280" y="5"/>
                  </a:lnTo>
                  <a:lnTo>
                    <a:pt x="280" y="6"/>
                  </a:lnTo>
                  <a:lnTo>
                    <a:pt x="281" y="6"/>
                  </a:lnTo>
                  <a:lnTo>
                    <a:pt x="281" y="6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83" y="5"/>
                  </a:lnTo>
                  <a:lnTo>
                    <a:pt x="283" y="5"/>
                  </a:lnTo>
                  <a:lnTo>
                    <a:pt x="285" y="3"/>
                  </a:lnTo>
                  <a:lnTo>
                    <a:pt x="285" y="3"/>
                  </a:lnTo>
                  <a:lnTo>
                    <a:pt x="286" y="2"/>
                  </a:lnTo>
                  <a:lnTo>
                    <a:pt x="286" y="2"/>
                  </a:lnTo>
                  <a:lnTo>
                    <a:pt x="287" y="2"/>
                  </a:lnTo>
                  <a:lnTo>
                    <a:pt x="288" y="1"/>
                  </a:lnTo>
                  <a:lnTo>
                    <a:pt x="288" y="2"/>
                  </a:lnTo>
                  <a:lnTo>
                    <a:pt x="288" y="2"/>
                  </a:lnTo>
                  <a:lnTo>
                    <a:pt x="289" y="3"/>
                  </a:lnTo>
                  <a:lnTo>
                    <a:pt x="289" y="4"/>
                  </a:lnTo>
                  <a:lnTo>
                    <a:pt x="291" y="6"/>
                  </a:lnTo>
                  <a:lnTo>
                    <a:pt x="292" y="7"/>
                  </a:lnTo>
                  <a:lnTo>
                    <a:pt x="292" y="8"/>
                  </a:lnTo>
                  <a:lnTo>
                    <a:pt x="293" y="10"/>
                  </a:lnTo>
                  <a:lnTo>
                    <a:pt x="293" y="11"/>
                  </a:lnTo>
                  <a:lnTo>
                    <a:pt x="293" y="11"/>
                  </a:lnTo>
                  <a:lnTo>
                    <a:pt x="294" y="11"/>
                  </a:lnTo>
                  <a:lnTo>
                    <a:pt x="294" y="12"/>
                  </a:lnTo>
                  <a:lnTo>
                    <a:pt x="294" y="12"/>
                  </a:lnTo>
                  <a:lnTo>
                    <a:pt x="295" y="12"/>
                  </a:lnTo>
                  <a:lnTo>
                    <a:pt x="295" y="12"/>
                  </a:lnTo>
                  <a:lnTo>
                    <a:pt x="296" y="12"/>
                  </a:lnTo>
                  <a:lnTo>
                    <a:pt x="299" y="11"/>
                  </a:lnTo>
                  <a:lnTo>
                    <a:pt x="299" y="11"/>
                  </a:lnTo>
                  <a:lnTo>
                    <a:pt x="299" y="11"/>
                  </a:lnTo>
                  <a:lnTo>
                    <a:pt x="301" y="10"/>
                  </a:lnTo>
                  <a:lnTo>
                    <a:pt x="302" y="9"/>
                  </a:lnTo>
                  <a:lnTo>
                    <a:pt x="302" y="9"/>
                  </a:lnTo>
                  <a:lnTo>
                    <a:pt x="303" y="8"/>
                  </a:lnTo>
                  <a:lnTo>
                    <a:pt x="304" y="7"/>
                  </a:lnTo>
                  <a:lnTo>
                    <a:pt x="304" y="8"/>
                  </a:lnTo>
                  <a:lnTo>
                    <a:pt x="304" y="9"/>
                  </a:lnTo>
                  <a:lnTo>
                    <a:pt x="305" y="10"/>
                  </a:lnTo>
                  <a:lnTo>
                    <a:pt x="306" y="11"/>
                  </a:lnTo>
                  <a:lnTo>
                    <a:pt x="307" y="13"/>
                  </a:lnTo>
                  <a:lnTo>
                    <a:pt x="307" y="14"/>
                  </a:lnTo>
                  <a:lnTo>
                    <a:pt x="308" y="14"/>
                  </a:lnTo>
                  <a:lnTo>
                    <a:pt x="308" y="15"/>
                  </a:lnTo>
                  <a:lnTo>
                    <a:pt x="308" y="16"/>
                  </a:lnTo>
                  <a:lnTo>
                    <a:pt x="308" y="17"/>
                  </a:lnTo>
                  <a:lnTo>
                    <a:pt x="308" y="18"/>
                  </a:lnTo>
                  <a:lnTo>
                    <a:pt x="308" y="19"/>
                  </a:lnTo>
                  <a:lnTo>
                    <a:pt x="308" y="19"/>
                  </a:lnTo>
                  <a:lnTo>
                    <a:pt x="308" y="19"/>
                  </a:lnTo>
                  <a:lnTo>
                    <a:pt x="307" y="20"/>
                  </a:lnTo>
                  <a:lnTo>
                    <a:pt x="306" y="22"/>
                  </a:lnTo>
                  <a:lnTo>
                    <a:pt x="305" y="23"/>
                  </a:lnTo>
                  <a:lnTo>
                    <a:pt x="304" y="25"/>
                  </a:lnTo>
                  <a:lnTo>
                    <a:pt x="303" y="27"/>
                  </a:lnTo>
                  <a:lnTo>
                    <a:pt x="303" y="28"/>
                  </a:lnTo>
                  <a:lnTo>
                    <a:pt x="302" y="28"/>
                  </a:lnTo>
                  <a:lnTo>
                    <a:pt x="302" y="29"/>
                  </a:lnTo>
                  <a:lnTo>
                    <a:pt x="302" y="30"/>
                  </a:lnTo>
                  <a:lnTo>
                    <a:pt x="302" y="30"/>
                  </a:lnTo>
                  <a:lnTo>
                    <a:pt x="302" y="31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3" y="33"/>
                  </a:lnTo>
                  <a:lnTo>
                    <a:pt x="303" y="33"/>
                  </a:lnTo>
                  <a:lnTo>
                    <a:pt x="304" y="33"/>
                  </a:lnTo>
                  <a:lnTo>
                    <a:pt x="305" y="33"/>
                  </a:lnTo>
                  <a:lnTo>
                    <a:pt x="308" y="34"/>
                  </a:lnTo>
                  <a:lnTo>
                    <a:pt x="308" y="34"/>
                  </a:lnTo>
                  <a:lnTo>
                    <a:pt x="309" y="34"/>
                  </a:lnTo>
                  <a:lnTo>
                    <a:pt x="309" y="34"/>
                  </a:lnTo>
                  <a:lnTo>
                    <a:pt x="310" y="34"/>
                  </a:lnTo>
                  <a:lnTo>
                    <a:pt x="311" y="34"/>
                  </a:lnTo>
                  <a:lnTo>
                    <a:pt x="312" y="33"/>
                  </a:lnTo>
                  <a:lnTo>
                    <a:pt x="314" y="32"/>
                  </a:lnTo>
                  <a:lnTo>
                    <a:pt x="316" y="32"/>
                  </a:lnTo>
                  <a:lnTo>
                    <a:pt x="317" y="32"/>
                  </a:lnTo>
                  <a:lnTo>
                    <a:pt x="317" y="31"/>
                  </a:lnTo>
                  <a:lnTo>
                    <a:pt x="319" y="31"/>
                  </a:lnTo>
                  <a:lnTo>
                    <a:pt x="321" y="31"/>
                  </a:lnTo>
                  <a:lnTo>
                    <a:pt x="322" y="31"/>
                  </a:lnTo>
                  <a:lnTo>
                    <a:pt x="323" y="32"/>
                  </a:lnTo>
                  <a:lnTo>
                    <a:pt x="326" y="32"/>
                  </a:lnTo>
                  <a:lnTo>
                    <a:pt x="327" y="32"/>
                  </a:lnTo>
                  <a:lnTo>
                    <a:pt x="328" y="32"/>
                  </a:lnTo>
                  <a:lnTo>
                    <a:pt x="328" y="32"/>
                  </a:lnTo>
                  <a:lnTo>
                    <a:pt x="331" y="32"/>
                  </a:lnTo>
                  <a:lnTo>
                    <a:pt x="333" y="32"/>
                  </a:lnTo>
                  <a:lnTo>
                    <a:pt x="334" y="32"/>
                  </a:lnTo>
                  <a:lnTo>
                    <a:pt x="334" y="32"/>
                  </a:lnTo>
                  <a:lnTo>
                    <a:pt x="335" y="32"/>
                  </a:lnTo>
                  <a:lnTo>
                    <a:pt x="336" y="32"/>
                  </a:lnTo>
                  <a:lnTo>
                    <a:pt x="337" y="33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9" y="34"/>
                  </a:lnTo>
                  <a:lnTo>
                    <a:pt x="338" y="35"/>
                  </a:lnTo>
                  <a:lnTo>
                    <a:pt x="338" y="35"/>
                  </a:lnTo>
                  <a:lnTo>
                    <a:pt x="336" y="36"/>
                  </a:lnTo>
                  <a:lnTo>
                    <a:pt x="336" y="36"/>
                  </a:lnTo>
                  <a:lnTo>
                    <a:pt x="335" y="37"/>
                  </a:lnTo>
                  <a:lnTo>
                    <a:pt x="335" y="37"/>
                  </a:lnTo>
                  <a:lnTo>
                    <a:pt x="334" y="37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9"/>
                  </a:lnTo>
                  <a:lnTo>
                    <a:pt x="335" y="39"/>
                  </a:lnTo>
                  <a:lnTo>
                    <a:pt x="335" y="39"/>
                  </a:lnTo>
                  <a:lnTo>
                    <a:pt x="335" y="40"/>
                  </a:lnTo>
                  <a:lnTo>
                    <a:pt x="336" y="41"/>
                  </a:lnTo>
                  <a:lnTo>
                    <a:pt x="337" y="41"/>
                  </a:lnTo>
                  <a:lnTo>
                    <a:pt x="338" y="42"/>
                  </a:lnTo>
                  <a:lnTo>
                    <a:pt x="339" y="43"/>
                  </a:lnTo>
                  <a:lnTo>
                    <a:pt x="342" y="44"/>
                  </a:lnTo>
                  <a:lnTo>
                    <a:pt x="344" y="45"/>
                  </a:lnTo>
                  <a:lnTo>
                    <a:pt x="346" y="47"/>
                  </a:lnTo>
                  <a:lnTo>
                    <a:pt x="349" y="49"/>
                  </a:lnTo>
                  <a:lnTo>
                    <a:pt x="350" y="50"/>
                  </a:lnTo>
                  <a:lnTo>
                    <a:pt x="352" y="51"/>
                  </a:lnTo>
                  <a:lnTo>
                    <a:pt x="352" y="51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6" y="52"/>
                  </a:lnTo>
                  <a:lnTo>
                    <a:pt x="357" y="52"/>
                  </a:lnTo>
                  <a:lnTo>
                    <a:pt x="358" y="53"/>
                  </a:lnTo>
                  <a:lnTo>
                    <a:pt x="359" y="53"/>
                  </a:lnTo>
                  <a:lnTo>
                    <a:pt x="361" y="53"/>
                  </a:lnTo>
                  <a:lnTo>
                    <a:pt x="362" y="53"/>
                  </a:lnTo>
                  <a:lnTo>
                    <a:pt x="363" y="53"/>
                  </a:lnTo>
                  <a:lnTo>
                    <a:pt x="365" y="53"/>
                  </a:lnTo>
                  <a:lnTo>
                    <a:pt x="366" y="52"/>
                  </a:lnTo>
                  <a:lnTo>
                    <a:pt x="367" y="52"/>
                  </a:lnTo>
                  <a:lnTo>
                    <a:pt x="370" y="51"/>
                  </a:lnTo>
                  <a:lnTo>
                    <a:pt x="371" y="51"/>
                  </a:lnTo>
                  <a:lnTo>
                    <a:pt x="372" y="51"/>
                  </a:lnTo>
                  <a:lnTo>
                    <a:pt x="374" y="51"/>
                  </a:lnTo>
                  <a:lnTo>
                    <a:pt x="374" y="51"/>
                  </a:lnTo>
                  <a:lnTo>
                    <a:pt x="376" y="51"/>
                  </a:lnTo>
                  <a:lnTo>
                    <a:pt x="376" y="52"/>
                  </a:lnTo>
                  <a:lnTo>
                    <a:pt x="377" y="52"/>
                  </a:lnTo>
                  <a:lnTo>
                    <a:pt x="378" y="52"/>
                  </a:lnTo>
                  <a:lnTo>
                    <a:pt x="378" y="53"/>
                  </a:lnTo>
                  <a:lnTo>
                    <a:pt x="379" y="53"/>
                  </a:lnTo>
                  <a:lnTo>
                    <a:pt x="380" y="54"/>
                  </a:lnTo>
                  <a:lnTo>
                    <a:pt x="382" y="57"/>
                  </a:lnTo>
                  <a:lnTo>
                    <a:pt x="384" y="59"/>
                  </a:lnTo>
                  <a:lnTo>
                    <a:pt x="385" y="60"/>
                  </a:lnTo>
                  <a:lnTo>
                    <a:pt x="387" y="62"/>
                  </a:lnTo>
                  <a:lnTo>
                    <a:pt x="390" y="64"/>
                  </a:lnTo>
                  <a:lnTo>
                    <a:pt x="391" y="65"/>
                  </a:lnTo>
                  <a:lnTo>
                    <a:pt x="392" y="66"/>
                  </a:lnTo>
                  <a:lnTo>
                    <a:pt x="393" y="66"/>
                  </a:lnTo>
                  <a:lnTo>
                    <a:pt x="394" y="66"/>
                  </a:lnTo>
                  <a:lnTo>
                    <a:pt x="397" y="67"/>
                  </a:lnTo>
                  <a:lnTo>
                    <a:pt x="398" y="67"/>
                  </a:lnTo>
                  <a:lnTo>
                    <a:pt x="399" y="67"/>
                  </a:lnTo>
                  <a:lnTo>
                    <a:pt x="400" y="67"/>
                  </a:lnTo>
                  <a:lnTo>
                    <a:pt x="400" y="68"/>
                  </a:lnTo>
                  <a:lnTo>
                    <a:pt x="401" y="68"/>
                  </a:lnTo>
                  <a:lnTo>
                    <a:pt x="402" y="69"/>
                  </a:lnTo>
                  <a:lnTo>
                    <a:pt x="402" y="69"/>
                  </a:lnTo>
                  <a:lnTo>
                    <a:pt x="403" y="70"/>
                  </a:lnTo>
                  <a:lnTo>
                    <a:pt x="403" y="70"/>
                  </a:lnTo>
                  <a:lnTo>
                    <a:pt x="403" y="71"/>
                  </a:lnTo>
                  <a:lnTo>
                    <a:pt x="404" y="72"/>
                  </a:lnTo>
                  <a:lnTo>
                    <a:pt x="404" y="72"/>
                  </a:lnTo>
                  <a:lnTo>
                    <a:pt x="404" y="75"/>
                  </a:lnTo>
                  <a:lnTo>
                    <a:pt x="404" y="76"/>
                  </a:lnTo>
                  <a:lnTo>
                    <a:pt x="405" y="76"/>
                  </a:lnTo>
                  <a:lnTo>
                    <a:pt x="405" y="76"/>
                  </a:lnTo>
                  <a:lnTo>
                    <a:pt x="405" y="77"/>
                  </a:lnTo>
                  <a:lnTo>
                    <a:pt x="405" y="77"/>
                  </a:lnTo>
                  <a:lnTo>
                    <a:pt x="406" y="77"/>
                  </a:lnTo>
                  <a:lnTo>
                    <a:pt x="406" y="77"/>
                  </a:lnTo>
                  <a:lnTo>
                    <a:pt x="409" y="78"/>
                  </a:lnTo>
                  <a:lnTo>
                    <a:pt x="412" y="79"/>
                  </a:lnTo>
                  <a:lnTo>
                    <a:pt x="414" y="79"/>
                  </a:lnTo>
                  <a:lnTo>
                    <a:pt x="415" y="80"/>
                  </a:lnTo>
                  <a:lnTo>
                    <a:pt x="418" y="81"/>
                  </a:lnTo>
                  <a:lnTo>
                    <a:pt x="424" y="85"/>
                  </a:lnTo>
                  <a:lnTo>
                    <a:pt x="425" y="85"/>
                  </a:lnTo>
                  <a:lnTo>
                    <a:pt x="425" y="86"/>
                  </a:lnTo>
                  <a:lnTo>
                    <a:pt x="425" y="86"/>
                  </a:lnTo>
                  <a:lnTo>
                    <a:pt x="426" y="86"/>
                  </a:lnTo>
                  <a:lnTo>
                    <a:pt x="426" y="87"/>
                  </a:lnTo>
                  <a:lnTo>
                    <a:pt x="426" y="87"/>
                  </a:lnTo>
                  <a:lnTo>
                    <a:pt x="426" y="92"/>
                  </a:lnTo>
                  <a:lnTo>
                    <a:pt x="426" y="94"/>
                  </a:lnTo>
                  <a:lnTo>
                    <a:pt x="427" y="97"/>
                  </a:lnTo>
                  <a:lnTo>
                    <a:pt x="427" y="101"/>
                  </a:lnTo>
                  <a:lnTo>
                    <a:pt x="427" y="103"/>
                  </a:lnTo>
                  <a:lnTo>
                    <a:pt x="427" y="107"/>
                  </a:lnTo>
                  <a:lnTo>
                    <a:pt x="427" y="108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7" y="110"/>
                  </a:lnTo>
                  <a:lnTo>
                    <a:pt x="427" y="111"/>
                  </a:lnTo>
                  <a:lnTo>
                    <a:pt x="426" y="111"/>
                  </a:lnTo>
                  <a:lnTo>
                    <a:pt x="426" y="112"/>
                  </a:lnTo>
                  <a:lnTo>
                    <a:pt x="424" y="113"/>
                  </a:lnTo>
                  <a:lnTo>
                    <a:pt x="424" y="114"/>
                  </a:lnTo>
                  <a:lnTo>
                    <a:pt x="423" y="114"/>
                  </a:lnTo>
                  <a:lnTo>
                    <a:pt x="423" y="115"/>
                  </a:lnTo>
                  <a:lnTo>
                    <a:pt x="422" y="116"/>
                  </a:lnTo>
                  <a:lnTo>
                    <a:pt x="422" y="117"/>
                  </a:lnTo>
                  <a:lnTo>
                    <a:pt x="421" y="119"/>
                  </a:lnTo>
                  <a:lnTo>
                    <a:pt x="420" y="122"/>
                  </a:lnTo>
                  <a:lnTo>
                    <a:pt x="420" y="123"/>
                  </a:lnTo>
                  <a:lnTo>
                    <a:pt x="420" y="124"/>
                  </a:lnTo>
                  <a:lnTo>
                    <a:pt x="419" y="129"/>
                  </a:lnTo>
                  <a:lnTo>
                    <a:pt x="419" y="130"/>
                  </a:lnTo>
                  <a:lnTo>
                    <a:pt x="419" y="131"/>
                  </a:lnTo>
                  <a:lnTo>
                    <a:pt x="419" y="134"/>
                  </a:lnTo>
                  <a:lnTo>
                    <a:pt x="419" y="135"/>
                  </a:lnTo>
                  <a:lnTo>
                    <a:pt x="419" y="136"/>
                  </a:lnTo>
                  <a:lnTo>
                    <a:pt x="419" y="137"/>
                  </a:lnTo>
                  <a:lnTo>
                    <a:pt x="419" y="138"/>
                  </a:lnTo>
                  <a:lnTo>
                    <a:pt x="419" y="139"/>
                  </a:lnTo>
                  <a:lnTo>
                    <a:pt x="418" y="141"/>
                  </a:lnTo>
                  <a:lnTo>
                    <a:pt x="417" y="144"/>
                  </a:lnTo>
                  <a:lnTo>
                    <a:pt x="417" y="144"/>
                  </a:lnTo>
                  <a:lnTo>
                    <a:pt x="417" y="145"/>
                  </a:lnTo>
                  <a:lnTo>
                    <a:pt x="417" y="146"/>
                  </a:lnTo>
                  <a:lnTo>
                    <a:pt x="417" y="147"/>
                  </a:lnTo>
                  <a:lnTo>
                    <a:pt x="417" y="148"/>
                  </a:lnTo>
                  <a:lnTo>
                    <a:pt x="417" y="151"/>
                  </a:lnTo>
                  <a:lnTo>
                    <a:pt x="417" y="152"/>
                  </a:lnTo>
                  <a:lnTo>
                    <a:pt x="416" y="153"/>
                  </a:lnTo>
                  <a:lnTo>
                    <a:pt x="416" y="154"/>
                  </a:lnTo>
                  <a:lnTo>
                    <a:pt x="416" y="155"/>
                  </a:lnTo>
                  <a:lnTo>
                    <a:pt x="416" y="156"/>
                  </a:lnTo>
                  <a:lnTo>
                    <a:pt x="415" y="158"/>
                  </a:lnTo>
                  <a:lnTo>
                    <a:pt x="415" y="159"/>
                  </a:lnTo>
                  <a:lnTo>
                    <a:pt x="415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8" y="161"/>
                  </a:lnTo>
                  <a:lnTo>
                    <a:pt x="418" y="162"/>
                  </a:lnTo>
                  <a:lnTo>
                    <a:pt x="419" y="162"/>
                  </a:lnTo>
                  <a:lnTo>
                    <a:pt x="419" y="163"/>
                  </a:lnTo>
                  <a:lnTo>
                    <a:pt x="420" y="163"/>
                  </a:lnTo>
                  <a:lnTo>
                    <a:pt x="420" y="164"/>
                  </a:lnTo>
                  <a:lnTo>
                    <a:pt x="420" y="165"/>
                  </a:lnTo>
                  <a:lnTo>
                    <a:pt x="420" y="165"/>
                  </a:lnTo>
                  <a:lnTo>
                    <a:pt x="419" y="166"/>
                  </a:lnTo>
                  <a:lnTo>
                    <a:pt x="419" y="166"/>
                  </a:lnTo>
                  <a:lnTo>
                    <a:pt x="419" y="167"/>
                  </a:lnTo>
                  <a:lnTo>
                    <a:pt x="418" y="167"/>
                  </a:lnTo>
                  <a:lnTo>
                    <a:pt x="417" y="168"/>
                  </a:lnTo>
                  <a:lnTo>
                    <a:pt x="414" y="171"/>
                  </a:lnTo>
                  <a:lnTo>
                    <a:pt x="413" y="172"/>
                  </a:lnTo>
                  <a:lnTo>
                    <a:pt x="412" y="173"/>
                  </a:lnTo>
                  <a:lnTo>
                    <a:pt x="411" y="174"/>
                  </a:lnTo>
                  <a:lnTo>
                    <a:pt x="410" y="176"/>
                  </a:lnTo>
                  <a:lnTo>
                    <a:pt x="409" y="177"/>
                  </a:lnTo>
                  <a:lnTo>
                    <a:pt x="408" y="177"/>
                  </a:lnTo>
                  <a:lnTo>
                    <a:pt x="408" y="178"/>
                  </a:lnTo>
                  <a:lnTo>
                    <a:pt x="407" y="178"/>
                  </a:lnTo>
                  <a:lnTo>
                    <a:pt x="407" y="178"/>
                  </a:lnTo>
                  <a:lnTo>
                    <a:pt x="406" y="179"/>
                  </a:lnTo>
                  <a:lnTo>
                    <a:pt x="406" y="179"/>
                  </a:lnTo>
                  <a:lnTo>
                    <a:pt x="405" y="179"/>
                  </a:lnTo>
                  <a:lnTo>
                    <a:pt x="405" y="179"/>
                  </a:lnTo>
                  <a:lnTo>
                    <a:pt x="404" y="178"/>
                  </a:lnTo>
                  <a:lnTo>
                    <a:pt x="403" y="178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399" y="176"/>
                  </a:lnTo>
                  <a:lnTo>
                    <a:pt x="398" y="176"/>
                  </a:lnTo>
                  <a:lnTo>
                    <a:pt x="397" y="176"/>
                  </a:lnTo>
                  <a:lnTo>
                    <a:pt x="397" y="176"/>
                  </a:lnTo>
                  <a:lnTo>
                    <a:pt x="396" y="176"/>
                  </a:lnTo>
                  <a:lnTo>
                    <a:pt x="395" y="177"/>
                  </a:lnTo>
                  <a:lnTo>
                    <a:pt x="394" y="177"/>
                  </a:lnTo>
                  <a:lnTo>
                    <a:pt x="392" y="178"/>
                  </a:lnTo>
                  <a:lnTo>
                    <a:pt x="391" y="179"/>
                  </a:lnTo>
                  <a:lnTo>
                    <a:pt x="390" y="179"/>
                  </a:lnTo>
                  <a:lnTo>
                    <a:pt x="389" y="180"/>
                  </a:lnTo>
                  <a:lnTo>
                    <a:pt x="388" y="181"/>
                  </a:lnTo>
                  <a:lnTo>
                    <a:pt x="387" y="182"/>
                  </a:lnTo>
                  <a:lnTo>
                    <a:pt x="386" y="182"/>
                  </a:lnTo>
                  <a:lnTo>
                    <a:pt x="386" y="183"/>
                  </a:lnTo>
                  <a:lnTo>
                    <a:pt x="385" y="185"/>
                  </a:lnTo>
                  <a:lnTo>
                    <a:pt x="382" y="188"/>
                  </a:lnTo>
                  <a:lnTo>
                    <a:pt x="381" y="189"/>
                  </a:lnTo>
                  <a:lnTo>
                    <a:pt x="381" y="190"/>
                  </a:lnTo>
                  <a:lnTo>
                    <a:pt x="381" y="191"/>
                  </a:lnTo>
                  <a:lnTo>
                    <a:pt x="380" y="192"/>
                  </a:lnTo>
                  <a:lnTo>
                    <a:pt x="380" y="193"/>
                  </a:lnTo>
                  <a:lnTo>
                    <a:pt x="380" y="194"/>
                  </a:lnTo>
                  <a:lnTo>
                    <a:pt x="380" y="195"/>
                  </a:lnTo>
                  <a:lnTo>
                    <a:pt x="380" y="195"/>
                  </a:lnTo>
                  <a:lnTo>
                    <a:pt x="380" y="196"/>
                  </a:lnTo>
                  <a:lnTo>
                    <a:pt x="381" y="196"/>
                  </a:lnTo>
                  <a:lnTo>
                    <a:pt x="381" y="197"/>
                  </a:lnTo>
                  <a:lnTo>
                    <a:pt x="381" y="197"/>
                  </a:lnTo>
                  <a:lnTo>
                    <a:pt x="381" y="197"/>
                  </a:lnTo>
                  <a:lnTo>
                    <a:pt x="382" y="198"/>
                  </a:lnTo>
                  <a:lnTo>
                    <a:pt x="382" y="198"/>
                  </a:lnTo>
                  <a:lnTo>
                    <a:pt x="383" y="198"/>
                  </a:lnTo>
                  <a:lnTo>
                    <a:pt x="385" y="197"/>
                  </a:lnTo>
                  <a:lnTo>
                    <a:pt x="386" y="197"/>
                  </a:lnTo>
                  <a:lnTo>
                    <a:pt x="387" y="197"/>
                  </a:lnTo>
                  <a:lnTo>
                    <a:pt x="388" y="197"/>
                  </a:lnTo>
                  <a:lnTo>
                    <a:pt x="390" y="197"/>
                  </a:lnTo>
                  <a:lnTo>
                    <a:pt x="391" y="198"/>
                  </a:lnTo>
                  <a:lnTo>
                    <a:pt x="391" y="198"/>
                  </a:lnTo>
                  <a:lnTo>
                    <a:pt x="392" y="198"/>
                  </a:lnTo>
                  <a:lnTo>
                    <a:pt x="392" y="198"/>
                  </a:lnTo>
                  <a:lnTo>
                    <a:pt x="392" y="199"/>
                  </a:lnTo>
                  <a:lnTo>
                    <a:pt x="392" y="199"/>
                  </a:lnTo>
                  <a:lnTo>
                    <a:pt x="393" y="199"/>
                  </a:lnTo>
                  <a:lnTo>
                    <a:pt x="392" y="200"/>
                  </a:lnTo>
                  <a:lnTo>
                    <a:pt x="392" y="200"/>
                  </a:lnTo>
                  <a:lnTo>
                    <a:pt x="392" y="201"/>
                  </a:lnTo>
                  <a:lnTo>
                    <a:pt x="391" y="201"/>
                  </a:lnTo>
                  <a:lnTo>
                    <a:pt x="390" y="202"/>
                  </a:lnTo>
                  <a:lnTo>
                    <a:pt x="386" y="203"/>
                  </a:lnTo>
                  <a:lnTo>
                    <a:pt x="386" y="204"/>
                  </a:lnTo>
                  <a:lnTo>
                    <a:pt x="386" y="204"/>
                  </a:lnTo>
                  <a:lnTo>
                    <a:pt x="386" y="204"/>
                  </a:lnTo>
                  <a:lnTo>
                    <a:pt x="385" y="204"/>
                  </a:lnTo>
                  <a:lnTo>
                    <a:pt x="385" y="205"/>
                  </a:lnTo>
                  <a:lnTo>
                    <a:pt x="385" y="206"/>
                  </a:lnTo>
                  <a:lnTo>
                    <a:pt x="386" y="206"/>
                  </a:lnTo>
                  <a:lnTo>
                    <a:pt x="386" y="207"/>
                  </a:lnTo>
                  <a:lnTo>
                    <a:pt x="386" y="207"/>
                  </a:lnTo>
                  <a:lnTo>
                    <a:pt x="386" y="208"/>
                  </a:lnTo>
                  <a:lnTo>
                    <a:pt x="388" y="209"/>
                  </a:lnTo>
                  <a:lnTo>
                    <a:pt x="388" y="210"/>
                  </a:lnTo>
                  <a:lnTo>
                    <a:pt x="389" y="211"/>
                  </a:lnTo>
                  <a:lnTo>
                    <a:pt x="389" y="211"/>
                  </a:lnTo>
                  <a:lnTo>
                    <a:pt x="390" y="212"/>
                  </a:lnTo>
                  <a:lnTo>
                    <a:pt x="390" y="213"/>
                  </a:lnTo>
                  <a:lnTo>
                    <a:pt x="390" y="213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8" y="215"/>
                  </a:lnTo>
                  <a:lnTo>
                    <a:pt x="388" y="215"/>
                  </a:lnTo>
                  <a:lnTo>
                    <a:pt x="387" y="215"/>
                  </a:lnTo>
                  <a:lnTo>
                    <a:pt x="386" y="215"/>
                  </a:lnTo>
                  <a:lnTo>
                    <a:pt x="385" y="215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7"/>
                  </a:lnTo>
                  <a:lnTo>
                    <a:pt x="385" y="217"/>
                  </a:lnTo>
                  <a:lnTo>
                    <a:pt x="386" y="218"/>
                  </a:lnTo>
                  <a:lnTo>
                    <a:pt x="387" y="219"/>
                  </a:lnTo>
                  <a:lnTo>
                    <a:pt x="388" y="219"/>
                  </a:lnTo>
                  <a:lnTo>
                    <a:pt x="388" y="219"/>
                  </a:lnTo>
                  <a:lnTo>
                    <a:pt x="388" y="220"/>
                  </a:lnTo>
                  <a:lnTo>
                    <a:pt x="388" y="220"/>
                  </a:lnTo>
                  <a:lnTo>
                    <a:pt x="388" y="221"/>
                  </a:lnTo>
                  <a:lnTo>
                    <a:pt x="388" y="222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9" y="223"/>
                  </a:lnTo>
                  <a:lnTo>
                    <a:pt x="389" y="224"/>
                  </a:lnTo>
                  <a:lnTo>
                    <a:pt x="389" y="224"/>
                  </a:lnTo>
                  <a:lnTo>
                    <a:pt x="390" y="224"/>
                  </a:lnTo>
                  <a:lnTo>
                    <a:pt x="391" y="224"/>
                  </a:lnTo>
                  <a:lnTo>
                    <a:pt x="393" y="224"/>
                  </a:lnTo>
                  <a:lnTo>
                    <a:pt x="394" y="224"/>
                  </a:lnTo>
                  <a:lnTo>
                    <a:pt x="395" y="224"/>
                  </a:lnTo>
                  <a:lnTo>
                    <a:pt x="396" y="224"/>
                  </a:lnTo>
                  <a:lnTo>
                    <a:pt x="397" y="225"/>
                  </a:lnTo>
                  <a:lnTo>
                    <a:pt x="398" y="225"/>
                  </a:lnTo>
                  <a:lnTo>
                    <a:pt x="399" y="226"/>
                  </a:lnTo>
                  <a:lnTo>
                    <a:pt x="400" y="226"/>
                  </a:lnTo>
                  <a:lnTo>
                    <a:pt x="400" y="227"/>
                  </a:lnTo>
                  <a:lnTo>
                    <a:pt x="400" y="227"/>
                  </a:lnTo>
                  <a:lnTo>
                    <a:pt x="401" y="228"/>
                  </a:lnTo>
                  <a:lnTo>
                    <a:pt x="401" y="228"/>
                  </a:lnTo>
                  <a:lnTo>
                    <a:pt x="401" y="229"/>
                  </a:lnTo>
                  <a:lnTo>
                    <a:pt x="401" y="230"/>
                  </a:lnTo>
                  <a:lnTo>
                    <a:pt x="401" y="232"/>
                  </a:lnTo>
                  <a:lnTo>
                    <a:pt x="401" y="234"/>
                  </a:lnTo>
                  <a:lnTo>
                    <a:pt x="401" y="236"/>
                  </a:lnTo>
                  <a:lnTo>
                    <a:pt x="401" y="237"/>
                  </a:lnTo>
                  <a:lnTo>
                    <a:pt x="401" y="239"/>
                  </a:lnTo>
                  <a:lnTo>
                    <a:pt x="400" y="242"/>
                  </a:lnTo>
                  <a:lnTo>
                    <a:pt x="400" y="244"/>
                  </a:lnTo>
                  <a:lnTo>
                    <a:pt x="400" y="246"/>
                  </a:lnTo>
                  <a:lnTo>
                    <a:pt x="399" y="249"/>
                  </a:lnTo>
                  <a:lnTo>
                    <a:pt x="399" y="252"/>
                  </a:lnTo>
                  <a:lnTo>
                    <a:pt x="399" y="253"/>
                  </a:lnTo>
                  <a:lnTo>
                    <a:pt x="399" y="257"/>
                  </a:lnTo>
                  <a:lnTo>
                    <a:pt x="399" y="257"/>
                  </a:lnTo>
                  <a:lnTo>
                    <a:pt x="399" y="258"/>
                  </a:lnTo>
                  <a:lnTo>
                    <a:pt x="399" y="258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1" y="260"/>
                  </a:lnTo>
                  <a:lnTo>
                    <a:pt x="402" y="260"/>
                  </a:lnTo>
                  <a:lnTo>
                    <a:pt x="403" y="261"/>
                  </a:lnTo>
                  <a:lnTo>
                    <a:pt x="404" y="262"/>
                  </a:lnTo>
                  <a:lnTo>
                    <a:pt x="404" y="262"/>
                  </a:lnTo>
                  <a:lnTo>
                    <a:pt x="405" y="263"/>
                  </a:lnTo>
                  <a:lnTo>
                    <a:pt x="405" y="264"/>
                  </a:lnTo>
                  <a:lnTo>
                    <a:pt x="405" y="265"/>
                  </a:lnTo>
                  <a:lnTo>
                    <a:pt x="406" y="267"/>
                  </a:lnTo>
                  <a:lnTo>
                    <a:pt x="406" y="268"/>
                  </a:lnTo>
                  <a:lnTo>
                    <a:pt x="406" y="269"/>
                  </a:lnTo>
                  <a:lnTo>
                    <a:pt x="406" y="270"/>
                  </a:lnTo>
                  <a:lnTo>
                    <a:pt x="406" y="271"/>
                  </a:lnTo>
                  <a:lnTo>
                    <a:pt x="406" y="273"/>
                  </a:lnTo>
                  <a:lnTo>
                    <a:pt x="406" y="274"/>
                  </a:lnTo>
                  <a:lnTo>
                    <a:pt x="406" y="275"/>
                  </a:lnTo>
                  <a:lnTo>
                    <a:pt x="406" y="276"/>
                  </a:lnTo>
                  <a:lnTo>
                    <a:pt x="406" y="276"/>
                  </a:lnTo>
                  <a:lnTo>
                    <a:pt x="405" y="276"/>
                  </a:lnTo>
                  <a:lnTo>
                    <a:pt x="405" y="276"/>
                  </a:lnTo>
                  <a:lnTo>
                    <a:pt x="405" y="276"/>
                  </a:lnTo>
                  <a:lnTo>
                    <a:pt x="404" y="277"/>
                  </a:lnTo>
                  <a:lnTo>
                    <a:pt x="404" y="278"/>
                  </a:lnTo>
                  <a:lnTo>
                    <a:pt x="404" y="278"/>
                  </a:lnTo>
                  <a:lnTo>
                    <a:pt x="403" y="279"/>
                  </a:lnTo>
                  <a:lnTo>
                    <a:pt x="402" y="284"/>
                  </a:lnTo>
                  <a:lnTo>
                    <a:pt x="402" y="285"/>
                  </a:lnTo>
                  <a:lnTo>
                    <a:pt x="402" y="285"/>
                  </a:lnTo>
                  <a:lnTo>
                    <a:pt x="402" y="286"/>
                  </a:lnTo>
                  <a:lnTo>
                    <a:pt x="402" y="286"/>
                  </a:lnTo>
                  <a:lnTo>
                    <a:pt x="402" y="287"/>
                  </a:lnTo>
                  <a:lnTo>
                    <a:pt x="402" y="287"/>
                  </a:lnTo>
                  <a:lnTo>
                    <a:pt x="402" y="288"/>
                  </a:lnTo>
                  <a:lnTo>
                    <a:pt x="403" y="289"/>
                  </a:lnTo>
                  <a:lnTo>
                    <a:pt x="404" y="290"/>
                  </a:lnTo>
                  <a:lnTo>
                    <a:pt x="404" y="290"/>
                  </a:lnTo>
                  <a:lnTo>
                    <a:pt x="404" y="290"/>
                  </a:lnTo>
                  <a:lnTo>
                    <a:pt x="405" y="291"/>
                  </a:lnTo>
                  <a:lnTo>
                    <a:pt x="405" y="293"/>
                  </a:lnTo>
                  <a:lnTo>
                    <a:pt x="405" y="294"/>
                  </a:lnTo>
                  <a:lnTo>
                    <a:pt x="405" y="295"/>
                  </a:lnTo>
                  <a:lnTo>
                    <a:pt x="405" y="299"/>
                  </a:lnTo>
                  <a:lnTo>
                    <a:pt x="405" y="300"/>
                  </a:lnTo>
                  <a:lnTo>
                    <a:pt x="406" y="303"/>
                  </a:lnTo>
                  <a:lnTo>
                    <a:pt x="406" y="304"/>
                  </a:lnTo>
                  <a:lnTo>
                    <a:pt x="407" y="305"/>
                  </a:lnTo>
                  <a:lnTo>
                    <a:pt x="408" y="307"/>
                  </a:lnTo>
                  <a:lnTo>
                    <a:pt x="409" y="309"/>
                  </a:lnTo>
                  <a:lnTo>
                    <a:pt x="409" y="310"/>
                  </a:lnTo>
                  <a:lnTo>
                    <a:pt x="409" y="311"/>
                  </a:lnTo>
                  <a:lnTo>
                    <a:pt x="410" y="312"/>
                  </a:lnTo>
                  <a:lnTo>
                    <a:pt x="410" y="312"/>
                  </a:lnTo>
                  <a:lnTo>
                    <a:pt x="410" y="312"/>
                  </a:lnTo>
                  <a:lnTo>
                    <a:pt x="409" y="313"/>
                  </a:lnTo>
                  <a:lnTo>
                    <a:pt x="407" y="316"/>
                  </a:lnTo>
                  <a:lnTo>
                    <a:pt x="406" y="318"/>
                  </a:lnTo>
                  <a:lnTo>
                    <a:pt x="406" y="319"/>
                  </a:lnTo>
                  <a:lnTo>
                    <a:pt x="405" y="320"/>
                  </a:lnTo>
                  <a:lnTo>
                    <a:pt x="405" y="321"/>
                  </a:lnTo>
                  <a:lnTo>
                    <a:pt x="405" y="322"/>
                  </a:lnTo>
                  <a:lnTo>
                    <a:pt x="404" y="325"/>
                  </a:lnTo>
                  <a:lnTo>
                    <a:pt x="404" y="327"/>
                  </a:lnTo>
                  <a:lnTo>
                    <a:pt x="404" y="328"/>
                  </a:lnTo>
                  <a:lnTo>
                    <a:pt x="404" y="330"/>
                  </a:lnTo>
                  <a:lnTo>
                    <a:pt x="405" y="331"/>
                  </a:lnTo>
                  <a:lnTo>
                    <a:pt x="405" y="333"/>
                  </a:lnTo>
                  <a:lnTo>
                    <a:pt x="405" y="334"/>
                  </a:lnTo>
                  <a:lnTo>
                    <a:pt x="407" y="337"/>
                  </a:lnTo>
                  <a:lnTo>
                    <a:pt x="408" y="338"/>
                  </a:lnTo>
                  <a:lnTo>
                    <a:pt x="408" y="339"/>
                  </a:lnTo>
                  <a:lnTo>
                    <a:pt x="410" y="341"/>
                  </a:lnTo>
                  <a:lnTo>
                    <a:pt x="410" y="342"/>
                  </a:lnTo>
                  <a:lnTo>
                    <a:pt x="411" y="342"/>
                  </a:lnTo>
                  <a:lnTo>
                    <a:pt x="411" y="343"/>
                  </a:lnTo>
                  <a:lnTo>
                    <a:pt x="411" y="344"/>
                  </a:lnTo>
                  <a:lnTo>
                    <a:pt x="411" y="345"/>
                  </a:lnTo>
                  <a:lnTo>
                    <a:pt x="411" y="346"/>
                  </a:lnTo>
                  <a:lnTo>
                    <a:pt x="410" y="348"/>
                  </a:lnTo>
                  <a:lnTo>
                    <a:pt x="410" y="349"/>
                  </a:lnTo>
                  <a:lnTo>
                    <a:pt x="410" y="350"/>
                  </a:lnTo>
                  <a:lnTo>
                    <a:pt x="409" y="351"/>
                  </a:lnTo>
                  <a:lnTo>
                    <a:pt x="408" y="353"/>
                  </a:lnTo>
                  <a:lnTo>
                    <a:pt x="407" y="354"/>
                  </a:lnTo>
                  <a:lnTo>
                    <a:pt x="406" y="356"/>
                  </a:lnTo>
                  <a:lnTo>
                    <a:pt x="405" y="358"/>
                  </a:lnTo>
                  <a:lnTo>
                    <a:pt x="405" y="360"/>
                  </a:lnTo>
                  <a:lnTo>
                    <a:pt x="404" y="361"/>
                  </a:lnTo>
                  <a:lnTo>
                    <a:pt x="404" y="362"/>
                  </a:lnTo>
                  <a:lnTo>
                    <a:pt x="403" y="362"/>
                  </a:lnTo>
                  <a:lnTo>
                    <a:pt x="403" y="363"/>
                  </a:lnTo>
                  <a:lnTo>
                    <a:pt x="400" y="365"/>
                  </a:lnTo>
                  <a:lnTo>
                    <a:pt x="398" y="367"/>
                  </a:lnTo>
                  <a:lnTo>
                    <a:pt x="396" y="367"/>
                  </a:lnTo>
                  <a:lnTo>
                    <a:pt x="396" y="368"/>
                  </a:lnTo>
                  <a:lnTo>
                    <a:pt x="394" y="370"/>
                  </a:lnTo>
                  <a:lnTo>
                    <a:pt x="393" y="371"/>
                  </a:lnTo>
                  <a:lnTo>
                    <a:pt x="393" y="371"/>
                  </a:lnTo>
                  <a:lnTo>
                    <a:pt x="393" y="372"/>
                  </a:lnTo>
                  <a:lnTo>
                    <a:pt x="393" y="373"/>
                  </a:lnTo>
                  <a:lnTo>
                    <a:pt x="392" y="374"/>
                  </a:lnTo>
                  <a:lnTo>
                    <a:pt x="392" y="375"/>
                  </a:lnTo>
                  <a:lnTo>
                    <a:pt x="392" y="376"/>
                  </a:lnTo>
                  <a:lnTo>
                    <a:pt x="392" y="377"/>
                  </a:lnTo>
                  <a:lnTo>
                    <a:pt x="393" y="378"/>
                  </a:lnTo>
                  <a:lnTo>
                    <a:pt x="393" y="379"/>
                  </a:lnTo>
                  <a:lnTo>
                    <a:pt x="393" y="379"/>
                  </a:lnTo>
                  <a:lnTo>
                    <a:pt x="393" y="380"/>
                  </a:lnTo>
                  <a:lnTo>
                    <a:pt x="392" y="381"/>
                  </a:lnTo>
                  <a:lnTo>
                    <a:pt x="392" y="381"/>
                  </a:lnTo>
                  <a:lnTo>
                    <a:pt x="392" y="382"/>
                  </a:lnTo>
                  <a:lnTo>
                    <a:pt x="391" y="382"/>
                  </a:lnTo>
                  <a:lnTo>
                    <a:pt x="391" y="383"/>
                  </a:lnTo>
                  <a:lnTo>
                    <a:pt x="391" y="383"/>
                  </a:lnTo>
                  <a:lnTo>
                    <a:pt x="390" y="383"/>
                  </a:lnTo>
                  <a:lnTo>
                    <a:pt x="390" y="384"/>
                  </a:lnTo>
                  <a:lnTo>
                    <a:pt x="388" y="385"/>
                  </a:lnTo>
                  <a:lnTo>
                    <a:pt x="387" y="385"/>
                  </a:lnTo>
                  <a:lnTo>
                    <a:pt x="387" y="385"/>
                  </a:lnTo>
                  <a:lnTo>
                    <a:pt x="387" y="386"/>
                  </a:lnTo>
                  <a:lnTo>
                    <a:pt x="386" y="386"/>
                  </a:lnTo>
                  <a:lnTo>
                    <a:pt x="386" y="386"/>
                  </a:lnTo>
                  <a:lnTo>
                    <a:pt x="386" y="387"/>
                  </a:lnTo>
                  <a:lnTo>
                    <a:pt x="386" y="387"/>
                  </a:lnTo>
                  <a:lnTo>
                    <a:pt x="386" y="388"/>
                  </a:lnTo>
                  <a:lnTo>
                    <a:pt x="386" y="388"/>
                  </a:lnTo>
                  <a:lnTo>
                    <a:pt x="386" y="389"/>
                  </a:lnTo>
                  <a:lnTo>
                    <a:pt x="386" y="390"/>
                  </a:lnTo>
                  <a:lnTo>
                    <a:pt x="387" y="390"/>
                  </a:lnTo>
                  <a:lnTo>
                    <a:pt x="387" y="391"/>
                  </a:lnTo>
                  <a:lnTo>
                    <a:pt x="387" y="391"/>
                  </a:lnTo>
                  <a:lnTo>
                    <a:pt x="388" y="392"/>
                  </a:lnTo>
                  <a:lnTo>
                    <a:pt x="388" y="393"/>
                  </a:lnTo>
                  <a:lnTo>
                    <a:pt x="389" y="393"/>
                  </a:lnTo>
                  <a:lnTo>
                    <a:pt x="391" y="394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6"/>
                  </a:lnTo>
                  <a:lnTo>
                    <a:pt x="391" y="397"/>
                  </a:lnTo>
                  <a:lnTo>
                    <a:pt x="391" y="398"/>
                  </a:lnTo>
                  <a:lnTo>
                    <a:pt x="390" y="398"/>
                  </a:lnTo>
                  <a:lnTo>
                    <a:pt x="390" y="399"/>
                  </a:lnTo>
                  <a:lnTo>
                    <a:pt x="390" y="399"/>
                  </a:lnTo>
                  <a:lnTo>
                    <a:pt x="389" y="399"/>
                  </a:lnTo>
                  <a:lnTo>
                    <a:pt x="389" y="400"/>
                  </a:lnTo>
                  <a:lnTo>
                    <a:pt x="387" y="400"/>
                  </a:lnTo>
                  <a:lnTo>
                    <a:pt x="387" y="401"/>
                  </a:lnTo>
                  <a:lnTo>
                    <a:pt x="386" y="401"/>
                  </a:lnTo>
                  <a:lnTo>
                    <a:pt x="385" y="403"/>
                  </a:lnTo>
                  <a:lnTo>
                    <a:pt x="384" y="404"/>
                  </a:lnTo>
                  <a:lnTo>
                    <a:pt x="383" y="404"/>
                  </a:lnTo>
                  <a:lnTo>
                    <a:pt x="383" y="405"/>
                  </a:lnTo>
                  <a:lnTo>
                    <a:pt x="383" y="406"/>
                  </a:lnTo>
                  <a:lnTo>
                    <a:pt x="382" y="406"/>
                  </a:lnTo>
                  <a:lnTo>
                    <a:pt x="382" y="407"/>
                  </a:lnTo>
                  <a:lnTo>
                    <a:pt x="382" y="408"/>
                  </a:lnTo>
                  <a:lnTo>
                    <a:pt x="382" y="408"/>
                  </a:lnTo>
                  <a:lnTo>
                    <a:pt x="382" y="409"/>
                  </a:lnTo>
                  <a:lnTo>
                    <a:pt x="382" y="410"/>
                  </a:lnTo>
                  <a:lnTo>
                    <a:pt x="383" y="411"/>
                  </a:lnTo>
                  <a:lnTo>
                    <a:pt x="384" y="413"/>
                  </a:lnTo>
                  <a:lnTo>
                    <a:pt x="384" y="414"/>
                  </a:lnTo>
                  <a:lnTo>
                    <a:pt x="386" y="416"/>
                  </a:lnTo>
                  <a:lnTo>
                    <a:pt x="386" y="417"/>
                  </a:lnTo>
                  <a:lnTo>
                    <a:pt x="386" y="417"/>
                  </a:lnTo>
                  <a:lnTo>
                    <a:pt x="387" y="418"/>
                  </a:lnTo>
                  <a:lnTo>
                    <a:pt x="387" y="419"/>
                  </a:lnTo>
                  <a:lnTo>
                    <a:pt x="387" y="420"/>
                  </a:lnTo>
                  <a:lnTo>
                    <a:pt x="387" y="421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3"/>
                  </a:lnTo>
                  <a:lnTo>
                    <a:pt x="386" y="424"/>
                  </a:lnTo>
                  <a:lnTo>
                    <a:pt x="385" y="425"/>
                  </a:lnTo>
                  <a:lnTo>
                    <a:pt x="384" y="426"/>
                  </a:lnTo>
                  <a:lnTo>
                    <a:pt x="383" y="427"/>
                  </a:lnTo>
                  <a:lnTo>
                    <a:pt x="383" y="428"/>
                  </a:lnTo>
                  <a:lnTo>
                    <a:pt x="382" y="429"/>
                  </a:lnTo>
                  <a:lnTo>
                    <a:pt x="382" y="430"/>
                  </a:lnTo>
                  <a:lnTo>
                    <a:pt x="381" y="433"/>
                  </a:lnTo>
                  <a:lnTo>
                    <a:pt x="380" y="436"/>
                  </a:lnTo>
                  <a:lnTo>
                    <a:pt x="380" y="437"/>
                  </a:lnTo>
                  <a:lnTo>
                    <a:pt x="379" y="437"/>
                  </a:lnTo>
                  <a:lnTo>
                    <a:pt x="379" y="437"/>
                  </a:lnTo>
                  <a:lnTo>
                    <a:pt x="379" y="437"/>
                  </a:lnTo>
                  <a:lnTo>
                    <a:pt x="378" y="438"/>
                  </a:lnTo>
                  <a:lnTo>
                    <a:pt x="375" y="439"/>
                  </a:lnTo>
                  <a:lnTo>
                    <a:pt x="374" y="440"/>
                  </a:lnTo>
                  <a:lnTo>
                    <a:pt x="372" y="440"/>
                  </a:lnTo>
                  <a:lnTo>
                    <a:pt x="372" y="441"/>
                  </a:lnTo>
                  <a:lnTo>
                    <a:pt x="369" y="443"/>
                  </a:lnTo>
                  <a:lnTo>
                    <a:pt x="367" y="444"/>
                  </a:lnTo>
                  <a:lnTo>
                    <a:pt x="366" y="445"/>
                  </a:lnTo>
                  <a:lnTo>
                    <a:pt x="365" y="446"/>
                  </a:lnTo>
                  <a:lnTo>
                    <a:pt x="364" y="446"/>
                  </a:lnTo>
                  <a:lnTo>
                    <a:pt x="363" y="446"/>
                  </a:lnTo>
                  <a:lnTo>
                    <a:pt x="363" y="446"/>
                  </a:lnTo>
                  <a:lnTo>
                    <a:pt x="362" y="447"/>
                  </a:lnTo>
                  <a:lnTo>
                    <a:pt x="361" y="447"/>
                  </a:lnTo>
                  <a:lnTo>
                    <a:pt x="360" y="447"/>
                  </a:lnTo>
                  <a:lnTo>
                    <a:pt x="359" y="447"/>
                  </a:lnTo>
                  <a:lnTo>
                    <a:pt x="358" y="446"/>
                  </a:lnTo>
                  <a:lnTo>
                    <a:pt x="355" y="446"/>
                  </a:lnTo>
                  <a:lnTo>
                    <a:pt x="354" y="446"/>
                  </a:lnTo>
                  <a:lnTo>
                    <a:pt x="353" y="446"/>
                  </a:lnTo>
                  <a:lnTo>
                    <a:pt x="353" y="446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2" y="447"/>
                  </a:lnTo>
                  <a:lnTo>
                    <a:pt x="351" y="451"/>
                  </a:lnTo>
                  <a:lnTo>
                    <a:pt x="351" y="453"/>
                  </a:lnTo>
                  <a:lnTo>
                    <a:pt x="350" y="455"/>
                  </a:lnTo>
                  <a:lnTo>
                    <a:pt x="350" y="458"/>
                  </a:lnTo>
                  <a:lnTo>
                    <a:pt x="350" y="460"/>
                  </a:lnTo>
                  <a:lnTo>
                    <a:pt x="350" y="461"/>
                  </a:lnTo>
                  <a:lnTo>
                    <a:pt x="349" y="464"/>
                  </a:lnTo>
                  <a:lnTo>
                    <a:pt x="349" y="465"/>
                  </a:lnTo>
                  <a:lnTo>
                    <a:pt x="349" y="465"/>
                  </a:lnTo>
                  <a:lnTo>
                    <a:pt x="349" y="466"/>
                  </a:lnTo>
                  <a:lnTo>
                    <a:pt x="349" y="467"/>
                  </a:lnTo>
                  <a:lnTo>
                    <a:pt x="349" y="469"/>
                  </a:lnTo>
                  <a:lnTo>
                    <a:pt x="351" y="471"/>
                  </a:lnTo>
                  <a:lnTo>
                    <a:pt x="351" y="473"/>
                  </a:lnTo>
                  <a:lnTo>
                    <a:pt x="351" y="474"/>
                  </a:lnTo>
                  <a:lnTo>
                    <a:pt x="352" y="478"/>
                  </a:lnTo>
                  <a:lnTo>
                    <a:pt x="352" y="480"/>
                  </a:lnTo>
                  <a:lnTo>
                    <a:pt x="352" y="481"/>
                  </a:lnTo>
                  <a:lnTo>
                    <a:pt x="352" y="482"/>
                  </a:lnTo>
                  <a:lnTo>
                    <a:pt x="352" y="483"/>
                  </a:lnTo>
                  <a:lnTo>
                    <a:pt x="352" y="484"/>
                  </a:lnTo>
                  <a:lnTo>
                    <a:pt x="352" y="485"/>
                  </a:lnTo>
                  <a:lnTo>
                    <a:pt x="352" y="485"/>
                  </a:lnTo>
                  <a:lnTo>
                    <a:pt x="351" y="486"/>
                  </a:lnTo>
                  <a:lnTo>
                    <a:pt x="351" y="487"/>
                  </a:lnTo>
                  <a:lnTo>
                    <a:pt x="351" y="487"/>
                  </a:lnTo>
                  <a:lnTo>
                    <a:pt x="350" y="488"/>
                  </a:lnTo>
                  <a:lnTo>
                    <a:pt x="349" y="488"/>
                  </a:lnTo>
                  <a:lnTo>
                    <a:pt x="348" y="489"/>
                  </a:lnTo>
                  <a:lnTo>
                    <a:pt x="348" y="490"/>
                  </a:lnTo>
                  <a:lnTo>
                    <a:pt x="347" y="490"/>
                  </a:lnTo>
                  <a:lnTo>
                    <a:pt x="345" y="491"/>
                  </a:lnTo>
                  <a:lnTo>
                    <a:pt x="344" y="491"/>
                  </a:lnTo>
                  <a:lnTo>
                    <a:pt x="343" y="492"/>
                  </a:lnTo>
                  <a:lnTo>
                    <a:pt x="343" y="492"/>
                  </a:lnTo>
                  <a:lnTo>
                    <a:pt x="342" y="493"/>
                  </a:lnTo>
                  <a:lnTo>
                    <a:pt x="342" y="493"/>
                  </a:lnTo>
                  <a:lnTo>
                    <a:pt x="341" y="494"/>
                  </a:lnTo>
                  <a:lnTo>
                    <a:pt x="340" y="495"/>
                  </a:lnTo>
                  <a:lnTo>
                    <a:pt x="339" y="496"/>
                  </a:lnTo>
                  <a:lnTo>
                    <a:pt x="338" y="498"/>
                  </a:lnTo>
                  <a:lnTo>
                    <a:pt x="337" y="501"/>
                  </a:lnTo>
                  <a:lnTo>
                    <a:pt x="336" y="502"/>
                  </a:lnTo>
                  <a:lnTo>
                    <a:pt x="336" y="503"/>
                  </a:lnTo>
                  <a:lnTo>
                    <a:pt x="336" y="504"/>
                  </a:lnTo>
                  <a:lnTo>
                    <a:pt x="335" y="506"/>
                  </a:lnTo>
                  <a:lnTo>
                    <a:pt x="335" y="508"/>
                  </a:lnTo>
                  <a:lnTo>
                    <a:pt x="334" y="510"/>
                  </a:lnTo>
                  <a:lnTo>
                    <a:pt x="334" y="511"/>
                  </a:lnTo>
                  <a:lnTo>
                    <a:pt x="334" y="513"/>
                  </a:lnTo>
                  <a:lnTo>
                    <a:pt x="334" y="514"/>
                  </a:lnTo>
                  <a:lnTo>
                    <a:pt x="334" y="516"/>
                  </a:lnTo>
                  <a:lnTo>
                    <a:pt x="334" y="517"/>
                  </a:lnTo>
                  <a:lnTo>
                    <a:pt x="334" y="518"/>
                  </a:lnTo>
                  <a:lnTo>
                    <a:pt x="334" y="519"/>
                  </a:lnTo>
                  <a:lnTo>
                    <a:pt x="334" y="520"/>
                  </a:lnTo>
                  <a:lnTo>
                    <a:pt x="334" y="521"/>
                  </a:lnTo>
                  <a:lnTo>
                    <a:pt x="335" y="522"/>
                  </a:lnTo>
                  <a:lnTo>
                    <a:pt x="336" y="526"/>
                  </a:lnTo>
                  <a:lnTo>
                    <a:pt x="336" y="527"/>
                  </a:lnTo>
                  <a:lnTo>
                    <a:pt x="336" y="527"/>
                  </a:lnTo>
                  <a:lnTo>
                    <a:pt x="336" y="527"/>
                  </a:lnTo>
                  <a:lnTo>
                    <a:pt x="335" y="527"/>
                  </a:lnTo>
                  <a:lnTo>
                    <a:pt x="334" y="526"/>
                  </a:lnTo>
                  <a:lnTo>
                    <a:pt x="334" y="526"/>
                  </a:lnTo>
                  <a:lnTo>
                    <a:pt x="333" y="526"/>
                  </a:lnTo>
                  <a:lnTo>
                    <a:pt x="331" y="527"/>
                  </a:lnTo>
                  <a:lnTo>
                    <a:pt x="331" y="527"/>
                  </a:lnTo>
                  <a:lnTo>
                    <a:pt x="329" y="527"/>
                  </a:lnTo>
                  <a:lnTo>
                    <a:pt x="328" y="528"/>
                  </a:lnTo>
                  <a:lnTo>
                    <a:pt x="328" y="528"/>
                  </a:lnTo>
                  <a:lnTo>
                    <a:pt x="327" y="529"/>
                  </a:lnTo>
                  <a:lnTo>
                    <a:pt x="326" y="529"/>
                  </a:lnTo>
                  <a:lnTo>
                    <a:pt x="325" y="530"/>
                  </a:lnTo>
                  <a:lnTo>
                    <a:pt x="325" y="531"/>
                  </a:lnTo>
                  <a:lnTo>
                    <a:pt x="324" y="531"/>
                  </a:lnTo>
                  <a:lnTo>
                    <a:pt x="324" y="532"/>
                  </a:lnTo>
                  <a:lnTo>
                    <a:pt x="322" y="535"/>
                  </a:lnTo>
                  <a:lnTo>
                    <a:pt x="322" y="535"/>
                  </a:lnTo>
                  <a:lnTo>
                    <a:pt x="322" y="536"/>
                  </a:lnTo>
                  <a:lnTo>
                    <a:pt x="321" y="536"/>
                  </a:lnTo>
                  <a:lnTo>
                    <a:pt x="321" y="536"/>
                  </a:lnTo>
                  <a:lnTo>
                    <a:pt x="321" y="536"/>
                  </a:lnTo>
                  <a:lnTo>
                    <a:pt x="320" y="537"/>
                  </a:lnTo>
                  <a:lnTo>
                    <a:pt x="319" y="537"/>
                  </a:lnTo>
                  <a:lnTo>
                    <a:pt x="318" y="537"/>
                  </a:lnTo>
                  <a:lnTo>
                    <a:pt x="318" y="536"/>
                  </a:lnTo>
                  <a:lnTo>
                    <a:pt x="317" y="536"/>
                  </a:lnTo>
                  <a:lnTo>
                    <a:pt x="317" y="536"/>
                  </a:lnTo>
                  <a:lnTo>
                    <a:pt x="315" y="535"/>
                  </a:lnTo>
                  <a:lnTo>
                    <a:pt x="312" y="533"/>
                  </a:lnTo>
                  <a:lnTo>
                    <a:pt x="311" y="532"/>
                  </a:lnTo>
                  <a:lnTo>
                    <a:pt x="308" y="530"/>
                  </a:lnTo>
                  <a:lnTo>
                    <a:pt x="304" y="527"/>
                  </a:lnTo>
                  <a:lnTo>
                    <a:pt x="302" y="526"/>
                  </a:lnTo>
                  <a:lnTo>
                    <a:pt x="300" y="524"/>
                  </a:lnTo>
                  <a:lnTo>
                    <a:pt x="299" y="523"/>
                  </a:lnTo>
                  <a:lnTo>
                    <a:pt x="298" y="522"/>
                  </a:lnTo>
                  <a:lnTo>
                    <a:pt x="296" y="521"/>
                  </a:lnTo>
                  <a:lnTo>
                    <a:pt x="295" y="520"/>
                  </a:lnTo>
                  <a:lnTo>
                    <a:pt x="295" y="519"/>
                  </a:lnTo>
                  <a:lnTo>
                    <a:pt x="294" y="518"/>
                  </a:lnTo>
                  <a:lnTo>
                    <a:pt x="294" y="517"/>
                  </a:lnTo>
                  <a:lnTo>
                    <a:pt x="293" y="516"/>
                  </a:lnTo>
                  <a:lnTo>
                    <a:pt x="293" y="514"/>
                  </a:lnTo>
                  <a:lnTo>
                    <a:pt x="293" y="513"/>
                  </a:lnTo>
                  <a:lnTo>
                    <a:pt x="292" y="509"/>
                  </a:lnTo>
                  <a:lnTo>
                    <a:pt x="292" y="505"/>
                  </a:lnTo>
                  <a:lnTo>
                    <a:pt x="292" y="501"/>
                  </a:lnTo>
                  <a:lnTo>
                    <a:pt x="291" y="500"/>
                  </a:lnTo>
                  <a:lnTo>
                    <a:pt x="291" y="497"/>
                  </a:lnTo>
                  <a:lnTo>
                    <a:pt x="291" y="496"/>
                  </a:lnTo>
                  <a:lnTo>
                    <a:pt x="290" y="494"/>
                  </a:lnTo>
                  <a:lnTo>
                    <a:pt x="289" y="491"/>
                  </a:lnTo>
                  <a:lnTo>
                    <a:pt x="289" y="489"/>
                  </a:lnTo>
                  <a:lnTo>
                    <a:pt x="289" y="488"/>
                  </a:lnTo>
                  <a:lnTo>
                    <a:pt x="288" y="488"/>
                  </a:lnTo>
                  <a:lnTo>
                    <a:pt x="288" y="487"/>
                  </a:lnTo>
                  <a:lnTo>
                    <a:pt x="287" y="486"/>
                  </a:lnTo>
                  <a:lnTo>
                    <a:pt x="284" y="483"/>
                  </a:lnTo>
                  <a:lnTo>
                    <a:pt x="282" y="480"/>
                  </a:lnTo>
                  <a:lnTo>
                    <a:pt x="279" y="476"/>
                  </a:lnTo>
                  <a:lnTo>
                    <a:pt x="275" y="471"/>
                  </a:lnTo>
                  <a:lnTo>
                    <a:pt x="274" y="470"/>
                  </a:lnTo>
                  <a:lnTo>
                    <a:pt x="272" y="468"/>
                  </a:lnTo>
                  <a:lnTo>
                    <a:pt x="271" y="467"/>
                  </a:lnTo>
                  <a:lnTo>
                    <a:pt x="270" y="466"/>
                  </a:lnTo>
                  <a:lnTo>
                    <a:pt x="269" y="465"/>
                  </a:lnTo>
                  <a:lnTo>
                    <a:pt x="267" y="463"/>
                  </a:lnTo>
                  <a:lnTo>
                    <a:pt x="266" y="462"/>
                  </a:lnTo>
                  <a:lnTo>
                    <a:pt x="265" y="461"/>
                  </a:lnTo>
                  <a:lnTo>
                    <a:pt x="263" y="460"/>
                  </a:lnTo>
                  <a:lnTo>
                    <a:pt x="262" y="459"/>
                  </a:lnTo>
                  <a:lnTo>
                    <a:pt x="260" y="458"/>
                  </a:lnTo>
                  <a:lnTo>
                    <a:pt x="258" y="457"/>
                  </a:lnTo>
                  <a:lnTo>
                    <a:pt x="258" y="457"/>
                  </a:lnTo>
                  <a:lnTo>
                    <a:pt x="256" y="457"/>
                  </a:lnTo>
                  <a:lnTo>
                    <a:pt x="255" y="456"/>
                  </a:lnTo>
                  <a:lnTo>
                    <a:pt x="253" y="456"/>
                  </a:lnTo>
                  <a:lnTo>
                    <a:pt x="252" y="456"/>
                  </a:lnTo>
                  <a:lnTo>
                    <a:pt x="250" y="456"/>
                  </a:lnTo>
                  <a:lnTo>
                    <a:pt x="246" y="456"/>
                  </a:lnTo>
                  <a:lnTo>
                    <a:pt x="243" y="456"/>
                  </a:lnTo>
                  <a:lnTo>
                    <a:pt x="242" y="456"/>
                  </a:lnTo>
                  <a:lnTo>
                    <a:pt x="241" y="456"/>
                  </a:lnTo>
                  <a:lnTo>
                    <a:pt x="240" y="455"/>
                  </a:lnTo>
                  <a:lnTo>
                    <a:pt x="239" y="455"/>
                  </a:lnTo>
                  <a:lnTo>
                    <a:pt x="237" y="454"/>
                  </a:lnTo>
                  <a:lnTo>
                    <a:pt x="236" y="454"/>
                  </a:lnTo>
                  <a:lnTo>
                    <a:pt x="235" y="453"/>
                  </a:lnTo>
                  <a:lnTo>
                    <a:pt x="233" y="452"/>
                  </a:lnTo>
                  <a:lnTo>
                    <a:pt x="231" y="451"/>
                  </a:lnTo>
                  <a:lnTo>
                    <a:pt x="231" y="451"/>
                  </a:lnTo>
                  <a:lnTo>
                    <a:pt x="229" y="449"/>
                  </a:lnTo>
                  <a:lnTo>
                    <a:pt x="228" y="448"/>
                  </a:lnTo>
                  <a:lnTo>
                    <a:pt x="227" y="447"/>
                  </a:lnTo>
                  <a:lnTo>
                    <a:pt x="226" y="446"/>
                  </a:lnTo>
                  <a:lnTo>
                    <a:pt x="226" y="446"/>
                  </a:lnTo>
                  <a:lnTo>
                    <a:pt x="225" y="444"/>
                  </a:lnTo>
                  <a:lnTo>
                    <a:pt x="225" y="443"/>
                  </a:lnTo>
                  <a:lnTo>
                    <a:pt x="224" y="442"/>
                  </a:lnTo>
                  <a:lnTo>
                    <a:pt x="224" y="441"/>
                  </a:lnTo>
                  <a:lnTo>
                    <a:pt x="223" y="436"/>
                  </a:lnTo>
                  <a:lnTo>
                    <a:pt x="223" y="434"/>
                  </a:lnTo>
                  <a:lnTo>
                    <a:pt x="222" y="433"/>
                  </a:lnTo>
                  <a:lnTo>
                    <a:pt x="222" y="432"/>
                  </a:lnTo>
                  <a:lnTo>
                    <a:pt x="222" y="431"/>
                  </a:lnTo>
                  <a:lnTo>
                    <a:pt x="221" y="430"/>
                  </a:lnTo>
                  <a:lnTo>
                    <a:pt x="221" y="430"/>
                  </a:lnTo>
                  <a:lnTo>
                    <a:pt x="220" y="429"/>
                  </a:lnTo>
                  <a:lnTo>
                    <a:pt x="217" y="426"/>
                  </a:lnTo>
                  <a:lnTo>
                    <a:pt x="214" y="422"/>
                  </a:lnTo>
                  <a:lnTo>
                    <a:pt x="209" y="417"/>
                  </a:lnTo>
                  <a:lnTo>
                    <a:pt x="208" y="416"/>
                  </a:lnTo>
                  <a:lnTo>
                    <a:pt x="208" y="416"/>
                  </a:lnTo>
                  <a:lnTo>
                    <a:pt x="207" y="415"/>
                  </a:lnTo>
                  <a:lnTo>
                    <a:pt x="207" y="414"/>
                  </a:lnTo>
                  <a:lnTo>
                    <a:pt x="206" y="413"/>
                  </a:lnTo>
                  <a:lnTo>
                    <a:pt x="205" y="410"/>
                  </a:lnTo>
                  <a:lnTo>
                    <a:pt x="204" y="409"/>
                  </a:lnTo>
                  <a:lnTo>
                    <a:pt x="203" y="407"/>
                  </a:lnTo>
                  <a:lnTo>
                    <a:pt x="201" y="404"/>
                  </a:lnTo>
                  <a:lnTo>
                    <a:pt x="200" y="403"/>
                  </a:lnTo>
                  <a:lnTo>
                    <a:pt x="199" y="402"/>
                  </a:lnTo>
                  <a:lnTo>
                    <a:pt x="197" y="399"/>
                  </a:lnTo>
                  <a:lnTo>
                    <a:pt x="197" y="398"/>
                  </a:lnTo>
                  <a:lnTo>
                    <a:pt x="196" y="397"/>
                  </a:lnTo>
                  <a:lnTo>
                    <a:pt x="196" y="396"/>
                  </a:lnTo>
                  <a:lnTo>
                    <a:pt x="195" y="396"/>
                  </a:lnTo>
                  <a:lnTo>
                    <a:pt x="192" y="393"/>
                  </a:lnTo>
                  <a:lnTo>
                    <a:pt x="191" y="392"/>
                  </a:lnTo>
                  <a:lnTo>
                    <a:pt x="190" y="391"/>
                  </a:lnTo>
                  <a:lnTo>
                    <a:pt x="189" y="389"/>
                  </a:lnTo>
                  <a:lnTo>
                    <a:pt x="188" y="388"/>
                  </a:lnTo>
                  <a:lnTo>
                    <a:pt x="187" y="388"/>
                  </a:lnTo>
                  <a:lnTo>
                    <a:pt x="185" y="385"/>
                  </a:lnTo>
                  <a:lnTo>
                    <a:pt x="184" y="385"/>
                  </a:lnTo>
                  <a:lnTo>
                    <a:pt x="184" y="384"/>
                  </a:lnTo>
                  <a:lnTo>
                    <a:pt x="183" y="383"/>
                  </a:lnTo>
                  <a:lnTo>
                    <a:pt x="183" y="382"/>
                  </a:lnTo>
                  <a:lnTo>
                    <a:pt x="182" y="381"/>
                  </a:lnTo>
                  <a:lnTo>
                    <a:pt x="182" y="380"/>
                  </a:lnTo>
                  <a:lnTo>
                    <a:pt x="182" y="379"/>
                  </a:lnTo>
                  <a:lnTo>
                    <a:pt x="181" y="375"/>
                  </a:lnTo>
                  <a:lnTo>
                    <a:pt x="181" y="373"/>
                  </a:lnTo>
                  <a:lnTo>
                    <a:pt x="181" y="372"/>
                  </a:lnTo>
                  <a:lnTo>
                    <a:pt x="180" y="371"/>
                  </a:lnTo>
                  <a:lnTo>
                    <a:pt x="180" y="370"/>
                  </a:lnTo>
                  <a:lnTo>
                    <a:pt x="179" y="370"/>
                  </a:lnTo>
                  <a:lnTo>
                    <a:pt x="179" y="369"/>
                  </a:lnTo>
                  <a:lnTo>
                    <a:pt x="178" y="368"/>
                  </a:lnTo>
                  <a:lnTo>
                    <a:pt x="176" y="366"/>
                  </a:lnTo>
                  <a:lnTo>
                    <a:pt x="173" y="363"/>
                  </a:lnTo>
                  <a:lnTo>
                    <a:pt x="170" y="359"/>
                  </a:lnTo>
                  <a:lnTo>
                    <a:pt x="168" y="358"/>
                  </a:lnTo>
                  <a:lnTo>
                    <a:pt x="167" y="356"/>
                  </a:lnTo>
                  <a:lnTo>
                    <a:pt x="166" y="355"/>
                  </a:lnTo>
                  <a:lnTo>
                    <a:pt x="164" y="354"/>
                  </a:lnTo>
                  <a:lnTo>
                    <a:pt x="163" y="354"/>
                  </a:lnTo>
                  <a:lnTo>
                    <a:pt x="163" y="353"/>
                  </a:lnTo>
                  <a:lnTo>
                    <a:pt x="161" y="352"/>
                  </a:lnTo>
                  <a:lnTo>
                    <a:pt x="159" y="351"/>
                  </a:lnTo>
                  <a:lnTo>
                    <a:pt x="158" y="351"/>
                  </a:lnTo>
                  <a:lnTo>
                    <a:pt x="157" y="350"/>
                  </a:lnTo>
                  <a:lnTo>
                    <a:pt x="156" y="350"/>
                  </a:lnTo>
                  <a:lnTo>
                    <a:pt x="153" y="349"/>
                  </a:lnTo>
                  <a:lnTo>
                    <a:pt x="151" y="348"/>
                  </a:lnTo>
                  <a:lnTo>
                    <a:pt x="146" y="347"/>
                  </a:lnTo>
                  <a:lnTo>
                    <a:pt x="144" y="347"/>
                  </a:lnTo>
                  <a:lnTo>
                    <a:pt x="142" y="347"/>
                  </a:lnTo>
                  <a:lnTo>
                    <a:pt x="142" y="347"/>
                  </a:lnTo>
                  <a:lnTo>
                    <a:pt x="141" y="347"/>
                  </a:lnTo>
                  <a:lnTo>
                    <a:pt x="141" y="347"/>
                  </a:lnTo>
                  <a:lnTo>
                    <a:pt x="140" y="347"/>
                  </a:lnTo>
                  <a:lnTo>
                    <a:pt x="139" y="348"/>
                  </a:lnTo>
                  <a:lnTo>
                    <a:pt x="139" y="348"/>
                  </a:lnTo>
                  <a:lnTo>
                    <a:pt x="139" y="349"/>
                  </a:lnTo>
                  <a:lnTo>
                    <a:pt x="138" y="350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36" y="351"/>
                  </a:lnTo>
                  <a:lnTo>
                    <a:pt x="135" y="352"/>
                  </a:lnTo>
                  <a:lnTo>
                    <a:pt x="135" y="352"/>
                  </a:lnTo>
                  <a:lnTo>
                    <a:pt x="134" y="351"/>
                  </a:lnTo>
                  <a:lnTo>
                    <a:pt x="133" y="351"/>
                  </a:lnTo>
                  <a:lnTo>
                    <a:pt x="130" y="351"/>
                  </a:lnTo>
                  <a:lnTo>
                    <a:pt x="128" y="350"/>
                  </a:lnTo>
                  <a:lnTo>
                    <a:pt x="126" y="350"/>
                  </a:lnTo>
                  <a:lnTo>
                    <a:pt x="125" y="349"/>
                  </a:lnTo>
                  <a:lnTo>
                    <a:pt x="122" y="349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7" y="349"/>
                  </a:lnTo>
                  <a:lnTo>
                    <a:pt x="115" y="348"/>
                  </a:lnTo>
                  <a:lnTo>
                    <a:pt x="114" y="348"/>
                  </a:lnTo>
                  <a:lnTo>
                    <a:pt x="113" y="347"/>
                  </a:lnTo>
                  <a:lnTo>
                    <a:pt x="111" y="347"/>
                  </a:lnTo>
                  <a:lnTo>
                    <a:pt x="110" y="346"/>
                  </a:lnTo>
                  <a:lnTo>
                    <a:pt x="110" y="346"/>
                  </a:lnTo>
                  <a:lnTo>
                    <a:pt x="109" y="345"/>
                  </a:lnTo>
                  <a:lnTo>
                    <a:pt x="108" y="344"/>
                  </a:lnTo>
                  <a:lnTo>
                    <a:pt x="108" y="343"/>
                  </a:lnTo>
                  <a:lnTo>
                    <a:pt x="107" y="343"/>
                  </a:lnTo>
                  <a:lnTo>
                    <a:pt x="106" y="340"/>
                  </a:lnTo>
                  <a:lnTo>
                    <a:pt x="104" y="336"/>
                  </a:lnTo>
                  <a:lnTo>
                    <a:pt x="103" y="335"/>
                  </a:lnTo>
                  <a:lnTo>
                    <a:pt x="102" y="333"/>
                  </a:lnTo>
                  <a:lnTo>
                    <a:pt x="102" y="332"/>
                  </a:lnTo>
                  <a:lnTo>
                    <a:pt x="101" y="329"/>
                  </a:lnTo>
                  <a:lnTo>
                    <a:pt x="100" y="327"/>
                  </a:lnTo>
                  <a:lnTo>
                    <a:pt x="100" y="326"/>
                  </a:lnTo>
                  <a:lnTo>
                    <a:pt x="99" y="325"/>
                  </a:lnTo>
                  <a:lnTo>
                    <a:pt x="99" y="324"/>
                  </a:lnTo>
                  <a:lnTo>
                    <a:pt x="98" y="322"/>
                  </a:lnTo>
                  <a:lnTo>
                    <a:pt x="97" y="321"/>
                  </a:lnTo>
                  <a:lnTo>
                    <a:pt x="96" y="320"/>
                  </a:lnTo>
                  <a:lnTo>
                    <a:pt x="94" y="318"/>
                  </a:lnTo>
                  <a:lnTo>
                    <a:pt x="93" y="317"/>
                  </a:lnTo>
                  <a:lnTo>
                    <a:pt x="87" y="313"/>
                  </a:lnTo>
                  <a:lnTo>
                    <a:pt x="86" y="312"/>
                  </a:lnTo>
                  <a:lnTo>
                    <a:pt x="85" y="311"/>
                  </a:lnTo>
                  <a:lnTo>
                    <a:pt x="84" y="310"/>
                  </a:lnTo>
                  <a:lnTo>
                    <a:pt x="82" y="310"/>
                  </a:lnTo>
                  <a:lnTo>
                    <a:pt x="79" y="308"/>
                  </a:lnTo>
                  <a:lnTo>
                    <a:pt x="77" y="307"/>
                  </a:lnTo>
                  <a:lnTo>
                    <a:pt x="76" y="307"/>
                  </a:lnTo>
                  <a:lnTo>
                    <a:pt x="75" y="306"/>
                  </a:lnTo>
                  <a:lnTo>
                    <a:pt x="74" y="305"/>
                  </a:lnTo>
                  <a:lnTo>
                    <a:pt x="73" y="304"/>
                  </a:lnTo>
                  <a:lnTo>
                    <a:pt x="73" y="304"/>
                  </a:lnTo>
                  <a:lnTo>
                    <a:pt x="73" y="303"/>
                  </a:lnTo>
                  <a:lnTo>
                    <a:pt x="72" y="303"/>
                  </a:lnTo>
                  <a:lnTo>
                    <a:pt x="72" y="302"/>
                  </a:lnTo>
                  <a:lnTo>
                    <a:pt x="72" y="301"/>
                  </a:lnTo>
                  <a:lnTo>
                    <a:pt x="71" y="300"/>
                  </a:lnTo>
                  <a:lnTo>
                    <a:pt x="71" y="299"/>
                  </a:lnTo>
                  <a:lnTo>
                    <a:pt x="70" y="295"/>
                  </a:lnTo>
                  <a:lnTo>
                    <a:pt x="69" y="293"/>
                  </a:lnTo>
                  <a:lnTo>
                    <a:pt x="68" y="291"/>
                  </a:lnTo>
                  <a:lnTo>
                    <a:pt x="67" y="287"/>
                  </a:lnTo>
                  <a:lnTo>
                    <a:pt x="67" y="286"/>
                  </a:lnTo>
                  <a:lnTo>
                    <a:pt x="67" y="285"/>
                  </a:lnTo>
                  <a:lnTo>
                    <a:pt x="67" y="284"/>
                  </a:lnTo>
                  <a:lnTo>
                    <a:pt x="67" y="283"/>
                  </a:lnTo>
                  <a:lnTo>
                    <a:pt x="67" y="282"/>
                  </a:lnTo>
                  <a:lnTo>
                    <a:pt x="67" y="280"/>
                  </a:lnTo>
                  <a:lnTo>
                    <a:pt x="67" y="278"/>
                  </a:lnTo>
                  <a:lnTo>
                    <a:pt x="67" y="276"/>
                  </a:lnTo>
                  <a:lnTo>
                    <a:pt x="67" y="273"/>
                  </a:lnTo>
                  <a:lnTo>
                    <a:pt x="67" y="270"/>
                  </a:lnTo>
                  <a:lnTo>
                    <a:pt x="67" y="268"/>
                  </a:lnTo>
                  <a:lnTo>
                    <a:pt x="67" y="267"/>
                  </a:lnTo>
                  <a:lnTo>
                    <a:pt x="67" y="266"/>
                  </a:lnTo>
                  <a:lnTo>
                    <a:pt x="67" y="265"/>
                  </a:lnTo>
                  <a:lnTo>
                    <a:pt x="66" y="264"/>
                  </a:lnTo>
                  <a:lnTo>
                    <a:pt x="66" y="263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4" y="261"/>
                  </a:lnTo>
                  <a:lnTo>
                    <a:pt x="62" y="260"/>
                  </a:lnTo>
                  <a:lnTo>
                    <a:pt x="60" y="260"/>
                  </a:lnTo>
                  <a:lnTo>
                    <a:pt x="58" y="259"/>
                  </a:lnTo>
                  <a:lnTo>
                    <a:pt x="57" y="258"/>
                  </a:lnTo>
                  <a:lnTo>
                    <a:pt x="57" y="258"/>
                  </a:lnTo>
                  <a:lnTo>
                    <a:pt x="56" y="257"/>
                  </a:lnTo>
                  <a:lnTo>
                    <a:pt x="55" y="257"/>
                  </a:lnTo>
                  <a:lnTo>
                    <a:pt x="55" y="256"/>
                  </a:lnTo>
                  <a:lnTo>
                    <a:pt x="54" y="255"/>
                  </a:lnTo>
                  <a:lnTo>
                    <a:pt x="53" y="254"/>
                  </a:lnTo>
                  <a:lnTo>
                    <a:pt x="52" y="252"/>
                  </a:lnTo>
                  <a:lnTo>
                    <a:pt x="51" y="250"/>
                  </a:lnTo>
                  <a:lnTo>
                    <a:pt x="50" y="249"/>
                  </a:lnTo>
                  <a:lnTo>
                    <a:pt x="50" y="247"/>
                  </a:lnTo>
                  <a:lnTo>
                    <a:pt x="49" y="246"/>
                  </a:lnTo>
                  <a:lnTo>
                    <a:pt x="49" y="245"/>
                  </a:lnTo>
                  <a:lnTo>
                    <a:pt x="48" y="243"/>
                  </a:lnTo>
                  <a:lnTo>
                    <a:pt x="48" y="242"/>
                  </a:lnTo>
                  <a:lnTo>
                    <a:pt x="48" y="241"/>
                  </a:lnTo>
                  <a:lnTo>
                    <a:pt x="47" y="235"/>
                  </a:lnTo>
                  <a:lnTo>
                    <a:pt x="47" y="234"/>
                  </a:lnTo>
                  <a:lnTo>
                    <a:pt x="47" y="232"/>
                  </a:lnTo>
                  <a:lnTo>
                    <a:pt x="47" y="230"/>
                  </a:lnTo>
                  <a:lnTo>
                    <a:pt x="45" y="226"/>
                  </a:lnTo>
                  <a:lnTo>
                    <a:pt x="45" y="224"/>
                  </a:lnTo>
                  <a:lnTo>
                    <a:pt x="44" y="223"/>
                  </a:lnTo>
                  <a:lnTo>
                    <a:pt x="43" y="222"/>
                  </a:lnTo>
                  <a:lnTo>
                    <a:pt x="43" y="221"/>
                  </a:lnTo>
                  <a:lnTo>
                    <a:pt x="42" y="220"/>
                  </a:lnTo>
                  <a:lnTo>
                    <a:pt x="42" y="219"/>
                  </a:lnTo>
                  <a:lnTo>
                    <a:pt x="41" y="219"/>
                  </a:lnTo>
                  <a:lnTo>
                    <a:pt x="40" y="218"/>
                  </a:lnTo>
                  <a:lnTo>
                    <a:pt x="38" y="217"/>
                  </a:lnTo>
                  <a:lnTo>
                    <a:pt x="38" y="217"/>
                  </a:lnTo>
                  <a:lnTo>
                    <a:pt x="37" y="217"/>
                  </a:lnTo>
                  <a:lnTo>
                    <a:pt x="37" y="216"/>
                  </a:lnTo>
                  <a:lnTo>
                    <a:pt x="36" y="215"/>
                  </a:lnTo>
                  <a:lnTo>
                    <a:pt x="35" y="214"/>
                  </a:lnTo>
                  <a:lnTo>
                    <a:pt x="35" y="213"/>
                  </a:lnTo>
                  <a:lnTo>
                    <a:pt x="34" y="212"/>
                  </a:lnTo>
                  <a:lnTo>
                    <a:pt x="34" y="211"/>
                  </a:lnTo>
                  <a:lnTo>
                    <a:pt x="34" y="209"/>
                  </a:lnTo>
                  <a:lnTo>
                    <a:pt x="34" y="208"/>
                  </a:lnTo>
                  <a:lnTo>
                    <a:pt x="33" y="206"/>
                  </a:lnTo>
                  <a:lnTo>
                    <a:pt x="33" y="206"/>
                  </a:lnTo>
                  <a:lnTo>
                    <a:pt x="33" y="205"/>
                  </a:lnTo>
                  <a:lnTo>
                    <a:pt x="34" y="204"/>
                  </a:lnTo>
                  <a:lnTo>
                    <a:pt x="34" y="202"/>
                  </a:lnTo>
                  <a:lnTo>
                    <a:pt x="34" y="199"/>
                  </a:lnTo>
                  <a:lnTo>
                    <a:pt x="35" y="197"/>
                  </a:lnTo>
                  <a:lnTo>
                    <a:pt x="35" y="196"/>
                  </a:lnTo>
                  <a:lnTo>
                    <a:pt x="35" y="195"/>
                  </a:lnTo>
                  <a:lnTo>
                    <a:pt x="35" y="194"/>
                  </a:lnTo>
                  <a:lnTo>
                    <a:pt x="35" y="193"/>
                  </a:lnTo>
                  <a:lnTo>
                    <a:pt x="34" y="192"/>
                  </a:lnTo>
                  <a:lnTo>
                    <a:pt x="34" y="190"/>
                  </a:lnTo>
                  <a:lnTo>
                    <a:pt x="33" y="189"/>
                  </a:lnTo>
                  <a:lnTo>
                    <a:pt x="33" y="189"/>
                  </a:lnTo>
                  <a:lnTo>
                    <a:pt x="32" y="188"/>
                  </a:lnTo>
                  <a:lnTo>
                    <a:pt x="32" y="188"/>
                  </a:lnTo>
                  <a:lnTo>
                    <a:pt x="31" y="187"/>
                  </a:lnTo>
                  <a:lnTo>
                    <a:pt x="30" y="187"/>
                  </a:lnTo>
                  <a:lnTo>
                    <a:pt x="26" y="185"/>
                  </a:lnTo>
                  <a:lnTo>
                    <a:pt x="25" y="185"/>
                  </a:lnTo>
                  <a:lnTo>
                    <a:pt x="24" y="184"/>
                  </a:lnTo>
                  <a:lnTo>
                    <a:pt x="21" y="183"/>
                  </a:lnTo>
                  <a:lnTo>
                    <a:pt x="17" y="180"/>
                  </a:lnTo>
                  <a:lnTo>
                    <a:pt x="14" y="179"/>
                  </a:lnTo>
                  <a:lnTo>
                    <a:pt x="14" y="178"/>
                  </a:lnTo>
                  <a:lnTo>
                    <a:pt x="13" y="177"/>
                  </a:lnTo>
                  <a:lnTo>
                    <a:pt x="12" y="177"/>
                  </a:lnTo>
                  <a:lnTo>
                    <a:pt x="11" y="176"/>
                  </a:lnTo>
                  <a:lnTo>
                    <a:pt x="10" y="175"/>
                  </a:lnTo>
                  <a:lnTo>
                    <a:pt x="10" y="174"/>
                  </a:lnTo>
                  <a:lnTo>
                    <a:pt x="9" y="174"/>
                  </a:lnTo>
                  <a:lnTo>
                    <a:pt x="8" y="173"/>
                  </a:lnTo>
                  <a:lnTo>
                    <a:pt x="7" y="170"/>
                  </a:lnTo>
                  <a:lnTo>
                    <a:pt x="5" y="167"/>
                  </a:lnTo>
                  <a:lnTo>
                    <a:pt x="3" y="163"/>
                  </a:lnTo>
                  <a:lnTo>
                    <a:pt x="2" y="162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6"/>
                  </a:lnTo>
                  <a:lnTo>
                    <a:pt x="0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6" y="147"/>
                  </a:lnTo>
                  <a:lnTo>
                    <a:pt x="9" y="146"/>
                  </a:lnTo>
                  <a:lnTo>
                    <a:pt x="14" y="143"/>
                  </a:lnTo>
                  <a:lnTo>
                    <a:pt x="15" y="142"/>
                  </a:lnTo>
                  <a:lnTo>
                    <a:pt x="16" y="141"/>
                  </a:lnTo>
                  <a:lnTo>
                    <a:pt x="17" y="140"/>
                  </a:lnTo>
                  <a:lnTo>
                    <a:pt x="18" y="140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9" y="138"/>
                  </a:lnTo>
                  <a:lnTo>
                    <a:pt x="19" y="137"/>
                  </a:lnTo>
                  <a:lnTo>
                    <a:pt x="19" y="136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21" y="128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3" y="119"/>
                  </a:lnTo>
                  <a:lnTo>
                    <a:pt x="24" y="118"/>
                  </a:lnTo>
                  <a:lnTo>
                    <a:pt x="25" y="117"/>
                  </a:lnTo>
                  <a:lnTo>
                    <a:pt x="26" y="116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9" y="112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3" y="106"/>
                  </a:lnTo>
                  <a:lnTo>
                    <a:pt x="34" y="105"/>
                  </a:lnTo>
                  <a:lnTo>
                    <a:pt x="35" y="103"/>
                  </a:lnTo>
                  <a:lnTo>
                    <a:pt x="37" y="98"/>
                  </a:lnTo>
                  <a:lnTo>
                    <a:pt x="38" y="96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2"/>
                  </a:lnTo>
                  <a:lnTo>
                    <a:pt x="44" y="88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2" y="87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89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5" y="86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8" y="84"/>
                  </a:lnTo>
                  <a:lnTo>
                    <a:pt x="69" y="84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8" y="85"/>
                  </a:lnTo>
                  <a:lnTo>
                    <a:pt x="79" y="86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1" y="89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89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7"/>
                  </a:lnTo>
                  <a:lnTo>
                    <a:pt x="86" y="86"/>
                  </a:lnTo>
                  <a:lnTo>
                    <a:pt x="87" y="86"/>
                  </a:lnTo>
                  <a:lnTo>
                    <a:pt x="88" y="85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1" y="77"/>
                  </a:lnTo>
                  <a:lnTo>
                    <a:pt x="103" y="77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9" y="75"/>
                  </a:lnTo>
                  <a:lnTo>
                    <a:pt x="110" y="75"/>
                  </a:lnTo>
                  <a:lnTo>
                    <a:pt x="112" y="75"/>
                  </a:lnTo>
                  <a:lnTo>
                    <a:pt x="113" y="75"/>
                  </a:lnTo>
                  <a:lnTo>
                    <a:pt x="114" y="75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0" y="73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7" y="75"/>
                  </a:lnTo>
                  <a:lnTo>
                    <a:pt x="132" y="76"/>
                  </a:lnTo>
                  <a:lnTo>
                    <a:pt x="133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8"/>
                  </a:lnTo>
                  <a:lnTo>
                    <a:pt x="142" y="78"/>
                  </a:lnTo>
                  <a:lnTo>
                    <a:pt x="144" y="78"/>
                  </a:lnTo>
                  <a:lnTo>
                    <a:pt x="146" y="78"/>
                  </a:lnTo>
                  <a:lnTo>
                    <a:pt x="147" y="78"/>
                  </a:lnTo>
                  <a:lnTo>
                    <a:pt x="148" y="77"/>
                  </a:lnTo>
                  <a:lnTo>
                    <a:pt x="149" y="77"/>
                  </a:lnTo>
                  <a:lnTo>
                    <a:pt x="150" y="78"/>
                  </a:lnTo>
                  <a:lnTo>
                    <a:pt x="151" y="78"/>
                  </a:lnTo>
                  <a:lnTo>
                    <a:pt x="152" y="78"/>
                  </a:lnTo>
                  <a:lnTo>
                    <a:pt x="155" y="79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7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7" y="74"/>
                  </a:lnTo>
                  <a:lnTo>
                    <a:pt x="168" y="73"/>
                  </a:lnTo>
                  <a:lnTo>
                    <a:pt x="168" y="72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70" y="66"/>
                  </a:lnTo>
                  <a:lnTo>
                    <a:pt x="170" y="65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1" y="59"/>
                  </a:lnTo>
                  <a:lnTo>
                    <a:pt x="171" y="58"/>
                  </a:lnTo>
                  <a:lnTo>
                    <a:pt x="172" y="58"/>
                  </a:lnTo>
                  <a:lnTo>
                    <a:pt x="172" y="57"/>
                  </a:lnTo>
                  <a:lnTo>
                    <a:pt x="173" y="57"/>
                  </a:lnTo>
                  <a:lnTo>
                    <a:pt x="174" y="57"/>
                  </a:lnTo>
                  <a:lnTo>
                    <a:pt x="176" y="56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92" y="47"/>
                  </a:lnTo>
                  <a:lnTo>
                    <a:pt x="194" y="45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0" y="42"/>
                  </a:lnTo>
                  <a:lnTo>
                    <a:pt x="200" y="41"/>
                  </a:lnTo>
                  <a:lnTo>
                    <a:pt x="202" y="40"/>
                  </a:lnTo>
                  <a:lnTo>
                    <a:pt x="203" y="38"/>
                  </a:lnTo>
                  <a:lnTo>
                    <a:pt x="205" y="37"/>
                  </a:lnTo>
                  <a:lnTo>
                    <a:pt x="207" y="35"/>
                  </a:lnTo>
                  <a:lnTo>
                    <a:pt x="207" y="34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7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6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2" y="38"/>
                  </a:lnTo>
                  <a:lnTo>
                    <a:pt x="233" y="39"/>
                  </a:lnTo>
                  <a:lnTo>
                    <a:pt x="235" y="41"/>
                  </a:lnTo>
                  <a:lnTo>
                    <a:pt x="236" y="41"/>
                  </a:lnTo>
                  <a:lnTo>
                    <a:pt x="237" y="42"/>
                  </a:lnTo>
                  <a:lnTo>
                    <a:pt x="240" y="44"/>
                  </a:lnTo>
                  <a:lnTo>
                    <a:pt x="241" y="45"/>
                  </a:lnTo>
                  <a:lnTo>
                    <a:pt x="242" y="46"/>
                  </a:lnTo>
                  <a:lnTo>
                    <a:pt x="243" y="46"/>
                  </a:lnTo>
                  <a:lnTo>
                    <a:pt x="244" y="47"/>
                  </a:lnTo>
                  <a:lnTo>
                    <a:pt x="245" y="47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7"/>
                  </a:lnTo>
                  <a:lnTo>
                    <a:pt x="249" y="47"/>
                  </a:lnTo>
                  <a:lnTo>
                    <a:pt x="249" y="46"/>
                  </a:lnTo>
                  <a:lnTo>
                    <a:pt x="250" y="46"/>
                  </a:lnTo>
                  <a:lnTo>
                    <a:pt x="250" y="45"/>
                  </a:lnTo>
                  <a:lnTo>
                    <a:pt x="250" y="44"/>
                  </a:lnTo>
                  <a:lnTo>
                    <a:pt x="250" y="43"/>
                  </a:lnTo>
                  <a:lnTo>
                    <a:pt x="252" y="37"/>
                  </a:lnTo>
                  <a:lnTo>
                    <a:pt x="252" y="36"/>
                  </a:lnTo>
                  <a:lnTo>
                    <a:pt x="252" y="35"/>
                  </a:lnTo>
                  <a:lnTo>
                    <a:pt x="252" y="34"/>
                  </a:lnTo>
                  <a:lnTo>
                    <a:pt x="252" y="32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2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3" y="26"/>
                  </a:lnTo>
                  <a:lnTo>
                    <a:pt x="254" y="26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7" y="25"/>
                  </a:lnTo>
                  <a:lnTo>
                    <a:pt x="259" y="24"/>
                  </a:lnTo>
                  <a:lnTo>
                    <a:pt x="262" y="23"/>
                  </a:lnTo>
                  <a:lnTo>
                    <a:pt x="263" y="23"/>
                  </a:lnTo>
                  <a:lnTo>
                    <a:pt x="264" y="22"/>
                  </a:lnTo>
                  <a:lnTo>
                    <a:pt x="265" y="21"/>
                  </a:lnTo>
                  <a:lnTo>
                    <a:pt x="266" y="21"/>
                  </a:lnTo>
                  <a:lnTo>
                    <a:pt x="267" y="20"/>
                  </a:lnTo>
                  <a:lnTo>
                    <a:pt x="268" y="20"/>
                  </a:lnTo>
                  <a:lnTo>
                    <a:pt x="268" y="19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7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4"/>
                  </a:lnTo>
                  <a:lnTo>
                    <a:pt x="268" y="14"/>
                  </a:lnTo>
                  <a:lnTo>
                    <a:pt x="268" y="12"/>
                  </a:lnTo>
                  <a:lnTo>
                    <a:pt x="267" y="12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0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8" y="7"/>
                  </a:lnTo>
                  <a:lnTo>
                    <a:pt x="268" y="6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70" y="3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6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79" y="0"/>
                  </a:lnTo>
                  <a:lnTo>
                    <a:pt x="279" y="1"/>
                  </a:lnTo>
                  <a:close/>
                </a:path>
              </a:pathLst>
            </a:custGeom>
            <a:solidFill>
              <a:srgbClr val="8282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Freeform 50">
              <a:extLst>
                <a:ext uri="{FF2B5EF4-FFF2-40B4-BE49-F238E27FC236}">
                  <a16:creationId xmlns:a16="http://schemas.microsoft.com/office/drawing/2014/main" id="{2BE2C606-BF98-D2FD-124B-C22F52B0E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" y="3302"/>
              <a:ext cx="419" cy="536"/>
            </a:xfrm>
            <a:custGeom>
              <a:avLst/>
              <a:gdLst>
                <a:gd name="T0" fmla="*/ 277 w 419"/>
                <a:gd name="T1" fmla="*/ 2 h 536"/>
                <a:gd name="T2" fmla="*/ 286 w 419"/>
                <a:gd name="T3" fmla="*/ 11 h 536"/>
                <a:gd name="T4" fmla="*/ 299 w 419"/>
                <a:gd name="T5" fmla="*/ 12 h 536"/>
                <a:gd name="T6" fmla="*/ 294 w 419"/>
                <a:gd name="T7" fmla="*/ 28 h 536"/>
                <a:gd name="T8" fmla="*/ 304 w 419"/>
                <a:gd name="T9" fmla="*/ 32 h 536"/>
                <a:gd name="T10" fmla="*/ 327 w 419"/>
                <a:gd name="T11" fmla="*/ 31 h 536"/>
                <a:gd name="T12" fmla="*/ 326 w 419"/>
                <a:gd name="T13" fmla="*/ 37 h 536"/>
                <a:gd name="T14" fmla="*/ 345 w 419"/>
                <a:gd name="T15" fmla="*/ 51 h 536"/>
                <a:gd name="T16" fmla="*/ 368 w 419"/>
                <a:gd name="T17" fmla="*/ 50 h 536"/>
                <a:gd name="T18" fmla="*/ 390 w 419"/>
                <a:gd name="T19" fmla="*/ 66 h 536"/>
                <a:gd name="T20" fmla="*/ 397 w 419"/>
                <a:gd name="T21" fmla="*/ 76 h 536"/>
                <a:gd name="T22" fmla="*/ 419 w 419"/>
                <a:gd name="T23" fmla="*/ 96 h 536"/>
                <a:gd name="T24" fmla="*/ 413 w 419"/>
                <a:gd name="T25" fmla="*/ 118 h 536"/>
                <a:gd name="T26" fmla="*/ 409 w 419"/>
                <a:gd name="T27" fmla="*/ 145 h 536"/>
                <a:gd name="T28" fmla="*/ 411 w 419"/>
                <a:gd name="T29" fmla="*/ 161 h 536"/>
                <a:gd name="T30" fmla="*/ 400 w 419"/>
                <a:gd name="T31" fmla="*/ 176 h 536"/>
                <a:gd name="T32" fmla="*/ 388 w 419"/>
                <a:gd name="T33" fmla="*/ 175 h 536"/>
                <a:gd name="T34" fmla="*/ 372 w 419"/>
                <a:gd name="T35" fmla="*/ 192 h 536"/>
                <a:gd name="T36" fmla="*/ 383 w 419"/>
                <a:gd name="T37" fmla="*/ 197 h 536"/>
                <a:gd name="T38" fmla="*/ 377 w 419"/>
                <a:gd name="T39" fmla="*/ 204 h 536"/>
                <a:gd name="T40" fmla="*/ 380 w 419"/>
                <a:gd name="T41" fmla="*/ 214 h 536"/>
                <a:gd name="T42" fmla="*/ 380 w 419"/>
                <a:gd name="T43" fmla="*/ 220 h 536"/>
                <a:gd name="T44" fmla="*/ 391 w 419"/>
                <a:gd name="T45" fmla="*/ 225 h 536"/>
                <a:gd name="T46" fmla="*/ 391 w 419"/>
                <a:gd name="T47" fmla="*/ 251 h 536"/>
                <a:gd name="T48" fmla="*/ 398 w 419"/>
                <a:gd name="T49" fmla="*/ 266 h 536"/>
                <a:gd name="T50" fmla="*/ 394 w 419"/>
                <a:gd name="T51" fmla="*/ 283 h 536"/>
                <a:gd name="T52" fmla="*/ 397 w 419"/>
                <a:gd name="T53" fmla="*/ 299 h 536"/>
                <a:gd name="T54" fmla="*/ 397 w 419"/>
                <a:gd name="T55" fmla="*/ 321 h 536"/>
                <a:gd name="T56" fmla="*/ 403 w 419"/>
                <a:gd name="T57" fmla="*/ 345 h 536"/>
                <a:gd name="T58" fmla="*/ 388 w 419"/>
                <a:gd name="T59" fmla="*/ 367 h 536"/>
                <a:gd name="T60" fmla="*/ 383 w 419"/>
                <a:gd name="T61" fmla="*/ 381 h 536"/>
                <a:gd name="T62" fmla="*/ 379 w 419"/>
                <a:gd name="T63" fmla="*/ 389 h 536"/>
                <a:gd name="T64" fmla="*/ 381 w 419"/>
                <a:gd name="T65" fmla="*/ 398 h 536"/>
                <a:gd name="T66" fmla="*/ 376 w 419"/>
                <a:gd name="T67" fmla="*/ 412 h 536"/>
                <a:gd name="T68" fmla="*/ 375 w 419"/>
                <a:gd name="T69" fmla="*/ 427 h 536"/>
                <a:gd name="T70" fmla="*/ 357 w 419"/>
                <a:gd name="T71" fmla="*/ 445 h 536"/>
                <a:gd name="T72" fmla="*/ 343 w 419"/>
                <a:gd name="T73" fmla="*/ 450 h 536"/>
                <a:gd name="T74" fmla="*/ 344 w 419"/>
                <a:gd name="T75" fmla="*/ 480 h 536"/>
                <a:gd name="T76" fmla="*/ 335 w 419"/>
                <a:gd name="T77" fmla="*/ 491 h 536"/>
                <a:gd name="T78" fmla="*/ 326 w 419"/>
                <a:gd name="T79" fmla="*/ 515 h 536"/>
                <a:gd name="T80" fmla="*/ 321 w 419"/>
                <a:gd name="T81" fmla="*/ 526 h 536"/>
                <a:gd name="T82" fmla="*/ 310 w 419"/>
                <a:gd name="T83" fmla="*/ 536 h 536"/>
                <a:gd name="T84" fmla="*/ 286 w 419"/>
                <a:gd name="T85" fmla="*/ 516 h 536"/>
                <a:gd name="T86" fmla="*/ 276 w 419"/>
                <a:gd name="T87" fmla="*/ 482 h 536"/>
                <a:gd name="T88" fmla="*/ 248 w 419"/>
                <a:gd name="T89" fmla="*/ 456 h 536"/>
                <a:gd name="T90" fmla="*/ 221 w 419"/>
                <a:gd name="T91" fmla="*/ 448 h 536"/>
                <a:gd name="T92" fmla="*/ 209 w 419"/>
                <a:gd name="T93" fmla="*/ 425 h 536"/>
                <a:gd name="T94" fmla="*/ 188 w 419"/>
                <a:gd name="T95" fmla="*/ 395 h 536"/>
                <a:gd name="T96" fmla="*/ 173 w 419"/>
                <a:gd name="T97" fmla="*/ 372 h 536"/>
                <a:gd name="T98" fmla="*/ 151 w 419"/>
                <a:gd name="T99" fmla="*/ 350 h 536"/>
                <a:gd name="T100" fmla="*/ 129 w 419"/>
                <a:gd name="T101" fmla="*/ 350 h 536"/>
                <a:gd name="T102" fmla="*/ 106 w 419"/>
                <a:gd name="T103" fmla="*/ 347 h 536"/>
                <a:gd name="T104" fmla="*/ 91 w 419"/>
                <a:gd name="T105" fmla="*/ 324 h 536"/>
                <a:gd name="T106" fmla="*/ 65 w 419"/>
                <a:gd name="T107" fmla="*/ 303 h 536"/>
                <a:gd name="T108" fmla="*/ 59 w 419"/>
                <a:gd name="T109" fmla="*/ 279 h 536"/>
                <a:gd name="T110" fmla="*/ 49 w 419"/>
                <a:gd name="T111" fmla="*/ 257 h 536"/>
                <a:gd name="T112" fmla="*/ 39 w 419"/>
                <a:gd name="T113" fmla="*/ 233 h 536"/>
                <a:gd name="T114" fmla="*/ 27 w 419"/>
                <a:gd name="T115" fmla="*/ 213 h 536"/>
                <a:gd name="T116" fmla="*/ 26 w 419"/>
                <a:gd name="T117" fmla="*/ 191 h 536"/>
                <a:gd name="T118" fmla="*/ 3 w 419"/>
                <a:gd name="T119" fmla="*/ 175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9" h="536">
                  <a:moveTo>
                    <a:pt x="271" y="0"/>
                  </a:moveTo>
                  <a:lnTo>
                    <a:pt x="271" y="0"/>
                  </a:lnTo>
                  <a:lnTo>
                    <a:pt x="271" y="0"/>
                  </a:lnTo>
                  <a:lnTo>
                    <a:pt x="271" y="1"/>
                  </a:lnTo>
                  <a:lnTo>
                    <a:pt x="271" y="3"/>
                  </a:lnTo>
                  <a:lnTo>
                    <a:pt x="271" y="3"/>
                  </a:lnTo>
                  <a:lnTo>
                    <a:pt x="272" y="4"/>
                  </a:lnTo>
                  <a:lnTo>
                    <a:pt x="272" y="4"/>
                  </a:lnTo>
                  <a:lnTo>
                    <a:pt x="272" y="5"/>
                  </a:lnTo>
                  <a:lnTo>
                    <a:pt x="273" y="5"/>
                  </a:lnTo>
                  <a:lnTo>
                    <a:pt x="273" y="5"/>
                  </a:lnTo>
                  <a:lnTo>
                    <a:pt x="274" y="5"/>
                  </a:lnTo>
                  <a:lnTo>
                    <a:pt x="274" y="5"/>
                  </a:lnTo>
                  <a:lnTo>
                    <a:pt x="274" y="5"/>
                  </a:lnTo>
                  <a:lnTo>
                    <a:pt x="275" y="4"/>
                  </a:lnTo>
                  <a:lnTo>
                    <a:pt x="275" y="4"/>
                  </a:lnTo>
                  <a:lnTo>
                    <a:pt x="277" y="2"/>
                  </a:lnTo>
                  <a:lnTo>
                    <a:pt x="277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80" y="0"/>
                  </a:lnTo>
                  <a:lnTo>
                    <a:pt x="280" y="1"/>
                  </a:lnTo>
                  <a:lnTo>
                    <a:pt x="280" y="1"/>
                  </a:lnTo>
                  <a:lnTo>
                    <a:pt x="281" y="2"/>
                  </a:lnTo>
                  <a:lnTo>
                    <a:pt x="281" y="3"/>
                  </a:lnTo>
                  <a:lnTo>
                    <a:pt x="283" y="5"/>
                  </a:lnTo>
                  <a:lnTo>
                    <a:pt x="284" y="6"/>
                  </a:lnTo>
                  <a:lnTo>
                    <a:pt x="284" y="7"/>
                  </a:lnTo>
                  <a:lnTo>
                    <a:pt x="285" y="9"/>
                  </a:lnTo>
                  <a:lnTo>
                    <a:pt x="285" y="10"/>
                  </a:lnTo>
                  <a:lnTo>
                    <a:pt x="285" y="10"/>
                  </a:lnTo>
                  <a:lnTo>
                    <a:pt x="286" y="10"/>
                  </a:lnTo>
                  <a:lnTo>
                    <a:pt x="286" y="11"/>
                  </a:lnTo>
                  <a:lnTo>
                    <a:pt x="286" y="11"/>
                  </a:lnTo>
                  <a:lnTo>
                    <a:pt x="287" y="11"/>
                  </a:lnTo>
                  <a:lnTo>
                    <a:pt x="287" y="11"/>
                  </a:lnTo>
                  <a:lnTo>
                    <a:pt x="288" y="11"/>
                  </a:lnTo>
                  <a:lnTo>
                    <a:pt x="291" y="10"/>
                  </a:lnTo>
                  <a:lnTo>
                    <a:pt x="291" y="10"/>
                  </a:lnTo>
                  <a:lnTo>
                    <a:pt x="291" y="10"/>
                  </a:lnTo>
                  <a:lnTo>
                    <a:pt x="293" y="9"/>
                  </a:lnTo>
                  <a:lnTo>
                    <a:pt x="294" y="8"/>
                  </a:lnTo>
                  <a:lnTo>
                    <a:pt x="294" y="8"/>
                  </a:lnTo>
                  <a:lnTo>
                    <a:pt x="295" y="7"/>
                  </a:lnTo>
                  <a:lnTo>
                    <a:pt x="296" y="6"/>
                  </a:lnTo>
                  <a:lnTo>
                    <a:pt x="296" y="7"/>
                  </a:lnTo>
                  <a:lnTo>
                    <a:pt x="296" y="8"/>
                  </a:lnTo>
                  <a:lnTo>
                    <a:pt x="297" y="9"/>
                  </a:lnTo>
                  <a:lnTo>
                    <a:pt x="298" y="10"/>
                  </a:lnTo>
                  <a:lnTo>
                    <a:pt x="299" y="12"/>
                  </a:lnTo>
                  <a:lnTo>
                    <a:pt x="299" y="13"/>
                  </a:lnTo>
                  <a:lnTo>
                    <a:pt x="300" y="13"/>
                  </a:lnTo>
                  <a:lnTo>
                    <a:pt x="300" y="14"/>
                  </a:lnTo>
                  <a:lnTo>
                    <a:pt x="300" y="15"/>
                  </a:lnTo>
                  <a:lnTo>
                    <a:pt x="300" y="16"/>
                  </a:lnTo>
                  <a:lnTo>
                    <a:pt x="300" y="17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299" y="19"/>
                  </a:lnTo>
                  <a:lnTo>
                    <a:pt x="298" y="21"/>
                  </a:lnTo>
                  <a:lnTo>
                    <a:pt x="297" y="22"/>
                  </a:lnTo>
                  <a:lnTo>
                    <a:pt x="296" y="24"/>
                  </a:lnTo>
                  <a:lnTo>
                    <a:pt x="295" y="26"/>
                  </a:lnTo>
                  <a:lnTo>
                    <a:pt x="295" y="27"/>
                  </a:lnTo>
                  <a:lnTo>
                    <a:pt x="294" y="27"/>
                  </a:lnTo>
                  <a:lnTo>
                    <a:pt x="294" y="28"/>
                  </a:lnTo>
                  <a:lnTo>
                    <a:pt x="294" y="29"/>
                  </a:lnTo>
                  <a:lnTo>
                    <a:pt x="294" y="29"/>
                  </a:lnTo>
                  <a:lnTo>
                    <a:pt x="294" y="30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5" y="32"/>
                  </a:lnTo>
                  <a:lnTo>
                    <a:pt x="295" y="32"/>
                  </a:lnTo>
                  <a:lnTo>
                    <a:pt x="296" y="32"/>
                  </a:lnTo>
                  <a:lnTo>
                    <a:pt x="297" y="32"/>
                  </a:lnTo>
                  <a:lnTo>
                    <a:pt x="300" y="33"/>
                  </a:lnTo>
                  <a:lnTo>
                    <a:pt x="300" y="33"/>
                  </a:lnTo>
                  <a:lnTo>
                    <a:pt x="301" y="33"/>
                  </a:lnTo>
                  <a:lnTo>
                    <a:pt x="301" y="33"/>
                  </a:lnTo>
                  <a:lnTo>
                    <a:pt x="302" y="33"/>
                  </a:lnTo>
                  <a:lnTo>
                    <a:pt x="303" y="33"/>
                  </a:lnTo>
                  <a:lnTo>
                    <a:pt x="304" y="32"/>
                  </a:lnTo>
                  <a:lnTo>
                    <a:pt x="306" y="31"/>
                  </a:lnTo>
                  <a:lnTo>
                    <a:pt x="308" y="31"/>
                  </a:lnTo>
                  <a:lnTo>
                    <a:pt x="309" y="31"/>
                  </a:lnTo>
                  <a:lnTo>
                    <a:pt x="309" y="30"/>
                  </a:lnTo>
                  <a:lnTo>
                    <a:pt x="311" y="30"/>
                  </a:lnTo>
                  <a:lnTo>
                    <a:pt x="313" y="30"/>
                  </a:lnTo>
                  <a:lnTo>
                    <a:pt x="314" y="30"/>
                  </a:lnTo>
                  <a:lnTo>
                    <a:pt x="315" y="31"/>
                  </a:lnTo>
                  <a:lnTo>
                    <a:pt x="318" y="31"/>
                  </a:lnTo>
                  <a:lnTo>
                    <a:pt x="319" y="31"/>
                  </a:lnTo>
                  <a:lnTo>
                    <a:pt x="320" y="31"/>
                  </a:lnTo>
                  <a:lnTo>
                    <a:pt x="320" y="31"/>
                  </a:lnTo>
                  <a:lnTo>
                    <a:pt x="323" y="31"/>
                  </a:lnTo>
                  <a:lnTo>
                    <a:pt x="325" y="31"/>
                  </a:lnTo>
                  <a:lnTo>
                    <a:pt x="326" y="31"/>
                  </a:lnTo>
                  <a:lnTo>
                    <a:pt x="326" y="31"/>
                  </a:lnTo>
                  <a:lnTo>
                    <a:pt x="327" y="31"/>
                  </a:lnTo>
                  <a:lnTo>
                    <a:pt x="328" y="31"/>
                  </a:lnTo>
                  <a:lnTo>
                    <a:pt x="329" y="32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1" y="33"/>
                  </a:lnTo>
                  <a:lnTo>
                    <a:pt x="330" y="34"/>
                  </a:lnTo>
                  <a:lnTo>
                    <a:pt x="330" y="34"/>
                  </a:lnTo>
                  <a:lnTo>
                    <a:pt x="328" y="35"/>
                  </a:lnTo>
                  <a:lnTo>
                    <a:pt x="328" y="35"/>
                  </a:lnTo>
                  <a:lnTo>
                    <a:pt x="327" y="36"/>
                  </a:lnTo>
                  <a:lnTo>
                    <a:pt x="327" y="36"/>
                  </a:lnTo>
                  <a:lnTo>
                    <a:pt x="326" y="36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8"/>
                  </a:lnTo>
                  <a:lnTo>
                    <a:pt x="327" y="38"/>
                  </a:lnTo>
                  <a:lnTo>
                    <a:pt x="327" y="38"/>
                  </a:lnTo>
                  <a:lnTo>
                    <a:pt x="327" y="39"/>
                  </a:lnTo>
                  <a:lnTo>
                    <a:pt x="328" y="40"/>
                  </a:lnTo>
                  <a:lnTo>
                    <a:pt x="329" y="40"/>
                  </a:lnTo>
                  <a:lnTo>
                    <a:pt x="330" y="41"/>
                  </a:lnTo>
                  <a:lnTo>
                    <a:pt x="331" y="42"/>
                  </a:lnTo>
                  <a:lnTo>
                    <a:pt x="334" y="43"/>
                  </a:lnTo>
                  <a:lnTo>
                    <a:pt x="336" y="44"/>
                  </a:lnTo>
                  <a:lnTo>
                    <a:pt x="338" y="46"/>
                  </a:lnTo>
                  <a:lnTo>
                    <a:pt x="341" y="48"/>
                  </a:lnTo>
                  <a:lnTo>
                    <a:pt x="342" y="49"/>
                  </a:lnTo>
                  <a:lnTo>
                    <a:pt x="344" y="50"/>
                  </a:lnTo>
                  <a:lnTo>
                    <a:pt x="344" y="50"/>
                  </a:lnTo>
                  <a:lnTo>
                    <a:pt x="345" y="51"/>
                  </a:lnTo>
                  <a:lnTo>
                    <a:pt x="346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50" y="52"/>
                  </a:lnTo>
                  <a:lnTo>
                    <a:pt x="351" y="52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5" y="52"/>
                  </a:lnTo>
                  <a:lnTo>
                    <a:pt x="357" y="52"/>
                  </a:lnTo>
                  <a:lnTo>
                    <a:pt x="358" y="51"/>
                  </a:lnTo>
                  <a:lnTo>
                    <a:pt x="359" y="51"/>
                  </a:lnTo>
                  <a:lnTo>
                    <a:pt x="362" y="50"/>
                  </a:lnTo>
                  <a:lnTo>
                    <a:pt x="363" y="50"/>
                  </a:lnTo>
                  <a:lnTo>
                    <a:pt x="364" y="50"/>
                  </a:lnTo>
                  <a:lnTo>
                    <a:pt x="366" y="50"/>
                  </a:lnTo>
                  <a:lnTo>
                    <a:pt x="366" y="50"/>
                  </a:lnTo>
                  <a:lnTo>
                    <a:pt x="368" y="50"/>
                  </a:lnTo>
                  <a:lnTo>
                    <a:pt x="368" y="51"/>
                  </a:lnTo>
                  <a:lnTo>
                    <a:pt x="369" y="51"/>
                  </a:lnTo>
                  <a:lnTo>
                    <a:pt x="370" y="51"/>
                  </a:lnTo>
                  <a:lnTo>
                    <a:pt x="370" y="52"/>
                  </a:lnTo>
                  <a:lnTo>
                    <a:pt x="371" y="52"/>
                  </a:lnTo>
                  <a:lnTo>
                    <a:pt x="372" y="53"/>
                  </a:lnTo>
                  <a:lnTo>
                    <a:pt x="374" y="56"/>
                  </a:lnTo>
                  <a:lnTo>
                    <a:pt x="376" y="58"/>
                  </a:lnTo>
                  <a:lnTo>
                    <a:pt x="377" y="59"/>
                  </a:lnTo>
                  <a:lnTo>
                    <a:pt x="379" y="61"/>
                  </a:lnTo>
                  <a:lnTo>
                    <a:pt x="382" y="63"/>
                  </a:lnTo>
                  <a:lnTo>
                    <a:pt x="383" y="64"/>
                  </a:lnTo>
                  <a:lnTo>
                    <a:pt x="384" y="65"/>
                  </a:lnTo>
                  <a:lnTo>
                    <a:pt x="385" y="65"/>
                  </a:lnTo>
                  <a:lnTo>
                    <a:pt x="386" y="65"/>
                  </a:lnTo>
                  <a:lnTo>
                    <a:pt x="389" y="66"/>
                  </a:lnTo>
                  <a:lnTo>
                    <a:pt x="390" y="66"/>
                  </a:lnTo>
                  <a:lnTo>
                    <a:pt x="391" y="66"/>
                  </a:lnTo>
                  <a:lnTo>
                    <a:pt x="392" y="66"/>
                  </a:lnTo>
                  <a:lnTo>
                    <a:pt x="392" y="67"/>
                  </a:lnTo>
                  <a:lnTo>
                    <a:pt x="393" y="67"/>
                  </a:lnTo>
                  <a:lnTo>
                    <a:pt x="394" y="68"/>
                  </a:lnTo>
                  <a:lnTo>
                    <a:pt x="394" y="68"/>
                  </a:lnTo>
                  <a:lnTo>
                    <a:pt x="395" y="69"/>
                  </a:lnTo>
                  <a:lnTo>
                    <a:pt x="395" y="69"/>
                  </a:lnTo>
                  <a:lnTo>
                    <a:pt x="395" y="70"/>
                  </a:lnTo>
                  <a:lnTo>
                    <a:pt x="396" y="71"/>
                  </a:lnTo>
                  <a:lnTo>
                    <a:pt x="396" y="71"/>
                  </a:lnTo>
                  <a:lnTo>
                    <a:pt x="396" y="74"/>
                  </a:lnTo>
                  <a:lnTo>
                    <a:pt x="396" y="75"/>
                  </a:lnTo>
                  <a:lnTo>
                    <a:pt x="397" y="75"/>
                  </a:lnTo>
                  <a:lnTo>
                    <a:pt x="397" y="75"/>
                  </a:lnTo>
                  <a:lnTo>
                    <a:pt x="397" y="76"/>
                  </a:lnTo>
                  <a:lnTo>
                    <a:pt x="397" y="76"/>
                  </a:lnTo>
                  <a:lnTo>
                    <a:pt x="398" y="76"/>
                  </a:lnTo>
                  <a:lnTo>
                    <a:pt x="398" y="76"/>
                  </a:lnTo>
                  <a:lnTo>
                    <a:pt x="401" y="77"/>
                  </a:lnTo>
                  <a:lnTo>
                    <a:pt x="404" y="78"/>
                  </a:lnTo>
                  <a:lnTo>
                    <a:pt x="406" y="78"/>
                  </a:lnTo>
                  <a:lnTo>
                    <a:pt x="407" y="79"/>
                  </a:lnTo>
                  <a:lnTo>
                    <a:pt x="410" y="80"/>
                  </a:lnTo>
                  <a:lnTo>
                    <a:pt x="416" y="84"/>
                  </a:lnTo>
                  <a:lnTo>
                    <a:pt x="417" y="84"/>
                  </a:lnTo>
                  <a:lnTo>
                    <a:pt x="417" y="85"/>
                  </a:lnTo>
                  <a:lnTo>
                    <a:pt x="417" y="85"/>
                  </a:lnTo>
                  <a:lnTo>
                    <a:pt x="418" y="85"/>
                  </a:lnTo>
                  <a:lnTo>
                    <a:pt x="418" y="86"/>
                  </a:lnTo>
                  <a:lnTo>
                    <a:pt x="418" y="86"/>
                  </a:lnTo>
                  <a:lnTo>
                    <a:pt x="418" y="91"/>
                  </a:lnTo>
                  <a:lnTo>
                    <a:pt x="418" y="93"/>
                  </a:lnTo>
                  <a:lnTo>
                    <a:pt x="419" y="96"/>
                  </a:lnTo>
                  <a:lnTo>
                    <a:pt x="419" y="100"/>
                  </a:lnTo>
                  <a:lnTo>
                    <a:pt x="419" y="102"/>
                  </a:lnTo>
                  <a:lnTo>
                    <a:pt x="419" y="106"/>
                  </a:lnTo>
                  <a:lnTo>
                    <a:pt x="419" y="107"/>
                  </a:lnTo>
                  <a:lnTo>
                    <a:pt x="419" y="108"/>
                  </a:lnTo>
                  <a:lnTo>
                    <a:pt x="419" y="108"/>
                  </a:lnTo>
                  <a:lnTo>
                    <a:pt x="419" y="109"/>
                  </a:lnTo>
                  <a:lnTo>
                    <a:pt x="419" y="110"/>
                  </a:lnTo>
                  <a:lnTo>
                    <a:pt x="418" y="110"/>
                  </a:lnTo>
                  <a:lnTo>
                    <a:pt x="418" y="111"/>
                  </a:lnTo>
                  <a:lnTo>
                    <a:pt x="416" y="112"/>
                  </a:lnTo>
                  <a:lnTo>
                    <a:pt x="416" y="113"/>
                  </a:lnTo>
                  <a:lnTo>
                    <a:pt x="415" y="113"/>
                  </a:lnTo>
                  <a:lnTo>
                    <a:pt x="415" y="114"/>
                  </a:lnTo>
                  <a:lnTo>
                    <a:pt x="414" y="115"/>
                  </a:lnTo>
                  <a:lnTo>
                    <a:pt x="414" y="116"/>
                  </a:lnTo>
                  <a:lnTo>
                    <a:pt x="413" y="118"/>
                  </a:lnTo>
                  <a:lnTo>
                    <a:pt x="412" y="121"/>
                  </a:lnTo>
                  <a:lnTo>
                    <a:pt x="412" y="122"/>
                  </a:lnTo>
                  <a:lnTo>
                    <a:pt x="412" y="123"/>
                  </a:lnTo>
                  <a:lnTo>
                    <a:pt x="411" y="128"/>
                  </a:lnTo>
                  <a:lnTo>
                    <a:pt x="411" y="129"/>
                  </a:lnTo>
                  <a:lnTo>
                    <a:pt x="411" y="130"/>
                  </a:lnTo>
                  <a:lnTo>
                    <a:pt x="411" y="133"/>
                  </a:lnTo>
                  <a:lnTo>
                    <a:pt x="411" y="134"/>
                  </a:lnTo>
                  <a:lnTo>
                    <a:pt x="411" y="135"/>
                  </a:lnTo>
                  <a:lnTo>
                    <a:pt x="411" y="136"/>
                  </a:lnTo>
                  <a:lnTo>
                    <a:pt x="411" y="137"/>
                  </a:lnTo>
                  <a:lnTo>
                    <a:pt x="411" y="138"/>
                  </a:lnTo>
                  <a:lnTo>
                    <a:pt x="410" y="140"/>
                  </a:lnTo>
                  <a:lnTo>
                    <a:pt x="409" y="143"/>
                  </a:lnTo>
                  <a:lnTo>
                    <a:pt x="409" y="143"/>
                  </a:lnTo>
                  <a:lnTo>
                    <a:pt x="409" y="144"/>
                  </a:lnTo>
                  <a:lnTo>
                    <a:pt x="409" y="145"/>
                  </a:lnTo>
                  <a:lnTo>
                    <a:pt x="409" y="146"/>
                  </a:lnTo>
                  <a:lnTo>
                    <a:pt x="409" y="147"/>
                  </a:lnTo>
                  <a:lnTo>
                    <a:pt x="409" y="150"/>
                  </a:lnTo>
                  <a:lnTo>
                    <a:pt x="409" y="151"/>
                  </a:lnTo>
                  <a:lnTo>
                    <a:pt x="408" y="152"/>
                  </a:lnTo>
                  <a:lnTo>
                    <a:pt x="408" y="153"/>
                  </a:lnTo>
                  <a:lnTo>
                    <a:pt x="408" y="154"/>
                  </a:lnTo>
                  <a:lnTo>
                    <a:pt x="408" y="155"/>
                  </a:lnTo>
                  <a:lnTo>
                    <a:pt x="407" y="157"/>
                  </a:lnTo>
                  <a:lnTo>
                    <a:pt x="407" y="158"/>
                  </a:lnTo>
                  <a:lnTo>
                    <a:pt x="407" y="159"/>
                  </a:lnTo>
                  <a:lnTo>
                    <a:pt x="408" y="159"/>
                  </a:lnTo>
                  <a:lnTo>
                    <a:pt x="408" y="159"/>
                  </a:lnTo>
                  <a:lnTo>
                    <a:pt x="408" y="159"/>
                  </a:lnTo>
                  <a:lnTo>
                    <a:pt x="410" y="160"/>
                  </a:lnTo>
                  <a:lnTo>
                    <a:pt x="410" y="161"/>
                  </a:lnTo>
                  <a:lnTo>
                    <a:pt x="411" y="161"/>
                  </a:lnTo>
                  <a:lnTo>
                    <a:pt x="411" y="162"/>
                  </a:lnTo>
                  <a:lnTo>
                    <a:pt x="412" y="162"/>
                  </a:lnTo>
                  <a:lnTo>
                    <a:pt x="412" y="163"/>
                  </a:lnTo>
                  <a:lnTo>
                    <a:pt x="412" y="164"/>
                  </a:lnTo>
                  <a:lnTo>
                    <a:pt x="412" y="164"/>
                  </a:lnTo>
                  <a:lnTo>
                    <a:pt x="411" y="165"/>
                  </a:lnTo>
                  <a:lnTo>
                    <a:pt x="411" y="165"/>
                  </a:lnTo>
                  <a:lnTo>
                    <a:pt x="411" y="166"/>
                  </a:lnTo>
                  <a:lnTo>
                    <a:pt x="410" y="166"/>
                  </a:lnTo>
                  <a:lnTo>
                    <a:pt x="409" y="167"/>
                  </a:lnTo>
                  <a:lnTo>
                    <a:pt x="406" y="170"/>
                  </a:lnTo>
                  <a:lnTo>
                    <a:pt x="405" y="171"/>
                  </a:lnTo>
                  <a:lnTo>
                    <a:pt x="404" y="172"/>
                  </a:lnTo>
                  <a:lnTo>
                    <a:pt x="403" y="173"/>
                  </a:lnTo>
                  <a:lnTo>
                    <a:pt x="402" y="175"/>
                  </a:lnTo>
                  <a:lnTo>
                    <a:pt x="401" y="176"/>
                  </a:lnTo>
                  <a:lnTo>
                    <a:pt x="400" y="176"/>
                  </a:lnTo>
                  <a:lnTo>
                    <a:pt x="400" y="177"/>
                  </a:lnTo>
                  <a:lnTo>
                    <a:pt x="399" y="177"/>
                  </a:lnTo>
                  <a:lnTo>
                    <a:pt x="399" y="177"/>
                  </a:lnTo>
                  <a:lnTo>
                    <a:pt x="398" y="178"/>
                  </a:lnTo>
                  <a:lnTo>
                    <a:pt x="398" y="178"/>
                  </a:lnTo>
                  <a:lnTo>
                    <a:pt x="397" y="178"/>
                  </a:lnTo>
                  <a:lnTo>
                    <a:pt x="397" y="178"/>
                  </a:lnTo>
                  <a:lnTo>
                    <a:pt x="396" y="177"/>
                  </a:lnTo>
                  <a:lnTo>
                    <a:pt x="395" y="177"/>
                  </a:lnTo>
                  <a:lnTo>
                    <a:pt x="392" y="175"/>
                  </a:lnTo>
                  <a:lnTo>
                    <a:pt x="392" y="175"/>
                  </a:lnTo>
                  <a:lnTo>
                    <a:pt x="392" y="175"/>
                  </a:lnTo>
                  <a:lnTo>
                    <a:pt x="391" y="175"/>
                  </a:lnTo>
                  <a:lnTo>
                    <a:pt x="390" y="175"/>
                  </a:lnTo>
                  <a:lnTo>
                    <a:pt x="389" y="175"/>
                  </a:lnTo>
                  <a:lnTo>
                    <a:pt x="389" y="175"/>
                  </a:lnTo>
                  <a:lnTo>
                    <a:pt x="388" y="175"/>
                  </a:lnTo>
                  <a:lnTo>
                    <a:pt x="387" y="176"/>
                  </a:lnTo>
                  <a:lnTo>
                    <a:pt x="386" y="176"/>
                  </a:lnTo>
                  <a:lnTo>
                    <a:pt x="384" y="177"/>
                  </a:lnTo>
                  <a:lnTo>
                    <a:pt x="383" y="178"/>
                  </a:lnTo>
                  <a:lnTo>
                    <a:pt x="382" y="178"/>
                  </a:lnTo>
                  <a:lnTo>
                    <a:pt x="381" y="179"/>
                  </a:lnTo>
                  <a:lnTo>
                    <a:pt x="380" y="180"/>
                  </a:lnTo>
                  <a:lnTo>
                    <a:pt x="379" y="181"/>
                  </a:lnTo>
                  <a:lnTo>
                    <a:pt x="378" y="181"/>
                  </a:lnTo>
                  <a:lnTo>
                    <a:pt x="378" y="182"/>
                  </a:lnTo>
                  <a:lnTo>
                    <a:pt x="377" y="184"/>
                  </a:lnTo>
                  <a:lnTo>
                    <a:pt x="374" y="187"/>
                  </a:lnTo>
                  <a:lnTo>
                    <a:pt x="373" y="188"/>
                  </a:lnTo>
                  <a:lnTo>
                    <a:pt x="373" y="189"/>
                  </a:lnTo>
                  <a:lnTo>
                    <a:pt x="373" y="190"/>
                  </a:lnTo>
                  <a:lnTo>
                    <a:pt x="372" y="191"/>
                  </a:lnTo>
                  <a:lnTo>
                    <a:pt x="372" y="192"/>
                  </a:lnTo>
                  <a:lnTo>
                    <a:pt x="372" y="193"/>
                  </a:lnTo>
                  <a:lnTo>
                    <a:pt x="372" y="194"/>
                  </a:lnTo>
                  <a:lnTo>
                    <a:pt x="372" y="194"/>
                  </a:lnTo>
                  <a:lnTo>
                    <a:pt x="372" y="195"/>
                  </a:lnTo>
                  <a:lnTo>
                    <a:pt x="373" y="195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4" y="197"/>
                  </a:lnTo>
                  <a:lnTo>
                    <a:pt x="374" y="197"/>
                  </a:lnTo>
                  <a:lnTo>
                    <a:pt x="375" y="197"/>
                  </a:lnTo>
                  <a:lnTo>
                    <a:pt x="377" y="196"/>
                  </a:lnTo>
                  <a:lnTo>
                    <a:pt x="378" y="196"/>
                  </a:lnTo>
                  <a:lnTo>
                    <a:pt x="379" y="196"/>
                  </a:lnTo>
                  <a:lnTo>
                    <a:pt x="380" y="196"/>
                  </a:lnTo>
                  <a:lnTo>
                    <a:pt x="382" y="196"/>
                  </a:lnTo>
                  <a:lnTo>
                    <a:pt x="383" y="197"/>
                  </a:lnTo>
                  <a:lnTo>
                    <a:pt x="383" y="197"/>
                  </a:lnTo>
                  <a:lnTo>
                    <a:pt x="384" y="197"/>
                  </a:lnTo>
                  <a:lnTo>
                    <a:pt x="384" y="197"/>
                  </a:lnTo>
                  <a:lnTo>
                    <a:pt x="384" y="198"/>
                  </a:lnTo>
                  <a:lnTo>
                    <a:pt x="384" y="198"/>
                  </a:lnTo>
                  <a:lnTo>
                    <a:pt x="385" y="198"/>
                  </a:lnTo>
                  <a:lnTo>
                    <a:pt x="384" y="199"/>
                  </a:lnTo>
                  <a:lnTo>
                    <a:pt x="384" y="199"/>
                  </a:lnTo>
                  <a:lnTo>
                    <a:pt x="384" y="200"/>
                  </a:lnTo>
                  <a:lnTo>
                    <a:pt x="383" y="200"/>
                  </a:lnTo>
                  <a:lnTo>
                    <a:pt x="382" y="201"/>
                  </a:lnTo>
                  <a:lnTo>
                    <a:pt x="378" y="202"/>
                  </a:lnTo>
                  <a:lnTo>
                    <a:pt x="378" y="203"/>
                  </a:lnTo>
                  <a:lnTo>
                    <a:pt x="378" y="203"/>
                  </a:lnTo>
                  <a:lnTo>
                    <a:pt x="378" y="203"/>
                  </a:lnTo>
                  <a:lnTo>
                    <a:pt x="377" y="203"/>
                  </a:lnTo>
                  <a:lnTo>
                    <a:pt x="377" y="204"/>
                  </a:lnTo>
                  <a:lnTo>
                    <a:pt x="377" y="205"/>
                  </a:lnTo>
                  <a:lnTo>
                    <a:pt x="378" y="205"/>
                  </a:lnTo>
                  <a:lnTo>
                    <a:pt x="378" y="206"/>
                  </a:lnTo>
                  <a:lnTo>
                    <a:pt x="378" y="206"/>
                  </a:lnTo>
                  <a:lnTo>
                    <a:pt x="378" y="207"/>
                  </a:lnTo>
                  <a:lnTo>
                    <a:pt x="380" y="208"/>
                  </a:lnTo>
                  <a:lnTo>
                    <a:pt x="380" y="209"/>
                  </a:lnTo>
                  <a:lnTo>
                    <a:pt x="381" y="210"/>
                  </a:lnTo>
                  <a:lnTo>
                    <a:pt x="381" y="210"/>
                  </a:lnTo>
                  <a:lnTo>
                    <a:pt x="382" y="211"/>
                  </a:lnTo>
                  <a:lnTo>
                    <a:pt x="382" y="212"/>
                  </a:lnTo>
                  <a:lnTo>
                    <a:pt x="382" y="212"/>
                  </a:lnTo>
                  <a:lnTo>
                    <a:pt x="381" y="213"/>
                  </a:lnTo>
                  <a:lnTo>
                    <a:pt x="381" y="213"/>
                  </a:lnTo>
                  <a:lnTo>
                    <a:pt x="381" y="213"/>
                  </a:lnTo>
                  <a:lnTo>
                    <a:pt x="380" y="214"/>
                  </a:lnTo>
                  <a:lnTo>
                    <a:pt x="380" y="214"/>
                  </a:lnTo>
                  <a:lnTo>
                    <a:pt x="379" y="214"/>
                  </a:lnTo>
                  <a:lnTo>
                    <a:pt x="378" y="214"/>
                  </a:lnTo>
                  <a:lnTo>
                    <a:pt x="377" y="214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6"/>
                  </a:lnTo>
                  <a:lnTo>
                    <a:pt x="377" y="216"/>
                  </a:lnTo>
                  <a:lnTo>
                    <a:pt x="378" y="217"/>
                  </a:lnTo>
                  <a:lnTo>
                    <a:pt x="379" y="218"/>
                  </a:lnTo>
                  <a:lnTo>
                    <a:pt x="380" y="218"/>
                  </a:lnTo>
                  <a:lnTo>
                    <a:pt x="380" y="218"/>
                  </a:lnTo>
                  <a:lnTo>
                    <a:pt x="380" y="219"/>
                  </a:lnTo>
                  <a:lnTo>
                    <a:pt x="380" y="219"/>
                  </a:lnTo>
                  <a:lnTo>
                    <a:pt x="380" y="220"/>
                  </a:lnTo>
                  <a:lnTo>
                    <a:pt x="380" y="221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1" y="222"/>
                  </a:lnTo>
                  <a:lnTo>
                    <a:pt x="381" y="223"/>
                  </a:lnTo>
                  <a:lnTo>
                    <a:pt x="381" y="223"/>
                  </a:lnTo>
                  <a:lnTo>
                    <a:pt x="382" y="223"/>
                  </a:lnTo>
                  <a:lnTo>
                    <a:pt x="383" y="223"/>
                  </a:lnTo>
                  <a:lnTo>
                    <a:pt x="385" y="223"/>
                  </a:lnTo>
                  <a:lnTo>
                    <a:pt x="386" y="223"/>
                  </a:lnTo>
                  <a:lnTo>
                    <a:pt x="387" y="223"/>
                  </a:lnTo>
                  <a:lnTo>
                    <a:pt x="388" y="223"/>
                  </a:lnTo>
                  <a:lnTo>
                    <a:pt x="389" y="224"/>
                  </a:lnTo>
                  <a:lnTo>
                    <a:pt x="390" y="224"/>
                  </a:lnTo>
                  <a:lnTo>
                    <a:pt x="391" y="225"/>
                  </a:lnTo>
                  <a:lnTo>
                    <a:pt x="392" y="225"/>
                  </a:lnTo>
                  <a:lnTo>
                    <a:pt x="392" y="226"/>
                  </a:lnTo>
                  <a:lnTo>
                    <a:pt x="392" y="226"/>
                  </a:lnTo>
                  <a:lnTo>
                    <a:pt x="393" y="227"/>
                  </a:lnTo>
                  <a:lnTo>
                    <a:pt x="393" y="227"/>
                  </a:lnTo>
                  <a:lnTo>
                    <a:pt x="393" y="228"/>
                  </a:lnTo>
                  <a:lnTo>
                    <a:pt x="393" y="229"/>
                  </a:lnTo>
                  <a:lnTo>
                    <a:pt x="393" y="231"/>
                  </a:lnTo>
                  <a:lnTo>
                    <a:pt x="393" y="233"/>
                  </a:lnTo>
                  <a:lnTo>
                    <a:pt x="393" y="235"/>
                  </a:lnTo>
                  <a:lnTo>
                    <a:pt x="393" y="236"/>
                  </a:lnTo>
                  <a:lnTo>
                    <a:pt x="393" y="238"/>
                  </a:lnTo>
                  <a:lnTo>
                    <a:pt x="392" y="241"/>
                  </a:lnTo>
                  <a:lnTo>
                    <a:pt x="392" y="243"/>
                  </a:lnTo>
                  <a:lnTo>
                    <a:pt x="392" y="245"/>
                  </a:lnTo>
                  <a:lnTo>
                    <a:pt x="391" y="248"/>
                  </a:lnTo>
                  <a:lnTo>
                    <a:pt x="391" y="251"/>
                  </a:lnTo>
                  <a:lnTo>
                    <a:pt x="391" y="252"/>
                  </a:lnTo>
                  <a:lnTo>
                    <a:pt x="391" y="256"/>
                  </a:lnTo>
                  <a:lnTo>
                    <a:pt x="391" y="256"/>
                  </a:lnTo>
                  <a:lnTo>
                    <a:pt x="391" y="257"/>
                  </a:lnTo>
                  <a:lnTo>
                    <a:pt x="391" y="257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3" y="259"/>
                  </a:lnTo>
                  <a:lnTo>
                    <a:pt x="394" y="259"/>
                  </a:lnTo>
                  <a:lnTo>
                    <a:pt x="395" y="260"/>
                  </a:lnTo>
                  <a:lnTo>
                    <a:pt x="396" y="261"/>
                  </a:lnTo>
                  <a:lnTo>
                    <a:pt x="396" y="261"/>
                  </a:lnTo>
                  <a:lnTo>
                    <a:pt x="397" y="262"/>
                  </a:lnTo>
                  <a:lnTo>
                    <a:pt x="397" y="263"/>
                  </a:lnTo>
                  <a:lnTo>
                    <a:pt x="397" y="264"/>
                  </a:lnTo>
                  <a:lnTo>
                    <a:pt x="398" y="266"/>
                  </a:lnTo>
                  <a:lnTo>
                    <a:pt x="398" y="267"/>
                  </a:lnTo>
                  <a:lnTo>
                    <a:pt x="398" y="268"/>
                  </a:lnTo>
                  <a:lnTo>
                    <a:pt x="398" y="269"/>
                  </a:lnTo>
                  <a:lnTo>
                    <a:pt x="398" y="270"/>
                  </a:lnTo>
                  <a:lnTo>
                    <a:pt x="398" y="272"/>
                  </a:lnTo>
                  <a:lnTo>
                    <a:pt x="398" y="273"/>
                  </a:lnTo>
                  <a:lnTo>
                    <a:pt x="398" y="274"/>
                  </a:lnTo>
                  <a:lnTo>
                    <a:pt x="398" y="275"/>
                  </a:lnTo>
                  <a:lnTo>
                    <a:pt x="398" y="275"/>
                  </a:lnTo>
                  <a:lnTo>
                    <a:pt x="397" y="275"/>
                  </a:lnTo>
                  <a:lnTo>
                    <a:pt x="397" y="275"/>
                  </a:lnTo>
                  <a:lnTo>
                    <a:pt x="397" y="275"/>
                  </a:lnTo>
                  <a:lnTo>
                    <a:pt x="396" y="276"/>
                  </a:lnTo>
                  <a:lnTo>
                    <a:pt x="396" y="277"/>
                  </a:lnTo>
                  <a:lnTo>
                    <a:pt x="396" y="277"/>
                  </a:lnTo>
                  <a:lnTo>
                    <a:pt x="395" y="278"/>
                  </a:lnTo>
                  <a:lnTo>
                    <a:pt x="394" y="283"/>
                  </a:lnTo>
                  <a:lnTo>
                    <a:pt x="394" y="284"/>
                  </a:lnTo>
                  <a:lnTo>
                    <a:pt x="394" y="284"/>
                  </a:lnTo>
                  <a:lnTo>
                    <a:pt x="394" y="285"/>
                  </a:lnTo>
                  <a:lnTo>
                    <a:pt x="394" y="285"/>
                  </a:lnTo>
                  <a:lnTo>
                    <a:pt x="394" y="286"/>
                  </a:lnTo>
                  <a:lnTo>
                    <a:pt x="394" y="286"/>
                  </a:lnTo>
                  <a:lnTo>
                    <a:pt x="394" y="287"/>
                  </a:lnTo>
                  <a:lnTo>
                    <a:pt x="395" y="288"/>
                  </a:lnTo>
                  <a:lnTo>
                    <a:pt x="396" y="289"/>
                  </a:lnTo>
                  <a:lnTo>
                    <a:pt x="396" y="289"/>
                  </a:lnTo>
                  <a:lnTo>
                    <a:pt x="396" y="289"/>
                  </a:lnTo>
                  <a:lnTo>
                    <a:pt x="397" y="290"/>
                  </a:lnTo>
                  <a:lnTo>
                    <a:pt x="397" y="292"/>
                  </a:lnTo>
                  <a:lnTo>
                    <a:pt x="397" y="293"/>
                  </a:lnTo>
                  <a:lnTo>
                    <a:pt x="397" y="294"/>
                  </a:lnTo>
                  <a:lnTo>
                    <a:pt x="397" y="298"/>
                  </a:lnTo>
                  <a:lnTo>
                    <a:pt x="397" y="299"/>
                  </a:lnTo>
                  <a:lnTo>
                    <a:pt x="398" y="302"/>
                  </a:lnTo>
                  <a:lnTo>
                    <a:pt x="398" y="303"/>
                  </a:lnTo>
                  <a:lnTo>
                    <a:pt x="399" y="304"/>
                  </a:lnTo>
                  <a:lnTo>
                    <a:pt x="400" y="306"/>
                  </a:lnTo>
                  <a:lnTo>
                    <a:pt x="401" y="308"/>
                  </a:lnTo>
                  <a:lnTo>
                    <a:pt x="401" y="309"/>
                  </a:lnTo>
                  <a:lnTo>
                    <a:pt x="401" y="310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1" y="312"/>
                  </a:lnTo>
                  <a:lnTo>
                    <a:pt x="399" y="315"/>
                  </a:lnTo>
                  <a:lnTo>
                    <a:pt x="398" y="317"/>
                  </a:lnTo>
                  <a:lnTo>
                    <a:pt x="398" y="318"/>
                  </a:lnTo>
                  <a:lnTo>
                    <a:pt x="397" y="319"/>
                  </a:lnTo>
                  <a:lnTo>
                    <a:pt x="397" y="320"/>
                  </a:lnTo>
                  <a:lnTo>
                    <a:pt x="397" y="321"/>
                  </a:lnTo>
                  <a:lnTo>
                    <a:pt x="396" y="324"/>
                  </a:lnTo>
                  <a:lnTo>
                    <a:pt x="396" y="326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7" y="330"/>
                  </a:lnTo>
                  <a:lnTo>
                    <a:pt x="397" y="332"/>
                  </a:lnTo>
                  <a:lnTo>
                    <a:pt x="397" y="333"/>
                  </a:lnTo>
                  <a:lnTo>
                    <a:pt x="399" y="336"/>
                  </a:lnTo>
                  <a:lnTo>
                    <a:pt x="400" y="337"/>
                  </a:lnTo>
                  <a:lnTo>
                    <a:pt x="400" y="338"/>
                  </a:lnTo>
                  <a:lnTo>
                    <a:pt x="402" y="340"/>
                  </a:lnTo>
                  <a:lnTo>
                    <a:pt x="402" y="341"/>
                  </a:lnTo>
                  <a:lnTo>
                    <a:pt x="403" y="341"/>
                  </a:lnTo>
                  <a:lnTo>
                    <a:pt x="403" y="342"/>
                  </a:lnTo>
                  <a:lnTo>
                    <a:pt x="403" y="343"/>
                  </a:lnTo>
                  <a:lnTo>
                    <a:pt x="403" y="344"/>
                  </a:lnTo>
                  <a:lnTo>
                    <a:pt x="403" y="345"/>
                  </a:lnTo>
                  <a:lnTo>
                    <a:pt x="402" y="347"/>
                  </a:lnTo>
                  <a:lnTo>
                    <a:pt x="402" y="348"/>
                  </a:lnTo>
                  <a:lnTo>
                    <a:pt x="402" y="349"/>
                  </a:lnTo>
                  <a:lnTo>
                    <a:pt x="401" y="350"/>
                  </a:lnTo>
                  <a:lnTo>
                    <a:pt x="400" y="352"/>
                  </a:lnTo>
                  <a:lnTo>
                    <a:pt x="399" y="353"/>
                  </a:lnTo>
                  <a:lnTo>
                    <a:pt x="398" y="355"/>
                  </a:lnTo>
                  <a:lnTo>
                    <a:pt x="397" y="357"/>
                  </a:lnTo>
                  <a:lnTo>
                    <a:pt x="397" y="359"/>
                  </a:lnTo>
                  <a:lnTo>
                    <a:pt x="396" y="360"/>
                  </a:lnTo>
                  <a:lnTo>
                    <a:pt x="396" y="361"/>
                  </a:lnTo>
                  <a:lnTo>
                    <a:pt x="395" y="361"/>
                  </a:lnTo>
                  <a:lnTo>
                    <a:pt x="395" y="362"/>
                  </a:lnTo>
                  <a:lnTo>
                    <a:pt x="392" y="364"/>
                  </a:lnTo>
                  <a:lnTo>
                    <a:pt x="390" y="366"/>
                  </a:lnTo>
                  <a:lnTo>
                    <a:pt x="388" y="366"/>
                  </a:lnTo>
                  <a:lnTo>
                    <a:pt x="388" y="367"/>
                  </a:lnTo>
                  <a:lnTo>
                    <a:pt x="386" y="369"/>
                  </a:lnTo>
                  <a:lnTo>
                    <a:pt x="385" y="370"/>
                  </a:lnTo>
                  <a:lnTo>
                    <a:pt x="385" y="370"/>
                  </a:lnTo>
                  <a:lnTo>
                    <a:pt x="385" y="371"/>
                  </a:lnTo>
                  <a:lnTo>
                    <a:pt x="385" y="372"/>
                  </a:lnTo>
                  <a:lnTo>
                    <a:pt x="384" y="373"/>
                  </a:lnTo>
                  <a:lnTo>
                    <a:pt x="384" y="374"/>
                  </a:lnTo>
                  <a:lnTo>
                    <a:pt x="384" y="375"/>
                  </a:lnTo>
                  <a:lnTo>
                    <a:pt x="384" y="376"/>
                  </a:lnTo>
                  <a:lnTo>
                    <a:pt x="385" y="377"/>
                  </a:lnTo>
                  <a:lnTo>
                    <a:pt x="385" y="378"/>
                  </a:lnTo>
                  <a:lnTo>
                    <a:pt x="385" y="378"/>
                  </a:lnTo>
                  <a:lnTo>
                    <a:pt x="385" y="379"/>
                  </a:lnTo>
                  <a:lnTo>
                    <a:pt x="384" y="380"/>
                  </a:lnTo>
                  <a:lnTo>
                    <a:pt x="384" y="380"/>
                  </a:lnTo>
                  <a:lnTo>
                    <a:pt x="384" y="381"/>
                  </a:lnTo>
                  <a:lnTo>
                    <a:pt x="383" y="381"/>
                  </a:lnTo>
                  <a:lnTo>
                    <a:pt x="383" y="382"/>
                  </a:lnTo>
                  <a:lnTo>
                    <a:pt x="383" y="382"/>
                  </a:lnTo>
                  <a:lnTo>
                    <a:pt x="382" y="382"/>
                  </a:lnTo>
                  <a:lnTo>
                    <a:pt x="382" y="383"/>
                  </a:lnTo>
                  <a:lnTo>
                    <a:pt x="380" y="384"/>
                  </a:lnTo>
                  <a:lnTo>
                    <a:pt x="379" y="384"/>
                  </a:lnTo>
                  <a:lnTo>
                    <a:pt x="379" y="384"/>
                  </a:lnTo>
                  <a:lnTo>
                    <a:pt x="379" y="385"/>
                  </a:lnTo>
                  <a:lnTo>
                    <a:pt x="378" y="385"/>
                  </a:lnTo>
                  <a:lnTo>
                    <a:pt x="378" y="385"/>
                  </a:lnTo>
                  <a:lnTo>
                    <a:pt x="378" y="386"/>
                  </a:lnTo>
                  <a:lnTo>
                    <a:pt x="378" y="386"/>
                  </a:lnTo>
                  <a:lnTo>
                    <a:pt x="378" y="387"/>
                  </a:lnTo>
                  <a:lnTo>
                    <a:pt x="378" y="387"/>
                  </a:lnTo>
                  <a:lnTo>
                    <a:pt x="378" y="388"/>
                  </a:lnTo>
                  <a:lnTo>
                    <a:pt x="378" y="389"/>
                  </a:lnTo>
                  <a:lnTo>
                    <a:pt x="379" y="389"/>
                  </a:lnTo>
                  <a:lnTo>
                    <a:pt x="379" y="390"/>
                  </a:lnTo>
                  <a:lnTo>
                    <a:pt x="379" y="390"/>
                  </a:lnTo>
                  <a:lnTo>
                    <a:pt x="380" y="391"/>
                  </a:lnTo>
                  <a:lnTo>
                    <a:pt x="380" y="392"/>
                  </a:lnTo>
                  <a:lnTo>
                    <a:pt x="381" y="392"/>
                  </a:lnTo>
                  <a:lnTo>
                    <a:pt x="383" y="393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5"/>
                  </a:lnTo>
                  <a:lnTo>
                    <a:pt x="383" y="396"/>
                  </a:lnTo>
                  <a:lnTo>
                    <a:pt x="383" y="397"/>
                  </a:lnTo>
                  <a:lnTo>
                    <a:pt x="382" y="397"/>
                  </a:lnTo>
                  <a:lnTo>
                    <a:pt x="382" y="398"/>
                  </a:lnTo>
                  <a:lnTo>
                    <a:pt x="382" y="398"/>
                  </a:lnTo>
                  <a:lnTo>
                    <a:pt x="381" y="398"/>
                  </a:lnTo>
                  <a:lnTo>
                    <a:pt x="381" y="399"/>
                  </a:lnTo>
                  <a:lnTo>
                    <a:pt x="379" y="399"/>
                  </a:lnTo>
                  <a:lnTo>
                    <a:pt x="379" y="400"/>
                  </a:lnTo>
                  <a:lnTo>
                    <a:pt x="378" y="400"/>
                  </a:lnTo>
                  <a:lnTo>
                    <a:pt x="377" y="402"/>
                  </a:lnTo>
                  <a:lnTo>
                    <a:pt x="376" y="403"/>
                  </a:lnTo>
                  <a:lnTo>
                    <a:pt x="375" y="403"/>
                  </a:lnTo>
                  <a:lnTo>
                    <a:pt x="375" y="404"/>
                  </a:lnTo>
                  <a:lnTo>
                    <a:pt x="375" y="405"/>
                  </a:lnTo>
                  <a:lnTo>
                    <a:pt x="374" y="405"/>
                  </a:lnTo>
                  <a:lnTo>
                    <a:pt x="374" y="406"/>
                  </a:lnTo>
                  <a:lnTo>
                    <a:pt x="374" y="407"/>
                  </a:lnTo>
                  <a:lnTo>
                    <a:pt x="374" y="407"/>
                  </a:lnTo>
                  <a:lnTo>
                    <a:pt x="374" y="408"/>
                  </a:lnTo>
                  <a:lnTo>
                    <a:pt x="374" y="409"/>
                  </a:lnTo>
                  <a:lnTo>
                    <a:pt x="375" y="410"/>
                  </a:lnTo>
                  <a:lnTo>
                    <a:pt x="376" y="412"/>
                  </a:lnTo>
                  <a:lnTo>
                    <a:pt x="376" y="413"/>
                  </a:lnTo>
                  <a:lnTo>
                    <a:pt x="378" y="415"/>
                  </a:lnTo>
                  <a:lnTo>
                    <a:pt x="378" y="416"/>
                  </a:lnTo>
                  <a:lnTo>
                    <a:pt x="378" y="416"/>
                  </a:lnTo>
                  <a:lnTo>
                    <a:pt x="379" y="417"/>
                  </a:lnTo>
                  <a:lnTo>
                    <a:pt x="379" y="418"/>
                  </a:lnTo>
                  <a:lnTo>
                    <a:pt x="379" y="419"/>
                  </a:lnTo>
                  <a:lnTo>
                    <a:pt x="379" y="420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2"/>
                  </a:lnTo>
                  <a:lnTo>
                    <a:pt x="378" y="423"/>
                  </a:lnTo>
                  <a:lnTo>
                    <a:pt x="377" y="424"/>
                  </a:lnTo>
                  <a:lnTo>
                    <a:pt x="376" y="425"/>
                  </a:lnTo>
                  <a:lnTo>
                    <a:pt x="375" y="426"/>
                  </a:lnTo>
                  <a:lnTo>
                    <a:pt x="375" y="427"/>
                  </a:lnTo>
                  <a:lnTo>
                    <a:pt x="374" y="428"/>
                  </a:lnTo>
                  <a:lnTo>
                    <a:pt x="374" y="429"/>
                  </a:lnTo>
                  <a:lnTo>
                    <a:pt x="373" y="432"/>
                  </a:lnTo>
                  <a:lnTo>
                    <a:pt x="372" y="435"/>
                  </a:lnTo>
                  <a:lnTo>
                    <a:pt x="372" y="436"/>
                  </a:lnTo>
                  <a:lnTo>
                    <a:pt x="371" y="436"/>
                  </a:lnTo>
                  <a:lnTo>
                    <a:pt x="371" y="436"/>
                  </a:lnTo>
                  <a:lnTo>
                    <a:pt x="371" y="436"/>
                  </a:lnTo>
                  <a:lnTo>
                    <a:pt x="370" y="437"/>
                  </a:lnTo>
                  <a:lnTo>
                    <a:pt x="367" y="438"/>
                  </a:lnTo>
                  <a:lnTo>
                    <a:pt x="366" y="439"/>
                  </a:lnTo>
                  <a:lnTo>
                    <a:pt x="364" y="439"/>
                  </a:lnTo>
                  <a:lnTo>
                    <a:pt x="364" y="440"/>
                  </a:lnTo>
                  <a:lnTo>
                    <a:pt x="361" y="442"/>
                  </a:lnTo>
                  <a:lnTo>
                    <a:pt x="359" y="443"/>
                  </a:lnTo>
                  <a:lnTo>
                    <a:pt x="358" y="444"/>
                  </a:lnTo>
                  <a:lnTo>
                    <a:pt x="357" y="445"/>
                  </a:lnTo>
                  <a:lnTo>
                    <a:pt x="356" y="445"/>
                  </a:lnTo>
                  <a:lnTo>
                    <a:pt x="355" y="445"/>
                  </a:lnTo>
                  <a:lnTo>
                    <a:pt x="355" y="445"/>
                  </a:lnTo>
                  <a:lnTo>
                    <a:pt x="354" y="446"/>
                  </a:lnTo>
                  <a:lnTo>
                    <a:pt x="353" y="446"/>
                  </a:lnTo>
                  <a:lnTo>
                    <a:pt x="352" y="446"/>
                  </a:lnTo>
                  <a:lnTo>
                    <a:pt x="351" y="446"/>
                  </a:lnTo>
                  <a:lnTo>
                    <a:pt x="350" y="445"/>
                  </a:lnTo>
                  <a:lnTo>
                    <a:pt x="347" y="445"/>
                  </a:lnTo>
                  <a:lnTo>
                    <a:pt x="346" y="445"/>
                  </a:lnTo>
                  <a:lnTo>
                    <a:pt x="345" y="445"/>
                  </a:lnTo>
                  <a:lnTo>
                    <a:pt x="345" y="445"/>
                  </a:lnTo>
                  <a:lnTo>
                    <a:pt x="344" y="445"/>
                  </a:lnTo>
                  <a:lnTo>
                    <a:pt x="344" y="445"/>
                  </a:lnTo>
                  <a:lnTo>
                    <a:pt x="344" y="445"/>
                  </a:lnTo>
                  <a:lnTo>
                    <a:pt x="344" y="446"/>
                  </a:lnTo>
                  <a:lnTo>
                    <a:pt x="343" y="450"/>
                  </a:lnTo>
                  <a:lnTo>
                    <a:pt x="343" y="452"/>
                  </a:lnTo>
                  <a:lnTo>
                    <a:pt x="342" y="454"/>
                  </a:lnTo>
                  <a:lnTo>
                    <a:pt x="342" y="457"/>
                  </a:lnTo>
                  <a:lnTo>
                    <a:pt x="342" y="459"/>
                  </a:lnTo>
                  <a:lnTo>
                    <a:pt x="342" y="460"/>
                  </a:lnTo>
                  <a:lnTo>
                    <a:pt x="341" y="463"/>
                  </a:lnTo>
                  <a:lnTo>
                    <a:pt x="341" y="464"/>
                  </a:lnTo>
                  <a:lnTo>
                    <a:pt x="341" y="464"/>
                  </a:lnTo>
                  <a:lnTo>
                    <a:pt x="341" y="465"/>
                  </a:lnTo>
                  <a:lnTo>
                    <a:pt x="341" y="466"/>
                  </a:lnTo>
                  <a:lnTo>
                    <a:pt x="341" y="468"/>
                  </a:lnTo>
                  <a:lnTo>
                    <a:pt x="343" y="470"/>
                  </a:lnTo>
                  <a:lnTo>
                    <a:pt x="343" y="472"/>
                  </a:lnTo>
                  <a:lnTo>
                    <a:pt x="343" y="473"/>
                  </a:lnTo>
                  <a:lnTo>
                    <a:pt x="344" y="477"/>
                  </a:lnTo>
                  <a:lnTo>
                    <a:pt x="344" y="479"/>
                  </a:lnTo>
                  <a:lnTo>
                    <a:pt x="344" y="480"/>
                  </a:lnTo>
                  <a:lnTo>
                    <a:pt x="344" y="481"/>
                  </a:lnTo>
                  <a:lnTo>
                    <a:pt x="344" y="482"/>
                  </a:lnTo>
                  <a:lnTo>
                    <a:pt x="344" y="483"/>
                  </a:lnTo>
                  <a:lnTo>
                    <a:pt x="344" y="484"/>
                  </a:lnTo>
                  <a:lnTo>
                    <a:pt x="344" y="484"/>
                  </a:lnTo>
                  <a:lnTo>
                    <a:pt x="343" y="485"/>
                  </a:lnTo>
                  <a:lnTo>
                    <a:pt x="343" y="486"/>
                  </a:lnTo>
                  <a:lnTo>
                    <a:pt x="343" y="486"/>
                  </a:lnTo>
                  <a:lnTo>
                    <a:pt x="342" y="487"/>
                  </a:lnTo>
                  <a:lnTo>
                    <a:pt x="341" y="487"/>
                  </a:lnTo>
                  <a:lnTo>
                    <a:pt x="340" y="488"/>
                  </a:lnTo>
                  <a:lnTo>
                    <a:pt x="340" y="489"/>
                  </a:lnTo>
                  <a:lnTo>
                    <a:pt x="339" y="489"/>
                  </a:lnTo>
                  <a:lnTo>
                    <a:pt x="337" y="490"/>
                  </a:lnTo>
                  <a:lnTo>
                    <a:pt x="336" y="490"/>
                  </a:lnTo>
                  <a:lnTo>
                    <a:pt x="335" y="491"/>
                  </a:lnTo>
                  <a:lnTo>
                    <a:pt x="335" y="491"/>
                  </a:lnTo>
                  <a:lnTo>
                    <a:pt x="334" y="492"/>
                  </a:lnTo>
                  <a:lnTo>
                    <a:pt x="334" y="492"/>
                  </a:lnTo>
                  <a:lnTo>
                    <a:pt x="333" y="493"/>
                  </a:lnTo>
                  <a:lnTo>
                    <a:pt x="332" y="494"/>
                  </a:lnTo>
                  <a:lnTo>
                    <a:pt x="331" y="495"/>
                  </a:lnTo>
                  <a:lnTo>
                    <a:pt x="330" y="497"/>
                  </a:lnTo>
                  <a:lnTo>
                    <a:pt x="329" y="500"/>
                  </a:lnTo>
                  <a:lnTo>
                    <a:pt x="328" y="501"/>
                  </a:lnTo>
                  <a:lnTo>
                    <a:pt x="328" y="502"/>
                  </a:lnTo>
                  <a:lnTo>
                    <a:pt x="328" y="503"/>
                  </a:lnTo>
                  <a:lnTo>
                    <a:pt x="327" y="505"/>
                  </a:lnTo>
                  <a:lnTo>
                    <a:pt x="327" y="507"/>
                  </a:lnTo>
                  <a:lnTo>
                    <a:pt x="326" y="509"/>
                  </a:lnTo>
                  <a:lnTo>
                    <a:pt x="326" y="510"/>
                  </a:lnTo>
                  <a:lnTo>
                    <a:pt x="326" y="512"/>
                  </a:lnTo>
                  <a:lnTo>
                    <a:pt x="326" y="513"/>
                  </a:lnTo>
                  <a:lnTo>
                    <a:pt x="326" y="515"/>
                  </a:lnTo>
                  <a:lnTo>
                    <a:pt x="326" y="516"/>
                  </a:lnTo>
                  <a:lnTo>
                    <a:pt x="326" y="517"/>
                  </a:lnTo>
                  <a:lnTo>
                    <a:pt x="326" y="518"/>
                  </a:lnTo>
                  <a:lnTo>
                    <a:pt x="326" y="519"/>
                  </a:lnTo>
                  <a:lnTo>
                    <a:pt x="326" y="520"/>
                  </a:lnTo>
                  <a:lnTo>
                    <a:pt x="327" y="521"/>
                  </a:lnTo>
                  <a:lnTo>
                    <a:pt x="328" y="525"/>
                  </a:lnTo>
                  <a:lnTo>
                    <a:pt x="328" y="526"/>
                  </a:lnTo>
                  <a:lnTo>
                    <a:pt x="328" y="526"/>
                  </a:lnTo>
                  <a:lnTo>
                    <a:pt x="328" y="526"/>
                  </a:lnTo>
                  <a:lnTo>
                    <a:pt x="327" y="526"/>
                  </a:lnTo>
                  <a:lnTo>
                    <a:pt x="326" y="525"/>
                  </a:lnTo>
                  <a:lnTo>
                    <a:pt x="326" y="525"/>
                  </a:lnTo>
                  <a:lnTo>
                    <a:pt x="325" y="525"/>
                  </a:lnTo>
                  <a:lnTo>
                    <a:pt x="323" y="526"/>
                  </a:lnTo>
                  <a:lnTo>
                    <a:pt x="323" y="526"/>
                  </a:lnTo>
                  <a:lnTo>
                    <a:pt x="321" y="526"/>
                  </a:lnTo>
                  <a:lnTo>
                    <a:pt x="320" y="527"/>
                  </a:lnTo>
                  <a:lnTo>
                    <a:pt x="320" y="527"/>
                  </a:lnTo>
                  <a:lnTo>
                    <a:pt x="319" y="528"/>
                  </a:lnTo>
                  <a:lnTo>
                    <a:pt x="318" y="528"/>
                  </a:lnTo>
                  <a:lnTo>
                    <a:pt x="317" y="529"/>
                  </a:lnTo>
                  <a:lnTo>
                    <a:pt x="317" y="530"/>
                  </a:lnTo>
                  <a:lnTo>
                    <a:pt x="316" y="530"/>
                  </a:lnTo>
                  <a:lnTo>
                    <a:pt x="316" y="531"/>
                  </a:lnTo>
                  <a:lnTo>
                    <a:pt x="314" y="534"/>
                  </a:lnTo>
                  <a:lnTo>
                    <a:pt x="314" y="534"/>
                  </a:lnTo>
                  <a:lnTo>
                    <a:pt x="314" y="535"/>
                  </a:lnTo>
                  <a:lnTo>
                    <a:pt x="313" y="535"/>
                  </a:lnTo>
                  <a:lnTo>
                    <a:pt x="313" y="535"/>
                  </a:lnTo>
                  <a:lnTo>
                    <a:pt x="313" y="535"/>
                  </a:lnTo>
                  <a:lnTo>
                    <a:pt x="312" y="536"/>
                  </a:lnTo>
                  <a:lnTo>
                    <a:pt x="311" y="536"/>
                  </a:lnTo>
                  <a:lnTo>
                    <a:pt x="310" y="536"/>
                  </a:lnTo>
                  <a:lnTo>
                    <a:pt x="310" y="535"/>
                  </a:lnTo>
                  <a:lnTo>
                    <a:pt x="309" y="535"/>
                  </a:lnTo>
                  <a:lnTo>
                    <a:pt x="309" y="535"/>
                  </a:lnTo>
                  <a:lnTo>
                    <a:pt x="307" y="534"/>
                  </a:lnTo>
                  <a:lnTo>
                    <a:pt x="304" y="532"/>
                  </a:lnTo>
                  <a:lnTo>
                    <a:pt x="303" y="531"/>
                  </a:lnTo>
                  <a:lnTo>
                    <a:pt x="300" y="529"/>
                  </a:lnTo>
                  <a:lnTo>
                    <a:pt x="296" y="526"/>
                  </a:lnTo>
                  <a:lnTo>
                    <a:pt x="294" y="525"/>
                  </a:lnTo>
                  <a:lnTo>
                    <a:pt x="292" y="523"/>
                  </a:lnTo>
                  <a:lnTo>
                    <a:pt x="291" y="522"/>
                  </a:lnTo>
                  <a:lnTo>
                    <a:pt x="290" y="521"/>
                  </a:lnTo>
                  <a:lnTo>
                    <a:pt x="288" y="520"/>
                  </a:lnTo>
                  <a:lnTo>
                    <a:pt x="287" y="519"/>
                  </a:lnTo>
                  <a:lnTo>
                    <a:pt x="287" y="518"/>
                  </a:lnTo>
                  <a:lnTo>
                    <a:pt x="286" y="517"/>
                  </a:lnTo>
                  <a:lnTo>
                    <a:pt x="286" y="516"/>
                  </a:lnTo>
                  <a:lnTo>
                    <a:pt x="285" y="515"/>
                  </a:lnTo>
                  <a:lnTo>
                    <a:pt x="285" y="513"/>
                  </a:lnTo>
                  <a:lnTo>
                    <a:pt x="285" y="512"/>
                  </a:lnTo>
                  <a:lnTo>
                    <a:pt x="284" y="508"/>
                  </a:lnTo>
                  <a:lnTo>
                    <a:pt x="284" y="504"/>
                  </a:lnTo>
                  <a:lnTo>
                    <a:pt x="284" y="500"/>
                  </a:lnTo>
                  <a:lnTo>
                    <a:pt x="283" y="499"/>
                  </a:lnTo>
                  <a:lnTo>
                    <a:pt x="283" y="496"/>
                  </a:lnTo>
                  <a:lnTo>
                    <a:pt x="283" y="495"/>
                  </a:lnTo>
                  <a:lnTo>
                    <a:pt x="282" y="493"/>
                  </a:lnTo>
                  <a:lnTo>
                    <a:pt x="281" y="490"/>
                  </a:lnTo>
                  <a:lnTo>
                    <a:pt x="281" y="488"/>
                  </a:lnTo>
                  <a:lnTo>
                    <a:pt x="281" y="487"/>
                  </a:lnTo>
                  <a:lnTo>
                    <a:pt x="280" y="487"/>
                  </a:lnTo>
                  <a:lnTo>
                    <a:pt x="280" y="486"/>
                  </a:lnTo>
                  <a:lnTo>
                    <a:pt x="279" y="485"/>
                  </a:lnTo>
                  <a:lnTo>
                    <a:pt x="276" y="482"/>
                  </a:lnTo>
                  <a:lnTo>
                    <a:pt x="274" y="479"/>
                  </a:lnTo>
                  <a:lnTo>
                    <a:pt x="271" y="475"/>
                  </a:lnTo>
                  <a:lnTo>
                    <a:pt x="267" y="470"/>
                  </a:lnTo>
                  <a:lnTo>
                    <a:pt x="266" y="469"/>
                  </a:lnTo>
                  <a:lnTo>
                    <a:pt x="264" y="467"/>
                  </a:lnTo>
                  <a:lnTo>
                    <a:pt x="263" y="466"/>
                  </a:lnTo>
                  <a:lnTo>
                    <a:pt x="262" y="465"/>
                  </a:lnTo>
                  <a:lnTo>
                    <a:pt x="261" y="464"/>
                  </a:lnTo>
                  <a:lnTo>
                    <a:pt x="259" y="462"/>
                  </a:lnTo>
                  <a:lnTo>
                    <a:pt x="258" y="461"/>
                  </a:lnTo>
                  <a:lnTo>
                    <a:pt x="257" y="460"/>
                  </a:lnTo>
                  <a:lnTo>
                    <a:pt x="255" y="459"/>
                  </a:lnTo>
                  <a:lnTo>
                    <a:pt x="254" y="458"/>
                  </a:lnTo>
                  <a:lnTo>
                    <a:pt x="252" y="457"/>
                  </a:lnTo>
                  <a:lnTo>
                    <a:pt x="250" y="456"/>
                  </a:lnTo>
                  <a:lnTo>
                    <a:pt x="250" y="456"/>
                  </a:lnTo>
                  <a:lnTo>
                    <a:pt x="248" y="456"/>
                  </a:lnTo>
                  <a:lnTo>
                    <a:pt x="247" y="455"/>
                  </a:lnTo>
                  <a:lnTo>
                    <a:pt x="245" y="455"/>
                  </a:lnTo>
                  <a:lnTo>
                    <a:pt x="244" y="455"/>
                  </a:lnTo>
                  <a:lnTo>
                    <a:pt x="242" y="455"/>
                  </a:lnTo>
                  <a:lnTo>
                    <a:pt x="238" y="455"/>
                  </a:lnTo>
                  <a:lnTo>
                    <a:pt x="235" y="455"/>
                  </a:lnTo>
                  <a:lnTo>
                    <a:pt x="234" y="455"/>
                  </a:lnTo>
                  <a:lnTo>
                    <a:pt x="233" y="455"/>
                  </a:lnTo>
                  <a:lnTo>
                    <a:pt x="232" y="454"/>
                  </a:lnTo>
                  <a:lnTo>
                    <a:pt x="231" y="454"/>
                  </a:lnTo>
                  <a:lnTo>
                    <a:pt x="229" y="453"/>
                  </a:lnTo>
                  <a:lnTo>
                    <a:pt x="228" y="453"/>
                  </a:lnTo>
                  <a:lnTo>
                    <a:pt x="227" y="452"/>
                  </a:lnTo>
                  <a:lnTo>
                    <a:pt x="225" y="451"/>
                  </a:lnTo>
                  <a:lnTo>
                    <a:pt x="223" y="450"/>
                  </a:lnTo>
                  <a:lnTo>
                    <a:pt x="223" y="450"/>
                  </a:lnTo>
                  <a:lnTo>
                    <a:pt x="221" y="448"/>
                  </a:lnTo>
                  <a:lnTo>
                    <a:pt x="220" y="447"/>
                  </a:lnTo>
                  <a:lnTo>
                    <a:pt x="219" y="446"/>
                  </a:lnTo>
                  <a:lnTo>
                    <a:pt x="218" y="445"/>
                  </a:lnTo>
                  <a:lnTo>
                    <a:pt x="218" y="445"/>
                  </a:lnTo>
                  <a:lnTo>
                    <a:pt x="217" y="443"/>
                  </a:lnTo>
                  <a:lnTo>
                    <a:pt x="217" y="442"/>
                  </a:lnTo>
                  <a:lnTo>
                    <a:pt x="216" y="441"/>
                  </a:lnTo>
                  <a:lnTo>
                    <a:pt x="216" y="440"/>
                  </a:lnTo>
                  <a:lnTo>
                    <a:pt x="215" y="435"/>
                  </a:lnTo>
                  <a:lnTo>
                    <a:pt x="215" y="433"/>
                  </a:lnTo>
                  <a:lnTo>
                    <a:pt x="214" y="432"/>
                  </a:lnTo>
                  <a:lnTo>
                    <a:pt x="214" y="431"/>
                  </a:lnTo>
                  <a:lnTo>
                    <a:pt x="214" y="430"/>
                  </a:lnTo>
                  <a:lnTo>
                    <a:pt x="213" y="429"/>
                  </a:lnTo>
                  <a:lnTo>
                    <a:pt x="213" y="429"/>
                  </a:lnTo>
                  <a:lnTo>
                    <a:pt x="212" y="428"/>
                  </a:lnTo>
                  <a:lnTo>
                    <a:pt x="209" y="425"/>
                  </a:lnTo>
                  <a:lnTo>
                    <a:pt x="206" y="421"/>
                  </a:lnTo>
                  <a:lnTo>
                    <a:pt x="201" y="416"/>
                  </a:lnTo>
                  <a:lnTo>
                    <a:pt x="200" y="415"/>
                  </a:lnTo>
                  <a:lnTo>
                    <a:pt x="200" y="415"/>
                  </a:lnTo>
                  <a:lnTo>
                    <a:pt x="199" y="414"/>
                  </a:lnTo>
                  <a:lnTo>
                    <a:pt x="199" y="413"/>
                  </a:lnTo>
                  <a:lnTo>
                    <a:pt x="198" y="412"/>
                  </a:lnTo>
                  <a:lnTo>
                    <a:pt x="197" y="409"/>
                  </a:lnTo>
                  <a:lnTo>
                    <a:pt x="196" y="408"/>
                  </a:lnTo>
                  <a:lnTo>
                    <a:pt x="195" y="406"/>
                  </a:lnTo>
                  <a:lnTo>
                    <a:pt x="193" y="403"/>
                  </a:lnTo>
                  <a:lnTo>
                    <a:pt x="192" y="402"/>
                  </a:lnTo>
                  <a:lnTo>
                    <a:pt x="191" y="401"/>
                  </a:lnTo>
                  <a:lnTo>
                    <a:pt x="189" y="398"/>
                  </a:lnTo>
                  <a:lnTo>
                    <a:pt x="189" y="397"/>
                  </a:lnTo>
                  <a:lnTo>
                    <a:pt x="188" y="396"/>
                  </a:lnTo>
                  <a:lnTo>
                    <a:pt x="188" y="395"/>
                  </a:lnTo>
                  <a:lnTo>
                    <a:pt x="187" y="395"/>
                  </a:lnTo>
                  <a:lnTo>
                    <a:pt x="184" y="392"/>
                  </a:lnTo>
                  <a:lnTo>
                    <a:pt x="183" y="391"/>
                  </a:lnTo>
                  <a:lnTo>
                    <a:pt x="182" y="390"/>
                  </a:lnTo>
                  <a:lnTo>
                    <a:pt x="181" y="388"/>
                  </a:lnTo>
                  <a:lnTo>
                    <a:pt x="180" y="387"/>
                  </a:lnTo>
                  <a:lnTo>
                    <a:pt x="179" y="387"/>
                  </a:lnTo>
                  <a:lnTo>
                    <a:pt x="177" y="384"/>
                  </a:lnTo>
                  <a:lnTo>
                    <a:pt x="176" y="384"/>
                  </a:lnTo>
                  <a:lnTo>
                    <a:pt x="176" y="383"/>
                  </a:lnTo>
                  <a:lnTo>
                    <a:pt x="175" y="382"/>
                  </a:lnTo>
                  <a:lnTo>
                    <a:pt x="175" y="381"/>
                  </a:lnTo>
                  <a:lnTo>
                    <a:pt x="174" y="380"/>
                  </a:lnTo>
                  <a:lnTo>
                    <a:pt x="174" y="379"/>
                  </a:lnTo>
                  <a:lnTo>
                    <a:pt x="174" y="378"/>
                  </a:lnTo>
                  <a:lnTo>
                    <a:pt x="173" y="374"/>
                  </a:lnTo>
                  <a:lnTo>
                    <a:pt x="173" y="372"/>
                  </a:lnTo>
                  <a:lnTo>
                    <a:pt x="173" y="371"/>
                  </a:lnTo>
                  <a:lnTo>
                    <a:pt x="172" y="370"/>
                  </a:lnTo>
                  <a:lnTo>
                    <a:pt x="172" y="369"/>
                  </a:lnTo>
                  <a:lnTo>
                    <a:pt x="171" y="369"/>
                  </a:lnTo>
                  <a:lnTo>
                    <a:pt x="171" y="368"/>
                  </a:lnTo>
                  <a:lnTo>
                    <a:pt x="170" y="367"/>
                  </a:lnTo>
                  <a:lnTo>
                    <a:pt x="168" y="365"/>
                  </a:lnTo>
                  <a:lnTo>
                    <a:pt x="165" y="362"/>
                  </a:lnTo>
                  <a:lnTo>
                    <a:pt x="162" y="358"/>
                  </a:lnTo>
                  <a:lnTo>
                    <a:pt x="160" y="357"/>
                  </a:lnTo>
                  <a:lnTo>
                    <a:pt x="159" y="355"/>
                  </a:lnTo>
                  <a:lnTo>
                    <a:pt x="158" y="354"/>
                  </a:lnTo>
                  <a:lnTo>
                    <a:pt x="156" y="353"/>
                  </a:lnTo>
                  <a:lnTo>
                    <a:pt x="155" y="353"/>
                  </a:lnTo>
                  <a:lnTo>
                    <a:pt x="155" y="352"/>
                  </a:lnTo>
                  <a:lnTo>
                    <a:pt x="153" y="351"/>
                  </a:lnTo>
                  <a:lnTo>
                    <a:pt x="151" y="350"/>
                  </a:lnTo>
                  <a:lnTo>
                    <a:pt x="150" y="350"/>
                  </a:lnTo>
                  <a:lnTo>
                    <a:pt x="149" y="349"/>
                  </a:lnTo>
                  <a:lnTo>
                    <a:pt x="148" y="349"/>
                  </a:lnTo>
                  <a:lnTo>
                    <a:pt x="145" y="348"/>
                  </a:lnTo>
                  <a:lnTo>
                    <a:pt x="143" y="347"/>
                  </a:lnTo>
                  <a:lnTo>
                    <a:pt x="138" y="346"/>
                  </a:lnTo>
                  <a:lnTo>
                    <a:pt x="136" y="346"/>
                  </a:lnTo>
                  <a:lnTo>
                    <a:pt x="134" y="346"/>
                  </a:lnTo>
                  <a:lnTo>
                    <a:pt x="134" y="346"/>
                  </a:lnTo>
                  <a:lnTo>
                    <a:pt x="133" y="346"/>
                  </a:lnTo>
                  <a:lnTo>
                    <a:pt x="133" y="346"/>
                  </a:lnTo>
                  <a:lnTo>
                    <a:pt x="132" y="346"/>
                  </a:lnTo>
                  <a:lnTo>
                    <a:pt x="131" y="347"/>
                  </a:lnTo>
                  <a:lnTo>
                    <a:pt x="131" y="347"/>
                  </a:lnTo>
                  <a:lnTo>
                    <a:pt x="131" y="348"/>
                  </a:lnTo>
                  <a:lnTo>
                    <a:pt x="130" y="349"/>
                  </a:lnTo>
                  <a:lnTo>
                    <a:pt x="129" y="350"/>
                  </a:lnTo>
                  <a:lnTo>
                    <a:pt x="129" y="350"/>
                  </a:lnTo>
                  <a:lnTo>
                    <a:pt x="129" y="350"/>
                  </a:lnTo>
                  <a:lnTo>
                    <a:pt x="128" y="350"/>
                  </a:lnTo>
                  <a:lnTo>
                    <a:pt x="127" y="351"/>
                  </a:lnTo>
                  <a:lnTo>
                    <a:pt x="127" y="351"/>
                  </a:lnTo>
                  <a:lnTo>
                    <a:pt x="126" y="350"/>
                  </a:lnTo>
                  <a:lnTo>
                    <a:pt x="125" y="350"/>
                  </a:lnTo>
                  <a:lnTo>
                    <a:pt x="122" y="350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7" y="348"/>
                  </a:lnTo>
                  <a:lnTo>
                    <a:pt x="114" y="348"/>
                  </a:lnTo>
                  <a:lnTo>
                    <a:pt x="112" y="348"/>
                  </a:lnTo>
                  <a:lnTo>
                    <a:pt x="110" y="348"/>
                  </a:lnTo>
                  <a:lnTo>
                    <a:pt x="109" y="348"/>
                  </a:lnTo>
                  <a:lnTo>
                    <a:pt x="107" y="347"/>
                  </a:lnTo>
                  <a:lnTo>
                    <a:pt x="106" y="347"/>
                  </a:lnTo>
                  <a:lnTo>
                    <a:pt x="105" y="346"/>
                  </a:lnTo>
                  <a:lnTo>
                    <a:pt x="103" y="346"/>
                  </a:lnTo>
                  <a:lnTo>
                    <a:pt x="102" y="345"/>
                  </a:lnTo>
                  <a:lnTo>
                    <a:pt x="102" y="345"/>
                  </a:lnTo>
                  <a:lnTo>
                    <a:pt x="101" y="344"/>
                  </a:lnTo>
                  <a:lnTo>
                    <a:pt x="100" y="343"/>
                  </a:lnTo>
                  <a:lnTo>
                    <a:pt x="100" y="342"/>
                  </a:lnTo>
                  <a:lnTo>
                    <a:pt x="99" y="342"/>
                  </a:lnTo>
                  <a:lnTo>
                    <a:pt x="98" y="339"/>
                  </a:lnTo>
                  <a:lnTo>
                    <a:pt x="96" y="335"/>
                  </a:lnTo>
                  <a:lnTo>
                    <a:pt x="95" y="334"/>
                  </a:lnTo>
                  <a:lnTo>
                    <a:pt x="94" y="332"/>
                  </a:lnTo>
                  <a:lnTo>
                    <a:pt x="94" y="331"/>
                  </a:lnTo>
                  <a:lnTo>
                    <a:pt x="93" y="328"/>
                  </a:lnTo>
                  <a:lnTo>
                    <a:pt x="92" y="326"/>
                  </a:lnTo>
                  <a:lnTo>
                    <a:pt x="92" y="325"/>
                  </a:lnTo>
                  <a:lnTo>
                    <a:pt x="91" y="324"/>
                  </a:lnTo>
                  <a:lnTo>
                    <a:pt x="91" y="323"/>
                  </a:lnTo>
                  <a:lnTo>
                    <a:pt x="90" y="321"/>
                  </a:lnTo>
                  <a:lnTo>
                    <a:pt x="89" y="320"/>
                  </a:lnTo>
                  <a:lnTo>
                    <a:pt x="88" y="319"/>
                  </a:lnTo>
                  <a:lnTo>
                    <a:pt x="86" y="317"/>
                  </a:lnTo>
                  <a:lnTo>
                    <a:pt x="85" y="316"/>
                  </a:lnTo>
                  <a:lnTo>
                    <a:pt x="79" y="312"/>
                  </a:lnTo>
                  <a:lnTo>
                    <a:pt x="78" y="311"/>
                  </a:lnTo>
                  <a:lnTo>
                    <a:pt x="77" y="310"/>
                  </a:lnTo>
                  <a:lnTo>
                    <a:pt x="76" y="309"/>
                  </a:lnTo>
                  <a:lnTo>
                    <a:pt x="74" y="309"/>
                  </a:lnTo>
                  <a:lnTo>
                    <a:pt x="71" y="307"/>
                  </a:lnTo>
                  <a:lnTo>
                    <a:pt x="69" y="306"/>
                  </a:lnTo>
                  <a:lnTo>
                    <a:pt x="68" y="306"/>
                  </a:lnTo>
                  <a:lnTo>
                    <a:pt x="67" y="305"/>
                  </a:lnTo>
                  <a:lnTo>
                    <a:pt x="66" y="304"/>
                  </a:lnTo>
                  <a:lnTo>
                    <a:pt x="65" y="303"/>
                  </a:lnTo>
                  <a:lnTo>
                    <a:pt x="65" y="303"/>
                  </a:lnTo>
                  <a:lnTo>
                    <a:pt x="65" y="302"/>
                  </a:lnTo>
                  <a:lnTo>
                    <a:pt x="64" y="302"/>
                  </a:lnTo>
                  <a:lnTo>
                    <a:pt x="64" y="301"/>
                  </a:lnTo>
                  <a:lnTo>
                    <a:pt x="64" y="300"/>
                  </a:lnTo>
                  <a:lnTo>
                    <a:pt x="63" y="299"/>
                  </a:lnTo>
                  <a:lnTo>
                    <a:pt x="63" y="298"/>
                  </a:lnTo>
                  <a:lnTo>
                    <a:pt x="62" y="294"/>
                  </a:lnTo>
                  <a:lnTo>
                    <a:pt x="61" y="292"/>
                  </a:lnTo>
                  <a:lnTo>
                    <a:pt x="60" y="290"/>
                  </a:lnTo>
                  <a:lnTo>
                    <a:pt x="59" y="286"/>
                  </a:lnTo>
                  <a:lnTo>
                    <a:pt x="59" y="285"/>
                  </a:lnTo>
                  <a:lnTo>
                    <a:pt x="59" y="284"/>
                  </a:lnTo>
                  <a:lnTo>
                    <a:pt x="59" y="283"/>
                  </a:lnTo>
                  <a:lnTo>
                    <a:pt x="59" y="282"/>
                  </a:lnTo>
                  <a:lnTo>
                    <a:pt x="59" y="281"/>
                  </a:lnTo>
                  <a:lnTo>
                    <a:pt x="59" y="279"/>
                  </a:lnTo>
                  <a:lnTo>
                    <a:pt x="59" y="277"/>
                  </a:lnTo>
                  <a:lnTo>
                    <a:pt x="59" y="275"/>
                  </a:lnTo>
                  <a:lnTo>
                    <a:pt x="59" y="272"/>
                  </a:lnTo>
                  <a:lnTo>
                    <a:pt x="59" y="269"/>
                  </a:lnTo>
                  <a:lnTo>
                    <a:pt x="59" y="267"/>
                  </a:lnTo>
                  <a:lnTo>
                    <a:pt x="59" y="266"/>
                  </a:lnTo>
                  <a:lnTo>
                    <a:pt x="59" y="265"/>
                  </a:lnTo>
                  <a:lnTo>
                    <a:pt x="59" y="264"/>
                  </a:lnTo>
                  <a:lnTo>
                    <a:pt x="58" y="263"/>
                  </a:lnTo>
                  <a:lnTo>
                    <a:pt x="58" y="262"/>
                  </a:lnTo>
                  <a:lnTo>
                    <a:pt x="57" y="261"/>
                  </a:lnTo>
                  <a:lnTo>
                    <a:pt x="57" y="261"/>
                  </a:lnTo>
                  <a:lnTo>
                    <a:pt x="56" y="260"/>
                  </a:lnTo>
                  <a:lnTo>
                    <a:pt x="54" y="259"/>
                  </a:lnTo>
                  <a:lnTo>
                    <a:pt x="52" y="259"/>
                  </a:lnTo>
                  <a:lnTo>
                    <a:pt x="50" y="258"/>
                  </a:lnTo>
                  <a:lnTo>
                    <a:pt x="49" y="257"/>
                  </a:lnTo>
                  <a:lnTo>
                    <a:pt x="49" y="257"/>
                  </a:lnTo>
                  <a:lnTo>
                    <a:pt x="48" y="256"/>
                  </a:lnTo>
                  <a:lnTo>
                    <a:pt x="47" y="256"/>
                  </a:lnTo>
                  <a:lnTo>
                    <a:pt x="47" y="255"/>
                  </a:lnTo>
                  <a:lnTo>
                    <a:pt x="46" y="254"/>
                  </a:lnTo>
                  <a:lnTo>
                    <a:pt x="45" y="253"/>
                  </a:lnTo>
                  <a:lnTo>
                    <a:pt x="44" y="251"/>
                  </a:lnTo>
                  <a:lnTo>
                    <a:pt x="43" y="249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1" y="245"/>
                  </a:lnTo>
                  <a:lnTo>
                    <a:pt x="41" y="244"/>
                  </a:lnTo>
                  <a:lnTo>
                    <a:pt x="40" y="242"/>
                  </a:lnTo>
                  <a:lnTo>
                    <a:pt x="40" y="241"/>
                  </a:lnTo>
                  <a:lnTo>
                    <a:pt x="40" y="240"/>
                  </a:lnTo>
                  <a:lnTo>
                    <a:pt x="39" y="234"/>
                  </a:lnTo>
                  <a:lnTo>
                    <a:pt x="39" y="233"/>
                  </a:lnTo>
                  <a:lnTo>
                    <a:pt x="39" y="231"/>
                  </a:lnTo>
                  <a:lnTo>
                    <a:pt x="39" y="229"/>
                  </a:lnTo>
                  <a:lnTo>
                    <a:pt x="37" y="225"/>
                  </a:lnTo>
                  <a:lnTo>
                    <a:pt x="37" y="223"/>
                  </a:lnTo>
                  <a:lnTo>
                    <a:pt x="36" y="222"/>
                  </a:lnTo>
                  <a:lnTo>
                    <a:pt x="35" y="221"/>
                  </a:lnTo>
                  <a:lnTo>
                    <a:pt x="35" y="220"/>
                  </a:lnTo>
                  <a:lnTo>
                    <a:pt x="34" y="219"/>
                  </a:lnTo>
                  <a:lnTo>
                    <a:pt x="34" y="218"/>
                  </a:lnTo>
                  <a:lnTo>
                    <a:pt x="33" y="218"/>
                  </a:lnTo>
                  <a:lnTo>
                    <a:pt x="32" y="217"/>
                  </a:lnTo>
                  <a:lnTo>
                    <a:pt x="30" y="216"/>
                  </a:lnTo>
                  <a:lnTo>
                    <a:pt x="30" y="216"/>
                  </a:lnTo>
                  <a:lnTo>
                    <a:pt x="29" y="216"/>
                  </a:lnTo>
                  <a:lnTo>
                    <a:pt x="29" y="215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27" y="212"/>
                  </a:lnTo>
                  <a:lnTo>
                    <a:pt x="26" y="211"/>
                  </a:lnTo>
                  <a:lnTo>
                    <a:pt x="26" y="210"/>
                  </a:lnTo>
                  <a:lnTo>
                    <a:pt x="26" y="208"/>
                  </a:lnTo>
                  <a:lnTo>
                    <a:pt x="26" y="207"/>
                  </a:lnTo>
                  <a:lnTo>
                    <a:pt x="25" y="205"/>
                  </a:lnTo>
                  <a:lnTo>
                    <a:pt x="25" y="205"/>
                  </a:lnTo>
                  <a:lnTo>
                    <a:pt x="25" y="204"/>
                  </a:lnTo>
                  <a:lnTo>
                    <a:pt x="26" y="203"/>
                  </a:lnTo>
                  <a:lnTo>
                    <a:pt x="26" y="201"/>
                  </a:lnTo>
                  <a:lnTo>
                    <a:pt x="26" y="198"/>
                  </a:lnTo>
                  <a:lnTo>
                    <a:pt x="27" y="196"/>
                  </a:lnTo>
                  <a:lnTo>
                    <a:pt x="27" y="195"/>
                  </a:lnTo>
                  <a:lnTo>
                    <a:pt x="27" y="194"/>
                  </a:lnTo>
                  <a:lnTo>
                    <a:pt x="27" y="193"/>
                  </a:lnTo>
                  <a:lnTo>
                    <a:pt x="27" y="192"/>
                  </a:lnTo>
                  <a:lnTo>
                    <a:pt x="26" y="191"/>
                  </a:lnTo>
                  <a:lnTo>
                    <a:pt x="26" y="189"/>
                  </a:lnTo>
                  <a:lnTo>
                    <a:pt x="25" y="188"/>
                  </a:lnTo>
                  <a:lnTo>
                    <a:pt x="25" y="188"/>
                  </a:lnTo>
                  <a:lnTo>
                    <a:pt x="24" y="187"/>
                  </a:lnTo>
                  <a:lnTo>
                    <a:pt x="24" y="187"/>
                  </a:lnTo>
                  <a:lnTo>
                    <a:pt x="23" y="186"/>
                  </a:lnTo>
                  <a:lnTo>
                    <a:pt x="22" y="186"/>
                  </a:lnTo>
                  <a:lnTo>
                    <a:pt x="18" y="184"/>
                  </a:lnTo>
                  <a:lnTo>
                    <a:pt x="17" y="184"/>
                  </a:lnTo>
                  <a:lnTo>
                    <a:pt x="16" y="183"/>
                  </a:lnTo>
                  <a:lnTo>
                    <a:pt x="13" y="182"/>
                  </a:lnTo>
                  <a:lnTo>
                    <a:pt x="9" y="179"/>
                  </a:lnTo>
                  <a:lnTo>
                    <a:pt x="6" y="178"/>
                  </a:lnTo>
                  <a:lnTo>
                    <a:pt x="6" y="177"/>
                  </a:lnTo>
                  <a:lnTo>
                    <a:pt x="5" y="176"/>
                  </a:lnTo>
                  <a:lnTo>
                    <a:pt x="4" y="176"/>
                  </a:lnTo>
                  <a:lnTo>
                    <a:pt x="3" y="175"/>
                  </a:lnTo>
                  <a:lnTo>
                    <a:pt x="2" y="174"/>
                  </a:lnTo>
                  <a:lnTo>
                    <a:pt x="2" y="173"/>
                  </a:lnTo>
                  <a:lnTo>
                    <a:pt x="1" y="173"/>
                  </a:lnTo>
                  <a:lnTo>
                    <a:pt x="0" y="172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Freeform 51">
              <a:extLst>
                <a:ext uri="{FF2B5EF4-FFF2-40B4-BE49-F238E27FC236}">
                  <a16:creationId xmlns:a16="http://schemas.microsoft.com/office/drawing/2014/main" id="{343B9CDF-61A9-C498-702F-B63C3E317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301"/>
              <a:ext cx="279" cy="173"/>
            </a:xfrm>
            <a:custGeom>
              <a:avLst/>
              <a:gdLst>
                <a:gd name="T0" fmla="*/ 2 w 279"/>
                <a:gd name="T1" fmla="*/ 162 h 173"/>
                <a:gd name="T2" fmla="*/ 0 w 279"/>
                <a:gd name="T3" fmla="*/ 155 h 173"/>
                <a:gd name="T4" fmla="*/ 2 w 279"/>
                <a:gd name="T5" fmla="*/ 151 h 173"/>
                <a:gd name="T6" fmla="*/ 9 w 279"/>
                <a:gd name="T7" fmla="*/ 146 h 173"/>
                <a:gd name="T8" fmla="*/ 18 w 279"/>
                <a:gd name="T9" fmla="*/ 140 h 173"/>
                <a:gd name="T10" fmla="*/ 19 w 279"/>
                <a:gd name="T11" fmla="*/ 136 h 173"/>
                <a:gd name="T12" fmla="*/ 23 w 279"/>
                <a:gd name="T13" fmla="*/ 120 h 173"/>
                <a:gd name="T14" fmla="*/ 27 w 279"/>
                <a:gd name="T15" fmla="*/ 114 h 173"/>
                <a:gd name="T16" fmla="*/ 31 w 279"/>
                <a:gd name="T17" fmla="*/ 108 h 173"/>
                <a:gd name="T18" fmla="*/ 38 w 279"/>
                <a:gd name="T19" fmla="*/ 96 h 173"/>
                <a:gd name="T20" fmla="*/ 45 w 279"/>
                <a:gd name="T21" fmla="*/ 87 h 173"/>
                <a:gd name="T22" fmla="*/ 52 w 279"/>
                <a:gd name="T23" fmla="*/ 87 h 173"/>
                <a:gd name="T24" fmla="*/ 60 w 279"/>
                <a:gd name="T25" fmla="*/ 89 h 173"/>
                <a:gd name="T26" fmla="*/ 65 w 279"/>
                <a:gd name="T27" fmla="*/ 86 h 173"/>
                <a:gd name="T28" fmla="*/ 71 w 279"/>
                <a:gd name="T29" fmla="*/ 83 h 173"/>
                <a:gd name="T30" fmla="*/ 76 w 279"/>
                <a:gd name="T31" fmla="*/ 84 h 173"/>
                <a:gd name="T32" fmla="*/ 80 w 279"/>
                <a:gd name="T33" fmla="*/ 87 h 173"/>
                <a:gd name="T34" fmla="*/ 83 w 279"/>
                <a:gd name="T35" fmla="*/ 91 h 173"/>
                <a:gd name="T36" fmla="*/ 84 w 279"/>
                <a:gd name="T37" fmla="*/ 90 h 173"/>
                <a:gd name="T38" fmla="*/ 86 w 279"/>
                <a:gd name="T39" fmla="*/ 86 h 173"/>
                <a:gd name="T40" fmla="*/ 91 w 279"/>
                <a:gd name="T41" fmla="*/ 83 h 173"/>
                <a:gd name="T42" fmla="*/ 94 w 279"/>
                <a:gd name="T43" fmla="*/ 80 h 173"/>
                <a:gd name="T44" fmla="*/ 101 w 279"/>
                <a:gd name="T45" fmla="*/ 77 h 173"/>
                <a:gd name="T46" fmla="*/ 110 w 279"/>
                <a:gd name="T47" fmla="*/ 75 h 173"/>
                <a:gd name="T48" fmla="*/ 118 w 279"/>
                <a:gd name="T49" fmla="*/ 73 h 173"/>
                <a:gd name="T50" fmla="*/ 123 w 279"/>
                <a:gd name="T51" fmla="*/ 73 h 173"/>
                <a:gd name="T52" fmla="*/ 132 w 279"/>
                <a:gd name="T53" fmla="*/ 76 h 173"/>
                <a:gd name="T54" fmla="*/ 139 w 279"/>
                <a:gd name="T55" fmla="*/ 78 h 173"/>
                <a:gd name="T56" fmla="*/ 146 w 279"/>
                <a:gd name="T57" fmla="*/ 78 h 173"/>
                <a:gd name="T58" fmla="*/ 151 w 279"/>
                <a:gd name="T59" fmla="*/ 78 h 173"/>
                <a:gd name="T60" fmla="*/ 157 w 279"/>
                <a:gd name="T61" fmla="*/ 80 h 173"/>
                <a:gd name="T62" fmla="*/ 162 w 279"/>
                <a:gd name="T63" fmla="*/ 78 h 173"/>
                <a:gd name="T64" fmla="*/ 168 w 279"/>
                <a:gd name="T65" fmla="*/ 73 h 173"/>
                <a:gd name="T66" fmla="*/ 170 w 279"/>
                <a:gd name="T67" fmla="*/ 65 h 173"/>
                <a:gd name="T68" fmla="*/ 170 w 279"/>
                <a:gd name="T69" fmla="*/ 60 h 173"/>
                <a:gd name="T70" fmla="*/ 173 w 279"/>
                <a:gd name="T71" fmla="*/ 57 h 173"/>
                <a:gd name="T72" fmla="*/ 182 w 279"/>
                <a:gd name="T73" fmla="*/ 53 h 173"/>
                <a:gd name="T74" fmla="*/ 192 w 279"/>
                <a:gd name="T75" fmla="*/ 47 h 173"/>
                <a:gd name="T76" fmla="*/ 200 w 279"/>
                <a:gd name="T77" fmla="*/ 41 h 173"/>
                <a:gd name="T78" fmla="*/ 207 w 279"/>
                <a:gd name="T79" fmla="*/ 34 h 173"/>
                <a:gd name="T80" fmla="*/ 210 w 279"/>
                <a:gd name="T81" fmla="*/ 33 h 173"/>
                <a:gd name="T82" fmla="*/ 217 w 279"/>
                <a:gd name="T83" fmla="*/ 35 h 173"/>
                <a:gd name="T84" fmla="*/ 228 w 279"/>
                <a:gd name="T85" fmla="*/ 36 h 173"/>
                <a:gd name="T86" fmla="*/ 233 w 279"/>
                <a:gd name="T87" fmla="*/ 39 h 173"/>
                <a:gd name="T88" fmla="*/ 241 w 279"/>
                <a:gd name="T89" fmla="*/ 45 h 173"/>
                <a:gd name="T90" fmla="*/ 245 w 279"/>
                <a:gd name="T91" fmla="*/ 47 h 173"/>
                <a:gd name="T92" fmla="*/ 249 w 279"/>
                <a:gd name="T93" fmla="*/ 47 h 173"/>
                <a:gd name="T94" fmla="*/ 250 w 279"/>
                <a:gd name="T95" fmla="*/ 43 h 173"/>
                <a:gd name="T96" fmla="*/ 252 w 279"/>
                <a:gd name="T97" fmla="*/ 32 h 173"/>
                <a:gd name="T98" fmla="*/ 252 w 279"/>
                <a:gd name="T99" fmla="*/ 27 h 173"/>
                <a:gd name="T100" fmla="*/ 255 w 279"/>
                <a:gd name="T101" fmla="*/ 25 h 173"/>
                <a:gd name="T102" fmla="*/ 263 w 279"/>
                <a:gd name="T103" fmla="*/ 23 h 173"/>
                <a:gd name="T104" fmla="*/ 268 w 279"/>
                <a:gd name="T105" fmla="*/ 20 h 173"/>
                <a:gd name="T106" fmla="*/ 269 w 279"/>
                <a:gd name="T107" fmla="*/ 16 h 173"/>
                <a:gd name="T108" fmla="*/ 268 w 279"/>
                <a:gd name="T109" fmla="*/ 14 h 173"/>
                <a:gd name="T110" fmla="*/ 267 w 279"/>
                <a:gd name="T111" fmla="*/ 10 h 173"/>
                <a:gd name="T112" fmla="*/ 269 w 279"/>
                <a:gd name="T113" fmla="*/ 4 h 173"/>
                <a:gd name="T114" fmla="*/ 271 w 279"/>
                <a:gd name="T115" fmla="*/ 2 h 173"/>
                <a:gd name="T116" fmla="*/ 274 w 279"/>
                <a:gd name="T117" fmla="*/ 2 h 173"/>
                <a:gd name="T118" fmla="*/ 278 w 279"/>
                <a:gd name="T119" fmla="*/ 1 h 173"/>
                <a:gd name="T120" fmla="*/ 279 w 279"/>
                <a:gd name="T121" fmla="*/ 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9" h="173">
                  <a:moveTo>
                    <a:pt x="8" y="173"/>
                  </a:moveTo>
                  <a:lnTo>
                    <a:pt x="7" y="170"/>
                  </a:lnTo>
                  <a:lnTo>
                    <a:pt x="5" y="167"/>
                  </a:lnTo>
                  <a:lnTo>
                    <a:pt x="3" y="163"/>
                  </a:lnTo>
                  <a:lnTo>
                    <a:pt x="2" y="162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6"/>
                  </a:lnTo>
                  <a:lnTo>
                    <a:pt x="0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6" y="147"/>
                  </a:lnTo>
                  <a:lnTo>
                    <a:pt x="9" y="146"/>
                  </a:lnTo>
                  <a:lnTo>
                    <a:pt x="14" y="143"/>
                  </a:lnTo>
                  <a:lnTo>
                    <a:pt x="15" y="142"/>
                  </a:lnTo>
                  <a:lnTo>
                    <a:pt x="16" y="141"/>
                  </a:lnTo>
                  <a:lnTo>
                    <a:pt x="17" y="140"/>
                  </a:lnTo>
                  <a:lnTo>
                    <a:pt x="18" y="140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9" y="138"/>
                  </a:lnTo>
                  <a:lnTo>
                    <a:pt x="19" y="137"/>
                  </a:lnTo>
                  <a:lnTo>
                    <a:pt x="19" y="136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21" y="128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3" y="119"/>
                  </a:lnTo>
                  <a:lnTo>
                    <a:pt x="24" y="118"/>
                  </a:lnTo>
                  <a:lnTo>
                    <a:pt x="25" y="117"/>
                  </a:lnTo>
                  <a:lnTo>
                    <a:pt x="26" y="116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9" y="112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3" y="106"/>
                  </a:lnTo>
                  <a:lnTo>
                    <a:pt x="34" y="105"/>
                  </a:lnTo>
                  <a:lnTo>
                    <a:pt x="35" y="103"/>
                  </a:lnTo>
                  <a:lnTo>
                    <a:pt x="37" y="98"/>
                  </a:lnTo>
                  <a:lnTo>
                    <a:pt x="38" y="96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2"/>
                  </a:lnTo>
                  <a:lnTo>
                    <a:pt x="44" y="88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2" y="87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89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5" y="86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8" y="84"/>
                  </a:lnTo>
                  <a:lnTo>
                    <a:pt x="69" y="84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8" y="85"/>
                  </a:lnTo>
                  <a:lnTo>
                    <a:pt x="79" y="86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1" y="89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89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7"/>
                  </a:lnTo>
                  <a:lnTo>
                    <a:pt x="86" y="86"/>
                  </a:lnTo>
                  <a:lnTo>
                    <a:pt x="87" y="86"/>
                  </a:lnTo>
                  <a:lnTo>
                    <a:pt x="88" y="85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1" y="77"/>
                  </a:lnTo>
                  <a:lnTo>
                    <a:pt x="103" y="77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9" y="75"/>
                  </a:lnTo>
                  <a:lnTo>
                    <a:pt x="110" y="75"/>
                  </a:lnTo>
                  <a:lnTo>
                    <a:pt x="112" y="75"/>
                  </a:lnTo>
                  <a:lnTo>
                    <a:pt x="113" y="75"/>
                  </a:lnTo>
                  <a:lnTo>
                    <a:pt x="114" y="75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0" y="73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7" y="75"/>
                  </a:lnTo>
                  <a:lnTo>
                    <a:pt x="132" y="76"/>
                  </a:lnTo>
                  <a:lnTo>
                    <a:pt x="133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8"/>
                  </a:lnTo>
                  <a:lnTo>
                    <a:pt x="142" y="78"/>
                  </a:lnTo>
                  <a:lnTo>
                    <a:pt x="144" y="78"/>
                  </a:lnTo>
                  <a:lnTo>
                    <a:pt x="146" y="78"/>
                  </a:lnTo>
                  <a:lnTo>
                    <a:pt x="147" y="78"/>
                  </a:lnTo>
                  <a:lnTo>
                    <a:pt x="148" y="77"/>
                  </a:lnTo>
                  <a:lnTo>
                    <a:pt x="149" y="77"/>
                  </a:lnTo>
                  <a:lnTo>
                    <a:pt x="150" y="78"/>
                  </a:lnTo>
                  <a:lnTo>
                    <a:pt x="151" y="78"/>
                  </a:lnTo>
                  <a:lnTo>
                    <a:pt x="152" y="78"/>
                  </a:lnTo>
                  <a:lnTo>
                    <a:pt x="155" y="79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7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7" y="74"/>
                  </a:lnTo>
                  <a:lnTo>
                    <a:pt x="168" y="73"/>
                  </a:lnTo>
                  <a:lnTo>
                    <a:pt x="168" y="72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70" y="66"/>
                  </a:lnTo>
                  <a:lnTo>
                    <a:pt x="170" y="65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1" y="59"/>
                  </a:lnTo>
                  <a:lnTo>
                    <a:pt x="171" y="58"/>
                  </a:lnTo>
                  <a:lnTo>
                    <a:pt x="172" y="58"/>
                  </a:lnTo>
                  <a:lnTo>
                    <a:pt x="172" y="57"/>
                  </a:lnTo>
                  <a:lnTo>
                    <a:pt x="173" y="57"/>
                  </a:lnTo>
                  <a:lnTo>
                    <a:pt x="174" y="57"/>
                  </a:lnTo>
                  <a:lnTo>
                    <a:pt x="176" y="56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92" y="47"/>
                  </a:lnTo>
                  <a:lnTo>
                    <a:pt x="194" y="45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0" y="42"/>
                  </a:lnTo>
                  <a:lnTo>
                    <a:pt x="200" y="41"/>
                  </a:lnTo>
                  <a:lnTo>
                    <a:pt x="202" y="40"/>
                  </a:lnTo>
                  <a:lnTo>
                    <a:pt x="203" y="38"/>
                  </a:lnTo>
                  <a:lnTo>
                    <a:pt x="205" y="37"/>
                  </a:lnTo>
                  <a:lnTo>
                    <a:pt x="207" y="35"/>
                  </a:lnTo>
                  <a:lnTo>
                    <a:pt x="207" y="34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7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6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2" y="38"/>
                  </a:lnTo>
                  <a:lnTo>
                    <a:pt x="233" y="39"/>
                  </a:lnTo>
                  <a:lnTo>
                    <a:pt x="235" y="41"/>
                  </a:lnTo>
                  <a:lnTo>
                    <a:pt x="236" y="41"/>
                  </a:lnTo>
                  <a:lnTo>
                    <a:pt x="237" y="42"/>
                  </a:lnTo>
                  <a:lnTo>
                    <a:pt x="240" y="44"/>
                  </a:lnTo>
                  <a:lnTo>
                    <a:pt x="241" y="45"/>
                  </a:lnTo>
                  <a:lnTo>
                    <a:pt x="242" y="46"/>
                  </a:lnTo>
                  <a:lnTo>
                    <a:pt x="243" y="46"/>
                  </a:lnTo>
                  <a:lnTo>
                    <a:pt x="244" y="47"/>
                  </a:lnTo>
                  <a:lnTo>
                    <a:pt x="245" y="47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7"/>
                  </a:lnTo>
                  <a:lnTo>
                    <a:pt x="249" y="47"/>
                  </a:lnTo>
                  <a:lnTo>
                    <a:pt x="249" y="46"/>
                  </a:lnTo>
                  <a:lnTo>
                    <a:pt x="250" y="46"/>
                  </a:lnTo>
                  <a:lnTo>
                    <a:pt x="250" y="45"/>
                  </a:lnTo>
                  <a:lnTo>
                    <a:pt x="250" y="44"/>
                  </a:lnTo>
                  <a:lnTo>
                    <a:pt x="250" y="43"/>
                  </a:lnTo>
                  <a:lnTo>
                    <a:pt x="252" y="37"/>
                  </a:lnTo>
                  <a:lnTo>
                    <a:pt x="252" y="36"/>
                  </a:lnTo>
                  <a:lnTo>
                    <a:pt x="252" y="35"/>
                  </a:lnTo>
                  <a:lnTo>
                    <a:pt x="252" y="34"/>
                  </a:lnTo>
                  <a:lnTo>
                    <a:pt x="252" y="32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2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3" y="26"/>
                  </a:lnTo>
                  <a:lnTo>
                    <a:pt x="254" y="26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7" y="25"/>
                  </a:lnTo>
                  <a:lnTo>
                    <a:pt x="259" y="24"/>
                  </a:lnTo>
                  <a:lnTo>
                    <a:pt x="262" y="23"/>
                  </a:lnTo>
                  <a:lnTo>
                    <a:pt x="263" y="23"/>
                  </a:lnTo>
                  <a:lnTo>
                    <a:pt x="264" y="22"/>
                  </a:lnTo>
                  <a:lnTo>
                    <a:pt x="265" y="21"/>
                  </a:lnTo>
                  <a:lnTo>
                    <a:pt x="266" y="21"/>
                  </a:lnTo>
                  <a:lnTo>
                    <a:pt x="267" y="20"/>
                  </a:lnTo>
                  <a:lnTo>
                    <a:pt x="268" y="20"/>
                  </a:lnTo>
                  <a:lnTo>
                    <a:pt x="268" y="19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7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4"/>
                  </a:lnTo>
                  <a:lnTo>
                    <a:pt x="268" y="14"/>
                  </a:lnTo>
                  <a:lnTo>
                    <a:pt x="268" y="12"/>
                  </a:lnTo>
                  <a:lnTo>
                    <a:pt x="267" y="12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0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8" y="7"/>
                  </a:lnTo>
                  <a:lnTo>
                    <a:pt x="268" y="6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70" y="3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6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79" y="0"/>
                  </a:lnTo>
                  <a:lnTo>
                    <a:pt x="279" y="1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Freeform 52">
              <a:extLst>
                <a:ext uri="{FF2B5EF4-FFF2-40B4-BE49-F238E27FC236}">
                  <a16:creationId xmlns:a16="http://schemas.microsoft.com/office/drawing/2014/main" id="{C60A51FF-F85E-C2E6-70A6-042AD6995B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" y="3133"/>
              <a:ext cx="354" cy="259"/>
            </a:xfrm>
            <a:custGeom>
              <a:avLst/>
              <a:gdLst>
                <a:gd name="T0" fmla="*/ 244 w 354"/>
                <a:gd name="T1" fmla="*/ 19 h 259"/>
                <a:gd name="T2" fmla="*/ 262 w 354"/>
                <a:gd name="T3" fmla="*/ 31 h 259"/>
                <a:gd name="T4" fmla="*/ 289 w 354"/>
                <a:gd name="T5" fmla="*/ 36 h 259"/>
                <a:gd name="T6" fmla="*/ 298 w 354"/>
                <a:gd name="T7" fmla="*/ 48 h 259"/>
                <a:gd name="T8" fmla="*/ 305 w 354"/>
                <a:gd name="T9" fmla="*/ 51 h 259"/>
                <a:gd name="T10" fmla="*/ 329 w 354"/>
                <a:gd name="T11" fmla="*/ 51 h 259"/>
                <a:gd name="T12" fmla="*/ 336 w 354"/>
                <a:gd name="T13" fmla="*/ 63 h 259"/>
                <a:gd name="T14" fmla="*/ 333 w 354"/>
                <a:gd name="T15" fmla="*/ 85 h 259"/>
                <a:gd name="T16" fmla="*/ 335 w 354"/>
                <a:gd name="T17" fmla="*/ 104 h 259"/>
                <a:gd name="T18" fmla="*/ 340 w 354"/>
                <a:gd name="T19" fmla="*/ 118 h 259"/>
                <a:gd name="T20" fmla="*/ 349 w 354"/>
                <a:gd name="T21" fmla="*/ 141 h 259"/>
                <a:gd name="T22" fmla="*/ 347 w 354"/>
                <a:gd name="T23" fmla="*/ 150 h 259"/>
                <a:gd name="T24" fmla="*/ 336 w 354"/>
                <a:gd name="T25" fmla="*/ 152 h 259"/>
                <a:gd name="T26" fmla="*/ 345 w 354"/>
                <a:gd name="T27" fmla="*/ 158 h 259"/>
                <a:gd name="T28" fmla="*/ 352 w 354"/>
                <a:gd name="T29" fmla="*/ 171 h 259"/>
                <a:gd name="T30" fmla="*/ 351 w 354"/>
                <a:gd name="T31" fmla="*/ 182 h 259"/>
                <a:gd name="T32" fmla="*/ 344 w 354"/>
                <a:gd name="T33" fmla="*/ 191 h 259"/>
                <a:gd name="T34" fmla="*/ 334 w 354"/>
                <a:gd name="T35" fmla="*/ 202 h 259"/>
                <a:gd name="T36" fmla="*/ 327 w 354"/>
                <a:gd name="T37" fmla="*/ 215 h 259"/>
                <a:gd name="T38" fmla="*/ 308 w 354"/>
                <a:gd name="T39" fmla="*/ 204 h 259"/>
                <a:gd name="T40" fmla="*/ 289 w 354"/>
                <a:gd name="T41" fmla="*/ 203 h 259"/>
                <a:gd name="T42" fmla="*/ 262 w 354"/>
                <a:gd name="T43" fmla="*/ 222 h 259"/>
                <a:gd name="T44" fmla="*/ 252 w 354"/>
                <a:gd name="T45" fmla="*/ 234 h 259"/>
                <a:gd name="T46" fmla="*/ 238 w 354"/>
                <a:gd name="T47" fmla="*/ 248 h 259"/>
                <a:gd name="T48" fmla="*/ 220 w 354"/>
                <a:gd name="T49" fmla="*/ 246 h 259"/>
                <a:gd name="T50" fmla="*/ 199 w 354"/>
                <a:gd name="T51" fmla="*/ 242 h 259"/>
                <a:gd name="T52" fmla="*/ 176 w 354"/>
                <a:gd name="T53" fmla="*/ 248 h 259"/>
                <a:gd name="T54" fmla="*/ 166 w 354"/>
                <a:gd name="T55" fmla="*/ 258 h 259"/>
                <a:gd name="T56" fmla="*/ 157 w 354"/>
                <a:gd name="T57" fmla="*/ 251 h 259"/>
                <a:gd name="T58" fmla="*/ 141 w 354"/>
                <a:gd name="T59" fmla="*/ 257 h 259"/>
                <a:gd name="T60" fmla="*/ 124 w 354"/>
                <a:gd name="T61" fmla="*/ 247 h 259"/>
                <a:gd name="T62" fmla="*/ 107 w 354"/>
                <a:gd name="T63" fmla="*/ 233 h 259"/>
                <a:gd name="T64" fmla="*/ 110 w 354"/>
                <a:gd name="T65" fmla="*/ 220 h 259"/>
                <a:gd name="T66" fmla="*/ 95 w 354"/>
                <a:gd name="T67" fmla="*/ 213 h 259"/>
                <a:gd name="T68" fmla="*/ 80 w 354"/>
                <a:gd name="T69" fmla="*/ 201 h 259"/>
                <a:gd name="T70" fmla="*/ 61 w 354"/>
                <a:gd name="T71" fmla="*/ 187 h 259"/>
                <a:gd name="T72" fmla="*/ 46 w 354"/>
                <a:gd name="T73" fmla="*/ 177 h 259"/>
                <a:gd name="T74" fmla="*/ 39 w 354"/>
                <a:gd name="T75" fmla="*/ 163 h 259"/>
                <a:gd name="T76" fmla="*/ 27 w 354"/>
                <a:gd name="T77" fmla="*/ 150 h 259"/>
                <a:gd name="T78" fmla="*/ 30 w 354"/>
                <a:gd name="T79" fmla="*/ 125 h 259"/>
                <a:gd name="T80" fmla="*/ 18 w 354"/>
                <a:gd name="T81" fmla="*/ 106 h 259"/>
                <a:gd name="T82" fmla="*/ 3 w 354"/>
                <a:gd name="T83" fmla="*/ 94 h 259"/>
                <a:gd name="T84" fmla="*/ 2 w 354"/>
                <a:gd name="T85" fmla="*/ 84 h 259"/>
                <a:gd name="T86" fmla="*/ 9 w 354"/>
                <a:gd name="T87" fmla="*/ 73 h 259"/>
                <a:gd name="T88" fmla="*/ 4 w 354"/>
                <a:gd name="T89" fmla="*/ 58 h 259"/>
                <a:gd name="T90" fmla="*/ 23 w 354"/>
                <a:gd name="T91" fmla="*/ 58 h 259"/>
                <a:gd name="T92" fmla="*/ 32 w 354"/>
                <a:gd name="T93" fmla="*/ 77 h 259"/>
                <a:gd name="T94" fmla="*/ 47 w 354"/>
                <a:gd name="T95" fmla="*/ 87 h 259"/>
                <a:gd name="T96" fmla="*/ 45 w 354"/>
                <a:gd name="T97" fmla="*/ 94 h 259"/>
                <a:gd name="T98" fmla="*/ 54 w 354"/>
                <a:gd name="T99" fmla="*/ 112 h 259"/>
                <a:gd name="T100" fmla="*/ 58 w 354"/>
                <a:gd name="T101" fmla="*/ 126 h 259"/>
                <a:gd name="T102" fmla="*/ 67 w 354"/>
                <a:gd name="T103" fmla="*/ 121 h 259"/>
                <a:gd name="T104" fmla="*/ 69 w 354"/>
                <a:gd name="T105" fmla="*/ 99 h 259"/>
                <a:gd name="T106" fmla="*/ 75 w 354"/>
                <a:gd name="T107" fmla="*/ 90 h 259"/>
                <a:gd name="T108" fmla="*/ 88 w 354"/>
                <a:gd name="T109" fmla="*/ 69 h 259"/>
                <a:gd name="T110" fmla="*/ 100 w 354"/>
                <a:gd name="T111" fmla="*/ 55 h 259"/>
                <a:gd name="T112" fmla="*/ 116 w 354"/>
                <a:gd name="T113" fmla="*/ 43 h 259"/>
                <a:gd name="T114" fmla="*/ 128 w 354"/>
                <a:gd name="T115" fmla="*/ 26 h 259"/>
                <a:gd name="T116" fmla="*/ 171 w 354"/>
                <a:gd name="T117" fmla="*/ 21 h 259"/>
                <a:gd name="T118" fmla="*/ 191 w 354"/>
                <a:gd name="T119" fmla="*/ 14 h 259"/>
                <a:gd name="T120" fmla="*/ 208 w 354"/>
                <a:gd name="T121" fmla="*/ 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4" h="259">
                  <a:moveTo>
                    <a:pt x="217" y="0"/>
                  </a:moveTo>
                  <a:lnTo>
                    <a:pt x="218" y="1"/>
                  </a:lnTo>
                  <a:lnTo>
                    <a:pt x="220" y="2"/>
                  </a:lnTo>
                  <a:lnTo>
                    <a:pt x="221" y="3"/>
                  </a:lnTo>
                  <a:lnTo>
                    <a:pt x="226" y="6"/>
                  </a:lnTo>
                  <a:lnTo>
                    <a:pt x="231" y="10"/>
                  </a:lnTo>
                  <a:lnTo>
                    <a:pt x="233" y="12"/>
                  </a:lnTo>
                  <a:lnTo>
                    <a:pt x="235" y="12"/>
                  </a:lnTo>
                  <a:lnTo>
                    <a:pt x="237" y="14"/>
                  </a:lnTo>
                  <a:lnTo>
                    <a:pt x="239" y="16"/>
                  </a:lnTo>
                  <a:lnTo>
                    <a:pt x="240" y="16"/>
                  </a:lnTo>
                  <a:lnTo>
                    <a:pt x="241" y="17"/>
                  </a:lnTo>
                  <a:lnTo>
                    <a:pt x="242" y="18"/>
                  </a:lnTo>
                  <a:lnTo>
                    <a:pt x="243" y="18"/>
                  </a:lnTo>
                  <a:lnTo>
                    <a:pt x="244" y="19"/>
                  </a:lnTo>
                  <a:lnTo>
                    <a:pt x="246" y="20"/>
                  </a:lnTo>
                  <a:lnTo>
                    <a:pt x="248" y="22"/>
                  </a:lnTo>
                  <a:lnTo>
                    <a:pt x="249" y="23"/>
                  </a:lnTo>
                  <a:lnTo>
                    <a:pt x="251" y="25"/>
                  </a:lnTo>
                  <a:lnTo>
                    <a:pt x="251" y="26"/>
                  </a:lnTo>
                  <a:lnTo>
                    <a:pt x="252" y="26"/>
                  </a:lnTo>
                  <a:lnTo>
                    <a:pt x="252" y="26"/>
                  </a:lnTo>
                  <a:lnTo>
                    <a:pt x="253" y="26"/>
                  </a:lnTo>
                  <a:lnTo>
                    <a:pt x="253" y="26"/>
                  </a:lnTo>
                  <a:lnTo>
                    <a:pt x="253" y="26"/>
                  </a:lnTo>
                  <a:lnTo>
                    <a:pt x="257" y="29"/>
                  </a:lnTo>
                  <a:lnTo>
                    <a:pt x="259" y="30"/>
                  </a:lnTo>
                  <a:lnTo>
                    <a:pt x="260" y="30"/>
                  </a:lnTo>
                  <a:lnTo>
                    <a:pt x="260" y="31"/>
                  </a:lnTo>
                  <a:lnTo>
                    <a:pt x="262" y="31"/>
                  </a:lnTo>
                  <a:lnTo>
                    <a:pt x="265" y="32"/>
                  </a:lnTo>
                  <a:lnTo>
                    <a:pt x="267" y="32"/>
                  </a:lnTo>
                  <a:lnTo>
                    <a:pt x="269" y="32"/>
                  </a:lnTo>
                  <a:lnTo>
                    <a:pt x="272" y="32"/>
                  </a:lnTo>
                  <a:lnTo>
                    <a:pt x="273" y="33"/>
                  </a:lnTo>
                  <a:lnTo>
                    <a:pt x="275" y="33"/>
                  </a:lnTo>
                  <a:lnTo>
                    <a:pt x="278" y="34"/>
                  </a:lnTo>
                  <a:lnTo>
                    <a:pt x="280" y="35"/>
                  </a:lnTo>
                  <a:lnTo>
                    <a:pt x="281" y="35"/>
                  </a:lnTo>
                  <a:lnTo>
                    <a:pt x="283" y="35"/>
                  </a:lnTo>
                  <a:lnTo>
                    <a:pt x="285" y="35"/>
                  </a:lnTo>
                  <a:lnTo>
                    <a:pt x="287" y="35"/>
                  </a:lnTo>
                  <a:lnTo>
                    <a:pt x="288" y="36"/>
                  </a:lnTo>
                  <a:lnTo>
                    <a:pt x="289" y="36"/>
                  </a:lnTo>
                  <a:lnTo>
                    <a:pt x="289" y="36"/>
                  </a:lnTo>
                  <a:lnTo>
                    <a:pt x="291" y="37"/>
                  </a:lnTo>
                  <a:lnTo>
                    <a:pt x="294" y="38"/>
                  </a:lnTo>
                  <a:lnTo>
                    <a:pt x="295" y="39"/>
                  </a:lnTo>
                  <a:lnTo>
                    <a:pt x="295" y="39"/>
                  </a:lnTo>
                  <a:lnTo>
                    <a:pt x="296" y="40"/>
                  </a:lnTo>
                  <a:lnTo>
                    <a:pt x="296" y="40"/>
                  </a:lnTo>
                  <a:lnTo>
                    <a:pt x="296" y="41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7" y="42"/>
                  </a:lnTo>
                  <a:lnTo>
                    <a:pt x="297" y="43"/>
                  </a:lnTo>
                  <a:lnTo>
                    <a:pt x="298" y="44"/>
                  </a:lnTo>
                  <a:lnTo>
                    <a:pt x="298" y="46"/>
                  </a:lnTo>
                  <a:lnTo>
                    <a:pt x="298" y="47"/>
                  </a:lnTo>
                  <a:lnTo>
                    <a:pt x="298" y="48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9" y="50"/>
                  </a:lnTo>
                  <a:lnTo>
                    <a:pt x="299" y="50"/>
                  </a:lnTo>
                  <a:lnTo>
                    <a:pt x="299" y="51"/>
                  </a:lnTo>
                  <a:lnTo>
                    <a:pt x="300" y="51"/>
                  </a:lnTo>
                  <a:lnTo>
                    <a:pt x="300" y="51"/>
                  </a:lnTo>
                  <a:lnTo>
                    <a:pt x="301" y="51"/>
                  </a:lnTo>
                  <a:lnTo>
                    <a:pt x="301" y="51"/>
                  </a:lnTo>
                  <a:lnTo>
                    <a:pt x="302" y="51"/>
                  </a:lnTo>
                  <a:lnTo>
                    <a:pt x="302" y="51"/>
                  </a:lnTo>
                  <a:lnTo>
                    <a:pt x="303" y="51"/>
                  </a:lnTo>
                  <a:lnTo>
                    <a:pt x="304" y="51"/>
                  </a:lnTo>
                  <a:lnTo>
                    <a:pt x="305" y="51"/>
                  </a:lnTo>
                  <a:lnTo>
                    <a:pt x="307" y="51"/>
                  </a:lnTo>
                  <a:lnTo>
                    <a:pt x="308" y="50"/>
                  </a:lnTo>
                  <a:lnTo>
                    <a:pt x="308" y="50"/>
                  </a:lnTo>
                  <a:lnTo>
                    <a:pt x="310" y="50"/>
                  </a:lnTo>
                  <a:lnTo>
                    <a:pt x="311" y="51"/>
                  </a:lnTo>
                  <a:lnTo>
                    <a:pt x="315" y="51"/>
                  </a:lnTo>
                  <a:lnTo>
                    <a:pt x="317" y="51"/>
                  </a:lnTo>
                  <a:lnTo>
                    <a:pt x="318" y="51"/>
                  </a:lnTo>
                  <a:lnTo>
                    <a:pt x="321" y="51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7" y="51"/>
                  </a:lnTo>
                  <a:lnTo>
                    <a:pt x="328" y="51"/>
                  </a:lnTo>
                  <a:lnTo>
                    <a:pt x="328" y="51"/>
                  </a:lnTo>
                  <a:lnTo>
                    <a:pt x="329" y="51"/>
                  </a:lnTo>
                  <a:lnTo>
                    <a:pt x="329" y="51"/>
                  </a:lnTo>
                  <a:lnTo>
                    <a:pt x="330" y="51"/>
                  </a:lnTo>
                  <a:lnTo>
                    <a:pt x="331" y="52"/>
                  </a:lnTo>
                  <a:lnTo>
                    <a:pt x="332" y="52"/>
                  </a:lnTo>
                  <a:lnTo>
                    <a:pt x="332" y="53"/>
                  </a:lnTo>
                  <a:lnTo>
                    <a:pt x="333" y="54"/>
                  </a:lnTo>
                  <a:lnTo>
                    <a:pt x="333" y="54"/>
                  </a:lnTo>
                  <a:lnTo>
                    <a:pt x="334" y="55"/>
                  </a:lnTo>
                  <a:lnTo>
                    <a:pt x="334" y="56"/>
                  </a:lnTo>
                  <a:lnTo>
                    <a:pt x="335" y="58"/>
                  </a:lnTo>
                  <a:lnTo>
                    <a:pt x="336" y="59"/>
                  </a:lnTo>
                  <a:lnTo>
                    <a:pt x="336" y="60"/>
                  </a:lnTo>
                  <a:lnTo>
                    <a:pt x="336" y="61"/>
                  </a:lnTo>
                  <a:lnTo>
                    <a:pt x="336" y="62"/>
                  </a:lnTo>
                  <a:lnTo>
                    <a:pt x="336" y="63"/>
                  </a:lnTo>
                  <a:lnTo>
                    <a:pt x="336" y="64"/>
                  </a:lnTo>
                  <a:lnTo>
                    <a:pt x="336" y="66"/>
                  </a:lnTo>
                  <a:lnTo>
                    <a:pt x="336" y="67"/>
                  </a:lnTo>
                  <a:lnTo>
                    <a:pt x="335" y="69"/>
                  </a:lnTo>
                  <a:lnTo>
                    <a:pt x="335" y="70"/>
                  </a:lnTo>
                  <a:lnTo>
                    <a:pt x="335" y="71"/>
                  </a:lnTo>
                  <a:lnTo>
                    <a:pt x="335" y="72"/>
                  </a:lnTo>
                  <a:lnTo>
                    <a:pt x="335" y="73"/>
                  </a:lnTo>
                  <a:lnTo>
                    <a:pt x="335" y="76"/>
                  </a:lnTo>
                  <a:lnTo>
                    <a:pt x="335" y="76"/>
                  </a:lnTo>
                  <a:lnTo>
                    <a:pt x="335" y="77"/>
                  </a:lnTo>
                  <a:lnTo>
                    <a:pt x="334" y="78"/>
                  </a:lnTo>
                  <a:lnTo>
                    <a:pt x="334" y="80"/>
                  </a:lnTo>
                  <a:lnTo>
                    <a:pt x="333" y="84"/>
                  </a:lnTo>
                  <a:lnTo>
                    <a:pt x="333" y="85"/>
                  </a:lnTo>
                  <a:lnTo>
                    <a:pt x="333" y="86"/>
                  </a:lnTo>
                  <a:lnTo>
                    <a:pt x="333" y="87"/>
                  </a:lnTo>
                  <a:lnTo>
                    <a:pt x="333" y="88"/>
                  </a:lnTo>
                  <a:lnTo>
                    <a:pt x="333" y="89"/>
                  </a:lnTo>
                  <a:lnTo>
                    <a:pt x="334" y="91"/>
                  </a:lnTo>
                  <a:lnTo>
                    <a:pt x="334" y="92"/>
                  </a:lnTo>
                  <a:lnTo>
                    <a:pt x="335" y="94"/>
                  </a:lnTo>
                  <a:lnTo>
                    <a:pt x="335" y="96"/>
                  </a:lnTo>
                  <a:lnTo>
                    <a:pt x="335" y="98"/>
                  </a:lnTo>
                  <a:lnTo>
                    <a:pt x="335" y="99"/>
                  </a:lnTo>
                  <a:lnTo>
                    <a:pt x="335" y="100"/>
                  </a:lnTo>
                  <a:lnTo>
                    <a:pt x="335" y="102"/>
                  </a:lnTo>
                  <a:lnTo>
                    <a:pt x="335" y="103"/>
                  </a:lnTo>
                  <a:lnTo>
                    <a:pt x="334" y="103"/>
                  </a:lnTo>
                  <a:lnTo>
                    <a:pt x="335" y="104"/>
                  </a:lnTo>
                  <a:lnTo>
                    <a:pt x="335" y="105"/>
                  </a:lnTo>
                  <a:lnTo>
                    <a:pt x="335" y="105"/>
                  </a:lnTo>
                  <a:lnTo>
                    <a:pt x="335" y="106"/>
                  </a:lnTo>
                  <a:lnTo>
                    <a:pt x="336" y="106"/>
                  </a:lnTo>
                  <a:lnTo>
                    <a:pt x="336" y="107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9" y="110"/>
                  </a:lnTo>
                  <a:lnTo>
                    <a:pt x="339" y="111"/>
                  </a:lnTo>
                  <a:lnTo>
                    <a:pt x="339" y="111"/>
                  </a:lnTo>
                  <a:lnTo>
                    <a:pt x="340" y="113"/>
                  </a:lnTo>
                  <a:lnTo>
                    <a:pt x="340" y="114"/>
                  </a:lnTo>
                  <a:lnTo>
                    <a:pt x="340" y="117"/>
                  </a:lnTo>
                  <a:lnTo>
                    <a:pt x="340" y="118"/>
                  </a:lnTo>
                  <a:lnTo>
                    <a:pt x="340" y="118"/>
                  </a:lnTo>
                  <a:lnTo>
                    <a:pt x="340" y="119"/>
                  </a:lnTo>
                  <a:lnTo>
                    <a:pt x="340" y="119"/>
                  </a:lnTo>
                  <a:lnTo>
                    <a:pt x="342" y="122"/>
                  </a:lnTo>
                  <a:lnTo>
                    <a:pt x="343" y="123"/>
                  </a:lnTo>
                  <a:lnTo>
                    <a:pt x="344" y="125"/>
                  </a:lnTo>
                  <a:lnTo>
                    <a:pt x="345" y="127"/>
                  </a:lnTo>
                  <a:lnTo>
                    <a:pt x="347" y="131"/>
                  </a:lnTo>
                  <a:lnTo>
                    <a:pt x="347" y="133"/>
                  </a:lnTo>
                  <a:lnTo>
                    <a:pt x="348" y="134"/>
                  </a:lnTo>
                  <a:lnTo>
                    <a:pt x="348" y="137"/>
                  </a:lnTo>
                  <a:lnTo>
                    <a:pt x="349" y="138"/>
                  </a:lnTo>
                  <a:lnTo>
                    <a:pt x="349" y="139"/>
                  </a:lnTo>
                  <a:lnTo>
                    <a:pt x="349" y="139"/>
                  </a:lnTo>
                  <a:lnTo>
                    <a:pt x="349" y="140"/>
                  </a:lnTo>
                  <a:lnTo>
                    <a:pt x="349" y="141"/>
                  </a:lnTo>
                  <a:lnTo>
                    <a:pt x="348" y="141"/>
                  </a:lnTo>
                  <a:lnTo>
                    <a:pt x="348" y="142"/>
                  </a:lnTo>
                  <a:lnTo>
                    <a:pt x="348" y="142"/>
                  </a:lnTo>
                  <a:lnTo>
                    <a:pt x="347" y="143"/>
                  </a:lnTo>
                  <a:lnTo>
                    <a:pt x="347" y="144"/>
                  </a:lnTo>
                  <a:lnTo>
                    <a:pt x="347" y="144"/>
                  </a:lnTo>
                  <a:lnTo>
                    <a:pt x="347" y="145"/>
                  </a:lnTo>
                  <a:lnTo>
                    <a:pt x="347" y="146"/>
                  </a:lnTo>
                  <a:lnTo>
                    <a:pt x="347" y="148"/>
                  </a:lnTo>
                  <a:lnTo>
                    <a:pt x="348" y="149"/>
                  </a:lnTo>
                  <a:lnTo>
                    <a:pt x="348" y="149"/>
                  </a:lnTo>
                  <a:lnTo>
                    <a:pt x="348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1"/>
                  </a:lnTo>
                  <a:lnTo>
                    <a:pt x="346" y="151"/>
                  </a:lnTo>
                  <a:lnTo>
                    <a:pt x="346" y="151"/>
                  </a:lnTo>
                  <a:lnTo>
                    <a:pt x="343" y="150"/>
                  </a:lnTo>
                  <a:lnTo>
                    <a:pt x="342" y="150"/>
                  </a:lnTo>
                  <a:lnTo>
                    <a:pt x="341" y="150"/>
                  </a:lnTo>
                  <a:lnTo>
                    <a:pt x="340" y="150"/>
                  </a:lnTo>
                  <a:lnTo>
                    <a:pt x="340" y="150"/>
                  </a:lnTo>
                  <a:lnTo>
                    <a:pt x="339" y="150"/>
                  </a:lnTo>
                  <a:lnTo>
                    <a:pt x="338" y="151"/>
                  </a:lnTo>
                  <a:lnTo>
                    <a:pt x="337" y="151"/>
                  </a:lnTo>
                  <a:lnTo>
                    <a:pt x="337" y="151"/>
                  </a:lnTo>
                  <a:lnTo>
                    <a:pt x="337" y="152"/>
                  </a:lnTo>
                  <a:lnTo>
                    <a:pt x="336" y="152"/>
                  </a:lnTo>
                  <a:lnTo>
                    <a:pt x="336" y="153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7" y="156"/>
                  </a:lnTo>
                  <a:lnTo>
                    <a:pt x="338" y="156"/>
                  </a:lnTo>
                  <a:lnTo>
                    <a:pt x="338" y="157"/>
                  </a:lnTo>
                  <a:lnTo>
                    <a:pt x="339" y="157"/>
                  </a:lnTo>
                  <a:lnTo>
                    <a:pt x="343" y="157"/>
                  </a:lnTo>
                  <a:lnTo>
                    <a:pt x="344" y="158"/>
                  </a:lnTo>
                  <a:lnTo>
                    <a:pt x="344" y="158"/>
                  </a:lnTo>
                  <a:lnTo>
                    <a:pt x="345" y="158"/>
                  </a:lnTo>
                  <a:lnTo>
                    <a:pt x="346" y="159"/>
                  </a:lnTo>
                  <a:lnTo>
                    <a:pt x="347" y="159"/>
                  </a:lnTo>
                  <a:lnTo>
                    <a:pt x="348" y="160"/>
                  </a:lnTo>
                  <a:lnTo>
                    <a:pt x="348" y="161"/>
                  </a:lnTo>
                  <a:lnTo>
                    <a:pt x="349" y="162"/>
                  </a:lnTo>
                  <a:lnTo>
                    <a:pt x="351" y="164"/>
                  </a:lnTo>
                  <a:lnTo>
                    <a:pt x="352" y="165"/>
                  </a:lnTo>
                  <a:lnTo>
                    <a:pt x="352" y="166"/>
                  </a:lnTo>
                  <a:lnTo>
                    <a:pt x="353" y="167"/>
                  </a:lnTo>
                  <a:lnTo>
                    <a:pt x="353" y="168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3" y="170"/>
                  </a:lnTo>
                  <a:lnTo>
                    <a:pt x="352" y="171"/>
                  </a:lnTo>
                  <a:lnTo>
                    <a:pt x="352" y="171"/>
                  </a:lnTo>
                  <a:lnTo>
                    <a:pt x="351" y="172"/>
                  </a:lnTo>
                  <a:lnTo>
                    <a:pt x="351" y="172"/>
                  </a:lnTo>
                  <a:lnTo>
                    <a:pt x="351" y="172"/>
                  </a:lnTo>
                  <a:lnTo>
                    <a:pt x="350" y="174"/>
                  </a:lnTo>
                  <a:lnTo>
                    <a:pt x="350" y="175"/>
                  </a:lnTo>
                  <a:lnTo>
                    <a:pt x="349" y="177"/>
                  </a:lnTo>
                  <a:lnTo>
                    <a:pt x="349" y="177"/>
                  </a:lnTo>
                  <a:lnTo>
                    <a:pt x="349" y="178"/>
                  </a:lnTo>
                  <a:lnTo>
                    <a:pt x="349" y="179"/>
                  </a:lnTo>
                  <a:lnTo>
                    <a:pt x="349" y="179"/>
                  </a:lnTo>
                  <a:lnTo>
                    <a:pt x="349" y="180"/>
                  </a:lnTo>
                  <a:lnTo>
                    <a:pt x="350" y="180"/>
                  </a:lnTo>
                  <a:lnTo>
                    <a:pt x="350" y="182"/>
                  </a:lnTo>
                  <a:lnTo>
                    <a:pt x="351" y="182"/>
                  </a:lnTo>
                  <a:lnTo>
                    <a:pt x="351" y="183"/>
                  </a:lnTo>
                  <a:lnTo>
                    <a:pt x="351" y="183"/>
                  </a:lnTo>
                  <a:lnTo>
                    <a:pt x="351" y="184"/>
                  </a:lnTo>
                  <a:lnTo>
                    <a:pt x="351" y="184"/>
                  </a:lnTo>
                  <a:lnTo>
                    <a:pt x="351" y="185"/>
                  </a:lnTo>
                  <a:lnTo>
                    <a:pt x="351" y="186"/>
                  </a:lnTo>
                  <a:lnTo>
                    <a:pt x="351" y="186"/>
                  </a:lnTo>
                  <a:lnTo>
                    <a:pt x="350" y="187"/>
                  </a:lnTo>
                  <a:lnTo>
                    <a:pt x="350" y="188"/>
                  </a:lnTo>
                  <a:lnTo>
                    <a:pt x="349" y="188"/>
                  </a:lnTo>
                  <a:lnTo>
                    <a:pt x="348" y="189"/>
                  </a:lnTo>
                  <a:lnTo>
                    <a:pt x="347" y="189"/>
                  </a:lnTo>
                  <a:lnTo>
                    <a:pt x="346" y="190"/>
                  </a:lnTo>
                  <a:lnTo>
                    <a:pt x="345" y="191"/>
                  </a:lnTo>
                  <a:lnTo>
                    <a:pt x="344" y="191"/>
                  </a:lnTo>
                  <a:lnTo>
                    <a:pt x="341" y="192"/>
                  </a:lnTo>
                  <a:lnTo>
                    <a:pt x="339" y="193"/>
                  </a:lnTo>
                  <a:lnTo>
                    <a:pt x="339" y="193"/>
                  </a:lnTo>
                  <a:lnTo>
                    <a:pt x="337" y="193"/>
                  </a:lnTo>
                  <a:lnTo>
                    <a:pt x="336" y="194"/>
                  </a:lnTo>
                  <a:lnTo>
                    <a:pt x="335" y="194"/>
                  </a:lnTo>
                  <a:lnTo>
                    <a:pt x="335" y="195"/>
                  </a:lnTo>
                  <a:lnTo>
                    <a:pt x="335" y="195"/>
                  </a:lnTo>
                  <a:lnTo>
                    <a:pt x="334" y="195"/>
                  </a:lnTo>
                  <a:lnTo>
                    <a:pt x="334" y="196"/>
                  </a:lnTo>
                  <a:lnTo>
                    <a:pt x="334" y="196"/>
                  </a:lnTo>
                  <a:lnTo>
                    <a:pt x="334" y="197"/>
                  </a:lnTo>
                  <a:lnTo>
                    <a:pt x="334" y="199"/>
                  </a:lnTo>
                  <a:lnTo>
                    <a:pt x="334" y="200"/>
                  </a:lnTo>
                  <a:lnTo>
                    <a:pt x="334" y="202"/>
                  </a:lnTo>
                  <a:lnTo>
                    <a:pt x="334" y="203"/>
                  </a:lnTo>
                  <a:lnTo>
                    <a:pt x="334" y="204"/>
                  </a:lnTo>
                  <a:lnTo>
                    <a:pt x="334" y="205"/>
                  </a:lnTo>
                  <a:lnTo>
                    <a:pt x="332" y="211"/>
                  </a:lnTo>
                  <a:lnTo>
                    <a:pt x="332" y="212"/>
                  </a:lnTo>
                  <a:lnTo>
                    <a:pt x="332" y="213"/>
                  </a:lnTo>
                  <a:lnTo>
                    <a:pt x="332" y="214"/>
                  </a:lnTo>
                  <a:lnTo>
                    <a:pt x="331" y="214"/>
                  </a:lnTo>
                  <a:lnTo>
                    <a:pt x="331" y="215"/>
                  </a:lnTo>
                  <a:lnTo>
                    <a:pt x="330" y="215"/>
                  </a:lnTo>
                  <a:lnTo>
                    <a:pt x="329" y="215"/>
                  </a:lnTo>
                  <a:lnTo>
                    <a:pt x="329" y="215"/>
                  </a:lnTo>
                  <a:lnTo>
                    <a:pt x="328" y="215"/>
                  </a:lnTo>
                  <a:lnTo>
                    <a:pt x="327" y="215"/>
                  </a:lnTo>
                  <a:lnTo>
                    <a:pt x="327" y="215"/>
                  </a:lnTo>
                  <a:lnTo>
                    <a:pt x="326" y="215"/>
                  </a:lnTo>
                  <a:lnTo>
                    <a:pt x="325" y="214"/>
                  </a:lnTo>
                  <a:lnTo>
                    <a:pt x="324" y="214"/>
                  </a:lnTo>
                  <a:lnTo>
                    <a:pt x="323" y="213"/>
                  </a:lnTo>
                  <a:lnTo>
                    <a:pt x="322" y="212"/>
                  </a:lnTo>
                  <a:lnTo>
                    <a:pt x="319" y="210"/>
                  </a:lnTo>
                  <a:lnTo>
                    <a:pt x="318" y="209"/>
                  </a:lnTo>
                  <a:lnTo>
                    <a:pt x="317" y="209"/>
                  </a:lnTo>
                  <a:lnTo>
                    <a:pt x="315" y="207"/>
                  </a:lnTo>
                  <a:lnTo>
                    <a:pt x="314" y="206"/>
                  </a:lnTo>
                  <a:lnTo>
                    <a:pt x="313" y="205"/>
                  </a:lnTo>
                  <a:lnTo>
                    <a:pt x="312" y="205"/>
                  </a:lnTo>
                  <a:lnTo>
                    <a:pt x="311" y="204"/>
                  </a:lnTo>
                  <a:lnTo>
                    <a:pt x="310" y="204"/>
                  </a:lnTo>
                  <a:lnTo>
                    <a:pt x="308" y="204"/>
                  </a:lnTo>
                  <a:lnTo>
                    <a:pt x="307" y="203"/>
                  </a:lnTo>
                  <a:lnTo>
                    <a:pt x="306" y="203"/>
                  </a:lnTo>
                  <a:lnTo>
                    <a:pt x="303" y="203"/>
                  </a:lnTo>
                  <a:lnTo>
                    <a:pt x="299" y="203"/>
                  </a:lnTo>
                  <a:lnTo>
                    <a:pt x="299" y="202"/>
                  </a:lnTo>
                  <a:lnTo>
                    <a:pt x="296" y="202"/>
                  </a:lnTo>
                  <a:lnTo>
                    <a:pt x="294" y="201"/>
                  </a:lnTo>
                  <a:lnTo>
                    <a:pt x="293" y="201"/>
                  </a:lnTo>
                  <a:lnTo>
                    <a:pt x="292" y="201"/>
                  </a:lnTo>
                  <a:lnTo>
                    <a:pt x="292" y="201"/>
                  </a:lnTo>
                  <a:lnTo>
                    <a:pt x="291" y="201"/>
                  </a:lnTo>
                  <a:lnTo>
                    <a:pt x="291" y="202"/>
                  </a:lnTo>
                  <a:lnTo>
                    <a:pt x="290" y="202"/>
                  </a:lnTo>
                  <a:lnTo>
                    <a:pt x="289" y="202"/>
                  </a:lnTo>
                  <a:lnTo>
                    <a:pt x="289" y="203"/>
                  </a:lnTo>
                  <a:lnTo>
                    <a:pt x="287" y="205"/>
                  </a:lnTo>
                  <a:lnTo>
                    <a:pt x="285" y="206"/>
                  </a:lnTo>
                  <a:lnTo>
                    <a:pt x="284" y="208"/>
                  </a:lnTo>
                  <a:lnTo>
                    <a:pt x="282" y="209"/>
                  </a:lnTo>
                  <a:lnTo>
                    <a:pt x="282" y="210"/>
                  </a:lnTo>
                  <a:lnTo>
                    <a:pt x="279" y="211"/>
                  </a:lnTo>
                  <a:lnTo>
                    <a:pt x="277" y="212"/>
                  </a:lnTo>
                  <a:lnTo>
                    <a:pt x="276" y="213"/>
                  </a:lnTo>
                  <a:lnTo>
                    <a:pt x="274" y="215"/>
                  </a:lnTo>
                  <a:lnTo>
                    <a:pt x="269" y="218"/>
                  </a:lnTo>
                  <a:lnTo>
                    <a:pt x="268" y="218"/>
                  </a:lnTo>
                  <a:lnTo>
                    <a:pt x="266" y="219"/>
                  </a:lnTo>
                  <a:lnTo>
                    <a:pt x="265" y="220"/>
                  </a:lnTo>
                  <a:lnTo>
                    <a:pt x="264" y="221"/>
                  </a:lnTo>
                  <a:lnTo>
                    <a:pt x="262" y="222"/>
                  </a:lnTo>
                  <a:lnTo>
                    <a:pt x="262" y="222"/>
                  </a:lnTo>
                  <a:lnTo>
                    <a:pt x="258" y="224"/>
                  </a:lnTo>
                  <a:lnTo>
                    <a:pt x="256" y="225"/>
                  </a:lnTo>
                  <a:lnTo>
                    <a:pt x="255" y="225"/>
                  </a:lnTo>
                  <a:lnTo>
                    <a:pt x="254" y="225"/>
                  </a:lnTo>
                  <a:lnTo>
                    <a:pt x="254" y="226"/>
                  </a:lnTo>
                  <a:lnTo>
                    <a:pt x="253" y="226"/>
                  </a:lnTo>
                  <a:lnTo>
                    <a:pt x="253" y="227"/>
                  </a:lnTo>
                  <a:lnTo>
                    <a:pt x="252" y="228"/>
                  </a:lnTo>
                  <a:lnTo>
                    <a:pt x="252" y="228"/>
                  </a:lnTo>
                  <a:lnTo>
                    <a:pt x="252" y="229"/>
                  </a:lnTo>
                  <a:lnTo>
                    <a:pt x="252" y="229"/>
                  </a:lnTo>
                  <a:lnTo>
                    <a:pt x="252" y="232"/>
                  </a:lnTo>
                  <a:lnTo>
                    <a:pt x="252" y="233"/>
                  </a:lnTo>
                  <a:lnTo>
                    <a:pt x="252" y="234"/>
                  </a:lnTo>
                  <a:lnTo>
                    <a:pt x="251" y="239"/>
                  </a:lnTo>
                  <a:lnTo>
                    <a:pt x="251" y="239"/>
                  </a:lnTo>
                  <a:lnTo>
                    <a:pt x="250" y="240"/>
                  </a:lnTo>
                  <a:lnTo>
                    <a:pt x="250" y="241"/>
                  </a:lnTo>
                  <a:lnTo>
                    <a:pt x="249" y="242"/>
                  </a:lnTo>
                  <a:lnTo>
                    <a:pt x="248" y="243"/>
                  </a:lnTo>
                  <a:lnTo>
                    <a:pt x="247" y="244"/>
                  </a:lnTo>
                  <a:lnTo>
                    <a:pt x="245" y="245"/>
                  </a:lnTo>
                  <a:lnTo>
                    <a:pt x="244" y="246"/>
                  </a:lnTo>
                  <a:lnTo>
                    <a:pt x="243" y="247"/>
                  </a:lnTo>
                  <a:lnTo>
                    <a:pt x="242" y="247"/>
                  </a:lnTo>
                  <a:lnTo>
                    <a:pt x="241" y="248"/>
                  </a:lnTo>
                  <a:lnTo>
                    <a:pt x="240" y="248"/>
                  </a:lnTo>
                  <a:lnTo>
                    <a:pt x="239" y="248"/>
                  </a:lnTo>
                  <a:lnTo>
                    <a:pt x="238" y="248"/>
                  </a:lnTo>
                  <a:lnTo>
                    <a:pt x="238" y="248"/>
                  </a:lnTo>
                  <a:lnTo>
                    <a:pt x="237" y="247"/>
                  </a:lnTo>
                  <a:lnTo>
                    <a:pt x="234" y="246"/>
                  </a:lnTo>
                  <a:lnTo>
                    <a:pt x="233" y="246"/>
                  </a:lnTo>
                  <a:lnTo>
                    <a:pt x="232" y="246"/>
                  </a:lnTo>
                  <a:lnTo>
                    <a:pt x="231" y="245"/>
                  </a:lnTo>
                  <a:lnTo>
                    <a:pt x="230" y="245"/>
                  </a:lnTo>
                  <a:lnTo>
                    <a:pt x="229" y="246"/>
                  </a:lnTo>
                  <a:lnTo>
                    <a:pt x="228" y="246"/>
                  </a:lnTo>
                  <a:lnTo>
                    <a:pt x="226" y="246"/>
                  </a:lnTo>
                  <a:lnTo>
                    <a:pt x="224" y="246"/>
                  </a:lnTo>
                  <a:lnTo>
                    <a:pt x="223" y="246"/>
                  </a:lnTo>
                  <a:lnTo>
                    <a:pt x="222" y="246"/>
                  </a:lnTo>
                  <a:lnTo>
                    <a:pt x="221" y="246"/>
                  </a:lnTo>
                  <a:lnTo>
                    <a:pt x="220" y="246"/>
                  </a:lnTo>
                  <a:lnTo>
                    <a:pt x="219" y="246"/>
                  </a:lnTo>
                  <a:lnTo>
                    <a:pt x="218" y="246"/>
                  </a:lnTo>
                  <a:lnTo>
                    <a:pt x="215" y="245"/>
                  </a:lnTo>
                  <a:lnTo>
                    <a:pt x="214" y="244"/>
                  </a:lnTo>
                  <a:lnTo>
                    <a:pt x="209" y="243"/>
                  </a:lnTo>
                  <a:lnTo>
                    <a:pt x="208" y="242"/>
                  </a:lnTo>
                  <a:lnTo>
                    <a:pt x="206" y="242"/>
                  </a:lnTo>
                  <a:lnTo>
                    <a:pt x="205" y="241"/>
                  </a:lnTo>
                  <a:lnTo>
                    <a:pt x="205" y="241"/>
                  </a:lnTo>
                  <a:lnTo>
                    <a:pt x="203" y="241"/>
                  </a:lnTo>
                  <a:lnTo>
                    <a:pt x="202" y="241"/>
                  </a:lnTo>
                  <a:lnTo>
                    <a:pt x="201" y="241"/>
                  </a:lnTo>
                  <a:lnTo>
                    <a:pt x="201" y="241"/>
                  </a:lnTo>
                  <a:lnTo>
                    <a:pt x="200" y="241"/>
                  </a:lnTo>
                  <a:lnTo>
                    <a:pt x="199" y="242"/>
                  </a:lnTo>
                  <a:lnTo>
                    <a:pt x="196" y="243"/>
                  </a:lnTo>
                  <a:lnTo>
                    <a:pt x="195" y="243"/>
                  </a:lnTo>
                  <a:lnTo>
                    <a:pt x="194" y="243"/>
                  </a:lnTo>
                  <a:lnTo>
                    <a:pt x="192" y="243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6" y="244"/>
                  </a:lnTo>
                  <a:lnTo>
                    <a:pt x="185" y="245"/>
                  </a:lnTo>
                  <a:lnTo>
                    <a:pt x="183" y="245"/>
                  </a:lnTo>
                  <a:lnTo>
                    <a:pt x="182" y="246"/>
                  </a:lnTo>
                  <a:lnTo>
                    <a:pt x="180" y="246"/>
                  </a:lnTo>
                  <a:lnTo>
                    <a:pt x="178" y="247"/>
                  </a:lnTo>
                  <a:lnTo>
                    <a:pt x="177" y="247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4" y="250"/>
                  </a:lnTo>
                  <a:lnTo>
                    <a:pt x="174" y="250"/>
                  </a:lnTo>
                  <a:lnTo>
                    <a:pt x="173" y="251"/>
                  </a:lnTo>
                  <a:lnTo>
                    <a:pt x="173" y="251"/>
                  </a:lnTo>
                  <a:lnTo>
                    <a:pt x="171" y="253"/>
                  </a:lnTo>
                  <a:lnTo>
                    <a:pt x="170" y="253"/>
                  </a:lnTo>
                  <a:lnTo>
                    <a:pt x="169" y="254"/>
                  </a:lnTo>
                  <a:lnTo>
                    <a:pt x="168" y="254"/>
                  </a:lnTo>
                  <a:lnTo>
                    <a:pt x="168" y="255"/>
                  </a:lnTo>
                  <a:lnTo>
                    <a:pt x="167" y="255"/>
                  </a:lnTo>
                  <a:lnTo>
                    <a:pt x="167" y="256"/>
                  </a:lnTo>
                  <a:lnTo>
                    <a:pt x="167" y="257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5" y="259"/>
                  </a:lnTo>
                  <a:lnTo>
                    <a:pt x="165" y="259"/>
                  </a:lnTo>
                  <a:lnTo>
                    <a:pt x="165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3" y="257"/>
                  </a:lnTo>
                  <a:lnTo>
                    <a:pt x="162" y="255"/>
                  </a:lnTo>
                  <a:lnTo>
                    <a:pt x="162" y="255"/>
                  </a:lnTo>
                  <a:lnTo>
                    <a:pt x="161" y="254"/>
                  </a:lnTo>
                  <a:lnTo>
                    <a:pt x="160" y="253"/>
                  </a:lnTo>
                  <a:lnTo>
                    <a:pt x="159" y="252"/>
                  </a:lnTo>
                  <a:lnTo>
                    <a:pt x="158" y="252"/>
                  </a:lnTo>
                  <a:lnTo>
                    <a:pt x="157" y="251"/>
                  </a:lnTo>
                  <a:lnTo>
                    <a:pt x="155" y="251"/>
                  </a:lnTo>
                  <a:lnTo>
                    <a:pt x="155" y="251"/>
                  </a:lnTo>
                  <a:lnTo>
                    <a:pt x="154" y="251"/>
                  </a:lnTo>
                  <a:lnTo>
                    <a:pt x="153" y="251"/>
                  </a:lnTo>
                  <a:lnTo>
                    <a:pt x="151" y="252"/>
                  </a:lnTo>
                  <a:lnTo>
                    <a:pt x="150" y="252"/>
                  </a:lnTo>
                  <a:lnTo>
                    <a:pt x="149" y="253"/>
                  </a:lnTo>
                  <a:lnTo>
                    <a:pt x="148" y="253"/>
                  </a:lnTo>
                  <a:lnTo>
                    <a:pt x="147" y="254"/>
                  </a:lnTo>
                  <a:lnTo>
                    <a:pt x="145" y="255"/>
                  </a:lnTo>
                  <a:lnTo>
                    <a:pt x="144" y="256"/>
                  </a:lnTo>
                  <a:lnTo>
                    <a:pt x="144" y="256"/>
                  </a:lnTo>
                  <a:lnTo>
                    <a:pt x="143" y="257"/>
                  </a:lnTo>
                  <a:lnTo>
                    <a:pt x="142" y="257"/>
                  </a:lnTo>
                  <a:lnTo>
                    <a:pt x="141" y="257"/>
                  </a:lnTo>
                  <a:lnTo>
                    <a:pt x="140" y="257"/>
                  </a:lnTo>
                  <a:lnTo>
                    <a:pt x="140" y="257"/>
                  </a:lnTo>
                  <a:lnTo>
                    <a:pt x="139" y="257"/>
                  </a:lnTo>
                  <a:lnTo>
                    <a:pt x="134" y="255"/>
                  </a:lnTo>
                  <a:lnTo>
                    <a:pt x="130" y="254"/>
                  </a:lnTo>
                  <a:lnTo>
                    <a:pt x="128" y="254"/>
                  </a:lnTo>
                  <a:lnTo>
                    <a:pt x="128" y="253"/>
                  </a:lnTo>
                  <a:lnTo>
                    <a:pt x="128" y="253"/>
                  </a:lnTo>
                  <a:lnTo>
                    <a:pt x="128" y="252"/>
                  </a:lnTo>
                  <a:lnTo>
                    <a:pt x="127" y="251"/>
                  </a:lnTo>
                  <a:lnTo>
                    <a:pt x="127" y="250"/>
                  </a:lnTo>
                  <a:lnTo>
                    <a:pt x="126" y="250"/>
                  </a:lnTo>
                  <a:lnTo>
                    <a:pt x="125" y="249"/>
                  </a:lnTo>
                  <a:lnTo>
                    <a:pt x="125" y="248"/>
                  </a:lnTo>
                  <a:lnTo>
                    <a:pt x="124" y="247"/>
                  </a:lnTo>
                  <a:lnTo>
                    <a:pt x="123" y="246"/>
                  </a:lnTo>
                  <a:lnTo>
                    <a:pt x="120" y="245"/>
                  </a:lnTo>
                  <a:lnTo>
                    <a:pt x="119" y="244"/>
                  </a:lnTo>
                  <a:lnTo>
                    <a:pt x="114" y="241"/>
                  </a:lnTo>
                  <a:lnTo>
                    <a:pt x="112" y="240"/>
                  </a:lnTo>
                  <a:lnTo>
                    <a:pt x="110" y="239"/>
                  </a:lnTo>
                  <a:lnTo>
                    <a:pt x="109" y="238"/>
                  </a:lnTo>
                  <a:lnTo>
                    <a:pt x="108" y="237"/>
                  </a:lnTo>
                  <a:lnTo>
                    <a:pt x="108" y="237"/>
                  </a:lnTo>
                  <a:lnTo>
                    <a:pt x="108" y="236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4"/>
                  </a:lnTo>
                  <a:lnTo>
                    <a:pt x="107" y="233"/>
                  </a:lnTo>
                  <a:lnTo>
                    <a:pt x="107" y="232"/>
                  </a:lnTo>
                  <a:lnTo>
                    <a:pt x="108" y="231"/>
                  </a:lnTo>
                  <a:lnTo>
                    <a:pt x="108" y="230"/>
                  </a:lnTo>
                  <a:lnTo>
                    <a:pt x="108" y="230"/>
                  </a:lnTo>
                  <a:lnTo>
                    <a:pt x="110" y="227"/>
                  </a:lnTo>
                  <a:lnTo>
                    <a:pt x="110" y="226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1" y="224"/>
                  </a:lnTo>
                  <a:lnTo>
                    <a:pt x="111" y="223"/>
                  </a:lnTo>
                  <a:lnTo>
                    <a:pt x="111" y="222"/>
                  </a:lnTo>
                  <a:lnTo>
                    <a:pt x="111" y="222"/>
                  </a:lnTo>
                  <a:lnTo>
                    <a:pt x="110" y="221"/>
                  </a:lnTo>
                  <a:lnTo>
                    <a:pt x="110" y="220"/>
                  </a:lnTo>
                  <a:lnTo>
                    <a:pt x="110" y="220"/>
                  </a:lnTo>
                  <a:lnTo>
                    <a:pt x="110" y="219"/>
                  </a:lnTo>
                  <a:lnTo>
                    <a:pt x="109" y="219"/>
                  </a:lnTo>
                  <a:lnTo>
                    <a:pt x="109" y="218"/>
                  </a:lnTo>
                  <a:lnTo>
                    <a:pt x="107" y="216"/>
                  </a:lnTo>
                  <a:lnTo>
                    <a:pt x="105" y="215"/>
                  </a:lnTo>
                  <a:lnTo>
                    <a:pt x="104" y="215"/>
                  </a:lnTo>
                  <a:lnTo>
                    <a:pt x="104" y="214"/>
                  </a:lnTo>
                  <a:lnTo>
                    <a:pt x="103" y="214"/>
                  </a:lnTo>
                  <a:lnTo>
                    <a:pt x="102" y="214"/>
                  </a:lnTo>
                  <a:lnTo>
                    <a:pt x="101" y="213"/>
                  </a:lnTo>
                  <a:lnTo>
                    <a:pt x="100" y="213"/>
                  </a:lnTo>
                  <a:lnTo>
                    <a:pt x="98" y="213"/>
                  </a:lnTo>
                  <a:lnTo>
                    <a:pt x="97" y="213"/>
                  </a:lnTo>
                  <a:lnTo>
                    <a:pt x="96" y="213"/>
                  </a:lnTo>
                  <a:lnTo>
                    <a:pt x="95" y="213"/>
                  </a:lnTo>
                  <a:lnTo>
                    <a:pt x="95" y="212"/>
                  </a:lnTo>
                  <a:lnTo>
                    <a:pt x="94" y="212"/>
                  </a:lnTo>
                  <a:lnTo>
                    <a:pt x="94" y="212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2" y="209"/>
                  </a:lnTo>
                  <a:lnTo>
                    <a:pt x="91" y="208"/>
                  </a:lnTo>
                  <a:lnTo>
                    <a:pt x="90" y="207"/>
                  </a:lnTo>
                  <a:lnTo>
                    <a:pt x="87" y="205"/>
                  </a:lnTo>
                  <a:lnTo>
                    <a:pt x="85" y="204"/>
                  </a:lnTo>
                  <a:lnTo>
                    <a:pt x="84" y="203"/>
                  </a:lnTo>
                  <a:lnTo>
                    <a:pt x="83" y="203"/>
                  </a:lnTo>
                  <a:lnTo>
                    <a:pt x="83" y="202"/>
                  </a:lnTo>
                  <a:lnTo>
                    <a:pt x="81" y="201"/>
                  </a:lnTo>
                  <a:lnTo>
                    <a:pt x="80" y="201"/>
                  </a:lnTo>
                  <a:lnTo>
                    <a:pt x="79" y="200"/>
                  </a:lnTo>
                  <a:lnTo>
                    <a:pt x="76" y="199"/>
                  </a:lnTo>
                  <a:lnTo>
                    <a:pt x="75" y="198"/>
                  </a:lnTo>
                  <a:lnTo>
                    <a:pt x="73" y="196"/>
                  </a:lnTo>
                  <a:lnTo>
                    <a:pt x="70" y="193"/>
                  </a:lnTo>
                  <a:lnTo>
                    <a:pt x="69" y="192"/>
                  </a:lnTo>
                  <a:lnTo>
                    <a:pt x="68" y="192"/>
                  </a:lnTo>
                  <a:lnTo>
                    <a:pt x="68" y="192"/>
                  </a:lnTo>
                  <a:lnTo>
                    <a:pt x="67" y="191"/>
                  </a:lnTo>
                  <a:lnTo>
                    <a:pt x="65" y="190"/>
                  </a:lnTo>
                  <a:lnTo>
                    <a:pt x="64" y="190"/>
                  </a:lnTo>
                  <a:lnTo>
                    <a:pt x="64" y="190"/>
                  </a:lnTo>
                  <a:lnTo>
                    <a:pt x="63" y="189"/>
                  </a:lnTo>
                  <a:lnTo>
                    <a:pt x="62" y="188"/>
                  </a:lnTo>
                  <a:lnTo>
                    <a:pt x="61" y="187"/>
                  </a:lnTo>
                  <a:lnTo>
                    <a:pt x="60" y="185"/>
                  </a:lnTo>
                  <a:lnTo>
                    <a:pt x="59" y="185"/>
                  </a:lnTo>
                  <a:lnTo>
                    <a:pt x="59" y="184"/>
                  </a:lnTo>
                  <a:lnTo>
                    <a:pt x="58" y="183"/>
                  </a:lnTo>
                  <a:lnTo>
                    <a:pt x="57" y="182"/>
                  </a:lnTo>
                  <a:lnTo>
                    <a:pt x="55" y="182"/>
                  </a:lnTo>
                  <a:lnTo>
                    <a:pt x="54" y="181"/>
                  </a:lnTo>
                  <a:lnTo>
                    <a:pt x="51" y="180"/>
                  </a:lnTo>
                  <a:lnTo>
                    <a:pt x="50" y="180"/>
                  </a:lnTo>
                  <a:lnTo>
                    <a:pt x="48" y="179"/>
                  </a:lnTo>
                  <a:lnTo>
                    <a:pt x="47" y="179"/>
                  </a:lnTo>
                  <a:lnTo>
                    <a:pt x="47" y="178"/>
                  </a:lnTo>
                  <a:lnTo>
                    <a:pt x="47" y="178"/>
                  </a:lnTo>
                  <a:lnTo>
                    <a:pt x="46" y="178"/>
                  </a:lnTo>
                  <a:lnTo>
                    <a:pt x="46" y="177"/>
                  </a:lnTo>
                  <a:lnTo>
                    <a:pt x="46" y="177"/>
                  </a:lnTo>
                  <a:lnTo>
                    <a:pt x="46" y="176"/>
                  </a:lnTo>
                  <a:lnTo>
                    <a:pt x="46" y="176"/>
                  </a:lnTo>
                  <a:lnTo>
                    <a:pt x="46" y="174"/>
                  </a:lnTo>
                  <a:lnTo>
                    <a:pt x="46" y="173"/>
                  </a:lnTo>
                  <a:lnTo>
                    <a:pt x="46" y="172"/>
                  </a:lnTo>
                  <a:lnTo>
                    <a:pt x="46" y="171"/>
                  </a:lnTo>
                  <a:lnTo>
                    <a:pt x="45" y="170"/>
                  </a:lnTo>
                  <a:lnTo>
                    <a:pt x="44" y="169"/>
                  </a:lnTo>
                  <a:lnTo>
                    <a:pt x="43" y="167"/>
                  </a:lnTo>
                  <a:lnTo>
                    <a:pt x="42" y="166"/>
                  </a:lnTo>
                  <a:lnTo>
                    <a:pt x="41" y="165"/>
                  </a:lnTo>
                  <a:lnTo>
                    <a:pt x="40" y="164"/>
                  </a:lnTo>
                  <a:lnTo>
                    <a:pt x="40" y="163"/>
                  </a:lnTo>
                  <a:lnTo>
                    <a:pt x="39" y="163"/>
                  </a:lnTo>
                  <a:lnTo>
                    <a:pt x="38" y="162"/>
                  </a:lnTo>
                  <a:lnTo>
                    <a:pt x="37" y="162"/>
                  </a:lnTo>
                  <a:lnTo>
                    <a:pt x="36" y="161"/>
                  </a:lnTo>
                  <a:lnTo>
                    <a:pt x="35" y="161"/>
                  </a:lnTo>
                  <a:lnTo>
                    <a:pt x="34" y="160"/>
                  </a:lnTo>
                  <a:lnTo>
                    <a:pt x="32" y="158"/>
                  </a:lnTo>
                  <a:lnTo>
                    <a:pt x="31" y="158"/>
                  </a:lnTo>
                  <a:lnTo>
                    <a:pt x="30" y="157"/>
                  </a:lnTo>
                  <a:lnTo>
                    <a:pt x="30" y="157"/>
                  </a:lnTo>
                  <a:lnTo>
                    <a:pt x="29" y="156"/>
                  </a:lnTo>
                  <a:lnTo>
                    <a:pt x="29" y="155"/>
                  </a:lnTo>
                  <a:lnTo>
                    <a:pt x="28" y="154"/>
                  </a:lnTo>
                  <a:lnTo>
                    <a:pt x="28" y="153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7" y="149"/>
                  </a:lnTo>
                  <a:lnTo>
                    <a:pt x="27" y="148"/>
                  </a:lnTo>
                  <a:lnTo>
                    <a:pt x="27" y="146"/>
                  </a:lnTo>
                  <a:lnTo>
                    <a:pt x="27" y="145"/>
                  </a:lnTo>
                  <a:lnTo>
                    <a:pt x="27" y="143"/>
                  </a:lnTo>
                  <a:lnTo>
                    <a:pt x="27" y="142"/>
                  </a:lnTo>
                  <a:lnTo>
                    <a:pt x="27" y="141"/>
                  </a:lnTo>
                  <a:lnTo>
                    <a:pt x="28" y="136"/>
                  </a:lnTo>
                  <a:lnTo>
                    <a:pt x="30" y="133"/>
                  </a:lnTo>
                  <a:lnTo>
                    <a:pt x="30" y="131"/>
                  </a:lnTo>
                  <a:lnTo>
                    <a:pt x="30" y="130"/>
                  </a:lnTo>
                  <a:lnTo>
                    <a:pt x="30" y="129"/>
                  </a:lnTo>
                  <a:lnTo>
                    <a:pt x="30" y="128"/>
                  </a:lnTo>
                  <a:lnTo>
                    <a:pt x="30" y="127"/>
                  </a:lnTo>
                  <a:lnTo>
                    <a:pt x="30" y="125"/>
                  </a:lnTo>
                  <a:lnTo>
                    <a:pt x="29" y="124"/>
                  </a:lnTo>
                  <a:lnTo>
                    <a:pt x="29" y="122"/>
                  </a:lnTo>
                  <a:lnTo>
                    <a:pt x="28" y="121"/>
                  </a:lnTo>
                  <a:lnTo>
                    <a:pt x="28" y="120"/>
                  </a:lnTo>
                  <a:lnTo>
                    <a:pt x="27" y="117"/>
                  </a:lnTo>
                  <a:lnTo>
                    <a:pt x="26" y="115"/>
                  </a:lnTo>
                  <a:lnTo>
                    <a:pt x="26" y="115"/>
                  </a:lnTo>
                  <a:lnTo>
                    <a:pt x="25" y="114"/>
                  </a:lnTo>
                  <a:lnTo>
                    <a:pt x="24" y="113"/>
                  </a:lnTo>
                  <a:lnTo>
                    <a:pt x="23" y="111"/>
                  </a:lnTo>
                  <a:lnTo>
                    <a:pt x="21" y="109"/>
                  </a:lnTo>
                  <a:lnTo>
                    <a:pt x="21" y="109"/>
                  </a:lnTo>
                  <a:lnTo>
                    <a:pt x="19" y="107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7" y="103"/>
                  </a:lnTo>
                  <a:lnTo>
                    <a:pt x="16" y="102"/>
                  </a:lnTo>
                  <a:lnTo>
                    <a:pt x="15" y="101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2" y="98"/>
                  </a:lnTo>
                  <a:lnTo>
                    <a:pt x="11" y="98"/>
                  </a:lnTo>
                  <a:lnTo>
                    <a:pt x="9" y="97"/>
                  </a:lnTo>
                  <a:lnTo>
                    <a:pt x="8" y="97"/>
                  </a:lnTo>
                  <a:lnTo>
                    <a:pt x="7" y="96"/>
                  </a:lnTo>
                  <a:lnTo>
                    <a:pt x="6" y="96"/>
                  </a:lnTo>
                  <a:lnTo>
                    <a:pt x="5" y="95"/>
                  </a:lnTo>
                  <a:lnTo>
                    <a:pt x="4" y="95"/>
                  </a:lnTo>
                  <a:lnTo>
                    <a:pt x="4" y="94"/>
                  </a:lnTo>
                  <a:lnTo>
                    <a:pt x="3" y="94"/>
                  </a:lnTo>
                  <a:lnTo>
                    <a:pt x="2" y="93"/>
                  </a:lnTo>
                  <a:lnTo>
                    <a:pt x="1" y="92"/>
                  </a:lnTo>
                  <a:lnTo>
                    <a:pt x="1" y="91"/>
                  </a:lnTo>
                  <a:lnTo>
                    <a:pt x="0" y="91"/>
                  </a:lnTo>
                  <a:lnTo>
                    <a:pt x="0" y="90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8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6"/>
                  </a:lnTo>
                  <a:lnTo>
                    <a:pt x="1" y="85"/>
                  </a:lnTo>
                  <a:lnTo>
                    <a:pt x="1" y="85"/>
                  </a:lnTo>
                  <a:lnTo>
                    <a:pt x="2" y="84"/>
                  </a:lnTo>
                  <a:lnTo>
                    <a:pt x="3" y="83"/>
                  </a:lnTo>
                  <a:lnTo>
                    <a:pt x="4" y="82"/>
                  </a:lnTo>
                  <a:lnTo>
                    <a:pt x="5" y="81"/>
                  </a:lnTo>
                  <a:lnTo>
                    <a:pt x="6" y="80"/>
                  </a:lnTo>
                  <a:lnTo>
                    <a:pt x="7" y="80"/>
                  </a:lnTo>
                  <a:lnTo>
                    <a:pt x="8" y="79"/>
                  </a:lnTo>
                  <a:lnTo>
                    <a:pt x="8" y="78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9" y="76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3"/>
                  </a:lnTo>
                  <a:lnTo>
                    <a:pt x="8" y="70"/>
                  </a:lnTo>
                  <a:lnTo>
                    <a:pt x="8" y="69"/>
                  </a:lnTo>
                  <a:lnTo>
                    <a:pt x="7" y="67"/>
                  </a:lnTo>
                  <a:lnTo>
                    <a:pt x="7" y="65"/>
                  </a:lnTo>
                  <a:lnTo>
                    <a:pt x="7" y="64"/>
                  </a:lnTo>
                  <a:lnTo>
                    <a:pt x="6" y="63"/>
                  </a:lnTo>
                  <a:lnTo>
                    <a:pt x="6" y="62"/>
                  </a:lnTo>
                  <a:lnTo>
                    <a:pt x="5" y="61"/>
                  </a:lnTo>
                  <a:lnTo>
                    <a:pt x="4" y="60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5" y="58"/>
                  </a:lnTo>
                  <a:lnTo>
                    <a:pt x="6" y="58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12" y="57"/>
                  </a:lnTo>
                  <a:lnTo>
                    <a:pt x="14" y="57"/>
                  </a:lnTo>
                  <a:lnTo>
                    <a:pt x="16" y="57"/>
                  </a:lnTo>
                  <a:lnTo>
                    <a:pt x="18" y="57"/>
                  </a:lnTo>
                  <a:lnTo>
                    <a:pt x="19" y="57"/>
                  </a:lnTo>
                  <a:lnTo>
                    <a:pt x="21" y="57"/>
                  </a:lnTo>
                  <a:lnTo>
                    <a:pt x="22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4" y="59"/>
                  </a:lnTo>
                  <a:lnTo>
                    <a:pt x="25" y="59"/>
                  </a:lnTo>
                  <a:lnTo>
                    <a:pt x="26" y="60"/>
                  </a:lnTo>
                  <a:lnTo>
                    <a:pt x="27" y="61"/>
                  </a:lnTo>
                  <a:lnTo>
                    <a:pt x="28" y="63"/>
                  </a:lnTo>
                  <a:lnTo>
                    <a:pt x="28" y="64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6"/>
                  </a:lnTo>
                  <a:lnTo>
                    <a:pt x="30" y="70"/>
                  </a:lnTo>
                  <a:lnTo>
                    <a:pt x="30" y="71"/>
                  </a:lnTo>
                  <a:lnTo>
                    <a:pt x="31" y="74"/>
                  </a:lnTo>
                  <a:lnTo>
                    <a:pt x="31" y="75"/>
                  </a:lnTo>
                  <a:lnTo>
                    <a:pt x="32" y="76"/>
                  </a:lnTo>
                  <a:lnTo>
                    <a:pt x="32" y="77"/>
                  </a:lnTo>
                  <a:lnTo>
                    <a:pt x="33" y="78"/>
                  </a:lnTo>
                  <a:lnTo>
                    <a:pt x="33" y="79"/>
                  </a:lnTo>
                  <a:lnTo>
                    <a:pt x="34" y="79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6" y="80"/>
                  </a:lnTo>
                  <a:lnTo>
                    <a:pt x="37" y="81"/>
                  </a:lnTo>
                  <a:lnTo>
                    <a:pt x="42" y="83"/>
                  </a:lnTo>
                  <a:lnTo>
                    <a:pt x="43" y="83"/>
                  </a:lnTo>
                  <a:lnTo>
                    <a:pt x="44" y="83"/>
                  </a:lnTo>
                  <a:lnTo>
                    <a:pt x="45" y="84"/>
                  </a:lnTo>
                  <a:lnTo>
                    <a:pt x="45" y="85"/>
                  </a:lnTo>
                  <a:lnTo>
                    <a:pt x="46" y="85"/>
                  </a:lnTo>
                  <a:lnTo>
                    <a:pt x="46" y="86"/>
                  </a:lnTo>
                  <a:lnTo>
                    <a:pt x="47" y="87"/>
                  </a:lnTo>
                  <a:lnTo>
                    <a:pt x="47" y="87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7" y="89"/>
                  </a:lnTo>
                  <a:lnTo>
                    <a:pt x="46" y="89"/>
                  </a:lnTo>
                  <a:lnTo>
                    <a:pt x="46" y="89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4" y="90"/>
                  </a:lnTo>
                  <a:lnTo>
                    <a:pt x="44" y="91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3"/>
                  </a:lnTo>
                  <a:lnTo>
                    <a:pt x="44" y="94"/>
                  </a:lnTo>
                  <a:lnTo>
                    <a:pt x="45" y="94"/>
                  </a:lnTo>
                  <a:lnTo>
                    <a:pt x="45" y="95"/>
                  </a:lnTo>
                  <a:lnTo>
                    <a:pt x="46" y="96"/>
                  </a:lnTo>
                  <a:lnTo>
                    <a:pt x="47" y="97"/>
                  </a:lnTo>
                  <a:lnTo>
                    <a:pt x="48" y="98"/>
                  </a:lnTo>
                  <a:lnTo>
                    <a:pt x="51" y="100"/>
                  </a:lnTo>
                  <a:lnTo>
                    <a:pt x="51" y="101"/>
                  </a:lnTo>
                  <a:lnTo>
                    <a:pt x="52" y="102"/>
                  </a:lnTo>
                  <a:lnTo>
                    <a:pt x="53" y="103"/>
                  </a:lnTo>
                  <a:lnTo>
                    <a:pt x="54" y="104"/>
                  </a:lnTo>
                  <a:lnTo>
                    <a:pt x="54" y="105"/>
                  </a:lnTo>
                  <a:lnTo>
                    <a:pt x="54" y="105"/>
                  </a:lnTo>
                  <a:lnTo>
                    <a:pt x="54" y="106"/>
                  </a:lnTo>
                  <a:lnTo>
                    <a:pt x="54" y="107"/>
                  </a:lnTo>
                  <a:lnTo>
                    <a:pt x="54" y="109"/>
                  </a:lnTo>
                  <a:lnTo>
                    <a:pt x="54" y="112"/>
                  </a:lnTo>
                  <a:lnTo>
                    <a:pt x="53" y="113"/>
                  </a:lnTo>
                  <a:lnTo>
                    <a:pt x="53" y="115"/>
                  </a:lnTo>
                  <a:lnTo>
                    <a:pt x="53" y="116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8"/>
                  </a:lnTo>
                  <a:lnTo>
                    <a:pt x="53" y="119"/>
                  </a:lnTo>
                  <a:lnTo>
                    <a:pt x="54" y="121"/>
                  </a:lnTo>
                  <a:lnTo>
                    <a:pt x="55" y="122"/>
                  </a:lnTo>
                  <a:lnTo>
                    <a:pt x="56" y="123"/>
                  </a:lnTo>
                  <a:lnTo>
                    <a:pt x="56" y="124"/>
                  </a:lnTo>
                  <a:lnTo>
                    <a:pt x="57" y="125"/>
                  </a:lnTo>
                  <a:lnTo>
                    <a:pt x="57" y="125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6"/>
                  </a:lnTo>
                  <a:lnTo>
                    <a:pt x="60" y="127"/>
                  </a:lnTo>
                  <a:lnTo>
                    <a:pt x="61" y="127"/>
                  </a:lnTo>
                  <a:lnTo>
                    <a:pt x="62" y="127"/>
                  </a:lnTo>
                  <a:lnTo>
                    <a:pt x="63" y="127"/>
                  </a:lnTo>
                  <a:lnTo>
                    <a:pt x="64" y="128"/>
                  </a:lnTo>
                  <a:lnTo>
                    <a:pt x="64" y="127"/>
                  </a:lnTo>
                  <a:lnTo>
                    <a:pt x="65" y="127"/>
                  </a:lnTo>
                  <a:lnTo>
                    <a:pt x="65" y="127"/>
                  </a:lnTo>
                  <a:lnTo>
                    <a:pt x="66" y="127"/>
                  </a:lnTo>
                  <a:lnTo>
                    <a:pt x="66" y="127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7" y="123"/>
                  </a:lnTo>
                  <a:lnTo>
                    <a:pt x="67" y="121"/>
                  </a:lnTo>
                  <a:lnTo>
                    <a:pt x="67" y="120"/>
                  </a:lnTo>
                  <a:lnTo>
                    <a:pt x="67" y="119"/>
                  </a:lnTo>
                  <a:lnTo>
                    <a:pt x="67" y="118"/>
                  </a:lnTo>
                  <a:lnTo>
                    <a:pt x="67" y="116"/>
                  </a:lnTo>
                  <a:lnTo>
                    <a:pt x="67" y="114"/>
                  </a:lnTo>
                  <a:lnTo>
                    <a:pt x="67" y="113"/>
                  </a:lnTo>
                  <a:lnTo>
                    <a:pt x="67" y="112"/>
                  </a:lnTo>
                  <a:lnTo>
                    <a:pt x="67" y="110"/>
                  </a:lnTo>
                  <a:lnTo>
                    <a:pt x="67" y="109"/>
                  </a:lnTo>
                  <a:lnTo>
                    <a:pt x="67" y="105"/>
                  </a:lnTo>
                  <a:lnTo>
                    <a:pt x="68" y="102"/>
                  </a:lnTo>
                  <a:lnTo>
                    <a:pt x="68" y="101"/>
                  </a:lnTo>
                  <a:lnTo>
                    <a:pt x="68" y="100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8"/>
                  </a:lnTo>
                  <a:lnTo>
                    <a:pt x="70" y="98"/>
                  </a:lnTo>
                  <a:lnTo>
                    <a:pt x="70" y="98"/>
                  </a:lnTo>
                  <a:lnTo>
                    <a:pt x="70" y="97"/>
                  </a:lnTo>
                  <a:lnTo>
                    <a:pt x="72" y="97"/>
                  </a:lnTo>
                  <a:lnTo>
                    <a:pt x="73" y="97"/>
                  </a:lnTo>
                  <a:lnTo>
                    <a:pt x="73" y="96"/>
                  </a:lnTo>
                  <a:lnTo>
                    <a:pt x="73" y="96"/>
                  </a:lnTo>
                  <a:lnTo>
                    <a:pt x="74" y="96"/>
                  </a:lnTo>
                  <a:lnTo>
                    <a:pt x="74" y="95"/>
                  </a:lnTo>
                  <a:lnTo>
                    <a:pt x="74" y="94"/>
                  </a:lnTo>
                  <a:lnTo>
                    <a:pt x="74" y="94"/>
                  </a:lnTo>
                  <a:lnTo>
                    <a:pt x="75" y="93"/>
                  </a:lnTo>
                  <a:lnTo>
                    <a:pt x="75" y="91"/>
                  </a:lnTo>
                  <a:lnTo>
                    <a:pt x="75" y="90"/>
                  </a:lnTo>
                  <a:lnTo>
                    <a:pt x="75" y="89"/>
                  </a:lnTo>
                  <a:lnTo>
                    <a:pt x="76" y="87"/>
                  </a:lnTo>
                  <a:lnTo>
                    <a:pt x="76" y="86"/>
                  </a:lnTo>
                  <a:lnTo>
                    <a:pt x="77" y="84"/>
                  </a:lnTo>
                  <a:lnTo>
                    <a:pt x="78" y="82"/>
                  </a:lnTo>
                  <a:lnTo>
                    <a:pt x="78" y="81"/>
                  </a:lnTo>
                  <a:lnTo>
                    <a:pt x="79" y="80"/>
                  </a:lnTo>
                  <a:lnTo>
                    <a:pt x="80" y="79"/>
                  </a:lnTo>
                  <a:lnTo>
                    <a:pt x="81" y="78"/>
                  </a:lnTo>
                  <a:lnTo>
                    <a:pt x="82" y="76"/>
                  </a:lnTo>
                  <a:lnTo>
                    <a:pt x="86" y="73"/>
                  </a:lnTo>
                  <a:lnTo>
                    <a:pt x="86" y="72"/>
                  </a:lnTo>
                  <a:lnTo>
                    <a:pt x="87" y="71"/>
                  </a:lnTo>
                  <a:lnTo>
                    <a:pt x="88" y="70"/>
                  </a:lnTo>
                  <a:lnTo>
                    <a:pt x="88" y="69"/>
                  </a:lnTo>
                  <a:lnTo>
                    <a:pt x="89" y="68"/>
                  </a:lnTo>
                  <a:lnTo>
                    <a:pt x="90" y="65"/>
                  </a:lnTo>
                  <a:lnTo>
                    <a:pt x="91" y="63"/>
                  </a:lnTo>
                  <a:lnTo>
                    <a:pt x="91" y="62"/>
                  </a:lnTo>
                  <a:lnTo>
                    <a:pt x="91" y="62"/>
                  </a:lnTo>
                  <a:lnTo>
                    <a:pt x="91" y="61"/>
                  </a:lnTo>
                  <a:lnTo>
                    <a:pt x="92" y="61"/>
                  </a:lnTo>
                  <a:lnTo>
                    <a:pt x="93" y="60"/>
                  </a:lnTo>
                  <a:lnTo>
                    <a:pt x="94" y="60"/>
                  </a:lnTo>
                  <a:lnTo>
                    <a:pt x="94" y="59"/>
                  </a:lnTo>
                  <a:lnTo>
                    <a:pt x="97" y="58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9" y="56"/>
                  </a:lnTo>
                  <a:lnTo>
                    <a:pt x="100" y="55"/>
                  </a:lnTo>
                  <a:lnTo>
                    <a:pt x="102" y="53"/>
                  </a:lnTo>
                  <a:lnTo>
                    <a:pt x="103" y="51"/>
                  </a:lnTo>
                  <a:lnTo>
                    <a:pt x="105" y="50"/>
                  </a:lnTo>
                  <a:lnTo>
                    <a:pt x="106" y="49"/>
                  </a:lnTo>
                  <a:lnTo>
                    <a:pt x="108" y="48"/>
                  </a:lnTo>
                  <a:lnTo>
                    <a:pt x="109" y="47"/>
                  </a:lnTo>
                  <a:lnTo>
                    <a:pt x="110" y="47"/>
                  </a:lnTo>
                  <a:lnTo>
                    <a:pt x="112" y="46"/>
                  </a:lnTo>
                  <a:lnTo>
                    <a:pt x="113" y="46"/>
                  </a:lnTo>
                  <a:lnTo>
                    <a:pt x="114" y="46"/>
                  </a:lnTo>
                  <a:lnTo>
                    <a:pt x="114" y="46"/>
                  </a:lnTo>
                  <a:lnTo>
                    <a:pt x="115" y="45"/>
                  </a:lnTo>
                  <a:lnTo>
                    <a:pt x="115" y="45"/>
                  </a:lnTo>
                  <a:lnTo>
                    <a:pt x="115" y="44"/>
                  </a:lnTo>
                  <a:lnTo>
                    <a:pt x="116" y="43"/>
                  </a:lnTo>
                  <a:lnTo>
                    <a:pt x="116" y="42"/>
                  </a:lnTo>
                  <a:lnTo>
                    <a:pt x="117" y="39"/>
                  </a:lnTo>
                  <a:lnTo>
                    <a:pt x="118" y="38"/>
                  </a:lnTo>
                  <a:lnTo>
                    <a:pt x="118" y="37"/>
                  </a:lnTo>
                  <a:lnTo>
                    <a:pt x="119" y="35"/>
                  </a:lnTo>
                  <a:lnTo>
                    <a:pt x="120" y="33"/>
                  </a:lnTo>
                  <a:lnTo>
                    <a:pt x="121" y="31"/>
                  </a:lnTo>
                  <a:lnTo>
                    <a:pt x="122" y="31"/>
                  </a:lnTo>
                  <a:lnTo>
                    <a:pt x="123" y="30"/>
                  </a:lnTo>
                  <a:lnTo>
                    <a:pt x="123" y="29"/>
                  </a:lnTo>
                  <a:lnTo>
                    <a:pt x="124" y="29"/>
                  </a:lnTo>
                  <a:lnTo>
                    <a:pt x="125" y="28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8" y="26"/>
                  </a:lnTo>
                  <a:lnTo>
                    <a:pt x="130" y="26"/>
                  </a:lnTo>
                  <a:lnTo>
                    <a:pt x="133" y="25"/>
                  </a:lnTo>
                  <a:lnTo>
                    <a:pt x="137" y="24"/>
                  </a:lnTo>
                  <a:lnTo>
                    <a:pt x="139" y="24"/>
                  </a:lnTo>
                  <a:lnTo>
                    <a:pt x="145" y="22"/>
                  </a:lnTo>
                  <a:lnTo>
                    <a:pt x="150" y="21"/>
                  </a:lnTo>
                  <a:lnTo>
                    <a:pt x="154" y="20"/>
                  </a:lnTo>
                  <a:lnTo>
                    <a:pt x="155" y="20"/>
                  </a:lnTo>
                  <a:lnTo>
                    <a:pt x="156" y="20"/>
                  </a:lnTo>
                  <a:lnTo>
                    <a:pt x="157" y="20"/>
                  </a:lnTo>
                  <a:lnTo>
                    <a:pt x="159" y="20"/>
                  </a:lnTo>
                  <a:lnTo>
                    <a:pt x="160" y="20"/>
                  </a:lnTo>
                  <a:lnTo>
                    <a:pt x="164" y="20"/>
                  </a:lnTo>
                  <a:lnTo>
                    <a:pt x="169" y="20"/>
                  </a:lnTo>
                  <a:lnTo>
                    <a:pt x="171" y="21"/>
                  </a:lnTo>
                  <a:lnTo>
                    <a:pt x="172" y="21"/>
                  </a:lnTo>
                  <a:lnTo>
                    <a:pt x="173" y="21"/>
                  </a:lnTo>
                  <a:lnTo>
                    <a:pt x="174" y="22"/>
                  </a:lnTo>
                  <a:lnTo>
                    <a:pt x="177" y="23"/>
                  </a:lnTo>
                  <a:lnTo>
                    <a:pt x="178" y="24"/>
                  </a:lnTo>
                  <a:lnTo>
                    <a:pt x="179" y="24"/>
                  </a:lnTo>
                  <a:lnTo>
                    <a:pt x="179" y="24"/>
                  </a:lnTo>
                  <a:lnTo>
                    <a:pt x="180" y="24"/>
                  </a:lnTo>
                  <a:lnTo>
                    <a:pt x="181" y="24"/>
                  </a:lnTo>
                  <a:lnTo>
                    <a:pt x="181" y="24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90" y="15"/>
                  </a:lnTo>
                  <a:lnTo>
                    <a:pt x="191" y="14"/>
                  </a:lnTo>
                  <a:lnTo>
                    <a:pt x="192" y="13"/>
                  </a:lnTo>
                  <a:lnTo>
                    <a:pt x="192" y="12"/>
                  </a:lnTo>
                  <a:lnTo>
                    <a:pt x="194" y="12"/>
                  </a:lnTo>
                  <a:lnTo>
                    <a:pt x="195" y="11"/>
                  </a:lnTo>
                  <a:lnTo>
                    <a:pt x="197" y="10"/>
                  </a:lnTo>
                  <a:lnTo>
                    <a:pt x="199" y="9"/>
                  </a:lnTo>
                  <a:lnTo>
                    <a:pt x="201" y="8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5" y="7"/>
                  </a:lnTo>
                  <a:lnTo>
                    <a:pt x="206" y="7"/>
                  </a:lnTo>
                  <a:lnTo>
                    <a:pt x="207" y="7"/>
                  </a:lnTo>
                  <a:lnTo>
                    <a:pt x="207" y="7"/>
                  </a:lnTo>
                  <a:lnTo>
                    <a:pt x="207" y="7"/>
                  </a:lnTo>
                  <a:lnTo>
                    <a:pt x="208" y="7"/>
                  </a:lnTo>
                  <a:lnTo>
                    <a:pt x="210" y="8"/>
                  </a:lnTo>
                  <a:lnTo>
                    <a:pt x="211" y="8"/>
                  </a:lnTo>
                  <a:lnTo>
                    <a:pt x="211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3" y="7"/>
                  </a:lnTo>
                  <a:lnTo>
                    <a:pt x="213" y="7"/>
                  </a:lnTo>
                  <a:lnTo>
                    <a:pt x="213" y="7"/>
                  </a:lnTo>
                  <a:lnTo>
                    <a:pt x="215" y="3"/>
                  </a:lnTo>
                  <a:lnTo>
                    <a:pt x="216" y="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595959"/>
            </a:solidFill>
            <a:ln w="20638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Freeform 53">
              <a:extLst>
                <a:ext uri="{FF2B5EF4-FFF2-40B4-BE49-F238E27FC236}">
                  <a16:creationId xmlns:a16="http://schemas.microsoft.com/office/drawing/2014/main" id="{65148A5F-12BD-2020-E251-20C3F46B25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2866"/>
              <a:ext cx="504" cy="447"/>
            </a:xfrm>
            <a:custGeom>
              <a:avLst/>
              <a:gdLst>
                <a:gd name="T0" fmla="*/ 434 w 504"/>
                <a:gd name="T1" fmla="*/ 15 h 447"/>
                <a:gd name="T2" fmla="*/ 459 w 504"/>
                <a:gd name="T3" fmla="*/ 8 h 447"/>
                <a:gd name="T4" fmla="*/ 472 w 504"/>
                <a:gd name="T5" fmla="*/ 21 h 447"/>
                <a:gd name="T6" fmla="*/ 486 w 504"/>
                <a:gd name="T7" fmla="*/ 47 h 447"/>
                <a:gd name="T8" fmla="*/ 489 w 504"/>
                <a:gd name="T9" fmla="*/ 63 h 447"/>
                <a:gd name="T10" fmla="*/ 497 w 504"/>
                <a:gd name="T11" fmla="*/ 84 h 447"/>
                <a:gd name="T12" fmla="*/ 479 w 504"/>
                <a:gd name="T13" fmla="*/ 108 h 447"/>
                <a:gd name="T14" fmla="*/ 458 w 504"/>
                <a:gd name="T15" fmla="*/ 114 h 447"/>
                <a:gd name="T16" fmla="*/ 445 w 504"/>
                <a:gd name="T17" fmla="*/ 127 h 447"/>
                <a:gd name="T18" fmla="*/ 436 w 504"/>
                <a:gd name="T19" fmla="*/ 148 h 447"/>
                <a:gd name="T20" fmla="*/ 417 w 504"/>
                <a:gd name="T21" fmla="*/ 176 h 447"/>
                <a:gd name="T22" fmla="*/ 425 w 504"/>
                <a:gd name="T23" fmla="*/ 209 h 447"/>
                <a:gd name="T24" fmla="*/ 450 w 504"/>
                <a:gd name="T25" fmla="*/ 247 h 447"/>
                <a:gd name="T26" fmla="*/ 449 w 504"/>
                <a:gd name="T27" fmla="*/ 259 h 447"/>
                <a:gd name="T28" fmla="*/ 445 w 504"/>
                <a:gd name="T29" fmla="*/ 280 h 447"/>
                <a:gd name="T30" fmla="*/ 423 w 504"/>
                <a:gd name="T31" fmla="*/ 289 h 447"/>
                <a:gd name="T32" fmla="*/ 422 w 504"/>
                <a:gd name="T33" fmla="*/ 308 h 447"/>
                <a:gd name="T34" fmla="*/ 407 w 504"/>
                <a:gd name="T35" fmla="*/ 324 h 447"/>
                <a:gd name="T36" fmla="*/ 370 w 504"/>
                <a:gd name="T37" fmla="*/ 331 h 447"/>
                <a:gd name="T38" fmla="*/ 322 w 504"/>
                <a:gd name="T39" fmla="*/ 328 h 447"/>
                <a:gd name="T40" fmla="*/ 307 w 504"/>
                <a:gd name="T41" fmla="*/ 343 h 447"/>
                <a:gd name="T42" fmla="*/ 292 w 504"/>
                <a:gd name="T43" fmla="*/ 355 h 447"/>
                <a:gd name="T44" fmla="*/ 267 w 504"/>
                <a:gd name="T45" fmla="*/ 371 h 447"/>
                <a:gd name="T46" fmla="*/ 249 w 504"/>
                <a:gd name="T47" fmla="*/ 370 h 447"/>
                <a:gd name="T48" fmla="*/ 218 w 504"/>
                <a:gd name="T49" fmla="*/ 381 h 447"/>
                <a:gd name="T50" fmla="*/ 194 w 504"/>
                <a:gd name="T51" fmla="*/ 393 h 447"/>
                <a:gd name="T52" fmla="*/ 164 w 504"/>
                <a:gd name="T53" fmla="*/ 405 h 447"/>
                <a:gd name="T54" fmla="*/ 155 w 504"/>
                <a:gd name="T55" fmla="*/ 424 h 447"/>
                <a:gd name="T56" fmla="*/ 137 w 504"/>
                <a:gd name="T57" fmla="*/ 437 h 447"/>
                <a:gd name="T58" fmla="*/ 122 w 504"/>
                <a:gd name="T59" fmla="*/ 446 h 447"/>
                <a:gd name="T60" fmla="*/ 109 w 504"/>
                <a:gd name="T61" fmla="*/ 440 h 447"/>
                <a:gd name="T62" fmla="*/ 101 w 504"/>
                <a:gd name="T63" fmla="*/ 437 h 447"/>
                <a:gd name="T64" fmla="*/ 83 w 504"/>
                <a:gd name="T65" fmla="*/ 421 h 447"/>
                <a:gd name="T66" fmla="*/ 95 w 504"/>
                <a:gd name="T67" fmla="*/ 416 h 447"/>
                <a:gd name="T68" fmla="*/ 87 w 504"/>
                <a:gd name="T69" fmla="*/ 386 h 447"/>
                <a:gd name="T70" fmla="*/ 82 w 504"/>
                <a:gd name="T71" fmla="*/ 365 h 447"/>
                <a:gd name="T72" fmla="*/ 83 w 504"/>
                <a:gd name="T73" fmla="*/ 331 h 447"/>
                <a:gd name="T74" fmla="*/ 65 w 504"/>
                <a:gd name="T75" fmla="*/ 318 h 447"/>
                <a:gd name="T76" fmla="*/ 45 w 504"/>
                <a:gd name="T77" fmla="*/ 315 h 447"/>
                <a:gd name="T78" fmla="*/ 25 w 504"/>
                <a:gd name="T79" fmla="*/ 301 h 447"/>
                <a:gd name="T80" fmla="*/ 8 w 504"/>
                <a:gd name="T81" fmla="*/ 287 h 447"/>
                <a:gd name="T82" fmla="*/ 26 w 504"/>
                <a:gd name="T83" fmla="*/ 249 h 447"/>
                <a:gd name="T84" fmla="*/ 54 w 504"/>
                <a:gd name="T85" fmla="*/ 245 h 447"/>
                <a:gd name="T86" fmla="*/ 78 w 504"/>
                <a:gd name="T87" fmla="*/ 240 h 447"/>
                <a:gd name="T88" fmla="*/ 94 w 504"/>
                <a:gd name="T89" fmla="*/ 210 h 447"/>
                <a:gd name="T90" fmla="*/ 111 w 504"/>
                <a:gd name="T91" fmla="*/ 211 h 447"/>
                <a:gd name="T92" fmla="*/ 129 w 504"/>
                <a:gd name="T93" fmla="*/ 186 h 447"/>
                <a:gd name="T94" fmla="*/ 151 w 504"/>
                <a:gd name="T95" fmla="*/ 203 h 447"/>
                <a:gd name="T96" fmla="*/ 171 w 504"/>
                <a:gd name="T97" fmla="*/ 182 h 447"/>
                <a:gd name="T98" fmla="*/ 178 w 504"/>
                <a:gd name="T99" fmla="*/ 158 h 447"/>
                <a:gd name="T100" fmla="*/ 209 w 504"/>
                <a:gd name="T101" fmla="*/ 149 h 447"/>
                <a:gd name="T102" fmla="*/ 232 w 504"/>
                <a:gd name="T103" fmla="*/ 149 h 447"/>
                <a:gd name="T104" fmla="*/ 270 w 504"/>
                <a:gd name="T105" fmla="*/ 148 h 447"/>
                <a:gd name="T106" fmla="*/ 283 w 504"/>
                <a:gd name="T107" fmla="*/ 126 h 447"/>
                <a:gd name="T108" fmla="*/ 308 w 504"/>
                <a:gd name="T109" fmla="*/ 110 h 447"/>
                <a:gd name="T110" fmla="*/ 345 w 504"/>
                <a:gd name="T111" fmla="*/ 104 h 447"/>
                <a:gd name="T112" fmla="*/ 388 w 504"/>
                <a:gd name="T113" fmla="*/ 77 h 447"/>
                <a:gd name="T114" fmla="*/ 423 w 504"/>
                <a:gd name="T115" fmla="*/ 72 h 447"/>
                <a:gd name="T116" fmla="*/ 426 w 504"/>
                <a:gd name="T117" fmla="*/ 54 h 447"/>
                <a:gd name="T118" fmla="*/ 408 w 504"/>
                <a:gd name="T119" fmla="*/ 37 h 447"/>
                <a:gd name="T120" fmla="*/ 393 w 504"/>
                <a:gd name="T121" fmla="*/ 30 h 447"/>
                <a:gd name="T122" fmla="*/ 402 w 504"/>
                <a:gd name="T123" fmla="*/ 1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4" h="447">
                  <a:moveTo>
                    <a:pt x="404" y="0"/>
                  </a:moveTo>
                  <a:lnTo>
                    <a:pt x="405" y="0"/>
                  </a:lnTo>
                  <a:lnTo>
                    <a:pt x="405" y="0"/>
                  </a:lnTo>
                  <a:lnTo>
                    <a:pt x="406" y="1"/>
                  </a:lnTo>
                  <a:lnTo>
                    <a:pt x="410" y="3"/>
                  </a:lnTo>
                  <a:lnTo>
                    <a:pt x="411" y="4"/>
                  </a:lnTo>
                  <a:lnTo>
                    <a:pt x="413" y="5"/>
                  </a:lnTo>
                  <a:lnTo>
                    <a:pt x="414" y="5"/>
                  </a:lnTo>
                  <a:lnTo>
                    <a:pt x="415" y="5"/>
                  </a:lnTo>
                  <a:lnTo>
                    <a:pt x="419" y="6"/>
                  </a:lnTo>
                  <a:lnTo>
                    <a:pt x="420" y="6"/>
                  </a:lnTo>
                  <a:lnTo>
                    <a:pt x="421" y="7"/>
                  </a:lnTo>
                  <a:lnTo>
                    <a:pt x="422" y="7"/>
                  </a:lnTo>
                  <a:lnTo>
                    <a:pt x="423" y="8"/>
                  </a:lnTo>
                  <a:lnTo>
                    <a:pt x="425" y="9"/>
                  </a:lnTo>
                  <a:lnTo>
                    <a:pt x="426" y="10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0" y="13"/>
                  </a:lnTo>
                  <a:lnTo>
                    <a:pt x="431" y="14"/>
                  </a:lnTo>
                  <a:lnTo>
                    <a:pt x="432" y="14"/>
                  </a:lnTo>
                  <a:lnTo>
                    <a:pt x="433" y="15"/>
                  </a:lnTo>
                  <a:lnTo>
                    <a:pt x="434" y="15"/>
                  </a:lnTo>
                  <a:lnTo>
                    <a:pt x="435" y="15"/>
                  </a:lnTo>
                  <a:lnTo>
                    <a:pt x="436" y="15"/>
                  </a:lnTo>
                  <a:lnTo>
                    <a:pt x="437" y="15"/>
                  </a:lnTo>
                  <a:lnTo>
                    <a:pt x="438" y="14"/>
                  </a:lnTo>
                  <a:lnTo>
                    <a:pt x="439" y="14"/>
                  </a:lnTo>
                  <a:lnTo>
                    <a:pt x="440" y="14"/>
                  </a:lnTo>
                  <a:lnTo>
                    <a:pt x="444" y="12"/>
                  </a:lnTo>
                  <a:lnTo>
                    <a:pt x="445" y="12"/>
                  </a:lnTo>
                  <a:lnTo>
                    <a:pt x="447" y="11"/>
                  </a:lnTo>
                  <a:lnTo>
                    <a:pt x="448" y="11"/>
                  </a:lnTo>
                  <a:lnTo>
                    <a:pt x="449" y="11"/>
                  </a:lnTo>
                  <a:lnTo>
                    <a:pt x="450" y="11"/>
                  </a:lnTo>
                  <a:lnTo>
                    <a:pt x="451" y="11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5" y="12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8" y="10"/>
                  </a:lnTo>
                  <a:lnTo>
                    <a:pt x="459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2" y="9"/>
                  </a:lnTo>
                  <a:lnTo>
                    <a:pt x="462" y="9"/>
                  </a:lnTo>
                  <a:lnTo>
                    <a:pt x="462" y="11"/>
                  </a:lnTo>
                  <a:lnTo>
                    <a:pt x="462" y="12"/>
                  </a:lnTo>
                  <a:lnTo>
                    <a:pt x="462" y="12"/>
                  </a:lnTo>
                  <a:lnTo>
                    <a:pt x="463" y="13"/>
                  </a:lnTo>
                  <a:lnTo>
                    <a:pt x="463" y="14"/>
                  </a:lnTo>
                  <a:lnTo>
                    <a:pt x="464" y="14"/>
                  </a:lnTo>
                  <a:lnTo>
                    <a:pt x="464" y="15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9" y="18"/>
                  </a:lnTo>
                  <a:lnTo>
                    <a:pt x="470" y="19"/>
                  </a:lnTo>
                  <a:lnTo>
                    <a:pt x="471" y="21"/>
                  </a:lnTo>
                  <a:lnTo>
                    <a:pt x="472" y="21"/>
                  </a:lnTo>
                  <a:lnTo>
                    <a:pt x="473" y="22"/>
                  </a:lnTo>
                  <a:lnTo>
                    <a:pt x="474" y="22"/>
                  </a:lnTo>
                  <a:lnTo>
                    <a:pt x="475" y="22"/>
                  </a:lnTo>
                  <a:lnTo>
                    <a:pt x="478" y="23"/>
                  </a:lnTo>
                  <a:lnTo>
                    <a:pt x="478" y="23"/>
                  </a:lnTo>
                  <a:lnTo>
                    <a:pt x="479" y="24"/>
                  </a:lnTo>
                  <a:lnTo>
                    <a:pt x="480" y="24"/>
                  </a:lnTo>
                  <a:lnTo>
                    <a:pt x="481" y="25"/>
                  </a:lnTo>
                  <a:lnTo>
                    <a:pt x="482" y="26"/>
                  </a:lnTo>
                  <a:lnTo>
                    <a:pt x="483" y="26"/>
                  </a:lnTo>
                  <a:lnTo>
                    <a:pt x="484" y="28"/>
                  </a:lnTo>
                  <a:lnTo>
                    <a:pt x="486" y="30"/>
                  </a:lnTo>
                  <a:lnTo>
                    <a:pt x="487" y="31"/>
                  </a:lnTo>
                  <a:lnTo>
                    <a:pt x="487" y="32"/>
                  </a:lnTo>
                  <a:lnTo>
                    <a:pt x="488" y="34"/>
                  </a:lnTo>
                  <a:lnTo>
                    <a:pt x="488" y="35"/>
                  </a:lnTo>
                  <a:lnTo>
                    <a:pt x="488" y="36"/>
                  </a:lnTo>
                  <a:lnTo>
                    <a:pt x="488" y="38"/>
                  </a:lnTo>
                  <a:lnTo>
                    <a:pt x="488" y="39"/>
                  </a:lnTo>
                  <a:lnTo>
                    <a:pt x="488" y="41"/>
                  </a:lnTo>
                  <a:lnTo>
                    <a:pt x="487" y="43"/>
                  </a:lnTo>
                  <a:lnTo>
                    <a:pt x="487" y="45"/>
                  </a:lnTo>
                  <a:lnTo>
                    <a:pt x="486" y="47"/>
                  </a:lnTo>
                  <a:lnTo>
                    <a:pt x="485" y="50"/>
                  </a:lnTo>
                  <a:lnTo>
                    <a:pt x="484" y="51"/>
                  </a:lnTo>
                  <a:lnTo>
                    <a:pt x="482" y="55"/>
                  </a:lnTo>
                  <a:lnTo>
                    <a:pt x="482" y="56"/>
                  </a:lnTo>
                  <a:lnTo>
                    <a:pt x="481" y="57"/>
                  </a:lnTo>
                  <a:lnTo>
                    <a:pt x="481" y="57"/>
                  </a:lnTo>
                  <a:lnTo>
                    <a:pt x="481" y="59"/>
                  </a:lnTo>
                  <a:lnTo>
                    <a:pt x="481" y="59"/>
                  </a:lnTo>
                  <a:lnTo>
                    <a:pt x="481" y="60"/>
                  </a:lnTo>
                  <a:lnTo>
                    <a:pt x="481" y="60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4" y="63"/>
                  </a:lnTo>
                  <a:lnTo>
                    <a:pt x="485" y="64"/>
                  </a:lnTo>
                  <a:lnTo>
                    <a:pt x="485" y="64"/>
                  </a:lnTo>
                  <a:lnTo>
                    <a:pt x="486" y="64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2"/>
                  </a:lnTo>
                  <a:lnTo>
                    <a:pt x="495" y="61"/>
                  </a:lnTo>
                  <a:lnTo>
                    <a:pt x="497" y="61"/>
                  </a:lnTo>
                  <a:lnTo>
                    <a:pt x="498" y="60"/>
                  </a:lnTo>
                  <a:lnTo>
                    <a:pt x="499" y="60"/>
                  </a:lnTo>
                  <a:lnTo>
                    <a:pt x="500" y="60"/>
                  </a:lnTo>
                  <a:lnTo>
                    <a:pt x="501" y="60"/>
                  </a:lnTo>
                  <a:lnTo>
                    <a:pt x="501" y="60"/>
                  </a:lnTo>
                  <a:lnTo>
                    <a:pt x="502" y="60"/>
                  </a:lnTo>
                  <a:lnTo>
                    <a:pt x="502" y="61"/>
                  </a:lnTo>
                  <a:lnTo>
                    <a:pt x="503" y="61"/>
                  </a:lnTo>
                  <a:lnTo>
                    <a:pt x="503" y="62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4"/>
                  </a:lnTo>
                  <a:lnTo>
                    <a:pt x="504" y="65"/>
                  </a:lnTo>
                  <a:lnTo>
                    <a:pt x="504" y="66"/>
                  </a:lnTo>
                  <a:lnTo>
                    <a:pt x="504" y="68"/>
                  </a:lnTo>
                  <a:lnTo>
                    <a:pt x="504" y="69"/>
                  </a:lnTo>
                  <a:lnTo>
                    <a:pt x="503" y="70"/>
                  </a:lnTo>
                  <a:lnTo>
                    <a:pt x="502" y="73"/>
                  </a:lnTo>
                  <a:lnTo>
                    <a:pt x="501" y="75"/>
                  </a:lnTo>
                  <a:lnTo>
                    <a:pt x="497" y="84"/>
                  </a:lnTo>
                  <a:lnTo>
                    <a:pt x="495" y="90"/>
                  </a:lnTo>
                  <a:lnTo>
                    <a:pt x="495" y="91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4" y="93"/>
                  </a:lnTo>
                  <a:lnTo>
                    <a:pt x="494" y="93"/>
                  </a:lnTo>
                  <a:lnTo>
                    <a:pt x="493" y="95"/>
                  </a:lnTo>
                  <a:lnTo>
                    <a:pt x="491" y="96"/>
                  </a:lnTo>
                  <a:lnTo>
                    <a:pt x="490" y="97"/>
                  </a:lnTo>
                  <a:lnTo>
                    <a:pt x="489" y="98"/>
                  </a:lnTo>
                  <a:lnTo>
                    <a:pt x="487" y="99"/>
                  </a:lnTo>
                  <a:lnTo>
                    <a:pt x="485" y="100"/>
                  </a:lnTo>
                  <a:lnTo>
                    <a:pt x="484" y="101"/>
                  </a:lnTo>
                  <a:lnTo>
                    <a:pt x="482" y="102"/>
                  </a:lnTo>
                  <a:lnTo>
                    <a:pt x="482" y="102"/>
                  </a:lnTo>
                  <a:lnTo>
                    <a:pt x="482" y="103"/>
                  </a:lnTo>
                  <a:lnTo>
                    <a:pt x="481" y="104"/>
                  </a:lnTo>
                  <a:lnTo>
                    <a:pt x="481" y="104"/>
                  </a:lnTo>
                  <a:lnTo>
                    <a:pt x="480" y="105"/>
                  </a:lnTo>
                  <a:lnTo>
                    <a:pt x="480" y="107"/>
                  </a:lnTo>
                  <a:lnTo>
                    <a:pt x="479" y="108"/>
                  </a:lnTo>
                  <a:lnTo>
                    <a:pt x="478" y="114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6" y="116"/>
                  </a:lnTo>
                  <a:lnTo>
                    <a:pt x="476" y="117"/>
                  </a:lnTo>
                  <a:lnTo>
                    <a:pt x="476" y="117"/>
                  </a:lnTo>
                  <a:lnTo>
                    <a:pt x="475" y="118"/>
                  </a:lnTo>
                  <a:lnTo>
                    <a:pt x="475" y="118"/>
                  </a:lnTo>
                  <a:lnTo>
                    <a:pt x="474" y="118"/>
                  </a:lnTo>
                  <a:lnTo>
                    <a:pt x="474" y="119"/>
                  </a:lnTo>
                  <a:lnTo>
                    <a:pt x="473" y="119"/>
                  </a:lnTo>
                  <a:lnTo>
                    <a:pt x="472" y="119"/>
                  </a:lnTo>
                  <a:lnTo>
                    <a:pt x="471" y="119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69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6" y="118"/>
                  </a:lnTo>
                  <a:lnTo>
                    <a:pt x="464" y="118"/>
                  </a:lnTo>
                  <a:lnTo>
                    <a:pt x="463" y="117"/>
                  </a:lnTo>
                  <a:lnTo>
                    <a:pt x="460" y="115"/>
                  </a:lnTo>
                  <a:lnTo>
                    <a:pt x="458" y="114"/>
                  </a:lnTo>
                  <a:lnTo>
                    <a:pt x="457" y="114"/>
                  </a:lnTo>
                  <a:lnTo>
                    <a:pt x="455" y="113"/>
                  </a:lnTo>
                  <a:lnTo>
                    <a:pt x="454" y="112"/>
                  </a:lnTo>
                  <a:lnTo>
                    <a:pt x="453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1" y="112"/>
                  </a:lnTo>
                  <a:lnTo>
                    <a:pt x="450" y="112"/>
                  </a:lnTo>
                  <a:lnTo>
                    <a:pt x="448" y="113"/>
                  </a:lnTo>
                  <a:lnTo>
                    <a:pt x="447" y="113"/>
                  </a:lnTo>
                  <a:lnTo>
                    <a:pt x="447" y="113"/>
                  </a:lnTo>
                  <a:lnTo>
                    <a:pt x="446" y="113"/>
                  </a:lnTo>
                  <a:lnTo>
                    <a:pt x="446" y="113"/>
                  </a:lnTo>
                  <a:lnTo>
                    <a:pt x="446" y="114"/>
                  </a:lnTo>
                  <a:lnTo>
                    <a:pt x="446" y="114"/>
                  </a:lnTo>
                  <a:lnTo>
                    <a:pt x="446" y="115"/>
                  </a:lnTo>
                  <a:lnTo>
                    <a:pt x="446" y="116"/>
                  </a:lnTo>
                  <a:lnTo>
                    <a:pt x="446" y="119"/>
                  </a:lnTo>
                  <a:lnTo>
                    <a:pt x="446" y="121"/>
                  </a:lnTo>
                  <a:lnTo>
                    <a:pt x="446" y="122"/>
                  </a:lnTo>
                  <a:lnTo>
                    <a:pt x="446" y="123"/>
                  </a:lnTo>
                  <a:lnTo>
                    <a:pt x="446" y="126"/>
                  </a:lnTo>
                  <a:lnTo>
                    <a:pt x="445" y="127"/>
                  </a:lnTo>
                  <a:lnTo>
                    <a:pt x="445" y="128"/>
                  </a:lnTo>
                  <a:lnTo>
                    <a:pt x="445" y="128"/>
                  </a:lnTo>
                  <a:lnTo>
                    <a:pt x="444" y="129"/>
                  </a:lnTo>
                  <a:lnTo>
                    <a:pt x="444" y="130"/>
                  </a:lnTo>
                  <a:lnTo>
                    <a:pt x="442" y="132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0" y="134"/>
                  </a:lnTo>
                  <a:lnTo>
                    <a:pt x="440" y="135"/>
                  </a:lnTo>
                  <a:lnTo>
                    <a:pt x="439" y="136"/>
                  </a:lnTo>
                  <a:lnTo>
                    <a:pt x="439" y="137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7" y="141"/>
                  </a:lnTo>
                  <a:lnTo>
                    <a:pt x="437" y="142"/>
                  </a:lnTo>
                  <a:lnTo>
                    <a:pt x="437" y="143"/>
                  </a:lnTo>
                  <a:lnTo>
                    <a:pt x="437" y="144"/>
                  </a:lnTo>
                  <a:lnTo>
                    <a:pt x="437" y="146"/>
                  </a:lnTo>
                  <a:lnTo>
                    <a:pt x="437" y="146"/>
                  </a:lnTo>
                  <a:lnTo>
                    <a:pt x="437" y="147"/>
                  </a:lnTo>
                  <a:lnTo>
                    <a:pt x="436" y="147"/>
                  </a:lnTo>
                  <a:lnTo>
                    <a:pt x="436" y="147"/>
                  </a:lnTo>
                  <a:lnTo>
                    <a:pt x="436" y="148"/>
                  </a:lnTo>
                  <a:lnTo>
                    <a:pt x="435" y="148"/>
                  </a:lnTo>
                  <a:lnTo>
                    <a:pt x="434" y="149"/>
                  </a:lnTo>
                  <a:lnTo>
                    <a:pt x="433" y="149"/>
                  </a:lnTo>
                  <a:lnTo>
                    <a:pt x="433" y="149"/>
                  </a:lnTo>
                  <a:lnTo>
                    <a:pt x="430" y="152"/>
                  </a:lnTo>
                  <a:lnTo>
                    <a:pt x="427" y="154"/>
                  </a:lnTo>
                  <a:lnTo>
                    <a:pt x="426" y="155"/>
                  </a:lnTo>
                  <a:lnTo>
                    <a:pt x="425" y="156"/>
                  </a:lnTo>
                  <a:lnTo>
                    <a:pt x="425" y="156"/>
                  </a:lnTo>
                  <a:lnTo>
                    <a:pt x="424" y="157"/>
                  </a:lnTo>
                  <a:lnTo>
                    <a:pt x="424" y="158"/>
                  </a:lnTo>
                  <a:lnTo>
                    <a:pt x="423" y="159"/>
                  </a:lnTo>
                  <a:lnTo>
                    <a:pt x="423" y="160"/>
                  </a:lnTo>
                  <a:lnTo>
                    <a:pt x="422" y="162"/>
                  </a:lnTo>
                  <a:lnTo>
                    <a:pt x="422" y="163"/>
                  </a:lnTo>
                  <a:lnTo>
                    <a:pt x="422" y="164"/>
                  </a:lnTo>
                  <a:lnTo>
                    <a:pt x="421" y="167"/>
                  </a:lnTo>
                  <a:lnTo>
                    <a:pt x="421" y="168"/>
                  </a:lnTo>
                  <a:lnTo>
                    <a:pt x="421" y="169"/>
                  </a:lnTo>
                  <a:lnTo>
                    <a:pt x="420" y="170"/>
                  </a:lnTo>
                  <a:lnTo>
                    <a:pt x="420" y="171"/>
                  </a:lnTo>
                  <a:lnTo>
                    <a:pt x="418" y="174"/>
                  </a:lnTo>
                  <a:lnTo>
                    <a:pt x="417" y="176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8"/>
                  </a:lnTo>
                  <a:lnTo>
                    <a:pt x="415" y="178"/>
                  </a:lnTo>
                  <a:lnTo>
                    <a:pt x="415" y="179"/>
                  </a:lnTo>
                  <a:lnTo>
                    <a:pt x="415" y="180"/>
                  </a:lnTo>
                  <a:lnTo>
                    <a:pt x="415" y="181"/>
                  </a:lnTo>
                  <a:lnTo>
                    <a:pt x="415" y="182"/>
                  </a:lnTo>
                  <a:lnTo>
                    <a:pt x="416" y="182"/>
                  </a:lnTo>
                  <a:lnTo>
                    <a:pt x="416" y="183"/>
                  </a:lnTo>
                  <a:lnTo>
                    <a:pt x="417" y="185"/>
                  </a:lnTo>
                  <a:lnTo>
                    <a:pt x="417" y="186"/>
                  </a:lnTo>
                  <a:lnTo>
                    <a:pt x="418" y="187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19" y="193"/>
                  </a:lnTo>
                  <a:lnTo>
                    <a:pt x="419" y="196"/>
                  </a:lnTo>
                  <a:lnTo>
                    <a:pt x="420" y="196"/>
                  </a:lnTo>
                  <a:lnTo>
                    <a:pt x="420" y="198"/>
                  </a:lnTo>
                  <a:lnTo>
                    <a:pt x="421" y="199"/>
                  </a:lnTo>
                  <a:lnTo>
                    <a:pt x="422" y="201"/>
                  </a:lnTo>
                  <a:lnTo>
                    <a:pt x="423" y="205"/>
                  </a:lnTo>
                  <a:lnTo>
                    <a:pt x="425" y="209"/>
                  </a:lnTo>
                  <a:lnTo>
                    <a:pt x="426" y="210"/>
                  </a:lnTo>
                  <a:lnTo>
                    <a:pt x="427" y="211"/>
                  </a:lnTo>
                  <a:lnTo>
                    <a:pt x="428" y="213"/>
                  </a:lnTo>
                  <a:lnTo>
                    <a:pt x="428" y="214"/>
                  </a:lnTo>
                  <a:lnTo>
                    <a:pt x="430" y="216"/>
                  </a:lnTo>
                  <a:lnTo>
                    <a:pt x="430" y="217"/>
                  </a:lnTo>
                  <a:lnTo>
                    <a:pt x="431" y="218"/>
                  </a:lnTo>
                  <a:lnTo>
                    <a:pt x="432" y="220"/>
                  </a:lnTo>
                  <a:lnTo>
                    <a:pt x="433" y="222"/>
                  </a:lnTo>
                  <a:lnTo>
                    <a:pt x="433" y="223"/>
                  </a:lnTo>
                  <a:lnTo>
                    <a:pt x="436" y="230"/>
                  </a:lnTo>
                  <a:lnTo>
                    <a:pt x="436" y="230"/>
                  </a:lnTo>
                  <a:lnTo>
                    <a:pt x="437" y="231"/>
                  </a:lnTo>
                  <a:lnTo>
                    <a:pt x="439" y="236"/>
                  </a:lnTo>
                  <a:lnTo>
                    <a:pt x="441" y="240"/>
                  </a:lnTo>
                  <a:lnTo>
                    <a:pt x="442" y="240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44" y="243"/>
                  </a:lnTo>
                  <a:lnTo>
                    <a:pt x="445" y="243"/>
                  </a:lnTo>
                  <a:lnTo>
                    <a:pt x="447" y="245"/>
                  </a:lnTo>
                  <a:lnTo>
                    <a:pt x="448" y="246"/>
                  </a:lnTo>
                  <a:lnTo>
                    <a:pt x="450" y="247"/>
                  </a:lnTo>
                  <a:lnTo>
                    <a:pt x="451" y="248"/>
                  </a:lnTo>
                  <a:lnTo>
                    <a:pt x="451" y="249"/>
                  </a:lnTo>
                  <a:lnTo>
                    <a:pt x="452" y="249"/>
                  </a:lnTo>
                  <a:lnTo>
                    <a:pt x="453" y="250"/>
                  </a:lnTo>
                  <a:lnTo>
                    <a:pt x="453" y="251"/>
                  </a:lnTo>
                  <a:lnTo>
                    <a:pt x="454" y="252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5"/>
                  </a:lnTo>
                  <a:lnTo>
                    <a:pt x="455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3" y="254"/>
                  </a:lnTo>
                  <a:lnTo>
                    <a:pt x="453" y="255"/>
                  </a:lnTo>
                  <a:lnTo>
                    <a:pt x="452" y="255"/>
                  </a:lnTo>
                  <a:lnTo>
                    <a:pt x="452" y="256"/>
                  </a:lnTo>
                  <a:lnTo>
                    <a:pt x="451" y="256"/>
                  </a:lnTo>
                  <a:lnTo>
                    <a:pt x="450" y="257"/>
                  </a:lnTo>
                  <a:lnTo>
                    <a:pt x="450" y="258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60"/>
                  </a:lnTo>
                  <a:lnTo>
                    <a:pt x="449" y="260"/>
                  </a:lnTo>
                  <a:lnTo>
                    <a:pt x="449" y="261"/>
                  </a:lnTo>
                  <a:lnTo>
                    <a:pt x="449" y="262"/>
                  </a:lnTo>
                  <a:lnTo>
                    <a:pt x="449" y="262"/>
                  </a:lnTo>
                  <a:lnTo>
                    <a:pt x="449" y="264"/>
                  </a:lnTo>
                  <a:lnTo>
                    <a:pt x="450" y="267"/>
                  </a:lnTo>
                  <a:lnTo>
                    <a:pt x="450" y="269"/>
                  </a:lnTo>
                  <a:lnTo>
                    <a:pt x="450" y="270"/>
                  </a:lnTo>
                  <a:lnTo>
                    <a:pt x="450" y="273"/>
                  </a:lnTo>
                  <a:lnTo>
                    <a:pt x="450" y="274"/>
                  </a:lnTo>
                  <a:lnTo>
                    <a:pt x="450" y="275"/>
                  </a:lnTo>
                  <a:lnTo>
                    <a:pt x="450" y="275"/>
                  </a:lnTo>
                  <a:lnTo>
                    <a:pt x="450" y="276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7" y="279"/>
                  </a:lnTo>
                  <a:lnTo>
                    <a:pt x="445" y="280"/>
                  </a:lnTo>
                  <a:lnTo>
                    <a:pt x="442" y="281"/>
                  </a:lnTo>
                  <a:lnTo>
                    <a:pt x="439" y="281"/>
                  </a:lnTo>
                  <a:lnTo>
                    <a:pt x="438" y="282"/>
                  </a:lnTo>
                  <a:lnTo>
                    <a:pt x="438" y="282"/>
                  </a:lnTo>
                  <a:lnTo>
                    <a:pt x="437" y="282"/>
                  </a:lnTo>
                  <a:lnTo>
                    <a:pt x="437" y="283"/>
                  </a:lnTo>
                  <a:lnTo>
                    <a:pt x="436" y="286"/>
                  </a:lnTo>
                  <a:lnTo>
                    <a:pt x="434" y="288"/>
                  </a:lnTo>
                  <a:lnTo>
                    <a:pt x="434" y="289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2" y="291"/>
                  </a:lnTo>
                  <a:lnTo>
                    <a:pt x="431" y="291"/>
                  </a:lnTo>
                  <a:lnTo>
                    <a:pt x="430" y="291"/>
                  </a:lnTo>
                  <a:lnTo>
                    <a:pt x="429" y="291"/>
                  </a:lnTo>
                  <a:lnTo>
                    <a:pt x="428" y="291"/>
                  </a:lnTo>
                  <a:lnTo>
                    <a:pt x="424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2" y="289"/>
                  </a:lnTo>
                  <a:lnTo>
                    <a:pt x="422" y="289"/>
                  </a:lnTo>
                  <a:lnTo>
                    <a:pt x="421" y="289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1"/>
                  </a:lnTo>
                  <a:lnTo>
                    <a:pt x="420" y="292"/>
                  </a:lnTo>
                  <a:lnTo>
                    <a:pt x="420" y="294"/>
                  </a:lnTo>
                  <a:lnTo>
                    <a:pt x="420" y="296"/>
                  </a:lnTo>
                  <a:lnTo>
                    <a:pt x="420" y="297"/>
                  </a:lnTo>
                  <a:lnTo>
                    <a:pt x="420" y="298"/>
                  </a:lnTo>
                  <a:lnTo>
                    <a:pt x="420" y="299"/>
                  </a:lnTo>
                  <a:lnTo>
                    <a:pt x="420" y="300"/>
                  </a:lnTo>
                  <a:lnTo>
                    <a:pt x="420" y="301"/>
                  </a:lnTo>
                  <a:lnTo>
                    <a:pt x="421" y="302"/>
                  </a:lnTo>
                  <a:lnTo>
                    <a:pt x="421" y="305"/>
                  </a:lnTo>
                  <a:lnTo>
                    <a:pt x="422" y="306"/>
                  </a:lnTo>
                  <a:lnTo>
                    <a:pt x="422" y="307"/>
                  </a:lnTo>
                  <a:lnTo>
                    <a:pt x="422" y="308"/>
                  </a:lnTo>
                  <a:lnTo>
                    <a:pt x="422" y="309"/>
                  </a:lnTo>
                  <a:lnTo>
                    <a:pt x="422" y="311"/>
                  </a:lnTo>
                  <a:lnTo>
                    <a:pt x="422" y="312"/>
                  </a:lnTo>
                  <a:lnTo>
                    <a:pt x="421" y="313"/>
                  </a:lnTo>
                  <a:lnTo>
                    <a:pt x="421" y="315"/>
                  </a:lnTo>
                  <a:lnTo>
                    <a:pt x="420" y="319"/>
                  </a:lnTo>
                  <a:lnTo>
                    <a:pt x="420" y="320"/>
                  </a:lnTo>
                  <a:lnTo>
                    <a:pt x="420" y="321"/>
                  </a:lnTo>
                  <a:lnTo>
                    <a:pt x="419" y="322"/>
                  </a:lnTo>
                  <a:lnTo>
                    <a:pt x="419" y="323"/>
                  </a:lnTo>
                  <a:lnTo>
                    <a:pt x="418" y="323"/>
                  </a:lnTo>
                  <a:lnTo>
                    <a:pt x="418" y="324"/>
                  </a:lnTo>
                  <a:lnTo>
                    <a:pt x="418" y="324"/>
                  </a:lnTo>
                  <a:lnTo>
                    <a:pt x="417" y="324"/>
                  </a:lnTo>
                  <a:lnTo>
                    <a:pt x="417" y="325"/>
                  </a:lnTo>
                  <a:lnTo>
                    <a:pt x="416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3" y="325"/>
                  </a:lnTo>
                  <a:lnTo>
                    <a:pt x="411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4"/>
                  </a:lnTo>
                  <a:lnTo>
                    <a:pt x="401" y="325"/>
                  </a:lnTo>
                  <a:lnTo>
                    <a:pt x="395" y="326"/>
                  </a:lnTo>
                  <a:lnTo>
                    <a:pt x="394" y="326"/>
                  </a:lnTo>
                  <a:lnTo>
                    <a:pt x="393" y="326"/>
                  </a:lnTo>
                  <a:lnTo>
                    <a:pt x="392" y="327"/>
                  </a:lnTo>
                  <a:lnTo>
                    <a:pt x="391" y="327"/>
                  </a:lnTo>
                  <a:lnTo>
                    <a:pt x="391" y="327"/>
                  </a:lnTo>
                  <a:lnTo>
                    <a:pt x="390" y="328"/>
                  </a:lnTo>
                  <a:lnTo>
                    <a:pt x="388" y="330"/>
                  </a:lnTo>
                  <a:lnTo>
                    <a:pt x="387" y="331"/>
                  </a:lnTo>
                  <a:lnTo>
                    <a:pt x="386" y="332"/>
                  </a:lnTo>
                  <a:lnTo>
                    <a:pt x="385" y="332"/>
                  </a:lnTo>
                  <a:lnTo>
                    <a:pt x="384" y="333"/>
                  </a:lnTo>
                  <a:lnTo>
                    <a:pt x="384" y="333"/>
                  </a:lnTo>
                  <a:lnTo>
                    <a:pt x="383" y="333"/>
                  </a:lnTo>
                  <a:lnTo>
                    <a:pt x="383" y="333"/>
                  </a:lnTo>
                  <a:lnTo>
                    <a:pt x="382" y="333"/>
                  </a:lnTo>
                  <a:lnTo>
                    <a:pt x="381" y="333"/>
                  </a:lnTo>
                  <a:lnTo>
                    <a:pt x="379" y="333"/>
                  </a:lnTo>
                  <a:lnTo>
                    <a:pt x="376" y="332"/>
                  </a:lnTo>
                  <a:lnTo>
                    <a:pt x="372" y="331"/>
                  </a:lnTo>
                  <a:lnTo>
                    <a:pt x="370" y="331"/>
                  </a:lnTo>
                  <a:lnTo>
                    <a:pt x="368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6" y="330"/>
                  </a:lnTo>
                  <a:lnTo>
                    <a:pt x="365" y="330"/>
                  </a:lnTo>
                  <a:lnTo>
                    <a:pt x="365" y="331"/>
                  </a:lnTo>
                  <a:lnTo>
                    <a:pt x="363" y="332"/>
                  </a:lnTo>
                  <a:lnTo>
                    <a:pt x="361" y="332"/>
                  </a:lnTo>
                  <a:lnTo>
                    <a:pt x="359" y="332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3" y="333"/>
                  </a:lnTo>
                  <a:lnTo>
                    <a:pt x="350" y="333"/>
                  </a:lnTo>
                  <a:lnTo>
                    <a:pt x="348" y="333"/>
                  </a:lnTo>
                  <a:lnTo>
                    <a:pt x="346" y="333"/>
                  </a:lnTo>
                  <a:lnTo>
                    <a:pt x="340" y="332"/>
                  </a:lnTo>
                  <a:lnTo>
                    <a:pt x="338" y="332"/>
                  </a:lnTo>
                  <a:lnTo>
                    <a:pt x="336" y="332"/>
                  </a:lnTo>
                  <a:lnTo>
                    <a:pt x="333" y="331"/>
                  </a:lnTo>
                  <a:lnTo>
                    <a:pt x="329" y="330"/>
                  </a:lnTo>
                  <a:lnTo>
                    <a:pt x="325" y="329"/>
                  </a:lnTo>
                  <a:lnTo>
                    <a:pt x="323" y="328"/>
                  </a:lnTo>
                  <a:lnTo>
                    <a:pt x="322" y="328"/>
                  </a:lnTo>
                  <a:lnTo>
                    <a:pt x="317" y="328"/>
                  </a:lnTo>
                  <a:lnTo>
                    <a:pt x="316" y="328"/>
                  </a:lnTo>
                  <a:lnTo>
                    <a:pt x="315" y="328"/>
                  </a:lnTo>
                  <a:lnTo>
                    <a:pt x="314" y="328"/>
                  </a:lnTo>
                  <a:lnTo>
                    <a:pt x="313" y="328"/>
                  </a:lnTo>
                  <a:lnTo>
                    <a:pt x="313" y="328"/>
                  </a:lnTo>
                  <a:lnTo>
                    <a:pt x="312" y="329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09" y="331"/>
                  </a:lnTo>
                  <a:lnTo>
                    <a:pt x="309" y="331"/>
                  </a:lnTo>
                  <a:lnTo>
                    <a:pt x="308" y="332"/>
                  </a:lnTo>
                  <a:lnTo>
                    <a:pt x="307" y="333"/>
                  </a:lnTo>
                  <a:lnTo>
                    <a:pt x="307" y="333"/>
                  </a:lnTo>
                  <a:lnTo>
                    <a:pt x="307" y="334"/>
                  </a:lnTo>
                  <a:lnTo>
                    <a:pt x="307" y="335"/>
                  </a:lnTo>
                  <a:lnTo>
                    <a:pt x="307" y="335"/>
                  </a:lnTo>
                  <a:lnTo>
                    <a:pt x="307" y="336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4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4" y="346"/>
                  </a:lnTo>
                  <a:lnTo>
                    <a:pt x="304" y="346"/>
                  </a:lnTo>
                  <a:lnTo>
                    <a:pt x="302" y="346"/>
                  </a:lnTo>
                  <a:lnTo>
                    <a:pt x="301" y="346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298" y="347"/>
                  </a:lnTo>
                  <a:lnTo>
                    <a:pt x="298" y="347"/>
                  </a:lnTo>
                  <a:lnTo>
                    <a:pt x="297" y="347"/>
                  </a:lnTo>
                  <a:lnTo>
                    <a:pt x="297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2"/>
                  </a:lnTo>
                  <a:lnTo>
                    <a:pt x="295" y="353"/>
                  </a:lnTo>
                  <a:lnTo>
                    <a:pt x="294" y="353"/>
                  </a:lnTo>
                  <a:lnTo>
                    <a:pt x="292" y="355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89" y="357"/>
                  </a:lnTo>
                  <a:lnTo>
                    <a:pt x="288" y="358"/>
                  </a:lnTo>
                  <a:lnTo>
                    <a:pt x="287" y="359"/>
                  </a:lnTo>
                  <a:lnTo>
                    <a:pt x="286" y="359"/>
                  </a:lnTo>
                  <a:lnTo>
                    <a:pt x="285" y="359"/>
                  </a:lnTo>
                  <a:lnTo>
                    <a:pt x="282" y="360"/>
                  </a:lnTo>
                  <a:lnTo>
                    <a:pt x="281" y="361"/>
                  </a:lnTo>
                  <a:lnTo>
                    <a:pt x="280" y="361"/>
                  </a:lnTo>
                  <a:lnTo>
                    <a:pt x="278" y="361"/>
                  </a:lnTo>
                  <a:lnTo>
                    <a:pt x="278" y="362"/>
                  </a:lnTo>
                  <a:lnTo>
                    <a:pt x="277" y="362"/>
                  </a:lnTo>
                  <a:lnTo>
                    <a:pt x="276" y="363"/>
                  </a:lnTo>
                  <a:lnTo>
                    <a:pt x="275" y="364"/>
                  </a:lnTo>
                  <a:lnTo>
                    <a:pt x="274" y="364"/>
                  </a:lnTo>
                  <a:lnTo>
                    <a:pt x="273" y="365"/>
                  </a:lnTo>
                  <a:lnTo>
                    <a:pt x="272" y="367"/>
                  </a:lnTo>
                  <a:lnTo>
                    <a:pt x="270" y="369"/>
                  </a:lnTo>
                  <a:lnTo>
                    <a:pt x="269" y="370"/>
                  </a:lnTo>
                  <a:lnTo>
                    <a:pt x="268" y="371"/>
                  </a:lnTo>
                  <a:lnTo>
                    <a:pt x="268" y="371"/>
                  </a:lnTo>
                  <a:lnTo>
                    <a:pt x="267" y="371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5" y="372"/>
                  </a:lnTo>
                  <a:lnTo>
                    <a:pt x="265" y="372"/>
                  </a:lnTo>
                  <a:lnTo>
                    <a:pt x="264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3" y="371"/>
                  </a:lnTo>
                  <a:lnTo>
                    <a:pt x="262" y="371"/>
                  </a:lnTo>
                  <a:lnTo>
                    <a:pt x="261" y="370"/>
                  </a:lnTo>
                  <a:lnTo>
                    <a:pt x="259" y="368"/>
                  </a:lnTo>
                  <a:lnTo>
                    <a:pt x="259" y="368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4" y="366"/>
                  </a:lnTo>
                  <a:lnTo>
                    <a:pt x="253" y="366"/>
                  </a:lnTo>
                  <a:lnTo>
                    <a:pt x="253" y="367"/>
                  </a:lnTo>
                  <a:lnTo>
                    <a:pt x="252" y="367"/>
                  </a:lnTo>
                  <a:lnTo>
                    <a:pt x="251" y="368"/>
                  </a:lnTo>
                  <a:lnTo>
                    <a:pt x="250" y="369"/>
                  </a:lnTo>
                  <a:lnTo>
                    <a:pt x="249" y="370"/>
                  </a:lnTo>
                  <a:lnTo>
                    <a:pt x="246" y="373"/>
                  </a:lnTo>
                  <a:lnTo>
                    <a:pt x="244" y="374"/>
                  </a:lnTo>
                  <a:lnTo>
                    <a:pt x="244" y="375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8" y="378"/>
                  </a:lnTo>
                  <a:lnTo>
                    <a:pt x="236" y="380"/>
                  </a:lnTo>
                  <a:lnTo>
                    <a:pt x="235" y="380"/>
                  </a:lnTo>
                  <a:lnTo>
                    <a:pt x="234" y="381"/>
                  </a:lnTo>
                  <a:lnTo>
                    <a:pt x="233" y="381"/>
                  </a:lnTo>
                  <a:lnTo>
                    <a:pt x="232" y="381"/>
                  </a:lnTo>
                  <a:lnTo>
                    <a:pt x="231" y="381"/>
                  </a:lnTo>
                  <a:lnTo>
                    <a:pt x="230" y="381"/>
                  </a:lnTo>
                  <a:lnTo>
                    <a:pt x="228" y="381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2"/>
                  </a:lnTo>
                  <a:lnTo>
                    <a:pt x="220" y="382"/>
                  </a:lnTo>
                  <a:lnTo>
                    <a:pt x="218" y="381"/>
                  </a:lnTo>
                  <a:lnTo>
                    <a:pt x="217" y="381"/>
                  </a:lnTo>
                  <a:lnTo>
                    <a:pt x="215" y="381"/>
                  </a:lnTo>
                  <a:lnTo>
                    <a:pt x="214" y="380"/>
                  </a:lnTo>
                  <a:lnTo>
                    <a:pt x="214" y="380"/>
                  </a:lnTo>
                  <a:lnTo>
                    <a:pt x="213" y="380"/>
                  </a:lnTo>
                  <a:lnTo>
                    <a:pt x="212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09" y="379"/>
                  </a:lnTo>
                  <a:lnTo>
                    <a:pt x="208" y="380"/>
                  </a:lnTo>
                  <a:lnTo>
                    <a:pt x="207" y="381"/>
                  </a:lnTo>
                  <a:lnTo>
                    <a:pt x="203" y="385"/>
                  </a:lnTo>
                  <a:lnTo>
                    <a:pt x="200" y="387"/>
                  </a:lnTo>
                  <a:lnTo>
                    <a:pt x="198" y="389"/>
                  </a:lnTo>
                  <a:lnTo>
                    <a:pt x="198" y="389"/>
                  </a:lnTo>
                  <a:lnTo>
                    <a:pt x="197" y="390"/>
                  </a:lnTo>
                  <a:lnTo>
                    <a:pt x="196" y="391"/>
                  </a:lnTo>
                  <a:lnTo>
                    <a:pt x="195" y="393"/>
                  </a:lnTo>
                  <a:lnTo>
                    <a:pt x="194" y="393"/>
                  </a:lnTo>
                  <a:lnTo>
                    <a:pt x="193" y="394"/>
                  </a:lnTo>
                  <a:lnTo>
                    <a:pt x="192" y="395"/>
                  </a:lnTo>
                  <a:lnTo>
                    <a:pt x="191" y="395"/>
                  </a:lnTo>
                  <a:lnTo>
                    <a:pt x="190" y="396"/>
                  </a:lnTo>
                  <a:lnTo>
                    <a:pt x="188" y="396"/>
                  </a:lnTo>
                  <a:lnTo>
                    <a:pt x="186" y="397"/>
                  </a:lnTo>
                  <a:lnTo>
                    <a:pt x="185" y="397"/>
                  </a:lnTo>
                  <a:lnTo>
                    <a:pt x="183" y="397"/>
                  </a:lnTo>
                  <a:lnTo>
                    <a:pt x="182" y="397"/>
                  </a:lnTo>
                  <a:lnTo>
                    <a:pt x="181" y="397"/>
                  </a:lnTo>
                  <a:lnTo>
                    <a:pt x="179" y="397"/>
                  </a:lnTo>
                  <a:lnTo>
                    <a:pt x="178" y="397"/>
                  </a:lnTo>
                  <a:lnTo>
                    <a:pt x="176" y="397"/>
                  </a:lnTo>
                  <a:lnTo>
                    <a:pt x="175" y="397"/>
                  </a:lnTo>
                  <a:lnTo>
                    <a:pt x="174" y="398"/>
                  </a:lnTo>
                  <a:lnTo>
                    <a:pt x="173" y="398"/>
                  </a:lnTo>
                  <a:lnTo>
                    <a:pt x="172" y="399"/>
                  </a:lnTo>
                  <a:lnTo>
                    <a:pt x="171" y="400"/>
                  </a:lnTo>
                  <a:lnTo>
                    <a:pt x="169" y="401"/>
                  </a:lnTo>
                  <a:lnTo>
                    <a:pt x="167" y="402"/>
                  </a:lnTo>
                  <a:lnTo>
                    <a:pt x="167" y="403"/>
                  </a:lnTo>
                  <a:lnTo>
                    <a:pt x="165" y="404"/>
                  </a:lnTo>
                  <a:lnTo>
                    <a:pt x="164" y="405"/>
                  </a:lnTo>
                  <a:lnTo>
                    <a:pt x="162" y="406"/>
                  </a:lnTo>
                  <a:lnTo>
                    <a:pt x="160" y="408"/>
                  </a:lnTo>
                  <a:lnTo>
                    <a:pt x="160" y="409"/>
                  </a:lnTo>
                  <a:lnTo>
                    <a:pt x="159" y="409"/>
                  </a:lnTo>
                  <a:lnTo>
                    <a:pt x="159" y="410"/>
                  </a:lnTo>
                  <a:lnTo>
                    <a:pt x="159" y="410"/>
                  </a:lnTo>
                  <a:lnTo>
                    <a:pt x="158" y="411"/>
                  </a:lnTo>
                  <a:lnTo>
                    <a:pt x="158" y="412"/>
                  </a:lnTo>
                  <a:lnTo>
                    <a:pt x="158" y="415"/>
                  </a:lnTo>
                  <a:lnTo>
                    <a:pt x="158" y="415"/>
                  </a:lnTo>
                  <a:lnTo>
                    <a:pt x="157" y="416"/>
                  </a:lnTo>
                  <a:lnTo>
                    <a:pt x="157" y="418"/>
                  </a:lnTo>
                  <a:lnTo>
                    <a:pt x="157" y="418"/>
                  </a:lnTo>
                  <a:lnTo>
                    <a:pt x="157" y="419"/>
                  </a:lnTo>
                  <a:lnTo>
                    <a:pt x="157" y="420"/>
                  </a:lnTo>
                  <a:lnTo>
                    <a:pt x="157" y="421"/>
                  </a:lnTo>
                  <a:lnTo>
                    <a:pt x="157" y="422"/>
                  </a:lnTo>
                  <a:lnTo>
                    <a:pt x="156" y="423"/>
                  </a:lnTo>
                  <a:lnTo>
                    <a:pt x="156" y="423"/>
                  </a:lnTo>
                  <a:lnTo>
                    <a:pt x="156" y="424"/>
                  </a:lnTo>
                  <a:lnTo>
                    <a:pt x="156" y="424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3" y="425"/>
                  </a:lnTo>
                  <a:lnTo>
                    <a:pt x="153" y="426"/>
                  </a:lnTo>
                  <a:lnTo>
                    <a:pt x="152" y="426"/>
                  </a:lnTo>
                  <a:lnTo>
                    <a:pt x="152" y="426"/>
                  </a:lnTo>
                  <a:lnTo>
                    <a:pt x="152" y="427"/>
                  </a:lnTo>
                  <a:lnTo>
                    <a:pt x="151" y="429"/>
                  </a:lnTo>
                  <a:lnTo>
                    <a:pt x="150" y="430"/>
                  </a:lnTo>
                  <a:lnTo>
                    <a:pt x="150" y="431"/>
                  </a:lnTo>
                  <a:lnTo>
                    <a:pt x="149" y="433"/>
                  </a:lnTo>
                  <a:lnTo>
                    <a:pt x="148" y="433"/>
                  </a:lnTo>
                  <a:lnTo>
                    <a:pt x="148" y="434"/>
                  </a:lnTo>
                  <a:lnTo>
                    <a:pt x="147" y="434"/>
                  </a:lnTo>
                  <a:lnTo>
                    <a:pt x="147" y="434"/>
                  </a:lnTo>
                  <a:lnTo>
                    <a:pt x="146" y="434"/>
                  </a:lnTo>
                  <a:lnTo>
                    <a:pt x="145" y="434"/>
                  </a:lnTo>
                  <a:lnTo>
                    <a:pt x="144" y="434"/>
                  </a:lnTo>
                  <a:lnTo>
                    <a:pt x="143" y="434"/>
                  </a:lnTo>
                  <a:lnTo>
                    <a:pt x="142" y="435"/>
                  </a:lnTo>
                  <a:lnTo>
                    <a:pt x="141" y="435"/>
                  </a:lnTo>
                  <a:lnTo>
                    <a:pt x="140" y="435"/>
                  </a:lnTo>
                  <a:lnTo>
                    <a:pt x="139" y="436"/>
                  </a:lnTo>
                  <a:lnTo>
                    <a:pt x="138" y="436"/>
                  </a:lnTo>
                  <a:lnTo>
                    <a:pt x="137" y="437"/>
                  </a:lnTo>
                  <a:lnTo>
                    <a:pt x="136" y="438"/>
                  </a:lnTo>
                  <a:lnTo>
                    <a:pt x="135" y="439"/>
                  </a:lnTo>
                  <a:lnTo>
                    <a:pt x="134" y="440"/>
                  </a:lnTo>
                  <a:lnTo>
                    <a:pt x="133" y="440"/>
                  </a:lnTo>
                  <a:lnTo>
                    <a:pt x="133" y="441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2" y="443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0" y="445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5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3" y="447"/>
                  </a:lnTo>
                  <a:lnTo>
                    <a:pt x="123" y="447"/>
                  </a:lnTo>
                  <a:lnTo>
                    <a:pt x="123" y="446"/>
                  </a:lnTo>
                  <a:lnTo>
                    <a:pt x="122" y="446"/>
                  </a:lnTo>
                  <a:lnTo>
                    <a:pt x="122" y="446"/>
                  </a:lnTo>
                  <a:lnTo>
                    <a:pt x="122" y="445"/>
                  </a:lnTo>
                  <a:lnTo>
                    <a:pt x="121" y="443"/>
                  </a:lnTo>
                  <a:lnTo>
                    <a:pt x="121" y="442"/>
                  </a:lnTo>
                  <a:lnTo>
                    <a:pt x="120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7" y="436"/>
                  </a:lnTo>
                  <a:lnTo>
                    <a:pt x="116" y="437"/>
                  </a:lnTo>
                  <a:lnTo>
                    <a:pt x="115" y="437"/>
                  </a:lnTo>
                  <a:lnTo>
                    <a:pt x="115" y="437"/>
                  </a:lnTo>
                  <a:lnTo>
                    <a:pt x="114" y="438"/>
                  </a:lnTo>
                  <a:lnTo>
                    <a:pt x="114" y="438"/>
                  </a:lnTo>
                  <a:lnTo>
                    <a:pt x="112" y="440"/>
                  </a:lnTo>
                  <a:lnTo>
                    <a:pt x="112" y="440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0" y="441"/>
                  </a:lnTo>
                  <a:lnTo>
                    <a:pt x="110" y="441"/>
                  </a:lnTo>
                  <a:lnTo>
                    <a:pt x="109" y="441"/>
                  </a:lnTo>
                  <a:lnTo>
                    <a:pt x="109" y="440"/>
                  </a:lnTo>
                  <a:lnTo>
                    <a:pt x="109" y="440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8" y="437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5"/>
                  </a:lnTo>
                  <a:lnTo>
                    <a:pt x="108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5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0" y="435"/>
                  </a:lnTo>
                  <a:lnTo>
                    <a:pt x="100" y="434"/>
                  </a:lnTo>
                  <a:lnTo>
                    <a:pt x="99" y="433"/>
                  </a:lnTo>
                  <a:lnTo>
                    <a:pt x="99" y="432"/>
                  </a:lnTo>
                  <a:lnTo>
                    <a:pt x="98" y="431"/>
                  </a:lnTo>
                  <a:lnTo>
                    <a:pt x="96" y="429"/>
                  </a:lnTo>
                  <a:lnTo>
                    <a:pt x="95" y="428"/>
                  </a:lnTo>
                  <a:lnTo>
                    <a:pt x="95" y="427"/>
                  </a:lnTo>
                  <a:lnTo>
                    <a:pt x="94" y="426"/>
                  </a:lnTo>
                  <a:lnTo>
                    <a:pt x="93" y="426"/>
                  </a:lnTo>
                  <a:lnTo>
                    <a:pt x="92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0" y="424"/>
                  </a:lnTo>
                  <a:lnTo>
                    <a:pt x="86" y="424"/>
                  </a:lnTo>
                  <a:lnTo>
                    <a:pt x="85" y="424"/>
                  </a:lnTo>
                  <a:lnTo>
                    <a:pt x="85" y="423"/>
                  </a:lnTo>
                  <a:lnTo>
                    <a:pt x="84" y="423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4" y="419"/>
                  </a:lnTo>
                  <a:lnTo>
                    <a:pt x="84" y="418"/>
                  </a:lnTo>
                  <a:lnTo>
                    <a:pt x="84" y="418"/>
                  </a:lnTo>
                  <a:lnTo>
                    <a:pt x="85" y="418"/>
                  </a:lnTo>
                  <a:lnTo>
                    <a:pt x="86" y="417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8" y="417"/>
                  </a:lnTo>
                  <a:lnTo>
                    <a:pt x="89" y="417"/>
                  </a:lnTo>
                  <a:lnTo>
                    <a:pt x="90" y="417"/>
                  </a:lnTo>
                  <a:lnTo>
                    <a:pt x="93" y="418"/>
                  </a:lnTo>
                  <a:lnTo>
                    <a:pt x="93" y="418"/>
                  </a:lnTo>
                  <a:lnTo>
                    <a:pt x="94" y="418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5" y="417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4" y="415"/>
                  </a:lnTo>
                  <a:lnTo>
                    <a:pt x="94" y="413"/>
                  </a:lnTo>
                  <a:lnTo>
                    <a:pt x="94" y="412"/>
                  </a:lnTo>
                  <a:lnTo>
                    <a:pt x="94" y="411"/>
                  </a:lnTo>
                  <a:lnTo>
                    <a:pt x="94" y="411"/>
                  </a:lnTo>
                  <a:lnTo>
                    <a:pt x="94" y="410"/>
                  </a:lnTo>
                  <a:lnTo>
                    <a:pt x="95" y="409"/>
                  </a:lnTo>
                  <a:lnTo>
                    <a:pt x="95" y="409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6" y="407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6" y="405"/>
                  </a:lnTo>
                  <a:lnTo>
                    <a:pt x="95" y="404"/>
                  </a:lnTo>
                  <a:lnTo>
                    <a:pt x="95" y="401"/>
                  </a:lnTo>
                  <a:lnTo>
                    <a:pt x="94" y="400"/>
                  </a:lnTo>
                  <a:lnTo>
                    <a:pt x="94" y="398"/>
                  </a:lnTo>
                  <a:lnTo>
                    <a:pt x="92" y="394"/>
                  </a:lnTo>
                  <a:lnTo>
                    <a:pt x="91" y="392"/>
                  </a:lnTo>
                  <a:lnTo>
                    <a:pt x="90" y="390"/>
                  </a:lnTo>
                  <a:lnTo>
                    <a:pt x="89" y="389"/>
                  </a:lnTo>
                  <a:lnTo>
                    <a:pt x="87" y="386"/>
                  </a:lnTo>
                  <a:lnTo>
                    <a:pt x="87" y="386"/>
                  </a:lnTo>
                  <a:lnTo>
                    <a:pt x="87" y="385"/>
                  </a:lnTo>
                  <a:lnTo>
                    <a:pt x="87" y="385"/>
                  </a:lnTo>
                  <a:lnTo>
                    <a:pt x="87" y="384"/>
                  </a:lnTo>
                  <a:lnTo>
                    <a:pt x="87" y="381"/>
                  </a:lnTo>
                  <a:lnTo>
                    <a:pt x="87" y="380"/>
                  </a:lnTo>
                  <a:lnTo>
                    <a:pt x="86" y="378"/>
                  </a:lnTo>
                  <a:lnTo>
                    <a:pt x="86" y="378"/>
                  </a:lnTo>
                  <a:lnTo>
                    <a:pt x="86" y="377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3" y="374"/>
                  </a:lnTo>
                  <a:lnTo>
                    <a:pt x="83" y="373"/>
                  </a:lnTo>
                  <a:lnTo>
                    <a:pt x="82" y="373"/>
                  </a:lnTo>
                  <a:lnTo>
                    <a:pt x="82" y="372"/>
                  </a:lnTo>
                  <a:lnTo>
                    <a:pt x="82" y="372"/>
                  </a:lnTo>
                  <a:lnTo>
                    <a:pt x="82" y="371"/>
                  </a:lnTo>
                  <a:lnTo>
                    <a:pt x="81" y="370"/>
                  </a:lnTo>
                  <a:lnTo>
                    <a:pt x="82" y="370"/>
                  </a:lnTo>
                  <a:lnTo>
                    <a:pt x="82" y="369"/>
                  </a:lnTo>
                  <a:lnTo>
                    <a:pt x="82" y="367"/>
                  </a:lnTo>
                  <a:lnTo>
                    <a:pt x="82" y="366"/>
                  </a:lnTo>
                  <a:lnTo>
                    <a:pt x="82" y="365"/>
                  </a:lnTo>
                  <a:lnTo>
                    <a:pt x="82" y="363"/>
                  </a:lnTo>
                  <a:lnTo>
                    <a:pt x="82" y="361"/>
                  </a:lnTo>
                  <a:lnTo>
                    <a:pt x="81" y="359"/>
                  </a:lnTo>
                  <a:lnTo>
                    <a:pt x="81" y="358"/>
                  </a:lnTo>
                  <a:lnTo>
                    <a:pt x="80" y="356"/>
                  </a:lnTo>
                  <a:lnTo>
                    <a:pt x="80" y="355"/>
                  </a:lnTo>
                  <a:lnTo>
                    <a:pt x="80" y="354"/>
                  </a:lnTo>
                  <a:lnTo>
                    <a:pt x="80" y="353"/>
                  </a:lnTo>
                  <a:lnTo>
                    <a:pt x="80" y="352"/>
                  </a:lnTo>
                  <a:lnTo>
                    <a:pt x="80" y="351"/>
                  </a:lnTo>
                  <a:lnTo>
                    <a:pt x="81" y="347"/>
                  </a:lnTo>
                  <a:lnTo>
                    <a:pt x="81" y="345"/>
                  </a:lnTo>
                  <a:lnTo>
                    <a:pt x="82" y="344"/>
                  </a:lnTo>
                  <a:lnTo>
                    <a:pt x="82" y="343"/>
                  </a:lnTo>
                  <a:lnTo>
                    <a:pt x="82" y="343"/>
                  </a:lnTo>
                  <a:lnTo>
                    <a:pt x="82" y="340"/>
                  </a:lnTo>
                  <a:lnTo>
                    <a:pt x="82" y="339"/>
                  </a:lnTo>
                  <a:lnTo>
                    <a:pt x="82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3" y="334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0"/>
                  </a:lnTo>
                  <a:lnTo>
                    <a:pt x="83" y="329"/>
                  </a:lnTo>
                  <a:lnTo>
                    <a:pt x="83" y="328"/>
                  </a:lnTo>
                  <a:lnTo>
                    <a:pt x="83" y="327"/>
                  </a:lnTo>
                  <a:lnTo>
                    <a:pt x="83" y="326"/>
                  </a:lnTo>
                  <a:lnTo>
                    <a:pt x="82" y="325"/>
                  </a:lnTo>
                  <a:lnTo>
                    <a:pt x="81" y="323"/>
                  </a:lnTo>
                  <a:lnTo>
                    <a:pt x="81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9" y="319"/>
                  </a:lnTo>
                  <a:lnTo>
                    <a:pt x="78" y="319"/>
                  </a:lnTo>
                  <a:lnTo>
                    <a:pt x="77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4" y="318"/>
                  </a:lnTo>
                  <a:lnTo>
                    <a:pt x="70" y="318"/>
                  </a:lnTo>
                  <a:lnTo>
                    <a:pt x="69" y="318"/>
                  </a:lnTo>
                  <a:lnTo>
                    <a:pt x="68" y="318"/>
                  </a:lnTo>
                  <a:lnTo>
                    <a:pt x="65" y="318"/>
                  </a:lnTo>
                  <a:lnTo>
                    <a:pt x="64" y="318"/>
                  </a:lnTo>
                  <a:lnTo>
                    <a:pt x="62" y="318"/>
                  </a:lnTo>
                  <a:lnTo>
                    <a:pt x="58" y="318"/>
                  </a:lnTo>
                  <a:lnTo>
                    <a:pt x="57" y="317"/>
                  </a:lnTo>
                  <a:lnTo>
                    <a:pt x="55" y="317"/>
                  </a:lnTo>
                  <a:lnTo>
                    <a:pt x="55" y="317"/>
                  </a:lnTo>
                  <a:lnTo>
                    <a:pt x="54" y="318"/>
                  </a:lnTo>
                  <a:lnTo>
                    <a:pt x="52" y="318"/>
                  </a:lnTo>
                  <a:lnTo>
                    <a:pt x="51" y="318"/>
                  </a:lnTo>
                  <a:lnTo>
                    <a:pt x="50" y="318"/>
                  </a:lnTo>
                  <a:lnTo>
                    <a:pt x="49" y="318"/>
                  </a:lnTo>
                  <a:lnTo>
                    <a:pt x="49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6" y="318"/>
                  </a:lnTo>
                  <a:lnTo>
                    <a:pt x="46" y="317"/>
                  </a:lnTo>
                  <a:lnTo>
                    <a:pt x="46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5"/>
                  </a:lnTo>
                  <a:lnTo>
                    <a:pt x="45" y="314"/>
                  </a:lnTo>
                  <a:lnTo>
                    <a:pt x="45" y="313"/>
                  </a:lnTo>
                  <a:lnTo>
                    <a:pt x="45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4" y="309"/>
                  </a:lnTo>
                  <a:lnTo>
                    <a:pt x="44" y="308"/>
                  </a:lnTo>
                  <a:lnTo>
                    <a:pt x="43" y="308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1" y="305"/>
                  </a:lnTo>
                  <a:lnTo>
                    <a:pt x="38" y="304"/>
                  </a:lnTo>
                  <a:lnTo>
                    <a:pt x="36" y="303"/>
                  </a:lnTo>
                  <a:lnTo>
                    <a:pt x="36" y="303"/>
                  </a:lnTo>
                  <a:lnTo>
                    <a:pt x="35" y="303"/>
                  </a:lnTo>
                  <a:lnTo>
                    <a:pt x="34" y="302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5" y="301"/>
                  </a:lnTo>
                  <a:lnTo>
                    <a:pt x="22" y="300"/>
                  </a:lnTo>
                  <a:lnTo>
                    <a:pt x="20" y="300"/>
                  </a:lnTo>
                  <a:lnTo>
                    <a:pt x="19" y="299"/>
                  </a:lnTo>
                  <a:lnTo>
                    <a:pt x="16" y="299"/>
                  </a:lnTo>
                  <a:lnTo>
                    <a:pt x="14" y="299"/>
                  </a:lnTo>
                  <a:lnTo>
                    <a:pt x="12" y="299"/>
                  </a:lnTo>
                  <a:lnTo>
                    <a:pt x="9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6" y="297"/>
                  </a:lnTo>
                  <a:lnTo>
                    <a:pt x="4" y="296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1" y="291"/>
                  </a:lnTo>
                  <a:lnTo>
                    <a:pt x="1" y="291"/>
                  </a:lnTo>
                  <a:lnTo>
                    <a:pt x="2" y="290"/>
                  </a:lnTo>
                  <a:lnTo>
                    <a:pt x="6" y="288"/>
                  </a:lnTo>
                  <a:lnTo>
                    <a:pt x="8" y="287"/>
                  </a:lnTo>
                  <a:lnTo>
                    <a:pt x="10" y="286"/>
                  </a:lnTo>
                  <a:lnTo>
                    <a:pt x="11" y="285"/>
                  </a:lnTo>
                  <a:lnTo>
                    <a:pt x="12" y="284"/>
                  </a:lnTo>
                  <a:lnTo>
                    <a:pt x="13" y="283"/>
                  </a:lnTo>
                  <a:lnTo>
                    <a:pt x="18" y="278"/>
                  </a:lnTo>
                  <a:lnTo>
                    <a:pt x="19" y="276"/>
                  </a:lnTo>
                  <a:lnTo>
                    <a:pt x="20" y="275"/>
                  </a:lnTo>
                  <a:lnTo>
                    <a:pt x="21" y="274"/>
                  </a:lnTo>
                  <a:lnTo>
                    <a:pt x="21" y="273"/>
                  </a:lnTo>
                  <a:lnTo>
                    <a:pt x="21" y="272"/>
                  </a:lnTo>
                  <a:lnTo>
                    <a:pt x="22" y="271"/>
                  </a:lnTo>
                  <a:lnTo>
                    <a:pt x="22" y="269"/>
                  </a:lnTo>
                  <a:lnTo>
                    <a:pt x="22" y="264"/>
                  </a:lnTo>
                  <a:lnTo>
                    <a:pt x="22" y="261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4" y="254"/>
                  </a:lnTo>
                  <a:lnTo>
                    <a:pt x="24" y="253"/>
                  </a:lnTo>
                  <a:lnTo>
                    <a:pt x="25" y="252"/>
                  </a:lnTo>
                  <a:lnTo>
                    <a:pt x="25" y="251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8" y="248"/>
                  </a:lnTo>
                  <a:lnTo>
                    <a:pt x="28" y="248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8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7" y="247"/>
                  </a:lnTo>
                  <a:lnTo>
                    <a:pt x="51" y="246"/>
                  </a:lnTo>
                  <a:lnTo>
                    <a:pt x="52" y="245"/>
                  </a:lnTo>
                  <a:lnTo>
                    <a:pt x="53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5" y="245"/>
                  </a:lnTo>
                  <a:lnTo>
                    <a:pt x="56" y="245"/>
                  </a:lnTo>
                  <a:lnTo>
                    <a:pt x="57" y="246"/>
                  </a:lnTo>
                  <a:lnTo>
                    <a:pt x="59" y="246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4" y="246"/>
                  </a:lnTo>
                  <a:lnTo>
                    <a:pt x="75" y="245"/>
                  </a:lnTo>
                  <a:lnTo>
                    <a:pt x="77" y="241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81" y="235"/>
                  </a:lnTo>
                  <a:lnTo>
                    <a:pt x="81" y="233"/>
                  </a:lnTo>
                  <a:lnTo>
                    <a:pt x="82" y="232"/>
                  </a:lnTo>
                  <a:lnTo>
                    <a:pt x="83" y="230"/>
                  </a:lnTo>
                  <a:lnTo>
                    <a:pt x="83" y="228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4" y="222"/>
                  </a:lnTo>
                  <a:lnTo>
                    <a:pt x="85" y="221"/>
                  </a:lnTo>
                  <a:lnTo>
                    <a:pt x="87" y="216"/>
                  </a:lnTo>
                  <a:lnTo>
                    <a:pt x="87" y="215"/>
                  </a:lnTo>
                  <a:lnTo>
                    <a:pt x="88" y="215"/>
                  </a:lnTo>
                  <a:lnTo>
                    <a:pt x="88" y="214"/>
                  </a:lnTo>
                  <a:lnTo>
                    <a:pt x="89" y="213"/>
                  </a:lnTo>
                  <a:lnTo>
                    <a:pt x="89" y="212"/>
                  </a:lnTo>
                  <a:lnTo>
                    <a:pt x="90" y="212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2" y="210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4" y="210"/>
                  </a:lnTo>
                  <a:lnTo>
                    <a:pt x="95" y="210"/>
                  </a:lnTo>
                  <a:lnTo>
                    <a:pt x="95" y="210"/>
                  </a:lnTo>
                  <a:lnTo>
                    <a:pt x="96" y="210"/>
                  </a:lnTo>
                  <a:lnTo>
                    <a:pt x="98" y="210"/>
                  </a:lnTo>
                  <a:lnTo>
                    <a:pt x="99" y="211"/>
                  </a:lnTo>
                  <a:lnTo>
                    <a:pt x="99" y="211"/>
                  </a:lnTo>
                  <a:lnTo>
                    <a:pt x="100" y="211"/>
                  </a:lnTo>
                  <a:lnTo>
                    <a:pt x="102" y="213"/>
                  </a:lnTo>
                  <a:lnTo>
                    <a:pt x="103" y="213"/>
                  </a:lnTo>
                  <a:lnTo>
                    <a:pt x="104" y="214"/>
                  </a:lnTo>
                  <a:lnTo>
                    <a:pt x="104" y="214"/>
                  </a:lnTo>
                  <a:lnTo>
                    <a:pt x="105" y="214"/>
                  </a:lnTo>
                  <a:lnTo>
                    <a:pt x="106" y="214"/>
                  </a:lnTo>
                  <a:lnTo>
                    <a:pt x="107" y="214"/>
                  </a:lnTo>
                  <a:lnTo>
                    <a:pt x="107" y="214"/>
                  </a:lnTo>
                  <a:lnTo>
                    <a:pt x="108" y="214"/>
                  </a:lnTo>
                  <a:lnTo>
                    <a:pt x="109" y="214"/>
                  </a:lnTo>
                  <a:lnTo>
                    <a:pt x="109" y="213"/>
                  </a:lnTo>
                  <a:lnTo>
                    <a:pt x="110" y="213"/>
                  </a:lnTo>
                  <a:lnTo>
                    <a:pt x="110" y="213"/>
                  </a:lnTo>
                  <a:lnTo>
                    <a:pt x="111" y="212"/>
                  </a:lnTo>
                  <a:lnTo>
                    <a:pt x="111" y="212"/>
                  </a:lnTo>
                  <a:lnTo>
                    <a:pt x="111" y="211"/>
                  </a:lnTo>
                  <a:lnTo>
                    <a:pt x="112" y="210"/>
                  </a:lnTo>
                  <a:lnTo>
                    <a:pt x="113" y="207"/>
                  </a:lnTo>
                  <a:lnTo>
                    <a:pt x="113" y="206"/>
                  </a:lnTo>
                  <a:lnTo>
                    <a:pt x="114" y="205"/>
                  </a:lnTo>
                  <a:lnTo>
                    <a:pt x="115" y="204"/>
                  </a:lnTo>
                  <a:lnTo>
                    <a:pt x="115" y="204"/>
                  </a:lnTo>
                  <a:lnTo>
                    <a:pt x="116" y="202"/>
                  </a:lnTo>
                  <a:lnTo>
                    <a:pt x="118" y="201"/>
                  </a:lnTo>
                  <a:lnTo>
                    <a:pt x="119" y="200"/>
                  </a:lnTo>
                  <a:lnTo>
                    <a:pt x="122" y="198"/>
                  </a:lnTo>
                  <a:lnTo>
                    <a:pt x="123" y="197"/>
                  </a:lnTo>
                  <a:lnTo>
                    <a:pt x="124" y="196"/>
                  </a:lnTo>
                  <a:lnTo>
                    <a:pt x="125" y="196"/>
                  </a:lnTo>
                  <a:lnTo>
                    <a:pt x="125" y="195"/>
                  </a:lnTo>
                  <a:lnTo>
                    <a:pt x="126" y="195"/>
                  </a:lnTo>
                  <a:lnTo>
                    <a:pt x="127" y="193"/>
                  </a:lnTo>
                  <a:lnTo>
                    <a:pt x="127" y="192"/>
                  </a:lnTo>
                  <a:lnTo>
                    <a:pt x="128" y="191"/>
                  </a:lnTo>
                  <a:lnTo>
                    <a:pt x="128" y="188"/>
                  </a:lnTo>
                  <a:lnTo>
                    <a:pt x="129" y="187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1" y="185"/>
                  </a:lnTo>
                  <a:lnTo>
                    <a:pt x="132" y="186"/>
                  </a:lnTo>
                  <a:lnTo>
                    <a:pt x="132" y="186"/>
                  </a:lnTo>
                  <a:lnTo>
                    <a:pt x="133" y="186"/>
                  </a:lnTo>
                  <a:lnTo>
                    <a:pt x="133" y="186"/>
                  </a:lnTo>
                  <a:lnTo>
                    <a:pt x="133" y="187"/>
                  </a:lnTo>
                  <a:lnTo>
                    <a:pt x="135" y="188"/>
                  </a:lnTo>
                  <a:lnTo>
                    <a:pt x="136" y="190"/>
                  </a:lnTo>
                  <a:lnTo>
                    <a:pt x="137" y="191"/>
                  </a:lnTo>
                  <a:lnTo>
                    <a:pt x="139" y="195"/>
                  </a:lnTo>
                  <a:lnTo>
                    <a:pt x="140" y="196"/>
                  </a:lnTo>
                  <a:lnTo>
                    <a:pt x="141" y="197"/>
                  </a:lnTo>
                  <a:lnTo>
                    <a:pt x="142" y="198"/>
                  </a:lnTo>
                  <a:lnTo>
                    <a:pt x="142" y="199"/>
                  </a:lnTo>
                  <a:lnTo>
                    <a:pt x="144" y="200"/>
                  </a:lnTo>
                  <a:lnTo>
                    <a:pt x="145" y="201"/>
                  </a:lnTo>
                  <a:lnTo>
                    <a:pt x="146" y="201"/>
                  </a:lnTo>
                  <a:lnTo>
                    <a:pt x="147" y="201"/>
                  </a:lnTo>
                  <a:lnTo>
                    <a:pt x="149" y="202"/>
                  </a:lnTo>
                  <a:lnTo>
                    <a:pt x="151" y="203"/>
                  </a:lnTo>
                  <a:lnTo>
                    <a:pt x="152" y="203"/>
                  </a:lnTo>
                  <a:lnTo>
                    <a:pt x="152" y="203"/>
                  </a:lnTo>
                  <a:lnTo>
                    <a:pt x="153" y="203"/>
                  </a:lnTo>
                  <a:lnTo>
                    <a:pt x="153" y="203"/>
                  </a:lnTo>
                  <a:lnTo>
                    <a:pt x="154" y="203"/>
                  </a:lnTo>
                  <a:lnTo>
                    <a:pt x="154" y="203"/>
                  </a:lnTo>
                  <a:lnTo>
                    <a:pt x="155" y="203"/>
                  </a:lnTo>
                  <a:lnTo>
                    <a:pt x="156" y="202"/>
                  </a:lnTo>
                  <a:lnTo>
                    <a:pt x="156" y="202"/>
                  </a:lnTo>
                  <a:lnTo>
                    <a:pt x="157" y="201"/>
                  </a:lnTo>
                  <a:lnTo>
                    <a:pt x="158" y="201"/>
                  </a:lnTo>
                  <a:lnTo>
                    <a:pt x="159" y="199"/>
                  </a:lnTo>
                  <a:lnTo>
                    <a:pt x="163" y="196"/>
                  </a:lnTo>
                  <a:lnTo>
                    <a:pt x="166" y="193"/>
                  </a:lnTo>
                  <a:lnTo>
                    <a:pt x="169" y="190"/>
                  </a:lnTo>
                  <a:lnTo>
                    <a:pt x="170" y="189"/>
                  </a:lnTo>
                  <a:lnTo>
                    <a:pt x="170" y="188"/>
                  </a:lnTo>
                  <a:lnTo>
                    <a:pt x="171" y="188"/>
                  </a:lnTo>
                  <a:lnTo>
                    <a:pt x="171" y="187"/>
                  </a:lnTo>
                  <a:lnTo>
                    <a:pt x="171" y="186"/>
                  </a:lnTo>
                  <a:lnTo>
                    <a:pt x="171" y="185"/>
                  </a:lnTo>
                  <a:lnTo>
                    <a:pt x="171" y="183"/>
                  </a:lnTo>
                  <a:lnTo>
                    <a:pt x="171" y="182"/>
                  </a:lnTo>
                  <a:lnTo>
                    <a:pt x="172" y="181"/>
                  </a:lnTo>
                  <a:lnTo>
                    <a:pt x="172" y="181"/>
                  </a:lnTo>
                  <a:lnTo>
                    <a:pt x="172" y="180"/>
                  </a:lnTo>
                  <a:lnTo>
                    <a:pt x="173" y="179"/>
                  </a:lnTo>
                  <a:lnTo>
                    <a:pt x="174" y="177"/>
                  </a:lnTo>
                  <a:lnTo>
                    <a:pt x="175" y="175"/>
                  </a:lnTo>
                  <a:lnTo>
                    <a:pt x="176" y="174"/>
                  </a:lnTo>
                  <a:lnTo>
                    <a:pt x="176" y="174"/>
                  </a:lnTo>
                  <a:lnTo>
                    <a:pt x="176" y="173"/>
                  </a:lnTo>
                  <a:lnTo>
                    <a:pt x="176" y="172"/>
                  </a:lnTo>
                  <a:lnTo>
                    <a:pt x="177" y="171"/>
                  </a:lnTo>
                  <a:lnTo>
                    <a:pt x="177" y="170"/>
                  </a:lnTo>
                  <a:lnTo>
                    <a:pt x="177" y="170"/>
                  </a:lnTo>
                  <a:lnTo>
                    <a:pt x="177" y="168"/>
                  </a:lnTo>
                  <a:lnTo>
                    <a:pt x="177" y="166"/>
                  </a:lnTo>
                  <a:lnTo>
                    <a:pt x="176" y="163"/>
                  </a:lnTo>
                  <a:lnTo>
                    <a:pt x="176" y="162"/>
                  </a:lnTo>
                  <a:lnTo>
                    <a:pt x="176" y="161"/>
                  </a:lnTo>
                  <a:lnTo>
                    <a:pt x="176" y="160"/>
                  </a:lnTo>
                  <a:lnTo>
                    <a:pt x="176" y="160"/>
                  </a:lnTo>
                  <a:lnTo>
                    <a:pt x="177" y="159"/>
                  </a:lnTo>
                  <a:lnTo>
                    <a:pt x="177" y="159"/>
                  </a:lnTo>
                  <a:lnTo>
                    <a:pt x="178" y="158"/>
                  </a:lnTo>
                  <a:lnTo>
                    <a:pt x="178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80" y="156"/>
                  </a:lnTo>
                  <a:lnTo>
                    <a:pt x="181" y="156"/>
                  </a:lnTo>
                  <a:lnTo>
                    <a:pt x="182" y="156"/>
                  </a:lnTo>
                  <a:lnTo>
                    <a:pt x="183" y="155"/>
                  </a:lnTo>
                  <a:lnTo>
                    <a:pt x="184" y="155"/>
                  </a:lnTo>
                  <a:lnTo>
                    <a:pt x="185" y="155"/>
                  </a:lnTo>
                  <a:lnTo>
                    <a:pt x="187" y="155"/>
                  </a:lnTo>
                  <a:lnTo>
                    <a:pt x="192" y="155"/>
                  </a:lnTo>
                  <a:lnTo>
                    <a:pt x="194" y="155"/>
                  </a:lnTo>
                  <a:lnTo>
                    <a:pt x="196" y="155"/>
                  </a:lnTo>
                  <a:lnTo>
                    <a:pt x="197" y="154"/>
                  </a:lnTo>
                  <a:lnTo>
                    <a:pt x="199" y="154"/>
                  </a:lnTo>
                  <a:lnTo>
                    <a:pt x="200" y="153"/>
                  </a:lnTo>
                  <a:lnTo>
                    <a:pt x="201" y="153"/>
                  </a:lnTo>
                  <a:lnTo>
                    <a:pt x="202" y="152"/>
                  </a:lnTo>
                  <a:lnTo>
                    <a:pt x="204" y="151"/>
                  </a:lnTo>
                  <a:lnTo>
                    <a:pt x="205" y="151"/>
                  </a:lnTo>
                  <a:lnTo>
                    <a:pt x="206" y="150"/>
                  </a:lnTo>
                  <a:lnTo>
                    <a:pt x="208" y="149"/>
                  </a:lnTo>
                  <a:lnTo>
                    <a:pt x="209" y="149"/>
                  </a:lnTo>
                  <a:lnTo>
                    <a:pt x="210" y="148"/>
                  </a:lnTo>
                  <a:lnTo>
                    <a:pt x="211" y="148"/>
                  </a:lnTo>
                  <a:lnTo>
                    <a:pt x="212" y="148"/>
                  </a:lnTo>
                  <a:lnTo>
                    <a:pt x="213" y="148"/>
                  </a:lnTo>
                  <a:lnTo>
                    <a:pt x="214" y="148"/>
                  </a:lnTo>
                  <a:lnTo>
                    <a:pt x="215" y="148"/>
                  </a:lnTo>
                  <a:lnTo>
                    <a:pt x="215" y="148"/>
                  </a:lnTo>
                  <a:lnTo>
                    <a:pt x="216" y="149"/>
                  </a:lnTo>
                  <a:lnTo>
                    <a:pt x="217" y="149"/>
                  </a:lnTo>
                  <a:lnTo>
                    <a:pt x="220" y="151"/>
                  </a:lnTo>
                  <a:lnTo>
                    <a:pt x="222" y="151"/>
                  </a:lnTo>
                  <a:lnTo>
                    <a:pt x="223" y="151"/>
                  </a:lnTo>
                  <a:lnTo>
                    <a:pt x="223" y="152"/>
                  </a:lnTo>
                  <a:lnTo>
                    <a:pt x="224" y="152"/>
                  </a:lnTo>
                  <a:lnTo>
                    <a:pt x="225" y="152"/>
                  </a:lnTo>
                  <a:lnTo>
                    <a:pt x="225" y="152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7" y="151"/>
                  </a:lnTo>
                  <a:lnTo>
                    <a:pt x="228" y="151"/>
                  </a:lnTo>
                  <a:lnTo>
                    <a:pt x="229" y="150"/>
                  </a:lnTo>
                  <a:lnTo>
                    <a:pt x="231" y="149"/>
                  </a:lnTo>
                  <a:lnTo>
                    <a:pt x="232" y="149"/>
                  </a:lnTo>
                  <a:lnTo>
                    <a:pt x="233" y="148"/>
                  </a:lnTo>
                  <a:lnTo>
                    <a:pt x="234" y="148"/>
                  </a:lnTo>
                  <a:lnTo>
                    <a:pt x="238" y="148"/>
                  </a:lnTo>
                  <a:lnTo>
                    <a:pt x="242" y="147"/>
                  </a:lnTo>
                  <a:lnTo>
                    <a:pt x="243" y="147"/>
                  </a:lnTo>
                  <a:lnTo>
                    <a:pt x="244" y="147"/>
                  </a:lnTo>
                  <a:lnTo>
                    <a:pt x="247" y="147"/>
                  </a:lnTo>
                  <a:lnTo>
                    <a:pt x="248" y="147"/>
                  </a:lnTo>
                  <a:lnTo>
                    <a:pt x="250" y="147"/>
                  </a:lnTo>
                  <a:lnTo>
                    <a:pt x="252" y="147"/>
                  </a:lnTo>
                  <a:lnTo>
                    <a:pt x="254" y="147"/>
                  </a:lnTo>
                  <a:lnTo>
                    <a:pt x="255" y="147"/>
                  </a:lnTo>
                  <a:lnTo>
                    <a:pt x="256" y="148"/>
                  </a:lnTo>
                  <a:lnTo>
                    <a:pt x="259" y="149"/>
                  </a:lnTo>
                  <a:lnTo>
                    <a:pt x="260" y="149"/>
                  </a:lnTo>
                  <a:lnTo>
                    <a:pt x="261" y="149"/>
                  </a:lnTo>
                  <a:lnTo>
                    <a:pt x="263" y="150"/>
                  </a:lnTo>
                  <a:lnTo>
                    <a:pt x="264" y="150"/>
                  </a:lnTo>
                  <a:lnTo>
                    <a:pt x="266" y="150"/>
                  </a:lnTo>
                  <a:lnTo>
                    <a:pt x="267" y="149"/>
                  </a:lnTo>
                  <a:lnTo>
                    <a:pt x="268" y="149"/>
                  </a:lnTo>
                  <a:lnTo>
                    <a:pt x="269" y="149"/>
                  </a:lnTo>
                  <a:lnTo>
                    <a:pt x="270" y="148"/>
                  </a:lnTo>
                  <a:lnTo>
                    <a:pt x="271" y="147"/>
                  </a:lnTo>
                  <a:lnTo>
                    <a:pt x="273" y="146"/>
                  </a:lnTo>
                  <a:lnTo>
                    <a:pt x="274" y="145"/>
                  </a:lnTo>
                  <a:lnTo>
                    <a:pt x="275" y="145"/>
                  </a:lnTo>
                  <a:lnTo>
                    <a:pt x="278" y="144"/>
                  </a:lnTo>
                  <a:lnTo>
                    <a:pt x="278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80" y="142"/>
                  </a:lnTo>
                  <a:lnTo>
                    <a:pt x="281" y="142"/>
                  </a:lnTo>
                  <a:lnTo>
                    <a:pt x="281" y="141"/>
                  </a:lnTo>
                  <a:lnTo>
                    <a:pt x="282" y="140"/>
                  </a:lnTo>
                  <a:lnTo>
                    <a:pt x="282" y="139"/>
                  </a:lnTo>
                  <a:lnTo>
                    <a:pt x="282" y="138"/>
                  </a:lnTo>
                  <a:lnTo>
                    <a:pt x="282" y="138"/>
                  </a:lnTo>
                  <a:lnTo>
                    <a:pt x="282" y="136"/>
                  </a:lnTo>
                  <a:lnTo>
                    <a:pt x="282" y="133"/>
                  </a:lnTo>
                  <a:lnTo>
                    <a:pt x="282" y="132"/>
                  </a:lnTo>
                  <a:lnTo>
                    <a:pt x="282" y="130"/>
                  </a:lnTo>
                  <a:lnTo>
                    <a:pt x="282" y="129"/>
                  </a:lnTo>
                  <a:lnTo>
                    <a:pt x="282" y="128"/>
                  </a:lnTo>
                  <a:lnTo>
                    <a:pt x="283" y="127"/>
                  </a:lnTo>
                  <a:lnTo>
                    <a:pt x="283" y="126"/>
                  </a:lnTo>
                  <a:lnTo>
                    <a:pt x="283" y="125"/>
                  </a:lnTo>
                  <a:lnTo>
                    <a:pt x="284" y="124"/>
                  </a:lnTo>
                  <a:lnTo>
                    <a:pt x="284" y="124"/>
                  </a:lnTo>
                  <a:lnTo>
                    <a:pt x="284" y="123"/>
                  </a:lnTo>
                  <a:lnTo>
                    <a:pt x="285" y="123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2"/>
                  </a:lnTo>
                  <a:lnTo>
                    <a:pt x="287" y="121"/>
                  </a:lnTo>
                  <a:lnTo>
                    <a:pt x="288" y="121"/>
                  </a:lnTo>
                  <a:lnTo>
                    <a:pt x="291" y="120"/>
                  </a:lnTo>
                  <a:lnTo>
                    <a:pt x="292" y="120"/>
                  </a:lnTo>
                  <a:lnTo>
                    <a:pt x="294" y="119"/>
                  </a:lnTo>
                  <a:lnTo>
                    <a:pt x="295" y="119"/>
                  </a:lnTo>
                  <a:lnTo>
                    <a:pt x="297" y="118"/>
                  </a:lnTo>
                  <a:lnTo>
                    <a:pt x="298" y="117"/>
                  </a:lnTo>
                  <a:lnTo>
                    <a:pt x="299" y="116"/>
                  </a:lnTo>
                  <a:lnTo>
                    <a:pt x="301" y="114"/>
                  </a:lnTo>
                  <a:lnTo>
                    <a:pt x="302" y="113"/>
                  </a:lnTo>
                  <a:lnTo>
                    <a:pt x="303" y="113"/>
                  </a:lnTo>
                  <a:lnTo>
                    <a:pt x="305" y="112"/>
                  </a:lnTo>
                  <a:lnTo>
                    <a:pt x="306" y="111"/>
                  </a:lnTo>
                  <a:lnTo>
                    <a:pt x="308" y="110"/>
                  </a:lnTo>
                  <a:lnTo>
                    <a:pt x="309" y="110"/>
                  </a:lnTo>
                  <a:lnTo>
                    <a:pt x="310" y="110"/>
                  </a:lnTo>
                  <a:lnTo>
                    <a:pt x="311" y="110"/>
                  </a:lnTo>
                  <a:lnTo>
                    <a:pt x="312" y="110"/>
                  </a:lnTo>
                  <a:lnTo>
                    <a:pt x="313" y="110"/>
                  </a:lnTo>
                  <a:lnTo>
                    <a:pt x="314" y="110"/>
                  </a:lnTo>
                  <a:lnTo>
                    <a:pt x="316" y="111"/>
                  </a:lnTo>
                  <a:lnTo>
                    <a:pt x="319" y="112"/>
                  </a:lnTo>
                  <a:lnTo>
                    <a:pt x="321" y="113"/>
                  </a:lnTo>
                  <a:lnTo>
                    <a:pt x="322" y="113"/>
                  </a:lnTo>
                  <a:lnTo>
                    <a:pt x="323" y="113"/>
                  </a:lnTo>
                  <a:lnTo>
                    <a:pt x="324" y="113"/>
                  </a:lnTo>
                  <a:lnTo>
                    <a:pt x="327" y="112"/>
                  </a:lnTo>
                  <a:lnTo>
                    <a:pt x="331" y="112"/>
                  </a:lnTo>
                  <a:lnTo>
                    <a:pt x="331" y="111"/>
                  </a:lnTo>
                  <a:lnTo>
                    <a:pt x="332" y="111"/>
                  </a:lnTo>
                  <a:lnTo>
                    <a:pt x="334" y="111"/>
                  </a:lnTo>
                  <a:lnTo>
                    <a:pt x="335" y="110"/>
                  </a:lnTo>
                  <a:lnTo>
                    <a:pt x="336" y="109"/>
                  </a:lnTo>
                  <a:lnTo>
                    <a:pt x="339" y="107"/>
                  </a:lnTo>
                  <a:lnTo>
                    <a:pt x="340" y="106"/>
                  </a:lnTo>
                  <a:lnTo>
                    <a:pt x="342" y="105"/>
                  </a:lnTo>
                  <a:lnTo>
                    <a:pt x="345" y="104"/>
                  </a:lnTo>
                  <a:lnTo>
                    <a:pt x="352" y="101"/>
                  </a:lnTo>
                  <a:lnTo>
                    <a:pt x="357" y="98"/>
                  </a:lnTo>
                  <a:lnTo>
                    <a:pt x="360" y="97"/>
                  </a:lnTo>
                  <a:lnTo>
                    <a:pt x="362" y="96"/>
                  </a:lnTo>
                  <a:lnTo>
                    <a:pt x="368" y="94"/>
                  </a:lnTo>
                  <a:lnTo>
                    <a:pt x="370" y="94"/>
                  </a:lnTo>
                  <a:lnTo>
                    <a:pt x="372" y="93"/>
                  </a:lnTo>
                  <a:lnTo>
                    <a:pt x="373" y="92"/>
                  </a:lnTo>
                  <a:lnTo>
                    <a:pt x="374" y="92"/>
                  </a:lnTo>
                  <a:lnTo>
                    <a:pt x="375" y="91"/>
                  </a:lnTo>
                  <a:lnTo>
                    <a:pt x="377" y="89"/>
                  </a:lnTo>
                  <a:lnTo>
                    <a:pt x="378" y="88"/>
                  </a:lnTo>
                  <a:lnTo>
                    <a:pt x="379" y="87"/>
                  </a:lnTo>
                  <a:lnTo>
                    <a:pt x="380" y="86"/>
                  </a:lnTo>
                  <a:lnTo>
                    <a:pt x="381" y="85"/>
                  </a:lnTo>
                  <a:lnTo>
                    <a:pt x="382" y="84"/>
                  </a:lnTo>
                  <a:lnTo>
                    <a:pt x="384" y="81"/>
                  </a:lnTo>
                  <a:lnTo>
                    <a:pt x="384" y="80"/>
                  </a:lnTo>
                  <a:lnTo>
                    <a:pt x="384" y="79"/>
                  </a:lnTo>
                  <a:lnTo>
                    <a:pt x="385" y="79"/>
                  </a:lnTo>
                  <a:lnTo>
                    <a:pt x="386" y="78"/>
                  </a:lnTo>
                  <a:lnTo>
                    <a:pt x="387" y="78"/>
                  </a:lnTo>
                  <a:lnTo>
                    <a:pt x="388" y="77"/>
                  </a:lnTo>
                  <a:lnTo>
                    <a:pt x="389" y="76"/>
                  </a:lnTo>
                  <a:lnTo>
                    <a:pt x="391" y="76"/>
                  </a:lnTo>
                  <a:lnTo>
                    <a:pt x="392" y="76"/>
                  </a:lnTo>
                  <a:lnTo>
                    <a:pt x="393" y="76"/>
                  </a:lnTo>
                  <a:lnTo>
                    <a:pt x="394" y="76"/>
                  </a:lnTo>
                  <a:lnTo>
                    <a:pt x="395" y="76"/>
                  </a:lnTo>
                  <a:lnTo>
                    <a:pt x="397" y="76"/>
                  </a:lnTo>
                  <a:lnTo>
                    <a:pt x="399" y="77"/>
                  </a:lnTo>
                  <a:lnTo>
                    <a:pt x="401" y="77"/>
                  </a:lnTo>
                  <a:lnTo>
                    <a:pt x="402" y="77"/>
                  </a:lnTo>
                  <a:lnTo>
                    <a:pt x="403" y="77"/>
                  </a:lnTo>
                  <a:lnTo>
                    <a:pt x="404" y="77"/>
                  </a:lnTo>
                  <a:lnTo>
                    <a:pt x="405" y="77"/>
                  </a:lnTo>
                  <a:lnTo>
                    <a:pt x="407" y="77"/>
                  </a:lnTo>
                  <a:lnTo>
                    <a:pt x="410" y="76"/>
                  </a:lnTo>
                  <a:lnTo>
                    <a:pt x="411" y="76"/>
                  </a:lnTo>
                  <a:lnTo>
                    <a:pt x="412" y="75"/>
                  </a:lnTo>
                  <a:lnTo>
                    <a:pt x="414" y="75"/>
                  </a:lnTo>
                  <a:lnTo>
                    <a:pt x="417" y="74"/>
                  </a:lnTo>
                  <a:lnTo>
                    <a:pt x="418" y="73"/>
                  </a:lnTo>
                  <a:lnTo>
                    <a:pt x="419" y="73"/>
                  </a:lnTo>
                  <a:lnTo>
                    <a:pt x="422" y="72"/>
                  </a:lnTo>
                  <a:lnTo>
                    <a:pt x="423" y="72"/>
                  </a:lnTo>
                  <a:lnTo>
                    <a:pt x="424" y="72"/>
                  </a:lnTo>
                  <a:lnTo>
                    <a:pt x="425" y="71"/>
                  </a:lnTo>
                  <a:lnTo>
                    <a:pt x="425" y="71"/>
                  </a:lnTo>
                  <a:lnTo>
                    <a:pt x="426" y="70"/>
                  </a:lnTo>
                  <a:lnTo>
                    <a:pt x="426" y="70"/>
                  </a:lnTo>
                  <a:lnTo>
                    <a:pt x="427" y="69"/>
                  </a:lnTo>
                  <a:lnTo>
                    <a:pt x="427" y="69"/>
                  </a:lnTo>
                  <a:lnTo>
                    <a:pt x="428" y="68"/>
                  </a:lnTo>
                  <a:lnTo>
                    <a:pt x="428" y="65"/>
                  </a:lnTo>
                  <a:lnTo>
                    <a:pt x="429" y="63"/>
                  </a:lnTo>
                  <a:lnTo>
                    <a:pt x="430" y="61"/>
                  </a:lnTo>
                  <a:lnTo>
                    <a:pt x="430" y="60"/>
                  </a:lnTo>
                  <a:lnTo>
                    <a:pt x="430" y="60"/>
                  </a:lnTo>
                  <a:lnTo>
                    <a:pt x="430" y="59"/>
                  </a:lnTo>
                  <a:lnTo>
                    <a:pt x="430" y="58"/>
                  </a:lnTo>
                  <a:lnTo>
                    <a:pt x="430" y="58"/>
                  </a:lnTo>
                  <a:lnTo>
                    <a:pt x="430" y="57"/>
                  </a:lnTo>
                  <a:lnTo>
                    <a:pt x="429" y="57"/>
                  </a:lnTo>
                  <a:lnTo>
                    <a:pt x="429" y="56"/>
                  </a:lnTo>
                  <a:lnTo>
                    <a:pt x="428" y="55"/>
                  </a:lnTo>
                  <a:lnTo>
                    <a:pt x="428" y="55"/>
                  </a:lnTo>
                  <a:lnTo>
                    <a:pt x="427" y="55"/>
                  </a:lnTo>
                  <a:lnTo>
                    <a:pt x="426" y="54"/>
                  </a:lnTo>
                  <a:lnTo>
                    <a:pt x="425" y="54"/>
                  </a:lnTo>
                  <a:lnTo>
                    <a:pt x="423" y="53"/>
                  </a:lnTo>
                  <a:lnTo>
                    <a:pt x="419" y="51"/>
                  </a:lnTo>
                  <a:lnTo>
                    <a:pt x="417" y="50"/>
                  </a:lnTo>
                  <a:lnTo>
                    <a:pt x="412" y="49"/>
                  </a:lnTo>
                  <a:lnTo>
                    <a:pt x="411" y="48"/>
                  </a:lnTo>
                  <a:lnTo>
                    <a:pt x="410" y="48"/>
                  </a:lnTo>
                  <a:lnTo>
                    <a:pt x="409" y="47"/>
                  </a:lnTo>
                  <a:lnTo>
                    <a:pt x="409" y="47"/>
                  </a:lnTo>
                  <a:lnTo>
                    <a:pt x="408" y="46"/>
                  </a:lnTo>
                  <a:lnTo>
                    <a:pt x="408" y="46"/>
                  </a:lnTo>
                  <a:lnTo>
                    <a:pt x="408" y="45"/>
                  </a:lnTo>
                  <a:lnTo>
                    <a:pt x="407" y="45"/>
                  </a:lnTo>
                  <a:lnTo>
                    <a:pt x="407" y="44"/>
                  </a:lnTo>
                  <a:lnTo>
                    <a:pt x="406" y="43"/>
                  </a:lnTo>
                  <a:lnTo>
                    <a:pt x="406" y="42"/>
                  </a:lnTo>
                  <a:lnTo>
                    <a:pt x="406" y="42"/>
                  </a:lnTo>
                  <a:lnTo>
                    <a:pt x="406" y="41"/>
                  </a:lnTo>
                  <a:lnTo>
                    <a:pt x="406" y="41"/>
                  </a:lnTo>
                  <a:lnTo>
                    <a:pt x="406" y="40"/>
                  </a:lnTo>
                  <a:lnTo>
                    <a:pt x="406" y="40"/>
                  </a:lnTo>
                  <a:lnTo>
                    <a:pt x="407" y="39"/>
                  </a:lnTo>
                  <a:lnTo>
                    <a:pt x="408" y="37"/>
                  </a:lnTo>
                  <a:lnTo>
                    <a:pt x="408" y="37"/>
                  </a:lnTo>
                  <a:lnTo>
                    <a:pt x="408" y="37"/>
                  </a:lnTo>
                  <a:lnTo>
                    <a:pt x="408" y="36"/>
                  </a:lnTo>
                  <a:lnTo>
                    <a:pt x="408" y="36"/>
                  </a:lnTo>
                  <a:lnTo>
                    <a:pt x="408" y="35"/>
                  </a:lnTo>
                  <a:lnTo>
                    <a:pt x="407" y="35"/>
                  </a:lnTo>
                  <a:lnTo>
                    <a:pt x="407" y="35"/>
                  </a:lnTo>
                  <a:lnTo>
                    <a:pt x="407" y="34"/>
                  </a:lnTo>
                  <a:lnTo>
                    <a:pt x="406" y="34"/>
                  </a:lnTo>
                  <a:lnTo>
                    <a:pt x="405" y="34"/>
                  </a:lnTo>
                  <a:lnTo>
                    <a:pt x="404" y="34"/>
                  </a:lnTo>
                  <a:lnTo>
                    <a:pt x="401" y="34"/>
                  </a:lnTo>
                  <a:lnTo>
                    <a:pt x="400" y="34"/>
                  </a:lnTo>
                  <a:lnTo>
                    <a:pt x="399" y="34"/>
                  </a:lnTo>
                  <a:lnTo>
                    <a:pt x="398" y="34"/>
                  </a:lnTo>
                  <a:lnTo>
                    <a:pt x="397" y="33"/>
                  </a:lnTo>
                  <a:lnTo>
                    <a:pt x="396" y="33"/>
                  </a:lnTo>
                  <a:lnTo>
                    <a:pt x="395" y="32"/>
                  </a:lnTo>
                  <a:lnTo>
                    <a:pt x="394" y="32"/>
                  </a:lnTo>
                  <a:lnTo>
                    <a:pt x="394" y="31"/>
                  </a:lnTo>
                  <a:lnTo>
                    <a:pt x="393" y="31"/>
                  </a:lnTo>
                  <a:lnTo>
                    <a:pt x="393" y="30"/>
                  </a:lnTo>
                  <a:lnTo>
                    <a:pt x="393" y="30"/>
                  </a:lnTo>
                  <a:lnTo>
                    <a:pt x="392" y="29"/>
                  </a:lnTo>
                  <a:lnTo>
                    <a:pt x="392" y="28"/>
                  </a:lnTo>
                  <a:lnTo>
                    <a:pt x="392" y="28"/>
                  </a:lnTo>
                  <a:lnTo>
                    <a:pt x="392" y="27"/>
                  </a:lnTo>
                  <a:lnTo>
                    <a:pt x="392" y="24"/>
                  </a:lnTo>
                  <a:lnTo>
                    <a:pt x="392" y="24"/>
                  </a:lnTo>
                  <a:lnTo>
                    <a:pt x="392" y="23"/>
                  </a:lnTo>
                  <a:lnTo>
                    <a:pt x="393" y="22"/>
                  </a:lnTo>
                  <a:lnTo>
                    <a:pt x="393" y="21"/>
                  </a:lnTo>
                  <a:lnTo>
                    <a:pt x="394" y="19"/>
                  </a:lnTo>
                  <a:lnTo>
                    <a:pt x="395" y="18"/>
                  </a:lnTo>
                  <a:lnTo>
                    <a:pt x="395" y="17"/>
                  </a:lnTo>
                  <a:lnTo>
                    <a:pt x="396" y="16"/>
                  </a:lnTo>
                  <a:lnTo>
                    <a:pt x="396" y="14"/>
                  </a:lnTo>
                  <a:lnTo>
                    <a:pt x="396" y="13"/>
                  </a:lnTo>
                  <a:lnTo>
                    <a:pt x="397" y="12"/>
                  </a:lnTo>
                  <a:lnTo>
                    <a:pt x="397" y="9"/>
                  </a:lnTo>
                  <a:lnTo>
                    <a:pt x="398" y="8"/>
                  </a:lnTo>
                  <a:lnTo>
                    <a:pt x="398" y="8"/>
                  </a:lnTo>
                  <a:lnTo>
                    <a:pt x="398" y="7"/>
                  </a:lnTo>
                  <a:lnTo>
                    <a:pt x="398" y="6"/>
                  </a:lnTo>
                  <a:lnTo>
                    <a:pt x="399" y="5"/>
                  </a:lnTo>
                  <a:lnTo>
                    <a:pt x="402" y="1"/>
                  </a:lnTo>
                  <a:lnTo>
                    <a:pt x="403" y="0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04" y="0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 54">
              <a:extLst>
                <a:ext uri="{FF2B5EF4-FFF2-40B4-BE49-F238E27FC236}">
                  <a16:creationId xmlns:a16="http://schemas.microsoft.com/office/drawing/2014/main" id="{919F6BC6-43AA-6AA3-EEB4-16AE0A3E0E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2866"/>
              <a:ext cx="504" cy="447"/>
            </a:xfrm>
            <a:custGeom>
              <a:avLst/>
              <a:gdLst>
                <a:gd name="T0" fmla="*/ 428 w 504"/>
                <a:gd name="T1" fmla="*/ 12 h 447"/>
                <a:gd name="T2" fmla="*/ 449 w 504"/>
                <a:gd name="T3" fmla="*/ 11 h 447"/>
                <a:gd name="T4" fmla="*/ 461 w 504"/>
                <a:gd name="T5" fmla="*/ 8 h 447"/>
                <a:gd name="T6" fmla="*/ 471 w 504"/>
                <a:gd name="T7" fmla="*/ 21 h 447"/>
                <a:gd name="T8" fmla="*/ 488 w 504"/>
                <a:gd name="T9" fmla="*/ 35 h 447"/>
                <a:gd name="T10" fmla="*/ 481 w 504"/>
                <a:gd name="T11" fmla="*/ 60 h 447"/>
                <a:gd name="T12" fmla="*/ 498 w 504"/>
                <a:gd name="T13" fmla="*/ 60 h 447"/>
                <a:gd name="T14" fmla="*/ 502 w 504"/>
                <a:gd name="T15" fmla="*/ 73 h 447"/>
                <a:gd name="T16" fmla="*/ 484 w 504"/>
                <a:gd name="T17" fmla="*/ 101 h 447"/>
                <a:gd name="T18" fmla="*/ 474 w 504"/>
                <a:gd name="T19" fmla="*/ 118 h 447"/>
                <a:gd name="T20" fmla="*/ 454 w 504"/>
                <a:gd name="T21" fmla="*/ 112 h 447"/>
                <a:gd name="T22" fmla="*/ 446 w 504"/>
                <a:gd name="T23" fmla="*/ 122 h 447"/>
                <a:gd name="T24" fmla="*/ 437 w 504"/>
                <a:gd name="T25" fmla="*/ 141 h 447"/>
                <a:gd name="T26" fmla="*/ 425 w 504"/>
                <a:gd name="T27" fmla="*/ 156 h 447"/>
                <a:gd name="T28" fmla="*/ 416 w 504"/>
                <a:gd name="T29" fmla="*/ 177 h 447"/>
                <a:gd name="T30" fmla="*/ 420 w 504"/>
                <a:gd name="T31" fmla="*/ 198 h 447"/>
                <a:gd name="T32" fmla="*/ 437 w 504"/>
                <a:gd name="T33" fmla="*/ 231 h 447"/>
                <a:gd name="T34" fmla="*/ 455 w 504"/>
                <a:gd name="T35" fmla="*/ 254 h 447"/>
                <a:gd name="T36" fmla="*/ 449 w 504"/>
                <a:gd name="T37" fmla="*/ 260 h 447"/>
                <a:gd name="T38" fmla="*/ 449 w 504"/>
                <a:gd name="T39" fmla="*/ 278 h 447"/>
                <a:gd name="T40" fmla="*/ 434 w 504"/>
                <a:gd name="T41" fmla="*/ 291 h 447"/>
                <a:gd name="T42" fmla="*/ 420 w 504"/>
                <a:gd name="T43" fmla="*/ 290 h 447"/>
                <a:gd name="T44" fmla="*/ 422 w 504"/>
                <a:gd name="T45" fmla="*/ 308 h 447"/>
                <a:gd name="T46" fmla="*/ 415 w 504"/>
                <a:gd name="T47" fmla="*/ 325 h 447"/>
                <a:gd name="T48" fmla="*/ 387 w 504"/>
                <a:gd name="T49" fmla="*/ 331 h 447"/>
                <a:gd name="T50" fmla="*/ 365 w 504"/>
                <a:gd name="T51" fmla="*/ 330 h 447"/>
                <a:gd name="T52" fmla="*/ 323 w 504"/>
                <a:gd name="T53" fmla="*/ 328 h 447"/>
                <a:gd name="T54" fmla="*/ 307 w 504"/>
                <a:gd name="T55" fmla="*/ 335 h 447"/>
                <a:gd name="T56" fmla="*/ 301 w 504"/>
                <a:gd name="T57" fmla="*/ 346 h 447"/>
                <a:gd name="T58" fmla="*/ 288 w 504"/>
                <a:gd name="T59" fmla="*/ 358 h 447"/>
                <a:gd name="T60" fmla="*/ 268 w 504"/>
                <a:gd name="T61" fmla="*/ 371 h 447"/>
                <a:gd name="T62" fmla="*/ 256 w 504"/>
                <a:gd name="T63" fmla="*/ 366 h 447"/>
                <a:gd name="T64" fmla="*/ 239 w 504"/>
                <a:gd name="T65" fmla="*/ 377 h 447"/>
                <a:gd name="T66" fmla="*/ 214 w 504"/>
                <a:gd name="T67" fmla="*/ 380 h 447"/>
                <a:gd name="T68" fmla="*/ 197 w 504"/>
                <a:gd name="T69" fmla="*/ 390 h 447"/>
                <a:gd name="T70" fmla="*/ 175 w 504"/>
                <a:gd name="T71" fmla="*/ 397 h 447"/>
                <a:gd name="T72" fmla="*/ 158 w 504"/>
                <a:gd name="T73" fmla="*/ 412 h 447"/>
                <a:gd name="T74" fmla="*/ 153 w 504"/>
                <a:gd name="T75" fmla="*/ 426 h 447"/>
                <a:gd name="T76" fmla="*/ 141 w 504"/>
                <a:gd name="T77" fmla="*/ 435 h 447"/>
                <a:gd name="T78" fmla="*/ 128 w 504"/>
                <a:gd name="T79" fmla="*/ 446 h 447"/>
                <a:gd name="T80" fmla="*/ 117 w 504"/>
                <a:gd name="T81" fmla="*/ 437 h 447"/>
                <a:gd name="T82" fmla="*/ 109 w 504"/>
                <a:gd name="T83" fmla="*/ 440 h 447"/>
                <a:gd name="T84" fmla="*/ 102 w 504"/>
                <a:gd name="T85" fmla="*/ 437 h 447"/>
                <a:gd name="T86" fmla="*/ 91 w 504"/>
                <a:gd name="T87" fmla="*/ 425 h 447"/>
                <a:gd name="T88" fmla="*/ 84 w 504"/>
                <a:gd name="T89" fmla="*/ 418 h 447"/>
                <a:gd name="T90" fmla="*/ 95 w 504"/>
                <a:gd name="T91" fmla="*/ 416 h 447"/>
                <a:gd name="T92" fmla="*/ 94 w 504"/>
                <a:gd name="T93" fmla="*/ 400 h 447"/>
                <a:gd name="T94" fmla="*/ 85 w 504"/>
                <a:gd name="T95" fmla="*/ 376 h 447"/>
                <a:gd name="T96" fmla="*/ 80 w 504"/>
                <a:gd name="T97" fmla="*/ 356 h 447"/>
                <a:gd name="T98" fmla="*/ 83 w 504"/>
                <a:gd name="T99" fmla="*/ 333 h 447"/>
                <a:gd name="T100" fmla="*/ 76 w 504"/>
                <a:gd name="T101" fmla="*/ 318 h 447"/>
                <a:gd name="T102" fmla="*/ 50 w 504"/>
                <a:gd name="T103" fmla="*/ 318 h 447"/>
                <a:gd name="T104" fmla="*/ 44 w 504"/>
                <a:gd name="T105" fmla="*/ 310 h 447"/>
                <a:gd name="T106" fmla="*/ 28 w 504"/>
                <a:gd name="T107" fmla="*/ 302 h 447"/>
                <a:gd name="T108" fmla="*/ 0 w 504"/>
                <a:gd name="T109" fmla="*/ 293 h 447"/>
                <a:gd name="T110" fmla="*/ 21 w 504"/>
                <a:gd name="T111" fmla="*/ 273 h 447"/>
                <a:gd name="T112" fmla="*/ 28 w 504"/>
                <a:gd name="T113" fmla="*/ 248 h 447"/>
                <a:gd name="T114" fmla="*/ 52 w 504"/>
                <a:gd name="T115" fmla="*/ 245 h 447"/>
                <a:gd name="T116" fmla="*/ 72 w 504"/>
                <a:gd name="T117" fmla="*/ 248 h 447"/>
                <a:gd name="T118" fmla="*/ 84 w 504"/>
                <a:gd name="T119" fmla="*/ 223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4" h="447">
                  <a:moveTo>
                    <a:pt x="404" y="0"/>
                  </a:moveTo>
                  <a:lnTo>
                    <a:pt x="405" y="0"/>
                  </a:lnTo>
                  <a:lnTo>
                    <a:pt x="405" y="0"/>
                  </a:lnTo>
                  <a:lnTo>
                    <a:pt x="406" y="1"/>
                  </a:lnTo>
                  <a:lnTo>
                    <a:pt x="410" y="3"/>
                  </a:lnTo>
                  <a:lnTo>
                    <a:pt x="411" y="4"/>
                  </a:lnTo>
                  <a:lnTo>
                    <a:pt x="413" y="5"/>
                  </a:lnTo>
                  <a:lnTo>
                    <a:pt x="414" y="5"/>
                  </a:lnTo>
                  <a:lnTo>
                    <a:pt x="415" y="5"/>
                  </a:lnTo>
                  <a:lnTo>
                    <a:pt x="419" y="6"/>
                  </a:lnTo>
                  <a:lnTo>
                    <a:pt x="420" y="6"/>
                  </a:lnTo>
                  <a:lnTo>
                    <a:pt x="421" y="7"/>
                  </a:lnTo>
                  <a:lnTo>
                    <a:pt x="422" y="7"/>
                  </a:lnTo>
                  <a:lnTo>
                    <a:pt x="423" y="8"/>
                  </a:lnTo>
                  <a:lnTo>
                    <a:pt x="425" y="9"/>
                  </a:lnTo>
                  <a:lnTo>
                    <a:pt x="426" y="10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0" y="13"/>
                  </a:lnTo>
                  <a:lnTo>
                    <a:pt x="431" y="14"/>
                  </a:lnTo>
                  <a:lnTo>
                    <a:pt x="432" y="14"/>
                  </a:lnTo>
                  <a:lnTo>
                    <a:pt x="433" y="15"/>
                  </a:lnTo>
                  <a:lnTo>
                    <a:pt x="434" y="15"/>
                  </a:lnTo>
                  <a:lnTo>
                    <a:pt x="435" y="15"/>
                  </a:lnTo>
                  <a:lnTo>
                    <a:pt x="436" y="15"/>
                  </a:lnTo>
                  <a:lnTo>
                    <a:pt x="437" y="15"/>
                  </a:lnTo>
                  <a:lnTo>
                    <a:pt x="438" y="14"/>
                  </a:lnTo>
                  <a:lnTo>
                    <a:pt x="439" y="14"/>
                  </a:lnTo>
                  <a:lnTo>
                    <a:pt x="440" y="14"/>
                  </a:lnTo>
                  <a:lnTo>
                    <a:pt x="444" y="12"/>
                  </a:lnTo>
                  <a:lnTo>
                    <a:pt x="445" y="12"/>
                  </a:lnTo>
                  <a:lnTo>
                    <a:pt x="447" y="11"/>
                  </a:lnTo>
                  <a:lnTo>
                    <a:pt x="448" y="11"/>
                  </a:lnTo>
                  <a:lnTo>
                    <a:pt x="449" y="11"/>
                  </a:lnTo>
                  <a:lnTo>
                    <a:pt x="450" y="11"/>
                  </a:lnTo>
                  <a:lnTo>
                    <a:pt x="451" y="11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5" y="12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8" y="10"/>
                  </a:lnTo>
                  <a:lnTo>
                    <a:pt x="459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2" y="9"/>
                  </a:lnTo>
                  <a:lnTo>
                    <a:pt x="462" y="9"/>
                  </a:lnTo>
                  <a:lnTo>
                    <a:pt x="462" y="11"/>
                  </a:lnTo>
                  <a:lnTo>
                    <a:pt x="462" y="12"/>
                  </a:lnTo>
                  <a:lnTo>
                    <a:pt x="462" y="12"/>
                  </a:lnTo>
                  <a:lnTo>
                    <a:pt x="463" y="13"/>
                  </a:lnTo>
                  <a:lnTo>
                    <a:pt x="463" y="14"/>
                  </a:lnTo>
                  <a:lnTo>
                    <a:pt x="464" y="14"/>
                  </a:lnTo>
                  <a:lnTo>
                    <a:pt x="464" y="15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9" y="18"/>
                  </a:lnTo>
                  <a:lnTo>
                    <a:pt x="470" y="19"/>
                  </a:lnTo>
                  <a:lnTo>
                    <a:pt x="471" y="21"/>
                  </a:lnTo>
                  <a:lnTo>
                    <a:pt x="472" y="21"/>
                  </a:lnTo>
                  <a:lnTo>
                    <a:pt x="473" y="22"/>
                  </a:lnTo>
                  <a:lnTo>
                    <a:pt x="474" y="22"/>
                  </a:lnTo>
                  <a:lnTo>
                    <a:pt x="475" y="22"/>
                  </a:lnTo>
                  <a:lnTo>
                    <a:pt x="478" y="23"/>
                  </a:lnTo>
                  <a:lnTo>
                    <a:pt x="478" y="23"/>
                  </a:lnTo>
                  <a:lnTo>
                    <a:pt x="479" y="24"/>
                  </a:lnTo>
                  <a:lnTo>
                    <a:pt x="480" y="24"/>
                  </a:lnTo>
                  <a:lnTo>
                    <a:pt x="481" y="25"/>
                  </a:lnTo>
                  <a:lnTo>
                    <a:pt x="482" y="26"/>
                  </a:lnTo>
                  <a:lnTo>
                    <a:pt x="483" y="26"/>
                  </a:lnTo>
                  <a:lnTo>
                    <a:pt x="484" y="28"/>
                  </a:lnTo>
                  <a:lnTo>
                    <a:pt x="486" y="30"/>
                  </a:lnTo>
                  <a:lnTo>
                    <a:pt x="487" y="31"/>
                  </a:lnTo>
                  <a:lnTo>
                    <a:pt x="487" y="32"/>
                  </a:lnTo>
                  <a:lnTo>
                    <a:pt x="488" y="34"/>
                  </a:lnTo>
                  <a:lnTo>
                    <a:pt x="488" y="35"/>
                  </a:lnTo>
                  <a:lnTo>
                    <a:pt x="488" y="36"/>
                  </a:lnTo>
                  <a:lnTo>
                    <a:pt x="488" y="38"/>
                  </a:lnTo>
                  <a:lnTo>
                    <a:pt x="488" y="39"/>
                  </a:lnTo>
                  <a:lnTo>
                    <a:pt x="488" y="41"/>
                  </a:lnTo>
                  <a:lnTo>
                    <a:pt x="487" y="43"/>
                  </a:lnTo>
                  <a:lnTo>
                    <a:pt x="487" y="45"/>
                  </a:lnTo>
                  <a:lnTo>
                    <a:pt x="486" y="47"/>
                  </a:lnTo>
                  <a:lnTo>
                    <a:pt x="485" y="50"/>
                  </a:lnTo>
                  <a:lnTo>
                    <a:pt x="484" y="51"/>
                  </a:lnTo>
                  <a:lnTo>
                    <a:pt x="482" y="55"/>
                  </a:lnTo>
                  <a:lnTo>
                    <a:pt x="482" y="56"/>
                  </a:lnTo>
                  <a:lnTo>
                    <a:pt x="481" y="57"/>
                  </a:lnTo>
                  <a:lnTo>
                    <a:pt x="481" y="57"/>
                  </a:lnTo>
                  <a:lnTo>
                    <a:pt x="481" y="59"/>
                  </a:lnTo>
                  <a:lnTo>
                    <a:pt x="481" y="59"/>
                  </a:lnTo>
                  <a:lnTo>
                    <a:pt x="481" y="60"/>
                  </a:lnTo>
                  <a:lnTo>
                    <a:pt x="481" y="60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4" y="63"/>
                  </a:lnTo>
                  <a:lnTo>
                    <a:pt x="485" y="64"/>
                  </a:lnTo>
                  <a:lnTo>
                    <a:pt x="485" y="64"/>
                  </a:lnTo>
                  <a:lnTo>
                    <a:pt x="486" y="64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2"/>
                  </a:lnTo>
                  <a:lnTo>
                    <a:pt x="495" y="61"/>
                  </a:lnTo>
                  <a:lnTo>
                    <a:pt x="497" y="61"/>
                  </a:lnTo>
                  <a:lnTo>
                    <a:pt x="498" y="60"/>
                  </a:lnTo>
                  <a:lnTo>
                    <a:pt x="499" y="60"/>
                  </a:lnTo>
                  <a:lnTo>
                    <a:pt x="500" y="60"/>
                  </a:lnTo>
                  <a:lnTo>
                    <a:pt x="501" y="60"/>
                  </a:lnTo>
                  <a:lnTo>
                    <a:pt x="501" y="60"/>
                  </a:lnTo>
                  <a:lnTo>
                    <a:pt x="502" y="60"/>
                  </a:lnTo>
                  <a:lnTo>
                    <a:pt x="502" y="61"/>
                  </a:lnTo>
                  <a:lnTo>
                    <a:pt x="503" y="61"/>
                  </a:lnTo>
                  <a:lnTo>
                    <a:pt x="503" y="62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4"/>
                  </a:lnTo>
                  <a:lnTo>
                    <a:pt x="504" y="65"/>
                  </a:lnTo>
                  <a:lnTo>
                    <a:pt x="504" y="66"/>
                  </a:lnTo>
                  <a:lnTo>
                    <a:pt x="504" y="68"/>
                  </a:lnTo>
                  <a:lnTo>
                    <a:pt x="504" y="69"/>
                  </a:lnTo>
                  <a:lnTo>
                    <a:pt x="503" y="70"/>
                  </a:lnTo>
                  <a:lnTo>
                    <a:pt x="502" y="73"/>
                  </a:lnTo>
                  <a:lnTo>
                    <a:pt x="501" y="75"/>
                  </a:lnTo>
                  <a:lnTo>
                    <a:pt x="497" y="84"/>
                  </a:lnTo>
                  <a:lnTo>
                    <a:pt x="495" y="90"/>
                  </a:lnTo>
                  <a:lnTo>
                    <a:pt x="495" y="91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4" y="93"/>
                  </a:lnTo>
                  <a:lnTo>
                    <a:pt x="494" y="93"/>
                  </a:lnTo>
                  <a:lnTo>
                    <a:pt x="493" y="95"/>
                  </a:lnTo>
                  <a:lnTo>
                    <a:pt x="491" y="96"/>
                  </a:lnTo>
                  <a:lnTo>
                    <a:pt x="490" y="97"/>
                  </a:lnTo>
                  <a:lnTo>
                    <a:pt x="489" y="98"/>
                  </a:lnTo>
                  <a:lnTo>
                    <a:pt x="487" y="99"/>
                  </a:lnTo>
                  <a:lnTo>
                    <a:pt x="485" y="100"/>
                  </a:lnTo>
                  <a:lnTo>
                    <a:pt x="484" y="101"/>
                  </a:lnTo>
                  <a:lnTo>
                    <a:pt x="482" y="102"/>
                  </a:lnTo>
                  <a:lnTo>
                    <a:pt x="482" y="102"/>
                  </a:lnTo>
                  <a:lnTo>
                    <a:pt x="482" y="103"/>
                  </a:lnTo>
                  <a:lnTo>
                    <a:pt x="481" y="104"/>
                  </a:lnTo>
                  <a:lnTo>
                    <a:pt x="481" y="104"/>
                  </a:lnTo>
                  <a:lnTo>
                    <a:pt x="480" y="105"/>
                  </a:lnTo>
                  <a:lnTo>
                    <a:pt x="480" y="107"/>
                  </a:lnTo>
                  <a:lnTo>
                    <a:pt x="479" y="108"/>
                  </a:lnTo>
                  <a:lnTo>
                    <a:pt x="478" y="114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6" y="116"/>
                  </a:lnTo>
                  <a:lnTo>
                    <a:pt x="476" y="117"/>
                  </a:lnTo>
                  <a:lnTo>
                    <a:pt x="476" y="117"/>
                  </a:lnTo>
                  <a:lnTo>
                    <a:pt x="475" y="118"/>
                  </a:lnTo>
                  <a:lnTo>
                    <a:pt x="475" y="118"/>
                  </a:lnTo>
                  <a:lnTo>
                    <a:pt x="474" y="118"/>
                  </a:lnTo>
                  <a:lnTo>
                    <a:pt x="474" y="119"/>
                  </a:lnTo>
                  <a:lnTo>
                    <a:pt x="473" y="119"/>
                  </a:lnTo>
                  <a:lnTo>
                    <a:pt x="472" y="119"/>
                  </a:lnTo>
                  <a:lnTo>
                    <a:pt x="471" y="119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69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6" y="118"/>
                  </a:lnTo>
                  <a:lnTo>
                    <a:pt x="464" y="118"/>
                  </a:lnTo>
                  <a:lnTo>
                    <a:pt x="463" y="117"/>
                  </a:lnTo>
                  <a:lnTo>
                    <a:pt x="460" y="115"/>
                  </a:lnTo>
                  <a:lnTo>
                    <a:pt x="458" y="114"/>
                  </a:lnTo>
                  <a:lnTo>
                    <a:pt x="457" y="114"/>
                  </a:lnTo>
                  <a:lnTo>
                    <a:pt x="455" y="113"/>
                  </a:lnTo>
                  <a:lnTo>
                    <a:pt x="454" y="112"/>
                  </a:lnTo>
                  <a:lnTo>
                    <a:pt x="453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1" y="112"/>
                  </a:lnTo>
                  <a:lnTo>
                    <a:pt x="450" y="112"/>
                  </a:lnTo>
                  <a:lnTo>
                    <a:pt x="448" y="113"/>
                  </a:lnTo>
                  <a:lnTo>
                    <a:pt x="447" y="113"/>
                  </a:lnTo>
                  <a:lnTo>
                    <a:pt x="447" y="113"/>
                  </a:lnTo>
                  <a:lnTo>
                    <a:pt x="446" y="113"/>
                  </a:lnTo>
                  <a:lnTo>
                    <a:pt x="446" y="113"/>
                  </a:lnTo>
                  <a:lnTo>
                    <a:pt x="446" y="114"/>
                  </a:lnTo>
                  <a:lnTo>
                    <a:pt x="446" y="114"/>
                  </a:lnTo>
                  <a:lnTo>
                    <a:pt x="446" y="115"/>
                  </a:lnTo>
                  <a:lnTo>
                    <a:pt x="446" y="116"/>
                  </a:lnTo>
                  <a:lnTo>
                    <a:pt x="446" y="119"/>
                  </a:lnTo>
                  <a:lnTo>
                    <a:pt x="446" y="121"/>
                  </a:lnTo>
                  <a:lnTo>
                    <a:pt x="446" y="122"/>
                  </a:lnTo>
                  <a:lnTo>
                    <a:pt x="446" y="123"/>
                  </a:lnTo>
                  <a:lnTo>
                    <a:pt x="446" y="126"/>
                  </a:lnTo>
                  <a:lnTo>
                    <a:pt x="445" y="127"/>
                  </a:lnTo>
                  <a:lnTo>
                    <a:pt x="445" y="128"/>
                  </a:lnTo>
                  <a:lnTo>
                    <a:pt x="445" y="128"/>
                  </a:lnTo>
                  <a:lnTo>
                    <a:pt x="444" y="129"/>
                  </a:lnTo>
                  <a:lnTo>
                    <a:pt x="444" y="130"/>
                  </a:lnTo>
                  <a:lnTo>
                    <a:pt x="442" y="132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0" y="134"/>
                  </a:lnTo>
                  <a:lnTo>
                    <a:pt x="440" y="135"/>
                  </a:lnTo>
                  <a:lnTo>
                    <a:pt x="439" y="136"/>
                  </a:lnTo>
                  <a:lnTo>
                    <a:pt x="439" y="137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7" y="141"/>
                  </a:lnTo>
                  <a:lnTo>
                    <a:pt x="437" y="142"/>
                  </a:lnTo>
                  <a:lnTo>
                    <a:pt x="437" y="143"/>
                  </a:lnTo>
                  <a:lnTo>
                    <a:pt x="437" y="144"/>
                  </a:lnTo>
                  <a:lnTo>
                    <a:pt x="437" y="146"/>
                  </a:lnTo>
                  <a:lnTo>
                    <a:pt x="437" y="146"/>
                  </a:lnTo>
                  <a:lnTo>
                    <a:pt x="437" y="147"/>
                  </a:lnTo>
                  <a:lnTo>
                    <a:pt x="436" y="147"/>
                  </a:lnTo>
                  <a:lnTo>
                    <a:pt x="436" y="147"/>
                  </a:lnTo>
                  <a:lnTo>
                    <a:pt x="436" y="148"/>
                  </a:lnTo>
                  <a:lnTo>
                    <a:pt x="435" y="148"/>
                  </a:lnTo>
                  <a:lnTo>
                    <a:pt x="434" y="149"/>
                  </a:lnTo>
                  <a:lnTo>
                    <a:pt x="433" y="149"/>
                  </a:lnTo>
                  <a:lnTo>
                    <a:pt x="433" y="149"/>
                  </a:lnTo>
                  <a:lnTo>
                    <a:pt x="430" y="152"/>
                  </a:lnTo>
                  <a:lnTo>
                    <a:pt x="427" y="154"/>
                  </a:lnTo>
                  <a:lnTo>
                    <a:pt x="426" y="155"/>
                  </a:lnTo>
                  <a:lnTo>
                    <a:pt x="425" y="156"/>
                  </a:lnTo>
                  <a:lnTo>
                    <a:pt x="425" y="156"/>
                  </a:lnTo>
                  <a:lnTo>
                    <a:pt x="424" y="157"/>
                  </a:lnTo>
                  <a:lnTo>
                    <a:pt x="424" y="158"/>
                  </a:lnTo>
                  <a:lnTo>
                    <a:pt x="423" y="159"/>
                  </a:lnTo>
                  <a:lnTo>
                    <a:pt x="423" y="160"/>
                  </a:lnTo>
                  <a:lnTo>
                    <a:pt x="422" y="162"/>
                  </a:lnTo>
                  <a:lnTo>
                    <a:pt x="422" y="163"/>
                  </a:lnTo>
                  <a:lnTo>
                    <a:pt x="422" y="164"/>
                  </a:lnTo>
                  <a:lnTo>
                    <a:pt x="421" y="167"/>
                  </a:lnTo>
                  <a:lnTo>
                    <a:pt x="421" y="168"/>
                  </a:lnTo>
                  <a:lnTo>
                    <a:pt x="421" y="169"/>
                  </a:lnTo>
                  <a:lnTo>
                    <a:pt x="420" y="170"/>
                  </a:lnTo>
                  <a:lnTo>
                    <a:pt x="420" y="171"/>
                  </a:lnTo>
                  <a:lnTo>
                    <a:pt x="418" y="174"/>
                  </a:lnTo>
                  <a:lnTo>
                    <a:pt x="417" y="176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8"/>
                  </a:lnTo>
                  <a:lnTo>
                    <a:pt x="415" y="178"/>
                  </a:lnTo>
                  <a:lnTo>
                    <a:pt x="415" y="179"/>
                  </a:lnTo>
                  <a:lnTo>
                    <a:pt x="415" y="180"/>
                  </a:lnTo>
                  <a:lnTo>
                    <a:pt x="415" y="181"/>
                  </a:lnTo>
                  <a:lnTo>
                    <a:pt x="415" y="182"/>
                  </a:lnTo>
                  <a:lnTo>
                    <a:pt x="416" y="182"/>
                  </a:lnTo>
                  <a:lnTo>
                    <a:pt x="416" y="183"/>
                  </a:lnTo>
                  <a:lnTo>
                    <a:pt x="417" y="185"/>
                  </a:lnTo>
                  <a:lnTo>
                    <a:pt x="417" y="186"/>
                  </a:lnTo>
                  <a:lnTo>
                    <a:pt x="418" y="187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19" y="193"/>
                  </a:lnTo>
                  <a:lnTo>
                    <a:pt x="419" y="196"/>
                  </a:lnTo>
                  <a:lnTo>
                    <a:pt x="420" y="196"/>
                  </a:lnTo>
                  <a:lnTo>
                    <a:pt x="420" y="198"/>
                  </a:lnTo>
                  <a:lnTo>
                    <a:pt x="421" y="199"/>
                  </a:lnTo>
                  <a:lnTo>
                    <a:pt x="422" y="201"/>
                  </a:lnTo>
                  <a:lnTo>
                    <a:pt x="423" y="205"/>
                  </a:lnTo>
                  <a:lnTo>
                    <a:pt x="425" y="209"/>
                  </a:lnTo>
                  <a:lnTo>
                    <a:pt x="426" y="210"/>
                  </a:lnTo>
                  <a:lnTo>
                    <a:pt x="427" y="211"/>
                  </a:lnTo>
                  <a:lnTo>
                    <a:pt x="428" y="213"/>
                  </a:lnTo>
                  <a:lnTo>
                    <a:pt x="428" y="214"/>
                  </a:lnTo>
                  <a:lnTo>
                    <a:pt x="430" y="216"/>
                  </a:lnTo>
                  <a:lnTo>
                    <a:pt x="430" y="217"/>
                  </a:lnTo>
                  <a:lnTo>
                    <a:pt x="431" y="218"/>
                  </a:lnTo>
                  <a:lnTo>
                    <a:pt x="432" y="220"/>
                  </a:lnTo>
                  <a:lnTo>
                    <a:pt x="433" y="222"/>
                  </a:lnTo>
                  <a:lnTo>
                    <a:pt x="433" y="223"/>
                  </a:lnTo>
                  <a:lnTo>
                    <a:pt x="436" y="230"/>
                  </a:lnTo>
                  <a:lnTo>
                    <a:pt x="436" y="230"/>
                  </a:lnTo>
                  <a:lnTo>
                    <a:pt x="437" y="231"/>
                  </a:lnTo>
                  <a:lnTo>
                    <a:pt x="439" y="236"/>
                  </a:lnTo>
                  <a:lnTo>
                    <a:pt x="441" y="240"/>
                  </a:lnTo>
                  <a:lnTo>
                    <a:pt x="442" y="240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44" y="243"/>
                  </a:lnTo>
                  <a:lnTo>
                    <a:pt x="445" y="243"/>
                  </a:lnTo>
                  <a:lnTo>
                    <a:pt x="447" y="245"/>
                  </a:lnTo>
                  <a:lnTo>
                    <a:pt x="448" y="246"/>
                  </a:lnTo>
                  <a:lnTo>
                    <a:pt x="450" y="247"/>
                  </a:lnTo>
                  <a:lnTo>
                    <a:pt x="451" y="248"/>
                  </a:lnTo>
                  <a:lnTo>
                    <a:pt x="451" y="249"/>
                  </a:lnTo>
                  <a:lnTo>
                    <a:pt x="452" y="249"/>
                  </a:lnTo>
                  <a:lnTo>
                    <a:pt x="453" y="250"/>
                  </a:lnTo>
                  <a:lnTo>
                    <a:pt x="453" y="251"/>
                  </a:lnTo>
                  <a:lnTo>
                    <a:pt x="454" y="252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5"/>
                  </a:lnTo>
                  <a:lnTo>
                    <a:pt x="455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3" y="254"/>
                  </a:lnTo>
                  <a:lnTo>
                    <a:pt x="453" y="255"/>
                  </a:lnTo>
                  <a:lnTo>
                    <a:pt x="452" y="255"/>
                  </a:lnTo>
                  <a:lnTo>
                    <a:pt x="452" y="256"/>
                  </a:lnTo>
                  <a:lnTo>
                    <a:pt x="451" y="256"/>
                  </a:lnTo>
                  <a:lnTo>
                    <a:pt x="450" y="257"/>
                  </a:lnTo>
                  <a:lnTo>
                    <a:pt x="450" y="258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60"/>
                  </a:lnTo>
                  <a:lnTo>
                    <a:pt x="449" y="260"/>
                  </a:lnTo>
                  <a:lnTo>
                    <a:pt x="449" y="261"/>
                  </a:lnTo>
                  <a:lnTo>
                    <a:pt x="449" y="262"/>
                  </a:lnTo>
                  <a:lnTo>
                    <a:pt x="449" y="262"/>
                  </a:lnTo>
                  <a:lnTo>
                    <a:pt x="449" y="264"/>
                  </a:lnTo>
                  <a:lnTo>
                    <a:pt x="450" y="267"/>
                  </a:lnTo>
                  <a:lnTo>
                    <a:pt x="450" y="269"/>
                  </a:lnTo>
                  <a:lnTo>
                    <a:pt x="450" y="270"/>
                  </a:lnTo>
                  <a:lnTo>
                    <a:pt x="450" y="273"/>
                  </a:lnTo>
                  <a:lnTo>
                    <a:pt x="450" y="274"/>
                  </a:lnTo>
                  <a:lnTo>
                    <a:pt x="450" y="275"/>
                  </a:lnTo>
                  <a:lnTo>
                    <a:pt x="450" y="275"/>
                  </a:lnTo>
                  <a:lnTo>
                    <a:pt x="450" y="276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7" y="279"/>
                  </a:lnTo>
                  <a:lnTo>
                    <a:pt x="445" y="280"/>
                  </a:lnTo>
                  <a:lnTo>
                    <a:pt x="442" y="281"/>
                  </a:lnTo>
                  <a:lnTo>
                    <a:pt x="439" y="281"/>
                  </a:lnTo>
                  <a:lnTo>
                    <a:pt x="438" y="282"/>
                  </a:lnTo>
                  <a:lnTo>
                    <a:pt x="438" y="282"/>
                  </a:lnTo>
                  <a:lnTo>
                    <a:pt x="437" y="282"/>
                  </a:lnTo>
                  <a:lnTo>
                    <a:pt x="437" y="283"/>
                  </a:lnTo>
                  <a:lnTo>
                    <a:pt x="436" y="286"/>
                  </a:lnTo>
                  <a:lnTo>
                    <a:pt x="434" y="288"/>
                  </a:lnTo>
                  <a:lnTo>
                    <a:pt x="434" y="289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2" y="291"/>
                  </a:lnTo>
                  <a:lnTo>
                    <a:pt x="431" y="291"/>
                  </a:lnTo>
                  <a:lnTo>
                    <a:pt x="430" y="291"/>
                  </a:lnTo>
                  <a:lnTo>
                    <a:pt x="429" y="291"/>
                  </a:lnTo>
                  <a:lnTo>
                    <a:pt x="428" y="291"/>
                  </a:lnTo>
                  <a:lnTo>
                    <a:pt x="424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2" y="289"/>
                  </a:lnTo>
                  <a:lnTo>
                    <a:pt x="422" y="289"/>
                  </a:lnTo>
                  <a:lnTo>
                    <a:pt x="421" y="289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1"/>
                  </a:lnTo>
                  <a:lnTo>
                    <a:pt x="420" y="292"/>
                  </a:lnTo>
                  <a:lnTo>
                    <a:pt x="420" y="294"/>
                  </a:lnTo>
                  <a:lnTo>
                    <a:pt x="420" y="296"/>
                  </a:lnTo>
                  <a:lnTo>
                    <a:pt x="420" y="297"/>
                  </a:lnTo>
                  <a:lnTo>
                    <a:pt x="420" y="298"/>
                  </a:lnTo>
                  <a:lnTo>
                    <a:pt x="420" y="299"/>
                  </a:lnTo>
                  <a:lnTo>
                    <a:pt x="420" y="300"/>
                  </a:lnTo>
                  <a:lnTo>
                    <a:pt x="420" y="301"/>
                  </a:lnTo>
                  <a:lnTo>
                    <a:pt x="421" y="302"/>
                  </a:lnTo>
                  <a:lnTo>
                    <a:pt x="421" y="305"/>
                  </a:lnTo>
                  <a:lnTo>
                    <a:pt x="422" y="306"/>
                  </a:lnTo>
                  <a:lnTo>
                    <a:pt x="422" y="307"/>
                  </a:lnTo>
                  <a:lnTo>
                    <a:pt x="422" y="308"/>
                  </a:lnTo>
                  <a:lnTo>
                    <a:pt x="422" y="309"/>
                  </a:lnTo>
                  <a:lnTo>
                    <a:pt x="422" y="311"/>
                  </a:lnTo>
                  <a:lnTo>
                    <a:pt x="422" y="312"/>
                  </a:lnTo>
                  <a:lnTo>
                    <a:pt x="421" y="313"/>
                  </a:lnTo>
                  <a:lnTo>
                    <a:pt x="421" y="315"/>
                  </a:lnTo>
                  <a:lnTo>
                    <a:pt x="420" y="319"/>
                  </a:lnTo>
                  <a:lnTo>
                    <a:pt x="420" y="320"/>
                  </a:lnTo>
                  <a:lnTo>
                    <a:pt x="420" y="321"/>
                  </a:lnTo>
                  <a:lnTo>
                    <a:pt x="419" y="322"/>
                  </a:lnTo>
                  <a:lnTo>
                    <a:pt x="419" y="323"/>
                  </a:lnTo>
                  <a:lnTo>
                    <a:pt x="418" y="323"/>
                  </a:lnTo>
                  <a:lnTo>
                    <a:pt x="418" y="324"/>
                  </a:lnTo>
                  <a:lnTo>
                    <a:pt x="418" y="324"/>
                  </a:lnTo>
                  <a:lnTo>
                    <a:pt x="417" y="324"/>
                  </a:lnTo>
                  <a:lnTo>
                    <a:pt x="417" y="325"/>
                  </a:lnTo>
                  <a:lnTo>
                    <a:pt x="416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3" y="325"/>
                  </a:lnTo>
                  <a:lnTo>
                    <a:pt x="411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4"/>
                  </a:lnTo>
                  <a:lnTo>
                    <a:pt x="401" y="325"/>
                  </a:lnTo>
                  <a:lnTo>
                    <a:pt x="395" y="326"/>
                  </a:lnTo>
                  <a:lnTo>
                    <a:pt x="394" y="326"/>
                  </a:lnTo>
                  <a:lnTo>
                    <a:pt x="393" y="326"/>
                  </a:lnTo>
                  <a:lnTo>
                    <a:pt x="392" y="327"/>
                  </a:lnTo>
                  <a:lnTo>
                    <a:pt x="391" y="327"/>
                  </a:lnTo>
                  <a:lnTo>
                    <a:pt x="391" y="327"/>
                  </a:lnTo>
                  <a:lnTo>
                    <a:pt x="390" y="328"/>
                  </a:lnTo>
                  <a:lnTo>
                    <a:pt x="388" y="330"/>
                  </a:lnTo>
                  <a:lnTo>
                    <a:pt x="387" y="331"/>
                  </a:lnTo>
                  <a:lnTo>
                    <a:pt x="386" y="332"/>
                  </a:lnTo>
                  <a:lnTo>
                    <a:pt x="385" y="332"/>
                  </a:lnTo>
                  <a:lnTo>
                    <a:pt x="384" y="333"/>
                  </a:lnTo>
                  <a:lnTo>
                    <a:pt x="384" y="333"/>
                  </a:lnTo>
                  <a:lnTo>
                    <a:pt x="383" y="333"/>
                  </a:lnTo>
                  <a:lnTo>
                    <a:pt x="383" y="333"/>
                  </a:lnTo>
                  <a:lnTo>
                    <a:pt x="382" y="333"/>
                  </a:lnTo>
                  <a:lnTo>
                    <a:pt x="381" y="333"/>
                  </a:lnTo>
                  <a:lnTo>
                    <a:pt x="379" y="333"/>
                  </a:lnTo>
                  <a:lnTo>
                    <a:pt x="376" y="332"/>
                  </a:lnTo>
                  <a:lnTo>
                    <a:pt x="372" y="331"/>
                  </a:lnTo>
                  <a:lnTo>
                    <a:pt x="370" y="331"/>
                  </a:lnTo>
                  <a:lnTo>
                    <a:pt x="368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6" y="330"/>
                  </a:lnTo>
                  <a:lnTo>
                    <a:pt x="365" y="330"/>
                  </a:lnTo>
                  <a:lnTo>
                    <a:pt x="365" y="331"/>
                  </a:lnTo>
                  <a:lnTo>
                    <a:pt x="363" y="332"/>
                  </a:lnTo>
                  <a:lnTo>
                    <a:pt x="361" y="332"/>
                  </a:lnTo>
                  <a:lnTo>
                    <a:pt x="359" y="332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3" y="333"/>
                  </a:lnTo>
                  <a:lnTo>
                    <a:pt x="350" y="333"/>
                  </a:lnTo>
                  <a:lnTo>
                    <a:pt x="348" y="333"/>
                  </a:lnTo>
                  <a:lnTo>
                    <a:pt x="346" y="333"/>
                  </a:lnTo>
                  <a:lnTo>
                    <a:pt x="340" y="332"/>
                  </a:lnTo>
                  <a:lnTo>
                    <a:pt x="338" y="332"/>
                  </a:lnTo>
                  <a:lnTo>
                    <a:pt x="336" y="332"/>
                  </a:lnTo>
                  <a:lnTo>
                    <a:pt x="333" y="331"/>
                  </a:lnTo>
                  <a:lnTo>
                    <a:pt x="329" y="330"/>
                  </a:lnTo>
                  <a:lnTo>
                    <a:pt x="325" y="329"/>
                  </a:lnTo>
                  <a:lnTo>
                    <a:pt x="323" y="328"/>
                  </a:lnTo>
                  <a:lnTo>
                    <a:pt x="322" y="328"/>
                  </a:lnTo>
                  <a:lnTo>
                    <a:pt x="317" y="328"/>
                  </a:lnTo>
                  <a:lnTo>
                    <a:pt x="316" y="328"/>
                  </a:lnTo>
                  <a:lnTo>
                    <a:pt x="315" y="328"/>
                  </a:lnTo>
                  <a:lnTo>
                    <a:pt x="314" y="328"/>
                  </a:lnTo>
                  <a:lnTo>
                    <a:pt x="313" y="328"/>
                  </a:lnTo>
                  <a:lnTo>
                    <a:pt x="313" y="328"/>
                  </a:lnTo>
                  <a:lnTo>
                    <a:pt x="312" y="329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09" y="331"/>
                  </a:lnTo>
                  <a:lnTo>
                    <a:pt x="309" y="331"/>
                  </a:lnTo>
                  <a:lnTo>
                    <a:pt x="308" y="332"/>
                  </a:lnTo>
                  <a:lnTo>
                    <a:pt x="307" y="333"/>
                  </a:lnTo>
                  <a:lnTo>
                    <a:pt x="307" y="333"/>
                  </a:lnTo>
                  <a:lnTo>
                    <a:pt x="307" y="334"/>
                  </a:lnTo>
                  <a:lnTo>
                    <a:pt x="307" y="335"/>
                  </a:lnTo>
                  <a:lnTo>
                    <a:pt x="307" y="335"/>
                  </a:lnTo>
                  <a:lnTo>
                    <a:pt x="307" y="336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4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4" y="346"/>
                  </a:lnTo>
                  <a:lnTo>
                    <a:pt x="304" y="346"/>
                  </a:lnTo>
                  <a:lnTo>
                    <a:pt x="302" y="346"/>
                  </a:lnTo>
                  <a:lnTo>
                    <a:pt x="301" y="346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298" y="347"/>
                  </a:lnTo>
                  <a:lnTo>
                    <a:pt x="298" y="347"/>
                  </a:lnTo>
                  <a:lnTo>
                    <a:pt x="297" y="347"/>
                  </a:lnTo>
                  <a:lnTo>
                    <a:pt x="297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2"/>
                  </a:lnTo>
                  <a:lnTo>
                    <a:pt x="295" y="353"/>
                  </a:lnTo>
                  <a:lnTo>
                    <a:pt x="294" y="353"/>
                  </a:lnTo>
                  <a:lnTo>
                    <a:pt x="292" y="355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89" y="357"/>
                  </a:lnTo>
                  <a:lnTo>
                    <a:pt x="288" y="358"/>
                  </a:lnTo>
                  <a:lnTo>
                    <a:pt x="287" y="359"/>
                  </a:lnTo>
                  <a:lnTo>
                    <a:pt x="286" y="359"/>
                  </a:lnTo>
                  <a:lnTo>
                    <a:pt x="285" y="359"/>
                  </a:lnTo>
                  <a:lnTo>
                    <a:pt x="282" y="360"/>
                  </a:lnTo>
                  <a:lnTo>
                    <a:pt x="281" y="361"/>
                  </a:lnTo>
                  <a:lnTo>
                    <a:pt x="280" y="361"/>
                  </a:lnTo>
                  <a:lnTo>
                    <a:pt x="278" y="361"/>
                  </a:lnTo>
                  <a:lnTo>
                    <a:pt x="278" y="362"/>
                  </a:lnTo>
                  <a:lnTo>
                    <a:pt x="277" y="362"/>
                  </a:lnTo>
                  <a:lnTo>
                    <a:pt x="276" y="363"/>
                  </a:lnTo>
                  <a:lnTo>
                    <a:pt x="275" y="364"/>
                  </a:lnTo>
                  <a:lnTo>
                    <a:pt x="274" y="364"/>
                  </a:lnTo>
                  <a:lnTo>
                    <a:pt x="273" y="365"/>
                  </a:lnTo>
                  <a:lnTo>
                    <a:pt x="272" y="367"/>
                  </a:lnTo>
                  <a:lnTo>
                    <a:pt x="270" y="369"/>
                  </a:lnTo>
                  <a:lnTo>
                    <a:pt x="269" y="370"/>
                  </a:lnTo>
                  <a:lnTo>
                    <a:pt x="268" y="371"/>
                  </a:lnTo>
                  <a:lnTo>
                    <a:pt x="268" y="371"/>
                  </a:lnTo>
                  <a:lnTo>
                    <a:pt x="267" y="371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5" y="372"/>
                  </a:lnTo>
                  <a:lnTo>
                    <a:pt x="265" y="372"/>
                  </a:lnTo>
                  <a:lnTo>
                    <a:pt x="264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3" y="371"/>
                  </a:lnTo>
                  <a:lnTo>
                    <a:pt x="262" y="371"/>
                  </a:lnTo>
                  <a:lnTo>
                    <a:pt x="261" y="370"/>
                  </a:lnTo>
                  <a:lnTo>
                    <a:pt x="259" y="368"/>
                  </a:lnTo>
                  <a:lnTo>
                    <a:pt x="259" y="368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4" y="366"/>
                  </a:lnTo>
                  <a:lnTo>
                    <a:pt x="253" y="366"/>
                  </a:lnTo>
                  <a:lnTo>
                    <a:pt x="253" y="367"/>
                  </a:lnTo>
                  <a:lnTo>
                    <a:pt x="252" y="367"/>
                  </a:lnTo>
                  <a:lnTo>
                    <a:pt x="251" y="368"/>
                  </a:lnTo>
                  <a:lnTo>
                    <a:pt x="250" y="369"/>
                  </a:lnTo>
                  <a:lnTo>
                    <a:pt x="249" y="370"/>
                  </a:lnTo>
                  <a:lnTo>
                    <a:pt x="246" y="373"/>
                  </a:lnTo>
                  <a:lnTo>
                    <a:pt x="244" y="374"/>
                  </a:lnTo>
                  <a:lnTo>
                    <a:pt x="244" y="375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8" y="378"/>
                  </a:lnTo>
                  <a:lnTo>
                    <a:pt x="236" y="380"/>
                  </a:lnTo>
                  <a:lnTo>
                    <a:pt x="235" y="380"/>
                  </a:lnTo>
                  <a:lnTo>
                    <a:pt x="234" y="381"/>
                  </a:lnTo>
                  <a:lnTo>
                    <a:pt x="233" y="381"/>
                  </a:lnTo>
                  <a:lnTo>
                    <a:pt x="232" y="381"/>
                  </a:lnTo>
                  <a:lnTo>
                    <a:pt x="231" y="381"/>
                  </a:lnTo>
                  <a:lnTo>
                    <a:pt x="230" y="381"/>
                  </a:lnTo>
                  <a:lnTo>
                    <a:pt x="228" y="381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2"/>
                  </a:lnTo>
                  <a:lnTo>
                    <a:pt x="220" y="382"/>
                  </a:lnTo>
                  <a:lnTo>
                    <a:pt x="218" y="381"/>
                  </a:lnTo>
                  <a:lnTo>
                    <a:pt x="217" y="381"/>
                  </a:lnTo>
                  <a:lnTo>
                    <a:pt x="215" y="381"/>
                  </a:lnTo>
                  <a:lnTo>
                    <a:pt x="214" y="380"/>
                  </a:lnTo>
                  <a:lnTo>
                    <a:pt x="214" y="380"/>
                  </a:lnTo>
                  <a:lnTo>
                    <a:pt x="213" y="380"/>
                  </a:lnTo>
                  <a:lnTo>
                    <a:pt x="212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09" y="379"/>
                  </a:lnTo>
                  <a:lnTo>
                    <a:pt x="208" y="380"/>
                  </a:lnTo>
                  <a:lnTo>
                    <a:pt x="207" y="381"/>
                  </a:lnTo>
                  <a:lnTo>
                    <a:pt x="203" y="385"/>
                  </a:lnTo>
                  <a:lnTo>
                    <a:pt x="200" y="387"/>
                  </a:lnTo>
                  <a:lnTo>
                    <a:pt x="198" y="389"/>
                  </a:lnTo>
                  <a:lnTo>
                    <a:pt x="198" y="389"/>
                  </a:lnTo>
                  <a:lnTo>
                    <a:pt x="197" y="390"/>
                  </a:lnTo>
                  <a:lnTo>
                    <a:pt x="196" y="391"/>
                  </a:lnTo>
                  <a:lnTo>
                    <a:pt x="195" y="393"/>
                  </a:lnTo>
                  <a:lnTo>
                    <a:pt x="194" y="393"/>
                  </a:lnTo>
                  <a:lnTo>
                    <a:pt x="193" y="394"/>
                  </a:lnTo>
                  <a:lnTo>
                    <a:pt x="192" y="395"/>
                  </a:lnTo>
                  <a:lnTo>
                    <a:pt x="191" y="395"/>
                  </a:lnTo>
                  <a:lnTo>
                    <a:pt x="190" y="396"/>
                  </a:lnTo>
                  <a:lnTo>
                    <a:pt x="188" y="396"/>
                  </a:lnTo>
                  <a:lnTo>
                    <a:pt x="186" y="397"/>
                  </a:lnTo>
                  <a:lnTo>
                    <a:pt x="185" y="397"/>
                  </a:lnTo>
                  <a:lnTo>
                    <a:pt x="183" y="397"/>
                  </a:lnTo>
                  <a:lnTo>
                    <a:pt x="182" y="397"/>
                  </a:lnTo>
                  <a:lnTo>
                    <a:pt x="181" y="397"/>
                  </a:lnTo>
                  <a:lnTo>
                    <a:pt x="179" y="397"/>
                  </a:lnTo>
                  <a:lnTo>
                    <a:pt x="178" y="397"/>
                  </a:lnTo>
                  <a:lnTo>
                    <a:pt x="176" y="397"/>
                  </a:lnTo>
                  <a:lnTo>
                    <a:pt x="175" y="397"/>
                  </a:lnTo>
                  <a:lnTo>
                    <a:pt x="174" y="398"/>
                  </a:lnTo>
                  <a:lnTo>
                    <a:pt x="173" y="398"/>
                  </a:lnTo>
                  <a:lnTo>
                    <a:pt x="172" y="399"/>
                  </a:lnTo>
                  <a:lnTo>
                    <a:pt x="171" y="400"/>
                  </a:lnTo>
                  <a:lnTo>
                    <a:pt x="169" y="401"/>
                  </a:lnTo>
                  <a:lnTo>
                    <a:pt x="167" y="402"/>
                  </a:lnTo>
                  <a:lnTo>
                    <a:pt x="167" y="403"/>
                  </a:lnTo>
                  <a:lnTo>
                    <a:pt x="165" y="404"/>
                  </a:lnTo>
                  <a:lnTo>
                    <a:pt x="164" y="405"/>
                  </a:lnTo>
                  <a:lnTo>
                    <a:pt x="162" y="406"/>
                  </a:lnTo>
                  <a:lnTo>
                    <a:pt x="160" y="408"/>
                  </a:lnTo>
                  <a:lnTo>
                    <a:pt x="160" y="409"/>
                  </a:lnTo>
                  <a:lnTo>
                    <a:pt x="159" y="409"/>
                  </a:lnTo>
                  <a:lnTo>
                    <a:pt x="159" y="410"/>
                  </a:lnTo>
                  <a:lnTo>
                    <a:pt x="159" y="410"/>
                  </a:lnTo>
                  <a:lnTo>
                    <a:pt x="158" y="411"/>
                  </a:lnTo>
                  <a:lnTo>
                    <a:pt x="158" y="412"/>
                  </a:lnTo>
                  <a:lnTo>
                    <a:pt x="158" y="415"/>
                  </a:lnTo>
                  <a:lnTo>
                    <a:pt x="158" y="415"/>
                  </a:lnTo>
                  <a:lnTo>
                    <a:pt x="157" y="416"/>
                  </a:lnTo>
                  <a:lnTo>
                    <a:pt x="157" y="418"/>
                  </a:lnTo>
                  <a:lnTo>
                    <a:pt x="157" y="418"/>
                  </a:lnTo>
                  <a:lnTo>
                    <a:pt x="157" y="419"/>
                  </a:lnTo>
                  <a:lnTo>
                    <a:pt x="157" y="420"/>
                  </a:lnTo>
                  <a:lnTo>
                    <a:pt x="157" y="421"/>
                  </a:lnTo>
                  <a:lnTo>
                    <a:pt x="157" y="422"/>
                  </a:lnTo>
                  <a:lnTo>
                    <a:pt x="156" y="423"/>
                  </a:lnTo>
                  <a:lnTo>
                    <a:pt x="156" y="423"/>
                  </a:lnTo>
                  <a:lnTo>
                    <a:pt x="156" y="424"/>
                  </a:lnTo>
                  <a:lnTo>
                    <a:pt x="156" y="424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3" y="425"/>
                  </a:lnTo>
                  <a:lnTo>
                    <a:pt x="153" y="426"/>
                  </a:lnTo>
                  <a:lnTo>
                    <a:pt x="152" y="426"/>
                  </a:lnTo>
                  <a:lnTo>
                    <a:pt x="152" y="426"/>
                  </a:lnTo>
                  <a:lnTo>
                    <a:pt x="152" y="427"/>
                  </a:lnTo>
                  <a:lnTo>
                    <a:pt x="151" y="429"/>
                  </a:lnTo>
                  <a:lnTo>
                    <a:pt x="150" y="430"/>
                  </a:lnTo>
                  <a:lnTo>
                    <a:pt x="150" y="431"/>
                  </a:lnTo>
                  <a:lnTo>
                    <a:pt x="149" y="433"/>
                  </a:lnTo>
                  <a:lnTo>
                    <a:pt x="148" y="433"/>
                  </a:lnTo>
                  <a:lnTo>
                    <a:pt x="148" y="434"/>
                  </a:lnTo>
                  <a:lnTo>
                    <a:pt x="147" y="434"/>
                  </a:lnTo>
                  <a:lnTo>
                    <a:pt x="147" y="434"/>
                  </a:lnTo>
                  <a:lnTo>
                    <a:pt x="146" y="434"/>
                  </a:lnTo>
                  <a:lnTo>
                    <a:pt x="145" y="434"/>
                  </a:lnTo>
                  <a:lnTo>
                    <a:pt x="144" y="434"/>
                  </a:lnTo>
                  <a:lnTo>
                    <a:pt x="143" y="434"/>
                  </a:lnTo>
                  <a:lnTo>
                    <a:pt x="142" y="435"/>
                  </a:lnTo>
                  <a:lnTo>
                    <a:pt x="141" y="435"/>
                  </a:lnTo>
                  <a:lnTo>
                    <a:pt x="140" y="435"/>
                  </a:lnTo>
                  <a:lnTo>
                    <a:pt x="139" y="436"/>
                  </a:lnTo>
                  <a:lnTo>
                    <a:pt x="138" y="436"/>
                  </a:lnTo>
                  <a:lnTo>
                    <a:pt x="137" y="437"/>
                  </a:lnTo>
                  <a:lnTo>
                    <a:pt x="136" y="438"/>
                  </a:lnTo>
                  <a:lnTo>
                    <a:pt x="135" y="439"/>
                  </a:lnTo>
                  <a:lnTo>
                    <a:pt x="134" y="440"/>
                  </a:lnTo>
                  <a:lnTo>
                    <a:pt x="133" y="440"/>
                  </a:lnTo>
                  <a:lnTo>
                    <a:pt x="133" y="441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2" y="443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0" y="445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5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3" y="447"/>
                  </a:lnTo>
                  <a:lnTo>
                    <a:pt x="123" y="447"/>
                  </a:lnTo>
                  <a:lnTo>
                    <a:pt x="123" y="446"/>
                  </a:lnTo>
                  <a:lnTo>
                    <a:pt x="122" y="446"/>
                  </a:lnTo>
                  <a:lnTo>
                    <a:pt x="122" y="446"/>
                  </a:lnTo>
                  <a:lnTo>
                    <a:pt x="122" y="445"/>
                  </a:lnTo>
                  <a:lnTo>
                    <a:pt x="121" y="443"/>
                  </a:lnTo>
                  <a:lnTo>
                    <a:pt x="121" y="442"/>
                  </a:lnTo>
                  <a:lnTo>
                    <a:pt x="120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7" y="436"/>
                  </a:lnTo>
                  <a:lnTo>
                    <a:pt x="116" y="437"/>
                  </a:lnTo>
                  <a:lnTo>
                    <a:pt x="115" y="437"/>
                  </a:lnTo>
                  <a:lnTo>
                    <a:pt x="115" y="437"/>
                  </a:lnTo>
                  <a:lnTo>
                    <a:pt x="114" y="438"/>
                  </a:lnTo>
                  <a:lnTo>
                    <a:pt x="114" y="438"/>
                  </a:lnTo>
                  <a:lnTo>
                    <a:pt x="112" y="440"/>
                  </a:lnTo>
                  <a:lnTo>
                    <a:pt x="112" y="440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0" y="441"/>
                  </a:lnTo>
                  <a:lnTo>
                    <a:pt x="110" y="441"/>
                  </a:lnTo>
                  <a:lnTo>
                    <a:pt x="109" y="441"/>
                  </a:lnTo>
                  <a:lnTo>
                    <a:pt x="109" y="440"/>
                  </a:lnTo>
                  <a:lnTo>
                    <a:pt x="109" y="440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8" y="437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5"/>
                  </a:lnTo>
                  <a:lnTo>
                    <a:pt x="108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5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0" y="435"/>
                  </a:lnTo>
                  <a:lnTo>
                    <a:pt x="100" y="434"/>
                  </a:lnTo>
                  <a:lnTo>
                    <a:pt x="99" y="433"/>
                  </a:lnTo>
                  <a:lnTo>
                    <a:pt x="99" y="432"/>
                  </a:lnTo>
                  <a:lnTo>
                    <a:pt x="98" y="431"/>
                  </a:lnTo>
                  <a:lnTo>
                    <a:pt x="96" y="429"/>
                  </a:lnTo>
                  <a:lnTo>
                    <a:pt x="95" y="428"/>
                  </a:lnTo>
                  <a:lnTo>
                    <a:pt x="95" y="427"/>
                  </a:lnTo>
                  <a:lnTo>
                    <a:pt x="94" y="426"/>
                  </a:lnTo>
                  <a:lnTo>
                    <a:pt x="93" y="426"/>
                  </a:lnTo>
                  <a:lnTo>
                    <a:pt x="92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0" y="424"/>
                  </a:lnTo>
                  <a:lnTo>
                    <a:pt x="86" y="424"/>
                  </a:lnTo>
                  <a:lnTo>
                    <a:pt x="85" y="424"/>
                  </a:lnTo>
                  <a:lnTo>
                    <a:pt x="85" y="423"/>
                  </a:lnTo>
                  <a:lnTo>
                    <a:pt x="84" y="423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4" y="419"/>
                  </a:lnTo>
                  <a:lnTo>
                    <a:pt x="84" y="418"/>
                  </a:lnTo>
                  <a:lnTo>
                    <a:pt x="84" y="418"/>
                  </a:lnTo>
                  <a:lnTo>
                    <a:pt x="85" y="418"/>
                  </a:lnTo>
                  <a:lnTo>
                    <a:pt x="86" y="417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8" y="417"/>
                  </a:lnTo>
                  <a:lnTo>
                    <a:pt x="89" y="417"/>
                  </a:lnTo>
                  <a:lnTo>
                    <a:pt x="90" y="417"/>
                  </a:lnTo>
                  <a:lnTo>
                    <a:pt x="93" y="418"/>
                  </a:lnTo>
                  <a:lnTo>
                    <a:pt x="93" y="418"/>
                  </a:lnTo>
                  <a:lnTo>
                    <a:pt x="94" y="418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5" y="417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4" y="415"/>
                  </a:lnTo>
                  <a:lnTo>
                    <a:pt x="94" y="413"/>
                  </a:lnTo>
                  <a:lnTo>
                    <a:pt x="94" y="412"/>
                  </a:lnTo>
                  <a:lnTo>
                    <a:pt x="94" y="411"/>
                  </a:lnTo>
                  <a:lnTo>
                    <a:pt x="94" y="411"/>
                  </a:lnTo>
                  <a:lnTo>
                    <a:pt x="94" y="410"/>
                  </a:lnTo>
                  <a:lnTo>
                    <a:pt x="95" y="409"/>
                  </a:lnTo>
                  <a:lnTo>
                    <a:pt x="95" y="409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6" y="407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6" y="405"/>
                  </a:lnTo>
                  <a:lnTo>
                    <a:pt x="95" y="404"/>
                  </a:lnTo>
                  <a:lnTo>
                    <a:pt x="95" y="401"/>
                  </a:lnTo>
                  <a:lnTo>
                    <a:pt x="94" y="400"/>
                  </a:lnTo>
                  <a:lnTo>
                    <a:pt x="94" y="398"/>
                  </a:lnTo>
                  <a:lnTo>
                    <a:pt x="92" y="394"/>
                  </a:lnTo>
                  <a:lnTo>
                    <a:pt x="91" y="392"/>
                  </a:lnTo>
                  <a:lnTo>
                    <a:pt x="90" y="390"/>
                  </a:lnTo>
                  <a:lnTo>
                    <a:pt x="89" y="389"/>
                  </a:lnTo>
                  <a:lnTo>
                    <a:pt x="87" y="386"/>
                  </a:lnTo>
                  <a:lnTo>
                    <a:pt x="87" y="386"/>
                  </a:lnTo>
                  <a:lnTo>
                    <a:pt x="87" y="385"/>
                  </a:lnTo>
                  <a:lnTo>
                    <a:pt x="87" y="385"/>
                  </a:lnTo>
                  <a:lnTo>
                    <a:pt x="87" y="384"/>
                  </a:lnTo>
                  <a:lnTo>
                    <a:pt x="87" y="381"/>
                  </a:lnTo>
                  <a:lnTo>
                    <a:pt x="87" y="380"/>
                  </a:lnTo>
                  <a:lnTo>
                    <a:pt x="86" y="378"/>
                  </a:lnTo>
                  <a:lnTo>
                    <a:pt x="86" y="378"/>
                  </a:lnTo>
                  <a:lnTo>
                    <a:pt x="86" y="377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3" y="374"/>
                  </a:lnTo>
                  <a:lnTo>
                    <a:pt x="83" y="373"/>
                  </a:lnTo>
                  <a:lnTo>
                    <a:pt x="82" y="373"/>
                  </a:lnTo>
                  <a:lnTo>
                    <a:pt x="82" y="372"/>
                  </a:lnTo>
                  <a:lnTo>
                    <a:pt x="82" y="372"/>
                  </a:lnTo>
                  <a:lnTo>
                    <a:pt x="82" y="371"/>
                  </a:lnTo>
                  <a:lnTo>
                    <a:pt x="81" y="370"/>
                  </a:lnTo>
                  <a:lnTo>
                    <a:pt x="82" y="370"/>
                  </a:lnTo>
                  <a:lnTo>
                    <a:pt x="82" y="369"/>
                  </a:lnTo>
                  <a:lnTo>
                    <a:pt x="82" y="367"/>
                  </a:lnTo>
                  <a:lnTo>
                    <a:pt x="82" y="366"/>
                  </a:lnTo>
                  <a:lnTo>
                    <a:pt x="82" y="365"/>
                  </a:lnTo>
                  <a:lnTo>
                    <a:pt x="82" y="363"/>
                  </a:lnTo>
                  <a:lnTo>
                    <a:pt x="82" y="361"/>
                  </a:lnTo>
                  <a:lnTo>
                    <a:pt x="81" y="359"/>
                  </a:lnTo>
                  <a:lnTo>
                    <a:pt x="81" y="358"/>
                  </a:lnTo>
                  <a:lnTo>
                    <a:pt x="80" y="356"/>
                  </a:lnTo>
                  <a:lnTo>
                    <a:pt x="80" y="355"/>
                  </a:lnTo>
                  <a:lnTo>
                    <a:pt x="80" y="354"/>
                  </a:lnTo>
                  <a:lnTo>
                    <a:pt x="80" y="353"/>
                  </a:lnTo>
                  <a:lnTo>
                    <a:pt x="80" y="352"/>
                  </a:lnTo>
                  <a:lnTo>
                    <a:pt x="80" y="351"/>
                  </a:lnTo>
                  <a:lnTo>
                    <a:pt x="81" y="347"/>
                  </a:lnTo>
                  <a:lnTo>
                    <a:pt x="81" y="345"/>
                  </a:lnTo>
                  <a:lnTo>
                    <a:pt x="82" y="344"/>
                  </a:lnTo>
                  <a:lnTo>
                    <a:pt x="82" y="343"/>
                  </a:lnTo>
                  <a:lnTo>
                    <a:pt x="82" y="343"/>
                  </a:lnTo>
                  <a:lnTo>
                    <a:pt x="82" y="340"/>
                  </a:lnTo>
                  <a:lnTo>
                    <a:pt x="82" y="339"/>
                  </a:lnTo>
                  <a:lnTo>
                    <a:pt x="82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3" y="334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0"/>
                  </a:lnTo>
                  <a:lnTo>
                    <a:pt x="83" y="329"/>
                  </a:lnTo>
                  <a:lnTo>
                    <a:pt x="83" y="328"/>
                  </a:lnTo>
                  <a:lnTo>
                    <a:pt x="83" y="327"/>
                  </a:lnTo>
                  <a:lnTo>
                    <a:pt x="83" y="326"/>
                  </a:lnTo>
                  <a:lnTo>
                    <a:pt x="82" y="325"/>
                  </a:lnTo>
                  <a:lnTo>
                    <a:pt x="81" y="323"/>
                  </a:lnTo>
                  <a:lnTo>
                    <a:pt x="81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9" y="319"/>
                  </a:lnTo>
                  <a:lnTo>
                    <a:pt x="78" y="319"/>
                  </a:lnTo>
                  <a:lnTo>
                    <a:pt x="77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4" y="318"/>
                  </a:lnTo>
                  <a:lnTo>
                    <a:pt x="70" y="318"/>
                  </a:lnTo>
                  <a:lnTo>
                    <a:pt x="69" y="318"/>
                  </a:lnTo>
                  <a:lnTo>
                    <a:pt x="68" y="318"/>
                  </a:lnTo>
                  <a:lnTo>
                    <a:pt x="65" y="318"/>
                  </a:lnTo>
                  <a:lnTo>
                    <a:pt x="64" y="318"/>
                  </a:lnTo>
                  <a:lnTo>
                    <a:pt x="62" y="318"/>
                  </a:lnTo>
                  <a:lnTo>
                    <a:pt x="58" y="318"/>
                  </a:lnTo>
                  <a:lnTo>
                    <a:pt x="57" y="317"/>
                  </a:lnTo>
                  <a:lnTo>
                    <a:pt x="55" y="317"/>
                  </a:lnTo>
                  <a:lnTo>
                    <a:pt x="55" y="317"/>
                  </a:lnTo>
                  <a:lnTo>
                    <a:pt x="54" y="318"/>
                  </a:lnTo>
                  <a:lnTo>
                    <a:pt x="52" y="318"/>
                  </a:lnTo>
                  <a:lnTo>
                    <a:pt x="51" y="318"/>
                  </a:lnTo>
                  <a:lnTo>
                    <a:pt x="50" y="318"/>
                  </a:lnTo>
                  <a:lnTo>
                    <a:pt x="49" y="318"/>
                  </a:lnTo>
                  <a:lnTo>
                    <a:pt x="49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6" y="318"/>
                  </a:lnTo>
                  <a:lnTo>
                    <a:pt x="46" y="317"/>
                  </a:lnTo>
                  <a:lnTo>
                    <a:pt x="46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5"/>
                  </a:lnTo>
                  <a:lnTo>
                    <a:pt x="45" y="314"/>
                  </a:lnTo>
                  <a:lnTo>
                    <a:pt x="45" y="313"/>
                  </a:lnTo>
                  <a:lnTo>
                    <a:pt x="45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4" y="309"/>
                  </a:lnTo>
                  <a:lnTo>
                    <a:pt x="44" y="308"/>
                  </a:lnTo>
                  <a:lnTo>
                    <a:pt x="43" y="308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1" y="305"/>
                  </a:lnTo>
                  <a:lnTo>
                    <a:pt x="38" y="304"/>
                  </a:lnTo>
                  <a:lnTo>
                    <a:pt x="36" y="303"/>
                  </a:lnTo>
                  <a:lnTo>
                    <a:pt x="36" y="303"/>
                  </a:lnTo>
                  <a:lnTo>
                    <a:pt x="35" y="303"/>
                  </a:lnTo>
                  <a:lnTo>
                    <a:pt x="34" y="302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5" y="301"/>
                  </a:lnTo>
                  <a:lnTo>
                    <a:pt x="22" y="300"/>
                  </a:lnTo>
                  <a:lnTo>
                    <a:pt x="20" y="300"/>
                  </a:lnTo>
                  <a:lnTo>
                    <a:pt x="19" y="299"/>
                  </a:lnTo>
                  <a:lnTo>
                    <a:pt x="16" y="299"/>
                  </a:lnTo>
                  <a:lnTo>
                    <a:pt x="14" y="299"/>
                  </a:lnTo>
                  <a:lnTo>
                    <a:pt x="12" y="299"/>
                  </a:lnTo>
                  <a:lnTo>
                    <a:pt x="9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6" y="297"/>
                  </a:lnTo>
                  <a:lnTo>
                    <a:pt x="4" y="296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1" y="291"/>
                  </a:lnTo>
                  <a:lnTo>
                    <a:pt x="1" y="291"/>
                  </a:lnTo>
                  <a:lnTo>
                    <a:pt x="2" y="290"/>
                  </a:lnTo>
                  <a:lnTo>
                    <a:pt x="6" y="288"/>
                  </a:lnTo>
                  <a:lnTo>
                    <a:pt x="8" y="287"/>
                  </a:lnTo>
                  <a:lnTo>
                    <a:pt x="10" y="286"/>
                  </a:lnTo>
                  <a:lnTo>
                    <a:pt x="11" y="285"/>
                  </a:lnTo>
                  <a:lnTo>
                    <a:pt x="12" y="284"/>
                  </a:lnTo>
                  <a:lnTo>
                    <a:pt x="13" y="283"/>
                  </a:lnTo>
                  <a:lnTo>
                    <a:pt x="18" y="278"/>
                  </a:lnTo>
                  <a:lnTo>
                    <a:pt x="19" y="276"/>
                  </a:lnTo>
                  <a:lnTo>
                    <a:pt x="20" y="275"/>
                  </a:lnTo>
                  <a:lnTo>
                    <a:pt x="21" y="274"/>
                  </a:lnTo>
                  <a:lnTo>
                    <a:pt x="21" y="273"/>
                  </a:lnTo>
                  <a:lnTo>
                    <a:pt x="21" y="272"/>
                  </a:lnTo>
                  <a:lnTo>
                    <a:pt x="22" y="271"/>
                  </a:lnTo>
                  <a:lnTo>
                    <a:pt x="22" y="269"/>
                  </a:lnTo>
                  <a:lnTo>
                    <a:pt x="22" y="264"/>
                  </a:lnTo>
                  <a:lnTo>
                    <a:pt x="22" y="261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4" y="254"/>
                  </a:lnTo>
                  <a:lnTo>
                    <a:pt x="24" y="253"/>
                  </a:lnTo>
                  <a:lnTo>
                    <a:pt x="25" y="252"/>
                  </a:lnTo>
                  <a:lnTo>
                    <a:pt x="25" y="251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8" y="248"/>
                  </a:lnTo>
                  <a:lnTo>
                    <a:pt x="28" y="248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8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7" y="247"/>
                  </a:lnTo>
                  <a:lnTo>
                    <a:pt x="51" y="246"/>
                  </a:lnTo>
                  <a:lnTo>
                    <a:pt x="52" y="245"/>
                  </a:lnTo>
                  <a:lnTo>
                    <a:pt x="53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5" y="245"/>
                  </a:lnTo>
                  <a:lnTo>
                    <a:pt x="56" y="245"/>
                  </a:lnTo>
                  <a:lnTo>
                    <a:pt x="57" y="246"/>
                  </a:lnTo>
                  <a:lnTo>
                    <a:pt x="59" y="246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4" y="246"/>
                  </a:lnTo>
                  <a:lnTo>
                    <a:pt x="75" y="245"/>
                  </a:lnTo>
                  <a:lnTo>
                    <a:pt x="77" y="241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81" y="235"/>
                  </a:lnTo>
                  <a:lnTo>
                    <a:pt x="81" y="233"/>
                  </a:lnTo>
                  <a:lnTo>
                    <a:pt x="82" y="232"/>
                  </a:lnTo>
                  <a:lnTo>
                    <a:pt x="83" y="230"/>
                  </a:lnTo>
                  <a:lnTo>
                    <a:pt x="83" y="228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4" y="222"/>
                  </a:lnTo>
                  <a:lnTo>
                    <a:pt x="85" y="221"/>
                  </a:lnTo>
                  <a:lnTo>
                    <a:pt x="87" y="216"/>
                  </a:lnTo>
                  <a:lnTo>
                    <a:pt x="87" y="215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Freeform 55">
              <a:extLst>
                <a:ext uri="{FF2B5EF4-FFF2-40B4-BE49-F238E27FC236}">
                  <a16:creationId xmlns:a16="http://schemas.microsoft.com/office/drawing/2014/main" id="{022E9A53-72B3-1826-BF41-CD5BB3C12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" y="2866"/>
              <a:ext cx="343" cy="215"/>
            </a:xfrm>
            <a:custGeom>
              <a:avLst/>
              <a:gdLst>
                <a:gd name="T0" fmla="*/ 4 w 343"/>
                <a:gd name="T1" fmla="*/ 211 h 215"/>
                <a:gd name="T2" fmla="*/ 8 w 343"/>
                <a:gd name="T3" fmla="*/ 210 h 215"/>
                <a:gd name="T4" fmla="*/ 16 w 343"/>
                <a:gd name="T5" fmla="*/ 213 h 215"/>
                <a:gd name="T6" fmla="*/ 21 w 343"/>
                <a:gd name="T7" fmla="*/ 214 h 215"/>
                <a:gd name="T8" fmla="*/ 24 w 343"/>
                <a:gd name="T9" fmla="*/ 211 h 215"/>
                <a:gd name="T10" fmla="*/ 29 w 343"/>
                <a:gd name="T11" fmla="*/ 202 h 215"/>
                <a:gd name="T12" fmla="*/ 38 w 343"/>
                <a:gd name="T13" fmla="*/ 195 h 215"/>
                <a:gd name="T14" fmla="*/ 42 w 343"/>
                <a:gd name="T15" fmla="*/ 186 h 215"/>
                <a:gd name="T16" fmla="*/ 45 w 343"/>
                <a:gd name="T17" fmla="*/ 186 h 215"/>
                <a:gd name="T18" fmla="*/ 50 w 343"/>
                <a:gd name="T19" fmla="*/ 191 h 215"/>
                <a:gd name="T20" fmla="*/ 58 w 343"/>
                <a:gd name="T21" fmla="*/ 201 h 215"/>
                <a:gd name="T22" fmla="*/ 66 w 343"/>
                <a:gd name="T23" fmla="*/ 203 h 215"/>
                <a:gd name="T24" fmla="*/ 70 w 343"/>
                <a:gd name="T25" fmla="*/ 201 h 215"/>
                <a:gd name="T26" fmla="*/ 83 w 343"/>
                <a:gd name="T27" fmla="*/ 188 h 215"/>
                <a:gd name="T28" fmla="*/ 85 w 343"/>
                <a:gd name="T29" fmla="*/ 181 h 215"/>
                <a:gd name="T30" fmla="*/ 89 w 343"/>
                <a:gd name="T31" fmla="*/ 174 h 215"/>
                <a:gd name="T32" fmla="*/ 90 w 343"/>
                <a:gd name="T33" fmla="*/ 166 h 215"/>
                <a:gd name="T34" fmla="*/ 90 w 343"/>
                <a:gd name="T35" fmla="*/ 159 h 215"/>
                <a:gd name="T36" fmla="*/ 95 w 343"/>
                <a:gd name="T37" fmla="*/ 156 h 215"/>
                <a:gd name="T38" fmla="*/ 109 w 343"/>
                <a:gd name="T39" fmla="*/ 155 h 215"/>
                <a:gd name="T40" fmla="*/ 118 w 343"/>
                <a:gd name="T41" fmla="*/ 151 h 215"/>
                <a:gd name="T42" fmla="*/ 126 w 343"/>
                <a:gd name="T43" fmla="*/ 148 h 215"/>
                <a:gd name="T44" fmla="*/ 135 w 343"/>
                <a:gd name="T45" fmla="*/ 151 h 215"/>
                <a:gd name="T46" fmla="*/ 139 w 343"/>
                <a:gd name="T47" fmla="*/ 152 h 215"/>
                <a:gd name="T48" fmla="*/ 147 w 343"/>
                <a:gd name="T49" fmla="*/ 148 h 215"/>
                <a:gd name="T50" fmla="*/ 163 w 343"/>
                <a:gd name="T51" fmla="*/ 147 h 215"/>
                <a:gd name="T52" fmla="*/ 174 w 343"/>
                <a:gd name="T53" fmla="*/ 149 h 215"/>
                <a:gd name="T54" fmla="*/ 183 w 343"/>
                <a:gd name="T55" fmla="*/ 148 h 215"/>
                <a:gd name="T56" fmla="*/ 192 w 343"/>
                <a:gd name="T57" fmla="*/ 143 h 215"/>
                <a:gd name="T58" fmla="*/ 195 w 343"/>
                <a:gd name="T59" fmla="*/ 138 h 215"/>
                <a:gd name="T60" fmla="*/ 195 w 343"/>
                <a:gd name="T61" fmla="*/ 128 h 215"/>
                <a:gd name="T62" fmla="*/ 198 w 343"/>
                <a:gd name="T63" fmla="*/ 123 h 215"/>
                <a:gd name="T64" fmla="*/ 205 w 343"/>
                <a:gd name="T65" fmla="*/ 120 h 215"/>
                <a:gd name="T66" fmla="*/ 215 w 343"/>
                <a:gd name="T67" fmla="*/ 113 h 215"/>
                <a:gd name="T68" fmla="*/ 224 w 343"/>
                <a:gd name="T69" fmla="*/ 110 h 215"/>
                <a:gd name="T70" fmla="*/ 235 w 343"/>
                <a:gd name="T71" fmla="*/ 113 h 215"/>
                <a:gd name="T72" fmla="*/ 247 w 343"/>
                <a:gd name="T73" fmla="*/ 111 h 215"/>
                <a:gd name="T74" fmla="*/ 265 w 343"/>
                <a:gd name="T75" fmla="*/ 101 h 215"/>
                <a:gd name="T76" fmla="*/ 286 w 343"/>
                <a:gd name="T77" fmla="*/ 92 h 215"/>
                <a:gd name="T78" fmla="*/ 294 w 343"/>
                <a:gd name="T79" fmla="*/ 85 h 215"/>
                <a:gd name="T80" fmla="*/ 300 w 343"/>
                <a:gd name="T81" fmla="*/ 78 h 215"/>
                <a:gd name="T82" fmla="*/ 308 w 343"/>
                <a:gd name="T83" fmla="*/ 76 h 215"/>
                <a:gd name="T84" fmla="*/ 318 w 343"/>
                <a:gd name="T85" fmla="*/ 77 h 215"/>
                <a:gd name="T86" fmla="*/ 331 w 343"/>
                <a:gd name="T87" fmla="*/ 73 h 215"/>
                <a:gd name="T88" fmla="*/ 339 w 343"/>
                <a:gd name="T89" fmla="*/ 70 h 215"/>
                <a:gd name="T90" fmla="*/ 343 w 343"/>
                <a:gd name="T91" fmla="*/ 61 h 215"/>
                <a:gd name="T92" fmla="*/ 342 w 343"/>
                <a:gd name="T93" fmla="*/ 57 h 215"/>
                <a:gd name="T94" fmla="*/ 336 w 343"/>
                <a:gd name="T95" fmla="*/ 53 h 215"/>
                <a:gd name="T96" fmla="*/ 322 w 343"/>
                <a:gd name="T97" fmla="*/ 47 h 215"/>
                <a:gd name="T98" fmla="*/ 319 w 343"/>
                <a:gd name="T99" fmla="*/ 42 h 215"/>
                <a:gd name="T100" fmla="*/ 321 w 343"/>
                <a:gd name="T101" fmla="*/ 37 h 215"/>
                <a:gd name="T102" fmla="*/ 320 w 343"/>
                <a:gd name="T103" fmla="*/ 35 h 215"/>
                <a:gd name="T104" fmla="*/ 312 w 343"/>
                <a:gd name="T105" fmla="*/ 34 h 215"/>
                <a:gd name="T106" fmla="*/ 306 w 343"/>
                <a:gd name="T107" fmla="*/ 31 h 215"/>
                <a:gd name="T108" fmla="*/ 305 w 343"/>
                <a:gd name="T109" fmla="*/ 24 h 215"/>
                <a:gd name="T110" fmla="*/ 308 w 343"/>
                <a:gd name="T111" fmla="*/ 17 h 215"/>
                <a:gd name="T112" fmla="*/ 311 w 343"/>
                <a:gd name="T113" fmla="*/ 8 h 215"/>
                <a:gd name="T114" fmla="*/ 317 w 343"/>
                <a:gd name="T115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43" h="215">
                  <a:moveTo>
                    <a:pt x="0" y="215"/>
                  </a:moveTo>
                  <a:lnTo>
                    <a:pt x="1" y="215"/>
                  </a:lnTo>
                  <a:lnTo>
                    <a:pt x="1" y="214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12"/>
                  </a:lnTo>
                  <a:lnTo>
                    <a:pt x="4" y="211"/>
                  </a:lnTo>
                  <a:lnTo>
                    <a:pt x="4" y="211"/>
                  </a:lnTo>
                  <a:lnTo>
                    <a:pt x="5" y="210"/>
                  </a:lnTo>
                  <a:lnTo>
                    <a:pt x="6" y="210"/>
                  </a:lnTo>
                  <a:lnTo>
                    <a:pt x="6" y="210"/>
                  </a:lnTo>
                  <a:lnTo>
                    <a:pt x="7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9" y="210"/>
                  </a:lnTo>
                  <a:lnTo>
                    <a:pt x="11" y="210"/>
                  </a:lnTo>
                  <a:lnTo>
                    <a:pt x="12" y="211"/>
                  </a:lnTo>
                  <a:lnTo>
                    <a:pt x="12" y="211"/>
                  </a:lnTo>
                  <a:lnTo>
                    <a:pt x="13" y="211"/>
                  </a:lnTo>
                  <a:lnTo>
                    <a:pt x="15" y="213"/>
                  </a:lnTo>
                  <a:lnTo>
                    <a:pt x="16" y="213"/>
                  </a:lnTo>
                  <a:lnTo>
                    <a:pt x="17" y="214"/>
                  </a:lnTo>
                  <a:lnTo>
                    <a:pt x="17" y="214"/>
                  </a:lnTo>
                  <a:lnTo>
                    <a:pt x="18" y="214"/>
                  </a:lnTo>
                  <a:lnTo>
                    <a:pt x="19" y="214"/>
                  </a:lnTo>
                  <a:lnTo>
                    <a:pt x="20" y="214"/>
                  </a:lnTo>
                  <a:lnTo>
                    <a:pt x="20" y="214"/>
                  </a:lnTo>
                  <a:lnTo>
                    <a:pt x="21" y="214"/>
                  </a:lnTo>
                  <a:lnTo>
                    <a:pt x="22" y="214"/>
                  </a:lnTo>
                  <a:lnTo>
                    <a:pt x="22" y="213"/>
                  </a:lnTo>
                  <a:lnTo>
                    <a:pt x="23" y="213"/>
                  </a:lnTo>
                  <a:lnTo>
                    <a:pt x="23" y="213"/>
                  </a:lnTo>
                  <a:lnTo>
                    <a:pt x="24" y="212"/>
                  </a:lnTo>
                  <a:lnTo>
                    <a:pt x="24" y="212"/>
                  </a:lnTo>
                  <a:lnTo>
                    <a:pt x="24" y="211"/>
                  </a:lnTo>
                  <a:lnTo>
                    <a:pt x="25" y="210"/>
                  </a:lnTo>
                  <a:lnTo>
                    <a:pt x="26" y="207"/>
                  </a:lnTo>
                  <a:lnTo>
                    <a:pt x="26" y="206"/>
                  </a:lnTo>
                  <a:lnTo>
                    <a:pt x="27" y="205"/>
                  </a:lnTo>
                  <a:lnTo>
                    <a:pt x="28" y="204"/>
                  </a:lnTo>
                  <a:lnTo>
                    <a:pt x="28" y="204"/>
                  </a:lnTo>
                  <a:lnTo>
                    <a:pt x="29" y="202"/>
                  </a:lnTo>
                  <a:lnTo>
                    <a:pt x="31" y="201"/>
                  </a:lnTo>
                  <a:lnTo>
                    <a:pt x="32" y="200"/>
                  </a:lnTo>
                  <a:lnTo>
                    <a:pt x="35" y="198"/>
                  </a:lnTo>
                  <a:lnTo>
                    <a:pt x="36" y="197"/>
                  </a:lnTo>
                  <a:lnTo>
                    <a:pt x="37" y="196"/>
                  </a:lnTo>
                  <a:lnTo>
                    <a:pt x="38" y="196"/>
                  </a:lnTo>
                  <a:lnTo>
                    <a:pt x="38" y="195"/>
                  </a:lnTo>
                  <a:lnTo>
                    <a:pt x="39" y="195"/>
                  </a:lnTo>
                  <a:lnTo>
                    <a:pt x="40" y="193"/>
                  </a:lnTo>
                  <a:lnTo>
                    <a:pt x="40" y="192"/>
                  </a:lnTo>
                  <a:lnTo>
                    <a:pt x="41" y="191"/>
                  </a:lnTo>
                  <a:lnTo>
                    <a:pt x="41" y="188"/>
                  </a:lnTo>
                  <a:lnTo>
                    <a:pt x="42" y="187"/>
                  </a:lnTo>
                  <a:lnTo>
                    <a:pt x="42" y="186"/>
                  </a:lnTo>
                  <a:lnTo>
                    <a:pt x="42" y="186"/>
                  </a:lnTo>
                  <a:lnTo>
                    <a:pt x="42" y="186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4" y="185"/>
                  </a:lnTo>
                  <a:lnTo>
                    <a:pt x="45" y="186"/>
                  </a:lnTo>
                  <a:lnTo>
                    <a:pt x="45" y="186"/>
                  </a:lnTo>
                  <a:lnTo>
                    <a:pt x="46" y="186"/>
                  </a:lnTo>
                  <a:lnTo>
                    <a:pt x="46" y="186"/>
                  </a:lnTo>
                  <a:lnTo>
                    <a:pt x="46" y="187"/>
                  </a:lnTo>
                  <a:lnTo>
                    <a:pt x="48" y="188"/>
                  </a:lnTo>
                  <a:lnTo>
                    <a:pt x="49" y="190"/>
                  </a:lnTo>
                  <a:lnTo>
                    <a:pt x="50" y="191"/>
                  </a:lnTo>
                  <a:lnTo>
                    <a:pt x="52" y="195"/>
                  </a:lnTo>
                  <a:lnTo>
                    <a:pt x="53" y="196"/>
                  </a:lnTo>
                  <a:lnTo>
                    <a:pt x="54" y="197"/>
                  </a:lnTo>
                  <a:lnTo>
                    <a:pt x="55" y="198"/>
                  </a:lnTo>
                  <a:lnTo>
                    <a:pt x="55" y="199"/>
                  </a:lnTo>
                  <a:lnTo>
                    <a:pt x="57" y="200"/>
                  </a:lnTo>
                  <a:lnTo>
                    <a:pt x="58" y="201"/>
                  </a:lnTo>
                  <a:lnTo>
                    <a:pt x="59" y="201"/>
                  </a:lnTo>
                  <a:lnTo>
                    <a:pt x="60" y="201"/>
                  </a:lnTo>
                  <a:lnTo>
                    <a:pt x="62" y="202"/>
                  </a:lnTo>
                  <a:lnTo>
                    <a:pt x="64" y="203"/>
                  </a:lnTo>
                  <a:lnTo>
                    <a:pt x="65" y="203"/>
                  </a:lnTo>
                  <a:lnTo>
                    <a:pt x="65" y="203"/>
                  </a:lnTo>
                  <a:lnTo>
                    <a:pt x="66" y="203"/>
                  </a:lnTo>
                  <a:lnTo>
                    <a:pt x="66" y="203"/>
                  </a:lnTo>
                  <a:lnTo>
                    <a:pt x="67" y="203"/>
                  </a:lnTo>
                  <a:lnTo>
                    <a:pt x="67" y="203"/>
                  </a:lnTo>
                  <a:lnTo>
                    <a:pt x="68" y="203"/>
                  </a:lnTo>
                  <a:lnTo>
                    <a:pt x="69" y="202"/>
                  </a:lnTo>
                  <a:lnTo>
                    <a:pt x="69" y="202"/>
                  </a:lnTo>
                  <a:lnTo>
                    <a:pt x="70" y="201"/>
                  </a:lnTo>
                  <a:lnTo>
                    <a:pt x="71" y="201"/>
                  </a:lnTo>
                  <a:lnTo>
                    <a:pt x="72" y="199"/>
                  </a:lnTo>
                  <a:lnTo>
                    <a:pt x="76" y="196"/>
                  </a:lnTo>
                  <a:lnTo>
                    <a:pt x="79" y="193"/>
                  </a:lnTo>
                  <a:lnTo>
                    <a:pt x="82" y="190"/>
                  </a:lnTo>
                  <a:lnTo>
                    <a:pt x="83" y="189"/>
                  </a:lnTo>
                  <a:lnTo>
                    <a:pt x="83" y="188"/>
                  </a:lnTo>
                  <a:lnTo>
                    <a:pt x="84" y="188"/>
                  </a:lnTo>
                  <a:lnTo>
                    <a:pt x="84" y="187"/>
                  </a:lnTo>
                  <a:lnTo>
                    <a:pt x="84" y="186"/>
                  </a:lnTo>
                  <a:lnTo>
                    <a:pt x="84" y="185"/>
                  </a:lnTo>
                  <a:lnTo>
                    <a:pt x="84" y="183"/>
                  </a:lnTo>
                  <a:lnTo>
                    <a:pt x="84" y="182"/>
                  </a:lnTo>
                  <a:lnTo>
                    <a:pt x="85" y="181"/>
                  </a:lnTo>
                  <a:lnTo>
                    <a:pt x="85" y="181"/>
                  </a:lnTo>
                  <a:lnTo>
                    <a:pt x="85" y="180"/>
                  </a:lnTo>
                  <a:lnTo>
                    <a:pt x="86" y="179"/>
                  </a:lnTo>
                  <a:lnTo>
                    <a:pt x="87" y="177"/>
                  </a:lnTo>
                  <a:lnTo>
                    <a:pt x="88" y="175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3"/>
                  </a:lnTo>
                  <a:lnTo>
                    <a:pt x="89" y="172"/>
                  </a:lnTo>
                  <a:lnTo>
                    <a:pt x="90" y="171"/>
                  </a:lnTo>
                  <a:lnTo>
                    <a:pt x="90" y="170"/>
                  </a:lnTo>
                  <a:lnTo>
                    <a:pt x="90" y="170"/>
                  </a:lnTo>
                  <a:lnTo>
                    <a:pt x="90" y="168"/>
                  </a:lnTo>
                  <a:lnTo>
                    <a:pt x="90" y="166"/>
                  </a:lnTo>
                  <a:lnTo>
                    <a:pt x="89" y="163"/>
                  </a:lnTo>
                  <a:lnTo>
                    <a:pt x="89" y="162"/>
                  </a:lnTo>
                  <a:lnTo>
                    <a:pt x="89" y="161"/>
                  </a:lnTo>
                  <a:lnTo>
                    <a:pt x="89" y="160"/>
                  </a:lnTo>
                  <a:lnTo>
                    <a:pt x="89" y="160"/>
                  </a:lnTo>
                  <a:lnTo>
                    <a:pt x="90" y="159"/>
                  </a:lnTo>
                  <a:lnTo>
                    <a:pt x="90" y="159"/>
                  </a:lnTo>
                  <a:lnTo>
                    <a:pt x="91" y="158"/>
                  </a:lnTo>
                  <a:lnTo>
                    <a:pt x="91" y="157"/>
                  </a:lnTo>
                  <a:lnTo>
                    <a:pt x="92" y="157"/>
                  </a:lnTo>
                  <a:lnTo>
                    <a:pt x="92" y="157"/>
                  </a:lnTo>
                  <a:lnTo>
                    <a:pt x="93" y="156"/>
                  </a:lnTo>
                  <a:lnTo>
                    <a:pt x="94" y="156"/>
                  </a:lnTo>
                  <a:lnTo>
                    <a:pt x="95" y="156"/>
                  </a:lnTo>
                  <a:lnTo>
                    <a:pt x="96" y="155"/>
                  </a:lnTo>
                  <a:lnTo>
                    <a:pt x="97" y="155"/>
                  </a:lnTo>
                  <a:lnTo>
                    <a:pt x="98" y="155"/>
                  </a:lnTo>
                  <a:lnTo>
                    <a:pt x="100" y="155"/>
                  </a:lnTo>
                  <a:lnTo>
                    <a:pt x="105" y="155"/>
                  </a:lnTo>
                  <a:lnTo>
                    <a:pt x="107" y="155"/>
                  </a:lnTo>
                  <a:lnTo>
                    <a:pt x="109" y="155"/>
                  </a:lnTo>
                  <a:lnTo>
                    <a:pt x="110" y="154"/>
                  </a:lnTo>
                  <a:lnTo>
                    <a:pt x="112" y="154"/>
                  </a:lnTo>
                  <a:lnTo>
                    <a:pt x="113" y="153"/>
                  </a:lnTo>
                  <a:lnTo>
                    <a:pt x="114" y="153"/>
                  </a:lnTo>
                  <a:lnTo>
                    <a:pt x="115" y="152"/>
                  </a:lnTo>
                  <a:lnTo>
                    <a:pt x="117" y="151"/>
                  </a:lnTo>
                  <a:lnTo>
                    <a:pt x="118" y="151"/>
                  </a:lnTo>
                  <a:lnTo>
                    <a:pt x="119" y="150"/>
                  </a:lnTo>
                  <a:lnTo>
                    <a:pt x="121" y="149"/>
                  </a:lnTo>
                  <a:lnTo>
                    <a:pt x="122" y="149"/>
                  </a:lnTo>
                  <a:lnTo>
                    <a:pt x="123" y="148"/>
                  </a:lnTo>
                  <a:lnTo>
                    <a:pt x="124" y="148"/>
                  </a:lnTo>
                  <a:lnTo>
                    <a:pt x="125" y="148"/>
                  </a:lnTo>
                  <a:lnTo>
                    <a:pt x="126" y="148"/>
                  </a:lnTo>
                  <a:lnTo>
                    <a:pt x="127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9" y="149"/>
                  </a:lnTo>
                  <a:lnTo>
                    <a:pt x="130" y="149"/>
                  </a:lnTo>
                  <a:lnTo>
                    <a:pt x="133" y="151"/>
                  </a:lnTo>
                  <a:lnTo>
                    <a:pt x="135" y="151"/>
                  </a:lnTo>
                  <a:lnTo>
                    <a:pt x="136" y="151"/>
                  </a:lnTo>
                  <a:lnTo>
                    <a:pt x="136" y="152"/>
                  </a:lnTo>
                  <a:lnTo>
                    <a:pt x="137" y="152"/>
                  </a:lnTo>
                  <a:lnTo>
                    <a:pt x="138" y="152"/>
                  </a:lnTo>
                  <a:lnTo>
                    <a:pt x="138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40" y="151"/>
                  </a:lnTo>
                  <a:lnTo>
                    <a:pt x="141" y="151"/>
                  </a:lnTo>
                  <a:lnTo>
                    <a:pt x="142" y="150"/>
                  </a:lnTo>
                  <a:lnTo>
                    <a:pt x="144" y="149"/>
                  </a:lnTo>
                  <a:lnTo>
                    <a:pt x="145" y="149"/>
                  </a:lnTo>
                  <a:lnTo>
                    <a:pt x="146" y="148"/>
                  </a:lnTo>
                  <a:lnTo>
                    <a:pt x="147" y="148"/>
                  </a:lnTo>
                  <a:lnTo>
                    <a:pt x="151" y="148"/>
                  </a:lnTo>
                  <a:lnTo>
                    <a:pt x="155" y="147"/>
                  </a:lnTo>
                  <a:lnTo>
                    <a:pt x="156" y="147"/>
                  </a:lnTo>
                  <a:lnTo>
                    <a:pt x="157" y="147"/>
                  </a:lnTo>
                  <a:lnTo>
                    <a:pt x="160" y="147"/>
                  </a:lnTo>
                  <a:lnTo>
                    <a:pt x="161" y="147"/>
                  </a:lnTo>
                  <a:lnTo>
                    <a:pt x="163" y="147"/>
                  </a:lnTo>
                  <a:lnTo>
                    <a:pt x="165" y="147"/>
                  </a:lnTo>
                  <a:lnTo>
                    <a:pt x="167" y="147"/>
                  </a:lnTo>
                  <a:lnTo>
                    <a:pt x="168" y="147"/>
                  </a:lnTo>
                  <a:lnTo>
                    <a:pt x="169" y="148"/>
                  </a:lnTo>
                  <a:lnTo>
                    <a:pt x="172" y="149"/>
                  </a:lnTo>
                  <a:lnTo>
                    <a:pt x="173" y="149"/>
                  </a:lnTo>
                  <a:lnTo>
                    <a:pt x="174" y="149"/>
                  </a:lnTo>
                  <a:lnTo>
                    <a:pt x="176" y="150"/>
                  </a:lnTo>
                  <a:lnTo>
                    <a:pt x="177" y="150"/>
                  </a:lnTo>
                  <a:lnTo>
                    <a:pt x="179" y="150"/>
                  </a:lnTo>
                  <a:lnTo>
                    <a:pt x="180" y="149"/>
                  </a:lnTo>
                  <a:lnTo>
                    <a:pt x="181" y="149"/>
                  </a:lnTo>
                  <a:lnTo>
                    <a:pt x="182" y="149"/>
                  </a:lnTo>
                  <a:lnTo>
                    <a:pt x="183" y="148"/>
                  </a:lnTo>
                  <a:lnTo>
                    <a:pt x="184" y="147"/>
                  </a:lnTo>
                  <a:lnTo>
                    <a:pt x="186" y="146"/>
                  </a:lnTo>
                  <a:lnTo>
                    <a:pt x="187" y="145"/>
                  </a:lnTo>
                  <a:lnTo>
                    <a:pt x="188" y="145"/>
                  </a:lnTo>
                  <a:lnTo>
                    <a:pt x="191" y="144"/>
                  </a:lnTo>
                  <a:lnTo>
                    <a:pt x="191" y="143"/>
                  </a:lnTo>
                  <a:lnTo>
                    <a:pt x="192" y="143"/>
                  </a:lnTo>
                  <a:lnTo>
                    <a:pt x="192" y="143"/>
                  </a:lnTo>
                  <a:lnTo>
                    <a:pt x="193" y="142"/>
                  </a:lnTo>
                  <a:lnTo>
                    <a:pt x="194" y="142"/>
                  </a:lnTo>
                  <a:lnTo>
                    <a:pt x="194" y="141"/>
                  </a:lnTo>
                  <a:lnTo>
                    <a:pt x="195" y="140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6"/>
                  </a:lnTo>
                  <a:lnTo>
                    <a:pt x="195" y="133"/>
                  </a:lnTo>
                  <a:lnTo>
                    <a:pt x="195" y="132"/>
                  </a:lnTo>
                  <a:lnTo>
                    <a:pt x="195" y="130"/>
                  </a:lnTo>
                  <a:lnTo>
                    <a:pt x="195" y="129"/>
                  </a:lnTo>
                  <a:lnTo>
                    <a:pt x="195" y="128"/>
                  </a:lnTo>
                  <a:lnTo>
                    <a:pt x="196" y="127"/>
                  </a:lnTo>
                  <a:lnTo>
                    <a:pt x="196" y="126"/>
                  </a:lnTo>
                  <a:lnTo>
                    <a:pt x="196" y="125"/>
                  </a:lnTo>
                  <a:lnTo>
                    <a:pt x="197" y="124"/>
                  </a:lnTo>
                  <a:lnTo>
                    <a:pt x="197" y="124"/>
                  </a:lnTo>
                  <a:lnTo>
                    <a:pt x="197" y="123"/>
                  </a:lnTo>
                  <a:lnTo>
                    <a:pt x="198" y="123"/>
                  </a:lnTo>
                  <a:lnTo>
                    <a:pt x="198" y="122"/>
                  </a:lnTo>
                  <a:lnTo>
                    <a:pt x="199" y="122"/>
                  </a:lnTo>
                  <a:lnTo>
                    <a:pt x="199" y="122"/>
                  </a:lnTo>
                  <a:lnTo>
                    <a:pt x="200" y="121"/>
                  </a:lnTo>
                  <a:lnTo>
                    <a:pt x="201" y="121"/>
                  </a:lnTo>
                  <a:lnTo>
                    <a:pt x="204" y="120"/>
                  </a:lnTo>
                  <a:lnTo>
                    <a:pt x="205" y="120"/>
                  </a:lnTo>
                  <a:lnTo>
                    <a:pt x="207" y="119"/>
                  </a:lnTo>
                  <a:lnTo>
                    <a:pt x="208" y="119"/>
                  </a:lnTo>
                  <a:lnTo>
                    <a:pt x="210" y="118"/>
                  </a:lnTo>
                  <a:lnTo>
                    <a:pt x="211" y="117"/>
                  </a:lnTo>
                  <a:lnTo>
                    <a:pt x="212" y="116"/>
                  </a:lnTo>
                  <a:lnTo>
                    <a:pt x="214" y="114"/>
                  </a:lnTo>
                  <a:lnTo>
                    <a:pt x="215" y="113"/>
                  </a:lnTo>
                  <a:lnTo>
                    <a:pt x="216" y="113"/>
                  </a:lnTo>
                  <a:lnTo>
                    <a:pt x="218" y="112"/>
                  </a:lnTo>
                  <a:lnTo>
                    <a:pt x="219" y="111"/>
                  </a:lnTo>
                  <a:lnTo>
                    <a:pt x="221" y="110"/>
                  </a:lnTo>
                  <a:lnTo>
                    <a:pt x="222" y="110"/>
                  </a:lnTo>
                  <a:lnTo>
                    <a:pt x="223" y="110"/>
                  </a:lnTo>
                  <a:lnTo>
                    <a:pt x="224" y="110"/>
                  </a:lnTo>
                  <a:lnTo>
                    <a:pt x="225" y="110"/>
                  </a:lnTo>
                  <a:lnTo>
                    <a:pt x="226" y="110"/>
                  </a:lnTo>
                  <a:lnTo>
                    <a:pt x="227" y="110"/>
                  </a:lnTo>
                  <a:lnTo>
                    <a:pt x="229" y="111"/>
                  </a:lnTo>
                  <a:lnTo>
                    <a:pt x="232" y="112"/>
                  </a:lnTo>
                  <a:lnTo>
                    <a:pt x="234" y="113"/>
                  </a:lnTo>
                  <a:lnTo>
                    <a:pt x="235" y="113"/>
                  </a:lnTo>
                  <a:lnTo>
                    <a:pt x="236" y="113"/>
                  </a:lnTo>
                  <a:lnTo>
                    <a:pt x="237" y="113"/>
                  </a:lnTo>
                  <a:lnTo>
                    <a:pt x="240" y="112"/>
                  </a:lnTo>
                  <a:lnTo>
                    <a:pt x="244" y="112"/>
                  </a:lnTo>
                  <a:lnTo>
                    <a:pt x="244" y="111"/>
                  </a:lnTo>
                  <a:lnTo>
                    <a:pt x="245" y="111"/>
                  </a:lnTo>
                  <a:lnTo>
                    <a:pt x="247" y="111"/>
                  </a:lnTo>
                  <a:lnTo>
                    <a:pt x="248" y="110"/>
                  </a:lnTo>
                  <a:lnTo>
                    <a:pt x="249" y="109"/>
                  </a:lnTo>
                  <a:lnTo>
                    <a:pt x="252" y="107"/>
                  </a:lnTo>
                  <a:lnTo>
                    <a:pt x="253" y="106"/>
                  </a:lnTo>
                  <a:lnTo>
                    <a:pt x="255" y="105"/>
                  </a:lnTo>
                  <a:lnTo>
                    <a:pt x="258" y="104"/>
                  </a:lnTo>
                  <a:lnTo>
                    <a:pt x="265" y="101"/>
                  </a:lnTo>
                  <a:lnTo>
                    <a:pt x="270" y="98"/>
                  </a:lnTo>
                  <a:lnTo>
                    <a:pt x="273" y="97"/>
                  </a:lnTo>
                  <a:lnTo>
                    <a:pt x="275" y="96"/>
                  </a:lnTo>
                  <a:lnTo>
                    <a:pt x="281" y="94"/>
                  </a:lnTo>
                  <a:lnTo>
                    <a:pt x="283" y="94"/>
                  </a:lnTo>
                  <a:lnTo>
                    <a:pt x="285" y="93"/>
                  </a:lnTo>
                  <a:lnTo>
                    <a:pt x="286" y="92"/>
                  </a:lnTo>
                  <a:lnTo>
                    <a:pt x="287" y="92"/>
                  </a:lnTo>
                  <a:lnTo>
                    <a:pt x="288" y="91"/>
                  </a:lnTo>
                  <a:lnTo>
                    <a:pt x="290" y="89"/>
                  </a:lnTo>
                  <a:lnTo>
                    <a:pt x="291" y="88"/>
                  </a:lnTo>
                  <a:lnTo>
                    <a:pt x="292" y="87"/>
                  </a:lnTo>
                  <a:lnTo>
                    <a:pt x="293" y="86"/>
                  </a:lnTo>
                  <a:lnTo>
                    <a:pt x="294" y="85"/>
                  </a:lnTo>
                  <a:lnTo>
                    <a:pt x="295" y="84"/>
                  </a:lnTo>
                  <a:lnTo>
                    <a:pt x="297" y="81"/>
                  </a:lnTo>
                  <a:lnTo>
                    <a:pt x="297" y="80"/>
                  </a:lnTo>
                  <a:lnTo>
                    <a:pt x="297" y="79"/>
                  </a:lnTo>
                  <a:lnTo>
                    <a:pt x="298" y="79"/>
                  </a:lnTo>
                  <a:lnTo>
                    <a:pt x="299" y="78"/>
                  </a:lnTo>
                  <a:lnTo>
                    <a:pt x="300" y="78"/>
                  </a:lnTo>
                  <a:lnTo>
                    <a:pt x="301" y="77"/>
                  </a:lnTo>
                  <a:lnTo>
                    <a:pt x="302" y="76"/>
                  </a:lnTo>
                  <a:lnTo>
                    <a:pt x="304" y="76"/>
                  </a:lnTo>
                  <a:lnTo>
                    <a:pt x="305" y="76"/>
                  </a:lnTo>
                  <a:lnTo>
                    <a:pt x="306" y="76"/>
                  </a:lnTo>
                  <a:lnTo>
                    <a:pt x="307" y="76"/>
                  </a:lnTo>
                  <a:lnTo>
                    <a:pt x="308" y="76"/>
                  </a:lnTo>
                  <a:lnTo>
                    <a:pt x="310" y="76"/>
                  </a:lnTo>
                  <a:lnTo>
                    <a:pt x="312" y="77"/>
                  </a:lnTo>
                  <a:lnTo>
                    <a:pt x="314" y="77"/>
                  </a:lnTo>
                  <a:lnTo>
                    <a:pt x="315" y="77"/>
                  </a:lnTo>
                  <a:lnTo>
                    <a:pt x="316" y="77"/>
                  </a:lnTo>
                  <a:lnTo>
                    <a:pt x="317" y="77"/>
                  </a:lnTo>
                  <a:lnTo>
                    <a:pt x="318" y="77"/>
                  </a:lnTo>
                  <a:lnTo>
                    <a:pt x="320" y="77"/>
                  </a:lnTo>
                  <a:lnTo>
                    <a:pt x="323" y="76"/>
                  </a:lnTo>
                  <a:lnTo>
                    <a:pt x="324" y="76"/>
                  </a:lnTo>
                  <a:lnTo>
                    <a:pt x="325" y="75"/>
                  </a:lnTo>
                  <a:lnTo>
                    <a:pt x="327" y="75"/>
                  </a:lnTo>
                  <a:lnTo>
                    <a:pt x="330" y="74"/>
                  </a:lnTo>
                  <a:lnTo>
                    <a:pt x="331" y="73"/>
                  </a:lnTo>
                  <a:lnTo>
                    <a:pt x="332" y="73"/>
                  </a:lnTo>
                  <a:lnTo>
                    <a:pt x="335" y="72"/>
                  </a:lnTo>
                  <a:lnTo>
                    <a:pt x="336" y="72"/>
                  </a:lnTo>
                  <a:lnTo>
                    <a:pt x="337" y="72"/>
                  </a:lnTo>
                  <a:lnTo>
                    <a:pt x="338" y="71"/>
                  </a:lnTo>
                  <a:lnTo>
                    <a:pt x="338" y="71"/>
                  </a:lnTo>
                  <a:lnTo>
                    <a:pt x="339" y="70"/>
                  </a:lnTo>
                  <a:lnTo>
                    <a:pt x="339" y="70"/>
                  </a:lnTo>
                  <a:lnTo>
                    <a:pt x="340" y="69"/>
                  </a:lnTo>
                  <a:lnTo>
                    <a:pt x="340" y="69"/>
                  </a:lnTo>
                  <a:lnTo>
                    <a:pt x="341" y="68"/>
                  </a:lnTo>
                  <a:lnTo>
                    <a:pt x="341" y="65"/>
                  </a:lnTo>
                  <a:lnTo>
                    <a:pt x="342" y="63"/>
                  </a:lnTo>
                  <a:lnTo>
                    <a:pt x="343" y="61"/>
                  </a:lnTo>
                  <a:lnTo>
                    <a:pt x="343" y="60"/>
                  </a:lnTo>
                  <a:lnTo>
                    <a:pt x="343" y="60"/>
                  </a:lnTo>
                  <a:lnTo>
                    <a:pt x="343" y="59"/>
                  </a:lnTo>
                  <a:lnTo>
                    <a:pt x="343" y="58"/>
                  </a:lnTo>
                  <a:lnTo>
                    <a:pt x="343" y="58"/>
                  </a:lnTo>
                  <a:lnTo>
                    <a:pt x="343" y="57"/>
                  </a:lnTo>
                  <a:lnTo>
                    <a:pt x="342" y="57"/>
                  </a:lnTo>
                  <a:lnTo>
                    <a:pt x="342" y="56"/>
                  </a:lnTo>
                  <a:lnTo>
                    <a:pt x="341" y="55"/>
                  </a:lnTo>
                  <a:lnTo>
                    <a:pt x="341" y="55"/>
                  </a:lnTo>
                  <a:lnTo>
                    <a:pt x="340" y="55"/>
                  </a:lnTo>
                  <a:lnTo>
                    <a:pt x="339" y="54"/>
                  </a:lnTo>
                  <a:lnTo>
                    <a:pt x="338" y="54"/>
                  </a:lnTo>
                  <a:lnTo>
                    <a:pt x="336" y="53"/>
                  </a:lnTo>
                  <a:lnTo>
                    <a:pt x="332" y="51"/>
                  </a:lnTo>
                  <a:lnTo>
                    <a:pt x="330" y="50"/>
                  </a:lnTo>
                  <a:lnTo>
                    <a:pt x="325" y="49"/>
                  </a:lnTo>
                  <a:lnTo>
                    <a:pt x="324" y="48"/>
                  </a:lnTo>
                  <a:lnTo>
                    <a:pt x="323" y="48"/>
                  </a:lnTo>
                  <a:lnTo>
                    <a:pt x="322" y="47"/>
                  </a:lnTo>
                  <a:lnTo>
                    <a:pt x="322" y="47"/>
                  </a:lnTo>
                  <a:lnTo>
                    <a:pt x="321" y="46"/>
                  </a:lnTo>
                  <a:lnTo>
                    <a:pt x="321" y="46"/>
                  </a:lnTo>
                  <a:lnTo>
                    <a:pt x="321" y="45"/>
                  </a:lnTo>
                  <a:lnTo>
                    <a:pt x="320" y="45"/>
                  </a:lnTo>
                  <a:lnTo>
                    <a:pt x="320" y="44"/>
                  </a:lnTo>
                  <a:lnTo>
                    <a:pt x="319" y="43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19" y="41"/>
                  </a:lnTo>
                  <a:lnTo>
                    <a:pt x="319" y="41"/>
                  </a:lnTo>
                  <a:lnTo>
                    <a:pt x="319" y="40"/>
                  </a:lnTo>
                  <a:lnTo>
                    <a:pt x="319" y="40"/>
                  </a:lnTo>
                  <a:lnTo>
                    <a:pt x="320" y="39"/>
                  </a:lnTo>
                  <a:lnTo>
                    <a:pt x="321" y="37"/>
                  </a:lnTo>
                  <a:lnTo>
                    <a:pt x="321" y="37"/>
                  </a:lnTo>
                  <a:lnTo>
                    <a:pt x="321" y="37"/>
                  </a:lnTo>
                  <a:lnTo>
                    <a:pt x="321" y="36"/>
                  </a:lnTo>
                  <a:lnTo>
                    <a:pt x="321" y="36"/>
                  </a:lnTo>
                  <a:lnTo>
                    <a:pt x="321" y="35"/>
                  </a:lnTo>
                  <a:lnTo>
                    <a:pt x="320" y="35"/>
                  </a:lnTo>
                  <a:lnTo>
                    <a:pt x="320" y="35"/>
                  </a:lnTo>
                  <a:lnTo>
                    <a:pt x="320" y="34"/>
                  </a:lnTo>
                  <a:lnTo>
                    <a:pt x="319" y="34"/>
                  </a:lnTo>
                  <a:lnTo>
                    <a:pt x="318" y="34"/>
                  </a:lnTo>
                  <a:lnTo>
                    <a:pt x="317" y="34"/>
                  </a:lnTo>
                  <a:lnTo>
                    <a:pt x="314" y="34"/>
                  </a:lnTo>
                  <a:lnTo>
                    <a:pt x="313" y="34"/>
                  </a:lnTo>
                  <a:lnTo>
                    <a:pt x="312" y="34"/>
                  </a:lnTo>
                  <a:lnTo>
                    <a:pt x="311" y="34"/>
                  </a:lnTo>
                  <a:lnTo>
                    <a:pt x="310" y="33"/>
                  </a:lnTo>
                  <a:lnTo>
                    <a:pt x="309" y="33"/>
                  </a:lnTo>
                  <a:lnTo>
                    <a:pt x="308" y="32"/>
                  </a:lnTo>
                  <a:lnTo>
                    <a:pt x="307" y="32"/>
                  </a:lnTo>
                  <a:lnTo>
                    <a:pt x="307" y="31"/>
                  </a:lnTo>
                  <a:lnTo>
                    <a:pt x="306" y="31"/>
                  </a:lnTo>
                  <a:lnTo>
                    <a:pt x="306" y="30"/>
                  </a:lnTo>
                  <a:lnTo>
                    <a:pt x="306" y="30"/>
                  </a:lnTo>
                  <a:lnTo>
                    <a:pt x="305" y="29"/>
                  </a:lnTo>
                  <a:lnTo>
                    <a:pt x="305" y="28"/>
                  </a:lnTo>
                  <a:lnTo>
                    <a:pt x="305" y="28"/>
                  </a:lnTo>
                  <a:lnTo>
                    <a:pt x="305" y="27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3"/>
                  </a:lnTo>
                  <a:lnTo>
                    <a:pt x="306" y="22"/>
                  </a:lnTo>
                  <a:lnTo>
                    <a:pt x="306" y="21"/>
                  </a:lnTo>
                  <a:lnTo>
                    <a:pt x="307" y="19"/>
                  </a:lnTo>
                  <a:lnTo>
                    <a:pt x="308" y="18"/>
                  </a:lnTo>
                  <a:lnTo>
                    <a:pt x="308" y="17"/>
                  </a:lnTo>
                  <a:lnTo>
                    <a:pt x="309" y="16"/>
                  </a:lnTo>
                  <a:lnTo>
                    <a:pt x="309" y="14"/>
                  </a:lnTo>
                  <a:lnTo>
                    <a:pt x="309" y="13"/>
                  </a:lnTo>
                  <a:lnTo>
                    <a:pt x="310" y="12"/>
                  </a:lnTo>
                  <a:lnTo>
                    <a:pt x="310" y="9"/>
                  </a:lnTo>
                  <a:lnTo>
                    <a:pt x="311" y="8"/>
                  </a:lnTo>
                  <a:lnTo>
                    <a:pt x="311" y="8"/>
                  </a:lnTo>
                  <a:lnTo>
                    <a:pt x="311" y="7"/>
                  </a:lnTo>
                  <a:lnTo>
                    <a:pt x="311" y="6"/>
                  </a:lnTo>
                  <a:lnTo>
                    <a:pt x="312" y="5"/>
                  </a:lnTo>
                  <a:lnTo>
                    <a:pt x="315" y="1"/>
                  </a:lnTo>
                  <a:lnTo>
                    <a:pt x="316" y="0"/>
                  </a:lnTo>
                  <a:lnTo>
                    <a:pt x="317" y="0"/>
                  </a:lnTo>
                  <a:lnTo>
                    <a:pt x="317" y="0"/>
                  </a:lnTo>
                  <a:lnTo>
                    <a:pt x="317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Freeform 56">
              <a:extLst>
                <a:ext uri="{FF2B5EF4-FFF2-40B4-BE49-F238E27FC236}">
                  <a16:creationId xmlns:a16="http://schemas.microsoft.com/office/drawing/2014/main" id="{EB6469A9-CFCB-F88B-71EE-0611DAD71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0" y="2882"/>
              <a:ext cx="376" cy="252"/>
            </a:xfrm>
            <a:custGeom>
              <a:avLst/>
              <a:gdLst>
                <a:gd name="T0" fmla="*/ 210 w 376"/>
                <a:gd name="T1" fmla="*/ 2 h 252"/>
                <a:gd name="T2" fmla="*/ 222 w 376"/>
                <a:gd name="T3" fmla="*/ 11 h 252"/>
                <a:gd name="T4" fmla="*/ 231 w 376"/>
                <a:gd name="T5" fmla="*/ 11 h 252"/>
                <a:gd name="T6" fmla="*/ 240 w 376"/>
                <a:gd name="T7" fmla="*/ 5 h 252"/>
                <a:gd name="T8" fmla="*/ 247 w 376"/>
                <a:gd name="T9" fmla="*/ 16 h 252"/>
                <a:gd name="T10" fmla="*/ 261 w 376"/>
                <a:gd name="T11" fmla="*/ 14 h 252"/>
                <a:gd name="T12" fmla="*/ 274 w 376"/>
                <a:gd name="T13" fmla="*/ 32 h 252"/>
                <a:gd name="T14" fmla="*/ 272 w 376"/>
                <a:gd name="T15" fmla="*/ 55 h 252"/>
                <a:gd name="T16" fmla="*/ 285 w 376"/>
                <a:gd name="T17" fmla="*/ 74 h 252"/>
                <a:gd name="T18" fmla="*/ 300 w 376"/>
                <a:gd name="T19" fmla="*/ 94 h 252"/>
                <a:gd name="T20" fmla="*/ 305 w 376"/>
                <a:gd name="T21" fmla="*/ 111 h 252"/>
                <a:gd name="T22" fmla="*/ 318 w 376"/>
                <a:gd name="T23" fmla="*/ 101 h 252"/>
                <a:gd name="T24" fmla="*/ 342 w 376"/>
                <a:gd name="T25" fmla="*/ 109 h 252"/>
                <a:gd name="T26" fmla="*/ 353 w 376"/>
                <a:gd name="T27" fmla="*/ 122 h 252"/>
                <a:gd name="T28" fmla="*/ 358 w 376"/>
                <a:gd name="T29" fmla="*/ 156 h 252"/>
                <a:gd name="T30" fmla="*/ 363 w 376"/>
                <a:gd name="T31" fmla="*/ 183 h 252"/>
                <a:gd name="T32" fmla="*/ 363 w 376"/>
                <a:gd name="T33" fmla="*/ 202 h 252"/>
                <a:gd name="T34" fmla="*/ 376 w 376"/>
                <a:gd name="T35" fmla="*/ 226 h 252"/>
                <a:gd name="T36" fmla="*/ 365 w 376"/>
                <a:gd name="T37" fmla="*/ 232 h 252"/>
                <a:gd name="T38" fmla="*/ 348 w 376"/>
                <a:gd name="T39" fmla="*/ 233 h 252"/>
                <a:gd name="T40" fmla="*/ 334 w 376"/>
                <a:gd name="T41" fmla="*/ 222 h 252"/>
                <a:gd name="T42" fmla="*/ 322 w 376"/>
                <a:gd name="T43" fmla="*/ 233 h 252"/>
                <a:gd name="T44" fmla="*/ 318 w 376"/>
                <a:gd name="T45" fmla="*/ 247 h 252"/>
                <a:gd name="T46" fmla="*/ 306 w 376"/>
                <a:gd name="T47" fmla="*/ 247 h 252"/>
                <a:gd name="T48" fmla="*/ 299 w 376"/>
                <a:gd name="T49" fmla="*/ 241 h 252"/>
                <a:gd name="T50" fmla="*/ 278 w 376"/>
                <a:gd name="T51" fmla="*/ 232 h 252"/>
                <a:gd name="T52" fmla="*/ 265 w 376"/>
                <a:gd name="T53" fmla="*/ 236 h 252"/>
                <a:gd name="T54" fmla="*/ 250 w 376"/>
                <a:gd name="T55" fmla="*/ 240 h 252"/>
                <a:gd name="T56" fmla="*/ 227 w 376"/>
                <a:gd name="T57" fmla="*/ 227 h 252"/>
                <a:gd name="T58" fmla="*/ 213 w 376"/>
                <a:gd name="T59" fmla="*/ 213 h 252"/>
                <a:gd name="T60" fmla="*/ 192 w 376"/>
                <a:gd name="T61" fmla="*/ 196 h 252"/>
                <a:gd name="T62" fmla="*/ 181 w 376"/>
                <a:gd name="T63" fmla="*/ 197 h 252"/>
                <a:gd name="T64" fmla="*/ 168 w 376"/>
                <a:gd name="T65" fmla="*/ 187 h 252"/>
                <a:gd name="T66" fmla="*/ 162 w 376"/>
                <a:gd name="T67" fmla="*/ 201 h 252"/>
                <a:gd name="T68" fmla="*/ 149 w 376"/>
                <a:gd name="T69" fmla="*/ 211 h 252"/>
                <a:gd name="T70" fmla="*/ 141 w 376"/>
                <a:gd name="T71" fmla="*/ 220 h 252"/>
                <a:gd name="T72" fmla="*/ 121 w 376"/>
                <a:gd name="T73" fmla="*/ 218 h 252"/>
                <a:gd name="T74" fmla="*/ 113 w 376"/>
                <a:gd name="T75" fmla="*/ 234 h 252"/>
                <a:gd name="T76" fmla="*/ 97 w 376"/>
                <a:gd name="T77" fmla="*/ 248 h 252"/>
                <a:gd name="T78" fmla="*/ 74 w 376"/>
                <a:gd name="T79" fmla="*/ 252 h 252"/>
                <a:gd name="T80" fmla="*/ 67 w 376"/>
                <a:gd name="T81" fmla="*/ 241 h 252"/>
                <a:gd name="T82" fmla="*/ 57 w 376"/>
                <a:gd name="T83" fmla="*/ 240 h 252"/>
                <a:gd name="T84" fmla="*/ 44 w 376"/>
                <a:gd name="T85" fmla="*/ 241 h 252"/>
                <a:gd name="T86" fmla="*/ 38 w 376"/>
                <a:gd name="T87" fmla="*/ 234 h 252"/>
                <a:gd name="T88" fmla="*/ 21 w 376"/>
                <a:gd name="T89" fmla="*/ 214 h 252"/>
                <a:gd name="T90" fmla="*/ 6 w 376"/>
                <a:gd name="T91" fmla="*/ 183 h 252"/>
                <a:gd name="T92" fmla="*/ 0 w 376"/>
                <a:gd name="T93" fmla="*/ 163 h 252"/>
                <a:gd name="T94" fmla="*/ 8 w 376"/>
                <a:gd name="T95" fmla="*/ 144 h 252"/>
                <a:gd name="T96" fmla="*/ 21 w 376"/>
                <a:gd name="T97" fmla="*/ 131 h 252"/>
                <a:gd name="T98" fmla="*/ 26 w 376"/>
                <a:gd name="T99" fmla="*/ 117 h 252"/>
                <a:gd name="T100" fmla="*/ 31 w 376"/>
                <a:gd name="T101" fmla="*/ 98 h 252"/>
                <a:gd name="T102" fmla="*/ 45 w 376"/>
                <a:gd name="T103" fmla="*/ 99 h 252"/>
                <a:gd name="T104" fmla="*/ 60 w 376"/>
                <a:gd name="T105" fmla="*/ 102 h 252"/>
                <a:gd name="T106" fmla="*/ 69 w 376"/>
                <a:gd name="T107" fmla="*/ 85 h 252"/>
                <a:gd name="T108" fmla="*/ 92 w 376"/>
                <a:gd name="T109" fmla="*/ 80 h 252"/>
                <a:gd name="T110" fmla="*/ 117 w 376"/>
                <a:gd name="T111" fmla="*/ 91 h 252"/>
                <a:gd name="T112" fmla="*/ 134 w 376"/>
                <a:gd name="T113" fmla="*/ 86 h 252"/>
                <a:gd name="T114" fmla="*/ 153 w 376"/>
                <a:gd name="T115" fmla="*/ 69 h 252"/>
                <a:gd name="T116" fmla="*/ 179 w 376"/>
                <a:gd name="T117" fmla="*/ 72 h 252"/>
                <a:gd name="T118" fmla="*/ 191 w 376"/>
                <a:gd name="T119" fmla="*/ 67 h 252"/>
                <a:gd name="T120" fmla="*/ 194 w 376"/>
                <a:gd name="T121" fmla="*/ 37 h 252"/>
                <a:gd name="T122" fmla="*/ 193 w 376"/>
                <a:gd name="T123" fmla="*/ 19 h 252"/>
                <a:gd name="T124" fmla="*/ 185 w 376"/>
                <a:gd name="T125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6" h="252">
                  <a:moveTo>
                    <a:pt x="198" y="0"/>
                  </a:moveTo>
                  <a:lnTo>
                    <a:pt x="198" y="0"/>
                  </a:lnTo>
                  <a:lnTo>
                    <a:pt x="201" y="1"/>
                  </a:lnTo>
                  <a:lnTo>
                    <a:pt x="201" y="2"/>
                  </a:lnTo>
                  <a:lnTo>
                    <a:pt x="202" y="2"/>
                  </a:lnTo>
                  <a:lnTo>
                    <a:pt x="203" y="2"/>
                  </a:lnTo>
                  <a:lnTo>
                    <a:pt x="204" y="3"/>
                  </a:lnTo>
                  <a:lnTo>
                    <a:pt x="205" y="3"/>
                  </a:lnTo>
                  <a:lnTo>
                    <a:pt x="205" y="3"/>
                  </a:lnTo>
                  <a:lnTo>
                    <a:pt x="206" y="3"/>
                  </a:lnTo>
                  <a:lnTo>
                    <a:pt x="206" y="3"/>
                  </a:lnTo>
                  <a:lnTo>
                    <a:pt x="207" y="2"/>
                  </a:lnTo>
                  <a:lnTo>
                    <a:pt x="209" y="2"/>
                  </a:lnTo>
                  <a:lnTo>
                    <a:pt x="209" y="2"/>
                  </a:lnTo>
                  <a:lnTo>
                    <a:pt x="210" y="2"/>
                  </a:lnTo>
                  <a:lnTo>
                    <a:pt x="211" y="2"/>
                  </a:lnTo>
                  <a:lnTo>
                    <a:pt x="212" y="2"/>
                  </a:lnTo>
                  <a:lnTo>
                    <a:pt x="213" y="2"/>
                  </a:lnTo>
                  <a:lnTo>
                    <a:pt x="217" y="4"/>
                  </a:lnTo>
                  <a:lnTo>
                    <a:pt x="219" y="5"/>
                  </a:lnTo>
                  <a:lnTo>
                    <a:pt x="220" y="5"/>
                  </a:lnTo>
                  <a:lnTo>
                    <a:pt x="220" y="5"/>
                  </a:lnTo>
                  <a:lnTo>
                    <a:pt x="221" y="6"/>
                  </a:lnTo>
                  <a:lnTo>
                    <a:pt x="221" y="6"/>
                  </a:lnTo>
                  <a:lnTo>
                    <a:pt x="221" y="7"/>
                  </a:lnTo>
                  <a:lnTo>
                    <a:pt x="221" y="7"/>
                  </a:lnTo>
                  <a:lnTo>
                    <a:pt x="221" y="9"/>
                  </a:lnTo>
                  <a:lnTo>
                    <a:pt x="221" y="10"/>
                  </a:lnTo>
                  <a:lnTo>
                    <a:pt x="222" y="11"/>
                  </a:lnTo>
                  <a:lnTo>
                    <a:pt x="222" y="11"/>
                  </a:lnTo>
                  <a:lnTo>
                    <a:pt x="223" y="12"/>
                  </a:lnTo>
                  <a:lnTo>
                    <a:pt x="223" y="13"/>
                  </a:lnTo>
                  <a:lnTo>
                    <a:pt x="224" y="13"/>
                  </a:lnTo>
                  <a:lnTo>
                    <a:pt x="225" y="13"/>
                  </a:lnTo>
                  <a:lnTo>
                    <a:pt x="226" y="13"/>
                  </a:lnTo>
                  <a:lnTo>
                    <a:pt x="226" y="14"/>
                  </a:lnTo>
                  <a:lnTo>
                    <a:pt x="227" y="14"/>
                  </a:lnTo>
                  <a:lnTo>
                    <a:pt x="228" y="14"/>
                  </a:lnTo>
                  <a:lnTo>
                    <a:pt x="229" y="13"/>
                  </a:lnTo>
                  <a:lnTo>
                    <a:pt x="229" y="13"/>
                  </a:lnTo>
                  <a:lnTo>
                    <a:pt x="230" y="13"/>
                  </a:lnTo>
                  <a:lnTo>
                    <a:pt x="230" y="13"/>
                  </a:lnTo>
                  <a:lnTo>
                    <a:pt x="230" y="12"/>
                  </a:lnTo>
                  <a:lnTo>
                    <a:pt x="231" y="12"/>
                  </a:lnTo>
                  <a:lnTo>
                    <a:pt x="231" y="11"/>
                  </a:lnTo>
                  <a:lnTo>
                    <a:pt x="232" y="10"/>
                  </a:lnTo>
                  <a:lnTo>
                    <a:pt x="233" y="8"/>
                  </a:lnTo>
                  <a:lnTo>
                    <a:pt x="234" y="7"/>
                  </a:lnTo>
                  <a:lnTo>
                    <a:pt x="235" y="6"/>
                  </a:lnTo>
                  <a:lnTo>
                    <a:pt x="235" y="6"/>
                  </a:lnTo>
                  <a:lnTo>
                    <a:pt x="235" y="5"/>
                  </a:lnTo>
                  <a:lnTo>
                    <a:pt x="236" y="5"/>
                  </a:lnTo>
                  <a:lnTo>
                    <a:pt x="237" y="5"/>
                  </a:lnTo>
                  <a:lnTo>
                    <a:pt x="237" y="5"/>
                  </a:lnTo>
                  <a:lnTo>
                    <a:pt x="238" y="5"/>
                  </a:lnTo>
                  <a:lnTo>
                    <a:pt x="238" y="4"/>
                  </a:lnTo>
                  <a:lnTo>
                    <a:pt x="239" y="4"/>
                  </a:lnTo>
                  <a:lnTo>
                    <a:pt x="239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1" y="6"/>
                  </a:lnTo>
                  <a:lnTo>
                    <a:pt x="241" y="6"/>
                  </a:lnTo>
                  <a:lnTo>
                    <a:pt x="242" y="8"/>
                  </a:lnTo>
                  <a:lnTo>
                    <a:pt x="242" y="9"/>
                  </a:lnTo>
                  <a:lnTo>
                    <a:pt x="243" y="12"/>
                  </a:lnTo>
                  <a:lnTo>
                    <a:pt x="243" y="13"/>
                  </a:lnTo>
                  <a:lnTo>
                    <a:pt x="244" y="14"/>
                  </a:lnTo>
                  <a:lnTo>
                    <a:pt x="244" y="15"/>
                  </a:lnTo>
                  <a:lnTo>
                    <a:pt x="245" y="15"/>
                  </a:lnTo>
                  <a:lnTo>
                    <a:pt x="245" y="16"/>
                  </a:lnTo>
                  <a:lnTo>
                    <a:pt x="246" y="16"/>
                  </a:lnTo>
                  <a:lnTo>
                    <a:pt x="247" y="16"/>
                  </a:lnTo>
                  <a:lnTo>
                    <a:pt x="247" y="16"/>
                  </a:lnTo>
                  <a:lnTo>
                    <a:pt x="248" y="16"/>
                  </a:lnTo>
                  <a:lnTo>
                    <a:pt x="248" y="16"/>
                  </a:lnTo>
                  <a:lnTo>
                    <a:pt x="249" y="16"/>
                  </a:lnTo>
                  <a:lnTo>
                    <a:pt x="251" y="15"/>
                  </a:lnTo>
                  <a:lnTo>
                    <a:pt x="253" y="14"/>
                  </a:lnTo>
                  <a:lnTo>
                    <a:pt x="255" y="13"/>
                  </a:lnTo>
                  <a:lnTo>
                    <a:pt x="256" y="13"/>
                  </a:lnTo>
                  <a:lnTo>
                    <a:pt x="257" y="13"/>
                  </a:lnTo>
                  <a:lnTo>
                    <a:pt x="258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60" y="13"/>
                  </a:lnTo>
                  <a:lnTo>
                    <a:pt x="260" y="13"/>
                  </a:lnTo>
                  <a:lnTo>
                    <a:pt x="261" y="14"/>
                  </a:lnTo>
                  <a:lnTo>
                    <a:pt x="261" y="14"/>
                  </a:lnTo>
                  <a:lnTo>
                    <a:pt x="263" y="16"/>
                  </a:lnTo>
                  <a:lnTo>
                    <a:pt x="264" y="17"/>
                  </a:lnTo>
                  <a:lnTo>
                    <a:pt x="265" y="18"/>
                  </a:lnTo>
                  <a:lnTo>
                    <a:pt x="268" y="19"/>
                  </a:lnTo>
                  <a:lnTo>
                    <a:pt x="269" y="20"/>
                  </a:lnTo>
                  <a:lnTo>
                    <a:pt x="269" y="21"/>
                  </a:lnTo>
                  <a:lnTo>
                    <a:pt x="270" y="21"/>
                  </a:lnTo>
                  <a:lnTo>
                    <a:pt x="271" y="22"/>
                  </a:lnTo>
                  <a:lnTo>
                    <a:pt x="271" y="23"/>
                  </a:lnTo>
                  <a:lnTo>
                    <a:pt x="272" y="24"/>
                  </a:lnTo>
                  <a:lnTo>
                    <a:pt x="274" y="28"/>
                  </a:lnTo>
                  <a:lnTo>
                    <a:pt x="274" y="29"/>
                  </a:lnTo>
                  <a:lnTo>
                    <a:pt x="274" y="31"/>
                  </a:lnTo>
                  <a:lnTo>
                    <a:pt x="274" y="32"/>
                  </a:lnTo>
                  <a:lnTo>
                    <a:pt x="274" y="33"/>
                  </a:lnTo>
                  <a:lnTo>
                    <a:pt x="274" y="34"/>
                  </a:lnTo>
                  <a:lnTo>
                    <a:pt x="274" y="34"/>
                  </a:lnTo>
                  <a:lnTo>
                    <a:pt x="274" y="35"/>
                  </a:lnTo>
                  <a:lnTo>
                    <a:pt x="272" y="40"/>
                  </a:lnTo>
                  <a:lnTo>
                    <a:pt x="271" y="41"/>
                  </a:lnTo>
                  <a:lnTo>
                    <a:pt x="271" y="43"/>
                  </a:lnTo>
                  <a:lnTo>
                    <a:pt x="271" y="44"/>
                  </a:lnTo>
                  <a:lnTo>
                    <a:pt x="271" y="45"/>
                  </a:lnTo>
                  <a:lnTo>
                    <a:pt x="271" y="47"/>
                  </a:lnTo>
                  <a:lnTo>
                    <a:pt x="271" y="48"/>
                  </a:lnTo>
                  <a:lnTo>
                    <a:pt x="271" y="50"/>
                  </a:lnTo>
                  <a:lnTo>
                    <a:pt x="271" y="52"/>
                  </a:lnTo>
                  <a:lnTo>
                    <a:pt x="272" y="53"/>
                  </a:lnTo>
                  <a:lnTo>
                    <a:pt x="272" y="55"/>
                  </a:lnTo>
                  <a:lnTo>
                    <a:pt x="273" y="57"/>
                  </a:lnTo>
                  <a:lnTo>
                    <a:pt x="273" y="59"/>
                  </a:lnTo>
                  <a:lnTo>
                    <a:pt x="274" y="60"/>
                  </a:lnTo>
                  <a:lnTo>
                    <a:pt x="274" y="62"/>
                  </a:lnTo>
                  <a:lnTo>
                    <a:pt x="275" y="64"/>
                  </a:lnTo>
                  <a:lnTo>
                    <a:pt x="277" y="66"/>
                  </a:lnTo>
                  <a:lnTo>
                    <a:pt x="278" y="67"/>
                  </a:lnTo>
                  <a:lnTo>
                    <a:pt x="279" y="69"/>
                  </a:lnTo>
                  <a:lnTo>
                    <a:pt x="280" y="70"/>
                  </a:lnTo>
                  <a:lnTo>
                    <a:pt x="281" y="71"/>
                  </a:lnTo>
                  <a:lnTo>
                    <a:pt x="282" y="72"/>
                  </a:lnTo>
                  <a:lnTo>
                    <a:pt x="282" y="73"/>
                  </a:lnTo>
                  <a:lnTo>
                    <a:pt x="283" y="73"/>
                  </a:lnTo>
                  <a:lnTo>
                    <a:pt x="284" y="74"/>
                  </a:lnTo>
                  <a:lnTo>
                    <a:pt x="285" y="74"/>
                  </a:lnTo>
                  <a:lnTo>
                    <a:pt x="286" y="75"/>
                  </a:lnTo>
                  <a:lnTo>
                    <a:pt x="287" y="76"/>
                  </a:lnTo>
                  <a:lnTo>
                    <a:pt x="291" y="77"/>
                  </a:lnTo>
                  <a:lnTo>
                    <a:pt x="292" y="78"/>
                  </a:lnTo>
                  <a:lnTo>
                    <a:pt x="293" y="78"/>
                  </a:lnTo>
                  <a:lnTo>
                    <a:pt x="294" y="79"/>
                  </a:lnTo>
                  <a:lnTo>
                    <a:pt x="295" y="80"/>
                  </a:lnTo>
                  <a:lnTo>
                    <a:pt x="296" y="81"/>
                  </a:lnTo>
                  <a:lnTo>
                    <a:pt x="297" y="83"/>
                  </a:lnTo>
                  <a:lnTo>
                    <a:pt x="298" y="85"/>
                  </a:lnTo>
                  <a:lnTo>
                    <a:pt x="299" y="86"/>
                  </a:lnTo>
                  <a:lnTo>
                    <a:pt x="299" y="88"/>
                  </a:lnTo>
                  <a:lnTo>
                    <a:pt x="300" y="90"/>
                  </a:lnTo>
                  <a:lnTo>
                    <a:pt x="300" y="92"/>
                  </a:lnTo>
                  <a:lnTo>
                    <a:pt x="300" y="94"/>
                  </a:lnTo>
                  <a:lnTo>
                    <a:pt x="300" y="97"/>
                  </a:lnTo>
                  <a:lnTo>
                    <a:pt x="300" y="102"/>
                  </a:lnTo>
                  <a:lnTo>
                    <a:pt x="300" y="102"/>
                  </a:lnTo>
                  <a:lnTo>
                    <a:pt x="300" y="104"/>
                  </a:lnTo>
                  <a:lnTo>
                    <a:pt x="301" y="106"/>
                  </a:lnTo>
                  <a:lnTo>
                    <a:pt x="301" y="107"/>
                  </a:lnTo>
                  <a:lnTo>
                    <a:pt x="301" y="108"/>
                  </a:lnTo>
                  <a:lnTo>
                    <a:pt x="302" y="109"/>
                  </a:lnTo>
                  <a:lnTo>
                    <a:pt x="302" y="109"/>
                  </a:lnTo>
                  <a:lnTo>
                    <a:pt x="302" y="110"/>
                  </a:lnTo>
                  <a:lnTo>
                    <a:pt x="302" y="110"/>
                  </a:lnTo>
                  <a:lnTo>
                    <a:pt x="303" y="110"/>
                  </a:lnTo>
                  <a:lnTo>
                    <a:pt x="303" y="111"/>
                  </a:lnTo>
                  <a:lnTo>
                    <a:pt x="304" y="111"/>
                  </a:lnTo>
                  <a:lnTo>
                    <a:pt x="305" y="111"/>
                  </a:lnTo>
                  <a:lnTo>
                    <a:pt x="305" y="111"/>
                  </a:lnTo>
                  <a:lnTo>
                    <a:pt x="306" y="111"/>
                  </a:lnTo>
                  <a:lnTo>
                    <a:pt x="307" y="111"/>
                  </a:lnTo>
                  <a:lnTo>
                    <a:pt x="307" y="111"/>
                  </a:lnTo>
                  <a:lnTo>
                    <a:pt x="308" y="110"/>
                  </a:lnTo>
                  <a:lnTo>
                    <a:pt x="308" y="110"/>
                  </a:lnTo>
                  <a:lnTo>
                    <a:pt x="309" y="109"/>
                  </a:lnTo>
                  <a:lnTo>
                    <a:pt x="310" y="109"/>
                  </a:lnTo>
                  <a:lnTo>
                    <a:pt x="311" y="107"/>
                  </a:lnTo>
                  <a:lnTo>
                    <a:pt x="314" y="104"/>
                  </a:lnTo>
                  <a:lnTo>
                    <a:pt x="316" y="103"/>
                  </a:lnTo>
                  <a:lnTo>
                    <a:pt x="317" y="102"/>
                  </a:lnTo>
                  <a:lnTo>
                    <a:pt x="317" y="102"/>
                  </a:lnTo>
                  <a:lnTo>
                    <a:pt x="318" y="101"/>
                  </a:lnTo>
                  <a:lnTo>
                    <a:pt x="318" y="101"/>
                  </a:lnTo>
                  <a:lnTo>
                    <a:pt x="319" y="101"/>
                  </a:lnTo>
                  <a:lnTo>
                    <a:pt x="320" y="101"/>
                  </a:lnTo>
                  <a:lnTo>
                    <a:pt x="320" y="101"/>
                  </a:lnTo>
                  <a:lnTo>
                    <a:pt x="321" y="101"/>
                  </a:lnTo>
                  <a:lnTo>
                    <a:pt x="322" y="101"/>
                  </a:lnTo>
                  <a:lnTo>
                    <a:pt x="322" y="101"/>
                  </a:lnTo>
                  <a:lnTo>
                    <a:pt x="324" y="101"/>
                  </a:lnTo>
                  <a:lnTo>
                    <a:pt x="326" y="102"/>
                  </a:lnTo>
                  <a:lnTo>
                    <a:pt x="327" y="102"/>
                  </a:lnTo>
                  <a:lnTo>
                    <a:pt x="329" y="103"/>
                  </a:lnTo>
                  <a:lnTo>
                    <a:pt x="332" y="105"/>
                  </a:lnTo>
                  <a:lnTo>
                    <a:pt x="334" y="106"/>
                  </a:lnTo>
                  <a:lnTo>
                    <a:pt x="337" y="107"/>
                  </a:lnTo>
                  <a:lnTo>
                    <a:pt x="341" y="108"/>
                  </a:lnTo>
                  <a:lnTo>
                    <a:pt x="342" y="109"/>
                  </a:lnTo>
                  <a:lnTo>
                    <a:pt x="344" y="110"/>
                  </a:lnTo>
                  <a:lnTo>
                    <a:pt x="347" y="111"/>
                  </a:lnTo>
                  <a:lnTo>
                    <a:pt x="347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3"/>
                  </a:lnTo>
                  <a:lnTo>
                    <a:pt x="349" y="114"/>
                  </a:lnTo>
                  <a:lnTo>
                    <a:pt x="349" y="115"/>
                  </a:lnTo>
                  <a:lnTo>
                    <a:pt x="349" y="116"/>
                  </a:lnTo>
                  <a:lnTo>
                    <a:pt x="350" y="117"/>
                  </a:lnTo>
                  <a:lnTo>
                    <a:pt x="351" y="119"/>
                  </a:lnTo>
                  <a:lnTo>
                    <a:pt x="352" y="121"/>
                  </a:lnTo>
                  <a:lnTo>
                    <a:pt x="353" y="122"/>
                  </a:lnTo>
                  <a:lnTo>
                    <a:pt x="355" y="126"/>
                  </a:lnTo>
                  <a:lnTo>
                    <a:pt x="356" y="127"/>
                  </a:lnTo>
                  <a:lnTo>
                    <a:pt x="357" y="129"/>
                  </a:lnTo>
                  <a:lnTo>
                    <a:pt x="357" y="130"/>
                  </a:lnTo>
                  <a:lnTo>
                    <a:pt x="357" y="131"/>
                  </a:lnTo>
                  <a:lnTo>
                    <a:pt x="358" y="131"/>
                  </a:lnTo>
                  <a:lnTo>
                    <a:pt x="358" y="133"/>
                  </a:lnTo>
                  <a:lnTo>
                    <a:pt x="358" y="134"/>
                  </a:lnTo>
                  <a:lnTo>
                    <a:pt x="358" y="136"/>
                  </a:lnTo>
                  <a:lnTo>
                    <a:pt x="357" y="140"/>
                  </a:lnTo>
                  <a:lnTo>
                    <a:pt x="357" y="141"/>
                  </a:lnTo>
                  <a:lnTo>
                    <a:pt x="357" y="142"/>
                  </a:lnTo>
                  <a:lnTo>
                    <a:pt x="357" y="147"/>
                  </a:lnTo>
                  <a:lnTo>
                    <a:pt x="357" y="154"/>
                  </a:lnTo>
                  <a:lnTo>
                    <a:pt x="358" y="156"/>
                  </a:lnTo>
                  <a:lnTo>
                    <a:pt x="358" y="157"/>
                  </a:lnTo>
                  <a:lnTo>
                    <a:pt x="358" y="159"/>
                  </a:lnTo>
                  <a:lnTo>
                    <a:pt x="359" y="162"/>
                  </a:lnTo>
                  <a:lnTo>
                    <a:pt x="359" y="165"/>
                  </a:lnTo>
                  <a:lnTo>
                    <a:pt x="360" y="168"/>
                  </a:lnTo>
                  <a:lnTo>
                    <a:pt x="361" y="170"/>
                  </a:lnTo>
                  <a:lnTo>
                    <a:pt x="361" y="170"/>
                  </a:lnTo>
                  <a:lnTo>
                    <a:pt x="361" y="171"/>
                  </a:lnTo>
                  <a:lnTo>
                    <a:pt x="361" y="174"/>
                  </a:lnTo>
                  <a:lnTo>
                    <a:pt x="361" y="175"/>
                  </a:lnTo>
                  <a:lnTo>
                    <a:pt x="361" y="176"/>
                  </a:lnTo>
                  <a:lnTo>
                    <a:pt x="361" y="177"/>
                  </a:lnTo>
                  <a:lnTo>
                    <a:pt x="361" y="178"/>
                  </a:lnTo>
                  <a:lnTo>
                    <a:pt x="361" y="178"/>
                  </a:lnTo>
                  <a:lnTo>
                    <a:pt x="363" y="183"/>
                  </a:lnTo>
                  <a:lnTo>
                    <a:pt x="365" y="185"/>
                  </a:lnTo>
                  <a:lnTo>
                    <a:pt x="365" y="186"/>
                  </a:lnTo>
                  <a:lnTo>
                    <a:pt x="365" y="187"/>
                  </a:lnTo>
                  <a:lnTo>
                    <a:pt x="365" y="187"/>
                  </a:lnTo>
                  <a:lnTo>
                    <a:pt x="366" y="188"/>
                  </a:lnTo>
                  <a:lnTo>
                    <a:pt x="366" y="189"/>
                  </a:lnTo>
                  <a:lnTo>
                    <a:pt x="366" y="189"/>
                  </a:lnTo>
                  <a:lnTo>
                    <a:pt x="365" y="190"/>
                  </a:lnTo>
                  <a:lnTo>
                    <a:pt x="365" y="191"/>
                  </a:lnTo>
                  <a:lnTo>
                    <a:pt x="364" y="195"/>
                  </a:lnTo>
                  <a:lnTo>
                    <a:pt x="363" y="197"/>
                  </a:lnTo>
                  <a:lnTo>
                    <a:pt x="363" y="199"/>
                  </a:lnTo>
                  <a:lnTo>
                    <a:pt x="363" y="200"/>
                  </a:lnTo>
                  <a:lnTo>
                    <a:pt x="362" y="201"/>
                  </a:lnTo>
                  <a:lnTo>
                    <a:pt x="363" y="202"/>
                  </a:lnTo>
                  <a:lnTo>
                    <a:pt x="363" y="203"/>
                  </a:lnTo>
                  <a:lnTo>
                    <a:pt x="363" y="204"/>
                  </a:lnTo>
                  <a:lnTo>
                    <a:pt x="363" y="204"/>
                  </a:lnTo>
                  <a:lnTo>
                    <a:pt x="365" y="207"/>
                  </a:lnTo>
                  <a:lnTo>
                    <a:pt x="366" y="210"/>
                  </a:lnTo>
                  <a:lnTo>
                    <a:pt x="368" y="214"/>
                  </a:lnTo>
                  <a:lnTo>
                    <a:pt x="368" y="214"/>
                  </a:lnTo>
                  <a:lnTo>
                    <a:pt x="370" y="216"/>
                  </a:lnTo>
                  <a:lnTo>
                    <a:pt x="372" y="220"/>
                  </a:lnTo>
                  <a:lnTo>
                    <a:pt x="374" y="222"/>
                  </a:lnTo>
                  <a:lnTo>
                    <a:pt x="374" y="223"/>
                  </a:lnTo>
                  <a:lnTo>
                    <a:pt x="375" y="224"/>
                  </a:lnTo>
                  <a:lnTo>
                    <a:pt x="375" y="224"/>
                  </a:lnTo>
                  <a:lnTo>
                    <a:pt x="375" y="225"/>
                  </a:lnTo>
                  <a:lnTo>
                    <a:pt x="376" y="226"/>
                  </a:lnTo>
                  <a:lnTo>
                    <a:pt x="376" y="227"/>
                  </a:lnTo>
                  <a:lnTo>
                    <a:pt x="376" y="228"/>
                  </a:lnTo>
                  <a:lnTo>
                    <a:pt x="375" y="228"/>
                  </a:lnTo>
                  <a:lnTo>
                    <a:pt x="375" y="229"/>
                  </a:lnTo>
                  <a:lnTo>
                    <a:pt x="375" y="229"/>
                  </a:lnTo>
                  <a:lnTo>
                    <a:pt x="374" y="229"/>
                  </a:lnTo>
                  <a:lnTo>
                    <a:pt x="374" y="230"/>
                  </a:lnTo>
                  <a:lnTo>
                    <a:pt x="373" y="230"/>
                  </a:lnTo>
                  <a:lnTo>
                    <a:pt x="372" y="231"/>
                  </a:lnTo>
                  <a:lnTo>
                    <a:pt x="371" y="231"/>
                  </a:lnTo>
                  <a:lnTo>
                    <a:pt x="369" y="232"/>
                  </a:lnTo>
                  <a:lnTo>
                    <a:pt x="368" y="232"/>
                  </a:lnTo>
                  <a:lnTo>
                    <a:pt x="367" y="232"/>
                  </a:lnTo>
                  <a:lnTo>
                    <a:pt x="365" y="232"/>
                  </a:lnTo>
                  <a:lnTo>
                    <a:pt x="365" y="232"/>
                  </a:lnTo>
                  <a:lnTo>
                    <a:pt x="364" y="232"/>
                  </a:lnTo>
                  <a:lnTo>
                    <a:pt x="364" y="232"/>
                  </a:lnTo>
                  <a:lnTo>
                    <a:pt x="362" y="232"/>
                  </a:lnTo>
                  <a:lnTo>
                    <a:pt x="361" y="231"/>
                  </a:lnTo>
                  <a:lnTo>
                    <a:pt x="359" y="231"/>
                  </a:lnTo>
                  <a:lnTo>
                    <a:pt x="358" y="231"/>
                  </a:lnTo>
                  <a:lnTo>
                    <a:pt x="357" y="231"/>
                  </a:lnTo>
                  <a:lnTo>
                    <a:pt x="356" y="231"/>
                  </a:lnTo>
                  <a:lnTo>
                    <a:pt x="355" y="232"/>
                  </a:lnTo>
                  <a:lnTo>
                    <a:pt x="352" y="232"/>
                  </a:lnTo>
                  <a:lnTo>
                    <a:pt x="351" y="233"/>
                  </a:lnTo>
                  <a:lnTo>
                    <a:pt x="350" y="233"/>
                  </a:lnTo>
                  <a:lnTo>
                    <a:pt x="350" y="233"/>
                  </a:lnTo>
                  <a:lnTo>
                    <a:pt x="349" y="233"/>
                  </a:lnTo>
                  <a:lnTo>
                    <a:pt x="348" y="233"/>
                  </a:lnTo>
                  <a:lnTo>
                    <a:pt x="347" y="232"/>
                  </a:lnTo>
                  <a:lnTo>
                    <a:pt x="346" y="232"/>
                  </a:lnTo>
                  <a:lnTo>
                    <a:pt x="345" y="231"/>
                  </a:lnTo>
                  <a:lnTo>
                    <a:pt x="343" y="231"/>
                  </a:lnTo>
                  <a:lnTo>
                    <a:pt x="343" y="230"/>
                  </a:lnTo>
                  <a:lnTo>
                    <a:pt x="342" y="229"/>
                  </a:lnTo>
                  <a:lnTo>
                    <a:pt x="341" y="229"/>
                  </a:lnTo>
                  <a:lnTo>
                    <a:pt x="340" y="228"/>
                  </a:lnTo>
                  <a:lnTo>
                    <a:pt x="339" y="226"/>
                  </a:lnTo>
                  <a:lnTo>
                    <a:pt x="337" y="224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6" y="222"/>
                  </a:lnTo>
                  <a:lnTo>
                    <a:pt x="335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3" y="222"/>
                  </a:lnTo>
                  <a:lnTo>
                    <a:pt x="333" y="222"/>
                  </a:lnTo>
                  <a:lnTo>
                    <a:pt x="332" y="223"/>
                  </a:lnTo>
                  <a:lnTo>
                    <a:pt x="332" y="224"/>
                  </a:lnTo>
                  <a:lnTo>
                    <a:pt x="331" y="224"/>
                  </a:lnTo>
                  <a:lnTo>
                    <a:pt x="329" y="226"/>
                  </a:lnTo>
                  <a:lnTo>
                    <a:pt x="327" y="228"/>
                  </a:lnTo>
                  <a:lnTo>
                    <a:pt x="325" y="230"/>
                  </a:lnTo>
                  <a:lnTo>
                    <a:pt x="324" y="230"/>
                  </a:lnTo>
                  <a:lnTo>
                    <a:pt x="323" y="231"/>
                  </a:lnTo>
                  <a:lnTo>
                    <a:pt x="323" y="232"/>
                  </a:lnTo>
                  <a:lnTo>
                    <a:pt x="322" y="233"/>
                  </a:lnTo>
                  <a:lnTo>
                    <a:pt x="322" y="233"/>
                  </a:lnTo>
                  <a:lnTo>
                    <a:pt x="322" y="234"/>
                  </a:lnTo>
                  <a:lnTo>
                    <a:pt x="322" y="235"/>
                  </a:lnTo>
                  <a:lnTo>
                    <a:pt x="322" y="236"/>
                  </a:lnTo>
                  <a:lnTo>
                    <a:pt x="322" y="237"/>
                  </a:lnTo>
                  <a:lnTo>
                    <a:pt x="323" y="240"/>
                  </a:lnTo>
                  <a:lnTo>
                    <a:pt x="323" y="241"/>
                  </a:lnTo>
                  <a:lnTo>
                    <a:pt x="323" y="241"/>
                  </a:lnTo>
                  <a:lnTo>
                    <a:pt x="323" y="242"/>
                  </a:lnTo>
                  <a:lnTo>
                    <a:pt x="322" y="243"/>
                  </a:lnTo>
                  <a:lnTo>
                    <a:pt x="322" y="244"/>
                  </a:lnTo>
                  <a:lnTo>
                    <a:pt x="321" y="245"/>
                  </a:lnTo>
                  <a:lnTo>
                    <a:pt x="321" y="245"/>
                  </a:lnTo>
                  <a:lnTo>
                    <a:pt x="321" y="246"/>
                  </a:lnTo>
                  <a:lnTo>
                    <a:pt x="318" y="247"/>
                  </a:lnTo>
                  <a:lnTo>
                    <a:pt x="318" y="247"/>
                  </a:lnTo>
                  <a:lnTo>
                    <a:pt x="317" y="248"/>
                  </a:lnTo>
                  <a:lnTo>
                    <a:pt x="316" y="248"/>
                  </a:lnTo>
                  <a:lnTo>
                    <a:pt x="315" y="249"/>
                  </a:lnTo>
                  <a:lnTo>
                    <a:pt x="314" y="249"/>
                  </a:lnTo>
                  <a:lnTo>
                    <a:pt x="313" y="249"/>
                  </a:lnTo>
                  <a:lnTo>
                    <a:pt x="312" y="249"/>
                  </a:lnTo>
                  <a:lnTo>
                    <a:pt x="311" y="249"/>
                  </a:lnTo>
                  <a:lnTo>
                    <a:pt x="310" y="249"/>
                  </a:lnTo>
                  <a:lnTo>
                    <a:pt x="310" y="249"/>
                  </a:lnTo>
                  <a:lnTo>
                    <a:pt x="309" y="249"/>
                  </a:lnTo>
                  <a:lnTo>
                    <a:pt x="308" y="249"/>
                  </a:lnTo>
                  <a:lnTo>
                    <a:pt x="308" y="248"/>
                  </a:lnTo>
                  <a:lnTo>
                    <a:pt x="308" y="248"/>
                  </a:lnTo>
                  <a:lnTo>
                    <a:pt x="307" y="248"/>
                  </a:lnTo>
                  <a:lnTo>
                    <a:pt x="306" y="247"/>
                  </a:lnTo>
                  <a:lnTo>
                    <a:pt x="306" y="246"/>
                  </a:lnTo>
                  <a:lnTo>
                    <a:pt x="306" y="246"/>
                  </a:lnTo>
                  <a:lnTo>
                    <a:pt x="305" y="245"/>
                  </a:lnTo>
                  <a:lnTo>
                    <a:pt x="305" y="244"/>
                  </a:lnTo>
                  <a:lnTo>
                    <a:pt x="305" y="243"/>
                  </a:lnTo>
                  <a:lnTo>
                    <a:pt x="304" y="242"/>
                  </a:lnTo>
                  <a:lnTo>
                    <a:pt x="304" y="242"/>
                  </a:lnTo>
                  <a:lnTo>
                    <a:pt x="304" y="241"/>
                  </a:lnTo>
                  <a:lnTo>
                    <a:pt x="303" y="241"/>
                  </a:lnTo>
                  <a:lnTo>
                    <a:pt x="303" y="241"/>
                  </a:lnTo>
                  <a:lnTo>
                    <a:pt x="303" y="240"/>
                  </a:lnTo>
                  <a:lnTo>
                    <a:pt x="302" y="240"/>
                  </a:lnTo>
                  <a:lnTo>
                    <a:pt x="300" y="241"/>
                  </a:lnTo>
                  <a:lnTo>
                    <a:pt x="299" y="241"/>
                  </a:lnTo>
                  <a:lnTo>
                    <a:pt x="299" y="241"/>
                  </a:lnTo>
                  <a:lnTo>
                    <a:pt x="298" y="240"/>
                  </a:lnTo>
                  <a:lnTo>
                    <a:pt x="296" y="240"/>
                  </a:lnTo>
                  <a:lnTo>
                    <a:pt x="294" y="239"/>
                  </a:lnTo>
                  <a:lnTo>
                    <a:pt x="293" y="238"/>
                  </a:lnTo>
                  <a:lnTo>
                    <a:pt x="291" y="237"/>
                  </a:lnTo>
                  <a:lnTo>
                    <a:pt x="290" y="236"/>
                  </a:lnTo>
                  <a:lnTo>
                    <a:pt x="289" y="236"/>
                  </a:lnTo>
                  <a:lnTo>
                    <a:pt x="288" y="236"/>
                  </a:lnTo>
                  <a:lnTo>
                    <a:pt x="287" y="235"/>
                  </a:lnTo>
                  <a:lnTo>
                    <a:pt x="286" y="235"/>
                  </a:lnTo>
                  <a:lnTo>
                    <a:pt x="284" y="235"/>
                  </a:lnTo>
                  <a:lnTo>
                    <a:pt x="283" y="234"/>
                  </a:lnTo>
                  <a:lnTo>
                    <a:pt x="281" y="234"/>
                  </a:lnTo>
                  <a:lnTo>
                    <a:pt x="279" y="233"/>
                  </a:lnTo>
                  <a:lnTo>
                    <a:pt x="278" y="232"/>
                  </a:lnTo>
                  <a:lnTo>
                    <a:pt x="277" y="232"/>
                  </a:lnTo>
                  <a:lnTo>
                    <a:pt x="276" y="231"/>
                  </a:lnTo>
                  <a:lnTo>
                    <a:pt x="275" y="231"/>
                  </a:lnTo>
                  <a:lnTo>
                    <a:pt x="274" y="231"/>
                  </a:lnTo>
                  <a:lnTo>
                    <a:pt x="273" y="231"/>
                  </a:lnTo>
                  <a:lnTo>
                    <a:pt x="272" y="231"/>
                  </a:lnTo>
                  <a:lnTo>
                    <a:pt x="271" y="231"/>
                  </a:lnTo>
                  <a:lnTo>
                    <a:pt x="271" y="231"/>
                  </a:lnTo>
                  <a:lnTo>
                    <a:pt x="270" y="232"/>
                  </a:lnTo>
                  <a:lnTo>
                    <a:pt x="270" y="232"/>
                  </a:lnTo>
                  <a:lnTo>
                    <a:pt x="269" y="232"/>
                  </a:lnTo>
                  <a:lnTo>
                    <a:pt x="269" y="233"/>
                  </a:lnTo>
                  <a:lnTo>
                    <a:pt x="268" y="233"/>
                  </a:lnTo>
                  <a:lnTo>
                    <a:pt x="267" y="234"/>
                  </a:lnTo>
                  <a:lnTo>
                    <a:pt x="265" y="236"/>
                  </a:lnTo>
                  <a:lnTo>
                    <a:pt x="263" y="239"/>
                  </a:lnTo>
                  <a:lnTo>
                    <a:pt x="262" y="240"/>
                  </a:lnTo>
                  <a:lnTo>
                    <a:pt x="261" y="241"/>
                  </a:lnTo>
                  <a:lnTo>
                    <a:pt x="261" y="241"/>
                  </a:lnTo>
                  <a:lnTo>
                    <a:pt x="260" y="242"/>
                  </a:lnTo>
                  <a:lnTo>
                    <a:pt x="259" y="242"/>
                  </a:lnTo>
                  <a:lnTo>
                    <a:pt x="259" y="242"/>
                  </a:lnTo>
                  <a:lnTo>
                    <a:pt x="258" y="242"/>
                  </a:lnTo>
                  <a:lnTo>
                    <a:pt x="257" y="242"/>
                  </a:lnTo>
                  <a:lnTo>
                    <a:pt x="256" y="242"/>
                  </a:lnTo>
                  <a:lnTo>
                    <a:pt x="255" y="242"/>
                  </a:lnTo>
                  <a:lnTo>
                    <a:pt x="255" y="242"/>
                  </a:lnTo>
                  <a:lnTo>
                    <a:pt x="253" y="241"/>
                  </a:lnTo>
                  <a:lnTo>
                    <a:pt x="252" y="241"/>
                  </a:lnTo>
                  <a:lnTo>
                    <a:pt x="250" y="240"/>
                  </a:lnTo>
                  <a:lnTo>
                    <a:pt x="249" y="239"/>
                  </a:lnTo>
                  <a:lnTo>
                    <a:pt x="247" y="239"/>
                  </a:lnTo>
                  <a:lnTo>
                    <a:pt x="246" y="238"/>
                  </a:lnTo>
                  <a:lnTo>
                    <a:pt x="242" y="236"/>
                  </a:lnTo>
                  <a:lnTo>
                    <a:pt x="240" y="235"/>
                  </a:lnTo>
                  <a:lnTo>
                    <a:pt x="238" y="233"/>
                  </a:lnTo>
                  <a:lnTo>
                    <a:pt x="236" y="233"/>
                  </a:lnTo>
                  <a:lnTo>
                    <a:pt x="235" y="232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4" y="230"/>
                  </a:lnTo>
                  <a:lnTo>
                    <a:pt x="233" y="230"/>
                  </a:lnTo>
                  <a:lnTo>
                    <a:pt x="228" y="228"/>
                  </a:lnTo>
                  <a:lnTo>
                    <a:pt x="227" y="227"/>
                  </a:lnTo>
                  <a:lnTo>
                    <a:pt x="225" y="226"/>
                  </a:lnTo>
                  <a:lnTo>
                    <a:pt x="224" y="226"/>
                  </a:lnTo>
                  <a:lnTo>
                    <a:pt x="224" y="225"/>
                  </a:lnTo>
                  <a:lnTo>
                    <a:pt x="223" y="225"/>
                  </a:lnTo>
                  <a:lnTo>
                    <a:pt x="222" y="224"/>
                  </a:lnTo>
                  <a:lnTo>
                    <a:pt x="221" y="224"/>
                  </a:lnTo>
                  <a:lnTo>
                    <a:pt x="221" y="223"/>
                  </a:lnTo>
                  <a:lnTo>
                    <a:pt x="221" y="222"/>
                  </a:lnTo>
                  <a:lnTo>
                    <a:pt x="219" y="219"/>
                  </a:lnTo>
                  <a:lnTo>
                    <a:pt x="218" y="218"/>
                  </a:lnTo>
                  <a:lnTo>
                    <a:pt x="217" y="217"/>
                  </a:lnTo>
                  <a:lnTo>
                    <a:pt x="217" y="216"/>
                  </a:lnTo>
                  <a:lnTo>
                    <a:pt x="216" y="215"/>
                  </a:lnTo>
                  <a:lnTo>
                    <a:pt x="215" y="214"/>
                  </a:lnTo>
                  <a:lnTo>
                    <a:pt x="213" y="213"/>
                  </a:lnTo>
                  <a:lnTo>
                    <a:pt x="212" y="212"/>
                  </a:lnTo>
                  <a:lnTo>
                    <a:pt x="211" y="211"/>
                  </a:lnTo>
                  <a:lnTo>
                    <a:pt x="210" y="211"/>
                  </a:lnTo>
                  <a:lnTo>
                    <a:pt x="209" y="210"/>
                  </a:lnTo>
                  <a:lnTo>
                    <a:pt x="207" y="209"/>
                  </a:lnTo>
                  <a:lnTo>
                    <a:pt x="206" y="209"/>
                  </a:lnTo>
                  <a:lnTo>
                    <a:pt x="205" y="209"/>
                  </a:lnTo>
                  <a:lnTo>
                    <a:pt x="204" y="208"/>
                  </a:lnTo>
                  <a:lnTo>
                    <a:pt x="204" y="208"/>
                  </a:lnTo>
                  <a:lnTo>
                    <a:pt x="203" y="207"/>
                  </a:lnTo>
                  <a:lnTo>
                    <a:pt x="201" y="205"/>
                  </a:lnTo>
                  <a:lnTo>
                    <a:pt x="197" y="201"/>
                  </a:lnTo>
                  <a:lnTo>
                    <a:pt x="195" y="197"/>
                  </a:lnTo>
                  <a:lnTo>
                    <a:pt x="193" y="196"/>
                  </a:lnTo>
                  <a:lnTo>
                    <a:pt x="192" y="196"/>
                  </a:lnTo>
                  <a:lnTo>
                    <a:pt x="192" y="195"/>
                  </a:lnTo>
                  <a:lnTo>
                    <a:pt x="192" y="195"/>
                  </a:lnTo>
                  <a:lnTo>
                    <a:pt x="191" y="195"/>
                  </a:lnTo>
                  <a:lnTo>
                    <a:pt x="190" y="195"/>
                  </a:lnTo>
                  <a:lnTo>
                    <a:pt x="187" y="194"/>
                  </a:lnTo>
                  <a:lnTo>
                    <a:pt x="187" y="194"/>
                  </a:lnTo>
                  <a:lnTo>
                    <a:pt x="186" y="194"/>
                  </a:lnTo>
                  <a:lnTo>
                    <a:pt x="185" y="194"/>
                  </a:lnTo>
                  <a:lnTo>
                    <a:pt x="184" y="195"/>
                  </a:lnTo>
                  <a:lnTo>
                    <a:pt x="184" y="195"/>
                  </a:lnTo>
                  <a:lnTo>
                    <a:pt x="183" y="195"/>
                  </a:lnTo>
                  <a:lnTo>
                    <a:pt x="182" y="196"/>
                  </a:lnTo>
                  <a:lnTo>
                    <a:pt x="181" y="196"/>
                  </a:lnTo>
                  <a:lnTo>
                    <a:pt x="181" y="197"/>
                  </a:lnTo>
                  <a:lnTo>
                    <a:pt x="181" y="197"/>
                  </a:lnTo>
                  <a:lnTo>
                    <a:pt x="180" y="197"/>
                  </a:lnTo>
                  <a:lnTo>
                    <a:pt x="179" y="197"/>
                  </a:lnTo>
                  <a:lnTo>
                    <a:pt x="179" y="196"/>
                  </a:lnTo>
                  <a:lnTo>
                    <a:pt x="178" y="196"/>
                  </a:lnTo>
                  <a:lnTo>
                    <a:pt x="177" y="196"/>
                  </a:lnTo>
                  <a:lnTo>
                    <a:pt x="177" y="195"/>
                  </a:lnTo>
                  <a:lnTo>
                    <a:pt x="176" y="194"/>
                  </a:lnTo>
                  <a:lnTo>
                    <a:pt x="176" y="194"/>
                  </a:lnTo>
                  <a:lnTo>
                    <a:pt x="175" y="193"/>
                  </a:lnTo>
                  <a:lnTo>
                    <a:pt x="173" y="192"/>
                  </a:lnTo>
                  <a:lnTo>
                    <a:pt x="172" y="191"/>
                  </a:lnTo>
                  <a:lnTo>
                    <a:pt x="171" y="190"/>
                  </a:lnTo>
                  <a:lnTo>
                    <a:pt x="169" y="188"/>
                  </a:lnTo>
                  <a:lnTo>
                    <a:pt x="168" y="188"/>
                  </a:lnTo>
                  <a:lnTo>
                    <a:pt x="168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6" y="187"/>
                  </a:lnTo>
                  <a:lnTo>
                    <a:pt x="166" y="187"/>
                  </a:lnTo>
                  <a:lnTo>
                    <a:pt x="166" y="189"/>
                  </a:lnTo>
                  <a:lnTo>
                    <a:pt x="166" y="190"/>
                  </a:lnTo>
                  <a:lnTo>
                    <a:pt x="165" y="191"/>
                  </a:lnTo>
                  <a:lnTo>
                    <a:pt x="164" y="193"/>
                  </a:lnTo>
                  <a:lnTo>
                    <a:pt x="163" y="195"/>
                  </a:lnTo>
                  <a:lnTo>
                    <a:pt x="163" y="196"/>
                  </a:lnTo>
                  <a:lnTo>
                    <a:pt x="163" y="198"/>
                  </a:lnTo>
                  <a:lnTo>
                    <a:pt x="163" y="199"/>
                  </a:lnTo>
                  <a:lnTo>
                    <a:pt x="163" y="200"/>
                  </a:lnTo>
                  <a:lnTo>
                    <a:pt x="162" y="201"/>
                  </a:lnTo>
                  <a:lnTo>
                    <a:pt x="162" y="201"/>
                  </a:lnTo>
                  <a:lnTo>
                    <a:pt x="161" y="202"/>
                  </a:lnTo>
                  <a:lnTo>
                    <a:pt x="161" y="202"/>
                  </a:lnTo>
                  <a:lnTo>
                    <a:pt x="160" y="203"/>
                  </a:lnTo>
                  <a:lnTo>
                    <a:pt x="159" y="203"/>
                  </a:lnTo>
                  <a:lnTo>
                    <a:pt x="155" y="205"/>
                  </a:lnTo>
                  <a:lnTo>
                    <a:pt x="153" y="206"/>
                  </a:lnTo>
                  <a:lnTo>
                    <a:pt x="153" y="207"/>
                  </a:lnTo>
                  <a:lnTo>
                    <a:pt x="151" y="208"/>
                  </a:lnTo>
                  <a:lnTo>
                    <a:pt x="151" y="208"/>
                  </a:lnTo>
                  <a:lnTo>
                    <a:pt x="150" y="209"/>
                  </a:lnTo>
                  <a:lnTo>
                    <a:pt x="149" y="209"/>
                  </a:lnTo>
                  <a:lnTo>
                    <a:pt x="149" y="209"/>
                  </a:lnTo>
                  <a:lnTo>
                    <a:pt x="149" y="210"/>
                  </a:lnTo>
                  <a:lnTo>
                    <a:pt x="149" y="211"/>
                  </a:lnTo>
                  <a:lnTo>
                    <a:pt x="148" y="212"/>
                  </a:lnTo>
                  <a:lnTo>
                    <a:pt x="148" y="214"/>
                  </a:lnTo>
                  <a:lnTo>
                    <a:pt x="148" y="215"/>
                  </a:lnTo>
                  <a:lnTo>
                    <a:pt x="148" y="215"/>
                  </a:lnTo>
                  <a:lnTo>
                    <a:pt x="147" y="216"/>
                  </a:lnTo>
                  <a:lnTo>
                    <a:pt x="147" y="216"/>
                  </a:lnTo>
                  <a:lnTo>
                    <a:pt x="146" y="217"/>
                  </a:lnTo>
                  <a:lnTo>
                    <a:pt x="146" y="218"/>
                  </a:lnTo>
                  <a:lnTo>
                    <a:pt x="145" y="218"/>
                  </a:lnTo>
                  <a:lnTo>
                    <a:pt x="144" y="219"/>
                  </a:lnTo>
                  <a:lnTo>
                    <a:pt x="143" y="219"/>
                  </a:lnTo>
                  <a:lnTo>
                    <a:pt x="143" y="219"/>
                  </a:lnTo>
                  <a:lnTo>
                    <a:pt x="142" y="220"/>
                  </a:lnTo>
                  <a:lnTo>
                    <a:pt x="141" y="220"/>
                  </a:lnTo>
                  <a:lnTo>
                    <a:pt x="141" y="220"/>
                  </a:lnTo>
                  <a:lnTo>
                    <a:pt x="140" y="220"/>
                  </a:lnTo>
                  <a:lnTo>
                    <a:pt x="139" y="220"/>
                  </a:lnTo>
                  <a:lnTo>
                    <a:pt x="139" y="220"/>
                  </a:lnTo>
                  <a:lnTo>
                    <a:pt x="138" y="220"/>
                  </a:lnTo>
                  <a:lnTo>
                    <a:pt x="136" y="220"/>
                  </a:lnTo>
                  <a:lnTo>
                    <a:pt x="133" y="219"/>
                  </a:lnTo>
                  <a:lnTo>
                    <a:pt x="131" y="218"/>
                  </a:lnTo>
                  <a:lnTo>
                    <a:pt x="129" y="218"/>
                  </a:lnTo>
                  <a:lnTo>
                    <a:pt x="127" y="217"/>
                  </a:lnTo>
                  <a:lnTo>
                    <a:pt x="125" y="217"/>
                  </a:lnTo>
                  <a:lnTo>
                    <a:pt x="124" y="217"/>
                  </a:lnTo>
                  <a:lnTo>
                    <a:pt x="123" y="217"/>
                  </a:lnTo>
                  <a:lnTo>
                    <a:pt x="123" y="217"/>
                  </a:lnTo>
                  <a:lnTo>
                    <a:pt x="122" y="218"/>
                  </a:lnTo>
                  <a:lnTo>
                    <a:pt x="121" y="218"/>
                  </a:lnTo>
                  <a:lnTo>
                    <a:pt x="120" y="219"/>
                  </a:lnTo>
                  <a:lnTo>
                    <a:pt x="120" y="219"/>
                  </a:lnTo>
                  <a:lnTo>
                    <a:pt x="119" y="220"/>
                  </a:lnTo>
                  <a:lnTo>
                    <a:pt x="119" y="221"/>
                  </a:lnTo>
                  <a:lnTo>
                    <a:pt x="119" y="222"/>
                  </a:lnTo>
                  <a:lnTo>
                    <a:pt x="119" y="226"/>
                  </a:lnTo>
                  <a:lnTo>
                    <a:pt x="118" y="227"/>
                  </a:lnTo>
                  <a:lnTo>
                    <a:pt x="118" y="228"/>
                  </a:lnTo>
                  <a:lnTo>
                    <a:pt x="118" y="229"/>
                  </a:lnTo>
                  <a:lnTo>
                    <a:pt x="117" y="230"/>
                  </a:lnTo>
                  <a:lnTo>
                    <a:pt x="117" y="231"/>
                  </a:lnTo>
                  <a:lnTo>
                    <a:pt x="116" y="231"/>
                  </a:lnTo>
                  <a:lnTo>
                    <a:pt x="116" y="232"/>
                  </a:lnTo>
                  <a:lnTo>
                    <a:pt x="115" y="233"/>
                  </a:lnTo>
                  <a:lnTo>
                    <a:pt x="113" y="234"/>
                  </a:lnTo>
                  <a:lnTo>
                    <a:pt x="112" y="234"/>
                  </a:lnTo>
                  <a:lnTo>
                    <a:pt x="112" y="235"/>
                  </a:lnTo>
                  <a:lnTo>
                    <a:pt x="111" y="236"/>
                  </a:lnTo>
                  <a:lnTo>
                    <a:pt x="111" y="236"/>
                  </a:lnTo>
                  <a:lnTo>
                    <a:pt x="109" y="239"/>
                  </a:lnTo>
                  <a:lnTo>
                    <a:pt x="108" y="240"/>
                  </a:lnTo>
                  <a:lnTo>
                    <a:pt x="107" y="241"/>
                  </a:lnTo>
                  <a:lnTo>
                    <a:pt x="107" y="242"/>
                  </a:lnTo>
                  <a:lnTo>
                    <a:pt x="105" y="243"/>
                  </a:lnTo>
                  <a:lnTo>
                    <a:pt x="102" y="245"/>
                  </a:lnTo>
                  <a:lnTo>
                    <a:pt x="100" y="248"/>
                  </a:lnTo>
                  <a:lnTo>
                    <a:pt x="99" y="248"/>
                  </a:lnTo>
                  <a:lnTo>
                    <a:pt x="99" y="248"/>
                  </a:lnTo>
                  <a:lnTo>
                    <a:pt x="98" y="248"/>
                  </a:lnTo>
                  <a:lnTo>
                    <a:pt x="97" y="248"/>
                  </a:lnTo>
                  <a:lnTo>
                    <a:pt x="91" y="249"/>
                  </a:lnTo>
                  <a:lnTo>
                    <a:pt x="90" y="249"/>
                  </a:lnTo>
                  <a:lnTo>
                    <a:pt x="88" y="249"/>
                  </a:lnTo>
                  <a:lnTo>
                    <a:pt x="87" y="249"/>
                  </a:lnTo>
                  <a:lnTo>
                    <a:pt x="85" y="249"/>
                  </a:lnTo>
                  <a:lnTo>
                    <a:pt x="84" y="249"/>
                  </a:lnTo>
                  <a:lnTo>
                    <a:pt x="83" y="250"/>
                  </a:lnTo>
                  <a:lnTo>
                    <a:pt x="79" y="251"/>
                  </a:lnTo>
                  <a:lnTo>
                    <a:pt x="78" y="251"/>
                  </a:lnTo>
                  <a:lnTo>
                    <a:pt x="77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5" y="252"/>
                  </a:lnTo>
                  <a:lnTo>
                    <a:pt x="74" y="252"/>
                  </a:lnTo>
                  <a:lnTo>
                    <a:pt x="73" y="252"/>
                  </a:lnTo>
                  <a:lnTo>
                    <a:pt x="72" y="252"/>
                  </a:lnTo>
                  <a:lnTo>
                    <a:pt x="72" y="251"/>
                  </a:lnTo>
                  <a:lnTo>
                    <a:pt x="71" y="251"/>
                  </a:lnTo>
                  <a:lnTo>
                    <a:pt x="71" y="251"/>
                  </a:lnTo>
                  <a:lnTo>
                    <a:pt x="70" y="250"/>
                  </a:lnTo>
                  <a:lnTo>
                    <a:pt x="70" y="250"/>
                  </a:lnTo>
                  <a:lnTo>
                    <a:pt x="69" y="249"/>
                  </a:lnTo>
                  <a:lnTo>
                    <a:pt x="69" y="249"/>
                  </a:lnTo>
                  <a:lnTo>
                    <a:pt x="69" y="248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8" y="244"/>
                  </a:lnTo>
                  <a:lnTo>
                    <a:pt x="67" y="242"/>
                  </a:lnTo>
                  <a:lnTo>
                    <a:pt x="67" y="241"/>
                  </a:lnTo>
                  <a:lnTo>
                    <a:pt x="66" y="240"/>
                  </a:lnTo>
                  <a:lnTo>
                    <a:pt x="66" y="239"/>
                  </a:lnTo>
                  <a:lnTo>
                    <a:pt x="66" y="239"/>
                  </a:lnTo>
                  <a:lnTo>
                    <a:pt x="66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4" y="238"/>
                  </a:lnTo>
                  <a:lnTo>
                    <a:pt x="63" y="238"/>
                  </a:lnTo>
                  <a:lnTo>
                    <a:pt x="62" y="239"/>
                  </a:lnTo>
                  <a:lnTo>
                    <a:pt x="61" y="239"/>
                  </a:lnTo>
                  <a:lnTo>
                    <a:pt x="60" y="239"/>
                  </a:lnTo>
                  <a:lnTo>
                    <a:pt x="59" y="240"/>
                  </a:lnTo>
                  <a:lnTo>
                    <a:pt x="58" y="240"/>
                  </a:lnTo>
                  <a:lnTo>
                    <a:pt x="57" y="240"/>
                  </a:lnTo>
                  <a:lnTo>
                    <a:pt x="57" y="240"/>
                  </a:lnTo>
                  <a:lnTo>
                    <a:pt x="56" y="240"/>
                  </a:lnTo>
                  <a:lnTo>
                    <a:pt x="56" y="240"/>
                  </a:lnTo>
                  <a:lnTo>
                    <a:pt x="55" y="240"/>
                  </a:lnTo>
                  <a:lnTo>
                    <a:pt x="54" y="240"/>
                  </a:lnTo>
                  <a:lnTo>
                    <a:pt x="51" y="239"/>
                  </a:lnTo>
                  <a:lnTo>
                    <a:pt x="51" y="238"/>
                  </a:lnTo>
                  <a:lnTo>
                    <a:pt x="50" y="238"/>
                  </a:lnTo>
                  <a:lnTo>
                    <a:pt x="49" y="238"/>
                  </a:lnTo>
                  <a:lnTo>
                    <a:pt x="48" y="238"/>
                  </a:lnTo>
                  <a:lnTo>
                    <a:pt x="47" y="239"/>
                  </a:lnTo>
                  <a:lnTo>
                    <a:pt x="47" y="239"/>
                  </a:lnTo>
                  <a:lnTo>
                    <a:pt x="45" y="240"/>
                  </a:lnTo>
                  <a:lnTo>
                    <a:pt x="44" y="240"/>
                  </a:lnTo>
                  <a:lnTo>
                    <a:pt x="44" y="241"/>
                  </a:lnTo>
                  <a:lnTo>
                    <a:pt x="43" y="241"/>
                  </a:lnTo>
                  <a:lnTo>
                    <a:pt x="42" y="241"/>
                  </a:lnTo>
                  <a:lnTo>
                    <a:pt x="42" y="241"/>
                  </a:lnTo>
                  <a:lnTo>
                    <a:pt x="42" y="240"/>
                  </a:lnTo>
                  <a:lnTo>
                    <a:pt x="41" y="240"/>
                  </a:lnTo>
                  <a:lnTo>
                    <a:pt x="41" y="240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39" y="236"/>
                  </a:lnTo>
                  <a:lnTo>
                    <a:pt x="38" y="235"/>
                  </a:lnTo>
                  <a:lnTo>
                    <a:pt x="38" y="234"/>
                  </a:lnTo>
                  <a:lnTo>
                    <a:pt x="37" y="233"/>
                  </a:lnTo>
                  <a:lnTo>
                    <a:pt x="36" y="233"/>
                  </a:lnTo>
                  <a:lnTo>
                    <a:pt x="36" y="232"/>
                  </a:lnTo>
                  <a:lnTo>
                    <a:pt x="35" y="231"/>
                  </a:lnTo>
                  <a:lnTo>
                    <a:pt x="33" y="230"/>
                  </a:lnTo>
                  <a:lnTo>
                    <a:pt x="32" y="229"/>
                  </a:lnTo>
                  <a:lnTo>
                    <a:pt x="30" y="227"/>
                  </a:lnTo>
                  <a:lnTo>
                    <a:pt x="29" y="227"/>
                  </a:lnTo>
                  <a:lnTo>
                    <a:pt x="28" y="226"/>
                  </a:lnTo>
                  <a:lnTo>
                    <a:pt x="27" y="225"/>
                  </a:lnTo>
                  <a:lnTo>
                    <a:pt x="27" y="224"/>
                  </a:lnTo>
                  <a:lnTo>
                    <a:pt x="26" y="224"/>
                  </a:lnTo>
                  <a:lnTo>
                    <a:pt x="24" y="220"/>
                  </a:lnTo>
                  <a:lnTo>
                    <a:pt x="22" y="215"/>
                  </a:lnTo>
                  <a:lnTo>
                    <a:pt x="21" y="214"/>
                  </a:lnTo>
                  <a:lnTo>
                    <a:pt x="21" y="214"/>
                  </a:lnTo>
                  <a:lnTo>
                    <a:pt x="18" y="207"/>
                  </a:lnTo>
                  <a:lnTo>
                    <a:pt x="18" y="206"/>
                  </a:lnTo>
                  <a:lnTo>
                    <a:pt x="17" y="204"/>
                  </a:lnTo>
                  <a:lnTo>
                    <a:pt x="16" y="202"/>
                  </a:lnTo>
                  <a:lnTo>
                    <a:pt x="15" y="201"/>
                  </a:lnTo>
                  <a:lnTo>
                    <a:pt x="15" y="200"/>
                  </a:lnTo>
                  <a:lnTo>
                    <a:pt x="13" y="198"/>
                  </a:lnTo>
                  <a:lnTo>
                    <a:pt x="13" y="197"/>
                  </a:lnTo>
                  <a:lnTo>
                    <a:pt x="12" y="195"/>
                  </a:lnTo>
                  <a:lnTo>
                    <a:pt x="11" y="194"/>
                  </a:lnTo>
                  <a:lnTo>
                    <a:pt x="10" y="193"/>
                  </a:lnTo>
                  <a:lnTo>
                    <a:pt x="8" y="189"/>
                  </a:lnTo>
                  <a:lnTo>
                    <a:pt x="7" y="185"/>
                  </a:lnTo>
                  <a:lnTo>
                    <a:pt x="6" y="183"/>
                  </a:lnTo>
                  <a:lnTo>
                    <a:pt x="5" y="182"/>
                  </a:lnTo>
                  <a:lnTo>
                    <a:pt x="5" y="180"/>
                  </a:lnTo>
                  <a:lnTo>
                    <a:pt x="4" y="180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3" y="174"/>
                  </a:lnTo>
                  <a:lnTo>
                    <a:pt x="3" y="171"/>
                  </a:lnTo>
                  <a:lnTo>
                    <a:pt x="2" y="170"/>
                  </a:lnTo>
                  <a:lnTo>
                    <a:pt x="2" y="169"/>
                  </a:lnTo>
                  <a:lnTo>
                    <a:pt x="1" y="167"/>
                  </a:lnTo>
                  <a:lnTo>
                    <a:pt x="1" y="166"/>
                  </a:lnTo>
                  <a:lnTo>
                    <a:pt x="0" y="166"/>
                  </a:lnTo>
                  <a:lnTo>
                    <a:pt x="0" y="165"/>
                  </a:lnTo>
                  <a:lnTo>
                    <a:pt x="0" y="164"/>
                  </a:lnTo>
                  <a:lnTo>
                    <a:pt x="0" y="163"/>
                  </a:lnTo>
                  <a:lnTo>
                    <a:pt x="0" y="162"/>
                  </a:lnTo>
                  <a:lnTo>
                    <a:pt x="1" y="162"/>
                  </a:lnTo>
                  <a:lnTo>
                    <a:pt x="1" y="161"/>
                  </a:lnTo>
                  <a:lnTo>
                    <a:pt x="1" y="161"/>
                  </a:lnTo>
                  <a:lnTo>
                    <a:pt x="2" y="160"/>
                  </a:lnTo>
                  <a:lnTo>
                    <a:pt x="3" y="158"/>
                  </a:lnTo>
                  <a:lnTo>
                    <a:pt x="5" y="155"/>
                  </a:lnTo>
                  <a:lnTo>
                    <a:pt x="5" y="154"/>
                  </a:lnTo>
                  <a:lnTo>
                    <a:pt x="6" y="153"/>
                  </a:lnTo>
                  <a:lnTo>
                    <a:pt x="6" y="152"/>
                  </a:lnTo>
                  <a:lnTo>
                    <a:pt x="6" y="151"/>
                  </a:lnTo>
                  <a:lnTo>
                    <a:pt x="7" y="148"/>
                  </a:lnTo>
                  <a:lnTo>
                    <a:pt x="7" y="147"/>
                  </a:lnTo>
                  <a:lnTo>
                    <a:pt x="7" y="146"/>
                  </a:lnTo>
                  <a:lnTo>
                    <a:pt x="8" y="144"/>
                  </a:lnTo>
                  <a:lnTo>
                    <a:pt x="8" y="143"/>
                  </a:lnTo>
                  <a:lnTo>
                    <a:pt x="9" y="142"/>
                  </a:lnTo>
                  <a:lnTo>
                    <a:pt x="9" y="141"/>
                  </a:lnTo>
                  <a:lnTo>
                    <a:pt x="10" y="140"/>
                  </a:lnTo>
                  <a:lnTo>
                    <a:pt x="10" y="140"/>
                  </a:lnTo>
                  <a:lnTo>
                    <a:pt x="11" y="139"/>
                  </a:lnTo>
                  <a:lnTo>
                    <a:pt x="12" y="138"/>
                  </a:lnTo>
                  <a:lnTo>
                    <a:pt x="15" y="136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9" y="133"/>
                  </a:lnTo>
                  <a:lnTo>
                    <a:pt x="20" y="132"/>
                  </a:lnTo>
                  <a:lnTo>
                    <a:pt x="21" y="132"/>
                  </a:lnTo>
                  <a:lnTo>
                    <a:pt x="21" y="131"/>
                  </a:lnTo>
                  <a:lnTo>
                    <a:pt x="21" y="131"/>
                  </a:lnTo>
                  <a:lnTo>
                    <a:pt x="22" y="131"/>
                  </a:lnTo>
                  <a:lnTo>
                    <a:pt x="22" y="130"/>
                  </a:lnTo>
                  <a:lnTo>
                    <a:pt x="22" y="130"/>
                  </a:lnTo>
                  <a:lnTo>
                    <a:pt x="22" y="128"/>
                  </a:lnTo>
                  <a:lnTo>
                    <a:pt x="22" y="127"/>
                  </a:lnTo>
                  <a:lnTo>
                    <a:pt x="22" y="126"/>
                  </a:lnTo>
                  <a:lnTo>
                    <a:pt x="22" y="125"/>
                  </a:lnTo>
                  <a:lnTo>
                    <a:pt x="23" y="124"/>
                  </a:lnTo>
                  <a:lnTo>
                    <a:pt x="23" y="122"/>
                  </a:lnTo>
                  <a:lnTo>
                    <a:pt x="24" y="121"/>
                  </a:lnTo>
                  <a:lnTo>
                    <a:pt x="24" y="120"/>
                  </a:lnTo>
                  <a:lnTo>
                    <a:pt x="25" y="119"/>
                  </a:lnTo>
                  <a:lnTo>
                    <a:pt x="25" y="118"/>
                  </a:lnTo>
                  <a:lnTo>
                    <a:pt x="26" y="117"/>
                  </a:lnTo>
                  <a:lnTo>
                    <a:pt x="26" y="117"/>
                  </a:lnTo>
                  <a:lnTo>
                    <a:pt x="27" y="116"/>
                  </a:lnTo>
                  <a:lnTo>
                    <a:pt x="29" y="114"/>
                  </a:lnTo>
                  <a:lnTo>
                    <a:pt x="29" y="113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0" y="111"/>
                  </a:lnTo>
                  <a:lnTo>
                    <a:pt x="31" y="110"/>
                  </a:lnTo>
                  <a:lnTo>
                    <a:pt x="31" y="107"/>
                  </a:lnTo>
                  <a:lnTo>
                    <a:pt x="31" y="106"/>
                  </a:lnTo>
                  <a:lnTo>
                    <a:pt x="31" y="105"/>
                  </a:lnTo>
                  <a:lnTo>
                    <a:pt x="31" y="103"/>
                  </a:lnTo>
                  <a:lnTo>
                    <a:pt x="31" y="100"/>
                  </a:lnTo>
                  <a:lnTo>
                    <a:pt x="31" y="99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3" y="97"/>
                  </a:lnTo>
                  <a:lnTo>
                    <a:pt x="35" y="96"/>
                  </a:lnTo>
                  <a:lnTo>
                    <a:pt x="36" y="96"/>
                  </a:lnTo>
                  <a:lnTo>
                    <a:pt x="37" y="96"/>
                  </a:lnTo>
                  <a:lnTo>
                    <a:pt x="37" y="96"/>
                  </a:lnTo>
                  <a:lnTo>
                    <a:pt x="38" y="96"/>
                  </a:lnTo>
                  <a:lnTo>
                    <a:pt x="39" y="96"/>
                  </a:lnTo>
                  <a:lnTo>
                    <a:pt x="40" y="97"/>
                  </a:lnTo>
                  <a:lnTo>
                    <a:pt x="42" y="98"/>
                  </a:lnTo>
                  <a:lnTo>
                    <a:pt x="43" y="98"/>
                  </a:lnTo>
                  <a:lnTo>
                    <a:pt x="45" y="99"/>
                  </a:lnTo>
                  <a:lnTo>
                    <a:pt x="48" y="101"/>
                  </a:lnTo>
                  <a:lnTo>
                    <a:pt x="49" y="102"/>
                  </a:lnTo>
                  <a:lnTo>
                    <a:pt x="51" y="102"/>
                  </a:lnTo>
                  <a:lnTo>
                    <a:pt x="52" y="103"/>
                  </a:lnTo>
                  <a:lnTo>
                    <a:pt x="53" y="103"/>
                  </a:lnTo>
                  <a:lnTo>
                    <a:pt x="54" y="103"/>
                  </a:lnTo>
                  <a:lnTo>
                    <a:pt x="55" y="103"/>
                  </a:lnTo>
                  <a:lnTo>
                    <a:pt x="56" y="103"/>
                  </a:lnTo>
                  <a:lnTo>
                    <a:pt x="56" y="103"/>
                  </a:lnTo>
                  <a:lnTo>
                    <a:pt x="57" y="103"/>
                  </a:lnTo>
                  <a:lnTo>
                    <a:pt x="58" y="103"/>
                  </a:lnTo>
                  <a:lnTo>
                    <a:pt x="59" y="103"/>
                  </a:lnTo>
                  <a:lnTo>
                    <a:pt x="59" y="102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1" y="101"/>
                  </a:lnTo>
                  <a:lnTo>
                    <a:pt x="61" y="101"/>
                  </a:lnTo>
                  <a:lnTo>
                    <a:pt x="61" y="100"/>
                  </a:lnTo>
                  <a:lnTo>
                    <a:pt x="62" y="99"/>
                  </a:lnTo>
                  <a:lnTo>
                    <a:pt x="62" y="99"/>
                  </a:lnTo>
                  <a:lnTo>
                    <a:pt x="63" y="98"/>
                  </a:lnTo>
                  <a:lnTo>
                    <a:pt x="64" y="92"/>
                  </a:lnTo>
                  <a:lnTo>
                    <a:pt x="65" y="91"/>
                  </a:lnTo>
                  <a:lnTo>
                    <a:pt x="65" y="89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7" y="87"/>
                  </a:lnTo>
                  <a:lnTo>
                    <a:pt x="67" y="86"/>
                  </a:lnTo>
                  <a:lnTo>
                    <a:pt x="67" y="86"/>
                  </a:lnTo>
                  <a:lnTo>
                    <a:pt x="69" y="85"/>
                  </a:lnTo>
                  <a:lnTo>
                    <a:pt x="70" y="84"/>
                  </a:lnTo>
                  <a:lnTo>
                    <a:pt x="72" y="83"/>
                  </a:lnTo>
                  <a:lnTo>
                    <a:pt x="74" y="82"/>
                  </a:lnTo>
                  <a:lnTo>
                    <a:pt x="75" y="81"/>
                  </a:lnTo>
                  <a:lnTo>
                    <a:pt x="76" y="80"/>
                  </a:lnTo>
                  <a:lnTo>
                    <a:pt x="78" y="79"/>
                  </a:lnTo>
                  <a:lnTo>
                    <a:pt x="79" y="77"/>
                  </a:lnTo>
                  <a:lnTo>
                    <a:pt x="79" y="77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1" y="76"/>
                  </a:lnTo>
                  <a:lnTo>
                    <a:pt x="86" y="78"/>
                  </a:lnTo>
                  <a:lnTo>
                    <a:pt x="90" y="80"/>
                  </a:lnTo>
                  <a:lnTo>
                    <a:pt x="92" y="80"/>
                  </a:lnTo>
                  <a:lnTo>
                    <a:pt x="95" y="81"/>
                  </a:lnTo>
                  <a:lnTo>
                    <a:pt x="100" y="84"/>
                  </a:lnTo>
                  <a:lnTo>
                    <a:pt x="103" y="85"/>
                  </a:lnTo>
                  <a:lnTo>
                    <a:pt x="104" y="85"/>
                  </a:lnTo>
                  <a:lnTo>
                    <a:pt x="105" y="86"/>
                  </a:lnTo>
                  <a:lnTo>
                    <a:pt x="106" y="87"/>
                  </a:lnTo>
                  <a:lnTo>
                    <a:pt x="108" y="88"/>
                  </a:lnTo>
                  <a:lnTo>
                    <a:pt x="109" y="89"/>
                  </a:lnTo>
                  <a:lnTo>
                    <a:pt x="110" y="89"/>
                  </a:lnTo>
                  <a:lnTo>
                    <a:pt x="110" y="90"/>
                  </a:lnTo>
                  <a:lnTo>
                    <a:pt x="111" y="90"/>
                  </a:lnTo>
                  <a:lnTo>
                    <a:pt x="112" y="90"/>
                  </a:lnTo>
                  <a:lnTo>
                    <a:pt x="113" y="91"/>
                  </a:lnTo>
                  <a:lnTo>
                    <a:pt x="116" y="91"/>
                  </a:lnTo>
                  <a:lnTo>
                    <a:pt x="117" y="91"/>
                  </a:lnTo>
                  <a:lnTo>
                    <a:pt x="121" y="92"/>
                  </a:lnTo>
                  <a:lnTo>
                    <a:pt x="123" y="92"/>
                  </a:lnTo>
                  <a:lnTo>
                    <a:pt x="124" y="92"/>
                  </a:lnTo>
                  <a:lnTo>
                    <a:pt x="125" y="92"/>
                  </a:lnTo>
                  <a:lnTo>
                    <a:pt x="126" y="92"/>
                  </a:lnTo>
                  <a:lnTo>
                    <a:pt x="128" y="92"/>
                  </a:lnTo>
                  <a:lnTo>
                    <a:pt x="129" y="92"/>
                  </a:lnTo>
                  <a:lnTo>
                    <a:pt x="129" y="92"/>
                  </a:lnTo>
                  <a:lnTo>
                    <a:pt x="130" y="91"/>
                  </a:lnTo>
                  <a:lnTo>
                    <a:pt x="131" y="91"/>
                  </a:lnTo>
                  <a:lnTo>
                    <a:pt x="131" y="90"/>
                  </a:lnTo>
                  <a:lnTo>
                    <a:pt x="132" y="90"/>
                  </a:lnTo>
                  <a:lnTo>
                    <a:pt x="133" y="89"/>
                  </a:lnTo>
                  <a:lnTo>
                    <a:pt x="133" y="88"/>
                  </a:lnTo>
                  <a:lnTo>
                    <a:pt x="134" y="86"/>
                  </a:lnTo>
                  <a:lnTo>
                    <a:pt x="136" y="81"/>
                  </a:lnTo>
                  <a:lnTo>
                    <a:pt x="137" y="79"/>
                  </a:lnTo>
                  <a:lnTo>
                    <a:pt x="138" y="77"/>
                  </a:lnTo>
                  <a:lnTo>
                    <a:pt x="139" y="75"/>
                  </a:lnTo>
                  <a:lnTo>
                    <a:pt x="140" y="73"/>
                  </a:lnTo>
                  <a:lnTo>
                    <a:pt x="141" y="73"/>
                  </a:lnTo>
                  <a:lnTo>
                    <a:pt x="141" y="72"/>
                  </a:lnTo>
                  <a:lnTo>
                    <a:pt x="142" y="72"/>
                  </a:lnTo>
                  <a:lnTo>
                    <a:pt x="142" y="71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44" y="70"/>
                  </a:lnTo>
                  <a:lnTo>
                    <a:pt x="145" y="70"/>
                  </a:lnTo>
                  <a:lnTo>
                    <a:pt x="149" y="69"/>
                  </a:lnTo>
                  <a:lnTo>
                    <a:pt x="153" y="69"/>
                  </a:lnTo>
                  <a:lnTo>
                    <a:pt x="154" y="68"/>
                  </a:lnTo>
                  <a:lnTo>
                    <a:pt x="155" y="68"/>
                  </a:lnTo>
                  <a:lnTo>
                    <a:pt x="157" y="69"/>
                  </a:lnTo>
                  <a:lnTo>
                    <a:pt x="159" y="69"/>
                  </a:lnTo>
                  <a:lnTo>
                    <a:pt x="160" y="69"/>
                  </a:lnTo>
                  <a:lnTo>
                    <a:pt x="161" y="69"/>
                  </a:lnTo>
                  <a:lnTo>
                    <a:pt x="164" y="69"/>
                  </a:lnTo>
                  <a:lnTo>
                    <a:pt x="165" y="69"/>
                  </a:lnTo>
                  <a:lnTo>
                    <a:pt x="166" y="69"/>
                  </a:lnTo>
                  <a:lnTo>
                    <a:pt x="167" y="70"/>
                  </a:lnTo>
                  <a:lnTo>
                    <a:pt x="169" y="70"/>
                  </a:lnTo>
                  <a:lnTo>
                    <a:pt x="175" y="72"/>
                  </a:lnTo>
                  <a:lnTo>
                    <a:pt x="177" y="72"/>
                  </a:lnTo>
                  <a:lnTo>
                    <a:pt x="178" y="72"/>
                  </a:lnTo>
                  <a:lnTo>
                    <a:pt x="179" y="72"/>
                  </a:lnTo>
                  <a:lnTo>
                    <a:pt x="180" y="72"/>
                  </a:lnTo>
                  <a:lnTo>
                    <a:pt x="181" y="72"/>
                  </a:lnTo>
                  <a:lnTo>
                    <a:pt x="182" y="72"/>
                  </a:lnTo>
                  <a:lnTo>
                    <a:pt x="183" y="72"/>
                  </a:lnTo>
                  <a:lnTo>
                    <a:pt x="184" y="72"/>
                  </a:lnTo>
                  <a:lnTo>
                    <a:pt x="186" y="71"/>
                  </a:lnTo>
                  <a:lnTo>
                    <a:pt x="187" y="71"/>
                  </a:lnTo>
                  <a:lnTo>
                    <a:pt x="187" y="70"/>
                  </a:lnTo>
                  <a:lnTo>
                    <a:pt x="188" y="70"/>
                  </a:lnTo>
                  <a:lnTo>
                    <a:pt x="189" y="70"/>
                  </a:lnTo>
                  <a:lnTo>
                    <a:pt x="189" y="69"/>
                  </a:lnTo>
                  <a:lnTo>
                    <a:pt x="190" y="69"/>
                  </a:lnTo>
                  <a:lnTo>
                    <a:pt x="190" y="68"/>
                  </a:lnTo>
                  <a:lnTo>
                    <a:pt x="190" y="68"/>
                  </a:lnTo>
                  <a:lnTo>
                    <a:pt x="191" y="67"/>
                  </a:lnTo>
                  <a:lnTo>
                    <a:pt x="191" y="67"/>
                  </a:lnTo>
                  <a:lnTo>
                    <a:pt x="191" y="66"/>
                  </a:lnTo>
                  <a:lnTo>
                    <a:pt x="191" y="65"/>
                  </a:lnTo>
                  <a:lnTo>
                    <a:pt x="191" y="63"/>
                  </a:lnTo>
                  <a:lnTo>
                    <a:pt x="191" y="59"/>
                  </a:lnTo>
                  <a:lnTo>
                    <a:pt x="192" y="54"/>
                  </a:lnTo>
                  <a:lnTo>
                    <a:pt x="192" y="54"/>
                  </a:lnTo>
                  <a:lnTo>
                    <a:pt x="191" y="51"/>
                  </a:lnTo>
                  <a:lnTo>
                    <a:pt x="191" y="49"/>
                  </a:lnTo>
                  <a:lnTo>
                    <a:pt x="191" y="48"/>
                  </a:lnTo>
                  <a:lnTo>
                    <a:pt x="191" y="47"/>
                  </a:lnTo>
                  <a:lnTo>
                    <a:pt x="191" y="46"/>
                  </a:lnTo>
                  <a:lnTo>
                    <a:pt x="192" y="44"/>
                  </a:lnTo>
                  <a:lnTo>
                    <a:pt x="194" y="39"/>
                  </a:lnTo>
                  <a:lnTo>
                    <a:pt x="194" y="37"/>
                  </a:lnTo>
                  <a:lnTo>
                    <a:pt x="195" y="36"/>
                  </a:lnTo>
                  <a:lnTo>
                    <a:pt x="195" y="34"/>
                  </a:lnTo>
                  <a:lnTo>
                    <a:pt x="195" y="32"/>
                  </a:lnTo>
                  <a:lnTo>
                    <a:pt x="196" y="27"/>
                  </a:lnTo>
                  <a:lnTo>
                    <a:pt x="196" y="25"/>
                  </a:lnTo>
                  <a:lnTo>
                    <a:pt x="196" y="24"/>
                  </a:lnTo>
                  <a:lnTo>
                    <a:pt x="196" y="24"/>
                  </a:lnTo>
                  <a:lnTo>
                    <a:pt x="195" y="23"/>
                  </a:lnTo>
                  <a:lnTo>
                    <a:pt x="195" y="22"/>
                  </a:lnTo>
                  <a:lnTo>
                    <a:pt x="195" y="22"/>
                  </a:lnTo>
                  <a:lnTo>
                    <a:pt x="194" y="21"/>
                  </a:lnTo>
                  <a:lnTo>
                    <a:pt x="194" y="20"/>
                  </a:lnTo>
                  <a:lnTo>
                    <a:pt x="194" y="20"/>
                  </a:lnTo>
                  <a:lnTo>
                    <a:pt x="193" y="20"/>
                  </a:lnTo>
                  <a:lnTo>
                    <a:pt x="193" y="19"/>
                  </a:lnTo>
                  <a:lnTo>
                    <a:pt x="192" y="19"/>
                  </a:lnTo>
                  <a:lnTo>
                    <a:pt x="191" y="18"/>
                  </a:lnTo>
                  <a:lnTo>
                    <a:pt x="189" y="18"/>
                  </a:lnTo>
                  <a:lnTo>
                    <a:pt x="188" y="18"/>
                  </a:lnTo>
                  <a:lnTo>
                    <a:pt x="188" y="17"/>
                  </a:lnTo>
                  <a:lnTo>
                    <a:pt x="187" y="17"/>
                  </a:lnTo>
                  <a:lnTo>
                    <a:pt x="186" y="16"/>
                  </a:lnTo>
                  <a:lnTo>
                    <a:pt x="186" y="15"/>
                  </a:lnTo>
                  <a:lnTo>
                    <a:pt x="186" y="15"/>
                  </a:lnTo>
                  <a:lnTo>
                    <a:pt x="185" y="15"/>
                  </a:lnTo>
                  <a:lnTo>
                    <a:pt x="185" y="14"/>
                  </a:lnTo>
                  <a:lnTo>
                    <a:pt x="185" y="13"/>
                  </a:lnTo>
                  <a:lnTo>
                    <a:pt x="185" y="13"/>
                  </a:lnTo>
                  <a:lnTo>
                    <a:pt x="185" y="12"/>
                  </a:lnTo>
                  <a:lnTo>
                    <a:pt x="185" y="12"/>
                  </a:lnTo>
                  <a:lnTo>
                    <a:pt x="186" y="11"/>
                  </a:lnTo>
                  <a:lnTo>
                    <a:pt x="186" y="10"/>
                  </a:lnTo>
                  <a:lnTo>
                    <a:pt x="186" y="9"/>
                  </a:lnTo>
                  <a:lnTo>
                    <a:pt x="187" y="8"/>
                  </a:lnTo>
                  <a:lnTo>
                    <a:pt x="187" y="8"/>
                  </a:lnTo>
                  <a:lnTo>
                    <a:pt x="188" y="7"/>
                  </a:lnTo>
                  <a:lnTo>
                    <a:pt x="189" y="6"/>
                  </a:lnTo>
                  <a:lnTo>
                    <a:pt x="190" y="5"/>
                  </a:lnTo>
                  <a:lnTo>
                    <a:pt x="195" y="2"/>
                  </a:lnTo>
                  <a:lnTo>
                    <a:pt x="196" y="1"/>
                  </a:lnTo>
                  <a:lnTo>
                    <a:pt x="197" y="0"/>
                  </a:lnTo>
                  <a:lnTo>
                    <a:pt x="197" y="0"/>
                  </a:lnTo>
                  <a:lnTo>
                    <a:pt x="198" y="0"/>
                  </a:lnTo>
                  <a:close/>
                </a:path>
              </a:pathLst>
            </a:custGeom>
            <a:solidFill>
              <a:srgbClr val="828282"/>
            </a:solidFill>
            <a:ln w="20638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Freeform 57">
              <a:extLst>
                <a:ext uri="{FF2B5EF4-FFF2-40B4-BE49-F238E27FC236}">
                  <a16:creationId xmlns:a16="http://schemas.microsoft.com/office/drawing/2014/main" id="{CA38D769-7915-E9BE-92CA-A2A2EEEDB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993"/>
              <a:ext cx="436" cy="339"/>
            </a:xfrm>
            <a:custGeom>
              <a:avLst/>
              <a:gdLst>
                <a:gd name="T0" fmla="*/ 170 w 436"/>
                <a:gd name="T1" fmla="*/ 16 h 339"/>
                <a:gd name="T2" fmla="*/ 204 w 436"/>
                <a:gd name="T3" fmla="*/ 13 h 339"/>
                <a:gd name="T4" fmla="*/ 221 w 436"/>
                <a:gd name="T5" fmla="*/ 46 h 339"/>
                <a:gd name="T6" fmla="*/ 247 w 436"/>
                <a:gd name="T7" fmla="*/ 42 h 339"/>
                <a:gd name="T8" fmla="*/ 262 w 436"/>
                <a:gd name="T9" fmla="*/ 61 h 339"/>
                <a:gd name="T10" fmla="*/ 264 w 436"/>
                <a:gd name="T11" fmla="*/ 79 h 339"/>
                <a:gd name="T12" fmla="*/ 283 w 436"/>
                <a:gd name="T13" fmla="*/ 62 h 339"/>
                <a:gd name="T14" fmla="*/ 310 w 436"/>
                <a:gd name="T15" fmla="*/ 62 h 339"/>
                <a:gd name="T16" fmla="*/ 325 w 436"/>
                <a:gd name="T17" fmla="*/ 61 h 339"/>
                <a:gd name="T18" fmla="*/ 345 w 436"/>
                <a:gd name="T19" fmla="*/ 51 h 339"/>
                <a:gd name="T20" fmla="*/ 376 w 436"/>
                <a:gd name="T21" fmla="*/ 69 h 339"/>
                <a:gd name="T22" fmla="*/ 384 w 436"/>
                <a:gd name="T23" fmla="*/ 96 h 339"/>
                <a:gd name="T24" fmla="*/ 367 w 436"/>
                <a:gd name="T25" fmla="*/ 125 h 339"/>
                <a:gd name="T26" fmla="*/ 348 w 436"/>
                <a:gd name="T27" fmla="*/ 134 h 339"/>
                <a:gd name="T28" fmla="*/ 329 w 436"/>
                <a:gd name="T29" fmla="*/ 147 h 339"/>
                <a:gd name="T30" fmla="*/ 322 w 436"/>
                <a:gd name="T31" fmla="*/ 157 h 339"/>
                <a:gd name="T32" fmla="*/ 335 w 436"/>
                <a:gd name="T33" fmla="*/ 173 h 339"/>
                <a:gd name="T34" fmla="*/ 353 w 436"/>
                <a:gd name="T35" fmla="*/ 183 h 339"/>
                <a:gd name="T36" fmla="*/ 372 w 436"/>
                <a:gd name="T37" fmla="*/ 196 h 339"/>
                <a:gd name="T38" fmla="*/ 392 w 436"/>
                <a:gd name="T39" fmla="*/ 212 h 339"/>
                <a:gd name="T40" fmla="*/ 424 w 436"/>
                <a:gd name="T41" fmla="*/ 250 h 339"/>
                <a:gd name="T42" fmla="*/ 436 w 436"/>
                <a:gd name="T43" fmla="*/ 287 h 339"/>
                <a:gd name="T44" fmla="*/ 417 w 436"/>
                <a:gd name="T45" fmla="*/ 283 h 339"/>
                <a:gd name="T46" fmla="*/ 403 w 436"/>
                <a:gd name="T47" fmla="*/ 293 h 339"/>
                <a:gd name="T48" fmla="*/ 372 w 436"/>
                <a:gd name="T49" fmla="*/ 312 h 339"/>
                <a:gd name="T50" fmla="*/ 361 w 436"/>
                <a:gd name="T51" fmla="*/ 328 h 339"/>
                <a:gd name="T52" fmla="*/ 355 w 436"/>
                <a:gd name="T53" fmla="*/ 337 h 339"/>
                <a:gd name="T54" fmla="*/ 332 w 436"/>
                <a:gd name="T55" fmla="*/ 338 h 339"/>
                <a:gd name="T56" fmla="*/ 303 w 436"/>
                <a:gd name="T57" fmla="*/ 327 h 339"/>
                <a:gd name="T58" fmla="*/ 278 w 436"/>
                <a:gd name="T59" fmla="*/ 308 h 339"/>
                <a:gd name="T60" fmla="*/ 261 w 436"/>
                <a:gd name="T61" fmla="*/ 289 h 339"/>
                <a:gd name="T62" fmla="*/ 229 w 436"/>
                <a:gd name="T63" fmla="*/ 290 h 339"/>
                <a:gd name="T64" fmla="*/ 209 w 436"/>
                <a:gd name="T65" fmla="*/ 296 h 339"/>
                <a:gd name="T66" fmla="*/ 198 w 436"/>
                <a:gd name="T67" fmla="*/ 280 h 339"/>
                <a:gd name="T68" fmla="*/ 181 w 436"/>
                <a:gd name="T69" fmla="*/ 297 h 339"/>
                <a:gd name="T70" fmla="*/ 155 w 436"/>
                <a:gd name="T71" fmla="*/ 298 h 339"/>
                <a:gd name="T72" fmla="*/ 136 w 436"/>
                <a:gd name="T73" fmla="*/ 294 h 339"/>
                <a:gd name="T74" fmla="*/ 117 w 436"/>
                <a:gd name="T75" fmla="*/ 308 h 339"/>
                <a:gd name="T76" fmla="*/ 98 w 436"/>
                <a:gd name="T77" fmla="*/ 312 h 339"/>
                <a:gd name="T78" fmla="*/ 90 w 436"/>
                <a:gd name="T79" fmla="*/ 299 h 339"/>
                <a:gd name="T80" fmla="*/ 74 w 436"/>
                <a:gd name="T81" fmla="*/ 286 h 339"/>
                <a:gd name="T82" fmla="*/ 83 w 436"/>
                <a:gd name="T83" fmla="*/ 265 h 339"/>
                <a:gd name="T84" fmla="*/ 78 w 436"/>
                <a:gd name="T85" fmla="*/ 234 h 339"/>
                <a:gd name="T86" fmla="*/ 63 w 436"/>
                <a:gd name="T87" fmla="*/ 227 h 339"/>
                <a:gd name="T88" fmla="*/ 32 w 436"/>
                <a:gd name="T89" fmla="*/ 226 h 339"/>
                <a:gd name="T90" fmla="*/ 22 w 436"/>
                <a:gd name="T91" fmla="*/ 208 h 339"/>
                <a:gd name="T92" fmla="*/ 5 w 436"/>
                <a:gd name="T93" fmla="*/ 200 h 339"/>
                <a:gd name="T94" fmla="*/ 3 w 436"/>
                <a:gd name="T95" fmla="*/ 184 h 339"/>
                <a:gd name="T96" fmla="*/ 11 w 436"/>
                <a:gd name="T97" fmla="*/ 159 h 339"/>
                <a:gd name="T98" fmla="*/ 3 w 436"/>
                <a:gd name="T99" fmla="*/ 131 h 339"/>
                <a:gd name="T100" fmla="*/ 21 w 436"/>
                <a:gd name="T101" fmla="*/ 127 h 339"/>
                <a:gd name="T102" fmla="*/ 43 w 436"/>
                <a:gd name="T103" fmla="*/ 122 h 339"/>
                <a:gd name="T104" fmla="*/ 63 w 436"/>
                <a:gd name="T105" fmla="*/ 125 h 339"/>
                <a:gd name="T106" fmla="*/ 80 w 436"/>
                <a:gd name="T107" fmla="*/ 134 h 339"/>
                <a:gd name="T108" fmla="*/ 96 w 436"/>
                <a:gd name="T109" fmla="*/ 135 h 339"/>
                <a:gd name="T110" fmla="*/ 104 w 436"/>
                <a:gd name="T111" fmla="*/ 115 h 339"/>
                <a:gd name="T112" fmla="*/ 120 w 436"/>
                <a:gd name="T113" fmla="*/ 120 h 339"/>
                <a:gd name="T114" fmla="*/ 142 w 436"/>
                <a:gd name="T115" fmla="*/ 121 h 339"/>
                <a:gd name="T116" fmla="*/ 145 w 436"/>
                <a:gd name="T117" fmla="*/ 105 h 339"/>
                <a:gd name="T118" fmla="*/ 140 w 436"/>
                <a:gd name="T119" fmla="*/ 76 h 339"/>
                <a:gd name="T120" fmla="*/ 132 w 436"/>
                <a:gd name="T121" fmla="*/ 36 h 339"/>
                <a:gd name="T122" fmla="*/ 123 w 436"/>
                <a:gd name="T123" fmla="*/ 2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36" h="339">
                  <a:moveTo>
                    <a:pt x="127" y="1"/>
                  </a:moveTo>
                  <a:lnTo>
                    <a:pt x="129" y="1"/>
                  </a:lnTo>
                  <a:lnTo>
                    <a:pt x="135" y="1"/>
                  </a:lnTo>
                  <a:lnTo>
                    <a:pt x="137" y="2"/>
                  </a:lnTo>
                  <a:lnTo>
                    <a:pt x="139" y="2"/>
                  </a:lnTo>
                  <a:lnTo>
                    <a:pt x="141" y="2"/>
                  </a:lnTo>
                  <a:lnTo>
                    <a:pt x="143" y="3"/>
                  </a:lnTo>
                  <a:lnTo>
                    <a:pt x="144" y="3"/>
                  </a:lnTo>
                  <a:lnTo>
                    <a:pt x="145" y="4"/>
                  </a:lnTo>
                  <a:lnTo>
                    <a:pt x="146" y="4"/>
                  </a:lnTo>
                  <a:lnTo>
                    <a:pt x="150" y="6"/>
                  </a:lnTo>
                  <a:lnTo>
                    <a:pt x="152" y="7"/>
                  </a:lnTo>
                  <a:lnTo>
                    <a:pt x="155" y="9"/>
                  </a:lnTo>
                  <a:lnTo>
                    <a:pt x="160" y="10"/>
                  </a:lnTo>
                  <a:lnTo>
                    <a:pt x="161" y="11"/>
                  </a:lnTo>
                  <a:lnTo>
                    <a:pt x="163" y="12"/>
                  </a:lnTo>
                  <a:lnTo>
                    <a:pt x="164" y="12"/>
                  </a:lnTo>
                  <a:lnTo>
                    <a:pt x="165" y="13"/>
                  </a:lnTo>
                  <a:lnTo>
                    <a:pt x="166" y="14"/>
                  </a:lnTo>
                  <a:lnTo>
                    <a:pt x="170" y="16"/>
                  </a:lnTo>
                  <a:lnTo>
                    <a:pt x="170" y="17"/>
                  </a:lnTo>
                  <a:lnTo>
                    <a:pt x="171" y="17"/>
                  </a:lnTo>
                  <a:lnTo>
                    <a:pt x="173" y="18"/>
                  </a:lnTo>
                  <a:lnTo>
                    <a:pt x="174" y="18"/>
                  </a:lnTo>
                  <a:lnTo>
                    <a:pt x="175" y="18"/>
                  </a:lnTo>
                  <a:lnTo>
                    <a:pt x="175" y="19"/>
                  </a:lnTo>
                  <a:lnTo>
                    <a:pt x="176" y="19"/>
                  </a:lnTo>
                  <a:lnTo>
                    <a:pt x="178" y="19"/>
                  </a:lnTo>
                  <a:lnTo>
                    <a:pt x="181" y="19"/>
                  </a:lnTo>
                  <a:lnTo>
                    <a:pt x="183" y="19"/>
                  </a:lnTo>
                  <a:lnTo>
                    <a:pt x="184" y="19"/>
                  </a:lnTo>
                  <a:lnTo>
                    <a:pt x="184" y="19"/>
                  </a:lnTo>
                  <a:lnTo>
                    <a:pt x="187" y="18"/>
                  </a:lnTo>
                  <a:lnTo>
                    <a:pt x="194" y="16"/>
                  </a:lnTo>
                  <a:lnTo>
                    <a:pt x="196" y="16"/>
                  </a:lnTo>
                  <a:lnTo>
                    <a:pt x="199" y="14"/>
                  </a:lnTo>
                  <a:lnTo>
                    <a:pt x="200" y="14"/>
                  </a:lnTo>
                  <a:lnTo>
                    <a:pt x="201" y="14"/>
                  </a:lnTo>
                  <a:lnTo>
                    <a:pt x="203" y="13"/>
                  </a:lnTo>
                  <a:lnTo>
                    <a:pt x="204" y="13"/>
                  </a:lnTo>
                  <a:lnTo>
                    <a:pt x="204" y="14"/>
                  </a:lnTo>
                  <a:lnTo>
                    <a:pt x="205" y="14"/>
                  </a:lnTo>
                  <a:lnTo>
                    <a:pt x="206" y="14"/>
                  </a:lnTo>
                  <a:lnTo>
                    <a:pt x="206" y="15"/>
                  </a:lnTo>
                  <a:lnTo>
                    <a:pt x="207" y="15"/>
                  </a:lnTo>
                  <a:lnTo>
                    <a:pt x="208" y="16"/>
                  </a:lnTo>
                  <a:lnTo>
                    <a:pt x="209" y="17"/>
                  </a:lnTo>
                  <a:lnTo>
                    <a:pt x="209" y="18"/>
                  </a:lnTo>
                  <a:lnTo>
                    <a:pt x="210" y="19"/>
                  </a:lnTo>
                  <a:lnTo>
                    <a:pt x="210" y="20"/>
                  </a:lnTo>
                  <a:lnTo>
                    <a:pt x="211" y="24"/>
                  </a:lnTo>
                  <a:lnTo>
                    <a:pt x="212" y="26"/>
                  </a:lnTo>
                  <a:lnTo>
                    <a:pt x="213" y="28"/>
                  </a:lnTo>
                  <a:lnTo>
                    <a:pt x="216" y="34"/>
                  </a:lnTo>
                  <a:lnTo>
                    <a:pt x="217" y="38"/>
                  </a:lnTo>
                  <a:lnTo>
                    <a:pt x="219" y="41"/>
                  </a:lnTo>
                  <a:lnTo>
                    <a:pt x="219" y="43"/>
                  </a:lnTo>
                  <a:lnTo>
                    <a:pt x="220" y="44"/>
                  </a:lnTo>
                  <a:lnTo>
                    <a:pt x="221" y="45"/>
                  </a:lnTo>
                  <a:lnTo>
                    <a:pt x="221" y="46"/>
                  </a:lnTo>
                  <a:lnTo>
                    <a:pt x="222" y="46"/>
                  </a:lnTo>
                  <a:lnTo>
                    <a:pt x="222" y="46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4" y="48"/>
                  </a:lnTo>
                  <a:lnTo>
                    <a:pt x="225" y="48"/>
                  </a:lnTo>
                  <a:lnTo>
                    <a:pt x="225" y="48"/>
                  </a:lnTo>
                  <a:lnTo>
                    <a:pt x="226" y="48"/>
                  </a:lnTo>
                  <a:lnTo>
                    <a:pt x="227" y="48"/>
                  </a:lnTo>
                  <a:lnTo>
                    <a:pt x="228" y="47"/>
                  </a:lnTo>
                  <a:lnTo>
                    <a:pt x="229" y="47"/>
                  </a:lnTo>
                  <a:lnTo>
                    <a:pt x="231" y="46"/>
                  </a:lnTo>
                  <a:lnTo>
                    <a:pt x="236" y="45"/>
                  </a:lnTo>
                  <a:lnTo>
                    <a:pt x="238" y="44"/>
                  </a:lnTo>
                  <a:lnTo>
                    <a:pt x="241" y="43"/>
                  </a:lnTo>
                  <a:lnTo>
                    <a:pt x="242" y="43"/>
                  </a:lnTo>
                  <a:lnTo>
                    <a:pt x="244" y="42"/>
                  </a:lnTo>
                  <a:lnTo>
                    <a:pt x="245" y="42"/>
                  </a:lnTo>
                  <a:lnTo>
                    <a:pt x="247" y="42"/>
                  </a:lnTo>
                  <a:lnTo>
                    <a:pt x="247" y="41"/>
                  </a:lnTo>
                  <a:lnTo>
                    <a:pt x="249" y="41"/>
                  </a:lnTo>
                  <a:lnTo>
                    <a:pt x="250" y="41"/>
                  </a:lnTo>
                  <a:lnTo>
                    <a:pt x="251" y="42"/>
                  </a:lnTo>
                  <a:lnTo>
                    <a:pt x="252" y="42"/>
                  </a:lnTo>
                  <a:lnTo>
                    <a:pt x="253" y="43"/>
                  </a:lnTo>
                  <a:lnTo>
                    <a:pt x="254" y="43"/>
                  </a:lnTo>
                  <a:lnTo>
                    <a:pt x="255" y="44"/>
                  </a:lnTo>
                  <a:lnTo>
                    <a:pt x="256" y="45"/>
                  </a:lnTo>
                  <a:lnTo>
                    <a:pt x="257" y="45"/>
                  </a:lnTo>
                  <a:lnTo>
                    <a:pt x="257" y="46"/>
                  </a:lnTo>
                  <a:lnTo>
                    <a:pt x="258" y="47"/>
                  </a:lnTo>
                  <a:lnTo>
                    <a:pt x="259" y="49"/>
                  </a:lnTo>
                  <a:lnTo>
                    <a:pt x="259" y="49"/>
                  </a:lnTo>
                  <a:lnTo>
                    <a:pt x="260" y="50"/>
                  </a:lnTo>
                  <a:lnTo>
                    <a:pt x="260" y="52"/>
                  </a:lnTo>
                  <a:lnTo>
                    <a:pt x="261" y="54"/>
                  </a:lnTo>
                  <a:lnTo>
                    <a:pt x="262" y="56"/>
                  </a:lnTo>
                  <a:lnTo>
                    <a:pt x="262" y="58"/>
                  </a:lnTo>
                  <a:lnTo>
                    <a:pt x="262" y="61"/>
                  </a:lnTo>
                  <a:lnTo>
                    <a:pt x="263" y="65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3" y="68"/>
                  </a:lnTo>
                  <a:lnTo>
                    <a:pt x="263" y="68"/>
                  </a:lnTo>
                  <a:lnTo>
                    <a:pt x="263" y="69"/>
                  </a:lnTo>
                  <a:lnTo>
                    <a:pt x="263" y="69"/>
                  </a:lnTo>
                  <a:lnTo>
                    <a:pt x="263" y="70"/>
                  </a:lnTo>
                  <a:lnTo>
                    <a:pt x="261" y="73"/>
                  </a:lnTo>
                  <a:lnTo>
                    <a:pt x="261" y="74"/>
                  </a:lnTo>
                  <a:lnTo>
                    <a:pt x="261" y="74"/>
                  </a:lnTo>
                  <a:lnTo>
                    <a:pt x="260" y="75"/>
                  </a:lnTo>
                  <a:lnTo>
                    <a:pt x="260" y="76"/>
                  </a:lnTo>
                  <a:lnTo>
                    <a:pt x="261" y="76"/>
                  </a:lnTo>
                  <a:lnTo>
                    <a:pt x="261" y="77"/>
                  </a:lnTo>
                  <a:lnTo>
                    <a:pt x="261" y="77"/>
                  </a:lnTo>
                  <a:lnTo>
                    <a:pt x="262" y="78"/>
                  </a:lnTo>
                  <a:lnTo>
                    <a:pt x="262" y="79"/>
                  </a:lnTo>
                  <a:lnTo>
                    <a:pt x="263" y="79"/>
                  </a:lnTo>
                  <a:lnTo>
                    <a:pt x="264" y="79"/>
                  </a:lnTo>
                  <a:lnTo>
                    <a:pt x="265" y="80"/>
                  </a:lnTo>
                  <a:lnTo>
                    <a:pt x="266" y="80"/>
                  </a:lnTo>
                  <a:lnTo>
                    <a:pt x="267" y="80"/>
                  </a:lnTo>
                  <a:lnTo>
                    <a:pt x="267" y="80"/>
                  </a:lnTo>
                  <a:lnTo>
                    <a:pt x="268" y="80"/>
                  </a:lnTo>
                  <a:lnTo>
                    <a:pt x="269" y="79"/>
                  </a:lnTo>
                  <a:lnTo>
                    <a:pt x="270" y="79"/>
                  </a:lnTo>
                  <a:lnTo>
                    <a:pt x="272" y="78"/>
                  </a:lnTo>
                  <a:lnTo>
                    <a:pt x="274" y="76"/>
                  </a:lnTo>
                  <a:lnTo>
                    <a:pt x="275" y="76"/>
                  </a:lnTo>
                  <a:lnTo>
                    <a:pt x="276" y="75"/>
                  </a:lnTo>
                  <a:lnTo>
                    <a:pt x="276" y="75"/>
                  </a:lnTo>
                  <a:lnTo>
                    <a:pt x="276" y="74"/>
                  </a:lnTo>
                  <a:lnTo>
                    <a:pt x="277" y="74"/>
                  </a:lnTo>
                  <a:lnTo>
                    <a:pt x="277" y="73"/>
                  </a:lnTo>
                  <a:lnTo>
                    <a:pt x="278" y="72"/>
                  </a:lnTo>
                  <a:lnTo>
                    <a:pt x="280" y="68"/>
                  </a:lnTo>
                  <a:lnTo>
                    <a:pt x="281" y="65"/>
                  </a:lnTo>
                  <a:lnTo>
                    <a:pt x="282" y="64"/>
                  </a:lnTo>
                  <a:lnTo>
                    <a:pt x="283" y="62"/>
                  </a:lnTo>
                  <a:lnTo>
                    <a:pt x="285" y="61"/>
                  </a:lnTo>
                  <a:lnTo>
                    <a:pt x="286" y="59"/>
                  </a:lnTo>
                  <a:lnTo>
                    <a:pt x="287" y="58"/>
                  </a:lnTo>
                  <a:lnTo>
                    <a:pt x="289" y="57"/>
                  </a:lnTo>
                  <a:lnTo>
                    <a:pt x="290" y="56"/>
                  </a:lnTo>
                  <a:lnTo>
                    <a:pt x="291" y="55"/>
                  </a:lnTo>
                  <a:lnTo>
                    <a:pt x="291" y="55"/>
                  </a:lnTo>
                  <a:lnTo>
                    <a:pt x="292" y="55"/>
                  </a:lnTo>
                  <a:lnTo>
                    <a:pt x="293" y="54"/>
                  </a:lnTo>
                  <a:lnTo>
                    <a:pt x="295" y="54"/>
                  </a:lnTo>
                  <a:lnTo>
                    <a:pt x="296" y="55"/>
                  </a:lnTo>
                  <a:lnTo>
                    <a:pt x="297" y="55"/>
                  </a:lnTo>
                  <a:lnTo>
                    <a:pt x="298" y="55"/>
                  </a:lnTo>
                  <a:lnTo>
                    <a:pt x="299" y="56"/>
                  </a:lnTo>
                  <a:lnTo>
                    <a:pt x="304" y="58"/>
                  </a:lnTo>
                  <a:lnTo>
                    <a:pt x="305" y="58"/>
                  </a:lnTo>
                  <a:lnTo>
                    <a:pt x="306" y="59"/>
                  </a:lnTo>
                  <a:lnTo>
                    <a:pt x="307" y="60"/>
                  </a:lnTo>
                  <a:lnTo>
                    <a:pt x="309" y="61"/>
                  </a:lnTo>
                  <a:lnTo>
                    <a:pt x="310" y="62"/>
                  </a:lnTo>
                  <a:lnTo>
                    <a:pt x="313" y="65"/>
                  </a:lnTo>
                  <a:lnTo>
                    <a:pt x="314" y="65"/>
                  </a:lnTo>
                  <a:lnTo>
                    <a:pt x="315" y="66"/>
                  </a:lnTo>
                  <a:lnTo>
                    <a:pt x="315" y="66"/>
                  </a:lnTo>
                  <a:lnTo>
                    <a:pt x="316" y="66"/>
                  </a:lnTo>
                  <a:lnTo>
                    <a:pt x="316" y="66"/>
                  </a:lnTo>
                  <a:lnTo>
                    <a:pt x="317" y="66"/>
                  </a:lnTo>
                  <a:lnTo>
                    <a:pt x="318" y="66"/>
                  </a:lnTo>
                  <a:lnTo>
                    <a:pt x="319" y="66"/>
                  </a:lnTo>
                  <a:lnTo>
                    <a:pt x="319" y="66"/>
                  </a:lnTo>
                  <a:lnTo>
                    <a:pt x="320" y="66"/>
                  </a:lnTo>
                  <a:lnTo>
                    <a:pt x="321" y="66"/>
                  </a:lnTo>
                  <a:lnTo>
                    <a:pt x="322" y="65"/>
                  </a:lnTo>
                  <a:lnTo>
                    <a:pt x="322" y="65"/>
                  </a:lnTo>
                  <a:lnTo>
                    <a:pt x="323" y="64"/>
                  </a:lnTo>
                  <a:lnTo>
                    <a:pt x="323" y="64"/>
                  </a:lnTo>
                  <a:lnTo>
                    <a:pt x="324" y="63"/>
                  </a:lnTo>
                  <a:lnTo>
                    <a:pt x="324" y="63"/>
                  </a:lnTo>
                  <a:lnTo>
                    <a:pt x="325" y="62"/>
                  </a:lnTo>
                  <a:lnTo>
                    <a:pt x="325" y="61"/>
                  </a:lnTo>
                  <a:lnTo>
                    <a:pt x="326" y="57"/>
                  </a:lnTo>
                  <a:lnTo>
                    <a:pt x="327" y="55"/>
                  </a:lnTo>
                  <a:lnTo>
                    <a:pt x="328" y="54"/>
                  </a:lnTo>
                  <a:lnTo>
                    <a:pt x="329" y="53"/>
                  </a:lnTo>
                  <a:lnTo>
                    <a:pt x="329" y="53"/>
                  </a:lnTo>
                  <a:lnTo>
                    <a:pt x="330" y="52"/>
                  </a:lnTo>
                  <a:lnTo>
                    <a:pt x="330" y="52"/>
                  </a:lnTo>
                  <a:lnTo>
                    <a:pt x="330" y="51"/>
                  </a:lnTo>
                  <a:lnTo>
                    <a:pt x="331" y="51"/>
                  </a:lnTo>
                  <a:lnTo>
                    <a:pt x="332" y="50"/>
                  </a:lnTo>
                  <a:lnTo>
                    <a:pt x="332" y="50"/>
                  </a:lnTo>
                  <a:lnTo>
                    <a:pt x="333" y="50"/>
                  </a:lnTo>
                  <a:lnTo>
                    <a:pt x="334" y="50"/>
                  </a:lnTo>
                  <a:lnTo>
                    <a:pt x="335" y="50"/>
                  </a:lnTo>
                  <a:lnTo>
                    <a:pt x="336" y="50"/>
                  </a:lnTo>
                  <a:lnTo>
                    <a:pt x="338" y="50"/>
                  </a:lnTo>
                  <a:lnTo>
                    <a:pt x="339" y="50"/>
                  </a:lnTo>
                  <a:lnTo>
                    <a:pt x="340" y="50"/>
                  </a:lnTo>
                  <a:lnTo>
                    <a:pt x="341" y="50"/>
                  </a:lnTo>
                  <a:lnTo>
                    <a:pt x="345" y="51"/>
                  </a:lnTo>
                  <a:lnTo>
                    <a:pt x="346" y="51"/>
                  </a:lnTo>
                  <a:lnTo>
                    <a:pt x="347" y="51"/>
                  </a:lnTo>
                  <a:lnTo>
                    <a:pt x="348" y="52"/>
                  </a:lnTo>
                  <a:lnTo>
                    <a:pt x="350" y="52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6" y="52"/>
                  </a:lnTo>
                  <a:lnTo>
                    <a:pt x="357" y="52"/>
                  </a:lnTo>
                  <a:lnTo>
                    <a:pt x="358" y="52"/>
                  </a:lnTo>
                  <a:lnTo>
                    <a:pt x="359" y="53"/>
                  </a:lnTo>
                  <a:lnTo>
                    <a:pt x="360" y="53"/>
                  </a:lnTo>
                  <a:lnTo>
                    <a:pt x="361" y="54"/>
                  </a:lnTo>
                  <a:lnTo>
                    <a:pt x="362" y="55"/>
                  </a:lnTo>
                  <a:lnTo>
                    <a:pt x="365" y="57"/>
                  </a:lnTo>
                  <a:lnTo>
                    <a:pt x="367" y="59"/>
                  </a:lnTo>
                  <a:lnTo>
                    <a:pt x="367" y="59"/>
                  </a:lnTo>
                  <a:lnTo>
                    <a:pt x="369" y="61"/>
                  </a:lnTo>
                  <a:lnTo>
                    <a:pt x="371" y="64"/>
                  </a:lnTo>
                  <a:lnTo>
                    <a:pt x="374" y="67"/>
                  </a:lnTo>
                  <a:lnTo>
                    <a:pt x="376" y="69"/>
                  </a:lnTo>
                  <a:lnTo>
                    <a:pt x="378" y="71"/>
                  </a:lnTo>
                  <a:lnTo>
                    <a:pt x="381" y="74"/>
                  </a:lnTo>
                  <a:lnTo>
                    <a:pt x="383" y="76"/>
                  </a:lnTo>
                  <a:lnTo>
                    <a:pt x="385" y="78"/>
                  </a:lnTo>
                  <a:lnTo>
                    <a:pt x="386" y="80"/>
                  </a:lnTo>
                  <a:lnTo>
                    <a:pt x="388" y="81"/>
                  </a:lnTo>
                  <a:lnTo>
                    <a:pt x="388" y="83"/>
                  </a:lnTo>
                  <a:lnTo>
                    <a:pt x="389" y="84"/>
                  </a:lnTo>
                  <a:lnTo>
                    <a:pt x="389" y="85"/>
                  </a:lnTo>
                  <a:lnTo>
                    <a:pt x="389" y="86"/>
                  </a:lnTo>
                  <a:lnTo>
                    <a:pt x="389" y="87"/>
                  </a:lnTo>
                  <a:lnTo>
                    <a:pt x="389" y="88"/>
                  </a:lnTo>
                  <a:lnTo>
                    <a:pt x="389" y="89"/>
                  </a:lnTo>
                  <a:lnTo>
                    <a:pt x="389" y="90"/>
                  </a:lnTo>
                  <a:lnTo>
                    <a:pt x="389" y="90"/>
                  </a:lnTo>
                  <a:lnTo>
                    <a:pt x="388" y="91"/>
                  </a:lnTo>
                  <a:lnTo>
                    <a:pt x="388" y="92"/>
                  </a:lnTo>
                  <a:lnTo>
                    <a:pt x="386" y="93"/>
                  </a:lnTo>
                  <a:lnTo>
                    <a:pt x="384" y="95"/>
                  </a:lnTo>
                  <a:lnTo>
                    <a:pt x="384" y="96"/>
                  </a:lnTo>
                  <a:lnTo>
                    <a:pt x="383" y="96"/>
                  </a:lnTo>
                  <a:lnTo>
                    <a:pt x="383" y="97"/>
                  </a:lnTo>
                  <a:lnTo>
                    <a:pt x="382" y="98"/>
                  </a:lnTo>
                  <a:lnTo>
                    <a:pt x="381" y="101"/>
                  </a:lnTo>
                  <a:lnTo>
                    <a:pt x="381" y="103"/>
                  </a:lnTo>
                  <a:lnTo>
                    <a:pt x="380" y="104"/>
                  </a:lnTo>
                  <a:lnTo>
                    <a:pt x="379" y="107"/>
                  </a:lnTo>
                  <a:lnTo>
                    <a:pt x="378" y="108"/>
                  </a:lnTo>
                  <a:lnTo>
                    <a:pt x="378" y="109"/>
                  </a:lnTo>
                  <a:lnTo>
                    <a:pt x="378" y="111"/>
                  </a:lnTo>
                  <a:lnTo>
                    <a:pt x="378" y="112"/>
                  </a:lnTo>
                  <a:lnTo>
                    <a:pt x="377" y="113"/>
                  </a:lnTo>
                  <a:lnTo>
                    <a:pt x="377" y="114"/>
                  </a:lnTo>
                  <a:lnTo>
                    <a:pt x="376" y="116"/>
                  </a:lnTo>
                  <a:lnTo>
                    <a:pt x="375" y="117"/>
                  </a:lnTo>
                  <a:lnTo>
                    <a:pt x="373" y="118"/>
                  </a:lnTo>
                  <a:lnTo>
                    <a:pt x="370" y="122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7" y="125"/>
                  </a:lnTo>
                  <a:lnTo>
                    <a:pt x="366" y="125"/>
                  </a:lnTo>
                  <a:lnTo>
                    <a:pt x="366" y="126"/>
                  </a:lnTo>
                  <a:lnTo>
                    <a:pt x="365" y="126"/>
                  </a:lnTo>
                  <a:lnTo>
                    <a:pt x="364" y="126"/>
                  </a:lnTo>
                  <a:lnTo>
                    <a:pt x="363" y="127"/>
                  </a:lnTo>
                  <a:lnTo>
                    <a:pt x="362" y="127"/>
                  </a:lnTo>
                  <a:lnTo>
                    <a:pt x="361" y="127"/>
                  </a:lnTo>
                  <a:lnTo>
                    <a:pt x="359" y="126"/>
                  </a:lnTo>
                  <a:lnTo>
                    <a:pt x="357" y="126"/>
                  </a:lnTo>
                  <a:lnTo>
                    <a:pt x="357" y="126"/>
                  </a:lnTo>
                  <a:lnTo>
                    <a:pt x="356" y="126"/>
                  </a:lnTo>
                  <a:lnTo>
                    <a:pt x="356" y="127"/>
                  </a:lnTo>
                  <a:lnTo>
                    <a:pt x="355" y="127"/>
                  </a:lnTo>
                  <a:lnTo>
                    <a:pt x="355" y="127"/>
                  </a:lnTo>
                  <a:lnTo>
                    <a:pt x="354" y="128"/>
                  </a:lnTo>
                  <a:lnTo>
                    <a:pt x="354" y="128"/>
                  </a:lnTo>
                  <a:lnTo>
                    <a:pt x="352" y="130"/>
                  </a:lnTo>
                  <a:lnTo>
                    <a:pt x="350" y="132"/>
                  </a:lnTo>
                  <a:lnTo>
                    <a:pt x="349" y="133"/>
                  </a:lnTo>
                  <a:lnTo>
                    <a:pt x="348" y="134"/>
                  </a:lnTo>
                  <a:lnTo>
                    <a:pt x="347" y="135"/>
                  </a:lnTo>
                  <a:lnTo>
                    <a:pt x="346" y="135"/>
                  </a:lnTo>
                  <a:lnTo>
                    <a:pt x="345" y="135"/>
                  </a:lnTo>
                  <a:lnTo>
                    <a:pt x="343" y="136"/>
                  </a:lnTo>
                  <a:lnTo>
                    <a:pt x="343" y="136"/>
                  </a:lnTo>
                  <a:lnTo>
                    <a:pt x="342" y="136"/>
                  </a:lnTo>
                  <a:lnTo>
                    <a:pt x="341" y="137"/>
                  </a:lnTo>
                  <a:lnTo>
                    <a:pt x="339" y="138"/>
                  </a:lnTo>
                  <a:lnTo>
                    <a:pt x="338" y="139"/>
                  </a:lnTo>
                  <a:lnTo>
                    <a:pt x="337" y="139"/>
                  </a:lnTo>
                  <a:lnTo>
                    <a:pt x="337" y="140"/>
                  </a:lnTo>
                  <a:lnTo>
                    <a:pt x="335" y="141"/>
                  </a:lnTo>
                  <a:lnTo>
                    <a:pt x="335" y="142"/>
                  </a:lnTo>
                  <a:lnTo>
                    <a:pt x="334" y="143"/>
                  </a:lnTo>
                  <a:lnTo>
                    <a:pt x="332" y="144"/>
                  </a:lnTo>
                  <a:lnTo>
                    <a:pt x="332" y="144"/>
                  </a:lnTo>
                  <a:lnTo>
                    <a:pt x="331" y="145"/>
                  </a:lnTo>
                  <a:lnTo>
                    <a:pt x="330" y="146"/>
                  </a:lnTo>
                  <a:lnTo>
                    <a:pt x="330" y="147"/>
                  </a:lnTo>
                  <a:lnTo>
                    <a:pt x="329" y="147"/>
                  </a:lnTo>
                  <a:lnTo>
                    <a:pt x="329" y="148"/>
                  </a:lnTo>
                  <a:lnTo>
                    <a:pt x="329" y="149"/>
                  </a:lnTo>
                  <a:lnTo>
                    <a:pt x="329" y="150"/>
                  </a:lnTo>
                  <a:lnTo>
                    <a:pt x="329" y="151"/>
                  </a:lnTo>
                  <a:lnTo>
                    <a:pt x="328" y="151"/>
                  </a:lnTo>
                  <a:lnTo>
                    <a:pt x="328" y="152"/>
                  </a:lnTo>
                  <a:lnTo>
                    <a:pt x="327" y="152"/>
                  </a:lnTo>
                  <a:lnTo>
                    <a:pt x="327" y="152"/>
                  </a:lnTo>
                  <a:lnTo>
                    <a:pt x="326" y="152"/>
                  </a:lnTo>
                  <a:lnTo>
                    <a:pt x="325" y="152"/>
                  </a:lnTo>
                  <a:lnTo>
                    <a:pt x="325" y="152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3" y="154"/>
                  </a:lnTo>
                  <a:lnTo>
                    <a:pt x="323" y="154"/>
                  </a:lnTo>
                  <a:lnTo>
                    <a:pt x="322" y="155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9"/>
                  </a:lnTo>
                  <a:lnTo>
                    <a:pt x="322" y="160"/>
                  </a:lnTo>
                  <a:lnTo>
                    <a:pt x="322" y="160"/>
                  </a:lnTo>
                  <a:lnTo>
                    <a:pt x="323" y="161"/>
                  </a:lnTo>
                  <a:lnTo>
                    <a:pt x="324" y="164"/>
                  </a:lnTo>
                  <a:lnTo>
                    <a:pt x="325" y="166"/>
                  </a:lnTo>
                  <a:lnTo>
                    <a:pt x="326" y="167"/>
                  </a:lnTo>
                  <a:lnTo>
                    <a:pt x="326" y="167"/>
                  </a:lnTo>
                  <a:lnTo>
                    <a:pt x="327" y="168"/>
                  </a:lnTo>
                  <a:lnTo>
                    <a:pt x="327" y="168"/>
                  </a:lnTo>
                  <a:lnTo>
                    <a:pt x="328" y="168"/>
                  </a:lnTo>
                  <a:lnTo>
                    <a:pt x="329" y="169"/>
                  </a:lnTo>
                  <a:lnTo>
                    <a:pt x="331" y="169"/>
                  </a:lnTo>
                  <a:lnTo>
                    <a:pt x="331" y="169"/>
                  </a:lnTo>
                  <a:lnTo>
                    <a:pt x="332" y="170"/>
                  </a:lnTo>
                  <a:lnTo>
                    <a:pt x="333" y="171"/>
                  </a:lnTo>
                  <a:lnTo>
                    <a:pt x="334" y="171"/>
                  </a:lnTo>
                  <a:lnTo>
                    <a:pt x="335" y="172"/>
                  </a:lnTo>
                  <a:lnTo>
                    <a:pt x="335" y="173"/>
                  </a:lnTo>
                  <a:lnTo>
                    <a:pt x="337" y="176"/>
                  </a:lnTo>
                  <a:lnTo>
                    <a:pt x="338" y="176"/>
                  </a:lnTo>
                  <a:lnTo>
                    <a:pt x="339" y="178"/>
                  </a:lnTo>
                  <a:lnTo>
                    <a:pt x="339" y="178"/>
                  </a:lnTo>
                  <a:lnTo>
                    <a:pt x="340" y="180"/>
                  </a:lnTo>
                  <a:lnTo>
                    <a:pt x="342" y="181"/>
                  </a:lnTo>
                  <a:lnTo>
                    <a:pt x="342" y="182"/>
                  </a:lnTo>
                  <a:lnTo>
                    <a:pt x="343" y="183"/>
                  </a:lnTo>
                  <a:lnTo>
                    <a:pt x="344" y="184"/>
                  </a:lnTo>
                  <a:lnTo>
                    <a:pt x="344" y="185"/>
                  </a:lnTo>
                  <a:lnTo>
                    <a:pt x="345" y="185"/>
                  </a:lnTo>
                  <a:lnTo>
                    <a:pt x="346" y="186"/>
                  </a:lnTo>
                  <a:lnTo>
                    <a:pt x="346" y="186"/>
                  </a:lnTo>
                  <a:lnTo>
                    <a:pt x="347" y="186"/>
                  </a:lnTo>
                  <a:lnTo>
                    <a:pt x="348" y="186"/>
                  </a:lnTo>
                  <a:lnTo>
                    <a:pt x="348" y="186"/>
                  </a:lnTo>
                  <a:lnTo>
                    <a:pt x="349" y="185"/>
                  </a:lnTo>
                  <a:lnTo>
                    <a:pt x="352" y="184"/>
                  </a:lnTo>
                  <a:lnTo>
                    <a:pt x="353" y="183"/>
                  </a:lnTo>
                  <a:lnTo>
                    <a:pt x="353" y="183"/>
                  </a:lnTo>
                  <a:lnTo>
                    <a:pt x="354" y="183"/>
                  </a:lnTo>
                  <a:lnTo>
                    <a:pt x="355" y="183"/>
                  </a:lnTo>
                  <a:lnTo>
                    <a:pt x="356" y="183"/>
                  </a:lnTo>
                  <a:lnTo>
                    <a:pt x="358" y="183"/>
                  </a:lnTo>
                  <a:lnTo>
                    <a:pt x="359" y="183"/>
                  </a:lnTo>
                  <a:lnTo>
                    <a:pt x="361" y="183"/>
                  </a:lnTo>
                  <a:lnTo>
                    <a:pt x="362" y="183"/>
                  </a:lnTo>
                  <a:lnTo>
                    <a:pt x="363" y="183"/>
                  </a:lnTo>
                  <a:lnTo>
                    <a:pt x="365" y="183"/>
                  </a:lnTo>
                  <a:lnTo>
                    <a:pt x="365" y="184"/>
                  </a:lnTo>
                  <a:lnTo>
                    <a:pt x="366" y="184"/>
                  </a:lnTo>
                  <a:lnTo>
                    <a:pt x="367" y="185"/>
                  </a:lnTo>
                  <a:lnTo>
                    <a:pt x="368" y="185"/>
                  </a:lnTo>
                  <a:lnTo>
                    <a:pt x="368" y="185"/>
                  </a:lnTo>
                  <a:lnTo>
                    <a:pt x="368" y="186"/>
                  </a:lnTo>
                  <a:lnTo>
                    <a:pt x="369" y="187"/>
                  </a:lnTo>
                  <a:lnTo>
                    <a:pt x="370" y="189"/>
                  </a:lnTo>
                  <a:lnTo>
                    <a:pt x="370" y="190"/>
                  </a:lnTo>
                  <a:lnTo>
                    <a:pt x="371" y="194"/>
                  </a:lnTo>
                  <a:lnTo>
                    <a:pt x="372" y="196"/>
                  </a:lnTo>
                  <a:lnTo>
                    <a:pt x="372" y="197"/>
                  </a:lnTo>
                  <a:lnTo>
                    <a:pt x="373" y="198"/>
                  </a:lnTo>
                  <a:lnTo>
                    <a:pt x="373" y="200"/>
                  </a:lnTo>
                  <a:lnTo>
                    <a:pt x="374" y="201"/>
                  </a:lnTo>
                  <a:lnTo>
                    <a:pt x="375" y="203"/>
                  </a:lnTo>
                  <a:lnTo>
                    <a:pt x="376" y="203"/>
                  </a:lnTo>
                  <a:lnTo>
                    <a:pt x="377" y="205"/>
                  </a:lnTo>
                  <a:lnTo>
                    <a:pt x="378" y="205"/>
                  </a:lnTo>
                  <a:lnTo>
                    <a:pt x="379" y="206"/>
                  </a:lnTo>
                  <a:lnTo>
                    <a:pt x="380" y="207"/>
                  </a:lnTo>
                  <a:lnTo>
                    <a:pt x="381" y="208"/>
                  </a:lnTo>
                  <a:lnTo>
                    <a:pt x="382" y="208"/>
                  </a:lnTo>
                  <a:lnTo>
                    <a:pt x="383" y="208"/>
                  </a:lnTo>
                  <a:lnTo>
                    <a:pt x="386" y="208"/>
                  </a:lnTo>
                  <a:lnTo>
                    <a:pt x="387" y="209"/>
                  </a:lnTo>
                  <a:lnTo>
                    <a:pt x="388" y="209"/>
                  </a:lnTo>
                  <a:lnTo>
                    <a:pt x="389" y="210"/>
                  </a:lnTo>
                  <a:lnTo>
                    <a:pt x="390" y="210"/>
                  </a:lnTo>
                  <a:lnTo>
                    <a:pt x="391" y="211"/>
                  </a:lnTo>
                  <a:lnTo>
                    <a:pt x="392" y="212"/>
                  </a:lnTo>
                  <a:lnTo>
                    <a:pt x="394" y="213"/>
                  </a:lnTo>
                  <a:lnTo>
                    <a:pt x="395" y="215"/>
                  </a:lnTo>
                  <a:lnTo>
                    <a:pt x="397" y="218"/>
                  </a:lnTo>
                  <a:lnTo>
                    <a:pt x="399" y="220"/>
                  </a:lnTo>
                  <a:lnTo>
                    <a:pt x="400" y="222"/>
                  </a:lnTo>
                  <a:lnTo>
                    <a:pt x="402" y="225"/>
                  </a:lnTo>
                  <a:lnTo>
                    <a:pt x="404" y="229"/>
                  </a:lnTo>
                  <a:lnTo>
                    <a:pt x="406" y="231"/>
                  </a:lnTo>
                  <a:lnTo>
                    <a:pt x="408" y="234"/>
                  </a:lnTo>
                  <a:lnTo>
                    <a:pt x="409" y="234"/>
                  </a:lnTo>
                  <a:lnTo>
                    <a:pt x="410" y="235"/>
                  </a:lnTo>
                  <a:lnTo>
                    <a:pt x="413" y="238"/>
                  </a:lnTo>
                  <a:lnTo>
                    <a:pt x="416" y="243"/>
                  </a:lnTo>
                  <a:lnTo>
                    <a:pt x="417" y="244"/>
                  </a:lnTo>
                  <a:lnTo>
                    <a:pt x="418" y="245"/>
                  </a:lnTo>
                  <a:lnTo>
                    <a:pt x="419" y="246"/>
                  </a:lnTo>
                  <a:lnTo>
                    <a:pt x="422" y="248"/>
                  </a:lnTo>
                  <a:lnTo>
                    <a:pt x="423" y="249"/>
                  </a:lnTo>
                  <a:lnTo>
                    <a:pt x="423" y="249"/>
                  </a:lnTo>
                  <a:lnTo>
                    <a:pt x="424" y="250"/>
                  </a:lnTo>
                  <a:lnTo>
                    <a:pt x="425" y="252"/>
                  </a:lnTo>
                  <a:lnTo>
                    <a:pt x="426" y="253"/>
                  </a:lnTo>
                  <a:lnTo>
                    <a:pt x="426" y="254"/>
                  </a:lnTo>
                  <a:lnTo>
                    <a:pt x="427" y="255"/>
                  </a:lnTo>
                  <a:lnTo>
                    <a:pt x="428" y="256"/>
                  </a:lnTo>
                  <a:lnTo>
                    <a:pt x="428" y="259"/>
                  </a:lnTo>
                  <a:lnTo>
                    <a:pt x="429" y="260"/>
                  </a:lnTo>
                  <a:lnTo>
                    <a:pt x="429" y="262"/>
                  </a:lnTo>
                  <a:lnTo>
                    <a:pt x="429" y="266"/>
                  </a:lnTo>
                  <a:lnTo>
                    <a:pt x="429" y="269"/>
                  </a:lnTo>
                  <a:lnTo>
                    <a:pt x="430" y="271"/>
                  </a:lnTo>
                  <a:lnTo>
                    <a:pt x="430" y="273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2" y="281"/>
                  </a:lnTo>
                  <a:lnTo>
                    <a:pt x="433" y="283"/>
                  </a:lnTo>
                  <a:lnTo>
                    <a:pt x="435" y="286"/>
                  </a:lnTo>
                  <a:lnTo>
                    <a:pt x="436" y="287"/>
                  </a:lnTo>
                  <a:lnTo>
                    <a:pt x="436" y="288"/>
                  </a:lnTo>
                  <a:lnTo>
                    <a:pt x="436" y="289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5" y="291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1" y="290"/>
                  </a:lnTo>
                  <a:lnTo>
                    <a:pt x="430" y="290"/>
                  </a:lnTo>
                  <a:lnTo>
                    <a:pt x="425" y="288"/>
                  </a:lnTo>
                  <a:lnTo>
                    <a:pt x="423" y="287"/>
                  </a:lnTo>
                  <a:lnTo>
                    <a:pt x="421" y="286"/>
                  </a:lnTo>
                  <a:lnTo>
                    <a:pt x="420" y="285"/>
                  </a:lnTo>
                  <a:lnTo>
                    <a:pt x="417" y="284"/>
                  </a:lnTo>
                  <a:lnTo>
                    <a:pt x="417" y="283"/>
                  </a:lnTo>
                  <a:lnTo>
                    <a:pt x="416" y="283"/>
                  </a:lnTo>
                  <a:lnTo>
                    <a:pt x="414" y="282"/>
                  </a:lnTo>
                  <a:lnTo>
                    <a:pt x="414" y="282"/>
                  </a:lnTo>
                  <a:lnTo>
                    <a:pt x="413" y="282"/>
                  </a:lnTo>
                  <a:lnTo>
                    <a:pt x="412" y="282"/>
                  </a:lnTo>
                  <a:lnTo>
                    <a:pt x="412" y="282"/>
                  </a:lnTo>
                  <a:lnTo>
                    <a:pt x="411" y="282"/>
                  </a:lnTo>
                  <a:lnTo>
                    <a:pt x="411" y="282"/>
                  </a:lnTo>
                  <a:lnTo>
                    <a:pt x="410" y="282"/>
                  </a:lnTo>
                  <a:lnTo>
                    <a:pt x="410" y="282"/>
                  </a:lnTo>
                  <a:lnTo>
                    <a:pt x="409" y="283"/>
                  </a:lnTo>
                  <a:lnTo>
                    <a:pt x="408" y="283"/>
                  </a:lnTo>
                  <a:lnTo>
                    <a:pt x="408" y="283"/>
                  </a:lnTo>
                  <a:lnTo>
                    <a:pt x="407" y="284"/>
                  </a:lnTo>
                  <a:lnTo>
                    <a:pt x="407" y="285"/>
                  </a:lnTo>
                  <a:lnTo>
                    <a:pt x="407" y="286"/>
                  </a:lnTo>
                  <a:lnTo>
                    <a:pt x="405" y="289"/>
                  </a:lnTo>
                  <a:lnTo>
                    <a:pt x="404" y="291"/>
                  </a:lnTo>
                  <a:lnTo>
                    <a:pt x="404" y="292"/>
                  </a:lnTo>
                  <a:lnTo>
                    <a:pt x="403" y="293"/>
                  </a:lnTo>
                  <a:lnTo>
                    <a:pt x="402" y="293"/>
                  </a:lnTo>
                  <a:lnTo>
                    <a:pt x="401" y="294"/>
                  </a:lnTo>
                  <a:lnTo>
                    <a:pt x="400" y="295"/>
                  </a:lnTo>
                  <a:lnTo>
                    <a:pt x="399" y="296"/>
                  </a:lnTo>
                  <a:lnTo>
                    <a:pt x="398" y="297"/>
                  </a:lnTo>
                  <a:lnTo>
                    <a:pt x="396" y="297"/>
                  </a:lnTo>
                  <a:lnTo>
                    <a:pt x="394" y="298"/>
                  </a:lnTo>
                  <a:lnTo>
                    <a:pt x="392" y="300"/>
                  </a:lnTo>
                  <a:lnTo>
                    <a:pt x="392" y="300"/>
                  </a:lnTo>
                  <a:lnTo>
                    <a:pt x="390" y="301"/>
                  </a:lnTo>
                  <a:lnTo>
                    <a:pt x="390" y="301"/>
                  </a:lnTo>
                  <a:lnTo>
                    <a:pt x="387" y="303"/>
                  </a:lnTo>
                  <a:lnTo>
                    <a:pt x="384" y="304"/>
                  </a:lnTo>
                  <a:lnTo>
                    <a:pt x="382" y="305"/>
                  </a:lnTo>
                  <a:lnTo>
                    <a:pt x="381" y="305"/>
                  </a:lnTo>
                  <a:lnTo>
                    <a:pt x="380" y="306"/>
                  </a:lnTo>
                  <a:lnTo>
                    <a:pt x="378" y="308"/>
                  </a:lnTo>
                  <a:lnTo>
                    <a:pt x="376" y="309"/>
                  </a:lnTo>
                  <a:lnTo>
                    <a:pt x="374" y="310"/>
                  </a:lnTo>
                  <a:lnTo>
                    <a:pt x="372" y="312"/>
                  </a:lnTo>
                  <a:lnTo>
                    <a:pt x="371" y="312"/>
                  </a:lnTo>
                  <a:lnTo>
                    <a:pt x="370" y="313"/>
                  </a:lnTo>
                  <a:lnTo>
                    <a:pt x="369" y="314"/>
                  </a:lnTo>
                  <a:lnTo>
                    <a:pt x="368" y="315"/>
                  </a:lnTo>
                  <a:lnTo>
                    <a:pt x="368" y="316"/>
                  </a:lnTo>
                  <a:lnTo>
                    <a:pt x="368" y="316"/>
                  </a:lnTo>
                  <a:lnTo>
                    <a:pt x="367" y="317"/>
                  </a:lnTo>
                  <a:lnTo>
                    <a:pt x="367" y="318"/>
                  </a:lnTo>
                  <a:lnTo>
                    <a:pt x="367" y="318"/>
                  </a:lnTo>
                  <a:lnTo>
                    <a:pt x="367" y="321"/>
                  </a:lnTo>
                  <a:lnTo>
                    <a:pt x="367" y="321"/>
                  </a:lnTo>
                  <a:lnTo>
                    <a:pt x="367" y="322"/>
                  </a:lnTo>
                  <a:lnTo>
                    <a:pt x="366" y="323"/>
                  </a:lnTo>
                  <a:lnTo>
                    <a:pt x="366" y="323"/>
                  </a:lnTo>
                  <a:lnTo>
                    <a:pt x="366" y="324"/>
                  </a:lnTo>
                  <a:lnTo>
                    <a:pt x="365" y="325"/>
                  </a:lnTo>
                  <a:lnTo>
                    <a:pt x="364" y="326"/>
                  </a:lnTo>
                  <a:lnTo>
                    <a:pt x="362" y="327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60" y="329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1"/>
                  </a:lnTo>
                  <a:lnTo>
                    <a:pt x="360" y="331"/>
                  </a:lnTo>
                  <a:lnTo>
                    <a:pt x="360" y="332"/>
                  </a:lnTo>
                  <a:lnTo>
                    <a:pt x="361" y="335"/>
                  </a:lnTo>
                  <a:lnTo>
                    <a:pt x="361" y="335"/>
                  </a:lnTo>
                  <a:lnTo>
                    <a:pt x="361" y="336"/>
                  </a:lnTo>
                  <a:lnTo>
                    <a:pt x="361" y="336"/>
                  </a:lnTo>
                  <a:lnTo>
                    <a:pt x="361" y="337"/>
                  </a:lnTo>
                  <a:lnTo>
                    <a:pt x="360" y="337"/>
                  </a:lnTo>
                  <a:lnTo>
                    <a:pt x="360" y="337"/>
                  </a:lnTo>
                  <a:lnTo>
                    <a:pt x="359" y="337"/>
                  </a:lnTo>
                  <a:lnTo>
                    <a:pt x="359" y="338"/>
                  </a:lnTo>
                  <a:lnTo>
                    <a:pt x="358" y="338"/>
                  </a:lnTo>
                  <a:lnTo>
                    <a:pt x="357" y="338"/>
                  </a:lnTo>
                  <a:lnTo>
                    <a:pt x="356" y="338"/>
                  </a:lnTo>
                  <a:lnTo>
                    <a:pt x="355" y="337"/>
                  </a:lnTo>
                  <a:lnTo>
                    <a:pt x="353" y="337"/>
                  </a:lnTo>
                  <a:lnTo>
                    <a:pt x="352" y="336"/>
                  </a:lnTo>
                  <a:lnTo>
                    <a:pt x="351" y="336"/>
                  </a:lnTo>
                  <a:lnTo>
                    <a:pt x="350" y="336"/>
                  </a:lnTo>
                  <a:lnTo>
                    <a:pt x="349" y="336"/>
                  </a:lnTo>
                  <a:lnTo>
                    <a:pt x="347" y="337"/>
                  </a:lnTo>
                  <a:lnTo>
                    <a:pt x="344" y="337"/>
                  </a:lnTo>
                  <a:lnTo>
                    <a:pt x="343" y="337"/>
                  </a:lnTo>
                  <a:lnTo>
                    <a:pt x="341" y="337"/>
                  </a:lnTo>
                  <a:lnTo>
                    <a:pt x="341" y="337"/>
                  </a:lnTo>
                  <a:lnTo>
                    <a:pt x="340" y="337"/>
                  </a:lnTo>
                  <a:lnTo>
                    <a:pt x="339" y="336"/>
                  </a:lnTo>
                  <a:lnTo>
                    <a:pt x="338" y="336"/>
                  </a:lnTo>
                  <a:lnTo>
                    <a:pt x="338" y="336"/>
                  </a:lnTo>
                  <a:lnTo>
                    <a:pt x="337" y="336"/>
                  </a:lnTo>
                  <a:lnTo>
                    <a:pt x="337" y="336"/>
                  </a:lnTo>
                  <a:lnTo>
                    <a:pt x="336" y="336"/>
                  </a:lnTo>
                  <a:lnTo>
                    <a:pt x="334" y="337"/>
                  </a:lnTo>
                  <a:lnTo>
                    <a:pt x="333" y="337"/>
                  </a:lnTo>
                  <a:lnTo>
                    <a:pt x="332" y="338"/>
                  </a:lnTo>
                  <a:lnTo>
                    <a:pt x="329" y="338"/>
                  </a:lnTo>
                  <a:lnTo>
                    <a:pt x="327" y="339"/>
                  </a:lnTo>
                  <a:lnTo>
                    <a:pt x="326" y="339"/>
                  </a:lnTo>
                  <a:lnTo>
                    <a:pt x="325" y="339"/>
                  </a:lnTo>
                  <a:lnTo>
                    <a:pt x="324" y="339"/>
                  </a:lnTo>
                  <a:lnTo>
                    <a:pt x="324" y="339"/>
                  </a:lnTo>
                  <a:lnTo>
                    <a:pt x="323" y="338"/>
                  </a:lnTo>
                  <a:lnTo>
                    <a:pt x="322" y="338"/>
                  </a:lnTo>
                  <a:lnTo>
                    <a:pt x="321" y="337"/>
                  </a:lnTo>
                  <a:lnTo>
                    <a:pt x="320" y="337"/>
                  </a:lnTo>
                  <a:lnTo>
                    <a:pt x="316" y="334"/>
                  </a:lnTo>
                  <a:lnTo>
                    <a:pt x="315" y="333"/>
                  </a:lnTo>
                  <a:lnTo>
                    <a:pt x="314" y="332"/>
                  </a:lnTo>
                  <a:lnTo>
                    <a:pt x="313" y="331"/>
                  </a:lnTo>
                  <a:lnTo>
                    <a:pt x="311" y="331"/>
                  </a:lnTo>
                  <a:lnTo>
                    <a:pt x="309" y="330"/>
                  </a:lnTo>
                  <a:lnTo>
                    <a:pt x="306" y="329"/>
                  </a:lnTo>
                  <a:lnTo>
                    <a:pt x="305" y="328"/>
                  </a:lnTo>
                  <a:lnTo>
                    <a:pt x="305" y="328"/>
                  </a:lnTo>
                  <a:lnTo>
                    <a:pt x="303" y="327"/>
                  </a:lnTo>
                  <a:lnTo>
                    <a:pt x="302" y="326"/>
                  </a:lnTo>
                  <a:lnTo>
                    <a:pt x="300" y="324"/>
                  </a:lnTo>
                  <a:lnTo>
                    <a:pt x="299" y="323"/>
                  </a:lnTo>
                  <a:lnTo>
                    <a:pt x="298" y="323"/>
                  </a:lnTo>
                  <a:lnTo>
                    <a:pt x="297" y="322"/>
                  </a:lnTo>
                  <a:lnTo>
                    <a:pt x="296" y="322"/>
                  </a:lnTo>
                  <a:lnTo>
                    <a:pt x="293" y="320"/>
                  </a:lnTo>
                  <a:lnTo>
                    <a:pt x="291" y="320"/>
                  </a:lnTo>
                  <a:lnTo>
                    <a:pt x="290" y="319"/>
                  </a:lnTo>
                  <a:lnTo>
                    <a:pt x="289" y="318"/>
                  </a:lnTo>
                  <a:lnTo>
                    <a:pt x="288" y="317"/>
                  </a:lnTo>
                  <a:lnTo>
                    <a:pt x="287" y="316"/>
                  </a:lnTo>
                  <a:lnTo>
                    <a:pt x="286" y="315"/>
                  </a:lnTo>
                  <a:lnTo>
                    <a:pt x="284" y="312"/>
                  </a:lnTo>
                  <a:lnTo>
                    <a:pt x="282" y="311"/>
                  </a:lnTo>
                  <a:lnTo>
                    <a:pt x="281" y="310"/>
                  </a:lnTo>
                  <a:lnTo>
                    <a:pt x="281" y="310"/>
                  </a:lnTo>
                  <a:lnTo>
                    <a:pt x="281" y="310"/>
                  </a:lnTo>
                  <a:lnTo>
                    <a:pt x="279" y="309"/>
                  </a:lnTo>
                  <a:lnTo>
                    <a:pt x="278" y="308"/>
                  </a:lnTo>
                  <a:lnTo>
                    <a:pt x="277" y="308"/>
                  </a:lnTo>
                  <a:lnTo>
                    <a:pt x="274" y="307"/>
                  </a:lnTo>
                  <a:lnTo>
                    <a:pt x="272" y="307"/>
                  </a:lnTo>
                  <a:lnTo>
                    <a:pt x="271" y="306"/>
                  </a:lnTo>
                  <a:lnTo>
                    <a:pt x="270" y="306"/>
                  </a:lnTo>
                  <a:lnTo>
                    <a:pt x="270" y="305"/>
                  </a:lnTo>
                  <a:lnTo>
                    <a:pt x="269" y="305"/>
                  </a:lnTo>
                  <a:lnTo>
                    <a:pt x="269" y="304"/>
                  </a:lnTo>
                  <a:lnTo>
                    <a:pt x="268" y="303"/>
                  </a:lnTo>
                  <a:lnTo>
                    <a:pt x="268" y="302"/>
                  </a:lnTo>
                  <a:lnTo>
                    <a:pt x="267" y="301"/>
                  </a:lnTo>
                  <a:lnTo>
                    <a:pt x="266" y="297"/>
                  </a:lnTo>
                  <a:lnTo>
                    <a:pt x="266" y="296"/>
                  </a:lnTo>
                  <a:lnTo>
                    <a:pt x="265" y="295"/>
                  </a:lnTo>
                  <a:lnTo>
                    <a:pt x="265" y="294"/>
                  </a:lnTo>
                  <a:lnTo>
                    <a:pt x="264" y="294"/>
                  </a:lnTo>
                  <a:lnTo>
                    <a:pt x="264" y="293"/>
                  </a:lnTo>
                  <a:lnTo>
                    <a:pt x="263" y="293"/>
                  </a:lnTo>
                  <a:lnTo>
                    <a:pt x="261" y="290"/>
                  </a:lnTo>
                  <a:lnTo>
                    <a:pt x="261" y="289"/>
                  </a:lnTo>
                  <a:lnTo>
                    <a:pt x="260" y="289"/>
                  </a:lnTo>
                  <a:lnTo>
                    <a:pt x="259" y="288"/>
                  </a:lnTo>
                  <a:lnTo>
                    <a:pt x="258" y="288"/>
                  </a:lnTo>
                  <a:lnTo>
                    <a:pt x="257" y="287"/>
                  </a:lnTo>
                  <a:lnTo>
                    <a:pt x="255" y="287"/>
                  </a:lnTo>
                  <a:lnTo>
                    <a:pt x="252" y="286"/>
                  </a:lnTo>
                  <a:lnTo>
                    <a:pt x="248" y="285"/>
                  </a:lnTo>
                  <a:lnTo>
                    <a:pt x="246" y="284"/>
                  </a:lnTo>
                  <a:lnTo>
                    <a:pt x="243" y="284"/>
                  </a:lnTo>
                  <a:lnTo>
                    <a:pt x="242" y="283"/>
                  </a:lnTo>
                  <a:lnTo>
                    <a:pt x="241" y="283"/>
                  </a:lnTo>
                  <a:lnTo>
                    <a:pt x="240" y="283"/>
                  </a:lnTo>
                  <a:lnTo>
                    <a:pt x="239" y="283"/>
                  </a:lnTo>
                  <a:lnTo>
                    <a:pt x="238" y="284"/>
                  </a:lnTo>
                  <a:lnTo>
                    <a:pt x="236" y="285"/>
                  </a:lnTo>
                  <a:lnTo>
                    <a:pt x="234" y="285"/>
                  </a:lnTo>
                  <a:lnTo>
                    <a:pt x="233" y="286"/>
                  </a:lnTo>
                  <a:lnTo>
                    <a:pt x="232" y="287"/>
                  </a:lnTo>
                  <a:lnTo>
                    <a:pt x="232" y="287"/>
                  </a:lnTo>
                  <a:lnTo>
                    <a:pt x="229" y="290"/>
                  </a:lnTo>
                  <a:lnTo>
                    <a:pt x="228" y="290"/>
                  </a:lnTo>
                  <a:lnTo>
                    <a:pt x="228" y="291"/>
                  </a:lnTo>
                  <a:lnTo>
                    <a:pt x="227" y="291"/>
                  </a:lnTo>
                  <a:lnTo>
                    <a:pt x="226" y="292"/>
                  </a:lnTo>
                  <a:lnTo>
                    <a:pt x="223" y="293"/>
                  </a:lnTo>
                  <a:lnTo>
                    <a:pt x="222" y="294"/>
                  </a:lnTo>
                  <a:lnTo>
                    <a:pt x="221" y="294"/>
                  </a:lnTo>
                  <a:lnTo>
                    <a:pt x="218" y="296"/>
                  </a:lnTo>
                  <a:lnTo>
                    <a:pt x="217" y="297"/>
                  </a:lnTo>
                  <a:lnTo>
                    <a:pt x="216" y="297"/>
                  </a:lnTo>
                  <a:lnTo>
                    <a:pt x="215" y="297"/>
                  </a:lnTo>
                  <a:lnTo>
                    <a:pt x="215" y="297"/>
                  </a:lnTo>
                  <a:lnTo>
                    <a:pt x="214" y="297"/>
                  </a:lnTo>
                  <a:lnTo>
                    <a:pt x="214" y="297"/>
                  </a:lnTo>
                  <a:lnTo>
                    <a:pt x="213" y="297"/>
                  </a:lnTo>
                  <a:lnTo>
                    <a:pt x="212" y="297"/>
                  </a:lnTo>
                  <a:lnTo>
                    <a:pt x="211" y="297"/>
                  </a:lnTo>
                  <a:lnTo>
                    <a:pt x="210" y="297"/>
                  </a:lnTo>
                  <a:lnTo>
                    <a:pt x="210" y="297"/>
                  </a:lnTo>
                  <a:lnTo>
                    <a:pt x="209" y="296"/>
                  </a:lnTo>
                  <a:lnTo>
                    <a:pt x="209" y="296"/>
                  </a:lnTo>
                  <a:lnTo>
                    <a:pt x="208" y="295"/>
                  </a:lnTo>
                  <a:lnTo>
                    <a:pt x="207" y="295"/>
                  </a:lnTo>
                  <a:lnTo>
                    <a:pt x="207" y="294"/>
                  </a:lnTo>
                  <a:lnTo>
                    <a:pt x="206" y="293"/>
                  </a:lnTo>
                  <a:lnTo>
                    <a:pt x="206" y="292"/>
                  </a:lnTo>
                  <a:lnTo>
                    <a:pt x="205" y="289"/>
                  </a:lnTo>
                  <a:lnTo>
                    <a:pt x="204" y="287"/>
                  </a:lnTo>
                  <a:lnTo>
                    <a:pt x="204" y="286"/>
                  </a:lnTo>
                  <a:lnTo>
                    <a:pt x="203" y="284"/>
                  </a:lnTo>
                  <a:lnTo>
                    <a:pt x="202" y="283"/>
                  </a:lnTo>
                  <a:lnTo>
                    <a:pt x="201" y="283"/>
                  </a:lnTo>
                  <a:lnTo>
                    <a:pt x="201" y="282"/>
                  </a:lnTo>
                  <a:lnTo>
                    <a:pt x="200" y="282"/>
                  </a:lnTo>
                  <a:lnTo>
                    <a:pt x="200" y="281"/>
                  </a:lnTo>
                  <a:lnTo>
                    <a:pt x="199" y="280"/>
                  </a:lnTo>
                  <a:lnTo>
                    <a:pt x="199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6" y="281"/>
                  </a:lnTo>
                  <a:lnTo>
                    <a:pt x="194" y="282"/>
                  </a:lnTo>
                  <a:lnTo>
                    <a:pt x="193" y="283"/>
                  </a:lnTo>
                  <a:lnTo>
                    <a:pt x="192" y="284"/>
                  </a:lnTo>
                  <a:lnTo>
                    <a:pt x="191" y="285"/>
                  </a:lnTo>
                  <a:lnTo>
                    <a:pt x="190" y="286"/>
                  </a:lnTo>
                  <a:lnTo>
                    <a:pt x="189" y="286"/>
                  </a:lnTo>
                  <a:lnTo>
                    <a:pt x="189" y="287"/>
                  </a:lnTo>
                  <a:lnTo>
                    <a:pt x="188" y="288"/>
                  </a:lnTo>
                  <a:lnTo>
                    <a:pt x="188" y="288"/>
                  </a:lnTo>
                  <a:lnTo>
                    <a:pt x="187" y="289"/>
                  </a:lnTo>
                  <a:lnTo>
                    <a:pt x="186" y="292"/>
                  </a:lnTo>
                  <a:lnTo>
                    <a:pt x="186" y="293"/>
                  </a:lnTo>
                  <a:lnTo>
                    <a:pt x="185" y="293"/>
                  </a:lnTo>
                  <a:lnTo>
                    <a:pt x="185" y="294"/>
                  </a:lnTo>
                  <a:lnTo>
                    <a:pt x="184" y="295"/>
                  </a:lnTo>
                  <a:lnTo>
                    <a:pt x="184" y="295"/>
                  </a:lnTo>
                  <a:lnTo>
                    <a:pt x="183" y="296"/>
                  </a:lnTo>
                  <a:lnTo>
                    <a:pt x="182" y="297"/>
                  </a:lnTo>
                  <a:lnTo>
                    <a:pt x="181" y="297"/>
                  </a:lnTo>
                  <a:lnTo>
                    <a:pt x="180" y="297"/>
                  </a:lnTo>
                  <a:lnTo>
                    <a:pt x="178" y="298"/>
                  </a:lnTo>
                  <a:lnTo>
                    <a:pt x="176" y="298"/>
                  </a:lnTo>
                  <a:lnTo>
                    <a:pt x="175" y="299"/>
                  </a:lnTo>
                  <a:lnTo>
                    <a:pt x="172" y="300"/>
                  </a:lnTo>
                  <a:lnTo>
                    <a:pt x="171" y="301"/>
                  </a:lnTo>
                  <a:lnTo>
                    <a:pt x="170" y="301"/>
                  </a:lnTo>
                  <a:lnTo>
                    <a:pt x="170" y="301"/>
                  </a:lnTo>
                  <a:lnTo>
                    <a:pt x="168" y="301"/>
                  </a:lnTo>
                  <a:lnTo>
                    <a:pt x="167" y="301"/>
                  </a:lnTo>
                  <a:lnTo>
                    <a:pt x="167" y="301"/>
                  </a:lnTo>
                  <a:lnTo>
                    <a:pt x="165" y="300"/>
                  </a:lnTo>
                  <a:lnTo>
                    <a:pt x="163" y="299"/>
                  </a:lnTo>
                  <a:lnTo>
                    <a:pt x="161" y="299"/>
                  </a:lnTo>
                  <a:lnTo>
                    <a:pt x="161" y="298"/>
                  </a:lnTo>
                  <a:lnTo>
                    <a:pt x="160" y="298"/>
                  </a:lnTo>
                  <a:lnTo>
                    <a:pt x="159" y="298"/>
                  </a:lnTo>
                  <a:lnTo>
                    <a:pt x="158" y="298"/>
                  </a:lnTo>
                  <a:lnTo>
                    <a:pt x="156" y="298"/>
                  </a:lnTo>
                  <a:lnTo>
                    <a:pt x="155" y="298"/>
                  </a:lnTo>
                  <a:lnTo>
                    <a:pt x="153" y="298"/>
                  </a:lnTo>
                  <a:lnTo>
                    <a:pt x="152" y="298"/>
                  </a:lnTo>
                  <a:lnTo>
                    <a:pt x="151" y="298"/>
                  </a:lnTo>
                  <a:lnTo>
                    <a:pt x="148" y="298"/>
                  </a:lnTo>
                  <a:lnTo>
                    <a:pt x="147" y="298"/>
                  </a:lnTo>
                  <a:lnTo>
                    <a:pt x="146" y="298"/>
                  </a:lnTo>
                  <a:lnTo>
                    <a:pt x="144" y="298"/>
                  </a:lnTo>
                  <a:lnTo>
                    <a:pt x="144" y="298"/>
                  </a:lnTo>
                  <a:lnTo>
                    <a:pt x="143" y="298"/>
                  </a:lnTo>
                  <a:lnTo>
                    <a:pt x="142" y="297"/>
                  </a:lnTo>
                  <a:lnTo>
                    <a:pt x="141" y="297"/>
                  </a:lnTo>
                  <a:lnTo>
                    <a:pt x="140" y="297"/>
                  </a:lnTo>
                  <a:lnTo>
                    <a:pt x="139" y="295"/>
                  </a:lnTo>
                  <a:lnTo>
                    <a:pt x="138" y="295"/>
                  </a:lnTo>
                  <a:lnTo>
                    <a:pt x="138" y="295"/>
                  </a:lnTo>
                  <a:lnTo>
                    <a:pt x="137" y="294"/>
                  </a:lnTo>
                  <a:lnTo>
                    <a:pt x="137" y="294"/>
                  </a:lnTo>
                  <a:lnTo>
                    <a:pt x="136" y="294"/>
                  </a:lnTo>
                  <a:lnTo>
                    <a:pt x="136" y="294"/>
                  </a:lnTo>
                  <a:lnTo>
                    <a:pt x="136" y="294"/>
                  </a:lnTo>
                  <a:lnTo>
                    <a:pt x="135" y="294"/>
                  </a:lnTo>
                  <a:lnTo>
                    <a:pt x="132" y="296"/>
                  </a:lnTo>
                  <a:lnTo>
                    <a:pt x="131" y="297"/>
                  </a:lnTo>
                  <a:lnTo>
                    <a:pt x="130" y="297"/>
                  </a:lnTo>
                  <a:lnTo>
                    <a:pt x="128" y="297"/>
                  </a:lnTo>
                  <a:lnTo>
                    <a:pt x="127" y="297"/>
                  </a:lnTo>
                  <a:lnTo>
                    <a:pt x="126" y="298"/>
                  </a:lnTo>
                  <a:lnTo>
                    <a:pt x="125" y="298"/>
                  </a:lnTo>
                  <a:lnTo>
                    <a:pt x="125" y="299"/>
                  </a:lnTo>
                  <a:lnTo>
                    <a:pt x="124" y="299"/>
                  </a:lnTo>
                  <a:lnTo>
                    <a:pt x="123" y="300"/>
                  </a:lnTo>
                  <a:lnTo>
                    <a:pt x="123" y="301"/>
                  </a:lnTo>
                  <a:lnTo>
                    <a:pt x="122" y="301"/>
                  </a:lnTo>
                  <a:lnTo>
                    <a:pt x="122" y="302"/>
                  </a:lnTo>
                  <a:lnTo>
                    <a:pt x="121" y="304"/>
                  </a:lnTo>
                  <a:lnTo>
                    <a:pt x="121" y="304"/>
                  </a:lnTo>
                  <a:lnTo>
                    <a:pt x="120" y="305"/>
                  </a:lnTo>
                  <a:lnTo>
                    <a:pt x="120" y="306"/>
                  </a:lnTo>
                  <a:lnTo>
                    <a:pt x="118" y="307"/>
                  </a:lnTo>
                  <a:lnTo>
                    <a:pt x="117" y="308"/>
                  </a:lnTo>
                  <a:lnTo>
                    <a:pt x="116" y="308"/>
                  </a:lnTo>
                  <a:lnTo>
                    <a:pt x="115" y="309"/>
                  </a:lnTo>
                  <a:lnTo>
                    <a:pt x="114" y="309"/>
                  </a:lnTo>
                  <a:lnTo>
                    <a:pt x="112" y="311"/>
                  </a:lnTo>
                  <a:lnTo>
                    <a:pt x="111" y="311"/>
                  </a:lnTo>
                  <a:lnTo>
                    <a:pt x="110" y="312"/>
                  </a:lnTo>
                  <a:lnTo>
                    <a:pt x="109" y="312"/>
                  </a:lnTo>
                  <a:lnTo>
                    <a:pt x="108" y="313"/>
                  </a:lnTo>
                  <a:lnTo>
                    <a:pt x="107" y="313"/>
                  </a:lnTo>
                  <a:lnTo>
                    <a:pt x="106" y="313"/>
                  </a:lnTo>
                  <a:lnTo>
                    <a:pt x="105" y="313"/>
                  </a:lnTo>
                  <a:lnTo>
                    <a:pt x="104" y="314"/>
                  </a:lnTo>
                  <a:lnTo>
                    <a:pt x="103" y="314"/>
                  </a:lnTo>
                  <a:lnTo>
                    <a:pt x="102" y="314"/>
                  </a:lnTo>
                  <a:lnTo>
                    <a:pt x="102" y="314"/>
                  </a:lnTo>
                  <a:lnTo>
                    <a:pt x="101" y="313"/>
                  </a:lnTo>
                  <a:lnTo>
                    <a:pt x="100" y="313"/>
                  </a:lnTo>
                  <a:lnTo>
                    <a:pt x="99" y="313"/>
                  </a:lnTo>
                  <a:lnTo>
                    <a:pt x="98" y="312"/>
                  </a:lnTo>
                  <a:lnTo>
                    <a:pt x="98" y="312"/>
                  </a:lnTo>
                  <a:lnTo>
                    <a:pt x="97" y="312"/>
                  </a:lnTo>
                  <a:lnTo>
                    <a:pt x="97" y="311"/>
                  </a:lnTo>
                  <a:lnTo>
                    <a:pt x="97" y="311"/>
                  </a:lnTo>
                  <a:lnTo>
                    <a:pt x="97" y="311"/>
                  </a:lnTo>
                  <a:lnTo>
                    <a:pt x="97" y="310"/>
                  </a:lnTo>
                  <a:lnTo>
                    <a:pt x="97" y="309"/>
                  </a:lnTo>
                  <a:lnTo>
                    <a:pt x="97" y="307"/>
                  </a:lnTo>
                  <a:lnTo>
                    <a:pt x="97" y="307"/>
                  </a:lnTo>
                  <a:lnTo>
                    <a:pt x="97" y="306"/>
                  </a:lnTo>
                  <a:lnTo>
                    <a:pt x="97" y="305"/>
                  </a:lnTo>
                  <a:lnTo>
                    <a:pt x="97" y="305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6" y="303"/>
                  </a:lnTo>
                  <a:lnTo>
                    <a:pt x="96" y="303"/>
                  </a:lnTo>
                  <a:lnTo>
                    <a:pt x="96" y="302"/>
                  </a:lnTo>
                  <a:lnTo>
                    <a:pt x="94" y="302"/>
                  </a:lnTo>
                  <a:lnTo>
                    <a:pt x="93" y="301"/>
                  </a:lnTo>
                  <a:lnTo>
                    <a:pt x="91" y="299"/>
                  </a:lnTo>
                  <a:lnTo>
                    <a:pt x="90" y="299"/>
                  </a:lnTo>
                  <a:lnTo>
                    <a:pt x="89" y="298"/>
                  </a:lnTo>
                  <a:lnTo>
                    <a:pt x="88" y="298"/>
                  </a:lnTo>
                  <a:lnTo>
                    <a:pt x="87" y="298"/>
                  </a:lnTo>
                  <a:lnTo>
                    <a:pt x="85" y="297"/>
                  </a:lnTo>
                  <a:lnTo>
                    <a:pt x="84" y="297"/>
                  </a:lnTo>
                  <a:lnTo>
                    <a:pt x="83" y="297"/>
                  </a:lnTo>
                  <a:lnTo>
                    <a:pt x="79" y="296"/>
                  </a:lnTo>
                  <a:lnTo>
                    <a:pt x="76" y="295"/>
                  </a:lnTo>
                  <a:lnTo>
                    <a:pt x="75" y="294"/>
                  </a:lnTo>
                  <a:lnTo>
                    <a:pt x="74" y="294"/>
                  </a:lnTo>
                  <a:lnTo>
                    <a:pt x="74" y="294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5" y="290"/>
                  </a:lnTo>
                  <a:lnTo>
                    <a:pt x="75" y="290"/>
                  </a:lnTo>
                  <a:lnTo>
                    <a:pt x="75" y="289"/>
                  </a:lnTo>
                  <a:lnTo>
                    <a:pt x="75" y="288"/>
                  </a:lnTo>
                  <a:lnTo>
                    <a:pt x="74" y="287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5" y="285"/>
                  </a:lnTo>
                  <a:lnTo>
                    <a:pt x="75" y="284"/>
                  </a:lnTo>
                  <a:lnTo>
                    <a:pt x="76" y="283"/>
                  </a:lnTo>
                  <a:lnTo>
                    <a:pt x="77" y="282"/>
                  </a:lnTo>
                  <a:lnTo>
                    <a:pt x="78" y="280"/>
                  </a:lnTo>
                  <a:lnTo>
                    <a:pt x="79" y="279"/>
                  </a:lnTo>
                  <a:lnTo>
                    <a:pt x="80" y="278"/>
                  </a:lnTo>
                  <a:lnTo>
                    <a:pt x="81" y="276"/>
                  </a:lnTo>
                  <a:lnTo>
                    <a:pt x="82" y="275"/>
                  </a:lnTo>
                  <a:lnTo>
                    <a:pt x="82" y="274"/>
                  </a:lnTo>
                  <a:lnTo>
                    <a:pt x="83" y="272"/>
                  </a:lnTo>
                  <a:lnTo>
                    <a:pt x="83" y="271"/>
                  </a:lnTo>
                  <a:lnTo>
                    <a:pt x="84" y="270"/>
                  </a:lnTo>
                  <a:lnTo>
                    <a:pt x="84" y="269"/>
                  </a:lnTo>
                  <a:lnTo>
                    <a:pt x="84" y="268"/>
                  </a:lnTo>
                  <a:lnTo>
                    <a:pt x="84" y="268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3" y="265"/>
                  </a:lnTo>
                  <a:lnTo>
                    <a:pt x="83" y="264"/>
                  </a:lnTo>
                  <a:lnTo>
                    <a:pt x="82" y="262"/>
                  </a:lnTo>
                  <a:lnTo>
                    <a:pt x="82" y="261"/>
                  </a:lnTo>
                  <a:lnTo>
                    <a:pt x="80" y="259"/>
                  </a:lnTo>
                  <a:lnTo>
                    <a:pt x="79" y="258"/>
                  </a:lnTo>
                  <a:lnTo>
                    <a:pt x="78" y="256"/>
                  </a:lnTo>
                  <a:lnTo>
                    <a:pt x="78" y="255"/>
                  </a:lnTo>
                  <a:lnTo>
                    <a:pt x="78" y="255"/>
                  </a:lnTo>
                  <a:lnTo>
                    <a:pt x="78" y="254"/>
                  </a:lnTo>
                  <a:lnTo>
                    <a:pt x="78" y="252"/>
                  </a:lnTo>
                  <a:lnTo>
                    <a:pt x="78" y="250"/>
                  </a:lnTo>
                  <a:lnTo>
                    <a:pt x="78" y="249"/>
                  </a:lnTo>
                  <a:lnTo>
                    <a:pt x="78" y="248"/>
                  </a:lnTo>
                  <a:lnTo>
                    <a:pt x="78" y="247"/>
                  </a:lnTo>
                  <a:lnTo>
                    <a:pt x="78" y="244"/>
                  </a:lnTo>
                  <a:lnTo>
                    <a:pt x="79" y="243"/>
                  </a:lnTo>
                  <a:lnTo>
                    <a:pt x="79" y="241"/>
                  </a:lnTo>
                  <a:lnTo>
                    <a:pt x="78" y="238"/>
                  </a:lnTo>
                  <a:lnTo>
                    <a:pt x="78" y="236"/>
                  </a:lnTo>
                  <a:lnTo>
                    <a:pt x="78" y="234"/>
                  </a:lnTo>
                  <a:lnTo>
                    <a:pt x="78" y="234"/>
                  </a:lnTo>
                  <a:lnTo>
                    <a:pt x="78" y="232"/>
                  </a:lnTo>
                  <a:lnTo>
                    <a:pt x="77" y="231"/>
                  </a:lnTo>
                  <a:lnTo>
                    <a:pt x="77" y="231"/>
                  </a:lnTo>
                  <a:lnTo>
                    <a:pt x="77" y="230"/>
                  </a:lnTo>
                  <a:lnTo>
                    <a:pt x="76" y="229"/>
                  </a:lnTo>
                  <a:lnTo>
                    <a:pt x="75" y="229"/>
                  </a:lnTo>
                  <a:lnTo>
                    <a:pt x="75" y="228"/>
                  </a:lnTo>
                  <a:lnTo>
                    <a:pt x="73" y="227"/>
                  </a:lnTo>
                  <a:lnTo>
                    <a:pt x="72" y="226"/>
                  </a:lnTo>
                  <a:lnTo>
                    <a:pt x="72" y="225"/>
                  </a:lnTo>
                  <a:lnTo>
                    <a:pt x="71" y="225"/>
                  </a:lnTo>
                  <a:lnTo>
                    <a:pt x="70" y="225"/>
                  </a:lnTo>
                  <a:lnTo>
                    <a:pt x="70" y="225"/>
                  </a:lnTo>
                  <a:lnTo>
                    <a:pt x="69" y="225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66" y="226"/>
                  </a:lnTo>
                  <a:lnTo>
                    <a:pt x="65" y="226"/>
                  </a:lnTo>
                  <a:lnTo>
                    <a:pt x="63" y="227"/>
                  </a:lnTo>
                  <a:lnTo>
                    <a:pt x="59" y="228"/>
                  </a:lnTo>
                  <a:lnTo>
                    <a:pt x="58" y="229"/>
                  </a:lnTo>
                  <a:lnTo>
                    <a:pt x="57" y="229"/>
                  </a:lnTo>
                  <a:lnTo>
                    <a:pt x="56" y="229"/>
                  </a:lnTo>
                  <a:lnTo>
                    <a:pt x="55" y="229"/>
                  </a:lnTo>
                  <a:lnTo>
                    <a:pt x="52" y="228"/>
                  </a:lnTo>
                  <a:lnTo>
                    <a:pt x="49" y="228"/>
                  </a:lnTo>
                  <a:lnTo>
                    <a:pt x="45" y="227"/>
                  </a:lnTo>
                  <a:lnTo>
                    <a:pt x="44" y="227"/>
                  </a:lnTo>
                  <a:lnTo>
                    <a:pt x="43" y="227"/>
                  </a:lnTo>
                  <a:lnTo>
                    <a:pt x="39" y="228"/>
                  </a:lnTo>
                  <a:lnTo>
                    <a:pt x="38" y="228"/>
                  </a:lnTo>
                  <a:lnTo>
                    <a:pt x="37" y="228"/>
                  </a:lnTo>
                  <a:lnTo>
                    <a:pt x="36" y="228"/>
                  </a:lnTo>
                  <a:lnTo>
                    <a:pt x="36" y="228"/>
                  </a:lnTo>
                  <a:lnTo>
                    <a:pt x="35" y="227"/>
                  </a:lnTo>
                  <a:lnTo>
                    <a:pt x="34" y="227"/>
                  </a:lnTo>
                  <a:lnTo>
                    <a:pt x="33" y="227"/>
                  </a:lnTo>
                  <a:lnTo>
                    <a:pt x="33" y="226"/>
                  </a:lnTo>
                  <a:lnTo>
                    <a:pt x="32" y="226"/>
                  </a:lnTo>
                  <a:lnTo>
                    <a:pt x="31" y="225"/>
                  </a:lnTo>
                  <a:lnTo>
                    <a:pt x="31" y="225"/>
                  </a:lnTo>
                  <a:lnTo>
                    <a:pt x="30" y="224"/>
                  </a:lnTo>
                  <a:lnTo>
                    <a:pt x="30" y="224"/>
                  </a:lnTo>
                  <a:lnTo>
                    <a:pt x="30" y="223"/>
                  </a:lnTo>
                  <a:lnTo>
                    <a:pt x="29" y="222"/>
                  </a:lnTo>
                  <a:lnTo>
                    <a:pt x="29" y="221"/>
                  </a:lnTo>
                  <a:lnTo>
                    <a:pt x="29" y="220"/>
                  </a:lnTo>
                  <a:lnTo>
                    <a:pt x="29" y="220"/>
                  </a:lnTo>
                  <a:lnTo>
                    <a:pt x="29" y="218"/>
                  </a:lnTo>
                  <a:lnTo>
                    <a:pt x="29" y="216"/>
                  </a:lnTo>
                  <a:lnTo>
                    <a:pt x="29" y="215"/>
                  </a:lnTo>
                  <a:lnTo>
                    <a:pt x="28" y="215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27" y="213"/>
                  </a:lnTo>
                  <a:lnTo>
                    <a:pt x="25" y="211"/>
                  </a:lnTo>
                  <a:lnTo>
                    <a:pt x="24" y="210"/>
                  </a:lnTo>
                  <a:lnTo>
                    <a:pt x="23" y="209"/>
                  </a:lnTo>
                  <a:lnTo>
                    <a:pt x="22" y="208"/>
                  </a:lnTo>
                  <a:lnTo>
                    <a:pt x="22" y="208"/>
                  </a:lnTo>
                  <a:lnTo>
                    <a:pt x="21" y="206"/>
                  </a:lnTo>
                  <a:lnTo>
                    <a:pt x="20" y="206"/>
                  </a:lnTo>
                  <a:lnTo>
                    <a:pt x="20" y="205"/>
                  </a:lnTo>
                  <a:lnTo>
                    <a:pt x="19" y="205"/>
                  </a:lnTo>
                  <a:lnTo>
                    <a:pt x="18" y="204"/>
                  </a:lnTo>
                  <a:lnTo>
                    <a:pt x="16" y="204"/>
                  </a:lnTo>
                  <a:lnTo>
                    <a:pt x="16" y="204"/>
                  </a:lnTo>
                  <a:lnTo>
                    <a:pt x="15" y="203"/>
                  </a:lnTo>
                  <a:lnTo>
                    <a:pt x="12" y="203"/>
                  </a:lnTo>
                  <a:lnTo>
                    <a:pt x="11" y="203"/>
                  </a:lnTo>
                  <a:lnTo>
                    <a:pt x="10" y="203"/>
                  </a:lnTo>
                  <a:lnTo>
                    <a:pt x="10" y="203"/>
                  </a:lnTo>
                  <a:lnTo>
                    <a:pt x="9" y="202"/>
                  </a:lnTo>
                  <a:lnTo>
                    <a:pt x="9" y="202"/>
                  </a:lnTo>
                  <a:lnTo>
                    <a:pt x="8" y="202"/>
                  </a:lnTo>
                  <a:lnTo>
                    <a:pt x="7" y="201"/>
                  </a:lnTo>
                  <a:lnTo>
                    <a:pt x="6" y="201"/>
                  </a:lnTo>
                  <a:lnTo>
                    <a:pt x="6" y="200"/>
                  </a:lnTo>
                  <a:lnTo>
                    <a:pt x="5" y="200"/>
                  </a:lnTo>
                  <a:lnTo>
                    <a:pt x="5" y="199"/>
                  </a:lnTo>
                  <a:lnTo>
                    <a:pt x="4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3" y="195"/>
                  </a:lnTo>
                  <a:lnTo>
                    <a:pt x="3" y="194"/>
                  </a:lnTo>
                  <a:lnTo>
                    <a:pt x="2" y="193"/>
                  </a:lnTo>
                  <a:lnTo>
                    <a:pt x="1" y="191"/>
                  </a:lnTo>
                  <a:lnTo>
                    <a:pt x="1" y="190"/>
                  </a:lnTo>
                  <a:lnTo>
                    <a:pt x="1" y="190"/>
                  </a:lnTo>
                  <a:lnTo>
                    <a:pt x="0" y="189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0" y="187"/>
                  </a:lnTo>
                  <a:lnTo>
                    <a:pt x="1" y="186"/>
                  </a:lnTo>
                  <a:lnTo>
                    <a:pt x="1" y="186"/>
                  </a:lnTo>
                  <a:lnTo>
                    <a:pt x="1" y="185"/>
                  </a:lnTo>
                  <a:lnTo>
                    <a:pt x="2" y="184"/>
                  </a:lnTo>
                  <a:lnTo>
                    <a:pt x="2" y="184"/>
                  </a:lnTo>
                  <a:lnTo>
                    <a:pt x="3" y="184"/>
                  </a:lnTo>
                  <a:lnTo>
                    <a:pt x="5" y="182"/>
                  </a:lnTo>
                  <a:lnTo>
                    <a:pt x="6" y="182"/>
                  </a:lnTo>
                  <a:lnTo>
                    <a:pt x="6" y="181"/>
                  </a:lnTo>
                  <a:lnTo>
                    <a:pt x="7" y="181"/>
                  </a:lnTo>
                  <a:lnTo>
                    <a:pt x="7" y="181"/>
                  </a:lnTo>
                  <a:lnTo>
                    <a:pt x="7" y="180"/>
                  </a:lnTo>
                  <a:lnTo>
                    <a:pt x="8" y="177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2" y="171"/>
                  </a:lnTo>
                  <a:lnTo>
                    <a:pt x="12" y="170"/>
                  </a:lnTo>
                  <a:lnTo>
                    <a:pt x="13" y="169"/>
                  </a:lnTo>
                  <a:lnTo>
                    <a:pt x="13" y="167"/>
                  </a:lnTo>
                  <a:lnTo>
                    <a:pt x="13" y="166"/>
                  </a:lnTo>
                  <a:lnTo>
                    <a:pt x="13" y="165"/>
                  </a:lnTo>
                  <a:lnTo>
                    <a:pt x="12" y="163"/>
                  </a:lnTo>
                  <a:lnTo>
                    <a:pt x="11" y="160"/>
                  </a:lnTo>
                  <a:lnTo>
                    <a:pt x="11" y="159"/>
                  </a:lnTo>
                  <a:lnTo>
                    <a:pt x="10" y="158"/>
                  </a:lnTo>
                  <a:lnTo>
                    <a:pt x="10" y="157"/>
                  </a:lnTo>
                  <a:lnTo>
                    <a:pt x="9" y="156"/>
                  </a:lnTo>
                  <a:lnTo>
                    <a:pt x="8" y="154"/>
                  </a:lnTo>
                  <a:lnTo>
                    <a:pt x="8" y="154"/>
                  </a:lnTo>
                  <a:lnTo>
                    <a:pt x="8" y="153"/>
                  </a:lnTo>
                  <a:lnTo>
                    <a:pt x="7" y="152"/>
                  </a:lnTo>
                  <a:lnTo>
                    <a:pt x="7" y="151"/>
                  </a:lnTo>
                  <a:lnTo>
                    <a:pt x="7" y="150"/>
                  </a:lnTo>
                  <a:lnTo>
                    <a:pt x="7" y="145"/>
                  </a:lnTo>
                  <a:lnTo>
                    <a:pt x="7" y="143"/>
                  </a:lnTo>
                  <a:lnTo>
                    <a:pt x="7" y="142"/>
                  </a:lnTo>
                  <a:lnTo>
                    <a:pt x="7" y="142"/>
                  </a:lnTo>
                  <a:lnTo>
                    <a:pt x="7" y="141"/>
                  </a:lnTo>
                  <a:lnTo>
                    <a:pt x="6" y="139"/>
                  </a:lnTo>
                  <a:lnTo>
                    <a:pt x="5" y="137"/>
                  </a:lnTo>
                  <a:lnTo>
                    <a:pt x="5" y="136"/>
                  </a:lnTo>
                  <a:lnTo>
                    <a:pt x="4" y="134"/>
                  </a:lnTo>
                  <a:lnTo>
                    <a:pt x="3" y="132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4" y="126"/>
                  </a:lnTo>
                  <a:lnTo>
                    <a:pt x="5" y="125"/>
                  </a:lnTo>
                  <a:lnTo>
                    <a:pt x="6" y="124"/>
                  </a:lnTo>
                  <a:lnTo>
                    <a:pt x="8" y="122"/>
                  </a:lnTo>
                  <a:lnTo>
                    <a:pt x="9" y="121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0" y="121"/>
                  </a:lnTo>
                  <a:lnTo>
                    <a:pt x="11" y="122"/>
                  </a:lnTo>
                  <a:lnTo>
                    <a:pt x="13" y="122"/>
                  </a:lnTo>
                  <a:lnTo>
                    <a:pt x="15" y="124"/>
                  </a:lnTo>
                  <a:lnTo>
                    <a:pt x="17" y="125"/>
                  </a:lnTo>
                  <a:lnTo>
                    <a:pt x="21" y="127"/>
                  </a:lnTo>
                  <a:lnTo>
                    <a:pt x="22" y="128"/>
                  </a:lnTo>
                  <a:lnTo>
                    <a:pt x="24" y="128"/>
                  </a:lnTo>
                  <a:lnTo>
                    <a:pt x="25" y="129"/>
                  </a:lnTo>
                  <a:lnTo>
                    <a:pt x="27" y="130"/>
                  </a:lnTo>
                  <a:lnTo>
                    <a:pt x="28" y="130"/>
                  </a:lnTo>
                  <a:lnTo>
                    <a:pt x="30" y="131"/>
                  </a:lnTo>
                  <a:lnTo>
                    <a:pt x="30" y="131"/>
                  </a:lnTo>
                  <a:lnTo>
                    <a:pt x="31" y="131"/>
                  </a:lnTo>
                  <a:lnTo>
                    <a:pt x="32" y="131"/>
                  </a:lnTo>
                  <a:lnTo>
                    <a:pt x="33" y="131"/>
                  </a:lnTo>
                  <a:lnTo>
                    <a:pt x="34" y="131"/>
                  </a:lnTo>
                  <a:lnTo>
                    <a:pt x="34" y="131"/>
                  </a:lnTo>
                  <a:lnTo>
                    <a:pt x="35" y="131"/>
                  </a:lnTo>
                  <a:lnTo>
                    <a:pt x="36" y="130"/>
                  </a:lnTo>
                  <a:lnTo>
                    <a:pt x="36" y="130"/>
                  </a:lnTo>
                  <a:lnTo>
                    <a:pt x="37" y="129"/>
                  </a:lnTo>
                  <a:lnTo>
                    <a:pt x="38" y="128"/>
                  </a:lnTo>
                  <a:lnTo>
                    <a:pt x="40" y="125"/>
                  </a:lnTo>
                  <a:lnTo>
                    <a:pt x="42" y="123"/>
                  </a:lnTo>
                  <a:lnTo>
                    <a:pt x="43" y="122"/>
                  </a:lnTo>
                  <a:lnTo>
                    <a:pt x="44" y="122"/>
                  </a:lnTo>
                  <a:lnTo>
                    <a:pt x="44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6" y="120"/>
                  </a:lnTo>
                  <a:lnTo>
                    <a:pt x="46" y="120"/>
                  </a:lnTo>
                  <a:lnTo>
                    <a:pt x="47" y="120"/>
                  </a:lnTo>
                  <a:lnTo>
                    <a:pt x="48" y="120"/>
                  </a:lnTo>
                  <a:lnTo>
                    <a:pt x="49" y="120"/>
                  </a:lnTo>
                  <a:lnTo>
                    <a:pt x="50" y="120"/>
                  </a:lnTo>
                  <a:lnTo>
                    <a:pt x="51" y="120"/>
                  </a:lnTo>
                  <a:lnTo>
                    <a:pt x="52" y="121"/>
                  </a:lnTo>
                  <a:lnTo>
                    <a:pt x="53" y="121"/>
                  </a:lnTo>
                  <a:lnTo>
                    <a:pt x="54" y="122"/>
                  </a:lnTo>
                  <a:lnTo>
                    <a:pt x="56" y="123"/>
                  </a:lnTo>
                  <a:lnTo>
                    <a:pt x="58" y="123"/>
                  </a:lnTo>
                  <a:lnTo>
                    <a:pt x="59" y="124"/>
                  </a:lnTo>
                  <a:lnTo>
                    <a:pt x="61" y="124"/>
                  </a:lnTo>
                  <a:lnTo>
                    <a:pt x="62" y="124"/>
                  </a:lnTo>
                  <a:lnTo>
                    <a:pt x="63" y="125"/>
                  </a:lnTo>
                  <a:lnTo>
                    <a:pt x="64" y="125"/>
                  </a:lnTo>
                  <a:lnTo>
                    <a:pt x="65" y="125"/>
                  </a:lnTo>
                  <a:lnTo>
                    <a:pt x="66" y="126"/>
                  </a:lnTo>
                  <a:lnTo>
                    <a:pt x="68" y="127"/>
                  </a:lnTo>
                  <a:lnTo>
                    <a:pt x="69" y="128"/>
                  </a:lnTo>
                  <a:lnTo>
                    <a:pt x="71" y="129"/>
                  </a:lnTo>
                  <a:lnTo>
                    <a:pt x="73" y="129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5" y="130"/>
                  </a:lnTo>
                  <a:lnTo>
                    <a:pt x="77" y="129"/>
                  </a:lnTo>
                  <a:lnTo>
                    <a:pt x="78" y="129"/>
                  </a:lnTo>
                  <a:lnTo>
                    <a:pt x="78" y="130"/>
                  </a:lnTo>
                  <a:lnTo>
                    <a:pt x="78" y="130"/>
                  </a:lnTo>
                  <a:lnTo>
                    <a:pt x="79" y="130"/>
                  </a:lnTo>
                  <a:lnTo>
                    <a:pt x="79" y="131"/>
                  </a:lnTo>
                  <a:lnTo>
                    <a:pt x="79" y="131"/>
                  </a:lnTo>
                  <a:lnTo>
                    <a:pt x="80" y="132"/>
                  </a:lnTo>
                  <a:lnTo>
                    <a:pt x="80" y="133"/>
                  </a:lnTo>
                  <a:lnTo>
                    <a:pt x="80" y="134"/>
                  </a:lnTo>
                  <a:lnTo>
                    <a:pt x="81" y="135"/>
                  </a:lnTo>
                  <a:lnTo>
                    <a:pt x="81" y="135"/>
                  </a:lnTo>
                  <a:lnTo>
                    <a:pt x="81" y="136"/>
                  </a:lnTo>
                  <a:lnTo>
                    <a:pt x="82" y="137"/>
                  </a:lnTo>
                  <a:lnTo>
                    <a:pt x="83" y="137"/>
                  </a:lnTo>
                  <a:lnTo>
                    <a:pt x="83" y="137"/>
                  </a:lnTo>
                  <a:lnTo>
                    <a:pt x="83" y="138"/>
                  </a:lnTo>
                  <a:lnTo>
                    <a:pt x="84" y="138"/>
                  </a:lnTo>
                  <a:lnTo>
                    <a:pt x="85" y="138"/>
                  </a:lnTo>
                  <a:lnTo>
                    <a:pt x="85" y="138"/>
                  </a:lnTo>
                  <a:lnTo>
                    <a:pt x="86" y="138"/>
                  </a:lnTo>
                  <a:lnTo>
                    <a:pt x="87" y="138"/>
                  </a:lnTo>
                  <a:lnTo>
                    <a:pt x="88" y="138"/>
                  </a:lnTo>
                  <a:lnTo>
                    <a:pt x="89" y="138"/>
                  </a:lnTo>
                  <a:lnTo>
                    <a:pt x="90" y="138"/>
                  </a:lnTo>
                  <a:lnTo>
                    <a:pt x="91" y="137"/>
                  </a:lnTo>
                  <a:lnTo>
                    <a:pt x="92" y="137"/>
                  </a:lnTo>
                  <a:lnTo>
                    <a:pt x="93" y="136"/>
                  </a:lnTo>
                  <a:lnTo>
                    <a:pt x="93" y="136"/>
                  </a:lnTo>
                  <a:lnTo>
                    <a:pt x="96" y="135"/>
                  </a:lnTo>
                  <a:lnTo>
                    <a:pt x="96" y="134"/>
                  </a:lnTo>
                  <a:lnTo>
                    <a:pt x="96" y="134"/>
                  </a:lnTo>
                  <a:lnTo>
                    <a:pt x="97" y="133"/>
                  </a:lnTo>
                  <a:lnTo>
                    <a:pt x="97" y="132"/>
                  </a:lnTo>
                  <a:lnTo>
                    <a:pt x="98" y="131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98" y="129"/>
                  </a:lnTo>
                  <a:lnTo>
                    <a:pt x="97" y="126"/>
                  </a:lnTo>
                  <a:lnTo>
                    <a:pt x="97" y="125"/>
                  </a:lnTo>
                  <a:lnTo>
                    <a:pt x="97" y="124"/>
                  </a:lnTo>
                  <a:lnTo>
                    <a:pt x="97" y="123"/>
                  </a:lnTo>
                  <a:lnTo>
                    <a:pt x="97" y="122"/>
                  </a:lnTo>
                  <a:lnTo>
                    <a:pt x="97" y="122"/>
                  </a:lnTo>
                  <a:lnTo>
                    <a:pt x="98" y="121"/>
                  </a:lnTo>
                  <a:lnTo>
                    <a:pt x="98" y="120"/>
                  </a:lnTo>
                  <a:lnTo>
                    <a:pt x="99" y="119"/>
                  </a:lnTo>
                  <a:lnTo>
                    <a:pt x="100" y="119"/>
                  </a:lnTo>
                  <a:lnTo>
                    <a:pt x="102" y="117"/>
                  </a:lnTo>
                  <a:lnTo>
                    <a:pt x="104" y="115"/>
                  </a:lnTo>
                  <a:lnTo>
                    <a:pt x="106" y="113"/>
                  </a:lnTo>
                  <a:lnTo>
                    <a:pt x="107" y="113"/>
                  </a:lnTo>
                  <a:lnTo>
                    <a:pt x="107" y="112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10" y="111"/>
                  </a:lnTo>
                  <a:lnTo>
                    <a:pt x="111" y="111"/>
                  </a:lnTo>
                  <a:lnTo>
                    <a:pt x="112" y="112"/>
                  </a:lnTo>
                  <a:lnTo>
                    <a:pt x="112" y="112"/>
                  </a:lnTo>
                  <a:lnTo>
                    <a:pt x="112" y="113"/>
                  </a:lnTo>
                  <a:lnTo>
                    <a:pt x="114" y="115"/>
                  </a:lnTo>
                  <a:lnTo>
                    <a:pt x="115" y="117"/>
                  </a:lnTo>
                  <a:lnTo>
                    <a:pt x="116" y="118"/>
                  </a:lnTo>
                  <a:lnTo>
                    <a:pt x="117" y="118"/>
                  </a:lnTo>
                  <a:lnTo>
                    <a:pt x="118" y="119"/>
                  </a:lnTo>
                  <a:lnTo>
                    <a:pt x="118" y="120"/>
                  </a:lnTo>
                  <a:lnTo>
                    <a:pt x="120" y="120"/>
                  </a:lnTo>
                  <a:lnTo>
                    <a:pt x="121" y="121"/>
                  </a:lnTo>
                  <a:lnTo>
                    <a:pt x="122" y="121"/>
                  </a:lnTo>
                  <a:lnTo>
                    <a:pt x="123" y="122"/>
                  </a:lnTo>
                  <a:lnTo>
                    <a:pt x="124" y="122"/>
                  </a:lnTo>
                  <a:lnTo>
                    <a:pt x="125" y="122"/>
                  </a:lnTo>
                  <a:lnTo>
                    <a:pt x="125" y="122"/>
                  </a:lnTo>
                  <a:lnTo>
                    <a:pt x="126" y="122"/>
                  </a:lnTo>
                  <a:lnTo>
                    <a:pt x="127" y="121"/>
                  </a:lnTo>
                  <a:lnTo>
                    <a:pt x="130" y="121"/>
                  </a:lnTo>
                  <a:lnTo>
                    <a:pt x="131" y="120"/>
                  </a:lnTo>
                  <a:lnTo>
                    <a:pt x="132" y="120"/>
                  </a:lnTo>
                  <a:lnTo>
                    <a:pt x="133" y="120"/>
                  </a:lnTo>
                  <a:lnTo>
                    <a:pt x="134" y="120"/>
                  </a:lnTo>
                  <a:lnTo>
                    <a:pt x="136" y="120"/>
                  </a:lnTo>
                  <a:lnTo>
                    <a:pt x="137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40" y="121"/>
                  </a:lnTo>
                  <a:lnTo>
                    <a:pt x="140" y="121"/>
                  </a:lnTo>
                  <a:lnTo>
                    <a:pt x="142" y="121"/>
                  </a:lnTo>
                  <a:lnTo>
                    <a:pt x="143" y="121"/>
                  </a:lnTo>
                  <a:lnTo>
                    <a:pt x="144" y="121"/>
                  </a:lnTo>
                  <a:lnTo>
                    <a:pt x="146" y="120"/>
                  </a:lnTo>
                  <a:lnTo>
                    <a:pt x="147" y="120"/>
                  </a:lnTo>
                  <a:lnTo>
                    <a:pt x="148" y="119"/>
                  </a:lnTo>
                  <a:lnTo>
                    <a:pt x="149" y="119"/>
                  </a:lnTo>
                  <a:lnTo>
                    <a:pt x="149" y="118"/>
                  </a:lnTo>
                  <a:lnTo>
                    <a:pt x="150" y="118"/>
                  </a:lnTo>
                  <a:lnTo>
                    <a:pt x="150" y="118"/>
                  </a:lnTo>
                  <a:lnTo>
                    <a:pt x="150" y="117"/>
                  </a:lnTo>
                  <a:lnTo>
                    <a:pt x="151" y="117"/>
                  </a:lnTo>
                  <a:lnTo>
                    <a:pt x="151" y="116"/>
                  </a:lnTo>
                  <a:lnTo>
                    <a:pt x="151" y="115"/>
                  </a:lnTo>
                  <a:lnTo>
                    <a:pt x="150" y="114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49" y="112"/>
                  </a:lnTo>
                  <a:lnTo>
                    <a:pt x="149" y="111"/>
                  </a:lnTo>
                  <a:lnTo>
                    <a:pt x="147" y="109"/>
                  </a:lnTo>
                  <a:lnTo>
                    <a:pt x="145" y="105"/>
                  </a:lnTo>
                  <a:lnTo>
                    <a:pt x="143" y="103"/>
                  </a:lnTo>
                  <a:lnTo>
                    <a:pt x="143" y="103"/>
                  </a:lnTo>
                  <a:lnTo>
                    <a:pt x="141" y="99"/>
                  </a:lnTo>
                  <a:lnTo>
                    <a:pt x="140" y="96"/>
                  </a:lnTo>
                  <a:lnTo>
                    <a:pt x="138" y="93"/>
                  </a:lnTo>
                  <a:lnTo>
                    <a:pt x="138" y="93"/>
                  </a:lnTo>
                  <a:lnTo>
                    <a:pt x="138" y="92"/>
                  </a:lnTo>
                  <a:lnTo>
                    <a:pt x="138" y="91"/>
                  </a:lnTo>
                  <a:lnTo>
                    <a:pt x="137" y="90"/>
                  </a:lnTo>
                  <a:lnTo>
                    <a:pt x="138" y="89"/>
                  </a:lnTo>
                  <a:lnTo>
                    <a:pt x="138" y="88"/>
                  </a:lnTo>
                  <a:lnTo>
                    <a:pt x="138" y="86"/>
                  </a:lnTo>
                  <a:lnTo>
                    <a:pt x="139" y="84"/>
                  </a:lnTo>
                  <a:lnTo>
                    <a:pt x="140" y="80"/>
                  </a:lnTo>
                  <a:lnTo>
                    <a:pt x="140" y="79"/>
                  </a:lnTo>
                  <a:lnTo>
                    <a:pt x="141" y="78"/>
                  </a:lnTo>
                  <a:lnTo>
                    <a:pt x="141" y="78"/>
                  </a:lnTo>
                  <a:lnTo>
                    <a:pt x="141" y="77"/>
                  </a:lnTo>
                  <a:lnTo>
                    <a:pt x="140" y="76"/>
                  </a:lnTo>
                  <a:lnTo>
                    <a:pt x="140" y="76"/>
                  </a:lnTo>
                  <a:lnTo>
                    <a:pt x="140" y="75"/>
                  </a:lnTo>
                  <a:lnTo>
                    <a:pt x="140" y="74"/>
                  </a:lnTo>
                  <a:lnTo>
                    <a:pt x="138" y="72"/>
                  </a:lnTo>
                  <a:lnTo>
                    <a:pt x="136" y="67"/>
                  </a:lnTo>
                  <a:lnTo>
                    <a:pt x="136" y="67"/>
                  </a:lnTo>
                  <a:lnTo>
                    <a:pt x="136" y="66"/>
                  </a:lnTo>
                  <a:lnTo>
                    <a:pt x="136" y="65"/>
                  </a:lnTo>
                  <a:lnTo>
                    <a:pt x="136" y="64"/>
                  </a:lnTo>
                  <a:lnTo>
                    <a:pt x="136" y="63"/>
                  </a:lnTo>
                  <a:lnTo>
                    <a:pt x="136" y="60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5" y="57"/>
                  </a:lnTo>
                  <a:lnTo>
                    <a:pt x="134" y="54"/>
                  </a:lnTo>
                  <a:lnTo>
                    <a:pt x="134" y="51"/>
                  </a:lnTo>
                  <a:lnTo>
                    <a:pt x="133" y="48"/>
                  </a:lnTo>
                  <a:lnTo>
                    <a:pt x="133" y="46"/>
                  </a:lnTo>
                  <a:lnTo>
                    <a:pt x="133" y="45"/>
                  </a:lnTo>
                  <a:lnTo>
                    <a:pt x="132" y="43"/>
                  </a:lnTo>
                  <a:lnTo>
                    <a:pt x="132" y="36"/>
                  </a:lnTo>
                  <a:lnTo>
                    <a:pt x="132" y="31"/>
                  </a:lnTo>
                  <a:lnTo>
                    <a:pt x="132" y="30"/>
                  </a:lnTo>
                  <a:lnTo>
                    <a:pt x="132" y="29"/>
                  </a:lnTo>
                  <a:lnTo>
                    <a:pt x="133" y="25"/>
                  </a:lnTo>
                  <a:lnTo>
                    <a:pt x="133" y="23"/>
                  </a:lnTo>
                  <a:lnTo>
                    <a:pt x="133" y="22"/>
                  </a:lnTo>
                  <a:lnTo>
                    <a:pt x="133" y="20"/>
                  </a:lnTo>
                  <a:lnTo>
                    <a:pt x="132" y="20"/>
                  </a:lnTo>
                  <a:lnTo>
                    <a:pt x="132" y="19"/>
                  </a:lnTo>
                  <a:lnTo>
                    <a:pt x="132" y="18"/>
                  </a:lnTo>
                  <a:lnTo>
                    <a:pt x="131" y="16"/>
                  </a:lnTo>
                  <a:lnTo>
                    <a:pt x="130" y="15"/>
                  </a:lnTo>
                  <a:lnTo>
                    <a:pt x="128" y="11"/>
                  </a:lnTo>
                  <a:lnTo>
                    <a:pt x="127" y="10"/>
                  </a:lnTo>
                  <a:lnTo>
                    <a:pt x="126" y="8"/>
                  </a:lnTo>
                  <a:lnTo>
                    <a:pt x="125" y="6"/>
                  </a:lnTo>
                  <a:lnTo>
                    <a:pt x="124" y="5"/>
                  </a:lnTo>
                  <a:lnTo>
                    <a:pt x="124" y="4"/>
                  </a:lnTo>
                  <a:lnTo>
                    <a:pt x="124" y="3"/>
                  </a:lnTo>
                  <a:lnTo>
                    <a:pt x="123" y="2"/>
                  </a:lnTo>
                  <a:lnTo>
                    <a:pt x="123" y="1"/>
                  </a:lnTo>
                  <a:lnTo>
                    <a:pt x="123" y="1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27" y="1"/>
                  </a:lnTo>
                  <a:close/>
                </a:path>
              </a:pathLst>
            </a:custGeom>
            <a:solidFill>
              <a:srgbClr val="A8A8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 58">
              <a:extLst>
                <a:ext uri="{FF2B5EF4-FFF2-40B4-BE49-F238E27FC236}">
                  <a16:creationId xmlns:a16="http://schemas.microsoft.com/office/drawing/2014/main" id="{C2148246-71C8-16CA-44C2-3C29F3CD6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994"/>
              <a:ext cx="436" cy="338"/>
            </a:xfrm>
            <a:custGeom>
              <a:avLst/>
              <a:gdLst>
                <a:gd name="T0" fmla="*/ 164 w 436"/>
                <a:gd name="T1" fmla="*/ 11 h 338"/>
                <a:gd name="T2" fmla="*/ 194 w 436"/>
                <a:gd name="T3" fmla="*/ 15 h 338"/>
                <a:gd name="T4" fmla="*/ 211 w 436"/>
                <a:gd name="T5" fmla="*/ 23 h 338"/>
                <a:gd name="T6" fmla="*/ 225 w 436"/>
                <a:gd name="T7" fmla="*/ 47 h 338"/>
                <a:gd name="T8" fmla="*/ 252 w 436"/>
                <a:gd name="T9" fmla="*/ 41 h 338"/>
                <a:gd name="T10" fmla="*/ 263 w 436"/>
                <a:gd name="T11" fmla="*/ 65 h 338"/>
                <a:gd name="T12" fmla="*/ 263 w 436"/>
                <a:gd name="T13" fmla="*/ 78 h 338"/>
                <a:gd name="T14" fmla="*/ 278 w 436"/>
                <a:gd name="T15" fmla="*/ 71 h 338"/>
                <a:gd name="T16" fmla="*/ 298 w 436"/>
                <a:gd name="T17" fmla="*/ 54 h 338"/>
                <a:gd name="T18" fmla="*/ 319 w 436"/>
                <a:gd name="T19" fmla="*/ 65 h 338"/>
                <a:gd name="T20" fmla="*/ 330 w 436"/>
                <a:gd name="T21" fmla="*/ 51 h 338"/>
                <a:gd name="T22" fmla="*/ 350 w 436"/>
                <a:gd name="T23" fmla="*/ 51 h 338"/>
                <a:gd name="T24" fmla="*/ 378 w 436"/>
                <a:gd name="T25" fmla="*/ 70 h 338"/>
                <a:gd name="T26" fmla="*/ 386 w 436"/>
                <a:gd name="T27" fmla="*/ 92 h 338"/>
                <a:gd name="T28" fmla="*/ 375 w 436"/>
                <a:gd name="T29" fmla="*/ 116 h 338"/>
                <a:gd name="T30" fmla="*/ 356 w 436"/>
                <a:gd name="T31" fmla="*/ 126 h 338"/>
                <a:gd name="T32" fmla="*/ 338 w 436"/>
                <a:gd name="T33" fmla="*/ 138 h 338"/>
                <a:gd name="T34" fmla="*/ 328 w 436"/>
                <a:gd name="T35" fmla="*/ 151 h 338"/>
                <a:gd name="T36" fmla="*/ 322 w 436"/>
                <a:gd name="T37" fmla="*/ 159 h 338"/>
                <a:gd name="T38" fmla="*/ 335 w 436"/>
                <a:gd name="T39" fmla="*/ 172 h 338"/>
                <a:gd name="T40" fmla="*/ 349 w 436"/>
                <a:gd name="T41" fmla="*/ 184 h 338"/>
                <a:gd name="T42" fmla="*/ 368 w 436"/>
                <a:gd name="T43" fmla="*/ 184 h 338"/>
                <a:gd name="T44" fmla="*/ 381 w 436"/>
                <a:gd name="T45" fmla="*/ 207 h 338"/>
                <a:gd name="T46" fmla="*/ 406 w 436"/>
                <a:gd name="T47" fmla="*/ 230 h 338"/>
                <a:gd name="T48" fmla="*/ 428 w 436"/>
                <a:gd name="T49" fmla="*/ 255 h 338"/>
                <a:gd name="T50" fmla="*/ 436 w 436"/>
                <a:gd name="T51" fmla="*/ 288 h 338"/>
                <a:gd name="T52" fmla="*/ 417 w 436"/>
                <a:gd name="T53" fmla="*/ 283 h 338"/>
                <a:gd name="T54" fmla="*/ 407 w 436"/>
                <a:gd name="T55" fmla="*/ 285 h 338"/>
                <a:gd name="T56" fmla="*/ 384 w 436"/>
                <a:gd name="T57" fmla="*/ 303 h 338"/>
                <a:gd name="T58" fmla="*/ 367 w 436"/>
                <a:gd name="T59" fmla="*/ 320 h 338"/>
                <a:gd name="T60" fmla="*/ 360 w 436"/>
                <a:gd name="T61" fmla="*/ 331 h 338"/>
                <a:gd name="T62" fmla="*/ 350 w 436"/>
                <a:gd name="T63" fmla="*/ 335 h 338"/>
                <a:gd name="T64" fmla="*/ 329 w 436"/>
                <a:gd name="T65" fmla="*/ 337 h 338"/>
                <a:gd name="T66" fmla="*/ 305 w 436"/>
                <a:gd name="T67" fmla="*/ 327 h 338"/>
                <a:gd name="T68" fmla="*/ 282 w 436"/>
                <a:gd name="T69" fmla="*/ 310 h 338"/>
                <a:gd name="T70" fmla="*/ 266 w 436"/>
                <a:gd name="T71" fmla="*/ 296 h 338"/>
                <a:gd name="T72" fmla="*/ 243 w 436"/>
                <a:gd name="T73" fmla="*/ 283 h 338"/>
                <a:gd name="T74" fmla="*/ 222 w 436"/>
                <a:gd name="T75" fmla="*/ 293 h 338"/>
                <a:gd name="T76" fmla="*/ 207 w 436"/>
                <a:gd name="T77" fmla="*/ 294 h 338"/>
                <a:gd name="T78" fmla="*/ 198 w 436"/>
                <a:gd name="T79" fmla="*/ 279 h 338"/>
                <a:gd name="T80" fmla="*/ 184 w 436"/>
                <a:gd name="T81" fmla="*/ 294 h 338"/>
                <a:gd name="T82" fmla="*/ 161 w 436"/>
                <a:gd name="T83" fmla="*/ 298 h 338"/>
                <a:gd name="T84" fmla="*/ 141 w 436"/>
                <a:gd name="T85" fmla="*/ 296 h 338"/>
                <a:gd name="T86" fmla="*/ 125 w 436"/>
                <a:gd name="T87" fmla="*/ 297 h 338"/>
                <a:gd name="T88" fmla="*/ 111 w 436"/>
                <a:gd name="T89" fmla="*/ 310 h 338"/>
                <a:gd name="T90" fmla="*/ 97 w 436"/>
                <a:gd name="T91" fmla="*/ 310 h 338"/>
                <a:gd name="T92" fmla="*/ 91 w 436"/>
                <a:gd name="T93" fmla="*/ 298 h 338"/>
                <a:gd name="T94" fmla="*/ 75 w 436"/>
                <a:gd name="T95" fmla="*/ 289 h 338"/>
                <a:gd name="T96" fmla="*/ 83 w 436"/>
                <a:gd name="T97" fmla="*/ 270 h 338"/>
                <a:gd name="T98" fmla="*/ 78 w 436"/>
                <a:gd name="T99" fmla="*/ 251 h 338"/>
                <a:gd name="T100" fmla="*/ 75 w 436"/>
                <a:gd name="T101" fmla="*/ 228 h 338"/>
                <a:gd name="T102" fmla="*/ 56 w 436"/>
                <a:gd name="T103" fmla="*/ 228 h 338"/>
                <a:gd name="T104" fmla="*/ 31 w 436"/>
                <a:gd name="T105" fmla="*/ 224 h 338"/>
                <a:gd name="T106" fmla="*/ 24 w 436"/>
                <a:gd name="T107" fmla="*/ 209 h 338"/>
                <a:gd name="T108" fmla="*/ 9 w 436"/>
                <a:gd name="T109" fmla="*/ 201 h 338"/>
                <a:gd name="T110" fmla="*/ 0 w 436"/>
                <a:gd name="T111" fmla="*/ 187 h 338"/>
                <a:gd name="T112" fmla="*/ 9 w 436"/>
                <a:gd name="T113" fmla="*/ 174 h 338"/>
                <a:gd name="T114" fmla="*/ 8 w 436"/>
                <a:gd name="T115" fmla="*/ 152 h 338"/>
                <a:gd name="T116" fmla="*/ 3 w 436"/>
                <a:gd name="T117" fmla="*/ 128 h 338"/>
                <a:gd name="T118" fmla="*/ 21 w 436"/>
                <a:gd name="T119" fmla="*/ 126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6" h="338">
                  <a:moveTo>
                    <a:pt x="127" y="0"/>
                  </a:moveTo>
                  <a:lnTo>
                    <a:pt x="129" y="0"/>
                  </a:lnTo>
                  <a:lnTo>
                    <a:pt x="135" y="0"/>
                  </a:lnTo>
                  <a:lnTo>
                    <a:pt x="137" y="1"/>
                  </a:lnTo>
                  <a:lnTo>
                    <a:pt x="139" y="1"/>
                  </a:lnTo>
                  <a:lnTo>
                    <a:pt x="141" y="1"/>
                  </a:lnTo>
                  <a:lnTo>
                    <a:pt x="143" y="2"/>
                  </a:lnTo>
                  <a:lnTo>
                    <a:pt x="144" y="2"/>
                  </a:lnTo>
                  <a:lnTo>
                    <a:pt x="145" y="3"/>
                  </a:lnTo>
                  <a:lnTo>
                    <a:pt x="146" y="3"/>
                  </a:lnTo>
                  <a:lnTo>
                    <a:pt x="150" y="5"/>
                  </a:lnTo>
                  <a:lnTo>
                    <a:pt x="152" y="6"/>
                  </a:lnTo>
                  <a:lnTo>
                    <a:pt x="155" y="8"/>
                  </a:lnTo>
                  <a:lnTo>
                    <a:pt x="160" y="9"/>
                  </a:lnTo>
                  <a:lnTo>
                    <a:pt x="161" y="10"/>
                  </a:lnTo>
                  <a:lnTo>
                    <a:pt x="163" y="11"/>
                  </a:lnTo>
                  <a:lnTo>
                    <a:pt x="164" y="11"/>
                  </a:lnTo>
                  <a:lnTo>
                    <a:pt x="165" y="12"/>
                  </a:lnTo>
                  <a:lnTo>
                    <a:pt x="166" y="13"/>
                  </a:lnTo>
                  <a:lnTo>
                    <a:pt x="170" y="15"/>
                  </a:lnTo>
                  <a:lnTo>
                    <a:pt x="170" y="16"/>
                  </a:lnTo>
                  <a:lnTo>
                    <a:pt x="171" y="16"/>
                  </a:lnTo>
                  <a:lnTo>
                    <a:pt x="173" y="17"/>
                  </a:lnTo>
                  <a:lnTo>
                    <a:pt x="174" y="17"/>
                  </a:lnTo>
                  <a:lnTo>
                    <a:pt x="175" y="17"/>
                  </a:lnTo>
                  <a:lnTo>
                    <a:pt x="175" y="18"/>
                  </a:lnTo>
                  <a:lnTo>
                    <a:pt x="176" y="18"/>
                  </a:lnTo>
                  <a:lnTo>
                    <a:pt x="178" y="18"/>
                  </a:lnTo>
                  <a:lnTo>
                    <a:pt x="181" y="18"/>
                  </a:lnTo>
                  <a:lnTo>
                    <a:pt x="183" y="18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87" y="17"/>
                  </a:lnTo>
                  <a:lnTo>
                    <a:pt x="194" y="15"/>
                  </a:lnTo>
                  <a:lnTo>
                    <a:pt x="196" y="15"/>
                  </a:lnTo>
                  <a:lnTo>
                    <a:pt x="199" y="13"/>
                  </a:lnTo>
                  <a:lnTo>
                    <a:pt x="200" y="13"/>
                  </a:lnTo>
                  <a:lnTo>
                    <a:pt x="201" y="13"/>
                  </a:lnTo>
                  <a:lnTo>
                    <a:pt x="203" y="12"/>
                  </a:lnTo>
                  <a:lnTo>
                    <a:pt x="204" y="12"/>
                  </a:lnTo>
                  <a:lnTo>
                    <a:pt x="204" y="13"/>
                  </a:lnTo>
                  <a:lnTo>
                    <a:pt x="205" y="13"/>
                  </a:lnTo>
                  <a:lnTo>
                    <a:pt x="206" y="13"/>
                  </a:lnTo>
                  <a:lnTo>
                    <a:pt x="206" y="14"/>
                  </a:lnTo>
                  <a:lnTo>
                    <a:pt x="207" y="14"/>
                  </a:lnTo>
                  <a:lnTo>
                    <a:pt x="208" y="15"/>
                  </a:lnTo>
                  <a:lnTo>
                    <a:pt x="209" y="16"/>
                  </a:lnTo>
                  <a:lnTo>
                    <a:pt x="209" y="17"/>
                  </a:lnTo>
                  <a:lnTo>
                    <a:pt x="210" y="18"/>
                  </a:lnTo>
                  <a:lnTo>
                    <a:pt x="210" y="19"/>
                  </a:lnTo>
                  <a:lnTo>
                    <a:pt x="211" y="23"/>
                  </a:lnTo>
                  <a:lnTo>
                    <a:pt x="212" y="25"/>
                  </a:lnTo>
                  <a:lnTo>
                    <a:pt x="213" y="27"/>
                  </a:lnTo>
                  <a:lnTo>
                    <a:pt x="216" y="33"/>
                  </a:lnTo>
                  <a:lnTo>
                    <a:pt x="217" y="37"/>
                  </a:lnTo>
                  <a:lnTo>
                    <a:pt x="219" y="40"/>
                  </a:lnTo>
                  <a:lnTo>
                    <a:pt x="219" y="42"/>
                  </a:lnTo>
                  <a:lnTo>
                    <a:pt x="220" y="43"/>
                  </a:lnTo>
                  <a:lnTo>
                    <a:pt x="221" y="44"/>
                  </a:lnTo>
                  <a:lnTo>
                    <a:pt x="221" y="45"/>
                  </a:lnTo>
                  <a:lnTo>
                    <a:pt x="222" y="45"/>
                  </a:lnTo>
                  <a:lnTo>
                    <a:pt x="222" y="45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4" y="47"/>
                  </a:lnTo>
                  <a:lnTo>
                    <a:pt x="225" y="47"/>
                  </a:lnTo>
                  <a:lnTo>
                    <a:pt x="225" y="47"/>
                  </a:lnTo>
                  <a:lnTo>
                    <a:pt x="226" y="47"/>
                  </a:lnTo>
                  <a:lnTo>
                    <a:pt x="227" y="47"/>
                  </a:lnTo>
                  <a:lnTo>
                    <a:pt x="228" y="46"/>
                  </a:lnTo>
                  <a:lnTo>
                    <a:pt x="229" y="46"/>
                  </a:lnTo>
                  <a:lnTo>
                    <a:pt x="231" y="45"/>
                  </a:lnTo>
                  <a:lnTo>
                    <a:pt x="236" y="44"/>
                  </a:lnTo>
                  <a:lnTo>
                    <a:pt x="238" y="43"/>
                  </a:lnTo>
                  <a:lnTo>
                    <a:pt x="241" y="42"/>
                  </a:lnTo>
                  <a:lnTo>
                    <a:pt x="242" y="42"/>
                  </a:lnTo>
                  <a:lnTo>
                    <a:pt x="244" y="41"/>
                  </a:lnTo>
                  <a:lnTo>
                    <a:pt x="245" y="41"/>
                  </a:lnTo>
                  <a:lnTo>
                    <a:pt x="247" y="41"/>
                  </a:lnTo>
                  <a:lnTo>
                    <a:pt x="247" y="40"/>
                  </a:lnTo>
                  <a:lnTo>
                    <a:pt x="249" y="40"/>
                  </a:lnTo>
                  <a:lnTo>
                    <a:pt x="250" y="40"/>
                  </a:lnTo>
                  <a:lnTo>
                    <a:pt x="251" y="41"/>
                  </a:lnTo>
                  <a:lnTo>
                    <a:pt x="252" y="41"/>
                  </a:lnTo>
                  <a:lnTo>
                    <a:pt x="253" y="42"/>
                  </a:lnTo>
                  <a:lnTo>
                    <a:pt x="254" y="42"/>
                  </a:lnTo>
                  <a:lnTo>
                    <a:pt x="255" y="43"/>
                  </a:lnTo>
                  <a:lnTo>
                    <a:pt x="256" y="44"/>
                  </a:lnTo>
                  <a:lnTo>
                    <a:pt x="257" y="44"/>
                  </a:lnTo>
                  <a:lnTo>
                    <a:pt x="257" y="45"/>
                  </a:lnTo>
                  <a:lnTo>
                    <a:pt x="258" y="46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60" y="49"/>
                  </a:lnTo>
                  <a:lnTo>
                    <a:pt x="260" y="51"/>
                  </a:lnTo>
                  <a:lnTo>
                    <a:pt x="261" y="53"/>
                  </a:lnTo>
                  <a:lnTo>
                    <a:pt x="262" y="55"/>
                  </a:lnTo>
                  <a:lnTo>
                    <a:pt x="262" y="57"/>
                  </a:lnTo>
                  <a:lnTo>
                    <a:pt x="262" y="60"/>
                  </a:lnTo>
                  <a:lnTo>
                    <a:pt x="263" y="64"/>
                  </a:lnTo>
                  <a:lnTo>
                    <a:pt x="263" y="65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3" y="67"/>
                  </a:lnTo>
                  <a:lnTo>
                    <a:pt x="263" y="68"/>
                  </a:lnTo>
                  <a:lnTo>
                    <a:pt x="263" y="68"/>
                  </a:lnTo>
                  <a:lnTo>
                    <a:pt x="263" y="69"/>
                  </a:lnTo>
                  <a:lnTo>
                    <a:pt x="261" y="72"/>
                  </a:lnTo>
                  <a:lnTo>
                    <a:pt x="261" y="73"/>
                  </a:lnTo>
                  <a:lnTo>
                    <a:pt x="261" y="73"/>
                  </a:lnTo>
                  <a:lnTo>
                    <a:pt x="260" y="74"/>
                  </a:lnTo>
                  <a:lnTo>
                    <a:pt x="260" y="75"/>
                  </a:lnTo>
                  <a:lnTo>
                    <a:pt x="261" y="75"/>
                  </a:lnTo>
                  <a:lnTo>
                    <a:pt x="261" y="76"/>
                  </a:lnTo>
                  <a:lnTo>
                    <a:pt x="261" y="76"/>
                  </a:lnTo>
                  <a:lnTo>
                    <a:pt x="262" y="77"/>
                  </a:lnTo>
                  <a:lnTo>
                    <a:pt x="262" y="78"/>
                  </a:lnTo>
                  <a:lnTo>
                    <a:pt x="263" y="78"/>
                  </a:lnTo>
                  <a:lnTo>
                    <a:pt x="264" y="78"/>
                  </a:lnTo>
                  <a:lnTo>
                    <a:pt x="265" y="79"/>
                  </a:lnTo>
                  <a:lnTo>
                    <a:pt x="266" y="79"/>
                  </a:lnTo>
                  <a:lnTo>
                    <a:pt x="267" y="79"/>
                  </a:lnTo>
                  <a:lnTo>
                    <a:pt x="267" y="79"/>
                  </a:lnTo>
                  <a:lnTo>
                    <a:pt x="268" y="79"/>
                  </a:lnTo>
                  <a:lnTo>
                    <a:pt x="269" y="78"/>
                  </a:lnTo>
                  <a:lnTo>
                    <a:pt x="270" y="78"/>
                  </a:lnTo>
                  <a:lnTo>
                    <a:pt x="272" y="77"/>
                  </a:lnTo>
                  <a:lnTo>
                    <a:pt x="274" y="75"/>
                  </a:lnTo>
                  <a:lnTo>
                    <a:pt x="275" y="75"/>
                  </a:lnTo>
                  <a:lnTo>
                    <a:pt x="276" y="74"/>
                  </a:lnTo>
                  <a:lnTo>
                    <a:pt x="276" y="74"/>
                  </a:lnTo>
                  <a:lnTo>
                    <a:pt x="276" y="73"/>
                  </a:lnTo>
                  <a:lnTo>
                    <a:pt x="277" y="73"/>
                  </a:lnTo>
                  <a:lnTo>
                    <a:pt x="277" y="72"/>
                  </a:lnTo>
                  <a:lnTo>
                    <a:pt x="278" y="71"/>
                  </a:lnTo>
                  <a:lnTo>
                    <a:pt x="280" y="67"/>
                  </a:lnTo>
                  <a:lnTo>
                    <a:pt x="281" y="64"/>
                  </a:lnTo>
                  <a:lnTo>
                    <a:pt x="282" y="63"/>
                  </a:lnTo>
                  <a:lnTo>
                    <a:pt x="283" y="61"/>
                  </a:lnTo>
                  <a:lnTo>
                    <a:pt x="285" y="60"/>
                  </a:lnTo>
                  <a:lnTo>
                    <a:pt x="286" y="58"/>
                  </a:lnTo>
                  <a:lnTo>
                    <a:pt x="287" y="57"/>
                  </a:lnTo>
                  <a:lnTo>
                    <a:pt x="289" y="56"/>
                  </a:lnTo>
                  <a:lnTo>
                    <a:pt x="290" y="55"/>
                  </a:lnTo>
                  <a:lnTo>
                    <a:pt x="291" y="54"/>
                  </a:lnTo>
                  <a:lnTo>
                    <a:pt x="291" y="54"/>
                  </a:lnTo>
                  <a:lnTo>
                    <a:pt x="292" y="54"/>
                  </a:lnTo>
                  <a:lnTo>
                    <a:pt x="293" y="53"/>
                  </a:lnTo>
                  <a:lnTo>
                    <a:pt x="295" y="53"/>
                  </a:lnTo>
                  <a:lnTo>
                    <a:pt x="296" y="54"/>
                  </a:lnTo>
                  <a:lnTo>
                    <a:pt x="297" y="54"/>
                  </a:lnTo>
                  <a:lnTo>
                    <a:pt x="298" y="54"/>
                  </a:lnTo>
                  <a:lnTo>
                    <a:pt x="299" y="55"/>
                  </a:lnTo>
                  <a:lnTo>
                    <a:pt x="304" y="57"/>
                  </a:lnTo>
                  <a:lnTo>
                    <a:pt x="305" y="57"/>
                  </a:lnTo>
                  <a:lnTo>
                    <a:pt x="306" y="58"/>
                  </a:lnTo>
                  <a:lnTo>
                    <a:pt x="307" y="59"/>
                  </a:lnTo>
                  <a:lnTo>
                    <a:pt x="309" y="60"/>
                  </a:lnTo>
                  <a:lnTo>
                    <a:pt x="310" y="61"/>
                  </a:lnTo>
                  <a:lnTo>
                    <a:pt x="313" y="64"/>
                  </a:lnTo>
                  <a:lnTo>
                    <a:pt x="314" y="64"/>
                  </a:lnTo>
                  <a:lnTo>
                    <a:pt x="315" y="65"/>
                  </a:lnTo>
                  <a:lnTo>
                    <a:pt x="315" y="65"/>
                  </a:lnTo>
                  <a:lnTo>
                    <a:pt x="316" y="65"/>
                  </a:lnTo>
                  <a:lnTo>
                    <a:pt x="316" y="65"/>
                  </a:lnTo>
                  <a:lnTo>
                    <a:pt x="317" y="65"/>
                  </a:lnTo>
                  <a:lnTo>
                    <a:pt x="318" y="65"/>
                  </a:lnTo>
                  <a:lnTo>
                    <a:pt x="319" y="65"/>
                  </a:lnTo>
                  <a:lnTo>
                    <a:pt x="319" y="65"/>
                  </a:lnTo>
                  <a:lnTo>
                    <a:pt x="320" y="65"/>
                  </a:lnTo>
                  <a:lnTo>
                    <a:pt x="321" y="65"/>
                  </a:lnTo>
                  <a:lnTo>
                    <a:pt x="322" y="64"/>
                  </a:lnTo>
                  <a:lnTo>
                    <a:pt x="322" y="64"/>
                  </a:lnTo>
                  <a:lnTo>
                    <a:pt x="323" y="63"/>
                  </a:lnTo>
                  <a:lnTo>
                    <a:pt x="323" y="63"/>
                  </a:lnTo>
                  <a:lnTo>
                    <a:pt x="324" y="62"/>
                  </a:lnTo>
                  <a:lnTo>
                    <a:pt x="324" y="62"/>
                  </a:lnTo>
                  <a:lnTo>
                    <a:pt x="325" y="61"/>
                  </a:lnTo>
                  <a:lnTo>
                    <a:pt x="325" y="60"/>
                  </a:lnTo>
                  <a:lnTo>
                    <a:pt x="326" y="56"/>
                  </a:lnTo>
                  <a:lnTo>
                    <a:pt x="327" y="54"/>
                  </a:lnTo>
                  <a:lnTo>
                    <a:pt x="328" y="53"/>
                  </a:lnTo>
                  <a:lnTo>
                    <a:pt x="329" y="52"/>
                  </a:lnTo>
                  <a:lnTo>
                    <a:pt x="329" y="52"/>
                  </a:lnTo>
                  <a:lnTo>
                    <a:pt x="330" y="51"/>
                  </a:lnTo>
                  <a:lnTo>
                    <a:pt x="330" y="51"/>
                  </a:lnTo>
                  <a:lnTo>
                    <a:pt x="330" y="50"/>
                  </a:lnTo>
                  <a:lnTo>
                    <a:pt x="331" y="50"/>
                  </a:lnTo>
                  <a:lnTo>
                    <a:pt x="332" y="49"/>
                  </a:lnTo>
                  <a:lnTo>
                    <a:pt x="332" y="49"/>
                  </a:lnTo>
                  <a:lnTo>
                    <a:pt x="333" y="49"/>
                  </a:lnTo>
                  <a:lnTo>
                    <a:pt x="334" y="49"/>
                  </a:lnTo>
                  <a:lnTo>
                    <a:pt x="335" y="49"/>
                  </a:lnTo>
                  <a:lnTo>
                    <a:pt x="336" y="49"/>
                  </a:lnTo>
                  <a:lnTo>
                    <a:pt x="338" y="49"/>
                  </a:lnTo>
                  <a:lnTo>
                    <a:pt x="339" y="49"/>
                  </a:lnTo>
                  <a:lnTo>
                    <a:pt x="340" y="49"/>
                  </a:lnTo>
                  <a:lnTo>
                    <a:pt x="341" y="49"/>
                  </a:lnTo>
                  <a:lnTo>
                    <a:pt x="345" y="50"/>
                  </a:lnTo>
                  <a:lnTo>
                    <a:pt x="346" y="50"/>
                  </a:lnTo>
                  <a:lnTo>
                    <a:pt x="347" y="50"/>
                  </a:lnTo>
                  <a:lnTo>
                    <a:pt x="348" y="51"/>
                  </a:lnTo>
                  <a:lnTo>
                    <a:pt x="350" y="51"/>
                  </a:lnTo>
                  <a:lnTo>
                    <a:pt x="353" y="51"/>
                  </a:lnTo>
                  <a:lnTo>
                    <a:pt x="354" y="51"/>
                  </a:lnTo>
                  <a:lnTo>
                    <a:pt x="356" y="51"/>
                  </a:lnTo>
                  <a:lnTo>
                    <a:pt x="357" y="51"/>
                  </a:lnTo>
                  <a:lnTo>
                    <a:pt x="358" y="51"/>
                  </a:lnTo>
                  <a:lnTo>
                    <a:pt x="359" y="52"/>
                  </a:lnTo>
                  <a:lnTo>
                    <a:pt x="360" y="52"/>
                  </a:lnTo>
                  <a:lnTo>
                    <a:pt x="361" y="53"/>
                  </a:lnTo>
                  <a:lnTo>
                    <a:pt x="362" y="54"/>
                  </a:lnTo>
                  <a:lnTo>
                    <a:pt x="365" y="56"/>
                  </a:lnTo>
                  <a:lnTo>
                    <a:pt x="367" y="58"/>
                  </a:lnTo>
                  <a:lnTo>
                    <a:pt x="367" y="58"/>
                  </a:lnTo>
                  <a:lnTo>
                    <a:pt x="369" y="60"/>
                  </a:lnTo>
                  <a:lnTo>
                    <a:pt x="371" y="63"/>
                  </a:lnTo>
                  <a:lnTo>
                    <a:pt x="374" y="66"/>
                  </a:lnTo>
                  <a:lnTo>
                    <a:pt x="376" y="68"/>
                  </a:lnTo>
                  <a:lnTo>
                    <a:pt x="378" y="70"/>
                  </a:lnTo>
                  <a:lnTo>
                    <a:pt x="381" y="73"/>
                  </a:lnTo>
                  <a:lnTo>
                    <a:pt x="383" y="75"/>
                  </a:lnTo>
                  <a:lnTo>
                    <a:pt x="385" y="77"/>
                  </a:lnTo>
                  <a:lnTo>
                    <a:pt x="386" y="79"/>
                  </a:lnTo>
                  <a:lnTo>
                    <a:pt x="388" y="80"/>
                  </a:lnTo>
                  <a:lnTo>
                    <a:pt x="388" y="82"/>
                  </a:lnTo>
                  <a:lnTo>
                    <a:pt x="389" y="83"/>
                  </a:lnTo>
                  <a:lnTo>
                    <a:pt x="389" y="84"/>
                  </a:lnTo>
                  <a:lnTo>
                    <a:pt x="389" y="85"/>
                  </a:lnTo>
                  <a:lnTo>
                    <a:pt x="389" y="86"/>
                  </a:lnTo>
                  <a:lnTo>
                    <a:pt x="389" y="87"/>
                  </a:lnTo>
                  <a:lnTo>
                    <a:pt x="389" y="88"/>
                  </a:lnTo>
                  <a:lnTo>
                    <a:pt x="389" y="89"/>
                  </a:lnTo>
                  <a:lnTo>
                    <a:pt x="389" y="89"/>
                  </a:lnTo>
                  <a:lnTo>
                    <a:pt x="388" y="90"/>
                  </a:lnTo>
                  <a:lnTo>
                    <a:pt x="388" y="91"/>
                  </a:lnTo>
                  <a:lnTo>
                    <a:pt x="386" y="92"/>
                  </a:lnTo>
                  <a:lnTo>
                    <a:pt x="384" y="94"/>
                  </a:lnTo>
                  <a:lnTo>
                    <a:pt x="384" y="95"/>
                  </a:lnTo>
                  <a:lnTo>
                    <a:pt x="383" y="95"/>
                  </a:lnTo>
                  <a:lnTo>
                    <a:pt x="383" y="96"/>
                  </a:lnTo>
                  <a:lnTo>
                    <a:pt x="382" y="97"/>
                  </a:lnTo>
                  <a:lnTo>
                    <a:pt x="381" y="100"/>
                  </a:lnTo>
                  <a:lnTo>
                    <a:pt x="381" y="102"/>
                  </a:lnTo>
                  <a:lnTo>
                    <a:pt x="380" y="103"/>
                  </a:lnTo>
                  <a:lnTo>
                    <a:pt x="379" y="106"/>
                  </a:lnTo>
                  <a:lnTo>
                    <a:pt x="378" y="107"/>
                  </a:lnTo>
                  <a:lnTo>
                    <a:pt x="378" y="108"/>
                  </a:lnTo>
                  <a:lnTo>
                    <a:pt x="378" y="110"/>
                  </a:lnTo>
                  <a:lnTo>
                    <a:pt x="378" y="111"/>
                  </a:lnTo>
                  <a:lnTo>
                    <a:pt x="377" y="112"/>
                  </a:lnTo>
                  <a:lnTo>
                    <a:pt x="377" y="113"/>
                  </a:lnTo>
                  <a:lnTo>
                    <a:pt x="376" y="115"/>
                  </a:lnTo>
                  <a:lnTo>
                    <a:pt x="375" y="116"/>
                  </a:lnTo>
                  <a:lnTo>
                    <a:pt x="373" y="117"/>
                  </a:lnTo>
                  <a:lnTo>
                    <a:pt x="370" y="121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7" y="124"/>
                  </a:lnTo>
                  <a:lnTo>
                    <a:pt x="366" y="124"/>
                  </a:lnTo>
                  <a:lnTo>
                    <a:pt x="366" y="125"/>
                  </a:lnTo>
                  <a:lnTo>
                    <a:pt x="365" y="125"/>
                  </a:lnTo>
                  <a:lnTo>
                    <a:pt x="364" y="125"/>
                  </a:lnTo>
                  <a:lnTo>
                    <a:pt x="363" y="126"/>
                  </a:lnTo>
                  <a:lnTo>
                    <a:pt x="362" y="126"/>
                  </a:lnTo>
                  <a:lnTo>
                    <a:pt x="361" y="126"/>
                  </a:lnTo>
                  <a:lnTo>
                    <a:pt x="359" y="125"/>
                  </a:lnTo>
                  <a:lnTo>
                    <a:pt x="357" y="125"/>
                  </a:lnTo>
                  <a:lnTo>
                    <a:pt x="357" y="125"/>
                  </a:lnTo>
                  <a:lnTo>
                    <a:pt x="356" y="125"/>
                  </a:lnTo>
                  <a:lnTo>
                    <a:pt x="356" y="126"/>
                  </a:lnTo>
                  <a:lnTo>
                    <a:pt x="355" y="126"/>
                  </a:lnTo>
                  <a:lnTo>
                    <a:pt x="355" y="126"/>
                  </a:lnTo>
                  <a:lnTo>
                    <a:pt x="354" y="127"/>
                  </a:lnTo>
                  <a:lnTo>
                    <a:pt x="354" y="127"/>
                  </a:lnTo>
                  <a:lnTo>
                    <a:pt x="352" y="129"/>
                  </a:lnTo>
                  <a:lnTo>
                    <a:pt x="350" y="131"/>
                  </a:lnTo>
                  <a:lnTo>
                    <a:pt x="349" y="132"/>
                  </a:lnTo>
                  <a:lnTo>
                    <a:pt x="348" y="133"/>
                  </a:lnTo>
                  <a:lnTo>
                    <a:pt x="347" y="134"/>
                  </a:lnTo>
                  <a:lnTo>
                    <a:pt x="346" y="134"/>
                  </a:lnTo>
                  <a:lnTo>
                    <a:pt x="345" y="134"/>
                  </a:lnTo>
                  <a:lnTo>
                    <a:pt x="343" y="135"/>
                  </a:lnTo>
                  <a:lnTo>
                    <a:pt x="343" y="135"/>
                  </a:lnTo>
                  <a:lnTo>
                    <a:pt x="342" y="135"/>
                  </a:lnTo>
                  <a:lnTo>
                    <a:pt x="341" y="136"/>
                  </a:lnTo>
                  <a:lnTo>
                    <a:pt x="339" y="137"/>
                  </a:lnTo>
                  <a:lnTo>
                    <a:pt x="338" y="138"/>
                  </a:lnTo>
                  <a:lnTo>
                    <a:pt x="337" y="138"/>
                  </a:lnTo>
                  <a:lnTo>
                    <a:pt x="337" y="139"/>
                  </a:lnTo>
                  <a:lnTo>
                    <a:pt x="335" y="140"/>
                  </a:lnTo>
                  <a:lnTo>
                    <a:pt x="335" y="141"/>
                  </a:lnTo>
                  <a:lnTo>
                    <a:pt x="334" y="142"/>
                  </a:lnTo>
                  <a:lnTo>
                    <a:pt x="332" y="143"/>
                  </a:lnTo>
                  <a:lnTo>
                    <a:pt x="332" y="143"/>
                  </a:lnTo>
                  <a:lnTo>
                    <a:pt x="331" y="144"/>
                  </a:lnTo>
                  <a:lnTo>
                    <a:pt x="330" y="145"/>
                  </a:lnTo>
                  <a:lnTo>
                    <a:pt x="330" y="146"/>
                  </a:lnTo>
                  <a:lnTo>
                    <a:pt x="329" y="146"/>
                  </a:lnTo>
                  <a:lnTo>
                    <a:pt x="329" y="147"/>
                  </a:lnTo>
                  <a:lnTo>
                    <a:pt x="329" y="148"/>
                  </a:lnTo>
                  <a:lnTo>
                    <a:pt x="329" y="149"/>
                  </a:lnTo>
                  <a:lnTo>
                    <a:pt x="329" y="150"/>
                  </a:lnTo>
                  <a:lnTo>
                    <a:pt x="328" y="150"/>
                  </a:lnTo>
                  <a:lnTo>
                    <a:pt x="328" y="151"/>
                  </a:lnTo>
                  <a:lnTo>
                    <a:pt x="327" y="151"/>
                  </a:lnTo>
                  <a:lnTo>
                    <a:pt x="327" y="151"/>
                  </a:lnTo>
                  <a:lnTo>
                    <a:pt x="326" y="151"/>
                  </a:lnTo>
                  <a:lnTo>
                    <a:pt x="325" y="151"/>
                  </a:lnTo>
                  <a:lnTo>
                    <a:pt x="325" y="151"/>
                  </a:lnTo>
                  <a:lnTo>
                    <a:pt x="324" y="152"/>
                  </a:lnTo>
                  <a:lnTo>
                    <a:pt x="324" y="152"/>
                  </a:lnTo>
                  <a:lnTo>
                    <a:pt x="324" y="152"/>
                  </a:lnTo>
                  <a:lnTo>
                    <a:pt x="323" y="153"/>
                  </a:lnTo>
                  <a:lnTo>
                    <a:pt x="323" y="153"/>
                  </a:lnTo>
                  <a:lnTo>
                    <a:pt x="322" y="154"/>
                  </a:lnTo>
                  <a:lnTo>
                    <a:pt x="322" y="155"/>
                  </a:lnTo>
                  <a:lnTo>
                    <a:pt x="322" y="155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9"/>
                  </a:lnTo>
                  <a:lnTo>
                    <a:pt x="322" y="159"/>
                  </a:lnTo>
                  <a:lnTo>
                    <a:pt x="323" y="160"/>
                  </a:lnTo>
                  <a:lnTo>
                    <a:pt x="324" y="163"/>
                  </a:lnTo>
                  <a:lnTo>
                    <a:pt x="325" y="165"/>
                  </a:lnTo>
                  <a:lnTo>
                    <a:pt x="326" y="166"/>
                  </a:lnTo>
                  <a:lnTo>
                    <a:pt x="326" y="166"/>
                  </a:lnTo>
                  <a:lnTo>
                    <a:pt x="327" y="167"/>
                  </a:lnTo>
                  <a:lnTo>
                    <a:pt x="327" y="167"/>
                  </a:lnTo>
                  <a:lnTo>
                    <a:pt x="328" y="167"/>
                  </a:lnTo>
                  <a:lnTo>
                    <a:pt x="329" y="168"/>
                  </a:lnTo>
                  <a:lnTo>
                    <a:pt x="331" y="168"/>
                  </a:lnTo>
                  <a:lnTo>
                    <a:pt x="331" y="168"/>
                  </a:lnTo>
                  <a:lnTo>
                    <a:pt x="332" y="169"/>
                  </a:lnTo>
                  <a:lnTo>
                    <a:pt x="333" y="170"/>
                  </a:lnTo>
                  <a:lnTo>
                    <a:pt x="334" y="170"/>
                  </a:lnTo>
                  <a:lnTo>
                    <a:pt x="335" y="171"/>
                  </a:lnTo>
                  <a:lnTo>
                    <a:pt x="335" y="172"/>
                  </a:lnTo>
                  <a:lnTo>
                    <a:pt x="337" y="175"/>
                  </a:lnTo>
                  <a:lnTo>
                    <a:pt x="338" y="175"/>
                  </a:lnTo>
                  <a:lnTo>
                    <a:pt x="339" y="177"/>
                  </a:lnTo>
                  <a:lnTo>
                    <a:pt x="339" y="177"/>
                  </a:lnTo>
                  <a:lnTo>
                    <a:pt x="340" y="179"/>
                  </a:lnTo>
                  <a:lnTo>
                    <a:pt x="342" y="180"/>
                  </a:lnTo>
                  <a:lnTo>
                    <a:pt x="342" y="181"/>
                  </a:lnTo>
                  <a:lnTo>
                    <a:pt x="343" y="182"/>
                  </a:lnTo>
                  <a:lnTo>
                    <a:pt x="344" y="183"/>
                  </a:lnTo>
                  <a:lnTo>
                    <a:pt x="344" y="184"/>
                  </a:lnTo>
                  <a:lnTo>
                    <a:pt x="345" y="184"/>
                  </a:lnTo>
                  <a:lnTo>
                    <a:pt x="346" y="185"/>
                  </a:lnTo>
                  <a:lnTo>
                    <a:pt x="346" y="185"/>
                  </a:lnTo>
                  <a:lnTo>
                    <a:pt x="347" y="185"/>
                  </a:lnTo>
                  <a:lnTo>
                    <a:pt x="348" y="185"/>
                  </a:lnTo>
                  <a:lnTo>
                    <a:pt x="348" y="185"/>
                  </a:lnTo>
                  <a:lnTo>
                    <a:pt x="349" y="184"/>
                  </a:lnTo>
                  <a:lnTo>
                    <a:pt x="352" y="183"/>
                  </a:lnTo>
                  <a:lnTo>
                    <a:pt x="353" y="182"/>
                  </a:lnTo>
                  <a:lnTo>
                    <a:pt x="353" y="182"/>
                  </a:lnTo>
                  <a:lnTo>
                    <a:pt x="354" y="182"/>
                  </a:lnTo>
                  <a:lnTo>
                    <a:pt x="355" y="182"/>
                  </a:lnTo>
                  <a:lnTo>
                    <a:pt x="356" y="182"/>
                  </a:lnTo>
                  <a:lnTo>
                    <a:pt x="358" y="182"/>
                  </a:lnTo>
                  <a:lnTo>
                    <a:pt x="359" y="182"/>
                  </a:lnTo>
                  <a:lnTo>
                    <a:pt x="361" y="182"/>
                  </a:lnTo>
                  <a:lnTo>
                    <a:pt x="362" y="182"/>
                  </a:lnTo>
                  <a:lnTo>
                    <a:pt x="363" y="182"/>
                  </a:lnTo>
                  <a:lnTo>
                    <a:pt x="365" y="182"/>
                  </a:lnTo>
                  <a:lnTo>
                    <a:pt x="365" y="183"/>
                  </a:lnTo>
                  <a:lnTo>
                    <a:pt x="366" y="183"/>
                  </a:lnTo>
                  <a:lnTo>
                    <a:pt x="367" y="184"/>
                  </a:lnTo>
                  <a:lnTo>
                    <a:pt x="368" y="184"/>
                  </a:lnTo>
                  <a:lnTo>
                    <a:pt x="368" y="184"/>
                  </a:lnTo>
                  <a:lnTo>
                    <a:pt x="368" y="185"/>
                  </a:lnTo>
                  <a:lnTo>
                    <a:pt x="369" y="186"/>
                  </a:lnTo>
                  <a:lnTo>
                    <a:pt x="370" y="188"/>
                  </a:lnTo>
                  <a:lnTo>
                    <a:pt x="370" y="189"/>
                  </a:lnTo>
                  <a:lnTo>
                    <a:pt x="371" y="193"/>
                  </a:lnTo>
                  <a:lnTo>
                    <a:pt x="372" y="195"/>
                  </a:lnTo>
                  <a:lnTo>
                    <a:pt x="372" y="196"/>
                  </a:lnTo>
                  <a:lnTo>
                    <a:pt x="373" y="197"/>
                  </a:lnTo>
                  <a:lnTo>
                    <a:pt x="373" y="199"/>
                  </a:lnTo>
                  <a:lnTo>
                    <a:pt x="374" y="200"/>
                  </a:lnTo>
                  <a:lnTo>
                    <a:pt x="375" y="202"/>
                  </a:lnTo>
                  <a:lnTo>
                    <a:pt x="376" y="202"/>
                  </a:lnTo>
                  <a:lnTo>
                    <a:pt x="377" y="204"/>
                  </a:lnTo>
                  <a:lnTo>
                    <a:pt x="378" y="204"/>
                  </a:lnTo>
                  <a:lnTo>
                    <a:pt x="379" y="205"/>
                  </a:lnTo>
                  <a:lnTo>
                    <a:pt x="380" y="206"/>
                  </a:lnTo>
                  <a:lnTo>
                    <a:pt x="381" y="207"/>
                  </a:lnTo>
                  <a:lnTo>
                    <a:pt x="382" y="207"/>
                  </a:lnTo>
                  <a:lnTo>
                    <a:pt x="383" y="207"/>
                  </a:lnTo>
                  <a:lnTo>
                    <a:pt x="386" y="207"/>
                  </a:lnTo>
                  <a:lnTo>
                    <a:pt x="387" y="208"/>
                  </a:lnTo>
                  <a:lnTo>
                    <a:pt x="388" y="208"/>
                  </a:lnTo>
                  <a:lnTo>
                    <a:pt x="389" y="209"/>
                  </a:lnTo>
                  <a:lnTo>
                    <a:pt x="390" y="209"/>
                  </a:lnTo>
                  <a:lnTo>
                    <a:pt x="391" y="210"/>
                  </a:lnTo>
                  <a:lnTo>
                    <a:pt x="392" y="211"/>
                  </a:lnTo>
                  <a:lnTo>
                    <a:pt x="394" y="212"/>
                  </a:lnTo>
                  <a:lnTo>
                    <a:pt x="395" y="214"/>
                  </a:lnTo>
                  <a:lnTo>
                    <a:pt x="397" y="217"/>
                  </a:lnTo>
                  <a:lnTo>
                    <a:pt x="399" y="219"/>
                  </a:lnTo>
                  <a:lnTo>
                    <a:pt x="400" y="221"/>
                  </a:lnTo>
                  <a:lnTo>
                    <a:pt x="402" y="224"/>
                  </a:lnTo>
                  <a:lnTo>
                    <a:pt x="404" y="228"/>
                  </a:lnTo>
                  <a:lnTo>
                    <a:pt x="406" y="230"/>
                  </a:lnTo>
                  <a:lnTo>
                    <a:pt x="408" y="233"/>
                  </a:lnTo>
                  <a:lnTo>
                    <a:pt x="409" y="233"/>
                  </a:lnTo>
                  <a:lnTo>
                    <a:pt x="410" y="234"/>
                  </a:lnTo>
                  <a:lnTo>
                    <a:pt x="413" y="237"/>
                  </a:lnTo>
                  <a:lnTo>
                    <a:pt x="416" y="242"/>
                  </a:lnTo>
                  <a:lnTo>
                    <a:pt x="417" y="243"/>
                  </a:lnTo>
                  <a:lnTo>
                    <a:pt x="418" y="244"/>
                  </a:lnTo>
                  <a:lnTo>
                    <a:pt x="419" y="245"/>
                  </a:lnTo>
                  <a:lnTo>
                    <a:pt x="422" y="247"/>
                  </a:lnTo>
                  <a:lnTo>
                    <a:pt x="423" y="248"/>
                  </a:lnTo>
                  <a:lnTo>
                    <a:pt x="423" y="248"/>
                  </a:lnTo>
                  <a:lnTo>
                    <a:pt x="424" y="249"/>
                  </a:lnTo>
                  <a:lnTo>
                    <a:pt x="425" y="251"/>
                  </a:lnTo>
                  <a:lnTo>
                    <a:pt x="426" y="252"/>
                  </a:lnTo>
                  <a:lnTo>
                    <a:pt x="426" y="253"/>
                  </a:lnTo>
                  <a:lnTo>
                    <a:pt x="427" y="254"/>
                  </a:lnTo>
                  <a:lnTo>
                    <a:pt x="428" y="255"/>
                  </a:lnTo>
                  <a:lnTo>
                    <a:pt x="428" y="258"/>
                  </a:lnTo>
                  <a:lnTo>
                    <a:pt x="429" y="259"/>
                  </a:lnTo>
                  <a:lnTo>
                    <a:pt x="429" y="261"/>
                  </a:lnTo>
                  <a:lnTo>
                    <a:pt x="429" y="265"/>
                  </a:lnTo>
                  <a:lnTo>
                    <a:pt x="429" y="268"/>
                  </a:lnTo>
                  <a:lnTo>
                    <a:pt x="430" y="270"/>
                  </a:lnTo>
                  <a:lnTo>
                    <a:pt x="430" y="272"/>
                  </a:lnTo>
                  <a:lnTo>
                    <a:pt x="431" y="275"/>
                  </a:lnTo>
                  <a:lnTo>
                    <a:pt x="431" y="277"/>
                  </a:lnTo>
                  <a:lnTo>
                    <a:pt x="431" y="277"/>
                  </a:lnTo>
                  <a:lnTo>
                    <a:pt x="431" y="278"/>
                  </a:lnTo>
                  <a:lnTo>
                    <a:pt x="432" y="280"/>
                  </a:lnTo>
                  <a:lnTo>
                    <a:pt x="433" y="282"/>
                  </a:lnTo>
                  <a:lnTo>
                    <a:pt x="435" y="285"/>
                  </a:lnTo>
                  <a:lnTo>
                    <a:pt x="436" y="286"/>
                  </a:lnTo>
                  <a:lnTo>
                    <a:pt x="436" y="287"/>
                  </a:lnTo>
                  <a:lnTo>
                    <a:pt x="436" y="288"/>
                  </a:lnTo>
                  <a:lnTo>
                    <a:pt x="436" y="289"/>
                  </a:lnTo>
                  <a:lnTo>
                    <a:pt x="436" y="289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5" y="290"/>
                  </a:lnTo>
                  <a:lnTo>
                    <a:pt x="434" y="290"/>
                  </a:lnTo>
                  <a:lnTo>
                    <a:pt x="433" y="290"/>
                  </a:lnTo>
                  <a:lnTo>
                    <a:pt x="431" y="289"/>
                  </a:lnTo>
                  <a:lnTo>
                    <a:pt x="430" y="289"/>
                  </a:lnTo>
                  <a:lnTo>
                    <a:pt x="425" y="287"/>
                  </a:lnTo>
                  <a:lnTo>
                    <a:pt x="423" y="286"/>
                  </a:lnTo>
                  <a:lnTo>
                    <a:pt x="421" y="285"/>
                  </a:lnTo>
                  <a:lnTo>
                    <a:pt x="420" y="284"/>
                  </a:lnTo>
                  <a:lnTo>
                    <a:pt x="417" y="283"/>
                  </a:lnTo>
                  <a:lnTo>
                    <a:pt x="417" y="282"/>
                  </a:lnTo>
                  <a:lnTo>
                    <a:pt x="416" y="282"/>
                  </a:lnTo>
                  <a:lnTo>
                    <a:pt x="414" y="281"/>
                  </a:lnTo>
                  <a:lnTo>
                    <a:pt x="414" y="281"/>
                  </a:lnTo>
                  <a:lnTo>
                    <a:pt x="413" y="281"/>
                  </a:lnTo>
                  <a:lnTo>
                    <a:pt x="412" y="281"/>
                  </a:lnTo>
                  <a:lnTo>
                    <a:pt x="412" y="281"/>
                  </a:lnTo>
                  <a:lnTo>
                    <a:pt x="411" y="281"/>
                  </a:lnTo>
                  <a:lnTo>
                    <a:pt x="411" y="281"/>
                  </a:lnTo>
                  <a:lnTo>
                    <a:pt x="410" y="281"/>
                  </a:lnTo>
                  <a:lnTo>
                    <a:pt x="410" y="281"/>
                  </a:lnTo>
                  <a:lnTo>
                    <a:pt x="409" y="282"/>
                  </a:lnTo>
                  <a:lnTo>
                    <a:pt x="408" y="282"/>
                  </a:lnTo>
                  <a:lnTo>
                    <a:pt x="408" y="282"/>
                  </a:lnTo>
                  <a:lnTo>
                    <a:pt x="407" y="283"/>
                  </a:lnTo>
                  <a:lnTo>
                    <a:pt x="407" y="284"/>
                  </a:lnTo>
                  <a:lnTo>
                    <a:pt x="407" y="285"/>
                  </a:lnTo>
                  <a:lnTo>
                    <a:pt x="405" y="288"/>
                  </a:lnTo>
                  <a:lnTo>
                    <a:pt x="404" y="290"/>
                  </a:lnTo>
                  <a:lnTo>
                    <a:pt x="404" y="291"/>
                  </a:lnTo>
                  <a:lnTo>
                    <a:pt x="403" y="292"/>
                  </a:lnTo>
                  <a:lnTo>
                    <a:pt x="402" y="292"/>
                  </a:lnTo>
                  <a:lnTo>
                    <a:pt x="401" y="293"/>
                  </a:lnTo>
                  <a:lnTo>
                    <a:pt x="400" y="294"/>
                  </a:lnTo>
                  <a:lnTo>
                    <a:pt x="399" y="295"/>
                  </a:lnTo>
                  <a:lnTo>
                    <a:pt x="398" y="296"/>
                  </a:lnTo>
                  <a:lnTo>
                    <a:pt x="396" y="296"/>
                  </a:lnTo>
                  <a:lnTo>
                    <a:pt x="394" y="297"/>
                  </a:lnTo>
                  <a:lnTo>
                    <a:pt x="392" y="299"/>
                  </a:lnTo>
                  <a:lnTo>
                    <a:pt x="392" y="299"/>
                  </a:lnTo>
                  <a:lnTo>
                    <a:pt x="390" y="300"/>
                  </a:lnTo>
                  <a:lnTo>
                    <a:pt x="390" y="300"/>
                  </a:lnTo>
                  <a:lnTo>
                    <a:pt x="387" y="302"/>
                  </a:lnTo>
                  <a:lnTo>
                    <a:pt x="384" y="303"/>
                  </a:lnTo>
                  <a:lnTo>
                    <a:pt x="382" y="304"/>
                  </a:lnTo>
                  <a:lnTo>
                    <a:pt x="381" y="304"/>
                  </a:lnTo>
                  <a:lnTo>
                    <a:pt x="380" y="305"/>
                  </a:lnTo>
                  <a:lnTo>
                    <a:pt x="378" y="307"/>
                  </a:lnTo>
                  <a:lnTo>
                    <a:pt x="376" y="308"/>
                  </a:lnTo>
                  <a:lnTo>
                    <a:pt x="374" y="309"/>
                  </a:lnTo>
                  <a:lnTo>
                    <a:pt x="372" y="311"/>
                  </a:lnTo>
                  <a:lnTo>
                    <a:pt x="371" y="311"/>
                  </a:lnTo>
                  <a:lnTo>
                    <a:pt x="370" y="312"/>
                  </a:lnTo>
                  <a:lnTo>
                    <a:pt x="369" y="313"/>
                  </a:lnTo>
                  <a:lnTo>
                    <a:pt x="368" y="314"/>
                  </a:lnTo>
                  <a:lnTo>
                    <a:pt x="368" y="315"/>
                  </a:lnTo>
                  <a:lnTo>
                    <a:pt x="368" y="315"/>
                  </a:lnTo>
                  <a:lnTo>
                    <a:pt x="367" y="316"/>
                  </a:lnTo>
                  <a:lnTo>
                    <a:pt x="367" y="317"/>
                  </a:lnTo>
                  <a:lnTo>
                    <a:pt x="367" y="317"/>
                  </a:lnTo>
                  <a:lnTo>
                    <a:pt x="367" y="320"/>
                  </a:lnTo>
                  <a:lnTo>
                    <a:pt x="367" y="320"/>
                  </a:lnTo>
                  <a:lnTo>
                    <a:pt x="367" y="321"/>
                  </a:lnTo>
                  <a:lnTo>
                    <a:pt x="366" y="322"/>
                  </a:lnTo>
                  <a:lnTo>
                    <a:pt x="366" y="322"/>
                  </a:lnTo>
                  <a:lnTo>
                    <a:pt x="366" y="323"/>
                  </a:lnTo>
                  <a:lnTo>
                    <a:pt x="365" y="324"/>
                  </a:lnTo>
                  <a:lnTo>
                    <a:pt x="364" y="325"/>
                  </a:lnTo>
                  <a:lnTo>
                    <a:pt x="362" y="326"/>
                  </a:lnTo>
                  <a:lnTo>
                    <a:pt x="361" y="327"/>
                  </a:lnTo>
                  <a:lnTo>
                    <a:pt x="361" y="327"/>
                  </a:lnTo>
                  <a:lnTo>
                    <a:pt x="361" y="327"/>
                  </a:lnTo>
                  <a:lnTo>
                    <a:pt x="360" y="328"/>
                  </a:lnTo>
                  <a:lnTo>
                    <a:pt x="360" y="329"/>
                  </a:lnTo>
                  <a:lnTo>
                    <a:pt x="360" y="329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1"/>
                  </a:lnTo>
                  <a:lnTo>
                    <a:pt x="361" y="334"/>
                  </a:lnTo>
                  <a:lnTo>
                    <a:pt x="361" y="334"/>
                  </a:lnTo>
                  <a:lnTo>
                    <a:pt x="361" y="335"/>
                  </a:lnTo>
                  <a:lnTo>
                    <a:pt x="361" y="335"/>
                  </a:lnTo>
                  <a:lnTo>
                    <a:pt x="361" y="336"/>
                  </a:lnTo>
                  <a:lnTo>
                    <a:pt x="360" y="336"/>
                  </a:lnTo>
                  <a:lnTo>
                    <a:pt x="360" y="336"/>
                  </a:lnTo>
                  <a:lnTo>
                    <a:pt x="359" y="336"/>
                  </a:lnTo>
                  <a:lnTo>
                    <a:pt x="359" y="337"/>
                  </a:lnTo>
                  <a:lnTo>
                    <a:pt x="358" y="337"/>
                  </a:lnTo>
                  <a:lnTo>
                    <a:pt x="357" y="337"/>
                  </a:lnTo>
                  <a:lnTo>
                    <a:pt x="356" y="337"/>
                  </a:lnTo>
                  <a:lnTo>
                    <a:pt x="355" y="336"/>
                  </a:lnTo>
                  <a:lnTo>
                    <a:pt x="353" y="336"/>
                  </a:lnTo>
                  <a:lnTo>
                    <a:pt x="352" y="335"/>
                  </a:lnTo>
                  <a:lnTo>
                    <a:pt x="351" y="335"/>
                  </a:lnTo>
                  <a:lnTo>
                    <a:pt x="350" y="335"/>
                  </a:lnTo>
                  <a:lnTo>
                    <a:pt x="349" y="335"/>
                  </a:lnTo>
                  <a:lnTo>
                    <a:pt x="347" y="336"/>
                  </a:lnTo>
                  <a:lnTo>
                    <a:pt x="344" y="336"/>
                  </a:lnTo>
                  <a:lnTo>
                    <a:pt x="343" y="336"/>
                  </a:lnTo>
                  <a:lnTo>
                    <a:pt x="341" y="336"/>
                  </a:lnTo>
                  <a:lnTo>
                    <a:pt x="341" y="336"/>
                  </a:lnTo>
                  <a:lnTo>
                    <a:pt x="340" y="336"/>
                  </a:lnTo>
                  <a:lnTo>
                    <a:pt x="339" y="335"/>
                  </a:lnTo>
                  <a:lnTo>
                    <a:pt x="338" y="335"/>
                  </a:lnTo>
                  <a:lnTo>
                    <a:pt x="338" y="335"/>
                  </a:lnTo>
                  <a:lnTo>
                    <a:pt x="337" y="335"/>
                  </a:lnTo>
                  <a:lnTo>
                    <a:pt x="337" y="335"/>
                  </a:lnTo>
                  <a:lnTo>
                    <a:pt x="336" y="335"/>
                  </a:lnTo>
                  <a:lnTo>
                    <a:pt x="334" y="336"/>
                  </a:lnTo>
                  <a:lnTo>
                    <a:pt x="333" y="336"/>
                  </a:lnTo>
                  <a:lnTo>
                    <a:pt x="332" y="337"/>
                  </a:lnTo>
                  <a:lnTo>
                    <a:pt x="329" y="337"/>
                  </a:lnTo>
                  <a:lnTo>
                    <a:pt x="327" y="338"/>
                  </a:lnTo>
                  <a:lnTo>
                    <a:pt x="326" y="338"/>
                  </a:lnTo>
                  <a:lnTo>
                    <a:pt x="325" y="338"/>
                  </a:lnTo>
                  <a:lnTo>
                    <a:pt x="324" y="338"/>
                  </a:lnTo>
                  <a:lnTo>
                    <a:pt x="324" y="338"/>
                  </a:lnTo>
                  <a:lnTo>
                    <a:pt x="323" y="337"/>
                  </a:lnTo>
                  <a:lnTo>
                    <a:pt x="322" y="337"/>
                  </a:lnTo>
                  <a:lnTo>
                    <a:pt x="321" y="336"/>
                  </a:lnTo>
                  <a:lnTo>
                    <a:pt x="320" y="336"/>
                  </a:lnTo>
                  <a:lnTo>
                    <a:pt x="316" y="333"/>
                  </a:lnTo>
                  <a:lnTo>
                    <a:pt x="315" y="332"/>
                  </a:lnTo>
                  <a:lnTo>
                    <a:pt x="314" y="331"/>
                  </a:lnTo>
                  <a:lnTo>
                    <a:pt x="313" y="330"/>
                  </a:lnTo>
                  <a:lnTo>
                    <a:pt x="311" y="330"/>
                  </a:lnTo>
                  <a:lnTo>
                    <a:pt x="309" y="329"/>
                  </a:lnTo>
                  <a:lnTo>
                    <a:pt x="306" y="328"/>
                  </a:lnTo>
                  <a:lnTo>
                    <a:pt x="305" y="327"/>
                  </a:lnTo>
                  <a:lnTo>
                    <a:pt x="305" y="327"/>
                  </a:lnTo>
                  <a:lnTo>
                    <a:pt x="303" y="326"/>
                  </a:lnTo>
                  <a:lnTo>
                    <a:pt x="302" y="325"/>
                  </a:lnTo>
                  <a:lnTo>
                    <a:pt x="300" y="323"/>
                  </a:lnTo>
                  <a:lnTo>
                    <a:pt x="299" y="322"/>
                  </a:lnTo>
                  <a:lnTo>
                    <a:pt x="298" y="322"/>
                  </a:lnTo>
                  <a:lnTo>
                    <a:pt x="297" y="321"/>
                  </a:lnTo>
                  <a:lnTo>
                    <a:pt x="296" y="321"/>
                  </a:lnTo>
                  <a:lnTo>
                    <a:pt x="293" y="319"/>
                  </a:lnTo>
                  <a:lnTo>
                    <a:pt x="291" y="319"/>
                  </a:lnTo>
                  <a:lnTo>
                    <a:pt x="290" y="318"/>
                  </a:lnTo>
                  <a:lnTo>
                    <a:pt x="289" y="317"/>
                  </a:lnTo>
                  <a:lnTo>
                    <a:pt x="288" y="316"/>
                  </a:lnTo>
                  <a:lnTo>
                    <a:pt x="287" y="315"/>
                  </a:lnTo>
                  <a:lnTo>
                    <a:pt x="286" y="314"/>
                  </a:lnTo>
                  <a:lnTo>
                    <a:pt x="284" y="311"/>
                  </a:lnTo>
                  <a:lnTo>
                    <a:pt x="282" y="310"/>
                  </a:lnTo>
                  <a:lnTo>
                    <a:pt x="281" y="309"/>
                  </a:lnTo>
                  <a:lnTo>
                    <a:pt x="281" y="309"/>
                  </a:lnTo>
                  <a:lnTo>
                    <a:pt x="281" y="309"/>
                  </a:lnTo>
                  <a:lnTo>
                    <a:pt x="279" y="308"/>
                  </a:lnTo>
                  <a:lnTo>
                    <a:pt x="278" y="307"/>
                  </a:lnTo>
                  <a:lnTo>
                    <a:pt x="277" y="307"/>
                  </a:lnTo>
                  <a:lnTo>
                    <a:pt x="274" y="306"/>
                  </a:lnTo>
                  <a:lnTo>
                    <a:pt x="272" y="306"/>
                  </a:lnTo>
                  <a:lnTo>
                    <a:pt x="271" y="305"/>
                  </a:lnTo>
                  <a:lnTo>
                    <a:pt x="270" y="305"/>
                  </a:lnTo>
                  <a:lnTo>
                    <a:pt x="270" y="304"/>
                  </a:lnTo>
                  <a:lnTo>
                    <a:pt x="269" y="304"/>
                  </a:lnTo>
                  <a:lnTo>
                    <a:pt x="269" y="303"/>
                  </a:lnTo>
                  <a:lnTo>
                    <a:pt x="268" y="302"/>
                  </a:lnTo>
                  <a:lnTo>
                    <a:pt x="268" y="301"/>
                  </a:lnTo>
                  <a:lnTo>
                    <a:pt x="267" y="300"/>
                  </a:lnTo>
                  <a:lnTo>
                    <a:pt x="266" y="296"/>
                  </a:lnTo>
                  <a:lnTo>
                    <a:pt x="266" y="295"/>
                  </a:lnTo>
                  <a:lnTo>
                    <a:pt x="265" y="294"/>
                  </a:lnTo>
                  <a:lnTo>
                    <a:pt x="265" y="293"/>
                  </a:lnTo>
                  <a:lnTo>
                    <a:pt x="264" y="293"/>
                  </a:lnTo>
                  <a:lnTo>
                    <a:pt x="264" y="292"/>
                  </a:lnTo>
                  <a:lnTo>
                    <a:pt x="263" y="292"/>
                  </a:lnTo>
                  <a:lnTo>
                    <a:pt x="261" y="289"/>
                  </a:lnTo>
                  <a:lnTo>
                    <a:pt x="261" y="288"/>
                  </a:lnTo>
                  <a:lnTo>
                    <a:pt x="260" y="288"/>
                  </a:lnTo>
                  <a:lnTo>
                    <a:pt x="259" y="287"/>
                  </a:lnTo>
                  <a:lnTo>
                    <a:pt x="258" y="287"/>
                  </a:lnTo>
                  <a:lnTo>
                    <a:pt x="257" y="286"/>
                  </a:lnTo>
                  <a:lnTo>
                    <a:pt x="255" y="286"/>
                  </a:lnTo>
                  <a:lnTo>
                    <a:pt x="252" y="285"/>
                  </a:lnTo>
                  <a:lnTo>
                    <a:pt x="248" y="284"/>
                  </a:lnTo>
                  <a:lnTo>
                    <a:pt x="246" y="283"/>
                  </a:lnTo>
                  <a:lnTo>
                    <a:pt x="243" y="283"/>
                  </a:lnTo>
                  <a:lnTo>
                    <a:pt x="242" y="282"/>
                  </a:lnTo>
                  <a:lnTo>
                    <a:pt x="241" y="282"/>
                  </a:lnTo>
                  <a:lnTo>
                    <a:pt x="240" y="282"/>
                  </a:lnTo>
                  <a:lnTo>
                    <a:pt x="239" y="282"/>
                  </a:lnTo>
                  <a:lnTo>
                    <a:pt x="238" y="283"/>
                  </a:lnTo>
                  <a:lnTo>
                    <a:pt x="236" y="284"/>
                  </a:lnTo>
                  <a:lnTo>
                    <a:pt x="234" y="284"/>
                  </a:lnTo>
                  <a:lnTo>
                    <a:pt x="233" y="285"/>
                  </a:lnTo>
                  <a:lnTo>
                    <a:pt x="232" y="286"/>
                  </a:lnTo>
                  <a:lnTo>
                    <a:pt x="232" y="286"/>
                  </a:lnTo>
                  <a:lnTo>
                    <a:pt x="229" y="289"/>
                  </a:lnTo>
                  <a:lnTo>
                    <a:pt x="228" y="289"/>
                  </a:lnTo>
                  <a:lnTo>
                    <a:pt x="228" y="290"/>
                  </a:lnTo>
                  <a:lnTo>
                    <a:pt x="227" y="290"/>
                  </a:lnTo>
                  <a:lnTo>
                    <a:pt x="226" y="291"/>
                  </a:lnTo>
                  <a:lnTo>
                    <a:pt x="223" y="292"/>
                  </a:lnTo>
                  <a:lnTo>
                    <a:pt x="222" y="293"/>
                  </a:lnTo>
                  <a:lnTo>
                    <a:pt x="221" y="293"/>
                  </a:lnTo>
                  <a:lnTo>
                    <a:pt x="218" y="295"/>
                  </a:lnTo>
                  <a:lnTo>
                    <a:pt x="217" y="296"/>
                  </a:lnTo>
                  <a:lnTo>
                    <a:pt x="216" y="296"/>
                  </a:lnTo>
                  <a:lnTo>
                    <a:pt x="215" y="296"/>
                  </a:lnTo>
                  <a:lnTo>
                    <a:pt x="215" y="296"/>
                  </a:lnTo>
                  <a:lnTo>
                    <a:pt x="214" y="296"/>
                  </a:lnTo>
                  <a:lnTo>
                    <a:pt x="214" y="296"/>
                  </a:lnTo>
                  <a:lnTo>
                    <a:pt x="213" y="296"/>
                  </a:lnTo>
                  <a:lnTo>
                    <a:pt x="212" y="296"/>
                  </a:lnTo>
                  <a:lnTo>
                    <a:pt x="211" y="296"/>
                  </a:lnTo>
                  <a:lnTo>
                    <a:pt x="210" y="296"/>
                  </a:lnTo>
                  <a:lnTo>
                    <a:pt x="210" y="296"/>
                  </a:lnTo>
                  <a:lnTo>
                    <a:pt x="209" y="295"/>
                  </a:lnTo>
                  <a:lnTo>
                    <a:pt x="209" y="295"/>
                  </a:lnTo>
                  <a:lnTo>
                    <a:pt x="208" y="294"/>
                  </a:lnTo>
                  <a:lnTo>
                    <a:pt x="207" y="294"/>
                  </a:lnTo>
                  <a:lnTo>
                    <a:pt x="207" y="293"/>
                  </a:lnTo>
                  <a:lnTo>
                    <a:pt x="206" y="292"/>
                  </a:lnTo>
                  <a:lnTo>
                    <a:pt x="206" y="291"/>
                  </a:lnTo>
                  <a:lnTo>
                    <a:pt x="205" y="288"/>
                  </a:lnTo>
                  <a:lnTo>
                    <a:pt x="204" y="286"/>
                  </a:lnTo>
                  <a:lnTo>
                    <a:pt x="204" y="285"/>
                  </a:lnTo>
                  <a:lnTo>
                    <a:pt x="203" y="283"/>
                  </a:lnTo>
                  <a:lnTo>
                    <a:pt x="202" y="282"/>
                  </a:lnTo>
                  <a:lnTo>
                    <a:pt x="201" y="282"/>
                  </a:lnTo>
                  <a:lnTo>
                    <a:pt x="201" y="281"/>
                  </a:lnTo>
                  <a:lnTo>
                    <a:pt x="200" y="281"/>
                  </a:lnTo>
                  <a:lnTo>
                    <a:pt x="200" y="280"/>
                  </a:lnTo>
                  <a:lnTo>
                    <a:pt x="199" y="279"/>
                  </a:lnTo>
                  <a:lnTo>
                    <a:pt x="199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6" y="280"/>
                  </a:lnTo>
                  <a:lnTo>
                    <a:pt x="194" y="281"/>
                  </a:lnTo>
                  <a:lnTo>
                    <a:pt x="193" y="282"/>
                  </a:lnTo>
                  <a:lnTo>
                    <a:pt x="192" y="283"/>
                  </a:lnTo>
                  <a:lnTo>
                    <a:pt x="191" y="284"/>
                  </a:lnTo>
                  <a:lnTo>
                    <a:pt x="190" y="285"/>
                  </a:lnTo>
                  <a:lnTo>
                    <a:pt x="189" y="285"/>
                  </a:lnTo>
                  <a:lnTo>
                    <a:pt x="189" y="286"/>
                  </a:lnTo>
                  <a:lnTo>
                    <a:pt x="188" y="287"/>
                  </a:lnTo>
                  <a:lnTo>
                    <a:pt x="188" y="287"/>
                  </a:lnTo>
                  <a:lnTo>
                    <a:pt x="187" y="288"/>
                  </a:lnTo>
                  <a:lnTo>
                    <a:pt x="186" y="291"/>
                  </a:lnTo>
                  <a:lnTo>
                    <a:pt x="186" y="292"/>
                  </a:lnTo>
                  <a:lnTo>
                    <a:pt x="185" y="292"/>
                  </a:lnTo>
                  <a:lnTo>
                    <a:pt x="185" y="293"/>
                  </a:lnTo>
                  <a:lnTo>
                    <a:pt x="184" y="294"/>
                  </a:lnTo>
                  <a:lnTo>
                    <a:pt x="184" y="294"/>
                  </a:lnTo>
                  <a:lnTo>
                    <a:pt x="183" y="295"/>
                  </a:lnTo>
                  <a:lnTo>
                    <a:pt x="182" y="296"/>
                  </a:lnTo>
                  <a:lnTo>
                    <a:pt x="181" y="296"/>
                  </a:lnTo>
                  <a:lnTo>
                    <a:pt x="180" y="296"/>
                  </a:lnTo>
                  <a:lnTo>
                    <a:pt x="178" y="297"/>
                  </a:lnTo>
                  <a:lnTo>
                    <a:pt x="176" y="297"/>
                  </a:lnTo>
                  <a:lnTo>
                    <a:pt x="175" y="298"/>
                  </a:lnTo>
                  <a:lnTo>
                    <a:pt x="172" y="299"/>
                  </a:lnTo>
                  <a:lnTo>
                    <a:pt x="171" y="300"/>
                  </a:lnTo>
                  <a:lnTo>
                    <a:pt x="170" y="300"/>
                  </a:lnTo>
                  <a:lnTo>
                    <a:pt x="170" y="300"/>
                  </a:lnTo>
                  <a:lnTo>
                    <a:pt x="168" y="300"/>
                  </a:lnTo>
                  <a:lnTo>
                    <a:pt x="167" y="300"/>
                  </a:lnTo>
                  <a:lnTo>
                    <a:pt x="167" y="300"/>
                  </a:lnTo>
                  <a:lnTo>
                    <a:pt x="165" y="299"/>
                  </a:lnTo>
                  <a:lnTo>
                    <a:pt x="163" y="298"/>
                  </a:lnTo>
                  <a:lnTo>
                    <a:pt x="161" y="298"/>
                  </a:lnTo>
                  <a:lnTo>
                    <a:pt x="161" y="297"/>
                  </a:lnTo>
                  <a:lnTo>
                    <a:pt x="160" y="297"/>
                  </a:lnTo>
                  <a:lnTo>
                    <a:pt x="159" y="297"/>
                  </a:lnTo>
                  <a:lnTo>
                    <a:pt x="158" y="297"/>
                  </a:lnTo>
                  <a:lnTo>
                    <a:pt x="156" y="297"/>
                  </a:lnTo>
                  <a:lnTo>
                    <a:pt x="155" y="297"/>
                  </a:lnTo>
                  <a:lnTo>
                    <a:pt x="153" y="297"/>
                  </a:lnTo>
                  <a:lnTo>
                    <a:pt x="152" y="297"/>
                  </a:lnTo>
                  <a:lnTo>
                    <a:pt x="151" y="297"/>
                  </a:lnTo>
                  <a:lnTo>
                    <a:pt x="148" y="297"/>
                  </a:lnTo>
                  <a:lnTo>
                    <a:pt x="147" y="297"/>
                  </a:lnTo>
                  <a:lnTo>
                    <a:pt x="146" y="297"/>
                  </a:lnTo>
                  <a:lnTo>
                    <a:pt x="144" y="297"/>
                  </a:lnTo>
                  <a:lnTo>
                    <a:pt x="144" y="297"/>
                  </a:lnTo>
                  <a:lnTo>
                    <a:pt x="143" y="297"/>
                  </a:lnTo>
                  <a:lnTo>
                    <a:pt x="142" y="296"/>
                  </a:lnTo>
                  <a:lnTo>
                    <a:pt x="141" y="296"/>
                  </a:lnTo>
                  <a:lnTo>
                    <a:pt x="140" y="296"/>
                  </a:lnTo>
                  <a:lnTo>
                    <a:pt x="139" y="294"/>
                  </a:lnTo>
                  <a:lnTo>
                    <a:pt x="138" y="294"/>
                  </a:lnTo>
                  <a:lnTo>
                    <a:pt x="138" y="294"/>
                  </a:lnTo>
                  <a:lnTo>
                    <a:pt x="137" y="293"/>
                  </a:lnTo>
                  <a:lnTo>
                    <a:pt x="137" y="293"/>
                  </a:lnTo>
                  <a:lnTo>
                    <a:pt x="136" y="293"/>
                  </a:lnTo>
                  <a:lnTo>
                    <a:pt x="136" y="293"/>
                  </a:lnTo>
                  <a:lnTo>
                    <a:pt x="136" y="293"/>
                  </a:lnTo>
                  <a:lnTo>
                    <a:pt x="135" y="293"/>
                  </a:lnTo>
                  <a:lnTo>
                    <a:pt x="132" y="295"/>
                  </a:lnTo>
                  <a:lnTo>
                    <a:pt x="131" y="296"/>
                  </a:lnTo>
                  <a:lnTo>
                    <a:pt x="130" y="296"/>
                  </a:lnTo>
                  <a:lnTo>
                    <a:pt x="128" y="296"/>
                  </a:lnTo>
                  <a:lnTo>
                    <a:pt x="127" y="296"/>
                  </a:lnTo>
                  <a:lnTo>
                    <a:pt x="126" y="297"/>
                  </a:lnTo>
                  <a:lnTo>
                    <a:pt x="125" y="297"/>
                  </a:lnTo>
                  <a:lnTo>
                    <a:pt x="125" y="298"/>
                  </a:lnTo>
                  <a:lnTo>
                    <a:pt x="124" y="298"/>
                  </a:lnTo>
                  <a:lnTo>
                    <a:pt x="123" y="299"/>
                  </a:lnTo>
                  <a:lnTo>
                    <a:pt x="123" y="300"/>
                  </a:lnTo>
                  <a:lnTo>
                    <a:pt x="122" y="300"/>
                  </a:lnTo>
                  <a:lnTo>
                    <a:pt x="122" y="301"/>
                  </a:lnTo>
                  <a:lnTo>
                    <a:pt x="121" y="303"/>
                  </a:lnTo>
                  <a:lnTo>
                    <a:pt x="121" y="303"/>
                  </a:lnTo>
                  <a:lnTo>
                    <a:pt x="120" y="304"/>
                  </a:lnTo>
                  <a:lnTo>
                    <a:pt x="120" y="305"/>
                  </a:lnTo>
                  <a:lnTo>
                    <a:pt x="118" y="306"/>
                  </a:lnTo>
                  <a:lnTo>
                    <a:pt x="117" y="307"/>
                  </a:lnTo>
                  <a:lnTo>
                    <a:pt x="116" y="307"/>
                  </a:lnTo>
                  <a:lnTo>
                    <a:pt x="115" y="308"/>
                  </a:lnTo>
                  <a:lnTo>
                    <a:pt x="114" y="308"/>
                  </a:lnTo>
                  <a:lnTo>
                    <a:pt x="112" y="310"/>
                  </a:lnTo>
                  <a:lnTo>
                    <a:pt x="111" y="310"/>
                  </a:lnTo>
                  <a:lnTo>
                    <a:pt x="110" y="311"/>
                  </a:lnTo>
                  <a:lnTo>
                    <a:pt x="109" y="311"/>
                  </a:lnTo>
                  <a:lnTo>
                    <a:pt x="108" y="312"/>
                  </a:lnTo>
                  <a:lnTo>
                    <a:pt x="107" y="312"/>
                  </a:lnTo>
                  <a:lnTo>
                    <a:pt x="106" y="312"/>
                  </a:lnTo>
                  <a:lnTo>
                    <a:pt x="105" y="312"/>
                  </a:lnTo>
                  <a:lnTo>
                    <a:pt x="104" y="313"/>
                  </a:lnTo>
                  <a:lnTo>
                    <a:pt x="103" y="313"/>
                  </a:lnTo>
                  <a:lnTo>
                    <a:pt x="102" y="313"/>
                  </a:lnTo>
                  <a:lnTo>
                    <a:pt x="102" y="313"/>
                  </a:lnTo>
                  <a:lnTo>
                    <a:pt x="101" y="312"/>
                  </a:lnTo>
                  <a:lnTo>
                    <a:pt x="100" y="312"/>
                  </a:lnTo>
                  <a:lnTo>
                    <a:pt x="99" y="312"/>
                  </a:lnTo>
                  <a:lnTo>
                    <a:pt x="98" y="311"/>
                  </a:lnTo>
                  <a:lnTo>
                    <a:pt x="98" y="311"/>
                  </a:lnTo>
                  <a:lnTo>
                    <a:pt x="97" y="311"/>
                  </a:lnTo>
                  <a:lnTo>
                    <a:pt x="97" y="310"/>
                  </a:lnTo>
                  <a:lnTo>
                    <a:pt x="97" y="310"/>
                  </a:lnTo>
                  <a:lnTo>
                    <a:pt x="97" y="310"/>
                  </a:lnTo>
                  <a:lnTo>
                    <a:pt x="97" y="309"/>
                  </a:lnTo>
                  <a:lnTo>
                    <a:pt x="97" y="308"/>
                  </a:lnTo>
                  <a:lnTo>
                    <a:pt x="97" y="306"/>
                  </a:lnTo>
                  <a:lnTo>
                    <a:pt x="97" y="306"/>
                  </a:lnTo>
                  <a:lnTo>
                    <a:pt x="97" y="305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7" y="303"/>
                  </a:lnTo>
                  <a:lnTo>
                    <a:pt x="97" y="303"/>
                  </a:lnTo>
                  <a:lnTo>
                    <a:pt x="96" y="302"/>
                  </a:lnTo>
                  <a:lnTo>
                    <a:pt x="96" y="302"/>
                  </a:lnTo>
                  <a:lnTo>
                    <a:pt x="96" y="301"/>
                  </a:lnTo>
                  <a:lnTo>
                    <a:pt x="94" y="301"/>
                  </a:lnTo>
                  <a:lnTo>
                    <a:pt x="93" y="300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7"/>
                  </a:lnTo>
                  <a:lnTo>
                    <a:pt x="87" y="297"/>
                  </a:lnTo>
                  <a:lnTo>
                    <a:pt x="85" y="296"/>
                  </a:lnTo>
                  <a:lnTo>
                    <a:pt x="84" y="296"/>
                  </a:lnTo>
                  <a:lnTo>
                    <a:pt x="83" y="296"/>
                  </a:lnTo>
                  <a:lnTo>
                    <a:pt x="79" y="295"/>
                  </a:lnTo>
                  <a:lnTo>
                    <a:pt x="76" y="294"/>
                  </a:lnTo>
                  <a:lnTo>
                    <a:pt x="75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2"/>
                  </a:lnTo>
                  <a:lnTo>
                    <a:pt x="74" y="292"/>
                  </a:lnTo>
                  <a:lnTo>
                    <a:pt x="74" y="292"/>
                  </a:lnTo>
                  <a:lnTo>
                    <a:pt x="75" y="289"/>
                  </a:lnTo>
                  <a:lnTo>
                    <a:pt x="75" y="289"/>
                  </a:lnTo>
                  <a:lnTo>
                    <a:pt x="75" y="288"/>
                  </a:lnTo>
                  <a:lnTo>
                    <a:pt x="75" y="287"/>
                  </a:lnTo>
                  <a:lnTo>
                    <a:pt x="74" y="286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5" y="284"/>
                  </a:lnTo>
                  <a:lnTo>
                    <a:pt x="75" y="283"/>
                  </a:lnTo>
                  <a:lnTo>
                    <a:pt x="76" y="282"/>
                  </a:lnTo>
                  <a:lnTo>
                    <a:pt x="77" y="281"/>
                  </a:lnTo>
                  <a:lnTo>
                    <a:pt x="78" y="279"/>
                  </a:lnTo>
                  <a:lnTo>
                    <a:pt x="79" y="278"/>
                  </a:lnTo>
                  <a:lnTo>
                    <a:pt x="80" y="277"/>
                  </a:lnTo>
                  <a:lnTo>
                    <a:pt x="81" y="275"/>
                  </a:lnTo>
                  <a:lnTo>
                    <a:pt x="82" y="274"/>
                  </a:lnTo>
                  <a:lnTo>
                    <a:pt x="82" y="273"/>
                  </a:lnTo>
                  <a:lnTo>
                    <a:pt x="83" y="271"/>
                  </a:lnTo>
                  <a:lnTo>
                    <a:pt x="83" y="270"/>
                  </a:lnTo>
                  <a:lnTo>
                    <a:pt x="84" y="269"/>
                  </a:lnTo>
                  <a:lnTo>
                    <a:pt x="84" y="268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66"/>
                  </a:lnTo>
                  <a:lnTo>
                    <a:pt x="84" y="266"/>
                  </a:lnTo>
                  <a:lnTo>
                    <a:pt x="83" y="264"/>
                  </a:lnTo>
                  <a:lnTo>
                    <a:pt x="83" y="263"/>
                  </a:lnTo>
                  <a:lnTo>
                    <a:pt x="82" y="261"/>
                  </a:lnTo>
                  <a:lnTo>
                    <a:pt x="82" y="260"/>
                  </a:lnTo>
                  <a:lnTo>
                    <a:pt x="80" y="258"/>
                  </a:lnTo>
                  <a:lnTo>
                    <a:pt x="79" y="257"/>
                  </a:lnTo>
                  <a:lnTo>
                    <a:pt x="78" y="255"/>
                  </a:lnTo>
                  <a:lnTo>
                    <a:pt x="78" y="254"/>
                  </a:lnTo>
                  <a:lnTo>
                    <a:pt x="78" y="254"/>
                  </a:lnTo>
                  <a:lnTo>
                    <a:pt x="78" y="253"/>
                  </a:lnTo>
                  <a:lnTo>
                    <a:pt x="78" y="251"/>
                  </a:lnTo>
                  <a:lnTo>
                    <a:pt x="78" y="249"/>
                  </a:lnTo>
                  <a:lnTo>
                    <a:pt x="78" y="248"/>
                  </a:lnTo>
                  <a:lnTo>
                    <a:pt x="78" y="247"/>
                  </a:lnTo>
                  <a:lnTo>
                    <a:pt x="78" y="246"/>
                  </a:lnTo>
                  <a:lnTo>
                    <a:pt x="78" y="243"/>
                  </a:lnTo>
                  <a:lnTo>
                    <a:pt x="79" y="242"/>
                  </a:lnTo>
                  <a:lnTo>
                    <a:pt x="79" y="240"/>
                  </a:lnTo>
                  <a:lnTo>
                    <a:pt x="78" y="237"/>
                  </a:lnTo>
                  <a:lnTo>
                    <a:pt x="78" y="235"/>
                  </a:lnTo>
                  <a:lnTo>
                    <a:pt x="78" y="233"/>
                  </a:lnTo>
                  <a:lnTo>
                    <a:pt x="78" y="233"/>
                  </a:lnTo>
                  <a:lnTo>
                    <a:pt x="78" y="231"/>
                  </a:lnTo>
                  <a:lnTo>
                    <a:pt x="77" y="230"/>
                  </a:lnTo>
                  <a:lnTo>
                    <a:pt x="77" y="230"/>
                  </a:lnTo>
                  <a:lnTo>
                    <a:pt x="77" y="229"/>
                  </a:lnTo>
                  <a:lnTo>
                    <a:pt x="76" y="228"/>
                  </a:lnTo>
                  <a:lnTo>
                    <a:pt x="75" y="228"/>
                  </a:lnTo>
                  <a:lnTo>
                    <a:pt x="75" y="227"/>
                  </a:lnTo>
                  <a:lnTo>
                    <a:pt x="73" y="226"/>
                  </a:lnTo>
                  <a:lnTo>
                    <a:pt x="72" y="225"/>
                  </a:lnTo>
                  <a:lnTo>
                    <a:pt x="72" y="224"/>
                  </a:lnTo>
                  <a:lnTo>
                    <a:pt x="71" y="224"/>
                  </a:lnTo>
                  <a:lnTo>
                    <a:pt x="70" y="224"/>
                  </a:lnTo>
                  <a:lnTo>
                    <a:pt x="70" y="224"/>
                  </a:lnTo>
                  <a:lnTo>
                    <a:pt x="69" y="224"/>
                  </a:lnTo>
                  <a:lnTo>
                    <a:pt x="68" y="224"/>
                  </a:lnTo>
                  <a:lnTo>
                    <a:pt x="68" y="224"/>
                  </a:lnTo>
                  <a:lnTo>
                    <a:pt x="66" y="225"/>
                  </a:lnTo>
                  <a:lnTo>
                    <a:pt x="65" y="225"/>
                  </a:lnTo>
                  <a:lnTo>
                    <a:pt x="63" y="226"/>
                  </a:lnTo>
                  <a:lnTo>
                    <a:pt x="59" y="227"/>
                  </a:lnTo>
                  <a:lnTo>
                    <a:pt x="58" y="228"/>
                  </a:lnTo>
                  <a:lnTo>
                    <a:pt x="57" y="228"/>
                  </a:lnTo>
                  <a:lnTo>
                    <a:pt x="56" y="228"/>
                  </a:lnTo>
                  <a:lnTo>
                    <a:pt x="55" y="228"/>
                  </a:lnTo>
                  <a:lnTo>
                    <a:pt x="52" y="227"/>
                  </a:lnTo>
                  <a:lnTo>
                    <a:pt x="49" y="227"/>
                  </a:lnTo>
                  <a:lnTo>
                    <a:pt x="45" y="226"/>
                  </a:lnTo>
                  <a:lnTo>
                    <a:pt x="44" y="226"/>
                  </a:lnTo>
                  <a:lnTo>
                    <a:pt x="43" y="226"/>
                  </a:lnTo>
                  <a:lnTo>
                    <a:pt x="39" y="227"/>
                  </a:lnTo>
                  <a:lnTo>
                    <a:pt x="38" y="227"/>
                  </a:lnTo>
                  <a:lnTo>
                    <a:pt x="37" y="227"/>
                  </a:lnTo>
                  <a:lnTo>
                    <a:pt x="36" y="227"/>
                  </a:lnTo>
                  <a:lnTo>
                    <a:pt x="36" y="227"/>
                  </a:lnTo>
                  <a:lnTo>
                    <a:pt x="35" y="226"/>
                  </a:lnTo>
                  <a:lnTo>
                    <a:pt x="34" y="226"/>
                  </a:lnTo>
                  <a:lnTo>
                    <a:pt x="33" y="226"/>
                  </a:lnTo>
                  <a:lnTo>
                    <a:pt x="33" y="225"/>
                  </a:lnTo>
                  <a:lnTo>
                    <a:pt x="32" y="225"/>
                  </a:lnTo>
                  <a:lnTo>
                    <a:pt x="31" y="224"/>
                  </a:lnTo>
                  <a:lnTo>
                    <a:pt x="31" y="224"/>
                  </a:lnTo>
                  <a:lnTo>
                    <a:pt x="30" y="223"/>
                  </a:lnTo>
                  <a:lnTo>
                    <a:pt x="30" y="223"/>
                  </a:lnTo>
                  <a:lnTo>
                    <a:pt x="30" y="222"/>
                  </a:lnTo>
                  <a:lnTo>
                    <a:pt x="29" y="221"/>
                  </a:lnTo>
                  <a:lnTo>
                    <a:pt x="29" y="220"/>
                  </a:lnTo>
                  <a:lnTo>
                    <a:pt x="29" y="219"/>
                  </a:lnTo>
                  <a:lnTo>
                    <a:pt x="29" y="219"/>
                  </a:lnTo>
                  <a:lnTo>
                    <a:pt x="29" y="217"/>
                  </a:lnTo>
                  <a:lnTo>
                    <a:pt x="29" y="215"/>
                  </a:lnTo>
                  <a:lnTo>
                    <a:pt x="29" y="214"/>
                  </a:lnTo>
                  <a:lnTo>
                    <a:pt x="28" y="214"/>
                  </a:lnTo>
                  <a:lnTo>
                    <a:pt x="28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5" y="210"/>
                  </a:lnTo>
                  <a:lnTo>
                    <a:pt x="24" y="209"/>
                  </a:lnTo>
                  <a:lnTo>
                    <a:pt x="23" y="208"/>
                  </a:lnTo>
                  <a:lnTo>
                    <a:pt x="22" y="207"/>
                  </a:lnTo>
                  <a:lnTo>
                    <a:pt x="22" y="207"/>
                  </a:lnTo>
                  <a:lnTo>
                    <a:pt x="21" y="205"/>
                  </a:lnTo>
                  <a:lnTo>
                    <a:pt x="20" y="205"/>
                  </a:lnTo>
                  <a:lnTo>
                    <a:pt x="20" y="204"/>
                  </a:lnTo>
                  <a:lnTo>
                    <a:pt x="19" y="204"/>
                  </a:lnTo>
                  <a:lnTo>
                    <a:pt x="18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5" y="202"/>
                  </a:lnTo>
                  <a:lnTo>
                    <a:pt x="12" y="202"/>
                  </a:lnTo>
                  <a:lnTo>
                    <a:pt x="11" y="202"/>
                  </a:lnTo>
                  <a:lnTo>
                    <a:pt x="10" y="202"/>
                  </a:lnTo>
                  <a:lnTo>
                    <a:pt x="10" y="202"/>
                  </a:lnTo>
                  <a:lnTo>
                    <a:pt x="9" y="201"/>
                  </a:lnTo>
                  <a:lnTo>
                    <a:pt x="9" y="201"/>
                  </a:lnTo>
                  <a:lnTo>
                    <a:pt x="8" y="201"/>
                  </a:lnTo>
                  <a:lnTo>
                    <a:pt x="7" y="200"/>
                  </a:lnTo>
                  <a:lnTo>
                    <a:pt x="6" y="200"/>
                  </a:lnTo>
                  <a:lnTo>
                    <a:pt x="6" y="199"/>
                  </a:lnTo>
                  <a:lnTo>
                    <a:pt x="5" y="199"/>
                  </a:lnTo>
                  <a:lnTo>
                    <a:pt x="5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3" y="194"/>
                  </a:lnTo>
                  <a:lnTo>
                    <a:pt x="3" y="193"/>
                  </a:lnTo>
                  <a:lnTo>
                    <a:pt x="2" y="192"/>
                  </a:lnTo>
                  <a:lnTo>
                    <a:pt x="1" y="190"/>
                  </a:lnTo>
                  <a:lnTo>
                    <a:pt x="1" y="189"/>
                  </a:lnTo>
                  <a:lnTo>
                    <a:pt x="1" y="189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1" y="185"/>
                  </a:lnTo>
                  <a:lnTo>
                    <a:pt x="1" y="185"/>
                  </a:lnTo>
                  <a:lnTo>
                    <a:pt x="1" y="184"/>
                  </a:lnTo>
                  <a:lnTo>
                    <a:pt x="2" y="183"/>
                  </a:lnTo>
                  <a:lnTo>
                    <a:pt x="2" y="183"/>
                  </a:lnTo>
                  <a:lnTo>
                    <a:pt x="3" y="183"/>
                  </a:lnTo>
                  <a:lnTo>
                    <a:pt x="5" y="181"/>
                  </a:lnTo>
                  <a:lnTo>
                    <a:pt x="6" y="181"/>
                  </a:lnTo>
                  <a:lnTo>
                    <a:pt x="6" y="180"/>
                  </a:lnTo>
                  <a:lnTo>
                    <a:pt x="7" y="180"/>
                  </a:lnTo>
                  <a:lnTo>
                    <a:pt x="7" y="180"/>
                  </a:lnTo>
                  <a:lnTo>
                    <a:pt x="7" y="179"/>
                  </a:lnTo>
                  <a:lnTo>
                    <a:pt x="8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2" y="170"/>
                  </a:lnTo>
                  <a:lnTo>
                    <a:pt x="12" y="169"/>
                  </a:lnTo>
                  <a:lnTo>
                    <a:pt x="13" y="168"/>
                  </a:lnTo>
                  <a:lnTo>
                    <a:pt x="13" y="166"/>
                  </a:lnTo>
                  <a:lnTo>
                    <a:pt x="13" y="165"/>
                  </a:lnTo>
                  <a:lnTo>
                    <a:pt x="13" y="164"/>
                  </a:lnTo>
                  <a:lnTo>
                    <a:pt x="12" y="162"/>
                  </a:lnTo>
                  <a:lnTo>
                    <a:pt x="11" y="159"/>
                  </a:lnTo>
                  <a:lnTo>
                    <a:pt x="11" y="158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9" y="155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2"/>
                  </a:lnTo>
                  <a:lnTo>
                    <a:pt x="7" y="151"/>
                  </a:lnTo>
                  <a:lnTo>
                    <a:pt x="7" y="150"/>
                  </a:lnTo>
                  <a:lnTo>
                    <a:pt x="7" y="149"/>
                  </a:lnTo>
                  <a:lnTo>
                    <a:pt x="7" y="144"/>
                  </a:lnTo>
                  <a:lnTo>
                    <a:pt x="7" y="142"/>
                  </a:lnTo>
                  <a:lnTo>
                    <a:pt x="7" y="141"/>
                  </a:lnTo>
                  <a:lnTo>
                    <a:pt x="7" y="141"/>
                  </a:lnTo>
                  <a:lnTo>
                    <a:pt x="7" y="140"/>
                  </a:lnTo>
                  <a:lnTo>
                    <a:pt x="6" y="138"/>
                  </a:lnTo>
                  <a:lnTo>
                    <a:pt x="5" y="136"/>
                  </a:lnTo>
                  <a:lnTo>
                    <a:pt x="5" y="135"/>
                  </a:lnTo>
                  <a:lnTo>
                    <a:pt x="4" y="133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3" y="127"/>
                  </a:lnTo>
                  <a:lnTo>
                    <a:pt x="3" y="126"/>
                  </a:lnTo>
                  <a:lnTo>
                    <a:pt x="4" y="125"/>
                  </a:lnTo>
                  <a:lnTo>
                    <a:pt x="5" y="124"/>
                  </a:lnTo>
                  <a:lnTo>
                    <a:pt x="6" y="123"/>
                  </a:lnTo>
                  <a:lnTo>
                    <a:pt x="8" y="121"/>
                  </a:lnTo>
                  <a:lnTo>
                    <a:pt x="9" y="120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20"/>
                  </a:lnTo>
                  <a:lnTo>
                    <a:pt x="11" y="121"/>
                  </a:lnTo>
                  <a:lnTo>
                    <a:pt x="13" y="121"/>
                  </a:lnTo>
                  <a:lnTo>
                    <a:pt x="15" y="123"/>
                  </a:lnTo>
                  <a:lnTo>
                    <a:pt x="17" y="124"/>
                  </a:lnTo>
                  <a:lnTo>
                    <a:pt x="21" y="126"/>
                  </a:lnTo>
                  <a:lnTo>
                    <a:pt x="22" y="127"/>
                  </a:lnTo>
                  <a:lnTo>
                    <a:pt x="24" y="127"/>
                  </a:lnTo>
                  <a:lnTo>
                    <a:pt x="25" y="128"/>
                  </a:lnTo>
                  <a:lnTo>
                    <a:pt x="27" y="129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 59">
              <a:extLst>
                <a:ext uri="{FF2B5EF4-FFF2-40B4-BE49-F238E27FC236}">
                  <a16:creationId xmlns:a16="http://schemas.microsoft.com/office/drawing/2014/main" id="{FBEC1A1C-D6CE-B2DD-30F8-6DED8A6D10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2" y="2993"/>
              <a:ext cx="124" cy="138"/>
            </a:xfrm>
            <a:custGeom>
              <a:avLst/>
              <a:gdLst>
                <a:gd name="T0" fmla="*/ 3 w 124"/>
                <a:gd name="T1" fmla="*/ 131 h 138"/>
                <a:gd name="T2" fmla="*/ 7 w 124"/>
                <a:gd name="T3" fmla="*/ 131 h 138"/>
                <a:gd name="T4" fmla="*/ 9 w 124"/>
                <a:gd name="T5" fmla="*/ 130 h 138"/>
                <a:gd name="T6" fmla="*/ 15 w 124"/>
                <a:gd name="T7" fmla="*/ 123 h 138"/>
                <a:gd name="T8" fmla="*/ 18 w 124"/>
                <a:gd name="T9" fmla="*/ 121 h 138"/>
                <a:gd name="T10" fmla="*/ 20 w 124"/>
                <a:gd name="T11" fmla="*/ 120 h 138"/>
                <a:gd name="T12" fmla="*/ 24 w 124"/>
                <a:gd name="T13" fmla="*/ 120 h 138"/>
                <a:gd name="T14" fmla="*/ 29 w 124"/>
                <a:gd name="T15" fmla="*/ 123 h 138"/>
                <a:gd name="T16" fmla="*/ 35 w 124"/>
                <a:gd name="T17" fmla="*/ 124 h 138"/>
                <a:gd name="T18" fmla="*/ 39 w 124"/>
                <a:gd name="T19" fmla="*/ 126 h 138"/>
                <a:gd name="T20" fmla="*/ 46 w 124"/>
                <a:gd name="T21" fmla="*/ 129 h 138"/>
                <a:gd name="T22" fmla="*/ 50 w 124"/>
                <a:gd name="T23" fmla="*/ 129 h 138"/>
                <a:gd name="T24" fmla="*/ 52 w 124"/>
                <a:gd name="T25" fmla="*/ 130 h 138"/>
                <a:gd name="T26" fmla="*/ 53 w 124"/>
                <a:gd name="T27" fmla="*/ 133 h 138"/>
                <a:gd name="T28" fmla="*/ 54 w 124"/>
                <a:gd name="T29" fmla="*/ 136 h 138"/>
                <a:gd name="T30" fmla="*/ 56 w 124"/>
                <a:gd name="T31" fmla="*/ 138 h 138"/>
                <a:gd name="T32" fmla="*/ 59 w 124"/>
                <a:gd name="T33" fmla="*/ 138 h 138"/>
                <a:gd name="T34" fmla="*/ 63 w 124"/>
                <a:gd name="T35" fmla="*/ 138 h 138"/>
                <a:gd name="T36" fmla="*/ 66 w 124"/>
                <a:gd name="T37" fmla="*/ 136 h 138"/>
                <a:gd name="T38" fmla="*/ 70 w 124"/>
                <a:gd name="T39" fmla="*/ 133 h 138"/>
                <a:gd name="T40" fmla="*/ 71 w 124"/>
                <a:gd name="T41" fmla="*/ 130 h 138"/>
                <a:gd name="T42" fmla="*/ 70 w 124"/>
                <a:gd name="T43" fmla="*/ 124 h 138"/>
                <a:gd name="T44" fmla="*/ 71 w 124"/>
                <a:gd name="T45" fmla="*/ 121 h 138"/>
                <a:gd name="T46" fmla="*/ 75 w 124"/>
                <a:gd name="T47" fmla="*/ 117 h 138"/>
                <a:gd name="T48" fmla="*/ 80 w 124"/>
                <a:gd name="T49" fmla="*/ 112 h 138"/>
                <a:gd name="T50" fmla="*/ 82 w 124"/>
                <a:gd name="T51" fmla="*/ 111 h 138"/>
                <a:gd name="T52" fmla="*/ 85 w 124"/>
                <a:gd name="T53" fmla="*/ 112 h 138"/>
                <a:gd name="T54" fmla="*/ 88 w 124"/>
                <a:gd name="T55" fmla="*/ 117 h 138"/>
                <a:gd name="T56" fmla="*/ 91 w 124"/>
                <a:gd name="T57" fmla="*/ 120 h 138"/>
                <a:gd name="T58" fmla="*/ 96 w 124"/>
                <a:gd name="T59" fmla="*/ 122 h 138"/>
                <a:gd name="T60" fmla="*/ 99 w 124"/>
                <a:gd name="T61" fmla="*/ 122 h 138"/>
                <a:gd name="T62" fmla="*/ 105 w 124"/>
                <a:gd name="T63" fmla="*/ 120 h 138"/>
                <a:gd name="T64" fmla="*/ 110 w 124"/>
                <a:gd name="T65" fmla="*/ 121 h 138"/>
                <a:gd name="T66" fmla="*/ 113 w 124"/>
                <a:gd name="T67" fmla="*/ 121 h 138"/>
                <a:gd name="T68" fmla="*/ 119 w 124"/>
                <a:gd name="T69" fmla="*/ 120 h 138"/>
                <a:gd name="T70" fmla="*/ 122 w 124"/>
                <a:gd name="T71" fmla="*/ 118 h 138"/>
                <a:gd name="T72" fmla="*/ 124 w 124"/>
                <a:gd name="T73" fmla="*/ 117 h 138"/>
                <a:gd name="T74" fmla="*/ 123 w 124"/>
                <a:gd name="T75" fmla="*/ 113 h 138"/>
                <a:gd name="T76" fmla="*/ 120 w 124"/>
                <a:gd name="T77" fmla="*/ 109 h 138"/>
                <a:gd name="T78" fmla="*/ 114 w 124"/>
                <a:gd name="T79" fmla="*/ 99 h 138"/>
                <a:gd name="T80" fmla="*/ 111 w 124"/>
                <a:gd name="T81" fmla="*/ 92 h 138"/>
                <a:gd name="T82" fmla="*/ 111 w 124"/>
                <a:gd name="T83" fmla="*/ 88 h 138"/>
                <a:gd name="T84" fmla="*/ 113 w 124"/>
                <a:gd name="T85" fmla="*/ 79 h 138"/>
                <a:gd name="T86" fmla="*/ 113 w 124"/>
                <a:gd name="T87" fmla="*/ 76 h 138"/>
                <a:gd name="T88" fmla="*/ 111 w 124"/>
                <a:gd name="T89" fmla="*/ 72 h 138"/>
                <a:gd name="T90" fmla="*/ 109 w 124"/>
                <a:gd name="T91" fmla="*/ 65 h 138"/>
                <a:gd name="T92" fmla="*/ 109 w 124"/>
                <a:gd name="T93" fmla="*/ 59 h 138"/>
                <a:gd name="T94" fmla="*/ 107 w 124"/>
                <a:gd name="T95" fmla="*/ 51 h 138"/>
                <a:gd name="T96" fmla="*/ 105 w 124"/>
                <a:gd name="T97" fmla="*/ 43 h 138"/>
                <a:gd name="T98" fmla="*/ 105 w 124"/>
                <a:gd name="T99" fmla="*/ 29 h 138"/>
                <a:gd name="T100" fmla="*/ 106 w 124"/>
                <a:gd name="T101" fmla="*/ 20 h 138"/>
                <a:gd name="T102" fmla="*/ 104 w 124"/>
                <a:gd name="T103" fmla="*/ 16 h 138"/>
                <a:gd name="T104" fmla="*/ 99 w 124"/>
                <a:gd name="T105" fmla="*/ 8 h 138"/>
                <a:gd name="T106" fmla="*/ 97 w 124"/>
                <a:gd name="T107" fmla="*/ 3 h 138"/>
                <a:gd name="T108" fmla="*/ 98 w 124"/>
                <a:gd name="T10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4" h="138">
                  <a:moveTo>
                    <a:pt x="0" y="130"/>
                  </a:moveTo>
                  <a:lnTo>
                    <a:pt x="1" y="130"/>
                  </a:lnTo>
                  <a:lnTo>
                    <a:pt x="3" y="131"/>
                  </a:lnTo>
                  <a:lnTo>
                    <a:pt x="3" y="131"/>
                  </a:lnTo>
                  <a:lnTo>
                    <a:pt x="4" y="131"/>
                  </a:lnTo>
                  <a:lnTo>
                    <a:pt x="5" y="131"/>
                  </a:lnTo>
                  <a:lnTo>
                    <a:pt x="6" y="131"/>
                  </a:lnTo>
                  <a:lnTo>
                    <a:pt x="7" y="131"/>
                  </a:lnTo>
                  <a:lnTo>
                    <a:pt x="7" y="131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9" y="130"/>
                  </a:lnTo>
                  <a:lnTo>
                    <a:pt x="10" y="129"/>
                  </a:lnTo>
                  <a:lnTo>
                    <a:pt x="11" y="128"/>
                  </a:lnTo>
                  <a:lnTo>
                    <a:pt x="13" y="125"/>
                  </a:lnTo>
                  <a:lnTo>
                    <a:pt x="15" y="123"/>
                  </a:lnTo>
                  <a:lnTo>
                    <a:pt x="16" y="122"/>
                  </a:lnTo>
                  <a:lnTo>
                    <a:pt x="17" y="122"/>
                  </a:lnTo>
                  <a:lnTo>
                    <a:pt x="17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9" y="120"/>
                  </a:lnTo>
                  <a:lnTo>
                    <a:pt x="19" y="120"/>
                  </a:lnTo>
                  <a:lnTo>
                    <a:pt x="20" y="120"/>
                  </a:lnTo>
                  <a:lnTo>
                    <a:pt x="21" y="120"/>
                  </a:lnTo>
                  <a:lnTo>
                    <a:pt x="22" y="120"/>
                  </a:lnTo>
                  <a:lnTo>
                    <a:pt x="23" y="120"/>
                  </a:lnTo>
                  <a:lnTo>
                    <a:pt x="24" y="120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27" y="122"/>
                  </a:lnTo>
                  <a:lnTo>
                    <a:pt x="29" y="123"/>
                  </a:lnTo>
                  <a:lnTo>
                    <a:pt x="31" y="123"/>
                  </a:lnTo>
                  <a:lnTo>
                    <a:pt x="32" y="124"/>
                  </a:lnTo>
                  <a:lnTo>
                    <a:pt x="34" y="124"/>
                  </a:lnTo>
                  <a:lnTo>
                    <a:pt x="35" y="124"/>
                  </a:lnTo>
                  <a:lnTo>
                    <a:pt x="36" y="125"/>
                  </a:lnTo>
                  <a:lnTo>
                    <a:pt x="37" y="125"/>
                  </a:lnTo>
                  <a:lnTo>
                    <a:pt x="38" y="125"/>
                  </a:lnTo>
                  <a:lnTo>
                    <a:pt x="39" y="126"/>
                  </a:lnTo>
                  <a:lnTo>
                    <a:pt x="41" y="127"/>
                  </a:lnTo>
                  <a:lnTo>
                    <a:pt x="42" y="128"/>
                  </a:lnTo>
                  <a:lnTo>
                    <a:pt x="44" y="129"/>
                  </a:lnTo>
                  <a:lnTo>
                    <a:pt x="46" y="129"/>
                  </a:lnTo>
                  <a:lnTo>
                    <a:pt x="47" y="130"/>
                  </a:lnTo>
                  <a:lnTo>
                    <a:pt x="47" y="130"/>
                  </a:lnTo>
                  <a:lnTo>
                    <a:pt x="48" y="130"/>
                  </a:lnTo>
                  <a:lnTo>
                    <a:pt x="50" y="129"/>
                  </a:lnTo>
                  <a:lnTo>
                    <a:pt x="51" y="129"/>
                  </a:lnTo>
                  <a:lnTo>
                    <a:pt x="51" y="130"/>
                  </a:lnTo>
                  <a:lnTo>
                    <a:pt x="51" y="130"/>
                  </a:lnTo>
                  <a:lnTo>
                    <a:pt x="52" y="130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3" y="132"/>
                  </a:lnTo>
                  <a:lnTo>
                    <a:pt x="53" y="133"/>
                  </a:lnTo>
                  <a:lnTo>
                    <a:pt x="53" y="134"/>
                  </a:lnTo>
                  <a:lnTo>
                    <a:pt x="54" y="135"/>
                  </a:lnTo>
                  <a:lnTo>
                    <a:pt x="54" y="135"/>
                  </a:lnTo>
                  <a:lnTo>
                    <a:pt x="54" y="136"/>
                  </a:lnTo>
                  <a:lnTo>
                    <a:pt x="55" y="137"/>
                  </a:lnTo>
                  <a:lnTo>
                    <a:pt x="56" y="137"/>
                  </a:lnTo>
                  <a:lnTo>
                    <a:pt x="56" y="137"/>
                  </a:lnTo>
                  <a:lnTo>
                    <a:pt x="56" y="138"/>
                  </a:lnTo>
                  <a:lnTo>
                    <a:pt x="57" y="138"/>
                  </a:lnTo>
                  <a:lnTo>
                    <a:pt x="58" y="138"/>
                  </a:lnTo>
                  <a:lnTo>
                    <a:pt x="58" y="138"/>
                  </a:lnTo>
                  <a:lnTo>
                    <a:pt x="59" y="138"/>
                  </a:lnTo>
                  <a:lnTo>
                    <a:pt x="60" y="138"/>
                  </a:lnTo>
                  <a:lnTo>
                    <a:pt x="61" y="138"/>
                  </a:lnTo>
                  <a:lnTo>
                    <a:pt x="62" y="138"/>
                  </a:lnTo>
                  <a:lnTo>
                    <a:pt x="63" y="138"/>
                  </a:lnTo>
                  <a:lnTo>
                    <a:pt x="64" y="137"/>
                  </a:lnTo>
                  <a:lnTo>
                    <a:pt x="65" y="137"/>
                  </a:lnTo>
                  <a:lnTo>
                    <a:pt x="66" y="136"/>
                  </a:lnTo>
                  <a:lnTo>
                    <a:pt x="66" y="136"/>
                  </a:lnTo>
                  <a:lnTo>
                    <a:pt x="69" y="135"/>
                  </a:lnTo>
                  <a:lnTo>
                    <a:pt x="69" y="134"/>
                  </a:lnTo>
                  <a:lnTo>
                    <a:pt x="69" y="134"/>
                  </a:lnTo>
                  <a:lnTo>
                    <a:pt x="70" y="133"/>
                  </a:lnTo>
                  <a:lnTo>
                    <a:pt x="70" y="132"/>
                  </a:lnTo>
                  <a:lnTo>
                    <a:pt x="71" y="131"/>
                  </a:lnTo>
                  <a:lnTo>
                    <a:pt x="71" y="130"/>
                  </a:lnTo>
                  <a:lnTo>
                    <a:pt x="71" y="130"/>
                  </a:lnTo>
                  <a:lnTo>
                    <a:pt x="71" y="129"/>
                  </a:lnTo>
                  <a:lnTo>
                    <a:pt x="70" y="126"/>
                  </a:lnTo>
                  <a:lnTo>
                    <a:pt x="70" y="125"/>
                  </a:lnTo>
                  <a:lnTo>
                    <a:pt x="70" y="124"/>
                  </a:lnTo>
                  <a:lnTo>
                    <a:pt x="70" y="123"/>
                  </a:lnTo>
                  <a:lnTo>
                    <a:pt x="70" y="122"/>
                  </a:lnTo>
                  <a:lnTo>
                    <a:pt x="70" y="122"/>
                  </a:lnTo>
                  <a:lnTo>
                    <a:pt x="71" y="121"/>
                  </a:lnTo>
                  <a:lnTo>
                    <a:pt x="71" y="120"/>
                  </a:lnTo>
                  <a:lnTo>
                    <a:pt x="72" y="119"/>
                  </a:lnTo>
                  <a:lnTo>
                    <a:pt x="73" y="119"/>
                  </a:lnTo>
                  <a:lnTo>
                    <a:pt x="75" y="117"/>
                  </a:lnTo>
                  <a:lnTo>
                    <a:pt x="77" y="115"/>
                  </a:lnTo>
                  <a:lnTo>
                    <a:pt x="79" y="113"/>
                  </a:lnTo>
                  <a:lnTo>
                    <a:pt x="80" y="113"/>
                  </a:lnTo>
                  <a:lnTo>
                    <a:pt x="80" y="112"/>
                  </a:lnTo>
                  <a:lnTo>
                    <a:pt x="81" y="111"/>
                  </a:lnTo>
                  <a:lnTo>
                    <a:pt x="81" y="111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3" y="111"/>
                  </a:lnTo>
                  <a:lnTo>
                    <a:pt x="84" y="111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5" y="113"/>
                  </a:lnTo>
                  <a:lnTo>
                    <a:pt x="87" y="115"/>
                  </a:lnTo>
                  <a:lnTo>
                    <a:pt x="88" y="117"/>
                  </a:lnTo>
                  <a:lnTo>
                    <a:pt x="89" y="118"/>
                  </a:lnTo>
                  <a:lnTo>
                    <a:pt x="90" y="118"/>
                  </a:lnTo>
                  <a:lnTo>
                    <a:pt x="91" y="119"/>
                  </a:lnTo>
                  <a:lnTo>
                    <a:pt x="91" y="120"/>
                  </a:lnTo>
                  <a:lnTo>
                    <a:pt x="93" y="120"/>
                  </a:lnTo>
                  <a:lnTo>
                    <a:pt x="94" y="121"/>
                  </a:lnTo>
                  <a:lnTo>
                    <a:pt x="95" y="121"/>
                  </a:lnTo>
                  <a:lnTo>
                    <a:pt x="96" y="122"/>
                  </a:lnTo>
                  <a:lnTo>
                    <a:pt x="97" y="122"/>
                  </a:lnTo>
                  <a:lnTo>
                    <a:pt x="98" y="122"/>
                  </a:lnTo>
                  <a:lnTo>
                    <a:pt x="98" y="122"/>
                  </a:lnTo>
                  <a:lnTo>
                    <a:pt x="99" y="122"/>
                  </a:lnTo>
                  <a:lnTo>
                    <a:pt x="100" y="121"/>
                  </a:lnTo>
                  <a:lnTo>
                    <a:pt x="103" y="121"/>
                  </a:lnTo>
                  <a:lnTo>
                    <a:pt x="104" y="120"/>
                  </a:lnTo>
                  <a:lnTo>
                    <a:pt x="105" y="120"/>
                  </a:lnTo>
                  <a:lnTo>
                    <a:pt x="106" y="120"/>
                  </a:lnTo>
                  <a:lnTo>
                    <a:pt x="107" y="120"/>
                  </a:lnTo>
                  <a:lnTo>
                    <a:pt x="109" y="120"/>
                  </a:lnTo>
                  <a:lnTo>
                    <a:pt x="110" y="121"/>
                  </a:lnTo>
                  <a:lnTo>
                    <a:pt x="112" y="121"/>
                  </a:lnTo>
                  <a:lnTo>
                    <a:pt x="112" y="121"/>
                  </a:lnTo>
                  <a:lnTo>
                    <a:pt x="113" y="121"/>
                  </a:lnTo>
                  <a:lnTo>
                    <a:pt x="113" y="121"/>
                  </a:lnTo>
                  <a:lnTo>
                    <a:pt x="115" y="121"/>
                  </a:lnTo>
                  <a:lnTo>
                    <a:pt x="116" y="121"/>
                  </a:lnTo>
                  <a:lnTo>
                    <a:pt x="117" y="121"/>
                  </a:lnTo>
                  <a:lnTo>
                    <a:pt x="119" y="120"/>
                  </a:lnTo>
                  <a:lnTo>
                    <a:pt x="120" y="120"/>
                  </a:lnTo>
                  <a:lnTo>
                    <a:pt x="121" y="119"/>
                  </a:lnTo>
                  <a:lnTo>
                    <a:pt x="122" y="119"/>
                  </a:lnTo>
                  <a:lnTo>
                    <a:pt x="122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3" y="117"/>
                  </a:lnTo>
                  <a:lnTo>
                    <a:pt x="124" y="117"/>
                  </a:lnTo>
                  <a:lnTo>
                    <a:pt x="124" y="116"/>
                  </a:lnTo>
                  <a:lnTo>
                    <a:pt x="124" y="115"/>
                  </a:lnTo>
                  <a:lnTo>
                    <a:pt x="123" y="114"/>
                  </a:lnTo>
                  <a:lnTo>
                    <a:pt x="123" y="113"/>
                  </a:lnTo>
                  <a:lnTo>
                    <a:pt x="123" y="113"/>
                  </a:lnTo>
                  <a:lnTo>
                    <a:pt x="122" y="112"/>
                  </a:lnTo>
                  <a:lnTo>
                    <a:pt x="122" y="111"/>
                  </a:lnTo>
                  <a:lnTo>
                    <a:pt x="120" y="109"/>
                  </a:lnTo>
                  <a:lnTo>
                    <a:pt x="118" y="105"/>
                  </a:lnTo>
                  <a:lnTo>
                    <a:pt x="116" y="103"/>
                  </a:lnTo>
                  <a:lnTo>
                    <a:pt x="116" y="103"/>
                  </a:lnTo>
                  <a:lnTo>
                    <a:pt x="114" y="99"/>
                  </a:lnTo>
                  <a:lnTo>
                    <a:pt x="113" y="96"/>
                  </a:lnTo>
                  <a:lnTo>
                    <a:pt x="111" y="93"/>
                  </a:lnTo>
                  <a:lnTo>
                    <a:pt x="111" y="93"/>
                  </a:lnTo>
                  <a:lnTo>
                    <a:pt x="111" y="92"/>
                  </a:lnTo>
                  <a:lnTo>
                    <a:pt x="111" y="91"/>
                  </a:lnTo>
                  <a:lnTo>
                    <a:pt x="110" y="90"/>
                  </a:lnTo>
                  <a:lnTo>
                    <a:pt x="111" y="89"/>
                  </a:lnTo>
                  <a:lnTo>
                    <a:pt x="111" y="88"/>
                  </a:lnTo>
                  <a:lnTo>
                    <a:pt x="111" y="86"/>
                  </a:lnTo>
                  <a:lnTo>
                    <a:pt x="112" y="84"/>
                  </a:lnTo>
                  <a:lnTo>
                    <a:pt x="113" y="80"/>
                  </a:lnTo>
                  <a:lnTo>
                    <a:pt x="113" y="79"/>
                  </a:lnTo>
                  <a:lnTo>
                    <a:pt x="114" y="78"/>
                  </a:lnTo>
                  <a:lnTo>
                    <a:pt x="114" y="78"/>
                  </a:lnTo>
                  <a:lnTo>
                    <a:pt x="114" y="77"/>
                  </a:lnTo>
                  <a:lnTo>
                    <a:pt x="113" y="76"/>
                  </a:lnTo>
                  <a:lnTo>
                    <a:pt x="113" y="76"/>
                  </a:lnTo>
                  <a:lnTo>
                    <a:pt x="113" y="75"/>
                  </a:lnTo>
                  <a:lnTo>
                    <a:pt x="113" y="74"/>
                  </a:lnTo>
                  <a:lnTo>
                    <a:pt x="111" y="72"/>
                  </a:lnTo>
                  <a:lnTo>
                    <a:pt x="109" y="67"/>
                  </a:lnTo>
                  <a:lnTo>
                    <a:pt x="109" y="67"/>
                  </a:lnTo>
                  <a:lnTo>
                    <a:pt x="109" y="66"/>
                  </a:lnTo>
                  <a:lnTo>
                    <a:pt x="109" y="65"/>
                  </a:lnTo>
                  <a:lnTo>
                    <a:pt x="109" y="64"/>
                  </a:lnTo>
                  <a:lnTo>
                    <a:pt x="109" y="63"/>
                  </a:lnTo>
                  <a:lnTo>
                    <a:pt x="109" y="60"/>
                  </a:lnTo>
                  <a:lnTo>
                    <a:pt x="109" y="59"/>
                  </a:lnTo>
                  <a:lnTo>
                    <a:pt x="109" y="59"/>
                  </a:lnTo>
                  <a:lnTo>
                    <a:pt x="108" y="57"/>
                  </a:lnTo>
                  <a:lnTo>
                    <a:pt x="107" y="54"/>
                  </a:lnTo>
                  <a:lnTo>
                    <a:pt x="107" y="51"/>
                  </a:lnTo>
                  <a:lnTo>
                    <a:pt x="106" y="48"/>
                  </a:lnTo>
                  <a:lnTo>
                    <a:pt x="106" y="46"/>
                  </a:lnTo>
                  <a:lnTo>
                    <a:pt x="106" y="45"/>
                  </a:lnTo>
                  <a:lnTo>
                    <a:pt x="105" y="43"/>
                  </a:lnTo>
                  <a:lnTo>
                    <a:pt x="105" y="36"/>
                  </a:lnTo>
                  <a:lnTo>
                    <a:pt x="105" y="31"/>
                  </a:lnTo>
                  <a:lnTo>
                    <a:pt x="105" y="30"/>
                  </a:lnTo>
                  <a:lnTo>
                    <a:pt x="105" y="29"/>
                  </a:lnTo>
                  <a:lnTo>
                    <a:pt x="106" y="25"/>
                  </a:lnTo>
                  <a:lnTo>
                    <a:pt x="106" y="23"/>
                  </a:lnTo>
                  <a:lnTo>
                    <a:pt x="106" y="22"/>
                  </a:lnTo>
                  <a:lnTo>
                    <a:pt x="106" y="20"/>
                  </a:lnTo>
                  <a:lnTo>
                    <a:pt x="105" y="20"/>
                  </a:lnTo>
                  <a:lnTo>
                    <a:pt x="105" y="19"/>
                  </a:lnTo>
                  <a:lnTo>
                    <a:pt x="105" y="18"/>
                  </a:lnTo>
                  <a:lnTo>
                    <a:pt x="104" y="16"/>
                  </a:lnTo>
                  <a:lnTo>
                    <a:pt x="103" y="15"/>
                  </a:lnTo>
                  <a:lnTo>
                    <a:pt x="101" y="11"/>
                  </a:lnTo>
                  <a:lnTo>
                    <a:pt x="100" y="10"/>
                  </a:lnTo>
                  <a:lnTo>
                    <a:pt x="99" y="8"/>
                  </a:lnTo>
                  <a:lnTo>
                    <a:pt x="98" y="6"/>
                  </a:lnTo>
                  <a:lnTo>
                    <a:pt x="97" y="5"/>
                  </a:lnTo>
                  <a:lnTo>
                    <a:pt x="97" y="4"/>
                  </a:lnTo>
                  <a:lnTo>
                    <a:pt x="97" y="3"/>
                  </a:lnTo>
                  <a:lnTo>
                    <a:pt x="96" y="2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100" y="1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 60">
              <a:extLst>
                <a:ext uri="{FF2B5EF4-FFF2-40B4-BE49-F238E27FC236}">
                  <a16:creationId xmlns:a16="http://schemas.microsoft.com/office/drawing/2014/main" id="{1336E8A5-3392-18FE-30D2-143BC88FB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" y="3255"/>
              <a:ext cx="442" cy="291"/>
            </a:xfrm>
            <a:custGeom>
              <a:avLst/>
              <a:gdLst>
                <a:gd name="T0" fmla="*/ 131 w 442"/>
                <a:gd name="T1" fmla="*/ 34 h 291"/>
                <a:gd name="T2" fmla="*/ 150 w 442"/>
                <a:gd name="T3" fmla="*/ 29 h 291"/>
                <a:gd name="T4" fmla="*/ 179 w 442"/>
                <a:gd name="T5" fmla="*/ 25 h 291"/>
                <a:gd name="T6" fmla="*/ 192 w 442"/>
                <a:gd name="T7" fmla="*/ 43 h 291"/>
                <a:gd name="T8" fmla="*/ 213 w 442"/>
                <a:gd name="T9" fmla="*/ 58 h 291"/>
                <a:gd name="T10" fmla="*/ 242 w 442"/>
                <a:gd name="T11" fmla="*/ 75 h 291"/>
                <a:gd name="T12" fmla="*/ 261 w 442"/>
                <a:gd name="T13" fmla="*/ 74 h 291"/>
                <a:gd name="T14" fmla="*/ 282 w 442"/>
                <a:gd name="T15" fmla="*/ 75 h 291"/>
                <a:gd name="T16" fmla="*/ 287 w 442"/>
                <a:gd name="T17" fmla="*/ 63 h 291"/>
                <a:gd name="T18" fmla="*/ 298 w 442"/>
                <a:gd name="T19" fmla="*/ 47 h 291"/>
                <a:gd name="T20" fmla="*/ 325 w 442"/>
                <a:gd name="T21" fmla="*/ 31 h 291"/>
                <a:gd name="T22" fmla="*/ 336 w 442"/>
                <a:gd name="T23" fmla="*/ 20 h 291"/>
                <a:gd name="T24" fmla="*/ 359 w 442"/>
                <a:gd name="T25" fmla="*/ 29 h 291"/>
                <a:gd name="T26" fmla="*/ 389 w 442"/>
                <a:gd name="T27" fmla="*/ 47 h 291"/>
                <a:gd name="T28" fmla="*/ 408 w 442"/>
                <a:gd name="T29" fmla="*/ 34 h 291"/>
                <a:gd name="T30" fmla="*/ 427 w 442"/>
                <a:gd name="T31" fmla="*/ 6 h 291"/>
                <a:gd name="T32" fmla="*/ 441 w 442"/>
                <a:gd name="T33" fmla="*/ 1 h 291"/>
                <a:gd name="T34" fmla="*/ 430 w 442"/>
                <a:gd name="T35" fmla="*/ 40 h 291"/>
                <a:gd name="T36" fmla="*/ 426 w 442"/>
                <a:gd name="T37" fmla="*/ 62 h 291"/>
                <a:gd name="T38" fmla="*/ 416 w 442"/>
                <a:gd name="T39" fmla="*/ 87 h 291"/>
                <a:gd name="T40" fmla="*/ 402 w 442"/>
                <a:gd name="T41" fmla="*/ 96 h 291"/>
                <a:gd name="T42" fmla="*/ 412 w 442"/>
                <a:gd name="T43" fmla="*/ 133 h 291"/>
                <a:gd name="T44" fmla="*/ 409 w 442"/>
                <a:gd name="T45" fmla="*/ 161 h 291"/>
                <a:gd name="T46" fmla="*/ 416 w 442"/>
                <a:gd name="T47" fmla="*/ 185 h 291"/>
                <a:gd name="T48" fmla="*/ 429 w 442"/>
                <a:gd name="T49" fmla="*/ 210 h 291"/>
                <a:gd name="T50" fmla="*/ 436 w 442"/>
                <a:gd name="T51" fmla="*/ 220 h 291"/>
                <a:gd name="T52" fmla="*/ 440 w 442"/>
                <a:gd name="T53" fmla="*/ 241 h 291"/>
                <a:gd name="T54" fmla="*/ 433 w 442"/>
                <a:gd name="T55" fmla="*/ 265 h 291"/>
                <a:gd name="T56" fmla="*/ 423 w 442"/>
                <a:gd name="T57" fmla="*/ 278 h 291"/>
                <a:gd name="T58" fmla="*/ 390 w 442"/>
                <a:gd name="T59" fmla="*/ 267 h 291"/>
                <a:gd name="T60" fmla="*/ 363 w 442"/>
                <a:gd name="T61" fmla="*/ 268 h 291"/>
                <a:gd name="T62" fmla="*/ 351 w 442"/>
                <a:gd name="T63" fmla="*/ 283 h 291"/>
                <a:gd name="T64" fmla="*/ 325 w 442"/>
                <a:gd name="T65" fmla="*/ 284 h 291"/>
                <a:gd name="T66" fmla="*/ 311 w 442"/>
                <a:gd name="T67" fmla="*/ 290 h 291"/>
                <a:gd name="T68" fmla="*/ 290 w 442"/>
                <a:gd name="T69" fmla="*/ 275 h 291"/>
                <a:gd name="T70" fmla="*/ 261 w 442"/>
                <a:gd name="T71" fmla="*/ 255 h 291"/>
                <a:gd name="T72" fmla="*/ 224 w 442"/>
                <a:gd name="T73" fmla="*/ 242 h 291"/>
                <a:gd name="T74" fmla="*/ 207 w 442"/>
                <a:gd name="T75" fmla="*/ 230 h 291"/>
                <a:gd name="T76" fmla="*/ 188 w 442"/>
                <a:gd name="T77" fmla="*/ 221 h 291"/>
                <a:gd name="T78" fmla="*/ 173 w 442"/>
                <a:gd name="T79" fmla="*/ 241 h 291"/>
                <a:gd name="T80" fmla="*/ 148 w 442"/>
                <a:gd name="T81" fmla="*/ 233 h 291"/>
                <a:gd name="T82" fmla="*/ 143 w 442"/>
                <a:gd name="T83" fmla="*/ 218 h 291"/>
                <a:gd name="T84" fmla="*/ 123 w 442"/>
                <a:gd name="T85" fmla="*/ 209 h 291"/>
                <a:gd name="T86" fmla="*/ 109 w 442"/>
                <a:gd name="T87" fmla="*/ 199 h 291"/>
                <a:gd name="T88" fmla="*/ 89 w 442"/>
                <a:gd name="T89" fmla="*/ 186 h 291"/>
                <a:gd name="T90" fmla="*/ 68 w 442"/>
                <a:gd name="T91" fmla="*/ 186 h 291"/>
                <a:gd name="T92" fmla="*/ 38 w 442"/>
                <a:gd name="T93" fmla="*/ 157 h 291"/>
                <a:gd name="T94" fmla="*/ 46 w 442"/>
                <a:gd name="T95" fmla="*/ 131 h 291"/>
                <a:gd name="T96" fmla="*/ 41 w 442"/>
                <a:gd name="T97" fmla="*/ 114 h 291"/>
                <a:gd name="T98" fmla="*/ 28 w 442"/>
                <a:gd name="T99" fmla="*/ 99 h 291"/>
                <a:gd name="T100" fmla="*/ 15 w 442"/>
                <a:gd name="T101" fmla="*/ 93 h 291"/>
                <a:gd name="T102" fmla="*/ 0 w 442"/>
                <a:gd name="T103" fmla="*/ 82 h 291"/>
                <a:gd name="T104" fmla="*/ 4 w 442"/>
                <a:gd name="T105" fmla="*/ 74 h 291"/>
                <a:gd name="T106" fmla="*/ 11 w 442"/>
                <a:gd name="T107" fmla="*/ 61 h 291"/>
                <a:gd name="T108" fmla="*/ 11 w 442"/>
                <a:gd name="T109" fmla="*/ 52 h 291"/>
                <a:gd name="T110" fmla="*/ 22 w 442"/>
                <a:gd name="T111" fmla="*/ 51 h 291"/>
                <a:gd name="T112" fmla="*/ 40 w 442"/>
                <a:gd name="T113" fmla="*/ 45 h 291"/>
                <a:gd name="T114" fmla="*/ 57 w 442"/>
                <a:gd name="T115" fmla="*/ 32 h 291"/>
                <a:gd name="T116" fmla="*/ 73 w 442"/>
                <a:gd name="T117" fmla="*/ 36 h 291"/>
                <a:gd name="T118" fmla="*/ 94 w 442"/>
                <a:gd name="T119" fmla="*/ 38 h 291"/>
                <a:gd name="T120" fmla="*/ 111 w 442"/>
                <a:gd name="T121" fmla="*/ 24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2" h="291">
                  <a:moveTo>
                    <a:pt x="121" y="18"/>
                  </a:moveTo>
                  <a:lnTo>
                    <a:pt x="121" y="18"/>
                  </a:lnTo>
                  <a:lnTo>
                    <a:pt x="122" y="19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5" y="22"/>
                  </a:lnTo>
                  <a:lnTo>
                    <a:pt x="126" y="24"/>
                  </a:lnTo>
                  <a:lnTo>
                    <a:pt x="126" y="25"/>
                  </a:lnTo>
                  <a:lnTo>
                    <a:pt x="127" y="27"/>
                  </a:lnTo>
                  <a:lnTo>
                    <a:pt x="128" y="30"/>
                  </a:lnTo>
                  <a:lnTo>
                    <a:pt x="128" y="31"/>
                  </a:lnTo>
                  <a:lnTo>
                    <a:pt x="129" y="32"/>
                  </a:lnTo>
                  <a:lnTo>
                    <a:pt x="129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8" y="35"/>
                  </a:lnTo>
                  <a:lnTo>
                    <a:pt x="139" y="35"/>
                  </a:lnTo>
                  <a:lnTo>
                    <a:pt x="140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5" y="31"/>
                  </a:lnTo>
                  <a:lnTo>
                    <a:pt x="148" y="30"/>
                  </a:lnTo>
                  <a:lnTo>
                    <a:pt x="149" y="29"/>
                  </a:lnTo>
                  <a:lnTo>
                    <a:pt x="150" y="29"/>
                  </a:lnTo>
                  <a:lnTo>
                    <a:pt x="150" y="28"/>
                  </a:lnTo>
                  <a:lnTo>
                    <a:pt x="151" y="28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4"/>
                  </a:lnTo>
                  <a:lnTo>
                    <a:pt x="156" y="23"/>
                  </a:lnTo>
                  <a:lnTo>
                    <a:pt x="158" y="23"/>
                  </a:lnTo>
                  <a:lnTo>
                    <a:pt x="160" y="22"/>
                  </a:lnTo>
                  <a:lnTo>
                    <a:pt x="161" y="21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70" y="23"/>
                  </a:lnTo>
                  <a:lnTo>
                    <a:pt x="174" y="24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0" y="26"/>
                  </a:lnTo>
                  <a:lnTo>
                    <a:pt x="181" y="26"/>
                  </a:lnTo>
                  <a:lnTo>
                    <a:pt x="182" y="27"/>
                  </a:lnTo>
                  <a:lnTo>
                    <a:pt x="183" y="27"/>
                  </a:lnTo>
                  <a:lnTo>
                    <a:pt x="183" y="28"/>
                  </a:lnTo>
                  <a:lnTo>
                    <a:pt x="185" y="31"/>
                  </a:lnTo>
                  <a:lnTo>
                    <a:pt x="186" y="31"/>
                  </a:lnTo>
                  <a:lnTo>
                    <a:pt x="186" y="32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88" y="35"/>
                  </a:lnTo>
                  <a:lnTo>
                    <a:pt x="189" y="39"/>
                  </a:lnTo>
                  <a:lnTo>
                    <a:pt x="190" y="40"/>
                  </a:lnTo>
                  <a:lnTo>
                    <a:pt x="190" y="41"/>
                  </a:lnTo>
                  <a:lnTo>
                    <a:pt x="191" y="42"/>
                  </a:lnTo>
                  <a:lnTo>
                    <a:pt x="191" y="43"/>
                  </a:lnTo>
                  <a:lnTo>
                    <a:pt x="192" y="43"/>
                  </a:lnTo>
                  <a:lnTo>
                    <a:pt x="192" y="44"/>
                  </a:lnTo>
                  <a:lnTo>
                    <a:pt x="193" y="44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6"/>
                  </a:lnTo>
                  <a:lnTo>
                    <a:pt x="200" y="46"/>
                  </a:lnTo>
                  <a:lnTo>
                    <a:pt x="201" y="47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4" y="49"/>
                  </a:lnTo>
                  <a:lnTo>
                    <a:pt x="206" y="50"/>
                  </a:lnTo>
                  <a:lnTo>
                    <a:pt x="208" y="53"/>
                  </a:lnTo>
                  <a:lnTo>
                    <a:pt x="209" y="54"/>
                  </a:lnTo>
                  <a:lnTo>
                    <a:pt x="210" y="55"/>
                  </a:lnTo>
                  <a:lnTo>
                    <a:pt x="211" y="56"/>
                  </a:lnTo>
                  <a:lnTo>
                    <a:pt x="212" y="57"/>
                  </a:lnTo>
                  <a:lnTo>
                    <a:pt x="213" y="58"/>
                  </a:lnTo>
                  <a:lnTo>
                    <a:pt x="215" y="58"/>
                  </a:lnTo>
                  <a:lnTo>
                    <a:pt x="218" y="60"/>
                  </a:lnTo>
                  <a:lnTo>
                    <a:pt x="219" y="60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2"/>
                  </a:lnTo>
                  <a:lnTo>
                    <a:pt x="224" y="64"/>
                  </a:lnTo>
                  <a:lnTo>
                    <a:pt x="225" y="65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8" y="67"/>
                  </a:lnTo>
                  <a:lnTo>
                    <a:pt x="231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6" y="70"/>
                  </a:lnTo>
                  <a:lnTo>
                    <a:pt x="237" y="71"/>
                  </a:lnTo>
                  <a:lnTo>
                    <a:pt x="238" y="72"/>
                  </a:lnTo>
                  <a:lnTo>
                    <a:pt x="242" y="75"/>
                  </a:lnTo>
                  <a:lnTo>
                    <a:pt x="243" y="75"/>
                  </a:lnTo>
                  <a:lnTo>
                    <a:pt x="244" y="76"/>
                  </a:lnTo>
                  <a:lnTo>
                    <a:pt x="245" y="76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7" y="77"/>
                  </a:lnTo>
                  <a:lnTo>
                    <a:pt x="248" y="77"/>
                  </a:lnTo>
                  <a:lnTo>
                    <a:pt x="249" y="77"/>
                  </a:lnTo>
                  <a:lnTo>
                    <a:pt x="251" y="76"/>
                  </a:lnTo>
                  <a:lnTo>
                    <a:pt x="254" y="76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1" y="74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6" y="75"/>
                  </a:lnTo>
                  <a:lnTo>
                    <a:pt x="269" y="75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4" y="74"/>
                  </a:lnTo>
                  <a:lnTo>
                    <a:pt x="275" y="75"/>
                  </a:lnTo>
                  <a:lnTo>
                    <a:pt x="277" y="75"/>
                  </a:lnTo>
                  <a:lnTo>
                    <a:pt x="278" y="76"/>
                  </a:lnTo>
                  <a:lnTo>
                    <a:pt x="279" y="76"/>
                  </a:lnTo>
                  <a:lnTo>
                    <a:pt x="280" y="76"/>
                  </a:lnTo>
                  <a:lnTo>
                    <a:pt x="281" y="76"/>
                  </a:lnTo>
                  <a:lnTo>
                    <a:pt x="281" y="75"/>
                  </a:lnTo>
                  <a:lnTo>
                    <a:pt x="282" y="75"/>
                  </a:lnTo>
                  <a:lnTo>
                    <a:pt x="282" y="75"/>
                  </a:lnTo>
                  <a:lnTo>
                    <a:pt x="283" y="75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2" y="70"/>
                  </a:lnTo>
                  <a:lnTo>
                    <a:pt x="282" y="69"/>
                  </a:lnTo>
                  <a:lnTo>
                    <a:pt x="282" y="69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7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4" y="65"/>
                  </a:lnTo>
                  <a:lnTo>
                    <a:pt x="286" y="64"/>
                  </a:lnTo>
                  <a:lnTo>
                    <a:pt x="287" y="63"/>
                  </a:lnTo>
                  <a:lnTo>
                    <a:pt x="288" y="62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0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5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1" y="52"/>
                  </a:lnTo>
                  <a:lnTo>
                    <a:pt x="292" y="51"/>
                  </a:lnTo>
                  <a:lnTo>
                    <a:pt x="293" y="50"/>
                  </a:lnTo>
                  <a:lnTo>
                    <a:pt x="294" y="50"/>
                  </a:lnTo>
                  <a:lnTo>
                    <a:pt x="296" y="48"/>
                  </a:lnTo>
                  <a:lnTo>
                    <a:pt x="298" y="47"/>
                  </a:lnTo>
                  <a:lnTo>
                    <a:pt x="300" y="46"/>
                  </a:lnTo>
                  <a:lnTo>
                    <a:pt x="302" y="44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6" y="42"/>
                  </a:lnTo>
                  <a:lnTo>
                    <a:pt x="309" y="41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20" y="35"/>
                  </a:lnTo>
                  <a:lnTo>
                    <a:pt x="321" y="34"/>
                  </a:lnTo>
                  <a:lnTo>
                    <a:pt x="322" y="33"/>
                  </a:lnTo>
                  <a:lnTo>
                    <a:pt x="323" y="32"/>
                  </a:lnTo>
                  <a:lnTo>
                    <a:pt x="324" y="31"/>
                  </a:lnTo>
                  <a:lnTo>
                    <a:pt x="325" y="31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7" y="27"/>
                  </a:lnTo>
                  <a:lnTo>
                    <a:pt x="329" y="24"/>
                  </a:lnTo>
                  <a:lnTo>
                    <a:pt x="329" y="23"/>
                  </a:lnTo>
                  <a:lnTo>
                    <a:pt x="329" y="22"/>
                  </a:lnTo>
                  <a:lnTo>
                    <a:pt x="330" y="21"/>
                  </a:lnTo>
                  <a:lnTo>
                    <a:pt x="330" y="21"/>
                  </a:lnTo>
                  <a:lnTo>
                    <a:pt x="331" y="21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39" y="22"/>
                  </a:lnTo>
                  <a:lnTo>
                    <a:pt x="342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7" y="26"/>
                  </a:lnTo>
                  <a:lnTo>
                    <a:pt x="352" y="28"/>
                  </a:lnTo>
                  <a:lnTo>
                    <a:pt x="353" y="28"/>
                  </a:lnTo>
                  <a:lnTo>
                    <a:pt x="355" y="29"/>
                  </a:lnTo>
                  <a:lnTo>
                    <a:pt x="356" y="29"/>
                  </a:lnTo>
                  <a:lnTo>
                    <a:pt x="357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9" y="29"/>
                  </a:lnTo>
                  <a:lnTo>
                    <a:pt x="359" y="29"/>
                  </a:lnTo>
                  <a:lnTo>
                    <a:pt x="360" y="30"/>
                  </a:lnTo>
                  <a:lnTo>
                    <a:pt x="362" y="31"/>
                  </a:lnTo>
                  <a:lnTo>
                    <a:pt x="363" y="32"/>
                  </a:lnTo>
                  <a:lnTo>
                    <a:pt x="365" y="33"/>
                  </a:lnTo>
                  <a:lnTo>
                    <a:pt x="366" y="34"/>
                  </a:lnTo>
                  <a:lnTo>
                    <a:pt x="367" y="35"/>
                  </a:lnTo>
                  <a:lnTo>
                    <a:pt x="370" y="38"/>
                  </a:lnTo>
                  <a:lnTo>
                    <a:pt x="371" y="39"/>
                  </a:lnTo>
                  <a:lnTo>
                    <a:pt x="373" y="40"/>
                  </a:lnTo>
                  <a:lnTo>
                    <a:pt x="374" y="41"/>
                  </a:lnTo>
                  <a:lnTo>
                    <a:pt x="375" y="41"/>
                  </a:lnTo>
                  <a:lnTo>
                    <a:pt x="376" y="42"/>
                  </a:lnTo>
                  <a:lnTo>
                    <a:pt x="377" y="43"/>
                  </a:lnTo>
                  <a:lnTo>
                    <a:pt x="378" y="43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9" y="47"/>
                  </a:lnTo>
                  <a:lnTo>
                    <a:pt x="390" y="47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3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5" y="47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8" y="46"/>
                  </a:lnTo>
                  <a:lnTo>
                    <a:pt x="399" y="45"/>
                  </a:lnTo>
                  <a:lnTo>
                    <a:pt x="400" y="45"/>
                  </a:lnTo>
                  <a:lnTo>
                    <a:pt x="401" y="44"/>
                  </a:lnTo>
                  <a:lnTo>
                    <a:pt x="402" y="42"/>
                  </a:lnTo>
                  <a:lnTo>
                    <a:pt x="406" y="37"/>
                  </a:lnTo>
                  <a:lnTo>
                    <a:pt x="407" y="35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9" y="33"/>
                  </a:lnTo>
                  <a:lnTo>
                    <a:pt x="412" y="30"/>
                  </a:lnTo>
                  <a:lnTo>
                    <a:pt x="414" y="28"/>
                  </a:lnTo>
                  <a:lnTo>
                    <a:pt x="416" y="27"/>
                  </a:lnTo>
                  <a:lnTo>
                    <a:pt x="417" y="26"/>
                  </a:lnTo>
                  <a:lnTo>
                    <a:pt x="418" y="24"/>
                  </a:lnTo>
                  <a:lnTo>
                    <a:pt x="419" y="22"/>
                  </a:lnTo>
                  <a:lnTo>
                    <a:pt x="420" y="21"/>
                  </a:lnTo>
                  <a:lnTo>
                    <a:pt x="421" y="20"/>
                  </a:lnTo>
                  <a:lnTo>
                    <a:pt x="421" y="18"/>
                  </a:lnTo>
                  <a:lnTo>
                    <a:pt x="422" y="17"/>
                  </a:lnTo>
                  <a:lnTo>
                    <a:pt x="424" y="12"/>
                  </a:lnTo>
                  <a:lnTo>
                    <a:pt x="424" y="11"/>
                  </a:lnTo>
                  <a:lnTo>
                    <a:pt x="425" y="10"/>
                  </a:lnTo>
                  <a:lnTo>
                    <a:pt x="426" y="9"/>
                  </a:lnTo>
                  <a:lnTo>
                    <a:pt x="426" y="7"/>
                  </a:lnTo>
                  <a:lnTo>
                    <a:pt x="427" y="6"/>
                  </a:lnTo>
                  <a:lnTo>
                    <a:pt x="428" y="6"/>
                  </a:lnTo>
                  <a:lnTo>
                    <a:pt x="429" y="5"/>
                  </a:lnTo>
                  <a:lnTo>
                    <a:pt x="430" y="4"/>
                  </a:lnTo>
                  <a:lnTo>
                    <a:pt x="431" y="3"/>
                  </a:lnTo>
                  <a:lnTo>
                    <a:pt x="432" y="2"/>
                  </a:lnTo>
                  <a:lnTo>
                    <a:pt x="433" y="2"/>
                  </a:lnTo>
                  <a:lnTo>
                    <a:pt x="434" y="1"/>
                  </a:lnTo>
                  <a:lnTo>
                    <a:pt x="435" y="1"/>
                  </a:lnTo>
                  <a:lnTo>
                    <a:pt x="436" y="0"/>
                  </a:lnTo>
                  <a:lnTo>
                    <a:pt x="437" y="0"/>
                  </a:lnTo>
                  <a:lnTo>
                    <a:pt x="438" y="0"/>
                  </a:lnTo>
                  <a:lnTo>
                    <a:pt x="439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2" y="1"/>
                  </a:lnTo>
                  <a:lnTo>
                    <a:pt x="442" y="1"/>
                  </a:lnTo>
                  <a:lnTo>
                    <a:pt x="442" y="3"/>
                  </a:lnTo>
                  <a:lnTo>
                    <a:pt x="442" y="4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0" y="11"/>
                  </a:lnTo>
                  <a:lnTo>
                    <a:pt x="440" y="13"/>
                  </a:lnTo>
                  <a:lnTo>
                    <a:pt x="439" y="17"/>
                  </a:lnTo>
                  <a:lnTo>
                    <a:pt x="437" y="20"/>
                  </a:lnTo>
                  <a:lnTo>
                    <a:pt x="435" y="28"/>
                  </a:lnTo>
                  <a:lnTo>
                    <a:pt x="433" y="32"/>
                  </a:lnTo>
                  <a:lnTo>
                    <a:pt x="433" y="33"/>
                  </a:lnTo>
                  <a:lnTo>
                    <a:pt x="431" y="35"/>
                  </a:lnTo>
                  <a:lnTo>
                    <a:pt x="430" y="39"/>
                  </a:lnTo>
                  <a:lnTo>
                    <a:pt x="430" y="40"/>
                  </a:lnTo>
                  <a:lnTo>
                    <a:pt x="429" y="42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6"/>
                  </a:lnTo>
                  <a:lnTo>
                    <a:pt x="428" y="47"/>
                  </a:lnTo>
                  <a:lnTo>
                    <a:pt x="428" y="51"/>
                  </a:lnTo>
                  <a:lnTo>
                    <a:pt x="428" y="52"/>
                  </a:lnTo>
                  <a:lnTo>
                    <a:pt x="428" y="53"/>
                  </a:lnTo>
                  <a:lnTo>
                    <a:pt x="428" y="54"/>
                  </a:lnTo>
                  <a:lnTo>
                    <a:pt x="428" y="55"/>
                  </a:lnTo>
                  <a:lnTo>
                    <a:pt x="427" y="58"/>
                  </a:lnTo>
                  <a:lnTo>
                    <a:pt x="427" y="59"/>
                  </a:lnTo>
                  <a:lnTo>
                    <a:pt x="426" y="60"/>
                  </a:lnTo>
                  <a:lnTo>
                    <a:pt x="426" y="61"/>
                  </a:lnTo>
                  <a:lnTo>
                    <a:pt x="426" y="62"/>
                  </a:lnTo>
                  <a:lnTo>
                    <a:pt x="426" y="62"/>
                  </a:lnTo>
                  <a:lnTo>
                    <a:pt x="427" y="63"/>
                  </a:lnTo>
                  <a:lnTo>
                    <a:pt x="427" y="66"/>
                  </a:lnTo>
                  <a:lnTo>
                    <a:pt x="427" y="67"/>
                  </a:lnTo>
                  <a:lnTo>
                    <a:pt x="428" y="70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8" y="74"/>
                  </a:lnTo>
                  <a:lnTo>
                    <a:pt x="427" y="75"/>
                  </a:lnTo>
                  <a:lnTo>
                    <a:pt x="427" y="76"/>
                  </a:lnTo>
                  <a:lnTo>
                    <a:pt x="426" y="77"/>
                  </a:lnTo>
                  <a:lnTo>
                    <a:pt x="426" y="78"/>
                  </a:lnTo>
                  <a:lnTo>
                    <a:pt x="426" y="78"/>
                  </a:lnTo>
                  <a:lnTo>
                    <a:pt x="425" y="79"/>
                  </a:lnTo>
                  <a:lnTo>
                    <a:pt x="424" y="79"/>
                  </a:lnTo>
                  <a:lnTo>
                    <a:pt x="423" y="81"/>
                  </a:lnTo>
                  <a:lnTo>
                    <a:pt x="420" y="83"/>
                  </a:lnTo>
                  <a:lnTo>
                    <a:pt x="419" y="84"/>
                  </a:lnTo>
                  <a:lnTo>
                    <a:pt x="416" y="87"/>
                  </a:lnTo>
                  <a:lnTo>
                    <a:pt x="416" y="88"/>
                  </a:lnTo>
                  <a:lnTo>
                    <a:pt x="415" y="89"/>
                  </a:lnTo>
                  <a:lnTo>
                    <a:pt x="414" y="90"/>
                  </a:lnTo>
                  <a:lnTo>
                    <a:pt x="413" y="91"/>
                  </a:lnTo>
                  <a:lnTo>
                    <a:pt x="412" y="91"/>
                  </a:lnTo>
                  <a:lnTo>
                    <a:pt x="412" y="92"/>
                  </a:lnTo>
                  <a:lnTo>
                    <a:pt x="411" y="92"/>
                  </a:lnTo>
                  <a:lnTo>
                    <a:pt x="410" y="93"/>
                  </a:lnTo>
                  <a:lnTo>
                    <a:pt x="410" y="93"/>
                  </a:lnTo>
                  <a:lnTo>
                    <a:pt x="409" y="93"/>
                  </a:lnTo>
                  <a:lnTo>
                    <a:pt x="406" y="94"/>
                  </a:lnTo>
                  <a:lnTo>
                    <a:pt x="405" y="94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2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2" y="97"/>
                  </a:lnTo>
                  <a:lnTo>
                    <a:pt x="401" y="98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2" y="101"/>
                  </a:lnTo>
                  <a:lnTo>
                    <a:pt x="404" y="105"/>
                  </a:lnTo>
                  <a:lnTo>
                    <a:pt x="405" y="108"/>
                  </a:lnTo>
                  <a:lnTo>
                    <a:pt x="405" y="110"/>
                  </a:lnTo>
                  <a:lnTo>
                    <a:pt x="406" y="115"/>
                  </a:lnTo>
                  <a:lnTo>
                    <a:pt x="407" y="117"/>
                  </a:lnTo>
                  <a:lnTo>
                    <a:pt x="407" y="119"/>
                  </a:lnTo>
                  <a:lnTo>
                    <a:pt x="408" y="121"/>
                  </a:lnTo>
                  <a:lnTo>
                    <a:pt x="410" y="126"/>
                  </a:lnTo>
                  <a:lnTo>
                    <a:pt x="411" y="131"/>
                  </a:lnTo>
                  <a:lnTo>
                    <a:pt x="412" y="132"/>
                  </a:lnTo>
                  <a:lnTo>
                    <a:pt x="412" y="133"/>
                  </a:lnTo>
                  <a:lnTo>
                    <a:pt x="412" y="135"/>
                  </a:lnTo>
                  <a:lnTo>
                    <a:pt x="413" y="139"/>
                  </a:lnTo>
                  <a:lnTo>
                    <a:pt x="413" y="142"/>
                  </a:lnTo>
                  <a:lnTo>
                    <a:pt x="413" y="143"/>
                  </a:lnTo>
                  <a:lnTo>
                    <a:pt x="413" y="145"/>
                  </a:lnTo>
                  <a:lnTo>
                    <a:pt x="414" y="148"/>
                  </a:lnTo>
                  <a:lnTo>
                    <a:pt x="414" y="150"/>
                  </a:lnTo>
                  <a:lnTo>
                    <a:pt x="414" y="151"/>
                  </a:lnTo>
                  <a:lnTo>
                    <a:pt x="414" y="151"/>
                  </a:lnTo>
                  <a:lnTo>
                    <a:pt x="414" y="152"/>
                  </a:lnTo>
                  <a:lnTo>
                    <a:pt x="414" y="153"/>
                  </a:lnTo>
                  <a:lnTo>
                    <a:pt x="413" y="154"/>
                  </a:lnTo>
                  <a:lnTo>
                    <a:pt x="413" y="154"/>
                  </a:lnTo>
                  <a:lnTo>
                    <a:pt x="411" y="157"/>
                  </a:lnTo>
                  <a:lnTo>
                    <a:pt x="410" y="158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09" y="161"/>
                  </a:lnTo>
                  <a:lnTo>
                    <a:pt x="409" y="162"/>
                  </a:lnTo>
                  <a:lnTo>
                    <a:pt x="409" y="163"/>
                  </a:lnTo>
                  <a:lnTo>
                    <a:pt x="408" y="164"/>
                  </a:lnTo>
                  <a:lnTo>
                    <a:pt x="408" y="165"/>
                  </a:lnTo>
                  <a:lnTo>
                    <a:pt x="408" y="166"/>
                  </a:lnTo>
                  <a:lnTo>
                    <a:pt x="408" y="167"/>
                  </a:lnTo>
                  <a:lnTo>
                    <a:pt x="408" y="169"/>
                  </a:lnTo>
                  <a:lnTo>
                    <a:pt x="409" y="170"/>
                  </a:lnTo>
                  <a:lnTo>
                    <a:pt x="409" y="171"/>
                  </a:lnTo>
                  <a:lnTo>
                    <a:pt x="409" y="172"/>
                  </a:lnTo>
                  <a:lnTo>
                    <a:pt x="410" y="173"/>
                  </a:lnTo>
                  <a:lnTo>
                    <a:pt x="412" y="176"/>
                  </a:lnTo>
                  <a:lnTo>
                    <a:pt x="413" y="177"/>
                  </a:lnTo>
                  <a:lnTo>
                    <a:pt x="413" y="178"/>
                  </a:lnTo>
                  <a:lnTo>
                    <a:pt x="413" y="179"/>
                  </a:lnTo>
                  <a:lnTo>
                    <a:pt x="414" y="180"/>
                  </a:lnTo>
                  <a:lnTo>
                    <a:pt x="415" y="183"/>
                  </a:lnTo>
                  <a:lnTo>
                    <a:pt x="416" y="185"/>
                  </a:lnTo>
                  <a:lnTo>
                    <a:pt x="416" y="187"/>
                  </a:lnTo>
                  <a:lnTo>
                    <a:pt x="417" y="189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21" y="193"/>
                  </a:lnTo>
                  <a:lnTo>
                    <a:pt x="422" y="195"/>
                  </a:lnTo>
                  <a:lnTo>
                    <a:pt x="425" y="198"/>
                  </a:lnTo>
                  <a:lnTo>
                    <a:pt x="425" y="199"/>
                  </a:lnTo>
                  <a:lnTo>
                    <a:pt x="426" y="199"/>
                  </a:lnTo>
                  <a:lnTo>
                    <a:pt x="426" y="200"/>
                  </a:lnTo>
                  <a:lnTo>
                    <a:pt x="427" y="201"/>
                  </a:lnTo>
                  <a:lnTo>
                    <a:pt x="427" y="202"/>
                  </a:lnTo>
                  <a:lnTo>
                    <a:pt x="427" y="205"/>
                  </a:lnTo>
                  <a:lnTo>
                    <a:pt x="427" y="206"/>
                  </a:lnTo>
                  <a:lnTo>
                    <a:pt x="428" y="206"/>
                  </a:lnTo>
                  <a:lnTo>
                    <a:pt x="429" y="209"/>
                  </a:lnTo>
                  <a:lnTo>
                    <a:pt x="429" y="210"/>
                  </a:lnTo>
                  <a:lnTo>
                    <a:pt x="429" y="210"/>
                  </a:lnTo>
                  <a:lnTo>
                    <a:pt x="429" y="211"/>
                  </a:lnTo>
                  <a:lnTo>
                    <a:pt x="429" y="212"/>
                  </a:lnTo>
                  <a:lnTo>
                    <a:pt x="429" y="213"/>
                  </a:lnTo>
                  <a:lnTo>
                    <a:pt x="428" y="215"/>
                  </a:lnTo>
                  <a:lnTo>
                    <a:pt x="428" y="216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8"/>
                  </a:lnTo>
                  <a:lnTo>
                    <a:pt x="428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0" y="218"/>
                  </a:lnTo>
                  <a:lnTo>
                    <a:pt x="431" y="218"/>
                  </a:lnTo>
                  <a:lnTo>
                    <a:pt x="432" y="219"/>
                  </a:lnTo>
                  <a:lnTo>
                    <a:pt x="435" y="219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7" y="220"/>
                  </a:lnTo>
                  <a:lnTo>
                    <a:pt x="438" y="221"/>
                  </a:lnTo>
                  <a:lnTo>
                    <a:pt x="439" y="221"/>
                  </a:lnTo>
                  <a:lnTo>
                    <a:pt x="439" y="222"/>
                  </a:lnTo>
                  <a:lnTo>
                    <a:pt x="440" y="223"/>
                  </a:lnTo>
                  <a:lnTo>
                    <a:pt x="440" y="223"/>
                  </a:lnTo>
                  <a:lnTo>
                    <a:pt x="441" y="224"/>
                  </a:lnTo>
                  <a:lnTo>
                    <a:pt x="441" y="225"/>
                  </a:lnTo>
                  <a:lnTo>
                    <a:pt x="441" y="226"/>
                  </a:lnTo>
                  <a:lnTo>
                    <a:pt x="441" y="227"/>
                  </a:lnTo>
                  <a:lnTo>
                    <a:pt x="442" y="231"/>
                  </a:lnTo>
                  <a:lnTo>
                    <a:pt x="442" y="232"/>
                  </a:lnTo>
                  <a:lnTo>
                    <a:pt x="442" y="233"/>
                  </a:lnTo>
                  <a:lnTo>
                    <a:pt x="442" y="235"/>
                  </a:lnTo>
                  <a:lnTo>
                    <a:pt x="442" y="237"/>
                  </a:lnTo>
                  <a:lnTo>
                    <a:pt x="441" y="238"/>
                  </a:lnTo>
                  <a:lnTo>
                    <a:pt x="441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0" y="242"/>
                  </a:lnTo>
                  <a:lnTo>
                    <a:pt x="439" y="243"/>
                  </a:lnTo>
                  <a:lnTo>
                    <a:pt x="437" y="246"/>
                  </a:lnTo>
                  <a:lnTo>
                    <a:pt x="434" y="249"/>
                  </a:lnTo>
                  <a:lnTo>
                    <a:pt x="434" y="250"/>
                  </a:lnTo>
                  <a:lnTo>
                    <a:pt x="433" y="251"/>
                  </a:lnTo>
                  <a:lnTo>
                    <a:pt x="432" y="252"/>
                  </a:lnTo>
                  <a:lnTo>
                    <a:pt x="432" y="253"/>
                  </a:lnTo>
                  <a:lnTo>
                    <a:pt x="431" y="254"/>
                  </a:lnTo>
                  <a:lnTo>
                    <a:pt x="431" y="255"/>
                  </a:lnTo>
                  <a:lnTo>
                    <a:pt x="431" y="256"/>
                  </a:lnTo>
                  <a:lnTo>
                    <a:pt x="431" y="258"/>
                  </a:lnTo>
                  <a:lnTo>
                    <a:pt x="431" y="259"/>
                  </a:lnTo>
                  <a:lnTo>
                    <a:pt x="431" y="259"/>
                  </a:lnTo>
                  <a:lnTo>
                    <a:pt x="431" y="260"/>
                  </a:lnTo>
                  <a:lnTo>
                    <a:pt x="432" y="262"/>
                  </a:lnTo>
                  <a:lnTo>
                    <a:pt x="433" y="265"/>
                  </a:lnTo>
                  <a:lnTo>
                    <a:pt x="433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9"/>
                  </a:lnTo>
                  <a:lnTo>
                    <a:pt x="432" y="271"/>
                  </a:lnTo>
                  <a:lnTo>
                    <a:pt x="431" y="274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1" y="279"/>
                  </a:lnTo>
                  <a:lnTo>
                    <a:pt x="430" y="279"/>
                  </a:lnTo>
                  <a:lnTo>
                    <a:pt x="430" y="279"/>
                  </a:lnTo>
                  <a:lnTo>
                    <a:pt x="429" y="279"/>
                  </a:lnTo>
                  <a:lnTo>
                    <a:pt x="427" y="279"/>
                  </a:lnTo>
                  <a:lnTo>
                    <a:pt x="426" y="279"/>
                  </a:lnTo>
                  <a:lnTo>
                    <a:pt x="425" y="279"/>
                  </a:lnTo>
                  <a:lnTo>
                    <a:pt x="423" y="278"/>
                  </a:lnTo>
                  <a:lnTo>
                    <a:pt x="421" y="278"/>
                  </a:lnTo>
                  <a:lnTo>
                    <a:pt x="420" y="277"/>
                  </a:lnTo>
                  <a:lnTo>
                    <a:pt x="418" y="277"/>
                  </a:lnTo>
                  <a:lnTo>
                    <a:pt x="416" y="276"/>
                  </a:lnTo>
                  <a:lnTo>
                    <a:pt x="415" y="275"/>
                  </a:lnTo>
                  <a:lnTo>
                    <a:pt x="413" y="275"/>
                  </a:lnTo>
                  <a:lnTo>
                    <a:pt x="406" y="271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9"/>
                  </a:lnTo>
                  <a:lnTo>
                    <a:pt x="400" y="269"/>
                  </a:lnTo>
                  <a:lnTo>
                    <a:pt x="398" y="268"/>
                  </a:lnTo>
                  <a:lnTo>
                    <a:pt x="397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2" y="267"/>
                  </a:lnTo>
                  <a:lnTo>
                    <a:pt x="391" y="267"/>
                  </a:lnTo>
                  <a:lnTo>
                    <a:pt x="390" y="267"/>
                  </a:lnTo>
                  <a:lnTo>
                    <a:pt x="388" y="268"/>
                  </a:lnTo>
                  <a:lnTo>
                    <a:pt x="386" y="268"/>
                  </a:lnTo>
                  <a:lnTo>
                    <a:pt x="385" y="268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3" y="268"/>
                  </a:lnTo>
                  <a:lnTo>
                    <a:pt x="380" y="267"/>
                  </a:lnTo>
                  <a:lnTo>
                    <a:pt x="379" y="267"/>
                  </a:lnTo>
                  <a:lnTo>
                    <a:pt x="378" y="267"/>
                  </a:lnTo>
                  <a:lnTo>
                    <a:pt x="377" y="267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70" y="268"/>
                  </a:lnTo>
                  <a:lnTo>
                    <a:pt x="368" y="268"/>
                  </a:lnTo>
                  <a:lnTo>
                    <a:pt x="365" y="268"/>
                  </a:lnTo>
                  <a:lnTo>
                    <a:pt x="363" y="268"/>
                  </a:lnTo>
                  <a:lnTo>
                    <a:pt x="362" y="267"/>
                  </a:lnTo>
                  <a:lnTo>
                    <a:pt x="359" y="267"/>
                  </a:lnTo>
                  <a:lnTo>
                    <a:pt x="358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6" y="267"/>
                  </a:lnTo>
                  <a:lnTo>
                    <a:pt x="356" y="268"/>
                  </a:lnTo>
                  <a:lnTo>
                    <a:pt x="355" y="269"/>
                  </a:lnTo>
                  <a:lnTo>
                    <a:pt x="355" y="271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2" y="281"/>
                  </a:lnTo>
                  <a:lnTo>
                    <a:pt x="352" y="282"/>
                  </a:lnTo>
                  <a:lnTo>
                    <a:pt x="351" y="283"/>
                  </a:lnTo>
                  <a:lnTo>
                    <a:pt x="351" y="283"/>
                  </a:lnTo>
                  <a:lnTo>
                    <a:pt x="350" y="283"/>
                  </a:lnTo>
                  <a:lnTo>
                    <a:pt x="350" y="283"/>
                  </a:lnTo>
                  <a:lnTo>
                    <a:pt x="349" y="284"/>
                  </a:lnTo>
                  <a:lnTo>
                    <a:pt x="348" y="284"/>
                  </a:lnTo>
                  <a:lnTo>
                    <a:pt x="346" y="284"/>
                  </a:lnTo>
                  <a:lnTo>
                    <a:pt x="344" y="284"/>
                  </a:lnTo>
                  <a:lnTo>
                    <a:pt x="343" y="284"/>
                  </a:lnTo>
                  <a:lnTo>
                    <a:pt x="341" y="284"/>
                  </a:lnTo>
                  <a:lnTo>
                    <a:pt x="337" y="283"/>
                  </a:lnTo>
                  <a:lnTo>
                    <a:pt x="336" y="283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4" y="283"/>
                  </a:lnTo>
                  <a:lnTo>
                    <a:pt x="331" y="283"/>
                  </a:lnTo>
                  <a:lnTo>
                    <a:pt x="329" y="284"/>
                  </a:lnTo>
                  <a:lnTo>
                    <a:pt x="327" y="284"/>
                  </a:lnTo>
                  <a:lnTo>
                    <a:pt x="326" y="284"/>
                  </a:lnTo>
                  <a:lnTo>
                    <a:pt x="325" y="284"/>
                  </a:lnTo>
                  <a:lnTo>
                    <a:pt x="324" y="284"/>
                  </a:lnTo>
                  <a:lnTo>
                    <a:pt x="324" y="284"/>
                  </a:lnTo>
                  <a:lnTo>
                    <a:pt x="323" y="283"/>
                  </a:lnTo>
                  <a:lnTo>
                    <a:pt x="322" y="283"/>
                  </a:lnTo>
                  <a:lnTo>
                    <a:pt x="322" y="283"/>
                  </a:lnTo>
                  <a:lnTo>
                    <a:pt x="321" y="283"/>
                  </a:lnTo>
                  <a:lnTo>
                    <a:pt x="321" y="283"/>
                  </a:lnTo>
                  <a:lnTo>
                    <a:pt x="320" y="283"/>
                  </a:lnTo>
                  <a:lnTo>
                    <a:pt x="319" y="283"/>
                  </a:lnTo>
                  <a:lnTo>
                    <a:pt x="318" y="283"/>
                  </a:lnTo>
                  <a:lnTo>
                    <a:pt x="317" y="284"/>
                  </a:lnTo>
                  <a:lnTo>
                    <a:pt x="316" y="284"/>
                  </a:lnTo>
                  <a:lnTo>
                    <a:pt x="316" y="285"/>
                  </a:lnTo>
                  <a:lnTo>
                    <a:pt x="315" y="285"/>
                  </a:lnTo>
                  <a:lnTo>
                    <a:pt x="314" y="287"/>
                  </a:lnTo>
                  <a:lnTo>
                    <a:pt x="313" y="288"/>
                  </a:lnTo>
                  <a:lnTo>
                    <a:pt x="311" y="289"/>
                  </a:lnTo>
                  <a:lnTo>
                    <a:pt x="311" y="290"/>
                  </a:lnTo>
                  <a:lnTo>
                    <a:pt x="310" y="290"/>
                  </a:lnTo>
                  <a:lnTo>
                    <a:pt x="310" y="291"/>
                  </a:lnTo>
                  <a:lnTo>
                    <a:pt x="309" y="291"/>
                  </a:lnTo>
                  <a:lnTo>
                    <a:pt x="309" y="291"/>
                  </a:lnTo>
                  <a:lnTo>
                    <a:pt x="308" y="291"/>
                  </a:lnTo>
                  <a:lnTo>
                    <a:pt x="308" y="291"/>
                  </a:lnTo>
                  <a:lnTo>
                    <a:pt x="307" y="291"/>
                  </a:lnTo>
                  <a:lnTo>
                    <a:pt x="307" y="290"/>
                  </a:lnTo>
                  <a:lnTo>
                    <a:pt x="307" y="290"/>
                  </a:lnTo>
                  <a:lnTo>
                    <a:pt x="303" y="284"/>
                  </a:lnTo>
                  <a:lnTo>
                    <a:pt x="302" y="283"/>
                  </a:lnTo>
                  <a:lnTo>
                    <a:pt x="301" y="282"/>
                  </a:lnTo>
                  <a:lnTo>
                    <a:pt x="300" y="281"/>
                  </a:lnTo>
                  <a:lnTo>
                    <a:pt x="299" y="281"/>
                  </a:lnTo>
                  <a:lnTo>
                    <a:pt x="296" y="279"/>
                  </a:lnTo>
                  <a:lnTo>
                    <a:pt x="293" y="277"/>
                  </a:lnTo>
                  <a:lnTo>
                    <a:pt x="292" y="276"/>
                  </a:lnTo>
                  <a:lnTo>
                    <a:pt x="290" y="275"/>
                  </a:lnTo>
                  <a:lnTo>
                    <a:pt x="289" y="275"/>
                  </a:lnTo>
                  <a:lnTo>
                    <a:pt x="285" y="274"/>
                  </a:lnTo>
                  <a:lnTo>
                    <a:pt x="281" y="272"/>
                  </a:lnTo>
                  <a:lnTo>
                    <a:pt x="280" y="272"/>
                  </a:lnTo>
                  <a:lnTo>
                    <a:pt x="278" y="272"/>
                  </a:lnTo>
                  <a:lnTo>
                    <a:pt x="277" y="271"/>
                  </a:lnTo>
                  <a:lnTo>
                    <a:pt x="276" y="271"/>
                  </a:lnTo>
                  <a:lnTo>
                    <a:pt x="276" y="271"/>
                  </a:lnTo>
                  <a:lnTo>
                    <a:pt x="275" y="270"/>
                  </a:lnTo>
                  <a:lnTo>
                    <a:pt x="273" y="269"/>
                  </a:lnTo>
                  <a:lnTo>
                    <a:pt x="272" y="267"/>
                  </a:lnTo>
                  <a:lnTo>
                    <a:pt x="271" y="266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2"/>
                  </a:lnTo>
                  <a:lnTo>
                    <a:pt x="264" y="258"/>
                  </a:lnTo>
                  <a:lnTo>
                    <a:pt x="262" y="256"/>
                  </a:lnTo>
                  <a:lnTo>
                    <a:pt x="261" y="255"/>
                  </a:lnTo>
                  <a:lnTo>
                    <a:pt x="260" y="254"/>
                  </a:lnTo>
                  <a:lnTo>
                    <a:pt x="258" y="254"/>
                  </a:lnTo>
                  <a:lnTo>
                    <a:pt x="257" y="253"/>
                  </a:lnTo>
                  <a:lnTo>
                    <a:pt x="256" y="252"/>
                  </a:lnTo>
                  <a:lnTo>
                    <a:pt x="252" y="250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6" y="247"/>
                  </a:lnTo>
                  <a:lnTo>
                    <a:pt x="243" y="246"/>
                  </a:lnTo>
                  <a:lnTo>
                    <a:pt x="239" y="245"/>
                  </a:lnTo>
                  <a:lnTo>
                    <a:pt x="235" y="244"/>
                  </a:lnTo>
                  <a:lnTo>
                    <a:pt x="234" y="244"/>
                  </a:lnTo>
                  <a:lnTo>
                    <a:pt x="232" y="243"/>
                  </a:lnTo>
                  <a:lnTo>
                    <a:pt x="231" y="243"/>
                  </a:lnTo>
                  <a:lnTo>
                    <a:pt x="230" y="242"/>
                  </a:lnTo>
                  <a:lnTo>
                    <a:pt x="229" y="242"/>
                  </a:lnTo>
                  <a:lnTo>
                    <a:pt x="228" y="242"/>
                  </a:lnTo>
                  <a:lnTo>
                    <a:pt x="224" y="242"/>
                  </a:lnTo>
                  <a:lnTo>
                    <a:pt x="222" y="242"/>
                  </a:lnTo>
                  <a:lnTo>
                    <a:pt x="221" y="242"/>
                  </a:lnTo>
                  <a:lnTo>
                    <a:pt x="221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19" y="241"/>
                  </a:lnTo>
                  <a:lnTo>
                    <a:pt x="219" y="240"/>
                  </a:lnTo>
                  <a:lnTo>
                    <a:pt x="218" y="240"/>
                  </a:lnTo>
                  <a:lnTo>
                    <a:pt x="216" y="238"/>
                  </a:lnTo>
                  <a:lnTo>
                    <a:pt x="214" y="236"/>
                  </a:lnTo>
                  <a:lnTo>
                    <a:pt x="213" y="235"/>
                  </a:lnTo>
                  <a:lnTo>
                    <a:pt x="212" y="233"/>
                  </a:lnTo>
                  <a:lnTo>
                    <a:pt x="211" y="233"/>
                  </a:lnTo>
                  <a:lnTo>
                    <a:pt x="210" y="232"/>
                  </a:lnTo>
                  <a:lnTo>
                    <a:pt x="209" y="232"/>
                  </a:lnTo>
                  <a:lnTo>
                    <a:pt x="209" y="231"/>
                  </a:lnTo>
                  <a:lnTo>
                    <a:pt x="208" y="231"/>
                  </a:lnTo>
                  <a:lnTo>
                    <a:pt x="207" y="230"/>
                  </a:lnTo>
                  <a:lnTo>
                    <a:pt x="205" y="230"/>
                  </a:lnTo>
                  <a:lnTo>
                    <a:pt x="202" y="230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6" y="227"/>
                  </a:lnTo>
                  <a:lnTo>
                    <a:pt x="195" y="227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3" y="225"/>
                  </a:lnTo>
                  <a:lnTo>
                    <a:pt x="192" y="224"/>
                  </a:lnTo>
                  <a:lnTo>
                    <a:pt x="191" y="223"/>
                  </a:lnTo>
                  <a:lnTo>
                    <a:pt x="190" y="222"/>
                  </a:lnTo>
                  <a:lnTo>
                    <a:pt x="190" y="221"/>
                  </a:lnTo>
                  <a:lnTo>
                    <a:pt x="189" y="221"/>
                  </a:lnTo>
                  <a:lnTo>
                    <a:pt x="189" y="221"/>
                  </a:lnTo>
                  <a:lnTo>
                    <a:pt x="188" y="221"/>
                  </a:lnTo>
                  <a:lnTo>
                    <a:pt x="188" y="221"/>
                  </a:lnTo>
                  <a:lnTo>
                    <a:pt x="187" y="221"/>
                  </a:lnTo>
                  <a:lnTo>
                    <a:pt x="186" y="222"/>
                  </a:lnTo>
                  <a:lnTo>
                    <a:pt x="185" y="223"/>
                  </a:lnTo>
                  <a:lnTo>
                    <a:pt x="184" y="224"/>
                  </a:lnTo>
                  <a:lnTo>
                    <a:pt x="183" y="225"/>
                  </a:lnTo>
                  <a:lnTo>
                    <a:pt x="182" y="226"/>
                  </a:lnTo>
                  <a:lnTo>
                    <a:pt x="181" y="228"/>
                  </a:lnTo>
                  <a:lnTo>
                    <a:pt x="180" y="230"/>
                  </a:lnTo>
                  <a:lnTo>
                    <a:pt x="179" y="233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8" y="235"/>
                  </a:lnTo>
                  <a:lnTo>
                    <a:pt x="176" y="237"/>
                  </a:lnTo>
                  <a:lnTo>
                    <a:pt x="175" y="240"/>
                  </a:lnTo>
                  <a:lnTo>
                    <a:pt x="174" y="240"/>
                  </a:lnTo>
                  <a:lnTo>
                    <a:pt x="174" y="241"/>
                  </a:lnTo>
                  <a:lnTo>
                    <a:pt x="173" y="241"/>
                  </a:lnTo>
                  <a:lnTo>
                    <a:pt x="173" y="241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6" y="242"/>
                  </a:lnTo>
                  <a:lnTo>
                    <a:pt x="165" y="242"/>
                  </a:lnTo>
                  <a:lnTo>
                    <a:pt x="164" y="242"/>
                  </a:lnTo>
                  <a:lnTo>
                    <a:pt x="164" y="241"/>
                  </a:lnTo>
                  <a:lnTo>
                    <a:pt x="163" y="241"/>
                  </a:lnTo>
                  <a:lnTo>
                    <a:pt x="161" y="240"/>
                  </a:lnTo>
                  <a:lnTo>
                    <a:pt x="158" y="239"/>
                  </a:lnTo>
                  <a:lnTo>
                    <a:pt x="152" y="236"/>
                  </a:lnTo>
                  <a:lnTo>
                    <a:pt x="150" y="235"/>
                  </a:lnTo>
                  <a:lnTo>
                    <a:pt x="150" y="234"/>
                  </a:lnTo>
                  <a:lnTo>
                    <a:pt x="149" y="234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6" y="231"/>
                  </a:lnTo>
                  <a:lnTo>
                    <a:pt x="146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5" y="227"/>
                  </a:lnTo>
                  <a:lnTo>
                    <a:pt x="146" y="226"/>
                  </a:lnTo>
                  <a:lnTo>
                    <a:pt x="146" y="225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5" y="219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7"/>
                  </a:lnTo>
                  <a:lnTo>
                    <a:pt x="140" y="217"/>
                  </a:lnTo>
                  <a:lnTo>
                    <a:pt x="139" y="216"/>
                  </a:lnTo>
                  <a:lnTo>
                    <a:pt x="138" y="216"/>
                  </a:lnTo>
                  <a:lnTo>
                    <a:pt x="137" y="215"/>
                  </a:lnTo>
                  <a:lnTo>
                    <a:pt x="135" y="214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1" y="212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7" y="211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3" y="210"/>
                  </a:lnTo>
                  <a:lnTo>
                    <a:pt x="123" y="209"/>
                  </a:lnTo>
                  <a:lnTo>
                    <a:pt x="122" y="209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3"/>
                  </a:lnTo>
                  <a:lnTo>
                    <a:pt x="120" y="203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19" y="202"/>
                  </a:lnTo>
                  <a:lnTo>
                    <a:pt x="119" y="201"/>
                  </a:lnTo>
                  <a:lnTo>
                    <a:pt x="118" y="201"/>
                  </a:lnTo>
                  <a:lnTo>
                    <a:pt x="115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9" y="199"/>
                  </a:lnTo>
                  <a:lnTo>
                    <a:pt x="108" y="198"/>
                  </a:lnTo>
                  <a:lnTo>
                    <a:pt x="107" y="198"/>
                  </a:lnTo>
                  <a:lnTo>
                    <a:pt x="106" y="197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4" y="195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0" y="191"/>
                  </a:lnTo>
                  <a:lnTo>
                    <a:pt x="99" y="191"/>
                  </a:lnTo>
                  <a:lnTo>
                    <a:pt x="98" y="190"/>
                  </a:lnTo>
                  <a:lnTo>
                    <a:pt x="95" y="189"/>
                  </a:lnTo>
                  <a:lnTo>
                    <a:pt x="94" y="189"/>
                  </a:lnTo>
                  <a:lnTo>
                    <a:pt x="93" y="188"/>
                  </a:lnTo>
                  <a:lnTo>
                    <a:pt x="93" y="187"/>
                  </a:lnTo>
                  <a:lnTo>
                    <a:pt x="92" y="187"/>
                  </a:lnTo>
                  <a:lnTo>
                    <a:pt x="91" y="187"/>
                  </a:lnTo>
                  <a:lnTo>
                    <a:pt x="89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7" y="186"/>
                  </a:lnTo>
                  <a:lnTo>
                    <a:pt x="73" y="186"/>
                  </a:lnTo>
                  <a:lnTo>
                    <a:pt x="72" y="186"/>
                  </a:lnTo>
                  <a:lnTo>
                    <a:pt x="71" y="186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7" y="186"/>
                  </a:lnTo>
                  <a:lnTo>
                    <a:pt x="66" y="186"/>
                  </a:lnTo>
                  <a:lnTo>
                    <a:pt x="66" y="185"/>
                  </a:lnTo>
                  <a:lnTo>
                    <a:pt x="64" y="184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0"/>
                  </a:lnTo>
                  <a:lnTo>
                    <a:pt x="59" y="179"/>
                  </a:lnTo>
                  <a:lnTo>
                    <a:pt x="52" y="174"/>
                  </a:lnTo>
                  <a:lnTo>
                    <a:pt x="49" y="172"/>
                  </a:lnTo>
                  <a:lnTo>
                    <a:pt x="47" y="171"/>
                  </a:lnTo>
                  <a:lnTo>
                    <a:pt x="42" y="167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8" y="161"/>
                  </a:lnTo>
                  <a:lnTo>
                    <a:pt x="38" y="157"/>
                  </a:lnTo>
                  <a:lnTo>
                    <a:pt x="39" y="154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9" y="148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4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6" y="131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19"/>
                  </a:lnTo>
                  <a:lnTo>
                    <a:pt x="46" y="118"/>
                  </a:lnTo>
                  <a:lnTo>
                    <a:pt x="45" y="118"/>
                  </a:lnTo>
                  <a:lnTo>
                    <a:pt x="45" y="117"/>
                  </a:lnTo>
                  <a:lnTo>
                    <a:pt x="44" y="116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1" y="114"/>
                  </a:lnTo>
                  <a:lnTo>
                    <a:pt x="38" y="113"/>
                  </a:lnTo>
                  <a:lnTo>
                    <a:pt x="37" y="112"/>
                  </a:lnTo>
                  <a:lnTo>
                    <a:pt x="35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29" y="106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5" y="98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3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8"/>
                  </a:lnTo>
                  <a:lnTo>
                    <a:pt x="5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2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3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8" y="46"/>
                  </a:lnTo>
                  <a:lnTo>
                    <a:pt x="39" y="46"/>
                  </a:lnTo>
                  <a:lnTo>
                    <a:pt x="40" y="45"/>
                  </a:lnTo>
                  <a:lnTo>
                    <a:pt x="42" y="44"/>
                  </a:lnTo>
                  <a:lnTo>
                    <a:pt x="42" y="43"/>
                  </a:lnTo>
                  <a:lnTo>
                    <a:pt x="43" y="42"/>
                  </a:lnTo>
                  <a:lnTo>
                    <a:pt x="43" y="42"/>
                  </a:lnTo>
                  <a:lnTo>
                    <a:pt x="44" y="40"/>
                  </a:lnTo>
                  <a:lnTo>
                    <a:pt x="44" y="39"/>
                  </a:lnTo>
                  <a:lnTo>
                    <a:pt x="45" y="39"/>
                  </a:lnTo>
                  <a:lnTo>
                    <a:pt x="45" y="38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47" y="36"/>
                  </a:lnTo>
                  <a:lnTo>
                    <a:pt x="48" y="36"/>
                  </a:lnTo>
                  <a:lnTo>
                    <a:pt x="49" y="35"/>
                  </a:lnTo>
                  <a:lnTo>
                    <a:pt x="50" y="35"/>
                  </a:lnTo>
                  <a:lnTo>
                    <a:pt x="52" y="35"/>
                  </a:lnTo>
                  <a:lnTo>
                    <a:pt x="53" y="35"/>
                  </a:lnTo>
                  <a:lnTo>
                    <a:pt x="54" y="34"/>
                  </a:lnTo>
                  <a:lnTo>
                    <a:pt x="57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9" y="32"/>
                  </a:lnTo>
                  <a:lnTo>
                    <a:pt x="59" y="32"/>
                  </a:lnTo>
                  <a:lnTo>
                    <a:pt x="60" y="33"/>
                  </a:lnTo>
                  <a:lnTo>
                    <a:pt x="60" y="33"/>
                  </a:lnTo>
                  <a:lnTo>
                    <a:pt x="61" y="33"/>
                  </a:lnTo>
                  <a:lnTo>
                    <a:pt x="62" y="35"/>
                  </a:lnTo>
                  <a:lnTo>
                    <a:pt x="63" y="35"/>
                  </a:lnTo>
                  <a:lnTo>
                    <a:pt x="64" y="35"/>
                  </a:lnTo>
                  <a:lnTo>
                    <a:pt x="65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8" y="36"/>
                  </a:lnTo>
                  <a:lnTo>
                    <a:pt x="69" y="36"/>
                  </a:lnTo>
                  <a:lnTo>
                    <a:pt x="70" y="36"/>
                  </a:lnTo>
                  <a:lnTo>
                    <a:pt x="73" y="36"/>
                  </a:lnTo>
                  <a:lnTo>
                    <a:pt x="74" y="36"/>
                  </a:lnTo>
                  <a:lnTo>
                    <a:pt x="75" y="36"/>
                  </a:lnTo>
                  <a:lnTo>
                    <a:pt x="77" y="36"/>
                  </a:lnTo>
                  <a:lnTo>
                    <a:pt x="78" y="36"/>
                  </a:lnTo>
                  <a:lnTo>
                    <a:pt x="80" y="36"/>
                  </a:lnTo>
                  <a:lnTo>
                    <a:pt x="81" y="36"/>
                  </a:lnTo>
                  <a:lnTo>
                    <a:pt x="82" y="36"/>
                  </a:lnTo>
                  <a:lnTo>
                    <a:pt x="83" y="36"/>
                  </a:lnTo>
                  <a:lnTo>
                    <a:pt x="83" y="37"/>
                  </a:lnTo>
                  <a:lnTo>
                    <a:pt x="85" y="37"/>
                  </a:lnTo>
                  <a:lnTo>
                    <a:pt x="87" y="38"/>
                  </a:lnTo>
                  <a:lnTo>
                    <a:pt x="89" y="39"/>
                  </a:lnTo>
                  <a:lnTo>
                    <a:pt x="89" y="39"/>
                  </a:lnTo>
                  <a:lnTo>
                    <a:pt x="90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3" y="39"/>
                  </a:lnTo>
                  <a:lnTo>
                    <a:pt x="94" y="38"/>
                  </a:lnTo>
                  <a:lnTo>
                    <a:pt x="97" y="37"/>
                  </a:lnTo>
                  <a:lnTo>
                    <a:pt x="98" y="36"/>
                  </a:lnTo>
                  <a:lnTo>
                    <a:pt x="100" y="36"/>
                  </a:lnTo>
                  <a:lnTo>
                    <a:pt x="102" y="35"/>
                  </a:lnTo>
                  <a:lnTo>
                    <a:pt x="103" y="35"/>
                  </a:lnTo>
                  <a:lnTo>
                    <a:pt x="104" y="35"/>
                  </a:lnTo>
                  <a:lnTo>
                    <a:pt x="105" y="34"/>
                  </a:lnTo>
                  <a:lnTo>
                    <a:pt x="106" y="33"/>
                  </a:lnTo>
                  <a:lnTo>
                    <a:pt x="106" y="33"/>
                  </a:lnTo>
                  <a:lnTo>
                    <a:pt x="107" y="32"/>
                  </a:lnTo>
                  <a:lnTo>
                    <a:pt x="107" y="31"/>
                  </a:lnTo>
                  <a:lnTo>
                    <a:pt x="108" y="31"/>
                  </a:lnTo>
                  <a:lnTo>
                    <a:pt x="108" y="30"/>
                  </a:lnTo>
                  <a:lnTo>
                    <a:pt x="109" y="27"/>
                  </a:lnTo>
                  <a:lnTo>
                    <a:pt x="110" y="26"/>
                  </a:lnTo>
                  <a:lnTo>
                    <a:pt x="110" y="26"/>
                  </a:lnTo>
                  <a:lnTo>
                    <a:pt x="111" y="25"/>
                  </a:lnTo>
                  <a:lnTo>
                    <a:pt x="111" y="24"/>
                  </a:lnTo>
                  <a:lnTo>
                    <a:pt x="112" y="24"/>
                  </a:lnTo>
                  <a:lnTo>
                    <a:pt x="113" y="23"/>
                  </a:lnTo>
                  <a:lnTo>
                    <a:pt x="114" y="22"/>
                  </a:lnTo>
                  <a:lnTo>
                    <a:pt x="115" y="21"/>
                  </a:lnTo>
                  <a:lnTo>
                    <a:pt x="116" y="20"/>
                  </a:lnTo>
                  <a:lnTo>
                    <a:pt x="118" y="19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1" y="18"/>
                  </a:lnTo>
                  <a:close/>
                </a:path>
              </a:pathLst>
            </a:custGeom>
            <a:solidFill>
              <a:srgbClr val="A8A8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reeform 61">
              <a:extLst>
                <a:ext uri="{FF2B5EF4-FFF2-40B4-BE49-F238E27FC236}">
                  <a16:creationId xmlns:a16="http://schemas.microsoft.com/office/drawing/2014/main" id="{8329A828-A62B-C6EA-612B-2339D152E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" y="3255"/>
              <a:ext cx="442" cy="291"/>
            </a:xfrm>
            <a:custGeom>
              <a:avLst/>
              <a:gdLst>
                <a:gd name="T0" fmla="*/ 131 w 442"/>
                <a:gd name="T1" fmla="*/ 34 h 291"/>
                <a:gd name="T2" fmla="*/ 148 w 442"/>
                <a:gd name="T3" fmla="*/ 30 h 291"/>
                <a:gd name="T4" fmla="*/ 170 w 442"/>
                <a:gd name="T5" fmla="*/ 23 h 291"/>
                <a:gd name="T6" fmla="*/ 190 w 442"/>
                <a:gd name="T7" fmla="*/ 40 h 291"/>
                <a:gd name="T8" fmla="*/ 208 w 442"/>
                <a:gd name="T9" fmla="*/ 53 h 291"/>
                <a:gd name="T10" fmla="*/ 231 w 442"/>
                <a:gd name="T11" fmla="*/ 68 h 291"/>
                <a:gd name="T12" fmla="*/ 255 w 442"/>
                <a:gd name="T13" fmla="*/ 75 h 291"/>
                <a:gd name="T14" fmla="*/ 274 w 442"/>
                <a:gd name="T15" fmla="*/ 74 h 291"/>
                <a:gd name="T16" fmla="*/ 282 w 442"/>
                <a:gd name="T17" fmla="*/ 69 h 291"/>
                <a:gd name="T18" fmla="*/ 289 w 442"/>
                <a:gd name="T19" fmla="*/ 56 h 291"/>
                <a:gd name="T20" fmla="*/ 312 w 442"/>
                <a:gd name="T21" fmla="*/ 39 h 291"/>
                <a:gd name="T22" fmla="*/ 329 w 442"/>
                <a:gd name="T23" fmla="*/ 22 h 291"/>
                <a:gd name="T24" fmla="*/ 343 w 442"/>
                <a:gd name="T25" fmla="*/ 24 h 291"/>
                <a:gd name="T26" fmla="*/ 365 w 442"/>
                <a:gd name="T27" fmla="*/ 33 h 291"/>
                <a:gd name="T28" fmla="*/ 392 w 442"/>
                <a:gd name="T29" fmla="*/ 48 h 291"/>
                <a:gd name="T30" fmla="*/ 409 w 442"/>
                <a:gd name="T31" fmla="*/ 33 h 291"/>
                <a:gd name="T32" fmla="*/ 428 w 442"/>
                <a:gd name="T33" fmla="*/ 6 h 291"/>
                <a:gd name="T34" fmla="*/ 441 w 442"/>
                <a:gd name="T35" fmla="*/ 1 h 291"/>
                <a:gd name="T36" fmla="*/ 430 w 442"/>
                <a:gd name="T37" fmla="*/ 39 h 291"/>
                <a:gd name="T38" fmla="*/ 426 w 442"/>
                <a:gd name="T39" fmla="*/ 61 h 291"/>
                <a:gd name="T40" fmla="*/ 423 w 442"/>
                <a:gd name="T41" fmla="*/ 81 h 291"/>
                <a:gd name="T42" fmla="*/ 403 w 442"/>
                <a:gd name="T43" fmla="*/ 95 h 291"/>
                <a:gd name="T44" fmla="*/ 407 w 442"/>
                <a:gd name="T45" fmla="*/ 119 h 291"/>
                <a:gd name="T46" fmla="*/ 413 w 442"/>
                <a:gd name="T47" fmla="*/ 154 h 291"/>
                <a:gd name="T48" fmla="*/ 410 w 442"/>
                <a:gd name="T49" fmla="*/ 173 h 291"/>
                <a:gd name="T50" fmla="*/ 426 w 442"/>
                <a:gd name="T51" fmla="*/ 200 h 291"/>
                <a:gd name="T52" fmla="*/ 428 w 442"/>
                <a:gd name="T53" fmla="*/ 218 h 291"/>
                <a:gd name="T54" fmla="*/ 441 w 442"/>
                <a:gd name="T55" fmla="*/ 225 h 291"/>
                <a:gd name="T56" fmla="*/ 433 w 442"/>
                <a:gd name="T57" fmla="*/ 251 h 291"/>
                <a:gd name="T58" fmla="*/ 431 w 442"/>
                <a:gd name="T59" fmla="*/ 274 h 291"/>
                <a:gd name="T60" fmla="*/ 415 w 442"/>
                <a:gd name="T61" fmla="*/ 275 h 291"/>
                <a:gd name="T62" fmla="*/ 384 w 442"/>
                <a:gd name="T63" fmla="*/ 268 h 291"/>
                <a:gd name="T64" fmla="*/ 358 w 442"/>
                <a:gd name="T65" fmla="*/ 266 h 291"/>
                <a:gd name="T66" fmla="*/ 350 w 442"/>
                <a:gd name="T67" fmla="*/ 283 h 291"/>
                <a:gd name="T68" fmla="*/ 324 w 442"/>
                <a:gd name="T69" fmla="*/ 284 h 291"/>
                <a:gd name="T70" fmla="*/ 311 w 442"/>
                <a:gd name="T71" fmla="*/ 290 h 291"/>
                <a:gd name="T72" fmla="*/ 292 w 442"/>
                <a:gd name="T73" fmla="*/ 276 h 291"/>
                <a:gd name="T74" fmla="*/ 264 w 442"/>
                <a:gd name="T75" fmla="*/ 258 h 291"/>
                <a:gd name="T76" fmla="*/ 230 w 442"/>
                <a:gd name="T77" fmla="*/ 242 h 291"/>
                <a:gd name="T78" fmla="*/ 210 w 442"/>
                <a:gd name="T79" fmla="*/ 232 h 291"/>
                <a:gd name="T80" fmla="*/ 191 w 442"/>
                <a:gd name="T81" fmla="*/ 223 h 291"/>
                <a:gd name="T82" fmla="*/ 179 w 442"/>
                <a:gd name="T83" fmla="*/ 234 h 291"/>
                <a:gd name="T84" fmla="*/ 163 w 442"/>
                <a:gd name="T85" fmla="*/ 241 h 291"/>
                <a:gd name="T86" fmla="*/ 147 w 442"/>
                <a:gd name="T87" fmla="*/ 222 h 291"/>
                <a:gd name="T88" fmla="*/ 132 w 442"/>
                <a:gd name="T89" fmla="*/ 213 h 291"/>
                <a:gd name="T90" fmla="*/ 120 w 442"/>
                <a:gd name="T91" fmla="*/ 203 h 291"/>
                <a:gd name="T92" fmla="*/ 101 w 442"/>
                <a:gd name="T93" fmla="*/ 192 h 291"/>
                <a:gd name="T94" fmla="*/ 84 w 442"/>
                <a:gd name="T95" fmla="*/ 187 h 291"/>
                <a:gd name="T96" fmla="*/ 64 w 442"/>
                <a:gd name="T97" fmla="*/ 184 h 291"/>
                <a:gd name="T98" fmla="*/ 39 w 442"/>
                <a:gd name="T99" fmla="*/ 149 h 291"/>
                <a:gd name="T100" fmla="*/ 45 w 442"/>
                <a:gd name="T101" fmla="*/ 127 h 291"/>
                <a:gd name="T102" fmla="*/ 37 w 442"/>
                <a:gd name="T103" fmla="*/ 112 h 291"/>
                <a:gd name="T104" fmla="*/ 28 w 442"/>
                <a:gd name="T105" fmla="*/ 99 h 291"/>
                <a:gd name="T106" fmla="*/ 15 w 442"/>
                <a:gd name="T107" fmla="*/ 93 h 291"/>
                <a:gd name="T108" fmla="*/ 0 w 442"/>
                <a:gd name="T109" fmla="*/ 83 h 291"/>
                <a:gd name="T110" fmla="*/ 5 w 442"/>
                <a:gd name="T111" fmla="*/ 76 h 291"/>
                <a:gd name="T112" fmla="*/ 10 w 442"/>
                <a:gd name="T113" fmla="*/ 66 h 291"/>
                <a:gd name="T114" fmla="*/ 10 w 442"/>
                <a:gd name="T115" fmla="*/ 54 h 291"/>
                <a:gd name="T116" fmla="*/ 19 w 442"/>
                <a:gd name="T117" fmla="*/ 49 h 291"/>
                <a:gd name="T118" fmla="*/ 33 w 442"/>
                <a:gd name="T119" fmla="*/ 49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2" h="291">
                  <a:moveTo>
                    <a:pt x="121" y="18"/>
                  </a:moveTo>
                  <a:lnTo>
                    <a:pt x="121" y="18"/>
                  </a:lnTo>
                  <a:lnTo>
                    <a:pt x="122" y="19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5" y="22"/>
                  </a:lnTo>
                  <a:lnTo>
                    <a:pt x="126" y="24"/>
                  </a:lnTo>
                  <a:lnTo>
                    <a:pt x="126" y="25"/>
                  </a:lnTo>
                  <a:lnTo>
                    <a:pt x="127" y="27"/>
                  </a:lnTo>
                  <a:lnTo>
                    <a:pt x="128" y="30"/>
                  </a:lnTo>
                  <a:lnTo>
                    <a:pt x="128" y="31"/>
                  </a:lnTo>
                  <a:lnTo>
                    <a:pt x="129" y="32"/>
                  </a:lnTo>
                  <a:lnTo>
                    <a:pt x="129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8" y="35"/>
                  </a:lnTo>
                  <a:lnTo>
                    <a:pt x="139" y="35"/>
                  </a:lnTo>
                  <a:lnTo>
                    <a:pt x="140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5" y="31"/>
                  </a:lnTo>
                  <a:lnTo>
                    <a:pt x="148" y="30"/>
                  </a:lnTo>
                  <a:lnTo>
                    <a:pt x="149" y="29"/>
                  </a:lnTo>
                  <a:lnTo>
                    <a:pt x="150" y="29"/>
                  </a:lnTo>
                  <a:lnTo>
                    <a:pt x="150" y="28"/>
                  </a:lnTo>
                  <a:lnTo>
                    <a:pt x="151" y="28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4"/>
                  </a:lnTo>
                  <a:lnTo>
                    <a:pt x="156" y="23"/>
                  </a:lnTo>
                  <a:lnTo>
                    <a:pt x="158" y="23"/>
                  </a:lnTo>
                  <a:lnTo>
                    <a:pt x="160" y="22"/>
                  </a:lnTo>
                  <a:lnTo>
                    <a:pt x="161" y="21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70" y="23"/>
                  </a:lnTo>
                  <a:lnTo>
                    <a:pt x="174" y="24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0" y="26"/>
                  </a:lnTo>
                  <a:lnTo>
                    <a:pt x="181" y="26"/>
                  </a:lnTo>
                  <a:lnTo>
                    <a:pt x="182" y="27"/>
                  </a:lnTo>
                  <a:lnTo>
                    <a:pt x="183" y="27"/>
                  </a:lnTo>
                  <a:lnTo>
                    <a:pt x="183" y="28"/>
                  </a:lnTo>
                  <a:lnTo>
                    <a:pt x="185" y="31"/>
                  </a:lnTo>
                  <a:lnTo>
                    <a:pt x="186" y="31"/>
                  </a:lnTo>
                  <a:lnTo>
                    <a:pt x="186" y="32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88" y="35"/>
                  </a:lnTo>
                  <a:lnTo>
                    <a:pt x="189" y="39"/>
                  </a:lnTo>
                  <a:lnTo>
                    <a:pt x="190" y="40"/>
                  </a:lnTo>
                  <a:lnTo>
                    <a:pt x="190" y="41"/>
                  </a:lnTo>
                  <a:lnTo>
                    <a:pt x="191" y="42"/>
                  </a:lnTo>
                  <a:lnTo>
                    <a:pt x="191" y="43"/>
                  </a:lnTo>
                  <a:lnTo>
                    <a:pt x="192" y="43"/>
                  </a:lnTo>
                  <a:lnTo>
                    <a:pt x="192" y="44"/>
                  </a:lnTo>
                  <a:lnTo>
                    <a:pt x="193" y="44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6"/>
                  </a:lnTo>
                  <a:lnTo>
                    <a:pt x="200" y="46"/>
                  </a:lnTo>
                  <a:lnTo>
                    <a:pt x="201" y="47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4" y="49"/>
                  </a:lnTo>
                  <a:lnTo>
                    <a:pt x="206" y="50"/>
                  </a:lnTo>
                  <a:lnTo>
                    <a:pt x="208" y="53"/>
                  </a:lnTo>
                  <a:lnTo>
                    <a:pt x="209" y="54"/>
                  </a:lnTo>
                  <a:lnTo>
                    <a:pt x="210" y="55"/>
                  </a:lnTo>
                  <a:lnTo>
                    <a:pt x="211" y="56"/>
                  </a:lnTo>
                  <a:lnTo>
                    <a:pt x="212" y="57"/>
                  </a:lnTo>
                  <a:lnTo>
                    <a:pt x="213" y="58"/>
                  </a:lnTo>
                  <a:lnTo>
                    <a:pt x="215" y="58"/>
                  </a:lnTo>
                  <a:lnTo>
                    <a:pt x="218" y="60"/>
                  </a:lnTo>
                  <a:lnTo>
                    <a:pt x="219" y="60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2"/>
                  </a:lnTo>
                  <a:lnTo>
                    <a:pt x="224" y="64"/>
                  </a:lnTo>
                  <a:lnTo>
                    <a:pt x="225" y="65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8" y="67"/>
                  </a:lnTo>
                  <a:lnTo>
                    <a:pt x="231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6" y="70"/>
                  </a:lnTo>
                  <a:lnTo>
                    <a:pt x="237" y="71"/>
                  </a:lnTo>
                  <a:lnTo>
                    <a:pt x="238" y="72"/>
                  </a:lnTo>
                  <a:lnTo>
                    <a:pt x="242" y="75"/>
                  </a:lnTo>
                  <a:lnTo>
                    <a:pt x="243" y="75"/>
                  </a:lnTo>
                  <a:lnTo>
                    <a:pt x="244" y="76"/>
                  </a:lnTo>
                  <a:lnTo>
                    <a:pt x="245" y="76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7" y="77"/>
                  </a:lnTo>
                  <a:lnTo>
                    <a:pt x="248" y="77"/>
                  </a:lnTo>
                  <a:lnTo>
                    <a:pt x="249" y="77"/>
                  </a:lnTo>
                  <a:lnTo>
                    <a:pt x="251" y="76"/>
                  </a:lnTo>
                  <a:lnTo>
                    <a:pt x="254" y="76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1" y="74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6" y="75"/>
                  </a:lnTo>
                  <a:lnTo>
                    <a:pt x="269" y="75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4" y="74"/>
                  </a:lnTo>
                  <a:lnTo>
                    <a:pt x="275" y="75"/>
                  </a:lnTo>
                  <a:lnTo>
                    <a:pt x="277" y="75"/>
                  </a:lnTo>
                  <a:lnTo>
                    <a:pt x="278" y="76"/>
                  </a:lnTo>
                  <a:lnTo>
                    <a:pt x="279" y="76"/>
                  </a:lnTo>
                  <a:lnTo>
                    <a:pt x="280" y="76"/>
                  </a:lnTo>
                  <a:lnTo>
                    <a:pt x="281" y="76"/>
                  </a:lnTo>
                  <a:lnTo>
                    <a:pt x="281" y="75"/>
                  </a:lnTo>
                  <a:lnTo>
                    <a:pt x="282" y="75"/>
                  </a:lnTo>
                  <a:lnTo>
                    <a:pt x="282" y="75"/>
                  </a:lnTo>
                  <a:lnTo>
                    <a:pt x="283" y="75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2" y="70"/>
                  </a:lnTo>
                  <a:lnTo>
                    <a:pt x="282" y="69"/>
                  </a:lnTo>
                  <a:lnTo>
                    <a:pt x="282" y="69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7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4" y="65"/>
                  </a:lnTo>
                  <a:lnTo>
                    <a:pt x="286" y="64"/>
                  </a:lnTo>
                  <a:lnTo>
                    <a:pt x="287" y="63"/>
                  </a:lnTo>
                  <a:lnTo>
                    <a:pt x="288" y="62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0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5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1" y="52"/>
                  </a:lnTo>
                  <a:lnTo>
                    <a:pt x="292" y="51"/>
                  </a:lnTo>
                  <a:lnTo>
                    <a:pt x="293" y="50"/>
                  </a:lnTo>
                  <a:lnTo>
                    <a:pt x="294" y="50"/>
                  </a:lnTo>
                  <a:lnTo>
                    <a:pt x="296" y="48"/>
                  </a:lnTo>
                  <a:lnTo>
                    <a:pt x="298" y="47"/>
                  </a:lnTo>
                  <a:lnTo>
                    <a:pt x="300" y="46"/>
                  </a:lnTo>
                  <a:lnTo>
                    <a:pt x="302" y="44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6" y="42"/>
                  </a:lnTo>
                  <a:lnTo>
                    <a:pt x="309" y="41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20" y="35"/>
                  </a:lnTo>
                  <a:lnTo>
                    <a:pt x="321" y="34"/>
                  </a:lnTo>
                  <a:lnTo>
                    <a:pt x="322" y="33"/>
                  </a:lnTo>
                  <a:lnTo>
                    <a:pt x="323" y="32"/>
                  </a:lnTo>
                  <a:lnTo>
                    <a:pt x="324" y="31"/>
                  </a:lnTo>
                  <a:lnTo>
                    <a:pt x="325" y="31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7" y="27"/>
                  </a:lnTo>
                  <a:lnTo>
                    <a:pt x="329" y="24"/>
                  </a:lnTo>
                  <a:lnTo>
                    <a:pt x="329" y="23"/>
                  </a:lnTo>
                  <a:lnTo>
                    <a:pt x="329" y="22"/>
                  </a:lnTo>
                  <a:lnTo>
                    <a:pt x="330" y="21"/>
                  </a:lnTo>
                  <a:lnTo>
                    <a:pt x="330" y="21"/>
                  </a:lnTo>
                  <a:lnTo>
                    <a:pt x="331" y="21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39" y="22"/>
                  </a:lnTo>
                  <a:lnTo>
                    <a:pt x="342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7" y="26"/>
                  </a:lnTo>
                  <a:lnTo>
                    <a:pt x="352" y="28"/>
                  </a:lnTo>
                  <a:lnTo>
                    <a:pt x="353" y="28"/>
                  </a:lnTo>
                  <a:lnTo>
                    <a:pt x="355" y="29"/>
                  </a:lnTo>
                  <a:lnTo>
                    <a:pt x="356" y="29"/>
                  </a:lnTo>
                  <a:lnTo>
                    <a:pt x="357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9" y="29"/>
                  </a:lnTo>
                  <a:lnTo>
                    <a:pt x="359" y="29"/>
                  </a:lnTo>
                  <a:lnTo>
                    <a:pt x="360" y="30"/>
                  </a:lnTo>
                  <a:lnTo>
                    <a:pt x="362" y="31"/>
                  </a:lnTo>
                  <a:lnTo>
                    <a:pt x="363" y="32"/>
                  </a:lnTo>
                  <a:lnTo>
                    <a:pt x="365" y="33"/>
                  </a:lnTo>
                  <a:lnTo>
                    <a:pt x="366" y="34"/>
                  </a:lnTo>
                  <a:lnTo>
                    <a:pt x="367" y="35"/>
                  </a:lnTo>
                  <a:lnTo>
                    <a:pt x="370" y="38"/>
                  </a:lnTo>
                  <a:lnTo>
                    <a:pt x="371" y="39"/>
                  </a:lnTo>
                  <a:lnTo>
                    <a:pt x="373" y="40"/>
                  </a:lnTo>
                  <a:lnTo>
                    <a:pt x="374" y="41"/>
                  </a:lnTo>
                  <a:lnTo>
                    <a:pt x="375" y="41"/>
                  </a:lnTo>
                  <a:lnTo>
                    <a:pt x="376" y="42"/>
                  </a:lnTo>
                  <a:lnTo>
                    <a:pt x="377" y="43"/>
                  </a:lnTo>
                  <a:lnTo>
                    <a:pt x="378" y="43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9" y="47"/>
                  </a:lnTo>
                  <a:lnTo>
                    <a:pt x="390" y="47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3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5" y="47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8" y="46"/>
                  </a:lnTo>
                  <a:lnTo>
                    <a:pt x="399" y="45"/>
                  </a:lnTo>
                  <a:lnTo>
                    <a:pt x="400" y="45"/>
                  </a:lnTo>
                  <a:lnTo>
                    <a:pt x="401" y="44"/>
                  </a:lnTo>
                  <a:lnTo>
                    <a:pt x="402" y="42"/>
                  </a:lnTo>
                  <a:lnTo>
                    <a:pt x="406" y="37"/>
                  </a:lnTo>
                  <a:lnTo>
                    <a:pt x="407" y="35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9" y="33"/>
                  </a:lnTo>
                  <a:lnTo>
                    <a:pt x="412" y="30"/>
                  </a:lnTo>
                  <a:lnTo>
                    <a:pt x="414" y="28"/>
                  </a:lnTo>
                  <a:lnTo>
                    <a:pt x="416" y="27"/>
                  </a:lnTo>
                  <a:lnTo>
                    <a:pt x="417" y="26"/>
                  </a:lnTo>
                  <a:lnTo>
                    <a:pt x="418" y="24"/>
                  </a:lnTo>
                  <a:lnTo>
                    <a:pt x="419" y="22"/>
                  </a:lnTo>
                  <a:lnTo>
                    <a:pt x="420" y="21"/>
                  </a:lnTo>
                  <a:lnTo>
                    <a:pt x="421" y="20"/>
                  </a:lnTo>
                  <a:lnTo>
                    <a:pt x="421" y="18"/>
                  </a:lnTo>
                  <a:lnTo>
                    <a:pt x="422" y="17"/>
                  </a:lnTo>
                  <a:lnTo>
                    <a:pt x="424" y="12"/>
                  </a:lnTo>
                  <a:lnTo>
                    <a:pt x="424" y="11"/>
                  </a:lnTo>
                  <a:lnTo>
                    <a:pt x="425" y="10"/>
                  </a:lnTo>
                  <a:lnTo>
                    <a:pt x="426" y="9"/>
                  </a:lnTo>
                  <a:lnTo>
                    <a:pt x="426" y="7"/>
                  </a:lnTo>
                  <a:lnTo>
                    <a:pt x="427" y="6"/>
                  </a:lnTo>
                  <a:lnTo>
                    <a:pt x="428" y="6"/>
                  </a:lnTo>
                  <a:lnTo>
                    <a:pt x="429" y="5"/>
                  </a:lnTo>
                  <a:lnTo>
                    <a:pt x="430" y="4"/>
                  </a:lnTo>
                  <a:lnTo>
                    <a:pt x="431" y="3"/>
                  </a:lnTo>
                  <a:lnTo>
                    <a:pt x="432" y="2"/>
                  </a:lnTo>
                  <a:lnTo>
                    <a:pt x="433" y="2"/>
                  </a:lnTo>
                  <a:lnTo>
                    <a:pt x="434" y="1"/>
                  </a:lnTo>
                  <a:lnTo>
                    <a:pt x="435" y="1"/>
                  </a:lnTo>
                  <a:lnTo>
                    <a:pt x="436" y="0"/>
                  </a:lnTo>
                  <a:lnTo>
                    <a:pt x="437" y="0"/>
                  </a:lnTo>
                  <a:lnTo>
                    <a:pt x="438" y="0"/>
                  </a:lnTo>
                  <a:lnTo>
                    <a:pt x="439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2" y="1"/>
                  </a:lnTo>
                  <a:lnTo>
                    <a:pt x="442" y="1"/>
                  </a:lnTo>
                  <a:lnTo>
                    <a:pt x="442" y="3"/>
                  </a:lnTo>
                  <a:lnTo>
                    <a:pt x="442" y="4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0" y="11"/>
                  </a:lnTo>
                  <a:lnTo>
                    <a:pt x="440" y="13"/>
                  </a:lnTo>
                  <a:lnTo>
                    <a:pt x="439" y="17"/>
                  </a:lnTo>
                  <a:lnTo>
                    <a:pt x="437" y="20"/>
                  </a:lnTo>
                  <a:lnTo>
                    <a:pt x="435" y="28"/>
                  </a:lnTo>
                  <a:lnTo>
                    <a:pt x="433" y="32"/>
                  </a:lnTo>
                  <a:lnTo>
                    <a:pt x="433" y="33"/>
                  </a:lnTo>
                  <a:lnTo>
                    <a:pt x="431" y="35"/>
                  </a:lnTo>
                  <a:lnTo>
                    <a:pt x="430" y="39"/>
                  </a:lnTo>
                  <a:lnTo>
                    <a:pt x="430" y="40"/>
                  </a:lnTo>
                  <a:lnTo>
                    <a:pt x="429" y="42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6"/>
                  </a:lnTo>
                  <a:lnTo>
                    <a:pt x="428" y="47"/>
                  </a:lnTo>
                  <a:lnTo>
                    <a:pt x="428" y="51"/>
                  </a:lnTo>
                  <a:lnTo>
                    <a:pt x="428" y="52"/>
                  </a:lnTo>
                  <a:lnTo>
                    <a:pt x="428" y="53"/>
                  </a:lnTo>
                  <a:lnTo>
                    <a:pt x="428" y="54"/>
                  </a:lnTo>
                  <a:lnTo>
                    <a:pt x="428" y="55"/>
                  </a:lnTo>
                  <a:lnTo>
                    <a:pt x="427" y="58"/>
                  </a:lnTo>
                  <a:lnTo>
                    <a:pt x="427" y="59"/>
                  </a:lnTo>
                  <a:lnTo>
                    <a:pt x="426" y="60"/>
                  </a:lnTo>
                  <a:lnTo>
                    <a:pt x="426" y="61"/>
                  </a:lnTo>
                  <a:lnTo>
                    <a:pt x="426" y="62"/>
                  </a:lnTo>
                  <a:lnTo>
                    <a:pt x="426" y="62"/>
                  </a:lnTo>
                  <a:lnTo>
                    <a:pt x="427" y="63"/>
                  </a:lnTo>
                  <a:lnTo>
                    <a:pt x="427" y="66"/>
                  </a:lnTo>
                  <a:lnTo>
                    <a:pt x="427" y="67"/>
                  </a:lnTo>
                  <a:lnTo>
                    <a:pt x="428" y="70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8" y="74"/>
                  </a:lnTo>
                  <a:lnTo>
                    <a:pt x="427" y="75"/>
                  </a:lnTo>
                  <a:lnTo>
                    <a:pt x="427" y="76"/>
                  </a:lnTo>
                  <a:lnTo>
                    <a:pt x="426" y="77"/>
                  </a:lnTo>
                  <a:lnTo>
                    <a:pt x="426" y="78"/>
                  </a:lnTo>
                  <a:lnTo>
                    <a:pt x="426" y="78"/>
                  </a:lnTo>
                  <a:lnTo>
                    <a:pt x="425" y="79"/>
                  </a:lnTo>
                  <a:lnTo>
                    <a:pt x="424" y="79"/>
                  </a:lnTo>
                  <a:lnTo>
                    <a:pt x="423" y="81"/>
                  </a:lnTo>
                  <a:lnTo>
                    <a:pt x="420" y="83"/>
                  </a:lnTo>
                  <a:lnTo>
                    <a:pt x="419" y="84"/>
                  </a:lnTo>
                  <a:lnTo>
                    <a:pt x="416" y="87"/>
                  </a:lnTo>
                  <a:lnTo>
                    <a:pt x="416" y="88"/>
                  </a:lnTo>
                  <a:lnTo>
                    <a:pt x="415" y="89"/>
                  </a:lnTo>
                  <a:lnTo>
                    <a:pt x="414" y="90"/>
                  </a:lnTo>
                  <a:lnTo>
                    <a:pt x="413" y="91"/>
                  </a:lnTo>
                  <a:lnTo>
                    <a:pt x="412" y="91"/>
                  </a:lnTo>
                  <a:lnTo>
                    <a:pt x="412" y="92"/>
                  </a:lnTo>
                  <a:lnTo>
                    <a:pt x="411" y="92"/>
                  </a:lnTo>
                  <a:lnTo>
                    <a:pt x="410" y="93"/>
                  </a:lnTo>
                  <a:lnTo>
                    <a:pt x="410" y="93"/>
                  </a:lnTo>
                  <a:lnTo>
                    <a:pt x="409" y="93"/>
                  </a:lnTo>
                  <a:lnTo>
                    <a:pt x="406" y="94"/>
                  </a:lnTo>
                  <a:lnTo>
                    <a:pt x="405" y="94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2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2" y="97"/>
                  </a:lnTo>
                  <a:lnTo>
                    <a:pt x="401" y="98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2" y="101"/>
                  </a:lnTo>
                  <a:lnTo>
                    <a:pt x="404" y="105"/>
                  </a:lnTo>
                  <a:lnTo>
                    <a:pt x="405" y="108"/>
                  </a:lnTo>
                  <a:lnTo>
                    <a:pt x="405" y="110"/>
                  </a:lnTo>
                  <a:lnTo>
                    <a:pt x="406" y="115"/>
                  </a:lnTo>
                  <a:lnTo>
                    <a:pt x="407" y="117"/>
                  </a:lnTo>
                  <a:lnTo>
                    <a:pt x="407" y="119"/>
                  </a:lnTo>
                  <a:lnTo>
                    <a:pt x="408" y="121"/>
                  </a:lnTo>
                  <a:lnTo>
                    <a:pt x="410" y="126"/>
                  </a:lnTo>
                  <a:lnTo>
                    <a:pt x="411" y="131"/>
                  </a:lnTo>
                  <a:lnTo>
                    <a:pt x="412" y="132"/>
                  </a:lnTo>
                  <a:lnTo>
                    <a:pt x="412" y="133"/>
                  </a:lnTo>
                  <a:lnTo>
                    <a:pt x="412" y="135"/>
                  </a:lnTo>
                  <a:lnTo>
                    <a:pt x="413" y="139"/>
                  </a:lnTo>
                  <a:lnTo>
                    <a:pt x="413" y="142"/>
                  </a:lnTo>
                  <a:lnTo>
                    <a:pt x="413" y="143"/>
                  </a:lnTo>
                  <a:lnTo>
                    <a:pt x="413" y="145"/>
                  </a:lnTo>
                  <a:lnTo>
                    <a:pt x="414" y="148"/>
                  </a:lnTo>
                  <a:lnTo>
                    <a:pt x="414" y="150"/>
                  </a:lnTo>
                  <a:lnTo>
                    <a:pt x="414" y="151"/>
                  </a:lnTo>
                  <a:lnTo>
                    <a:pt x="414" y="151"/>
                  </a:lnTo>
                  <a:lnTo>
                    <a:pt x="414" y="152"/>
                  </a:lnTo>
                  <a:lnTo>
                    <a:pt x="414" y="153"/>
                  </a:lnTo>
                  <a:lnTo>
                    <a:pt x="413" y="154"/>
                  </a:lnTo>
                  <a:lnTo>
                    <a:pt x="413" y="154"/>
                  </a:lnTo>
                  <a:lnTo>
                    <a:pt x="411" y="157"/>
                  </a:lnTo>
                  <a:lnTo>
                    <a:pt x="410" y="158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09" y="161"/>
                  </a:lnTo>
                  <a:lnTo>
                    <a:pt x="409" y="162"/>
                  </a:lnTo>
                  <a:lnTo>
                    <a:pt x="409" y="163"/>
                  </a:lnTo>
                  <a:lnTo>
                    <a:pt x="408" y="164"/>
                  </a:lnTo>
                  <a:lnTo>
                    <a:pt x="408" y="165"/>
                  </a:lnTo>
                  <a:lnTo>
                    <a:pt x="408" y="166"/>
                  </a:lnTo>
                  <a:lnTo>
                    <a:pt x="408" y="167"/>
                  </a:lnTo>
                  <a:lnTo>
                    <a:pt x="408" y="169"/>
                  </a:lnTo>
                  <a:lnTo>
                    <a:pt x="409" y="170"/>
                  </a:lnTo>
                  <a:lnTo>
                    <a:pt x="409" y="171"/>
                  </a:lnTo>
                  <a:lnTo>
                    <a:pt x="409" y="172"/>
                  </a:lnTo>
                  <a:lnTo>
                    <a:pt x="410" y="173"/>
                  </a:lnTo>
                  <a:lnTo>
                    <a:pt x="412" y="176"/>
                  </a:lnTo>
                  <a:lnTo>
                    <a:pt x="413" y="177"/>
                  </a:lnTo>
                  <a:lnTo>
                    <a:pt x="413" y="178"/>
                  </a:lnTo>
                  <a:lnTo>
                    <a:pt x="413" y="179"/>
                  </a:lnTo>
                  <a:lnTo>
                    <a:pt x="414" y="180"/>
                  </a:lnTo>
                  <a:lnTo>
                    <a:pt x="415" y="183"/>
                  </a:lnTo>
                  <a:lnTo>
                    <a:pt x="416" y="185"/>
                  </a:lnTo>
                  <a:lnTo>
                    <a:pt x="416" y="187"/>
                  </a:lnTo>
                  <a:lnTo>
                    <a:pt x="417" y="189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21" y="193"/>
                  </a:lnTo>
                  <a:lnTo>
                    <a:pt x="422" y="195"/>
                  </a:lnTo>
                  <a:lnTo>
                    <a:pt x="425" y="198"/>
                  </a:lnTo>
                  <a:lnTo>
                    <a:pt x="425" y="199"/>
                  </a:lnTo>
                  <a:lnTo>
                    <a:pt x="426" y="199"/>
                  </a:lnTo>
                  <a:lnTo>
                    <a:pt x="426" y="200"/>
                  </a:lnTo>
                  <a:lnTo>
                    <a:pt x="427" y="201"/>
                  </a:lnTo>
                  <a:lnTo>
                    <a:pt x="427" y="202"/>
                  </a:lnTo>
                  <a:lnTo>
                    <a:pt x="427" y="205"/>
                  </a:lnTo>
                  <a:lnTo>
                    <a:pt x="427" y="206"/>
                  </a:lnTo>
                  <a:lnTo>
                    <a:pt x="428" y="206"/>
                  </a:lnTo>
                  <a:lnTo>
                    <a:pt x="429" y="209"/>
                  </a:lnTo>
                  <a:lnTo>
                    <a:pt x="429" y="210"/>
                  </a:lnTo>
                  <a:lnTo>
                    <a:pt x="429" y="210"/>
                  </a:lnTo>
                  <a:lnTo>
                    <a:pt x="429" y="211"/>
                  </a:lnTo>
                  <a:lnTo>
                    <a:pt x="429" y="212"/>
                  </a:lnTo>
                  <a:lnTo>
                    <a:pt x="429" y="213"/>
                  </a:lnTo>
                  <a:lnTo>
                    <a:pt x="428" y="215"/>
                  </a:lnTo>
                  <a:lnTo>
                    <a:pt x="428" y="216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8"/>
                  </a:lnTo>
                  <a:lnTo>
                    <a:pt x="428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0" y="218"/>
                  </a:lnTo>
                  <a:lnTo>
                    <a:pt x="431" y="218"/>
                  </a:lnTo>
                  <a:lnTo>
                    <a:pt x="432" y="219"/>
                  </a:lnTo>
                  <a:lnTo>
                    <a:pt x="435" y="219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7" y="220"/>
                  </a:lnTo>
                  <a:lnTo>
                    <a:pt x="438" y="221"/>
                  </a:lnTo>
                  <a:lnTo>
                    <a:pt x="439" y="221"/>
                  </a:lnTo>
                  <a:lnTo>
                    <a:pt x="439" y="222"/>
                  </a:lnTo>
                  <a:lnTo>
                    <a:pt x="440" y="223"/>
                  </a:lnTo>
                  <a:lnTo>
                    <a:pt x="440" y="223"/>
                  </a:lnTo>
                  <a:lnTo>
                    <a:pt x="441" y="224"/>
                  </a:lnTo>
                  <a:lnTo>
                    <a:pt x="441" y="225"/>
                  </a:lnTo>
                  <a:lnTo>
                    <a:pt x="441" y="226"/>
                  </a:lnTo>
                  <a:lnTo>
                    <a:pt x="441" y="227"/>
                  </a:lnTo>
                  <a:lnTo>
                    <a:pt x="442" y="231"/>
                  </a:lnTo>
                  <a:lnTo>
                    <a:pt x="442" y="232"/>
                  </a:lnTo>
                  <a:lnTo>
                    <a:pt x="442" y="233"/>
                  </a:lnTo>
                  <a:lnTo>
                    <a:pt x="442" y="235"/>
                  </a:lnTo>
                  <a:lnTo>
                    <a:pt x="442" y="237"/>
                  </a:lnTo>
                  <a:lnTo>
                    <a:pt x="441" y="238"/>
                  </a:lnTo>
                  <a:lnTo>
                    <a:pt x="441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0" y="242"/>
                  </a:lnTo>
                  <a:lnTo>
                    <a:pt x="439" y="243"/>
                  </a:lnTo>
                  <a:lnTo>
                    <a:pt x="437" y="246"/>
                  </a:lnTo>
                  <a:lnTo>
                    <a:pt x="434" y="249"/>
                  </a:lnTo>
                  <a:lnTo>
                    <a:pt x="434" y="250"/>
                  </a:lnTo>
                  <a:lnTo>
                    <a:pt x="433" y="251"/>
                  </a:lnTo>
                  <a:lnTo>
                    <a:pt x="432" y="252"/>
                  </a:lnTo>
                  <a:lnTo>
                    <a:pt x="432" y="253"/>
                  </a:lnTo>
                  <a:lnTo>
                    <a:pt x="431" y="254"/>
                  </a:lnTo>
                  <a:lnTo>
                    <a:pt x="431" y="255"/>
                  </a:lnTo>
                  <a:lnTo>
                    <a:pt x="431" y="256"/>
                  </a:lnTo>
                  <a:lnTo>
                    <a:pt x="431" y="258"/>
                  </a:lnTo>
                  <a:lnTo>
                    <a:pt x="431" y="259"/>
                  </a:lnTo>
                  <a:lnTo>
                    <a:pt x="431" y="259"/>
                  </a:lnTo>
                  <a:lnTo>
                    <a:pt x="431" y="260"/>
                  </a:lnTo>
                  <a:lnTo>
                    <a:pt x="432" y="262"/>
                  </a:lnTo>
                  <a:lnTo>
                    <a:pt x="433" y="265"/>
                  </a:lnTo>
                  <a:lnTo>
                    <a:pt x="433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9"/>
                  </a:lnTo>
                  <a:lnTo>
                    <a:pt x="432" y="271"/>
                  </a:lnTo>
                  <a:lnTo>
                    <a:pt x="431" y="274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1" y="279"/>
                  </a:lnTo>
                  <a:lnTo>
                    <a:pt x="430" y="279"/>
                  </a:lnTo>
                  <a:lnTo>
                    <a:pt x="430" y="279"/>
                  </a:lnTo>
                  <a:lnTo>
                    <a:pt x="429" y="279"/>
                  </a:lnTo>
                  <a:lnTo>
                    <a:pt x="427" y="279"/>
                  </a:lnTo>
                  <a:lnTo>
                    <a:pt x="426" y="279"/>
                  </a:lnTo>
                  <a:lnTo>
                    <a:pt x="425" y="279"/>
                  </a:lnTo>
                  <a:lnTo>
                    <a:pt x="423" y="278"/>
                  </a:lnTo>
                  <a:lnTo>
                    <a:pt x="421" y="278"/>
                  </a:lnTo>
                  <a:lnTo>
                    <a:pt x="420" y="277"/>
                  </a:lnTo>
                  <a:lnTo>
                    <a:pt x="418" y="277"/>
                  </a:lnTo>
                  <a:lnTo>
                    <a:pt x="416" y="276"/>
                  </a:lnTo>
                  <a:lnTo>
                    <a:pt x="415" y="275"/>
                  </a:lnTo>
                  <a:lnTo>
                    <a:pt x="413" y="275"/>
                  </a:lnTo>
                  <a:lnTo>
                    <a:pt x="406" y="271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9"/>
                  </a:lnTo>
                  <a:lnTo>
                    <a:pt x="400" y="269"/>
                  </a:lnTo>
                  <a:lnTo>
                    <a:pt x="398" y="268"/>
                  </a:lnTo>
                  <a:lnTo>
                    <a:pt x="397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2" y="267"/>
                  </a:lnTo>
                  <a:lnTo>
                    <a:pt x="391" y="267"/>
                  </a:lnTo>
                  <a:lnTo>
                    <a:pt x="390" y="267"/>
                  </a:lnTo>
                  <a:lnTo>
                    <a:pt x="388" y="268"/>
                  </a:lnTo>
                  <a:lnTo>
                    <a:pt x="386" y="268"/>
                  </a:lnTo>
                  <a:lnTo>
                    <a:pt x="385" y="268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3" y="268"/>
                  </a:lnTo>
                  <a:lnTo>
                    <a:pt x="380" y="267"/>
                  </a:lnTo>
                  <a:lnTo>
                    <a:pt x="379" y="267"/>
                  </a:lnTo>
                  <a:lnTo>
                    <a:pt x="378" y="267"/>
                  </a:lnTo>
                  <a:lnTo>
                    <a:pt x="377" y="267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70" y="268"/>
                  </a:lnTo>
                  <a:lnTo>
                    <a:pt x="368" y="268"/>
                  </a:lnTo>
                  <a:lnTo>
                    <a:pt x="365" y="268"/>
                  </a:lnTo>
                  <a:lnTo>
                    <a:pt x="363" y="268"/>
                  </a:lnTo>
                  <a:lnTo>
                    <a:pt x="362" y="267"/>
                  </a:lnTo>
                  <a:lnTo>
                    <a:pt x="359" y="267"/>
                  </a:lnTo>
                  <a:lnTo>
                    <a:pt x="358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6" y="267"/>
                  </a:lnTo>
                  <a:lnTo>
                    <a:pt x="356" y="268"/>
                  </a:lnTo>
                  <a:lnTo>
                    <a:pt x="355" y="269"/>
                  </a:lnTo>
                  <a:lnTo>
                    <a:pt x="355" y="271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2" y="281"/>
                  </a:lnTo>
                  <a:lnTo>
                    <a:pt x="352" y="282"/>
                  </a:lnTo>
                  <a:lnTo>
                    <a:pt x="351" y="283"/>
                  </a:lnTo>
                  <a:lnTo>
                    <a:pt x="351" y="283"/>
                  </a:lnTo>
                  <a:lnTo>
                    <a:pt x="350" y="283"/>
                  </a:lnTo>
                  <a:lnTo>
                    <a:pt x="350" y="283"/>
                  </a:lnTo>
                  <a:lnTo>
                    <a:pt x="349" y="284"/>
                  </a:lnTo>
                  <a:lnTo>
                    <a:pt x="348" y="284"/>
                  </a:lnTo>
                  <a:lnTo>
                    <a:pt x="346" y="284"/>
                  </a:lnTo>
                  <a:lnTo>
                    <a:pt x="344" y="284"/>
                  </a:lnTo>
                  <a:lnTo>
                    <a:pt x="343" y="284"/>
                  </a:lnTo>
                  <a:lnTo>
                    <a:pt x="341" y="284"/>
                  </a:lnTo>
                  <a:lnTo>
                    <a:pt x="337" y="283"/>
                  </a:lnTo>
                  <a:lnTo>
                    <a:pt x="336" y="283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4" y="283"/>
                  </a:lnTo>
                  <a:lnTo>
                    <a:pt x="331" y="283"/>
                  </a:lnTo>
                  <a:lnTo>
                    <a:pt x="329" y="284"/>
                  </a:lnTo>
                  <a:lnTo>
                    <a:pt x="327" y="284"/>
                  </a:lnTo>
                  <a:lnTo>
                    <a:pt x="326" y="284"/>
                  </a:lnTo>
                  <a:lnTo>
                    <a:pt x="325" y="284"/>
                  </a:lnTo>
                  <a:lnTo>
                    <a:pt x="324" y="284"/>
                  </a:lnTo>
                  <a:lnTo>
                    <a:pt x="324" y="284"/>
                  </a:lnTo>
                  <a:lnTo>
                    <a:pt x="323" y="283"/>
                  </a:lnTo>
                  <a:lnTo>
                    <a:pt x="322" y="283"/>
                  </a:lnTo>
                  <a:lnTo>
                    <a:pt x="322" y="283"/>
                  </a:lnTo>
                  <a:lnTo>
                    <a:pt x="321" y="283"/>
                  </a:lnTo>
                  <a:lnTo>
                    <a:pt x="321" y="283"/>
                  </a:lnTo>
                  <a:lnTo>
                    <a:pt x="320" y="283"/>
                  </a:lnTo>
                  <a:lnTo>
                    <a:pt x="319" y="283"/>
                  </a:lnTo>
                  <a:lnTo>
                    <a:pt x="318" y="283"/>
                  </a:lnTo>
                  <a:lnTo>
                    <a:pt x="317" y="284"/>
                  </a:lnTo>
                  <a:lnTo>
                    <a:pt x="316" y="284"/>
                  </a:lnTo>
                  <a:lnTo>
                    <a:pt x="316" y="285"/>
                  </a:lnTo>
                  <a:lnTo>
                    <a:pt x="315" y="285"/>
                  </a:lnTo>
                  <a:lnTo>
                    <a:pt x="314" y="287"/>
                  </a:lnTo>
                  <a:lnTo>
                    <a:pt x="313" y="288"/>
                  </a:lnTo>
                  <a:lnTo>
                    <a:pt x="311" y="289"/>
                  </a:lnTo>
                  <a:lnTo>
                    <a:pt x="311" y="290"/>
                  </a:lnTo>
                  <a:lnTo>
                    <a:pt x="310" y="290"/>
                  </a:lnTo>
                  <a:lnTo>
                    <a:pt x="310" y="291"/>
                  </a:lnTo>
                  <a:lnTo>
                    <a:pt x="309" y="291"/>
                  </a:lnTo>
                  <a:lnTo>
                    <a:pt x="309" y="291"/>
                  </a:lnTo>
                  <a:lnTo>
                    <a:pt x="308" y="291"/>
                  </a:lnTo>
                  <a:lnTo>
                    <a:pt x="308" y="291"/>
                  </a:lnTo>
                  <a:lnTo>
                    <a:pt x="307" y="291"/>
                  </a:lnTo>
                  <a:lnTo>
                    <a:pt x="307" y="290"/>
                  </a:lnTo>
                  <a:lnTo>
                    <a:pt x="307" y="290"/>
                  </a:lnTo>
                  <a:lnTo>
                    <a:pt x="303" y="284"/>
                  </a:lnTo>
                  <a:lnTo>
                    <a:pt x="302" y="283"/>
                  </a:lnTo>
                  <a:lnTo>
                    <a:pt x="301" y="282"/>
                  </a:lnTo>
                  <a:lnTo>
                    <a:pt x="300" y="281"/>
                  </a:lnTo>
                  <a:lnTo>
                    <a:pt x="299" y="281"/>
                  </a:lnTo>
                  <a:lnTo>
                    <a:pt x="296" y="279"/>
                  </a:lnTo>
                  <a:lnTo>
                    <a:pt x="293" y="277"/>
                  </a:lnTo>
                  <a:lnTo>
                    <a:pt x="292" y="276"/>
                  </a:lnTo>
                  <a:lnTo>
                    <a:pt x="290" y="275"/>
                  </a:lnTo>
                  <a:lnTo>
                    <a:pt x="289" y="275"/>
                  </a:lnTo>
                  <a:lnTo>
                    <a:pt x="285" y="274"/>
                  </a:lnTo>
                  <a:lnTo>
                    <a:pt x="281" y="272"/>
                  </a:lnTo>
                  <a:lnTo>
                    <a:pt x="280" y="272"/>
                  </a:lnTo>
                  <a:lnTo>
                    <a:pt x="278" y="272"/>
                  </a:lnTo>
                  <a:lnTo>
                    <a:pt x="277" y="271"/>
                  </a:lnTo>
                  <a:lnTo>
                    <a:pt x="276" y="271"/>
                  </a:lnTo>
                  <a:lnTo>
                    <a:pt x="276" y="271"/>
                  </a:lnTo>
                  <a:lnTo>
                    <a:pt x="275" y="270"/>
                  </a:lnTo>
                  <a:lnTo>
                    <a:pt x="273" y="269"/>
                  </a:lnTo>
                  <a:lnTo>
                    <a:pt x="272" y="267"/>
                  </a:lnTo>
                  <a:lnTo>
                    <a:pt x="271" y="266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2"/>
                  </a:lnTo>
                  <a:lnTo>
                    <a:pt x="264" y="258"/>
                  </a:lnTo>
                  <a:lnTo>
                    <a:pt x="262" y="256"/>
                  </a:lnTo>
                  <a:lnTo>
                    <a:pt x="261" y="255"/>
                  </a:lnTo>
                  <a:lnTo>
                    <a:pt x="260" y="254"/>
                  </a:lnTo>
                  <a:lnTo>
                    <a:pt x="258" y="254"/>
                  </a:lnTo>
                  <a:lnTo>
                    <a:pt x="257" y="253"/>
                  </a:lnTo>
                  <a:lnTo>
                    <a:pt x="256" y="252"/>
                  </a:lnTo>
                  <a:lnTo>
                    <a:pt x="252" y="250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6" y="247"/>
                  </a:lnTo>
                  <a:lnTo>
                    <a:pt x="243" y="246"/>
                  </a:lnTo>
                  <a:lnTo>
                    <a:pt x="239" y="245"/>
                  </a:lnTo>
                  <a:lnTo>
                    <a:pt x="235" y="244"/>
                  </a:lnTo>
                  <a:lnTo>
                    <a:pt x="234" y="244"/>
                  </a:lnTo>
                  <a:lnTo>
                    <a:pt x="232" y="243"/>
                  </a:lnTo>
                  <a:lnTo>
                    <a:pt x="231" y="243"/>
                  </a:lnTo>
                  <a:lnTo>
                    <a:pt x="230" y="242"/>
                  </a:lnTo>
                  <a:lnTo>
                    <a:pt x="229" y="242"/>
                  </a:lnTo>
                  <a:lnTo>
                    <a:pt x="228" y="242"/>
                  </a:lnTo>
                  <a:lnTo>
                    <a:pt x="224" y="242"/>
                  </a:lnTo>
                  <a:lnTo>
                    <a:pt x="222" y="242"/>
                  </a:lnTo>
                  <a:lnTo>
                    <a:pt x="221" y="242"/>
                  </a:lnTo>
                  <a:lnTo>
                    <a:pt x="221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19" y="241"/>
                  </a:lnTo>
                  <a:lnTo>
                    <a:pt x="219" y="240"/>
                  </a:lnTo>
                  <a:lnTo>
                    <a:pt x="218" y="240"/>
                  </a:lnTo>
                  <a:lnTo>
                    <a:pt x="216" y="238"/>
                  </a:lnTo>
                  <a:lnTo>
                    <a:pt x="214" y="236"/>
                  </a:lnTo>
                  <a:lnTo>
                    <a:pt x="213" y="235"/>
                  </a:lnTo>
                  <a:lnTo>
                    <a:pt x="212" y="233"/>
                  </a:lnTo>
                  <a:lnTo>
                    <a:pt x="211" y="233"/>
                  </a:lnTo>
                  <a:lnTo>
                    <a:pt x="210" y="232"/>
                  </a:lnTo>
                  <a:lnTo>
                    <a:pt x="209" y="232"/>
                  </a:lnTo>
                  <a:lnTo>
                    <a:pt x="209" y="231"/>
                  </a:lnTo>
                  <a:lnTo>
                    <a:pt x="208" y="231"/>
                  </a:lnTo>
                  <a:lnTo>
                    <a:pt x="207" y="230"/>
                  </a:lnTo>
                  <a:lnTo>
                    <a:pt x="205" y="230"/>
                  </a:lnTo>
                  <a:lnTo>
                    <a:pt x="202" y="230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6" y="227"/>
                  </a:lnTo>
                  <a:lnTo>
                    <a:pt x="195" y="227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3" y="225"/>
                  </a:lnTo>
                  <a:lnTo>
                    <a:pt x="192" y="224"/>
                  </a:lnTo>
                  <a:lnTo>
                    <a:pt x="191" y="223"/>
                  </a:lnTo>
                  <a:lnTo>
                    <a:pt x="190" y="222"/>
                  </a:lnTo>
                  <a:lnTo>
                    <a:pt x="190" y="221"/>
                  </a:lnTo>
                  <a:lnTo>
                    <a:pt x="189" y="221"/>
                  </a:lnTo>
                  <a:lnTo>
                    <a:pt x="189" y="221"/>
                  </a:lnTo>
                  <a:lnTo>
                    <a:pt x="188" y="221"/>
                  </a:lnTo>
                  <a:lnTo>
                    <a:pt x="188" y="221"/>
                  </a:lnTo>
                  <a:lnTo>
                    <a:pt x="187" y="221"/>
                  </a:lnTo>
                  <a:lnTo>
                    <a:pt x="186" y="222"/>
                  </a:lnTo>
                  <a:lnTo>
                    <a:pt x="185" y="223"/>
                  </a:lnTo>
                  <a:lnTo>
                    <a:pt x="184" y="224"/>
                  </a:lnTo>
                  <a:lnTo>
                    <a:pt x="183" y="225"/>
                  </a:lnTo>
                  <a:lnTo>
                    <a:pt x="182" y="226"/>
                  </a:lnTo>
                  <a:lnTo>
                    <a:pt x="181" y="228"/>
                  </a:lnTo>
                  <a:lnTo>
                    <a:pt x="180" y="230"/>
                  </a:lnTo>
                  <a:lnTo>
                    <a:pt x="179" y="233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8" y="235"/>
                  </a:lnTo>
                  <a:lnTo>
                    <a:pt x="176" y="237"/>
                  </a:lnTo>
                  <a:lnTo>
                    <a:pt x="175" y="240"/>
                  </a:lnTo>
                  <a:lnTo>
                    <a:pt x="174" y="240"/>
                  </a:lnTo>
                  <a:lnTo>
                    <a:pt x="174" y="241"/>
                  </a:lnTo>
                  <a:lnTo>
                    <a:pt x="173" y="241"/>
                  </a:lnTo>
                  <a:lnTo>
                    <a:pt x="173" y="241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6" y="242"/>
                  </a:lnTo>
                  <a:lnTo>
                    <a:pt x="165" y="242"/>
                  </a:lnTo>
                  <a:lnTo>
                    <a:pt x="164" y="242"/>
                  </a:lnTo>
                  <a:lnTo>
                    <a:pt x="164" y="241"/>
                  </a:lnTo>
                  <a:lnTo>
                    <a:pt x="163" y="241"/>
                  </a:lnTo>
                  <a:lnTo>
                    <a:pt x="161" y="240"/>
                  </a:lnTo>
                  <a:lnTo>
                    <a:pt x="158" y="239"/>
                  </a:lnTo>
                  <a:lnTo>
                    <a:pt x="152" y="236"/>
                  </a:lnTo>
                  <a:lnTo>
                    <a:pt x="150" y="235"/>
                  </a:lnTo>
                  <a:lnTo>
                    <a:pt x="150" y="234"/>
                  </a:lnTo>
                  <a:lnTo>
                    <a:pt x="149" y="234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6" y="231"/>
                  </a:lnTo>
                  <a:lnTo>
                    <a:pt x="146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5" y="227"/>
                  </a:lnTo>
                  <a:lnTo>
                    <a:pt x="146" y="226"/>
                  </a:lnTo>
                  <a:lnTo>
                    <a:pt x="146" y="225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5" y="219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7"/>
                  </a:lnTo>
                  <a:lnTo>
                    <a:pt x="140" y="217"/>
                  </a:lnTo>
                  <a:lnTo>
                    <a:pt x="139" y="216"/>
                  </a:lnTo>
                  <a:lnTo>
                    <a:pt x="138" y="216"/>
                  </a:lnTo>
                  <a:lnTo>
                    <a:pt x="137" y="215"/>
                  </a:lnTo>
                  <a:lnTo>
                    <a:pt x="135" y="214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1" y="212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7" y="211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3" y="210"/>
                  </a:lnTo>
                  <a:lnTo>
                    <a:pt x="123" y="209"/>
                  </a:lnTo>
                  <a:lnTo>
                    <a:pt x="122" y="209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3"/>
                  </a:lnTo>
                  <a:lnTo>
                    <a:pt x="120" y="203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19" y="202"/>
                  </a:lnTo>
                  <a:lnTo>
                    <a:pt x="119" y="201"/>
                  </a:lnTo>
                  <a:lnTo>
                    <a:pt x="118" y="201"/>
                  </a:lnTo>
                  <a:lnTo>
                    <a:pt x="115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9" y="199"/>
                  </a:lnTo>
                  <a:lnTo>
                    <a:pt x="108" y="198"/>
                  </a:lnTo>
                  <a:lnTo>
                    <a:pt x="107" y="198"/>
                  </a:lnTo>
                  <a:lnTo>
                    <a:pt x="106" y="197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4" y="195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0" y="191"/>
                  </a:lnTo>
                  <a:lnTo>
                    <a:pt x="99" y="191"/>
                  </a:lnTo>
                  <a:lnTo>
                    <a:pt x="98" y="190"/>
                  </a:lnTo>
                  <a:lnTo>
                    <a:pt x="95" y="189"/>
                  </a:lnTo>
                  <a:lnTo>
                    <a:pt x="94" y="189"/>
                  </a:lnTo>
                  <a:lnTo>
                    <a:pt x="93" y="188"/>
                  </a:lnTo>
                  <a:lnTo>
                    <a:pt x="93" y="187"/>
                  </a:lnTo>
                  <a:lnTo>
                    <a:pt x="92" y="187"/>
                  </a:lnTo>
                  <a:lnTo>
                    <a:pt x="91" y="187"/>
                  </a:lnTo>
                  <a:lnTo>
                    <a:pt x="89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7" y="186"/>
                  </a:lnTo>
                  <a:lnTo>
                    <a:pt x="73" y="186"/>
                  </a:lnTo>
                  <a:lnTo>
                    <a:pt x="72" y="186"/>
                  </a:lnTo>
                  <a:lnTo>
                    <a:pt x="71" y="186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7" y="186"/>
                  </a:lnTo>
                  <a:lnTo>
                    <a:pt x="66" y="186"/>
                  </a:lnTo>
                  <a:lnTo>
                    <a:pt x="66" y="185"/>
                  </a:lnTo>
                  <a:lnTo>
                    <a:pt x="64" y="184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0"/>
                  </a:lnTo>
                  <a:lnTo>
                    <a:pt x="59" y="179"/>
                  </a:lnTo>
                  <a:lnTo>
                    <a:pt x="52" y="174"/>
                  </a:lnTo>
                  <a:lnTo>
                    <a:pt x="49" y="172"/>
                  </a:lnTo>
                  <a:lnTo>
                    <a:pt x="47" y="171"/>
                  </a:lnTo>
                  <a:lnTo>
                    <a:pt x="42" y="167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8" y="161"/>
                  </a:lnTo>
                  <a:lnTo>
                    <a:pt x="38" y="157"/>
                  </a:lnTo>
                  <a:lnTo>
                    <a:pt x="39" y="154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9" y="148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4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6" y="131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19"/>
                  </a:lnTo>
                  <a:lnTo>
                    <a:pt x="46" y="118"/>
                  </a:lnTo>
                  <a:lnTo>
                    <a:pt x="45" y="118"/>
                  </a:lnTo>
                  <a:lnTo>
                    <a:pt x="45" y="117"/>
                  </a:lnTo>
                  <a:lnTo>
                    <a:pt x="44" y="116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1" y="114"/>
                  </a:lnTo>
                  <a:lnTo>
                    <a:pt x="38" y="113"/>
                  </a:lnTo>
                  <a:lnTo>
                    <a:pt x="37" y="112"/>
                  </a:lnTo>
                  <a:lnTo>
                    <a:pt x="35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29" y="106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5" y="98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3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8"/>
                  </a:lnTo>
                  <a:lnTo>
                    <a:pt x="5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2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3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8" y="46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62">
              <a:extLst>
                <a:ext uri="{FF2B5EF4-FFF2-40B4-BE49-F238E27FC236}">
                  <a16:creationId xmlns:a16="http://schemas.microsoft.com/office/drawing/2014/main" id="{E3E7B398-844C-20AC-7E7B-1C3226E359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" y="3273"/>
              <a:ext cx="83" cy="28"/>
            </a:xfrm>
            <a:custGeom>
              <a:avLst/>
              <a:gdLst>
                <a:gd name="T0" fmla="*/ 1 w 83"/>
                <a:gd name="T1" fmla="*/ 28 h 28"/>
                <a:gd name="T2" fmla="*/ 4 w 83"/>
                <a:gd name="T3" fmla="*/ 26 h 28"/>
                <a:gd name="T4" fmla="*/ 5 w 83"/>
                <a:gd name="T5" fmla="*/ 24 h 28"/>
                <a:gd name="T6" fmla="*/ 6 w 83"/>
                <a:gd name="T7" fmla="*/ 22 h 28"/>
                <a:gd name="T8" fmla="*/ 7 w 83"/>
                <a:gd name="T9" fmla="*/ 21 h 28"/>
                <a:gd name="T10" fmla="*/ 8 w 83"/>
                <a:gd name="T11" fmla="*/ 19 h 28"/>
                <a:gd name="T12" fmla="*/ 9 w 83"/>
                <a:gd name="T13" fmla="*/ 18 h 28"/>
                <a:gd name="T14" fmla="*/ 11 w 83"/>
                <a:gd name="T15" fmla="*/ 17 h 28"/>
                <a:gd name="T16" fmla="*/ 14 w 83"/>
                <a:gd name="T17" fmla="*/ 17 h 28"/>
                <a:gd name="T18" fmla="*/ 16 w 83"/>
                <a:gd name="T19" fmla="*/ 16 h 28"/>
                <a:gd name="T20" fmla="*/ 20 w 83"/>
                <a:gd name="T21" fmla="*/ 14 h 28"/>
                <a:gd name="T22" fmla="*/ 20 w 83"/>
                <a:gd name="T23" fmla="*/ 14 h 28"/>
                <a:gd name="T24" fmla="*/ 21 w 83"/>
                <a:gd name="T25" fmla="*/ 14 h 28"/>
                <a:gd name="T26" fmla="*/ 22 w 83"/>
                <a:gd name="T27" fmla="*/ 15 h 28"/>
                <a:gd name="T28" fmla="*/ 24 w 83"/>
                <a:gd name="T29" fmla="*/ 17 h 28"/>
                <a:gd name="T30" fmla="*/ 26 w 83"/>
                <a:gd name="T31" fmla="*/ 17 h 28"/>
                <a:gd name="T32" fmla="*/ 28 w 83"/>
                <a:gd name="T33" fmla="*/ 18 h 28"/>
                <a:gd name="T34" fmla="*/ 30 w 83"/>
                <a:gd name="T35" fmla="*/ 18 h 28"/>
                <a:gd name="T36" fmla="*/ 32 w 83"/>
                <a:gd name="T37" fmla="*/ 18 h 28"/>
                <a:gd name="T38" fmla="*/ 36 w 83"/>
                <a:gd name="T39" fmla="*/ 18 h 28"/>
                <a:gd name="T40" fmla="*/ 39 w 83"/>
                <a:gd name="T41" fmla="*/ 18 h 28"/>
                <a:gd name="T42" fmla="*/ 42 w 83"/>
                <a:gd name="T43" fmla="*/ 18 h 28"/>
                <a:gd name="T44" fmla="*/ 44 w 83"/>
                <a:gd name="T45" fmla="*/ 18 h 28"/>
                <a:gd name="T46" fmla="*/ 45 w 83"/>
                <a:gd name="T47" fmla="*/ 19 h 28"/>
                <a:gd name="T48" fmla="*/ 49 w 83"/>
                <a:gd name="T49" fmla="*/ 20 h 28"/>
                <a:gd name="T50" fmla="*/ 51 w 83"/>
                <a:gd name="T51" fmla="*/ 21 h 28"/>
                <a:gd name="T52" fmla="*/ 54 w 83"/>
                <a:gd name="T53" fmla="*/ 21 h 28"/>
                <a:gd name="T54" fmla="*/ 55 w 83"/>
                <a:gd name="T55" fmla="*/ 21 h 28"/>
                <a:gd name="T56" fmla="*/ 59 w 83"/>
                <a:gd name="T57" fmla="*/ 19 h 28"/>
                <a:gd name="T58" fmla="*/ 62 w 83"/>
                <a:gd name="T59" fmla="*/ 18 h 28"/>
                <a:gd name="T60" fmla="*/ 65 w 83"/>
                <a:gd name="T61" fmla="*/ 17 h 28"/>
                <a:gd name="T62" fmla="*/ 67 w 83"/>
                <a:gd name="T63" fmla="*/ 16 h 28"/>
                <a:gd name="T64" fmla="*/ 68 w 83"/>
                <a:gd name="T65" fmla="*/ 15 h 28"/>
                <a:gd name="T66" fmla="*/ 69 w 83"/>
                <a:gd name="T67" fmla="*/ 13 h 28"/>
                <a:gd name="T68" fmla="*/ 70 w 83"/>
                <a:gd name="T69" fmla="*/ 12 h 28"/>
                <a:gd name="T70" fmla="*/ 72 w 83"/>
                <a:gd name="T71" fmla="*/ 8 h 28"/>
                <a:gd name="T72" fmla="*/ 73 w 83"/>
                <a:gd name="T73" fmla="*/ 7 h 28"/>
                <a:gd name="T74" fmla="*/ 74 w 83"/>
                <a:gd name="T75" fmla="*/ 6 h 28"/>
                <a:gd name="T76" fmla="*/ 76 w 83"/>
                <a:gd name="T77" fmla="*/ 4 h 28"/>
                <a:gd name="T78" fmla="*/ 78 w 83"/>
                <a:gd name="T79" fmla="*/ 2 h 28"/>
                <a:gd name="T80" fmla="*/ 82 w 83"/>
                <a:gd name="T81" fmla="*/ 0 h 28"/>
                <a:gd name="T82" fmla="*/ 82 w 83"/>
                <a:gd name="T8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3" h="28">
                  <a:moveTo>
                    <a:pt x="0" y="28"/>
                  </a:moveTo>
                  <a:lnTo>
                    <a:pt x="1" y="28"/>
                  </a:lnTo>
                  <a:lnTo>
                    <a:pt x="2" y="27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6" y="22"/>
                  </a:lnTo>
                  <a:lnTo>
                    <a:pt x="6" y="21"/>
                  </a:lnTo>
                  <a:lnTo>
                    <a:pt x="7" y="21"/>
                  </a:lnTo>
                  <a:lnTo>
                    <a:pt x="7" y="20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10" y="18"/>
                  </a:lnTo>
                  <a:lnTo>
                    <a:pt x="11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5" y="17"/>
                  </a:lnTo>
                  <a:lnTo>
                    <a:pt x="16" y="16"/>
                  </a:lnTo>
                  <a:lnTo>
                    <a:pt x="19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4" y="17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30" y="18"/>
                  </a:lnTo>
                  <a:lnTo>
                    <a:pt x="31" y="18"/>
                  </a:lnTo>
                  <a:lnTo>
                    <a:pt x="32" y="18"/>
                  </a:lnTo>
                  <a:lnTo>
                    <a:pt x="35" y="18"/>
                  </a:lnTo>
                  <a:lnTo>
                    <a:pt x="36" y="18"/>
                  </a:lnTo>
                  <a:lnTo>
                    <a:pt x="37" y="18"/>
                  </a:lnTo>
                  <a:lnTo>
                    <a:pt x="39" y="18"/>
                  </a:lnTo>
                  <a:lnTo>
                    <a:pt x="40" y="18"/>
                  </a:lnTo>
                  <a:lnTo>
                    <a:pt x="42" y="18"/>
                  </a:lnTo>
                  <a:lnTo>
                    <a:pt x="43" y="18"/>
                  </a:lnTo>
                  <a:lnTo>
                    <a:pt x="44" y="18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7" y="19"/>
                  </a:lnTo>
                  <a:lnTo>
                    <a:pt x="49" y="20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52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5" y="21"/>
                  </a:lnTo>
                  <a:lnTo>
                    <a:pt x="56" y="20"/>
                  </a:lnTo>
                  <a:lnTo>
                    <a:pt x="59" y="19"/>
                  </a:lnTo>
                  <a:lnTo>
                    <a:pt x="60" y="18"/>
                  </a:lnTo>
                  <a:lnTo>
                    <a:pt x="62" y="18"/>
                  </a:lnTo>
                  <a:lnTo>
                    <a:pt x="64" y="17"/>
                  </a:lnTo>
                  <a:lnTo>
                    <a:pt x="65" y="17"/>
                  </a:lnTo>
                  <a:lnTo>
                    <a:pt x="66" y="17"/>
                  </a:lnTo>
                  <a:lnTo>
                    <a:pt x="67" y="16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9" y="14"/>
                  </a:lnTo>
                  <a:lnTo>
                    <a:pt x="69" y="13"/>
                  </a:lnTo>
                  <a:lnTo>
                    <a:pt x="70" y="13"/>
                  </a:lnTo>
                  <a:lnTo>
                    <a:pt x="70" y="12"/>
                  </a:lnTo>
                  <a:lnTo>
                    <a:pt x="71" y="9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3" y="7"/>
                  </a:lnTo>
                  <a:lnTo>
                    <a:pt x="73" y="6"/>
                  </a:lnTo>
                  <a:lnTo>
                    <a:pt x="74" y="6"/>
                  </a:lnTo>
                  <a:lnTo>
                    <a:pt x="75" y="5"/>
                  </a:lnTo>
                  <a:lnTo>
                    <a:pt x="76" y="4"/>
                  </a:lnTo>
                  <a:lnTo>
                    <a:pt x="77" y="3"/>
                  </a:lnTo>
                  <a:lnTo>
                    <a:pt x="78" y="2"/>
                  </a:lnTo>
                  <a:lnTo>
                    <a:pt x="80" y="1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3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Freeform 63">
              <a:extLst>
                <a:ext uri="{FF2B5EF4-FFF2-40B4-BE49-F238E27FC236}">
                  <a16:creationId xmlns:a16="http://schemas.microsoft.com/office/drawing/2014/main" id="{1414E6A3-7514-7172-83FE-38A3ABDE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" y="3418"/>
              <a:ext cx="457" cy="425"/>
            </a:xfrm>
            <a:custGeom>
              <a:avLst/>
              <a:gdLst>
                <a:gd name="T0" fmla="*/ 224 w 457"/>
                <a:gd name="T1" fmla="*/ 24 h 425"/>
                <a:gd name="T2" fmla="*/ 248 w 457"/>
                <a:gd name="T3" fmla="*/ 33 h 425"/>
                <a:gd name="T4" fmla="*/ 266 w 457"/>
                <a:gd name="T5" fmla="*/ 47 h 425"/>
                <a:gd name="T6" fmla="*/ 290 w 457"/>
                <a:gd name="T7" fmla="*/ 57 h 425"/>
                <a:gd name="T8" fmla="*/ 309 w 457"/>
                <a:gd name="T9" fmla="*/ 79 h 425"/>
                <a:gd name="T10" fmla="*/ 330 w 457"/>
                <a:gd name="T11" fmla="*/ 58 h 425"/>
                <a:gd name="T12" fmla="*/ 352 w 457"/>
                <a:gd name="T13" fmla="*/ 69 h 425"/>
                <a:gd name="T14" fmla="*/ 382 w 457"/>
                <a:gd name="T15" fmla="*/ 82 h 425"/>
                <a:gd name="T16" fmla="*/ 421 w 457"/>
                <a:gd name="T17" fmla="*/ 109 h 425"/>
                <a:gd name="T18" fmla="*/ 447 w 457"/>
                <a:gd name="T19" fmla="*/ 140 h 425"/>
                <a:gd name="T20" fmla="*/ 456 w 457"/>
                <a:gd name="T21" fmla="*/ 155 h 425"/>
                <a:gd name="T22" fmla="*/ 443 w 457"/>
                <a:gd name="T23" fmla="*/ 168 h 425"/>
                <a:gd name="T24" fmla="*/ 444 w 457"/>
                <a:gd name="T25" fmla="*/ 186 h 425"/>
                <a:gd name="T26" fmla="*/ 430 w 457"/>
                <a:gd name="T27" fmla="*/ 181 h 425"/>
                <a:gd name="T28" fmla="*/ 432 w 457"/>
                <a:gd name="T29" fmla="*/ 192 h 425"/>
                <a:gd name="T30" fmla="*/ 411 w 457"/>
                <a:gd name="T31" fmla="*/ 204 h 425"/>
                <a:gd name="T32" fmla="*/ 403 w 457"/>
                <a:gd name="T33" fmla="*/ 234 h 425"/>
                <a:gd name="T34" fmla="*/ 415 w 457"/>
                <a:gd name="T35" fmla="*/ 248 h 425"/>
                <a:gd name="T36" fmla="*/ 414 w 457"/>
                <a:gd name="T37" fmla="*/ 266 h 425"/>
                <a:gd name="T38" fmla="*/ 409 w 457"/>
                <a:gd name="T39" fmla="*/ 285 h 425"/>
                <a:gd name="T40" fmla="*/ 415 w 457"/>
                <a:gd name="T41" fmla="*/ 304 h 425"/>
                <a:gd name="T42" fmla="*/ 405 w 457"/>
                <a:gd name="T43" fmla="*/ 320 h 425"/>
                <a:gd name="T44" fmla="*/ 400 w 457"/>
                <a:gd name="T45" fmla="*/ 334 h 425"/>
                <a:gd name="T46" fmla="*/ 405 w 457"/>
                <a:gd name="T47" fmla="*/ 353 h 425"/>
                <a:gd name="T48" fmla="*/ 381 w 457"/>
                <a:gd name="T49" fmla="*/ 365 h 425"/>
                <a:gd name="T50" fmla="*/ 362 w 457"/>
                <a:gd name="T51" fmla="*/ 380 h 425"/>
                <a:gd name="T52" fmla="*/ 334 w 457"/>
                <a:gd name="T53" fmla="*/ 383 h 425"/>
                <a:gd name="T54" fmla="*/ 316 w 457"/>
                <a:gd name="T55" fmla="*/ 377 h 425"/>
                <a:gd name="T56" fmla="*/ 300 w 457"/>
                <a:gd name="T57" fmla="*/ 386 h 425"/>
                <a:gd name="T58" fmla="*/ 275 w 457"/>
                <a:gd name="T59" fmla="*/ 400 h 425"/>
                <a:gd name="T60" fmla="*/ 253 w 457"/>
                <a:gd name="T61" fmla="*/ 419 h 425"/>
                <a:gd name="T62" fmla="*/ 229 w 457"/>
                <a:gd name="T63" fmla="*/ 424 h 425"/>
                <a:gd name="T64" fmla="*/ 211 w 457"/>
                <a:gd name="T65" fmla="*/ 422 h 425"/>
                <a:gd name="T66" fmla="*/ 193 w 457"/>
                <a:gd name="T67" fmla="*/ 408 h 425"/>
                <a:gd name="T68" fmla="*/ 183 w 457"/>
                <a:gd name="T69" fmla="*/ 397 h 425"/>
                <a:gd name="T70" fmla="*/ 199 w 457"/>
                <a:gd name="T71" fmla="*/ 369 h 425"/>
                <a:gd name="T72" fmla="*/ 211 w 457"/>
                <a:gd name="T73" fmla="*/ 355 h 425"/>
                <a:gd name="T74" fmla="*/ 200 w 457"/>
                <a:gd name="T75" fmla="*/ 339 h 425"/>
                <a:gd name="T76" fmla="*/ 173 w 457"/>
                <a:gd name="T77" fmla="*/ 342 h 425"/>
                <a:gd name="T78" fmla="*/ 142 w 457"/>
                <a:gd name="T79" fmla="*/ 330 h 425"/>
                <a:gd name="T80" fmla="*/ 134 w 457"/>
                <a:gd name="T81" fmla="*/ 301 h 425"/>
                <a:gd name="T82" fmla="*/ 107 w 457"/>
                <a:gd name="T83" fmla="*/ 299 h 425"/>
                <a:gd name="T84" fmla="*/ 77 w 457"/>
                <a:gd name="T85" fmla="*/ 296 h 425"/>
                <a:gd name="T86" fmla="*/ 58 w 457"/>
                <a:gd name="T87" fmla="*/ 284 h 425"/>
                <a:gd name="T88" fmla="*/ 52 w 457"/>
                <a:gd name="T89" fmla="*/ 272 h 425"/>
                <a:gd name="T90" fmla="*/ 26 w 457"/>
                <a:gd name="T91" fmla="*/ 269 h 425"/>
                <a:gd name="T92" fmla="*/ 5 w 457"/>
                <a:gd name="T93" fmla="*/ 242 h 425"/>
                <a:gd name="T94" fmla="*/ 0 w 457"/>
                <a:gd name="T95" fmla="*/ 222 h 425"/>
                <a:gd name="T96" fmla="*/ 8 w 457"/>
                <a:gd name="T97" fmla="*/ 188 h 425"/>
                <a:gd name="T98" fmla="*/ 5 w 457"/>
                <a:gd name="T99" fmla="*/ 160 h 425"/>
                <a:gd name="T100" fmla="*/ 11 w 457"/>
                <a:gd name="T101" fmla="*/ 145 h 425"/>
                <a:gd name="T102" fmla="*/ 26 w 457"/>
                <a:gd name="T103" fmla="*/ 129 h 425"/>
                <a:gd name="T104" fmla="*/ 39 w 457"/>
                <a:gd name="T105" fmla="*/ 122 h 425"/>
                <a:gd name="T106" fmla="*/ 74 w 457"/>
                <a:gd name="T107" fmla="*/ 121 h 425"/>
                <a:gd name="T108" fmla="*/ 88 w 457"/>
                <a:gd name="T109" fmla="*/ 115 h 425"/>
                <a:gd name="T110" fmla="*/ 105 w 457"/>
                <a:gd name="T111" fmla="*/ 105 h 425"/>
                <a:gd name="T112" fmla="*/ 87 w 457"/>
                <a:gd name="T113" fmla="*/ 86 h 425"/>
                <a:gd name="T114" fmla="*/ 99 w 457"/>
                <a:gd name="T115" fmla="*/ 53 h 425"/>
                <a:gd name="T116" fmla="*/ 113 w 457"/>
                <a:gd name="T117" fmla="*/ 49 h 425"/>
                <a:gd name="T118" fmla="*/ 146 w 457"/>
                <a:gd name="T119" fmla="*/ 32 h 425"/>
                <a:gd name="T120" fmla="*/ 160 w 457"/>
                <a:gd name="T121" fmla="*/ 25 h 425"/>
                <a:gd name="T122" fmla="*/ 169 w 457"/>
                <a:gd name="T123" fmla="*/ 9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7" h="425">
                  <a:moveTo>
                    <a:pt x="185" y="4"/>
                  </a:moveTo>
                  <a:lnTo>
                    <a:pt x="190" y="8"/>
                  </a:lnTo>
                  <a:lnTo>
                    <a:pt x="192" y="9"/>
                  </a:lnTo>
                  <a:lnTo>
                    <a:pt x="195" y="11"/>
                  </a:lnTo>
                  <a:lnTo>
                    <a:pt x="202" y="16"/>
                  </a:lnTo>
                  <a:lnTo>
                    <a:pt x="203" y="17"/>
                  </a:lnTo>
                  <a:lnTo>
                    <a:pt x="205" y="19"/>
                  </a:lnTo>
                  <a:lnTo>
                    <a:pt x="206" y="19"/>
                  </a:lnTo>
                  <a:lnTo>
                    <a:pt x="207" y="21"/>
                  </a:lnTo>
                  <a:lnTo>
                    <a:pt x="209" y="22"/>
                  </a:lnTo>
                  <a:lnTo>
                    <a:pt x="209" y="23"/>
                  </a:lnTo>
                  <a:lnTo>
                    <a:pt x="210" y="23"/>
                  </a:lnTo>
                  <a:lnTo>
                    <a:pt x="211" y="23"/>
                  </a:lnTo>
                  <a:lnTo>
                    <a:pt x="211" y="23"/>
                  </a:lnTo>
                  <a:lnTo>
                    <a:pt x="212" y="23"/>
                  </a:lnTo>
                  <a:lnTo>
                    <a:pt x="214" y="23"/>
                  </a:lnTo>
                  <a:lnTo>
                    <a:pt x="215" y="23"/>
                  </a:lnTo>
                  <a:lnTo>
                    <a:pt x="216" y="23"/>
                  </a:lnTo>
                  <a:lnTo>
                    <a:pt x="220" y="23"/>
                  </a:lnTo>
                  <a:lnTo>
                    <a:pt x="221" y="23"/>
                  </a:lnTo>
                  <a:lnTo>
                    <a:pt x="221" y="23"/>
                  </a:lnTo>
                  <a:lnTo>
                    <a:pt x="222" y="23"/>
                  </a:lnTo>
                  <a:lnTo>
                    <a:pt x="224" y="24"/>
                  </a:lnTo>
                  <a:lnTo>
                    <a:pt x="225" y="24"/>
                  </a:lnTo>
                  <a:lnTo>
                    <a:pt x="226" y="24"/>
                  </a:lnTo>
                  <a:lnTo>
                    <a:pt x="227" y="24"/>
                  </a:lnTo>
                  <a:lnTo>
                    <a:pt x="227" y="23"/>
                  </a:lnTo>
                  <a:lnTo>
                    <a:pt x="229" y="23"/>
                  </a:lnTo>
                  <a:lnTo>
                    <a:pt x="230" y="23"/>
                  </a:lnTo>
                  <a:lnTo>
                    <a:pt x="230" y="23"/>
                  </a:lnTo>
                  <a:lnTo>
                    <a:pt x="231" y="23"/>
                  </a:lnTo>
                  <a:lnTo>
                    <a:pt x="232" y="23"/>
                  </a:lnTo>
                  <a:lnTo>
                    <a:pt x="234" y="24"/>
                  </a:lnTo>
                  <a:lnTo>
                    <a:pt x="235" y="24"/>
                  </a:lnTo>
                  <a:lnTo>
                    <a:pt x="236" y="24"/>
                  </a:lnTo>
                  <a:lnTo>
                    <a:pt x="236" y="25"/>
                  </a:lnTo>
                  <a:lnTo>
                    <a:pt x="237" y="26"/>
                  </a:lnTo>
                  <a:lnTo>
                    <a:pt x="238" y="26"/>
                  </a:lnTo>
                  <a:lnTo>
                    <a:pt x="241" y="27"/>
                  </a:lnTo>
                  <a:lnTo>
                    <a:pt x="242" y="28"/>
                  </a:lnTo>
                  <a:lnTo>
                    <a:pt x="243" y="28"/>
                  </a:lnTo>
                  <a:lnTo>
                    <a:pt x="244" y="29"/>
                  </a:lnTo>
                  <a:lnTo>
                    <a:pt x="244" y="29"/>
                  </a:lnTo>
                  <a:lnTo>
                    <a:pt x="247" y="32"/>
                  </a:lnTo>
                  <a:lnTo>
                    <a:pt x="248" y="33"/>
                  </a:lnTo>
                  <a:lnTo>
                    <a:pt x="248" y="33"/>
                  </a:lnTo>
                  <a:lnTo>
                    <a:pt x="249" y="34"/>
                  </a:lnTo>
                  <a:lnTo>
                    <a:pt x="250" y="35"/>
                  </a:lnTo>
                  <a:lnTo>
                    <a:pt x="251" y="35"/>
                  </a:lnTo>
                  <a:lnTo>
                    <a:pt x="252" y="36"/>
                  </a:lnTo>
                  <a:lnTo>
                    <a:pt x="254" y="36"/>
                  </a:lnTo>
                  <a:lnTo>
                    <a:pt x="254" y="36"/>
                  </a:lnTo>
                  <a:lnTo>
                    <a:pt x="257" y="37"/>
                  </a:lnTo>
                  <a:lnTo>
                    <a:pt x="258" y="37"/>
                  </a:lnTo>
                  <a:lnTo>
                    <a:pt x="261" y="38"/>
                  </a:lnTo>
                  <a:lnTo>
                    <a:pt x="262" y="38"/>
                  </a:lnTo>
                  <a:lnTo>
                    <a:pt x="262" y="39"/>
                  </a:lnTo>
                  <a:lnTo>
                    <a:pt x="263" y="39"/>
                  </a:lnTo>
                  <a:lnTo>
                    <a:pt x="263" y="39"/>
                  </a:lnTo>
                  <a:lnTo>
                    <a:pt x="263" y="40"/>
                  </a:lnTo>
                  <a:lnTo>
                    <a:pt x="264" y="40"/>
                  </a:lnTo>
                  <a:lnTo>
                    <a:pt x="264" y="41"/>
                  </a:lnTo>
                  <a:lnTo>
                    <a:pt x="264" y="41"/>
                  </a:lnTo>
                  <a:lnTo>
                    <a:pt x="264" y="43"/>
                  </a:lnTo>
                  <a:lnTo>
                    <a:pt x="265" y="45"/>
                  </a:lnTo>
                  <a:lnTo>
                    <a:pt x="265" y="45"/>
                  </a:lnTo>
                  <a:lnTo>
                    <a:pt x="265" y="46"/>
                  </a:lnTo>
                  <a:lnTo>
                    <a:pt x="266" y="46"/>
                  </a:lnTo>
                  <a:lnTo>
                    <a:pt x="266" y="47"/>
                  </a:lnTo>
                  <a:lnTo>
                    <a:pt x="267" y="47"/>
                  </a:lnTo>
                  <a:lnTo>
                    <a:pt x="268" y="47"/>
                  </a:lnTo>
                  <a:lnTo>
                    <a:pt x="268" y="47"/>
                  </a:lnTo>
                  <a:lnTo>
                    <a:pt x="270" y="48"/>
                  </a:lnTo>
                  <a:lnTo>
                    <a:pt x="271" y="48"/>
                  </a:lnTo>
                  <a:lnTo>
                    <a:pt x="273" y="48"/>
                  </a:lnTo>
                  <a:lnTo>
                    <a:pt x="274" y="49"/>
                  </a:lnTo>
                  <a:lnTo>
                    <a:pt x="275" y="50"/>
                  </a:lnTo>
                  <a:lnTo>
                    <a:pt x="277" y="50"/>
                  </a:lnTo>
                  <a:lnTo>
                    <a:pt x="278" y="51"/>
                  </a:lnTo>
                  <a:lnTo>
                    <a:pt x="280" y="52"/>
                  </a:lnTo>
                  <a:lnTo>
                    <a:pt x="281" y="53"/>
                  </a:lnTo>
                  <a:lnTo>
                    <a:pt x="282" y="53"/>
                  </a:lnTo>
                  <a:lnTo>
                    <a:pt x="283" y="54"/>
                  </a:lnTo>
                  <a:lnTo>
                    <a:pt x="284" y="54"/>
                  </a:lnTo>
                  <a:lnTo>
                    <a:pt x="286" y="55"/>
                  </a:lnTo>
                  <a:lnTo>
                    <a:pt x="286" y="55"/>
                  </a:lnTo>
                  <a:lnTo>
                    <a:pt x="288" y="56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90" y="58"/>
                  </a:lnTo>
                  <a:lnTo>
                    <a:pt x="290" y="59"/>
                  </a:lnTo>
                  <a:lnTo>
                    <a:pt x="290" y="59"/>
                  </a:lnTo>
                  <a:lnTo>
                    <a:pt x="289" y="62"/>
                  </a:lnTo>
                  <a:lnTo>
                    <a:pt x="289" y="63"/>
                  </a:lnTo>
                  <a:lnTo>
                    <a:pt x="288" y="64"/>
                  </a:lnTo>
                  <a:lnTo>
                    <a:pt x="288" y="65"/>
                  </a:lnTo>
                  <a:lnTo>
                    <a:pt x="289" y="66"/>
                  </a:lnTo>
                  <a:lnTo>
                    <a:pt x="289" y="67"/>
                  </a:lnTo>
                  <a:lnTo>
                    <a:pt x="289" y="68"/>
                  </a:lnTo>
                  <a:lnTo>
                    <a:pt x="290" y="69"/>
                  </a:lnTo>
                  <a:lnTo>
                    <a:pt x="291" y="70"/>
                  </a:lnTo>
                  <a:lnTo>
                    <a:pt x="292" y="71"/>
                  </a:lnTo>
                  <a:lnTo>
                    <a:pt x="293" y="71"/>
                  </a:lnTo>
                  <a:lnTo>
                    <a:pt x="293" y="72"/>
                  </a:lnTo>
                  <a:lnTo>
                    <a:pt x="295" y="73"/>
                  </a:lnTo>
                  <a:lnTo>
                    <a:pt x="301" y="76"/>
                  </a:lnTo>
                  <a:lnTo>
                    <a:pt x="304" y="77"/>
                  </a:lnTo>
                  <a:lnTo>
                    <a:pt x="306" y="78"/>
                  </a:lnTo>
                  <a:lnTo>
                    <a:pt x="307" y="78"/>
                  </a:lnTo>
                  <a:lnTo>
                    <a:pt x="307" y="79"/>
                  </a:lnTo>
                  <a:lnTo>
                    <a:pt x="308" y="79"/>
                  </a:lnTo>
                  <a:lnTo>
                    <a:pt x="309" y="79"/>
                  </a:lnTo>
                  <a:lnTo>
                    <a:pt x="310" y="79"/>
                  </a:lnTo>
                  <a:lnTo>
                    <a:pt x="312" y="79"/>
                  </a:lnTo>
                  <a:lnTo>
                    <a:pt x="313" y="79"/>
                  </a:lnTo>
                  <a:lnTo>
                    <a:pt x="314" y="79"/>
                  </a:lnTo>
                  <a:lnTo>
                    <a:pt x="315" y="79"/>
                  </a:lnTo>
                  <a:lnTo>
                    <a:pt x="316" y="78"/>
                  </a:lnTo>
                  <a:lnTo>
                    <a:pt x="316" y="78"/>
                  </a:lnTo>
                  <a:lnTo>
                    <a:pt x="317" y="78"/>
                  </a:lnTo>
                  <a:lnTo>
                    <a:pt x="317" y="77"/>
                  </a:lnTo>
                  <a:lnTo>
                    <a:pt x="318" y="77"/>
                  </a:lnTo>
                  <a:lnTo>
                    <a:pt x="319" y="74"/>
                  </a:lnTo>
                  <a:lnTo>
                    <a:pt x="321" y="72"/>
                  </a:lnTo>
                  <a:lnTo>
                    <a:pt x="322" y="71"/>
                  </a:lnTo>
                  <a:lnTo>
                    <a:pt x="322" y="71"/>
                  </a:lnTo>
                  <a:lnTo>
                    <a:pt x="322" y="70"/>
                  </a:lnTo>
                  <a:lnTo>
                    <a:pt x="323" y="67"/>
                  </a:lnTo>
                  <a:lnTo>
                    <a:pt x="324" y="65"/>
                  </a:lnTo>
                  <a:lnTo>
                    <a:pt x="325" y="63"/>
                  </a:lnTo>
                  <a:lnTo>
                    <a:pt x="326" y="62"/>
                  </a:lnTo>
                  <a:lnTo>
                    <a:pt x="327" y="61"/>
                  </a:lnTo>
                  <a:lnTo>
                    <a:pt x="328" y="60"/>
                  </a:lnTo>
                  <a:lnTo>
                    <a:pt x="329" y="59"/>
                  </a:lnTo>
                  <a:lnTo>
                    <a:pt x="330" y="58"/>
                  </a:lnTo>
                  <a:lnTo>
                    <a:pt x="331" y="58"/>
                  </a:lnTo>
                  <a:lnTo>
                    <a:pt x="331" y="58"/>
                  </a:lnTo>
                  <a:lnTo>
                    <a:pt x="332" y="58"/>
                  </a:lnTo>
                  <a:lnTo>
                    <a:pt x="332" y="58"/>
                  </a:lnTo>
                  <a:lnTo>
                    <a:pt x="333" y="58"/>
                  </a:lnTo>
                  <a:lnTo>
                    <a:pt x="333" y="59"/>
                  </a:lnTo>
                  <a:lnTo>
                    <a:pt x="334" y="60"/>
                  </a:lnTo>
                  <a:lnTo>
                    <a:pt x="335" y="61"/>
                  </a:lnTo>
                  <a:lnTo>
                    <a:pt x="336" y="62"/>
                  </a:lnTo>
                  <a:lnTo>
                    <a:pt x="337" y="63"/>
                  </a:lnTo>
                  <a:lnTo>
                    <a:pt x="337" y="63"/>
                  </a:lnTo>
                  <a:lnTo>
                    <a:pt x="338" y="64"/>
                  </a:lnTo>
                  <a:lnTo>
                    <a:pt x="339" y="64"/>
                  </a:lnTo>
                  <a:lnTo>
                    <a:pt x="340" y="65"/>
                  </a:lnTo>
                  <a:lnTo>
                    <a:pt x="341" y="65"/>
                  </a:lnTo>
                  <a:lnTo>
                    <a:pt x="342" y="66"/>
                  </a:lnTo>
                  <a:lnTo>
                    <a:pt x="343" y="66"/>
                  </a:lnTo>
                  <a:lnTo>
                    <a:pt x="345" y="67"/>
                  </a:lnTo>
                  <a:lnTo>
                    <a:pt x="348" y="67"/>
                  </a:lnTo>
                  <a:lnTo>
                    <a:pt x="350" y="67"/>
                  </a:lnTo>
                  <a:lnTo>
                    <a:pt x="351" y="68"/>
                  </a:lnTo>
                  <a:lnTo>
                    <a:pt x="352" y="68"/>
                  </a:lnTo>
                  <a:lnTo>
                    <a:pt x="352" y="69"/>
                  </a:lnTo>
                  <a:lnTo>
                    <a:pt x="353" y="69"/>
                  </a:lnTo>
                  <a:lnTo>
                    <a:pt x="354" y="70"/>
                  </a:lnTo>
                  <a:lnTo>
                    <a:pt x="355" y="70"/>
                  </a:lnTo>
                  <a:lnTo>
                    <a:pt x="356" y="72"/>
                  </a:lnTo>
                  <a:lnTo>
                    <a:pt x="357" y="73"/>
                  </a:lnTo>
                  <a:lnTo>
                    <a:pt x="359" y="75"/>
                  </a:lnTo>
                  <a:lnTo>
                    <a:pt x="361" y="77"/>
                  </a:lnTo>
                  <a:lnTo>
                    <a:pt x="362" y="77"/>
                  </a:lnTo>
                  <a:lnTo>
                    <a:pt x="362" y="78"/>
                  </a:lnTo>
                  <a:lnTo>
                    <a:pt x="363" y="78"/>
                  </a:lnTo>
                  <a:lnTo>
                    <a:pt x="363" y="78"/>
                  </a:lnTo>
                  <a:lnTo>
                    <a:pt x="364" y="78"/>
                  </a:lnTo>
                  <a:lnTo>
                    <a:pt x="364" y="79"/>
                  </a:lnTo>
                  <a:lnTo>
                    <a:pt x="365" y="79"/>
                  </a:lnTo>
                  <a:lnTo>
                    <a:pt x="367" y="79"/>
                  </a:lnTo>
                  <a:lnTo>
                    <a:pt x="371" y="79"/>
                  </a:lnTo>
                  <a:lnTo>
                    <a:pt x="372" y="79"/>
                  </a:lnTo>
                  <a:lnTo>
                    <a:pt x="373" y="79"/>
                  </a:lnTo>
                  <a:lnTo>
                    <a:pt x="374" y="80"/>
                  </a:lnTo>
                  <a:lnTo>
                    <a:pt x="375" y="80"/>
                  </a:lnTo>
                  <a:lnTo>
                    <a:pt x="377" y="81"/>
                  </a:lnTo>
                  <a:lnTo>
                    <a:pt x="378" y="81"/>
                  </a:lnTo>
                  <a:lnTo>
                    <a:pt x="382" y="82"/>
                  </a:lnTo>
                  <a:lnTo>
                    <a:pt x="386" y="83"/>
                  </a:lnTo>
                  <a:lnTo>
                    <a:pt x="389" y="84"/>
                  </a:lnTo>
                  <a:lnTo>
                    <a:pt x="390" y="85"/>
                  </a:lnTo>
                  <a:lnTo>
                    <a:pt x="390" y="85"/>
                  </a:lnTo>
                  <a:lnTo>
                    <a:pt x="395" y="87"/>
                  </a:lnTo>
                  <a:lnTo>
                    <a:pt x="399" y="89"/>
                  </a:lnTo>
                  <a:lnTo>
                    <a:pt x="400" y="90"/>
                  </a:lnTo>
                  <a:lnTo>
                    <a:pt x="401" y="91"/>
                  </a:lnTo>
                  <a:lnTo>
                    <a:pt x="403" y="91"/>
                  </a:lnTo>
                  <a:lnTo>
                    <a:pt x="404" y="92"/>
                  </a:lnTo>
                  <a:lnTo>
                    <a:pt x="405" y="93"/>
                  </a:lnTo>
                  <a:lnTo>
                    <a:pt x="407" y="95"/>
                  </a:lnTo>
                  <a:lnTo>
                    <a:pt x="410" y="99"/>
                  </a:lnTo>
                  <a:lnTo>
                    <a:pt x="412" y="100"/>
                  </a:lnTo>
                  <a:lnTo>
                    <a:pt x="413" y="101"/>
                  </a:lnTo>
                  <a:lnTo>
                    <a:pt x="414" y="103"/>
                  </a:lnTo>
                  <a:lnTo>
                    <a:pt x="415" y="104"/>
                  </a:lnTo>
                  <a:lnTo>
                    <a:pt x="416" y="106"/>
                  </a:lnTo>
                  <a:lnTo>
                    <a:pt x="418" y="107"/>
                  </a:lnTo>
                  <a:lnTo>
                    <a:pt x="419" y="108"/>
                  </a:lnTo>
                  <a:lnTo>
                    <a:pt x="419" y="108"/>
                  </a:lnTo>
                  <a:lnTo>
                    <a:pt x="420" y="108"/>
                  </a:lnTo>
                  <a:lnTo>
                    <a:pt x="421" y="109"/>
                  </a:lnTo>
                  <a:lnTo>
                    <a:pt x="423" y="109"/>
                  </a:lnTo>
                  <a:lnTo>
                    <a:pt x="424" y="109"/>
                  </a:lnTo>
                  <a:lnTo>
                    <a:pt x="428" y="111"/>
                  </a:lnTo>
                  <a:lnTo>
                    <a:pt x="432" y="112"/>
                  </a:lnTo>
                  <a:lnTo>
                    <a:pt x="433" y="112"/>
                  </a:lnTo>
                  <a:lnTo>
                    <a:pt x="435" y="113"/>
                  </a:lnTo>
                  <a:lnTo>
                    <a:pt x="436" y="114"/>
                  </a:lnTo>
                  <a:lnTo>
                    <a:pt x="439" y="116"/>
                  </a:lnTo>
                  <a:lnTo>
                    <a:pt x="442" y="118"/>
                  </a:lnTo>
                  <a:lnTo>
                    <a:pt x="443" y="118"/>
                  </a:lnTo>
                  <a:lnTo>
                    <a:pt x="444" y="119"/>
                  </a:lnTo>
                  <a:lnTo>
                    <a:pt x="445" y="120"/>
                  </a:lnTo>
                  <a:lnTo>
                    <a:pt x="446" y="121"/>
                  </a:lnTo>
                  <a:lnTo>
                    <a:pt x="450" y="127"/>
                  </a:lnTo>
                  <a:lnTo>
                    <a:pt x="450" y="127"/>
                  </a:lnTo>
                  <a:lnTo>
                    <a:pt x="450" y="128"/>
                  </a:lnTo>
                  <a:lnTo>
                    <a:pt x="450" y="129"/>
                  </a:lnTo>
                  <a:lnTo>
                    <a:pt x="450" y="131"/>
                  </a:lnTo>
                  <a:lnTo>
                    <a:pt x="449" y="132"/>
                  </a:lnTo>
                  <a:lnTo>
                    <a:pt x="449" y="134"/>
                  </a:lnTo>
                  <a:lnTo>
                    <a:pt x="447" y="138"/>
                  </a:lnTo>
                  <a:lnTo>
                    <a:pt x="447" y="139"/>
                  </a:lnTo>
                  <a:lnTo>
                    <a:pt x="447" y="140"/>
                  </a:lnTo>
                  <a:lnTo>
                    <a:pt x="447" y="140"/>
                  </a:lnTo>
                  <a:lnTo>
                    <a:pt x="447" y="141"/>
                  </a:lnTo>
                  <a:lnTo>
                    <a:pt x="447" y="141"/>
                  </a:lnTo>
                  <a:lnTo>
                    <a:pt x="447" y="142"/>
                  </a:lnTo>
                  <a:lnTo>
                    <a:pt x="448" y="143"/>
                  </a:lnTo>
                  <a:lnTo>
                    <a:pt x="448" y="144"/>
                  </a:lnTo>
                  <a:lnTo>
                    <a:pt x="449" y="144"/>
                  </a:lnTo>
                  <a:lnTo>
                    <a:pt x="450" y="145"/>
                  </a:lnTo>
                  <a:lnTo>
                    <a:pt x="450" y="145"/>
                  </a:lnTo>
                  <a:lnTo>
                    <a:pt x="453" y="147"/>
                  </a:lnTo>
                  <a:lnTo>
                    <a:pt x="454" y="147"/>
                  </a:lnTo>
                  <a:lnTo>
                    <a:pt x="454" y="148"/>
                  </a:lnTo>
                  <a:lnTo>
                    <a:pt x="455" y="149"/>
                  </a:lnTo>
                  <a:lnTo>
                    <a:pt x="455" y="149"/>
                  </a:lnTo>
                  <a:lnTo>
                    <a:pt x="456" y="150"/>
                  </a:lnTo>
                  <a:lnTo>
                    <a:pt x="456" y="150"/>
                  </a:lnTo>
                  <a:lnTo>
                    <a:pt x="456" y="151"/>
                  </a:lnTo>
                  <a:lnTo>
                    <a:pt x="456" y="151"/>
                  </a:lnTo>
                  <a:lnTo>
                    <a:pt x="457" y="152"/>
                  </a:lnTo>
                  <a:lnTo>
                    <a:pt x="457" y="153"/>
                  </a:lnTo>
                  <a:lnTo>
                    <a:pt x="457" y="154"/>
                  </a:lnTo>
                  <a:lnTo>
                    <a:pt x="456" y="154"/>
                  </a:lnTo>
                  <a:lnTo>
                    <a:pt x="456" y="155"/>
                  </a:lnTo>
                  <a:lnTo>
                    <a:pt x="456" y="156"/>
                  </a:lnTo>
                  <a:lnTo>
                    <a:pt x="455" y="157"/>
                  </a:lnTo>
                  <a:lnTo>
                    <a:pt x="455" y="158"/>
                  </a:lnTo>
                  <a:lnTo>
                    <a:pt x="454" y="160"/>
                  </a:lnTo>
                  <a:lnTo>
                    <a:pt x="453" y="161"/>
                  </a:lnTo>
                  <a:lnTo>
                    <a:pt x="452" y="162"/>
                  </a:lnTo>
                  <a:lnTo>
                    <a:pt x="451" y="164"/>
                  </a:lnTo>
                  <a:lnTo>
                    <a:pt x="450" y="164"/>
                  </a:lnTo>
                  <a:lnTo>
                    <a:pt x="449" y="165"/>
                  </a:lnTo>
                  <a:lnTo>
                    <a:pt x="448" y="165"/>
                  </a:lnTo>
                  <a:lnTo>
                    <a:pt x="447" y="166"/>
                  </a:lnTo>
                  <a:lnTo>
                    <a:pt x="446" y="166"/>
                  </a:lnTo>
                  <a:lnTo>
                    <a:pt x="446" y="166"/>
                  </a:lnTo>
                  <a:lnTo>
                    <a:pt x="445" y="166"/>
                  </a:lnTo>
                  <a:lnTo>
                    <a:pt x="443" y="166"/>
                  </a:lnTo>
                  <a:lnTo>
                    <a:pt x="443" y="166"/>
                  </a:lnTo>
                  <a:lnTo>
                    <a:pt x="443" y="166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2" y="167"/>
                  </a:lnTo>
                  <a:lnTo>
                    <a:pt x="442" y="167"/>
                  </a:lnTo>
                  <a:lnTo>
                    <a:pt x="443" y="168"/>
                  </a:lnTo>
                  <a:lnTo>
                    <a:pt x="443" y="169"/>
                  </a:lnTo>
                  <a:lnTo>
                    <a:pt x="443" y="169"/>
                  </a:lnTo>
                  <a:lnTo>
                    <a:pt x="444" y="170"/>
                  </a:lnTo>
                  <a:lnTo>
                    <a:pt x="444" y="171"/>
                  </a:lnTo>
                  <a:lnTo>
                    <a:pt x="446" y="172"/>
                  </a:lnTo>
                  <a:lnTo>
                    <a:pt x="446" y="173"/>
                  </a:lnTo>
                  <a:lnTo>
                    <a:pt x="447" y="174"/>
                  </a:lnTo>
                  <a:lnTo>
                    <a:pt x="448" y="175"/>
                  </a:lnTo>
                  <a:lnTo>
                    <a:pt x="448" y="176"/>
                  </a:lnTo>
                  <a:lnTo>
                    <a:pt x="448" y="177"/>
                  </a:lnTo>
                  <a:lnTo>
                    <a:pt x="448" y="177"/>
                  </a:lnTo>
                  <a:lnTo>
                    <a:pt x="448" y="178"/>
                  </a:lnTo>
                  <a:lnTo>
                    <a:pt x="448" y="178"/>
                  </a:lnTo>
                  <a:lnTo>
                    <a:pt x="448" y="179"/>
                  </a:lnTo>
                  <a:lnTo>
                    <a:pt x="448" y="180"/>
                  </a:lnTo>
                  <a:lnTo>
                    <a:pt x="447" y="181"/>
                  </a:lnTo>
                  <a:lnTo>
                    <a:pt x="447" y="183"/>
                  </a:lnTo>
                  <a:lnTo>
                    <a:pt x="446" y="184"/>
                  </a:lnTo>
                  <a:lnTo>
                    <a:pt x="446" y="185"/>
                  </a:lnTo>
                  <a:lnTo>
                    <a:pt x="446" y="185"/>
                  </a:lnTo>
                  <a:lnTo>
                    <a:pt x="445" y="185"/>
                  </a:lnTo>
                  <a:lnTo>
                    <a:pt x="444" y="186"/>
                  </a:lnTo>
                  <a:lnTo>
                    <a:pt x="444" y="186"/>
                  </a:lnTo>
                  <a:lnTo>
                    <a:pt x="443" y="186"/>
                  </a:lnTo>
                  <a:lnTo>
                    <a:pt x="443" y="186"/>
                  </a:lnTo>
                  <a:lnTo>
                    <a:pt x="442" y="186"/>
                  </a:lnTo>
                  <a:lnTo>
                    <a:pt x="441" y="186"/>
                  </a:lnTo>
                  <a:lnTo>
                    <a:pt x="441" y="186"/>
                  </a:lnTo>
                  <a:lnTo>
                    <a:pt x="440" y="185"/>
                  </a:lnTo>
                  <a:lnTo>
                    <a:pt x="440" y="185"/>
                  </a:lnTo>
                  <a:lnTo>
                    <a:pt x="439" y="184"/>
                  </a:lnTo>
                  <a:lnTo>
                    <a:pt x="439" y="184"/>
                  </a:lnTo>
                  <a:lnTo>
                    <a:pt x="439" y="183"/>
                  </a:lnTo>
                  <a:lnTo>
                    <a:pt x="438" y="182"/>
                  </a:lnTo>
                  <a:lnTo>
                    <a:pt x="438" y="181"/>
                  </a:lnTo>
                  <a:lnTo>
                    <a:pt x="437" y="181"/>
                  </a:lnTo>
                  <a:lnTo>
                    <a:pt x="437" y="180"/>
                  </a:lnTo>
                  <a:lnTo>
                    <a:pt x="436" y="180"/>
                  </a:lnTo>
                  <a:lnTo>
                    <a:pt x="436" y="180"/>
                  </a:lnTo>
                  <a:lnTo>
                    <a:pt x="435" y="180"/>
                  </a:lnTo>
                  <a:lnTo>
                    <a:pt x="434" y="180"/>
                  </a:lnTo>
                  <a:lnTo>
                    <a:pt x="433" y="180"/>
                  </a:lnTo>
                  <a:lnTo>
                    <a:pt x="433" y="180"/>
                  </a:lnTo>
                  <a:lnTo>
                    <a:pt x="432" y="180"/>
                  </a:lnTo>
                  <a:lnTo>
                    <a:pt x="431" y="180"/>
                  </a:lnTo>
                  <a:lnTo>
                    <a:pt x="430" y="181"/>
                  </a:lnTo>
                  <a:lnTo>
                    <a:pt x="429" y="182"/>
                  </a:lnTo>
                  <a:lnTo>
                    <a:pt x="428" y="182"/>
                  </a:lnTo>
                  <a:lnTo>
                    <a:pt x="428" y="183"/>
                  </a:lnTo>
                  <a:lnTo>
                    <a:pt x="426" y="184"/>
                  </a:lnTo>
                  <a:lnTo>
                    <a:pt x="425" y="185"/>
                  </a:lnTo>
                  <a:lnTo>
                    <a:pt x="425" y="186"/>
                  </a:lnTo>
                  <a:lnTo>
                    <a:pt x="424" y="186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25" y="188"/>
                  </a:lnTo>
                  <a:lnTo>
                    <a:pt x="425" y="188"/>
                  </a:lnTo>
                  <a:lnTo>
                    <a:pt x="426" y="188"/>
                  </a:lnTo>
                  <a:lnTo>
                    <a:pt x="428" y="189"/>
                  </a:lnTo>
                  <a:lnTo>
                    <a:pt x="429" y="189"/>
                  </a:lnTo>
                  <a:lnTo>
                    <a:pt x="430" y="189"/>
                  </a:lnTo>
                  <a:lnTo>
                    <a:pt x="430" y="190"/>
                  </a:lnTo>
                  <a:lnTo>
                    <a:pt x="431" y="190"/>
                  </a:lnTo>
                  <a:lnTo>
                    <a:pt x="431" y="190"/>
                  </a:lnTo>
                  <a:lnTo>
                    <a:pt x="432" y="191"/>
                  </a:lnTo>
                  <a:lnTo>
                    <a:pt x="432" y="191"/>
                  </a:lnTo>
                  <a:lnTo>
                    <a:pt x="432" y="192"/>
                  </a:lnTo>
                  <a:lnTo>
                    <a:pt x="432" y="192"/>
                  </a:lnTo>
                  <a:lnTo>
                    <a:pt x="432" y="193"/>
                  </a:lnTo>
                  <a:lnTo>
                    <a:pt x="432" y="193"/>
                  </a:lnTo>
                  <a:lnTo>
                    <a:pt x="432" y="194"/>
                  </a:lnTo>
                  <a:lnTo>
                    <a:pt x="431" y="194"/>
                  </a:lnTo>
                  <a:lnTo>
                    <a:pt x="431" y="195"/>
                  </a:lnTo>
                  <a:lnTo>
                    <a:pt x="430" y="195"/>
                  </a:lnTo>
                  <a:lnTo>
                    <a:pt x="429" y="196"/>
                  </a:lnTo>
                  <a:lnTo>
                    <a:pt x="428" y="196"/>
                  </a:lnTo>
                  <a:lnTo>
                    <a:pt x="427" y="196"/>
                  </a:lnTo>
                  <a:lnTo>
                    <a:pt x="425" y="197"/>
                  </a:lnTo>
                  <a:lnTo>
                    <a:pt x="423" y="197"/>
                  </a:lnTo>
                  <a:lnTo>
                    <a:pt x="420" y="197"/>
                  </a:lnTo>
                  <a:lnTo>
                    <a:pt x="419" y="198"/>
                  </a:lnTo>
                  <a:lnTo>
                    <a:pt x="418" y="198"/>
                  </a:lnTo>
                  <a:lnTo>
                    <a:pt x="417" y="198"/>
                  </a:lnTo>
                  <a:lnTo>
                    <a:pt x="415" y="199"/>
                  </a:lnTo>
                  <a:lnTo>
                    <a:pt x="415" y="199"/>
                  </a:lnTo>
                  <a:lnTo>
                    <a:pt x="414" y="200"/>
                  </a:lnTo>
                  <a:lnTo>
                    <a:pt x="414" y="200"/>
                  </a:lnTo>
                  <a:lnTo>
                    <a:pt x="413" y="201"/>
                  </a:lnTo>
                  <a:lnTo>
                    <a:pt x="413" y="202"/>
                  </a:lnTo>
                  <a:lnTo>
                    <a:pt x="412" y="203"/>
                  </a:lnTo>
                  <a:lnTo>
                    <a:pt x="411" y="204"/>
                  </a:lnTo>
                  <a:lnTo>
                    <a:pt x="410" y="207"/>
                  </a:lnTo>
                  <a:lnTo>
                    <a:pt x="409" y="208"/>
                  </a:lnTo>
                  <a:lnTo>
                    <a:pt x="409" y="208"/>
                  </a:lnTo>
                  <a:lnTo>
                    <a:pt x="407" y="211"/>
                  </a:lnTo>
                  <a:lnTo>
                    <a:pt x="406" y="212"/>
                  </a:lnTo>
                  <a:lnTo>
                    <a:pt x="405" y="213"/>
                  </a:lnTo>
                  <a:lnTo>
                    <a:pt x="404" y="214"/>
                  </a:lnTo>
                  <a:lnTo>
                    <a:pt x="404" y="215"/>
                  </a:lnTo>
                  <a:lnTo>
                    <a:pt x="404" y="216"/>
                  </a:lnTo>
                  <a:lnTo>
                    <a:pt x="404" y="217"/>
                  </a:lnTo>
                  <a:lnTo>
                    <a:pt x="404" y="220"/>
                  </a:lnTo>
                  <a:lnTo>
                    <a:pt x="403" y="222"/>
                  </a:lnTo>
                  <a:lnTo>
                    <a:pt x="403" y="224"/>
                  </a:lnTo>
                  <a:lnTo>
                    <a:pt x="403" y="226"/>
                  </a:lnTo>
                  <a:lnTo>
                    <a:pt x="402" y="229"/>
                  </a:lnTo>
                  <a:lnTo>
                    <a:pt x="402" y="230"/>
                  </a:lnTo>
                  <a:lnTo>
                    <a:pt x="402" y="231"/>
                  </a:lnTo>
                  <a:lnTo>
                    <a:pt x="402" y="232"/>
                  </a:lnTo>
                  <a:lnTo>
                    <a:pt x="402" y="232"/>
                  </a:lnTo>
                  <a:lnTo>
                    <a:pt x="402" y="233"/>
                  </a:lnTo>
                  <a:lnTo>
                    <a:pt x="402" y="233"/>
                  </a:lnTo>
                  <a:lnTo>
                    <a:pt x="403" y="234"/>
                  </a:lnTo>
                  <a:lnTo>
                    <a:pt x="403" y="234"/>
                  </a:lnTo>
                  <a:lnTo>
                    <a:pt x="404" y="235"/>
                  </a:lnTo>
                  <a:lnTo>
                    <a:pt x="407" y="237"/>
                  </a:lnTo>
                  <a:lnTo>
                    <a:pt x="412" y="241"/>
                  </a:lnTo>
                  <a:lnTo>
                    <a:pt x="412" y="241"/>
                  </a:lnTo>
                  <a:lnTo>
                    <a:pt x="413" y="241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2" y="243"/>
                  </a:lnTo>
                  <a:lnTo>
                    <a:pt x="411" y="243"/>
                  </a:lnTo>
                  <a:lnTo>
                    <a:pt x="411" y="244"/>
                  </a:lnTo>
                  <a:lnTo>
                    <a:pt x="411" y="244"/>
                  </a:lnTo>
                  <a:lnTo>
                    <a:pt x="410" y="244"/>
                  </a:lnTo>
                  <a:lnTo>
                    <a:pt x="410" y="245"/>
                  </a:lnTo>
                  <a:lnTo>
                    <a:pt x="410" y="245"/>
                  </a:lnTo>
                  <a:lnTo>
                    <a:pt x="410" y="245"/>
                  </a:lnTo>
                  <a:lnTo>
                    <a:pt x="411" y="246"/>
                  </a:lnTo>
                  <a:lnTo>
                    <a:pt x="411" y="246"/>
                  </a:lnTo>
                  <a:lnTo>
                    <a:pt x="412" y="247"/>
                  </a:lnTo>
                  <a:lnTo>
                    <a:pt x="413" y="247"/>
                  </a:lnTo>
                  <a:lnTo>
                    <a:pt x="413" y="247"/>
                  </a:lnTo>
                  <a:lnTo>
                    <a:pt x="414" y="248"/>
                  </a:lnTo>
                  <a:lnTo>
                    <a:pt x="415" y="248"/>
                  </a:lnTo>
                  <a:lnTo>
                    <a:pt x="418" y="249"/>
                  </a:lnTo>
                  <a:lnTo>
                    <a:pt x="419" y="249"/>
                  </a:lnTo>
                  <a:lnTo>
                    <a:pt x="419" y="249"/>
                  </a:lnTo>
                  <a:lnTo>
                    <a:pt x="419" y="250"/>
                  </a:lnTo>
                  <a:lnTo>
                    <a:pt x="420" y="250"/>
                  </a:lnTo>
                  <a:lnTo>
                    <a:pt x="420" y="250"/>
                  </a:lnTo>
                  <a:lnTo>
                    <a:pt x="420" y="251"/>
                  </a:lnTo>
                  <a:lnTo>
                    <a:pt x="420" y="252"/>
                  </a:lnTo>
                  <a:lnTo>
                    <a:pt x="420" y="252"/>
                  </a:lnTo>
                  <a:lnTo>
                    <a:pt x="420" y="253"/>
                  </a:lnTo>
                  <a:lnTo>
                    <a:pt x="420" y="253"/>
                  </a:lnTo>
                  <a:lnTo>
                    <a:pt x="420" y="254"/>
                  </a:lnTo>
                  <a:lnTo>
                    <a:pt x="419" y="255"/>
                  </a:lnTo>
                  <a:lnTo>
                    <a:pt x="419" y="256"/>
                  </a:lnTo>
                  <a:lnTo>
                    <a:pt x="418" y="258"/>
                  </a:lnTo>
                  <a:lnTo>
                    <a:pt x="415" y="261"/>
                  </a:lnTo>
                  <a:lnTo>
                    <a:pt x="415" y="262"/>
                  </a:lnTo>
                  <a:lnTo>
                    <a:pt x="414" y="262"/>
                  </a:lnTo>
                  <a:lnTo>
                    <a:pt x="414" y="263"/>
                  </a:lnTo>
                  <a:lnTo>
                    <a:pt x="414" y="264"/>
                  </a:lnTo>
                  <a:lnTo>
                    <a:pt x="414" y="265"/>
                  </a:lnTo>
                  <a:lnTo>
                    <a:pt x="414" y="266"/>
                  </a:lnTo>
                  <a:lnTo>
                    <a:pt x="414" y="266"/>
                  </a:lnTo>
                  <a:lnTo>
                    <a:pt x="414" y="267"/>
                  </a:lnTo>
                  <a:lnTo>
                    <a:pt x="414" y="268"/>
                  </a:lnTo>
                  <a:lnTo>
                    <a:pt x="415" y="269"/>
                  </a:lnTo>
                  <a:lnTo>
                    <a:pt x="415" y="269"/>
                  </a:lnTo>
                  <a:lnTo>
                    <a:pt x="417" y="271"/>
                  </a:lnTo>
                  <a:lnTo>
                    <a:pt x="418" y="272"/>
                  </a:lnTo>
                  <a:lnTo>
                    <a:pt x="418" y="273"/>
                  </a:lnTo>
                  <a:lnTo>
                    <a:pt x="418" y="274"/>
                  </a:lnTo>
                  <a:lnTo>
                    <a:pt x="419" y="274"/>
                  </a:lnTo>
                  <a:lnTo>
                    <a:pt x="419" y="275"/>
                  </a:lnTo>
                  <a:lnTo>
                    <a:pt x="419" y="275"/>
                  </a:lnTo>
                  <a:lnTo>
                    <a:pt x="419" y="276"/>
                  </a:lnTo>
                  <a:lnTo>
                    <a:pt x="418" y="276"/>
                  </a:lnTo>
                  <a:lnTo>
                    <a:pt x="418" y="277"/>
                  </a:lnTo>
                  <a:lnTo>
                    <a:pt x="418" y="277"/>
                  </a:lnTo>
                  <a:lnTo>
                    <a:pt x="417" y="278"/>
                  </a:lnTo>
                  <a:lnTo>
                    <a:pt x="416" y="278"/>
                  </a:lnTo>
                  <a:lnTo>
                    <a:pt x="414" y="280"/>
                  </a:lnTo>
                  <a:lnTo>
                    <a:pt x="413" y="281"/>
                  </a:lnTo>
                  <a:lnTo>
                    <a:pt x="412" y="281"/>
                  </a:lnTo>
                  <a:lnTo>
                    <a:pt x="411" y="283"/>
                  </a:lnTo>
                  <a:lnTo>
                    <a:pt x="410" y="284"/>
                  </a:lnTo>
                  <a:lnTo>
                    <a:pt x="409" y="285"/>
                  </a:lnTo>
                  <a:lnTo>
                    <a:pt x="409" y="286"/>
                  </a:lnTo>
                  <a:lnTo>
                    <a:pt x="409" y="287"/>
                  </a:lnTo>
                  <a:lnTo>
                    <a:pt x="408" y="288"/>
                  </a:lnTo>
                  <a:lnTo>
                    <a:pt x="408" y="289"/>
                  </a:lnTo>
                  <a:lnTo>
                    <a:pt x="407" y="290"/>
                  </a:lnTo>
                  <a:lnTo>
                    <a:pt x="407" y="291"/>
                  </a:lnTo>
                  <a:lnTo>
                    <a:pt x="407" y="292"/>
                  </a:lnTo>
                  <a:lnTo>
                    <a:pt x="407" y="293"/>
                  </a:lnTo>
                  <a:lnTo>
                    <a:pt x="407" y="294"/>
                  </a:lnTo>
                  <a:lnTo>
                    <a:pt x="407" y="295"/>
                  </a:lnTo>
                  <a:lnTo>
                    <a:pt x="407" y="295"/>
                  </a:lnTo>
                  <a:lnTo>
                    <a:pt x="407" y="296"/>
                  </a:lnTo>
                  <a:lnTo>
                    <a:pt x="407" y="296"/>
                  </a:lnTo>
                  <a:lnTo>
                    <a:pt x="408" y="297"/>
                  </a:lnTo>
                  <a:lnTo>
                    <a:pt x="408" y="297"/>
                  </a:lnTo>
                  <a:lnTo>
                    <a:pt x="409" y="298"/>
                  </a:lnTo>
                  <a:lnTo>
                    <a:pt x="410" y="299"/>
                  </a:lnTo>
                  <a:lnTo>
                    <a:pt x="412" y="301"/>
                  </a:lnTo>
                  <a:lnTo>
                    <a:pt x="414" y="301"/>
                  </a:lnTo>
                  <a:lnTo>
                    <a:pt x="414" y="302"/>
                  </a:lnTo>
                  <a:lnTo>
                    <a:pt x="414" y="303"/>
                  </a:lnTo>
                  <a:lnTo>
                    <a:pt x="415" y="303"/>
                  </a:lnTo>
                  <a:lnTo>
                    <a:pt x="415" y="304"/>
                  </a:lnTo>
                  <a:lnTo>
                    <a:pt x="415" y="304"/>
                  </a:lnTo>
                  <a:lnTo>
                    <a:pt x="416" y="305"/>
                  </a:lnTo>
                  <a:lnTo>
                    <a:pt x="416" y="305"/>
                  </a:lnTo>
                  <a:lnTo>
                    <a:pt x="416" y="306"/>
                  </a:lnTo>
                  <a:lnTo>
                    <a:pt x="416" y="308"/>
                  </a:lnTo>
                  <a:lnTo>
                    <a:pt x="416" y="309"/>
                  </a:lnTo>
                  <a:lnTo>
                    <a:pt x="416" y="310"/>
                  </a:lnTo>
                  <a:lnTo>
                    <a:pt x="416" y="311"/>
                  </a:lnTo>
                  <a:lnTo>
                    <a:pt x="416" y="311"/>
                  </a:lnTo>
                  <a:lnTo>
                    <a:pt x="415" y="312"/>
                  </a:lnTo>
                  <a:lnTo>
                    <a:pt x="414" y="313"/>
                  </a:lnTo>
                  <a:lnTo>
                    <a:pt x="413" y="314"/>
                  </a:lnTo>
                  <a:lnTo>
                    <a:pt x="412" y="314"/>
                  </a:lnTo>
                  <a:lnTo>
                    <a:pt x="411" y="315"/>
                  </a:lnTo>
                  <a:lnTo>
                    <a:pt x="409" y="316"/>
                  </a:lnTo>
                  <a:lnTo>
                    <a:pt x="408" y="316"/>
                  </a:lnTo>
                  <a:lnTo>
                    <a:pt x="408" y="317"/>
                  </a:lnTo>
                  <a:lnTo>
                    <a:pt x="407" y="317"/>
                  </a:lnTo>
                  <a:lnTo>
                    <a:pt x="407" y="318"/>
                  </a:lnTo>
                  <a:lnTo>
                    <a:pt x="406" y="318"/>
                  </a:lnTo>
                  <a:lnTo>
                    <a:pt x="406" y="319"/>
                  </a:lnTo>
                  <a:lnTo>
                    <a:pt x="406" y="320"/>
                  </a:lnTo>
                  <a:lnTo>
                    <a:pt x="405" y="320"/>
                  </a:lnTo>
                  <a:lnTo>
                    <a:pt x="405" y="321"/>
                  </a:lnTo>
                  <a:lnTo>
                    <a:pt x="405" y="322"/>
                  </a:lnTo>
                  <a:lnTo>
                    <a:pt x="405" y="322"/>
                  </a:lnTo>
                  <a:lnTo>
                    <a:pt x="406" y="325"/>
                  </a:lnTo>
                  <a:lnTo>
                    <a:pt x="406" y="326"/>
                  </a:lnTo>
                  <a:lnTo>
                    <a:pt x="407" y="327"/>
                  </a:lnTo>
                  <a:lnTo>
                    <a:pt x="407" y="327"/>
                  </a:lnTo>
                  <a:lnTo>
                    <a:pt x="407" y="328"/>
                  </a:lnTo>
                  <a:lnTo>
                    <a:pt x="406" y="329"/>
                  </a:lnTo>
                  <a:lnTo>
                    <a:pt x="406" y="329"/>
                  </a:lnTo>
                  <a:lnTo>
                    <a:pt x="406" y="330"/>
                  </a:lnTo>
                  <a:lnTo>
                    <a:pt x="405" y="330"/>
                  </a:lnTo>
                  <a:lnTo>
                    <a:pt x="405" y="331"/>
                  </a:lnTo>
                  <a:lnTo>
                    <a:pt x="404" y="331"/>
                  </a:lnTo>
                  <a:lnTo>
                    <a:pt x="404" y="332"/>
                  </a:lnTo>
                  <a:lnTo>
                    <a:pt x="403" y="332"/>
                  </a:lnTo>
                  <a:lnTo>
                    <a:pt x="402" y="333"/>
                  </a:lnTo>
                  <a:lnTo>
                    <a:pt x="401" y="333"/>
                  </a:lnTo>
                  <a:lnTo>
                    <a:pt x="400" y="333"/>
                  </a:lnTo>
                  <a:lnTo>
                    <a:pt x="400" y="333"/>
                  </a:lnTo>
                  <a:lnTo>
                    <a:pt x="400" y="334"/>
                  </a:lnTo>
                  <a:lnTo>
                    <a:pt x="400" y="334"/>
                  </a:lnTo>
                  <a:lnTo>
                    <a:pt x="400" y="334"/>
                  </a:lnTo>
                  <a:lnTo>
                    <a:pt x="399" y="334"/>
                  </a:lnTo>
                  <a:lnTo>
                    <a:pt x="400" y="335"/>
                  </a:lnTo>
                  <a:lnTo>
                    <a:pt x="400" y="336"/>
                  </a:lnTo>
                  <a:lnTo>
                    <a:pt x="400" y="336"/>
                  </a:lnTo>
                  <a:lnTo>
                    <a:pt x="401" y="337"/>
                  </a:lnTo>
                  <a:lnTo>
                    <a:pt x="402" y="339"/>
                  </a:lnTo>
                  <a:lnTo>
                    <a:pt x="404" y="339"/>
                  </a:lnTo>
                  <a:lnTo>
                    <a:pt x="406" y="342"/>
                  </a:lnTo>
                  <a:lnTo>
                    <a:pt x="407" y="343"/>
                  </a:lnTo>
                  <a:lnTo>
                    <a:pt x="408" y="344"/>
                  </a:lnTo>
                  <a:lnTo>
                    <a:pt x="409" y="344"/>
                  </a:lnTo>
                  <a:lnTo>
                    <a:pt x="409" y="345"/>
                  </a:lnTo>
                  <a:lnTo>
                    <a:pt x="409" y="346"/>
                  </a:lnTo>
                  <a:lnTo>
                    <a:pt x="409" y="346"/>
                  </a:lnTo>
                  <a:lnTo>
                    <a:pt x="409" y="347"/>
                  </a:lnTo>
                  <a:lnTo>
                    <a:pt x="409" y="348"/>
                  </a:lnTo>
                  <a:lnTo>
                    <a:pt x="409" y="348"/>
                  </a:lnTo>
                  <a:lnTo>
                    <a:pt x="409" y="349"/>
                  </a:lnTo>
                  <a:lnTo>
                    <a:pt x="408" y="349"/>
                  </a:lnTo>
                  <a:lnTo>
                    <a:pt x="408" y="350"/>
                  </a:lnTo>
                  <a:lnTo>
                    <a:pt x="407" y="350"/>
                  </a:lnTo>
                  <a:lnTo>
                    <a:pt x="405" y="352"/>
                  </a:lnTo>
                  <a:lnTo>
                    <a:pt x="405" y="353"/>
                  </a:lnTo>
                  <a:lnTo>
                    <a:pt x="404" y="353"/>
                  </a:lnTo>
                  <a:lnTo>
                    <a:pt x="404" y="354"/>
                  </a:lnTo>
                  <a:lnTo>
                    <a:pt x="404" y="354"/>
                  </a:lnTo>
                  <a:lnTo>
                    <a:pt x="403" y="356"/>
                  </a:lnTo>
                  <a:lnTo>
                    <a:pt x="403" y="357"/>
                  </a:lnTo>
                  <a:lnTo>
                    <a:pt x="402" y="358"/>
                  </a:lnTo>
                  <a:lnTo>
                    <a:pt x="401" y="359"/>
                  </a:lnTo>
                  <a:lnTo>
                    <a:pt x="401" y="359"/>
                  </a:lnTo>
                  <a:lnTo>
                    <a:pt x="400" y="360"/>
                  </a:lnTo>
                  <a:lnTo>
                    <a:pt x="400" y="360"/>
                  </a:lnTo>
                  <a:lnTo>
                    <a:pt x="399" y="361"/>
                  </a:lnTo>
                  <a:lnTo>
                    <a:pt x="399" y="361"/>
                  </a:lnTo>
                  <a:lnTo>
                    <a:pt x="398" y="362"/>
                  </a:lnTo>
                  <a:lnTo>
                    <a:pt x="397" y="362"/>
                  </a:lnTo>
                  <a:lnTo>
                    <a:pt x="397" y="362"/>
                  </a:lnTo>
                  <a:lnTo>
                    <a:pt x="395" y="363"/>
                  </a:lnTo>
                  <a:lnTo>
                    <a:pt x="393" y="363"/>
                  </a:lnTo>
                  <a:lnTo>
                    <a:pt x="390" y="363"/>
                  </a:lnTo>
                  <a:lnTo>
                    <a:pt x="386" y="364"/>
                  </a:lnTo>
                  <a:lnTo>
                    <a:pt x="385" y="364"/>
                  </a:lnTo>
                  <a:lnTo>
                    <a:pt x="383" y="364"/>
                  </a:lnTo>
                  <a:lnTo>
                    <a:pt x="382" y="365"/>
                  </a:lnTo>
                  <a:lnTo>
                    <a:pt x="381" y="365"/>
                  </a:lnTo>
                  <a:lnTo>
                    <a:pt x="380" y="366"/>
                  </a:lnTo>
                  <a:lnTo>
                    <a:pt x="379" y="366"/>
                  </a:lnTo>
                  <a:lnTo>
                    <a:pt x="378" y="367"/>
                  </a:lnTo>
                  <a:lnTo>
                    <a:pt x="378" y="368"/>
                  </a:lnTo>
                  <a:lnTo>
                    <a:pt x="377" y="368"/>
                  </a:lnTo>
                  <a:lnTo>
                    <a:pt x="377" y="369"/>
                  </a:lnTo>
                  <a:lnTo>
                    <a:pt x="377" y="370"/>
                  </a:lnTo>
                  <a:lnTo>
                    <a:pt x="377" y="371"/>
                  </a:lnTo>
                  <a:lnTo>
                    <a:pt x="377" y="373"/>
                  </a:lnTo>
                  <a:lnTo>
                    <a:pt x="377" y="373"/>
                  </a:lnTo>
                  <a:lnTo>
                    <a:pt x="377" y="374"/>
                  </a:lnTo>
                  <a:lnTo>
                    <a:pt x="377" y="374"/>
                  </a:lnTo>
                  <a:lnTo>
                    <a:pt x="376" y="375"/>
                  </a:lnTo>
                  <a:lnTo>
                    <a:pt x="376" y="375"/>
                  </a:lnTo>
                  <a:lnTo>
                    <a:pt x="376" y="376"/>
                  </a:lnTo>
                  <a:lnTo>
                    <a:pt x="375" y="376"/>
                  </a:lnTo>
                  <a:lnTo>
                    <a:pt x="372" y="378"/>
                  </a:lnTo>
                  <a:lnTo>
                    <a:pt x="372" y="378"/>
                  </a:lnTo>
                  <a:lnTo>
                    <a:pt x="371" y="378"/>
                  </a:lnTo>
                  <a:lnTo>
                    <a:pt x="370" y="379"/>
                  </a:lnTo>
                  <a:lnTo>
                    <a:pt x="368" y="379"/>
                  </a:lnTo>
                  <a:lnTo>
                    <a:pt x="364" y="380"/>
                  </a:lnTo>
                  <a:lnTo>
                    <a:pt x="362" y="380"/>
                  </a:lnTo>
                  <a:lnTo>
                    <a:pt x="361" y="380"/>
                  </a:lnTo>
                  <a:lnTo>
                    <a:pt x="360" y="380"/>
                  </a:lnTo>
                  <a:lnTo>
                    <a:pt x="358" y="380"/>
                  </a:lnTo>
                  <a:lnTo>
                    <a:pt x="356" y="380"/>
                  </a:lnTo>
                  <a:lnTo>
                    <a:pt x="355" y="379"/>
                  </a:lnTo>
                  <a:lnTo>
                    <a:pt x="352" y="379"/>
                  </a:lnTo>
                  <a:lnTo>
                    <a:pt x="351" y="379"/>
                  </a:lnTo>
                  <a:lnTo>
                    <a:pt x="349" y="378"/>
                  </a:lnTo>
                  <a:lnTo>
                    <a:pt x="348" y="378"/>
                  </a:lnTo>
                  <a:lnTo>
                    <a:pt x="347" y="378"/>
                  </a:lnTo>
                  <a:lnTo>
                    <a:pt x="346" y="378"/>
                  </a:lnTo>
                  <a:lnTo>
                    <a:pt x="346" y="379"/>
                  </a:lnTo>
                  <a:lnTo>
                    <a:pt x="345" y="379"/>
                  </a:lnTo>
                  <a:lnTo>
                    <a:pt x="344" y="380"/>
                  </a:lnTo>
                  <a:lnTo>
                    <a:pt x="343" y="381"/>
                  </a:lnTo>
                  <a:lnTo>
                    <a:pt x="341" y="382"/>
                  </a:lnTo>
                  <a:lnTo>
                    <a:pt x="340" y="382"/>
                  </a:lnTo>
                  <a:lnTo>
                    <a:pt x="339" y="383"/>
                  </a:lnTo>
                  <a:lnTo>
                    <a:pt x="338" y="383"/>
                  </a:lnTo>
                  <a:lnTo>
                    <a:pt x="336" y="383"/>
                  </a:lnTo>
                  <a:lnTo>
                    <a:pt x="335" y="383"/>
                  </a:lnTo>
                  <a:lnTo>
                    <a:pt x="335" y="383"/>
                  </a:lnTo>
                  <a:lnTo>
                    <a:pt x="334" y="383"/>
                  </a:lnTo>
                  <a:lnTo>
                    <a:pt x="333" y="382"/>
                  </a:lnTo>
                  <a:lnTo>
                    <a:pt x="332" y="382"/>
                  </a:lnTo>
                  <a:lnTo>
                    <a:pt x="331" y="381"/>
                  </a:lnTo>
                  <a:lnTo>
                    <a:pt x="329" y="379"/>
                  </a:lnTo>
                  <a:lnTo>
                    <a:pt x="328" y="379"/>
                  </a:lnTo>
                  <a:lnTo>
                    <a:pt x="327" y="378"/>
                  </a:lnTo>
                  <a:lnTo>
                    <a:pt x="327" y="378"/>
                  </a:lnTo>
                  <a:lnTo>
                    <a:pt x="326" y="376"/>
                  </a:lnTo>
                  <a:lnTo>
                    <a:pt x="325" y="375"/>
                  </a:lnTo>
                  <a:lnTo>
                    <a:pt x="325" y="375"/>
                  </a:lnTo>
                  <a:lnTo>
                    <a:pt x="324" y="374"/>
                  </a:lnTo>
                  <a:lnTo>
                    <a:pt x="324" y="374"/>
                  </a:lnTo>
                  <a:lnTo>
                    <a:pt x="323" y="374"/>
                  </a:lnTo>
                  <a:lnTo>
                    <a:pt x="323" y="374"/>
                  </a:lnTo>
                  <a:lnTo>
                    <a:pt x="322" y="374"/>
                  </a:lnTo>
                  <a:lnTo>
                    <a:pt x="322" y="374"/>
                  </a:lnTo>
                  <a:lnTo>
                    <a:pt x="320" y="374"/>
                  </a:lnTo>
                  <a:lnTo>
                    <a:pt x="320" y="375"/>
                  </a:lnTo>
                  <a:lnTo>
                    <a:pt x="318" y="375"/>
                  </a:lnTo>
                  <a:lnTo>
                    <a:pt x="317" y="376"/>
                  </a:lnTo>
                  <a:lnTo>
                    <a:pt x="317" y="376"/>
                  </a:lnTo>
                  <a:lnTo>
                    <a:pt x="316" y="376"/>
                  </a:lnTo>
                  <a:lnTo>
                    <a:pt x="316" y="377"/>
                  </a:lnTo>
                  <a:lnTo>
                    <a:pt x="314" y="379"/>
                  </a:lnTo>
                  <a:lnTo>
                    <a:pt x="313" y="380"/>
                  </a:lnTo>
                  <a:lnTo>
                    <a:pt x="312" y="380"/>
                  </a:lnTo>
                  <a:lnTo>
                    <a:pt x="312" y="381"/>
                  </a:lnTo>
                  <a:lnTo>
                    <a:pt x="311" y="381"/>
                  </a:lnTo>
                  <a:lnTo>
                    <a:pt x="310" y="382"/>
                  </a:lnTo>
                  <a:lnTo>
                    <a:pt x="310" y="382"/>
                  </a:lnTo>
                  <a:lnTo>
                    <a:pt x="309" y="382"/>
                  </a:lnTo>
                  <a:lnTo>
                    <a:pt x="309" y="382"/>
                  </a:lnTo>
                  <a:lnTo>
                    <a:pt x="308" y="382"/>
                  </a:lnTo>
                  <a:lnTo>
                    <a:pt x="307" y="382"/>
                  </a:lnTo>
                  <a:lnTo>
                    <a:pt x="305" y="382"/>
                  </a:lnTo>
                  <a:lnTo>
                    <a:pt x="304" y="382"/>
                  </a:lnTo>
                  <a:lnTo>
                    <a:pt x="304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2" y="383"/>
                  </a:lnTo>
                  <a:lnTo>
                    <a:pt x="302" y="383"/>
                  </a:lnTo>
                  <a:lnTo>
                    <a:pt x="301" y="383"/>
                  </a:lnTo>
                  <a:lnTo>
                    <a:pt x="301" y="384"/>
                  </a:lnTo>
                  <a:lnTo>
                    <a:pt x="300" y="385"/>
                  </a:lnTo>
                  <a:lnTo>
                    <a:pt x="300" y="386"/>
                  </a:lnTo>
                  <a:lnTo>
                    <a:pt x="299" y="389"/>
                  </a:lnTo>
                  <a:lnTo>
                    <a:pt x="298" y="390"/>
                  </a:lnTo>
                  <a:lnTo>
                    <a:pt x="298" y="390"/>
                  </a:lnTo>
                  <a:lnTo>
                    <a:pt x="298" y="391"/>
                  </a:lnTo>
                  <a:lnTo>
                    <a:pt x="297" y="392"/>
                  </a:lnTo>
                  <a:lnTo>
                    <a:pt x="297" y="392"/>
                  </a:lnTo>
                  <a:lnTo>
                    <a:pt x="296" y="392"/>
                  </a:lnTo>
                  <a:lnTo>
                    <a:pt x="295" y="393"/>
                  </a:lnTo>
                  <a:lnTo>
                    <a:pt x="295" y="393"/>
                  </a:lnTo>
                  <a:lnTo>
                    <a:pt x="293" y="393"/>
                  </a:lnTo>
                  <a:lnTo>
                    <a:pt x="291" y="393"/>
                  </a:lnTo>
                  <a:lnTo>
                    <a:pt x="290" y="393"/>
                  </a:lnTo>
                  <a:lnTo>
                    <a:pt x="288" y="393"/>
                  </a:lnTo>
                  <a:lnTo>
                    <a:pt x="286" y="393"/>
                  </a:lnTo>
                  <a:lnTo>
                    <a:pt x="285" y="394"/>
                  </a:lnTo>
                  <a:lnTo>
                    <a:pt x="282" y="395"/>
                  </a:lnTo>
                  <a:lnTo>
                    <a:pt x="281" y="395"/>
                  </a:lnTo>
                  <a:lnTo>
                    <a:pt x="279" y="396"/>
                  </a:lnTo>
                  <a:lnTo>
                    <a:pt x="278" y="397"/>
                  </a:lnTo>
                  <a:lnTo>
                    <a:pt x="277" y="397"/>
                  </a:lnTo>
                  <a:lnTo>
                    <a:pt x="277" y="398"/>
                  </a:lnTo>
                  <a:lnTo>
                    <a:pt x="276" y="399"/>
                  </a:lnTo>
                  <a:lnTo>
                    <a:pt x="275" y="400"/>
                  </a:lnTo>
                  <a:lnTo>
                    <a:pt x="274" y="402"/>
                  </a:lnTo>
                  <a:lnTo>
                    <a:pt x="272" y="403"/>
                  </a:lnTo>
                  <a:lnTo>
                    <a:pt x="271" y="404"/>
                  </a:lnTo>
                  <a:lnTo>
                    <a:pt x="270" y="405"/>
                  </a:lnTo>
                  <a:lnTo>
                    <a:pt x="269" y="406"/>
                  </a:lnTo>
                  <a:lnTo>
                    <a:pt x="268" y="407"/>
                  </a:lnTo>
                  <a:lnTo>
                    <a:pt x="266" y="408"/>
                  </a:lnTo>
                  <a:lnTo>
                    <a:pt x="265" y="409"/>
                  </a:lnTo>
                  <a:lnTo>
                    <a:pt x="264" y="409"/>
                  </a:lnTo>
                  <a:lnTo>
                    <a:pt x="263" y="410"/>
                  </a:lnTo>
                  <a:lnTo>
                    <a:pt x="263" y="410"/>
                  </a:lnTo>
                  <a:lnTo>
                    <a:pt x="261" y="412"/>
                  </a:lnTo>
                  <a:lnTo>
                    <a:pt x="259" y="414"/>
                  </a:lnTo>
                  <a:lnTo>
                    <a:pt x="259" y="414"/>
                  </a:lnTo>
                  <a:lnTo>
                    <a:pt x="258" y="416"/>
                  </a:lnTo>
                  <a:lnTo>
                    <a:pt x="256" y="418"/>
                  </a:lnTo>
                  <a:lnTo>
                    <a:pt x="256" y="418"/>
                  </a:lnTo>
                  <a:lnTo>
                    <a:pt x="255" y="419"/>
                  </a:lnTo>
                  <a:lnTo>
                    <a:pt x="255" y="419"/>
                  </a:lnTo>
                  <a:lnTo>
                    <a:pt x="254" y="419"/>
                  </a:lnTo>
                  <a:lnTo>
                    <a:pt x="254" y="419"/>
                  </a:lnTo>
                  <a:lnTo>
                    <a:pt x="253" y="419"/>
                  </a:lnTo>
                  <a:lnTo>
                    <a:pt x="253" y="419"/>
                  </a:lnTo>
                  <a:lnTo>
                    <a:pt x="252" y="419"/>
                  </a:lnTo>
                  <a:lnTo>
                    <a:pt x="251" y="419"/>
                  </a:lnTo>
                  <a:lnTo>
                    <a:pt x="249" y="417"/>
                  </a:lnTo>
                  <a:lnTo>
                    <a:pt x="248" y="417"/>
                  </a:lnTo>
                  <a:lnTo>
                    <a:pt x="247" y="416"/>
                  </a:lnTo>
                  <a:lnTo>
                    <a:pt x="246" y="416"/>
                  </a:lnTo>
                  <a:lnTo>
                    <a:pt x="245" y="415"/>
                  </a:lnTo>
                  <a:lnTo>
                    <a:pt x="244" y="415"/>
                  </a:lnTo>
                  <a:lnTo>
                    <a:pt x="243" y="415"/>
                  </a:lnTo>
                  <a:lnTo>
                    <a:pt x="242" y="415"/>
                  </a:lnTo>
                  <a:lnTo>
                    <a:pt x="238" y="416"/>
                  </a:lnTo>
                  <a:lnTo>
                    <a:pt x="237" y="416"/>
                  </a:lnTo>
                  <a:lnTo>
                    <a:pt x="236" y="416"/>
                  </a:lnTo>
                  <a:lnTo>
                    <a:pt x="236" y="416"/>
                  </a:lnTo>
                  <a:lnTo>
                    <a:pt x="235" y="416"/>
                  </a:lnTo>
                  <a:lnTo>
                    <a:pt x="235" y="417"/>
                  </a:lnTo>
                  <a:lnTo>
                    <a:pt x="235" y="417"/>
                  </a:lnTo>
                  <a:lnTo>
                    <a:pt x="234" y="417"/>
                  </a:lnTo>
                  <a:lnTo>
                    <a:pt x="232" y="420"/>
                  </a:lnTo>
                  <a:lnTo>
                    <a:pt x="231" y="422"/>
                  </a:lnTo>
                  <a:lnTo>
                    <a:pt x="231" y="422"/>
                  </a:lnTo>
                  <a:lnTo>
                    <a:pt x="230" y="423"/>
                  </a:lnTo>
                  <a:lnTo>
                    <a:pt x="229" y="424"/>
                  </a:lnTo>
                  <a:lnTo>
                    <a:pt x="229" y="424"/>
                  </a:lnTo>
                  <a:lnTo>
                    <a:pt x="228" y="425"/>
                  </a:lnTo>
                  <a:lnTo>
                    <a:pt x="228" y="425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26" y="425"/>
                  </a:lnTo>
                  <a:lnTo>
                    <a:pt x="225" y="425"/>
                  </a:lnTo>
                  <a:lnTo>
                    <a:pt x="224" y="424"/>
                  </a:lnTo>
                  <a:lnTo>
                    <a:pt x="223" y="424"/>
                  </a:lnTo>
                  <a:lnTo>
                    <a:pt x="222" y="424"/>
                  </a:lnTo>
                  <a:lnTo>
                    <a:pt x="222" y="423"/>
                  </a:lnTo>
                  <a:lnTo>
                    <a:pt x="220" y="422"/>
                  </a:lnTo>
                  <a:lnTo>
                    <a:pt x="219" y="421"/>
                  </a:lnTo>
                  <a:lnTo>
                    <a:pt x="218" y="421"/>
                  </a:lnTo>
                  <a:lnTo>
                    <a:pt x="217" y="421"/>
                  </a:lnTo>
                  <a:lnTo>
                    <a:pt x="217" y="421"/>
                  </a:lnTo>
                  <a:lnTo>
                    <a:pt x="216" y="421"/>
                  </a:lnTo>
                  <a:lnTo>
                    <a:pt x="215" y="421"/>
                  </a:lnTo>
                  <a:lnTo>
                    <a:pt x="214" y="421"/>
                  </a:lnTo>
                  <a:lnTo>
                    <a:pt x="213" y="421"/>
                  </a:lnTo>
                  <a:lnTo>
                    <a:pt x="212" y="421"/>
                  </a:lnTo>
                  <a:lnTo>
                    <a:pt x="211" y="422"/>
                  </a:lnTo>
                  <a:lnTo>
                    <a:pt x="211" y="422"/>
                  </a:lnTo>
                  <a:lnTo>
                    <a:pt x="210" y="422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2"/>
                  </a:lnTo>
                  <a:lnTo>
                    <a:pt x="209" y="421"/>
                  </a:lnTo>
                  <a:lnTo>
                    <a:pt x="208" y="419"/>
                  </a:lnTo>
                  <a:lnTo>
                    <a:pt x="208" y="418"/>
                  </a:lnTo>
                  <a:lnTo>
                    <a:pt x="207" y="418"/>
                  </a:lnTo>
                  <a:lnTo>
                    <a:pt x="207" y="417"/>
                  </a:lnTo>
                  <a:lnTo>
                    <a:pt x="206" y="416"/>
                  </a:lnTo>
                  <a:lnTo>
                    <a:pt x="206" y="416"/>
                  </a:lnTo>
                  <a:lnTo>
                    <a:pt x="205" y="415"/>
                  </a:lnTo>
                  <a:lnTo>
                    <a:pt x="203" y="414"/>
                  </a:lnTo>
                  <a:lnTo>
                    <a:pt x="202" y="413"/>
                  </a:lnTo>
                  <a:lnTo>
                    <a:pt x="201" y="412"/>
                  </a:lnTo>
                  <a:lnTo>
                    <a:pt x="199" y="412"/>
                  </a:lnTo>
                  <a:lnTo>
                    <a:pt x="197" y="411"/>
                  </a:lnTo>
                  <a:lnTo>
                    <a:pt x="196" y="410"/>
                  </a:lnTo>
                  <a:lnTo>
                    <a:pt x="195" y="410"/>
                  </a:lnTo>
                  <a:lnTo>
                    <a:pt x="194" y="409"/>
                  </a:lnTo>
                  <a:lnTo>
                    <a:pt x="193" y="408"/>
                  </a:lnTo>
                  <a:lnTo>
                    <a:pt x="192" y="407"/>
                  </a:lnTo>
                  <a:lnTo>
                    <a:pt x="192" y="407"/>
                  </a:lnTo>
                  <a:lnTo>
                    <a:pt x="191" y="404"/>
                  </a:lnTo>
                  <a:lnTo>
                    <a:pt x="190" y="404"/>
                  </a:lnTo>
                  <a:lnTo>
                    <a:pt x="190" y="403"/>
                  </a:lnTo>
                  <a:lnTo>
                    <a:pt x="189" y="402"/>
                  </a:lnTo>
                  <a:lnTo>
                    <a:pt x="189" y="402"/>
                  </a:lnTo>
                  <a:lnTo>
                    <a:pt x="188" y="402"/>
                  </a:lnTo>
                  <a:lnTo>
                    <a:pt x="187" y="402"/>
                  </a:lnTo>
                  <a:lnTo>
                    <a:pt x="187" y="402"/>
                  </a:lnTo>
                  <a:lnTo>
                    <a:pt x="186" y="402"/>
                  </a:lnTo>
                  <a:lnTo>
                    <a:pt x="184" y="401"/>
                  </a:lnTo>
                  <a:lnTo>
                    <a:pt x="183" y="401"/>
                  </a:lnTo>
                  <a:lnTo>
                    <a:pt x="183" y="401"/>
                  </a:lnTo>
                  <a:lnTo>
                    <a:pt x="183" y="401"/>
                  </a:lnTo>
                  <a:lnTo>
                    <a:pt x="182" y="401"/>
                  </a:lnTo>
                  <a:lnTo>
                    <a:pt x="182" y="400"/>
                  </a:lnTo>
                  <a:lnTo>
                    <a:pt x="182" y="400"/>
                  </a:lnTo>
                  <a:lnTo>
                    <a:pt x="182" y="399"/>
                  </a:lnTo>
                  <a:lnTo>
                    <a:pt x="182" y="399"/>
                  </a:lnTo>
                  <a:lnTo>
                    <a:pt x="182" y="398"/>
                  </a:lnTo>
                  <a:lnTo>
                    <a:pt x="182" y="398"/>
                  </a:lnTo>
                  <a:lnTo>
                    <a:pt x="183" y="397"/>
                  </a:lnTo>
                  <a:lnTo>
                    <a:pt x="184" y="396"/>
                  </a:lnTo>
                  <a:lnTo>
                    <a:pt x="185" y="394"/>
                  </a:lnTo>
                  <a:lnTo>
                    <a:pt x="186" y="393"/>
                  </a:lnTo>
                  <a:lnTo>
                    <a:pt x="187" y="392"/>
                  </a:lnTo>
                  <a:lnTo>
                    <a:pt x="188" y="391"/>
                  </a:lnTo>
                  <a:lnTo>
                    <a:pt x="190" y="388"/>
                  </a:lnTo>
                  <a:lnTo>
                    <a:pt x="191" y="388"/>
                  </a:lnTo>
                  <a:lnTo>
                    <a:pt x="191" y="387"/>
                  </a:lnTo>
                  <a:lnTo>
                    <a:pt x="192" y="386"/>
                  </a:lnTo>
                  <a:lnTo>
                    <a:pt x="192" y="385"/>
                  </a:lnTo>
                  <a:lnTo>
                    <a:pt x="193" y="383"/>
                  </a:lnTo>
                  <a:lnTo>
                    <a:pt x="193" y="382"/>
                  </a:lnTo>
                  <a:lnTo>
                    <a:pt x="194" y="381"/>
                  </a:lnTo>
                  <a:lnTo>
                    <a:pt x="196" y="379"/>
                  </a:lnTo>
                  <a:lnTo>
                    <a:pt x="196" y="378"/>
                  </a:lnTo>
                  <a:lnTo>
                    <a:pt x="196" y="377"/>
                  </a:lnTo>
                  <a:lnTo>
                    <a:pt x="196" y="377"/>
                  </a:lnTo>
                  <a:lnTo>
                    <a:pt x="197" y="376"/>
                  </a:lnTo>
                  <a:lnTo>
                    <a:pt x="197" y="374"/>
                  </a:lnTo>
                  <a:lnTo>
                    <a:pt x="197" y="373"/>
                  </a:lnTo>
                  <a:lnTo>
                    <a:pt x="198" y="372"/>
                  </a:lnTo>
                  <a:lnTo>
                    <a:pt x="198" y="371"/>
                  </a:lnTo>
                  <a:lnTo>
                    <a:pt x="199" y="369"/>
                  </a:lnTo>
                  <a:lnTo>
                    <a:pt x="200" y="368"/>
                  </a:lnTo>
                  <a:lnTo>
                    <a:pt x="201" y="367"/>
                  </a:lnTo>
                  <a:lnTo>
                    <a:pt x="201" y="366"/>
                  </a:lnTo>
                  <a:lnTo>
                    <a:pt x="202" y="366"/>
                  </a:lnTo>
                  <a:lnTo>
                    <a:pt x="202" y="366"/>
                  </a:lnTo>
                  <a:lnTo>
                    <a:pt x="202" y="365"/>
                  </a:lnTo>
                  <a:lnTo>
                    <a:pt x="203" y="365"/>
                  </a:lnTo>
                  <a:lnTo>
                    <a:pt x="206" y="365"/>
                  </a:lnTo>
                  <a:lnTo>
                    <a:pt x="208" y="364"/>
                  </a:lnTo>
                  <a:lnTo>
                    <a:pt x="209" y="364"/>
                  </a:lnTo>
                  <a:lnTo>
                    <a:pt x="210" y="363"/>
                  </a:lnTo>
                  <a:lnTo>
                    <a:pt x="210" y="363"/>
                  </a:lnTo>
                  <a:lnTo>
                    <a:pt x="211" y="363"/>
                  </a:lnTo>
                  <a:lnTo>
                    <a:pt x="211" y="362"/>
                  </a:lnTo>
                  <a:lnTo>
                    <a:pt x="211" y="362"/>
                  </a:lnTo>
                  <a:lnTo>
                    <a:pt x="212" y="361"/>
                  </a:lnTo>
                  <a:lnTo>
                    <a:pt x="212" y="360"/>
                  </a:lnTo>
                  <a:lnTo>
                    <a:pt x="212" y="359"/>
                  </a:lnTo>
                  <a:lnTo>
                    <a:pt x="212" y="358"/>
                  </a:lnTo>
                  <a:lnTo>
                    <a:pt x="212" y="358"/>
                  </a:lnTo>
                  <a:lnTo>
                    <a:pt x="212" y="357"/>
                  </a:lnTo>
                  <a:lnTo>
                    <a:pt x="212" y="356"/>
                  </a:lnTo>
                  <a:lnTo>
                    <a:pt x="211" y="355"/>
                  </a:lnTo>
                  <a:lnTo>
                    <a:pt x="209" y="352"/>
                  </a:lnTo>
                  <a:lnTo>
                    <a:pt x="209" y="352"/>
                  </a:lnTo>
                  <a:lnTo>
                    <a:pt x="208" y="351"/>
                  </a:lnTo>
                  <a:lnTo>
                    <a:pt x="207" y="351"/>
                  </a:lnTo>
                  <a:lnTo>
                    <a:pt x="206" y="349"/>
                  </a:lnTo>
                  <a:lnTo>
                    <a:pt x="204" y="349"/>
                  </a:lnTo>
                  <a:lnTo>
                    <a:pt x="204" y="348"/>
                  </a:lnTo>
                  <a:lnTo>
                    <a:pt x="203" y="347"/>
                  </a:lnTo>
                  <a:lnTo>
                    <a:pt x="203" y="347"/>
                  </a:lnTo>
                  <a:lnTo>
                    <a:pt x="202" y="346"/>
                  </a:lnTo>
                  <a:lnTo>
                    <a:pt x="202" y="346"/>
                  </a:lnTo>
                  <a:lnTo>
                    <a:pt x="202" y="345"/>
                  </a:lnTo>
                  <a:lnTo>
                    <a:pt x="202" y="345"/>
                  </a:lnTo>
                  <a:lnTo>
                    <a:pt x="202" y="344"/>
                  </a:lnTo>
                  <a:lnTo>
                    <a:pt x="202" y="343"/>
                  </a:lnTo>
                  <a:lnTo>
                    <a:pt x="203" y="343"/>
                  </a:lnTo>
                  <a:lnTo>
                    <a:pt x="202" y="342"/>
                  </a:lnTo>
                  <a:lnTo>
                    <a:pt x="202" y="342"/>
                  </a:lnTo>
                  <a:lnTo>
                    <a:pt x="202" y="341"/>
                  </a:lnTo>
                  <a:lnTo>
                    <a:pt x="202" y="340"/>
                  </a:lnTo>
                  <a:lnTo>
                    <a:pt x="201" y="340"/>
                  </a:lnTo>
                  <a:lnTo>
                    <a:pt x="201" y="340"/>
                  </a:lnTo>
                  <a:lnTo>
                    <a:pt x="200" y="339"/>
                  </a:lnTo>
                  <a:lnTo>
                    <a:pt x="199" y="339"/>
                  </a:lnTo>
                  <a:lnTo>
                    <a:pt x="198" y="338"/>
                  </a:lnTo>
                  <a:lnTo>
                    <a:pt x="198" y="338"/>
                  </a:lnTo>
                  <a:lnTo>
                    <a:pt x="197" y="338"/>
                  </a:lnTo>
                  <a:lnTo>
                    <a:pt x="197" y="338"/>
                  </a:lnTo>
                  <a:lnTo>
                    <a:pt x="196" y="338"/>
                  </a:lnTo>
                  <a:lnTo>
                    <a:pt x="196" y="338"/>
                  </a:lnTo>
                  <a:lnTo>
                    <a:pt x="195" y="338"/>
                  </a:lnTo>
                  <a:lnTo>
                    <a:pt x="195" y="338"/>
                  </a:lnTo>
                  <a:lnTo>
                    <a:pt x="193" y="339"/>
                  </a:lnTo>
                  <a:lnTo>
                    <a:pt x="193" y="339"/>
                  </a:lnTo>
                  <a:lnTo>
                    <a:pt x="192" y="339"/>
                  </a:lnTo>
                  <a:lnTo>
                    <a:pt x="190" y="340"/>
                  </a:lnTo>
                  <a:lnTo>
                    <a:pt x="188" y="340"/>
                  </a:lnTo>
                  <a:lnTo>
                    <a:pt x="187" y="340"/>
                  </a:lnTo>
                  <a:lnTo>
                    <a:pt x="184" y="341"/>
                  </a:lnTo>
                  <a:lnTo>
                    <a:pt x="183" y="342"/>
                  </a:lnTo>
                  <a:lnTo>
                    <a:pt x="182" y="342"/>
                  </a:lnTo>
                  <a:lnTo>
                    <a:pt x="181" y="342"/>
                  </a:lnTo>
                  <a:lnTo>
                    <a:pt x="179" y="342"/>
                  </a:lnTo>
                  <a:lnTo>
                    <a:pt x="177" y="342"/>
                  </a:lnTo>
                  <a:lnTo>
                    <a:pt x="175" y="342"/>
                  </a:lnTo>
                  <a:lnTo>
                    <a:pt x="173" y="342"/>
                  </a:lnTo>
                  <a:lnTo>
                    <a:pt x="172" y="342"/>
                  </a:lnTo>
                  <a:lnTo>
                    <a:pt x="171" y="342"/>
                  </a:lnTo>
                  <a:lnTo>
                    <a:pt x="168" y="341"/>
                  </a:lnTo>
                  <a:lnTo>
                    <a:pt x="167" y="341"/>
                  </a:lnTo>
                  <a:lnTo>
                    <a:pt x="166" y="340"/>
                  </a:lnTo>
                  <a:lnTo>
                    <a:pt x="166" y="340"/>
                  </a:lnTo>
                  <a:lnTo>
                    <a:pt x="165" y="340"/>
                  </a:lnTo>
                  <a:lnTo>
                    <a:pt x="164" y="341"/>
                  </a:lnTo>
                  <a:lnTo>
                    <a:pt x="163" y="341"/>
                  </a:lnTo>
                  <a:lnTo>
                    <a:pt x="161" y="341"/>
                  </a:lnTo>
                  <a:lnTo>
                    <a:pt x="161" y="342"/>
                  </a:lnTo>
                  <a:lnTo>
                    <a:pt x="161" y="342"/>
                  </a:lnTo>
                  <a:lnTo>
                    <a:pt x="160" y="342"/>
                  </a:lnTo>
                  <a:lnTo>
                    <a:pt x="160" y="342"/>
                  </a:lnTo>
                  <a:lnTo>
                    <a:pt x="159" y="342"/>
                  </a:lnTo>
                  <a:lnTo>
                    <a:pt x="159" y="341"/>
                  </a:lnTo>
                  <a:lnTo>
                    <a:pt x="156" y="340"/>
                  </a:lnTo>
                  <a:lnTo>
                    <a:pt x="152" y="337"/>
                  </a:lnTo>
                  <a:lnTo>
                    <a:pt x="150" y="336"/>
                  </a:lnTo>
                  <a:lnTo>
                    <a:pt x="148" y="335"/>
                  </a:lnTo>
                  <a:lnTo>
                    <a:pt x="148" y="334"/>
                  </a:lnTo>
                  <a:lnTo>
                    <a:pt x="145" y="332"/>
                  </a:lnTo>
                  <a:lnTo>
                    <a:pt x="142" y="330"/>
                  </a:lnTo>
                  <a:lnTo>
                    <a:pt x="141" y="329"/>
                  </a:lnTo>
                  <a:lnTo>
                    <a:pt x="139" y="327"/>
                  </a:lnTo>
                  <a:lnTo>
                    <a:pt x="139" y="327"/>
                  </a:lnTo>
                  <a:lnTo>
                    <a:pt x="138" y="326"/>
                  </a:lnTo>
                  <a:lnTo>
                    <a:pt x="138" y="325"/>
                  </a:lnTo>
                  <a:lnTo>
                    <a:pt x="137" y="324"/>
                  </a:lnTo>
                  <a:lnTo>
                    <a:pt x="136" y="323"/>
                  </a:lnTo>
                  <a:lnTo>
                    <a:pt x="136" y="321"/>
                  </a:lnTo>
                  <a:lnTo>
                    <a:pt x="136" y="320"/>
                  </a:lnTo>
                  <a:lnTo>
                    <a:pt x="136" y="319"/>
                  </a:lnTo>
                  <a:lnTo>
                    <a:pt x="136" y="317"/>
                  </a:lnTo>
                  <a:lnTo>
                    <a:pt x="136" y="316"/>
                  </a:lnTo>
                  <a:lnTo>
                    <a:pt x="136" y="313"/>
                  </a:lnTo>
                  <a:lnTo>
                    <a:pt x="137" y="311"/>
                  </a:lnTo>
                  <a:lnTo>
                    <a:pt x="137" y="310"/>
                  </a:lnTo>
                  <a:lnTo>
                    <a:pt x="137" y="309"/>
                  </a:lnTo>
                  <a:lnTo>
                    <a:pt x="136" y="308"/>
                  </a:lnTo>
                  <a:lnTo>
                    <a:pt x="136" y="307"/>
                  </a:lnTo>
                  <a:lnTo>
                    <a:pt x="136" y="305"/>
                  </a:lnTo>
                  <a:lnTo>
                    <a:pt x="136" y="304"/>
                  </a:lnTo>
                  <a:lnTo>
                    <a:pt x="135" y="303"/>
                  </a:lnTo>
                  <a:lnTo>
                    <a:pt x="135" y="302"/>
                  </a:lnTo>
                  <a:lnTo>
                    <a:pt x="134" y="301"/>
                  </a:lnTo>
                  <a:lnTo>
                    <a:pt x="134" y="301"/>
                  </a:lnTo>
                  <a:lnTo>
                    <a:pt x="133" y="300"/>
                  </a:lnTo>
                  <a:lnTo>
                    <a:pt x="133" y="300"/>
                  </a:lnTo>
                  <a:lnTo>
                    <a:pt x="132" y="300"/>
                  </a:lnTo>
                  <a:lnTo>
                    <a:pt x="132" y="299"/>
                  </a:lnTo>
                  <a:lnTo>
                    <a:pt x="131" y="299"/>
                  </a:lnTo>
                  <a:lnTo>
                    <a:pt x="130" y="299"/>
                  </a:lnTo>
                  <a:lnTo>
                    <a:pt x="129" y="299"/>
                  </a:lnTo>
                  <a:lnTo>
                    <a:pt x="128" y="299"/>
                  </a:lnTo>
                  <a:lnTo>
                    <a:pt x="127" y="299"/>
                  </a:lnTo>
                  <a:lnTo>
                    <a:pt x="124" y="299"/>
                  </a:lnTo>
                  <a:lnTo>
                    <a:pt x="121" y="300"/>
                  </a:lnTo>
                  <a:lnTo>
                    <a:pt x="120" y="300"/>
                  </a:lnTo>
                  <a:lnTo>
                    <a:pt x="119" y="300"/>
                  </a:lnTo>
                  <a:lnTo>
                    <a:pt x="116" y="300"/>
                  </a:lnTo>
                  <a:lnTo>
                    <a:pt x="115" y="301"/>
                  </a:lnTo>
                  <a:lnTo>
                    <a:pt x="111" y="301"/>
                  </a:lnTo>
                  <a:lnTo>
                    <a:pt x="111" y="301"/>
                  </a:lnTo>
                  <a:lnTo>
                    <a:pt x="110" y="301"/>
                  </a:lnTo>
                  <a:lnTo>
                    <a:pt x="109" y="301"/>
                  </a:lnTo>
                  <a:lnTo>
                    <a:pt x="109" y="301"/>
                  </a:lnTo>
                  <a:lnTo>
                    <a:pt x="109" y="300"/>
                  </a:lnTo>
                  <a:lnTo>
                    <a:pt x="107" y="299"/>
                  </a:lnTo>
                  <a:lnTo>
                    <a:pt x="107" y="299"/>
                  </a:lnTo>
                  <a:lnTo>
                    <a:pt x="106" y="298"/>
                  </a:lnTo>
                  <a:lnTo>
                    <a:pt x="105" y="297"/>
                  </a:lnTo>
                  <a:lnTo>
                    <a:pt x="104" y="297"/>
                  </a:lnTo>
                  <a:lnTo>
                    <a:pt x="101" y="296"/>
                  </a:lnTo>
                  <a:lnTo>
                    <a:pt x="98" y="295"/>
                  </a:lnTo>
                  <a:lnTo>
                    <a:pt x="93" y="293"/>
                  </a:lnTo>
                  <a:lnTo>
                    <a:pt x="92" y="293"/>
                  </a:lnTo>
                  <a:lnTo>
                    <a:pt x="91" y="293"/>
                  </a:lnTo>
                  <a:lnTo>
                    <a:pt x="91" y="293"/>
                  </a:lnTo>
                  <a:lnTo>
                    <a:pt x="90" y="293"/>
                  </a:lnTo>
                  <a:lnTo>
                    <a:pt x="90" y="293"/>
                  </a:lnTo>
                  <a:lnTo>
                    <a:pt x="89" y="294"/>
                  </a:lnTo>
                  <a:lnTo>
                    <a:pt x="88" y="294"/>
                  </a:lnTo>
                  <a:lnTo>
                    <a:pt x="85" y="295"/>
                  </a:lnTo>
                  <a:lnTo>
                    <a:pt x="84" y="296"/>
                  </a:lnTo>
                  <a:lnTo>
                    <a:pt x="83" y="296"/>
                  </a:lnTo>
                  <a:lnTo>
                    <a:pt x="82" y="296"/>
                  </a:lnTo>
                  <a:lnTo>
                    <a:pt x="81" y="297"/>
                  </a:lnTo>
                  <a:lnTo>
                    <a:pt x="80" y="297"/>
                  </a:lnTo>
                  <a:lnTo>
                    <a:pt x="79" y="296"/>
                  </a:lnTo>
                  <a:lnTo>
                    <a:pt x="78" y="296"/>
                  </a:lnTo>
                  <a:lnTo>
                    <a:pt x="77" y="296"/>
                  </a:lnTo>
                  <a:lnTo>
                    <a:pt x="76" y="295"/>
                  </a:lnTo>
                  <a:lnTo>
                    <a:pt x="75" y="295"/>
                  </a:lnTo>
                  <a:lnTo>
                    <a:pt x="75" y="295"/>
                  </a:lnTo>
                  <a:lnTo>
                    <a:pt x="75" y="294"/>
                  </a:lnTo>
                  <a:lnTo>
                    <a:pt x="74" y="293"/>
                  </a:lnTo>
                  <a:lnTo>
                    <a:pt x="72" y="291"/>
                  </a:lnTo>
                  <a:lnTo>
                    <a:pt x="71" y="290"/>
                  </a:lnTo>
                  <a:lnTo>
                    <a:pt x="70" y="288"/>
                  </a:lnTo>
                  <a:lnTo>
                    <a:pt x="69" y="288"/>
                  </a:lnTo>
                  <a:lnTo>
                    <a:pt x="68" y="287"/>
                  </a:lnTo>
                  <a:lnTo>
                    <a:pt x="68" y="287"/>
                  </a:lnTo>
                  <a:lnTo>
                    <a:pt x="67" y="287"/>
                  </a:lnTo>
                  <a:lnTo>
                    <a:pt x="66" y="287"/>
                  </a:lnTo>
                  <a:lnTo>
                    <a:pt x="66" y="286"/>
                  </a:lnTo>
                  <a:lnTo>
                    <a:pt x="65" y="286"/>
                  </a:lnTo>
                  <a:lnTo>
                    <a:pt x="62" y="286"/>
                  </a:lnTo>
                  <a:lnTo>
                    <a:pt x="61" y="286"/>
                  </a:lnTo>
                  <a:lnTo>
                    <a:pt x="61" y="286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8" y="285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3"/>
                  </a:lnTo>
                  <a:lnTo>
                    <a:pt x="59" y="283"/>
                  </a:lnTo>
                  <a:lnTo>
                    <a:pt x="60" y="282"/>
                  </a:lnTo>
                  <a:lnTo>
                    <a:pt x="60" y="282"/>
                  </a:lnTo>
                  <a:lnTo>
                    <a:pt x="61" y="282"/>
                  </a:lnTo>
                  <a:lnTo>
                    <a:pt x="61" y="281"/>
                  </a:lnTo>
                  <a:lnTo>
                    <a:pt x="61" y="281"/>
                  </a:lnTo>
                  <a:lnTo>
                    <a:pt x="61" y="280"/>
                  </a:lnTo>
                  <a:lnTo>
                    <a:pt x="61" y="279"/>
                  </a:lnTo>
                  <a:lnTo>
                    <a:pt x="61" y="278"/>
                  </a:lnTo>
                  <a:lnTo>
                    <a:pt x="61" y="278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9" y="275"/>
                  </a:lnTo>
                  <a:lnTo>
                    <a:pt x="57" y="274"/>
                  </a:lnTo>
                  <a:lnTo>
                    <a:pt x="56" y="274"/>
                  </a:lnTo>
                  <a:lnTo>
                    <a:pt x="52" y="272"/>
                  </a:lnTo>
                  <a:lnTo>
                    <a:pt x="51" y="272"/>
                  </a:lnTo>
                  <a:lnTo>
                    <a:pt x="51" y="271"/>
                  </a:lnTo>
                  <a:lnTo>
                    <a:pt x="49" y="271"/>
                  </a:lnTo>
                  <a:lnTo>
                    <a:pt x="48" y="270"/>
                  </a:lnTo>
                  <a:lnTo>
                    <a:pt x="46" y="269"/>
                  </a:lnTo>
                  <a:lnTo>
                    <a:pt x="44" y="267"/>
                  </a:lnTo>
                  <a:lnTo>
                    <a:pt x="44" y="266"/>
                  </a:lnTo>
                  <a:lnTo>
                    <a:pt x="43" y="266"/>
                  </a:lnTo>
                  <a:lnTo>
                    <a:pt x="42" y="266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30" y="269"/>
                  </a:lnTo>
                  <a:lnTo>
                    <a:pt x="29" y="269"/>
                  </a:lnTo>
                  <a:lnTo>
                    <a:pt x="28" y="270"/>
                  </a:lnTo>
                  <a:lnTo>
                    <a:pt x="27" y="270"/>
                  </a:lnTo>
                  <a:lnTo>
                    <a:pt x="26" y="269"/>
                  </a:lnTo>
                  <a:lnTo>
                    <a:pt x="25" y="269"/>
                  </a:lnTo>
                  <a:lnTo>
                    <a:pt x="25" y="269"/>
                  </a:lnTo>
                  <a:lnTo>
                    <a:pt x="24" y="269"/>
                  </a:lnTo>
                  <a:lnTo>
                    <a:pt x="23" y="268"/>
                  </a:lnTo>
                  <a:lnTo>
                    <a:pt x="21" y="266"/>
                  </a:lnTo>
                  <a:lnTo>
                    <a:pt x="18" y="264"/>
                  </a:lnTo>
                  <a:lnTo>
                    <a:pt x="17" y="262"/>
                  </a:lnTo>
                  <a:lnTo>
                    <a:pt x="15" y="260"/>
                  </a:lnTo>
                  <a:lnTo>
                    <a:pt x="15" y="259"/>
                  </a:lnTo>
                  <a:lnTo>
                    <a:pt x="11" y="256"/>
                  </a:lnTo>
                  <a:lnTo>
                    <a:pt x="11" y="255"/>
                  </a:lnTo>
                  <a:lnTo>
                    <a:pt x="10" y="255"/>
                  </a:lnTo>
                  <a:lnTo>
                    <a:pt x="8" y="252"/>
                  </a:lnTo>
                  <a:lnTo>
                    <a:pt x="6" y="249"/>
                  </a:lnTo>
                  <a:lnTo>
                    <a:pt x="5" y="248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5" y="243"/>
                  </a:lnTo>
                  <a:lnTo>
                    <a:pt x="5" y="242"/>
                  </a:lnTo>
                  <a:lnTo>
                    <a:pt x="6" y="241"/>
                  </a:lnTo>
                  <a:lnTo>
                    <a:pt x="7" y="240"/>
                  </a:lnTo>
                  <a:lnTo>
                    <a:pt x="8" y="239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4"/>
                  </a:lnTo>
                  <a:lnTo>
                    <a:pt x="8" y="233"/>
                  </a:lnTo>
                  <a:lnTo>
                    <a:pt x="8" y="232"/>
                  </a:lnTo>
                  <a:lnTo>
                    <a:pt x="7" y="232"/>
                  </a:lnTo>
                  <a:lnTo>
                    <a:pt x="7" y="231"/>
                  </a:lnTo>
                  <a:lnTo>
                    <a:pt x="6" y="230"/>
                  </a:lnTo>
                  <a:lnTo>
                    <a:pt x="4" y="228"/>
                  </a:lnTo>
                  <a:lnTo>
                    <a:pt x="3" y="228"/>
                  </a:lnTo>
                  <a:lnTo>
                    <a:pt x="2" y="227"/>
                  </a:lnTo>
                  <a:lnTo>
                    <a:pt x="1" y="226"/>
                  </a:lnTo>
                  <a:lnTo>
                    <a:pt x="0" y="225"/>
                  </a:lnTo>
                  <a:lnTo>
                    <a:pt x="0" y="224"/>
                  </a:lnTo>
                  <a:lnTo>
                    <a:pt x="0" y="223"/>
                  </a:lnTo>
                  <a:lnTo>
                    <a:pt x="0" y="222"/>
                  </a:lnTo>
                  <a:lnTo>
                    <a:pt x="0" y="221"/>
                  </a:lnTo>
                  <a:lnTo>
                    <a:pt x="0" y="221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1" y="215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09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1"/>
                  </a:lnTo>
                  <a:lnTo>
                    <a:pt x="4" y="200"/>
                  </a:lnTo>
                  <a:lnTo>
                    <a:pt x="5" y="198"/>
                  </a:lnTo>
                  <a:lnTo>
                    <a:pt x="6" y="195"/>
                  </a:lnTo>
                  <a:lnTo>
                    <a:pt x="7" y="192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7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9" y="180"/>
                  </a:lnTo>
                  <a:lnTo>
                    <a:pt x="9" y="179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9" y="172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8" y="169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7" y="166"/>
                  </a:lnTo>
                  <a:lnTo>
                    <a:pt x="5" y="163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9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1" y="156"/>
                  </a:lnTo>
                  <a:lnTo>
                    <a:pt x="11" y="155"/>
                  </a:lnTo>
                  <a:lnTo>
                    <a:pt x="12" y="155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1" y="146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3" y="141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7" y="133"/>
                  </a:lnTo>
                  <a:lnTo>
                    <a:pt x="22" y="131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9" y="120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0"/>
                  </a:lnTo>
                  <a:lnTo>
                    <a:pt x="32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22"/>
                  </a:lnTo>
                  <a:lnTo>
                    <a:pt x="43" y="122"/>
                  </a:lnTo>
                  <a:lnTo>
                    <a:pt x="47" y="123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8" y="121"/>
                  </a:lnTo>
                  <a:lnTo>
                    <a:pt x="61" y="120"/>
                  </a:lnTo>
                  <a:lnTo>
                    <a:pt x="63" y="119"/>
                  </a:lnTo>
                  <a:lnTo>
                    <a:pt x="64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20"/>
                  </a:lnTo>
                  <a:lnTo>
                    <a:pt x="70" y="120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7" y="124"/>
                  </a:lnTo>
                  <a:lnTo>
                    <a:pt x="78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1" y="123"/>
                  </a:lnTo>
                  <a:lnTo>
                    <a:pt x="81" y="122"/>
                  </a:lnTo>
                  <a:lnTo>
                    <a:pt x="82" y="121"/>
                  </a:lnTo>
                  <a:lnTo>
                    <a:pt x="82" y="120"/>
                  </a:lnTo>
                  <a:lnTo>
                    <a:pt x="83" y="118"/>
                  </a:lnTo>
                  <a:lnTo>
                    <a:pt x="84" y="118"/>
                  </a:lnTo>
                  <a:lnTo>
                    <a:pt x="84" y="117"/>
                  </a:lnTo>
                  <a:lnTo>
                    <a:pt x="84" y="117"/>
                  </a:lnTo>
                  <a:lnTo>
                    <a:pt x="85" y="117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9" y="115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5" y="115"/>
                  </a:lnTo>
                  <a:lnTo>
                    <a:pt x="96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100" y="114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4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5" y="101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3" y="97"/>
                  </a:lnTo>
                  <a:lnTo>
                    <a:pt x="102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3"/>
                  </a:lnTo>
                  <a:lnTo>
                    <a:pt x="98" y="93"/>
                  </a:lnTo>
                  <a:lnTo>
                    <a:pt x="97" y="92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6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3"/>
                  </a:lnTo>
                  <a:lnTo>
                    <a:pt x="85" y="81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5" y="78"/>
                  </a:lnTo>
                  <a:lnTo>
                    <a:pt x="86" y="77"/>
                  </a:lnTo>
                  <a:lnTo>
                    <a:pt x="86" y="76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8" y="71"/>
                  </a:lnTo>
                  <a:lnTo>
                    <a:pt x="88" y="70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7" y="58"/>
                  </a:lnTo>
                  <a:lnTo>
                    <a:pt x="98" y="56"/>
                  </a:lnTo>
                  <a:lnTo>
                    <a:pt x="98" y="55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3" y="49"/>
                  </a:lnTo>
                  <a:lnTo>
                    <a:pt x="104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6" y="48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4" y="49"/>
                  </a:lnTo>
                  <a:lnTo>
                    <a:pt x="115" y="48"/>
                  </a:lnTo>
                  <a:lnTo>
                    <a:pt x="118" y="47"/>
                  </a:lnTo>
                  <a:lnTo>
                    <a:pt x="119" y="46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4" y="44"/>
                  </a:lnTo>
                  <a:lnTo>
                    <a:pt x="126" y="44"/>
                  </a:lnTo>
                  <a:lnTo>
                    <a:pt x="129" y="43"/>
                  </a:lnTo>
                  <a:lnTo>
                    <a:pt x="131" y="42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6" y="41"/>
                  </a:lnTo>
                  <a:lnTo>
                    <a:pt x="137" y="41"/>
                  </a:lnTo>
                  <a:lnTo>
                    <a:pt x="138" y="40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41" y="38"/>
                  </a:lnTo>
                  <a:lnTo>
                    <a:pt x="142" y="37"/>
                  </a:lnTo>
                  <a:lnTo>
                    <a:pt x="143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7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4" y="31"/>
                  </a:lnTo>
                  <a:lnTo>
                    <a:pt x="155" y="31"/>
                  </a:lnTo>
                  <a:lnTo>
                    <a:pt x="156" y="31"/>
                  </a:lnTo>
                  <a:lnTo>
                    <a:pt x="157" y="31"/>
                  </a:lnTo>
                  <a:lnTo>
                    <a:pt x="158" y="31"/>
                  </a:lnTo>
                  <a:lnTo>
                    <a:pt x="158" y="30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7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5"/>
                  </a:lnTo>
                  <a:lnTo>
                    <a:pt x="160" y="24"/>
                  </a:lnTo>
                  <a:lnTo>
                    <a:pt x="159" y="23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7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4"/>
                  </a:lnTo>
                  <a:lnTo>
                    <a:pt x="160" y="13"/>
                  </a:lnTo>
                  <a:lnTo>
                    <a:pt x="162" y="12"/>
                  </a:lnTo>
                  <a:lnTo>
                    <a:pt x="162" y="11"/>
                  </a:lnTo>
                  <a:lnTo>
                    <a:pt x="163" y="11"/>
                  </a:lnTo>
                  <a:lnTo>
                    <a:pt x="163" y="10"/>
                  </a:lnTo>
                  <a:lnTo>
                    <a:pt x="164" y="10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9"/>
                  </a:lnTo>
                  <a:lnTo>
                    <a:pt x="170" y="9"/>
                  </a:lnTo>
                  <a:lnTo>
                    <a:pt x="171" y="9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8" y="4"/>
                  </a:lnTo>
                  <a:lnTo>
                    <a:pt x="179" y="3"/>
                  </a:lnTo>
                  <a:lnTo>
                    <a:pt x="179" y="2"/>
                  </a:lnTo>
                  <a:lnTo>
                    <a:pt x="180" y="2"/>
                  </a:lnTo>
                  <a:lnTo>
                    <a:pt x="180" y="1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80" y="1"/>
                  </a:lnTo>
                  <a:lnTo>
                    <a:pt x="185" y="4"/>
                  </a:lnTo>
                  <a:close/>
                </a:path>
              </a:pathLst>
            </a:custGeom>
            <a:solidFill>
              <a:srgbClr val="A8A8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 64">
              <a:extLst>
                <a:ext uri="{FF2B5EF4-FFF2-40B4-BE49-F238E27FC236}">
                  <a16:creationId xmlns:a16="http://schemas.microsoft.com/office/drawing/2014/main" id="{2D4EB088-F2C8-AE2A-8CDC-F81DC77D7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8" y="3422"/>
              <a:ext cx="399" cy="421"/>
            </a:xfrm>
            <a:custGeom>
              <a:avLst/>
              <a:gdLst>
                <a:gd name="T0" fmla="*/ 157 w 399"/>
                <a:gd name="T1" fmla="*/ 19 h 421"/>
                <a:gd name="T2" fmla="*/ 177 w 399"/>
                <a:gd name="T3" fmla="*/ 20 h 421"/>
                <a:gd name="T4" fmla="*/ 196 w 399"/>
                <a:gd name="T5" fmla="*/ 32 h 421"/>
                <a:gd name="T6" fmla="*/ 208 w 399"/>
                <a:gd name="T7" fmla="*/ 42 h 421"/>
                <a:gd name="T8" fmla="*/ 228 w 399"/>
                <a:gd name="T9" fmla="*/ 51 h 421"/>
                <a:gd name="T10" fmla="*/ 231 w 399"/>
                <a:gd name="T11" fmla="*/ 64 h 421"/>
                <a:gd name="T12" fmla="*/ 256 w 399"/>
                <a:gd name="T13" fmla="*/ 75 h 421"/>
                <a:gd name="T14" fmla="*/ 270 w 399"/>
                <a:gd name="T15" fmla="*/ 56 h 421"/>
                <a:gd name="T16" fmla="*/ 283 w 399"/>
                <a:gd name="T17" fmla="*/ 61 h 421"/>
                <a:gd name="T18" fmla="*/ 304 w 399"/>
                <a:gd name="T19" fmla="*/ 74 h 421"/>
                <a:gd name="T20" fmla="*/ 332 w 399"/>
                <a:gd name="T21" fmla="*/ 81 h 421"/>
                <a:gd name="T22" fmla="*/ 361 w 399"/>
                <a:gd name="T23" fmla="*/ 104 h 421"/>
                <a:gd name="T24" fmla="*/ 392 w 399"/>
                <a:gd name="T25" fmla="*/ 123 h 421"/>
                <a:gd name="T26" fmla="*/ 392 w 399"/>
                <a:gd name="T27" fmla="*/ 141 h 421"/>
                <a:gd name="T28" fmla="*/ 397 w 399"/>
                <a:gd name="T29" fmla="*/ 153 h 421"/>
                <a:gd name="T30" fmla="*/ 384 w 399"/>
                <a:gd name="T31" fmla="*/ 162 h 421"/>
                <a:gd name="T32" fmla="*/ 390 w 399"/>
                <a:gd name="T33" fmla="*/ 174 h 421"/>
                <a:gd name="T34" fmla="*/ 382 w 399"/>
                <a:gd name="T35" fmla="*/ 181 h 421"/>
                <a:gd name="T36" fmla="*/ 371 w 399"/>
                <a:gd name="T37" fmla="*/ 178 h 421"/>
                <a:gd name="T38" fmla="*/ 373 w 399"/>
                <a:gd name="T39" fmla="*/ 186 h 421"/>
                <a:gd name="T40" fmla="*/ 362 w 399"/>
                <a:gd name="T41" fmla="*/ 193 h 421"/>
                <a:gd name="T42" fmla="*/ 347 w 399"/>
                <a:gd name="T43" fmla="*/ 209 h 421"/>
                <a:gd name="T44" fmla="*/ 345 w 399"/>
                <a:gd name="T45" fmla="*/ 230 h 421"/>
                <a:gd name="T46" fmla="*/ 353 w 399"/>
                <a:gd name="T47" fmla="*/ 242 h 421"/>
                <a:gd name="T48" fmla="*/ 362 w 399"/>
                <a:gd name="T49" fmla="*/ 249 h 421"/>
                <a:gd name="T50" fmla="*/ 359 w 399"/>
                <a:gd name="T51" fmla="*/ 267 h 421"/>
                <a:gd name="T52" fmla="*/ 352 w 399"/>
                <a:gd name="T53" fmla="*/ 280 h 421"/>
                <a:gd name="T54" fmla="*/ 351 w 399"/>
                <a:gd name="T55" fmla="*/ 294 h 421"/>
                <a:gd name="T56" fmla="*/ 357 w 399"/>
                <a:gd name="T57" fmla="*/ 308 h 421"/>
                <a:gd name="T58" fmla="*/ 348 w 399"/>
                <a:gd name="T59" fmla="*/ 321 h 421"/>
                <a:gd name="T60" fmla="*/ 342 w 399"/>
                <a:gd name="T61" fmla="*/ 330 h 421"/>
                <a:gd name="T62" fmla="*/ 351 w 399"/>
                <a:gd name="T63" fmla="*/ 343 h 421"/>
                <a:gd name="T64" fmla="*/ 342 w 399"/>
                <a:gd name="T65" fmla="*/ 356 h 421"/>
                <a:gd name="T66" fmla="*/ 320 w 399"/>
                <a:gd name="T67" fmla="*/ 363 h 421"/>
                <a:gd name="T68" fmla="*/ 312 w 399"/>
                <a:gd name="T69" fmla="*/ 375 h 421"/>
                <a:gd name="T70" fmla="*/ 286 w 399"/>
                <a:gd name="T71" fmla="*/ 376 h 421"/>
                <a:gd name="T72" fmla="*/ 268 w 399"/>
                <a:gd name="T73" fmla="*/ 372 h 421"/>
                <a:gd name="T74" fmla="*/ 255 w 399"/>
                <a:gd name="T75" fmla="*/ 376 h 421"/>
                <a:gd name="T76" fmla="*/ 244 w 399"/>
                <a:gd name="T77" fmla="*/ 379 h 421"/>
                <a:gd name="T78" fmla="*/ 230 w 399"/>
                <a:gd name="T79" fmla="*/ 389 h 421"/>
                <a:gd name="T80" fmla="*/ 208 w 399"/>
                <a:gd name="T81" fmla="*/ 404 h 421"/>
                <a:gd name="T82" fmla="*/ 194 w 399"/>
                <a:gd name="T83" fmla="*/ 415 h 421"/>
                <a:gd name="T84" fmla="*/ 176 w 399"/>
                <a:gd name="T85" fmla="*/ 413 h 421"/>
                <a:gd name="T86" fmla="*/ 162 w 399"/>
                <a:gd name="T87" fmla="*/ 418 h 421"/>
                <a:gd name="T88" fmla="*/ 152 w 399"/>
                <a:gd name="T89" fmla="*/ 418 h 421"/>
                <a:gd name="T90" fmla="*/ 135 w 399"/>
                <a:gd name="T91" fmla="*/ 404 h 421"/>
                <a:gd name="T92" fmla="*/ 124 w 399"/>
                <a:gd name="T93" fmla="*/ 396 h 421"/>
                <a:gd name="T94" fmla="*/ 135 w 399"/>
                <a:gd name="T95" fmla="*/ 379 h 421"/>
                <a:gd name="T96" fmla="*/ 144 w 399"/>
                <a:gd name="T97" fmla="*/ 362 h 421"/>
                <a:gd name="T98" fmla="*/ 154 w 399"/>
                <a:gd name="T99" fmla="*/ 352 h 421"/>
                <a:gd name="T100" fmla="*/ 145 w 399"/>
                <a:gd name="T101" fmla="*/ 339 h 421"/>
                <a:gd name="T102" fmla="*/ 135 w 399"/>
                <a:gd name="T103" fmla="*/ 335 h 421"/>
                <a:gd name="T104" fmla="*/ 109 w 399"/>
                <a:gd name="T105" fmla="*/ 337 h 421"/>
                <a:gd name="T106" fmla="*/ 90 w 399"/>
                <a:gd name="T107" fmla="*/ 330 h 421"/>
                <a:gd name="T108" fmla="*/ 79 w 399"/>
                <a:gd name="T109" fmla="*/ 306 h 421"/>
                <a:gd name="T110" fmla="*/ 70 w 399"/>
                <a:gd name="T111" fmla="*/ 295 h 421"/>
                <a:gd name="T112" fmla="*/ 47 w 399"/>
                <a:gd name="T113" fmla="*/ 293 h 421"/>
                <a:gd name="T114" fmla="*/ 22 w 399"/>
                <a:gd name="T115" fmla="*/ 293 h 421"/>
                <a:gd name="T116" fmla="*/ 8 w 399"/>
                <a:gd name="T117" fmla="*/ 282 h 421"/>
                <a:gd name="T118" fmla="*/ 3 w 399"/>
                <a:gd name="T119" fmla="*/ 277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9" h="421">
                  <a:moveTo>
                    <a:pt x="127" y="0"/>
                  </a:moveTo>
                  <a:lnTo>
                    <a:pt x="132" y="4"/>
                  </a:lnTo>
                  <a:lnTo>
                    <a:pt x="134" y="5"/>
                  </a:lnTo>
                  <a:lnTo>
                    <a:pt x="137" y="7"/>
                  </a:lnTo>
                  <a:lnTo>
                    <a:pt x="144" y="12"/>
                  </a:lnTo>
                  <a:lnTo>
                    <a:pt x="145" y="13"/>
                  </a:lnTo>
                  <a:lnTo>
                    <a:pt x="147" y="15"/>
                  </a:lnTo>
                  <a:lnTo>
                    <a:pt x="148" y="15"/>
                  </a:lnTo>
                  <a:lnTo>
                    <a:pt x="149" y="17"/>
                  </a:lnTo>
                  <a:lnTo>
                    <a:pt x="151" y="18"/>
                  </a:lnTo>
                  <a:lnTo>
                    <a:pt x="151" y="19"/>
                  </a:lnTo>
                  <a:lnTo>
                    <a:pt x="152" y="1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54" y="19"/>
                  </a:lnTo>
                  <a:lnTo>
                    <a:pt x="156" y="19"/>
                  </a:lnTo>
                  <a:lnTo>
                    <a:pt x="157" y="19"/>
                  </a:lnTo>
                  <a:lnTo>
                    <a:pt x="158" y="19"/>
                  </a:lnTo>
                  <a:lnTo>
                    <a:pt x="162" y="19"/>
                  </a:lnTo>
                  <a:lnTo>
                    <a:pt x="163" y="19"/>
                  </a:lnTo>
                  <a:lnTo>
                    <a:pt x="163" y="19"/>
                  </a:lnTo>
                  <a:lnTo>
                    <a:pt x="164" y="19"/>
                  </a:lnTo>
                  <a:lnTo>
                    <a:pt x="166" y="20"/>
                  </a:lnTo>
                  <a:lnTo>
                    <a:pt x="167" y="20"/>
                  </a:lnTo>
                  <a:lnTo>
                    <a:pt x="168" y="20"/>
                  </a:lnTo>
                  <a:lnTo>
                    <a:pt x="169" y="20"/>
                  </a:lnTo>
                  <a:lnTo>
                    <a:pt x="169" y="19"/>
                  </a:lnTo>
                  <a:lnTo>
                    <a:pt x="171" y="19"/>
                  </a:lnTo>
                  <a:lnTo>
                    <a:pt x="172" y="19"/>
                  </a:lnTo>
                  <a:lnTo>
                    <a:pt x="172" y="19"/>
                  </a:lnTo>
                  <a:lnTo>
                    <a:pt x="173" y="19"/>
                  </a:lnTo>
                  <a:lnTo>
                    <a:pt x="174" y="19"/>
                  </a:lnTo>
                  <a:lnTo>
                    <a:pt x="176" y="20"/>
                  </a:lnTo>
                  <a:lnTo>
                    <a:pt x="177" y="20"/>
                  </a:lnTo>
                  <a:lnTo>
                    <a:pt x="178" y="20"/>
                  </a:lnTo>
                  <a:lnTo>
                    <a:pt x="178" y="21"/>
                  </a:lnTo>
                  <a:lnTo>
                    <a:pt x="179" y="22"/>
                  </a:lnTo>
                  <a:lnTo>
                    <a:pt x="180" y="22"/>
                  </a:lnTo>
                  <a:lnTo>
                    <a:pt x="183" y="23"/>
                  </a:lnTo>
                  <a:lnTo>
                    <a:pt x="184" y="24"/>
                  </a:lnTo>
                  <a:lnTo>
                    <a:pt x="185" y="24"/>
                  </a:lnTo>
                  <a:lnTo>
                    <a:pt x="186" y="25"/>
                  </a:lnTo>
                  <a:lnTo>
                    <a:pt x="186" y="25"/>
                  </a:lnTo>
                  <a:lnTo>
                    <a:pt x="189" y="28"/>
                  </a:lnTo>
                  <a:lnTo>
                    <a:pt x="190" y="29"/>
                  </a:lnTo>
                  <a:lnTo>
                    <a:pt x="190" y="29"/>
                  </a:lnTo>
                  <a:lnTo>
                    <a:pt x="191" y="30"/>
                  </a:lnTo>
                  <a:lnTo>
                    <a:pt x="192" y="31"/>
                  </a:lnTo>
                  <a:lnTo>
                    <a:pt x="193" y="31"/>
                  </a:lnTo>
                  <a:lnTo>
                    <a:pt x="194" y="32"/>
                  </a:lnTo>
                  <a:lnTo>
                    <a:pt x="196" y="32"/>
                  </a:lnTo>
                  <a:lnTo>
                    <a:pt x="196" y="32"/>
                  </a:lnTo>
                  <a:lnTo>
                    <a:pt x="199" y="33"/>
                  </a:lnTo>
                  <a:lnTo>
                    <a:pt x="200" y="33"/>
                  </a:lnTo>
                  <a:lnTo>
                    <a:pt x="203" y="34"/>
                  </a:lnTo>
                  <a:lnTo>
                    <a:pt x="204" y="34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5" y="36"/>
                  </a:lnTo>
                  <a:lnTo>
                    <a:pt x="206" y="36"/>
                  </a:lnTo>
                  <a:lnTo>
                    <a:pt x="206" y="37"/>
                  </a:lnTo>
                  <a:lnTo>
                    <a:pt x="206" y="37"/>
                  </a:lnTo>
                  <a:lnTo>
                    <a:pt x="206" y="39"/>
                  </a:lnTo>
                  <a:lnTo>
                    <a:pt x="207" y="41"/>
                  </a:lnTo>
                  <a:lnTo>
                    <a:pt x="207" y="41"/>
                  </a:lnTo>
                  <a:lnTo>
                    <a:pt x="207" y="42"/>
                  </a:lnTo>
                  <a:lnTo>
                    <a:pt x="208" y="42"/>
                  </a:lnTo>
                  <a:lnTo>
                    <a:pt x="208" y="43"/>
                  </a:lnTo>
                  <a:lnTo>
                    <a:pt x="209" y="43"/>
                  </a:lnTo>
                  <a:lnTo>
                    <a:pt x="210" y="43"/>
                  </a:lnTo>
                  <a:lnTo>
                    <a:pt x="210" y="43"/>
                  </a:lnTo>
                  <a:lnTo>
                    <a:pt x="212" y="44"/>
                  </a:lnTo>
                  <a:lnTo>
                    <a:pt x="213" y="44"/>
                  </a:lnTo>
                  <a:lnTo>
                    <a:pt x="215" y="44"/>
                  </a:lnTo>
                  <a:lnTo>
                    <a:pt x="216" y="45"/>
                  </a:lnTo>
                  <a:lnTo>
                    <a:pt x="217" y="46"/>
                  </a:lnTo>
                  <a:lnTo>
                    <a:pt x="219" y="46"/>
                  </a:lnTo>
                  <a:lnTo>
                    <a:pt x="220" y="47"/>
                  </a:lnTo>
                  <a:lnTo>
                    <a:pt x="222" y="48"/>
                  </a:lnTo>
                  <a:lnTo>
                    <a:pt x="223" y="49"/>
                  </a:lnTo>
                  <a:lnTo>
                    <a:pt x="224" y="49"/>
                  </a:lnTo>
                  <a:lnTo>
                    <a:pt x="225" y="50"/>
                  </a:lnTo>
                  <a:lnTo>
                    <a:pt x="226" y="50"/>
                  </a:lnTo>
                  <a:lnTo>
                    <a:pt x="228" y="51"/>
                  </a:lnTo>
                  <a:lnTo>
                    <a:pt x="228" y="51"/>
                  </a:lnTo>
                  <a:lnTo>
                    <a:pt x="230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2" y="53"/>
                  </a:lnTo>
                  <a:lnTo>
                    <a:pt x="232" y="53"/>
                  </a:lnTo>
                  <a:lnTo>
                    <a:pt x="232" y="54"/>
                  </a:lnTo>
                  <a:lnTo>
                    <a:pt x="232" y="55"/>
                  </a:lnTo>
                  <a:lnTo>
                    <a:pt x="232" y="55"/>
                  </a:lnTo>
                  <a:lnTo>
                    <a:pt x="231" y="58"/>
                  </a:lnTo>
                  <a:lnTo>
                    <a:pt x="231" y="59"/>
                  </a:lnTo>
                  <a:lnTo>
                    <a:pt x="230" y="60"/>
                  </a:lnTo>
                  <a:lnTo>
                    <a:pt x="230" y="61"/>
                  </a:lnTo>
                  <a:lnTo>
                    <a:pt x="231" y="62"/>
                  </a:lnTo>
                  <a:lnTo>
                    <a:pt x="231" y="63"/>
                  </a:lnTo>
                  <a:lnTo>
                    <a:pt x="231" y="64"/>
                  </a:lnTo>
                  <a:lnTo>
                    <a:pt x="232" y="65"/>
                  </a:lnTo>
                  <a:lnTo>
                    <a:pt x="233" y="66"/>
                  </a:lnTo>
                  <a:lnTo>
                    <a:pt x="234" y="67"/>
                  </a:lnTo>
                  <a:lnTo>
                    <a:pt x="235" y="67"/>
                  </a:lnTo>
                  <a:lnTo>
                    <a:pt x="235" y="68"/>
                  </a:lnTo>
                  <a:lnTo>
                    <a:pt x="237" y="69"/>
                  </a:lnTo>
                  <a:lnTo>
                    <a:pt x="243" y="72"/>
                  </a:lnTo>
                  <a:lnTo>
                    <a:pt x="246" y="73"/>
                  </a:lnTo>
                  <a:lnTo>
                    <a:pt x="248" y="74"/>
                  </a:lnTo>
                  <a:lnTo>
                    <a:pt x="249" y="74"/>
                  </a:lnTo>
                  <a:lnTo>
                    <a:pt x="249" y="75"/>
                  </a:lnTo>
                  <a:lnTo>
                    <a:pt x="250" y="75"/>
                  </a:lnTo>
                  <a:lnTo>
                    <a:pt x="251" y="75"/>
                  </a:lnTo>
                  <a:lnTo>
                    <a:pt x="252" y="75"/>
                  </a:lnTo>
                  <a:lnTo>
                    <a:pt x="254" y="75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7" y="75"/>
                  </a:lnTo>
                  <a:lnTo>
                    <a:pt x="258" y="74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3"/>
                  </a:lnTo>
                  <a:lnTo>
                    <a:pt x="260" y="73"/>
                  </a:lnTo>
                  <a:lnTo>
                    <a:pt x="261" y="70"/>
                  </a:lnTo>
                  <a:lnTo>
                    <a:pt x="263" y="68"/>
                  </a:lnTo>
                  <a:lnTo>
                    <a:pt x="264" y="67"/>
                  </a:lnTo>
                  <a:lnTo>
                    <a:pt x="264" y="67"/>
                  </a:lnTo>
                  <a:lnTo>
                    <a:pt x="264" y="66"/>
                  </a:lnTo>
                  <a:lnTo>
                    <a:pt x="265" y="63"/>
                  </a:lnTo>
                  <a:lnTo>
                    <a:pt x="266" y="61"/>
                  </a:lnTo>
                  <a:lnTo>
                    <a:pt x="267" y="59"/>
                  </a:lnTo>
                  <a:lnTo>
                    <a:pt x="268" y="58"/>
                  </a:lnTo>
                  <a:lnTo>
                    <a:pt x="269" y="57"/>
                  </a:lnTo>
                  <a:lnTo>
                    <a:pt x="270" y="56"/>
                  </a:lnTo>
                  <a:lnTo>
                    <a:pt x="271" y="55"/>
                  </a:lnTo>
                  <a:lnTo>
                    <a:pt x="272" y="54"/>
                  </a:lnTo>
                  <a:lnTo>
                    <a:pt x="273" y="54"/>
                  </a:lnTo>
                  <a:lnTo>
                    <a:pt x="273" y="54"/>
                  </a:lnTo>
                  <a:lnTo>
                    <a:pt x="274" y="54"/>
                  </a:lnTo>
                  <a:lnTo>
                    <a:pt x="274" y="54"/>
                  </a:lnTo>
                  <a:lnTo>
                    <a:pt x="275" y="54"/>
                  </a:lnTo>
                  <a:lnTo>
                    <a:pt x="275" y="55"/>
                  </a:lnTo>
                  <a:lnTo>
                    <a:pt x="276" y="56"/>
                  </a:lnTo>
                  <a:lnTo>
                    <a:pt x="277" y="57"/>
                  </a:lnTo>
                  <a:lnTo>
                    <a:pt x="278" y="58"/>
                  </a:lnTo>
                  <a:lnTo>
                    <a:pt x="279" y="59"/>
                  </a:lnTo>
                  <a:lnTo>
                    <a:pt x="279" y="59"/>
                  </a:lnTo>
                  <a:lnTo>
                    <a:pt x="280" y="60"/>
                  </a:lnTo>
                  <a:lnTo>
                    <a:pt x="281" y="60"/>
                  </a:lnTo>
                  <a:lnTo>
                    <a:pt x="282" y="61"/>
                  </a:lnTo>
                  <a:lnTo>
                    <a:pt x="283" y="61"/>
                  </a:lnTo>
                  <a:lnTo>
                    <a:pt x="284" y="62"/>
                  </a:lnTo>
                  <a:lnTo>
                    <a:pt x="285" y="62"/>
                  </a:lnTo>
                  <a:lnTo>
                    <a:pt x="287" y="63"/>
                  </a:lnTo>
                  <a:lnTo>
                    <a:pt x="290" y="63"/>
                  </a:lnTo>
                  <a:lnTo>
                    <a:pt x="292" y="63"/>
                  </a:lnTo>
                  <a:lnTo>
                    <a:pt x="293" y="64"/>
                  </a:lnTo>
                  <a:lnTo>
                    <a:pt x="294" y="64"/>
                  </a:lnTo>
                  <a:lnTo>
                    <a:pt x="294" y="65"/>
                  </a:lnTo>
                  <a:lnTo>
                    <a:pt x="295" y="65"/>
                  </a:lnTo>
                  <a:lnTo>
                    <a:pt x="296" y="66"/>
                  </a:lnTo>
                  <a:lnTo>
                    <a:pt x="297" y="66"/>
                  </a:lnTo>
                  <a:lnTo>
                    <a:pt x="298" y="68"/>
                  </a:lnTo>
                  <a:lnTo>
                    <a:pt x="299" y="69"/>
                  </a:lnTo>
                  <a:lnTo>
                    <a:pt x="301" y="71"/>
                  </a:lnTo>
                  <a:lnTo>
                    <a:pt x="303" y="73"/>
                  </a:lnTo>
                  <a:lnTo>
                    <a:pt x="304" y="73"/>
                  </a:lnTo>
                  <a:lnTo>
                    <a:pt x="304" y="74"/>
                  </a:lnTo>
                  <a:lnTo>
                    <a:pt x="305" y="74"/>
                  </a:lnTo>
                  <a:lnTo>
                    <a:pt x="305" y="74"/>
                  </a:lnTo>
                  <a:lnTo>
                    <a:pt x="306" y="74"/>
                  </a:lnTo>
                  <a:lnTo>
                    <a:pt x="306" y="75"/>
                  </a:lnTo>
                  <a:lnTo>
                    <a:pt x="307" y="75"/>
                  </a:lnTo>
                  <a:lnTo>
                    <a:pt x="309" y="75"/>
                  </a:lnTo>
                  <a:lnTo>
                    <a:pt x="313" y="75"/>
                  </a:lnTo>
                  <a:lnTo>
                    <a:pt x="314" y="75"/>
                  </a:lnTo>
                  <a:lnTo>
                    <a:pt x="315" y="75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9" y="77"/>
                  </a:lnTo>
                  <a:lnTo>
                    <a:pt x="320" y="77"/>
                  </a:lnTo>
                  <a:lnTo>
                    <a:pt x="324" y="78"/>
                  </a:lnTo>
                  <a:lnTo>
                    <a:pt x="328" y="79"/>
                  </a:lnTo>
                  <a:lnTo>
                    <a:pt x="331" y="80"/>
                  </a:lnTo>
                  <a:lnTo>
                    <a:pt x="332" y="81"/>
                  </a:lnTo>
                  <a:lnTo>
                    <a:pt x="332" y="81"/>
                  </a:lnTo>
                  <a:lnTo>
                    <a:pt x="337" y="83"/>
                  </a:lnTo>
                  <a:lnTo>
                    <a:pt x="341" y="85"/>
                  </a:lnTo>
                  <a:lnTo>
                    <a:pt x="342" y="86"/>
                  </a:lnTo>
                  <a:lnTo>
                    <a:pt x="343" y="87"/>
                  </a:lnTo>
                  <a:lnTo>
                    <a:pt x="345" y="87"/>
                  </a:lnTo>
                  <a:lnTo>
                    <a:pt x="346" y="88"/>
                  </a:lnTo>
                  <a:lnTo>
                    <a:pt x="347" y="89"/>
                  </a:lnTo>
                  <a:lnTo>
                    <a:pt x="349" y="91"/>
                  </a:lnTo>
                  <a:lnTo>
                    <a:pt x="352" y="95"/>
                  </a:lnTo>
                  <a:lnTo>
                    <a:pt x="354" y="96"/>
                  </a:lnTo>
                  <a:lnTo>
                    <a:pt x="355" y="97"/>
                  </a:lnTo>
                  <a:lnTo>
                    <a:pt x="356" y="99"/>
                  </a:lnTo>
                  <a:lnTo>
                    <a:pt x="357" y="100"/>
                  </a:lnTo>
                  <a:lnTo>
                    <a:pt x="358" y="102"/>
                  </a:lnTo>
                  <a:lnTo>
                    <a:pt x="360" y="103"/>
                  </a:lnTo>
                  <a:lnTo>
                    <a:pt x="361" y="104"/>
                  </a:lnTo>
                  <a:lnTo>
                    <a:pt x="361" y="104"/>
                  </a:lnTo>
                  <a:lnTo>
                    <a:pt x="362" y="104"/>
                  </a:lnTo>
                  <a:lnTo>
                    <a:pt x="363" y="105"/>
                  </a:lnTo>
                  <a:lnTo>
                    <a:pt x="365" y="105"/>
                  </a:lnTo>
                  <a:lnTo>
                    <a:pt x="366" y="105"/>
                  </a:lnTo>
                  <a:lnTo>
                    <a:pt x="370" y="107"/>
                  </a:lnTo>
                  <a:lnTo>
                    <a:pt x="374" y="108"/>
                  </a:lnTo>
                  <a:lnTo>
                    <a:pt x="375" y="108"/>
                  </a:lnTo>
                  <a:lnTo>
                    <a:pt x="377" y="109"/>
                  </a:lnTo>
                  <a:lnTo>
                    <a:pt x="378" y="110"/>
                  </a:lnTo>
                  <a:lnTo>
                    <a:pt x="381" y="112"/>
                  </a:lnTo>
                  <a:lnTo>
                    <a:pt x="384" y="114"/>
                  </a:lnTo>
                  <a:lnTo>
                    <a:pt x="385" y="114"/>
                  </a:lnTo>
                  <a:lnTo>
                    <a:pt x="386" y="115"/>
                  </a:lnTo>
                  <a:lnTo>
                    <a:pt x="387" y="116"/>
                  </a:lnTo>
                  <a:lnTo>
                    <a:pt x="388" y="117"/>
                  </a:lnTo>
                  <a:lnTo>
                    <a:pt x="392" y="123"/>
                  </a:lnTo>
                  <a:lnTo>
                    <a:pt x="392" y="123"/>
                  </a:lnTo>
                  <a:lnTo>
                    <a:pt x="392" y="124"/>
                  </a:lnTo>
                  <a:lnTo>
                    <a:pt x="392" y="125"/>
                  </a:lnTo>
                  <a:lnTo>
                    <a:pt x="392" y="127"/>
                  </a:lnTo>
                  <a:lnTo>
                    <a:pt x="391" y="128"/>
                  </a:lnTo>
                  <a:lnTo>
                    <a:pt x="391" y="130"/>
                  </a:lnTo>
                  <a:lnTo>
                    <a:pt x="389" y="134"/>
                  </a:lnTo>
                  <a:lnTo>
                    <a:pt x="389" y="135"/>
                  </a:lnTo>
                  <a:lnTo>
                    <a:pt x="389" y="136"/>
                  </a:lnTo>
                  <a:lnTo>
                    <a:pt x="389" y="136"/>
                  </a:lnTo>
                  <a:lnTo>
                    <a:pt x="389" y="137"/>
                  </a:lnTo>
                  <a:lnTo>
                    <a:pt x="389" y="137"/>
                  </a:lnTo>
                  <a:lnTo>
                    <a:pt x="389" y="138"/>
                  </a:lnTo>
                  <a:lnTo>
                    <a:pt x="390" y="139"/>
                  </a:lnTo>
                  <a:lnTo>
                    <a:pt x="390" y="140"/>
                  </a:lnTo>
                  <a:lnTo>
                    <a:pt x="391" y="140"/>
                  </a:lnTo>
                  <a:lnTo>
                    <a:pt x="392" y="141"/>
                  </a:lnTo>
                  <a:lnTo>
                    <a:pt x="392" y="141"/>
                  </a:lnTo>
                  <a:lnTo>
                    <a:pt x="395" y="143"/>
                  </a:lnTo>
                  <a:lnTo>
                    <a:pt x="396" y="143"/>
                  </a:lnTo>
                  <a:lnTo>
                    <a:pt x="396" y="144"/>
                  </a:lnTo>
                  <a:lnTo>
                    <a:pt x="397" y="145"/>
                  </a:lnTo>
                  <a:lnTo>
                    <a:pt x="397" y="145"/>
                  </a:lnTo>
                  <a:lnTo>
                    <a:pt x="398" y="146"/>
                  </a:lnTo>
                  <a:lnTo>
                    <a:pt x="398" y="146"/>
                  </a:lnTo>
                  <a:lnTo>
                    <a:pt x="398" y="147"/>
                  </a:lnTo>
                  <a:lnTo>
                    <a:pt x="398" y="147"/>
                  </a:lnTo>
                  <a:lnTo>
                    <a:pt x="399" y="148"/>
                  </a:lnTo>
                  <a:lnTo>
                    <a:pt x="399" y="149"/>
                  </a:lnTo>
                  <a:lnTo>
                    <a:pt x="399" y="150"/>
                  </a:lnTo>
                  <a:lnTo>
                    <a:pt x="398" y="150"/>
                  </a:lnTo>
                  <a:lnTo>
                    <a:pt x="398" y="151"/>
                  </a:lnTo>
                  <a:lnTo>
                    <a:pt x="398" y="152"/>
                  </a:lnTo>
                  <a:lnTo>
                    <a:pt x="397" y="153"/>
                  </a:lnTo>
                  <a:lnTo>
                    <a:pt x="397" y="154"/>
                  </a:lnTo>
                  <a:lnTo>
                    <a:pt x="396" y="156"/>
                  </a:lnTo>
                  <a:lnTo>
                    <a:pt x="395" y="157"/>
                  </a:lnTo>
                  <a:lnTo>
                    <a:pt x="394" y="158"/>
                  </a:lnTo>
                  <a:lnTo>
                    <a:pt x="393" y="160"/>
                  </a:lnTo>
                  <a:lnTo>
                    <a:pt x="392" y="160"/>
                  </a:lnTo>
                  <a:lnTo>
                    <a:pt x="391" y="161"/>
                  </a:lnTo>
                  <a:lnTo>
                    <a:pt x="390" y="161"/>
                  </a:lnTo>
                  <a:lnTo>
                    <a:pt x="389" y="162"/>
                  </a:lnTo>
                  <a:lnTo>
                    <a:pt x="388" y="162"/>
                  </a:lnTo>
                  <a:lnTo>
                    <a:pt x="388" y="162"/>
                  </a:lnTo>
                  <a:lnTo>
                    <a:pt x="387" y="162"/>
                  </a:lnTo>
                  <a:lnTo>
                    <a:pt x="385" y="162"/>
                  </a:lnTo>
                  <a:lnTo>
                    <a:pt x="385" y="162"/>
                  </a:lnTo>
                  <a:lnTo>
                    <a:pt x="385" y="162"/>
                  </a:lnTo>
                  <a:lnTo>
                    <a:pt x="384" y="162"/>
                  </a:lnTo>
                  <a:lnTo>
                    <a:pt x="384" y="162"/>
                  </a:lnTo>
                  <a:lnTo>
                    <a:pt x="384" y="162"/>
                  </a:lnTo>
                  <a:lnTo>
                    <a:pt x="384" y="163"/>
                  </a:lnTo>
                  <a:lnTo>
                    <a:pt x="384" y="163"/>
                  </a:lnTo>
                  <a:lnTo>
                    <a:pt x="385" y="164"/>
                  </a:lnTo>
                  <a:lnTo>
                    <a:pt x="385" y="165"/>
                  </a:lnTo>
                  <a:lnTo>
                    <a:pt x="385" y="165"/>
                  </a:lnTo>
                  <a:lnTo>
                    <a:pt x="386" y="166"/>
                  </a:lnTo>
                  <a:lnTo>
                    <a:pt x="386" y="167"/>
                  </a:lnTo>
                  <a:lnTo>
                    <a:pt x="388" y="168"/>
                  </a:lnTo>
                  <a:lnTo>
                    <a:pt x="388" y="169"/>
                  </a:lnTo>
                  <a:lnTo>
                    <a:pt x="389" y="170"/>
                  </a:lnTo>
                  <a:lnTo>
                    <a:pt x="390" y="171"/>
                  </a:lnTo>
                  <a:lnTo>
                    <a:pt x="390" y="172"/>
                  </a:lnTo>
                  <a:lnTo>
                    <a:pt x="390" y="173"/>
                  </a:lnTo>
                  <a:lnTo>
                    <a:pt x="390" y="173"/>
                  </a:lnTo>
                  <a:lnTo>
                    <a:pt x="390" y="174"/>
                  </a:lnTo>
                  <a:lnTo>
                    <a:pt x="390" y="174"/>
                  </a:lnTo>
                  <a:lnTo>
                    <a:pt x="390" y="175"/>
                  </a:lnTo>
                  <a:lnTo>
                    <a:pt x="390" y="176"/>
                  </a:lnTo>
                  <a:lnTo>
                    <a:pt x="389" y="177"/>
                  </a:lnTo>
                  <a:lnTo>
                    <a:pt x="389" y="179"/>
                  </a:lnTo>
                  <a:lnTo>
                    <a:pt x="388" y="180"/>
                  </a:lnTo>
                  <a:lnTo>
                    <a:pt x="388" y="181"/>
                  </a:lnTo>
                  <a:lnTo>
                    <a:pt x="388" y="181"/>
                  </a:lnTo>
                  <a:lnTo>
                    <a:pt x="387" y="181"/>
                  </a:lnTo>
                  <a:lnTo>
                    <a:pt x="386" y="182"/>
                  </a:lnTo>
                  <a:lnTo>
                    <a:pt x="386" y="182"/>
                  </a:lnTo>
                  <a:lnTo>
                    <a:pt x="385" y="182"/>
                  </a:lnTo>
                  <a:lnTo>
                    <a:pt x="385" y="182"/>
                  </a:lnTo>
                  <a:lnTo>
                    <a:pt x="384" y="182"/>
                  </a:lnTo>
                  <a:lnTo>
                    <a:pt x="383" y="182"/>
                  </a:lnTo>
                  <a:lnTo>
                    <a:pt x="383" y="182"/>
                  </a:lnTo>
                  <a:lnTo>
                    <a:pt x="382" y="181"/>
                  </a:lnTo>
                  <a:lnTo>
                    <a:pt x="382" y="181"/>
                  </a:lnTo>
                  <a:lnTo>
                    <a:pt x="381" y="180"/>
                  </a:lnTo>
                  <a:lnTo>
                    <a:pt x="381" y="180"/>
                  </a:lnTo>
                  <a:lnTo>
                    <a:pt x="381" y="179"/>
                  </a:lnTo>
                  <a:lnTo>
                    <a:pt x="380" y="178"/>
                  </a:lnTo>
                  <a:lnTo>
                    <a:pt x="380" y="177"/>
                  </a:lnTo>
                  <a:lnTo>
                    <a:pt x="379" y="177"/>
                  </a:lnTo>
                  <a:lnTo>
                    <a:pt x="379" y="176"/>
                  </a:lnTo>
                  <a:lnTo>
                    <a:pt x="378" y="176"/>
                  </a:lnTo>
                  <a:lnTo>
                    <a:pt x="378" y="176"/>
                  </a:lnTo>
                  <a:lnTo>
                    <a:pt x="377" y="176"/>
                  </a:lnTo>
                  <a:lnTo>
                    <a:pt x="376" y="176"/>
                  </a:lnTo>
                  <a:lnTo>
                    <a:pt x="375" y="176"/>
                  </a:lnTo>
                  <a:lnTo>
                    <a:pt x="375" y="176"/>
                  </a:lnTo>
                  <a:lnTo>
                    <a:pt x="374" y="176"/>
                  </a:lnTo>
                  <a:lnTo>
                    <a:pt x="373" y="176"/>
                  </a:lnTo>
                  <a:lnTo>
                    <a:pt x="372" y="177"/>
                  </a:lnTo>
                  <a:lnTo>
                    <a:pt x="371" y="178"/>
                  </a:lnTo>
                  <a:lnTo>
                    <a:pt x="370" y="178"/>
                  </a:lnTo>
                  <a:lnTo>
                    <a:pt x="370" y="179"/>
                  </a:lnTo>
                  <a:lnTo>
                    <a:pt x="368" y="180"/>
                  </a:lnTo>
                  <a:lnTo>
                    <a:pt x="367" y="181"/>
                  </a:lnTo>
                  <a:lnTo>
                    <a:pt x="367" y="182"/>
                  </a:lnTo>
                  <a:lnTo>
                    <a:pt x="366" y="182"/>
                  </a:lnTo>
                  <a:lnTo>
                    <a:pt x="366" y="183"/>
                  </a:lnTo>
                  <a:lnTo>
                    <a:pt x="366" y="183"/>
                  </a:lnTo>
                  <a:lnTo>
                    <a:pt x="366" y="183"/>
                  </a:lnTo>
                  <a:lnTo>
                    <a:pt x="367" y="184"/>
                  </a:lnTo>
                  <a:lnTo>
                    <a:pt x="367" y="184"/>
                  </a:lnTo>
                  <a:lnTo>
                    <a:pt x="368" y="184"/>
                  </a:lnTo>
                  <a:lnTo>
                    <a:pt x="370" y="185"/>
                  </a:lnTo>
                  <a:lnTo>
                    <a:pt x="371" y="185"/>
                  </a:lnTo>
                  <a:lnTo>
                    <a:pt x="372" y="185"/>
                  </a:lnTo>
                  <a:lnTo>
                    <a:pt x="372" y="186"/>
                  </a:lnTo>
                  <a:lnTo>
                    <a:pt x="373" y="186"/>
                  </a:lnTo>
                  <a:lnTo>
                    <a:pt x="373" y="186"/>
                  </a:lnTo>
                  <a:lnTo>
                    <a:pt x="374" y="187"/>
                  </a:lnTo>
                  <a:lnTo>
                    <a:pt x="374" y="187"/>
                  </a:lnTo>
                  <a:lnTo>
                    <a:pt x="374" y="188"/>
                  </a:lnTo>
                  <a:lnTo>
                    <a:pt x="374" y="188"/>
                  </a:lnTo>
                  <a:lnTo>
                    <a:pt x="374" y="189"/>
                  </a:lnTo>
                  <a:lnTo>
                    <a:pt x="374" y="189"/>
                  </a:lnTo>
                  <a:lnTo>
                    <a:pt x="374" y="190"/>
                  </a:lnTo>
                  <a:lnTo>
                    <a:pt x="373" y="190"/>
                  </a:lnTo>
                  <a:lnTo>
                    <a:pt x="373" y="191"/>
                  </a:lnTo>
                  <a:lnTo>
                    <a:pt x="372" y="191"/>
                  </a:lnTo>
                  <a:lnTo>
                    <a:pt x="371" y="192"/>
                  </a:lnTo>
                  <a:lnTo>
                    <a:pt x="370" y="192"/>
                  </a:lnTo>
                  <a:lnTo>
                    <a:pt x="369" y="192"/>
                  </a:lnTo>
                  <a:lnTo>
                    <a:pt x="367" y="193"/>
                  </a:lnTo>
                  <a:lnTo>
                    <a:pt x="365" y="193"/>
                  </a:lnTo>
                  <a:lnTo>
                    <a:pt x="362" y="193"/>
                  </a:lnTo>
                  <a:lnTo>
                    <a:pt x="361" y="194"/>
                  </a:lnTo>
                  <a:lnTo>
                    <a:pt x="360" y="194"/>
                  </a:lnTo>
                  <a:lnTo>
                    <a:pt x="359" y="194"/>
                  </a:lnTo>
                  <a:lnTo>
                    <a:pt x="357" y="195"/>
                  </a:lnTo>
                  <a:lnTo>
                    <a:pt x="357" y="195"/>
                  </a:lnTo>
                  <a:lnTo>
                    <a:pt x="356" y="196"/>
                  </a:lnTo>
                  <a:lnTo>
                    <a:pt x="356" y="196"/>
                  </a:lnTo>
                  <a:lnTo>
                    <a:pt x="355" y="197"/>
                  </a:lnTo>
                  <a:lnTo>
                    <a:pt x="355" y="198"/>
                  </a:lnTo>
                  <a:lnTo>
                    <a:pt x="354" y="199"/>
                  </a:lnTo>
                  <a:lnTo>
                    <a:pt x="353" y="200"/>
                  </a:lnTo>
                  <a:lnTo>
                    <a:pt x="352" y="203"/>
                  </a:lnTo>
                  <a:lnTo>
                    <a:pt x="351" y="204"/>
                  </a:lnTo>
                  <a:lnTo>
                    <a:pt x="351" y="204"/>
                  </a:lnTo>
                  <a:lnTo>
                    <a:pt x="349" y="207"/>
                  </a:lnTo>
                  <a:lnTo>
                    <a:pt x="348" y="208"/>
                  </a:lnTo>
                  <a:lnTo>
                    <a:pt x="347" y="209"/>
                  </a:lnTo>
                  <a:lnTo>
                    <a:pt x="346" y="210"/>
                  </a:lnTo>
                  <a:lnTo>
                    <a:pt x="346" y="211"/>
                  </a:lnTo>
                  <a:lnTo>
                    <a:pt x="346" y="212"/>
                  </a:lnTo>
                  <a:lnTo>
                    <a:pt x="346" y="213"/>
                  </a:lnTo>
                  <a:lnTo>
                    <a:pt x="346" y="216"/>
                  </a:lnTo>
                  <a:lnTo>
                    <a:pt x="345" y="218"/>
                  </a:lnTo>
                  <a:lnTo>
                    <a:pt x="345" y="220"/>
                  </a:lnTo>
                  <a:lnTo>
                    <a:pt x="345" y="222"/>
                  </a:lnTo>
                  <a:lnTo>
                    <a:pt x="344" y="225"/>
                  </a:lnTo>
                  <a:lnTo>
                    <a:pt x="344" y="226"/>
                  </a:lnTo>
                  <a:lnTo>
                    <a:pt x="344" y="227"/>
                  </a:lnTo>
                  <a:lnTo>
                    <a:pt x="344" y="228"/>
                  </a:lnTo>
                  <a:lnTo>
                    <a:pt x="344" y="228"/>
                  </a:lnTo>
                  <a:lnTo>
                    <a:pt x="344" y="229"/>
                  </a:lnTo>
                  <a:lnTo>
                    <a:pt x="344" y="229"/>
                  </a:lnTo>
                  <a:lnTo>
                    <a:pt x="345" y="230"/>
                  </a:lnTo>
                  <a:lnTo>
                    <a:pt x="345" y="230"/>
                  </a:lnTo>
                  <a:lnTo>
                    <a:pt x="346" y="231"/>
                  </a:lnTo>
                  <a:lnTo>
                    <a:pt x="349" y="233"/>
                  </a:lnTo>
                  <a:lnTo>
                    <a:pt x="354" y="237"/>
                  </a:lnTo>
                  <a:lnTo>
                    <a:pt x="354" y="237"/>
                  </a:lnTo>
                  <a:lnTo>
                    <a:pt x="355" y="237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4" y="239"/>
                  </a:lnTo>
                  <a:lnTo>
                    <a:pt x="353" y="239"/>
                  </a:lnTo>
                  <a:lnTo>
                    <a:pt x="353" y="240"/>
                  </a:lnTo>
                  <a:lnTo>
                    <a:pt x="353" y="240"/>
                  </a:lnTo>
                  <a:lnTo>
                    <a:pt x="352" y="240"/>
                  </a:lnTo>
                  <a:lnTo>
                    <a:pt x="352" y="241"/>
                  </a:lnTo>
                  <a:lnTo>
                    <a:pt x="352" y="241"/>
                  </a:lnTo>
                  <a:lnTo>
                    <a:pt x="352" y="241"/>
                  </a:lnTo>
                  <a:lnTo>
                    <a:pt x="353" y="242"/>
                  </a:lnTo>
                  <a:lnTo>
                    <a:pt x="353" y="242"/>
                  </a:lnTo>
                  <a:lnTo>
                    <a:pt x="354" y="243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6" y="244"/>
                  </a:lnTo>
                  <a:lnTo>
                    <a:pt x="357" y="244"/>
                  </a:lnTo>
                  <a:lnTo>
                    <a:pt x="360" y="245"/>
                  </a:lnTo>
                  <a:lnTo>
                    <a:pt x="361" y="245"/>
                  </a:lnTo>
                  <a:lnTo>
                    <a:pt x="361" y="245"/>
                  </a:lnTo>
                  <a:lnTo>
                    <a:pt x="361" y="246"/>
                  </a:lnTo>
                  <a:lnTo>
                    <a:pt x="362" y="246"/>
                  </a:lnTo>
                  <a:lnTo>
                    <a:pt x="362" y="246"/>
                  </a:lnTo>
                  <a:lnTo>
                    <a:pt x="362" y="247"/>
                  </a:lnTo>
                  <a:lnTo>
                    <a:pt x="362" y="248"/>
                  </a:lnTo>
                  <a:lnTo>
                    <a:pt x="362" y="248"/>
                  </a:lnTo>
                  <a:lnTo>
                    <a:pt x="362" y="249"/>
                  </a:lnTo>
                  <a:lnTo>
                    <a:pt x="362" y="249"/>
                  </a:lnTo>
                  <a:lnTo>
                    <a:pt x="362" y="250"/>
                  </a:lnTo>
                  <a:lnTo>
                    <a:pt x="361" y="251"/>
                  </a:lnTo>
                  <a:lnTo>
                    <a:pt x="361" y="252"/>
                  </a:lnTo>
                  <a:lnTo>
                    <a:pt x="360" y="254"/>
                  </a:lnTo>
                  <a:lnTo>
                    <a:pt x="357" y="257"/>
                  </a:lnTo>
                  <a:lnTo>
                    <a:pt x="357" y="258"/>
                  </a:lnTo>
                  <a:lnTo>
                    <a:pt x="356" y="258"/>
                  </a:lnTo>
                  <a:lnTo>
                    <a:pt x="356" y="259"/>
                  </a:lnTo>
                  <a:lnTo>
                    <a:pt x="356" y="260"/>
                  </a:lnTo>
                  <a:lnTo>
                    <a:pt x="356" y="261"/>
                  </a:lnTo>
                  <a:lnTo>
                    <a:pt x="356" y="262"/>
                  </a:lnTo>
                  <a:lnTo>
                    <a:pt x="356" y="262"/>
                  </a:lnTo>
                  <a:lnTo>
                    <a:pt x="356" y="263"/>
                  </a:lnTo>
                  <a:lnTo>
                    <a:pt x="356" y="264"/>
                  </a:lnTo>
                  <a:lnTo>
                    <a:pt x="357" y="265"/>
                  </a:lnTo>
                  <a:lnTo>
                    <a:pt x="357" y="265"/>
                  </a:lnTo>
                  <a:lnTo>
                    <a:pt x="359" y="267"/>
                  </a:lnTo>
                  <a:lnTo>
                    <a:pt x="360" y="268"/>
                  </a:lnTo>
                  <a:lnTo>
                    <a:pt x="360" y="269"/>
                  </a:lnTo>
                  <a:lnTo>
                    <a:pt x="360" y="270"/>
                  </a:lnTo>
                  <a:lnTo>
                    <a:pt x="361" y="270"/>
                  </a:lnTo>
                  <a:lnTo>
                    <a:pt x="361" y="271"/>
                  </a:lnTo>
                  <a:lnTo>
                    <a:pt x="361" y="271"/>
                  </a:lnTo>
                  <a:lnTo>
                    <a:pt x="361" y="272"/>
                  </a:lnTo>
                  <a:lnTo>
                    <a:pt x="360" y="272"/>
                  </a:lnTo>
                  <a:lnTo>
                    <a:pt x="360" y="273"/>
                  </a:lnTo>
                  <a:lnTo>
                    <a:pt x="360" y="273"/>
                  </a:lnTo>
                  <a:lnTo>
                    <a:pt x="359" y="274"/>
                  </a:lnTo>
                  <a:lnTo>
                    <a:pt x="358" y="274"/>
                  </a:lnTo>
                  <a:lnTo>
                    <a:pt x="356" y="276"/>
                  </a:lnTo>
                  <a:lnTo>
                    <a:pt x="355" y="277"/>
                  </a:lnTo>
                  <a:lnTo>
                    <a:pt x="354" y="277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1" y="281"/>
                  </a:lnTo>
                  <a:lnTo>
                    <a:pt x="351" y="282"/>
                  </a:lnTo>
                  <a:lnTo>
                    <a:pt x="351" y="283"/>
                  </a:lnTo>
                  <a:lnTo>
                    <a:pt x="350" y="284"/>
                  </a:lnTo>
                  <a:lnTo>
                    <a:pt x="350" y="285"/>
                  </a:lnTo>
                  <a:lnTo>
                    <a:pt x="349" y="286"/>
                  </a:lnTo>
                  <a:lnTo>
                    <a:pt x="349" y="287"/>
                  </a:lnTo>
                  <a:lnTo>
                    <a:pt x="349" y="288"/>
                  </a:lnTo>
                  <a:lnTo>
                    <a:pt x="349" y="289"/>
                  </a:lnTo>
                  <a:lnTo>
                    <a:pt x="349" y="290"/>
                  </a:lnTo>
                  <a:lnTo>
                    <a:pt x="349" y="291"/>
                  </a:lnTo>
                  <a:lnTo>
                    <a:pt x="349" y="291"/>
                  </a:lnTo>
                  <a:lnTo>
                    <a:pt x="349" y="292"/>
                  </a:lnTo>
                  <a:lnTo>
                    <a:pt x="349" y="292"/>
                  </a:lnTo>
                  <a:lnTo>
                    <a:pt x="350" y="293"/>
                  </a:lnTo>
                  <a:lnTo>
                    <a:pt x="350" y="293"/>
                  </a:lnTo>
                  <a:lnTo>
                    <a:pt x="351" y="294"/>
                  </a:lnTo>
                  <a:lnTo>
                    <a:pt x="352" y="295"/>
                  </a:lnTo>
                  <a:lnTo>
                    <a:pt x="354" y="297"/>
                  </a:lnTo>
                  <a:lnTo>
                    <a:pt x="356" y="297"/>
                  </a:lnTo>
                  <a:lnTo>
                    <a:pt x="356" y="298"/>
                  </a:lnTo>
                  <a:lnTo>
                    <a:pt x="356" y="299"/>
                  </a:lnTo>
                  <a:lnTo>
                    <a:pt x="357" y="299"/>
                  </a:lnTo>
                  <a:lnTo>
                    <a:pt x="357" y="300"/>
                  </a:lnTo>
                  <a:lnTo>
                    <a:pt x="357" y="300"/>
                  </a:lnTo>
                  <a:lnTo>
                    <a:pt x="358" y="301"/>
                  </a:lnTo>
                  <a:lnTo>
                    <a:pt x="358" y="301"/>
                  </a:lnTo>
                  <a:lnTo>
                    <a:pt x="358" y="302"/>
                  </a:lnTo>
                  <a:lnTo>
                    <a:pt x="358" y="304"/>
                  </a:lnTo>
                  <a:lnTo>
                    <a:pt x="358" y="305"/>
                  </a:lnTo>
                  <a:lnTo>
                    <a:pt x="358" y="306"/>
                  </a:lnTo>
                  <a:lnTo>
                    <a:pt x="358" y="307"/>
                  </a:lnTo>
                  <a:lnTo>
                    <a:pt x="358" y="307"/>
                  </a:lnTo>
                  <a:lnTo>
                    <a:pt x="357" y="308"/>
                  </a:lnTo>
                  <a:lnTo>
                    <a:pt x="356" y="309"/>
                  </a:lnTo>
                  <a:lnTo>
                    <a:pt x="355" y="310"/>
                  </a:lnTo>
                  <a:lnTo>
                    <a:pt x="354" y="310"/>
                  </a:lnTo>
                  <a:lnTo>
                    <a:pt x="353" y="311"/>
                  </a:lnTo>
                  <a:lnTo>
                    <a:pt x="351" y="312"/>
                  </a:lnTo>
                  <a:lnTo>
                    <a:pt x="350" y="312"/>
                  </a:lnTo>
                  <a:lnTo>
                    <a:pt x="350" y="313"/>
                  </a:lnTo>
                  <a:lnTo>
                    <a:pt x="349" y="313"/>
                  </a:lnTo>
                  <a:lnTo>
                    <a:pt x="349" y="314"/>
                  </a:lnTo>
                  <a:lnTo>
                    <a:pt x="348" y="314"/>
                  </a:lnTo>
                  <a:lnTo>
                    <a:pt x="348" y="315"/>
                  </a:lnTo>
                  <a:lnTo>
                    <a:pt x="348" y="316"/>
                  </a:lnTo>
                  <a:lnTo>
                    <a:pt x="347" y="316"/>
                  </a:lnTo>
                  <a:lnTo>
                    <a:pt x="347" y="317"/>
                  </a:lnTo>
                  <a:lnTo>
                    <a:pt x="347" y="318"/>
                  </a:lnTo>
                  <a:lnTo>
                    <a:pt x="347" y="318"/>
                  </a:lnTo>
                  <a:lnTo>
                    <a:pt x="348" y="321"/>
                  </a:lnTo>
                  <a:lnTo>
                    <a:pt x="348" y="322"/>
                  </a:lnTo>
                  <a:lnTo>
                    <a:pt x="349" y="323"/>
                  </a:lnTo>
                  <a:lnTo>
                    <a:pt x="349" y="323"/>
                  </a:lnTo>
                  <a:lnTo>
                    <a:pt x="349" y="324"/>
                  </a:lnTo>
                  <a:lnTo>
                    <a:pt x="348" y="325"/>
                  </a:lnTo>
                  <a:lnTo>
                    <a:pt x="348" y="325"/>
                  </a:lnTo>
                  <a:lnTo>
                    <a:pt x="348" y="326"/>
                  </a:lnTo>
                  <a:lnTo>
                    <a:pt x="347" y="326"/>
                  </a:lnTo>
                  <a:lnTo>
                    <a:pt x="347" y="327"/>
                  </a:lnTo>
                  <a:lnTo>
                    <a:pt x="346" y="327"/>
                  </a:lnTo>
                  <a:lnTo>
                    <a:pt x="346" y="328"/>
                  </a:lnTo>
                  <a:lnTo>
                    <a:pt x="345" y="328"/>
                  </a:lnTo>
                  <a:lnTo>
                    <a:pt x="344" y="329"/>
                  </a:lnTo>
                  <a:lnTo>
                    <a:pt x="343" y="329"/>
                  </a:lnTo>
                  <a:lnTo>
                    <a:pt x="342" y="329"/>
                  </a:lnTo>
                  <a:lnTo>
                    <a:pt x="342" y="329"/>
                  </a:lnTo>
                  <a:lnTo>
                    <a:pt x="342" y="330"/>
                  </a:lnTo>
                  <a:lnTo>
                    <a:pt x="342" y="330"/>
                  </a:lnTo>
                  <a:lnTo>
                    <a:pt x="342" y="330"/>
                  </a:lnTo>
                  <a:lnTo>
                    <a:pt x="341" y="330"/>
                  </a:lnTo>
                  <a:lnTo>
                    <a:pt x="342" y="331"/>
                  </a:lnTo>
                  <a:lnTo>
                    <a:pt x="342" y="332"/>
                  </a:lnTo>
                  <a:lnTo>
                    <a:pt x="342" y="332"/>
                  </a:lnTo>
                  <a:lnTo>
                    <a:pt x="343" y="333"/>
                  </a:lnTo>
                  <a:lnTo>
                    <a:pt x="344" y="335"/>
                  </a:lnTo>
                  <a:lnTo>
                    <a:pt x="346" y="335"/>
                  </a:lnTo>
                  <a:lnTo>
                    <a:pt x="348" y="338"/>
                  </a:lnTo>
                  <a:lnTo>
                    <a:pt x="349" y="339"/>
                  </a:lnTo>
                  <a:lnTo>
                    <a:pt x="350" y="340"/>
                  </a:lnTo>
                  <a:lnTo>
                    <a:pt x="351" y="340"/>
                  </a:lnTo>
                  <a:lnTo>
                    <a:pt x="351" y="341"/>
                  </a:lnTo>
                  <a:lnTo>
                    <a:pt x="351" y="342"/>
                  </a:lnTo>
                  <a:lnTo>
                    <a:pt x="351" y="342"/>
                  </a:lnTo>
                  <a:lnTo>
                    <a:pt x="351" y="343"/>
                  </a:lnTo>
                  <a:lnTo>
                    <a:pt x="351" y="344"/>
                  </a:lnTo>
                  <a:lnTo>
                    <a:pt x="351" y="344"/>
                  </a:lnTo>
                  <a:lnTo>
                    <a:pt x="351" y="345"/>
                  </a:lnTo>
                  <a:lnTo>
                    <a:pt x="350" y="345"/>
                  </a:lnTo>
                  <a:lnTo>
                    <a:pt x="350" y="346"/>
                  </a:lnTo>
                  <a:lnTo>
                    <a:pt x="349" y="346"/>
                  </a:lnTo>
                  <a:lnTo>
                    <a:pt x="347" y="348"/>
                  </a:lnTo>
                  <a:lnTo>
                    <a:pt x="347" y="349"/>
                  </a:lnTo>
                  <a:lnTo>
                    <a:pt x="346" y="349"/>
                  </a:lnTo>
                  <a:lnTo>
                    <a:pt x="346" y="350"/>
                  </a:lnTo>
                  <a:lnTo>
                    <a:pt x="346" y="350"/>
                  </a:lnTo>
                  <a:lnTo>
                    <a:pt x="345" y="352"/>
                  </a:lnTo>
                  <a:lnTo>
                    <a:pt x="345" y="353"/>
                  </a:lnTo>
                  <a:lnTo>
                    <a:pt x="344" y="354"/>
                  </a:lnTo>
                  <a:lnTo>
                    <a:pt x="343" y="355"/>
                  </a:lnTo>
                  <a:lnTo>
                    <a:pt x="343" y="355"/>
                  </a:lnTo>
                  <a:lnTo>
                    <a:pt x="342" y="356"/>
                  </a:lnTo>
                  <a:lnTo>
                    <a:pt x="342" y="356"/>
                  </a:lnTo>
                  <a:lnTo>
                    <a:pt x="341" y="357"/>
                  </a:lnTo>
                  <a:lnTo>
                    <a:pt x="341" y="357"/>
                  </a:lnTo>
                  <a:lnTo>
                    <a:pt x="340" y="358"/>
                  </a:lnTo>
                  <a:lnTo>
                    <a:pt x="339" y="358"/>
                  </a:lnTo>
                  <a:lnTo>
                    <a:pt x="339" y="358"/>
                  </a:lnTo>
                  <a:lnTo>
                    <a:pt x="337" y="359"/>
                  </a:lnTo>
                  <a:lnTo>
                    <a:pt x="335" y="359"/>
                  </a:lnTo>
                  <a:lnTo>
                    <a:pt x="332" y="359"/>
                  </a:lnTo>
                  <a:lnTo>
                    <a:pt x="328" y="360"/>
                  </a:lnTo>
                  <a:lnTo>
                    <a:pt x="327" y="360"/>
                  </a:lnTo>
                  <a:lnTo>
                    <a:pt x="325" y="360"/>
                  </a:lnTo>
                  <a:lnTo>
                    <a:pt x="324" y="361"/>
                  </a:lnTo>
                  <a:lnTo>
                    <a:pt x="323" y="361"/>
                  </a:lnTo>
                  <a:lnTo>
                    <a:pt x="322" y="362"/>
                  </a:lnTo>
                  <a:lnTo>
                    <a:pt x="321" y="362"/>
                  </a:lnTo>
                  <a:lnTo>
                    <a:pt x="320" y="363"/>
                  </a:lnTo>
                  <a:lnTo>
                    <a:pt x="320" y="364"/>
                  </a:lnTo>
                  <a:lnTo>
                    <a:pt x="319" y="364"/>
                  </a:lnTo>
                  <a:lnTo>
                    <a:pt x="319" y="365"/>
                  </a:lnTo>
                  <a:lnTo>
                    <a:pt x="319" y="366"/>
                  </a:lnTo>
                  <a:lnTo>
                    <a:pt x="319" y="367"/>
                  </a:lnTo>
                  <a:lnTo>
                    <a:pt x="319" y="369"/>
                  </a:lnTo>
                  <a:lnTo>
                    <a:pt x="319" y="369"/>
                  </a:lnTo>
                  <a:lnTo>
                    <a:pt x="319" y="370"/>
                  </a:lnTo>
                  <a:lnTo>
                    <a:pt x="319" y="370"/>
                  </a:lnTo>
                  <a:lnTo>
                    <a:pt x="318" y="371"/>
                  </a:lnTo>
                  <a:lnTo>
                    <a:pt x="318" y="371"/>
                  </a:lnTo>
                  <a:lnTo>
                    <a:pt x="318" y="372"/>
                  </a:lnTo>
                  <a:lnTo>
                    <a:pt x="317" y="372"/>
                  </a:lnTo>
                  <a:lnTo>
                    <a:pt x="314" y="374"/>
                  </a:lnTo>
                  <a:lnTo>
                    <a:pt x="314" y="374"/>
                  </a:lnTo>
                  <a:lnTo>
                    <a:pt x="313" y="374"/>
                  </a:lnTo>
                  <a:lnTo>
                    <a:pt x="312" y="375"/>
                  </a:lnTo>
                  <a:lnTo>
                    <a:pt x="310" y="375"/>
                  </a:lnTo>
                  <a:lnTo>
                    <a:pt x="306" y="376"/>
                  </a:lnTo>
                  <a:lnTo>
                    <a:pt x="304" y="376"/>
                  </a:lnTo>
                  <a:lnTo>
                    <a:pt x="303" y="376"/>
                  </a:lnTo>
                  <a:lnTo>
                    <a:pt x="302" y="376"/>
                  </a:lnTo>
                  <a:lnTo>
                    <a:pt x="300" y="376"/>
                  </a:lnTo>
                  <a:lnTo>
                    <a:pt x="298" y="376"/>
                  </a:lnTo>
                  <a:lnTo>
                    <a:pt x="297" y="375"/>
                  </a:lnTo>
                  <a:lnTo>
                    <a:pt x="294" y="375"/>
                  </a:lnTo>
                  <a:lnTo>
                    <a:pt x="293" y="375"/>
                  </a:lnTo>
                  <a:lnTo>
                    <a:pt x="291" y="374"/>
                  </a:lnTo>
                  <a:lnTo>
                    <a:pt x="290" y="374"/>
                  </a:lnTo>
                  <a:lnTo>
                    <a:pt x="289" y="374"/>
                  </a:lnTo>
                  <a:lnTo>
                    <a:pt x="288" y="374"/>
                  </a:lnTo>
                  <a:lnTo>
                    <a:pt x="288" y="375"/>
                  </a:lnTo>
                  <a:lnTo>
                    <a:pt x="287" y="375"/>
                  </a:lnTo>
                  <a:lnTo>
                    <a:pt x="286" y="376"/>
                  </a:lnTo>
                  <a:lnTo>
                    <a:pt x="285" y="377"/>
                  </a:lnTo>
                  <a:lnTo>
                    <a:pt x="283" y="378"/>
                  </a:lnTo>
                  <a:lnTo>
                    <a:pt x="282" y="378"/>
                  </a:lnTo>
                  <a:lnTo>
                    <a:pt x="281" y="379"/>
                  </a:lnTo>
                  <a:lnTo>
                    <a:pt x="280" y="379"/>
                  </a:lnTo>
                  <a:lnTo>
                    <a:pt x="278" y="379"/>
                  </a:lnTo>
                  <a:lnTo>
                    <a:pt x="277" y="379"/>
                  </a:lnTo>
                  <a:lnTo>
                    <a:pt x="277" y="379"/>
                  </a:lnTo>
                  <a:lnTo>
                    <a:pt x="276" y="379"/>
                  </a:lnTo>
                  <a:lnTo>
                    <a:pt x="275" y="378"/>
                  </a:lnTo>
                  <a:lnTo>
                    <a:pt x="274" y="378"/>
                  </a:lnTo>
                  <a:lnTo>
                    <a:pt x="273" y="377"/>
                  </a:lnTo>
                  <a:lnTo>
                    <a:pt x="271" y="375"/>
                  </a:lnTo>
                  <a:lnTo>
                    <a:pt x="270" y="375"/>
                  </a:lnTo>
                  <a:lnTo>
                    <a:pt x="269" y="374"/>
                  </a:lnTo>
                  <a:lnTo>
                    <a:pt x="269" y="374"/>
                  </a:lnTo>
                  <a:lnTo>
                    <a:pt x="268" y="372"/>
                  </a:lnTo>
                  <a:lnTo>
                    <a:pt x="267" y="371"/>
                  </a:lnTo>
                  <a:lnTo>
                    <a:pt x="267" y="371"/>
                  </a:lnTo>
                  <a:lnTo>
                    <a:pt x="266" y="370"/>
                  </a:lnTo>
                  <a:lnTo>
                    <a:pt x="266" y="370"/>
                  </a:lnTo>
                  <a:lnTo>
                    <a:pt x="265" y="370"/>
                  </a:lnTo>
                  <a:lnTo>
                    <a:pt x="265" y="370"/>
                  </a:lnTo>
                  <a:lnTo>
                    <a:pt x="264" y="370"/>
                  </a:lnTo>
                  <a:lnTo>
                    <a:pt x="264" y="370"/>
                  </a:lnTo>
                  <a:lnTo>
                    <a:pt x="262" y="370"/>
                  </a:lnTo>
                  <a:lnTo>
                    <a:pt x="262" y="371"/>
                  </a:lnTo>
                  <a:lnTo>
                    <a:pt x="260" y="371"/>
                  </a:lnTo>
                  <a:lnTo>
                    <a:pt x="259" y="372"/>
                  </a:lnTo>
                  <a:lnTo>
                    <a:pt x="259" y="372"/>
                  </a:lnTo>
                  <a:lnTo>
                    <a:pt x="258" y="372"/>
                  </a:lnTo>
                  <a:lnTo>
                    <a:pt x="258" y="373"/>
                  </a:lnTo>
                  <a:lnTo>
                    <a:pt x="256" y="375"/>
                  </a:lnTo>
                  <a:lnTo>
                    <a:pt x="255" y="376"/>
                  </a:lnTo>
                  <a:lnTo>
                    <a:pt x="254" y="376"/>
                  </a:lnTo>
                  <a:lnTo>
                    <a:pt x="254" y="377"/>
                  </a:lnTo>
                  <a:lnTo>
                    <a:pt x="253" y="377"/>
                  </a:lnTo>
                  <a:lnTo>
                    <a:pt x="252" y="378"/>
                  </a:lnTo>
                  <a:lnTo>
                    <a:pt x="252" y="378"/>
                  </a:lnTo>
                  <a:lnTo>
                    <a:pt x="251" y="378"/>
                  </a:lnTo>
                  <a:lnTo>
                    <a:pt x="251" y="378"/>
                  </a:lnTo>
                  <a:lnTo>
                    <a:pt x="250" y="378"/>
                  </a:lnTo>
                  <a:lnTo>
                    <a:pt x="249" y="378"/>
                  </a:lnTo>
                  <a:lnTo>
                    <a:pt x="247" y="378"/>
                  </a:lnTo>
                  <a:lnTo>
                    <a:pt x="246" y="378"/>
                  </a:lnTo>
                  <a:lnTo>
                    <a:pt x="246" y="378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4" y="379"/>
                  </a:lnTo>
                  <a:lnTo>
                    <a:pt x="244" y="379"/>
                  </a:lnTo>
                  <a:lnTo>
                    <a:pt x="243" y="379"/>
                  </a:lnTo>
                  <a:lnTo>
                    <a:pt x="243" y="380"/>
                  </a:lnTo>
                  <a:lnTo>
                    <a:pt x="242" y="381"/>
                  </a:lnTo>
                  <a:lnTo>
                    <a:pt x="242" y="382"/>
                  </a:lnTo>
                  <a:lnTo>
                    <a:pt x="241" y="385"/>
                  </a:lnTo>
                  <a:lnTo>
                    <a:pt x="240" y="386"/>
                  </a:lnTo>
                  <a:lnTo>
                    <a:pt x="240" y="386"/>
                  </a:lnTo>
                  <a:lnTo>
                    <a:pt x="240" y="387"/>
                  </a:lnTo>
                  <a:lnTo>
                    <a:pt x="239" y="388"/>
                  </a:lnTo>
                  <a:lnTo>
                    <a:pt x="239" y="388"/>
                  </a:lnTo>
                  <a:lnTo>
                    <a:pt x="238" y="388"/>
                  </a:lnTo>
                  <a:lnTo>
                    <a:pt x="237" y="389"/>
                  </a:lnTo>
                  <a:lnTo>
                    <a:pt x="237" y="389"/>
                  </a:lnTo>
                  <a:lnTo>
                    <a:pt x="235" y="389"/>
                  </a:lnTo>
                  <a:lnTo>
                    <a:pt x="233" y="389"/>
                  </a:lnTo>
                  <a:lnTo>
                    <a:pt x="232" y="389"/>
                  </a:lnTo>
                  <a:lnTo>
                    <a:pt x="230" y="389"/>
                  </a:lnTo>
                  <a:lnTo>
                    <a:pt x="228" y="389"/>
                  </a:lnTo>
                  <a:lnTo>
                    <a:pt x="227" y="390"/>
                  </a:lnTo>
                  <a:lnTo>
                    <a:pt x="224" y="391"/>
                  </a:lnTo>
                  <a:lnTo>
                    <a:pt x="223" y="391"/>
                  </a:lnTo>
                  <a:lnTo>
                    <a:pt x="221" y="392"/>
                  </a:lnTo>
                  <a:lnTo>
                    <a:pt x="220" y="393"/>
                  </a:lnTo>
                  <a:lnTo>
                    <a:pt x="219" y="393"/>
                  </a:lnTo>
                  <a:lnTo>
                    <a:pt x="219" y="394"/>
                  </a:lnTo>
                  <a:lnTo>
                    <a:pt x="218" y="395"/>
                  </a:lnTo>
                  <a:lnTo>
                    <a:pt x="217" y="396"/>
                  </a:lnTo>
                  <a:lnTo>
                    <a:pt x="216" y="398"/>
                  </a:lnTo>
                  <a:lnTo>
                    <a:pt x="214" y="399"/>
                  </a:lnTo>
                  <a:lnTo>
                    <a:pt x="213" y="400"/>
                  </a:lnTo>
                  <a:lnTo>
                    <a:pt x="212" y="401"/>
                  </a:lnTo>
                  <a:lnTo>
                    <a:pt x="211" y="402"/>
                  </a:lnTo>
                  <a:lnTo>
                    <a:pt x="210" y="403"/>
                  </a:lnTo>
                  <a:lnTo>
                    <a:pt x="208" y="404"/>
                  </a:lnTo>
                  <a:lnTo>
                    <a:pt x="207" y="405"/>
                  </a:lnTo>
                  <a:lnTo>
                    <a:pt x="206" y="405"/>
                  </a:lnTo>
                  <a:lnTo>
                    <a:pt x="205" y="406"/>
                  </a:lnTo>
                  <a:lnTo>
                    <a:pt x="205" y="406"/>
                  </a:lnTo>
                  <a:lnTo>
                    <a:pt x="203" y="408"/>
                  </a:lnTo>
                  <a:lnTo>
                    <a:pt x="201" y="410"/>
                  </a:lnTo>
                  <a:lnTo>
                    <a:pt x="201" y="410"/>
                  </a:lnTo>
                  <a:lnTo>
                    <a:pt x="200" y="412"/>
                  </a:lnTo>
                  <a:lnTo>
                    <a:pt x="198" y="414"/>
                  </a:lnTo>
                  <a:lnTo>
                    <a:pt x="198" y="414"/>
                  </a:lnTo>
                  <a:lnTo>
                    <a:pt x="197" y="415"/>
                  </a:lnTo>
                  <a:lnTo>
                    <a:pt x="197" y="415"/>
                  </a:lnTo>
                  <a:lnTo>
                    <a:pt x="196" y="415"/>
                  </a:lnTo>
                  <a:lnTo>
                    <a:pt x="196" y="415"/>
                  </a:lnTo>
                  <a:lnTo>
                    <a:pt x="195" y="415"/>
                  </a:lnTo>
                  <a:lnTo>
                    <a:pt x="195" y="415"/>
                  </a:lnTo>
                  <a:lnTo>
                    <a:pt x="194" y="415"/>
                  </a:lnTo>
                  <a:lnTo>
                    <a:pt x="193" y="415"/>
                  </a:lnTo>
                  <a:lnTo>
                    <a:pt x="191" y="413"/>
                  </a:lnTo>
                  <a:lnTo>
                    <a:pt x="190" y="413"/>
                  </a:lnTo>
                  <a:lnTo>
                    <a:pt x="189" y="412"/>
                  </a:lnTo>
                  <a:lnTo>
                    <a:pt x="188" y="412"/>
                  </a:lnTo>
                  <a:lnTo>
                    <a:pt x="187" y="411"/>
                  </a:lnTo>
                  <a:lnTo>
                    <a:pt x="186" y="411"/>
                  </a:lnTo>
                  <a:lnTo>
                    <a:pt x="185" y="411"/>
                  </a:lnTo>
                  <a:lnTo>
                    <a:pt x="184" y="411"/>
                  </a:lnTo>
                  <a:lnTo>
                    <a:pt x="180" y="412"/>
                  </a:lnTo>
                  <a:lnTo>
                    <a:pt x="179" y="412"/>
                  </a:lnTo>
                  <a:lnTo>
                    <a:pt x="178" y="412"/>
                  </a:lnTo>
                  <a:lnTo>
                    <a:pt x="178" y="412"/>
                  </a:lnTo>
                  <a:lnTo>
                    <a:pt x="177" y="412"/>
                  </a:lnTo>
                  <a:lnTo>
                    <a:pt x="177" y="413"/>
                  </a:lnTo>
                  <a:lnTo>
                    <a:pt x="177" y="413"/>
                  </a:lnTo>
                  <a:lnTo>
                    <a:pt x="176" y="413"/>
                  </a:lnTo>
                  <a:lnTo>
                    <a:pt x="174" y="416"/>
                  </a:lnTo>
                  <a:lnTo>
                    <a:pt x="173" y="418"/>
                  </a:lnTo>
                  <a:lnTo>
                    <a:pt x="173" y="418"/>
                  </a:lnTo>
                  <a:lnTo>
                    <a:pt x="172" y="419"/>
                  </a:lnTo>
                  <a:lnTo>
                    <a:pt x="171" y="420"/>
                  </a:lnTo>
                  <a:lnTo>
                    <a:pt x="171" y="420"/>
                  </a:lnTo>
                  <a:lnTo>
                    <a:pt x="170" y="421"/>
                  </a:lnTo>
                  <a:lnTo>
                    <a:pt x="170" y="421"/>
                  </a:lnTo>
                  <a:lnTo>
                    <a:pt x="169" y="421"/>
                  </a:lnTo>
                  <a:lnTo>
                    <a:pt x="169" y="421"/>
                  </a:lnTo>
                  <a:lnTo>
                    <a:pt x="168" y="421"/>
                  </a:lnTo>
                  <a:lnTo>
                    <a:pt x="167" y="421"/>
                  </a:lnTo>
                  <a:lnTo>
                    <a:pt x="166" y="420"/>
                  </a:lnTo>
                  <a:lnTo>
                    <a:pt x="165" y="420"/>
                  </a:lnTo>
                  <a:lnTo>
                    <a:pt x="164" y="420"/>
                  </a:lnTo>
                  <a:lnTo>
                    <a:pt x="164" y="419"/>
                  </a:lnTo>
                  <a:lnTo>
                    <a:pt x="162" y="418"/>
                  </a:lnTo>
                  <a:lnTo>
                    <a:pt x="161" y="417"/>
                  </a:lnTo>
                  <a:lnTo>
                    <a:pt x="160" y="417"/>
                  </a:lnTo>
                  <a:lnTo>
                    <a:pt x="159" y="417"/>
                  </a:lnTo>
                  <a:lnTo>
                    <a:pt x="159" y="417"/>
                  </a:lnTo>
                  <a:lnTo>
                    <a:pt x="158" y="417"/>
                  </a:lnTo>
                  <a:lnTo>
                    <a:pt x="157" y="417"/>
                  </a:lnTo>
                  <a:lnTo>
                    <a:pt x="156" y="417"/>
                  </a:lnTo>
                  <a:lnTo>
                    <a:pt x="155" y="417"/>
                  </a:lnTo>
                  <a:lnTo>
                    <a:pt x="154" y="417"/>
                  </a:lnTo>
                  <a:lnTo>
                    <a:pt x="153" y="418"/>
                  </a:lnTo>
                  <a:lnTo>
                    <a:pt x="153" y="418"/>
                  </a:lnTo>
                  <a:lnTo>
                    <a:pt x="152" y="418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8"/>
                  </a:lnTo>
                  <a:lnTo>
                    <a:pt x="151" y="417"/>
                  </a:lnTo>
                  <a:lnTo>
                    <a:pt x="150" y="415"/>
                  </a:lnTo>
                  <a:lnTo>
                    <a:pt x="150" y="414"/>
                  </a:lnTo>
                  <a:lnTo>
                    <a:pt x="149" y="414"/>
                  </a:lnTo>
                  <a:lnTo>
                    <a:pt x="149" y="413"/>
                  </a:lnTo>
                  <a:lnTo>
                    <a:pt x="148" y="412"/>
                  </a:lnTo>
                  <a:lnTo>
                    <a:pt x="148" y="412"/>
                  </a:lnTo>
                  <a:lnTo>
                    <a:pt x="147" y="411"/>
                  </a:lnTo>
                  <a:lnTo>
                    <a:pt x="145" y="410"/>
                  </a:lnTo>
                  <a:lnTo>
                    <a:pt x="144" y="409"/>
                  </a:lnTo>
                  <a:lnTo>
                    <a:pt x="143" y="408"/>
                  </a:lnTo>
                  <a:lnTo>
                    <a:pt x="141" y="408"/>
                  </a:lnTo>
                  <a:lnTo>
                    <a:pt x="139" y="407"/>
                  </a:lnTo>
                  <a:lnTo>
                    <a:pt x="138" y="406"/>
                  </a:lnTo>
                  <a:lnTo>
                    <a:pt x="137" y="406"/>
                  </a:lnTo>
                  <a:lnTo>
                    <a:pt x="136" y="405"/>
                  </a:lnTo>
                  <a:lnTo>
                    <a:pt x="135" y="404"/>
                  </a:lnTo>
                  <a:lnTo>
                    <a:pt x="134" y="403"/>
                  </a:lnTo>
                  <a:lnTo>
                    <a:pt x="134" y="403"/>
                  </a:lnTo>
                  <a:lnTo>
                    <a:pt x="133" y="400"/>
                  </a:lnTo>
                  <a:lnTo>
                    <a:pt x="132" y="400"/>
                  </a:lnTo>
                  <a:lnTo>
                    <a:pt x="132" y="399"/>
                  </a:lnTo>
                  <a:lnTo>
                    <a:pt x="131" y="398"/>
                  </a:lnTo>
                  <a:lnTo>
                    <a:pt x="131" y="398"/>
                  </a:lnTo>
                  <a:lnTo>
                    <a:pt x="130" y="398"/>
                  </a:lnTo>
                  <a:lnTo>
                    <a:pt x="129" y="398"/>
                  </a:lnTo>
                  <a:lnTo>
                    <a:pt x="129" y="398"/>
                  </a:lnTo>
                  <a:lnTo>
                    <a:pt x="128" y="398"/>
                  </a:lnTo>
                  <a:lnTo>
                    <a:pt x="126" y="397"/>
                  </a:lnTo>
                  <a:lnTo>
                    <a:pt x="125" y="397"/>
                  </a:lnTo>
                  <a:lnTo>
                    <a:pt x="125" y="397"/>
                  </a:lnTo>
                  <a:lnTo>
                    <a:pt x="125" y="397"/>
                  </a:lnTo>
                  <a:lnTo>
                    <a:pt x="124" y="397"/>
                  </a:lnTo>
                  <a:lnTo>
                    <a:pt x="124" y="396"/>
                  </a:lnTo>
                  <a:lnTo>
                    <a:pt x="124" y="396"/>
                  </a:lnTo>
                  <a:lnTo>
                    <a:pt x="124" y="395"/>
                  </a:lnTo>
                  <a:lnTo>
                    <a:pt x="124" y="395"/>
                  </a:lnTo>
                  <a:lnTo>
                    <a:pt x="124" y="394"/>
                  </a:lnTo>
                  <a:lnTo>
                    <a:pt x="124" y="394"/>
                  </a:lnTo>
                  <a:lnTo>
                    <a:pt x="125" y="393"/>
                  </a:lnTo>
                  <a:lnTo>
                    <a:pt x="126" y="392"/>
                  </a:lnTo>
                  <a:lnTo>
                    <a:pt x="127" y="390"/>
                  </a:lnTo>
                  <a:lnTo>
                    <a:pt x="128" y="389"/>
                  </a:lnTo>
                  <a:lnTo>
                    <a:pt x="129" y="388"/>
                  </a:lnTo>
                  <a:lnTo>
                    <a:pt x="130" y="387"/>
                  </a:lnTo>
                  <a:lnTo>
                    <a:pt x="132" y="384"/>
                  </a:lnTo>
                  <a:lnTo>
                    <a:pt x="133" y="384"/>
                  </a:lnTo>
                  <a:lnTo>
                    <a:pt x="133" y="383"/>
                  </a:lnTo>
                  <a:lnTo>
                    <a:pt x="134" y="382"/>
                  </a:lnTo>
                  <a:lnTo>
                    <a:pt x="134" y="381"/>
                  </a:lnTo>
                  <a:lnTo>
                    <a:pt x="135" y="379"/>
                  </a:lnTo>
                  <a:lnTo>
                    <a:pt x="135" y="378"/>
                  </a:lnTo>
                  <a:lnTo>
                    <a:pt x="136" y="377"/>
                  </a:lnTo>
                  <a:lnTo>
                    <a:pt x="138" y="375"/>
                  </a:lnTo>
                  <a:lnTo>
                    <a:pt x="138" y="374"/>
                  </a:lnTo>
                  <a:lnTo>
                    <a:pt x="138" y="373"/>
                  </a:lnTo>
                  <a:lnTo>
                    <a:pt x="138" y="373"/>
                  </a:lnTo>
                  <a:lnTo>
                    <a:pt x="139" y="372"/>
                  </a:lnTo>
                  <a:lnTo>
                    <a:pt x="139" y="370"/>
                  </a:lnTo>
                  <a:lnTo>
                    <a:pt x="139" y="369"/>
                  </a:lnTo>
                  <a:lnTo>
                    <a:pt x="140" y="368"/>
                  </a:lnTo>
                  <a:lnTo>
                    <a:pt x="140" y="367"/>
                  </a:lnTo>
                  <a:lnTo>
                    <a:pt x="141" y="365"/>
                  </a:lnTo>
                  <a:lnTo>
                    <a:pt x="142" y="364"/>
                  </a:lnTo>
                  <a:lnTo>
                    <a:pt x="143" y="363"/>
                  </a:lnTo>
                  <a:lnTo>
                    <a:pt x="143" y="362"/>
                  </a:lnTo>
                  <a:lnTo>
                    <a:pt x="144" y="362"/>
                  </a:lnTo>
                  <a:lnTo>
                    <a:pt x="144" y="362"/>
                  </a:lnTo>
                  <a:lnTo>
                    <a:pt x="144" y="361"/>
                  </a:lnTo>
                  <a:lnTo>
                    <a:pt x="145" y="361"/>
                  </a:lnTo>
                  <a:lnTo>
                    <a:pt x="148" y="361"/>
                  </a:lnTo>
                  <a:lnTo>
                    <a:pt x="150" y="360"/>
                  </a:lnTo>
                  <a:lnTo>
                    <a:pt x="151" y="360"/>
                  </a:lnTo>
                  <a:lnTo>
                    <a:pt x="152" y="359"/>
                  </a:lnTo>
                  <a:lnTo>
                    <a:pt x="152" y="359"/>
                  </a:lnTo>
                  <a:lnTo>
                    <a:pt x="153" y="359"/>
                  </a:lnTo>
                  <a:lnTo>
                    <a:pt x="153" y="358"/>
                  </a:lnTo>
                  <a:lnTo>
                    <a:pt x="153" y="358"/>
                  </a:lnTo>
                  <a:lnTo>
                    <a:pt x="154" y="357"/>
                  </a:lnTo>
                  <a:lnTo>
                    <a:pt x="154" y="356"/>
                  </a:lnTo>
                  <a:lnTo>
                    <a:pt x="154" y="355"/>
                  </a:lnTo>
                  <a:lnTo>
                    <a:pt x="154" y="354"/>
                  </a:lnTo>
                  <a:lnTo>
                    <a:pt x="154" y="354"/>
                  </a:lnTo>
                  <a:lnTo>
                    <a:pt x="154" y="353"/>
                  </a:lnTo>
                  <a:lnTo>
                    <a:pt x="154" y="352"/>
                  </a:lnTo>
                  <a:lnTo>
                    <a:pt x="153" y="351"/>
                  </a:lnTo>
                  <a:lnTo>
                    <a:pt x="151" y="348"/>
                  </a:lnTo>
                  <a:lnTo>
                    <a:pt x="151" y="348"/>
                  </a:lnTo>
                  <a:lnTo>
                    <a:pt x="150" y="347"/>
                  </a:lnTo>
                  <a:lnTo>
                    <a:pt x="149" y="347"/>
                  </a:lnTo>
                  <a:lnTo>
                    <a:pt x="148" y="345"/>
                  </a:lnTo>
                  <a:lnTo>
                    <a:pt x="146" y="345"/>
                  </a:lnTo>
                  <a:lnTo>
                    <a:pt x="146" y="344"/>
                  </a:lnTo>
                  <a:lnTo>
                    <a:pt x="145" y="343"/>
                  </a:lnTo>
                  <a:lnTo>
                    <a:pt x="145" y="343"/>
                  </a:lnTo>
                  <a:lnTo>
                    <a:pt x="144" y="342"/>
                  </a:lnTo>
                  <a:lnTo>
                    <a:pt x="144" y="342"/>
                  </a:lnTo>
                  <a:lnTo>
                    <a:pt x="144" y="341"/>
                  </a:lnTo>
                  <a:lnTo>
                    <a:pt x="144" y="341"/>
                  </a:lnTo>
                  <a:lnTo>
                    <a:pt x="144" y="340"/>
                  </a:lnTo>
                  <a:lnTo>
                    <a:pt x="144" y="339"/>
                  </a:lnTo>
                  <a:lnTo>
                    <a:pt x="145" y="339"/>
                  </a:lnTo>
                  <a:lnTo>
                    <a:pt x="144" y="338"/>
                  </a:lnTo>
                  <a:lnTo>
                    <a:pt x="144" y="338"/>
                  </a:lnTo>
                  <a:lnTo>
                    <a:pt x="144" y="337"/>
                  </a:lnTo>
                  <a:lnTo>
                    <a:pt x="144" y="336"/>
                  </a:lnTo>
                  <a:lnTo>
                    <a:pt x="143" y="336"/>
                  </a:lnTo>
                  <a:lnTo>
                    <a:pt x="143" y="336"/>
                  </a:lnTo>
                  <a:lnTo>
                    <a:pt x="142" y="335"/>
                  </a:lnTo>
                  <a:lnTo>
                    <a:pt x="141" y="335"/>
                  </a:lnTo>
                  <a:lnTo>
                    <a:pt x="140" y="334"/>
                  </a:lnTo>
                  <a:lnTo>
                    <a:pt x="140" y="334"/>
                  </a:lnTo>
                  <a:lnTo>
                    <a:pt x="139" y="334"/>
                  </a:lnTo>
                  <a:lnTo>
                    <a:pt x="139" y="334"/>
                  </a:lnTo>
                  <a:lnTo>
                    <a:pt x="138" y="334"/>
                  </a:lnTo>
                  <a:lnTo>
                    <a:pt x="138" y="334"/>
                  </a:lnTo>
                  <a:lnTo>
                    <a:pt x="137" y="334"/>
                  </a:lnTo>
                  <a:lnTo>
                    <a:pt x="137" y="334"/>
                  </a:lnTo>
                  <a:lnTo>
                    <a:pt x="135" y="335"/>
                  </a:lnTo>
                  <a:lnTo>
                    <a:pt x="135" y="335"/>
                  </a:lnTo>
                  <a:lnTo>
                    <a:pt x="134" y="335"/>
                  </a:lnTo>
                  <a:lnTo>
                    <a:pt x="132" y="336"/>
                  </a:lnTo>
                  <a:lnTo>
                    <a:pt x="130" y="336"/>
                  </a:lnTo>
                  <a:lnTo>
                    <a:pt x="129" y="336"/>
                  </a:lnTo>
                  <a:lnTo>
                    <a:pt x="126" y="337"/>
                  </a:lnTo>
                  <a:lnTo>
                    <a:pt x="125" y="338"/>
                  </a:lnTo>
                  <a:lnTo>
                    <a:pt x="124" y="338"/>
                  </a:lnTo>
                  <a:lnTo>
                    <a:pt x="123" y="338"/>
                  </a:lnTo>
                  <a:lnTo>
                    <a:pt x="121" y="338"/>
                  </a:lnTo>
                  <a:lnTo>
                    <a:pt x="119" y="338"/>
                  </a:lnTo>
                  <a:lnTo>
                    <a:pt x="117" y="338"/>
                  </a:lnTo>
                  <a:lnTo>
                    <a:pt x="115" y="338"/>
                  </a:lnTo>
                  <a:lnTo>
                    <a:pt x="114" y="338"/>
                  </a:lnTo>
                  <a:lnTo>
                    <a:pt x="113" y="338"/>
                  </a:lnTo>
                  <a:lnTo>
                    <a:pt x="110" y="337"/>
                  </a:lnTo>
                  <a:lnTo>
                    <a:pt x="109" y="337"/>
                  </a:lnTo>
                  <a:lnTo>
                    <a:pt x="108" y="336"/>
                  </a:lnTo>
                  <a:lnTo>
                    <a:pt x="108" y="336"/>
                  </a:lnTo>
                  <a:lnTo>
                    <a:pt x="107" y="336"/>
                  </a:lnTo>
                  <a:lnTo>
                    <a:pt x="106" y="337"/>
                  </a:lnTo>
                  <a:lnTo>
                    <a:pt x="105" y="337"/>
                  </a:lnTo>
                  <a:lnTo>
                    <a:pt x="103" y="337"/>
                  </a:lnTo>
                  <a:lnTo>
                    <a:pt x="103" y="338"/>
                  </a:lnTo>
                  <a:lnTo>
                    <a:pt x="103" y="338"/>
                  </a:lnTo>
                  <a:lnTo>
                    <a:pt x="102" y="338"/>
                  </a:lnTo>
                  <a:lnTo>
                    <a:pt x="102" y="338"/>
                  </a:lnTo>
                  <a:lnTo>
                    <a:pt x="101" y="338"/>
                  </a:lnTo>
                  <a:lnTo>
                    <a:pt x="101" y="337"/>
                  </a:lnTo>
                  <a:lnTo>
                    <a:pt x="98" y="336"/>
                  </a:lnTo>
                  <a:lnTo>
                    <a:pt x="94" y="333"/>
                  </a:lnTo>
                  <a:lnTo>
                    <a:pt x="92" y="332"/>
                  </a:lnTo>
                  <a:lnTo>
                    <a:pt x="90" y="331"/>
                  </a:lnTo>
                  <a:lnTo>
                    <a:pt x="90" y="330"/>
                  </a:lnTo>
                  <a:lnTo>
                    <a:pt x="87" y="328"/>
                  </a:lnTo>
                  <a:lnTo>
                    <a:pt x="84" y="326"/>
                  </a:lnTo>
                  <a:lnTo>
                    <a:pt x="83" y="325"/>
                  </a:lnTo>
                  <a:lnTo>
                    <a:pt x="81" y="323"/>
                  </a:lnTo>
                  <a:lnTo>
                    <a:pt x="81" y="323"/>
                  </a:lnTo>
                  <a:lnTo>
                    <a:pt x="80" y="322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8" y="319"/>
                  </a:lnTo>
                  <a:lnTo>
                    <a:pt x="78" y="317"/>
                  </a:lnTo>
                  <a:lnTo>
                    <a:pt x="78" y="316"/>
                  </a:lnTo>
                  <a:lnTo>
                    <a:pt x="78" y="315"/>
                  </a:lnTo>
                  <a:lnTo>
                    <a:pt x="78" y="313"/>
                  </a:lnTo>
                  <a:lnTo>
                    <a:pt x="78" y="312"/>
                  </a:lnTo>
                  <a:lnTo>
                    <a:pt x="78" y="309"/>
                  </a:lnTo>
                  <a:lnTo>
                    <a:pt x="79" y="307"/>
                  </a:lnTo>
                  <a:lnTo>
                    <a:pt x="79" y="306"/>
                  </a:lnTo>
                  <a:lnTo>
                    <a:pt x="79" y="305"/>
                  </a:lnTo>
                  <a:lnTo>
                    <a:pt x="78" y="304"/>
                  </a:lnTo>
                  <a:lnTo>
                    <a:pt x="78" y="303"/>
                  </a:lnTo>
                  <a:lnTo>
                    <a:pt x="78" y="301"/>
                  </a:lnTo>
                  <a:lnTo>
                    <a:pt x="78" y="300"/>
                  </a:lnTo>
                  <a:lnTo>
                    <a:pt x="77" y="299"/>
                  </a:lnTo>
                  <a:lnTo>
                    <a:pt x="77" y="298"/>
                  </a:lnTo>
                  <a:lnTo>
                    <a:pt x="76" y="297"/>
                  </a:lnTo>
                  <a:lnTo>
                    <a:pt x="76" y="297"/>
                  </a:lnTo>
                  <a:lnTo>
                    <a:pt x="75" y="296"/>
                  </a:lnTo>
                  <a:lnTo>
                    <a:pt x="75" y="296"/>
                  </a:lnTo>
                  <a:lnTo>
                    <a:pt x="74" y="296"/>
                  </a:lnTo>
                  <a:lnTo>
                    <a:pt x="74" y="295"/>
                  </a:lnTo>
                  <a:lnTo>
                    <a:pt x="73" y="295"/>
                  </a:lnTo>
                  <a:lnTo>
                    <a:pt x="72" y="295"/>
                  </a:lnTo>
                  <a:lnTo>
                    <a:pt x="71" y="295"/>
                  </a:lnTo>
                  <a:lnTo>
                    <a:pt x="70" y="295"/>
                  </a:lnTo>
                  <a:lnTo>
                    <a:pt x="69" y="295"/>
                  </a:lnTo>
                  <a:lnTo>
                    <a:pt x="66" y="295"/>
                  </a:lnTo>
                  <a:lnTo>
                    <a:pt x="63" y="296"/>
                  </a:lnTo>
                  <a:lnTo>
                    <a:pt x="62" y="296"/>
                  </a:lnTo>
                  <a:lnTo>
                    <a:pt x="61" y="296"/>
                  </a:lnTo>
                  <a:lnTo>
                    <a:pt x="58" y="296"/>
                  </a:lnTo>
                  <a:lnTo>
                    <a:pt x="57" y="297"/>
                  </a:lnTo>
                  <a:lnTo>
                    <a:pt x="53" y="297"/>
                  </a:lnTo>
                  <a:lnTo>
                    <a:pt x="53" y="297"/>
                  </a:lnTo>
                  <a:lnTo>
                    <a:pt x="52" y="297"/>
                  </a:lnTo>
                  <a:lnTo>
                    <a:pt x="51" y="297"/>
                  </a:lnTo>
                  <a:lnTo>
                    <a:pt x="51" y="297"/>
                  </a:lnTo>
                  <a:lnTo>
                    <a:pt x="51" y="296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8" y="294"/>
                  </a:lnTo>
                  <a:lnTo>
                    <a:pt x="47" y="293"/>
                  </a:lnTo>
                  <a:lnTo>
                    <a:pt x="46" y="293"/>
                  </a:lnTo>
                  <a:lnTo>
                    <a:pt x="43" y="292"/>
                  </a:lnTo>
                  <a:lnTo>
                    <a:pt x="40" y="291"/>
                  </a:lnTo>
                  <a:lnTo>
                    <a:pt x="35" y="289"/>
                  </a:lnTo>
                  <a:lnTo>
                    <a:pt x="34" y="289"/>
                  </a:lnTo>
                  <a:lnTo>
                    <a:pt x="33" y="289"/>
                  </a:lnTo>
                  <a:lnTo>
                    <a:pt x="33" y="289"/>
                  </a:lnTo>
                  <a:lnTo>
                    <a:pt x="32" y="289"/>
                  </a:lnTo>
                  <a:lnTo>
                    <a:pt x="32" y="289"/>
                  </a:lnTo>
                  <a:lnTo>
                    <a:pt x="31" y="290"/>
                  </a:lnTo>
                  <a:lnTo>
                    <a:pt x="30" y="290"/>
                  </a:lnTo>
                  <a:lnTo>
                    <a:pt x="27" y="291"/>
                  </a:lnTo>
                  <a:lnTo>
                    <a:pt x="26" y="292"/>
                  </a:lnTo>
                  <a:lnTo>
                    <a:pt x="25" y="292"/>
                  </a:lnTo>
                  <a:lnTo>
                    <a:pt x="24" y="292"/>
                  </a:lnTo>
                  <a:lnTo>
                    <a:pt x="23" y="293"/>
                  </a:lnTo>
                  <a:lnTo>
                    <a:pt x="22" y="293"/>
                  </a:lnTo>
                  <a:lnTo>
                    <a:pt x="21" y="292"/>
                  </a:lnTo>
                  <a:lnTo>
                    <a:pt x="20" y="292"/>
                  </a:lnTo>
                  <a:lnTo>
                    <a:pt x="19" y="292"/>
                  </a:lnTo>
                  <a:lnTo>
                    <a:pt x="18" y="291"/>
                  </a:lnTo>
                  <a:lnTo>
                    <a:pt x="17" y="291"/>
                  </a:lnTo>
                  <a:lnTo>
                    <a:pt x="17" y="291"/>
                  </a:lnTo>
                  <a:lnTo>
                    <a:pt x="17" y="290"/>
                  </a:lnTo>
                  <a:lnTo>
                    <a:pt x="16" y="289"/>
                  </a:lnTo>
                  <a:lnTo>
                    <a:pt x="14" y="287"/>
                  </a:lnTo>
                  <a:lnTo>
                    <a:pt x="13" y="286"/>
                  </a:lnTo>
                  <a:lnTo>
                    <a:pt x="12" y="284"/>
                  </a:lnTo>
                  <a:lnTo>
                    <a:pt x="11" y="284"/>
                  </a:lnTo>
                  <a:lnTo>
                    <a:pt x="10" y="283"/>
                  </a:lnTo>
                  <a:lnTo>
                    <a:pt x="10" y="283"/>
                  </a:lnTo>
                  <a:lnTo>
                    <a:pt x="9" y="283"/>
                  </a:lnTo>
                  <a:lnTo>
                    <a:pt x="8" y="283"/>
                  </a:lnTo>
                  <a:lnTo>
                    <a:pt x="8" y="282"/>
                  </a:lnTo>
                  <a:lnTo>
                    <a:pt x="7" y="282"/>
                  </a:lnTo>
                  <a:lnTo>
                    <a:pt x="4" y="282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2" y="281"/>
                  </a:lnTo>
                  <a:lnTo>
                    <a:pt x="1" y="281"/>
                  </a:lnTo>
                  <a:lnTo>
                    <a:pt x="0" y="281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79"/>
                  </a:lnTo>
                  <a:lnTo>
                    <a:pt x="1" y="279"/>
                  </a:lnTo>
                  <a:lnTo>
                    <a:pt x="2" y="278"/>
                  </a:lnTo>
                  <a:lnTo>
                    <a:pt x="2" y="278"/>
                  </a:lnTo>
                  <a:lnTo>
                    <a:pt x="3" y="278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6"/>
                  </a:lnTo>
                  <a:lnTo>
                    <a:pt x="3" y="275"/>
                  </a:lnTo>
                  <a:lnTo>
                    <a:pt x="3" y="274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Freeform 65">
              <a:extLst>
                <a:ext uri="{FF2B5EF4-FFF2-40B4-BE49-F238E27FC236}">
                  <a16:creationId xmlns:a16="http://schemas.microsoft.com/office/drawing/2014/main" id="{1166AD9F-E91B-BA62-DDF0-38FD49ED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" y="3418"/>
              <a:ext cx="185" cy="278"/>
            </a:xfrm>
            <a:custGeom>
              <a:avLst/>
              <a:gdLst>
                <a:gd name="T0" fmla="*/ 60 w 185"/>
                <a:gd name="T1" fmla="*/ 275 h 278"/>
                <a:gd name="T2" fmla="*/ 51 w 185"/>
                <a:gd name="T3" fmla="*/ 271 h 278"/>
                <a:gd name="T4" fmla="*/ 42 w 185"/>
                <a:gd name="T5" fmla="*/ 266 h 278"/>
                <a:gd name="T6" fmla="*/ 36 w 185"/>
                <a:gd name="T7" fmla="*/ 266 h 278"/>
                <a:gd name="T8" fmla="*/ 26 w 185"/>
                <a:gd name="T9" fmla="*/ 269 h 278"/>
                <a:gd name="T10" fmla="*/ 17 w 185"/>
                <a:gd name="T11" fmla="*/ 262 h 278"/>
                <a:gd name="T12" fmla="*/ 6 w 185"/>
                <a:gd name="T13" fmla="*/ 249 h 278"/>
                <a:gd name="T14" fmla="*/ 5 w 185"/>
                <a:gd name="T15" fmla="*/ 244 h 278"/>
                <a:gd name="T16" fmla="*/ 9 w 185"/>
                <a:gd name="T17" fmla="*/ 237 h 278"/>
                <a:gd name="T18" fmla="*/ 8 w 185"/>
                <a:gd name="T19" fmla="*/ 232 h 278"/>
                <a:gd name="T20" fmla="*/ 1 w 185"/>
                <a:gd name="T21" fmla="*/ 226 h 278"/>
                <a:gd name="T22" fmla="*/ 0 w 185"/>
                <a:gd name="T23" fmla="*/ 220 h 278"/>
                <a:gd name="T24" fmla="*/ 4 w 185"/>
                <a:gd name="T25" fmla="*/ 205 h 278"/>
                <a:gd name="T26" fmla="*/ 3 w 185"/>
                <a:gd name="T27" fmla="*/ 201 h 278"/>
                <a:gd name="T28" fmla="*/ 8 w 185"/>
                <a:gd name="T29" fmla="*/ 187 h 278"/>
                <a:gd name="T30" fmla="*/ 9 w 185"/>
                <a:gd name="T31" fmla="*/ 176 h 278"/>
                <a:gd name="T32" fmla="*/ 8 w 185"/>
                <a:gd name="T33" fmla="*/ 168 h 278"/>
                <a:gd name="T34" fmla="*/ 5 w 185"/>
                <a:gd name="T35" fmla="*/ 161 h 278"/>
                <a:gd name="T36" fmla="*/ 7 w 185"/>
                <a:gd name="T37" fmla="*/ 158 h 278"/>
                <a:gd name="T38" fmla="*/ 12 w 185"/>
                <a:gd name="T39" fmla="*/ 155 h 278"/>
                <a:gd name="T40" fmla="*/ 11 w 185"/>
                <a:gd name="T41" fmla="*/ 146 h 278"/>
                <a:gd name="T42" fmla="*/ 13 w 185"/>
                <a:gd name="T43" fmla="*/ 138 h 278"/>
                <a:gd name="T44" fmla="*/ 15 w 185"/>
                <a:gd name="T45" fmla="*/ 133 h 278"/>
                <a:gd name="T46" fmla="*/ 24 w 185"/>
                <a:gd name="T47" fmla="*/ 130 h 278"/>
                <a:gd name="T48" fmla="*/ 26 w 185"/>
                <a:gd name="T49" fmla="*/ 128 h 278"/>
                <a:gd name="T50" fmla="*/ 26 w 185"/>
                <a:gd name="T51" fmla="*/ 122 h 278"/>
                <a:gd name="T52" fmla="*/ 30 w 185"/>
                <a:gd name="T53" fmla="*/ 120 h 278"/>
                <a:gd name="T54" fmla="*/ 39 w 185"/>
                <a:gd name="T55" fmla="*/ 122 h 278"/>
                <a:gd name="T56" fmla="*/ 52 w 185"/>
                <a:gd name="T57" fmla="*/ 123 h 278"/>
                <a:gd name="T58" fmla="*/ 64 w 185"/>
                <a:gd name="T59" fmla="*/ 119 h 278"/>
                <a:gd name="T60" fmla="*/ 71 w 185"/>
                <a:gd name="T61" fmla="*/ 121 h 278"/>
                <a:gd name="T62" fmla="*/ 79 w 185"/>
                <a:gd name="T63" fmla="*/ 124 h 278"/>
                <a:gd name="T64" fmla="*/ 81 w 185"/>
                <a:gd name="T65" fmla="*/ 122 h 278"/>
                <a:gd name="T66" fmla="*/ 85 w 185"/>
                <a:gd name="T67" fmla="*/ 117 h 278"/>
                <a:gd name="T68" fmla="*/ 90 w 185"/>
                <a:gd name="T69" fmla="*/ 115 h 278"/>
                <a:gd name="T70" fmla="*/ 99 w 185"/>
                <a:gd name="T71" fmla="*/ 115 h 278"/>
                <a:gd name="T72" fmla="*/ 104 w 185"/>
                <a:gd name="T73" fmla="*/ 110 h 278"/>
                <a:gd name="T74" fmla="*/ 105 w 185"/>
                <a:gd name="T75" fmla="*/ 103 h 278"/>
                <a:gd name="T76" fmla="*/ 102 w 185"/>
                <a:gd name="T77" fmla="*/ 96 h 278"/>
                <a:gd name="T78" fmla="*/ 97 w 185"/>
                <a:gd name="T79" fmla="*/ 92 h 278"/>
                <a:gd name="T80" fmla="*/ 87 w 185"/>
                <a:gd name="T81" fmla="*/ 87 h 278"/>
                <a:gd name="T82" fmla="*/ 85 w 185"/>
                <a:gd name="T83" fmla="*/ 79 h 278"/>
                <a:gd name="T84" fmla="*/ 87 w 185"/>
                <a:gd name="T85" fmla="*/ 72 h 278"/>
                <a:gd name="T86" fmla="*/ 97 w 185"/>
                <a:gd name="T87" fmla="*/ 58 h 278"/>
                <a:gd name="T88" fmla="*/ 100 w 185"/>
                <a:gd name="T89" fmla="*/ 51 h 278"/>
                <a:gd name="T90" fmla="*/ 105 w 185"/>
                <a:gd name="T91" fmla="*/ 48 h 278"/>
                <a:gd name="T92" fmla="*/ 109 w 185"/>
                <a:gd name="T93" fmla="*/ 50 h 278"/>
                <a:gd name="T94" fmla="*/ 115 w 185"/>
                <a:gd name="T95" fmla="*/ 48 h 278"/>
                <a:gd name="T96" fmla="*/ 129 w 185"/>
                <a:gd name="T97" fmla="*/ 43 h 278"/>
                <a:gd name="T98" fmla="*/ 140 w 185"/>
                <a:gd name="T99" fmla="*/ 39 h 278"/>
                <a:gd name="T100" fmla="*/ 146 w 185"/>
                <a:gd name="T101" fmla="*/ 32 h 278"/>
                <a:gd name="T102" fmla="*/ 154 w 185"/>
                <a:gd name="T103" fmla="*/ 31 h 278"/>
                <a:gd name="T104" fmla="*/ 159 w 185"/>
                <a:gd name="T105" fmla="*/ 30 h 278"/>
                <a:gd name="T106" fmla="*/ 160 w 185"/>
                <a:gd name="T107" fmla="*/ 26 h 278"/>
                <a:gd name="T108" fmla="*/ 158 w 185"/>
                <a:gd name="T109" fmla="*/ 19 h 278"/>
                <a:gd name="T110" fmla="*/ 159 w 185"/>
                <a:gd name="T111" fmla="*/ 15 h 278"/>
                <a:gd name="T112" fmla="*/ 164 w 185"/>
                <a:gd name="T113" fmla="*/ 10 h 278"/>
                <a:gd name="T114" fmla="*/ 172 w 185"/>
                <a:gd name="T115" fmla="*/ 8 h 278"/>
                <a:gd name="T116" fmla="*/ 179 w 185"/>
                <a:gd name="T117" fmla="*/ 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5" h="278">
                  <a:moveTo>
                    <a:pt x="61" y="278"/>
                  </a:moveTo>
                  <a:lnTo>
                    <a:pt x="61" y="278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9" y="275"/>
                  </a:lnTo>
                  <a:lnTo>
                    <a:pt x="57" y="274"/>
                  </a:lnTo>
                  <a:lnTo>
                    <a:pt x="56" y="274"/>
                  </a:lnTo>
                  <a:lnTo>
                    <a:pt x="52" y="272"/>
                  </a:lnTo>
                  <a:lnTo>
                    <a:pt x="51" y="272"/>
                  </a:lnTo>
                  <a:lnTo>
                    <a:pt x="51" y="271"/>
                  </a:lnTo>
                  <a:lnTo>
                    <a:pt x="49" y="271"/>
                  </a:lnTo>
                  <a:lnTo>
                    <a:pt x="48" y="270"/>
                  </a:lnTo>
                  <a:lnTo>
                    <a:pt x="46" y="269"/>
                  </a:lnTo>
                  <a:lnTo>
                    <a:pt x="44" y="267"/>
                  </a:lnTo>
                  <a:lnTo>
                    <a:pt x="44" y="266"/>
                  </a:lnTo>
                  <a:lnTo>
                    <a:pt x="43" y="266"/>
                  </a:lnTo>
                  <a:lnTo>
                    <a:pt x="42" y="266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30" y="269"/>
                  </a:lnTo>
                  <a:lnTo>
                    <a:pt x="29" y="269"/>
                  </a:lnTo>
                  <a:lnTo>
                    <a:pt x="28" y="270"/>
                  </a:lnTo>
                  <a:lnTo>
                    <a:pt x="27" y="270"/>
                  </a:lnTo>
                  <a:lnTo>
                    <a:pt x="26" y="269"/>
                  </a:lnTo>
                  <a:lnTo>
                    <a:pt x="25" y="269"/>
                  </a:lnTo>
                  <a:lnTo>
                    <a:pt x="25" y="269"/>
                  </a:lnTo>
                  <a:lnTo>
                    <a:pt x="24" y="269"/>
                  </a:lnTo>
                  <a:lnTo>
                    <a:pt x="23" y="268"/>
                  </a:lnTo>
                  <a:lnTo>
                    <a:pt x="21" y="266"/>
                  </a:lnTo>
                  <a:lnTo>
                    <a:pt x="18" y="264"/>
                  </a:lnTo>
                  <a:lnTo>
                    <a:pt x="17" y="262"/>
                  </a:lnTo>
                  <a:lnTo>
                    <a:pt x="15" y="260"/>
                  </a:lnTo>
                  <a:lnTo>
                    <a:pt x="15" y="259"/>
                  </a:lnTo>
                  <a:lnTo>
                    <a:pt x="11" y="256"/>
                  </a:lnTo>
                  <a:lnTo>
                    <a:pt x="11" y="255"/>
                  </a:lnTo>
                  <a:lnTo>
                    <a:pt x="10" y="255"/>
                  </a:lnTo>
                  <a:lnTo>
                    <a:pt x="8" y="252"/>
                  </a:lnTo>
                  <a:lnTo>
                    <a:pt x="6" y="249"/>
                  </a:lnTo>
                  <a:lnTo>
                    <a:pt x="5" y="248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5" y="243"/>
                  </a:lnTo>
                  <a:lnTo>
                    <a:pt x="5" y="242"/>
                  </a:lnTo>
                  <a:lnTo>
                    <a:pt x="6" y="241"/>
                  </a:lnTo>
                  <a:lnTo>
                    <a:pt x="7" y="240"/>
                  </a:lnTo>
                  <a:lnTo>
                    <a:pt x="8" y="239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4"/>
                  </a:lnTo>
                  <a:lnTo>
                    <a:pt x="8" y="233"/>
                  </a:lnTo>
                  <a:lnTo>
                    <a:pt x="8" y="232"/>
                  </a:lnTo>
                  <a:lnTo>
                    <a:pt x="7" y="232"/>
                  </a:lnTo>
                  <a:lnTo>
                    <a:pt x="7" y="231"/>
                  </a:lnTo>
                  <a:lnTo>
                    <a:pt x="6" y="230"/>
                  </a:lnTo>
                  <a:lnTo>
                    <a:pt x="4" y="228"/>
                  </a:lnTo>
                  <a:lnTo>
                    <a:pt x="3" y="228"/>
                  </a:lnTo>
                  <a:lnTo>
                    <a:pt x="2" y="227"/>
                  </a:lnTo>
                  <a:lnTo>
                    <a:pt x="1" y="226"/>
                  </a:lnTo>
                  <a:lnTo>
                    <a:pt x="0" y="225"/>
                  </a:lnTo>
                  <a:lnTo>
                    <a:pt x="0" y="224"/>
                  </a:lnTo>
                  <a:lnTo>
                    <a:pt x="0" y="223"/>
                  </a:lnTo>
                  <a:lnTo>
                    <a:pt x="0" y="222"/>
                  </a:lnTo>
                  <a:lnTo>
                    <a:pt x="0" y="221"/>
                  </a:lnTo>
                  <a:lnTo>
                    <a:pt x="0" y="221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1" y="215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09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1"/>
                  </a:lnTo>
                  <a:lnTo>
                    <a:pt x="4" y="200"/>
                  </a:lnTo>
                  <a:lnTo>
                    <a:pt x="5" y="198"/>
                  </a:lnTo>
                  <a:lnTo>
                    <a:pt x="6" y="195"/>
                  </a:lnTo>
                  <a:lnTo>
                    <a:pt x="7" y="192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7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9" y="180"/>
                  </a:lnTo>
                  <a:lnTo>
                    <a:pt x="9" y="179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9" y="172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8" y="169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7" y="166"/>
                  </a:lnTo>
                  <a:lnTo>
                    <a:pt x="5" y="163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9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1" y="156"/>
                  </a:lnTo>
                  <a:lnTo>
                    <a:pt x="11" y="155"/>
                  </a:lnTo>
                  <a:lnTo>
                    <a:pt x="12" y="155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1" y="146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3" y="141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7" y="133"/>
                  </a:lnTo>
                  <a:lnTo>
                    <a:pt x="22" y="131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9" y="120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0"/>
                  </a:lnTo>
                  <a:lnTo>
                    <a:pt x="32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22"/>
                  </a:lnTo>
                  <a:lnTo>
                    <a:pt x="43" y="122"/>
                  </a:lnTo>
                  <a:lnTo>
                    <a:pt x="47" y="123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8" y="121"/>
                  </a:lnTo>
                  <a:lnTo>
                    <a:pt x="61" y="120"/>
                  </a:lnTo>
                  <a:lnTo>
                    <a:pt x="63" y="119"/>
                  </a:lnTo>
                  <a:lnTo>
                    <a:pt x="64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20"/>
                  </a:lnTo>
                  <a:lnTo>
                    <a:pt x="70" y="120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7" y="124"/>
                  </a:lnTo>
                  <a:lnTo>
                    <a:pt x="78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1" y="123"/>
                  </a:lnTo>
                  <a:lnTo>
                    <a:pt x="81" y="122"/>
                  </a:lnTo>
                  <a:lnTo>
                    <a:pt x="82" y="121"/>
                  </a:lnTo>
                  <a:lnTo>
                    <a:pt x="82" y="120"/>
                  </a:lnTo>
                  <a:lnTo>
                    <a:pt x="83" y="118"/>
                  </a:lnTo>
                  <a:lnTo>
                    <a:pt x="84" y="118"/>
                  </a:lnTo>
                  <a:lnTo>
                    <a:pt x="84" y="117"/>
                  </a:lnTo>
                  <a:lnTo>
                    <a:pt x="84" y="117"/>
                  </a:lnTo>
                  <a:lnTo>
                    <a:pt x="85" y="117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9" y="115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5" y="115"/>
                  </a:lnTo>
                  <a:lnTo>
                    <a:pt x="96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100" y="114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4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5" y="101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3" y="97"/>
                  </a:lnTo>
                  <a:lnTo>
                    <a:pt x="102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3"/>
                  </a:lnTo>
                  <a:lnTo>
                    <a:pt x="98" y="93"/>
                  </a:lnTo>
                  <a:lnTo>
                    <a:pt x="97" y="92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6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3"/>
                  </a:lnTo>
                  <a:lnTo>
                    <a:pt x="85" y="81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5" y="78"/>
                  </a:lnTo>
                  <a:lnTo>
                    <a:pt x="86" y="77"/>
                  </a:lnTo>
                  <a:lnTo>
                    <a:pt x="86" y="76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8" y="71"/>
                  </a:lnTo>
                  <a:lnTo>
                    <a:pt x="88" y="70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7" y="58"/>
                  </a:lnTo>
                  <a:lnTo>
                    <a:pt x="98" y="56"/>
                  </a:lnTo>
                  <a:lnTo>
                    <a:pt x="98" y="55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3" y="49"/>
                  </a:lnTo>
                  <a:lnTo>
                    <a:pt x="104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6" y="48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4" y="49"/>
                  </a:lnTo>
                  <a:lnTo>
                    <a:pt x="115" y="48"/>
                  </a:lnTo>
                  <a:lnTo>
                    <a:pt x="118" y="47"/>
                  </a:lnTo>
                  <a:lnTo>
                    <a:pt x="119" y="46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4" y="44"/>
                  </a:lnTo>
                  <a:lnTo>
                    <a:pt x="126" y="44"/>
                  </a:lnTo>
                  <a:lnTo>
                    <a:pt x="129" y="43"/>
                  </a:lnTo>
                  <a:lnTo>
                    <a:pt x="131" y="42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6" y="41"/>
                  </a:lnTo>
                  <a:lnTo>
                    <a:pt x="137" y="41"/>
                  </a:lnTo>
                  <a:lnTo>
                    <a:pt x="138" y="40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41" y="38"/>
                  </a:lnTo>
                  <a:lnTo>
                    <a:pt x="142" y="37"/>
                  </a:lnTo>
                  <a:lnTo>
                    <a:pt x="143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7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4" y="31"/>
                  </a:lnTo>
                  <a:lnTo>
                    <a:pt x="155" y="31"/>
                  </a:lnTo>
                  <a:lnTo>
                    <a:pt x="156" y="31"/>
                  </a:lnTo>
                  <a:lnTo>
                    <a:pt x="157" y="31"/>
                  </a:lnTo>
                  <a:lnTo>
                    <a:pt x="158" y="31"/>
                  </a:lnTo>
                  <a:lnTo>
                    <a:pt x="158" y="30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7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5"/>
                  </a:lnTo>
                  <a:lnTo>
                    <a:pt x="160" y="24"/>
                  </a:lnTo>
                  <a:lnTo>
                    <a:pt x="159" y="23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7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4"/>
                  </a:lnTo>
                  <a:lnTo>
                    <a:pt x="160" y="13"/>
                  </a:lnTo>
                  <a:lnTo>
                    <a:pt x="162" y="12"/>
                  </a:lnTo>
                  <a:lnTo>
                    <a:pt x="162" y="11"/>
                  </a:lnTo>
                  <a:lnTo>
                    <a:pt x="163" y="11"/>
                  </a:lnTo>
                  <a:lnTo>
                    <a:pt x="163" y="10"/>
                  </a:lnTo>
                  <a:lnTo>
                    <a:pt x="164" y="10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9"/>
                  </a:lnTo>
                  <a:lnTo>
                    <a:pt x="170" y="9"/>
                  </a:lnTo>
                  <a:lnTo>
                    <a:pt x="171" y="9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8" y="4"/>
                  </a:lnTo>
                  <a:lnTo>
                    <a:pt x="179" y="3"/>
                  </a:lnTo>
                  <a:lnTo>
                    <a:pt x="179" y="2"/>
                  </a:lnTo>
                  <a:lnTo>
                    <a:pt x="180" y="2"/>
                  </a:lnTo>
                  <a:lnTo>
                    <a:pt x="180" y="1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80" y="1"/>
                  </a:lnTo>
                  <a:lnTo>
                    <a:pt x="185" y="4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Freeform 66">
              <a:extLst>
                <a:ext uri="{FF2B5EF4-FFF2-40B4-BE49-F238E27FC236}">
                  <a16:creationId xmlns:a16="http://schemas.microsoft.com/office/drawing/2014/main" id="{BFF3E21E-E0AD-D96A-A165-73C98A358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21"/>
              <a:ext cx="642" cy="464"/>
            </a:xfrm>
            <a:custGeom>
              <a:avLst/>
              <a:gdLst>
                <a:gd name="T0" fmla="*/ 339 w 642"/>
                <a:gd name="T1" fmla="*/ 2 h 464"/>
                <a:gd name="T2" fmla="*/ 375 w 642"/>
                <a:gd name="T3" fmla="*/ 17 h 464"/>
                <a:gd name="T4" fmla="*/ 360 w 642"/>
                <a:gd name="T5" fmla="*/ 32 h 464"/>
                <a:gd name="T6" fmla="*/ 381 w 642"/>
                <a:gd name="T7" fmla="*/ 46 h 464"/>
                <a:gd name="T8" fmla="*/ 384 w 642"/>
                <a:gd name="T9" fmla="*/ 87 h 464"/>
                <a:gd name="T10" fmla="*/ 390 w 642"/>
                <a:gd name="T11" fmla="*/ 109 h 464"/>
                <a:gd name="T12" fmla="*/ 410 w 642"/>
                <a:gd name="T13" fmla="*/ 87 h 464"/>
                <a:gd name="T14" fmla="*/ 403 w 642"/>
                <a:gd name="T15" fmla="*/ 62 h 464"/>
                <a:gd name="T16" fmla="*/ 430 w 642"/>
                <a:gd name="T17" fmla="*/ 77 h 464"/>
                <a:gd name="T18" fmla="*/ 448 w 642"/>
                <a:gd name="T19" fmla="*/ 106 h 464"/>
                <a:gd name="T20" fmla="*/ 452 w 642"/>
                <a:gd name="T21" fmla="*/ 121 h 464"/>
                <a:gd name="T22" fmla="*/ 483 w 642"/>
                <a:gd name="T23" fmla="*/ 146 h 464"/>
                <a:gd name="T24" fmla="*/ 488 w 642"/>
                <a:gd name="T25" fmla="*/ 200 h 464"/>
                <a:gd name="T26" fmla="*/ 500 w 642"/>
                <a:gd name="T27" fmla="*/ 213 h 464"/>
                <a:gd name="T28" fmla="*/ 478 w 642"/>
                <a:gd name="T29" fmla="*/ 242 h 464"/>
                <a:gd name="T30" fmla="*/ 504 w 642"/>
                <a:gd name="T31" fmla="*/ 246 h 464"/>
                <a:gd name="T32" fmla="*/ 517 w 642"/>
                <a:gd name="T33" fmla="*/ 270 h 464"/>
                <a:gd name="T34" fmla="*/ 551 w 642"/>
                <a:gd name="T35" fmla="*/ 287 h 464"/>
                <a:gd name="T36" fmla="*/ 578 w 642"/>
                <a:gd name="T37" fmla="*/ 304 h 464"/>
                <a:gd name="T38" fmla="*/ 610 w 642"/>
                <a:gd name="T39" fmla="*/ 313 h 464"/>
                <a:gd name="T40" fmla="*/ 641 w 642"/>
                <a:gd name="T41" fmla="*/ 348 h 464"/>
                <a:gd name="T42" fmla="*/ 611 w 642"/>
                <a:gd name="T43" fmla="*/ 367 h 464"/>
                <a:gd name="T44" fmla="*/ 583 w 642"/>
                <a:gd name="T45" fmla="*/ 358 h 464"/>
                <a:gd name="T46" fmla="*/ 546 w 642"/>
                <a:gd name="T47" fmla="*/ 362 h 464"/>
                <a:gd name="T48" fmla="*/ 503 w 642"/>
                <a:gd name="T49" fmla="*/ 347 h 464"/>
                <a:gd name="T50" fmla="*/ 462 w 642"/>
                <a:gd name="T51" fmla="*/ 396 h 464"/>
                <a:gd name="T52" fmla="*/ 435 w 642"/>
                <a:gd name="T53" fmla="*/ 458 h 464"/>
                <a:gd name="T54" fmla="*/ 422 w 642"/>
                <a:gd name="T55" fmla="*/ 442 h 464"/>
                <a:gd name="T56" fmla="*/ 403 w 642"/>
                <a:gd name="T57" fmla="*/ 421 h 464"/>
                <a:gd name="T58" fmla="*/ 358 w 642"/>
                <a:gd name="T59" fmla="*/ 413 h 464"/>
                <a:gd name="T60" fmla="*/ 342 w 642"/>
                <a:gd name="T61" fmla="*/ 394 h 464"/>
                <a:gd name="T62" fmla="*/ 304 w 642"/>
                <a:gd name="T63" fmla="*/ 381 h 464"/>
                <a:gd name="T64" fmla="*/ 269 w 642"/>
                <a:gd name="T65" fmla="*/ 405 h 464"/>
                <a:gd name="T66" fmla="*/ 242 w 642"/>
                <a:gd name="T67" fmla="*/ 415 h 464"/>
                <a:gd name="T68" fmla="*/ 181 w 642"/>
                <a:gd name="T69" fmla="*/ 412 h 464"/>
                <a:gd name="T70" fmla="*/ 127 w 642"/>
                <a:gd name="T71" fmla="*/ 385 h 464"/>
                <a:gd name="T72" fmla="*/ 110 w 642"/>
                <a:gd name="T73" fmla="*/ 370 h 464"/>
                <a:gd name="T74" fmla="*/ 92 w 642"/>
                <a:gd name="T75" fmla="*/ 356 h 464"/>
                <a:gd name="T76" fmla="*/ 61 w 642"/>
                <a:gd name="T77" fmla="*/ 362 h 464"/>
                <a:gd name="T78" fmla="*/ 7 w 642"/>
                <a:gd name="T79" fmla="*/ 341 h 464"/>
                <a:gd name="T80" fmla="*/ 8 w 642"/>
                <a:gd name="T81" fmla="*/ 323 h 464"/>
                <a:gd name="T82" fmla="*/ 27 w 642"/>
                <a:gd name="T83" fmla="*/ 321 h 464"/>
                <a:gd name="T84" fmla="*/ 51 w 642"/>
                <a:gd name="T85" fmla="*/ 314 h 464"/>
                <a:gd name="T86" fmla="*/ 78 w 642"/>
                <a:gd name="T87" fmla="*/ 297 h 464"/>
                <a:gd name="T88" fmla="*/ 105 w 642"/>
                <a:gd name="T89" fmla="*/ 280 h 464"/>
                <a:gd name="T90" fmla="*/ 125 w 642"/>
                <a:gd name="T91" fmla="*/ 271 h 464"/>
                <a:gd name="T92" fmla="*/ 149 w 642"/>
                <a:gd name="T93" fmla="*/ 275 h 464"/>
                <a:gd name="T94" fmla="*/ 180 w 642"/>
                <a:gd name="T95" fmla="*/ 267 h 464"/>
                <a:gd name="T96" fmla="*/ 207 w 642"/>
                <a:gd name="T97" fmla="*/ 251 h 464"/>
                <a:gd name="T98" fmla="*/ 203 w 642"/>
                <a:gd name="T99" fmla="*/ 231 h 464"/>
                <a:gd name="T100" fmla="*/ 210 w 642"/>
                <a:gd name="T101" fmla="*/ 214 h 464"/>
                <a:gd name="T102" fmla="*/ 211 w 642"/>
                <a:gd name="T103" fmla="*/ 194 h 464"/>
                <a:gd name="T104" fmla="*/ 222 w 642"/>
                <a:gd name="T105" fmla="*/ 172 h 464"/>
                <a:gd name="T106" fmla="*/ 223 w 642"/>
                <a:gd name="T107" fmla="*/ 147 h 464"/>
                <a:gd name="T108" fmla="*/ 210 w 642"/>
                <a:gd name="T109" fmla="*/ 134 h 464"/>
                <a:gd name="T110" fmla="*/ 216 w 642"/>
                <a:gd name="T111" fmla="*/ 99 h 464"/>
                <a:gd name="T112" fmla="*/ 233 w 642"/>
                <a:gd name="T113" fmla="*/ 87 h 464"/>
                <a:gd name="T114" fmla="*/ 240 w 642"/>
                <a:gd name="T115" fmla="*/ 78 h 464"/>
                <a:gd name="T116" fmla="*/ 251 w 642"/>
                <a:gd name="T117" fmla="*/ 73 h 464"/>
                <a:gd name="T118" fmla="*/ 256 w 642"/>
                <a:gd name="T119" fmla="*/ 58 h 464"/>
                <a:gd name="T120" fmla="*/ 250 w 642"/>
                <a:gd name="T121" fmla="*/ 37 h 464"/>
                <a:gd name="T122" fmla="*/ 266 w 642"/>
                <a:gd name="T123" fmla="*/ 17 h 464"/>
                <a:gd name="T124" fmla="*/ 297 w 642"/>
                <a:gd name="T125" fmla="*/ 17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42" h="464">
                  <a:moveTo>
                    <a:pt x="303" y="0"/>
                  </a:moveTo>
                  <a:lnTo>
                    <a:pt x="303" y="0"/>
                  </a:lnTo>
                  <a:lnTo>
                    <a:pt x="304" y="0"/>
                  </a:lnTo>
                  <a:lnTo>
                    <a:pt x="305" y="1"/>
                  </a:lnTo>
                  <a:lnTo>
                    <a:pt x="308" y="1"/>
                  </a:lnTo>
                  <a:lnTo>
                    <a:pt x="309" y="2"/>
                  </a:lnTo>
                  <a:lnTo>
                    <a:pt x="311" y="2"/>
                  </a:lnTo>
                  <a:lnTo>
                    <a:pt x="314" y="2"/>
                  </a:lnTo>
                  <a:lnTo>
                    <a:pt x="316" y="2"/>
                  </a:lnTo>
                  <a:lnTo>
                    <a:pt x="317" y="2"/>
                  </a:lnTo>
                  <a:lnTo>
                    <a:pt x="319" y="2"/>
                  </a:lnTo>
                  <a:lnTo>
                    <a:pt x="322" y="1"/>
                  </a:lnTo>
                  <a:lnTo>
                    <a:pt x="322" y="1"/>
                  </a:lnTo>
                  <a:lnTo>
                    <a:pt x="323" y="1"/>
                  </a:lnTo>
                  <a:lnTo>
                    <a:pt x="324" y="1"/>
                  </a:lnTo>
                  <a:lnTo>
                    <a:pt x="325" y="1"/>
                  </a:lnTo>
                  <a:lnTo>
                    <a:pt x="326" y="1"/>
                  </a:lnTo>
                  <a:lnTo>
                    <a:pt x="329" y="2"/>
                  </a:lnTo>
                  <a:lnTo>
                    <a:pt x="329" y="2"/>
                  </a:lnTo>
                  <a:lnTo>
                    <a:pt x="330" y="2"/>
                  </a:lnTo>
                  <a:lnTo>
                    <a:pt x="331" y="2"/>
                  </a:lnTo>
                  <a:lnTo>
                    <a:pt x="332" y="2"/>
                  </a:lnTo>
                  <a:lnTo>
                    <a:pt x="334" y="2"/>
                  </a:lnTo>
                  <a:lnTo>
                    <a:pt x="336" y="1"/>
                  </a:lnTo>
                  <a:lnTo>
                    <a:pt x="337" y="1"/>
                  </a:lnTo>
                  <a:lnTo>
                    <a:pt x="338" y="1"/>
                  </a:lnTo>
                  <a:lnTo>
                    <a:pt x="339" y="2"/>
                  </a:lnTo>
                  <a:lnTo>
                    <a:pt x="342" y="2"/>
                  </a:lnTo>
                  <a:lnTo>
                    <a:pt x="343" y="2"/>
                  </a:lnTo>
                  <a:lnTo>
                    <a:pt x="344" y="2"/>
                  </a:lnTo>
                  <a:lnTo>
                    <a:pt x="346" y="3"/>
                  </a:lnTo>
                  <a:lnTo>
                    <a:pt x="347" y="3"/>
                  </a:lnTo>
                  <a:lnTo>
                    <a:pt x="348" y="4"/>
                  </a:lnTo>
                  <a:lnTo>
                    <a:pt x="350" y="4"/>
                  </a:lnTo>
                  <a:lnTo>
                    <a:pt x="352" y="5"/>
                  </a:lnTo>
                  <a:lnTo>
                    <a:pt x="359" y="9"/>
                  </a:lnTo>
                  <a:lnTo>
                    <a:pt x="361" y="9"/>
                  </a:lnTo>
                  <a:lnTo>
                    <a:pt x="362" y="10"/>
                  </a:lnTo>
                  <a:lnTo>
                    <a:pt x="364" y="11"/>
                  </a:lnTo>
                  <a:lnTo>
                    <a:pt x="366" y="11"/>
                  </a:lnTo>
                  <a:lnTo>
                    <a:pt x="367" y="12"/>
                  </a:lnTo>
                  <a:lnTo>
                    <a:pt x="369" y="12"/>
                  </a:lnTo>
                  <a:lnTo>
                    <a:pt x="371" y="13"/>
                  </a:lnTo>
                  <a:lnTo>
                    <a:pt x="372" y="13"/>
                  </a:lnTo>
                  <a:lnTo>
                    <a:pt x="373" y="13"/>
                  </a:lnTo>
                  <a:lnTo>
                    <a:pt x="375" y="13"/>
                  </a:lnTo>
                  <a:lnTo>
                    <a:pt x="376" y="13"/>
                  </a:lnTo>
                  <a:lnTo>
                    <a:pt x="376" y="13"/>
                  </a:lnTo>
                  <a:lnTo>
                    <a:pt x="377" y="13"/>
                  </a:lnTo>
                  <a:lnTo>
                    <a:pt x="376" y="13"/>
                  </a:lnTo>
                  <a:lnTo>
                    <a:pt x="376" y="14"/>
                  </a:lnTo>
                  <a:lnTo>
                    <a:pt x="376" y="15"/>
                  </a:lnTo>
                  <a:lnTo>
                    <a:pt x="375" y="16"/>
                  </a:lnTo>
                  <a:lnTo>
                    <a:pt x="375" y="17"/>
                  </a:lnTo>
                  <a:lnTo>
                    <a:pt x="374" y="20"/>
                  </a:lnTo>
                  <a:lnTo>
                    <a:pt x="374" y="20"/>
                  </a:lnTo>
                  <a:lnTo>
                    <a:pt x="374" y="21"/>
                  </a:lnTo>
                  <a:lnTo>
                    <a:pt x="374" y="21"/>
                  </a:lnTo>
                  <a:lnTo>
                    <a:pt x="373" y="22"/>
                  </a:lnTo>
                  <a:lnTo>
                    <a:pt x="373" y="22"/>
                  </a:lnTo>
                  <a:lnTo>
                    <a:pt x="372" y="22"/>
                  </a:lnTo>
                  <a:lnTo>
                    <a:pt x="372" y="23"/>
                  </a:lnTo>
                  <a:lnTo>
                    <a:pt x="372" y="23"/>
                  </a:lnTo>
                  <a:lnTo>
                    <a:pt x="371" y="23"/>
                  </a:lnTo>
                  <a:lnTo>
                    <a:pt x="370" y="23"/>
                  </a:lnTo>
                  <a:lnTo>
                    <a:pt x="369" y="23"/>
                  </a:lnTo>
                  <a:lnTo>
                    <a:pt x="365" y="22"/>
                  </a:lnTo>
                  <a:lnTo>
                    <a:pt x="362" y="21"/>
                  </a:lnTo>
                  <a:lnTo>
                    <a:pt x="362" y="21"/>
                  </a:lnTo>
                  <a:lnTo>
                    <a:pt x="361" y="21"/>
                  </a:lnTo>
                  <a:lnTo>
                    <a:pt x="361" y="22"/>
                  </a:lnTo>
                  <a:lnTo>
                    <a:pt x="360" y="22"/>
                  </a:lnTo>
                  <a:lnTo>
                    <a:pt x="360" y="22"/>
                  </a:lnTo>
                  <a:lnTo>
                    <a:pt x="360" y="23"/>
                  </a:lnTo>
                  <a:lnTo>
                    <a:pt x="360" y="24"/>
                  </a:lnTo>
                  <a:lnTo>
                    <a:pt x="359" y="25"/>
                  </a:lnTo>
                  <a:lnTo>
                    <a:pt x="359" y="26"/>
                  </a:lnTo>
                  <a:lnTo>
                    <a:pt x="359" y="27"/>
                  </a:lnTo>
                  <a:lnTo>
                    <a:pt x="360" y="30"/>
                  </a:lnTo>
                  <a:lnTo>
                    <a:pt x="360" y="31"/>
                  </a:lnTo>
                  <a:lnTo>
                    <a:pt x="360" y="32"/>
                  </a:lnTo>
                  <a:lnTo>
                    <a:pt x="360" y="34"/>
                  </a:lnTo>
                  <a:lnTo>
                    <a:pt x="360" y="35"/>
                  </a:lnTo>
                  <a:lnTo>
                    <a:pt x="360" y="36"/>
                  </a:lnTo>
                  <a:lnTo>
                    <a:pt x="360" y="36"/>
                  </a:lnTo>
                  <a:lnTo>
                    <a:pt x="360" y="37"/>
                  </a:lnTo>
                  <a:lnTo>
                    <a:pt x="360" y="37"/>
                  </a:lnTo>
                  <a:lnTo>
                    <a:pt x="361" y="37"/>
                  </a:lnTo>
                  <a:lnTo>
                    <a:pt x="361" y="38"/>
                  </a:lnTo>
                  <a:lnTo>
                    <a:pt x="362" y="38"/>
                  </a:lnTo>
                  <a:lnTo>
                    <a:pt x="362" y="38"/>
                  </a:lnTo>
                  <a:lnTo>
                    <a:pt x="365" y="39"/>
                  </a:lnTo>
                  <a:lnTo>
                    <a:pt x="368" y="40"/>
                  </a:lnTo>
                  <a:lnTo>
                    <a:pt x="372" y="41"/>
                  </a:lnTo>
                  <a:lnTo>
                    <a:pt x="374" y="42"/>
                  </a:lnTo>
                  <a:lnTo>
                    <a:pt x="376" y="42"/>
                  </a:lnTo>
                  <a:lnTo>
                    <a:pt x="377" y="42"/>
                  </a:lnTo>
                  <a:lnTo>
                    <a:pt x="379" y="42"/>
                  </a:lnTo>
                  <a:lnTo>
                    <a:pt x="381" y="43"/>
                  </a:lnTo>
                  <a:lnTo>
                    <a:pt x="382" y="43"/>
                  </a:lnTo>
                  <a:lnTo>
                    <a:pt x="382" y="43"/>
                  </a:lnTo>
                  <a:lnTo>
                    <a:pt x="383" y="43"/>
                  </a:lnTo>
                  <a:lnTo>
                    <a:pt x="383" y="44"/>
                  </a:lnTo>
                  <a:lnTo>
                    <a:pt x="383" y="44"/>
                  </a:lnTo>
                  <a:lnTo>
                    <a:pt x="382" y="44"/>
                  </a:lnTo>
                  <a:lnTo>
                    <a:pt x="382" y="45"/>
                  </a:lnTo>
                  <a:lnTo>
                    <a:pt x="381" y="45"/>
                  </a:lnTo>
                  <a:lnTo>
                    <a:pt x="381" y="46"/>
                  </a:lnTo>
                  <a:lnTo>
                    <a:pt x="380" y="47"/>
                  </a:lnTo>
                  <a:lnTo>
                    <a:pt x="379" y="47"/>
                  </a:lnTo>
                  <a:lnTo>
                    <a:pt x="379" y="48"/>
                  </a:lnTo>
                  <a:lnTo>
                    <a:pt x="377" y="50"/>
                  </a:lnTo>
                  <a:lnTo>
                    <a:pt x="377" y="51"/>
                  </a:lnTo>
                  <a:lnTo>
                    <a:pt x="375" y="54"/>
                  </a:lnTo>
                  <a:lnTo>
                    <a:pt x="374" y="55"/>
                  </a:lnTo>
                  <a:lnTo>
                    <a:pt x="374" y="56"/>
                  </a:lnTo>
                  <a:lnTo>
                    <a:pt x="374" y="58"/>
                  </a:lnTo>
                  <a:lnTo>
                    <a:pt x="374" y="59"/>
                  </a:lnTo>
                  <a:lnTo>
                    <a:pt x="374" y="61"/>
                  </a:lnTo>
                  <a:lnTo>
                    <a:pt x="374" y="62"/>
                  </a:lnTo>
                  <a:lnTo>
                    <a:pt x="374" y="64"/>
                  </a:lnTo>
                  <a:lnTo>
                    <a:pt x="374" y="65"/>
                  </a:lnTo>
                  <a:lnTo>
                    <a:pt x="375" y="68"/>
                  </a:lnTo>
                  <a:lnTo>
                    <a:pt x="376" y="72"/>
                  </a:lnTo>
                  <a:lnTo>
                    <a:pt x="377" y="75"/>
                  </a:lnTo>
                  <a:lnTo>
                    <a:pt x="377" y="76"/>
                  </a:lnTo>
                  <a:lnTo>
                    <a:pt x="378" y="77"/>
                  </a:lnTo>
                  <a:lnTo>
                    <a:pt x="378" y="78"/>
                  </a:lnTo>
                  <a:lnTo>
                    <a:pt x="379" y="79"/>
                  </a:lnTo>
                  <a:lnTo>
                    <a:pt x="381" y="82"/>
                  </a:lnTo>
                  <a:lnTo>
                    <a:pt x="382" y="83"/>
                  </a:lnTo>
                  <a:lnTo>
                    <a:pt x="382" y="84"/>
                  </a:lnTo>
                  <a:lnTo>
                    <a:pt x="383" y="85"/>
                  </a:lnTo>
                  <a:lnTo>
                    <a:pt x="383" y="86"/>
                  </a:lnTo>
                  <a:lnTo>
                    <a:pt x="384" y="87"/>
                  </a:lnTo>
                  <a:lnTo>
                    <a:pt x="384" y="88"/>
                  </a:lnTo>
                  <a:lnTo>
                    <a:pt x="383" y="88"/>
                  </a:lnTo>
                  <a:lnTo>
                    <a:pt x="383" y="89"/>
                  </a:lnTo>
                  <a:lnTo>
                    <a:pt x="383" y="89"/>
                  </a:lnTo>
                  <a:lnTo>
                    <a:pt x="383" y="90"/>
                  </a:lnTo>
                  <a:lnTo>
                    <a:pt x="382" y="90"/>
                  </a:lnTo>
                  <a:lnTo>
                    <a:pt x="380" y="92"/>
                  </a:lnTo>
                  <a:lnTo>
                    <a:pt x="379" y="93"/>
                  </a:lnTo>
                  <a:lnTo>
                    <a:pt x="379" y="93"/>
                  </a:lnTo>
                  <a:lnTo>
                    <a:pt x="379" y="94"/>
                  </a:lnTo>
                  <a:lnTo>
                    <a:pt x="379" y="94"/>
                  </a:lnTo>
                  <a:lnTo>
                    <a:pt x="378" y="95"/>
                  </a:lnTo>
                  <a:lnTo>
                    <a:pt x="378" y="96"/>
                  </a:lnTo>
                  <a:lnTo>
                    <a:pt x="378" y="96"/>
                  </a:lnTo>
                  <a:lnTo>
                    <a:pt x="378" y="97"/>
                  </a:lnTo>
                  <a:lnTo>
                    <a:pt x="378" y="98"/>
                  </a:lnTo>
                  <a:lnTo>
                    <a:pt x="378" y="99"/>
                  </a:lnTo>
                  <a:lnTo>
                    <a:pt x="378" y="99"/>
                  </a:lnTo>
                  <a:lnTo>
                    <a:pt x="379" y="100"/>
                  </a:lnTo>
                  <a:lnTo>
                    <a:pt x="379" y="100"/>
                  </a:lnTo>
                  <a:lnTo>
                    <a:pt x="381" y="102"/>
                  </a:lnTo>
                  <a:lnTo>
                    <a:pt x="381" y="102"/>
                  </a:lnTo>
                  <a:lnTo>
                    <a:pt x="382" y="103"/>
                  </a:lnTo>
                  <a:lnTo>
                    <a:pt x="384" y="104"/>
                  </a:lnTo>
                  <a:lnTo>
                    <a:pt x="387" y="107"/>
                  </a:lnTo>
                  <a:lnTo>
                    <a:pt x="389" y="108"/>
                  </a:lnTo>
                  <a:lnTo>
                    <a:pt x="390" y="109"/>
                  </a:lnTo>
                  <a:lnTo>
                    <a:pt x="392" y="109"/>
                  </a:lnTo>
                  <a:lnTo>
                    <a:pt x="393" y="110"/>
                  </a:lnTo>
                  <a:lnTo>
                    <a:pt x="394" y="110"/>
                  </a:lnTo>
                  <a:lnTo>
                    <a:pt x="395" y="110"/>
                  </a:lnTo>
                  <a:lnTo>
                    <a:pt x="396" y="110"/>
                  </a:lnTo>
                  <a:lnTo>
                    <a:pt x="397" y="109"/>
                  </a:lnTo>
                  <a:lnTo>
                    <a:pt x="398" y="109"/>
                  </a:lnTo>
                  <a:lnTo>
                    <a:pt x="399" y="108"/>
                  </a:lnTo>
                  <a:lnTo>
                    <a:pt x="400" y="107"/>
                  </a:lnTo>
                  <a:lnTo>
                    <a:pt x="401" y="106"/>
                  </a:lnTo>
                  <a:lnTo>
                    <a:pt x="403" y="105"/>
                  </a:lnTo>
                  <a:lnTo>
                    <a:pt x="403" y="104"/>
                  </a:lnTo>
                  <a:lnTo>
                    <a:pt x="404" y="103"/>
                  </a:lnTo>
                  <a:lnTo>
                    <a:pt x="405" y="102"/>
                  </a:lnTo>
                  <a:lnTo>
                    <a:pt x="405" y="100"/>
                  </a:lnTo>
                  <a:lnTo>
                    <a:pt x="406" y="97"/>
                  </a:lnTo>
                  <a:lnTo>
                    <a:pt x="407" y="95"/>
                  </a:lnTo>
                  <a:lnTo>
                    <a:pt x="408" y="94"/>
                  </a:lnTo>
                  <a:lnTo>
                    <a:pt x="409" y="92"/>
                  </a:lnTo>
                  <a:lnTo>
                    <a:pt x="410" y="91"/>
                  </a:lnTo>
                  <a:lnTo>
                    <a:pt x="410" y="91"/>
                  </a:lnTo>
                  <a:lnTo>
                    <a:pt x="410" y="90"/>
                  </a:lnTo>
                  <a:lnTo>
                    <a:pt x="410" y="90"/>
                  </a:lnTo>
                  <a:lnTo>
                    <a:pt x="410" y="89"/>
                  </a:lnTo>
                  <a:lnTo>
                    <a:pt x="410" y="88"/>
                  </a:lnTo>
                  <a:lnTo>
                    <a:pt x="410" y="88"/>
                  </a:lnTo>
                  <a:lnTo>
                    <a:pt x="410" y="87"/>
                  </a:lnTo>
                  <a:lnTo>
                    <a:pt x="409" y="86"/>
                  </a:lnTo>
                  <a:lnTo>
                    <a:pt x="409" y="85"/>
                  </a:lnTo>
                  <a:lnTo>
                    <a:pt x="408" y="83"/>
                  </a:lnTo>
                  <a:lnTo>
                    <a:pt x="407" y="82"/>
                  </a:lnTo>
                  <a:lnTo>
                    <a:pt x="407" y="81"/>
                  </a:lnTo>
                  <a:lnTo>
                    <a:pt x="406" y="80"/>
                  </a:lnTo>
                  <a:lnTo>
                    <a:pt x="406" y="79"/>
                  </a:lnTo>
                  <a:lnTo>
                    <a:pt x="406" y="78"/>
                  </a:lnTo>
                  <a:lnTo>
                    <a:pt x="405" y="77"/>
                  </a:lnTo>
                  <a:lnTo>
                    <a:pt x="405" y="77"/>
                  </a:lnTo>
                  <a:lnTo>
                    <a:pt x="400" y="72"/>
                  </a:lnTo>
                  <a:lnTo>
                    <a:pt x="399" y="72"/>
                  </a:lnTo>
                  <a:lnTo>
                    <a:pt x="399" y="71"/>
                  </a:lnTo>
                  <a:lnTo>
                    <a:pt x="399" y="71"/>
                  </a:lnTo>
                  <a:lnTo>
                    <a:pt x="398" y="70"/>
                  </a:lnTo>
                  <a:lnTo>
                    <a:pt x="398" y="69"/>
                  </a:lnTo>
                  <a:lnTo>
                    <a:pt x="397" y="69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397" y="67"/>
                  </a:lnTo>
                  <a:lnTo>
                    <a:pt x="397" y="67"/>
                  </a:lnTo>
                  <a:lnTo>
                    <a:pt x="398" y="67"/>
                  </a:lnTo>
                  <a:lnTo>
                    <a:pt x="399" y="65"/>
                  </a:lnTo>
                  <a:lnTo>
                    <a:pt x="401" y="64"/>
                  </a:lnTo>
                  <a:lnTo>
                    <a:pt x="402" y="63"/>
                  </a:lnTo>
                  <a:lnTo>
                    <a:pt x="403" y="62"/>
                  </a:lnTo>
                  <a:lnTo>
                    <a:pt x="405" y="61"/>
                  </a:lnTo>
                  <a:lnTo>
                    <a:pt x="406" y="60"/>
                  </a:lnTo>
                  <a:lnTo>
                    <a:pt x="408" y="60"/>
                  </a:lnTo>
                  <a:lnTo>
                    <a:pt x="409" y="60"/>
                  </a:lnTo>
                  <a:lnTo>
                    <a:pt x="410" y="60"/>
                  </a:lnTo>
                  <a:lnTo>
                    <a:pt x="411" y="60"/>
                  </a:lnTo>
                  <a:lnTo>
                    <a:pt x="412" y="60"/>
                  </a:lnTo>
                  <a:lnTo>
                    <a:pt x="414" y="60"/>
                  </a:lnTo>
                  <a:lnTo>
                    <a:pt x="416" y="61"/>
                  </a:lnTo>
                  <a:lnTo>
                    <a:pt x="418" y="61"/>
                  </a:lnTo>
                  <a:lnTo>
                    <a:pt x="419" y="61"/>
                  </a:lnTo>
                  <a:lnTo>
                    <a:pt x="420" y="62"/>
                  </a:lnTo>
                  <a:lnTo>
                    <a:pt x="420" y="62"/>
                  </a:lnTo>
                  <a:lnTo>
                    <a:pt x="421" y="63"/>
                  </a:lnTo>
                  <a:lnTo>
                    <a:pt x="422" y="64"/>
                  </a:lnTo>
                  <a:lnTo>
                    <a:pt x="423" y="65"/>
                  </a:lnTo>
                  <a:lnTo>
                    <a:pt x="423" y="66"/>
                  </a:lnTo>
                  <a:lnTo>
                    <a:pt x="424" y="67"/>
                  </a:lnTo>
                  <a:lnTo>
                    <a:pt x="425" y="69"/>
                  </a:lnTo>
                  <a:lnTo>
                    <a:pt x="425" y="70"/>
                  </a:lnTo>
                  <a:lnTo>
                    <a:pt x="426" y="71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9" y="74"/>
                  </a:lnTo>
                  <a:lnTo>
                    <a:pt x="430" y="75"/>
                  </a:lnTo>
                  <a:lnTo>
                    <a:pt x="430" y="76"/>
                  </a:lnTo>
                  <a:lnTo>
                    <a:pt x="430" y="77"/>
                  </a:lnTo>
                  <a:lnTo>
                    <a:pt x="431" y="78"/>
                  </a:lnTo>
                  <a:lnTo>
                    <a:pt x="432" y="79"/>
                  </a:lnTo>
                  <a:lnTo>
                    <a:pt x="432" y="80"/>
                  </a:lnTo>
                  <a:lnTo>
                    <a:pt x="433" y="81"/>
                  </a:lnTo>
                  <a:lnTo>
                    <a:pt x="434" y="83"/>
                  </a:lnTo>
                  <a:lnTo>
                    <a:pt x="435" y="87"/>
                  </a:lnTo>
                  <a:lnTo>
                    <a:pt x="435" y="90"/>
                  </a:lnTo>
                  <a:lnTo>
                    <a:pt x="436" y="90"/>
                  </a:lnTo>
                  <a:lnTo>
                    <a:pt x="436" y="91"/>
                  </a:lnTo>
                  <a:lnTo>
                    <a:pt x="437" y="92"/>
                  </a:lnTo>
                  <a:lnTo>
                    <a:pt x="437" y="93"/>
                  </a:lnTo>
                  <a:lnTo>
                    <a:pt x="438" y="94"/>
                  </a:lnTo>
                  <a:lnTo>
                    <a:pt x="440" y="95"/>
                  </a:lnTo>
                  <a:lnTo>
                    <a:pt x="440" y="95"/>
                  </a:lnTo>
                  <a:lnTo>
                    <a:pt x="441" y="96"/>
                  </a:lnTo>
                  <a:lnTo>
                    <a:pt x="441" y="97"/>
                  </a:lnTo>
                  <a:lnTo>
                    <a:pt x="441" y="97"/>
                  </a:lnTo>
                  <a:lnTo>
                    <a:pt x="443" y="100"/>
                  </a:lnTo>
                  <a:lnTo>
                    <a:pt x="443" y="101"/>
                  </a:lnTo>
                  <a:lnTo>
                    <a:pt x="444" y="101"/>
                  </a:lnTo>
                  <a:lnTo>
                    <a:pt x="444" y="102"/>
                  </a:lnTo>
                  <a:lnTo>
                    <a:pt x="445" y="104"/>
                  </a:lnTo>
                  <a:lnTo>
                    <a:pt x="446" y="104"/>
                  </a:lnTo>
                  <a:lnTo>
                    <a:pt x="447" y="105"/>
                  </a:lnTo>
                  <a:lnTo>
                    <a:pt x="447" y="105"/>
                  </a:lnTo>
                  <a:lnTo>
                    <a:pt x="448" y="106"/>
                  </a:lnTo>
                  <a:lnTo>
                    <a:pt x="448" y="106"/>
                  </a:lnTo>
                  <a:lnTo>
                    <a:pt x="448" y="106"/>
                  </a:lnTo>
                  <a:lnTo>
                    <a:pt x="449" y="106"/>
                  </a:lnTo>
                  <a:lnTo>
                    <a:pt x="449" y="106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1" y="106"/>
                  </a:lnTo>
                  <a:lnTo>
                    <a:pt x="451" y="105"/>
                  </a:lnTo>
                  <a:lnTo>
                    <a:pt x="452" y="104"/>
                  </a:lnTo>
                  <a:lnTo>
                    <a:pt x="452" y="103"/>
                  </a:lnTo>
                  <a:lnTo>
                    <a:pt x="453" y="103"/>
                  </a:lnTo>
                  <a:lnTo>
                    <a:pt x="453" y="103"/>
                  </a:lnTo>
                  <a:lnTo>
                    <a:pt x="453" y="103"/>
                  </a:lnTo>
                  <a:lnTo>
                    <a:pt x="454" y="103"/>
                  </a:lnTo>
                  <a:lnTo>
                    <a:pt x="454" y="103"/>
                  </a:lnTo>
                  <a:lnTo>
                    <a:pt x="454" y="104"/>
                  </a:lnTo>
                  <a:lnTo>
                    <a:pt x="454" y="104"/>
                  </a:lnTo>
                  <a:lnTo>
                    <a:pt x="454" y="105"/>
                  </a:lnTo>
                  <a:lnTo>
                    <a:pt x="455" y="107"/>
                  </a:lnTo>
                  <a:lnTo>
                    <a:pt x="454" y="108"/>
                  </a:lnTo>
                  <a:lnTo>
                    <a:pt x="454" y="110"/>
                  </a:lnTo>
                  <a:lnTo>
                    <a:pt x="454" y="111"/>
                  </a:lnTo>
                  <a:lnTo>
                    <a:pt x="454" y="113"/>
                  </a:lnTo>
                  <a:lnTo>
                    <a:pt x="453" y="116"/>
                  </a:lnTo>
                  <a:lnTo>
                    <a:pt x="453" y="119"/>
                  </a:lnTo>
                  <a:lnTo>
                    <a:pt x="452" y="121"/>
                  </a:lnTo>
                  <a:lnTo>
                    <a:pt x="452" y="121"/>
                  </a:lnTo>
                  <a:lnTo>
                    <a:pt x="452" y="122"/>
                  </a:lnTo>
                  <a:lnTo>
                    <a:pt x="452" y="122"/>
                  </a:lnTo>
                  <a:lnTo>
                    <a:pt x="453" y="123"/>
                  </a:lnTo>
                  <a:lnTo>
                    <a:pt x="453" y="123"/>
                  </a:lnTo>
                  <a:lnTo>
                    <a:pt x="453" y="123"/>
                  </a:lnTo>
                  <a:lnTo>
                    <a:pt x="454" y="124"/>
                  </a:lnTo>
                  <a:lnTo>
                    <a:pt x="454" y="124"/>
                  </a:lnTo>
                  <a:lnTo>
                    <a:pt x="455" y="125"/>
                  </a:lnTo>
                  <a:lnTo>
                    <a:pt x="458" y="126"/>
                  </a:lnTo>
                  <a:lnTo>
                    <a:pt x="459" y="127"/>
                  </a:lnTo>
                  <a:lnTo>
                    <a:pt x="461" y="128"/>
                  </a:lnTo>
                  <a:lnTo>
                    <a:pt x="463" y="128"/>
                  </a:lnTo>
                  <a:lnTo>
                    <a:pt x="465" y="129"/>
                  </a:lnTo>
                  <a:lnTo>
                    <a:pt x="468" y="130"/>
                  </a:lnTo>
                  <a:lnTo>
                    <a:pt x="469" y="131"/>
                  </a:lnTo>
                  <a:lnTo>
                    <a:pt x="471" y="131"/>
                  </a:lnTo>
                  <a:lnTo>
                    <a:pt x="473" y="132"/>
                  </a:lnTo>
                  <a:lnTo>
                    <a:pt x="474" y="133"/>
                  </a:lnTo>
                  <a:lnTo>
                    <a:pt x="475" y="134"/>
                  </a:lnTo>
                  <a:lnTo>
                    <a:pt x="478" y="136"/>
                  </a:lnTo>
                  <a:lnTo>
                    <a:pt x="479" y="137"/>
                  </a:lnTo>
                  <a:lnTo>
                    <a:pt x="480" y="138"/>
                  </a:lnTo>
                  <a:lnTo>
                    <a:pt x="480" y="138"/>
                  </a:lnTo>
                  <a:lnTo>
                    <a:pt x="481" y="139"/>
                  </a:lnTo>
                  <a:lnTo>
                    <a:pt x="481" y="140"/>
                  </a:lnTo>
                  <a:lnTo>
                    <a:pt x="481" y="141"/>
                  </a:lnTo>
                  <a:lnTo>
                    <a:pt x="483" y="146"/>
                  </a:lnTo>
                  <a:lnTo>
                    <a:pt x="484" y="149"/>
                  </a:lnTo>
                  <a:lnTo>
                    <a:pt x="484" y="150"/>
                  </a:lnTo>
                  <a:lnTo>
                    <a:pt x="486" y="153"/>
                  </a:lnTo>
                  <a:lnTo>
                    <a:pt x="488" y="158"/>
                  </a:lnTo>
                  <a:lnTo>
                    <a:pt x="488" y="160"/>
                  </a:lnTo>
                  <a:lnTo>
                    <a:pt x="484" y="166"/>
                  </a:lnTo>
                  <a:lnTo>
                    <a:pt x="483" y="168"/>
                  </a:lnTo>
                  <a:lnTo>
                    <a:pt x="483" y="170"/>
                  </a:lnTo>
                  <a:lnTo>
                    <a:pt x="483" y="171"/>
                  </a:lnTo>
                  <a:lnTo>
                    <a:pt x="482" y="172"/>
                  </a:lnTo>
                  <a:lnTo>
                    <a:pt x="482" y="173"/>
                  </a:lnTo>
                  <a:lnTo>
                    <a:pt x="482" y="174"/>
                  </a:lnTo>
                  <a:lnTo>
                    <a:pt x="482" y="175"/>
                  </a:lnTo>
                  <a:lnTo>
                    <a:pt x="482" y="176"/>
                  </a:lnTo>
                  <a:lnTo>
                    <a:pt x="483" y="179"/>
                  </a:lnTo>
                  <a:lnTo>
                    <a:pt x="483" y="181"/>
                  </a:lnTo>
                  <a:lnTo>
                    <a:pt x="483" y="182"/>
                  </a:lnTo>
                  <a:lnTo>
                    <a:pt x="483" y="186"/>
                  </a:lnTo>
                  <a:lnTo>
                    <a:pt x="483" y="187"/>
                  </a:lnTo>
                  <a:lnTo>
                    <a:pt x="484" y="188"/>
                  </a:lnTo>
                  <a:lnTo>
                    <a:pt x="484" y="189"/>
                  </a:lnTo>
                  <a:lnTo>
                    <a:pt x="485" y="191"/>
                  </a:lnTo>
                  <a:lnTo>
                    <a:pt x="487" y="195"/>
                  </a:lnTo>
                  <a:lnTo>
                    <a:pt x="488" y="198"/>
                  </a:lnTo>
                  <a:lnTo>
                    <a:pt x="488" y="199"/>
                  </a:lnTo>
                  <a:lnTo>
                    <a:pt x="488" y="199"/>
                  </a:lnTo>
                  <a:lnTo>
                    <a:pt x="488" y="200"/>
                  </a:lnTo>
                  <a:lnTo>
                    <a:pt x="488" y="201"/>
                  </a:lnTo>
                  <a:lnTo>
                    <a:pt x="488" y="202"/>
                  </a:lnTo>
                  <a:lnTo>
                    <a:pt x="488" y="203"/>
                  </a:lnTo>
                  <a:lnTo>
                    <a:pt x="488" y="204"/>
                  </a:lnTo>
                  <a:lnTo>
                    <a:pt x="488" y="204"/>
                  </a:lnTo>
                  <a:lnTo>
                    <a:pt x="488" y="205"/>
                  </a:lnTo>
                  <a:lnTo>
                    <a:pt x="489" y="205"/>
                  </a:lnTo>
                  <a:lnTo>
                    <a:pt x="489" y="205"/>
                  </a:lnTo>
                  <a:lnTo>
                    <a:pt x="490" y="205"/>
                  </a:lnTo>
                  <a:lnTo>
                    <a:pt x="491" y="205"/>
                  </a:lnTo>
                  <a:lnTo>
                    <a:pt x="493" y="205"/>
                  </a:lnTo>
                  <a:lnTo>
                    <a:pt x="495" y="205"/>
                  </a:lnTo>
                  <a:lnTo>
                    <a:pt x="496" y="205"/>
                  </a:lnTo>
                  <a:lnTo>
                    <a:pt x="497" y="205"/>
                  </a:lnTo>
                  <a:lnTo>
                    <a:pt x="498" y="205"/>
                  </a:lnTo>
                  <a:lnTo>
                    <a:pt x="499" y="205"/>
                  </a:lnTo>
                  <a:lnTo>
                    <a:pt x="499" y="205"/>
                  </a:lnTo>
                  <a:lnTo>
                    <a:pt x="500" y="206"/>
                  </a:lnTo>
                  <a:lnTo>
                    <a:pt x="500" y="206"/>
                  </a:lnTo>
                  <a:lnTo>
                    <a:pt x="500" y="207"/>
                  </a:lnTo>
                  <a:lnTo>
                    <a:pt x="501" y="207"/>
                  </a:lnTo>
                  <a:lnTo>
                    <a:pt x="501" y="208"/>
                  </a:lnTo>
                  <a:lnTo>
                    <a:pt x="501" y="209"/>
                  </a:lnTo>
                  <a:lnTo>
                    <a:pt x="501" y="210"/>
                  </a:lnTo>
                  <a:lnTo>
                    <a:pt x="501" y="211"/>
                  </a:lnTo>
                  <a:lnTo>
                    <a:pt x="501" y="212"/>
                  </a:lnTo>
                  <a:lnTo>
                    <a:pt x="500" y="213"/>
                  </a:lnTo>
                  <a:lnTo>
                    <a:pt x="500" y="214"/>
                  </a:lnTo>
                  <a:lnTo>
                    <a:pt x="499" y="216"/>
                  </a:lnTo>
                  <a:lnTo>
                    <a:pt x="499" y="217"/>
                  </a:lnTo>
                  <a:lnTo>
                    <a:pt x="498" y="218"/>
                  </a:lnTo>
                  <a:lnTo>
                    <a:pt x="498" y="219"/>
                  </a:lnTo>
                  <a:lnTo>
                    <a:pt x="497" y="220"/>
                  </a:lnTo>
                  <a:lnTo>
                    <a:pt x="497" y="221"/>
                  </a:lnTo>
                  <a:lnTo>
                    <a:pt x="497" y="221"/>
                  </a:lnTo>
                  <a:lnTo>
                    <a:pt x="495" y="222"/>
                  </a:lnTo>
                  <a:lnTo>
                    <a:pt x="493" y="224"/>
                  </a:lnTo>
                  <a:lnTo>
                    <a:pt x="491" y="226"/>
                  </a:lnTo>
                  <a:lnTo>
                    <a:pt x="490" y="226"/>
                  </a:lnTo>
                  <a:lnTo>
                    <a:pt x="489" y="227"/>
                  </a:lnTo>
                  <a:lnTo>
                    <a:pt x="488" y="227"/>
                  </a:lnTo>
                  <a:lnTo>
                    <a:pt x="488" y="229"/>
                  </a:lnTo>
                  <a:lnTo>
                    <a:pt x="487" y="230"/>
                  </a:lnTo>
                  <a:lnTo>
                    <a:pt x="486" y="231"/>
                  </a:lnTo>
                  <a:lnTo>
                    <a:pt x="484" y="235"/>
                  </a:lnTo>
                  <a:lnTo>
                    <a:pt x="483" y="236"/>
                  </a:lnTo>
                  <a:lnTo>
                    <a:pt x="483" y="237"/>
                  </a:lnTo>
                  <a:lnTo>
                    <a:pt x="482" y="238"/>
                  </a:lnTo>
                  <a:lnTo>
                    <a:pt x="481" y="239"/>
                  </a:lnTo>
                  <a:lnTo>
                    <a:pt x="481" y="239"/>
                  </a:lnTo>
                  <a:lnTo>
                    <a:pt x="479" y="241"/>
                  </a:lnTo>
                  <a:lnTo>
                    <a:pt x="479" y="241"/>
                  </a:lnTo>
                  <a:lnTo>
                    <a:pt x="478" y="241"/>
                  </a:lnTo>
                  <a:lnTo>
                    <a:pt x="478" y="242"/>
                  </a:lnTo>
                  <a:lnTo>
                    <a:pt x="478" y="243"/>
                  </a:lnTo>
                  <a:lnTo>
                    <a:pt x="477" y="244"/>
                  </a:lnTo>
                  <a:lnTo>
                    <a:pt x="477" y="245"/>
                  </a:lnTo>
                  <a:lnTo>
                    <a:pt x="477" y="246"/>
                  </a:lnTo>
                  <a:lnTo>
                    <a:pt x="477" y="247"/>
                  </a:lnTo>
                  <a:lnTo>
                    <a:pt x="478" y="249"/>
                  </a:lnTo>
                  <a:lnTo>
                    <a:pt x="478" y="250"/>
                  </a:lnTo>
                  <a:lnTo>
                    <a:pt x="478" y="250"/>
                  </a:lnTo>
                  <a:lnTo>
                    <a:pt x="478" y="250"/>
                  </a:lnTo>
                  <a:lnTo>
                    <a:pt x="479" y="251"/>
                  </a:lnTo>
                  <a:lnTo>
                    <a:pt x="479" y="251"/>
                  </a:lnTo>
                  <a:lnTo>
                    <a:pt x="480" y="251"/>
                  </a:lnTo>
                  <a:lnTo>
                    <a:pt x="481" y="251"/>
                  </a:lnTo>
                  <a:lnTo>
                    <a:pt x="482" y="252"/>
                  </a:lnTo>
                  <a:lnTo>
                    <a:pt x="483" y="252"/>
                  </a:lnTo>
                  <a:lnTo>
                    <a:pt x="484" y="251"/>
                  </a:lnTo>
                  <a:lnTo>
                    <a:pt x="485" y="251"/>
                  </a:lnTo>
                  <a:lnTo>
                    <a:pt x="486" y="251"/>
                  </a:lnTo>
                  <a:lnTo>
                    <a:pt x="488" y="251"/>
                  </a:lnTo>
                  <a:lnTo>
                    <a:pt x="490" y="250"/>
                  </a:lnTo>
                  <a:lnTo>
                    <a:pt x="497" y="247"/>
                  </a:lnTo>
                  <a:lnTo>
                    <a:pt x="499" y="247"/>
                  </a:lnTo>
                  <a:lnTo>
                    <a:pt x="500" y="246"/>
                  </a:lnTo>
                  <a:lnTo>
                    <a:pt x="501" y="246"/>
                  </a:lnTo>
                  <a:lnTo>
                    <a:pt x="502" y="246"/>
                  </a:lnTo>
                  <a:lnTo>
                    <a:pt x="503" y="246"/>
                  </a:lnTo>
                  <a:lnTo>
                    <a:pt x="504" y="246"/>
                  </a:lnTo>
                  <a:lnTo>
                    <a:pt x="505" y="246"/>
                  </a:lnTo>
                  <a:lnTo>
                    <a:pt x="505" y="246"/>
                  </a:lnTo>
                  <a:lnTo>
                    <a:pt x="506" y="247"/>
                  </a:lnTo>
                  <a:lnTo>
                    <a:pt x="506" y="247"/>
                  </a:lnTo>
                  <a:lnTo>
                    <a:pt x="507" y="248"/>
                  </a:lnTo>
                  <a:lnTo>
                    <a:pt x="507" y="249"/>
                  </a:lnTo>
                  <a:lnTo>
                    <a:pt x="509" y="250"/>
                  </a:lnTo>
                  <a:lnTo>
                    <a:pt x="510" y="252"/>
                  </a:lnTo>
                  <a:lnTo>
                    <a:pt x="510" y="253"/>
                  </a:lnTo>
                  <a:lnTo>
                    <a:pt x="511" y="254"/>
                  </a:lnTo>
                  <a:lnTo>
                    <a:pt x="511" y="256"/>
                  </a:lnTo>
                  <a:lnTo>
                    <a:pt x="511" y="256"/>
                  </a:lnTo>
                  <a:lnTo>
                    <a:pt x="511" y="258"/>
                  </a:lnTo>
                  <a:lnTo>
                    <a:pt x="511" y="259"/>
                  </a:lnTo>
                  <a:lnTo>
                    <a:pt x="511" y="260"/>
                  </a:lnTo>
                  <a:lnTo>
                    <a:pt x="511" y="264"/>
                  </a:lnTo>
                  <a:lnTo>
                    <a:pt x="511" y="265"/>
                  </a:lnTo>
                  <a:lnTo>
                    <a:pt x="511" y="266"/>
                  </a:lnTo>
                  <a:lnTo>
                    <a:pt x="511" y="267"/>
                  </a:lnTo>
                  <a:lnTo>
                    <a:pt x="511" y="267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3" y="269"/>
                  </a:lnTo>
                  <a:lnTo>
                    <a:pt x="516" y="269"/>
                  </a:lnTo>
                  <a:lnTo>
                    <a:pt x="517" y="270"/>
                  </a:lnTo>
                  <a:lnTo>
                    <a:pt x="517" y="270"/>
                  </a:lnTo>
                  <a:lnTo>
                    <a:pt x="518" y="270"/>
                  </a:lnTo>
                  <a:lnTo>
                    <a:pt x="520" y="271"/>
                  </a:lnTo>
                  <a:lnTo>
                    <a:pt x="522" y="272"/>
                  </a:lnTo>
                  <a:lnTo>
                    <a:pt x="522" y="272"/>
                  </a:lnTo>
                  <a:lnTo>
                    <a:pt x="523" y="273"/>
                  </a:lnTo>
                  <a:lnTo>
                    <a:pt x="524" y="273"/>
                  </a:lnTo>
                  <a:lnTo>
                    <a:pt x="525" y="274"/>
                  </a:lnTo>
                  <a:lnTo>
                    <a:pt x="527" y="276"/>
                  </a:lnTo>
                  <a:lnTo>
                    <a:pt x="527" y="276"/>
                  </a:lnTo>
                  <a:lnTo>
                    <a:pt x="528" y="277"/>
                  </a:lnTo>
                  <a:lnTo>
                    <a:pt x="529" y="277"/>
                  </a:lnTo>
                  <a:lnTo>
                    <a:pt x="529" y="277"/>
                  </a:lnTo>
                  <a:lnTo>
                    <a:pt x="531" y="278"/>
                  </a:lnTo>
                  <a:lnTo>
                    <a:pt x="536" y="278"/>
                  </a:lnTo>
                  <a:lnTo>
                    <a:pt x="539" y="279"/>
                  </a:lnTo>
                  <a:lnTo>
                    <a:pt x="544" y="280"/>
                  </a:lnTo>
                  <a:lnTo>
                    <a:pt x="545" y="280"/>
                  </a:lnTo>
                  <a:lnTo>
                    <a:pt x="546" y="280"/>
                  </a:lnTo>
                  <a:lnTo>
                    <a:pt x="546" y="281"/>
                  </a:lnTo>
                  <a:lnTo>
                    <a:pt x="547" y="281"/>
                  </a:lnTo>
                  <a:lnTo>
                    <a:pt x="549" y="282"/>
                  </a:lnTo>
                  <a:lnTo>
                    <a:pt x="550" y="283"/>
                  </a:lnTo>
                  <a:lnTo>
                    <a:pt x="550" y="284"/>
                  </a:lnTo>
                  <a:lnTo>
                    <a:pt x="551" y="284"/>
                  </a:lnTo>
                  <a:lnTo>
                    <a:pt x="551" y="284"/>
                  </a:lnTo>
                  <a:lnTo>
                    <a:pt x="551" y="285"/>
                  </a:lnTo>
                  <a:lnTo>
                    <a:pt x="551" y="287"/>
                  </a:lnTo>
                  <a:lnTo>
                    <a:pt x="552" y="288"/>
                  </a:lnTo>
                  <a:lnTo>
                    <a:pt x="552" y="291"/>
                  </a:lnTo>
                  <a:lnTo>
                    <a:pt x="552" y="292"/>
                  </a:lnTo>
                  <a:lnTo>
                    <a:pt x="552" y="292"/>
                  </a:lnTo>
                  <a:lnTo>
                    <a:pt x="553" y="293"/>
                  </a:lnTo>
                  <a:lnTo>
                    <a:pt x="553" y="294"/>
                  </a:lnTo>
                  <a:lnTo>
                    <a:pt x="553" y="294"/>
                  </a:lnTo>
                  <a:lnTo>
                    <a:pt x="554" y="294"/>
                  </a:lnTo>
                  <a:lnTo>
                    <a:pt x="554" y="294"/>
                  </a:lnTo>
                  <a:lnTo>
                    <a:pt x="555" y="295"/>
                  </a:lnTo>
                  <a:lnTo>
                    <a:pt x="556" y="295"/>
                  </a:lnTo>
                  <a:lnTo>
                    <a:pt x="558" y="295"/>
                  </a:lnTo>
                  <a:lnTo>
                    <a:pt x="560" y="295"/>
                  </a:lnTo>
                  <a:lnTo>
                    <a:pt x="561" y="296"/>
                  </a:lnTo>
                  <a:lnTo>
                    <a:pt x="562" y="296"/>
                  </a:lnTo>
                  <a:lnTo>
                    <a:pt x="563" y="296"/>
                  </a:lnTo>
                  <a:lnTo>
                    <a:pt x="563" y="297"/>
                  </a:lnTo>
                  <a:lnTo>
                    <a:pt x="564" y="297"/>
                  </a:lnTo>
                  <a:lnTo>
                    <a:pt x="570" y="301"/>
                  </a:lnTo>
                  <a:lnTo>
                    <a:pt x="571" y="302"/>
                  </a:lnTo>
                  <a:lnTo>
                    <a:pt x="572" y="303"/>
                  </a:lnTo>
                  <a:lnTo>
                    <a:pt x="574" y="304"/>
                  </a:lnTo>
                  <a:lnTo>
                    <a:pt x="575" y="304"/>
                  </a:lnTo>
                  <a:lnTo>
                    <a:pt x="575" y="304"/>
                  </a:lnTo>
                  <a:lnTo>
                    <a:pt x="576" y="304"/>
                  </a:lnTo>
                  <a:lnTo>
                    <a:pt x="577" y="305"/>
                  </a:lnTo>
                  <a:lnTo>
                    <a:pt x="578" y="304"/>
                  </a:lnTo>
                  <a:lnTo>
                    <a:pt x="579" y="304"/>
                  </a:lnTo>
                  <a:lnTo>
                    <a:pt x="580" y="304"/>
                  </a:lnTo>
                  <a:lnTo>
                    <a:pt x="584" y="303"/>
                  </a:lnTo>
                  <a:lnTo>
                    <a:pt x="586" y="303"/>
                  </a:lnTo>
                  <a:lnTo>
                    <a:pt x="587" y="303"/>
                  </a:lnTo>
                  <a:lnTo>
                    <a:pt x="590" y="303"/>
                  </a:lnTo>
                  <a:lnTo>
                    <a:pt x="594" y="302"/>
                  </a:lnTo>
                  <a:lnTo>
                    <a:pt x="594" y="302"/>
                  </a:lnTo>
                  <a:lnTo>
                    <a:pt x="595" y="302"/>
                  </a:lnTo>
                  <a:lnTo>
                    <a:pt x="596" y="302"/>
                  </a:lnTo>
                  <a:lnTo>
                    <a:pt x="596" y="302"/>
                  </a:lnTo>
                  <a:lnTo>
                    <a:pt x="597" y="303"/>
                  </a:lnTo>
                  <a:lnTo>
                    <a:pt x="600" y="304"/>
                  </a:lnTo>
                  <a:lnTo>
                    <a:pt x="602" y="304"/>
                  </a:lnTo>
                  <a:lnTo>
                    <a:pt x="603" y="305"/>
                  </a:lnTo>
                  <a:lnTo>
                    <a:pt x="604" y="305"/>
                  </a:lnTo>
                  <a:lnTo>
                    <a:pt x="605" y="306"/>
                  </a:lnTo>
                  <a:lnTo>
                    <a:pt x="607" y="307"/>
                  </a:lnTo>
                  <a:lnTo>
                    <a:pt x="608" y="308"/>
                  </a:lnTo>
                  <a:lnTo>
                    <a:pt x="608" y="308"/>
                  </a:lnTo>
                  <a:lnTo>
                    <a:pt x="608" y="309"/>
                  </a:lnTo>
                  <a:lnTo>
                    <a:pt x="609" y="309"/>
                  </a:lnTo>
                  <a:lnTo>
                    <a:pt x="609" y="310"/>
                  </a:lnTo>
                  <a:lnTo>
                    <a:pt x="609" y="310"/>
                  </a:lnTo>
                  <a:lnTo>
                    <a:pt x="609" y="311"/>
                  </a:lnTo>
                  <a:lnTo>
                    <a:pt x="610" y="312"/>
                  </a:lnTo>
                  <a:lnTo>
                    <a:pt x="610" y="313"/>
                  </a:lnTo>
                  <a:lnTo>
                    <a:pt x="610" y="315"/>
                  </a:lnTo>
                  <a:lnTo>
                    <a:pt x="610" y="316"/>
                  </a:lnTo>
                  <a:lnTo>
                    <a:pt x="610" y="317"/>
                  </a:lnTo>
                  <a:lnTo>
                    <a:pt x="611" y="317"/>
                  </a:lnTo>
                  <a:lnTo>
                    <a:pt x="611" y="318"/>
                  </a:lnTo>
                  <a:lnTo>
                    <a:pt x="611" y="318"/>
                  </a:lnTo>
                  <a:lnTo>
                    <a:pt x="612" y="319"/>
                  </a:lnTo>
                  <a:lnTo>
                    <a:pt x="612" y="319"/>
                  </a:lnTo>
                  <a:lnTo>
                    <a:pt x="613" y="319"/>
                  </a:lnTo>
                  <a:lnTo>
                    <a:pt x="614" y="320"/>
                  </a:lnTo>
                  <a:lnTo>
                    <a:pt x="616" y="321"/>
                  </a:lnTo>
                  <a:lnTo>
                    <a:pt x="617" y="321"/>
                  </a:lnTo>
                  <a:lnTo>
                    <a:pt x="624" y="324"/>
                  </a:lnTo>
                  <a:lnTo>
                    <a:pt x="625" y="325"/>
                  </a:lnTo>
                  <a:lnTo>
                    <a:pt x="626" y="326"/>
                  </a:lnTo>
                  <a:lnTo>
                    <a:pt x="627" y="327"/>
                  </a:lnTo>
                  <a:lnTo>
                    <a:pt x="628" y="328"/>
                  </a:lnTo>
                  <a:lnTo>
                    <a:pt x="630" y="329"/>
                  </a:lnTo>
                  <a:lnTo>
                    <a:pt x="631" y="330"/>
                  </a:lnTo>
                  <a:lnTo>
                    <a:pt x="632" y="332"/>
                  </a:lnTo>
                  <a:lnTo>
                    <a:pt x="635" y="337"/>
                  </a:lnTo>
                  <a:lnTo>
                    <a:pt x="638" y="340"/>
                  </a:lnTo>
                  <a:lnTo>
                    <a:pt x="638" y="341"/>
                  </a:lnTo>
                  <a:lnTo>
                    <a:pt x="639" y="342"/>
                  </a:lnTo>
                  <a:lnTo>
                    <a:pt x="639" y="343"/>
                  </a:lnTo>
                  <a:lnTo>
                    <a:pt x="641" y="346"/>
                  </a:lnTo>
                  <a:lnTo>
                    <a:pt x="641" y="348"/>
                  </a:lnTo>
                  <a:lnTo>
                    <a:pt x="642" y="349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1" y="350"/>
                  </a:lnTo>
                  <a:lnTo>
                    <a:pt x="641" y="350"/>
                  </a:lnTo>
                  <a:lnTo>
                    <a:pt x="640" y="350"/>
                  </a:lnTo>
                  <a:lnTo>
                    <a:pt x="638" y="351"/>
                  </a:lnTo>
                  <a:lnTo>
                    <a:pt x="635" y="354"/>
                  </a:lnTo>
                  <a:lnTo>
                    <a:pt x="630" y="357"/>
                  </a:lnTo>
                  <a:lnTo>
                    <a:pt x="629" y="358"/>
                  </a:lnTo>
                  <a:lnTo>
                    <a:pt x="626" y="361"/>
                  </a:lnTo>
                  <a:lnTo>
                    <a:pt x="625" y="361"/>
                  </a:lnTo>
                  <a:lnTo>
                    <a:pt x="624" y="362"/>
                  </a:lnTo>
                  <a:lnTo>
                    <a:pt x="623" y="362"/>
                  </a:lnTo>
                  <a:lnTo>
                    <a:pt x="623" y="362"/>
                  </a:lnTo>
                  <a:lnTo>
                    <a:pt x="622" y="363"/>
                  </a:lnTo>
                  <a:lnTo>
                    <a:pt x="621" y="363"/>
                  </a:lnTo>
                  <a:lnTo>
                    <a:pt x="619" y="363"/>
                  </a:lnTo>
                  <a:lnTo>
                    <a:pt x="616" y="364"/>
                  </a:lnTo>
                  <a:lnTo>
                    <a:pt x="615" y="364"/>
                  </a:lnTo>
                  <a:lnTo>
                    <a:pt x="615" y="364"/>
                  </a:lnTo>
                  <a:lnTo>
                    <a:pt x="614" y="365"/>
                  </a:lnTo>
                  <a:lnTo>
                    <a:pt x="613" y="366"/>
                  </a:lnTo>
                  <a:lnTo>
                    <a:pt x="612" y="367"/>
                  </a:lnTo>
                  <a:lnTo>
                    <a:pt x="611" y="367"/>
                  </a:lnTo>
                  <a:lnTo>
                    <a:pt x="611" y="367"/>
                  </a:lnTo>
                  <a:lnTo>
                    <a:pt x="610" y="367"/>
                  </a:lnTo>
                  <a:lnTo>
                    <a:pt x="608" y="368"/>
                  </a:lnTo>
                  <a:lnTo>
                    <a:pt x="607" y="368"/>
                  </a:lnTo>
                  <a:lnTo>
                    <a:pt x="607" y="368"/>
                  </a:lnTo>
                  <a:lnTo>
                    <a:pt x="606" y="368"/>
                  </a:lnTo>
                  <a:lnTo>
                    <a:pt x="605" y="368"/>
                  </a:lnTo>
                  <a:lnTo>
                    <a:pt x="605" y="367"/>
                  </a:lnTo>
                  <a:lnTo>
                    <a:pt x="604" y="367"/>
                  </a:lnTo>
                  <a:lnTo>
                    <a:pt x="603" y="366"/>
                  </a:lnTo>
                  <a:lnTo>
                    <a:pt x="603" y="366"/>
                  </a:lnTo>
                  <a:lnTo>
                    <a:pt x="602" y="366"/>
                  </a:lnTo>
                  <a:lnTo>
                    <a:pt x="600" y="365"/>
                  </a:lnTo>
                  <a:lnTo>
                    <a:pt x="600" y="365"/>
                  </a:lnTo>
                  <a:lnTo>
                    <a:pt x="599" y="364"/>
                  </a:lnTo>
                  <a:lnTo>
                    <a:pt x="598" y="363"/>
                  </a:lnTo>
                  <a:lnTo>
                    <a:pt x="594" y="361"/>
                  </a:lnTo>
                  <a:lnTo>
                    <a:pt x="593" y="360"/>
                  </a:lnTo>
                  <a:lnTo>
                    <a:pt x="591" y="359"/>
                  </a:lnTo>
                  <a:lnTo>
                    <a:pt x="590" y="359"/>
                  </a:lnTo>
                  <a:lnTo>
                    <a:pt x="589" y="358"/>
                  </a:lnTo>
                  <a:lnTo>
                    <a:pt x="587" y="358"/>
                  </a:lnTo>
                  <a:lnTo>
                    <a:pt x="586" y="358"/>
                  </a:lnTo>
                  <a:lnTo>
                    <a:pt x="585" y="358"/>
                  </a:lnTo>
                  <a:lnTo>
                    <a:pt x="584" y="358"/>
                  </a:lnTo>
                  <a:lnTo>
                    <a:pt x="583" y="358"/>
                  </a:lnTo>
                  <a:lnTo>
                    <a:pt x="583" y="358"/>
                  </a:lnTo>
                  <a:lnTo>
                    <a:pt x="582" y="358"/>
                  </a:lnTo>
                  <a:lnTo>
                    <a:pt x="581" y="358"/>
                  </a:lnTo>
                  <a:lnTo>
                    <a:pt x="579" y="359"/>
                  </a:lnTo>
                  <a:lnTo>
                    <a:pt x="579" y="360"/>
                  </a:lnTo>
                  <a:lnTo>
                    <a:pt x="578" y="361"/>
                  </a:lnTo>
                  <a:lnTo>
                    <a:pt x="575" y="363"/>
                  </a:lnTo>
                  <a:lnTo>
                    <a:pt x="574" y="364"/>
                  </a:lnTo>
                  <a:lnTo>
                    <a:pt x="569" y="367"/>
                  </a:lnTo>
                  <a:lnTo>
                    <a:pt x="568" y="368"/>
                  </a:lnTo>
                  <a:lnTo>
                    <a:pt x="567" y="369"/>
                  </a:lnTo>
                  <a:lnTo>
                    <a:pt x="566" y="369"/>
                  </a:lnTo>
                  <a:lnTo>
                    <a:pt x="565" y="369"/>
                  </a:lnTo>
                  <a:lnTo>
                    <a:pt x="565" y="369"/>
                  </a:lnTo>
                  <a:lnTo>
                    <a:pt x="564" y="369"/>
                  </a:lnTo>
                  <a:lnTo>
                    <a:pt x="562" y="370"/>
                  </a:lnTo>
                  <a:lnTo>
                    <a:pt x="559" y="370"/>
                  </a:lnTo>
                  <a:lnTo>
                    <a:pt x="558" y="370"/>
                  </a:lnTo>
                  <a:lnTo>
                    <a:pt x="557" y="370"/>
                  </a:lnTo>
                  <a:lnTo>
                    <a:pt x="556" y="369"/>
                  </a:lnTo>
                  <a:lnTo>
                    <a:pt x="555" y="369"/>
                  </a:lnTo>
                  <a:lnTo>
                    <a:pt x="555" y="369"/>
                  </a:lnTo>
                  <a:lnTo>
                    <a:pt x="553" y="368"/>
                  </a:lnTo>
                  <a:lnTo>
                    <a:pt x="552" y="367"/>
                  </a:lnTo>
                  <a:lnTo>
                    <a:pt x="551" y="367"/>
                  </a:lnTo>
                  <a:lnTo>
                    <a:pt x="549" y="365"/>
                  </a:lnTo>
                  <a:lnTo>
                    <a:pt x="548" y="364"/>
                  </a:lnTo>
                  <a:lnTo>
                    <a:pt x="546" y="362"/>
                  </a:lnTo>
                  <a:lnTo>
                    <a:pt x="543" y="360"/>
                  </a:lnTo>
                  <a:lnTo>
                    <a:pt x="542" y="359"/>
                  </a:lnTo>
                  <a:lnTo>
                    <a:pt x="542" y="359"/>
                  </a:lnTo>
                  <a:lnTo>
                    <a:pt x="541" y="358"/>
                  </a:lnTo>
                  <a:lnTo>
                    <a:pt x="538" y="357"/>
                  </a:lnTo>
                  <a:lnTo>
                    <a:pt x="537" y="357"/>
                  </a:lnTo>
                  <a:lnTo>
                    <a:pt x="533" y="354"/>
                  </a:lnTo>
                  <a:lnTo>
                    <a:pt x="530" y="352"/>
                  </a:lnTo>
                  <a:lnTo>
                    <a:pt x="529" y="351"/>
                  </a:lnTo>
                  <a:lnTo>
                    <a:pt x="528" y="351"/>
                  </a:lnTo>
                  <a:lnTo>
                    <a:pt x="527" y="351"/>
                  </a:lnTo>
                  <a:lnTo>
                    <a:pt x="523" y="349"/>
                  </a:lnTo>
                  <a:lnTo>
                    <a:pt x="520" y="348"/>
                  </a:lnTo>
                  <a:lnTo>
                    <a:pt x="518" y="348"/>
                  </a:lnTo>
                  <a:lnTo>
                    <a:pt x="517" y="347"/>
                  </a:lnTo>
                  <a:lnTo>
                    <a:pt x="515" y="347"/>
                  </a:lnTo>
                  <a:lnTo>
                    <a:pt x="514" y="346"/>
                  </a:lnTo>
                  <a:lnTo>
                    <a:pt x="512" y="346"/>
                  </a:lnTo>
                  <a:lnTo>
                    <a:pt x="511" y="346"/>
                  </a:lnTo>
                  <a:lnTo>
                    <a:pt x="509" y="345"/>
                  </a:lnTo>
                  <a:lnTo>
                    <a:pt x="508" y="345"/>
                  </a:lnTo>
                  <a:lnTo>
                    <a:pt x="507" y="345"/>
                  </a:lnTo>
                  <a:lnTo>
                    <a:pt x="506" y="346"/>
                  </a:lnTo>
                  <a:lnTo>
                    <a:pt x="505" y="346"/>
                  </a:lnTo>
                  <a:lnTo>
                    <a:pt x="505" y="346"/>
                  </a:lnTo>
                  <a:lnTo>
                    <a:pt x="504" y="347"/>
                  </a:lnTo>
                  <a:lnTo>
                    <a:pt x="503" y="347"/>
                  </a:lnTo>
                  <a:lnTo>
                    <a:pt x="502" y="348"/>
                  </a:lnTo>
                  <a:lnTo>
                    <a:pt x="501" y="348"/>
                  </a:lnTo>
                  <a:lnTo>
                    <a:pt x="499" y="350"/>
                  </a:lnTo>
                  <a:lnTo>
                    <a:pt x="497" y="353"/>
                  </a:lnTo>
                  <a:lnTo>
                    <a:pt x="492" y="357"/>
                  </a:lnTo>
                  <a:lnTo>
                    <a:pt x="490" y="358"/>
                  </a:lnTo>
                  <a:lnTo>
                    <a:pt x="486" y="361"/>
                  </a:lnTo>
                  <a:lnTo>
                    <a:pt x="484" y="363"/>
                  </a:lnTo>
                  <a:lnTo>
                    <a:pt x="483" y="364"/>
                  </a:lnTo>
                  <a:lnTo>
                    <a:pt x="482" y="365"/>
                  </a:lnTo>
                  <a:lnTo>
                    <a:pt x="481" y="366"/>
                  </a:lnTo>
                  <a:lnTo>
                    <a:pt x="480" y="367"/>
                  </a:lnTo>
                  <a:lnTo>
                    <a:pt x="480" y="367"/>
                  </a:lnTo>
                  <a:lnTo>
                    <a:pt x="479" y="368"/>
                  </a:lnTo>
                  <a:lnTo>
                    <a:pt x="479" y="369"/>
                  </a:lnTo>
                  <a:lnTo>
                    <a:pt x="478" y="370"/>
                  </a:lnTo>
                  <a:lnTo>
                    <a:pt x="477" y="375"/>
                  </a:lnTo>
                  <a:lnTo>
                    <a:pt x="476" y="376"/>
                  </a:lnTo>
                  <a:lnTo>
                    <a:pt x="476" y="377"/>
                  </a:lnTo>
                  <a:lnTo>
                    <a:pt x="475" y="378"/>
                  </a:lnTo>
                  <a:lnTo>
                    <a:pt x="474" y="380"/>
                  </a:lnTo>
                  <a:lnTo>
                    <a:pt x="473" y="383"/>
                  </a:lnTo>
                  <a:lnTo>
                    <a:pt x="472" y="385"/>
                  </a:lnTo>
                  <a:lnTo>
                    <a:pt x="471" y="386"/>
                  </a:lnTo>
                  <a:lnTo>
                    <a:pt x="470" y="387"/>
                  </a:lnTo>
                  <a:lnTo>
                    <a:pt x="466" y="391"/>
                  </a:lnTo>
                  <a:lnTo>
                    <a:pt x="462" y="396"/>
                  </a:lnTo>
                  <a:lnTo>
                    <a:pt x="461" y="397"/>
                  </a:lnTo>
                  <a:lnTo>
                    <a:pt x="459" y="399"/>
                  </a:lnTo>
                  <a:lnTo>
                    <a:pt x="459" y="400"/>
                  </a:lnTo>
                  <a:lnTo>
                    <a:pt x="455" y="406"/>
                  </a:lnTo>
                  <a:lnTo>
                    <a:pt x="454" y="408"/>
                  </a:lnTo>
                  <a:lnTo>
                    <a:pt x="452" y="412"/>
                  </a:lnTo>
                  <a:lnTo>
                    <a:pt x="451" y="414"/>
                  </a:lnTo>
                  <a:lnTo>
                    <a:pt x="449" y="418"/>
                  </a:lnTo>
                  <a:lnTo>
                    <a:pt x="448" y="421"/>
                  </a:lnTo>
                  <a:lnTo>
                    <a:pt x="447" y="423"/>
                  </a:lnTo>
                  <a:lnTo>
                    <a:pt x="446" y="425"/>
                  </a:lnTo>
                  <a:lnTo>
                    <a:pt x="445" y="429"/>
                  </a:lnTo>
                  <a:lnTo>
                    <a:pt x="444" y="431"/>
                  </a:lnTo>
                  <a:lnTo>
                    <a:pt x="444" y="432"/>
                  </a:lnTo>
                  <a:lnTo>
                    <a:pt x="442" y="435"/>
                  </a:lnTo>
                  <a:lnTo>
                    <a:pt x="441" y="436"/>
                  </a:lnTo>
                  <a:lnTo>
                    <a:pt x="440" y="438"/>
                  </a:lnTo>
                  <a:lnTo>
                    <a:pt x="439" y="440"/>
                  </a:lnTo>
                  <a:lnTo>
                    <a:pt x="439" y="442"/>
                  </a:lnTo>
                  <a:lnTo>
                    <a:pt x="439" y="443"/>
                  </a:lnTo>
                  <a:lnTo>
                    <a:pt x="438" y="444"/>
                  </a:lnTo>
                  <a:lnTo>
                    <a:pt x="438" y="447"/>
                  </a:lnTo>
                  <a:lnTo>
                    <a:pt x="437" y="451"/>
                  </a:lnTo>
                  <a:lnTo>
                    <a:pt x="436" y="453"/>
                  </a:lnTo>
                  <a:lnTo>
                    <a:pt x="436" y="455"/>
                  </a:lnTo>
                  <a:lnTo>
                    <a:pt x="436" y="456"/>
                  </a:lnTo>
                  <a:lnTo>
                    <a:pt x="435" y="458"/>
                  </a:lnTo>
                  <a:lnTo>
                    <a:pt x="435" y="458"/>
                  </a:lnTo>
                  <a:lnTo>
                    <a:pt x="434" y="460"/>
                  </a:lnTo>
                  <a:lnTo>
                    <a:pt x="434" y="461"/>
                  </a:lnTo>
                  <a:lnTo>
                    <a:pt x="433" y="461"/>
                  </a:lnTo>
                  <a:lnTo>
                    <a:pt x="432" y="462"/>
                  </a:lnTo>
                  <a:lnTo>
                    <a:pt x="431" y="463"/>
                  </a:lnTo>
                  <a:lnTo>
                    <a:pt x="431" y="463"/>
                  </a:lnTo>
                  <a:lnTo>
                    <a:pt x="430" y="464"/>
                  </a:lnTo>
                  <a:lnTo>
                    <a:pt x="429" y="464"/>
                  </a:lnTo>
                  <a:lnTo>
                    <a:pt x="429" y="464"/>
                  </a:lnTo>
                  <a:lnTo>
                    <a:pt x="428" y="464"/>
                  </a:lnTo>
                  <a:lnTo>
                    <a:pt x="428" y="464"/>
                  </a:lnTo>
                  <a:lnTo>
                    <a:pt x="427" y="464"/>
                  </a:lnTo>
                  <a:lnTo>
                    <a:pt x="426" y="464"/>
                  </a:lnTo>
                  <a:lnTo>
                    <a:pt x="426" y="463"/>
                  </a:lnTo>
                  <a:lnTo>
                    <a:pt x="425" y="463"/>
                  </a:lnTo>
                  <a:lnTo>
                    <a:pt x="425" y="462"/>
                  </a:lnTo>
                  <a:lnTo>
                    <a:pt x="425" y="462"/>
                  </a:lnTo>
                  <a:lnTo>
                    <a:pt x="425" y="461"/>
                  </a:lnTo>
                  <a:lnTo>
                    <a:pt x="425" y="460"/>
                  </a:lnTo>
                  <a:lnTo>
                    <a:pt x="425" y="460"/>
                  </a:lnTo>
                  <a:lnTo>
                    <a:pt x="424" y="456"/>
                  </a:lnTo>
                  <a:lnTo>
                    <a:pt x="423" y="452"/>
                  </a:lnTo>
                  <a:lnTo>
                    <a:pt x="423" y="450"/>
                  </a:lnTo>
                  <a:lnTo>
                    <a:pt x="423" y="447"/>
                  </a:lnTo>
                  <a:lnTo>
                    <a:pt x="423" y="445"/>
                  </a:lnTo>
                  <a:lnTo>
                    <a:pt x="422" y="442"/>
                  </a:lnTo>
                  <a:lnTo>
                    <a:pt x="421" y="439"/>
                  </a:lnTo>
                  <a:lnTo>
                    <a:pt x="421" y="438"/>
                  </a:lnTo>
                  <a:lnTo>
                    <a:pt x="421" y="436"/>
                  </a:lnTo>
                  <a:lnTo>
                    <a:pt x="421" y="432"/>
                  </a:lnTo>
                  <a:lnTo>
                    <a:pt x="420" y="431"/>
                  </a:lnTo>
                  <a:lnTo>
                    <a:pt x="420" y="429"/>
                  </a:lnTo>
                  <a:lnTo>
                    <a:pt x="420" y="428"/>
                  </a:lnTo>
                  <a:lnTo>
                    <a:pt x="420" y="427"/>
                  </a:lnTo>
                  <a:lnTo>
                    <a:pt x="419" y="426"/>
                  </a:lnTo>
                  <a:lnTo>
                    <a:pt x="419" y="425"/>
                  </a:lnTo>
                  <a:lnTo>
                    <a:pt x="418" y="424"/>
                  </a:lnTo>
                  <a:lnTo>
                    <a:pt x="417" y="423"/>
                  </a:lnTo>
                  <a:lnTo>
                    <a:pt x="416" y="422"/>
                  </a:lnTo>
                  <a:lnTo>
                    <a:pt x="416" y="421"/>
                  </a:lnTo>
                  <a:lnTo>
                    <a:pt x="415" y="421"/>
                  </a:lnTo>
                  <a:lnTo>
                    <a:pt x="415" y="421"/>
                  </a:lnTo>
                  <a:lnTo>
                    <a:pt x="414" y="421"/>
                  </a:lnTo>
                  <a:lnTo>
                    <a:pt x="413" y="420"/>
                  </a:lnTo>
                  <a:lnTo>
                    <a:pt x="412" y="420"/>
                  </a:lnTo>
                  <a:lnTo>
                    <a:pt x="411" y="420"/>
                  </a:lnTo>
                  <a:lnTo>
                    <a:pt x="410" y="420"/>
                  </a:lnTo>
                  <a:lnTo>
                    <a:pt x="410" y="420"/>
                  </a:lnTo>
                  <a:lnTo>
                    <a:pt x="409" y="420"/>
                  </a:lnTo>
                  <a:lnTo>
                    <a:pt x="408" y="420"/>
                  </a:lnTo>
                  <a:lnTo>
                    <a:pt x="406" y="421"/>
                  </a:lnTo>
                  <a:lnTo>
                    <a:pt x="405" y="421"/>
                  </a:lnTo>
                  <a:lnTo>
                    <a:pt x="403" y="421"/>
                  </a:lnTo>
                  <a:lnTo>
                    <a:pt x="401" y="422"/>
                  </a:lnTo>
                  <a:lnTo>
                    <a:pt x="399" y="422"/>
                  </a:lnTo>
                  <a:lnTo>
                    <a:pt x="396" y="422"/>
                  </a:lnTo>
                  <a:lnTo>
                    <a:pt x="392" y="423"/>
                  </a:lnTo>
                  <a:lnTo>
                    <a:pt x="390" y="423"/>
                  </a:lnTo>
                  <a:lnTo>
                    <a:pt x="387" y="424"/>
                  </a:lnTo>
                  <a:lnTo>
                    <a:pt x="386" y="424"/>
                  </a:lnTo>
                  <a:lnTo>
                    <a:pt x="385" y="424"/>
                  </a:lnTo>
                  <a:lnTo>
                    <a:pt x="383" y="423"/>
                  </a:lnTo>
                  <a:lnTo>
                    <a:pt x="379" y="423"/>
                  </a:lnTo>
                  <a:lnTo>
                    <a:pt x="378" y="422"/>
                  </a:lnTo>
                  <a:lnTo>
                    <a:pt x="376" y="421"/>
                  </a:lnTo>
                  <a:lnTo>
                    <a:pt x="374" y="420"/>
                  </a:lnTo>
                  <a:lnTo>
                    <a:pt x="373" y="420"/>
                  </a:lnTo>
                  <a:lnTo>
                    <a:pt x="372" y="419"/>
                  </a:lnTo>
                  <a:lnTo>
                    <a:pt x="369" y="417"/>
                  </a:lnTo>
                  <a:lnTo>
                    <a:pt x="368" y="416"/>
                  </a:lnTo>
                  <a:lnTo>
                    <a:pt x="368" y="416"/>
                  </a:lnTo>
                  <a:lnTo>
                    <a:pt x="367" y="415"/>
                  </a:lnTo>
                  <a:lnTo>
                    <a:pt x="365" y="414"/>
                  </a:lnTo>
                  <a:lnTo>
                    <a:pt x="364" y="414"/>
                  </a:lnTo>
                  <a:lnTo>
                    <a:pt x="362" y="414"/>
                  </a:lnTo>
                  <a:lnTo>
                    <a:pt x="362" y="413"/>
                  </a:lnTo>
                  <a:lnTo>
                    <a:pt x="361" y="413"/>
                  </a:lnTo>
                  <a:lnTo>
                    <a:pt x="360" y="413"/>
                  </a:lnTo>
                  <a:lnTo>
                    <a:pt x="359" y="413"/>
                  </a:lnTo>
                  <a:lnTo>
                    <a:pt x="358" y="413"/>
                  </a:lnTo>
                  <a:lnTo>
                    <a:pt x="357" y="413"/>
                  </a:lnTo>
                  <a:lnTo>
                    <a:pt x="354" y="413"/>
                  </a:lnTo>
                  <a:lnTo>
                    <a:pt x="353" y="413"/>
                  </a:lnTo>
                  <a:lnTo>
                    <a:pt x="352" y="413"/>
                  </a:lnTo>
                  <a:lnTo>
                    <a:pt x="352" y="413"/>
                  </a:lnTo>
                  <a:lnTo>
                    <a:pt x="351" y="413"/>
                  </a:lnTo>
                  <a:lnTo>
                    <a:pt x="351" y="413"/>
                  </a:lnTo>
                  <a:lnTo>
                    <a:pt x="350" y="413"/>
                  </a:lnTo>
                  <a:lnTo>
                    <a:pt x="350" y="412"/>
                  </a:lnTo>
                  <a:lnTo>
                    <a:pt x="350" y="412"/>
                  </a:lnTo>
                  <a:lnTo>
                    <a:pt x="349" y="412"/>
                  </a:lnTo>
                  <a:lnTo>
                    <a:pt x="349" y="411"/>
                  </a:lnTo>
                  <a:lnTo>
                    <a:pt x="349" y="411"/>
                  </a:lnTo>
                  <a:lnTo>
                    <a:pt x="348" y="410"/>
                  </a:lnTo>
                  <a:lnTo>
                    <a:pt x="348" y="409"/>
                  </a:lnTo>
                  <a:lnTo>
                    <a:pt x="348" y="409"/>
                  </a:lnTo>
                  <a:lnTo>
                    <a:pt x="347" y="405"/>
                  </a:lnTo>
                  <a:lnTo>
                    <a:pt x="347" y="402"/>
                  </a:lnTo>
                  <a:lnTo>
                    <a:pt x="347" y="401"/>
                  </a:lnTo>
                  <a:lnTo>
                    <a:pt x="347" y="401"/>
                  </a:lnTo>
                  <a:lnTo>
                    <a:pt x="346" y="400"/>
                  </a:lnTo>
                  <a:lnTo>
                    <a:pt x="346" y="399"/>
                  </a:lnTo>
                  <a:lnTo>
                    <a:pt x="345" y="398"/>
                  </a:lnTo>
                  <a:lnTo>
                    <a:pt x="345" y="397"/>
                  </a:lnTo>
                  <a:lnTo>
                    <a:pt x="344" y="396"/>
                  </a:lnTo>
                  <a:lnTo>
                    <a:pt x="343" y="394"/>
                  </a:lnTo>
                  <a:lnTo>
                    <a:pt x="342" y="394"/>
                  </a:lnTo>
                  <a:lnTo>
                    <a:pt x="341" y="393"/>
                  </a:lnTo>
                  <a:lnTo>
                    <a:pt x="340" y="393"/>
                  </a:lnTo>
                  <a:lnTo>
                    <a:pt x="339" y="392"/>
                  </a:lnTo>
                  <a:lnTo>
                    <a:pt x="338" y="392"/>
                  </a:lnTo>
                  <a:lnTo>
                    <a:pt x="337" y="392"/>
                  </a:lnTo>
                  <a:lnTo>
                    <a:pt x="336" y="391"/>
                  </a:lnTo>
                  <a:lnTo>
                    <a:pt x="335" y="391"/>
                  </a:lnTo>
                  <a:lnTo>
                    <a:pt x="331" y="392"/>
                  </a:lnTo>
                  <a:lnTo>
                    <a:pt x="330" y="392"/>
                  </a:lnTo>
                  <a:lnTo>
                    <a:pt x="328" y="392"/>
                  </a:lnTo>
                  <a:lnTo>
                    <a:pt x="327" y="391"/>
                  </a:lnTo>
                  <a:lnTo>
                    <a:pt x="326" y="391"/>
                  </a:lnTo>
                  <a:lnTo>
                    <a:pt x="325" y="391"/>
                  </a:lnTo>
                  <a:lnTo>
                    <a:pt x="323" y="391"/>
                  </a:lnTo>
                  <a:lnTo>
                    <a:pt x="322" y="390"/>
                  </a:lnTo>
                  <a:lnTo>
                    <a:pt x="321" y="390"/>
                  </a:lnTo>
                  <a:lnTo>
                    <a:pt x="315" y="386"/>
                  </a:lnTo>
                  <a:lnTo>
                    <a:pt x="313" y="385"/>
                  </a:lnTo>
                  <a:lnTo>
                    <a:pt x="310" y="383"/>
                  </a:lnTo>
                  <a:lnTo>
                    <a:pt x="309" y="382"/>
                  </a:lnTo>
                  <a:lnTo>
                    <a:pt x="307" y="382"/>
                  </a:lnTo>
                  <a:lnTo>
                    <a:pt x="307" y="381"/>
                  </a:lnTo>
                  <a:lnTo>
                    <a:pt x="306" y="381"/>
                  </a:lnTo>
                  <a:lnTo>
                    <a:pt x="305" y="381"/>
                  </a:lnTo>
                  <a:lnTo>
                    <a:pt x="305" y="381"/>
                  </a:lnTo>
                  <a:lnTo>
                    <a:pt x="304" y="381"/>
                  </a:lnTo>
                  <a:lnTo>
                    <a:pt x="304" y="381"/>
                  </a:lnTo>
                  <a:lnTo>
                    <a:pt x="302" y="381"/>
                  </a:lnTo>
                  <a:lnTo>
                    <a:pt x="300" y="382"/>
                  </a:lnTo>
                  <a:lnTo>
                    <a:pt x="299" y="382"/>
                  </a:lnTo>
                  <a:lnTo>
                    <a:pt x="297" y="382"/>
                  </a:lnTo>
                  <a:lnTo>
                    <a:pt x="296" y="383"/>
                  </a:lnTo>
                  <a:lnTo>
                    <a:pt x="293" y="383"/>
                  </a:lnTo>
                  <a:lnTo>
                    <a:pt x="291" y="383"/>
                  </a:lnTo>
                  <a:lnTo>
                    <a:pt x="288" y="383"/>
                  </a:lnTo>
                  <a:lnTo>
                    <a:pt x="285" y="382"/>
                  </a:lnTo>
                  <a:lnTo>
                    <a:pt x="284" y="382"/>
                  </a:lnTo>
                  <a:lnTo>
                    <a:pt x="283" y="382"/>
                  </a:lnTo>
                  <a:lnTo>
                    <a:pt x="282" y="382"/>
                  </a:lnTo>
                  <a:lnTo>
                    <a:pt x="282" y="383"/>
                  </a:lnTo>
                  <a:lnTo>
                    <a:pt x="281" y="383"/>
                  </a:lnTo>
                  <a:lnTo>
                    <a:pt x="280" y="383"/>
                  </a:lnTo>
                  <a:lnTo>
                    <a:pt x="280" y="384"/>
                  </a:lnTo>
                  <a:lnTo>
                    <a:pt x="279" y="385"/>
                  </a:lnTo>
                  <a:lnTo>
                    <a:pt x="278" y="386"/>
                  </a:lnTo>
                  <a:lnTo>
                    <a:pt x="277" y="387"/>
                  </a:lnTo>
                  <a:lnTo>
                    <a:pt x="276" y="389"/>
                  </a:lnTo>
                  <a:lnTo>
                    <a:pt x="275" y="392"/>
                  </a:lnTo>
                  <a:lnTo>
                    <a:pt x="274" y="394"/>
                  </a:lnTo>
                  <a:lnTo>
                    <a:pt x="273" y="397"/>
                  </a:lnTo>
                  <a:lnTo>
                    <a:pt x="272" y="399"/>
                  </a:lnTo>
                  <a:lnTo>
                    <a:pt x="272" y="400"/>
                  </a:lnTo>
                  <a:lnTo>
                    <a:pt x="271" y="401"/>
                  </a:lnTo>
                  <a:lnTo>
                    <a:pt x="269" y="405"/>
                  </a:lnTo>
                  <a:lnTo>
                    <a:pt x="266" y="409"/>
                  </a:lnTo>
                  <a:lnTo>
                    <a:pt x="265" y="410"/>
                  </a:lnTo>
                  <a:lnTo>
                    <a:pt x="264" y="411"/>
                  </a:lnTo>
                  <a:lnTo>
                    <a:pt x="264" y="412"/>
                  </a:lnTo>
                  <a:lnTo>
                    <a:pt x="262" y="413"/>
                  </a:lnTo>
                  <a:lnTo>
                    <a:pt x="261" y="413"/>
                  </a:lnTo>
                  <a:lnTo>
                    <a:pt x="259" y="415"/>
                  </a:lnTo>
                  <a:lnTo>
                    <a:pt x="258" y="416"/>
                  </a:lnTo>
                  <a:lnTo>
                    <a:pt x="256" y="416"/>
                  </a:lnTo>
                  <a:lnTo>
                    <a:pt x="256" y="417"/>
                  </a:lnTo>
                  <a:lnTo>
                    <a:pt x="255" y="417"/>
                  </a:lnTo>
                  <a:lnTo>
                    <a:pt x="254" y="417"/>
                  </a:lnTo>
                  <a:lnTo>
                    <a:pt x="253" y="417"/>
                  </a:lnTo>
                  <a:lnTo>
                    <a:pt x="252" y="416"/>
                  </a:lnTo>
                  <a:lnTo>
                    <a:pt x="251" y="416"/>
                  </a:lnTo>
                  <a:lnTo>
                    <a:pt x="250" y="416"/>
                  </a:lnTo>
                  <a:lnTo>
                    <a:pt x="250" y="416"/>
                  </a:lnTo>
                  <a:lnTo>
                    <a:pt x="248" y="414"/>
                  </a:lnTo>
                  <a:lnTo>
                    <a:pt x="248" y="414"/>
                  </a:lnTo>
                  <a:lnTo>
                    <a:pt x="247" y="414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5" y="413"/>
                  </a:lnTo>
                  <a:lnTo>
                    <a:pt x="245" y="413"/>
                  </a:lnTo>
                  <a:lnTo>
                    <a:pt x="244" y="414"/>
                  </a:lnTo>
                  <a:lnTo>
                    <a:pt x="242" y="415"/>
                  </a:lnTo>
                  <a:lnTo>
                    <a:pt x="242" y="415"/>
                  </a:lnTo>
                  <a:lnTo>
                    <a:pt x="241" y="415"/>
                  </a:lnTo>
                  <a:lnTo>
                    <a:pt x="241" y="415"/>
                  </a:lnTo>
                  <a:lnTo>
                    <a:pt x="240" y="415"/>
                  </a:lnTo>
                  <a:lnTo>
                    <a:pt x="239" y="415"/>
                  </a:lnTo>
                  <a:lnTo>
                    <a:pt x="238" y="415"/>
                  </a:lnTo>
                  <a:lnTo>
                    <a:pt x="237" y="415"/>
                  </a:lnTo>
                  <a:lnTo>
                    <a:pt x="236" y="415"/>
                  </a:lnTo>
                  <a:lnTo>
                    <a:pt x="233" y="415"/>
                  </a:lnTo>
                  <a:lnTo>
                    <a:pt x="231" y="414"/>
                  </a:lnTo>
                  <a:lnTo>
                    <a:pt x="229" y="414"/>
                  </a:lnTo>
                  <a:lnTo>
                    <a:pt x="227" y="414"/>
                  </a:lnTo>
                  <a:lnTo>
                    <a:pt x="226" y="414"/>
                  </a:lnTo>
                  <a:lnTo>
                    <a:pt x="224" y="414"/>
                  </a:lnTo>
                  <a:lnTo>
                    <a:pt x="220" y="414"/>
                  </a:lnTo>
                  <a:lnTo>
                    <a:pt x="218" y="414"/>
                  </a:lnTo>
                  <a:lnTo>
                    <a:pt x="215" y="414"/>
                  </a:lnTo>
                  <a:lnTo>
                    <a:pt x="212" y="413"/>
                  </a:lnTo>
                  <a:lnTo>
                    <a:pt x="207" y="413"/>
                  </a:lnTo>
                  <a:lnTo>
                    <a:pt x="195" y="412"/>
                  </a:lnTo>
                  <a:lnTo>
                    <a:pt x="192" y="411"/>
                  </a:lnTo>
                  <a:lnTo>
                    <a:pt x="191" y="411"/>
                  </a:lnTo>
                  <a:lnTo>
                    <a:pt x="189" y="411"/>
                  </a:lnTo>
                  <a:lnTo>
                    <a:pt x="188" y="411"/>
                  </a:lnTo>
                  <a:lnTo>
                    <a:pt x="185" y="412"/>
                  </a:lnTo>
                  <a:lnTo>
                    <a:pt x="183" y="412"/>
                  </a:lnTo>
                  <a:lnTo>
                    <a:pt x="181" y="412"/>
                  </a:lnTo>
                  <a:lnTo>
                    <a:pt x="178" y="411"/>
                  </a:lnTo>
                  <a:lnTo>
                    <a:pt x="173" y="411"/>
                  </a:lnTo>
                  <a:lnTo>
                    <a:pt x="172" y="411"/>
                  </a:lnTo>
                  <a:lnTo>
                    <a:pt x="171" y="411"/>
                  </a:lnTo>
                  <a:lnTo>
                    <a:pt x="169" y="411"/>
                  </a:lnTo>
                  <a:lnTo>
                    <a:pt x="168" y="410"/>
                  </a:lnTo>
                  <a:lnTo>
                    <a:pt x="167" y="410"/>
                  </a:lnTo>
                  <a:lnTo>
                    <a:pt x="165" y="409"/>
                  </a:lnTo>
                  <a:lnTo>
                    <a:pt x="164" y="409"/>
                  </a:lnTo>
                  <a:lnTo>
                    <a:pt x="162" y="408"/>
                  </a:lnTo>
                  <a:lnTo>
                    <a:pt x="161" y="407"/>
                  </a:lnTo>
                  <a:lnTo>
                    <a:pt x="159" y="406"/>
                  </a:lnTo>
                  <a:lnTo>
                    <a:pt x="153" y="403"/>
                  </a:lnTo>
                  <a:lnTo>
                    <a:pt x="144" y="399"/>
                  </a:lnTo>
                  <a:lnTo>
                    <a:pt x="141" y="397"/>
                  </a:lnTo>
                  <a:lnTo>
                    <a:pt x="140" y="396"/>
                  </a:lnTo>
                  <a:lnTo>
                    <a:pt x="139" y="396"/>
                  </a:lnTo>
                  <a:lnTo>
                    <a:pt x="138" y="395"/>
                  </a:lnTo>
                  <a:lnTo>
                    <a:pt x="136" y="394"/>
                  </a:lnTo>
                  <a:lnTo>
                    <a:pt x="135" y="392"/>
                  </a:lnTo>
                  <a:lnTo>
                    <a:pt x="133" y="391"/>
                  </a:lnTo>
                  <a:lnTo>
                    <a:pt x="131" y="390"/>
                  </a:lnTo>
                  <a:lnTo>
                    <a:pt x="130" y="388"/>
                  </a:lnTo>
                  <a:lnTo>
                    <a:pt x="129" y="387"/>
                  </a:lnTo>
                  <a:lnTo>
                    <a:pt x="128" y="386"/>
                  </a:lnTo>
                  <a:lnTo>
                    <a:pt x="128" y="386"/>
                  </a:lnTo>
                  <a:lnTo>
                    <a:pt x="127" y="385"/>
                  </a:lnTo>
                  <a:lnTo>
                    <a:pt x="127" y="384"/>
                  </a:lnTo>
                  <a:lnTo>
                    <a:pt x="127" y="384"/>
                  </a:lnTo>
                  <a:lnTo>
                    <a:pt x="126" y="382"/>
                  </a:lnTo>
                  <a:lnTo>
                    <a:pt x="125" y="380"/>
                  </a:lnTo>
                  <a:lnTo>
                    <a:pt x="125" y="379"/>
                  </a:lnTo>
                  <a:lnTo>
                    <a:pt x="125" y="379"/>
                  </a:lnTo>
                  <a:lnTo>
                    <a:pt x="125" y="378"/>
                  </a:lnTo>
                  <a:lnTo>
                    <a:pt x="125" y="378"/>
                  </a:lnTo>
                  <a:lnTo>
                    <a:pt x="124" y="377"/>
                  </a:lnTo>
                  <a:lnTo>
                    <a:pt x="124" y="377"/>
                  </a:lnTo>
                  <a:lnTo>
                    <a:pt x="123" y="377"/>
                  </a:lnTo>
                  <a:lnTo>
                    <a:pt x="123" y="376"/>
                  </a:lnTo>
                  <a:lnTo>
                    <a:pt x="122" y="376"/>
                  </a:lnTo>
                  <a:lnTo>
                    <a:pt x="121" y="376"/>
                  </a:lnTo>
                  <a:lnTo>
                    <a:pt x="120" y="376"/>
                  </a:lnTo>
                  <a:lnTo>
                    <a:pt x="120" y="376"/>
                  </a:lnTo>
                  <a:lnTo>
                    <a:pt x="119" y="375"/>
                  </a:lnTo>
                  <a:lnTo>
                    <a:pt x="119" y="375"/>
                  </a:lnTo>
                  <a:lnTo>
                    <a:pt x="118" y="374"/>
                  </a:lnTo>
                  <a:lnTo>
                    <a:pt x="117" y="373"/>
                  </a:lnTo>
                  <a:lnTo>
                    <a:pt x="116" y="372"/>
                  </a:lnTo>
                  <a:lnTo>
                    <a:pt x="115" y="372"/>
                  </a:lnTo>
                  <a:lnTo>
                    <a:pt x="115" y="371"/>
                  </a:lnTo>
                  <a:lnTo>
                    <a:pt x="114" y="371"/>
                  </a:lnTo>
                  <a:lnTo>
                    <a:pt x="113" y="371"/>
                  </a:lnTo>
                  <a:lnTo>
                    <a:pt x="110" y="370"/>
                  </a:lnTo>
                  <a:lnTo>
                    <a:pt x="110" y="370"/>
                  </a:lnTo>
                  <a:lnTo>
                    <a:pt x="109" y="370"/>
                  </a:lnTo>
                  <a:lnTo>
                    <a:pt x="109" y="369"/>
                  </a:lnTo>
                  <a:lnTo>
                    <a:pt x="109" y="369"/>
                  </a:lnTo>
                  <a:lnTo>
                    <a:pt x="109" y="369"/>
                  </a:lnTo>
                  <a:lnTo>
                    <a:pt x="108" y="368"/>
                  </a:lnTo>
                  <a:lnTo>
                    <a:pt x="108" y="368"/>
                  </a:lnTo>
                  <a:lnTo>
                    <a:pt x="108" y="367"/>
                  </a:lnTo>
                  <a:lnTo>
                    <a:pt x="107" y="367"/>
                  </a:lnTo>
                  <a:lnTo>
                    <a:pt x="107" y="366"/>
                  </a:lnTo>
                  <a:lnTo>
                    <a:pt x="106" y="366"/>
                  </a:lnTo>
                  <a:lnTo>
                    <a:pt x="105" y="365"/>
                  </a:lnTo>
                  <a:lnTo>
                    <a:pt x="104" y="365"/>
                  </a:lnTo>
                  <a:lnTo>
                    <a:pt x="103" y="363"/>
                  </a:lnTo>
                  <a:lnTo>
                    <a:pt x="102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99" y="361"/>
                  </a:lnTo>
                  <a:lnTo>
                    <a:pt x="98" y="361"/>
                  </a:lnTo>
                  <a:lnTo>
                    <a:pt x="96" y="360"/>
                  </a:lnTo>
                  <a:lnTo>
                    <a:pt x="96" y="360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4" y="358"/>
                  </a:lnTo>
                  <a:lnTo>
                    <a:pt x="94" y="358"/>
                  </a:lnTo>
                  <a:lnTo>
                    <a:pt x="93" y="356"/>
                  </a:lnTo>
                  <a:lnTo>
                    <a:pt x="92" y="356"/>
                  </a:lnTo>
                  <a:lnTo>
                    <a:pt x="92" y="356"/>
                  </a:lnTo>
                  <a:lnTo>
                    <a:pt x="92" y="355"/>
                  </a:lnTo>
                  <a:lnTo>
                    <a:pt x="91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90" y="354"/>
                  </a:lnTo>
                  <a:lnTo>
                    <a:pt x="89" y="354"/>
                  </a:lnTo>
                  <a:lnTo>
                    <a:pt x="88" y="354"/>
                  </a:lnTo>
                  <a:lnTo>
                    <a:pt x="85" y="354"/>
                  </a:lnTo>
                  <a:lnTo>
                    <a:pt x="83" y="354"/>
                  </a:lnTo>
                  <a:lnTo>
                    <a:pt x="81" y="354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6" y="355"/>
                  </a:lnTo>
                  <a:lnTo>
                    <a:pt x="75" y="355"/>
                  </a:lnTo>
                  <a:lnTo>
                    <a:pt x="74" y="355"/>
                  </a:lnTo>
                  <a:lnTo>
                    <a:pt x="73" y="356"/>
                  </a:lnTo>
                  <a:lnTo>
                    <a:pt x="72" y="356"/>
                  </a:lnTo>
                  <a:lnTo>
                    <a:pt x="71" y="357"/>
                  </a:lnTo>
                  <a:lnTo>
                    <a:pt x="68" y="359"/>
                  </a:lnTo>
                  <a:lnTo>
                    <a:pt x="67" y="360"/>
                  </a:lnTo>
                  <a:lnTo>
                    <a:pt x="66" y="360"/>
                  </a:lnTo>
                  <a:lnTo>
                    <a:pt x="65" y="361"/>
                  </a:lnTo>
                  <a:lnTo>
                    <a:pt x="64" y="361"/>
                  </a:lnTo>
                  <a:lnTo>
                    <a:pt x="63" y="361"/>
                  </a:lnTo>
                  <a:lnTo>
                    <a:pt x="62" y="362"/>
                  </a:lnTo>
                  <a:lnTo>
                    <a:pt x="61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7" y="362"/>
                  </a:lnTo>
                  <a:lnTo>
                    <a:pt x="54" y="362"/>
                  </a:lnTo>
                  <a:lnTo>
                    <a:pt x="48" y="361"/>
                  </a:lnTo>
                  <a:lnTo>
                    <a:pt x="47" y="360"/>
                  </a:lnTo>
                  <a:lnTo>
                    <a:pt x="45" y="360"/>
                  </a:lnTo>
                  <a:lnTo>
                    <a:pt x="44" y="359"/>
                  </a:lnTo>
                  <a:lnTo>
                    <a:pt x="43" y="359"/>
                  </a:lnTo>
                  <a:lnTo>
                    <a:pt x="42" y="358"/>
                  </a:lnTo>
                  <a:lnTo>
                    <a:pt x="40" y="357"/>
                  </a:lnTo>
                  <a:lnTo>
                    <a:pt x="39" y="356"/>
                  </a:lnTo>
                  <a:lnTo>
                    <a:pt x="35" y="352"/>
                  </a:lnTo>
                  <a:lnTo>
                    <a:pt x="34" y="351"/>
                  </a:lnTo>
                  <a:lnTo>
                    <a:pt x="33" y="350"/>
                  </a:lnTo>
                  <a:lnTo>
                    <a:pt x="31" y="350"/>
                  </a:lnTo>
                  <a:lnTo>
                    <a:pt x="30" y="349"/>
                  </a:lnTo>
                  <a:lnTo>
                    <a:pt x="27" y="348"/>
                  </a:lnTo>
                  <a:lnTo>
                    <a:pt x="24" y="346"/>
                  </a:lnTo>
                  <a:lnTo>
                    <a:pt x="23" y="345"/>
                  </a:lnTo>
                  <a:lnTo>
                    <a:pt x="21" y="344"/>
                  </a:lnTo>
                  <a:lnTo>
                    <a:pt x="20" y="344"/>
                  </a:lnTo>
                  <a:lnTo>
                    <a:pt x="18" y="343"/>
                  </a:lnTo>
                  <a:lnTo>
                    <a:pt x="12" y="342"/>
                  </a:lnTo>
                  <a:lnTo>
                    <a:pt x="10" y="342"/>
                  </a:lnTo>
                  <a:lnTo>
                    <a:pt x="9" y="342"/>
                  </a:lnTo>
                  <a:lnTo>
                    <a:pt x="7" y="341"/>
                  </a:lnTo>
                  <a:lnTo>
                    <a:pt x="5" y="341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1" y="336"/>
                  </a:lnTo>
                  <a:lnTo>
                    <a:pt x="2" y="333"/>
                  </a:lnTo>
                  <a:lnTo>
                    <a:pt x="2" y="332"/>
                  </a:lnTo>
                  <a:lnTo>
                    <a:pt x="3" y="332"/>
                  </a:lnTo>
                  <a:lnTo>
                    <a:pt x="3" y="332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5" y="331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6" y="329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7" y="327"/>
                  </a:lnTo>
                  <a:lnTo>
                    <a:pt x="8" y="326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9" y="323"/>
                  </a:lnTo>
                  <a:lnTo>
                    <a:pt x="10" y="323"/>
                  </a:lnTo>
                  <a:lnTo>
                    <a:pt x="10" y="323"/>
                  </a:lnTo>
                  <a:lnTo>
                    <a:pt x="11" y="323"/>
                  </a:lnTo>
                  <a:lnTo>
                    <a:pt x="11" y="323"/>
                  </a:lnTo>
                  <a:lnTo>
                    <a:pt x="11" y="322"/>
                  </a:lnTo>
                  <a:lnTo>
                    <a:pt x="13" y="321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19"/>
                  </a:lnTo>
                  <a:lnTo>
                    <a:pt x="14" y="319"/>
                  </a:lnTo>
                  <a:lnTo>
                    <a:pt x="14" y="319"/>
                  </a:lnTo>
                  <a:lnTo>
                    <a:pt x="15" y="318"/>
                  </a:lnTo>
                  <a:lnTo>
                    <a:pt x="16" y="318"/>
                  </a:lnTo>
                  <a:lnTo>
                    <a:pt x="17" y="318"/>
                  </a:lnTo>
                  <a:lnTo>
                    <a:pt x="18" y="318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2" y="318"/>
                  </a:lnTo>
                  <a:lnTo>
                    <a:pt x="23" y="319"/>
                  </a:lnTo>
                  <a:lnTo>
                    <a:pt x="25" y="320"/>
                  </a:lnTo>
                  <a:lnTo>
                    <a:pt x="25" y="321"/>
                  </a:lnTo>
                  <a:lnTo>
                    <a:pt x="26" y="321"/>
                  </a:lnTo>
                  <a:lnTo>
                    <a:pt x="27" y="321"/>
                  </a:lnTo>
                  <a:lnTo>
                    <a:pt x="28" y="322"/>
                  </a:lnTo>
                  <a:lnTo>
                    <a:pt x="29" y="322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2" y="321"/>
                  </a:lnTo>
                  <a:lnTo>
                    <a:pt x="32" y="321"/>
                  </a:lnTo>
                  <a:lnTo>
                    <a:pt x="33" y="320"/>
                  </a:lnTo>
                  <a:lnTo>
                    <a:pt x="34" y="319"/>
                  </a:lnTo>
                  <a:lnTo>
                    <a:pt x="34" y="319"/>
                  </a:lnTo>
                  <a:lnTo>
                    <a:pt x="35" y="317"/>
                  </a:lnTo>
                  <a:lnTo>
                    <a:pt x="37" y="314"/>
                  </a:lnTo>
                  <a:lnTo>
                    <a:pt x="38" y="314"/>
                  </a:lnTo>
                  <a:lnTo>
                    <a:pt x="38" y="314"/>
                  </a:lnTo>
                  <a:lnTo>
                    <a:pt x="38" y="313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0" y="313"/>
                  </a:lnTo>
                  <a:lnTo>
                    <a:pt x="41" y="313"/>
                  </a:lnTo>
                  <a:lnTo>
                    <a:pt x="45" y="312"/>
                  </a:lnTo>
                  <a:lnTo>
                    <a:pt x="46" y="312"/>
                  </a:lnTo>
                  <a:lnTo>
                    <a:pt x="47" y="312"/>
                  </a:lnTo>
                  <a:lnTo>
                    <a:pt x="48" y="312"/>
                  </a:lnTo>
                  <a:lnTo>
                    <a:pt x="49" y="313"/>
                  </a:lnTo>
                  <a:lnTo>
                    <a:pt x="50" y="313"/>
                  </a:lnTo>
                  <a:lnTo>
                    <a:pt x="51" y="314"/>
                  </a:lnTo>
                  <a:lnTo>
                    <a:pt x="52" y="314"/>
                  </a:lnTo>
                  <a:lnTo>
                    <a:pt x="54" y="316"/>
                  </a:lnTo>
                  <a:lnTo>
                    <a:pt x="55" y="316"/>
                  </a:lnTo>
                  <a:lnTo>
                    <a:pt x="56" y="316"/>
                  </a:lnTo>
                  <a:lnTo>
                    <a:pt x="56" y="316"/>
                  </a:lnTo>
                  <a:lnTo>
                    <a:pt x="57" y="316"/>
                  </a:lnTo>
                  <a:lnTo>
                    <a:pt x="57" y="316"/>
                  </a:lnTo>
                  <a:lnTo>
                    <a:pt x="58" y="316"/>
                  </a:lnTo>
                  <a:lnTo>
                    <a:pt x="58" y="316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1" y="313"/>
                  </a:lnTo>
                  <a:lnTo>
                    <a:pt x="62" y="311"/>
                  </a:lnTo>
                  <a:lnTo>
                    <a:pt x="62" y="311"/>
                  </a:lnTo>
                  <a:lnTo>
                    <a:pt x="64" y="309"/>
                  </a:lnTo>
                  <a:lnTo>
                    <a:pt x="66" y="307"/>
                  </a:lnTo>
                  <a:lnTo>
                    <a:pt x="66" y="307"/>
                  </a:lnTo>
                  <a:lnTo>
                    <a:pt x="67" y="306"/>
                  </a:lnTo>
                  <a:lnTo>
                    <a:pt x="68" y="306"/>
                  </a:lnTo>
                  <a:lnTo>
                    <a:pt x="69" y="305"/>
                  </a:lnTo>
                  <a:lnTo>
                    <a:pt x="71" y="304"/>
                  </a:lnTo>
                  <a:lnTo>
                    <a:pt x="72" y="303"/>
                  </a:lnTo>
                  <a:lnTo>
                    <a:pt x="73" y="302"/>
                  </a:lnTo>
                  <a:lnTo>
                    <a:pt x="74" y="301"/>
                  </a:lnTo>
                  <a:lnTo>
                    <a:pt x="75" y="300"/>
                  </a:lnTo>
                  <a:lnTo>
                    <a:pt x="77" y="299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81" y="294"/>
                  </a:lnTo>
                  <a:lnTo>
                    <a:pt x="82" y="293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8" y="291"/>
                  </a:lnTo>
                  <a:lnTo>
                    <a:pt x="89" y="290"/>
                  </a:lnTo>
                  <a:lnTo>
                    <a:pt x="91" y="290"/>
                  </a:lnTo>
                  <a:lnTo>
                    <a:pt x="93" y="290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9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1" y="288"/>
                  </a:lnTo>
                  <a:lnTo>
                    <a:pt x="101" y="287"/>
                  </a:lnTo>
                  <a:lnTo>
                    <a:pt x="101" y="287"/>
                  </a:lnTo>
                  <a:lnTo>
                    <a:pt x="102" y="286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4" y="281"/>
                  </a:lnTo>
                  <a:lnTo>
                    <a:pt x="104" y="280"/>
                  </a:lnTo>
                  <a:lnTo>
                    <a:pt x="105" y="280"/>
                  </a:lnTo>
                  <a:lnTo>
                    <a:pt x="105" y="280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4" y="278"/>
                  </a:lnTo>
                  <a:lnTo>
                    <a:pt x="115" y="278"/>
                  </a:lnTo>
                  <a:lnTo>
                    <a:pt x="115" y="277"/>
                  </a:lnTo>
                  <a:lnTo>
                    <a:pt x="116" y="277"/>
                  </a:lnTo>
                  <a:lnTo>
                    <a:pt x="117" y="276"/>
                  </a:lnTo>
                  <a:lnTo>
                    <a:pt x="119" y="274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3"/>
                  </a:lnTo>
                  <a:lnTo>
                    <a:pt x="121" y="272"/>
                  </a:lnTo>
                  <a:lnTo>
                    <a:pt x="123" y="272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6" y="271"/>
                  </a:lnTo>
                  <a:lnTo>
                    <a:pt x="126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29" y="273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1" y="276"/>
                  </a:lnTo>
                  <a:lnTo>
                    <a:pt x="132" y="276"/>
                  </a:lnTo>
                  <a:lnTo>
                    <a:pt x="134" y="278"/>
                  </a:lnTo>
                  <a:lnTo>
                    <a:pt x="135" y="279"/>
                  </a:lnTo>
                  <a:lnTo>
                    <a:pt x="136" y="279"/>
                  </a:lnTo>
                  <a:lnTo>
                    <a:pt x="137" y="280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9" y="280"/>
                  </a:lnTo>
                  <a:lnTo>
                    <a:pt x="141" y="280"/>
                  </a:lnTo>
                  <a:lnTo>
                    <a:pt x="142" y="280"/>
                  </a:lnTo>
                  <a:lnTo>
                    <a:pt x="143" y="279"/>
                  </a:lnTo>
                  <a:lnTo>
                    <a:pt x="144" y="279"/>
                  </a:lnTo>
                  <a:lnTo>
                    <a:pt x="146" y="278"/>
                  </a:lnTo>
                  <a:lnTo>
                    <a:pt x="147" y="277"/>
                  </a:lnTo>
                  <a:lnTo>
                    <a:pt x="148" y="276"/>
                  </a:lnTo>
                  <a:lnTo>
                    <a:pt x="149" y="276"/>
                  </a:lnTo>
                  <a:lnTo>
                    <a:pt x="149" y="275"/>
                  </a:lnTo>
                  <a:lnTo>
                    <a:pt x="150" y="275"/>
                  </a:lnTo>
                  <a:lnTo>
                    <a:pt x="151" y="275"/>
                  </a:lnTo>
                  <a:lnTo>
                    <a:pt x="152" y="275"/>
                  </a:lnTo>
                  <a:lnTo>
                    <a:pt x="154" y="276"/>
                  </a:lnTo>
                  <a:lnTo>
                    <a:pt x="155" y="276"/>
                  </a:lnTo>
                  <a:lnTo>
                    <a:pt x="158" y="276"/>
                  </a:lnTo>
                  <a:lnTo>
                    <a:pt x="159" y="277"/>
                  </a:lnTo>
                  <a:lnTo>
                    <a:pt x="161" y="277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4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8" y="273"/>
                  </a:lnTo>
                  <a:lnTo>
                    <a:pt x="179" y="273"/>
                  </a:lnTo>
                  <a:lnTo>
                    <a:pt x="179" y="272"/>
                  </a:lnTo>
                  <a:lnTo>
                    <a:pt x="179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68"/>
                  </a:lnTo>
                  <a:lnTo>
                    <a:pt x="180" y="267"/>
                  </a:lnTo>
                  <a:lnTo>
                    <a:pt x="180" y="266"/>
                  </a:lnTo>
                  <a:lnTo>
                    <a:pt x="180" y="265"/>
                  </a:lnTo>
                  <a:lnTo>
                    <a:pt x="181" y="265"/>
                  </a:lnTo>
                  <a:lnTo>
                    <a:pt x="181" y="264"/>
                  </a:lnTo>
                  <a:lnTo>
                    <a:pt x="182" y="263"/>
                  </a:lnTo>
                  <a:lnTo>
                    <a:pt x="183" y="263"/>
                  </a:lnTo>
                  <a:lnTo>
                    <a:pt x="184" y="262"/>
                  </a:lnTo>
                  <a:lnTo>
                    <a:pt x="185" y="262"/>
                  </a:lnTo>
                  <a:lnTo>
                    <a:pt x="186" y="261"/>
                  </a:lnTo>
                  <a:lnTo>
                    <a:pt x="188" y="261"/>
                  </a:lnTo>
                  <a:lnTo>
                    <a:pt x="189" y="261"/>
                  </a:lnTo>
                  <a:lnTo>
                    <a:pt x="193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1" y="259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3" y="257"/>
                  </a:lnTo>
                  <a:lnTo>
                    <a:pt x="203" y="257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05" y="255"/>
                  </a:lnTo>
                  <a:lnTo>
                    <a:pt x="206" y="254"/>
                  </a:lnTo>
                  <a:lnTo>
                    <a:pt x="206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7" y="250"/>
                  </a:lnTo>
                  <a:lnTo>
                    <a:pt x="208" y="250"/>
                  </a:lnTo>
                  <a:lnTo>
                    <a:pt x="208" y="249"/>
                  </a:lnTo>
                  <a:lnTo>
                    <a:pt x="210" y="247"/>
                  </a:lnTo>
                  <a:lnTo>
                    <a:pt x="211" y="247"/>
                  </a:lnTo>
                  <a:lnTo>
                    <a:pt x="211" y="246"/>
                  </a:lnTo>
                  <a:lnTo>
                    <a:pt x="212" y="246"/>
                  </a:lnTo>
                  <a:lnTo>
                    <a:pt x="212" y="245"/>
                  </a:lnTo>
                  <a:lnTo>
                    <a:pt x="212" y="245"/>
                  </a:lnTo>
                  <a:lnTo>
                    <a:pt x="212" y="244"/>
                  </a:lnTo>
                  <a:lnTo>
                    <a:pt x="212" y="243"/>
                  </a:lnTo>
                  <a:lnTo>
                    <a:pt x="212" y="243"/>
                  </a:lnTo>
                  <a:lnTo>
                    <a:pt x="212" y="242"/>
                  </a:lnTo>
                  <a:lnTo>
                    <a:pt x="212" y="241"/>
                  </a:lnTo>
                  <a:lnTo>
                    <a:pt x="211" y="241"/>
                  </a:lnTo>
                  <a:lnTo>
                    <a:pt x="210" y="240"/>
                  </a:lnTo>
                  <a:lnTo>
                    <a:pt x="209" y="239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4" y="234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3" y="232"/>
                  </a:lnTo>
                  <a:lnTo>
                    <a:pt x="202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30"/>
                  </a:lnTo>
                  <a:lnTo>
                    <a:pt x="205" y="230"/>
                  </a:lnTo>
                  <a:lnTo>
                    <a:pt x="206" y="229"/>
                  </a:lnTo>
                  <a:lnTo>
                    <a:pt x="207" y="229"/>
                  </a:lnTo>
                  <a:lnTo>
                    <a:pt x="207" y="228"/>
                  </a:lnTo>
                  <a:lnTo>
                    <a:pt x="208" y="228"/>
                  </a:lnTo>
                  <a:lnTo>
                    <a:pt x="208" y="227"/>
                  </a:lnTo>
                  <a:lnTo>
                    <a:pt x="209" y="227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0" y="225"/>
                  </a:lnTo>
                  <a:lnTo>
                    <a:pt x="210" y="224"/>
                  </a:lnTo>
                  <a:lnTo>
                    <a:pt x="210" y="224"/>
                  </a:lnTo>
                  <a:lnTo>
                    <a:pt x="209" y="223"/>
                  </a:lnTo>
                  <a:lnTo>
                    <a:pt x="209" y="222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08" y="218"/>
                  </a:lnTo>
                  <a:lnTo>
                    <a:pt x="208" y="217"/>
                  </a:lnTo>
                  <a:lnTo>
                    <a:pt x="209" y="217"/>
                  </a:lnTo>
                  <a:lnTo>
                    <a:pt x="209" y="216"/>
                  </a:lnTo>
                  <a:lnTo>
                    <a:pt x="209" y="215"/>
                  </a:lnTo>
                  <a:lnTo>
                    <a:pt x="210" y="215"/>
                  </a:lnTo>
                  <a:lnTo>
                    <a:pt x="210" y="214"/>
                  </a:lnTo>
                  <a:lnTo>
                    <a:pt x="211" y="214"/>
                  </a:lnTo>
                  <a:lnTo>
                    <a:pt x="211" y="213"/>
                  </a:lnTo>
                  <a:lnTo>
                    <a:pt x="212" y="213"/>
                  </a:lnTo>
                  <a:lnTo>
                    <a:pt x="214" y="212"/>
                  </a:lnTo>
                  <a:lnTo>
                    <a:pt x="215" y="211"/>
                  </a:lnTo>
                  <a:lnTo>
                    <a:pt x="216" y="211"/>
                  </a:lnTo>
                  <a:lnTo>
                    <a:pt x="217" y="210"/>
                  </a:lnTo>
                  <a:lnTo>
                    <a:pt x="218" y="209"/>
                  </a:lnTo>
                  <a:lnTo>
                    <a:pt x="219" y="208"/>
                  </a:lnTo>
                  <a:lnTo>
                    <a:pt x="219" y="208"/>
                  </a:lnTo>
                  <a:lnTo>
                    <a:pt x="219" y="207"/>
                  </a:lnTo>
                  <a:lnTo>
                    <a:pt x="219" y="206"/>
                  </a:lnTo>
                  <a:lnTo>
                    <a:pt x="219" y="205"/>
                  </a:lnTo>
                  <a:lnTo>
                    <a:pt x="219" y="203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18" y="201"/>
                  </a:lnTo>
                  <a:lnTo>
                    <a:pt x="218" y="201"/>
                  </a:lnTo>
                  <a:lnTo>
                    <a:pt x="218" y="200"/>
                  </a:lnTo>
                  <a:lnTo>
                    <a:pt x="217" y="200"/>
                  </a:lnTo>
                  <a:lnTo>
                    <a:pt x="217" y="199"/>
                  </a:lnTo>
                  <a:lnTo>
                    <a:pt x="217" y="198"/>
                  </a:lnTo>
                  <a:lnTo>
                    <a:pt x="215" y="198"/>
                  </a:lnTo>
                  <a:lnTo>
                    <a:pt x="213" y="196"/>
                  </a:lnTo>
                  <a:lnTo>
                    <a:pt x="212" y="195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10" y="191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0" y="188"/>
                  </a:lnTo>
                  <a:lnTo>
                    <a:pt x="210" y="187"/>
                  </a:lnTo>
                  <a:lnTo>
                    <a:pt x="211" y="186"/>
                  </a:lnTo>
                  <a:lnTo>
                    <a:pt x="211" y="185"/>
                  </a:lnTo>
                  <a:lnTo>
                    <a:pt x="212" y="184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3" y="181"/>
                  </a:lnTo>
                  <a:lnTo>
                    <a:pt x="214" y="180"/>
                  </a:lnTo>
                  <a:lnTo>
                    <a:pt x="215" y="178"/>
                  </a:lnTo>
                  <a:lnTo>
                    <a:pt x="216" y="178"/>
                  </a:lnTo>
                  <a:lnTo>
                    <a:pt x="217" y="177"/>
                  </a:lnTo>
                  <a:lnTo>
                    <a:pt x="219" y="175"/>
                  </a:lnTo>
                  <a:lnTo>
                    <a:pt x="220" y="175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3"/>
                  </a:lnTo>
                  <a:lnTo>
                    <a:pt x="222" y="173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2" y="171"/>
                  </a:lnTo>
                  <a:lnTo>
                    <a:pt x="221" y="171"/>
                  </a:lnTo>
                  <a:lnTo>
                    <a:pt x="221" y="170"/>
                  </a:lnTo>
                  <a:lnTo>
                    <a:pt x="221" y="169"/>
                  </a:lnTo>
                  <a:lnTo>
                    <a:pt x="220" y="168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7" y="165"/>
                  </a:lnTo>
                  <a:lnTo>
                    <a:pt x="217" y="164"/>
                  </a:lnTo>
                  <a:lnTo>
                    <a:pt x="217" y="163"/>
                  </a:lnTo>
                  <a:lnTo>
                    <a:pt x="217" y="163"/>
                  </a:lnTo>
                  <a:lnTo>
                    <a:pt x="217" y="162"/>
                  </a:lnTo>
                  <a:lnTo>
                    <a:pt x="217" y="161"/>
                  </a:lnTo>
                  <a:lnTo>
                    <a:pt x="217" y="160"/>
                  </a:lnTo>
                  <a:lnTo>
                    <a:pt x="217" y="159"/>
                  </a:lnTo>
                  <a:lnTo>
                    <a:pt x="218" y="159"/>
                  </a:lnTo>
                  <a:lnTo>
                    <a:pt x="218" y="158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3" y="151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8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2" y="147"/>
                  </a:lnTo>
                  <a:lnTo>
                    <a:pt x="222" y="146"/>
                  </a:lnTo>
                  <a:lnTo>
                    <a:pt x="222" y="146"/>
                  </a:lnTo>
                  <a:lnTo>
                    <a:pt x="221" y="146"/>
                  </a:lnTo>
                  <a:lnTo>
                    <a:pt x="218" y="145"/>
                  </a:lnTo>
                  <a:lnTo>
                    <a:pt x="217" y="145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5" y="144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0"/>
                  </a:lnTo>
                  <a:lnTo>
                    <a:pt x="215" y="140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8"/>
                  </a:lnTo>
                  <a:lnTo>
                    <a:pt x="215" y="138"/>
                  </a:lnTo>
                  <a:lnTo>
                    <a:pt x="215" y="138"/>
                  </a:lnTo>
                  <a:lnTo>
                    <a:pt x="210" y="134"/>
                  </a:lnTo>
                  <a:lnTo>
                    <a:pt x="207" y="132"/>
                  </a:lnTo>
                  <a:lnTo>
                    <a:pt x="206" y="131"/>
                  </a:lnTo>
                  <a:lnTo>
                    <a:pt x="206" y="131"/>
                  </a:lnTo>
                  <a:lnTo>
                    <a:pt x="205" y="130"/>
                  </a:lnTo>
                  <a:lnTo>
                    <a:pt x="205" y="130"/>
                  </a:lnTo>
                  <a:lnTo>
                    <a:pt x="205" y="129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7"/>
                  </a:lnTo>
                  <a:lnTo>
                    <a:pt x="205" y="126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6" y="119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3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8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4"/>
                  </a:lnTo>
                  <a:lnTo>
                    <a:pt x="214" y="101"/>
                  </a:lnTo>
                  <a:lnTo>
                    <a:pt x="215" y="100"/>
                  </a:lnTo>
                  <a:lnTo>
                    <a:pt x="216" y="99"/>
                  </a:lnTo>
                  <a:lnTo>
                    <a:pt x="216" y="98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20" y="95"/>
                  </a:lnTo>
                  <a:lnTo>
                    <a:pt x="221" y="95"/>
                  </a:lnTo>
                  <a:lnTo>
                    <a:pt x="222" y="95"/>
                  </a:lnTo>
                  <a:lnTo>
                    <a:pt x="223" y="94"/>
                  </a:lnTo>
                  <a:lnTo>
                    <a:pt x="226" y="94"/>
                  </a:lnTo>
                  <a:lnTo>
                    <a:pt x="228" y="94"/>
                  </a:lnTo>
                  <a:lnTo>
                    <a:pt x="230" y="93"/>
                  </a:lnTo>
                  <a:lnTo>
                    <a:pt x="231" y="93"/>
                  </a:lnTo>
                  <a:lnTo>
                    <a:pt x="232" y="93"/>
                  </a:lnTo>
                  <a:lnTo>
                    <a:pt x="233" y="92"/>
                  </a:lnTo>
                  <a:lnTo>
                    <a:pt x="234" y="92"/>
                  </a:lnTo>
                  <a:lnTo>
                    <a:pt x="234" y="91"/>
                  </a:lnTo>
                  <a:lnTo>
                    <a:pt x="235" y="91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8"/>
                  </a:lnTo>
                  <a:lnTo>
                    <a:pt x="235" y="88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3" y="87"/>
                  </a:lnTo>
                  <a:lnTo>
                    <a:pt x="233" y="86"/>
                  </a:lnTo>
                  <a:lnTo>
                    <a:pt x="232" y="86"/>
                  </a:lnTo>
                  <a:lnTo>
                    <a:pt x="231" y="86"/>
                  </a:lnTo>
                  <a:lnTo>
                    <a:pt x="229" y="85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3"/>
                  </a:lnTo>
                  <a:lnTo>
                    <a:pt x="228" y="83"/>
                  </a:lnTo>
                  <a:lnTo>
                    <a:pt x="228" y="82"/>
                  </a:lnTo>
                  <a:lnTo>
                    <a:pt x="229" y="81"/>
                  </a:lnTo>
                  <a:lnTo>
                    <a:pt x="231" y="80"/>
                  </a:lnTo>
                  <a:lnTo>
                    <a:pt x="231" y="79"/>
                  </a:lnTo>
                  <a:lnTo>
                    <a:pt x="232" y="79"/>
                  </a:lnTo>
                  <a:lnTo>
                    <a:pt x="233" y="78"/>
                  </a:lnTo>
                  <a:lnTo>
                    <a:pt x="234" y="77"/>
                  </a:lnTo>
                  <a:lnTo>
                    <a:pt x="235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7" y="77"/>
                  </a:lnTo>
                  <a:lnTo>
                    <a:pt x="238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0" y="77"/>
                  </a:lnTo>
                  <a:lnTo>
                    <a:pt x="240" y="78"/>
                  </a:lnTo>
                  <a:lnTo>
                    <a:pt x="241" y="78"/>
                  </a:lnTo>
                  <a:lnTo>
                    <a:pt x="241" y="79"/>
                  </a:lnTo>
                  <a:lnTo>
                    <a:pt x="242" y="80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3" y="82"/>
                  </a:lnTo>
                  <a:lnTo>
                    <a:pt x="243" y="82"/>
                  </a:lnTo>
                  <a:lnTo>
                    <a:pt x="244" y="83"/>
                  </a:lnTo>
                  <a:lnTo>
                    <a:pt x="244" y="83"/>
                  </a:lnTo>
                  <a:lnTo>
                    <a:pt x="245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8" y="82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1"/>
                  </a:lnTo>
                  <a:lnTo>
                    <a:pt x="250" y="80"/>
                  </a:lnTo>
                  <a:lnTo>
                    <a:pt x="250" y="78"/>
                  </a:lnTo>
                  <a:lnTo>
                    <a:pt x="251" y="77"/>
                  </a:lnTo>
                  <a:lnTo>
                    <a:pt x="251" y="76"/>
                  </a:lnTo>
                  <a:lnTo>
                    <a:pt x="251" y="75"/>
                  </a:lnTo>
                  <a:lnTo>
                    <a:pt x="251" y="75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3"/>
                  </a:lnTo>
                  <a:lnTo>
                    <a:pt x="251" y="72"/>
                  </a:lnTo>
                  <a:lnTo>
                    <a:pt x="250" y="71"/>
                  </a:lnTo>
                  <a:lnTo>
                    <a:pt x="249" y="70"/>
                  </a:lnTo>
                  <a:lnTo>
                    <a:pt x="249" y="69"/>
                  </a:lnTo>
                  <a:lnTo>
                    <a:pt x="247" y="68"/>
                  </a:lnTo>
                  <a:lnTo>
                    <a:pt x="247" y="67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5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3"/>
                  </a:lnTo>
                  <a:lnTo>
                    <a:pt x="249" y="63"/>
                  </a:lnTo>
                  <a:lnTo>
                    <a:pt x="249" y="63"/>
                  </a:lnTo>
                  <a:lnTo>
                    <a:pt x="250" y="63"/>
                  </a:lnTo>
                  <a:lnTo>
                    <a:pt x="251" y="62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4" y="61"/>
                  </a:lnTo>
                  <a:lnTo>
                    <a:pt x="255" y="59"/>
                  </a:lnTo>
                  <a:lnTo>
                    <a:pt x="256" y="58"/>
                  </a:lnTo>
                  <a:lnTo>
                    <a:pt x="257" y="57"/>
                  </a:lnTo>
                  <a:lnTo>
                    <a:pt x="258" y="55"/>
                  </a:lnTo>
                  <a:lnTo>
                    <a:pt x="258" y="54"/>
                  </a:lnTo>
                  <a:lnTo>
                    <a:pt x="259" y="53"/>
                  </a:lnTo>
                  <a:lnTo>
                    <a:pt x="259" y="52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7" y="45"/>
                  </a:lnTo>
                  <a:lnTo>
                    <a:pt x="257" y="44"/>
                  </a:lnTo>
                  <a:lnTo>
                    <a:pt x="256" y="44"/>
                  </a:lnTo>
                  <a:lnTo>
                    <a:pt x="253" y="42"/>
                  </a:lnTo>
                  <a:lnTo>
                    <a:pt x="253" y="42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51" y="40"/>
                  </a:lnTo>
                  <a:lnTo>
                    <a:pt x="250" y="39"/>
                  </a:lnTo>
                  <a:lnTo>
                    <a:pt x="250" y="38"/>
                  </a:lnTo>
                  <a:lnTo>
                    <a:pt x="250" y="38"/>
                  </a:lnTo>
                  <a:lnTo>
                    <a:pt x="250" y="37"/>
                  </a:lnTo>
                  <a:lnTo>
                    <a:pt x="250" y="37"/>
                  </a:lnTo>
                  <a:lnTo>
                    <a:pt x="250" y="36"/>
                  </a:lnTo>
                  <a:lnTo>
                    <a:pt x="250" y="35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6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57" y="23"/>
                  </a:lnTo>
                  <a:lnTo>
                    <a:pt x="259" y="22"/>
                  </a:lnTo>
                  <a:lnTo>
                    <a:pt x="260" y="21"/>
                  </a:lnTo>
                  <a:lnTo>
                    <a:pt x="261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8"/>
                  </a:lnTo>
                  <a:lnTo>
                    <a:pt x="264" y="17"/>
                  </a:lnTo>
                  <a:lnTo>
                    <a:pt x="265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1" y="18"/>
                  </a:lnTo>
                  <a:lnTo>
                    <a:pt x="272" y="18"/>
                  </a:lnTo>
                  <a:lnTo>
                    <a:pt x="273" y="18"/>
                  </a:lnTo>
                  <a:lnTo>
                    <a:pt x="275" y="18"/>
                  </a:lnTo>
                  <a:lnTo>
                    <a:pt x="277" y="17"/>
                  </a:lnTo>
                  <a:lnTo>
                    <a:pt x="280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7" y="18"/>
                  </a:lnTo>
                  <a:lnTo>
                    <a:pt x="289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5" y="18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8" y="16"/>
                  </a:lnTo>
                  <a:lnTo>
                    <a:pt x="298" y="15"/>
                  </a:lnTo>
                  <a:lnTo>
                    <a:pt x="298" y="14"/>
                  </a:lnTo>
                  <a:lnTo>
                    <a:pt x="299" y="13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2" y="2"/>
                  </a:lnTo>
                  <a:lnTo>
                    <a:pt x="302" y="1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close/>
                </a:path>
              </a:pathLst>
            </a:custGeom>
            <a:solidFill>
              <a:srgbClr val="A8A8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Freeform 67">
              <a:extLst>
                <a:ext uri="{FF2B5EF4-FFF2-40B4-BE49-F238E27FC236}">
                  <a16:creationId xmlns:a16="http://schemas.microsoft.com/office/drawing/2014/main" id="{D3CF1198-EB94-D448-4112-B93F9C123A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1" y="3521"/>
              <a:ext cx="548" cy="464"/>
            </a:xfrm>
            <a:custGeom>
              <a:avLst/>
              <a:gdLst>
                <a:gd name="T0" fmla="*/ 232 w 548"/>
                <a:gd name="T1" fmla="*/ 1 h 464"/>
                <a:gd name="T2" fmla="*/ 256 w 548"/>
                <a:gd name="T3" fmla="*/ 4 h 464"/>
                <a:gd name="T4" fmla="*/ 282 w 548"/>
                <a:gd name="T5" fmla="*/ 14 h 464"/>
                <a:gd name="T6" fmla="*/ 268 w 548"/>
                <a:gd name="T7" fmla="*/ 21 h 464"/>
                <a:gd name="T8" fmla="*/ 266 w 548"/>
                <a:gd name="T9" fmla="*/ 36 h 464"/>
                <a:gd name="T10" fmla="*/ 289 w 548"/>
                <a:gd name="T11" fmla="*/ 43 h 464"/>
                <a:gd name="T12" fmla="*/ 280 w 548"/>
                <a:gd name="T13" fmla="*/ 61 h 464"/>
                <a:gd name="T14" fmla="*/ 290 w 548"/>
                <a:gd name="T15" fmla="*/ 88 h 464"/>
                <a:gd name="T16" fmla="*/ 284 w 548"/>
                <a:gd name="T17" fmla="*/ 99 h 464"/>
                <a:gd name="T18" fmla="*/ 305 w 548"/>
                <a:gd name="T19" fmla="*/ 108 h 464"/>
                <a:gd name="T20" fmla="*/ 316 w 548"/>
                <a:gd name="T21" fmla="*/ 88 h 464"/>
                <a:gd name="T22" fmla="*/ 304 w 548"/>
                <a:gd name="T23" fmla="*/ 70 h 464"/>
                <a:gd name="T24" fmla="*/ 316 w 548"/>
                <a:gd name="T25" fmla="*/ 60 h 464"/>
                <a:gd name="T26" fmla="*/ 334 w 548"/>
                <a:gd name="T27" fmla="*/ 72 h 464"/>
                <a:gd name="T28" fmla="*/ 344 w 548"/>
                <a:gd name="T29" fmla="*/ 94 h 464"/>
                <a:gd name="T30" fmla="*/ 355 w 548"/>
                <a:gd name="T31" fmla="*/ 106 h 464"/>
                <a:gd name="T32" fmla="*/ 361 w 548"/>
                <a:gd name="T33" fmla="*/ 107 h 464"/>
                <a:gd name="T34" fmla="*/ 364 w 548"/>
                <a:gd name="T35" fmla="*/ 126 h 464"/>
                <a:gd name="T36" fmla="*/ 387 w 548"/>
                <a:gd name="T37" fmla="*/ 141 h 464"/>
                <a:gd name="T38" fmla="*/ 389 w 548"/>
                <a:gd name="T39" fmla="*/ 181 h 464"/>
                <a:gd name="T40" fmla="*/ 394 w 548"/>
                <a:gd name="T41" fmla="*/ 205 h 464"/>
                <a:gd name="T42" fmla="*/ 407 w 548"/>
                <a:gd name="T43" fmla="*/ 209 h 464"/>
                <a:gd name="T44" fmla="*/ 395 w 548"/>
                <a:gd name="T45" fmla="*/ 227 h 464"/>
                <a:gd name="T46" fmla="*/ 383 w 548"/>
                <a:gd name="T47" fmla="*/ 245 h 464"/>
                <a:gd name="T48" fmla="*/ 396 w 548"/>
                <a:gd name="T49" fmla="*/ 250 h 464"/>
                <a:gd name="T50" fmla="*/ 417 w 548"/>
                <a:gd name="T51" fmla="*/ 254 h 464"/>
                <a:gd name="T52" fmla="*/ 423 w 548"/>
                <a:gd name="T53" fmla="*/ 270 h 464"/>
                <a:gd name="T54" fmla="*/ 451 w 548"/>
                <a:gd name="T55" fmla="*/ 280 h 464"/>
                <a:gd name="T56" fmla="*/ 459 w 548"/>
                <a:gd name="T57" fmla="*/ 294 h 464"/>
                <a:gd name="T58" fmla="*/ 481 w 548"/>
                <a:gd name="T59" fmla="*/ 304 h 464"/>
                <a:gd name="T60" fmla="*/ 508 w 548"/>
                <a:gd name="T61" fmla="*/ 304 h 464"/>
                <a:gd name="T62" fmla="*/ 517 w 548"/>
                <a:gd name="T63" fmla="*/ 317 h 464"/>
                <a:gd name="T64" fmla="*/ 541 w 548"/>
                <a:gd name="T65" fmla="*/ 337 h 464"/>
                <a:gd name="T66" fmla="*/ 536 w 548"/>
                <a:gd name="T67" fmla="*/ 357 h 464"/>
                <a:gd name="T68" fmla="*/ 517 w 548"/>
                <a:gd name="T69" fmla="*/ 367 h 464"/>
                <a:gd name="T70" fmla="*/ 499 w 548"/>
                <a:gd name="T71" fmla="*/ 360 h 464"/>
                <a:gd name="T72" fmla="*/ 475 w 548"/>
                <a:gd name="T73" fmla="*/ 367 h 464"/>
                <a:gd name="T74" fmla="*/ 455 w 548"/>
                <a:gd name="T75" fmla="*/ 365 h 464"/>
                <a:gd name="T76" fmla="*/ 423 w 548"/>
                <a:gd name="T77" fmla="*/ 347 h 464"/>
                <a:gd name="T78" fmla="*/ 398 w 548"/>
                <a:gd name="T79" fmla="*/ 357 h 464"/>
                <a:gd name="T80" fmla="*/ 379 w 548"/>
                <a:gd name="T81" fmla="*/ 383 h 464"/>
                <a:gd name="T82" fmla="*/ 351 w 548"/>
                <a:gd name="T83" fmla="*/ 429 h 464"/>
                <a:gd name="T84" fmla="*/ 340 w 548"/>
                <a:gd name="T85" fmla="*/ 460 h 464"/>
                <a:gd name="T86" fmla="*/ 331 w 548"/>
                <a:gd name="T87" fmla="*/ 461 h 464"/>
                <a:gd name="T88" fmla="*/ 325 w 548"/>
                <a:gd name="T89" fmla="*/ 426 h 464"/>
                <a:gd name="T90" fmla="*/ 311 w 548"/>
                <a:gd name="T91" fmla="*/ 421 h 464"/>
                <a:gd name="T92" fmla="*/ 275 w 548"/>
                <a:gd name="T93" fmla="*/ 417 h 464"/>
                <a:gd name="T94" fmla="*/ 257 w 548"/>
                <a:gd name="T95" fmla="*/ 413 h 464"/>
                <a:gd name="T96" fmla="*/ 251 w 548"/>
                <a:gd name="T97" fmla="*/ 398 h 464"/>
                <a:gd name="T98" fmla="*/ 231 w 548"/>
                <a:gd name="T99" fmla="*/ 391 h 464"/>
                <a:gd name="T100" fmla="*/ 205 w 548"/>
                <a:gd name="T101" fmla="*/ 382 h 464"/>
                <a:gd name="T102" fmla="*/ 182 w 548"/>
                <a:gd name="T103" fmla="*/ 389 h 464"/>
                <a:gd name="T104" fmla="*/ 162 w 548"/>
                <a:gd name="T105" fmla="*/ 417 h 464"/>
                <a:gd name="T106" fmla="*/ 148 w 548"/>
                <a:gd name="T107" fmla="*/ 415 h 464"/>
                <a:gd name="T108" fmla="*/ 121 w 548"/>
                <a:gd name="T109" fmla="*/ 414 h 464"/>
                <a:gd name="T110" fmla="*/ 73 w 548"/>
                <a:gd name="T111" fmla="*/ 410 h 464"/>
                <a:gd name="T112" fmla="*/ 35 w 548"/>
                <a:gd name="T113" fmla="*/ 387 h 464"/>
                <a:gd name="T114" fmla="*/ 27 w 548"/>
                <a:gd name="T115" fmla="*/ 376 h 464"/>
                <a:gd name="T116" fmla="*/ 15 w 548"/>
                <a:gd name="T117" fmla="*/ 369 h 464"/>
                <a:gd name="T118" fmla="*/ 2 w 548"/>
                <a:gd name="T119" fmla="*/ 36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8" h="464">
                  <a:moveTo>
                    <a:pt x="209" y="0"/>
                  </a:moveTo>
                  <a:lnTo>
                    <a:pt x="209" y="0"/>
                  </a:lnTo>
                  <a:lnTo>
                    <a:pt x="210" y="0"/>
                  </a:lnTo>
                  <a:lnTo>
                    <a:pt x="211" y="1"/>
                  </a:lnTo>
                  <a:lnTo>
                    <a:pt x="214" y="1"/>
                  </a:lnTo>
                  <a:lnTo>
                    <a:pt x="215" y="2"/>
                  </a:lnTo>
                  <a:lnTo>
                    <a:pt x="217" y="2"/>
                  </a:lnTo>
                  <a:lnTo>
                    <a:pt x="220" y="2"/>
                  </a:lnTo>
                  <a:lnTo>
                    <a:pt x="222" y="2"/>
                  </a:lnTo>
                  <a:lnTo>
                    <a:pt x="223" y="2"/>
                  </a:lnTo>
                  <a:lnTo>
                    <a:pt x="225" y="2"/>
                  </a:lnTo>
                  <a:lnTo>
                    <a:pt x="228" y="1"/>
                  </a:lnTo>
                  <a:lnTo>
                    <a:pt x="228" y="1"/>
                  </a:lnTo>
                  <a:lnTo>
                    <a:pt x="229" y="1"/>
                  </a:lnTo>
                  <a:lnTo>
                    <a:pt x="230" y="1"/>
                  </a:lnTo>
                  <a:lnTo>
                    <a:pt x="231" y="1"/>
                  </a:lnTo>
                  <a:lnTo>
                    <a:pt x="232" y="1"/>
                  </a:lnTo>
                  <a:lnTo>
                    <a:pt x="235" y="2"/>
                  </a:lnTo>
                  <a:lnTo>
                    <a:pt x="235" y="2"/>
                  </a:lnTo>
                  <a:lnTo>
                    <a:pt x="236" y="2"/>
                  </a:lnTo>
                  <a:lnTo>
                    <a:pt x="237" y="2"/>
                  </a:lnTo>
                  <a:lnTo>
                    <a:pt x="238" y="2"/>
                  </a:lnTo>
                  <a:lnTo>
                    <a:pt x="240" y="2"/>
                  </a:lnTo>
                  <a:lnTo>
                    <a:pt x="242" y="1"/>
                  </a:lnTo>
                  <a:lnTo>
                    <a:pt x="243" y="1"/>
                  </a:lnTo>
                  <a:lnTo>
                    <a:pt x="244" y="1"/>
                  </a:lnTo>
                  <a:lnTo>
                    <a:pt x="245" y="2"/>
                  </a:lnTo>
                  <a:lnTo>
                    <a:pt x="248" y="2"/>
                  </a:lnTo>
                  <a:lnTo>
                    <a:pt x="249" y="2"/>
                  </a:lnTo>
                  <a:lnTo>
                    <a:pt x="250" y="2"/>
                  </a:lnTo>
                  <a:lnTo>
                    <a:pt x="252" y="3"/>
                  </a:lnTo>
                  <a:lnTo>
                    <a:pt x="253" y="3"/>
                  </a:lnTo>
                  <a:lnTo>
                    <a:pt x="254" y="4"/>
                  </a:lnTo>
                  <a:lnTo>
                    <a:pt x="256" y="4"/>
                  </a:lnTo>
                  <a:lnTo>
                    <a:pt x="258" y="5"/>
                  </a:lnTo>
                  <a:lnTo>
                    <a:pt x="265" y="9"/>
                  </a:lnTo>
                  <a:lnTo>
                    <a:pt x="267" y="9"/>
                  </a:lnTo>
                  <a:lnTo>
                    <a:pt x="268" y="10"/>
                  </a:lnTo>
                  <a:lnTo>
                    <a:pt x="270" y="11"/>
                  </a:lnTo>
                  <a:lnTo>
                    <a:pt x="272" y="11"/>
                  </a:lnTo>
                  <a:lnTo>
                    <a:pt x="273" y="12"/>
                  </a:lnTo>
                  <a:lnTo>
                    <a:pt x="275" y="12"/>
                  </a:lnTo>
                  <a:lnTo>
                    <a:pt x="277" y="13"/>
                  </a:lnTo>
                  <a:lnTo>
                    <a:pt x="278" y="13"/>
                  </a:lnTo>
                  <a:lnTo>
                    <a:pt x="279" y="13"/>
                  </a:lnTo>
                  <a:lnTo>
                    <a:pt x="281" y="13"/>
                  </a:lnTo>
                  <a:lnTo>
                    <a:pt x="282" y="13"/>
                  </a:lnTo>
                  <a:lnTo>
                    <a:pt x="282" y="13"/>
                  </a:lnTo>
                  <a:lnTo>
                    <a:pt x="283" y="13"/>
                  </a:lnTo>
                  <a:lnTo>
                    <a:pt x="282" y="13"/>
                  </a:lnTo>
                  <a:lnTo>
                    <a:pt x="282" y="14"/>
                  </a:lnTo>
                  <a:lnTo>
                    <a:pt x="282" y="15"/>
                  </a:lnTo>
                  <a:lnTo>
                    <a:pt x="281" y="16"/>
                  </a:lnTo>
                  <a:lnTo>
                    <a:pt x="281" y="17"/>
                  </a:lnTo>
                  <a:lnTo>
                    <a:pt x="280" y="20"/>
                  </a:lnTo>
                  <a:lnTo>
                    <a:pt x="280" y="20"/>
                  </a:lnTo>
                  <a:lnTo>
                    <a:pt x="280" y="21"/>
                  </a:lnTo>
                  <a:lnTo>
                    <a:pt x="280" y="21"/>
                  </a:lnTo>
                  <a:lnTo>
                    <a:pt x="279" y="22"/>
                  </a:lnTo>
                  <a:lnTo>
                    <a:pt x="279" y="22"/>
                  </a:lnTo>
                  <a:lnTo>
                    <a:pt x="278" y="22"/>
                  </a:lnTo>
                  <a:lnTo>
                    <a:pt x="278" y="23"/>
                  </a:lnTo>
                  <a:lnTo>
                    <a:pt x="278" y="23"/>
                  </a:lnTo>
                  <a:lnTo>
                    <a:pt x="277" y="23"/>
                  </a:lnTo>
                  <a:lnTo>
                    <a:pt x="276" y="23"/>
                  </a:lnTo>
                  <a:lnTo>
                    <a:pt x="275" y="23"/>
                  </a:lnTo>
                  <a:lnTo>
                    <a:pt x="271" y="22"/>
                  </a:lnTo>
                  <a:lnTo>
                    <a:pt x="268" y="21"/>
                  </a:lnTo>
                  <a:lnTo>
                    <a:pt x="268" y="21"/>
                  </a:lnTo>
                  <a:lnTo>
                    <a:pt x="267" y="21"/>
                  </a:lnTo>
                  <a:lnTo>
                    <a:pt x="267" y="22"/>
                  </a:lnTo>
                  <a:lnTo>
                    <a:pt x="266" y="22"/>
                  </a:lnTo>
                  <a:lnTo>
                    <a:pt x="266" y="22"/>
                  </a:lnTo>
                  <a:lnTo>
                    <a:pt x="266" y="23"/>
                  </a:lnTo>
                  <a:lnTo>
                    <a:pt x="266" y="24"/>
                  </a:lnTo>
                  <a:lnTo>
                    <a:pt x="265" y="25"/>
                  </a:lnTo>
                  <a:lnTo>
                    <a:pt x="265" y="26"/>
                  </a:lnTo>
                  <a:lnTo>
                    <a:pt x="265" y="27"/>
                  </a:lnTo>
                  <a:lnTo>
                    <a:pt x="266" y="30"/>
                  </a:lnTo>
                  <a:lnTo>
                    <a:pt x="266" y="31"/>
                  </a:lnTo>
                  <a:lnTo>
                    <a:pt x="266" y="32"/>
                  </a:lnTo>
                  <a:lnTo>
                    <a:pt x="266" y="34"/>
                  </a:lnTo>
                  <a:lnTo>
                    <a:pt x="266" y="35"/>
                  </a:lnTo>
                  <a:lnTo>
                    <a:pt x="266" y="36"/>
                  </a:lnTo>
                  <a:lnTo>
                    <a:pt x="266" y="36"/>
                  </a:lnTo>
                  <a:lnTo>
                    <a:pt x="266" y="37"/>
                  </a:lnTo>
                  <a:lnTo>
                    <a:pt x="266" y="37"/>
                  </a:lnTo>
                  <a:lnTo>
                    <a:pt x="267" y="37"/>
                  </a:lnTo>
                  <a:lnTo>
                    <a:pt x="267" y="38"/>
                  </a:lnTo>
                  <a:lnTo>
                    <a:pt x="268" y="38"/>
                  </a:lnTo>
                  <a:lnTo>
                    <a:pt x="268" y="38"/>
                  </a:lnTo>
                  <a:lnTo>
                    <a:pt x="271" y="39"/>
                  </a:lnTo>
                  <a:lnTo>
                    <a:pt x="274" y="40"/>
                  </a:lnTo>
                  <a:lnTo>
                    <a:pt x="278" y="41"/>
                  </a:lnTo>
                  <a:lnTo>
                    <a:pt x="280" y="42"/>
                  </a:lnTo>
                  <a:lnTo>
                    <a:pt x="282" y="42"/>
                  </a:lnTo>
                  <a:lnTo>
                    <a:pt x="283" y="42"/>
                  </a:lnTo>
                  <a:lnTo>
                    <a:pt x="285" y="42"/>
                  </a:lnTo>
                  <a:lnTo>
                    <a:pt x="287" y="43"/>
                  </a:lnTo>
                  <a:lnTo>
                    <a:pt x="288" y="43"/>
                  </a:lnTo>
                  <a:lnTo>
                    <a:pt x="288" y="43"/>
                  </a:lnTo>
                  <a:lnTo>
                    <a:pt x="289" y="43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8" y="44"/>
                  </a:lnTo>
                  <a:lnTo>
                    <a:pt x="288" y="45"/>
                  </a:lnTo>
                  <a:lnTo>
                    <a:pt x="287" y="45"/>
                  </a:lnTo>
                  <a:lnTo>
                    <a:pt x="287" y="46"/>
                  </a:lnTo>
                  <a:lnTo>
                    <a:pt x="286" y="47"/>
                  </a:lnTo>
                  <a:lnTo>
                    <a:pt x="285" y="47"/>
                  </a:lnTo>
                  <a:lnTo>
                    <a:pt x="285" y="48"/>
                  </a:lnTo>
                  <a:lnTo>
                    <a:pt x="283" y="50"/>
                  </a:lnTo>
                  <a:lnTo>
                    <a:pt x="283" y="51"/>
                  </a:lnTo>
                  <a:lnTo>
                    <a:pt x="281" y="54"/>
                  </a:lnTo>
                  <a:lnTo>
                    <a:pt x="280" y="55"/>
                  </a:lnTo>
                  <a:lnTo>
                    <a:pt x="280" y="56"/>
                  </a:lnTo>
                  <a:lnTo>
                    <a:pt x="280" y="58"/>
                  </a:lnTo>
                  <a:lnTo>
                    <a:pt x="280" y="59"/>
                  </a:lnTo>
                  <a:lnTo>
                    <a:pt x="280" y="61"/>
                  </a:lnTo>
                  <a:lnTo>
                    <a:pt x="280" y="62"/>
                  </a:lnTo>
                  <a:lnTo>
                    <a:pt x="280" y="64"/>
                  </a:lnTo>
                  <a:lnTo>
                    <a:pt x="280" y="65"/>
                  </a:lnTo>
                  <a:lnTo>
                    <a:pt x="281" y="68"/>
                  </a:lnTo>
                  <a:lnTo>
                    <a:pt x="282" y="72"/>
                  </a:lnTo>
                  <a:lnTo>
                    <a:pt x="283" y="75"/>
                  </a:lnTo>
                  <a:lnTo>
                    <a:pt x="283" y="76"/>
                  </a:lnTo>
                  <a:lnTo>
                    <a:pt x="284" y="77"/>
                  </a:lnTo>
                  <a:lnTo>
                    <a:pt x="284" y="78"/>
                  </a:lnTo>
                  <a:lnTo>
                    <a:pt x="285" y="79"/>
                  </a:lnTo>
                  <a:lnTo>
                    <a:pt x="287" y="82"/>
                  </a:lnTo>
                  <a:lnTo>
                    <a:pt x="288" y="83"/>
                  </a:lnTo>
                  <a:lnTo>
                    <a:pt x="288" y="84"/>
                  </a:lnTo>
                  <a:lnTo>
                    <a:pt x="289" y="85"/>
                  </a:lnTo>
                  <a:lnTo>
                    <a:pt x="289" y="86"/>
                  </a:lnTo>
                  <a:lnTo>
                    <a:pt x="290" y="87"/>
                  </a:lnTo>
                  <a:lnTo>
                    <a:pt x="290" y="88"/>
                  </a:lnTo>
                  <a:lnTo>
                    <a:pt x="289" y="88"/>
                  </a:lnTo>
                  <a:lnTo>
                    <a:pt x="289" y="89"/>
                  </a:lnTo>
                  <a:lnTo>
                    <a:pt x="289" y="89"/>
                  </a:lnTo>
                  <a:lnTo>
                    <a:pt x="289" y="90"/>
                  </a:lnTo>
                  <a:lnTo>
                    <a:pt x="288" y="90"/>
                  </a:lnTo>
                  <a:lnTo>
                    <a:pt x="286" y="92"/>
                  </a:lnTo>
                  <a:lnTo>
                    <a:pt x="285" y="93"/>
                  </a:lnTo>
                  <a:lnTo>
                    <a:pt x="285" y="93"/>
                  </a:lnTo>
                  <a:lnTo>
                    <a:pt x="285" y="94"/>
                  </a:lnTo>
                  <a:lnTo>
                    <a:pt x="285" y="94"/>
                  </a:lnTo>
                  <a:lnTo>
                    <a:pt x="284" y="95"/>
                  </a:lnTo>
                  <a:lnTo>
                    <a:pt x="284" y="96"/>
                  </a:lnTo>
                  <a:lnTo>
                    <a:pt x="284" y="96"/>
                  </a:lnTo>
                  <a:lnTo>
                    <a:pt x="284" y="97"/>
                  </a:lnTo>
                  <a:lnTo>
                    <a:pt x="284" y="98"/>
                  </a:lnTo>
                  <a:lnTo>
                    <a:pt x="284" y="99"/>
                  </a:lnTo>
                  <a:lnTo>
                    <a:pt x="284" y="99"/>
                  </a:lnTo>
                  <a:lnTo>
                    <a:pt x="285" y="100"/>
                  </a:lnTo>
                  <a:lnTo>
                    <a:pt x="285" y="100"/>
                  </a:lnTo>
                  <a:lnTo>
                    <a:pt x="287" y="102"/>
                  </a:lnTo>
                  <a:lnTo>
                    <a:pt x="287" y="102"/>
                  </a:lnTo>
                  <a:lnTo>
                    <a:pt x="288" y="103"/>
                  </a:lnTo>
                  <a:lnTo>
                    <a:pt x="290" y="104"/>
                  </a:lnTo>
                  <a:lnTo>
                    <a:pt x="293" y="107"/>
                  </a:lnTo>
                  <a:lnTo>
                    <a:pt x="295" y="108"/>
                  </a:lnTo>
                  <a:lnTo>
                    <a:pt x="296" y="109"/>
                  </a:lnTo>
                  <a:lnTo>
                    <a:pt x="298" y="109"/>
                  </a:lnTo>
                  <a:lnTo>
                    <a:pt x="299" y="110"/>
                  </a:lnTo>
                  <a:lnTo>
                    <a:pt x="300" y="110"/>
                  </a:lnTo>
                  <a:lnTo>
                    <a:pt x="301" y="110"/>
                  </a:lnTo>
                  <a:lnTo>
                    <a:pt x="302" y="110"/>
                  </a:lnTo>
                  <a:lnTo>
                    <a:pt x="303" y="109"/>
                  </a:lnTo>
                  <a:lnTo>
                    <a:pt x="304" y="109"/>
                  </a:lnTo>
                  <a:lnTo>
                    <a:pt x="305" y="108"/>
                  </a:lnTo>
                  <a:lnTo>
                    <a:pt x="306" y="107"/>
                  </a:lnTo>
                  <a:lnTo>
                    <a:pt x="307" y="106"/>
                  </a:lnTo>
                  <a:lnTo>
                    <a:pt x="309" y="105"/>
                  </a:lnTo>
                  <a:lnTo>
                    <a:pt x="309" y="104"/>
                  </a:lnTo>
                  <a:lnTo>
                    <a:pt x="310" y="103"/>
                  </a:lnTo>
                  <a:lnTo>
                    <a:pt x="311" y="102"/>
                  </a:lnTo>
                  <a:lnTo>
                    <a:pt x="311" y="100"/>
                  </a:lnTo>
                  <a:lnTo>
                    <a:pt x="312" y="97"/>
                  </a:lnTo>
                  <a:lnTo>
                    <a:pt x="313" y="95"/>
                  </a:lnTo>
                  <a:lnTo>
                    <a:pt x="314" y="94"/>
                  </a:lnTo>
                  <a:lnTo>
                    <a:pt x="315" y="92"/>
                  </a:lnTo>
                  <a:lnTo>
                    <a:pt x="316" y="91"/>
                  </a:lnTo>
                  <a:lnTo>
                    <a:pt x="316" y="91"/>
                  </a:lnTo>
                  <a:lnTo>
                    <a:pt x="316" y="90"/>
                  </a:lnTo>
                  <a:lnTo>
                    <a:pt x="316" y="90"/>
                  </a:lnTo>
                  <a:lnTo>
                    <a:pt x="316" y="89"/>
                  </a:lnTo>
                  <a:lnTo>
                    <a:pt x="316" y="88"/>
                  </a:lnTo>
                  <a:lnTo>
                    <a:pt x="316" y="88"/>
                  </a:lnTo>
                  <a:lnTo>
                    <a:pt x="316" y="87"/>
                  </a:lnTo>
                  <a:lnTo>
                    <a:pt x="315" y="86"/>
                  </a:lnTo>
                  <a:lnTo>
                    <a:pt x="315" y="85"/>
                  </a:lnTo>
                  <a:lnTo>
                    <a:pt x="314" y="83"/>
                  </a:lnTo>
                  <a:lnTo>
                    <a:pt x="313" y="82"/>
                  </a:lnTo>
                  <a:lnTo>
                    <a:pt x="313" y="81"/>
                  </a:lnTo>
                  <a:lnTo>
                    <a:pt x="312" y="80"/>
                  </a:lnTo>
                  <a:lnTo>
                    <a:pt x="312" y="79"/>
                  </a:lnTo>
                  <a:lnTo>
                    <a:pt x="312" y="78"/>
                  </a:lnTo>
                  <a:lnTo>
                    <a:pt x="311" y="77"/>
                  </a:lnTo>
                  <a:lnTo>
                    <a:pt x="311" y="77"/>
                  </a:lnTo>
                  <a:lnTo>
                    <a:pt x="306" y="72"/>
                  </a:lnTo>
                  <a:lnTo>
                    <a:pt x="305" y="72"/>
                  </a:lnTo>
                  <a:lnTo>
                    <a:pt x="305" y="71"/>
                  </a:lnTo>
                  <a:lnTo>
                    <a:pt x="305" y="71"/>
                  </a:lnTo>
                  <a:lnTo>
                    <a:pt x="304" y="70"/>
                  </a:lnTo>
                  <a:lnTo>
                    <a:pt x="304" y="69"/>
                  </a:lnTo>
                  <a:lnTo>
                    <a:pt x="303" y="69"/>
                  </a:lnTo>
                  <a:lnTo>
                    <a:pt x="303" y="68"/>
                  </a:lnTo>
                  <a:lnTo>
                    <a:pt x="303" y="68"/>
                  </a:lnTo>
                  <a:lnTo>
                    <a:pt x="303" y="68"/>
                  </a:lnTo>
                  <a:lnTo>
                    <a:pt x="303" y="67"/>
                  </a:lnTo>
                  <a:lnTo>
                    <a:pt x="303" y="67"/>
                  </a:lnTo>
                  <a:lnTo>
                    <a:pt x="304" y="67"/>
                  </a:lnTo>
                  <a:lnTo>
                    <a:pt x="305" y="65"/>
                  </a:lnTo>
                  <a:lnTo>
                    <a:pt x="307" y="64"/>
                  </a:lnTo>
                  <a:lnTo>
                    <a:pt x="308" y="63"/>
                  </a:lnTo>
                  <a:lnTo>
                    <a:pt x="309" y="62"/>
                  </a:lnTo>
                  <a:lnTo>
                    <a:pt x="311" y="61"/>
                  </a:lnTo>
                  <a:lnTo>
                    <a:pt x="312" y="60"/>
                  </a:lnTo>
                  <a:lnTo>
                    <a:pt x="314" y="60"/>
                  </a:lnTo>
                  <a:lnTo>
                    <a:pt x="315" y="60"/>
                  </a:lnTo>
                  <a:lnTo>
                    <a:pt x="316" y="60"/>
                  </a:lnTo>
                  <a:lnTo>
                    <a:pt x="317" y="60"/>
                  </a:lnTo>
                  <a:lnTo>
                    <a:pt x="318" y="60"/>
                  </a:lnTo>
                  <a:lnTo>
                    <a:pt x="320" y="60"/>
                  </a:lnTo>
                  <a:lnTo>
                    <a:pt x="322" y="61"/>
                  </a:lnTo>
                  <a:lnTo>
                    <a:pt x="324" y="61"/>
                  </a:lnTo>
                  <a:lnTo>
                    <a:pt x="325" y="61"/>
                  </a:lnTo>
                  <a:lnTo>
                    <a:pt x="326" y="62"/>
                  </a:lnTo>
                  <a:lnTo>
                    <a:pt x="326" y="62"/>
                  </a:lnTo>
                  <a:lnTo>
                    <a:pt x="327" y="63"/>
                  </a:lnTo>
                  <a:lnTo>
                    <a:pt x="328" y="64"/>
                  </a:lnTo>
                  <a:lnTo>
                    <a:pt x="329" y="65"/>
                  </a:lnTo>
                  <a:lnTo>
                    <a:pt x="329" y="66"/>
                  </a:lnTo>
                  <a:lnTo>
                    <a:pt x="330" y="67"/>
                  </a:lnTo>
                  <a:lnTo>
                    <a:pt x="331" y="69"/>
                  </a:lnTo>
                  <a:lnTo>
                    <a:pt x="331" y="70"/>
                  </a:lnTo>
                  <a:lnTo>
                    <a:pt x="332" y="71"/>
                  </a:lnTo>
                  <a:lnTo>
                    <a:pt x="334" y="72"/>
                  </a:lnTo>
                  <a:lnTo>
                    <a:pt x="334" y="73"/>
                  </a:lnTo>
                  <a:lnTo>
                    <a:pt x="335" y="74"/>
                  </a:lnTo>
                  <a:lnTo>
                    <a:pt x="336" y="75"/>
                  </a:lnTo>
                  <a:lnTo>
                    <a:pt x="336" y="76"/>
                  </a:lnTo>
                  <a:lnTo>
                    <a:pt x="336" y="77"/>
                  </a:lnTo>
                  <a:lnTo>
                    <a:pt x="337" y="78"/>
                  </a:lnTo>
                  <a:lnTo>
                    <a:pt x="338" y="79"/>
                  </a:lnTo>
                  <a:lnTo>
                    <a:pt x="338" y="80"/>
                  </a:lnTo>
                  <a:lnTo>
                    <a:pt x="339" y="81"/>
                  </a:lnTo>
                  <a:lnTo>
                    <a:pt x="340" y="83"/>
                  </a:lnTo>
                  <a:lnTo>
                    <a:pt x="341" y="87"/>
                  </a:lnTo>
                  <a:lnTo>
                    <a:pt x="341" y="90"/>
                  </a:lnTo>
                  <a:lnTo>
                    <a:pt x="342" y="90"/>
                  </a:lnTo>
                  <a:lnTo>
                    <a:pt x="342" y="91"/>
                  </a:lnTo>
                  <a:lnTo>
                    <a:pt x="343" y="92"/>
                  </a:lnTo>
                  <a:lnTo>
                    <a:pt x="343" y="93"/>
                  </a:lnTo>
                  <a:lnTo>
                    <a:pt x="344" y="94"/>
                  </a:lnTo>
                  <a:lnTo>
                    <a:pt x="346" y="95"/>
                  </a:lnTo>
                  <a:lnTo>
                    <a:pt x="346" y="95"/>
                  </a:lnTo>
                  <a:lnTo>
                    <a:pt x="347" y="96"/>
                  </a:lnTo>
                  <a:lnTo>
                    <a:pt x="347" y="97"/>
                  </a:lnTo>
                  <a:lnTo>
                    <a:pt x="347" y="97"/>
                  </a:lnTo>
                  <a:lnTo>
                    <a:pt x="349" y="100"/>
                  </a:lnTo>
                  <a:lnTo>
                    <a:pt x="349" y="101"/>
                  </a:lnTo>
                  <a:lnTo>
                    <a:pt x="350" y="101"/>
                  </a:lnTo>
                  <a:lnTo>
                    <a:pt x="350" y="102"/>
                  </a:lnTo>
                  <a:lnTo>
                    <a:pt x="351" y="104"/>
                  </a:lnTo>
                  <a:lnTo>
                    <a:pt x="352" y="104"/>
                  </a:lnTo>
                  <a:lnTo>
                    <a:pt x="353" y="105"/>
                  </a:lnTo>
                  <a:lnTo>
                    <a:pt x="353" y="105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5" y="106"/>
                  </a:lnTo>
                  <a:lnTo>
                    <a:pt x="355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7" y="106"/>
                  </a:lnTo>
                  <a:lnTo>
                    <a:pt x="357" y="105"/>
                  </a:lnTo>
                  <a:lnTo>
                    <a:pt x="358" y="104"/>
                  </a:lnTo>
                  <a:lnTo>
                    <a:pt x="358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60" y="103"/>
                  </a:lnTo>
                  <a:lnTo>
                    <a:pt x="360" y="103"/>
                  </a:lnTo>
                  <a:lnTo>
                    <a:pt x="360" y="104"/>
                  </a:lnTo>
                  <a:lnTo>
                    <a:pt x="360" y="104"/>
                  </a:lnTo>
                  <a:lnTo>
                    <a:pt x="360" y="105"/>
                  </a:lnTo>
                  <a:lnTo>
                    <a:pt x="361" y="107"/>
                  </a:lnTo>
                  <a:lnTo>
                    <a:pt x="360" y="108"/>
                  </a:lnTo>
                  <a:lnTo>
                    <a:pt x="360" y="110"/>
                  </a:lnTo>
                  <a:lnTo>
                    <a:pt x="360" y="111"/>
                  </a:lnTo>
                  <a:lnTo>
                    <a:pt x="360" y="113"/>
                  </a:lnTo>
                  <a:lnTo>
                    <a:pt x="359" y="116"/>
                  </a:lnTo>
                  <a:lnTo>
                    <a:pt x="359" y="119"/>
                  </a:lnTo>
                  <a:lnTo>
                    <a:pt x="358" y="121"/>
                  </a:lnTo>
                  <a:lnTo>
                    <a:pt x="358" y="121"/>
                  </a:lnTo>
                  <a:lnTo>
                    <a:pt x="358" y="122"/>
                  </a:lnTo>
                  <a:lnTo>
                    <a:pt x="358" y="122"/>
                  </a:lnTo>
                  <a:lnTo>
                    <a:pt x="359" y="123"/>
                  </a:lnTo>
                  <a:lnTo>
                    <a:pt x="359" y="123"/>
                  </a:lnTo>
                  <a:lnTo>
                    <a:pt x="359" y="123"/>
                  </a:lnTo>
                  <a:lnTo>
                    <a:pt x="360" y="124"/>
                  </a:lnTo>
                  <a:lnTo>
                    <a:pt x="360" y="124"/>
                  </a:lnTo>
                  <a:lnTo>
                    <a:pt x="361" y="125"/>
                  </a:lnTo>
                  <a:lnTo>
                    <a:pt x="364" y="126"/>
                  </a:lnTo>
                  <a:lnTo>
                    <a:pt x="365" y="127"/>
                  </a:lnTo>
                  <a:lnTo>
                    <a:pt x="367" y="128"/>
                  </a:lnTo>
                  <a:lnTo>
                    <a:pt x="369" y="128"/>
                  </a:lnTo>
                  <a:lnTo>
                    <a:pt x="371" y="129"/>
                  </a:lnTo>
                  <a:lnTo>
                    <a:pt x="374" y="130"/>
                  </a:lnTo>
                  <a:lnTo>
                    <a:pt x="375" y="131"/>
                  </a:lnTo>
                  <a:lnTo>
                    <a:pt x="377" y="131"/>
                  </a:lnTo>
                  <a:lnTo>
                    <a:pt x="379" y="132"/>
                  </a:lnTo>
                  <a:lnTo>
                    <a:pt x="380" y="133"/>
                  </a:lnTo>
                  <a:lnTo>
                    <a:pt x="381" y="134"/>
                  </a:lnTo>
                  <a:lnTo>
                    <a:pt x="384" y="136"/>
                  </a:lnTo>
                  <a:lnTo>
                    <a:pt x="385" y="137"/>
                  </a:lnTo>
                  <a:lnTo>
                    <a:pt x="386" y="138"/>
                  </a:lnTo>
                  <a:lnTo>
                    <a:pt x="386" y="138"/>
                  </a:lnTo>
                  <a:lnTo>
                    <a:pt x="387" y="139"/>
                  </a:lnTo>
                  <a:lnTo>
                    <a:pt x="387" y="140"/>
                  </a:lnTo>
                  <a:lnTo>
                    <a:pt x="387" y="141"/>
                  </a:lnTo>
                  <a:lnTo>
                    <a:pt x="389" y="146"/>
                  </a:lnTo>
                  <a:lnTo>
                    <a:pt x="390" y="149"/>
                  </a:lnTo>
                  <a:lnTo>
                    <a:pt x="390" y="150"/>
                  </a:lnTo>
                  <a:lnTo>
                    <a:pt x="392" y="153"/>
                  </a:lnTo>
                  <a:lnTo>
                    <a:pt x="394" y="158"/>
                  </a:lnTo>
                  <a:lnTo>
                    <a:pt x="394" y="160"/>
                  </a:lnTo>
                  <a:lnTo>
                    <a:pt x="390" y="166"/>
                  </a:lnTo>
                  <a:lnTo>
                    <a:pt x="389" y="168"/>
                  </a:lnTo>
                  <a:lnTo>
                    <a:pt x="389" y="170"/>
                  </a:lnTo>
                  <a:lnTo>
                    <a:pt x="389" y="171"/>
                  </a:lnTo>
                  <a:lnTo>
                    <a:pt x="388" y="172"/>
                  </a:lnTo>
                  <a:lnTo>
                    <a:pt x="388" y="173"/>
                  </a:lnTo>
                  <a:lnTo>
                    <a:pt x="388" y="174"/>
                  </a:lnTo>
                  <a:lnTo>
                    <a:pt x="388" y="175"/>
                  </a:lnTo>
                  <a:lnTo>
                    <a:pt x="388" y="176"/>
                  </a:lnTo>
                  <a:lnTo>
                    <a:pt x="389" y="179"/>
                  </a:lnTo>
                  <a:lnTo>
                    <a:pt x="389" y="181"/>
                  </a:lnTo>
                  <a:lnTo>
                    <a:pt x="389" y="182"/>
                  </a:lnTo>
                  <a:lnTo>
                    <a:pt x="389" y="186"/>
                  </a:lnTo>
                  <a:lnTo>
                    <a:pt x="389" y="187"/>
                  </a:lnTo>
                  <a:lnTo>
                    <a:pt x="390" y="188"/>
                  </a:lnTo>
                  <a:lnTo>
                    <a:pt x="390" y="189"/>
                  </a:lnTo>
                  <a:lnTo>
                    <a:pt x="391" y="191"/>
                  </a:lnTo>
                  <a:lnTo>
                    <a:pt x="393" y="195"/>
                  </a:lnTo>
                  <a:lnTo>
                    <a:pt x="394" y="198"/>
                  </a:lnTo>
                  <a:lnTo>
                    <a:pt x="394" y="199"/>
                  </a:lnTo>
                  <a:lnTo>
                    <a:pt x="394" y="199"/>
                  </a:lnTo>
                  <a:lnTo>
                    <a:pt x="394" y="200"/>
                  </a:lnTo>
                  <a:lnTo>
                    <a:pt x="394" y="201"/>
                  </a:lnTo>
                  <a:lnTo>
                    <a:pt x="394" y="202"/>
                  </a:lnTo>
                  <a:lnTo>
                    <a:pt x="394" y="203"/>
                  </a:lnTo>
                  <a:lnTo>
                    <a:pt x="394" y="204"/>
                  </a:lnTo>
                  <a:lnTo>
                    <a:pt x="394" y="204"/>
                  </a:lnTo>
                  <a:lnTo>
                    <a:pt x="394" y="205"/>
                  </a:lnTo>
                  <a:lnTo>
                    <a:pt x="395" y="205"/>
                  </a:lnTo>
                  <a:lnTo>
                    <a:pt x="395" y="205"/>
                  </a:lnTo>
                  <a:lnTo>
                    <a:pt x="396" y="205"/>
                  </a:lnTo>
                  <a:lnTo>
                    <a:pt x="397" y="205"/>
                  </a:lnTo>
                  <a:lnTo>
                    <a:pt x="399" y="205"/>
                  </a:lnTo>
                  <a:lnTo>
                    <a:pt x="401" y="205"/>
                  </a:lnTo>
                  <a:lnTo>
                    <a:pt x="402" y="205"/>
                  </a:lnTo>
                  <a:lnTo>
                    <a:pt x="403" y="205"/>
                  </a:lnTo>
                  <a:lnTo>
                    <a:pt x="404" y="205"/>
                  </a:lnTo>
                  <a:lnTo>
                    <a:pt x="405" y="205"/>
                  </a:lnTo>
                  <a:lnTo>
                    <a:pt x="405" y="205"/>
                  </a:lnTo>
                  <a:lnTo>
                    <a:pt x="406" y="206"/>
                  </a:lnTo>
                  <a:lnTo>
                    <a:pt x="406" y="206"/>
                  </a:lnTo>
                  <a:lnTo>
                    <a:pt x="406" y="207"/>
                  </a:lnTo>
                  <a:lnTo>
                    <a:pt x="407" y="207"/>
                  </a:lnTo>
                  <a:lnTo>
                    <a:pt x="407" y="208"/>
                  </a:lnTo>
                  <a:lnTo>
                    <a:pt x="407" y="209"/>
                  </a:lnTo>
                  <a:lnTo>
                    <a:pt x="407" y="210"/>
                  </a:lnTo>
                  <a:lnTo>
                    <a:pt x="407" y="211"/>
                  </a:lnTo>
                  <a:lnTo>
                    <a:pt x="407" y="212"/>
                  </a:lnTo>
                  <a:lnTo>
                    <a:pt x="406" y="213"/>
                  </a:lnTo>
                  <a:lnTo>
                    <a:pt x="406" y="214"/>
                  </a:lnTo>
                  <a:lnTo>
                    <a:pt x="405" y="216"/>
                  </a:lnTo>
                  <a:lnTo>
                    <a:pt x="405" y="217"/>
                  </a:lnTo>
                  <a:lnTo>
                    <a:pt x="404" y="218"/>
                  </a:lnTo>
                  <a:lnTo>
                    <a:pt x="404" y="219"/>
                  </a:lnTo>
                  <a:lnTo>
                    <a:pt x="403" y="220"/>
                  </a:lnTo>
                  <a:lnTo>
                    <a:pt x="403" y="221"/>
                  </a:lnTo>
                  <a:lnTo>
                    <a:pt x="403" y="221"/>
                  </a:lnTo>
                  <a:lnTo>
                    <a:pt x="401" y="222"/>
                  </a:lnTo>
                  <a:lnTo>
                    <a:pt x="399" y="224"/>
                  </a:lnTo>
                  <a:lnTo>
                    <a:pt x="397" y="226"/>
                  </a:lnTo>
                  <a:lnTo>
                    <a:pt x="396" y="226"/>
                  </a:lnTo>
                  <a:lnTo>
                    <a:pt x="395" y="227"/>
                  </a:lnTo>
                  <a:lnTo>
                    <a:pt x="394" y="227"/>
                  </a:lnTo>
                  <a:lnTo>
                    <a:pt x="394" y="229"/>
                  </a:lnTo>
                  <a:lnTo>
                    <a:pt x="393" y="230"/>
                  </a:lnTo>
                  <a:lnTo>
                    <a:pt x="392" y="231"/>
                  </a:lnTo>
                  <a:lnTo>
                    <a:pt x="390" y="235"/>
                  </a:lnTo>
                  <a:lnTo>
                    <a:pt x="389" y="236"/>
                  </a:lnTo>
                  <a:lnTo>
                    <a:pt x="389" y="237"/>
                  </a:lnTo>
                  <a:lnTo>
                    <a:pt x="388" y="238"/>
                  </a:lnTo>
                  <a:lnTo>
                    <a:pt x="387" y="239"/>
                  </a:lnTo>
                  <a:lnTo>
                    <a:pt x="387" y="239"/>
                  </a:lnTo>
                  <a:lnTo>
                    <a:pt x="385" y="241"/>
                  </a:lnTo>
                  <a:lnTo>
                    <a:pt x="385" y="241"/>
                  </a:lnTo>
                  <a:lnTo>
                    <a:pt x="384" y="241"/>
                  </a:lnTo>
                  <a:lnTo>
                    <a:pt x="384" y="242"/>
                  </a:lnTo>
                  <a:lnTo>
                    <a:pt x="384" y="243"/>
                  </a:lnTo>
                  <a:lnTo>
                    <a:pt x="383" y="244"/>
                  </a:lnTo>
                  <a:lnTo>
                    <a:pt x="383" y="245"/>
                  </a:lnTo>
                  <a:lnTo>
                    <a:pt x="383" y="246"/>
                  </a:lnTo>
                  <a:lnTo>
                    <a:pt x="383" y="247"/>
                  </a:lnTo>
                  <a:lnTo>
                    <a:pt x="384" y="249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5" y="251"/>
                  </a:lnTo>
                  <a:lnTo>
                    <a:pt x="385" y="251"/>
                  </a:lnTo>
                  <a:lnTo>
                    <a:pt x="386" y="251"/>
                  </a:lnTo>
                  <a:lnTo>
                    <a:pt x="387" y="251"/>
                  </a:lnTo>
                  <a:lnTo>
                    <a:pt x="388" y="252"/>
                  </a:lnTo>
                  <a:lnTo>
                    <a:pt x="389" y="252"/>
                  </a:lnTo>
                  <a:lnTo>
                    <a:pt x="390" y="251"/>
                  </a:lnTo>
                  <a:lnTo>
                    <a:pt x="391" y="251"/>
                  </a:lnTo>
                  <a:lnTo>
                    <a:pt x="392" y="251"/>
                  </a:lnTo>
                  <a:lnTo>
                    <a:pt x="394" y="251"/>
                  </a:lnTo>
                  <a:lnTo>
                    <a:pt x="396" y="250"/>
                  </a:lnTo>
                  <a:lnTo>
                    <a:pt x="403" y="247"/>
                  </a:lnTo>
                  <a:lnTo>
                    <a:pt x="405" y="247"/>
                  </a:lnTo>
                  <a:lnTo>
                    <a:pt x="406" y="246"/>
                  </a:lnTo>
                  <a:lnTo>
                    <a:pt x="407" y="246"/>
                  </a:lnTo>
                  <a:lnTo>
                    <a:pt x="408" y="246"/>
                  </a:lnTo>
                  <a:lnTo>
                    <a:pt x="409" y="246"/>
                  </a:lnTo>
                  <a:lnTo>
                    <a:pt x="410" y="246"/>
                  </a:lnTo>
                  <a:lnTo>
                    <a:pt x="411" y="246"/>
                  </a:lnTo>
                  <a:lnTo>
                    <a:pt x="411" y="246"/>
                  </a:lnTo>
                  <a:lnTo>
                    <a:pt x="412" y="247"/>
                  </a:lnTo>
                  <a:lnTo>
                    <a:pt x="412" y="247"/>
                  </a:lnTo>
                  <a:lnTo>
                    <a:pt x="413" y="248"/>
                  </a:lnTo>
                  <a:lnTo>
                    <a:pt x="413" y="249"/>
                  </a:lnTo>
                  <a:lnTo>
                    <a:pt x="415" y="250"/>
                  </a:lnTo>
                  <a:lnTo>
                    <a:pt x="416" y="252"/>
                  </a:lnTo>
                  <a:lnTo>
                    <a:pt x="416" y="253"/>
                  </a:lnTo>
                  <a:lnTo>
                    <a:pt x="417" y="254"/>
                  </a:lnTo>
                  <a:lnTo>
                    <a:pt x="417" y="256"/>
                  </a:lnTo>
                  <a:lnTo>
                    <a:pt x="417" y="256"/>
                  </a:lnTo>
                  <a:lnTo>
                    <a:pt x="417" y="258"/>
                  </a:lnTo>
                  <a:lnTo>
                    <a:pt x="417" y="259"/>
                  </a:lnTo>
                  <a:lnTo>
                    <a:pt x="417" y="260"/>
                  </a:lnTo>
                  <a:lnTo>
                    <a:pt x="417" y="264"/>
                  </a:lnTo>
                  <a:lnTo>
                    <a:pt x="417" y="265"/>
                  </a:lnTo>
                  <a:lnTo>
                    <a:pt x="417" y="266"/>
                  </a:lnTo>
                  <a:lnTo>
                    <a:pt x="417" y="267"/>
                  </a:lnTo>
                  <a:lnTo>
                    <a:pt x="417" y="267"/>
                  </a:lnTo>
                  <a:lnTo>
                    <a:pt x="418" y="268"/>
                  </a:lnTo>
                  <a:lnTo>
                    <a:pt x="418" y="268"/>
                  </a:lnTo>
                  <a:lnTo>
                    <a:pt x="418" y="268"/>
                  </a:lnTo>
                  <a:lnTo>
                    <a:pt x="419" y="269"/>
                  </a:lnTo>
                  <a:lnTo>
                    <a:pt x="422" y="269"/>
                  </a:lnTo>
                  <a:lnTo>
                    <a:pt x="423" y="270"/>
                  </a:lnTo>
                  <a:lnTo>
                    <a:pt x="423" y="270"/>
                  </a:lnTo>
                  <a:lnTo>
                    <a:pt x="424" y="270"/>
                  </a:lnTo>
                  <a:lnTo>
                    <a:pt x="426" y="271"/>
                  </a:lnTo>
                  <a:lnTo>
                    <a:pt x="428" y="272"/>
                  </a:lnTo>
                  <a:lnTo>
                    <a:pt x="428" y="272"/>
                  </a:lnTo>
                  <a:lnTo>
                    <a:pt x="429" y="273"/>
                  </a:lnTo>
                  <a:lnTo>
                    <a:pt x="430" y="273"/>
                  </a:lnTo>
                  <a:lnTo>
                    <a:pt x="431" y="274"/>
                  </a:lnTo>
                  <a:lnTo>
                    <a:pt x="433" y="276"/>
                  </a:lnTo>
                  <a:lnTo>
                    <a:pt x="433" y="276"/>
                  </a:lnTo>
                  <a:lnTo>
                    <a:pt x="434" y="277"/>
                  </a:lnTo>
                  <a:lnTo>
                    <a:pt x="435" y="277"/>
                  </a:lnTo>
                  <a:lnTo>
                    <a:pt x="435" y="277"/>
                  </a:lnTo>
                  <a:lnTo>
                    <a:pt x="437" y="278"/>
                  </a:lnTo>
                  <a:lnTo>
                    <a:pt x="442" y="278"/>
                  </a:lnTo>
                  <a:lnTo>
                    <a:pt x="445" y="279"/>
                  </a:lnTo>
                  <a:lnTo>
                    <a:pt x="450" y="280"/>
                  </a:lnTo>
                  <a:lnTo>
                    <a:pt x="451" y="280"/>
                  </a:lnTo>
                  <a:lnTo>
                    <a:pt x="452" y="280"/>
                  </a:lnTo>
                  <a:lnTo>
                    <a:pt x="452" y="281"/>
                  </a:lnTo>
                  <a:lnTo>
                    <a:pt x="453" y="281"/>
                  </a:lnTo>
                  <a:lnTo>
                    <a:pt x="455" y="282"/>
                  </a:lnTo>
                  <a:lnTo>
                    <a:pt x="456" y="283"/>
                  </a:lnTo>
                  <a:lnTo>
                    <a:pt x="456" y="284"/>
                  </a:lnTo>
                  <a:lnTo>
                    <a:pt x="457" y="284"/>
                  </a:lnTo>
                  <a:lnTo>
                    <a:pt x="457" y="284"/>
                  </a:lnTo>
                  <a:lnTo>
                    <a:pt x="457" y="285"/>
                  </a:lnTo>
                  <a:lnTo>
                    <a:pt x="457" y="287"/>
                  </a:lnTo>
                  <a:lnTo>
                    <a:pt x="458" y="288"/>
                  </a:lnTo>
                  <a:lnTo>
                    <a:pt x="458" y="291"/>
                  </a:lnTo>
                  <a:lnTo>
                    <a:pt x="458" y="292"/>
                  </a:lnTo>
                  <a:lnTo>
                    <a:pt x="458" y="292"/>
                  </a:lnTo>
                  <a:lnTo>
                    <a:pt x="459" y="293"/>
                  </a:lnTo>
                  <a:lnTo>
                    <a:pt x="459" y="294"/>
                  </a:lnTo>
                  <a:lnTo>
                    <a:pt x="459" y="294"/>
                  </a:lnTo>
                  <a:lnTo>
                    <a:pt x="460" y="294"/>
                  </a:lnTo>
                  <a:lnTo>
                    <a:pt x="460" y="294"/>
                  </a:lnTo>
                  <a:lnTo>
                    <a:pt x="461" y="295"/>
                  </a:lnTo>
                  <a:lnTo>
                    <a:pt x="462" y="295"/>
                  </a:lnTo>
                  <a:lnTo>
                    <a:pt x="464" y="295"/>
                  </a:lnTo>
                  <a:lnTo>
                    <a:pt x="466" y="295"/>
                  </a:lnTo>
                  <a:lnTo>
                    <a:pt x="467" y="296"/>
                  </a:lnTo>
                  <a:lnTo>
                    <a:pt x="468" y="296"/>
                  </a:lnTo>
                  <a:lnTo>
                    <a:pt x="469" y="296"/>
                  </a:lnTo>
                  <a:lnTo>
                    <a:pt x="469" y="297"/>
                  </a:lnTo>
                  <a:lnTo>
                    <a:pt x="470" y="297"/>
                  </a:lnTo>
                  <a:lnTo>
                    <a:pt x="476" y="301"/>
                  </a:lnTo>
                  <a:lnTo>
                    <a:pt x="477" y="302"/>
                  </a:lnTo>
                  <a:lnTo>
                    <a:pt x="478" y="303"/>
                  </a:lnTo>
                  <a:lnTo>
                    <a:pt x="480" y="304"/>
                  </a:lnTo>
                  <a:lnTo>
                    <a:pt x="481" y="304"/>
                  </a:lnTo>
                  <a:lnTo>
                    <a:pt x="481" y="304"/>
                  </a:lnTo>
                  <a:lnTo>
                    <a:pt x="482" y="304"/>
                  </a:lnTo>
                  <a:lnTo>
                    <a:pt x="483" y="305"/>
                  </a:lnTo>
                  <a:lnTo>
                    <a:pt x="484" y="304"/>
                  </a:lnTo>
                  <a:lnTo>
                    <a:pt x="485" y="304"/>
                  </a:lnTo>
                  <a:lnTo>
                    <a:pt x="486" y="304"/>
                  </a:lnTo>
                  <a:lnTo>
                    <a:pt x="490" y="303"/>
                  </a:lnTo>
                  <a:lnTo>
                    <a:pt x="492" y="303"/>
                  </a:lnTo>
                  <a:lnTo>
                    <a:pt x="493" y="303"/>
                  </a:lnTo>
                  <a:lnTo>
                    <a:pt x="496" y="303"/>
                  </a:lnTo>
                  <a:lnTo>
                    <a:pt x="500" y="302"/>
                  </a:lnTo>
                  <a:lnTo>
                    <a:pt x="500" y="302"/>
                  </a:lnTo>
                  <a:lnTo>
                    <a:pt x="501" y="302"/>
                  </a:lnTo>
                  <a:lnTo>
                    <a:pt x="502" y="302"/>
                  </a:lnTo>
                  <a:lnTo>
                    <a:pt x="502" y="302"/>
                  </a:lnTo>
                  <a:lnTo>
                    <a:pt x="503" y="303"/>
                  </a:lnTo>
                  <a:lnTo>
                    <a:pt x="506" y="304"/>
                  </a:lnTo>
                  <a:lnTo>
                    <a:pt x="508" y="304"/>
                  </a:lnTo>
                  <a:lnTo>
                    <a:pt x="509" y="305"/>
                  </a:lnTo>
                  <a:lnTo>
                    <a:pt x="510" y="305"/>
                  </a:lnTo>
                  <a:lnTo>
                    <a:pt x="511" y="306"/>
                  </a:lnTo>
                  <a:lnTo>
                    <a:pt x="513" y="307"/>
                  </a:lnTo>
                  <a:lnTo>
                    <a:pt x="514" y="308"/>
                  </a:lnTo>
                  <a:lnTo>
                    <a:pt x="514" y="308"/>
                  </a:lnTo>
                  <a:lnTo>
                    <a:pt x="514" y="309"/>
                  </a:lnTo>
                  <a:lnTo>
                    <a:pt x="515" y="309"/>
                  </a:lnTo>
                  <a:lnTo>
                    <a:pt x="515" y="310"/>
                  </a:lnTo>
                  <a:lnTo>
                    <a:pt x="515" y="310"/>
                  </a:lnTo>
                  <a:lnTo>
                    <a:pt x="515" y="311"/>
                  </a:lnTo>
                  <a:lnTo>
                    <a:pt x="516" y="312"/>
                  </a:lnTo>
                  <a:lnTo>
                    <a:pt x="516" y="313"/>
                  </a:lnTo>
                  <a:lnTo>
                    <a:pt x="516" y="315"/>
                  </a:lnTo>
                  <a:lnTo>
                    <a:pt x="516" y="316"/>
                  </a:lnTo>
                  <a:lnTo>
                    <a:pt x="516" y="317"/>
                  </a:lnTo>
                  <a:lnTo>
                    <a:pt x="517" y="317"/>
                  </a:lnTo>
                  <a:lnTo>
                    <a:pt x="517" y="318"/>
                  </a:lnTo>
                  <a:lnTo>
                    <a:pt x="517" y="318"/>
                  </a:lnTo>
                  <a:lnTo>
                    <a:pt x="518" y="319"/>
                  </a:lnTo>
                  <a:lnTo>
                    <a:pt x="518" y="319"/>
                  </a:lnTo>
                  <a:lnTo>
                    <a:pt x="519" y="319"/>
                  </a:lnTo>
                  <a:lnTo>
                    <a:pt x="520" y="320"/>
                  </a:lnTo>
                  <a:lnTo>
                    <a:pt x="522" y="321"/>
                  </a:lnTo>
                  <a:lnTo>
                    <a:pt x="523" y="321"/>
                  </a:lnTo>
                  <a:lnTo>
                    <a:pt x="530" y="324"/>
                  </a:lnTo>
                  <a:lnTo>
                    <a:pt x="531" y="325"/>
                  </a:lnTo>
                  <a:lnTo>
                    <a:pt x="532" y="326"/>
                  </a:lnTo>
                  <a:lnTo>
                    <a:pt x="533" y="327"/>
                  </a:lnTo>
                  <a:lnTo>
                    <a:pt x="534" y="328"/>
                  </a:lnTo>
                  <a:lnTo>
                    <a:pt x="536" y="329"/>
                  </a:lnTo>
                  <a:lnTo>
                    <a:pt x="537" y="330"/>
                  </a:lnTo>
                  <a:lnTo>
                    <a:pt x="538" y="332"/>
                  </a:lnTo>
                  <a:lnTo>
                    <a:pt x="541" y="337"/>
                  </a:lnTo>
                  <a:lnTo>
                    <a:pt x="544" y="340"/>
                  </a:lnTo>
                  <a:lnTo>
                    <a:pt x="544" y="341"/>
                  </a:lnTo>
                  <a:lnTo>
                    <a:pt x="545" y="342"/>
                  </a:lnTo>
                  <a:lnTo>
                    <a:pt x="545" y="343"/>
                  </a:lnTo>
                  <a:lnTo>
                    <a:pt x="547" y="346"/>
                  </a:lnTo>
                  <a:lnTo>
                    <a:pt x="547" y="348"/>
                  </a:lnTo>
                  <a:lnTo>
                    <a:pt x="548" y="349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7" y="350"/>
                  </a:lnTo>
                  <a:lnTo>
                    <a:pt x="547" y="350"/>
                  </a:lnTo>
                  <a:lnTo>
                    <a:pt x="546" y="350"/>
                  </a:lnTo>
                  <a:lnTo>
                    <a:pt x="544" y="351"/>
                  </a:lnTo>
                  <a:lnTo>
                    <a:pt x="541" y="354"/>
                  </a:lnTo>
                  <a:lnTo>
                    <a:pt x="536" y="357"/>
                  </a:lnTo>
                  <a:lnTo>
                    <a:pt x="535" y="358"/>
                  </a:lnTo>
                  <a:lnTo>
                    <a:pt x="532" y="361"/>
                  </a:lnTo>
                  <a:lnTo>
                    <a:pt x="531" y="361"/>
                  </a:lnTo>
                  <a:lnTo>
                    <a:pt x="530" y="362"/>
                  </a:lnTo>
                  <a:lnTo>
                    <a:pt x="529" y="362"/>
                  </a:lnTo>
                  <a:lnTo>
                    <a:pt x="529" y="362"/>
                  </a:lnTo>
                  <a:lnTo>
                    <a:pt x="528" y="363"/>
                  </a:lnTo>
                  <a:lnTo>
                    <a:pt x="527" y="363"/>
                  </a:lnTo>
                  <a:lnTo>
                    <a:pt x="525" y="363"/>
                  </a:lnTo>
                  <a:lnTo>
                    <a:pt x="522" y="364"/>
                  </a:lnTo>
                  <a:lnTo>
                    <a:pt x="521" y="364"/>
                  </a:lnTo>
                  <a:lnTo>
                    <a:pt x="521" y="364"/>
                  </a:lnTo>
                  <a:lnTo>
                    <a:pt x="520" y="365"/>
                  </a:lnTo>
                  <a:lnTo>
                    <a:pt x="519" y="366"/>
                  </a:lnTo>
                  <a:lnTo>
                    <a:pt x="518" y="367"/>
                  </a:lnTo>
                  <a:lnTo>
                    <a:pt x="517" y="367"/>
                  </a:lnTo>
                  <a:lnTo>
                    <a:pt x="517" y="367"/>
                  </a:lnTo>
                  <a:lnTo>
                    <a:pt x="516" y="367"/>
                  </a:lnTo>
                  <a:lnTo>
                    <a:pt x="514" y="368"/>
                  </a:lnTo>
                  <a:lnTo>
                    <a:pt x="513" y="368"/>
                  </a:lnTo>
                  <a:lnTo>
                    <a:pt x="513" y="368"/>
                  </a:lnTo>
                  <a:lnTo>
                    <a:pt x="512" y="368"/>
                  </a:lnTo>
                  <a:lnTo>
                    <a:pt x="511" y="368"/>
                  </a:lnTo>
                  <a:lnTo>
                    <a:pt x="511" y="367"/>
                  </a:lnTo>
                  <a:lnTo>
                    <a:pt x="510" y="367"/>
                  </a:lnTo>
                  <a:lnTo>
                    <a:pt x="509" y="366"/>
                  </a:lnTo>
                  <a:lnTo>
                    <a:pt x="509" y="366"/>
                  </a:lnTo>
                  <a:lnTo>
                    <a:pt x="508" y="366"/>
                  </a:lnTo>
                  <a:lnTo>
                    <a:pt x="506" y="365"/>
                  </a:lnTo>
                  <a:lnTo>
                    <a:pt x="506" y="365"/>
                  </a:lnTo>
                  <a:lnTo>
                    <a:pt x="505" y="364"/>
                  </a:lnTo>
                  <a:lnTo>
                    <a:pt x="504" y="363"/>
                  </a:lnTo>
                  <a:lnTo>
                    <a:pt x="500" y="361"/>
                  </a:lnTo>
                  <a:lnTo>
                    <a:pt x="499" y="360"/>
                  </a:lnTo>
                  <a:lnTo>
                    <a:pt x="497" y="359"/>
                  </a:lnTo>
                  <a:lnTo>
                    <a:pt x="496" y="359"/>
                  </a:lnTo>
                  <a:lnTo>
                    <a:pt x="495" y="358"/>
                  </a:lnTo>
                  <a:lnTo>
                    <a:pt x="493" y="358"/>
                  </a:lnTo>
                  <a:lnTo>
                    <a:pt x="492" y="358"/>
                  </a:lnTo>
                  <a:lnTo>
                    <a:pt x="491" y="358"/>
                  </a:lnTo>
                  <a:lnTo>
                    <a:pt x="490" y="358"/>
                  </a:lnTo>
                  <a:lnTo>
                    <a:pt x="489" y="358"/>
                  </a:lnTo>
                  <a:lnTo>
                    <a:pt x="489" y="358"/>
                  </a:lnTo>
                  <a:lnTo>
                    <a:pt x="488" y="358"/>
                  </a:lnTo>
                  <a:lnTo>
                    <a:pt x="487" y="358"/>
                  </a:lnTo>
                  <a:lnTo>
                    <a:pt x="485" y="359"/>
                  </a:lnTo>
                  <a:lnTo>
                    <a:pt x="485" y="360"/>
                  </a:lnTo>
                  <a:lnTo>
                    <a:pt x="484" y="361"/>
                  </a:lnTo>
                  <a:lnTo>
                    <a:pt x="481" y="363"/>
                  </a:lnTo>
                  <a:lnTo>
                    <a:pt x="480" y="364"/>
                  </a:lnTo>
                  <a:lnTo>
                    <a:pt x="475" y="367"/>
                  </a:lnTo>
                  <a:lnTo>
                    <a:pt x="474" y="368"/>
                  </a:lnTo>
                  <a:lnTo>
                    <a:pt x="473" y="369"/>
                  </a:lnTo>
                  <a:lnTo>
                    <a:pt x="472" y="369"/>
                  </a:lnTo>
                  <a:lnTo>
                    <a:pt x="471" y="369"/>
                  </a:lnTo>
                  <a:lnTo>
                    <a:pt x="471" y="369"/>
                  </a:lnTo>
                  <a:lnTo>
                    <a:pt x="470" y="369"/>
                  </a:lnTo>
                  <a:lnTo>
                    <a:pt x="468" y="370"/>
                  </a:lnTo>
                  <a:lnTo>
                    <a:pt x="465" y="370"/>
                  </a:lnTo>
                  <a:lnTo>
                    <a:pt x="464" y="370"/>
                  </a:lnTo>
                  <a:lnTo>
                    <a:pt x="463" y="370"/>
                  </a:lnTo>
                  <a:lnTo>
                    <a:pt x="462" y="369"/>
                  </a:lnTo>
                  <a:lnTo>
                    <a:pt x="461" y="369"/>
                  </a:lnTo>
                  <a:lnTo>
                    <a:pt x="461" y="369"/>
                  </a:lnTo>
                  <a:lnTo>
                    <a:pt x="459" y="368"/>
                  </a:lnTo>
                  <a:lnTo>
                    <a:pt x="458" y="367"/>
                  </a:lnTo>
                  <a:lnTo>
                    <a:pt x="457" y="367"/>
                  </a:lnTo>
                  <a:lnTo>
                    <a:pt x="455" y="365"/>
                  </a:lnTo>
                  <a:lnTo>
                    <a:pt x="454" y="364"/>
                  </a:lnTo>
                  <a:lnTo>
                    <a:pt x="452" y="362"/>
                  </a:lnTo>
                  <a:lnTo>
                    <a:pt x="449" y="360"/>
                  </a:lnTo>
                  <a:lnTo>
                    <a:pt x="448" y="359"/>
                  </a:lnTo>
                  <a:lnTo>
                    <a:pt x="448" y="359"/>
                  </a:lnTo>
                  <a:lnTo>
                    <a:pt x="447" y="358"/>
                  </a:lnTo>
                  <a:lnTo>
                    <a:pt x="444" y="357"/>
                  </a:lnTo>
                  <a:lnTo>
                    <a:pt x="443" y="357"/>
                  </a:lnTo>
                  <a:lnTo>
                    <a:pt x="439" y="354"/>
                  </a:lnTo>
                  <a:lnTo>
                    <a:pt x="436" y="352"/>
                  </a:lnTo>
                  <a:lnTo>
                    <a:pt x="435" y="351"/>
                  </a:lnTo>
                  <a:lnTo>
                    <a:pt x="434" y="351"/>
                  </a:lnTo>
                  <a:lnTo>
                    <a:pt x="433" y="351"/>
                  </a:lnTo>
                  <a:lnTo>
                    <a:pt x="429" y="349"/>
                  </a:lnTo>
                  <a:lnTo>
                    <a:pt x="426" y="348"/>
                  </a:lnTo>
                  <a:lnTo>
                    <a:pt x="424" y="348"/>
                  </a:lnTo>
                  <a:lnTo>
                    <a:pt x="423" y="347"/>
                  </a:lnTo>
                  <a:lnTo>
                    <a:pt x="421" y="347"/>
                  </a:lnTo>
                  <a:lnTo>
                    <a:pt x="420" y="346"/>
                  </a:lnTo>
                  <a:lnTo>
                    <a:pt x="418" y="346"/>
                  </a:lnTo>
                  <a:lnTo>
                    <a:pt x="417" y="346"/>
                  </a:lnTo>
                  <a:lnTo>
                    <a:pt x="415" y="345"/>
                  </a:lnTo>
                  <a:lnTo>
                    <a:pt x="414" y="345"/>
                  </a:lnTo>
                  <a:lnTo>
                    <a:pt x="413" y="345"/>
                  </a:lnTo>
                  <a:lnTo>
                    <a:pt x="412" y="346"/>
                  </a:lnTo>
                  <a:lnTo>
                    <a:pt x="411" y="346"/>
                  </a:lnTo>
                  <a:lnTo>
                    <a:pt x="411" y="346"/>
                  </a:lnTo>
                  <a:lnTo>
                    <a:pt x="410" y="347"/>
                  </a:lnTo>
                  <a:lnTo>
                    <a:pt x="409" y="347"/>
                  </a:lnTo>
                  <a:lnTo>
                    <a:pt x="408" y="348"/>
                  </a:lnTo>
                  <a:lnTo>
                    <a:pt x="407" y="348"/>
                  </a:lnTo>
                  <a:lnTo>
                    <a:pt x="405" y="350"/>
                  </a:lnTo>
                  <a:lnTo>
                    <a:pt x="403" y="353"/>
                  </a:lnTo>
                  <a:lnTo>
                    <a:pt x="398" y="357"/>
                  </a:lnTo>
                  <a:lnTo>
                    <a:pt x="396" y="358"/>
                  </a:lnTo>
                  <a:lnTo>
                    <a:pt x="392" y="361"/>
                  </a:lnTo>
                  <a:lnTo>
                    <a:pt x="390" y="363"/>
                  </a:lnTo>
                  <a:lnTo>
                    <a:pt x="389" y="364"/>
                  </a:lnTo>
                  <a:lnTo>
                    <a:pt x="388" y="365"/>
                  </a:lnTo>
                  <a:lnTo>
                    <a:pt x="387" y="366"/>
                  </a:lnTo>
                  <a:lnTo>
                    <a:pt x="386" y="367"/>
                  </a:lnTo>
                  <a:lnTo>
                    <a:pt x="386" y="367"/>
                  </a:lnTo>
                  <a:lnTo>
                    <a:pt x="385" y="368"/>
                  </a:lnTo>
                  <a:lnTo>
                    <a:pt x="385" y="369"/>
                  </a:lnTo>
                  <a:lnTo>
                    <a:pt x="384" y="370"/>
                  </a:lnTo>
                  <a:lnTo>
                    <a:pt x="383" y="375"/>
                  </a:lnTo>
                  <a:lnTo>
                    <a:pt x="382" y="376"/>
                  </a:lnTo>
                  <a:lnTo>
                    <a:pt x="382" y="377"/>
                  </a:lnTo>
                  <a:lnTo>
                    <a:pt x="381" y="378"/>
                  </a:lnTo>
                  <a:lnTo>
                    <a:pt x="380" y="380"/>
                  </a:lnTo>
                  <a:lnTo>
                    <a:pt x="379" y="383"/>
                  </a:lnTo>
                  <a:lnTo>
                    <a:pt x="378" y="385"/>
                  </a:lnTo>
                  <a:lnTo>
                    <a:pt x="377" y="386"/>
                  </a:lnTo>
                  <a:lnTo>
                    <a:pt x="376" y="387"/>
                  </a:lnTo>
                  <a:lnTo>
                    <a:pt x="372" y="391"/>
                  </a:lnTo>
                  <a:lnTo>
                    <a:pt x="368" y="396"/>
                  </a:lnTo>
                  <a:lnTo>
                    <a:pt x="367" y="397"/>
                  </a:lnTo>
                  <a:lnTo>
                    <a:pt x="365" y="399"/>
                  </a:lnTo>
                  <a:lnTo>
                    <a:pt x="365" y="400"/>
                  </a:lnTo>
                  <a:lnTo>
                    <a:pt x="361" y="406"/>
                  </a:lnTo>
                  <a:lnTo>
                    <a:pt x="360" y="408"/>
                  </a:lnTo>
                  <a:lnTo>
                    <a:pt x="358" y="412"/>
                  </a:lnTo>
                  <a:lnTo>
                    <a:pt x="357" y="414"/>
                  </a:lnTo>
                  <a:lnTo>
                    <a:pt x="355" y="418"/>
                  </a:lnTo>
                  <a:lnTo>
                    <a:pt x="354" y="421"/>
                  </a:lnTo>
                  <a:lnTo>
                    <a:pt x="353" y="423"/>
                  </a:lnTo>
                  <a:lnTo>
                    <a:pt x="352" y="425"/>
                  </a:lnTo>
                  <a:lnTo>
                    <a:pt x="351" y="429"/>
                  </a:lnTo>
                  <a:lnTo>
                    <a:pt x="350" y="431"/>
                  </a:lnTo>
                  <a:lnTo>
                    <a:pt x="350" y="432"/>
                  </a:lnTo>
                  <a:lnTo>
                    <a:pt x="348" y="435"/>
                  </a:lnTo>
                  <a:lnTo>
                    <a:pt x="347" y="436"/>
                  </a:lnTo>
                  <a:lnTo>
                    <a:pt x="346" y="438"/>
                  </a:lnTo>
                  <a:lnTo>
                    <a:pt x="345" y="440"/>
                  </a:lnTo>
                  <a:lnTo>
                    <a:pt x="345" y="442"/>
                  </a:lnTo>
                  <a:lnTo>
                    <a:pt x="345" y="443"/>
                  </a:lnTo>
                  <a:lnTo>
                    <a:pt x="344" y="444"/>
                  </a:lnTo>
                  <a:lnTo>
                    <a:pt x="344" y="447"/>
                  </a:lnTo>
                  <a:lnTo>
                    <a:pt x="343" y="451"/>
                  </a:lnTo>
                  <a:lnTo>
                    <a:pt x="342" y="453"/>
                  </a:lnTo>
                  <a:lnTo>
                    <a:pt x="342" y="455"/>
                  </a:lnTo>
                  <a:lnTo>
                    <a:pt x="342" y="456"/>
                  </a:lnTo>
                  <a:lnTo>
                    <a:pt x="341" y="458"/>
                  </a:lnTo>
                  <a:lnTo>
                    <a:pt x="341" y="458"/>
                  </a:lnTo>
                  <a:lnTo>
                    <a:pt x="340" y="460"/>
                  </a:lnTo>
                  <a:lnTo>
                    <a:pt x="340" y="461"/>
                  </a:lnTo>
                  <a:lnTo>
                    <a:pt x="339" y="461"/>
                  </a:lnTo>
                  <a:lnTo>
                    <a:pt x="338" y="462"/>
                  </a:lnTo>
                  <a:lnTo>
                    <a:pt x="337" y="463"/>
                  </a:lnTo>
                  <a:lnTo>
                    <a:pt x="337" y="463"/>
                  </a:lnTo>
                  <a:lnTo>
                    <a:pt x="336" y="464"/>
                  </a:lnTo>
                  <a:lnTo>
                    <a:pt x="335" y="464"/>
                  </a:lnTo>
                  <a:lnTo>
                    <a:pt x="335" y="464"/>
                  </a:lnTo>
                  <a:lnTo>
                    <a:pt x="334" y="464"/>
                  </a:lnTo>
                  <a:lnTo>
                    <a:pt x="334" y="464"/>
                  </a:lnTo>
                  <a:lnTo>
                    <a:pt x="333" y="464"/>
                  </a:lnTo>
                  <a:lnTo>
                    <a:pt x="332" y="464"/>
                  </a:lnTo>
                  <a:lnTo>
                    <a:pt x="332" y="463"/>
                  </a:lnTo>
                  <a:lnTo>
                    <a:pt x="331" y="463"/>
                  </a:lnTo>
                  <a:lnTo>
                    <a:pt x="331" y="462"/>
                  </a:lnTo>
                  <a:lnTo>
                    <a:pt x="331" y="462"/>
                  </a:lnTo>
                  <a:lnTo>
                    <a:pt x="331" y="461"/>
                  </a:lnTo>
                  <a:lnTo>
                    <a:pt x="331" y="460"/>
                  </a:lnTo>
                  <a:lnTo>
                    <a:pt x="331" y="460"/>
                  </a:lnTo>
                  <a:lnTo>
                    <a:pt x="330" y="456"/>
                  </a:lnTo>
                  <a:lnTo>
                    <a:pt x="329" y="452"/>
                  </a:lnTo>
                  <a:lnTo>
                    <a:pt x="329" y="450"/>
                  </a:lnTo>
                  <a:lnTo>
                    <a:pt x="329" y="447"/>
                  </a:lnTo>
                  <a:lnTo>
                    <a:pt x="329" y="445"/>
                  </a:lnTo>
                  <a:lnTo>
                    <a:pt x="328" y="442"/>
                  </a:lnTo>
                  <a:lnTo>
                    <a:pt x="327" y="439"/>
                  </a:lnTo>
                  <a:lnTo>
                    <a:pt x="327" y="438"/>
                  </a:lnTo>
                  <a:lnTo>
                    <a:pt x="327" y="436"/>
                  </a:lnTo>
                  <a:lnTo>
                    <a:pt x="327" y="432"/>
                  </a:lnTo>
                  <a:lnTo>
                    <a:pt x="326" y="431"/>
                  </a:lnTo>
                  <a:lnTo>
                    <a:pt x="326" y="429"/>
                  </a:lnTo>
                  <a:lnTo>
                    <a:pt x="326" y="428"/>
                  </a:lnTo>
                  <a:lnTo>
                    <a:pt x="326" y="427"/>
                  </a:lnTo>
                  <a:lnTo>
                    <a:pt x="325" y="426"/>
                  </a:lnTo>
                  <a:lnTo>
                    <a:pt x="325" y="425"/>
                  </a:lnTo>
                  <a:lnTo>
                    <a:pt x="324" y="424"/>
                  </a:lnTo>
                  <a:lnTo>
                    <a:pt x="323" y="423"/>
                  </a:lnTo>
                  <a:lnTo>
                    <a:pt x="322" y="422"/>
                  </a:lnTo>
                  <a:lnTo>
                    <a:pt x="322" y="421"/>
                  </a:lnTo>
                  <a:lnTo>
                    <a:pt x="321" y="421"/>
                  </a:lnTo>
                  <a:lnTo>
                    <a:pt x="321" y="421"/>
                  </a:lnTo>
                  <a:lnTo>
                    <a:pt x="320" y="421"/>
                  </a:lnTo>
                  <a:lnTo>
                    <a:pt x="319" y="420"/>
                  </a:lnTo>
                  <a:lnTo>
                    <a:pt x="318" y="420"/>
                  </a:lnTo>
                  <a:lnTo>
                    <a:pt x="317" y="420"/>
                  </a:lnTo>
                  <a:lnTo>
                    <a:pt x="316" y="420"/>
                  </a:lnTo>
                  <a:lnTo>
                    <a:pt x="316" y="420"/>
                  </a:lnTo>
                  <a:lnTo>
                    <a:pt x="315" y="420"/>
                  </a:lnTo>
                  <a:lnTo>
                    <a:pt x="314" y="420"/>
                  </a:lnTo>
                  <a:lnTo>
                    <a:pt x="312" y="421"/>
                  </a:lnTo>
                  <a:lnTo>
                    <a:pt x="311" y="421"/>
                  </a:lnTo>
                  <a:lnTo>
                    <a:pt x="309" y="421"/>
                  </a:lnTo>
                  <a:lnTo>
                    <a:pt x="307" y="422"/>
                  </a:lnTo>
                  <a:lnTo>
                    <a:pt x="305" y="422"/>
                  </a:lnTo>
                  <a:lnTo>
                    <a:pt x="302" y="422"/>
                  </a:lnTo>
                  <a:lnTo>
                    <a:pt x="298" y="423"/>
                  </a:lnTo>
                  <a:lnTo>
                    <a:pt x="296" y="423"/>
                  </a:lnTo>
                  <a:lnTo>
                    <a:pt x="293" y="424"/>
                  </a:lnTo>
                  <a:lnTo>
                    <a:pt x="292" y="424"/>
                  </a:lnTo>
                  <a:lnTo>
                    <a:pt x="291" y="424"/>
                  </a:lnTo>
                  <a:lnTo>
                    <a:pt x="289" y="423"/>
                  </a:lnTo>
                  <a:lnTo>
                    <a:pt x="285" y="423"/>
                  </a:lnTo>
                  <a:lnTo>
                    <a:pt x="284" y="422"/>
                  </a:lnTo>
                  <a:lnTo>
                    <a:pt x="282" y="421"/>
                  </a:lnTo>
                  <a:lnTo>
                    <a:pt x="280" y="420"/>
                  </a:lnTo>
                  <a:lnTo>
                    <a:pt x="279" y="420"/>
                  </a:lnTo>
                  <a:lnTo>
                    <a:pt x="278" y="419"/>
                  </a:lnTo>
                  <a:lnTo>
                    <a:pt x="275" y="417"/>
                  </a:lnTo>
                  <a:lnTo>
                    <a:pt x="274" y="416"/>
                  </a:lnTo>
                  <a:lnTo>
                    <a:pt x="274" y="416"/>
                  </a:lnTo>
                  <a:lnTo>
                    <a:pt x="273" y="415"/>
                  </a:lnTo>
                  <a:lnTo>
                    <a:pt x="271" y="414"/>
                  </a:lnTo>
                  <a:lnTo>
                    <a:pt x="270" y="414"/>
                  </a:lnTo>
                  <a:lnTo>
                    <a:pt x="268" y="414"/>
                  </a:lnTo>
                  <a:lnTo>
                    <a:pt x="268" y="413"/>
                  </a:lnTo>
                  <a:lnTo>
                    <a:pt x="267" y="413"/>
                  </a:lnTo>
                  <a:lnTo>
                    <a:pt x="266" y="413"/>
                  </a:lnTo>
                  <a:lnTo>
                    <a:pt x="265" y="413"/>
                  </a:lnTo>
                  <a:lnTo>
                    <a:pt x="264" y="413"/>
                  </a:lnTo>
                  <a:lnTo>
                    <a:pt x="263" y="413"/>
                  </a:lnTo>
                  <a:lnTo>
                    <a:pt x="260" y="413"/>
                  </a:lnTo>
                  <a:lnTo>
                    <a:pt x="259" y="413"/>
                  </a:lnTo>
                  <a:lnTo>
                    <a:pt x="258" y="413"/>
                  </a:lnTo>
                  <a:lnTo>
                    <a:pt x="258" y="413"/>
                  </a:lnTo>
                  <a:lnTo>
                    <a:pt x="257" y="413"/>
                  </a:lnTo>
                  <a:lnTo>
                    <a:pt x="257" y="413"/>
                  </a:lnTo>
                  <a:lnTo>
                    <a:pt x="256" y="413"/>
                  </a:lnTo>
                  <a:lnTo>
                    <a:pt x="256" y="412"/>
                  </a:lnTo>
                  <a:lnTo>
                    <a:pt x="256" y="412"/>
                  </a:lnTo>
                  <a:lnTo>
                    <a:pt x="255" y="412"/>
                  </a:lnTo>
                  <a:lnTo>
                    <a:pt x="255" y="411"/>
                  </a:lnTo>
                  <a:lnTo>
                    <a:pt x="255" y="411"/>
                  </a:lnTo>
                  <a:lnTo>
                    <a:pt x="254" y="410"/>
                  </a:lnTo>
                  <a:lnTo>
                    <a:pt x="254" y="409"/>
                  </a:lnTo>
                  <a:lnTo>
                    <a:pt x="254" y="409"/>
                  </a:lnTo>
                  <a:lnTo>
                    <a:pt x="253" y="405"/>
                  </a:lnTo>
                  <a:lnTo>
                    <a:pt x="253" y="402"/>
                  </a:lnTo>
                  <a:lnTo>
                    <a:pt x="253" y="401"/>
                  </a:lnTo>
                  <a:lnTo>
                    <a:pt x="253" y="401"/>
                  </a:lnTo>
                  <a:lnTo>
                    <a:pt x="252" y="400"/>
                  </a:lnTo>
                  <a:lnTo>
                    <a:pt x="252" y="399"/>
                  </a:lnTo>
                  <a:lnTo>
                    <a:pt x="251" y="398"/>
                  </a:lnTo>
                  <a:lnTo>
                    <a:pt x="251" y="397"/>
                  </a:lnTo>
                  <a:lnTo>
                    <a:pt x="250" y="396"/>
                  </a:lnTo>
                  <a:lnTo>
                    <a:pt x="249" y="394"/>
                  </a:lnTo>
                  <a:lnTo>
                    <a:pt x="248" y="394"/>
                  </a:lnTo>
                  <a:lnTo>
                    <a:pt x="247" y="393"/>
                  </a:lnTo>
                  <a:lnTo>
                    <a:pt x="246" y="393"/>
                  </a:lnTo>
                  <a:lnTo>
                    <a:pt x="245" y="392"/>
                  </a:lnTo>
                  <a:lnTo>
                    <a:pt x="244" y="392"/>
                  </a:lnTo>
                  <a:lnTo>
                    <a:pt x="243" y="392"/>
                  </a:lnTo>
                  <a:lnTo>
                    <a:pt x="242" y="391"/>
                  </a:lnTo>
                  <a:lnTo>
                    <a:pt x="241" y="391"/>
                  </a:lnTo>
                  <a:lnTo>
                    <a:pt x="237" y="392"/>
                  </a:lnTo>
                  <a:lnTo>
                    <a:pt x="236" y="392"/>
                  </a:lnTo>
                  <a:lnTo>
                    <a:pt x="234" y="392"/>
                  </a:lnTo>
                  <a:lnTo>
                    <a:pt x="233" y="391"/>
                  </a:lnTo>
                  <a:lnTo>
                    <a:pt x="232" y="391"/>
                  </a:lnTo>
                  <a:lnTo>
                    <a:pt x="231" y="391"/>
                  </a:lnTo>
                  <a:lnTo>
                    <a:pt x="229" y="391"/>
                  </a:lnTo>
                  <a:lnTo>
                    <a:pt x="228" y="390"/>
                  </a:lnTo>
                  <a:lnTo>
                    <a:pt x="227" y="390"/>
                  </a:lnTo>
                  <a:lnTo>
                    <a:pt x="221" y="386"/>
                  </a:lnTo>
                  <a:lnTo>
                    <a:pt x="219" y="385"/>
                  </a:lnTo>
                  <a:lnTo>
                    <a:pt x="216" y="383"/>
                  </a:lnTo>
                  <a:lnTo>
                    <a:pt x="215" y="382"/>
                  </a:lnTo>
                  <a:lnTo>
                    <a:pt x="213" y="382"/>
                  </a:lnTo>
                  <a:lnTo>
                    <a:pt x="213" y="381"/>
                  </a:lnTo>
                  <a:lnTo>
                    <a:pt x="212" y="381"/>
                  </a:lnTo>
                  <a:lnTo>
                    <a:pt x="211" y="381"/>
                  </a:lnTo>
                  <a:lnTo>
                    <a:pt x="211" y="381"/>
                  </a:lnTo>
                  <a:lnTo>
                    <a:pt x="210" y="381"/>
                  </a:lnTo>
                  <a:lnTo>
                    <a:pt x="210" y="381"/>
                  </a:lnTo>
                  <a:lnTo>
                    <a:pt x="208" y="381"/>
                  </a:lnTo>
                  <a:lnTo>
                    <a:pt x="206" y="382"/>
                  </a:lnTo>
                  <a:lnTo>
                    <a:pt x="205" y="382"/>
                  </a:lnTo>
                  <a:lnTo>
                    <a:pt x="203" y="382"/>
                  </a:lnTo>
                  <a:lnTo>
                    <a:pt x="202" y="383"/>
                  </a:lnTo>
                  <a:lnTo>
                    <a:pt x="199" y="383"/>
                  </a:lnTo>
                  <a:lnTo>
                    <a:pt x="197" y="383"/>
                  </a:lnTo>
                  <a:lnTo>
                    <a:pt x="194" y="383"/>
                  </a:lnTo>
                  <a:lnTo>
                    <a:pt x="191" y="382"/>
                  </a:lnTo>
                  <a:lnTo>
                    <a:pt x="190" y="382"/>
                  </a:lnTo>
                  <a:lnTo>
                    <a:pt x="189" y="382"/>
                  </a:lnTo>
                  <a:lnTo>
                    <a:pt x="188" y="382"/>
                  </a:lnTo>
                  <a:lnTo>
                    <a:pt x="188" y="383"/>
                  </a:lnTo>
                  <a:lnTo>
                    <a:pt x="187" y="383"/>
                  </a:lnTo>
                  <a:lnTo>
                    <a:pt x="186" y="383"/>
                  </a:lnTo>
                  <a:lnTo>
                    <a:pt x="186" y="384"/>
                  </a:lnTo>
                  <a:lnTo>
                    <a:pt x="185" y="385"/>
                  </a:lnTo>
                  <a:lnTo>
                    <a:pt x="184" y="386"/>
                  </a:lnTo>
                  <a:lnTo>
                    <a:pt x="183" y="387"/>
                  </a:lnTo>
                  <a:lnTo>
                    <a:pt x="182" y="389"/>
                  </a:lnTo>
                  <a:lnTo>
                    <a:pt x="181" y="392"/>
                  </a:lnTo>
                  <a:lnTo>
                    <a:pt x="180" y="394"/>
                  </a:lnTo>
                  <a:lnTo>
                    <a:pt x="179" y="397"/>
                  </a:lnTo>
                  <a:lnTo>
                    <a:pt x="178" y="399"/>
                  </a:lnTo>
                  <a:lnTo>
                    <a:pt x="178" y="400"/>
                  </a:lnTo>
                  <a:lnTo>
                    <a:pt x="177" y="401"/>
                  </a:lnTo>
                  <a:lnTo>
                    <a:pt x="175" y="405"/>
                  </a:lnTo>
                  <a:lnTo>
                    <a:pt x="172" y="409"/>
                  </a:lnTo>
                  <a:lnTo>
                    <a:pt x="171" y="410"/>
                  </a:lnTo>
                  <a:lnTo>
                    <a:pt x="170" y="411"/>
                  </a:lnTo>
                  <a:lnTo>
                    <a:pt x="170" y="412"/>
                  </a:lnTo>
                  <a:lnTo>
                    <a:pt x="168" y="413"/>
                  </a:lnTo>
                  <a:lnTo>
                    <a:pt x="167" y="413"/>
                  </a:lnTo>
                  <a:lnTo>
                    <a:pt x="165" y="415"/>
                  </a:lnTo>
                  <a:lnTo>
                    <a:pt x="164" y="416"/>
                  </a:lnTo>
                  <a:lnTo>
                    <a:pt x="162" y="416"/>
                  </a:lnTo>
                  <a:lnTo>
                    <a:pt x="162" y="417"/>
                  </a:lnTo>
                  <a:lnTo>
                    <a:pt x="161" y="417"/>
                  </a:lnTo>
                  <a:lnTo>
                    <a:pt x="160" y="417"/>
                  </a:lnTo>
                  <a:lnTo>
                    <a:pt x="159" y="417"/>
                  </a:lnTo>
                  <a:lnTo>
                    <a:pt x="158" y="416"/>
                  </a:lnTo>
                  <a:lnTo>
                    <a:pt x="157" y="416"/>
                  </a:lnTo>
                  <a:lnTo>
                    <a:pt x="156" y="416"/>
                  </a:lnTo>
                  <a:lnTo>
                    <a:pt x="156" y="416"/>
                  </a:lnTo>
                  <a:lnTo>
                    <a:pt x="154" y="414"/>
                  </a:lnTo>
                  <a:lnTo>
                    <a:pt x="154" y="414"/>
                  </a:lnTo>
                  <a:lnTo>
                    <a:pt x="153" y="414"/>
                  </a:lnTo>
                  <a:lnTo>
                    <a:pt x="152" y="413"/>
                  </a:lnTo>
                  <a:lnTo>
                    <a:pt x="152" y="413"/>
                  </a:lnTo>
                  <a:lnTo>
                    <a:pt x="152" y="413"/>
                  </a:lnTo>
                  <a:lnTo>
                    <a:pt x="151" y="413"/>
                  </a:lnTo>
                  <a:lnTo>
                    <a:pt x="151" y="413"/>
                  </a:lnTo>
                  <a:lnTo>
                    <a:pt x="150" y="414"/>
                  </a:lnTo>
                  <a:lnTo>
                    <a:pt x="148" y="415"/>
                  </a:lnTo>
                  <a:lnTo>
                    <a:pt x="148" y="415"/>
                  </a:lnTo>
                  <a:lnTo>
                    <a:pt x="147" y="415"/>
                  </a:lnTo>
                  <a:lnTo>
                    <a:pt x="147" y="415"/>
                  </a:lnTo>
                  <a:lnTo>
                    <a:pt x="146" y="415"/>
                  </a:lnTo>
                  <a:lnTo>
                    <a:pt x="145" y="415"/>
                  </a:lnTo>
                  <a:lnTo>
                    <a:pt x="144" y="415"/>
                  </a:lnTo>
                  <a:lnTo>
                    <a:pt x="143" y="415"/>
                  </a:lnTo>
                  <a:lnTo>
                    <a:pt x="142" y="415"/>
                  </a:lnTo>
                  <a:lnTo>
                    <a:pt x="139" y="415"/>
                  </a:lnTo>
                  <a:lnTo>
                    <a:pt x="137" y="414"/>
                  </a:lnTo>
                  <a:lnTo>
                    <a:pt x="135" y="414"/>
                  </a:lnTo>
                  <a:lnTo>
                    <a:pt x="133" y="414"/>
                  </a:lnTo>
                  <a:lnTo>
                    <a:pt x="132" y="414"/>
                  </a:lnTo>
                  <a:lnTo>
                    <a:pt x="130" y="414"/>
                  </a:lnTo>
                  <a:lnTo>
                    <a:pt x="126" y="414"/>
                  </a:lnTo>
                  <a:lnTo>
                    <a:pt x="124" y="414"/>
                  </a:lnTo>
                  <a:lnTo>
                    <a:pt x="121" y="414"/>
                  </a:lnTo>
                  <a:lnTo>
                    <a:pt x="118" y="413"/>
                  </a:lnTo>
                  <a:lnTo>
                    <a:pt x="113" y="413"/>
                  </a:lnTo>
                  <a:lnTo>
                    <a:pt x="101" y="412"/>
                  </a:lnTo>
                  <a:lnTo>
                    <a:pt x="98" y="411"/>
                  </a:lnTo>
                  <a:lnTo>
                    <a:pt x="97" y="411"/>
                  </a:lnTo>
                  <a:lnTo>
                    <a:pt x="95" y="411"/>
                  </a:lnTo>
                  <a:lnTo>
                    <a:pt x="94" y="411"/>
                  </a:lnTo>
                  <a:lnTo>
                    <a:pt x="91" y="412"/>
                  </a:lnTo>
                  <a:lnTo>
                    <a:pt x="89" y="412"/>
                  </a:lnTo>
                  <a:lnTo>
                    <a:pt x="87" y="412"/>
                  </a:lnTo>
                  <a:lnTo>
                    <a:pt x="84" y="411"/>
                  </a:lnTo>
                  <a:lnTo>
                    <a:pt x="79" y="411"/>
                  </a:lnTo>
                  <a:lnTo>
                    <a:pt x="78" y="411"/>
                  </a:lnTo>
                  <a:lnTo>
                    <a:pt x="77" y="411"/>
                  </a:lnTo>
                  <a:lnTo>
                    <a:pt x="75" y="411"/>
                  </a:lnTo>
                  <a:lnTo>
                    <a:pt x="74" y="410"/>
                  </a:lnTo>
                  <a:lnTo>
                    <a:pt x="73" y="410"/>
                  </a:lnTo>
                  <a:lnTo>
                    <a:pt x="71" y="409"/>
                  </a:lnTo>
                  <a:lnTo>
                    <a:pt x="70" y="409"/>
                  </a:lnTo>
                  <a:lnTo>
                    <a:pt x="68" y="408"/>
                  </a:lnTo>
                  <a:lnTo>
                    <a:pt x="67" y="407"/>
                  </a:lnTo>
                  <a:lnTo>
                    <a:pt x="65" y="406"/>
                  </a:lnTo>
                  <a:lnTo>
                    <a:pt x="59" y="403"/>
                  </a:lnTo>
                  <a:lnTo>
                    <a:pt x="50" y="399"/>
                  </a:lnTo>
                  <a:lnTo>
                    <a:pt x="47" y="397"/>
                  </a:lnTo>
                  <a:lnTo>
                    <a:pt x="46" y="396"/>
                  </a:lnTo>
                  <a:lnTo>
                    <a:pt x="45" y="396"/>
                  </a:lnTo>
                  <a:lnTo>
                    <a:pt x="44" y="395"/>
                  </a:lnTo>
                  <a:lnTo>
                    <a:pt x="42" y="394"/>
                  </a:lnTo>
                  <a:lnTo>
                    <a:pt x="41" y="392"/>
                  </a:lnTo>
                  <a:lnTo>
                    <a:pt x="39" y="391"/>
                  </a:lnTo>
                  <a:lnTo>
                    <a:pt x="37" y="390"/>
                  </a:lnTo>
                  <a:lnTo>
                    <a:pt x="36" y="388"/>
                  </a:lnTo>
                  <a:lnTo>
                    <a:pt x="35" y="387"/>
                  </a:lnTo>
                  <a:lnTo>
                    <a:pt x="34" y="386"/>
                  </a:lnTo>
                  <a:lnTo>
                    <a:pt x="34" y="386"/>
                  </a:lnTo>
                  <a:lnTo>
                    <a:pt x="33" y="385"/>
                  </a:lnTo>
                  <a:lnTo>
                    <a:pt x="33" y="384"/>
                  </a:lnTo>
                  <a:lnTo>
                    <a:pt x="33" y="384"/>
                  </a:lnTo>
                  <a:lnTo>
                    <a:pt x="32" y="382"/>
                  </a:lnTo>
                  <a:lnTo>
                    <a:pt x="31" y="380"/>
                  </a:lnTo>
                  <a:lnTo>
                    <a:pt x="31" y="379"/>
                  </a:lnTo>
                  <a:lnTo>
                    <a:pt x="31" y="379"/>
                  </a:lnTo>
                  <a:lnTo>
                    <a:pt x="31" y="378"/>
                  </a:lnTo>
                  <a:lnTo>
                    <a:pt x="31" y="378"/>
                  </a:lnTo>
                  <a:lnTo>
                    <a:pt x="30" y="377"/>
                  </a:lnTo>
                  <a:lnTo>
                    <a:pt x="30" y="377"/>
                  </a:lnTo>
                  <a:lnTo>
                    <a:pt x="29" y="377"/>
                  </a:lnTo>
                  <a:lnTo>
                    <a:pt x="29" y="376"/>
                  </a:lnTo>
                  <a:lnTo>
                    <a:pt x="28" y="376"/>
                  </a:lnTo>
                  <a:lnTo>
                    <a:pt x="27" y="376"/>
                  </a:lnTo>
                  <a:lnTo>
                    <a:pt x="26" y="376"/>
                  </a:lnTo>
                  <a:lnTo>
                    <a:pt x="26" y="376"/>
                  </a:lnTo>
                  <a:lnTo>
                    <a:pt x="25" y="375"/>
                  </a:lnTo>
                  <a:lnTo>
                    <a:pt x="25" y="375"/>
                  </a:lnTo>
                  <a:lnTo>
                    <a:pt x="24" y="374"/>
                  </a:lnTo>
                  <a:lnTo>
                    <a:pt x="23" y="373"/>
                  </a:lnTo>
                  <a:lnTo>
                    <a:pt x="22" y="372"/>
                  </a:lnTo>
                  <a:lnTo>
                    <a:pt x="21" y="372"/>
                  </a:lnTo>
                  <a:lnTo>
                    <a:pt x="21" y="371"/>
                  </a:lnTo>
                  <a:lnTo>
                    <a:pt x="20" y="371"/>
                  </a:lnTo>
                  <a:lnTo>
                    <a:pt x="19" y="371"/>
                  </a:lnTo>
                  <a:lnTo>
                    <a:pt x="16" y="370"/>
                  </a:lnTo>
                  <a:lnTo>
                    <a:pt x="16" y="370"/>
                  </a:lnTo>
                  <a:lnTo>
                    <a:pt x="15" y="370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14" y="368"/>
                  </a:lnTo>
                  <a:lnTo>
                    <a:pt x="14" y="368"/>
                  </a:lnTo>
                  <a:lnTo>
                    <a:pt x="14" y="367"/>
                  </a:lnTo>
                  <a:lnTo>
                    <a:pt x="13" y="367"/>
                  </a:lnTo>
                  <a:lnTo>
                    <a:pt x="13" y="366"/>
                  </a:lnTo>
                  <a:lnTo>
                    <a:pt x="12" y="366"/>
                  </a:lnTo>
                  <a:lnTo>
                    <a:pt x="11" y="365"/>
                  </a:lnTo>
                  <a:lnTo>
                    <a:pt x="10" y="365"/>
                  </a:lnTo>
                  <a:lnTo>
                    <a:pt x="9" y="363"/>
                  </a:lnTo>
                  <a:lnTo>
                    <a:pt x="8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5" y="361"/>
                  </a:lnTo>
                  <a:lnTo>
                    <a:pt x="4" y="361"/>
                  </a:lnTo>
                  <a:lnTo>
                    <a:pt x="2" y="360"/>
                  </a:lnTo>
                  <a:lnTo>
                    <a:pt x="2" y="360"/>
                  </a:lnTo>
                  <a:lnTo>
                    <a:pt x="1" y="359"/>
                  </a:lnTo>
                  <a:lnTo>
                    <a:pt x="1" y="359"/>
                  </a:lnTo>
                  <a:lnTo>
                    <a:pt x="0" y="358"/>
                  </a:lnTo>
                  <a:lnTo>
                    <a:pt x="0" y="358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Freeform 68">
              <a:extLst>
                <a:ext uri="{FF2B5EF4-FFF2-40B4-BE49-F238E27FC236}">
                  <a16:creationId xmlns:a16="http://schemas.microsoft.com/office/drawing/2014/main" id="{A40D30B3-1588-40AE-E7A5-FDDD159C76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21"/>
              <a:ext cx="303" cy="362"/>
            </a:xfrm>
            <a:custGeom>
              <a:avLst/>
              <a:gdLst>
                <a:gd name="T0" fmla="*/ 88 w 303"/>
                <a:gd name="T1" fmla="*/ 354 h 362"/>
                <a:gd name="T2" fmla="*/ 71 w 303"/>
                <a:gd name="T3" fmla="*/ 357 h 362"/>
                <a:gd name="T4" fmla="*/ 57 w 303"/>
                <a:gd name="T5" fmla="*/ 362 h 362"/>
                <a:gd name="T6" fmla="*/ 34 w 303"/>
                <a:gd name="T7" fmla="*/ 351 h 362"/>
                <a:gd name="T8" fmla="*/ 10 w 303"/>
                <a:gd name="T9" fmla="*/ 342 h 362"/>
                <a:gd name="T10" fmla="*/ 4 w 303"/>
                <a:gd name="T11" fmla="*/ 331 h 362"/>
                <a:gd name="T12" fmla="*/ 6 w 303"/>
                <a:gd name="T13" fmla="*/ 328 h 362"/>
                <a:gd name="T14" fmla="*/ 11 w 303"/>
                <a:gd name="T15" fmla="*/ 323 h 362"/>
                <a:gd name="T16" fmla="*/ 16 w 303"/>
                <a:gd name="T17" fmla="*/ 318 h 362"/>
                <a:gd name="T18" fmla="*/ 26 w 303"/>
                <a:gd name="T19" fmla="*/ 321 h 362"/>
                <a:gd name="T20" fmla="*/ 34 w 303"/>
                <a:gd name="T21" fmla="*/ 319 h 362"/>
                <a:gd name="T22" fmla="*/ 45 w 303"/>
                <a:gd name="T23" fmla="*/ 312 h 362"/>
                <a:gd name="T24" fmla="*/ 56 w 303"/>
                <a:gd name="T25" fmla="*/ 316 h 362"/>
                <a:gd name="T26" fmla="*/ 66 w 303"/>
                <a:gd name="T27" fmla="*/ 307 h 362"/>
                <a:gd name="T28" fmla="*/ 78 w 303"/>
                <a:gd name="T29" fmla="*/ 297 h 362"/>
                <a:gd name="T30" fmla="*/ 93 w 303"/>
                <a:gd name="T31" fmla="*/ 290 h 362"/>
                <a:gd name="T32" fmla="*/ 102 w 303"/>
                <a:gd name="T33" fmla="*/ 286 h 362"/>
                <a:gd name="T34" fmla="*/ 107 w 303"/>
                <a:gd name="T35" fmla="*/ 279 h 362"/>
                <a:gd name="T36" fmla="*/ 116 w 303"/>
                <a:gd name="T37" fmla="*/ 277 h 362"/>
                <a:gd name="T38" fmla="*/ 126 w 303"/>
                <a:gd name="T39" fmla="*/ 271 h 362"/>
                <a:gd name="T40" fmla="*/ 134 w 303"/>
                <a:gd name="T41" fmla="*/ 278 h 362"/>
                <a:gd name="T42" fmla="*/ 146 w 303"/>
                <a:gd name="T43" fmla="*/ 278 h 362"/>
                <a:gd name="T44" fmla="*/ 159 w 303"/>
                <a:gd name="T45" fmla="*/ 277 h 362"/>
                <a:gd name="T46" fmla="*/ 178 w 303"/>
                <a:gd name="T47" fmla="*/ 273 h 362"/>
                <a:gd name="T48" fmla="*/ 180 w 303"/>
                <a:gd name="T49" fmla="*/ 265 h 362"/>
                <a:gd name="T50" fmla="*/ 196 w 303"/>
                <a:gd name="T51" fmla="*/ 260 h 362"/>
                <a:gd name="T52" fmla="*/ 205 w 303"/>
                <a:gd name="T53" fmla="*/ 255 h 362"/>
                <a:gd name="T54" fmla="*/ 212 w 303"/>
                <a:gd name="T55" fmla="*/ 246 h 362"/>
                <a:gd name="T56" fmla="*/ 207 w 303"/>
                <a:gd name="T57" fmla="*/ 236 h 362"/>
                <a:gd name="T58" fmla="*/ 203 w 303"/>
                <a:gd name="T59" fmla="*/ 230 h 362"/>
                <a:gd name="T60" fmla="*/ 210 w 303"/>
                <a:gd name="T61" fmla="*/ 225 h 362"/>
                <a:gd name="T62" fmla="*/ 209 w 303"/>
                <a:gd name="T63" fmla="*/ 215 h 362"/>
                <a:gd name="T64" fmla="*/ 219 w 303"/>
                <a:gd name="T65" fmla="*/ 208 h 362"/>
                <a:gd name="T66" fmla="*/ 217 w 303"/>
                <a:gd name="T67" fmla="*/ 200 h 362"/>
                <a:gd name="T68" fmla="*/ 210 w 303"/>
                <a:gd name="T69" fmla="*/ 192 h 362"/>
                <a:gd name="T70" fmla="*/ 213 w 303"/>
                <a:gd name="T71" fmla="*/ 181 h 362"/>
                <a:gd name="T72" fmla="*/ 222 w 303"/>
                <a:gd name="T73" fmla="*/ 172 h 362"/>
                <a:gd name="T74" fmla="*/ 217 w 303"/>
                <a:gd name="T75" fmla="*/ 163 h 362"/>
                <a:gd name="T76" fmla="*/ 223 w 303"/>
                <a:gd name="T77" fmla="*/ 151 h 362"/>
                <a:gd name="T78" fmla="*/ 221 w 303"/>
                <a:gd name="T79" fmla="*/ 146 h 362"/>
                <a:gd name="T80" fmla="*/ 213 w 303"/>
                <a:gd name="T81" fmla="*/ 141 h 362"/>
                <a:gd name="T82" fmla="*/ 210 w 303"/>
                <a:gd name="T83" fmla="*/ 134 h 362"/>
                <a:gd name="T84" fmla="*/ 206 w 303"/>
                <a:gd name="T85" fmla="*/ 123 h 362"/>
                <a:gd name="T86" fmla="*/ 212 w 303"/>
                <a:gd name="T87" fmla="*/ 105 h 362"/>
                <a:gd name="T88" fmla="*/ 220 w 303"/>
                <a:gd name="T89" fmla="*/ 95 h 362"/>
                <a:gd name="T90" fmla="*/ 234 w 303"/>
                <a:gd name="T91" fmla="*/ 91 h 362"/>
                <a:gd name="T92" fmla="*/ 233 w 303"/>
                <a:gd name="T93" fmla="*/ 86 h 362"/>
                <a:gd name="T94" fmla="*/ 228 w 303"/>
                <a:gd name="T95" fmla="*/ 82 h 362"/>
                <a:gd name="T96" fmla="*/ 238 w 303"/>
                <a:gd name="T97" fmla="*/ 77 h 362"/>
                <a:gd name="T98" fmla="*/ 243 w 303"/>
                <a:gd name="T99" fmla="*/ 82 h 362"/>
                <a:gd name="T100" fmla="*/ 249 w 303"/>
                <a:gd name="T101" fmla="*/ 81 h 362"/>
                <a:gd name="T102" fmla="*/ 250 w 303"/>
                <a:gd name="T103" fmla="*/ 71 h 362"/>
                <a:gd name="T104" fmla="*/ 245 w 303"/>
                <a:gd name="T105" fmla="*/ 63 h 362"/>
                <a:gd name="T106" fmla="*/ 253 w 303"/>
                <a:gd name="T107" fmla="*/ 61 h 362"/>
                <a:gd name="T108" fmla="*/ 260 w 303"/>
                <a:gd name="T109" fmla="*/ 50 h 362"/>
                <a:gd name="T110" fmla="*/ 253 w 303"/>
                <a:gd name="T111" fmla="*/ 42 h 362"/>
                <a:gd name="T112" fmla="*/ 250 w 303"/>
                <a:gd name="T113" fmla="*/ 35 h 362"/>
                <a:gd name="T114" fmla="*/ 255 w 303"/>
                <a:gd name="T115" fmla="*/ 25 h 362"/>
                <a:gd name="T116" fmla="*/ 264 w 303"/>
                <a:gd name="T117" fmla="*/ 17 h 362"/>
                <a:gd name="T118" fmla="*/ 272 w 303"/>
                <a:gd name="T119" fmla="*/ 18 h 362"/>
                <a:gd name="T120" fmla="*/ 290 w 303"/>
                <a:gd name="T121" fmla="*/ 18 h 362"/>
                <a:gd name="T122" fmla="*/ 299 w 303"/>
                <a:gd name="T123" fmla="*/ 13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3" h="362">
                  <a:moveTo>
                    <a:pt x="94" y="358"/>
                  </a:moveTo>
                  <a:lnTo>
                    <a:pt x="93" y="356"/>
                  </a:lnTo>
                  <a:lnTo>
                    <a:pt x="92" y="356"/>
                  </a:lnTo>
                  <a:lnTo>
                    <a:pt x="92" y="356"/>
                  </a:lnTo>
                  <a:lnTo>
                    <a:pt x="92" y="355"/>
                  </a:lnTo>
                  <a:lnTo>
                    <a:pt x="91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90" y="354"/>
                  </a:lnTo>
                  <a:lnTo>
                    <a:pt x="89" y="354"/>
                  </a:lnTo>
                  <a:lnTo>
                    <a:pt x="88" y="354"/>
                  </a:lnTo>
                  <a:lnTo>
                    <a:pt x="85" y="354"/>
                  </a:lnTo>
                  <a:lnTo>
                    <a:pt x="83" y="354"/>
                  </a:lnTo>
                  <a:lnTo>
                    <a:pt x="81" y="354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6" y="355"/>
                  </a:lnTo>
                  <a:lnTo>
                    <a:pt x="75" y="355"/>
                  </a:lnTo>
                  <a:lnTo>
                    <a:pt x="74" y="355"/>
                  </a:lnTo>
                  <a:lnTo>
                    <a:pt x="73" y="356"/>
                  </a:lnTo>
                  <a:lnTo>
                    <a:pt x="72" y="356"/>
                  </a:lnTo>
                  <a:lnTo>
                    <a:pt x="71" y="357"/>
                  </a:lnTo>
                  <a:lnTo>
                    <a:pt x="68" y="359"/>
                  </a:lnTo>
                  <a:lnTo>
                    <a:pt x="67" y="360"/>
                  </a:lnTo>
                  <a:lnTo>
                    <a:pt x="66" y="360"/>
                  </a:lnTo>
                  <a:lnTo>
                    <a:pt x="65" y="361"/>
                  </a:lnTo>
                  <a:lnTo>
                    <a:pt x="64" y="361"/>
                  </a:lnTo>
                  <a:lnTo>
                    <a:pt x="63" y="361"/>
                  </a:lnTo>
                  <a:lnTo>
                    <a:pt x="62" y="362"/>
                  </a:lnTo>
                  <a:lnTo>
                    <a:pt x="61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7" y="362"/>
                  </a:lnTo>
                  <a:lnTo>
                    <a:pt x="54" y="362"/>
                  </a:lnTo>
                  <a:lnTo>
                    <a:pt x="48" y="361"/>
                  </a:lnTo>
                  <a:lnTo>
                    <a:pt x="47" y="360"/>
                  </a:lnTo>
                  <a:lnTo>
                    <a:pt x="45" y="360"/>
                  </a:lnTo>
                  <a:lnTo>
                    <a:pt x="44" y="359"/>
                  </a:lnTo>
                  <a:lnTo>
                    <a:pt x="43" y="359"/>
                  </a:lnTo>
                  <a:lnTo>
                    <a:pt x="42" y="358"/>
                  </a:lnTo>
                  <a:lnTo>
                    <a:pt x="40" y="357"/>
                  </a:lnTo>
                  <a:lnTo>
                    <a:pt x="39" y="356"/>
                  </a:lnTo>
                  <a:lnTo>
                    <a:pt x="35" y="352"/>
                  </a:lnTo>
                  <a:lnTo>
                    <a:pt x="34" y="351"/>
                  </a:lnTo>
                  <a:lnTo>
                    <a:pt x="33" y="350"/>
                  </a:lnTo>
                  <a:lnTo>
                    <a:pt x="31" y="350"/>
                  </a:lnTo>
                  <a:lnTo>
                    <a:pt x="30" y="349"/>
                  </a:lnTo>
                  <a:lnTo>
                    <a:pt x="27" y="348"/>
                  </a:lnTo>
                  <a:lnTo>
                    <a:pt x="24" y="346"/>
                  </a:lnTo>
                  <a:lnTo>
                    <a:pt x="23" y="345"/>
                  </a:lnTo>
                  <a:lnTo>
                    <a:pt x="21" y="344"/>
                  </a:lnTo>
                  <a:lnTo>
                    <a:pt x="20" y="344"/>
                  </a:lnTo>
                  <a:lnTo>
                    <a:pt x="18" y="343"/>
                  </a:lnTo>
                  <a:lnTo>
                    <a:pt x="12" y="342"/>
                  </a:lnTo>
                  <a:lnTo>
                    <a:pt x="10" y="342"/>
                  </a:lnTo>
                  <a:lnTo>
                    <a:pt x="9" y="342"/>
                  </a:lnTo>
                  <a:lnTo>
                    <a:pt x="7" y="341"/>
                  </a:lnTo>
                  <a:lnTo>
                    <a:pt x="5" y="341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1" y="336"/>
                  </a:lnTo>
                  <a:lnTo>
                    <a:pt x="2" y="333"/>
                  </a:lnTo>
                  <a:lnTo>
                    <a:pt x="2" y="332"/>
                  </a:lnTo>
                  <a:lnTo>
                    <a:pt x="3" y="332"/>
                  </a:lnTo>
                  <a:lnTo>
                    <a:pt x="3" y="332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5" y="331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6" y="329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7" y="327"/>
                  </a:lnTo>
                  <a:lnTo>
                    <a:pt x="8" y="326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9" y="323"/>
                  </a:lnTo>
                  <a:lnTo>
                    <a:pt x="10" y="323"/>
                  </a:lnTo>
                  <a:lnTo>
                    <a:pt x="10" y="323"/>
                  </a:lnTo>
                  <a:lnTo>
                    <a:pt x="11" y="323"/>
                  </a:lnTo>
                  <a:lnTo>
                    <a:pt x="11" y="323"/>
                  </a:lnTo>
                  <a:lnTo>
                    <a:pt x="11" y="322"/>
                  </a:lnTo>
                  <a:lnTo>
                    <a:pt x="13" y="321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19"/>
                  </a:lnTo>
                  <a:lnTo>
                    <a:pt x="14" y="319"/>
                  </a:lnTo>
                  <a:lnTo>
                    <a:pt x="14" y="319"/>
                  </a:lnTo>
                  <a:lnTo>
                    <a:pt x="15" y="318"/>
                  </a:lnTo>
                  <a:lnTo>
                    <a:pt x="16" y="318"/>
                  </a:lnTo>
                  <a:lnTo>
                    <a:pt x="17" y="318"/>
                  </a:lnTo>
                  <a:lnTo>
                    <a:pt x="18" y="318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2" y="318"/>
                  </a:lnTo>
                  <a:lnTo>
                    <a:pt x="23" y="319"/>
                  </a:lnTo>
                  <a:lnTo>
                    <a:pt x="25" y="320"/>
                  </a:lnTo>
                  <a:lnTo>
                    <a:pt x="25" y="321"/>
                  </a:lnTo>
                  <a:lnTo>
                    <a:pt x="26" y="321"/>
                  </a:lnTo>
                  <a:lnTo>
                    <a:pt x="27" y="321"/>
                  </a:lnTo>
                  <a:lnTo>
                    <a:pt x="28" y="322"/>
                  </a:lnTo>
                  <a:lnTo>
                    <a:pt x="29" y="322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2" y="321"/>
                  </a:lnTo>
                  <a:lnTo>
                    <a:pt x="32" y="321"/>
                  </a:lnTo>
                  <a:lnTo>
                    <a:pt x="33" y="320"/>
                  </a:lnTo>
                  <a:lnTo>
                    <a:pt x="34" y="319"/>
                  </a:lnTo>
                  <a:lnTo>
                    <a:pt x="34" y="319"/>
                  </a:lnTo>
                  <a:lnTo>
                    <a:pt x="35" y="317"/>
                  </a:lnTo>
                  <a:lnTo>
                    <a:pt x="37" y="314"/>
                  </a:lnTo>
                  <a:lnTo>
                    <a:pt x="38" y="314"/>
                  </a:lnTo>
                  <a:lnTo>
                    <a:pt x="38" y="314"/>
                  </a:lnTo>
                  <a:lnTo>
                    <a:pt x="38" y="313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0" y="313"/>
                  </a:lnTo>
                  <a:lnTo>
                    <a:pt x="41" y="313"/>
                  </a:lnTo>
                  <a:lnTo>
                    <a:pt x="45" y="312"/>
                  </a:lnTo>
                  <a:lnTo>
                    <a:pt x="46" y="312"/>
                  </a:lnTo>
                  <a:lnTo>
                    <a:pt x="47" y="312"/>
                  </a:lnTo>
                  <a:lnTo>
                    <a:pt x="48" y="312"/>
                  </a:lnTo>
                  <a:lnTo>
                    <a:pt x="49" y="313"/>
                  </a:lnTo>
                  <a:lnTo>
                    <a:pt x="50" y="313"/>
                  </a:lnTo>
                  <a:lnTo>
                    <a:pt x="51" y="314"/>
                  </a:lnTo>
                  <a:lnTo>
                    <a:pt x="52" y="314"/>
                  </a:lnTo>
                  <a:lnTo>
                    <a:pt x="54" y="316"/>
                  </a:lnTo>
                  <a:lnTo>
                    <a:pt x="55" y="316"/>
                  </a:lnTo>
                  <a:lnTo>
                    <a:pt x="56" y="316"/>
                  </a:lnTo>
                  <a:lnTo>
                    <a:pt x="56" y="316"/>
                  </a:lnTo>
                  <a:lnTo>
                    <a:pt x="57" y="316"/>
                  </a:lnTo>
                  <a:lnTo>
                    <a:pt x="57" y="316"/>
                  </a:lnTo>
                  <a:lnTo>
                    <a:pt x="58" y="316"/>
                  </a:lnTo>
                  <a:lnTo>
                    <a:pt x="58" y="316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1" y="313"/>
                  </a:lnTo>
                  <a:lnTo>
                    <a:pt x="62" y="311"/>
                  </a:lnTo>
                  <a:lnTo>
                    <a:pt x="62" y="311"/>
                  </a:lnTo>
                  <a:lnTo>
                    <a:pt x="64" y="309"/>
                  </a:lnTo>
                  <a:lnTo>
                    <a:pt x="66" y="307"/>
                  </a:lnTo>
                  <a:lnTo>
                    <a:pt x="66" y="307"/>
                  </a:lnTo>
                  <a:lnTo>
                    <a:pt x="67" y="306"/>
                  </a:lnTo>
                  <a:lnTo>
                    <a:pt x="68" y="306"/>
                  </a:lnTo>
                  <a:lnTo>
                    <a:pt x="69" y="305"/>
                  </a:lnTo>
                  <a:lnTo>
                    <a:pt x="71" y="304"/>
                  </a:lnTo>
                  <a:lnTo>
                    <a:pt x="72" y="303"/>
                  </a:lnTo>
                  <a:lnTo>
                    <a:pt x="73" y="302"/>
                  </a:lnTo>
                  <a:lnTo>
                    <a:pt x="74" y="301"/>
                  </a:lnTo>
                  <a:lnTo>
                    <a:pt x="75" y="300"/>
                  </a:lnTo>
                  <a:lnTo>
                    <a:pt x="77" y="299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81" y="294"/>
                  </a:lnTo>
                  <a:lnTo>
                    <a:pt x="82" y="293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8" y="291"/>
                  </a:lnTo>
                  <a:lnTo>
                    <a:pt x="89" y="290"/>
                  </a:lnTo>
                  <a:lnTo>
                    <a:pt x="91" y="290"/>
                  </a:lnTo>
                  <a:lnTo>
                    <a:pt x="93" y="290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9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1" y="288"/>
                  </a:lnTo>
                  <a:lnTo>
                    <a:pt x="101" y="287"/>
                  </a:lnTo>
                  <a:lnTo>
                    <a:pt x="101" y="287"/>
                  </a:lnTo>
                  <a:lnTo>
                    <a:pt x="102" y="286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4" y="281"/>
                  </a:lnTo>
                  <a:lnTo>
                    <a:pt x="104" y="280"/>
                  </a:lnTo>
                  <a:lnTo>
                    <a:pt x="105" y="280"/>
                  </a:lnTo>
                  <a:lnTo>
                    <a:pt x="105" y="280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4" y="278"/>
                  </a:lnTo>
                  <a:lnTo>
                    <a:pt x="115" y="278"/>
                  </a:lnTo>
                  <a:lnTo>
                    <a:pt x="115" y="277"/>
                  </a:lnTo>
                  <a:lnTo>
                    <a:pt x="116" y="277"/>
                  </a:lnTo>
                  <a:lnTo>
                    <a:pt x="117" y="276"/>
                  </a:lnTo>
                  <a:lnTo>
                    <a:pt x="119" y="274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3"/>
                  </a:lnTo>
                  <a:lnTo>
                    <a:pt x="121" y="272"/>
                  </a:lnTo>
                  <a:lnTo>
                    <a:pt x="123" y="272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6" y="271"/>
                  </a:lnTo>
                  <a:lnTo>
                    <a:pt x="126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29" y="273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1" y="276"/>
                  </a:lnTo>
                  <a:lnTo>
                    <a:pt x="132" y="276"/>
                  </a:lnTo>
                  <a:lnTo>
                    <a:pt x="134" y="278"/>
                  </a:lnTo>
                  <a:lnTo>
                    <a:pt x="135" y="279"/>
                  </a:lnTo>
                  <a:lnTo>
                    <a:pt x="136" y="279"/>
                  </a:lnTo>
                  <a:lnTo>
                    <a:pt x="137" y="280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9" y="280"/>
                  </a:lnTo>
                  <a:lnTo>
                    <a:pt x="141" y="280"/>
                  </a:lnTo>
                  <a:lnTo>
                    <a:pt x="142" y="280"/>
                  </a:lnTo>
                  <a:lnTo>
                    <a:pt x="143" y="279"/>
                  </a:lnTo>
                  <a:lnTo>
                    <a:pt x="144" y="279"/>
                  </a:lnTo>
                  <a:lnTo>
                    <a:pt x="146" y="278"/>
                  </a:lnTo>
                  <a:lnTo>
                    <a:pt x="147" y="277"/>
                  </a:lnTo>
                  <a:lnTo>
                    <a:pt x="148" y="276"/>
                  </a:lnTo>
                  <a:lnTo>
                    <a:pt x="149" y="276"/>
                  </a:lnTo>
                  <a:lnTo>
                    <a:pt x="149" y="275"/>
                  </a:lnTo>
                  <a:lnTo>
                    <a:pt x="150" y="275"/>
                  </a:lnTo>
                  <a:lnTo>
                    <a:pt x="151" y="275"/>
                  </a:lnTo>
                  <a:lnTo>
                    <a:pt x="152" y="275"/>
                  </a:lnTo>
                  <a:lnTo>
                    <a:pt x="154" y="276"/>
                  </a:lnTo>
                  <a:lnTo>
                    <a:pt x="155" y="276"/>
                  </a:lnTo>
                  <a:lnTo>
                    <a:pt x="158" y="276"/>
                  </a:lnTo>
                  <a:lnTo>
                    <a:pt x="159" y="277"/>
                  </a:lnTo>
                  <a:lnTo>
                    <a:pt x="161" y="277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4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8" y="273"/>
                  </a:lnTo>
                  <a:lnTo>
                    <a:pt x="179" y="273"/>
                  </a:lnTo>
                  <a:lnTo>
                    <a:pt x="179" y="272"/>
                  </a:lnTo>
                  <a:lnTo>
                    <a:pt x="179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68"/>
                  </a:lnTo>
                  <a:lnTo>
                    <a:pt x="180" y="267"/>
                  </a:lnTo>
                  <a:lnTo>
                    <a:pt x="180" y="266"/>
                  </a:lnTo>
                  <a:lnTo>
                    <a:pt x="180" y="265"/>
                  </a:lnTo>
                  <a:lnTo>
                    <a:pt x="181" y="265"/>
                  </a:lnTo>
                  <a:lnTo>
                    <a:pt x="181" y="264"/>
                  </a:lnTo>
                  <a:lnTo>
                    <a:pt x="182" y="263"/>
                  </a:lnTo>
                  <a:lnTo>
                    <a:pt x="183" y="263"/>
                  </a:lnTo>
                  <a:lnTo>
                    <a:pt x="184" y="262"/>
                  </a:lnTo>
                  <a:lnTo>
                    <a:pt x="185" y="262"/>
                  </a:lnTo>
                  <a:lnTo>
                    <a:pt x="186" y="261"/>
                  </a:lnTo>
                  <a:lnTo>
                    <a:pt x="188" y="261"/>
                  </a:lnTo>
                  <a:lnTo>
                    <a:pt x="189" y="261"/>
                  </a:lnTo>
                  <a:lnTo>
                    <a:pt x="193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1" y="259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3" y="257"/>
                  </a:lnTo>
                  <a:lnTo>
                    <a:pt x="203" y="257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05" y="255"/>
                  </a:lnTo>
                  <a:lnTo>
                    <a:pt x="206" y="254"/>
                  </a:lnTo>
                  <a:lnTo>
                    <a:pt x="206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7" y="250"/>
                  </a:lnTo>
                  <a:lnTo>
                    <a:pt x="208" y="250"/>
                  </a:lnTo>
                  <a:lnTo>
                    <a:pt x="208" y="249"/>
                  </a:lnTo>
                  <a:lnTo>
                    <a:pt x="210" y="247"/>
                  </a:lnTo>
                  <a:lnTo>
                    <a:pt x="211" y="247"/>
                  </a:lnTo>
                  <a:lnTo>
                    <a:pt x="211" y="246"/>
                  </a:lnTo>
                  <a:lnTo>
                    <a:pt x="212" y="246"/>
                  </a:lnTo>
                  <a:lnTo>
                    <a:pt x="212" y="245"/>
                  </a:lnTo>
                  <a:lnTo>
                    <a:pt x="212" y="245"/>
                  </a:lnTo>
                  <a:lnTo>
                    <a:pt x="212" y="244"/>
                  </a:lnTo>
                  <a:lnTo>
                    <a:pt x="212" y="243"/>
                  </a:lnTo>
                  <a:lnTo>
                    <a:pt x="212" y="243"/>
                  </a:lnTo>
                  <a:lnTo>
                    <a:pt x="212" y="242"/>
                  </a:lnTo>
                  <a:lnTo>
                    <a:pt x="212" y="241"/>
                  </a:lnTo>
                  <a:lnTo>
                    <a:pt x="211" y="241"/>
                  </a:lnTo>
                  <a:lnTo>
                    <a:pt x="210" y="240"/>
                  </a:lnTo>
                  <a:lnTo>
                    <a:pt x="209" y="239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4" y="234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3" y="232"/>
                  </a:lnTo>
                  <a:lnTo>
                    <a:pt x="202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30"/>
                  </a:lnTo>
                  <a:lnTo>
                    <a:pt x="205" y="230"/>
                  </a:lnTo>
                  <a:lnTo>
                    <a:pt x="206" y="229"/>
                  </a:lnTo>
                  <a:lnTo>
                    <a:pt x="207" y="229"/>
                  </a:lnTo>
                  <a:lnTo>
                    <a:pt x="207" y="228"/>
                  </a:lnTo>
                  <a:lnTo>
                    <a:pt x="208" y="228"/>
                  </a:lnTo>
                  <a:lnTo>
                    <a:pt x="208" y="227"/>
                  </a:lnTo>
                  <a:lnTo>
                    <a:pt x="209" y="227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0" y="225"/>
                  </a:lnTo>
                  <a:lnTo>
                    <a:pt x="210" y="224"/>
                  </a:lnTo>
                  <a:lnTo>
                    <a:pt x="210" y="224"/>
                  </a:lnTo>
                  <a:lnTo>
                    <a:pt x="209" y="223"/>
                  </a:lnTo>
                  <a:lnTo>
                    <a:pt x="209" y="222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08" y="218"/>
                  </a:lnTo>
                  <a:lnTo>
                    <a:pt x="208" y="217"/>
                  </a:lnTo>
                  <a:lnTo>
                    <a:pt x="209" y="217"/>
                  </a:lnTo>
                  <a:lnTo>
                    <a:pt x="209" y="216"/>
                  </a:lnTo>
                  <a:lnTo>
                    <a:pt x="209" y="215"/>
                  </a:lnTo>
                  <a:lnTo>
                    <a:pt x="210" y="215"/>
                  </a:lnTo>
                  <a:lnTo>
                    <a:pt x="210" y="214"/>
                  </a:lnTo>
                  <a:lnTo>
                    <a:pt x="211" y="214"/>
                  </a:lnTo>
                  <a:lnTo>
                    <a:pt x="211" y="213"/>
                  </a:lnTo>
                  <a:lnTo>
                    <a:pt x="212" y="213"/>
                  </a:lnTo>
                  <a:lnTo>
                    <a:pt x="214" y="212"/>
                  </a:lnTo>
                  <a:lnTo>
                    <a:pt x="215" y="211"/>
                  </a:lnTo>
                  <a:lnTo>
                    <a:pt x="216" y="211"/>
                  </a:lnTo>
                  <a:lnTo>
                    <a:pt x="217" y="210"/>
                  </a:lnTo>
                  <a:lnTo>
                    <a:pt x="218" y="209"/>
                  </a:lnTo>
                  <a:lnTo>
                    <a:pt x="219" y="208"/>
                  </a:lnTo>
                  <a:lnTo>
                    <a:pt x="219" y="208"/>
                  </a:lnTo>
                  <a:lnTo>
                    <a:pt x="219" y="207"/>
                  </a:lnTo>
                  <a:lnTo>
                    <a:pt x="219" y="206"/>
                  </a:lnTo>
                  <a:lnTo>
                    <a:pt x="219" y="205"/>
                  </a:lnTo>
                  <a:lnTo>
                    <a:pt x="219" y="203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18" y="201"/>
                  </a:lnTo>
                  <a:lnTo>
                    <a:pt x="218" y="201"/>
                  </a:lnTo>
                  <a:lnTo>
                    <a:pt x="218" y="200"/>
                  </a:lnTo>
                  <a:lnTo>
                    <a:pt x="217" y="200"/>
                  </a:lnTo>
                  <a:lnTo>
                    <a:pt x="217" y="199"/>
                  </a:lnTo>
                  <a:lnTo>
                    <a:pt x="217" y="198"/>
                  </a:lnTo>
                  <a:lnTo>
                    <a:pt x="215" y="198"/>
                  </a:lnTo>
                  <a:lnTo>
                    <a:pt x="213" y="196"/>
                  </a:lnTo>
                  <a:lnTo>
                    <a:pt x="212" y="195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10" y="191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0" y="188"/>
                  </a:lnTo>
                  <a:lnTo>
                    <a:pt x="210" y="187"/>
                  </a:lnTo>
                  <a:lnTo>
                    <a:pt x="211" y="186"/>
                  </a:lnTo>
                  <a:lnTo>
                    <a:pt x="211" y="185"/>
                  </a:lnTo>
                  <a:lnTo>
                    <a:pt x="212" y="184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3" y="181"/>
                  </a:lnTo>
                  <a:lnTo>
                    <a:pt x="214" y="180"/>
                  </a:lnTo>
                  <a:lnTo>
                    <a:pt x="215" y="178"/>
                  </a:lnTo>
                  <a:lnTo>
                    <a:pt x="216" y="178"/>
                  </a:lnTo>
                  <a:lnTo>
                    <a:pt x="217" y="177"/>
                  </a:lnTo>
                  <a:lnTo>
                    <a:pt x="219" y="175"/>
                  </a:lnTo>
                  <a:lnTo>
                    <a:pt x="220" y="175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3"/>
                  </a:lnTo>
                  <a:lnTo>
                    <a:pt x="222" y="173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2" y="171"/>
                  </a:lnTo>
                  <a:lnTo>
                    <a:pt x="221" y="171"/>
                  </a:lnTo>
                  <a:lnTo>
                    <a:pt x="221" y="170"/>
                  </a:lnTo>
                  <a:lnTo>
                    <a:pt x="221" y="169"/>
                  </a:lnTo>
                  <a:lnTo>
                    <a:pt x="220" y="168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7" y="165"/>
                  </a:lnTo>
                  <a:lnTo>
                    <a:pt x="217" y="164"/>
                  </a:lnTo>
                  <a:lnTo>
                    <a:pt x="217" y="163"/>
                  </a:lnTo>
                  <a:lnTo>
                    <a:pt x="217" y="163"/>
                  </a:lnTo>
                  <a:lnTo>
                    <a:pt x="217" y="162"/>
                  </a:lnTo>
                  <a:lnTo>
                    <a:pt x="217" y="161"/>
                  </a:lnTo>
                  <a:lnTo>
                    <a:pt x="217" y="160"/>
                  </a:lnTo>
                  <a:lnTo>
                    <a:pt x="217" y="159"/>
                  </a:lnTo>
                  <a:lnTo>
                    <a:pt x="218" y="159"/>
                  </a:lnTo>
                  <a:lnTo>
                    <a:pt x="218" y="158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3" y="151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8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2" y="147"/>
                  </a:lnTo>
                  <a:lnTo>
                    <a:pt x="222" y="146"/>
                  </a:lnTo>
                  <a:lnTo>
                    <a:pt x="222" y="146"/>
                  </a:lnTo>
                  <a:lnTo>
                    <a:pt x="221" y="146"/>
                  </a:lnTo>
                  <a:lnTo>
                    <a:pt x="218" y="145"/>
                  </a:lnTo>
                  <a:lnTo>
                    <a:pt x="217" y="145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5" y="144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0"/>
                  </a:lnTo>
                  <a:lnTo>
                    <a:pt x="215" y="140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8"/>
                  </a:lnTo>
                  <a:lnTo>
                    <a:pt x="215" y="138"/>
                  </a:lnTo>
                  <a:lnTo>
                    <a:pt x="215" y="138"/>
                  </a:lnTo>
                  <a:lnTo>
                    <a:pt x="210" y="134"/>
                  </a:lnTo>
                  <a:lnTo>
                    <a:pt x="207" y="132"/>
                  </a:lnTo>
                  <a:lnTo>
                    <a:pt x="206" y="131"/>
                  </a:lnTo>
                  <a:lnTo>
                    <a:pt x="206" y="131"/>
                  </a:lnTo>
                  <a:lnTo>
                    <a:pt x="205" y="130"/>
                  </a:lnTo>
                  <a:lnTo>
                    <a:pt x="205" y="130"/>
                  </a:lnTo>
                  <a:lnTo>
                    <a:pt x="205" y="129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7"/>
                  </a:lnTo>
                  <a:lnTo>
                    <a:pt x="205" y="126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6" y="119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3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8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4"/>
                  </a:lnTo>
                  <a:lnTo>
                    <a:pt x="214" y="101"/>
                  </a:lnTo>
                  <a:lnTo>
                    <a:pt x="215" y="100"/>
                  </a:lnTo>
                  <a:lnTo>
                    <a:pt x="216" y="99"/>
                  </a:lnTo>
                  <a:lnTo>
                    <a:pt x="216" y="98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20" y="95"/>
                  </a:lnTo>
                  <a:lnTo>
                    <a:pt x="221" y="95"/>
                  </a:lnTo>
                  <a:lnTo>
                    <a:pt x="222" y="95"/>
                  </a:lnTo>
                  <a:lnTo>
                    <a:pt x="223" y="94"/>
                  </a:lnTo>
                  <a:lnTo>
                    <a:pt x="226" y="94"/>
                  </a:lnTo>
                  <a:lnTo>
                    <a:pt x="228" y="94"/>
                  </a:lnTo>
                  <a:lnTo>
                    <a:pt x="230" y="93"/>
                  </a:lnTo>
                  <a:lnTo>
                    <a:pt x="231" y="93"/>
                  </a:lnTo>
                  <a:lnTo>
                    <a:pt x="232" y="93"/>
                  </a:lnTo>
                  <a:lnTo>
                    <a:pt x="233" y="92"/>
                  </a:lnTo>
                  <a:lnTo>
                    <a:pt x="234" y="92"/>
                  </a:lnTo>
                  <a:lnTo>
                    <a:pt x="234" y="91"/>
                  </a:lnTo>
                  <a:lnTo>
                    <a:pt x="235" y="91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8"/>
                  </a:lnTo>
                  <a:lnTo>
                    <a:pt x="235" y="88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3" y="87"/>
                  </a:lnTo>
                  <a:lnTo>
                    <a:pt x="233" y="86"/>
                  </a:lnTo>
                  <a:lnTo>
                    <a:pt x="232" y="86"/>
                  </a:lnTo>
                  <a:lnTo>
                    <a:pt x="231" y="86"/>
                  </a:lnTo>
                  <a:lnTo>
                    <a:pt x="229" y="85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3"/>
                  </a:lnTo>
                  <a:lnTo>
                    <a:pt x="228" y="83"/>
                  </a:lnTo>
                  <a:lnTo>
                    <a:pt x="228" y="82"/>
                  </a:lnTo>
                  <a:lnTo>
                    <a:pt x="229" y="81"/>
                  </a:lnTo>
                  <a:lnTo>
                    <a:pt x="231" y="80"/>
                  </a:lnTo>
                  <a:lnTo>
                    <a:pt x="231" y="79"/>
                  </a:lnTo>
                  <a:lnTo>
                    <a:pt x="232" y="79"/>
                  </a:lnTo>
                  <a:lnTo>
                    <a:pt x="233" y="78"/>
                  </a:lnTo>
                  <a:lnTo>
                    <a:pt x="234" y="77"/>
                  </a:lnTo>
                  <a:lnTo>
                    <a:pt x="235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7" y="77"/>
                  </a:lnTo>
                  <a:lnTo>
                    <a:pt x="238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0" y="77"/>
                  </a:lnTo>
                  <a:lnTo>
                    <a:pt x="240" y="78"/>
                  </a:lnTo>
                  <a:lnTo>
                    <a:pt x="241" y="78"/>
                  </a:lnTo>
                  <a:lnTo>
                    <a:pt x="241" y="79"/>
                  </a:lnTo>
                  <a:lnTo>
                    <a:pt x="242" y="80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3" y="82"/>
                  </a:lnTo>
                  <a:lnTo>
                    <a:pt x="243" y="82"/>
                  </a:lnTo>
                  <a:lnTo>
                    <a:pt x="244" y="83"/>
                  </a:lnTo>
                  <a:lnTo>
                    <a:pt x="244" y="83"/>
                  </a:lnTo>
                  <a:lnTo>
                    <a:pt x="245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8" y="82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1"/>
                  </a:lnTo>
                  <a:lnTo>
                    <a:pt x="250" y="80"/>
                  </a:lnTo>
                  <a:lnTo>
                    <a:pt x="250" y="78"/>
                  </a:lnTo>
                  <a:lnTo>
                    <a:pt x="251" y="77"/>
                  </a:lnTo>
                  <a:lnTo>
                    <a:pt x="251" y="76"/>
                  </a:lnTo>
                  <a:lnTo>
                    <a:pt x="251" y="75"/>
                  </a:lnTo>
                  <a:lnTo>
                    <a:pt x="251" y="75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3"/>
                  </a:lnTo>
                  <a:lnTo>
                    <a:pt x="251" y="72"/>
                  </a:lnTo>
                  <a:lnTo>
                    <a:pt x="250" y="71"/>
                  </a:lnTo>
                  <a:lnTo>
                    <a:pt x="249" y="70"/>
                  </a:lnTo>
                  <a:lnTo>
                    <a:pt x="249" y="69"/>
                  </a:lnTo>
                  <a:lnTo>
                    <a:pt x="247" y="68"/>
                  </a:lnTo>
                  <a:lnTo>
                    <a:pt x="247" y="67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5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3"/>
                  </a:lnTo>
                  <a:lnTo>
                    <a:pt x="249" y="63"/>
                  </a:lnTo>
                  <a:lnTo>
                    <a:pt x="249" y="63"/>
                  </a:lnTo>
                  <a:lnTo>
                    <a:pt x="250" y="63"/>
                  </a:lnTo>
                  <a:lnTo>
                    <a:pt x="251" y="62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4" y="61"/>
                  </a:lnTo>
                  <a:lnTo>
                    <a:pt x="255" y="59"/>
                  </a:lnTo>
                  <a:lnTo>
                    <a:pt x="256" y="58"/>
                  </a:lnTo>
                  <a:lnTo>
                    <a:pt x="257" y="57"/>
                  </a:lnTo>
                  <a:lnTo>
                    <a:pt x="258" y="55"/>
                  </a:lnTo>
                  <a:lnTo>
                    <a:pt x="258" y="54"/>
                  </a:lnTo>
                  <a:lnTo>
                    <a:pt x="259" y="53"/>
                  </a:lnTo>
                  <a:lnTo>
                    <a:pt x="259" y="52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7" y="45"/>
                  </a:lnTo>
                  <a:lnTo>
                    <a:pt x="257" y="44"/>
                  </a:lnTo>
                  <a:lnTo>
                    <a:pt x="256" y="44"/>
                  </a:lnTo>
                  <a:lnTo>
                    <a:pt x="253" y="42"/>
                  </a:lnTo>
                  <a:lnTo>
                    <a:pt x="253" y="42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51" y="40"/>
                  </a:lnTo>
                  <a:lnTo>
                    <a:pt x="250" y="39"/>
                  </a:lnTo>
                  <a:lnTo>
                    <a:pt x="250" y="38"/>
                  </a:lnTo>
                  <a:lnTo>
                    <a:pt x="250" y="38"/>
                  </a:lnTo>
                  <a:lnTo>
                    <a:pt x="250" y="37"/>
                  </a:lnTo>
                  <a:lnTo>
                    <a:pt x="250" y="37"/>
                  </a:lnTo>
                  <a:lnTo>
                    <a:pt x="250" y="36"/>
                  </a:lnTo>
                  <a:lnTo>
                    <a:pt x="250" y="35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6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57" y="23"/>
                  </a:lnTo>
                  <a:lnTo>
                    <a:pt x="259" y="22"/>
                  </a:lnTo>
                  <a:lnTo>
                    <a:pt x="260" y="21"/>
                  </a:lnTo>
                  <a:lnTo>
                    <a:pt x="261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8"/>
                  </a:lnTo>
                  <a:lnTo>
                    <a:pt x="264" y="17"/>
                  </a:lnTo>
                  <a:lnTo>
                    <a:pt x="265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1" y="18"/>
                  </a:lnTo>
                  <a:lnTo>
                    <a:pt x="272" y="18"/>
                  </a:lnTo>
                  <a:lnTo>
                    <a:pt x="273" y="18"/>
                  </a:lnTo>
                  <a:lnTo>
                    <a:pt x="275" y="18"/>
                  </a:lnTo>
                  <a:lnTo>
                    <a:pt x="277" y="17"/>
                  </a:lnTo>
                  <a:lnTo>
                    <a:pt x="280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7" y="18"/>
                  </a:lnTo>
                  <a:lnTo>
                    <a:pt x="289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5" y="18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8" y="16"/>
                  </a:lnTo>
                  <a:lnTo>
                    <a:pt x="298" y="15"/>
                  </a:lnTo>
                  <a:lnTo>
                    <a:pt x="298" y="14"/>
                  </a:lnTo>
                  <a:lnTo>
                    <a:pt x="299" y="13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2" y="2"/>
                  </a:lnTo>
                  <a:lnTo>
                    <a:pt x="302" y="1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Freeform 69">
              <a:extLst>
                <a:ext uri="{FF2B5EF4-FFF2-40B4-BE49-F238E27FC236}">
                  <a16:creationId xmlns:a16="http://schemas.microsoft.com/office/drawing/2014/main" id="{CD9B00AA-D930-C850-5495-3C88BCF7D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140"/>
              <a:ext cx="365" cy="541"/>
            </a:xfrm>
            <a:custGeom>
              <a:avLst/>
              <a:gdLst>
                <a:gd name="T0" fmla="*/ 183 w 365"/>
                <a:gd name="T1" fmla="*/ 74 h 541"/>
                <a:gd name="T2" fmla="*/ 199 w 365"/>
                <a:gd name="T3" fmla="*/ 75 h 541"/>
                <a:gd name="T4" fmla="*/ 205 w 365"/>
                <a:gd name="T5" fmla="*/ 104 h 541"/>
                <a:gd name="T6" fmla="*/ 178 w 365"/>
                <a:gd name="T7" fmla="*/ 117 h 541"/>
                <a:gd name="T8" fmla="*/ 153 w 365"/>
                <a:gd name="T9" fmla="*/ 151 h 541"/>
                <a:gd name="T10" fmla="*/ 137 w 365"/>
                <a:gd name="T11" fmla="*/ 197 h 541"/>
                <a:gd name="T12" fmla="*/ 143 w 365"/>
                <a:gd name="T13" fmla="*/ 226 h 541"/>
                <a:gd name="T14" fmla="*/ 133 w 365"/>
                <a:gd name="T15" fmla="*/ 253 h 541"/>
                <a:gd name="T16" fmla="*/ 143 w 365"/>
                <a:gd name="T17" fmla="*/ 275 h 541"/>
                <a:gd name="T18" fmla="*/ 152 w 365"/>
                <a:gd name="T19" fmla="*/ 287 h 541"/>
                <a:gd name="T20" fmla="*/ 184 w 365"/>
                <a:gd name="T21" fmla="*/ 270 h 541"/>
                <a:gd name="T22" fmla="*/ 195 w 365"/>
                <a:gd name="T23" fmla="*/ 287 h 541"/>
                <a:gd name="T24" fmla="*/ 208 w 365"/>
                <a:gd name="T25" fmla="*/ 288 h 541"/>
                <a:gd name="T26" fmla="*/ 222 w 365"/>
                <a:gd name="T27" fmla="*/ 279 h 541"/>
                <a:gd name="T28" fmla="*/ 229 w 365"/>
                <a:gd name="T29" fmla="*/ 270 h 541"/>
                <a:gd name="T30" fmla="*/ 240 w 365"/>
                <a:gd name="T31" fmla="*/ 299 h 541"/>
                <a:gd name="T32" fmla="*/ 269 w 365"/>
                <a:gd name="T33" fmla="*/ 317 h 541"/>
                <a:gd name="T34" fmla="*/ 294 w 365"/>
                <a:gd name="T35" fmla="*/ 318 h 541"/>
                <a:gd name="T36" fmla="*/ 297 w 365"/>
                <a:gd name="T37" fmla="*/ 350 h 541"/>
                <a:gd name="T38" fmla="*/ 314 w 365"/>
                <a:gd name="T39" fmla="*/ 355 h 541"/>
                <a:gd name="T40" fmla="*/ 347 w 365"/>
                <a:gd name="T41" fmla="*/ 394 h 541"/>
                <a:gd name="T42" fmla="*/ 355 w 365"/>
                <a:gd name="T43" fmla="*/ 401 h 541"/>
                <a:gd name="T44" fmla="*/ 361 w 365"/>
                <a:gd name="T45" fmla="*/ 419 h 541"/>
                <a:gd name="T46" fmla="*/ 341 w 365"/>
                <a:gd name="T47" fmla="*/ 426 h 541"/>
                <a:gd name="T48" fmla="*/ 324 w 365"/>
                <a:gd name="T49" fmla="*/ 456 h 541"/>
                <a:gd name="T50" fmla="*/ 299 w 365"/>
                <a:gd name="T51" fmla="*/ 451 h 541"/>
                <a:gd name="T52" fmla="*/ 282 w 365"/>
                <a:gd name="T53" fmla="*/ 457 h 541"/>
                <a:gd name="T54" fmla="*/ 282 w 365"/>
                <a:gd name="T55" fmla="*/ 476 h 541"/>
                <a:gd name="T56" fmla="*/ 256 w 365"/>
                <a:gd name="T57" fmla="*/ 477 h 541"/>
                <a:gd name="T58" fmla="*/ 239 w 365"/>
                <a:gd name="T59" fmla="*/ 496 h 541"/>
                <a:gd name="T60" fmla="*/ 208 w 365"/>
                <a:gd name="T61" fmla="*/ 488 h 541"/>
                <a:gd name="T62" fmla="*/ 198 w 365"/>
                <a:gd name="T63" fmla="*/ 479 h 541"/>
                <a:gd name="T64" fmla="*/ 196 w 365"/>
                <a:gd name="T65" fmla="*/ 508 h 541"/>
                <a:gd name="T66" fmla="*/ 165 w 365"/>
                <a:gd name="T67" fmla="*/ 530 h 541"/>
                <a:gd name="T68" fmla="*/ 141 w 365"/>
                <a:gd name="T69" fmla="*/ 541 h 541"/>
                <a:gd name="T70" fmla="*/ 111 w 365"/>
                <a:gd name="T71" fmla="*/ 507 h 541"/>
                <a:gd name="T72" fmla="*/ 106 w 365"/>
                <a:gd name="T73" fmla="*/ 484 h 541"/>
                <a:gd name="T74" fmla="*/ 94 w 365"/>
                <a:gd name="T75" fmla="*/ 477 h 541"/>
                <a:gd name="T76" fmla="*/ 77 w 365"/>
                <a:gd name="T77" fmla="*/ 448 h 541"/>
                <a:gd name="T78" fmla="*/ 50 w 365"/>
                <a:gd name="T79" fmla="*/ 448 h 541"/>
                <a:gd name="T80" fmla="*/ 63 w 365"/>
                <a:gd name="T81" fmla="*/ 470 h 541"/>
                <a:gd name="T82" fmla="*/ 43 w 365"/>
                <a:gd name="T83" fmla="*/ 490 h 541"/>
                <a:gd name="T84" fmla="*/ 36 w 365"/>
                <a:gd name="T85" fmla="*/ 470 h 541"/>
                <a:gd name="T86" fmla="*/ 28 w 365"/>
                <a:gd name="T87" fmla="*/ 435 h 541"/>
                <a:gd name="T88" fmla="*/ 15 w 365"/>
                <a:gd name="T89" fmla="*/ 419 h 541"/>
                <a:gd name="T90" fmla="*/ 22 w 365"/>
                <a:gd name="T91" fmla="*/ 404 h 541"/>
                <a:gd name="T92" fmla="*/ 32 w 365"/>
                <a:gd name="T93" fmla="*/ 384 h 541"/>
                <a:gd name="T94" fmla="*/ 40 w 365"/>
                <a:gd name="T95" fmla="*/ 353 h 541"/>
                <a:gd name="T96" fmla="*/ 27 w 365"/>
                <a:gd name="T97" fmla="*/ 333 h 541"/>
                <a:gd name="T98" fmla="*/ 18 w 365"/>
                <a:gd name="T99" fmla="*/ 306 h 541"/>
                <a:gd name="T100" fmla="*/ 9 w 365"/>
                <a:gd name="T101" fmla="*/ 274 h 541"/>
                <a:gd name="T102" fmla="*/ 4 w 365"/>
                <a:gd name="T103" fmla="*/ 225 h 541"/>
                <a:gd name="T104" fmla="*/ 12 w 365"/>
                <a:gd name="T105" fmla="*/ 206 h 541"/>
                <a:gd name="T106" fmla="*/ 25 w 365"/>
                <a:gd name="T107" fmla="*/ 176 h 541"/>
                <a:gd name="T108" fmla="*/ 39 w 365"/>
                <a:gd name="T109" fmla="*/ 128 h 541"/>
                <a:gd name="T110" fmla="*/ 53 w 365"/>
                <a:gd name="T111" fmla="*/ 105 h 541"/>
                <a:gd name="T112" fmla="*/ 80 w 365"/>
                <a:gd name="T113" fmla="*/ 103 h 541"/>
                <a:gd name="T114" fmla="*/ 85 w 365"/>
                <a:gd name="T115" fmla="*/ 78 h 541"/>
                <a:gd name="T116" fmla="*/ 57 w 365"/>
                <a:gd name="T117" fmla="*/ 44 h 541"/>
                <a:gd name="T118" fmla="*/ 40 w 365"/>
                <a:gd name="T119" fmla="*/ 14 h 541"/>
                <a:gd name="T120" fmla="*/ 69 w 365"/>
                <a:gd name="T121" fmla="*/ 10 h 541"/>
                <a:gd name="T122" fmla="*/ 113 w 365"/>
                <a:gd name="T123" fmla="*/ 22 h 541"/>
                <a:gd name="T124" fmla="*/ 143 w 365"/>
                <a:gd name="T125" fmla="*/ 4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5" h="541">
                  <a:moveTo>
                    <a:pt x="169" y="56"/>
                  </a:moveTo>
                  <a:lnTo>
                    <a:pt x="170" y="55"/>
                  </a:lnTo>
                  <a:lnTo>
                    <a:pt x="171" y="55"/>
                  </a:lnTo>
                  <a:lnTo>
                    <a:pt x="172" y="55"/>
                  </a:lnTo>
                  <a:lnTo>
                    <a:pt x="176" y="54"/>
                  </a:lnTo>
                  <a:lnTo>
                    <a:pt x="177" y="54"/>
                  </a:lnTo>
                  <a:lnTo>
                    <a:pt x="178" y="54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5"/>
                  </a:lnTo>
                  <a:lnTo>
                    <a:pt x="181" y="55"/>
                  </a:lnTo>
                  <a:lnTo>
                    <a:pt x="181" y="56"/>
                  </a:lnTo>
                  <a:lnTo>
                    <a:pt x="182" y="58"/>
                  </a:lnTo>
                  <a:lnTo>
                    <a:pt x="183" y="61"/>
                  </a:lnTo>
                  <a:lnTo>
                    <a:pt x="183" y="62"/>
                  </a:lnTo>
                  <a:lnTo>
                    <a:pt x="183" y="62"/>
                  </a:lnTo>
                  <a:lnTo>
                    <a:pt x="183" y="63"/>
                  </a:lnTo>
                  <a:lnTo>
                    <a:pt x="183" y="64"/>
                  </a:lnTo>
                  <a:lnTo>
                    <a:pt x="182" y="72"/>
                  </a:lnTo>
                  <a:lnTo>
                    <a:pt x="182" y="73"/>
                  </a:lnTo>
                  <a:lnTo>
                    <a:pt x="183" y="74"/>
                  </a:lnTo>
                  <a:lnTo>
                    <a:pt x="183" y="76"/>
                  </a:lnTo>
                  <a:lnTo>
                    <a:pt x="183" y="77"/>
                  </a:lnTo>
                  <a:lnTo>
                    <a:pt x="184" y="77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5" y="79"/>
                  </a:lnTo>
                  <a:lnTo>
                    <a:pt x="185" y="79"/>
                  </a:lnTo>
                  <a:lnTo>
                    <a:pt x="186" y="79"/>
                  </a:lnTo>
                  <a:lnTo>
                    <a:pt x="186" y="79"/>
                  </a:lnTo>
                  <a:lnTo>
                    <a:pt x="187" y="78"/>
                  </a:lnTo>
                  <a:lnTo>
                    <a:pt x="187" y="78"/>
                  </a:lnTo>
                  <a:lnTo>
                    <a:pt x="189" y="77"/>
                  </a:lnTo>
                  <a:lnTo>
                    <a:pt x="190" y="76"/>
                  </a:lnTo>
                  <a:lnTo>
                    <a:pt x="190" y="76"/>
                  </a:lnTo>
                  <a:lnTo>
                    <a:pt x="191" y="75"/>
                  </a:lnTo>
                  <a:lnTo>
                    <a:pt x="192" y="75"/>
                  </a:lnTo>
                  <a:lnTo>
                    <a:pt x="192" y="75"/>
                  </a:lnTo>
                  <a:lnTo>
                    <a:pt x="194" y="75"/>
                  </a:lnTo>
                  <a:lnTo>
                    <a:pt x="194" y="74"/>
                  </a:lnTo>
                  <a:lnTo>
                    <a:pt x="195" y="74"/>
                  </a:lnTo>
                  <a:lnTo>
                    <a:pt x="197" y="75"/>
                  </a:lnTo>
                  <a:lnTo>
                    <a:pt x="198" y="75"/>
                  </a:lnTo>
                  <a:lnTo>
                    <a:pt x="199" y="75"/>
                  </a:lnTo>
                  <a:lnTo>
                    <a:pt x="200" y="76"/>
                  </a:lnTo>
                  <a:lnTo>
                    <a:pt x="201" y="76"/>
                  </a:lnTo>
                  <a:lnTo>
                    <a:pt x="202" y="77"/>
                  </a:lnTo>
                  <a:lnTo>
                    <a:pt x="203" y="77"/>
                  </a:lnTo>
                  <a:lnTo>
                    <a:pt x="204" y="78"/>
                  </a:lnTo>
                  <a:lnTo>
                    <a:pt x="204" y="78"/>
                  </a:lnTo>
                  <a:lnTo>
                    <a:pt x="205" y="79"/>
                  </a:lnTo>
                  <a:lnTo>
                    <a:pt x="206" y="80"/>
                  </a:lnTo>
                  <a:lnTo>
                    <a:pt x="206" y="81"/>
                  </a:lnTo>
                  <a:lnTo>
                    <a:pt x="207" y="82"/>
                  </a:lnTo>
                  <a:lnTo>
                    <a:pt x="207" y="82"/>
                  </a:lnTo>
                  <a:lnTo>
                    <a:pt x="208" y="83"/>
                  </a:lnTo>
                  <a:lnTo>
                    <a:pt x="208" y="84"/>
                  </a:lnTo>
                  <a:lnTo>
                    <a:pt x="208" y="85"/>
                  </a:lnTo>
                  <a:lnTo>
                    <a:pt x="208" y="85"/>
                  </a:lnTo>
                  <a:lnTo>
                    <a:pt x="208" y="94"/>
                  </a:lnTo>
                  <a:lnTo>
                    <a:pt x="207" y="97"/>
                  </a:lnTo>
                  <a:lnTo>
                    <a:pt x="207" y="98"/>
                  </a:lnTo>
                  <a:lnTo>
                    <a:pt x="207" y="100"/>
                  </a:lnTo>
                  <a:lnTo>
                    <a:pt x="206" y="101"/>
                  </a:lnTo>
                  <a:lnTo>
                    <a:pt x="206" y="102"/>
                  </a:lnTo>
                  <a:lnTo>
                    <a:pt x="206" y="103"/>
                  </a:lnTo>
                  <a:lnTo>
                    <a:pt x="205" y="104"/>
                  </a:lnTo>
                  <a:lnTo>
                    <a:pt x="205" y="104"/>
                  </a:lnTo>
                  <a:lnTo>
                    <a:pt x="204" y="104"/>
                  </a:lnTo>
                  <a:lnTo>
                    <a:pt x="204" y="105"/>
                  </a:lnTo>
                  <a:lnTo>
                    <a:pt x="203" y="105"/>
                  </a:lnTo>
                  <a:lnTo>
                    <a:pt x="202" y="105"/>
                  </a:lnTo>
                  <a:lnTo>
                    <a:pt x="201" y="105"/>
                  </a:lnTo>
                  <a:lnTo>
                    <a:pt x="201" y="105"/>
                  </a:lnTo>
                  <a:lnTo>
                    <a:pt x="199" y="105"/>
                  </a:lnTo>
                  <a:lnTo>
                    <a:pt x="198" y="105"/>
                  </a:lnTo>
                  <a:lnTo>
                    <a:pt x="197" y="104"/>
                  </a:lnTo>
                  <a:lnTo>
                    <a:pt x="195" y="104"/>
                  </a:lnTo>
                  <a:lnTo>
                    <a:pt x="194" y="104"/>
                  </a:lnTo>
                  <a:lnTo>
                    <a:pt x="194" y="104"/>
                  </a:lnTo>
                  <a:lnTo>
                    <a:pt x="193" y="105"/>
                  </a:lnTo>
                  <a:lnTo>
                    <a:pt x="193" y="105"/>
                  </a:lnTo>
                  <a:lnTo>
                    <a:pt x="191" y="106"/>
                  </a:lnTo>
                  <a:lnTo>
                    <a:pt x="190" y="107"/>
                  </a:lnTo>
                  <a:lnTo>
                    <a:pt x="189" y="109"/>
                  </a:lnTo>
                  <a:lnTo>
                    <a:pt x="185" y="113"/>
                  </a:lnTo>
                  <a:lnTo>
                    <a:pt x="184" y="114"/>
                  </a:lnTo>
                  <a:lnTo>
                    <a:pt x="183" y="115"/>
                  </a:lnTo>
                  <a:lnTo>
                    <a:pt x="182" y="115"/>
                  </a:lnTo>
                  <a:lnTo>
                    <a:pt x="181" y="116"/>
                  </a:lnTo>
                  <a:lnTo>
                    <a:pt x="180" y="116"/>
                  </a:lnTo>
                  <a:lnTo>
                    <a:pt x="178" y="117"/>
                  </a:lnTo>
                  <a:lnTo>
                    <a:pt x="177" y="118"/>
                  </a:lnTo>
                  <a:lnTo>
                    <a:pt x="176" y="118"/>
                  </a:lnTo>
                  <a:lnTo>
                    <a:pt x="175" y="119"/>
                  </a:lnTo>
                  <a:lnTo>
                    <a:pt x="174" y="120"/>
                  </a:lnTo>
                  <a:lnTo>
                    <a:pt x="173" y="120"/>
                  </a:lnTo>
                  <a:lnTo>
                    <a:pt x="171" y="123"/>
                  </a:lnTo>
                  <a:lnTo>
                    <a:pt x="170" y="123"/>
                  </a:lnTo>
                  <a:lnTo>
                    <a:pt x="169" y="124"/>
                  </a:lnTo>
                  <a:lnTo>
                    <a:pt x="167" y="126"/>
                  </a:lnTo>
                  <a:lnTo>
                    <a:pt x="166" y="126"/>
                  </a:lnTo>
                  <a:lnTo>
                    <a:pt x="165" y="128"/>
                  </a:lnTo>
                  <a:lnTo>
                    <a:pt x="163" y="130"/>
                  </a:lnTo>
                  <a:lnTo>
                    <a:pt x="158" y="136"/>
                  </a:lnTo>
                  <a:lnTo>
                    <a:pt x="156" y="138"/>
                  </a:lnTo>
                  <a:lnTo>
                    <a:pt x="156" y="139"/>
                  </a:lnTo>
                  <a:lnTo>
                    <a:pt x="155" y="140"/>
                  </a:lnTo>
                  <a:lnTo>
                    <a:pt x="155" y="141"/>
                  </a:lnTo>
                  <a:lnTo>
                    <a:pt x="155" y="142"/>
                  </a:lnTo>
                  <a:lnTo>
                    <a:pt x="155" y="145"/>
                  </a:lnTo>
                  <a:lnTo>
                    <a:pt x="154" y="147"/>
                  </a:lnTo>
                  <a:lnTo>
                    <a:pt x="154" y="148"/>
                  </a:lnTo>
                  <a:lnTo>
                    <a:pt x="154" y="149"/>
                  </a:lnTo>
                  <a:lnTo>
                    <a:pt x="154" y="150"/>
                  </a:lnTo>
                  <a:lnTo>
                    <a:pt x="153" y="151"/>
                  </a:lnTo>
                  <a:lnTo>
                    <a:pt x="152" y="155"/>
                  </a:lnTo>
                  <a:lnTo>
                    <a:pt x="151" y="156"/>
                  </a:lnTo>
                  <a:lnTo>
                    <a:pt x="151" y="157"/>
                  </a:lnTo>
                  <a:lnTo>
                    <a:pt x="150" y="158"/>
                  </a:lnTo>
                  <a:lnTo>
                    <a:pt x="150" y="160"/>
                  </a:lnTo>
                  <a:lnTo>
                    <a:pt x="150" y="161"/>
                  </a:lnTo>
                  <a:lnTo>
                    <a:pt x="151" y="166"/>
                  </a:lnTo>
                  <a:lnTo>
                    <a:pt x="151" y="170"/>
                  </a:lnTo>
                  <a:lnTo>
                    <a:pt x="151" y="172"/>
                  </a:lnTo>
                  <a:lnTo>
                    <a:pt x="151" y="174"/>
                  </a:lnTo>
                  <a:lnTo>
                    <a:pt x="151" y="175"/>
                  </a:lnTo>
                  <a:lnTo>
                    <a:pt x="150" y="176"/>
                  </a:lnTo>
                  <a:lnTo>
                    <a:pt x="150" y="178"/>
                  </a:lnTo>
                  <a:lnTo>
                    <a:pt x="150" y="179"/>
                  </a:lnTo>
                  <a:lnTo>
                    <a:pt x="149" y="180"/>
                  </a:lnTo>
                  <a:lnTo>
                    <a:pt x="149" y="181"/>
                  </a:lnTo>
                  <a:lnTo>
                    <a:pt x="148" y="182"/>
                  </a:lnTo>
                  <a:lnTo>
                    <a:pt x="147" y="184"/>
                  </a:lnTo>
                  <a:lnTo>
                    <a:pt x="146" y="184"/>
                  </a:lnTo>
                  <a:lnTo>
                    <a:pt x="141" y="191"/>
                  </a:lnTo>
                  <a:lnTo>
                    <a:pt x="140" y="192"/>
                  </a:lnTo>
                  <a:lnTo>
                    <a:pt x="139" y="194"/>
                  </a:lnTo>
                  <a:lnTo>
                    <a:pt x="138" y="195"/>
                  </a:lnTo>
                  <a:lnTo>
                    <a:pt x="137" y="197"/>
                  </a:lnTo>
                  <a:lnTo>
                    <a:pt x="136" y="199"/>
                  </a:lnTo>
                  <a:lnTo>
                    <a:pt x="135" y="200"/>
                  </a:lnTo>
                  <a:lnTo>
                    <a:pt x="135" y="201"/>
                  </a:lnTo>
                  <a:lnTo>
                    <a:pt x="135" y="202"/>
                  </a:lnTo>
                  <a:lnTo>
                    <a:pt x="135" y="203"/>
                  </a:lnTo>
                  <a:lnTo>
                    <a:pt x="134" y="204"/>
                  </a:lnTo>
                  <a:lnTo>
                    <a:pt x="134" y="208"/>
                  </a:lnTo>
                  <a:lnTo>
                    <a:pt x="133" y="212"/>
                  </a:lnTo>
                  <a:lnTo>
                    <a:pt x="133" y="212"/>
                  </a:lnTo>
                  <a:lnTo>
                    <a:pt x="133" y="213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4" y="215"/>
                  </a:lnTo>
                  <a:lnTo>
                    <a:pt x="135" y="216"/>
                  </a:lnTo>
                  <a:lnTo>
                    <a:pt x="135" y="216"/>
                  </a:lnTo>
                  <a:lnTo>
                    <a:pt x="136" y="218"/>
                  </a:lnTo>
                  <a:lnTo>
                    <a:pt x="140" y="222"/>
                  </a:lnTo>
                  <a:lnTo>
                    <a:pt x="141" y="223"/>
                  </a:lnTo>
                  <a:lnTo>
                    <a:pt x="141" y="224"/>
                  </a:lnTo>
                  <a:lnTo>
                    <a:pt x="142" y="224"/>
                  </a:lnTo>
                  <a:lnTo>
                    <a:pt x="142" y="225"/>
                  </a:lnTo>
                  <a:lnTo>
                    <a:pt x="142" y="226"/>
                  </a:lnTo>
                  <a:lnTo>
                    <a:pt x="143" y="226"/>
                  </a:lnTo>
                  <a:lnTo>
                    <a:pt x="143" y="227"/>
                  </a:lnTo>
                  <a:lnTo>
                    <a:pt x="143" y="228"/>
                  </a:lnTo>
                  <a:lnTo>
                    <a:pt x="143" y="228"/>
                  </a:lnTo>
                  <a:lnTo>
                    <a:pt x="143" y="229"/>
                  </a:lnTo>
                  <a:lnTo>
                    <a:pt x="143" y="230"/>
                  </a:lnTo>
                  <a:lnTo>
                    <a:pt x="143" y="231"/>
                  </a:lnTo>
                  <a:lnTo>
                    <a:pt x="142" y="232"/>
                  </a:lnTo>
                  <a:lnTo>
                    <a:pt x="141" y="233"/>
                  </a:lnTo>
                  <a:lnTo>
                    <a:pt x="141" y="234"/>
                  </a:lnTo>
                  <a:lnTo>
                    <a:pt x="140" y="235"/>
                  </a:lnTo>
                  <a:lnTo>
                    <a:pt x="138" y="238"/>
                  </a:lnTo>
                  <a:lnTo>
                    <a:pt x="137" y="240"/>
                  </a:lnTo>
                  <a:lnTo>
                    <a:pt x="136" y="242"/>
                  </a:lnTo>
                  <a:lnTo>
                    <a:pt x="135" y="242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35" y="244"/>
                  </a:lnTo>
                  <a:lnTo>
                    <a:pt x="135" y="245"/>
                  </a:lnTo>
                  <a:lnTo>
                    <a:pt x="135" y="247"/>
                  </a:lnTo>
                  <a:lnTo>
                    <a:pt x="135" y="248"/>
                  </a:lnTo>
                  <a:lnTo>
                    <a:pt x="135" y="249"/>
                  </a:lnTo>
                  <a:lnTo>
                    <a:pt x="134" y="250"/>
                  </a:lnTo>
                  <a:lnTo>
                    <a:pt x="134" y="251"/>
                  </a:lnTo>
                  <a:lnTo>
                    <a:pt x="133" y="253"/>
                  </a:lnTo>
                  <a:lnTo>
                    <a:pt x="132" y="256"/>
                  </a:lnTo>
                  <a:lnTo>
                    <a:pt x="131" y="257"/>
                  </a:lnTo>
                  <a:lnTo>
                    <a:pt x="131" y="258"/>
                  </a:lnTo>
                  <a:lnTo>
                    <a:pt x="131" y="259"/>
                  </a:lnTo>
                  <a:lnTo>
                    <a:pt x="131" y="260"/>
                  </a:lnTo>
                  <a:lnTo>
                    <a:pt x="131" y="261"/>
                  </a:lnTo>
                  <a:lnTo>
                    <a:pt x="131" y="261"/>
                  </a:lnTo>
                  <a:lnTo>
                    <a:pt x="131" y="262"/>
                  </a:lnTo>
                  <a:lnTo>
                    <a:pt x="131" y="262"/>
                  </a:lnTo>
                  <a:lnTo>
                    <a:pt x="131" y="263"/>
                  </a:lnTo>
                  <a:lnTo>
                    <a:pt x="132" y="265"/>
                  </a:lnTo>
                  <a:lnTo>
                    <a:pt x="133" y="266"/>
                  </a:lnTo>
                  <a:lnTo>
                    <a:pt x="134" y="267"/>
                  </a:lnTo>
                  <a:lnTo>
                    <a:pt x="134" y="267"/>
                  </a:lnTo>
                  <a:lnTo>
                    <a:pt x="136" y="269"/>
                  </a:lnTo>
                  <a:lnTo>
                    <a:pt x="137" y="272"/>
                  </a:lnTo>
                  <a:lnTo>
                    <a:pt x="138" y="272"/>
                  </a:lnTo>
                  <a:lnTo>
                    <a:pt x="139" y="273"/>
                  </a:lnTo>
                  <a:lnTo>
                    <a:pt x="140" y="274"/>
                  </a:lnTo>
                  <a:lnTo>
                    <a:pt x="140" y="274"/>
                  </a:lnTo>
                  <a:lnTo>
                    <a:pt x="141" y="274"/>
                  </a:lnTo>
                  <a:lnTo>
                    <a:pt x="141" y="275"/>
                  </a:lnTo>
                  <a:lnTo>
                    <a:pt x="142" y="275"/>
                  </a:lnTo>
                  <a:lnTo>
                    <a:pt x="143" y="275"/>
                  </a:lnTo>
                  <a:lnTo>
                    <a:pt x="144" y="274"/>
                  </a:lnTo>
                  <a:lnTo>
                    <a:pt x="146" y="274"/>
                  </a:lnTo>
                  <a:lnTo>
                    <a:pt x="147" y="274"/>
                  </a:lnTo>
                  <a:lnTo>
                    <a:pt x="148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1" y="273"/>
                  </a:lnTo>
                  <a:lnTo>
                    <a:pt x="151" y="274"/>
                  </a:lnTo>
                  <a:lnTo>
                    <a:pt x="151" y="274"/>
                  </a:lnTo>
                  <a:lnTo>
                    <a:pt x="151" y="275"/>
                  </a:lnTo>
                  <a:lnTo>
                    <a:pt x="151" y="276"/>
                  </a:lnTo>
                  <a:lnTo>
                    <a:pt x="151" y="278"/>
                  </a:lnTo>
                  <a:lnTo>
                    <a:pt x="150" y="281"/>
                  </a:lnTo>
                  <a:lnTo>
                    <a:pt x="150" y="282"/>
                  </a:lnTo>
                  <a:lnTo>
                    <a:pt x="150" y="283"/>
                  </a:lnTo>
                  <a:lnTo>
                    <a:pt x="150" y="284"/>
                  </a:lnTo>
                  <a:lnTo>
                    <a:pt x="151" y="285"/>
                  </a:lnTo>
                  <a:lnTo>
                    <a:pt x="151" y="285"/>
                  </a:lnTo>
                  <a:lnTo>
                    <a:pt x="151" y="286"/>
                  </a:lnTo>
                  <a:lnTo>
                    <a:pt x="151" y="286"/>
                  </a:lnTo>
                  <a:lnTo>
                    <a:pt x="152" y="286"/>
                  </a:lnTo>
                  <a:lnTo>
                    <a:pt x="152" y="287"/>
                  </a:lnTo>
                  <a:lnTo>
                    <a:pt x="153" y="287"/>
                  </a:lnTo>
                  <a:lnTo>
                    <a:pt x="153" y="287"/>
                  </a:lnTo>
                  <a:lnTo>
                    <a:pt x="154" y="287"/>
                  </a:lnTo>
                  <a:lnTo>
                    <a:pt x="158" y="287"/>
                  </a:lnTo>
                  <a:lnTo>
                    <a:pt x="161" y="287"/>
                  </a:lnTo>
                  <a:lnTo>
                    <a:pt x="162" y="287"/>
                  </a:lnTo>
                  <a:lnTo>
                    <a:pt x="163" y="286"/>
                  </a:lnTo>
                  <a:lnTo>
                    <a:pt x="163" y="286"/>
                  </a:lnTo>
                  <a:lnTo>
                    <a:pt x="164" y="286"/>
                  </a:lnTo>
                  <a:lnTo>
                    <a:pt x="164" y="285"/>
                  </a:lnTo>
                  <a:lnTo>
                    <a:pt x="165" y="284"/>
                  </a:lnTo>
                  <a:lnTo>
                    <a:pt x="166" y="283"/>
                  </a:lnTo>
                  <a:lnTo>
                    <a:pt x="167" y="282"/>
                  </a:lnTo>
                  <a:lnTo>
                    <a:pt x="168" y="281"/>
                  </a:lnTo>
                  <a:lnTo>
                    <a:pt x="169" y="280"/>
                  </a:lnTo>
                  <a:lnTo>
                    <a:pt x="172" y="278"/>
                  </a:lnTo>
                  <a:lnTo>
                    <a:pt x="175" y="275"/>
                  </a:lnTo>
                  <a:lnTo>
                    <a:pt x="176" y="274"/>
                  </a:lnTo>
                  <a:lnTo>
                    <a:pt x="178" y="273"/>
                  </a:lnTo>
                  <a:lnTo>
                    <a:pt x="179" y="272"/>
                  </a:lnTo>
                  <a:lnTo>
                    <a:pt x="180" y="272"/>
                  </a:lnTo>
                  <a:lnTo>
                    <a:pt x="181" y="272"/>
                  </a:lnTo>
                  <a:lnTo>
                    <a:pt x="182" y="271"/>
                  </a:lnTo>
                  <a:lnTo>
                    <a:pt x="184" y="270"/>
                  </a:lnTo>
                  <a:lnTo>
                    <a:pt x="185" y="270"/>
                  </a:lnTo>
                  <a:lnTo>
                    <a:pt x="185" y="270"/>
                  </a:lnTo>
                  <a:lnTo>
                    <a:pt x="187" y="269"/>
                  </a:lnTo>
                  <a:lnTo>
                    <a:pt x="189" y="269"/>
                  </a:lnTo>
                  <a:lnTo>
                    <a:pt x="190" y="269"/>
                  </a:lnTo>
                  <a:lnTo>
                    <a:pt x="191" y="269"/>
                  </a:lnTo>
                  <a:lnTo>
                    <a:pt x="192" y="269"/>
                  </a:lnTo>
                  <a:lnTo>
                    <a:pt x="192" y="269"/>
                  </a:lnTo>
                  <a:lnTo>
                    <a:pt x="193" y="270"/>
                  </a:lnTo>
                  <a:lnTo>
                    <a:pt x="194" y="270"/>
                  </a:lnTo>
                  <a:lnTo>
                    <a:pt x="194" y="271"/>
                  </a:lnTo>
                  <a:lnTo>
                    <a:pt x="195" y="271"/>
                  </a:lnTo>
                  <a:lnTo>
                    <a:pt x="196" y="272"/>
                  </a:lnTo>
                  <a:lnTo>
                    <a:pt x="196" y="272"/>
                  </a:lnTo>
                  <a:lnTo>
                    <a:pt x="197" y="273"/>
                  </a:lnTo>
                  <a:lnTo>
                    <a:pt x="197" y="274"/>
                  </a:lnTo>
                  <a:lnTo>
                    <a:pt x="197" y="275"/>
                  </a:lnTo>
                  <a:lnTo>
                    <a:pt x="197" y="275"/>
                  </a:lnTo>
                  <a:lnTo>
                    <a:pt x="197" y="276"/>
                  </a:lnTo>
                  <a:lnTo>
                    <a:pt x="197" y="278"/>
                  </a:lnTo>
                  <a:lnTo>
                    <a:pt x="196" y="280"/>
                  </a:lnTo>
                  <a:lnTo>
                    <a:pt x="195" y="284"/>
                  </a:lnTo>
                  <a:lnTo>
                    <a:pt x="195" y="287"/>
                  </a:lnTo>
                  <a:lnTo>
                    <a:pt x="195" y="287"/>
                  </a:lnTo>
                  <a:lnTo>
                    <a:pt x="195" y="288"/>
                  </a:lnTo>
                  <a:lnTo>
                    <a:pt x="195" y="289"/>
                  </a:lnTo>
                  <a:lnTo>
                    <a:pt x="195" y="290"/>
                  </a:lnTo>
                  <a:lnTo>
                    <a:pt x="196" y="291"/>
                  </a:lnTo>
                  <a:lnTo>
                    <a:pt x="196" y="293"/>
                  </a:lnTo>
                  <a:lnTo>
                    <a:pt x="197" y="294"/>
                  </a:lnTo>
                  <a:lnTo>
                    <a:pt x="198" y="295"/>
                  </a:lnTo>
                  <a:lnTo>
                    <a:pt x="199" y="296"/>
                  </a:lnTo>
                  <a:lnTo>
                    <a:pt x="199" y="296"/>
                  </a:lnTo>
                  <a:lnTo>
                    <a:pt x="200" y="296"/>
                  </a:lnTo>
                  <a:lnTo>
                    <a:pt x="200" y="296"/>
                  </a:lnTo>
                  <a:lnTo>
                    <a:pt x="201" y="296"/>
                  </a:lnTo>
                  <a:lnTo>
                    <a:pt x="201" y="296"/>
                  </a:lnTo>
                  <a:lnTo>
                    <a:pt x="202" y="296"/>
                  </a:lnTo>
                  <a:lnTo>
                    <a:pt x="202" y="296"/>
                  </a:lnTo>
                  <a:lnTo>
                    <a:pt x="202" y="296"/>
                  </a:lnTo>
                  <a:lnTo>
                    <a:pt x="203" y="295"/>
                  </a:lnTo>
                  <a:lnTo>
                    <a:pt x="204" y="293"/>
                  </a:lnTo>
                  <a:lnTo>
                    <a:pt x="205" y="292"/>
                  </a:lnTo>
                  <a:lnTo>
                    <a:pt x="205" y="292"/>
                  </a:lnTo>
                  <a:lnTo>
                    <a:pt x="207" y="290"/>
                  </a:lnTo>
                  <a:lnTo>
                    <a:pt x="208" y="289"/>
                  </a:lnTo>
                  <a:lnTo>
                    <a:pt x="208" y="288"/>
                  </a:lnTo>
                  <a:lnTo>
                    <a:pt x="208" y="288"/>
                  </a:lnTo>
                  <a:lnTo>
                    <a:pt x="209" y="287"/>
                  </a:lnTo>
                  <a:lnTo>
                    <a:pt x="209" y="286"/>
                  </a:lnTo>
                  <a:lnTo>
                    <a:pt x="210" y="285"/>
                  </a:lnTo>
                  <a:lnTo>
                    <a:pt x="210" y="285"/>
                  </a:lnTo>
                  <a:lnTo>
                    <a:pt x="211" y="284"/>
                  </a:lnTo>
                  <a:lnTo>
                    <a:pt x="211" y="284"/>
                  </a:lnTo>
                  <a:lnTo>
                    <a:pt x="213" y="283"/>
                  </a:lnTo>
                  <a:lnTo>
                    <a:pt x="213" y="283"/>
                  </a:lnTo>
                  <a:lnTo>
                    <a:pt x="214" y="282"/>
                  </a:lnTo>
                  <a:lnTo>
                    <a:pt x="215" y="282"/>
                  </a:lnTo>
                  <a:lnTo>
                    <a:pt x="215" y="282"/>
                  </a:lnTo>
                  <a:lnTo>
                    <a:pt x="215" y="282"/>
                  </a:lnTo>
                  <a:lnTo>
                    <a:pt x="216" y="282"/>
                  </a:lnTo>
                  <a:lnTo>
                    <a:pt x="216" y="282"/>
                  </a:lnTo>
                  <a:lnTo>
                    <a:pt x="217" y="282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9" y="282"/>
                  </a:lnTo>
                  <a:lnTo>
                    <a:pt x="220" y="282"/>
                  </a:lnTo>
                  <a:lnTo>
                    <a:pt x="220" y="281"/>
                  </a:lnTo>
                  <a:lnTo>
                    <a:pt x="221" y="280"/>
                  </a:lnTo>
                  <a:lnTo>
                    <a:pt x="222" y="279"/>
                  </a:lnTo>
                  <a:lnTo>
                    <a:pt x="222" y="279"/>
                  </a:lnTo>
                  <a:lnTo>
                    <a:pt x="222" y="278"/>
                  </a:lnTo>
                  <a:lnTo>
                    <a:pt x="223" y="278"/>
                  </a:lnTo>
                  <a:lnTo>
                    <a:pt x="223" y="277"/>
                  </a:lnTo>
                  <a:lnTo>
                    <a:pt x="223" y="276"/>
                  </a:lnTo>
                  <a:lnTo>
                    <a:pt x="223" y="275"/>
                  </a:lnTo>
                  <a:lnTo>
                    <a:pt x="222" y="274"/>
                  </a:lnTo>
                  <a:lnTo>
                    <a:pt x="221" y="267"/>
                  </a:lnTo>
                  <a:lnTo>
                    <a:pt x="220" y="266"/>
                  </a:lnTo>
                  <a:lnTo>
                    <a:pt x="220" y="265"/>
                  </a:lnTo>
                  <a:lnTo>
                    <a:pt x="220" y="265"/>
                  </a:lnTo>
                  <a:lnTo>
                    <a:pt x="221" y="264"/>
                  </a:lnTo>
                  <a:lnTo>
                    <a:pt x="221" y="263"/>
                  </a:lnTo>
                  <a:lnTo>
                    <a:pt x="222" y="263"/>
                  </a:lnTo>
                  <a:lnTo>
                    <a:pt x="222" y="263"/>
                  </a:lnTo>
                  <a:lnTo>
                    <a:pt x="223" y="263"/>
                  </a:lnTo>
                  <a:lnTo>
                    <a:pt x="224" y="263"/>
                  </a:lnTo>
                  <a:lnTo>
                    <a:pt x="225" y="263"/>
                  </a:lnTo>
                  <a:lnTo>
                    <a:pt x="225" y="263"/>
                  </a:lnTo>
                  <a:lnTo>
                    <a:pt x="226" y="264"/>
                  </a:lnTo>
                  <a:lnTo>
                    <a:pt x="226" y="264"/>
                  </a:lnTo>
                  <a:lnTo>
                    <a:pt x="226" y="264"/>
                  </a:lnTo>
                  <a:lnTo>
                    <a:pt x="227" y="265"/>
                  </a:lnTo>
                  <a:lnTo>
                    <a:pt x="228" y="268"/>
                  </a:lnTo>
                  <a:lnTo>
                    <a:pt x="229" y="270"/>
                  </a:lnTo>
                  <a:lnTo>
                    <a:pt x="230" y="272"/>
                  </a:lnTo>
                  <a:lnTo>
                    <a:pt x="230" y="273"/>
                  </a:lnTo>
                  <a:lnTo>
                    <a:pt x="231" y="274"/>
                  </a:lnTo>
                  <a:lnTo>
                    <a:pt x="231" y="276"/>
                  </a:lnTo>
                  <a:lnTo>
                    <a:pt x="231" y="278"/>
                  </a:lnTo>
                  <a:lnTo>
                    <a:pt x="231" y="278"/>
                  </a:lnTo>
                  <a:lnTo>
                    <a:pt x="231" y="280"/>
                  </a:lnTo>
                  <a:lnTo>
                    <a:pt x="231" y="281"/>
                  </a:lnTo>
                  <a:lnTo>
                    <a:pt x="232" y="283"/>
                  </a:lnTo>
                  <a:lnTo>
                    <a:pt x="232" y="284"/>
                  </a:lnTo>
                  <a:lnTo>
                    <a:pt x="234" y="286"/>
                  </a:lnTo>
                  <a:lnTo>
                    <a:pt x="234" y="287"/>
                  </a:lnTo>
                  <a:lnTo>
                    <a:pt x="235" y="288"/>
                  </a:lnTo>
                  <a:lnTo>
                    <a:pt x="235" y="288"/>
                  </a:lnTo>
                  <a:lnTo>
                    <a:pt x="235" y="289"/>
                  </a:lnTo>
                  <a:lnTo>
                    <a:pt x="236" y="290"/>
                  </a:lnTo>
                  <a:lnTo>
                    <a:pt x="236" y="290"/>
                  </a:lnTo>
                  <a:lnTo>
                    <a:pt x="236" y="292"/>
                  </a:lnTo>
                  <a:lnTo>
                    <a:pt x="236" y="293"/>
                  </a:lnTo>
                  <a:lnTo>
                    <a:pt x="236" y="294"/>
                  </a:lnTo>
                  <a:lnTo>
                    <a:pt x="237" y="295"/>
                  </a:lnTo>
                  <a:lnTo>
                    <a:pt x="237" y="296"/>
                  </a:lnTo>
                  <a:lnTo>
                    <a:pt x="237" y="296"/>
                  </a:lnTo>
                  <a:lnTo>
                    <a:pt x="240" y="299"/>
                  </a:lnTo>
                  <a:lnTo>
                    <a:pt x="241" y="300"/>
                  </a:lnTo>
                  <a:lnTo>
                    <a:pt x="242" y="301"/>
                  </a:lnTo>
                  <a:lnTo>
                    <a:pt x="243" y="303"/>
                  </a:lnTo>
                  <a:lnTo>
                    <a:pt x="243" y="304"/>
                  </a:lnTo>
                  <a:lnTo>
                    <a:pt x="244" y="305"/>
                  </a:lnTo>
                  <a:lnTo>
                    <a:pt x="245" y="306"/>
                  </a:lnTo>
                  <a:lnTo>
                    <a:pt x="245" y="306"/>
                  </a:lnTo>
                  <a:lnTo>
                    <a:pt x="246" y="307"/>
                  </a:lnTo>
                  <a:lnTo>
                    <a:pt x="247" y="307"/>
                  </a:lnTo>
                  <a:lnTo>
                    <a:pt x="249" y="308"/>
                  </a:lnTo>
                  <a:lnTo>
                    <a:pt x="250" y="309"/>
                  </a:lnTo>
                  <a:lnTo>
                    <a:pt x="251" y="309"/>
                  </a:lnTo>
                  <a:lnTo>
                    <a:pt x="252" y="310"/>
                  </a:lnTo>
                  <a:lnTo>
                    <a:pt x="253" y="311"/>
                  </a:lnTo>
                  <a:lnTo>
                    <a:pt x="254" y="312"/>
                  </a:lnTo>
                  <a:lnTo>
                    <a:pt x="255" y="313"/>
                  </a:lnTo>
                  <a:lnTo>
                    <a:pt x="256" y="313"/>
                  </a:lnTo>
                  <a:lnTo>
                    <a:pt x="260" y="315"/>
                  </a:lnTo>
                  <a:lnTo>
                    <a:pt x="262" y="316"/>
                  </a:lnTo>
                  <a:lnTo>
                    <a:pt x="263" y="316"/>
                  </a:lnTo>
                  <a:lnTo>
                    <a:pt x="264" y="316"/>
                  </a:lnTo>
                  <a:lnTo>
                    <a:pt x="267" y="317"/>
                  </a:lnTo>
                  <a:lnTo>
                    <a:pt x="268" y="317"/>
                  </a:lnTo>
                  <a:lnTo>
                    <a:pt x="269" y="317"/>
                  </a:lnTo>
                  <a:lnTo>
                    <a:pt x="269" y="317"/>
                  </a:lnTo>
                  <a:lnTo>
                    <a:pt x="270" y="317"/>
                  </a:lnTo>
                  <a:lnTo>
                    <a:pt x="271" y="317"/>
                  </a:lnTo>
                  <a:lnTo>
                    <a:pt x="273" y="316"/>
                  </a:lnTo>
                  <a:lnTo>
                    <a:pt x="275" y="315"/>
                  </a:lnTo>
                  <a:lnTo>
                    <a:pt x="277" y="314"/>
                  </a:lnTo>
                  <a:lnTo>
                    <a:pt x="278" y="314"/>
                  </a:lnTo>
                  <a:lnTo>
                    <a:pt x="283" y="312"/>
                  </a:lnTo>
                  <a:lnTo>
                    <a:pt x="284" y="312"/>
                  </a:lnTo>
                  <a:lnTo>
                    <a:pt x="287" y="311"/>
                  </a:lnTo>
                  <a:lnTo>
                    <a:pt x="287" y="311"/>
                  </a:lnTo>
                  <a:lnTo>
                    <a:pt x="288" y="311"/>
                  </a:lnTo>
                  <a:lnTo>
                    <a:pt x="289" y="311"/>
                  </a:lnTo>
                  <a:lnTo>
                    <a:pt x="289" y="311"/>
                  </a:lnTo>
                  <a:lnTo>
                    <a:pt x="290" y="311"/>
                  </a:lnTo>
                  <a:lnTo>
                    <a:pt x="290" y="311"/>
                  </a:lnTo>
                  <a:lnTo>
                    <a:pt x="291" y="312"/>
                  </a:lnTo>
                  <a:lnTo>
                    <a:pt x="291" y="312"/>
                  </a:lnTo>
                  <a:lnTo>
                    <a:pt x="292" y="313"/>
                  </a:lnTo>
                  <a:lnTo>
                    <a:pt x="292" y="314"/>
                  </a:lnTo>
                  <a:lnTo>
                    <a:pt x="293" y="315"/>
                  </a:lnTo>
                  <a:lnTo>
                    <a:pt x="293" y="316"/>
                  </a:lnTo>
                  <a:lnTo>
                    <a:pt x="294" y="317"/>
                  </a:lnTo>
                  <a:lnTo>
                    <a:pt x="294" y="318"/>
                  </a:lnTo>
                  <a:lnTo>
                    <a:pt x="295" y="320"/>
                  </a:lnTo>
                  <a:lnTo>
                    <a:pt x="295" y="321"/>
                  </a:lnTo>
                  <a:lnTo>
                    <a:pt x="295" y="323"/>
                  </a:lnTo>
                  <a:lnTo>
                    <a:pt x="295" y="324"/>
                  </a:lnTo>
                  <a:lnTo>
                    <a:pt x="295" y="325"/>
                  </a:lnTo>
                  <a:lnTo>
                    <a:pt x="295" y="326"/>
                  </a:lnTo>
                  <a:lnTo>
                    <a:pt x="295" y="327"/>
                  </a:lnTo>
                  <a:lnTo>
                    <a:pt x="295" y="328"/>
                  </a:lnTo>
                  <a:lnTo>
                    <a:pt x="294" y="332"/>
                  </a:lnTo>
                  <a:lnTo>
                    <a:pt x="293" y="334"/>
                  </a:lnTo>
                  <a:lnTo>
                    <a:pt x="293" y="335"/>
                  </a:lnTo>
                  <a:lnTo>
                    <a:pt x="293" y="336"/>
                  </a:lnTo>
                  <a:lnTo>
                    <a:pt x="293" y="337"/>
                  </a:lnTo>
                  <a:lnTo>
                    <a:pt x="293" y="338"/>
                  </a:lnTo>
                  <a:lnTo>
                    <a:pt x="293" y="340"/>
                  </a:lnTo>
                  <a:lnTo>
                    <a:pt x="293" y="341"/>
                  </a:lnTo>
                  <a:lnTo>
                    <a:pt x="294" y="343"/>
                  </a:lnTo>
                  <a:lnTo>
                    <a:pt x="294" y="345"/>
                  </a:lnTo>
                  <a:lnTo>
                    <a:pt x="294" y="346"/>
                  </a:lnTo>
                  <a:lnTo>
                    <a:pt x="295" y="347"/>
                  </a:lnTo>
                  <a:lnTo>
                    <a:pt x="295" y="348"/>
                  </a:lnTo>
                  <a:lnTo>
                    <a:pt x="296" y="349"/>
                  </a:lnTo>
                  <a:lnTo>
                    <a:pt x="296" y="349"/>
                  </a:lnTo>
                  <a:lnTo>
                    <a:pt x="297" y="350"/>
                  </a:lnTo>
                  <a:lnTo>
                    <a:pt x="298" y="351"/>
                  </a:lnTo>
                  <a:lnTo>
                    <a:pt x="299" y="351"/>
                  </a:lnTo>
                  <a:lnTo>
                    <a:pt x="300" y="352"/>
                  </a:lnTo>
                  <a:lnTo>
                    <a:pt x="301" y="353"/>
                  </a:lnTo>
                  <a:lnTo>
                    <a:pt x="302" y="353"/>
                  </a:lnTo>
                  <a:lnTo>
                    <a:pt x="303" y="354"/>
                  </a:lnTo>
                  <a:lnTo>
                    <a:pt x="304" y="354"/>
                  </a:lnTo>
                  <a:lnTo>
                    <a:pt x="304" y="354"/>
                  </a:lnTo>
                  <a:lnTo>
                    <a:pt x="305" y="354"/>
                  </a:lnTo>
                  <a:lnTo>
                    <a:pt x="306" y="353"/>
                  </a:lnTo>
                  <a:lnTo>
                    <a:pt x="306" y="353"/>
                  </a:lnTo>
                  <a:lnTo>
                    <a:pt x="307" y="353"/>
                  </a:lnTo>
                  <a:lnTo>
                    <a:pt x="308" y="352"/>
                  </a:lnTo>
                  <a:lnTo>
                    <a:pt x="309" y="352"/>
                  </a:lnTo>
                  <a:lnTo>
                    <a:pt x="309" y="351"/>
                  </a:lnTo>
                  <a:lnTo>
                    <a:pt x="310" y="351"/>
                  </a:lnTo>
                  <a:lnTo>
                    <a:pt x="310" y="351"/>
                  </a:lnTo>
                  <a:lnTo>
                    <a:pt x="310" y="351"/>
                  </a:lnTo>
                  <a:lnTo>
                    <a:pt x="311" y="351"/>
                  </a:lnTo>
                  <a:lnTo>
                    <a:pt x="311" y="352"/>
                  </a:lnTo>
                  <a:lnTo>
                    <a:pt x="312" y="352"/>
                  </a:lnTo>
                  <a:lnTo>
                    <a:pt x="313" y="353"/>
                  </a:lnTo>
                  <a:lnTo>
                    <a:pt x="313" y="354"/>
                  </a:lnTo>
                  <a:lnTo>
                    <a:pt x="314" y="355"/>
                  </a:lnTo>
                  <a:lnTo>
                    <a:pt x="316" y="356"/>
                  </a:lnTo>
                  <a:lnTo>
                    <a:pt x="317" y="358"/>
                  </a:lnTo>
                  <a:lnTo>
                    <a:pt x="317" y="359"/>
                  </a:lnTo>
                  <a:lnTo>
                    <a:pt x="318" y="360"/>
                  </a:lnTo>
                  <a:lnTo>
                    <a:pt x="319" y="362"/>
                  </a:lnTo>
                  <a:lnTo>
                    <a:pt x="320" y="363"/>
                  </a:lnTo>
                  <a:lnTo>
                    <a:pt x="321" y="365"/>
                  </a:lnTo>
                  <a:lnTo>
                    <a:pt x="322" y="366"/>
                  </a:lnTo>
                  <a:lnTo>
                    <a:pt x="322" y="367"/>
                  </a:lnTo>
                  <a:lnTo>
                    <a:pt x="323" y="367"/>
                  </a:lnTo>
                  <a:lnTo>
                    <a:pt x="324" y="368"/>
                  </a:lnTo>
                  <a:lnTo>
                    <a:pt x="331" y="374"/>
                  </a:lnTo>
                  <a:lnTo>
                    <a:pt x="333" y="374"/>
                  </a:lnTo>
                  <a:lnTo>
                    <a:pt x="334" y="376"/>
                  </a:lnTo>
                  <a:lnTo>
                    <a:pt x="337" y="379"/>
                  </a:lnTo>
                  <a:lnTo>
                    <a:pt x="339" y="381"/>
                  </a:lnTo>
                  <a:lnTo>
                    <a:pt x="340" y="382"/>
                  </a:lnTo>
                  <a:lnTo>
                    <a:pt x="342" y="384"/>
                  </a:lnTo>
                  <a:lnTo>
                    <a:pt x="343" y="386"/>
                  </a:lnTo>
                  <a:lnTo>
                    <a:pt x="345" y="389"/>
                  </a:lnTo>
                  <a:lnTo>
                    <a:pt x="346" y="392"/>
                  </a:lnTo>
                  <a:lnTo>
                    <a:pt x="347" y="393"/>
                  </a:lnTo>
                  <a:lnTo>
                    <a:pt x="347" y="393"/>
                  </a:lnTo>
                  <a:lnTo>
                    <a:pt x="347" y="394"/>
                  </a:lnTo>
                  <a:lnTo>
                    <a:pt x="347" y="395"/>
                  </a:lnTo>
                  <a:lnTo>
                    <a:pt x="347" y="395"/>
                  </a:lnTo>
                  <a:lnTo>
                    <a:pt x="347" y="396"/>
                  </a:lnTo>
                  <a:lnTo>
                    <a:pt x="347" y="397"/>
                  </a:lnTo>
                  <a:lnTo>
                    <a:pt x="346" y="398"/>
                  </a:lnTo>
                  <a:lnTo>
                    <a:pt x="346" y="399"/>
                  </a:lnTo>
                  <a:lnTo>
                    <a:pt x="345" y="400"/>
                  </a:lnTo>
                  <a:lnTo>
                    <a:pt x="345" y="401"/>
                  </a:lnTo>
                  <a:lnTo>
                    <a:pt x="345" y="401"/>
                  </a:lnTo>
                  <a:lnTo>
                    <a:pt x="345" y="402"/>
                  </a:lnTo>
                  <a:lnTo>
                    <a:pt x="346" y="403"/>
                  </a:lnTo>
                  <a:lnTo>
                    <a:pt x="346" y="404"/>
                  </a:lnTo>
                  <a:lnTo>
                    <a:pt x="347" y="404"/>
                  </a:lnTo>
                  <a:lnTo>
                    <a:pt x="347" y="405"/>
                  </a:lnTo>
                  <a:lnTo>
                    <a:pt x="347" y="405"/>
                  </a:lnTo>
                  <a:lnTo>
                    <a:pt x="348" y="405"/>
                  </a:lnTo>
                  <a:lnTo>
                    <a:pt x="349" y="405"/>
                  </a:lnTo>
                  <a:lnTo>
                    <a:pt x="349" y="405"/>
                  </a:lnTo>
                  <a:lnTo>
                    <a:pt x="349" y="405"/>
                  </a:lnTo>
                  <a:lnTo>
                    <a:pt x="350" y="405"/>
                  </a:lnTo>
                  <a:lnTo>
                    <a:pt x="352" y="403"/>
                  </a:lnTo>
                  <a:lnTo>
                    <a:pt x="353" y="402"/>
                  </a:lnTo>
                  <a:lnTo>
                    <a:pt x="354" y="401"/>
                  </a:lnTo>
                  <a:lnTo>
                    <a:pt x="355" y="401"/>
                  </a:lnTo>
                  <a:lnTo>
                    <a:pt x="356" y="401"/>
                  </a:lnTo>
                  <a:lnTo>
                    <a:pt x="357" y="400"/>
                  </a:lnTo>
                  <a:lnTo>
                    <a:pt x="357" y="400"/>
                  </a:lnTo>
                  <a:lnTo>
                    <a:pt x="358" y="400"/>
                  </a:lnTo>
                  <a:lnTo>
                    <a:pt x="358" y="401"/>
                  </a:lnTo>
                  <a:lnTo>
                    <a:pt x="359" y="401"/>
                  </a:lnTo>
                  <a:lnTo>
                    <a:pt x="359" y="401"/>
                  </a:lnTo>
                  <a:lnTo>
                    <a:pt x="359" y="401"/>
                  </a:lnTo>
                  <a:lnTo>
                    <a:pt x="360" y="402"/>
                  </a:lnTo>
                  <a:lnTo>
                    <a:pt x="361" y="403"/>
                  </a:lnTo>
                  <a:lnTo>
                    <a:pt x="362" y="404"/>
                  </a:lnTo>
                  <a:lnTo>
                    <a:pt x="362" y="405"/>
                  </a:lnTo>
                  <a:lnTo>
                    <a:pt x="364" y="408"/>
                  </a:lnTo>
                  <a:lnTo>
                    <a:pt x="365" y="411"/>
                  </a:lnTo>
                  <a:lnTo>
                    <a:pt x="365" y="411"/>
                  </a:lnTo>
                  <a:lnTo>
                    <a:pt x="365" y="412"/>
                  </a:lnTo>
                  <a:lnTo>
                    <a:pt x="365" y="412"/>
                  </a:lnTo>
                  <a:lnTo>
                    <a:pt x="365" y="413"/>
                  </a:lnTo>
                  <a:lnTo>
                    <a:pt x="365" y="413"/>
                  </a:lnTo>
                  <a:lnTo>
                    <a:pt x="364" y="414"/>
                  </a:lnTo>
                  <a:lnTo>
                    <a:pt x="364" y="415"/>
                  </a:lnTo>
                  <a:lnTo>
                    <a:pt x="363" y="416"/>
                  </a:lnTo>
                  <a:lnTo>
                    <a:pt x="362" y="418"/>
                  </a:lnTo>
                  <a:lnTo>
                    <a:pt x="361" y="419"/>
                  </a:lnTo>
                  <a:lnTo>
                    <a:pt x="361" y="420"/>
                  </a:lnTo>
                  <a:lnTo>
                    <a:pt x="360" y="421"/>
                  </a:lnTo>
                  <a:lnTo>
                    <a:pt x="360" y="421"/>
                  </a:lnTo>
                  <a:lnTo>
                    <a:pt x="359" y="422"/>
                  </a:lnTo>
                  <a:lnTo>
                    <a:pt x="358" y="422"/>
                  </a:lnTo>
                  <a:lnTo>
                    <a:pt x="358" y="422"/>
                  </a:lnTo>
                  <a:lnTo>
                    <a:pt x="357" y="423"/>
                  </a:lnTo>
                  <a:lnTo>
                    <a:pt x="357" y="423"/>
                  </a:lnTo>
                  <a:lnTo>
                    <a:pt x="356" y="423"/>
                  </a:lnTo>
                  <a:lnTo>
                    <a:pt x="355" y="423"/>
                  </a:lnTo>
                  <a:lnTo>
                    <a:pt x="355" y="423"/>
                  </a:lnTo>
                  <a:lnTo>
                    <a:pt x="354" y="423"/>
                  </a:lnTo>
                  <a:lnTo>
                    <a:pt x="353" y="423"/>
                  </a:lnTo>
                  <a:lnTo>
                    <a:pt x="351" y="422"/>
                  </a:lnTo>
                  <a:lnTo>
                    <a:pt x="348" y="422"/>
                  </a:lnTo>
                  <a:lnTo>
                    <a:pt x="347" y="421"/>
                  </a:lnTo>
                  <a:lnTo>
                    <a:pt x="346" y="421"/>
                  </a:lnTo>
                  <a:lnTo>
                    <a:pt x="345" y="421"/>
                  </a:lnTo>
                  <a:lnTo>
                    <a:pt x="344" y="421"/>
                  </a:lnTo>
                  <a:lnTo>
                    <a:pt x="344" y="421"/>
                  </a:lnTo>
                  <a:lnTo>
                    <a:pt x="344" y="422"/>
                  </a:lnTo>
                  <a:lnTo>
                    <a:pt x="343" y="423"/>
                  </a:lnTo>
                  <a:lnTo>
                    <a:pt x="342" y="424"/>
                  </a:lnTo>
                  <a:lnTo>
                    <a:pt x="341" y="426"/>
                  </a:lnTo>
                  <a:lnTo>
                    <a:pt x="341" y="426"/>
                  </a:lnTo>
                  <a:lnTo>
                    <a:pt x="340" y="427"/>
                  </a:lnTo>
                  <a:lnTo>
                    <a:pt x="340" y="428"/>
                  </a:lnTo>
                  <a:lnTo>
                    <a:pt x="339" y="428"/>
                  </a:lnTo>
                  <a:lnTo>
                    <a:pt x="338" y="429"/>
                  </a:lnTo>
                  <a:lnTo>
                    <a:pt x="336" y="430"/>
                  </a:lnTo>
                  <a:lnTo>
                    <a:pt x="335" y="431"/>
                  </a:lnTo>
                  <a:lnTo>
                    <a:pt x="334" y="432"/>
                  </a:lnTo>
                  <a:lnTo>
                    <a:pt x="333" y="434"/>
                  </a:lnTo>
                  <a:lnTo>
                    <a:pt x="331" y="436"/>
                  </a:lnTo>
                  <a:lnTo>
                    <a:pt x="330" y="436"/>
                  </a:lnTo>
                  <a:lnTo>
                    <a:pt x="330" y="437"/>
                  </a:lnTo>
                  <a:lnTo>
                    <a:pt x="330" y="438"/>
                  </a:lnTo>
                  <a:lnTo>
                    <a:pt x="330" y="438"/>
                  </a:lnTo>
                  <a:lnTo>
                    <a:pt x="329" y="439"/>
                  </a:lnTo>
                  <a:lnTo>
                    <a:pt x="329" y="442"/>
                  </a:lnTo>
                  <a:lnTo>
                    <a:pt x="329" y="443"/>
                  </a:lnTo>
                  <a:lnTo>
                    <a:pt x="329" y="444"/>
                  </a:lnTo>
                  <a:lnTo>
                    <a:pt x="329" y="446"/>
                  </a:lnTo>
                  <a:lnTo>
                    <a:pt x="328" y="447"/>
                  </a:lnTo>
                  <a:lnTo>
                    <a:pt x="327" y="450"/>
                  </a:lnTo>
                  <a:lnTo>
                    <a:pt x="326" y="453"/>
                  </a:lnTo>
                  <a:lnTo>
                    <a:pt x="325" y="456"/>
                  </a:lnTo>
                  <a:lnTo>
                    <a:pt x="324" y="456"/>
                  </a:lnTo>
                  <a:lnTo>
                    <a:pt x="324" y="457"/>
                  </a:lnTo>
                  <a:lnTo>
                    <a:pt x="323" y="457"/>
                  </a:lnTo>
                  <a:lnTo>
                    <a:pt x="323" y="458"/>
                  </a:lnTo>
                  <a:lnTo>
                    <a:pt x="322" y="458"/>
                  </a:lnTo>
                  <a:lnTo>
                    <a:pt x="322" y="458"/>
                  </a:lnTo>
                  <a:lnTo>
                    <a:pt x="321" y="459"/>
                  </a:lnTo>
                  <a:lnTo>
                    <a:pt x="318" y="460"/>
                  </a:lnTo>
                  <a:lnTo>
                    <a:pt x="316" y="460"/>
                  </a:lnTo>
                  <a:lnTo>
                    <a:pt x="315" y="460"/>
                  </a:lnTo>
                  <a:lnTo>
                    <a:pt x="314" y="460"/>
                  </a:lnTo>
                  <a:lnTo>
                    <a:pt x="312" y="460"/>
                  </a:lnTo>
                  <a:lnTo>
                    <a:pt x="311" y="460"/>
                  </a:lnTo>
                  <a:lnTo>
                    <a:pt x="310" y="459"/>
                  </a:lnTo>
                  <a:lnTo>
                    <a:pt x="309" y="459"/>
                  </a:lnTo>
                  <a:lnTo>
                    <a:pt x="308" y="458"/>
                  </a:lnTo>
                  <a:lnTo>
                    <a:pt x="307" y="458"/>
                  </a:lnTo>
                  <a:lnTo>
                    <a:pt x="306" y="457"/>
                  </a:lnTo>
                  <a:lnTo>
                    <a:pt x="306" y="457"/>
                  </a:lnTo>
                  <a:lnTo>
                    <a:pt x="304" y="455"/>
                  </a:lnTo>
                  <a:lnTo>
                    <a:pt x="303" y="454"/>
                  </a:lnTo>
                  <a:lnTo>
                    <a:pt x="302" y="453"/>
                  </a:lnTo>
                  <a:lnTo>
                    <a:pt x="301" y="452"/>
                  </a:lnTo>
                  <a:lnTo>
                    <a:pt x="300" y="452"/>
                  </a:lnTo>
                  <a:lnTo>
                    <a:pt x="299" y="451"/>
                  </a:lnTo>
                  <a:lnTo>
                    <a:pt x="298" y="451"/>
                  </a:lnTo>
                  <a:lnTo>
                    <a:pt x="297" y="451"/>
                  </a:lnTo>
                  <a:lnTo>
                    <a:pt x="296" y="451"/>
                  </a:lnTo>
                  <a:lnTo>
                    <a:pt x="296" y="451"/>
                  </a:lnTo>
                  <a:lnTo>
                    <a:pt x="295" y="452"/>
                  </a:lnTo>
                  <a:lnTo>
                    <a:pt x="294" y="452"/>
                  </a:lnTo>
                  <a:lnTo>
                    <a:pt x="294" y="452"/>
                  </a:lnTo>
                  <a:lnTo>
                    <a:pt x="293" y="453"/>
                  </a:lnTo>
                  <a:lnTo>
                    <a:pt x="292" y="456"/>
                  </a:lnTo>
                  <a:lnTo>
                    <a:pt x="291" y="456"/>
                  </a:lnTo>
                  <a:lnTo>
                    <a:pt x="291" y="456"/>
                  </a:lnTo>
                  <a:lnTo>
                    <a:pt x="291" y="457"/>
                  </a:lnTo>
                  <a:lnTo>
                    <a:pt x="290" y="457"/>
                  </a:lnTo>
                  <a:lnTo>
                    <a:pt x="290" y="457"/>
                  </a:lnTo>
                  <a:lnTo>
                    <a:pt x="290" y="457"/>
                  </a:lnTo>
                  <a:lnTo>
                    <a:pt x="289" y="457"/>
                  </a:lnTo>
                  <a:lnTo>
                    <a:pt x="288" y="457"/>
                  </a:lnTo>
                  <a:lnTo>
                    <a:pt x="287" y="457"/>
                  </a:lnTo>
                  <a:lnTo>
                    <a:pt x="286" y="457"/>
                  </a:lnTo>
                  <a:lnTo>
                    <a:pt x="285" y="456"/>
                  </a:lnTo>
                  <a:lnTo>
                    <a:pt x="285" y="456"/>
                  </a:lnTo>
                  <a:lnTo>
                    <a:pt x="284" y="456"/>
                  </a:lnTo>
                  <a:lnTo>
                    <a:pt x="283" y="457"/>
                  </a:lnTo>
                  <a:lnTo>
                    <a:pt x="282" y="457"/>
                  </a:lnTo>
                  <a:lnTo>
                    <a:pt x="282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8"/>
                  </a:lnTo>
                  <a:lnTo>
                    <a:pt x="281" y="458"/>
                  </a:lnTo>
                  <a:lnTo>
                    <a:pt x="281" y="458"/>
                  </a:lnTo>
                  <a:lnTo>
                    <a:pt x="281" y="459"/>
                  </a:lnTo>
                  <a:lnTo>
                    <a:pt x="281" y="459"/>
                  </a:lnTo>
                  <a:lnTo>
                    <a:pt x="281" y="460"/>
                  </a:lnTo>
                  <a:lnTo>
                    <a:pt x="281" y="461"/>
                  </a:lnTo>
                  <a:lnTo>
                    <a:pt x="283" y="465"/>
                  </a:lnTo>
                  <a:lnTo>
                    <a:pt x="284" y="467"/>
                  </a:lnTo>
                  <a:lnTo>
                    <a:pt x="284" y="468"/>
                  </a:lnTo>
                  <a:lnTo>
                    <a:pt x="285" y="469"/>
                  </a:lnTo>
                  <a:lnTo>
                    <a:pt x="285" y="470"/>
                  </a:lnTo>
                  <a:lnTo>
                    <a:pt x="285" y="471"/>
                  </a:lnTo>
                  <a:lnTo>
                    <a:pt x="285" y="471"/>
                  </a:lnTo>
                  <a:lnTo>
                    <a:pt x="284" y="472"/>
                  </a:lnTo>
                  <a:lnTo>
                    <a:pt x="284" y="473"/>
                  </a:lnTo>
                  <a:lnTo>
                    <a:pt x="284" y="474"/>
                  </a:lnTo>
                  <a:lnTo>
                    <a:pt x="283" y="475"/>
                  </a:lnTo>
                  <a:lnTo>
                    <a:pt x="282" y="476"/>
                  </a:lnTo>
                  <a:lnTo>
                    <a:pt x="282" y="476"/>
                  </a:lnTo>
                  <a:lnTo>
                    <a:pt x="281" y="477"/>
                  </a:lnTo>
                  <a:lnTo>
                    <a:pt x="280" y="478"/>
                  </a:lnTo>
                  <a:lnTo>
                    <a:pt x="280" y="478"/>
                  </a:lnTo>
                  <a:lnTo>
                    <a:pt x="279" y="478"/>
                  </a:lnTo>
                  <a:lnTo>
                    <a:pt x="278" y="479"/>
                  </a:lnTo>
                  <a:lnTo>
                    <a:pt x="277" y="479"/>
                  </a:lnTo>
                  <a:lnTo>
                    <a:pt x="276" y="479"/>
                  </a:lnTo>
                  <a:lnTo>
                    <a:pt x="275" y="479"/>
                  </a:lnTo>
                  <a:lnTo>
                    <a:pt x="274" y="479"/>
                  </a:lnTo>
                  <a:lnTo>
                    <a:pt x="273" y="479"/>
                  </a:lnTo>
                  <a:lnTo>
                    <a:pt x="273" y="479"/>
                  </a:lnTo>
                  <a:lnTo>
                    <a:pt x="272" y="479"/>
                  </a:lnTo>
                  <a:lnTo>
                    <a:pt x="271" y="479"/>
                  </a:lnTo>
                  <a:lnTo>
                    <a:pt x="270" y="478"/>
                  </a:lnTo>
                  <a:lnTo>
                    <a:pt x="268" y="478"/>
                  </a:lnTo>
                  <a:lnTo>
                    <a:pt x="268" y="477"/>
                  </a:lnTo>
                  <a:lnTo>
                    <a:pt x="267" y="477"/>
                  </a:lnTo>
                  <a:lnTo>
                    <a:pt x="266" y="477"/>
                  </a:lnTo>
                  <a:lnTo>
                    <a:pt x="265" y="477"/>
                  </a:lnTo>
                  <a:lnTo>
                    <a:pt x="263" y="477"/>
                  </a:lnTo>
                  <a:lnTo>
                    <a:pt x="262" y="477"/>
                  </a:lnTo>
                  <a:lnTo>
                    <a:pt x="260" y="477"/>
                  </a:lnTo>
                  <a:lnTo>
                    <a:pt x="258" y="477"/>
                  </a:lnTo>
                  <a:lnTo>
                    <a:pt x="256" y="477"/>
                  </a:lnTo>
                  <a:lnTo>
                    <a:pt x="255" y="478"/>
                  </a:lnTo>
                  <a:lnTo>
                    <a:pt x="253" y="478"/>
                  </a:lnTo>
                  <a:lnTo>
                    <a:pt x="251" y="479"/>
                  </a:lnTo>
                  <a:lnTo>
                    <a:pt x="248" y="480"/>
                  </a:lnTo>
                  <a:lnTo>
                    <a:pt x="247" y="480"/>
                  </a:lnTo>
                  <a:lnTo>
                    <a:pt x="247" y="480"/>
                  </a:lnTo>
                  <a:lnTo>
                    <a:pt x="247" y="480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2"/>
                  </a:lnTo>
                  <a:lnTo>
                    <a:pt x="246" y="483"/>
                  </a:lnTo>
                  <a:lnTo>
                    <a:pt x="245" y="485"/>
                  </a:lnTo>
                  <a:lnTo>
                    <a:pt x="245" y="487"/>
                  </a:lnTo>
                  <a:lnTo>
                    <a:pt x="245" y="488"/>
                  </a:lnTo>
                  <a:lnTo>
                    <a:pt x="244" y="488"/>
                  </a:lnTo>
                  <a:lnTo>
                    <a:pt x="244" y="489"/>
                  </a:lnTo>
                  <a:lnTo>
                    <a:pt x="243" y="490"/>
                  </a:lnTo>
                  <a:lnTo>
                    <a:pt x="242" y="492"/>
                  </a:lnTo>
                  <a:lnTo>
                    <a:pt x="242" y="493"/>
                  </a:lnTo>
                  <a:lnTo>
                    <a:pt x="241" y="494"/>
                  </a:lnTo>
                  <a:lnTo>
                    <a:pt x="240" y="495"/>
                  </a:lnTo>
                  <a:lnTo>
                    <a:pt x="240" y="495"/>
                  </a:lnTo>
                  <a:lnTo>
                    <a:pt x="239" y="496"/>
                  </a:lnTo>
                  <a:lnTo>
                    <a:pt x="238" y="497"/>
                  </a:lnTo>
                  <a:lnTo>
                    <a:pt x="237" y="497"/>
                  </a:lnTo>
                  <a:lnTo>
                    <a:pt x="236" y="497"/>
                  </a:lnTo>
                  <a:lnTo>
                    <a:pt x="236" y="497"/>
                  </a:lnTo>
                  <a:lnTo>
                    <a:pt x="235" y="497"/>
                  </a:lnTo>
                  <a:lnTo>
                    <a:pt x="234" y="497"/>
                  </a:lnTo>
                  <a:lnTo>
                    <a:pt x="233" y="496"/>
                  </a:lnTo>
                  <a:lnTo>
                    <a:pt x="230" y="494"/>
                  </a:lnTo>
                  <a:lnTo>
                    <a:pt x="229" y="493"/>
                  </a:lnTo>
                  <a:lnTo>
                    <a:pt x="228" y="492"/>
                  </a:lnTo>
                  <a:lnTo>
                    <a:pt x="227" y="492"/>
                  </a:lnTo>
                  <a:lnTo>
                    <a:pt x="227" y="491"/>
                  </a:lnTo>
                  <a:lnTo>
                    <a:pt x="226" y="491"/>
                  </a:lnTo>
                  <a:lnTo>
                    <a:pt x="225" y="491"/>
                  </a:lnTo>
                  <a:lnTo>
                    <a:pt x="224" y="491"/>
                  </a:lnTo>
                  <a:lnTo>
                    <a:pt x="223" y="491"/>
                  </a:lnTo>
                  <a:lnTo>
                    <a:pt x="221" y="491"/>
                  </a:lnTo>
                  <a:lnTo>
                    <a:pt x="219" y="490"/>
                  </a:lnTo>
                  <a:lnTo>
                    <a:pt x="217" y="490"/>
                  </a:lnTo>
                  <a:lnTo>
                    <a:pt x="215" y="489"/>
                  </a:lnTo>
                  <a:lnTo>
                    <a:pt x="213" y="489"/>
                  </a:lnTo>
                  <a:lnTo>
                    <a:pt x="212" y="488"/>
                  </a:lnTo>
                  <a:lnTo>
                    <a:pt x="211" y="488"/>
                  </a:lnTo>
                  <a:lnTo>
                    <a:pt x="208" y="488"/>
                  </a:lnTo>
                  <a:lnTo>
                    <a:pt x="208" y="488"/>
                  </a:lnTo>
                  <a:lnTo>
                    <a:pt x="207" y="488"/>
                  </a:lnTo>
                  <a:lnTo>
                    <a:pt x="207" y="487"/>
                  </a:lnTo>
                  <a:lnTo>
                    <a:pt x="206" y="487"/>
                  </a:lnTo>
                  <a:lnTo>
                    <a:pt x="206" y="486"/>
                  </a:lnTo>
                  <a:lnTo>
                    <a:pt x="206" y="486"/>
                  </a:lnTo>
                  <a:lnTo>
                    <a:pt x="205" y="485"/>
                  </a:lnTo>
                  <a:lnTo>
                    <a:pt x="205" y="484"/>
                  </a:lnTo>
                  <a:lnTo>
                    <a:pt x="205" y="481"/>
                  </a:lnTo>
                  <a:lnTo>
                    <a:pt x="205" y="480"/>
                  </a:lnTo>
                  <a:lnTo>
                    <a:pt x="204" y="480"/>
                  </a:lnTo>
                  <a:lnTo>
                    <a:pt x="204" y="479"/>
                  </a:lnTo>
                  <a:lnTo>
                    <a:pt x="204" y="478"/>
                  </a:lnTo>
                  <a:lnTo>
                    <a:pt x="203" y="478"/>
                  </a:lnTo>
                  <a:lnTo>
                    <a:pt x="203" y="477"/>
                  </a:lnTo>
                  <a:lnTo>
                    <a:pt x="202" y="477"/>
                  </a:lnTo>
                  <a:lnTo>
                    <a:pt x="202" y="477"/>
                  </a:lnTo>
                  <a:lnTo>
                    <a:pt x="201" y="477"/>
                  </a:lnTo>
                  <a:lnTo>
                    <a:pt x="201" y="477"/>
                  </a:lnTo>
                  <a:lnTo>
                    <a:pt x="200" y="477"/>
                  </a:lnTo>
                  <a:lnTo>
                    <a:pt x="199" y="478"/>
                  </a:lnTo>
                  <a:lnTo>
                    <a:pt x="199" y="478"/>
                  </a:lnTo>
                  <a:lnTo>
                    <a:pt x="199" y="478"/>
                  </a:lnTo>
                  <a:lnTo>
                    <a:pt x="198" y="479"/>
                  </a:lnTo>
                  <a:lnTo>
                    <a:pt x="198" y="479"/>
                  </a:lnTo>
                  <a:lnTo>
                    <a:pt x="197" y="480"/>
                  </a:lnTo>
                  <a:lnTo>
                    <a:pt x="195" y="484"/>
                  </a:lnTo>
                  <a:lnTo>
                    <a:pt x="194" y="486"/>
                  </a:lnTo>
                  <a:lnTo>
                    <a:pt x="194" y="487"/>
                  </a:lnTo>
                  <a:lnTo>
                    <a:pt x="193" y="488"/>
                  </a:lnTo>
                  <a:lnTo>
                    <a:pt x="193" y="489"/>
                  </a:lnTo>
                  <a:lnTo>
                    <a:pt x="193" y="490"/>
                  </a:lnTo>
                  <a:lnTo>
                    <a:pt x="193" y="491"/>
                  </a:lnTo>
                  <a:lnTo>
                    <a:pt x="193" y="493"/>
                  </a:lnTo>
                  <a:lnTo>
                    <a:pt x="194" y="494"/>
                  </a:lnTo>
                  <a:lnTo>
                    <a:pt x="194" y="496"/>
                  </a:lnTo>
                  <a:lnTo>
                    <a:pt x="195" y="497"/>
                  </a:lnTo>
                  <a:lnTo>
                    <a:pt x="196" y="499"/>
                  </a:lnTo>
                  <a:lnTo>
                    <a:pt x="197" y="501"/>
                  </a:lnTo>
                  <a:lnTo>
                    <a:pt x="197" y="502"/>
                  </a:lnTo>
                  <a:lnTo>
                    <a:pt x="197" y="503"/>
                  </a:lnTo>
                  <a:lnTo>
                    <a:pt x="197" y="504"/>
                  </a:lnTo>
                  <a:lnTo>
                    <a:pt x="197" y="505"/>
                  </a:lnTo>
                  <a:lnTo>
                    <a:pt x="197" y="506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6" y="508"/>
                  </a:lnTo>
                  <a:lnTo>
                    <a:pt x="195" y="509"/>
                  </a:lnTo>
                  <a:lnTo>
                    <a:pt x="193" y="511"/>
                  </a:lnTo>
                  <a:lnTo>
                    <a:pt x="191" y="513"/>
                  </a:lnTo>
                  <a:lnTo>
                    <a:pt x="190" y="514"/>
                  </a:lnTo>
                  <a:lnTo>
                    <a:pt x="189" y="514"/>
                  </a:lnTo>
                  <a:lnTo>
                    <a:pt x="189" y="515"/>
                  </a:lnTo>
                  <a:lnTo>
                    <a:pt x="188" y="516"/>
                  </a:lnTo>
                  <a:lnTo>
                    <a:pt x="186" y="519"/>
                  </a:lnTo>
                  <a:lnTo>
                    <a:pt x="184" y="521"/>
                  </a:lnTo>
                  <a:lnTo>
                    <a:pt x="182" y="524"/>
                  </a:lnTo>
                  <a:lnTo>
                    <a:pt x="181" y="525"/>
                  </a:lnTo>
                  <a:lnTo>
                    <a:pt x="180" y="526"/>
                  </a:lnTo>
                  <a:lnTo>
                    <a:pt x="180" y="527"/>
                  </a:lnTo>
                  <a:lnTo>
                    <a:pt x="179" y="527"/>
                  </a:lnTo>
                  <a:lnTo>
                    <a:pt x="178" y="528"/>
                  </a:lnTo>
                  <a:lnTo>
                    <a:pt x="177" y="528"/>
                  </a:lnTo>
                  <a:lnTo>
                    <a:pt x="177" y="529"/>
                  </a:lnTo>
                  <a:lnTo>
                    <a:pt x="176" y="529"/>
                  </a:lnTo>
                  <a:lnTo>
                    <a:pt x="175" y="529"/>
                  </a:lnTo>
                  <a:lnTo>
                    <a:pt x="174" y="529"/>
                  </a:lnTo>
                  <a:lnTo>
                    <a:pt x="174" y="529"/>
                  </a:lnTo>
                  <a:lnTo>
                    <a:pt x="170" y="529"/>
                  </a:lnTo>
                  <a:lnTo>
                    <a:pt x="169" y="530"/>
                  </a:lnTo>
                  <a:lnTo>
                    <a:pt x="165" y="530"/>
                  </a:lnTo>
                  <a:lnTo>
                    <a:pt x="163" y="530"/>
                  </a:lnTo>
                  <a:lnTo>
                    <a:pt x="162" y="531"/>
                  </a:lnTo>
                  <a:lnTo>
                    <a:pt x="156" y="532"/>
                  </a:lnTo>
                  <a:lnTo>
                    <a:pt x="155" y="532"/>
                  </a:lnTo>
                  <a:lnTo>
                    <a:pt x="153" y="532"/>
                  </a:lnTo>
                  <a:lnTo>
                    <a:pt x="152" y="532"/>
                  </a:lnTo>
                  <a:lnTo>
                    <a:pt x="151" y="533"/>
                  </a:lnTo>
                  <a:lnTo>
                    <a:pt x="151" y="533"/>
                  </a:lnTo>
                  <a:lnTo>
                    <a:pt x="150" y="533"/>
                  </a:lnTo>
                  <a:lnTo>
                    <a:pt x="149" y="534"/>
                  </a:lnTo>
                  <a:lnTo>
                    <a:pt x="148" y="535"/>
                  </a:lnTo>
                  <a:lnTo>
                    <a:pt x="148" y="536"/>
                  </a:lnTo>
                  <a:lnTo>
                    <a:pt x="147" y="536"/>
                  </a:lnTo>
                  <a:lnTo>
                    <a:pt x="146" y="539"/>
                  </a:lnTo>
                  <a:lnTo>
                    <a:pt x="145" y="539"/>
                  </a:lnTo>
                  <a:lnTo>
                    <a:pt x="145" y="540"/>
                  </a:lnTo>
                  <a:lnTo>
                    <a:pt x="144" y="541"/>
                  </a:lnTo>
                  <a:lnTo>
                    <a:pt x="144" y="541"/>
                  </a:lnTo>
                  <a:lnTo>
                    <a:pt x="143" y="541"/>
                  </a:lnTo>
                  <a:lnTo>
                    <a:pt x="143" y="541"/>
                  </a:lnTo>
                  <a:lnTo>
                    <a:pt x="142" y="541"/>
                  </a:lnTo>
                  <a:lnTo>
                    <a:pt x="142" y="541"/>
                  </a:lnTo>
                  <a:lnTo>
                    <a:pt x="141" y="541"/>
                  </a:lnTo>
                  <a:lnTo>
                    <a:pt x="141" y="541"/>
                  </a:lnTo>
                  <a:lnTo>
                    <a:pt x="141" y="541"/>
                  </a:lnTo>
                  <a:lnTo>
                    <a:pt x="141" y="539"/>
                  </a:lnTo>
                  <a:lnTo>
                    <a:pt x="139" y="534"/>
                  </a:lnTo>
                  <a:lnTo>
                    <a:pt x="137" y="531"/>
                  </a:lnTo>
                  <a:lnTo>
                    <a:pt x="137" y="530"/>
                  </a:lnTo>
                  <a:lnTo>
                    <a:pt x="136" y="527"/>
                  </a:lnTo>
                  <a:lnTo>
                    <a:pt x="134" y="522"/>
                  </a:lnTo>
                  <a:lnTo>
                    <a:pt x="134" y="521"/>
                  </a:lnTo>
                  <a:lnTo>
                    <a:pt x="134" y="520"/>
                  </a:lnTo>
                  <a:lnTo>
                    <a:pt x="133" y="519"/>
                  </a:lnTo>
                  <a:lnTo>
                    <a:pt x="133" y="519"/>
                  </a:lnTo>
                  <a:lnTo>
                    <a:pt x="132" y="518"/>
                  </a:lnTo>
                  <a:lnTo>
                    <a:pt x="131" y="517"/>
                  </a:lnTo>
                  <a:lnTo>
                    <a:pt x="128" y="515"/>
                  </a:lnTo>
                  <a:lnTo>
                    <a:pt x="127" y="514"/>
                  </a:lnTo>
                  <a:lnTo>
                    <a:pt x="126" y="513"/>
                  </a:lnTo>
                  <a:lnTo>
                    <a:pt x="124" y="512"/>
                  </a:lnTo>
                  <a:lnTo>
                    <a:pt x="122" y="512"/>
                  </a:lnTo>
                  <a:lnTo>
                    <a:pt x="121" y="511"/>
                  </a:lnTo>
                  <a:lnTo>
                    <a:pt x="118" y="510"/>
                  </a:lnTo>
                  <a:lnTo>
                    <a:pt x="116" y="509"/>
                  </a:lnTo>
                  <a:lnTo>
                    <a:pt x="114" y="509"/>
                  </a:lnTo>
                  <a:lnTo>
                    <a:pt x="112" y="508"/>
                  </a:lnTo>
                  <a:lnTo>
                    <a:pt x="111" y="507"/>
                  </a:lnTo>
                  <a:lnTo>
                    <a:pt x="108" y="506"/>
                  </a:lnTo>
                  <a:lnTo>
                    <a:pt x="107" y="505"/>
                  </a:lnTo>
                  <a:lnTo>
                    <a:pt x="107" y="505"/>
                  </a:lnTo>
                  <a:lnTo>
                    <a:pt x="106" y="504"/>
                  </a:lnTo>
                  <a:lnTo>
                    <a:pt x="106" y="504"/>
                  </a:lnTo>
                  <a:lnTo>
                    <a:pt x="106" y="504"/>
                  </a:lnTo>
                  <a:lnTo>
                    <a:pt x="105" y="503"/>
                  </a:lnTo>
                  <a:lnTo>
                    <a:pt x="105" y="503"/>
                  </a:lnTo>
                  <a:lnTo>
                    <a:pt x="105" y="502"/>
                  </a:lnTo>
                  <a:lnTo>
                    <a:pt x="105" y="502"/>
                  </a:lnTo>
                  <a:lnTo>
                    <a:pt x="106" y="500"/>
                  </a:lnTo>
                  <a:lnTo>
                    <a:pt x="106" y="497"/>
                  </a:lnTo>
                  <a:lnTo>
                    <a:pt x="107" y="494"/>
                  </a:lnTo>
                  <a:lnTo>
                    <a:pt x="107" y="492"/>
                  </a:lnTo>
                  <a:lnTo>
                    <a:pt x="107" y="491"/>
                  </a:lnTo>
                  <a:lnTo>
                    <a:pt x="107" y="489"/>
                  </a:lnTo>
                  <a:lnTo>
                    <a:pt x="108" y="488"/>
                  </a:lnTo>
                  <a:lnTo>
                    <a:pt x="107" y="486"/>
                  </a:lnTo>
                  <a:lnTo>
                    <a:pt x="107" y="485"/>
                  </a:lnTo>
                  <a:lnTo>
                    <a:pt x="107" y="485"/>
                  </a:lnTo>
                  <a:lnTo>
                    <a:pt x="107" y="484"/>
                  </a:lnTo>
                  <a:lnTo>
                    <a:pt x="107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5" y="484"/>
                  </a:lnTo>
                  <a:lnTo>
                    <a:pt x="105" y="485"/>
                  </a:lnTo>
                  <a:lnTo>
                    <a:pt x="104" y="486"/>
                  </a:lnTo>
                  <a:lnTo>
                    <a:pt x="104" y="487"/>
                  </a:lnTo>
                  <a:lnTo>
                    <a:pt x="103" y="487"/>
                  </a:lnTo>
                  <a:lnTo>
                    <a:pt x="103" y="487"/>
                  </a:lnTo>
                  <a:lnTo>
                    <a:pt x="103" y="487"/>
                  </a:lnTo>
                  <a:lnTo>
                    <a:pt x="102" y="487"/>
                  </a:lnTo>
                  <a:lnTo>
                    <a:pt x="102" y="487"/>
                  </a:lnTo>
                  <a:lnTo>
                    <a:pt x="101" y="487"/>
                  </a:lnTo>
                  <a:lnTo>
                    <a:pt x="101" y="487"/>
                  </a:lnTo>
                  <a:lnTo>
                    <a:pt x="101" y="487"/>
                  </a:lnTo>
                  <a:lnTo>
                    <a:pt x="100" y="486"/>
                  </a:lnTo>
                  <a:lnTo>
                    <a:pt x="100" y="486"/>
                  </a:lnTo>
                  <a:lnTo>
                    <a:pt x="99" y="485"/>
                  </a:lnTo>
                  <a:lnTo>
                    <a:pt x="98" y="485"/>
                  </a:lnTo>
                  <a:lnTo>
                    <a:pt x="97" y="483"/>
                  </a:lnTo>
                  <a:lnTo>
                    <a:pt x="97" y="482"/>
                  </a:lnTo>
                  <a:lnTo>
                    <a:pt x="96" y="482"/>
                  </a:lnTo>
                  <a:lnTo>
                    <a:pt x="96" y="481"/>
                  </a:lnTo>
                  <a:lnTo>
                    <a:pt x="94" y="478"/>
                  </a:lnTo>
                  <a:lnTo>
                    <a:pt x="94" y="478"/>
                  </a:lnTo>
                  <a:lnTo>
                    <a:pt x="94" y="477"/>
                  </a:lnTo>
                  <a:lnTo>
                    <a:pt x="93" y="476"/>
                  </a:lnTo>
                  <a:lnTo>
                    <a:pt x="93" y="476"/>
                  </a:lnTo>
                  <a:lnTo>
                    <a:pt x="91" y="475"/>
                  </a:lnTo>
                  <a:lnTo>
                    <a:pt x="90" y="474"/>
                  </a:lnTo>
                  <a:lnTo>
                    <a:pt x="90" y="473"/>
                  </a:lnTo>
                  <a:lnTo>
                    <a:pt x="89" y="472"/>
                  </a:lnTo>
                  <a:lnTo>
                    <a:pt x="89" y="471"/>
                  </a:lnTo>
                  <a:lnTo>
                    <a:pt x="88" y="471"/>
                  </a:lnTo>
                  <a:lnTo>
                    <a:pt x="88" y="468"/>
                  </a:lnTo>
                  <a:lnTo>
                    <a:pt x="87" y="464"/>
                  </a:lnTo>
                  <a:lnTo>
                    <a:pt x="86" y="462"/>
                  </a:lnTo>
                  <a:lnTo>
                    <a:pt x="85" y="461"/>
                  </a:lnTo>
                  <a:lnTo>
                    <a:pt x="85" y="460"/>
                  </a:lnTo>
                  <a:lnTo>
                    <a:pt x="84" y="459"/>
                  </a:lnTo>
                  <a:lnTo>
                    <a:pt x="83" y="458"/>
                  </a:lnTo>
                  <a:lnTo>
                    <a:pt x="83" y="457"/>
                  </a:lnTo>
                  <a:lnTo>
                    <a:pt x="83" y="456"/>
                  </a:lnTo>
                  <a:lnTo>
                    <a:pt x="82" y="455"/>
                  </a:lnTo>
                  <a:lnTo>
                    <a:pt x="81" y="454"/>
                  </a:lnTo>
                  <a:lnTo>
                    <a:pt x="81" y="453"/>
                  </a:lnTo>
                  <a:lnTo>
                    <a:pt x="79" y="452"/>
                  </a:lnTo>
                  <a:lnTo>
                    <a:pt x="78" y="451"/>
                  </a:lnTo>
                  <a:lnTo>
                    <a:pt x="78" y="450"/>
                  </a:lnTo>
                  <a:lnTo>
                    <a:pt x="77" y="448"/>
                  </a:lnTo>
                  <a:lnTo>
                    <a:pt x="76" y="447"/>
                  </a:lnTo>
                  <a:lnTo>
                    <a:pt x="76" y="446"/>
                  </a:lnTo>
                  <a:lnTo>
                    <a:pt x="75" y="445"/>
                  </a:lnTo>
                  <a:lnTo>
                    <a:pt x="74" y="444"/>
                  </a:lnTo>
                  <a:lnTo>
                    <a:pt x="73" y="443"/>
                  </a:lnTo>
                  <a:lnTo>
                    <a:pt x="73" y="443"/>
                  </a:lnTo>
                  <a:lnTo>
                    <a:pt x="72" y="442"/>
                  </a:lnTo>
                  <a:lnTo>
                    <a:pt x="71" y="442"/>
                  </a:lnTo>
                  <a:lnTo>
                    <a:pt x="69" y="442"/>
                  </a:lnTo>
                  <a:lnTo>
                    <a:pt x="67" y="441"/>
                  </a:lnTo>
                  <a:lnTo>
                    <a:pt x="65" y="441"/>
                  </a:lnTo>
                  <a:lnTo>
                    <a:pt x="64" y="441"/>
                  </a:lnTo>
                  <a:lnTo>
                    <a:pt x="63" y="441"/>
                  </a:lnTo>
                  <a:lnTo>
                    <a:pt x="62" y="441"/>
                  </a:lnTo>
                  <a:lnTo>
                    <a:pt x="61" y="441"/>
                  </a:lnTo>
                  <a:lnTo>
                    <a:pt x="59" y="441"/>
                  </a:lnTo>
                  <a:lnTo>
                    <a:pt x="58" y="442"/>
                  </a:lnTo>
                  <a:lnTo>
                    <a:pt x="56" y="443"/>
                  </a:lnTo>
                  <a:lnTo>
                    <a:pt x="55" y="444"/>
                  </a:lnTo>
                  <a:lnTo>
                    <a:pt x="54" y="445"/>
                  </a:lnTo>
                  <a:lnTo>
                    <a:pt x="52" y="446"/>
                  </a:lnTo>
                  <a:lnTo>
                    <a:pt x="51" y="448"/>
                  </a:lnTo>
                  <a:lnTo>
                    <a:pt x="50" y="448"/>
                  </a:lnTo>
                  <a:lnTo>
                    <a:pt x="50" y="448"/>
                  </a:lnTo>
                  <a:lnTo>
                    <a:pt x="50" y="449"/>
                  </a:lnTo>
                  <a:lnTo>
                    <a:pt x="50" y="449"/>
                  </a:lnTo>
                  <a:lnTo>
                    <a:pt x="50" y="449"/>
                  </a:lnTo>
                  <a:lnTo>
                    <a:pt x="50" y="450"/>
                  </a:lnTo>
                  <a:lnTo>
                    <a:pt x="51" y="450"/>
                  </a:lnTo>
                  <a:lnTo>
                    <a:pt x="51" y="451"/>
                  </a:lnTo>
                  <a:lnTo>
                    <a:pt x="52" y="452"/>
                  </a:lnTo>
                  <a:lnTo>
                    <a:pt x="52" y="452"/>
                  </a:lnTo>
                  <a:lnTo>
                    <a:pt x="52" y="453"/>
                  </a:lnTo>
                  <a:lnTo>
                    <a:pt x="53" y="453"/>
                  </a:lnTo>
                  <a:lnTo>
                    <a:pt x="58" y="458"/>
                  </a:lnTo>
                  <a:lnTo>
                    <a:pt x="58" y="458"/>
                  </a:lnTo>
                  <a:lnTo>
                    <a:pt x="59" y="459"/>
                  </a:lnTo>
                  <a:lnTo>
                    <a:pt x="59" y="460"/>
                  </a:lnTo>
                  <a:lnTo>
                    <a:pt x="59" y="461"/>
                  </a:lnTo>
                  <a:lnTo>
                    <a:pt x="60" y="462"/>
                  </a:lnTo>
                  <a:lnTo>
                    <a:pt x="60" y="463"/>
                  </a:lnTo>
                  <a:lnTo>
                    <a:pt x="61" y="464"/>
                  </a:lnTo>
                  <a:lnTo>
                    <a:pt x="62" y="466"/>
                  </a:lnTo>
                  <a:lnTo>
                    <a:pt x="62" y="467"/>
                  </a:lnTo>
                  <a:lnTo>
                    <a:pt x="63" y="468"/>
                  </a:lnTo>
                  <a:lnTo>
                    <a:pt x="63" y="469"/>
                  </a:lnTo>
                  <a:lnTo>
                    <a:pt x="63" y="469"/>
                  </a:lnTo>
                  <a:lnTo>
                    <a:pt x="63" y="470"/>
                  </a:lnTo>
                  <a:lnTo>
                    <a:pt x="63" y="471"/>
                  </a:lnTo>
                  <a:lnTo>
                    <a:pt x="63" y="471"/>
                  </a:lnTo>
                  <a:lnTo>
                    <a:pt x="63" y="472"/>
                  </a:lnTo>
                  <a:lnTo>
                    <a:pt x="63" y="472"/>
                  </a:lnTo>
                  <a:lnTo>
                    <a:pt x="62" y="473"/>
                  </a:lnTo>
                  <a:lnTo>
                    <a:pt x="61" y="475"/>
                  </a:lnTo>
                  <a:lnTo>
                    <a:pt x="60" y="476"/>
                  </a:lnTo>
                  <a:lnTo>
                    <a:pt x="59" y="478"/>
                  </a:lnTo>
                  <a:lnTo>
                    <a:pt x="58" y="481"/>
                  </a:lnTo>
                  <a:lnTo>
                    <a:pt x="58" y="483"/>
                  </a:lnTo>
                  <a:lnTo>
                    <a:pt x="57" y="484"/>
                  </a:lnTo>
                  <a:lnTo>
                    <a:pt x="56" y="485"/>
                  </a:lnTo>
                  <a:lnTo>
                    <a:pt x="56" y="486"/>
                  </a:lnTo>
                  <a:lnTo>
                    <a:pt x="54" y="487"/>
                  </a:lnTo>
                  <a:lnTo>
                    <a:pt x="53" y="488"/>
                  </a:lnTo>
                  <a:lnTo>
                    <a:pt x="52" y="489"/>
                  </a:lnTo>
                  <a:lnTo>
                    <a:pt x="51" y="490"/>
                  </a:lnTo>
                  <a:lnTo>
                    <a:pt x="50" y="490"/>
                  </a:lnTo>
                  <a:lnTo>
                    <a:pt x="49" y="491"/>
                  </a:lnTo>
                  <a:lnTo>
                    <a:pt x="48" y="491"/>
                  </a:lnTo>
                  <a:lnTo>
                    <a:pt x="47" y="491"/>
                  </a:lnTo>
                  <a:lnTo>
                    <a:pt x="46" y="491"/>
                  </a:lnTo>
                  <a:lnTo>
                    <a:pt x="45" y="490"/>
                  </a:lnTo>
                  <a:lnTo>
                    <a:pt x="43" y="490"/>
                  </a:lnTo>
                  <a:lnTo>
                    <a:pt x="42" y="489"/>
                  </a:lnTo>
                  <a:lnTo>
                    <a:pt x="40" y="488"/>
                  </a:lnTo>
                  <a:lnTo>
                    <a:pt x="37" y="485"/>
                  </a:lnTo>
                  <a:lnTo>
                    <a:pt x="35" y="484"/>
                  </a:lnTo>
                  <a:lnTo>
                    <a:pt x="34" y="483"/>
                  </a:lnTo>
                  <a:lnTo>
                    <a:pt x="34" y="483"/>
                  </a:lnTo>
                  <a:lnTo>
                    <a:pt x="32" y="481"/>
                  </a:lnTo>
                  <a:lnTo>
                    <a:pt x="32" y="481"/>
                  </a:lnTo>
                  <a:lnTo>
                    <a:pt x="31" y="480"/>
                  </a:lnTo>
                  <a:lnTo>
                    <a:pt x="31" y="480"/>
                  </a:lnTo>
                  <a:lnTo>
                    <a:pt x="31" y="479"/>
                  </a:lnTo>
                  <a:lnTo>
                    <a:pt x="31" y="478"/>
                  </a:lnTo>
                  <a:lnTo>
                    <a:pt x="31" y="477"/>
                  </a:lnTo>
                  <a:lnTo>
                    <a:pt x="31" y="477"/>
                  </a:lnTo>
                  <a:lnTo>
                    <a:pt x="31" y="476"/>
                  </a:lnTo>
                  <a:lnTo>
                    <a:pt x="32" y="475"/>
                  </a:lnTo>
                  <a:lnTo>
                    <a:pt x="32" y="475"/>
                  </a:lnTo>
                  <a:lnTo>
                    <a:pt x="32" y="474"/>
                  </a:lnTo>
                  <a:lnTo>
                    <a:pt x="32" y="474"/>
                  </a:lnTo>
                  <a:lnTo>
                    <a:pt x="33" y="473"/>
                  </a:lnTo>
                  <a:lnTo>
                    <a:pt x="35" y="471"/>
                  </a:lnTo>
                  <a:lnTo>
                    <a:pt x="36" y="471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9"/>
                  </a:lnTo>
                  <a:lnTo>
                    <a:pt x="37" y="469"/>
                  </a:lnTo>
                  <a:lnTo>
                    <a:pt x="37" y="468"/>
                  </a:lnTo>
                  <a:lnTo>
                    <a:pt x="36" y="467"/>
                  </a:lnTo>
                  <a:lnTo>
                    <a:pt x="36" y="466"/>
                  </a:lnTo>
                  <a:lnTo>
                    <a:pt x="35" y="465"/>
                  </a:lnTo>
                  <a:lnTo>
                    <a:pt x="35" y="464"/>
                  </a:lnTo>
                  <a:lnTo>
                    <a:pt x="34" y="463"/>
                  </a:lnTo>
                  <a:lnTo>
                    <a:pt x="32" y="460"/>
                  </a:lnTo>
                  <a:lnTo>
                    <a:pt x="31" y="459"/>
                  </a:lnTo>
                  <a:lnTo>
                    <a:pt x="31" y="458"/>
                  </a:lnTo>
                  <a:lnTo>
                    <a:pt x="30" y="457"/>
                  </a:lnTo>
                  <a:lnTo>
                    <a:pt x="30" y="456"/>
                  </a:lnTo>
                  <a:lnTo>
                    <a:pt x="29" y="453"/>
                  </a:lnTo>
                  <a:lnTo>
                    <a:pt x="28" y="449"/>
                  </a:lnTo>
                  <a:lnTo>
                    <a:pt x="27" y="446"/>
                  </a:lnTo>
                  <a:lnTo>
                    <a:pt x="27" y="445"/>
                  </a:lnTo>
                  <a:lnTo>
                    <a:pt x="27" y="443"/>
                  </a:lnTo>
                  <a:lnTo>
                    <a:pt x="27" y="442"/>
                  </a:lnTo>
                  <a:lnTo>
                    <a:pt x="27" y="440"/>
                  </a:lnTo>
                  <a:lnTo>
                    <a:pt x="27" y="439"/>
                  </a:lnTo>
                  <a:lnTo>
                    <a:pt x="27" y="437"/>
                  </a:lnTo>
                  <a:lnTo>
                    <a:pt x="27" y="436"/>
                  </a:lnTo>
                  <a:lnTo>
                    <a:pt x="28" y="435"/>
                  </a:lnTo>
                  <a:lnTo>
                    <a:pt x="30" y="432"/>
                  </a:lnTo>
                  <a:lnTo>
                    <a:pt x="30" y="431"/>
                  </a:lnTo>
                  <a:lnTo>
                    <a:pt x="32" y="429"/>
                  </a:lnTo>
                  <a:lnTo>
                    <a:pt x="32" y="428"/>
                  </a:lnTo>
                  <a:lnTo>
                    <a:pt x="33" y="428"/>
                  </a:lnTo>
                  <a:lnTo>
                    <a:pt x="34" y="427"/>
                  </a:lnTo>
                  <a:lnTo>
                    <a:pt x="34" y="426"/>
                  </a:lnTo>
                  <a:lnTo>
                    <a:pt x="35" y="426"/>
                  </a:lnTo>
                  <a:lnTo>
                    <a:pt x="35" y="425"/>
                  </a:lnTo>
                  <a:lnTo>
                    <a:pt x="36" y="425"/>
                  </a:lnTo>
                  <a:lnTo>
                    <a:pt x="36" y="425"/>
                  </a:lnTo>
                  <a:lnTo>
                    <a:pt x="36" y="424"/>
                  </a:lnTo>
                  <a:lnTo>
                    <a:pt x="35" y="424"/>
                  </a:lnTo>
                  <a:lnTo>
                    <a:pt x="35" y="424"/>
                  </a:lnTo>
                  <a:lnTo>
                    <a:pt x="34" y="424"/>
                  </a:lnTo>
                  <a:lnTo>
                    <a:pt x="32" y="423"/>
                  </a:lnTo>
                  <a:lnTo>
                    <a:pt x="30" y="423"/>
                  </a:lnTo>
                  <a:lnTo>
                    <a:pt x="29" y="423"/>
                  </a:lnTo>
                  <a:lnTo>
                    <a:pt x="27" y="423"/>
                  </a:lnTo>
                  <a:lnTo>
                    <a:pt x="25" y="422"/>
                  </a:lnTo>
                  <a:lnTo>
                    <a:pt x="21" y="421"/>
                  </a:lnTo>
                  <a:lnTo>
                    <a:pt x="18" y="420"/>
                  </a:lnTo>
                  <a:lnTo>
                    <a:pt x="15" y="419"/>
                  </a:lnTo>
                  <a:lnTo>
                    <a:pt x="15" y="419"/>
                  </a:lnTo>
                  <a:lnTo>
                    <a:pt x="14" y="419"/>
                  </a:lnTo>
                  <a:lnTo>
                    <a:pt x="14" y="418"/>
                  </a:lnTo>
                  <a:lnTo>
                    <a:pt x="13" y="418"/>
                  </a:lnTo>
                  <a:lnTo>
                    <a:pt x="13" y="418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3" y="416"/>
                  </a:lnTo>
                  <a:lnTo>
                    <a:pt x="13" y="415"/>
                  </a:lnTo>
                  <a:lnTo>
                    <a:pt x="13" y="413"/>
                  </a:lnTo>
                  <a:lnTo>
                    <a:pt x="13" y="412"/>
                  </a:lnTo>
                  <a:lnTo>
                    <a:pt x="13" y="411"/>
                  </a:lnTo>
                  <a:lnTo>
                    <a:pt x="12" y="408"/>
                  </a:lnTo>
                  <a:lnTo>
                    <a:pt x="12" y="407"/>
                  </a:lnTo>
                  <a:lnTo>
                    <a:pt x="12" y="406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4" y="403"/>
                  </a:lnTo>
                  <a:lnTo>
                    <a:pt x="14" y="402"/>
                  </a:lnTo>
                  <a:lnTo>
                    <a:pt x="15" y="402"/>
                  </a:lnTo>
                  <a:lnTo>
                    <a:pt x="15" y="402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3" y="404"/>
                  </a:lnTo>
                  <a:lnTo>
                    <a:pt x="24" y="404"/>
                  </a:lnTo>
                  <a:lnTo>
                    <a:pt x="25" y="404"/>
                  </a:lnTo>
                  <a:lnTo>
                    <a:pt x="25" y="404"/>
                  </a:lnTo>
                  <a:lnTo>
                    <a:pt x="25" y="403"/>
                  </a:lnTo>
                  <a:lnTo>
                    <a:pt x="26" y="403"/>
                  </a:lnTo>
                  <a:lnTo>
                    <a:pt x="26" y="403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8" y="397"/>
                  </a:lnTo>
                  <a:lnTo>
                    <a:pt x="29" y="396"/>
                  </a:lnTo>
                  <a:lnTo>
                    <a:pt x="29" y="395"/>
                  </a:lnTo>
                  <a:lnTo>
                    <a:pt x="29" y="394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0" y="389"/>
                  </a:lnTo>
                  <a:lnTo>
                    <a:pt x="31" y="386"/>
                  </a:lnTo>
                  <a:lnTo>
                    <a:pt x="32" y="384"/>
                  </a:lnTo>
                  <a:lnTo>
                    <a:pt x="32" y="382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80"/>
                  </a:lnTo>
                  <a:lnTo>
                    <a:pt x="31" y="377"/>
                  </a:lnTo>
                  <a:lnTo>
                    <a:pt x="30" y="375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3"/>
                  </a:lnTo>
                  <a:lnTo>
                    <a:pt x="30" y="371"/>
                  </a:lnTo>
                  <a:lnTo>
                    <a:pt x="30" y="370"/>
                  </a:lnTo>
                  <a:lnTo>
                    <a:pt x="30" y="369"/>
                  </a:lnTo>
                  <a:lnTo>
                    <a:pt x="31" y="368"/>
                  </a:lnTo>
                  <a:lnTo>
                    <a:pt x="31" y="367"/>
                  </a:lnTo>
                  <a:lnTo>
                    <a:pt x="32" y="366"/>
                  </a:lnTo>
                  <a:lnTo>
                    <a:pt x="33" y="365"/>
                  </a:lnTo>
                  <a:lnTo>
                    <a:pt x="33" y="364"/>
                  </a:lnTo>
                  <a:lnTo>
                    <a:pt x="36" y="361"/>
                  </a:lnTo>
                  <a:lnTo>
                    <a:pt x="38" y="358"/>
                  </a:lnTo>
                  <a:lnTo>
                    <a:pt x="39" y="357"/>
                  </a:lnTo>
                  <a:lnTo>
                    <a:pt x="39" y="356"/>
                  </a:lnTo>
                  <a:lnTo>
                    <a:pt x="39" y="356"/>
                  </a:lnTo>
                  <a:lnTo>
                    <a:pt x="40" y="355"/>
                  </a:lnTo>
                  <a:lnTo>
                    <a:pt x="40" y="353"/>
                  </a:lnTo>
                  <a:lnTo>
                    <a:pt x="41" y="352"/>
                  </a:lnTo>
                  <a:lnTo>
                    <a:pt x="41" y="350"/>
                  </a:lnTo>
                  <a:lnTo>
                    <a:pt x="41" y="348"/>
                  </a:lnTo>
                  <a:lnTo>
                    <a:pt x="41" y="347"/>
                  </a:lnTo>
                  <a:lnTo>
                    <a:pt x="41" y="346"/>
                  </a:lnTo>
                  <a:lnTo>
                    <a:pt x="40" y="342"/>
                  </a:lnTo>
                  <a:lnTo>
                    <a:pt x="40" y="341"/>
                  </a:lnTo>
                  <a:lnTo>
                    <a:pt x="40" y="340"/>
                  </a:lnTo>
                  <a:lnTo>
                    <a:pt x="40" y="339"/>
                  </a:lnTo>
                  <a:lnTo>
                    <a:pt x="39" y="338"/>
                  </a:lnTo>
                  <a:lnTo>
                    <a:pt x="39" y="338"/>
                  </a:lnTo>
                  <a:lnTo>
                    <a:pt x="38" y="337"/>
                  </a:lnTo>
                  <a:lnTo>
                    <a:pt x="38" y="336"/>
                  </a:lnTo>
                  <a:lnTo>
                    <a:pt x="37" y="336"/>
                  </a:lnTo>
                  <a:lnTo>
                    <a:pt x="36" y="335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4" y="334"/>
                  </a:lnTo>
                  <a:lnTo>
                    <a:pt x="31" y="334"/>
                  </a:lnTo>
                  <a:lnTo>
                    <a:pt x="30" y="333"/>
                  </a:lnTo>
                  <a:lnTo>
                    <a:pt x="29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7" y="333"/>
                  </a:lnTo>
                  <a:lnTo>
                    <a:pt x="27" y="333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1"/>
                  </a:lnTo>
                  <a:lnTo>
                    <a:pt x="27" y="330"/>
                  </a:lnTo>
                  <a:lnTo>
                    <a:pt x="28" y="328"/>
                  </a:lnTo>
                  <a:lnTo>
                    <a:pt x="28" y="327"/>
                  </a:lnTo>
                  <a:lnTo>
                    <a:pt x="28" y="326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8" y="324"/>
                  </a:lnTo>
                  <a:lnTo>
                    <a:pt x="27" y="321"/>
                  </a:lnTo>
                  <a:lnTo>
                    <a:pt x="26" y="321"/>
                  </a:lnTo>
                  <a:lnTo>
                    <a:pt x="26" y="320"/>
                  </a:lnTo>
                  <a:lnTo>
                    <a:pt x="26" y="317"/>
                  </a:lnTo>
                  <a:lnTo>
                    <a:pt x="26" y="316"/>
                  </a:lnTo>
                  <a:lnTo>
                    <a:pt x="25" y="315"/>
                  </a:lnTo>
                  <a:lnTo>
                    <a:pt x="25" y="314"/>
                  </a:lnTo>
                  <a:lnTo>
                    <a:pt x="24" y="314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7" y="305"/>
                  </a:lnTo>
                  <a:lnTo>
                    <a:pt x="16" y="304"/>
                  </a:lnTo>
                  <a:lnTo>
                    <a:pt x="15" y="302"/>
                  </a:lnTo>
                  <a:lnTo>
                    <a:pt x="15" y="300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12" y="294"/>
                  </a:lnTo>
                  <a:lnTo>
                    <a:pt x="12" y="293"/>
                  </a:lnTo>
                  <a:lnTo>
                    <a:pt x="12" y="292"/>
                  </a:lnTo>
                  <a:lnTo>
                    <a:pt x="11" y="291"/>
                  </a:lnTo>
                  <a:lnTo>
                    <a:pt x="9" y="288"/>
                  </a:lnTo>
                  <a:lnTo>
                    <a:pt x="8" y="287"/>
                  </a:lnTo>
                  <a:lnTo>
                    <a:pt x="8" y="286"/>
                  </a:lnTo>
                  <a:lnTo>
                    <a:pt x="8" y="285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6"/>
                  </a:lnTo>
                  <a:lnTo>
                    <a:pt x="9" y="275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2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8"/>
                  </a:lnTo>
                  <a:lnTo>
                    <a:pt x="13" y="267"/>
                  </a:lnTo>
                  <a:lnTo>
                    <a:pt x="13" y="266"/>
                  </a:lnTo>
                  <a:lnTo>
                    <a:pt x="13" y="266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2" y="260"/>
                  </a:lnTo>
                  <a:lnTo>
                    <a:pt x="12" y="258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7"/>
                  </a:lnTo>
                  <a:lnTo>
                    <a:pt x="10" y="246"/>
                  </a:lnTo>
                  <a:lnTo>
                    <a:pt x="9" y="241"/>
                  </a:lnTo>
                  <a:lnTo>
                    <a:pt x="7" y="236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5" y="230"/>
                  </a:lnTo>
                  <a:lnTo>
                    <a:pt x="4" y="225"/>
                  </a:lnTo>
                  <a:lnTo>
                    <a:pt x="4" y="223"/>
                  </a:lnTo>
                  <a:lnTo>
                    <a:pt x="3" y="220"/>
                  </a:lnTo>
                  <a:lnTo>
                    <a:pt x="1" y="216"/>
                  </a:lnTo>
                  <a:lnTo>
                    <a:pt x="1" y="215"/>
                  </a:lnTo>
                  <a:lnTo>
                    <a:pt x="1" y="214"/>
                  </a:lnTo>
                  <a:lnTo>
                    <a:pt x="0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1" y="210"/>
                  </a:lnTo>
                  <a:lnTo>
                    <a:pt x="1" y="210"/>
                  </a:lnTo>
                  <a:lnTo>
                    <a:pt x="2" y="210"/>
                  </a:lnTo>
                  <a:lnTo>
                    <a:pt x="2" y="210"/>
                  </a:lnTo>
                  <a:lnTo>
                    <a:pt x="3" y="209"/>
                  </a:lnTo>
                  <a:lnTo>
                    <a:pt x="4" y="209"/>
                  </a:lnTo>
                  <a:lnTo>
                    <a:pt x="5" y="209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0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3" y="205"/>
                  </a:lnTo>
                  <a:lnTo>
                    <a:pt x="14" y="204"/>
                  </a:lnTo>
                  <a:lnTo>
                    <a:pt x="15" y="203"/>
                  </a:lnTo>
                  <a:lnTo>
                    <a:pt x="15" y="202"/>
                  </a:lnTo>
                  <a:lnTo>
                    <a:pt x="18" y="199"/>
                  </a:lnTo>
                  <a:lnTo>
                    <a:pt x="19" y="198"/>
                  </a:lnTo>
                  <a:lnTo>
                    <a:pt x="22" y="196"/>
                  </a:lnTo>
                  <a:lnTo>
                    <a:pt x="23" y="194"/>
                  </a:lnTo>
                  <a:lnTo>
                    <a:pt x="24" y="194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2"/>
                  </a:lnTo>
                  <a:lnTo>
                    <a:pt x="26" y="191"/>
                  </a:lnTo>
                  <a:lnTo>
                    <a:pt x="26" y="190"/>
                  </a:lnTo>
                  <a:lnTo>
                    <a:pt x="27" y="189"/>
                  </a:lnTo>
                  <a:lnTo>
                    <a:pt x="27" y="188"/>
                  </a:lnTo>
                  <a:lnTo>
                    <a:pt x="27" y="187"/>
                  </a:lnTo>
                  <a:lnTo>
                    <a:pt x="27" y="185"/>
                  </a:lnTo>
                  <a:lnTo>
                    <a:pt x="26" y="182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0"/>
                  </a:lnTo>
                  <a:lnTo>
                    <a:pt x="27" y="169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6"/>
                  </a:lnTo>
                  <a:lnTo>
                    <a:pt x="27" y="162"/>
                  </a:lnTo>
                  <a:lnTo>
                    <a:pt x="27" y="161"/>
                  </a:lnTo>
                  <a:lnTo>
                    <a:pt x="27" y="160"/>
                  </a:lnTo>
                  <a:lnTo>
                    <a:pt x="27" y="159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30" y="150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4" y="143"/>
                  </a:lnTo>
                  <a:lnTo>
                    <a:pt x="36" y="135"/>
                  </a:lnTo>
                  <a:lnTo>
                    <a:pt x="38" y="132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40" y="125"/>
                  </a:lnTo>
                  <a:lnTo>
                    <a:pt x="40" y="123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4" y="114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9" y="108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5" y="105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3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1"/>
                  </a:lnTo>
                  <a:lnTo>
                    <a:pt x="69" y="100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6" y="99"/>
                  </a:lnTo>
                  <a:lnTo>
                    <a:pt x="79" y="102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1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3"/>
                  </a:lnTo>
                  <a:lnTo>
                    <a:pt x="85" y="103"/>
                  </a:lnTo>
                  <a:lnTo>
                    <a:pt x="85" y="102"/>
                  </a:lnTo>
                  <a:lnTo>
                    <a:pt x="86" y="102"/>
                  </a:lnTo>
                  <a:lnTo>
                    <a:pt x="86" y="101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6" y="97"/>
                  </a:lnTo>
                  <a:lnTo>
                    <a:pt x="85" y="94"/>
                  </a:lnTo>
                  <a:lnTo>
                    <a:pt x="85" y="92"/>
                  </a:lnTo>
                  <a:lnTo>
                    <a:pt x="84" y="91"/>
                  </a:lnTo>
                  <a:lnTo>
                    <a:pt x="84" y="89"/>
                  </a:lnTo>
                  <a:lnTo>
                    <a:pt x="84" y="88"/>
                  </a:lnTo>
                  <a:lnTo>
                    <a:pt x="84" y="87"/>
                  </a:lnTo>
                  <a:lnTo>
                    <a:pt x="85" y="83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5" y="78"/>
                  </a:lnTo>
                  <a:lnTo>
                    <a:pt x="84" y="77"/>
                  </a:lnTo>
                  <a:lnTo>
                    <a:pt x="84" y="75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79" y="68"/>
                  </a:lnTo>
                  <a:lnTo>
                    <a:pt x="78" y="67"/>
                  </a:lnTo>
                  <a:lnTo>
                    <a:pt x="77" y="66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68" y="62"/>
                  </a:lnTo>
                  <a:lnTo>
                    <a:pt x="67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1" y="54"/>
                  </a:lnTo>
                  <a:lnTo>
                    <a:pt x="59" y="49"/>
                  </a:lnTo>
                  <a:lnTo>
                    <a:pt x="57" y="44"/>
                  </a:lnTo>
                  <a:lnTo>
                    <a:pt x="56" y="42"/>
                  </a:lnTo>
                  <a:lnTo>
                    <a:pt x="55" y="40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3" y="32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8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4" y="6"/>
                  </a:lnTo>
                  <a:lnTo>
                    <a:pt x="45" y="5"/>
                  </a:lnTo>
                  <a:lnTo>
                    <a:pt x="46" y="4"/>
                  </a:lnTo>
                  <a:lnTo>
                    <a:pt x="47" y="3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9" y="5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0" y="12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6" y="14"/>
                  </a:lnTo>
                  <a:lnTo>
                    <a:pt x="92" y="16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8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3" y="22"/>
                  </a:lnTo>
                  <a:lnTo>
                    <a:pt x="113" y="23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5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8" y="31"/>
                  </a:lnTo>
                  <a:lnTo>
                    <a:pt x="140" y="35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3" y="40"/>
                  </a:lnTo>
                  <a:lnTo>
                    <a:pt x="144" y="41"/>
                  </a:lnTo>
                  <a:lnTo>
                    <a:pt x="145" y="43"/>
                  </a:lnTo>
                  <a:lnTo>
                    <a:pt x="146" y="44"/>
                  </a:lnTo>
                  <a:lnTo>
                    <a:pt x="147" y="45"/>
                  </a:lnTo>
                  <a:lnTo>
                    <a:pt x="148" y="46"/>
                  </a:lnTo>
                  <a:lnTo>
                    <a:pt x="149" y="47"/>
                  </a:lnTo>
                  <a:lnTo>
                    <a:pt x="151" y="49"/>
                  </a:lnTo>
                  <a:lnTo>
                    <a:pt x="153" y="50"/>
                  </a:lnTo>
                  <a:lnTo>
                    <a:pt x="154" y="51"/>
                  </a:lnTo>
                  <a:lnTo>
                    <a:pt x="155" y="52"/>
                  </a:lnTo>
                  <a:lnTo>
                    <a:pt x="156" y="52"/>
                  </a:lnTo>
                  <a:lnTo>
                    <a:pt x="158" y="53"/>
                  </a:lnTo>
                  <a:lnTo>
                    <a:pt x="160" y="54"/>
                  </a:lnTo>
                  <a:lnTo>
                    <a:pt x="161" y="54"/>
                  </a:lnTo>
                  <a:lnTo>
                    <a:pt x="162" y="55"/>
                  </a:lnTo>
                  <a:lnTo>
                    <a:pt x="163" y="55"/>
                  </a:lnTo>
                  <a:lnTo>
                    <a:pt x="164" y="55"/>
                  </a:lnTo>
                  <a:lnTo>
                    <a:pt x="165" y="55"/>
                  </a:lnTo>
                  <a:lnTo>
                    <a:pt x="166" y="56"/>
                  </a:lnTo>
                  <a:lnTo>
                    <a:pt x="167" y="56"/>
                  </a:lnTo>
                  <a:lnTo>
                    <a:pt x="169" y="56"/>
                  </a:lnTo>
                  <a:close/>
                </a:path>
              </a:pathLst>
            </a:custGeom>
            <a:solidFill>
              <a:srgbClr val="A8A8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" name="Freeform 70">
              <a:extLst>
                <a:ext uri="{FF2B5EF4-FFF2-40B4-BE49-F238E27FC236}">
                  <a16:creationId xmlns:a16="http://schemas.microsoft.com/office/drawing/2014/main" id="{24B96DA3-7900-963F-3B4E-AD97F96C99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5" y="3194"/>
              <a:ext cx="334" cy="487"/>
            </a:xfrm>
            <a:custGeom>
              <a:avLst/>
              <a:gdLst>
                <a:gd name="T0" fmla="*/ 152 w 334"/>
                <a:gd name="T1" fmla="*/ 7 h 487"/>
                <a:gd name="T2" fmla="*/ 155 w 334"/>
                <a:gd name="T3" fmla="*/ 25 h 487"/>
                <a:gd name="T4" fmla="*/ 171 w 334"/>
                <a:gd name="T5" fmla="*/ 23 h 487"/>
                <a:gd name="T6" fmla="*/ 175 w 334"/>
                <a:gd name="T7" fmla="*/ 47 h 487"/>
                <a:gd name="T8" fmla="*/ 162 w 334"/>
                <a:gd name="T9" fmla="*/ 51 h 487"/>
                <a:gd name="T10" fmla="*/ 140 w 334"/>
                <a:gd name="T11" fmla="*/ 69 h 487"/>
                <a:gd name="T12" fmla="*/ 123 w 334"/>
                <a:gd name="T13" fmla="*/ 96 h 487"/>
                <a:gd name="T14" fmla="*/ 118 w 334"/>
                <a:gd name="T15" fmla="*/ 127 h 487"/>
                <a:gd name="T16" fmla="*/ 102 w 334"/>
                <a:gd name="T17" fmla="*/ 158 h 487"/>
                <a:gd name="T18" fmla="*/ 112 w 334"/>
                <a:gd name="T19" fmla="*/ 174 h 487"/>
                <a:gd name="T20" fmla="*/ 104 w 334"/>
                <a:gd name="T21" fmla="*/ 193 h 487"/>
                <a:gd name="T22" fmla="*/ 102 w 334"/>
                <a:gd name="T23" fmla="*/ 212 h 487"/>
                <a:gd name="T24" fmla="*/ 119 w 334"/>
                <a:gd name="T25" fmla="*/ 219 h 487"/>
                <a:gd name="T26" fmla="*/ 120 w 334"/>
                <a:gd name="T27" fmla="*/ 232 h 487"/>
                <a:gd name="T28" fmla="*/ 138 w 334"/>
                <a:gd name="T29" fmla="*/ 226 h 487"/>
                <a:gd name="T30" fmla="*/ 161 w 334"/>
                <a:gd name="T31" fmla="*/ 215 h 487"/>
                <a:gd name="T32" fmla="*/ 164 w 334"/>
                <a:gd name="T33" fmla="*/ 234 h 487"/>
                <a:gd name="T34" fmla="*/ 173 w 334"/>
                <a:gd name="T35" fmla="*/ 239 h 487"/>
                <a:gd name="T36" fmla="*/ 184 w 334"/>
                <a:gd name="T37" fmla="*/ 228 h 487"/>
                <a:gd name="T38" fmla="*/ 192 w 334"/>
                <a:gd name="T39" fmla="*/ 222 h 487"/>
                <a:gd name="T40" fmla="*/ 195 w 334"/>
                <a:gd name="T41" fmla="*/ 210 h 487"/>
                <a:gd name="T42" fmla="*/ 204 w 334"/>
                <a:gd name="T43" fmla="*/ 234 h 487"/>
                <a:gd name="T44" fmla="*/ 214 w 334"/>
                <a:gd name="T45" fmla="*/ 252 h 487"/>
                <a:gd name="T46" fmla="*/ 238 w 334"/>
                <a:gd name="T47" fmla="*/ 263 h 487"/>
                <a:gd name="T48" fmla="*/ 260 w 334"/>
                <a:gd name="T49" fmla="*/ 258 h 487"/>
                <a:gd name="T50" fmla="*/ 262 w 334"/>
                <a:gd name="T51" fmla="*/ 280 h 487"/>
                <a:gd name="T52" fmla="*/ 269 w 334"/>
                <a:gd name="T53" fmla="*/ 298 h 487"/>
                <a:gd name="T54" fmla="*/ 280 w 334"/>
                <a:gd name="T55" fmla="*/ 298 h 487"/>
                <a:gd name="T56" fmla="*/ 302 w 334"/>
                <a:gd name="T57" fmla="*/ 320 h 487"/>
                <a:gd name="T58" fmla="*/ 315 w 334"/>
                <a:gd name="T59" fmla="*/ 345 h 487"/>
                <a:gd name="T60" fmla="*/ 323 w 334"/>
                <a:gd name="T61" fmla="*/ 347 h 487"/>
                <a:gd name="T62" fmla="*/ 334 w 334"/>
                <a:gd name="T63" fmla="*/ 358 h 487"/>
                <a:gd name="T64" fmla="*/ 325 w 334"/>
                <a:gd name="T65" fmla="*/ 369 h 487"/>
                <a:gd name="T66" fmla="*/ 309 w 334"/>
                <a:gd name="T67" fmla="*/ 373 h 487"/>
                <a:gd name="T68" fmla="*/ 298 w 334"/>
                <a:gd name="T69" fmla="*/ 392 h 487"/>
                <a:gd name="T70" fmla="*/ 280 w 334"/>
                <a:gd name="T71" fmla="*/ 406 h 487"/>
                <a:gd name="T72" fmla="*/ 264 w 334"/>
                <a:gd name="T73" fmla="*/ 398 h 487"/>
                <a:gd name="T74" fmla="*/ 253 w 334"/>
                <a:gd name="T75" fmla="*/ 402 h 487"/>
                <a:gd name="T76" fmla="*/ 254 w 334"/>
                <a:gd name="T77" fmla="*/ 415 h 487"/>
                <a:gd name="T78" fmla="*/ 244 w 334"/>
                <a:gd name="T79" fmla="*/ 425 h 487"/>
                <a:gd name="T80" fmla="*/ 224 w 334"/>
                <a:gd name="T81" fmla="*/ 424 h 487"/>
                <a:gd name="T82" fmla="*/ 212 w 334"/>
                <a:gd name="T83" fmla="*/ 436 h 487"/>
                <a:gd name="T84" fmla="*/ 196 w 334"/>
                <a:gd name="T85" fmla="*/ 438 h 487"/>
                <a:gd name="T86" fmla="*/ 175 w 334"/>
                <a:gd name="T87" fmla="*/ 433 h 487"/>
                <a:gd name="T88" fmla="*/ 168 w 334"/>
                <a:gd name="T89" fmla="*/ 424 h 487"/>
                <a:gd name="T90" fmla="*/ 165 w 334"/>
                <a:gd name="T91" fmla="*/ 445 h 487"/>
                <a:gd name="T92" fmla="*/ 157 w 334"/>
                <a:gd name="T93" fmla="*/ 462 h 487"/>
                <a:gd name="T94" fmla="*/ 134 w 334"/>
                <a:gd name="T95" fmla="*/ 476 h 487"/>
                <a:gd name="T96" fmla="*/ 113 w 334"/>
                <a:gd name="T97" fmla="*/ 487 h 487"/>
                <a:gd name="T98" fmla="*/ 102 w 334"/>
                <a:gd name="T99" fmla="*/ 465 h 487"/>
                <a:gd name="T100" fmla="*/ 76 w 334"/>
                <a:gd name="T101" fmla="*/ 451 h 487"/>
                <a:gd name="T102" fmla="*/ 76 w 334"/>
                <a:gd name="T103" fmla="*/ 431 h 487"/>
                <a:gd name="T104" fmla="*/ 70 w 334"/>
                <a:gd name="T105" fmla="*/ 433 h 487"/>
                <a:gd name="T106" fmla="*/ 58 w 334"/>
                <a:gd name="T107" fmla="*/ 418 h 487"/>
                <a:gd name="T108" fmla="*/ 47 w 334"/>
                <a:gd name="T109" fmla="*/ 396 h 487"/>
                <a:gd name="T110" fmla="*/ 28 w 334"/>
                <a:gd name="T111" fmla="*/ 387 h 487"/>
                <a:gd name="T112" fmla="*/ 21 w 334"/>
                <a:gd name="T113" fmla="*/ 399 h 487"/>
                <a:gd name="T114" fmla="*/ 32 w 334"/>
                <a:gd name="T115" fmla="*/ 417 h 487"/>
                <a:gd name="T116" fmla="*/ 18 w 334"/>
                <a:gd name="T117" fmla="*/ 437 h 487"/>
                <a:gd name="T118" fmla="*/ 0 w 334"/>
                <a:gd name="T119" fmla="*/ 424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4" h="487">
                  <a:moveTo>
                    <a:pt x="138" y="2"/>
                  </a:moveTo>
                  <a:lnTo>
                    <a:pt x="139" y="1"/>
                  </a:lnTo>
                  <a:lnTo>
                    <a:pt x="140" y="1"/>
                  </a:lnTo>
                  <a:lnTo>
                    <a:pt x="141" y="1"/>
                  </a:lnTo>
                  <a:lnTo>
                    <a:pt x="145" y="0"/>
                  </a:lnTo>
                  <a:lnTo>
                    <a:pt x="146" y="0"/>
                  </a:lnTo>
                  <a:lnTo>
                    <a:pt x="147" y="0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9" y="1"/>
                  </a:lnTo>
                  <a:lnTo>
                    <a:pt x="150" y="1"/>
                  </a:lnTo>
                  <a:lnTo>
                    <a:pt x="150" y="2"/>
                  </a:lnTo>
                  <a:lnTo>
                    <a:pt x="151" y="4"/>
                  </a:lnTo>
                  <a:lnTo>
                    <a:pt x="152" y="7"/>
                  </a:lnTo>
                  <a:lnTo>
                    <a:pt x="152" y="8"/>
                  </a:lnTo>
                  <a:lnTo>
                    <a:pt x="152" y="8"/>
                  </a:lnTo>
                  <a:lnTo>
                    <a:pt x="152" y="9"/>
                  </a:lnTo>
                  <a:lnTo>
                    <a:pt x="152" y="10"/>
                  </a:lnTo>
                  <a:lnTo>
                    <a:pt x="151" y="18"/>
                  </a:lnTo>
                  <a:lnTo>
                    <a:pt x="151" y="19"/>
                  </a:lnTo>
                  <a:lnTo>
                    <a:pt x="152" y="20"/>
                  </a:lnTo>
                  <a:lnTo>
                    <a:pt x="152" y="22"/>
                  </a:lnTo>
                  <a:lnTo>
                    <a:pt x="152" y="23"/>
                  </a:lnTo>
                  <a:lnTo>
                    <a:pt x="153" y="23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5"/>
                  </a:lnTo>
                  <a:lnTo>
                    <a:pt x="155" y="25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8" y="23"/>
                  </a:lnTo>
                  <a:lnTo>
                    <a:pt x="159" y="22"/>
                  </a:lnTo>
                  <a:lnTo>
                    <a:pt x="159" y="22"/>
                  </a:lnTo>
                  <a:lnTo>
                    <a:pt x="160" y="21"/>
                  </a:lnTo>
                  <a:lnTo>
                    <a:pt x="161" y="21"/>
                  </a:lnTo>
                  <a:lnTo>
                    <a:pt x="161" y="21"/>
                  </a:lnTo>
                  <a:lnTo>
                    <a:pt x="163" y="21"/>
                  </a:lnTo>
                  <a:lnTo>
                    <a:pt x="163" y="20"/>
                  </a:lnTo>
                  <a:lnTo>
                    <a:pt x="164" y="20"/>
                  </a:lnTo>
                  <a:lnTo>
                    <a:pt x="166" y="21"/>
                  </a:lnTo>
                  <a:lnTo>
                    <a:pt x="167" y="21"/>
                  </a:lnTo>
                  <a:lnTo>
                    <a:pt x="168" y="21"/>
                  </a:lnTo>
                  <a:lnTo>
                    <a:pt x="169" y="22"/>
                  </a:lnTo>
                  <a:lnTo>
                    <a:pt x="170" y="22"/>
                  </a:lnTo>
                  <a:lnTo>
                    <a:pt x="171" y="23"/>
                  </a:lnTo>
                  <a:lnTo>
                    <a:pt x="172" y="23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4" y="25"/>
                  </a:lnTo>
                  <a:lnTo>
                    <a:pt x="175" y="26"/>
                  </a:lnTo>
                  <a:lnTo>
                    <a:pt x="175" y="27"/>
                  </a:lnTo>
                  <a:lnTo>
                    <a:pt x="176" y="28"/>
                  </a:lnTo>
                  <a:lnTo>
                    <a:pt x="176" y="28"/>
                  </a:lnTo>
                  <a:lnTo>
                    <a:pt x="177" y="29"/>
                  </a:lnTo>
                  <a:lnTo>
                    <a:pt x="177" y="30"/>
                  </a:lnTo>
                  <a:lnTo>
                    <a:pt x="177" y="31"/>
                  </a:lnTo>
                  <a:lnTo>
                    <a:pt x="177" y="31"/>
                  </a:lnTo>
                  <a:lnTo>
                    <a:pt x="177" y="40"/>
                  </a:lnTo>
                  <a:lnTo>
                    <a:pt x="176" y="43"/>
                  </a:lnTo>
                  <a:lnTo>
                    <a:pt x="176" y="44"/>
                  </a:lnTo>
                  <a:lnTo>
                    <a:pt x="176" y="46"/>
                  </a:lnTo>
                  <a:lnTo>
                    <a:pt x="175" y="47"/>
                  </a:lnTo>
                  <a:lnTo>
                    <a:pt x="175" y="48"/>
                  </a:lnTo>
                  <a:lnTo>
                    <a:pt x="175" y="49"/>
                  </a:lnTo>
                  <a:lnTo>
                    <a:pt x="174" y="50"/>
                  </a:lnTo>
                  <a:lnTo>
                    <a:pt x="174" y="50"/>
                  </a:lnTo>
                  <a:lnTo>
                    <a:pt x="173" y="50"/>
                  </a:lnTo>
                  <a:lnTo>
                    <a:pt x="173" y="51"/>
                  </a:lnTo>
                  <a:lnTo>
                    <a:pt x="172" y="51"/>
                  </a:lnTo>
                  <a:lnTo>
                    <a:pt x="171" y="51"/>
                  </a:lnTo>
                  <a:lnTo>
                    <a:pt x="170" y="51"/>
                  </a:lnTo>
                  <a:lnTo>
                    <a:pt x="170" y="51"/>
                  </a:lnTo>
                  <a:lnTo>
                    <a:pt x="168" y="51"/>
                  </a:lnTo>
                  <a:lnTo>
                    <a:pt x="167" y="51"/>
                  </a:lnTo>
                  <a:lnTo>
                    <a:pt x="166" y="50"/>
                  </a:lnTo>
                  <a:lnTo>
                    <a:pt x="164" y="50"/>
                  </a:lnTo>
                  <a:lnTo>
                    <a:pt x="163" y="50"/>
                  </a:lnTo>
                  <a:lnTo>
                    <a:pt x="163" y="50"/>
                  </a:lnTo>
                  <a:lnTo>
                    <a:pt x="162" y="51"/>
                  </a:lnTo>
                  <a:lnTo>
                    <a:pt x="162" y="51"/>
                  </a:lnTo>
                  <a:lnTo>
                    <a:pt x="160" y="52"/>
                  </a:lnTo>
                  <a:lnTo>
                    <a:pt x="159" y="53"/>
                  </a:lnTo>
                  <a:lnTo>
                    <a:pt x="158" y="55"/>
                  </a:lnTo>
                  <a:lnTo>
                    <a:pt x="154" y="59"/>
                  </a:lnTo>
                  <a:lnTo>
                    <a:pt x="153" y="60"/>
                  </a:lnTo>
                  <a:lnTo>
                    <a:pt x="152" y="61"/>
                  </a:lnTo>
                  <a:lnTo>
                    <a:pt x="151" y="61"/>
                  </a:lnTo>
                  <a:lnTo>
                    <a:pt x="150" y="62"/>
                  </a:lnTo>
                  <a:lnTo>
                    <a:pt x="149" y="62"/>
                  </a:lnTo>
                  <a:lnTo>
                    <a:pt x="147" y="63"/>
                  </a:lnTo>
                  <a:lnTo>
                    <a:pt x="146" y="64"/>
                  </a:lnTo>
                  <a:lnTo>
                    <a:pt x="145" y="64"/>
                  </a:lnTo>
                  <a:lnTo>
                    <a:pt x="144" y="65"/>
                  </a:lnTo>
                  <a:lnTo>
                    <a:pt x="143" y="66"/>
                  </a:lnTo>
                  <a:lnTo>
                    <a:pt x="142" y="66"/>
                  </a:lnTo>
                  <a:lnTo>
                    <a:pt x="140" y="69"/>
                  </a:lnTo>
                  <a:lnTo>
                    <a:pt x="139" y="69"/>
                  </a:lnTo>
                  <a:lnTo>
                    <a:pt x="138" y="70"/>
                  </a:lnTo>
                  <a:lnTo>
                    <a:pt x="136" y="72"/>
                  </a:lnTo>
                  <a:lnTo>
                    <a:pt x="135" y="72"/>
                  </a:lnTo>
                  <a:lnTo>
                    <a:pt x="134" y="74"/>
                  </a:lnTo>
                  <a:lnTo>
                    <a:pt x="132" y="76"/>
                  </a:lnTo>
                  <a:lnTo>
                    <a:pt x="127" y="82"/>
                  </a:lnTo>
                  <a:lnTo>
                    <a:pt x="125" y="84"/>
                  </a:lnTo>
                  <a:lnTo>
                    <a:pt x="125" y="85"/>
                  </a:lnTo>
                  <a:lnTo>
                    <a:pt x="124" y="86"/>
                  </a:lnTo>
                  <a:lnTo>
                    <a:pt x="124" y="87"/>
                  </a:lnTo>
                  <a:lnTo>
                    <a:pt x="124" y="88"/>
                  </a:lnTo>
                  <a:lnTo>
                    <a:pt x="124" y="91"/>
                  </a:lnTo>
                  <a:lnTo>
                    <a:pt x="123" y="93"/>
                  </a:lnTo>
                  <a:lnTo>
                    <a:pt x="123" y="94"/>
                  </a:lnTo>
                  <a:lnTo>
                    <a:pt x="123" y="95"/>
                  </a:lnTo>
                  <a:lnTo>
                    <a:pt x="123" y="96"/>
                  </a:lnTo>
                  <a:lnTo>
                    <a:pt x="122" y="97"/>
                  </a:lnTo>
                  <a:lnTo>
                    <a:pt x="121" y="101"/>
                  </a:lnTo>
                  <a:lnTo>
                    <a:pt x="120" y="102"/>
                  </a:lnTo>
                  <a:lnTo>
                    <a:pt x="120" y="103"/>
                  </a:lnTo>
                  <a:lnTo>
                    <a:pt x="119" y="104"/>
                  </a:lnTo>
                  <a:lnTo>
                    <a:pt x="119" y="106"/>
                  </a:lnTo>
                  <a:lnTo>
                    <a:pt x="119" y="107"/>
                  </a:lnTo>
                  <a:lnTo>
                    <a:pt x="120" y="112"/>
                  </a:lnTo>
                  <a:lnTo>
                    <a:pt x="120" y="116"/>
                  </a:lnTo>
                  <a:lnTo>
                    <a:pt x="120" y="118"/>
                  </a:lnTo>
                  <a:lnTo>
                    <a:pt x="120" y="120"/>
                  </a:lnTo>
                  <a:lnTo>
                    <a:pt x="120" y="121"/>
                  </a:lnTo>
                  <a:lnTo>
                    <a:pt x="119" y="122"/>
                  </a:lnTo>
                  <a:lnTo>
                    <a:pt x="119" y="124"/>
                  </a:lnTo>
                  <a:lnTo>
                    <a:pt x="119" y="125"/>
                  </a:lnTo>
                  <a:lnTo>
                    <a:pt x="118" y="126"/>
                  </a:lnTo>
                  <a:lnTo>
                    <a:pt x="118" y="127"/>
                  </a:lnTo>
                  <a:lnTo>
                    <a:pt x="117" y="128"/>
                  </a:lnTo>
                  <a:lnTo>
                    <a:pt x="116" y="130"/>
                  </a:lnTo>
                  <a:lnTo>
                    <a:pt x="115" y="130"/>
                  </a:lnTo>
                  <a:lnTo>
                    <a:pt x="110" y="137"/>
                  </a:lnTo>
                  <a:lnTo>
                    <a:pt x="109" y="138"/>
                  </a:lnTo>
                  <a:lnTo>
                    <a:pt x="108" y="140"/>
                  </a:lnTo>
                  <a:lnTo>
                    <a:pt x="107" y="141"/>
                  </a:lnTo>
                  <a:lnTo>
                    <a:pt x="106" y="143"/>
                  </a:lnTo>
                  <a:lnTo>
                    <a:pt x="105" y="145"/>
                  </a:lnTo>
                  <a:lnTo>
                    <a:pt x="104" y="146"/>
                  </a:lnTo>
                  <a:lnTo>
                    <a:pt x="104" y="147"/>
                  </a:lnTo>
                  <a:lnTo>
                    <a:pt x="104" y="148"/>
                  </a:lnTo>
                  <a:lnTo>
                    <a:pt x="104" y="149"/>
                  </a:lnTo>
                  <a:lnTo>
                    <a:pt x="103" y="150"/>
                  </a:lnTo>
                  <a:lnTo>
                    <a:pt x="103" y="154"/>
                  </a:lnTo>
                  <a:lnTo>
                    <a:pt x="102" y="158"/>
                  </a:lnTo>
                  <a:lnTo>
                    <a:pt x="102" y="158"/>
                  </a:lnTo>
                  <a:lnTo>
                    <a:pt x="102" y="159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5" y="164"/>
                  </a:lnTo>
                  <a:lnTo>
                    <a:pt x="109" y="168"/>
                  </a:lnTo>
                  <a:lnTo>
                    <a:pt x="110" y="169"/>
                  </a:lnTo>
                  <a:lnTo>
                    <a:pt x="110" y="170"/>
                  </a:lnTo>
                  <a:lnTo>
                    <a:pt x="111" y="170"/>
                  </a:lnTo>
                  <a:lnTo>
                    <a:pt x="111" y="171"/>
                  </a:lnTo>
                  <a:lnTo>
                    <a:pt x="111" y="172"/>
                  </a:lnTo>
                  <a:lnTo>
                    <a:pt x="112" y="172"/>
                  </a:lnTo>
                  <a:lnTo>
                    <a:pt x="112" y="173"/>
                  </a:lnTo>
                  <a:lnTo>
                    <a:pt x="112" y="174"/>
                  </a:lnTo>
                  <a:lnTo>
                    <a:pt x="112" y="174"/>
                  </a:lnTo>
                  <a:lnTo>
                    <a:pt x="112" y="175"/>
                  </a:lnTo>
                  <a:lnTo>
                    <a:pt x="112" y="176"/>
                  </a:lnTo>
                  <a:lnTo>
                    <a:pt x="112" y="177"/>
                  </a:lnTo>
                  <a:lnTo>
                    <a:pt x="111" y="178"/>
                  </a:lnTo>
                  <a:lnTo>
                    <a:pt x="110" y="179"/>
                  </a:lnTo>
                  <a:lnTo>
                    <a:pt x="110" y="180"/>
                  </a:lnTo>
                  <a:lnTo>
                    <a:pt x="109" y="181"/>
                  </a:lnTo>
                  <a:lnTo>
                    <a:pt x="107" y="184"/>
                  </a:lnTo>
                  <a:lnTo>
                    <a:pt x="106" y="186"/>
                  </a:lnTo>
                  <a:lnTo>
                    <a:pt x="105" y="188"/>
                  </a:lnTo>
                  <a:lnTo>
                    <a:pt x="104" y="188"/>
                  </a:lnTo>
                  <a:lnTo>
                    <a:pt x="104" y="189"/>
                  </a:lnTo>
                  <a:lnTo>
                    <a:pt x="104" y="189"/>
                  </a:lnTo>
                  <a:lnTo>
                    <a:pt x="104" y="190"/>
                  </a:lnTo>
                  <a:lnTo>
                    <a:pt x="104" y="191"/>
                  </a:lnTo>
                  <a:lnTo>
                    <a:pt x="104" y="193"/>
                  </a:lnTo>
                  <a:lnTo>
                    <a:pt x="104" y="194"/>
                  </a:lnTo>
                  <a:lnTo>
                    <a:pt x="104" y="195"/>
                  </a:lnTo>
                  <a:lnTo>
                    <a:pt x="103" y="196"/>
                  </a:lnTo>
                  <a:lnTo>
                    <a:pt x="103" y="197"/>
                  </a:lnTo>
                  <a:lnTo>
                    <a:pt x="102" y="199"/>
                  </a:lnTo>
                  <a:lnTo>
                    <a:pt x="101" y="202"/>
                  </a:lnTo>
                  <a:lnTo>
                    <a:pt x="100" y="203"/>
                  </a:lnTo>
                  <a:lnTo>
                    <a:pt x="100" y="204"/>
                  </a:lnTo>
                  <a:lnTo>
                    <a:pt x="100" y="205"/>
                  </a:lnTo>
                  <a:lnTo>
                    <a:pt x="100" y="206"/>
                  </a:lnTo>
                  <a:lnTo>
                    <a:pt x="100" y="207"/>
                  </a:lnTo>
                  <a:lnTo>
                    <a:pt x="100" y="207"/>
                  </a:lnTo>
                  <a:lnTo>
                    <a:pt x="100" y="208"/>
                  </a:lnTo>
                  <a:lnTo>
                    <a:pt x="100" y="208"/>
                  </a:lnTo>
                  <a:lnTo>
                    <a:pt x="100" y="209"/>
                  </a:lnTo>
                  <a:lnTo>
                    <a:pt x="101" y="211"/>
                  </a:lnTo>
                  <a:lnTo>
                    <a:pt x="102" y="212"/>
                  </a:lnTo>
                  <a:lnTo>
                    <a:pt x="103" y="213"/>
                  </a:lnTo>
                  <a:lnTo>
                    <a:pt x="103" y="213"/>
                  </a:lnTo>
                  <a:lnTo>
                    <a:pt x="105" y="215"/>
                  </a:lnTo>
                  <a:lnTo>
                    <a:pt x="106" y="218"/>
                  </a:lnTo>
                  <a:lnTo>
                    <a:pt x="107" y="218"/>
                  </a:lnTo>
                  <a:lnTo>
                    <a:pt x="108" y="219"/>
                  </a:lnTo>
                  <a:lnTo>
                    <a:pt x="109" y="220"/>
                  </a:lnTo>
                  <a:lnTo>
                    <a:pt x="109" y="220"/>
                  </a:lnTo>
                  <a:lnTo>
                    <a:pt x="110" y="220"/>
                  </a:lnTo>
                  <a:lnTo>
                    <a:pt x="110" y="221"/>
                  </a:lnTo>
                  <a:lnTo>
                    <a:pt x="111" y="221"/>
                  </a:lnTo>
                  <a:lnTo>
                    <a:pt x="112" y="221"/>
                  </a:lnTo>
                  <a:lnTo>
                    <a:pt x="113" y="220"/>
                  </a:lnTo>
                  <a:lnTo>
                    <a:pt x="115" y="220"/>
                  </a:lnTo>
                  <a:lnTo>
                    <a:pt x="116" y="220"/>
                  </a:lnTo>
                  <a:lnTo>
                    <a:pt x="117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20" y="219"/>
                  </a:lnTo>
                  <a:lnTo>
                    <a:pt x="120" y="220"/>
                  </a:lnTo>
                  <a:lnTo>
                    <a:pt x="120" y="220"/>
                  </a:lnTo>
                  <a:lnTo>
                    <a:pt x="120" y="221"/>
                  </a:lnTo>
                  <a:lnTo>
                    <a:pt x="120" y="222"/>
                  </a:lnTo>
                  <a:lnTo>
                    <a:pt x="120" y="224"/>
                  </a:lnTo>
                  <a:lnTo>
                    <a:pt x="119" y="227"/>
                  </a:lnTo>
                  <a:lnTo>
                    <a:pt x="119" y="228"/>
                  </a:lnTo>
                  <a:lnTo>
                    <a:pt x="119" y="229"/>
                  </a:lnTo>
                  <a:lnTo>
                    <a:pt x="119" y="230"/>
                  </a:lnTo>
                  <a:lnTo>
                    <a:pt x="120" y="231"/>
                  </a:lnTo>
                  <a:lnTo>
                    <a:pt x="120" y="231"/>
                  </a:lnTo>
                  <a:lnTo>
                    <a:pt x="120" y="232"/>
                  </a:lnTo>
                  <a:lnTo>
                    <a:pt x="120" y="232"/>
                  </a:lnTo>
                  <a:lnTo>
                    <a:pt x="121" y="232"/>
                  </a:lnTo>
                  <a:lnTo>
                    <a:pt x="121" y="233"/>
                  </a:lnTo>
                  <a:lnTo>
                    <a:pt x="122" y="233"/>
                  </a:lnTo>
                  <a:lnTo>
                    <a:pt x="122" y="233"/>
                  </a:lnTo>
                  <a:lnTo>
                    <a:pt x="123" y="233"/>
                  </a:lnTo>
                  <a:lnTo>
                    <a:pt x="127" y="233"/>
                  </a:lnTo>
                  <a:lnTo>
                    <a:pt x="130" y="233"/>
                  </a:lnTo>
                  <a:lnTo>
                    <a:pt x="131" y="233"/>
                  </a:lnTo>
                  <a:lnTo>
                    <a:pt x="132" y="232"/>
                  </a:lnTo>
                  <a:lnTo>
                    <a:pt x="132" y="232"/>
                  </a:lnTo>
                  <a:lnTo>
                    <a:pt x="133" y="232"/>
                  </a:lnTo>
                  <a:lnTo>
                    <a:pt x="133" y="231"/>
                  </a:lnTo>
                  <a:lnTo>
                    <a:pt x="134" y="230"/>
                  </a:lnTo>
                  <a:lnTo>
                    <a:pt x="135" y="229"/>
                  </a:lnTo>
                  <a:lnTo>
                    <a:pt x="136" y="228"/>
                  </a:lnTo>
                  <a:lnTo>
                    <a:pt x="137" y="227"/>
                  </a:lnTo>
                  <a:lnTo>
                    <a:pt x="138" y="226"/>
                  </a:lnTo>
                  <a:lnTo>
                    <a:pt x="141" y="224"/>
                  </a:lnTo>
                  <a:lnTo>
                    <a:pt x="144" y="221"/>
                  </a:lnTo>
                  <a:lnTo>
                    <a:pt x="145" y="220"/>
                  </a:lnTo>
                  <a:lnTo>
                    <a:pt x="147" y="219"/>
                  </a:lnTo>
                  <a:lnTo>
                    <a:pt x="148" y="218"/>
                  </a:lnTo>
                  <a:lnTo>
                    <a:pt x="149" y="218"/>
                  </a:lnTo>
                  <a:lnTo>
                    <a:pt x="150" y="218"/>
                  </a:lnTo>
                  <a:lnTo>
                    <a:pt x="151" y="217"/>
                  </a:lnTo>
                  <a:lnTo>
                    <a:pt x="153" y="216"/>
                  </a:lnTo>
                  <a:lnTo>
                    <a:pt x="154" y="216"/>
                  </a:lnTo>
                  <a:lnTo>
                    <a:pt x="154" y="216"/>
                  </a:lnTo>
                  <a:lnTo>
                    <a:pt x="156" y="215"/>
                  </a:lnTo>
                  <a:lnTo>
                    <a:pt x="158" y="215"/>
                  </a:lnTo>
                  <a:lnTo>
                    <a:pt x="159" y="215"/>
                  </a:lnTo>
                  <a:lnTo>
                    <a:pt x="160" y="215"/>
                  </a:lnTo>
                  <a:lnTo>
                    <a:pt x="161" y="215"/>
                  </a:lnTo>
                  <a:lnTo>
                    <a:pt x="161" y="215"/>
                  </a:lnTo>
                  <a:lnTo>
                    <a:pt x="162" y="216"/>
                  </a:lnTo>
                  <a:lnTo>
                    <a:pt x="163" y="216"/>
                  </a:lnTo>
                  <a:lnTo>
                    <a:pt x="163" y="217"/>
                  </a:lnTo>
                  <a:lnTo>
                    <a:pt x="164" y="217"/>
                  </a:lnTo>
                  <a:lnTo>
                    <a:pt x="165" y="218"/>
                  </a:lnTo>
                  <a:lnTo>
                    <a:pt x="165" y="218"/>
                  </a:lnTo>
                  <a:lnTo>
                    <a:pt x="166" y="219"/>
                  </a:lnTo>
                  <a:lnTo>
                    <a:pt x="166" y="220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2"/>
                  </a:lnTo>
                  <a:lnTo>
                    <a:pt x="166" y="224"/>
                  </a:lnTo>
                  <a:lnTo>
                    <a:pt x="165" y="226"/>
                  </a:lnTo>
                  <a:lnTo>
                    <a:pt x="164" y="230"/>
                  </a:lnTo>
                  <a:lnTo>
                    <a:pt x="164" y="233"/>
                  </a:lnTo>
                  <a:lnTo>
                    <a:pt x="164" y="233"/>
                  </a:lnTo>
                  <a:lnTo>
                    <a:pt x="164" y="234"/>
                  </a:lnTo>
                  <a:lnTo>
                    <a:pt x="164" y="235"/>
                  </a:lnTo>
                  <a:lnTo>
                    <a:pt x="164" y="236"/>
                  </a:lnTo>
                  <a:lnTo>
                    <a:pt x="165" y="237"/>
                  </a:lnTo>
                  <a:lnTo>
                    <a:pt x="165" y="239"/>
                  </a:lnTo>
                  <a:lnTo>
                    <a:pt x="166" y="240"/>
                  </a:lnTo>
                  <a:lnTo>
                    <a:pt x="167" y="241"/>
                  </a:lnTo>
                  <a:lnTo>
                    <a:pt x="168" y="242"/>
                  </a:lnTo>
                  <a:lnTo>
                    <a:pt x="168" y="242"/>
                  </a:lnTo>
                  <a:lnTo>
                    <a:pt x="169" y="242"/>
                  </a:lnTo>
                  <a:lnTo>
                    <a:pt x="169" y="242"/>
                  </a:lnTo>
                  <a:lnTo>
                    <a:pt x="170" y="242"/>
                  </a:lnTo>
                  <a:lnTo>
                    <a:pt x="170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72" y="241"/>
                  </a:lnTo>
                  <a:lnTo>
                    <a:pt x="173" y="239"/>
                  </a:lnTo>
                  <a:lnTo>
                    <a:pt x="174" y="238"/>
                  </a:lnTo>
                  <a:lnTo>
                    <a:pt x="174" y="238"/>
                  </a:lnTo>
                  <a:lnTo>
                    <a:pt x="176" y="236"/>
                  </a:lnTo>
                  <a:lnTo>
                    <a:pt x="177" y="235"/>
                  </a:lnTo>
                  <a:lnTo>
                    <a:pt x="177" y="234"/>
                  </a:lnTo>
                  <a:lnTo>
                    <a:pt x="177" y="234"/>
                  </a:lnTo>
                  <a:lnTo>
                    <a:pt x="178" y="233"/>
                  </a:lnTo>
                  <a:lnTo>
                    <a:pt x="178" y="232"/>
                  </a:lnTo>
                  <a:lnTo>
                    <a:pt x="179" y="231"/>
                  </a:lnTo>
                  <a:lnTo>
                    <a:pt x="179" y="231"/>
                  </a:lnTo>
                  <a:lnTo>
                    <a:pt x="180" y="230"/>
                  </a:lnTo>
                  <a:lnTo>
                    <a:pt x="180" y="230"/>
                  </a:lnTo>
                  <a:lnTo>
                    <a:pt x="182" y="229"/>
                  </a:lnTo>
                  <a:lnTo>
                    <a:pt x="182" y="229"/>
                  </a:lnTo>
                  <a:lnTo>
                    <a:pt x="183" y="228"/>
                  </a:lnTo>
                  <a:lnTo>
                    <a:pt x="184" y="228"/>
                  </a:lnTo>
                  <a:lnTo>
                    <a:pt x="184" y="228"/>
                  </a:lnTo>
                  <a:lnTo>
                    <a:pt x="184" y="228"/>
                  </a:lnTo>
                  <a:lnTo>
                    <a:pt x="185" y="228"/>
                  </a:lnTo>
                  <a:lnTo>
                    <a:pt x="185" y="228"/>
                  </a:lnTo>
                  <a:lnTo>
                    <a:pt x="186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8" y="228"/>
                  </a:lnTo>
                  <a:lnTo>
                    <a:pt x="189" y="228"/>
                  </a:lnTo>
                  <a:lnTo>
                    <a:pt x="189" y="227"/>
                  </a:lnTo>
                  <a:lnTo>
                    <a:pt x="190" y="226"/>
                  </a:lnTo>
                  <a:lnTo>
                    <a:pt x="191" y="225"/>
                  </a:lnTo>
                  <a:lnTo>
                    <a:pt x="191" y="225"/>
                  </a:lnTo>
                  <a:lnTo>
                    <a:pt x="191" y="224"/>
                  </a:lnTo>
                  <a:lnTo>
                    <a:pt x="192" y="224"/>
                  </a:lnTo>
                  <a:lnTo>
                    <a:pt x="192" y="223"/>
                  </a:lnTo>
                  <a:lnTo>
                    <a:pt x="192" y="222"/>
                  </a:lnTo>
                  <a:lnTo>
                    <a:pt x="192" y="221"/>
                  </a:lnTo>
                  <a:lnTo>
                    <a:pt x="191" y="220"/>
                  </a:lnTo>
                  <a:lnTo>
                    <a:pt x="190" y="213"/>
                  </a:lnTo>
                  <a:lnTo>
                    <a:pt x="189" y="212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90" y="210"/>
                  </a:lnTo>
                  <a:lnTo>
                    <a:pt x="190" y="209"/>
                  </a:lnTo>
                  <a:lnTo>
                    <a:pt x="191" y="209"/>
                  </a:lnTo>
                  <a:lnTo>
                    <a:pt x="191" y="209"/>
                  </a:lnTo>
                  <a:lnTo>
                    <a:pt x="192" y="209"/>
                  </a:lnTo>
                  <a:lnTo>
                    <a:pt x="193" y="209"/>
                  </a:lnTo>
                  <a:lnTo>
                    <a:pt x="194" y="209"/>
                  </a:lnTo>
                  <a:lnTo>
                    <a:pt x="194" y="209"/>
                  </a:lnTo>
                  <a:lnTo>
                    <a:pt x="195" y="210"/>
                  </a:lnTo>
                  <a:lnTo>
                    <a:pt x="195" y="210"/>
                  </a:lnTo>
                  <a:lnTo>
                    <a:pt x="195" y="210"/>
                  </a:lnTo>
                  <a:lnTo>
                    <a:pt x="196" y="211"/>
                  </a:lnTo>
                  <a:lnTo>
                    <a:pt x="197" y="214"/>
                  </a:lnTo>
                  <a:lnTo>
                    <a:pt x="198" y="216"/>
                  </a:lnTo>
                  <a:lnTo>
                    <a:pt x="199" y="218"/>
                  </a:lnTo>
                  <a:lnTo>
                    <a:pt x="199" y="219"/>
                  </a:lnTo>
                  <a:lnTo>
                    <a:pt x="200" y="220"/>
                  </a:lnTo>
                  <a:lnTo>
                    <a:pt x="200" y="222"/>
                  </a:lnTo>
                  <a:lnTo>
                    <a:pt x="200" y="224"/>
                  </a:lnTo>
                  <a:lnTo>
                    <a:pt x="200" y="224"/>
                  </a:lnTo>
                  <a:lnTo>
                    <a:pt x="200" y="226"/>
                  </a:lnTo>
                  <a:lnTo>
                    <a:pt x="200" y="227"/>
                  </a:lnTo>
                  <a:lnTo>
                    <a:pt x="201" y="229"/>
                  </a:lnTo>
                  <a:lnTo>
                    <a:pt x="201" y="230"/>
                  </a:lnTo>
                  <a:lnTo>
                    <a:pt x="203" y="232"/>
                  </a:lnTo>
                  <a:lnTo>
                    <a:pt x="203" y="233"/>
                  </a:lnTo>
                  <a:lnTo>
                    <a:pt x="204" y="234"/>
                  </a:lnTo>
                  <a:lnTo>
                    <a:pt x="204" y="234"/>
                  </a:lnTo>
                  <a:lnTo>
                    <a:pt x="204" y="235"/>
                  </a:lnTo>
                  <a:lnTo>
                    <a:pt x="205" y="236"/>
                  </a:lnTo>
                  <a:lnTo>
                    <a:pt x="205" y="236"/>
                  </a:lnTo>
                  <a:lnTo>
                    <a:pt x="205" y="238"/>
                  </a:lnTo>
                  <a:lnTo>
                    <a:pt x="205" y="239"/>
                  </a:lnTo>
                  <a:lnTo>
                    <a:pt x="205" y="240"/>
                  </a:lnTo>
                  <a:lnTo>
                    <a:pt x="206" y="241"/>
                  </a:lnTo>
                  <a:lnTo>
                    <a:pt x="206" y="242"/>
                  </a:lnTo>
                  <a:lnTo>
                    <a:pt x="206" y="242"/>
                  </a:lnTo>
                  <a:lnTo>
                    <a:pt x="209" y="245"/>
                  </a:lnTo>
                  <a:lnTo>
                    <a:pt x="210" y="246"/>
                  </a:lnTo>
                  <a:lnTo>
                    <a:pt x="211" y="247"/>
                  </a:lnTo>
                  <a:lnTo>
                    <a:pt x="212" y="249"/>
                  </a:lnTo>
                  <a:lnTo>
                    <a:pt x="212" y="250"/>
                  </a:lnTo>
                  <a:lnTo>
                    <a:pt x="213" y="251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5" y="253"/>
                  </a:lnTo>
                  <a:lnTo>
                    <a:pt x="216" y="253"/>
                  </a:lnTo>
                  <a:lnTo>
                    <a:pt x="218" y="254"/>
                  </a:lnTo>
                  <a:lnTo>
                    <a:pt x="219" y="255"/>
                  </a:lnTo>
                  <a:lnTo>
                    <a:pt x="220" y="255"/>
                  </a:lnTo>
                  <a:lnTo>
                    <a:pt x="221" y="256"/>
                  </a:lnTo>
                  <a:lnTo>
                    <a:pt x="222" y="257"/>
                  </a:lnTo>
                  <a:lnTo>
                    <a:pt x="223" y="258"/>
                  </a:lnTo>
                  <a:lnTo>
                    <a:pt x="224" y="259"/>
                  </a:lnTo>
                  <a:lnTo>
                    <a:pt x="225" y="259"/>
                  </a:lnTo>
                  <a:lnTo>
                    <a:pt x="229" y="261"/>
                  </a:lnTo>
                  <a:lnTo>
                    <a:pt x="231" y="262"/>
                  </a:lnTo>
                  <a:lnTo>
                    <a:pt x="232" y="262"/>
                  </a:lnTo>
                  <a:lnTo>
                    <a:pt x="233" y="262"/>
                  </a:lnTo>
                  <a:lnTo>
                    <a:pt x="236" y="263"/>
                  </a:lnTo>
                  <a:lnTo>
                    <a:pt x="237" y="263"/>
                  </a:lnTo>
                  <a:lnTo>
                    <a:pt x="238" y="263"/>
                  </a:lnTo>
                  <a:lnTo>
                    <a:pt x="238" y="263"/>
                  </a:lnTo>
                  <a:lnTo>
                    <a:pt x="239" y="263"/>
                  </a:lnTo>
                  <a:lnTo>
                    <a:pt x="240" y="263"/>
                  </a:lnTo>
                  <a:lnTo>
                    <a:pt x="242" y="262"/>
                  </a:lnTo>
                  <a:lnTo>
                    <a:pt x="244" y="261"/>
                  </a:lnTo>
                  <a:lnTo>
                    <a:pt x="246" y="260"/>
                  </a:lnTo>
                  <a:lnTo>
                    <a:pt x="247" y="260"/>
                  </a:lnTo>
                  <a:lnTo>
                    <a:pt x="252" y="258"/>
                  </a:lnTo>
                  <a:lnTo>
                    <a:pt x="253" y="258"/>
                  </a:lnTo>
                  <a:lnTo>
                    <a:pt x="256" y="257"/>
                  </a:lnTo>
                  <a:lnTo>
                    <a:pt x="256" y="257"/>
                  </a:lnTo>
                  <a:lnTo>
                    <a:pt x="257" y="257"/>
                  </a:lnTo>
                  <a:lnTo>
                    <a:pt x="258" y="257"/>
                  </a:lnTo>
                  <a:lnTo>
                    <a:pt x="258" y="257"/>
                  </a:lnTo>
                  <a:lnTo>
                    <a:pt x="259" y="257"/>
                  </a:lnTo>
                  <a:lnTo>
                    <a:pt x="259" y="257"/>
                  </a:lnTo>
                  <a:lnTo>
                    <a:pt x="260" y="258"/>
                  </a:lnTo>
                  <a:lnTo>
                    <a:pt x="260" y="258"/>
                  </a:lnTo>
                  <a:lnTo>
                    <a:pt x="261" y="259"/>
                  </a:lnTo>
                  <a:lnTo>
                    <a:pt x="261" y="260"/>
                  </a:lnTo>
                  <a:lnTo>
                    <a:pt x="262" y="261"/>
                  </a:lnTo>
                  <a:lnTo>
                    <a:pt x="262" y="262"/>
                  </a:lnTo>
                  <a:lnTo>
                    <a:pt x="263" y="263"/>
                  </a:lnTo>
                  <a:lnTo>
                    <a:pt x="263" y="264"/>
                  </a:lnTo>
                  <a:lnTo>
                    <a:pt x="264" y="266"/>
                  </a:lnTo>
                  <a:lnTo>
                    <a:pt x="264" y="267"/>
                  </a:lnTo>
                  <a:lnTo>
                    <a:pt x="264" y="269"/>
                  </a:lnTo>
                  <a:lnTo>
                    <a:pt x="264" y="270"/>
                  </a:lnTo>
                  <a:lnTo>
                    <a:pt x="264" y="271"/>
                  </a:lnTo>
                  <a:lnTo>
                    <a:pt x="264" y="272"/>
                  </a:lnTo>
                  <a:lnTo>
                    <a:pt x="264" y="273"/>
                  </a:lnTo>
                  <a:lnTo>
                    <a:pt x="264" y="274"/>
                  </a:lnTo>
                  <a:lnTo>
                    <a:pt x="263" y="278"/>
                  </a:lnTo>
                  <a:lnTo>
                    <a:pt x="262" y="280"/>
                  </a:lnTo>
                  <a:lnTo>
                    <a:pt x="262" y="281"/>
                  </a:lnTo>
                  <a:lnTo>
                    <a:pt x="262" y="282"/>
                  </a:lnTo>
                  <a:lnTo>
                    <a:pt x="262" y="283"/>
                  </a:lnTo>
                  <a:lnTo>
                    <a:pt x="262" y="284"/>
                  </a:lnTo>
                  <a:lnTo>
                    <a:pt x="262" y="286"/>
                  </a:lnTo>
                  <a:lnTo>
                    <a:pt x="262" y="287"/>
                  </a:lnTo>
                  <a:lnTo>
                    <a:pt x="263" y="289"/>
                  </a:lnTo>
                  <a:lnTo>
                    <a:pt x="263" y="291"/>
                  </a:lnTo>
                  <a:lnTo>
                    <a:pt x="263" y="292"/>
                  </a:lnTo>
                  <a:lnTo>
                    <a:pt x="264" y="293"/>
                  </a:lnTo>
                  <a:lnTo>
                    <a:pt x="264" y="294"/>
                  </a:lnTo>
                  <a:lnTo>
                    <a:pt x="265" y="295"/>
                  </a:lnTo>
                  <a:lnTo>
                    <a:pt x="265" y="295"/>
                  </a:lnTo>
                  <a:lnTo>
                    <a:pt x="266" y="296"/>
                  </a:lnTo>
                  <a:lnTo>
                    <a:pt x="267" y="297"/>
                  </a:lnTo>
                  <a:lnTo>
                    <a:pt x="268" y="297"/>
                  </a:lnTo>
                  <a:lnTo>
                    <a:pt x="269" y="298"/>
                  </a:lnTo>
                  <a:lnTo>
                    <a:pt x="270" y="299"/>
                  </a:lnTo>
                  <a:lnTo>
                    <a:pt x="271" y="299"/>
                  </a:lnTo>
                  <a:lnTo>
                    <a:pt x="272" y="300"/>
                  </a:lnTo>
                  <a:lnTo>
                    <a:pt x="273" y="300"/>
                  </a:lnTo>
                  <a:lnTo>
                    <a:pt x="273" y="300"/>
                  </a:lnTo>
                  <a:lnTo>
                    <a:pt x="274" y="300"/>
                  </a:lnTo>
                  <a:lnTo>
                    <a:pt x="275" y="299"/>
                  </a:lnTo>
                  <a:lnTo>
                    <a:pt x="275" y="299"/>
                  </a:lnTo>
                  <a:lnTo>
                    <a:pt x="276" y="299"/>
                  </a:lnTo>
                  <a:lnTo>
                    <a:pt x="277" y="298"/>
                  </a:lnTo>
                  <a:lnTo>
                    <a:pt x="278" y="298"/>
                  </a:lnTo>
                  <a:lnTo>
                    <a:pt x="278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80" y="297"/>
                  </a:lnTo>
                  <a:lnTo>
                    <a:pt x="280" y="298"/>
                  </a:lnTo>
                  <a:lnTo>
                    <a:pt x="281" y="298"/>
                  </a:lnTo>
                  <a:lnTo>
                    <a:pt x="282" y="299"/>
                  </a:lnTo>
                  <a:lnTo>
                    <a:pt x="282" y="300"/>
                  </a:lnTo>
                  <a:lnTo>
                    <a:pt x="283" y="301"/>
                  </a:lnTo>
                  <a:lnTo>
                    <a:pt x="285" y="302"/>
                  </a:lnTo>
                  <a:lnTo>
                    <a:pt x="286" y="304"/>
                  </a:lnTo>
                  <a:lnTo>
                    <a:pt x="286" y="305"/>
                  </a:lnTo>
                  <a:lnTo>
                    <a:pt x="287" y="306"/>
                  </a:lnTo>
                  <a:lnTo>
                    <a:pt x="288" y="308"/>
                  </a:lnTo>
                  <a:lnTo>
                    <a:pt x="289" y="309"/>
                  </a:lnTo>
                  <a:lnTo>
                    <a:pt x="290" y="311"/>
                  </a:lnTo>
                  <a:lnTo>
                    <a:pt x="291" y="312"/>
                  </a:lnTo>
                  <a:lnTo>
                    <a:pt x="291" y="313"/>
                  </a:lnTo>
                  <a:lnTo>
                    <a:pt x="292" y="313"/>
                  </a:lnTo>
                  <a:lnTo>
                    <a:pt x="293" y="314"/>
                  </a:lnTo>
                  <a:lnTo>
                    <a:pt x="300" y="320"/>
                  </a:lnTo>
                  <a:lnTo>
                    <a:pt x="302" y="320"/>
                  </a:lnTo>
                  <a:lnTo>
                    <a:pt x="303" y="322"/>
                  </a:lnTo>
                  <a:lnTo>
                    <a:pt x="306" y="325"/>
                  </a:lnTo>
                  <a:lnTo>
                    <a:pt x="308" y="327"/>
                  </a:lnTo>
                  <a:lnTo>
                    <a:pt x="309" y="328"/>
                  </a:lnTo>
                  <a:lnTo>
                    <a:pt x="311" y="330"/>
                  </a:lnTo>
                  <a:lnTo>
                    <a:pt x="312" y="332"/>
                  </a:lnTo>
                  <a:lnTo>
                    <a:pt x="314" y="335"/>
                  </a:lnTo>
                  <a:lnTo>
                    <a:pt x="315" y="338"/>
                  </a:lnTo>
                  <a:lnTo>
                    <a:pt x="316" y="339"/>
                  </a:lnTo>
                  <a:lnTo>
                    <a:pt x="316" y="339"/>
                  </a:lnTo>
                  <a:lnTo>
                    <a:pt x="316" y="340"/>
                  </a:lnTo>
                  <a:lnTo>
                    <a:pt x="316" y="341"/>
                  </a:lnTo>
                  <a:lnTo>
                    <a:pt x="316" y="341"/>
                  </a:lnTo>
                  <a:lnTo>
                    <a:pt x="316" y="342"/>
                  </a:lnTo>
                  <a:lnTo>
                    <a:pt x="316" y="343"/>
                  </a:lnTo>
                  <a:lnTo>
                    <a:pt x="315" y="344"/>
                  </a:lnTo>
                  <a:lnTo>
                    <a:pt x="315" y="345"/>
                  </a:lnTo>
                  <a:lnTo>
                    <a:pt x="314" y="346"/>
                  </a:lnTo>
                  <a:lnTo>
                    <a:pt x="314" y="347"/>
                  </a:lnTo>
                  <a:lnTo>
                    <a:pt x="314" y="347"/>
                  </a:lnTo>
                  <a:lnTo>
                    <a:pt x="314" y="348"/>
                  </a:lnTo>
                  <a:lnTo>
                    <a:pt x="315" y="349"/>
                  </a:lnTo>
                  <a:lnTo>
                    <a:pt x="315" y="350"/>
                  </a:lnTo>
                  <a:lnTo>
                    <a:pt x="316" y="350"/>
                  </a:lnTo>
                  <a:lnTo>
                    <a:pt x="316" y="351"/>
                  </a:lnTo>
                  <a:lnTo>
                    <a:pt x="316" y="351"/>
                  </a:lnTo>
                  <a:lnTo>
                    <a:pt x="317" y="351"/>
                  </a:lnTo>
                  <a:lnTo>
                    <a:pt x="318" y="351"/>
                  </a:lnTo>
                  <a:lnTo>
                    <a:pt x="318" y="351"/>
                  </a:lnTo>
                  <a:lnTo>
                    <a:pt x="318" y="351"/>
                  </a:lnTo>
                  <a:lnTo>
                    <a:pt x="319" y="351"/>
                  </a:lnTo>
                  <a:lnTo>
                    <a:pt x="321" y="349"/>
                  </a:lnTo>
                  <a:lnTo>
                    <a:pt x="322" y="348"/>
                  </a:lnTo>
                  <a:lnTo>
                    <a:pt x="323" y="347"/>
                  </a:lnTo>
                  <a:lnTo>
                    <a:pt x="324" y="347"/>
                  </a:lnTo>
                  <a:lnTo>
                    <a:pt x="325" y="347"/>
                  </a:lnTo>
                  <a:lnTo>
                    <a:pt x="326" y="346"/>
                  </a:lnTo>
                  <a:lnTo>
                    <a:pt x="326" y="346"/>
                  </a:lnTo>
                  <a:lnTo>
                    <a:pt x="327" y="346"/>
                  </a:lnTo>
                  <a:lnTo>
                    <a:pt x="327" y="347"/>
                  </a:lnTo>
                  <a:lnTo>
                    <a:pt x="328" y="347"/>
                  </a:lnTo>
                  <a:lnTo>
                    <a:pt x="328" y="347"/>
                  </a:lnTo>
                  <a:lnTo>
                    <a:pt x="328" y="347"/>
                  </a:lnTo>
                  <a:lnTo>
                    <a:pt x="329" y="348"/>
                  </a:lnTo>
                  <a:lnTo>
                    <a:pt x="330" y="349"/>
                  </a:lnTo>
                  <a:lnTo>
                    <a:pt x="331" y="350"/>
                  </a:lnTo>
                  <a:lnTo>
                    <a:pt x="331" y="351"/>
                  </a:lnTo>
                  <a:lnTo>
                    <a:pt x="333" y="354"/>
                  </a:lnTo>
                  <a:lnTo>
                    <a:pt x="334" y="357"/>
                  </a:lnTo>
                  <a:lnTo>
                    <a:pt x="334" y="357"/>
                  </a:lnTo>
                  <a:lnTo>
                    <a:pt x="334" y="358"/>
                  </a:lnTo>
                  <a:lnTo>
                    <a:pt x="334" y="358"/>
                  </a:lnTo>
                  <a:lnTo>
                    <a:pt x="334" y="359"/>
                  </a:lnTo>
                  <a:lnTo>
                    <a:pt x="334" y="359"/>
                  </a:lnTo>
                  <a:lnTo>
                    <a:pt x="333" y="360"/>
                  </a:lnTo>
                  <a:lnTo>
                    <a:pt x="333" y="361"/>
                  </a:lnTo>
                  <a:lnTo>
                    <a:pt x="332" y="362"/>
                  </a:lnTo>
                  <a:lnTo>
                    <a:pt x="331" y="364"/>
                  </a:lnTo>
                  <a:lnTo>
                    <a:pt x="330" y="365"/>
                  </a:lnTo>
                  <a:lnTo>
                    <a:pt x="330" y="366"/>
                  </a:lnTo>
                  <a:lnTo>
                    <a:pt x="329" y="367"/>
                  </a:lnTo>
                  <a:lnTo>
                    <a:pt x="329" y="367"/>
                  </a:lnTo>
                  <a:lnTo>
                    <a:pt x="328" y="368"/>
                  </a:lnTo>
                  <a:lnTo>
                    <a:pt x="327" y="368"/>
                  </a:lnTo>
                  <a:lnTo>
                    <a:pt x="327" y="368"/>
                  </a:lnTo>
                  <a:lnTo>
                    <a:pt x="326" y="369"/>
                  </a:lnTo>
                  <a:lnTo>
                    <a:pt x="326" y="369"/>
                  </a:lnTo>
                  <a:lnTo>
                    <a:pt x="325" y="369"/>
                  </a:lnTo>
                  <a:lnTo>
                    <a:pt x="324" y="369"/>
                  </a:lnTo>
                  <a:lnTo>
                    <a:pt x="324" y="369"/>
                  </a:lnTo>
                  <a:lnTo>
                    <a:pt x="323" y="369"/>
                  </a:lnTo>
                  <a:lnTo>
                    <a:pt x="322" y="369"/>
                  </a:lnTo>
                  <a:lnTo>
                    <a:pt x="320" y="368"/>
                  </a:lnTo>
                  <a:lnTo>
                    <a:pt x="317" y="368"/>
                  </a:lnTo>
                  <a:lnTo>
                    <a:pt x="316" y="367"/>
                  </a:lnTo>
                  <a:lnTo>
                    <a:pt x="315" y="367"/>
                  </a:lnTo>
                  <a:lnTo>
                    <a:pt x="314" y="367"/>
                  </a:lnTo>
                  <a:lnTo>
                    <a:pt x="313" y="367"/>
                  </a:lnTo>
                  <a:lnTo>
                    <a:pt x="313" y="367"/>
                  </a:lnTo>
                  <a:lnTo>
                    <a:pt x="313" y="368"/>
                  </a:lnTo>
                  <a:lnTo>
                    <a:pt x="312" y="369"/>
                  </a:lnTo>
                  <a:lnTo>
                    <a:pt x="311" y="370"/>
                  </a:lnTo>
                  <a:lnTo>
                    <a:pt x="310" y="372"/>
                  </a:lnTo>
                  <a:lnTo>
                    <a:pt x="310" y="372"/>
                  </a:lnTo>
                  <a:lnTo>
                    <a:pt x="309" y="373"/>
                  </a:lnTo>
                  <a:lnTo>
                    <a:pt x="309" y="374"/>
                  </a:lnTo>
                  <a:lnTo>
                    <a:pt x="308" y="374"/>
                  </a:lnTo>
                  <a:lnTo>
                    <a:pt x="307" y="375"/>
                  </a:lnTo>
                  <a:lnTo>
                    <a:pt x="305" y="376"/>
                  </a:lnTo>
                  <a:lnTo>
                    <a:pt x="304" y="377"/>
                  </a:lnTo>
                  <a:lnTo>
                    <a:pt x="303" y="378"/>
                  </a:lnTo>
                  <a:lnTo>
                    <a:pt x="302" y="380"/>
                  </a:lnTo>
                  <a:lnTo>
                    <a:pt x="300" y="382"/>
                  </a:lnTo>
                  <a:lnTo>
                    <a:pt x="299" y="382"/>
                  </a:lnTo>
                  <a:lnTo>
                    <a:pt x="299" y="383"/>
                  </a:lnTo>
                  <a:lnTo>
                    <a:pt x="299" y="384"/>
                  </a:lnTo>
                  <a:lnTo>
                    <a:pt x="299" y="384"/>
                  </a:lnTo>
                  <a:lnTo>
                    <a:pt x="298" y="385"/>
                  </a:lnTo>
                  <a:lnTo>
                    <a:pt x="298" y="388"/>
                  </a:lnTo>
                  <a:lnTo>
                    <a:pt x="298" y="389"/>
                  </a:lnTo>
                  <a:lnTo>
                    <a:pt x="298" y="390"/>
                  </a:lnTo>
                  <a:lnTo>
                    <a:pt x="298" y="392"/>
                  </a:lnTo>
                  <a:lnTo>
                    <a:pt x="297" y="393"/>
                  </a:lnTo>
                  <a:lnTo>
                    <a:pt x="296" y="396"/>
                  </a:lnTo>
                  <a:lnTo>
                    <a:pt x="295" y="399"/>
                  </a:lnTo>
                  <a:lnTo>
                    <a:pt x="294" y="402"/>
                  </a:lnTo>
                  <a:lnTo>
                    <a:pt x="293" y="402"/>
                  </a:lnTo>
                  <a:lnTo>
                    <a:pt x="293" y="403"/>
                  </a:lnTo>
                  <a:lnTo>
                    <a:pt x="292" y="403"/>
                  </a:lnTo>
                  <a:lnTo>
                    <a:pt x="292" y="404"/>
                  </a:lnTo>
                  <a:lnTo>
                    <a:pt x="291" y="404"/>
                  </a:lnTo>
                  <a:lnTo>
                    <a:pt x="291" y="404"/>
                  </a:lnTo>
                  <a:lnTo>
                    <a:pt x="290" y="405"/>
                  </a:lnTo>
                  <a:lnTo>
                    <a:pt x="287" y="406"/>
                  </a:lnTo>
                  <a:lnTo>
                    <a:pt x="285" y="406"/>
                  </a:lnTo>
                  <a:lnTo>
                    <a:pt x="284" y="406"/>
                  </a:lnTo>
                  <a:lnTo>
                    <a:pt x="283" y="406"/>
                  </a:lnTo>
                  <a:lnTo>
                    <a:pt x="281" y="406"/>
                  </a:lnTo>
                  <a:lnTo>
                    <a:pt x="280" y="406"/>
                  </a:lnTo>
                  <a:lnTo>
                    <a:pt x="279" y="405"/>
                  </a:lnTo>
                  <a:lnTo>
                    <a:pt x="278" y="405"/>
                  </a:lnTo>
                  <a:lnTo>
                    <a:pt x="277" y="404"/>
                  </a:lnTo>
                  <a:lnTo>
                    <a:pt x="276" y="404"/>
                  </a:lnTo>
                  <a:lnTo>
                    <a:pt x="275" y="403"/>
                  </a:lnTo>
                  <a:lnTo>
                    <a:pt x="275" y="403"/>
                  </a:lnTo>
                  <a:lnTo>
                    <a:pt x="273" y="401"/>
                  </a:lnTo>
                  <a:lnTo>
                    <a:pt x="272" y="400"/>
                  </a:lnTo>
                  <a:lnTo>
                    <a:pt x="271" y="399"/>
                  </a:lnTo>
                  <a:lnTo>
                    <a:pt x="270" y="398"/>
                  </a:lnTo>
                  <a:lnTo>
                    <a:pt x="269" y="398"/>
                  </a:lnTo>
                  <a:lnTo>
                    <a:pt x="268" y="397"/>
                  </a:lnTo>
                  <a:lnTo>
                    <a:pt x="267" y="397"/>
                  </a:lnTo>
                  <a:lnTo>
                    <a:pt x="266" y="397"/>
                  </a:lnTo>
                  <a:lnTo>
                    <a:pt x="265" y="397"/>
                  </a:lnTo>
                  <a:lnTo>
                    <a:pt x="265" y="397"/>
                  </a:lnTo>
                  <a:lnTo>
                    <a:pt x="264" y="398"/>
                  </a:lnTo>
                  <a:lnTo>
                    <a:pt x="263" y="398"/>
                  </a:lnTo>
                  <a:lnTo>
                    <a:pt x="263" y="398"/>
                  </a:lnTo>
                  <a:lnTo>
                    <a:pt x="262" y="399"/>
                  </a:lnTo>
                  <a:lnTo>
                    <a:pt x="261" y="402"/>
                  </a:lnTo>
                  <a:lnTo>
                    <a:pt x="260" y="402"/>
                  </a:lnTo>
                  <a:lnTo>
                    <a:pt x="260" y="402"/>
                  </a:lnTo>
                  <a:lnTo>
                    <a:pt x="260" y="403"/>
                  </a:lnTo>
                  <a:lnTo>
                    <a:pt x="259" y="403"/>
                  </a:lnTo>
                  <a:lnTo>
                    <a:pt x="259" y="403"/>
                  </a:lnTo>
                  <a:lnTo>
                    <a:pt x="259" y="403"/>
                  </a:lnTo>
                  <a:lnTo>
                    <a:pt x="258" y="403"/>
                  </a:lnTo>
                  <a:lnTo>
                    <a:pt x="257" y="403"/>
                  </a:lnTo>
                  <a:lnTo>
                    <a:pt x="256" y="403"/>
                  </a:lnTo>
                  <a:lnTo>
                    <a:pt x="255" y="403"/>
                  </a:lnTo>
                  <a:lnTo>
                    <a:pt x="254" y="402"/>
                  </a:lnTo>
                  <a:lnTo>
                    <a:pt x="254" y="402"/>
                  </a:lnTo>
                  <a:lnTo>
                    <a:pt x="253" y="402"/>
                  </a:lnTo>
                  <a:lnTo>
                    <a:pt x="252" y="403"/>
                  </a:lnTo>
                  <a:lnTo>
                    <a:pt x="251" y="403"/>
                  </a:lnTo>
                  <a:lnTo>
                    <a:pt x="251" y="403"/>
                  </a:lnTo>
                  <a:lnTo>
                    <a:pt x="250" y="403"/>
                  </a:lnTo>
                  <a:lnTo>
                    <a:pt x="250" y="403"/>
                  </a:lnTo>
                  <a:lnTo>
                    <a:pt x="250" y="403"/>
                  </a:lnTo>
                  <a:lnTo>
                    <a:pt x="250" y="404"/>
                  </a:lnTo>
                  <a:lnTo>
                    <a:pt x="250" y="404"/>
                  </a:lnTo>
                  <a:lnTo>
                    <a:pt x="250" y="404"/>
                  </a:lnTo>
                  <a:lnTo>
                    <a:pt x="250" y="405"/>
                  </a:lnTo>
                  <a:lnTo>
                    <a:pt x="250" y="405"/>
                  </a:lnTo>
                  <a:lnTo>
                    <a:pt x="250" y="406"/>
                  </a:lnTo>
                  <a:lnTo>
                    <a:pt x="250" y="407"/>
                  </a:lnTo>
                  <a:lnTo>
                    <a:pt x="252" y="411"/>
                  </a:lnTo>
                  <a:lnTo>
                    <a:pt x="253" y="413"/>
                  </a:lnTo>
                  <a:lnTo>
                    <a:pt x="253" y="414"/>
                  </a:lnTo>
                  <a:lnTo>
                    <a:pt x="254" y="415"/>
                  </a:lnTo>
                  <a:lnTo>
                    <a:pt x="254" y="416"/>
                  </a:lnTo>
                  <a:lnTo>
                    <a:pt x="254" y="417"/>
                  </a:lnTo>
                  <a:lnTo>
                    <a:pt x="254" y="417"/>
                  </a:lnTo>
                  <a:lnTo>
                    <a:pt x="253" y="418"/>
                  </a:lnTo>
                  <a:lnTo>
                    <a:pt x="253" y="419"/>
                  </a:lnTo>
                  <a:lnTo>
                    <a:pt x="253" y="420"/>
                  </a:lnTo>
                  <a:lnTo>
                    <a:pt x="252" y="421"/>
                  </a:lnTo>
                  <a:lnTo>
                    <a:pt x="251" y="422"/>
                  </a:lnTo>
                  <a:lnTo>
                    <a:pt x="251" y="422"/>
                  </a:lnTo>
                  <a:lnTo>
                    <a:pt x="250" y="423"/>
                  </a:lnTo>
                  <a:lnTo>
                    <a:pt x="249" y="424"/>
                  </a:lnTo>
                  <a:lnTo>
                    <a:pt x="249" y="424"/>
                  </a:lnTo>
                  <a:lnTo>
                    <a:pt x="248" y="424"/>
                  </a:lnTo>
                  <a:lnTo>
                    <a:pt x="247" y="425"/>
                  </a:lnTo>
                  <a:lnTo>
                    <a:pt x="246" y="425"/>
                  </a:lnTo>
                  <a:lnTo>
                    <a:pt x="245" y="425"/>
                  </a:lnTo>
                  <a:lnTo>
                    <a:pt x="244" y="425"/>
                  </a:lnTo>
                  <a:lnTo>
                    <a:pt x="243" y="425"/>
                  </a:lnTo>
                  <a:lnTo>
                    <a:pt x="242" y="425"/>
                  </a:lnTo>
                  <a:lnTo>
                    <a:pt x="242" y="425"/>
                  </a:lnTo>
                  <a:lnTo>
                    <a:pt x="241" y="425"/>
                  </a:lnTo>
                  <a:lnTo>
                    <a:pt x="240" y="425"/>
                  </a:lnTo>
                  <a:lnTo>
                    <a:pt x="239" y="424"/>
                  </a:lnTo>
                  <a:lnTo>
                    <a:pt x="237" y="424"/>
                  </a:lnTo>
                  <a:lnTo>
                    <a:pt x="237" y="423"/>
                  </a:lnTo>
                  <a:lnTo>
                    <a:pt x="236" y="423"/>
                  </a:lnTo>
                  <a:lnTo>
                    <a:pt x="235" y="423"/>
                  </a:lnTo>
                  <a:lnTo>
                    <a:pt x="234" y="423"/>
                  </a:lnTo>
                  <a:lnTo>
                    <a:pt x="232" y="423"/>
                  </a:lnTo>
                  <a:lnTo>
                    <a:pt x="231" y="423"/>
                  </a:lnTo>
                  <a:lnTo>
                    <a:pt x="229" y="423"/>
                  </a:lnTo>
                  <a:lnTo>
                    <a:pt x="227" y="423"/>
                  </a:lnTo>
                  <a:lnTo>
                    <a:pt x="225" y="423"/>
                  </a:lnTo>
                  <a:lnTo>
                    <a:pt x="224" y="424"/>
                  </a:lnTo>
                  <a:lnTo>
                    <a:pt x="222" y="424"/>
                  </a:lnTo>
                  <a:lnTo>
                    <a:pt x="220" y="425"/>
                  </a:lnTo>
                  <a:lnTo>
                    <a:pt x="217" y="426"/>
                  </a:lnTo>
                  <a:lnTo>
                    <a:pt x="216" y="426"/>
                  </a:lnTo>
                  <a:lnTo>
                    <a:pt x="216" y="426"/>
                  </a:lnTo>
                  <a:lnTo>
                    <a:pt x="216" y="426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8"/>
                  </a:lnTo>
                  <a:lnTo>
                    <a:pt x="215" y="429"/>
                  </a:lnTo>
                  <a:lnTo>
                    <a:pt x="214" y="431"/>
                  </a:lnTo>
                  <a:lnTo>
                    <a:pt x="214" y="433"/>
                  </a:lnTo>
                  <a:lnTo>
                    <a:pt x="214" y="434"/>
                  </a:lnTo>
                  <a:lnTo>
                    <a:pt x="213" y="434"/>
                  </a:lnTo>
                  <a:lnTo>
                    <a:pt x="213" y="435"/>
                  </a:lnTo>
                  <a:lnTo>
                    <a:pt x="212" y="436"/>
                  </a:lnTo>
                  <a:lnTo>
                    <a:pt x="211" y="438"/>
                  </a:lnTo>
                  <a:lnTo>
                    <a:pt x="211" y="439"/>
                  </a:lnTo>
                  <a:lnTo>
                    <a:pt x="210" y="440"/>
                  </a:lnTo>
                  <a:lnTo>
                    <a:pt x="209" y="441"/>
                  </a:lnTo>
                  <a:lnTo>
                    <a:pt x="209" y="441"/>
                  </a:lnTo>
                  <a:lnTo>
                    <a:pt x="208" y="442"/>
                  </a:lnTo>
                  <a:lnTo>
                    <a:pt x="207" y="443"/>
                  </a:lnTo>
                  <a:lnTo>
                    <a:pt x="206" y="443"/>
                  </a:lnTo>
                  <a:lnTo>
                    <a:pt x="205" y="443"/>
                  </a:lnTo>
                  <a:lnTo>
                    <a:pt x="205" y="443"/>
                  </a:lnTo>
                  <a:lnTo>
                    <a:pt x="204" y="443"/>
                  </a:lnTo>
                  <a:lnTo>
                    <a:pt x="203" y="443"/>
                  </a:lnTo>
                  <a:lnTo>
                    <a:pt x="202" y="442"/>
                  </a:lnTo>
                  <a:lnTo>
                    <a:pt x="199" y="440"/>
                  </a:lnTo>
                  <a:lnTo>
                    <a:pt x="198" y="439"/>
                  </a:lnTo>
                  <a:lnTo>
                    <a:pt x="197" y="438"/>
                  </a:lnTo>
                  <a:lnTo>
                    <a:pt x="196" y="438"/>
                  </a:lnTo>
                  <a:lnTo>
                    <a:pt x="196" y="437"/>
                  </a:lnTo>
                  <a:lnTo>
                    <a:pt x="195" y="437"/>
                  </a:lnTo>
                  <a:lnTo>
                    <a:pt x="194" y="437"/>
                  </a:lnTo>
                  <a:lnTo>
                    <a:pt x="193" y="437"/>
                  </a:lnTo>
                  <a:lnTo>
                    <a:pt x="192" y="437"/>
                  </a:lnTo>
                  <a:lnTo>
                    <a:pt x="190" y="437"/>
                  </a:lnTo>
                  <a:lnTo>
                    <a:pt x="188" y="436"/>
                  </a:lnTo>
                  <a:lnTo>
                    <a:pt x="186" y="436"/>
                  </a:lnTo>
                  <a:lnTo>
                    <a:pt x="184" y="435"/>
                  </a:lnTo>
                  <a:lnTo>
                    <a:pt x="182" y="435"/>
                  </a:lnTo>
                  <a:lnTo>
                    <a:pt x="181" y="434"/>
                  </a:lnTo>
                  <a:lnTo>
                    <a:pt x="180" y="434"/>
                  </a:lnTo>
                  <a:lnTo>
                    <a:pt x="177" y="434"/>
                  </a:lnTo>
                  <a:lnTo>
                    <a:pt x="177" y="434"/>
                  </a:lnTo>
                  <a:lnTo>
                    <a:pt x="176" y="434"/>
                  </a:lnTo>
                  <a:lnTo>
                    <a:pt x="176" y="433"/>
                  </a:lnTo>
                  <a:lnTo>
                    <a:pt x="175" y="433"/>
                  </a:lnTo>
                  <a:lnTo>
                    <a:pt x="175" y="432"/>
                  </a:lnTo>
                  <a:lnTo>
                    <a:pt x="175" y="432"/>
                  </a:lnTo>
                  <a:lnTo>
                    <a:pt x="174" y="431"/>
                  </a:lnTo>
                  <a:lnTo>
                    <a:pt x="174" y="430"/>
                  </a:lnTo>
                  <a:lnTo>
                    <a:pt x="174" y="427"/>
                  </a:lnTo>
                  <a:lnTo>
                    <a:pt x="174" y="426"/>
                  </a:lnTo>
                  <a:lnTo>
                    <a:pt x="173" y="426"/>
                  </a:lnTo>
                  <a:lnTo>
                    <a:pt x="173" y="425"/>
                  </a:lnTo>
                  <a:lnTo>
                    <a:pt x="173" y="424"/>
                  </a:lnTo>
                  <a:lnTo>
                    <a:pt x="172" y="424"/>
                  </a:lnTo>
                  <a:lnTo>
                    <a:pt x="172" y="423"/>
                  </a:lnTo>
                  <a:lnTo>
                    <a:pt x="171" y="423"/>
                  </a:lnTo>
                  <a:lnTo>
                    <a:pt x="171" y="423"/>
                  </a:lnTo>
                  <a:lnTo>
                    <a:pt x="170" y="423"/>
                  </a:lnTo>
                  <a:lnTo>
                    <a:pt x="170" y="423"/>
                  </a:lnTo>
                  <a:lnTo>
                    <a:pt x="169" y="423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67" y="425"/>
                  </a:lnTo>
                  <a:lnTo>
                    <a:pt x="167" y="425"/>
                  </a:lnTo>
                  <a:lnTo>
                    <a:pt x="166" y="426"/>
                  </a:lnTo>
                  <a:lnTo>
                    <a:pt x="164" y="430"/>
                  </a:lnTo>
                  <a:lnTo>
                    <a:pt x="163" y="432"/>
                  </a:lnTo>
                  <a:lnTo>
                    <a:pt x="163" y="433"/>
                  </a:lnTo>
                  <a:lnTo>
                    <a:pt x="162" y="434"/>
                  </a:lnTo>
                  <a:lnTo>
                    <a:pt x="162" y="435"/>
                  </a:lnTo>
                  <a:lnTo>
                    <a:pt x="162" y="436"/>
                  </a:lnTo>
                  <a:lnTo>
                    <a:pt x="162" y="437"/>
                  </a:lnTo>
                  <a:lnTo>
                    <a:pt x="162" y="439"/>
                  </a:lnTo>
                  <a:lnTo>
                    <a:pt x="163" y="440"/>
                  </a:lnTo>
                  <a:lnTo>
                    <a:pt x="163" y="442"/>
                  </a:lnTo>
                  <a:lnTo>
                    <a:pt x="164" y="443"/>
                  </a:lnTo>
                  <a:lnTo>
                    <a:pt x="165" y="445"/>
                  </a:lnTo>
                  <a:lnTo>
                    <a:pt x="166" y="447"/>
                  </a:lnTo>
                  <a:lnTo>
                    <a:pt x="166" y="448"/>
                  </a:lnTo>
                  <a:lnTo>
                    <a:pt x="166" y="449"/>
                  </a:lnTo>
                  <a:lnTo>
                    <a:pt x="166" y="450"/>
                  </a:lnTo>
                  <a:lnTo>
                    <a:pt x="166" y="451"/>
                  </a:lnTo>
                  <a:lnTo>
                    <a:pt x="166" y="452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65" y="454"/>
                  </a:lnTo>
                  <a:lnTo>
                    <a:pt x="164" y="455"/>
                  </a:lnTo>
                  <a:lnTo>
                    <a:pt x="162" y="457"/>
                  </a:lnTo>
                  <a:lnTo>
                    <a:pt x="160" y="459"/>
                  </a:lnTo>
                  <a:lnTo>
                    <a:pt x="159" y="460"/>
                  </a:lnTo>
                  <a:lnTo>
                    <a:pt x="158" y="460"/>
                  </a:lnTo>
                  <a:lnTo>
                    <a:pt x="158" y="461"/>
                  </a:lnTo>
                  <a:lnTo>
                    <a:pt x="157" y="462"/>
                  </a:lnTo>
                  <a:lnTo>
                    <a:pt x="155" y="465"/>
                  </a:lnTo>
                  <a:lnTo>
                    <a:pt x="153" y="467"/>
                  </a:lnTo>
                  <a:lnTo>
                    <a:pt x="151" y="470"/>
                  </a:lnTo>
                  <a:lnTo>
                    <a:pt x="150" y="471"/>
                  </a:lnTo>
                  <a:lnTo>
                    <a:pt x="149" y="472"/>
                  </a:lnTo>
                  <a:lnTo>
                    <a:pt x="149" y="473"/>
                  </a:lnTo>
                  <a:lnTo>
                    <a:pt x="148" y="473"/>
                  </a:lnTo>
                  <a:lnTo>
                    <a:pt x="147" y="474"/>
                  </a:lnTo>
                  <a:lnTo>
                    <a:pt x="146" y="474"/>
                  </a:lnTo>
                  <a:lnTo>
                    <a:pt x="146" y="475"/>
                  </a:lnTo>
                  <a:lnTo>
                    <a:pt x="145" y="475"/>
                  </a:lnTo>
                  <a:lnTo>
                    <a:pt x="144" y="475"/>
                  </a:lnTo>
                  <a:lnTo>
                    <a:pt x="143" y="475"/>
                  </a:lnTo>
                  <a:lnTo>
                    <a:pt x="143" y="475"/>
                  </a:lnTo>
                  <a:lnTo>
                    <a:pt x="139" y="475"/>
                  </a:lnTo>
                  <a:lnTo>
                    <a:pt x="138" y="476"/>
                  </a:lnTo>
                  <a:lnTo>
                    <a:pt x="134" y="476"/>
                  </a:lnTo>
                  <a:lnTo>
                    <a:pt x="132" y="476"/>
                  </a:lnTo>
                  <a:lnTo>
                    <a:pt x="131" y="477"/>
                  </a:lnTo>
                  <a:lnTo>
                    <a:pt x="125" y="478"/>
                  </a:lnTo>
                  <a:lnTo>
                    <a:pt x="124" y="478"/>
                  </a:lnTo>
                  <a:lnTo>
                    <a:pt x="122" y="478"/>
                  </a:lnTo>
                  <a:lnTo>
                    <a:pt x="121" y="478"/>
                  </a:lnTo>
                  <a:lnTo>
                    <a:pt x="120" y="479"/>
                  </a:lnTo>
                  <a:lnTo>
                    <a:pt x="120" y="479"/>
                  </a:lnTo>
                  <a:lnTo>
                    <a:pt x="119" y="479"/>
                  </a:lnTo>
                  <a:lnTo>
                    <a:pt x="118" y="480"/>
                  </a:lnTo>
                  <a:lnTo>
                    <a:pt x="117" y="481"/>
                  </a:lnTo>
                  <a:lnTo>
                    <a:pt x="117" y="482"/>
                  </a:lnTo>
                  <a:lnTo>
                    <a:pt x="116" y="482"/>
                  </a:lnTo>
                  <a:lnTo>
                    <a:pt x="115" y="485"/>
                  </a:lnTo>
                  <a:lnTo>
                    <a:pt x="114" y="485"/>
                  </a:lnTo>
                  <a:lnTo>
                    <a:pt x="114" y="486"/>
                  </a:lnTo>
                  <a:lnTo>
                    <a:pt x="113" y="487"/>
                  </a:lnTo>
                  <a:lnTo>
                    <a:pt x="113" y="487"/>
                  </a:lnTo>
                  <a:lnTo>
                    <a:pt x="112" y="487"/>
                  </a:lnTo>
                  <a:lnTo>
                    <a:pt x="112" y="487"/>
                  </a:lnTo>
                  <a:lnTo>
                    <a:pt x="111" y="487"/>
                  </a:lnTo>
                  <a:lnTo>
                    <a:pt x="111" y="487"/>
                  </a:lnTo>
                  <a:lnTo>
                    <a:pt x="110" y="487"/>
                  </a:lnTo>
                  <a:lnTo>
                    <a:pt x="110" y="487"/>
                  </a:lnTo>
                  <a:lnTo>
                    <a:pt x="110" y="487"/>
                  </a:lnTo>
                  <a:lnTo>
                    <a:pt x="110" y="485"/>
                  </a:lnTo>
                  <a:lnTo>
                    <a:pt x="108" y="480"/>
                  </a:lnTo>
                  <a:lnTo>
                    <a:pt x="106" y="477"/>
                  </a:lnTo>
                  <a:lnTo>
                    <a:pt x="106" y="476"/>
                  </a:lnTo>
                  <a:lnTo>
                    <a:pt x="105" y="473"/>
                  </a:lnTo>
                  <a:lnTo>
                    <a:pt x="103" y="468"/>
                  </a:lnTo>
                  <a:lnTo>
                    <a:pt x="103" y="467"/>
                  </a:lnTo>
                  <a:lnTo>
                    <a:pt x="103" y="466"/>
                  </a:lnTo>
                  <a:lnTo>
                    <a:pt x="102" y="465"/>
                  </a:lnTo>
                  <a:lnTo>
                    <a:pt x="102" y="465"/>
                  </a:lnTo>
                  <a:lnTo>
                    <a:pt x="101" y="464"/>
                  </a:lnTo>
                  <a:lnTo>
                    <a:pt x="100" y="463"/>
                  </a:lnTo>
                  <a:lnTo>
                    <a:pt x="97" y="461"/>
                  </a:lnTo>
                  <a:lnTo>
                    <a:pt x="96" y="460"/>
                  </a:lnTo>
                  <a:lnTo>
                    <a:pt x="95" y="459"/>
                  </a:lnTo>
                  <a:lnTo>
                    <a:pt x="93" y="458"/>
                  </a:lnTo>
                  <a:lnTo>
                    <a:pt x="91" y="458"/>
                  </a:lnTo>
                  <a:lnTo>
                    <a:pt x="90" y="457"/>
                  </a:lnTo>
                  <a:lnTo>
                    <a:pt x="87" y="456"/>
                  </a:lnTo>
                  <a:lnTo>
                    <a:pt x="85" y="455"/>
                  </a:lnTo>
                  <a:lnTo>
                    <a:pt x="83" y="455"/>
                  </a:lnTo>
                  <a:lnTo>
                    <a:pt x="81" y="454"/>
                  </a:lnTo>
                  <a:lnTo>
                    <a:pt x="80" y="453"/>
                  </a:lnTo>
                  <a:lnTo>
                    <a:pt x="77" y="452"/>
                  </a:lnTo>
                  <a:lnTo>
                    <a:pt x="76" y="451"/>
                  </a:lnTo>
                  <a:lnTo>
                    <a:pt x="76" y="451"/>
                  </a:lnTo>
                  <a:lnTo>
                    <a:pt x="75" y="450"/>
                  </a:lnTo>
                  <a:lnTo>
                    <a:pt x="75" y="450"/>
                  </a:lnTo>
                  <a:lnTo>
                    <a:pt x="75" y="450"/>
                  </a:lnTo>
                  <a:lnTo>
                    <a:pt x="74" y="449"/>
                  </a:lnTo>
                  <a:lnTo>
                    <a:pt x="74" y="449"/>
                  </a:lnTo>
                  <a:lnTo>
                    <a:pt x="74" y="448"/>
                  </a:lnTo>
                  <a:lnTo>
                    <a:pt x="74" y="448"/>
                  </a:lnTo>
                  <a:lnTo>
                    <a:pt x="75" y="446"/>
                  </a:lnTo>
                  <a:lnTo>
                    <a:pt x="75" y="443"/>
                  </a:lnTo>
                  <a:lnTo>
                    <a:pt x="76" y="440"/>
                  </a:lnTo>
                  <a:lnTo>
                    <a:pt x="76" y="438"/>
                  </a:lnTo>
                  <a:lnTo>
                    <a:pt x="76" y="437"/>
                  </a:lnTo>
                  <a:lnTo>
                    <a:pt x="76" y="435"/>
                  </a:lnTo>
                  <a:lnTo>
                    <a:pt x="77" y="434"/>
                  </a:lnTo>
                  <a:lnTo>
                    <a:pt x="76" y="432"/>
                  </a:lnTo>
                  <a:lnTo>
                    <a:pt x="76" y="431"/>
                  </a:lnTo>
                  <a:lnTo>
                    <a:pt x="76" y="431"/>
                  </a:lnTo>
                  <a:lnTo>
                    <a:pt x="76" y="430"/>
                  </a:lnTo>
                  <a:lnTo>
                    <a:pt x="76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4" y="430"/>
                  </a:lnTo>
                  <a:lnTo>
                    <a:pt x="74" y="431"/>
                  </a:lnTo>
                  <a:lnTo>
                    <a:pt x="73" y="432"/>
                  </a:lnTo>
                  <a:lnTo>
                    <a:pt x="73" y="433"/>
                  </a:lnTo>
                  <a:lnTo>
                    <a:pt x="72" y="433"/>
                  </a:lnTo>
                  <a:lnTo>
                    <a:pt x="72" y="433"/>
                  </a:lnTo>
                  <a:lnTo>
                    <a:pt x="72" y="433"/>
                  </a:lnTo>
                  <a:lnTo>
                    <a:pt x="71" y="433"/>
                  </a:lnTo>
                  <a:lnTo>
                    <a:pt x="71" y="433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69" y="432"/>
                  </a:lnTo>
                  <a:lnTo>
                    <a:pt x="69" y="432"/>
                  </a:lnTo>
                  <a:lnTo>
                    <a:pt x="68" y="431"/>
                  </a:lnTo>
                  <a:lnTo>
                    <a:pt x="67" y="431"/>
                  </a:lnTo>
                  <a:lnTo>
                    <a:pt x="66" y="429"/>
                  </a:lnTo>
                  <a:lnTo>
                    <a:pt x="66" y="428"/>
                  </a:lnTo>
                  <a:lnTo>
                    <a:pt x="65" y="428"/>
                  </a:lnTo>
                  <a:lnTo>
                    <a:pt x="65" y="427"/>
                  </a:lnTo>
                  <a:lnTo>
                    <a:pt x="63" y="424"/>
                  </a:lnTo>
                  <a:lnTo>
                    <a:pt x="63" y="424"/>
                  </a:lnTo>
                  <a:lnTo>
                    <a:pt x="63" y="423"/>
                  </a:lnTo>
                  <a:lnTo>
                    <a:pt x="62" y="422"/>
                  </a:lnTo>
                  <a:lnTo>
                    <a:pt x="62" y="422"/>
                  </a:lnTo>
                  <a:lnTo>
                    <a:pt x="60" y="421"/>
                  </a:lnTo>
                  <a:lnTo>
                    <a:pt x="59" y="420"/>
                  </a:lnTo>
                  <a:lnTo>
                    <a:pt x="59" y="419"/>
                  </a:lnTo>
                  <a:lnTo>
                    <a:pt x="58" y="418"/>
                  </a:lnTo>
                  <a:lnTo>
                    <a:pt x="58" y="417"/>
                  </a:lnTo>
                  <a:lnTo>
                    <a:pt x="57" y="417"/>
                  </a:lnTo>
                  <a:lnTo>
                    <a:pt x="57" y="414"/>
                  </a:lnTo>
                  <a:lnTo>
                    <a:pt x="56" y="410"/>
                  </a:lnTo>
                  <a:lnTo>
                    <a:pt x="55" y="408"/>
                  </a:lnTo>
                  <a:lnTo>
                    <a:pt x="54" y="407"/>
                  </a:lnTo>
                  <a:lnTo>
                    <a:pt x="54" y="406"/>
                  </a:lnTo>
                  <a:lnTo>
                    <a:pt x="53" y="405"/>
                  </a:lnTo>
                  <a:lnTo>
                    <a:pt x="52" y="404"/>
                  </a:lnTo>
                  <a:lnTo>
                    <a:pt x="52" y="403"/>
                  </a:lnTo>
                  <a:lnTo>
                    <a:pt x="52" y="402"/>
                  </a:lnTo>
                  <a:lnTo>
                    <a:pt x="51" y="401"/>
                  </a:lnTo>
                  <a:lnTo>
                    <a:pt x="50" y="400"/>
                  </a:lnTo>
                  <a:lnTo>
                    <a:pt x="50" y="399"/>
                  </a:lnTo>
                  <a:lnTo>
                    <a:pt x="48" y="398"/>
                  </a:lnTo>
                  <a:lnTo>
                    <a:pt x="47" y="397"/>
                  </a:lnTo>
                  <a:lnTo>
                    <a:pt x="47" y="396"/>
                  </a:lnTo>
                  <a:lnTo>
                    <a:pt x="46" y="394"/>
                  </a:lnTo>
                  <a:lnTo>
                    <a:pt x="45" y="393"/>
                  </a:lnTo>
                  <a:lnTo>
                    <a:pt x="45" y="392"/>
                  </a:lnTo>
                  <a:lnTo>
                    <a:pt x="44" y="391"/>
                  </a:lnTo>
                  <a:lnTo>
                    <a:pt x="43" y="390"/>
                  </a:lnTo>
                  <a:lnTo>
                    <a:pt x="42" y="389"/>
                  </a:lnTo>
                  <a:lnTo>
                    <a:pt x="42" y="389"/>
                  </a:lnTo>
                  <a:lnTo>
                    <a:pt x="41" y="388"/>
                  </a:lnTo>
                  <a:lnTo>
                    <a:pt x="40" y="388"/>
                  </a:lnTo>
                  <a:lnTo>
                    <a:pt x="38" y="388"/>
                  </a:lnTo>
                  <a:lnTo>
                    <a:pt x="36" y="387"/>
                  </a:lnTo>
                  <a:lnTo>
                    <a:pt x="34" y="387"/>
                  </a:lnTo>
                  <a:lnTo>
                    <a:pt x="33" y="387"/>
                  </a:lnTo>
                  <a:lnTo>
                    <a:pt x="32" y="387"/>
                  </a:lnTo>
                  <a:lnTo>
                    <a:pt x="31" y="387"/>
                  </a:lnTo>
                  <a:lnTo>
                    <a:pt x="30" y="387"/>
                  </a:lnTo>
                  <a:lnTo>
                    <a:pt x="28" y="387"/>
                  </a:lnTo>
                  <a:lnTo>
                    <a:pt x="27" y="388"/>
                  </a:lnTo>
                  <a:lnTo>
                    <a:pt x="25" y="389"/>
                  </a:lnTo>
                  <a:lnTo>
                    <a:pt x="24" y="390"/>
                  </a:lnTo>
                  <a:lnTo>
                    <a:pt x="23" y="391"/>
                  </a:lnTo>
                  <a:lnTo>
                    <a:pt x="21" y="392"/>
                  </a:lnTo>
                  <a:lnTo>
                    <a:pt x="20" y="394"/>
                  </a:lnTo>
                  <a:lnTo>
                    <a:pt x="19" y="394"/>
                  </a:lnTo>
                  <a:lnTo>
                    <a:pt x="19" y="394"/>
                  </a:lnTo>
                  <a:lnTo>
                    <a:pt x="19" y="395"/>
                  </a:lnTo>
                  <a:lnTo>
                    <a:pt x="19" y="395"/>
                  </a:lnTo>
                  <a:lnTo>
                    <a:pt x="19" y="395"/>
                  </a:lnTo>
                  <a:lnTo>
                    <a:pt x="19" y="396"/>
                  </a:lnTo>
                  <a:lnTo>
                    <a:pt x="20" y="396"/>
                  </a:lnTo>
                  <a:lnTo>
                    <a:pt x="20" y="397"/>
                  </a:lnTo>
                  <a:lnTo>
                    <a:pt x="21" y="398"/>
                  </a:lnTo>
                  <a:lnTo>
                    <a:pt x="21" y="398"/>
                  </a:lnTo>
                  <a:lnTo>
                    <a:pt x="21" y="399"/>
                  </a:lnTo>
                  <a:lnTo>
                    <a:pt x="22" y="399"/>
                  </a:lnTo>
                  <a:lnTo>
                    <a:pt x="27" y="404"/>
                  </a:lnTo>
                  <a:lnTo>
                    <a:pt x="27" y="404"/>
                  </a:lnTo>
                  <a:lnTo>
                    <a:pt x="28" y="405"/>
                  </a:lnTo>
                  <a:lnTo>
                    <a:pt x="28" y="406"/>
                  </a:lnTo>
                  <a:lnTo>
                    <a:pt x="28" y="407"/>
                  </a:lnTo>
                  <a:lnTo>
                    <a:pt x="29" y="408"/>
                  </a:lnTo>
                  <a:lnTo>
                    <a:pt x="29" y="409"/>
                  </a:lnTo>
                  <a:lnTo>
                    <a:pt x="30" y="410"/>
                  </a:lnTo>
                  <a:lnTo>
                    <a:pt x="31" y="412"/>
                  </a:lnTo>
                  <a:lnTo>
                    <a:pt x="31" y="413"/>
                  </a:lnTo>
                  <a:lnTo>
                    <a:pt x="32" y="414"/>
                  </a:lnTo>
                  <a:lnTo>
                    <a:pt x="32" y="415"/>
                  </a:lnTo>
                  <a:lnTo>
                    <a:pt x="32" y="415"/>
                  </a:lnTo>
                  <a:lnTo>
                    <a:pt x="32" y="416"/>
                  </a:lnTo>
                  <a:lnTo>
                    <a:pt x="32" y="417"/>
                  </a:lnTo>
                  <a:lnTo>
                    <a:pt x="32" y="417"/>
                  </a:lnTo>
                  <a:lnTo>
                    <a:pt x="32" y="418"/>
                  </a:lnTo>
                  <a:lnTo>
                    <a:pt x="32" y="418"/>
                  </a:lnTo>
                  <a:lnTo>
                    <a:pt x="31" y="419"/>
                  </a:lnTo>
                  <a:lnTo>
                    <a:pt x="30" y="421"/>
                  </a:lnTo>
                  <a:lnTo>
                    <a:pt x="29" y="422"/>
                  </a:lnTo>
                  <a:lnTo>
                    <a:pt x="28" y="424"/>
                  </a:lnTo>
                  <a:lnTo>
                    <a:pt x="27" y="427"/>
                  </a:lnTo>
                  <a:lnTo>
                    <a:pt x="27" y="429"/>
                  </a:lnTo>
                  <a:lnTo>
                    <a:pt x="26" y="430"/>
                  </a:lnTo>
                  <a:lnTo>
                    <a:pt x="25" y="431"/>
                  </a:lnTo>
                  <a:lnTo>
                    <a:pt x="25" y="432"/>
                  </a:lnTo>
                  <a:lnTo>
                    <a:pt x="23" y="433"/>
                  </a:lnTo>
                  <a:lnTo>
                    <a:pt x="22" y="434"/>
                  </a:lnTo>
                  <a:lnTo>
                    <a:pt x="21" y="435"/>
                  </a:lnTo>
                  <a:lnTo>
                    <a:pt x="20" y="436"/>
                  </a:lnTo>
                  <a:lnTo>
                    <a:pt x="19" y="436"/>
                  </a:lnTo>
                  <a:lnTo>
                    <a:pt x="18" y="437"/>
                  </a:lnTo>
                  <a:lnTo>
                    <a:pt x="17" y="437"/>
                  </a:lnTo>
                  <a:lnTo>
                    <a:pt x="16" y="437"/>
                  </a:lnTo>
                  <a:lnTo>
                    <a:pt x="15" y="437"/>
                  </a:lnTo>
                  <a:lnTo>
                    <a:pt x="14" y="436"/>
                  </a:lnTo>
                  <a:lnTo>
                    <a:pt x="12" y="436"/>
                  </a:lnTo>
                  <a:lnTo>
                    <a:pt x="11" y="435"/>
                  </a:lnTo>
                  <a:lnTo>
                    <a:pt x="9" y="434"/>
                  </a:lnTo>
                  <a:lnTo>
                    <a:pt x="6" y="431"/>
                  </a:lnTo>
                  <a:lnTo>
                    <a:pt x="4" y="430"/>
                  </a:lnTo>
                  <a:lnTo>
                    <a:pt x="3" y="429"/>
                  </a:lnTo>
                  <a:lnTo>
                    <a:pt x="3" y="429"/>
                  </a:lnTo>
                  <a:lnTo>
                    <a:pt x="1" y="427"/>
                  </a:lnTo>
                  <a:lnTo>
                    <a:pt x="1" y="427"/>
                  </a:lnTo>
                  <a:lnTo>
                    <a:pt x="0" y="426"/>
                  </a:lnTo>
                  <a:lnTo>
                    <a:pt x="0" y="426"/>
                  </a:lnTo>
                  <a:lnTo>
                    <a:pt x="0" y="425"/>
                  </a:lnTo>
                  <a:lnTo>
                    <a:pt x="0" y="424"/>
                  </a:lnTo>
                  <a:lnTo>
                    <a:pt x="0" y="423"/>
                  </a:lnTo>
                  <a:lnTo>
                    <a:pt x="0" y="423"/>
                  </a:lnTo>
                  <a:lnTo>
                    <a:pt x="0" y="422"/>
                  </a:lnTo>
                  <a:lnTo>
                    <a:pt x="1" y="421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" name="Freeform 71">
              <a:extLst>
                <a:ext uri="{FF2B5EF4-FFF2-40B4-BE49-F238E27FC236}">
                  <a16:creationId xmlns:a16="http://schemas.microsoft.com/office/drawing/2014/main" id="{2E797132-3309-ACD0-5B10-7FD8DB720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140"/>
              <a:ext cx="169" cy="475"/>
            </a:xfrm>
            <a:custGeom>
              <a:avLst/>
              <a:gdLst>
                <a:gd name="T0" fmla="*/ 36 w 169"/>
                <a:gd name="T1" fmla="*/ 470 h 475"/>
                <a:gd name="T2" fmla="*/ 35 w 169"/>
                <a:gd name="T3" fmla="*/ 464 h 475"/>
                <a:gd name="T4" fmla="*/ 28 w 169"/>
                <a:gd name="T5" fmla="*/ 449 h 475"/>
                <a:gd name="T6" fmla="*/ 27 w 169"/>
                <a:gd name="T7" fmla="*/ 436 h 475"/>
                <a:gd name="T8" fmla="*/ 34 w 169"/>
                <a:gd name="T9" fmla="*/ 426 h 475"/>
                <a:gd name="T10" fmla="*/ 34 w 169"/>
                <a:gd name="T11" fmla="*/ 424 h 475"/>
                <a:gd name="T12" fmla="*/ 15 w 169"/>
                <a:gd name="T13" fmla="*/ 419 h 475"/>
                <a:gd name="T14" fmla="*/ 13 w 169"/>
                <a:gd name="T15" fmla="*/ 416 h 475"/>
                <a:gd name="T16" fmla="*/ 13 w 169"/>
                <a:gd name="T17" fmla="*/ 405 h 475"/>
                <a:gd name="T18" fmla="*/ 18 w 169"/>
                <a:gd name="T19" fmla="*/ 403 h 475"/>
                <a:gd name="T20" fmla="*/ 26 w 169"/>
                <a:gd name="T21" fmla="*/ 403 h 475"/>
                <a:gd name="T22" fmla="*/ 29 w 169"/>
                <a:gd name="T23" fmla="*/ 395 h 475"/>
                <a:gd name="T24" fmla="*/ 31 w 169"/>
                <a:gd name="T25" fmla="*/ 386 h 475"/>
                <a:gd name="T26" fmla="*/ 30 w 169"/>
                <a:gd name="T27" fmla="*/ 374 h 475"/>
                <a:gd name="T28" fmla="*/ 32 w 169"/>
                <a:gd name="T29" fmla="*/ 366 h 475"/>
                <a:gd name="T30" fmla="*/ 40 w 169"/>
                <a:gd name="T31" fmla="*/ 355 h 475"/>
                <a:gd name="T32" fmla="*/ 40 w 169"/>
                <a:gd name="T33" fmla="*/ 341 h 475"/>
                <a:gd name="T34" fmla="*/ 36 w 169"/>
                <a:gd name="T35" fmla="*/ 335 h 475"/>
                <a:gd name="T36" fmla="*/ 28 w 169"/>
                <a:gd name="T37" fmla="*/ 333 h 475"/>
                <a:gd name="T38" fmla="*/ 28 w 169"/>
                <a:gd name="T39" fmla="*/ 328 h 475"/>
                <a:gd name="T40" fmla="*/ 26 w 169"/>
                <a:gd name="T41" fmla="*/ 320 h 475"/>
                <a:gd name="T42" fmla="*/ 20 w 169"/>
                <a:gd name="T43" fmla="*/ 308 h 475"/>
                <a:gd name="T44" fmla="*/ 12 w 169"/>
                <a:gd name="T45" fmla="*/ 294 h 475"/>
                <a:gd name="T46" fmla="*/ 7 w 169"/>
                <a:gd name="T47" fmla="*/ 284 h 475"/>
                <a:gd name="T48" fmla="*/ 9 w 169"/>
                <a:gd name="T49" fmla="*/ 275 h 475"/>
                <a:gd name="T50" fmla="*/ 13 w 169"/>
                <a:gd name="T51" fmla="*/ 266 h 475"/>
                <a:gd name="T52" fmla="*/ 11 w 169"/>
                <a:gd name="T53" fmla="*/ 250 h 475"/>
                <a:gd name="T54" fmla="*/ 5 w 169"/>
                <a:gd name="T55" fmla="*/ 230 h 475"/>
                <a:gd name="T56" fmla="*/ 1 w 169"/>
                <a:gd name="T57" fmla="*/ 212 h 475"/>
                <a:gd name="T58" fmla="*/ 3 w 169"/>
                <a:gd name="T59" fmla="*/ 209 h 475"/>
                <a:gd name="T60" fmla="*/ 11 w 169"/>
                <a:gd name="T61" fmla="*/ 206 h 475"/>
                <a:gd name="T62" fmla="*/ 22 w 169"/>
                <a:gd name="T63" fmla="*/ 196 h 475"/>
                <a:gd name="T64" fmla="*/ 27 w 169"/>
                <a:gd name="T65" fmla="*/ 189 h 475"/>
                <a:gd name="T66" fmla="*/ 25 w 169"/>
                <a:gd name="T67" fmla="*/ 177 h 475"/>
                <a:gd name="T68" fmla="*/ 27 w 169"/>
                <a:gd name="T69" fmla="*/ 167 h 475"/>
                <a:gd name="T70" fmla="*/ 28 w 169"/>
                <a:gd name="T71" fmla="*/ 157 h 475"/>
                <a:gd name="T72" fmla="*/ 38 w 169"/>
                <a:gd name="T73" fmla="*/ 132 h 475"/>
                <a:gd name="T74" fmla="*/ 41 w 169"/>
                <a:gd name="T75" fmla="*/ 118 h 475"/>
                <a:gd name="T76" fmla="*/ 43 w 169"/>
                <a:gd name="T77" fmla="*/ 115 h 475"/>
                <a:gd name="T78" fmla="*/ 53 w 169"/>
                <a:gd name="T79" fmla="*/ 106 h 475"/>
                <a:gd name="T80" fmla="*/ 64 w 169"/>
                <a:gd name="T81" fmla="*/ 103 h 475"/>
                <a:gd name="T82" fmla="*/ 72 w 169"/>
                <a:gd name="T83" fmla="*/ 98 h 475"/>
                <a:gd name="T84" fmla="*/ 80 w 169"/>
                <a:gd name="T85" fmla="*/ 103 h 475"/>
                <a:gd name="T86" fmla="*/ 85 w 169"/>
                <a:gd name="T87" fmla="*/ 103 h 475"/>
                <a:gd name="T88" fmla="*/ 85 w 169"/>
                <a:gd name="T89" fmla="*/ 94 h 475"/>
                <a:gd name="T90" fmla="*/ 85 w 169"/>
                <a:gd name="T91" fmla="*/ 80 h 475"/>
                <a:gd name="T92" fmla="*/ 80 w 169"/>
                <a:gd name="T93" fmla="*/ 69 h 475"/>
                <a:gd name="T94" fmla="*/ 66 w 169"/>
                <a:gd name="T95" fmla="*/ 60 h 475"/>
                <a:gd name="T96" fmla="*/ 59 w 169"/>
                <a:gd name="T97" fmla="*/ 49 h 475"/>
                <a:gd name="T98" fmla="*/ 52 w 169"/>
                <a:gd name="T99" fmla="*/ 30 h 475"/>
                <a:gd name="T100" fmla="*/ 42 w 169"/>
                <a:gd name="T101" fmla="*/ 21 h 475"/>
                <a:gd name="T102" fmla="*/ 39 w 169"/>
                <a:gd name="T103" fmla="*/ 15 h 475"/>
                <a:gd name="T104" fmla="*/ 45 w 169"/>
                <a:gd name="T105" fmla="*/ 5 h 475"/>
                <a:gd name="T106" fmla="*/ 51 w 169"/>
                <a:gd name="T107" fmla="*/ 0 h 475"/>
                <a:gd name="T108" fmla="*/ 68 w 169"/>
                <a:gd name="T109" fmla="*/ 10 h 475"/>
                <a:gd name="T110" fmla="*/ 79 w 169"/>
                <a:gd name="T111" fmla="*/ 11 h 475"/>
                <a:gd name="T112" fmla="*/ 98 w 169"/>
                <a:gd name="T113" fmla="*/ 18 h 475"/>
                <a:gd name="T114" fmla="*/ 111 w 169"/>
                <a:gd name="T115" fmla="*/ 21 h 475"/>
                <a:gd name="T116" fmla="*/ 124 w 169"/>
                <a:gd name="T117" fmla="*/ 28 h 475"/>
                <a:gd name="T118" fmla="*/ 136 w 169"/>
                <a:gd name="T119" fmla="*/ 28 h 475"/>
                <a:gd name="T120" fmla="*/ 141 w 169"/>
                <a:gd name="T121" fmla="*/ 38 h 475"/>
                <a:gd name="T122" fmla="*/ 151 w 169"/>
                <a:gd name="T123" fmla="*/ 49 h 475"/>
                <a:gd name="T124" fmla="*/ 162 w 169"/>
                <a:gd name="T125" fmla="*/ 55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9" h="475">
                  <a:moveTo>
                    <a:pt x="32" y="475"/>
                  </a:moveTo>
                  <a:lnTo>
                    <a:pt x="32" y="475"/>
                  </a:lnTo>
                  <a:lnTo>
                    <a:pt x="32" y="474"/>
                  </a:lnTo>
                  <a:lnTo>
                    <a:pt x="32" y="474"/>
                  </a:lnTo>
                  <a:lnTo>
                    <a:pt x="33" y="473"/>
                  </a:lnTo>
                  <a:lnTo>
                    <a:pt x="35" y="471"/>
                  </a:lnTo>
                  <a:lnTo>
                    <a:pt x="36" y="471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9"/>
                  </a:lnTo>
                  <a:lnTo>
                    <a:pt x="37" y="469"/>
                  </a:lnTo>
                  <a:lnTo>
                    <a:pt x="37" y="468"/>
                  </a:lnTo>
                  <a:lnTo>
                    <a:pt x="36" y="467"/>
                  </a:lnTo>
                  <a:lnTo>
                    <a:pt x="36" y="466"/>
                  </a:lnTo>
                  <a:lnTo>
                    <a:pt x="35" y="465"/>
                  </a:lnTo>
                  <a:lnTo>
                    <a:pt x="35" y="464"/>
                  </a:lnTo>
                  <a:lnTo>
                    <a:pt x="34" y="463"/>
                  </a:lnTo>
                  <a:lnTo>
                    <a:pt x="32" y="460"/>
                  </a:lnTo>
                  <a:lnTo>
                    <a:pt x="31" y="459"/>
                  </a:lnTo>
                  <a:lnTo>
                    <a:pt x="31" y="458"/>
                  </a:lnTo>
                  <a:lnTo>
                    <a:pt x="30" y="457"/>
                  </a:lnTo>
                  <a:lnTo>
                    <a:pt x="30" y="456"/>
                  </a:lnTo>
                  <a:lnTo>
                    <a:pt x="29" y="453"/>
                  </a:lnTo>
                  <a:lnTo>
                    <a:pt x="28" y="449"/>
                  </a:lnTo>
                  <a:lnTo>
                    <a:pt x="27" y="446"/>
                  </a:lnTo>
                  <a:lnTo>
                    <a:pt x="27" y="445"/>
                  </a:lnTo>
                  <a:lnTo>
                    <a:pt x="27" y="443"/>
                  </a:lnTo>
                  <a:lnTo>
                    <a:pt x="27" y="442"/>
                  </a:lnTo>
                  <a:lnTo>
                    <a:pt x="27" y="440"/>
                  </a:lnTo>
                  <a:lnTo>
                    <a:pt x="27" y="439"/>
                  </a:lnTo>
                  <a:lnTo>
                    <a:pt x="27" y="437"/>
                  </a:lnTo>
                  <a:lnTo>
                    <a:pt x="27" y="436"/>
                  </a:lnTo>
                  <a:lnTo>
                    <a:pt x="28" y="435"/>
                  </a:lnTo>
                  <a:lnTo>
                    <a:pt x="30" y="432"/>
                  </a:lnTo>
                  <a:lnTo>
                    <a:pt x="30" y="431"/>
                  </a:lnTo>
                  <a:lnTo>
                    <a:pt x="32" y="429"/>
                  </a:lnTo>
                  <a:lnTo>
                    <a:pt x="32" y="428"/>
                  </a:lnTo>
                  <a:lnTo>
                    <a:pt x="33" y="428"/>
                  </a:lnTo>
                  <a:lnTo>
                    <a:pt x="34" y="427"/>
                  </a:lnTo>
                  <a:lnTo>
                    <a:pt x="34" y="426"/>
                  </a:lnTo>
                  <a:lnTo>
                    <a:pt x="35" y="426"/>
                  </a:lnTo>
                  <a:lnTo>
                    <a:pt x="35" y="425"/>
                  </a:lnTo>
                  <a:lnTo>
                    <a:pt x="36" y="425"/>
                  </a:lnTo>
                  <a:lnTo>
                    <a:pt x="36" y="425"/>
                  </a:lnTo>
                  <a:lnTo>
                    <a:pt x="36" y="424"/>
                  </a:lnTo>
                  <a:lnTo>
                    <a:pt x="35" y="424"/>
                  </a:lnTo>
                  <a:lnTo>
                    <a:pt x="35" y="424"/>
                  </a:lnTo>
                  <a:lnTo>
                    <a:pt x="34" y="424"/>
                  </a:lnTo>
                  <a:lnTo>
                    <a:pt x="32" y="423"/>
                  </a:lnTo>
                  <a:lnTo>
                    <a:pt x="30" y="423"/>
                  </a:lnTo>
                  <a:lnTo>
                    <a:pt x="29" y="423"/>
                  </a:lnTo>
                  <a:lnTo>
                    <a:pt x="27" y="423"/>
                  </a:lnTo>
                  <a:lnTo>
                    <a:pt x="25" y="422"/>
                  </a:lnTo>
                  <a:lnTo>
                    <a:pt x="21" y="421"/>
                  </a:lnTo>
                  <a:lnTo>
                    <a:pt x="18" y="420"/>
                  </a:lnTo>
                  <a:lnTo>
                    <a:pt x="15" y="419"/>
                  </a:lnTo>
                  <a:lnTo>
                    <a:pt x="15" y="419"/>
                  </a:lnTo>
                  <a:lnTo>
                    <a:pt x="14" y="419"/>
                  </a:lnTo>
                  <a:lnTo>
                    <a:pt x="14" y="418"/>
                  </a:lnTo>
                  <a:lnTo>
                    <a:pt x="13" y="418"/>
                  </a:lnTo>
                  <a:lnTo>
                    <a:pt x="13" y="418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3" y="416"/>
                  </a:lnTo>
                  <a:lnTo>
                    <a:pt x="13" y="415"/>
                  </a:lnTo>
                  <a:lnTo>
                    <a:pt x="13" y="413"/>
                  </a:lnTo>
                  <a:lnTo>
                    <a:pt x="13" y="412"/>
                  </a:lnTo>
                  <a:lnTo>
                    <a:pt x="13" y="411"/>
                  </a:lnTo>
                  <a:lnTo>
                    <a:pt x="12" y="408"/>
                  </a:lnTo>
                  <a:lnTo>
                    <a:pt x="12" y="407"/>
                  </a:lnTo>
                  <a:lnTo>
                    <a:pt x="12" y="406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4" y="403"/>
                  </a:lnTo>
                  <a:lnTo>
                    <a:pt x="14" y="402"/>
                  </a:lnTo>
                  <a:lnTo>
                    <a:pt x="15" y="402"/>
                  </a:lnTo>
                  <a:lnTo>
                    <a:pt x="15" y="402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3" y="404"/>
                  </a:lnTo>
                  <a:lnTo>
                    <a:pt x="24" y="404"/>
                  </a:lnTo>
                  <a:lnTo>
                    <a:pt x="25" y="404"/>
                  </a:lnTo>
                  <a:lnTo>
                    <a:pt x="25" y="404"/>
                  </a:lnTo>
                  <a:lnTo>
                    <a:pt x="25" y="403"/>
                  </a:lnTo>
                  <a:lnTo>
                    <a:pt x="26" y="403"/>
                  </a:lnTo>
                  <a:lnTo>
                    <a:pt x="26" y="403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8" y="397"/>
                  </a:lnTo>
                  <a:lnTo>
                    <a:pt x="29" y="396"/>
                  </a:lnTo>
                  <a:lnTo>
                    <a:pt x="29" y="395"/>
                  </a:lnTo>
                  <a:lnTo>
                    <a:pt x="29" y="394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0" y="389"/>
                  </a:lnTo>
                  <a:lnTo>
                    <a:pt x="31" y="386"/>
                  </a:lnTo>
                  <a:lnTo>
                    <a:pt x="32" y="384"/>
                  </a:lnTo>
                  <a:lnTo>
                    <a:pt x="32" y="382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80"/>
                  </a:lnTo>
                  <a:lnTo>
                    <a:pt x="31" y="377"/>
                  </a:lnTo>
                  <a:lnTo>
                    <a:pt x="30" y="375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3"/>
                  </a:lnTo>
                  <a:lnTo>
                    <a:pt x="30" y="371"/>
                  </a:lnTo>
                  <a:lnTo>
                    <a:pt x="30" y="370"/>
                  </a:lnTo>
                  <a:lnTo>
                    <a:pt x="30" y="369"/>
                  </a:lnTo>
                  <a:lnTo>
                    <a:pt x="31" y="368"/>
                  </a:lnTo>
                  <a:lnTo>
                    <a:pt x="31" y="367"/>
                  </a:lnTo>
                  <a:lnTo>
                    <a:pt x="32" y="366"/>
                  </a:lnTo>
                  <a:lnTo>
                    <a:pt x="33" y="365"/>
                  </a:lnTo>
                  <a:lnTo>
                    <a:pt x="33" y="364"/>
                  </a:lnTo>
                  <a:lnTo>
                    <a:pt x="36" y="361"/>
                  </a:lnTo>
                  <a:lnTo>
                    <a:pt x="38" y="358"/>
                  </a:lnTo>
                  <a:lnTo>
                    <a:pt x="39" y="357"/>
                  </a:lnTo>
                  <a:lnTo>
                    <a:pt x="39" y="356"/>
                  </a:lnTo>
                  <a:lnTo>
                    <a:pt x="39" y="356"/>
                  </a:lnTo>
                  <a:lnTo>
                    <a:pt x="40" y="355"/>
                  </a:lnTo>
                  <a:lnTo>
                    <a:pt x="40" y="353"/>
                  </a:lnTo>
                  <a:lnTo>
                    <a:pt x="41" y="352"/>
                  </a:lnTo>
                  <a:lnTo>
                    <a:pt x="41" y="350"/>
                  </a:lnTo>
                  <a:lnTo>
                    <a:pt x="41" y="348"/>
                  </a:lnTo>
                  <a:lnTo>
                    <a:pt x="41" y="347"/>
                  </a:lnTo>
                  <a:lnTo>
                    <a:pt x="41" y="346"/>
                  </a:lnTo>
                  <a:lnTo>
                    <a:pt x="40" y="342"/>
                  </a:lnTo>
                  <a:lnTo>
                    <a:pt x="40" y="341"/>
                  </a:lnTo>
                  <a:lnTo>
                    <a:pt x="40" y="340"/>
                  </a:lnTo>
                  <a:lnTo>
                    <a:pt x="40" y="339"/>
                  </a:lnTo>
                  <a:lnTo>
                    <a:pt x="39" y="338"/>
                  </a:lnTo>
                  <a:lnTo>
                    <a:pt x="39" y="338"/>
                  </a:lnTo>
                  <a:lnTo>
                    <a:pt x="38" y="337"/>
                  </a:lnTo>
                  <a:lnTo>
                    <a:pt x="38" y="336"/>
                  </a:lnTo>
                  <a:lnTo>
                    <a:pt x="37" y="336"/>
                  </a:lnTo>
                  <a:lnTo>
                    <a:pt x="36" y="335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4" y="334"/>
                  </a:lnTo>
                  <a:lnTo>
                    <a:pt x="31" y="334"/>
                  </a:lnTo>
                  <a:lnTo>
                    <a:pt x="30" y="333"/>
                  </a:lnTo>
                  <a:lnTo>
                    <a:pt x="29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7" y="333"/>
                  </a:lnTo>
                  <a:lnTo>
                    <a:pt x="27" y="333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1"/>
                  </a:lnTo>
                  <a:lnTo>
                    <a:pt x="27" y="330"/>
                  </a:lnTo>
                  <a:lnTo>
                    <a:pt x="28" y="328"/>
                  </a:lnTo>
                  <a:lnTo>
                    <a:pt x="28" y="327"/>
                  </a:lnTo>
                  <a:lnTo>
                    <a:pt x="28" y="326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8" y="324"/>
                  </a:lnTo>
                  <a:lnTo>
                    <a:pt x="27" y="321"/>
                  </a:lnTo>
                  <a:lnTo>
                    <a:pt x="26" y="321"/>
                  </a:lnTo>
                  <a:lnTo>
                    <a:pt x="26" y="320"/>
                  </a:lnTo>
                  <a:lnTo>
                    <a:pt x="26" y="317"/>
                  </a:lnTo>
                  <a:lnTo>
                    <a:pt x="26" y="316"/>
                  </a:lnTo>
                  <a:lnTo>
                    <a:pt x="25" y="315"/>
                  </a:lnTo>
                  <a:lnTo>
                    <a:pt x="25" y="314"/>
                  </a:lnTo>
                  <a:lnTo>
                    <a:pt x="24" y="314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7" y="305"/>
                  </a:lnTo>
                  <a:lnTo>
                    <a:pt x="16" y="304"/>
                  </a:lnTo>
                  <a:lnTo>
                    <a:pt x="15" y="302"/>
                  </a:lnTo>
                  <a:lnTo>
                    <a:pt x="15" y="300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12" y="294"/>
                  </a:lnTo>
                  <a:lnTo>
                    <a:pt x="12" y="293"/>
                  </a:lnTo>
                  <a:lnTo>
                    <a:pt x="12" y="292"/>
                  </a:lnTo>
                  <a:lnTo>
                    <a:pt x="11" y="291"/>
                  </a:lnTo>
                  <a:lnTo>
                    <a:pt x="9" y="288"/>
                  </a:lnTo>
                  <a:lnTo>
                    <a:pt x="8" y="287"/>
                  </a:lnTo>
                  <a:lnTo>
                    <a:pt x="8" y="286"/>
                  </a:lnTo>
                  <a:lnTo>
                    <a:pt x="8" y="285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6"/>
                  </a:lnTo>
                  <a:lnTo>
                    <a:pt x="9" y="275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2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8"/>
                  </a:lnTo>
                  <a:lnTo>
                    <a:pt x="13" y="267"/>
                  </a:lnTo>
                  <a:lnTo>
                    <a:pt x="13" y="266"/>
                  </a:lnTo>
                  <a:lnTo>
                    <a:pt x="13" y="266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2" y="260"/>
                  </a:lnTo>
                  <a:lnTo>
                    <a:pt x="12" y="258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7"/>
                  </a:lnTo>
                  <a:lnTo>
                    <a:pt x="10" y="246"/>
                  </a:lnTo>
                  <a:lnTo>
                    <a:pt x="9" y="241"/>
                  </a:lnTo>
                  <a:lnTo>
                    <a:pt x="7" y="236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5" y="230"/>
                  </a:lnTo>
                  <a:lnTo>
                    <a:pt x="4" y="225"/>
                  </a:lnTo>
                  <a:lnTo>
                    <a:pt x="4" y="223"/>
                  </a:lnTo>
                  <a:lnTo>
                    <a:pt x="3" y="220"/>
                  </a:lnTo>
                  <a:lnTo>
                    <a:pt x="1" y="216"/>
                  </a:lnTo>
                  <a:lnTo>
                    <a:pt x="1" y="215"/>
                  </a:lnTo>
                  <a:lnTo>
                    <a:pt x="1" y="214"/>
                  </a:lnTo>
                  <a:lnTo>
                    <a:pt x="0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1" y="210"/>
                  </a:lnTo>
                  <a:lnTo>
                    <a:pt x="1" y="210"/>
                  </a:lnTo>
                  <a:lnTo>
                    <a:pt x="2" y="210"/>
                  </a:lnTo>
                  <a:lnTo>
                    <a:pt x="2" y="210"/>
                  </a:lnTo>
                  <a:lnTo>
                    <a:pt x="3" y="209"/>
                  </a:lnTo>
                  <a:lnTo>
                    <a:pt x="4" y="209"/>
                  </a:lnTo>
                  <a:lnTo>
                    <a:pt x="5" y="209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0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3" y="205"/>
                  </a:lnTo>
                  <a:lnTo>
                    <a:pt x="14" y="204"/>
                  </a:lnTo>
                  <a:lnTo>
                    <a:pt x="15" y="203"/>
                  </a:lnTo>
                  <a:lnTo>
                    <a:pt x="15" y="202"/>
                  </a:lnTo>
                  <a:lnTo>
                    <a:pt x="18" y="199"/>
                  </a:lnTo>
                  <a:lnTo>
                    <a:pt x="19" y="198"/>
                  </a:lnTo>
                  <a:lnTo>
                    <a:pt x="22" y="196"/>
                  </a:lnTo>
                  <a:lnTo>
                    <a:pt x="23" y="194"/>
                  </a:lnTo>
                  <a:lnTo>
                    <a:pt x="24" y="194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2"/>
                  </a:lnTo>
                  <a:lnTo>
                    <a:pt x="26" y="191"/>
                  </a:lnTo>
                  <a:lnTo>
                    <a:pt x="26" y="190"/>
                  </a:lnTo>
                  <a:lnTo>
                    <a:pt x="27" y="189"/>
                  </a:lnTo>
                  <a:lnTo>
                    <a:pt x="27" y="188"/>
                  </a:lnTo>
                  <a:lnTo>
                    <a:pt x="27" y="187"/>
                  </a:lnTo>
                  <a:lnTo>
                    <a:pt x="27" y="185"/>
                  </a:lnTo>
                  <a:lnTo>
                    <a:pt x="26" y="182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0"/>
                  </a:lnTo>
                  <a:lnTo>
                    <a:pt x="27" y="169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6"/>
                  </a:lnTo>
                  <a:lnTo>
                    <a:pt x="27" y="162"/>
                  </a:lnTo>
                  <a:lnTo>
                    <a:pt x="27" y="161"/>
                  </a:lnTo>
                  <a:lnTo>
                    <a:pt x="27" y="160"/>
                  </a:lnTo>
                  <a:lnTo>
                    <a:pt x="27" y="159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30" y="150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4" y="143"/>
                  </a:lnTo>
                  <a:lnTo>
                    <a:pt x="36" y="135"/>
                  </a:lnTo>
                  <a:lnTo>
                    <a:pt x="38" y="132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40" y="125"/>
                  </a:lnTo>
                  <a:lnTo>
                    <a:pt x="40" y="123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4" y="114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9" y="108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5" y="105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3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1"/>
                  </a:lnTo>
                  <a:lnTo>
                    <a:pt x="69" y="100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6" y="99"/>
                  </a:lnTo>
                  <a:lnTo>
                    <a:pt x="79" y="102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1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3"/>
                  </a:lnTo>
                  <a:lnTo>
                    <a:pt x="85" y="103"/>
                  </a:lnTo>
                  <a:lnTo>
                    <a:pt x="85" y="102"/>
                  </a:lnTo>
                  <a:lnTo>
                    <a:pt x="86" y="102"/>
                  </a:lnTo>
                  <a:lnTo>
                    <a:pt x="86" y="101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6" y="97"/>
                  </a:lnTo>
                  <a:lnTo>
                    <a:pt x="85" y="94"/>
                  </a:lnTo>
                  <a:lnTo>
                    <a:pt x="85" y="92"/>
                  </a:lnTo>
                  <a:lnTo>
                    <a:pt x="84" y="91"/>
                  </a:lnTo>
                  <a:lnTo>
                    <a:pt x="84" y="89"/>
                  </a:lnTo>
                  <a:lnTo>
                    <a:pt x="84" y="88"/>
                  </a:lnTo>
                  <a:lnTo>
                    <a:pt x="84" y="87"/>
                  </a:lnTo>
                  <a:lnTo>
                    <a:pt x="85" y="83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5" y="78"/>
                  </a:lnTo>
                  <a:lnTo>
                    <a:pt x="84" y="77"/>
                  </a:lnTo>
                  <a:lnTo>
                    <a:pt x="84" y="75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79" y="68"/>
                  </a:lnTo>
                  <a:lnTo>
                    <a:pt x="78" y="67"/>
                  </a:lnTo>
                  <a:lnTo>
                    <a:pt x="77" y="66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68" y="62"/>
                  </a:lnTo>
                  <a:lnTo>
                    <a:pt x="67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1" y="54"/>
                  </a:lnTo>
                  <a:lnTo>
                    <a:pt x="59" y="49"/>
                  </a:lnTo>
                  <a:lnTo>
                    <a:pt x="57" y="44"/>
                  </a:lnTo>
                  <a:lnTo>
                    <a:pt x="56" y="42"/>
                  </a:lnTo>
                  <a:lnTo>
                    <a:pt x="55" y="40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3" y="32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8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4" y="6"/>
                  </a:lnTo>
                  <a:lnTo>
                    <a:pt x="45" y="5"/>
                  </a:lnTo>
                  <a:lnTo>
                    <a:pt x="46" y="4"/>
                  </a:lnTo>
                  <a:lnTo>
                    <a:pt x="47" y="3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9" y="5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0" y="12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6" y="14"/>
                  </a:lnTo>
                  <a:lnTo>
                    <a:pt x="92" y="16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8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3" y="22"/>
                  </a:lnTo>
                  <a:lnTo>
                    <a:pt x="113" y="23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5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8" y="31"/>
                  </a:lnTo>
                  <a:lnTo>
                    <a:pt x="140" y="35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3" y="40"/>
                  </a:lnTo>
                  <a:lnTo>
                    <a:pt x="144" y="41"/>
                  </a:lnTo>
                  <a:lnTo>
                    <a:pt x="145" y="43"/>
                  </a:lnTo>
                  <a:lnTo>
                    <a:pt x="146" y="44"/>
                  </a:lnTo>
                  <a:lnTo>
                    <a:pt x="147" y="45"/>
                  </a:lnTo>
                  <a:lnTo>
                    <a:pt x="148" y="46"/>
                  </a:lnTo>
                  <a:lnTo>
                    <a:pt x="149" y="47"/>
                  </a:lnTo>
                  <a:lnTo>
                    <a:pt x="151" y="49"/>
                  </a:lnTo>
                  <a:lnTo>
                    <a:pt x="153" y="50"/>
                  </a:lnTo>
                  <a:lnTo>
                    <a:pt x="154" y="51"/>
                  </a:lnTo>
                  <a:lnTo>
                    <a:pt x="155" y="52"/>
                  </a:lnTo>
                  <a:lnTo>
                    <a:pt x="156" y="52"/>
                  </a:lnTo>
                  <a:lnTo>
                    <a:pt x="158" y="53"/>
                  </a:lnTo>
                  <a:lnTo>
                    <a:pt x="160" y="54"/>
                  </a:lnTo>
                  <a:lnTo>
                    <a:pt x="161" y="54"/>
                  </a:lnTo>
                  <a:lnTo>
                    <a:pt x="162" y="55"/>
                  </a:lnTo>
                  <a:lnTo>
                    <a:pt x="163" y="55"/>
                  </a:lnTo>
                  <a:lnTo>
                    <a:pt x="164" y="55"/>
                  </a:lnTo>
                  <a:lnTo>
                    <a:pt x="165" y="55"/>
                  </a:lnTo>
                  <a:lnTo>
                    <a:pt x="166" y="56"/>
                  </a:lnTo>
                  <a:lnTo>
                    <a:pt x="167" y="56"/>
                  </a:lnTo>
                  <a:lnTo>
                    <a:pt x="169" y="56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2" name="Freeform 72">
              <a:extLst>
                <a:ext uri="{FF2B5EF4-FFF2-40B4-BE49-F238E27FC236}">
                  <a16:creationId xmlns:a16="http://schemas.microsoft.com/office/drawing/2014/main" id="{EB8A4CE1-4F2F-E9A5-499E-6AF8624F6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4" y="3551"/>
              <a:ext cx="387" cy="320"/>
            </a:xfrm>
            <a:custGeom>
              <a:avLst/>
              <a:gdLst>
                <a:gd name="T0" fmla="*/ 257 w 387"/>
                <a:gd name="T1" fmla="*/ 7 h 320"/>
                <a:gd name="T2" fmla="*/ 275 w 387"/>
                <a:gd name="T3" fmla="*/ 11 h 320"/>
                <a:gd name="T4" fmla="*/ 308 w 387"/>
                <a:gd name="T5" fmla="*/ 10 h 320"/>
                <a:gd name="T6" fmla="*/ 331 w 387"/>
                <a:gd name="T7" fmla="*/ 19 h 320"/>
                <a:gd name="T8" fmla="*/ 349 w 387"/>
                <a:gd name="T9" fmla="*/ 20 h 320"/>
                <a:gd name="T10" fmla="*/ 366 w 387"/>
                <a:gd name="T11" fmla="*/ 38 h 320"/>
                <a:gd name="T12" fmla="*/ 377 w 387"/>
                <a:gd name="T13" fmla="*/ 55 h 320"/>
                <a:gd name="T14" fmla="*/ 387 w 387"/>
                <a:gd name="T15" fmla="*/ 65 h 320"/>
                <a:gd name="T16" fmla="*/ 379 w 387"/>
                <a:gd name="T17" fmla="*/ 89 h 320"/>
                <a:gd name="T18" fmla="*/ 340 w 387"/>
                <a:gd name="T19" fmla="*/ 108 h 320"/>
                <a:gd name="T20" fmla="*/ 319 w 387"/>
                <a:gd name="T21" fmla="*/ 121 h 320"/>
                <a:gd name="T22" fmla="*/ 312 w 387"/>
                <a:gd name="T23" fmla="*/ 144 h 320"/>
                <a:gd name="T24" fmla="*/ 306 w 387"/>
                <a:gd name="T25" fmla="*/ 171 h 320"/>
                <a:gd name="T26" fmla="*/ 303 w 387"/>
                <a:gd name="T27" fmla="*/ 192 h 320"/>
                <a:gd name="T28" fmla="*/ 296 w 387"/>
                <a:gd name="T29" fmla="*/ 221 h 320"/>
                <a:gd name="T30" fmla="*/ 276 w 387"/>
                <a:gd name="T31" fmla="*/ 237 h 320"/>
                <a:gd name="T32" fmla="*/ 250 w 387"/>
                <a:gd name="T33" fmla="*/ 240 h 320"/>
                <a:gd name="T34" fmla="*/ 242 w 387"/>
                <a:gd name="T35" fmla="*/ 258 h 320"/>
                <a:gd name="T36" fmla="*/ 234 w 387"/>
                <a:gd name="T37" fmla="*/ 282 h 320"/>
                <a:gd name="T38" fmla="*/ 210 w 387"/>
                <a:gd name="T39" fmla="*/ 286 h 320"/>
                <a:gd name="T40" fmla="*/ 192 w 387"/>
                <a:gd name="T41" fmla="*/ 305 h 320"/>
                <a:gd name="T42" fmla="*/ 165 w 387"/>
                <a:gd name="T43" fmla="*/ 320 h 320"/>
                <a:gd name="T44" fmla="*/ 149 w 387"/>
                <a:gd name="T45" fmla="*/ 296 h 320"/>
                <a:gd name="T46" fmla="*/ 133 w 387"/>
                <a:gd name="T47" fmla="*/ 285 h 320"/>
                <a:gd name="T48" fmla="*/ 125 w 387"/>
                <a:gd name="T49" fmla="*/ 274 h 320"/>
                <a:gd name="T50" fmla="*/ 101 w 387"/>
                <a:gd name="T51" fmla="*/ 274 h 320"/>
                <a:gd name="T52" fmla="*/ 83 w 387"/>
                <a:gd name="T53" fmla="*/ 265 h 320"/>
                <a:gd name="T54" fmla="*/ 74 w 387"/>
                <a:gd name="T55" fmla="*/ 255 h 320"/>
                <a:gd name="T56" fmla="*/ 52 w 387"/>
                <a:gd name="T57" fmla="*/ 247 h 320"/>
                <a:gd name="T58" fmla="*/ 39 w 387"/>
                <a:gd name="T59" fmla="*/ 239 h 320"/>
                <a:gd name="T60" fmla="*/ 34 w 387"/>
                <a:gd name="T61" fmla="*/ 226 h 320"/>
                <a:gd name="T62" fmla="*/ 24 w 387"/>
                <a:gd name="T63" fmla="*/ 216 h 320"/>
                <a:gd name="T64" fmla="*/ 2 w 387"/>
                <a:gd name="T65" fmla="*/ 221 h 320"/>
                <a:gd name="T66" fmla="*/ 4 w 387"/>
                <a:gd name="T67" fmla="*/ 209 h 320"/>
                <a:gd name="T68" fmla="*/ 18 w 387"/>
                <a:gd name="T69" fmla="*/ 192 h 320"/>
                <a:gd name="T70" fmla="*/ 24 w 387"/>
                <a:gd name="T71" fmla="*/ 178 h 320"/>
                <a:gd name="T72" fmla="*/ 12 w 387"/>
                <a:gd name="T73" fmla="*/ 175 h 320"/>
                <a:gd name="T74" fmla="*/ 7 w 387"/>
                <a:gd name="T75" fmla="*/ 159 h 320"/>
                <a:gd name="T76" fmla="*/ 6 w 387"/>
                <a:gd name="T77" fmla="*/ 138 h 320"/>
                <a:gd name="T78" fmla="*/ 17 w 387"/>
                <a:gd name="T79" fmla="*/ 125 h 320"/>
                <a:gd name="T80" fmla="*/ 39 w 387"/>
                <a:gd name="T81" fmla="*/ 119 h 320"/>
                <a:gd name="T82" fmla="*/ 54 w 387"/>
                <a:gd name="T83" fmla="*/ 110 h 320"/>
                <a:gd name="T84" fmla="*/ 67 w 387"/>
                <a:gd name="T85" fmla="*/ 94 h 320"/>
                <a:gd name="T86" fmla="*/ 64 w 387"/>
                <a:gd name="T87" fmla="*/ 76 h 320"/>
                <a:gd name="T88" fmla="*/ 73 w 387"/>
                <a:gd name="T89" fmla="*/ 66 h 320"/>
                <a:gd name="T90" fmla="*/ 78 w 387"/>
                <a:gd name="T91" fmla="*/ 77 h 320"/>
                <a:gd name="T92" fmla="*/ 97 w 387"/>
                <a:gd name="T93" fmla="*/ 81 h 320"/>
                <a:gd name="T94" fmla="*/ 111 w 387"/>
                <a:gd name="T95" fmla="*/ 83 h 320"/>
                <a:gd name="T96" fmla="*/ 117 w 387"/>
                <a:gd name="T97" fmla="*/ 69 h 320"/>
                <a:gd name="T98" fmla="*/ 137 w 387"/>
                <a:gd name="T99" fmla="*/ 66 h 320"/>
                <a:gd name="T100" fmla="*/ 150 w 387"/>
                <a:gd name="T101" fmla="*/ 67 h 320"/>
                <a:gd name="T102" fmla="*/ 154 w 387"/>
                <a:gd name="T103" fmla="*/ 56 h 320"/>
                <a:gd name="T104" fmla="*/ 153 w 387"/>
                <a:gd name="T105" fmla="*/ 46 h 320"/>
                <a:gd name="T106" fmla="*/ 162 w 387"/>
                <a:gd name="T107" fmla="*/ 45 h 320"/>
                <a:gd name="T108" fmla="*/ 174 w 387"/>
                <a:gd name="T109" fmla="*/ 44 h 320"/>
                <a:gd name="T110" fmla="*/ 192 w 387"/>
                <a:gd name="T111" fmla="*/ 47 h 320"/>
                <a:gd name="T112" fmla="*/ 199 w 387"/>
                <a:gd name="T113" fmla="*/ 28 h 320"/>
                <a:gd name="T114" fmla="*/ 211 w 387"/>
                <a:gd name="T115" fmla="*/ 15 h 320"/>
                <a:gd name="T116" fmla="*/ 225 w 387"/>
                <a:gd name="T117" fmla="*/ 12 h 320"/>
                <a:gd name="T118" fmla="*/ 234 w 387"/>
                <a:gd name="T119" fmla="*/ 4 h 320"/>
                <a:gd name="T120" fmla="*/ 240 w 387"/>
                <a:gd name="T121" fmla="*/ 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87" h="320">
                  <a:moveTo>
                    <a:pt x="241" y="0"/>
                  </a:moveTo>
                  <a:lnTo>
                    <a:pt x="243" y="0"/>
                  </a:lnTo>
                  <a:lnTo>
                    <a:pt x="244" y="0"/>
                  </a:lnTo>
                  <a:lnTo>
                    <a:pt x="246" y="0"/>
                  </a:lnTo>
                  <a:lnTo>
                    <a:pt x="248" y="1"/>
                  </a:lnTo>
                  <a:lnTo>
                    <a:pt x="249" y="1"/>
                  </a:lnTo>
                  <a:lnTo>
                    <a:pt x="250" y="2"/>
                  </a:lnTo>
                  <a:lnTo>
                    <a:pt x="251" y="2"/>
                  </a:lnTo>
                  <a:lnTo>
                    <a:pt x="253" y="3"/>
                  </a:lnTo>
                  <a:lnTo>
                    <a:pt x="254" y="4"/>
                  </a:lnTo>
                  <a:lnTo>
                    <a:pt x="255" y="5"/>
                  </a:lnTo>
                  <a:lnTo>
                    <a:pt x="256" y="6"/>
                  </a:lnTo>
                  <a:lnTo>
                    <a:pt x="256" y="7"/>
                  </a:lnTo>
                  <a:lnTo>
                    <a:pt x="257" y="7"/>
                  </a:lnTo>
                  <a:lnTo>
                    <a:pt x="258" y="10"/>
                  </a:lnTo>
                  <a:lnTo>
                    <a:pt x="259" y="11"/>
                  </a:lnTo>
                  <a:lnTo>
                    <a:pt x="259" y="12"/>
                  </a:lnTo>
                  <a:lnTo>
                    <a:pt x="260" y="12"/>
                  </a:lnTo>
                  <a:lnTo>
                    <a:pt x="260" y="12"/>
                  </a:lnTo>
                  <a:lnTo>
                    <a:pt x="261" y="13"/>
                  </a:lnTo>
                  <a:lnTo>
                    <a:pt x="262" y="13"/>
                  </a:lnTo>
                  <a:lnTo>
                    <a:pt x="262" y="13"/>
                  </a:lnTo>
                  <a:lnTo>
                    <a:pt x="263" y="14"/>
                  </a:lnTo>
                  <a:lnTo>
                    <a:pt x="264" y="13"/>
                  </a:lnTo>
                  <a:lnTo>
                    <a:pt x="265" y="13"/>
                  </a:lnTo>
                  <a:lnTo>
                    <a:pt x="267" y="13"/>
                  </a:lnTo>
                  <a:lnTo>
                    <a:pt x="268" y="13"/>
                  </a:lnTo>
                  <a:lnTo>
                    <a:pt x="275" y="11"/>
                  </a:lnTo>
                  <a:lnTo>
                    <a:pt x="279" y="10"/>
                  </a:lnTo>
                  <a:lnTo>
                    <a:pt x="282" y="9"/>
                  </a:lnTo>
                  <a:lnTo>
                    <a:pt x="286" y="8"/>
                  </a:lnTo>
                  <a:lnTo>
                    <a:pt x="288" y="8"/>
                  </a:lnTo>
                  <a:lnTo>
                    <a:pt x="291" y="8"/>
                  </a:lnTo>
                  <a:lnTo>
                    <a:pt x="294" y="8"/>
                  </a:lnTo>
                  <a:lnTo>
                    <a:pt x="296" y="8"/>
                  </a:lnTo>
                  <a:lnTo>
                    <a:pt x="297" y="8"/>
                  </a:lnTo>
                  <a:lnTo>
                    <a:pt x="298" y="8"/>
                  </a:lnTo>
                  <a:lnTo>
                    <a:pt x="302" y="9"/>
                  </a:lnTo>
                  <a:lnTo>
                    <a:pt x="303" y="9"/>
                  </a:lnTo>
                  <a:lnTo>
                    <a:pt x="304" y="9"/>
                  </a:lnTo>
                  <a:lnTo>
                    <a:pt x="307" y="9"/>
                  </a:lnTo>
                  <a:lnTo>
                    <a:pt x="308" y="10"/>
                  </a:lnTo>
                  <a:lnTo>
                    <a:pt x="309" y="10"/>
                  </a:lnTo>
                  <a:lnTo>
                    <a:pt x="310" y="10"/>
                  </a:lnTo>
                  <a:lnTo>
                    <a:pt x="311" y="11"/>
                  </a:lnTo>
                  <a:lnTo>
                    <a:pt x="312" y="11"/>
                  </a:lnTo>
                  <a:lnTo>
                    <a:pt x="313" y="12"/>
                  </a:lnTo>
                  <a:lnTo>
                    <a:pt x="317" y="15"/>
                  </a:lnTo>
                  <a:lnTo>
                    <a:pt x="319" y="16"/>
                  </a:lnTo>
                  <a:lnTo>
                    <a:pt x="320" y="16"/>
                  </a:lnTo>
                  <a:lnTo>
                    <a:pt x="320" y="17"/>
                  </a:lnTo>
                  <a:lnTo>
                    <a:pt x="322" y="17"/>
                  </a:lnTo>
                  <a:lnTo>
                    <a:pt x="323" y="18"/>
                  </a:lnTo>
                  <a:lnTo>
                    <a:pt x="324" y="18"/>
                  </a:lnTo>
                  <a:lnTo>
                    <a:pt x="330" y="19"/>
                  </a:lnTo>
                  <a:lnTo>
                    <a:pt x="331" y="19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7" y="20"/>
                  </a:lnTo>
                  <a:lnTo>
                    <a:pt x="338" y="20"/>
                  </a:lnTo>
                  <a:lnTo>
                    <a:pt x="339" y="19"/>
                  </a:lnTo>
                  <a:lnTo>
                    <a:pt x="342" y="19"/>
                  </a:lnTo>
                  <a:lnTo>
                    <a:pt x="344" y="18"/>
                  </a:lnTo>
                  <a:lnTo>
                    <a:pt x="344" y="18"/>
                  </a:lnTo>
                  <a:lnTo>
                    <a:pt x="345" y="18"/>
                  </a:lnTo>
                  <a:lnTo>
                    <a:pt x="346" y="18"/>
                  </a:lnTo>
                  <a:lnTo>
                    <a:pt x="347" y="19"/>
                  </a:lnTo>
                  <a:lnTo>
                    <a:pt x="348" y="19"/>
                  </a:lnTo>
                  <a:lnTo>
                    <a:pt x="349" y="20"/>
                  </a:lnTo>
                  <a:lnTo>
                    <a:pt x="350" y="20"/>
                  </a:lnTo>
                  <a:lnTo>
                    <a:pt x="351" y="21"/>
                  </a:lnTo>
                  <a:lnTo>
                    <a:pt x="352" y="21"/>
                  </a:lnTo>
                  <a:lnTo>
                    <a:pt x="352" y="22"/>
                  </a:lnTo>
                  <a:lnTo>
                    <a:pt x="353" y="23"/>
                  </a:lnTo>
                  <a:lnTo>
                    <a:pt x="355" y="27"/>
                  </a:lnTo>
                  <a:lnTo>
                    <a:pt x="356" y="29"/>
                  </a:lnTo>
                  <a:lnTo>
                    <a:pt x="357" y="30"/>
                  </a:lnTo>
                  <a:lnTo>
                    <a:pt x="358" y="31"/>
                  </a:lnTo>
                  <a:lnTo>
                    <a:pt x="358" y="32"/>
                  </a:lnTo>
                  <a:lnTo>
                    <a:pt x="359" y="33"/>
                  </a:lnTo>
                  <a:lnTo>
                    <a:pt x="360" y="34"/>
                  </a:lnTo>
                  <a:lnTo>
                    <a:pt x="361" y="35"/>
                  </a:lnTo>
                  <a:lnTo>
                    <a:pt x="366" y="38"/>
                  </a:lnTo>
                  <a:lnTo>
                    <a:pt x="367" y="39"/>
                  </a:lnTo>
                  <a:lnTo>
                    <a:pt x="368" y="40"/>
                  </a:lnTo>
                  <a:lnTo>
                    <a:pt x="369" y="40"/>
                  </a:lnTo>
                  <a:lnTo>
                    <a:pt x="370" y="41"/>
                  </a:lnTo>
                  <a:lnTo>
                    <a:pt x="372" y="44"/>
                  </a:lnTo>
                  <a:lnTo>
                    <a:pt x="372" y="45"/>
                  </a:lnTo>
                  <a:lnTo>
                    <a:pt x="373" y="46"/>
                  </a:lnTo>
                  <a:lnTo>
                    <a:pt x="373" y="46"/>
                  </a:lnTo>
                  <a:lnTo>
                    <a:pt x="373" y="47"/>
                  </a:lnTo>
                  <a:lnTo>
                    <a:pt x="375" y="51"/>
                  </a:lnTo>
                  <a:lnTo>
                    <a:pt x="376" y="53"/>
                  </a:lnTo>
                  <a:lnTo>
                    <a:pt x="376" y="53"/>
                  </a:lnTo>
                  <a:lnTo>
                    <a:pt x="377" y="54"/>
                  </a:lnTo>
                  <a:lnTo>
                    <a:pt x="377" y="55"/>
                  </a:lnTo>
                  <a:lnTo>
                    <a:pt x="378" y="55"/>
                  </a:lnTo>
                  <a:lnTo>
                    <a:pt x="378" y="56"/>
                  </a:lnTo>
                  <a:lnTo>
                    <a:pt x="379" y="57"/>
                  </a:lnTo>
                  <a:lnTo>
                    <a:pt x="380" y="57"/>
                  </a:lnTo>
                  <a:lnTo>
                    <a:pt x="381" y="58"/>
                  </a:lnTo>
                  <a:lnTo>
                    <a:pt x="382" y="59"/>
                  </a:lnTo>
                  <a:lnTo>
                    <a:pt x="383" y="59"/>
                  </a:lnTo>
                  <a:lnTo>
                    <a:pt x="384" y="60"/>
                  </a:lnTo>
                  <a:lnTo>
                    <a:pt x="384" y="60"/>
                  </a:lnTo>
                  <a:lnTo>
                    <a:pt x="385" y="60"/>
                  </a:lnTo>
                  <a:lnTo>
                    <a:pt x="385" y="60"/>
                  </a:lnTo>
                  <a:lnTo>
                    <a:pt x="385" y="61"/>
                  </a:lnTo>
                  <a:lnTo>
                    <a:pt x="386" y="63"/>
                  </a:lnTo>
                  <a:lnTo>
                    <a:pt x="387" y="65"/>
                  </a:lnTo>
                  <a:lnTo>
                    <a:pt x="387" y="67"/>
                  </a:lnTo>
                  <a:lnTo>
                    <a:pt x="387" y="68"/>
                  </a:lnTo>
                  <a:lnTo>
                    <a:pt x="387" y="70"/>
                  </a:lnTo>
                  <a:lnTo>
                    <a:pt x="387" y="71"/>
                  </a:lnTo>
                  <a:lnTo>
                    <a:pt x="387" y="73"/>
                  </a:lnTo>
                  <a:lnTo>
                    <a:pt x="387" y="75"/>
                  </a:lnTo>
                  <a:lnTo>
                    <a:pt x="386" y="76"/>
                  </a:lnTo>
                  <a:lnTo>
                    <a:pt x="386" y="78"/>
                  </a:lnTo>
                  <a:lnTo>
                    <a:pt x="385" y="80"/>
                  </a:lnTo>
                  <a:lnTo>
                    <a:pt x="384" y="81"/>
                  </a:lnTo>
                  <a:lnTo>
                    <a:pt x="383" y="82"/>
                  </a:lnTo>
                  <a:lnTo>
                    <a:pt x="383" y="84"/>
                  </a:lnTo>
                  <a:lnTo>
                    <a:pt x="380" y="87"/>
                  </a:lnTo>
                  <a:lnTo>
                    <a:pt x="379" y="89"/>
                  </a:lnTo>
                  <a:lnTo>
                    <a:pt x="378" y="90"/>
                  </a:lnTo>
                  <a:lnTo>
                    <a:pt x="376" y="91"/>
                  </a:lnTo>
                  <a:lnTo>
                    <a:pt x="375" y="92"/>
                  </a:lnTo>
                  <a:lnTo>
                    <a:pt x="374" y="93"/>
                  </a:lnTo>
                  <a:lnTo>
                    <a:pt x="372" y="94"/>
                  </a:lnTo>
                  <a:lnTo>
                    <a:pt x="370" y="95"/>
                  </a:lnTo>
                  <a:lnTo>
                    <a:pt x="364" y="98"/>
                  </a:lnTo>
                  <a:lnTo>
                    <a:pt x="358" y="101"/>
                  </a:lnTo>
                  <a:lnTo>
                    <a:pt x="355" y="102"/>
                  </a:lnTo>
                  <a:lnTo>
                    <a:pt x="353" y="103"/>
                  </a:lnTo>
                  <a:lnTo>
                    <a:pt x="351" y="104"/>
                  </a:lnTo>
                  <a:lnTo>
                    <a:pt x="345" y="106"/>
                  </a:lnTo>
                  <a:lnTo>
                    <a:pt x="342" y="107"/>
                  </a:lnTo>
                  <a:lnTo>
                    <a:pt x="340" y="108"/>
                  </a:lnTo>
                  <a:lnTo>
                    <a:pt x="339" y="108"/>
                  </a:lnTo>
                  <a:lnTo>
                    <a:pt x="332" y="109"/>
                  </a:lnTo>
                  <a:lnTo>
                    <a:pt x="330" y="110"/>
                  </a:lnTo>
                  <a:lnTo>
                    <a:pt x="328" y="111"/>
                  </a:lnTo>
                  <a:lnTo>
                    <a:pt x="327" y="111"/>
                  </a:lnTo>
                  <a:lnTo>
                    <a:pt x="326" y="112"/>
                  </a:lnTo>
                  <a:lnTo>
                    <a:pt x="325" y="112"/>
                  </a:lnTo>
                  <a:lnTo>
                    <a:pt x="324" y="113"/>
                  </a:lnTo>
                  <a:lnTo>
                    <a:pt x="323" y="114"/>
                  </a:lnTo>
                  <a:lnTo>
                    <a:pt x="323" y="114"/>
                  </a:lnTo>
                  <a:lnTo>
                    <a:pt x="322" y="115"/>
                  </a:lnTo>
                  <a:lnTo>
                    <a:pt x="321" y="117"/>
                  </a:lnTo>
                  <a:lnTo>
                    <a:pt x="320" y="120"/>
                  </a:lnTo>
                  <a:lnTo>
                    <a:pt x="319" y="121"/>
                  </a:lnTo>
                  <a:lnTo>
                    <a:pt x="318" y="123"/>
                  </a:lnTo>
                  <a:lnTo>
                    <a:pt x="315" y="126"/>
                  </a:lnTo>
                  <a:lnTo>
                    <a:pt x="314" y="128"/>
                  </a:lnTo>
                  <a:lnTo>
                    <a:pt x="313" y="130"/>
                  </a:lnTo>
                  <a:lnTo>
                    <a:pt x="312" y="131"/>
                  </a:lnTo>
                  <a:lnTo>
                    <a:pt x="312" y="133"/>
                  </a:lnTo>
                  <a:lnTo>
                    <a:pt x="311" y="134"/>
                  </a:lnTo>
                  <a:lnTo>
                    <a:pt x="311" y="135"/>
                  </a:lnTo>
                  <a:lnTo>
                    <a:pt x="311" y="137"/>
                  </a:lnTo>
                  <a:lnTo>
                    <a:pt x="311" y="138"/>
                  </a:lnTo>
                  <a:lnTo>
                    <a:pt x="311" y="139"/>
                  </a:lnTo>
                  <a:lnTo>
                    <a:pt x="312" y="142"/>
                  </a:lnTo>
                  <a:lnTo>
                    <a:pt x="312" y="143"/>
                  </a:lnTo>
                  <a:lnTo>
                    <a:pt x="312" y="144"/>
                  </a:lnTo>
                  <a:lnTo>
                    <a:pt x="312" y="145"/>
                  </a:lnTo>
                  <a:lnTo>
                    <a:pt x="311" y="146"/>
                  </a:lnTo>
                  <a:lnTo>
                    <a:pt x="311" y="149"/>
                  </a:lnTo>
                  <a:lnTo>
                    <a:pt x="311" y="151"/>
                  </a:lnTo>
                  <a:lnTo>
                    <a:pt x="310" y="152"/>
                  </a:lnTo>
                  <a:lnTo>
                    <a:pt x="310" y="154"/>
                  </a:lnTo>
                  <a:lnTo>
                    <a:pt x="308" y="158"/>
                  </a:lnTo>
                  <a:lnTo>
                    <a:pt x="308" y="160"/>
                  </a:lnTo>
                  <a:lnTo>
                    <a:pt x="308" y="161"/>
                  </a:lnTo>
                  <a:lnTo>
                    <a:pt x="307" y="162"/>
                  </a:lnTo>
                  <a:lnTo>
                    <a:pt x="307" y="164"/>
                  </a:lnTo>
                  <a:lnTo>
                    <a:pt x="307" y="166"/>
                  </a:lnTo>
                  <a:lnTo>
                    <a:pt x="306" y="170"/>
                  </a:lnTo>
                  <a:lnTo>
                    <a:pt x="306" y="171"/>
                  </a:lnTo>
                  <a:lnTo>
                    <a:pt x="306" y="172"/>
                  </a:lnTo>
                  <a:lnTo>
                    <a:pt x="306" y="173"/>
                  </a:lnTo>
                  <a:lnTo>
                    <a:pt x="306" y="174"/>
                  </a:lnTo>
                  <a:lnTo>
                    <a:pt x="304" y="177"/>
                  </a:lnTo>
                  <a:lnTo>
                    <a:pt x="304" y="178"/>
                  </a:lnTo>
                  <a:lnTo>
                    <a:pt x="303" y="182"/>
                  </a:lnTo>
                  <a:lnTo>
                    <a:pt x="302" y="183"/>
                  </a:lnTo>
                  <a:lnTo>
                    <a:pt x="302" y="184"/>
                  </a:lnTo>
                  <a:lnTo>
                    <a:pt x="302" y="185"/>
                  </a:lnTo>
                  <a:lnTo>
                    <a:pt x="302" y="186"/>
                  </a:lnTo>
                  <a:lnTo>
                    <a:pt x="302" y="187"/>
                  </a:lnTo>
                  <a:lnTo>
                    <a:pt x="303" y="190"/>
                  </a:lnTo>
                  <a:lnTo>
                    <a:pt x="303" y="191"/>
                  </a:lnTo>
                  <a:lnTo>
                    <a:pt x="303" y="192"/>
                  </a:lnTo>
                  <a:lnTo>
                    <a:pt x="303" y="192"/>
                  </a:lnTo>
                  <a:lnTo>
                    <a:pt x="303" y="196"/>
                  </a:lnTo>
                  <a:lnTo>
                    <a:pt x="303" y="201"/>
                  </a:lnTo>
                  <a:lnTo>
                    <a:pt x="302" y="202"/>
                  </a:lnTo>
                  <a:lnTo>
                    <a:pt x="302" y="204"/>
                  </a:lnTo>
                  <a:lnTo>
                    <a:pt x="302" y="206"/>
                  </a:lnTo>
                  <a:lnTo>
                    <a:pt x="302" y="206"/>
                  </a:lnTo>
                  <a:lnTo>
                    <a:pt x="301" y="208"/>
                  </a:lnTo>
                  <a:lnTo>
                    <a:pt x="301" y="209"/>
                  </a:lnTo>
                  <a:lnTo>
                    <a:pt x="301" y="211"/>
                  </a:lnTo>
                  <a:lnTo>
                    <a:pt x="299" y="213"/>
                  </a:lnTo>
                  <a:lnTo>
                    <a:pt x="298" y="217"/>
                  </a:lnTo>
                  <a:lnTo>
                    <a:pt x="297" y="220"/>
                  </a:lnTo>
                  <a:lnTo>
                    <a:pt x="296" y="221"/>
                  </a:lnTo>
                  <a:lnTo>
                    <a:pt x="296" y="222"/>
                  </a:lnTo>
                  <a:lnTo>
                    <a:pt x="294" y="225"/>
                  </a:lnTo>
                  <a:lnTo>
                    <a:pt x="293" y="227"/>
                  </a:lnTo>
                  <a:lnTo>
                    <a:pt x="292" y="228"/>
                  </a:lnTo>
                  <a:lnTo>
                    <a:pt x="291" y="230"/>
                  </a:lnTo>
                  <a:lnTo>
                    <a:pt x="289" y="231"/>
                  </a:lnTo>
                  <a:lnTo>
                    <a:pt x="287" y="232"/>
                  </a:lnTo>
                  <a:lnTo>
                    <a:pt x="286" y="233"/>
                  </a:lnTo>
                  <a:lnTo>
                    <a:pt x="285" y="234"/>
                  </a:lnTo>
                  <a:lnTo>
                    <a:pt x="282" y="235"/>
                  </a:lnTo>
                  <a:lnTo>
                    <a:pt x="281" y="235"/>
                  </a:lnTo>
                  <a:lnTo>
                    <a:pt x="278" y="236"/>
                  </a:lnTo>
                  <a:lnTo>
                    <a:pt x="277" y="237"/>
                  </a:lnTo>
                  <a:lnTo>
                    <a:pt x="276" y="237"/>
                  </a:lnTo>
                  <a:lnTo>
                    <a:pt x="275" y="237"/>
                  </a:lnTo>
                  <a:lnTo>
                    <a:pt x="274" y="237"/>
                  </a:lnTo>
                  <a:lnTo>
                    <a:pt x="272" y="237"/>
                  </a:lnTo>
                  <a:lnTo>
                    <a:pt x="268" y="237"/>
                  </a:lnTo>
                  <a:lnTo>
                    <a:pt x="266" y="237"/>
                  </a:lnTo>
                  <a:lnTo>
                    <a:pt x="265" y="237"/>
                  </a:lnTo>
                  <a:lnTo>
                    <a:pt x="259" y="237"/>
                  </a:lnTo>
                  <a:lnTo>
                    <a:pt x="257" y="238"/>
                  </a:lnTo>
                  <a:lnTo>
                    <a:pt x="256" y="238"/>
                  </a:lnTo>
                  <a:lnTo>
                    <a:pt x="254" y="238"/>
                  </a:lnTo>
                  <a:lnTo>
                    <a:pt x="253" y="239"/>
                  </a:lnTo>
                  <a:lnTo>
                    <a:pt x="252" y="239"/>
                  </a:lnTo>
                  <a:lnTo>
                    <a:pt x="251" y="239"/>
                  </a:lnTo>
                  <a:lnTo>
                    <a:pt x="250" y="240"/>
                  </a:lnTo>
                  <a:lnTo>
                    <a:pt x="250" y="240"/>
                  </a:lnTo>
                  <a:lnTo>
                    <a:pt x="249" y="240"/>
                  </a:lnTo>
                  <a:lnTo>
                    <a:pt x="248" y="241"/>
                  </a:lnTo>
                  <a:lnTo>
                    <a:pt x="248" y="242"/>
                  </a:lnTo>
                  <a:lnTo>
                    <a:pt x="247" y="242"/>
                  </a:lnTo>
                  <a:lnTo>
                    <a:pt x="246" y="243"/>
                  </a:lnTo>
                  <a:lnTo>
                    <a:pt x="246" y="244"/>
                  </a:lnTo>
                  <a:lnTo>
                    <a:pt x="245" y="245"/>
                  </a:lnTo>
                  <a:lnTo>
                    <a:pt x="245" y="246"/>
                  </a:lnTo>
                  <a:lnTo>
                    <a:pt x="244" y="247"/>
                  </a:lnTo>
                  <a:lnTo>
                    <a:pt x="244" y="249"/>
                  </a:lnTo>
                  <a:lnTo>
                    <a:pt x="243" y="252"/>
                  </a:lnTo>
                  <a:lnTo>
                    <a:pt x="242" y="256"/>
                  </a:lnTo>
                  <a:lnTo>
                    <a:pt x="242" y="258"/>
                  </a:lnTo>
                  <a:lnTo>
                    <a:pt x="241" y="259"/>
                  </a:lnTo>
                  <a:lnTo>
                    <a:pt x="241" y="261"/>
                  </a:lnTo>
                  <a:lnTo>
                    <a:pt x="240" y="266"/>
                  </a:lnTo>
                  <a:lnTo>
                    <a:pt x="240" y="267"/>
                  </a:lnTo>
                  <a:lnTo>
                    <a:pt x="240" y="269"/>
                  </a:lnTo>
                  <a:lnTo>
                    <a:pt x="239" y="271"/>
                  </a:lnTo>
                  <a:lnTo>
                    <a:pt x="239" y="273"/>
                  </a:lnTo>
                  <a:lnTo>
                    <a:pt x="238" y="275"/>
                  </a:lnTo>
                  <a:lnTo>
                    <a:pt x="238" y="277"/>
                  </a:lnTo>
                  <a:lnTo>
                    <a:pt x="237" y="278"/>
                  </a:lnTo>
                  <a:lnTo>
                    <a:pt x="236" y="279"/>
                  </a:lnTo>
                  <a:lnTo>
                    <a:pt x="236" y="280"/>
                  </a:lnTo>
                  <a:lnTo>
                    <a:pt x="235" y="281"/>
                  </a:lnTo>
                  <a:lnTo>
                    <a:pt x="234" y="282"/>
                  </a:lnTo>
                  <a:lnTo>
                    <a:pt x="234" y="282"/>
                  </a:lnTo>
                  <a:lnTo>
                    <a:pt x="233" y="282"/>
                  </a:lnTo>
                  <a:lnTo>
                    <a:pt x="233" y="283"/>
                  </a:lnTo>
                  <a:lnTo>
                    <a:pt x="232" y="283"/>
                  </a:lnTo>
                  <a:lnTo>
                    <a:pt x="231" y="284"/>
                  </a:lnTo>
                  <a:lnTo>
                    <a:pt x="230" y="284"/>
                  </a:lnTo>
                  <a:lnTo>
                    <a:pt x="229" y="284"/>
                  </a:lnTo>
                  <a:lnTo>
                    <a:pt x="228" y="284"/>
                  </a:lnTo>
                  <a:lnTo>
                    <a:pt x="219" y="284"/>
                  </a:lnTo>
                  <a:lnTo>
                    <a:pt x="217" y="285"/>
                  </a:lnTo>
                  <a:lnTo>
                    <a:pt x="216" y="285"/>
                  </a:lnTo>
                  <a:lnTo>
                    <a:pt x="213" y="285"/>
                  </a:lnTo>
                  <a:lnTo>
                    <a:pt x="211" y="286"/>
                  </a:lnTo>
                  <a:lnTo>
                    <a:pt x="210" y="286"/>
                  </a:lnTo>
                  <a:lnTo>
                    <a:pt x="209" y="286"/>
                  </a:lnTo>
                  <a:lnTo>
                    <a:pt x="208" y="287"/>
                  </a:lnTo>
                  <a:lnTo>
                    <a:pt x="208" y="287"/>
                  </a:lnTo>
                  <a:lnTo>
                    <a:pt x="207" y="287"/>
                  </a:lnTo>
                  <a:lnTo>
                    <a:pt x="206" y="288"/>
                  </a:lnTo>
                  <a:lnTo>
                    <a:pt x="205" y="289"/>
                  </a:lnTo>
                  <a:lnTo>
                    <a:pt x="202" y="292"/>
                  </a:lnTo>
                  <a:lnTo>
                    <a:pt x="200" y="294"/>
                  </a:lnTo>
                  <a:lnTo>
                    <a:pt x="199" y="295"/>
                  </a:lnTo>
                  <a:lnTo>
                    <a:pt x="197" y="297"/>
                  </a:lnTo>
                  <a:lnTo>
                    <a:pt x="196" y="298"/>
                  </a:lnTo>
                  <a:lnTo>
                    <a:pt x="195" y="301"/>
                  </a:lnTo>
                  <a:lnTo>
                    <a:pt x="193" y="304"/>
                  </a:lnTo>
                  <a:lnTo>
                    <a:pt x="192" y="305"/>
                  </a:lnTo>
                  <a:lnTo>
                    <a:pt x="191" y="306"/>
                  </a:lnTo>
                  <a:lnTo>
                    <a:pt x="190" y="308"/>
                  </a:lnTo>
                  <a:lnTo>
                    <a:pt x="187" y="311"/>
                  </a:lnTo>
                  <a:lnTo>
                    <a:pt x="185" y="312"/>
                  </a:lnTo>
                  <a:lnTo>
                    <a:pt x="184" y="313"/>
                  </a:lnTo>
                  <a:lnTo>
                    <a:pt x="183" y="314"/>
                  </a:lnTo>
                  <a:lnTo>
                    <a:pt x="181" y="315"/>
                  </a:lnTo>
                  <a:lnTo>
                    <a:pt x="179" y="316"/>
                  </a:lnTo>
                  <a:lnTo>
                    <a:pt x="177" y="317"/>
                  </a:lnTo>
                  <a:lnTo>
                    <a:pt x="173" y="318"/>
                  </a:lnTo>
                  <a:lnTo>
                    <a:pt x="170" y="319"/>
                  </a:lnTo>
                  <a:lnTo>
                    <a:pt x="168" y="319"/>
                  </a:lnTo>
                  <a:lnTo>
                    <a:pt x="165" y="320"/>
                  </a:lnTo>
                  <a:lnTo>
                    <a:pt x="165" y="320"/>
                  </a:lnTo>
                  <a:lnTo>
                    <a:pt x="165" y="319"/>
                  </a:lnTo>
                  <a:lnTo>
                    <a:pt x="164" y="318"/>
                  </a:lnTo>
                  <a:lnTo>
                    <a:pt x="164" y="316"/>
                  </a:lnTo>
                  <a:lnTo>
                    <a:pt x="162" y="313"/>
                  </a:lnTo>
                  <a:lnTo>
                    <a:pt x="162" y="312"/>
                  </a:lnTo>
                  <a:lnTo>
                    <a:pt x="161" y="311"/>
                  </a:lnTo>
                  <a:lnTo>
                    <a:pt x="161" y="310"/>
                  </a:lnTo>
                  <a:lnTo>
                    <a:pt x="158" y="307"/>
                  </a:lnTo>
                  <a:lnTo>
                    <a:pt x="155" y="302"/>
                  </a:lnTo>
                  <a:lnTo>
                    <a:pt x="154" y="300"/>
                  </a:lnTo>
                  <a:lnTo>
                    <a:pt x="153" y="299"/>
                  </a:lnTo>
                  <a:lnTo>
                    <a:pt x="151" y="298"/>
                  </a:lnTo>
                  <a:lnTo>
                    <a:pt x="150" y="297"/>
                  </a:lnTo>
                  <a:lnTo>
                    <a:pt x="149" y="296"/>
                  </a:lnTo>
                  <a:lnTo>
                    <a:pt x="148" y="295"/>
                  </a:lnTo>
                  <a:lnTo>
                    <a:pt x="147" y="294"/>
                  </a:lnTo>
                  <a:lnTo>
                    <a:pt x="140" y="291"/>
                  </a:lnTo>
                  <a:lnTo>
                    <a:pt x="139" y="291"/>
                  </a:lnTo>
                  <a:lnTo>
                    <a:pt x="137" y="290"/>
                  </a:lnTo>
                  <a:lnTo>
                    <a:pt x="136" y="289"/>
                  </a:lnTo>
                  <a:lnTo>
                    <a:pt x="135" y="289"/>
                  </a:lnTo>
                  <a:lnTo>
                    <a:pt x="135" y="289"/>
                  </a:lnTo>
                  <a:lnTo>
                    <a:pt x="134" y="288"/>
                  </a:lnTo>
                  <a:lnTo>
                    <a:pt x="134" y="288"/>
                  </a:lnTo>
                  <a:lnTo>
                    <a:pt x="134" y="287"/>
                  </a:lnTo>
                  <a:lnTo>
                    <a:pt x="133" y="287"/>
                  </a:lnTo>
                  <a:lnTo>
                    <a:pt x="133" y="286"/>
                  </a:lnTo>
                  <a:lnTo>
                    <a:pt x="133" y="285"/>
                  </a:lnTo>
                  <a:lnTo>
                    <a:pt x="133" y="283"/>
                  </a:lnTo>
                  <a:lnTo>
                    <a:pt x="133" y="282"/>
                  </a:lnTo>
                  <a:lnTo>
                    <a:pt x="132" y="281"/>
                  </a:lnTo>
                  <a:lnTo>
                    <a:pt x="132" y="280"/>
                  </a:lnTo>
                  <a:lnTo>
                    <a:pt x="132" y="280"/>
                  </a:lnTo>
                  <a:lnTo>
                    <a:pt x="132" y="279"/>
                  </a:lnTo>
                  <a:lnTo>
                    <a:pt x="131" y="279"/>
                  </a:lnTo>
                  <a:lnTo>
                    <a:pt x="131" y="278"/>
                  </a:lnTo>
                  <a:lnTo>
                    <a:pt x="131" y="278"/>
                  </a:lnTo>
                  <a:lnTo>
                    <a:pt x="130" y="277"/>
                  </a:lnTo>
                  <a:lnTo>
                    <a:pt x="128" y="276"/>
                  </a:lnTo>
                  <a:lnTo>
                    <a:pt x="127" y="275"/>
                  </a:lnTo>
                  <a:lnTo>
                    <a:pt x="126" y="275"/>
                  </a:lnTo>
                  <a:lnTo>
                    <a:pt x="125" y="274"/>
                  </a:lnTo>
                  <a:lnTo>
                    <a:pt x="123" y="274"/>
                  </a:lnTo>
                  <a:lnTo>
                    <a:pt x="120" y="273"/>
                  </a:lnTo>
                  <a:lnTo>
                    <a:pt x="119" y="272"/>
                  </a:lnTo>
                  <a:lnTo>
                    <a:pt x="119" y="272"/>
                  </a:lnTo>
                  <a:lnTo>
                    <a:pt x="118" y="272"/>
                  </a:lnTo>
                  <a:lnTo>
                    <a:pt x="117" y="272"/>
                  </a:lnTo>
                  <a:lnTo>
                    <a:pt x="117" y="272"/>
                  </a:lnTo>
                  <a:lnTo>
                    <a:pt x="113" y="273"/>
                  </a:lnTo>
                  <a:lnTo>
                    <a:pt x="110" y="273"/>
                  </a:lnTo>
                  <a:lnTo>
                    <a:pt x="109" y="273"/>
                  </a:lnTo>
                  <a:lnTo>
                    <a:pt x="107" y="273"/>
                  </a:lnTo>
                  <a:lnTo>
                    <a:pt x="103" y="274"/>
                  </a:lnTo>
                  <a:lnTo>
                    <a:pt x="102" y="274"/>
                  </a:lnTo>
                  <a:lnTo>
                    <a:pt x="101" y="274"/>
                  </a:lnTo>
                  <a:lnTo>
                    <a:pt x="100" y="275"/>
                  </a:lnTo>
                  <a:lnTo>
                    <a:pt x="99" y="274"/>
                  </a:lnTo>
                  <a:lnTo>
                    <a:pt x="98" y="274"/>
                  </a:lnTo>
                  <a:lnTo>
                    <a:pt x="98" y="274"/>
                  </a:lnTo>
                  <a:lnTo>
                    <a:pt x="97" y="274"/>
                  </a:lnTo>
                  <a:lnTo>
                    <a:pt x="95" y="273"/>
                  </a:lnTo>
                  <a:lnTo>
                    <a:pt x="94" y="272"/>
                  </a:lnTo>
                  <a:lnTo>
                    <a:pt x="93" y="271"/>
                  </a:lnTo>
                  <a:lnTo>
                    <a:pt x="87" y="267"/>
                  </a:lnTo>
                  <a:lnTo>
                    <a:pt x="86" y="267"/>
                  </a:lnTo>
                  <a:lnTo>
                    <a:pt x="86" y="266"/>
                  </a:lnTo>
                  <a:lnTo>
                    <a:pt x="85" y="266"/>
                  </a:lnTo>
                  <a:lnTo>
                    <a:pt x="84" y="266"/>
                  </a:lnTo>
                  <a:lnTo>
                    <a:pt x="83" y="265"/>
                  </a:lnTo>
                  <a:lnTo>
                    <a:pt x="81" y="265"/>
                  </a:lnTo>
                  <a:lnTo>
                    <a:pt x="79" y="265"/>
                  </a:lnTo>
                  <a:lnTo>
                    <a:pt x="78" y="265"/>
                  </a:lnTo>
                  <a:lnTo>
                    <a:pt x="77" y="264"/>
                  </a:lnTo>
                  <a:lnTo>
                    <a:pt x="77" y="264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6" y="263"/>
                  </a:lnTo>
                  <a:lnTo>
                    <a:pt x="75" y="262"/>
                  </a:lnTo>
                  <a:lnTo>
                    <a:pt x="75" y="262"/>
                  </a:lnTo>
                  <a:lnTo>
                    <a:pt x="75" y="261"/>
                  </a:lnTo>
                  <a:lnTo>
                    <a:pt x="75" y="258"/>
                  </a:lnTo>
                  <a:lnTo>
                    <a:pt x="74" y="257"/>
                  </a:lnTo>
                  <a:lnTo>
                    <a:pt x="74" y="255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3" y="253"/>
                  </a:lnTo>
                  <a:lnTo>
                    <a:pt x="72" y="252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69" y="250"/>
                  </a:lnTo>
                  <a:lnTo>
                    <a:pt x="68" y="250"/>
                  </a:lnTo>
                  <a:lnTo>
                    <a:pt x="67" y="250"/>
                  </a:lnTo>
                  <a:lnTo>
                    <a:pt x="62" y="249"/>
                  </a:lnTo>
                  <a:lnTo>
                    <a:pt x="59" y="248"/>
                  </a:lnTo>
                  <a:lnTo>
                    <a:pt x="54" y="248"/>
                  </a:lnTo>
                  <a:lnTo>
                    <a:pt x="52" y="247"/>
                  </a:lnTo>
                  <a:lnTo>
                    <a:pt x="52" y="247"/>
                  </a:lnTo>
                  <a:lnTo>
                    <a:pt x="51" y="247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48" y="244"/>
                  </a:lnTo>
                  <a:lnTo>
                    <a:pt x="47" y="243"/>
                  </a:lnTo>
                  <a:lnTo>
                    <a:pt x="46" y="243"/>
                  </a:lnTo>
                  <a:lnTo>
                    <a:pt x="45" y="242"/>
                  </a:lnTo>
                  <a:lnTo>
                    <a:pt x="45" y="242"/>
                  </a:lnTo>
                  <a:lnTo>
                    <a:pt x="43" y="241"/>
                  </a:lnTo>
                  <a:lnTo>
                    <a:pt x="41" y="240"/>
                  </a:lnTo>
                  <a:lnTo>
                    <a:pt x="40" y="240"/>
                  </a:lnTo>
                  <a:lnTo>
                    <a:pt x="40" y="240"/>
                  </a:lnTo>
                  <a:lnTo>
                    <a:pt x="39" y="239"/>
                  </a:lnTo>
                  <a:lnTo>
                    <a:pt x="36" y="239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4" y="237"/>
                  </a:lnTo>
                  <a:lnTo>
                    <a:pt x="34" y="237"/>
                  </a:lnTo>
                  <a:lnTo>
                    <a:pt x="34" y="236"/>
                  </a:lnTo>
                  <a:lnTo>
                    <a:pt x="34" y="235"/>
                  </a:lnTo>
                  <a:lnTo>
                    <a:pt x="34" y="234"/>
                  </a:lnTo>
                  <a:lnTo>
                    <a:pt x="34" y="230"/>
                  </a:lnTo>
                  <a:lnTo>
                    <a:pt x="34" y="229"/>
                  </a:lnTo>
                  <a:lnTo>
                    <a:pt x="34" y="228"/>
                  </a:lnTo>
                  <a:lnTo>
                    <a:pt x="34" y="226"/>
                  </a:lnTo>
                  <a:lnTo>
                    <a:pt x="34" y="226"/>
                  </a:lnTo>
                  <a:lnTo>
                    <a:pt x="34" y="224"/>
                  </a:lnTo>
                  <a:lnTo>
                    <a:pt x="33" y="223"/>
                  </a:lnTo>
                  <a:lnTo>
                    <a:pt x="33" y="222"/>
                  </a:lnTo>
                  <a:lnTo>
                    <a:pt x="32" y="220"/>
                  </a:lnTo>
                  <a:lnTo>
                    <a:pt x="30" y="219"/>
                  </a:lnTo>
                  <a:lnTo>
                    <a:pt x="30" y="218"/>
                  </a:lnTo>
                  <a:lnTo>
                    <a:pt x="29" y="217"/>
                  </a:lnTo>
                  <a:lnTo>
                    <a:pt x="29" y="217"/>
                  </a:lnTo>
                  <a:lnTo>
                    <a:pt x="28" y="216"/>
                  </a:lnTo>
                  <a:lnTo>
                    <a:pt x="28" y="216"/>
                  </a:lnTo>
                  <a:lnTo>
                    <a:pt x="27" y="216"/>
                  </a:lnTo>
                  <a:lnTo>
                    <a:pt x="26" y="216"/>
                  </a:lnTo>
                  <a:lnTo>
                    <a:pt x="25" y="216"/>
                  </a:lnTo>
                  <a:lnTo>
                    <a:pt x="24" y="216"/>
                  </a:lnTo>
                  <a:lnTo>
                    <a:pt x="23" y="216"/>
                  </a:lnTo>
                  <a:lnTo>
                    <a:pt x="22" y="217"/>
                  </a:lnTo>
                  <a:lnTo>
                    <a:pt x="20" y="217"/>
                  </a:lnTo>
                  <a:lnTo>
                    <a:pt x="13" y="220"/>
                  </a:lnTo>
                  <a:lnTo>
                    <a:pt x="11" y="221"/>
                  </a:lnTo>
                  <a:lnTo>
                    <a:pt x="9" y="221"/>
                  </a:lnTo>
                  <a:lnTo>
                    <a:pt x="8" y="221"/>
                  </a:lnTo>
                  <a:lnTo>
                    <a:pt x="7" y="221"/>
                  </a:lnTo>
                  <a:lnTo>
                    <a:pt x="6" y="222"/>
                  </a:lnTo>
                  <a:lnTo>
                    <a:pt x="5" y="222"/>
                  </a:lnTo>
                  <a:lnTo>
                    <a:pt x="4" y="221"/>
                  </a:lnTo>
                  <a:lnTo>
                    <a:pt x="3" y="221"/>
                  </a:lnTo>
                  <a:lnTo>
                    <a:pt x="2" y="221"/>
                  </a:lnTo>
                  <a:lnTo>
                    <a:pt x="2" y="221"/>
                  </a:lnTo>
                  <a:lnTo>
                    <a:pt x="1" y="220"/>
                  </a:lnTo>
                  <a:lnTo>
                    <a:pt x="1" y="220"/>
                  </a:lnTo>
                  <a:lnTo>
                    <a:pt x="1" y="220"/>
                  </a:lnTo>
                  <a:lnTo>
                    <a:pt x="1" y="219"/>
                  </a:lnTo>
                  <a:lnTo>
                    <a:pt x="0" y="217"/>
                  </a:lnTo>
                  <a:lnTo>
                    <a:pt x="0" y="216"/>
                  </a:lnTo>
                  <a:lnTo>
                    <a:pt x="0" y="215"/>
                  </a:lnTo>
                  <a:lnTo>
                    <a:pt x="0" y="214"/>
                  </a:lnTo>
                  <a:lnTo>
                    <a:pt x="1" y="213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2" y="211"/>
                  </a:lnTo>
                  <a:lnTo>
                    <a:pt x="2" y="211"/>
                  </a:lnTo>
                  <a:lnTo>
                    <a:pt x="4" y="209"/>
                  </a:lnTo>
                  <a:lnTo>
                    <a:pt x="4" y="209"/>
                  </a:lnTo>
                  <a:lnTo>
                    <a:pt x="5" y="208"/>
                  </a:lnTo>
                  <a:lnTo>
                    <a:pt x="6" y="207"/>
                  </a:lnTo>
                  <a:lnTo>
                    <a:pt x="6" y="206"/>
                  </a:lnTo>
                  <a:lnTo>
                    <a:pt x="7" y="205"/>
                  </a:lnTo>
                  <a:lnTo>
                    <a:pt x="9" y="201"/>
                  </a:lnTo>
                  <a:lnTo>
                    <a:pt x="10" y="200"/>
                  </a:lnTo>
                  <a:lnTo>
                    <a:pt x="11" y="199"/>
                  </a:lnTo>
                  <a:lnTo>
                    <a:pt x="11" y="197"/>
                  </a:lnTo>
                  <a:lnTo>
                    <a:pt x="12" y="197"/>
                  </a:lnTo>
                  <a:lnTo>
                    <a:pt x="13" y="196"/>
                  </a:lnTo>
                  <a:lnTo>
                    <a:pt x="14" y="196"/>
                  </a:lnTo>
                  <a:lnTo>
                    <a:pt x="16" y="194"/>
                  </a:lnTo>
                  <a:lnTo>
                    <a:pt x="18" y="192"/>
                  </a:lnTo>
                  <a:lnTo>
                    <a:pt x="20" y="191"/>
                  </a:lnTo>
                  <a:lnTo>
                    <a:pt x="20" y="191"/>
                  </a:lnTo>
                  <a:lnTo>
                    <a:pt x="20" y="190"/>
                  </a:lnTo>
                  <a:lnTo>
                    <a:pt x="21" y="189"/>
                  </a:lnTo>
                  <a:lnTo>
                    <a:pt x="21" y="188"/>
                  </a:lnTo>
                  <a:lnTo>
                    <a:pt x="22" y="187"/>
                  </a:lnTo>
                  <a:lnTo>
                    <a:pt x="22" y="186"/>
                  </a:lnTo>
                  <a:lnTo>
                    <a:pt x="23" y="184"/>
                  </a:lnTo>
                  <a:lnTo>
                    <a:pt x="23" y="183"/>
                  </a:lnTo>
                  <a:lnTo>
                    <a:pt x="24" y="182"/>
                  </a:lnTo>
                  <a:lnTo>
                    <a:pt x="24" y="181"/>
                  </a:lnTo>
                  <a:lnTo>
                    <a:pt x="24" y="180"/>
                  </a:lnTo>
                  <a:lnTo>
                    <a:pt x="24" y="179"/>
                  </a:lnTo>
                  <a:lnTo>
                    <a:pt x="24" y="178"/>
                  </a:lnTo>
                  <a:lnTo>
                    <a:pt x="24" y="177"/>
                  </a:lnTo>
                  <a:lnTo>
                    <a:pt x="23" y="177"/>
                  </a:lnTo>
                  <a:lnTo>
                    <a:pt x="23" y="176"/>
                  </a:lnTo>
                  <a:lnTo>
                    <a:pt x="23" y="176"/>
                  </a:lnTo>
                  <a:lnTo>
                    <a:pt x="22" y="175"/>
                  </a:lnTo>
                  <a:lnTo>
                    <a:pt x="22" y="175"/>
                  </a:lnTo>
                  <a:lnTo>
                    <a:pt x="21" y="175"/>
                  </a:lnTo>
                  <a:lnTo>
                    <a:pt x="20" y="175"/>
                  </a:lnTo>
                  <a:lnTo>
                    <a:pt x="19" y="175"/>
                  </a:lnTo>
                  <a:lnTo>
                    <a:pt x="18" y="175"/>
                  </a:lnTo>
                  <a:lnTo>
                    <a:pt x="16" y="175"/>
                  </a:lnTo>
                  <a:lnTo>
                    <a:pt x="14" y="175"/>
                  </a:lnTo>
                  <a:lnTo>
                    <a:pt x="13" y="175"/>
                  </a:lnTo>
                  <a:lnTo>
                    <a:pt x="12" y="175"/>
                  </a:lnTo>
                  <a:lnTo>
                    <a:pt x="12" y="175"/>
                  </a:lnTo>
                  <a:lnTo>
                    <a:pt x="11" y="175"/>
                  </a:lnTo>
                  <a:lnTo>
                    <a:pt x="11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1" y="170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1" y="168"/>
                  </a:lnTo>
                  <a:lnTo>
                    <a:pt x="10" y="165"/>
                  </a:lnTo>
                  <a:lnTo>
                    <a:pt x="8" y="161"/>
                  </a:lnTo>
                  <a:lnTo>
                    <a:pt x="7" y="159"/>
                  </a:lnTo>
                  <a:lnTo>
                    <a:pt x="7" y="158"/>
                  </a:lnTo>
                  <a:lnTo>
                    <a:pt x="6" y="157"/>
                  </a:lnTo>
                  <a:lnTo>
                    <a:pt x="6" y="156"/>
                  </a:lnTo>
                  <a:lnTo>
                    <a:pt x="6" y="152"/>
                  </a:lnTo>
                  <a:lnTo>
                    <a:pt x="6" y="151"/>
                  </a:lnTo>
                  <a:lnTo>
                    <a:pt x="6" y="149"/>
                  </a:lnTo>
                  <a:lnTo>
                    <a:pt x="5" y="146"/>
                  </a:lnTo>
                  <a:lnTo>
                    <a:pt x="5" y="145"/>
                  </a:lnTo>
                  <a:lnTo>
                    <a:pt x="5" y="144"/>
                  </a:lnTo>
                  <a:lnTo>
                    <a:pt x="5" y="143"/>
                  </a:lnTo>
                  <a:lnTo>
                    <a:pt x="5" y="142"/>
                  </a:lnTo>
                  <a:lnTo>
                    <a:pt x="6" y="141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7" y="136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5" y="129"/>
                  </a:lnTo>
                  <a:lnTo>
                    <a:pt x="15" y="128"/>
                  </a:lnTo>
                  <a:lnTo>
                    <a:pt x="16" y="128"/>
                  </a:lnTo>
                  <a:lnTo>
                    <a:pt x="17" y="125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19" y="123"/>
                  </a:lnTo>
                  <a:lnTo>
                    <a:pt x="20" y="122"/>
                  </a:lnTo>
                  <a:lnTo>
                    <a:pt x="21" y="122"/>
                  </a:lnTo>
                  <a:lnTo>
                    <a:pt x="21" y="122"/>
                  </a:lnTo>
                  <a:lnTo>
                    <a:pt x="22" y="121"/>
                  </a:lnTo>
                  <a:lnTo>
                    <a:pt x="23" y="121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32" y="120"/>
                  </a:lnTo>
                  <a:lnTo>
                    <a:pt x="33" y="119"/>
                  </a:lnTo>
                  <a:lnTo>
                    <a:pt x="35" y="119"/>
                  </a:lnTo>
                  <a:lnTo>
                    <a:pt x="39" y="119"/>
                  </a:lnTo>
                  <a:lnTo>
                    <a:pt x="40" y="118"/>
                  </a:lnTo>
                  <a:lnTo>
                    <a:pt x="44" y="118"/>
                  </a:lnTo>
                  <a:lnTo>
                    <a:pt x="44" y="118"/>
                  </a:lnTo>
                  <a:lnTo>
                    <a:pt x="45" y="118"/>
                  </a:lnTo>
                  <a:lnTo>
                    <a:pt x="46" y="118"/>
                  </a:lnTo>
                  <a:lnTo>
                    <a:pt x="47" y="118"/>
                  </a:lnTo>
                  <a:lnTo>
                    <a:pt x="47" y="117"/>
                  </a:lnTo>
                  <a:lnTo>
                    <a:pt x="48" y="117"/>
                  </a:lnTo>
                  <a:lnTo>
                    <a:pt x="49" y="116"/>
                  </a:lnTo>
                  <a:lnTo>
                    <a:pt x="50" y="116"/>
                  </a:lnTo>
                  <a:lnTo>
                    <a:pt x="50" y="115"/>
                  </a:lnTo>
                  <a:lnTo>
                    <a:pt x="51" y="114"/>
                  </a:lnTo>
                  <a:lnTo>
                    <a:pt x="52" y="113"/>
                  </a:lnTo>
                  <a:lnTo>
                    <a:pt x="54" y="110"/>
                  </a:lnTo>
                  <a:lnTo>
                    <a:pt x="56" y="108"/>
                  </a:lnTo>
                  <a:lnTo>
                    <a:pt x="58" y="105"/>
                  </a:lnTo>
                  <a:lnTo>
                    <a:pt x="59" y="104"/>
                  </a:lnTo>
                  <a:lnTo>
                    <a:pt x="59" y="103"/>
                  </a:lnTo>
                  <a:lnTo>
                    <a:pt x="60" y="103"/>
                  </a:lnTo>
                  <a:lnTo>
                    <a:pt x="61" y="102"/>
                  </a:lnTo>
                  <a:lnTo>
                    <a:pt x="63" y="100"/>
                  </a:lnTo>
                  <a:lnTo>
                    <a:pt x="65" y="98"/>
                  </a:lnTo>
                  <a:lnTo>
                    <a:pt x="66" y="97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5"/>
                  </a:lnTo>
                  <a:lnTo>
                    <a:pt x="67" y="94"/>
                  </a:lnTo>
                  <a:lnTo>
                    <a:pt x="67" y="93"/>
                  </a:lnTo>
                  <a:lnTo>
                    <a:pt x="67" y="92"/>
                  </a:lnTo>
                  <a:lnTo>
                    <a:pt x="67" y="91"/>
                  </a:lnTo>
                  <a:lnTo>
                    <a:pt x="67" y="90"/>
                  </a:lnTo>
                  <a:lnTo>
                    <a:pt x="66" y="88"/>
                  </a:lnTo>
                  <a:lnTo>
                    <a:pt x="65" y="86"/>
                  </a:lnTo>
                  <a:lnTo>
                    <a:pt x="64" y="85"/>
                  </a:lnTo>
                  <a:lnTo>
                    <a:pt x="64" y="83"/>
                  </a:lnTo>
                  <a:lnTo>
                    <a:pt x="63" y="82"/>
                  </a:lnTo>
                  <a:lnTo>
                    <a:pt x="63" y="80"/>
                  </a:lnTo>
                  <a:lnTo>
                    <a:pt x="63" y="79"/>
                  </a:lnTo>
                  <a:lnTo>
                    <a:pt x="63" y="78"/>
                  </a:lnTo>
                  <a:lnTo>
                    <a:pt x="63" y="77"/>
                  </a:lnTo>
                  <a:lnTo>
                    <a:pt x="64" y="76"/>
                  </a:lnTo>
                  <a:lnTo>
                    <a:pt x="64" y="75"/>
                  </a:lnTo>
                  <a:lnTo>
                    <a:pt x="65" y="73"/>
                  </a:lnTo>
                  <a:lnTo>
                    <a:pt x="67" y="69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70" y="66"/>
                  </a:lnTo>
                  <a:lnTo>
                    <a:pt x="71" y="66"/>
                  </a:lnTo>
                  <a:lnTo>
                    <a:pt x="71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3" y="66"/>
                  </a:lnTo>
                  <a:lnTo>
                    <a:pt x="73" y="67"/>
                  </a:lnTo>
                  <a:lnTo>
                    <a:pt x="74" y="67"/>
                  </a:lnTo>
                  <a:lnTo>
                    <a:pt x="74" y="68"/>
                  </a:lnTo>
                  <a:lnTo>
                    <a:pt x="74" y="69"/>
                  </a:lnTo>
                  <a:lnTo>
                    <a:pt x="75" y="69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4"/>
                  </a:lnTo>
                  <a:lnTo>
                    <a:pt x="76" y="75"/>
                  </a:lnTo>
                  <a:lnTo>
                    <a:pt x="76" y="75"/>
                  </a:lnTo>
                  <a:lnTo>
                    <a:pt x="76" y="76"/>
                  </a:lnTo>
                  <a:lnTo>
                    <a:pt x="77" y="76"/>
                  </a:lnTo>
                  <a:lnTo>
                    <a:pt x="77" y="77"/>
                  </a:lnTo>
                  <a:lnTo>
                    <a:pt x="78" y="77"/>
                  </a:lnTo>
                  <a:lnTo>
                    <a:pt x="78" y="77"/>
                  </a:lnTo>
                  <a:lnTo>
                    <a:pt x="81" y="77"/>
                  </a:lnTo>
                  <a:lnTo>
                    <a:pt x="82" y="77"/>
                  </a:lnTo>
                  <a:lnTo>
                    <a:pt x="83" y="78"/>
                  </a:lnTo>
                  <a:lnTo>
                    <a:pt x="85" y="78"/>
                  </a:lnTo>
                  <a:lnTo>
                    <a:pt x="87" y="79"/>
                  </a:lnTo>
                  <a:lnTo>
                    <a:pt x="89" y="79"/>
                  </a:lnTo>
                  <a:lnTo>
                    <a:pt x="91" y="80"/>
                  </a:lnTo>
                  <a:lnTo>
                    <a:pt x="93" y="80"/>
                  </a:lnTo>
                  <a:lnTo>
                    <a:pt x="94" y="80"/>
                  </a:lnTo>
                  <a:lnTo>
                    <a:pt x="95" y="80"/>
                  </a:lnTo>
                  <a:lnTo>
                    <a:pt x="96" y="80"/>
                  </a:lnTo>
                  <a:lnTo>
                    <a:pt x="97" y="80"/>
                  </a:lnTo>
                  <a:lnTo>
                    <a:pt x="97" y="81"/>
                  </a:lnTo>
                  <a:lnTo>
                    <a:pt x="98" y="81"/>
                  </a:lnTo>
                  <a:lnTo>
                    <a:pt x="99" y="82"/>
                  </a:lnTo>
                  <a:lnTo>
                    <a:pt x="100" y="83"/>
                  </a:lnTo>
                  <a:lnTo>
                    <a:pt x="103" y="85"/>
                  </a:lnTo>
                  <a:lnTo>
                    <a:pt x="104" y="86"/>
                  </a:lnTo>
                  <a:lnTo>
                    <a:pt x="105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7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11" y="83"/>
                  </a:lnTo>
                  <a:lnTo>
                    <a:pt x="112" y="82"/>
                  </a:lnTo>
                  <a:lnTo>
                    <a:pt x="112" y="81"/>
                  </a:lnTo>
                  <a:lnTo>
                    <a:pt x="113" y="79"/>
                  </a:lnTo>
                  <a:lnTo>
                    <a:pt x="114" y="78"/>
                  </a:lnTo>
                  <a:lnTo>
                    <a:pt x="114" y="77"/>
                  </a:lnTo>
                  <a:lnTo>
                    <a:pt x="115" y="77"/>
                  </a:lnTo>
                  <a:lnTo>
                    <a:pt x="115" y="76"/>
                  </a:lnTo>
                  <a:lnTo>
                    <a:pt x="115" y="74"/>
                  </a:lnTo>
                  <a:lnTo>
                    <a:pt x="116" y="72"/>
                  </a:lnTo>
                  <a:lnTo>
                    <a:pt x="116" y="71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8" y="69"/>
                  </a:lnTo>
                  <a:lnTo>
                    <a:pt x="121" y="68"/>
                  </a:lnTo>
                  <a:lnTo>
                    <a:pt x="123" y="67"/>
                  </a:lnTo>
                  <a:lnTo>
                    <a:pt x="125" y="67"/>
                  </a:lnTo>
                  <a:lnTo>
                    <a:pt x="126" y="66"/>
                  </a:lnTo>
                  <a:lnTo>
                    <a:pt x="128" y="66"/>
                  </a:lnTo>
                  <a:lnTo>
                    <a:pt x="130" y="66"/>
                  </a:lnTo>
                  <a:lnTo>
                    <a:pt x="132" y="66"/>
                  </a:lnTo>
                  <a:lnTo>
                    <a:pt x="133" y="66"/>
                  </a:lnTo>
                  <a:lnTo>
                    <a:pt x="135" y="66"/>
                  </a:lnTo>
                  <a:lnTo>
                    <a:pt x="136" y="66"/>
                  </a:lnTo>
                  <a:lnTo>
                    <a:pt x="137" y="66"/>
                  </a:lnTo>
                  <a:lnTo>
                    <a:pt x="138" y="66"/>
                  </a:lnTo>
                  <a:lnTo>
                    <a:pt x="138" y="67"/>
                  </a:lnTo>
                  <a:lnTo>
                    <a:pt x="140" y="67"/>
                  </a:lnTo>
                  <a:lnTo>
                    <a:pt x="141" y="68"/>
                  </a:lnTo>
                  <a:lnTo>
                    <a:pt x="142" y="68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44" y="68"/>
                  </a:lnTo>
                  <a:lnTo>
                    <a:pt x="145" y="68"/>
                  </a:lnTo>
                  <a:lnTo>
                    <a:pt x="146" y="68"/>
                  </a:lnTo>
                  <a:lnTo>
                    <a:pt x="147" y="68"/>
                  </a:lnTo>
                  <a:lnTo>
                    <a:pt x="148" y="68"/>
                  </a:lnTo>
                  <a:lnTo>
                    <a:pt x="149" y="67"/>
                  </a:lnTo>
                  <a:lnTo>
                    <a:pt x="150" y="67"/>
                  </a:lnTo>
                  <a:lnTo>
                    <a:pt x="150" y="67"/>
                  </a:lnTo>
                  <a:lnTo>
                    <a:pt x="151" y="66"/>
                  </a:lnTo>
                  <a:lnTo>
                    <a:pt x="152" y="65"/>
                  </a:lnTo>
                  <a:lnTo>
                    <a:pt x="152" y="65"/>
                  </a:lnTo>
                  <a:lnTo>
                    <a:pt x="153" y="64"/>
                  </a:lnTo>
                  <a:lnTo>
                    <a:pt x="154" y="63"/>
                  </a:lnTo>
                  <a:lnTo>
                    <a:pt x="154" y="62"/>
                  </a:lnTo>
                  <a:lnTo>
                    <a:pt x="154" y="61"/>
                  </a:lnTo>
                  <a:lnTo>
                    <a:pt x="155" y="60"/>
                  </a:lnTo>
                  <a:lnTo>
                    <a:pt x="155" y="60"/>
                  </a:lnTo>
                  <a:lnTo>
                    <a:pt x="155" y="59"/>
                  </a:lnTo>
                  <a:lnTo>
                    <a:pt x="155" y="58"/>
                  </a:lnTo>
                  <a:lnTo>
                    <a:pt x="154" y="57"/>
                  </a:lnTo>
                  <a:lnTo>
                    <a:pt x="154" y="56"/>
                  </a:lnTo>
                  <a:lnTo>
                    <a:pt x="153" y="54"/>
                  </a:lnTo>
                  <a:lnTo>
                    <a:pt x="151" y="50"/>
                  </a:lnTo>
                  <a:lnTo>
                    <a:pt x="151" y="49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52" y="46"/>
                  </a:lnTo>
                  <a:lnTo>
                    <a:pt x="152" y="46"/>
                  </a:lnTo>
                  <a:lnTo>
                    <a:pt x="153" y="46"/>
                  </a:lnTo>
                  <a:lnTo>
                    <a:pt x="154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6" y="46"/>
                  </a:lnTo>
                  <a:lnTo>
                    <a:pt x="157" y="46"/>
                  </a:lnTo>
                  <a:lnTo>
                    <a:pt x="158" y="46"/>
                  </a:lnTo>
                  <a:lnTo>
                    <a:pt x="159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1" y="46"/>
                  </a:lnTo>
                  <a:lnTo>
                    <a:pt x="161" y="45"/>
                  </a:lnTo>
                  <a:lnTo>
                    <a:pt x="161" y="45"/>
                  </a:lnTo>
                  <a:lnTo>
                    <a:pt x="162" y="45"/>
                  </a:lnTo>
                  <a:lnTo>
                    <a:pt x="163" y="42"/>
                  </a:lnTo>
                  <a:lnTo>
                    <a:pt x="164" y="41"/>
                  </a:lnTo>
                  <a:lnTo>
                    <a:pt x="164" y="41"/>
                  </a:lnTo>
                  <a:lnTo>
                    <a:pt x="165" y="41"/>
                  </a:lnTo>
                  <a:lnTo>
                    <a:pt x="166" y="40"/>
                  </a:lnTo>
                  <a:lnTo>
                    <a:pt x="166" y="40"/>
                  </a:lnTo>
                  <a:lnTo>
                    <a:pt x="167" y="40"/>
                  </a:lnTo>
                  <a:lnTo>
                    <a:pt x="168" y="40"/>
                  </a:lnTo>
                  <a:lnTo>
                    <a:pt x="169" y="40"/>
                  </a:lnTo>
                  <a:lnTo>
                    <a:pt x="170" y="41"/>
                  </a:lnTo>
                  <a:lnTo>
                    <a:pt x="171" y="41"/>
                  </a:lnTo>
                  <a:lnTo>
                    <a:pt x="172" y="42"/>
                  </a:lnTo>
                  <a:lnTo>
                    <a:pt x="173" y="43"/>
                  </a:lnTo>
                  <a:lnTo>
                    <a:pt x="174" y="44"/>
                  </a:lnTo>
                  <a:lnTo>
                    <a:pt x="176" y="46"/>
                  </a:lnTo>
                  <a:lnTo>
                    <a:pt x="176" y="46"/>
                  </a:lnTo>
                  <a:lnTo>
                    <a:pt x="177" y="47"/>
                  </a:lnTo>
                  <a:lnTo>
                    <a:pt x="178" y="47"/>
                  </a:lnTo>
                  <a:lnTo>
                    <a:pt x="179" y="48"/>
                  </a:lnTo>
                  <a:lnTo>
                    <a:pt x="180" y="48"/>
                  </a:lnTo>
                  <a:lnTo>
                    <a:pt x="181" y="49"/>
                  </a:lnTo>
                  <a:lnTo>
                    <a:pt x="182" y="49"/>
                  </a:lnTo>
                  <a:lnTo>
                    <a:pt x="184" y="49"/>
                  </a:lnTo>
                  <a:lnTo>
                    <a:pt x="185" y="49"/>
                  </a:lnTo>
                  <a:lnTo>
                    <a:pt x="186" y="49"/>
                  </a:lnTo>
                  <a:lnTo>
                    <a:pt x="188" y="49"/>
                  </a:lnTo>
                  <a:lnTo>
                    <a:pt x="191" y="48"/>
                  </a:lnTo>
                  <a:lnTo>
                    <a:pt x="192" y="47"/>
                  </a:lnTo>
                  <a:lnTo>
                    <a:pt x="192" y="47"/>
                  </a:lnTo>
                  <a:lnTo>
                    <a:pt x="193" y="47"/>
                  </a:lnTo>
                  <a:lnTo>
                    <a:pt x="193" y="46"/>
                  </a:lnTo>
                  <a:lnTo>
                    <a:pt x="194" y="46"/>
                  </a:lnTo>
                  <a:lnTo>
                    <a:pt x="194" y="45"/>
                  </a:lnTo>
                  <a:lnTo>
                    <a:pt x="195" y="45"/>
                  </a:lnTo>
                  <a:lnTo>
                    <a:pt x="196" y="42"/>
                  </a:lnTo>
                  <a:lnTo>
                    <a:pt x="197" y="39"/>
                  </a:lnTo>
                  <a:lnTo>
                    <a:pt x="198" y="36"/>
                  </a:lnTo>
                  <a:lnTo>
                    <a:pt x="199" y="35"/>
                  </a:lnTo>
                  <a:lnTo>
                    <a:pt x="199" y="33"/>
                  </a:lnTo>
                  <a:lnTo>
                    <a:pt x="199" y="32"/>
                  </a:lnTo>
                  <a:lnTo>
                    <a:pt x="199" y="31"/>
                  </a:lnTo>
                  <a:lnTo>
                    <a:pt x="199" y="28"/>
                  </a:lnTo>
                  <a:lnTo>
                    <a:pt x="200" y="27"/>
                  </a:lnTo>
                  <a:lnTo>
                    <a:pt x="200" y="27"/>
                  </a:lnTo>
                  <a:lnTo>
                    <a:pt x="200" y="26"/>
                  </a:lnTo>
                  <a:lnTo>
                    <a:pt x="200" y="25"/>
                  </a:lnTo>
                  <a:lnTo>
                    <a:pt x="201" y="25"/>
                  </a:lnTo>
                  <a:lnTo>
                    <a:pt x="203" y="23"/>
                  </a:lnTo>
                  <a:lnTo>
                    <a:pt x="204" y="21"/>
                  </a:lnTo>
                  <a:lnTo>
                    <a:pt x="205" y="20"/>
                  </a:lnTo>
                  <a:lnTo>
                    <a:pt x="206" y="19"/>
                  </a:lnTo>
                  <a:lnTo>
                    <a:pt x="208" y="18"/>
                  </a:lnTo>
                  <a:lnTo>
                    <a:pt x="209" y="17"/>
                  </a:lnTo>
                  <a:lnTo>
                    <a:pt x="210" y="17"/>
                  </a:lnTo>
                  <a:lnTo>
                    <a:pt x="210" y="16"/>
                  </a:lnTo>
                  <a:lnTo>
                    <a:pt x="211" y="15"/>
                  </a:lnTo>
                  <a:lnTo>
                    <a:pt x="211" y="15"/>
                  </a:lnTo>
                  <a:lnTo>
                    <a:pt x="212" y="13"/>
                  </a:lnTo>
                  <a:lnTo>
                    <a:pt x="213" y="12"/>
                  </a:lnTo>
                  <a:lnTo>
                    <a:pt x="214" y="11"/>
                  </a:lnTo>
                  <a:lnTo>
                    <a:pt x="214" y="10"/>
                  </a:lnTo>
                  <a:lnTo>
                    <a:pt x="214" y="10"/>
                  </a:lnTo>
                  <a:lnTo>
                    <a:pt x="215" y="10"/>
                  </a:lnTo>
                  <a:lnTo>
                    <a:pt x="216" y="10"/>
                  </a:lnTo>
                  <a:lnTo>
                    <a:pt x="217" y="10"/>
                  </a:lnTo>
                  <a:lnTo>
                    <a:pt x="218" y="11"/>
                  </a:lnTo>
                  <a:lnTo>
                    <a:pt x="221" y="11"/>
                  </a:lnTo>
                  <a:lnTo>
                    <a:pt x="223" y="12"/>
                  </a:lnTo>
                  <a:lnTo>
                    <a:pt x="224" y="12"/>
                  </a:lnTo>
                  <a:lnTo>
                    <a:pt x="225" y="12"/>
                  </a:lnTo>
                  <a:lnTo>
                    <a:pt x="225" y="12"/>
                  </a:lnTo>
                  <a:lnTo>
                    <a:pt x="226" y="12"/>
                  </a:lnTo>
                  <a:lnTo>
                    <a:pt x="227" y="12"/>
                  </a:lnTo>
                  <a:lnTo>
                    <a:pt x="227" y="12"/>
                  </a:lnTo>
                  <a:lnTo>
                    <a:pt x="228" y="11"/>
                  </a:lnTo>
                  <a:lnTo>
                    <a:pt x="228" y="11"/>
                  </a:lnTo>
                  <a:lnTo>
                    <a:pt x="229" y="11"/>
                  </a:lnTo>
                  <a:lnTo>
                    <a:pt x="230" y="10"/>
                  </a:lnTo>
                  <a:lnTo>
                    <a:pt x="230" y="10"/>
                  </a:lnTo>
                  <a:lnTo>
                    <a:pt x="231" y="9"/>
                  </a:lnTo>
                  <a:lnTo>
                    <a:pt x="231" y="8"/>
                  </a:lnTo>
                  <a:lnTo>
                    <a:pt x="232" y="7"/>
                  </a:lnTo>
                  <a:lnTo>
                    <a:pt x="233" y="5"/>
                  </a:lnTo>
                  <a:lnTo>
                    <a:pt x="234" y="4"/>
                  </a:lnTo>
                  <a:lnTo>
                    <a:pt x="234" y="3"/>
                  </a:lnTo>
                  <a:lnTo>
                    <a:pt x="235" y="2"/>
                  </a:lnTo>
                  <a:lnTo>
                    <a:pt x="235" y="2"/>
                  </a:lnTo>
                  <a:lnTo>
                    <a:pt x="235" y="1"/>
                  </a:lnTo>
                  <a:lnTo>
                    <a:pt x="235" y="1"/>
                  </a:lnTo>
                  <a:lnTo>
                    <a:pt x="235" y="0"/>
                  </a:lnTo>
                  <a:lnTo>
                    <a:pt x="236" y="1"/>
                  </a:lnTo>
                  <a:lnTo>
                    <a:pt x="236" y="1"/>
                  </a:lnTo>
                  <a:lnTo>
                    <a:pt x="238" y="0"/>
                  </a:lnTo>
                  <a:lnTo>
                    <a:pt x="238" y="0"/>
                  </a:lnTo>
                  <a:lnTo>
                    <a:pt x="239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1" y="0"/>
                  </a:lnTo>
                  <a:close/>
                </a:path>
              </a:pathLst>
            </a:custGeom>
            <a:solidFill>
              <a:srgbClr val="D1D1D1"/>
            </a:solidFill>
            <a:ln w="20638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3" name="Freeform 73">
              <a:extLst>
                <a:ext uri="{FF2B5EF4-FFF2-40B4-BE49-F238E27FC236}">
                  <a16:creationId xmlns:a16="http://schemas.microsoft.com/office/drawing/2014/main" id="{7FF0DAB2-E3B1-CE70-4E43-379F89D7F2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192"/>
              <a:ext cx="516" cy="419"/>
            </a:xfrm>
            <a:custGeom>
              <a:avLst/>
              <a:gdLst>
                <a:gd name="T0" fmla="*/ 169 w 516"/>
                <a:gd name="T1" fmla="*/ 9 h 419"/>
                <a:gd name="T2" fmla="*/ 172 w 516"/>
                <a:gd name="T3" fmla="*/ 35 h 419"/>
                <a:gd name="T4" fmla="*/ 169 w 516"/>
                <a:gd name="T5" fmla="*/ 53 h 419"/>
                <a:gd name="T6" fmla="*/ 134 w 516"/>
                <a:gd name="T7" fmla="*/ 70 h 419"/>
                <a:gd name="T8" fmla="*/ 139 w 516"/>
                <a:gd name="T9" fmla="*/ 88 h 419"/>
                <a:gd name="T10" fmla="*/ 161 w 516"/>
                <a:gd name="T11" fmla="*/ 97 h 419"/>
                <a:gd name="T12" fmla="*/ 182 w 516"/>
                <a:gd name="T13" fmla="*/ 131 h 419"/>
                <a:gd name="T14" fmla="*/ 204 w 516"/>
                <a:gd name="T15" fmla="*/ 152 h 419"/>
                <a:gd name="T16" fmla="*/ 235 w 516"/>
                <a:gd name="T17" fmla="*/ 147 h 419"/>
                <a:gd name="T18" fmla="*/ 263 w 516"/>
                <a:gd name="T19" fmla="*/ 138 h 419"/>
                <a:gd name="T20" fmla="*/ 254 w 516"/>
                <a:gd name="T21" fmla="*/ 127 h 419"/>
                <a:gd name="T22" fmla="*/ 262 w 516"/>
                <a:gd name="T23" fmla="*/ 116 h 419"/>
                <a:gd name="T24" fmla="*/ 284 w 516"/>
                <a:gd name="T25" fmla="*/ 143 h 419"/>
                <a:gd name="T26" fmla="*/ 305 w 516"/>
                <a:gd name="T27" fmla="*/ 144 h 419"/>
                <a:gd name="T28" fmla="*/ 326 w 516"/>
                <a:gd name="T29" fmla="*/ 157 h 419"/>
                <a:gd name="T30" fmla="*/ 343 w 516"/>
                <a:gd name="T31" fmla="*/ 176 h 419"/>
                <a:gd name="T32" fmla="*/ 354 w 516"/>
                <a:gd name="T33" fmla="*/ 167 h 419"/>
                <a:gd name="T34" fmla="*/ 388 w 516"/>
                <a:gd name="T35" fmla="*/ 175 h 419"/>
                <a:gd name="T36" fmla="*/ 413 w 516"/>
                <a:gd name="T37" fmla="*/ 181 h 419"/>
                <a:gd name="T38" fmla="*/ 423 w 516"/>
                <a:gd name="T39" fmla="*/ 178 h 419"/>
                <a:gd name="T40" fmla="*/ 430 w 516"/>
                <a:gd name="T41" fmla="*/ 200 h 419"/>
                <a:gd name="T42" fmla="*/ 429 w 516"/>
                <a:gd name="T43" fmla="*/ 225 h 419"/>
                <a:gd name="T44" fmla="*/ 449 w 516"/>
                <a:gd name="T45" fmla="*/ 269 h 419"/>
                <a:gd name="T46" fmla="*/ 479 w 516"/>
                <a:gd name="T47" fmla="*/ 282 h 419"/>
                <a:gd name="T48" fmla="*/ 499 w 516"/>
                <a:gd name="T49" fmla="*/ 288 h 419"/>
                <a:gd name="T50" fmla="*/ 516 w 516"/>
                <a:gd name="T51" fmla="*/ 341 h 419"/>
                <a:gd name="T52" fmla="*/ 499 w 516"/>
                <a:gd name="T53" fmla="*/ 362 h 419"/>
                <a:gd name="T54" fmla="*/ 463 w 516"/>
                <a:gd name="T55" fmla="*/ 366 h 419"/>
                <a:gd name="T56" fmla="*/ 431 w 516"/>
                <a:gd name="T57" fmla="*/ 366 h 419"/>
                <a:gd name="T58" fmla="*/ 422 w 516"/>
                <a:gd name="T59" fmla="*/ 385 h 419"/>
                <a:gd name="T60" fmla="*/ 395 w 516"/>
                <a:gd name="T61" fmla="*/ 418 h 419"/>
                <a:gd name="T62" fmla="*/ 376 w 516"/>
                <a:gd name="T63" fmla="*/ 413 h 419"/>
                <a:gd name="T64" fmla="*/ 354 w 516"/>
                <a:gd name="T65" fmla="*/ 386 h 419"/>
                <a:gd name="T66" fmla="*/ 329 w 516"/>
                <a:gd name="T67" fmla="*/ 378 h 419"/>
                <a:gd name="T68" fmla="*/ 293 w 516"/>
                <a:gd name="T69" fmla="*/ 367 h 419"/>
                <a:gd name="T70" fmla="*/ 255 w 516"/>
                <a:gd name="T71" fmla="*/ 366 h 419"/>
                <a:gd name="T72" fmla="*/ 234 w 516"/>
                <a:gd name="T73" fmla="*/ 359 h 419"/>
                <a:gd name="T74" fmla="*/ 218 w 516"/>
                <a:gd name="T75" fmla="*/ 353 h 419"/>
                <a:gd name="T76" fmla="*/ 215 w 516"/>
                <a:gd name="T77" fmla="*/ 340 h 419"/>
                <a:gd name="T78" fmla="*/ 183 w 516"/>
                <a:gd name="T79" fmla="*/ 303 h 419"/>
                <a:gd name="T80" fmla="*/ 169 w 516"/>
                <a:gd name="T81" fmla="*/ 300 h 419"/>
                <a:gd name="T82" fmla="*/ 164 w 516"/>
                <a:gd name="T83" fmla="*/ 274 h 419"/>
                <a:gd name="T84" fmla="*/ 153 w 516"/>
                <a:gd name="T85" fmla="*/ 260 h 419"/>
                <a:gd name="T86" fmla="*/ 120 w 516"/>
                <a:gd name="T87" fmla="*/ 257 h 419"/>
                <a:gd name="T88" fmla="*/ 104 w 516"/>
                <a:gd name="T89" fmla="*/ 237 h 419"/>
                <a:gd name="T90" fmla="*/ 94 w 516"/>
                <a:gd name="T91" fmla="*/ 211 h 419"/>
                <a:gd name="T92" fmla="*/ 89 w 516"/>
                <a:gd name="T93" fmla="*/ 229 h 419"/>
                <a:gd name="T94" fmla="*/ 77 w 516"/>
                <a:gd name="T95" fmla="*/ 236 h 419"/>
                <a:gd name="T96" fmla="*/ 64 w 516"/>
                <a:gd name="T97" fmla="*/ 238 h 419"/>
                <a:gd name="T98" fmla="*/ 60 w 516"/>
                <a:gd name="T99" fmla="*/ 217 h 419"/>
                <a:gd name="T100" fmla="*/ 33 w 516"/>
                <a:gd name="T101" fmla="*/ 234 h 419"/>
                <a:gd name="T102" fmla="*/ 20 w 516"/>
                <a:gd name="T103" fmla="*/ 223 h 419"/>
                <a:gd name="T104" fmla="*/ 5 w 516"/>
                <a:gd name="T105" fmla="*/ 217 h 419"/>
                <a:gd name="T106" fmla="*/ 4 w 516"/>
                <a:gd name="T107" fmla="*/ 193 h 419"/>
                <a:gd name="T108" fmla="*/ 11 w 516"/>
                <a:gd name="T109" fmla="*/ 172 h 419"/>
                <a:gd name="T110" fmla="*/ 6 w 516"/>
                <a:gd name="T111" fmla="*/ 145 h 419"/>
                <a:gd name="T112" fmla="*/ 20 w 516"/>
                <a:gd name="T113" fmla="*/ 105 h 419"/>
                <a:gd name="T114" fmla="*/ 40 w 516"/>
                <a:gd name="T115" fmla="*/ 71 h 419"/>
                <a:gd name="T116" fmla="*/ 66 w 516"/>
                <a:gd name="T117" fmla="*/ 52 h 419"/>
                <a:gd name="T118" fmla="*/ 77 w 516"/>
                <a:gd name="T119" fmla="*/ 34 h 419"/>
                <a:gd name="T120" fmla="*/ 113 w 516"/>
                <a:gd name="T121" fmla="*/ 24 h 419"/>
                <a:gd name="T122" fmla="*/ 142 w 516"/>
                <a:gd name="T123" fmla="*/ 1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16" h="419">
                  <a:moveTo>
                    <a:pt x="156" y="0"/>
                  </a:moveTo>
                  <a:lnTo>
                    <a:pt x="157" y="0"/>
                  </a:lnTo>
                  <a:lnTo>
                    <a:pt x="158" y="0"/>
                  </a:lnTo>
                  <a:lnTo>
                    <a:pt x="158" y="1"/>
                  </a:lnTo>
                  <a:lnTo>
                    <a:pt x="159" y="1"/>
                  </a:lnTo>
                  <a:lnTo>
                    <a:pt x="160" y="1"/>
                  </a:lnTo>
                  <a:lnTo>
                    <a:pt x="160" y="2"/>
                  </a:lnTo>
                  <a:lnTo>
                    <a:pt x="161" y="2"/>
                  </a:lnTo>
                  <a:lnTo>
                    <a:pt x="162" y="3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64" y="5"/>
                  </a:lnTo>
                  <a:lnTo>
                    <a:pt x="164" y="6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6" y="7"/>
                  </a:lnTo>
                  <a:lnTo>
                    <a:pt x="167" y="8"/>
                  </a:lnTo>
                  <a:lnTo>
                    <a:pt x="167" y="8"/>
                  </a:lnTo>
                  <a:lnTo>
                    <a:pt x="168" y="8"/>
                  </a:lnTo>
                  <a:lnTo>
                    <a:pt x="169" y="9"/>
                  </a:lnTo>
                  <a:lnTo>
                    <a:pt x="169" y="9"/>
                  </a:lnTo>
                  <a:lnTo>
                    <a:pt x="169" y="10"/>
                  </a:lnTo>
                  <a:lnTo>
                    <a:pt x="169" y="10"/>
                  </a:lnTo>
                  <a:lnTo>
                    <a:pt x="169" y="11"/>
                  </a:lnTo>
                  <a:lnTo>
                    <a:pt x="169" y="11"/>
                  </a:lnTo>
                  <a:lnTo>
                    <a:pt x="169" y="12"/>
                  </a:lnTo>
                  <a:lnTo>
                    <a:pt x="169" y="13"/>
                  </a:lnTo>
                  <a:lnTo>
                    <a:pt x="169" y="14"/>
                  </a:lnTo>
                  <a:lnTo>
                    <a:pt x="167" y="18"/>
                  </a:lnTo>
                  <a:lnTo>
                    <a:pt x="167" y="20"/>
                  </a:lnTo>
                  <a:lnTo>
                    <a:pt x="166" y="21"/>
                  </a:lnTo>
                  <a:lnTo>
                    <a:pt x="166" y="22"/>
                  </a:lnTo>
                  <a:lnTo>
                    <a:pt x="166" y="23"/>
                  </a:lnTo>
                  <a:lnTo>
                    <a:pt x="166" y="24"/>
                  </a:lnTo>
                  <a:lnTo>
                    <a:pt x="166" y="26"/>
                  </a:lnTo>
                  <a:lnTo>
                    <a:pt x="166" y="27"/>
                  </a:lnTo>
                  <a:lnTo>
                    <a:pt x="167" y="28"/>
                  </a:lnTo>
                  <a:lnTo>
                    <a:pt x="167" y="29"/>
                  </a:lnTo>
                  <a:lnTo>
                    <a:pt x="168" y="30"/>
                  </a:lnTo>
                  <a:lnTo>
                    <a:pt x="168" y="31"/>
                  </a:lnTo>
                  <a:lnTo>
                    <a:pt x="169" y="32"/>
                  </a:lnTo>
                  <a:lnTo>
                    <a:pt x="172" y="35"/>
                  </a:lnTo>
                  <a:lnTo>
                    <a:pt x="173" y="37"/>
                  </a:lnTo>
                  <a:lnTo>
                    <a:pt x="173" y="38"/>
                  </a:lnTo>
                  <a:lnTo>
                    <a:pt x="174" y="38"/>
                  </a:lnTo>
                  <a:lnTo>
                    <a:pt x="174" y="39"/>
                  </a:lnTo>
                  <a:lnTo>
                    <a:pt x="174" y="40"/>
                  </a:lnTo>
                  <a:lnTo>
                    <a:pt x="174" y="41"/>
                  </a:lnTo>
                  <a:lnTo>
                    <a:pt x="175" y="42"/>
                  </a:lnTo>
                  <a:lnTo>
                    <a:pt x="175" y="43"/>
                  </a:lnTo>
                  <a:lnTo>
                    <a:pt x="175" y="45"/>
                  </a:lnTo>
                  <a:lnTo>
                    <a:pt x="174" y="46"/>
                  </a:lnTo>
                  <a:lnTo>
                    <a:pt x="174" y="47"/>
                  </a:lnTo>
                  <a:lnTo>
                    <a:pt x="174" y="49"/>
                  </a:lnTo>
                  <a:lnTo>
                    <a:pt x="174" y="49"/>
                  </a:lnTo>
                  <a:lnTo>
                    <a:pt x="173" y="50"/>
                  </a:lnTo>
                  <a:lnTo>
                    <a:pt x="173" y="50"/>
                  </a:lnTo>
                  <a:lnTo>
                    <a:pt x="173" y="51"/>
                  </a:lnTo>
                  <a:lnTo>
                    <a:pt x="172" y="52"/>
                  </a:lnTo>
                  <a:lnTo>
                    <a:pt x="171" y="52"/>
                  </a:lnTo>
                  <a:lnTo>
                    <a:pt x="170" y="53"/>
                  </a:lnTo>
                  <a:lnTo>
                    <a:pt x="169" y="53"/>
                  </a:lnTo>
                  <a:lnTo>
                    <a:pt x="169" y="53"/>
                  </a:lnTo>
                  <a:lnTo>
                    <a:pt x="166" y="54"/>
                  </a:lnTo>
                  <a:lnTo>
                    <a:pt x="165" y="54"/>
                  </a:lnTo>
                  <a:lnTo>
                    <a:pt x="164" y="55"/>
                  </a:lnTo>
                  <a:lnTo>
                    <a:pt x="164" y="55"/>
                  </a:lnTo>
                  <a:lnTo>
                    <a:pt x="163" y="56"/>
                  </a:lnTo>
                  <a:lnTo>
                    <a:pt x="162" y="57"/>
                  </a:lnTo>
                  <a:lnTo>
                    <a:pt x="162" y="57"/>
                  </a:lnTo>
                  <a:lnTo>
                    <a:pt x="160" y="59"/>
                  </a:lnTo>
                  <a:lnTo>
                    <a:pt x="160" y="60"/>
                  </a:lnTo>
                  <a:lnTo>
                    <a:pt x="159" y="61"/>
                  </a:lnTo>
                  <a:lnTo>
                    <a:pt x="159" y="61"/>
                  </a:lnTo>
                  <a:lnTo>
                    <a:pt x="158" y="62"/>
                  </a:lnTo>
                  <a:lnTo>
                    <a:pt x="158" y="62"/>
                  </a:lnTo>
                  <a:lnTo>
                    <a:pt x="157" y="63"/>
                  </a:lnTo>
                  <a:lnTo>
                    <a:pt x="156" y="63"/>
                  </a:lnTo>
                  <a:lnTo>
                    <a:pt x="155" y="63"/>
                  </a:lnTo>
                  <a:lnTo>
                    <a:pt x="153" y="64"/>
                  </a:lnTo>
                  <a:lnTo>
                    <a:pt x="148" y="66"/>
                  </a:lnTo>
                  <a:lnTo>
                    <a:pt x="142" y="68"/>
                  </a:lnTo>
                  <a:lnTo>
                    <a:pt x="139" y="69"/>
                  </a:lnTo>
                  <a:lnTo>
                    <a:pt x="134" y="70"/>
                  </a:lnTo>
                  <a:lnTo>
                    <a:pt x="133" y="71"/>
                  </a:lnTo>
                  <a:lnTo>
                    <a:pt x="132" y="71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0" y="73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5"/>
                  </a:lnTo>
                  <a:lnTo>
                    <a:pt x="129" y="76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30" y="78"/>
                  </a:lnTo>
                  <a:lnTo>
                    <a:pt x="130" y="79"/>
                  </a:lnTo>
                  <a:lnTo>
                    <a:pt x="131" y="80"/>
                  </a:lnTo>
                  <a:lnTo>
                    <a:pt x="131" y="81"/>
                  </a:lnTo>
                  <a:lnTo>
                    <a:pt x="132" y="82"/>
                  </a:lnTo>
                  <a:lnTo>
                    <a:pt x="132" y="82"/>
                  </a:lnTo>
                  <a:lnTo>
                    <a:pt x="133" y="83"/>
                  </a:lnTo>
                  <a:lnTo>
                    <a:pt x="134" y="84"/>
                  </a:lnTo>
                  <a:lnTo>
                    <a:pt x="135" y="85"/>
                  </a:lnTo>
                  <a:lnTo>
                    <a:pt x="139" y="88"/>
                  </a:lnTo>
                  <a:lnTo>
                    <a:pt x="140" y="89"/>
                  </a:lnTo>
                  <a:lnTo>
                    <a:pt x="141" y="91"/>
                  </a:lnTo>
                  <a:lnTo>
                    <a:pt x="143" y="93"/>
                  </a:lnTo>
                  <a:lnTo>
                    <a:pt x="144" y="94"/>
                  </a:lnTo>
                  <a:lnTo>
                    <a:pt x="145" y="95"/>
                  </a:lnTo>
                  <a:lnTo>
                    <a:pt x="146" y="96"/>
                  </a:lnTo>
                  <a:lnTo>
                    <a:pt x="147" y="97"/>
                  </a:lnTo>
                  <a:lnTo>
                    <a:pt x="149" y="97"/>
                  </a:lnTo>
                  <a:lnTo>
                    <a:pt x="150" y="98"/>
                  </a:lnTo>
                  <a:lnTo>
                    <a:pt x="151" y="98"/>
                  </a:lnTo>
                  <a:lnTo>
                    <a:pt x="152" y="98"/>
                  </a:lnTo>
                  <a:lnTo>
                    <a:pt x="152" y="98"/>
                  </a:lnTo>
                  <a:lnTo>
                    <a:pt x="153" y="97"/>
                  </a:lnTo>
                  <a:lnTo>
                    <a:pt x="155" y="97"/>
                  </a:lnTo>
                  <a:lnTo>
                    <a:pt x="156" y="97"/>
                  </a:lnTo>
                  <a:lnTo>
                    <a:pt x="157" y="97"/>
                  </a:lnTo>
                  <a:lnTo>
                    <a:pt x="158" y="97"/>
                  </a:lnTo>
                  <a:lnTo>
                    <a:pt x="159" y="97"/>
                  </a:lnTo>
                  <a:lnTo>
                    <a:pt x="159" y="97"/>
                  </a:lnTo>
                  <a:lnTo>
                    <a:pt x="160" y="97"/>
                  </a:lnTo>
                  <a:lnTo>
                    <a:pt x="161" y="97"/>
                  </a:lnTo>
                  <a:lnTo>
                    <a:pt x="161" y="98"/>
                  </a:lnTo>
                  <a:lnTo>
                    <a:pt x="163" y="98"/>
                  </a:lnTo>
                  <a:lnTo>
                    <a:pt x="163" y="99"/>
                  </a:lnTo>
                  <a:lnTo>
                    <a:pt x="164" y="99"/>
                  </a:lnTo>
                  <a:lnTo>
                    <a:pt x="165" y="100"/>
                  </a:lnTo>
                  <a:lnTo>
                    <a:pt x="166" y="101"/>
                  </a:lnTo>
                  <a:lnTo>
                    <a:pt x="167" y="102"/>
                  </a:lnTo>
                  <a:lnTo>
                    <a:pt x="168" y="103"/>
                  </a:lnTo>
                  <a:lnTo>
                    <a:pt x="170" y="106"/>
                  </a:lnTo>
                  <a:lnTo>
                    <a:pt x="171" y="108"/>
                  </a:lnTo>
                  <a:lnTo>
                    <a:pt x="174" y="112"/>
                  </a:lnTo>
                  <a:lnTo>
                    <a:pt x="175" y="113"/>
                  </a:lnTo>
                  <a:lnTo>
                    <a:pt x="176" y="115"/>
                  </a:lnTo>
                  <a:lnTo>
                    <a:pt x="177" y="116"/>
                  </a:lnTo>
                  <a:lnTo>
                    <a:pt x="177" y="117"/>
                  </a:lnTo>
                  <a:lnTo>
                    <a:pt x="178" y="119"/>
                  </a:lnTo>
                  <a:lnTo>
                    <a:pt x="178" y="120"/>
                  </a:lnTo>
                  <a:lnTo>
                    <a:pt x="180" y="124"/>
                  </a:lnTo>
                  <a:lnTo>
                    <a:pt x="181" y="126"/>
                  </a:lnTo>
                  <a:lnTo>
                    <a:pt x="181" y="127"/>
                  </a:lnTo>
                  <a:lnTo>
                    <a:pt x="182" y="131"/>
                  </a:lnTo>
                  <a:lnTo>
                    <a:pt x="184" y="134"/>
                  </a:lnTo>
                  <a:lnTo>
                    <a:pt x="184" y="135"/>
                  </a:lnTo>
                  <a:lnTo>
                    <a:pt x="185" y="136"/>
                  </a:lnTo>
                  <a:lnTo>
                    <a:pt x="185" y="137"/>
                  </a:lnTo>
                  <a:lnTo>
                    <a:pt x="186" y="137"/>
                  </a:lnTo>
                  <a:lnTo>
                    <a:pt x="187" y="138"/>
                  </a:lnTo>
                  <a:lnTo>
                    <a:pt x="188" y="138"/>
                  </a:lnTo>
                  <a:lnTo>
                    <a:pt x="190" y="140"/>
                  </a:lnTo>
                  <a:lnTo>
                    <a:pt x="192" y="141"/>
                  </a:lnTo>
                  <a:lnTo>
                    <a:pt x="195" y="142"/>
                  </a:lnTo>
                  <a:lnTo>
                    <a:pt x="196" y="142"/>
                  </a:lnTo>
                  <a:lnTo>
                    <a:pt x="197" y="143"/>
                  </a:lnTo>
                  <a:lnTo>
                    <a:pt x="198" y="144"/>
                  </a:lnTo>
                  <a:lnTo>
                    <a:pt x="198" y="145"/>
                  </a:lnTo>
                  <a:lnTo>
                    <a:pt x="199" y="146"/>
                  </a:lnTo>
                  <a:lnTo>
                    <a:pt x="200" y="147"/>
                  </a:lnTo>
                  <a:lnTo>
                    <a:pt x="201" y="148"/>
                  </a:lnTo>
                  <a:lnTo>
                    <a:pt x="201" y="149"/>
                  </a:lnTo>
                  <a:lnTo>
                    <a:pt x="202" y="150"/>
                  </a:lnTo>
                  <a:lnTo>
                    <a:pt x="202" y="151"/>
                  </a:lnTo>
                  <a:lnTo>
                    <a:pt x="204" y="152"/>
                  </a:lnTo>
                  <a:lnTo>
                    <a:pt x="205" y="153"/>
                  </a:lnTo>
                  <a:lnTo>
                    <a:pt x="207" y="154"/>
                  </a:lnTo>
                  <a:lnTo>
                    <a:pt x="208" y="155"/>
                  </a:lnTo>
                  <a:lnTo>
                    <a:pt x="209" y="156"/>
                  </a:lnTo>
                  <a:lnTo>
                    <a:pt x="211" y="156"/>
                  </a:lnTo>
                  <a:lnTo>
                    <a:pt x="212" y="157"/>
                  </a:lnTo>
                  <a:lnTo>
                    <a:pt x="213" y="157"/>
                  </a:lnTo>
                  <a:lnTo>
                    <a:pt x="213" y="157"/>
                  </a:lnTo>
                  <a:lnTo>
                    <a:pt x="214" y="157"/>
                  </a:lnTo>
                  <a:lnTo>
                    <a:pt x="215" y="157"/>
                  </a:lnTo>
                  <a:lnTo>
                    <a:pt x="216" y="157"/>
                  </a:lnTo>
                  <a:lnTo>
                    <a:pt x="220" y="156"/>
                  </a:lnTo>
                  <a:lnTo>
                    <a:pt x="222" y="156"/>
                  </a:lnTo>
                  <a:lnTo>
                    <a:pt x="223" y="156"/>
                  </a:lnTo>
                  <a:lnTo>
                    <a:pt x="224" y="155"/>
                  </a:lnTo>
                  <a:lnTo>
                    <a:pt x="225" y="155"/>
                  </a:lnTo>
                  <a:lnTo>
                    <a:pt x="227" y="154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0" y="152"/>
                  </a:lnTo>
                  <a:lnTo>
                    <a:pt x="235" y="147"/>
                  </a:lnTo>
                  <a:lnTo>
                    <a:pt x="236" y="146"/>
                  </a:lnTo>
                  <a:lnTo>
                    <a:pt x="237" y="145"/>
                  </a:lnTo>
                  <a:lnTo>
                    <a:pt x="238" y="145"/>
                  </a:lnTo>
                  <a:lnTo>
                    <a:pt x="239" y="144"/>
                  </a:lnTo>
                  <a:lnTo>
                    <a:pt x="241" y="143"/>
                  </a:lnTo>
                  <a:lnTo>
                    <a:pt x="242" y="142"/>
                  </a:lnTo>
                  <a:lnTo>
                    <a:pt x="245" y="141"/>
                  </a:lnTo>
                  <a:lnTo>
                    <a:pt x="247" y="140"/>
                  </a:lnTo>
                  <a:lnTo>
                    <a:pt x="248" y="140"/>
                  </a:lnTo>
                  <a:lnTo>
                    <a:pt x="249" y="139"/>
                  </a:lnTo>
                  <a:lnTo>
                    <a:pt x="251" y="139"/>
                  </a:lnTo>
                  <a:lnTo>
                    <a:pt x="252" y="139"/>
                  </a:lnTo>
                  <a:lnTo>
                    <a:pt x="252" y="139"/>
                  </a:lnTo>
                  <a:lnTo>
                    <a:pt x="257" y="139"/>
                  </a:lnTo>
                  <a:lnTo>
                    <a:pt x="259" y="139"/>
                  </a:lnTo>
                  <a:lnTo>
                    <a:pt x="260" y="139"/>
                  </a:lnTo>
                  <a:lnTo>
                    <a:pt x="261" y="139"/>
                  </a:lnTo>
                  <a:lnTo>
                    <a:pt x="262" y="139"/>
                  </a:lnTo>
                  <a:lnTo>
                    <a:pt x="262" y="139"/>
                  </a:lnTo>
                  <a:lnTo>
                    <a:pt x="263" y="139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7"/>
                  </a:lnTo>
                  <a:lnTo>
                    <a:pt x="264" y="136"/>
                  </a:lnTo>
                  <a:lnTo>
                    <a:pt x="264" y="135"/>
                  </a:lnTo>
                  <a:lnTo>
                    <a:pt x="263" y="134"/>
                  </a:lnTo>
                  <a:lnTo>
                    <a:pt x="263" y="133"/>
                  </a:lnTo>
                  <a:lnTo>
                    <a:pt x="263" y="132"/>
                  </a:lnTo>
                  <a:lnTo>
                    <a:pt x="263" y="132"/>
                  </a:lnTo>
                  <a:lnTo>
                    <a:pt x="262" y="131"/>
                  </a:lnTo>
                  <a:lnTo>
                    <a:pt x="262" y="130"/>
                  </a:lnTo>
                  <a:lnTo>
                    <a:pt x="261" y="130"/>
                  </a:lnTo>
                  <a:lnTo>
                    <a:pt x="261" y="129"/>
                  </a:lnTo>
                  <a:lnTo>
                    <a:pt x="260" y="129"/>
                  </a:lnTo>
                  <a:lnTo>
                    <a:pt x="259" y="129"/>
                  </a:lnTo>
                  <a:lnTo>
                    <a:pt x="258" y="128"/>
                  </a:lnTo>
                  <a:lnTo>
                    <a:pt x="256" y="128"/>
                  </a:lnTo>
                  <a:lnTo>
                    <a:pt x="256" y="128"/>
                  </a:lnTo>
                  <a:lnTo>
                    <a:pt x="255" y="128"/>
                  </a:lnTo>
                  <a:lnTo>
                    <a:pt x="255" y="127"/>
                  </a:lnTo>
                  <a:lnTo>
                    <a:pt x="254" y="127"/>
                  </a:lnTo>
                  <a:lnTo>
                    <a:pt x="254" y="127"/>
                  </a:lnTo>
                  <a:lnTo>
                    <a:pt x="254" y="126"/>
                  </a:lnTo>
                  <a:lnTo>
                    <a:pt x="253" y="126"/>
                  </a:lnTo>
                  <a:lnTo>
                    <a:pt x="253" y="125"/>
                  </a:lnTo>
                  <a:lnTo>
                    <a:pt x="253" y="124"/>
                  </a:lnTo>
                  <a:lnTo>
                    <a:pt x="253" y="124"/>
                  </a:lnTo>
                  <a:lnTo>
                    <a:pt x="253" y="123"/>
                  </a:lnTo>
                  <a:lnTo>
                    <a:pt x="253" y="122"/>
                  </a:lnTo>
                  <a:lnTo>
                    <a:pt x="253" y="121"/>
                  </a:lnTo>
                  <a:lnTo>
                    <a:pt x="254" y="121"/>
                  </a:lnTo>
                  <a:lnTo>
                    <a:pt x="254" y="120"/>
                  </a:lnTo>
                  <a:lnTo>
                    <a:pt x="255" y="119"/>
                  </a:lnTo>
                  <a:lnTo>
                    <a:pt x="255" y="118"/>
                  </a:lnTo>
                  <a:lnTo>
                    <a:pt x="256" y="118"/>
                  </a:lnTo>
                  <a:lnTo>
                    <a:pt x="257" y="117"/>
                  </a:lnTo>
                  <a:lnTo>
                    <a:pt x="257" y="117"/>
                  </a:lnTo>
                  <a:lnTo>
                    <a:pt x="258" y="117"/>
                  </a:lnTo>
                  <a:lnTo>
                    <a:pt x="259" y="116"/>
                  </a:lnTo>
                  <a:lnTo>
                    <a:pt x="260" y="116"/>
                  </a:lnTo>
                  <a:lnTo>
                    <a:pt x="261" y="116"/>
                  </a:lnTo>
                  <a:lnTo>
                    <a:pt x="261" y="116"/>
                  </a:lnTo>
                  <a:lnTo>
                    <a:pt x="262" y="116"/>
                  </a:lnTo>
                  <a:lnTo>
                    <a:pt x="263" y="117"/>
                  </a:lnTo>
                  <a:lnTo>
                    <a:pt x="265" y="117"/>
                  </a:lnTo>
                  <a:lnTo>
                    <a:pt x="266" y="118"/>
                  </a:lnTo>
                  <a:lnTo>
                    <a:pt x="267" y="118"/>
                  </a:lnTo>
                  <a:lnTo>
                    <a:pt x="268" y="119"/>
                  </a:lnTo>
                  <a:lnTo>
                    <a:pt x="269" y="120"/>
                  </a:lnTo>
                  <a:lnTo>
                    <a:pt x="272" y="122"/>
                  </a:lnTo>
                  <a:lnTo>
                    <a:pt x="273" y="123"/>
                  </a:lnTo>
                  <a:lnTo>
                    <a:pt x="274" y="124"/>
                  </a:lnTo>
                  <a:lnTo>
                    <a:pt x="275" y="125"/>
                  </a:lnTo>
                  <a:lnTo>
                    <a:pt x="276" y="126"/>
                  </a:lnTo>
                  <a:lnTo>
                    <a:pt x="278" y="132"/>
                  </a:lnTo>
                  <a:lnTo>
                    <a:pt x="279" y="133"/>
                  </a:lnTo>
                  <a:lnTo>
                    <a:pt x="279" y="134"/>
                  </a:lnTo>
                  <a:lnTo>
                    <a:pt x="280" y="137"/>
                  </a:lnTo>
                  <a:lnTo>
                    <a:pt x="281" y="138"/>
                  </a:lnTo>
                  <a:lnTo>
                    <a:pt x="281" y="139"/>
                  </a:lnTo>
                  <a:lnTo>
                    <a:pt x="282" y="140"/>
                  </a:lnTo>
                  <a:lnTo>
                    <a:pt x="282" y="142"/>
                  </a:lnTo>
                  <a:lnTo>
                    <a:pt x="283" y="142"/>
                  </a:lnTo>
                  <a:lnTo>
                    <a:pt x="284" y="143"/>
                  </a:lnTo>
                  <a:lnTo>
                    <a:pt x="285" y="143"/>
                  </a:lnTo>
                  <a:lnTo>
                    <a:pt x="285" y="144"/>
                  </a:lnTo>
                  <a:lnTo>
                    <a:pt x="286" y="144"/>
                  </a:lnTo>
                  <a:lnTo>
                    <a:pt x="287" y="145"/>
                  </a:lnTo>
                  <a:lnTo>
                    <a:pt x="287" y="145"/>
                  </a:lnTo>
                  <a:lnTo>
                    <a:pt x="290" y="146"/>
                  </a:lnTo>
                  <a:lnTo>
                    <a:pt x="295" y="148"/>
                  </a:lnTo>
                  <a:lnTo>
                    <a:pt x="296" y="148"/>
                  </a:lnTo>
                  <a:lnTo>
                    <a:pt x="297" y="148"/>
                  </a:lnTo>
                  <a:lnTo>
                    <a:pt x="297" y="148"/>
                  </a:lnTo>
                  <a:lnTo>
                    <a:pt x="298" y="148"/>
                  </a:lnTo>
                  <a:lnTo>
                    <a:pt x="299" y="148"/>
                  </a:lnTo>
                  <a:lnTo>
                    <a:pt x="299" y="147"/>
                  </a:lnTo>
                  <a:lnTo>
                    <a:pt x="300" y="147"/>
                  </a:lnTo>
                  <a:lnTo>
                    <a:pt x="300" y="147"/>
                  </a:lnTo>
                  <a:lnTo>
                    <a:pt x="302" y="146"/>
                  </a:lnTo>
                  <a:lnTo>
                    <a:pt x="303" y="145"/>
                  </a:lnTo>
                  <a:lnTo>
                    <a:pt x="304" y="145"/>
                  </a:lnTo>
                  <a:lnTo>
                    <a:pt x="304" y="145"/>
                  </a:lnTo>
                  <a:lnTo>
                    <a:pt x="305" y="144"/>
                  </a:lnTo>
                  <a:lnTo>
                    <a:pt x="305" y="144"/>
                  </a:lnTo>
                  <a:lnTo>
                    <a:pt x="306" y="144"/>
                  </a:lnTo>
                  <a:lnTo>
                    <a:pt x="307" y="144"/>
                  </a:lnTo>
                  <a:lnTo>
                    <a:pt x="308" y="144"/>
                  </a:lnTo>
                  <a:lnTo>
                    <a:pt x="309" y="145"/>
                  </a:lnTo>
                  <a:lnTo>
                    <a:pt x="310" y="145"/>
                  </a:lnTo>
                  <a:lnTo>
                    <a:pt x="310" y="145"/>
                  </a:lnTo>
                  <a:lnTo>
                    <a:pt x="311" y="146"/>
                  </a:lnTo>
                  <a:lnTo>
                    <a:pt x="311" y="146"/>
                  </a:lnTo>
                  <a:lnTo>
                    <a:pt x="312" y="146"/>
                  </a:lnTo>
                  <a:lnTo>
                    <a:pt x="313" y="147"/>
                  </a:lnTo>
                  <a:lnTo>
                    <a:pt x="313" y="148"/>
                  </a:lnTo>
                  <a:lnTo>
                    <a:pt x="314" y="149"/>
                  </a:lnTo>
                  <a:lnTo>
                    <a:pt x="315" y="151"/>
                  </a:lnTo>
                  <a:lnTo>
                    <a:pt x="316" y="152"/>
                  </a:lnTo>
                  <a:lnTo>
                    <a:pt x="317" y="153"/>
                  </a:lnTo>
                  <a:lnTo>
                    <a:pt x="318" y="153"/>
                  </a:lnTo>
                  <a:lnTo>
                    <a:pt x="318" y="154"/>
                  </a:lnTo>
                  <a:lnTo>
                    <a:pt x="319" y="154"/>
                  </a:lnTo>
                  <a:lnTo>
                    <a:pt x="320" y="155"/>
                  </a:lnTo>
                  <a:lnTo>
                    <a:pt x="321" y="155"/>
                  </a:lnTo>
                  <a:lnTo>
                    <a:pt x="326" y="157"/>
                  </a:lnTo>
                  <a:lnTo>
                    <a:pt x="327" y="157"/>
                  </a:lnTo>
                  <a:lnTo>
                    <a:pt x="328" y="157"/>
                  </a:lnTo>
                  <a:lnTo>
                    <a:pt x="329" y="158"/>
                  </a:lnTo>
                  <a:lnTo>
                    <a:pt x="330" y="159"/>
                  </a:lnTo>
                  <a:lnTo>
                    <a:pt x="331" y="159"/>
                  </a:lnTo>
                  <a:lnTo>
                    <a:pt x="332" y="160"/>
                  </a:lnTo>
                  <a:lnTo>
                    <a:pt x="332" y="160"/>
                  </a:lnTo>
                  <a:lnTo>
                    <a:pt x="333" y="161"/>
                  </a:lnTo>
                  <a:lnTo>
                    <a:pt x="334" y="162"/>
                  </a:lnTo>
                  <a:lnTo>
                    <a:pt x="334" y="163"/>
                  </a:lnTo>
                  <a:lnTo>
                    <a:pt x="335" y="164"/>
                  </a:lnTo>
                  <a:lnTo>
                    <a:pt x="336" y="168"/>
                  </a:lnTo>
                  <a:lnTo>
                    <a:pt x="337" y="169"/>
                  </a:lnTo>
                  <a:lnTo>
                    <a:pt x="337" y="170"/>
                  </a:lnTo>
                  <a:lnTo>
                    <a:pt x="338" y="171"/>
                  </a:lnTo>
                  <a:lnTo>
                    <a:pt x="339" y="172"/>
                  </a:lnTo>
                  <a:lnTo>
                    <a:pt x="339" y="173"/>
                  </a:lnTo>
                  <a:lnTo>
                    <a:pt x="340" y="173"/>
                  </a:lnTo>
                  <a:lnTo>
                    <a:pt x="341" y="174"/>
                  </a:lnTo>
                  <a:lnTo>
                    <a:pt x="342" y="175"/>
                  </a:lnTo>
                  <a:lnTo>
                    <a:pt x="343" y="176"/>
                  </a:lnTo>
                  <a:lnTo>
                    <a:pt x="343" y="176"/>
                  </a:lnTo>
                  <a:lnTo>
                    <a:pt x="344" y="176"/>
                  </a:lnTo>
                  <a:lnTo>
                    <a:pt x="345" y="177"/>
                  </a:lnTo>
                  <a:lnTo>
                    <a:pt x="346" y="177"/>
                  </a:lnTo>
                  <a:lnTo>
                    <a:pt x="347" y="177"/>
                  </a:lnTo>
                  <a:lnTo>
                    <a:pt x="348" y="177"/>
                  </a:lnTo>
                  <a:lnTo>
                    <a:pt x="348" y="177"/>
                  </a:lnTo>
                  <a:lnTo>
                    <a:pt x="349" y="177"/>
                  </a:lnTo>
                  <a:lnTo>
                    <a:pt x="350" y="176"/>
                  </a:lnTo>
                  <a:lnTo>
                    <a:pt x="351" y="175"/>
                  </a:lnTo>
                  <a:lnTo>
                    <a:pt x="353" y="174"/>
                  </a:lnTo>
                  <a:lnTo>
                    <a:pt x="353" y="174"/>
                  </a:lnTo>
                  <a:lnTo>
                    <a:pt x="354" y="173"/>
                  </a:lnTo>
                  <a:lnTo>
                    <a:pt x="354" y="172"/>
                  </a:lnTo>
                  <a:lnTo>
                    <a:pt x="354" y="172"/>
                  </a:lnTo>
                  <a:lnTo>
                    <a:pt x="354" y="171"/>
                  </a:lnTo>
                  <a:lnTo>
                    <a:pt x="354" y="170"/>
                  </a:lnTo>
                  <a:lnTo>
                    <a:pt x="354" y="169"/>
                  </a:lnTo>
                  <a:lnTo>
                    <a:pt x="354" y="168"/>
                  </a:lnTo>
                  <a:lnTo>
                    <a:pt x="354" y="168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5" y="167"/>
                  </a:lnTo>
                  <a:lnTo>
                    <a:pt x="356" y="167"/>
                  </a:lnTo>
                  <a:lnTo>
                    <a:pt x="357" y="167"/>
                  </a:lnTo>
                  <a:lnTo>
                    <a:pt x="358" y="167"/>
                  </a:lnTo>
                  <a:lnTo>
                    <a:pt x="362" y="168"/>
                  </a:lnTo>
                  <a:lnTo>
                    <a:pt x="364" y="169"/>
                  </a:lnTo>
                  <a:lnTo>
                    <a:pt x="365" y="169"/>
                  </a:lnTo>
                  <a:lnTo>
                    <a:pt x="367" y="169"/>
                  </a:lnTo>
                  <a:lnTo>
                    <a:pt x="369" y="169"/>
                  </a:lnTo>
                  <a:lnTo>
                    <a:pt x="374" y="169"/>
                  </a:lnTo>
                  <a:lnTo>
                    <a:pt x="375" y="169"/>
                  </a:lnTo>
                  <a:lnTo>
                    <a:pt x="377" y="170"/>
                  </a:lnTo>
                  <a:lnTo>
                    <a:pt x="378" y="170"/>
                  </a:lnTo>
                  <a:lnTo>
                    <a:pt x="379" y="170"/>
                  </a:lnTo>
                  <a:lnTo>
                    <a:pt x="379" y="170"/>
                  </a:lnTo>
                  <a:lnTo>
                    <a:pt x="380" y="171"/>
                  </a:lnTo>
                  <a:lnTo>
                    <a:pt x="385" y="173"/>
                  </a:lnTo>
                  <a:lnTo>
                    <a:pt x="388" y="175"/>
                  </a:lnTo>
                  <a:lnTo>
                    <a:pt x="390" y="176"/>
                  </a:lnTo>
                  <a:lnTo>
                    <a:pt x="391" y="176"/>
                  </a:lnTo>
                  <a:lnTo>
                    <a:pt x="397" y="181"/>
                  </a:lnTo>
                  <a:lnTo>
                    <a:pt x="398" y="181"/>
                  </a:lnTo>
                  <a:lnTo>
                    <a:pt x="398" y="181"/>
                  </a:lnTo>
                  <a:lnTo>
                    <a:pt x="400" y="182"/>
                  </a:lnTo>
                  <a:lnTo>
                    <a:pt x="401" y="183"/>
                  </a:lnTo>
                  <a:lnTo>
                    <a:pt x="403" y="183"/>
                  </a:lnTo>
                  <a:lnTo>
                    <a:pt x="404" y="183"/>
                  </a:lnTo>
                  <a:lnTo>
                    <a:pt x="406" y="183"/>
                  </a:lnTo>
                  <a:lnTo>
                    <a:pt x="407" y="184"/>
                  </a:lnTo>
                  <a:lnTo>
                    <a:pt x="408" y="184"/>
                  </a:lnTo>
                  <a:lnTo>
                    <a:pt x="409" y="183"/>
                  </a:lnTo>
                  <a:lnTo>
                    <a:pt x="410" y="183"/>
                  </a:lnTo>
                  <a:lnTo>
                    <a:pt x="410" y="183"/>
                  </a:lnTo>
                  <a:lnTo>
                    <a:pt x="411" y="183"/>
                  </a:lnTo>
                  <a:lnTo>
                    <a:pt x="411" y="182"/>
                  </a:lnTo>
                  <a:lnTo>
                    <a:pt x="412" y="182"/>
                  </a:lnTo>
                  <a:lnTo>
                    <a:pt x="412" y="181"/>
                  </a:lnTo>
                  <a:lnTo>
                    <a:pt x="413" y="181"/>
                  </a:lnTo>
                  <a:lnTo>
                    <a:pt x="413" y="181"/>
                  </a:lnTo>
                  <a:lnTo>
                    <a:pt x="413" y="180"/>
                  </a:lnTo>
                  <a:lnTo>
                    <a:pt x="414" y="179"/>
                  </a:lnTo>
                  <a:lnTo>
                    <a:pt x="414" y="177"/>
                  </a:lnTo>
                  <a:lnTo>
                    <a:pt x="415" y="176"/>
                  </a:lnTo>
                  <a:lnTo>
                    <a:pt x="415" y="176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7" y="174"/>
                  </a:lnTo>
                  <a:lnTo>
                    <a:pt x="417" y="174"/>
                  </a:lnTo>
                  <a:lnTo>
                    <a:pt x="418" y="174"/>
                  </a:lnTo>
                  <a:lnTo>
                    <a:pt x="419" y="175"/>
                  </a:lnTo>
                  <a:lnTo>
                    <a:pt x="420" y="175"/>
                  </a:lnTo>
                  <a:lnTo>
                    <a:pt x="420" y="175"/>
                  </a:lnTo>
                  <a:lnTo>
                    <a:pt x="421" y="175"/>
                  </a:lnTo>
                  <a:lnTo>
                    <a:pt x="421" y="176"/>
                  </a:lnTo>
                  <a:lnTo>
                    <a:pt x="422" y="176"/>
                  </a:lnTo>
                  <a:lnTo>
                    <a:pt x="422" y="176"/>
                  </a:lnTo>
                  <a:lnTo>
                    <a:pt x="423" y="177"/>
                  </a:lnTo>
                  <a:lnTo>
                    <a:pt x="423" y="178"/>
                  </a:lnTo>
                  <a:lnTo>
                    <a:pt x="423" y="178"/>
                  </a:lnTo>
                  <a:lnTo>
                    <a:pt x="424" y="179"/>
                  </a:lnTo>
                  <a:lnTo>
                    <a:pt x="424" y="181"/>
                  </a:lnTo>
                  <a:lnTo>
                    <a:pt x="424" y="182"/>
                  </a:lnTo>
                  <a:lnTo>
                    <a:pt x="424" y="183"/>
                  </a:lnTo>
                  <a:lnTo>
                    <a:pt x="424" y="187"/>
                  </a:lnTo>
                  <a:lnTo>
                    <a:pt x="424" y="189"/>
                  </a:lnTo>
                  <a:lnTo>
                    <a:pt x="424" y="191"/>
                  </a:lnTo>
                  <a:lnTo>
                    <a:pt x="424" y="191"/>
                  </a:lnTo>
                  <a:lnTo>
                    <a:pt x="424" y="192"/>
                  </a:lnTo>
                  <a:lnTo>
                    <a:pt x="424" y="192"/>
                  </a:lnTo>
                  <a:lnTo>
                    <a:pt x="425" y="193"/>
                  </a:lnTo>
                  <a:lnTo>
                    <a:pt x="425" y="194"/>
                  </a:lnTo>
                  <a:lnTo>
                    <a:pt x="425" y="195"/>
                  </a:lnTo>
                  <a:lnTo>
                    <a:pt x="426" y="195"/>
                  </a:lnTo>
                  <a:lnTo>
                    <a:pt x="426" y="196"/>
                  </a:lnTo>
                  <a:lnTo>
                    <a:pt x="427" y="196"/>
                  </a:lnTo>
                  <a:lnTo>
                    <a:pt x="427" y="197"/>
                  </a:lnTo>
                  <a:lnTo>
                    <a:pt x="428" y="198"/>
                  </a:lnTo>
                  <a:lnTo>
                    <a:pt x="429" y="199"/>
                  </a:lnTo>
                  <a:lnTo>
                    <a:pt x="430" y="200"/>
                  </a:lnTo>
                  <a:lnTo>
                    <a:pt x="431" y="200"/>
                  </a:lnTo>
                  <a:lnTo>
                    <a:pt x="431" y="201"/>
                  </a:lnTo>
                  <a:lnTo>
                    <a:pt x="431" y="201"/>
                  </a:lnTo>
                  <a:lnTo>
                    <a:pt x="431" y="201"/>
                  </a:lnTo>
                  <a:lnTo>
                    <a:pt x="431" y="202"/>
                  </a:lnTo>
                  <a:lnTo>
                    <a:pt x="431" y="202"/>
                  </a:lnTo>
                  <a:lnTo>
                    <a:pt x="431" y="203"/>
                  </a:lnTo>
                  <a:lnTo>
                    <a:pt x="431" y="204"/>
                  </a:lnTo>
                  <a:lnTo>
                    <a:pt x="429" y="206"/>
                  </a:lnTo>
                  <a:lnTo>
                    <a:pt x="428" y="209"/>
                  </a:lnTo>
                  <a:lnTo>
                    <a:pt x="427" y="212"/>
                  </a:lnTo>
                  <a:lnTo>
                    <a:pt x="427" y="213"/>
                  </a:lnTo>
                  <a:lnTo>
                    <a:pt x="427" y="214"/>
                  </a:lnTo>
                  <a:lnTo>
                    <a:pt x="426" y="215"/>
                  </a:lnTo>
                  <a:lnTo>
                    <a:pt x="426" y="216"/>
                  </a:lnTo>
                  <a:lnTo>
                    <a:pt x="426" y="217"/>
                  </a:lnTo>
                  <a:lnTo>
                    <a:pt x="427" y="219"/>
                  </a:lnTo>
                  <a:lnTo>
                    <a:pt x="427" y="220"/>
                  </a:lnTo>
                  <a:lnTo>
                    <a:pt x="428" y="223"/>
                  </a:lnTo>
                  <a:lnTo>
                    <a:pt x="429" y="224"/>
                  </a:lnTo>
                  <a:lnTo>
                    <a:pt x="429" y="225"/>
                  </a:lnTo>
                  <a:lnTo>
                    <a:pt x="430" y="227"/>
                  </a:lnTo>
                  <a:lnTo>
                    <a:pt x="431" y="230"/>
                  </a:lnTo>
                  <a:lnTo>
                    <a:pt x="433" y="233"/>
                  </a:lnTo>
                  <a:lnTo>
                    <a:pt x="434" y="237"/>
                  </a:lnTo>
                  <a:lnTo>
                    <a:pt x="437" y="243"/>
                  </a:lnTo>
                  <a:lnTo>
                    <a:pt x="440" y="249"/>
                  </a:lnTo>
                  <a:lnTo>
                    <a:pt x="441" y="253"/>
                  </a:lnTo>
                  <a:lnTo>
                    <a:pt x="442" y="254"/>
                  </a:lnTo>
                  <a:lnTo>
                    <a:pt x="442" y="255"/>
                  </a:lnTo>
                  <a:lnTo>
                    <a:pt x="443" y="256"/>
                  </a:lnTo>
                  <a:lnTo>
                    <a:pt x="444" y="261"/>
                  </a:lnTo>
                  <a:lnTo>
                    <a:pt x="444" y="262"/>
                  </a:lnTo>
                  <a:lnTo>
                    <a:pt x="445" y="263"/>
                  </a:lnTo>
                  <a:lnTo>
                    <a:pt x="445" y="264"/>
                  </a:lnTo>
                  <a:lnTo>
                    <a:pt x="445" y="265"/>
                  </a:lnTo>
                  <a:lnTo>
                    <a:pt x="446" y="265"/>
                  </a:lnTo>
                  <a:lnTo>
                    <a:pt x="446" y="266"/>
                  </a:lnTo>
                  <a:lnTo>
                    <a:pt x="447" y="267"/>
                  </a:lnTo>
                  <a:lnTo>
                    <a:pt x="448" y="267"/>
                  </a:lnTo>
                  <a:lnTo>
                    <a:pt x="449" y="268"/>
                  </a:lnTo>
                  <a:lnTo>
                    <a:pt x="449" y="269"/>
                  </a:lnTo>
                  <a:lnTo>
                    <a:pt x="450" y="269"/>
                  </a:lnTo>
                  <a:lnTo>
                    <a:pt x="451" y="269"/>
                  </a:lnTo>
                  <a:lnTo>
                    <a:pt x="452" y="270"/>
                  </a:lnTo>
                  <a:lnTo>
                    <a:pt x="453" y="270"/>
                  </a:lnTo>
                  <a:lnTo>
                    <a:pt x="457" y="272"/>
                  </a:lnTo>
                  <a:lnTo>
                    <a:pt x="459" y="272"/>
                  </a:lnTo>
                  <a:lnTo>
                    <a:pt x="463" y="273"/>
                  </a:lnTo>
                  <a:lnTo>
                    <a:pt x="464" y="273"/>
                  </a:lnTo>
                  <a:lnTo>
                    <a:pt x="465" y="273"/>
                  </a:lnTo>
                  <a:lnTo>
                    <a:pt x="465" y="273"/>
                  </a:lnTo>
                  <a:lnTo>
                    <a:pt x="467" y="274"/>
                  </a:lnTo>
                  <a:lnTo>
                    <a:pt x="468" y="274"/>
                  </a:lnTo>
                  <a:lnTo>
                    <a:pt x="469" y="275"/>
                  </a:lnTo>
                  <a:lnTo>
                    <a:pt x="470" y="277"/>
                  </a:lnTo>
                  <a:lnTo>
                    <a:pt x="472" y="279"/>
                  </a:lnTo>
                  <a:lnTo>
                    <a:pt x="473" y="279"/>
                  </a:lnTo>
                  <a:lnTo>
                    <a:pt x="474" y="280"/>
                  </a:lnTo>
                  <a:lnTo>
                    <a:pt x="474" y="280"/>
                  </a:lnTo>
                  <a:lnTo>
                    <a:pt x="476" y="281"/>
                  </a:lnTo>
                  <a:lnTo>
                    <a:pt x="477" y="282"/>
                  </a:lnTo>
                  <a:lnTo>
                    <a:pt x="479" y="282"/>
                  </a:lnTo>
                  <a:lnTo>
                    <a:pt x="479" y="282"/>
                  </a:lnTo>
                  <a:lnTo>
                    <a:pt x="481" y="282"/>
                  </a:lnTo>
                  <a:lnTo>
                    <a:pt x="481" y="282"/>
                  </a:lnTo>
                  <a:lnTo>
                    <a:pt x="482" y="282"/>
                  </a:lnTo>
                  <a:lnTo>
                    <a:pt x="483" y="282"/>
                  </a:lnTo>
                  <a:lnTo>
                    <a:pt x="486" y="282"/>
                  </a:lnTo>
                  <a:lnTo>
                    <a:pt x="488" y="282"/>
                  </a:lnTo>
                  <a:lnTo>
                    <a:pt x="489" y="282"/>
                  </a:lnTo>
                  <a:lnTo>
                    <a:pt x="490" y="282"/>
                  </a:lnTo>
                  <a:lnTo>
                    <a:pt x="491" y="282"/>
                  </a:lnTo>
                  <a:lnTo>
                    <a:pt x="492" y="282"/>
                  </a:lnTo>
                  <a:lnTo>
                    <a:pt x="493" y="282"/>
                  </a:lnTo>
                  <a:lnTo>
                    <a:pt x="494" y="283"/>
                  </a:lnTo>
                  <a:lnTo>
                    <a:pt x="495" y="283"/>
                  </a:lnTo>
                  <a:lnTo>
                    <a:pt x="496" y="284"/>
                  </a:lnTo>
                  <a:lnTo>
                    <a:pt x="496" y="284"/>
                  </a:lnTo>
                  <a:lnTo>
                    <a:pt x="497" y="285"/>
                  </a:lnTo>
                  <a:lnTo>
                    <a:pt x="498" y="285"/>
                  </a:lnTo>
                  <a:lnTo>
                    <a:pt x="498" y="286"/>
                  </a:lnTo>
                  <a:lnTo>
                    <a:pt x="498" y="287"/>
                  </a:lnTo>
                  <a:lnTo>
                    <a:pt x="499" y="288"/>
                  </a:lnTo>
                  <a:lnTo>
                    <a:pt x="499" y="290"/>
                  </a:lnTo>
                  <a:lnTo>
                    <a:pt x="500" y="292"/>
                  </a:lnTo>
                  <a:lnTo>
                    <a:pt x="501" y="296"/>
                  </a:lnTo>
                  <a:lnTo>
                    <a:pt x="502" y="301"/>
                  </a:lnTo>
                  <a:lnTo>
                    <a:pt x="504" y="310"/>
                  </a:lnTo>
                  <a:lnTo>
                    <a:pt x="506" y="315"/>
                  </a:lnTo>
                  <a:lnTo>
                    <a:pt x="506" y="317"/>
                  </a:lnTo>
                  <a:lnTo>
                    <a:pt x="507" y="318"/>
                  </a:lnTo>
                  <a:lnTo>
                    <a:pt x="507" y="319"/>
                  </a:lnTo>
                  <a:lnTo>
                    <a:pt x="508" y="321"/>
                  </a:lnTo>
                  <a:lnTo>
                    <a:pt x="509" y="322"/>
                  </a:lnTo>
                  <a:lnTo>
                    <a:pt x="509" y="324"/>
                  </a:lnTo>
                  <a:lnTo>
                    <a:pt x="510" y="328"/>
                  </a:lnTo>
                  <a:lnTo>
                    <a:pt x="510" y="329"/>
                  </a:lnTo>
                  <a:lnTo>
                    <a:pt x="510" y="331"/>
                  </a:lnTo>
                  <a:lnTo>
                    <a:pt x="511" y="333"/>
                  </a:lnTo>
                  <a:lnTo>
                    <a:pt x="512" y="335"/>
                  </a:lnTo>
                  <a:lnTo>
                    <a:pt x="513" y="336"/>
                  </a:lnTo>
                  <a:lnTo>
                    <a:pt x="514" y="338"/>
                  </a:lnTo>
                  <a:lnTo>
                    <a:pt x="515" y="340"/>
                  </a:lnTo>
                  <a:lnTo>
                    <a:pt x="516" y="341"/>
                  </a:lnTo>
                  <a:lnTo>
                    <a:pt x="516" y="343"/>
                  </a:lnTo>
                  <a:lnTo>
                    <a:pt x="516" y="344"/>
                  </a:lnTo>
                  <a:lnTo>
                    <a:pt x="516" y="345"/>
                  </a:lnTo>
                  <a:lnTo>
                    <a:pt x="516" y="346"/>
                  </a:lnTo>
                  <a:lnTo>
                    <a:pt x="516" y="346"/>
                  </a:lnTo>
                  <a:lnTo>
                    <a:pt x="515" y="348"/>
                  </a:lnTo>
                  <a:lnTo>
                    <a:pt x="515" y="350"/>
                  </a:lnTo>
                  <a:lnTo>
                    <a:pt x="514" y="352"/>
                  </a:lnTo>
                  <a:lnTo>
                    <a:pt x="513" y="355"/>
                  </a:lnTo>
                  <a:lnTo>
                    <a:pt x="513" y="355"/>
                  </a:lnTo>
                  <a:lnTo>
                    <a:pt x="513" y="356"/>
                  </a:lnTo>
                  <a:lnTo>
                    <a:pt x="513" y="356"/>
                  </a:lnTo>
                  <a:lnTo>
                    <a:pt x="512" y="356"/>
                  </a:lnTo>
                  <a:lnTo>
                    <a:pt x="511" y="357"/>
                  </a:lnTo>
                  <a:lnTo>
                    <a:pt x="511" y="357"/>
                  </a:lnTo>
                  <a:lnTo>
                    <a:pt x="510" y="357"/>
                  </a:lnTo>
                  <a:lnTo>
                    <a:pt x="507" y="358"/>
                  </a:lnTo>
                  <a:lnTo>
                    <a:pt x="505" y="359"/>
                  </a:lnTo>
                  <a:lnTo>
                    <a:pt x="504" y="359"/>
                  </a:lnTo>
                  <a:lnTo>
                    <a:pt x="503" y="360"/>
                  </a:lnTo>
                  <a:lnTo>
                    <a:pt x="499" y="362"/>
                  </a:lnTo>
                  <a:lnTo>
                    <a:pt x="497" y="363"/>
                  </a:lnTo>
                  <a:lnTo>
                    <a:pt x="495" y="364"/>
                  </a:lnTo>
                  <a:lnTo>
                    <a:pt x="491" y="367"/>
                  </a:lnTo>
                  <a:lnTo>
                    <a:pt x="490" y="368"/>
                  </a:lnTo>
                  <a:lnTo>
                    <a:pt x="489" y="368"/>
                  </a:lnTo>
                  <a:lnTo>
                    <a:pt x="487" y="369"/>
                  </a:lnTo>
                  <a:lnTo>
                    <a:pt x="486" y="369"/>
                  </a:lnTo>
                  <a:lnTo>
                    <a:pt x="485" y="369"/>
                  </a:lnTo>
                  <a:lnTo>
                    <a:pt x="484" y="369"/>
                  </a:lnTo>
                  <a:lnTo>
                    <a:pt x="484" y="369"/>
                  </a:lnTo>
                  <a:lnTo>
                    <a:pt x="483" y="369"/>
                  </a:lnTo>
                  <a:lnTo>
                    <a:pt x="482" y="369"/>
                  </a:lnTo>
                  <a:lnTo>
                    <a:pt x="480" y="369"/>
                  </a:lnTo>
                  <a:lnTo>
                    <a:pt x="476" y="367"/>
                  </a:lnTo>
                  <a:lnTo>
                    <a:pt x="475" y="367"/>
                  </a:lnTo>
                  <a:lnTo>
                    <a:pt x="474" y="367"/>
                  </a:lnTo>
                  <a:lnTo>
                    <a:pt x="472" y="367"/>
                  </a:lnTo>
                  <a:lnTo>
                    <a:pt x="469" y="366"/>
                  </a:lnTo>
                  <a:lnTo>
                    <a:pt x="466" y="366"/>
                  </a:lnTo>
                  <a:lnTo>
                    <a:pt x="464" y="366"/>
                  </a:lnTo>
                  <a:lnTo>
                    <a:pt x="463" y="366"/>
                  </a:lnTo>
                  <a:lnTo>
                    <a:pt x="461" y="366"/>
                  </a:lnTo>
                  <a:lnTo>
                    <a:pt x="458" y="366"/>
                  </a:lnTo>
                  <a:lnTo>
                    <a:pt x="452" y="368"/>
                  </a:lnTo>
                  <a:lnTo>
                    <a:pt x="450" y="368"/>
                  </a:lnTo>
                  <a:lnTo>
                    <a:pt x="448" y="368"/>
                  </a:lnTo>
                  <a:lnTo>
                    <a:pt x="447" y="368"/>
                  </a:lnTo>
                  <a:lnTo>
                    <a:pt x="446" y="368"/>
                  </a:lnTo>
                  <a:lnTo>
                    <a:pt x="445" y="368"/>
                  </a:lnTo>
                  <a:lnTo>
                    <a:pt x="444" y="368"/>
                  </a:lnTo>
                  <a:lnTo>
                    <a:pt x="443" y="368"/>
                  </a:lnTo>
                  <a:lnTo>
                    <a:pt x="442" y="367"/>
                  </a:lnTo>
                  <a:lnTo>
                    <a:pt x="440" y="366"/>
                  </a:lnTo>
                  <a:lnTo>
                    <a:pt x="439" y="366"/>
                  </a:lnTo>
                  <a:lnTo>
                    <a:pt x="438" y="366"/>
                  </a:lnTo>
                  <a:lnTo>
                    <a:pt x="437" y="366"/>
                  </a:lnTo>
                  <a:lnTo>
                    <a:pt x="436" y="366"/>
                  </a:lnTo>
                  <a:lnTo>
                    <a:pt x="435" y="366"/>
                  </a:lnTo>
                  <a:lnTo>
                    <a:pt x="434" y="366"/>
                  </a:lnTo>
                  <a:lnTo>
                    <a:pt x="433" y="366"/>
                  </a:lnTo>
                  <a:lnTo>
                    <a:pt x="432" y="366"/>
                  </a:lnTo>
                  <a:lnTo>
                    <a:pt x="431" y="366"/>
                  </a:lnTo>
                  <a:lnTo>
                    <a:pt x="430" y="366"/>
                  </a:lnTo>
                  <a:lnTo>
                    <a:pt x="430" y="367"/>
                  </a:lnTo>
                  <a:lnTo>
                    <a:pt x="429" y="367"/>
                  </a:lnTo>
                  <a:lnTo>
                    <a:pt x="428" y="368"/>
                  </a:lnTo>
                  <a:lnTo>
                    <a:pt x="427" y="369"/>
                  </a:lnTo>
                  <a:lnTo>
                    <a:pt x="426" y="370"/>
                  </a:lnTo>
                  <a:lnTo>
                    <a:pt x="425" y="370"/>
                  </a:lnTo>
                  <a:lnTo>
                    <a:pt x="425" y="371"/>
                  </a:lnTo>
                  <a:lnTo>
                    <a:pt x="424" y="372"/>
                  </a:lnTo>
                  <a:lnTo>
                    <a:pt x="424" y="373"/>
                  </a:lnTo>
                  <a:lnTo>
                    <a:pt x="424" y="374"/>
                  </a:lnTo>
                  <a:lnTo>
                    <a:pt x="423" y="374"/>
                  </a:lnTo>
                  <a:lnTo>
                    <a:pt x="423" y="375"/>
                  </a:lnTo>
                  <a:lnTo>
                    <a:pt x="423" y="376"/>
                  </a:lnTo>
                  <a:lnTo>
                    <a:pt x="423" y="377"/>
                  </a:lnTo>
                  <a:lnTo>
                    <a:pt x="423" y="380"/>
                  </a:lnTo>
                  <a:lnTo>
                    <a:pt x="423" y="381"/>
                  </a:lnTo>
                  <a:lnTo>
                    <a:pt x="423" y="382"/>
                  </a:lnTo>
                  <a:lnTo>
                    <a:pt x="423" y="383"/>
                  </a:lnTo>
                  <a:lnTo>
                    <a:pt x="423" y="384"/>
                  </a:lnTo>
                  <a:lnTo>
                    <a:pt x="422" y="385"/>
                  </a:lnTo>
                  <a:lnTo>
                    <a:pt x="422" y="386"/>
                  </a:lnTo>
                  <a:lnTo>
                    <a:pt x="421" y="387"/>
                  </a:lnTo>
                  <a:lnTo>
                    <a:pt x="420" y="389"/>
                  </a:lnTo>
                  <a:lnTo>
                    <a:pt x="418" y="392"/>
                  </a:lnTo>
                  <a:lnTo>
                    <a:pt x="417" y="393"/>
                  </a:lnTo>
                  <a:lnTo>
                    <a:pt x="414" y="397"/>
                  </a:lnTo>
                  <a:lnTo>
                    <a:pt x="411" y="400"/>
                  </a:lnTo>
                  <a:lnTo>
                    <a:pt x="410" y="401"/>
                  </a:lnTo>
                  <a:lnTo>
                    <a:pt x="409" y="403"/>
                  </a:lnTo>
                  <a:lnTo>
                    <a:pt x="407" y="406"/>
                  </a:lnTo>
                  <a:lnTo>
                    <a:pt x="405" y="410"/>
                  </a:lnTo>
                  <a:lnTo>
                    <a:pt x="404" y="411"/>
                  </a:lnTo>
                  <a:lnTo>
                    <a:pt x="403" y="412"/>
                  </a:lnTo>
                  <a:lnTo>
                    <a:pt x="402" y="413"/>
                  </a:lnTo>
                  <a:lnTo>
                    <a:pt x="401" y="414"/>
                  </a:lnTo>
                  <a:lnTo>
                    <a:pt x="400" y="415"/>
                  </a:lnTo>
                  <a:lnTo>
                    <a:pt x="399" y="416"/>
                  </a:lnTo>
                  <a:lnTo>
                    <a:pt x="398" y="416"/>
                  </a:lnTo>
                  <a:lnTo>
                    <a:pt x="397" y="417"/>
                  </a:lnTo>
                  <a:lnTo>
                    <a:pt x="396" y="418"/>
                  </a:lnTo>
                  <a:lnTo>
                    <a:pt x="395" y="418"/>
                  </a:lnTo>
                  <a:lnTo>
                    <a:pt x="394" y="418"/>
                  </a:lnTo>
                  <a:lnTo>
                    <a:pt x="392" y="419"/>
                  </a:lnTo>
                  <a:lnTo>
                    <a:pt x="391" y="419"/>
                  </a:lnTo>
                  <a:lnTo>
                    <a:pt x="390" y="419"/>
                  </a:lnTo>
                  <a:lnTo>
                    <a:pt x="389" y="419"/>
                  </a:lnTo>
                  <a:lnTo>
                    <a:pt x="388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3" y="419"/>
                  </a:lnTo>
                  <a:lnTo>
                    <a:pt x="383" y="419"/>
                  </a:lnTo>
                  <a:lnTo>
                    <a:pt x="382" y="418"/>
                  </a:lnTo>
                  <a:lnTo>
                    <a:pt x="381" y="418"/>
                  </a:lnTo>
                  <a:lnTo>
                    <a:pt x="380" y="417"/>
                  </a:lnTo>
                  <a:lnTo>
                    <a:pt x="379" y="416"/>
                  </a:lnTo>
                  <a:lnTo>
                    <a:pt x="378" y="416"/>
                  </a:lnTo>
                  <a:lnTo>
                    <a:pt x="377" y="415"/>
                  </a:lnTo>
                  <a:lnTo>
                    <a:pt x="377" y="414"/>
                  </a:lnTo>
                  <a:lnTo>
                    <a:pt x="376" y="414"/>
                  </a:lnTo>
                  <a:lnTo>
                    <a:pt x="376" y="413"/>
                  </a:lnTo>
                  <a:lnTo>
                    <a:pt x="375" y="412"/>
                  </a:lnTo>
                  <a:lnTo>
                    <a:pt x="375" y="412"/>
                  </a:lnTo>
                  <a:lnTo>
                    <a:pt x="374" y="410"/>
                  </a:lnTo>
                  <a:lnTo>
                    <a:pt x="372" y="406"/>
                  </a:lnTo>
                  <a:lnTo>
                    <a:pt x="372" y="405"/>
                  </a:lnTo>
                  <a:lnTo>
                    <a:pt x="372" y="405"/>
                  </a:lnTo>
                  <a:lnTo>
                    <a:pt x="371" y="404"/>
                  </a:lnTo>
                  <a:lnTo>
                    <a:pt x="371" y="403"/>
                  </a:lnTo>
                  <a:lnTo>
                    <a:pt x="369" y="400"/>
                  </a:lnTo>
                  <a:lnTo>
                    <a:pt x="368" y="399"/>
                  </a:lnTo>
                  <a:lnTo>
                    <a:pt x="367" y="399"/>
                  </a:lnTo>
                  <a:lnTo>
                    <a:pt x="366" y="398"/>
                  </a:lnTo>
                  <a:lnTo>
                    <a:pt x="365" y="397"/>
                  </a:lnTo>
                  <a:lnTo>
                    <a:pt x="360" y="394"/>
                  </a:lnTo>
                  <a:lnTo>
                    <a:pt x="359" y="393"/>
                  </a:lnTo>
                  <a:lnTo>
                    <a:pt x="358" y="392"/>
                  </a:lnTo>
                  <a:lnTo>
                    <a:pt x="357" y="391"/>
                  </a:lnTo>
                  <a:lnTo>
                    <a:pt x="357" y="390"/>
                  </a:lnTo>
                  <a:lnTo>
                    <a:pt x="356" y="389"/>
                  </a:lnTo>
                  <a:lnTo>
                    <a:pt x="355" y="388"/>
                  </a:lnTo>
                  <a:lnTo>
                    <a:pt x="354" y="386"/>
                  </a:lnTo>
                  <a:lnTo>
                    <a:pt x="352" y="382"/>
                  </a:lnTo>
                  <a:lnTo>
                    <a:pt x="351" y="381"/>
                  </a:lnTo>
                  <a:lnTo>
                    <a:pt x="351" y="380"/>
                  </a:lnTo>
                  <a:lnTo>
                    <a:pt x="350" y="380"/>
                  </a:lnTo>
                  <a:lnTo>
                    <a:pt x="349" y="379"/>
                  </a:lnTo>
                  <a:lnTo>
                    <a:pt x="348" y="379"/>
                  </a:lnTo>
                  <a:lnTo>
                    <a:pt x="347" y="378"/>
                  </a:lnTo>
                  <a:lnTo>
                    <a:pt x="346" y="378"/>
                  </a:lnTo>
                  <a:lnTo>
                    <a:pt x="345" y="377"/>
                  </a:lnTo>
                  <a:lnTo>
                    <a:pt x="344" y="377"/>
                  </a:lnTo>
                  <a:lnTo>
                    <a:pt x="343" y="377"/>
                  </a:lnTo>
                  <a:lnTo>
                    <a:pt x="343" y="377"/>
                  </a:lnTo>
                  <a:lnTo>
                    <a:pt x="341" y="378"/>
                  </a:lnTo>
                  <a:lnTo>
                    <a:pt x="338" y="378"/>
                  </a:lnTo>
                  <a:lnTo>
                    <a:pt x="337" y="379"/>
                  </a:lnTo>
                  <a:lnTo>
                    <a:pt x="336" y="379"/>
                  </a:lnTo>
                  <a:lnTo>
                    <a:pt x="335" y="379"/>
                  </a:lnTo>
                  <a:lnTo>
                    <a:pt x="334" y="379"/>
                  </a:lnTo>
                  <a:lnTo>
                    <a:pt x="333" y="379"/>
                  </a:lnTo>
                  <a:lnTo>
                    <a:pt x="330" y="378"/>
                  </a:lnTo>
                  <a:lnTo>
                    <a:pt x="329" y="378"/>
                  </a:lnTo>
                  <a:lnTo>
                    <a:pt x="323" y="377"/>
                  </a:lnTo>
                  <a:lnTo>
                    <a:pt x="322" y="377"/>
                  </a:lnTo>
                  <a:lnTo>
                    <a:pt x="321" y="376"/>
                  </a:lnTo>
                  <a:lnTo>
                    <a:pt x="319" y="376"/>
                  </a:lnTo>
                  <a:lnTo>
                    <a:pt x="319" y="375"/>
                  </a:lnTo>
                  <a:lnTo>
                    <a:pt x="318" y="375"/>
                  </a:lnTo>
                  <a:lnTo>
                    <a:pt x="316" y="374"/>
                  </a:lnTo>
                  <a:lnTo>
                    <a:pt x="312" y="371"/>
                  </a:lnTo>
                  <a:lnTo>
                    <a:pt x="311" y="370"/>
                  </a:lnTo>
                  <a:lnTo>
                    <a:pt x="310" y="370"/>
                  </a:lnTo>
                  <a:lnTo>
                    <a:pt x="309" y="369"/>
                  </a:lnTo>
                  <a:lnTo>
                    <a:pt x="308" y="369"/>
                  </a:lnTo>
                  <a:lnTo>
                    <a:pt x="307" y="369"/>
                  </a:lnTo>
                  <a:lnTo>
                    <a:pt x="306" y="368"/>
                  </a:lnTo>
                  <a:lnTo>
                    <a:pt x="303" y="368"/>
                  </a:lnTo>
                  <a:lnTo>
                    <a:pt x="302" y="368"/>
                  </a:lnTo>
                  <a:lnTo>
                    <a:pt x="301" y="368"/>
                  </a:lnTo>
                  <a:lnTo>
                    <a:pt x="297" y="367"/>
                  </a:lnTo>
                  <a:lnTo>
                    <a:pt x="296" y="367"/>
                  </a:lnTo>
                  <a:lnTo>
                    <a:pt x="295" y="367"/>
                  </a:lnTo>
                  <a:lnTo>
                    <a:pt x="293" y="367"/>
                  </a:lnTo>
                  <a:lnTo>
                    <a:pt x="290" y="367"/>
                  </a:lnTo>
                  <a:lnTo>
                    <a:pt x="287" y="367"/>
                  </a:lnTo>
                  <a:lnTo>
                    <a:pt x="285" y="367"/>
                  </a:lnTo>
                  <a:lnTo>
                    <a:pt x="281" y="368"/>
                  </a:lnTo>
                  <a:lnTo>
                    <a:pt x="278" y="369"/>
                  </a:lnTo>
                  <a:lnTo>
                    <a:pt x="274" y="370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2" y="373"/>
                  </a:lnTo>
                  <a:lnTo>
                    <a:pt x="261" y="372"/>
                  </a:lnTo>
                  <a:lnTo>
                    <a:pt x="261" y="372"/>
                  </a:lnTo>
                  <a:lnTo>
                    <a:pt x="260" y="372"/>
                  </a:lnTo>
                  <a:lnTo>
                    <a:pt x="259" y="371"/>
                  </a:lnTo>
                  <a:lnTo>
                    <a:pt x="259" y="371"/>
                  </a:lnTo>
                  <a:lnTo>
                    <a:pt x="258" y="371"/>
                  </a:lnTo>
                  <a:lnTo>
                    <a:pt x="258" y="370"/>
                  </a:lnTo>
                  <a:lnTo>
                    <a:pt x="257" y="369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5" y="365"/>
                  </a:lnTo>
                  <a:lnTo>
                    <a:pt x="254" y="364"/>
                  </a:lnTo>
                  <a:lnTo>
                    <a:pt x="253" y="363"/>
                  </a:lnTo>
                  <a:lnTo>
                    <a:pt x="252" y="362"/>
                  </a:lnTo>
                  <a:lnTo>
                    <a:pt x="250" y="361"/>
                  </a:lnTo>
                  <a:lnTo>
                    <a:pt x="249" y="361"/>
                  </a:lnTo>
                  <a:lnTo>
                    <a:pt x="248" y="360"/>
                  </a:lnTo>
                  <a:lnTo>
                    <a:pt x="247" y="360"/>
                  </a:lnTo>
                  <a:lnTo>
                    <a:pt x="245" y="359"/>
                  </a:lnTo>
                  <a:lnTo>
                    <a:pt x="243" y="359"/>
                  </a:lnTo>
                  <a:lnTo>
                    <a:pt x="242" y="359"/>
                  </a:lnTo>
                  <a:lnTo>
                    <a:pt x="240" y="359"/>
                  </a:lnTo>
                  <a:lnTo>
                    <a:pt x="239" y="359"/>
                  </a:lnTo>
                  <a:lnTo>
                    <a:pt x="239" y="359"/>
                  </a:lnTo>
                  <a:lnTo>
                    <a:pt x="239" y="359"/>
                  </a:lnTo>
                  <a:lnTo>
                    <a:pt x="238" y="359"/>
                  </a:lnTo>
                  <a:lnTo>
                    <a:pt x="237" y="359"/>
                  </a:lnTo>
                  <a:lnTo>
                    <a:pt x="237" y="359"/>
                  </a:lnTo>
                  <a:lnTo>
                    <a:pt x="235" y="360"/>
                  </a:lnTo>
                  <a:lnTo>
                    <a:pt x="235" y="360"/>
                  </a:lnTo>
                  <a:lnTo>
                    <a:pt x="234" y="359"/>
                  </a:lnTo>
                  <a:lnTo>
                    <a:pt x="234" y="359"/>
                  </a:lnTo>
                  <a:lnTo>
                    <a:pt x="233" y="356"/>
                  </a:lnTo>
                  <a:lnTo>
                    <a:pt x="231" y="353"/>
                  </a:lnTo>
                  <a:lnTo>
                    <a:pt x="231" y="352"/>
                  </a:lnTo>
                  <a:lnTo>
                    <a:pt x="230" y="351"/>
                  </a:lnTo>
                  <a:lnTo>
                    <a:pt x="229" y="350"/>
                  </a:lnTo>
                  <a:lnTo>
                    <a:pt x="228" y="349"/>
                  </a:lnTo>
                  <a:lnTo>
                    <a:pt x="228" y="349"/>
                  </a:lnTo>
                  <a:lnTo>
                    <a:pt x="228" y="349"/>
                  </a:lnTo>
                  <a:lnTo>
                    <a:pt x="227" y="349"/>
                  </a:lnTo>
                  <a:lnTo>
                    <a:pt x="227" y="348"/>
                  </a:lnTo>
                  <a:lnTo>
                    <a:pt x="226" y="348"/>
                  </a:lnTo>
                  <a:lnTo>
                    <a:pt x="226" y="348"/>
                  </a:lnTo>
                  <a:lnTo>
                    <a:pt x="225" y="349"/>
                  </a:lnTo>
                  <a:lnTo>
                    <a:pt x="224" y="349"/>
                  </a:lnTo>
                  <a:lnTo>
                    <a:pt x="223" y="349"/>
                  </a:lnTo>
                  <a:lnTo>
                    <a:pt x="222" y="350"/>
                  </a:lnTo>
                  <a:lnTo>
                    <a:pt x="221" y="351"/>
                  </a:lnTo>
                  <a:lnTo>
                    <a:pt x="219" y="353"/>
                  </a:lnTo>
                  <a:lnTo>
                    <a:pt x="218" y="353"/>
                  </a:lnTo>
                  <a:lnTo>
                    <a:pt x="218" y="353"/>
                  </a:lnTo>
                  <a:lnTo>
                    <a:pt x="218" y="353"/>
                  </a:lnTo>
                  <a:lnTo>
                    <a:pt x="217" y="353"/>
                  </a:lnTo>
                  <a:lnTo>
                    <a:pt x="216" y="353"/>
                  </a:lnTo>
                  <a:lnTo>
                    <a:pt x="216" y="353"/>
                  </a:lnTo>
                  <a:lnTo>
                    <a:pt x="216" y="352"/>
                  </a:lnTo>
                  <a:lnTo>
                    <a:pt x="215" y="352"/>
                  </a:lnTo>
                  <a:lnTo>
                    <a:pt x="215" y="351"/>
                  </a:lnTo>
                  <a:lnTo>
                    <a:pt x="214" y="350"/>
                  </a:lnTo>
                  <a:lnTo>
                    <a:pt x="214" y="349"/>
                  </a:lnTo>
                  <a:lnTo>
                    <a:pt x="214" y="349"/>
                  </a:lnTo>
                  <a:lnTo>
                    <a:pt x="214" y="348"/>
                  </a:lnTo>
                  <a:lnTo>
                    <a:pt x="215" y="347"/>
                  </a:lnTo>
                  <a:lnTo>
                    <a:pt x="215" y="346"/>
                  </a:lnTo>
                  <a:lnTo>
                    <a:pt x="216" y="345"/>
                  </a:lnTo>
                  <a:lnTo>
                    <a:pt x="216" y="344"/>
                  </a:lnTo>
                  <a:lnTo>
                    <a:pt x="216" y="343"/>
                  </a:lnTo>
                  <a:lnTo>
                    <a:pt x="216" y="343"/>
                  </a:lnTo>
                  <a:lnTo>
                    <a:pt x="216" y="342"/>
                  </a:lnTo>
                  <a:lnTo>
                    <a:pt x="216" y="341"/>
                  </a:lnTo>
                  <a:lnTo>
                    <a:pt x="216" y="341"/>
                  </a:lnTo>
                  <a:lnTo>
                    <a:pt x="215" y="340"/>
                  </a:lnTo>
                  <a:lnTo>
                    <a:pt x="214" y="337"/>
                  </a:lnTo>
                  <a:lnTo>
                    <a:pt x="212" y="334"/>
                  </a:lnTo>
                  <a:lnTo>
                    <a:pt x="211" y="332"/>
                  </a:lnTo>
                  <a:lnTo>
                    <a:pt x="209" y="330"/>
                  </a:lnTo>
                  <a:lnTo>
                    <a:pt x="208" y="329"/>
                  </a:lnTo>
                  <a:lnTo>
                    <a:pt x="206" y="327"/>
                  </a:lnTo>
                  <a:lnTo>
                    <a:pt x="203" y="324"/>
                  </a:lnTo>
                  <a:lnTo>
                    <a:pt x="202" y="322"/>
                  </a:lnTo>
                  <a:lnTo>
                    <a:pt x="200" y="322"/>
                  </a:lnTo>
                  <a:lnTo>
                    <a:pt x="193" y="316"/>
                  </a:lnTo>
                  <a:lnTo>
                    <a:pt x="192" y="315"/>
                  </a:lnTo>
                  <a:lnTo>
                    <a:pt x="191" y="315"/>
                  </a:lnTo>
                  <a:lnTo>
                    <a:pt x="191" y="314"/>
                  </a:lnTo>
                  <a:lnTo>
                    <a:pt x="190" y="313"/>
                  </a:lnTo>
                  <a:lnTo>
                    <a:pt x="189" y="311"/>
                  </a:lnTo>
                  <a:lnTo>
                    <a:pt x="188" y="310"/>
                  </a:lnTo>
                  <a:lnTo>
                    <a:pt x="187" y="308"/>
                  </a:lnTo>
                  <a:lnTo>
                    <a:pt x="186" y="307"/>
                  </a:lnTo>
                  <a:lnTo>
                    <a:pt x="186" y="306"/>
                  </a:lnTo>
                  <a:lnTo>
                    <a:pt x="185" y="304"/>
                  </a:lnTo>
                  <a:lnTo>
                    <a:pt x="183" y="303"/>
                  </a:lnTo>
                  <a:lnTo>
                    <a:pt x="182" y="302"/>
                  </a:lnTo>
                  <a:lnTo>
                    <a:pt x="182" y="301"/>
                  </a:lnTo>
                  <a:lnTo>
                    <a:pt x="181" y="300"/>
                  </a:lnTo>
                  <a:lnTo>
                    <a:pt x="180" y="300"/>
                  </a:lnTo>
                  <a:lnTo>
                    <a:pt x="180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78" y="299"/>
                  </a:lnTo>
                  <a:lnTo>
                    <a:pt x="178" y="300"/>
                  </a:lnTo>
                  <a:lnTo>
                    <a:pt x="177" y="300"/>
                  </a:lnTo>
                  <a:lnTo>
                    <a:pt x="176" y="301"/>
                  </a:lnTo>
                  <a:lnTo>
                    <a:pt x="175" y="301"/>
                  </a:lnTo>
                  <a:lnTo>
                    <a:pt x="175" y="301"/>
                  </a:lnTo>
                  <a:lnTo>
                    <a:pt x="174" y="302"/>
                  </a:lnTo>
                  <a:lnTo>
                    <a:pt x="173" y="302"/>
                  </a:lnTo>
                  <a:lnTo>
                    <a:pt x="173" y="302"/>
                  </a:lnTo>
                  <a:lnTo>
                    <a:pt x="172" y="302"/>
                  </a:lnTo>
                  <a:lnTo>
                    <a:pt x="171" y="301"/>
                  </a:lnTo>
                  <a:lnTo>
                    <a:pt x="170" y="301"/>
                  </a:lnTo>
                  <a:lnTo>
                    <a:pt x="169" y="300"/>
                  </a:lnTo>
                  <a:lnTo>
                    <a:pt x="168" y="299"/>
                  </a:lnTo>
                  <a:lnTo>
                    <a:pt x="167" y="299"/>
                  </a:lnTo>
                  <a:lnTo>
                    <a:pt x="166" y="298"/>
                  </a:lnTo>
                  <a:lnTo>
                    <a:pt x="165" y="297"/>
                  </a:lnTo>
                  <a:lnTo>
                    <a:pt x="165" y="297"/>
                  </a:lnTo>
                  <a:lnTo>
                    <a:pt x="164" y="296"/>
                  </a:lnTo>
                  <a:lnTo>
                    <a:pt x="164" y="295"/>
                  </a:lnTo>
                  <a:lnTo>
                    <a:pt x="163" y="294"/>
                  </a:lnTo>
                  <a:lnTo>
                    <a:pt x="163" y="293"/>
                  </a:lnTo>
                  <a:lnTo>
                    <a:pt x="163" y="291"/>
                  </a:lnTo>
                  <a:lnTo>
                    <a:pt x="162" y="289"/>
                  </a:lnTo>
                  <a:lnTo>
                    <a:pt x="162" y="288"/>
                  </a:lnTo>
                  <a:lnTo>
                    <a:pt x="162" y="286"/>
                  </a:lnTo>
                  <a:lnTo>
                    <a:pt x="162" y="285"/>
                  </a:lnTo>
                  <a:lnTo>
                    <a:pt x="162" y="284"/>
                  </a:lnTo>
                  <a:lnTo>
                    <a:pt x="162" y="283"/>
                  </a:lnTo>
                  <a:lnTo>
                    <a:pt x="162" y="282"/>
                  </a:lnTo>
                  <a:lnTo>
                    <a:pt x="163" y="280"/>
                  </a:lnTo>
                  <a:lnTo>
                    <a:pt x="164" y="276"/>
                  </a:lnTo>
                  <a:lnTo>
                    <a:pt x="164" y="275"/>
                  </a:lnTo>
                  <a:lnTo>
                    <a:pt x="164" y="274"/>
                  </a:lnTo>
                  <a:lnTo>
                    <a:pt x="164" y="273"/>
                  </a:lnTo>
                  <a:lnTo>
                    <a:pt x="164" y="272"/>
                  </a:lnTo>
                  <a:lnTo>
                    <a:pt x="164" y="271"/>
                  </a:lnTo>
                  <a:lnTo>
                    <a:pt x="164" y="269"/>
                  </a:lnTo>
                  <a:lnTo>
                    <a:pt x="164" y="268"/>
                  </a:lnTo>
                  <a:lnTo>
                    <a:pt x="163" y="266"/>
                  </a:lnTo>
                  <a:lnTo>
                    <a:pt x="163" y="265"/>
                  </a:lnTo>
                  <a:lnTo>
                    <a:pt x="162" y="264"/>
                  </a:lnTo>
                  <a:lnTo>
                    <a:pt x="162" y="263"/>
                  </a:lnTo>
                  <a:lnTo>
                    <a:pt x="161" y="262"/>
                  </a:lnTo>
                  <a:lnTo>
                    <a:pt x="161" y="261"/>
                  </a:lnTo>
                  <a:lnTo>
                    <a:pt x="160" y="260"/>
                  </a:lnTo>
                  <a:lnTo>
                    <a:pt x="160" y="260"/>
                  </a:lnTo>
                  <a:lnTo>
                    <a:pt x="159" y="259"/>
                  </a:lnTo>
                  <a:lnTo>
                    <a:pt x="159" y="259"/>
                  </a:lnTo>
                  <a:lnTo>
                    <a:pt x="158" y="259"/>
                  </a:lnTo>
                  <a:lnTo>
                    <a:pt x="158" y="259"/>
                  </a:lnTo>
                  <a:lnTo>
                    <a:pt x="157" y="259"/>
                  </a:lnTo>
                  <a:lnTo>
                    <a:pt x="156" y="259"/>
                  </a:lnTo>
                  <a:lnTo>
                    <a:pt x="156" y="259"/>
                  </a:lnTo>
                  <a:lnTo>
                    <a:pt x="153" y="260"/>
                  </a:lnTo>
                  <a:lnTo>
                    <a:pt x="152" y="260"/>
                  </a:lnTo>
                  <a:lnTo>
                    <a:pt x="147" y="262"/>
                  </a:lnTo>
                  <a:lnTo>
                    <a:pt x="146" y="262"/>
                  </a:lnTo>
                  <a:lnTo>
                    <a:pt x="144" y="263"/>
                  </a:lnTo>
                  <a:lnTo>
                    <a:pt x="142" y="264"/>
                  </a:lnTo>
                  <a:lnTo>
                    <a:pt x="140" y="265"/>
                  </a:lnTo>
                  <a:lnTo>
                    <a:pt x="139" y="265"/>
                  </a:lnTo>
                  <a:lnTo>
                    <a:pt x="138" y="265"/>
                  </a:lnTo>
                  <a:lnTo>
                    <a:pt x="138" y="265"/>
                  </a:lnTo>
                  <a:lnTo>
                    <a:pt x="137" y="265"/>
                  </a:lnTo>
                  <a:lnTo>
                    <a:pt x="136" y="265"/>
                  </a:lnTo>
                  <a:lnTo>
                    <a:pt x="133" y="264"/>
                  </a:lnTo>
                  <a:lnTo>
                    <a:pt x="132" y="264"/>
                  </a:lnTo>
                  <a:lnTo>
                    <a:pt x="131" y="264"/>
                  </a:lnTo>
                  <a:lnTo>
                    <a:pt x="129" y="263"/>
                  </a:lnTo>
                  <a:lnTo>
                    <a:pt x="125" y="261"/>
                  </a:lnTo>
                  <a:lnTo>
                    <a:pt x="124" y="261"/>
                  </a:lnTo>
                  <a:lnTo>
                    <a:pt x="123" y="260"/>
                  </a:lnTo>
                  <a:lnTo>
                    <a:pt x="122" y="259"/>
                  </a:lnTo>
                  <a:lnTo>
                    <a:pt x="121" y="258"/>
                  </a:lnTo>
                  <a:lnTo>
                    <a:pt x="120" y="257"/>
                  </a:lnTo>
                  <a:lnTo>
                    <a:pt x="119" y="257"/>
                  </a:lnTo>
                  <a:lnTo>
                    <a:pt x="118" y="256"/>
                  </a:lnTo>
                  <a:lnTo>
                    <a:pt x="116" y="255"/>
                  </a:lnTo>
                  <a:lnTo>
                    <a:pt x="115" y="255"/>
                  </a:lnTo>
                  <a:lnTo>
                    <a:pt x="114" y="254"/>
                  </a:lnTo>
                  <a:lnTo>
                    <a:pt x="114" y="254"/>
                  </a:lnTo>
                  <a:lnTo>
                    <a:pt x="113" y="253"/>
                  </a:lnTo>
                  <a:lnTo>
                    <a:pt x="112" y="252"/>
                  </a:lnTo>
                  <a:lnTo>
                    <a:pt x="112" y="251"/>
                  </a:lnTo>
                  <a:lnTo>
                    <a:pt x="111" y="249"/>
                  </a:lnTo>
                  <a:lnTo>
                    <a:pt x="110" y="248"/>
                  </a:lnTo>
                  <a:lnTo>
                    <a:pt x="109" y="247"/>
                  </a:lnTo>
                  <a:lnTo>
                    <a:pt x="106" y="244"/>
                  </a:lnTo>
                  <a:lnTo>
                    <a:pt x="106" y="244"/>
                  </a:lnTo>
                  <a:lnTo>
                    <a:pt x="106" y="243"/>
                  </a:lnTo>
                  <a:lnTo>
                    <a:pt x="105" y="242"/>
                  </a:lnTo>
                  <a:lnTo>
                    <a:pt x="105" y="241"/>
                  </a:lnTo>
                  <a:lnTo>
                    <a:pt x="105" y="240"/>
                  </a:lnTo>
                  <a:lnTo>
                    <a:pt x="105" y="238"/>
                  </a:lnTo>
                  <a:lnTo>
                    <a:pt x="105" y="238"/>
                  </a:lnTo>
                  <a:lnTo>
                    <a:pt x="104" y="237"/>
                  </a:lnTo>
                  <a:lnTo>
                    <a:pt x="104" y="236"/>
                  </a:lnTo>
                  <a:lnTo>
                    <a:pt x="104" y="236"/>
                  </a:lnTo>
                  <a:lnTo>
                    <a:pt x="103" y="235"/>
                  </a:lnTo>
                  <a:lnTo>
                    <a:pt x="103" y="234"/>
                  </a:lnTo>
                  <a:lnTo>
                    <a:pt x="101" y="232"/>
                  </a:lnTo>
                  <a:lnTo>
                    <a:pt x="101" y="231"/>
                  </a:lnTo>
                  <a:lnTo>
                    <a:pt x="100" y="229"/>
                  </a:lnTo>
                  <a:lnTo>
                    <a:pt x="100" y="228"/>
                  </a:lnTo>
                  <a:lnTo>
                    <a:pt x="100" y="226"/>
                  </a:lnTo>
                  <a:lnTo>
                    <a:pt x="100" y="226"/>
                  </a:lnTo>
                  <a:lnTo>
                    <a:pt x="100" y="224"/>
                  </a:lnTo>
                  <a:lnTo>
                    <a:pt x="100" y="222"/>
                  </a:lnTo>
                  <a:lnTo>
                    <a:pt x="99" y="221"/>
                  </a:lnTo>
                  <a:lnTo>
                    <a:pt x="99" y="220"/>
                  </a:lnTo>
                  <a:lnTo>
                    <a:pt x="98" y="218"/>
                  </a:lnTo>
                  <a:lnTo>
                    <a:pt x="97" y="216"/>
                  </a:lnTo>
                  <a:lnTo>
                    <a:pt x="96" y="213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4" y="211"/>
                  </a:lnTo>
                  <a:lnTo>
                    <a:pt x="94" y="211"/>
                  </a:lnTo>
                  <a:lnTo>
                    <a:pt x="93" y="211"/>
                  </a:lnTo>
                  <a:lnTo>
                    <a:pt x="92" y="211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0" y="211"/>
                  </a:lnTo>
                  <a:lnTo>
                    <a:pt x="90" y="212"/>
                  </a:lnTo>
                  <a:lnTo>
                    <a:pt x="89" y="213"/>
                  </a:lnTo>
                  <a:lnTo>
                    <a:pt x="89" y="213"/>
                  </a:lnTo>
                  <a:lnTo>
                    <a:pt x="89" y="214"/>
                  </a:lnTo>
                  <a:lnTo>
                    <a:pt x="90" y="215"/>
                  </a:lnTo>
                  <a:lnTo>
                    <a:pt x="91" y="222"/>
                  </a:lnTo>
                  <a:lnTo>
                    <a:pt x="92" y="223"/>
                  </a:lnTo>
                  <a:lnTo>
                    <a:pt x="92" y="224"/>
                  </a:lnTo>
                  <a:lnTo>
                    <a:pt x="92" y="225"/>
                  </a:lnTo>
                  <a:lnTo>
                    <a:pt x="92" y="226"/>
                  </a:lnTo>
                  <a:lnTo>
                    <a:pt x="91" y="226"/>
                  </a:lnTo>
                  <a:lnTo>
                    <a:pt x="91" y="227"/>
                  </a:lnTo>
                  <a:lnTo>
                    <a:pt x="91" y="227"/>
                  </a:lnTo>
                  <a:lnTo>
                    <a:pt x="90" y="228"/>
                  </a:lnTo>
                  <a:lnTo>
                    <a:pt x="89" y="229"/>
                  </a:lnTo>
                  <a:lnTo>
                    <a:pt x="89" y="230"/>
                  </a:lnTo>
                  <a:lnTo>
                    <a:pt x="88" y="230"/>
                  </a:lnTo>
                  <a:lnTo>
                    <a:pt x="87" y="230"/>
                  </a:lnTo>
                  <a:lnTo>
                    <a:pt x="87" y="230"/>
                  </a:lnTo>
                  <a:lnTo>
                    <a:pt x="87" y="230"/>
                  </a:lnTo>
                  <a:lnTo>
                    <a:pt x="86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3" y="230"/>
                  </a:lnTo>
                  <a:lnTo>
                    <a:pt x="82" y="231"/>
                  </a:lnTo>
                  <a:lnTo>
                    <a:pt x="82" y="231"/>
                  </a:lnTo>
                  <a:lnTo>
                    <a:pt x="80" y="232"/>
                  </a:lnTo>
                  <a:lnTo>
                    <a:pt x="80" y="232"/>
                  </a:lnTo>
                  <a:lnTo>
                    <a:pt x="79" y="233"/>
                  </a:lnTo>
                  <a:lnTo>
                    <a:pt x="79" y="233"/>
                  </a:lnTo>
                  <a:lnTo>
                    <a:pt x="78" y="234"/>
                  </a:lnTo>
                  <a:lnTo>
                    <a:pt x="78" y="235"/>
                  </a:lnTo>
                  <a:lnTo>
                    <a:pt x="77" y="236"/>
                  </a:lnTo>
                  <a:lnTo>
                    <a:pt x="77" y="236"/>
                  </a:lnTo>
                  <a:lnTo>
                    <a:pt x="77" y="237"/>
                  </a:lnTo>
                  <a:lnTo>
                    <a:pt x="76" y="238"/>
                  </a:lnTo>
                  <a:lnTo>
                    <a:pt x="74" y="240"/>
                  </a:lnTo>
                  <a:lnTo>
                    <a:pt x="74" y="240"/>
                  </a:lnTo>
                  <a:lnTo>
                    <a:pt x="73" y="241"/>
                  </a:lnTo>
                  <a:lnTo>
                    <a:pt x="72" y="243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0" y="244"/>
                  </a:lnTo>
                  <a:lnTo>
                    <a:pt x="70" y="244"/>
                  </a:lnTo>
                  <a:lnTo>
                    <a:pt x="69" y="244"/>
                  </a:lnTo>
                  <a:lnTo>
                    <a:pt x="69" y="244"/>
                  </a:lnTo>
                  <a:lnTo>
                    <a:pt x="68" y="244"/>
                  </a:lnTo>
                  <a:lnTo>
                    <a:pt x="68" y="244"/>
                  </a:lnTo>
                  <a:lnTo>
                    <a:pt x="67" y="243"/>
                  </a:lnTo>
                  <a:lnTo>
                    <a:pt x="66" y="242"/>
                  </a:lnTo>
                  <a:lnTo>
                    <a:pt x="65" y="241"/>
                  </a:lnTo>
                  <a:lnTo>
                    <a:pt x="65" y="239"/>
                  </a:lnTo>
                  <a:lnTo>
                    <a:pt x="64" y="238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2"/>
                  </a:lnTo>
                  <a:lnTo>
                    <a:pt x="65" y="228"/>
                  </a:lnTo>
                  <a:lnTo>
                    <a:pt x="66" y="226"/>
                  </a:lnTo>
                  <a:lnTo>
                    <a:pt x="66" y="224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2"/>
                  </a:lnTo>
                  <a:lnTo>
                    <a:pt x="66" y="221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8" y="217"/>
                  </a:lnTo>
                  <a:lnTo>
                    <a:pt x="56" y="217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3" y="218"/>
                  </a:lnTo>
                  <a:lnTo>
                    <a:pt x="51" y="219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8" y="220"/>
                  </a:lnTo>
                  <a:lnTo>
                    <a:pt x="47" y="221"/>
                  </a:lnTo>
                  <a:lnTo>
                    <a:pt x="45" y="222"/>
                  </a:lnTo>
                  <a:lnTo>
                    <a:pt x="44" y="223"/>
                  </a:lnTo>
                  <a:lnTo>
                    <a:pt x="41" y="226"/>
                  </a:lnTo>
                  <a:lnTo>
                    <a:pt x="38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5" y="231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3" y="234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1" y="235"/>
                  </a:lnTo>
                  <a:lnTo>
                    <a:pt x="30" y="235"/>
                  </a:lnTo>
                  <a:lnTo>
                    <a:pt x="27" y="235"/>
                  </a:lnTo>
                  <a:lnTo>
                    <a:pt x="23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1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19" y="232"/>
                  </a:lnTo>
                  <a:lnTo>
                    <a:pt x="19" y="231"/>
                  </a:lnTo>
                  <a:lnTo>
                    <a:pt x="19" y="230"/>
                  </a:lnTo>
                  <a:lnTo>
                    <a:pt x="19" y="229"/>
                  </a:lnTo>
                  <a:lnTo>
                    <a:pt x="20" y="226"/>
                  </a:lnTo>
                  <a:lnTo>
                    <a:pt x="20" y="224"/>
                  </a:lnTo>
                  <a:lnTo>
                    <a:pt x="20" y="223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0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6" y="222"/>
                  </a:lnTo>
                  <a:lnTo>
                    <a:pt x="15" y="222"/>
                  </a:lnTo>
                  <a:lnTo>
                    <a:pt x="13" y="222"/>
                  </a:lnTo>
                  <a:lnTo>
                    <a:pt x="12" y="223"/>
                  </a:lnTo>
                  <a:lnTo>
                    <a:pt x="11" y="223"/>
                  </a:lnTo>
                  <a:lnTo>
                    <a:pt x="10" y="223"/>
                  </a:lnTo>
                  <a:lnTo>
                    <a:pt x="10" y="222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8" y="221"/>
                  </a:lnTo>
                  <a:lnTo>
                    <a:pt x="7" y="220"/>
                  </a:lnTo>
                  <a:lnTo>
                    <a:pt x="6" y="220"/>
                  </a:lnTo>
                  <a:lnTo>
                    <a:pt x="5" y="217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0" y="206"/>
                  </a:lnTo>
                  <a:lnTo>
                    <a:pt x="0" y="205"/>
                  </a:lnTo>
                  <a:lnTo>
                    <a:pt x="1" y="204"/>
                  </a:lnTo>
                  <a:lnTo>
                    <a:pt x="2" y="201"/>
                  </a:lnTo>
                  <a:lnTo>
                    <a:pt x="3" y="199"/>
                  </a:lnTo>
                  <a:lnTo>
                    <a:pt x="3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4" y="193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6" y="188"/>
                  </a:lnTo>
                  <a:lnTo>
                    <a:pt x="7" y="186"/>
                  </a:lnTo>
                  <a:lnTo>
                    <a:pt x="9" y="183"/>
                  </a:lnTo>
                  <a:lnTo>
                    <a:pt x="10" y="182"/>
                  </a:lnTo>
                  <a:lnTo>
                    <a:pt x="10" y="181"/>
                  </a:lnTo>
                  <a:lnTo>
                    <a:pt x="11" y="180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7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5"/>
                  </a:lnTo>
                  <a:lnTo>
                    <a:pt x="12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0" y="172"/>
                  </a:lnTo>
                  <a:lnTo>
                    <a:pt x="10" y="171"/>
                  </a:lnTo>
                  <a:lnTo>
                    <a:pt x="9" y="170"/>
                  </a:lnTo>
                  <a:lnTo>
                    <a:pt x="5" y="166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3" y="156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7"/>
                  </a:lnTo>
                  <a:lnTo>
                    <a:pt x="6" y="145"/>
                  </a:lnTo>
                  <a:lnTo>
                    <a:pt x="7" y="143"/>
                  </a:lnTo>
                  <a:lnTo>
                    <a:pt x="8" y="142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18" y="129"/>
                  </a:lnTo>
                  <a:lnTo>
                    <a:pt x="18" y="128"/>
                  </a:lnTo>
                  <a:lnTo>
                    <a:pt x="19" y="127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20" y="123"/>
                  </a:lnTo>
                  <a:lnTo>
                    <a:pt x="20" y="122"/>
                  </a:lnTo>
                  <a:lnTo>
                    <a:pt x="20" y="120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9" y="106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3"/>
                  </a:lnTo>
                  <a:lnTo>
                    <a:pt x="22" y="99"/>
                  </a:lnTo>
                  <a:lnTo>
                    <a:pt x="23" y="98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7" y="84"/>
                  </a:lnTo>
                  <a:lnTo>
                    <a:pt x="32" y="78"/>
                  </a:lnTo>
                  <a:lnTo>
                    <a:pt x="34" y="76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8" y="72"/>
                  </a:lnTo>
                  <a:lnTo>
                    <a:pt x="39" y="71"/>
                  </a:lnTo>
                  <a:lnTo>
                    <a:pt x="40" y="71"/>
                  </a:lnTo>
                  <a:lnTo>
                    <a:pt x="42" y="68"/>
                  </a:lnTo>
                  <a:lnTo>
                    <a:pt x="43" y="68"/>
                  </a:lnTo>
                  <a:lnTo>
                    <a:pt x="44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8" y="57"/>
                  </a:lnTo>
                  <a:lnTo>
                    <a:pt x="59" y="55"/>
                  </a:lnTo>
                  <a:lnTo>
                    <a:pt x="60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49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5"/>
                  </a:lnTo>
                  <a:lnTo>
                    <a:pt x="77" y="42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8" y="27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7" y="23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8" y="24"/>
                  </a:lnTo>
                  <a:lnTo>
                    <a:pt x="129" y="24"/>
                  </a:lnTo>
                  <a:lnTo>
                    <a:pt x="131" y="24"/>
                  </a:lnTo>
                  <a:lnTo>
                    <a:pt x="132" y="24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6" y="23"/>
                  </a:lnTo>
                  <a:lnTo>
                    <a:pt x="137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2" y="19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9" y="12"/>
                  </a:lnTo>
                  <a:lnTo>
                    <a:pt x="150" y="11"/>
                  </a:lnTo>
                  <a:lnTo>
                    <a:pt x="151" y="10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7"/>
                  </a:lnTo>
                  <a:lnTo>
                    <a:pt x="153" y="2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A8A8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4" name="Freeform 74">
              <a:extLst>
                <a:ext uri="{FF2B5EF4-FFF2-40B4-BE49-F238E27FC236}">
                  <a16:creationId xmlns:a16="http://schemas.microsoft.com/office/drawing/2014/main" id="{9F7C3919-C732-DCFF-0664-17B9EE0FF5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3" y="3192"/>
              <a:ext cx="448" cy="419"/>
            </a:xfrm>
            <a:custGeom>
              <a:avLst/>
              <a:gdLst>
                <a:gd name="T0" fmla="*/ 99 w 448"/>
                <a:gd name="T1" fmla="*/ 8 h 419"/>
                <a:gd name="T2" fmla="*/ 98 w 448"/>
                <a:gd name="T3" fmla="*/ 24 h 419"/>
                <a:gd name="T4" fmla="*/ 107 w 448"/>
                <a:gd name="T5" fmla="*/ 45 h 419"/>
                <a:gd name="T6" fmla="*/ 95 w 448"/>
                <a:gd name="T7" fmla="*/ 56 h 419"/>
                <a:gd name="T8" fmla="*/ 65 w 448"/>
                <a:gd name="T9" fmla="*/ 71 h 419"/>
                <a:gd name="T10" fmla="*/ 65 w 448"/>
                <a:gd name="T11" fmla="*/ 83 h 419"/>
                <a:gd name="T12" fmla="*/ 87 w 448"/>
                <a:gd name="T13" fmla="*/ 97 h 419"/>
                <a:gd name="T14" fmla="*/ 103 w 448"/>
                <a:gd name="T15" fmla="*/ 108 h 419"/>
                <a:gd name="T16" fmla="*/ 119 w 448"/>
                <a:gd name="T17" fmla="*/ 138 h 419"/>
                <a:gd name="T18" fmla="*/ 139 w 448"/>
                <a:gd name="T19" fmla="*/ 154 h 419"/>
                <a:gd name="T20" fmla="*/ 161 w 448"/>
                <a:gd name="T21" fmla="*/ 153 h 419"/>
                <a:gd name="T22" fmla="*/ 191 w 448"/>
                <a:gd name="T23" fmla="*/ 139 h 419"/>
                <a:gd name="T24" fmla="*/ 193 w 448"/>
                <a:gd name="T25" fmla="*/ 130 h 419"/>
                <a:gd name="T26" fmla="*/ 185 w 448"/>
                <a:gd name="T27" fmla="*/ 122 h 419"/>
                <a:gd name="T28" fmla="*/ 198 w 448"/>
                <a:gd name="T29" fmla="*/ 118 h 419"/>
                <a:gd name="T30" fmla="*/ 215 w 448"/>
                <a:gd name="T31" fmla="*/ 142 h 419"/>
                <a:gd name="T32" fmla="*/ 234 w 448"/>
                <a:gd name="T33" fmla="*/ 146 h 419"/>
                <a:gd name="T34" fmla="*/ 246 w 448"/>
                <a:gd name="T35" fmla="*/ 149 h 419"/>
                <a:gd name="T36" fmla="*/ 265 w 448"/>
                <a:gd name="T37" fmla="*/ 161 h 419"/>
                <a:gd name="T38" fmla="*/ 278 w 448"/>
                <a:gd name="T39" fmla="*/ 177 h 419"/>
                <a:gd name="T40" fmla="*/ 286 w 448"/>
                <a:gd name="T41" fmla="*/ 167 h 419"/>
                <a:gd name="T42" fmla="*/ 311 w 448"/>
                <a:gd name="T43" fmla="*/ 170 h 419"/>
                <a:gd name="T44" fmla="*/ 341 w 448"/>
                <a:gd name="T45" fmla="*/ 183 h 419"/>
                <a:gd name="T46" fmla="*/ 348 w 448"/>
                <a:gd name="T47" fmla="*/ 175 h 419"/>
                <a:gd name="T48" fmla="*/ 356 w 448"/>
                <a:gd name="T49" fmla="*/ 183 h 419"/>
                <a:gd name="T50" fmla="*/ 363 w 448"/>
                <a:gd name="T51" fmla="*/ 200 h 419"/>
                <a:gd name="T52" fmla="*/ 359 w 448"/>
                <a:gd name="T53" fmla="*/ 220 h 419"/>
                <a:gd name="T54" fmla="*/ 377 w 448"/>
                <a:gd name="T55" fmla="*/ 264 h 419"/>
                <a:gd name="T56" fmla="*/ 397 w 448"/>
                <a:gd name="T57" fmla="*/ 273 h 419"/>
                <a:gd name="T58" fmla="*/ 418 w 448"/>
                <a:gd name="T59" fmla="*/ 282 h 419"/>
                <a:gd name="T60" fmla="*/ 432 w 448"/>
                <a:gd name="T61" fmla="*/ 292 h 419"/>
                <a:gd name="T62" fmla="*/ 446 w 448"/>
                <a:gd name="T63" fmla="*/ 338 h 419"/>
                <a:gd name="T64" fmla="*/ 443 w 448"/>
                <a:gd name="T65" fmla="*/ 357 h 419"/>
                <a:gd name="T66" fmla="*/ 415 w 448"/>
                <a:gd name="T67" fmla="*/ 369 h 419"/>
                <a:gd name="T68" fmla="*/ 378 w 448"/>
                <a:gd name="T69" fmla="*/ 368 h 419"/>
                <a:gd name="T70" fmla="*/ 361 w 448"/>
                <a:gd name="T71" fmla="*/ 367 h 419"/>
                <a:gd name="T72" fmla="*/ 355 w 448"/>
                <a:gd name="T73" fmla="*/ 384 h 419"/>
                <a:gd name="T74" fmla="*/ 332 w 448"/>
                <a:gd name="T75" fmla="*/ 415 h 419"/>
                <a:gd name="T76" fmla="*/ 315 w 448"/>
                <a:gd name="T77" fmla="*/ 419 h 419"/>
                <a:gd name="T78" fmla="*/ 303 w 448"/>
                <a:gd name="T79" fmla="*/ 403 h 419"/>
                <a:gd name="T80" fmla="*/ 282 w 448"/>
                <a:gd name="T81" fmla="*/ 380 h 419"/>
                <a:gd name="T82" fmla="*/ 261 w 448"/>
                <a:gd name="T83" fmla="*/ 378 h 419"/>
                <a:gd name="T84" fmla="*/ 233 w 448"/>
                <a:gd name="T85" fmla="*/ 368 h 419"/>
                <a:gd name="T86" fmla="*/ 193 w 448"/>
                <a:gd name="T87" fmla="*/ 372 h 419"/>
                <a:gd name="T88" fmla="*/ 177 w 448"/>
                <a:gd name="T89" fmla="*/ 359 h 419"/>
                <a:gd name="T90" fmla="*/ 162 w 448"/>
                <a:gd name="T91" fmla="*/ 351 h 419"/>
                <a:gd name="T92" fmla="*/ 150 w 448"/>
                <a:gd name="T93" fmla="*/ 353 h 419"/>
                <a:gd name="T94" fmla="*/ 148 w 448"/>
                <a:gd name="T95" fmla="*/ 342 h 419"/>
                <a:gd name="T96" fmla="*/ 122 w 448"/>
                <a:gd name="T97" fmla="*/ 313 h 419"/>
                <a:gd name="T98" fmla="*/ 110 w 448"/>
                <a:gd name="T99" fmla="*/ 300 h 419"/>
                <a:gd name="T100" fmla="*/ 96 w 448"/>
                <a:gd name="T101" fmla="*/ 296 h 419"/>
                <a:gd name="T102" fmla="*/ 96 w 448"/>
                <a:gd name="T103" fmla="*/ 272 h 419"/>
                <a:gd name="T104" fmla="*/ 88 w 448"/>
                <a:gd name="T105" fmla="*/ 259 h 419"/>
                <a:gd name="T106" fmla="*/ 61 w 448"/>
                <a:gd name="T107" fmla="*/ 263 h 419"/>
                <a:gd name="T108" fmla="*/ 42 w 448"/>
                <a:gd name="T109" fmla="*/ 248 h 419"/>
                <a:gd name="T110" fmla="*/ 32 w 448"/>
                <a:gd name="T111" fmla="*/ 229 h 419"/>
                <a:gd name="T112" fmla="*/ 24 w 448"/>
                <a:gd name="T113" fmla="*/ 211 h 419"/>
                <a:gd name="T114" fmla="*/ 22 w 448"/>
                <a:gd name="T115" fmla="*/ 228 h 419"/>
                <a:gd name="T116" fmla="*/ 12 w 448"/>
                <a:gd name="T117" fmla="*/ 232 h 419"/>
                <a:gd name="T118" fmla="*/ 2 w 448"/>
                <a:gd name="T119" fmla="*/ 244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8" h="419">
                  <a:moveTo>
                    <a:pt x="88" y="0"/>
                  </a:moveTo>
                  <a:lnTo>
                    <a:pt x="89" y="0"/>
                  </a:lnTo>
                  <a:lnTo>
                    <a:pt x="90" y="0"/>
                  </a:lnTo>
                  <a:lnTo>
                    <a:pt x="90" y="1"/>
                  </a:lnTo>
                  <a:lnTo>
                    <a:pt x="91" y="1"/>
                  </a:lnTo>
                  <a:lnTo>
                    <a:pt x="92" y="1"/>
                  </a:lnTo>
                  <a:lnTo>
                    <a:pt x="92" y="2"/>
                  </a:lnTo>
                  <a:lnTo>
                    <a:pt x="93" y="2"/>
                  </a:lnTo>
                  <a:lnTo>
                    <a:pt x="94" y="3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6" y="5"/>
                  </a:lnTo>
                  <a:lnTo>
                    <a:pt x="96" y="6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8" y="7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100" y="8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2"/>
                  </a:lnTo>
                  <a:lnTo>
                    <a:pt x="101" y="13"/>
                  </a:lnTo>
                  <a:lnTo>
                    <a:pt x="101" y="14"/>
                  </a:lnTo>
                  <a:lnTo>
                    <a:pt x="99" y="18"/>
                  </a:lnTo>
                  <a:lnTo>
                    <a:pt x="99" y="20"/>
                  </a:lnTo>
                  <a:lnTo>
                    <a:pt x="98" y="21"/>
                  </a:lnTo>
                  <a:lnTo>
                    <a:pt x="98" y="22"/>
                  </a:lnTo>
                  <a:lnTo>
                    <a:pt x="98" y="23"/>
                  </a:lnTo>
                  <a:lnTo>
                    <a:pt x="98" y="24"/>
                  </a:lnTo>
                  <a:lnTo>
                    <a:pt x="98" y="26"/>
                  </a:lnTo>
                  <a:lnTo>
                    <a:pt x="98" y="27"/>
                  </a:lnTo>
                  <a:lnTo>
                    <a:pt x="99" y="28"/>
                  </a:lnTo>
                  <a:lnTo>
                    <a:pt x="99" y="29"/>
                  </a:lnTo>
                  <a:lnTo>
                    <a:pt x="100" y="30"/>
                  </a:lnTo>
                  <a:lnTo>
                    <a:pt x="100" y="31"/>
                  </a:lnTo>
                  <a:lnTo>
                    <a:pt x="101" y="32"/>
                  </a:lnTo>
                  <a:lnTo>
                    <a:pt x="104" y="35"/>
                  </a:lnTo>
                  <a:lnTo>
                    <a:pt x="105" y="37"/>
                  </a:lnTo>
                  <a:lnTo>
                    <a:pt x="105" y="38"/>
                  </a:lnTo>
                  <a:lnTo>
                    <a:pt x="106" y="38"/>
                  </a:lnTo>
                  <a:lnTo>
                    <a:pt x="106" y="39"/>
                  </a:lnTo>
                  <a:lnTo>
                    <a:pt x="106" y="40"/>
                  </a:lnTo>
                  <a:lnTo>
                    <a:pt x="106" y="41"/>
                  </a:lnTo>
                  <a:lnTo>
                    <a:pt x="107" y="42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06" y="46"/>
                  </a:lnTo>
                  <a:lnTo>
                    <a:pt x="106" y="47"/>
                  </a:lnTo>
                  <a:lnTo>
                    <a:pt x="106" y="49"/>
                  </a:lnTo>
                  <a:lnTo>
                    <a:pt x="106" y="49"/>
                  </a:lnTo>
                  <a:lnTo>
                    <a:pt x="105" y="50"/>
                  </a:lnTo>
                  <a:lnTo>
                    <a:pt x="105" y="50"/>
                  </a:lnTo>
                  <a:lnTo>
                    <a:pt x="105" y="51"/>
                  </a:lnTo>
                  <a:lnTo>
                    <a:pt x="104" y="52"/>
                  </a:lnTo>
                  <a:lnTo>
                    <a:pt x="103" y="52"/>
                  </a:lnTo>
                  <a:lnTo>
                    <a:pt x="102" y="53"/>
                  </a:lnTo>
                  <a:lnTo>
                    <a:pt x="101" y="53"/>
                  </a:lnTo>
                  <a:lnTo>
                    <a:pt x="101" y="53"/>
                  </a:lnTo>
                  <a:lnTo>
                    <a:pt x="98" y="54"/>
                  </a:lnTo>
                  <a:lnTo>
                    <a:pt x="97" y="54"/>
                  </a:lnTo>
                  <a:lnTo>
                    <a:pt x="96" y="55"/>
                  </a:lnTo>
                  <a:lnTo>
                    <a:pt x="96" y="55"/>
                  </a:lnTo>
                  <a:lnTo>
                    <a:pt x="95" y="56"/>
                  </a:lnTo>
                  <a:lnTo>
                    <a:pt x="94" y="57"/>
                  </a:lnTo>
                  <a:lnTo>
                    <a:pt x="94" y="57"/>
                  </a:lnTo>
                  <a:lnTo>
                    <a:pt x="92" y="59"/>
                  </a:lnTo>
                  <a:lnTo>
                    <a:pt x="92" y="60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90" y="62"/>
                  </a:lnTo>
                  <a:lnTo>
                    <a:pt x="90" y="62"/>
                  </a:lnTo>
                  <a:lnTo>
                    <a:pt x="89" y="63"/>
                  </a:lnTo>
                  <a:lnTo>
                    <a:pt x="88" y="63"/>
                  </a:lnTo>
                  <a:lnTo>
                    <a:pt x="87" y="63"/>
                  </a:lnTo>
                  <a:lnTo>
                    <a:pt x="85" y="64"/>
                  </a:lnTo>
                  <a:lnTo>
                    <a:pt x="80" y="66"/>
                  </a:lnTo>
                  <a:lnTo>
                    <a:pt x="74" y="68"/>
                  </a:lnTo>
                  <a:lnTo>
                    <a:pt x="71" y="69"/>
                  </a:lnTo>
                  <a:lnTo>
                    <a:pt x="66" y="70"/>
                  </a:lnTo>
                  <a:lnTo>
                    <a:pt x="65" y="71"/>
                  </a:lnTo>
                  <a:lnTo>
                    <a:pt x="64" y="71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2" y="73"/>
                  </a:lnTo>
                  <a:lnTo>
                    <a:pt x="62" y="74"/>
                  </a:lnTo>
                  <a:lnTo>
                    <a:pt x="62" y="74"/>
                  </a:lnTo>
                  <a:lnTo>
                    <a:pt x="62" y="75"/>
                  </a:lnTo>
                  <a:lnTo>
                    <a:pt x="61" y="76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8"/>
                  </a:lnTo>
                  <a:lnTo>
                    <a:pt x="62" y="79"/>
                  </a:lnTo>
                  <a:lnTo>
                    <a:pt x="63" y="80"/>
                  </a:lnTo>
                  <a:lnTo>
                    <a:pt x="63" y="81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5" y="83"/>
                  </a:lnTo>
                  <a:lnTo>
                    <a:pt x="66" y="84"/>
                  </a:lnTo>
                  <a:lnTo>
                    <a:pt x="67" y="85"/>
                  </a:lnTo>
                  <a:lnTo>
                    <a:pt x="71" y="88"/>
                  </a:lnTo>
                  <a:lnTo>
                    <a:pt x="72" y="89"/>
                  </a:lnTo>
                  <a:lnTo>
                    <a:pt x="73" y="91"/>
                  </a:lnTo>
                  <a:lnTo>
                    <a:pt x="75" y="93"/>
                  </a:lnTo>
                  <a:lnTo>
                    <a:pt x="76" y="94"/>
                  </a:lnTo>
                  <a:lnTo>
                    <a:pt x="77" y="95"/>
                  </a:lnTo>
                  <a:lnTo>
                    <a:pt x="78" y="96"/>
                  </a:lnTo>
                  <a:lnTo>
                    <a:pt x="79" y="97"/>
                  </a:lnTo>
                  <a:lnTo>
                    <a:pt x="81" y="97"/>
                  </a:lnTo>
                  <a:lnTo>
                    <a:pt x="82" y="98"/>
                  </a:lnTo>
                  <a:lnTo>
                    <a:pt x="83" y="98"/>
                  </a:lnTo>
                  <a:lnTo>
                    <a:pt x="84" y="98"/>
                  </a:lnTo>
                  <a:lnTo>
                    <a:pt x="84" y="98"/>
                  </a:lnTo>
                  <a:lnTo>
                    <a:pt x="85" y="97"/>
                  </a:lnTo>
                  <a:lnTo>
                    <a:pt x="87" y="97"/>
                  </a:lnTo>
                  <a:lnTo>
                    <a:pt x="88" y="97"/>
                  </a:lnTo>
                  <a:lnTo>
                    <a:pt x="89" y="97"/>
                  </a:lnTo>
                  <a:lnTo>
                    <a:pt x="90" y="97"/>
                  </a:lnTo>
                  <a:lnTo>
                    <a:pt x="91" y="97"/>
                  </a:lnTo>
                  <a:lnTo>
                    <a:pt x="91" y="97"/>
                  </a:lnTo>
                  <a:lnTo>
                    <a:pt x="92" y="97"/>
                  </a:lnTo>
                  <a:lnTo>
                    <a:pt x="93" y="97"/>
                  </a:lnTo>
                  <a:lnTo>
                    <a:pt x="93" y="98"/>
                  </a:lnTo>
                  <a:lnTo>
                    <a:pt x="95" y="98"/>
                  </a:lnTo>
                  <a:lnTo>
                    <a:pt x="95" y="99"/>
                  </a:lnTo>
                  <a:lnTo>
                    <a:pt x="96" y="99"/>
                  </a:lnTo>
                  <a:lnTo>
                    <a:pt x="97" y="100"/>
                  </a:lnTo>
                  <a:lnTo>
                    <a:pt x="98" y="101"/>
                  </a:lnTo>
                  <a:lnTo>
                    <a:pt x="99" y="102"/>
                  </a:lnTo>
                  <a:lnTo>
                    <a:pt x="100" y="103"/>
                  </a:lnTo>
                  <a:lnTo>
                    <a:pt x="102" y="106"/>
                  </a:lnTo>
                  <a:lnTo>
                    <a:pt x="103" y="108"/>
                  </a:lnTo>
                  <a:lnTo>
                    <a:pt x="106" y="112"/>
                  </a:lnTo>
                  <a:lnTo>
                    <a:pt x="107" y="113"/>
                  </a:lnTo>
                  <a:lnTo>
                    <a:pt x="108" y="115"/>
                  </a:lnTo>
                  <a:lnTo>
                    <a:pt x="109" y="116"/>
                  </a:lnTo>
                  <a:lnTo>
                    <a:pt x="109" y="117"/>
                  </a:lnTo>
                  <a:lnTo>
                    <a:pt x="110" y="119"/>
                  </a:lnTo>
                  <a:lnTo>
                    <a:pt x="110" y="120"/>
                  </a:lnTo>
                  <a:lnTo>
                    <a:pt x="112" y="124"/>
                  </a:lnTo>
                  <a:lnTo>
                    <a:pt x="113" y="126"/>
                  </a:lnTo>
                  <a:lnTo>
                    <a:pt x="113" y="127"/>
                  </a:lnTo>
                  <a:lnTo>
                    <a:pt x="114" y="131"/>
                  </a:lnTo>
                  <a:lnTo>
                    <a:pt x="116" y="134"/>
                  </a:lnTo>
                  <a:lnTo>
                    <a:pt x="116" y="135"/>
                  </a:lnTo>
                  <a:lnTo>
                    <a:pt x="117" y="136"/>
                  </a:lnTo>
                  <a:lnTo>
                    <a:pt x="117" y="137"/>
                  </a:lnTo>
                  <a:lnTo>
                    <a:pt x="118" y="137"/>
                  </a:lnTo>
                  <a:lnTo>
                    <a:pt x="119" y="138"/>
                  </a:lnTo>
                  <a:lnTo>
                    <a:pt x="120" y="138"/>
                  </a:lnTo>
                  <a:lnTo>
                    <a:pt x="122" y="140"/>
                  </a:lnTo>
                  <a:lnTo>
                    <a:pt x="124" y="141"/>
                  </a:lnTo>
                  <a:lnTo>
                    <a:pt x="127" y="142"/>
                  </a:lnTo>
                  <a:lnTo>
                    <a:pt x="128" y="142"/>
                  </a:lnTo>
                  <a:lnTo>
                    <a:pt x="129" y="143"/>
                  </a:lnTo>
                  <a:lnTo>
                    <a:pt x="130" y="144"/>
                  </a:lnTo>
                  <a:lnTo>
                    <a:pt x="130" y="145"/>
                  </a:lnTo>
                  <a:lnTo>
                    <a:pt x="131" y="146"/>
                  </a:lnTo>
                  <a:lnTo>
                    <a:pt x="132" y="147"/>
                  </a:lnTo>
                  <a:lnTo>
                    <a:pt x="133" y="148"/>
                  </a:lnTo>
                  <a:lnTo>
                    <a:pt x="133" y="149"/>
                  </a:lnTo>
                  <a:lnTo>
                    <a:pt x="134" y="150"/>
                  </a:lnTo>
                  <a:lnTo>
                    <a:pt x="134" y="151"/>
                  </a:lnTo>
                  <a:lnTo>
                    <a:pt x="136" y="152"/>
                  </a:lnTo>
                  <a:lnTo>
                    <a:pt x="137" y="153"/>
                  </a:lnTo>
                  <a:lnTo>
                    <a:pt x="139" y="154"/>
                  </a:lnTo>
                  <a:lnTo>
                    <a:pt x="140" y="155"/>
                  </a:lnTo>
                  <a:lnTo>
                    <a:pt x="141" y="156"/>
                  </a:lnTo>
                  <a:lnTo>
                    <a:pt x="143" y="156"/>
                  </a:lnTo>
                  <a:lnTo>
                    <a:pt x="144" y="157"/>
                  </a:lnTo>
                  <a:lnTo>
                    <a:pt x="145" y="157"/>
                  </a:lnTo>
                  <a:lnTo>
                    <a:pt x="145" y="157"/>
                  </a:lnTo>
                  <a:lnTo>
                    <a:pt x="146" y="157"/>
                  </a:lnTo>
                  <a:lnTo>
                    <a:pt x="147" y="157"/>
                  </a:lnTo>
                  <a:lnTo>
                    <a:pt x="148" y="157"/>
                  </a:lnTo>
                  <a:lnTo>
                    <a:pt x="152" y="156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5"/>
                  </a:lnTo>
                  <a:lnTo>
                    <a:pt x="157" y="155"/>
                  </a:lnTo>
                  <a:lnTo>
                    <a:pt x="159" y="154"/>
                  </a:lnTo>
                  <a:lnTo>
                    <a:pt x="160" y="153"/>
                  </a:lnTo>
                  <a:lnTo>
                    <a:pt x="161" y="153"/>
                  </a:lnTo>
                  <a:lnTo>
                    <a:pt x="162" y="152"/>
                  </a:lnTo>
                  <a:lnTo>
                    <a:pt x="167" y="147"/>
                  </a:lnTo>
                  <a:lnTo>
                    <a:pt x="168" y="146"/>
                  </a:lnTo>
                  <a:lnTo>
                    <a:pt x="169" y="145"/>
                  </a:lnTo>
                  <a:lnTo>
                    <a:pt x="170" y="145"/>
                  </a:lnTo>
                  <a:lnTo>
                    <a:pt x="171" y="144"/>
                  </a:lnTo>
                  <a:lnTo>
                    <a:pt x="173" y="143"/>
                  </a:lnTo>
                  <a:lnTo>
                    <a:pt x="174" y="142"/>
                  </a:lnTo>
                  <a:lnTo>
                    <a:pt x="177" y="141"/>
                  </a:lnTo>
                  <a:lnTo>
                    <a:pt x="179" y="140"/>
                  </a:lnTo>
                  <a:lnTo>
                    <a:pt x="180" y="140"/>
                  </a:lnTo>
                  <a:lnTo>
                    <a:pt x="181" y="139"/>
                  </a:lnTo>
                  <a:lnTo>
                    <a:pt x="183" y="139"/>
                  </a:lnTo>
                  <a:lnTo>
                    <a:pt x="184" y="139"/>
                  </a:lnTo>
                  <a:lnTo>
                    <a:pt x="184" y="139"/>
                  </a:lnTo>
                  <a:lnTo>
                    <a:pt x="189" y="139"/>
                  </a:lnTo>
                  <a:lnTo>
                    <a:pt x="191" y="139"/>
                  </a:lnTo>
                  <a:lnTo>
                    <a:pt x="192" y="139"/>
                  </a:lnTo>
                  <a:lnTo>
                    <a:pt x="193" y="139"/>
                  </a:lnTo>
                  <a:lnTo>
                    <a:pt x="194" y="139"/>
                  </a:lnTo>
                  <a:lnTo>
                    <a:pt x="194" y="139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7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5" y="134"/>
                  </a:lnTo>
                  <a:lnTo>
                    <a:pt x="195" y="133"/>
                  </a:lnTo>
                  <a:lnTo>
                    <a:pt x="195" y="132"/>
                  </a:lnTo>
                  <a:lnTo>
                    <a:pt x="195" y="132"/>
                  </a:lnTo>
                  <a:lnTo>
                    <a:pt x="194" y="131"/>
                  </a:lnTo>
                  <a:lnTo>
                    <a:pt x="194" y="130"/>
                  </a:lnTo>
                  <a:lnTo>
                    <a:pt x="193" y="130"/>
                  </a:lnTo>
                  <a:lnTo>
                    <a:pt x="193" y="129"/>
                  </a:lnTo>
                  <a:lnTo>
                    <a:pt x="192" y="129"/>
                  </a:lnTo>
                  <a:lnTo>
                    <a:pt x="191" y="129"/>
                  </a:lnTo>
                  <a:lnTo>
                    <a:pt x="190" y="128"/>
                  </a:lnTo>
                  <a:lnTo>
                    <a:pt x="188" y="128"/>
                  </a:lnTo>
                  <a:lnTo>
                    <a:pt x="188" y="128"/>
                  </a:lnTo>
                  <a:lnTo>
                    <a:pt x="187" y="128"/>
                  </a:lnTo>
                  <a:lnTo>
                    <a:pt x="187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6"/>
                  </a:lnTo>
                  <a:lnTo>
                    <a:pt x="185" y="126"/>
                  </a:lnTo>
                  <a:lnTo>
                    <a:pt x="185" y="125"/>
                  </a:lnTo>
                  <a:lnTo>
                    <a:pt x="185" y="124"/>
                  </a:lnTo>
                  <a:lnTo>
                    <a:pt x="185" y="124"/>
                  </a:lnTo>
                  <a:lnTo>
                    <a:pt x="185" y="123"/>
                  </a:lnTo>
                  <a:lnTo>
                    <a:pt x="185" y="122"/>
                  </a:lnTo>
                  <a:lnTo>
                    <a:pt x="185" y="121"/>
                  </a:lnTo>
                  <a:lnTo>
                    <a:pt x="186" y="121"/>
                  </a:lnTo>
                  <a:lnTo>
                    <a:pt x="186" y="120"/>
                  </a:lnTo>
                  <a:lnTo>
                    <a:pt x="187" y="119"/>
                  </a:lnTo>
                  <a:lnTo>
                    <a:pt x="187" y="118"/>
                  </a:lnTo>
                  <a:lnTo>
                    <a:pt x="188" y="118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90" y="117"/>
                  </a:lnTo>
                  <a:lnTo>
                    <a:pt x="191" y="116"/>
                  </a:lnTo>
                  <a:lnTo>
                    <a:pt x="192" y="116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4" y="116"/>
                  </a:lnTo>
                  <a:lnTo>
                    <a:pt x="195" y="117"/>
                  </a:lnTo>
                  <a:lnTo>
                    <a:pt x="197" y="117"/>
                  </a:lnTo>
                  <a:lnTo>
                    <a:pt x="198" y="118"/>
                  </a:lnTo>
                  <a:lnTo>
                    <a:pt x="199" y="118"/>
                  </a:lnTo>
                  <a:lnTo>
                    <a:pt x="200" y="119"/>
                  </a:lnTo>
                  <a:lnTo>
                    <a:pt x="201" y="120"/>
                  </a:lnTo>
                  <a:lnTo>
                    <a:pt x="204" y="122"/>
                  </a:lnTo>
                  <a:lnTo>
                    <a:pt x="205" y="123"/>
                  </a:lnTo>
                  <a:lnTo>
                    <a:pt x="206" y="124"/>
                  </a:lnTo>
                  <a:lnTo>
                    <a:pt x="207" y="125"/>
                  </a:lnTo>
                  <a:lnTo>
                    <a:pt x="208" y="126"/>
                  </a:lnTo>
                  <a:lnTo>
                    <a:pt x="210" y="132"/>
                  </a:lnTo>
                  <a:lnTo>
                    <a:pt x="211" y="133"/>
                  </a:lnTo>
                  <a:lnTo>
                    <a:pt x="211" y="134"/>
                  </a:lnTo>
                  <a:lnTo>
                    <a:pt x="212" y="137"/>
                  </a:lnTo>
                  <a:lnTo>
                    <a:pt x="213" y="138"/>
                  </a:lnTo>
                  <a:lnTo>
                    <a:pt x="213" y="139"/>
                  </a:lnTo>
                  <a:lnTo>
                    <a:pt x="214" y="140"/>
                  </a:lnTo>
                  <a:lnTo>
                    <a:pt x="214" y="142"/>
                  </a:lnTo>
                  <a:lnTo>
                    <a:pt x="215" y="142"/>
                  </a:lnTo>
                  <a:lnTo>
                    <a:pt x="216" y="143"/>
                  </a:lnTo>
                  <a:lnTo>
                    <a:pt x="217" y="143"/>
                  </a:lnTo>
                  <a:lnTo>
                    <a:pt x="217" y="144"/>
                  </a:lnTo>
                  <a:lnTo>
                    <a:pt x="218" y="144"/>
                  </a:lnTo>
                  <a:lnTo>
                    <a:pt x="219" y="145"/>
                  </a:lnTo>
                  <a:lnTo>
                    <a:pt x="219" y="145"/>
                  </a:lnTo>
                  <a:lnTo>
                    <a:pt x="222" y="146"/>
                  </a:lnTo>
                  <a:lnTo>
                    <a:pt x="227" y="148"/>
                  </a:lnTo>
                  <a:lnTo>
                    <a:pt x="228" y="148"/>
                  </a:lnTo>
                  <a:lnTo>
                    <a:pt x="229" y="148"/>
                  </a:lnTo>
                  <a:lnTo>
                    <a:pt x="229" y="148"/>
                  </a:lnTo>
                  <a:lnTo>
                    <a:pt x="230" y="148"/>
                  </a:lnTo>
                  <a:lnTo>
                    <a:pt x="231" y="148"/>
                  </a:lnTo>
                  <a:lnTo>
                    <a:pt x="231" y="147"/>
                  </a:lnTo>
                  <a:lnTo>
                    <a:pt x="232" y="147"/>
                  </a:lnTo>
                  <a:lnTo>
                    <a:pt x="232" y="147"/>
                  </a:lnTo>
                  <a:lnTo>
                    <a:pt x="234" y="146"/>
                  </a:lnTo>
                  <a:lnTo>
                    <a:pt x="235" y="145"/>
                  </a:lnTo>
                  <a:lnTo>
                    <a:pt x="236" y="145"/>
                  </a:lnTo>
                  <a:lnTo>
                    <a:pt x="236" y="145"/>
                  </a:lnTo>
                  <a:lnTo>
                    <a:pt x="237" y="144"/>
                  </a:lnTo>
                  <a:lnTo>
                    <a:pt x="237" y="144"/>
                  </a:lnTo>
                  <a:lnTo>
                    <a:pt x="238" y="144"/>
                  </a:lnTo>
                  <a:lnTo>
                    <a:pt x="239" y="144"/>
                  </a:lnTo>
                  <a:lnTo>
                    <a:pt x="240" y="144"/>
                  </a:lnTo>
                  <a:lnTo>
                    <a:pt x="241" y="145"/>
                  </a:lnTo>
                  <a:lnTo>
                    <a:pt x="242" y="145"/>
                  </a:lnTo>
                  <a:lnTo>
                    <a:pt x="242" y="145"/>
                  </a:lnTo>
                  <a:lnTo>
                    <a:pt x="243" y="146"/>
                  </a:lnTo>
                  <a:lnTo>
                    <a:pt x="243" y="146"/>
                  </a:lnTo>
                  <a:lnTo>
                    <a:pt x="244" y="146"/>
                  </a:lnTo>
                  <a:lnTo>
                    <a:pt x="245" y="147"/>
                  </a:lnTo>
                  <a:lnTo>
                    <a:pt x="245" y="148"/>
                  </a:lnTo>
                  <a:lnTo>
                    <a:pt x="246" y="149"/>
                  </a:lnTo>
                  <a:lnTo>
                    <a:pt x="247" y="151"/>
                  </a:lnTo>
                  <a:lnTo>
                    <a:pt x="248" y="152"/>
                  </a:lnTo>
                  <a:lnTo>
                    <a:pt x="249" y="153"/>
                  </a:lnTo>
                  <a:lnTo>
                    <a:pt x="250" y="153"/>
                  </a:lnTo>
                  <a:lnTo>
                    <a:pt x="250" y="154"/>
                  </a:lnTo>
                  <a:lnTo>
                    <a:pt x="251" y="154"/>
                  </a:lnTo>
                  <a:lnTo>
                    <a:pt x="252" y="155"/>
                  </a:lnTo>
                  <a:lnTo>
                    <a:pt x="253" y="155"/>
                  </a:lnTo>
                  <a:lnTo>
                    <a:pt x="258" y="157"/>
                  </a:lnTo>
                  <a:lnTo>
                    <a:pt x="259" y="157"/>
                  </a:lnTo>
                  <a:lnTo>
                    <a:pt x="260" y="157"/>
                  </a:lnTo>
                  <a:lnTo>
                    <a:pt x="261" y="158"/>
                  </a:lnTo>
                  <a:lnTo>
                    <a:pt x="262" y="159"/>
                  </a:lnTo>
                  <a:lnTo>
                    <a:pt x="263" y="159"/>
                  </a:lnTo>
                  <a:lnTo>
                    <a:pt x="264" y="160"/>
                  </a:lnTo>
                  <a:lnTo>
                    <a:pt x="264" y="160"/>
                  </a:lnTo>
                  <a:lnTo>
                    <a:pt x="265" y="161"/>
                  </a:lnTo>
                  <a:lnTo>
                    <a:pt x="266" y="162"/>
                  </a:lnTo>
                  <a:lnTo>
                    <a:pt x="266" y="163"/>
                  </a:lnTo>
                  <a:lnTo>
                    <a:pt x="267" y="164"/>
                  </a:lnTo>
                  <a:lnTo>
                    <a:pt x="268" y="168"/>
                  </a:lnTo>
                  <a:lnTo>
                    <a:pt x="269" y="169"/>
                  </a:lnTo>
                  <a:lnTo>
                    <a:pt x="269" y="170"/>
                  </a:lnTo>
                  <a:lnTo>
                    <a:pt x="270" y="171"/>
                  </a:lnTo>
                  <a:lnTo>
                    <a:pt x="271" y="172"/>
                  </a:lnTo>
                  <a:lnTo>
                    <a:pt x="271" y="173"/>
                  </a:lnTo>
                  <a:lnTo>
                    <a:pt x="272" y="173"/>
                  </a:lnTo>
                  <a:lnTo>
                    <a:pt x="273" y="174"/>
                  </a:lnTo>
                  <a:lnTo>
                    <a:pt x="274" y="175"/>
                  </a:lnTo>
                  <a:lnTo>
                    <a:pt x="275" y="176"/>
                  </a:lnTo>
                  <a:lnTo>
                    <a:pt x="275" y="176"/>
                  </a:lnTo>
                  <a:lnTo>
                    <a:pt x="276" y="176"/>
                  </a:lnTo>
                  <a:lnTo>
                    <a:pt x="277" y="177"/>
                  </a:lnTo>
                  <a:lnTo>
                    <a:pt x="278" y="177"/>
                  </a:lnTo>
                  <a:lnTo>
                    <a:pt x="279" y="177"/>
                  </a:lnTo>
                  <a:lnTo>
                    <a:pt x="280" y="177"/>
                  </a:lnTo>
                  <a:lnTo>
                    <a:pt x="280" y="177"/>
                  </a:lnTo>
                  <a:lnTo>
                    <a:pt x="281" y="177"/>
                  </a:lnTo>
                  <a:lnTo>
                    <a:pt x="282" y="176"/>
                  </a:lnTo>
                  <a:lnTo>
                    <a:pt x="283" y="175"/>
                  </a:lnTo>
                  <a:lnTo>
                    <a:pt x="285" y="174"/>
                  </a:lnTo>
                  <a:lnTo>
                    <a:pt x="285" y="174"/>
                  </a:lnTo>
                  <a:lnTo>
                    <a:pt x="286" y="173"/>
                  </a:lnTo>
                  <a:lnTo>
                    <a:pt x="286" y="172"/>
                  </a:lnTo>
                  <a:lnTo>
                    <a:pt x="286" y="172"/>
                  </a:lnTo>
                  <a:lnTo>
                    <a:pt x="286" y="171"/>
                  </a:lnTo>
                  <a:lnTo>
                    <a:pt x="286" y="170"/>
                  </a:lnTo>
                  <a:lnTo>
                    <a:pt x="286" y="169"/>
                  </a:lnTo>
                  <a:lnTo>
                    <a:pt x="286" y="168"/>
                  </a:lnTo>
                  <a:lnTo>
                    <a:pt x="286" y="168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7" y="167"/>
                  </a:lnTo>
                  <a:lnTo>
                    <a:pt x="288" y="167"/>
                  </a:lnTo>
                  <a:lnTo>
                    <a:pt x="289" y="167"/>
                  </a:lnTo>
                  <a:lnTo>
                    <a:pt x="290" y="167"/>
                  </a:lnTo>
                  <a:lnTo>
                    <a:pt x="294" y="168"/>
                  </a:lnTo>
                  <a:lnTo>
                    <a:pt x="296" y="169"/>
                  </a:lnTo>
                  <a:lnTo>
                    <a:pt x="297" y="169"/>
                  </a:lnTo>
                  <a:lnTo>
                    <a:pt x="299" y="169"/>
                  </a:lnTo>
                  <a:lnTo>
                    <a:pt x="301" y="169"/>
                  </a:lnTo>
                  <a:lnTo>
                    <a:pt x="306" y="169"/>
                  </a:lnTo>
                  <a:lnTo>
                    <a:pt x="307" y="169"/>
                  </a:lnTo>
                  <a:lnTo>
                    <a:pt x="309" y="170"/>
                  </a:lnTo>
                  <a:lnTo>
                    <a:pt x="310" y="170"/>
                  </a:lnTo>
                  <a:lnTo>
                    <a:pt x="311" y="170"/>
                  </a:lnTo>
                  <a:lnTo>
                    <a:pt x="311" y="170"/>
                  </a:lnTo>
                  <a:lnTo>
                    <a:pt x="312" y="171"/>
                  </a:lnTo>
                  <a:lnTo>
                    <a:pt x="317" y="173"/>
                  </a:lnTo>
                  <a:lnTo>
                    <a:pt x="320" y="175"/>
                  </a:lnTo>
                  <a:lnTo>
                    <a:pt x="322" y="176"/>
                  </a:lnTo>
                  <a:lnTo>
                    <a:pt x="323" y="176"/>
                  </a:lnTo>
                  <a:lnTo>
                    <a:pt x="329" y="181"/>
                  </a:lnTo>
                  <a:lnTo>
                    <a:pt x="330" y="181"/>
                  </a:lnTo>
                  <a:lnTo>
                    <a:pt x="330" y="181"/>
                  </a:lnTo>
                  <a:lnTo>
                    <a:pt x="332" y="182"/>
                  </a:lnTo>
                  <a:lnTo>
                    <a:pt x="333" y="183"/>
                  </a:lnTo>
                  <a:lnTo>
                    <a:pt x="335" y="183"/>
                  </a:lnTo>
                  <a:lnTo>
                    <a:pt x="336" y="183"/>
                  </a:lnTo>
                  <a:lnTo>
                    <a:pt x="338" y="183"/>
                  </a:lnTo>
                  <a:lnTo>
                    <a:pt x="339" y="184"/>
                  </a:lnTo>
                  <a:lnTo>
                    <a:pt x="340" y="184"/>
                  </a:lnTo>
                  <a:lnTo>
                    <a:pt x="341" y="183"/>
                  </a:lnTo>
                  <a:lnTo>
                    <a:pt x="342" y="183"/>
                  </a:lnTo>
                  <a:lnTo>
                    <a:pt x="342" y="183"/>
                  </a:lnTo>
                  <a:lnTo>
                    <a:pt x="343" y="183"/>
                  </a:lnTo>
                  <a:lnTo>
                    <a:pt x="343" y="182"/>
                  </a:lnTo>
                  <a:lnTo>
                    <a:pt x="344" y="182"/>
                  </a:lnTo>
                  <a:lnTo>
                    <a:pt x="344" y="181"/>
                  </a:lnTo>
                  <a:lnTo>
                    <a:pt x="345" y="181"/>
                  </a:lnTo>
                  <a:lnTo>
                    <a:pt x="345" y="181"/>
                  </a:lnTo>
                  <a:lnTo>
                    <a:pt x="345" y="180"/>
                  </a:lnTo>
                  <a:lnTo>
                    <a:pt x="346" y="179"/>
                  </a:lnTo>
                  <a:lnTo>
                    <a:pt x="346" y="177"/>
                  </a:lnTo>
                  <a:lnTo>
                    <a:pt x="347" y="176"/>
                  </a:lnTo>
                  <a:lnTo>
                    <a:pt x="347" y="176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9" y="174"/>
                  </a:lnTo>
                  <a:lnTo>
                    <a:pt x="349" y="174"/>
                  </a:lnTo>
                  <a:lnTo>
                    <a:pt x="350" y="174"/>
                  </a:lnTo>
                  <a:lnTo>
                    <a:pt x="351" y="175"/>
                  </a:lnTo>
                  <a:lnTo>
                    <a:pt x="352" y="175"/>
                  </a:lnTo>
                  <a:lnTo>
                    <a:pt x="352" y="175"/>
                  </a:lnTo>
                  <a:lnTo>
                    <a:pt x="353" y="175"/>
                  </a:lnTo>
                  <a:lnTo>
                    <a:pt x="353" y="176"/>
                  </a:lnTo>
                  <a:lnTo>
                    <a:pt x="354" y="176"/>
                  </a:lnTo>
                  <a:lnTo>
                    <a:pt x="354" y="176"/>
                  </a:lnTo>
                  <a:lnTo>
                    <a:pt x="355" y="177"/>
                  </a:lnTo>
                  <a:lnTo>
                    <a:pt x="355" y="178"/>
                  </a:lnTo>
                  <a:lnTo>
                    <a:pt x="355" y="178"/>
                  </a:lnTo>
                  <a:lnTo>
                    <a:pt x="356" y="179"/>
                  </a:lnTo>
                  <a:lnTo>
                    <a:pt x="356" y="181"/>
                  </a:lnTo>
                  <a:lnTo>
                    <a:pt x="356" y="182"/>
                  </a:lnTo>
                  <a:lnTo>
                    <a:pt x="356" y="183"/>
                  </a:lnTo>
                  <a:lnTo>
                    <a:pt x="356" y="187"/>
                  </a:lnTo>
                  <a:lnTo>
                    <a:pt x="356" y="189"/>
                  </a:lnTo>
                  <a:lnTo>
                    <a:pt x="356" y="191"/>
                  </a:lnTo>
                  <a:lnTo>
                    <a:pt x="356" y="191"/>
                  </a:lnTo>
                  <a:lnTo>
                    <a:pt x="356" y="192"/>
                  </a:lnTo>
                  <a:lnTo>
                    <a:pt x="356" y="192"/>
                  </a:lnTo>
                  <a:lnTo>
                    <a:pt x="357" y="193"/>
                  </a:lnTo>
                  <a:lnTo>
                    <a:pt x="357" y="194"/>
                  </a:lnTo>
                  <a:lnTo>
                    <a:pt x="357" y="195"/>
                  </a:lnTo>
                  <a:lnTo>
                    <a:pt x="358" y="195"/>
                  </a:lnTo>
                  <a:lnTo>
                    <a:pt x="358" y="196"/>
                  </a:lnTo>
                  <a:lnTo>
                    <a:pt x="359" y="196"/>
                  </a:lnTo>
                  <a:lnTo>
                    <a:pt x="359" y="197"/>
                  </a:lnTo>
                  <a:lnTo>
                    <a:pt x="360" y="198"/>
                  </a:lnTo>
                  <a:lnTo>
                    <a:pt x="361" y="199"/>
                  </a:lnTo>
                  <a:lnTo>
                    <a:pt x="362" y="200"/>
                  </a:lnTo>
                  <a:lnTo>
                    <a:pt x="363" y="200"/>
                  </a:lnTo>
                  <a:lnTo>
                    <a:pt x="363" y="201"/>
                  </a:lnTo>
                  <a:lnTo>
                    <a:pt x="363" y="201"/>
                  </a:lnTo>
                  <a:lnTo>
                    <a:pt x="363" y="201"/>
                  </a:lnTo>
                  <a:lnTo>
                    <a:pt x="363" y="202"/>
                  </a:lnTo>
                  <a:lnTo>
                    <a:pt x="363" y="202"/>
                  </a:lnTo>
                  <a:lnTo>
                    <a:pt x="363" y="203"/>
                  </a:lnTo>
                  <a:lnTo>
                    <a:pt x="363" y="204"/>
                  </a:lnTo>
                  <a:lnTo>
                    <a:pt x="361" y="206"/>
                  </a:lnTo>
                  <a:lnTo>
                    <a:pt x="360" y="209"/>
                  </a:lnTo>
                  <a:lnTo>
                    <a:pt x="359" y="212"/>
                  </a:lnTo>
                  <a:lnTo>
                    <a:pt x="359" y="213"/>
                  </a:lnTo>
                  <a:lnTo>
                    <a:pt x="359" y="214"/>
                  </a:lnTo>
                  <a:lnTo>
                    <a:pt x="358" y="215"/>
                  </a:lnTo>
                  <a:lnTo>
                    <a:pt x="358" y="216"/>
                  </a:lnTo>
                  <a:lnTo>
                    <a:pt x="358" y="217"/>
                  </a:lnTo>
                  <a:lnTo>
                    <a:pt x="359" y="219"/>
                  </a:lnTo>
                  <a:lnTo>
                    <a:pt x="359" y="220"/>
                  </a:lnTo>
                  <a:lnTo>
                    <a:pt x="360" y="223"/>
                  </a:lnTo>
                  <a:lnTo>
                    <a:pt x="361" y="224"/>
                  </a:lnTo>
                  <a:lnTo>
                    <a:pt x="361" y="225"/>
                  </a:lnTo>
                  <a:lnTo>
                    <a:pt x="362" y="227"/>
                  </a:lnTo>
                  <a:lnTo>
                    <a:pt x="363" y="230"/>
                  </a:lnTo>
                  <a:lnTo>
                    <a:pt x="365" y="233"/>
                  </a:lnTo>
                  <a:lnTo>
                    <a:pt x="366" y="237"/>
                  </a:lnTo>
                  <a:lnTo>
                    <a:pt x="369" y="243"/>
                  </a:lnTo>
                  <a:lnTo>
                    <a:pt x="372" y="249"/>
                  </a:lnTo>
                  <a:lnTo>
                    <a:pt x="373" y="253"/>
                  </a:lnTo>
                  <a:lnTo>
                    <a:pt x="374" y="254"/>
                  </a:lnTo>
                  <a:lnTo>
                    <a:pt x="374" y="255"/>
                  </a:lnTo>
                  <a:lnTo>
                    <a:pt x="375" y="256"/>
                  </a:lnTo>
                  <a:lnTo>
                    <a:pt x="376" y="261"/>
                  </a:lnTo>
                  <a:lnTo>
                    <a:pt x="376" y="262"/>
                  </a:lnTo>
                  <a:lnTo>
                    <a:pt x="377" y="263"/>
                  </a:lnTo>
                  <a:lnTo>
                    <a:pt x="377" y="264"/>
                  </a:lnTo>
                  <a:lnTo>
                    <a:pt x="377" y="265"/>
                  </a:lnTo>
                  <a:lnTo>
                    <a:pt x="378" y="265"/>
                  </a:lnTo>
                  <a:lnTo>
                    <a:pt x="378" y="266"/>
                  </a:lnTo>
                  <a:lnTo>
                    <a:pt x="379" y="267"/>
                  </a:lnTo>
                  <a:lnTo>
                    <a:pt x="380" y="267"/>
                  </a:lnTo>
                  <a:lnTo>
                    <a:pt x="381" y="268"/>
                  </a:lnTo>
                  <a:lnTo>
                    <a:pt x="381" y="269"/>
                  </a:lnTo>
                  <a:lnTo>
                    <a:pt x="382" y="269"/>
                  </a:lnTo>
                  <a:lnTo>
                    <a:pt x="383" y="269"/>
                  </a:lnTo>
                  <a:lnTo>
                    <a:pt x="384" y="270"/>
                  </a:lnTo>
                  <a:lnTo>
                    <a:pt x="385" y="270"/>
                  </a:lnTo>
                  <a:lnTo>
                    <a:pt x="389" y="272"/>
                  </a:lnTo>
                  <a:lnTo>
                    <a:pt x="391" y="272"/>
                  </a:lnTo>
                  <a:lnTo>
                    <a:pt x="395" y="273"/>
                  </a:lnTo>
                  <a:lnTo>
                    <a:pt x="396" y="273"/>
                  </a:lnTo>
                  <a:lnTo>
                    <a:pt x="397" y="273"/>
                  </a:lnTo>
                  <a:lnTo>
                    <a:pt x="397" y="273"/>
                  </a:lnTo>
                  <a:lnTo>
                    <a:pt x="399" y="274"/>
                  </a:lnTo>
                  <a:lnTo>
                    <a:pt x="400" y="274"/>
                  </a:lnTo>
                  <a:lnTo>
                    <a:pt x="401" y="275"/>
                  </a:lnTo>
                  <a:lnTo>
                    <a:pt x="402" y="277"/>
                  </a:lnTo>
                  <a:lnTo>
                    <a:pt x="404" y="279"/>
                  </a:lnTo>
                  <a:lnTo>
                    <a:pt x="405" y="279"/>
                  </a:lnTo>
                  <a:lnTo>
                    <a:pt x="406" y="280"/>
                  </a:lnTo>
                  <a:lnTo>
                    <a:pt x="406" y="280"/>
                  </a:lnTo>
                  <a:lnTo>
                    <a:pt x="408" y="281"/>
                  </a:lnTo>
                  <a:lnTo>
                    <a:pt x="409" y="282"/>
                  </a:lnTo>
                  <a:lnTo>
                    <a:pt x="411" y="282"/>
                  </a:lnTo>
                  <a:lnTo>
                    <a:pt x="411" y="282"/>
                  </a:lnTo>
                  <a:lnTo>
                    <a:pt x="413" y="282"/>
                  </a:lnTo>
                  <a:lnTo>
                    <a:pt x="413" y="282"/>
                  </a:lnTo>
                  <a:lnTo>
                    <a:pt x="414" y="282"/>
                  </a:lnTo>
                  <a:lnTo>
                    <a:pt x="415" y="282"/>
                  </a:lnTo>
                  <a:lnTo>
                    <a:pt x="418" y="282"/>
                  </a:lnTo>
                  <a:lnTo>
                    <a:pt x="420" y="282"/>
                  </a:lnTo>
                  <a:lnTo>
                    <a:pt x="421" y="282"/>
                  </a:lnTo>
                  <a:lnTo>
                    <a:pt x="422" y="282"/>
                  </a:lnTo>
                  <a:lnTo>
                    <a:pt x="423" y="282"/>
                  </a:lnTo>
                  <a:lnTo>
                    <a:pt x="424" y="282"/>
                  </a:lnTo>
                  <a:lnTo>
                    <a:pt x="425" y="282"/>
                  </a:lnTo>
                  <a:lnTo>
                    <a:pt x="426" y="283"/>
                  </a:lnTo>
                  <a:lnTo>
                    <a:pt x="427" y="283"/>
                  </a:lnTo>
                  <a:lnTo>
                    <a:pt x="428" y="284"/>
                  </a:lnTo>
                  <a:lnTo>
                    <a:pt x="428" y="284"/>
                  </a:lnTo>
                  <a:lnTo>
                    <a:pt x="429" y="285"/>
                  </a:lnTo>
                  <a:lnTo>
                    <a:pt x="430" y="285"/>
                  </a:lnTo>
                  <a:lnTo>
                    <a:pt x="430" y="286"/>
                  </a:lnTo>
                  <a:lnTo>
                    <a:pt x="430" y="287"/>
                  </a:lnTo>
                  <a:lnTo>
                    <a:pt x="431" y="288"/>
                  </a:lnTo>
                  <a:lnTo>
                    <a:pt x="431" y="290"/>
                  </a:lnTo>
                  <a:lnTo>
                    <a:pt x="432" y="292"/>
                  </a:lnTo>
                  <a:lnTo>
                    <a:pt x="433" y="296"/>
                  </a:lnTo>
                  <a:lnTo>
                    <a:pt x="434" y="301"/>
                  </a:lnTo>
                  <a:lnTo>
                    <a:pt x="436" y="310"/>
                  </a:lnTo>
                  <a:lnTo>
                    <a:pt x="438" y="315"/>
                  </a:lnTo>
                  <a:lnTo>
                    <a:pt x="438" y="317"/>
                  </a:lnTo>
                  <a:lnTo>
                    <a:pt x="439" y="318"/>
                  </a:lnTo>
                  <a:lnTo>
                    <a:pt x="439" y="319"/>
                  </a:lnTo>
                  <a:lnTo>
                    <a:pt x="440" y="321"/>
                  </a:lnTo>
                  <a:lnTo>
                    <a:pt x="441" y="322"/>
                  </a:lnTo>
                  <a:lnTo>
                    <a:pt x="441" y="324"/>
                  </a:lnTo>
                  <a:lnTo>
                    <a:pt x="442" y="328"/>
                  </a:lnTo>
                  <a:lnTo>
                    <a:pt x="442" y="329"/>
                  </a:lnTo>
                  <a:lnTo>
                    <a:pt x="442" y="331"/>
                  </a:lnTo>
                  <a:lnTo>
                    <a:pt x="443" y="333"/>
                  </a:lnTo>
                  <a:lnTo>
                    <a:pt x="444" y="335"/>
                  </a:lnTo>
                  <a:lnTo>
                    <a:pt x="445" y="336"/>
                  </a:lnTo>
                  <a:lnTo>
                    <a:pt x="446" y="338"/>
                  </a:lnTo>
                  <a:lnTo>
                    <a:pt x="447" y="340"/>
                  </a:lnTo>
                  <a:lnTo>
                    <a:pt x="448" y="341"/>
                  </a:lnTo>
                  <a:lnTo>
                    <a:pt x="448" y="343"/>
                  </a:lnTo>
                  <a:lnTo>
                    <a:pt x="448" y="344"/>
                  </a:lnTo>
                  <a:lnTo>
                    <a:pt x="448" y="345"/>
                  </a:lnTo>
                  <a:lnTo>
                    <a:pt x="448" y="346"/>
                  </a:lnTo>
                  <a:lnTo>
                    <a:pt x="448" y="346"/>
                  </a:lnTo>
                  <a:lnTo>
                    <a:pt x="447" y="348"/>
                  </a:lnTo>
                  <a:lnTo>
                    <a:pt x="447" y="350"/>
                  </a:lnTo>
                  <a:lnTo>
                    <a:pt x="446" y="352"/>
                  </a:lnTo>
                  <a:lnTo>
                    <a:pt x="445" y="355"/>
                  </a:lnTo>
                  <a:lnTo>
                    <a:pt x="445" y="355"/>
                  </a:lnTo>
                  <a:lnTo>
                    <a:pt x="445" y="356"/>
                  </a:lnTo>
                  <a:lnTo>
                    <a:pt x="445" y="356"/>
                  </a:lnTo>
                  <a:lnTo>
                    <a:pt x="444" y="356"/>
                  </a:lnTo>
                  <a:lnTo>
                    <a:pt x="443" y="357"/>
                  </a:lnTo>
                  <a:lnTo>
                    <a:pt x="443" y="357"/>
                  </a:lnTo>
                  <a:lnTo>
                    <a:pt x="442" y="357"/>
                  </a:lnTo>
                  <a:lnTo>
                    <a:pt x="439" y="358"/>
                  </a:lnTo>
                  <a:lnTo>
                    <a:pt x="437" y="359"/>
                  </a:lnTo>
                  <a:lnTo>
                    <a:pt x="436" y="359"/>
                  </a:lnTo>
                  <a:lnTo>
                    <a:pt x="435" y="360"/>
                  </a:lnTo>
                  <a:lnTo>
                    <a:pt x="431" y="362"/>
                  </a:lnTo>
                  <a:lnTo>
                    <a:pt x="429" y="363"/>
                  </a:lnTo>
                  <a:lnTo>
                    <a:pt x="427" y="364"/>
                  </a:lnTo>
                  <a:lnTo>
                    <a:pt x="423" y="367"/>
                  </a:lnTo>
                  <a:lnTo>
                    <a:pt x="422" y="368"/>
                  </a:lnTo>
                  <a:lnTo>
                    <a:pt x="421" y="368"/>
                  </a:lnTo>
                  <a:lnTo>
                    <a:pt x="419" y="369"/>
                  </a:lnTo>
                  <a:lnTo>
                    <a:pt x="418" y="369"/>
                  </a:lnTo>
                  <a:lnTo>
                    <a:pt x="417" y="369"/>
                  </a:lnTo>
                  <a:lnTo>
                    <a:pt x="416" y="369"/>
                  </a:lnTo>
                  <a:lnTo>
                    <a:pt x="416" y="369"/>
                  </a:lnTo>
                  <a:lnTo>
                    <a:pt x="415" y="369"/>
                  </a:lnTo>
                  <a:lnTo>
                    <a:pt x="414" y="369"/>
                  </a:lnTo>
                  <a:lnTo>
                    <a:pt x="412" y="369"/>
                  </a:lnTo>
                  <a:lnTo>
                    <a:pt x="408" y="367"/>
                  </a:lnTo>
                  <a:lnTo>
                    <a:pt x="407" y="367"/>
                  </a:lnTo>
                  <a:lnTo>
                    <a:pt x="406" y="367"/>
                  </a:lnTo>
                  <a:lnTo>
                    <a:pt x="404" y="367"/>
                  </a:lnTo>
                  <a:lnTo>
                    <a:pt x="401" y="366"/>
                  </a:lnTo>
                  <a:lnTo>
                    <a:pt x="398" y="366"/>
                  </a:lnTo>
                  <a:lnTo>
                    <a:pt x="396" y="366"/>
                  </a:lnTo>
                  <a:lnTo>
                    <a:pt x="395" y="366"/>
                  </a:lnTo>
                  <a:lnTo>
                    <a:pt x="393" y="366"/>
                  </a:lnTo>
                  <a:lnTo>
                    <a:pt x="390" y="366"/>
                  </a:lnTo>
                  <a:lnTo>
                    <a:pt x="384" y="368"/>
                  </a:lnTo>
                  <a:lnTo>
                    <a:pt x="382" y="368"/>
                  </a:lnTo>
                  <a:lnTo>
                    <a:pt x="380" y="368"/>
                  </a:lnTo>
                  <a:lnTo>
                    <a:pt x="379" y="368"/>
                  </a:lnTo>
                  <a:lnTo>
                    <a:pt x="378" y="368"/>
                  </a:lnTo>
                  <a:lnTo>
                    <a:pt x="377" y="368"/>
                  </a:lnTo>
                  <a:lnTo>
                    <a:pt x="376" y="368"/>
                  </a:lnTo>
                  <a:lnTo>
                    <a:pt x="375" y="368"/>
                  </a:lnTo>
                  <a:lnTo>
                    <a:pt x="374" y="367"/>
                  </a:lnTo>
                  <a:lnTo>
                    <a:pt x="372" y="366"/>
                  </a:lnTo>
                  <a:lnTo>
                    <a:pt x="371" y="366"/>
                  </a:lnTo>
                  <a:lnTo>
                    <a:pt x="370" y="366"/>
                  </a:lnTo>
                  <a:lnTo>
                    <a:pt x="369" y="366"/>
                  </a:lnTo>
                  <a:lnTo>
                    <a:pt x="368" y="366"/>
                  </a:lnTo>
                  <a:lnTo>
                    <a:pt x="367" y="366"/>
                  </a:lnTo>
                  <a:lnTo>
                    <a:pt x="366" y="366"/>
                  </a:lnTo>
                  <a:lnTo>
                    <a:pt x="365" y="366"/>
                  </a:lnTo>
                  <a:lnTo>
                    <a:pt x="364" y="366"/>
                  </a:lnTo>
                  <a:lnTo>
                    <a:pt x="363" y="366"/>
                  </a:lnTo>
                  <a:lnTo>
                    <a:pt x="362" y="366"/>
                  </a:lnTo>
                  <a:lnTo>
                    <a:pt x="362" y="367"/>
                  </a:lnTo>
                  <a:lnTo>
                    <a:pt x="361" y="367"/>
                  </a:lnTo>
                  <a:lnTo>
                    <a:pt x="360" y="368"/>
                  </a:lnTo>
                  <a:lnTo>
                    <a:pt x="359" y="369"/>
                  </a:lnTo>
                  <a:lnTo>
                    <a:pt x="358" y="370"/>
                  </a:lnTo>
                  <a:lnTo>
                    <a:pt x="357" y="370"/>
                  </a:lnTo>
                  <a:lnTo>
                    <a:pt x="357" y="371"/>
                  </a:lnTo>
                  <a:lnTo>
                    <a:pt x="356" y="372"/>
                  </a:lnTo>
                  <a:lnTo>
                    <a:pt x="356" y="373"/>
                  </a:lnTo>
                  <a:lnTo>
                    <a:pt x="356" y="374"/>
                  </a:lnTo>
                  <a:lnTo>
                    <a:pt x="355" y="374"/>
                  </a:lnTo>
                  <a:lnTo>
                    <a:pt x="355" y="375"/>
                  </a:lnTo>
                  <a:lnTo>
                    <a:pt x="355" y="376"/>
                  </a:lnTo>
                  <a:lnTo>
                    <a:pt x="355" y="377"/>
                  </a:lnTo>
                  <a:lnTo>
                    <a:pt x="355" y="380"/>
                  </a:lnTo>
                  <a:lnTo>
                    <a:pt x="355" y="381"/>
                  </a:lnTo>
                  <a:lnTo>
                    <a:pt x="355" y="382"/>
                  </a:lnTo>
                  <a:lnTo>
                    <a:pt x="355" y="383"/>
                  </a:lnTo>
                  <a:lnTo>
                    <a:pt x="355" y="384"/>
                  </a:lnTo>
                  <a:lnTo>
                    <a:pt x="354" y="385"/>
                  </a:lnTo>
                  <a:lnTo>
                    <a:pt x="354" y="386"/>
                  </a:lnTo>
                  <a:lnTo>
                    <a:pt x="353" y="387"/>
                  </a:lnTo>
                  <a:lnTo>
                    <a:pt x="352" y="389"/>
                  </a:lnTo>
                  <a:lnTo>
                    <a:pt x="350" y="392"/>
                  </a:lnTo>
                  <a:lnTo>
                    <a:pt x="349" y="393"/>
                  </a:lnTo>
                  <a:lnTo>
                    <a:pt x="346" y="397"/>
                  </a:lnTo>
                  <a:lnTo>
                    <a:pt x="343" y="400"/>
                  </a:lnTo>
                  <a:lnTo>
                    <a:pt x="342" y="401"/>
                  </a:lnTo>
                  <a:lnTo>
                    <a:pt x="341" y="403"/>
                  </a:lnTo>
                  <a:lnTo>
                    <a:pt x="339" y="406"/>
                  </a:lnTo>
                  <a:lnTo>
                    <a:pt x="337" y="410"/>
                  </a:lnTo>
                  <a:lnTo>
                    <a:pt x="336" y="411"/>
                  </a:lnTo>
                  <a:lnTo>
                    <a:pt x="335" y="412"/>
                  </a:lnTo>
                  <a:lnTo>
                    <a:pt x="334" y="413"/>
                  </a:lnTo>
                  <a:lnTo>
                    <a:pt x="333" y="414"/>
                  </a:lnTo>
                  <a:lnTo>
                    <a:pt x="332" y="415"/>
                  </a:lnTo>
                  <a:lnTo>
                    <a:pt x="331" y="416"/>
                  </a:lnTo>
                  <a:lnTo>
                    <a:pt x="330" y="416"/>
                  </a:lnTo>
                  <a:lnTo>
                    <a:pt x="329" y="417"/>
                  </a:lnTo>
                  <a:lnTo>
                    <a:pt x="328" y="418"/>
                  </a:lnTo>
                  <a:lnTo>
                    <a:pt x="327" y="418"/>
                  </a:lnTo>
                  <a:lnTo>
                    <a:pt x="326" y="418"/>
                  </a:lnTo>
                  <a:lnTo>
                    <a:pt x="324" y="419"/>
                  </a:lnTo>
                  <a:lnTo>
                    <a:pt x="323" y="419"/>
                  </a:lnTo>
                  <a:lnTo>
                    <a:pt x="322" y="419"/>
                  </a:lnTo>
                  <a:lnTo>
                    <a:pt x="321" y="419"/>
                  </a:lnTo>
                  <a:lnTo>
                    <a:pt x="320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5" y="419"/>
                  </a:lnTo>
                  <a:lnTo>
                    <a:pt x="315" y="419"/>
                  </a:lnTo>
                  <a:lnTo>
                    <a:pt x="314" y="418"/>
                  </a:lnTo>
                  <a:lnTo>
                    <a:pt x="313" y="418"/>
                  </a:lnTo>
                  <a:lnTo>
                    <a:pt x="312" y="417"/>
                  </a:lnTo>
                  <a:lnTo>
                    <a:pt x="311" y="416"/>
                  </a:lnTo>
                  <a:lnTo>
                    <a:pt x="310" y="416"/>
                  </a:lnTo>
                  <a:lnTo>
                    <a:pt x="309" y="415"/>
                  </a:lnTo>
                  <a:lnTo>
                    <a:pt x="309" y="414"/>
                  </a:lnTo>
                  <a:lnTo>
                    <a:pt x="308" y="414"/>
                  </a:lnTo>
                  <a:lnTo>
                    <a:pt x="308" y="413"/>
                  </a:lnTo>
                  <a:lnTo>
                    <a:pt x="307" y="412"/>
                  </a:lnTo>
                  <a:lnTo>
                    <a:pt x="307" y="412"/>
                  </a:lnTo>
                  <a:lnTo>
                    <a:pt x="306" y="410"/>
                  </a:lnTo>
                  <a:lnTo>
                    <a:pt x="304" y="406"/>
                  </a:lnTo>
                  <a:lnTo>
                    <a:pt x="304" y="405"/>
                  </a:lnTo>
                  <a:lnTo>
                    <a:pt x="304" y="405"/>
                  </a:lnTo>
                  <a:lnTo>
                    <a:pt x="303" y="404"/>
                  </a:lnTo>
                  <a:lnTo>
                    <a:pt x="303" y="403"/>
                  </a:lnTo>
                  <a:lnTo>
                    <a:pt x="301" y="400"/>
                  </a:lnTo>
                  <a:lnTo>
                    <a:pt x="300" y="399"/>
                  </a:lnTo>
                  <a:lnTo>
                    <a:pt x="299" y="399"/>
                  </a:lnTo>
                  <a:lnTo>
                    <a:pt x="298" y="398"/>
                  </a:lnTo>
                  <a:lnTo>
                    <a:pt x="297" y="397"/>
                  </a:lnTo>
                  <a:lnTo>
                    <a:pt x="292" y="394"/>
                  </a:lnTo>
                  <a:lnTo>
                    <a:pt x="291" y="393"/>
                  </a:lnTo>
                  <a:lnTo>
                    <a:pt x="290" y="392"/>
                  </a:lnTo>
                  <a:lnTo>
                    <a:pt x="289" y="391"/>
                  </a:lnTo>
                  <a:lnTo>
                    <a:pt x="289" y="390"/>
                  </a:lnTo>
                  <a:lnTo>
                    <a:pt x="288" y="389"/>
                  </a:lnTo>
                  <a:lnTo>
                    <a:pt x="287" y="388"/>
                  </a:lnTo>
                  <a:lnTo>
                    <a:pt x="286" y="386"/>
                  </a:lnTo>
                  <a:lnTo>
                    <a:pt x="284" y="382"/>
                  </a:lnTo>
                  <a:lnTo>
                    <a:pt x="283" y="381"/>
                  </a:lnTo>
                  <a:lnTo>
                    <a:pt x="283" y="380"/>
                  </a:lnTo>
                  <a:lnTo>
                    <a:pt x="282" y="380"/>
                  </a:lnTo>
                  <a:lnTo>
                    <a:pt x="281" y="379"/>
                  </a:lnTo>
                  <a:lnTo>
                    <a:pt x="280" y="379"/>
                  </a:lnTo>
                  <a:lnTo>
                    <a:pt x="279" y="378"/>
                  </a:lnTo>
                  <a:lnTo>
                    <a:pt x="278" y="378"/>
                  </a:lnTo>
                  <a:lnTo>
                    <a:pt x="277" y="377"/>
                  </a:lnTo>
                  <a:lnTo>
                    <a:pt x="276" y="377"/>
                  </a:lnTo>
                  <a:lnTo>
                    <a:pt x="275" y="377"/>
                  </a:lnTo>
                  <a:lnTo>
                    <a:pt x="275" y="377"/>
                  </a:lnTo>
                  <a:lnTo>
                    <a:pt x="273" y="378"/>
                  </a:lnTo>
                  <a:lnTo>
                    <a:pt x="270" y="378"/>
                  </a:lnTo>
                  <a:lnTo>
                    <a:pt x="269" y="379"/>
                  </a:lnTo>
                  <a:lnTo>
                    <a:pt x="268" y="379"/>
                  </a:lnTo>
                  <a:lnTo>
                    <a:pt x="267" y="379"/>
                  </a:lnTo>
                  <a:lnTo>
                    <a:pt x="266" y="379"/>
                  </a:lnTo>
                  <a:lnTo>
                    <a:pt x="265" y="379"/>
                  </a:lnTo>
                  <a:lnTo>
                    <a:pt x="262" y="378"/>
                  </a:lnTo>
                  <a:lnTo>
                    <a:pt x="261" y="378"/>
                  </a:lnTo>
                  <a:lnTo>
                    <a:pt x="255" y="377"/>
                  </a:lnTo>
                  <a:lnTo>
                    <a:pt x="254" y="377"/>
                  </a:lnTo>
                  <a:lnTo>
                    <a:pt x="253" y="376"/>
                  </a:lnTo>
                  <a:lnTo>
                    <a:pt x="251" y="376"/>
                  </a:lnTo>
                  <a:lnTo>
                    <a:pt x="251" y="375"/>
                  </a:lnTo>
                  <a:lnTo>
                    <a:pt x="250" y="375"/>
                  </a:lnTo>
                  <a:lnTo>
                    <a:pt x="248" y="374"/>
                  </a:lnTo>
                  <a:lnTo>
                    <a:pt x="244" y="371"/>
                  </a:lnTo>
                  <a:lnTo>
                    <a:pt x="243" y="370"/>
                  </a:lnTo>
                  <a:lnTo>
                    <a:pt x="242" y="370"/>
                  </a:lnTo>
                  <a:lnTo>
                    <a:pt x="241" y="369"/>
                  </a:lnTo>
                  <a:lnTo>
                    <a:pt x="240" y="369"/>
                  </a:lnTo>
                  <a:lnTo>
                    <a:pt x="239" y="369"/>
                  </a:lnTo>
                  <a:lnTo>
                    <a:pt x="238" y="368"/>
                  </a:lnTo>
                  <a:lnTo>
                    <a:pt x="235" y="368"/>
                  </a:lnTo>
                  <a:lnTo>
                    <a:pt x="234" y="368"/>
                  </a:lnTo>
                  <a:lnTo>
                    <a:pt x="233" y="368"/>
                  </a:lnTo>
                  <a:lnTo>
                    <a:pt x="229" y="367"/>
                  </a:lnTo>
                  <a:lnTo>
                    <a:pt x="228" y="367"/>
                  </a:lnTo>
                  <a:lnTo>
                    <a:pt x="227" y="367"/>
                  </a:lnTo>
                  <a:lnTo>
                    <a:pt x="225" y="367"/>
                  </a:lnTo>
                  <a:lnTo>
                    <a:pt x="222" y="367"/>
                  </a:lnTo>
                  <a:lnTo>
                    <a:pt x="219" y="367"/>
                  </a:lnTo>
                  <a:lnTo>
                    <a:pt x="217" y="367"/>
                  </a:lnTo>
                  <a:lnTo>
                    <a:pt x="213" y="368"/>
                  </a:lnTo>
                  <a:lnTo>
                    <a:pt x="210" y="369"/>
                  </a:lnTo>
                  <a:lnTo>
                    <a:pt x="206" y="370"/>
                  </a:lnTo>
                  <a:lnTo>
                    <a:pt x="199" y="372"/>
                  </a:lnTo>
                  <a:lnTo>
                    <a:pt x="198" y="372"/>
                  </a:lnTo>
                  <a:lnTo>
                    <a:pt x="196" y="372"/>
                  </a:lnTo>
                  <a:lnTo>
                    <a:pt x="195" y="372"/>
                  </a:lnTo>
                  <a:lnTo>
                    <a:pt x="194" y="373"/>
                  </a:lnTo>
                  <a:lnTo>
                    <a:pt x="193" y="372"/>
                  </a:lnTo>
                  <a:lnTo>
                    <a:pt x="193" y="372"/>
                  </a:lnTo>
                  <a:lnTo>
                    <a:pt x="192" y="372"/>
                  </a:lnTo>
                  <a:lnTo>
                    <a:pt x="191" y="371"/>
                  </a:lnTo>
                  <a:lnTo>
                    <a:pt x="191" y="371"/>
                  </a:lnTo>
                  <a:lnTo>
                    <a:pt x="190" y="371"/>
                  </a:lnTo>
                  <a:lnTo>
                    <a:pt x="190" y="370"/>
                  </a:lnTo>
                  <a:lnTo>
                    <a:pt x="189" y="369"/>
                  </a:lnTo>
                  <a:lnTo>
                    <a:pt x="188" y="366"/>
                  </a:lnTo>
                  <a:lnTo>
                    <a:pt x="187" y="366"/>
                  </a:lnTo>
                  <a:lnTo>
                    <a:pt x="187" y="365"/>
                  </a:lnTo>
                  <a:lnTo>
                    <a:pt x="186" y="364"/>
                  </a:lnTo>
                  <a:lnTo>
                    <a:pt x="185" y="363"/>
                  </a:lnTo>
                  <a:lnTo>
                    <a:pt x="184" y="362"/>
                  </a:lnTo>
                  <a:lnTo>
                    <a:pt x="182" y="361"/>
                  </a:lnTo>
                  <a:lnTo>
                    <a:pt x="181" y="361"/>
                  </a:lnTo>
                  <a:lnTo>
                    <a:pt x="180" y="360"/>
                  </a:lnTo>
                  <a:lnTo>
                    <a:pt x="179" y="360"/>
                  </a:lnTo>
                  <a:lnTo>
                    <a:pt x="177" y="359"/>
                  </a:lnTo>
                  <a:lnTo>
                    <a:pt x="175" y="359"/>
                  </a:lnTo>
                  <a:lnTo>
                    <a:pt x="174" y="359"/>
                  </a:lnTo>
                  <a:lnTo>
                    <a:pt x="172" y="359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0" y="359"/>
                  </a:lnTo>
                  <a:lnTo>
                    <a:pt x="169" y="359"/>
                  </a:lnTo>
                  <a:lnTo>
                    <a:pt x="169" y="359"/>
                  </a:lnTo>
                  <a:lnTo>
                    <a:pt x="167" y="360"/>
                  </a:lnTo>
                  <a:lnTo>
                    <a:pt x="167" y="360"/>
                  </a:lnTo>
                  <a:lnTo>
                    <a:pt x="166" y="359"/>
                  </a:lnTo>
                  <a:lnTo>
                    <a:pt x="166" y="359"/>
                  </a:lnTo>
                  <a:lnTo>
                    <a:pt x="165" y="356"/>
                  </a:lnTo>
                  <a:lnTo>
                    <a:pt x="163" y="353"/>
                  </a:lnTo>
                  <a:lnTo>
                    <a:pt x="163" y="352"/>
                  </a:lnTo>
                  <a:lnTo>
                    <a:pt x="162" y="351"/>
                  </a:lnTo>
                  <a:lnTo>
                    <a:pt x="161" y="350"/>
                  </a:lnTo>
                  <a:lnTo>
                    <a:pt x="160" y="349"/>
                  </a:lnTo>
                  <a:lnTo>
                    <a:pt x="160" y="349"/>
                  </a:lnTo>
                  <a:lnTo>
                    <a:pt x="160" y="349"/>
                  </a:lnTo>
                  <a:lnTo>
                    <a:pt x="159" y="349"/>
                  </a:lnTo>
                  <a:lnTo>
                    <a:pt x="159" y="348"/>
                  </a:lnTo>
                  <a:lnTo>
                    <a:pt x="158" y="348"/>
                  </a:lnTo>
                  <a:lnTo>
                    <a:pt x="158" y="348"/>
                  </a:lnTo>
                  <a:lnTo>
                    <a:pt x="157" y="349"/>
                  </a:lnTo>
                  <a:lnTo>
                    <a:pt x="156" y="349"/>
                  </a:lnTo>
                  <a:lnTo>
                    <a:pt x="155" y="349"/>
                  </a:lnTo>
                  <a:lnTo>
                    <a:pt x="154" y="350"/>
                  </a:lnTo>
                  <a:lnTo>
                    <a:pt x="153" y="351"/>
                  </a:lnTo>
                  <a:lnTo>
                    <a:pt x="151" y="353"/>
                  </a:lnTo>
                  <a:lnTo>
                    <a:pt x="150" y="353"/>
                  </a:lnTo>
                  <a:lnTo>
                    <a:pt x="150" y="353"/>
                  </a:lnTo>
                  <a:lnTo>
                    <a:pt x="150" y="353"/>
                  </a:lnTo>
                  <a:lnTo>
                    <a:pt x="149" y="353"/>
                  </a:lnTo>
                  <a:lnTo>
                    <a:pt x="148" y="353"/>
                  </a:lnTo>
                  <a:lnTo>
                    <a:pt x="148" y="353"/>
                  </a:lnTo>
                  <a:lnTo>
                    <a:pt x="148" y="352"/>
                  </a:lnTo>
                  <a:lnTo>
                    <a:pt x="147" y="352"/>
                  </a:lnTo>
                  <a:lnTo>
                    <a:pt x="147" y="351"/>
                  </a:lnTo>
                  <a:lnTo>
                    <a:pt x="146" y="350"/>
                  </a:lnTo>
                  <a:lnTo>
                    <a:pt x="146" y="349"/>
                  </a:lnTo>
                  <a:lnTo>
                    <a:pt x="146" y="349"/>
                  </a:lnTo>
                  <a:lnTo>
                    <a:pt x="146" y="348"/>
                  </a:lnTo>
                  <a:lnTo>
                    <a:pt x="147" y="347"/>
                  </a:lnTo>
                  <a:lnTo>
                    <a:pt x="147" y="346"/>
                  </a:lnTo>
                  <a:lnTo>
                    <a:pt x="148" y="345"/>
                  </a:lnTo>
                  <a:lnTo>
                    <a:pt x="148" y="344"/>
                  </a:lnTo>
                  <a:lnTo>
                    <a:pt x="148" y="343"/>
                  </a:lnTo>
                  <a:lnTo>
                    <a:pt x="148" y="343"/>
                  </a:lnTo>
                  <a:lnTo>
                    <a:pt x="148" y="342"/>
                  </a:lnTo>
                  <a:lnTo>
                    <a:pt x="148" y="341"/>
                  </a:lnTo>
                  <a:lnTo>
                    <a:pt x="148" y="341"/>
                  </a:lnTo>
                  <a:lnTo>
                    <a:pt x="147" y="340"/>
                  </a:lnTo>
                  <a:lnTo>
                    <a:pt x="146" y="337"/>
                  </a:lnTo>
                  <a:lnTo>
                    <a:pt x="144" y="334"/>
                  </a:lnTo>
                  <a:lnTo>
                    <a:pt x="143" y="332"/>
                  </a:lnTo>
                  <a:lnTo>
                    <a:pt x="141" y="330"/>
                  </a:lnTo>
                  <a:lnTo>
                    <a:pt x="140" y="329"/>
                  </a:lnTo>
                  <a:lnTo>
                    <a:pt x="138" y="327"/>
                  </a:lnTo>
                  <a:lnTo>
                    <a:pt x="135" y="324"/>
                  </a:lnTo>
                  <a:lnTo>
                    <a:pt x="134" y="322"/>
                  </a:lnTo>
                  <a:lnTo>
                    <a:pt x="132" y="322"/>
                  </a:lnTo>
                  <a:lnTo>
                    <a:pt x="125" y="316"/>
                  </a:lnTo>
                  <a:lnTo>
                    <a:pt x="124" y="315"/>
                  </a:lnTo>
                  <a:lnTo>
                    <a:pt x="123" y="315"/>
                  </a:lnTo>
                  <a:lnTo>
                    <a:pt x="123" y="314"/>
                  </a:lnTo>
                  <a:lnTo>
                    <a:pt x="122" y="313"/>
                  </a:lnTo>
                  <a:lnTo>
                    <a:pt x="121" y="311"/>
                  </a:lnTo>
                  <a:lnTo>
                    <a:pt x="120" y="310"/>
                  </a:lnTo>
                  <a:lnTo>
                    <a:pt x="119" y="308"/>
                  </a:lnTo>
                  <a:lnTo>
                    <a:pt x="118" y="307"/>
                  </a:lnTo>
                  <a:lnTo>
                    <a:pt x="118" y="306"/>
                  </a:lnTo>
                  <a:lnTo>
                    <a:pt x="117" y="304"/>
                  </a:lnTo>
                  <a:lnTo>
                    <a:pt x="115" y="303"/>
                  </a:lnTo>
                  <a:lnTo>
                    <a:pt x="114" y="302"/>
                  </a:lnTo>
                  <a:lnTo>
                    <a:pt x="114" y="301"/>
                  </a:lnTo>
                  <a:lnTo>
                    <a:pt x="113" y="300"/>
                  </a:lnTo>
                  <a:lnTo>
                    <a:pt x="112" y="300"/>
                  </a:lnTo>
                  <a:lnTo>
                    <a:pt x="112" y="299"/>
                  </a:lnTo>
                  <a:lnTo>
                    <a:pt x="111" y="299"/>
                  </a:lnTo>
                  <a:lnTo>
                    <a:pt x="111" y="299"/>
                  </a:lnTo>
                  <a:lnTo>
                    <a:pt x="111" y="299"/>
                  </a:lnTo>
                  <a:lnTo>
                    <a:pt x="110" y="299"/>
                  </a:lnTo>
                  <a:lnTo>
                    <a:pt x="110" y="300"/>
                  </a:lnTo>
                  <a:lnTo>
                    <a:pt x="109" y="300"/>
                  </a:lnTo>
                  <a:lnTo>
                    <a:pt x="108" y="301"/>
                  </a:lnTo>
                  <a:lnTo>
                    <a:pt x="107" y="301"/>
                  </a:lnTo>
                  <a:lnTo>
                    <a:pt x="107" y="301"/>
                  </a:lnTo>
                  <a:lnTo>
                    <a:pt x="106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4" y="302"/>
                  </a:lnTo>
                  <a:lnTo>
                    <a:pt x="103" y="301"/>
                  </a:lnTo>
                  <a:lnTo>
                    <a:pt x="102" y="301"/>
                  </a:lnTo>
                  <a:lnTo>
                    <a:pt x="101" y="300"/>
                  </a:lnTo>
                  <a:lnTo>
                    <a:pt x="100" y="299"/>
                  </a:lnTo>
                  <a:lnTo>
                    <a:pt x="99" y="299"/>
                  </a:lnTo>
                  <a:lnTo>
                    <a:pt x="98" y="298"/>
                  </a:lnTo>
                  <a:lnTo>
                    <a:pt x="97" y="297"/>
                  </a:lnTo>
                  <a:lnTo>
                    <a:pt x="97" y="297"/>
                  </a:lnTo>
                  <a:lnTo>
                    <a:pt x="96" y="296"/>
                  </a:lnTo>
                  <a:lnTo>
                    <a:pt x="96" y="295"/>
                  </a:lnTo>
                  <a:lnTo>
                    <a:pt x="95" y="294"/>
                  </a:lnTo>
                  <a:lnTo>
                    <a:pt x="95" y="293"/>
                  </a:lnTo>
                  <a:lnTo>
                    <a:pt x="95" y="291"/>
                  </a:lnTo>
                  <a:lnTo>
                    <a:pt x="94" y="289"/>
                  </a:lnTo>
                  <a:lnTo>
                    <a:pt x="94" y="288"/>
                  </a:lnTo>
                  <a:lnTo>
                    <a:pt x="94" y="286"/>
                  </a:lnTo>
                  <a:lnTo>
                    <a:pt x="94" y="285"/>
                  </a:lnTo>
                  <a:lnTo>
                    <a:pt x="94" y="284"/>
                  </a:lnTo>
                  <a:lnTo>
                    <a:pt x="94" y="283"/>
                  </a:lnTo>
                  <a:lnTo>
                    <a:pt x="94" y="282"/>
                  </a:lnTo>
                  <a:lnTo>
                    <a:pt x="95" y="280"/>
                  </a:lnTo>
                  <a:lnTo>
                    <a:pt x="96" y="276"/>
                  </a:lnTo>
                  <a:lnTo>
                    <a:pt x="96" y="275"/>
                  </a:lnTo>
                  <a:lnTo>
                    <a:pt x="96" y="274"/>
                  </a:lnTo>
                  <a:lnTo>
                    <a:pt x="96" y="273"/>
                  </a:lnTo>
                  <a:lnTo>
                    <a:pt x="96" y="272"/>
                  </a:lnTo>
                  <a:lnTo>
                    <a:pt x="96" y="271"/>
                  </a:lnTo>
                  <a:lnTo>
                    <a:pt x="96" y="269"/>
                  </a:lnTo>
                  <a:lnTo>
                    <a:pt x="96" y="268"/>
                  </a:lnTo>
                  <a:lnTo>
                    <a:pt x="95" y="266"/>
                  </a:lnTo>
                  <a:lnTo>
                    <a:pt x="95" y="265"/>
                  </a:lnTo>
                  <a:lnTo>
                    <a:pt x="94" y="264"/>
                  </a:lnTo>
                  <a:lnTo>
                    <a:pt x="94" y="263"/>
                  </a:lnTo>
                  <a:lnTo>
                    <a:pt x="93" y="262"/>
                  </a:lnTo>
                  <a:lnTo>
                    <a:pt x="93" y="261"/>
                  </a:lnTo>
                  <a:lnTo>
                    <a:pt x="92" y="260"/>
                  </a:lnTo>
                  <a:lnTo>
                    <a:pt x="92" y="260"/>
                  </a:lnTo>
                  <a:lnTo>
                    <a:pt x="91" y="259"/>
                  </a:lnTo>
                  <a:lnTo>
                    <a:pt x="91" y="259"/>
                  </a:lnTo>
                  <a:lnTo>
                    <a:pt x="90" y="259"/>
                  </a:lnTo>
                  <a:lnTo>
                    <a:pt x="90" y="259"/>
                  </a:lnTo>
                  <a:lnTo>
                    <a:pt x="89" y="259"/>
                  </a:lnTo>
                  <a:lnTo>
                    <a:pt x="88" y="259"/>
                  </a:lnTo>
                  <a:lnTo>
                    <a:pt x="88" y="259"/>
                  </a:lnTo>
                  <a:lnTo>
                    <a:pt x="85" y="260"/>
                  </a:lnTo>
                  <a:lnTo>
                    <a:pt x="84" y="260"/>
                  </a:lnTo>
                  <a:lnTo>
                    <a:pt x="79" y="262"/>
                  </a:lnTo>
                  <a:lnTo>
                    <a:pt x="78" y="262"/>
                  </a:lnTo>
                  <a:lnTo>
                    <a:pt x="76" y="263"/>
                  </a:lnTo>
                  <a:lnTo>
                    <a:pt x="74" y="264"/>
                  </a:lnTo>
                  <a:lnTo>
                    <a:pt x="72" y="265"/>
                  </a:lnTo>
                  <a:lnTo>
                    <a:pt x="71" y="265"/>
                  </a:lnTo>
                  <a:lnTo>
                    <a:pt x="70" y="265"/>
                  </a:lnTo>
                  <a:lnTo>
                    <a:pt x="70" y="265"/>
                  </a:lnTo>
                  <a:lnTo>
                    <a:pt x="69" y="265"/>
                  </a:lnTo>
                  <a:lnTo>
                    <a:pt x="68" y="265"/>
                  </a:lnTo>
                  <a:lnTo>
                    <a:pt x="65" y="264"/>
                  </a:lnTo>
                  <a:lnTo>
                    <a:pt x="64" y="264"/>
                  </a:lnTo>
                  <a:lnTo>
                    <a:pt x="63" y="264"/>
                  </a:lnTo>
                  <a:lnTo>
                    <a:pt x="61" y="263"/>
                  </a:lnTo>
                  <a:lnTo>
                    <a:pt x="57" y="261"/>
                  </a:lnTo>
                  <a:lnTo>
                    <a:pt x="56" y="261"/>
                  </a:lnTo>
                  <a:lnTo>
                    <a:pt x="55" y="260"/>
                  </a:lnTo>
                  <a:lnTo>
                    <a:pt x="54" y="259"/>
                  </a:lnTo>
                  <a:lnTo>
                    <a:pt x="53" y="258"/>
                  </a:lnTo>
                  <a:lnTo>
                    <a:pt x="52" y="257"/>
                  </a:lnTo>
                  <a:lnTo>
                    <a:pt x="51" y="257"/>
                  </a:lnTo>
                  <a:lnTo>
                    <a:pt x="50" y="256"/>
                  </a:lnTo>
                  <a:lnTo>
                    <a:pt x="48" y="255"/>
                  </a:lnTo>
                  <a:lnTo>
                    <a:pt x="47" y="255"/>
                  </a:lnTo>
                  <a:lnTo>
                    <a:pt x="46" y="254"/>
                  </a:lnTo>
                  <a:lnTo>
                    <a:pt x="46" y="254"/>
                  </a:lnTo>
                  <a:lnTo>
                    <a:pt x="45" y="253"/>
                  </a:lnTo>
                  <a:lnTo>
                    <a:pt x="44" y="252"/>
                  </a:lnTo>
                  <a:lnTo>
                    <a:pt x="44" y="251"/>
                  </a:lnTo>
                  <a:lnTo>
                    <a:pt x="43" y="249"/>
                  </a:lnTo>
                  <a:lnTo>
                    <a:pt x="42" y="248"/>
                  </a:lnTo>
                  <a:lnTo>
                    <a:pt x="41" y="247"/>
                  </a:lnTo>
                  <a:lnTo>
                    <a:pt x="38" y="244"/>
                  </a:lnTo>
                  <a:lnTo>
                    <a:pt x="38" y="244"/>
                  </a:lnTo>
                  <a:lnTo>
                    <a:pt x="38" y="243"/>
                  </a:lnTo>
                  <a:lnTo>
                    <a:pt x="37" y="242"/>
                  </a:lnTo>
                  <a:lnTo>
                    <a:pt x="37" y="241"/>
                  </a:lnTo>
                  <a:lnTo>
                    <a:pt x="37" y="240"/>
                  </a:lnTo>
                  <a:lnTo>
                    <a:pt x="37" y="238"/>
                  </a:lnTo>
                  <a:lnTo>
                    <a:pt x="37" y="238"/>
                  </a:lnTo>
                  <a:lnTo>
                    <a:pt x="36" y="237"/>
                  </a:lnTo>
                  <a:lnTo>
                    <a:pt x="36" y="236"/>
                  </a:lnTo>
                  <a:lnTo>
                    <a:pt x="36" y="236"/>
                  </a:lnTo>
                  <a:lnTo>
                    <a:pt x="35" y="235"/>
                  </a:lnTo>
                  <a:lnTo>
                    <a:pt x="35" y="234"/>
                  </a:lnTo>
                  <a:lnTo>
                    <a:pt x="33" y="232"/>
                  </a:lnTo>
                  <a:lnTo>
                    <a:pt x="33" y="231"/>
                  </a:lnTo>
                  <a:lnTo>
                    <a:pt x="32" y="229"/>
                  </a:lnTo>
                  <a:lnTo>
                    <a:pt x="32" y="228"/>
                  </a:lnTo>
                  <a:lnTo>
                    <a:pt x="32" y="226"/>
                  </a:lnTo>
                  <a:lnTo>
                    <a:pt x="32" y="226"/>
                  </a:lnTo>
                  <a:lnTo>
                    <a:pt x="32" y="224"/>
                  </a:lnTo>
                  <a:lnTo>
                    <a:pt x="32" y="222"/>
                  </a:lnTo>
                  <a:lnTo>
                    <a:pt x="31" y="221"/>
                  </a:lnTo>
                  <a:lnTo>
                    <a:pt x="31" y="220"/>
                  </a:lnTo>
                  <a:lnTo>
                    <a:pt x="30" y="218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6" y="211"/>
                  </a:lnTo>
                  <a:lnTo>
                    <a:pt x="26" y="211"/>
                  </a:lnTo>
                  <a:lnTo>
                    <a:pt x="25" y="211"/>
                  </a:lnTo>
                  <a:lnTo>
                    <a:pt x="24" y="211"/>
                  </a:lnTo>
                  <a:lnTo>
                    <a:pt x="23" y="211"/>
                  </a:lnTo>
                  <a:lnTo>
                    <a:pt x="23" y="211"/>
                  </a:lnTo>
                  <a:lnTo>
                    <a:pt x="22" y="211"/>
                  </a:lnTo>
                  <a:lnTo>
                    <a:pt x="22" y="212"/>
                  </a:lnTo>
                  <a:lnTo>
                    <a:pt x="21" y="213"/>
                  </a:lnTo>
                  <a:lnTo>
                    <a:pt x="21" y="213"/>
                  </a:lnTo>
                  <a:lnTo>
                    <a:pt x="21" y="214"/>
                  </a:lnTo>
                  <a:lnTo>
                    <a:pt x="22" y="215"/>
                  </a:lnTo>
                  <a:lnTo>
                    <a:pt x="23" y="222"/>
                  </a:lnTo>
                  <a:lnTo>
                    <a:pt x="24" y="223"/>
                  </a:lnTo>
                  <a:lnTo>
                    <a:pt x="24" y="224"/>
                  </a:lnTo>
                  <a:lnTo>
                    <a:pt x="24" y="225"/>
                  </a:lnTo>
                  <a:lnTo>
                    <a:pt x="24" y="226"/>
                  </a:lnTo>
                  <a:lnTo>
                    <a:pt x="23" y="226"/>
                  </a:lnTo>
                  <a:lnTo>
                    <a:pt x="23" y="227"/>
                  </a:lnTo>
                  <a:lnTo>
                    <a:pt x="23" y="227"/>
                  </a:lnTo>
                  <a:lnTo>
                    <a:pt x="22" y="228"/>
                  </a:lnTo>
                  <a:lnTo>
                    <a:pt x="21" y="229"/>
                  </a:lnTo>
                  <a:lnTo>
                    <a:pt x="21" y="230"/>
                  </a:lnTo>
                  <a:lnTo>
                    <a:pt x="20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8" y="230"/>
                  </a:lnTo>
                  <a:lnTo>
                    <a:pt x="17" y="230"/>
                  </a:lnTo>
                  <a:lnTo>
                    <a:pt x="17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5" y="230"/>
                  </a:lnTo>
                  <a:lnTo>
                    <a:pt x="14" y="231"/>
                  </a:lnTo>
                  <a:lnTo>
                    <a:pt x="14" y="231"/>
                  </a:lnTo>
                  <a:lnTo>
                    <a:pt x="12" y="232"/>
                  </a:lnTo>
                  <a:lnTo>
                    <a:pt x="12" y="232"/>
                  </a:lnTo>
                  <a:lnTo>
                    <a:pt x="11" y="233"/>
                  </a:lnTo>
                  <a:lnTo>
                    <a:pt x="11" y="233"/>
                  </a:lnTo>
                  <a:lnTo>
                    <a:pt x="10" y="234"/>
                  </a:lnTo>
                  <a:lnTo>
                    <a:pt x="10" y="235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7"/>
                  </a:lnTo>
                  <a:lnTo>
                    <a:pt x="8" y="238"/>
                  </a:lnTo>
                  <a:lnTo>
                    <a:pt x="6" y="240"/>
                  </a:lnTo>
                  <a:lnTo>
                    <a:pt x="6" y="240"/>
                  </a:lnTo>
                  <a:lnTo>
                    <a:pt x="5" y="241"/>
                  </a:lnTo>
                  <a:lnTo>
                    <a:pt x="4" y="243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2" y="244"/>
                  </a:lnTo>
                  <a:lnTo>
                    <a:pt x="2" y="244"/>
                  </a:lnTo>
                  <a:lnTo>
                    <a:pt x="1" y="244"/>
                  </a:lnTo>
                  <a:lnTo>
                    <a:pt x="1" y="244"/>
                  </a:lnTo>
                  <a:lnTo>
                    <a:pt x="0" y="244"/>
                  </a:lnTo>
                  <a:lnTo>
                    <a:pt x="0" y="244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Freeform 75">
              <a:extLst>
                <a:ext uri="{FF2B5EF4-FFF2-40B4-BE49-F238E27FC236}">
                  <a16:creationId xmlns:a16="http://schemas.microsoft.com/office/drawing/2014/main" id="{76245EC0-7445-3A62-8ECC-7AE9571CB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192"/>
              <a:ext cx="156" cy="244"/>
            </a:xfrm>
            <a:custGeom>
              <a:avLst/>
              <a:gdLst>
                <a:gd name="T0" fmla="*/ 65 w 156"/>
                <a:gd name="T1" fmla="*/ 239 h 244"/>
                <a:gd name="T2" fmla="*/ 64 w 156"/>
                <a:gd name="T3" fmla="*/ 235 h 244"/>
                <a:gd name="T4" fmla="*/ 66 w 156"/>
                <a:gd name="T5" fmla="*/ 223 h 244"/>
                <a:gd name="T6" fmla="*/ 65 w 156"/>
                <a:gd name="T7" fmla="*/ 220 h 244"/>
                <a:gd name="T8" fmla="*/ 61 w 156"/>
                <a:gd name="T9" fmla="*/ 217 h 244"/>
                <a:gd name="T10" fmla="*/ 56 w 156"/>
                <a:gd name="T11" fmla="*/ 217 h 244"/>
                <a:gd name="T12" fmla="*/ 50 w 156"/>
                <a:gd name="T13" fmla="*/ 220 h 244"/>
                <a:gd name="T14" fmla="*/ 44 w 156"/>
                <a:gd name="T15" fmla="*/ 223 h 244"/>
                <a:gd name="T16" fmla="*/ 35 w 156"/>
                <a:gd name="T17" fmla="*/ 231 h 244"/>
                <a:gd name="T18" fmla="*/ 32 w 156"/>
                <a:gd name="T19" fmla="*/ 234 h 244"/>
                <a:gd name="T20" fmla="*/ 22 w 156"/>
                <a:gd name="T21" fmla="*/ 235 h 244"/>
                <a:gd name="T22" fmla="*/ 20 w 156"/>
                <a:gd name="T23" fmla="*/ 234 h 244"/>
                <a:gd name="T24" fmla="*/ 19 w 156"/>
                <a:gd name="T25" fmla="*/ 230 h 244"/>
                <a:gd name="T26" fmla="*/ 20 w 156"/>
                <a:gd name="T27" fmla="*/ 222 h 244"/>
                <a:gd name="T28" fmla="*/ 19 w 156"/>
                <a:gd name="T29" fmla="*/ 221 h 244"/>
                <a:gd name="T30" fmla="*/ 13 w 156"/>
                <a:gd name="T31" fmla="*/ 222 h 244"/>
                <a:gd name="T32" fmla="*/ 9 w 156"/>
                <a:gd name="T33" fmla="*/ 222 h 244"/>
                <a:gd name="T34" fmla="*/ 5 w 156"/>
                <a:gd name="T35" fmla="*/ 217 h 244"/>
                <a:gd name="T36" fmla="*/ 0 w 156"/>
                <a:gd name="T37" fmla="*/ 211 h 244"/>
                <a:gd name="T38" fmla="*/ 0 w 156"/>
                <a:gd name="T39" fmla="*/ 208 h 244"/>
                <a:gd name="T40" fmla="*/ 2 w 156"/>
                <a:gd name="T41" fmla="*/ 201 h 244"/>
                <a:gd name="T42" fmla="*/ 4 w 156"/>
                <a:gd name="T43" fmla="*/ 195 h 244"/>
                <a:gd name="T44" fmla="*/ 4 w 156"/>
                <a:gd name="T45" fmla="*/ 190 h 244"/>
                <a:gd name="T46" fmla="*/ 10 w 156"/>
                <a:gd name="T47" fmla="*/ 182 h 244"/>
                <a:gd name="T48" fmla="*/ 12 w 156"/>
                <a:gd name="T49" fmla="*/ 177 h 244"/>
                <a:gd name="T50" fmla="*/ 11 w 156"/>
                <a:gd name="T51" fmla="*/ 174 h 244"/>
                <a:gd name="T52" fmla="*/ 9 w 156"/>
                <a:gd name="T53" fmla="*/ 170 h 244"/>
                <a:gd name="T54" fmla="*/ 3 w 156"/>
                <a:gd name="T55" fmla="*/ 162 h 244"/>
                <a:gd name="T56" fmla="*/ 2 w 156"/>
                <a:gd name="T57" fmla="*/ 160 h 244"/>
                <a:gd name="T58" fmla="*/ 4 w 156"/>
                <a:gd name="T59" fmla="*/ 149 h 244"/>
                <a:gd name="T60" fmla="*/ 8 w 156"/>
                <a:gd name="T61" fmla="*/ 142 h 244"/>
                <a:gd name="T62" fmla="*/ 17 w 156"/>
                <a:gd name="T63" fmla="*/ 130 h 244"/>
                <a:gd name="T64" fmla="*/ 19 w 156"/>
                <a:gd name="T65" fmla="*/ 124 h 244"/>
                <a:gd name="T66" fmla="*/ 20 w 156"/>
                <a:gd name="T67" fmla="*/ 114 h 244"/>
                <a:gd name="T68" fmla="*/ 20 w 156"/>
                <a:gd name="T69" fmla="*/ 104 h 244"/>
                <a:gd name="T70" fmla="*/ 23 w 156"/>
                <a:gd name="T71" fmla="*/ 96 h 244"/>
                <a:gd name="T72" fmla="*/ 24 w 156"/>
                <a:gd name="T73" fmla="*/ 88 h 244"/>
                <a:gd name="T74" fmla="*/ 34 w 156"/>
                <a:gd name="T75" fmla="*/ 76 h 244"/>
                <a:gd name="T76" fmla="*/ 40 w 156"/>
                <a:gd name="T77" fmla="*/ 71 h 244"/>
                <a:gd name="T78" fmla="*/ 46 w 156"/>
                <a:gd name="T79" fmla="*/ 66 h 244"/>
                <a:gd name="T80" fmla="*/ 52 w 156"/>
                <a:gd name="T81" fmla="*/ 63 h 244"/>
                <a:gd name="T82" fmla="*/ 60 w 156"/>
                <a:gd name="T83" fmla="*/ 54 h 244"/>
                <a:gd name="T84" fmla="*/ 64 w 156"/>
                <a:gd name="T85" fmla="*/ 52 h 244"/>
                <a:gd name="T86" fmla="*/ 70 w 156"/>
                <a:gd name="T87" fmla="*/ 53 h 244"/>
                <a:gd name="T88" fmla="*/ 74 w 156"/>
                <a:gd name="T89" fmla="*/ 52 h 244"/>
                <a:gd name="T90" fmla="*/ 76 w 156"/>
                <a:gd name="T91" fmla="*/ 48 h 244"/>
                <a:gd name="T92" fmla="*/ 77 w 156"/>
                <a:gd name="T93" fmla="*/ 34 h 244"/>
                <a:gd name="T94" fmla="*/ 79 w 156"/>
                <a:gd name="T95" fmla="*/ 33 h 244"/>
                <a:gd name="T96" fmla="*/ 86 w 156"/>
                <a:gd name="T97" fmla="*/ 28 h 244"/>
                <a:gd name="T98" fmla="*/ 96 w 156"/>
                <a:gd name="T99" fmla="*/ 24 h 244"/>
                <a:gd name="T100" fmla="*/ 104 w 156"/>
                <a:gd name="T101" fmla="*/ 24 h 244"/>
                <a:gd name="T102" fmla="*/ 116 w 156"/>
                <a:gd name="T103" fmla="*/ 24 h 244"/>
                <a:gd name="T104" fmla="*/ 124 w 156"/>
                <a:gd name="T105" fmla="*/ 22 h 244"/>
                <a:gd name="T106" fmla="*/ 129 w 156"/>
                <a:gd name="T107" fmla="*/ 24 h 244"/>
                <a:gd name="T108" fmla="*/ 136 w 156"/>
                <a:gd name="T109" fmla="*/ 23 h 244"/>
                <a:gd name="T110" fmla="*/ 144 w 156"/>
                <a:gd name="T111" fmla="*/ 18 h 244"/>
                <a:gd name="T112" fmla="*/ 150 w 156"/>
                <a:gd name="T113" fmla="*/ 11 h 244"/>
                <a:gd name="T114" fmla="*/ 153 w 156"/>
                <a:gd name="T115" fmla="*/ 2 h 244"/>
                <a:gd name="T116" fmla="*/ 155 w 156"/>
                <a:gd name="T117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6" h="244">
                  <a:moveTo>
                    <a:pt x="68" y="244"/>
                  </a:moveTo>
                  <a:lnTo>
                    <a:pt x="67" y="243"/>
                  </a:lnTo>
                  <a:lnTo>
                    <a:pt x="66" y="242"/>
                  </a:lnTo>
                  <a:lnTo>
                    <a:pt x="65" y="241"/>
                  </a:lnTo>
                  <a:lnTo>
                    <a:pt x="65" y="239"/>
                  </a:lnTo>
                  <a:lnTo>
                    <a:pt x="64" y="238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2"/>
                  </a:lnTo>
                  <a:lnTo>
                    <a:pt x="65" y="228"/>
                  </a:lnTo>
                  <a:lnTo>
                    <a:pt x="66" y="226"/>
                  </a:lnTo>
                  <a:lnTo>
                    <a:pt x="66" y="224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2"/>
                  </a:lnTo>
                  <a:lnTo>
                    <a:pt x="66" y="221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8" y="217"/>
                  </a:lnTo>
                  <a:lnTo>
                    <a:pt x="56" y="217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3" y="218"/>
                  </a:lnTo>
                  <a:lnTo>
                    <a:pt x="51" y="219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8" y="220"/>
                  </a:lnTo>
                  <a:lnTo>
                    <a:pt x="47" y="221"/>
                  </a:lnTo>
                  <a:lnTo>
                    <a:pt x="45" y="222"/>
                  </a:lnTo>
                  <a:lnTo>
                    <a:pt x="44" y="223"/>
                  </a:lnTo>
                  <a:lnTo>
                    <a:pt x="41" y="226"/>
                  </a:lnTo>
                  <a:lnTo>
                    <a:pt x="38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5" y="231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3" y="234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1" y="235"/>
                  </a:lnTo>
                  <a:lnTo>
                    <a:pt x="30" y="235"/>
                  </a:lnTo>
                  <a:lnTo>
                    <a:pt x="27" y="235"/>
                  </a:lnTo>
                  <a:lnTo>
                    <a:pt x="23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1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19" y="232"/>
                  </a:lnTo>
                  <a:lnTo>
                    <a:pt x="19" y="231"/>
                  </a:lnTo>
                  <a:lnTo>
                    <a:pt x="19" y="230"/>
                  </a:lnTo>
                  <a:lnTo>
                    <a:pt x="19" y="229"/>
                  </a:lnTo>
                  <a:lnTo>
                    <a:pt x="20" y="226"/>
                  </a:lnTo>
                  <a:lnTo>
                    <a:pt x="20" y="224"/>
                  </a:lnTo>
                  <a:lnTo>
                    <a:pt x="20" y="223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0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6" y="222"/>
                  </a:lnTo>
                  <a:lnTo>
                    <a:pt x="15" y="222"/>
                  </a:lnTo>
                  <a:lnTo>
                    <a:pt x="13" y="222"/>
                  </a:lnTo>
                  <a:lnTo>
                    <a:pt x="12" y="223"/>
                  </a:lnTo>
                  <a:lnTo>
                    <a:pt x="11" y="223"/>
                  </a:lnTo>
                  <a:lnTo>
                    <a:pt x="10" y="223"/>
                  </a:lnTo>
                  <a:lnTo>
                    <a:pt x="10" y="222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8" y="221"/>
                  </a:lnTo>
                  <a:lnTo>
                    <a:pt x="7" y="220"/>
                  </a:lnTo>
                  <a:lnTo>
                    <a:pt x="6" y="220"/>
                  </a:lnTo>
                  <a:lnTo>
                    <a:pt x="5" y="217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0" y="206"/>
                  </a:lnTo>
                  <a:lnTo>
                    <a:pt x="0" y="205"/>
                  </a:lnTo>
                  <a:lnTo>
                    <a:pt x="1" y="204"/>
                  </a:lnTo>
                  <a:lnTo>
                    <a:pt x="2" y="201"/>
                  </a:lnTo>
                  <a:lnTo>
                    <a:pt x="3" y="199"/>
                  </a:lnTo>
                  <a:lnTo>
                    <a:pt x="3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4" y="193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6" y="188"/>
                  </a:lnTo>
                  <a:lnTo>
                    <a:pt x="7" y="186"/>
                  </a:lnTo>
                  <a:lnTo>
                    <a:pt x="9" y="183"/>
                  </a:lnTo>
                  <a:lnTo>
                    <a:pt x="10" y="182"/>
                  </a:lnTo>
                  <a:lnTo>
                    <a:pt x="10" y="181"/>
                  </a:lnTo>
                  <a:lnTo>
                    <a:pt x="11" y="180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7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5"/>
                  </a:lnTo>
                  <a:lnTo>
                    <a:pt x="12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0" y="172"/>
                  </a:lnTo>
                  <a:lnTo>
                    <a:pt x="10" y="171"/>
                  </a:lnTo>
                  <a:lnTo>
                    <a:pt x="9" y="170"/>
                  </a:lnTo>
                  <a:lnTo>
                    <a:pt x="5" y="166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3" y="156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7"/>
                  </a:lnTo>
                  <a:lnTo>
                    <a:pt x="6" y="145"/>
                  </a:lnTo>
                  <a:lnTo>
                    <a:pt x="7" y="143"/>
                  </a:lnTo>
                  <a:lnTo>
                    <a:pt x="8" y="142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18" y="129"/>
                  </a:lnTo>
                  <a:lnTo>
                    <a:pt x="18" y="128"/>
                  </a:lnTo>
                  <a:lnTo>
                    <a:pt x="19" y="127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20" y="123"/>
                  </a:lnTo>
                  <a:lnTo>
                    <a:pt x="20" y="122"/>
                  </a:lnTo>
                  <a:lnTo>
                    <a:pt x="20" y="120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9" y="106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3"/>
                  </a:lnTo>
                  <a:lnTo>
                    <a:pt x="22" y="99"/>
                  </a:lnTo>
                  <a:lnTo>
                    <a:pt x="23" y="98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7" y="84"/>
                  </a:lnTo>
                  <a:lnTo>
                    <a:pt x="32" y="78"/>
                  </a:lnTo>
                  <a:lnTo>
                    <a:pt x="34" y="76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8" y="72"/>
                  </a:lnTo>
                  <a:lnTo>
                    <a:pt x="39" y="71"/>
                  </a:lnTo>
                  <a:lnTo>
                    <a:pt x="40" y="71"/>
                  </a:lnTo>
                  <a:lnTo>
                    <a:pt x="42" y="68"/>
                  </a:lnTo>
                  <a:lnTo>
                    <a:pt x="43" y="68"/>
                  </a:lnTo>
                  <a:lnTo>
                    <a:pt x="44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8" y="57"/>
                  </a:lnTo>
                  <a:lnTo>
                    <a:pt x="59" y="55"/>
                  </a:lnTo>
                  <a:lnTo>
                    <a:pt x="60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49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5"/>
                  </a:lnTo>
                  <a:lnTo>
                    <a:pt x="77" y="42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8" y="27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7" y="23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8" y="24"/>
                  </a:lnTo>
                  <a:lnTo>
                    <a:pt x="129" y="24"/>
                  </a:lnTo>
                  <a:lnTo>
                    <a:pt x="131" y="24"/>
                  </a:lnTo>
                  <a:lnTo>
                    <a:pt x="132" y="24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6" y="23"/>
                  </a:lnTo>
                  <a:lnTo>
                    <a:pt x="137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2" y="19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9" y="12"/>
                  </a:lnTo>
                  <a:lnTo>
                    <a:pt x="150" y="11"/>
                  </a:lnTo>
                  <a:lnTo>
                    <a:pt x="151" y="10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7"/>
                  </a:lnTo>
                  <a:lnTo>
                    <a:pt x="153" y="2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6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Rectangle 76">
              <a:extLst>
                <a:ext uri="{FF2B5EF4-FFF2-40B4-BE49-F238E27FC236}">
                  <a16:creationId xmlns:a16="http://schemas.microsoft.com/office/drawing/2014/main" id="{D5567E8A-799B-7A08-6CCF-A2AC2C57DF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0" y="3398"/>
              <a:ext cx="121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C</a:t>
              </a:r>
            </a:p>
          </p:txBody>
        </p:sp>
        <p:sp>
          <p:nvSpPr>
            <p:cNvPr id="217" name="Rectangle 77">
              <a:extLst>
                <a:ext uri="{FF2B5EF4-FFF2-40B4-BE49-F238E27FC236}">
                  <a16:creationId xmlns:a16="http://schemas.microsoft.com/office/drawing/2014/main" id="{2213AFC1-6F01-3761-6ACD-2267F49DCB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7" y="3742"/>
              <a:ext cx="119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HC</a:t>
              </a:r>
            </a:p>
          </p:txBody>
        </p:sp>
        <p:sp>
          <p:nvSpPr>
            <p:cNvPr id="218" name="Rectangle 78">
              <a:extLst>
                <a:ext uri="{FF2B5EF4-FFF2-40B4-BE49-F238E27FC236}">
                  <a16:creationId xmlns:a16="http://schemas.microsoft.com/office/drawing/2014/main" id="{8EDDCE95-8806-9543-3452-49E17AD102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8" y="3503"/>
              <a:ext cx="122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LK</a:t>
              </a:r>
            </a:p>
          </p:txBody>
        </p:sp>
        <p:sp>
          <p:nvSpPr>
            <p:cNvPr id="219" name="Rectangle 79">
              <a:extLst>
                <a:ext uri="{FF2B5EF4-FFF2-40B4-BE49-F238E27FC236}">
                  <a16:creationId xmlns:a16="http://schemas.microsoft.com/office/drawing/2014/main" id="{190C9B19-2F82-CE0F-27BE-7C65F4ADC1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77" y="3735"/>
              <a:ext cx="141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MK</a:t>
              </a:r>
            </a:p>
          </p:txBody>
        </p:sp>
        <p:sp>
          <p:nvSpPr>
            <p:cNvPr id="220" name="Rectangle 80">
              <a:extLst>
                <a:ext uri="{FF2B5EF4-FFF2-40B4-BE49-F238E27FC236}">
                  <a16:creationId xmlns:a16="http://schemas.microsoft.com/office/drawing/2014/main" id="{B08BDB2B-76B3-9B8D-BDC2-3DE809E860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2" y="3571"/>
              <a:ext cx="128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YS</a:t>
              </a:r>
            </a:p>
          </p:txBody>
        </p:sp>
        <p:sp>
          <p:nvSpPr>
            <p:cNvPr id="221" name="Rectangle 81">
              <a:extLst>
                <a:ext uri="{FF2B5EF4-FFF2-40B4-BE49-F238E27FC236}">
                  <a16:creationId xmlns:a16="http://schemas.microsoft.com/office/drawing/2014/main" id="{240C0D35-B7C7-6865-75BE-89E310D39A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2" y="3675"/>
              <a:ext cx="117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ZLK</a:t>
              </a:r>
            </a:p>
          </p:txBody>
        </p:sp>
        <p:sp>
          <p:nvSpPr>
            <p:cNvPr id="222" name="Rectangle 82">
              <a:extLst>
                <a:ext uri="{FF2B5EF4-FFF2-40B4-BE49-F238E27FC236}">
                  <a16:creationId xmlns:a16="http://schemas.microsoft.com/office/drawing/2014/main" id="{8DCB7E69-8FF6-DCA8-CFFD-E14B9ABD33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7" y="3080"/>
              <a:ext cx="131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LK</a:t>
              </a:r>
            </a:p>
          </p:txBody>
        </p:sp>
        <p:sp>
          <p:nvSpPr>
            <p:cNvPr id="223" name="Rectangle 83">
              <a:extLst>
                <a:ext uri="{FF2B5EF4-FFF2-40B4-BE49-F238E27FC236}">
                  <a16:creationId xmlns:a16="http://schemas.microsoft.com/office/drawing/2014/main" id="{B44082BE-5CF2-B510-F7E5-822332E419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9" y="3411"/>
              <a:ext cx="153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SK</a:t>
              </a:r>
            </a:p>
          </p:txBody>
        </p:sp>
        <p:sp>
          <p:nvSpPr>
            <p:cNvPr id="224" name="Rectangle 84">
              <a:extLst>
                <a:ext uri="{FF2B5EF4-FFF2-40B4-BE49-F238E27FC236}">
                  <a16:creationId xmlns:a16="http://schemas.microsoft.com/office/drawing/2014/main" id="{8C76C3A0-2531-0D1F-8CB8-92B093BB3E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" y="3490"/>
              <a:ext cx="133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LK</a:t>
              </a:r>
            </a:p>
          </p:txBody>
        </p:sp>
        <p:sp>
          <p:nvSpPr>
            <p:cNvPr id="225" name="Rectangle 85">
              <a:extLst>
                <a:ext uri="{FF2B5EF4-FFF2-40B4-BE49-F238E27FC236}">
                  <a16:creationId xmlns:a16="http://schemas.microsoft.com/office/drawing/2014/main" id="{FCECFB08-190B-38B6-8DF1-7CC4D83E73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6" y="3363"/>
              <a:ext cx="136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K</a:t>
              </a:r>
            </a:p>
          </p:txBody>
        </p:sp>
        <p:sp>
          <p:nvSpPr>
            <p:cNvPr id="226" name="Rectangle 86">
              <a:extLst>
                <a:ext uri="{FF2B5EF4-FFF2-40B4-BE49-F238E27FC236}">
                  <a16:creationId xmlns:a16="http://schemas.microsoft.com/office/drawing/2014/main" id="{23C26539-3196-475A-F09C-DAC530BB7E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3" y="3152"/>
              <a:ext cx="139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KK</a:t>
              </a:r>
            </a:p>
          </p:txBody>
        </p:sp>
        <p:sp>
          <p:nvSpPr>
            <p:cNvPr id="227" name="Rectangle 87">
              <a:extLst>
                <a:ext uri="{FF2B5EF4-FFF2-40B4-BE49-F238E27FC236}">
                  <a16:creationId xmlns:a16="http://schemas.microsoft.com/office/drawing/2014/main" id="{A827F561-17B7-036A-7743-CB9BFAA744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1" y="2974"/>
              <a:ext cx="124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BK</a:t>
              </a:r>
            </a:p>
          </p:txBody>
        </p:sp>
        <p:sp>
          <p:nvSpPr>
            <p:cNvPr id="228" name="Rectangle 88">
              <a:extLst>
                <a:ext uri="{FF2B5EF4-FFF2-40B4-BE49-F238E27FC236}">
                  <a16:creationId xmlns:a16="http://schemas.microsoft.com/office/drawing/2014/main" id="{16A99CA5-BC42-16D2-D43F-58D57CE726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" y="3216"/>
              <a:ext cx="136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VK</a:t>
              </a:r>
            </a:p>
          </p:txBody>
        </p:sp>
      </p:grpSp>
      <p:sp>
        <p:nvSpPr>
          <p:cNvPr id="229" name="TextovéPole 228">
            <a:extLst>
              <a:ext uri="{FF2B5EF4-FFF2-40B4-BE49-F238E27FC236}">
                <a16:creationId xmlns:a16="http://schemas.microsoft.com/office/drawing/2014/main" id="{2CAFD6CF-CF70-D489-6AAE-67C951C30A50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4611690" y="1513413"/>
            <a:ext cx="1959575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raj bydliště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9" name="TextovéPole 128">
            <a:extLst>
              <a:ext uri="{FF2B5EF4-FFF2-40B4-BE49-F238E27FC236}">
                <a16:creationId xmlns:a16="http://schemas.microsoft.com/office/drawing/2014/main" id="{B521CCB1-E03C-A540-B0E6-FACC7FD1B5BE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4589670" y="4364179"/>
            <a:ext cx="1959575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kres bydliště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30" name="Group 110">
            <a:extLst>
              <a:ext uri="{FF2B5EF4-FFF2-40B4-BE49-F238E27FC236}">
                <a16:creationId xmlns:a16="http://schemas.microsoft.com/office/drawing/2014/main" id="{A9C1A962-4C00-B40E-D34E-FC6A7C5DEC32}"/>
              </a:ext>
            </a:extLst>
          </p:cNvPr>
          <p:cNvGraphicFramePr>
            <a:graphicFrameLocks noGrp="1"/>
          </p:cNvGraphicFramePr>
          <p:nvPr>
            <p:custDataLst>
              <p:tags r:id="rId16"/>
            </p:custDataLst>
          </p:nvPr>
        </p:nvGraphicFramePr>
        <p:xfrm>
          <a:off x="4597801" y="4721322"/>
          <a:ext cx="1931064" cy="1714500"/>
        </p:xfrm>
        <a:graphic>
          <a:graphicData uri="http://schemas.openxmlformats.org/drawingml/2006/table">
            <a:tbl>
              <a:tblPr/>
              <a:tblGrid>
                <a:gridCol w="19310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ísek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ndřichův Hradec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5734587"/>
                  </a:ext>
                </a:extLst>
              </a:tr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hatic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ábo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á republik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é Budějovic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konic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ý Krumlov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5E26F96F-505C-FFD6-29C3-39D1FE31CF9C}"/>
              </a:ext>
            </a:extLst>
          </p:cNvPr>
          <p:cNvSpPr txBox="1"/>
          <p:nvPr/>
        </p:nvSpPr>
        <p:spPr>
          <a:xfrm rot="18828707">
            <a:off x="4211261" y="5337702"/>
            <a:ext cx="4988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3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7FBBD31A-36D6-F23E-A804-6FD08B60CFDD}"/>
              </a:ext>
            </a:extLst>
          </p:cNvPr>
          <p:cNvGrpSpPr/>
          <p:nvPr/>
        </p:nvGrpSpPr>
        <p:grpSpPr>
          <a:xfrm>
            <a:off x="10951469" y="4605461"/>
            <a:ext cx="920040" cy="839147"/>
            <a:chOff x="5368539" y="5686843"/>
            <a:chExt cx="920040" cy="839147"/>
          </a:xfrm>
        </p:grpSpPr>
        <p:sp>
          <p:nvSpPr>
            <p:cNvPr id="29" name="Text Box 58">
              <a:extLst>
                <a:ext uri="{FF2B5EF4-FFF2-40B4-BE49-F238E27FC236}">
                  <a16:creationId xmlns:a16="http://schemas.microsoft.com/office/drawing/2014/main" id="{23968A25-6290-638F-DB6D-021B3B98B2F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42967" y="5694325"/>
              <a:ext cx="745612" cy="83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&gt; 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1–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 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1–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≤ 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 </a:t>
              </a:r>
            </a:p>
          </p:txBody>
        </p:sp>
        <p:sp>
          <p:nvSpPr>
            <p:cNvPr id="30" name="Rectangle 56">
              <a:extLst>
                <a:ext uri="{FF2B5EF4-FFF2-40B4-BE49-F238E27FC236}">
                  <a16:creationId xmlns:a16="http://schemas.microsoft.com/office/drawing/2014/main" id="{3596278E-D756-C4AE-F079-4525B4B4BE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6183266"/>
              <a:ext cx="144000" cy="144000"/>
            </a:xfrm>
            <a:prstGeom prst="rect">
              <a:avLst/>
            </a:prstGeom>
            <a:solidFill>
              <a:srgbClr val="D1D1D1"/>
            </a:solidFill>
            <a:ln w="1651">
              <a:noFill/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7" name="Rectangle 56">
              <a:extLst>
                <a:ext uri="{FF2B5EF4-FFF2-40B4-BE49-F238E27FC236}">
                  <a16:creationId xmlns:a16="http://schemas.microsoft.com/office/drawing/2014/main" id="{A58FA8A1-CED0-3FE7-6845-392B4DDE41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6017791"/>
              <a:ext cx="144000" cy="144000"/>
            </a:xfrm>
            <a:prstGeom prst="rect">
              <a:avLst/>
            </a:prstGeom>
            <a:solidFill>
              <a:srgbClr val="A8A8A8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8" name="Rectangle 56">
              <a:extLst>
                <a:ext uri="{FF2B5EF4-FFF2-40B4-BE49-F238E27FC236}">
                  <a16:creationId xmlns:a16="http://schemas.microsoft.com/office/drawing/2014/main" id="{CAF9CB6C-CE4F-CF17-65DA-06469F6F4D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5852317"/>
              <a:ext cx="144000" cy="144000"/>
            </a:xfrm>
            <a:prstGeom prst="rect">
              <a:avLst/>
            </a:prstGeom>
            <a:solidFill>
              <a:srgbClr val="828282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9" name="Rectangle 56">
              <a:extLst>
                <a:ext uri="{FF2B5EF4-FFF2-40B4-BE49-F238E27FC236}">
                  <a16:creationId xmlns:a16="http://schemas.microsoft.com/office/drawing/2014/main" id="{DC9AE77A-2676-9579-EF5B-58879F3600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5686843"/>
              <a:ext cx="144000" cy="144000"/>
            </a:xfrm>
            <a:prstGeom prst="rect">
              <a:avLst/>
            </a:prstGeom>
            <a:solidFill>
              <a:srgbClr val="595959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grpSp>
        <p:nvGrpSpPr>
          <p:cNvPr id="43" name="Skupina 42">
            <a:extLst>
              <a:ext uri="{FF2B5EF4-FFF2-40B4-BE49-F238E27FC236}">
                <a16:creationId xmlns:a16="http://schemas.microsoft.com/office/drawing/2014/main" id="{B08FE02E-ACBD-5D33-1F07-60395271FCED}"/>
              </a:ext>
            </a:extLst>
          </p:cNvPr>
          <p:cNvGrpSpPr>
            <a:grpSpLocks noChangeAspect="1"/>
          </p:cNvGrpSpPr>
          <p:nvPr/>
        </p:nvGrpSpPr>
        <p:grpSpPr>
          <a:xfrm>
            <a:off x="8826759" y="4584375"/>
            <a:ext cx="2311761" cy="1796127"/>
            <a:chOff x="3449186" y="4421025"/>
            <a:chExt cx="2989263" cy="2322513"/>
          </a:xfrm>
        </p:grpSpPr>
        <p:sp>
          <p:nvSpPr>
            <p:cNvPr id="44" name="Freeform 102">
              <a:extLst>
                <a:ext uri="{FF2B5EF4-FFF2-40B4-BE49-F238E27FC236}">
                  <a16:creationId xmlns:a16="http://schemas.microsoft.com/office/drawing/2014/main" id="{6094DFFC-E578-DC9D-6B7A-AB5EEC029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436" y="4598825"/>
              <a:ext cx="846138" cy="966788"/>
            </a:xfrm>
            <a:custGeom>
              <a:avLst/>
              <a:gdLst>
                <a:gd name="T0" fmla="*/ 147 w 533"/>
                <a:gd name="T1" fmla="*/ 19 h 609"/>
                <a:gd name="T2" fmla="*/ 172 w 533"/>
                <a:gd name="T3" fmla="*/ 6 h 609"/>
                <a:gd name="T4" fmla="*/ 193 w 533"/>
                <a:gd name="T5" fmla="*/ 21 h 609"/>
                <a:gd name="T6" fmla="*/ 222 w 533"/>
                <a:gd name="T7" fmla="*/ 35 h 609"/>
                <a:gd name="T8" fmla="*/ 252 w 533"/>
                <a:gd name="T9" fmla="*/ 44 h 609"/>
                <a:gd name="T10" fmla="*/ 273 w 533"/>
                <a:gd name="T11" fmla="*/ 61 h 609"/>
                <a:gd name="T12" fmla="*/ 279 w 533"/>
                <a:gd name="T13" fmla="*/ 70 h 609"/>
                <a:gd name="T14" fmla="*/ 294 w 533"/>
                <a:gd name="T15" fmla="*/ 84 h 609"/>
                <a:gd name="T16" fmla="*/ 290 w 533"/>
                <a:gd name="T17" fmla="*/ 103 h 609"/>
                <a:gd name="T18" fmla="*/ 270 w 533"/>
                <a:gd name="T19" fmla="*/ 120 h 609"/>
                <a:gd name="T20" fmla="*/ 279 w 533"/>
                <a:gd name="T21" fmla="*/ 148 h 609"/>
                <a:gd name="T22" fmla="*/ 282 w 533"/>
                <a:gd name="T23" fmla="*/ 175 h 609"/>
                <a:gd name="T24" fmla="*/ 295 w 533"/>
                <a:gd name="T25" fmla="*/ 193 h 609"/>
                <a:gd name="T26" fmla="*/ 288 w 533"/>
                <a:gd name="T27" fmla="*/ 220 h 609"/>
                <a:gd name="T28" fmla="*/ 278 w 533"/>
                <a:gd name="T29" fmla="*/ 273 h 609"/>
                <a:gd name="T30" fmla="*/ 304 w 533"/>
                <a:gd name="T31" fmla="*/ 310 h 609"/>
                <a:gd name="T32" fmla="*/ 326 w 533"/>
                <a:gd name="T33" fmla="*/ 365 h 609"/>
                <a:gd name="T34" fmla="*/ 348 w 533"/>
                <a:gd name="T35" fmla="*/ 396 h 609"/>
                <a:gd name="T36" fmla="*/ 375 w 533"/>
                <a:gd name="T37" fmla="*/ 440 h 609"/>
                <a:gd name="T38" fmla="*/ 407 w 533"/>
                <a:gd name="T39" fmla="*/ 460 h 609"/>
                <a:gd name="T40" fmla="*/ 434 w 533"/>
                <a:gd name="T41" fmla="*/ 476 h 609"/>
                <a:gd name="T42" fmla="*/ 459 w 533"/>
                <a:gd name="T43" fmla="*/ 494 h 609"/>
                <a:gd name="T44" fmla="*/ 506 w 533"/>
                <a:gd name="T45" fmla="*/ 510 h 609"/>
                <a:gd name="T46" fmla="*/ 532 w 533"/>
                <a:gd name="T47" fmla="*/ 524 h 609"/>
                <a:gd name="T48" fmla="*/ 512 w 533"/>
                <a:gd name="T49" fmla="*/ 542 h 609"/>
                <a:gd name="T50" fmla="*/ 505 w 533"/>
                <a:gd name="T51" fmla="*/ 557 h 609"/>
                <a:gd name="T52" fmla="*/ 496 w 533"/>
                <a:gd name="T53" fmla="*/ 564 h 609"/>
                <a:gd name="T54" fmla="*/ 489 w 533"/>
                <a:gd name="T55" fmla="*/ 596 h 609"/>
                <a:gd name="T56" fmla="*/ 456 w 533"/>
                <a:gd name="T57" fmla="*/ 607 h 609"/>
                <a:gd name="T58" fmla="*/ 361 w 533"/>
                <a:gd name="T59" fmla="*/ 607 h 609"/>
                <a:gd name="T60" fmla="*/ 326 w 533"/>
                <a:gd name="T61" fmla="*/ 593 h 609"/>
                <a:gd name="T62" fmla="*/ 302 w 533"/>
                <a:gd name="T63" fmla="*/ 564 h 609"/>
                <a:gd name="T64" fmla="*/ 280 w 533"/>
                <a:gd name="T65" fmla="*/ 553 h 609"/>
                <a:gd name="T66" fmla="*/ 261 w 533"/>
                <a:gd name="T67" fmla="*/ 540 h 609"/>
                <a:gd name="T68" fmla="*/ 241 w 533"/>
                <a:gd name="T69" fmla="*/ 564 h 609"/>
                <a:gd name="T70" fmla="*/ 197 w 533"/>
                <a:gd name="T71" fmla="*/ 576 h 609"/>
                <a:gd name="T72" fmla="*/ 159 w 533"/>
                <a:gd name="T73" fmla="*/ 572 h 609"/>
                <a:gd name="T74" fmla="*/ 104 w 533"/>
                <a:gd name="T75" fmla="*/ 544 h 609"/>
                <a:gd name="T76" fmla="*/ 55 w 533"/>
                <a:gd name="T77" fmla="*/ 539 h 609"/>
                <a:gd name="T78" fmla="*/ 34 w 533"/>
                <a:gd name="T79" fmla="*/ 518 h 609"/>
                <a:gd name="T80" fmla="*/ 0 w 533"/>
                <a:gd name="T81" fmla="*/ 507 h 609"/>
                <a:gd name="T82" fmla="*/ 13 w 533"/>
                <a:gd name="T83" fmla="*/ 466 h 609"/>
                <a:gd name="T84" fmla="*/ 18 w 533"/>
                <a:gd name="T85" fmla="*/ 440 h 609"/>
                <a:gd name="T86" fmla="*/ 7 w 533"/>
                <a:gd name="T87" fmla="*/ 407 h 609"/>
                <a:gd name="T88" fmla="*/ 29 w 533"/>
                <a:gd name="T89" fmla="*/ 387 h 609"/>
                <a:gd name="T90" fmla="*/ 24 w 533"/>
                <a:gd name="T91" fmla="*/ 368 h 609"/>
                <a:gd name="T92" fmla="*/ 18 w 533"/>
                <a:gd name="T93" fmla="*/ 350 h 609"/>
                <a:gd name="T94" fmla="*/ 35 w 533"/>
                <a:gd name="T95" fmla="*/ 335 h 609"/>
                <a:gd name="T96" fmla="*/ 37 w 533"/>
                <a:gd name="T97" fmla="*/ 310 h 609"/>
                <a:gd name="T98" fmla="*/ 71 w 533"/>
                <a:gd name="T99" fmla="*/ 275 h 609"/>
                <a:gd name="T100" fmla="*/ 92 w 533"/>
                <a:gd name="T101" fmla="*/ 228 h 609"/>
                <a:gd name="T102" fmla="*/ 81 w 533"/>
                <a:gd name="T103" fmla="*/ 201 h 609"/>
                <a:gd name="T104" fmla="*/ 79 w 533"/>
                <a:gd name="T105" fmla="*/ 143 h 609"/>
                <a:gd name="T106" fmla="*/ 77 w 533"/>
                <a:gd name="T107" fmla="*/ 99 h 609"/>
                <a:gd name="T108" fmla="*/ 68 w 533"/>
                <a:gd name="T109" fmla="*/ 56 h 609"/>
                <a:gd name="T110" fmla="*/ 71 w 533"/>
                <a:gd name="T111" fmla="*/ 24 h 609"/>
                <a:gd name="T112" fmla="*/ 86 w 533"/>
                <a:gd name="T113" fmla="*/ 21 h 609"/>
                <a:gd name="T114" fmla="*/ 106 w 533"/>
                <a:gd name="T115" fmla="*/ 12 h 609"/>
                <a:gd name="T116" fmla="*/ 127 w 533"/>
                <a:gd name="T117" fmla="*/ 0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3" h="609">
                  <a:moveTo>
                    <a:pt x="127" y="0"/>
                  </a:moveTo>
                  <a:lnTo>
                    <a:pt x="128" y="0"/>
                  </a:lnTo>
                  <a:lnTo>
                    <a:pt x="129" y="0"/>
                  </a:lnTo>
                  <a:lnTo>
                    <a:pt x="132" y="6"/>
                  </a:lnTo>
                  <a:lnTo>
                    <a:pt x="138" y="15"/>
                  </a:lnTo>
                  <a:lnTo>
                    <a:pt x="139" y="17"/>
                  </a:lnTo>
                  <a:lnTo>
                    <a:pt x="139" y="18"/>
                  </a:lnTo>
                  <a:lnTo>
                    <a:pt x="141" y="18"/>
                  </a:lnTo>
                  <a:lnTo>
                    <a:pt x="142" y="19"/>
                  </a:lnTo>
                  <a:lnTo>
                    <a:pt x="143" y="19"/>
                  </a:lnTo>
                  <a:lnTo>
                    <a:pt x="147" y="19"/>
                  </a:lnTo>
                  <a:lnTo>
                    <a:pt x="148" y="19"/>
                  </a:lnTo>
                  <a:lnTo>
                    <a:pt x="150" y="18"/>
                  </a:lnTo>
                  <a:lnTo>
                    <a:pt x="153" y="17"/>
                  </a:lnTo>
                  <a:lnTo>
                    <a:pt x="155" y="15"/>
                  </a:lnTo>
                  <a:lnTo>
                    <a:pt x="157" y="13"/>
                  </a:lnTo>
                  <a:lnTo>
                    <a:pt x="164" y="8"/>
                  </a:lnTo>
                  <a:lnTo>
                    <a:pt x="165" y="7"/>
                  </a:lnTo>
                  <a:lnTo>
                    <a:pt x="167" y="6"/>
                  </a:lnTo>
                  <a:lnTo>
                    <a:pt x="169" y="6"/>
                  </a:lnTo>
                  <a:lnTo>
                    <a:pt x="170" y="6"/>
                  </a:lnTo>
                  <a:lnTo>
                    <a:pt x="172" y="6"/>
                  </a:lnTo>
                  <a:lnTo>
                    <a:pt x="174" y="7"/>
                  </a:lnTo>
                  <a:lnTo>
                    <a:pt x="175" y="7"/>
                  </a:lnTo>
                  <a:lnTo>
                    <a:pt x="176" y="8"/>
                  </a:lnTo>
                  <a:lnTo>
                    <a:pt x="177" y="9"/>
                  </a:lnTo>
                  <a:lnTo>
                    <a:pt x="179" y="10"/>
                  </a:lnTo>
                  <a:lnTo>
                    <a:pt x="183" y="15"/>
                  </a:lnTo>
                  <a:lnTo>
                    <a:pt x="184" y="16"/>
                  </a:lnTo>
                  <a:lnTo>
                    <a:pt x="186" y="17"/>
                  </a:lnTo>
                  <a:lnTo>
                    <a:pt x="187" y="18"/>
                  </a:lnTo>
                  <a:lnTo>
                    <a:pt x="192" y="20"/>
                  </a:lnTo>
                  <a:lnTo>
                    <a:pt x="193" y="21"/>
                  </a:lnTo>
                  <a:lnTo>
                    <a:pt x="194" y="21"/>
                  </a:lnTo>
                  <a:lnTo>
                    <a:pt x="194" y="22"/>
                  </a:lnTo>
                  <a:lnTo>
                    <a:pt x="195" y="25"/>
                  </a:lnTo>
                  <a:lnTo>
                    <a:pt x="196" y="25"/>
                  </a:lnTo>
                  <a:lnTo>
                    <a:pt x="197" y="26"/>
                  </a:lnTo>
                  <a:lnTo>
                    <a:pt x="198" y="27"/>
                  </a:lnTo>
                  <a:lnTo>
                    <a:pt x="201" y="28"/>
                  </a:lnTo>
                  <a:lnTo>
                    <a:pt x="208" y="31"/>
                  </a:lnTo>
                  <a:lnTo>
                    <a:pt x="212" y="33"/>
                  </a:lnTo>
                  <a:lnTo>
                    <a:pt x="218" y="35"/>
                  </a:lnTo>
                  <a:lnTo>
                    <a:pt x="222" y="35"/>
                  </a:lnTo>
                  <a:lnTo>
                    <a:pt x="227" y="36"/>
                  </a:lnTo>
                  <a:lnTo>
                    <a:pt x="227" y="37"/>
                  </a:lnTo>
                  <a:lnTo>
                    <a:pt x="228" y="38"/>
                  </a:lnTo>
                  <a:lnTo>
                    <a:pt x="229" y="38"/>
                  </a:lnTo>
                  <a:lnTo>
                    <a:pt x="230" y="38"/>
                  </a:lnTo>
                  <a:lnTo>
                    <a:pt x="232" y="39"/>
                  </a:lnTo>
                  <a:lnTo>
                    <a:pt x="241" y="40"/>
                  </a:lnTo>
                  <a:lnTo>
                    <a:pt x="244" y="40"/>
                  </a:lnTo>
                  <a:lnTo>
                    <a:pt x="246" y="42"/>
                  </a:lnTo>
                  <a:lnTo>
                    <a:pt x="249" y="43"/>
                  </a:lnTo>
                  <a:lnTo>
                    <a:pt x="252" y="44"/>
                  </a:lnTo>
                  <a:lnTo>
                    <a:pt x="254" y="45"/>
                  </a:lnTo>
                  <a:lnTo>
                    <a:pt x="257" y="48"/>
                  </a:lnTo>
                  <a:lnTo>
                    <a:pt x="259" y="49"/>
                  </a:lnTo>
                  <a:lnTo>
                    <a:pt x="260" y="50"/>
                  </a:lnTo>
                  <a:lnTo>
                    <a:pt x="261" y="50"/>
                  </a:lnTo>
                  <a:lnTo>
                    <a:pt x="264" y="55"/>
                  </a:lnTo>
                  <a:lnTo>
                    <a:pt x="266" y="58"/>
                  </a:lnTo>
                  <a:lnTo>
                    <a:pt x="268" y="59"/>
                  </a:lnTo>
                  <a:lnTo>
                    <a:pt x="270" y="60"/>
                  </a:lnTo>
                  <a:lnTo>
                    <a:pt x="271" y="61"/>
                  </a:lnTo>
                  <a:lnTo>
                    <a:pt x="273" y="61"/>
                  </a:lnTo>
                  <a:lnTo>
                    <a:pt x="276" y="62"/>
                  </a:lnTo>
                  <a:lnTo>
                    <a:pt x="277" y="63"/>
                  </a:lnTo>
                  <a:lnTo>
                    <a:pt x="279" y="63"/>
                  </a:lnTo>
                  <a:lnTo>
                    <a:pt x="280" y="64"/>
                  </a:lnTo>
                  <a:lnTo>
                    <a:pt x="281" y="65"/>
                  </a:lnTo>
                  <a:lnTo>
                    <a:pt x="281" y="65"/>
                  </a:lnTo>
                  <a:lnTo>
                    <a:pt x="281" y="66"/>
                  </a:lnTo>
                  <a:lnTo>
                    <a:pt x="281" y="67"/>
                  </a:lnTo>
                  <a:lnTo>
                    <a:pt x="279" y="68"/>
                  </a:lnTo>
                  <a:lnTo>
                    <a:pt x="279" y="69"/>
                  </a:lnTo>
                  <a:lnTo>
                    <a:pt x="279" y="70"/>
                  </a:lnTo>
                  <a:lnTo>
                    <a:pt x="279" y="71"/>
                  </a:lnTo>
                  <a:lnTo>
                    <a:pt x="279" y="73"/>
                  </a:lnTo>
                  <a:lnTo>
                    <a:pt x="280" y="74"/>
                  </a:lnTo>
                  <a:lnTo>
                    <a:pt x="280" y="75"/>
                  </a:lnTo>
                  <a:lnTo>
                    <a:pt x="284" y="80"/>
                  </a:lnTo>
                  <a:lnTo>
                    <a:pt x="286" y="81"/>
                  </a:lnTo>
                  <a:lnTo>
                    <a:pt x="287" y="82"/>
                  </a:lnTo>
                  <a:lnTo>
                    <a:pt x="289" y="83"/>
                  </a:lnTo>
                  <a:lnTo>
                    <a:pt x="293" y="83"/>
                  </a:lnTo>
                  <a:lnTo>
                    <a:pt x="294" y="84"/>
                  </a:lnTo>
                  <a:lnTo>
                    <a:pt x="294" y="84"/>
                  </a:lnTo>
                  <a:lnTo>
                    <a:pt x="295" y="85"/>
                  </a:lnTo>
                  <a:lnTo>
                    <a:pt x="296" y="85"/>
                  </a:lnTo>
                  <a:lnTo>
                    <a:pt x="296" y="87"/>
                  </a:lnTo>
                  <a:lnTo>
                    <a:pt x="296" y="88"/>
                  </a:lnTo>
                  <a:lnTo>
                    <a:pt x="296" y="89"/>
                  </a:lnTo>
                  <a:lnTo>
                    <a:pt x="296" y="91"/>
                  </a:lnTo>
                  <a:lnTo>
                    <a:pt x="296" y="93"/>
                  </a:lnTo>
                  <a:lnTo>
                    <a:pt x="294" y="95"/>
                  </a:lnTo>
                  <a:lnTo>
                    <a:pt x="293" y="98"/>
                  </a:lnTo>
                  <a:lnTo>
                    <a:pt x="291" y="101"/>
                  </a:lnTo>
                  <a:lnTo>
                    <a:pt x="290" y="103"/>
                  </a:lnTo>
                  <a:lnTo>
                    <a:pt x="288" y="105"/>
                  </a:lnTo>
                  <a:lnTo>
                    <a:pt x="286" y="107"/>
                  </a:lnTo>
                  <a:lnTo>
                    <a:pt x="284" y="108"/>
                  </a:lnTo>
                  <a:lnTo>
                    <a:pt x="280" y="110"/>
                  </a:lnTo>
                  <a:lnTo>
                    <a:pt x="278" y="110"/>
                  </a:lnTo>
                  <a:lnTo>
                    <a:pt x="276" y="111"/>
                  </a:lnTo>
                  <a:lnTo>
                    <a:pt x="275" y="113"/>
                  </a:lnTo>
                  <a:lnTo>
                    <a:pt x="273" y="115"/>
                  </a:lnTo>
                  <a:lnTo>
                    <a:pt x="271" y="117"/>
                  </a:lnTo>
                  <a:lnTo>
                    <a:pt x="270" y="120"/>
                  </a:lnTo>
                  <a:lnTo>
                    <a:pt x="270" y="120"/>
                  </a:lnTo>
                  <a:lnTo>
                    <a:pt x="269" y="122"/>
                  </a:lnTo>
                  <a:lnTo>
                    <a:pt x="269" y="123"/>
                  </a:lnTo>
                  <a:lnTo>
                    <a:pt x="270" y="125"/>
                  </a:lnTo>
                  <a:lnTo>
                    <a:pt x="270" y="125"/>
                  </a:lnTo>
                  <a:lnTo>
                    <a:pt x="271" y="128"/>
                  </a:lnTo>
                  <a:lnTo>
                    <a:pt x="272" y="130"/>
                  </a:lnTo>
                  <a:lnTo>
                    <a:pt x="275" y="135"/>
                  </a:lnTo>
                  <a:lnTo>
                    <a:pt x="276" y="138"/>
                  </a:lnTo>
                  <a:lnTo>
                    <a:pt x="277" y="140"/>
                  </a:lnTo>
                  <a:lnTo>
                    <a:pt x="278" y="145"/>
                  </a:lnTo>
                  <a:lnTo>
                    <a:pt x="279" y="148"/>
                  </a:lnTo>
                  <a:lnTo>
                    <a:pt x="280" y="152"/>
                  </a:lnTo>
                  <a:lnTo>
                    <a:pt x="283" y="159"/>
                  </a:lnTo>
                  <a:lnTo>
                    <a:pt x="284" y="161"/>
                  </a:lnTo>
                  <a:lnTo>
                    <a:pt x="284" y="163"/>
                  </a:lnTo>
                  <a:lnTo>
                    <a:pt x="284" y="165"/>
                  </a:lnTo>
                  <a:lnTo>
                    <a:pt x="284" y="167"/>
                  </a:lnTo>
                  <a:lnTo>
                    <a:pt x="282" y="169"/>
                  </a:lnTo>
                  <a:lnTo>
                    <a:pt x="281" y="170"/>
                  </a:lnTo>
                  <a:lnTo>
                    <a:pt x="281" y="172"/>
                  </a:lnTo>
                  <a:lnTo>
                    <a:pt x="281" y="173"/>
                  </a:lnTo>
                  <a:lnTo>
                    <a:pt x="282" y="175"/>
                  </a:lnTo>
                  <a:lnTo>
                    <a:pt x="284" y="176"/>
                  </a:lnTo>
                  <a:lnTo>
                    <a:pt x="286" y="178"/>
                  </a:lnTo>
                  <a:lnTo>
                    <a:pt x="290" y="181"/>
                  </a:lnTo>
                  <a:lnTo>
                    <a:pt x="291" y="183"/>
                  </a:lnTo>
                  <a:lnTo>
                    <a:pt x="292" y="183"/>
                  </a:lnTo>
                  <a:lnTo>
                    <a:pt x="294" y="185"/>
                  </a:lnTo>
                  <a:lnTo>
                    <a:pt x="295" y="188"/>
                  </a:lnTo>
                  <a:lnTo>
                    <a:pt x="295" y="189"/>
                  </a:lnTo>
                  <a:lnTo>
                    <a:pt x="296" y="190"/>
                  </a:lnTo>
                  <a:lnTo>
                    <a:pt x="296" y="192"/>
                  </a:lnTo>
                  <a:lnTo>
                    <a:pt x="295" y="193"/>
                  </a:lnTo>
                  <a:lnTo>
                    <a:pt x="294" y="198"/>
                  </a:lnTo>
                  <a:lnTo>
                    <a:pt x="293" y="200"/>
                  </a:lnTo>
                  <a:lnTo>
                    <a:pt x="293" y="202"/>
                  </a:lnTo>
                  <a:lnTo>
                    <a:pt x="294" y="206"/>
                  </a:lnTo>
                  <a:lnTo>
                    <a:pt x="294" y="208"/>
                  </a:lnTo>
                  <a:lnTo>
                    <a:pt x="294" y="210"/>
                  </a:lnTo>
                  <a:lnTo>
                    <a:pt x="293" y="211"/>
                  </a:lnTo>
                  <a:lnTo>
                    <a:pt x="293" y="212"/>
                  </a:lnTo>
                  <a:lnTo>
                    <a:pt x="292" y="213"/>
                  </a:lnTo>
                  <a:lnTo>
                    <a:pt x="289" y="217"/>
                  </a:lnTo>
                  <a:lnTo>
                    <a:pt x="288" y="220"/>
                  </a:lnTo>
                  <a:lnTo>
                    <a:pt x="288" y="222"/>
                  </a:lnTo>
                  <a:lnTo>
                    <a:pt x="287" y="227"/>
                  </a:lnTo>
                  <a:lnTo>
                    <a:pt x="286" y="230"/>
                  </a:lnTo>
                  <a:lnTo>
                    <a:pt x="285" y="233"/>
                  </a:lnTo>
                  <a:lnTo>
                    <a:pt x="282" y="241"/>
                  </a:lnTo>
                  <a:lnTo>
                    <a:pt x="281" y="245"/>
                  </a:lnTo>
                  <a:lnTo>
                    <a:pt x="280" y="248"/>
                  </a:lnTo>
                  <a:lnTo>
                    <a:pt x="279" y="259"/>
                  </a:lnTo>
                  <a:lnTo>
                    <a:pt x="277" y="266"/>
                  </a:lnTo>
                  <a:lnTo>
                    <a:pt x="277" y="270"/>
                  </a:lnTo>
                  <a:lnTo>
                    <a:pt x="278" y="273"/>
                  </a:lnTo>
                  <a:lnTo>
                    <a:pt x="278" y="275"/>
                  </a:lnTo>
                  <a:lnTo>
                    <a:pt x="279" y="277"/>
                  </a:lnTo>
                  <a:lnTo>
                    <a:pt x="280" y="279"/>
                  </a:lnTo>
                  <a:lnTo>
                    <a:pt x="281" y="281"/>
                  </a:lnTo>
                  <a:lnTo>
                    <a:pt x="282" y="283"/>
                  </a:lnTo>
                  <a:lnTo>
                    <a:pt x="284" y="285"/>
                  </a:lnTo>
                  <a:lnTo>
                    <a:pt x="291" y="292"/>
                  </a:lnTo>
                  <a:lnTo>
                    <a:pt x="296" y="298"/>
                  </a:lnTo>
                  <a:lnTo>
                    <a:pt x="299" y="302"/>
                  </a:lnTo>
                  <a:lnTo>
                    <a:pt x="302" y="306"/>
                  </a:lnTo>
                  <a:lnTo>
                    <a:pt x="304" y="310"/>
                  </a:lnTo>
                  <a:lnTo>
                    <a:pt x="306" y="314"/>
                  </a:lnTo>
                  <a:lnTo>
                    <a:pt x="314" y="327"/>
                  </a:lnTo>
                  <a:lnTo>
                    <a:pt x="316" y="332"/>
                  </a:lnTo>
                  <a:lnTo>
                    <a:pt x="319" y="337"/>
                  </a:lnTo>
                  <a:lnTo>
                    <a:pt x="321" y="345"/>
                  </a:lnTo>
                  <a:lnTo>
                    <a:pt x="324" y="352"/>
                  </a:lnTo>
                  <a:lnTo>
                    <a:pt x="324" y="355"/>
                  </a:lnTo>
                  <a:lnTo>
                    <a:pt x="325" y="357"/>
                  </a:lnTo>
                  <a:lnTo>
                    <a:pt x="326" y="360"/>
                  </a:lnTo>
                  <a:lnTo>
                    <a:pt x="326" y="363"/>
                  </a:lnTo>
                  <a:lnTo>
                    <a:pt x="326" y="365"/>
                  </a:lnTo>
                  <a:lnTo>
                    <a:pt x="326" y="367"/>
                  </a:lnTo>
                  <a:lnTo>
                    <a:pt x="327" y="369"/>
                  </a:lnTo>
                  <a:lnTo>
                    <a:pt x="328" y="370"/>
                  </a:lnTo>
                  <a:lnTo>
                    <a:pt x="329" y="373"/>
                  </a:lnTo>
                  <a:lnTo>
                    <a:pt x="331" y="375"/>
                  </a:lnTo>
                  <a:lnTo>
                    <a:pt x="332" y="377"/>
                  </a:lnTo>
                  <a:lnTo>
                    <a:pt x="334" y="379"/>
                  </a:lnTo>
                  <a:lnTo>
                    <a:pt x="339" y="383"/>
                  </a:lnTo>
                  <a:lnTo>
                    <a:pt x="341" y="385"/>
                  </a:lnTo>
                  <a:lnTo>
                    <a:pt x="346" y="392"/>
                  </a:lnTo>
                  <a:lnTo>
                    <a:pt x="348" y="396"/>
                  </a:lnTo>
                  <a:lnTo>
                    <a:pt x="351" y="400"/>
                  </a:lnTo>
                  <a:lnTo>
                    <a:pt x="352" y="405"/>
                  </a:lnTo>
                  <a:lnTo>
                    <a:pt x="354" y="408"/>
                  </a:lnTo>
                  <a:lnTo>
                    <a:pt x="356" y="416"/>
                  </a:lnTo>
                  <a:lnTo>
                    <a:pt x="357" y="420"/>
                  </a:lnTo>
                  <a:lnTo>
                    <a:pt x="359" y="424"/>
                  </a:lnTo>
                  <a:lnTo>
                    <a:pt x="361" y="427"/>
                  </a:lnTo>
                  <a:lnTo>
                    <a:pt x="363" y="430"/>
                  </a:lnTo>
                  <a:lnTo>
                    <a:pt x="365" y="432"/>
                  </a:lnTo>
                  <a:lnTo>
                    <a:pt x="370" y="436"/>
                  </a:lnTo>
                  <a:lnTo>
                    <a:pt x="375" y="440"/>
                  </a:lnTo>
                  <a:lnTo>
                    <a:pt x="377" y="442"/>
                  </a:lnTo>
                  <a:lnTo>
                    <a:pt x="379" y="445"/>
                  </a:lnTo>
                  <a:lnTo>
                    <a:pt x="383" y="450"/>
                  </a:lnTo>
                  <a:lnTo>
                    <a:pt x="384" y="452"/>
                  </a:lnTo>
                  <a:lnTo>
                    <a:pt x="385" y="453"/>
                  </a:lnTo>
                  <a:lnTo>
                    <a:pt x="386" y="454"/>
                  </a:lnTo>
                  <a:lnTo>
                    <a:pt x="389" y="455"/>
                  </a:lnTo>
                  <a:lnTo>
                    <a:pt x="390" y="456"/>
                  </a:lnTo>
                  <a:lnTo>
                    <a:pt x="392" y="457"/>
                  </a:lnTo>
                  <a:lnTo>
                    <a:pt x="396" y="458"/>
                  </a:lnTo>
                  <a:lnTo>
                    <a:pt x="407" y="460"/>
                  </a:lnTo>
                  <a:lnTo>
                    <a:pt x="415" y="462"/>
                  </a:lnTo>
                  <a:lnTo>
                    <a:pt x="418" y="462"/>
                  </a:lnTo>
                  <a:lnTo>
                    <a:pt x="424" y="463"/>
                  </a:lnTo>
                  <a:lnTo>
                    <a:pt x="426" y="463"/>
                  </a:lnTo>
                  <a:lnTo>
                    <a:pt x="428" y="464"/>
                  </a:lnTo>
                  <a:lnTo>
                    <a:pt x="429" y="464"/>
                  </a:lnTo>
                  <a:lnTo>
                    <a:pt x="430" y="465"/>
                  </a:lnTo>
                  <a:lnTo>
                    <a:pt x="431" y="466"/>
                  </a:lnTo>
                  <a:lnTo>
                    <a:pt x="431" y="468"/>
                  </a:lnTo>
                  <a:lnTo>
                    <a:pt x="432" y="470"/>
                  </a:lnTo>
                  <a:lnTo>
                    <a:pt x="434" y="476"/>
                  </a:lnTo>
                  <a:lnTo>
                    <a:pt x="434" y="478"/>
                  </a:lnTo>
                  <a:lnTo>
                    <a:pt x="436" y="480"/>
                  </a:lnTo>
                  <a:lnTo>
                    <a:pt x="437" y="482"/>
                  </a:lnTo>
                  <a:lnTo>
                    <a:pt x="439" y="484"/>
                  </a:lnTo>
                  <a:lnTo>
                    <a:pt x="442" y="485"/>
                  </a:lnTo>
                  <a:lnTo>
                    <a:pt x="444" y="486"/>
                  </a:lnTo>
                  <a:lnTo>
                    <a:pt x="454" y="489"/>
                  </a:lnTo>
                  <a:lnTo>
                    <a:pt x="456" y="489"/>
                  </a:lnTo>
                  <a:lnTo>
                    <a:pt x="457" y="491"/>
                  </a:lnTo>
                  <a:lnTo>
                    <a:pt x="459" y="492"/>
                  </a:lnTo>
                  <a:lnTo>
                    <a:pt x="459" y="494"/>
                  </a:lnTo>
                  <a:lnTo>
                    <a:pt x="463" y="499"/>
                  </a:lnTo>
                  <a:lnTo>
                    <a:pt x="464" y="502"/>
                  </a:lnTo>
                  <a:lnTo>
                    <a:pt x="466" y="503"/>
                  </a:lnTo>
                  <a:lnTo>
                    <a:pt x="468" y="504"/>
                  </a:lnTo>
                  <a:lnTo>
                    <a:pt x="471" y="505"/>
                  </a:lnTo>
                  <a:lnTo>
                    <a:pt x="476" y="507"/>
                  </a:lnTo>
                  <a:lnTo>
                    <a:pt x="481" y="508"/>
                  </a:lnTo>
                  <a:lnTo>
                    <a:pt x="486" y="509"/>
                  </a:lnTo>
                  <a:lnTo>
                    <a:pt x="490" y="509"/>
                  </a:lnTo>
                  <a:lnTo>
                    <a:pt x="501" y="509"/>
                  </a:lnTo>
                  <a:lnTo>
                    <a:pt x="506" y="510"/>
                  </a:lnTo>
                  <a:lnTo>
                    <a:pt x="510" y="511"/>
                  </a:lnTo>
                  <a:lnTo>
                    <a:pt x="515" y="512"/>
                  </a:lnTo>
                  <a:lnTo>
                    <a:pt x="525" y="513"/>
                  </a:lnTo>
                  <a:lnTo>
                    <a:pt x="528" y="514"/>
                  </a:lnTo>
                  <a:lnTo>
                    <a:pt x="531" y="514"/>
                  </a:lnTo>
                  <a:lnTo>
                    <a:pt x="532" y="514"/>
                  </a:lnTo>
                  <a:lnTo>
                    <a:pt x="533" y="514"/>
                  </a:lnTo>
                  <a:lnTo>
                    <a:pt x="533" y="515"/>
                  </a:lnTo>
                  <a:lnTo>
                    <a:pt x="533" y="517"/>
                  </a:lnTo>
                  <a:lnTo>
                    <a:pt x="533" y="521"/>
                  </a:lnTo>
                  <a:lnTo>
                    <a:pt x="532" y="524"/>
                  </a:lnTo>
                  <a:lnTo>
                    <a:pt x="531" y="527"/>
                  </a:lnTo>
                  <a:lnTo>
                    <a:pt x="531" y="529"/>
                  </a:lnTo>
                  <a:lnTo>
                    <a:pt x="530" y="532"/>
                  </a:lnTo>
                  <a:lnTo>
                    <a:pt x="529" y="533"/>
                  </a:lnTo>
                  <a:lnTo>
                    <a:pt x="526" y="537"/>
                  </a:lnTo>
                  <a:lnTo>
                    <a:pt x="524" y="537"/>
                  </a:lnTo>
                  <a:lnTo>
                    <a:pt x="523" y="539"/>
                  </a:lnTo>
                  <a:lnTo>
                    <a:pt x="520" y="539"/>
                  </a:lnTo>
                  <a:lnTo>
                    <a:pt x="518" y="541"/>
                  </a:lnTo>
                  <a:lnTo>
                    <a:pt x="516" y="541"/>
                  </a:lnTo>
                  <a:lnTo>
                    <a:pt x="512" y="542"/>
                  </a:lnTo>
                  <a:lnTo>
                    <a:pt x="511" y="542"/>
                  </a:lnTo>
                  <a:lnTo>
                    <a:pt x="511" y="543"/>
                  </a:lnTo>
                  <a:lnTo>
                    <a:pt x="510" y="544"/>
                  </a:lnTo>
                  <a:lnTo>
                    <a:pt x="509" y="544"/>
                  </a:lnTo>
                  <a:lnTo>
                    <a:pt x="508" y="546"/>
                  </a:lnTo>
                  <a:lnTo>
                    <a:pt x="508" y="547"/>
                  </a:lnTo>
                  <a:lnTo>
                    <a:pt x="507" y="549"/>
                  </a:lnTo>
                  <a:lnTo>
                    <a:pt x="506" y="554"/>
                  </a:lnTo>
                  <a:lnTo>
                    <a:pt x="506" y="556"/>
                  </a:lnTo>
                  <a:lnTo>
                    <a:pt x="506" y="557"/>
                  </a:lnTo>
                  <a:lnTo>
                    <a:pt x="505" y="557"/>
                  </a:lnTo>
                  <a:lnTo>
                    <a:pt x="504" y="557"/>
                  </a:lnTo>
                  <a:lnTo>
                    <a:pt x="502" y="558"/>
                  </a:lnTo>
                  <a:lnTo>
                    <a:pt x="499" y="559"/>
                  </a:lnTo>
                  <a:lnTo>
                    <a:pt x="498" y="559"/>
                  </a:lnTo>
                  <a:lnTo>
                    <a:pt x="497" y="559"/>
                  </a:lnTo>
                  <a:lnTo>
                    <a:pt x="496" y="560"/>
                  </a:lnTo>
                  <a:lnTo>
                    <a:pt x="496" y="561"/>
                  </a:lnTo>
                  <a:lnTo>
                    <a:pt x="496" y="562"/>
                  </a:lnTo>
                  <a:lnTo>
                    <a:pt x="496" y="562"/>
                  </a:lnTo>
                  <a:lnTo>
                    <a:pt x="496" y="563"/>
                  </a:lnTo>
                  <a:lnTo>
                    <a:pt x="496" y="564"/>
                  </a:lnTo>
                  <a:lnTo>
                    <a:pt x="501" y="572"/>
                  </a:lnTo>
                  <a:lnTo>
                    <a:pt x="503" y="577"/>
                  </a:lnTo>
                  <a:lnTo>
                    <a:pt x="503" y="578"/>
                  </a:lnTo>
                  <a:lnTo>
                    <a:pt x="502" y="580"/>
                  </a:lnTo>
                  <a:lnTo>
                    <a:pt x="501" y="582"/>
                  </a:lnTo>
                  <a:lnTo>
                    <a:pt x="501" y="584"/>
                  </a:lnTo>
                  <a:lnTo>
                    <a:pt x="499" y="586"/>
                  </a:lnTo>
                  <a:lnTo>
                    <a:pt x="496" y="589"/>
                  </a:lnTo>
                  <a:lnTo>
                    <a:pt x="494" y="592"/>
                  </a:lnTo>
                  <a:lnTo>
                    <a:pt x="491" y="594"/>
                  </a:lnTo>
                  <a:lnTo>
                    <a:pt x="489" y="596"/>
                  </a:lnTo>
                  <a:lnTo>
                    <a:pt x="487" y="597"/>
                  </a:lnTo>
                  <a:lnTo>
                    <a:pt x="484" y="599"/>
                  </a:lnTo>
                  <a:lnTo>
                    <a:pt x="482" y="600"/>
                  </a:lnTo>
                  <a:lnTo>
                    <a:pt x="479" y="602"/>
                  </a:lnTo>
                  <a:lnTo>
                    <a:pt x="476" y="603"/>
                  </a:lnTo>
                  <a:lnTo>
                    <a:pt x="474" y="604"/>
                  </a:lnTo>
                  <a:lnTo>
                    <a:pt x="471" y="605"/>
                  </a:lnTo>
                  <a:lnTo>
                    <a:pt x="468" y="605"/>
                  </a:lnTo>
                  <a:lnTo>
                    <a:pt x="465" y="606"/>
                  </a:lnTo>
                  <a:lnTo>
                    <a:pt x="461" y="607"/>
                  </a:lnTo>
                  <a:lnTo>
                    <a:pt x="456" y="607"/>
                  </a:lnTo>
                  <a:lnTo>
                    <a:pt x="451" y="607"/>
                  </a:lnTo>
                  <a:lnTo>
                    <a:pt x="440" y="607"/>
                  </a:lnTo>
                  <a:lnTo>
                    <a:pt x="434" y="607"/>
                  </a:lnTo>
                  <a:lnTo>
                    <a:pt x="421" y="607"/>
                  </a:lnTo>
                  <a:lnTo>
                    <a:pt x="410" y="608"/>
                  </a:lnTo>
                  <a:lnTo>
                    <a:pt x="396" y="609"/>
                  </a:lnTo>
                  <a:lnTo>
                    <a:pt x="385" y="609"/>
                  </a:lnTo>
                  <a:lnTo>
                    <a:pt x="380" y="609"/>
                  </a:lnTo>
                  <a:lnTo>
                    <a:pt x="370" y="609"/>
                  </a:lnTo>
                  <a:lnTo>
                    <a:pt x="364" y="607"/>
                  </a:lnTo>
                  <a:lnTo>
                    <a:pt x="361" y="607"/>
                  </a:lnTo>
                  <a:lnTo>
                    <a:pt x="358" y="605"/>
                  </a:lnTo>
                  <a:lnTo>
                    <a:pt x="352" y="602"/>
                  </a:lnTo>
                  <a:lnTo>
                    <a:pt x="349" y="602"/>
                  </a:lnTo>
                  <a:lnTo>
                    <a:pt x="344" y="600"/>
                  </a:lnTo>
                  <a:lnTo>
                    <a:pt x="337" y="599"/>
                  </a:lnTo>
                  <a:lnTo>
                    <a:pt x="335" y="599"/>
                  </a:lnTo>
                  <a:lnTo>
                    <a:pt x="332" y="598"/>
                  </a:lnTo>
                  <a:lnTo>
                    <a:pt x="330" y="597"/>
                  </a:lnTo>
                  <a:lnTo>
                    <a:pt x="329" y="596"/>
                  </a:lnTo>
                  <a:lnTo>
                    <a:pt x="327" y="594"/>
                  </a:lnTo>
                  <a:lnTo>
                    <a:pt x="326" y="593"/>
                  </a:lnTo>
                  <a:lnTo>
                    <a:pt x="325" y="592"/>
                  </a:lnTo>
                  <a:lnTo>
                    <a:pt x="323" y="589"/>
                  </a:lnTo>
                  <a:lnTo>
                    <a:pt x="319" y="582"/>
                  </a:lnTo>
                  <a:lnTo>
                    <a:pt x="317" y="580"/>
                  </a:lnTo>
                  <a:lnTo>
                    <a:pt x="316" y="579"/>
                  </a:lnTo>
                  <a:lnTo>
                    <a:pt x="313" y="576"/>
                  </a:lnTo>
                  <a:lnTo>
                    <a:pt x="307" y="570"/>
                  </a:lnTo>
                  <a:lnTo>
                    <a:pt x="305" y="568"/>
                  </a:lnTo>
                  <a:lnTo>
                    <a:pt x="304" y="567"/>
                  </a:lnTo>
                  <a:lnTo>
                    <a:pt x="303" y="566"/>
                  </a:lnTo>
                  <a:lnTo>
                    <a:pt x="302" y="564"/>
                  </a:lnTo>
                  <a:lnTo>
                    <a:pt x="300" y="560"/>
                  </a:lnTo>
                  <a:lnTo>
                    <a:pt x="299" y="558"/>
                  </a:lnTo>
                  <a:lnTo>
                    <a:pt x="299" y="556"/>
                  </a:lnTo>
                  <a:lnTo>
                    <a:pt x="296" y="554"/>
                  </a:lnTo>
                  <a:lnTo>
                    <a:pt x="296" y="554"/>
                  </a:lnTo>
                  <a:lnTo>
                    <a:pt x="294" y="553"/>
                  </a:lnTo>
                  <a:lnTo>
                    <a:pt x="294" y="553"/>
                  </a:lnTo>
                  <a:lnTo>
                    <a:pt x="292" y="552"/>
                  </a:lnTo>
                  <a:lnTo>
                    <a:pt x="289" y="552"/>
                  </a:lnTo>
                  <a:lnTo>
                    <a:pt x="282" y="553"/>
                  </a:lnTo>
                  <a:lnTo>
                    <a:pt x="280" y="553"/>
                  </a:lnTo>
                  <a:lnTo>
                    <a:pt x="276" y="553"/>
                  </a:lnTo>
                  <a:lnTo>
                    <a:pt x="276" y="553"/>
                  </a:lnTo>
                  <a:lnTo>
                    <a:pt x="274" y="552"/>
                  </a:lnTo>
                  <a:lnTo>
                    <a:pt x="272" y="551"/>
                  </a:lnTo>
                  <a:lnTo>
                    <a:pt x="270" y="549"/>
                  </a:lnTo>
                  <a:lnTo>
                    <a:pt x="268" y="547"/>
                  </a:lnTo>
                  <a:lnTo>
                    <a:pt x="266" y="544"/>
                  </a:lnTo>
                  <a:lnTo>
                    <a:pt x="264" y="542"/>
                  </a:lnTo>
                  <a:lnTo>
                    <a:pt x="262" y="541"/>
                  </a:lnTo>
                  <a:lnTo>
                    <a:pt x="261" y="540"/>
                  </a:lnTo>
                  <a:lnTo>
                    <a:pt x="261" y="540"/>
                  </a:lnTo>
                  <a:lnTo>
                    <a:pt x="259" y="539"/>
                  </a:lnTo>
                  <a:lnTo>
                    <a:pt x="257" y="540"/>
                  </a:lnTo>
                  <a:lnTo>
                    <a:pt x="256" y="541"/>
                  </a:lnTo>
                  <a:lnTo>
                    <a:pt x="254" y="542"/>
                  </a:lnTo>
                  <a:lnTo>
                    <a:pt x="254" y="543"/>
                  </a:lnTo>
                  <a:lnTo>
                    <a:pt x="252" y="546"/>
                  </a:lnTo>
                  <a:lnTo>
                    <a:pt x="247" y="556"/>
                  </a:lnTo>
                  <a:lnTo>
                    <a:pt x="244" y="561"/>
                  </a:lnTo>
                  <a:lnTo>
                    <a:pt x="243" y="562"/>
                  </a:lnTo>
                  <a:lnTo>
                    <a:pt x="242" y="563"/>
                  </a:lnTo>
                  <a:lnTo>
                    <a:pt x="241" y="564"/>
                  </a:lnTo>
                  <a:lnTo>
                    <a:pt x="239" y="564"/>
                  </a:lnTo>
                  <a:lnTo>
                    <a:pt x="237" y="565"/>
                  </a:lnTo>
                  <a:lnTo>
                    <a:pt x="224" y="567"/>
                  </a:lnTo>
                  <a:lnTo>
                    <a:pt x="219" y="568"/>
                  </a:lnTo>
                  <a:lnTo>
                    <a:pt x="217" y="569"/>
                  </a:lnTo>
                  <a:lnTo>
                    <a:pt x="213" y="570"/>
                  </a:lnTo>
                  <a:lnTo>
                    <a:pt x="204" y="574"/>
                  </a:lnTo>
                  <a:lnTo>
                    <a:pt x="202" y="575"/>
                  </a:lnTo>
                  <a:lnTo>
                    <a:pt x="200" y="576"/>
                  </a:lnTo>
                  <a:lnTo>
                    <a:pt x="199" y="576"/>
                  </a:lnTo>
                  <a:lnTo>
                    <a:pt x="197" y="576"/>
                  </a:lnTo>
                  <a:lnTo>
                    <a:pt x="192" y="576"/>
                  </a:lnTo>
                  <a:lnTo>
                    <a:pt x="184" y="576"/>
                  </a:lnTo>
                  <a:lnTo>
                    <a:pt x="178" y="576"/>
                  </a:lnTo>
                  <a:lnTo>
                    <a:pt x="174" y="576"/>
                  </a:lnTo>
                  <a:lnTo>
                    <a:pt x="167" y="578"/>
                  </a:lnTo>
                  <a:lnTo>
                    <a:pt x="164" y="578"/>
                  </a:lnTo>
                  <a:lnTo>
                    <a:pt x="164" y="577"/>
                  </a:lnTo>
                  <a:lnTo>
                    <a:pt x="162" y="577"/>
                  </a:lnTo>
                  <a:lnTo>
                    <a:pt x="162" y="577"/>
                  </a:lnTo>
                  <a:lnTo>
                    <a:pt x="161" y="575"/>
                  </a:lnTo>
                  <a:lnTo>
                    <a:pt x="159" y="572"/>
                  </a:lnTo>
                  <a:lnTo>
                    <a:pt x="156" y="564"/>
                  </a:lnTo>
                  <a:lnTo>
                    <a:pt x="154" y="559"/>
                  </a:lnTo>
                  <a:lnTo>
                    <a:pt x="152" y="555"/>
                  </a:lnTo>
                  <a:lnTo>
                    <a:pt x="150" y="552"/>
                  </a:lnTo>
                  <a:lnTo>
                    <a:pt x="148" y="549"/>
                  </a:lnTo>
                  <a:lnTo>
                    <a:pt x="147" y="548"/>
                  </a:lnTo>
                  <a:lnTo>
                    <a:pt x="144" y="547"/>
                  </a:lnTo>
                  <a:lnTo>
                    <a:pt x="143" y="547"/>
                  </a:lnTo>
                  <a:lnTo>
                    <a:pt x="141" y="546"/>
                  </a:lnTo>
                  <a:lnTo>
                    <a:pt x="116" y="545"/>
                  </a:lnTo>
                  <a:lnTo>
                    <a:pt x="104" y="544"/>
                  </a:lnTo>
                  <a:lnTo>
                    <a:pt x="91" y="544"/>
                  </a:lnTo>
                  <a:lnTo>
                    <a:pt x="85" y="544"/>
                  </a:lnTo>
                  <a:lnTo>
                    <a:pt x="75" y="545"/>
                  </a:lnTo>
                  <a:lnTo>
                    <a:pt x="72" y="545"/>
                  </a:lnTo>
                  <a:lnTo>
                    <a:pt x="68" y="545"/>
                  </a:lnTo>
                  <a:lnTo>
                    <a:pt x="66" y="544"/>
                  </a:lnTo>
                  <a:lnTo>
                    <a:pt x="64" y="544"/>
                  </a:lnTo>
                  <a:lnTo>
                    <a:pt x="61" y="543"/>
                  </a:lnTo>
                  <a:lnTo>
                    <a:pt x="59" y="542"/>
                  </a:lnTo>
                  <a:lnTo>
                    <a:pt x="57" y="541"/>
                  </a:lnTo>
                  <a:lnTo>
                    <a:pt x="55" y="539"/>
                  </a:lnTo>
                  <a:lnTo>
                    <a:pt x="54" y="538"/>
                  </a:lnTo>
                  <a:lnTo>
                    <a:pt x="52" y="537"/>
                  </a:lnTo>
                  <a:lnTo>
                    <a:pt x="49" y="530"/>
                  </a:lnTo>
                  <a:lnTo>
                    <a:pt x="48" y="528"/>
                  </a:lnTo>
                  <a:lnTo>
                    <a:pt x="47" y="527"/>
                  </a:lnTo>
                  <a:lnTo>
                    <a:pt x="45" y="525"/>
                  </a:lnTo>
                  <a:lnTo>
                    <a:pt x="44" y="524"/>
                  </a:lnTo>
                  <a:lnTo>
                    <a:pt x="42" y="522"/>
                  </a:lnTo>
                  <a:lnTo>
                    <a:pt x="39" y="521"/>
                  </a:lnTo>
                  <a:lnTo>
                    <a:pt x="37" y="519"/>
                  </a:lnTo>
                  <a:lnTo>
                    <a:pt x="34" y="518"/>
                  </a:lnTo>
                  <a:lnTo>
                    <a:pt x="31" y="517"/>
                  </a:lnTo>
                  <a:lnTo>
                    <a:pt x="27" y="516"/>
                  </a:lnTo>
                  <a:lnTo>
                    <a:pt x="21" y="514"/>
                  </a:lnTo>
                  <a:lnTo>
                    <a:pt x="10" y="512"/>
                  </a:lnTo>
                  <a:lnTo>
                    <a:pt x="7" y="512"/>
                  </a:lnTo>
                  <a:lnTo>
                    <a:pt x="5" y="511"/>
                  </a:lnTo>
                  <a:lnTo>
                    <a:pt x="3" y="510"/>
                  </a:lnTo>
                  <a:lnTo>
                    <a:pt x="1" y="509"/>
                  </a:lnTo>
                  <a:lnTo>
                    <a:pt x="0" y="508"/>
                  </a:lnTo>
                  <a:lnTo>
                    <a:pt x="0" y="508"/>
                  </a:lnTo>
                  <a:lnTo>
                    <a:pt x="0" y="507"/>
                  </a:lnTo>
                  <a:lnTo>
                    <a:pt x="0" y="507"/>
                  </a:lnTo>
                  <a:lnTo>
                    <a:pt x="0" y="502"/>
                  </a:lnTo>
                  <a:lnTo>
                    <a:pt x="0" y="499"/>
                  </a:lnTo>
                  <a:lnTo>
                    <a:pt x="4" y="484"/>
                  </a:lnTo>
                  <a:lnTo>
                    <a:pt x="5" y="480"/>
                  </a:lnTo>
                  <a:lnTo>
                    <a:pt x="6" y="477"/>
                  </a:lnTo>
                  <a:lnTo>
                    <a:pt x="7" y="474"/>
                  </a:lnTo>
                  <a:lnTo>
                    <a:pt x="8" y="472"/>
                  </a:lnTo>
                  <a:lnTo>
                    <a:pt x="9" y="471"/>
                  </a:lnTo>
                  <a:lnTo>
                    <a:pt x="10" y="469"/>
                  </a:lnTo>
                  <a:lnTo>
                    <a:pt x="13" y="466"/>
                  </a:lnTo>
                  <a:lnTo>
                    <a:pt x="18" y="461"/>
                  </a:lnTo>
                  <a:lnTo>
                    <a:pt x="19" y="459"/>
                  </a:lnTo>
                  <a:lnTo>
                    <a:pt x="20" y="458"/>
                  </a:lnTo>
                  <a:lnTo>
                    <a:pt x="21" y="457"/>
                  </a:lnTo>
                  <a:lnTo>
                    <a:pt x="21" y="455"/>
                  </a:lnTo>
                  <a:lnTo>
                    <a:pt x="22" y="453"/>
                  </a:lnTo>
                  <a:lnTo>
                    <a:pt x="22" y="451"/>
                  </a:lnTo>
                  <a:lnTo>
                    <a:pt x="21" y="447"/>
                  </a:lnTo>
                  <a:lnTo>
                    <a:pt x="20" y="445"/>
                  </a:lnTo>
                  <a:lnTo>
                    <a:pt x="19" y="442"/>
                  </a:lnTo>
                  <a:lnTo>
                    <a:pt x="18" y="440"/>
                  </a:lnTo>
                  <a:lnTo>
                    <a:pt x="17" y="438"/>
                  </a:lnTo>
                  <a:lnTo>
                    <a:pt x="12" y="432"/>
                  </a:lnTo>
                  <a:lnTo>
                    <a:pt x="10" y="430"/>
                  </a:lnTo>
                  <a:lnTo>
                    <a:pt x="8" y="425"/>
                  </a:lnTo>
                  <a:lnTo>
                    <a:pt x="7" y="422"/>
                  </a:lnTo>
                  <a:lnTo>
                    <a:pt x="6" y="419"/>
                  </a:lnTo>
                  <a:lnTo>
                    <a:pt x="5" y="416"/>
                  </a:lnTo>
                  <a:lnTo>
                    <a:pt x="5" y="414"/>
                  </a:lnTo>
                  <a:lnTo>
                    <a:pt x="5" y="412"/>
                  </a:lnTo>
                  <a:lnTo>
                    <a:pt x="6" y="410"/>
                  </a:lnTo>
                  <a:lnTo>
                    <a:pt x="7" y="407"/>
                  </a:lnTo>
                  <a:lnTo>
                    <a:pt x="8" y="406"/>
                  </a:lnTo>
                  <a:lnTo>
                    <a:pt x="9" y="405"/>
                  </a:lnTo>
                  <a:lnTo>
                    <a:pt x="11" y="402"/>
                  </a:lnTo>
                  <a:lnTo>
                    <a:pt x="15" y="398"/>
                  </a:lnTo>
                  <a:lnTo>
                    <a:pt x="19" y="393"/>
                  </a:lnTo>
                  <a:lnTo>
                    <a:pt x="20" y="392"/>
                  </a:lnTo>
                  <a:lnTo>
                    <a:pt x="22" y="391"/>
                  </a:lnTo>
                  <a:lnTo>
                    <a:pt x="26" y="390"/>
                  </a:lnTo>
                  <a:lnTo>
                    <a:pt x="27" y="389"/>
                  </a:lnTo>
                  <a:lnTo>
                    <a:pt x="29" y="388"/>
                  </a:lnTo>
                  <a:lnTo>
                    <a:pt x="29" y="387"/>
                  </a:lnTo>
                  <a:lnTo>
                    <a:pt x="30" y="386"/>
                  </a:lnTo>
                  <a:lnTo>
                    <a:pt x="31" y="384"/>
                  </a:lnTo>
                  <a:lnTo>
                    <a:pt x="32" y="380"/>
                  </a:lnTo>
                  <a:lnTo>
                    <a:pt x="33" y="378"/>
                  </a:lnTo>
                  <a:lnTo>
                    <a:pt x="33" y="377"/>
                  </a:lnTo>
                  <a:lnTo>
                    <a:pt x="33" y="376"/>
                  </a:lnTo>
                  <a:lnTo>
                    <a:pt x="32" y="375"/>
                  </a:lnTo>
                  <a:lnTo>
                    <a:pt x="32" y="375"/>
                  </a:lnTo>
                  <a:lnTo>
                    <a:pt x="31" y="373"/>
                  </a:lnTo>
                  <a:lnTo>
                    <a:pt x="26" y="370"/>
                  </a:lnTo>
                  <a:lnTo>
                    <a:pt x="24" y="368"/>
                  </a:lnTo>
                  <a:lnTo>
                    <a:pt x="22" y="366"/>
                  </a:lnTo>
                  <a:lnTo>
                    <a:pt x="21" y="365"/>
                  </a:lnTo>
                  <a:lnTo>
                    <a:pt x="20" y="363"/>
                  </a:lnTo>
                  <a:lnTo>
                    <a:pt x="19" y="361"/>
                  </a:lnTo>
                  <a:lnTo>
                    <a:pt x="19" y="360"/>
                  </a:lnTo>
                  <a:lnTo>
                    <a:pt x="18" y="357"/>
                  </a:lnTo>
                  <a:lnTo>
                    <a:pt x="18" y="356"/>
                  </a:lnTo>
                  <a:lnTo>
                    <a:pt x="18" y="355"/>
                  </a:lnTo>
                  <a:lnTo>
                    <a:pt x="18" y="352"/>
                  </a:lnTo>
                  <a:lnTo>
                    <a:pt x="18" y="351"/>
                  </a:lnTo>
                  <a:lnTo>
                    <a:pt x="18" y="350"/>
                  </a:lnTo>
                  <a:lnTo>
                    <a:pt x="19" y="349"/>
                  </a:lnTo>
                  <a:lnTo>
                    <a:pt x="19" y="348"/>
                  </a:lnTo>
                  <a:lnTo>
                    <a:pt x="20" y="347"/>
                  </a:lnTo>
                  <a:lnTo>
                    <a:pt x="21" y="346"/>
                  </a:lnTo>
                  <a:lnTo>
                    <a:pt x="22" y="345"/>
                  </a:lnTo>
                  <a:lnTo>
                    <a:pt x="29" y="342"/>
                  </a:lnTo>
                  <a:lnTo>
                    <a:pt x="30" y="340"/>
                  </a:lnTo>
                  <a:lnTo>
                    <a:pt x="32" y="340"/>
                  </a:lnTo>
                  <a:lnTo>
                    <a:pt x="33" y="338"/>
                  </a:lnTo>
                  <a:lnTo>
                    <a:pt x="34" y="337"/>
                  </a:lnTo>
                  <a:lnTo>
                    <a:pt x="35" y="335"/>
                  </a:lnTo>
                  <a:lnTo>
                    <a:pt x="36" y="334"/>
                  </a:lnTo>
                  <a:lnTo>
                    <a:pt x="37" y="332"/>
                  </a:lnTo>
                  <a:lnTo>
                    <a:pt x="37" y="330"/>
                  </a:lnTo>
                  <a:lnTo>
                    <a:pt x="37" y="329"/>
                  </a:lnTo>
                  <a:lnTo>
                    <a:pt x="37" y="327"/>
                  </a:lnTo>
                  <a:lnTo>
                    <a:pt x="37" y="325"/>
                  </a:lnTo>
                  <a:lnTo>
                    <a:pt x="37" y="321"/>
                  </a:lnTo>
                  <a:lnTo>
                    <a:pt x="37" y="317"/>
                  </a:lnTo>
                  <a:lnTo>
                    <a:pt x="37" y="315"/>
                  </a:lnTo>
                  <a:lnTo>
                    <a:pt x="37" y="312"/>
                  </a:lnTo>
                  <a:lnTo>
                    <a:pt x="37" y="310"/>
                  </a:lnTo>
                  <a:lnTo>
                    <a:pt x="37" y="307"/>
                  </a:lnTo>
                  <a:lnTo>
                    <a:pt x="39" y="305"/>
                  </a:lnTo>
                  <a:lnTo>
                    <a:pt x="39" y="302"/>
                  </a:lnTo>
                  <a:lnTo>
                    <a:pt x="42" y="300"/>
                  </a:lnTo>
                  <a:lnTo>
                    <a:pt x="47" y="295"/>
                  </a:lnTo>
                  <a:lnTo>
                    <a:pt x="49" y="292"/>
                  </a:lnTo>
                  <a:lnTo>
                    <a:pt x="52" y="290"/>
                  </a:lnTo>
                  <a:lnTo>
                    <a:pt x="59" y="285"/>
                  </a:lnTo>
                  <a:lnTo>
                    <a:pt x="67" y="279"/>
                  </a:lnTo>
                  <a:lnTo>
                    <a:pt x="69" y="277"/>
                  </a:lnTo>
                  <a:lnTo>
                    <a:pt x="71" y="275"/>
                  </a:lnTo>
                  <a:lnTo>
                    <a:pt x="73" y="273"/>
                  </a:lnTo>
                  <a:lnTo>
                    <a:pt x="74" y="270"/>
                  </a:lnTo>
                  <a:lnTo>
                    <a:pt x="76" y="265"/>
                  </a:lnTo>
                  <a:lnTo>
                    <a:pt x="79" y="258"/>
                  </a:lnTo>
                  <a:lnTo>
                    <a:pt x="81" y="254"/>
                  </a:lnTo>
                  <a:lnTo>
                    <a:pt x="83" y="249"/>
                  </a:lnTo>
                  <a:lnTo>
                    <a:pt x="87" y="243"/>
                  </a:lnTo>
                  <a:lnTo>
                    <a:pt x="88" y="240"/>
                  </a:lnTo>
                  <a:lnTo>
                    <a:pt x="89" y="237"/>
                  </a:lnTo>
                  <a:lnTo>
                    <a:pt x="90" y="233"/>
                  </a:lnTo>
                  <a:lnTo>
                    <a:pt x="92" y="228"/>
                  </a:lnTo>
                  <a:lnTo>
                    <a:pt x="92" y="225"/>
                  </a:lnTo>
                  <a:lnTo>
                    <a:pt x="93" y="223"/>
                  </a:lnTo>
                  <a:lnTo>
                    <a:pt x="93" y="220"/>
                  </a:lnTo>
                  <a:lnTo>
                    <a:pt x="92" y="219"/>
                  </a:lnTo>
                  <a:lnTo>
                    <a:pt x="92" y="217"/>
                  </a:lnTo>
                  <a:lnTo>
                    <a:pt x="91" y="215"/>
                  </a:lnTo>
                  <a:lnTo>
                    <a:pt x="89" y="213"/>
                  </a:lnTo>
                  <a:lnTo>
                    <a:pt x="88" y="211"/>
                  </a:lnTo>
                  <a:lnTo>
                    <a:pt x="84" y="207"/>
                  </a:lnTo>
                  <a:lnTo>
                    <a:pt x="83" y="205"/>
                  </a:lnTo>
                  <a:lnTo>
                    <a:pt x="81" y="201"/>
                  </a:lnTo>
                  <a:lnTo>
                    <a:pt x="77" y="193"/>
                  </a:lnTo>
                  <a:lnTo>
                    <a:pt x="74" y="188"/>
                  </a:lnTo>
                  <a:lnTo>
                    <a:pt x="73" y="183"/>
                  </a:lnTo>
                  <a:lnTo>
                    <a:pt x="69" y="173"/>
                  </a:lnTo>
                  <a:lnTo>
                    <a:pt x="69" y="170"/>
                  </a:lnTo>
                  <a:lnTo>
                    <a:pt x="69" y="169"/>
                  </a:lnTo>
                  <a:lnTo>
                    <a:pt x="69" y="168"/>
                  </a:lnTo>
                  <a:lnTo>
                    <a:pt x="74" y="155"/>
                  </a:lnTo>
                  <a:lnTo>
                    <a:pt x="75" y="151"/>
                  </a:lnTo>
                  <a:lnTo>
                    <a:pt x="77" y="147"/>
                  </a:lnTo>
                  <a:lnTo>
                    <a:pt x="79" y="143"/>
                  </a:lnTo>
                  <a:lnTo>
                    <a:pt x="80" y="140"/>
                  </a:lnTo>
                  <a:lnTo>
                    <a:pt x="87" y="130"/>
                  </a:lnTo>
                  <a:lnTo>
                    <a:pt x="88" y="128"/>
                  </a:lnTo>
                  <a:lnTo>
                    <a:pt x="89" y="127"/>
                  </a:lnTo>
                  <a:lnTo>
                    <a:pt x="89" y="125"/>
                  </a:lnTo>
                  <a:lnTo>
                    <a:pt x="88" y="123"/>
                  </a:lnTo>
                  <a:lnTo>
                    <a:pt x="86" y="118"/>
                  </a:lnTo>
                  <a:lnTo>
                    <a:pt x="82" y="112"/>
                  </a:lnTo>
                  <a:lnTo>
                    <a:pt x="80" y="106"/>
                  </a:lnTo>
                  <a:lnTo>
                    <a:pt x="79" y="103"/>
                  </a:lnTo>
                  <a:lnTo>
                    <a:pt x="77" y="99"/>
                  </a:lnTo>
                  <a:lnTo>
                    <a:pt x="77" y="93"/>
                  </a:lnTo>
                  <a:lnTo>
                    <a:pt x="76" y="89"/>
                  </a:lnTo>
                  <a:lnTo>
                    <a:pt x="76" y="86"/>
                  </a:lnTo>
                  <a:lnTo>
                    <a:pt x="75" y="75"/>
                  </a:lnTo>
                  <a:lnTo>
                    <a:pt x="75" y="73"/>
                  </a:lnTo>
                  <a:lnTo>
                    <a:pt x="74" y="69"/>
                  </a:lnTo>
                  <a:lnTo>
                    <a:pt x="73" y="65"/>
                  </a:lnTo>
                  <a:lnTo>
                    <a:pt x="72" y="61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68" y="56"/>
                  </a:lnTo>
                  <a:lnTo>
                    <a:pt x="67" y="53"/>
                  </a:lnTo>
                  <a:lnTo>
                    <a:pt x="66" y="52"/>
                  </a:lnTo>
                  <a:lnTo>
                    <a:pt x="65" y="50"/>
                  </a:lnTo>
                  <a:lnTo>
                    <a:pt x="65" y="49"/>
                  </a:lnTo>
                  <a:lnTo>
                    <a:pt x="64" y="48"/>
                  </a:lnTo>
                  <a:lnTo>
                    <a:pt x="64" y="46"/>
                  </a:lnTo>
                  <a:lnTo>
                    <a:pt x="64" y="45"/>
                  </a:lnTo>
                  <a:lnTo>
                    <a:pt x="65" y="41"/>
                  </a:lnTo>
                  <a:lnTo>
                    <a:pt x="69" y="28"/>
                  </a:lnTo>
                  <a:lnTo>
                    <a:pt x="70" y="25"/>
                  </a:lnTo>
                  <a:lnTo>
                    <a:pt x="71" y="24"/>
                  </a:lnTo>
                  <a:lnTo>
                    <a:pt x="72" y="23"/>
                  </a:lnTo>
                  <a:lnTo>
                    <a:pt x="74" y="20"/>
                  </a:lnTo>
                  <a:lnTo>
                    <a:pt x="75" y="18"/>
                  </a:lnTo>
                  <a:lnTo>
                    <a:pt x="76" y="18"/>
                  </a:lnTo>
                  <a:lnTo>
                    <a:pt x="77" y="17"/>
                  </a:lnTo>
                  <a:lnTo>
                    <a:pt x="77" y="17"/>
                  </a:lnTo>
                  <a:lnTo>
                    <a:pt x="77" y="18"/>
                  </a:lnTo>
                  <a:lnTo>
                    <a:pt x="79" y="19"/>
                  </a:lnTo>
                  <a:lnTo>
                    <a:pt x="81" y="20"/>
                  </a:lnTo>
                  <a:lnTo>
                    <a:pt x="83" y="20"/>
                  </a:lnTo>
                  <a:lnTo>
                    <a:pt x="86" y="21"/>
                  </a:lnTo>
                  <a:lnTo>
                    <a:pt x="89" y="22"/>
                  </a:lnTo>
                  <a:lnTo>
                    <a:pt x="92" y="23"/>
                  </a:lnTo>
                  <a:lnTo>
                    <a:pt x="93" y="22"/>
                  </a:lnTo>
                  <a:lnTo>
                    <a:pt x="94" y="21"/>
                  </a:lnTo>
                  <a:lnTo>
                    <a:pt x="95" y="20"/>
                  </a:lnTo>
                  <a:lnTo>
                    <a:pt x="98" y="18"/>
                  </a:lnTo>
                  <a:lnTo>
                    <a:pt x="101" y="13"/>
                  </a:lnTo>
                  <a:lnTo>
                    <a:pt x="102" y="13"/>
                  </a:lnTo>
                  <a:lnTo>
                    <a:pt x="102" y="13"/>
                  </a:lnTo>
                  <a:lnTo>
                    <a:pt x="104" y="12"/>
                  </a:lnTo>
                  <a:lnTo>
                    <a:pt x="106" y="12"/>
                  </a:lnTo>
                  <a:lnTo>
                    <a:pt x="109" y="13"/>
                  </a:lnTo>
                  <a:lnTo>
                    <a:pt x="113" y="13"/>
                  </a:lnTo>
                  <a:lnTo>
                    <a:pt x="114" y="13"/>
                  </a:lnTo>
                  <a:lnTo>
                    <a:pt x="115" y="13"/>
                  </a:lnTo>
                  <a:lnTo>
                    <a:pt x="118" y="11"/>
                  </a:lnTo>
                  <a:lnTo>
                    <a:pt x="119" y="10"/>
                  </a:lnTo>
                  <a:lnTo>
                    <a:pt x="119" y="10"/>
                  </a:lnTo>
                  <a:lnTo>
                    <a:pt x="121" y="7"/>
                  </a:lnTo>
                  <a:lnTo>
                    <a:pt x="122" y="5"/>
                  </a:lnTo>
                  <a:lnTo>
                    <a:pt x="124" y="3"/>
                  </a:lnTo>
                  <a:lnTo>
                    <a:pt x="127" y="0"/>
                  </a:lnTo>
                  <a:lnTo>
                    <a:pt x="127" y="0"/>
                  </a:lnTo>
                  <a:close/>
                </a:path>
              </a:pathLst>
            </a:custGeom>
            <a:solidFill>
              <a:srgbClr val="EFF3FF"/>
            </a:solidFill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101">
              <a:extLst>
                <a:ext uri="{FF2B5EF4-FFF2-40B4-BE49-F238E27FC236}">
                  <a16:creationId xmlns:a16="http://schemas.microsoft.com/office/drawing/2014/main" id="{7943003B-49AD-389D-5262-13A761C107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186" y="5395750"/>
              <a:ext cx="1076325" cy="930275"/>
            </a:xfrm>
            <a:custGeom>
              <a:avLst/>
              <a:gdLst>
                <a:gd name="T0" fmla="*/ 141 w 678"/>
                <a:gd name="T1" fmla="*/ 7 h 586"/>
                <a:gd name="T2" fmla="*/ 179 w 678"/>
                <a:gd name="T3" fmla="*/ 19 h 586"/>
                <a:gd name="T4" fmla="*/ 197 w 678"/>
                <a:gd name="T5" fmla="*/ 39 h 586"/>
                <a:gd name="T6" fmla="*/ 244 w 678"/>
                <a:gd name="T7" fmla="*/ 42 h 586"/>
                <a:gd name="T8" fmla="*/ 296 w 678"/>
                <a:gd name="T9" fmla="*/ 62 h 586"/>
                <a:gd name="T10" fmla="*/ 324 w 678"/>
                <a:gd name="T11" fmla="*/ 74 h 586"/>
                <a:gd name="T12" fmla="*/ 364 w 678"/>
                <a:gd name="T13" fmla="*/ 65 h 586"/>
                <a:gd name="T14" fmla="*/ 394 w 678"/>
                <a:gd name="T15" fmla="*/ 40 h 586"/>
                <a:gd name="T16" fmla="*/ 410 w 678"/>
                <a:gd name="T17" fmla="*/ 47 h 586"/>
                <a:gd name="T18" fmla="*/ 434 w 678"/>
                <a:gd name="T19" fmla="*/ 51 h 586"/>
                <a:gd name="T20" fmla="*/ 447 w 678"/>
                <a:gd name="T21" fmla="*/ 68 h 586"/>
                <a:gd name="T22" fmla="*/ 470 w 678"/>
                <a:gd name="T23" fmla="*/ 95 h 586"/>
                <a:gd name="T24" fmla="*/ 510 w 678"/>
                <a:gd name="T25" fmla="*/ 107 h 586"/>
                <a:gd name="T26" fmla="*/ 601 w 678"/>
                <a:gd name="T27" fmla="*/ 105 h 586"/>
                <a:gd name="T28" fmla="*/ 629 w 678"/>
                <a:gd name="T29" fmla="*/ 94 h 586"/>
                <a:gd name="T30" fmla="*/ 644 w 678"/>
                <a:gd name="T31" fmla="*/ 75 h 586"/>
                <a:gd name="T32" fmla="*/ 652 w 678"/>
                <a:gd name="T33" fmla="*/ 92 h 586"/>
                <a:gd name="T34" fmla="*/ 652 w 678"/>
                <a:gd name="T35" fmla="*/ 145 h 586"/>
                <a:gd name="T36" fmla="*/ 677 w 678"/>
                <a:gd name="T37" fmla="*/ 182 h 586"/>
                <a:gd name="T38" fmla="*/ 668 w 678"/>
                <a:gd name="T39" fmla="*/ 201 h 586"/>
                <a:gd name="T40" fmla="*/ 639 w 678"/>
                <a:gd name="T41" fmla="*/ 226 h 586"/>
                <a:gd name="T42" fmla="*/ 606 w 678"/>
                <a:gd name="T43" fmla="*/ 244 h 586"/>
                <a:gd name="T44" fmla="*/ 591 w 678"/>
                <a:gd name="T45" fmla="*/ 274 h 586"/>
                <a:gd name="T46" fmla="*/ 584 w 678"/>
                <a:gd name="T47" fmla="*/ 312 h 586"/>
                <a:gd name="T48" fmla="*/ 574 w 678"/>
                <a:gd name="T49" fmla="*/ 336 h 586"/>
                <a:gd name="T50" fmla="*/ 585 w 678"/>
                <a:gd name="T51" fmla="*/ 365 h 586"/>
                <a:gd name="T52" fmla="*/ 584 w 678"/>
                <a:gd name="T53" fmla="*/ 379 h 586"/>
                <a:gd name="T54" fmla="*/ 570 w 678"/>
                <a:gd name="T55" fmla="*/ 385 h 586"/>
                <a:gd name="T56" fmla="*/ 527 w 678"/>
                <a:gd name="T57" fmla="*/ 367 h 586"/>
                <a:gd name="T58" fmla="*/ 474 w 678"/>
                <a:gd name="T59" fmla="*/ 367 h 586"/>
                <a:gd name="T60" fmla="*/ 411 w 678"/>
                <a:gd name="T61" fmla="*/ 379 h 586"/>
                <a:gd name="T62" fmla="*/ 379 w 678"/>
                <a:gd name="T63" fmla="*/ 379 h 586"/>
                <a:gd name="T64" fmla="*/ 376 w 678"/>
                <a:gd name="T65" fmla="*/ 409 h 586"/>
                <a:gd name="T66" fmla="*/ 384 w 678"/>
                <a:gd name="T67" fmla="*/ 464 h 586"/>
                <a:gd name="T68" fmla="*/ 393 w 678"/>
                <a:gd name="T69" fmla="*/ 515 h 586"/>
                <a:gd name="T70" fmla="*/ 375 w 678"/>
                <a:gd name="T71" fmla="*/ 559 h 586"/>
                <a:gd name="T72" fmla="*/ 347 w 678"/>
                <a:gd name="T73" fmla="*/ 573 h 586"/>
                <a:gd name="T74" fmla="*/ 326 w 678"/>
                <a:gd name="T75" fmla="*/ 576 h 586"/>
                <a:gd name="T76" fmla="*/ 281 w 678"/>
                <a:gd name="T77" fmla="*/ 551 h 586"/>
                <a:gd name="T78" fmla="*/ 243 w 678"/>
                <a:gd name="T79" fmla="*/ 531 h 586"/>
                <a:gd name="T80" fmla="*/ 226 w 678"/>
                <a:gd name="T81" fmla="*/ 477 h 586"/>
                <a:gd name="T82" fmla="*/ 203 w 678"/>
                <a:gd name="T83" fmla="*/ 454 h 586"/>
                <a:gd name="T84" fmla="*/ 181 w 678"/>
                <a:gd name="T85" fmla="*/ 402 h 586"/>
                <a:gd name="T86" fmla="*/ 148 w 678"/>
                <a:gd name="T87" fmla="*/ 394 h 586"/>
                <a:gd name="T88" fmla="*/ 115 w 678"/>
                <a:gd name="T89" fmla="*/ 384 h 586"/>
                <a:gd name="T90" fmla="*/ 75 w 678"/>
                <a:gd name="T91" fmla="*/ 308 h 586"/>
                <a:gd name="T92" fmla="*/ 57 w 678"/>
                <a:gd name="T93" fmla="*/ 301 h 586"/>
                <a:gd name="T94" fmla="*/ 34 w 678"/>
                <a:gd name="T95" fmla="*/ 275 h 586"/>
                <a:gd name="T96" fmla="*/ 8 w 678"/>
                <a:gd name="T97" fmla="*/ 270 h 586"/>
                <a:gd name="T98" fmla="*/ 0 w 678"/>
                <a:gd name="T99" fmla="*/ 232 h 586"/>
                <a:gd name="T100" fmla="*/ 13 w 678"/>
                <a:gd name="T101" fmla="*/ 184 h 586"/>
                <a:gd name="T102" fmla="*/ 40 w 678"/>
                <a:gd name="T103" fmla="*/ 159 h 586"/>
                <a:gd name="T104" fmla="*/ 56 w 678"/>
                <a:gd name="T105" fmla="*/ 140 h 586"/>
                <a:gd name="T106" fmla="*/ 47 w 678"/>
                <a:gd name="T107" fmla="*/ 91 h 586"/>
                <a:gd name="T108" fmla="*/ 52 w 678"/>
                <a:gd name="T109" fmla="*/ 40 h 586"/>
                <a:gd name="T110" fmla="*/ 74 w 678"/>
                <a:gd name="T111" fmla="*/ 27 h 586"/>
                <a:gd name="T112" fmla="*/ 99 w 678"/>
                <a:gd name="T113" fmla="*/ 22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78" h="586">
                  <a:moveTo>
                    <a:pt x="132" y="0"/>
                  </a:moveTo>
                  <a:lnTo>
                    <a:pt x="135" y="2"/>
                  </a:lnTo>
                  <a:lnTo>
                    <a:pt x="137" y="1"/>
                  </a:lnTo>
                  <a:lnTo>
                    <a:pt x="137" y="1"/>
                  </a:lnTo>
                  <a:lnTo>
                    <a:pt x="138" y="2"/>
                  </a:lnTo>
                  <a:lnTo>
                    <a:pt x="139" y="2"/>
                  </a:lnTo>
                  <a:lnTo>
                    <a:pt x="140" y="5"/>
                  </a:lnTo>
                  <a:lnTo>
                    <a:pt x="140" y="6"/>
                  </a:lnTo>
                  <a:lnTo>
                    <a:pt x="140" y="6"/>
                  </a:lnTo>
                  <a:lnTo>
                    <a:pt x="141" y="7"/>
                  </a:lnTo>
                  <a:lnTo>
                    <a:pt x="143" y="8"/>
                  </a:lnTo>
                  <a:lnTo>
                    <a:pt x="145" y="9"/>
                  </a:lnTo>
                  <a:lnTo>
                    <a:pt x="147" y="10"/>
                  </a:lnTo>
                  <a:lnTo>
                    <a:pt x="150" y="10"/>
                  </a:lnTo>
                  <a:lnTo>
                    <a:pt x="161" y="12"/>
                  </a:lnTo>
                  <a:lnTo>
                    <a:pt x="167" y="14"/>
                  </a:lnTo>
                  <a:lnTo>
                    <a:pt x="171" y="15"/>
                  </a:lnTo>
                  <a:lnTo>
                    <a:pt x="174" y="16"/>
                  </a:lnTo>
                  <a:lnTo>
                    <a:pt x="177" y="17"/>
                  </a:lnTo>
                  <a:lnTo>
                    <a:pt x="179" y="19"/>
                  </a:lnTo>
                  <a:lnTo>
                    <a:pt x="182" y="20"/>
                  </a:lnTo>
                  <a:lnTo>
                    <a:pt x="184" y="22"/>
                  </a:lnTo>
                  <a:lnTo>
                    <a:pt x="185" y="23"/>
                  </a:lnTo>
                  <a:lnTo>
                    <a:pt x="187" y="25"/>
                  </a:lnTo>
                  <a:lnTo>
                    <a:pt x="188" y="26"/>
                  </a:lnTo>
                  <a:lnTo>
                    <a:pt x="189" y="28"/>
                  </a:lnTo>
                  <a:lnTo>
                    <a:pt x="192" y="35"/>
                  </a:lnTo>
                  <a:lnTo>
                    <a:pt x="194" y="36"/>
                  </a:lnTo>
                  <a:lnTo>
                    <a:pt x="195" y="37"/>
                  </a:lnTo>
                  <a:lnTo>
                    <a:pt x="197" y="39"/>
                  </a:lnTo>
                  <a:lnTo>
                    <a:pt x="199" y="40"/>
                  </a:lnTo>
                  <a:lnTo>
                    <a:pt x="201" y="41"/>
                  </a:lnTo>
                  <a:lnTo>
                    <a:pt x="204" y="42"/>
                  </a:lnTo>
                  <a:lnTo>
                    <a:pt x="206" y="42"/>
                  </a:lnTo>
                  <a:lnTo>
                    <a:pt x="208" y="43"/>
                  </a:lnTo>
                  <a:lnTo>
                    <a:pt x="212" y="43"/>
                  </a:lnTo>
                  <a:lnTo>
                    <a:pt x="215" y="43"/>
                  </a:lnTo>
                  <a:lnTo>
                    <a:pt x="225" y="42"/>
                  </a:lnTo>
                  <a:lnTo>
                    <a:pt x="231" y="42"/>
                  </a:lnTo>
                  <a:lnTo>
                    <a:pt x="244" y="42"/>
                  </a:lnTo>
                  <a:lnTo>
                    <a:pt x="256" y="43"/>
                  </a:lnTo>
                  <a:lnTo>
                    <a:pt x="281" y="44"/>
                  </a:lnTo>
                  <a:lnTo>
                    <a:pt x="283" y="45"/>
                  </a:lnTo>
                  <a:lnTo>
                    <a:pt x="284" y="45"/>
                  </a:lnTo>
                  <a:lnTo>
                    <a:pt x="287" y="46"/>
                  </a:lnTo>
                  <a:lnTo>
                    <a:pt x="288" y="47"/>
                  </a:lnTo>
                  <a:lnTo>
                    <a:pt x="290" y="50"/>
                  </a:lnTo>
                  <a:lnTo>
                    <a:pt x="292" y="53"/>
                  </a:lnTo>
                  <a:lnTo>
                    <a:pt x="294" y="57"/>
                  </a:lnTo>
                  <a:lnTo>
                    <a:pt x="296" y="62"/>
                  </a:lnTo>
                  <a:lnTo>
                    <a:pt x="299" y="70"/>
                  </a:lnTo>
                  <a:lnTo>
                    <a:pt x="301" y="73"/>
                  </a:lnTo>
                  <a:lnTo>
                    <a:pt x="302" y="75"/>
                  </a:lnTo>
                  <a:lnTo>
                    <a:pt x="302" y="75"/>
                  </a:lnTo>
                  <a:lnTo>
                    <a:pt x="304" y="75"/>
                  </a:lnTo>
                  <a:lnTo>
                    <a:pt x="304" y="76"/>
                  </a:lnTo>
                  <a:lnTo>
                    <a:pt x="307" y="76"/>
                  </a:lnTo>
                  <a:lnTo>
                    <a:pt x="314" y="74"/>
                  </a:lnTo>
                  <a:lnTo>
                    <a:pt x="318" y="74"/>
                  </a:lnTo>
                  <a:lnTo>
                    <a:pt x="324" y="74"/>
                  </a:lnTo>
                  <a:lnTo>
                    <a:pt x="332" y="74"/>
                  </a:lnTo>
                  <a:lnTo>
                    <a:pt x="337" y="74"/>
                  </a:lnTo>
                  <a:lnTo>
                    <a:pt x="339" y="74"/>
                  </a:lnTo>
                  <a:lnTo>
                    <a:pt x="340" y="74"/>
                  </a:lnTo>
                  <a:lnTo>
                    <a:pt x="342" y="73"/>
                  </a:lnTo>
                  <a:lnTo>
                    <a:pt x="344" y="72"/>
                  </a:lnTo>
                  <a:lnTo>
                    <a:pt x="353" y="68"/>
                  </a:lnTo>
                  <a:lnTo>
                    <a:pt x="357" y="67"/>
                  </a:lnTo>
                  <a:lnTo>
                    <a:pt x="359" y="66"/>
                  </a:lnTo>
                  <a:lnTo>
                    <a:pt x="364" y="65"/>
                  </a:lnTo>
                  <a:lnTo>
                    <a:pt x="377" y="63"/>
                  </a:lnTo>
                  <a:lnTo>
                    <a:pt x="379" y="62"/>
                  </a:lnTo>
                  <a:lnTo>
                    <a:pt x="381" y="62"/>
                  </a:lnTo>
                  <a:lnTo>
                    <a:pt x="382" y="61"/>
                  </a:lnTo>
                  <a:lnTo>
                    <a:pt x="383" y="60"/>
                  </a:lnTo>
                  <a:lnTo>
                    <a:pt x="384" y="59"/>
                  </a:lnTo>
                  <a:lnTo>
                    <a:pt x="387" y="54"/>
                  </a:lnTo>
                  <a:lnTo>
                    <a:pt x="392" y="44"/>
                  </a:lnTo>
                  <a:lnTo>
                    <a:pt x="394" y="41"/>
                  </a:lnTo>
                  <a:lnTo>
                    <a:pt x="394" y="40"/>
                  </a:lnTo>
                  <a:lnTo>
                    <a:pt x="396" y="39"/>
                  </a:lnTo>
                  <a:lnTo>
                    <a:pt x="397" y="38"/>
                  </a:lnTo>
                  <a:lnTo>
                    <a:pt x="399" y="37"/>
                  </a:lnTo>
                  <a:lnTo>
                    <a:pt x="401" y="38"/>
                  </a:lnTo>
                  <a:lnTo>
                    <a:pt x="401" y="38"/>
                  </a:lnTo>
                  <a:lnTo>
                    <a:pt x="402" y="39"/>
                  </a:lnTo>
                  <a:lnTo>
                    <a:pt x="404" y="40"/>
                  </a:lnTo>
                  <a:lnTo>
                    <a:pt x="406" y="42"/>
                  </a:lnTo>
                  <a:lnTo>
                    <a:pt x="408" y="45"/>
                  </a:lnTo>
                  <a:lnTo>
                    <a:pt x="410" y="47"/>
                  </a:lnTo>
                  <a:lnTo>
                    <a:pt x="412" y="49"/>
                  </a:lnTo>
                  <a:lnTo>
                    <a:pt x="414" y="50"/>
                  </a:lnTo>
                  <a:lnTo>
                    <a:pt x="416" y="51"/>
                  </a:lnTo>
                  <a:lnTo>
                    <a:pt x="416" y="51"/>
                  </a:lnTo>
                  <a:lnTo>
                    <a:pt x="420" y="51"/>
                  </a:lnTo>
                  <a:lnTo>
                    <a:pt x="422" y="51"/>
                  </a:lnTo>
                  <a:lnTo>
                    <a:pt x="429" y="50"/>
                  </a:lnTo>
                  <a:lnTo>
                    <a:pt x="432" y="50"/>
                  </a:lnTo>
                  <a:lnTo>
                    <a:pt x="434" y="51"/>
                  </a:lnTo>
                  <a:lnTo>
                    <a:pt x="434" y="51"/>
                  </a:lnTo>
                  <a:lnTo>
                    <a:pt x="436" y="52"/>
                  </a:lnTo>
                  <a:lnTo>
                    <a:pt x="436" y="52"/>
                  </a:lnTo>
                  <a:lnTo>
                    <a:pt x="439" y="54"/>
                  </a:lnTo>
                  <a:lnTo>
                    <a:pt x="439" y="56"/>
                  </a:lnTo>
                  <a:lnTo>
                    <a:pt x="440" y="58"/>
                  </a:lnTo>
                  <a:lnTo>
                    <a:pt x="442" y="62"/>
                  </a:lnTo>
                  <a:lnTo>
                    <a:pt x="443" y="64"/>
                  </a:lnTo>
                  <a:lnTo>
                    <a:pt x="444" y="65"/>
                  </a:lnTo>
                  <a:lnTo>
                    <a:pt x="445" y="66"/>
                  </a:lnTo>
                  <a:lnTo>
                    <a:pt x="447" y="68"/>
                  </a:lnTo>
                  <a:lnTo>
                    <a:pt x="453" y="74"/>
                  </a:lnTo>
                  <a:lnTo>
                    <a:pt x="456" y="77"/>
                  </a:lnTo>
                  <a:lnTo>
                    <a:pt x="457" y="78"/>
                  </a:lnTo>
                  <a:lnTo>
                    <a:pt x="459" y="80"/>
                  </a:lnTo>
                  <a:lnTo>
                    <a:pt x="463" y="87"/>
                  </a:lnTo>
                  <a:lnTo>
                    <a:pt x="465" y="90"/>
                  </a:lnTo>
                  <a:lnTo>
                    <a:pt x="466" y="91"/>
                  </a:lnTo>
                  <a:lnTo>
                    <a:pt x="467" y="92"/>
                  </a:lnTo>
                  <a:lnTo>
                    <a:pt x="469" y="94"/>
                  </a:lnTo>
                  <a:lnTo>
                    <a:pt x="470" y="95"/>
                  </a:lnTo>
                  <a:lnTo>
                    <a:pt x="472" y="96"/>
                  </a:lnTo>
                  <a:lnTo>
                    <a:pt x="475" y="97"/>
                  </a:lnTo>
                  <a:lnTo>
                    <a:pt x="477" y="97"/>
                  </a:lnTo>
                  <a:lnTo>
                    <a:pt x="484" y="98"/>
                  </a:lnTo>
                  <a:lnTo>
                    <a:pt x="489" y="100"/>
                  </a:lnTo>
                  <a:lnTo>
                    <a:pt x="492" y="100"/>
                  </a:lnTo>
                  <a:lnTo>
                    <a:pt x="498" y="103"/>
                  </a:lnTo>
                  <a:lnTo>
                    <a:pt x="501" y="105"/>
                  </a:lnTo>
                  <a:lnTo>
                    <a:pt x="504" y="105"/>
                  </a:lnTo>
                  <a:lnTo>
                    <a:pt x="510" y="107"/>
                  </a:lnTo>
                  <a:lnTo>
                    <a:pt x="520" y="107"/>
                  </a:lnTo>
                  <a:lnTo>
                    <a:pt x="525" y="107"/>
                  </a:lnTo>
                  <a:lnTo>
                    <a:pt x="536" y="107"/>
                  </a:lnTo>
                  <a:lnTo>
                    <a:pt x="550" y="106"/>
                  </a:lnTo>
                  <a:lnTo>
                    <a:pt x="561" y="105"/>
                  </a:lnTo>
                  <a:lnTo>
                    <a:pt x="574" y="105"/>
                  </a:lnTo>
                  <a:lnTo>
                    <a:pt x="580" y="105"/>
                  </a:lnTo>
                  <a:lnTo>
                    <a:pt x="591" y="105"/>
                  </a:lnTo>
                  <a:lnTo>
                    <a:pt x="596" y="105"/>
                  </a:lnTo>
                  <a:lnTo>
                    <a:pt x="601" y="105"/>
                  </a:lnTo>
                  <a:lnTo>
                    <a:pt x="605" y="104"/>
                  </a:lnTo>
                  <a:lnTo>
                    <a:pt x="608" y="103"/>
                  </a:lnTo>
                  <a:lnTo>
                    <a:pt x="611" y="103"/>
                  </a:lnTo>
                  <a:lnTo>
                    <a:pt x="614" y="102"/>
                  </a:lnTo>
                  <a:lnTo>
                    <a:pt x="616" y="101"/>
                  </a:lnTo>
                  <a:lnTo>
                    <a:pt x="619" y="100"/>
                  </a:lnTo>
                  <a:lnTo>
                    <a:pt x="622" y="98"/>
                  </a:lnTo>
                  <a:lnTo>
                    <a:pt x="624" y="97"/>
                  </a:lnTo>
                  <a:lnTo>
                    <a:pt x="627" y="95"/>
                  </a:lnTo>
                  <a:lnTo>
                    <a:pt x="629" y="94"/>
                  </a:lnTo>
                  <a:lnTo>
                    <a:pt x="631" y="92"/>
                  </a:lnTo>
                  <a:lnTo>
                    <a:pt x="634" y="90"/>
                  </a:lnTo>
                  <a:lnTo>
                    <a:pt x="636" y="87"/>
                  </a:lnTo>
                  <a:lnTo>
                    <a:pt x="639" y="84"/>
                  </a:lnTo>
                  <a:lnTo>
                    <a:pt x="641" y="82"/>
                  </a:lnTo>
                  <a:lnTo>
                    <a:pt x="641" y="80"/>
                  </a:lnTo>
                  <a:lnTo>
                    <a:pt x="642" y="78"/>
                  </a:lnTo>
                  <a:lnTo>
                    <a:pt x="643" y="76"/>
                  </a:lnTo>
                  <a:lnTo>
                    <a:pt x="643" y="75"/>
                  </a:lnTo>
                  <a:lnTo>
                    <a:pt x="644" y="75"/>
                  </a:lnTo>
                  <a:lnTo>
                    <a:pt x="646" y="75"/>
                  </a:lnTo>
                  <a:lnTo>
                    <a:pt x="647" y="75"/>
                  </a:lnTo>
                  <a:lnTo>
                    <a:pt x="648" y="77"/>
                  </a:lnTo>
                  <a:lnTo>
                    <a:pt x="650" y="78"/>
                  </a:lnTo>
                  <a:lnTo>
                    <a:pt x="651" y="79"/>
                  </a:lnTo>
                  <a:lnTo>
                    <a:pt x="651" y="80"/>
                  </a:lnTo>
                  <a:lnTo>
                    <a:pt x="652" y="82"/>
                  </a:lnTo>
                  <a:lnTo>
                    <a:pt x="652" y="85"/>
                  </a:lnTo>
                  <a:lnTo>
                    <a:pt x="652" y="87"/>
                  </a:lnTo>
                  <a:lnTo>
                    <a:pt x="652" y="92"/>
                  </a:lnTo>
                  <a:lnTo>
                    <a:pt x="651" y="110"/>
                  </a:lnTo>
                  <a:lnTo>
                    <a:pt x="651" y="114"/>
                  </a:lnTo>
                  <a:lnTo>
                    <a:pt x="649" y="122"/>
                  </a:lnTo>
                  <a:lnTo>
                    <a:pt x="648" y="127"/>
                  </a:lnTo>
                  <a:lnTo>
                    <a:pt x="648" y="131"/>
                  </a:lnTo>
                  <a:lnTo>
                    <a:pt x="648" y="134"/>
                  </a:lnTo>
                  <a:lnTo>
                    <a:pt x="649" y="137"/>
                  </a:lnTo>
                  <a:lnTo>
                    <a:pt x="650" y="140"/>
                  </a:lnTo>
                  <a:lnTo>
                    <a:pt x="651" y="142"/>
                  </a:lnTo>
                  <a:lnTo>
                    <a:pt x="652" y="145"/>
                  </a:lnTo>
                  <a:lnTo>
                    <a:pt x="653" y="146"/>
                  </a:lnTo>
                  <a:lnTo>
                    <a:pt x="654" y="149"/>
                  </a:lnTo>
                  <a:lnTo>
                    <a:pt x="656" y="150"/>
                  </a:lnTo>
                  <a:lnTo>
                    <a:pt x="658" y="152"/>
                  </a:lnTo>
                  <a:lnTo>
                    <a:pt x="663" y="158"/>
                  </a:lnTo>
                  <a:lnTo>
                    <a:pt x="666" y="160"/>
                  </a:lnTo>
                  <a:lnTo>
                    <a:pt x="668" y="163"/>
                  </a:lnTo>
                  <a:lnTo>
                    <a:pt x="670" y="167"/>
                  </a:lnTo>
                  <a:lnTo>
                    <a:pt x="676" y="179"/>
                  </a:lnTo>
                  <a:lnTo>
                    <a:pt x="677" y="182"/>
                  </a:lnTo>
                  <a:lnTo>
                    <a:pt x="678" y="185"/>
                  </a:lnTo>
                  <a:lnTo>
                    <a:pt x="678" y="187"/>
                  </a:lnTo>
                  <a:lnTo>
                    <a:pt x="678" y="189"/>
                  </a:lnTo>
                  <a:lnTo>
                    <a:pt x="677" y="192"/>
                  </a:lnTo>
                  <a:lnTo>
                    <a:pt x="677" y="194"/>
                  </a:lnTo>
                  <a:lnTo>
                    <a:pt x="677" y="195"/>
                  </a:lnTo>
                  <a:lnTo>
                    <a:pt x="676" y="196"/>
                  </a:lnTo>
                  <a:lnTo>
                    <a:pt x="676" y="197"/>
                  </a:lnTo>
                  <a:lnTo>
                    <a:pt x="673" y="198"/>
                  </a:lnTo>
                  <a:lnTo>
                    <a:pt x="668" y="201"/>
                  </a:lnTo>
                  <a:lnTo>
                    <a:pt x="667" y="202"/>
                  </a:lnTo>
                  <a:lnTo>
                    <a:pt x="666" y="203"/>
                  </a:lnTo>
                  <a:lnTo>
                    <a:pt x="663" y="205"/>
                  </a:lnTo>
                  <a:lnTo>
                    <a:pt x="660" y="209"/>
                  </a:lnTo>
                  <a:lnTo>
                    <a:pt x="658" y="213"/>
                  </a:lnTo>
                  <a:lnTo>
                    <a:pt x="654" y="216"/>
                  </a:lnTo>
                  <a:lnTo>
                    <a:pt x="648" y="220"/>
                  </a:lnTo>
                  <a:lnTo>
                    <a:pt x="646" y="222"/>
                  </a:lnTo>
                  <a:lnTo>
                    <a:pt x="643" y="224"/>
                  </a:lnTo>
                  <a:lnTo>
                    <a:pt x="639" y="226"/>
                  </a:lnTo>
                  <a:lnTo>
                    <a:pt x="636" y="227"/>
                  </a:lnTo>
                  <a:lnTo>
                    <a:pt x="633" y="229"/>
                  </a:lnTo>
                  <a:lnTo>
                    <a:pt x="628" y="231"/>
                  </a:lnTo>
                  <a:lnTo>
                    <a:pt x="620" y="234"/>
                  </a:lnTo>
                  <a:lnTo>
                    <a:pt x="618" y="234"/>
                  </a:lnTo>
                  <a:lnTo>
                    <a:pt x="618" y="234"/>
                  </a:lnTo>
                  <a:lnTo>
                    <a:pt x="615" y="237"/>
                  </a:lnTo>
                  <a:lnTo>
                    <a:pt x="611" y="239"/>
                  </a:lnTo>
                  <a:lnTo>
                    <a:pt x="608" y="241"/>
                  </a:lnTo>
                  <a:lnTo>
                    <a:pt x="606" y="244"/>
                  </a:lnTo>
                  <a:lnTo>
                    <a:pt x="603" y="247"/>
                  </a:lnTo>
                  <a:lnTo>
                    <a:pt x="601" y="250"/>
                  </a:lnTo>
                  <a:lnTo>
                    <a:pt x="599" y="253"/>
                  </a:lnTo>
                  <a:lnTo>
                    <a:pt x="599" y="255"/>
                  </a:lnTo>
                  <a:lnTo>
                    <a:pt x="598" y="257"/>
                  </a:lnTo>
                  <a:lnTo>
                    <a:pt x="596" y="263"/>
                  </a:lnTo>
                  <a:lnTo>
                    <a:pt x="596" y="264"/>
                  </a:lnTo>
                  <a:lnTo>
                    <a:pt x="595" y="267"/>
                  </a:lnTo>
                  <a:lnTo>
                    <a:pt x="591" y="272"/>
                  </a:lnTo>
                  <a:lnTo>
                    <a:pt x="591" y="274"/>
                  </a:lnTo>
                  <a:lnTo>
                    <a:pt x="590" y="275"/>
                  </a:lnTo>
                  <a:lnTo>
                    <a:pt x="590" y="277"/>
                  </a:lnTo>
                  <a:lnTo>
                    <a:pt x="589" y="279"/>
                  </a:lnTo>
                  <a:lnTo>
                    <a:pt x="589" y="284"/>
                  </a:lnTo>
                  <a:lnTo>
                    <a:pt x="589" y="290"/>
                  </a:lnTo>
                  <a:lnTo>
                    <a:pt x="589" y="294"/>
                  </a:lnTo>
                  <a:lnTo>
                    <a:pt x="588" y="297"/>
                  </a:lnTo>
                  <a:lnTo>
                    <a:pt x="587" y="299"/>
                  </a:lnTo>
                  <a:lnTo>
                    <a:pt x="585" y="306"/>
                  </a:lnTo>
                  <a:lnTo>
                    <a:pt x="584" y="312"/>
                  </a:lnTo>
                  <a:lnTo>
                    <a:pt x="584" y="312"/>
                  </a:lnTo>
                  <a:lnTo>
                    <a:pt x="583" y="313"/>
                  </a:lnTo>
                  <a:lnTo>
                    <a:pt x="581" y="316"/>
                  </a:lnTo>
                  <a:lnTo>
                    <a:pt x="579" y="317"/>
                  </a:lnTo>
                  <a:lnTo>
                    <a:pt x="576" y="323"/>
                  </a:lnTo>
                  <a:lnTo>
                    <a:pt x="576" y="326"/>
                  </a:lnTo>
                  <a:lnTo>
                    <a:pt x="575" y="328"/>
                  </a:lnTo>
                  <a:lnTo>
                    <a:pt x="574" y="332"/>
                  </a:lnTo>
                  <a:lnTo>
                    <a:pt x="574" y="334"/>
                  </a:lnTo>
                  <a:lnTo>
                    <a:pt x="574" y="336"/>
                  </a:lnTo>
                  <a:lnTo>
                    <a:pt x="574" y="339"/>
                  </a:lnTo>
                  <a:lnTo>
                    <a:pt x="576" y="344"/>
                  </a:lnTo>
                  <a:lnTo>
                    <a:pt x="576" y="347"/>
                  </a:lnTo>
                  <a:lnTo>
                    <a:pt x="576" y="349"/>
                  </a:lnTo>
                  <a:lnTo>
                    <a:pt x="577" y="352"/>
                  </a:lnTo>
                  <a:lnTo>
                    <a:pt x="578" y="353"/>
                  </a:lnTo>
                  <a:lnTo>
                    <a:pt x="579" y="354"/>
                  </a:lnTo>
                  <a:lnTo>
                    <a:pt x="582" y="359"/>
                  </a:lnTo>
                  <a:lnTo>
                    <a:pt x="585" y="364"/>
                  </a:lnTo>
                  <a:lnTo>
                    <a:pt x="585" y="365"/>
                  </a:lnTo>
                  <a:lnTo>
                    <a:pt x="585" y="366"/>
                  </a:lnTo>
                  <a:lnTo>
                    <a:pt x="585" y="367"/>
                  </a:lnTo>
                  <a:lnTo>
                    <a:pt x="584" y="369"/>
                  </a:lnTo>
                  <a:lnTo>
                    <a:pt x="584" y="370"/>
                  </a:lnTo>
                  <a:lnTo>
                    <a:pt x="584" y="372"/>
                  </a:lnTo>
                  <a:lnTo>
                    <a:pt x="586" y="374"/>
                  </a:lnTo>
                  <a:lnTo>
                    <a:pt x="586" y="375"/>
                  </a:lnTo>
                  <a:lnTo>
                    <a:pt x="586" y="377"/>
                  </a:lnTo>
                  <a:lnTo>
                    <a:pt x="585" y="378"/>
                  </a:lnTo>
                  <a:lnTo>
                    <a:pt x="584" y="379"/>
                  </a:lnTo>
                  <a:lnTo>
                    <a:pt x="584" y="382"/>
                  </a:lnTo>
                  <a:lnTo>
                    <a:pt x="582" y="383"/>
                  </a:lnTo>
                  <a:lnTo>
                    <a:pt x="581" y="384"/>
                  </a:lnTo>
                  <a:lnTo>
                    <a:pt x="579" y="387"/>
                  </a:lnTo>
                  <a:lnTo>
                    <a:pt x="578" y="388"/>
                  </a:lnTo>
                  <a:lnTo>
                    <a:pt x="576" y="388"/>
                  </a:lnTo>
                  <a:lnTo>
                    <a:pt x="576" y="388"/>
                  </a:lnTo>
                  <a:lnTo>
                    <a:pt x="574" y="388"/>
                  </a:lnTo>
                  <a:lnTo>
                    <a:pt x="573" y="387"/>
                  </a:lnTo>
                  <a:lnTo>
                    <a:pt x="570" y="385"/>
                  </a:lnTo>
                  <a:lnTo>
                    <a:pt x="564" y="380"/>
                  </a:lnTo>
                  <a:lnTo>
                    <a:pt x="558" y="376"/>
                  </a:lnTo>
                  <a:lnTo>
                    <a:pt x="551" y="370"/>
                  </a:lnTo>
                  <a:lnTo>
                    <a:pt x="550" y="369"/>
                  </a:lnTo>
                  <a:lnTo>
                    <a:pt x="548" y="369"/>
                  </a:lnTo>
                  <a:lnTo>
                    <a:pt x="546" y="368"/>
                  </a:lnTo>
                  <a:lnTo>
                    <a:pt x="544" y="367"/>
                  </a:lnTo>
                  <a:lnTo>
                    <a:pt x="531" y="367"/>
                  </a:lnTo>
                  <a:lnTo>
                    <a:pt x="529" y="367"/>
                  </a:lnTo>
                  <a:lnTo>
                    <a:pt x="527" y="367"/>
                  </a:lnTo>
                  <a:lnTo>
                    <a:pt x="519" y="368"/>
                  </a:lnTo>
                  <a:lnTo>
                    <a:pt x="515" y="368"/>
                  </a:lnTo>
                  <a:lnTo>
                    <a:pt x="511" y="367"/>
                  </a:lnTo>
                  <a:lnTo>
                    <a:pt x="501" y="366"/>
                  </a:lnTo>
                  <a:lnTo>
                    <a:pt x="495" y="366"/>
                  </a:lnTo>
                  <a:lnTo>
                    <a:pt x="491" y="365"/>
                  </a:lnTo>
                  <a:lnTo>
                    <a:pt x="486" y="366"/>
                  </a:lnTo>
                  <a:lnTo>
                    <a:pt x="484" y="366"/>
                  </a:lnTo>
                  <a:lnTo>
                    <a:pt x="477" y="367"/>
                  </a:lnTo>
                  <a:lnTo>
                    <a:pt x="474" y="367"/>
                  </a:lnTo>
                  <a:lnTo>
                    <a:pt x="454" y="369"/>
                  </a:lnTo>
                  <a:lnTo>
                    <a:pt x="444" y="371"/>
                  </a:lnTo>
                  <a:lnTo>
                    <a:pt x="440" y="372"/>
                  </a:lnTo>
                  <a:lnTo>
                    <a:pt x="436" y="372"/>
                  </a:lnTo>
                  <a:lnTo>
                    <a:pt x="434" y="373"/>
                  </a:lnTo>
                  <a:lnTo>
                    <a:pt x="421" y="378"/>
                  </a:lnTo>
                  <a:lnTo>
                    <a:pt x="419" y="379"/>
                  </a:lnTo>
                  <a:lnTo>
                    <a:pt x="416" y="379"/>
                  </a:lnTo>
                  <a:lnTo>
                    <a:pt x="414" y="379"/>
                  </a:lnTo>
                  <a:lnTo>
                    <a:pt x="411" y="379"/>
                  </a:lnTo>
                  <a:lnTo>
                    <a:pt x="409" y="379"/>
                  </a:lnTo>
                  <a:lnTo>
                    <a:pt x="405" y="377"/>
                  </a:lnTo>
                  <a:lnTo>
                    <a:pt x="401" y="377"/>
                  </a:lnTo>
                  <a:lnTo>
                    <a:pt x="399" y="377"/>
                  </a:lnTo>
                  <a:lnTo>
                    <a:pt x="396" y="377"/>
                  </a:lnTo>
                  <a:lnTo>
                    <a:pt x="390" y="377"/>
                  </a:lnTo>
                  <a:lnTo>
                    <a:pt x="384" y="378"/>
                  </a:lnTo>
                  <a:lnTo>
                    <a:pt x="382" y="378"/>
                  </a:lnTo>
                  <a:lnTo>
                    <a:pt x="380" y="379"/>
                  </a:lnTo>
                  <a:lnTo>
                    <a:pt x="379" y="379"/>
                  </a:lnTo>
                  <a:lnTo>
                    <a:pt x="377" y="381"/>
                  </a:lnTo>
                  <a:lnTo>
                    <a:pt x="377" y="382"/>
                  </a:lnTo>
                  <a:lnTo>
                    <a:pt x="375" y="384"/>
                  </a:lnTo>
                  <a:lnTo>
                    <a:pt x="374" y="386"/>
                  </a:lnTo>
                  <a:lnTo>
                    <a:pt x="374" y="389"/>
                  </a:lnTo>
                  <a:lnTo>
                    <a:pt x="374" y="393"/>
                  </a:lnTo>
                  <a:lnTo>
                    <a:pt x="374" y="395"/>
                  </a:lnTo>
                  <a:lnTo>
                    <a:pt x="374" y="397"/>
                  </a:lnTo>
                  <a:lnTo>
                    <a:pt x="376" y="406"/>
                  </a:lnTo>
                  <a:lnTo>
                    <a:pt x="376" y="409"/>
                  </a:lnTo>
                  <a:lnTo>
                    <a:pt x="376" y="413"/>
                  </a:lnTo>
                  <a:lnTo>
                    <a:pt x="376" y="417"/>
                  </a:lnTo>
                  <a:lnTo>
                    <a:pt x="375" y="425"/>
                  </a:lnTo>
                  <a:lnTo>
                    <a:pt x="375" y="429"/>
                  </a:lnTo>
                  <a:lnTo>
                    <a:pt x="375" y="432"/>
                  </a:lnTo>
                  <a:lnTo>
                    <a:pt x="375" y="437"/>
                  </a:lnTo>
                  <a:lnTo>
                    <a:pt x="376" y="442"/>
                  </a:lnTo>
                  <a:lnTo>
                    <a:pt x="377" y="446"/>
                  </a:lnTo>
                  <a:lnTo>
                    <a:pt x="379" y="451"/>
                  </a:lnTo>
                  <a:lnTo>
                    <a:pt x="384" y="464"/>
                  </a:lnTo>
                  <a:lnTo>
                    <a:pt x="387" y="470"/>
                  </a:lnTo>
                  <a:lnTo>
                    <a:pt x="389" y="476"/>
                  </a:lnTo>
                  <a:lnTo>
                    <a:pt x="390" y="481"/>
                  </a:lnTo>
                  <a:lnTo>
                    <a:pt x="391" y="484"/>
                  </a:lnTo>
                  <a:lnTo>
                    <a:pt x="391" y="488"/>
                  </a:lnTo>
                  <a:lnTo>
                    <a:pt x="392" y="494"/>
                  </a:lnTo>
                  <a:lnTo>
                    <a:pt x="394" y="506"/>
                  </a:lnTo>
                  <a:lnTo>
                    <a:pt x="394" y="510"/>
                  </a:lnTo>
                  <a:lnTo>
                    <a:pt x="394" y="512"/>
                  </a:lnTo>
                  <a:lnTo>
                    <a:pt x="393" y="515"/>
                  </a:lnTo>
                  <a:lnTo>
                    <a:pt x="393" y="517"/>
                  </a:lnTo>
                  <a:lnTo>
                    <a:pt x="391" y="523"/>
                  </a:lnTo>
                  <a:lnTo>
                    <a:pt x="390" y="526"/>
                  </a:lnTo>
                  <a:lnTo>
                    <a:pt x="389" y="531"/>
                  </a:lnTo>
                  <a:lnTo>
                    <a:pt x="384" y="539"/>
                  </a:lnTo>
                  <a:lnTo>
                    <a:pt x="380" y="550"/>
                  </a:lnTo>
                  <a:lnTo>
                    <a:pt x="379" y="552"/>
                  </a:lnTo>
                  <a:lnTo>
                    <a:pt x="378" y="554"/>
                  </a:lnTo>
                  <a:lnTo>
                    <a:pt x="377" y="556"/>
                  </a:lnTo>
                  <a:lnTo>
                    <a:pt x="375" y="559"/>
                  </a:lnTo>
                  <a:lnTo>
                    <a:pt x="373" y="560"/>
                  </a:lnTo>
                  <a:lnTo>
                    <a:pt x="372" y="561"/>
                  </a:lnTo>
                  <a:lnTo>
                    <a:pt x="370" y="563"/>
                  </a:lnTo>
                  <a:lnTo>
                    <a:pt x="369" y="564"/>
                  </a:lnTo>
                  <a:lnTo>
                    <a:pt x="366" y="565"/>
                  </a:lnTo>
                  <a:lnTo>
                    <a:pt x="358" y="567"/>
                  </a:lnTo>
                  <a:lnTo>
                    <a:pt x="355" y="568"/>
                  </a:lnTo>
                  <a:lnTo>
                    <a:pt x="352" y="569"/>
                  </a:lnTo>
                  <a:lnTo>
                    <a:pt x="348" y="571"/>
                  </a:lnTo>
                  <a:lnTo>
                    <a:pt x="347" y="573"/>
                  </a:lnTo>
                  <a:lnTo>
                    <a:pt x="344" y="574"/>
                  </a:lnTo>
                  <a:lnTo>
                    <a:pt x="343" y="576"/>
                  </a:lnTo>
                  <a:lnTo>
                    <a:pt x="342" y="578"/>
                  </a:lnTo>
                  <a:lnTo>
                    <a:pt x="341" y="579"/>
                  </a:lnTo>
                  <a:lnTo>
                    <a:pt x="339" y="581"/>
                  </a:lnTo>
                  <a:lnTo>
                    <a:pt x="337" y="586"/>
                  </a:lnTo>
                  <a:lnTo>
                    <a:pt x="337" y="586"/>
                  </a:lnTo>
                  <a:lnTo>
                    <a:pt x="335" y="584"/>
                  </a:lnTo>
                  <a:lnTo>
                    <a:pt x="330" y="580"/>
                  </a:lnTo>
                  <a:lnTo>
                    <a:pt x="326" y="576"/>
                  </a:lnTo>
                  <a:lnTo>
                    <a:pt x="321" y="573"/>
                  </a:lnTo>
                  <a:lnTo>
                    <a:pt x="316" y="569"/>
                  </a:lnTo>
                  <a:lnTo>
                    <a:pt x="310" y="565"/>
                  </a:lnTo>
                  <a:lnTo>
                    <a:pt x="305" y="561"/>
                  </a:lnTo>
                  <a:lnTo>
                    <a:pt x="300" y="559"/>
                  </a:lnTo>
                  <a:lnTo>
                    <a:pt x="296" y="556"/>
                  </a:lnTo>
                  <a:lnTo>
                    <a:pt x="293" y="555"/>
                  </a:lnTo>
                  <a:lnTo>
                    <a:pt x="289" y="554"/>
                  </a:lnTo>
                  <a:lnTo>
                    <a:pt x="285" y="552"/>
                  </a:lnTo>
                  <a:lnTo>
                    <a:pt x="281" y="551"/>
                  </a:lnTo>
                  <a:lnTo>
                    <a:pt x="264" y="547"/>
                  </a:lnTo>
                  <a:lnTo>
                    <a:pt x="259" y="545"/>
                  </a:lnTo>
                  <a:lnTo>
                    <a:pt x="256" y="544"/>
                  </a:lnTo>
                  <a:lnTo>
                    <a:pt x="254" y="542"/>
                  </a:lnTo>
                  <a:lnTo>
                    <a:pt x="250" y="540"/>
                  </a:lnTo>
                  <a:lnTo>
                    <a:pt x="248" y="539"/>
                  </a:lnTo>
                  <a:lnTo>
                    <a:pt x="247" y="537"/>
                  </a:lnTo>
                  <a:lnTo>
                    <a:pt x="245" y="535"/>
                  </a:lnTo>
                  <a:lnTo>
                    <a:pt x="244" y="533"/>
                  </a:lnTo>
                  <a:lnTo>
                    <a:pt x="243" y="531"/>
                  </a:lnTo>
                  <a:lnTo>
                    <a:pt x="243" y="529"/>
                  </a:lnTo>
                  <a:lnTo>
                    <a:pt x="242" y="526"/>
                  </a:lnTo>
                  <a:lnTo>
                    <a:pt x="240" y="514"/>
                  </a:lnTo>
                  <a:lnTo>
                    <a:pt x="240" y="511"/>
                  </a:lnTo>
                  <a:lnTo>
                    <a:pt x="239" y="508"/>
                  </a:lnTo>
                  <a:lnTo>
                    <a:pt x="238" y="504"/>
                  </a:lnTo>
                  <a:lnTo>
                    <a:pt x="236" y="499"/>
                  </a:lnTo>
                  <a:lnTo>
                    <a:pt x="230" y="485"/>
                  </a:lnTo>
                  <a:lnTo>
                    <a:pt x="228" y="480"/>
                  </a:lnTo>
                  <a:lnTo>
                    <a:pt x="226" y="477"/>
                  </a:lnTo>
                  <a:lnTo>
                    <a:pt x="223" y="472"/>
                  </a:lnTo>
                  <a:lnTo>
                    <a:pt x="222" y="470"/>
                  </a:lnTo>
                  <a:lnTo>
                    <a:pt x="221" y="469"/>
                  </a:lnTo>
                  <a:lnTo>
                    <a:pt x="219" y="467"/>
                  </a:lnTo>
                  <a:lnTo>
                    <a:pt x="217" y="466"/>
                  </a:lnTo>
                  <a:lnTo>
                    <a:pt x="210" y="461"/>
                  </a:lnTo>
                  <a:lnTo>
                    <a:pt x="207" y="459"/>
                  </a:lnTo>
                  <a:lnTo>
                    <a:pt x="206" y="457"/>
                  </a:lnTo>
                  <a:lnTo>
                    <a:pt x="204" y="455"/>
                  </a:lnTo>
                  <a:lnTo>
                    <a:pt x="203" y="454"/>
                  </a:lnTo>
                  <a:lnTo>
                    <a:pt x="202" y="451"/>
                  </a:lnTo>
                  <a:lnTo>
                    <a:pt x="200" y="449"/>
                  </a:lnTo>
                  <a:lnTo>
                    <a:pt x="199" y="445"/>
                  </a:lnTo>
                  <a:lnTo>
                    <a:pt x="197" y="442"/>
                  </a:lnTo>
                  <a:lnTo>
                    <a:pt x="195" y="437"/>
                  </a:lnTo>
                  <a:lnTo>
                    <a:pt x="190" y="426"/>
                  </a:lnTo>
                  <a:lnTo>
                    <a:pt x="187" y="414"/>
                  </a:lnTo>
                  <a:lnTo>
                    <a:pt x="184" y="409"/>
                  </a:lnTo>
                  <a:lnTo>
                    <a:pt x="182" y="404"/>
                  </a:lnTo>
                  <a:lnTo>
                    <a:pt x="181" y="402"/>
                  </a:lnTo>
                  <a:lnTo>
                    <a:pt x="179" y="399"/>
                  </a:lnTo>
                  <a:lnTo>
                    <a:pt x="177" y="396"/>
                  </a:lnTo>
                  <a:lnTo>
                    <a:pt x="174" y="394"/>
                  </a:lnTo>
                  <a:lnTo>
                    <a:pt x="173" y="393"/>
                  </a:lnTo>
                  <a:lnTo>
                    <a:pt x="171" y="392"/>
                  </a:lnTo>
                  <a:lnTo>
                    <a:pt x="169" y="392"/>
                  </a:lnTo>
                  <a:lnTo>
                    <a:pt x="167" y="392"/>
                  </a:lnTo>
                  <a:lnTo>
                    <a:pt x="158" y="393"/>
                  </a:lnTo>
                  <a:lnTo>
                    <a:pt x="153" y="394"/>
                  </a:lnTo>
                  <a:lnTo>
                    <a:pt x="148" y="394"/>
                  </a:lnTo>
                  <a:lnTo>
                    <a:pt x="140" y="394"/>
                  </a:lnTo>
                  <a:lnTo>
                    <a:pt x="137" y="393"/>
                  </a:lnTo>
                  <a:lnTo>
                    <a:pt x="134" y="393"/>
                  </a:lnTo>
                  <a:lnTo>
                    <a:pt x="130" y="392"/>
                  </a:lnTo>
                  <a:lnTo>
                    <a:pt x="126" y="391"/>
                  </a:lnTo>
                  <a:lnTo>
                    <a:pt x="123" y="390"/>
                  </a:lnTo>
                  <a:lnTo>
                    <a:pt x="122" y="389"/>
                  </a:lnTo>
                  <a:lnTo>
                    <a:pt x="120" y="388"/>
                  </a:lnTo>
                  <a:lnTo>
                    <a:pt x="117" y="386"/>
                  </a:lnTo>
                  <a:lnTo>
                    <a:pt x="115" y="384"/>
                  </a:lnTo>
                  <a:lnTo>
                    <a:pt x="107" y="374"/>
                  </a:lnTo>
                  <a:lnTo>
                    <a:pt x="105" y="372"/>
                  </a:lnTo>
                  <a:lnTo>
                    <a:pt x="103" y="369"/>
                  </a:lnTo>
                  <a:lnTo>
                    <a:pt x="100" y="364"/>
                  </a:lnTo>
                  <a:lnTo>
                    <a:pt x="97" y="358"/>
                  </a:lnTo>
                  <a:lnTo>
                    <a:pt x="92" y="348"/>
                  </a:lnTo>
                  <a:lnTo>
                    <a:pt x="88" y="340"/>
                  </a:lnTo>
                  <a:lnTo>
                    <a:pt x="84" y="329"/>
                  </a:lnTo>
                  <a:lnTo>
                    <a:pt x="79" y="317"/>
                  </a:lnTo>
                  <a:lnTo>
                    <a:pt x="75" y="308"/>
                  </a:lnTo>
                  <a:lnTo>
                    <a:pt x="75" y="307"/>
                  </a:lnTo>
                  <a:lnTo>
                    <a:pt x="74" y="305"/>
                  </a:lnTo>
                  <a:lnTo>
                    <a:pt x="72" y="304"/>
                  </a:lnTo>
                  <a:lnTo>
                    <a:pt x="72" y="304"/>
                  </a:lnTo>
                  <a:lnTo>
                    <a:pt x="71" y="303"/>
                  </a:lnTo>
                  <a:lnTo>
                    <a:pt x="70" y="303"/>
                  </a:lnTo>
                  <a:lnTo>
                    <a:pt x="67" y="302"/>
                  </a:lnTo>
                  <a:lnTo>
                    <a:pt x="62" y="302"/>
                  </a:lnTo>
                  <a:lnTo>
                    <a:pt x="60" y="302"/>
                  </a:lnTo>
                  <a:lnTo>
                    <a:pt x="57" y="301"/>
                  </a:lnTo>
                  <a:lnTo>
                    <a:pt x="56" y="300"/>
                  </a:lnTo>
                  <a:lnTo>
                    <a:pt x="53" y="297"/>
                  </a:lnTo>
                  <a:lnTo>
                    <a:pt x="50" y="294"/>
                  </a:lnTo>
                  <a:lnTo>
                    <a:pt x="48" y="292"/>
                  </a:lnTo>
                  <a:lnTo>
                    <a:pt x="43" y="284"/>
                  </a:lnTo>
                  <a:lnTo>
                    <a:pt x="42" y="282"/>
                  </a:lnTo>
                  <a:lnTo>
                    <a:pt x="40" y="281"/>
                  </a:lnTo>
                  <a:lnTo>
                    <a:pt x="38" y="279"/>
                  </a:lnTo>
                  <a:lnTo>
                    <a:pt x="36" y="277"/>
                  </a:lnTo>
                  <a:lnTo>
                    <a:pt x="34" y="275"/>
                  </a:lnTo>
                  <a:lnTo>
                    <a:pt x="32" y="274"/>
                  </a:lnTo>
                  <a:lnTo>
                    <a:pt x="29" y="273"/>
                  </a:lnTo>
                  <a:lnTo>
                    <a:pt x="27" y="272"/>
                  </a:lnTo>
                  <a:lnTo>
                    <a:pt x="25" y="271"/>
                  </a:lnTo>
                  <a:lnTo>
                    <a:pt x="21" y="271"/>
                  </a:lnTo>
                  <a:lnTo>
                    <a:pt x="17" y="270"/>
                  </a:lnTo>
                  <a:lnTo>
                    <a:pt x="13" y="269"/>
                  </a:lnTo>
                  <a:lnTo>
                    <a:pt x="10" y="270"/>
                  </a:lnTo>
                  <a:lnTo>
                    <a:pt x="9" y="270"/>
                  </a:lnTo>
                  <a:lnTo>
                    <a:pt x="8" y="270"/>
                  </a:lnTo>
                  <a:lnTo>
                    <a:pt x="8" y="269"/>
                  </a:lnTo>
                  <a:lnTo>
                    <a:pt x="7" y="267"/>
                  </a:lnTo>
                  <a:lnTo>
                    <a:pt x="4" y="256"/>
                  </a:lnTo>
                  <a:lnTo>
                    <a:pt x="2" y="252"/>
                  </a:lnTo>
                  <a:lnTo>
                    <a:pt x="2" y="250"/>
                  </a:lnTo>
                  <a:lnTo>
                    <a:pt x="2" y="247"/>
                  </a:lnTo>
                  <a:lnTo>
                    <a:pt x="1" y="244"/>
                  </a:lnTo>
                  <a:lnTo>
                    <a:pt x="1" y="240"/>
                  </a:lnTo>
                  <a:lnTo>
                    <a:pt x="0" y="237"/>
                  </a:lnTo>
                  <a:lnTo>
                    <a:pt x="0" y="232"/>
                  </a:lnTo>
                  <a:lnTo>
                    <a:pt x="1" y="228"/>
                  </a:lnTo>
                  <a:lnTo>
                    <a:pt x="1" y="223"/>
                  </a:lnTo>
                  <a:lnTo>
                    <a:pt x="2" y="219"/>
                  </a:lnTo>
                  <a:lnTo>
                    <a:pt x="3" y="212"/>
                  </a:lnTo>
                  <a:lnTo>
                    <a:pt x="5" y="207"/>
                  </a:lnTo>
                  <a:lnTo>
                    <a:pt x="6" y="201"/>
                  </a:lnTo>
                  <a:lnTo>
                    <a:pt x="7" y="197"/>
                  </a:lnTo>
                  <a:lnTo>
                    <a:pt x="8" y="194"/>
                  </a:lnTo>
                  <a:lnTo>
                    <a:pt x="10" y="191"/>
                  </a:lnTo>
                  <a:lnTo>
                    <a:pt x="13" y="184"/>
                  </a:lnTo>
                  <a:lnTo>
                    <a:pt x="17" y="177"/>
                  </a:lnTo>
                  <a:lnTo>
                    <a:pt x="20" y="174"/>
                  </a:lnTo>
                  <a:lnTo>
                    <a:pt x="22" y="171"/>
                  </a:lnTo>
                  <a:lnTo>
                    <a:pt x="24" y="169"/>
                  </a:lnTo>
                  <a:lnTo>
                    <a:pt x="26" y="167"/>
                  </a:lnTo>
                  <a:lnTo>
                    <a:pt x="27" y="165"/>
                  </a:lnTo>
                  <a:lnTo>
                    <a:pt x="30" y="164"/>
                  </a:lnTo>
                  <a:lnTo>
                    <a:pt x="32" y="162"/>
                  </a:lnTo>
                  <a:lnTo>
                    <a:pt x="33" y="162"/>
                  </a:lnTo>
                  <a:lnTo>
                    <a:pt x="40" y="159"/>
                  </a:lnTo>
                  <a:lnTo>
                    <a:pt x="42" y="158"/>
                  </a:lnTo>
                  <a:lnTo>
                    <a:pt x="45" y="156"/>
                  </a:lnTo>
                  <a:lnTo>
                    <a:pt x="47" y="154"/>
                  </a:lnTo>
                  <a:lnTo>
                    <a:pt x="50" y="152"/>
                  </a:lnTo>
                  <a:lnTo>
                    <a:pt x="51" y="150"/>
                  </a:lnTo>
                  <a:lnTo>
                    <a:pt x="52" y="148"/>
                  </a:lnTo>
                  <a:lnTo>
                    <a:pt x="54" y="146"/>
                  </a:lnTo>
                  <a:lnTo>
                    <a:pt x="55" y="145"/>
                  </a:lnTo>
                  <a:lnTo>
                    <a:pt x="55" y="142"/>
                  </a:lnTo>
                  <a:lnTo>
                    <a:pt x="56" y="140"/>
                  </a:lnTo>
                  <a:lnTo>
                    <a:pt x="57" y="138"/>
                  </a:lnTo>
                  <a:lnTo>
                    <a:pt x="57" y="135"/>
                  </a:lnTo>
                  <a:lnTo>
                    <a:pt x="57" y="130"/>
                  </a:lnTo>
                  <a:lnTo>
                    <a:pt x="57" y="127"/>
                  </a:lnTo>
                  <a:lnTo>
                    <a:pt x="56" y="122"/>
                  </a:lnTo>
                  <a:lnTo>
                    <a:pt x="53" y="110"/>
                  </a:lnTo>
                  <a:lnTo>
                    <a:pt x="52" y="107"/>
                  </a:lnTo>
                  <a:lnTo>
                    <a:pt x="51" y="102"/>
                  </a:lnTo>
                  <a:lnTo>
                    <a:pt x="47" y="95"/>
                  </a:lnTo>
                  <a:lnTo>
                    <a:pt x="47" y="91"/>
                  </a:lnTo>
                  <a:lnTo>
                    <a:pt x="46" y="87"/>
                  </a:lnTo>
                  <a:lnTo>
                    <a:pt x="46" y="85"/>
                  </a:lnTo>
                  <a:lnTo>
                    <a:pt x="46" y="82"/>
                  </a:lnTo>
                  <a:lnTo>
                    <a:pt x="46" y="80"/>
                  </a:lnTo>
                  <a:lnTo>
                    <a:pt x="49" y="72"/>
                  </a:lnTo>
                  <a:lnTo>
                    <a:pt x="50" y="68"/>
                  </a:lnTo>
                  <a:lnTo>
                    <a:pt x="50" y="64"/>
                  </a:lnTo>
                  <a:lnTo>
                    <a:pt x="50" y="52"/>
                  </a:lnTo>
                  <a:lnTo>
                    <a:pt x="51" y="47"/>
                  </a:lnTo>
                  <a:lnTo>
                    <a:pt x="52" y="40"/>
                  </a:lnTo>
                  <a:lnTo>
                    <a:pt x="53" y="35"/>
                  </a:lnTo>
                  <a:lnTo>
                    <a:pt x="54" y="30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7" y="25"/>
                  </a:lnTo>
                  <a:lnTo>
                    <a:pt x="58" y="25"/>
                  </a:lnTo>
                  <a:lnTo>
                    <a:pt x="60" y="25"/>
                  </a:lnTo>
                  <a:lnTo>
                    <a:pt x="62" y="25"/>
                  </a:lnTo>
                  <a:lnTo>
                    <a:pt x="63" y="25"/>
                  </a:lnTo>
                  <a:lnTo>
                    <a:pt x="74" y="27"/>
                  </a:lnTo>
                  <a:lnTo>
                    <a:pt x="77" y="28"/>
                  </a:lnTo>
                  <a:lnTo>
                    <a:pt x="80" y="29"/>
                  </a:lnTo>
                  <a:lnTo>
                    <a:pt x="82" y="29"/>
                  </a:lnTo>
                  <a:lnTo>
                    <a:pt x="85" y="29"/>
                  </a:lnTo>
                  <a:lnTo>
                    <a:pt x="87" y="28"/>
                  </a:lnTo>
                  <a:lnTo>
                    <a:pt x="90" y="27"/>
                  </a:lnTo>
                  <a:lnTo>
                    <a:pt x="92" y="27"/>
                  </a:lnTo>
                  <a:lnTo>
                    <a:pt x="94" y="26"/>
                  </a:lnTo>
                  <a:lnTo>
                    <a:pt x="96" y="25"/>
                  </a:lnTo>
                  <a:lnTo>
                    <a:pt x="99" y="22"/>
                  </a:lnTo>
                  <a:lnTo>
                    <a:pt x="104" y="20"/>
                  </a:lnTo>
                  <a:lnTo>
                    <a:pt x="107" y="17"/>
                  </a:lnTo>
                  <a:lnTo>
                    <a:pt x="119" y="7"/>
                  </a:lnTo>
                  <a:lnTo>
                    <a:pt x="122" y="5"/>
                  </a:lnTo>
                  <a:lnTo>
                    <a:pt x="125" y="3"/>
                  </a:lnTo>
                  <a:lnTo>
                    <a:pt x="129" y="1"/>
                  </a:lnTo>
                  <a:lnTo>
                    <a:pt x="131" y="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BDD7E7"/>
            </a:solidFill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97">
              <a:extLst>
                <a:ext uri="{FF2B5EF4-FFF2-40B4-BE49-F238E27FC236}">
                  <a16:creationId xmlns:a16="http://schemas.microsoft.com/office/drawing/2014/main" id="{37150E53-58FA-581D-DEEF-318DAB85E3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8673" y="5043325"/>
              <a:ext cx="996950" cy="1444625"/>
            </a:xfrm>
            <a:custGeom>
              <a:avLst/>
              <a:gdLst>
                <a:gd name="T0" fmla="*/ 169 w 628"/>
                <a:gd name="T1" fmla="*/ 5 h 910"/>
                <a:gd name="T2" fmla="*/ 189 w 628"/>
                <a:gd name="T3" fmla="*/ 76 h 910"/>
                <a:gd name="T4" fmla="*/ 212 w 628"/>
                <a:gd name="T5" fmla="*/ 77 h 910"/>
                <a:gd name="T6" fmla="*/ 241 w 628"/>
                <a:gd name="T7" fmla="*/ 94 h 910"/>
                <a:gd name="T8" fmla="*/ 269 w 628"/>
                <a:gd name="T9" fmla="*/ 132 h 910"/>
                <a:gd name="T10" fmla="*/ 331 w 628"/>
                <a:gd name="T11" fmla="*/ 152 h 910"/>
                <a:gd name="T12" fmla="*/ 359 w 628"/>
                <a:gd name="T13" fmla="*/ 197 h 910"/>
                <a:gd name="T14" fmla="*/ 386 w 628"/>
                <a:gd name="T15" fmla="*/ 229 h 910"/>
                <a:gd name="T16" fmla="*/ 431 w 628"/>
                <a:gd name="T17" fmla="*/ 257 h 910"/>
                <a:gd name="T18" fmla="*/ 421 w 628"/>
                <a:gd name="T19" fmla="*/ 296 h 910"/>
                <a:gd name="T20" fmla="*/ 398 w 628"/>
                <a:gd name="T21" fmla="*/ 307 h 910"/>
                <a:gd name="T22" fmla="*/ 386 w 628"/>
                <a:gd name="T23" fmla="*/ 347 h 910"/>
                <a:gd name="T24" fmla="*/ 402 w 628"/>
                <a:gd name="T25" fmla="*/ 362 h 910"/>
                <a:gd name="T26" fmla="*/ 428 w 628"/>
                <a:gd name="T27" fmla="*/ 383 h 910"/>
                <a:gd name="T28" fmla="*/ 418 w 628"/>
                <a:gd name="T29" fmla="*/ 419 h 910"/>
                <a:gd name="T30" fmla="*/ 430 w 628"/>
                <a:gd name="T31" fmla="*/ 448 h 910"/>
                <a:gd name="T32" fmla="*/ 455 w 628"/>
                <a:gd name="T33" fmla="*/ 467 h 910"/>
                <a:gd name="T34" fmla="*/ 466 w 628"/>
                <a:gd name="T35" fmla="*/ 504 h 910"/>
                <a:gd name="T36" fmla="*/ 482 w 628"/>
                <a:gd name="T37" fmla="*/ 531 h 910"/>
                <a:gd name="T38" fmla="*/ 510 w 628"/>
                <a:gd name="T39" fmla="*/ 534 h 910"/>
                <a:gd name="T40" fmla="*/ 498 w 628"/>
                <a:gd name="T41" fmla="*/ 554 h 910"/>
                <a:gd name="T42" fmla="*/ 513 w 628"/>
                <a:gd name="T43" fmla="*/ 576 h 910"/>
                <a:gd name="T44" fmla="*/ 530 w 628"/>
                <a:gd name="T45" fmla="*/ 619 h 910"/>
                <a:gd name="T46" fmla="*/ 553 w 628"/>
                <a:gd name="T47" fmla="*/ 659 h 910"/>
                <a:gd name="T48" fmla="*/ 597 w 628"/>
                <a:gd name="T49" fmla="*/ 678 h 910"/>
                <a:gd name="T50" fmla="*/ 617 w 628"/>
                <a:gd name="T51" fmla="*/ 726 h 910"/>
                <a:gd name="T52" fmla="*/ 627 w 628"/>
                <a:gd name="T53" fmla="*/ 778 h 910"/>
                <a:gd name="T54" fmla="*/ 584 w 628"/>
                <a:gd name="T55" fmla="*/ 766 h 910"/>
                <a:gd name="T56" fmla="*/ 545 w 628"/>
                <a:gd name="T57" fmla="*/ 772 h 910"/>
                <a:gd name="T58" fmla="*/ 530 w 628"/>
                <a:gd name="T59" fmla="*/ 833 h 910"/>
                <a:gd name="T60" fmla="*/ 480 w 628"/>
                <a:gd name="T61" fmla="*/ 880 h 910"/>
                <a:gd name="T62" fmla="*/ 460 w 628"/>
                <a:gd name="T63" fmla="*/ 910 h 910"/>
                <a:gd name="T64" fmla="*/ 438 w 628"/>
                <a:gd name="T65" fmla="*/ 876 h 910"/>
                <a:gd name="T66" fmla="*/ 435 w 628"/>
                <a:gd name="T67" fmla="*/ 834 h 910"/>
                <a:gd name="T68" fmla="*/ 411 w 628"/>
                <a:gd name="T69" fmla="*/ 821 h 910"/>
                <a:gd name="T70" fmla="*/ 348 w 628"/>
                <a:gd name="T71" fmla="*/ 763 h 910"/>
                <a:gd name="T72" fmla="*/ 336 w 628"/>
                <a:gd name="T73" fmla="*/ 728 h 910"/>
                <a:gd name="T74" fmla="*/ 275 w 628"/>
                <a:gd name="T75" fmla="*/ 743 h 910"/>
                <a:gd name="T76" fmla="*/ 250 w 628"/>
                <a:gd name="T77" fmla="*/ 731 h 910"/>
                <a:gd name="T78" fmla="*/ 238 w 628"/>
                <a:gd name="T79" fmla="*/ 684 h 910"/>
                <a:gd name="T80" fmla="*/ 203 w 628"/>
                <a:gd name="T81" fmla="*/ 649 h 910"/>
                <a:gd name="T82" fmla="*/ 162 w 628"/>
                <a:gd name="T83" fmla="*/ 626 h 910"/>
                <a:gd name="T84" fmla="*/ 159 w 628"/>
                <a:gd name="T85" fmla="*/ 604 h 910"/>
                <a:gd name="T86" fmla="*/ 99 w 628"/>
                <a:gd name="T87" fmla="*/ 569 h 910"/>
                <a:gd name="T88" fmla="*/ 61 w 628"/>
                <a:gd name="T89" fmla="*/ 532 h 910"/>
                <a:gd name="T90" fmla="*/ 21 w 628"/>
                <a:gd name="T91" fmla="*/ 501 h 910"/>
                <a:gd name="T92" fmla="*/ 0 w 628"/>
                <a:gd name="T93" fmla="*/ 472 h 910"/>
                <a:gd name="T94" fmla="*/ 22 w 628"/>
                <a:gd name="T95" fmla="*/ 448 h 910"/>
                <a:gd name="T96" fmla="*/ 59 w 628"/>
                <a:gd name="T97" fmla="*/ 419 h 910"/>
                <a:gd name="T98" fmla="*/ 49 w 628"/>
                <a:gd name="T99" fmla="*/ 382 h 910"/>
                <a:gd name="T100" fmla="*/ 31 w 628"/>
                <a:gd name="T101" fmla="*/ 349 h 910"/>
                <a:gd name="T102" fmla="*/ 30 w 628"/>
                <a:gd name="T103" fmla="*/ 297 h 910"/>
                <a:gd name="T104" fmla="*/ 21 w 628"/>
                <a:gd name="T105" fmla="*/ 279 h 910"/>
                <a:gd name="T106" fmla="*/ 33 w 628"/>
                <a:gd name="T107" fmla="*/ 264 h 910"/>
                <a:gd name="T108" fmla="*/ 54 w 628"/>
                <a:gd name="T109" fmla="*/ 249 h 910"/>
                <a:gd name="T110" fmla="*/ 60 w 628"/>
                <a:gd name="T111" fmla="*/ 221 h 910"/>
                <a:gd name="T112" fmla="*/ 84 w 628"/>
                <a:gd name="T113" fmla="*/ 179 h 910"/>
                <a:gd name="T114" fmla="*/ 79 w 628"/>
                <a:gd name="T115" fmla="*/ 130 h 910"/>
                <a:gd name="T116" fmla="*/ 99 w 628"/>
                <a:gd name="T117" fmla="*/ 123 h 910"/>
                <a:gd name="T118" fmla="*/ 133 w 628"/>
                <a:gd name="T119" fmla="*/ 128 h 910"/>
                <a:gd name="T120" fmla="*/ 116 w 628"/>
                <a:gd name="T121" fmla="*/ 84 h 910"/>
                <a:gd name="T122" fmla="*/ 116 w 628"/>
                <a:gd name="T123" fmla="*/ 35 h 910"/>
                <a:gd name="T124" fmla="*/ 150 w 628"/>
                <a:gd name="T125" fmla="*/ 13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28" h="910">
                  <a:moveTo>
                    <a:pt x="160" y="0"/>
                  </a:moveTo>
                  <a:lnTo>
                    <a:pt x="161" y="0"/>
                  </a:lnTo>
                  <a:lnTo>
                    <a:pt x="161" y="0"/>
                  </a:lnTo>
                  <a:lnTo>
                    <a:pt x="161" y="1"/>
                  </a:lnTo>
                  <a:lnTo>
                    <a:pt x="161" y="2"/>
                  </a:lnTo>
                  <a:lnTo>
                    <a:pt x="162" y="2"/>
                  </a:lnTo>
                  <a:lnTo>
                    <a:pt x="164" y="3"/>
                  </a:lnTo>
                  <a:lnTo>
                    <a:pt x="167" y="4"/>
                  </a:lnTo>
                  <a:lnTo>
                    <a:pt x="167" y="3"/>
                  </a:lnTo>
                  <a:lnTo>
                    <a:pt x="169" y="3"/>
                  </a:lnTo>
                  <a:lnTo>
                    <a:pt x="169" y="5"/>
                  </a:lnTo>
                  <a:lnTo>
                    <a:pt x="169" y="5"/>
                  </a:lnTo>
                  <a:lnTo>
                    <a:pt x="169" y="9"/>
                  </a:lnTo>
                  <a:lnTo>
                    <a:pt x="170" y="16"/>
                  </a:lnTo>
                  <a:lnTo>
                    <a:pt x="171" y="21"/>
                  </a:lnTo>
                  <a:lnTo>
                    <a:pt x="174" y="28"/>
                  </a:lnTo>
                  <a:lnTo>
                    <a:pt x="176" y="38"/>
                  </a:lnTo>
                  <a:lnTo>
                    <a:pt x="178" y="42"/>
                  </a:lnTo>
                  <a:lnTo>
                    <a:pt x="179" y="47"/>
                  </a:lnTo>
                  <a:lnTo>
                    <a:pt x="183" y="55"/>
                  </a:lnTo>
                  <a:lnTo>
                    <a:pt x="185" y="61"/>
                  </a:lnTo>
                  <a:lnTo>
                    <a:pt x="186" y="66"/>
                  </a:lnTo>
                  <a:lnTo>
                    <a:pt x="189" y="74"/>
                  </a:lnTo>
                  <a:lnTo>
                    <a:pt x="189" y="76"/>
                  </a:lnTo>
                  <a:lnTo>
                    <a:pt x="190" y="78"/>
                  </a:lnTo>
                  <a:lnTo>
                    <a:pt x="191" y="80"/>
                  </a:lnTo>
                  <a:lnTo>
                    <a:pt x="191" y="81"/>
                  </a:lnTo>
                  <a:lnTo>
                    <a:pt x="192" y="82"/>
                  </a:lnTo>
                  <a:lnTo>
                    <a:pt x="194" y="83"/>
                  </a:lnTo>
                  <a:lnTo>
                    <a:pt x="194" y="83"/>
                  </a:lnTo>
                  <a:lnTo>
                    <a:pt x="196" y="83"/>
                  </a:lnTo>
                  <a:lnTo>
                    <a:pt x="197" y="83"/>
                  </a:lnTo>
                  <a:lnTo>
                    <a:pt x="199" y="82"/>
                  </a:lnTo>
                  <a:lnTo>
                    <a:pt x="205" y="80"/>
                  </a:lnTo>
                  <a:lnTo>
                    <a:pt x="208" y="77"/>
                  </a:lnTo>
                  <a:lnTo>
                    <a:pt x="212" y="77"/>
                  </a:lnTo>
                  <a:lnTo>
                    <a:pt x="216" y="76"/>
                  </a:lnTo>
                  <a:lnTo>
                    <a:pt x="218" y="75"/>
                  </a:lnTo>
                  <a:lnTo>
                    <a:pt x="222" y="76"/>
                  </a:lnTo>
                  <a:lnTo>
                    <a:pt x="224" y="76"/>
                  </a:lnTo>
                  <a:lnTo>
                    <a:pt x="226" y="77"/>
                  </a:lnTo>
                  <a:lnTo>
                    <a:pt x="228" y="79"/>
                  </a:lnTo>
                  <a:lnTo>
                    <a:pt x="231" y="80"/>
                  </a:lnTo>
                  <a:lnTo>
                    <a:pt x="233" y="82"/>
                  </a:lnTo>
                  <a:lnTo>
                    <a:pt x="236" y="85"/>
                  </a:lnTo>
                  <a:lnTo>
                    <a:pt x="237" y="87"/>
                  </a:lnTo>
                  <a:lnTo>
                    <a:pt x="238" y="90"/>
                  </a:lnTo>
                  <a:lnTo>
                    <a:pt x="241" y="94"/>
                  </a:lnTo>
                  <a:lnTo>
                    <a:pt x="242" y="97"/>
                  </a:lnTo>
                  <a:lnTo>
                    <a:pt x="244" y="103"/>
                  </a:lnTo>
                  <a:lnTo>
                    <a:pt x="246" y="106"/>
                  </a:lnTo>
                  <a:lnTo>
                    <a:pt x="247" y="108"/>
                  </a:lnTo>
                  <a:lnTo>
                    <a:pt x="253" y="117"/>
                  </a:lnTo>
                  <a:lnTo>
                    <a:pt x="256" y="120"/>
                  </a:lnTo>
                  <a:lnTo>
                    <a:pt x="259" y="124"/>
                  </a:lnTo>
                  <a:lnTo>
                    <a:pt x="261" y="126"/>
                  </a:lnTo>
                  <a:lnTo>
                    <a:pt x="263" y="128"/>
                  </a:lnTo>
                  <a:lnTo>
                    <a:pt x="266" y="130"/>
                  </a:lnTo>
                  <a:lnTo>
                    <a:pt x="268" y="131"/>
                  </a:lnTo>
                  <a:lnTo>
                    <a:pt x="269" y="132"/>
                  </a:lnTo>
                  <a:lnTo>
                    <a:pt x="271" y="133"/>
                  </a:lnTo>
                  <a:lnTo>
                    <a:pt x="273" y="134"/>
                  </a:lnTo>
                  <a:lnTo>
                    <a:pt x="277" y="135"/>
                  </a:lnTo>
                  <a:lnTo>
                    <a:pt x="287" y="137"/>
                  </a:lnTo>
                  <a:lnTo>
                    <a:pt x="293" y="138"/>
                  </a:lnTo>
                  <a:lnTo>
                    <a:pt x="311" y="145"/>
                  </a:lnTo>
                  <a:lnTo>
                    <a:pt x="321" y="147"/>
                  </a:lnTo>
                  <a:lnTo>
                    <a:pt x="323" y="148"/>
                  </a:lnTo>
                  <a:lnTo>
                    <a:pt x="327" y="150"/>
                  </a:lnTo>
                  <a:lnTo>
                    <a:pt x="328" y="150"/>
                  </a:lnTo>
                  <a:lnTo>
                    <a:pt x="330" y="151"/>
                  </a:lnTo>
                  <a:lnTo>
                    <a:pt x="331" y="152"/>
                  </a:lnTo>
                  <a:lnTo>
                    <a:pt x="333" y="154"/>
                  </a:lnTo>
                  <a:lnTo>
                    <a:pt x="334" y="156"/>
                  </a:lnTo>
                  <a:lnTo>
                    <a:pt x="335" y="158"/>
                  </a:lnTo>
                  <a:lnTo>
                    <a:pt x="337" y="162"/>
                  </a:lnTo>
                  <a:lnTo>
                    <a:pt x="339" y="170"/>
                  </a:lnTo>
                  <a:lnTo>
                    <a:pt x="340" y="173"/>
                  </a:lnTo>
                  <a:lnTo>
                    <a:pt x="341" y="176"/>
                  </a:lnTo>
                  <a:lnTo>
                    <a:pt x="343" y="179"/>
                  </a:lnTo>
                  <a:lnTo>
                    <a:pt x="344" y="181"/>
                  </a:lnTo>
                  <a:lnTo>
                    <a:pt x="346" y="183"/>
                  </a:lnTo>
                  <a:lnTo>
                    <a:pt x="353" y="191"/>
                  </a:lnTo>
                  <a:lnTo>
                    <a:pt x="359" y="197"/>
                  </a:lnTo>
                  <a:lnTo>
                    <a:pt x="361" y="199"/>
                  </a:lnTo>
                  <a:lnTo>
                    <a:pt x="362" y="201"/>
                  </a:lnTo>
                  <a:lnTo>
                    <a:pt x="363" y="202"/>
                  </a:lnTo>
                  <a:lnTo>
                    <a:pt x="366" y="209"/>
                  </a:lnTo>
                  <a:lnTo>
                    <a:pt x="367" y="212"/>
                  </a:lnTo>
                  <a:lnTo>
                    <a:pt x="368" y="214"/>
                  </a:lnTo>
                  <a:lnTo>
                    <a:pt x="370" y="215"/>
                  </a:lnTo>
                  <a:lnTo>
                    <a:pt x="376" y="222"/>
                  </a:lnTo>
                  <a:lnTo>
                    <a:pt x="378" y="224"/>
                  </a:lnTo>
                  <a:lnTo>
                    <a:pt x="379" y="225"/>
                  </a:lnTo>
                  <a:lnTo>
                    <a:pt x="381" y="226"/>
                  </a:lnTo>
                  <a:lnTo>
                    <a:pt x="386" y="229"/>
                  </a:lnTo>
                  <a:lnTo>
                    <a:pt x="388" y="230"/>
                  </a:lnTo>
                  <a:lnTo>
                    <a:pt x="389" y="232"/>
                  </a:lnTo>
                  <a:lnTo>
                    <a:pt x="394" y="237"/>
                  </a:lnTo>
                  <a:lnTo>
                    <a:pt x="397" y="239"/>
                  </a:lnTo>
                  <a:lnTo>
                    <a:pt x="401" y="242"/>
                  </a:lnTo>
                  <a:lnTo>
                    <a:pt x="405" y="244"/>
                  </a:lnTo>
                  <a:lnTo>
                    <a:pt x="408" y="247"/>
                  </a:lnTo>
                  <a:lnTo>
                    <a:pt x="416" y="250"/>
                  </a:lnTo>
                  <a:lnTo>
                    <a:pt x="421" y="252"/>
                  </a:lnTo>
                  <a:lnTo>
                    <a:pt x="430" y="255"/>
                  </a:lnTo>
                  <a:lnTo>
                    <a:pt x="431" y="256"/>
                  </a:lnTo>
                  <a:lnTo>
                    <a:pt x="431" y="257"/>
                  </a:lnTo>
                  <a:lnTo>
                    <a:pt x="430" y="257"/>
                  </a:lnTo>
                  <a:lnTo>
                    <a:pt x="430" y="259"/>
                  </a:lnTo>
                  <a:lnTo>
                    <a:pt x="430" y="266"/>
                  </a:lnTo>
                  <a:lnTo>
                    <a:pt x="430" y="270"/>
                  </a:lnTo>
                  <a:lnTo>
                    <a:pt x="429" y="275"/>
                  </a:lnTo>
                  <a:lnTo>
                    <a:pt x="428" y="279"/>
                  </a:lnTo>
                  <a:lnTo>
                    <a:pt x="428" y="283"/>
                  </a:lnTo>
                  <a:lnTo>
                    <a:pt x="426" y="287"/>
                  </a:lnTo>
                  <a:lnTo>
                    <a:pt x="425" y="290"/>
                  </a:lnTo>
                  <a:lnTo>
                    <a:pt x="423" y="293"/>
                  </a:lnTo>
                  <a:lnTo>
                    <a:pt x="423" y="294"/>
                  </a:lnTo>
                  <a:lnTo>
                    <a:pt x="421" y="296"/>
                  </a:lnTo>
                  <a:lnTo>
                    <a:pt x="420" y="297"/>
                  </a:lnTo>
                  <a:lnTo>
                    <a:pt x="418" y="297"/>
                  </a:lnTo>
                  <a:lnTo>
                    <a:pt x="417" y="298"/>
                  </a:lnTo>
                  <a:lnTo>
                    <a:pt x="416" y="298"/>
                  </a:lnTo>
                  <a:lnTo>
                    <a:pt x="409" y="298"/>
                  </a:lnTo>
                  <a:lnTo>
                    <a:pt x="408" y="298"/>
                  </a:lnTo>
                  <a:lnTo>
                    <a:pt x="406" y="299"/>
                  </a:lnTo>
                  <a:lnTo>
                    <a:pt x="404" y="299"/>
                  </a:lnTo>
                  <a:lnTo>
                    <a:pt x="402" y="300"/>
                  </a:lnTo>
                  <a:lnTo>
                    <a:pt x="401" y="302"/>
                  </a:lnTo>
                  <a:lnTo>
                    <a:pt x="399" y="304"/>
                  </a:lnTo>
                  <a:lnTo>
                    <a:pt x="398" y="307"/>
                  </a:lnTo>
                  <a:lnTo>
                    <a:pt x="396" y="309"/>
                  </a:lnTo>
                  <a:lnTo>
                    <a:pt x="396" y="312"/>
                  </a:lnTo>
                  <a:lnTo>
                    <a:pt x="396" y="315"/>
                  </a:lnTo>
                  <a:lnTo>
                    <a:pt x="396" y="322"/>
                  </a:lnTo>
                  <a:lnTo>
                    <a:pt x="395" y="331"/>
                  </a:lnTo>
                  <a:lnTo>
                    <a:pt x="394" y="334"/>
                  </a:lnTo>
                  <a:lnTo>
                    <a:pt x="393" y="336"/>
                  </a:lnTo>
                  <a:lnTo>
                    <a:pt x="392" y="338"/>
                  </a:lnTo>
                  <a:lnTo>
                    <a:pt x="391" y="339"/>
                  </a:lnTo>
                  <a:lnTo>
                    <a:pt x="387" y="344"/>
                  </a:lnTo>
                  <a:lnTo>
                    <a:pt x="386" y="346"/>
                  </a:lnTo>
                  <a:lnTo>
                    <a:pt x="386" y="347"/>
                  </a:lnTo>
                  <a:lnTo>
                    <a:pt x="386" y="349"/>
                  </a:lnTo>
                  <a:lnTo>
                    <a:pt x="385" y="350"/>
                  </a:lnTo>
                  <a:lnTo>
                    <a:pt x="385" y="353"/>
                  </a:lnTo>
                  <a:lnTo>
                    <a:pt x="386" y="354"/>
                  </a:lnTo>
                  <a:lnTo>
                    <a:pt x="386" y="355"/>
                  </a:lnTo>
                  <a:lnTo>
                    <a:pt x="387" y="357"/>
                  </a:lnTo>
                  <a:lnTo>
                    <a:pt x="388" y="358"/>
                  </a:lnTo>
                  <a:lnTo>
                    <a:pt x="389" y="359"/>
                  </a:lnTo>
                  <a:lnTo>
                    <a:pt x="391" y="359"/>
                  </a:lnTo>
                  <a:lnTo>
                    <a:pt x="393" y="360"/>
                  </a:lnTo>
                  <a:lnTo>
                    <a:pt x="395" y="361"/>
                  </a:lnTo>
                  <a:lnTo>
                    <a:pt x="402" y="362"/>
                  </a:lnTo>
                  <a:lnTo>
                    <a:pt x="407" y="364"/>
                  </a:lnTo>
                  <a:lnTo>
                    <a:pt x="411" y="365"/>
                  </a:lnTo>
                  <a:lnTo>
                    <a:pt x="413" y="366"/>
                  </a:lnTo>
                  <a:lnTo>
                    <a:pt x="415" y="367"/>
                  </a:lnTo>
                  <a:lnTo>
                    <a:pt x="417" y="369"/>
                  </a:lnTo>
                  <a:lnTo>
                    <a:pt x="418" y="370"/>
                  </a:lnTo>
                  <a:lnTo>
                    <a:pt x="421" y="372"/>
                  </a:lnTo>
                  <a:lnTo>
                    <a:pt x="422" y="373"/>
                  </a:lnTo>
                  <a:lnTo>
                    <a:pt x="423" y="375"/>
                  </a:lnTo>
                  <a:lnTo>
                    <a:pt x="425" y="377"/>
                  </a:lnTo>
                  <a:lnTo>
                    <a:pt x="427" y="381"/>
                  </a:lnTo>
                  <a:lnTo>
                    <a:pt x="428" y="383"/>
                  </a:lnTo>
                  <a:lnTo>
                    <a:pt x="428" y="385"/>
                  </a:lnTo>
                  <a:lnTo>
                    <a:pt x="429" y="387"/>
                  </a:lnTo>
                  <a:lnTo>
                    <a:pt x="430" y="389"/>
                  </a:lnTo>
                  <a:lnTo>
                    <a:pt x="430" y="390"/>
                  </a:lnTo>
                  <a:lnTo>
                    <a:pt x="430" y="392"/>
                  </a:lnTo>
                  <a:lnTo>
                    <a:pt x="429" y="395"/>
                  </a:lnTo>
                  <a:lnTo>
                    <a:pt x="428" y="401"/>
                  </a:lnTo>
                  <a:lnTo>
                    <a:pt x="427" y="403"/>
                  </a:lnTo>
                  <a:lnTo>
                    <a:pt x="425" y="405"/>
                  </a:lnTo>
                  <a:lnTo>
                    <a:pt x="424" y="409"/>
                  </a:lnTo>
                  <a:lnTo>
                    <a:pt x="418" y="417"/>
                  </a:lnTo>
                  <a:lnTo>
                    <a:pt x="418" y="419"/>
                  </a:lnTo>
                  <a:lnTo>
                    <a:pt x="417" y="420"/>
                  </a:lnTo>
                  <a:lnTo>
                    <a:pt x="417" y="421"/>
                  </a:lnTo>
                  <a:lnTo>
                    <a:pt x="417" y="423"/>
                  </a:lnTo>
                  <a:lnTo>
                    <a:pt x="418" y="424"/>
                  </a:lnTo>
                  <a:lnTo>
                    <a:pt x="418" y="424"/>
                  </a:lnTo>
                  <a:lnTo>
                    <a:pt x="421" y="428"/>
                  </a:lnTo>
                  <a:lnTo>
                    <a:pt x="423" y="430"/>
                  </a:lnTo>
                  <a:lnTo>
                    <a:pt x="425" y="433"/>
                  </a:lnTo>
                  <a:lnTo>
                    <a:pt x="426" y="436"/>
                  </a:lnTo>
                  <a:lnTo>
                    <a:pt x="428" y="438"/>
                  </a:lnTo>
                  <a:lnTo>
                    <a:pt x="428" y="440"/>
                  </a:lnTo>
                  <a:lnTo>
                    <a:pt x="430" y="448"/>
                  </a:lnTo>
                  <a:lnTo>
                    <a:pt x="431" y="450"/>
                  </a:lnTo>
                  <a:lnTo>
                    <a:pt x="432" y="451"/>
                  </a:lnTo>
                  <a:lnTo>
                    <a:pt x="433" y="453"/>
                  </a:lnTo>
                  <a:lnTo>
                    <a:pt x="433" y="454"/>
                  </a:lnTo>
                  <a:lnTo>
                    <a:pt x="435" y="455"/>
                  </a:lnTo>
                  <a:lnTo>
                    <a:pt x="438" y="456"/>
                  </a:lnTo>
                  <a:lnTo>
                    <a:pt x="440" y="458"/>
                  </a:lnTo>
                  <a:lnTo>
                    <a:pt x="448" y="460"/>
                  </a:lnTo>
                  <a:lnTo>
                    <a:pt x="449" y="461"/>
                  </a:lnTo>
                  <a:lnTo>
                    <a:pt x="450" y="461"/>
                  </a:lnTo>
                  <a:lnTo>
                    <a:pt x="452" y="463"/>
                  </a:lnTo>
                  <a:lnTo>
                    <a:pt x="455" y="467"/>
                  </a:lnTo>
                  <a:lnTo>
                    <a:pt x="457" y="469"/>
                  </a:lnTo>
                  <a:lnTo>
                    <a:pt x="458" y="469"/>
                  </a:lnTo>
                  <a:lnTo>
                    <a:pt x="463" y="473"/>
                  </a:lnTo>
                  <a:lnTo>
                    <a:pt x="465" y="474"/>
                  </a:lnTo>
                  <a:lnTo>
                    <a:pt x="467" y="476"/>
                  </a:lnTo>
                  <a:lnTo>
                    <a:pt x="468" y="478"/>
                  </a:lnTo>
                  <a:lnTo>
                    <a:pt x="468" y="479"/>
                  </a:lnTo>
                  <a:lnTo>
                    <a:pt x="469" y="481"/>
                  </a:lnTo>
                  <a:lnTo>
                    <a:pt x="469" y="482"/>
                  </a:lnTo>
                  <a:lnTo>
                    <a:pt x="469" y="484"/>
                  </a:lnTo>
                  <a:lnTo>
                    <a:pt x="468" y="490"/>
                  </a:lnTo>
                  <a:lnTo>
                    <a:pt x="466" y="504"/>
                  </a:lnTo>
                  <a:lnTo>
                    <a:pt x="466" y="506"/>
                  </a:lnTo>
                  <a:lnTo>
                    <a:pt x="465" y="509"/>
                  </a:lnTo>
                  <a:lnTo>
                    <a:pt x="466" y="511"/>
                  </a:lnTo>
                  <a:lnTo>
                    <a:pt x="467" y="514"/>
                  </a:lnTo>
                  <a:lnTo>
                    <a:pt x="468" y="516"/>
                  </a:lnTo>
                  <a:lnTo>
                    <a:pt x="470" y="519"/>
                  </a:lnTo>
                  <a:lnTo>
                    <a:pt x="471" y="521"/>
                  </a:lnTo>
                  <a:lnTo>
                    <a:pt x="473" y="524"/>
                  </a:lnTo>
                  <a:lnTo>
                    <a:pt x="475" y="526"/>
                  </a:lnTo>
                  <a:lnTo>
                    <a:pt x="478" y="528"/>
                  </a:lnTo>
                  <a:lnTo>
                    <a:pt x="480" y="529"/>
                  </a:lnTo>
                  <a:lnTo>
                    <a:pt x="482" y="531"/>
                  </a:lnTo>
                  <a:lnTo>
                    <a:pt x="484" y="531"/>
                  </a:lnTo>
                  <a:lnTo>
                    <a:pt x="486" y="532"/>
                  </a:lnTo>
                  <a:lnTo>
                    <a:pt x="488" y="533"/>
                  </a:lnTo>
                  <a:lnTo>
                    <a:pt x="489" y="534"/>
                  </a:lnTo>
                  <a:lnTo>
                    <a:pt x="492" y="534"/>
                  </a:lnTo>
                  <a:lnTo>
                    <a:pt x="495" y="534"/>
                  </a:lnTo>
                  <a:lnTo>
                    <a:pt x="503" y="532"/>
                  </a:lnTo>
                  <a:lnTo>
                    <a:pt x="505" y="532"/>
                  </a:lnTo>
                  <a:lnTo>
                    <a:pt x="507" y="532"/>
                  </a:lnTo>
                  <a:lnTo>
                    <a:pt x="508" y="532"/>
                  </a:lnTo>
                  <a:lnTo>
                    <a:pt x="510" y="533"/>
                  </a:lnTo>
                  <a:lnTo>
                    <a:pt x="510" y="534"/>
                  </a:lnTo>
                  <a:lnTo>
                    <a:pt x="511" y="534"/>
                  </a:lnTo>
                  <a:lnTo>
                    <a:pt x="511" y="535"/>
                  </a:lnTo>
                  <a:lnTo>
                    <a:pt x="511" y="536"/>
                  </a:lnTo>
                  <a:lnTo>
                    <a:pt x="511" y="538"/>
                  </a:lnTo>
                  <a:lnTo>
                    <a:pt x="510" y="540"/>
                  </a:lnTo>
                  <a:lnTo>
                    <a:pt x="510" y="542"/>
                  </a:lnTo>
                  <a:lnTo>
                    <a:pt x="509" y="543"/>
                  </a:lnTo>
                  <a:lnTo>
                    <a:pt x="508" y="544"/>
                  </a:lnTo>
                  <a:lnTo>
                    <a:pt x="503" y="548"/>
                  </a:lnTo>
                  <a:lnTo>
                    <a:pt x="500" y="550"/>
                  </a:lnTo>
                  <a:lnTo>
                    <a:pt x="499" y="551"/>
                  </a:lnTo>
                  <a:lnTo>
                    <a:pt x="498" y="554"/>
                  </a:lnTo>
                  <a:lnTo>
                    <a:pt x="497" y="556"/>
                  </a:lnTo>
                  <a:lnTo>
                    <a:pt x="496" y="559"/>
                  </a:lnTo>
                  <a:lnTo>
                    <a:pt x="495" y="561"/>
                  </a:lnTo>
                  <a:lnTo>
                    <a:pt x="496" y="564"/>
                  </a:lnTo>
                  <a:lnTo>
                    <a:pt x="497" y="565"/>
                  </a:lnTo>
                  <a:lnTo>
                    <a:pt x="498" y="566"/>
                  </a:lnTo>
                  <a:lnTo>
                    <a:pt x="498" y="568"/>
                  </a:lnTo>
                  <a:lnTo>
                    <a:pt x="500" y="569"/>
                  </a:lnTo>
                  <a:lnTo>
                    <a:pt x="501" y="570"/>
                  </a:lnTo>
                  <a:lnTo>
                    <a:pt x="503" y="571"/>
                  </a:lnTo>
                  <a:lnTo>
                    <a:pt x="511" y="575"/>
                  </a:lnTo>
                  <a:lnTo>
                    <a:pt x="513" y="576"/>
                  </a:lnTo>
                  <a:lnTo>
                    <a:pt x="515" y="578"/>
                  </a:lnTo>
                  <a:lnTo>
                    <a:pt x="516" y="579"/>
                  </a:lnTo>
                  <a:lnTo>
                    <a:pt x="517" y="579"/>
                  </a:lnTo>
                  <a:lnTo>
                    <a:pt x="518" y="581"/>
                  </a:lnTo>
                  <a:lnTo>
                    <a:pt x="518" y="584"/>
                  </a:lnTo>
                  <a:lnTo>
                    <a:pt x="519" y="586"/>
                  </a:lnTo>
                  <a:lnTo>
                    <a:pt x="520" y="592"/>
                  </a:lnTo>
                  <a:lnTo>
                    <a:pt x="523" y="599"/>
                  </a:lnTo>
                  <a:lnTo>
                    <a:pt x="524" y="604"/>
                  </a:lnTo>
                  <a:lnTo>
                    <a:pt x="528" y="611"/>
                  </a:lnTo>
                  <a:lnTo>
                    <a:pt x="530" y="614"/>
                  </a:lnTo>
                  <a:lnTo>
                    <a:pt x="530" y="619"/>
                  </a:lnTo>
                  <a:lnTo>
                    <a:pt x="532" y="628"/>
                  </a:lnTo>
                  <a:lnTo>
                    <a:pt x="533" y="632"/>
                  </a:lnTo>
                  <a:lnTo>
                    <a:pt x="534" y="634"/>
                  </a:lnTo>
                  <a:lnTo>
                    <a:pt x="535" y="637"/>
                  </a:lnTo>
                  <a:lnTo>
                    <a:pt x="537" y="640"/>
                  </a:lnTo>
                  <a:lnTo>
                    <a:pt x="539" y="644"/>
                  </a:lnTo>
                  <a:lnTo>
                    <a:pt x="541" y="646"/>
                  </a:lnTo>
                  <a:lnTo>
                    <a:pt x="543" y="649"/>
                  </a:lnTo>
                  <a:lnTo>
                    <a:pt x="545" y="652"/>
                  </a:lnTo>
                  <a:lnTo>
                    <a:pt x="548" y="655"/>
                  </a:lnTo>
                  <a:lnTo>
                    <a:pt x="550" y="657"/>
                  </a:lnTo>
                  <a:lnTo>
                    <a:pt x="553" y="659"/>
                  </a:lnTo>
                  <a:lnTo>
                    <a:pt x="555" y="661"/>
                  </a:lnTo>
                  <a:lnTo>
                    <a:pt x="558" y="663"/>
                  </a:lnTo>
                  <a:lnTo>
                    <a:pt x="561" y="665"/>
                  </a:lnTo>
                  <a:lnTo>
                    <a:pt x="565" y="667"/>
                  </a:lnTo>
                  <a:lnTo>
                    <a:pt x="568" y="668"/>
                  </a:lnTo>
                  <a:lnTo>
                    <a:pt x="573" y="671"/>
                  </a:lnTo>
                  <a:lnTo>
                    <a:pt x="577" y="672"/>
                  </a:lnTo>
                  <a:lnTo>
                    <a:pt x="580" y="673"/>
                  </a:lnTo>
                  <a:lnTo>
                    <a:pt x="591" y="676"/>
                  </a:lnTo>
                  <a:lnTo>
                    <a:pt x="593" y="676"/>
                  </a:lnTo>
                  <a:lnTo>
                    <a:pt x="595" y="677"/>
                  </a:lnTo>
                  <a:lnTo>
                    <a:pt x="597" y="678"/>
                  </a:lnTo>
                  <a:lnTo>
                    <a:pt x="598" y="679"/>
                  </a:lnTo>
                  <a:lnTo>
                    <a:pt x="600" y="681"/>
                  </a:lnTo>
                  <a:lnTo>
                    <a:pt x="602" y="683"/>
                  </a:lnTo>
                  <a:lnTo>
                    <a:pt x="603" y="685"/>
                  </a:lnTo>
                  <a:lnTo>
                    <a:pt x="603" y="687"/>
                  </a:lnTo>
                  <a:lnTo>
                    <a:pt x="605" y="691"/>
                  </a:lnTo>
                  <a:lnTo>
                    <a:pt x="605" y="695"/>
                  </a:lnTo>
                  <a:lnTo>
                    <a:pt x="607" y="703"/>
                  </a:lnTo>
                  <a:lnTo>
                    <a:pt x="608" y="706"/>
                  </a:lnTo>
                  <a:lnTo>
                    <a:pt x="609" y="708"/>
                  </a:lnTo>
                  <a:lnTo>
                    <a:pt x="610" y="713"/>
                  </a:lnTo>
                  <a:lnTo>
                    <a:pt x="617" y="726"/>
                  </a:lnTo>
                  <a:lnTo>
                    <a:pt x="619" y="730"/>
                  </a:lnTo>
                  <a:lnTo>
                    <a:pt x="620" y="733"/>
                  </a:lnTo>
                  <a:lnTo>
                    <a:pt x="620" y="736"/>
                  </a:lnTo>
                  <a:lnTo>
                    <a:pt x="620" y="738"/>
                  </a:lnTo>
                  <a:lnTo>
                    <a:pt x="622" y="748"/>
                  </a:lnTo>
                  <a:lnTo>
                    <a:pt x="623" y="754"/>
                  </a:lnTo>
                  <a:lnTo>
                    <a:pt x="624" y="759"/>
                  </a:lnTo>
                  <a:lnTo>
                    <a:pt x="626" y="768"/>
                  </a:lnTo>
                  <a:lnTo>
                    <a:pt x="628" y="772"/>
                  </a:lnTo>
                  <a:lnTo>
                    <a:pt x="628" y="775"/>
                  </a:lnTo>
                  <a:lnTo>
                    <a:pt x="627" y="777"/>
                  </a:lnTo>
                  <a:lnTo>
                    <a:pt x="627" y="778"/>
                  </a:lnTo>
                  <a:lnTo>
                    <a:pt x="626" y="778"/>
                  </a:lnTo>
                  <a:lnTo>
                    <a:pt x="626" y="779"/>
                  </a:lnTo>
                  <a:lnTo>
                    <a:pt x="625" y="779"/>
                  </a:lnTo>
                  <a:lnTo>
                    <a:pt x="624" y="778"/>
                  </a:lnTo>
                  <a:lnTo>
                    <a:pt x="621" y="778"/>
                  </a:lnTo>
                  <a:lnTo>
                    <a:pt x="614" y="773"/>
                  </a:lnTo>
                  <a:lnTo>
                    <a:pt x="611" y="772"/>
                  </a:lnTo>
                  <a:lnTo>
                    <a:pt x="608" y="771"/>
                  </a:lnTo>
                  <a:lnTo>
                    <a:pt x="603" y="769"/>
                  </a:lnTo>
                  <a:lnTo>
                    <a:pt x="600" y="768"/>
                  </a:lnTo>
                  <a:lnTo>
                    <a:pt x="598" y="768"/>
                  </a:lnTo>
                  <a:lnTo>
                    <a:pt x="584" y="766"/>
                  </a:lnTo>
                  <a:lnTo>
                    <a:pt x="575" y="763"/>
                  </a:lnTo>
                  <a:lnTo>
                    <a:pt x="571" y="763"/>
                  </a:lnTo>
                  <a:lnTo>
                    <a:pt x="568" y="763"/>
                  </a:lnTo>
                  <a:lnTo>
                    <a:pt x="565" y="763"/>
                  </a:lnTo>
                  <a:lnTo>
                    <a:pt x="561" y="763"/>
                  </a:lnTo>
                  <a:lnTo>
                    <a:pt x="558" y="763"/>
                  </a:lnTo>
                  <a:lnTo>
                    <a:pt x="555" y="764"/>
                  </a:lnTo>
                  <a:lnTo>
                    <a:pt x="553" y="765"/>
                  </a:lnTo>
                  <a:lnTo>
                    <a:pt x="551" y="766"/>
                  </a:lnTo>
                  <a:lnTo>
                    <a:pt x="549" y="768"/>
                  </a:lnTo>
                  <a:lnTo>
                    <a:pt x="547" y="770"/>
                  </a:lnTo>
                  <a:lnTo>
                    <a:pt x="545" y="772"/>
                  </a:lnTo>
                  <a:lnTo>
                    <a:pt x="544" y="775"/>
                  </a:lnTo>
                  <a:lnTo>
                    <a:pt x="543" y="778"/>
                  </a:lnTo>
                  <a:lnTo>
                    <a:pt x="542" y="781"/>
                  </a:lnTo>
                  <a:lnTo>
                    <a:pt x="540" y="791"/>
                  </a:lnTo>
                  <a:lnTo>
                    <a:pt x="537" y="805"/>
                  </a:lnTo>
                  <a:lnTo>
                    <a:pt x="536" y="810"/>
                  </a:lnTo>
                  <a:lnTo>
                    <a:pt x="535" y="819"/>
                  </a:lnTo>
                  <a:lnTo>
                    <a:pt x="534" y="823"/>
                  </a:lnTo>
                  <a:lnTo>
                    <a:pt x="533" y="826"/>
                  </a:lnTo>
                  <a:lnTo>
                    <a:pt x="533" y="828"/>
                  </a:lnTo>
                  <a:lnTo>
                    <a:pt x="531" y="831"/>
                  </a:lnTo>
                  <a:lnTo>
                    <a:pt x="530" y="833"/>
                  </a:lnTo>
                  <a:lnTo>
                    <a:pt x="526" y="838"/>
                  </a:lnTo>
                  <a:lnTo>
                    <a:pt x="523" y="843"/>
                  </a:lnTo>
                  <a:lnTo>
                    <a:pt x="518" y="848"/>
                  </a:lnTo>
                  <a:lnTo>
                    <a:pt x="515" y="852"/>
                  </a:lnTo>
                  <a:lnTo>
                    <a:pt x="512" y="855"/>
                  </a:lnTo>
                  <a:lnTo>
                    <a:pt x="508" y="858"/>
                  </a:lnTo>
                  <a:lnTo>
                    <a:pt x="505" y="860"/>
                  </a:lnTo>
                  <a:lnTo>
                    <a:pt x="497" y="866"/>
                  </a:lnTo>
                  <a:lnTo>
                    <a:pt x="492" y="868"/>
                  </a:lnTo>
                  <a:lnTo>
                    <a:pt x="486" y="873"/>
                  </a:lnTo>
                  <a:lnTo>
                    <a:pt x="483" y="877"/>
                  </a:lnTo>
                  <a:lnTo>
                    <a:pt x="480" y="880"/>
                  </a:lnTo>
                  <a:lnTo>
                    <a:pt x="476" y="883"/>
                  </a:lnTo>
                  <a:lnTo>
                    <a:pt x="473" y="887"/>
                  </a:lnTo>
                  <a:lnTo>
                    <a:pt x="471" y="890"/>
                  </a:lnTo>
                  <a:lnTo>
                    <a:pt x="469" y="893"/>
                  </a:lnTo>
                  <a:lnTo>
                    <a:pt x="467" y="896"/>
                  </a:lnTo>
                  <a:lnTo>
                    <a:pt x="465" y="900"/>
                  </a:lnTo>
                  <a:lnTo>
                    <a:pt x="464" y="903"/>
                  </a:lnTo>
                  <a:lnTo>
                    <a:pt x="463" y="907"/>
                  </a:lnTo>
                  <a:lnTo>
                    <a:pt x="462" y="909"/>
                  </a:lnTo>
                  <a:lnTo>
                    <a:pt x="462" y="910"/>
                  </a:lnTo>
                  <a:lnTo>
                    <a:pt x="461" y="910"/>
                  </a:lnTo>
                  <a:lnTo>
                    <a:pt x="460" y="910"/>
                  </a:lnTo>
                  <a:lnTo>
                    <a:pt x="458" y="908"/>
                  </a:lnTo>
                  <a:lnTo>
                    <a:pt x="456" y="908"/>
                  </a:lnTo>
                  <a:lnTo>
                    <a:pt x="455" y="906"/>
                  </a:lnTo>
                  <a:lnTo>
                    <a:pt x="453" y="905"/>
                  </a:lnTo>
                  <a:lnTo>
                    <a:pt x="452" y="903"/>
                  </a:lnTo>
                  <a:lnTo>
                    <a:pt x="450" y="901"/>
                  </a:lnTo>
                  <a:lnTo>
                    <a:pt x="448" y="898"/>
                  </a:lnTo>
                  <a:lnTo>
                    <a:pt x="447" y="896"/>
                  </a:lnTo>
                  <a:lnTo>
                    <a:pt x="444" y="891"/>
                  </a:lnTo>
                  <a:lnTo>
                    <a:pt x="442" y="886"/>
                  </a:lnTo>
                  <a:lnTo>
                    <a:pt x="440" y="881"/>
                  </a:lnTo>
                  <a:lnTo>
                    <a:pt x="438" y="876"/>
                  </a:lnTo>
                  <a:lnTo>
                    <a:pt x="437" y="871"/>
                  </a:lnTo>
                  <a:lnTo>
                    <a:pt x="436" y="867"/>
                  </a:lnTo>
                  <a:lnTo>
                    <a:pt x="436" y="863"/>
                  </a:lnTo>
                  <a:lnTo>
                    <a:pt x="436" y="857"/>
                  </a:lnTo>
                  <a:lnTo>
                    <a:pt x="436" y="847"/>
                  </a:lnTo>
                  <a:lnTo>
                    <a:pt x="437" y="841"/>
                  </a:lnTo>
                  <a:lnTo>
                    <a:pt x="438" y="836"/>
                  </a:lnTo>
                  <a:lnTo>
                    <a:pt x="438" y="835"/>
                  </a:lnTo>
                  <a:lnTo>
                    <a:pt x="438" y="834"/>
                  </a:lnTo>
                  <a:lnTo>
                    <a:pt x="437" y="833"/>
                  </a:lnTo>
                  <a:lnTo>
                    <a:pt x="436" y="834"/>
                  </a:lnTo>
                  <a:lnTo>
                    <a:pt x="435" y="834"/>
                  </a:lnTo>
                  <a:lnTo>
                    <a:pt x="435" y="835"/>
                  </a:lnTo>
                  <a:lnTo>
                    <a:pt x="430" y="838"/>
                  </a:lnTo>
                  <a:lnTo>
                    <a:pt x="429" y="839"/>
                  </a:lnTo>
                  <a:lnTo>
                    <a:pt x="428" y="839"/>
                  </a:lnTo>
                  <a:lnTo>
                    <a:pt x="427" y="839"/>
                  </a:lnTo>
                  <a:lnTo>
                    <a:pt x="425" y="839"/>
                  </a:lnTo>
                  <a:lnTo>
                    <a:pt x="424" y="838"/>
                  </a:lnTo>
                  <a:lnTo>
                    <a:pt x="423" y="838"/>
                  </a:lnTo>
                  <a:lnTo>
                    <a:pt x="421" y="836"/>
                  </a:lnTo>
                  <a:lnTo>
                    <a:pt x="420" y="835"/>
                  </a:lnTo>
                  <a:lnTo>
                    <a:pt x="414" y="826"/>
                  </a:lnTo>
                  <a:lnTo>
                    <a:pt x="411" y="821"/>
                  </a:lnTo>
                  <a:lnTo>
                    <a:pt x="408" y="818"/>
                  </a:lnTo>
                  <a:lnTo>
                    <a:pt x="402" y="813"/>
                  </a:lnTo>
                  <a:lnTo>
                    <a:pt x="399" y="810"/>
                  </a:lnTo>
                  <a:lnTo>
                    <a:pt x="386" y="793"/>
                  </a:lnTo>
                  <a:lnTo>
                    <a:pt x="378" y="784"/>
                  </a:lnTo>
                  <a:lnTo>
                    <a:pt x="373" y="778"/>
                  </a:lnTo>
                  <a:lnTo>
                    <a:pt x="371" y="776"/>
                  </a:lnTo>
                  <a:lnTo>
                    <a:pt x="366" y="771"/>
                  </a:lnTo>
                  <a:lnTo>
                    <a:pt x="365" y="771"/>
                  </a:lnTo>
                  <a:lnTo>
                    <a:pt x="363" y="769"/>
                  </a:lnTo>
                  <a:lnTo>
                    <a:pt x="359" y="768"/>
                  </a:lnTo>
                  <a:lnTo>
                    <a:pt x="348" y="763"/>
                  </a:lnTo>
                  <a:lnTo>
                    <a:pt x="347" y="761"/>
                  </a:lnTo>
                  <a:lnTo>
                    <a:pt x="345" y="760"/>
                  </a:lnTo>
                  <a:lnTo>
                    <a:pt x="343" y="758"/>
                  </a:lnTo>
                  <a:lnTo>
                    <a:pt x="342" y="756"/>
                  </a:lnTo>
                  <a:lnTo>
                    <a:pt x="341" y="754"/>
                  </a:lnTo>
                  <a:lnTo>
                    <a:pt x="340" y="752"/>
                  </a:lnTo>
                  <a:lnTo>
                    <a:pt x="338" y="743"/>
                  </a:lnTo>
                  <a:lnTo>
                    <a:pt x="337" y="741"/>
                  </a:lnTo>
                  <a:lnTo>
                    <a:pt x="336" y="736"/>
                  </a:lnTo>
                  <a:lnTo>
                    <a:pt x="336" y="732"/>
                  </a:lnTo>
                  <a:lnTo>
                    <a:pt x="336" y="730"/>
                  </a:lnTo>
                  <a:lnTo>
                    <a:pt x="336" y="728"/>
                  </a:lnTo>
                  <a:lnTo>
                    <a:pt x="335" y="727"/>
                  </a:lnTo>
                  <a:lnTo>
                    <a:pt x="333" y="726"/>
                  </a:lnTo>
                  <a:lnTo>
                    <a:pt x="332" y="726"/>
                  </a:lnTo>
                  <a:lnTo>
                    <a:pt x="330" y="726"/>
                  </a:lnTo>
                  <a:lnTo>
                    <a:pt x="328" y="726"/>
                  </a:lnTo>
                  <a:lnTo>
                    <a:pt x="326" y="727"/>
                  </a:lnTo>
                  <a:lnTo>
                    <a:pt x="324" y="728"/>
                  </a:lnTo>
                  <a:lnTo>
                    <a:pt x="314" y="732"/>
                  </a:lnTo>
                  <a:lnTo>
                    <a:pt x="306" y="734"/>
                  </a:lnTo>
                  <a:lnTo>
                    <a:pt x="299" y="736"/>
                  </a:lnTo>
                  <a:lnTo>
                    <a:pt x="285" y="740"/>
                  </a:lnTo>
                  <a:lnTo>
                    <a:pt x="275" y="743"/>
                  </a:lnTo>
                  <a:lnTo>
                    <a:pt x="271" y="743"/>
                  </a:lnTo>
                  <a:lnTo>
                    <a:pt x="268" y="744"/>
                  </a:lnTo>
                  <a:lnTo>
                    <a:pt x="266" y="744"/>
                  </a:lnTo>
                  <a:lnTo>
                    <a:pt x="264" y="744"/>
                  </a:lnTo>
                  <a:lnTo>
                    <a:pt x="262" y="743"/>
                  </a:lnTo>
                  <a:lnTo>
                    <a:pt x="260" y="743"/>
                  </a:lnTo>
                  <a:lnTo>
                    <a:pt x="258" y="743"/>
                  </a:lnTo>
                  <a:lnTo>
                    <a:pt x="257" y="742"/>
                  </a:lnTo>
                  <a:lnTo>
                    <a:pt x="256" y="741"/>
                  </a:lnTo>
                  <a:lnTo>
                    <a:pt x="254" y="740"/>
                  </a:lnTo>
                  <a:lnTo>
                    <a:pt x="253" y="738"/>
                  </a:lnTo>
                  <a:lnTo>
                    <a:pt x="250" y="731"/>
                  </a:lnTo>
                  <a:lnTo>
                    <a:pt x="243" y="720"/>
                  </a:lnTo>
                  <a:lnTo>
                    <a:pt x="242" y="717"/>
                  </a:lnTo>
                  <a:lnTo>
                    <a:pt x="241" y="715"/>
                  </a:lnTo>
                  <a:lnTo>
                    <a:pt x="241" y="713"/>
                  </a:lnTo>
                  <a:lnTo>
                    <a:pt x="240" y="705"/>
                  </a:lnTo>
                  <a:lnTo>
                    <a:pt x="238" y="698"/>
                  </a:lnTo>
                  <a:lnTo>
                    <a:pt x="238" y="696"/>
                  </a:lnTo>
                  <a:lnTo>
                    <a:pt x="238" y="691"/>
                  </a:lnTo>
                  <a:lnTo>
                    <a:pt x="238" y="689"/>
                  </a:lnTo>
                  <a:lnTo>
                    <a:pt x="238" y="686"/>
                  </a:lnTo>
                  <a:lnTo>
                    <a:pt x="238" y="685"/>
                  </a:lnTo>
                  <a:lnTo>
                    <a:pt x="238" y="684"/>
                  </a:lnTo>
                  <a:lnTo>
                    <a:pt x="238" y="683"/>
                  </a:lnTo>
                  <a:lnTo>
                    <a:pt x="238" y="681"/>
                  </a:lnTo>
                  <a:lnTo>
                    <a:pt x="237" y="679"/>
                  </a:lnTo>
                  <a:lnTo>
                    <a:pt x="236" y="678"/>
                  </a:lnTo>
                  <a:lnTo>
                    <a:pt x="234" y="677"/>
                  </a:lnTo>
                  <a:lnTo>
                    <a:pt x="231" y="675"/>
                  </a:lnTo>
                  <a:lnTo>
                    <a:pt x="228" y="673"/>
                  </a:lnTo>
                  <a:lnTo>
                    <a:pt x="221" y="666"/>
                  </a:lnTo>
                  <a:lnTo>
                    <a:pt x="214" y="660"/>
                  </a:lnTo>
                  <a:lnTo>
                    <a:pt x="207" y="651"/>
                  </a:lnTo>
                  <a:lnTo>
                    <a:pt x="206" y="650"/>
                  </a:lnTo>
                  <a:lnTo>
                    <a:pt x="203" y="649"/>
                  </a:lnTo>
                  <a:lnTo>
                    <a:pt x="200" y="646"/>
                  </a:lnTo>
                  <a:lnTo>
                    <a:pt x="194" y="643"/>
                  </a:lnTo>
                  <a:lnTo>
                    <a:pt x="189" y="641"/>
                  </a:lnTo>
                  <a:lnTo>
                    <a:pt x="184" y="638"/>
                  </a:lnTo>
                  <a:lnTo>
                    <a:pt x="179" y="634"/>
                  </a:lnTo>
                  <a:lnTo>
                    <a:pt x="176" y="632"/>
                  </a:lnTo>
                  <a:lnTo>
                    <a:pt x="174" y="631"/>
                  </a:lnTo>
                  <a:lnTo>
                    <a:pt x="172" y="630"/>
                  </a:lnTo>
                  <a:lnTo>
                    <a:pt x="165" y="628"/>
                  </a:lnTo>
                  <a:lnTo>
                    <a:pt x="164" y="627"/>
                  </a:lnTo>
                  <a:lnTo>
                    <a:pt x="162" y="626"/>
                  </a:lnTo>
                  <a:lnTo>
                    <a:pt x="162" y="626"/>
                  </a:lnTo>
                  <a:lnTo>
                    <a:pt x="161" y="625"/>
                  </a:lnTo>
                  <a:lnTo>
                    <a:pt x="161" y="624"/>
                  </a:lnTo>
                  <a:lnTo>
                    <a:pt x="161" y="623"/>
                  </a:lnTo>
                  <a:lnTo>
                    <a:pt x="161" y="621"/>
                  </a:lnTo>
                  <a:lnTo>
                    <a:pt x="161" y="618"/>
                  </a:lnTo>
                  <a:lnTo>
                    <a:pt x="161" y="616"/>
                  </a:lnTo>
                  <a:lnTo>
                    <a:pt x="161" y="610"/>
                  </a:lnTo>
                  <a:lnTo>
                    <a:pt x="161" y="609"/>
                  </a:lnTo>
                  <a:lnTo>
                    <a:pt x="161" y="607"/>
                  </a:lnTo>
                  <a:lnTo>
                    <a:pt x="160" y="606"/>
                  </a:lnTo>
                  <a:lnTo>
                    <a:pt x="160" y="606"/>
                  </a:lnTo>
                  <a:lnTo>
                    <a:pt x="159" y="604"/>
                  </a:lnTo>
                  <a:lnTo>
                    <a:pt x="157" y="603"/>
                  </a:lnTo>
                  <a:lnTo>
                    <a:pt x="155" y="602"/>
                  </a:lnTo>
                  <a:lnTo>
                    <a:pt x="146" y="597"/>
                  </a:lnTo>
                  <a:lnTo>
                    <a:pt x="141" y="594"/>
                  </a:lnTo>
                  <a:lnTo>
                    <a:pt x="136" y="591"/>
                  </a:lnTo>
                  <a:lnTo>
                    <a:pt x="127" y="585"/>
                  </a:lnTo>
                  <a:lnTo>
                    <a:pt x="121" y="581"/>
                  </a:lnTo>
                  <a:lnTo>
                    <a:pt x="117" y="579"/>
                  </a:lnTo>
                  <a:lnTo>
                    <a:pt x="104" y="573"/>
                  </a:lnTo>
                  <a:lnTo>
                    <a:pt x="102" y="571"/>
                  </a:lnTo>
                  <a:lnTo>
                    <a:pt x="101" y="571"/>
                  </a:lnTo>
                  <a:lnTo>
                    <a:pt x="99" y="569"/>
                  </a:lnTo>
                  <a:lnTo>
                    <a:pt x="98" y="568"/>
                  </a:lnTo>
                  <a:lnTo>
                    <a:pt x="94" y="564"/>
                  </a:lnTo>
                  <a:lnTo>
                    <a:pt x="89" y="556"/>
                  </a:lnTo>
                  <a:lnTo>
                    <a:pt x="82" y="548"/>
                  </a:lnTo>
                  <a:lnTo>
                    <a:pt x="81" y="546"/>
                  </a:lnTo>
                  <a:lnTo>
                    <a:pt x="80" y="546"/>
                  </a:lnTo>
                  <a:lnTo>
                    <a:pt x="78" y="544"/>
                  </a:lnTo>
                  <a:lnTo>
                    <a:pt x="74" y="542"/>
                  </a:lnTo>
                  <a:lnTo>
                    <a:pt x="71" y="540"/>
                  </a:lnTo>
                  <a:lnTo>
                    <a:pt x="68" y="539"/>
                  </a:lnTo>
                  <a:lnTo>
                    <a:pt x="64" y="534"/>
                  </a:lnTo>
                  <a:lnTo>
                    <a:pt x="61" y="532"/>
                  </a:lnTo>
                  <a:lnTo>
                    <a:pt x="59" y="531"/>
                  </a:lnTo>
                  <a:lnTo>
                    <a:pt x="54" y="527"/>
                  </a:lnTo>
                  <a:lnTo>
                    <a:pt x="51" y="526"/>
                  </a:lnTo>
                  <a:lnTo>
                    <a:pt x="51" y="525"/>
                  </a:lnTo>
                  <a:lnTo>
                    <a:pt x="49" y="524"/>
                  </a:lnTo>
                  <a:lnTo>
                    <a:pt x="44" y="517"/>
                  </a:lnTo>
                  <a:lnTo>
                    <a:pt x="42" y="515"/>
                  </a:lnTo>
                  <a:lnTo>
                    <a:pt x="40" y="513"/>
                  </a:lnTo>
                  <a:lnTo>
                    <a:pt x="37" y="511"/>
                  </a:lnTo>
                  <a:lnTo>
                    <a:pt x="35" y="509"/>
                  </a:lnTo>
                  <a:lnTo>
                    <a:pt x="31" y="507"/>
                  </a:lnTo>
                  <a:lnTo>
                    <a:pt x="21" y="501"/>
                  </a:lnTo>
                  <a:lnTo>
                    <a:pt x="18" y="499"/>
                  </a:lnTo>
                  <a:lnTo>
                    <a:pt x="14" y="497"/>
                  </a:lnTo>
                  <a:lnTo>
                    <a:pt x="11" y="495"/>
                  </a:lnTo>
                  <a:lnTo>
                    <a:pt x="9" y="492"/>
                  </a:lnTo>
                  <a:lnTo>
                    <a:pt x="8" y="491"/>
                  </a:lnTo>
                  <a:lnTo>
                    <a:pt x="6" y="488"/>
                  </a:lnTo>
                  <a:lnTo>
                    <a:pt x="5" y="486"/>
                  </a:lnTo>
                  <a:lnTo>
                    <a:pt x="4" y="484"/>
                  </a:lnTo>
                  <a:lnTo>
                    <a:pt x="3" y="481"/>
                  </a:lnTo>
                  <a:lnTo>
                    <a:pt x="1" y="478"/>
                  </a:lnTo>
                  <a:lnTo>
                    <a:pt x="1" y="475"/>
                  </a:lnTo>
                  <a:lnTo>
                    <a:pt x="0" y="472"/>
                  </a:lnTo>
                  <a:lnTo>
                    <a:pt x="0" y="469"/>
                  </a:lnTo>
                  <a:lnTo>
                    <a:pt x="0" y="466"/>
                  </a:lnTo>
                  <a:lnTo>
                    <a:pt x="0" y="464"/>
                  </a:lnTo>
                  <a:lnTo>
                    <a:pt x="1" y="461"/>
                  </a:lnTo>
                  <a:lnTo>
                    <a:pt x="1" y="459"/>
                  </a:lnTo>
                  <a:lnTo>
                    <a:pt x="2" y="456"/>
                  </a:lnTo>
                  <a:lnTo>
                    <a:pt x="2" y="456"/>
                  </a:lnTo>
                  <a:lnTo>
                    <a:pt x="3" y="456"/>
                  </a:lnTo>
                  <a:lnTo>
                    <a:pt x="11" y="453"/>
                  </a:lnTo>
                  <a:lnTo>
                    <a:pt x="16" y="451"/>
                  </a:lnTo>
                  <a:lnTo>
                    <a:pt x="19" y="449"/>
                  </a:lnTo>
                  <a:lnTo>
                    <a:pt x="22" y="448"/>
                  </a:lnTo>
                  <a:lnTo>
                    <a:pt x="26" y="446"/>
                  </a:lnTo>
                  <a:lnTo>
                    <a:pt x="29" y="444"/>
                  </a:lnTo>
                  <a:lnTo>
                    <a:pt x="31" y="442"/>
                  </a:lnTo>
                  <a:lnTo>
                    <a:pt x="37" y="438"/>
                  </a:lnTo>
                  <a:lnTo>
                    <a:pt x="41" y="435"/>
                  </a:lnTo>
                  <a:lnTo>
                    <a:pt x="43" y="431"/>
                  </a:lnTo>
                  <a:lnTo>
                    <a:pt x="46" y="427"/>
                  </a:lnTo>
                  <a:lnTo>
                    <a:pt x="49" y="425"/>
                  </a:lnTo>
                  <a:lnTo>
                    <a:pt x="50" y="424"/>
                  </a:lnTo>
                  <a:lnTo>
                    <a:pt x="51" y="423"/>
                  </a:lnTo>
                  <a:lnTo>
                    <a:pt x="56" y="420"/>
                  </a:lnTo>
                  <a:lnTo>
                    <a:pt x="59" y="419"/>
                  </a:lnTo>
                  <a:lnTo>
                    <a:pt x="59" y="418"/>
                  </a:lnTo>
                  <a:lnTo>
                    <a:pt x="60" y="417"/>
                  </a:lnTo>
                  <a:lnTo>
                    <a:pt x="60" y="416"/>
                  </a:lnTo>
                  <a:lnTo>
                    <a:pt x="60" y="414"/>
                  </a:lnTo>
                  <a:lnTo>
                    <a:pt x="61" y="411"/>
                  </a:lnTo>
                  <a:lnTo>
                    <a:pt x="61" y="409"/>
                  </a:lnTo>
                  <a:lnTo>
                    <a:pt x="61" y="407"/>
                  </a:lnTo>
                  <a:lnTo>
                    <a:pt x="60" y="404"/>
                  </a:lnTo>
                  <a:lnTo>
                    <a:pt x="59" y="401"/>
                  </a:lnTo>
                  <a:lnTo>
                    <a:pt x="53" y="389"/>
                  </a:lnTo>
                  <a:lnTo>
                    <a:pt x="51" y="385"/>
                  </a:lnTo>
                  <a:lnTo>
                    <a:pt x="49" y="382"/>
                  </a:lnTo>
                  <a:lnTo>
                    <a:pt x="46" y="380"/>
                  </a:lnTo>
                  <a:lnTo>
                    <a:pt x="41" y="374"/>
                  </a:lnTo>
                  <a:lnTo>
                    <a:pt x="39" y="372"/>
                  </a:lnTo>
                  <a:lnTo>
                    <a:pt x="37" y="371"/>
                  </a:lnTo>
                  <a:lnTo>
                    <a:pt x="36" y="368"/>
                  </a:lnTo>
                  <a:lnTo>
                    <a:pt x="35" y="367"/>
                  </a:lnTo>
                  <a:lnTo>
                    <a:pt x="34" y="364"/>
                  </a:lnTo>
                  <a:lnTo>
                    <a:pt x="33" y="362"/>
                  </a:lnTo>
                  <a:lnTo>
                    <a:pt x="32" y="359"/>
                  </a:lnTo>
                  <a:lnTo>
                    <a:pt x="31" y="356"/>
                  </a:lnTo>
                  <a:lnTo>
                    <a:pt x="31" y="353"/>
                  </a:lnTo>
                  <a:lnTo>
                    <a:pt x="31" y="349"/>
                  </a:lnTo>
                  <a:lnTo>
                    <a:pt x="32" y="344"/>
                  </a:lnTo>
                  <a:lnTo>
                    <a:pt x="34" y="336"/>
                  </a:lnTo>
                  <a:lnTo>
                    <a:pt x="34" y="332"/>
                  </a:lnTo>
                  <a:lnTo>
                    <a:pt x="35" y="314"/>
                  </a:lnTo>
                  <a:lnTo>
                    <a:pt x="35" y="309"/>
                  </a:lnTo>
                  <a:lnTo>
                    <a:pt x="35" y="307"/>
                  </a:lnTo>
                  <a:lnTo>
                    <a:pt x="35" y="304"/>
                  </a:lnTo>
                  <a:lnTo>
                    <a:pt x="34" y="302"/>
                  </a:lnTo>
                  <a:lnTo>
                    <a:pt x="34" y="301"/>
                  </a:lnTo>
                  <a:lnTo>
                    <a:pt x="33" y="300"/>
                  </a:lnTo>
                  <a:lnTo>
                    <a:pt x="31" y="299"/>
                  </a:lnTo>
                  <a:lnTo>
                    <a:pt x="30" y="297"/>
                  </a:lnTo>
                  <a:lnTo>
                    <a:pt x="29" y="297"/>
                  </a:lnTo>
                  <a:lnTo>
                    <a:pt x="27" y="297"/>
                  </a:lnTo>
                  <a:lnTo>
                    <a:pt x="26" y="297"/>
                  </a:lnTo>
                  <a:lnTo>
                    <a:pt x="24" y="292"/>
                  </a:lnTo>
                  <a:lnTo>
                    <a:pt x="19" y="284"/>
                  </a:lnTo>
                  <a:lnTo>
                    <a:pt x="19" y="283"/>
                  </a:lnTo>
                  <a:lnTo>
                    <a:pt x="19" y="282"/>
                  </a:lnTo>
                  <a:lnTo>
                    <a:pt x="19" y="282"/>
                  </a:lnTo>
                  <a:lnTo>
                    <a:pt x="19" y="281"/>
                  </a:lnTo>
                  <a:lnTo>
                    <a:pt x="19" y="280"/>
                  </a:lnTo>
                  <a:lnTo>
                    <a:pt x="20" y="279"/>
                  </a:lnTo>
                  <a:lnTo>
                    <a:pt x="21" y="279"/>
                  </a:lnTo>
                  <a:lnTo>
                    <a:pt x="22" y="279"/>
                  </a:lnTo>
                  <a:lnTo>
                    <a:pt x="25" y="278"/>
                  </a:lnTo>
                  <a:lnTo>
                    <a:pt x="27" y="277"/>
                  </a:lnTo>
                  <a:lnTo>
                    <a:pt x="28" y="277"/>
                  </a:lnTo>
                  <a:lnTo>
                    <a:pt x="29" y="277"/>
                  </a:lnTo>
                  <a:lnTo>
                    <a:pt x="29" y="276"/>
                  </a:lnTo>
                  <a:lnTo>
                    <a:pt x="29" y="274"/>
                  </a:lnTo>
                  <a:lnTo>
                    <a:pt x="30" y="269"/>
                  </a:lnTo>
                  <a:lnTo>
                    <a:pt x="31" y="267"/>
                  </a:lnTo>
                  <a:lnTo>
                    <a:pt x="31" y="266"/>
                  </a:lnTo>
                  <a:lnTo>
                    <a:pt x="32" y="264"/>
                  </a:lnTo>
                  <a:lnTo>
                    <a:pt x="33" y="264"/>
                  </a:lnTo>
                  <a:lnTo>
                    <a:pt x="34" y="263"/>
                  </a:lnTo>
                  <a:lnTo>
                    <a:pt x="34" y="262"/>
                  </a:lnTo>
                  <a:lnTo>
                    <a:pt x="35" y="262"/>
                  </a:lnTo>
                  <a:lnTo>
                    <a:pt x="39" y="261"/>
                  </a:lnTo>
                  <a:lnTo>
                    <a:pt x="41" y="261"/>
                  </a:lnTo>
                  <a:lnTo>
                    <a:pt x="43" y="259"/>
                  </a:lnTo>
                  <a:lnTo>
                    <a:pt x="46" y="259"/>
                  </a:lnTo>
                  <a:lnTo>
                    <a:pt x="47" y="257"/>
                  </a:lnTo>
                  <a:lnTo>
                    <a:pt x="49" y="257"/>
                  </a:lnTo>
                  <a:lnTo>
                    <a:pt x="52" y="253"/>
                  </a:lnTo>
                  <a:lnTo>
                    <a:pt x="53" y="252"/>
                  </a:lnTo>
                  <a:lnTo>
                    <a:pt x="54" y="249"/>
                  </a:lnTo>
                  <a:lnTo>
                    <a:pt x="54" y="247"/>
                  </a:lnTo>
                  <a:lnTo>
                    <a:pt x="55" y="244"/>
                  </a:lnTo>
                  <a:lnTo>
                    <a:pt x="56" y="241"/>
                  </a:lnTo>
                  <a:lnTo>
                    <a:pt x="56" y="237"/>
                  </a:lnTo>
                  <a:lnTo>
                    <a:pt x="56" y="235"/>
                  </a:lnTo>
                  <a:lnTo>
                    <a:pt x="56" y="234"/>
                  </a:lnTo>
                  <a:lnTo>
                    <a:pt x="56" y="233"/>
                  </a:lnTo>
                  <a:lnTo>
                    <a:pt x="56" y="232"/>
                  </a:lnTo>
                  <a:lnTo>
                    <a:pt x="56" y="229"/>
                  </a:lnTo>
                  <a:lnTo>
                    <a:pt x="56" y="228"/>
                  </a:lnTo>
                  <a:lnTo>
                    <a:pt x="59" y="224"/>
                  </a:lnTo>
                  <a:lnTo>
                    <a:pt x="60" y="221"/>
                  </a:lnTo>
                  <a:lnTo>
                    <a:pt x="61" y="218"/>
                  </a:lnTo>
                  <a:lnTo>
                    <a:pt x="64" y="215"/>
                  </a:lnTo>
                  <a:lnTo>
                    <a:pt x="71" y="205"/>
                  </a:lnTo>
                  <a:lnTo>
                    <a:pt x="75" y="199"/>
                  </a:lnTo>
                  <a:lnTo>
                    <a:pt x="80" y="192"/>
                  </a:lnTo>
                  <a:lnTo>
                    <a:pt x="81" y="190"/>
                  </a:lnTo>
                  <a:lnTo>
                    <a:pt x="82" y="189"/>
                  </a:lnTo>
                  <a:lnTo>
                    <a:pt x="82" y="187"/>
                  </a:lnTo>
                  <a:lnTo>
                    <a:pt x="83" y="185"/>
                  </a:lnTo>
                  <a:lnTo>
                    <a:pt x="84" y="183"/>
                  </a:lnTo>
                  <a:lnTo>
                    <a:pt x="84" y="182"/>
                  </a:lnTo>
                  <a:lnTo>
                    <a:pt x="84" y="179"/>
                  </a:lnTo>
                  <a:lnTo>
                    <a:pt x="83" y="177"/>
                  </a:lnTo>
                  <a:lnTo>
                    <a:pt x="82" y="174"/>
                  </a:lnTo>
                  <a:lnTo>
                    <a:pt x="80" y="165"/>
                  </a:lnTo>
                  <a:lnTo>
                    <a:pt x="79" y="160"/>
                  </a:lnTo>
                  <a:lnTo>
                    <a:pt x="78" y="153"/>
                  </a:lnTo>
                  <a:lnTo>
                    <a:pt x="77" y="146"/>
                  </a:lnTo>
                  <a:lnTo>
                    <a:pt x="77" y="143"/>
                  </a:lnTo>
                  <a:lnTo>
                    <a:pt x="77" y="140"/>
                  </a:lnTo>
                  <a:lnTo>
                    <a:pt x="77" y="137"/>
                  </a:lnTo>
                  <a:lnTo>
                    <a:pt x="78" y="135"/>
                  </a:lnTo>
                  <a:lnTo>
                    <a:pt x="78" y="133"/>
                  </a:lnTo>
                  <a:lnTo>
                    <a:pt x="79" y="130"/>
                  </a:lnTo>
                  <a:lnTo>
                    <a:pt x="79" y="129"/>
                  </a:lnTo>
                  <a:lnTo>
                    <a:pt x="81" y="127"/>
                  </a:lnTo>
                  <a:lnTo>
                    <a:pt x="81" y="126"/>
                  </a:lnTo>
                  <a:lnTo>
                    <a:pt x="83" y="125"/>
                  </a:lnTo>
                  <a:lnTo>
                    <a:pt x="84" y="124"/>
                  </a:lnTo>
                  <a:lnTo>
                    <a:pt x="86" y="123"/>
                  </a:lnTo>
                  <a:lnTo>
                    <a:pt x="87" y="122"/>
                  </a:lnTo>
                  <a:lnTo>
                    <a:pt x="89" y="122"/>
                  </a:lnTo>
                  <a:lnTo>
                    <a:pt x="91" y="122"/>
                  </a:lnTo>
                  <a:lnTo>
                    <a:pt x="94" y="122"/>
                  </a:lnTo>
                  <a:lnTo>
                    <a:pt x="96" y="122"/>
                  </a:lnTo>
                  <a:lnTo>
                    <a:pt x="99" y="123"/>
                  </a:lnTo>
                  <a:lnTo>
                    <a:pt x="103" y="124"/>
                  </a:lnTo>
                  <a:lnTo>
                    <a:pt x="113" y="128"/>
                  </a:lnTo>
                  <a:lnTo>
                    <a:pt x="121" y="130"/>
                  </a:lnTo>
                  <a:lnTo>
                    <a:pt x="124" y="132"/>
                  </a:lnTo>
                  <a:lnTo>
                    <a:pt x="127" y="132"/>
                  </a:lnTo>
                  <a:lnTo>
                    <a:pt x="129" y="132"/>
                  </a:lnTo>
                  <a:lnTo>
                    <a:pt x="130" y="132"/>
                  </a:lnTo>
                  <a:lnTo>
                    <a:pt x="131" y="131"/>
                  </a:lnTo>
                  <a:lnTo>
                    <a:pt x="131" y="131"/>
                  </a:lnTo>
                  <a:lnTo>
                    <a:pt x="132" y="130"/>
                  </a:lnTo>
                  <a:lnTo>
                    <a:pt x="132" y="130"/>
                  </a:lnTo>
                  <a:lnTo>
                    <a:pt x="133" y="128"/>
                  </a:lnTo>
                  <a:lnTo>
                    <a:pt x="133" y="127"/>
                  </a:lnTo>
                  <a:lnTo>
                    <a:pt x="133" y="125"/>
                  </a:lnTo>
                  <a:lnTo>
                    <a:pt x="132" y="124"/>
                  </a:lnTo>
                  <a:lnTo>
                    <a:pt x="131" y="120"/>
                  </a:lnTo>
                  <a:lnTo>
                    <a:pt x="126" y="114"/>
                  </a:lnTo>
                  <a:lnTo>
                    <a:pt x="125" y="111"/>
                  </a:lnTo>
                  <a:lnTo>
                    <a:pt x="122" y="106"/>
                  </a:lnTo>
                  <a:lnTo>
                    <a:pt x="121" y="101"/>
                  </a:lnTo>
                  <a:lnTo>
                    <a:pt x="119" y="96"/>
                  </a:lnTo>
                  <a:lnTo>
                    <a:pt x="117" y="92"/>
                  </a:lnTo>
                  <a:lnTo>
                    <a:pt x="116" y="88"/>
                  </a:lnTo>
                  <a:lnTo>
                    <a:pt x="116" y="84"/>
                  </a:lnTo>
                  <a:lnTo>
                    <a:pt x="115" y="78"/>
                  </a:lnTo>
                  <a:lnTo>
                    <a:pt x="114" y="74"/>
                  </a:lnTo>
                  <a:lnTo>
                    <a:pt x="114" y="64"/>
                  </a:lnTo>
                  <a:lnTo>
                    <a:pt x="112" y="50"/>
                  </a:lnTo>
                  <a:lnTo>
                    <a:pt x="112" y="45"/>
                  </a:lnTo>
                  <a:lnTo>
                    <a:pt x="112" y="42"/>
                  </a:lnTo>
                  <a:lnTo>
                    <a:pt x="112" y="41"/>
                  </a:lnTo>
                  <a:lnTo>
                    <a:pt x="113" y="40"/>
                  </a:lnTo>
                  <a:lnTo>
                    <a:pt x="114" y="38"/>
                  </a:lnTo>
                  <a:lnTo>
                    <a:pt x="114" y="37"/>
                  </a:lnTo>
                  <a:lnTo>
                    <a:pt x="115" y="36"/>
                  </a:lnTo>
                  <a:lnTo>
                    <a:pt x="116" y="35"/>
                  </a:lnTo>
                  <a:lnTo>
                    <a:pt x="119" y="34"/>
                  </a:lnTo>
                  <a:lnTo>
                    <a:pt x="122" y="32"/>
                  </a:lnTo>
                  <a:lnTo>
                    <a:pt x="126" y="30"/>
                  </a:lnTo>
                  <a:lnTo>
                    <a:pt x="129" y="29"/>
                  </a:lnTo>
                  <a:lnTo>
                    <a:pt x="136" y="27"/>
                  </a:lnTo>
                  <a:lnTo>
                    <a:pt x="138" y="27"/>
                  </a:lnTo>
                  <a:lnTo>
                    <a:pt x="140" y="25"/>
                  </a:lnTo>
                  <a:lnTo>
                    <a:pt x="141" y="25"/>
                  </a:lnTo>
                  <a:lnTo>
                    <a:pt x="143" y="24"/>
                  </a:lnTo>
                  <a:lnTo>
                    <a:pt x="144" y="22"/>
                  </a:lnTo>
                  <a:lnTo>
                    <a:pt x="146" y="18"/>
                  </a:lnTo>
                  <a:lnTo>
                    <a:pt x="150" y="13"/>
                  </a:lnTo>
                  <a:lnTo>
                    <a:pt x="153" y="7"/>
                  </a:lnTo>
                  <a:lnTo>
                    <a:pt x="155" y="3"/>
                  </a:lnTo>
                  <a:lnTo>
                    <a:pt x="156" y="2"/>
                  </a:lnTo>
                  <a:lnTo>
                    <a:pt x="158" y="0"/>
                  </a:lnTo>
                  <a:lnTo>
                    <a:pt x="159" y="0"/>
                  </a:lnTo>
                  <a:lnTo>
                    <a:pt x="159" y="0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6BAED6"/>
            </a:solidFill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 98">
              <a:extLst>
                <a:ext uri="{FF2B5EF4-FFF2-40B4-BE49-F238E27FC236}">
                  <a16:creationId xmlns:a16="http://schemas.microsoft.com/office/drawing/2014/main" id="{302439F9-5D9C-F114-367A-7C735F5A4EC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4173" y="5767225"/>
              <a:ext cx="1177925" cy="976313"/>
            </a:xfrm>
            <a:custGeom>
              <a:avLst/>
              <a:gdLst>
                <a:gd name="T0" fmla="*/ 281 w 742"/>
                <a:gd name="T1" fmla="*/ 22 h 615"/>
                <a:gd name="T2" fmla="*/ 301 w 742"/>
                <a:gd name="T3" fmla="*/ 45 h 615"/>
                <a:gd name="T4" fmla="*/ 334 w 742"/>
                <a:gd name="T5" fmla="*/ 71 h 615"/>
                <a:gd name="T6" fmla="*/ 362 w 742"/>
                <a:gd name="T7" fmla="*/ 92 h 615"/>
                <a:gd name="T8" fmla="*/ 407 w 742"/>
                <a:gd name="T9" fmla="*/ 129 h 615"/>
                <a:gd name="T10" fmla="*/ 441 w 742"/>
                <a:gd name="T11" fmla="*/ 153 h 615"/>
                <a:gd name="T12" fmla="*/ 444 w 742"/>
                <a:gd name="T13" fmla="*/ 171 h 615"/>
                <a:gd name="T14" fmla="*/ 483 w 742"/>
                <a:gd name="T15" fmla="*/ 193 h 615"/>
                <a:gd name="T16" fmla="*/ 518 w 742"/>
                <a:gd name="T17" fmla="*/ 225 h 615"/>
                <a:gd name="T18" fmla="*/ 521 w 742"/>
                <a:gd name="T19" fmla="*/ 257 h 615"/>
                <a:gd name="T20" fmla="*/ 540 w 742"/>
                <a:gd name="T21" fmla="*/ 287 h 615"/>
                <a:gd name="T22" fmla="*/ 594 w 742"/>
                <a:gd name="T23" fmla="*/ 276 h 615"/>
                <a:gd name="T24" fmla="*/ 616 w 742"/>
                <a:gd name="T25" fmla="*/ 276 h 615"/>
                <a:gd name="T26" fmla="*/ 628 w 742"/>
                <a:gd name="T27" fmla="*/ 307 h 615"/>
                <a:gd name="T28" fmla="*/ 682 w 742"/>
                <a:gd name="T29" fmla="*/ 357 h 615"/>
                <a:gd name="T30" fmla="*/ 708 w 742"/>
                <a:gd name="T31" fmla="*/ 383 h 615"/>
                <a:gd name="T32" fmla="*/ 717 w 742"/>
                <a:gd name="T33" fmla="*/ 385 h 615"/>
                <a:gd name="T34" fmla="*/ 727 w 742"/>
                <a:gd name="T35" fmla="*/ 440 h 615"/>
                <a:gd name="T36" fmla="*/ 742 w 742"/>
                <a:gd name="T37" fmla="*/ 454 h 615"/>
                <a:gd name="T38" fmla="*/ 738 w 742"/>
                <a:gd name="T39" fmla="*/ 519 h 615"/>
                <a:gd name="T40" fmla="*/ 723 w 742"/>
                <a:gd name="T41" fmla="*/ 574 h 615"/>
                <a:gd name="T42" fmla="*/ 694 w 742"/>
                <a:gd name="T43" fmla="*/ 578 h 615"/>
                <a:gd name="T44" fmla="*/ 666 w 742"/>
                <a:gd name="T45" fmla="*/ 551 h 615"/>
                <a:gd name="T46" fmla="*/ 641 w 742"/>
                <a:gd name="T47" fmla="*/ 529 h 615"/>
                <a:gd name="T48" fmla="*/ 601 w 742"/>
                <a:gd name="T49" fmla="*/ 542 h 615"/>
                <a:gd name="T50" fmla="*/ 546 w 742"/>
                <a:gd name="T51" fmla="*/ 530 h 615"/>
                <a:gd name="T52" fmla="*/ 511 w 742"/>
                <a:gd name="T53" fmla="*/ 499 h 615"/>
                <a:gd name="T54" fmla="*/ 493 w 742"/>
                <a:gd name="T55" fmla="*/ 502 h 615"/>
                <a:gd name="T56" fmla="*/ 483 w 742"/>
                <a:gd name="T57" fmla="*/ 547 h 615"/>
                <a:gd name="T58" fmla="*/ 465 w 742"/>
                <a:gd name="T59" fmla="*/ 567 h 615"/>
                <a:gd name="T60" fmla="*/ 436 w 742"/>
                <a:gd name="T61" fmla="*/ 575 h 615"/>
                <a:gd name="T62" fmla="*/ 418 w 742"/>
                <a:gd name="T63" fmla="*/ 596 h 615"/>
                <a:gd name="T64" fmla="*/ 389 w 742"/>
                <a:gd name="T65" fmla="*/ 614 h 615"/>
                <a:gd name="T66" fmla="*/ 325 w 742"/>
                <a:gd name="T67" fmla="*/ 588 h 615"/>
                <a:gd name="T68" fmla="*/ 266 w 742"/>
                <a:gd name="T69" fmla="*/ 572 h 615"/>
                <a:gd name="T70" fmla="*/ 204 w 742"/>
                <a:gd name="T71" fmla="*/ 562 h 615"/>
                <a:gd name="T72" fmla="*/ 167 w 742"/>
                <a:gd name="T73" fmla="*/ 562 h 615"/>
                <a:gd name="T74" fmla="*/ 127 w 742"/>
                <a:gd name="T75" fmla="*/ 543 h 615"/>
                <a:gd name="T76" fmla="*/ 110 w 742"/>
                <a:gd name="T77" fmla="*/ 518 h 615"/>
                <a:gd name="T78" fmla="*/ 96 w 742"/>
                <a:gd name="T79" fmla="*/ 495 h 615"/>
                <a:gd name="T80" fmla="*/ 120 w 742"/>
                <a:gd name="T81" fmla="*/ 476 h 615"/>
                <a:gd name="T82" fmla="*/ 127 w 742"/>
                <a:gd name="T83" fmla="*/ 458 h 615"/>
                <a:gd name="T84" fmla="*/ 97 w 742"/>
                <a:gd name="T85" fmla="*/ 427 h 615"/>
                <a:gd name="T86" fmla="*/ 67 w 742"/>
                <a:gd name="T87" fmla="*/ 401 h 615"/>
                <a:gd name="T88" fmla="*/ 17 w 742"/>
                <a:gd name="T89" fmla="*/ 372 h 615"/>
                <a:gd name="T90" fmla="*/ 10 w 742"/>
                <a:gd name="T91" fmla="*/ 339 h 615"/>
                <a:gd name="T92" fmla="*/ 38 w 742"/>
                <a:gd name="T93" fmla="*/ 325 h 615"/>
                <a:gd name="T94" fmla="*/ 56 w 742"/>
                <a:gd name="T95" fmla="*/ 281 h 615"/>
                <a:gd name="T96" fmla="*/ 47 w 742"/>
                <a:gd name="T97" fmla="*/ 230 h 615"/>
                <a:gd name="T98" fmla="*/ 39 w 742"/>
                <a:gd name="T99" fmla="*/ 175 h 615"/>
                <a:gd name="T100" fmla="*/ 42 w 742"/>
                <a:gd name="T101" fmla="*/ 145 h 615"/>
                <a:gd name="T102" fmla="*/ 74 w 742"/>
                <a:gd name="T103" fmla="*/ 145 h 615"/>
                <a:gd name="T104" fmla="*/ 137 w 742"/>
                <a:gd name="T105" fmla="*/ 133 h 615"/>
                <a:gd name="T106" fmla="*/ 190 w 742"/>
                <a:gd name="T107" fmla="*/ 133 h 615"/>
                <a:gd name="T108" fmla="*/ 233 w 742"/>
                <a:gd name="T109" fmla="*/ 151 h 615"/>
                <a:gd name="T110" fmla="*/ 247 w 742"/>
                <a:gd name="T111" fmla="*/ 145 h 615"/>
                <a:gd name="T112" fmla="*/ 248 w 742"/>
                <a:gd name="T113" fmla="*/ 131 h 615"/>
                <a:gd name="T114" fmla="*/ 237 w 742"/>
                <a:gd name="T115" fmla="*/ 102 h 615"/>
                <a:gd name="T116" fmla="*/ 247 w 742"/>
                <a:gd name="T117" fmla="*/ 78 h 615"/>
                <a:gd name="T118" fmla="*/ 254 w 742"/>
                <a:gd name="T119" fmla="*/ 40 h 615"/>
                <a:gd name="T120" fmla="*/ 269 w 742"/>
                <a:gd name="T121" fmla="*/ 10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42" h="615">
                  <a:moveTo>
                    <a:pt x="282" y="0"/>
                  </a:moveTo>
                  <a:lnTo>
                    <a:pt x="282" y="0"/>
                  </a:lnTo>
                  <a:lnTo>
                    <a:pt x="281" y="3"/>
                  </a:lnTo>
                  <a:lnTo>
                    <a:pt x="281" y="5"/>
                  </a:lnTo>
                  <a:lnTo>
                    <a:pt x="280" y="8"/>
                  </a:lnTo>
                  <a:lnTo>
                    <a:pt x="280" y="10"/>
                  </a:lnTo>
                  <a:lnTo>
                    <a:pt x="280" y="13"/>
                  </a:lnTo>
                  <a:lnTo>
                    <a:pt x="280" y="16"/>
                  </a:lnTo>
                  <a:lnTo>
                    <a:pt x="281" y="19"/>
                  </a:lnTo>
                  <a:lnTo>
                    <a:pt x="281" y="22"/>
                  </a:lnTo>
                  <a:lnTo>
                    <a:pt x="283" y="25"/>
                  </a:lnTo>
                  <a:lnTo>
                    <a:pt x="284" y="28"/>
                  </a:lnTo>
                  <a:lnTo>
                    <a:pt x="285" y="30"/>
                  </a:lnTo>
                  <a:lnTo>
                    <a:pt x="286" y="32"/>
                  </a:lnTo>
                  <a:lnTo>
                    <a:pt x="288" y="35"/>
                  </a:lnTo>
                  <a:lnTo>
                    <a:pt x="289" y="36"/>
                  </a:lnTo>
                  <a:lnTo>
                    <a:pt x="291" y="39"/>
                  </a:lnTo>
                  <a:lnTo>
                    <a:pt x="294" y="41"/>
                  </a:lnTo>
                  <a:lnTo>
                    <a:pt x="298" y="43"/>
                  </a:lnTo>
                  <a:lnTo>
                    <a:pt x="301" y="45"/>
                  </a:lnTo>
                  <a:lnTo>
                    <a:pt x="311" y="51"/>
                  </a:lnTo>
                  <a:lnTo>
                    <a:pt x="315" y="53"/>
                  </a:lnTo>
                  <a:lnTo>
                    <a:pt x="317" y="55"/>
                  </a:lnTo>
                  <a:lnTo>
                    <a:pt x="320" y="57"/>
                  </a:lnTo>
                  <a:lnTo>
                    <a:pt x="322" y="59"/>
                  </a:lnTo>
                  <a:lnTo>
                    <a:pt x="324" y="61"/>
                  </a:lnTo>
                  <a:lnTo>
                    <a:pt x="329" y="68"/>
                  </a:lnTo>
                  <a:lnTo>
                    <a:pt x="331" y="69"/>
                  </a:lnTo>
                  <a:lnTo>
                    <a:pt x="331" y="70"/>
                  </a:lnTo>
                  <a:lnTo>
                    <a:pt x="334" y="71"/>
                  </a:lnTo>
                  <a:lnTo>
                    <a:pt x="339" y="75"/>
                  </a:lnTo>
                  <a:lnTo>
                    <a:pt x="341" y="76"/>
                  </a:lnTo>
                  <a:lnTo>
                    <a:pt x="344" y="78"/>
                  </a:lnTo>
                  <a:lnTo>
                    <a:pt x="348" y="83"/>
                  </a:lnTo>
                  <a:lnTo>
                    <a:pt x="351" y="84"/>
                  </a:lnTo>
                  <a:lnTo>
                    <a:pt x="354" y="86"/>
                  </a:lnTo>
                  <a:lnTo>
                    <a:pt x="358" y="88"/>
                  </a:lnTo>
                  <a:lnTo>
                    <a:pt x="360" y="90"/>
                  </a:lnTo>
                  <a:lnTo>
                    <a:pt x="361" y="90"/>
                  </a:lnTo>
                  <a:lnTo>
                    <a:pt x="362" y="92"/>
                  </a:lnTo>
                  <a:lnTo>
                    <a:pt x="369" y="100"/>
                  </a:lnTo>
                  <a:lnTo>
                    <a:pt x="374" y="108"/>
                  </a:lnTo>
                  <a:lnTo>
                    <a:pt x="378" y="112"/>
                  </a:lnTo>
                  <a:lnTo>
                    <a:pt x="379" y="113"/>
                  </a:lnTo>
                  <a:lnTo>
                    <a:pt x="381" y="115"/>
                  </a:lnTo>
                  <a:lnTo>
                    <a:pt x="382" y="115"/>
                  </a:lnTo>
                  <a:lnTo>
                    <a:pt x="384" y="117"/>
                  </a:lnTo>
                  <a:lnTo>
                    <a:pt x="397" y="123"/>
                  </a:lnTo>
                  <a:lnTo>
                    <a:pt x="401" y="125"/>
                  </a:lnTo>
                  <a:lnTo>
                    <a:pt x="407" y="129"/>
                  </a:lnTo>
                  <a:lnTo>
                    <a:pt x="416" y="135"/>
                  </a:lnTo>
                  <a:lnTo>
                    <a:pt x="421" y="138"/>
                  </a:lnTo>
                  <a:lnTo>
                    <a:pt x="426" y="141"/>
                  </a:lnTo>
                  <a:lnTo>
                    <a:pt x="435" y="146"/>
                  </a:lnTo>
                  <a:lnTo>
                    <a:pt x="437" y="147"/>
                  </a:lnTo>
                  <a:lnTo>
                    <a:pt x="439" y="148"/>
                  </a:lnTo>
                  <a:lnTo>
                    <a:pt x="440" y="150"/>
                  </a:lnTo>
                  <a:lnTo>
                    <a:pt x="440" y="150"/>
                  </a:lnTo>
                  <a:lnTo>
                    <a:pt x="441" y="151"/>
                  </a:lnTo>
                  <a:lnTo>
                    <a:pt x="441" y="153"/>
                  </a:lnTo>
                  <a:lnTo>
                    <a:pt x="441" y="154"/>
                  </a:lnTo>
                  <a:lnTo>
                    <a:pt x="441" y="160"/>
                  </a:lnTo>
                  <a:lnTo>
                    <a:pt x="441" y="162"/>
                  </a:lnTo>
                  <a:lnTo>
                    <a:pt x="441" y="165"/>
                  </a:lnTo>
                  <a:lnTo>
                    <a:pt x="441" y="167"/>
                  </a:lnTo>
                  <a:lnTo>
                    <a:pt x="441" y="168"/>
                  </a:lnTo>
                  <a:lnTo>
                    <a:pt x="441" y="169"/>
                  </a:lnTo>
                  <a:lnTo>
                    <a:pt x="442" y="170"/>
                  </a:lnTo>
                  <a:lnTo>
                    <a:pt x="442" y="170"/>
                  </a:lnTo>
                  <a:lnTo>
                    <a:pt x="444" y="171"/>
                  </a:lnTo>
                  <a:lnTo>
                    <a:pt x="445" y="172"/>
                  </a:lnTo>
                  <a:lnTo>
                    <a:pt x="452" y="174"/>
                  </a:lnTo>
                  <a:lnTo>
                    <a:pt x="454" y="175"/>
                  </a:lnTo>
                  <a:lnTo>
                    <a:pt x="456" y="176"/>
                  </a:lnTo>
                  <a:lnTo>
                    <a:pt x="459" y="178"/>
                  </a:lnTo>
                  <a:lnTo>
                    <a:pt x="464" y="182"/>
                  </a:lnTo>
                  <a:lnTo>
                    <a:pt x="469" y="185"/>
                  </a:lnTo>
                  <a:lnTo>
                    <a:pt x="474" y="187"/>
                  </a:lnTo>
                  <a:lnTo>
                    <a:pt x="480" y="190"/>
                  </a:lnTo>
                  <a:lnTo>
                    <a:pt x="483" y="193"/>
                  </a:lnTo>
                  <a:lnTo>
                    <a:pt x="486" y="194"/>
                  </a:lnTo>
                  <a:lnTo>
                    <a:pt x="487" y="195"/>
                  </a:lnTo>
                  <a:lnTo>
                    <a:pt x="494" y="204"/>
                  </a:lnTo>
                  <a:lnTo>
                    <a:pt x="501" y="210"/>
                  </a:lnTo>
                  <a:lnTo>
                    <a:pt x="508" y="217"/>
                  </a:lnTo>
                  <a:lnTo>
                    <a:pt x="511" y="219"/>
                  </a:lnTo>
                  <a:lnTo>
                    <a:pt x="514" y="221"/>
                  </a:lnTo>
                  <a:lnTo>
                    <a:pt x="516" y="222"/>
                  </a:lnTo>
                  <a:lnTo>
                    <a:pt x="517" y="223"/>
                  </a:lnTo>
                  <a:lnTo>
                    <a:pt x="518" y="225"/>
                  </a:lnTo>
                  <a:lnTo>
                    <a:pt x="518" y="227"/>
                  </a:lnTo>
                  <a:lnTo>
                    <a:pt x="518" y="228"/>
                  </a:lnTo>
                  <a:lnTo>
                    <a:pt x="518" y="229"/>
                  </a:lnTo>
                  <a:lnTo>
                    <a:pt x="518" y="230"/>
                  </a:lnTo>
                  <a:lnTo>
                    <a:pt x="518" y="233"/>
                  </a:lnTo>
                  <a:lnTo>
                    <a:pt x="518" y="235"/>
                  </a:lnTo>
                  <a:lnTo>
                    <a:pt x="518" y="240"/>
                  </a:lnTo>
                  <a:lnTo>
                    <a:pt x="518" y="242"/>
                  </a:lnTo>
                  <a:lnTo>
                    <a:pt x="520" y="249"/>
                  </a:lnTo>
                  <a:lnTo>
                    <a:pt x="521" y="257"/>
                  </a:lnTo>
                  <a:lnTo>
                    <a:pt x="521" y="259"/>
                  </a:lnTo>
                  <a:lnTo>
                    <a:pt x="522" y="261"/>
                  </a:lnTo>
                  <a:lnTo>
                    <a:pt x="523" y="264"/>
                  </a:lnTo>
                  <a:lnTo>
                    <a:pt x="530" y="275"/>
                  </a:lnTo>
                  <a:lnTo>
                    <a:pt x="533" y="282"/>
                  </a:lnTo>
                  <a:lnTo>
                    <a:pt x="534" y="284"/>
                  </a:lnTo>
                  <a:lnTo>
                    <a:pt x="536" y="285"/>
                  </a:lnTo>
                  <a:lnTo>
                    <a:pt x="537" y="286"/>
                  </a:lnTo>
                  <a:lnTo>
                    <a:pt x="538" y="287"/>
                  </a:lnTo>
                  <a:lnTo>
                    <a:pt x="540" y="287"/>
                  </a:lnTo>
                  <a:lnTo>
                    <a:pt x="542" y="287"/>
                  </a:lnTo>
                  <a:lnTo>
                    <a:pt x="544" y="288"/>
                  </a:lnTo>
                  <a:lnTo>
                    <a:pt x="546" y="288"/>
                  </a:lnTo>
                  <a:lnTo>
                    <a:pt x="548" y="288"/>
                  </a:lnTo>
                  <a:lnTo>
                    <a:pt x="551" y="287"/>
                  </a:lnTo>
                  <a:lnTo>
                    <a:pt x="555" y="287"/>
                  </a:lnTo>
                  <a:lnTo>
                    <a:pt x="565" y="284"/>
                  </a:lnTo>
                  <a:lnTo>
                    <a:pt x="579" y="280"/>
                  </a:lnTo>
                  <a:lnTo>
                    <a:pt x="586" y="278"/>
                  </a:lnTo>
                  <a:lnTo>
                    <a:pt x="594" y="276"/>
                  </a:lnTo>
                  <a:lnTo>
                    <a:pt x="604" y="272"/>
                  </a:lnTo>
                  <a:lnTo>
                    <a:pt x="606" y="271"/>
                  </a:lnTo>
                  <a:lnTo>
                    <a:pt x="608" y="270"/>
                  </a:lnTo>
                  <a:lnTo>
                    <a:pt x="610" y="270"/>
                  </a:lnTo>
                  <a:lnTo>
                    <a:pt x="612" y="270"/>
                  </a:lnTo>
                  <a:lnTo>
                    <a:pt x="613" y="270"/>
                  </a:lnTo>
                  <a:lnTo>
                    <a:pt x="615" y="271"/>
                  </a:lnTo>
                  <a:lnTo>
                    <a:pt x="616" y="272"/>
                  </a:lnTo>
                  <a:lnTo>
                    <a:pt x="616" y="274"/>
                  </a:lnTo>
                  <a:lnTo>
                    <a:pt x="616" y="276"/>
                  </a:lnTo>
                  <a:lnTo>
                    <a:pt x="616" y="280"/>
                  </a:lnTo>
                  <a:lnTo>
                    <a:pt x="617" y="285"/>
                  </a:lnTo>
                  <a:lnTo>
                    <a:pt x="618" y="287"/>
                  </a:lnTo>
                  <a:lnTo>
                    <a:pt x="620" y="296"/>
                  </a:lnTo>
                  <a:lnTo>
                    <a:pt x="621" y="298"/>
                  </a:lnTo>
                  <a:lnTo>
                    <a:pt x="622" y="300"/>
                  </a:lnTo>
                  <a:lnTo>
                    <a:pt x="623" y="302"/>
                  </a:lnTo>
                  <a:lnTo>
                    <a:pt x="625" y="304"/>
                  </a:lnTo>
                  <a:lnTo>
                    <a:pt x="627" y="305"/>
                  </a:lnTo>
                  <a:lnTo>
                    <a:pt x="628" y="307"/>
                  </a:lnTo>
                  <a:lnTo>
                    <a:pt x="639" y="312"/>
                  </a:lnTo>
                  <a:lnTo>
                    <a:pt x="643" y="313"/>
                  </a:lnTo>
                  <a:lnTo>
                    <a:pt x="645" y="315"/>
                  </a:lnTo>
                  <a:lnTo>
                    <a:pt x="646" y="315"/>
                  </a:lnTo>
                  <a:lnTo>
                    <a:pt x="651" y="320"/>
                  </a:lnTo>
                  <a:lnTo>
                    <a:pt x="653" y="322"/>
                  </a:lnTo>
                  <a:lnTo>
                    <a:pt x="658" y="328"/>
                  </a:lnTo>
                  <a:lnTo>
                    <a:pt x="666" y="337"/>
                  </a:lnTo>
                  <a:lnTo>
                    <a:pt x="679" y="354"/>
                  </a:lnTo>
                  <a:lnTo>
                    <a:pt x="682" y="357"/>
                  </a:lnTo>
                  <a:lnTo>
                    <a:pt x="688" y="362"/>
                  </a:lnTo>
                  <a:lnTo>
                    <a:pt x="691" y="365"/>
                  </a:lnTo>
                  <a:lnTo>
                    <a:pt x="694" y="370"/>
                  </a:lnTo>
                  <a:lnTo>
                    <a:pt x="700" y="379"/>
                  </a:lnTo>
                  <a:lnTo>
                    <a:pt x="701" y="380"/>
                  </a:lnTo>
                  <a:lnTo>
                    <a:pt x="703" y="382"/>
                  </a:lnTo>
                  <a:lnTo>
                    <a:pt x="704" y="382"/>
                  </a:lnTo>
                  <a:lnTo>
                    <a:pt x="705" y="383"/>
                  </a:lnTo>
                  <a:lnTo>
                    <a:pt x="707" y="383"/>
                  </a:lnTo>
                  <a:lnTo>
                    <a:pt x="708" y="383"/>
                  </a:lnTo>
                  <a:lnTo>
                    <a:pt x="709" y="383"/>
                  </a:lnTo>
                  <a:lnTo>
                    <a:pt x="710" y="382"/>
                  </a:lnTo>
                  <a:lnTo>
                    <a:pt x="715" y="379"/>
                  </a:lnTo>
                  <a:lnTo>
                    <a:pt x="715" y="378"/>
                  </a:lnTo>
                  <a:lnTo>
                    <a:pt x="716" y="378"/>
                  </a:lnTo>
                  <a:lnTo>
                    <a:pt x="717" y="377"/>
                  </a:lnTo>
                  <a:lnTo>
                    <a:pt x="718" y="378"/>
                  </a:lnTo>
                  <a:lnTo>
                    <a:pt x="718" y="379"/>
                  </a:lnTo>
                  <a:lnTo>
                    <a:pt x="718" y="380"/>
                  </a:lnTo>
                  <a:lnTo>
                    <a:pt x="717" y="385"/>
                  </a:lnTo>
                  <a:lnTo>
                    <a:pt x="716" y="391"/>
                  </a:lnTo>
                  <a:lnTo>
                    <a:pt x="716" y="401"/>
                  </a:lnTo>
                  <a:lnTo>
                    <a:pt x="716" y="407"/>
                  </a:lnTo>
                  <a:lnTo>
                    <a:pt x="716" y="411"/>
                  </a:lnTo>
                  <a:lnTo>
                    <a:pt x="717" y="415"/>
                  </a:lnTo>
                  <a:lnTo>
                    <a:pt x="718" y="420"/>
                  </a:lnTo>
                  <a:lnTo>
                    <a:pt x="720" y="425"/>
                  </a:lnTo>
                  <a:lnTo>
                    <a:pt x="722" y="430"/>
                  </a:lnTo>
                  <a:lnTo>
                    <a:pt x="724" y="435"/>
                  </a:lnTo>
                  <a:lnTo>
                    <a:pt x="727" y="440"/>
                  </a:lnTo>
                  <a:lnTo>
                    <a:pt x="728" y="442"/>
                  </a:lnTo>
                  <a:lnTo>
                    <a:pt x="730" y="445"/>
                  </a:lnTo>
                  <a:lnTo>
                    <a:pt x="732" y="447"/>
                  </a:lnTo>
                  <a:lnTo>
                    <a:pt x="733" y="449"/>
                  </a:lnTo>
                  <a:lnTo>
                    <a:pt x="735" y="450"/>
                  </a:lnTo>
                  <a:lnTo>
                    <a:pt x="736" y="452"/>
                  </a:lnTo>
                  <a:lnTo>
                    <a:pt x="738" y="452"/>
                  </a:lnTo>
                  <a:lnTo>
                    <a:pt x="740" y="454"/>
                  </a:lnTo>
                  <a:lnTo>
                    <a:pt x="741" y="454"/>
                  </a:lnTo>
                  <a:lnTo>
                    <a:pt x="742" y="454"/>
                  </a:lnTo>
                  <a:lnTo>
                    <a:pt x="741" y="455"/>
                  </a:lnTo>
                  <a:lnTo>
                    <a:pt x="740" y="457"/>
                  </a:lnTo>
                  <a:lnTo>
                    <a:pt x="739" y="463"/>
                  </a:lnTo>
                  <a:lnTo>
                    <a:pt x="738" y="469"/>
                  </a:lnTo>
                  <a:lnTo>
                    <a:pt x="738" y="476"/>
                  </a:lnTo>
                  <a:lnTo>
                    <a:pt x="737" y="480"/>
                  </a:lnTo>
                  <a:lnTo>
                    <a:pt x="737" y="484"/>
                  </a:lnTo>
                  <a:lnTo>
                    <a:pt x="738" y="507"/>
                  </a:lnTo>
                  <a:lnTo>
                    <a:pt x="738" y="513"/>
                  </a:lnTo>
                  <a:lnTo>
                    <a:pt x="738" y="519"/>
                  </a:lnTo>
                  <a:lnTo>
                    <a:pt x="736" y="534"/>
                  </a:lnTo>
                  <a:lnTo>
                    <a:pt x="735" y="545"/>
                  </a:lnTo>
                  <a:lnTo>
                    <a:pt x="735" y="548"/>
                  </a:lnTo>
                  <a:lnTo>
                    <a:pt x="735" y="552"/>
                  </a:lnTo>
                  <a:lnTo>
                    <a:pt x="734" y="556"/>
                  </a:lnTo>
                  <a:lnTo>
                    <a:pt x="733" y="559"/>
                  </a:lnTo>
                  <a:lnTo>
                    <a:pt x="730" y="564"/>
                  </a:lnTo>
                  <a:lnTo>
                    <a:pt x="728" y="568"/>
                  </a:lnTo>
                  <a:lnTo>
                    <a:pt x="725" y="572"/>
                  </a:lnTo>
                  <a:lnTo>
                    <a:pt x="723" y="574"/>
                  </a:lnTo>
                  <a:lnTo>
                    <a:pt x="722" y="576"/>
                  </a:lnTo>
                  <a:lnTo>
                    <a:pt x="720" y="577"/>
                  </a:lnTo>
                  <a:lnTo>
                    <a:pt x="718" y="578"/>
                  </a:lnTo>
                  <a:lnTo>
                    <a:pt x="715" y="579"/>
                  </a:lnTo>
                  <a:lnTo>
                    <a:pt x="711" y="579"/>
                  </a:lnTo>
                  <a:lnTo>
                    <a:pt x="707" y="580"/>
                  </a:lnTo>
                  <a:lnTo>
                    <a:pt x="703" y="580"/>
                  </a:lnTo>
                  <a:lnTo>
                    <a:pt x="700" y="580"/>
                  </a:lnTo>
                  <a:lnTo>
                    <a:pt x="697" y="579"/>
                  </a:lnTo>
                  <a:lnTo>
                    <a:pt x="694" y="578"/>
                  </a:lnTo>
                  <a:lnTo>
                    <a:pt x="691" y="577"/>
                  </a:lnTo>
                  <a:lnTo>
                    <a:pt x="689" y="575"/>
                  </a:lnTo>
                  <a:lnTo>
                    <a:pt x="686" y="572"/>
                  </a:lnTo>
                  <a:lnTo>
                    <a:pt x="684" y="569"/>
                  </a:lnTo>
                  <a:lnTo>
                    <a:pt x="677" y="561"/>
                  </a:lnTo>
                  <a:lnTo>
                    <a:pt x="675" y="558"/>
                  </a:lnTo>
                  <a:lnTo>
                    <a:pt x="673" y="556"/>
                  </a:lnTo>
                  <a:lnTo>
                    <a:pt x="671" y="554"/>
                  </a:lnTo>
                  <a:lnTo>
                    <a:pt x="668" y="552"/>
                  </a:lnTo>
                  <a:lnTo>
                    <a:pt x="666" y="551"/>
                  </a:lnTo>
                  <a:lnTo>
                    <a:pt x="661" y="549"/>
                  </a:lnTo>
                  <a:lnTo>
                    <a:pt x="658" y="548"/>
                  </a:lnTo>
                  <a:lnTo>
                    <a:pt x="656" y="547"/>
                  </a:lnTo>
                  <a:lnTo>
                    <a:pt x="655" y="546"/>
                  </a:lnTo>
                  <a:lnTo>
                    <a:pt x="653" y="544"/>
                  </a:lnTo>
                  <a:lnTo>
                    <a:pt x="651" y="542"/>
                  </a:lnTo>
                  <a:lnTo>
                    <a:pt x="649" y="539"/>
                  </a:lnTo>
                  <a:lnTo>
                    <a:pt x="645" y="533"/>
                  </a:lnTo>
                  <a:lnTo>
                    <a:pt x="642" y="530"/>
                  </a:lnTo>
                  <a:lnTo>
                    <a:pt x="641" y="529"/>
                  </a:lnTo>
                  <a:lnTo>
                    <a:pt x="639" y="527"/>
                  </a:lnTo>
                  <a:lnTo>
                    <a:pt x="638" y="527"/>
                  </a:lnTo>
                  <a:lnTo>
                    <a:pt x="637" y="526"/>
                  </a:lnTo>
                  <a:lnTo>
                    <a:pt x="635" y="525"/>
                  </a:lnTo>
                  <a:lnTo>
                    <a:pt x="633" y="525"/>
                  </a:lnTo>
                  <a:lnTo>
                    <a:pt x="630" y="526"/>
                  </a:lnTo>
                  <a:lnTo>
                    <a:pt x="628" y="527"/>
                  </a:lnTo>
                  <a:lnTo>
                    <a:pt x="624" y="529"/>
                  </a:lnTo>
                  <a:lnTo>
                    <a:pt x="605" y="540"/>
                  </a:lnTo>
                  <a:lnTo>
                    <a:pt x="601" y="542"/>
                  </a:lnTo>
                  <a:lnTo>
                    <a:pt x="597" y="544"/>
                  </a:lnTo>
                  <a:lnTo>
                    <a:pt x="594" y="544"/>
                  </a:lnTo>
                  <a:lnTo>
                    <a:pt x="591" y="545"/>
                  </a:lnTo>
                  <a:lnTo>
                    <a:pt x="589" y="545"/>
                  </a:lnTo>
                  <a:lnTo>
                    <a:pt x="586" y="545"/>
                  </a:lnTo>
                  <a:lnTo>
                    <a:pt x="583" y="544"/>
                  </a:lnTo>
                  <a:lnTo>
                    <a:pt x="575" y="541"/>
                  </a:lnTo>
                  <a:lnTo>
                    <a:pt x="564" y="537"/>
                  </a:lnTo>
                  <a:lnTo>
                    <a:pt x="560" y="536"/>
                  </a:lnTo>
                  <a:lnTo>
                    <a:pt x="546" y="530"/>
                  </a:lnTo>
                  <a:lnTo>
                    <a:pt x="544" y="529"/>
                  </a:lnTo>
                  <a:lnTo>
                    <a:pt x="542" y="528"/>
                  </a:lnTo>
                  <a:lnTo>
                    <a:pt x="538" y="526"/>
                  </a:lnTo>
                  <a:lnTo>
                    <a:pt x="536" y="524"/>
                  </a:lnTo>
                  <a:lnTo>
                    <a:pt x="533" y="522"/>
                  </a:lnTo>
                  <a:lnTo>
                    <a:pt x="528" y="515"/>
                  </a:lnTo>
                  <a:lnTo>
                    <a:pt x="526" y="513"/>
                  </a:lnTo>
                  <a:lnTo>
                    <a:pt x="518" y="504"/>
                  </a:lnTo>
                  <a:lnTo>
                    <a:pt x="513" y="500"/>
                  </a:lnTo>
                  <a:lnTo>
                    <a:pt x="511" y="499"/>
                  </a:lnTo>
                  <a:lnTo>
                    <a:pt x="508" y="497"/>
                  </a:lnTo>
                  <a:lnTo>
                    <a:pt x="506" y="497"/>
                  </a:lnTo>
                  <a:lnTo>
                    <a:pt x="503" y="497"/>
                  </a:lnTo>
                  <a:lnTo>
                    <a:pt x="501" y="497"/>
                  </a:lnTo>
                  <a:lnTo>
                    <a:pt x="500" y="497"/>
                  </a:lnTo>
                  <a:lnTo>
                    <a:pt x="498" y="498"/>
                  </a:lnTo>
                  <a:lnTo>
                    <a:pt x="496" y="499"/>
                  </a:lnTo>
                  <a:lnTo>
                    <a:pt x="495" y="500"/>
                  </a:lnTo>
                  <a:lnTo>
                    <a:pt x="494" y="501"/>
                  </a:lnTo>
                  <a:lnTo>
                    <a:pt x="493" y="502"/>
                  </a:lnTo>
                  <a:lnTo>
                    <a:pt x="492" y="504"/>
                  </a:lnTo>
                  <a:lnTo>
                    <a:pt x="491" y="505"/>
                  </a:lnTo>
                  <a:lnTo>
                    <a:pt x="491" y="508"/>
                  </a:lnTo>
                  <a:lnTo>
                    <a:pt x="491" y="518"/>
                  </a:lnTo>
                  <a:lnTo>
                    <a:pt x="490" y="522"/>
                  </a:lnTo>
                  <a:lnTo>
                    <a:pt x="489" y="527"/>
                  </a:lnTo>
                  <a:lnTo>
                    <a:pt x="487" y="534"/>
                  </a:lnTo>
                  <a:lnTo>
                    <a:pt x="486" y="541"/>
                  </a:lnTo>
                  <a:lnTo>
                    <a:pt x="484" y="544"/>
                  </a:lnTo>
                  <a:lnTo>
                    <a:pt x="483" y="547"/>
                  </a:lnTo>
                  <a:lnTo>
                    <a:pt x="481" y="550"/>
                  </a:lnTo>
                  <a:lnTo>
                    <a:pt x="480" y="553"/>
                  </a:lnTo>
                  <a:lnTo>
                    <a:pt x="479" y="556"/>
                  </a:lnTo>
                  <a:lnTo>
                    <a:pt x="476" y="558"/>
                  </a:lnTo>
                  <a:lnTo>
                    <a:pt x="475" y="561"/>
                  </a:lnTo>
                  <a:lnTo>
                    <a:pt x="473" y="562"/>
                  </a:lnTo>
                  <a:lnTo>
                    <a:pt x="471" y="564"/>
                  </a:lnTo>
                  <a:lnTo>
                    <a:pt x="469" y="566"/>
                  </a:lnTo>
                  <a:lnTo>
                    <a:pt x="467" y="567"/>
                  </a:lnTo>
                  <a:lnTo>
                    <a:pt x="465" y="567"/>
                  </a:lnTo>
                  <a:lnTo>
                    <a:pt x="463" y="567"/>
                  </a:lnTo>
                  <a:lnTo>
                    <a:pt x="461" y="568"/>
                  </a:lnTo>
                  <a:lnTo>
                    <a:pt x="451" y="569"/>
                  </a:lnTo>
                  <a:lnTo>
                    <a:pt x="446" y="569"/>
                  </a:lnTo>
                  <a:lnTo>
                    <a:pt x="442" y="571"/>
                  </a:lnTo>
                  <a:lnTo>
                    <a:pt x="441" y="571"/>
                  </a:lnTo>
                  <a:lnTo>
                    <a:pt x="439" y="572"/>
                  </a:lnTo>
                  <a:lnTo>
                    <a:pt x="437" y="573"/>
                  </a:lnTo>
                  <a:lnTo>
                    <a:pt x="436" y="574"/>
                  </a:lnTo>
                  <a:lnTo>
                    <a:pt x="436" y="575"/>
                  </a:lnTo>
                  <a:lnTo>
                    <a:pt x="434" y="578"/>
                  </a:lnTo>
                  <a:lnTo>
                    <a:pt x="432" y="584"/>
                  </a:lnTo>
                  <a:lnTo>
                    <a:pt x="431" y="587"/>
                  </a:lnTo>
                  <a:lnTo>
                    <a:pt x="429" y="589"/>
                  </a:lnTo>
                  <a:lnTo>
                    <a:pt x="429" y="589"/>
                  </a:lnTo>
                  <a:lnTo>
                    <a:pt x="427" y="591"/>
                  </a:lnTo>
                  <a:lnTo>
                    <a:pt x="426" y="592"/>
                  </a:lnTo>
                  <a:lnTo>
                    <a:pt x="424" y="594"/>
                  </a:lnTo>
                  <a:lnTo>
                    <a:pt x="421" y="594"/>
                  </a:lnTo>
                  <a:lnTo>
                    <a:pt x="418" y="596"/>
                  </a:lnTo>
                  <a:lnTo>
                    <a:pt x="412" y="597"/>
                  </a:lnTo>
                  <a:lnTo>
                    <a:pt x="410" y="597"/>
                  </a:lnTo>
                  <a:lnTo>
                    <a:pt x="408" y="599"/>
                  </a:lnTo>
                  <a:lnTo>
                    <a:pt x="406" y="599"/>
                  </a:lnTo>
                  <a:lnTo>
                    <a:pt x="404" y="602"/>
                  </a:lnTo>
                  <a:lnTo>
                    <a:pt x="402" y="603"/>
                  </a:lnTo>
                  <a:lnTo>
                    <a:pt x="396" y="609"/>
                  </a:lnTo>
                  <a:lnTo>
                    <a:pt x="394" y="611"/>
                  </a:lnTo>
                  <a:lnTo>
                    <a:pt x="391" y="613"/>
                  </a:lnTo>
                  <a:lnTo>
                    <a:pt x="389" y="614"/>
                  </a:lnTo>
                  <a:lnTo>
                    <a:pt x="386" y="615"/>
                  </a:lnTo>
                  <a:lnTo>
                    <a:pt x="384" y="615"/>
                  </a:lnTo>
                  <a:lnTo>
                    <a:pt x="381" y="615"/>
                  </a:lnTo>
                  <a:lnTo>
                    <a:pt x="379" y="614"/>
                  </a:lnTo>
                  <a:lnTo>
                    <a:pt x="376" y="614"/>
                  </a:lnTo>
                  <a:lnTo>
                    <a:pt x="369" y="610"/>
                  </a:lnTo>
                  <a:lnTo>
                    <a:pt x="359" y="605"/>
                  </a:lnTo>
                  <a:lnTo>
                    <a:pt x="349" y="601"/>
                  </a:lnTo>
                  <a:lnTo>
                    <a:pt x="329" y="589"/>
                  </a:lnTo>
                  <a:lnTo>
                    <a:pt x="325" y="588"/>
                  </a:lnTo>
                  <a:lnTo>
                    <a:pt x="322" y="587"/>
                  </a:lnTo>
                  <a:lnTo>
                    <a:pt x="319" y="585"/>
                  </a:lnTo>
                  <a:lnTo>
                    <a:pt x="314" y="584"/>
                  </a:lnTo>
                  <a:lnTo>
                    <a:pt x="311" y="584"/>
                  </a:lnTo>
                  <a:lnTo>
                    <a:pt x="301" y="582"/>
                  </a:lnTo>
                  <a:lnTo>
                    <a:pt x="296" y="582"/>
                  </a:lnTo>
                  <a:lnTo>
                    <a:pt x="293" y="580"/>
                  </a:lnTo>
                  <a:lnTo>
                    <a:pt x="283" y="577"/>
                  </a:lnTo>
                  <a:lnTo>
                    <a:pt x="276" y="574"/>
                  </a:lnTo>
                  <a:lnTo>
                    <a:pt x="266" y="572"/>
                  </a:lnTo>
                  <a:lnTo>
                    <a:pt x="259" y="569"/>
                  </a:lnTo>
                  <a:lnTo>
                    <a:pt x="253" y="568"/>
                  </a:lnTo>
                  <a:lnTo>
                    <a:pt x="247" y="567"/>
                  </a:lnTo>
                  <a:lnTo>
                    <a:pt x="242" y="567"/>
                  </a:lnTo>
                  <a:lnTo>
                    <a:pt x="234" y="566"/>
                  </a:lnTo>
                  <a:lnTo>
                    <a:pt x="229" y="566"/>
                  </a:lnTo>
                  <a:lnTo>
                    <a:pt x="227" y="565"/>
                  </a:lnTo>
                  <a:lnTo>
                    <a:pt x="215" y="564"/>
                  </a:lnTo>
                  <a:lnTo>
                    <a:pt x="210" y="563"/>
                  </a:lnTo>
                  <a:lnTo>
                    <a:pt x="204" y="562"/>
                  </a:lnTo>
                  <a:lnTo>
                    <a:pt x="199" y="562"/>
                  </a:lnTo>
                  <a:lnTo>
                    <a:pt x="195" y="562"/>
                  </a:lnTo>
                  <a:lnTo>
                    <a:pt x="192" y="563"/>
                  </a:lnTo>
                  <a:lnTo>
                    <a:pt x="184" y="564"/>
                  </a:lnTo>
                  <a:lnTo>
                    <a:pt x="181" y="564"/>
                  </a:lnTo>
                  <a:lnTo>
                    <a:pt x="178" y="564"/>
                  </a:lnTo>
                  <a:lnTo>
                    <a:pt x="174" y="564"/>
                  </a:lnTo>
                  <a:lnTo>
                    <a:pt x="172" y="564"/>
                  </a:lnTo>
                  <a:lnTo>
                    <a:pt x="169" y="563"/>
                  </a:lnTo>
                  <a:lnTo>
                    <a:pt x="167" y="562"/>
                  </a:lnTo>
                  <a:lnTo>
                    <a:pt x="161" y="560"/>
                  </a:lnTo>
                  <a:lnTo>
                    <a:pt x="158" y="559"/>
                  </a:lnTo>
                  <a:lnTo>
                    <a:pt x="153" y="557"/>
                  </a:lnTo>
                  <a:lnTo>
                    <a:pt x="143" y="555"/>
                  </a:lnTo>
                  <a:lnTo>
                    <a:pt x="141" y="554"/>
                  </a:lnTo>
                  <a:lnTo>
                    <a:pt x="139" y="554"/>
                  </a:lnTo>
                  <a:lnTo>
                    <a:pt x="137" y="552"/>
                  </a:lnTo>
                  <a:lnTo>
                    <a:pt x="133" y="548"/>
                  </a:lnTo>
                  <a:lnTo>
                    <a:pt x="128" y="544"/>
                  </a:lnTo>
                  <a:lnTo>
                    <a:pt x="127" y="543"/>
                  </a:lnTo>
                  <a:lnTo>
                    <a:pt x="124" y="541"/>
                  </a:lnTo>
                  <a:lnTo>
                    <a:pt x="122" y="539"/>
                  </a:lnTo>
                  <a:lnTo>
                    <a:pt x="119" y="536"/>
                  </a:lnTo>
                  <a:lnTo>
                    <a:pt x="118" y="533"/>
                  </a:lnTo>
                  <a:lnTo>
                    <a:pt x="117" y="530"/>
                  </a:lnTo>
                  <a:lnTo>
                    <a:pt x="114" y="524"/>
                  </a:lnTo>
                  <a:lnTo>
                    <a:pt x="113" y="522"/>
                  </a:lnTo>
                  <a:lnTo>
                    <a:pt x="112" y="521"/>
                  </a:lnTo>
                  <a:lnTo>
                    <a:pt x="112" y="519"/>
                  </a:lnTo>
                  <a:lnTo>
                    <a:pt x="110" y="518"/>
                  </a:lnTo>
                  <a:lnTo>
                    <a:pt x="104" y="513"/>
                  </a:lnTo>
                  <a:lnTo>
                    <a:pt x="102" y="511"/>
                  </a:lnTo>
                  <a:lnTo>
                    <a:pt x="100" y="509"/>
                  </a:lnTo>
                  <a:lnTo>
                    <a:pt x="99" y="507"/>
                  </a:lnTo>
                  <a:lnTo>
                    <a:pt x="97" y="504"/>
                  </a:lnTo>
                  <a:lnTo>
                    <a:pt x="96" y="502"/>
                  </a:lnTo>
                  <a:lnTo>
                    <a:pt x="96" y="500"/>
                  </a:lnTo>
                  <a:lnTo>
                    <a:pt x="96" y="499"/>
                  </a:lnTo>
                  <a:lnTo>
                    <a:pt x="96" y="497"/>
                  </a:lnTo>
                  <a:lnTo>
                    <a:pt x="96" y="495"/>
                  </a:lnTo>
                  <a:lnTo>
                    <a:pt x="97" y="494"/>
                  </a:lnTo>
                  <a:lnTo>
                    <a:pt x="98" y="492"/>
                  </a:lnTo>
                  <a:lnTo>
                    <a:pt x="99" y="489"/>
                  </a:lnTo>
                  <a:lnTo>
                    <a:pt x="101" y="488"/>
                  </a:lnTo>
                  <a:lnTo>
                    <a:pt x="102" y="486"/>
                  </a:lnTo>
                  <a:lnTo>
                    <a:pt x="104" y="484"/>
                  </a:lnTo>
                  <a:lnTo>
                    <a:pt x="108" y="482"/>
                  </a:lnTo>
                  <a:lnTo>
                    <a:pt x="111" y="480"/>
                  </a:lnTo>
                  <a:lnTo>
                    <a:pt x="117" y="477"/>
                  </a:lnTo>
                  <a:lnTo>
                    <a:pt x="120" y="476"/>
                  </a:lnTo>
                  <a:lnTo>
                    <a:pt x="122" y="474"/>
                  </a:lnTo>
                  <a:lnTo>
                    <a:pt x="122" y="474"/>
                  </a:lnTo>
                  <a:lnTo>
                    <a:pt x="124" y="472"/>
                  </a:lnTo>
                  <a:lnTo>
                    <a:pt x="124" y="471"/>
                  </a:lnTo>
                  <a:lnTo>
                    <a:pt x="126" y="469"/>
                  </a:lnTo>
                  <a:lnTo>
                    <a:pt x="127" y="467"/>
                  </a:lnTo>
                  <a:lnTo>
                    <a:pt x="127" y="464"/>
                  </a:lnTo>
                  <a:lnTo>
                    <a:pt x="127" y="462"/>
                  </a:lnTo>
                  <a:lnTo>
                    <a:pt x="127" y="460"/>
                  </a:lnTo>
                  <a:lnTo>
                    <a:pt x="127" y="458"/>
                  </a:lnTo>
                  <a:lnTo>
                    <a:pt x="125" y="456"/>
                  </a:lnTo>
                  <a:lnTo>
                    <a:pt x="124" y="454"/>
                  </a:lnTo>
                  <a:lnTo>
                    <a:pt x="123" y="452"/>
                  </a:lnTo>
                  <a:lnTo>
                    <a:pt x="121" y="450"/>
                  </a:lnTo>
                  <a:lnTo>
                    <a:pt x="119" y="449"/>
                  </a:lnTo>
                  <a:lnTo>
                    <a:pt x="112" y="443"/>
                  </a:lnTo>
                  <a:lnTo>
                    <a:pt x="108" y="440"/>
                  </a:lnTo>
                  <a:lnTo>
                    <a:pt x="106" y="438"/>
                  </a:lnTo>
                  <a:lnTo>
                    <a:pt x="103" y="435"/>
                  </a:lnTo>
                  <a:lnTo>
                    <a:pt x="97" y="427"/>
                  </a:lnTo>
                  <a:lnTo>
                    <a:pt x="93" y="422"/>
                  </a:lnTo>
                  <a:lnTo>
                    <a:pt x="89" y="418"/>
                  </a:lnTo>
                  <a:lnTo>
                    <a:pt x="86" y="414"/>
                  </a:lnTo>
                  <a:lnTo>
                    <a:pt x="83" y="411"/>
                  </a:lnTo>
                  <a:lnTo>
                    <a:pt x="80" y="408"/>
                  </a:lnTo>
                  <a:lnTo>
                    <a:pt x="78" y="407"/>
                  </a:lnTo>
                  <a:lnTo>
                    <a:pt x="77" y="405"/>
                  </a:lnTo>
                  <a:lnTo>
                    <a:pt x="74" y="405"/>
                  </a:lnTo>
                  <a:lnTo>
                    <a:pt x="72" y="403"/>
                  </a:lnTo>
                  <a:lnTo>
                    <a:pt x="67" y="401"/>
                  </a:lnTo>
                  <a:lnTo>
                    <a:pt x="55" y="397"/>
                  </a:lnTo>
                  <a:lnTo>
                    <a:pt x="47" y="394"/>
                  </a:lnTo>
                  <a:lnTo>
                    <a:pt x="44" y="393"/>
                  </a:lnTo>
                  <a:lnTo>
                    <a:pt x="41" y="392"/>
                  </a:lnTo>
                  <a:lnTo>
                    <a:pt x="40" y="390"/>
                  </a:lnTo>
                  <a:lnTo>
                    <a:pt x="37" y="389"/>
                  </a:lnTo>
                  <a:lnTo>
                    <a:pt x="30" y="384"/>
                  </a:lnTo>
                  <a:lnTo>
                    <a:pt x="25" y="380"/>
                  </a:lnTo>
                  <a:lnTo>
                    <a:pt x="20" y="376"/>
                  </a:lnTo>
                  <a:lnTo>
                    <a:pt x="17" y="372"/>
                  </a:lnTo>
                  <a:lnTo>
                    <a:pt x="12" y="367"/>
                  </a:lnTo>
                  <a:lnTo>
                    <a:pt x="7" y="362"/>
                  </a:lnTo>
                  <a:lnTo>
                    <a:pt x="2" y="356"/>
                  </a:lnTo>
                  <a:lnTo>
                    <a:pt x="0" y="352"/>
                  </a:lnTo>
                  <a:lnTo>
                    <a:pt x="2" y="347"/>
                  </a:lnTo>
                  <a:lnTo>
                    <a:pt x="4" y="345"/>
                  </a:lnTo>
                  <a:lnTo>
                    <a:pt x="5" y="344"/>
                  </a:lnTo>
                  <a:lnTo>
                    <a:pt x="6" y="342"/>
                  </a:lnTo>
                  <a:lnTo>
                    <a:pt x="7" y="340"/>
                  </a:lnTo>
                  <a:lnTo>
                    <a:pt x="10" y="339"/>
                  </a:lnTo>
                  <a:lnTo>
                    <a:pt x="11" y="337"/>
                  </a:lnTo>
                  <a:lnTo>
                    <a:pt x="15" y="335"/>
                  </a:lnTo>
                  <a:lnTo>
                    <a:pt x="18" y="334"/>
                  </a:lnTo>
                  <a:lnTo>
                    <a:pt x="21" y="333"/>
                  </a:lnTo>
                  <a:lnTo>
                    <a:pt x="29" y="331"/>
                  </a:lnTo>
                  <a:lnTo>
                    <a:pt x="32" y="330"/>
                  </a:lnTo>
                  <a:lnTo>
                    <a:pt x="33" y="329"/>
                  </a:lnTo>
                  <a:lnTo>
                    <a:pt x="35" y="327"/>
                  </a:lnTo>
                  <a:lnTo>
                    <a:pt x="36" y="326"/>
                  </a:lnTo>
                  <a:lnTo>
                    <a:pt x="38" y="325"/>
                  </a:lnTo>
                  <a:lnTo>
                    <a:pt x="40" y="322"/>
                  </a:lnTo>
                  <a:lnTo>
                    <a:pt x="41" y="320"/>
                  </a:lnTo>
                  <a:lnTo>
                    <a:pt x="42" y="318"/>
                  </a:lnTo>
                  <a:lnTo>
                    <a:pt x="43" y="316"/>
                  </a:lnTo>
                  <a:lnTo>
                    <a:pt x="47" y="305"/>
                  </a:lnTo>
                  <a:lnTo>
                    <a:pt x="52" y="297"/>
                  </a:lnTo>
                  <a:lnTo>
                    <a:pt x="53" y="292"/>
                  </a:lnTo>
                  <a:lnTo>
                    <a:pt x="54" y="289"/>
                  </a:lnTo>
                  <a:lnTo>
                    <a:pt x="56" y="283"/>
                  </a:lnTo>
                  <a:lnTo>
                    <a:pt x="56" y="281"/>
                  </a:lnTo>
                  <a:lnTo>
                    <a:pt x="57" y="278"/>
                  </a:lnTo>
                  <a:lnTo>
                    <a:pt x="57" y="276"/>
                  </a:lnTo>
                  <a:lnTo>
                    <a:pt x="57" y="272"/>
                  </a:lnTo>
                  <a:lnTo>
                    <a:pt x="55" y="260"/>
                  </a:lnTo>
                  <a:lnTo>
                    <a:pt x="54" y="254"/>
                  </a:lnTo>
                  <a:lnTo>
                    <a:pt x="54" y="250"/>
                  </a:lnTo>
                  <a:lnTo>
                    <a:pt x="53" y="247"/>
                  </a:lnTo>
                  <a:lnTo>
                    <a:pt x="52" y="242"/>
                  </a:lnTo>
                  <a:lnTo>
                    <a:pt x="50" y="236"/>
                  </a:lnTo>
                  <a:lnTo>
                    <a:pt x="47" y="230"/>
                  </a:lnTo>
                  <a:lnTo>
                    <a:pt x="42" y="217"/>
                  </a:lnTo>
                  <a:lnTo>
                    <a:pt x="40" y="212"/>
                  </a:lnTo>
                  <a:lnTo>
                    <a:pt x="39" y="208"/>
                  </a:lnTo>
                  <a:lnTo>
                    <a:pt x="38" y="203"/>
                  </a:lnTo>
                  <a:lnTo>
                    <a:pt x="38" y="198"/>
                  </a:lnTo>
                  <a:lnTo>
                    <a:pt x="38" y="195"/>
                  </a:lnTo>
                  <a:lnTo>
                    <a:pt x="38" y="191"/>
                  </a:lnTo>
                  <a:lnTo>
                    <a:pt x="39" y="183"/>
                  </a:lnTo>
                  <a:lnTo>
                    <a:pt x="39" y="179"/>
                  </a:lnTo>
                  <a:lnTo>
                    <a:pt x="39" y="175"/>
                  </a:lnTo>
                  <a:lnTo>
                    <a:pt x="39" y="172"/>
                  </a:lnTo>
                  <a:lnTo>
                    <a:pt x="37" y="163"/>
                  </a:lnTo>
                  <a:lnTo>
                    <a:pt x="37" y="161"/>
                  </a:lnTo>
                  <a:lnTo>
                    <a:pt x="37" y="159"/>
                  </a:lnTo>
                  <a:lnTo>
                    <a:pt x="37" y="155"/>
                  </a:lnTo>
                  <a:lnTo>
                    <a:pt x="37" y="152"/>
                  </a:lnTo>
                  <a:lnTo>
                    <a:pt x="38" y="150"/>
                  </a:lnTo>
                  <a:lnTo>
                    <a:pt x="40" y="148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3" y="145"/>
                  </a:lnTo>
                  <a:lnTo>
                    <a:pt x="45" y="144"/>
                  </a:lnTo>
                  <a:lnTo>
                    <a:pt x="47" y="144"/>
                  </a:lnTo>
                  <a:lnTo>
                    <a:pt x="53" y="143"/>
                  </a:lnTo>
                  <a:lnTo>
                    <a:pt x="59" y="143"/>
                  </a:lnTo>
                  <a:lnTo>
                    <a:pt x="62" y="143"/>
                  </a:lnTo>
                  <a:lnTo>
                    <a:pt x="64" y="143"/>
                  </a:lnTo>
                  <a:lnTo>
                    <a:pt x="68" y="143"/>
                  </a:lnTo>
                  <a:lnTo>
                    <a:pt x="72" y="145"/>
                  </a:lnTo>
                  <a:lnTo>
                    <a:pt x="74" y="145"/>
                  </a:lnTo>
                  <a:lnTo>
                    <a:pt x="77" y="145"/>
                  </a:lnTo>
                  <a:lnTo>
                    <a:pt x="79" y="145"/>
                  </a:lnTo>
                  <a:lnTo>
                    <a:pt x="82" y="145"/>
                  </a:lnTo>
                  <a:lnTo>
                    <a:pt x="84" y="144"/>
                  </a:lnTo>
                  <a:lnTo>
                    <a:pt x="97" y="139"/>
                  </a:lnTo>
                  <a:lnTo>
                    <a:pt x="99" y="138"/>
                  </a:lnTo>
                  <a:lnTo>
                    <a:pt x="103" y="138"/>
                  </a:lnTo>
                  <a:lnTo>
                    <a:pt x="107" y="137"/>
                  </a:lnTo>
                  <a:lnTo>
                    <a:pt x="117" y="135"/>
                  </a:lnTo>
                  <a:lnTo>
                    <a:pt x="137" y="133"/>
                  </a:lnTo>
                  <a:lnTo>
                    <a:pt x="140" y="133"/>
                  </a:lnTo>
                  <a:lnTo>
                    <a:pt x="147" y="132"/>
                  </a:lnTo>
                  <a:lnTo>
                    <a:pt x="149" y="132"/>
                  </a:lnTo>
                  <a:lnTo>
                    <a:pt x="154" y="131"/>
                  </a:lnTo>
                  <a:lnTo>
                    <a:pt x="158" y="132"/>
                  </a:lnTo>
                  <a:lnTo>
                    <a:pt x="164" y="132"/>
                  </a:lnTo>
                  <a:lnTo>
                    <a:pt x="174" y="133"/>
                  </a:lnTo>
                  <a:lnTo>
                    <a:pt x="178" y="134"/>
                  </a:lnTo>
                  <a:lnTo>
                    <a:pt x="182" y="134"/>
                  </a:lnTo>
                  <a:lnTo>
                    <a:pt x="190" y="133"/>
                  </a:lnTo>
                  <a:lnTo>
                    <a:pt x="192" y="133"/>
                  </a:lnTo>
                  <a:lnTo>
                    <a:pt x="194" y="133"/>
                  </a:lnTo>
                  <a:lnTo>
                    <a:pt x="207" y="133"/>
                  </a:lnTo>
                  <a:lnTo>
                    <a:pt x="209" y="134"/>
                  </a:lnTo>
                  <a:lnTo>
                    <a:pt x="211" y="135"/>
                  </a:lnTo>
                  <a:lnTo>
                    <a:pt x="213" y="135"/>
                  </a:lnTo>
                  <a:lnTo>
                    <a:pt x="214" y="136"/>
                  </a:lnTo>
                  <a:lnTo>
                    <a:pt x="221" y="142"/>
                  </a:lnTo>
                  <a:lnTo>
                    <a:pt x="227" y="146"/>
                  </a:lnTo>
                  <a:lnTo>
                    <a:pt x="233" y="151"/>
                  </a:lnTo>
                  <a:lnTo>
                    <a:pt x="236" y="153"/>
                  </a:lnTo>
                  <a:lnTo>
                    <a:pt x="237" y="154"/>
                  </a:lnTo>
                  <a:lnTo>
                    <a:pt x="239" y="154"/>
                  </a:lnTo>
                  <a:lnTo>
                    <a:pt x="239" y="154"/>
                  </a:lnTo>
                  <a:lnTo>
                    <a:pt x="241" y="154"/>
                  </a:lnTo>
                  <a:lnTo>
                    <a:pt x="242" y="153"/>
                  </a:lnTo>
                  <a:lnTo>
                    <a:pt x="244" y="150"/>
                  </a:lnTo>
                  <a:lnTo>
                    <a:pt x="245" y="149"/>
                  </a:lnTo>
                  <a:lnTo>
                    <a:pt x="247" y="148"/>
                  </a:lnTo>
                  <a:lnTo>
                    <a:pt x="247" y="145"/>
                  </a:lnTo>
                  <a:lnTo>
                    <a:pt x="248" y="144"/>
                  </a:lnTo>
                  <a:lnTo>
                    <a:pt x="249" y="143"/>
                  </a:lnTo>
                  <a:lnTo>
                    <a:pt x="249" y="141"/>
                  </a:lnTo>
                  <a:lnTo>
                    <a:pt x="249" y="140"/>
                  </a:lnTo>
                  <a:lnTo>
                    <a:pt x="247" y="138"/>
                  </a:lnTo>
                  <a:lnTo>
                    <a:pt x="247" y="136"/>
                  </a:lnTo>
                  <a:lnTo>
                    <a:pt x="247" y="135"/>
                  </a:lnTo>
                  <a:lnTo>
                    <a:pt x="248" y="133"/>
                  </a:lnTo>
                  <a:lnTo>
                    <a:pt x="248" y="132"/>
                  </a:lnTo>
                  <a:lnTo>
                    <a:pt x="248" y="131"/>
                  </a:lnTo>
                  <a:lnTo>
                    <a:pt x="248" y="130"/>
                  </a:lnTo>
                  <a:lnTo>
                    <a:pt x="245" y="125"/>
                  </a:lnTo>
                  <a:lnTo>
                    <a:pt x="242" y="120"/>
                  </a:lnTo>
                  <a:lnTo>
                    <a:pt x="241" y="119"/>
                  </a:lnTo>
                  <a:lnTo>
                    <a:pt x="240" y="118"/>
                  </a:lnTo>
                  <a:lnTo>
                    <a:pt x="239" y="115"/>
                  </a:lnTo>
                  <a:lnTo>
                    <a:pt x="239" y="113"/>
                  </a:lnTo>
                  <a:lnTo>
                    <a:pt x="239" y="110"/>
                  </a:lnTo>
                  <a:lnTo>
                    <a:pt x="237" y="105"/>
                  </a:lnTo>
                  <a:lnTo>
                    <a:pt x="237" y="102"/>
                  </a:lnTo>
                  <a:lnTo>
                    <a:pt x="237" y="100"/>
                  </a:lnTo>
                  <a:lnTo>
                    <a:pt x="237" y="98"/>
                  </a:lnTo>
                  <a:lnTo>
                    <a:pt x="238" y="94"/>
                  </a:lnTo>
                  <a:lnTo>
                    <a:pt x="239" y="92"/>
                  </a:lnTo>
                  <a:lnTo>
                    <a:pt x="239" y="89"/>
                  </a:lnTo>
                  <a:lnTo>
                    <a:pt x="242" y="83"/>
                  </a:lnTo>
                  <a:lnTo>
                    <a:pt x="244" y="82"/>
                  </a:lnTo>
                  <a:lnTo>
                    <a:pt x="246" y="79"/>
                  </a:lnTo>
                  <a:lnTo>
                    <a:pt x="247" y="78"/>
                  </a:lnTo>
                  <a:lnTo>
                    <a:pt x="247" y="78"/>
                  </a:lnTo>
                  <a:lnTo>
                    <a:pt x="248" y="72"/>
                  </a:lnTo>
                  <a:lnTo>
                    <a:pt x="250" y="65"/>
                  </a:lnTo>
                  <a:lnTo>
                    <a:pt x="251" y="63"/>
                  </a:lnTo>
                  <a:lnTo>
                    <a:pt x="252" y="60"/>
                  </a:lnTo>
                  <a:lnTo>
                    <a:pt x="252" y="56"/>
                  </a:lnTo>
                  <a:lnTo>
                    <a:pt x="252" y="50"/>
                  </a:lnTo>
                  <a:lnTo>
                    <a:pt x="252" y="45"/>
                  </a:lnTo>
                  <a:lnTo>
                    <a:pt x="253" y="43"/>
                  </a:lnTo>
                  <a:lnTo>
                    <a:pt x="253" y="41"/>
                  </a:lnTo>
                  <a:lnTo>
                    <a:pt x="254" y="40"/>
                  </a:lnTo>
                  <a:lnTo>
                    <a:pt x="254" y="38"/>
                  </a:lnTo>
                  <a:lnTo>
                    <a:pt x="258" y="33"/>
                  </a:lnTo>
                  <a:lnTo>
                    <a:pt x="259" y="30"/>
                  </a:lnTo>
                  <a:lnTo>
                    <a:pt x="259" y="29"/>
                  </a:lnTo>
                  <a:lnTo>
                    <a:pt x="261" y="23"/>
                  </a:lnTo>
                  <a:lnTo>
                    <a:pt x="262" y="21"/>
                  </a:lnTo>
                  <a:lnTo>
                    <a:pt x="262" y="19"/>
                  </a:lnTo>
                  <a:lnTo>
                    <a:pt x="264" y="16"/>
                  </a:lnTo>
                  <a:lnTo>
                    <a:pt x="266" y="13"/>
                  </a:lnTo>
                  <a:lnTo>
                    <a:pt x="269" y="10"/>
                  </a:lnTo>
                  <a:lnTo>
                    <a:pt x="271" y="7"/>
                  </a:lnTo>
                  <a:lnTo>
                    <a:pt x="274" y="5"/>
                  </a:lnTo>
                  <a:lnTo>
                    <a:pt x="278" y="3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283" y="0"/>
                  </a:lnTo>
                  <a:lnTo>
                    <a:pt x="282" y="0"/>
                  </a:lnTo>
                  <a:close/>
                </a:path>
              </a:pathLst>
            </a:custGeom>
            <a:solidFill>
              <a:srgbClr val="EFF3FF"/>
            </a:solidFill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100">
              <a:extLst>
                <a:ext uri="{FF2B5EF4-FFF2-40B4-BE49-F238E27FC236}">
                  <a16:creationId xmlns:a16="http://schemas.microsoft.com/office/drawing/2014/main" id="{2FCD3343-1ECC-7EE1-0E3D-4185A659E3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1798" y="4524213"/>
              <a:ext cx="771525" cy="890588"/>
            </a:xfrm>
            <a:custGeom>
              <a:avLst/>
              <a:gdLst>
                <a:gd name="T0" fmla="*/ 124 w 486"/>
                <a:gd name="T1" fmla="*/ 32 h 561"/>
                <a:gd name="T2" fmla="*/ 141 w 486"/>
                <a:gd name="T3" fmla="*/ 45 h 561"/>
                <a:gd name="T4" fmla="*/ 177 w 486"/>
                <a:gd name="T5" fmla="*/ 42 h 561"/>
                <a:gd name="T6" fmla="*/ 246 w 486"/>
                <a:gd name="T7" fmla="*/ 40 h 561"/>
                <a:gd name="T8" fmla="*/ 264 w 486"/>
                <a:gd name="T9" fmla="*/ 18 h 561"/>
                <a:gd name="T10" fmla="*/ 291 w 486"/>
                <a:gd name="T11" fmla="*/ 0 h 561"/>
                <a:gd name="T12" fmla="*/ 319 w 486"/>
                <a:gd name="T13" fmla="*/ 6 h 561"/>
                <a:gd name="T14" fmla="*/ 346 w 486"/>
                <a:gd name="T15" fmla="*/ 27 h 561"/>
                <a:gd name="T16" fmla="*/ 362 w 486"/>
                <a:gd name="T17" fmla="*/ 47 h 561"/>
                <a:gd name="T18" fmla="*/ 395 w 486"/>
                <a:gd name="T19" fmla="*/ 47 h 561"/>
                <a:gd name="T20" fmla="*/ 428 w 486"/>
                <a:gd name="T21" fmla="*/ 35 h 561"/>
                <a:gd name="T22" fmla="*/ 431 w 486"/>
                <a:gd name="T23" fmla="*/ 17 h 561"/>
                <a:gd name="T24" fmla="*/ 459 w 486"/>
                <a:gd name="T25" fmla="*/ 27 h 561"/>
                <a:gd name="T26" fmla="*/ 485 w 486"/>
                <a:gd name="T27" fmla="*/ 50 h 561"/>
                <a:gd name="T28" fmla="*/ 470 w 486"/>
                <a:gd name="T29" fmla="*/ 82 h 561"/>
                <a:gd name="T30" fmla="*/ 473 w 486"/>
                <a:gd name="T31" fmla="*/ 117 h 561"/>
                <a:gd name="T32" fmla="*/ 485 w 486"/>
                <a:gd name="T33" fmla="*/ 145 h 561"/>
                <a:gd name="T34" fmla="*/ 479 w 486"/>
                <a:gd name="T35" fmla="*/ 184 h 561"/>
                <a:gd name="T36" fmla="*/ 469 w 486"/>
                <a:gd name="T37" fmla="*/ 213 h 561"/>
                <a:gd name="T38" fmla="*/ 471 w 486"/>
                <a:gd name="T39" fmla="*/ 252 h 561"/>
                <a:gd name="T40" fmla="*/ 463 w 486"/>
                <a:gd name="T41" fmla="*/ 281 h 561"/>
                <a:gd name="T42" fmla="*/ 444 w 486"/>
                <a:gd name="T43" fmla="*/ 302 h 561"/>
                <a:gd name="T44" fmla="*/ 421 w 486"/>
                <a:gd name="T45" fmla="*/ 332 h 561"/>
                <a:gd name="T46" fmla="*/ 411 w 486"/>
                <a:gd name="T47" fmla="*/ 327 h 561"/>
                <a:gd name="T48" fmla="*/ 396 w 486"/>
                <a:gd name="T49" fmla="*/ 345 h 561"/>
                <a:gd name="T50" fmla="*/ 369 w 486"/>
                <a:gd name="T51" fmla="*/ 361 h 561"/>
                <a:gd name="T52" fmla="*/ 364 w 486"/>
                <a:gd name="T53" fmla="*/ 391 h 561"/>
                <a:gd name="T54" fmla="*/ 376 w 486"/>
                <a:gd name="T55" fmla="*/ 441 h 561"/>
                <a:gd name="T56" fmla="*/ 380 w 486"/>
                <a:gd name="T57" fmla="*/ 459 h 561"/>
                <a:gd name="T58" fmla="*/ 341 w 486"/>
                <a:gd name="T59" fmla="*/ 449 h 561"/>
                <a:gd name="T60" fmla="*/ 328 w 486"/>
                <a:gd name="T61" fmla="*/ 460 h 561"/>
                <a:gd name="T62" fmla="*/ 333 w 486"/>
                <a:gd name="T63" fmla="*/ 504 h 561"/>
                <a:gd name="T64" fmla="*/ 321 w 486"/>
                <a:gd name="T65" fmla="*/ 532 h 561"/>
                <a:gd name="T66" fmla="*/ 305 w 486"/>
                <a:gd name="T67" fmla="*/ 561 h 561"/>
                <a:gd name="T68" fmla="*/ 254 w 486"/>
                <a:gd name="T69" fmla="*/ 555 h 561"/>
                <a:gd name="T70" fmla="*/ 229 w 486"/>
                <a:gd name="T71" fmla="*/ 536 h 561"/>
                <a:gd name="T72" fmla="*/ 204 w 486"/>
                <a:gd name="T73" fmla="*/ 515 h 561"/>
                <a:gd name="T74" fmla="*/ 169 w 486"/>
                <a:gd name="T75" fmla="*/ 505 h 561"/>
                <a:gd name="T76" fmla="*/ 148 w 486"/>
                <a:gd name="T77" fmla="*/ 487 h 561"/>
                <a:gd name="T78" fmla="*/ 124 w 486"/>
                <a:gd name="T79" fmla="*/ 447 h 561"/>
                <a:gd name="T80" fmla="*/ 100 w 486"/>
                <a:gd name="T81" fmla="*/ 416 h 561"/>
                <a:gd name="T82" fmla="*/ 89 w 486"/>
                <a:gd name="T83" fmla="*/ 379 h 561"/>
                <a:gd name="T84" fmla="*/ 54 w 486"/>
                <a:gd name="T85" fmla="*/ 328 h 561"/>
                <a:gd name="T86" fmla="*/ 55 w 486"/>
                <a:gd name="T87" fmla="*/ 288 h 561"/>
                <a:gd name="T88" fmla="*/ 67 w 486"/>
                <a:gd name="T89" fmla="*/ 257 h 561"/>
                <a:gd name="T90" fmla="*/ 68 w 486"/>
                <a:gd name="T91" fmla="*/ 235 h 561"/>
                <a:gd name="T92" fmla="*/ 54 w 486"/>
                <a:gd name="T93" fmla="*/ 217 h 561"/>
                <a:gd name="T94" fmla="*/ 50 w 486"/>
                <a:gd name="T95" fmla="*/ 187 h 561"/>
                <a:gd name="T96" fmla="*/ 43 w 486"/>
                <a:gd name="T97" fmla="*/ 167 h 561"/>
                <a:gd name="T98" fmla="*/ 63 w 486"/>
                <a:gd name="T99" fmla="*/ 150 h 561"/>
                <a:gd name="T100" fmla="*/ 68 w 486"/>
                <a:gd name="T101" fmla="*/ 132 h 561"/>
                <a:gd name="T102" fmla="*/ 52 w 486"/>
                <a:gd name="T103" fmla="*/ 120 h 561"/>
                <a:gd name="T104" fmla="*/ 52 w 486"/>
                <a:gd name="T105" fmla="*/ 110 h 561"/>
                <a:gd name="T106" fmla="*/ 33 w 486"/>
                <a:gd name="T107" fmla="*/ 97 h 561"/>
                <a:gd name="T108" fmla="*/ 3 w 486"/>
                <a:gd name="T109" fmla="*/ 85 h 561"/>
                <a:gd name="T110" fmla="*/ 12 w 486"/>
                <a:gd name="T111" fmla="*/ 70 h 561"/>
                <a:gd name="T112" fmla="*/ 42 w 486"/>
                <a:gd name="T113" fmla="*/ 63 h 561"/>
                <a:gd name="T114" fmla="*/ 59 w 486"/>
                <a:gd name="T115" fmla="*/ 54 h 561"/>
                <a:gd name="T116" fmla="*/ 73 w 486"/>
                <a:gd name="T117" fmla="*/ 30 h 561"/>
                <a:gd name="T118" fmla="*/ 108 w 486"/>
                <a:gd name="T119" fmla="*/ 5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86" h="561">
                  <a:moveTo>
                    <a:pt x="120" y="1"/>
                  </a:moveTo>
                  <a:lnTo>
                    <a:pt x="120" y="2"/>
                  </a:lnTo>
                  <a:lnTo>
                    <a:pt x="122" y="2"/>
                  </a:lnTo>
                  <a:lnTo>
                    <a:pt x="122" y="4"/>
                  </a:lnTo>
                  <a:lnTo>
                    <a:pt x="122" y="5"/>
                  </a:lnTo>
                  <a:lnTo>
                    <a:pt x="123" y="9"/>
                  </a:lnTo>
                  <a:lnTo>
                    <a:pt x="123" y="21"/>
                  </a:lnTo>
                  <a:lnTo>
                    <a:pt x="124" y="27"/>
                  </a:lnTo>
                  <a:lnTo>
                    <a:pt x="124" y="30"/>
                  </a:lnTo>
                  <a:lnTo>
                    <a:pt x="124" y="32"/>
                  </a:lnTo>
                  <a:lnTo>
                    <a:pt x="125" y="35"/>
                  </a:lnTo>
                  <a:lnTo>
                    <a:pt x="126" y="37"/>
                  </a:lnTo>
                  <a:lnTo>
                    <a:pt x="127" y="38"/>
                  </a:lnTo>
                  <a:lnTo>
                    <a:pt x="128" y="40"/>
                  </a:lnTo>
                  <a:lnTo>
                    <a:pt x="129" y="41"/>
                  </a:lnTo>
                  <a:lnTo>
                    <a:pt x="132" y="42"/>
                  </a:lnTo>
                  <a:lnTo>
                    <a:pt x="134" y="44"/>
                  </a:lnTo>
                  <a:lnTo>
                    <a:pt x="136" y="45"/>
                  </a:lnTo>
                  <a:lnTo>
                    <a:pt x="138" y="45"/>
                  </a:lnTo>
                  <a:lnTo>
                    <a:pt x="141" y="45"/>
                  </a:lnTo>
                  <a:lnTo>
                    <a:pt x="144" y="46"/>
                  </a:lnTo>
                  <a:lnTo>
                    <a:pt x="148" y="45"/>
                  </a:lnTo>
                  <a:lnTo>
                    <a:pt x="150" y="45"/>
                  </a:lnTo>
                  <a:lnTo>
                    <a:pt x="154" y="44"/>
                  </a:lnTo>
                  <a:lnTo>
                    <a:pt x="157" y="43"/>
                  </a:lnTo>
                  <a:lnTo>
                    <a:pt x="159" y="44"/>
                  </a:lnTo>
                  <a:lnTo>
                    <a:pt x="164" y="45"/>
                  </a:lnTo>
                  <a:lnTo>
                    <a:pt x="168" y="45"/>
                  </a:lnTo>
                  <a:lnTo>
                    <a:pt x="171" y="45"/>
                  </a:lnTo>
                  <a:lnTo>
                    <a:pt x="177" y="42"/>
                  </a:lnTo>
                  <a:lnTo>
                    <a:pt x="180" y="42"/>
                  </a:lnTo>
                  <a:lnTo>
                    <a:pt x="185" y="42"/>
                  </a:lnTo>
                  <a:lnTo>
                    <a:pt x="195" y="42"/>
                  </a:lnTo>
                  <a:lnTo>
                    <a:pt x="199" y="42"/>
                  </a:lnTo>
                  <a:lnTo>
                    <a:pt x="212" y="42"/>
                  </a:lnTo>
                  <a:lnTo>
                    <a:pt x="222" y="41"/>
                  </a:lnTo>
                  <a:lnTo>
                    <a:pt x="232" y="40"/>
                  </a:lnTo>
                  <a:lnTo>
                    <a:pt x="236" y="40"/>
                  </a:lnTo>
                  <a:lnTo>
                    <a:pt x="240" y="40"/>
                  </a:lnTo>
                  <a:lnTo>
                    <a:pt x="246" y="40"/>
                  </a:lnTo>
                  <a:lnTo>
                    <a:pt x="247" y="40"/>
                  </a:lnTo>
                  <a:lnTo>
                    <a:pt x="249" y="40"/>
                  </a:lnTo>
                  <a:lnTo>
                    <a:pt x="250" y="39"/>
                  </a:lnTo>
                  <a:lnTo>
                    <a:pt x="251" y="37"/>
                  </a:lnTo>
                  <a:lnTo>
                    <a:pt x="253" y="36"/>
                  </a:lnTo>
                  <a:lnTo>
                    <a:pt x="254" y="35"/>
                  </a:lnTo>
                  <a:lnTo>
                    <a:pt x="256" y="30"/>
                  </a:lnTo>
                  <a:lnTo>
                    <a:pt x="260" y="26"/>
                  </a:lnTo>
                  <a:lnTo>
                    <a:pt x="262" y="22"/>
                  </a:lnTo>
                  <a:lnTo>
                    <a:pt x="264" y="18"/>
                  </a:lnTo>
                  <a:lnTo>
                    <a:pt x="267" y="12"/>
                  </a:lnTo>
                  <a:lnTo>
                    <a:pt x="269" y="10"/>
                  </a:lnTo>
                  <a:lnTo>
                    <a:pt x="270" y="8"/>
                  </a:lnTo>
                  <a:lnTo>
                    <a:pt x="272" y="6"/>
                  </a:lnTo>
                  <a:lnTo>
                    <a:pt x="274" y="5"/>
                  </a:lnTo>
                  <a:lnTo>
                    <a:pt x="276" y="4"/>
                  </a:lnTo>
                  <a:lnTo>
                    <a:pt x="277" y="4"/>
                  </a:lnTo>
                  <a:lnTo>
                    <a:pt x="279" y="3"/>
                  </a:lnTo>
                  <a:lnTo>
                    <a:pt x="287" y="1"/>
                  </a:lnTo>
                  <a:lnTo>
                    <a:pt x="291" y="0"/>
                  </a:lnTo>
                  <a:lnTo>
                    <a:pt x="294" y="0"/>
                  </a:lnTo>
                  <a:lnTo>
                    <a:pt x="299" y="0"/>
                  </a:lnTo>
                  <a:lnTo>
                    <a:pt x="301" y="0"/>
                  </a:lnTo>
                  <a:lnTo>
                    <a:pt x="303" y="0"/>
                  </a:lnTo>
                  <a:lnTo>
                    <a:pt x="306" y="0"/>
                  </a:lnTo>
                  <a:lnTo>
                    <a:pt x="309" y="1"/>
                  </a:lnTo>
                  <a:lnTo>
                    <a:pt x="311" y="2"/>
                  </a:lnTo>
                  <a:lnTo>
                    <a:pt x="314" y="4"/>
                  </a:lnTo>
                  <a:lnTo>
                    <a:pt x="316" y="5"/>
                  </a:lnTo>
                  <a:lnTo>
                    <a:pt x="319" y="6"/>
                  </a:lnTo>
                  <a:lnTo>
                    <a:pt x="321" y="7"/>
                  </a:lnTo>
                  <a:lnTo>
                    <a:pt x="322" y="10"/>
                  </a:lnTo>
                  <a:lnTo>
                    <a:pt x="324" y="12"/>
                  </a:lnTo>
                  <a:lnTo>
                    <a:pt x="328" y="17"/>
                  </a:lnTo>
                  <a:lnTo>
                    <a:pt x="329" y="19"/>
                  </a:lnTo>
                  <a:lnTo>
                    <a:pt x="331" y="20"/>
                  </a:lnTo>
                  <a:lnTo>
                    <a:pt x="333" y="22"/>
                  </a:lnTo>
                  <a:lnTo>
                    <a:pt x="335" y="22"/>
                  </a:lnTo>
                  <a:lnTo>
                    <a:pt x="341" y="25"/>
                  </a:lnTo>
                  <a:lnTo>
                    <a:pt x="346" y="27"/>
                  </a:lnTo>
                  <a:lnTo>
                    <a:pt x="349" y="29"/>
                  </a:lnTo>
                  <a:lnTo>
                    <a:pt x="351" y="30"/>
                  </a:lnTo>
                  <a:lnTo>
                    <a:pt x="353" y="32"/>
                  </a:lnTo>
                  <a:lnTo>
                    <a:pt x="356" y="35"/>
                  </a:lnTo>
                  <a:lnTo>
                    <a:pt x="357" y="37"/>
                  </a:lnTo>
                  <a:lnTo>
                    <a:pt x="358" y="37"/>
                  </a:lnTo>
                  <a:lnTo>
                    <a:pt x="359" y="40"/>
                  </a:lnTo>
                  <a:lnTo>
                    <a:pt x="361" y="45"/>
                  </a:lnTo>
                  <a:lnTo>
                    <a:pt x="361" y="46"/>
                  </a:lnTo>
                  <a:lnTo>
                    <a:pt x="362" y="47"/>
                  </a:lnTo>
                  <a:lnTo>
                    <a:pt x="364" y="47"/>
                  </a:lnTo>
                  <a:lnTo>
                    <a:pt x="364" y="48"/>
                  </a:lnTo>
                  <a:lnTo>
                    <a:pt x="366" y="49"/>
                  </a:lnTo>
                  <a:lnTo>
                    <a:pt x="380" y="51"/>
                  </a:lnTo>
                  <a:lnTo>
                    <a:pt x="382" y="51"/>
                  </a:lnTo>
                  <a:lnTo>
                    <a:pt x="384" y="50"/>
                  </a:lnTo>
                  <a:lnTo>
                    <a:pt x="391" y="49"/>
                  </a:lnTo>
                  <a:lnTo>
                    <a:pt x="391" y="48"/>
                  </a:lnTo>
                  <a:lnTo>
                    <a:pt x="393" y="48"/>
                  </a:lnTo>
                  <a:lnTo>
                    <a:pt x="395" y="47"/>
                  </a:lnTo>
                  <a:lnTo>
                    <a:pt x="404" y="40"/>
                  </a:lnTo>
                  <a:lnTo>
                    <a:pt x="406" y="39"/>
                  </a:lnTo>
                  <a:lnTo>
                    <a:pt x="409" y="37"/>
                  </a:lnTo>
                  <a:lnTo>
                    <a:pt x="412" y="36"/>
                  </a:lnTo>
                  <a:lnTo>
                    <a:pt x="415" y="35"/>
                  </a:lnTo>
                  <a:lnTo>
                    <a:pt x="418" y="35"/>
                  </a:lnTo>
                  <a:lnTo>
                    <a:pt x="421" y="35"/>
                  </a:lnTo>
                  <a:lnTo>
                    <a:pt x="426" y="35"/>
                  </a:lnTo>
                  <a:lnTo>
                    <a:pt x="427" y="35"/>
                  </a:lnTo>
                  <a:lnTo>
                    <a:pt x="428" y="35"/>
                  </a:lnTo>
                  <a:lnTo>
                    <a:pt x="429" y="35"/>
                  </a:lnTo>
                  <a:lnTo>
                    <a:pt x="429" y="34"/>
                  </a:lnTo>
                  <a:lnTo>
                    <a:pt x="429" y="33"/>
                  </a:lnTo>
                  <a:lnTo>
                    <a:pt x="429" y="32"/>
                  </a:lnTo>
                  <a:lnTo>
                    <a:pt x="429" y="29"/>
                  </a:lnTo>
                  <a:lnTo>
                    <a:pt x="429" y="22"/>
                  </a:lnTo>
                  <a:lnTo>
                    <a:pt x="429" y="20"/>
                  </a:lnTo>
                  <a:lnTo>
                    <a:pt x="430" y="20"/>
                  </a:lnTo>
                  <a:lnTo>
                    <a:pt x="431" y="18"/>
                  </a:lnTo>
                  <a:lnTo>
                    <a:pt x="431" y="17"/>
                  </a:lnTo>
                  <a:lnTo>
                    <a:pt x="433" y="17"/>
                  </a:lnTo>
                  <a:lnTo>
                    <a:pt x="434" y="16"/>
                  </a:lnTo>
                  <a:lnTo>
                    <a:pt x="435" y="16"/>
                  </a:lnTo>
                  <a:lnTo>
                    <a:pt x="436" y="17"/>
                  </a:lnTo>
                  <a:lnTo>
                    <a:pt x="439" y="17"/>
                  </a:lnTo>
                  <a:lnTo>
                    <a:pt x="441" y="19"/>
                  </a:lnTo>
                  <a:lnTo>
                    <a:pt x="446" y="22"/>
                  </a:lnTo>
                  <a:lnTo>
                    <a:pt x="449" y="24"/>
                  </a:lnTo>
                  <a:lnTo>
                    <a:pt x="456" y="27"/>
                  </a:lnTo>
                  <a:lnTo>
                    <a:pt x="459" y="27"/>
                  </a:lnTo>
                  <a:lnTo>
                    <a:pt x="461" y="29"/>
                  </a:lnTo>
                  <a:lnTo>
                    <a:pt x="463" y="30"/>
                  </a:lnTo>
                  <a:lnTo>
                    <a:pt x="466" y="33"/>
                  </a:lnTo>
                  <a:lnTo>
                    <a:pt x="473" y="37"/>
                  </a:lnTo>
                  <a:lnTo>
                    <a:pt x="480" y="44"/>
                  </a:lnTo>
                  <a:lnTo>
                    <a:pt x="484" y="47"/>
                  </a:lnTo>
                  <a:lnTo>
                    <a:pt x="484" y="47"/>
                  </a:lnTo>
                  <a:lnTo>
                    <a:pt x="485" y="48"/>
                  </a:lnTo>
                  <a:lnTo>
                    <a:pt x="485" y="49"/>
                  </a:lnTo>
                  <a:lnTo>
                    <a:pt x="485" y="50"/>
                  </a:lnTo>
                  <a:lnTo>
                    <a:pt x="484" y="53"/>
                  </a:lnTo>
                  <a:lnTo>
                    <a:pt x="483" y="55"/>
                  </a:lnTo>
                  <a:lnTo>
                    <a:pt x="482" y="59"/>
                  </a:lnTo>
                  <a:lnTo>
                    <a:pt x="478" y="65"/>
                  </a:lnTo>
                  <a:lnTo>
                    <a:pt x="476" y="70"/>
                  </a:lnTo>
                  <a:lnTo>
                    <a:pt x="473" y="74"/>
                  </a:lnTo>
                  <a:lnTo>
                    <a:pt x="471" y="76"/>
                  </a:lnTo>
                  <a:lnTo>
                    <a:pt x="471" y="78"/>
                  </a:lnTo>
                  <a:lnTo>
                    <a:pt x="470" y="80"/>
                  </a:lnTo>
                  <a:lnTo>
                    <a:pt x="470" y="82"/>
                  </a:lnTo>
                  <a:lnTo>
                    <a:pt x="469" y="85"/>
                  </a:lnTo>
                  <a:lnTo>
                    <a:pt x="470" y="86"/>
                  </a:lnTo>
                  <a:lnTo>
                    <a:pt x="470" y="88"/>
                  </a:lnTo>
                  <a:lnTo>
                    <a:pt x="471" y="95"/>
                  </a:lnTo>
                  <a:lnTo>
                    <a:pt x="472" y="97"/>
                  </a:lnTo>
                  <a:lnTo>
                    <a:pt x="472" y="102"/>
                  </a:lnTo>
                  <a:lnTo>
                    <a:pt x="471" y="109"/>
                  </a:lnTo>
                  <a:lnTo>
                    <a:pt x="472" y="113"/>
                  </a:lnTo>
                  <a:lnTo>
                    <a:pt x="473" y="116"/>
                  </a:lnTo>
                  <a:lnTo>
                    <a:pt x="473" y="117"/>
                  </a:lnTo>
                  <a:lnTo>
                    <a:pt x="474" y="120"/>
                  </a:lnTo>
                  <a:lnTo>
                    <a:pt x="476" y="123"/>
                  </a:lnTo>
                  <a:lnTo>
                    <a:pt x="478" y="125"/>
                  </a:lnTo>
                  <a:lnTo>
                    <a:pt x="482" y="131"/>
                  </a:lnTo>
                  <a:lnTo>
                    <a:pt x="483" y="133"/>
                  </a:lnTo>
                  <a:lnTo>
                    <a:pt x="485" y="136"/>
                  </a:lnTo>
                  <a:lnTo>
                    <a:pt x="486" y="138"/>
                  </a:lnTo>
                  <a:lnTo>
                    <a:pt x="486" y="140"/>
                  </a:lnTo>
                  <a:lnTo>
                    <a:pt x="486" y="142"/>
                  </a:lnTo>
                  <a:lnTo>
                    <a:pt x="485" y="145"/>
                  </a:lnTo>
                  <a:lnTo>
                    <a:pt x="484" y="149"/>
                  </a:lnTo>
                  <a:lnTo>
                    <a:pt x="483" y="151"/>
                  </a:lnTo>
                  <a:lnTo>
                    <a:pt x="483" y="154"/>
                  </a:lnTo>
                  <a:lnTo>
                    <a:pt x="483" y="161"/>
                  </a:lnTo>
                  <a:lnTo>
                    <a:pt x="483" y="165"/>
                  </a:lnTo>
                  <a:lnTo>
                    <a:pt x="483" y="167"/>
                  </a:lnTo>
                  <a:lnTo>
                    <a:pt x="481" y="173"/>
                  </a:lnTo>
                  <a:lnTo>
                    <a:pt x="481" y="177"/>
                  </a:lnTo>
                  <a:lnTo>
                    <a:pt x="480" y="179"/>
                  </a:lnTo>
                  <a:lnTo>
                    <a:pt x="479" y="184"/>
                  </a:lnTo>
                  <a:lnTo>
                    <a:pt x="479" y="192"/>
                  </a:lnTo>
                  <a:lnTo>
                    <a:pt x="479" y="196"/>
                  </a:lnTo>
                  <a:lnTo>
                    <a:pt x="478" y="200"/>
                  </a:lnTo>
                  <a:lnTo>
                    <a:pt x="478" y="202"/>
                  </a:lnTo>
                  <a:lnTo>
                    <a:pt x="476" y="205"/>
                  </a:lnTo>
                  <a:lnTo>
                    <a:pt x="475" y="207"/>
                  </a:lnTo>
                  <a:lnTo>
                    <a:pt x="474" y="209"/>
                  </a:lnTo>
                  <a:lnTo>
                    <a:pt x="473" y="210"/>
                  </a:lnTo>
                  <a:lnTo>
                    <a:pt x="471" y="212"/>
                  </a:lnTo>
                  <a:lnTo>
                    <a:pt x="469" y="213"/>
                  </a:lnTo>
                  <a:lnTo>
                    <a:pt x="462" y="217"/>
                  </a:lnTo>
                  <a:lnTo>
                    <a:pt x="461" y="218"/>
                  </a:lnTo>
                  <a:lnTo>
                    <a:pt x="461" y="219"/>
                  </a:lnTo>
                  <a:lnTo>
                    <a:pt x="461" y="220"/>
                  </a:lnTo>
                  <a:lnTo>
                    <a:pt x="461" y="222"/>
                  </a:lnTo>
                  <a:lnTo>
                    <a:pt x="461" y="224"/>
                  </a:lnTo>
                  <a:lnTo>
                    <a:pt x="466" y="235"/>
                  </a:lnTo>
                  <a:lnTo>
                    <a:pt x="467" y="239"/>
                  </a:lnTo>
                  <a:lnTo>
                    <a:pt x="470" y="247"/>
                  </a:lnTo>
                  <a:lnTo>
                    <a:pt x="471" y="252"/>
                  </a:lnTo>
                  <a:lnTo>
                    <a:pt x="471" y="257"/>
                  </a:lnTo>
                  <a:lnTo>
                    <a:pt x="471" y="261"/>
                  </a:lnTo>
                  <a:lnTo>
                    <a:pt x="471" y="266"/>
                  </a:lnTo>
                  <a:lnTo>
                    <a:pt x="471" y="270"/>
                  </a:lnTo>
                  <a:lnTo>
                    <a:pt x="470" y="272"/>
                  </a:lnTo>
                  <a:lnTo>
                    <a:pt x="469" y="275"/>
                  </a:lnTo>
                  <a:lnTo>
                    <a:pt x="467" y="278"/>
                  </a:lnTo>
                  <a:lnTo>
                    <a:pt x="465" y="279"/>
                  </a:lnTo>
                  <a:lnTo>
                    <a:pt x="464" y="280"/>
                  </a:lnTo>
                  <a:lnTo>
                    <a:pt x="463" y="281"/>
                  </a:lnTo>
                  <a:lnTo>
                    <a:pt x="458" y="282"/>
                  </a:lnTo>
                  <a:lnTo>
                    <a:pt x="455" y="284"/>
                  </a:lnTo>
                  <a:lnTo>
                    <a:pt x="453" y="285"/>
                  </a:lnTo>
                  <a:lnTo>
                    <a:pt x="451" y="286"/>
                  </a:lnTo>
                  <a:lnTo>
                    <a:pt x="450" y="287"/>
                  </a:lnTo>
                  <a:lnTo>
                    <a:pt x="449" y="288"/>
                  </a:lnTo>
                  <a:lnTo>
                    <a:pt x="447" y="290"/>
                  </a:lnTo>
                  <a:lnTo>
                    <a:pt x="446" y="293"/>
                  </a:lnTo>
                  <a:lnTo>
                    <a:pt x="445" y="297"/>
                  </a:lnTo>
                  <a:lnTo>
                    <a:pt x="444" y="302"/>
                  </a:lnTo>
                  <a:lnTo>
                    <a:pt x="444" y="304"/>
                  </a:lnTo>
                  <a:lnTo>
                    <a:pt x="443" y="307"/>
                  </a:lnTo>
                  <a:lnTo>
                    <a:pt x="441" y="309"/>
                  </a:lnTo>
                  <a:lnTo>
                    <a:pt x="438" y="314"/>
                  </a:lnTo>
                  <a:lnTo>
                    <a:pt x="432" y="321"/>
                  </a:lnTo>
                  <a:lnTo>
                    <a:pt x="429" y="325"/>
                  </a:lnTo>
                  <a:lnTo>
                    <a:pt x="426" y="328"/>
                  </a:lnTo>
                  <a:lnTo>
                    <a:pt x="424" y="330"/>
                  </a:lnTo>
                  <a:lnTo>
                    <a:pt x="421" y="331"/>
                  </a:lnTo>
                  <a:lnTo>
                    <a:pt x="421" y="332"/>
                  </a:lnTo>
                  <a:lnTo>
                    <a:pt x="420" y="332"/>
                  </a:lnTo>
                  <a:lnTo>
                    <a:pt x="419" y="332"/>
                  </a:lnTo>
                  <a:lnTo>
                    <a:pt x="419" y="330"/>
                  </a:lnTo>
                  <a:lnTo>
                    <a:pt x="417" y="330"/>
                  </a:lnTo>
                  <a:lnTo>
                    <a:pt x="417" y="331"/>
                  </a:lnTo>
                  <a:lnTo>
                    <a:pt x="414" y="330"/>
                  </a:lnTo>
                  <a:lnTo>
                    <a:pt x="412" y="329"/>
                  </a:lnTo>
                  <a:lnTo>
                    <a:pt x="411" y="329"/>
                  </a:lnTo>
                  <a:lnTo>
                    <a:pt x="411" y="328"/>
                  </a:lnTo>
                  <a:lnTo>
                    <a:pt x="411" y="327"/>
                  </a:lnTo>
                  <a:lnTo>
                    <a:pt x="411" y="327"/>
                  </a:lnTo>
                  <a:lnTo>
                    <a:pt x="410" y="327"/>
                  </a:lnTo>
                  <a:lnTo>
                    <a:pt x="409" y="327"/>
                  </a:lnTo>
                  <a:lnTo>
                    <a:pt x="409" y="327"/>
                  </a:lnTo>
                  <a:lnTo>
                    <a:pt x="408" y="327"/>
                  </a:lnTo>
                  <a:lnTo>
                    <a:pt x="406" y="329"/>
                  </a:lnTo>
                  <a:lnTo>
                    <a:pt x="405" y="330"/>
                  </a:lnTo>
                  <a:lnTo>
                    <a:pt x="403" y="334"/>
                  </a:lnTo>
                  <a:lnTo>
                    <a:pt x="400" y="340"/>
                  </a:lnTo>
                  <a:lnTo>
                    <a:pt x="396" y="345"/>
                  </a:lnTo>
                  <a:lnTo>
                    <a:pt x="394" y="349"/>
                  </a:lnTo>
                  <a:lnTo>
                    <a:pt x="393" y="351"/>
                  </a:lnTo>
                  <a:lnTo>
                    <a:pt x="391" y="352"/>
                  </a:lnTo>
                  <a:lnTo>
                    <a:pt x="390" y="352"/>
                  </a:lnTo>
                  <a:lnTo>
                    <a:pt x="388" y="354"/>
                  </a:lnTo>
                  <a:lnTo>
                    <a:pt x="386" y="354"/>
                  </a:lnTo>
                  <a:lnTo>
                    <a:pt x="379" y="356"/>
                  </a:lnTo>
                  <a:lnTo>
                    <a:pt x="376" y="357"/>
                  </a:lnTo>
                  <a:lnTo>
                    <a:pt x="372" y="359"/>
                  </a:lnTo>
                  <a:lnTo>
                    <a:pt x="369" y="361"/>
                  </a:lnTo>
                  <a:lnTo>
                    <a:pt x="366" y="362"/>
                  </a:lnTo>
                  <a:lnTo>
                    <a:pt x="365" y="363"/>
                  </a:lnTo>
                  <a:lnTo>
                    <a:pt x="364" y="364"/>
                  </a:lnTo>
                  <a:lnTo>
                    <a:pt x="364" y="365"/>
                  </a:lnTo>
                  <a:lnTo>
                    <a:pt x="363" y="367"/>
                  </a:lnTo>
                  <a:lnTo>
                    <a:pt x="362" y="368"/>
                  </a:lnTo>
                  <a:lnTo>
                    <a:pt x="362" y="369"/>
                  </a:lnTo>
                  <a:lnTo>
                    <a:pt x="362" y="372"/>
                  </a:lnTo>
                  <a:lnTo>
                    <a:pt x="362" y="377"/>
                  </a:lnTo>
                  <a:lnTo>
                    <a:pt x="364" y="391"/>
                  </a:lnTo>
                  <a:lnTo>
                    <a:pt x="364" y="401"/>
                  </a:lnTo>
                  <a:lnTo>
                    <a:pt x="365" y="405"/>
                  </a:lnTo>
                  <a:lnTo>
                    <a:pt x="366" y="411"/>
                  </a:lnTo>
                  <a:lnTo>
                    <a:pt x="366" y="415"/>
                  </a:lnTo>
                  <a:lnTo>
                    <a:pt x="367" y="419"/>
                  </a:lnTo>
                  <a:lnTo>
                    <a:pt x="369" y="423"/>
                  </a:lnTo>
                  <a:lnTo>
                    <a:pt x="371" y="428"/>
                  </a:lnTo>
                  <a:lnTo>
                    <a:pt x="372" y="433"/>
                  </a:lnTo>
                  <a:lnTo>
                    <a:pt x="375" y="438"/>
                  </a:lnTo>
                  <a:lnTo>
                    <a:pt x="376" y="441"/>
                  </a:lnTo>
                  <a:lnTo>
                    <a:pt x="381" y="447"/>
                  </a:lnTo>
                  <a:lnTo>
                    <a:pt x="382" y="451"/>
                  </a:lnTo>
                  <a:lnTo>
                    <a:pt x="383" y="452"/>
                  </a:lnTo>
                  <a:lnTo>
                    <a:pt x="383" y="454"/>
                  </a:lnTo>
                  <a:lnTo>
                    <a:pt x="383" y="455"/>
                  </a:lnTo>
                  <a:lnTo>
                    <a:pt x="382" y="457"/>
                  </a:lnTo>
                  <a:lnTo>
                    <a:pt x="382" y="457"/>
                  </a:lnTo>
                  <a:lnTo>
                    <a:pt x="381" y="458"/>
                  </a:lnTo>
                  <a:lnTo>
                    <a:pt x="381" y="458"/>
                  </a:lnTo>
                  <a:lnTo>
                    <a:pt x="380" y="459"/>
                  </a:lnTo>
                  <a:lnTo>
                    <a:pt x="379" y="459"/>
                  </a:lnTo>
                  <a:lnTo>
                    <a:pt x="377" y="459"/>
                  </a:lnTo>
                  <a:lnTo>
                    <a:pt x="374" y="459"/>
                  </a:lnTo>
                  <a:lnTo>
                    <a:pt x="371" y="457"/>
                  </a:lnTo>
                  <a:lnTo>
                    <a:pt x="363" y="455"/>
                  </a:lnTo>
                  <a:lnTo>
                    <a:pt x="353" y="451"/>
                  </a:lnTo>
                  <a:lnTo>
                    <a:pt x="349" y="450"/>
                  </a:lnTo>
                  <a:lnTo>
                    <a:pt x="346" y="449"/>
                  </a:lnTo>
                  <a:lnTo>
                    <a:pt x="344" y="449"/>
                  </a:lnTo>
                  <a:lnTo>
                    <a:pt x="341" y="449"/>
                  </a:lnTo>
                  <a:lnTo>
                    <a:pt x="339" y="449"/>
                  </a:lnTo>
                  <a:lnTo>
                    <a:pt x="337" y="449"/>
                  </a:lnTo>
                  <a:lnTo>
                    <a:pt x="336" y="450"/>
                  </a:lnTo>
                  <a:lnTo>
                    <a:pt x="334" y="451"/>
                  </a:lnTo>
                  <a:lnTo>
                    <a:pt x="333" y="452"/>
                  </a:lnTo>
                  <a:lnTo>
                    <a:pt x="331" y="453"/>
                  </a:lnTo>
                  <a:lnTo>
                    <a:pt x="331" y="454"/>
                  </a:lnTo>
                  <a:lnTo>
                    <a:pt x="329" y="456"/>
                  </a:lnTo>
                  <a:lnTo>
                    <a:pt x="329" y="457"/>
                  </a:lnTo>
                  <a:lnTo>
                    <a:pt x="328" y="460"/>
                  </a:lnTo>
                  <a:lnTo>
                    <a:pt x="328" y="462"/>
                  </a:lnTo>
                  <a:lnTo>
                    <a:pt x="327" y="464"/>
                  </a:lnTo>
                  <a:lnTo>
                    <a:pt x="327" y="467"/>
                  </a:lnTo>
                  <a:lnTo>
                    <a:pt x="327" y="470"/>
                  </a:lnTo>
                  <a:lnTo>
                    <a:pt x="327" y="473"/>
                  </a:lnTo>
                  <a:lnTo>
                    <a:pt x="328" y="480"/>
                  </a:lnTo>
                  <a:lnTo>
                    <a:pt x="329" y="487"/>
                  </a:lnTo>
                  <a:lnTo>
                    <a:pt x="330" y="492"/>
                  </a:lnTo>
                  <a:lnTo>
                    <a:pt x="332" y="501"/>
                  </a:lnTo>
                  <a:lnTo>
                    <a:pt x="333" y="504"/>
                  </a:lnTo>
                  <a:lnTo>
                    <a:pt x="334" y="506"/>
                  </a:lnTo>
                  <a:lnTo>
                    <a:pt x="334" y="509"/>
                  </a:lnTo>
                  <a:lnTo>
                    <a:pt x="334" y="510"/>
                  </a:lnTo>
                  <a:lnTo>
                    <a:pt x="333" y="512"/>
                  </a:lnTo>
                  <a:lnTo>
                    <a:pt x="332" y="514"/>
                  </a:lnTo>
                  <a:lnTo>
                    <a:pt x="332" y="516"/>
                  </a:lnTo>
                  <a:lnTo>
                    <a:pt x="331" y="517"/>
                  </a:lnTo>
                  <a:lnTo>
                    <a:pt x="330" y="519"/>
                  </a:lnTo>
                  <a:lnTo>
                    <a:pt x="325" y="526"/>
                  </a:lnTo>
                  <a:lnTo>
                    <a:pt x="321" y="532"/>
                  </a:lnTo>
                  <a:lnTo>
                    <a:pt x="314" y="542"/>
                  </a:lnTo>
                  <a:lnTo>
                    <a:pt x="311" y="545"/>
                  </a:lnTo>
                  <a:lnTo>
                    <a:pt x="310" y="548"/>
                  </a:lnTo>
                  <a:lnTo>
                    <a:pt x="309" y="551"/>
                  </a:lnTo>
                  <a:lnTo>
                    <a:pt x="306" y="555"/>
                  </a:lnTo>
                  <a:lnTo>
                    <a:pt x="306" y="556"/>
                  </a:lnTo>
                  <a:lnTo>
                    <a:pt x="306" y="559"/>
                  </a:lnTo>
                  <a:lnTo>
                    <a:pt x="306" y="560"/>
                  </a:lnTo>
                  <a:lnTo>
                    <a:pt x="306" y="561"/>
                  </a:lnTo>
                  <a:lnTo>
                    <a:pt x="305" y="561"/>
                  </a:lnTo>
                  <a:lnTo>
                    <a:pt x="304" y="561"/>
                  </a:lnTo>
                  <a:lnTo>
                    <a:pt x="301" y="561"/>
                  </a:lnTo>
                  <a:lnTo>
                    <a:pt x="298" y="560"/>
                  </a:lnTo>
                  <a:lnTo>
                    <a:pt x="288" y="559"/>
                  </a:lnTo>
                  <a:lnTo>
                    <a:pt x="283" y="558"/>
                  </a:lnTo>
                  <a:lnTo>
                    <a:pt x="279" y="557"/>
                  </a:lnTo>
                  <a:lnTo>
                    <a:pt x="274" y="556"/>
                  </a:lnTo>
                  <a:lnTo>
                    <a:pt x="263" y="556"/>
                  </a:lnTo>
                  <a:lnTo>
                    <a:pt x="259" y="556"/>
                  </a:lnTo>
                  <a:lnTo>
                    <a:pt x="254" y="555"/>
                  </a:lnTo>
                  <a:lnTo>
                    <a:pt x="249" y="554"/>
                  </a:lnTo>
                  <a:lnTo>
                    <a:pt x="244" y="552"/>
                  </a:lnTo>
                  <a:lnTo>
                    <a:pt x="241" y="551"/>
                  </a:lnTo>
                  <a:lnTo>
                    <a:pt x="239" y="550"/>
                  </a:lnTo>
                  <a:lnTo>
                    <a:pt x="237" y="549"/>
                  </a:lnTo>
                  <a:lnTo>
                    <a:pt x="236" y="546"/>
                  </a:lnTo>
                  <a:lnTo>
                    <a:pt x="232" y="541"/>
                  </a:lnTo>
                  <a:lnTo>
                    <a:pt x="232" y="539"/>
                  </a:lnTo>
                  <a:lnTo>
                    <a:pt x="230" y="538"/>
                  </a:lnTo>
                  <a:lnTo>
                    <a:pt x="229" y="536"/>
                  </a:lnTo>
                  <a:lnTo>
                    <a:pt x="227" y="536"/>
                  </a:lnTo>
                  <a:lnTo>
                    <a:pt x="217" y="533"/>
                  </a:lnTo>
                  <a:lnTo>
                    <a:pt x="215" y="532"/>
                  </a:lnTo>
                  <a:lnTo>
                    <a:pt x="212" y="531"/>
                  </a:lnTo>
                  <a:lnTo>
                    <a:pt x="210" y="529"/>
                  </a:lnTo>
                  <a:lnTo>
                    <a:pt x="209" y="527"/>
                  </a:lnTo>
                  <a:lnTo>
                    <a:pt x="207" y="525"/>
                  </a:lnTo>
                  <a:lnTo>
                    <a:pt x="207" y="523"/>
                  </a:lnTo>
                  <a:lnTo>
                    <a:pt x="205" y="517"/>
                  </a:lnTo>
                  <a:lnTo>
                    <a:pt x="204" y="515"/>
                  </a:lnTo>
                  <a:lnTo>
                    <a:pt x="204" y="513"/>
                  </a:lnTo>
                  <a:lnTo>
                    <a:pt x="203" y="512"/>
                  </a:lnTo>
                  <a:lnTo>
                    <a:pt x="202" y="511"/>
                  </a:lnTo>
                  <a:lnTo>
                    <a:pt x="201" y="511"/>
                  </a:lnTo>
                  <a:lnTo>
                    <a:pt x="199" y="510"/>
                  </a:lnTo>
                  <a:lnTo>
                    <a:pt x="197" y="510"/>
                  </a:lnTo>
                  <a:lnTo>
                    <a:pt x="191" y="509"/>
                  </a:lnTo>
                  <a:lnTo>
                    <a:pt x="188" y="509"/>
                  </a:lnTo>
                  <a:lnTo>
                    <a:pt x="180" y="507"/>
                  </a:lnTo>
                  <a:lnTo>
                    <a:pt x="169" y="505"/>
                  </a:lnTo>
                  <a:lnTo>
                    <a:pt x="165" y="504"/>
                  </a:lnTo>
                  <a:lnTo>
                    <a:pt x="163" y="503"/>
                  </a:lnTo>
                  <a:lnTo>
                    <a:pt x="162" y="502"/>
                  </a:lnTo>
                  <a:lnTo>
                    <a:pt x="159" y="501"/>
                  </a:lnTo>
                  <a:lnTo>
                    <a:pt x="158" y="500"/>
                  </a:lnTo>
                  <a:lnTo>
                    <a:pt x="157" y="499"/>
                  </a:lnTo>
                  <a:lnTo>
                    <a:pt x="156" y="497"/>
                  </a:lnTo>
                  <a:lnTo>
                    <a:pt x="152" y="492"/>
                  </a:lnTo>
                  <a:lnTo>
                    <a:pt x="150" y="489"/>
                  </a:lnTo>
                  <a:lnTo>
                    <a:pt x="148" y="487"/>
                  </a:lnTo>
                  <a:lnTo>
                    <a:pt x="143" y="483"/>
                  </a:lnTo>
                  <a:lnTo>
                    <a:pt x="138" y="479"/>
                  </a:lnTo>
                  <a:lnTo>
                    <a:pt x="136" y="477"/>
                  </a:lnTo>
                  <a:lnTo>
                    <a:pt x="134" y="474"/>
                  </a:lnTo>
                  <a:lnTo>
                    <a:pt x="132" y="471"/>
                  </a:lnTo>
                  <a:lnTo>
                    <a:pt x="130" y="467"/>
                  </a:lnTo>
                  <a:lnTo>
                    <a:pt x="129" y="463"/>
                  </a:lnTo>
                  <a:lnTo>
                    <a:pt x="127" y="455"/>
                  </a:lnTo>
                  <a:lnTo>
                    <a:pt x="125" y="452"/>
                  </a:lnTo>
                  <a:lnTo>
                    <a:pt x="124" y="447"/>
                  </a:lnTo>
                  <a:lnTo>
                    <a:pt x="121" y="443"/>
                  </a:lnTo>
                  <a:lnTo>
                    <a:pt x="119" y="439"/>
                  </a:lnTo>
                  <a:lnTo>
                    <a:pt x="114" y="432"/>
                  </a:lnTo>
                  <a:lnTo>
                    <a:pt x="112" y="430"/>
                  </a:lnTo>
                  <a:lnTo>
                    <a:pt x="107" y="426"/>
                  </a:lnTo>
                  <a:lnTo>
                    <a:pt x="105" y="424"/>
                  </a:lnTo>
                  <a:lnTo>
                    <a:pt x="104" y="422"/>
                  </a:lnTo>
                  <a:lnTo>
                    <a:pt x="102" y="420"/>
                  </a:lnTo>
                  <a:lnTo>
                    <a:pt x="101" y="417"/>
                  </a:lnTo>
                  <a:lnTo>
                    <a:pt x="100" y="416"/>
                  </a:lnTo>
                  <a:lnTo>
                    <a:pt x="99" y="414"/>
                  </a:lnTo>
                  <a:lnTo>
                    <a:pt x="99" y="412"/>
                  </a:lnTo>
                  <a:lnTo>
                    <a:pt x="99" y="410"/>
                  </a:lnTo>
                  <a:lnTo>
                    <a:pt x="99" y="407"/>
                  </a:lnTo>
                  <a:lnTo>
                    <a:pt x="98" y="404"/>
                  </a:lnTo>
                  <a:lnTo>
                    <a:pt x="97" y="402"/>
                  </a:lnTo>
                  <a:lnTo>
                    <a:pt x="97" y="399"/>
                  </a:lnTo>
                  <a:lnTo>
                    <a:pt x="94" y="392"/>
                  </a:lnTo>
                  <a:lnTo>
                    <a:pt x="92" y="384"/>
                  </a:lnTo>
                  <a:lnTo>
                    <a:pt x="89" y="379"/>
                  </a:lnTo>
                  <a:lnTo>
                    <a:pt x="87" y="374"/>
                  </a:lnTo>
                  <a:lnTo>
                    <a:pt x="79" y="361"/>
                  </a:lnTo>
                  <a:lnTo>
                    <a:pt x="77" y="357"/>
                  </a:lnTo>
                  <a:lnTo>
                    <a:pt x="75" y="353"/>
                  </a:lnTo>
                  <a:lnTo>
                    <a:pt x="72" y="349"/>
                  </a:lnTo>
                  <a:lnTo>
                    <a:pt x="69" y="345"/>
                  </a:lnTo>
                  <a:lnTo>
                    <a:pt x="64" y="339"/>
                  </a:lnTo>
                  <a:lnTo>
                    <a:pt x="57" y="332"/>
                  </a:lnTo>
                  <a:lnTo>
                    <a:pt x="55" y="330"/>
                  </a:lnTo>
                  <a:lnTo>
                    <a:pt x="54" y="328"/>
                  </a:lnTo>
                  <a:lnTo>
                    <a:pt x="53" y="326"/>
                  </a:lnTo>
                  <a:lnTo>
                    <a:pt x="52" y="324"/>
                  </a:lnTo>
                  <a:lnTo>
                    <a:pt x="51" y="322"/>
                  </a:lnTo>
                  <a:lnTo>
                    <a:pt x="51" y="320"/>
                  </a:lnTo>
                  <a:lnTo>
                    <a:pt x="50" y="317"/>
                  </a:lnTo>
                  <a:lnTo>
                    <a:pt x="50" y="313"/>
                  </a:lnTo>
                  <a:lnTo>
                    <a:pt x="52" y="306"/>
                  </a:lnTo>
                  <a:lnTo>
                    <a:pt x="53" y="295"/>
                  </a:lnTo>
                  <a:lnTo>
                    <a:pt x="54" y="292"/>
                  </a:lnTo>
                  <a:lnTo>
                    <a:pt x="55" y="288"/>
                  </a:lnTo>
                  <a:lnTo>
                    <a:pt x="58" y="280"/>
                  </a:lnTo>
                  <a:lnTo>
                    <a:pt x="59" y="277"/>
                  </a:lnTo>
                  <a:lnTo>
                    <a:pt x="60" y="274"/>
                  </a:lnTo>
                  <a:lnTo>
                    <a:pt x="61" y="269"/>
                  </a:lnTo>
                  <a:lnTo>
                    <a:pt x="61" y="267"/>
                  </a:lnTo>
                  <a:lnTo>
                    <a:pt x="62" y="264"/>
                  </a:lnTo>
                  <a:lnTo>
                    <a:pt x="65" y="260"/>
                  </a:lnTo>
                  <a:lnTo>
                    <a:pt x="66" y="259"/>
                  </a:lnTo>
                  <a:lnTo>
                    <a:pt x="66" y="258"/>
                  </a:lnTo>
                  <a:lnTo>
                    <a:pt x="67" y="257"/>
                  </a:lnTo>
                  <a:lnTo>
                    <a:pt x="67" y="255"/>
                  </a:lnTo>
                  <a:lnTo>
                    <a:pt x="67" y="253"/>
                  </a:lnTo>
                  <a:lnTo>
                    <a:pt x="66" y="249"/>
                  </a:lnTo>
                  <a:lnTo>
                    <a:pt x="66" y="247"/>
                  </a:lnTo>
                  <a:lnTo>
                    <a:pt x="67" y="245"/>
                  </a:lnTo>
                  <a:lnTo>
                    <a:pt x="68" y="240"/>
                  </a:lnTo>
                  <a:lnTo>
                    <a:pt x="69" y="239"/>
                  </a:lnTo>
                  <a:lnTo>
                    <a:pt x="69" y="237"/>
                  </a:lnTo>
                  <a:lnTo>
                    <a:pt x="68" y="236"/>
                  </a:lnTo>
                  <a:lnTo>
                    <a:pt x="68" y="235"/>
                  </a:lnTo>
                  <a:lnTo>
                    <a:pt x="67" y="232"/>
                  </a:lnTo>
                  <a:lnTo>
                    <a:pt x="65" y="230"/>
                  </a:lnTo>
                  <a:lnTo>
                    <a:pt x="64" y="230"/>
                  </a:lnTo>
                  <a:lnTo>
                    <a:pt x="63" y="228"/>
                  </a:lnTo>
                  <a:lnTo>
                    <a:pt x="59" y="225"/>
                  </a:lnTo>
                  <a:lnTo>
                    <a:pt x="57" y="223"/>
                  </a:lnTo>
                  <a:lnTo>
                    <a:pt x="55" y="222"/>
                  </a:lnTo>
                  <a:lnTo>
                    <a:pt x="54" y="220"/>
                  </a:lnTo>
                  <a:lnTo>
                    <a:pt x="54" y="219"/>
                  </a:lnTo>
                  <a:lnTo>
                    <a:pt x="54" y="217"/>
                  </a:lnTo>
                  <a:lnTo>
                    <a:pt x="55" y="216"/>
                  </a:lnTo>
                  <a:lnTo>
                    <a:pt x="57" y="214"/>
                  </a:lnTo>
                  <a:lnTo>
                    <a:pt x="57" y="212"/>
                  </a:lnTo>
                  <a:lnTo>
                    <a:pt x="57" y="210"/>
                  </a:lnTo>
                  <a:lnTo>
                    <a:pt x="57" y="208"/>
                  </a:lnTo>
                  <a:lnTo>
                    <a:pt x="56" y="206"/>
                  </a:lnTo>
                  <a:lnTo>
                    <a:pt x="53" y="199"/>
                  </a:lnTo>
                  <a:lnTo>
                    <a:pt x="52" y="195"/>
                  </a:lnTo>
                  <a:lnTo>
                    <a:pt x="51" y="192"/>
                  </a:lnTo>
                  <a:lnTo>
                    <a:pt x="50" y="187"/>
                  </a:lnTo>
                  <a:lnTo>
                    <a:pt x="49" y="185"/>
                  </a:lnTo>
                  <a:lnTo>
                    <a:pt x="48" y="182"/>
                  </a:lnTo>
                  <a:lnTo>
                    <a:pt x="45" y="177"/>
                  </a:lnTo>
                  <a:lnTo>
                    <a:pt x="44" y="175"/>
                  </a:lnTo>
                  <a:lnTo>
                    <a:pt x="43" y="172"/>
                  </a:lnTo>
                  <a:lnTo>
                    <a:pt x="43" y="172"/>
                  </a:lnTo>
                  <a:lnTo>
                    <a:pt x="42" y="170"/>
                  </a:lnTo>
                  <a:lnTo>
                    <a:pt x="42" y="169"/>
                  </a:lnTo>
                  <a:lnTo>
                    <a:pt x="43" y="167"/>
                  </a:lnTo>
                  <a:lnTo>
                    <a:pt x="43" y="167"/>
                  </a:lnTo>
                  <a:lnTo>
                    <a:pt x="44" y="164"/>
                  </a:lnTo>
                  <a:lnTo>
                    <a:pt x="46" y="162"/>
                  </a:lnTo>
                  <a:lnTo>
                    <a:pt x="48" y="160"/>
                  </a:lnTo>
                  <a:lnTo>
                    <a:pt x="49" y="158"/>
                  </a:lnTo>
                  <a:lnTo>
                    <a:pt x="51" y="157"/>
                  </a:lnTo>
                  <a:lnTo>
                    <a:pt x="53" y="157"/>
                  </a:lnTo>
                  <a:lnTo>
                    <a:pt x="57" y="155"/>
                  </a:lnTo>
                  <a:lnTo>
                    <a:pt x="59" y="154"/>
                  </a:lnTo>
                  <a:lnTo>
                    <a:pt x="61" y="152"/>
                  </a:lnTo>
                  <a:lnTo>
                    <a:pt x="63" y="150"/>
                  </a:lnTo>
                  <a:lnTo>
                    <a:pt x="64" y="148"/>
                  </a:lnTo>
                  <a:lnTo>
                    <a:pt x="66" y="145"/>
                  </a:lnTo>
                  <a:lnTo>
                    <a:pt x="67" y="142"/>
                  </a:lnTo>
                  <a:lnTo>
                    <a:pt x="69" y="140"/>
                  </a:lnTo>
                  <a:lnTo>
                    <a:pt x="69" y="138"/>
                  </a:lnTo>
                  <a:lnTo>
                    <a:pt x="69" y="136"/>
                  </a:lnTo>
                  <a:lnTo>
                    <a:pt x="69" y="135"/>
                  </a:lnTo>
                  <a:lnTo>
                    <a:pt x="69" y="134"/>
                  </a:lnTo>
                  <a:lnTo>
                    <a:pt x="69" y="132"/>
                  </a:lnTo>
                  <a:lnTo>
                    <a:pt x="68" y="132"/>
                  </a:lnTo>
                  <a:lnTo>
                    <a:pt x="67" y="131"/>
                  </a:lnTo>
                  <a:lnTo>
                    <a:pt x="67" y="131"/>
                  </a:lnTo>
                  <a:lnTo>
                    <a:pt x="66" y="130"/>
                  </a:lnTo>
                  <a:lnTo>
                    <a:pt x="62" y="130"/>
                  </a:lnTo>
                  <a:lnTo>
                    <a:pt x="60" y="129"/>
                  </a:lnTo>
                  <a:lnTo>
                    <a:pt x="59" y="128"/>
                  </a:lnTo>
                  <a:lnTo>
                    <a:pt x="57" y="127"/>
                  </a:lnTo>
                  <a:lnTo>
                    <a:pt x="53" y="122"/>
                  </a:lnTo>
                  <a:lnTo>
                    <a:pt x="53" y="121"/>
                  </a:lnTo>
                  <a:lnTo>
                    <a:pt x="52" y="120"/>
                  </a:lnTo>
                  <a:lnTo>
                    <a:pt x="52" y="118"/>
                  </a:lnTo>
                  <a:lnTo>
                    <a:pt x="52" y="117"/>
                  </a:lnTo>
                  <a:lnTo>
                    <a:pt x="52" y="116"/>
                  </a:lnTo>
                  <a:lnTo>
                    <a:pt x="52" y="115"/>
                  </a:lnTo>
                  <a:lnTo>
                    <a:pt x="54" y="114"/>
                  </a:lnTo>
                  <a:lnTo>
                    <a:pt x="54" y="113"/>
                  </a:lnTo>
                  <a:lnTo>
                    <a:pt x="54" y="112"/>
                  </a:lnTo>
                  <a:lnTo>
                    <a:pt x="54" y="112"/>
                  </a:lnTo>
                  <a:lnTo>
                    <a:pt x="53" y="111"/>
                  </a:lnTo>
                  <a:lnTo>
                    <a:pt x="52" y="110"/>
                  </a:lnTo>
                  <a:lnTo>
                    <a:pt x="50" y="110"/>
                  </a:lnTo>
                  <a:lnTo>
                    <a:pt x="49" y="109"/>
                  </a:lnTo>
                  <a:lnTo>
                    <a:pt x="46" y="108"/>
                  </a:lnTo>
                  <a:lnTo>
                    <a:pt x="44" y="108"/>
                  </a:lnTo>
                  <a:lnTo>
                    <a:pt x="43" y="107"/>
                  </a:lnTo>
                  <a:lnTo>
                    <a:pt x="41" y="106"/>
                  </a:lnTo>
                  <a:lnTo>
                    <a:pt x="39" y="105"/>
                  </a:lnTo>
                  <a:lnTo>
                    <a:pt x="37" y="102"/>
                  </a:lnTo>
                  <a:lnTo>
                    <a:pt x="34" y="97"/>
                  </a:lnTo>
                  <a:lnTo>
                    <a:pt x="33" y="97"/>
                  </a:lnTo>
                  <a:lnTo>
                    <a:pt x="32" y="96"/>
                  </a:lnTo>
                  <a:lnTo>
                    <a:pt x="30" y="95"/>
                  </a:lnTo>
                  <a:lnTo>
                    <a:pt x="27" y="92"/>
                  </a:lnTo>
                  <a:lnTo>
                    <a:pt x="25" y="91"/>
                  </a:lnTo>
                  <a:lnTo>
                    <a:pt x="22" y="90"/>
                  </a:lnTo>
                  <a:lnTo>
                    <a:pt x="19" y="89"/>
                  </a:lnTo>
                  <a:lnTo>
                    <a:pt x="17" y="87"/>
                  </a:lnTo>
                  <a:lnTo>
                    <a:pt x="14" y="87"/>
                  </a:lnTo>
                  <a:lnTo>
                    <a:pt x="5" y="86"/>
                  </a:lnTo>
                  <a:lnTo>
                    <a:pt x="3" y="85"/>
                  </a:lnTo>
                  <a:lnTo>
                    <a:pt x="2" y="85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2" y="82"/>
                  </a:lnTo>
                  <a:lnTo>
                    <a:pt x="5" y="77"/>
                  </a:lnTo>
                  <a:lnTo>
                    <a:pt x="6" y="75"/>
                  </a:lnTo>
                  <a:lnTo>
                    <a:pt x="7" y="73"/>
                  </a:lnTo>
                  <a:lnTo>
                    <a:pt x="9" y="72"/>
                  </a:lnTo>
                  <a:lnTo>
                    <a:pt x="10" y="70"/>
                  </a:lnTo>
                  <a:lnTo>
                    <a:pt x="12" y="70"/>
                  </a:lnTo>
                  <a:lnTo>
                    <a:pt x="15" y="68"/>
                  </a:lnTo>
                  <a:lnTo>
                    <a:pt x="17" y="67"/>
                  </a:lnTo>
                  <a:lnTo>
                    <a:pt x="19" y="67"/>
                  </a:lnTo>
                  <a:lnTo>
                    <a:pt x="22" y="67"/>
                  </a:lnTo>
                  <a:lnTo>
                    <a:pt x="29" y="67"/>
                  </a:lnTo>
                  <a:lnTo>
                    <a:pt x="32" y="67"/>
                  </a:lnTo>
                  <a:lnTo>
                    <a:pt x="34" y="66"/>
                  </a:lnTo>
                  <a:lnTo>
                    <a:pt x="37" y="65"/>
                  </a:lnTo>
                  <a:lnTo>
                    <a:pt x="39" y="65"/>
                  </a:lnTo>
                  <a:lnTo>
                    <a:pt x="42" y="63"/>
                  </a:lnTo>
                  <a:lnTo>
                    <a:pt x="44" y="61"/>
                  </a:lnTo>
                  <a:lnTo>
                    <a:pt x="48" y="57"/>
                  </a:lnTo>
                  <a:lnTo>
                    <a:pt x="49" y="56"/>
                  </a:lnTo>
                  <a:lnTo>
                    <a:pt x="51" y="55"/>
                  </a:lnTo>
                  <a:lnTo>
                    <a:pt x="52" y="55"/>
                  </a:lnTo>
                  <a:lnTo>
                    <a:pt x="53" y="55"/>
                  </a:lnTo>
                  <a:lnTo>
                    <a:pt x="55" y="55"/>
                  </a:lnTo>
                  <a:lnTo>
                    <a:pt x="57" y="55"/>
                  </a:lnTo>
                  <a:lnTo>
                    <a:pt x="59" y="55"/>
                  </a:lnTo>
                  <a:lnTo>
                    <a:pt x="59" y="54"/>
                  </a:lnTo>
                  <a:lnTo>
                    <a:pt x="61" y="53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3" y="50"/>
                  </a:lnTo>
                  <a:lnTo>
                    <a:pt x="64" y="47"/>
                  </a:lnTo>
                  <a:lnTo>
                    <a:pt x="67" y="43"/>
                  </a:lnTo>
                  <a:lnTo>
                    <a:pt x="69" y="41"/>
                  </a:lnTo>
                  <a:lnTo>
                    <a:pt x="70" y="37"/>
                  </a:lnTo>
                  <a:lnTo>
                    <a:pt x="72" y="32"/>
                  </a:lnTo>
                  <a:lnTo>
                    <a:pt x="73" y="30"/>
                  </a:lnTo>
                  <a:lnTo>
                    <a:pt x="74" y="25"/>
                  </a:lnTo>
                  <a:lnTo>
                    <a:pt x="74" y="23"/>
                  </a:lnTo>
                  <a:lnTo>
                    <a:pt x="76" y="21"/>
                  </a:lnTo>
                  <a:lnTo>
                    <a:pt x="77" y="20"/>
                  </a:lnTo>
                  <a:lnTo>
                    <a:pt x="79" y="18"/>
                  </a:lnTo>
                  <a:lnTo>
                    <a:pt x="82" y="17"/>
                  </a:lnTo>
                  <a:lnTo>
                    <a:pt x="96" y="10"/>
                  </a:lnTo>
                  <a:lnTo>
                    <a:pt x="102" y="7"/>
                  </a:lnTo>
                  <a:lnTo>
                    <a:pt x="105" y="5"/>
                  </a:lnTo>
                  <a:lnTo>
                    <a:pt x="108" y="5"/>
                  </a:lnTo>
                  <a:lnTo>
                    <a:pt x="119" y="1"/>
                  </a:lnTo>
                  <a:lnTo>
                    <a:pt x="120" y="1"/>
                  </a:lnTo>
                  <a:close/>
                </a:path>
              </a:pathLst>
            </a:custGeom>
            <a:solidFill>
              <a:srgbClr val="EFF3FF"/>
            </a:solidFill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103">
              <a:extLst>
                <a:ext uri="{FF2B5EF4-FFF2-40B4-BE49-F238E27FC236}">
                  <a16:creationId xmlns:a16="http://schemas.microsoft.com/office/drawing/2014/main" id="{FE5651D8-0DE2-F2BE-9CC4-1C30F78AF8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6961" y="4421025"/>
              <a:ext cx="774700" cy="1096963"/>
            </a:xfrm>
            <a:custGeom>
              <a:avLst/>
              <a:gdLst>
                <a:gd name="T0" fmla="*/ 351 w 488"/>
                <a:gd name="T1" fmla="*/ 8 h 691"/>
                <a:gd name="T2" fmla="*/ 404 w 488"/>
                <a:gd name="T3" fmla="*/ 43 h 691"/>
                <a:gd name="T4" fmla="*/ 426 w 488"/>
                <a:gd name="T5" fmla="*/ 36 h 691"/>
                <a:gd name="T6" fmla="*/ 440 w 488"/>
                <a:gd name="T7" fmla="*/ 58 h 691"/>
                <a:gd name="T8" fmla="*/ 469 w 488"/>
                <a:gd name="T9" fmla="*/ 92 h 691"/>
                <a:gd name="T10" fmla="*/ 488 w 488"/>
                <a:gd name="T11" fmla="*/ 103 h 691"/>
                <a:gd name="T12" fmla="*/ 480 w 488"/>
                <a:gd name="T13" fmla="*/ 125 h 691"/>
                <a:gd name="T14" fmla="*/ 466 w 488"/>
                <a:gd name="T15" fmla="*/ 138 h 691"/>
                <a:gd name="T16" fmla="*/ 481 w 488"/>
                <a:gd name="T17" fmla="*/ 177 h 691"/>
                <a:gd name="T18" fmla="*/ 474 w 488"/>
                <a:gd name="T19" fmla="*/ 228 h 691"/>
                <a:gd name="T20" fmla="*/ 464 w 488"/>
                <a:gd name="T21" fmla="*/ 270 h 691"/>
                <a:gd name="T22" fmla="*/ 453 w 488"/>
                <a:gd name="T23" fmla="*/ 325 h 691"/>
                <a:gd name="T24" fmla="*/ 476 w 488"/>
                <a:gd name="T25" fmla="*/ 350 h 691"/>
                <a:gd name="T26" fmla="*/ 468 w 488"/>
                <a:gd name="T27" fmla="*/ 382 h 691"/>
                <a:gd name="T28" fmla="*/ 478 w 488"/>
                <a:gd name="T29" fmla="*/ 416 h 691"/>
                <a:gd name="T30" fmla="*/ 466 w 488"/>
                <a:gd name="T31" fmla="*/ 423 h 691"/>
                <a:gd name="T32" fmla="*/ 429 w 488"/>
                <a:gd name="T33" fmla="*/ 439 h 691"/>
                <a:gd name="T34" fmla="*/ 444 w 488"/>
                <a:gd name="T35" fmla="*/ 464 h 691"/>
                <a:gd name="T36" fmla="*/ 429 w 488"/>
                <a:gd name="T37" fmla="*/ 513 h 691"/>
                <a:gd name="T38" fmla="*/ 393 w 488"/>
                <a:gd name="T39" fmla="*/ 539 h 691"/>
                <a:gd name="T40" fmla="*/ 338 w 488"/>
                <a:gd name="T41" fmla="*/ 538 h 691"/>
                <a:gd name="T42" fmla="*/ 324 w 488"/>
                <a:gd name="T43" fmla="*/ 545 h 691"/>
                <a:gd name="T44" fmla="*/ 338 w 488"/>
                <a:gd name="T45" fmla="*/ 584 h 691"/>
                <a:gd name="T46" fmla="*/ 364 w 488"/>
                <a:gd name="T47" fmla="*/ 604 h 691"/>
                <a:gd name="T48" fmla="*/ 347 w 488"/>
                <a:gd name="T49" fmla="*/ 638 h 691"/>
                <a:gd name="T50" fmla="*/ 362 w 488"/>
                <a:gd name="T51" fmla="*/ 669 h 691"/>
                <a:gd name="T52" fmla="*/ 377 w 488"/>
                <a:gd name="T53" fmla="*/ 691 h 691"/>
                <a:gd name="T54" fmla="*/ 350 w 488"/>
                <a:gd name="T55" fmla="*/ 679 h 691"/>
                <a:gd name="T56" fmla="*/ 319 w 488"/>
                <a:gd name="T57" fmla="*/ 681 h 691"/>
                <a:gd name="T58" fmla="*/ 293 w 488"/>
                <a:gd name="T59" fmla="*/ 657 h 691"/>
                <a:gd name="T60" fmla="*/ 263 w 488"/>
                <a:gd name="T61" fmla="*/ 649 h 691"/>
                <a:gd name="T62" fmla="*/ 220 w 488"/>
                <a:gd name="T63" fmla="*/ 624 h 691"/>
                <a:gd name="T64" fmla="*/ 194 w 488"/>
                <a:gd name="T65" fmla="*/ 594 h 691"/>
                <a:gd name="T66" fmla="*/ 168 w 488"/>
                <a:gd name="T67" fmla="*/ 554 h 691"/>
                <a:gd name="T68" fmla="*/ 124 w 488"/>
                <a:gd name="T69" fmla="*/ 530 h 691"/>
                <a:gd name="T70" fmla="*/ 87 w 488"/>
                <a:gd name="T71" fmla="*/ 512 h 691"/>
                <a:gd name="T72" fmla="*/ 62 w 488"/>
                <a:gd name="T73" fmla="*/ 472 h 691"/>
                <a:gd name="T74" fmla="*/ 28 w 488"/>
                <a:gd name="T75" fmla="*/ 475 h 691"/>
                <a:gd name="T76" fmla="*/ 16 w 488"/>
                <a:gd name="T77" fmla="*/ 453 h 691"/>
                <a:gd name="T78" fmla="*/ 1 w 488"/>
                <a:gd name="T79" fmla="*/ 397 h 691"/>
                <a:gd name="T80" fmla="*/ 25 w 488"/>
                <a:gd name="T81" fmla="*/ 367 h 691"/>
                <a:gd name="T82" fmla="*/ 45 w 488"/>
                <a:gd name="T83" fmla="*/ 345 h 691"/>
                <a:gd name="T84" fmla="*/ 48 w 488"/>
                <a:gd name="T85" fmla="*/ 304 h 691"/>
                <a:gd name="T86" fmla="*/ 55 w 488"/>
                <a:gd name="T87" fmla="*/ 274 h 691"/>
                <a:gd name="T88" fmla="*/ 64 w 488"/>
                <a:gd name="T89" fmla="*/ 232 h 691"/>
                <a:gd name="T90" fmla="*/ 64 w 488"/>
                <a:gd name="T91" fmla="*/ 198 h 691"/>
                <a:gd name="T92" fmla="*/ 52 w 488"/>
                <a:gd name="T93" fmla="*/ 160 h 691"/>
                <a:gd name="T94" fmla="*/ 63 w 488"/>
                <a:gd name="T95" fmla="*/ 124 h 691"/>
                <a:gd name="T96" fmla="*/ 73 w 488"/>
                <a:gd name="T97" fmla="*/ 100 h 691"/>
                <a:gd name="T98" fmla="*/ 103 w 488"/>
                <a:gd name="T99" fmla="*/ 99 h 691"/>
                <a:gd name="T100" fmla="*/ 147 w 488"/>
                <a:gd name="T101" fmla="*/ 110 h 691"/>
                <a:gd name="T102" fmla="*/ 176 w 488"/>
                <a:gd name="T103" fmla="*/ 95 h 691"/>
                <a:gd name="T104" fmla="*/ 172 w 488"/>
                <a:gd name="T105" fmla="*/ 122 h 691"/>
                <a:gd name="T106" fmla="*/ 198 w 488"/>
                <a:gd name="T107" fmla="*/ 131 h 691"/>
                <a:gd name="T108" fmla="*/ 230 w 488"/>
                <a:gd name="T109" fmla="*/ 142 h 691"/>
                <a:gd name="T110" fmla="*/ 269 w 488"/>
                <a:gd name="T111" fmla="*/ 103 h 691"/>
                <a:gd name="T112" fmla="*/ 304 w 488"/>
                <a:gd name="T113" fmla="*/ 85 h 691"/>
                <a:gd name="T114" fmla="*/ 300 w 488"/>
                <a:gd name="T115" fmla="*/ 48 h 691"/>
                <a:gd name="T116" fmla="*/ 311 w 488"/>
                <a:gd name="T117" fmla="*/ 22 h 691"/>
                <a:gd name="T118" fmla="*/ 339 w 488"/>
                <a:gd name="T119" fmla="*/ 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88" h="691">
                  <a:moveTo>
                    <a:pt x="339" y="0"/>
                  </a:moveTo>
                  <a:lnTo>
                    <a:pt x="340" y="0"/>
                  </a:lnTo>
                  <a:lnTo>
                    <a:pt x="341" y="0"/>
                  </a:lnTo>
                  <a:lnTo>
                    <a:pt x="342" y="1"/>
                  </a:lnTo>
                  <a:lnTo>
                    <a:pt x="343" y="2"/>
                  </a:lnTo>
                  <a:lnTo>
                    <a:pt x="344" y="3"/>
                  </a:lnTo>
                  <a:lnTo>
                    <a:pt x="344" y="3"/>
                  </a:lnTo>
                  <a:lnTo>
                    <a:pt x="344" y="3"/>
                  </a:lnTo>
                  <a:lnTo>
                    <a:pt x="345" y="4"/>
                  </a:lnTo>
                  <a:lnTo>
                    <a:pt x="347" y="5"/>
                  </a:lnTo>
                  <a:lnTo>
                    <a:pt x="351" y="8"/>
                  </a:lnTo>
                  <a:lnTo>
                    <a:pt x="366" y="15"/>
                  </a:lnTo>
                  <a:lnTo>
                    <a:pt x="370" y="18"/>
                  </a:lnTo>
                  <a:lnTo>
                    <a:pt x="374" y="20"/>
                  </a:lnTo>
                  <a:lnTo>
                    <a:pt x="378" y="23"/>
                  </a:lnTo>
                  <a:lnTo>
                    <a:pt x="381" y="25"/>
                  </a:lnTo>
                  <a:lnTo>
                    <a:pt x="384" y="28"/>
                  </a:lnTo>
                  <a:lnTo>
                    <a:pt x="391" y="34"/>
                  </a:lnTo>
                  <a:lnTo>
                    <a:pt x="395" y="38"/>
                  </a:lnTo>
                  <a:lnTo>
                    <a:pt x="398" y="39"/>
                  </a:lnTo>
                  <a:lnTo>
                    <a:pt x="400" y="41"/>
                  </a:lnTo>
                  <a:lnTo>
                    <a:pt x="404" y="43"/>
                  </a:lnTo>
                  <a:lnTo>
                    <a:pt x="406" y="44"/>
                  </a:lnTo>
                  <a:lnTo>
                    <a:pt x="407" y="45"/>
                  </a:lnTo>
                  <a:lnTo>
                    <a:pt x="409" y="45"/>
                  </a:lnTo>
                  <a:lnTo>
                    <a:pt x="409" y="45"/>
                  </a:lnTo>
                  <a:lnTo>
                    <a:pt x="411" y="44"/>
                  </a:lnTo>
                  <a:lnTo>
                    <a:pt x="412" y="43"/>
                  </a:lnTo>
                  <a:lnTo>
                    <a:pt x="416" y="40"/>
                  </a:lnTo>
                  <a:lnTo>
                    <a:pt x="419" y="39"/>
                  </a:lnTo>
                  <a:lnTo>
                    <a:pt x="421" y="38"/>
                  </a:lnTo>
                  <a:lnTo>
                    <a:pt x="424" y="37"/>
                  </a:lnTo>
                  <a:lnTo>
                    <a:pt x="426" y="36"/>
                  </a:lnTo>
                  <a:lnTo>
                    <a:pt x="427" y="36"/>
                  </a:lnTo>
                  <a:lnTo>
                    <a:pt x="428" y="37"/>
                  </a:lnTo>
                  <a:lnTo>
                    <a:pt x="429" y="38"/>
                  </a:lnTo>
                  <a:lnTo>
                    <a:pt x="431" y="38"/>
                  </a:lnTo>
                  <a:lnTo>
                    <a:pt x="431" y="38"/>
                  </a:lnTo>
                  <a:lnTo>
                    <a:pt x="431" y="39"/>
                  </a:lnTo>
                  <a:lnTo>
                    <a:pt x="432" y="40"/>
                  </a:lnTo>
                  <a:lnTo>
                    <a:pt x="434" y="43"/>
                  </a:lnTo>
                  <a:lnTo>
                    <a:pt x="436" y="49"/>
                  </a:lnTo>
                  <a:lnTo>
                    <a:pt x="437" y="53"/>
                  </a:lnTo>
                  <a:lnTo>
                    <a:pt x="440" y="58"/>
                  </a:lnTo>
                  <a:lnTo>
                    <a:pt x="444" y="66"/>
                  </a:lnTo>
                  <a:lnTo>
                    <a:pt x="448" y="74"/>
                  </a:lnTo>
                  <a:lnTo>
                    <a:pt x="452" y="81"/>
                  </a:lnTo>
                  <a:lnTo>
                    <a:pt x="454" y="83"/>
                  </a:lnTo>
                  <a:lnTo>
                    <a:pt x="456" y="85"/>
                  </a:lnTo>
                  <a:lnTo>
                    <a:pt x="457" y="87"/>
                  </a:lnTo>
                  <a:lnTo>
                    <a:pt x="459" y="88"/>
                  </a:lnTo>
                  <a:lnTo>
                    <a:pt x="463" y="90"/>
                  </a:lnTo>
                  <a:lnTo>
                    <a:pt x="464" y="91"/>
                  </a:lnTo>
                  <a:lnTo>
                    <a:pt x="466" y="91"/>
                  </a:lnTo>
                  <a:lnTo>
                    <a:pt x="469" y="92"/>
                  </a:lnTo>
                  <a:lnTo>
                    <a:pt x="470" y="92"/>
                  </a:lnTo>
                  <a:lnTo>
                    <a:pt x="472" y="92"/>
                  </a:lnTo>
                  <a:lnTo>
                    <a:pt x="474" y="92"/>
                  </a:lnTo>
                  <a:lnTo>
                    <a:pt x="476" y="92"/>
                  </a:lnTo>
                  <a:lnTo>
                    <a:pt x="478" y="92"/>
                  </a:lnTo>
                  <a:lnTo>
                    <a:pt x="480" y="91"/>
                  </a:lnTo>
                  <a:lnTo>
                    <a:pt x="482" y="91"/>
                  </a:lnTo>
                  <a:lnTo>
                    <a:pt x="486" y="89"/>
                  </a:lnTo>
                  <a:lnTo>
                    <a:pt x="486" y="90"/>
                  </a:lnTo>
                  <a:lnTo>
                    <a:pt x="486" y="92"/>
                  </a:lnTo>
                  <a:lnTo>
                    <a:pt x="488" y="103"/>
                  </a:lnTo>
                  <a:lnTo>
                    <a:pt x="488" y="107"/>
                  </a:lnTo>
                  <a:lnTo>
                    <a:pt x="488" y="110"/>
                  </a:lnTo>
                  <a:lnTo>
                    <a:pt x="488" y="112"/>
                  </a:lnTo>
                  <a:lnTo>
                    <a:pt x="488" y="113"/>
                  </a:lnTo>
                  <a:lnTo>
                    <a:pt x="488" y="115"/>
                  </a:lnTo>
                  <a:lnTo>
                    <a:pt x="487" y="117"/>
                  </a:lnTo>
                  <a:lnTo>
                    <a:pt x="486" y="120"/>
                  </a:lnTo>
                  <a:lnTo>
                    <a:pt x="485" y="121"/>
                  </a:lnTo>
                  <a:lnTo>
                    <a:pt x="483" y="122"/>
                  </a:lnTo>
                  <a:lnTo>
                    <a:pt x="482" y="123"/>
                  </a:lnTo>
                  <a:lnTo>
                    <a:pt x="480" y="125"/>
                  </a:lnTo>
                  <a:lnTo>
                    <a:pt x="476" y="126"/>
                  </a:lnTo>
                  <a:lnTo>
                    <a:pt x="473" y="127"/>
                  </a:lnTo>
                  <a:lnTo>
                    <a:pt x="471" y="128"/>
                  </a:lnTo>
                  <a:lnTo>
                    <a:pt x="469" y="129"/>
                  </a:lnTo>
                  <a:lnTo>
                    <a:pt x="468" y="130"/>
                  </a:lnTo>
                  <a:lnTo>
                    <a:pt x="467" y="132"/>
                  </a:lnTo>
                  <a:lnTo>
                    <a:pt x="466" y="132"/>
                  </a:lnTo>
                  <a:lnTo>
                    <a:pt x="466" y="135"/>
                  </a:lnTo>
                  <a:lnTo>
                    <a:pt x="466" y="135"/>
                  </a:lnTo>
                  <a:lnTo>
                    <a:pt x="466" y="137"/>
                  </a:lnTo>
                  <a:lnTo>
                    <a:pt x="466" y="138"/>
                  </a:lnTo>
                  <a:lnTo>
                    <a:pt x="467" y="140"/>
                  </a:lnTo>
                  <a:lnTo>
                    <a:pt x="469" y="142"/>
                  </a:lnTo>
                  <a:lnTo>
                    <a:pt x="474" y="152"/>
                  </a:lnTo>
                  <a:lnTo>
                    <a:pt x="476" y="154"/>
                  </a:lnTo>
                  <a:lnTo>
                    <a:pt x="476" y="157"/>
                  </a:lnTo>
                  <a:lnTo>
                    <a:pt x="478" y="160"/>
                  </a:lnTo>
                  <a:lnTo>
                    <a:pt x="478" y="162"/>
                  </a:lnTo>
                  <a:lnTo>
                    <a:pt x="479" y="165"/>
                  </a:lnTo>
                  <a:lnTo>
                    <a:pt x="480" y="169"/>
                  </a:lnTo>
                  <a:lnTo>
                    <a:pt x="481" y="174"/>
                  </a:lnTo>
                  <a:lnTo>
                    <a:pt x="481" y="177"/>
                  </a:lnTo>
                  <a:lnTo>
                    <a:pt x="481" y="181"/>
                  </a:lnTo>
                  <a:lnTo>
                    <a:pt x="479" y="190"/>
                  </a:lnTo>
                  <a:lnTo>
                    <a:pt x="479" y="193"/>
                  </a:lnTo>
                  <a:lnTo>
                    <a:pt x="478" y="197"/>
                  </a:lnTo>
                  <a:lnTo>
                    <a:pt x="479" y="203"/>
                  </a:lnTo>
                  <a:lnTo>
                    <a:pt x="479" y="207"/>
                  </a:lnTo>
                  <a:lnTo>
                    <a:pt x="478" y="212"/>
                  </a:lnTo>
                  <a:lnTo>
                    <a:pt x="478" y="215"/>
                  </a:lnTo>
                  <a:lnTo>
                    <a:pt x="477" y="219"/>
                  </a:lnTo>
                  <a:lnTo>
                    <a:pt x="476" y="223"/>
                  </a:lnTo>
                  <a:lnTo>
                    <a:pt x="474" y="228"/>
                  </a:lnTo>
                  <a:lnTo>
                    <a:pt x="470" y="237"/>
                  </a:lnTo>
                  <a:lnTo>
                    <a:pt x="467" y="247"/>
                  </a:lnTo>
                  <a:lnTo>
                    <a:pt x="464" y="255"/>
                  </a:lnTo>
                  <a:lnTo>
                    <a:pt x="463" y="257"/>
                  </a:lnTo>
                  <a:lnTo>
                    <a:pt x="463" y="259"/>
                  </a:lnTo>
                  <a:lnTo>
                    <a:pt x="462" y="260"/>
                  </a:lnTo>
                  <a:lnTo>
                    <a:pt x="463" y="262"/>
                  </a:lnTo>
                  <a:lnTo>
                    <a:pt x="464" y="265"/>
                  </a:lnTo>
                  <a:lnTo>
                    <a:pt x="464" y="267"/>
                  </a:lnTo>
                  <a:lnTo>
                    <a:pt x="464" y="268"/>
                  </a:lnTo>
                  <a:lnTo>
                    <a:pt x="464" y="270"/>
                  </a:lnTo>
                  <a:lnTo>
                    <a:pt x="461" y="280"/>
                  </a:lnTo>
                  <a:lnTo>
                    <a:pt x="459" y="288"/>
                  </a:lnTo>
                  <a:lnTo>
                    <a:pt x="458" y="292"/>
                  </a:lnTo>
                  <a:lnTo>
                    <a:pt x="456" y="298"/>
                  </a:lnTo>
                  <a:lnTo>
                    <a:pt x="454" y="305"/>
                  </a:lnTo>
                  <a:lnTo>
                    <a:pt x="453" y="308"/>
                  </a:lnTo>
                  <a:lnTo>
                    <a:pt x="452" y="312"/>
                  </a:lnTo>
                  <a:lnTo>
                    <a:pt x="451" y="317"/>
                  </a:lnTo>
                  <a:lnTo>
                    <a:pt x="451" y="321"/>
                  </a:lnTo>
                  <a:lnTo>
                    <a:pt x="452" y="323"/>
                  </a:lnTo>
                  <a:lnTo>
                    <a:pt x="453" y="325"/>
                  </a:lnTo>
                  <a:lnTo>
                    <a:pt x="453" y="327"/>
                  </a:lnTo>
                  <a:lnTo>
                    <a:pt x="454" y="328"/>
                  </a:lnTo>
                  <a:lnTo>
                    <a:pt x="454" y="329"/>
                  </a:lnTo>
                  <a:lnTo>
                    <a:pt x="455" y="331"/>
                  </a:lnTo>
                  <a:lnTo>
                    <a:pt x="457" y="334"/>
                  </a:lnTo>
                  <a:lnTo>
                    <a:pt x="460" y="337"/>
                  </a:lnTo>
                  <a:lnTo>
                    <a:pt x="464" y="339"/>
                  </a:lnTo>
                  <a:lnTo>
                    <a:pt x="470" y="344"/>
                  </a:lnTo>
                  <a:lnTo>
                    <a:pt x="472" y="347"/>
                  </a:lnTo>
                  <a:lnTo>
                    <a:pt x="474" y="348"/>
                  </a:lnTo>
                  <a:lnTo>
                    <a:pt x="476" y="350"/>
                  </a:lnTo>
                  <a:lnTo>
                    <a:pt x="478" y="353"/>
                  </a:lnTo>
                  <a:lnTo>
                    <a:pt x="481" y="357"/>
                  </a:lnTo>
                  <a:lnTo>
                    <a:pt x="481" y="359"/>
                  </a:lnTo>
                  <a:lnTo>
                    <a:pt x="481" y="360"/>
                  </a:lnTo>
                  <a:lnTo>
                    <a:pt x="481" y="361"/>
                  </a:lnTo>
                  <a:lnTo>
                    <a:pt x="481" y="362"/>
                  </a:lnTo>
                  <a:lnTo>
                    <a:pt x="481" y="363"/>
                  </a:lnTo>
                  <a:lnTo>
                    <a:pt x="473" y="374"/>
                  </a:lnTo>
                  <a:lnTo>
                    <a:pt x="470" y="377"/>
                  </a:lnTo>
                  <a:lnTo>
                    <a:pt x="469" y="379"/>
                  </a:lnTo>
                  <a:lnTo>
                    <a:pt x="468" y="382"/>
                  </a:lnTo>
                  <a:lnTo>
                    <a:pt x="467" y="384"/>
                  </a:lnTo>
                  <a:lnTo>
                    <a:pt x="466" y="385"/>
                  </a:lnTo>
                  <a:lnTo>
                    <a:pt x="466" y="387"/>
                  </a:lnTo>
                  <a:lnTo>
                    <a:pt x="466" y="389"/>
                  </a:lnTo>
                  <a:lnTo>
                    <a:pt x="467" y="392"/>
                  </a:lnTo>
                  <a:lnTo>
                    <a:pt x="467" y="394"/>
                  </a:lnTo>
                  <a:lnTo>
                    <a:pt x="469" y="397"/>
                  </a:lnTo>
                  <a:lnTo>
                    <a:pt x="471" y="401"/>
                  </a:lnTo>
                  <a:lnTo>
                    <a:pt x="476" y="412"/>
                  </a:lnTo>
                  <a:lnTo>
                    <a:pt x="477" y="414"/>
                  </a:lnTo>
                  <a:lnTo>
                    <a:pt x="478" y="416"/>
                  </a:lnTo>
                  <a:lnTo>
                    <a:pt x="478" y="417"/>
                  </a:lnTo>
                  <a:lnTo>
                    <a:pt x="478" y="419"/>
                  </a:lnTo>
                  <a:lnTo>
                    <a:pt x="478" y="420"/>
                  </a:lnTo>
                  <a:lnTo>
                    <a:pt x="478" y="421"/>
                  </a:lnTo>
                  <a:lnTo>
                    <a:pt x="477" y="422"/>
                  </a:lnTo>
                  <a:lnTo>
                    <a:pt x="476" y="422"/>
                  </a:lnTo>
                  <a:lnTo>
                    <a:pt x="474" y="422"/>
                  </a:lnTo>
                  <a:lnTo>
                    <a:pt x="472" y="422"/>
                  </a:lnTo>
                  <a:lnTo>
                    <a:pt x="469" y="422"/>
                  </a:lnTo>
                  <a:lnTo>
                    <a:pt x="467" y="422"/>
                  </a:lnTo>
                  <a:lnTo>
                    <a:pt x="466" y="423"/>
                  </a:lnTo>
                  <a:lnTo>
                    <a:pt x="463" y="424"/>
                  </a:lnTo>
                  <a:lnTo>
                    <a:pt x="460" y="425"/>
                  </a:lnTo>
                  <a:lnTo>
                    <a:pt x="447" y="427"/>
                  </a:lnTo>
                  <a:lnTo>
                    <a:pt x="442" y="429"/>
                  </a:lnTo>
                  <a:lnTo>
                    <a:pt x="439" y="430"/>
                  </a:lnTo>
                  <a:lnTo>
                    <a:pt x="436" y="432"/>
                  </a:lnTo>
                  <a:lnTo>
                    <a:pt x="433" y="434"/>
                  </a:lnTo>
                  <a:lnTo>
                    <a:pt x="431" y="435"/>
                  </a:lnTo>
                  <a:lnTo>
                    <a:pt x="430" y="436"/>
                  </a:lnTo>
                  <a:lnTo>
                    <a:pt x="429" y="437"/>
                  </a:lnTo>
                  <a:lnTo>
                    <a:pt x="429" y="439"/>
                  </a:lnTo>
                  <a:lnTo>
                    <a:pt x="429" y="440"/>
                  </a:lnTo>
                  <a:lnTo>
                    <a:pt x="430" y="442"/>
                  </a:lnTo>
                  <a:lnTo>
                    <a:pt x="431" y="445"/>
                  </a:lnTo>
                  <a:lnTo>
                    <a:pt x="432" y="447"/>
                  </a:lnTo>
                  <a:lnTo>
                    <a:pt x="434" y="449"/>
                  </a:lnTo>
                  <a:lnTo>
                    <a:pt x="439" y="455"/>
                  </a:lnTo>
                  <a:lnTo>
                    <a:pt x="441" y="459"/>
                  </a:lnTo>
                  <a:lnTo>
                    <a:pt x="443" y="460"/>
                  </a:lnTo>
                  <a:lnTo>
                    <a:pt x="444" y="462"/>
                  </a:lnTo>
                  <a:lnTo>
                    <a:pt x="444" y="463"/>
                  </a:lnTo>
                  <a:lnTo>
                    <a:pt x="444" y="464"/>
                  </a:lnTo>
                  <a:lnTo>
                    <a:pt x="444" y="466"/>
                  </a:lnTo>
                  <a:lnTo>
                    <a:pt x="444" y="467"/>
                  </a:lnTo>
                  <a:lnTo>
                    <a:pt x="444" y="469"/>
                  </a:lnTo>
                  <a:lnTo>
                    <a:pt x="442" y="473"/>
                  </a:lnTo>
                  <a:lnTo>
                    <a:pt x="441" y="477"/>
                  </a:lnTo>
                  <a:lnTo>
                    <a:pt x="436" y="485"/>
                  </a:lnTo>
                  <a:lnTo>
                    <a:pt x="435" y="488"/>
                  </a:lnTo>
                  <a:lnTo>
                    <a:pt x="433" y="494"/>
                  </a:lnTo>
                  <a:lnTo>
                    <a:pt x="432" y="497"/>
                  </a:lnTo>
                  <a:lnTo>
                    <a:pt x="431" y="502"/>
                  </a:lnTo>
                  <a:lnTo>
                    <a:pt x="429" y="513"/>
                  </a:lnTo>
                  <a:lnTo>
                    <a:pt x="429" y="516"/>
                  </a:lnTo>
                  <a:lnTo>
                    <a:pt x="428" y="518"/>
                  </a:lnTo>
                  <a:lnTo>
                    <a:pt x="427" y="519"/>
                  </a:lnTo>
                  <a:lnTo>
                    <a:pt x="426" y="521"/>
                  </a:lnTo>
                  <a:lnTo>
                    <a:pt x="424" y="522"/>
                  </a:lnTo>
                  <a:lnTo>
                    <a:pt x="422" y="524"/>
                  </a:lnTo>
                  <a:lnTo>
                    <a:pt x="415" y="528"/>
                  </a:lnTo>
                  <a:lnTo>
                    <a:pt x="407" y="533"/>
                  </a:lnTo>
                  <a:lnTo>
                    <a:pt x="404" y="534"/>
                  </a:lnTo>
                  <a:lnTo>
                    <a:pt x="397" y="538"/>
                  </a:lnTo>
                  <a:lnTo>
                    <a:pt x="393" y="539"/>
                  </a:lnTo>
                  <a:lnTo>
                    <a:pt x="389" y="541"/>
                  </a:lnTo>
                  <a:lnTo>
                    <a:pt x="374" y="544"/>
                  </a:lnTo>
                  <a:lnTo>
                    <a:pt x="371" y="545"/>
                  </a:lnTo>
                  <a:lnTo>
                    <a:pt x="367" y="545"/>
                  </a:lnTo>
                  <a:lnTo>
                    <a:pt x="364" y="545"/>
                  </a:lnTo>
                  <a:lnTo>
                    <a:pt x="359" y="544"/>
                  </a:lnTo>
                  <a:lnTo>
                    <a:pt x="355" y="544"/>
                  </a:lnTo>
                  <a:lnTo>
                    <a:pt x="351" y="542"/>
                  </a:lnTo>
                  <a:lnTo>
                    <a:pt x="346" y="541"/>
                  </a:lnTo>
                  <a:lnTo>
                    <a:pt x="340" y="539"/>
                  </a:lnTo>
                  <a:lnTo>
                    <a:pt x="338" y="538"/>
                  </a:lnTo>
                  <a:lnTo>
                    <a:pt x="336" y="537"/>
                  </a:lnTo>
                  <a:lnTo>
                    <a:pt x="334" y="537"/>
                  </a:lnTo>
                  <a:lnTo>
                    <a:pt x="332" y="537"/>
                  </a:lnTo>
                  <a:lnTo>
                    <a:pt x="331" y="538"/>
                  </a:lnTo>
                  <a:lnTo>
                    <a:pt x="329" y="538"/>
                  </a:lnTo>
                  <a:lnTo>
                    <a:pt x="328" y="539"/>
                  </a:lnTo>
                  <a:lnTo>
                    <a:pt x="326" y="539"/>
                  </a:lnTo>
                  <a:lnTo>
                    <a:pt x="325" y="541"/>
                  </a:lnTo>
                  <a:lnTo>
                    <a:pt x="324" y="542"/>
                  </a:lnTo>
                  <a:lnTo>
                    <a:pt x="324" y="544"/>
                  </a:lnTo>
                  <a:lnTo>
                    <a:pt x="324" y="545"/>
                  </a:lnTo>
                  <a:lnTo>
                    <a:pt x="324" y="547"/>
                  </a:lnTo>
                  <a:lnTo>
                    <a:pt x="324" y="548"/>
                  </a:lnTo>
                  <a:lnTo>
                    <a:pt x="324" y="550"/>
                  </a:lnTo>
                  <a:lnTo>
                    <a:pt x="324" y="554"/>
                  </a:lnTo>
                  <a:lnTo>
                    <a:pt x="326" y="563"/>
                  </a:lnTo>
                  <a:lnTo>
                    <a:pt x="328" y="566"/>
                  </a:lnTo>
                  <a:lnTo>
                    <a:pt x="330" y="571"/>
                  </a:lnTo>
                  <a:lnTo>
                    <a:pt x="332" y="576"/>
                  </a:lnTo>
                  <a:lnTo>
                    <a:pt x="335" y="580"/>
                  </a:lnTo>
                  <a:lnTo>
                    <a:pt x="336" y="582"/>
                  </a:lnTo>
                  <a:lnTo>
                    <a:pt x="338" y="584"/>
                  </a:lnTo>
                  <a:lnTo>
                    <a:pt x="340" y="586"/>
                  </a:lnTo>
                  <a:lnTo>
                    <a:pt x="341" y="587"/>
                  </a:lnTo>
                  <a:lnTo>
                    <a:pt x="344" y="589"/>
                  </a:lnTo>
                  <a:lnTo>
                    <a:pt x="349" y="592"/>
                  </a:lnTo>
                  <a:lnTo>
                    <a:pt x="351" y="593"/>
                  </a:lnTo>
                  <a:lnTo>
                    <a:pt x="356" y="596"/>
                  </a:lnTo>
                  <a:lnTo>
                    <a:pt x="359" y="599"/>
                  </a:lnTo>
                  <a:lnTo>
                    <a:pt x="361" y="600"/>
                  </a:lnTo>
                  <a:lnTo>
                    <a:pt x="362" y="601"/>
                  </a:lnTo>
                  <a:lnTo>
                    <a:pt x="363" y="603"/>
                  </a:lnTo>
                  <a:lnTo>
                    <a:pt x="364" y="604"/>
                  </a:lnTo>
                  <a:lnTo>
                    <a:pt x="364" y="607"/>
                  </a:lnTo>
                  <a:lnTo>
                    <a:pt x="364" y="609"/>
                  </a:lnTo>
                  <a:lnTo>
                    <a:pt x="364" y="611"/>
                  </a:lnTo>
                  <a:lnTo>
                    <a:pt x="364" y="614"/>
                  </a:lnTo>
                  <a:lnTo>
                    <a:pt x="363" y="616"/>
                  </a:lnTo>
                  <a:lnTo>
                    <a:pt x="361" y="618"/>
                  </a:lnTo>
                  <a:lnTo>
                    <a:pt x="353" y="626"/>
                  </a:lnTo>
                  <a:lnTo>
                    <a:pt x="351" y="630"/>
                  </a:lnTo>
                  <a:lnTo>
                    <a:pt x="349" y="633"/>
                  </a:lnTo>
                  <a:lnTo>
                    <a:pt x="348" y="635"/>
                  </a:lnTo>
                  <a:lnTo>
                    <a:pt x="347" y="638"/>
                  </a:lnTo>
                  <a:lnTo>
                    <a:pt x="346" y="641"/>
                  </a:lnTo>
                  <a:lnTo>
                    <a:pt x="347" y="644"/>
                  </a:lnTo>
                  <a:lnTo>
                    <a:pt x="347" y="645"/>
                  </a:lnTo>
                  <a:lnTo>
                    <a:pt x="348" y="647"/>
                  </a:lnTo>
                  <a:lnTo>
                    <a:pt x="349" y="651"/>
                  </a:lnTo>
                  <a:lnTo>
                    <a:pt x="350" y="653"/>
                  </a:lnTo>
                  <a:lnTo>
                    <a:pt x="351" y="655"/>
                  </a:lnTo>
                  <a:lnTo>
                    <a:pt x="352" y="657"/>
                  </a:lnTo>
                  <a:lnTo>
                    <a:pt x="355" y="661"/>
                  </a:lnTo>
                  <a:lnTo>
                    <a:pt x="359" y="666"/>
                  </a:lnTo>
                  <a:lnTo>
                    <a:pt x="362" y="669"/>
                  </a:lnTo>
                  <a:lnTo>
                    <a:pt x="369" y="676"/>
                  </a:lnTo>
                  <a:lnTo>
                    <a:pt x="376" y="681"/>
                  </a:lnTo>
                  <a:lnTo>
                    <a:pt x="376" y="682"/>
                  </a:lnTo>
                  <a:lnTo>
                    <a:pt x="378" y="684"/>
                  </a:lnTo>
                  <a:lnTo>
                    <a:pt x="379" y="685"/>
                  </a:lnTo>
                  <a:lnTo>
                    <a:pt x="379" y="686"/>
                  </a:lnTo>
                  <a:lnTo>
                    <a:pt x="379" y="688"/>
                  </a:lnTo>
                  <a:lnTo>
                    <a:pt x="379" y="689"/>
                  </a:lnTo>
                  <a:lnTo>
                    <a:pt x="379" y="689"/>
                  </a:lnTo>
                  <a:lnTo>
                    <a:pt x="378" y="690"/>
                  </a:lnTo>
                  <a:lnTo>
                    <a:pt x="377" y="691"/>
                  </a:lnTo>
                  <a:lnTo>
                    <a:pt x="376" y="691"/>
                  </a:lnTo>
                  <a:lnTo>
                    <a:pt x="374" y="691"/>
                  </a:lnTo>
                  <a:lnTo>
                    <a:pt x="372" y="691"/>
                  </a:lnTo>
                  <a:lnTo>
                    <a:pt x="371" y="690"/>
                  </a:lnTo>
                  <a:lnTo>
                    <a:pt x="369" y="689"/>
                  </a:lnTo>
                  <a:lnTo>
                    <a:pt x="361" y="684"/>
                  </a:lnTo>
                  <a:lnTo>
                    <a:pt x="359" y="682"/>
                  </a:lnTo>
                  <a:lnTo>
                    <a:pt x="356" y="681"/>
                  </a:lnTo>
                  <a:lnTo>
                    <a:pt x="355" y="680"/>
                  </a:lnTo>
                  <a:lnTo>
                    <a:pt x="353" y="679"/>
                  </a:lnTo>
                  <a:lnTo>
                    <a:pt x="350" y="679"/>
                  </a:lnTo>
                  <a:lnTo>
                    <a:pt x="348" y="678"/>
                  </a:lnTo>
                  <a:lnTo>
                    <a:pt x="346" y="678"/>
                  </a:lnTo>
                  <a:lnTo>
                    <a:pt x="344" y="678"/>
                  </a:lnTo>
                  <a:lnTo>
                    <a:pt x="341" y="678"/>
                  </a:lnTo>
                  <a:lnTo>
                    <a:pt x="339" y="678"/>
                  </a:lnTo>
                  <a:lnTo>
                    <a:pt x="335" y="679"/>
                  </a:lnTo>
                  <a:lnTo>
                    <a:pt x="329" y="681"/>
                  </a:lnTo>
                  <a:lnTo>
                    <a:pt x="326" y="681"/>
                  </a:lnTo>
                  <a:lnTo>
                    <a:pt x="324" y="681"/>
                  </a:lnTo>
                  <a:lnTo>
                    <a:pt x="321" y="681"/>
                  </a:lnTo>
                  <a:lnTo>
                    <a:pt x="319" y="681"/>
                  </a:lnTo>
                  <a:lnTo>
                    <a:pt x="317" y="681"/>
                  </a:lnTo>
                  <a:lnTo>
                    <a:pt x="314" y="681"/>
                  </a:lnTo>
                  <a:lnTo>
                    <a:pt x="313" y="680"/>
                  </a:lnTo>
                  <a:lnTo>
                    <a:pt x="311" y="679"/>
                  </a:lnTo>
                  <a:lnTo>
                    <a:pt x="309" y="678"/>
                  </a:lnTo>
                  <a:lnTo>
                    <a:pt x="308" y="676"/>
                  </a:lnTo>
                  <a:lnTo>
                    <a:pt x="306" y="674"/>
                  </a:lnTo>
                  <a:lnTo>
                    <a:pt x="304" y="671"/>
                  </a:lnTo>
                  <a:lnTo>
                    <a:pt x="298" y="664"/>
                  </a:lnTo>
                  <a:lnTo>
                    <a:pt x="295" y="659"/>
                  </a:lnTo>
                  <a:lnTo>
                    <a:pt x="293" y="657"/>
                  </a:lnTo>
                  <a:lnTo>
                    <a:pt x="290" y="655"/>
                  </a:lnTo>
                  <a:lnTo>
                    <a:pt x="288" y="654"/>
                  </a:lnTo>
                  <a:lnTo>
                    <a:pt x="285" y="651"/>
                  </a:lnTo>
                  <a:lnTo>
                    <a:pt x="283" y="650"/>
                  </a:lnTo>
                  <a:lnTo>
                    <a:pt x="280" y="649"/>
                  </a:lnTo>
                  <a:lnTo>
                    <a:pt x="277" y="649"/>
                  </a:lnTo>
                  <a:lnTo>
                    <a:pt x="274" y="648"/>
                  </a:lnTo>
                  <a:lnTo>
                    <a:pt x="272" y="648"/>
                  </a:lnTo>
                  <a:lnTo>
                    <a:pt x="270" y="648"/>
                  </a:lnTo>
                  <a:lnTo>
                    <a:pt x="268" y="648"/>
                  </a:lnTo>
                  <a:lnTo>
                    <a:pt x="263" y="649"/>
                  </a:lnTo>
                  <a:lnTo>
                    <a:pt x="262" y="649"/>
                  </a:lnTo>
                  <a:lnTo>
                    <a:pt x="262" y="648"/>
                  </a:lnTo>
                  <a:lnTo>
                    <a:pt x="261" y="647"/>
                  </a:lnTo>
                  <a:lnTo>
                    <a:pt x="252" y="644"/>
                  </a:lnTo>
                  <a:lnTo>
                    <a:pt x="247" y="642"/>
                  </a:lnTo>
                  <a:lnTo>
                    <a:pt x="239" y="639"/>
                  </a:lnTo>
                  <a:lnTo>
                    <a:pt x="236" y="636"/>
                  </a:lnTo>
                  <a:lnTo>
                    <a:pt x="232" y="634"/>
                  </a:lnTo>
                  <a:lnTo>
                    <a:pt x="228" y="631"/>
                  </a:lnTo>
                  <a:lnTo>
                    <a:pt x="225" y="629"/>
                  </a:lnTo>
                  <a:lnTo>
                    <a:pt x="220" y="624"/>
                  </a:lnTo>
                  <a:lnTo>
                    <a:pt x="219" y="622"/>
                  </a:lnTo>
                  <a:lnTo>
                    <a:pt x="217" y="621"/>
                  </a:lnTo>
                  <a:lnTo>
                    <a:pt x="212" y="618"/>
                  </a:lnTo>
                  <a:lnTo>
                    <a:pt x="210" y="617"/>
                  </a:lnTo>
                  <a:lnTo>
                    <a:pt x="209" y="616"/>
                  </a:lnTo>
                  <a:lnTo>
                    <a:pt x="207" y="614"/>
                  </a:lnTo>
                  <a:lnTo>
                    <a:pt x="201" y="607"/>
                  </a:lnTo>
                  <a:lnTo>
                    <a:pt x="199" y="606"/>
                  </a:lnTo>
                  <a:lnTo>
                    <a:pt x="198" y="604"/>
                  </a:lnTo>
                  <a:lnTo>
                    <a:pt x="197" y="601"/>
                  </a:lnTo>
                  <a:lnTo>
                    <a:pt x="194" y="594"/>
                  </a:lnTo>
                  <a:lnTo>
                    <a:pt x="193" y="593"/>
                  </a:lnTo>
                  <a:lnTo>
                    <a:pt x="192" y="591"/>
                  </a:lnTo>
                  <a:lnTo>
                    <a:pt x="190" y="589"/>
                  </a:lnTo>
                  <a:lnTo>
                    <a:pt x="184" y="583"/>
                  </a:lnTo>
                  <a:lnTo>
                    <a:pt x="177" y="575"/>
                  </a:lnTo>
                  <a:lnTo>
                    <a:pt x="175" y="573"/>
                  </a:lnTo>
                  <a:lnTo>
                    <a:pt x="174" y="571"/>
                  </a:lnTo>
                  <a:lnTo>
                    <a:pt x="172" y="568"/>
                  </a:lnTo>
                  <a:lnTo>
                    <a:pt x="171" y="565"/>
                  </a:lnTo>
                  <a:lnTo>
                    <a:pt x="170" y="562"/>
                  </a:lnTo>
                  <a:lnTo>
                    <a:pt x="168" y="554"/>
                  </a:lnTo>
                  <a:lnTo>
                    <a:pt x="166" y="550"/>
                  </a:lnTo>
                  <a:lnTo>
                    <a:pt x="165" y="548"/>
                  </a:lnTo>
                  <a:lnTo>
                    <a:pt x="164" y="546"/>
                  </a:lnTo>
                  <a:lnTo>
                    <a:pt x="162" y="544"/>
                  </a:lnTo>
                  <a:lnTo>
                    <a:pt x="161" y="543"/>
                  </a:lnTo>
                  <a:lnTo>
                    <a:pt x="159" y="542"/>
                  </a:lnTo>
                  <a:lnTo>
                    <a:pt x="158" y="542"/>
                  </a:lnTo>
                  <a:lnTo>
                    <a:pt x="154" y="540"/>
                  </a:lnTo>
                  <a:lnTo>
                    <a:pt x="152" y="539"/>
                  </a:lnTo>
                  <a:lnTo>
                    <a:pt x="142" y="537"/>
                  </a:lnTo>
                  <a:lnTo>
                    <a:pt x="124" y="530"/>
                  </a:lnTo>
                  <a:lnTo>
                    <a:pt x="118" y="529"/>
                  </a:lnTo>
                  <a:lnTo>
                    <a:pt x="108" y="527"/>
                  </a:lnTo>
                  <a:lnTo>
                    <a:pt x="104" y="526"/>
                  </a:lnTo>
                  <a:lnTo>
                    <a:pt x="102" y="525"/>
                  </a:lnTo>
                  <a:lnTo>
                    <a:pt x="100" y="524"/>
                  </a:lnTo>
                  <a:lnTo>
                    <a:pt x="99" y="523"/>
                  </a:lnTo>
                  <a:lnTo>
                    <a:pt x="97" y="522"/>
                  </a:lnTo>
                  <a:lnTo>
                    <a:pt x="94" y="520"/>
                  </a:lnTo>
                  <a:lnTo>
                    <a:pt x="92" y="518"/>
                  </a:lnTo>
                  <a:lnTo>
                    <a:pt x="90" y="516"/>
                  </a:lnTo>
                  <a:lnTo>
                    <a:pt x="87" y="512"/>
                  </a:lnTo>
                  <a:lnTo>
                    <a:pt x="84" y="509"/>
                  </a:lnTo>
                  <a:lnTo>
                    <a:pt x="78" y="500"/>
                  </a:lnTo>
                  <a:lnTo>
                    <a:pt x="77" y="498"/>
                  </a:lnTo>
                  <a:lnTo>
                    <a:pt x="75" y="495"/>
                  </a:lnTo>
                  <a:lnTo>
                    <a:pt x="73" y="489"/>
                  </a:lnTo>
                  <a:lnTo>
                    <a:pt x="72" y="486"/>
                  </a:lnTo>
                  <a:lnTo>
                    <a:pt x="69" y="482"/>
                  </a:lnTo>
                  <a:lnTo>
                    <a:pt x="68" y="479"/>
                  </a:lnTo>
                  <a:lnTo>
                    <a:pt x="67" y="477"/>
                  </a:lnTo>
                  <a:lnTo>
                    <a:pt x="64" y="474"/>
                  </a:lnTo>
                  <a:lnTo>
                    <a:pt x="62" y="472"/>
                  </a:lnTo>
                  <a:lnTo>
                    <a:pt x="59" y="471"/>
                  </a:lnTo>
                  <a:lnTo>
                    <a:pt x="57" y="469"/>
                  </a:lnTo>
                  <a:lnTo>
                    <a:pt x="55" y="468"/>
                  </a:lnTo>
                  <a:lnTo>
                    <a:pt x="53" y="468"/>
                  </a:lnTo>
                  <a:lnTo>
                    <a:pt x="49" y="467"/>
                  </a:lnTo>
                  <a:lnTo>
                    <a:pt x="47" y="468"/>
                  </a:lnTo>
                  <a:lnTo>
                    <a:pt x="43" y="469"/>
                  </a:lnTo>
                  <a:lnTo>
                    <a:pt x="39" y="469"/>
                  </a:lnTo>
                  <a:lnTo>
                    <a:pt x="36" y="472"/>
                  </a:lnTo>
                  <a:lnTo>
                    <a:pt x="30" y="474"/>
                  </a:lnTo>
                  <a:lnTo>
                    <a:pt x="28" y="475"/>
                  </a:lnTo>
                  <a:lnTo>
                    <a:pt x="27" y="475"/>
                  </a:lnTo>
                  <a:lnTo>
                    <a:pt x="25" y="475"/>
                  </a:lnTo>
                  <a:lnTo>
                    <a:pt x="25" y="475"/>
                  </a:lnTo>
                  <a:lnTo>
                    <a:pt x="23" y="474"/>
                  </a:lnTo>
                  <a:lnTo>
                    <a:pt x="22" y="473"/>
                  </a:lnTo>
                  <a:lnTo>
                    <a:pt x="22" y="472"/>
                  </a:lnTo>
                  <a:lnTo>
                    <a:pt x="21" y="470"/>
                  </a:lnTo>
                  <a:lnTo>
                    <a:pt x="20" y="468"/>
                  </a:lnTo>
                  <a:lnTo>
                    <a:pt x="20" y="466"/>
                  </a:lnTo>
                  <a:lnTo>
                    <a:pt x="17" y="458"/>
                  </a:lnTo>
                  <a:lnTo>
                    <a:pt x="16" y="453"/>
                  </a:lnTo>
                  <a:lnTo>
                    <a:pt x="14" y="447"/>
                  </a:lnTo>
                  <a:lnTo>
                    <a:pt x="10" y="439"/>
                  </a:lnTo>
                  <a:lnTo>
                    <a:pt x="9" y="434"/>
                  </a:lnTo>
                  <a:lnTo>
                    <a:pt x="7" y="430"/>
                  </a:lnTo>
                  <a:lnTo>
                    <a:pt x="5" y="420"/>
                  </a:lnTo>
                  <a:lnTo>
                    <a:pt x="2" y="413"/>
                  </a:lnTo>
                  <a:lnTo>
                    <a:pt x="1" y="408"/>
                  </a:lnTo>
                  <a:lnTo>
                    <a:pt x="0" y="401"/>
                  </a:lnTo>
                  <a:lnTo>
                    <a:pt x="0" y="397"/>
                  </a:lnTo>
                  <a:lnTo>
                    <a:pt x="0" y="397"/>
                  </a:lnTo>
                  <a:lnTo>
                    <a:pt x="1" y="397"/>
                  </a:lnTo>
                  <a:lnTo>
                    <a:pt x="2" y="397"/>
                  </a:lnTo>
                  <a:lnTo>
                    <a:pt x="2" y="396"/>
                  </a:lnTo>
                  <a:lnTo>
                    <a:pt x="5" y="395"/>
                  </a:lnTo>
                  <a:lnTo>
                    <a:pt x="7" y="393"/>
                  </a:lnTo>
                  <a:lnTo>
                    <a:pt x="10" y="390"/>
                  </a:lnTo>
                  <a:lnTo>
                    <a:pt x="13" y="386"/>
                  </a:lnTo>
                  <a:lnTo>
                    <a:pt x="19" y="379"/>
                  </a:lnTo>
                  <a:lnTo>
                    <a:pt x="22" y="374"/>
                  </a:lnTo>
                  <a:lnTo>
                    <a:pt x="24" y="372"/>
                  </a:lnTo>
                  <a:lnTo>
                    <a:pt x="25" y="369"/>
                  </a:lnTo>
                  <a:lnTo>
                    <a:pt x="25" y="367"/>
                  </a:lnTo>
                  <a:lnTo>
                    <a:pt x="26" y="362"/>
                  </a:lnTo>
                  <a:lnTo>
                    <a:pt x="27" y="358"/>
                  </a:lnTo>
                  <a:lnTo>
                    <a:pt x="28" y="355"/>
                  </a:lnTo>
                  <a:lnTo>
                    <a:pt x="30" y="353"/>
                  </a:lnTo>
                  <a:lnTo>
                    <a:pt x="31" y="352"/>
                  </a:lnTo>
                  <a:lnTo>
                    <a:pt x="32" y="351"/>
                  </a:lnTo>
                  <a:lnTo>
                    <a:pt x="34" y="350"/>
                  </a:lnTo>
                  <a:lnTo>
                    <a:pt x="36" y="349"/>
                  </a:lnTo>
                  <a:lnTo>
                    <a:pt x="39" y="347"/>
                  </a:lnTo>
                  <a:lnTo>
                    <a:pt x="44" y="346"/>
                  </a:lnTo>
                  <a:lnTo>
                    <a:pt x="45" y="345"/>
                  </a:lnTo>
                  <a:lnTo>
                    <a:pt x="46" y="344"/>
                  </a:lnTo>
                  <a:lnTo>
                    <a:pt x="48" y="343"/>
                  </a:lnTo>
                  <a:lnTo>
                    <a:pt x="50" y="340"/>
                  </a:lnTo>
                  <a:lnTo>
                    <a:pt x="51" y="337"/>
                  </a:lnTo>
                  <a:lnTo>
                    <a:pt x="52" y="335"/>
                  </a:lnTo>
                  <a:lnTo>
                    <a:pt x="52" y="331"/>
                  </a:lnTo>
                  <a:lnTo>
                    <a:pt x="52" y="326"/>
                  </a:lnTo>
                  <a:lnTo>
                    <a:pt x="52" y="322"/>
                  </a:lnTo>
                  <a:lnTo>
                    <a:pt x="52" y="317"/>
                  </a:lnTo>
                  <a:lnTo>
                    <a:pt x="51" y="312"/>
                  </a:lnTo>
                  <a:lnTo>
                    <a:pt x="48" y="304"/>
                  </a:lnTo>
                  <a:lnTo>
                    <a:pt x="47" y="300"/>
                  </a:lnTo>
                  <a:lnTo>
                    <a:pt x="42" y="289"/>
                  </a:lnTo>
                  <a:lnTo>
                    <a:pt x="42" y="287"/>
                  </a:lnTo>
                  <a:lnTo>
                    <a:pt x="42" y="285"/>
                  </a:lnTo>
                  <a:lnTo>
                    <a:pt x="42" y="284"/>
                  </a:lnTo>
                  <a:lnTo>
                    <a:pt x="42" y="283"/>
                  </a:lnTo>
                  <a:lnTo>
                    <a:pt x="43" y="282"/>
                  </a:lnTo>
                  <a:lnTo>
                    <a:pt x="50" y="278"/>
                  </a:lnTo>
                  <a:lnTo>
                    <a:pt x="52" y="277"/>
                  </a:lnTo>
                  <a:lnTo>
                    <a:pt x="54" y="275"/>
                  </a:lnTo>
                  <a:lnTo>
                    <a:pt x="55" y="274"/>
                  </a:lnTo>
                  <a:lnTo>
                    <a:pt x="56" y="272"/>
                  </a:lnTo>
                  <a:lnTo>
                    <a:pt x="57" y="270"/>
                  </a:lnTo>
                  <a:lnTo>
                    <a:pt x="59" y="267"/>
                  </a:lnTo>
                  <a:lnTo>
                    <a:pt x="59" y="265"/>
                  </a:lnTo>
                  <a:lnTo>
                    <a:pt x="60" y="261"/>
                  </a:lnTo>
                  <a:lnTo>
                    <a:pt x="60" y="257"/>
                  </a:lnTo>
                  <a:lnTo>
                    <a:pt x="60" y="249"/>
                  </a:lnTo>
                  <a:lnTo>
                    <a:pt x="61" y="244"/>
                  </a:lnTo>
                  <a:lnTo>
                    <a:pt x="62" y="242"/>
                  </a:lnTo>
                  <a:lnTo>
                    <a:pt x="62" y="238"/>
                  </a:lnTo>
                  <a:lnTo>
                    <a:pt x="64" y="232"/>
                  </a:lnTo>
                  <a:lnTo>
                    <a:pt x="64" y="230"/>
                  </a:lnTo>
                  <a:lnTo>
                    <a:pt x="64" y="226"/>
                  </a:lnTo>
                  <a:lnTo>
                    <a:pt x="64" y="219"/>
                  </a:lnTo>
                  <a:lnTo>
                    <a:pt x="64" y="216"/>
                  </a:lnTo>
                  <a:lnTo>
                    <a:pt x="65" y="214"/>
                  </a:lnTo>
                  <a:lnTo>
                    <a:pt x="66" y="210"/>
                  </a:lnTo>
                  <a:lnTo>
                    <a:pt x="67" y="207"/>
                  </a:lnTo>
                  <a:lnTo>
                    <a:pt x="67" y="205"/>
                  </a:lnTo>
                  <a:lnTo>
                    <a:pt x="67" y="203"/>
                  </a:lnTo>
                  <a:lnTo>
                    <a:pt x="66" y="201"/>
                  </a:lnTo>
                  <a:lnTo>
                    <a:pt x="64" y="198"/>
                  </a:lnTo>
                  <a:lnTo>
                    <a:pt x="63" y="196"/>
                  </a:lnTo>
                  <a:lnTo>
                    <a:pt x="59" y="190"/>
                  </a:lnTo>
                  <a:lnTo>
                    <a:pt x="57" y="188"/>
                  </a:lnTo>
                  <a:lnTo>
                    <a:pt x="55" y="185"/>
                  </a:lnTo>
                  <a:lnTo>
                    <a:pt x="54" y="182"/>
                  </a:lnTo>
                  <a:lnTo>
                    <a:pt x="54" y="181"/>
                  </a:lnTo>
                  <a:lnTo>
                    <a:pt x="53" y="178"/>
                  </a:lnTo>
                  <a:lnTo>
                    <a:pt x="52" y="174"/>
                  </a:lnTo>
                  <a:lnTo>
                    <a:pt x="53" y="167"/>
                  </a:lnTo>
                  <a:lnTo>
                    <a:pt x="53" y="162"/>
                  </a:lnTo>
                  <a:lnTo>
                    <a:pt x="52" y="160"/>
                  </a:lnTo>
                  <a:lnTo>
                    <a:pt x="51" y="153"/>
                  </a:lnTo>
                  <a:lnTo>
                    <a:pt x="51" y="151"/>
                  </a:lnTo>
                  <a:lnTo>
                    <a:pt x="50" y="150"/>
                  </a:lnTo>
                  <a:lnTo>
                    <a:pt x="51" y="147"/>
                  </a:lnTo>
                  <a:lnTo>
                    <a:pt x="51" y="145"/>
                  </a:lnTo>
                  <a:lnTo>
                    <a:pt x="52" y="143"/>
                  </a:lnTo>
                  <a:lnTo>
                    <a:pt x="52" y="141"/>
                  </a:lnTo>
                  <a:lnTo>
                    <a:pt x="54" y="139"/>
                  </a:lnTo>
                  <a:lnTo>
                    <a:pt x="57" y="135"/>
                  </a:lnTo>
                  <a:lnTo>
                    <a:pt x="59" y="130"/>
                  </a:lnTo>
                  <a:lnTo>
                    <a:pt x="63" y="124"/>
                  </a:lnTo>
                  <a:lnTo>
                    <a:pt x="64" y="120"/>
                  </a:lnTo>
                  <a:lnTo>
                    <a:pt x="65" y="118"/>
                  </a:lnTo>
                  <a:lnTo>
                    <a:pt x="66" y="115"/>
                  </a:lnTo>
                  <a:lnTo>
                    <a:pt x="66" y="114"/>
                  </a:lnTo>
                  <a:lnTo>
                    <a:pt x="66" y="113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7" y="109"/>
                  </a:lnTo>
                  <a:lnTo>
                    <a:pt x="68" y="107"/>
                  </a:lnTo>
                  <a:lnTo>
                    <a:pt x="71" y="102"/>
                  </a:lnTo>
                  <a:lnTo>
                    <a:pt x="73" y="100"/>
                  </a:lnTo>
                  <a:lnTo>
                    <a:pt x="75" y="98"/>
                  </a:lnTo>
                  <a:lnTo>
                    <a:pt x="77" y="97"/>
                  </a:lnTo>
                  <a:lnTo>
                    <a:pt x="78" y="96"/>
                  </a:lnTo>
                  <a:lnTo>
                    <a:pt x="79" y="95"/>
                  </a:lnTo>
                  <a:lnTo>
                    <a:pt x="82" y="95"/>
                  </a:lnTo>
                  <a:lnTo>
                    <a:pt x="84" y="95"/>
                  </a:lnTo>
                  <a:lnTo>
                    <a:pt x="91" y="97"/>
                  </a:lnTo>
                  <a:lnTo>
                    <a:pt x="97" y="97"/>
                  </a:lnTo>
                  <a:lnTo>
                    <a:pt x="100" y="98"/>
                  </a:lnTo>
                  <a:lnTo>
                    <a:pt x="102" y="98"/>
                  </a:lnTo>
                  <a:lnTo>
                    <a:pt x="103" y="99"/>
                  </a:lnTo>
                  <a:lnTo>
                    <a:pt x="107" y="103"/>
                  </a:lnTo>
                  <a:lnTo>
                    <a:pt x="110" y="105"/>
                  </a:lnTo>
                  <a:lnTo>
                    <a:pt x="113" y="106"/>
                  </a:lnTo>
                  <a:lnTo>
                    <a:pt x="118" y="107"/>
                  </a:lnTo>
                  <a:lnTo>
                    <a:pt x="121" y="108"/>
                  </a:lnTo>
                  <a:lnTo>
                    <a:pt x="126" y="108"/>
                  </a:lnTo>
                  <a:lnTo>
                    <a:pt x="128" y="108"/>
                  </a:lnTo>
                  <a:lnTo>
                    <a:pt x="138" y="110"/>
                  </a:lnTo>
                  <a:lnTo>
                    <a:pt x="142" y="110"/>
                  </a:lnTo>
                  <a:lnTo>
                    <a:pt x="145" y="110"/>
                  </a:lnTo>
                  <a:lnTo>
                    <a:pt x="147" y="110"/>
                  </a:lnTo>
                  <a:lnTo>
                    <a:pt x="149" y="110"/>
                  </a:lnTo>
                  <a:lnTo>
                    <a:pt x="150" y="110"/>
                  </a:lnTo>
                  <a:lnTo>
                    <a:pt x="154" y="108"/>
                  </a:lnTo>
                  <a:lnTo>
                    <a:pt x="156" y="108"/>
                  </a:lnTo>
                  <a:lnTo>
                    <a:pt x="159" y="107"/>
                  </a:lnTo>
                  <a:lnTo>
                    <a:pt x="160" y="107"/>
                  </a:lnTo>
                  <a:lnTo>
                    <a:pt x="162" y="107"/>
                  </a:lnTo>
                  <a:lnTo>
                    <a:pt x="168" y="103"/>
                  </a:lnTo>
                  <a:lnTo>
                    <a:pt x="170" y="101"/>
                  </a:lnTo>
                  <a:lnTo>
                    <a:pt x="173" y="99"/>
                  </a:lnTo>
                  <a:lnTo>
                    <a:pt x="176" y="95"/>
                  </a:lnTo>
                  <a:lnTo>
                    <a:pt x="176" y="96"/>
                  </a:lnTo>
                  <a:lnTo>
                    <a:pt x="176" y="98"/>
                  </a:lnTo>
                  <a:lnTo>
                    <a:pt x="175" y="101"/>
                  </a:lnTo>
                  <a:lnTo>
                    <a:pt x="173" y="107"/>
                  </a:lnTo>
                  <a:lnTo>
                    <a:pt x="172" y="110"/>
                  </a:lnTo>
                  <a:lnTo>
                    <a:pt x="171" y="114"/>
                  </a:lnTo>
                  <a:lnTo>
                    <a:pt x="170" y="116"/>
                  </a:lnTo>
                  <a:lnTo>
                    <a:pt x="170" y="119"/>
                  </a:lnTo>
                  <a:lnTo>
                    <a:pt x="170" y="120"/>
                  </a:lnTo>
                  <a:lnTo>
                    <a:pt x="171" y="121"/>
                  </a:lnTo>
                  <a:lnTo>
                    <a:pt x="172" y="122"/>
                  </a:lnTo>
                  <a:lnTo>
                    <a:pt x="172" y="123"/>
                  </a:lnTo>
                  <a:lnTo>
                    <a:pt x="172" y="124"/>
                  </a:lnTo>
                  <a:lnTo>
                    <a:pt x="174" y="125"/>
                  </a:lnTo>
                  <a:lnTo>
                    <a:pt x="174" y="126"/>
                  </a:lnTo>
                  <a:lnTo>
                    <a:pt x="177" y="127"/>
                  </a:lnTo>
                  <a:lnTo>
                    <a:pt x="178" y="127"/>
                  </a:lnTo>
                  <a:lnTo>
                    <a:pt x="179" y="128"/>
                  </a:lnTo>
                  <a:lnTo>
                    <a:pt x="182" y="128"/>
                  </a:lnTo>
                  <a:lnTo>
                    <a:pt x="190" y="130"/>
                  </a:lnTo>
                  <a:lnTo>
                    <a:pt x="194" y="130"/>
                  </a:lnTo>
                  <a:lnTo>
                    <a:pt x="198" y="131"/>
                  </a:lnTo>
                  <a:lnTo>
                    <a:pt x="203" y="132"/>
                  </a:lnTo>
                  <a:lnTo>
                    <a:pt x="208" y="134"/>
                  </a:lnTo>
                  <a:lnTo>
                    <a:pt x="212" y="136"/>
                  </a:lnTo>
                  <a:lnTo>
                    <a:pt x="215" y="138"/>
                  </a:lnTo>
                  <a:lnTo>
                    <a:pt x="221" y="142"/>
                  </a:lnTo>
                  <a:lnTo>
                    <a:pt x="223" y="143"/>
                  </a:lnTo>
                  <a:lnTo>
                    <a:pt x="224" y="143"/>
                  </a:lnTo>
                  <a:lnTo>
                    <a:pt x="226" y="144"/>
                  </a:lnTo>
                  <a:lnTo>
                    <a:pt x="227" y="143"/>
                  </a:lnTo>
                  <a:lnTo>
                    <a:pt x="229" y="143"/>
                  </a:lnTo>
                  <a:lnTo>
                    <a:pt x="230" y="142"/>
                  </a:lnTo>
                  <a:lnTo>
                    <a:pt x="232" y="140"/>
                  </a:lnTo>
                  <a:lnTo>
                    <a:pt x="233" y="138"/>
                  </a:lnTo>
                  <a:lnTo>
                    <a:pt x="236" y="133"/>
                  </a:lnTo>
                  <a:lnTo>
                    <a:pt x="237" y="131"/>
                  </a:lnTo>
                  <a:lnTo>
                    <a:pt x="240" y="127"/>
                  </a:lnTo>
                  <a:lnTo>
                    <a:pt x="243" y="124"/>
                  </a:lnTo>
                  <a:lnTo>
                    <a:pt x="246" y="121"/>
                  </a:lnTo>
                  <a:lnTo>
                    <a:pt x="248" y="119"/>
                  </a:lnTo>
                  <a:lnTo>
                    <a:pt x="257" y="112"/>
                  </a:lnTo>
                  <a:lnTo>
                    <a:pt x="264" y="107"/>
                  </a:lnTo>
                  <a:lnTo>
                    <a:pt x="269" y="103"/>
                  </a:lnTo>
                  <a:lnTo>
                    <a:pt x="273" y="101"/>
                  </a:lnTo>
                  <a:lnTo>
                    <a:pt x="275" y="100"/>
                  </a:lnTo>
                  <a:lnTo>
                    <a:pt x="277" y="100"/>
                  </a:lnTo>
                  <a:lnTo>
                    <a:pt x="287" y="97"/>
                  </a:lnTo>
                  <a:lnTo>
                    <a:pt x="292" y="95"/>
                  </a:lnTo>
                  <a:lnTo>
                    <a:pt x="296" y="93"/>
                  </a:lnTo>
                  <a:lnTo>
                    <a:pt x="299" y="91"/>
                  </a:lnTo>
                  <a:lnTo>
                    <a:pt x="301" y="90"/>
                  </a:lnTo>
                  <a:lnTo>
                    <a:pt x="303" y="88"/>
                  </a:lnTo>
                  <a:lnTo>
                    <a:pt x="304" y="87"/>
                  </a:lnTo>
                  <a:lnTo>
                    <a:pt x="304" y="85"/>
                  </a:lnTo>
                  <a:lnTo>
                    <a:pt x="305" y="83"/>
                  </a:lnTo>
                  <a:lnTo>
                    <a:pt x="305" y="82"/>
                  </a:lnTo>
                  <a:lnTo>
                    <a:pt x="304" y="78"/>
                  </a:lnTo>
                  <a:lnTo>
                    <a:pt x="302" y="72"/>
                  </a:lnTo>
                  <a:lnTo>
                    <a:pt x="301" y="66"/>
                  </a:lnTo>
                  <a:lnTo>
                    <a:pt x="299" y="62"/>
                  </a:lnTo>
                  <a:lnTo>
                    <a:pt x="299" y="59"/>
                  </a:lnTo>
                  <a:lnTo>
                    <a:pt x="299" y="56"/>
                  </a:lnTo>
                  <a:lnTo>
                    <a:pt x="299" y="53"/>
                  </a:lnTo>
                  <a:lnTo>
                    <a:pt x="299" y="50"/>
                  </a:lnTo>
                  <a:lnTo>
                    <a:pt x="300" y="48"/>
                  </a:lnTo>
                  <a:lnTo>
                    <a:pt x="301" y="43"/>
                  </a:lnTo>
                  <a:lnTo>
                    <a:pt x="302" y="40"/>
                  </a:lnTo>
                  <a:lnTo>
                    <a:pt x="303" y="38"/>
                  </a:lnTo>
                  <a:lnTo>
                    <a:pt x="303" y="34"/>
                  </a:lnTo>
                  <a:lnTo>
                    <a:pt x="303" y="31"/>
                  </a:lnTo>
                  <a:lnTo>
                    <a:pt x="304" y="30"/>
                  </a:lnTo>
                  <a:lnTo>
                    <a:pt x="304" y="29"/>
                  </a:lnTo>
                  <a:lnTo>
                    <a:pt x="305" y="26"/>
                  </a:lnTo>
                  <a:lnTo>
                    <a:pt x="306" y="25"/>
                  </a:lnTo>
                  <a:lnTo>
                    <a:pt x="307" y="24"/>
                  </a:lnTo>
                  <a:lnTo>
                    <a:pt x="311" y="22"/>
                  </a:lnTo>
                  <a:lnTo>
                    <a:pt x="313" y="20"/>
                  </a:lnTo>
                  <a:lnTo>
                    <a:pt x="314" y="18"/>
                  </a:lnTo>
                  <a:lnTo>
                    <a:pt x="316" y="14"/>
                  </a:lnTo>
                  <a:lnTo>
                    <a:pt x="319" y="12"/>
                  </a:lnTo>
                  <a:lnTo>
                    <a:pt x="321" y="9"/>
                  </a:lnTo>
                  <a:lnTo>
                    <a:pt x="326" y="6"/>
                  </a:lnTo>
                  <a:lnTo>
                    <a:pt x="330" y="4"/>
                  </a:lnTo>
                  <a:lnTo>
                    <a:pt x="334" y="1"/>
                  </a:lnTo>
                  <a:lnTo>
                    <a:pt x="336" y="0"/>
                  </a:lnTo>
                  <a:lnTo>
                    <a:pt x="339" y="0"/>
                  </a:lnTo>
                  <a:lnTo>
                    <a:pt x="339" y="0"/>
                  </a:lnTo>
                  <a:close/>
                </a:path>
              </a:pathLst>
            </a:custGeom>
            <a:solidFill>
              <a:srgbClr val="EFF3FF"/>
            </a:solidFill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99">
              <a:extLst>
                <a:ext uri="{FF2B5EF4-FFF2-40B4-BE49-F238E27FC236}">
                  <a16:creationId xmlns:a16="http://schemas.microsoft.com/office/drawing/2014/main" id="{16BB733E-F2AE-D138-8CDE-FE36B8DD8A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9861" y="5089363"/>
              <a:ext cx="1398588" cy="1208088"/>
            </a:xfrm>
            <a:custGeom>
              <a:avLst/>
              <a:gdLst>
                <a:gd name="T0" fmla="*/ 320 w 881"/>
                <a:gd name="T1" fmla="*/ 41 h 761"/>
                <a:gd name="T2" fmla="*/ 376 w 881"/>
                <a:gd name="T3" fmla="*/ 38 h 761"/>
                <a:gd name="T4" fmla="*/ 421 w 881"/>
                <a:gd name="T5" fmla="*/ 68 h 761"/>
                <a:gd name="T6" fmla="*/ 415 w 881"/>
                <a:gd name="T7" fmla="*/ 88 h 761"/>
                <a:gd name="T8" fmla="*/ 460 w 881"/>
                <a:gd name="T9" fmla="*/ 115 h 761"/>
                <a:gd name="T10" fmla="*/ 501 w 881"/>
                <a:gd name="T11" fmla="*/ 115 h 761"/>
                <a:gd name="T12" fmla="*/ 564 w 881"/>
                <a:gd name="T13" fmla="*/ 131 h 761"/>
                <a:gd name="T14" fmla="*/ 622 w 881"/>
                <a:gd name="T15" fmla="*/ 128 h 761"/>
                <a:gd name="T16" fmla="*/ 646 w 881"/>
                <a:gd name="T17" fmla="*/ 155 h 761"/>
                <a:gd name="T18" fmla="*/ 662 w 881"/>
                <a:gd name="T19" fmla="*/ 221 h 761"/>
                <a:gd name="T20" fmla="*/ 734 w 881"/>
                <a:gd name="T21" fmla="*/ 254 h 761"/>
                <a:gd name="T22" fmla="*/ 801 w 881"/>
                <a:gd name="T23" fmla="*/ 253 h 761"/>
                <a:gd name="T24" fmla="*/ 842 w 881"/>
                <a:gd name="T25" fmla="*/ 253 h 761"/>
                <a:gd name="T26" fmla="*/ 851 w 881"/>
                <a:gd name="T27" fmla="*/ 280 h 761"/>
                <a:gd name="T28" fmla="*/ 864 w 881"/>
                <a:gd name="T29" fmla="*/ 323 h 761"/>
                <a:gd name="T30" fmla="*/ 826 w 881"/>
                <a:gd name="T31" fmla="*/ 363 h 761"/>
                <a:gd name="T32" fmla="*/ 789 w 881"/>
                <a:gd name="T33" fmla="*/ 420 h 761"/>
                <a:gd name="T34" fmla="*/ 804 w 881"/>
                <a:gd name="T35" fmla="*/ 440 h 761"/>
                <a:gd name="T36" fmla="*/ 850 w 881"/>
                <a:gd name="T37" fmla="*/ 477 h 761"/>
                <a:gd name="T38" fmla="*/ 854 w 881"/>
                <a:gd name="T39" fmla="*/ 512 h 761"/>
                <a:gd name="T40" fmla="*/ 845 w 881"/>
                <a:gd name="T41" fmla="*/ 532 h 761"/>
                <a:gd name="T42" fmla="*/ 814 w 881"/>
                <a:gd name="T43" fmla="*/ 550 h 761"/>
                <a:gd name="T44" fmla="*/ 749 w 881"/>
                <a:gd name="T45" fmla="*/ 501 h 761"/>
                <a:gd name="T46" fmla="*/ 657 w 881"/>
                <a:gd name="T47" fmla="*/ 457 h 761"/>
                <a:gd name="T48" fmla="*/ 594 w 881"/>
                <a:gd name="T49" fmla="*/ 447 h 761"/>
                <a:gd name="T50" fmla="*/ 568 w 881"/>
                <a:gd name="T51" fmla="*/ 487 h 761"/>
                <a:gd name="T52" fmla="*/ 499 w 881"/>
                <a:gd name="T53" fmla="*/ 505 h 761"/>
                <a:gd name="T54" fmla="*/ 480 w 881"/>
                <a:gd name="T55" fmla="*/ 477 h 761"/>
                <a:gd name="T56" fmla="*/ 438 w 881"/>
                <a:gd name="T57" fmla="*/ 434 h 761"/>
                <a:gd name="T58" fmla="*/ 383 w 881"/>
                <a:gd name="T59" fmla="*/ 415 h 761"/>
                <a:gd name="T60" fmla="*/ 332 w 881"/>
                <a:gd name="T61" fmla="*/ 415 h 761"/>
                <a:gd name="T62" fmla="*/ 312 w 881"/>
                <a:gd name="T63" fmla="*/ 469 h 761"/>
                <a:gd name="T64" fmla="*/ 320 w 881"/>
                <a:gd name="T65" fmla="*/ 574 h 761"/>
                <a:gd name="T66" fmla="*/ 304 w 881"/>
                <a:gd name="T67" fmla="*/ 662 h 761"/>
                <a:gd name="T68" fmla="*/ 304 w 881"/>
                <a:gd name="T69" fmla="*/ 737 h 761"/>
                <a:gd name="T70" fmla="*/ 277 w 881"/>
                <a:gd name="T71" fmla="*/ 760 h 761"/>
                <a:gd name="T72" fmla="*/ 235 w 881"/>
                <a:gd name="T73" fmla="*/ 709 h 761"/>
                <a:gd name="T74" fmla="*/ 212 w 881"/>
                <a:gd name="T75" fmla="*/ 649 h 761"/>
                <a:gd name="T76" fmla="*/ 158 w 881"/>
                <a:gd name="T77" fmla="*/ 620 h 761"/>
                <a:gd name="T78" fmla="*/ 133 w 881"/>
                <a:gd name="T79" fmla="*/ 552 h 761"/>
                <a:gd name="T80" fmla="*/ 113 w 881"/>
                <a:gd name="T81" fmla="*/ 525 h 761"/>
                <a:gd name="T82" fmla="*/ 120 w 881"/>
                <a:gd name="T83" fmla="*/ 503 h 761"/>
                <a:gd name="T84" fmla="*/ 82 w 881"/>
                <a:gd name="T85" fmla="*/ 485 h 761"/>
                <a:gd name="T86" fmla="*/ 70 w 881"/>
                <a:gd name="T87" fmla="*/ 438 h 761"/>
                <a:gd name="T88" fmla="*/ 40 w 881"/>
                <a:gd name="T89" fmla="*/ 404 h 761"/>
                <a:gd name="T90" fmla="*/ 45 w 881"/>
                <a:gd name="T91" fmla="*/ 361 h 761"/>
                <a:gd name="T92" fmla="*/ 17 w 881"/>
                <a:gd name="T93" fmla="*/ 333 h 761"/>
                <a:gd name="T94" fmla="*/ 7 w 881"/>
                <a:gd name="T95" fmla="*/ 309 h 761"/>
                <a:gd name="T96" fmla="*/ 31 w 881"/>
                <a:gd name="T97" fmla="*/ 269 h 761"/>
                <a:gd name="T98" fmla="*/ 46 w 881"/>
                <a:gd name="T99" fmla="*/ 228 h 761"/>
                <a:gd name="T100" fmla="*/ 90 w 881"/>
                <a:gd name="T101" fmla="*/ 253 h 761"/>
                <a:gd name="T102" fmla="*/ 130 w 881"/>
                <a:gd name="T103" fmla="*/ 257 h 761"/>
                <a:gd name="T104" fmla="*/ 163 w 881"/>
                <a:gd name="T105" fmla="*/ 268 h 761"/>
                <a:gd name="T106" fmla="*/ 131 w 881"/>
                <a:gd name="T107" fmla="*/ 224 h 761"/>
                <a:gd name="T108" fmla="*/ 146 w 881"/>
                <a:gd name="T109" fmla="*/ 180 h 761"/>
                <a:gd name="T110" fmla="*/ 108 w 881"/>
                <a:gd name="T111" fmla="*/ 133 h 761"/>
                <a:gd name="T112" fmla="*/ 124 w 881"/>
                <a:gd name="T113" fmla="*/ 118 h 761"/>
                <a:gd name="T114" fmla="*/ 208 w 881"/>
                <a:gd name="T115" fmla="*/ 101 h 761"/>
                <a:gd name="T116" fmla="*/ 228 w 881"/>
                <a:gd name="T117" fmla="*/ 43 h 761"/>
                <a:gd name="T118" fmla="*/ 220 w 881"/>
                <a:gd name="T119" fmla="*/ 11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1" h="761">
                  <a:moveTo>
                    <a:pt x="263" y="0"/>
                  </a:moveTo>
                  <a:lnTo>
                    <a:pt x="266" y="1"/>
                  </a:lnTo>
                  <a:lnTo>
                    <a:pt x="269" y="3"/>
                  </a:lnTo>
                  <a:lnTo>
                    <a:pt x="272" y="6"/>
                  </a:lnTo>
                  <a:lnTo>
                    <a:pt x="275" y="8"/>
                  </a:lnTo>
                  <a:lnTo>
                    <a:pt x="277" y="10"/>
                  </a:lnTo>
                  <a:lnTo>
                    <a:pt x="286" y="18"/>
                  </a:lnTo>
                  <a:lnTo>
                    <a:pt x="290" y="22"/>
                  </a:lnTo>
                  <a:lnTo>
                    <a:pt x="303" y="34"/>
                  </a:lnTo>
                  <a:lnTo>
                    <a:pt x="306" y="36"/>
                  </a:lnTo>
                  <a:lnTo>
                    <a:pt x="309" y="38"/>
                  </a:lnTo>
                  <a:lnTo>
                    <a:pt x="310" y="39"/>
                  </a:lnTo>
                  <a:lnTo>
                    <a:pt x="312" y="41"/>
                  </a:lnTo>
                  <a:lnTo>
                    <a:pt x="315" y="41"/>
                  </a:lnTo>
                  <a:lnTo>
                    <a:pt x="317" y="41"/>
                  </a:lnTo>
                  <a:lnTo>
                    <a:pt x="320" y="41"/>
                  </a:lnTo>
                  <a:lnTo>
                    <a:pt x="323" y="41"/>
                  </a:lnTo>
                  <a:lnTo>
                    <a:pt x="325" y="40"/>
                  </a:lnTo>
                  <a:lnTo>
                    <a:pt x="327" y="39"/>
                  </a:lnTo>
                  <a:lnTo>
                    <a:pt x="340" y="33"/>
                  </a:lnTo>
                  <a:lnTo>
                    <a:pt x="343" y="31"/>
                  </a:lnTo>
                  <a:lnTo>
                    <a:pt x="346" y="30"/>
                  </a:lnTo>
                  <a:lnTo>
                    <a:pt x="350" y="28"/>
                  </a:lnTo>
                  <a:lnTo>
                    <a:pt x="353" y="28"/>
                  </a:lnTo>
                  <a:lnTo>
                    <a:pt x="356" y="28"/>
                  </a:lnTo>
                  <a:lnTo>
                    <a:pt x="358" y="28"/>
                  </a:lnTo>
                  <a:lnTo>
                    <a:pt x="360" y="28"/>
                  </a:lnTo>
                  <a:lnTo>
                    <a:pt x="362" y="28"/>
                  </a:lnTo>
                  <a:lnTo>
                    <a:pt x="365" y="30"/>
                  </a:lnTo>
                  <a:lnTo>
                    <a:pt x="367" y="31"/>
                  </a:lnTo>
                  <a:lnTo>
                    <a:pt x="370" y="33"/>
                  </a:lnTo>
                  <a:lnTo>
                    <a:pt x="376" y="38"/>
                  </a:lnTo>
                  <a:lnTo>
                    <a:pt x="380" y="41"/>
                  </a:lnTo>
                  <a:lnTo>
                    <a:pt x="385" y="45"/>
                  </a:lnTo>
                  <a:lnTo>
                    <a:pt x="389" y="47"/>
                  </a:lnTo>
                  <a:lnTo>
                    <a:pt x="391" y="48"/>
                  </a:lnTo>
                  <a:lnTo>
                    <a:pt x="394" y="49"/>
                  </a:lnTo>
                  <a:lnTo>
                    <a:pt x="405" y="53"/>
                  </a:lnTo>
                  <a:lnTo>
                    <a:pt x="409" y="55"/>
                  </a:lnTo>
                  <a:lnTo>
                    <a:pt x="412" y="56"/>
                  </a:lnTo>
                  <a:lnTo>
                    <a:pt x="415" y="57"/>
                  </a:lnTo>
                  <a:lnTo>
                    <a:pt x="417" y="58"/>
                  </a:lnTo>
                  <a:lnTo>
                    <a:pt x="418" y="60"/>
                  </a:lnTo>
                  <a:lnTo>
                    <a:pt x="419" y="61"/>
                  </a:lnTo>
                  <a:lnTo>
                    <a:pt x="420" y="62"/>
                  </a:lnTo>
                  <a:lnTo>
                    <a:pt x="420" y="64"/>
                  </a:lnTo>
                  <a:lnTo>
                    <a:pt x="421" y="66"/>
                  </a:lnTo>
                  <a:lnTo>
                    <a:pt x="421" y="68"/>
                  </a:lnTo>
                  <a:lnTo>
                    <a:pt x="421" y="69"/>
                  </a:lnTo>
                  <a:lnTo>
                    <a:pt x="420" y="71"/>
                  </a:lnTo>
                  <a:lnTo>
                    <a:pt x="420" y="74"/>
                  </a:lnTo>
                  <a:lnTo>
                    <a:pt x="419" y="76"/>
                  </a:lnTo>
                  <a:lnTo>
                    <a:pt x="418" y="77"/>
                  </a:lnTo>
                  <a:lnTo>
                    <a:pt x="417" y="78"/>
                  </a:lnTo>
                  <a:lnTo>
                    <a:pt x="416" y="80"/>
                  </a:lnTo>
                  <a:lnTo>
                    <a:pt x="414" y="81"/>
                  </a:lnTo>
                  <a:lnTo>
                    <a:pt x="411" y="83"/>
                  </a:lnTo>
                  <a:lnTo>
                    <a:pt x="410" y="83"/>
                  </a:lnTo>
                  <a:lnTo>
                    <a:pt x="410" y="84"/>
                  </a:lnTo>
                  <a:lnTo>
                    <a:pt x="410" y="85"/>
                  </a:lnTo>
                  <a:lnTo>
                    <a:pt x="410" y="86"/>
                  </a:lnTo>
                  <a:lnTo>
                    <a:pt x="411" y="87"/>
                  </a:lnTo>
                  <a:lnTo>
                    <a:pt x="412" y="88"/>
                  </a:lnTo>
                  <a:lnTo>
                    <a:pt x="415" y="88"/>
                  </a:lnTo>
                  <a:lnTo>
                    <a:pt x="418" y="89"/>
                  </a:lnTo>
                  <a:lnTo>
                    <a:pt x="420" y="90"/>
                  </a:lnTo>
                  <a:lnTo>
                    <a:pt x="422" y="91"/>
                  </a:lnTo>
                  <a:lnTo>
                    <a:pt x="430" y="91"/>
                  </a:lnTo>
                  <a:lnTo>
                    <a:pt x="434" y="92"/>
                  </a:lnTo>
                  <a:lnTo>
                    <a:pt x="436" y="93"/>
                  </a:lnTo>
                  <a:lnTo>
                    <a:pt x="438" y="93"/>
                  </a:lnTo>
                  <a:lnTo>
                    <a:pt x="440" y="94"/>
                  </a:lnTo>
                  <a:lnTo>
                    <a:pt x="442" y="95"/>
                  </a:lnTo>
                  <a:lnTo>
                    <a:pt x="443" y="96"/>
                  </a:lnTo>
                  <a:lnTo>
                    <a:pt x="445" y="98"/>
                  </a:lnTo>
                  <a:lnTo>
                    <a:pt x="447" y="99"/>
                  </a:lnTo>
                  <a:lnTo>
                    <a:pt x="449" y="101"/>
                  </a:lnTo>
                  <a:lnTo>
                    <a:pt x="452" y="105"/>
                  </a:lnTo>
                  <a:lnTo>
                    <a:pt x="458" y="113"/>
                  </a:lnTo>
                  <a:lnTo>
                    <a:pt x="460" y="115"/>
                  </a:lnTo>
                  <a:lnTo>
                    <a:pt x="462" y="116"/>
                  </a:lnTo>
                  <a:lnTo>
                    <a:pt x="463" y="118"/>
                  </a:lnTo>
                  <a:lnTo>
                    <a:pt x="465" y="119"/>
                  </a:lnTo>
                  <a:lnTo>
                    <a:pt x="467" y="121"/>
                  </a:lnTo>
                  <a:lnTo>
                    <a:pt x="469" y="121"/>
                  </a:lnTo>
                  <a:lnTo>
                    <a:pt x="472" y="123"/>
                  </a:lnTo>
                  <a:lnTo>
                    <a:pt x="475" y="123"/>
                  </a:lnTo>
                  <a:lnTo>
                    <a:pt x="476" y="123"/>
                  </a:lnTo>
                  <a:lnTo>
                    <a:pt x="478" y="123"/>
                  </a:lnTo>
                  <a:lnTo>
                    <a:pt x="480" y="123"/>
                  </a:lnTo>
                  <a:lnTo>
                    <a:pt x="482" y="123"/>
                  </a:lnTo>
                  <a:lnTo>
                    <a:pt x="484" y="123"/>
                  </a:lnTo>
                  <a:lnTo>
                    <a:pt x="487" y="122"/>
                  </a:lnTo>
                  <a:lnTo>
                    <a:pt x="490" y="121"/>
                  </a:lnTo>
                  <a:lnTo>
                    <a:pt x="493" y="119"/>
                  </a:lnTo>
                  <a:lnTo>
                    <a:pt x="501" y="115"/>
                  </a:lnTo>
                  <a:lnTo>
                    <a:pt x="504" y="113"/>
                  </a:lnTo>
                  <a:lnTo>
                    <a:pt x="507" y="113"/>
                  </a:lnTo>
                  <a:lnTo>
                    <a:pt x="508" y="112"/>
                  </a:lnTo>
                  <a:lnTo>
                    <a:pt x="510" y="112"/>
                  </a:lnTo>
                  <a:lnTo>
                    <a:pt x="512" y="112"/>
                  </a:lnTo>
                  <a:lnTo>
                    <a:pt x="514" y="113"/>
                  </a:lnTo>
                  <a:lnTo>
                    <a:pt x="517" y="113"/>
                  </a:lnTo>
                  <a:lnTo>
                    <a:pt x="532" y="117"/>
                  </a:lnTo>
                  <a:lnTo>
                    <a:pt x="537" y="118"/>
                  </a:lnTo>
                  <a:lnTo>
                    <a:pt x="549" y="122"/>
                  </a:lnTo>
                  <a:lnTo>
                    <a:pt x="556" y="124"/>
                  </a:lnTo>
                  <a:lnTo>
                    <a:pt x="561" y="126"/>
                  </a:lnTo>
                  <a:lnTo>
                    <a:pt x="564" y="128"/>
                  </a:lnTo>
                  <a:lnTo>
                    <a:pt x="564" y="128"/>
                  </a:lnTo>
                  <a:lnTo>
                    <a:pt x="564" y="129"/>
                  </a:lnTo>
                  <a:lnTo>
                    <a:pt x="564" y="131"/>
                  </a:lnTo>
                  <a:lnTo>
                    <a:pt x="564" y="132"/>
                  </a:lnTo>
                  <a:lnTo>
                    <a:pt x="564" y="133"/>
                  </a:lnTo>
                  <a:lnTo>
                    <a:pt x="565" y="133"/>
                  </a:lnTo>
                  <a:lnTo>
                    <a:pt x="566" y="134"/>
                  </a:lnTo>
                  <a:lnTo>
                    <a:pt x="567" y="134"/>
                  </a:lnTo>
                  <a:lnTo>
                    <a:pt x="568" y="135"/>
                  </a:lnTo>
                  <a:lnTo>
                    <a:pt x="570" y="135"/>
                  </a:lnTo>
                  <a:lnTo>
                    <a:pt x="577" y="134"/>
                  </a:lnTo>
                  <a:lnTo>
                    <a:pt x="582" y="134"/>
                  </a:lnTo>
                  <a:lnTo>
                    <a:pt x="586" y="133"/>
                  </a:lnTo>
                  <a:lnTo>
                    <a:pt x="594" y="131"/>
                  </a:lnTo>
                  <a:lnTo>
                    <a:pt x="598" y="131"/>
                  </a:lnTo>
                  <a:lnTo>
                    <a:pt x="602" y="131"/>
                  </a:lnTo>
                  <a:lnTo>
                    <a:pt x="610" y="130"/>
                  </a:lnTo>
                  <a:lnTo>
                    <a:pt x="618" y="128"/>
                  </a:lnTo>
                  <a:lnTo>
                    <a:pt x="622" y="128"/>
                  </a:lnTo>
                  <a:lnTo>
                    <a:pt x="624" y="128"/>
                  </a:lnTo>
                  <a:lnTo>
                    <a:pt x="627" y="128"/>
                  </a:lnTo>
                  <a:lnTo>
                    <a:pt x="629" y="129"/>
                  </a:lnTo>
                  <a:lnTo>
                    <a:pt x="632" y="130"/>
                  </a:lnTo>
                  <a:lnTo>
                    <a:pt x="634" y="131"/>
                  </a:lnTo>
                  <a:lnTo>
                    <a:pt x="635" y="131"/>
                  </a:lnTo>
                  <a:lnTo>
                    <a:pt x="637" y="132"/>
                  </a:lnTo>
                  <a:lnTo>
                    <a:pt x="638" y="133"/>
                  </a:lnTo>
                  <a:lnTo>
                    <a:pt x="639" y="134"/>
                  </a:lnTo>
                  <a:lnTo>
                    <a:pt x="640" y="136"/>
                  </a:lnTo>
                  <a:lnTo>
                    <a:pt x="642" y="138"/>
                  </a:lnTo>
                  <a:lnTo>
                    <a:pt x="642" y="140"/>
                  </a:lnTo>
                  <a:lnTo>
                    <a:pt x="643" y="143"/>
                  </a:lnTo>
                  <a:lnTo>
                    <a:pt x="644" y="147"/>
                  </a:lnTo>
                  <a:lnTo>
                    <a:pt x="645" y="151"/>
                  </a:lnTo>
                  <a:lnTo>
                    <a:pt x="646" y="155"/>
                  </a:lnTo>
                  <a:lnTo>
                    <a:pt x="647" y="161"/>
                  </a:lnTo>
                  <a:lnTo>
                    <a:pt x="647" y="166"/>
                  </a:lnTo>
                  <a:lnTo>
                    <a:pt x="646" y="172"/>
                  </a:lnTo>
                  <a:lnTo>
                    <a:pt x="645" y="180"/>
                  </a:lnTo>
                  <a:lnTo>
                    <a:pt x="644" y="185"/>
                  </a:lnTo>
                  <a:lnTo>
                    <a:pt x="644" y="190"/>
                  </a:lnTo>
                  <a:lnTo>
                    <a:pt x="644" y="194"/>
                  </a:lnTo>
                  <a:lnTo>
                    <a:pt x="644" y="197"/>
                  </a:lnTo>
                  <a:lnTo>
                    <a:pt x="645" y="200"/>
                  </a:lnTo>
                  <a:lnTo>
                    <a:pt x="647" y="203"/>
                  </a:lnTo>
                  <a:lnTo>
                    <a:pt x="649" y="208"/>
                  </a:lnTo>
                  <a:lnTo>
                    <a:pt x="650" y="210"/>
                  </a:lnTo>
                  <a:lnTo>
                    <a:pt x="652" y="211"/>
                  </a:lnTo>
                  <a:lnTo>
                    <a:pt x="653" y="213"/>
                  </a:lnTo>
                  <a:lnTo>
                    <a:pt x="655" y="215"/>
                  </a:lnTo>
                  <a:lnTo>
                    <a:pt x="662" y="221"/>
                  </a:lnTo>
                  <a:lnTo>
                    <a:pt x="669" y="227"/>
                  </a:lnTo>
                  <a:lnTo>
                    <a:pt x="672" y="229"/>
                  </a:lnTo>
                  <a:lnTo>
                    <a:pt x="679" y="235"/>
                  </a:lnTo>
                  <a:lnTo>
                    <a:pt x="682" y="238"/>
                  </a:lnTo>
                  <a:lnTo>
                    <a:pt x="684" y="240"/>
                  </a:lnTo>
                  <a:lnTo>
                    <a:pt x="688" y="243"/>
                  </a:lnTo>
                  <a:lnTo>
                    <a:pt x="704" y="252"/>
                  </a:lnTo>
                  <a:lnTo>
                    <a:pt x="713" y="257"/>
                  </a:lnTo>
                  <a:lnTo>
                    <a:pt x="715" y="258"/>
                  </a:lnTo>
                  <a:lnTo>
                    <a:pt x="716" y="258"/>
                  </a:lnTo>
                  <a:lnTo>
                    <a:pt x="719" y="258"/>
                  </a:lnTo>
                  <a:lnTo>
                    <a:pt x="720" y="258"/>
                  </a:lnTo>
                  <a:lnTo>
                    <a:pt x="726" y="255"/>
                  </a:lnTo>
                  <a:lnTo>
                    <a:pt x="729" y="255"/>
                  </a:lnTo>
                  <a:lnTo>
                    <a:pt x="731" y="254"/>
                  </a:lnTo>
                  <a:lnTo>
                    <a:pt x="734" y="254"/>
                  </a:lnTo>
                  <a:lnTo>
                    <a:pt x="736" y="254"/>
                  </a:lnTo>
                  <a:lnTo>
                    <a:pt x="739" y="255"/>
                  </a:lnTo>
                  <a:lnTo>
                    <a:pt x="750" y="258"/>
                  </a:lnTo>
                  <a:lnTo>
                    <a:pt x="753" y="259"/>
                  </a:lnTo>
                  <a:lnTo>
                    <a:pt x="756" y="259"/>
                  </a:lnTo>
                  <a:lnTo>
                    <a:pt x="760" y="260"/>
                  </a:lnTo>
                  <a:lnTo>
                    <a:pt x="766" y="260"/>
                  </a:lnTo>
                  <a:lnTo>
                    <a:pt x="771" y="260"/>
                  </a:lnTo>
                  <a:lnTo>
                    <a:pt x="776" y="260"/>
                  </a:lnTo>
                  <a:lnTo>
                    <a:pt x="779" y="260"/>
                  </a:lnTo>
                  <a:lnTo>
                    <a:pt x="782" y="260"/>
                  </a:lnTo>
                  <a:lnTo>
                    <a:pt x="784" y="259"/>
                  </a:lnTo>
                  <a:lnTo>
                    <a:pt x="786" y="258"/>
                  </a:lnTo>
                  <a:lnTo>
                    <a:pt x="790" y="257"/>
                  </a:lnTo>
                  <a:lnTo>
                    <a:pt x="798" y="254"/>
                  </a:lnTo>
                  <a:lnTo>
                    <a:pt x="801" y="253"/>
                  </a:lnTo>
                  <a:lnTo>
                    <a:pt x="806" y="252"/>
                  </a:lnTo>
                  <a:lnTo>
                    <a:pt x="813" y="250"/>
                  </a:lnTo>
                  <a:lnTo>
                    <a:pt x="816" y="250"/>
                  </a:lnTo>
                  <a:lnTo>
                    <a:pt x="818" y="249"/>
                  </a:lnTo>
                  <a:lnTo>
                    <a:pt x="822" y="247"/>
                  </a:lnTo>
                  <a:lnTo>
                    <a:pt x="824" y="246"/>
                  </a:lnTo>
                  <a:lnTo>
                    <a:pt x="826" y="246"/>
                  </a:lnTo>
                  <a:lnTo>
                    <a:pt x="828" y="246"/>
                  </a:lnTo>
                  <a:lnTo>
                    <a:pt x="829" y="246"/>
                  </a:lnTo>
                  <a:lnTo>
                    <a:pt x="831" y="247"/>
                  </a:lnTo>
                  <a:lnTo>
                    <a:pt x="832" y="247"/>
                  </a:lnTo>
                  <a:lnTo>
                    <a:pt x="834" y="248"/>
                  </a:lnTo>
                  <a:lnTo>
                    <a:pt x="837" y="250"/>
                  </a:lnTo>
                  <a:lnTo>
                    <a:pt x="841" y="252"/>
                  </a:lnTo>
                  <a:lnTo>
                    <a:pt x="841" y="253"/>
                  </a:lnTo>
                  <a:lnTo>
                    <a:pt x="842" y="253"/>
                  </a:lnTo>
                  <a:lnTo>
                    <a:pt x="843" y="255"/>
                  </a:lnTo>
                  <a:lnTo>
                    <a:pt x="844" y="255"/>
                  </a:lnTo>
                  <a:lnTo>
                    <a:pt x="844" y="257"/>
                  </a:lnTo>
                  <a:lnTo>
                    <a:pt x="845" y="258"/>
                  </a:lnTo>
                  <a:lnTo>
                    <a:pt x="845" y="260"/>
                  </a:lnTo>
                  <a:lnTo>
                    <a:pt x="845" y="261"/>
                  </a:lnTo>
                  <a:lnTo>
                    <a:pt x="844" y="263"/>
                  </a:lnTo>
                  <a:lnTo>
                    <a:pt x="843" y="268"/>
                  </a:lnTo>
                  <a:lnTo>
                    <a:pt x="843" y="268"/>
                  </a:lnTo>
                  <a:lnTo>
                    <a:pt x="843" y="270"/>
                  </a:lnTo>
                  <a:lnTo>
                    <a:pt x="843" y="270"/>
                  </a:lnTo>
                  <a:lnTo>
                    <a:pt x="844" y="272"/>
                  </a:lnTo>
                  <a:lnTo>
                    <a:pt x="844" y="273"/>
                  </a:lnTo>
                  <a:lnTo>
                    <a:pt x="845" y="275"/>
                  </a:lnTo>
                  <a:lnTo>
                    <a:pt x="848" y="278"/>
                  </a:lnTo>
                  <a:lnTo>
                    <a:pt x="851" y="280"/>
                  </a:lnTo>
                  <a:lnTo>
                    <a:pt x="854" y="282"/>
                  </a:lnTo>
                  <a:lnTo>
                    <a:pt x="861" y="287"/>
                  </a:lnTo>
                  <a:lnTo>
                    <a:pt x="863" y="288"/>
                  </a:lnTo>
                  <a:lnTo>
                    <a:pt x="865" y="290"/>
                  </a:lnTo>
                  <a:lnTo>
                    <a:pt x="868" y="293"/>
                  </a:lnTo>
                  <a:lnTo>
                    <a:pt x="874" y="300"/>
                  </a:lnTo>
                  <a:lnTo>
                    <a:pt x="880" y="307"/>
                  </a:lnTo>
                  <a:lnTo>
                    <a:pt x="881" y="308"/>
                  </a:lnTo>
                  <a:lnTo>
                    <a:pt x="881" y="308"/>
                  </a:lnTo>
                  <a:lnTo>
                    <a:pt x="880" y="309"/>
                  </a:lnTo>
                  <a:lnTo>
                    <a:pt x="879" y="310"/>
                  </a:lnTo>
                  <a:lnTo>
                    <a:pt x="876" y="315"/>
                  </a:lnTo>
                  <a:lnTo>
                    <a:pt x="873" y="317"/>
                  </a:lnTo>
                  <a:lnTo>
                    <a:pt x="871" y="319"/>
                  </a:lnTo>
                  <a:lnTo>
                    <a:pt x="867" y="321"/>
                  </a:lnTo>
                  <a:lnTo>
                    <a:pt x="864" y="323"/>
                  </a:lnTo>
                  <a:lnTo>
                    <a:pt x="859" y="325"/>
                  </a:lnTo>
                  <a:lnTo>
                    <a:pt x="852" y="326"/>
                  </a:lnTo>
                  <a:lnTo>
                    <a:pt x="846" y="328"/>
                  </a:lnTo>
                  <a:lnTo>
                    <a:pt x="844" y="328"/>
                  </a:lnTo>
                  <a:lnTo>
                    <a:pt x="842" y="329"/>
                  </a:lnTo>
                  <a:lnTo>
                    <a:pt x="841" y="330"/>
                  </a:lnTo>
                  <a:lnTo>
                    <a:pt x="840" y="330"/>
                  </a:lnTo>
                  <a:lnTo>
                    <a:pt x="839" y="332"/>
                  </a:lnTo>
                  <a:lnTo>
                    <a:pt x="838" y="334"/>
                  </a:lnTo>
                  <a:lnTo>
                    <a:pt x="835" y="340"/>
                  </a:lnTo>
                  <a:lnTo>
                    <a:pt x="831" y="345"/>
                  </a:lnTo>
                  <a:lnTo>
                    <a:pt x="831" y="348"/>
                  </a:lnTo>
                  <a:lnTo>
                    <a:pt x="830" y="349"/>
                  </a:lnTo>
                  <a:lnTo>
                    <a:pt x="829" y="351"/>
                  </a:lnTo>
                  <a:lnTo>
                    <a:pt x="827" y="360"/>
                  </a:lnTo>
                  <a:lnTo>
                    <a:pt x="826" y="363"/>
                  </a:lnTo>
                  <a:lnTo>
                    <a:pt x="826" y="365"/>
                  </a:lnTo>
                  <a:lnTo>
                    <a:pt x="825" y="367"/>
                  </a:lnTo>
                  <a:lnTo>
                    <a:pt x="824" y="369"/>
                  </a:lnTo>
                  <a:lnTo>
                    <a:pt x="819" y="376"/>
                  </a:lnTo>
                  <a:lnTo>
                    <a:pt x="817" y="378"/>
                  </a:lnTo>
                  <a:lnTo>
                    <a:pt x="816" y="381"/>
                  </a:lnTo>
                  <a:lnTo>
                    <a:pt x="814" y="388"/>
                  </a:lnTo>
                  <a:lnTo>
                    <a:pt x="813" y="391"/>
                  </a:lnTo>
                  <a:lnTo>
                    <a:pt x="811" y="393"/>
                  </a:lnTo>
                  <a:lnTo>
                    <a:pt x="810" y="395"/>
                  </a:lnTo>
                  <a:lnTo>
                    <a:pt x="808" y="397"/>
                  </a:lnTo>
                  <a:lnTo>
                    <a:pt x="801" y="405"/>
                  </a:lnTo>
                  <a:lnTo>
                    <a:pt x="797" y="410"/>
                  </a:lnTo>
                  <a:lnTo>
                    <a:pt x="795" y="411"/>
                  </a:lnTo>
                  <a:lnTo>
                    <a:pt x="791" y="415"/>
                  </a:lnTo>
                  <a:lnTo>
                    <a:pt x="789" y="420"/>
                  </a:lnTo>
                  <a:lnTo>
                    <a:pt x="786" y="423"/>
                  </a:lnTo>
                  <a:lnTo>
                    <a:pt x="785" y="425"/>
                  </a:lnTo>
                  <a:lnTo>
                    <a:pt x="784" y="428"/>
                  </a:lnTo>
                  <a:lnTo>
                    <a:pt x="783" y="431"/>
                  </a:lnTo>
                  <a:lnTo>
                    <a:pt x="784" y="432"/>
                  </a:lnTo>
                  <a:lnTo>
                    <a:pt x="784" y="434"/>
                  </a:lnTo>
                  <a:lnTo>
                    <a:pt x="785" y="435"/>
                  </a:lnTo>
                  <a:lnTo>
                    <a:pt x="786" y="436"/>
                  </a:lnTo>
                  <a:lnTo>
                    <a:pt x="787" y="437"/>
                  </a:lnTo>
                  <a:lnTo>
                    <a:pt x="789" y="437"/>
                  </a:lnTo>
                  <a:lnTo>
                    <a:pt x="795" y="437"/>
                  </a:lnTo>
                  <a:lnTo>
                    <a:pt x="798" y="437"/>
                  </a:lnTo>
                  <a:lnTo>
                    <a:pt x="799" y="438"/>
                  </a:lnTo>
                  <a:lnTo>
                    <a:pt x="801" y="439"/>
                  </a:lnTo>
                  <a:lnTo>
                    <a:pt x="803" y="440"/>
                  </a:lnTo>
                  <a:lnTo>
                    <a:pt x="804" y="440"/>
                  </a:lnTo>
                  <a:lnTo>
                    <a:pt x="806" y="442"/>
                  </a:lnTo>
                  <a:lnTo>
                    <a:pt x="808" y="445"/>
                  </a:lnTo>
                  <a:lnTo>
                    <a:pt x="809" y="446"/>
                  </a:lnTo>
                  <a:lnTo>
                    <a:pt x="812" y="453"/>
                  </a:lnTo>
                  <a:lnTo>
                    <a:pt x="814" y="455"/>
                  </a:lnTo>
                  <a:lnTo>
                    <a:pt x="816" y="457"/>
                  </a:lnTo>
                  <a:lnTo>
                    <a:pt x="818" y="460"/>
                  </a:lnTo>
                  <a:lnTo>
                    <a:pt x="821" y="462"/>
                  </a:lnTo>
                  <a:lnTo>
                    <a:pt x="824" y="463"/>
                  </a:lnTo>
                  <a:lnTo>
                    <a:pt x="828" y="465"/>
                  </a:lnTo>
                  <a:lnTo>
                    <a:pt x="835" y="468"/>
                  </a:lnTo>
                  <a:lnTo>
                    <a:pt x="838" y="470"/>
                  </a:lnTo>
                  <a:lnTo>
                    <a:pt x="841" y="471"/>
                  </a:lnTo>
                  <a:lnTo>
                    <a:pt x="844" y="473"/>
                  </a:lnTo>
                  <a:lnTo>
                    <a:pt x="846" y="475"/>
                  </a:lnTo>
                  <a:lnTo>
                    <a:pt x="850" y="477"/>
                  </a:lnTo>
                  <a:lnTo>
                    <a:pt x="851" y="479"/>
                  </a:lnTo>
                  <a:lnTo>
                    <a:pt x="854" y="480"/>
                  </a:lnTo>
                  <a:lnTo>
                    <a:pt x="856" y="482"/>
                  </a:lnTo>
                  <a:lnTo>
                    <a:pt x="857" y="484"/>
                  </a:lnTo>
                  <a:lnTo>
                    <a:pt x="859" y="486"/>
                  </a:lnTo>
                  <a:lnTo>
                    <a:pt x="861" y="490"/>
                  </a:lnTo>
                  <a:lnTo>
                    <a:pt x="866" y="499"/>
                  </a:lnTo>
                  <a:lnTo>
                    <a:pt x="867" y="502"/>
                  </a:lnTo>
                  <a:lnTo>
                    <a:pt x="868" y="502"/>
                  </a:lnTo>
                  <a:lnTo>
                    <a:pt x="866" y="504"/>
                  </a:lnTo>
                  <a:lnTo>
                    <a:pt x="862" y="509"/>
                  </a:lnTo>
                  <a:lnTo>
                    <a:pt x="861" y="510"/>
                  </a:lnTo>
                  <a:lnTo>
                    <a:pt x="860" y="510"/>
                  </a:lnTo>
                  <a:lnTo>
                    <a:pt x="859" y="511"/>
                  </a:lnTo>
                  <a:lnTo>
                    <a:pt x="858" y="512"/>
                  </a:lnTo>
                  <a:lnTo>
                    <a:pt x="854" y="512"/>
                  </a:lnTo>
                  <a:lnTo>
                    <a:pt x="854" y="512"/>
                  </a:lnTo>
                  <a:lnTo>
                    <a:pt x="853" y="512"/>
                  </a:lnTo>
                  <a:lnTo>
                    <a:pt x="852" y="514"/>
                  </a:lnTo>
                  <a:lnTo>
                    <a:pt x="852" y="516"/>
                  </a:lnTo>
                  <a:lnTo>
                    <a:pt x="851" y="517"/>
                  </a:lnTo>
                  <a:lnTo>
                    <a:pt x="851" y="520"/>
                  </a:lnTo>
                  <a:lnTo>
                    <a:pt x="849" y="522"/>
                  </a:lnTo>
                  <a:lnTo>
                    <a:pt x="846" y="525"/>
                  </a:lnTo>
                  <a:lnTo>
                    <a:pt x="846" y="526"/>
                  </a:lnTo>
                  <a:lnTo>
                    <a:pt x="846" y="527"/>
                  </a:lnTo>
                  <a:lnTo>
                    <a:pt x="846" y="527"/>
                  </a:lnTo>
                  <a:lnTo>
                    <a:pt x="846" y="528"/>
                  </a:lnTo>
                  <a:lnTo>
                    <a:pt x="848" y="529"/>
                  </a:lnTo>
                  <a:lnTo>
                    <a:pt x="848" y="530"/>
                  </a:lnTo>
                  <a:lnTo>
                    <a:pt x="847" y="530"/>
                  </a:lnTo>
                  <a:lnTo>
                    <a:pt x="845" y="532"/>
                  </a:lnTo>
                  <a:lnTo>
                    <a:pt x="842" y="534"/>
                  </a:lnTo>
                  <a:lnTo>
                    <a:pt x="841" y="535"/>
                  </a:lnTo>
                  <a:lnTo>
                    <a:pt x="839" y="535"/>
                  </a:lnTo>
                  <a:lnTo>
                    <a:pt x="837" y="536"/>
                  </a:lnTo>
                  <a:lnTo>
                    <a:pt x="836" y="537"/>
                  </a:lnTo>
                  <a:lnTo>
                    <a:pt x="836" y="538"/>
                  </a:lnTo>
                  <a:lnTo>
                    <a:pt x="834" y="540"/>
                  </a:lnTo>
                  <a:lnTo>
                    <a:pt x="830" y="551"/>
                  </a:lnTo>
                  <a:lnTo>
                    <a:pt x="829" y="555"/>
                  </a:lnTo>
                  <a:lnTo>
                    <a:pt x="828" y="557"/>
                  </a:lnTo>
                  <a:lnTo>
                    <a:pt x="827" y="557"/>
                  </a:lnTo>
                  <a:lnTo>
                    <a:pt x="826" y="557"/>
                  </a:lnTo>
                  <a:lnTo>
                    <a:pt x="824" y="556"/>
                  </a:lnTo>
                  <a:lnTo>
                    <a:pt x="821" y="555"/>
                  </a:lnTo>
                  <a:lnTo>
                    <a:pt x="819" y="553"/>
                  </a:lnTo>
                  <a:lnTo>
                    <a:pt x="814" y="550"/>
                  </a:lnTo>
                  <a:lnTo>
                    <a:pt x="809" y="546"/>
                  </a:lnTo>
                  <a:lnTo>
                    <a:pt x="805" y="542"/>
                  </a:lnTo>
                  <a:lnTo>
                    <a:pt x="801" y="538"/>
                  </a:lnTo>
                  <a:lnTo>
                    <a:pt x="797" y="534"/>
                  </a:lnTo>
                  <a:lnTo>
                    <a:pt x="789" y="523"/>
                  </a:lnTo>
                  <a:lnTo>
                    <a:pt x="785" y="519"/>
                  </a:lnTo>
                  <a:lnTo>
                    <a:pt x="782" y="516"/>
                  </a:lnTo>
                  <a:lnTo>
                    <a:pt x="779" y="514"/>
                  </a:lnTo>
                  <a:lnTo>
                    <a:pt x="776" y="511"/>
                  </a:lnTo>
                  <a:lnTo>
                    <a:pt x="772" y="509"/>
                  </a:lnTo>
                  <a:lnTo>
                    <a:pt x="769" y="507"/>
                  </a:lnTo>
                  <a:lnTo>
                    <a:pt x="765" y="505"/>
                  </a:lnTo>
                  <a:lnTo>
                    <a:pt x="762" y="504"/>
                  </a:lnTo>
                  <a:lnTo>
                    <a:pt x="760" y="503"/>
                  </a:lnTo>
                  <a:lnTo>
                    <a:pt x="756" y="502"/>
                  </a:lnTo>
                  <a:lnTo>
                    <a:pt x="749" y="501"/>
                  </a:lnTo>
                  <a:lnTo>
                    <a:pt x="746" y="500"/>
                  </a:lnTo>
                  <a:lnTo>
                    <a:pt x="733" y="497"/>
                  </a:lnTo>
                  <a:lnTo>
                    <a:pt x="729" y="496"/>
                  </a:lnTo>
                  <a:lnTo>
                    <a:pt x="726" y="495"/>
                  </a:lnTo>
                  <a:lnTo>
                    <a:pt x="722" y="494"/>
                  </a:lnTo>
                  <a:lnTo>
                    <a:pt x="719" y="492"/>
                  </a:lnTo>
                  <a:lnTo>
                    <a:pt x="716" y="491"/>
                  </a:lnTo>
                  <a:lnTo>
                    <a:pt x="713" y="490"/>
                  </a:lnTo>
                  <a:lnTo>
                    <a:pt x="706" y="485"/>
                  </a:lnTo>
                  <a:lnTo>
                    <a:pt x="694" y="477"/>
                  </a:lnTo>
                  <a:lnTo>
                    <a:pt x="682" y="468"/>
                  </a:lnTo>
                  <a:lnTo>
                    <a:pt x="678" y="465"/>
                  </a:lnTo>
                  <a:lnTo>
                    <a:pt x="674" y="463"/>
                  </a:lnTo>
                  <a:lnTo>
                    <a:pt x="668" y="460"/>
                  </a:lnTo>
                  <a:lnTo>
                    <a:pt x="663" y="458"/>
                  </a:lnTo>
                  <a:lnTo>
                    <a:pt x="657" y="457"/>
                  </a:lnTo>
                  <a:lnTo>
                    <a:pt x="654" y="456"/>
                  </a:lnTo>
                  <a:lnTo>
                    <a:pt x="652" y="455"/>
                  </a:lnTo>
                  <a:lnTo>
                    <a:pt x="647" y="455"/>
                  </a:lnTo>
                  <a:lnTo>
                    <a:pt x="641" y="455"/>
                  </a:lnTo>
                  <a:lnTo>
                    <a:pt x="636" y="455"/>
                  </a:lnTo>
                  <a:lnTo>
                    <a:pt x="628" y="456"/>
                  </a:lnTo>
                  <a:lnTo>
                    <a:pt x="625" y="456"/>
                  </a:lnTo>
                  <a:lnTo>
                    <a:pt x="622" y="456"/>
                  </a:lnTo>
                  <a:lnTo>
                    <a:pt x="617" y="455"/>
                  </a:lnTo>
                  <a:lnTo>
                    <a:pt x="612" y="455"/>
                  </a:lnTo>
                  <a:lnTo>
                    <a:pt x="609" y="454"/>
                  </a:lnTo>
                  <a:lnTo>
                    <a:pt x="607" y="453"/>
                  </a:lnTo>
                  <a:lnTo>
                    <a:pt x="604" y="452"/>
                  </a:lnTo>
                  <a:lnTo>
                    <a:pt x="598" y="449"/>
                  </a:lnTo>
                  <a:lnTo>
                    <a:pt x="595" y="448"/>
                  </a:lnTo>
                  <a:lnTo>
                    <a:pt x="594" y="447"/>
                  </a:lnTo>
                  <a:lnTo>
                    <a:pt x="593" y="447"/>
                  </a:lnTo>
                  <a:lnTo>
                    <a:pt x="592" y="447"/>
                  </a:lnTo>
                  <a:lnTo>
                    <a:pt x="591" y="447"/>
                  </a:lnTo>
                  <a:lnTo>
                    <a:pt x="590" y="448"/>
                  </a:lnTo>
                  <a:lnTo>
                    <a:pt x="589" y="449"/>
                  </a:lnTo>
                  <a:lnTo>
                    <a:pt x="588" y="450"/>
                  </a:lnTo>
                  <a:lnTo>
                    <a:pt x="587" y="452"/>
                  </a:lnTo>
                  <a:lnTo>
                    <a:pt x="586" y="455"/>
                  </a:lnTo>
                  <a:lnTo>
                    <a:pt x="584" y="462"/>
                  </a:lnTo>
                  <a:lnTo>
                    <a:pt x="582" y="467"/>
                  </a:lnTo>
                  <a:lnTo>
                    <a:pt x="579" y="472"/>
                  </a:lnTo>
                  <a:lnTo>
                    <a:pt x="576" y="479"/>
                  </a:lnTo>
                  <a:lnTo>
                    <a:pt x="574" y="482"/>
                  </a:lnTo>
                  <a:lnTo>
                    <a:pt x="572" y="484"/>
                  </a:lnTo>
                  <a:lnTo>
                    <a:pt x="570" y="485"/>
                  </a:lnTo>
                  <a:lnTo>
                    <a:pt x="568" y="487"/>
                  </a:lnTo>
                  <a:lnTo>
                    <a:pt x="567" y="487"/>
                  </a:lnTo>
                  <a:lnTo>
                    <a:pt x="565" y="488"/>
                  </a:lnTo>
                  <a:lnTo>
                    <a:pt x="562" y="489"/>
                  </a:lnTo>
                  <a:lnTo>
                    <a:pt x="559" y="489"/>
                  </a:lnTo>
                  <a:lnTo>
                    <a:pt x="551" y="490"/>
                  </a:lnTo>
                  <a:lnTo>
                    <a:pt x="544" y="490"/>
                  </a:lnTo>
                  <a:lnTo>
                    <a:pt x="539" y="491"/>
                  </a:lnTo>
                  <a:lnTo>
                    <a:pt x="534" y="492"/>
                  </a:lnTo>
                  <a:lnTo>
                    <a:pt x="529" y="493"/>
                  </a:lnTo>
                  <a:lnTo>
                    <a:pt x="524" y="495"/>
                  </a:lnTo>
                  <a:lnTo>
                    <a:pt x="519" y="497"/>
                  </a:lnTo>
                  <a:lnTo>
                    <a:pt x="509" y="502"/>
                  </a:lnTo>
                  <a:lnTo>
                    <a:pt x="506" y="504"/>
                  </a:lnTo>
                  <a:lnTo>
                    <a:pt x="503" y="505"/>
                  </a:lnTo>
                  <a:lnTo>
                    <a:pt x="501" y="505"/>
                  </a:lnTo>
                  <a:lnTo>
                    <a:pt x="499" y="505"/>
                  </a:lnTo>
                  <a:lnTo>
                    <a:pt x="492" y="506"/>
                  </a:lnTo>
                  <a:lnTo>
                    <a:pt x="488" y="506"/>
                  </a:lnTo>
                  <a:lnTo>
                    <a:pt x="487" y="506"/>
                  </a:lnTo>
                  <a:lnTo>
                    <a:pt x="486" y="506"/>
                  </a:lnTo>
                  <a:lnTo>
                    <a:pt x="484" y="505"/>
                  </a:lnTo>
                  <a:lnTo>
                    <a:pt x="483" y="505"/>
                  </a:lnTo>
                  <a:lnTo>
                    <a:pt x="482" y="504"/>
                  </a:lnTo>
                  <a:lnTo>
                    <a:pt x="482" y="503"/>
                  </a:lnTo>
                  <a:lnTo>
                    <a:pt x="481" y="502"/>
                  </a:lnTo>
                  <a:lnTo>
                    <a:pt x="480" y="500"/>
                  </a:lnTo>
                  <a:lnTo>
                    <a:pt x="480" y="498"/>
                  </a:lnTo>
                  <a:lnTo>
                    <a:pt x="480" y="495"/>
                  </a:lnTo>
                  <a:lnTo>
                    <a:pt x="481" y="485"/>
                  </a:lnTo>
                  <a:lnTo>
                    <a:pt x="481" y="482"/>
                  </a:lnTo>
                  <a:lnTo>
                    <a:pt x="480" y="480"/>
                  </a:lnTo>
                  <a:lnTo>
                    <a:pt x="480" y="477"/>
                  </a:lnTo>
                  <a:lnTo>
                    <a:pt x="480" y="475"/>
                  </a:lnTo>
                  <a:lnTo>
                    <a:pt x="478" y="468"/>
                  </a:lnTo>
                  <a:lnTo>
                    <a:pt x="477" y="465"/>
                  </a:lnTo>
                  <a:lnTo>
                    <a:pt x="475" y="457"/>
                  </a:lnTo>
                  <a:lnTo>
                    <a:pt x="472" y="451"/>
                  </a:lnTo>
                  <a:lnTo>
                    <a:pt x="471" y="447"/>
                  </a:lnTo>
                  <a:lnTo>
                    <a:pt x="470" y="445"/>
                  </a:lnTo>
                  <a:lnTo>
                    <a:pt x="468" y="443"/>
                  </a:lnTo>
                  <a:lnTo>
                    <a:pt x="467" y="442"/>
                  </a:lnTo>
                  <a:lnTo>
                    <a:pt x="465" y="440"/>
                  </a:lnTo>
                  <a:lnTo>
                    <a:pt x="461" y="438"/>
                  </a:lnTo>
                  <a:lnTo>
                    <a:pt x="457" y="437"/>
                  </a:lnTo>
                  <a:lnTo>
                    <a:pt x="454" y="435"/>
                  </a:lnTo>
                  <a:lnTo>
                    <a:pt x="450" y="435"/>
                  </a:lnTo>
                  <a:lnTo>
                    <a:pt x="445" y="434"/>
                  </a:lnTo>
                  <a:lnTo>
                    <a:pt x="438" y="434"/>
                  </a:lnTo>
                  <a:lnTo>
                    <a:pt x="434" y="433"/>
                  </a:lnTo>
                  <a:lnTo>
                    <a:pt x="425" y="434"/>
                  </a:lnTo>
                  <a:lnTo>
                    <a:pt x="422" y="433"/>
                  </a:lnTo>
                  <a:lnTo>
                    <a:pt x="415" y="432"/>
                  </a:lnTo>
                  <a:lnTo>
                    <a:pt x="412" y="432"/>
                  </a:lnTo>
                  <a:lnTo>
                    <a:pt x="409" y="431"/>
                  </a:lnTo>
                  <a:lnTo>
                    <a:pt x="405" y="430"/>
                  </a:lnTo>
                  <a:lnTo>
                    <a:pt x="403" y="430"/>
                  </a:lnTo>
                  <a:lnTo>
                    <a:pt x="400" y="428"/>
                  </a:lnTo>
                  <a:lnTo>
                    <a:pt x="398" y="427"/>
                  </a:lnTo>
                  <a:lnTo>
                    <a:pt x="396" y="426"/>
                  </a:lnTo>
                  <a:lnTo>
                    <a:pt x="395" y="425"/>
                  </a:lnTo>
                  <a:lnTo>
                    <a:pt x="389" y="419"/>
                  </a:lnTo>
                  <a:lnTo>
                    <a:pt x="386" y="417"/>
                  </a:lnTo>
                  <a:lnTo>
                    <a:pt x="385" y="416"/>
                  </a:lnTo>
                  <a:lnTo>
                    <a:pt x="383" y="415"/>
                  </a:lnTo>
                  <a:lnTo>
                    <a:pt x="382" y="414"/>
                  </a:lnTo>
                  <a:lnTo>
                    <a:pt x="380" y="413"/>
                  </a:lnTo>
                  <a:lnTo>
                    <a:pt x="377" y="412"/>
                  </a:lnTo>
                  <a:lnTo>
                    <a:pt x="375" y="412"/>
                  </a:lnTo>
                  <a:lnTo>
                    <a:pt x="367" y="411"/>
                  </a:lnTo>
                  <a:lnTo>
                    <a:pt x="358" y="409"/>
                  </a:lnTo>
                  <a:lnTo>
                    <a:pt x="354" y="408"/>
                  </a:lnTo>
                  <a:lnTo>
                    <a:pt x="351" y="408"/>
                  </a:lnTo>
                  <a:lnTo>
                    <a:pt x="349" y="408"/>
                  </a:lnTo>
                  <a:lnTo>
                    <a:pt x="346" y="408"/>
                  </a:lnTo>
                  <a:lnTo>
                    <a:pt x="343" y="409"/>
                  </a:lnTo>
                  <a:lnTo>
                    <a:pt x="341" y="410"/>
                  </a:lnTo>
                  <a:lnTo>
                    <a:pt x="338" y="411"/>
                  </a:lnTo>
                  <a:lnTo>
                    <a:pt x="335" y="412"/>
                  </a:lnTo>
                  <a:lnTo>
                    <a:pt x="334" y="414"/>
                  </a:lnTo>
                  <a:lnTo>
                    <a:pt x="332" y="415"/>
                  </a:lnTo>
                  <a:lnTo>
                    <a:pt x="331" y="416"/>
                  </a:lnTo>
                  <a:lnTo>
                    <a:pt x="330" y="417"/>
                  </a:lnTo>
                  <a:lnTo>
                    <a:pt x="330" y="418"/>
                  </a:lnTo>
                  <a:lnTo>
                    <a:pt x="329" y="420"/>
                  </a:lnTo>
                  <a:lnTo>
                    <a:pt x="328" y="422"/>
                  </a:lnTo>
                  <a:lnTo>
                    <a:pt x="327" y="427"/>
                  </a:lnTo>
                  <a:lnTo>
                    <a:pt x="326" y="431"/>
                  </a:lnTo>
                  <a:lnTo>
                    <a:pt x="325" y="435"/>
                  </a:lnTo>
                  <a:lnTo>
                    <a:pt x="324" y="438"/>
                  </a:lnTo>
                  <a:lnTo>
                    <a:pt x="322" y="442"/>
                  </a:lnTo>
                  <a:lnTo>
                    <a:pt x="317" y="452"/>
                  </a:lnTo>
                  <a:lnTo>
                    <a:pt x="316" y="455"/>
                  </a:lnTo>
                  <a:lnTo>
                    <a:pt x="315" y="459"/>
                  </a:lnTo>
                  <a:lnTo>
                    <a:pt x="313" y="462"/>
                  </a:lnTo>
                  <a:lnTo>
                    <a:pt x="312" y="465"/>
                  </a:lnTo>
                  <a:lnTo>
                    <a:pt x="312" y="469"/>
                  </a:lnTo>
                  <a:lnTo>
                    <a:pt x="312" y="472"/>
                  </a:lnTo>
                  <a:lnTo>
                    <a:pt x="312" y="477"/>
                  </a:lnTo>
                  <a:lnTo>
                    <a:pt x="311" y="482"/>
                  </a:lnTo>
                  <a:lnTo>
                    <a:pt x="312" y="489"/>
                  </a:lnTo>
                  <a:lnTo>
                    <a:pt x="312" y="494"/>
                  </a:lnTo>
                  <a:lnTo>
                    <a:pt x="313" y="503"/>
                  </a:lnTo>
                  <a:lnTo>
                    <a:pt x="315" y="516"/>
                  </a:lnTo>
                  <a:lnTo>
                    <a:pt x="316" y="527"/>
                  </a:lnTo>
                  <a:lnTo>
                    <a:pt x="316" y="531"/>
                  </a:lnTo>
                  <a:lnTo>
                    <a:pt x="320" y="548"/>
                  </a:lnTo>
                  <a:lnTo>
                    <a:pt x="320" y="553"/>
                  </a:lnTo>
                  <a:lnTo>
                    <a:pt x="320" y="557"/>
                  </a:lnTo>
                  <a:lnTo>
                    <a:pt x="321" y="561"/>
                  </a:lnTo>
                  <a:lnTo>
                    <a:pt x="321" y="565"/>
                  </a:lnTo>
                  <a:lnTo>
                    <a:pt x="320" y="569"/>
                  </a:lnTo>
                  <a:lnTo>
                    <a:pt x="320" y="574"/>
                  </a:lnTo>
                  <a:lnTo>
                    <a:pt x="319" y="581"/>
                  </a:lnTo>
                  <a:lnTo>
                    <a:pt x="315" y="598"/>
                  </a:lnTo>
                  <a:lnTo>
                    <a:pt x="313" y="602"/>
                  </a:lnTo>
                  <a:lnTo>
                    <a:pt x="312" y="607"/>
                  </a:lnTo>
                  <a:lnTo>
                    <a:pt x="311" y="610"/>
                  </a:lnTo>
                  <a:lnTo>
                    <a:pt x="310" y="615"/>
                  </a:lnTo>
                  <a:lnTo>
                    <a:pt x="310" y="620"/>
                  </a:lnTo>
                  <a:lnTo>
                    <a:pt x="309" y="625"/>
                  </a:lnTo>
                  <a:lnTo>
                    <a:pt x="309" y="630"/>
                  </a:lnTo>
                  <a:lnTo>
                    <a:pt x="310" y="640"/>
                  </a:lnTo>
                  <a:lnTo>
                    <a:pt x="310" y="643"/>
                  </a:lnTo>
                  <a:lnTo>
                    <a:pt x="310" y="646"/>
                  </a:lnTo>
                  <a:lnTo>
                    <a:pt x="309" y="648"/>
                  </a:lnTo>
                  <a:lnTo>
                    <a:pt x="308" y="650"/>
                  </a:lnTo>
                  <a:lnTo>
                    <a:pt x="305" y="657"/>
                  </a:lnTo>
                  <a:lnTo>
                    <a:pt x="304" y="662"/>
                  </a:lnTo>
                  <a:lnTo>
                    <a:pt x="300" y="675"/>
                  </a:lnTo>
                  <a:lnTo>
                    <a:pt x="297" y="685"/>
                  </a:lnTo>
                  <a:lnTo>
                    <a:pt x="295" y="689"/>
                  </a:lnTo>
                  <a:lnTo>
                    <a:pt x="295" y="694"/>
                  </a:lnTo>
                  <a:lnTo>
                    <a:pt x="294" y="699"/>
                  </a:lnTo>
                  <a:lnTo>
                    <a:pt x="293" y="705"/>
                  </a:lnTo>
                  <a:lnTo>
                    <a:pt x="292" y="710"/>
                  </a:lnTo>
                  <a:lnTo>
                    <a:pt x="292" y="714"/>
                  </a:lnTo>
                  <a:lnTo>
                    <a:pt x="293" y="717"/>
                  </a:lnTo>
                  <a:lnTo>
                    <a:pt x="294" y="719"/>
                  </a:lnTo>
                  <a:lnTo>
                    <a:pt x="295" y="722"/>
                  </a:lnTo>
                  <a:lnTo>
                    <a:pt x="295" y="724"/>
                  </a:lnTo>
                  <a:lnTo>
                    <a:pt x="297" y="726"/>
                  </a:lnTo>
                  <a:lnTo>
                    <a:pt x="301" y="732"/>
                  </a:lnTo>
                  <a:lnTo>
                    <a:pt x="303" y="735"/>
                  </a:lnTo>
                  <a:lnTo>
                    <a:pt x="304" y="737"/>
                  </a:lnTo>
                  <a:lnTo>
                    <a:pt x="305" y="739"/>
                  </a:lnTo>
                  <a:lnTo>
                    <a:pt x="305" y="742"/>
                  </a:lnTo>
                  <a:lnTo>
                    <a:pt x="306" y="744"/>
                  </a:lnTo>
                  <a:lnTo>
                    <a:pt x="305" y="746"/>
                  </a:lnTo>
                  <a:lnTo>
                    <a:pt x="305" y="748"/>
                  </a:lnTo>
                  <a:lnTo>
                    <a:pt x="304" y="750"/>
                  </a:lnTo>
                  <a:lnTo>
                    <a:pt x="302" y="753"/>
                  </a:lnTo>
                  <a:lnTo>
                    <a:pt x="301" y="755"/>
                  </a:lnTo>
                  <a:lnTo>
                    <a:pt x="298" y="757"/>
                  </a:lnTo>
                  <a:lnTo>
                    <a:pt x="296" y="759"/>
                  </a:lnTo>
                  <a:lnTo>
                    <a:pt x="293" y="760"/>
                  </a:lnTo>
                  <a:lnTo>
                    <a:pt x="291" y="761"/>
                  </a:lnTo>
                  <a:lnTo>
                    <a:pt x="288" y="761"/>
                  </a:lnTo>
                  <a:lnTo>
                    <a:pt x="285" y="761"/>
                  </a:lnTo>
                  <a:lnTo>
                    <a:pt x="281" y="761"/>
                  </a:lnTo>
                  <a:lnTo>
                    <a:pt x="277" y="760"/>
                  </a:lnTo>
                  <a:lnTo>
                    <a:pt x="272" y="759"/>
                  </a:lnTo>
                  <a:lnTo>
                    <a:pt x="267" y="758"/>
                  </a:lnTo>
                  <a:lnTo>
                    <a:pt x="253" y="754"/>
                  </a:lnTo>
                  <a:lnTo>
                    <a:pt x="243" y="751"/>
                  </a:lnTo>
                  <a:lnTo>
                    <a:pt x="240" y="750"/>
                  </a:lnTo>
                  <a:lnTo>
                    <a:pt x="241" y="750"/>
                  </a:lnTo>
                  <a:lnTo>
                    <a:pt x="241" y="749"/>
                  </a:lnTo>
                  <a:lnTo>
                    <a:pt x="242" y="749"/>
                  </a:lnTo>
                  <a:lnTo>
                    <a:pt x="242" y="748"/>
                  </a:lnTo>
                  <a:lnTo>
                    <a:pt x="243" y="746"/>
                  </a:lnTo>
                  <a:lnTo>
                    <a:pt x="243" y="743"/>
                  </a:lnTo>
                  <a:lnTo>
                    <a:pt x="241" y="739"/>
                  </a:lnTo>
                  <a:lnTo>
                    <a:pt x="239" y="730"/>
                  </a:lnTo>
                  <a:lnTo>
                    <a:pt x="238" y="725"/>
                  </a:lnTo>
                  <a:lnTo>
                    <a:pt x="237" y="719"/>
                  </a:lnTo>
                  <a:lnTo>
                    <a:pt x="235" y="709"/>
                  </a:lnTo>
                  <a:lnTo>
                    <a:pt x="235" y="707"/>
                  </a:lnTo>
                  <a:lnTo>
                    <a:pt x="235" y="704"/>
                  </a:lnTo>
                  <a:lnTo>
                    <a:pt x="234" y="701"/>
                  </a:lnTo>
                  <a:lnTo>
                    <a:pt x="232" y="697"/>
                  </a:lnTo>
                  <a:lnTo>
                    <a:pt x="225" y="684"/>
                  </a:lnTo>
                  <a:lnTo>
                    <a:pt x="224" y="679"/>
                  </a:lnTo>
                  <a:lnTo>
                    <a:pt x="223" y="677"/>
                  </a:lnTo>
                  <a:lnTo>
                    <a:pt x="222" y="674"/>
                  </a:lnTo>
                  <a:lnTo>
                    <a:pt x="220" y="666"/>
                  </a:lnTo>
                  <a:lnTo>
                    <a:pt x="220" y="662"/>
                  </a:lnTo>
                  <a:lnTo>
                    <a:pt x="218" y="658"/>
                  </a:lnTo>
                  <a:lnTo>
                    <a:pt x="218" y="656"/>
                  </a:lnTo>
                  <a:lnTo>
                    <a:pt x="217" y="654"/>
                  </a:lnTo>
                  <a:lnTo>
                    <a:pt x="215" y="652"/>
                  </a:lnTo>
                  <a:lnTo>
                    <a:pt x="213" y="650"/>
                  </a:lnTo>
                  <a:lnTo>
                    <a:pt x="212" y="649"/>
                  </a:lnTo>
                  <a:lnTo>
                    <a:pt x="210" y="648"/>
                  </a:lnTo>
                  <a:lnTo>
                    <a:pt x="208" y="647"/>
                  </a:lnTo>
                  <a:lnTo>
                    <a:pt x="206" y="647"/>
                  </a:lnTo>
                  <a:lnTo>
                    <a:pt x="195" y="644"/>
                  </a:lnTo>
                  <a:lnTo>
                    <a:pt x="192" y="643"/>
                  </a:lnTo>
                  <a:lnTo>
                    <a:pt x="188" y="642"/>
                  </a:lnTo>
                  <a:lnTo>
                    <a:pt x="183" y="639"/>
                  </a:lnTo>
                  <a:lnTo>
                    <a:pt x="180" y="638"/>
                  </a:lnTo>
                  <a:lnTo>
                    <a:pt x="176" y="636"/>
                  </a:lnTo>
                  <a:lnTo>
                    <a:pt x="173" y="634"/>
                  </a:lnTo>
                  <a:lnTo>
                    <a:pt x="170" y="632"/>
                  </a:lnTo>
                  <a:lnTo>
                    <a:pt x="168" y="630"/>
                  </a:lnTo>
                  <a:lnTo>
                    <a:pt x="165" y="628"/>
                  </a:lnTo>
                  <a:lnTo>
                    <a:pt x="163" y="626"/>
                  </a:lnTo>
                  <a:lnTo>
                    <a:pt x="160" y="623"/>
                  </a:lnTo>
                  <a:lnTo>
                    <a:pt x="158" y="620"/>
                  </a:lnTo>
                  <a:lnTo>
                    <a:pt x="156" y="617"/>
                  </a:lnTo>
                  <a:lnTo>
                    <a:pt x="154" y="615"/>
                  </a:lnTo>
                  <a:lnTo>
                    <a:pt x="152" y="611"/>
                  </a:lnTo>
                  <a:lnTo>
                    <a:pt x="150" y="608"/>
                  </a:lnTo>
                  <a:lnTo>
                    <a:pt x="149" y="605"/>
                  </a:lnTo>
                  <a:lnTo>
                    <a:pt x="148" y="603"/>
                  </a:lnTo>
                  <a:lnTo>
                    <a:pt x="147" y="599"/>
                  </a:lnTo>
                  <a:lnTo>
                    <a:pt x="145" y="590"/>
                  </a:lnTo>
                  <a:lnTo>
                    <a:pt x="145" y="585"/>
                  </a:lnTo>
                  <a:lnTo>
                    <a:pt x="143" y="582"/>
                  </a:lnTo>
                  <a:lnTo>
                    <a:pt x="139" y="575"/>
                  </a:lnTo>
                  <a:lnTo>
                    <a:pt x="138" y="570"/>
                  </a:lnTo>
                  <a:lnTo>
                    <a:pt x="135" y="563"/>
                  </a:lnTo>
                  <a:lnTo>
                    <a:pt x="134" y="557"/>
                  </a:lnTo>
                  <a:lnTo>
                    <a:pt x="133" y="555"/>
                  </a:lnTo>
                  <a:lnTo>
                    <a:pt x="133" y="552"/>
                  </a:lnTo>
                  <a:lnTo>
                    <a:pt x="132" y="550"/>
                  </a:lnTo>
                  <a:lnTo>
                    <a:pt x="131" y="550"/>
                  </a:lnTo>
                  <a:lnTo>
                    <a:pt x="130" y="549"/>
                  </a:lnTo>
                  <a:lnTo>
                    <a:pt x="128" y="547"/>
                  </a:lnTo>
                  <a:lnTo>
                    <a:pt x="126" y="546"/>
                  </a:lnTo>
                  <a:lnTo>
                    <a:pt x="118" y="542"/>
                  </a:lnTo>
                  <a:lnTo>
                    <a:pt x="116" y="541"/>
                  </a:lnTo>
                  <a:lnTo>
                    <a:pt x="115" y="540"/>
                  </a:lnTo>
                  <a:lnTo>
                    <a:pt x="113" y="539"/>
                  </a:lnTo>
                  <a:lnTo>
                    <a:pt x="113" y="537"/>
                  </a:lnTo>
                  <a:lnTo>
                    <a:pt x="112" y="536"/>
                  </a:lnTo>
                  <a:lnTo>
                    <a:pt x="111" y="535"/>
                  </a:lnTo>
                  <a:lnTo>
                    <a:pt x="110" y="532"/>
                  </a:lnTo>
                  <a:lnTo>
                    <a:pt x="111" y="530"/>
                  </a:lnTo>
                  <a:lnTo>
                    <a:pt x="112" y="527"/>
                  </a:lnTo>
                  <a:lnTo>
                    <a:pt x="113" y="525"/>
                  </a:lnTo>
                  <a:lnTo>
                    <a:pt x="114" y="522"/>
                  </a:lnTo>
                  <a:lnTo>
                    <a:pt x="115" y="521"/>
                  </a:lnTo>
                  <a:lnTo>
                    <a:pt x="118" y="519"/>
                  </a:lnTo>
                  <a:lnTo>
                    <a:pt x="123" y="515"/>
                  </a:lnTo>
                  <a:lnTo>
                    <a:pt x="124" y="514"/>
                  </a:lnTo>
                  <a:lnTo>
                    <a:pt x="125" y="513"/>
                  </a:lnTo>
                  <a:lnTo>
                    <a:pt x="125" y="511"/>
                  </a:lnTo>
                  <a:lnTo>
                    <a:pt x="126" y="509"/>
                  </a:lnTo>
                  <a:lnTo>
                    <a:pt x="126" y="507"/>
                  </a:lnTo>
                  <a:lnTo>
                    <a:pt x="126" y="506"/>
                  </a:lnTo>
                  <a:lnTo>
                    <a:pt x="126" y="505"/>
                  </a:lnTo>
                  <a:lnTo>
                    <a:pt x="125" y="505"/>
                  </a:lnTo>
                  <a:lnTo>
                    <a:pt x="125" y="504"/>
                  </a:lnTo>
                  <a:lnTo>
                    <a:pt x="123" y="503"/>
                  </a:lnTo>
                  <a:lnTo>
                    <a:pt x="122" y="503"/>
                  </a:lnTo>
                  <a:lnTo>
                    <a:pt x="120" y="503"/>
                  </a:lnTo>
                  <a:lnTo>
                    <a:pt x="118" y="503"/>
                  </a:lnTo>
                  <a:lnTo>
                    <a:pt x="110" y="505"/>
                  </a:lnTo>
                  <a:lnTo>
                    <a:pt x="107" y="505"/>
                  </a:lnTo>
                  <a:lnTo>
                    <a:pt x="104" y="505"/>
                  </a:lnTo>
                  <a:lnTo>
                    <a:pt x="103" y="504"/>
                  </a:lnTo>
                  <a:lnTo>
                    <a:pt x="101" y="503"/>
                  </a:lnTo>
                  <a:lnTo>
                    <a:pt x="99" y="502"/>
                  </a:lnTo>
                  <a:lnTo>
                    <a:pt x="97" y="502"/>
                  </a:lnTo>
                  <a:lnTo>
                    <a:pt x="95" y="500"/>
                  </a:lnTo>
                  <a:lnTo>
                    <a:pt x="93" y="499"/>
                  </a:lnTo>
                  <a:lnTo>
                    <a:pt x="90" y="497"/>
                  </a:lnTo>
                  <a:lnTo>
                    <a:pt x="88" y="495"/>
                  </a:lnTo>
                  <a:lnTo>
                    <a:pt x="86" y="492"/>
                  </a:lnTo>
                  <a:lnTo>
                    <a:pt x="85" y="490"/>
                  </a:lnTo>
                  <a:lnTo>
                    <a:pt x="83" y="487"/>
                  </a:lnTo>
                  <a:lnTo>
                    <a:pt x="82" y="485"/>
                  </a:lnTo>
                  <a:lnTo>
                    <a:pt x="81" y="482"/>
                  </a:lnTo>
                  <a:lnTo>
                    <a:pt x="80" y="480"/>
                  </a:lnTo>
                  <a:lnTo>
                    <a:pt x="81" y="477"/>
                  </a:lnTo>
                  <a:lnTo>
                    <a:pt x="81" y="475"/>
                  </a:lnTo>
                  <a:lnTo>
                    <a:pt x="83" y="461"/>
                  </a:lnTo>
                  <a:lnTo>
                    <a:pt x="84" y="455"/>
                  </a:lnTo>
                  <a:lnTo>
                    <a:pt x="84" y="453"/>
                  </a:lnTo>
                  <a:lnTo>
                    <a:pt x="84" y="452"/>
                  </a:lnTo>
                  <a:lnTo>
                    <a:pt x="83" y="450"/>
                  </a:lnTo>
                  <a:lnTo>
                    <a:pt x="83" y="449"/>
                  </a:lnTo>
                  <a:lnTo>
                    <a:pt x="82" y="447"/>
                  </a:lnTo>
                  <a:lnTo>
                    <a:pt x="80" y="445"/>
                  </a:lnTo>
                  <a:lnTo>
                    <a:pt x="78" y="444"/>
                  </a:lnTo>
                  <a:lnTo>
                    <a:pt x="73" y="440"/>
                  </a:lnTo>
                  <a:lnTo>
                    <a:pt x="72" y="440"/>
                  </a:lnTo>
                  <a:lnTo>
                    <a:pt x="70" y="438"/>
                  </a:lnTo>
                  <a:lnTo>
                    <a:pt x="67" y="434"/>
                  </a:lnTo>
                  <a:lnTo>
                    <a:pt x="65" y="432"/>
                  </a:lnTo>
                  <a:lnTo>
                    <a:pt x="64" y="432"/>
                  </a:lnTo>
                  <a:lnTo>
                    <a:pt x="63" y="431"/>
                  </a:lnTo>
                  <a:lnTo>
                    <a:pt x="55" y="429"/>
                  </a:lnTo>
                  <a:lnTo>
                    <a:pt x="53" y="427"/>
                  </a:lnTo>
                  <a:lnTo>
                    <a:pt x="50" y="426"/>
                  </a:lnTo>
                  <a:lnTo>
                    <a:pt x="48" y="425"/>
                  </a:lnTo>
                  <a:lnTo>
                    <a:pt x="48" y="424"/>
                  </a:lnTo>
                  <a:lnTo>
                    <a:pt x="47" y="422"/>
                  </a:lnTo>
                  <a:lnTo>
                    <a:pt x="46" y="421"/>
                  </a:lnTo>
                  <a:lnTo>
                    <a:pt x="45" y="419"/>
                  </a:lnTo>
                  <a:lnTo>
                    <a:pt x="43" y="411"/>
                  </a:lnTo>
                  <a:lnTo>
                    <a:pt x="43" y="409"/>
                  </a:lnTo>
                  <a:lnTo>
                    <a:pt x="41" y="407"/>
                  </a:lnTo>
                  <a:lnTo>
                    <a:pt x="40" y="404"/>
                  </a:lnTo>
                  <a:lnTo>
                    <a:pt x="38" y="401"/>
                  </a:lnTo>
                  <a:lnTo>
                    <a:pt x="36" y="399"/>
                  </a:lnTo>
                  <a:lnTo>
                    <a:pt x="33" y="395"/>
                  </a:lnTo>
                  <a:lnTo>
                    <a:pt x="33" y="395"/>
                  </a:lnTo>
                  <a:lnTo>
                    <a:pt x="32" y="394"/>
                  </a:lnTo>
                  <a:lnTo>
                    <a:pt x="32" y="392"/>
                  </a:lnTo>
                  <a:lnTo>
                    <a:pt x="32" y="391"/>
                  </a:lnTo>
                  <a:lnTo>
                    <a:pt x="33" y="390"/>
                  </a:lnTo>
                  <a:lnTo>
                    <a:pt x="33" y="388"/>
                  </a:lnTo>
                  <a:lnTo>
                    <a:pt x="39" y="380"/>
                  </a:lnTo>
                  <a:lnTo>
                    <a:pt x="40" y="376"/>
                  </a:lnTo>
                  <a:lnTo>
                    <a:pt x="42" y="374"/>
                  </a:lnTo>
                  <a:lnTo>
                    <a:pt x="43" y="372"/>
                  </a:lnTo>
                  <a:lnTo>
                    <a:pt x="44" y="366"/>
                  </a:lnTo>
                  <a:lnTo>
                    <a:pt x="45" y="363"/>
                  </a:lnTo>
                  <a:lnTo>
                    <a:pt x="45" y="361"/>
                  </a:lnTo>
                  <a:lnTo>
                    <a:pt x="45" y="360"/>
                  </a:lnTo>
                  <a:lnTo>
                    <a:pt x="44" y="358"/>
                  </a:lnTo>
                  <a:lnTo>
                    <a:pt x="43" y="356"/>
                  </a:lnTo>
                  <a:lnTo>
                    <a:pt x="43" y="354"/>
                  </a:lnTo>
                  <a:lnTo>
                    <a:pt x="42" y="352"/>
                  </a:lnTo>
                  <a:lnTo>
                    <a:pt x="40" y="348"/>
                  </a:lnTo>
                  <a:lnTo>
                    <a:pt x="38" y="346"/>
                  </a:lnTo>
                  <a:lnTo>
                    <a:pt x="37" y="344"/>
                  </a:lnTo>
                  <a:lnTo>
                    <a:pt x="36" y="343"/>
                  </a:lnTo>
                  <a:lnTo>
                    <a:pt x="33" y="341"/>
                  </a:lnTo>
                  <a:lnTo>
                    <a:pt x="32" y="340"/>
                  </a:lnTo>
                  <a:lnTo>
                    <a:pt x="30" y="338"/>
                  </a:lnTo>
                  <a:lnTo>
                    <a:pt x="28" y="337"/>
                  </a:lnTo>
                  <a:lnTo>
                    <a:pt x="26" y="336"/>
                  </a:lnTo>
                  <a:lnTo>
                    <a:pt x="22" y="335"/>
                  </a:lnTo>
                  <a:lnTo>
                    <a:pt x="17" y="333"/>
                  </a:lnTo>
                  <a:lnTo>
                    <a:pt x="10" y="332"/>
                  </a:lnTo>
                  <a:lnTo>
                    <a:pt x="8" y="331"/>
                  </a:lnTo>
                  <a:lnTo>
                    <a:pt x="6" y="330"/>
                  </a:lnTo>
                  <a:lnTo>
                    <a:pt x="4" y="330"/>
                  </a:lnTo>
                  <a:lnTo>
                    <a:pt x="3" y="329"/>
                  </a:lnTo>
                  <a:lnTo>
                    <a:pt x="2" y="328"/>
                  </a:lnTo>
                  <a:lnTo>
                    <a:pt x="1" y="326"/>
                  </a:lnTo>
                  <a:lnTo>
                    <a:pt x="1" y="325"/>
                  </a:lnTo>
                  <a:lnTo>
                    <a:pt x="0" y="324"/>
                  </a:lnTo>
                  <a:lnTo>
                    <a:pt x="0" y="321"/>
                  </a:lnTo>
                  <a:lnTo>
                    <a:pt x="1" y="320"/>
                  </a:lnTo>
                  <a:lnTo>
                    <a:pt x="1" y="318"/>
                  </a:lnTo>
                  <a:lnTo>
                    <a:pt x="1" y="317"/>
                  </a:lnTo>
                  <a:lnTo>
                    <a:pt x="2" y="315"/>
                  </a:lnTo>
                  <a:lnTo>
                    <a:pt x="6" y="310"/>
                  </a:lnTo>
                  <a:lnTo>
                    <a:pt x="7" y="309"/>
                  </a:lnTo>
                  <a:lnTo>
                    <a:pt x="8" y="307"/>
                  </a:lnTo>
                  <a:lnTo>
                    <a:pt x="9" y="305"/>
                  </a:lnTo>
                  <a:lnTo>
                    <a:pt x="10" y="302"/>
                  </a:lnTo>
                  <a:lnTo>
                    <a:pt x="11" y="293"/>
                  </a:lnTo>
                  <a:lnTo>
                    <a:pt x="11" y="286"/>
                  </a:lnTo>
                  <a:lnTo>
                    <a:pt x="11" y="283"/>
                  </a:lnTo>
                  <a:lnTo>
                    <a:pt x="11" y="280"/>
                  </a:lnTo>
                  <a:lnTo>
                    <a:pt x="13" y="278"/>
                  </a:lnTo>
                  <a:lnTo>
                    <a:pt x="14" y="275"/>
                  </a:lnTo>
                  <a:lnTo>
                    <a:pt x="16" y="273"/>
                  </a:lnTo>
                  <a:lnTo>
                    <a:pt x="17" y="271"/>
                  </a:lnTo>
                  <a:lnTo>
                    <a:pt x="19" y="270"/>
                  </a:lnTo>
                  <a:lnTo>
                    <a:pt x="21" y="270"/>
                  </a:lnTo>
                  <a:lnTo>
                    <a:pt x="23" y="269"/>
                  </a:lnTo>
                  <a:lnTo>
                    <a:pt x="24" y="269"/>
                  </a:lnTo>
                  <a:lnTo>
                    <a:pt x="31" y="269"/>
                  </a:lnTo>
                  <a:lnTo>
                    <a:pt x="32" y="269"/>
                  </a:lnTo>
                  <a:lnTo>
                    <a:pt x="33" y="268"/>
                  </a:lnTo>
                  <a:lnTo>
                    <a:pt x="35" y="268"/>
                  </a:lnTo>
                  <a:lnTo>
                    <a:pt x="36" y="267"/>
                  </a:lnTo>
                  <a:lnTo>
                    <a:pt x="38" y="265"/>
                  </a:lnTo>
                  <a:lnTo>
                    <a:pt x="38" y="264"/>
                  </a:lnTo>
                  <a:lnTo>
                    <a:pt x="40" y="261"/>
                  </a:lnTo>
                  <a:lnTo>
                    <a:pt x="41" y="258"/>
                  </a:lnTo>
                  <a:lnTo>
                    <a:pt x="43" y="254"/>
                  </a:lnTo>
                  <a:lnTo>
                    <a:pt x="43" y="250"/>
                  </a:lnTo>
                  <a:lnTo>
                    <a:pt x="44" y="246"/>
                  </a:lnTo>
                  <a:lnTo>
                    <a:pt x="45" y="241"/>
                  </a:lnTo>
                  <a:lnTo>
                    <a:pt x="45" y="237"/>
                  </a:lnTo>
                  <a:lnTo>
                    <a:pt x="45" y="230"/>
                  </a:lnTo>
                  <a:lnTo>
                    <a:pt x="45" y="228"/>
                  </a:lnTo>
                  <a:lnTo>
                    <a:pt x="46" y="228"/>
                  </a:lnTo>
                  <a:lnTo>
                    <a:pt x="47" y="228"/>
                  </a:lnTo>
                  <a:lnTo>
                    <a:pt x="52" y="227"/>
                  </a:lnTo>
                  <a:lnTo>
                    <a:pt x="54" y="227"/>
                  </a:lnTo>
                  <a:lnTo>
                    <a:pt x="56" y="227"/>
                  </a:lnTo>
                  <a:lnTo>
                    <a:pt x="58" y="227"/>
                  </a:lnTo>
                  <a:lnTo>
                    <a:pt x="61" y="228"/>
                  </a:lnTo>
                  <a:lnTo>
                    <a:pt x="64" y="228"/>
                  </a:lnTo>
                  <a:lnTo>
                    <a:pt x="67" y="229"/>
                  </a:lnTo>
                  <a:lnTo>
                    <a:pt x="69" y="230"/>
                  </a:lnTo>
                  <a:lnTo>
                    <a:pt x="72" y="233"/>
                  </a:lnTo>
                  <a:lnTo>
                    <a:pt x="74" y="234"/>
                  </a:lnTo>
                  <a:lnTo>
                    <a:pt x="77" y="236"/>
                  </a:lnTo>
                  <a:lnTo>
                    <a:pt x="79" y="238"/>
                  </a:lnTo>
                  <a:lnTo>
                    <a:pt x="82" y="243"/>
                  </a:lnTo>
                  <a:lnTo>
                    <a:pt x="88" y="250"/>
                  </a:lnTo>
                  <a:lnTo>
                    <a:pt x="90" y="253"/>
                  </a:lnTo>
                  <a:lnTo>
                    <a:pt x="92" y="255"/>
                  </a:lnTo>
                  <a:lnTo>
                    <a:pt x="93" y="257"/>
                  </a:lnTo>
                  <a:lnTo>
                    <a:pt x="95" y="258"/>
                  </a:lnTo>
                  <a:lnTo>
                    <a:pt x="97" y="259"/>
                  </a:lnTo>
                  <a:lnTo>
                    <a:pt x="98" y="260"/>
                  </a:lnTo>
                  <a:lnTo>
                    <a:pt x="101" y="260"/>
                  </a:lnTo>
                  <a:lnTo>
                    <a:pt x="103" y="260"/>
                  </a:lnTo>
                  <a:lnTo>
                    <a:pt x="105" y="260"/>
                  </a:lnTo>
                  <a:lnTo>
                    <a:pt x="108" y="260"/>
                  </a:lnTo>
                  <a:lnTo>
                    <a:pt x="110" y="260"/>
                  </a:lnTo>
                  <a:lnTo>
                    <a:pt x="113" y="260"/>
                  </a:lnTo>
                  <a:lnTo>
                    <a:pt x="119" y="258"/>
                  </a:lnTo>
                  <a:lnTo>
                    <a:pt x="123" y="257"/>
                  </a:lnTo>
                  <a:lnTo>
                    <a:pt x="125" y="257"/>
                  </a:lnTo>
                  <a:lnTo>
                    <a:pt x="128" y="257"/>
                  </a:lnTo>
                  <a:lnTo>
                    <a:pt x="130" y="257"/>
                  </a:lnTo>
                  <a:lnTo>
                    <a:pt x="132" y="257"/>
                  </a:lnTo>
                  <a:lnTo>
                    <a:pt x="134" y="258"/>
                  </a:lnTo>
                  <a:lnTo>
                    <a:pt x="137" y="258"/>
                  </a:lnTo>
                  <a:lnTo>
                    <a:pt x="139" y="259"/>
                  </a:lnTo>
                  <a:lnTo>
                    <a:pt x="140" y="260"/>
                  </a:lnTo>
                  <a:lnTo>
                    <a:pt x="143" y="261"/>
                  </a:lnTo>
                  <a:lnTo>
                    <a:pt x="145" y="263"/>
                  </a:lnTo>
                  <a:lnTo>
                    <a:pt x="153" y="268"/>
                  </a:lnTo>
                  <a:lnTo>
                    <a:pt x="155" y="269"/>
                  </a:lnTo>
                  <a:lnTo>
                    <a:pt x="156" y="270"/>
                  </a:lnTo>
                  <a:lnTo>
                    <a:pt x="158" y="270"/>
                  </a:lnTo>
                  <a:lnTo>
                    <a:pt x="160" y="270"/>
                  </a:lnTo>
                  <a:lnTo>
                    <a:pt x="161" y="270"/>
                  </a:lnTo>
                  <a:lnTo>
                    <a:pt x="162" y="269"/>
                  </a:lnTo>
                  <a:lnTo>
                    <a:pt x="163" y="268"/>
                  </a:lnTo>
                  <a:lnTo>
                    <a:pt x="163" y="268"/>
                  </a:lnTo>
                  <a:lnTo>
                    <a:pt x="163" y="267"/>
                  </a:lnTo>
                  <a:lnTo>
                    <a:pt x="163" y="265"/>
                  </a:lnTo>
                  <a:lnTo>
                    <a:pt x="163" y="264"/>
                  </a:lnTo>
                  <a:lnTo>
                    <a:pt x="162" y="263"/>
                  </a:lnTo>
                  <a:lnTo>
                    <a:pt x="160" y="261"/>
                  </a:lnTo>
                  <a:lnTo>
                    <a:pt x="160" y="260"/>
                  </a:lnTo>
                  <a:lnTo>
                    <a:pt x="153" y="255"/>
                  </a:lnTo>
                  <a:lnTo>
                    <a:pt x="146" y="248"/>
                  </a:lnTo>
                  <a:lnTo>
                    <a:pt x="143" y="245"/>
                  </a:lnTo>
                  <a:lnTo>
                    <a:pt x="139" y="240"/>
                  </a:lnTo>
                  <a:lnTo>
                    <a:pt x="136" y="236"/>
                  </a:lnTo>
                  <a:lnTo>
                    <a:pt x="135" y="234"/>
                  </a:lnTo>
                  <a:lnTo>
                    <a:pt x="134" y="232"/>
                  </a:lnTo>
                  <a:lnTo>
                    <a:pt x="133" y="230"/>
                  </a:lnTo>
                  <a:lnTo>
                    <a:pt x="132" y="226"/>
                  </a:lnTo>
                  <a:lnTo>
                    <a:pt x="131" y="224"/>
                  </a:lnTo>
                  <a:lnTo>
                    <a:pt x="131" y="223"/>
                  </a:lnTo>
                  <a:lnTo>
                    <a:pt x="130" y="220"/>
                  </a:lnTo>
                  <a:lnTo>
                    <a:pt x="131" y="217"/>
                  </a:lnTo>
                  <a:lnTo>
                    <a:pt x="132" y="214"/>
                  </a:lnTo>
                  <a:lnTo>
                    <a:pt x="133" y="212"/>
                  </a:lnTo>
                  <a:lnTo>
                    <a:pt x="135" y="209"/>
                  </a:lnTo>
                  <a:lnTo>
                    <a:pt x="137" y="205"/>
                  </a:lnTo>
                  <a:lnTo>
                    <a:pt x="145" y="197"/>
                  </a:lnTo>
                  <a:lnTo>
                    <a:pt x="147" y="195"/>
                  </a:lnTo>
                  <a:lnTo>
                    <a:pt x="148" y="193"/>
                  </a:lnTo>
                  <a:lnTo>
                    <a:pt x="148" y="190"/>
                  </a:lnTo>
                  <a:lnTo>
                    <a:pt x="148" y="188"/>
                  </a:lnTo>
                  <a:lnTo>
                    <a:pt x="148" y="186"/>
                  </a:lnTo>
                  <a:lnTo>
                    <a:pt x="148" y="183"/>
                  </a:lnTo>
                  <a:lnTo>
                    <a:pt x="147" y="182"/>
                  </a:lnTo>
                  <a:lnTo>
                    <a:pt x="146" y="180"/>
                  </a:lnTo>
                  <a:lnTo>
                    <a:pt x="145" y="179"/>
                  </a:lnTo>
                  <a:lnTo>
                    <a:pt x="143" y="178"/>
                  </a:lnTo>
                  <a:lnTo>
                    <a:pt x="140" y="175"/>
                  </a:lnTo>
                  <a:lnTo>
                    <a:pt x="135" y="172"/>
                  </a:lnTo>
                  <a:lnTo>
                    <a:pt x="133" y="171"/>
                  </a:lnTo>
                  <a:lnTo>
                    <a:pt x="128" y="168"/>
                  </a:lnTo>
                  <a:lnTo>
                    <a:pt x="125" y="166"/>
                  </a:lnTo>
                  <a:lnTo>
                    <a:pt x="124" y="165"/>
                  </a:lnTo>
                  <a:lnTo>
                    <a:pt x="122" y="163"/>
                  </a:lnTo>
                  <a:lnTo>
                    <a:pt x="120" y="161"/>
                  </a:lnTo>
                  <a:lnTo>
                    <a:pt x="119" y="159"/>
                  </a:lnTo>
                  <a:lnTo>
                    <a:pt x="116" y="155"/>
                  </a:lnTo>
                  <a:lnTo>
                    <a:pt x="114" y="150"/>
                  </a:lnTo>
                  <a:lnTo>
                    <a:pt x="112" y="145"/>
                  </a:lnTo>
                  <a:lnTo>
                    <a:pt x="110" y="142"/>
                  </a:lnTo>
                  <a:lnTo>
                    <a:pt x="108" y="133"/>
                  </a:lnTo>
                  <a:lnTo>
                    <a:pt x="108" y="129"/>
                  </a:lnTo>
                  <a:lnTo>
                    <a:pt x="108" y="127"/>
                  </a:lnTo>
                  <a:lnTo>
                    <a:pt x="108" y="126"/>
                  </a:lnTo>
                  <a:lnTo>
                    <a:pt x="108" y="124"/>
                  </a:lnTo>
                  <a:lnTo>
                    <a:pt x="108" y="123"/>
                  </a:lnTo>
                  <a:lnTo>
                    <a:pt x="108" y="121"/>
                  </a:lnTo>
                  <a:lnTo>
                    <a:pt x="109" y="120"/>
                  </a:lnTo>
                  <a:lnTo>
                    <a:pt x="110" y="118"/>
                  </a:lnTo>
                  <a:lnTo>
                    <a:pt x="112" y="118"/>
                  </a:lnTo>
                  <a:lnTo>
                    <a:pt x="113" y="117"/>
                  </a:lnTo>
                  <a:lnTo>
                    <a:pt x="115" y="117"/>
                  </a:lnTo>
                  <a:lnTo>
                    <a:pt x="116" y="116"/>
                  </a:lnTo>
                  <a:lnTo>
                    <a:pt x="118" y="116"/>
                  </a:lnTo>
                  <a:lnTo>
                    <a:pt x="120" y="116"/>
                  </a:lnTo>
                  <a:lnTo>
                    <a:pt x="122" y="117"/>
                  </a:lnTo>
                  <a:lnTo>
                    <a:pt x="124" y="118"/>
                  </a:lnTo>
                  <a:lnTo>
                    <a:pt x="130" y="120"/>
                  </a:lnTo>
                  <a:lnTo>
                    <a:pt x="135" y="121"/>
                  </a:lnTo>
                  <a:lnTo>
                    <a:pt x="139" y="123"/>
                  </a:lnTo>
                  <a:lnTo>
                    <a:pt x="143" y="123"/>
                  </a:lnTo>
                  <a:lnTo>
                    <a:pt x="148" y="124"/>
                  </a:lnTo>
                  <a:lnTo>
                    <a:pt x="151" y="124"/>
                  </a:lnTo>
                  <a:lnTo>
                    <a:pt x="155" y="124"/>
                  </a:lnTo>
                  <a:lnTo>
                    <a:pt x="158" y="123"/>
                  </a:lnTo>
                  <a:lnTo>
                    <a:pt x="173" y="120"/>
                  </a:lnTo>
                  <a:lnTo>
                    <a:pt x="177" y="118"/>
                  </a:lnTo>
                  <a:lnTo>
                    <a:pt x="181" y="117"/>
                  </a:lnTo>
                  <a:lnTo>
                    <a:pt x="188" y="113"/>
                  </a:lnTo>
                  <a:lnTo>
                    <a:pt x="191" y="112"/>
                  </a:lnTo>
                  <a:lnTo>
                    <a:pt x="199" y="107"/>
                  </a:lnTo>
                  <a:lnTo>
                    <a:pt x="206" y="103"/>
                  </a:lnTo>
                  <a:lnTo>
                    <a:pt x="208" y="101"/>
                  </a:lnTo>
                  <a:lnTo>
                    <a:pt x="210" y="100"/>
                  </a:lnTo>
                  <a:lnTo>
                    <a:pt x="211" y="98"/>
                  </a:lnTo>
                  <a:lnTo>
                    <a:pt x="212" y="97"/>
                  </a:lnTo>
                  <a:lnTo>
                    <a:pt x="213" y="95"/>
                  </a:lnTo>
                  <a:lnTo>
                    <a:pt x="213" y="92"/>
                  </a:lnTo>
                  <a:lnTo>
                    <a:pt x="215" y="81"/>
                  </a:lnTo>
                  <a:lnTo>
                    <a:pt x="216" y="76"/>
                  </a:lnTo>
                  <a:lnTo>
                    <a:pt x="217" y="73"/>
                  </a:lnTo>
                  <a:lnTo>
                    <a:pt x="219" y="67"/>
                  </a:lnTo>
                  <a:lnTo>
                    <a:pt x="220" y="64"/>
                  </a:lnTo>
                  <a:lnTo>
                    <a:pt x="225" y="56"/>
                  </a:lnTo>
                  <a:lnTo>
                    <a:pt x="226" y="52"/>
                  </a:lnTo>
                  <a:lnTo>
                    <a:pt x="228" y="48"/>
                  </a:lnTo>
                  <a:lnTo>
                    <a:pt x="228" y="46"/>
                  </a:lnTo>
                  <a:lnTo>
                    <a:pt x="228" y="45"/>
                  </a:lnTo>
                  <a:lnTo>
                    <a:pt x="228" y="43"/>
                  </a:lnTo>
                  <a:lnTo>
                    <a:pt x="228" y="42"/>
                  </a:lnTo>
                  <a:lnTo>
                    <a:pt x="228" y="41"/>
                  </a:lnTo>
                  <a:lnTo>
                    <a:pt x="227" y="39"/>
                  </a:lnTo>
                  <a:lnTo>
                    <a:pt x="225" y="38"/>
                  </a:lnTo>
                  <a:lnTo>
                    <a:pt x="223" y="34"/>
                  </a:lnTo>
                  <a:lnTo>
                    <a:pt x="218" y="28"/>
                  </a:lnTo>
                  <a:lnTo>
                    <a:pt x="216" y="26"/>
                  </a:lnTo>
                  <a:lnTo>
                    <a:pt x="215" y="24"/>
                  </a:lnTo>
                  <a:lnTo>
                    <a:pt x="214" y="21"/>
                  </a:lnTo>
                  <a:lnTo>
                    <a:pt x="213" y="19"/>
                  </a:lnTo>
                  <a:lnTo>
                    <a:pt x="213" y="18"/>
                  </a:lnTo>
                  <a:lnTo>
                    <a:pt x="213" y="16"/>
                  </a:lnTo>
                  <a:lnTo>
                    <a:pt x="214" y="15"/>
                  </a:lnTo>
                  <a:lnTo>
                    <a:pt x="215" y="14"/>
                  </a:lnTo>
                  <a:lnTo>
                    <a:pt x="217" y="13"/>
                  </a:lnTo>
                  <a:lnTo>
                    <a:pt x="220" y="11"/>
                  </a:lnTo>
                  <a:lnTo>
                    <a:pt x="223" y="9"/>
                  </a:lnTo>
                  <a:lnTo>
                    <a:pt x="226" y="8"/>
                  </a:lnTo>
                  <a:lnTo>
                    <a:pt x="231" y="6"/>
                  </a:lnTo>
                  <a:lnTo>
                    <a:pt x="244" y="4"/>
                  </a:lnTo>
                  <a:lnTo>
                    <a:pt x="247" y="3"/>
                  </a:lnTo>
                  <a:lnTo>
                    <a:pt x="250" y="2"/>
                  </a:lnTo>
                  <a:lnTo>
                    <a:pt x="251" y="1"/>
                  </a:lnTo>
                  <a:lnTo>
                    <a:pt x="253" y="1"/>
                  </a:lnTo>
                  <a:lnTo>
                    <a:pt x="256" y="1"/>
                  </a:lnTo>
                  <a:lnTo>
                    <a:pt x="258" y="1"/>
                  </a:lnTo>
                  <a:lnTo>
                    <a:pt x="260" y="1"/>
                  </a:lnTo>
                  <a:lnTo>
                    <a:pt x="261" y="1"/>
                  </a:lnTo>
                  <a:lnTo>
                    <a:pt x="262" y="0"/>
                  </a:lnTo>
                  <a:lnTo>
                    <a:pt x="263" y="0"/>
                  </a:lnTo>
                  <a:close/>
                </a:path>
              </a:pathLst>
            </a:custGeom>
            <a:solidFill>
              <a:srgbClr val="EFF3FF"/>
            </a:solidFill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97">
              <a:extLst>
                <a:ext uri="{FF2B5EF4-FFF2-40B4-BE49-F238E27FC236}">
                  <a16:creationId xmlns:a16="http://schemas.microsoft.com/office/drawing/2014/main" id="{4673C540-6FF7-AF5E-DC26-E4BB961BE9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8673" y="5043325"/>
              <a:ext cx="996950" cy="1444625"/>
            </a:xfrm>
            <a:custGeom>
              <a:avLst/>
              <a:gdLst>
                <a:gd name="T0" fmla="*/ 169 w 628"/>
                <a:gd name="T1" fmla="*/ 5 h 910"/>
                <a:gd name="T2" fmla="*/ 189 w 628"/>
                <a:gd name="T3" fmla="*/ 76 h 910"/>
                <a:gd name="T4" fmla="*/ 212 w 628"/>
                <a:gd name="T5" fmla="*/ 77 h 910"/>
                <a:gd name="T6" fmla="*/ 241 w 628"/>
                <a:gd name="T7" fmla="*/ 94 h 910"/>
                <a:gd name="T8" fmla="*/ 269 w 628"/>
                <a:gd name="T9" fmla="*/ 132 h 910"/>
                <a:gd name="T10" fmla="*/ 331 w 628"/>
                <a:gd name="T11" fmla="*/ 152 h 910"/>
                <a:gd name="T12" fmla="*/ 359 w 628"/>
                <a:gd name="T13" fmla="*/ 197 h 910"/>
                <a:gd name="T14" fmla="*/ 386 w 628"/>
                <a:gd name="T15" fmla="*/ 229 h 910"/>
                <a:gd name="T16" fmla="*/ 431 w 628"/>
                <a:gd name="T17" fmla="*/ 257 h 910"/>
                <a:gd name="T18" fmla="*/ 421 w 628"/>
                <a:gd name="T19" fmla="*/ 296 h 910"/>
                <a:gd name="T20" fmla="*/ 398 w 628"/>
                <a:gd name="T21" fmla="*/ 307 h 910"/>
                <a:gd name="T22" fmla="*/ 386 w 628"/>
                <a:gd name="T23" fmla="*/ 347 h 910"/>
                <a:gd name="T24" fmla="*/ 402 w 628"/>
                <a:gd name="T25" fmla="*/ 362 h 910"/>
                <a:gd name="T26" fmla="*/ 428 w 628"/>
                <a:gd name="T27" fmla="*/ 383 h 910"/>
                <a:gd name="T28" fmla="*/ 418 w 628"/>
                <a:gd name="T29" fmla="*/ 419 h 910"/>
                <a:gd name="T30" fmla="*/ 430 w 628"/>
                <a:gd name="T31" fmla="*/ 448 h 910"/>
                <a:gd name="T32" fmla="*/ 455 w 628"/>
                <a:gd name="T33" fmla="*/ 467 h 910"/>
                <a:gd name="T34" fmla="*/ 466 w 628"/>
                <a:gd name="T35" fmla="*/ 504 h 910"/>
                <a:gd name="T36" fmla="*/ 482 w 628"/>
                <a:gd name="T37" fmla="*/ 531 h 910"/>
                <a:gd name="T38" fmla="*/ 510 w 628"/>
                <a:gd name="T39" fmla="*/ 534 h 910"/>
                <a:gd name="T40" fmla="*/ 498 w 628"/>
                <a:gd name="T41" fmla="*/ 554 h 910"/>
                <a:gd name="T42" fmla="*/ 513 w 628"/>
                <a:gd name="T43" fmla="*/ 576 h 910"/>
                <a:gd name="T44" fmla="*/ 530 w 628"/>
                <a:gd name="T45" fmla="*/ 619 h 910"/>
                <a:gd name="T46" fmla="*/ 553 w 628"/>
                <a:gd name="T47" fmla="*/ 659 h 910"/>
                <a:gd name="T48" fmla="*/ 597 w 628"/>
                <a:gd name="T49" fmla="*/ 678 h 910"/>
                <a:gd name="T50" fmla="*/ 617 w 628"/>
                <a:gd name="T51" fmla="*/ 726 h 910"/>
                <a:gd name="T52" fmla="*/ 627 w 628"/>
                <a:gd name="T53" fmla="*/ 778 h 910"/>
                <a:gd name="T54" fmla="*/ 584 w 628"/>
                <a:gd name="T55" fmla="*/ 766 h 910"/>
                <a:gd name="T56" fmla="*/ 545 w 628"/>
                <a:gd name="T57" fmla="*/ 772 h 910"/>
                <a:gd name="T58" fmla="*/ 530 w 628"/>
                <a:gd name="T59" fmla="*/ 833 h 910"/>
                <a:gd name="T60" fmla="*/ 480 w 628"/>
                <a:gd name="T61" fmla="*/ 880 h 910"/>
                <a:gd name="T62" fmla="*/ 460 w 628"/>
                <a:gd name="T63" fmla="*/ 910 h 910"/>
                <a:gd name="T64" fmla="*/ 438 w 628"/>
                <a:gd name="T65" fmla="*/ 876 h 910"/>
                <a:gd name="T66" fmla="*/ 435 w 628"/>
                <a:gd name="T67" fmla="*/ 834 h 910"/>
                <a:gd name="T68" fmla="*/ 411 w 628"/>
                <a:gd name="T69" fmla="*/ 821 h 910"/>
                <a:gd name="T70" fmla="*/ 348 w 628"/>
                <a:gd name="T71" fmla="*/ 763 h 910"/>
                <a:gd name="T72" fmla="*/ 336 w 628"/>
                <a:gd name="T73" fmla="*/ 728 h 910"/>
                <a:gd name="T74" fmla="*/ 275 w 628"/>
                <a:gd name="T75" fmla="*/ 743 h 910"/>
                <a:gd name="T76" fmla="*/ 250 w 628"/>
                <a:gd name="T77" fmla="*/ 731 h 910"/>
                <a:gd name="T78" fmla="*/ 238 w 628"/>
                <a:gd name="T79" fmla="*/ 684 h 910"/>
                <a:gd name="T80" fmla="*/ 203 w 628"/>
                <a:gd name="T81" fmla="*/ 649 h 910"/>
                <a:gd name="T82" fmla="*/ 162 w 628"/>
                <a:gd name="T83" fmla="*/ 626 h 910"/>
                <a:gd name="T84" fmla="*/ 159 w 628"/>
                <a:gd name="T85" fmla="*/ 604 h 910"/>
                <a:gd name="T86" fmla="*/ 99 w 628"/>
                <a:gd name="T87" fmla="*/ 569 h 910"/>
                <a:gd name="T88" fmla="*/ 61 w 628"/>
                <a:gd name="T89" fmla="*/ 532 h 910"/>
                <a:gd name="T90" fmla="*/ 21 w 628"/>
                <a:gd name="T91" fmla="*/ 501 h 910"/>
                <a:gd name="T92" fmla="*/ 0 w 628"/>
                <a:gd name="T93" fmla="*/ 472 h 910"/>
                <a:gd name="T94" fmla="*/ 22 w 628"/>
                <a:gd name="T95" fmla="*/ 448 h 910"/>
                <a:gd name="T96" fmla="*/ 59 w 628"/>
                <a:gd name="T97" fmla="*/ 419 h 910"/>
                <a:gd name="T98" fmla="*/ 49 w 628"/>
                <a:gd name="T99" fmla="*/ 382 h 910"/>
                <a:gd name="T100" fmla="*/ 31 w 628"/>
                <a:gd name="T101" fmla="*/ 349 h 910"/>
                <a:gd name="T102" fmla="*/ 30 w 628"/>
                <a:gd name="T103" fmla="*/ 297 h 910"/>
                <a:gd name="T104" fmla="*/ 21 w 628"/>
                <a:gd name="T105" fmla="*/ 279 h 910"/>
                <a:gd name="T106" fmla="*/ 33 w 628"/>
                <a:gd name="T107" fmla="*/ 264 h 910"/>
                <a:gd name="T108" fmla="*/ 54 w 628"/>
                <a:gd name="T109" fmla="*/ 249 h 910"/>
                <a:gd name="T110" fmla="*/ 60 w 628"/>
                <a:gd name="T111" fmla="*/ 221 h 910"/>
                <a:gd name="T112" fmla="*/ 84 w 628"/>
                <a:gd name="T113" fmla="*/ 179 h 910"/>
                <a:gd name="T114" fmla="*/ 79 w 628"/>
                <a:gd name="T115" fmla="*/ 130 h 910"/>
                <a:gd name="T116" fmla="*/ 99 w 628"/>
                <a:gd name="T117" fmla="*/ 123 h 910"/>
                <a:gd name="T118" fmla="*/ 133 w 628"/>
                <a:gd name="T119" fmla="*/ 128 h 910"/>
                <a:gd name="T120" fmla="*/ 116 w 628"/>
                <a:gd name="T121" fmla="*/ 84 h 910"/>
                <a:gd name="T122" fmla="*/ 116 w 628"/>
                <a:gd name="T123" fmla="*/ 35 h 910"/>
                <a:gd name="T124" fmla="*/ 150 w 628"/>
                <a:gd name="T125" fmla="*/ 13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28" h="910">
                  <a:moveTo>
                    <a:pt x="160" y="0"/>
                  </a:moveTo>
                  <a:lnTo>
                    <a:pt x="161" y="0"/>
                  </a:lnTo>
                  <a:lnTo>
                    <a:pt x="161" y="0"/>
                  </a:lnTo>
                  <a:lnTo>
                    <a:pt x="161" y="1"/>
                  </a:lnTo>
                  <a:lnTo>
                    <a:pt x="161" y="2"/>
                  </a:lnTo>
                  <a:lnTo>
                    <a:pt x="162" y="2"/>
                  </a:lnTo>
                  <a:lnTo>
                    <a:pt x="164" y="3"/>
                  </a:lnTo>
                  <a:lnTo>
                    <a:pt x="167" y="4"/>
                  </a:lnTo>
                  <a:lnTo>
                    <a:pt x="167" y="3"/>
                  </a:lnTo>
                  <a:lnTo>
                    <a:pt x="169" y="3"/>
                  </a:lnTo>
                  <a:lnTo>
                    <a:pt x="169" y="5"/>
                  </a:lnTo>
                  <a:lnTo>
                    <a:pt x="169" y="5"/>
                  </a:lnTo>
                  <a:lnTo>
                    <a:pt x="169" y="9"/>
                  </a:lnTo>
                  <a:lnTo>
                    <a:pt x="170" y="16"/>
                  </a:lnTo>
                  <a:lnTo>
                    <a:pt x="171" y="21"/>
                  </a:lnTo>
                  <a:lnTo>
                    <a:pt x="174" y="28"/>
                  </a:lnTo>
                  <a:lnTo>
                    <a:pt x="176" y="38"/>
                  </a:lnTo>
                  <a:lnTo>
                    <a:pt x="178" y="42"/>
                  </a:lnTo>
                  <a:lnTo>
                    <a:pt x="179" y="47"/>
                  </a:lnTo>
                  <a:lnTo>
                    <a:pt x="183" y="55"/>
                  </a:lnTo>
                  <a:lnTo>
                    <a:pt x="185" y="61"/>
                  </a:lnTo>
                  <a:lnTo>
                    <a:pt x="186" y="66"/>
                  </a:lnTo>
                  <a:lnTo>
                    <a:pt x="189" y="74"/>
                  </a:lnTo>
                  <a:lnTo>
                    <a:pt x="189" y="76"/>
                  </a:lnTo>
                  <a:lnTo>
                    <a:pt x="190" y="78"/>
                  </a:lnTo>
                  <a:lnTo>
                    <a:pt x="191" y="80"/>
                  </a:lnTo>
                  <a:lnTo>
                    <a:pt x="191" y="81"/>
                  </a:lnTo>
                  <a:lnTo>
                    <a:pt x="192" y="82"/>
                  </a:lnTo>
                  <a:lnTo>
                    <a:pt x="194" y="83"/>
                  </a:lnTo>
                  <a:lnTo>
                    <a:pt x="194" y="83"/>
                  </a:lnTo>
                  <a:lnTo>
                    <a:pt x="196" y="83"/>
                  </a:lnTo>
                  <a:lnTo>
                    <a:pt x="197" y="83"/>
                  </a:lnTo>
                  <a:lnTo>
                    <a:pt x="199" y="82"/>
                  </a:lnTo>
                  <a:lnTo>
                    <a:pt x="205" y="80"/>
                  </a:lnTo>
                  <a:lnTo>
                    <a:pt x="208" y="77"/>
                  </a:lnTo>
                  <a:lnTo>
                    <a:pt x="212" y="77"/>
                  </a:lnTo>
                  <a:lnTo>
                    <a:pt x="216" y="76"/>
                  </a:lnTo>
                  <a:lnTo>
                    <a:pt x="218" y="75"/>
                  </a:lnTo>
                  <a:lnTo>
                    <a:pt x="222" y="76"/>
                  </a:lnTo>
                  <a:lnTo>
                    <a:pt x="224" y="76"/>
                  </a:lnTo>
                  <a:lnTo>
                    <a:pt x="226" y="77"/>
                  </a:lnTo>
                  <a:lnTo>
                    <a:pt x="228" y="79"/>
                  </a:lnTo>
                  <a:lnTo>
                    <a:pt x="231" y="80"/>
                  </a:lnTo>
                  <a:lnTo>
                    <a:pt x="233" y="82"/>
                  </a:lnTo>
                  <a:lnTo>
                    <a:pt x="236" y="85"/>
                  </a:lnTo>
                  <a:lnTo>
                    <a:pt x="237" y="87"/>
                  </a:lnTo>
                  <a:lnTo>
                    <a:pt x="238" y="90"/>
                  </a:lnTo>
                  <a:lnTo>
                    <a:pt x="241" y="94"/>
                  </a:lnTo>
                  <a:lnTo>
                    <a:pt x="242" y="97"/>
                  </a:lnTo>
                  <a:lnTo>
                    <a:pt x="244" y="103"/>
                  </a:lnTo>
                  <a:lnTo>
                    <a:pt x="246" y="106"/>
                  </a:lnTo>
                  <a:lnTo>
                    <a:pt x="247" y="108"/>
                  </a:lnTo>
                  <a:lnTo>
                    <a:pt x="253" y="117"/>
                  </a:lnTo>
                  <a:lnTo>
                    <a:pt x="256" y="120"/>
                  </a:lnTo>
                  <a:lnTo>
                    <a:pt x="259" y="124"/>
                  </a:lnTo>
                  <a:lnTo>
                    <a:pt x="261" y="126"/>
                  </a:lnTo>
                  <a:lnTo>
                    <a:pt x="263" y="128"/>
                  </a:lnTo>
                  <a:lnTo>
                    <a:pt x="266" y="130"/>
                  </a:lnTo>
                  <a:lnTo>
                    <a:pt x="268" y="131"/>
                  </a:lnTo>
                  <a:lnTo>
                    <a:pt x="269" y="132"/>
                  </a:lnTo>
                  <a:lnTo>
                    <a:pt x="271" y="133"/>
                  </a:lnTo>
                  <a:lnTo>
                    <a:pt x="273" y="134"/>
                  </a:lnTo>
                  <a:lnTo>
                    <a:pt x="277" y="135"/>
                  </a:lnTo>
                  <a:lnTo>
                    <a:pt x="287" y="137"/>
                  </a:lnTo>
                  <a:lnTo>
                    <a:pt x="293" y="138"/>
                  </a:lnTo>
                  <a:lnTo>
                    <a:pt x="311" y="145"/>
                  </a:lnTo>
                  <a:lnTo>
                    <a:pt x="321" y="147"/>
                  </a:lnTo>
                  <a:lnTo>
                    <a:pt x="323" y="148"/>
                  </a:lnTo>
                  <a:lnTo>
                    <a:pt x="327" y="150"/>
                  </a:lnTo>
                  <a:lnTo>
                    <a:pt x="328" y="150"/>
                  </a:lnTo>
                  <a:lnTo>
                    <a:pt x="330" y="151"/>
                  </a:lnTo>
                  <a:lnTo>
                    <a:pt x="331" y="152"/>
                  </a:lnTo>
                  <a:lnTo>
                    <a:pt x="333" y="154"/>
                  </a:lnTo>
                  <a:lnTo>
                    <a:pt x="334" y="156"/>
                  </a:lnTo>
                  <a:lnTo>
                    <a:pt x="335" y="158"/>
                  </a:lnTo>
                  <a:lnTo>
                    <a:pt x="337" y="162"/>
                  </a:lnTo>
                  <a:lnTo>
                    <a:pt x="339" y="170"/>
                  </a:lnTo>
                  <a:lnTo>
                    <a:pt x="340" y="173"/>
                  </a:lnTo>
                  <a:lnTo>
                    <a:pt x="341" y="176"/>
                  </a:lnTo>
                  <a:lnTo>
                    <a:pt x="343" y="179"/>
                  </a:lnTo>
                  <a:lnTo>
                    <a:pt x="344" y="181"/>
                  </a:lnTo>
                  <a:lnTo>
                    <a:pt x="346" y="183"/>
                  </a:lnTo>
                  <a:lnTo>
                    <a:pt x="353" y="191"/>
                  </a:lnTo>
                  <a:lnTo>
                    <a:pt x="359" y="197"/>
                  </a:lnTo>
                  <a:lnTo>
                    <a:pt x="361" y="199"/>
                  </a:lnTo>
                  <a:lnTo>
                    <a:pt x="362" y="201"/>
                  </a:lnTo>
                  <a:lnTo>
                    <a:pt x="363" y="202"/>
                  </a:lnTo>
                  <a:lnTo>
                    <a:pt x="366" y="209"/>
                  </a:lnTo>
                  <a:lnTo>
                    <a:pt x="367" y="212"/>
                  </a:lnTo>
                  <a:lnTo>
                    <a:pt x="368" y="214"/>
                  </a:lnTo>
                  <a:lnTo>
                    <a:pt x="370" y="215"/>
                  </a:lnTo>
                  <a:lnTo>
                    <a:pt x="376" y="222"/>
                  </a:lnTo>
                  <a:lnTo>
                    <a:pt x="378" y="224"/>
                  </a:lnTo>
                  <a:lnTo>
                    <a:pt x="379" y="225"/>
                  </a:lnTo>
                  <a:lnTo>
                    <a:pt x="381" y="226"/>
                  </a:lnTo>
                  <a:lnTo>
                    <a:pt x="386" y="229"/>
                  </a:lnTo>
                  <a:lnTo>
                    <a:pt x="388" y="230"/>
                  </a:lnTo>
                  <a:lnTo>
                    <a:pt x="389" y="232"/>
                  </a:lnTo>
                  <a:lnTo>
                    <a:pt x="394" y="237"/>
                  </a:lnTo>
                  <a:lnTo>
                    <a:pt x="397" y="239"/>
                  </a:lnTo>
                  <a:lnTo>
                    <a:pt x="401" y="242"/>
                  </a:lnTo>
                  <a:lnTo>
                    <a:pt x="405" y="244"/>
                  </a:lnTo>
                  <a:lnTo>
                    <a:pt x="408" y="247"/>
                  </a:lnTo>
                  <a:lnTo>
                    <a:pt x="416" y="250"/>
                  </a:lnTo>
                  <a:lnTo>
                    <a:pt x="421" y="252"/>
                  </a:lnTo>
                  <a:lnTo>
                    <a:pt x="430" y="255"/>
                  </a:lnTo>
                  <a:lnTo>
                    <a:pt x="431" y="256"/>
                  </a:lnTo>
                  <a:lnTo>
                    <a:pt x="431" y="257"/>
                  </a:lnTo>
                  <a:lnTo>
                    <a:pt x="430" y="257"/>
                  </a:lnTo>
                  <a:lnTo>
                    <a:pt x="430" y="259"/>
                  </a:lnTo>
                  <a:lnTo>
                    <a:pt x="430" y="266"/>
                  </a:lnTo>
                  <a:lnTo>
                    <a:pt x="430" y="270"/>
                  </a:lnTo>
                  <a:lnTo>
                    <a:pt x="429" y="275"/>
                  </a:lnTo>
                  <a:lnTo>
                    <a:pt x="428" y="279"/>
                  </a:lnTo>
                  <a:lnTo>
                    <a:pt x="428" y="283"/>
                  </a:lnTo>
                  <a:lnTo>
                    <a:pt x="426" y="287"/>
                  </a:lnTo>
                  <a:lnTo>
                    <a:pt x="425" y="290"/>
                  </a:lnTo>
                  <a:lnTo>
                    <a:pt x="423" y="293"/>
                  </a:lnTo>
                  <a:lnTo>
                    <a:pt x="423" y="294"/>
                  </a:lnTo>
                  <a:lnTo>
                    <a:pt x="421" y="296"/>
                  </a:lnTo>
                  <a:lnTo>
                    <a:pt x="420" y="297"/>
                  </a:lnTo>
                  <a:lnTo>
                    <a:pt x="418" y="297"/>
                  </a:lnTo>
                  <a:lnTo>
                    <a:pt x="417" y="298"/>
                  </a:lnTo>
                  <a:lnTo>
                    <a:pt x="416" y="298"/>
                  </a:lnTo>
                  <a:lnTo>
                    <a:pt x="409" y="298"/>
                  </a:lnTo>
                  <a:lnTo>
                    <a:pt x="408" y="298"/>
                  </a:lnTo>
                  <a:lnTo>
                    <a:pt x="406" y="299"/>
                  </a:lnTo>
                  <a:lnTo>
                    <a:pt x="404" y="299"/>
                  </a:lnTo>
                  <a:lnTo>
                    <a:pt x="402" y="300"/>
                  </a:lnTo>
                  <a:lnTo>
                    <a:pt x="401" y="302"/>
                  </a:lnTo>
                  <a:lnTo>
                    <a:pt x="399" y="304"/>
                  </a:lnTo>
                  <a:lnTo>
                    <a:pt x="398" y="307"/>
                  </a:lnTo>
                  <a:lnTo>
                    <a:pt x="396" y="309"/>
                  </a:lnTo>
                  <a:lnTo>
                    <a:pt x="396" y="312"/>
                  </a:lnTo>
                  <a:lnTo>
                    <a:pt x="396" y="315"/>
                  </a:lnTo>
                  <a:lnTo>
                    <a:pt x="396" y="322"/>
                  </a:lnTo>
                  <a:lnTo>
                    <a:pt x="395" y="331"/>
                  </a:lnTo>
                  <a:lnTo>
                    <a:pt x="394" y="334"/>
                  </a:lnTo>
                  <a:lnTo>
                    <a:pt x="393" y="336"/>
                  </a:lnTo>
                  <a:lnTo>
                    <a:pt x="392" y="338"/>
                  </a:lnTo>
                  <a:lnTo>
                    <a:pt x="391" y="339"/>
                  </a:lnTo>
                  <a:lnTo>
                    <a:pt x="387" y="344"/>
                  </a:lnTo>
                  <a:lnTo>
                    <a:pt x="386" y="346"/>
                  </a:lnTo>
                  <a:lnTo>
                    <a:pt x="386" y="347"/>
                  </a:lnTo>
                  <a:lnTo>
                    <a:pt x="386" y="349"/>
                  </a:lnTo>
                  <a:lnTo>
                    <a:pt x="385" y="350"/>
                  </a:lnTo>
                  <a:lnTo>
                    <a:pt x="385" y="353"/>
                  </a:lnTo>
                  <a:lnTo>
                    <a:pt x="386" y="354"/>
                  </a:lnTo>
                  <a:lnTo>
                    <a:pt x="386" y="355"/>
                  </a:lnTo>
                  <a:lnTo>
                    <a:pt x="387" y="357"/>
                  </a:lnTo>
                  <a:lnTo>
                    <a:pt x="388" y="358"/>
                  </a:lnTo>
                  <a:lnTo>
                    <a:pt x="389" y="359"/>
                  </a:lnTo>
                  <a:lnTo>
                    <a:pt x="391" y="359"/>
                  </a:lnTo>
                  <a:lnTo>
                    <a:pt x="393" y="360"/>
                  </a:lnTo>
                  <a:lnTo>
                    <a:pt x="395" y="361"/>
                  </a:lnTo>
                  <a:lnTo>
                    <a:pt x="402" y="362"/>
                  </a:lnTo>
                  <a:lnTo>
                    <a:pt x="407" y="364"/>
                  </a:lnTo>
                  <a:lnTo>
                    <a:pt x="411" y="365"/>
                  </a:lnTo>
                  <a:lnTo>
                    <a:pt x="413" y="366"/>
                  </a:lnTo>
                  <a:lnTo>
                    <a:pt x="415" y="367"/>
                  </a:lnTo>
                  <a:lnTo>
                    <a:pt x="417" y="369"/>
                  </a:lnTo>
                  <a:lnTo>
                    <a:pt x="418" y="370"/>
                  </a:lnTo>
                  <a:lnTo>
                    <a:pt x="421" y="372"/>
                  </a:lnTo>
                  <a:lnTo>
                    <a:pt x="422" y="373"/>
                  </a:lnTo>
                  <a:lnTo>
                    <a:pt x="423" y="375"/>
                  </a:lnTo>
                  <a:lnTo>
                    <a:pt x="425" y="377"/>
                  </a:lnTo>
                  <a:lnTo>
                    <a:pt x="427" y="381"/>
                  </a:lnTo>
                  <a:lnTo>
                    <a:pt x="428" y="383"/>
                  </a:lnTo>
                  <a:lnTo>
                    <a:pt x="428" y="385"/>
                  </a:lnTo>
                  <a:lnTo>
                    <a:pt x="429" y="387"/>
                  </a:lnTo>
                  <a:lnTo>
                    <a:pt x="430" y="389"/>
                  </a:lnTo>
                  <a:lnTo>
                    <a:pt x="430" y="390"/>
                  </a:lnTo>
                  <a:lnTo>
                    <a:pt x="430" y="392"/>
                  </a:lnTo>
                  <a:lnTo>
                    <a:pt x="429" y="395"/>
                  </a:lnTo>
                  <a:lnTo>
                    <a:pt x="428" y="401"/>
                  </a:lnTo>
                  <a:lnTo>
                    <a:pt x="427" y="403"/>
                  </a:lnTo>
                  <a:lnTo>
                    <a:pt x="425" y="405"/>
                  </a:lnTo>
                  <a:lnTo>
                    <a:pt x="424" y="409"/>
                  </a:lnTo>
                  <a:lnTo>
                    <a:pt x="418" y="417"/>
                  </a:lnTo>
                  <a:lnTo>
                    <a:pt x="418" y="419"/>
                  </a:lnTo>
                  <a:lnTo>
                    <a:pt x="417" y="420"/>
                  </a:lnTo>
                  <a:lnTo>
                    <a:pt x="417" y="421"/>
                  </a:lnTo>
                  <a:lnTo>
                    <a:pt x="417" y="423"/>
                  </a:lnTo>
                  <a:lnTo>
                    <a:pt x="418" y="424"/>
                  </a:lnTo>
                  <a:lnTo>
                    <a:pt x="418" y="424"/>
                  </a:lnTo>
                  <a:lnTo>
                    <a:pt x="421" y="428"/>
                  </a:lnTo>
                  <a:lnTo>
                    <a:pt x="423" y="430"/>
                  </a:lnTo>
                  <a:lnTo>
                    <a:pt x="425" y="433"/>
                  </a:lnTo>
                  <a:lnTo>
                    <a:pt x="426" y="436"/>
                  </a:lnTo>
                  <a:lnTo>
                    <a:pt x="428" y="438"/>
                  </a:lnTo>
                  <a:lnTo>
                    <a:pt x="428" y="440"/>
                  </a:lnTo>
                  <a:lnTo>
                    <a:pt x="430" y="448"/>
                  </a:lnTo>
                  <a:lnTo>
                    <a:pt x="431" y="450"/>
                  </a:lnTo>
                  <a:lnTo>
                    <a:pt x="432" y="451"/>
                  </a:lnTo>
                  <a:lnTo>
                    <a:pt x="433" y="453"/>
                  </a:lnTo>
                  <a:lnTo>
                    <a:pt x="433" y="454"/>
                  </a:lnTo>
                  <a:lnTo>
                    <a:pt x="435" y="455"/>
                  </a:lnTo>
                  <a:lnTo>
                    <a:pt x="438" y="456"/>
                  </a:lnTo>
                  <a:lnTo>
                    <a:pt x="440" y="458"/>
                  </a:lnTo>
                  <a:lnTo>
                    <a:pt x="448" y="460"/>
                  </a:lnTo>
                  <a:lnTo>
                    <a:pt x="449" y="461"/>
                  </a:lnTo>
                  <a:lnTo>
                    <a:pt x="450" y="461"/>
                  </a:lnTo>
                  <a:lnTo>
                    <a:pt x="452" y="463"/>
                  </a:lnTo>
                  <a:lnTo>
                    <a:pt x="455" y="467"/>
                  </a:lnTo>
                  <a:lnTo>
                    <a:pt x="457" y="469"/>
                  </a:lnTo>
                  <a:lnTo>
                    <a:pt x="458" y="469"/>
                  </a:lnTo>
                  <a:lnTo>
                    <a:pt x="463" y="473"/>
                  </a:lnTo>
                  <a:lnTo>
                    <a:pt x="465" y="474"/>
                  </a:lnTo>
                  <a:lnTo>
                    <a:pt x="467" y="476"/>
                  </a:lnTo>
                  <a:lnTo>
                    <a:pt x="468" y="478"/>
                  </a:lnTo>
                  <a:lnTo>
                    <a:pt x="468" y="479"/>
                  </a:lnTo>
                  <a:lnTo>
                    <a:pt x="469" y="481"/>
                  </a:lnTo>
                  <a:lnTo>
                    <a:pt x="469" y="482"/>
                  </a:lnTo>
                  <a:lnTo>
                    <a:pt x="469" y="484"/>
                  </a:lnTo>
                  <a:lnTo>
                    <a:pt x="468" y="490"/>
                  </a:lnTo>
                  <a:lnTo>
                    <a:pt x="466" y="504"/>
                  </a:lnTo>
                  <a:lnTo>
                    <a:pt x="466" y="506"/>
                  </a:lnTo>
                  <a:lnTo>
                    <a:pt x="465" y="509"/>
                  </a:lnTo>
                  <a:lnTo>
                    <a:pt x="466" y="511"/>
                  </a:lnTo>
                  <a:lnTo>
                    <a:pt x="467" y="514"/>
                  </a:lnTo>
                  <a:lnTo>
                    <a:pt x="468" y="516"/>
                  </a:lnTo>
                  <a:lnTo>
                    <a:pt x="470" y="519"/>
                  </a:lnTo>
                  <a:lnTo>
                    <a:pt x="471" y="521"/>
                  </a:lnTo>
                  <a:lnTo>
                    <a:pt x="473" y="524"/>
                  </a:lnTo>
                  <a:lnTo>
                    <a:pt x="475" y="526"/>
                  </a:lnTo>
                  <a:lnTo>
                    <a:pt x="478" y="528"/>
                  </a:lnTo>
                  <a:lnTo>
                    <a:pt x="480" y="529"/>
                  </a:lnTo>
                  <a:lnTo>
                    <a:pt x="482" y="531"/>
                  </a:lnTo>
                  <a:lnTo>
                    <a:pt x="484" y="531"/>
                  </a:lnTo>
                  <a:lnTo>
                    <a:pt x="486" y="532"/>
                  </a:lnTo>
                  <a:lnTo>
                    <a:pt x="488" y="533"/>
                  </a:lnTo>
                  <a:lnTo>
                    <a:pt x="489" y="534"/>
                  </a:lnTo>
                  <a:lnTo>
                    <a:pt x="492" y="534"/>
                  </a:lnTo>
                  <a:lnTo>
                    <a:pt x="495" y="534"/>
                  </a:lnTo>
                  <a:lnTo>
                    <a:pt x="503" y="532"/>
                  </a:lnTo>
                  <a:lnTo>
                    <a:pt x="505" y="532"/>
                  </a:lnTo>
                  <a:lnTo>
                    <a:pt x="507" y="532"/>
                  </a:lnTo>
                  <a:lnTo>
                    <a:pt x="508" y="532"/>
                  </a:lnTo>
                  <a:lnTo>
                    <a:pt x="510" y="533"/>
                  </a:lnTo>
                  <a:lnTo>
                    <a:pt x="510" y="534"/>
                  </a:lnTo>
                  <a:lnTo>
                    <a:pt x="511" y="534"/>
                  </a:lnTo>
                  <a:lnTo>
                    <a:pt x="511" y="535"/>
                  </a:lnTo>
                  <a:lnTo>
                    <a:pt x="511" y="536"/>
                  </a:lnTo>
                  <a:lnTo>
                    <a:pt x="511" y="538"/>
                  </a:lnTo>
                  <a:lnTo>
                    <a:pt x="510" y="540"/>
                  </a:lnTo>
                  <a:lnTo>
                    <a:pt x="510" y="542"/>
                  </a:lnTo>
                  <a:lnTo>
                    <a:pt x="509" y="543"/>
                  </a:lnTo>
                  <a:lnTo>
                    <a:pt x="508" y="544"/>
                  </a:lnTo>
                  <a:lnTo>
                    <a:pt x="503" y="548"/>
                  </a:lnTo>
                  <a:lnTo>
                    <a:pt x="500" y="550"/>
                  </a:lnTo>
                  <a:lnTo>
                    <a:pt x="499" y="551"/>
                  </a:lnTo>
                  <a:lnTo>
                    <a:pt x="498" y="554"/>
                  </a:lnTo>
                  <a:lnTo>
                    <a:pt x="497" y="556"/>
                  </a:lnTo>
                  <a:lnTo>
                    <a:pt x="496" y="559"/>
                  </a:lnTo>
                  <a:lnTo>
                    <a:pt x="495" y="561"/>
                  </a:lnTo>
                  <a:lnTo>
                    <a:pt x="496" y="564"/>
                  </a:lnTo>
                  <a:lnTo>
                    <a:pt x="497" y="565"/>
                  </a:lnTo>
                  <a:lnTo>
                    <a:pt x="498" y="566"/>
                  </a:lnTo>
                  <a:lnTo>
                    <a:pt x="498" y="568"/>
                  </a:lnTo>
                  <a:lnTo>
                    <a:pt x="500" y="569"/>
                  </a:lnTo>
                  <a:lnTo>
                    <a:pt x="501" y="570"/>
                  </a:lnTo>
                  <a:lnTo>
                    <a:pt x="503" y="571"/>
                  </a:lnTo>
                  <a:lnTo>
                    <a:pt x="511" y="575"/>
                  </a:lnTo>
                  <a:lnTo>
                    <a:pt x="513" y="576"/>
                  </a:lnTo>
                  <a:lnTo>
                    <a:pt x="515" y="578"/>
                  </a:lnTo>
                  <a:lnTo>
                    <a:pt x="516" y="579"/>
                  </a:lnTo>
                  <a:lnTo>
                    <a:pt x="517" y="579"/>
                  </a:lnTo>
                  <a:lnTo>
                    <a:pt x="518" y="581"/>
                  </a:lnTo>
                  <a:lnTo>
                    <a:pt x="518" y="584"/>
                  </a:lnTo>
                  <a:lnTo>
                    <a:pt x="519" y="586"/>
                  </a:lnTo>
                  <a:lnTo>
                    <a:pt x="520" y="592"/>
                  </a:lnTo>
                  <a:lnTo>
                    <a:pt x="523" y="599"/>
                  </a:lnTo>
                  <a:lnTo>
                    <a:pt x="524" y="604"/>
                  </a:lnTo>
                  <a:lnTo>
                    <a:pt x="528" y="611"/>
                  </a:lnTo>
                  <a:lnTo>
                    <a:pt x="530" y="614"/>
                  </a:lnTo>
                  <a:lnTo>
                    <a:pt x="530" y="619"/>
                  </a:lnTo>
                  <a:lnTo>
                    <a:pt x="532" y="628"/>
                  </a:lnTo>
                  <a:lnTo>
                    <a:pt x="533" y="632"/>
                  </a:lnTo>
                  <a:lnTo>
                    <a:pt x="534" y="634"/>
                  </a:lnTo>
                  <a:lnTo>
                    <a:pt x="535" y="637"/>
                  </a:lnTo>
                  <a:lnTo>
                    <a:pt x="537" y="640"/>
                  </a:lnTo>
                  <a:lnTo>
                    <a:pt x="539" y="644"/>
                  </a:lnTo>
                  <a:lnTo>
                    <a:pt x="541" y="646"/>
                  </a:lnTo>
                  <a:lnTo>
                    <a:pt x="543" y="649"/>
                  </a:lnTo>
                  <a:lnTo>
                    <a:pt x="545" y="652"/>
                  </a:lnTo>
                  <a:lnTo>
                    <a:pt x="548" y="655"/>
                  </a:lnTo>
                  <a:lnTo>
                    <a:pt x="550" y="657"/>
                  </a:lnTo>
                  <a:lnTo>
                    <a:pt x="553" y="659"/>
                  </a:lnTo>
                  <a:lnTo>
                    <a:pt x="555" y="661"/>
                  </a:lnTo>
                  <a:lnTo>
                    <a:pt x="558" y="663"/>
                  </a:lnTo>
                  <a:lnTo>
                    <a:pt x="561" y="665"/>
                  </a:lnTo>
                  <a:lnTo>
                    <a:pt x="565" y="667"/>
                  </a:lnTo>
                  <a:lnTo>
                    <a:pt x="568" y="668"/>
                  </a:lnTo>
                  <a:lnTo>
                    <a:pt x="573" y="671"/>
                  </a:lnTo>
                  <a:lnTo>
                    <a:pt x="577" y="672"/>
                  </a:lnTo>
                  <a:lnTo>
                    <a:pt x="580" y="673"/>
                  </a:lnTo>
                  <a:lnTo>
                    <a:pt x="591" y="676"/>
                  </a:lnTo>
                  <a:lnTo>
                    <a:pt x="593" y="676"/>
                  </a:lnTo>
                  <a:lnTo>
                    <a:pt x="595" y="677"/>
                  </a:lnTo>
                  <a:lnTo>
                    <a:pt x="597" y="678"/>
                  </a:lnTo>
                  <a:lnTo>
                    <a:pt x="598" y="679"/>
                  </a:lnTo>
                  <a:lnTo>
                    <a:pt x="600" y="681"/>
                  </a:lnTo>
                  <a:lnTo>
                    <a:pt x="602" y="683"/>
                  </a:lnTo>
                  <a:lnTo>
                    <a:pt x="603" y="685"/>
                  </a:lnTo>
                  <a:lnTo>
                    <a:pt x="603" y="687"/>
                  </a:lnTo>
                  <a:lnTo>
                    <a:pt x="605" y="691"/>
                  </a:lnTo>
                  <a:lnTo>
                    <a:pt x="605" y="695"/>
                  </a:lnTo>
                  <a:lnTo>
                    <a:pt x="607" y="703"/>
                  </a:lnTo>
                  <a:lnTo>
                    <a:pt x="608" y="706"/>
                  </a:lnTo>
                  <a:lnTo>
                    <a:pt x="609" y="708"/>
                  </a:lnTo>
                  <a:lnTo>
                    <a:pt x="610" y="713"/>
                  </a:lnTo>
                  <a:lnTo>
                    <a:pt x="617" y="726"/>
                  </a:lnTo>
                  <a:lnTo>
                    <a:pt x="619" y="730"/>
                  </a:lnTo>
                  <a:lnTo>
                    <a:pt x="620" y="733"/>
                  </a:lnTo>
                  <a:lnTo>
                    <a:pt x="620" y="736"/>
                  </a:lnTo>
                  <a:lnTo>
                    <a:pt x="620" y="738"/>
                  </a:lnTo>
                  <a:lnTo>
                    <a:pt x="622" y="748"/>
                  </a:lnTo>
                  <a:lnTo>
                    <a:pt x="623" y="754"/>
                  </a:lnTo>
                  <a:lnTo>
                    <a:pt x="624" y="759"/>
                  </a:lnTo>
                  <a:lnTo>
                    <a:pt x="626" y="768"/>
                  </a:lnTo>
                  <a:lnTo>
                    <a:pt x="628" y="772"/>
                  </a:lnTo>
                  <a:lnTo>
                    <a:pt x="628" y="775"/>
                  </a:lnTo>
                  <a:lnTo>
                    <a:pt x="627" y="777"/>
                  </a:lnTo>
                  <a:lnTo>
                    <a:pt x="627" y="778"/>
                  </a:lnTo>
                  <a:lnTo>
                    <a:pt x="626" y="778"/>
                  </a:lnTo>
                  <a:lnTo>
                    <a:pt x="626" y="779"/>
                  </a:lnTo>
                  <a:lnTo>
                    <a:pt x="625" y="779"/>
                  </a:lnTo>
                  <a:lnTo>
                    <a:pt x="624" y="778"/>
                  </a:lnTo>
                  <a:lnTo>
                    <a:pt x="621" y="778"/>
                  </a:lnTo>
                  <a:lnTo>
                    <a:pt x="614" y="773"/>
                  </a:lnTo>
                  <a:lnTo>
                    <a:pt x="611" y="772"/>
                  </a:lnTo>
                  <a:lnTo>
                    <a:pt x="608" y="771"/>
                  </a:lnTo>
                  <a:lnTo>
                    <a:pt x="603" y="769"/>
                  </a:lnTo>
                  <a:lnTo>
                    <a:pt x="600" y="768"/>
                  </a:lnTo>
                  <a:lnTo>
                    <a:pt x="598" y="768"/>
                  </a:lnTo>
                  <a:lnTo>
                    <a:pt x="584" y="766"/>
                  </a:lnTo>
                  <a:lnTo>
                    <a:pt x="575" y="763"/>
                  </a:lnTo>
                  <a:lnTo>
                    <a:pt x="571" y="763"/>
                  </a:lnTo>
                  <a:lnTo>
                    <a:pt x="568" y="763"/>
                  </a:lnTo>
                  <a:lnTo>
                    <a:pt x="565" y="763"/>
                  </a:lnTo>
                  <a:lnTo>
                    <a:pt x="561" y="763"/>
                  </a:lnTo>
                  <a:lnTo>
                    <a:pt x="558" y="763"/>
                  </a:lnTo>
                  <a:lnTo>
                    <a:pt x="555" y="764"/>
                  </a:lnTo>
                  <a:lnTo>
                    <a:pt x="553" y="765"/>
                  </a:lnTo>
                  <a:lnTo>
                    <a:pt x="551" y="766"/>
                  </a:lnTo>
                  <a:lnTo>
                    <a:pt x="549" y="768"/>
                  </a:lnTo>
                  <a:lnTo>
                    <a:pt x="547" y="770"/>
                  </a:lnTo>
                  <a:lnTo>
                    <a:pt x="545" y="772"/>
                  </a:lnTo>
                  <a:lnTo>
                    <a:pt x="544" y="775"/>
                  </a:lnTo>
                  <a:lnTo>
                    <a:pt x="543" y="778"/>
                  </a:lnTo>
                  <a:lnTo>
                    <a:pt x="542" y="781"/>
                  </a:lnTo>
                  <a:lnTo>
                    <a:pt x="540" y="791"/>
                  </a:lnTo>
                  <a:lnTo>
                    <a:pt x="537" y="805"/>
                  </a:lnTo>
                  <a:lnTo>
                    <a:pt x="536" y="810"/>
                  </a:lnTo>
                  <a:lnTo>
                    <a:pt x="535" y="819"/>
                  </a:lnTo>
                  <a:lnTo>
                    <a:pt x="534" y="823"/>
                  </a:lnTo>
                  <a:lnTo>
                    <a:pt x="533" y="826"/>
                  </a:lnTo>
                  <a:lnTo>
                    <a:pt x="533" y="828"/>
                  </a:lnTo>
                  <a:lnTo>
                    <a:pt x="531" y="831"/>
                  </a:lnTo>
                  <a:lnTo>
                    <a:pt x="530" y="833"/>
                  </a:lnTo>
                  <a:lnTo>
                    <a:pt x="526" y="838"/>
                  </a:lnTo>
                  <a:lnTo>
                    <a:pt x="523" y="843"/>
                  </a:lnTo>
                  <a:lnTo>
                    <a:pt x="518" y="848"/>
                  </a:lnTo>
                  <a:lnTo>
                    <a:pt x="515" y="852"/>
                  </a:lnTo>
                  <a:lnTo>
                    <a:pt x="512" y="855"/>
                  </a:lnTo>
                  <a:lnTo>
                    <a:pt x="508" y="858"/>
                  </a:lnTo>
                  <a:lnTo>
                    <a:pt x="505" y="860"/>
                  </a:lnTo>
                  <a:lnTo>
                    <a:pt x="497" y="866"/>
                  </a:lnTo>
                  <a:lnTo>
                    <a:pt x="492" y="868"/>
                  </a:lnTo>
                  <a:lnTo>
                    <a:pt x="486" y="873"/>
                  </a:lnTo>
                  <a:lnTo>
                    <a:pt x="483" y="877"/>
                  </a:lnTo>
                  <a:lnTo>
                    <a:pt x="480" y="880"/>
                  </a:lnTo>
                  <a:lnTo>
                    <a:pt x="476" y="883"/>
                  </a:lnTo>
                  <a:lnTo>
                    <a:pt x="473" y="887"/>
                  </a:lnTo>
                  <a:lnTo>
                    <a:pt x="471" y="890"/>
                  </a:lnTo>
                  <a:lnTo>
                    <a:pt x="469" y="893"/>
                  </a:lnTo>
                  <a:lnTo>
                    <a:pt x="467" y="896"/>
                  </a:lnTo>
                  <a:lnTo>
                    <a:pt x="465" y="900"/>
                  </a:lnTo>
                  <a:lnTo>
                    <a:pt x="464" y="903"/>
                  </a:lnTo>
                  <a:lnTo>
                    <a:pt x="463" y="907"/>
                  </a:lnTo>
                  <a:lnTo>
                    <a:pt x="462" y="909"/>
                  </a:lnTo>
                  <a:lnTo>
                    <a:pt x="462" y="910"/>
                  </a:lnTo>
                  <a:lnTo>
                    <a:pt x="461" y="910"/>
                  </a:lnTo>
                  <a:lnTo>
                    <a:pt x="460" y="910"/>
                  </a:lnTo>
                  <a:lnTo>
                    <a:pt x="458" y="908"/>
                  </a:lnTo>
                  <a:lnTo>
                    <a:pt x="456" y="908"/>
                  </a:lnTo>
                  <a:lnTo>
                    <a:pt x="455" y="906"/>
                  </a:lnTo>
                  <a:lnTo>
                    <a:pt x="453" y="905"/>
                  </a:lnTo>
                  <a:lnTo>
                    <a:pt x="452" y="903"/>
                  </a:lnTo>
                  <a:lnTo>
                    <a:pt x="450" y="901"/>
                  </a:lnTo>
                  <a:lnTo>
                    <a:pt x="448" y="898"/>
                  </a:lnTo>
                  <a:lnTo>
                    <a:pt x="447" y="896"/>
                  </a:lnTo>
                  <a:lnTo>
                    <a:pt x="444" y="891"/>
                  </a:lnTo>
                  <a:lnTo>
                    <a:pt x="442" y="886"/>
                  </a:lnTo>
                  <a:lnTo>
                    <a:pt x="440" y="881"/>
                  </a:lnTo>
                  <a:lnTo>
                    <a:pt x="438" y="876"/>
                  </a:lnTo>
                  <a:lnTo>
                    <a:pt x="437" y="871"/>
                  </a:lnTo>
                  <a:lnTo>
                    <a:pt x="436" y="867"/>
                  </a:lnTo>
                  <a:lnTo>
                    <a:pt x="436" y="863"/>
                  </a:lnTo>
                  <a:lnTo>
                    <a:pt x="436" y="857"/>
                  </a:lnTo>
                  <a:lnTo>
                    <a:pt x="436" y="847"/>
                  </a:lnTo>
                  <a:lnTo>
                    <a:pt x="437" y="841"/>
                  </a:lnTo>
                  <a:lnTo>
                    <a:pt x="438" y="836"/>
                  </a:lnTo>
                  <a:lnTo>
                    <a:pt x="438" y="835"/>
                  </a:lnTo>
                  <a:lnTo>
                    <a:pt x="438" y="834"/>
                  </a:lnTo>
                  <a:lnTo>
                    <a:pt x="437" y="833"/>
                  </a:lnTo>
                  <a:lnTo>
                    <a:pt x="436" y="834"/>
                  </a:lnTo>
                  <a:lnTo>
                    <a:pt x="435" y="834"/>
                  </a:lnTo>
                  <a:lnTo>
                    <a:pt x="435" y="835"/>
                  </a:lnTo>
                  <a:lnTo>
                    <a:pt x="430" y="838"/>
                  </a:lnTo>
                  <a:lnTo>
                    <a:pt x="429" y="839"/>
                  </a:lnTo>
                  <a:lnTo>
                    <a:pt x="428" y="839"/>
                  </a:lnTo>
                  <a:lnTo>
                    <a:pt x="427" y="839"/>
                  </a:lnTo>
                  <a:lnTo>
                    <a:pt x="425" y="839"/>
                  </a:lnTo>
                  <a:lnTo>
                    <a:pt x="424" y="838"/>
                  </a:lnTo>
                  <a:lnTo>
                    <a:pt x="423" y="838"/>
                  </a:lnTo>
                  <a:lnTo>
                    <a:pt x="421" y="836"/>
                  </a:lnTo>
                  <a:lnTo>
                    <a:pt x="420" y="835"/>
                  </a:lnTo>
                  <a:lnTo>
                    <a:pt x="414" y="826"/>
                  </a:lnTo>
                  <a:lnTo>
                    <a:pt x="411" y="821"/>
                  </a:lnTo>
                  <a:lnTo>
                    <a:pt x="408" y="818"/>
                  </a:lnTo>
                  <a:lnTo>
                    <a:pt x="402" y="813"/>
                  </a:lnTo>
                  <a:lnTo>
                    <a:pt x="399" y="810"/>
                  </a:lnTo>
                  <a:lnTo>
                    <a:pt x="386" y="793"/>
                  </a:lnTo>
                  <a:lnTo>
                    <a:pt x="378" y="784"/>
                  </a:lnTo>
                  <a:lnTo>
                    <a:pt x="373" y="778"/>
                  </a:lnTo>
                  <a:lnTo>
                    <a:pt x="371" y="776"/>
                  </a:lnTo>
                  <a:lnTo>
                    <a:pt x="366" y="771"/>
                  </a:lnTo>
                  <a:lnTo>
                    <a:pt x="365" y="771"/>
                  </a:lnTo>
                  <a:lnTo>
                    <a:pt x="363" y="769"/>
                  </a:lnTo>
                  <a:lnTo>
                    <a:pt x="359" y="768"/>
                  </a:lnTo>
                  <a:lnTo>
                    <a:pt x="348" y="763"/>
                  </a:lnTo>
                  <a:lnTo>
                    <a:pt x="347" y="761"/>
                  </a:lnTo>
                  <a:lnTo>
                    <a:pt x="345" y="760"/>
                  </a:lnTo>
                  <a:lnTo>
                    <a:pt x="343" y="758"/>
                  </a:lnTo>
                  <a:lnTo>
                    <a:pt x="342" y="756"/>
                  </a:lnTo>
                  <a:lnTo>
                    <a:pt x="341" y="754"/>
                  </a:lnTo>
                  <a:lnTo>
                    <a:pt x="340" y="752"/>
                  </a:lnTo>
                  <a:lnTo>
                    <a:pt x="338" y="743"/>
                  </a:lnTo>
                  <a:lnTo>
                    <a:pt x="337" y="741"/>
                  </a:lnTo>
                  <a:lnTo>
                    <a:pt x="336" y="736"/>
                  </a:lnTo>
                  <a:lnTo>
                    <a:pt x="336" y="732"/>
                  </a:lnTo>
                  <a:lnTo>
                    <a:pt x="336" y="730"/>
                  </a:lnTo>
                  <a:lnTo>
                    <a:pt x="336" y="728"/>
                  </a:lnTo>
                  <a:lnTo>
                    <a:pt x="335" y="727"/>
                  </a:lnTo>
                  <a:lnTo>
                    <a:pt x="333" y="726"/>
                  </a:lnTo>
                  <a:lnTo>
                    <a:pt x="332" y="726"/>
                  </a:lnTo>
                  <a:lnTo>
                    <a:pt x="330" y="726"/>
                  </a:lnTo>
                  <a:lnTo>
                    <a:pt x="328" y="726"/>
                  </a:lnTo>
                  <a:lnTo>
                    <a:pt x="326" y="727"/>
                  </a:lnTo>
                  <a:lnTo>
                    <a:pt x="324" y="728"/>
                  </a:lnTo>
                  <a:lnTo>
                    <a:pt x="314" y="732"/>
                  </a:lnTo>
                  <a:lnTo>
                    <a:pt x="306" y="734"/>
                  </a:lnTo>
                  <a:lnTo>
                    <a:pt x="299" y="736"/>
                  </a:lnTo>
                  <a:lnTo>
                    <a:pt x="285" y="740"/>
                  </a:lnTo>
                  <a:lnTo>
                    <a:pt x="275" y="743"/>
                  </a:lnTo>
                  <a:lnTo>
                    <a:pt x="271" y="743"/>
                  </a:lnTo>
                  <a:lnTo>
                    <a:pt x="268" y="744"/>
                  </a:lnTo>
                  <a:lnTo>
                    <a:pt x="266" y="744"/>
                  </a:lnTo>
                  <a:lnTo>
                    <a:pt x="264" y="744"/>
                  </a:lnTo>
                  <a:lnTo>
                    <a:pt x="262" y="743"/>
                  </a:lnTo>
                  <a:lnTo>
                    <a:pt x="260" y="743"/>
                  </a:lnTo>
                  <a:lnTo>
                    <a:pt x="258" y="743"/>
                  </a:lnTo>
                  <a:lnTo>
                    <a:pt x="257" y="742"/>
                  </a:lnTo>
                  <a:lnTo>
                    <a:pt x="256" y="741"/>
                  </a:lnTo>
                  <a:lnTo>
                    <a:pt x="254" y="740"/>
                  </a:lnTo>
                  <a:lnTo>
                    <a:pt x="253" y="738"/>
                  </a:lnTo>
                  <a:lnTo>
                    <a:pt x="250" y="731"/>
                  </a:lnTo>
                  <a:lnTo>
                    <a:pt x="243" y="720"/>
                  </a:lnTo>
                  <a:lnTo>
                    <a:pt x="242" y="717"/>
                  </a:lnTo>
                  <a:lnTo>
                    <a:pt x="241" y="715"/>
                  </a:lnTo>
                  <a:lnTo>
                    <a:pt x="241" y="713"/>
                  </a:lnTo>
                  <a:lnTo>
                    <a:pt x="240" y="705"/>
                  </a:lnTo>
                  <a:lnTo>
                    <a:pt x="238" y="698"/>
                  </a:lnTo>
                  <a:lnTo>
                    <a:pt x="238" y="696"/>
                  </a:lnTo>
                  <a:lnTo>
                    <a:pt x="238" y="691"/>
                  </a:lnTo>
                  <a:lnTo>
                    <a:pt x="238" y="689"/>
                  </a:lnTo>
                  <a:lnTo>
                    <a:pt x="238" y="686"/>
                  </a:lnTo>
                  <a:lnTo>
                    <a:pt x="238" y="685"/>
                  </a:lnTo>
                  <a:lnTo>
                    <a:pt x="238" y="684"/>
                  </a:lnTo>
                  <a:lnTo>
                    <a:pt x="238" y="683"/>
                  </a:lnTo>
                  <a:lnTo>
                    <a:pt x="238" y="681"/>
                  </a:lnTo>
                  <a:lnTo>
                    <a:pt x="237" y="679"/>
                  </a:lnTo>
                  <a:lnTo>
                    <a:pt x="236" y="678"/>
                  </a:lnTo>
                  <a:lnTo>
                    <a:pt x="234" y="677"/>
                  </a:lnTo>
                  <a:lnTo>
                    <a:pt x="231" y="675"/>
                  </a:lnTo>
                  <a:lnTo>
                    <a:pt x="228" y="673"/>
                  </a:lnTo>
                  <a:lnTo>
                    <a:pt x="221" y="666"/>
                  </a:lnTo>
                  <a:lnTo>
                    <a:pt x="214" y="660"/>
                  </a:lnTo>
                  <a:lnTo>
                    <a:pt x="207" y="651"/>
                  </a:lnTo>
                  <a:lnTo>
                    <a:pt x="206" y="650"/>
                  </a:lnTo>
                  <a:lnTo>
                    <a:pt x="203" y="649"/>
                  </a:lnTo>
                  <a:lnTo>
                    <a:pt x="200" y="646"/>
                  </a:lnTo>
                  <a:lnTo>
                    <a:pt x="194" y="643"/>
                  </a:lnTo>
                  <a:lnTo>
                    <a:pt x="189" y="641"/>
                  </a:lnTo>
                  <a:lnTo>
                    <a:pt x="184" y="638"/>
                  </a:lnTo>
                  <a:lnTo>
                    <a:pt x="179" y="634"/>
                  </a:lnTo>
                  <a:lnTo>
                    <a:pt x="176" y="632"/>
                  </a:lnTo>
                  <a:lnTo>
                    <a:pt x="174" y="631"/>
                  </a:lnTo>
                  <a:lnTo>
                    <a:pt x="172" y="630"/>
                  </a:lnTo>
                  <a:lnTo>
                    <a:pt x="165" y="628"/>
                  </a:lnTo>
                  <a:lnTo>
                    <a:pt x="164" y="627"/>
                  </a:lnTo>
                  <a:lnTo>
                    <a:pt x="162" y="626"/>
                  </a:lnTo>
                  <a:lnTo>
                    <a:pt x="162" y="626"/>
                  </a:lnTo>
                  <a:lnTo>
                    <a:pt x="161" y="625"/>
                  </a:lnTo>
                  <a:lnTo>
                    <a:pt x="161" y="624"/>
                  </a:lnTo>
                  <a:lnTo>
                    <a:pt x="161" y="623"/>
                  </a:lnTo>
                  <a:lnTo>
                    <a:pt x="161" y="621"/>
                  </a:lnTo>
                  <a:lnTo>
                    <a:pt x="161" y="618"/>
                  </a:lnTo>
                  <a:lnTo>
                    <a:pt x="161" y="616"/>
                  </a:lnTo>
                  <a:lnTo>
                    <a:pt x="161" y="610"/>
                  </a:lnTo>
                  <a:lnTo>
                    <a:pt x="161" y="609"/>
                  </a:lnTo>
                  <a:lnTo>
                    <a:pt x="161" y="607"/>
                  </a:lnTo>
                  <a:lnTo>
                    <a:pt x="160" y="606"/>
                  </a:lnTo>
                  <a:lnTo>
                    <a:pt x="160" y="606"/>
                  </a:lnTo>
                  <a:lnTo>
                    <a:pt x="159" y="604"/>
                  </a:lnTo>
                  <a:lnTo>
                    <a:pt x="157" y="603"/>
                  </a:lnTo>
                  <a:lnTo>
                    <a:pt x="155" y="602"/>
                  </a:lnTo>
                  <a:lnTo>
                    <a:pt x="146" y="597"/>
                  </a:lnTo>
                  <a:lnTo>
                    <a:pt x="141" y="594"/>
                  </a:lnTo>
                  <a:lnTo>
                    <a:pt x="136" y="591"/>
                  </a:lnTo>
                  <a:lnTo>
                    <a:pt x="127" y="585"/>
                  </a:lnTo>
                  <a:lnTo>
                    <a:pt x="121" y="581"/>
                  </a:lnTo>
                  <a:lnTo>
                    <a:pt x="117" y="579"/>
                  </a:lnTo>
                  <a:lnTo>
                    <a:pt x="104" y="573"/>
                  </a:lnTo>
                  <a:lnTo>
                    <a:pt x="102" y="571"/>
                  </a:lnTo>
                  <a:lnTo>
                    <a:pt x="101" y="571"/>
                  </a:lnTo>
                  <a:lnTo>
                    <a:pt x="99" y="569"/>
                  </a:lnTo>
                  <a:lnTo>
                    <a:pt x="98" y="568"/>
                  </a:lnTo>
                  <a:lnTo>
                    <a:pt x="94" y="564"/>
                  </a:lnTo>
                  <a:lnTo>
                    <a:pt x="89" y="556"/>
                  </a:lnTo>
                  <a:lnTo>
                    <a:pt x="82" y="548"/>
                  </a:lnTo>
                  <a:lnTo>
                    <a:pt x="81" y="546"/>
                  </a:lnTo>
                  <a:lnTo>
                    <a:pt x="80" y="546"/>
                  </a:lnTo>
                  <a:lnTo>
                    <a:pt x="78" y="544"/>
                  </a:lnTo>
                  <a:lnTo>
                    <a:pt x="74" y="542"/>
                  </a:lnTo>
                  <a:lnTo>
                    <a:pt x="71" y="540"/>
                  </a:lnTo>
                  <a:lnTo>
                    <a:pt x="68" y="539"/>
                  </a:lnTo>
                  <a:lnTo>
                    <a:pt x="64" y="534"/>
                  </a:lnTo>
                  <a:lnTo>
                    <a:pt x="61" y="532"/>
                  </a:lnTo>
                  <a:lnTo>
                    <a:pt x="59" y="531"/>
                  </a:lnTo>
                  <a:lnTo>
                    <a:pt x="54" y="527"/>
                  </a:lnTo>
                  <a:lnTo>
                    <a:pt x="51" y="526"/>
                  </a:lnTo>
                  <a:lnTo>
                    <a:pt x="51" y="525"/>
                  </a:lnTo>
                  <a:lnTo>
                    <a:pt x="49" y="524"/>
                  </a:lnTo>
                  <a:lnTo>
                    <a:pt x="44" y="517"/>
                  </a:lnTo>
                  <a:lnTo>
                    <a:pt x="42" y="515"/>
                  </a:lnTo>
                  <a:lnTo>
                    <a:pt x="40" y="513"/>
                  </a:lnTo>
                  <a:lnTo>
                    <a:pt x="37" y="511"/>
                  </a:lnTo>
                  <a:lnTo>
                    <a:pt x="35" y="509"/>
                  </a:lnTo>
                  <a:lnTo>
                    <a:pt x="31" y="507"/>
                  </a:lnTo>
                  <a:lnTo>
                    <a:pt x="21" y="501"/>
                  </a:lnTo>
                  <a:lnTo>
                    <a:pt x="18" y="499"/>
                  </a:lnTo>
                  <a:lnTo>
                    <a:pt x="14" y="497"/>
                  </a:lnTo>
                  <a:lnTo>
                    <a:pt x="11" y="495"/>
                  </a:lnTo>
                  <a:lnTo>
                    <a:pt x="9" y="492"/>
                  </a:lnTo>
                  <a:lnTo>
                    <a:pt x="8" y="491"/>
                  </a:lnTo>
                  <a:lnTo>
                    <a:pt x="6" y="488"/>
                  </a:lnTo>
                  <a:lnTo>
                    <a:pt x="5" y="486"/>
                  </a:lnTo>
                  <a:lnTo>
                    <a:pt x="4" y="484"/>
                  </a:lnTo>
                  <a:lnTo>
                    <a:pt x="3" y="481"/>
                  </a:lnTo>
                  <a:lnTo>
                    <a:pt x="1" y="478"/>
                  </a:lnTo>
                  <a:lnTo>
                    <a:pt x="1" y="475"/>
                  </a:lnTo>
                  <a:lnTo>
                    <a:pt x="0" y="472"/>
                  </a:lnTo>
                  <a:lnTo>
                    <a:pt x="0" y="469"/>
                  </a:lnTo>
                  <a:lnTo>
                    <a:pt x="0" y="466"/>
                  </a:lnTo>
                  <a:lnTo>
                    <a:pt x="0" y="464"/>
                  </a:lnTo>
                  <a:lnTo>
                    <a:pt x="1" y="461"/>
                  </a:lnTo>
                  <a:lnTo>
                    <a:pt x="1" y="459"/>
                  </a:lnTo>
                  <a:lnTo>
                    <a:pt x="2" y="456"/>
                  </a:lnTo>
                  <a:lnTo>
                    <a:pt x="2" y="456"/>
                  </a:lnTo>
                  <a:lnTo>
                    <a:pt x="3" y="456"/>
                  </a:lnTo>
                  <a:lnTo>
                    <a:pt x="11" y="453"/>
                  </a:lnTo>
                  <a:lnTo>
                    <a:pt x="16" y="451"/>
                  </a:lnTo>
                  <a:lnTo>
                    <a:pt x="19" y="449"/>
                  </a:lnTo>
                  <a:lnTo>
                    <a:pt x="22" y="448"/>
                  </a:lnTo>
                  <a:lnTo>
                    <a:pt x="26" y="446"/>
                  </a:lnTo>
                  <a:lnTo>
                    <a:pt x="29" y="444"/>
                  </a:lnTo>
                  <a:lnTo>
                    <a:pt x="31" y="442"/>
                  </a:lnTo>
                  <a:lnTo>
                    <a:pt x="37" y="438"/>
                  </a:lnTo>
                  <a:lnTo>
                    <a:pt x="41" y="435"/>
                  </a:lnTo>
                  <a:lnTo>
                    <a:pt x="43" y="431"/>
                  </a:lnTo>
                  <a:lnTo>
                    <a:pt x="46" y="427"/>
                  </a:lnTo>
                  <a:lnTo>
                    <a:pt x="49" y="425"/>
                  </a:lnTo>
                  <a:lnTo>
                    <a:pt x="50" y="424"/>
                  </a:lnTo>
                  <a:lnTo>
                    <a:pt x="51" y="423"/>
                  </a:lnTo>
                  <a:lnTo>
                    <a:pt x="56" y="420"/>
                  </a:lnTo>
                  <a:lnTo>
                    <a:pt x="59" y="419"/>
                  </a:lnTo>
                  <a:lnTo>
                    <a:pt x="59" y="418"/>
                  </a:lnTo>
                  <a:lnTo>
                    <a:pt x="60" y="417"/>
                  </a:lnTo>
                  <a:lnTo>
                    <a:pt x="60" y="416"/>
                  </a:lnTo>
                  <a:lnTo>
                    <a:pt x="60" y="414"/>
                  </a:lnTo>
                  <a:lnTo>
                    <a:pt x="61" y="411"/>
                  </a:lnTo>
                  <a:lnTo>
                    <a:pt x="61" y="409"/>
                  </a:lnTo>
                  <a:lnTo>
                    <a:pt x="61" y="407"/>
                  </a:lnTo>
                  <a:lnTo>
                    <a:pt x="60" y="404"/>
                  </a:lnTo>
                  <a:lnTo>
                    <a:pt x="59" y="401"/>
                  </a:lnTo>
                  <a:lnTo>
                    <a:pt x="53" y="389"/>
                  </a:lnTo>
                  <a:lnTo>
                    <a:pt x="51" y="385"/>
                  </a:lnTo>
                  <a:lnTo>
                    <a:pt x="49" y="382"/>
                  </a:lnTo>
                  <a:lnTo>
                    <a:pt x="46" y="380"/>
                  </a:lnTo>
                  <a:lnTo>
                    <a:pt x="41" y="374"/>
                  </a:lnTo>
                  <a:lnTo>
                    <a:pt x="39" y="372"/>
                  </a:lnTo>
                  <a:lnTo>
                    <a:pt x="37" y="371"/>
                  </a:lnTo>
                  <a:lnTo>
                    <a:pt x="36" y="368"/>
                  </a:lnTo>
                  <a:lnTo>
                    <a:pt x="35" y="367"/>
                  </a:lnTo>
                  <a:lnTo>
                    <a:pt x="34" y="364"/>
                  </a:lnTo>
                  <a:lnTo>
                    <a:pt x="33" y="362"/>
                  </a:lnTo>
                  <a:lnTo>
                    <a:pt x="32" y="359"/>
                  </a:lnTo>
                  <a:lnTo>
                    <a:pt x="31" y="356"/>
                  </a:lnTo>
                  <a:lnTo>
                    <a:pt x="31" y="353"/>
                  </a:lnTo>
                  <a:lnTo>
                    <a:pt x="31" y="349"/>
                  </a:lnTo>
                  <a:lnTo>
                    <a:pt x="32" y="344"/>
                  </a:lnTo>
                  <a:lnTo>
                    <a:pt x="34" y="336"/>
                  </a:lnTo>
                  <a:lnTo>
                    <a:pt x="34" y="332"/>
                  </a:lnTo>
                  <a:lnTo>
                    <a:pt x="35" y="314"/>
                  </a:lnTo>
                  <a:lnTo>
                    <a:pt x="35" y="309"/>
                  </a:lnTo>
                  <a:lnTo>
                    <a:pt x="35" y="307"/>
                  </a:lnTo>
                  <a:lnTo>
                    <a:pt x="35" y="304"/>
                  </a:lnTo>
                  <a:lnTo>
                    <a:pt x="34" y="302"/>
                  </a:lnTo>
                  <a:lnTo>
                    <a:pt x="34" y="301"/>
                  </a:lnTo>
                  <a:lnTo>
                    <a:pt x="33" y="300"/>
                  </a:lnTo>
                  <a:lnTo>
                    <a:pt x="31" y="299"/>
                  </a:lnTo>
                  <a:lnTo>
                    <a:pt x="30" y="297"/>
                  </a:lnTo>
                  <a:lnTo>
                    <a:pt x="29" y="297"/>
                  </a:lnTo>
                  <a:lnTo>
                    <a:pt x="27" y="297"/>
                  </a:lnTo>
                  <a:lnTo>
                    <a:pt x="26" y="297"/>
                  </a:lnTo>
                  <a:lnTo>
                    <a:pt x="24" y="292"/>
                  </a:lnTo>
                  <a:lnTo>
                    <a:pt x="19" y="284"/>
                  </a:lnTo>
                  <a:lnTo>
                    <a:pt x="19" y="283"/>
                  </a:lnTo>
                  <a:lnTo>
                    <a:pt x="19" y="282"/>
                  </a:lnTo>
                  <a:lnTo>
                    <a:pt x="19" y="282"/>
                  </a:lnTo>
                  <a:lnTo>
                    <a:pt x="19" y="281"/>
                  </a:lnTo>
                  <a:lnTo>
                    <a:pt x="19" y="280"/>
                  </a:lnTo>
                  <a:lnTo>
                    <a:pt x="20" y="279"/>
                  </a:lnTo>
                  <a:lnTo>
                    <a:pt x="21" y="279"/>
                  </a:lnTo>
                  <a:lnTo>
                    <a:pt x="22" y="279"/>
                  </a:lnTo>
                  <a:lnTo>
                    <a:pt x="25" y="278"/>
                  </a:lnTo>
                  <a:lnTo>
                    <a:pt x="27" y="277"/>
                  </a:lnTo>
                  <a:lnTo>
                    <a:pt x="28" y="277"/>
                  </a:lnTo>
                  <a:lnTo>
                    <a:pt x="29" y="277"/>
                  </a:lnTo>
                  <a:lnTo>
                    <a:pt x="29" y="276"/>
                  </a:lnTo>
                  <a:lnTo>
                    <a:pt x="29" y="274"/>
                  </a:lnTo>
                  <a:lnTo>
                    <a:pt x="30" y="269"/>
                  </a:lnTo>
                  <a:lnTo>
                    <a:pt x="31" y="267"/>
                  </a:lnTo>
                  <a:lnTo>
                    <a:pt x="31" y="266"/>
                  </a:lnTo>
                  <a:lnTo>
                    <a:pt x="32" y="264"/>
                  </a:lnTo>
                  <a:lnTo>
                    <a:pt x="33" y="264"/>
                  </a:lnTo>
                  <a:lnTo>
                    <a:pt x="34" y="263"/>
                  </a:lnTo>
                  <a:lnTo>
                    <a:pt x="34" y="262"/>
                  </a:lnTo>
                  <a:lnTo>
                    <a:pt x="35" y="262"/>
                  </a:lnTo>
                  <a:lnTo>
                    <a:pt x="39" y="261"/>
                  </a:lnTo>
                  <a:lnTo>
                    <a:pt x="41" y="261"/>
                  </a:lnTo>
                  <a:lnTo>
                    <a:pt x="43" y="259"/>
                  </a:lnTo>
                  <a:lnTo>
                    <a:pt x="46" y="259"/>
                  </a:lnTo>
                  <a:lnTo>
                    <a:pt x="47" y="257"/>
                  </a:lnTo>
                  <a:lnTo>
                    <a:pt x="49" y="257"/>
                  </a:lnTo>
                  <a:lnTo>
                    <a:pt x="52" y="253"/>
                  </a:lnTo>
                  <a:lnTo>
                    <a:pt x="53" y="252"/>
                  </a:lnTo>
                  <a:lnTo>
                    <a:pt x="54" y="249"/>
                  </a:lnTo>
                  <a:lnTo>
                    <a:pt x="54" y="247"/>
                  </a:lnTo>
                  <a:lnTo>
                    <a:pt x="55" y="244"/>
                  </a:lnTo>
                  <a:lnTo>
                    <a:pt x="56" y="241"/>
                  </a:lnTo>
                  <a:lnTo>
                    <a:pt x="56" y="237"/>
                  </a:lnTo>
                  <a:lnTo>
                    <a:pt x="56" y="235"/>
                  </a:lnTo>
                  <a:lnTo>
                    <a:pt x="56" y="234"/>
                  </a:lnTo>
                  <a:lnTo>
                    <a:pt x="56" y="233"/>
                  </a:lnTo>
                  <a:lnTo>
                    <a:pt x="56" y="232"/>
                  </a:lnTo>
                  <a:lnTo>
                    <a:pt x="56" y="229"/>
                  </a:lnTo>
                  <a:lnTo>
                    <a:pt x="56" y="228"/>
                  </a:lnTo>
                  <a:lnTo>
                    <a:pt x="59" y="224"/>
                  </a:lnTo>
                  <a:lnTo>
                    <a:pt x="60" y="221"/>
                  </a:lnTo>
                  <a:lnTo>
                    <a:pt x="61" y="218"/>
                  </a:lnTo>
                  <a:lnTo>
                    <a:pt x="64" y="215"/>
                  </a:lnTo>
                  <a:lnTo>
                    <a:pt x="71" y="205"/>
                  </a:lnTo>
                  <a:lnTo>
                    <a:pt x="75" y="199"/>
                  </a:lnTo>
                  <a:lnTo>
                    <a:pt x="80" y="192"/>
                  </a:lnTo>
                  <a:lnTo>
                    <a:pt x="81" y="190"/>
                  </a:lnTo>
                  <a:lnTo>
                    <a:pt x="82" y="189"/>
                  </a:lnTo>
                  <a:lnTo>
                    <a:pt x="82" y="187"/>
                  </a:lnTo>
                  <a:lnTo>
                    <a:pt x="83" y="185"/>
                  </a:lnTo>
                  <a:lnTo>
                    <a:pt x="84" y="183"/>
                  </a:lnTo>
                  <a:lnTo>
                    <a:pt x="84" y="182"/>
                  </a:lnTo>
                  <a:lnTo>
                    <a:pt x="84" y="179"/>
                  </a:lnTo>
                  <a:lnTo>
                    <a:pt x="83" y="177"/>
                  </a:lnTo>
                  <a:lnTo>
                    <a:pt x="82" y="174"/>
                  </a:lnTo>
                  <a:lnTo>
                    <a:pt x="80" y="165"/>
                  </a:lnTo>
                  <a:lnTo>
                    <a:pt x="79" y="160"/>
                  </a:lnTo>
                  <a:lnTo>
                    <a:pt x="78" y="153"/>
                  </a:lnTo>
                  <a:lnTo>
                    <a:pt x="77" y="146"/>
                  </a:lnTo>
                  <a:lnTo>
                    <a:pt x="77" y="143"/>
                  </a:lnTo>
                  <a:lnTo>
                    <a:pt x="77" y="140"/>
                  </a:lnTo>
                  <a:lnTo>
                    <a:pt x="77" y="137"/>
                  </a:lnTo>
                  <a:lnTo>
                    <a:pt x="78" y="135"/>
                  </a:lnTo>
                  <a:lnTo>
                    <a:pt x="78" y="133"/>
                  </a:lnTo>
                  <a:lnTo>
                    <a:pt x="79" y="130"/>
                  </a:lnTo>
                  <a:lnTo>
                    <a:pt x="79" y="129"/>
                  </a:lnTo>
                  <a:lnTo>
                    <a:pt x="81" y="127"/>
                  </a:lnTo>
                  <a:lnTo>
                    <a:pt x="81" y="126"/>
                  </a:lnTo>
                  <a:lnTo>
                    <a:pt x="83" y="125"/>
                  </a:lnTo>
                  <a:lnTo>
                    <a:pt x="84" y="124"/>
                  </a:lnTo>
                  <a:lnTo>
                    <a:pt x="86" y="123"/>
                  </a:lnTo>
                  <a:lnTo>
                    <a:pt x="87" y="122"/>
                  </a:lnTo>
                  <a:lnTo>
                    <a:pt x="89" y="122"/>
                  </a:lnTo>
                  <a:lnTo>
                    <a:pt x="91" y="122"/>
                  </a:lnTo>
                  <a:lnTo>
                    <a:pt x="94" y="122"/>
                  </a:lnTo>
                  <a:lnTo>
                    <a:pt x="96" y="122"/>
                  </a:lnTo>
                  <a:lnTo>
                    <a:pt x="99" y="123"/>
                  </a:lnTo>
                  <a:lnTo>
                    <a:pt x="103" y="124"/>
                  </a:lnTo>
                  <a:lnTo>
                    <a:pt x="113" y="128"/>
                  </a:lnTo>
                  <a:lnTo>
                    <a:pt x="121" y="130"/>
                  </a:lnTo>
                  <a:lnTo>
                    <a:pt x="124" y="132"/>
                  </a:lnTo>
                  <a:lnTo>
                    <a:pt x="127" y="132"/>
                  </a:lnTo>
                  <a:lnTo>
                    <a:pt x="129" y="132"/>
                  </a:lnTo>
                  <a:lnTo>
                    <a:pt x="130" y="132"/>
                  </a:lnTo>
                  <a:lnTo>
                    <a:pt x="131" y="131"/>
                  </a:lnTo>
                  <a:lnTo>
                    <a:pt x="131" y="131"/>
                  </a:lnTo>
                  <a:lnTo>
                    <a:pt x="132" y="130"/>
                  </a:lnTo>
                  <a:lnTo>
                    <a:pt x="132" y="130"/>
                  </a:lnTo>
                  <a:lnTo>
                    <a:pt x="133" y="128"/>
                  </a:lnTo>
                  <a:lnTo>
                    <a:pt x="133" y="127"/>
                  </a:lnTo>
                  <a:lnTo>
                    <a:pt x="133" y="125"/>
                  </a:lnTo>
                  <a:lnTo>
                    <a:pt x="132" y="124"/>
                  </a:lnTo>
                  <a:lnTo>
                    <a:pt x="131" y="120"/>
                  </a:lnTo>
                  <a:lnTo>
                    <a:pt x="126" y="114"/>
                  </a:lnTo>
                  <a:lnTo>
                    <a:pt x="125" y="111"/>
                  </a:lnTo>
                  <a:lnTo>
                    <a:pt x="122" y="106"/>
                  </a:lnTo>
                  <a:lnTo>
                    <a:pt x="121" y="101"/>
                  </a:lnTo>
                  <a:lnTo>
                    <a:pt x="119" y="96"/>
                  </a:lnTo>
                  <a:lnTo>
                    <a:pt x="117" y="92"/>
                  </a:lnTo>
                  <a:lnTo>
                    <a:pt x="116" y="88"/>
                  </a:lnTo>
                  <a:lnTo>
                    <a:pt x="116" y="84"/>
                  </a:lnTo>
                  <a:lnTo>
                    <a:pt x="115" y="78"/>
                  </a:lnTo>
                  <a:lnTo>
                    <a:pt x="114" y="74"/>
                  </a:lnTo>
                  <a:lnTo>
                    <a:pt x="114" y="64"/>
                  </a:lnTo>
                  <a:lnTo>
                    <a:pt x="112" y="50"/>
                  </a:lnTo>
                  <a:lnTo>
                    <a:pt x="112" y="45"/>
                  </a:lnTo>
                  <a:lnTo>
                    <a:pt x="112" y="42"/>
                  </a:lnTo>
                  <a:lnTo>
                    <a:pt x="112" y="41"/>
                  </a:lnTo>
                  <a:lnTo>
                    <a:pt x="113" y="40"/>
                  </a:lnTo>
                  <a:lnTo>
                    <a:pt x="114" y="38"/>
                  </a:lnTo>
                  <a:lnTo>
                    <a:pt x="114" y="37"/>
                  </a:lnTo>
                  <a:lnTo>
                    <a:pt x="115" y="36"/>
                  </a:lnTo>
                  <a:lnTo>
                    <a:pt x="116" y="35"/>
                  </a:lnTo>
                  <a:lnTo>
                    <a:pt x="119" y="34"/>
                  </a:lnTo>
                  <a:lnTo>
                    <a:pt x="122" y="32"/>
                  </a:lnTo>
                  <a:lnTo>
                    <a:pt x="126" y="30"/>
                  </a:lnTo>
                  <a:lnTo>
                    <a:pt x="129" y="29"/>
                  </a:lnTo>
                  <a:lnTo>
                    <a:pt x="136" y="27"/>
                  </a:lnTo>
                  <a:lnTo>
                    <a:pt x="138" y="27"/>
                  </a:lnTo>
                  <a:lnTo>
                    <a:pt x="140" y="25"/>
                  </a:lnTo>
                  <a:lnTo>
                    <a:pt x="141" y="25"/>
                  </a:lnTo>
                  <a:lnTo>
                    <a:pt x="143" y="24"/>
                  </a:lnTo>
                  <a:lnTo>
                    <a:pt x="144" y="22"/>
                  </a:lnTo>
                  <a:lnTo>
                    <a:pt x="146" y="18"/>
                  </a:lnTo>
                  <a:lnTo>
                    <a:pt x="150" y="13"/>
                  </a:lnTo>
                  <a:lnTo>
                    <a:pt x="153" y="7"/>
                  </a:lnTo>
                  <a:lnTo>
                    <a:pt x="155" y="3"/>
                  </a:lnTo>
                  <a:lnTo>
                    <a:pt x="156" y="2"/>
                  </a:lnTo>
                  <a:lnTo>
                    <a:pt x="158" y="0"/>
                  </a:lnTo>
                  <a:lnTo>
                    <a:pt x="159" y="0"/>
                  </a:lnTo>
                  <a:lnTo>
                    <a:pt x="159" y="0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A8A8A8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98">
              <a:extLst>
                <a:ext uri="{FF2B5EF4-FFF2-40B4-BE49-F238E27FC236}">
                  <a16:creationId xmlns:a16="http://schemas.microsoft.com/office/drawing/2014/main" id="{95CA6C6C-262F-63B1-B464-B4CEA4CD73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4173" y="5767225"/>
              <a:ext cx="1177925" cy="976313"/>
            </a:xfrm>
            <a:custGeom>
              <a:avLst/>
              <a:gdLst>
                <a:gd name="T0" fmla="*/ 281 w 742"/>
                <a:gd name="T1" fmla="*/ 22 h 615"/>
                <a:gd name="T2" fmla="*/ 301 w 742"/>
                <a:gd name="T3" fmla="*/ 45 h 615"/>
                <a:gd name="T4" fmla="*/ 334 w 742"/>
                <a:gd name="T5" fmla="*/ 71 h 615"/>
                <a:gd name="T6" fmla="*/ 362 w 742"/>
                <a:gd name="T7" fmla="*/ 92 h 615"/>
                <a:gd name="T8" fmla="*/ 407 w 742"/>
                <a:gd name="T9" fmla="*/ 129 h 615"/>
                <a:gd name="T10" fmla="*/ 441 w 742"/>
                <a:gd name="T11" fmla="*/ 153 h 615"/>
                <a:gd name="T12" fmla="*/ 444 w 742"/>
                <a:gd name="T13" fmla="*/ 171 h 615"/>
                <a:gd name="T14" fmla="*/ 483 w 742"/>
                <a:gd name="T15" fmla="*/ 193 h 615"/>
                <a:gd name="T16" fmla="*/ 518 w 742"/>
                <a:gd name="T17" fmla="*/ 225 h 615"/>
                <a:gd name="T18" fmla="*/ 521 w 742"/>
                <a:gd name="T19" fmla="*/ 257 h 615"/>
                <a:gd name="T20" fmla="*/ 540 w 742"/>
                <a:gd name="T21" fmla="*/ 287 h 615"/>
                <a:gd name="T22" fmla="*/ 594 w 742"/>
                <a:gd name="T23" fmla="*/ 276 h 615"/>
                <a:gd name="T24" fmla="*/ 616 w 742"/>
                <a:gd name="T25" fmla="*/ 276 h 615"/>
                <a:gd name="T26" fmla="*/ 628 w 742"/>
                <a:gd name="T27" fmla="*/ 307 h 615"/>
                <a:gd name="T28" fmla="*/ 682 w 742"/>
                <a:gd name="T29" fmla="*/ 357 h 615"/>
                <a:gd name="T30" fmla="*/ 708 w 742"/>
                <a:gd name="T31" fmla="*/ 383 h 615"/>
                <a:gd name="T32" fmla="*/ 717 w 742"/>
                <a:gd name="T33" fmla="*/ 385 h 615"/>
                <a:gd name="T34" fmla="*/ 727 w 742"/>
                <a:gd name="T35" fmla="*/ 440 h 615"/>
                <a:gd name="T36" fmla="*/ 742 w 742"/>
                <a:gd name="T37" fmla="*/ 454 h 615"/>
                <a:gd name="T38" fmla="*/ 738 w 742"/>
                <a:gd name="T39" fmla="*/ 519 h 615"/>
                <a:gd name="T40" fmla="*/ 723 w 742"/>
                <a:gd name="T41" fmla="*/ 574 h 615"/>
                <a:gd name="T42" fmla="*/ 694 w 742"/>
                <a:gd name="T43" fmla="*/ 578 h 615"/>
                <a:gd name="T44" fmla="*/ 666 w 742"/>
                <a:gd name="T45" fmla="*/ 551 h 615"/>
                <a:gd name="T46" fmla="*/ 641 w 742"/>
                <a:gd name="T47" fmla="*/ 529 h 615"/>
                <a:gd name="T48" fmla="*/ 601 w 742"/>
                <a:gd name="T49" fmla="*/ 542 h 615"/>
                <a:gd name="T50" fmla="*/ 546 w 742"/>
                <a:gd name="T51" fmla="*/ 530 h 615"/>
                <a:gd name="T52" fmla="*/ 511 w 742"/>
                <a:gd name="T53" fmla="*/ 499 h 615"/>
                <a:gd name="T54" fmla="*/ 493 w 742"/>
                <a:gd name="T55" fmla="*/ 502 h 615"/>
                <a:gd name="T56" fmla="*/ 483 w 742"/>
                <a:gd name="T57" fmla="*/ 547 h 615"/>
                <a:gd name="T58" fmla="*/ 465 w 742"/>
                <a:gd name="T59" fmla="*/ 567 h 615"/>
                <a:gd name="T60" fmla="*/ 436 w 742"/>
                <a:gd name="T61" fmla="*/ 575 h 615"/>
                <a:gd name="T62" fmla="*/ 418 w 742"/>
                <a:gd name="T63" fmla="*/ 596 h 615"/>
                <a:gd name="T64" fmla="*/ 389 w 742"/>
                <a:gd name="T65" fmla="*/ 614 h 615"/>
                <a:gd name="T66" fmla="*/ 325 w 742"/>
                <a:gd name="T67" fmla="*/ 588 h 615"/>
                <a:gd name="T68" fmla="*/ 266 w 742"/>
                <a:gd name="T69" fmla="*/ 572 h 615"/>
                <a:gd name="T70" fmla="*/ 204 w 742"/>
                <a:gd name="T71" fmla="*/ 562 h 615"/>
                <a:gd name="T72" fmla="*/ 167 w 742"/>
                <a:gd name="T73" fmla="*/ 562 h 615"/>
                <a:gd name="T74" fmla="*/ 127 w 742"/>
                <a:gd name="T75" fmla="*/ 543 h 615"/>
                <a:gd name="T76" fmla="*/ 110 w 742"/>
                <a:gd name="T77" fmla="*/ 518 h 615"/>
                <a:gd name="T78" fmla="*/ 96 w 742"/>
                <a:gd name="T79" fmla="*/ 495 h 615"/>
                <a:gd name="T80" fmla="*/ 120 w 742"/>
                <a:gd name="T81" fmla="*/ 476 h 615"/>
                <a:gd name="T82" fmla="*/ 127 w 742"/>
                <a:gd name="T83" fmla="*/ 458 h 615"/>
                <a:gd name="T84" fmla="*/ 97 w 742"/>
                <a:gd name="T85" fmla="*/ 427 h 615"/>
                <a:gd name="T86" fmla="*/ 67 w 742"/>
                <a:gd name="T87" fmla="*/ 401 h 615"/>
                <a:gd name="T88" fmla="*/ 17 w 742"/>
                <a:gd name="T89" fmla="*/ 372 h 615"/>
                <a:gd name="T90" fmla="*/ 10 w 742"/>
                <a:gd name="T91" fmla="*/ 339 h 615"/>
                <a:gd name="T92" fmla="*/ 38 w 742"/>
                <a:gd name="T93" fmla="*/ 325 h 615"/>
                <a:gd name="T94" fmla="*/ 56 w 742"/>
                <a:gd name="T95" fmla="*/ 281 h 615"/>
                <a:gd name="T96" fmla="*/ 47 w 742"/>
                <a:gd name="T97" fmla="*/ 230 h 615"/>
                <a:gd name="T98" fmla="*/ 39 w 742"/>
                <a:gd name="T99" fmla="*/ 175 h 615"/>
                <a:gd name="T100" fmla="*/ 42 w 742"/>
                <a:gd name="T101" fmla="*/ 145 h 615"/>
                <a:gd name="T102" fmla="*/ 74 w 742"/>
                <a:gd name="T103" fmla="*/ 145 h 615"/>
                <a:gd name="T104" fmla="*/ 137 w 742"/>
                <a:gd name="T105" fmla="*/ 133 h 615"/>
                <a:gd name="T106" fmla="*/ 190 w 742"/>
                <a:gd name="T107" fmla="*/ 133 h 615"/>
                <a:gd name="T108" fmla="*/ 233 w 742"/>
                <a:gd name="T109" fmla="*/ 151 h 615"/>
                <a:gd name="T110" fmla="*/ 247 w 742"/>
                <a:gd name="T111" fmla="*/ 145 h 615"/>
                <a:gd name="T112" fmla="*/ 248 w 742"/>
                <a:gd name="T113" fmla="*/ 131 h 615"/>
                <a:gd name="T114" fmla="*/ 237 w 742"/>
                <a:gd name="T115" fmla="*/ 102 h 615"/>
                <a:gd name="T116" fmla="*/ 247 w 742"/>
                <a:gd name="T117" fmla="*/ 78 h 615"/>
                <a:gd name="T118" fmla="*/ 254 w 742"/>
                <a:gd name="T119" fmla="*/ 40 h 615"/>
                <a:gd name="T120" fmla="*/ 269 w 742"/>
                <a:gd name="T121" fmla="*/ 10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42" h="615">
                  <a:moveTo>
                    <a:pt x="282" y="0"/>
                  </a:moveTo>
                  <a:lnTo>
                    <a:pt x="282" y="0"/>
                  </a:lnTo>
                  <a:lnTo>
                    <a:pt x="281" y="3"/>
                  </a:lnTo>
                  <a:lnTo>
                    <a:pt x="281" y="5"/>
                  </a:lnTo>
                  <a:lnTo>
                    <a:pt x="280" y="8"/>
                  </a:lnTo>
                  <a:lnTo>
                    <a:pt x="280" y="10"/>
                  </a:lnTo>
                  <a:lnTo>
                    <a:pt x="280" y="13"/>
                  </a:lnTo>
                  <a:lnTo>
                    <a:pt x="280" y="16"/>
                  </a:lnTo>
                  <a:lnTo>
                    <a:pt x="281" y="19"/>
                  </a:lnTo>
                  <a:lnTo>
                    <a:pt x="281" y="22"/>
                  </a:lnTo>
                  <a:lnTo>
                    <a:pt x="283" y="25"/>
                  </a:lnTo>
                  <a:lnTo>
                    <a:pt x="284" y="28"/>
                  </a:lnTo>
                  <a:lnTo>
                    <a:pt x="285" y="30"/>
                  </a:lnTo>
                  <a:lnTo>
                    <a:pt x="286" y="32"/>
                  </a:lnTo>
                  <a:lnTo>
                    <a:pt x="288" y="35"/>
                  </a:lnTo>
                  <a:lnTo>
                    <a:pt x="289" y="36"/>
                  </a:lnTo>
                  <a:lnTo>
                    <a:pt x="291" y="39"/>
                  </a:lnTo>
                  <a:lnTo>
                    <a:pt x="294" y="41"/>
                  </a:lnTo>
                  <a:lnTo>
                    <a:pt x="298" y="43"/>
                  </a:lnTo>
                  <a:lnTo>
                    <a:pt x="301" y="45"/>
                  </a:lnTo>
                  <a:lnTo>
                    <a:pt x="311" y="51"/>
                  </a:lnTo>
                  <a:lnTo>
                    <a:pt x="315" y="53"/>
                  </a:lnTo>
                  <a:lnTo>
                    <a:pt x="317" y="55"/>
                  </a:lnTo>
                  <a:lnTo>
                    <a:pt x="320" y="57"/>
                  </a:lnTo>
                  <a:lnTo>
                    <a:pt x="322" y="59"/>
                  </a:lnTo>
                  <a:lnTo>
                    <a:pt x="324" y="61"/>
                  </a:lnTo>
                  <a:lnTo>
                    <a:pt x="329" y="68"/>
                  </a:lnTo>
                  <a:lnTo>
                    <a:pt x="331" y="69"/>
                  </a:lnTo>
                  <a:lnTo>
                    <a:pt x="331" y="70"/>
                  </a:lnTo>
                  <a:lnTo>
                    <a:pt x="334" y="71"/>
                  </a:lnTo>
                  <a:lnTo>
                    <a:pt x="339" y="75"/>
                  </a:lnTo>
                  <a:lnTo>
                    <a:pt x="341" y="76"/>
                  </a:lnTo>
                  <a:lnTo>
                    <a:pt x="344" y="78"/>
                  </a:lnTo>
                  <a:lnTo>
                    <a:pt x="348" y="83"/>
                  </a:lnTo>
                  <a:lnTo>
                    <a:pt x="351" y="84"/>
                  </a:lnTo>
                  <a:lnTo>
                    <a:pt x="354" y="86"/>
                  </a:lnTo>
                  <a:lnTo>
                    <a:pt x="358" y="88"/>
                  </a:lnTo>
                  <a:lnTo>
                    <a:pt x="360" y="90"/>
                  </a:lnTo>
                  <a:lnTo>
                    <a:pt x="361" y="90"/>
                  </a:lnTo>
                  <a:lnTo>
                    <a:pt x="362" y="92"/>
                  </a:lnTo>
                  <a:lnTo>
                    <a:pt x="369" y="100"/>
                  </a:lnTo>
                  <a:lnTo>
                    <a:pt x="374" y="108"/>
                  </a:lnTo>
                  <a:lnTo>
                    <a:pt x="378" y="112"/>
                  </a:lnTo>
                  <a:lnTo>
                    <a:pt x="379" y="113"/>
                  </a:lnTo>
                  <a:lnTo>
                    <a:pt x="381" y="115"/>
                  </a:lnTo>
                  <a:lnTo>
                    <a:pt x="382" y="115"/>
                  </a:lnTo>
                  <a:lnTo>
                    <a:pt x="384" y="117"/>
                  </a:lnTo>
                  <a:lnTo>
                    <a:pt x="397" y="123"/>
                  </a:lnTo>
                  <a:lnTo>
                    <a:pt x="401" y="125"/>
                  </a:lnTo>
                  <a:lnTo>
                    <a:pt x="407" y="129"/>
                  </a:lnTo>
                  <a:lnTo>
                    <a:pt x="416" y="135"/>
                  </a:lnTo>
                  <a:lnTo>
                    <a:pt x="421" y="138"/>
                  </a:lnTo>
                  <a:lnTo>
                    <a:pt x="426" y="141"/>
                  </a:lnTo>
                  <a:lnTo>
                    <a:pt x="435" y="146"/>
                  </a:lnTo>
                  <a:lnTo>
                    <a:pt x="437" y="147"/>
                  </a:lnTo>
                  <a:lnTo>
                    <a:pt x="439" y="148"/>
                  </a:lnTo>
                  <a:lnTo>
                    <a:pt x="440" y="150"/>
                  </a:lnTo>
                  <a:lnTo>
                    <a:pt x="440" y="150"/>
                  </a:lnTo>
                  <a:lnTo>
                    <a:pt x="441" y="151"/>
                  </a:lnTo>
                  <a:lnTo>
                    <a:pt x="441" y="153"/>
                  </a:lnTo>
                  <a:lnTo>
                    <a:pt x="441" y="154"/>
                  </a:lnTo>
                  <a:lnTo>
                    <a:pt x="441" y="160"/>
                  </a:lnTo>
                  <a:lnTo>
                    <a:pt x="441" y="162"/>
                  </a:lnTo>
                  <a:lnTo>
                    <a:pt x="441" y="165"/>
                  </a:lnTo>
                  <a:lnTo>
                    <a:pt x="441" y="167"/>
                  </a:lnTo>
                  <a:lnTo>
                    <a:pt x="441" y="168"/>
                  </a:lnTo>
                  <a:lnTo>
                    <a:pt x="441" y="169"/>
                  </a:lnTo>
                  <a:lnTo>
                    <a:pt x="442" y="170"/>
                  </a:lnTo>
                  <a:lnTo>
                    <a:pt x="442" y="170"/>
                  </a:lnTo>
                  <a:lnTo>
                    <a:pt x="444" y="171"/>
                  </a:lnTo>
                  <a:lnTo>
                    <a:pt x="445" y="172"/>
                  </a:lnTo>
                  <a:lnTo>
                    <a:pt x="452" y="174"/>
                  </a:lnTo>
                  <a:lnTo>
                    <a:pt x="454" y="175"/>
                  </a:lnTo>
                  <a:lnTo>
                    <a:pt x="456" y="176"/>
                  </a:lnTo>
                  <a:lnTo>
                    <a:pt x="459" y="178"/>
                  </a:lnTo>
                  <a:lnTo>
                    <a:pt x="464" y="182"/>
                  </a:lnTo>
                  <a:lnTo>
                    <a:pt x="469" y="185"/>
                  </a:lnTo>
                  <a:lnTo>
                    <a:pt x="474" y="187"/>
                  </a:lnTo>
                  <a:lnTo>
                    <a:pt x="480" y="190"/>
                  </a:lnTo>
                  <a:lnTo>
                    <a:pt x="483" y="193"/>
                  </a:lnTo>
                  <a:lnTo>
                    <a:pt x="486" y="194"/>
                  </a:lnTo>
                  <a:lnTo>
                    <a:pt x="487" y="195"/>
                  </a:lnTo>
                  <a:lnTo>
                    <a:pt x="494" y="204"/>
                  </a:lnTo>
                  <a:lnTo>
                    <a:pt x="501" y="210"/>
                  </a:lnTo>
                  <a:lnTo>
                    <a:pt x="508" y="217"/>
                  </a:lnTo>
                  <a:lnTo>
                    <a:pt x="511" y="219"/>
                  </a:lnTo>
                  <a:lnTo>
                    <a:pt x="514" y="221"/>
                  </a:lnTo>
                  <a:lnTo>
                    <a:pt x="516" y="222"/>
                  </a:lnTo>
                  <a:lnTo>
                    <a:pt x="517" y="223"/>
                  </a:lnTo>
                  <a:lnTo>
                    <a:pt x="518" y="225"/>
                  </a:lnTo>
                  <a:lnTo>
                    <a:pt x="518" y="227"/>
                  </a:lnTo>
                  <a:lnTo>
                    <a:pt x="518" y="228"/>
                  </a:lnTo>
                  <a:lnTo>
                    <a:pt x="518" y="229"/>
                  </a:lnTo>
                  <a:lnTo>
                    <a:pt x="518" y="230"/>
                  </a:lnTo>
                  <a:lnTo>
                    <a:pt x="518" y="233"/>
                  </a:lnTo>
                  <a:lnTo>
                    <a:pt x="518" y="235"/>
                  </a:lnTo>
                  <a:lnTo>
                    <a:pt x="518" y="240"/>
                  </a:lnTo>
                  <a:lnTo>
                    <a:pt x="518" y="242"/>
                  </a:lnTo>
                  <a:lnTo>
                    <a:pt x="520" y="249"/>
                  </a:lnTo>
                  <a:lnTo>
                    <a:pt x="521" y="257"/>
                  </a:lnTo>
                  <a:lnTo>
                    <a:pt x="521" y="259"/>
                  </a:lnTo>
                  <a:lnTo>
                    <a:pt x="522" y="261"/>
                  </a:lnTo>
                  <a:lnTo>
                    <a:pt x="523" y="264"/>
                  </a:lnTo>
                  <a:lnTo>
                    <a:pt x="530" y="275"/>
                  </a:lnTo>
                  <a:lnTo>
                    <a:pt x="533" y="282"/>
                  </a:lnTo>
                  <a:lnTo>
                    <a:pt x="534" y="284"/>
                  </a:lnTo>
                  <a:lnTo>
                    <a:pt x="536" y="285"/>
                  </a:lnTo>
                  <a:lnTo>
                    <a:pt x="537" y="286"/>
                  </a:lnTo>
                  <a:lnTo>
                    <a:pt x="538" y="287"/>
                  </a:lnTo>
                  <a:lnTo>
                    <a:pt x="540" y="287"/>
                  </a:lnTo>
                  <a:lnTo>
                    <a:pt x="542" y="287"/>
                  </a:lnTo>
                  <a:lnTo>
                    <a:pt x="544" y="288"/>
                  </a:lnTo>
                  <a:lnTo>
                    <a:pt x="546" y="288"/>
                  </a:lnTo>
                  <a:lnTo>
                    <a:pt x="548" y="288"/>
                  </a:lnTo>
                  <a:lnTo>
                    <a:pt x="551" y="287"/>
                  </a:lnTo>
                  <a:lnTo>
                    <a:pt x="555" y="287"/>
                  </a:lnTo>
                  <a:lnTo>
                    <a:pt x="565" y="284"/>
                  </a:lnTo>
                  <a:lnTo>
                    <a:pt x="579" y="280"/>
                  </a:lnTo>
                  <a:lnTo>
                    <a:pt x="586" y="278"/>
                  </a:lnTo>
                  <a:lnTo>
                    <a:pt x="594" y="276"/>
                  </a:lnTo>
                  <a:lnTo>
                    <a:pt x="604" y="272"/>
                  </a:lnTo>
                  <a:lnTo>
                    <a:pt x="606" y="271"/>
                  </a:lnTo>
                  <a:lnTo>
                    <a:pt x="608" y="270"/>
                  </a:lnTo>
                  <a:lnTo>
                    <a:pt x="610" y="270"/>
                  </a:lnTo>
                  <a:lnTo>
                    <a:pt x="612" y="270"/>
                  </a:lnTo>
                  <a:lnTo>
                    <a:pt x="613" y="270"/>
                  </a:lnTo>
                  <a:lnTo>
                    <a:pt x="615" y="271"/>
                  </a:lnTo>
                  <a:lnTo>
                    <a:pt x="616" y="272"/>
                  </a:lnTo>
                  <a:lnTo>
                    <a:pt x="616" y="274"/>
                  </a:lnTo>
                  <a:lnTo>
                    <a:pt x="616" y="276"/>
                  </a:lnTo>
                  <a:lnTo>
                    <a:pt x="616" y="280"/>
                  </a:lnTo>
                  <a:lnTo>
                    <a:pt x="617" y="285"/>
                  </a:lnTo>
                  <a:lnTo>
                    <a:pt x="618" y="287"/>
                  </a:lnTo>
                  <a:lnTo>
                    <a:pt x="620" y="296"/>
                  </a:lnTo>
                  <a:lnTo>
                    <a:pt x="621" y="298"/>
                  </a:lnTo>
                  <a:lnTo>
                    <a:pt x="622" y="300"/>
                  </a:lnTo>
                  <a:lnTo>
                    <a:pt x="623" y="302"/>
                  </a:lnTo>
                  <a:lnTo>
                    <a:pt x="625" y="304"/>
                  </a:lnTo>
                  <a:lnTo>
                    <a:pt x="627" y="305"/>
                  </a:lnTo>
                  <a:lnTo>
                    <a:pt x="628" y="307"/>
                  </a:lnTo>
                  <a:lnTo>
                    <a:pt x="639" y="312"/>
                  </a:lnTo>
                  <a:lnTo>
                    <a:pt x="643" y="313"/>
                  </a:lnTo>
                  <a:lnTo>
                    <a:pt x="645" y="315"/>
                  </a:lnTo>
                  <a:lnTo>
                    <a:pt x="646" y="315"/>
                  </a:lnTo>
                  <a:lnTo>
                    <a:pt x="651" y="320"/>
                  </a:lnTo>
                  <a:lnTo>
                    <a:pt x="653" y="322"/>
                  </a:lnTo>
                  <a:lnTo>
                    <a:pt x="658" y="328"/>
                  </a:lnTo>
                  <a:lnTo>
                    <a:pt x="666" y="337"/>
                  </a:lnTo>
                  <a:lnTo>
                    <a:pt x="679" y="354"/>
                  </a:lnTo>
                  <a:lnTo>
                    <a:pt x="682" y="357"/>
                  </a:lnTo>
                  <a:lnTo>
                    <a:pt x="688" y="362"/>
                  </a:lnTo>
                  <a:lnTo>
                    <a:pt x="691" y="365"/>
                  </a:lnTo>
                  <a:lnTo>
                    <a:pt x="694" y="370"/>
                  </a:lnTo>
                  <a:lnTo>
                    <a:pt x="700" y="379"/>
                  </a:lnTo>
                  <a:lnTo>
                    <a:pt x="701" y="380"/>
                  </a:lnTo>
                  <a:lnTo>
                    <a:pt x="703" y="382"/>
                  </a:lnTo>
                  <a:lnTo>
                    <a:pt x="704" y="382"/>
                  </a:lnTo>
                  <a:lnTo>
                    <a:pt x="705" y="383"/>
                  </a:lnTo>
                  <a:lnTo>
                    <a:pt x="707" y="383"/>
                  </a:lnTo>
                  <a:lnTo>
                    <a:pt x="708" y="383"/>
                  </a:lnTo>
                  <a:lnTo>
                    <a:pt x="709" y="383"/>
                  </a:lnTo>
                  <a:lnTo>
                    <a:pt x="710" y="382"/>
                  </a:lnTo>
                  <a:lnTo>
                    <a:pt x="715" y="379"/>
                  </a:lnTo>
                  <a:lnTo>
                    <a:pt x="715" y="378"/>
                  </a:lnTo>
                  <a:lnTo>
                    <a:pt x="716" y="378"/>
                  </a:lnTo>
                  <a:lnTo>
                    <a:pt x="717" y="377"/>
                  </a:lnTo>
                  <a:lnTo>
                    <a:pt x="718" y="378"/>
                  </a:lnTo>
                  <a:lnTo>
                    <a:pt x="718" y="379"/>
                  </a:lnTo>
                  <a:lnTo>
                    <a:pt x="718" y="380"/>
                  </a:lnTo>
                  <a:lnTo>
                    <a:pt x="717" y="385"/>
                  </a:lnTo>
                  <a:lnTo>
                    <a:pt x="716" y="391"/>
                  </a:lnTo>
                  <a:lnTo>
                    <a:pt x="716" y="401"/>
                  </a:lnTo>
                  <a:lnTo>
                    <a:pt x="716" y="407"/>
                  </a:lnTo>
                  <a:lnTo>
                    <a:pt x="716" y="411"/>
                  </a:lnTo>
                  <a:lnTo>
                    <a:pt x="717" y="415"/>
                  </a:lnTo>
                  <a:lnTo>
                    <a:pt x="718" y="420"/>
                  </a:lnTo>
                  <a:lnTo>
                    <a:pt x="720" y="425"/>
                  </a:lnTo>
                  <a:lnTo>
                    <a:pt x="722" y="430"/>
                  </a:lnTo>
                  <a:lnTo>
                    <a:pt x="724" y="435"/>
                  </a:lnTo>
                  <a:lnTo>
                    <a:pt x="727" y="440"/>
                  </a:lnTo>
                  <a:lnTo>
                    <a:pt x="728" y="442"/>
                  </a:lnTo>
                  <a:lnTo>
                    <a:pt x="730" y="445"/>
                  </a:lnTo>
                  <a:lnTo>
                    <a:pt x="732" y="447"/>
                  </a:lnTo>
                  <a:lnTo>
                    <a:pt x="733" y="449"/>
                  </a:lnTo>
                  <a:lnTo>
                    <a:pt x="735" y="450"/>
                  </a:lnTo>
                  <a:lnTo>
                    <a:pt x="736" y="452"/>
                  </a:lnTo>
                  <a:lnTo>
                    <a:pt x="738" y="452"/>
                  </a:lnTo>
                  <a:lnTo>
                    <a:pt x="740" y="454"/>
                  </a:lnTo>
                  <a:lnTo>
                    <a:pt x="741" y="454"/>
                  </a:lnTo>
                  <a:lnTo>
                    <a:pt x="742" y="454"/>
                  </a:lnTo>
                  <a:lnTo>
                    <a:pt x="741" y="455"/>
                  </a:lnTo>
                  <a:lnTo>
                    <a:pt x="740" y="457"/>
                  </a:lnTo>
                  <a:lnTo>
                    <a:pt x="739" y="463"/>
                  </a:lnTo>
                  <a:lnTo>
                    <a:pt x="738" y="469"/>
                  </a:lnTo>
                  <a:lnTo>
                    <a:pt x="738" y="476"/>
                  </a:lnTo>
                  <a:lnTo>
                    <a:pt x="737" y="480"/>
                  </a:lnTo>
                  <a:lnTo>
                    <a:pt x="737" y="484"/>
                  </a:lnTo>
                  <a:lnTo>
                    <a:pt x="738" y="507"/>
                  </a:lnTo>
                  <a:lnTo>
                    <a:pt x="738" y="513"/>
                  </a:lnTo>
                  <a:lnTo>
                    <a:pt x="738" y="519"/>
                  </a:lnTo>
                  <a:lnTo>
                    <a:pt x="736" y="534"/>
                  </a:lnTo>
                  <a:lnTo>
                    <a:pt x="735" y="545"/>
                  </a:lnTo>
                  <a:lnTo>
                    <a:pt x="735" y="548"/>
                  </a:lnTo>
                  <a:lnTo>
                    <a:pt x="735" y="552"/>
                  </a:lnTo>
                  <a:lnTo>
                    <a:pt x="734" y="556"/>
                  </a:lnTo>
                  <a:lnTo>
                    <a:pt x="733" y="559"/>
                  </a:lnTo>
                  <a:lnTo>
                    <a:pt x="730" y="564"/>
                  </a:lnTo>
                  <a:lnTo>
                    <a:pt x="728" y="568"/>
                  </a:lnTo>
                  <a:lnTo>
                    <a:pt x="725" y="572"/>
                  </a:lnTo>
                  <a:lnTo>
                    <a:pt x="723" y="574"/>
                  </a:lnTo>
                  <a:lnTo>
                    <a:pt x="722" y="576"/>
                  </a:lnTo>
                  <a:lnTo>
                    <a:pt x="720" y="577"/>
                  </a:lnTo>
                  <a:lnTo>
                    <a:pt x="718" y="578"/>
                  </a:lnTo>
                  <a:lnTo>
                    <a:pt x="715" y="579"/>
                  </a:lnTo>
                  <a:lnTo>
                    <a:pt x="711" y="579"/>
                  </a:lnTo>
                  <a:lnTo>
                    <a:pt x="707" y="580"/>
                  </a:lnTo>
                  <a:lnTo>
                    <a:pt x="703" y="580"/>
                  </a:lnTo>
                  <a:lnTo>
                    <a:pt x="700" y="580"/>
                  </a:lnTo>
                  <a:lnTo>
                    <a:pt x="697" y="579"/>
                  </a:lnTo>
                  <a:lnTo>
                    <a:pt x="694" y="578"/>
                  </a:lnTo>
                  <a:lnTo>
                    <a:pt x="691" y="577"/>
                  </a:lnTo>
                  <a:lnTo>
                    <a:pt x="689" y="575"/>
                  </a:lnTo>
                  <a:lnTo>
                    <a:pt x="686" y="572"/>
                  </a:lnTo>
                  <a:lnTo>
                    <a:pt x="684" y="569"/>
                  </a:lnTo>
                  <a:lnTo>
                    <a:pt x="677" y="561"/>
                  </a:lnTo>
                  <a:lnTo>
                    <a:pt x="675" y="558"/>
                  </a:lnTo>
                  <a:lnTo>
                    <a:pt x="673" y="556"/>
                  </a:lnTo>
                  <a:lnTo>
                    <a:pt x="671" y="554"/>
                  </a:lnTo>
                  <a:lnTo>
                    <a:pt x="668" y="552"/>
                  </a:lnTo>
                  <a:lnTo>
                    <a:pt x="666" y="551"/>
                  </a:lnTo>
                  <a:lnTo>
                    <a:pt x="661" y="549"/>
                  </a:lnTo>
                  <a:lnTo>
                    <a:pt x="658" y="548"/>
                  </a:lnTo>
                  <a:lnTo>
                    <a:pt x="656" y="547"/>
                  </a:lnTo>
                  <a:lnTo>
                    <a:pt x="655" y="546"/>
                  </a:lnTo>
                  <a:lnTo>
                    <a:pt x="653" y="544"/>
                  </a:lnTo>
                  <a:lnTo>
                    <a:pt x="651" y="542"/>
                  </a:lnTo>
                  <a:lnTo>
                    <a:pt x="649" y="539"/>
                  </a:lnTo>
                  <a:lnTo>
                    <a:pt x="645" y="533"/>
                  </a:lnTo>
                  <a:lnTo>
                    <a:pt x="642" y="530"/>
                  </a:lnTo>
                  <a:lnTo>
                    <a:pt x="641" y="529"/>
                  </a:lnTo>
                  <a:lnTo>
                    <a:pt x="639" y="527"/>
                  </a:lnTo>
                  <a:lnTo>
                    <a:pt x="638" y="527"/>
                  </a:lnTo>
                  <a:lnTo>
                    <a:pt x="637" y="526"/>
                  </a:lnTo>
                  <a:lnTo>
                    <a:pt x="635" y="525"/>
                  </a:lnTo>
                  <a:lnTo>
                    <a:pt x="633" y="525"/>
                  </a:lnTo>
                  <a:lnTo>
                    <a:pt x="630" y="526"/>
                  </a:lnTo>
                  <a:lnTo>
                    <a:pt x="628" y="527"/>
                  </a:lnTo>
                  <a:lnTo>
                    <a:pt x="624" y="529"/>
                  </a:lnTo>
                  <a:lnTo>
                    <a:pt x="605" y="540"/>
                  </a:lnTo>
                  <a:lnTo>
                    <a:pt x="601" y="542"/>
                  </a:lnTo>
                  <a:lnTo>
                    <a:pt x="597" y="544"/>
                  </a:lnTo>
                  <a:lnTo>
                    <a:pt x="594" y="544"/>
                  </a:lnTo>
                  <a:lnTo>
                    <a:pt x="591" y="545"/>
                  </a:lnTo>
                  <a:lnTo>
                    <a:pt x="589" y="545"/>
                  </a:lnTo>
                  <a:lnTo>
                    <a:pt x="586" y="545"/>
                  </a:lnTo>
                  <a:lnTo>
                    <a:pt x="583" y="544"/>
                  </a:lnTo>
                  <a:lnTo>
                    <a:pt x="575" y="541"/>
                  </a:lnTo>
                  <a:lnTo>
                    <a:pt x="564" y="537"/>
                  </a:lnTo>
                  <a:lnTo>
                    <a:pt x="560" y="536"/>
                  </a:lnTo>
                  <a:lnTo>
                    <a:pt x="546" y="530"/>
                  </a:lnTo>
                  <a:lnTo>
                    <a:pt x="544" y="529"/>
                  </a:lnTo>
                  <a:lnTo>
                    <a:pt x="542" y="528"/>
                  </a:lnTo>
                  <a:lnTo>
                    <a:pt x="538" y="526"/>
                  </a:lnTo>
                  <a:lnTo>
                    <a:pt x="536" y="524"/>
                  </a:lnTo>
                  <a:lnTo>
                    <a:pt x="533" y="522"/>
                  </a:lnTo>
                  <a:lnTo>
                    <a:pt x="528" y="515"/>
                  </a:lnTo>
                  <a:lnTo>
                    <a:pt x="526" y="513"/>
                  </a:lnTo>
                  <a:lnTo>
                    <a:pt x="518" y="504"/>
                  </a:lnTo>
                  <a:lnTo>
                    <a:pt x="513" y="500"/>
                  </a:lnTo>
                  <a:lnTo>
                    <a:pt x="511" y="499"/>
                  </a:lnTo>
                  <a:lnTo>
                    <a:pt x="508" y="497"/>
                  </a:lnTo>
                  <a:lnTo>
                    <a:pt x="506" y="497"/>
                  </a:lnTo>
                  <a:lnTo>
                    <a:pt x="503" y="497"/>
                  </a:lnTo>
                  <a:lnTo>
                    <a:pt x="501" y="497"/>
                  </a:lnTo>
                  <a:lnTo>
                    <a:pt x="500" y="497"/>
                  </a:lnTo>
                  <a:lnTo>
                    <a:pt x="498" y="498"/>
                  </a:lnTo>
                  <a:lnTo>
                    <a:pt x="496" y="499"/>
                  </a:lnTo>
                  <a:lnTo>
                    <a:pt x="495" y="500"/>
                  </a:lnTo>
                  <a:lnTo>
                    <a:pt x="494" y="501"/>
                  </a:lnTo>
                  <a:lnTo>
                    <a:pt x="493" y="502"/>
                  </a:lnTo>
                  <a:lnTo>
                    <a:pt x="492" y="504"/>
                  </a:lnTo>
                  <a:lnTo>
                    <a:pt x="491" y="505"/>
                  </a:lnTo>
                  <a:lnTo>
                    <a:pt x="491" y="508"/>
                  </a:lnTo>
                  <a:lnTo>
                    <a:pt x="491" y="518"/>
                  </a:lnTo>
                  <a:lnTo>
                    <a:pt x="490" y="522"/>
                  </a:lnTo>
                  <a:lnTo>
                    <a:pt x="489" y="527"/>
                  </a:lnTo>
                  <a:lnTo>
                    <a:pt x="487" y="534"/>
                  </a:lnTo>
                  <a:lnTo>
                    <a:pt x="486" y="541"/>
                  </a:lnTo>
                  <a:lnTo>
                    <a:pt x="484" y="544"/>
                  </a:lnTo>
                  <a:lnTo>
                    <a:pt x="483" y="547"/>
                  </a:lnTo>
                  <a:lnTo>
                    <a:pt x="481" y="550"/>
                  </a:lnTo>
                  <a:lnTo>
                    <a:pt x="480" y="553"/>
                  </a:lnTo>
                  <a:lnTo>
                    <a:pt x="479" y="556"/>
                  </a:lnTo>
                  <a:lnTo>
                    <a:pt x="476" y="558"/>
                  </a:lnTo>
                  <a:lnTo>
                    <a:pt x="475" y="561"/>
                  </a:lnTo>
                  <a:lnTo>
                    <a:pt x="473" y="562"/>
                  </a:lnTo>
                  <a:lnTo>
                    <a:pt x="471" y="564"/>
                  </a:lnTo>
                  <a:lnTo>
                    <a:pt x="469" y="566"/>
                  </a:lnTo>
                  <a:lnTo>
                    <a:pt x="467" y="567"/>
                  </a:lnTo>
                  <a:lnTo>
                    <a:pt x="465" y="567"/>
                  </a:lnTo>
                  <a:lnTo>
                    <a:pt x="463" y="567"/>
                  </a:lnTo>
                  <a:lnTo>
                    <a:pt x="461" y="568"/>
                  </a:lnTo>
                  <a:lnTo>
                    <a:pt x="451" y="569"/>
                  </a:lnTo>
                  <a:lnTo>
                    <a:pt x="446" y="569"/>
                  </a:lnTo>
                  <a:lnTo>
                    <a:pt x="442" y="571"/>
                  </a:lnTo>
                  <a:lnTo>
                    <a:pt x="441" y="571"/>
                  </a:lnTo>
                  <a:lnTo>
                    <a:pt x="439" y="572"/>
                  </a:lnTo>
                  <a:lnTo>
                    <a:pt x="437" y="573"/>
                  </a:lnTo>
                  <a:lnTo>
                    <a:pt x="436" y="574"/>
                  </a:lnTo>
                  <a:lnTo>
                    <a:pt x="436" y="575"/>
                  </a:lnTo>
                  <a:lnTo>
                    <a:pt x="434" y="578"/>
                  </a:lnTo>
                  <a:lnTo>
                    <a:pt x="432" y="584"/>
                  </a:lnTo>
                  <a:lnTo>
                    <a:pt x="431" y="587"/>
                  </a:lnTo>
                  <a:lnTo>
                    <a:pt x="429" y="589"/>
                  </a:lnTo>
                  <a:lnTo>
                    <a:pt x="429" y="589"/>
                  </a:lnTo>
                  <a:lnTo>
                    <a:pt x="427" y="591"/>
                  </a:lnTo>
                  <a:lnTo>
                    <a:pt x="426" y="592"/>
                  </a:lnTo>
                  <a:lnTo>
                    <a:pt x="424" y="594"/>
                  </a:lnTo>
                  <a:lnTo>
                    <a:pt x="421" y="594"/>
                  </a:lnTo>
                  <a:lnTo>
                    <a:pt x="418" y="596"/>
                  </a:lnTo>
                  <a:lnTo>
                    <a:pt x="412" y="597"/>
                  </a:lnTo>
                  <a:lnTo>
                    <a:pt x="410" y="597"/>
                  </a:lnTo>
                  <a:lnTo>
                    <a:pt x="408" y="599"/>
                  </a:lnTo>
                  <a:lnTo>
                    <a:pt x="406" y="599"/>
                  </a:lnTo>
                  <a:lnTo>
                    <a:pt x="404" y="602"/>
                  </a:lnTo>
                  <a:lnTo>
                    <a:pt x="402" y="603"/>
                  </a:lnTo>
                  <a:lnTo>
                    <a:pt x="396" y="609"/>
                  </a:lnTo>
                  <a:lnTo>
                    <a:pt x="394" y="611"/>
                  </a:lnTo>
                  <a:lnTo>
                    <a:pt x="391" y="613"/>
                  </a:lnTo>
                  <a:lnTo>
                    <a:pt x="389" y="614"/>
                  </a:lnTo>
                  <a:lnTo>
                    <a:pt x="386" y="615"/>
                  </a:lnTo>
                  <a:lnTo>
                    <a:pt x="384" y="615"/>
                  </a:lnTo>
                  <a:lnTo>
                    <a:pt x="381" y="615"/>
                  </a:lnTo>
                  <a:lnTo>
                    <a:pt x="379" y="614"/>
                  </a:lnTo>
                  <a:lnTo>
                    <a:pt x="376" y="614"/>
                  </a:lnTo>
                  <a:lnTo>
                    <a:pt x="369" y="610"/>
                  </a:lnTo>
                  <a:lnTo>
                    <a:pt x="359" y="605"/>
                  </a:lnTo>
                  <a:lnTo>
                    <a:pt x="349" y="601"/>
                  </a:lnTo>
                  <a:lnTo>
                    <a:pt x="329" y="589"/>
                  </a:lnTo>
                  <a:lnTo>
                    <a:pt x="325" y="588"/>
                  </a:lnTo>
                  <a:lnTo>
                    <a:pt x="322" y="587"/>
                  </a:lnTo>
                  <a:lnTo>
                    <a:pt x="319" y="585"/>
                  </a:lnTo>
                  <a:lnTo>
                    <a:pt x="314" y="584"/>
                  </a:lnTo>
                  <a:lnTo>
                    <a:pt x="311" y="584"/>
                  </a:lnTo>
                  <a:lnTo>
                    <a:pt x="301" y="582"/>
                  </a:lnTo>
                  <a:lnTo>
                    <a:pt x="296" y="582"/>
                  </a:lnTo>
                  <a:lnTo>
                    <a:pt x="293" y="580"/>
                  </a:lnTo>
                  <a:lnTo>
                    <a:pt x="283" y="577"/>
                  </a:lnTo>
                  <a:lnTo>
                    <a:pt x="276" y="574"/>
                  </a:lnTo>
                  <a:lnTo>
                    <a:pt x="266" y="572"/>
                  </a:lnTo>
                  <a:lnTo>
                    <a:pt x="259" y="569"/>
                  </a:lnTo>
                  <a:lnTo>
                    <a:pt x="253" y="568"/>
                  </a:lnTo>
                  <a:lnTo>
                    <a:pt x="247" y="567"/>
                  </a:lnTo>
                  <a:lnTo>
                    <a:pt x="242" y="567"/>
                  </a:lnTo>
                  <a:lnTo>
                    <a:pt x="234" y="566"/>
                  </a:lnTo>
                  <a:lnTo>
                    <a:pt x="229" y="566"/>
                  </a:lnTo>
                  <a:lnTo>
                    <a:pt x="227" y="565"/>
                  </a:lnTo>
                  <a:lnTo>
                    <a:pt x="215" y="564"/>
                  </a:lnTo>
                  <a:lnTo>
                    <a:pt x="210" y="563"/>
                  </a:lnTo>
                  <a:lnTo>
                    <a:pt x="204" y="562"/>
                  </a:lnTo>
                  <a:lnTo>
                    <a:pt x="199" y="562"/>
                  </a:lnTo>
                  <a:lnTo>
                    <a:pt x="195" y="562"/>
                  </a:lnTo>
                  <a:lnTo>
                    <a:pt x="192" y="563"/>
                  </a:lnTo>
                  <a:lnTo>
                    <a:pt x="184" y="564"/>
                  </a:lnTo>
                  <a:lnTo>
                    <a:pt x="181" y="564"/>
                  </a:lnTo>
                  <a:lnTo>
                    <a:pt x="178" y="564"/>
                  </a:lnTo>
                  <a:lnTo>
                    <a:pt x="174" y="564"/>
                  </a:lnTo>
                  <a:lnTo>
                    <a:pt x="172" y="564"/>
                  </a:lnTo>
                  <a:lnTo>
                    <a:pt x="169" y="563"/>
                  </a:lnTo>
                  <a:lnTo>
                    <a:pt x="167" y="562"/>
                  </a:lnTo>
                  <a:lnTo>
                    <a:pt x="161" y="560"/>
                  </a:lnTo>
                  <a:lnTo>
                    <a:pt x="158" y="559"/>
                  </a:lnTo>
                  <a:lnTo>
                    <a:pt x="153" y="557"/>
                  </a:lnTo>
                  <a:lnTo>
                    <a:pt x="143" y="555"/>
                  </a:lnTo>
                  <a:lnTo>
                    <a:pt x="141" y="554"/>
                  </a:lnTo>
                  <a:lnTo>
                    <a:pt x="139" y="554"/>
                  </a:lnTo>
                  <a:lnTo>
                    <a:pt x="137" y="552"/>
                  </a:lnTo>
                  <a:lnTo>
                    <a:pt x="133" y="548"/>
                  </a:lnTo>
                  <a:lnTo>
                    <a:pt x="128" y="544"/>
                  </a:lnTo>
                  <a:lnTo>
                    <a:pt x="127" y="543"/>
                  </a:lnTo>
                  <a:lnTo>
                    <a:pt x="124" y="541"/>
                  </a:lnTo>
                  <a:lnTo>
                    <a:pt x="122" y="539"/>
                  </a:lnTo>
                  <a:lnTo>
                    <a:pt x="119" y="536"/>
                  </a:lnTo>
                  <a:lnTo>
                    <a:pt x="118" y="533"/>
                  </a:lnTo>
                  <a:lnTo>
                    <a:pt x="117" y="530"/>
                  </a:lnTo>
                  <a:lnTo>
                    <a:pt x="114" y="524"/>
                  </a:lnTo>
                  <a:lnTo>
                    <a:pt x="113" y="522"/>
                  </a:lnTo>
                  <a:lnTo>
                    <a:pt x="112" y="521"/>
                  </a:lnTo>
                  <a:lnTo>
                    <a:pt x="112" y="519"/>
                  </a:lnTo>
                  <a:lnTo>
                    <a:pt x="110" y="518"/>
                  </a:lnTo>
                  <a:lnTo>
                    <a:pt x="104" y="513"/>
                  </a:lnTo>
                  <a:lnTo>
                    <a:pt x="102" y="511"/>
                  </a:lnTo>
                  <a:lnTo>
                    <a:pt x="100" y="509"/>
                  </a:lnTo>
                  <a:lnTo>
                    <a:pt x="99" y="507"/>
                  </a:lnTo>
                  <a:lnTo>
                    <a:pt x="97" y="504"/>
                  </a:lnTo>
                  <a:lnTo>
                    <a:pt x="96" y="502"/>
                  </a:lnTo>
                  <a:lnTo>
                    <a:pt x="96" y="500"/>
                  </a:lnTo>
                  <a:lnTo>
                    <a:pt x="96" y="499"/>
                  </a:lnTo>
                  <a:lnTo>
                    <a:pt x="96" y="497"/>
                  </a:lnTo>
                  <a:lnTo>
                    <a:pt x="96" y="495"/>
                  </a:lnTo>
                  <a:lnTo>
                    <a:pt x="97" y="494"/>
                  </a:lnTo>
                  <a:lnTo>
                    <a:pt x="98" y="492"/>
                  </a:lnTo>
                  <a:lnTo>
                    <a:pt x="99" y="489"/>
                  </a:lnTo>
                  <a:lnTo>
                    <a:pt x="101" y="488"/>
                  </a:lnTo>
                  <a:lnTo>
                    <a:pt x="102" y="486"/>
                  </a:lnTo>
                  <a:lnTo>
                    <a:pt x="104" y="484"/>
                  </a:lnTo>
                  <a:lnTo>
                    <a:pt x="108" y="482"/>
                  </a:lnTo>
                  <a:lnTo>
                    <a:pt x="111" y="480"/>
                  </a:lnTo>
                  <a:lnTo>
                    <a:pt x="117" y="477"/>
                  </a:lnTo>
                  <a:lnTo>
                    <a:pt x="120" y="476"/>
                  </a:lnTo>
                  <a:lnTo>
                    <a:pt x="122" y="474"/>
                  </a:lnTo>
                  <a:lnTo>
                    <a:pt x="122" y="474"/>
                  </a:lnTo>
                  <a:lnTo>
                    <a:pt x="124" y="472"/>
                  </a:lnTo>
                  <a:lnTo>
                    <a:pt x="124" y="471"/>
                  </a:lnTo>
                  <a:lnTo>
                    <a:pt x="126" y="469"/>
                  </a:lnTo>
                  <a:lnTo>
                    <a:pt x="127" y="467"/>
                  </a:lnTo>
                  <a:lnTo>
                    <a:pt x="127" y="464"/>
                  </a:lnTo>
                  <a:lnTo>
                    <a:pt x="127" y="462"/>
                  </a:lnTo>
                  <a:lnTo>
                    <a:pt x="127" y="460"/>
                  </a:lnTo>
                  <a:lnTo>
                    <a:pt x="127" y="458"/>
                  </a:lnTo>
                  <a:lnTo>
                    <a:pt x="125" y="456"/>
                  </a:lnTo>
                  <a:lnTo>
                    <a:pt x="124" y="454"/>
                  </a:lnTo>
                  <a:lnTo>
                    <a:pt x="123" y="452"/>
                  </a:lnTo>
                  <a:lnTo>
                    <a:pt x="121" y="450"/>
                  </a:lnTo>
                  <a:lnTo>
                    <a:pt x="119" y="449"/>
                  </a:lnTo>
                  <a:lnTo>
                    <a:pt x="112" y="443"/>
                  </a:lnTo>
                  <a:lnTo>
                    <a:pt x="108" y="440"/>
                  </a:lnTo>
                  <a:lnTo>
                    <a:pt x="106" y="438"/>
                  </a:lnTo>
                  <a:lnTo>
                    <a:pt x="103" y="435"/>
                  </a:lnTo>
                  <a:lnTo>
                    <a:pt x="97" y="427"/>
                  </a:lnTo>
                  <a:lnTo>
                    <a:pt x="93" y="422"/>
                  </a:lnTo>
                  <a:lnTo>
                    <a:pt x="89" y="418"/>
                  </a:lnTo>
                  <a:lnTo>
                    <a:pt x="86" y="414"/>
                  </a:lnTo>
                  <a:lnTo>
                    <a:pt x="83" y="411"/>
                  </a:lnTo>
                  <a:lnTo>
                    <a:pt x="80" y="408"/>
                  </a:lnTo>
                  <a:lnTo>
                    <a:pt x="78" y="407"/>
                  </a:lnTo>
                  <a:lnTo>
                    <a:pt x="77" y="405"/>
                  </a:lnTo>
                  <a:lnTo>
                    <a:pt x="74" y="405"/>
                  </a:lnTo>
                  <a:lnTo>
                    <a:pt x="72" y="403"/>
                  </a:lnTo>
                  <a:lnTo>
                    <a:pt x="67" y="401"/>
                  </a:lnTo>
                  <a:lnTo>
                    <a:pt x="55" y="397"/>
                  </a:lnTo>
                  <a:lnTo>
                    <a:pt x="47" y="394"/>
                  </a:lnTo>
                  <a:lnTo>
                    <a:pt x="44" y="393"/>
                  </a:lnTo>
                  <a:lnTo>
                    <a:pt x="41" y="392"/>
                  </a:lnTo>
                  <a:lnTo>
                    <a:pt x="40" y="390"/>
                  </a:lnTo>
                  <a:lnTo>
                    <a:pt x="37" y="389"/>
                  </a:lnTo>
                  <a:lnTo>
                    <a:pt x="30" y="384"/>
                  </a:lnTo>
                  <a:lnTo>
                    <a:pt x="25" y="380"/>
                  </a:lnTo>
                  <a:lnTo>
                    <a:pt x="20" y="376"/>
                  </a:lnTo>
                  <a:lnTo>
                    <a:pt x="17" y="372"/>
                  </a:lnTo>
                  <a:lnTo>
                    <a:pt x="12" y="367"/>
                  </a:lnTo>
                  <a:lnTo>
                    <a:pt x="7" y="362"/>
                  </a:lnTo>
                  <a:lnTo>
                    <a:pt x="2" y="356"/>
                  </a:lnTo>
                  <a:lnTo>
                    <a:pt x="0" y="352"/>
                  </a:lnTo>
                  <a:lnTo>
                    <a:pt x="2" y="347"/>
                  </a:lnTo>
                  <a:lnTo>
                    <a:pt x="4" y="345"/>
                  </a:lnTo>
                  <a:lnTo>
                    <a:pt x="5" y="344"/>
                  </a:lnTo>
                  <a:lnTo>
                    <a:pt x="6" y="342"/>
                  </a:lnTo>
                  <a:lnTo>
                    <a:pt x="7" y="340"/>
                  </a:lnTo>
                  <a:lnTo>
                    <a:pt x="10" y="339"/>
                  </a:lnTo>
                  <a:lnTo>
                    <a:pt x="11" y="337"/>
                  </a:lnTo>
                  <a:lnTo>
                    <a:pt x="15" y="335"/>
                  </a:lnTo>
                  <a:lnTo>
                    <a:pt x="18" y="334"/>
                  </a:lnTo>
                  <a:lnTo>
                    <a:pt x="21" y="333"/>
                  </a:lnTo>
                  <a:lnTo>
                    <a:pt x="29" y="331"/>
                  </a:lnTo>
                  <a:lnTo>
                    <a:pt x="32" y="330"/>
                  </a:lnTo>
                  <a:lnTo>
                    <a:pt x="33" y="329"/>
                  </a:lnTo>
                  <a:lnTo>
                    <a:pt x="35" y="327"/>
                  </a:lnTo>
                  <a:lnTo>
                    <a:pt x="36" y="326"/>
                  </a:lnTo>
                  <a:lnTo>
                    <a:pt x="38" y="325"/>
                  </a:lnTo>
                  <a:lnTo>
                    <a:pt x="40" y="322"/>
                  </a:lnTo>
                  <a:lnTo>
                    <a:pt x="41" y="320"/>
                  </a:lnTo>
                  <a:lnTo>
                    <a:pt x="42" y="318"/>
                  </a:lnTo>
                  <a:lnTo>
                    <a:pt x="43" y="316"/>
                  </a:lnTo>
                  <a:lnTo>
                    <a:pt x="47" y="305"/>
                  </a:lnTo>
                  <a:lnTo>
                    <a:pt x="52" y="297"/>
                  </a:lnTo>
                  <a:lnTo>
                    <a:pt x="53" y="292"/>
                  </a:lnTo>
                  <a:lnTo>
                    <a:pt x="54" y="289"/>
                  </a:lnTo>
                  <a:lnTo>
                    <a:pt x="56" y="283"/>
                  </a:lnTo>
                  <a:lnTo>
                    <a:pt x="56" y="281"/>
                  </a:lnTo>
                  <a:lnTo>
                    <a:pt x="57" y="278"/>
                  </a:lnTo>
                  <a:lnTo>
                    <a:pt x="57" y="276"/>
                  </a:lnTo>
                  <a:lnTo>
                    <a:pt x="57" y="272"/>
                  </a:lnTo>
                  <a:lnTo>
                    <a:pt x="55" y="260"/>
                  </a:lnTo>
                  <a:lnTo>
                    <a:pt x="54" y="254"/>
                  </a:lnTo>
                  <a:lnTo>
                    <a:pt x="54" y="250"/>
                  </a:lnTo>
                  <a:lnTo>
                    <a:pt x="53" y="247"/>
                  </a:lnTo>
                  <a:lnTo>
                    <a:pt x="52" y="242"/>
                  </a:lnTo>
                  <a:lnTo>
                    <a:pt x="50" y="236"/>
                  </a:lnTo>
                  <a:lnTo>
                    <a:pt x="47" y="230"/>
                  </a:lnTo>
                  <a:lnTo>
                    <a:pt x="42" y="217"/>
                  </a:lnTo>
                  <a:lnTo>
                    <a:pt x="40" y="212"/>
                  </a:lnTo>
                  <a:lnTo>
                    <a:pt x="39" y="208"/>
                  </a:lnTo>
                  <a:lnTo>
                    <a:pt x="38" y="203"/>
                  </a:lnTo>
                  <a:lnTo>
                    <a:pt x="38" y="198"/>
                  </a:lnTo>
                  <a:lnTo>
                    <a:pt x="38" y="195"/>
                  </a:lnTo>
                  <a:lnTo>
                    <a:pt x="38" y="191"/>
                  </a:lnTo>
                  <a:lnTo>
                    <a:pt x="39" y="183"/>
                  </a:lnTo>
                  <a:lnTo>
                    <a:pt x="39" y="179"/>
                  </a:lnTo>
                  <a:lnTo>
                    <a:pt x="39" y="175"/>
                  </a:lnTo>
                  <a:lnTo>
                    <a:pt x="39" y="172"/>
                  </a:lnTo>
                  <a:lnTo>
                    <a:pt x="37" y="163"/>
                  </a:lnTo>
                  <a:lnTo>
                    <a:pt x="37" y="161"/>
                  </a:lnTo>
                  <a:lnTo>
                    <a:pt x="37" y="159"/>
                  </a:lnTo>
                  <a:lnTo>
                    <a:pt x="37" y="155"/>
                  </a:lnTo>
                  <a:lnTo>
                    <a:pt x="37" y="152"/>
                  </a:lnTo>
                  <a:lnTo>
                    <a:pt x="38" y="150"/>
                  </a:lnTo>
                  <a:lnTo>
                    <a:pt x="40" y="148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3" y="145"/>
                  </a:lnTo>
                  <a:lnTo>
                    <a:pt x="45" y="144"/>
                  </a:lnTo>
                  <a:lnTo>
                    <a:pt x="47" y="144"/>
                  </a:lnTo>
                  <a:lnTo>
                    <a:pt x="53" y="143"/>
                  </a:lnTo>
                  <a:lnTo>
                    <a:pt x="59" y="143"/>
                  </a:lnTo>
                  <a:lnTo>
                    <a:pt x="62" y="143"/>
                  </a:lnTo>
                  <a:lnTo>
                    <a:pt x="64" y="143"/>
                  </a:lnTo>
                  <a:lnTo>
                    <a:pt x="68" y="143"/>
                  </a:lnTo>
                  <a:lnTo>
                    <a:pt x="72" y="145"/>
                  </a:lnTo>
                  <a:lnTo>
                    <a:pt x="74" y="145"/>
                  </a:lnTo>
                  <a:lnTo>
                    <a:pt x="77" y="145"/>
                  </a:lnTo>
                  <a:lnTo>
                    <a:pt x="79" y="145"/>
                  </a:lnTo>
                  <a:lnTo>
                    <a:pt x="82" y="145"/>
                  </a:lnTo>
                  <a:lnTo>
                    <a:pt x="84" y="144"/>
                  </a:lnTo>
                  <a:lnTo>
                    <a:pt x="97" y="139"/>
                  </a:lnTo>
                  <a:lnTo>
                    <a:pt x="99" y="138"/>
                  </a:lnTo>
                  <a:lnTo>
                    <a:pt x="103" y="138"/>
                  </a:lnTo>
                  <a:lnTo>
                    <a:pt x="107" y="137"/>
                  </a:lnTo>
                  <a:lnTo>
                    <a:pt x="117" y="135"/>
                  </a:lnTo>
                  <a:lnTo>
                    <a:pt x="137" y="133"/>
                  </a:lnTo>
                  <a:lnTo>
                    <a:pt x="140" y="133"/>
                  </a:lnTo>
                  <a:lnTo>
                    <a:pt x="147" y="132"/>
                  </a:lnTo>
                  <a:lnTo>
                    <a:pt x="149" y="132"/>
                  </a:lnTo>
                  <a:lnTo>
                    <a:pt x="154" y="131"/>
                  </a:lnTo>
                  <a:lnTo>
                    <a:pt x="158" y="132"/>
                  </a:lnTo>
                  <a:lnTo>
                    <a:pt x="164" y="132"/>
                  </a:lnTo>
                  <a:lnTo>
                    <a:pt x="174" y="133"/>
                  </a:lnTo>
                  <a:lnTo>
                    <a:pt x="178" y="134"/>
                  </a:lnTo>
                  <a:lnTo>
                    <a:pt x="182" y="134"/>
                  </a:lnTo>
                  <a:lnTo>
                    <a:pt x="190" y="133"/>
                  </a:lnTo>
                  <a:lnTo>
                    <a:pt x="192" y="133"/>
                  </a:lnTo>
                  <a:lnTo>
                    <a:pt x="194" y="133"/>
                  </a:lnTo>
                  <a:lnTo>
                    <a:pt x="207" y="133"/>
                  </a:lnTo>
                  <a:lnTo>
                    <a:pt x="209" y="134"/>
                  </a:lnTo>
                  <a:lnTo>
                    <a:pt x="211" y="135"/>
                  </a:lnTo>
                  <a:lnTo>
                    <a:pt x="213" y="135"/>
                  </a:lnTo>
                  <a:lnTo>
                    <a:pt x="214" y="136"/>
                  </a:lnTo>
                  <a:lnTo>
                    <a:pt x="221" y="142"/>
                  </a:lnTo>
                  <a:lnTo>
                    <a:pt x="227" y="146"/>
                  </a:lnTo>
                  <a:lnTo>
                    <a:pt x="233" y="151"/>
                  </a:lnTo>
                  <a:lnTo>
                    <a:pt x="236" y="153"/>
                  </a:lnTo>
                  <a:lnTo>
                    <a:pt x="237" y="154"/>
                  </a:lnTo>
                  <a:lnTo>
                    <a:pt x="239" y="154"/>
                  </a:lnTo>
                  <a:lnTo>
                    <a:pt x="239" y="154"/>
                  </a:lnTo>
                  <a:lnTo>
                    <a:pt x="241" y="154"/>
                  </a:lnTo>
                  <a:lnTo>
                    <a:pt x="242" y="153"/>
                  </a:lnTo>
                  <a:lnTo>
                    <a:pt x="244" y="150"/>
                  </a:lnTo>
                  <a:lnTo>
                    <a:pt x="245" y="149"/>
                  </a:lnTo>
                  <a:lnTo>
                    <a:pt x="247" y="148"/>
                  </a:lnTo>
                  <a:lnTo>
                    <a:pt x="247" y="145"/>
                  </a:lnTo>
                  <a:lnTo>
                    <a:pt x="248" y="144"/>
                  </a:lnTo>
                  <a:lnTo>
                    <a:pt x="249" y="143"/>
                  </a:lnTo>
                  <a:lnTo>
                    <a:pt x="249" y="141"/>
                  </a:lnTo>
                  <a:lnTo>
                    <a:pt x="249" y="140"/>
                  </a:lnTo>
                  <a:lnTo>
                    <a:pt x="247" y="138"/>
                  </a:lnTo>
                  <a:lnTo>
                    <a:pt x="247" y="136"/>
                  </a:lnTo>
                  <a:lnTo>
                    <a:pt x="247" y="135"/>
                  </a:lnTo>
                  <a:lnTo>
                    <a:pt x="248" y="133"/>
                  </a:lnTo>
                  <a:lnTo>
                    <a:pt x="248" y="132"/>
                  </a:lnTo>
                  <a:lnTo>
                    <a:pt x="248" y="131"/>
                  </a:lnTo>
                  <a:lnTo>
                    <a:pt x="248" y="130"/>
                  </a:lnTo>
                  <a:lnTo>
                    <a:pt x="245" y="125"/>
                  </a:lnTo>
                  <a:lnTo>
                    <a:pt x="242" y="120"/>
                  </a:lnTo>
                  <a:lnTo>
                    <a:pt x="241" y="119"/>
                  </a:lnTo>
                  <a:lnTo>
                    <a:pt x="240" y="118"/>
                  </a:lnTo>
                  <a:lnTo>
                    <a:pt x="239" y="115"/>
                  </a:lnTo>
                  <a:lnTo>
                    <a:pt x="239" y="113"/>
                  </a:lnTo>
                  <a:lnTo>
                    <a:pt x="239" y="110"/>
                  </a:lnTo>
                  <a:lnTo>
                    <a:pt x="237" y="105"/>
                  </a:lnTo>
                  <a:lnTo>
                    <a:pt x="237" y="102"/>
                  </a:lnTo>
                  <a:lnTo>
                    <a:pt x="237" y="100"/>
                  </a:lnTo>
                  <a:lnTo>
                    <a:pt x="237" y="98"/>
                  </a:lnTo>
                  <a:lnTo>
                    <a:pt x="238" y="94"/>
                  </a:lnTo>
                  <a:lnTo>
                    <a:pt x="239" y="92"/>
                  </a:lnTo>
                  <a:lnTo>
                    <a:pt x="239" y="89"/>
                  </a:lnTo>
                  <a:lnTo>
                    <a:pt x="242" y="83"/>
                  </a:lnTo>
                  <a:lnTo>
                    <a:pt x="244" y="82"/>
                  </a:lnTo>
                  <a:lnTo>
                    <a:pt x="246" y="79"/>
                  </a:lnTo>
                  <a:lnTo>
                    <a:pt x="247" y="78"/>
                  </a:lnTo>
                  <a:lnTo>
                    <a:pt x="247" y="78"/>
                  </a:lnTo>
                  <a:lnTo>
                    <a:pt x="248" y="72"/>
                  </a:lnTo>
                  <a:lnTo>
                    <a:pt x="250" y="65"/>
                  </a:lnTo>
                  <a:lnTo>
                    <a:pt x="251" y="63"/>
                  </a:lnTo>
                  <a:lnTo>
                    <a:pt x="252" y="60"/>
                  </a:lnTo>
                  <a:lnTo>
                    <a:pt x="252" y="56"/>
                  </a:lnTo>
                  <a:lnTo>
                    <a:pt x="252" y="50"/>
                  </a:lnTo>
                  <a:lnTo>
                    <a:pt x="252" y="45"/>
                  </a:lnTo>
                  <a:lnTo>
                    <a:pt x="253" y="43"/>
                  </a:lnTo>
                  <a:lnTo>
                    <a:pt x="253" y="41"/>
                  </a:lnTo>
                  <a:lnTo>
                    <a:pt x="254" y="40"/>
                  </a:lnTo>
                  <a:lnTo>
                    <a:pt x="254" y="38"/>
                  </a:lnTo>
                  <a:lnTo>
                    <a:pt x="258" y="33"/>
                  </a:lnTo>
                  <a:lnTo>
                    <a:pt x="259" y="30"/>
                  </a:lnTo>
                  <a:lnTo>
                    <a:pt x="259" y="29"/>
                  </a:lnTo>
                  <a:lnTo>
                    <a:pt x="261" y="23"/>
                  </a:lnTo>
                  <a:lnTo>
                    <a:pt x="262" y="21"/>
                  </a:lnTo>
                  <a:lnTo>
                    <a:pt x="262" y="19"/>
                  </a:lnTo>
                  <a:lnTo>
                    <a:pt x="264" y="16"/>
                  </a:lnTo>
                  <a:lnTo>
                    <a:pt x="266" y="13"/>
                  </a:lnTo>
                  <a:lnTo>
                    <a:pt x="269" y="10"/>
                  </a:lnTo>
                  <a:lnTo>
                    <a:pt x="271" y="7"/>
                  </a:lnTo>
                  <a:lnTo>
                    <a:pt x="274" y="5"/>
                  </a:lnTo>
                  <a:lnTo>
                    <a:pt x="278" y="3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283" y="0"/>
                  </a:lnTo>
                  <a:lnTo>
                    <a:pt x="282" y="0"/>
                  </a:lnTo>
                  <a:close/>
                </a:path>
              </a:pathLst>
            </a:custGeom>
            <a:solidFill>
              <a:srgbClr val="A8A8A8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99">
              <a:extLst>
                <a:ext uri="{FF2B5EF4-FFF2-40B4-BE49-F238E27FC236}">
                  <a16:creationId xmlns:a16="http://schemas.microsoft.com/office/drawing/2014/main" id="{E7452DDB-3056-46CF-7D21-454368323B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9861" y="5089363"/>
              <a:ext cx="1398588" cy="1208088"/>
            </a:xfrm>
            <a:custGeom>
              <a:avLst/>
              <a:gdLst>
                <a:gd name="T0" fmla="*/ 320 w 881"/>
                <a:gd name="T1" fmla="*/ 41 h 761"/>
                <a:gd name="T2" fmla="*/ 376 w 881"/>
                <a:gd name="T3" fmla="*/ 38 h 761"/>
                <a:gd name="T4" fmla="*/ 421 w 881"/>
                <a:gd name="T5" fmla="*/ 68 h 761"/>
                <a:gd name="T6" fmla="*/ 415 w 881"/>
                <a:gd name="T7" fmla="*/ 88 h 761"/>
                <a:gd name="T8" fmla="*/ 460 w 881"/>
                <a:gd name="T9" fmla="*/ 115 h 761"/>
                <a:gd name="T10" fmla="*/ 501 w 881"/>
                <a:gd name="T11" fmla="*/ 115 h 761"/>
                <a:gd name="T12" fmla="*/ 564 w 881"/>
                <a:gd name="T13" fmla="*/ 131 h 761"/>
                <a:gd name="T14" fmla="*/ 622 w 881"/>
                <a:gd name="T15" fmla="*/ 128 h 761"/>
                <a:gd name="T16" fmla="*/ 646 w 881"/>
                <a:gd name="T17" fmla="*/ 155 h 761"/>
                <a:gd name="T18" fmla="*/ 662 w 881"/>
                <a:gd name="T19" fmla="*/ 221 h 761"/>
                <a:gd name="T20" fmla="*/ 734 w 881"/>
                <a:gd name="T21" fmla="*/ 254 h 761"/>
                <a:gd name="T22" fmla="*/ 801 w 881"/>
                <a:gd name="T23" fmla="*/ 253 h 761"/>
                <a:gd name="T24" fmla="*/ 842 w 881"/>
                <a:gd name="T25" fmla="*/ 253 h 761"/>
                <a:gd name="T26" fmla="*/ 851 w 881"/>
                <a:gd name="T27" fmla="*/ 280 h 761"/>
                <a:gd name="T28" fmla="*/ 864 w 881"/>
                <a:gd name="T29" fmla="*/ 323 h 761"/>
                <a:gd name="T30" fmla="*/ 826 w 881"/>
                <a:gd name="T31" fmla="*/ 363 h 761"/>
                <a:gd name="T32" fmla="*/ 789 w 881"/>
                <a:gd name="T33" fmla="*/ 420 h 761"/>
                <a:gd name="T34" fmla="*/ 804 w 881"/>
                <a:gd name="T35" fmla="*/ 440 h 761"/>
                <a:gd name="T36" fmla="*/ 850 w 881"/>
                <a:gd name="T37" fmla="*/ 477 h 761"/>
                <a:gd name="T38" fmla="*/ 854 w 881"/>
                <a:gd name="T39" fmla="*/ 512 h 761"/>
                <a:gd name="T40" fmla="*/ 845 w 881"/>
                <a:gd name="T41" fmla="*/ 532 h 761"/>
                <a:gd name="T42" fmla="*/ 814 w 881"/>
                <a:gd name="T43" fmla="*/ 550 h 761"/>
                <a:gd name="T44" fmla="*/ 749 w 881"/>
                <a:gd name="T45" fmla="*/ 501 h 761"/>
                <a:gd name="T46" fmla="*/ 657 w 881"/>
                <a:gd name="T47" fmla="*/ 457 h 761"/>
                <a:gd name="T48" fmla="*/ 594 w 881"/>
                <a:gd name="T49" fmla="*/ 447 h 761"/>
                <a:gd name="T50" fmla="*/ 568 w 881"/>
                <a:gd name="T51" fmla="*/ 487 h 761"/>
                <a:gd name="T52" fmla="*/ 499 w 881"/>
                <a:gd name="T53" fmla="*/ 505 h 761"/>
                <a:gd name="T54" fmla="*/ 480 w 881"/>
                <a:gd name="T55" fmla="*/ 477 h 761"/>
                <a:gd name="T56" fmla="*/ 438 w 881"/>
                <a:gd name="T57" fmla="*/ 434 h 761"/>
                <a:gd name="T58" fmla="*/ 383 w 881"/>
                <a:gd name="T59" fmla="*/ 415 h 761"/>
                <a:gd name="T60" fmla="*/ 332 w 881"/>
                <a:gd name="T61" fmla="*/ 415 h 761"/>
                <a:gd name="T62" fmla="*/ 312 w 881"/>
                <a:gd name="T63" fmla="*/ 469 h 761"/>
                <a:gd name="T64" fmla="*/ 320 w 881"/>
                <a:gd name="T65" fmla="*/ 574 h 761"/>
                <a:gd name="T66" fmla="*/ 304 w 881"/>
                <a:gd name="T67" fmla="*/ 662 h 761"/>
                <a:gd name="T68" fmla="*/ 304 w 881"/>
                <a:gd name="T69" fmla="*/ 737 h 761"/>
                <a:gd name="T70" fmla="*/ 277 w 881"/>
                <a:gd name="T71" fmla="*/ 760 h 761"/>
                <a:gd name="T72" fmla="*/ 235 w 881"/>
                <a:gd name="T73" fmla="*/ 709 h 761"/>
                <a:gd name="T74" fmla="*/ 212 w 881"/>
                <a:gd name="T75" fmla="*/ 649 h 761"/>
                <a:gd name="T76" fmla="*/ 158 w 881"/>
                <a:gd name="T77" fmla="*/ 620 h 761"/>
                <a:gd name="T78" fmla="*/ 133 w 881"/>
                <a:gd name="T79" fmla="*/ 552 h 761"/>
                <a:gd name="T80" fmla="*/ 113 w 881"/>
                <a:gd name="T81" fmla="*/ 525 h 761"/>
                <a:gd name="T82" fmla="*/ 120 w 881"/>
                <a:gd name="T83" fmla="*/ 503 h 761"/>
                <a:gd name="T84" fmla="*/ 82 w 881"/>
                <a:gd name="T85" fmla="*/ 485 h 761"/>
                <a:gd name="T86" fmla="*/ 70 w 881"/>
                <a:gd name="T87" fmla="*/ 438 h 761"/>
                <a:gd name="T88" fmla="*/ 40 w 881"/>
                <a:gd name="T89" fmla="*/ 404 h 761"/>
                <a:gd name="T90" fmla="*/ 45 w 881"/>
                <a:gd name="T91" fmla="*/ 361 h 761"/>
                <a:gd name="T92" fmla="*/ 17 w 881"/>
                <a:gd name="T93" fmla="*/ 333 h 761"/>
                <a:gd name="T94" fmla="*/ 7 w 881"/>
                <a:gd name="T95" fmla="*/ 309 h 761"/>
                <a:gd name="T96" fmla="*/ 31 w 881"/>
                <a:gd name="T97" fmla="*/ 269 h 761"/>
                <a:gd name="T98" fmla="*/ 46 w 881"/>
                <a:gd name="T99" fmla="*/ 228 h 761"/>
                <a:gd name="T100" fmla="*/ 90 w 881"/>
                <a:gd name="T101" fmla="*/ 253 h 761"/>
                <a:gd name="T102" fmla="*/ 130 w 881"/>
                <a:gd name="T103" fmla="*/ 257 h 761"/>
                <a:gd name="T104" fmla="*/ 163 w 881"/>
                <a:gd name="T105" fmla="*/ 268 h 761"/>
                <a:gd name="T106" fmla="*/ 131 w 881"/>
                <a:gd name="T107" fmla="*/ 224 h 761"/>
                <a:gd name="T108" fmla="*/ 146 w 881"/>
                <a:gd name="T109" fmla="*/ 180 h 761"/>
                <a:gd name="T110" fmla="*/ 108 w 881"/>
                <a:gd name="T111" fmla="*/ 133 h 761"/>
                <a:gd name="T112" fmla="*/ 124 w 881"/>
                <a:gd name="T113" fmla="*/ 118 h 761"/>
                <a:gd name="T114" fmla="*/ 208 w 881"/>
                <a:gd name="T115" fmla="*/ 101 h 761"/>
                <a:gd name="T116" fmla="*/ 228 w 881"/>
                <a:gd name="T117" fmla="*/ 43 h 761"/>
                <a:gd name="T118" fmla="*/ 220 w 881"/>
                <a:gd name="T119" fmla="*/ 11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1" h="761">
                  <a:moveTo>
                    <a:pt x="263" y="0"/>
                  </a:moveTo>
                  <a:lnTo>
                    <a:pt x="266" y="1"/>
                  </a:lnTo>
                  <a:lnTo>
                    <a:pt x="269" y="3"/>
                  </a:lnTo>
                  <a:lnTo>
                    <a:pt x="272" y="6"/>
                  </a:lnTo>
                  <a:lnTo>
                    <a:pt x="275" y="8"/>
                  </a:lnTo>
                  <a:lnTo>
                    <a:pt x="277" y="10"/>
                  </a:lnTo>
                  <a:lnTo>
                    <a:pt x="286" y="18"/>
                  </a:lnTo>
                  <a:lnTo>
                    <a:pt x="290" y="22"/>
                  </a:lnTo>
                  <a:lnTo>
                    <a:pt x="303" y="34"/>
                  </a:lnTo>
                  <a:lnTo>
                    <a:pt x="306" y="36"/>
                  </a:lnTo>
                  <a:lnTo>
                    <a:pt x="309" y="38"/>
                  </a:lnTo>
                  <a:lnTo>
                    <a:pt x="310" y="39"/>
                  </a:lnTo>
                  <a:lnTo>
                    <a:pt x="312" y="41"/>
                  </a:lnTo>
                  <a:lnTo>
                    <a:pt x="315" y="41"/>
                  </a:lnTo>
                  <a:lnTo>
                    <a:pt x="317" y="41"/>
                  </a:lnTo>
                  <a:lnTo>
                    <a:pt x="320" y="41"/>
                  </a:lnTo>
                  <a:lnTo>
                    <a:pt x="323" y="41"/>
                  </a:lnTo>
                  <a:lnTo>
                    <a:pt x="325" y="40"/>
                  </a:lnTo>
                  <a:lnTo>
                    <a:pt x="327" y="39"/>
                  </a:lnTo>
                  <a:lnTo>
                    <a:pt x="340" y="33"/>
                  </a:lnTo>
                  <a:lnTo>
                    <a:pt x="343" y="31"/>
                  </a:lnTo>
                  <a:lnTo>
                    <a:pt x="346" y="30"/>
                  </a:lnTo>
                  <a:lnTo>
                    <a:pt x="350" y="28"/>
                  </a:lnTo>
                  <a:lnTo>
                    <a:pt x="353" y="28"/>
                  </a:lnTo>
                  <a:lnTo>
                    <a:pt x="356" y="28"/>
                  </a:lnTo>
                  <a:lnTo>
                    <a:pt x="358" y="28"/>
                  </a:lnTo>
                  <a:lnTo>
                    <a:pt x="360" y="28"/>
                  </a:lnTo>
                  <a:lnTo>
                    <a:pt x="362" y="28"/>
                  </a:lnTo>
                  <a:lnTo>
                    <a:pt x="365" y="30"/>
                  </a:lnTo>
                  <a:lnTo>
                    <a:pt x="367" y="31"/>
                  </a:lnTo>
                  <a:lnTo>
                    <a:pt x="370" y="33"/>
                  </a:lnTo>
                  <a:lnTo>
                    <a:pt x="376" y="38"/>
                  </a:lnTo>
                  <a:lnTo>
                    <a:pt x="380" y="41"/>
                  </a:lnTo>
                  <a:lnTo>
                    <a:pt x="385" y="45"/>
                  </a:lnTo>
                  <a:lnTo>
                    <a:pt x="389" y="47"/>
                  </a:lnTo>
                  <a:lnTo>
                    <a:pt x="391" y="48"/>
                  </a:lnTo>
                  <a:lnTo>
                    <a:pt x="394" y="49"/>
                  </a:lnTo>
                  <a:lnTo>
                    <a:pt x="405" y="53"/>
                  </a:lnTo>
                  <a:lnTo>
                    <a:pt x="409" y="55"/>
                  </a:lnTo>
                  <a:lnTo>
                    <a:pt x="412" y="56"/>
                  </a:lnTo>
                  <a:lnTo>
                    <a:pt x="415" y="57"/>
                  </a:lnTo>
                  <a:lnTo>
                    <a:pt x="417" y="58"/>
                  </a:lnTo>
                  <a:lnTo>
                    <a:pt x="418" y="60"/>
                  </a:lnTo>
                  <a:lnTo>
                    <a:pt x="419" y="61"/>
                  </a:lnTo>
                  <a:lnTo>
                    <a:pt x="420" y="62"/>
                  </a:lnTo>
                  <a:lnTo>
                    <a:pt x="420" y="64"/>
                  </a:lnTo>
                  <a:lnTo>
                    <a:pt x="421" y="66"/>
                  </a:lnTo>
                  <a:lnTo>
                    <a:pt x="421" y="68"/>
                  </a:lnTo>
                  <a:lnTo>
                    <a:pt x="421" y="69"/>
                  </a:lnTo>
                  <a:lnTo>
                    <a:pt x="420" y="71"/>
                  </a:lnTo>
                  <a:lnTo>
                    <a:pt x="420" y="74"/>
                  </a:lnTo>
                  <a:lnTo>
                    <a:pt x="419" y="76"/>
                  </a:lnTo>
                  <a:lnTo>
                    <a:pt x="418" y="77"/>
                  </a:lnTo>
                  <a:lnTo>
                    <a:pt x="417" y="78"/>
                  </a:lnTo>
                  <a:lnTo>
                    <a:pt x="416" y="80"/>
                  </a:lnTo>
                  <a:lnTo>
                    <a:pt x="414" y="81"/>
                  </a:lnTo>
                  <a:lnTo>
                    <a:pt x="411" y="83"/>
                  </a:lnTo>
                  <a:lnTo>
                    <a:pt x="410" y="83"/>
                  </a:lnTo>
                  <a:lnTo>
                    <a:pt x="410" y="84"/>
                  </a:lnTo>
                  <a:lnTo>
                    <a:pt x="410" y="85"/>
                  </a:lnTo>
                  <a:lnTo>
                    <a:pt x="410" y="86"/>
                  </a:lnTo>
                  <a:lnTo>
                    <a:pt x="411" y="87"/>
                  </a:lnTo>
                  <a:lnTo>
                    <a:pt x="412" y="88"/>
                  </a:lnTo>
                  <a:lnTo>
                    <a:pt x="415" y="88"/>
                  </a:lnTo>
                  <a:lnTo>
                    <a:pt x="418" y="89"/>
                  </a:lnTo>
                  <a:lnTo>
                    <a:pt x="420" y="90"/>
                  </a:lnTo>
                  <a:lnTo>
                    <a:pt x="422" y="91"/>
                  </a:lnTo>
                  <a:lnTo>
                    <a:pt x="430" y="91"/>
                  </a:lnTo>
                  <a:lnTo>
                    <a:pt x="434" y="92"/>
                  </a:lnTo>
                  <a:lnTo>
                    <a:pt x="436" y="93"/>
                  </a:lnTo>
                  <a:lnTo>
                    <a:pt x="438" y="93"/>
                  </a:lnTo>
                  <a:lnTo>
                    <a:pt x="440" y="94"/>
                  </a:lnTo>
                  <a:lnTo>
                    <a:pt x="442" y="95"/>
                  </a:lnTo>
                  <a:lnTo>
                    <a:pt x="443" y="96"/>
                  </a:lnTo>
                  <a:lnTo>
                    <a:pt x="445" y="98"/>
                  </a:lnTo>
                  <a:lnTo>
                    <a:pt x="447" y="99"/>
                  </a:lnTo>
                  <a:lnTo>
                    <a:pt x="449" y="101"/>
                  </a:lnTo>
                  <a:lnTo>
                    <a:pt x="452" y="105"/>
                  </a:lnTo>
                  <a:lnTo>
                    <a:pt x="458" y="113"/>
                  </a:lnTo>
                  <a:lnTo>
                    <a:pt x="460" y="115"/>
                  </a:lnTo>
                  <a:lnTo>
                    <a:pt x="462" y="116"/>
                  </a:lnTo>
                  <a:lnTo>
                    <a:pt x="463" y="118"/>
                  </a:lnTo>
                  <a:lnTo>
                    <a:pt x="465" y="119"/>
                  </a:lnTo>
                  <a:lnTo>
                    <a:pt x="467" y="121"/>
                  </a:lnTo>
                  <a:lnTo>
                    <a:pt x="469" y="121"/>
                  </a:lnTo>
                  <a:lnTo>
                    <a:pt x="472" y="123"/>
                  </a:lnTo>
                  <a:lnTo>
                    <a:pt x="475" y="123"/>
                  </a:lnTo>
                  <a:lnTo>
                    <a:pt x="476" y="123"/>
                  </a:lnTo>
                  <a:lnTo>
                    <a:pt x="478" y="123"/>
                  </a:lnTo>
                  <a:lnTo>
                    <a:pt x="480" y="123"/>
                  </a:lnTo>
                  <a:lnTo>
                    <a:pt x="482" y="123"/>
                  </a:lnTo>
                  <a:lnTo>
                    <a:pt x="484" y="123"/>
                  </a:lnTo>
                  <a:lnTo>
                    <a:pt x="487" y="122"/>
                  </a:lnTo>
                  <a:lnTo>
                    <a:pt x="490" y="121"/>
                  </a:lnTo>
                  <a:lnTo>
                    <a:pt x="493" y="119"/>
                  </a:lnTo>
                  <a:lnTo>
                    <a:pt x="501" y="115"/>
                  </a:lnTo>
                  <a:lnTo>
                    <a:pt x="504" y="113"/>
                  </a:lnTo>
                  <a:lnTo>
                    <a:pt x="507" y="113"/>
                  </a:lnTo>
                  <a:lnTo>
                    <a:pt x="508" y="112"/>
                  </a:lnTo>
                  <a:lnTo>
                    <a:pt x="510" y="112"/>
                  </a:lnTo>
                  <a:lnTo>
                    <a:pt x="512" y="112"/>
                  </a:lnTo>
                  <a:lnTo>
                    <a:pt x="514" y="113"/>
                  </a:lnTo>
                  <a:lnTo>
                    <a:pt x="517" y="113"/>
                  </a:lnTo>
                  <a:lnTo>
                    <a:pt x="532" y="117"/>
                  </a:lnTo>
                  <a:lnTo>
                    <a:pt x="537" y="118"/>
                  </a:lnTo>
                  <a:lnTo>
                    <a:pt x="549" y="122"/>
                  </a:lnTo>
                  <a:lnTo>
                    <a:pt x="556" y="124"/>
                  </a:lnTo>
                  <a:lnTo>
                    <a:pt x="561" y="126"/>
                  </a:lnTo>
                  <a:lnTo>
                    <a:pt x="564" y="128"/>
                  </a:lnTo>
                  <a:lnTo>
                    <a:pt x="564" y="128"/>
                  </a:lnTo>
                  <a:lnTo>
                    <a:pt x="564" y="129"/>
                  </a:lnTo>
                  <a:lnTo>
                    <a:pt x="564" y="131"/>
                  </a:lnTo>
                  <a:lnTo>
                    <a:pt x="564" y="132"/>
                  </a:lnTo>
                  <a:lnTo>
                    <a:pt x="564" y="133"/>
                  </a:lnTo>
                  <a:lnTo>
                    <a:pt x="565" y="133"/>
                  </a:lnTo>
                  <a:lnTo>
                    <a:pt x="566" y="134"/>
                  </a:lnTo>
                  <a:lnTo>
                    <a:pt x="567" y="134"/>
                  </a:lnTo>
                  <a:lnTo>
                    <a:pt x="568" y="135"/>
                  </a:lnTo>
                  <a:lnTo>
                    <a:pt x="570" y="135"/>
                  </a:lnTo>
                  <a:lnTo>
                    <a:pt x="577" y="134"/>
                  </a:lnTo>
                  <a:lnTo>
                    <a:pt x="582" y="134"/>
                  </a:lnTo>
                  <a:lnTo>
                    <a:pt x="586" y="133"/>
                  </a:lnTo>
                  <a:lnTo>
                    <a:pt x="594" y="131"/>
                  </a:lnTo>
                  <a:lnTo>
                    <a:pt x="598" y="131"/>
                  </a:lnTo>
                  <a:lnTo>
                    <a:pt x="602" y="131"/>
                  </a:lnTo>
                  <a:lnTo>
                    <a:pt x="610" y="130"/>
                  </a:lnTo>
                  <a:lnTo>
                    <a:pt x="618" y="128"/>
                  </a:lnTo>
                  <a:lnTo>
                    <a:pt x="622" y="128"/>
                  </a:lnTo>
                  <a:lnTo>
                    <a:pt x="624" y="128"/>
                  </a:lnTo>
                  <a:lnTo>
                    <a:pt x="627" y="128"/>
                  </a:lnTo>
                  <a:lnTo>
                    <a:pt x="629" y="129"/>
                  </a:lnTo>
                  <a:lnTo>
                    <a:pt x="632" y="130"/>
                  </a:lnTo>
                  <a:lnTo>
                    <a:pt x="634" y="131"/>
                  </a:lnTo>
                  <a:lnTo>
                    <a:pt x="635" y="131"/>
                  </a:lnTo>
                  <a:lnTo>
                    <a:pt x="637" y="132"/>
                  </a:lnTo>
                  <a:lnTo>
                    <a:pt x="638" y="133"/>
                  </a:lnTo>
                  <a:lnTo>
                    <a:pt x="639" y="134"/>
                  </a:lnTo>
                  <a:lnTo>
                    <a:pt x="640" y="136"/>
                  </a:lnTo>
                  <a:lnTo>
                    <a:pt x="642" y="138"/>
                  </a:lnTo>
                  <a:lnTo>
                    <a:pt x="642" y="140"/>
                  </a:lnTo>
                  <a:lnTo>
                    <a:pt x="643" y="143"/>
                  </a:lnTo>
                  <a:lnTo>
                    <a:pt x="644" y="147"/>
                  </a:lnTo>
                  <a:lnTo>
                    <a:pt x="645" y="151"/>
                  </a:lnTo>
                  <a:lnTo>
                    <a:pt x="646" y="155"/>
                  </a:lnTo>
                  <a:lnTo>
                    <a:pt x="647" y="161"/>
                  </a:lnTo>
                  <a:lnTo>
                    <a:pt x="647" y="166"/>
                  </a:lnTo>
                  <a:lnTo>
                    <a:pt x="646" y="172"/>
                  </a:lnTo>
                  <a:lnTo>
                    <a:pt x="645" y="180"/>
                  </a:lnTo>
                  <a:lnTo>
                    <a:pt x="644" y="185"/>
                  </a:lnTo>
                  <a:lnTo>
                    <a:pt x="644" y="190"/>
                  </a:lnTo>
                  <a:lnTo>
                    <a:pt x="644" y="194"/>
                  </a:lnTo>
                  <a:lnTo>
                    <a:pt x="644" y="197"/>
                  </a:lnTo>
                  <a:lnTo>
                    <a:pt x="645" y="200"/>
                  </a:lnTo>
                  <a:lnTo>
                    <a:pt x="647" y="203"/>
                  </a:lnTo>
                  <a:lnTo>
                    <a:pt x="649" y="208"/>
                  </a:lnTo>
                  <a:lnTo>
                    <a:pt x="650" y="210"/>
                  </a:lnTo>
                  <a:lnTo>
                    <a:pt x="652" y="211"/>
                  </a:lnTo>
                  <a:lnTo>
                    <a:pt x="653" y="213"/>
                  </a:lnTo>
                  <a:lnTo>
                    <a:pt x="655" y="215"/>
                  </a:lnTo>
                  <a:lnTo>
                    <a:pt x="662" y="221"/>
                  </a:lnTo>
                  <a:lnTo>
                    <a:pt x="669" y="227"/>
                  </a:lnTo>
                  <a:lnTo>
                    <a:pt x="672" y="229"/>
                  </a:lnTo>
                  <a:lnTo>
                    <a:pt x="679" y="235"/>
                  </a:lnTo>
                  <a:lnTo>
                    <a:pt x="682" y="238"/>
                  </a:lnTo>
                  <a:lnTo>
                    <a:pt x="684" y="240"/>
                  </a:lnTo>
                  <a:lnTo>
                    <a:pt x="688" y="243"/>
                  </a:lnTo>
                  <a:lnTo>
                    <a:pt x="704" y="252"/>
                  </a:lnTo>
                  <a:lnTo>
                    <a:pt x="713" y="257"/>
                  </a:lnTo>
                  <a:lnTo>
                    <a:pt x="715" y="258"/>
                  </a:lnTo>
                  <a:lnTo>
                    <a:pt x="716" y="258"/>
                  </a:lnTo>
                  <a:lnTo>
                    <a:pt x="719" y="258"/>
                  </a:lnTo>
                  <a:lnTo>
                    <a:pt x="720" y="258"/>
                  </a:lnTo>
                  <a:lnTo>
                    <a:pt x="726" y="255"/>
                  </a:lnTo>
                  <a:lnTo>
                    <a:pt x="729" y="255"/>
                  </a:lnTo>
                  <a:lnTo>
                    <a:pt x="731" y="254"/>
                  </a:lnTo>
                  <a:lnTo>
                    <a:pt x="734" y="254"/>
                  </a:lnTo>
                  <a:lnTo>
                    <a:pt x="736" y="254"/>
                  </a:lnTo>
                  <a:lnTo>
                    <a:pt x="739" y="255"/>
                  </a:lnTo>
                  <a:lnTo>
                    <a:pt x="750" y="258"/>
                  </a:lnTo>
                  <a:lnTo>
                    <a:pt x="753" y="259"/>
                  </a:lnTo>
                  <a:lnTo>
                    <a:pt x="756" y="259"/>
                  </a:lnTo>
                  <a:lnTo>
                    <a:pt x="760" y="260"/>
                  </a:lnTo>
                  <a:lnTo>
                    <a:pt x="766" y="260"/>
                  </a:lnTo>
                  <a:lnTo>
                    <a:pt x="771" y="260"/>
                  </a:lnTo>
                  <a:lnTo>
                    <a:pt x="776" y="260"/>
                  </a:lnTo>
                  <a:lnTo>
                    <a:pt x="779" y="260"/>
                  </a:lnTo>
                  <a:lnTo>
                    <a:pt x="782" y="260"/>
                  </a:lnTo>
                  <a:lnTo>
                    <a:pt x="784" y="259"/>
                  </a:lnTo>
                  <a:lnTo>
                    <a:pt x="786" y="258"/>
                  </a:lnTo>
                  <a:lnTo>
                    <a:pt x="790" y="257"/>
                  </a:lnTo>
                  <a:lnTo>
                    <a:pt x="798" y="254"/>
                  </a:lnTo>
                  <a:lnTo>
                    <a:pt x="801" y="253"/>
                  </a:lnTo>
                  <a:lnTo>
                    <a:pt x="806" y="252"/>
                  </a:lnTo>
                  <a:lnTo>
                    <a:pt x="813" y="250"/>
                  </a:lnTo>
                  <a:lnTo>
                    <a:pt x="816" y="250"/>
                  </a:lnTo>
                  <a:lnTo>
                    <a:pt x="818" y="249"/>
                  </a:lnTo>
                  <a:lnTo>
                    <a:pt x="822" y="247"/>
                  </a:lnTo>
                  <a:lnTo>
                    <a:pt x="824" y="246"/>
                  </a:lnTo>
                  <a:lnTo>
                    <a:pt x="826" y="246"/>
                  </a:lnTo>
                  <a:lnTo>
                    <a:pt x="828" y="246"/>
                  </a:lnTo>
                  <a:lnTo>
                    <a:pt x="829" y="246"/>
                  </a:lnTo>
                  <a:lnTo>
                    <a:pt x="831" y="247"/>
                  </a:lnTo>
                  <a:lnTo>
                    <a:pt x="832" y="247"/>
                  </a:lnTo>
                  <a:lnTo>
                    <a:pt x="834" y="248"/>
                  </a:lnTo>
                  <a:lnTo>
                    <a:pt x="837" y="250"/>
                  </a:lnTo>
                  <a:lnTo>
                    <a:pt x="841" y="252"/>
                  </a:lnTo>
                  <a:lnTo>
                    <a:pt x="841" y="253"/>
                  </a:lnTo>
                  <a:lnTo>
                    <a:pt x="842" y="253"/>
                  </a:lnTo>
                  <a:lnTo>
                    <a:pt x="843" y="255"/>
                  </a:lnTo>
                  <a:lnTo>
                    <a:pt x="844" y="255"/>
                  </a:lnTo>
                  <a:lnTo>
                    <a:pt x="844" y="257"/>
                  </a:lnTo>
                  <a:lnTo>
                    <a:pt x="845" y="258"/>
                  </a:lnTo>
                  <a:lnTo>
                    <a:pt x="845" y="260"/>
                  </a:lnTo>
                  <a:lnTo>
                    <a:pt x="845" y="261"/>
                  </a:lnTo>
                  <a:lnTo>
                    <a:pt x="844" y="263"/>
                  </a:lnTo>
                  <a:lnTo>
                    <a:pt x="843" y="268"/>
                  </a:lnTo>
                  <a:lnTo>
                    <a:pt x="843" y="268"/>
                  </a:lnTo>
                  <a:lnTo>
                    <a:pt x="843" y="270"/>
                  </a:lnTo>
                  <a:lnTo>
                    <a:pt x="843" y="270"/>
                  </a:lnTo>
                  <a:lnTo>
                    <a:pt x="844" y="272"/>
                  </a:lnTo>
                  <a:lnTo>
                    <a:pt x="844" y="273"/>
                  </a:lnTo>
                  <a:lnTo>
                    <a:pt x="845" y="275"/>
                  </a:lnTo>
                  <a:lnTo>
                    <a:pt x="848" y="278"/>
                  </a:lnTo>
                  <a:lnTo>
                    <a:pt x="851" y="280"/>
                  </a:lnTo>
                  <a:lnTo>
                    <a:pt x="854" y="282"/>
                  </a:lnTo>
                  <a:lnTo>
                    <a:pt x="861" y="287"/>
                  </a:lnTo>
                  <a:lnTo>
                    <a:pt x="863" y="288"/>
                  </a:lnTo>
                  <a:lnTo>
                    <a:pt x="865" y="290"/>
                  </a:lnTo>
                  <a:lnTo>
                    <a:pt x="868" y="293"/>
                  </a:lnTo>
                  <a:lnTo>
                    <a:pt x="874" y="300"/>
                  </a:lnTo>
                  <a:lnTo>
                    <a:pt x="880" y="307"/>
                  </a:lnTo>
                  <a:lnTo>
                    <a:pt x="881" y="308"/>
                  </a:lnTo>
                  <a:lnTo>
                    <a:pt x="881" y="308"/>
                  </a:lnTo>
                  <a:lnTo>
                    <a:pt x="880" y="309"/>
                  </a:lnTo>
                  <a:lnTo>
                    <a:pt x="879" y="310"/>
                  </a:lnTo>
                  <a:lnTo>
                    <a:pt x="876" y="315"/>
                  </a:lnTo>
                  <a:lnTo>
                    <a:pt x="873" y="317"/>
                  </a:lnTo>
                  <a:lnTo>
                    <a:pt x="871" y="319"/>
                  </a:lnTo>
                  <a:lnTo>
                    <a:pt x="867" y="321"/>
                  </a:lnTo>
                  <a:lnTo>
                    <a:pt x="864" y="323"/>
                  </a:lnTo>
                  <a:lnTo>
                    <a:pt x="859" y="325"/>
                  </a:lnTo>
                  <a:lnTo>
                    <a:pt x="852" y="326"/>
                  </a:lnTo>
                  <a:lnTo>
                    <a:pt x="846" y="328"/>
                  </a:lnTo>
                  <a:lnTo>
                    <a:pt x="844" y="328"/>
                  </a:lnTo>
                  <a:lnTo>
                    <a:pt x="842" y="329"/>
                  </a:lnTo>
                  <a:lnTo>
                    <a:pt x="841" y="330"/>
                  </a:lnTo>
                  <a:lnTo>
                    <a:pt x="840" y="330"/>
                  </a:lnTo>
                  <a:lnTo>
                    <a:pt x="839" y="332"/>
                  </a:lnTo>
                  <a:lnTo>
                    <a:pt x="838" y="334"/>
                  </a:lnTo>
                  <a:lnTo>
                    <a:pt x="835" y="340"/>
                  </a:lnTo>
                  <a:lnTo>
                    <a:pt x="831" y="345"/>
                  </a:lnTo>
                  <a:lnTo>
                    <a:pt x="831" y="348"/>
                  </a:lnTo>
                  <a:lnTo>
                    <a:pt x="830" y="349"/>
                  </a:lnTo>
                  <a:lnTo>
                    <a:pt x="829" y="351"/>
                  </a:lnTo>
                  <a:lnTo>
                    <a:pt x="827" y="360"/>
                  </a:lnTo>
                  <a:lnTo>
                    <a:pt x="826" y="363"/>
                  </a:lnTo>
                  <a:lnTo>
                    <a:pt x="826" y="365"/>
                  </a:lnTo>
                  <a:lnTo>
                    <a:pt x="825" y="367"/>
                  </a:lnTo>
                  <a:lnTo>
                    <a:pt x="824" y="369"/>
                  </a:lnTo>
                  <a:lnTo>
                    <a:pt x="819" y="376"/>
                  </a:lnTo>
                  <a:lnTo>
                    <a:pt x="817" y="378"/>
                  </a:lnTo>
                  <a:lnTo>
                    <a:pt x="816" y="381"/>
                  </a:lnTo>
                  <a:lnTo>
                    <a:pt x="814" y="388"/>
                  </a:lnTo>
                  <a:lnTo>
                    <a:pt x="813" y="391"/>
                  </a:lnTo>
                  <a:lnTo>
                    <a:pt x="811" y="393"/>
                  </a:lnTo>
                  <a:lnTo>
                    <a:pt x="810" y="395"/>
                  </a:lnTo>
                  <a:lnTo>
                    <a:pt x="808" y="397"/>
                  </a:lnTo>
                  <a:lnTo>
                    <a:pt x="801" y="405"/>
                  </a:lnTo>
                  <a:lnTo>
                    <a:pt x="797" y="410"/>
                  </a:lnTo>
                  <a:lnTo>
                    <a:pt x="795" y="411"/>
                  </a:lnTo>
                  <a:lnTo>
                    <a:pt x="791" y="415"/>
                  </a:lnTo>
                  <a:lnTo>
                    <a:pt x="789" y="420"/>
                  </a:lnTo>
                  <a:lnTo>
                    <a:pt x="786" y="423"/>
                  </a:lnTo>
                  <a:lnTo>
                    <a:pt x="785" y="425"/>
                  </a:lnTo>
                  <a:lnTo>
                    <a:pt x="784" y="428"/>
                  </a:lnTo>
                  <a:lnTo>
                    <a:pt x="783" y="431"/>
                  </a:lnTo>
                  <a:lnTo>
                    <a:pt x="784" y="432"/>
                  </a:lnTo>
                  <a:lnTo>
                    <a:pt x="784" y="434"/>
                  </a:lnTo>
                  <a:lnTo>
                    <a:pt x="785" y="435"/>
                  </a:lnTo>
                  <a:lnTo>
                    <a:pt x="786" y="436"/>
                  </a:lnTo>
                  <a:lnTo>
                    <a:pt x="787" y="437"/>
                  </a:lnTo>
                  <a:lnTo>
                    <a:pt x="789" y="437"/>
                  </a:lnTo>
                  <a:lnTo>
                    <a:pt x="795" y="437"/>
                  </a:lnTo>
                  <a:lnTo>
                    <a:pt x="798" y="437"/>
                  </a:lnTo>
                  <a:lnTo>
                    <a:pt x="799" y="438"/>
                  </a:lnTo>
                  <a:lnTo>
                    <a:pt x="801" y="439"/>
                  </a:lnTo>
                  <a:lnTo>
                    <a:pt x="803" y="440"/>
                  </a:lnTo>
                  <a:lnTo>
                    <a:pt x="804" y="440"/>
                  </a:lnTo>
                  <a:lnTo>
                    <a:pt x="806" y="442"/>
                  </a:lnTo>
                  <a:lnTo>
                    <a:pt x="808" y="445"/>
                  </a:lnTo>
                  <a:lnTo>
                    <a:pt x="809" y="446"/>
                  </a:lnTo>
                  <a:lnTo>
                    <a:pt x="812" y="453"/>
                  </a:lnTo>
                  <a:lnTo>
                    <a:pt x="814" y="455"/>
                  </a:lnTo>
                  <a:lnTo>
                    <a:pt x="816" y="457"/>
                  </a:lnTo>
                  <a:lnTo>
                    <a:pt x="818" y="460"/>
                  </a:lnTo>
                  <a:lnTo>
                    <a:pt x="821" y="462"/>
                  </a:lnTo>
                  <a:lnTo>
                    <a:pt x="824" y="463"/>
                  </a:lnTo>
                  <a:lnTo>
                    <a:pt x="828" y="465"/>
                  </a:lnTo>
                  <a:lnTo>
                    <a:pt x="835" y="468"/>
                  </a:lnTo>
                  <a:lnTo>
                    <a:pt x="838" y="470"/>
                  </a:lnTo>
                  <a:lnTo>
                    <a:pt x="841" y="471"/>
                  </a:lnTo>
                  <a:lnTo>
                    <a:pt x="844" y="473"/>
                  </a:lnTo>
                  <a:lnTo>
                    <a:pt x="846" y="475"/>
                  </a:lnTo>
                  <a:lnTo>
                    <a:pt x="850" y="477"/>
                  </a:lnTo>
                  <a:lnTo>
                    <a:pt x="851" y="479"/>
                  </a:lnTo>
                  <a:lnTo>
                    <a:pt x="854" y="480"/>
                  </a:lnTo>
                  <a:lnTo>
                    <a:pt x="856" y="482"/>
                  </a:lnTo>
                  <a:lnTo>
                    <a:pt x="857" y="484"/>
                  </a:lnTo>
                  <a:lnTo>
                    <a:pt x="859" y="486"/>
                  </a:lnTo>
                  <a:lnTo>
                    <a:pt x="861" y="490"/>
                  </a:lnTo>
                  <a:lnTo>
                    <a:pt x="866" y="499"/>
                  </a:lnTo>
                  <a:lnTo>
                    <a:pt x="867" y="502"/>
                  </a:lnTo>
                  <a:lnTo>
                    <a:pt x="868" y="502"/>
                  </a:lnTo>
                  <a:lnTo>
                    <a:pt x="866" y="504"/>
                  </a:lnTo>
                  <a:lnTo>
                    <a:pt x="862" y="509"/>
                  </a:lnTo>
                  <a:lnTo>
                    <a:pt x="861" y="510"/>
                  </a:lnTo>
                  <a:lnTo>
                    <a:pt x="860" y="510"/>
                  </a:lnTo>
                  <a:lnTo>
                    <a:pt x="859" y="511"/>
                  </a:lnTo>
                  <a:lnTo>
                    <a:pt x="858" y="512"/>
                  </a:lnTo>
                  <a:lnTo>
                    <a:pt x="854" y="512"/>
                  </a:lnTo>
                  <a:lnTo>
                    <a:pt x="854" y="512"/>
                  </a:lnTo>
                  <a:lnTo>
                    <a:pt x="853" y="512"/>
                  </a:lnTo>
                  <a:lnTo>
                    <a:pt x="852" y="514"/>
                  </a:lnTo>
                  <a:lnTo>
                    <a:pt x="852" y="516"/>
                  </a:lnTo>
                  <a:lnTo>
                    <a:pt x="851" y="517"/>
                  </a:lnTo>
                  <a:lnTo>
                    <a:pt x="851" y="520"/>
                  </a:lnTo>
                  <a:lnTo>
                    <a:pt x="849" y="522"/>
                  </a:lnTo>
                  <a:lnTo>
                    <a:pt x="846" y="525"/>
                  </a:lnTo>
                  <a:lnTo>
                    <a:pt x="846" y="526"/>
                  </a:lnTo>
                  <a:lnTo>
                    <a:pt x="846" y="527"/>
                  </a:lnTo>
                  <a:lnTo>
                    <a:pt x="846" y="527"/>
                  </a:lnTo>
                  <a:lnTo>
                    <a:pt x="846" y="528"/>
                  </a:lnTo>
                  <a:lnTo>
                    <a:pt x="848" y="529"/>
                  </a:lnTo>
                  <a:lnTo>
                    <a:pt x="848" y="530"/>
                  </a:lnTo>
                  <a:lnTo>
                    <a:pt x="847" y="530"/>
                  </a:lnTo>
                  <a:lnTo>
                    <a:pt x="845" y="532"/>
                  </a:lnTo>
                  <a:lnTo>
                    <a:pt x="842" y="534"/>
                  </a:lnTo>
                  <a:lnTo>
                    <a:pt x="841" y="535"/>
                  </a:lnTo>
                  <a:lnTo>
                    <a:pt x="839" y="535"/>
                  </a:lnTo>
                  <a:lnTo>
                    <a:pt x="837" y="536"/>
                  </a:lnTo>
                  <a:lnTo>
                    <a:pt x="836" y="537"/>
                  </a:lnTo>
                  <a:lnTo>
                    <a:pt x="836" y="538"/>
                  </a:lnTo>
                  <a:lnTo>
                    <a:pt x="834" y="540"/>
                  </a:lnTo>
                  <a:lnTo>
                    <a:pt x="830" y="551"/>
                  </a:lnTo>
                  <a:lnTo>
                    <a:pt x="829" y="555"/>
                  </a:lnTo>
                  <a:lnTo>
                    <a:pt x="828" y="557"/>
                  </a:lnTo>
                  <a:lnTo>
                    <a:pt x="827" y="557"/>
                  </a:lnTo>
                  <a:lnTo>
                    <a:pt x="826" y="557"/>
                  </a:lnTo>
                  <a:lnTo>
                    <a:pt x="824" y="556"/>
                  </a:lnTo>
                  <a:lnTo>
                    <a:pt x="821" y="555"/>
                  </a:lnTo>
                  <a:lnTo>
                    <a:pt x="819" y="553"/>
                  </a:lnTo>
                  <a:lnTo>
                    <a:pt x="814" y="550"/>
                  </a:lnTo>
                  <a:lnTo>
                    <a:pt x="809" y="546"/>
                  </a:lnTo>
                  <a:lnTo>
                    <a:pt x="805" y="542"/>
                  </a:lnTo>
                  <a:lnTo>
                    <a:pt x="801" y="538"/>
                  </a:lnTo>
                  <a:lnTo>
                    <a:pt x="797" y="534"/>
                  </a:lnTo>
                  <a:lnTo>
                    <a:pt x="789" y="523"/>
                  </a:lnTo>
                  <a:lnTo>
                    <a:pt x="785" y="519"/>
                  </a:lnTo>
                  <a:lnTo>
                    <a:pt x="782" y="516"/>
                  </a:lnTo>
                  <a:lnTo>
                    <a:pt x="779" y="514"/>
                  </a:lnTo>
                  <a:lnTo>
                    <a:pt x="776" y="511"/>
                  </a:lnTo>
                  <a:lnTo>
                    <a:pt x="772" y="509"/>
                  </a:lnTo>
                  <a:lnTo>
                    <a:pt x="769" y="507"/>
                  </a:lnTo>
                  <a:lnTo>
                    <a:pt x="765" y="505"/>
                  </a:lnTo>
                  <a:lnTo>
                    <a:pt x="762" y="504"/>
                  </a:lnTo>
                  <a:lnTo>
                    <a:pt x="760" y="503"/>
                  </a:lnTo>
                  <a:lnTo>
                    <a:pt x="756" y="502"/>
                  </a:lnTo>
                  <a:lnTo>
                    <a:pt x="749" y="501"/>
                  </a:lnTo>
                  <a:lnTo>
                    <a:pt x="746" y="500"/>
                  </a:lnTo>
                  <a:lnTo>
                    <a:pt x="733" y="497"/>
                  </a:lnTo>
                  <a:lnTo>
                    <a:pt x="729" y="496"/>
                  </a:lnTo>
                  <a:lnTo>
                    <a:pt x="726" y="495"/>
                  </a:lnTo>
                  <a:lnTo>
                    <a:pt x="722" y="494"/>
                  </a:lnTo>
                  <a:lnTo>
                    <a:pt x="719" y="492"/>
                  </a:lnTo>
                  <a:lnTo>
                    <a:pt x="716" y="491"/>
                  </a:lnTo>
                  <a:lnTo>
                    <a:pt x="713" y="490"/>
                  </a:lnTo>
                  <a:lnTo>
                    <a:pt x="706" y="485"/>
                  </a:lnTo>
                  <a:lnTo>
                    <a:pt x="694" y="477"/>
                  </a:lnTo>
                  <a:lnTo>
                    <a:pt x="682" y="468"/>
                  </a:lnTo>
                  <a:lnTo>
                    <a:pt x="678" y="465"/>
                  </a:lnTo>
                  <a:lnTo>
                    <a:pt x="674" y="463"/>
                  </a:lnTo>
                  <a:lnTo>
                    <a:pt x="668" y="460"/>
                  </a:lnTo>
                  <a:lnTo>
                    <a:pt x="663" y="458"/>
                  </a:lnTo>
                  <a:lnTo>
                    <a:pt x="657" y="457"/>
                  </a:lnTo>
                  <a:lnTo>
                    <a:pt x="654" y="456"/>
                  </a:lnTo>
                  <a:lnTo>
                    <a:pt x="652" y="455"/>
                  </a:lnTo>
                  <a:lnTo>
                    <a:pt x="647" y="455"/>
                  </a:lnTo>
                  <a:lnTo>
                    <a:pt x="641" y="455"/>
                  </a:lnTo>
                  <a:lnTo>
                    <a:pt x="636" y="455"/>
                  </a:lnTo>
                  <a:lnTo>
                    <a:pt x="628" y="456"/>
                  </a:lnTo>
                  <a:lnTo>
                    <a:pt x="625" y="456"/>
                  </a:lnTo>
                  <a:lnTo>
                    <a:pt x="622" y="456"/>
                  </a:lnTo>
                  <a:lnTo>
                    <a:pt x="617" y="455"/>
                  </a:lnTo>
                  <a:lnTo>
                    <a:pt x="612" y="455"/>
                  </a:lnTo>
                  <a:lnTo>
                    <a:pt x="609" y="454"/>
                  </a:lnTo>
                  <a:lnTo>
                    <a:pt x="607" y="453"/>
                  </a:lnTo>
                  <a:lnTo>
                    <a:pt x="604" y="452"/>
                  </a:lnTo>
                  <a:lnTo>
                    <a:pt x="598" y="449"/>
                  </a:lnTo>
                  <a:lnTo>
                    <a:pt x="595" y="448"/>
                  </a:lnTo>
                  <a:lnTo>
                    <a:pt x="594" y="447"/>
                  </a:lnTo>
                  <a:lnTo>
                    <a:pt x="593" y="447"/>
                  </a:lnTo>
                  <a:lnTo>
                    <a:pt x="592" y="447"/>
                  </a:lnTo>
                  <a:lnTo>
                    <a:pt x="591" y="447"/>
                  </a:lnTo>
                  <a:lnTo>
                    <a:pt x="590" y="448"/>
                  </a:lnTo>
                  <a:lnTo>
                    <a:pt x="589" y="449"/>
                  </a:lnTo>
                  <a:lnTo>
                    <a:pt x="588" y="450"/>
                  </a:lnTo>
                  <a:lnTo>
                    <a:pt x="587" y="452"/>
                  </a:lnTo>
                  <a:lnTo>
                    <a:pt x="586" y="455"/>
                  </a:lnTo>
                  <a:lnTo>
                    <a:pt x="584" y="462"/>
                  </a:lnTo>
                  <a:lnTo>
                    <a:pt x="582" y="467"/>
                  </a:lnTo>
                  <a:lnTo>
                    <a:pt x="579" y="472"/>
                  </a:lnTo>
                  <a:lnTo>
                    <a:pt x="576" y="479"/>
                  </a:lnTo>
                  <a:lnTo>
                    <a:pt x="574" y="482"/>
                  </a:lnTo>
                  <a:lnTo>
                    <a:pt x="572" y="484"/>
                  </a:lnTo>
                  <a:lnTo>
                    <a:pt x="570" y="485"/>
                  </a:lnTo>
                  <a:lnTo>
                    <a:pt x="568" y="487"/>
                  </a:lnTo>
                  <a:lnTo>
                    <a:pt x="567" y="487"/>
                  </a:lnTo>
                  <a:lnTo>
                    <a:pt x="565" y="488"/>
                  </a:lnTo>
                  <a:lnTo>
                    <a:pt x="562" y="489"/>
                  </a:lnTo>
                  <a:lnTo>
                    <a:pt x="559" y="489"/>
                  </a:lnTo>
                  <a:lnTo>
                    <a:pt x="551" y="490"/>
                  </a:lnTo>
                  <a:lnTo>
                    <a:pt x="544" y="490"/>
                  </a:lnTo>
                  <a:lnTo>
                    <a:pt x="539" y="491"/>
                  </a:lnTo>
                  <a:lnTo>
                    <a:pt x="534" y="492"/>
                  </a:lnTo>
                  <a:lnTo>
                    <a:pt x="529" y="493"/>
                  </a:lnTo>
                  <a:lnTo>
                    <a:pt x="524" y="495"/>
                  </a:lnTo>
                  <a:lnTo>
                    <a:pt x="519" y="497"/>
                  </a:lnTo>
                  <a:lnTo>
                    <a:pt x="509" y="502"/>
                  </a:lnTo>
                  <a:lnTo>
                    <a:pt x="506" y="504"/>
                  </a:lnTo>
                  <a:lnTo>
                    <a:pt x="503" y="505"/>
                  </a:lnTo>
                  <a:lnTo>
                    <a:pt x="501" y="505"/>
                  </a:lnTo>
                  <a:lnTo>
                    <a:pt x="499" y="505"/>
                  </a:lnTo>
                  <a:lnTo>
                    <a:pt x="492" y="506"/>
                  </a:lnTo>
                  <a:lnTo>
                    <a:pt x="488" y="506"/>
                  </a:lnTo>
                  <a:lnTo>
                    <a:pt x="487" y="506"/>
                  </a:lnTo>
                  <a:lnTo>
                    <a:pt x="486" y="506"/>
                  </a:lnTo>
                  <a:lnTo>
                    <a:pt x="484" y="505"/>
                  </a:lnTo>
                  <a:lnTo>
                    <a:pt x="483" y="505"/>
                  </a:lnTo>
                  <a:lnTo>
                    <a:pt x="482" y="504"/>
                  </a:lnTo>
                  <a:lnTo>
                    <a:pt x="482" y="503"/>
                  </a:lnTo>
                  <a:lnTo>
                    <a:pt x="481" y="502"/>
                  </a:lnTo>
                  <a:lnTo>
                    <a:pt x="480" y="500"/>
                  </a:lnTo>
                  <a:lnTo>
                    <a:pt x="480" y="498"/>
                  </a:lnTo>
                  <a:lnTo>
                    <a:pt x="480" y="495"/>
                  </a:lnTo>
                  <a:lnTo>
                    <a:pt x="481" y="485"/>
                  </a:lnTo>
                  <a:lnTo>
                    <a:pt x="481" y="482"/>
                  </a:lnTo>
                  <a:lnTo>
                    <a:pt x="480" y="480"/>
                  </a:lnTo>
                  <a:lnTo>
                    <a:pt x="480" y="477"/>
                  </a:lnTo>
                  <a:lnTo>
                    <a:pt x="480" y="475"/>
                  </a:lnTo>
                  <a:lnTo>
                    <a:pt x="478" y="468"/>
                  </a:lnTo>
                  <a:lnTo>
                    <a:pt x="477" y="465"/>
                  </a:lnTo>
                  <a:lnTo>
                    <a:pt x="475" y="457"/>
                  </a:lnTo>
                  <a:lnTo>
                    <a:pt x="472" y="451"/>
                  </a:lnTo>
                  <a:lnTo>
                    <a:pt x="471" y="447"/>
                  </a:lnTo>
                  <a:lnTo>
                    <a:pt x="470" y="445"/>
                  </a:lnTo>
                  <a:lnTo>
                    <a:pt x="468" y="443"/>
                  </a:lnTo>
                  <a:lnTo>
                    <a:pt x="467" y="442"/>
                  </a:lnTo>
                  <a:lnTo>
                    <a:pt x="465" y="440"/>
                  </a:lnTo>
                  <a:lnTo>
                    <a:pt x="461" y="438"/>
                  </a:lnTo>
                  <a:lnTo>
                    <a:pt x="457" y="437"/>
                  </a:lnTo>
                  <a:lnTo>
                    <a:pt x="454" y="435"/>
                  </a:lnTo>
                  <a:lnTo>
                    <a:pt x="450" y="435"/>
                  </a:lnTo>
                  <a:lnTo>
                    <a:pt x="445" y="434"/>
                  </a:lnTo>
                  <a:lnTo>
                    <a:pt x="438" y="434"/>
                  </a:lnTo>
                  <a:lnTo>
                    <a:pt x="434" y="433"/>
                  </a:lnTo>
                  <a:lnTo>
                    <a:pt x="425" y="434"/>
                  </a:lnTo>
                  <a:lnTo>
                    <a:pt x="422" y="433"/>
                  </a:lnTo>
                  <a:lnTo>
                    <a:pt x="415" y="432"/>
                  </a:lnTo>
                  <a:lnTo>
                    <a:pt x="412" y="432"/>
                  </a:lnTo>
                  <a:lnTo>
                    <a:pt x="409" y="431"/>
                  </a:lnTo>
                  <a:lnTo>
                    <a:pt x="405" y="430"/>
                  </a:lnTo>
                  <a:lnTo>
                    <a:pt x="403" y="430"/>
                  </a:lnTo>
                  <a:lnTo>
                    <a:pt x="400" y="428"/>
                  </a:lnTo>
                  <a:lnTo>
                    <a:pt x="398" y="427"/>
                  </a:lnTo>
                  <a:lnTo>
                    <a:pt x="396" y="426"/>
                  </a:lnTo>
                  <a:lnTo>
                    <a:pt x="395" y="425"/>
                  </a:lnTo>
                  <a:lnTo>
                    <a:pt x="389" y="419"/>
                  </a:lnTo>
                  <a:lnTo>
                    <a:pt x="386" y="417"/>
                  </a:lnTo>
                  <a:lnTo>
                    <a:pt x="385" y="416"/>
                  </a:lnTo>
                  <a:lnTo>
                    <a:pt x="383" y="415"/>
                  </a:lnTo>
                  <a:lnTo>
                    <a:pt x="382" y="414"/>
                  </a:lnTo>
                  <a:lnTo>
                    <a:pt x="380" y="413"/>
                  </a:lnTo>
                  <a:lnTo>
                    <a:pt x="377" y="412"/>
                  </a:lnTo>
                  <a:lnTo>
                    <a:pt x="375" y="412"/>
                  </a:lnTo>
                  <a:lnTo>
                    <a:pt x="367" y="411"/>
                  </a:lnTo>
                  <a:lnTo>
                    <a:pt x="358" y="409"/>
                  </a:lnTo>
                  <a:lnTo>
                    <a:pt x="354" y="408"/>
                  </a:lnTo>
                  <a:lnTo>
                    <a:pt x="351" y="408"/>
                  </a:lnTo>
                  <a:lnTo>
                    <a:pt x="349" y="408"/>
                  </a:lnTo>
                  <a:lnTo>
                    <a:pt x="346" y="408"/>
                  </a:lnTo>
                  <a:lnTo>
                    <a:pt x="343" y="409"/>
                  </a:lnTo>
                  <a:lnTo>
                    <a:pt x="341" y="410"/>
                  </a:lnTo>
                  <a:lnTo>
                    <a:pt x="338" y="411"/>
                  </a:lnTo>
                  <a:lnTo>
                    <a:pt x="335" y="412"/>
                  </a:lnTo>
                  <a:lnTo>
                    <a:pt x="334" y="414"/>
                  </a:lnTo>
                  <a:lnTo>
                    <a:pt x="332" y="415"/>
                  </a:lnTo>
                  <a:lnTo>
                    <a:pt x="331" y="416"/>
                  </a:lnTo>
                  <a:lnTo>
                    <a:pt x="330" y="417"/>
                  </a:lnTo>
                  <a:lnTo>
                    <a:pt x="330" y="418"/>
                  </a:lnTo>
                  <a:lnTo>
                    <a:pt x="329" y="420"/>
                  </a:lnTo>
                  <a:lnTo>
                    <a:pt x="328" y="422"/>
                  </a:lnTo>
                  <a:lnTo>
                    <a:pt x="327" y="427"/>
                  </a:lnTo>
                  <a:lnTo>
                    <a:pt x="326" y="431"/>
                  </a:lnTo>
                  <a:lnTo>
                    <a:pt x="325" y="435"/>
                  </a:lnTo>
                  <a:lnTo>
                    <a:pt x="324" y="438"/>
                  </a:lnTo>
                  <a:lnTo>
                    <a:pt x="322" y="442"/>
                  </a:lnTo>
                  <a:lnTo>
                    <a:pt x="317" y="452"/>
                  </a:lnTo>
                  <a:lnTo>
                    <a:pt x="316" y="455"/>
                  </a:lnTo>
                  <a:lnTo>
                    <a:pt x="315" y="459"/>
                  </a:lnTo>
                  <a:lnTo>
                    <a:pt x="313" y="462"/>
                  </a:lnTo>
                  <a:lnTo>
                    <a:pt x="312" y="465"/>
                  </a:lnTo>
                  <a:lnTo>
                    <a:pt x="312" y="469"/>
                  </a:lnTo>
                  <a:lnTo>
                    <a:pt x="312" y="472"/>
                  </a:lnTo>
                  <a:lnTo>
                    <a:pt x="312" y="477"/>
                  </a:lnTo>
                  <a:lnTo>
                    <a:pt x="311" y="482"/>
                  </a:lnTo>
                  <a:lnTo>
                    <a:pt x="312" y="489"/>
                  </a:lnTo>
                  <a:lnTo>
                    <a:pt x="312" y="494"/>
                  </a:lnTo>
                  <a:lnTo>
                    <a:pt x="313" y="503"/>
                  </a:lnTo>
                  <a:lnTo>
                    <a:pt x="315" y="516"/>
                  </a:lnTo>
                  <a:lnTo>
                    <a:pt x="316" y="527"/>
                  </a:lnTo>
                  <a:lnTo>
                    <a:pt x="316" y="531"/>
                  </a:lnTo>
                  <a:lnTo>
                    <a:pt x="320" y="548"/>
                  </a:lnTo>
                  <a:lnTo>
                    <a:pt x="320" y="553"/>
                  </a:lnTo>
                  <a:lnTo>
                    <a:pt x="320" y="557"/>
                  </a:lnTo>
                  <a:lnTo>
                    <a:pt x="321" y="561"/>
                  </a:lnTo>
                  <a:lnTo>
                    <a:pt x="321" y="565"/>
                  </a:lnTo>
                  <a:lnTo>
                    <a:pt x="320" y="569"/>
                  </a:lnTo>
                  <a:lnTo>
                    <a:pt x="320" y="574"/>
                  </a:lnTo>
                  <a:lnTo>
                    <a:pt x="319" y="581"/>
                  </a:lnTo>
                  <a:lnTo>
                    <a:pt x="315" y="598"/>
                  </a:lnTo>
                  <a:lnTo>
                    <a:pt x="313" y="602"/>
                  </a:lnTo>
                  <a:lnTo>
                    <a:pt x="312" y="607"/>
                  </a:lnTo>
                  <a:lnTo>
                    <a:pt x="311" y="610"/>
                  </a:lnTo>
                  <a:lnTo>
                    <a:pt x="310" y="615"/>
                  </a:lnTo>
                  <a:lnTo>
                    <a:pt x="310" y="620"/>
                  </a:lnTo>
                  <a:lnTo>
                    <a:pt x="309" y="625"/>
                  </a:lnTo>
                  <a:lnTo>
                    <a:pt x="309" y="630"/>
                  </a:lnTo>
                  <a:lnTo>
                    <a:pt x="310" y="640"/>
                  </a:lnTo>
                  <a:lnTo>
                    <a:pt x="310" y="643"/>
                  </a:lnTo>
                  <a:lnTo>
                    <a:pt x="310" y="646"/>
                  </a:lnTo>
                  <a:lnTo>
                    <a:pt x="309" y="648"/>
                  </a:lnTo>
                  <a:lnTo>
                    <a:pt x="308" y="650"/>
                  </a:lnTo>
                  <a:lnTo>
                    <a:pt x="305" y="657"/>
                  </a:lnTo>
                  <a:lnTo>
                    <a:pt x="304" y="662"/>
                  </a:lnTo>
                  <a:lnTo>
                    <a:pt x="300" y="675"/>
                  </a:lnTo>
                  <a:lnTo>
                    <a:pt x="297" y="685"/>
                  </a:lnTo>
                  <a:lnTo>
                    <a:pt x="295" y="689"/>
                  </a:lnTo>
                  <a:lnTo>
                    <a:pt x="295" y="694"/>
                  </a:lnTo>
                  <a:lnTo>
                    <a:pt x="294" y="699"/>
                  </a:lnTo>
                  <a:lnTo>
                    <a:pt x="293" y="705"/>
                  </a:lnTo>
                  <a:lnTo>
                    <a:pt x="292" y="710"/>
                  </a:lnTo>
                  <a:lnTo>
                    <a:pt x="292" y="714"/>
                  </a:lnTo>
                  <a:lnTo>
                    <a:pt x="293" y="717"/>
                  </a:lnTo>
                  <a:lnTo>
                    <a:pt x="294" y="719"/>
                  </a:lnTo>
                  <a:lnTo>
                    <a:pt x="295" y="722"/>
                  </a:lnTo>
                  <a:lnTo>
                    <a:pt x="295" y="724"/>
                  </a:lnTo>
                  <a:lnTo>
                    <a:pt x="297" y="726"/>
                  </a:lnTo>
                  <a:lnTo>
                    <a:pt x="301" y="732"/>
                  </a:lnTo>
                  <a:lnTo>
                    <a:pt x="303" y="735"/>
                  </a:lnTo>
                  <a:lnTo>
                    <a:pt x="304" y="737"/>
                  </a:lnTo>
                  <a:lnTo>
                    <a:pt x="305" y="739"/>
                  </a:lnTo>
                  <a:lnTo>
                    <a:pt x="305" y="742"/>
                  </a:lnTo>
                  <a:lnTo>
                    <a:pt x="306" y="744"/>
                  </a:lnTo>
                  <a:lnTo>
                    <a:pt x="305" y="746"/>
                  </a:lnTo>
                  <a:lnTo>
                    <a:pt x="305" y="748"/>
                  </a:lnTo>
                  <a:lnTo>
                    <a:pt x="304" y="750"/>
                  </a:lnTo>
                  <a:lnTo>
                    <a:pt x="302" y="753"/>
                  </a:lnTo>
                  <a:lnTo>
                    <a:pt x="301" y="755"/>
                  </a:lnTo>
                  <a:lnTo>
                    <a:pt x="298" y="757"/>
                  </a:lnTo>
                  <a:lnTo>
                    <a:pt x="296" y="759"/>
                  </a:lnTo>
                  <a:lnTo>
                    <a:pt x="293" y="760"/>
                  </a:lnTo>
                  <a:lnTo>
                    <a:pt x="291" y="761"/>
                  </a:lnTo>
                  <a:lnTo>
                    <a:pt x="288" y="761"/>
                  </a:lnTo>
                  <a:lnTo>
                    <a:pt x="285" y="761"/>
                  </a:lnTo>
                  <a:lnTo>
                    <a:pt x="281" y="761"/>
                  </a:lnTo>
                  <a:lnTo>
                    <a:pt x="277" y="760"/>
                  </a:lnTo>
                  <a:lnTo>
                    <a:pt x="272" y="759"/>
                  </a:lnTo>
                  <a:lnTo>
                    <a:pt x="267" y="758"/>
                  </a:lnTo>
                  <a:lnTo>
                    <a:pt x="253" y="754"/>
                  </a:lnTo>
                  <a:lnTo>
                    <a:pt x="243" y="751"/>
                  </a:lnTo>
                  <a:lnTo>
                    <a:pt x="240" y="750"/>
                  </a:lnTo>
                  <a:lnTo>
                    <a:pt x="241" y="750"/>
                  </a:lnTo>
                  <a:lnTo>
                    <a:pt x="241" y="749"/>
                  </a:lnTo>
                  <a:lnTo>
                    <a:pt x="242" y="749"/>
                  </a:lnTo>
                  <a:lnTo>
                    <a:pt x="242" y="748"/>
                  </a:lnTo>
                  <a:lnTo>
                    <a:pt x="243" y="746"/>
                  </a:lnTo>
                  <a:lnTo>
                    <a:pt x="243" y="743"/>
                  </a:lnTo>
                  <a:lnTo>
                    <a:pt x="241" y="739"/>
                  </a:lnTo>
                  <a:lnTo>
                    <a:pt x="239" y="730"/>
                  </a:lnTo>
                  <a:lnTo>
                    <a:pt x="238" y="725"/>
                  </a:lnTo>
                  <a:lnTo>
                    <a:pt x="237" y="719"/>
                  </a:lnTo>
                  <a:lnTo>
                    <a:pt x="235" y="709"/>
                  </a:lnTo>
                  <a:lnTo>
                    <a:pt x="235" y="707"/>
                  </a:lnTo>
                  <a:lnTo>
                    <a:pt x="235" y="704"/>
                  </a:lnTo>
                  <a:lnTo>
                    <a:pt x="234" y="701"/>
                  </a:lnTo>
                  <a:lnTo>
                    <a:pt x="232" y="697"/>
                  </a:lnTo>
                  <a:lnTo>
                    <a:pt x="225" y="684"/>
                  </a:lnTo>
                  <a:lnTo>
                    <a:pt x="224" y="679"/>
                  </a:lnTo>
                  <a:lnTo>
                    <a:pt x="223" y="677"/>
                  </a:lnTo>
                  <a:lnTo>
                    <a:pt x="222" y="674"/>
                  </a:lnTo>
                  <a:lnTo>
                    <a:pt x="220" y="666"/>
                  </a:lnTo>
                  <a:lnTo>
                    <a:pt x="220" y="662"/>
                  </a:lnTo>
                  <a:lnTo>
                    <a:pt x="218" y="658"/>
                  </a:lnTo>
                  <a:lnTo>
                    <a:pt x="218" y="656"/>
                  </a:lnTo>
                  <a:lnTo>
                    <a:pt x="217" y="654"/>
                  </a:lnTo>
                  <a:lnTo>
                    <a:pt x="215" y="652"/>
                  </a:lnTo>
                  <a:lnTo>
                    <a:pt x="213" y="650"/>
                  </a:lnTo>
                  <a:lnTo>
                    <a:pt x="212" y="649"/>
                  </a:lnTo>
                  <a:lnTo>
                    <a:pt x="210" y="648"/>
                  </a:lnTo>
                  <a:lnTo>
                    <a:pt x="208" y="647"/>
                  </a:lnTo>
                  <a:lnTo>
                    <a:pt x="206" y="647"/>
                  </a:lnTo>
                  <a:lnTo>
                    <a:pt x="195" y="644"/>
                  </a:lnTo>
                  <a:lnTo>
                    <a:pt x="192" y="643"/>
                  </a:lnTo>
                  <a:lnTo>
                    <a:pt x="188" y="642"/>
                  </a:lnTo>
                  <a:lnTo>
                    <a:pt x="183" y="639"/>
                  </a:lnTo>
                  <a:lnTo>
                    <a:pt x="180" y="638"/>
                  </a:lnTo>
                  <a:lnTo>
                    <a:pt x="176" y="636"/>
                  </a:lnTo>
                  <a:lnTo>
                    <a:pt x="173" y="634"/>
                  </a:lnTo>
                  <a:lnTo>
                    <a:pt x="170" y="632"/>
                  </a:lnTo>
                  <a:lnTo>
                    <a:pt x="168" y="630"/>
                  </a:lnTo>
                  <a:lnTo>
                    <a:pt x="165" y="628"/>
                  </a:lnTo>
                  <a:lnTo>
                    <a:pt x="163" y="626"/>
                  </a:lnTo>
                  <a:lnTo>
                    <a:pt x="160" y="623"/>
                  </a:lnTo>
                  <a:lnTo>
                    <a:pt x="158" y="620"/>
                  </a:lnTo>
                  <a:lnTo>
                    <a:pt x="156" y="617"/>
                  </a:lnTo>
                  <a:lnTo>
                    <a:pt x="154" y="615"/>
                  </a:lnTo>
                  <a:lnTo>
                    <a:pt x="152" y="611"/>
                  </a:lnTo>
                  <a:lnTo>
                    <a:pt x="150" y="608"/>
                  </a:lnTo>
                  <a:lnTo>
                    <a:pt x="149" y="605"/>
                  </a:lnTo>
                  <a:lnTo>
                    <a:pt x="148" y="603"/>
                  </a:lnTo>
                  <a:lnTo>
                    <a:pt x="147" y="599"/>
                  </a:lnTo>
                  <a:lnTo>
                    <a:pt x="145" y="590"/>
                  </a:lnTo>
                  <a:lnTo>
                    <a:pt x="145" y="585"/>
                  </a:lnTo>
                  <a:lnTo>
                    <a:pt x="143" y="582"/>
                  </a:lnTo>
                  <a:lnTo>
                    <a:pt x="139" y="575"/>
                  </a:lnTo>
                  <a:lnTo>
                    <a:pt x="138" y="570"/>
                  </a:lnTo>
                  <a:lnTo>
                    <a:pt x="135" y="563"/>
                  </a:lnTo>
                  <a:lnTo>
                    <a:pt x="134" y="557"/>
                  </a:lnTo>
                  <a:lnTo>
                    <a:pt x="133" y="555"/>
                  </a:lnTo>
                  <a:lnTo>
                    <a:pt x="133" y="552"/>
                  </a:lnTo>
                  <a:lnTo>
                    <a:pt x="132" y="550"/>
                  </a:lnTo>
                  <a:lnTo>
                    <a:pt x="131" y="550"/>
                  </a:lnTo>
                  <a:lnTo>
                    <a:pt x="130" y="549"/>
                  </a:lnTo>
                  <a:lnTo>
                    <a:pt x="128" y="547"/>
                  </a:lnTo>
                  <a:lnTo>
                    <a:pt x="126" y="546"/>
                  </a:lnTo>
                  <a:lnTo>
                    <a:pt x="118" y="542"/>
                  </a:lnTo>
                  <a:lnTo>
                    <a:pt x="116" y="541"/>
                  </a:lnTo>
                  <a:lnTo>
                    <a:pt x="115" y="540"/>
                  </a:lnTo>
                  <a:lnTo>
                    <a:pt x="113" y="539"/>
                  </a:lnTo>
                  <a:lnTo>
                    <a:pt x="113" y="537"/>
                  </a:lnTo>
                  <a:lnTo>
                    <a:pt x="112" y="536"/>
                  </a:lnTo>
                  <a:lnTo>
                    <a:pt x="111" y="535"/>
                  </a:lnTo>
                  <a:lnTo>
                    <a:pt x="110" y="532"/>
                  </a:lnTo>
                  <a:lnTo>
                    <a:pt x="111" y="530"/>
                  </a:lnTo>
                  <a:lnTo>
                    <a:pt x="112" y="527"/>
                  </a:lnTo>
                  <a:lnTo>
                    <a:pt x="113" y="525"/>
                  </a:lnTo>
                  <a:lnTo>
                    <a:pt x="114" y="522"/>
                  </a:lnTo>
                  <a:lnTo>
                    <a:pt x="115" y="521"/>
                  </a:lnTo>
                  <a:lnTo>
                    <a:pt x="118" y="519"/>
                  </a:lnTo>
                  <a:lnTo>
                    <a:pt x="123" y="515"/>
                  </a:lnTo>
                  <a:lnTo>
                    <a:pt x="124" y="514"/>
                  </a:lnTo>
                  <a:lnTo>
                    <a:pt x="125" y="513"/>
                  </a:lnTo>
                  <a:lnTo>
                    <a:pt x="125" y="511"/>
                  </a:lnTo>
                  <a:lnTo>
                    <a:pt x="126" y="509"/>
                  </a:lnTo>
                  <a:lnTo>
                    <a:pt x="126" y="507"/>
                  </a:lnTo>
                  <a:lnTo>
                    <a:pt x="126" y="506"/>
                  </a:lnTo>
                  <a:lnTo>
                    <a:pt x="126" y="505"/>
                  </a:lnTo>
                  <a:lnTo>
                    <a:pt x="125" y="505"/>
                  </a:lnTo>
                  <a:lnTo>
                    <a:pt x="125" y="504"/>
                  </a:lnTo>
                  <a:lnTo>
                    <a:pt x="123" y="503"/>
                  </a:lnTo>
                  <a:lnTo>
                    <a:pt x="122" y="503"/>
                  </a:lnTo>
                  <a:lnTo>
                    <a:pt x="120" y="503"/>
                  </a:lnTo>
                  <a:lnTo>
                    <a:pt x="118" y="503"/>
                  </a:lnTo>
                  <a:lnTo>
                    <a:pt x="110" y="505"/>
                  </a:lnTo>
                  <a:lnTo>
                    <a:pt x="107" y="505"/>
                  </a:lnTo>
                  <a:lnTo>
                    <a:pt x="104" y="505"/>
                  </a:lnTo>
                  <a:lnTo>
                    <a:pt x="103" y="504"/>
                  </a:lnTo>
                  <a:lnTo>
                    <a:pt x="101" y="503"/>
                  </a:lnTo>
                  <a:lnTo>
                    <a:pt x="99" y="502"/>
                  </a:lnTo>
                  <a:lnTo>
                    <a:pt x="97" y="502"/>
                  </a:lnTo>
                  <a:lnTo>
                    <a:pt x="95" y="500"/>
                  </a:lnTo>
                  <a:lnTo>
                    <a:pt x="93" y="499"/>
                  </a:lnTo>
                  <a:lnTo>
                    <a:pt x="90" y="497"/>
                  </a:lnTo>
                  <a:lnTo>
                    <a:pt x="88" y="495"/>
                  </a:lnTo>
                  <a:lnTo>
                    <a:pt x="86" y="492"/>
                  </a:lnTo>
                  <a:lnTo>
                    <a:pt x="85" y="490"/>
                  </a:lnTo>
                  <a:lnTo>
                    <a:pt x="83" y="487"/>
                  </a:lnTo>
                  <a:lnTo>
                    <a:pt x="82" y="485"/>
                  </a:lnTo>
                  <a:lnTo>
                    <a:pt x="81" y="482"/>
                  </a:lnTo>
                  <a:lnTo>
                    <a:pt x="80" y="480"/>
                  </a:lnTo>
                  <a:lnTo>
                    <a:pt x="81" y="477"/>
                  </a:lnTo>
                  <a:lnTo>
                    <a:pt x="81" y="475"/>
                  </a:lnTo>
                  <a:lnTo>
                    <a:pt x="83" y="461"/>
                  </a:lnTo>
                  <a:lnTo>
                    <a:pt x="84" y="455"/>
                  </a:lnTo>
                  <a:lnTo>
                    <a:pt x="84" y="453"/>
                  </a:lnTo>
                  <a:lnTo>
                    <a:pt x="84" y="452"/>
                  </a:lnTo>
                  <a:lnTo>
                    <a:pt x="83" y="450"/>
                  </a:lnTo>
                  <a:lnTo>
                    <a:pt x="83" y="449"/>
                  </a:lnTo>
                  <a:lnTo>
                    <a:pt x="82" y="447"/>
                  </a:lnTo>
                  <a:lnTo>
                    <a:pt x="80" y="445"/>
                  </a:lnTo>
                  <a:lnTo>
                    <a:pt x="78" y="444"/>
                  </a:lnTo>
                  <a:lnTo>
                    <a:pt x="73" y="440"/>
                  </a:lnTo>
                  <a:lnTo>
                    <a:pt x="72" y="440"/>
                  </a:lnTo>
                  <a:lnTo>
                    <a:pt x="70" y="438"/>
                  </a:lnTo>
                  <a:lnTo>
                    <a:pt x="67" y="434"/>
                  </a:lnTo>
                  <a:lnTo>
                    <a:pt x="65" y="432"/>
                  </a:lnTo>
                  <a:lnTo>
                    <a:pt x="64" y="432"/>
                  </a:lnTo>
                  <a:lnTo>
                    <a:pt x="63" y="431"/>
                  </a:lnTo>
                  <a:lnTo>
                    <a:pt x="55" y="429"/>
                  </a:lnTo>
                  <a:lnTo>
                    <a:pt x="53" y="427"/>
                  </a:lnTo>
                  <a:lnTo>
                    <a:pt x="50" y="426"/>
                  </a:lnTo>
                  <a:lnTo>
                    <a:pt x="48" y="425"/>
                  </a:lnTo>
                  <a:lnTo>
                    <a:pt x="48" y="424"/>
                  </a:lnTo>
                  <a:lnTo>
                    <a:pt x="47" y="422"/>
                  </a:lnTo>
                  <a:lnTo>
                    <a:pt x="46" y="421"/>
                  </a:lnTo>
                  <a:lnTo>
                    <a:pt x="45" y="419"/>
                  </a:lnTo>
                  <a:lnTo>
                    <a:pt x="43" y="411"/>
                  </a:lnTo>
                  <a:lnTo>
                    <a:pt x="43" y="409"/>
                  </a:lnTo>
                  <a:lnTo>
                    <a:pt x="41" y="407"/>
                  </a:lnTo>
                  <a:lnTo>
                    <a:pt x="40" y="404"/>
                  </a:lnTo>
                  <a:lnTo>
                    <a:pt x="38" y="401"/>
                  </a:lnTo>
                  <a:lnTo>
                    <a:pt x="36" y="399"/>
                  </a:lnTo>
                  <a:lnTo>
                    <a:pt x="33" y="395"/>
                  </a:lnTo>
                  <a:lnTo>
                    <a:pt x="33" y="395"/>
                  </a:lnTo>
                  <a:lnTo>
                    <a:pt x="32" y="394"/>
                  </a:lnTo>
                  <a:lnTo>
                    <a:pt x="32" y="392"/>
                  </a:lnTo>
                  <a:lnTo>
                    <a:pt x="32" y="391"/>
                  </a:lnTo>
                  <a:lnTo>
                    <a:pt x="33" y="390"/>
                  </a:lnTo>
                  <a:lnTo>
                    <a:pt x="33" y="388"/>
                  </a:lnTo>
                  <a:lnTo>
                    <a:pt x="39" y="380"/>
                  </a:lnTo>
                  <a:lnTo>
                    <a:pt x="40" y="376"/>
                  </a:lnTo>
                  <a:lnTo>
                    <a:pt x="42" y="374"/>
                  </a:lnTo>
                  <a:lnTo>
                    <a:pt x="43" y="372"/>
                  </a:lnTo>
                  <a:lnTo>
                    <a:pt x="44" y="366"/>
                  </a:lnTo>
                  <a:lnTo>
                    <a:pt x="45" y="363"/>
                  </a:lnTo>
                  <a:lnTo>
                    <a:pt x="45" y="361"/>
                  </a:lnTo>
                  <a:lnTo>
                    <a:pt x="45" y="360"/>
                  </a:lnTo>
                  <a:lnTo>
                    <a:pt x="44" y="358"/>
                  </a:lnTo>
                  <a:lnTo>
                    <a:pt x="43" y="356"/>
                  </a:lnTo>
                  <a:lnTo>
                    <a:pt x="43" y="354"/>
                  </a:lnTo>
                  <a:lnTo>
                    <a:pt x="42" y="352"/>
                  </a:lnTo>
                  <a:lnTo>
                    <a:pt x="40" y="348"/>
                  </a:lnTo>
                  <a:lnTo>
                    <a:pt x="38" y="346"/>
                  </a:lnTo>
                  <a:lnTo>
                    <a:pt x="37" y="344"/>
                  </a:lnTo>
                  <a:lnTo>
                    <a:pt x="36" y="343"/>
                  </a:lnTo>
                  <a:lnTo>
                    <a:pt x="33" y="341"/>
                  </a:lnTo>
                  <a:lnTo>
                    <a:pt x="32" y="340"/>
                  </a:lnTo>
                  <a:lnTo>
                    <a:pt x="30" y="338"/>
                  </a:lnTo>
                  <a:lnTo>
                    <a:pt x="28" y="337"/>
                  </a:lnTo>
                  <a:lnTo>
                    <a:pt x="26" y="336"/>
                  </a:lnTo>
                  <a:lnTo>
                    <a:pt x="22" y="335"/>
                  </a:lnTo>
                  <a:lnTo>
                    <a:pt x="17" y="333"/>
                  </a:lnTo>
                  <a:lnTo>
                    <a:pt x="10" y="332"/>
                  </a:lnTo>
                  <a:lnTo>
                    <a:pt x="8" y="331"/>
                  </a:lnTo>
                  <a:lnTo>
                    <a:pt x="6" y="330"/>
                  </a:lnTo>
                  <a:lnTo>
                    <a:pt x="4" y="330"/>
                  </a:lnTo>
                  <a:lnTo>
                    <a:pt x="3" y="329"/>
                  </a:lnTo>
                  <a:lnTo>
                    <a:pt x="2" y="328"/>
                  </a:lnTo>
                  <a:lnTo>
                    <a:pt x="1" y="326"/>
                  </a:lnTo>
                  <a:lnTo>
                    <a:pt x="1" y="325"/>
                  </a:lnTo>
                  <a:lnTo>
                    <a:pt x="0" y="324"/>
                  </a:lnTo>
                  <a:lnTo>
                    <a:pt x="0" y="321"/>
                  </a:lnTo>
                  <a:lnTo>
                    <a:pt x="1" y="320"/>
                  </a:lnTo>
                  <a:lnTo>
                    <a:pt x="1" y="318"/>
                  </a:lnTo>
                  <a:lnTo>
                    <a:pt x="1" y="317"/>
                  </a:lnTo>
                  <a:lnTo>
                    <a:pt x="2" y="315"/>
                  </a:lnTo>
                  <a:lnTo>
                    <a:pt x="6" y="310"/>
                  </a:lnTo>
                  <a:lnTo>
                    <a:pt x="7" y="309"/>
                  </a:lnTo>
                  <a:lnTo>
                    <a:pt x="8" y="307"/>
                  </a:lnTo>
                  <a:lnTo>
                    <a:pt x="9" y="305"/>
                  </a:lnTo>
                  <a:lnTo>
                    <a:pt x="10" y="302"/>
                  </a:lnTo>
                  <a:lnTo>
                    <a:pt x="11" y="293"/>
                  </a:lnTo>
                  <a:lnTo>
                    <a:pt x="11" y="286"/>
                  </a:lnTo>
                  <a:lnTo>
                    <a:pt x="11" y="283"/>
                  </a:lnTo>
                  <a:lnTo>
                    <a:pt x="11" y="280"/>
                  </a:lnTo>
                  <a:lnTo>
                    <a:pt x="13" y="278"/>
                  </a:lnTo>
                  <a:lnTo>
                    <a:pt x="14" y="275"/>
                  </a:lnTo>
                  <a:lnTo>
                    <a:pt x="16" y="273"/>
                  </a:lnTo>
                  <a:lnTo>
                    <a:pt x="17" y="271"/>
                  </a:lnTo>
                  <a:lnTo>
                    <a:pt x="19" y="270"/>
                  </a:lnTo>
                  <a:lnTo>
                    <a:pt x="21" y="270"/>
                  </a:lnTo>
                  <a:lnTo>
                    <a:pt x="23" y="269"/>
                  </a:lnTo>
                  <a:lnTo>
                    <a:pt x="24" y="269"/>
                  </a:lnTo>
                  <a:lnTo>
                    <a:pt x="31" y="269"/>
                  </a:lnTo>
                  <a:lnTo>
                    <a:pt x="32" y="269"/>
                  </a:lnTo>
                  <a:lnTo>
                    <a:pt x="33" y="268"/>
                  </a:lnTo>
                  <a:lnTo>
                    <a:pt x="35" y="268"/>
                  </a:lnTo>
                  <a:lnTo>
                    <a:pt x="36" y="267"/>
                  </a:lnTo>
                  <a:lnTo>
                    <a:pt x="38" y="265"/>
                  </a:lnTo>
                  <a:lnTo>
                    <a:pt x="38" y="264"/>
                  </a:lnTo>
                  <a:lnTo>
                    <a:pt x="40" y="261"/>
                  </a:lnTo>
                  <a:lnTo>
                    <a:pt x="41" y="258"/>
                  </a:lnTo>
                  <a:lnTo>
                    <a:pt x="43" y="254"/>
                  </a:lnTo>
                  <a:lnTo>
                    <a:pt x="43" y="250"/>
                  </a:lnTo>
                  <a:lnTo>
                    <a:pt x="44" y="246"/>
                  </a:lnTo>
                  <a:lnTo>
                    <a:pt x="45" y="241"/>
                  </a:lnTo>
                  <a:lnTo>
                    <a:pt x="45" y="237"/>
                  </a:lnTo>
                  <a:lnTo>
                    <a:pt x="45" y="230"/>
                  </a:lnTo>
                  <a:lnTo>
                    <a:pt x="45" y="228"/>
                  </a:lnTo>
                  <a:lnTo>
                    <a:pt x="46" y="228"/>
                  </a:lnTo>
                  <a:lnTo>
                    <a:pt x="47" y="228"/>
                  </a:lnTo>
                  <a:lnTo>
                    <a:pt x="52" y="227"/>
                  </a:lnTo>
                  <a:lnTo>
                    <a:pt x="54" y="227"/>
                  </a:lnTo>
                  <a:lnTo>
                    <a:pt x="56" y="227"/>
                  </a:lnTo>
                  <a:lnTo>
                    <a:pt x="58" y="227"/>
                  </a:lnTo>
                  <a:lnTo>
                    <a:pt x="61" y="228"/>
                  </a:lnTo>
                  <a:lnTo>
                    <a:pt x="64" y="228"/>
                  </a:lnTo>
                  <a:lnTo>
                    <a:pt x="67" y="229"/>
                  </a:lnTo>
                  <a:lnTo>
                    <a:pt x="69" y="230"/>
                  </a:lnTo>
                  <a:lnTo>
                    <a:pt x="72" y="233"/>
                  </a:lnTo>
                  <a:lnTo>
                    <a:pt x="74" y="234"/>
                  </a:lnTo>
                  <a:lnTo>
                    <a:pt x="77" y="236"/>
                  </a:lnTo>
                  <a:lnTo>
                    <a:pt x="79" y="238"/>
                  </a:lnTo>
                  <a:lnTo>
                    <a:pt x="82" y="243"/>
                  </a:lnTo>
                  <a:lnTo>
                    <a:pt x="88" y="250"/>
                  </a:lnTo>
                  <a:lnTo>
                    <a:pt x="90" y="253"/>
                  </a:lnTo>
                  <a:lnTo>
                    <a:pt x="92" y="255"/>
                  </a:lnTo>
                  <a:lnTo>
                    <a:pt x="93" y="257"/>
                  </a:lnTo>
                  <a:lnTo>
                    <a:pt x="95" y="258"/>
                  </a:lnTo>
                  <a:lnTo>
                    <a:pt x="97" y="259"/>
                  </a:lnTo>
                  <a:lnTo>
                    <a:pt x="98" y="260"/>
                  </a:lnTo>
                  <a:lnTo>
                    <a:pt x="101" y="260"/>
                  </a:lnTo>
                  <a:lnTo>
                    <a:pt x="103" y="260"/>
                  </a:lnTo>
                  <a:lnTo>
                    <a:pt x="105" y="260"/>
                  </a:lnTo>
                  <a:lnTo>
                    <a:pt x="108" y="260"/>
                  </a:lnTo>
                  <a:lnTo>
                    <a:pt x="110" y="260"/>
                  </a:lnTo>
                  <a:lnTo>
                    <a:pt x="113" y="260"/>
                  </a:lnTo>
                  <a:lnTo>
                    <a:pt x="119" y="258"/>
                  </a:lnTo>
                  <a:lnTo>
                    <a:pt x="123" y="257"/>
                  </a:lnTo>
                  <a:lnTo>
                    <a:pt x="125" y="257"/>
                  </a:lnTo>
                  <a:lnTo>
                    <a:pt x="128" y="257"/>
                  </a:lnTo>
                  <a:lnTo>
                    <a:pt x="130" y="257"/>
                  </a:lnTo>
                  <a:lnTo>
                    <a:pt x="132" y="257"/>
                  </a:lnTo>
                  <a:lnTo>
                    <a:pt x="134" y="258"/>
                  </a:lnTo>
                  <a:lnTo>
                    <a:pt x="137" y="258"/>
                  </a:lnTo>
                  <a:lnTo>
                    <a:pt x="139" y="259"/>
                  </a:lnTo>
                  <a:lnTo>
                    <a:pt x="140" y="260"/>
                  </a:lnTo>
                  <a:lnTo>
                    <a:pt x="143" y="261"/>
                  </a:lnTo>
                  <a:lnTo>
                    <a:pt x="145" y="263"/>
                  </a:lnTo>
                  <a:lnTo>
                    <a:pt x="153" y="268"/>
                  </a:lnTo>
                  <a:lnTo>
                    <a:pt x="155" y="269"/>
                  </a:lnTo>
                  <a:lnTo>
                    <a:pt x="156" y="270"/>
                  </a:lnTo>
                  <a:lnTo>
                    <a:pt x="158" y="270"/>
                  </a:lnTo>
                  <a:lnTo>
                    <a:pt x="160" y="270"/>
                  </a:lnTo>
                  <a:lnTo>
                    <a:pt x="161" y="270"/>
                  </a:lnTo>
                  <a:lnTo>
                    <a:pt x="162" y="269"/>
                  </a:lnTo>
                  <a:lnTo>
                    <a:pt x="163" y="268"/>
                  </a:lnTo>
                  <a:lnTo>
                    <a:pt x="163" y="268"/>
                  </a:lnTo>
                  <a:lnTo>
                    <a:pt x="163" y="267"/>
                  </a:lnTo>
                  <a:lnTo>
                    <a:pt x="163" y="265"/>
                  </a:lnTo>
                  <a:lnTo>
                    <a:pt x="163" y="264"/>
                  </a:lnTo>
                  <a:lnTo>
                    <a:pt x="162" y="263"/>
                  </a:lnTo>
                  <a:lnTo>
                    <a:pt x="160" y="261"/>
                  </a:lnTo>
                  <a:lnTo>
                    <a:pt x="160" y="260"/>
                  </a:lnTo>
                  <a:lnTo>
                    <a:pt x="153" y="255"/>
                  </a:lnTo>
                  <a:lnTo>
                    <a:pt x="146" y="248"/>
                  </a:lnTo>
                  <a:lnTo>
                    <a:pt x="143" y="245"/>
                  </a:lnTo>
                  <a:lnTo>
                    <a:pt x="139" y="240"/>
                  </a:lnTo>
                  <a:lnTo>
                    <a:pt x="136" y="236"/>
                  </a:lnTo>
                  <a:lnTo>
                    <a:pt x="135" y="234"/>
                  </a:lnTo>
                  <a:lnTo>
                    <a:pt x="134" y="232"/>
                  </a:lnTo>
                  <a:lnTo>
                    <a:pt x="133" y="230"/>
                  </a:lnTo>
                  <a:lnTo>
                    <a:pt x="132" y="226"/>
                  </a:lnTo>
                  <a:lnTo>
                    <a:pt x="131" y="224"/>
                  </a:lnTo>
                  <a:lnTo>
                    <a:pt x="131" y="223"/>
                  </a:lnTo>
                  <a:lnTo>
                    <a:pt x="130" y="220"/>
                  </a:lnTo>
                  <a:lnTo>
                    <a:pt x="131" y="217"/>
                  </a:lnTo>
                  <a:lnTo>
                    <a:pt x="132" y="214"/>
                  </a:lnTo>
                  <a:lnTo>
                    <a:pt x="133" y="212"/>
                  </a:lnTo>
                  <a:lnTo>
                    <a:pt x="135" y="209"/>
                  </a:lnTo>
                  <a:lnTo>
                    <a:pt x="137" y="205"/>
                  </a:lnTo>
                  <a:lnTo>
                    <a:pt x="145" y="197"/>
                  </a:lnTo>
                  <a:lnTo>
                    <a:pt x="147" y="195"/>
                  </a:lnTo>
                  <a:lnTo>
                    <a:pt x="148" y="193"/>
                  </a:lnTo>
                  <a:lnTo>
                    <a:pt x="148" y="190"/>
                  </a:lnTo>
                  <a:lnTo>
                    <a:pt x="148" y="188"/>
                  </a:lnTo>
                  <a:lnTo>
                    <a:pt x="148" y="186"/>
                  </a:lnTo>
                  <a:lnTo>
                    <a:pt x="148" y="183"/>
                  </a:lnTo>
                  <a:lnTo>
                    <a:pt x="147" y="182"/>
                  </a:lnTo>
                  <a:lnTo>
                    <a:pt x="146" y="180"/>
                  </a:lnTo>
                  <a:lnTo>
                    <a:pt x="145" y="179"/>
                  </a:lnTo>
                  <a:lnTo>
                    <a:pt x="143" y="178"/>
                  </a:lnTo>
                  <a:lnTo>
                    <a:pt x="140" y="175"/>
                  </a:lnTo>
                  <a:lnTo>
                    <a:pt x="135" y="172"/>
                  </a:lnTo>
                  <a:lnTo>
                    <a:pt x="133" y="171"/>
                  </a:lnTo>
                  <a:lnTo>
                    <a:pt x="128" y="168"/>
                  </a:lnTo>
                  <a:lnTo>
                    <a:pt x="125" y="166"/>
                  </a:lnTo>
                  <a:lnTo>
                    <a:pt x="124" y="165"/>
                  </a:lnTo>
                  <a:lnTo>
                    <a:pt x="122" y="163"/>
                  </a:lnTo>
                  <a:lnTo>
                    <a:pt x="120" y="161"/>
                  </a:lnTo>
                  <a:lnTo>
                    <a:pt x="119" y="159"/>
                  </a:lnTo>
                  <a:lnTo>
                    <a:pt x="116" y="155"/>
                  </a:lnTo>
                  <a:lnTo>
                    <a:pt x="114" y="150"/>
                  </a:lnTo>
                  <a:lnTo>
                    <a:pt x="112" y="145"/>
                  </a:lnTo>
                  <a:lnTo>
                    <a:pt x="110" y="142"/>
                  </a:lnTo>
                  <a:lnTo>
                    <a:pt x="108" y="133"/>
                  </a:lnTo>
                  <a:lnTo>
                    <a:pt x="108" y="129"/>
                  </a:lnTo>
                  <a:lnTo>
                    <a:pt x="108" y="127"/>
                  </a:lnTo>
                  <a:lnTo>
                    <a:pt x="108" y="126"/>
                  </a:lnTo>
                  <a:lnTo>
                    <a:pt x="108" y="124"/>
                  </a:lnTo>
                  <a:lnTo>
                    <a:pt x="108" y="123"/>
                  </a:lnTo>
                  <a:lnTo>
                    <a:pt x="108" y="121"/>
                  </a:lnTo>
                  <a:lnTo>
                    <a:pt x="109" y="120"/>
                  </a:lnTo>
                  <a:lnTo>
                    <a:pt x="110" y="118"/>
                  </a:lnTo>
                  <a:lnTo>
                    <a:pt x="112" y="118"/>
                  </a:lnTo>
                  <a:lnTo>
                    <a:pt x="113" y="117"/>
                  </a:lnTo>
                  <a:lnTo>
                    <a:pt x="115" y="117"/>
                  </a:lnTo>
                  <a:lnTo>
                    <a:pt x="116" y="116"/>
                  </a:lnTo>
                  <a:lnTo>
                    <a:pt x="118" y="116"/>
                  </a:lnTo>
                  <a:lnTo>
                    <a:pt x="120" y="116"/>
                  </a:lnTo>
                  <a:lnTo>
                    <a:pt x="122" y="117"/>
                  </a:lnTo>
                  <a:lnTo>
                    <a:pt x="124" y="118"/>
                  </a:lnTo>
                  <a:lnTo>
                    <a:pt x="130" y="120"/>
                  </a:lnTo>
                  <a:lnTo>
                    <a:pt x="135" y="121"/>
                  </a:lnTo>
                  <a:lnTo>
                    <a:pt x="139" y="123"/>
                  </a:lnTo>
                  <a:lnTo>
                    <a:pt x="143" y="123"/>
                  </a:lnTo>
                  <a:lnTo>
                    <a:pt x="148" y="124"/>
                  </a:lnTo>
                  <a:lnTo>
                    <a:pt x="151" y="124"/>
                  </a:lnTo>
                  <a:lnTo>
                    <a:pt x="155" y="124"/>
                  </a:lnTo>
                  <a:lnTo>
                    <a:pt x="158" y="123"/>
                  </a:lnTo>
                  <a:lnTo>
                    <a:pt x="173" y="120"/>
                  </a:lnTo>
                  <a:lnTo>
                    <a:pt x="177" y="118"/>
                  </a:lnTo>
                  <a:lnTo>
                    <a:pt x="181" y="117"/>
                  </a:lnTo>
                  <a:lnTo>
                    <a:pt x="188" y="113"/>
                  </a:lnTo>
                  <a:lnTo>
                    <a:pt x="191" y="112"/>
                  </a:lnTo>
                  <a:lnTo>
                    <a:pt x="199" y="107"/>
                  </a:lnTo>
                  <a:lnTo>
                    <a:pt x="206" y="103"/>
                  </a:lnTo>
                  <a:lnTo>
                    <a:pt x="208" y="101"/>
                  </a:lnTo>
                  <a:lnTo>
                    <a:pt x="210" y="100"/>
                  </a:lnTo>
                  <a:lnTo>
                    <a:pt x="211" y="98"/>
                  </a:lnTo>
                  <a:lnTo>
                    <a:pt x="212" y="97"/>
                  </a:lnTo>
                  <a:lnTo>
                    <a:pt x="213" y="95"/>
                  </a:lnTo>
                  <a:lnTo>
                    <a:pt x="213" y="92"/>
                  </a:lnTo>
                  <a:lnTo>
                    <a:pt x="215" y="81"/>
                  </a:lnTo>
                  <a:lnTo>
                    <a:pt x="216" y="76"/>
                  </a:lnTo>
                  <a:lnTo>
                    <a:pt x="217" y="73"/>
                  </a:lnTo>
                  <a:lnTo>
                    <a:pt x="219" y="67"/>
                  </a:lnTo>
                  <a:lnTo>
                    <a:pt x="220" y="64"/>
                  </a:lnTo>
                  <a:lnTo>
                    <a:pt x="225" y="56"/>
                  </a:lnTo>
                  <a:lnTo>
                    <a:pt x="226" y="52"/>
                  </a:lnTo>
                  <a:lnTo>
                    <a:pt x="228" y="48"/>
                  </a:lnTo>
                  <a:lnTo>
                    <a:pt x="228" y="46"/>
                  </a:lnTo>
                  <a:lnTo>
                    <a:pt x="228" y="45"/>
                  </a:lnTo>
                  <a:lnTo>
                    <a:pt x="228" y="43"/>
                  </a:lnTo>
                  <a:lnTo>
                    <a:pt x="228" y="42"/>
                  </a:lnTo>
                  <a:lnTo>
                    <a:pt x="228" y="41"/>
                  </a:lnTo>
                  <a:lnTo>
                    <a:pt x="227" y="39"/>
                  </a:lnTo>
                  <a:lnTo>
                    <a:pt x="225" y="38"/>
                  </a:lnTo>
                  <a:lnTo>
                    <a:pt x="223" y="34"/>
                  </a:lnTo>
                  <a:lnTo>
                    <a:pt x="218" y="28"/>
                  </a:lnTo>
                  <a:lnTo>
                    <a:pt x="216" y="26"/>
                  </a:lnTo>
                  <a:lnTo>
                    <a:pt x="215" y="24"/>
                  </a:lnTo>
                  <a:lnTo>
                    <a:pt x="214" y="21"/>
                  </a:lnTo>
                  <a:lnTo>
                    <a:pt x="213" y="19"/>
                  </a:lnTo>
                  <a:lnTo>
                    <a:pt x="213" y="18"/>
                  </a:lnTo>
                  <a:lnTo>
                    <a:pt x="213" y="16"/>
                  </a:lnTo>
                  <a:lnTo>
                    <a:pt x="214" y="15"/>
                  </a:lnTo>
                  <a:lnTo>
                    <a:pt x="215" y="14"/>
                  </a:lnTo>
                  <a:lnTo>
                    <a:pt x="217" y="13"/>
                  </a:lnTo>
                  <a:lnTo>
                    <a:pt x="220" y="11"/>
                  </a:lnTo>
                  <a:lnTo>
                    <a:pt x="223" y="9"/>
                  </a:lnTo>
                  <a:lnTo>
                    <a:pt x="226" y="8"/>
                  </a:lnTo>
                  <a:lnTo>
                    <a:pt x="231" y="6"/>
                  </a:lnTo>
                  <a:lnTo>
                    <a:pt x="244" y="4"/>
                  </a:lnTo>
                  <a:lnTo>
                    <a:pt x="247" y="3"/>
                  </a:lnTo>
                  <a:lnTo>
                    <a:pt x="250" y="2"/>
                  </a:lnTo>
                  <a:lnTo>
                    <a:pt x="251" y="1"/>
                  </a:lnTo>
                  <a:lnTo>
                    <a:pt x="253" y="1"/>
                  </a:lnTo>
                  <a:lnTo>
                    <a:pt x="256" y="1"/>
                  </a:lnTo>
                  <a:lnTo>
                    <a:pt x="258" y="1"/>
                  </a:lnTo>
                  <a:lnTo>
                    <a:pt x="260" y="1"/>
                  </a:lnTo>
                  <a:lnTo>
                    <a:pt x="261" y="1"/>
                  </a:lnTo>
                  <a:lnTo>
                    <a:pt x="262" y="0"/>
                  </a:lnTo>
                  <a:lnTo>
                    <a:pt x="263" y="0"/>
                  </a:lnTo>
                  <a:close/>
                </a:path>
              </a:pathLst>
            </a:custGeom>
            <a:solidFill>
              <a:srgbClr val="828282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 100">
              <a:extLst>
                <a:ext uri="{FF2B5EF4-FFF2-40B4-BE49-F238E27FC236}">
                  <a16:creationId xmlns:a16="http://schemas.microsoft.com/office/drawing/2014/main" id="{A4666842-D733-78B6-EF6B-62F6119606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1798" y="4524213"/>
              <a:ext cx="771525" cy="890588"/>
            </a:xfrm>
            <a:custGeom>
              <a:avLst/>
              <a:gdLst>
                <a:gd name="T0" fmla="*/ 124 w 486"/>
                <a:gd name="T1" fmla="*/ 32 h 561"/>
                <a:gd name="T2" fmla="*/ 141 w 486"/>
                <a:gd name="T3" fmla="*/ 45 h 561"/>
                <a:gd name="T4" fmla="*/ 177 w 486"/>
                <a:gd name="T5" fmla="*/ 42 h 561"/>
                <a:gd name="T6" fmla="*/ 246 w 486"/>
                <a:gd name="T7" fmla="*/ 40 h 561"/>
                <a:gd name="T8" fmla="*/ 264 w 486"/>
                <a:gd name="T9" fmla="*/ 18 h 561"/>
                <a:gd name="T10" fmla="*/ 291 w 486"/>
                <a:gd name="T11" fmla="*/ 0 h 561"/>
                <a:gd name="T12" fmla="*/ 319 w 486"/>
                <a:gd name="T13" fmla="*/ 6 h 561"/>
                <a:gd name="T14" fmla="*/ 346 w 486"/>
                <a:gd name="T15" fmla="*/ 27 h 561"/>
                <a:gd name="T16" fmla="*/ 362 w 486"/>
                <a:gd name="T17" fmla="*/ 47 h 561"/>
                <a:gd name="T18" fmla="*/ 395 w 486"/>
                <a:gd name="T19" fmla="*/ 47 h 561"/>
                <a:gd name="T20" fmla="*/ 428 w 486"/>
                <a:gd name="T21" fmla="*/ 35 h 561"/>
                <a:gd name="T22" fmla="*/ 431 w 486"/>
                <a:gd name="T23" fmla="*/ 17 h 561"/>
                <a:gd name="T24" fmla="*/ 459 w 486"/>
                <a:gd name="T25" fmla="*/ 27 h 561"/>
                <a:gd name="T26" fmla="*/ 485 w 486"/>
                <a:gd name="T27" fmla="*/ 50 h 561"/>
                <a:gd name="T28" fmla="*/ 470 w 486"/>
                <a:gd name="T29" fmla="*/ 82 h 561"/>
                <a:gd name="T30" fmla="*/ 473 w 486"/>
                <a:gd name="T31" fmla="*/ 117 h 561"/>
                <a:gd name="T32" fmla="*/ 485 w 486"/>
                <a:gd name="T33" fmla="*/ 145 h 561"/>
                <a:gd name="T34" fmla="*/ 479 w 486"/>
                <a:gd name="T35" fmla="*/ 184 h 561"/>
                <a:gd name="T36" fmla="*/ 469 w 486"/>
                <a:gd name="T37" fmla="*/ 213 h 561"/>
                <a:gd name="T38" fmla="*/ 471 w 486"/>
                <a:gd name="T39" fmla="*/ 252 h 561"/>
                <a:gd name="T40" fmla="*/ 463 w 486"/>
                <a:gd name="T41" fmla="*/ 281 h 561"/>
                <a:gd name="T42" fmla="*/ 444 w 486"/>
                <a:gd name="T43" fmla="*/ 302 h 561"/>
                <a:gd name="T44" fmla="*/ 421 w 486"/>
                <a:gd name="T45" fmla="*/ 332 h 561"/>
                <a:gd name="T46" fmla="*/ 411 w 486"/>
                <a:gd name="T47" fmla="*/ 327 h 561"/>
                <a:gd name="T48" fmla="*/ 396 w 486"/>
                <a:gd name="T49" fmla="*/ 345 h 561"/>
                <a:gd name="T50" fmla="*/ 369 w 486"/>
                <a:gd name="T51" fmla="*/ 361 h 561"/>
                <a:gd name="T52" fmla="*/ 364 w 486"/>
                <a:gd name="T53" fmla="*/ 391 h 561"/>
                <a:gd name="T54" fmla="*/ 376 w 486"/>
                <a:gd name="T55" fmla="*/ 441 h 561"/>
                <a:gd name="T56" fmla="*/ 380 w 486"/>
                <a:gd name="T57" fmla="*/ 459 h 561"/>
                <a:gd name="T58" fmla="*/ 341 w 486"/>
                <a:gd name="T59" fmla="*/ 449 h 561"/>
                <a:gd name="T60" fmla="*/ 328 w 486"/>
                <a:gd name="T61" fmla="*/ 460 h 561"/>
                <a:gd name="T62" fmla="*/ 333 w 486"/>
                <a:gd name="T63" fmla="*/ 504 h 561"/>
                <a:gd name="T64" fmla="*/ 321 w 486"/>
                <a:gd name="T65" fmla="*/ 532 h 561"/>
                <a:gd name="T66" fmla="*/ 305 w 486"/>
                <a:gd name="T67" fmla="*/ 561 h 561"/>
                <a:gd name="T68" fmla="*/ 254 w 486"/>
                <a:gd name="T69" fmla="*/ 555 h 561"/>
                <a:gd name="T70" fmla="*/ 229 w 486"/>
                <a:gd name="T71" fmla="*/ 536 h 561"/>
                <a:gd name="T72" fmla="*/ 204 w 486"/>
                <a:gd name="T73" fmla="*/ 515 h 561"/>
                <a:gd name="T74" fmla="*/ 169 w 486"/>
                <a:gd name="T75" fmla="*/ 505 h 561"/>
                <a:gd name="T76" fmla="*/ 148 w 486"/>
                <a:gd name="T77" fmla="*/ 487 h 561"/>
                <a:gd name="T78" fmla="*/ 124 w 486"/>
                <a:gd name="T79" fmla="*/ 447 h 561"/>
                <a:gd name="T80" fmla="*/ 100 w 486"/>
                <a:gd name="T81" fmla="*/ 416 h 561"/>
                <a:gd name="T82" fmla="*/ 89 w 486"/>
                <a:gd name="T83" fmla="*/ 379 h 561"/>
                <a:gd name="T84" fmla="*/ 54 w 486"/>
                <a:gd name="T85" fmla="*/ 328 h 561"/>
                <a:gd name="T86" fmla="*/ 55 w 486"/>
                <a:gd name="T87" fmla="*/ 288 h 561"/>
                <a:gd name="T88" fmla="*/ 67 w 486"/>
                <a:gd name="T89" fmla="*/ 257 h 561"/>
                <a:gd name="T90" fmla="*/ 68 w 486"/>
                <a:gd name="T91" fmla="*/ 235 h 561"/>
                <a:gd name="T92" fmla="*/ 54 w 486"/>
                <a:gd name="T93" fmla="*/ 217 h 561"/>
                <a:gd name="T94" fmla="*/ 50 w 486"/>
                <a:gd name="T95" fmla="*/ 187 h 561"/>
                <a:gd name="T96" fmla="*/ 43 w 486"/>
                <a:gd name="T97" fmla="*/ 167 h 561"/>
                <a:gd name="T98" fmla="*/ 63 w 486"/>
                <a:gd name="T99" fmla="*/ 150 h 561"/>
                <a:gd name="T100" fmla="*/ 68 w 486"/>
                <a:gd name="T101" fmla="*/ 132 h 561"/>
                <a:gd name="T102" fmla="*/ 52 w 486"/>
                <a:gd name="T103" fmla="*/ 120 h 561"/>
                <a:gd name="T104" fmla="*/ 52 w 486"/>
                <a:gd name="T105" fmla="*/ 110 h 561"/>
                <a:gd name="T106" fmla="*/ 33 w 486"/>
                <a:gd name="T107" fmla="*/ 97 h 561"/>
                <a:gd name="T108" fmla="*/ 3 w 486"/>
                <a:gd name="T109" fmla="*/ 85 h 561"/>
                <a:gd name="T110" fmla="*/ 12 w 486"/>
                <a:gd name="T111" fmla="*/ 70 h 561"/>
                <a:gd name="T112" fmla="*/ 42 w 486"/>
                <a:gd name="T113" fmla="*/ 63 h 561"/>
                <a:gd name="T114" fmla="*/ 59 w 486"/>
                <a:gd name="T115" fmla="*/ 54 h 561"/>
                <a:gd name="T116" fmla="*/ 73 w 486"/>
                <a:gd name="T117" fmla="*/ 30 h 561"/>
                <a:gd name="T118" fmla="*/ 108 w 486"/>
                <a:gd name="T119" fmla="*/ 5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86" h="561">
                  <a:moveTo>
                    <a:pt x="120" y="1"/>
                  </a:moveTo>
                  <a:lnTo>
                    <a:pt x="120" y="2"/>
                  </a:lnTo>
                  <a:lnTo>
                    <a:pt x="122" y="2"/>
                  </a:lnTo>
                  <a:lnTo>
                    <a:pt x="122" y="4"/>
                  </a:lnTo>
                  <a:lnTo>
                    <a:pt x="122" y="5"/>
                  </a:lnTo>
                  <a:lnTo>
                    <a:pt x="123" y="9"/>
                  </a:lnTo>
                  <a:lnTo>
                    <a:pt x="123" y="21"/>
                  </a:lnTo>
                  <a:lnTo>
                    <a:pt x="124" y="27"/>
                  </a:lnTo>
                  <a:lnTo>
                    <a:pt x="124" y="30"/>
                  </a:lnTo>
                  <a:lnTo>
                    <a:pt x="124" y="32"/>
                  </a:lnTo>
                  <a:lnTo>
                    <a:pt x="125" y="35"/>
                  </a:lnTo>
                  <a:lnTo>
                    <a:pt x="126" y="37"/>
                  </a:lnTo>
                  <a:lnTo>
                    <a:pt x="127" y="38"/>
                  </a:lnTo>
                  <a:lnTo>
                    <a:pt x="128" y="40"/>
                  </a:lnTo>
                  <a:lnTo>
                    <a:pt x="129" y="41"/>
                  </a:lnTo>
                  <a:lnTo>
                    <a:pt x="132" y="42"/>
                  </a:lnTo>
                  <a:lnTo>
                    <a:pt x="134" y="44"/>
                  </a:lnTo>
                  <a:lnTo>
                    <a:pt x="136" y="45"/>
                  </a:lnTo>
                  <a:lnTo>
                    <a:pt x="138" y="45"/>
                  </a:lnTo>
                  <a:lnTo>
                    <a:pt x="141" y="45"/>
                  </a:lnTo>
                  <a:lnTo>
                    <a:pt x="144" y="46"/>
                  </a:lnTo>
                  <a:lnTo>
                    <a:pt x="148" y="45"/>
                  </a:lnTo>
                  <a:lnTo>
                    <a:pt x="150" y="45"/>
                  </a:lnTo>
                  <a:lnTo>
                    <a:pt x="154" y="44"/>
                  </a:lnTo>
                  <a:lnTo>
                    <a:pt x="157" y="43"/>
                  </a:lnTo>
                  <a:lnTo>
                    <a:pt x="159" y="44"/>
                  </a:lnTo>
                  <a:lnTo>
                    <a:pt x="164" y="45"/>
                  </a:lnTo>
                  <a:lnTo>
                    <a:pt x="168" y="45"/>
                  </a:lnTo>
                  <a:lnTo>
                    <a:pt x="171" y="45"/>
                  </a:lnTo>
                  <a:lnTo>
                    <a:pt x="177" y="42"/>
                  </a:lnTo>
                  <a:lnTo>
                    <a:pt x="180" y="42"/>
                  </a:lnTo>
                  <a:lnTo>
                    <a:pt x="185" y="42"/>
                  </a:lnTo>
                  <a:lnTo>
                    <a:pt x="195" y="42"/>
                  </a:lnTo>
                  <a:lnTo>
                    <a:pt x="199" y="42"/>
                  </a:lnTo>
                  <a:lnTo>
                    <a:pt x="212" y="42"/>
                  </a:lnTo>
                  <a:lnTo>
                    <a:pt x="222" y="41"/>
                  </a:lnTo>
                  <a:lnTo>
                    <a:pt x="232" y="40"/>
                  </a:lnTo>
                  <a:lnTo>
                    <a:pt x="236" y="40"/>
                  </a:lnTo>
                  <a:lnTo>
                    <a:pt x="240" y="40"/>
                  </a:lnTo>
                  <a:lnTo>
                    <a:pt x="246" y="40"/>
                  </a:lnTo>
                  <a:lnTo>
                    <a:pt x="247" y="40"/>
                  </a:lnTo>
                  <a:lnTo>
                    <a:pt x="249" y="40"/>
                  </a:lnTo>
                  <a:lnTo>
                    <a:pt x="250" y="39"/>
                  </a:lnTo>
                  <a:lnTo>
                    <a:pt x="251" y="37"/>
                  </a:lnTo>
                  <a:lnTo>
                    <a:pt x="253" y="36"/>
                  </a:lnTo>
                  <a:lnTo>
                    <a:pt x="254" y="35"/>
                  </a:lnTo>
                  <a:lnTo>
                    <a:pt x="256" y="30"/>
                  </a:lnTo>
                  <a:lnTo>
                    <a:pt x="260" y="26"/>
                  </a:lnTo>
                  <a:lnTo>
                    <a:pt x="262" y="22"/>
                  </a:lnTo>
                  <a:lnTo>
                    <a:pt x="264" y="18"/>
                  </a:lnTo>
                  <a:lnTo>
                    <a:pt x="267" y="12"/>
                  </a:lnTo>
                  <a:lnTo>
                    <a:pt x="269" y="10"/>
                  </a:lnTo>
                  <a:lnTo>
                    <a:pt x="270" y="8"/>
                  </a:lnTo>
                  <a:lnTo>
                    <a:pt x="272" y="6"/>
                  </a:lnTo>
                  <a:lnTo>
                    <a:pt x="274" y="5"/>
                  </a:lnTo>
                  <a:lnTo>
                    <a:pt x="276" y="4"/>
                  </a:lnTo>
                  <a:lnTo>
                    <a:pt x="277" y="4"/>
                  </a:lnTo>
                  <a:lnTo>
                    <a:pt x="279" y="3"/>
                  </a:lnTo>
                  <a:lnTo>
                    <a:pt x="287" y="1"/>
                  </a:lnTo>
                  <a:lnTo>
                    <a:pt x="291" y="0"/>
                  </a:lnTo>
                  <a:lnTo>
                    <a:pt x="294" y="0"/>
                  </a:lnTo>
                  <a:lnTo>
                    <a:pt x="299" y="0"/>
                  </a:lnTo>
                  <a:lnTo>
                    <a:pt x="301" y="0"/>
                  </a:lnTo>
                  <a:lnTo>
                    <a:pt x="303" y="0"/>
                  </a:lnTo>
                  <a:lnTo>
                    <a:pt x="306" y="0"/>
                  </a:lnTo>
                  <a:lnTo>
                    <a:pt x="309" y="1"/>
                  </a:lnTo>
                  <a:lnTo>
                    <a:pt x="311" y="2"/>
                  </a:lnTo>
                  <a:lnTo>
                    <a:pt x="314" y="4"/>
                  </a:lnTo>
                  <a:lnTo>
                    <a:pt x="316" y="5"/>
                  </a:lnTo>
                  <a:lnTo>
                    <a:pt x="319" y="6"/>
                  </a:lnTo>
                  <a:lnTo>
                    <a:pt x="321" y="7"/>
                  </a:lnTo>
                  <a:lnTo>
                    <a:pt x="322" y="10"/>
                  </a:lnTo>
                  <a:lnTo>
                    <a:pt x="324" y="12"/>
                  </a:lnTo>
                  <a:lnTo>
                    <a:pt x="328" y="17"/>
                  </a:lnTo>
                  <a:lnTo>
                    <a:pt x="329" y="19"/>
                  </a:lnTo>
                  <a:lnTo>
                    <a:pt x="331" y="20"/>
                  </a:lnTo>
                  <a:lnTo>
                    <a:pt x="333" y="22"/>
                  </a:lnTo>
                  <a:lnTo>
                    <a:pt x="335" y="22"/>
                  </a:lnTo>
                  <a:lnTo>
                    <a:pt x="341" y="25"/>
                  </a:lnTo>
                  <a:lnTo>
                    <a:pt x="346" y="27"/>
                  </a:lnTo>
                  <a:lnTo>
                    <a:pt x="349" y="29"/>
                  </a:lnTo>
                  <a:lnTo>
                    <a:pt x="351" y="30"/>
                  </a:lnTo>
                  <a:lnTo>
                    <a:pt x="353" y="32"/>
                  </a:lnTo>
                  <a:lnTo>
                    <a:pt x="356" y="35"/>
                  </a:lnTo>
                  <a:lnTo>
                    <a:pt x="357" y="37"/>
                  </a:lnTo>
                  <a:lnTo>
                    <a:pt x="358" y="37"/>
                  </a:lnTo>
                  <a:lnTo>
                    <a:pt x="359" y="40"/>
                  </a:lnTo>
                  <a:lnTo>
                    <a:pt x="361" y="45"/>
                  </a:lnTo>
                  <a:lnTo>
                    <a:pt x="361" y="46"/>
                  </a:lnTo>
                  <a:lnTo>
                    <a:pt x="362" y="47"/>
                  </a:lnTo>
                  <a:lnTo>
                    <a:pt x="364" y="47"/>
                  </a:lnTo>
                  <a:lnTo>
                    <a:pt x="364" y="48"/>
                  </a:lnTo>
                  <a:lnTo>
                    <a:pt x="366" y="49"/>
                  </a:lnTo>
                  <a:lnTo>
                    <a:pt x="380" y="51"/>
                  </a:lnTo>
                  <a:lnTo>
                    <a:pt x="382" y="51"/>
                  </a:lnTo>
                  <a:lnTo>
                    <a:pt x="384" y="50"/>
                  </a:lnTo>
                  <a:lnTo>
                    <a:pt x="391" y="49"/>
                  </a:lnTo>
                  <a:lnTo>
                    <a:pt x="391" y="48"/>
                  </a:lnTo>
                  <a:lnTo>
                    <a:pt x="393" y="48"/>
                  </a:lnTo>
                  <a:lnTo>
                    <a:pt x="395" y="47"/>
                  </a:lnTo>
                  <a:lnTo>
                    <a:pt x="404" y="40"/>
                  </a:lnTo>
                  <a:lnTo>
                    <a:pt x="406" y="39"/>
                  </a:lnTo>
                  <a:lnTo>
                    <a:pt x="409" y="37"/>
                  </a:lnTo>
                  <a:lnTo>
                    <a:pt x="412" y="36"/>
                  </a:lnTo>
                  <a:lnTo>
                    <a:pt x="415" y="35"/>
                  </a:lnTo>
                  <a:lnTo>
                    <a:pt x="418" y="35"/>
                  </a:lnTo>
                  <a:lnTo>
                    <a:pt x="421" y="35"/>
                  </a:lnTo>
                  <a:lnTo>
                    <a:pt x="426" y="35"/>
                  </a:lnTo>
                  <a:lnTo>
                    <a:pt x="427" y="35"/>
                  </a:lnTo>
                  <a:lnTo>
                    <a:pt x="428" y="35"/>
                  </a:lnTo>
                  <a:lnTo>
                    <a:pt x="429" y="35"/>
                  </a:lnTo>
                  <a:lnTo>
                    <a:pt x="429" y="34"/>
                  </a:lnTo>
                  <a:lnTo>
                    <a:pt x="429" y="33"/>
                  </a:lnTo>
                  <a:lnTo>
                    <a:pt x="429" y="32"/>
                  </a:lnTo>
                  <a:lnTo>
                    <a:pt x="429" y="29"/>
                  </a:lnTo>
                  <a:lnTo>
                    <a:pt x="429" y="22"/>
                  </a:lnTo>
                  <a:lnTo>
                    <a:pt x="429" y="20"/>
                  </a:lnTo>
                  <a:lnTo>
                    <a:pt x="430" y="20"/>
                  </a:lnTo>
                  <a:lnTo>
                    <a:pt x="431" y="18"/>
                  </a:lnTo>
                  <a:lnTo>
                    <a:pt x="431" y="17"/>
                  </a:lnTo>
                  <a:lnTo>
                    <a:pt x="433" y="17"/>
                  </a:lnTo>
                  <a:lnTo>
                    <a:pt x="434" y="16"/>
                  </a:lnTo>
                  <a:lnTo>
                    <a:pt x="435" y="16"/>
                  </a:lnTo>
                  <a:lnTo>
                    <a:pt x="436" y="17"/>
                  </a:lnTo>
                  <a:lnTo>
                    <a:pt x="439" y="17"/>
                  </a:lnTo>
                  <a:lnTo>
                    <a:pt x="441" y="19"/>
                  </a:lnTo>
                  <a:lnTo>
                    <a:pt x="446" y="22"/>
                  </a:lnTo>
                  <a:lnTo>
                    <a:pt x="449" y="24"/>
                  </a:lnTo>
                  <a:lnTo>
                    <a:pt x="456" y="27"/>
                  </a:lnTo>
                  <a:lnTo>
                    <a:pt x="459" y="27"/>
                  </a:lnTo>
                  <a:lnTo>
                    <a:pt x="461" y="29"/>
                  </a:lnTo>
                  <a:lnTo>
                    <a:pt x="463" y="30"/>
                  </a:lnTo>
                  <a:lnTo>
                    <a:pt x="466" y="33"/>
                  </a:lnTo>
                  <a:lnTo>
                    <a:pt x="473" y="37"/>
                  </a:lnTo>
                  <a:lnTo>
                    <a:pt x="480" y="44"/>
                  </a:lnTo>
                  <a:lnTo>
                    <a:pt x="484" y="47"/>
                  </a:lnTo>
                  <a:lnTo>
                    <a:pt x="484" y="47"/>
                  </a:lnTo>
                  <a:lnTo>
                    <a:pt x="485" y="48"/>
                  </a:lnTo>
                  <a:lnTo>
                    <a:pt x="485" y="49"/>
                  </a:lnTo>
                  <a:lnTo>
                    <a:pt x="485" y="50"/>
                  </a:lnTo>
                  <a:lnTo>
                    <a:pt x="484" y="53"/>
                  </a:lnTo>
                  <a:lnTo>
                    <a:pt x="483" y="55"/>
                  </a:lnTo>
                  <a:lnTo>
                    <a:pt x="482" y="59"/>
                  </a:lnTo>
                  <a:lnTo>
                    <a:pt x="478" y="65"/>
                  </a:lnTo>
                  <a:lnTo>
                    <a:pt x="476" y="70"/>
                  </a:lnTo>
                  <a:lnTo>
                    <a:pt x="473" y="74"/>
                  </a:lnTo>
                  <a:lnTo>
                    <a:pt x="471" y="76"/>
                  </a:lnTo>
                  <a:lnTo>
                    <a:pt x="471" y="78"/>
                  </a:lnTo>
                  <a:lnTo>
                    <a:pt x="470" y="80"/>
                  </a:lnTo>
                  <a:lnTo>
                    <a:pt x="470" y="82"/>
                  </a:lnTo>
                  <a:lnTo>
                    <a:pt x="469" y="85"/>
                  </a:lnTo>
                  <a:lnTo>
                    <a:pt x="470" y="86"/>
                  </a:lnTo>
                  <a:lnTo>
                    <a:pt x="470" y="88"/>
                  </a:lnTo>
                  <a:lnTo>
                    <a:pt x="471" y="95"/>
                  </a:lnTo>
                  <a:lnTo>
                    <a:pt x="472" y="97"/>
                  </a:lnTo>
                  <a:lnTo>
                    <a:pt x="472" y="102"/>
                  </a:lnTo>
                  <a:lnTo>
                    <a:pt x="471" y="109"/>
                  </a:lnTo>
                  <a:lnTo>
                    <a:pt x="472" y="113"/>
                  </a:lnTo>
                  <a:lnTo>
                    <a:pt x="473" y="116"/>
                  </a:lnTo>
                  <a:lnTo>
                    <a:pt x="473" y="117"/>
                  </a:lnTo>
                  <a:lnTo>
                    <a:pt x="474" y="120"/>
                  </a:lnTo>
                  <a:lnTo>
                    <a:pt x="476" y="123"/>
                  </a:lnTo>
                  <a:lnTo>
                    <a:pt x="478" y="125"/>
                  </a:lnTo>
                  <a:lnTo>
                    <a:pt x="482" y="131"/>
                  </a:lnTo>
                  <a:lnTo>
                    <a:pt x="483" y="133"/>
                  </a:lnTo>
                  <a:lnTo>
                    <a:pt x="485" y="136"/>
                  </a:lnTo>
                  <a:lnTo>
                    <a:pt x="486" y="138"/>
                  </a:lnTo>
                  <a:lnTo>
                    <a:pt x="486" y="140"/>
                  </a:lnTo>
                  <a:lnTo>
                    <a:pt x="486" y="142"/>
                  </a:lnTo>
                  <a:lnTo>
                    <a:pt x="485" y="145"/>
                  </a:lnTo>
                  <a:lnTo>
                    <a:pt x="484" y="149"/>
                  </a:lnTo>
                  <a:lnTo>
                    <a:pt x="483" y="151"/>
                  </a:lnTo>
                  <a:lnTo>
                    <a:pt x="483" y="154"/>
                  </a:lnTo>
                  <a:lnTo>
                    <a:pt x="483" y="161"/>
                  </a:lnTo>
                  <a:lnTo>
                    <a:pt x="483" y="165"/>
                  </a:lnTo>
                  <a:lnTo>
                    <a:pt x="483" y="167"/>
                  </a:lnTo>
                  <a:lnTo>
                    <a:pt x="481" y="173"/>
                  </a:lnTo>
                  <a:lnTo>
                    <a:pt x="481" y="177"/>
                  </a:lnTo>
                  <a:lnTo>
                    <a:pt x="480" y="179"/>
                  </a:lnTo>
                  <a:lnTo>
                    <a:pt x="479" y="184"/>
                  </a:lnTo>
                  <a:lnTo>
                    <a:pt x="479" y="192"/>
                  </a:lnTo>
                  <a:lnTo>
                    <a:pt x="479" y="196"/>
                  </a:lnTo>
                  <a:lnTo>
                    <a:pt x="478" y="200"/>
                  </a:lnTo>
                  <a:lnTo>
                    <a:pt x="478" y="202"/>
                  </a:lnTo>
                  <a:lnTo>
                    <a:pt x="476" y="205"/>
                  </a:lnTo>
                  <a:lnTo>
                    <a:pt x="475" y="207"/>
                  </a:lnTo>
                  <a:lnTo>
                    <a:pt x="474" y="209"/>
                  </a:lnTo>
                  <a:lnTo>
                    <a:pt x="473" y="210"/>
                  </a:lnTo>
                  <a:lnTo>
                    <a:pt x="471" y="212"/>
                  </a:lnTo>
                  <a:lnTo>
                    <a:pt x="469" y="213"/>
                  </a:lnTo>
                  <a:lnTo>
                    <a:pt x="462" y="217"/>
                  </a:lnTo>
                  <a:lnTo>
                    <a:pt x="461" y="218"/>
                  </a:lnTo>
                  <a:lnTo>
                    <a:pt x="461" y="219"/>
                  </a:lnTo>
                  <a:lnTo>
                    <a:pt x="461" y="220"/>
                  </a:lnTo>
                  <a:lnTo>
                    <a:pt x="461" y="222"/>
                  </a:lnTo>
                  <a:lnTo>
                    <a:pt x="461" y="224"/>
                  </a:lnTo>
                  <a:lnTo>
                    <a:pt x="466" y="235"/>
                  </a:lnTo>
                  <a:lnTo>
                    <a:pt x="467" y="239"/>
                  </a:lnTo>
                  <a:lnTo>
                    <a:pt x="470" y="247"/>
                  </a:lnTo>
                  <a:lnTo>
                    <a:pt x="471" y="252"/>
                  </a:lnTo>
                  <a:lnTo>
                    <a:pt x="471" y="257"/>
                  </a:lnTo>
                  <a:lnTo>
                    <a:pt x="471" y="261"/>
                  </a:lnTo>
                  <a:lnTo>
                    <a:pt x="471" y="266"/>
                  </a:lnTo>
                  <a:lnTo>
                    <a:pt x="471" y="270"/>
                  </a:lnTo>
                  <a:lnTo>
                    <a:pt x="470" y="272"/>
                  </a:lnTo>
                  <a:lnTo>
                    <a:pt x="469" y="275"/>
                  </a:lnTo>
                  <a:lnTo>
                    <a:pt x="467" y="278"/>
                  </a:lnTo>
                  <a:lnTo>
                    <a:pt x="465" y="279"/>
                  </a:lnTo>
                  <a:lnTo>
                    <a:pt x="464" y="280"/>
                  </a:lnTo>
                  <a:lnTo>
                    <a:pt x="463" y="281"/>
                  </a:lnTo>
                  <a:lnTo>
                    <a:pt x="458" y="282"/>
                  </a:lnTo>
                  <a:lnTo>
                    <a:pt x="455" y="284"/>
                  </a:lnTo>
                  <a:lnTo>
                    <a:pt x="453" y="285"/>
                  </a:lnTo>
                  <a:lnTo>
                    <a:pt x="451" y="286"/>
                  </a:lnTo>
                  <a:lnTo>
                    <a:pt x="450" y="287"/>
                  </a:lnTo>
                  <a:lnTo>
                    <a:pt x="449" y="288"/>
                  </a:lnTo>
                  <a:lnTo>
                    <a:pt x="447" y="290"/>
                  </a:lnTo>
                  <a:lnTo>
                    <a:pt x="446" y="293"/>
                  </a:lnTo>
                  <a:lnTo>
                    <a:pt x="445" y="297"/>
                  </a:lnTo>
                  <a:lnTo>
                    <a:pt x="444" y="302"/>
                  </a:lnTo>
                  <a:lnTo>
                    <a:pt x="444" y="304"/>
                  </a:lnTo>
                  <a:lnTo>
                    <a:pt x="443" y="307"/>
                  </a:lnTo>
                  <a:lnTo>
                    <a:pt x="441" y="309"/>
                  </a:lnTo>
                  <a:lnTo>
                    <a:pt x="438" y="314"/>
                  </a:lnTo>
                  <a:lnTo>
                    <a:pt x="432" y="321"/>
                  </a:lnTo>
                  <a:lnTo>
                    <a:pt x="429" y="325"/>
                  </a:lnTo>
                  <a:lnTo>
                    <a:pt x="426" y="328"/>
                  </a:lnTo>
                  <a:lnTo>
                    <a:pt x="424" y="330"/>
                  </a:lnTo>
                  <a:lnTo>
                    <a:pt x="421" y="331"/>
                  </a:lnTo>
                  <a:lnTo>
                    <a:pt x="421" y="332"/>
                  </a:lnTo>
                  <a:lnTo>
                    <a:pt x="420" y="332"/>
                  </a:lnTo>
                  <a:lnTo>
                    <a:pt x="419" y="332"/>
                  </a:lnTo>
                  <a:lnTo>
                    <a:pt x="419" y="330"/>
                  </a:lnTo>
                  <a:lnTo>
                    <a:pt x="417" y="330"/>
                  </a:lnTo>
                  <a:lnTo>
                    <a:pt x="417" y="331"/>
                  </a:lnTo>
                  <a:lnTo>
                    <a:pt x="414" y="330"/>
                  </a:lnTo>
                  <a:lnTo>
                    <a:pt x="412" y="329"/>
                  </a:lnTo>
                  <a:lnTo>
                    <a:pt x="411" y="329"/>
                  </a:lnTo>
                  <a:lnTo>
                    <a:pt x="411" y="328"/>
                  </a:lnTo>
                  <a:lnTo>
                    <a:pt x="411" y="327"/>
                  </a:lnTo>
                  <a:lnTo>
                    <a:pt x="411" y="327"/>
                  </a:lnTo>
                  <a:lnTo>
                    <a:pt x="410" y="327"/>
                  </a:lnTo>
                  <a:lnTo>
                    <a:pt x="409" y="327"/>
                  </a:lnTo>
                  <a:lnTo>
                    <a:pt x="409" y="327"/>
                  </a:lnTo>
                  <a:lnTo>
                    <a:pt x="408" y="327"/>
                  </a:lnTo>
                  <a:lnTo>
                    <a:pt x="406" y="329"/>
                  </a:lnTo>
                  <a:lnTo>
                    <a:pt x="405" y="330"/>
                  </a:lnTo>
                  <a:lnTo>
                    <a:pt x="403" y="334"/>
                  </a:lnTo>
                  <a:lnTo>
                    <a:pt x="400" y="340"/>
                  </a:lnTo>
                  <a:lnTo>
                    <a:pt x="396" y="345"/>
                  </a:lnTo>
                  <a:lnTo>
                    <a:pt x="394" y="349"/>
                  </a:lnTo>
                  <a:lnTo>
                    <a:pt x="393" y="351"/>
                  </a:lnTo>
                  <a:lnTo>
                    <a:pt x="391" y="352"/>
                  </a:lnTo>
                  <a:lnTo>
                    <a:pt x="390" y="352"/>
                  </a:lnTo>
                  <a:lnTo>
                    <a:pt x="388" y="354"/>
                  </a:lnTo>
                  <a:lnTo>
                    <a:pt x="386" y="354"/>
                  </a:lnTo>
                  <a:lnTo>
                    <a:pt x="379" y="356"/>
                  </a:lnTo>
                  <a:lnTo>
                    <a:pt x="376" y="357"/>
                  </a:lnTo>
                  <a:lnTo>
                    <a:pt x="372" y="359"/>
                  </a:lnTo>
                  <a:lnTo>
                    <a:pt x="369" y="361"/>
                  </a:lnTo>
                  <a:lnTo>
                    <a:pt x="366" y="362"/>
                  </a:lnTo>
                  <a:lnTo>
                    <a:pt x="365" y="363"/>
                  </a:lnTo>
                  <a:lnTo>
                    <a:pt x="364" y="364"/>
                  </a:lnTo>
                  <a:lnTo>
                    <a:pt x="364" y="365"/>
                  </a:lnTo>
                  <a:lnTo>
                    <a:pt x="363" y="367"/>
                  </a:lnTo>
                  <a:lnTo>
                    <a:pt x="362" y="368"/>
                  </a:lnTo>
                  <a:lnTo>
                    <a:pt x="362" y="369"/>
                  </a:lnTo>
                  <a:lnTo>
                    <a:pt x="362" y="372"/>
                  </a:lnTo>
                  <a:lnTo>
                    <a:pt x="362" y="377"/>
                  </a:lnTo>
                  <a:lnTo>
                    <a:pt x="364" y="391"/>
                  </a:lnTo>
                  <a:lnTo>
                    <a:pt x="364" y="401"/>
                  </a:lnTo>
                  <a:lnTo>
                    <a:pt x="365" y="405"/>
                  </a:lnTo>
                  <a:lnTo>
                    <a:pt x="366" y="411"/>
                  </a:lnTo>
                  <a:lnTo>
                    <a:pt x="366" y="415"/>
                  </a:lnTo>
                  <a:lnTo>
                    <a:pt x="367" y="419"/>
                  </a:lnTo>
                  <a:lnTo>
                    <a:pt x="369" y="423"/>
                  </a:lnTo>
                  <a:lnTo>
                    <a:pt x="371" y="428"/>
                  </a:lnTo>
                  <a:lnTo>
                    <a:pt x="372" y="433"/>
                  </a:lnTo>
                  <a:lnTo>
                    <a:pt x="375" y="438"/>
                  </a:lnTo>
                  <a:lnTo>
                    <a:pt x="376" y="441"/>
                  </a:lnTo>
                  <a:lnTo>
                    <a:pt x="381" y="447"/>
                  </a:lnTo>
                  <a:lnTo>
                    <a:pt x="382" y="451"/>
                  </a:lnTo>
                  <a:lnTo>
                    <a:pt x="383" y="452"/>
                  </a:lnTo>
                  <a:lnTo>
                    <a:pt x="383" y="454"/>
                  </a:lnTo>
                  <a:lnTo>
                    <a:pt x="383" y="455"/>
                  </a:lnTo>
                  <a:lnTo>
                    <a:pt x="382" y="457"/>
                  </a:lnTo>
                  <a:lnTo>
                    <a:pt x="382" y="457"/>
                  </a:lnTo>
                  <a:lnTo>
                    <a:pt x="381" y="458"/>
                  </a:lnTo>
                  <a:lnTo>
                    <a:pt x="381" y="458"/>
                  </a:lnTo>
                  <a:lnTo>
                    <a:pt x="380" y="459"/>
                  </a:lnTo>
                  <a:lnTo>
                    <a:pt x="379" y="459"/>
                  </a:lnTo>
                  <a:lnTo>
                    <a:pt x="377" y="459"/>
                  </a:lnTo>
                  <a:lnTo>
                    <a:pt x="374" y="459"/>
                  </a:lnTo>
                  <a:lnTo>
                    <a:pt x="371" y="457"/>
                  </a:lnTo>
                  <a:lnTo>
                    <a:pt x="363" y="455"/>
                  </a:lnTo>
                  <a:lnTo>
                    <a:pt x="353" y="451"/>
                  </a:lnTo>
                  <a:lnTo>
                    <a:pt x="349" y="450"/>
                  </a:lnTo>
                  <a:lnTo>
                    <a:pt x="346" y="449"/>
                  </a:lnTo>
                  <a:lnTo>
                    <a:pt x="344" y="449"/>
                  </a:lnTo>
                  <a:lnTo>
                    <a:pt x="341" y="449"/>
                  </a:lnTo>
                  <a:lnTo>
                    <a:pt x="339" y="449"/>
                  </a:lnTo>
                  <a:lnTo>
                    <a:pt x="337" y="449"/>
                  </a:lnTo>
                  <a:lnTo>
                    <a:pt x="336" y="450"/>
                  </a:lnTo>
                  <a:lnTo>
                    <a:pt x="334" y="451"/>
                  </a:lnTo>
                  <a:lnTo>
                    <a:pt x="333" y="452"/>
                  </a:lnTo>
                  <a:lnTo>
                    <a:pt x="331" y="453"/>
                  </a:lnTo>
                  <a:lnTo>
                    <a:pt x="331" y="454"/>
                  </a:lnTo>
                  <a:lnTo>
                    <a:pt x="329" y="456"/>
                  </a:lnTo>
                  <a:lnTo>
                    <a:pt x="329" y="457"/>
                  </a:lnTo>
                  <a:lnTo>
                    <a:pt x="328" y="460"/>
                  </a:lnTo>
                  <a:lnTo>
                    <a:pt x="328" y="462"/>
                  </a:lnTo>
                  <a:lnTo>
                    <a:pt x="327" y="464"/>
                  </a:lnTo>
                  <a:lnTo>
                    <a:pt x="327" y="467"/>
                  </a:lnTo>
                  <a:lnTo>
                    <a:pt x="327" y="470"/>
                  </a:lnTo>
                  <a:lnTo>
                    <a:pt x="327" y="473"/>
                  </a:lnTo>
                  <a:lnTo>
                    <a:pt x="328" y="480"/>
                  </a:lnTo>
                  <a:lnTo>
                    <a:pt x="329" y="487"/>
                  </a:lnTo>
                  <a:lnTo>
                    <a:pt x="330" y="492"/>
                  </a:lnTo>
                  <a:lnTo>
                    <a:pt x="332" y="501"/>
                  </a:lnTo>
                  <a:lnTo>
                    <a:pt x="333" y="504"/>
                  </a:lnTo>
                  <a:lnTo>
                    <a:pt x="334" y="506"/>
                  </a:lnTo>
                  <a:lnTo>
                    <a:pt x="334" y="509"/>
                  </a:lnTo>
                  <a:lnTo>
                    <a:pt x="334" y="510"/>
                  </a:lnTo>
                  <a:lnTo>
                    <a:pt x="333" y="512"/>
                  </a:lnTo>
                  <a:lnTo>
                    <a:pt x="332" y="514"/>
                  </a:lnTo>
                  <a:lnTo>
                    <a:pt x="332" y="516"/>
                  </a:lnTo>
                  <a:lnTo>
                    <a:pt x="331" y="517"/>
                  </a:lnTo>
                  <a:lnTo>
                    <a:pt x="330" y="519"/>
                  </a:lnTo>
                  <a:lnTo>
                    <a:pt x="325" y="526"/>
                  </a:lnTo>
                  <a:lnTo>
                    <a:pt x="321" y="532"/>
                  </a:lnTo>
                  <a:lnTo>
                    <a:pt x="314" y="542"/>
                  </a:lnTo>
                  <a:lnTo>
                    <a:pt x="311" y="545"/>
                  </a:lnTo>
                  <a:lnTo>
                    <a:pt x="310" y="548"/>
                  </a:lnTo>
                  <a:lnTo>
                    <a:pt x="309" y="551"/>
                  </a:lnTo>
                  <a:lnTo>
                    <a:pt x="306" y="555"/>
                  </a:lnTo>
                  <a:lnTo>
                    <a:pt x="306" y="556"/>
                  </a:lnTo>
                  <a:lnTo>
                    <a:pt x="306" y="559"/>
                  </a:lnTo>
                  <a:lnTo>
                    <a:pt x="306" y="560"/>
                  </a:lnTo>
                  <a:lnTo>
                    <a:pt x="306" y="561"/>
                  </a:lnTo>
                  <a:lnTo>
                    <a:pt x="305" y="561"/>
                  </a:lnTo>
                  <a:lnTo>
                    <a:pt x="304" y="561"/>
                  </a:lnTo>
                  <a:lnTo>
                    <a:pt x="301" y="561"/>
                  </a:lnTo>
                  <a:lnTo>
                    <a:pt x="298" y="560"/>
                  </a:lnTo>
                  <a:lnTo>
                    <a:pt x="288" y="559"/>
                  </a:lnTo>
                  <a:lnTo>
                    <a:pt x="283" y="558"/>
                  </a:lnTo>
                  <a:lnTo>
                    <a:pt x="279" y="557"/>
                  </a:lnTo>
                  <a:lnTo>
                    <a:pt x="274" y="556"/>
                  </a:lnTo>
                  <a:lnTo>
                    <a:pt x="263" y="556"/>
                  </a:lnTo>
                  <a:lnTo>
                    <a:pt x="259" y="556"/>
                  </a:lnTo>
                  <a:lnTo>
                    <a:pt x="254" y="555"/>
                  </a:lnTo>
                  <a:lnTo>
                    <a:pt x="249" y="554"/>
                  </a:lnTo>
                  <a:lnTo>
                    <a:pt x="244" y="552"/>
                  </a:lnTo>
                  <a:lnTo>
                    <a:pt x="241" y="551"/>
                  </a:lnTo>
                  <a:lnTo>
                    <a:pt x="239" y="550"/>
                  </a:lnTo>
                  <a:lnTo>
                    <a:pt x="237" y="549"/>
                  </a:lnTo>
                  <a:lnTo>
                    <a:pt x="236" y="546"/>
                  </a:lnTo>
                  <a:lnTo>
                    <a:pt x="232" y="541"/>
                  </a:lnTo>
                  <a:lnTo>
                    <a:pt x="232" y="539"/>
                  </a:lnTo>
                  <a:lnTo>
                    <a:pt x="230" y="538"/>
                  </a:lnTo>
                  <a:lnTo>
                    <a:pt x="229" y="536"/>
                  </a:lnTo>
                  <a:lnTo>
                    <a:pt x="227" y="536"/>
                  </a:lnTo>
                  <a:lnTo>
                    <a:pt x="217" y="533"/>
                  </a:lnTo>
                  <a:lnTo>
                    <a:pt x="215" y="532"/>
                  </a:lnTo>
                  <a:lnTo>
                    <a:pt x="212" y="531"/>
                  </a:lnTo>
                  <a:lnTo>
                    <a:pt x="210" y="529"/>
                  </a:lnTo>
                  <a:lnTo>
                    <a:pt x="209" y="527"/>
                  </a:lnTo>
                  <a:lnTo>
                    <a:pt x="207" y="525"/>
                  </a:lnTo>
                  <a:lnTo>
                    <a:pt x="207" y="523"/>
                  </a:lnTo>
                  <a:lnTo>
                    <a:pt x="205" y="517"/>
                  </a:lnTo>
                  <a:lnTo>
                    <a:pt x="204" y="515"/>
                  </a:lnTo>
                  <a:lnTo>
                    <a:pt x="204" y="513"/>
                  </a:lnTo>
                  <a:lnTo>
                    <a:pt x="203" y="512"/>
                  </a:lnTo>
                  <a:lnTo>
                    <a:pt x="202" y="511"/>
                  </a:lnTo>
                  <a:lnTo>
                    <a:pt x="201" y="511"/>
                  </a:lnTo>
                  <a:lnTo>
                    <a:pt x="199" y="510"/>
                  </a:lnTo>
                  <a:lnTo>
                    <a:pt x="197" y="510"/>
                  </a:lnTo>
                  <a:lnTo>
                    <a:pt x="191" y="509"/>
                  </a:lnTo>
                  <a:lnTo>
                    <a:pt x="188" y="509"/>
                  </a:lnTo>
                  <a:lnTo>
                    <a:pt x="180" y="507"/>
                  </a:lnTo>
                  <a:lnTo>
                    <a:pt x="169" y="505"/>
                  </a:lnTo>
                  <a:lnTo>
                    <a:pt x="165" y="504"/>
                  </a:lnTo>
                  <a:lnTo>
                    <a:pt x="163" y="503"/>
                  </a:lnTo>
                  <a:lnTo>
                    <a:pt x="162" y="502"/>
                  </a:lnTo>
                  <a:lnTo>
                    <a:pt x="159" y="501"/>
                  </a:lnTo>
                  <a:lnTo>
                    <a:pt x="158" y="500"/>
                  </a:lnTo>
                  <a:lnTo>
                    <a:pt x="157" y="499"/>
                  </a:lnTo>
                  <a:lnTo>
                    <a:pt x="156" y="497"/>
                  </a:lnTo>
                  <a:lnTo>
                    <a:pt x="152" y="492"/>
                  </a:lnTo>
                  <a:lnTo>
                    <a:pt x="150" y="489"/>
                  </a:lnTo>
                  <a:lnTo>
                    <a:pt x="148" y="487"/>
                  </a:lnTo>
                  <a:lnTo>
                    <a:pt x="143" y="483"/>
                  </a:lnTo>
                  <a:lnTo>
                    <a:pt x="138" y="479"/>
                  </a:lnTo>
                  <a:lnTo>
                    <a:pt x="136" y="477"/>
                  </a:lnTo>
                  <a:lnTo>
                    <a:pt x="134" y="474"/>
                  </a:lnTo>
                  <a:lnTo>
                    <a:pt x="132" y="471"/>
                  </a:lnTo>
                  <a:lnTo>
                    <a:pt x="130" y="467"/>
                  </a:lnTo>
                  <a:lnTo>
                    <a:pt x="129" y="463"/>
                  </a:lnTo>
                  <a:lnTo>
                    <a:pt x="127" y="455"/>
                  </a:lnTo>
                  <a:lnTo>
                    <a:pt x="125" y="452"/>
                  </a:lnTo>
                  <a:lnTo>
                    <a:pt x="124" y="447"/>
                  </a:lnTo>
                  <a:lnTo>
                    <a:pt x="121" y="443"/>
                  </a:lnTo>
                  <a:lnTo>
                    <a:pt x="119" y="439"/>
                  </a:lnTo>
                  <a:lnTo>
                    <a:pt x="114" y="432"/>
                  </a:lnTo>
                  <a:lnTo>
                    <a:pt x="112" y="430"/>
                  </a:lnTo>
                  <a:lnTo>
                    <a:pt x="107" y="426"/>
                  </a:lnTo>
                  <a:lnTo>
                    <a:pt x="105" y="424"/>
                  </a:lnTo>
                  <a:lnTo>
                    <a:pt x="104" y="422"/>
                  </a:lnTo>
                  <a:lnTo>
                    <a:pt x="102" y="420"/>
                  </a:lnTo>
                  <a:lnTo>
                    <a:pt x="101" y="417"/>
                  </a:lnTo>
                  <a:lnTo>
                    <a:pt x="100" y="416"/>
                  </a:lnTo>
                  <a:lnTo>
                    <a:pt x="99" y="414"/>
                  </a:lnTo>
                  <a:lnTo>
                    <a:pt x="99" y="412"/>
                  </a:lnTo>
                  <a:lnTo>
                    <a:pt x="99" y="410"/>
                  </a:lnTo>
                  <a:lnTo>
                    <a:pt x="99" y="407"/>
                  </a:lnTo>
                  <a:lnTo>
                    <a:pt x="98" y="404"/>
                  </a:lnTo>
                  <a:lnTo>
                    <a:pt x="97" y="402"/>
                  </a:lnTo>
                  <a:lnTo>
                    <a:pt x="97" y="399"/>
                  </a:lnTo>
                  <a:lnTo>
                    <a:pt x="94" y="392"/>
                  </a:lnTo>
                  <a:lnTo>
                    <a:pt x="92" y="384"/>
                  </a:lnTo>
                  <a:lnTo>
                    <a:pt x="89" y="379"/>
                  </a:lnTo>
                  <a:lnTo>
                    <a:pt x="87" y="374"/>
                  </a:lnTo>
                  <a:lnTo>
                    <a:pt x="79" y="361"/>
                  </a:lnTo>
                  <a:lnTo>
                    <a:pt x="77" y="357"/>
                  </a:lnTo>
                  <a:lnTo>
                    <a:pt x="75" y="353"/>
                  </a:lnTo>
                  <a:lnTo>
                    <a:pt x="72" y="349"/>
                  </a:lnTo>
                  <a:lnTo>
                    <a:pt x="69" y="345"/>
                  </a:lnTo>
                  <a:lnTo>
                    <a:pt x="64" y="339"/>
                  </a:lnTo>
                  <a:lnTo>
                    <a:pt x="57" y="332"/>
                  </a:lnTo>
                  <a:lnTo>
                    <a:pt x="55" y="330"/>
                  </a:lnTo>
                  <a:lnTo>
                    <a:pt x="54" y="328"/>
                  </a:lnTo>
                  <a:lnTo>
                    <a:pt x="53" y="326"/>
                  </a:lnTo>
                  <a:lnTo>
                    <a:pt x="52" y="324"/>
                  </a:lnTo>
                  <a:lnTo>
                    <a:pt x="51" y="322"/>
                  </a:lnTo>
                  <a:lnTo>
                    <a:pt x="51" y="320"/>
                  </a:lnTo>
                  <a:lnTo>
                    <a:pt x="50" y="317"/>
                  </a:lnTo>
                  <a:lnTo>
                    <a:pt x="50" y="313"/>
                  </a:lnTo>
                  <a:lnTo>
                    <a:pt x="52" y="306"/>
                  </a:lnTo>
                  <a:lnTo>
                    <a:pt x="53" y="295"/>
                  </a:lnTo>
                  <a:lnTo>
                    <a:pt x="54" y="292"/>
                  </a:lnTo>
                  <a:lnTo>
                    <a:pt x="55" y="288"/>
                  </a:lnTo>
                  <a:lnTo>
                    <a:pt x="58" y="280"/>
                  </a:lnTo>
                  <a:lnTo>
                    <a:pt x="59" y="277"/>
                  </a:lnTo>
                  <a:lnTo>
                    <a:pt x="60" y="274"/>
                  </a:lnTo>
                  <a:lnTo>
                    <a:pt x="61" y="269"/>
                  </a:lnTo>
                  <a:lnTo>
                    <a:pt x="61" y="267"/>
                  </a:lnTo>
                  <a:lnTo>
                    <a:pt x="62" y="264"/>
                  </a:lnTo>
                  <a:lnTo>
                    <a:pt x="65" y="260"/>
                  </a:lnTo>
                  <a:lnTo>
                    <a:pt x="66" y="259"/>
                  </a:lnTo>
                  <a:lnTo>
                    <a:pt x="66" y="258"/>
                  </a:lnTo>
                  <a:lnTo>
                    <a:pt x="67" y="257"/>
                  </a:lnTo>
                  <a:lnTo>
                    <a:pt x="67" y="255"/>
                  </a:lnTo>
                  <a:lnTo>
                    <a:pt x="67" y="253"/>
                  </a:lnTo>
                  <a:lnTo>
                    <a:pt x="66" y="249"/>
                  </a:lnTo>
                  <a:lnTo>
                    <a:pt x="66" y="247"/>
                  </a:lnTo>
                  <a:lnTo>
                    <a:pt x="67" y="245"/>
                  </a:lnTo>
                  <a:lnTo>
                    <a:pt x="68" y="240"/>
                  </a:lnTo>
                  <a:lnTo>
                    <a:pt x="69" y="239"/>
                  </a:lnTo>
                  <a:lnTo>
                    <a:pt x="69" y="237"/>
                  </a:lnTo>
                  <a:lnTo>
                    <a:pt x="68" y="236"/>
                  </a:lnTo>
                  <a:lnTo>
                    <a:pt x="68" y="235"/>
                  </a:lnTo>
                  <a:lnTo>
                    <a:pt x="67" y="232"/>
                  </a:lnTo>
                  <a:lnTo>
                    <a:pt x="65" y="230"/>
                  </a:lnTo>
                  <a:lnTo>
                    <a:pt x="64" y="230"/>
                  </a:lnTo>
                  <a:lnTo>
                    <a:pt x="63" y="228"/>
                  </a:lnTo>
                  <a:lnTo>
                    <a:pt x="59" y="225"/>
                  </a:lnTo>
                  <a:lnTo>
                    <a:pt x="57" y="223"/>
                  </a:lnTo>
                  <a:lnTo>
                    <a:pt x="55" y="222"/>
                  </a:lnTo>
                  <a:lnTo>
                    <a:pt x="54" y="220"/>
                  </a:lnTo>
                  <a:lnTo>
                    <a:pt x="54" y="219"/>
                  </a:lnTo>
                  <a:lnTo>
                    <a:pt x="54" y="217"/>
                  </a:lnTo>
                  <a:lnTo>
                    <a:pt x="55" y="216"/>
                  </a:lnTo>
                  <a:lnTo>
                    <a:pt x="57" y="214"/>
                  </a:lnTo>
                  <a:lnTo>
                    <a:pt x="57" y="212"/>
                  </a:lnTo>
                  <a:lnTo>
                    <a:pt x="57" y="210"/>
                  </a:lnTo>
                  <a:lnTo>
                    <a:pt x="57" y="208"/>
                  </a:lnTo>
                  <a:lnTo>
                    <a:pt x="56" y="206"/>
                  </a:lnTo>
                  <a:lnTo>
                    <a:pt x="53" y="199"/>
                  </a:lnTo>
                  <a:lnTo>
                    <a:pt x="52" y="195"/>
                  </a:lnTo>
                  <a:lnTo>
                    <a:pt x="51" y="192"/>
                  </a:lnTo>
                  <a:lnTo>
                    <a:pt x="50" y="187"/>
                  </a:lnTo>
                  <a:lnTo>
                    <a:pt x="49" y="185"/>
                  </a:lnTo>
                  <a:lnTo>
                    <a:pt x="48" y="182"/>
                  </a:lnTo>
                  <a:lnTo>
                    <a:pt x="45" y="177"/>
                  </a:lnTo>
                  <a:lnTo>
                    <a:pt x="44" y="175"/>
                  </a:lnTo>
                  <a:lnTo>
                    <a:pt x="43" y="172"/>
                  </a:lnTo>
                  <a:lnTo>
                    <a:pt x="43" y="172"/>
                  </a:lnTo>
                  <a:lnTo>
                    <a:pt x="42" y="170"/>
                  </a:lnTo>
                  <a:lnTo>
                    <a:pt x="42" y="169"/>
                  </a:lnTo>
                  <a:lnTo>
                    <a:pt x="43" y="167"/>
                  </a:lnTo>
                  <a:lnTo>
                    <a:pt x="43" y="167"/>
                  </a:lnTo>
                  <a:lnTo>
                    <a:pt x="44" y="164"/>
                  </a:lnTo>
                  <a:lnTo>
                    <a:pt x="46" y="162"/>
                  </a:lnTo>
                  <a:lnTo>
                    <a:pt x="48" y="160"/>
                  </a:lnTo>
                  <a:lnTo>
                    <a:pt x="49" y="158"/>
                  </a:lnTo>
                  <a:lnTo>
                    <a:pt x="51" y="157"/>
                  </a:lnTo>
                  <a:lnTo>
                    <a:pt x="53" y="157"/>
                  </a:lnTo>
                  <a:lnTo>
                    <a:pt x="57" y="155"/>
                  </a:lnTo>
                  <a:lnTo>
                    <a:pt x="59" y="154"/>
                  </a:lnTo>
                  <a:lnTo>
                    <a:pt x="61" y="152"/>
                  </a:lnTo>
                  <a:lnTo>
                    <a:pt x="63" y="150"/>
                  </a:lnTo>
                  <a:lnTo>
                    <a:pt x="64" y="148"/>
                  </a:lnTo>
                  <a:lnTo>
                    <a:pt x="66" y="145"/>
                  </a:lnTo>
                  <a:lnTo>
                    <a:pt x="67" y="142"/>
                  </a:lnTo>
                  <a:lnTo>
                    <a:pt x="69" y="140"/>
                  </a:lnTo>
                  <a:lnTo>
                    <a:pt x="69" y="138"/>
                  </a:lnTo>
                  <a:lnTo>
                    <a:pt x="69" y="136"/>
                  </a:lnTo>
                  <a:lnTo>
                    <a:pt x="69" y="135"/>
                  </a:lnTo>
                  <a:lnTo>
                    <a:pt x="69" y="134"/>
                  </a:lnTo>
                  <a:lnTo>
                    <a:pt x="69" y="132"/>
                  </a:lnTo>
                  <a:lnTo>
                    <a:pt x="68" y="132"/>
                  </a:lnTo>
                  <a:lnTo>
                    <a:pt x="67" y="131"/>
                  </a:lnTo>
                  <a:lnTo>
                    <a:pt x="67" y="131"/>
                  </a:lnTo>
                  <a:lnTo>
                    <a:pt x="66" y="130"/>
                  </a:lnTo>
                  <a:lnTo>
                    <a:pt x="62" y="130"/>
                  </a:lnTo>
                  <a:lnTo>
                    <a:pt x="60" y="129"/>
                  </a:lnTo>
                  <a:lnTo>
                    <a:pt x="59" y="128"/>
                  </a:lnTo>
                  <a:lnTo>
                    <a:pt x="57" y="127"/>
                  </a:lnTo>
                  <a:lnTo>
                    <a:pt x="53" y="122"/>
                  </a:lnTo>
                  <a:lnTo>
                    <a:pt x="53" y="121"/>
                  </a:lnTo>
                  <a:lnTo>
                    <a:pt x="52" y="120"/>
                  </a:lnTo>
                  <a:lnTo>
                    <a:pt x="52" y="118"/>
                  </a:lnTo>
                  <a:lnTo>
                    <a:pt x="52" y="117"/>
                  </a:lnTo>
                  <a:lnTo>
                    <a:pt x="52" y="116"/>
                  </a:lnTo>
                  <a:lnTo>
                    <a:pt x="52" y="115"/>
                  </a:lnTo>
                  <a:lnTo>
                    <a:pt x="54" y="114"/>
                  </a:lnTo>
                  <a:lnTo>
                    <a:pt x="54" y="113"/>
                  </a:lnTo>
                  <a:lnTo>
                    <a:pt x="54" y="112"/>
                  </a:lnTo>
                  <a:lnTo>
                    <a:pt x="54" y="112"/>
                  </a:lnTo>
                  <a:lnTo>
                    <a:pt x="53" y="111"/>
                  </a:lnTo>
                  <a:lnTo>
                    <a:pt x="52" y="110"/>
                  </a:lnTo>
                  <a:lnTo>
                    <a:pt x="50" y="110"/>
                  </a:lnTo>
                  <a:lnTo>
                    <a:pt x="49" y="109"/>
                  </a:lnTo>
                  <a:lnTo>
                    <a:pt x="46" y="108"/>
                  </a:lnTo>
                  <a:lnTo>
                    <a:pt x="44" y="108"/>
                  </a:lnTo>
                  <a:lnTo>
                    <a:pt x="43" y="107"/>
                  </a:lnTo>
                  <a:lnTo>
                    <a:pt x="41" y="106"/>
                  </a:lnTo>
                  <a:lnTo>
                    <a:pt x="39" y="105"/>
                  </a:lnTo>
                  <a:lnTo>
                    <a:pt x="37" y="102"/>
                  </a:lnTo>
                  <a:lnTo>
                    <a:pt x="34" y="97"/>
                  </a:lnTo>
                  <a:lnTo>
                    <a:pt x="33" y="97"/>
                  </a:lnTo>
                  <a:lnTo>
                    <a:pt x="32" y="96"/>
                  </a:lnTo>
                  <a:lnTo>
                    <a:pt x="30" y="95"/>
                  </a:lnTo>
                  <a:lnTo>
                    <a:pt x="27" y="92"/>
                  </a:lnTo>
                  <a:lnTo>
                    <a:pt x="25" y="91"/>
                  </a:lnTo>
                  <a:lnTo>
                    <a:pt x="22" y="90"/>
                  </a:lnTo>
                  <a:lnTo>
                    <a:pt x="19" y="89"/>
                  </a:lnTo>
                  <a:lnTo>
                    <a:pt x="17" y="87"/>
                  </a:lnTo>
                  <a:lnTo>
                    <a:pt x="14" y="87"/>
                  </a:lnTo>
                  <a:lnTo>
                    <a:pt x="5" y="86"/>
                  </a:lnTo>
                  <a:lnTo>
                    <a:pt x="3" y="85"/>
                  </a:lnTo>
                  <a:lnTo>
                    <a:pt x="2" y="85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2" y="82"/>
                  </a:lnTo>
                  <a:lnTo>
                    <a:pt x="5" y="77"/>
                  </a:lnTo>
                  <a:lnTo>
                    <a:pt x="6" y="75"/>
                  </a:lnTo>
                  <a:lnTo>
                    <a:pt x="7" y="73"/>
                  </a:lnTo>
                  <a:lnTo>
                    <a:pt x="9" y="72"/>
                  </a:lnTo>
                  <a:lnTo>
                    <a:pt x="10" y="70"/>
                  </a:lnTo>
                  <a:lnTo>
                    <a:pt x="12" y="70"/>
                  </a:lnTo>
                  <a:lnTo>
                    <a:pt x="15" y="68"/>
                  </a:lnTo>
                  <a:lnTo>
                    <a:pt x="17" y="67"/>
                  </a:lnTo>
                  <a:lnTo>
                    <a:pt x="19" y="67"/>
                  </a:lnTo>
                  <a:lnTo>
                    <a:pt x="22" y="67"/>
                  </a:lnTo>
                  <a:lnTo>
                    <a:pt x="29" y="67"/>
                  </a:lnTo>
                  <a:lnTo>
                    <a:pt x="32" y="67"/>
                  </a:lnTo>
                  <a:lnTo>
                    <a:pt x="34" y="66"/>
                  </a:lnTo>
                  <a:lnTo>
                    <a:pt x="37" y="65"/>
                  </a:lnTo>
                  <a:lnTo>
                    <a:pt x="39" y="65"/>
                  </a:lnTo>
                  <a:lnTo>
                    <a:pt x="42" y="63"/>
                  </a:lnTo>
                  <a:lnTo>
                    <a:pt x="44" y="61"/>
                  </a:lnTo>
                  <a:lnTo>
                    <a:pt x="48" y="57"/>
                  </a:lnTo>
                  <a:lnTo>
                    <a:pt x="49" y="56"/>
                  </a:lnTo>
                  <a:lnTo>
                    <a:pt x="51" y="55"/>
                  </a:lnTo>
                  <a:lnTo>
                    <a:pt x="52" y="55"/>
                  </a:lnTo>
                  <a:lnTo>
                    <a:pt x="53" y="55"/>
                  </a:lnTo>
                  <a:lnTo>
                    <a:pt x="55" y="55"/>
                  </a:lnTo>
                  <a:lnTo>
                    <a:pt x="57" y="55"/>
                  </a:lnTo>
                  <a:lnTo>
                    <a:pt x="59" y="55"/>
                  </a:lnTo>
                  <a:lnTo>
                    <a:pt x="59" y="54"/>
                  </a:lnTo>
                  <a:lnTo>
                    <a:pt x="61" y="53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3" y="50"/>
                  </a:lnTo>
                  <a:lnTo>
                    <a:pt x="64" y="47"/>
                  </a:lnTo>
                  <a:lnTo>
                    <a:pt x="67" y="43"/>
                  </a:lnTo>
                  <a:lnTo>
                    <a:pt x="69" y="41"/>
                  </a:lnTo>
                  <a:lnTo>
                    <a:pt x="70" y="37"/>
                  </a:lnTo>
                  <a:lnTo>
                    <a:pt x="72" y="32"/>
                  </a:lnTo>
                  <a:lnTo>
                    <a:pt x="73" y="30"/>
                  </a:lnTo>
                  <a:lnTo>
                    <a:pt x="74" y="25"/>
                  </a:lnTo>
                  <a:lnTo>
                    <a:pt x="74" y="23"/>
                  </a:lnTo>
                  <a:lnTo>
                    <a:pt x="76" y="21"/>
                  </a:lnTo>
                  <a:lnTo>
                    <a:pt x="77" y="20"/>
                  </a:lnTo>
                  <a:lnTo>
                    <a:pt x="79" y="18"/>
                  </a:lnTo>
                  <a:lnTo>
                    <a:pt x="82" y="17"/>
                  </a:lnTo>
                  <a:lnTo>
                    <a:pt x="96" y="10"/>
                  </a:lnTo>
                  <a:lnTo>
                    <a:pt x="102" y="7"/>
                  </a:lnTo>
                  <a:lnTo>
                    <a:pt x="105" y="5"/>
                  </a:lnTo>
                  <a:lnTo>
                    <a:pt x="108" y="5"/>
                  </a:lnTo>
                  <a:lnTo>
                    <a:pt x="119" y="1"/>
                  </a:lnTo>
                  <a:lnTo>
                    <a:pt x="120" y="1"/>
                  </a:lnTo>
                  <a:close/>
                </a:path>
              </a:pathLst>
            </a:custGeom>
            <a:solidFill>
              <a:srgbClr val="595959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101">
              <a:extLst>
                <a:ext uri="{FF2B5EF4-FFF2-40B4-BE49-F238E27FC236}">
                  <a16:creationId xmlns:a16="http://schemas.microsoft.com/office/drawing/2014/main" id="{B367E0D4-C980-06B0-B3D9-7253ECDF40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186" y="5395750"/>
              <a:ext cx="1076325" cy="930275"/>
            </a:xfrm>
            <a:custGeom>
              <a:avLst/>
              <a:gdLst>
                <a:gd name="T0" fmla="*/ 141 w 678"/>
                <a:gd name="T1" fmla="*/ 7 h 586"/>
                <a:gd name="T2" fmla="*/ 179 w 678"/>
                <a:gd name="T3" fmla="*/ 19 h 586"/>
                <a:gd name="T4" fmla="*/ 197 w 678"/>
                <a:gd name="T5" fmla="*/ 39 h 586"/>
                <a:gd name="T6" fmla="*/ 244 w 678"/>
                <a:gd name="T7" fmla="*/ 42 h 586"/>
                <a:gd name="T8" fmla="*/ 296 w 678"/>
                <a:gd name="T9" fmla="*/ 62 h 586"/>
                <a:gd name="T10" fmla="*/ 324 w 678"/>
                <a:gd name="T11" fmla="*/ 74 h 586"/>
                <a:gd name="T12" fmla="*/ 364 w 678"/>
                <a:gd name="T13" fmla="*/ 65 h 586"/>
                <a:gd name="T14" fmla="*/ 394 w 678"/>
                <a:gd name="T15" fmla="*/ 40 h 586"/>
                <a:gd name="T16" fmla="*/ 410 w 678"/>
                <a:gd name="T17" fmla="*/ 47 h 586"/>
                <a:gd name="T18" fmla="*/ 434 w 678"/>
                <a:gd name="T19" fmla="*/ 51 h 586"/>
                <a:gd name="T20" fmla="*/ 447 w 678"/>
                <a:gd name="T21" fmla="*/ 68 h 586"/>
                <a:gd name="T22" fmla="*/ 470 w 678"/>
                <a:gd name="T23" fmla="*/ 95 h 586"/>
                <a:gd name="T24" fmla="*/ 510 w 678"/>
                <a:gd name="T25" fmla="*/ 107 h 586"/>
                <a:gd name="T26" fmla="*/ 601 w 678"/>
                <a:gd name="T27" fmla="*/ 105 h 586"/>
                <a:gd name="T28" fmla="*/ 629 w 678"/>
                <a:gd name="T29" fmla="*/ 94 h 586"/>
                <a:gd name="T30" fmla="*/ 644 w 678"/>
                <a:gd name="T31" fmla="*/ 75 h 586"/>
                <a:gd name="T32" fmla="*/ 652 w 678"/>
                <a:gd name="T33" fmla="*/ 92 h 586"/>
                <a:gd name="T34" fmla="*/ 652 w 678"/>
                <a:gd name="T35" fmla="*/ 145 h 586"/>
                <a:gd name="T36" fmla="*/ 677 w 678"/>
                <a:gd name="T37" fmla="*/ 182 h 586"/>
                <a:gd name="T38" fmla="*/ 668 w 678"/>
                <a:gd name="T39" fmla="*/ 201 h 586"/>
                <a:gd name="T40" fmla="*/ 639 w 678"/>
                <a:gd name="T41" fmla="*/ 226 h 586"/>
                <a:gd name="T42" fmla="*/ 606 w 678"/>
                <a:gd name="T43" fmla="*/ 244 h 586"/>
                <a:gd name="T44" fmla="*/ 591 w 678"/>
                <a:gd name="T45" fmla="*/ 274 h 586"/>
                <a:gd name="T46" fmla="*/ 584 w 678"/>
                <a:gd name="T47" fmla="*/ 312 h 586"/>
                <a:gd name="T48" fmla="*/ 574 w 678"/>
                <a:gd name="T49" fmla="*/ 336 h 586"/>
                <a:gd name="T50" fmla="*/ 585 w 678"/>
                <a:gd name="T51" fmla="*/ 365 h 586"/>
                <a:gd name="T52" fmla="*/ 584 w 678"/>
                <a:gd name="T53" fmla="*/ 379 h 586"/>
                <a:gd name="T54" fmla="*/ 570 w 678"/>
                <a:gd name="T55" fmla="*/ 385 h 586"/>
                <a:gd name="T56" fmla="*/ 527 w 678"/>
                <a:gd name="T57" fmla="*/ 367 h 586"/>
                <a:gd name="T58" fmla="*/ 474 w 678"/>
                <a:gd name="T59" fmla="*/ 367 h 586"/>
                <a:gd name="T60" fmla="*/ 411 w 678"/>
                <a:gd name="T61" fmla="*/ 379 h 586"/>
                <a:gd name="T62" fmla="*/ 379 w 678"/>
                <a:gd name="T63" fmla="*/ 379 h 586"/>
                <a:gd name="T64" fmla="*/ 376 w 678"/>
                <a:gd name="T65" fmla="*/ 409 h 586"/>
                <a:gd name="T66" fmla="*/ 384 w 678"/>
                <a:gd name="T67" fmla="*/ 464 h 586"/>
                <a:gd name="T68" fmla="*/ 393 w 678"/>
                <a:gd name="T69" fmla="*/ 515 h 586"/>
                <a:gd name="T70" fmla="*/ 375 w 678"/>
                <a:gd name="T71" fmla="*/ 559 h 586"/>
                <a:gd name="T72" fmla="*/ 347 w 678"/>
                <a:gd name="T73" fmla="*/ 573 h 586"/>
                <a:gd name="T74" fmla="*/ 326 w 678"/>
                <a:gd name="T75" fmla="*/ 576 h 586"/>
                <a:gd name="T76" fmla="*/ 281 w 678"/>
                <a:gd name="T77" fmla="*/ 551 h 586"/>
                <a:gd name="T78" fmla="*/ 243 w 678"/>
                <a:gd name="T79" fmla="*/ 531 h 586"/>
                <a:gd name="T80" fmla="*/ 226 w 678"/>
                <a:gd name="T81" fmla="*/ 477 h 586"/>
                <a:gd name="T82" fmla="*/ 203 w 678"/>
                <a:gd name="T83" fmla="*/ 454 h 586"/>
                <a:gd name="T84" fmla="*/ 181 w 678"/>
                <a:gd name="T85" fmla="*/ 402 h 586"/>
                <a:gd name="T86" fmla="*/ 148 w 678"/>
                <a:gd name="T87" fmla="*/ 394 h 586"/>
                <a:gd name="T88" fmla="*/ 115 w 678"/>
                <a:gd name="T89" fmla="*/ 384 h 586"/>
                <a:gd name="T90" fmla="*/ 75 w 678"/>
                <a:gd name="T91" fmla="*/ 308 h 586"/>
                <a:gd name="T92" fmla="*/ 57 w 678"/>
                <a:gd name="T93" fmla="*/ 301 h 586"/>
                <a:gd name="T94" fmla="*/ 34 w 678"/>
                <a:gd name="T95" fmla="*/ 275 h 586"/>
                <a:gd name="T96" fmla="*/ 8 w 678"/>
                <a:gd name="T97" fmla="*/ 270 h 586"/>
                <a:gd name="T98" fmla="*/ 0 w 678"/>
                <a:gd name="T99" fmla="*/ 232 h 586"/>
                <a:gd name="T100" fmla="*/ 13 w 678"/>
                <a:gd name="T101" fmla="*/ 184 h 586"/>
                <a:gd name="T102" fmla="*/ 40 w 678"/>
                <a:gd name="T103" fmla="*/ 159 h 586"/>
                <a:gd name="T104" fmla="*/ 56 w 678"/>
                <a:gd name="T105" fmla="*/ 140 h 586"/>
                <a:gd name="T106" fmla="*/ 47 w 678"/>
                <a:gd name="T107" fmla="*/ 91 h 586"/>
                <a:gd name="T108" fmla="*/ 52 w 678"/>
                <a:gd name="T109" fmla="*/ 40 h 586"/>
                <a:gd name="T110" fmla="*/ 74 w 678"/>
                <a:gd name="T111" fmla="*/ 27 h 586"/>
                <a:gd name="T112" fmla="*/ 99 w 678"/>
                <a:gd name="T113" fmla="*/ 22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78" h="586">
                  <a:moveTo>
                    <a:pt x="132" y="0"/>
                  </a:moveTo>
                  <a:lnTo>
                    <a:pt x="135" y="2"/>
                  </a:lnTo>
                  <a:lnTo>
                    <a:pt x="137" y="1"/>
                  </a:lnTo>
                  <a:lnTo>
                    <a:pt x="137" y="1"/>
                  </a:lnTo>
                  <a:lnTo>
                    <a:pt x="138" y="2"/>
                  </a:lnTo>
                  <a:lnTo>
                    <a:pt x="139" y="2"/>
                  </a:lnTo>
                  <a:lnTo>
                    <a:pt x="140" y="5"/>
                  </a:lnTo>
                  <a:lnTo>
                    <a:pt x="140" y="6"/>
                  </a:lnTo>
                  <a:lnTo>
                    <a:pt x="140" y="6"/>
                  </a:lnTo>
                  <a:lnTo>
                    <a:pt x="141" y="7"/>
                  </a:lnTo>
                  <a:lnTo>
                    <a:pt x="143" y="8"/>
                  </a:lnTo>
                  <a:lnTo>
                    <a:pt x="145" y="9"/>
                  </a:lnTo>
                  <a:lnTo>
                    <a:pt x="147" y="10"/>
                  </a:lnTo>
                  <a:lnTo>
                    <a:pt x="150" y="10"/>
                  </a:lnTo>
                  <a:lnTo>
                    <a:pt x="161" y="12"/>
                  </a:lnTo>
                  <a:lnTo>
                    <a:pt x="167" y="14"/>
                  </a:lnTo>
                  <a:lnTo>
                    <a:pt x="171" y="15"/>
                  </a:lnTo>
                  <a:lnTo>
                    <a:pt x="174" y="16"/>
                  </a:lnTo>
                  <a:lnTo>
                    <a:pt x="177" y="17"/>
                  </a:lnTo>
                  <a:lnTo>
                    <a:pt x="179" y="19"/>
                  </a:lnTo>
                  <a:lnTo>
                    <a:pt x="182" y="20"/>
                  </a:lnTo>
                  <a:lnTo>
                    <a:pt x="184" y="22"/>
                  </a:lnTo>
                  <a:lnTo>
                    <a:pt x="185" y="23"/>
                  </a:lnTo>
                  <a:lnTo>
                    <a:pt x="187" y="25"/>
                  </a:lnTo>
                  <a:lnTo>
                    <a:pt x="188" y="26"/>
                  </a:lnTo>
                  <a:lnTo>
                    <a:pt x="189" y="28"/>
                  </a:lnTo>
                  <a:lnTo>
                    <a:pt x="192" y="35"/>
                  </a:lnTo>
                  <a:lnTo>
                    <a:pt x="194" y="36"/>
                  </a:lnTo>
                  <a:lnTo>
                    <a:pt x="195" y="37"/>
                  </a:lnTo>
                  <a:lnTo>
                    <a:pt x="197" y="39"/>
                  </a:lnTo>
                  <a:lnTo>
                    <a:pt x="199" y="40"/>
                  </a:lnTo>
                  <a:lnTo>
                    <a:pt x="201" y="41"/>
                  </a:lnTo>
                  <a:lnTo>
                    <a:pt x="204" y="42"/>
                  </a:lnTo>
                  <a:lnTo>
                    <a:pt x="206" y="42"/>
                  </a:lnTo>
                  <a:lnTo>
                    <a:pt x="208" y="43"/>
                  </a:lnTo>
                  <a:lnTo>
                    <a:pt x="212" y="43"/>
                  </a:lnTo>
                  <a:lnTo>
                    <a:pt x="215" y="43"/>
                  </a:lnTo>
                  <a:lnTo>
                    <a:pt x="225" y="42"/>
                  </a:lnTo>
                  <a:lnTo>
                    <a:pt x="231" y="42"/>
                  </a:lnTo>
                  <a:lnTo>
                    <a:pt x="244" y="42"/>
                  </a:lnTo>
                  <a:lnTo>
                    <a:pt x="256" y="43"/>
                  </a:lnTo>
                  <a:lnTo>
                    <a:pt x="281" y="44"/>
                  </a:lnTo>
                  <a:lnTo>
                    <a:pt x="283" y="45"/>
                  </a:lnTo>
                  <a:lnTo>
                    <a:pt x="284" y="45"/>
                  </a:lnTo>
                  <a:lnTo>
                    <a:pt x="287" y="46"/>
                  </a:lnTo>
                  <a:lnTo>
                    <a:pt x="288" y="47"/>
                  </a:lnTo>
                  <a:lnTo>
                    <a:pt x="290" y="50"/>
                  </a:lnTo>
                  <a:lnTo>
                    <a:pt x="292" y="53"/>
                  </a:lnTo>
                  <a:lnTo>
                    <a:pt x="294" y="57"/>
                  </a:lnTo>
                  <a:lnTo>
                    <a:pt x="296" y="62"/>
                  </a:lnTo>
                  <a:lnTo>
                    <a:pt x="299" y="70"/>
                  </a:lnTo>
                  <a:lnTo>
                    <a:pt x="301" y="73"/>
                  </a:lnTo>
                  <a:lnTo>
                    <a:pt x="302" y="75"/>
                  </a:lnTo>
                  <a:lnTo>
                    <a:pt x="302" y="75"/>
                  </a:lnTo>
                  <a:lnTo>
                    <a:pt x="304" y="75"/>
                  </a:lnTo>
                  <a:lnTo>
                    <a:pt x="304" y="76"/>
                  </a:lnTo>
                  <a:lnTo>
                    <a:pt x="307" y="76"/>
                  </a:lnTo>
                  <a:lnTo>
                    <a:pt x="314" y="74"/>
                  </a:lnTo>
                  <a:lnTo>
                    <a:pt x="318" y="74"/>
                  </a:lnTo>
                  <a:lnTo>
                    <a:pt x="324" y="74"/>
                  </a:lnTo>
                  <a:lnTo>
                    <a:pt x="332" y="74"/>
                  </a:lnTo>
                  <a:lnTo>
                    <a:pt x="337" y="74"/>
                  </a:lnTo>
                  <a:lnTo>
                    <a:pt x="339" y="74"/>
                  </a:lnTo>
                  <a:lnTo>
                    <a:pt x="340" y="74"/>
                  </a:lnTo>
                  <a:lnTo>
                    <a:pt x="342" y="73"/>
                  </a:lnTo>
                  <a:lnTo>
                    <a:pt x="344" y="72"/>
                  </a:lnTo>
                  <a:lnTo>
                    <a:pt x="353" y="68"/>
                  </a:lnTo>
                  <a:lnTo>
                    <a:pt x="357" y="67"/>
                  </a:lnTo>
                  <a:lnTo>
                    <a:pt x="359" y="66"/>
                  </a:lnTo>
                  <a:lnTo>
                    <a:pt x="364" y="65"/>
                  </a:lnTo>
                  <a:lnTo>
                    <a:pt x="377" y="63"/>
                  </a:lnTo>
                  <a:lnTo>
                    <a:pt x="379" y="62"/>
                  </a:lnTo>
                  <a:lnTo>
                    <a:pt x="381" y="62"/>
                  </a:lnTo>
                  <a:lnTo>
                    <a:pt x="382" y="61"/>
                  </a:lnTo>
                  <a:lnTo>
                    <a:pt x="383" y="60"/>
                  </a:lnTo>
                  <a:lnTo>
                    <a:pt x="384" y="59"/>
                  </a:lnTo>
                  <a:lnTo>
                    <a:pt x="387" y="54"/>
                  </a:lnTo>
                  <a:lnTo>
                    <a:pt x="392" y="44"/>
                  </a:lnTo>
                  <a:lnTo>
                    <a:pt x="394" y="41"/>
                  </a:lnTo>
                  <a:lnTo>
                    <a:pt x="394" y="40"/>
                  </a:lnTo>
                  <a:lnTo>
                    <a:pt x="396" y="39"/>
                  </a:lnTo>
                  <a:lnTo>
                    <a:pt x="397" y="38"/>
                  </a:lnTo>
                  <a:lnTo>
                    <a:pt x="399" y="37"/>
                  </a:lnTo>
                  <a:lnTo>
                    <a:pt x="401" y="38"/>
                  </a:lnTo>
                  <a:lnTo>
                    <a:pt x="401" y="38"/>
                  </a:lnTo>
                  <a:lnTo>
                    <a:pt x="402" y="39"/>
                  </a:lnTo>
                  <a:lnTo>
                    <a:pt x="404" y="40"/>
                  </a:lnTo>
                  <a:lnTo>
                    <a:pt x="406" y="42"/>
                  </a:lnTo>
                  <a:lnTo>
                    <a:pt x="408" y="45"/>
                  </a:lnTo>
                  <a:lnTo>
                    <a:pt x="410" y="47"/>
                  </a:lnTo>
                  <a:lnTo>
                    <a:pt x="412" y="49"/>
                  </a:lnTo>
                  <a:lnTo>
                    <a:pt x="414" y="50"/>
                  </a:lnTo>
                  <a:lnTo>
                    <a:pt x="416" y="51"/>
                  </a:lnTo>
                  <a:lnTo>
                    <a:pt x="416" y="51"/>
                  </a:lnTo>
                  <a:lnTo>
                    <a:pt x="420" y="51"/>
                  </a:lnTo>
                  <a:lnTo>
                    <a:pt x="422" y="51"/>
                  </a:lnTo>
                  <a:lnTo>
                    <a:pt x="429" y="50"/>
                  </a:lnTo>
                  <a:lnTo>
                    <a:pt x="432" y="50"/>
                  </a:lnTo>
                  <a:lnTo>
                    <a:pt x="434" y="51"/>
                  </a:lnTo>
                  <a:lnTo>
                    <a:pt x="434" y="51"/>
                  </a:lnTo>
                  <a:lnTo>
                    <a:pt x="436" y="52"/>
                  </a:lnTo>
                  <a:lnTo>
                    <a:pt x="436" y="52"/>
                  </a:lnTo>
                  <a:lnTo>
                    <a:pt x="439" y="54"/>
                  </a:lnTo>
                  <a:lnTo>
                    <a:pt x="439" y="56"/>
                  </a:lnTo>
                  <a:lnTo>
                    <a:pt x="440" y="58"/>
                  </a:lnTo>
                  <a:lnTo>
                    <a:pt x="442" y="62"/>
                  </a:lnTo>
                  <a:lnTo>
                    <a:pt x="443" y="64"/>
                  </a:lnTo>
                  <a:lnTo>
                    <a:pt x="444" y="65"/>
                  </a:lnTo>
                  <a:lnTo>
                    <a:pt x="445" y="66"/>
                  </a:lnTo>
                  <a:lnTo>
                    <a:pt x="447" y="68"/>
                  </a:lnTo>
                  <a:lnTo>
                    <a:pt x="453" y="74"/>
                  </a:lnTo>
                  <a:lnTo>
                    <a:pt x="456" y="77"/>
                  </a:lnTo>
                  <a:lnTo>
                    <a:pt x="457" y="78"/>
                  </a:lnTo>
                  <a:lnTo>
                    <a:pt x="459" y="80"/>
                  </a:lnTo>
                  <a:lnTo>
                    <a:pt x="463" y="87"/>
                  </a:lnTo>
                  <a:lnTo>
                    <a:pt x="465" y="90"/>
                  </a:lnTo>
                  <a:lnTo>
                    <a:pt x="466" y="91"/>
                  </a:lnTo>
                  <a:lnTo>
                    <a:pt x="467" y="92"/>
                  </a:lnTo>
                  <a:lnTo>
                    <a:pt x="469" y="94"/>
                  </a:lnTo>
                  <a:lnTo>
                    <a:pt x="470" y="95"/>
                  </a:lnTo>
                  <a:lnTo>
                    <a:pt x="472" y="96"/>
                  </a:lnTo>
                  <a:lnTo>
                    <a:pt x="475" y="97"/>
                  </a:lnTo>
                  <a:lnTo>
                    <a:pt x="477" y="97"/>
                  </a:lnTo>
                  <a:lnTo>
                    <a:pt x="484" y="98"/>
                  </a:lnTo>
                  <a:lnTo>
                    <a:pt x="489" y="100"/>
                  </a:lnTo>
                  <a:lnTo>
                    <a:pt x="492" y="100"/>
                  </a:lnTo>
                  <a:lnTo>
                    <a:pt x="498" y="103"/>
                  </a:lnTo>
                  <a:lnTo>
                    <a:pt x="501" y="105"/>
                  </a:lnTo>
                  <a:lnTo>
                    <a:pt x="504" y="105"/>
                  </a:lnTo>
                  <a:lnTo>
                    <a:pt x="510" y="107"/>
                  </a:lnTo>
                  <a:lnTo>
                    <a:pt x="520" y="107"/>
                  </a:lnTo>
                  <a:lnTo>
                    <a:pt x="525" y="107"/>
                  </a:lnTo>
                  <a:lnTo>
                    <a:pt x="536" y="107"/>
                  </a:lnTo>
                  <a:lnTo>
                    <a:pt x="550" y="106"/>
                  </a:lnTo>
                  <a:lnTo>
                    <a:pt x="561" y="105"/>
                  </a:lnTo>
                  <a:lnTo>
                    <a:pt x="574" y="105"/>
                  </a:lnTo>
                  <a:lnTo>
                    <a:pt x="580" y="105"/>
                  </a:lnTo>
                  <a:lnTo>
                    <a:pt x="591" y="105"/>
                  </a:lnTo>
                  <a:lnTo>
                    <a:pt x="596" y="105"/>
                  </a:lnTo>
                  <a:lnTo>
                    <a:pt x="601" y="105"/>
                  </a:lnTo>
                  <a:lnTo>
                    <a:pt x="605" y="104"/>
                  </a:lnTo>
                  <a:lnTo>
                    <a:pt x="608" y="103"/>
                  </a:lnTo>
                  <a:lnTo>
                    <a:pt x="611" y="103"/>
                  </a:lnTo>
                  <a:lnTo>
                    <a:pt x="614" y="102"/>
                  </a:lnTo>
                  <a:lnTo>
                    <a:pt x="616" y="101"/>
                  </a:lnTo>
                  <a:lnTo>
                    <a:pt x="619" y="100"/>
                  </a:lnTo>
                  <a:lnTo>
                    <a:pt x="622" y="98"/>
                  </a:lnTo>
                  <a:lnTo>
                    <a:pt x="624" y="97"/>
                  </a:lnTo>
                  <a:lnTo>
                    <a:pt x="627" y="95"/>
                  </a:lnTo>
                  <a:lnTo>
                    <a:pt x="629" y="94"/>
                  </a:lnTo>
                  <a:lnTo>
                    <a:pt x="631" y="92"/>
                  </a:lnTo>
                  <a:lnTo>
                    <a:pt x="634" y="90"/>
                  </a:lnTo>
                  <a:lnTo>
                    <a:pt x="636" y="87"/>
                  </a:lnTo>
                  <a:lnTo>
                    <a:pt x="639" y="84"/>
                  </a:lnTo>
                  <a:lnTo>
                    <a:pt x="641" y="82"/>
                  </a:lnTo>
                  <a:lnTo>
                    <a:pt x="641" y="80"/>
                  </a:lnTo>
                  <a:lnTo>
                    <a:pt x="642" y="78"/>
                  </a:lnTo>
                  <a:lnTo>
                    <a:pt x="643" y="76"/>
                  </a:lnTo>
                  <a:lnTo>
                    <a:pt x="643" y="75"/>
                  </a:lnTo>
                  <a:lnTo>
                    <a:pt x="644" y="75"/>
                  </a:lnTo>
                  <a:lnTo>
                    <a:pt x="646" y="75"/>
                  </a:lnTo>
                  <a:lnTo>
                    <a:pt x="647" y="75"/>
                  </a:lnTo>
                  <a:lnTo>
                    <a:pt x="648" y="77"/>
                  </a:lnTo>
                  <a:lnTo>
                    <a:pt x="650" y="78"/>
                  </a:lnTo>
                  <a:lnTo>
                    <a:pt x="651" y="79"/>
                  </a:lnTo>
                  <a:lnTo>
                    <a:pt x="651" y="80"/>
                  </a:lnTo>
                  <a:lnTo>
                    <a:pt x="652" y="82"/>
                  </a:lnTo>
                  <a:lnTo>
                    <a:pt x="652" y="85"/>
                  </a:lnTo>
                  <a:lnTo>
                    <a:pt x="652" y="87"/>
                  </a:lnTo>
                  <a:lnTo>
                    <a:pt x="652" y="92"/>
                  </a:lnTo>
                  <a:lnTo>
                    <a:pt x="651" y="110"/>
                  </a:lnTo>
                  <a:lnTo>
                    <a:pt x="651" y="114"/>
                  </a:lnTo>
                  <a:lnTo>
                    <a:pt x="649" y="122"/>
                  </a:lnTo>
                  <a:lnTo>
                    <a:pt x="648" y="127"/>
                  </a:lnTo>
                  <a:lnTo>
                    <a:pt x="648" y="131"/>
                  </a:lnTo>
                  <a:lnTo>
                    <a:pt x="648" y="134"/>
                  </a:lnTo>
                  <a:lnTo>
                    <a:pt x="649" y="137"/>
                  </a:lnTo>
                  <a:lnTo>
                    <a:pt x="650" y="140"/>
                  </a:lnTo>
                  <a:lnTo>
                    <a:pt x="651" y="142"/>
                  </a:lnTo>
                  <a:lnTo>
                    <a:pt x="652" y="145"/>
                  </a:lnTo>
                  <a:lnTo>
                    <a:pt x="653" y="146"/>
                  </a:lnTo>
                  <a:lnTo>
                    <a:pt x="654" y="149"/>
                  </a:lnTo>
                  <a:lnTo>
                    <a:pt x="656" y="150"/>
                  </a:lnTo>
                  <a:lnTo>
                    <a:pt x="658" y="152"/>
                  </a:lnTo>
                  <a:lnTo>
                    <a:pt x="663" y="158"/>
                  </a:lnTo>
                  <a:lnTo>
                    <a:pt x="666" y="160"/>
                  </a:lnTo>
                  <a:lnTo>
                    <a:pt x="668" y="163"/>
                  </a:lnTo>
                  <a:lnTo>
                    <a:pt x="670" y="167"/>
                  </a:lnTo>
                  <a:lnTo>
                    <a:pt x="676" y="179"/>
                  </a:lnTo>
                  <a:lnTo>
                    <a:pt x="677" y="182"/>
                  </a:lnTo>
                  <a:lnTo>
                    <a:pt x="678" y="185"/>
                  </a:lnTo>
                  <a:lnTo>
                    <a:pt x="678" y="187"/>
                  </a:lnTo>
                  <a:lnTo>
                    <a:pt x="678" y="189"/>
                  </a:lnTo>
                  <a:lnTo>
                    <a:pt x="677" y="192"/>
                  </a:lnTo>
                  <a:lnTo>
                    <a:pt x="677" y="194"/>
                  </a:lnTo>
                  <a:lnTo>
                    <a:pt x="677" y="195"/>
                  </a:lnTo>
                  <a:lnTo>
                    <a:pt x="676" y="196"/>
                  </a:lnTo>
                  <a:lnTo>
                    <a:pt x="676" y="197"/>
                  </a:lnTo>
                  <a:lnTo>
                    <a:pt x="673" y="198"/>
                  </a:lnTo>
                  <a:lnTo>
                    <a:pt x="668" y="201"/>
                  </a:lnTo>
                  <a:lnTo>
                    <a:pt x="667" y="202"/>
                  </a:lnTo>
                  <a:lnTo>
                    <a:pt x="666" y="203"/>
                  </a:lnTo>
                  <a:lnTo>
                    <a:pt x="663" y="205"/>
                  </a:lnTo>
                  <a:lnTo>
                    <a:pt x="660" y="209"/>
                  </a:lnTo>
                  <a:lnTo>
                    <a:pt x="658" y="213"/>
                  </a:lnTo>
                  <a:lnTo>
                    <a:pt x="654" y="216"/>
                  </a:lnTo>
                  <a:lnTo>
                    <a:pt x="648" y="220"/>
                  </a:lnTo>
                  <a:lnTo>
                    <a:pt x="646" y="222"/>
                  </a:lnTo>
                  <a:lnTo>
                    <a:pt x="643" y="224"/>
                  </a:lnTo>
                  <a:lnTo>
                    <a:pt x="639" y="226"/>
                  </a:lnTo>
                  <a:lnTo>
                    <a:pt x="636" y="227"/>
                  </a:lnTo>
                  <a:lnTo>
                    <a:pt x="633" y="229"/>
                  </a:lnTo>
                  <a:lnTo>
                    <a:pt x="628" y="231"/>
                  </a:lnTo>
                  <a:lnTo>
                    <a:pt x="620" y="234"/>
                  </a:lnTo>
                  <a:lnTo>
                    <a:pt x="618" y="234"/>
                  </a:lnTo>
                  <a:lnTo>
                    <a:pt x="618" y="234"/>
                  </a:lnTo>
                  <a:lnTo>
                    <a:pt x="615" y="237"/>
                  </a:lnTo>
                  <a:lnTo>
                    <a:pt x="611" y="239"/>
                  </a:lnTo>
                  <a:lnTo>
                    <a:pt x="608" y="241"/>
                  </a:lnTo>
                  <a:lnTo>
                    <a:pt x="606" y="244"/>
                  </a:lnTo>
                  <a:lnTo>
                    <a:pt x="603" y="247"/>
                  </a:lnTo>
                  <a:lnTo>
                    <a:pt x="601" y="250"/>
                  </a:lnTo>
                  <a:lnTo>
                    <a:pt x="599" y="253"/>
                  </a:lnTo>
                  <a:lnTo>
                    <a:pt x="599" y="255"/>
                  </a:lnTo>
                  <a:lnTo>
                    <a:pt x="598" y="257"/>
                  </a:lnTo>
                  <a:lnTo>
                    <a:pt x="596" y="263"/>
                  </a:lnTo>
                  <a:lnTo>
                    <a:pt x="596" y="264"/>
                  </a:lnTo>
                  <a:lnTo>
                    <a:pt x="595" y="267"/>
                  </a:lnTo>
                  <a:lnTo>
                    <a:pt x="591" y="272"/>
                  </a:lnTo>
                  <a:lnTo>
                    <a:pt x="591" y="274"/>
                  </a:lnTo>
                  <a:lnTo>
                    <a:pt x="590" y="275"/>
                  </a:lnTo>
                  <a:lnTo>
                    <a:pt x="590" y="277"/>
                  </a:lnTo>
                  <a:lnTo>
                    <a:pt x="589" y="279"/>
                  </a:lnTo>
                  <a:lnTo>
                    <a:pt x="589" y="284"/>
                  </a:lnTo>
                  <a:lnTo>
                    <a:pt x="589" y="290"/>
                  </a:lnTo>
                  <a:lnTo>
                    <a:pt x="589" y="294"/>
                  </a:lnTo>
                  <a:lnTo>
                    <a:pt x="588" y="297"/>
                  </a:lnTo>
                  <a:lnTo>
                    <a:pt x="587" y="299"/>
                  </a:lnTo>
                  <a:lnTo>
                    <a:pt x="585" y="306"/>
                  </a:lnTo>
                  <a:lnTo>
                    <a:pt x="584" y="312"/>
                  </a:lnTo>
                  <a:lnTo>
                    <a:pt x="584" y="312"/>
                  </a:lnTo>
                  <a:lnTo>
                    <a:pt x="583" y="313"/>
                  </a:lnTo>
                  <a:lnTo>
                    <a:pt x="581" y="316"/>
                  </a:lnTo>
                  <a:lnTo>
                    <a:pt x="579" y="317"/>
                  </a:lnTo>
                  <a:lnTo>
                    <a:pt x="576" y="323"/>
                  </a:lnTo>
                  <a:lnTo>
                    <a:pt x="576" y="326"/>
                  </a:lnTo>
                  <a:lnTo>
                    <a:pt x="575" y="328"/>
                  </a:lnTo>
                  <a:lnTo>
                    <a:pt x="574" y="332"/>
                  </a:lnTo>
                  <a:lnTo>
                    <a:pt x="574" y="334"/>
                  </a:lnTo>
                  <a:lnTo>
                    <a:pt x="574" y="336"/>
                  </a:lnTo>
                  <a:lnTo>
                    <a:pt x="574" y="339"/>
                  </a:lnTo>
                  <a:lnTo>
                    <a:pt x="576" y="344"/>
                  </a:lnTo>
                  <a:lnTo>
                    <a:pt x="576" y="347"/>
                  </a:lnTo>
                  <a:lnTo>
                    <a:pt x="576" y="349"/>
                  </a:lnTo>
                  <a:lnTo>
                    <a:pt x="577" y="352"/>
                  </a:lnTo>
                  <a:lnTo>
                    <a:pt x="578" y="353"/>
                  </a:lnTo>
                  <a:lnTo>
                    <a:pt x="579" y="354"/>
                  </a:lnTo>
                  <a:lnTo>
                    <a:pt x="582" y="359"/>
                  </a:lnTo>
                  <a:lnTo>
                    <a:pt x="585" y="364"/>
                  </a:lnTo>
                  <a:lnTo>
                    <a:pt x="585" y="365"/>
                  </a:lnTo>
                  <a:lnTo>
                    <a:pt x="585" y="366"/>
                  </a:lnTo>
                  <a:lnTo>
                    <a:pt x="585" y="367"/>
                  </a:lnTo>
                  <a:lnTo>
                    <a:pt x="584" y="369"/>
                  </a:lnTo>
                  <a:lnTo>
                    <a:pt x="584" y="370"/>
                  </a:lnTo>
                  <a:lnTo>
                    <a:pt x="584" y="372"/>
                  </a:lnTo>
                  <a:lnTo>
                    <a:pt x="586" y="374"/>
                  </a:lnTo>
                  <a:lnTo>
                    <a:pt x="586" y="375"/>
                  </a:lnTo>
                  <a:lnTo>
                    <a:pt x="586" y="377"/>
                  </a:lnTo>
                  <a:lnTo>
                    <a:pt x="585" y="378"/>
                  </a:lnTo>
                  <a:lnTo>
                    <a:pt x="584" y="379"/>
                  </a:lnTo>
                  <a:lnTo>
                    <a:pt x="584" y="382"/>
                  </a:lnTo>
                  <a:lnTo>
                    <a:pt x="582" y="383"/>
                  </a:lnTo>
                  <a:lnTo>
                    <a:pt x="581" y="384"/>
                  </a:lnTo>
                  <a:lnTo>
                    <a:pt x="579" y="387"/>
                  </a:lnTo>
                  <a:lnTo>
                    <a:pt x="578" y="388"/>
                  </a:lnTo>
                  <a:lnTo>
                    <a:pt x="576" y="388"/>
                  </a:lnTo>
                  <a:lnTo>
                    <a:pt x="576" y="388"/>
                  </a:lnTo>
                  <a:lnTo>
                    <a:pt x="574" y="388"/>
                  </a:lnTo>
                  <a:lnTo>
                    <a:pt x="573" y="387"/>
                  </a:lnTo>
                  <a:lnTo>
                    <a:pt x="570" y="385"/>
                  </a:lnTo>
                  <a:lnTo>
                    <a:pt x="564" y="380"/>
                  </a:lnTo>
                  <a:lnTo>
                    <a:pt x="558" y="376"/>
                  </a:lnTo>
                  <a:lnTo>
                    <a:pt x="551" y="370"/>
                  </a:lnTo>
                  <a:lnTo>
                    <a:pt x="550" y="369"/>
                  </a:lnTo>
                  <a:lnTo>
                    <a:pt x="548" y="369"/>
                  </a:lnTo>
                  <a:lnTo>
                    <a:pt x="546" y="368"/>
                  </a:lnTo>
                  <a:lnTo>
                    <a:pt x="544" y="367"/>
                  </a:lnTo>
                  <a:lnTo>
                    <a:pt x="531" y="367"/>
                  </a:lnTo>
                  <a:lnTo>
                    <a:pt x="529" y="367"/>
                  </a:lnTo>
                  <a:lnTo>
                    <a:pt x="527" y="367"/>
                  </a:lnTo>
                  <a:lnTo>
                    <a:pt x="519" y="368"/>
                  </a:lnTo>
                  <a:lnTo>
                    <a:pt x="515" y="368"/>
                  </a:lnTo>
                  <a:lnTo>
                    <a:pt x="511" y="367"/>
                  </a:lnTo>
                  <a:lnTo>
                    <a:pt x="501" y="366"/>
                  </a:lnTo>
                  <a:lnTo>
                    <a:pt x="495" y="366"/>
                  </a:lnTo>
                  <a:lnTo>
                    <a:pt x="491" y="365"/>
                  </a:lnTo>
                  <a:lnTo>
                    <a:pt x="486" y="366"/>
                  </a:lnTo>
                  <a:lnTo>
                    <a:pt x="484" y="366"/>
                  </a:lnTo>
                  <a:lnTo>
                    <a:pt x="477" y="367"/>
                  </a:lnTo>
                  <a:lnTo>
                    <a:pt x="474" y="367"/>
                  </a:lnTo>
                  <a:lnTo>
                    <a:pt x="454" y="369"/>
                  </a:lnTo>
                  <a:lnTo>
                    <a:pt x="444" y="371"/>
                  </a:lnTo>
                  <a:lnTo>
                    <a:pt x="440" y="372"/>
                  </a:lnTo>
                  <a:lnTo>
                    <a:pt x="436" y="372"/>
                  </a:lnTo>
                  <a:lnTo>
                    <a:pt x="434" y="373"/>
                  </a:lnTo>
                  <a:lnTo>
                    <a:pt x="421" y="378"/>
                  </a:lnTo>
                  <a:lnTo>
                    <a:pt x="419" y="379"/>
                  </a:lnTo>
                  <a:lnTo>
                    <a:pt x="416" y="379"/>
                  </a:lnTo>
                  <a:lnTo>
                    <a:pt x="414" y="379"/>
                  </a:lnTo>
                  <a:lnTo>
                    <a:pt x="411" y="379"/>
                  </a:lnTo>
                  <a:lnTo>
                    <a:pt x="409" y="379"/>
                  </a:lnTo>
                  <a:lnTo>
                    <a:pt x="405" y="377"/>
                  </a:lnTo>
                  <a:lnTo>
                    <a:pt x="401" y="377"/>
                  </a:lnTo>
                  <a:lnTo>
                    <a:pt x="399" y="377"/>
                  </a:lnTo>
                  <a:lnTo>
                    <a:pt x="396" y="377"/>
                  </a:lnTo>
                  <a:lnTo>
                    <a:pt x="390" y="377"/>
                  </a:lnTo>
                  <a:lnTo>
                    <a:pt x="384" y="378"/>
                  </a:lnTo>
                  <a:lnTo>
                    <a:pt x="382" y="378"/>
                  </a:lnTo>
                  <a:lnTo>
                    <a:pt x="380" y="379"/>
                  </a:lnTo>
                  <a:lnTo>
                    <a:pt x="379" y="379"/>
                  </a:lnTo>
                  <a:lnTo>
                    <a:pt x="377" y="381"/>
                  </a:lnTo>
                  <a:lnTo>
                    <a:pt x="377" y="382"/>
                  </a:lnTo>
                  <a:lnTo>
                    <a:pt x="375" y="384"/>
                  </a:lnTo>
                  <a:lnTo>
                    <a:pt x="374" y="386"/>
                  </a:lnTo>
                  <a:lnTo>
                    <a:pt x="374" y="389"/>
                  </a:lnTo>
                  <a:lnTo>
                    <a:pt x="374" y="393"/>
                  </a:lnTo>
                  <a:lnTo>
                    <a:pt x="374" y="395"/>
                  </a:lnTo>
                  <a:lnTo>
                    <a:pt x="374" y="397"/>
                  </a:lnTo>
                  <a:lnTo>
                    <a:pt x="376" y="406"/>
                  </a:lnTo>
                  <a:lnTo>
                    <a:pt x="376" y="409"/>
                  </a:lnTo>
                  <a:lnTo>
                    <a:pt x="376" y="413"/>
                  </a:lnTo>
                  <a:lnTo>
                    <a:pt x="376" y="417"/>
                  </a:lnTo>
                  <a:lnTo>
                    <a:pt x="375" y="425"/>
                  </a:lnTo>
                  <a:lnTo>
                    <a:pt x="375" y="429"/>
                  </a:lnTo>
                  <a:lnTo>
                    <a:pt x="375" y="432"/>
                  </a:lnTo>
                  <a:lnTo>
                    <a:pt x="375" y="437"/>
                  </a:lnTo>
                  <a:lnTo>
                    <a:pt x="376" y="442"/>
                  </a:lnTo>
                  <a:lnTo>
                    <a:pt x="377" y="446"/>
                  </a:lnTo>
                  <a:lnTo>
                    <a:pt x="379" y="451"/>
                  </a:lnTo>
                  <a:lnTo>
                    <a:pt x="384" y="464"/>
                  </a:lnTo>
                  <a:lnTo>
                    <a:pt x="387" y="470"/>
                  </a:lnTo>
                  <a:lnTo>
                    <a:pt x="389" y="476"/>
                  </a:lnTo>
                  <a:lnTo>
                    <a:pt x="390" y="481"/>
                  </a:lnTo>
                  <a:lnTo>
                    <a:pt x="391" y="484"/>
                  </a:lnTo>
                  <a:lnTo>
                    <a:pt x="391" y="488"/>
                  </a:lnTo>
                  <a:lnTo>
                    <a:pt x="392" y="494"/>
                  </a:lnTo>
                  <a:lnTo>
                    <a:pt x="394" y="506"/>
                  </a:lnTo>
                  <a:lnTo>
                    <a:pt x="394" y="510"/>
                  </a:lnTo>
                  <a:lnTo>
                    <a:pt x="394" y="512"/>
                  </a:lnTo>
                  <a:lnTo>
                    <a:pt x="393" y="515"/>
                  </a:lnTo>
                  <a:lnTo>
                    <a:pt x="393" y="517"/>
                  </a:lnTo>
                  <a:lnTo>
                    <a:pt x="391" y="523"/>
                  </a:lnTo>
                  <a:lnTo>
                    <a:pt x="390" y="526"/>
                  </a:lnTo>
                  <a:lnTo>
                    <a:pt x="389" y="531"/>
                  </a:lnTo>
                  <a:lnTo>
                    <a:pt x="384" y="539"/>
                  </a:lnTo>
                  <a:lnTo>
                    <a:pt x="380" y="550"/>
                  </a:lnTo>
                  <a:lnTo>
                    <a:pt x="379" y="552"/>
                  </a:lnTo>
                  <a:lnTo>
                    <a:pt x="378" y="554"/>
                  </a:lnTo>
                  <a:lnTo>
                    <a:pt x="377" y="556"/>
                  </a:lnTo>
                  <a:lnTo>
                    <a:pt x="375" y="559"/>
                  </a:lnTo>
                  <a:lnTo>
                    <a:pt x="373" y="560"/>
                  </a:lnTo>
                  <a:lnTo>
                    <a:pt x="372" y="561"/>
                  </a:lnTo>
                  <a:lnTo>
                    <a:pt x="370" y="563"/>
                  </a:lnTo>
                  <a:lnTo>
                    <a:pt x="369" y="564"/>
                  </a:lnTo>
                  <a:lnTo>
                    <a:pt x="366" y="565"/>
                  </a:lnTo>
                  <a:lnTo>
                    <a:pt x="358" y="567"/>
                  </a:lnTo>
                  <a:lnTo>
                    <a:pt x="355" y="568"/>
                  </a:lnTo>
                  <a:lnTo>
                    <a:pt x="352" y="569"/>
                  </a:lnTo>
                  <a:lnTo>
                    <a:pt x="348" y="571"/>
                  </a:lnTo>
                  <a:lnTo>
                    <a:pt x="347" y="573"/>
                  </a:lnTo>
                  <a:lnTo>
                    <a:pt x="344" y="574"/>
                  </a:lnTo>
                  <a:lnTo>
                    <a:pt x="343" y="576"/>
                  </a:lnTo>
                  <a:lnTo>
                    <a:pt x="342" y="578"/>
                  </a:lnTo>
                  <a:lnTo>
                    <a:pt x="341" y="579"/>
                  </a:lnTo>
                  <a:lnTo>
                    <a:pt x="339" y="581"/>
                  </a:lnTo>
                  <a:lnTo>
                    <a:pt x="337" y="586"/>
                  </a:lnTo>
                  <a:lnTo>
                    <a:pt x="337" y="586"/>
                  </a:lnTo>
                  <a:lnTo>
                    <a:pt x="335" y="584"/>
                  </a:lnTo>
                  <a:lnTo>
                    <a:pt x="330" y="580"/>
                  </a:lnTo>
                  <a:lnTo>
                    <a:pt x="326" y="576"/>
                  </a:lnTo>
                  <a:lnTo>
                    <a:pt x="321" y="573"/>
                  </a:lnTo>
                  <a:lnTo>
                    <a:pt x="316" y="569"/>
                  </a:lnTo>
                  <a:lnTo>
                    <a:pt x="310" y="565"/>
                  </a:lnTo>
                  <a:lnTo>
                    <a:pt x="305" y="561"/>
                  </a:lnTo>
                  <a:lnTo>
                    <a:pt x="300" y="559"/>
                  </a:lnTo>
                  <a:lnTo>
                    <a:pt x="296" y="556"/>
                  </a:lnTo>
                  <a:lnTo>
                    <a:pt x="293" y="555"/>
                  </a:lnTo>
                  <a:lnTo>
                    <a:pt x="289" y="554"/>
                  </a:lnTo>
                  <a:lnTo>
                    <a:pt x="285" y="552"/>
                  </a:lnTo>
                  <a:lnTo>
                    <a:pt x="281" y="551"/>
                  </a:lnTo>
                  <a:lnTo>
                    <a:pt x="264" y="547"/>
                  </a:lnTo>
                  <a:lnTo>
                    <a:pt x="259" y="545"/>
                  </a:lnTo>
                  <a:lnTo>
                    <a:pt x="256" y="544"/>
                  </a:lnTo>
                  <a:lnTo>
                    <a:pt x="254" y="542"/>
                  </a:lnTo>
                  <a:lnTo>
                    <a:pt x="250" y="540"/>
                  </a:lnTo>
                  <a:lnTo>
                    <a:pt x="248" y="539"/>
                  </a:lnTo>
                  <a:lnTo>
                    <a:pt x="247" y="537"/>
                  </a:lnTo>
                  <a:lnTo>
                    <a:pt x="245" y="535"/>
                  </a:lnTo>
                  <a:lnTo>
                    <a:pt x="244" y="533"/>
                  </a:lnTo>
                  <a:lnTo>
                    <a:pt x="243" y="531"/>
                  </a:lnTo>
                  <a:lnTo>
                    <a:pt x="243" y="529"/>
                  </a:lnTo>
                  <a:lnTo>
                    <a:pt x="242" y="526"/>
                  </a:lnTo>
                  <a:lnTo>
                    <a:pt x="240" y="514"/>
                  </a:lnTo>
                  <a:lnTo>
                    <a:pt x="240" y="511"/>
                  </a:lnTo>
                  <a:lnTo>
                    <a:pt x="239" y="508"/>
                  </a:lnTo>
                  <a:lnTo>
                    <a:pt x="238" y="504"/>
                  </a:lnTo>
                  <a:lnTo>
                    <a:pt x="236" y="499"/>
                  </a:lnTo>
                  <a:lnTo>
                    <a:pt x="230" y="485"/>
                  </a:lnTo>
                  <a:lnTo>
                    <a:pt x="228" y="480"/>
                  </a:lnTo>
                  <a:lnTo>
                    <a:pt x="226" y="477"/>
                  </a:lnTo>
                  <a:lnTo>
                    <a:pt x="223" y="472"/>
                  </a:lnTo>
                  <a:lnTo>
                    <a:pt x="222" y="470"/>
                  </a:lnTo>
                  <a:lnTo>
                    <a:pt x="221" y="469"/>
                  </a:lnTo>
                  <a:lnTo>
                    <a:pt x="219" y="467"/>
                  </a:lnTo>
                  <a:lnTo>
                    <a:pt x="217" y="466"/>
                  </a:lnTo>
                  <a:lnTo>
                    <a:pt x="210" y="461"/>
                  </a:lnTo>
                  <a:lnTo>
                    <a:pt x="207" y="459"/>
                  </a:lnTo>
                  <a:lnTo>
                    <a:pt x="206" y="457"/>
                  </a:lnTo>
                  <a:lnTo>
                    <a:pt x="204" y="455"/>
                  </a:lnTo>
                  <a:lnTo>
                    <a:pt x="203" y="454"/>
                  </a:lnTo>
                  <a:lnTo>
                    <a:pt x="202" y="451"/>
                  </a:lnTo>
                  <a:lnTo>
                    <a:pt x="200" y="449"/>
                  </a:lnTo>
                  <a:lnTo>
                    <a:pt x="199" y="445"/>
                  </a:lnTo>
                  <a:lnTo>
                    <a:pt x="197" y="442"/>
                  </a:lnTo>
                  <a:lnTo>
                    <a:pt x="195" y="437"/>
                  </a:lnTo>
                  <a:lnTo>
                    <a:pt x="190" y="426"/>
                  </a:lnTo>
                  <a:lnTo>
                    <a:pt x="187" y="414"/>
                  </a:lnTo>
                  <a:lnTo>
                    <a:pt x="184" y="409"/>
                  </a:lnTo>
                  <a:lnTo>
                    <a:pt x="182" y="404"/>
                  </a:lnTo>
                  <a:lnTo>
                    <a:pt x="181" y="402"/>
                  </a:lnTo>
                  <a:lnTo>
                    <a:pt x="179" y="399"/>
                  </a:lnTo>
                  <a:lnTo>
                    <a:pt x="177" y="396"/>
                  </a:lnTo>
                  <a:lnTo>
                    <a:pt x="174" y="394"/>
                  </a:lnTo>
                  <a:lnTo>
                    <a:pt x="173" y="393"/>
                  </a:lnTo>
                  <a:lnTo>
                    <a:pt x="171" y="392"/>
                  </a:lnTo>
                  <a:lnTo>
                    <a:pt x="169" y="392"/>
                  </a:lnTo>
                  <a:lnTo>
                    <a:pt x="167" y="392"/>
                  </a:lnTo>
                  <a:lnTo>
                    <a:pt x="158" y="393"/>
                  </a:lnTo>
                  <a:lnTo>
                    <a:pt x="153" y="394"/>
                  </a:lnTo>
                  <a:lnTo>
                    <a:pt x="148" y="394"/>
                  </a:lnTo>
                  <a:lnTo>
                    <a:pt x="140" y="394"/>
                  </a:lnTo>
                  <a:lnTo>
                    <a:pt x="137" y="393"/>
                  </a:lnTo>
                  <a:lnTo>
                    <a:pt x="134" y="393"/>
                  </a:lnTo>
                  <a:lnTo>
                    <a:pt x="130" y="392"/>
                  </a:lnTo>
                  <a:lnTo>
                    <a:pt x="126" y="391"/>
                  </a:lnTo>
                  <a:lnTo>
                    <a:pt x="123" y="390"/>
                  </a:lnTo>
                  <a:lnTo>
                    <a:pt x="122" y="389"/>
                  </a:lnTo>
                  <a:lnTo>
                    <a:pt x="120" y="388"/>
                  </a:lnTo>
                  <a:lnTo>
                    <a:pt x="117" y="386"/>
                  </a:lnTo>
                  <a:lnTo>
                    <a:pt x="115" y="384"/>
                  </a:lnTo>
                  <a:lnTo>
                    <a:pt x="107" y="374"/>
                  </a:lnTo>
                  <a:lnTo>
                    <a:pt x="105" y="372"/>
                  </a:lnTo>
                  <a:lnTo>
                    <a:pt x="103" y="369"/>
                  </a:lnTo>
                  <a:lnTo>
                    <a:pt x="100" y="364"/>
                  </a:lnTo>
                  <a:lnTo>
                    <a:pt x="97" y="358"/>
                  </a:lnTo>
                  <a:lnTo>
                    <a:pt x="92" y="348"/>
                  </a:lnTo>
                  <a:lnTo>
                    <a:pt x="88" y="340"/>
                  </a:lnTo>
                  <a:lnTo>
                    <a:pt x="84" y="329"/>
                  </a:lnTo>
                  <a:lnTo>
                    <a:pt x="79" y="317"/>
                  </a:lnTo>
                  <a:lnTo>
                    <a:pt x="75" y="308"/>
                  </a:lnTo>
                  <a:lnTo>
                    <a:pt x="75" y="307"/>
                  </a:lnTo>
                  <a:lnTo>
                    <a:pt x="74" y="305"/>
                  </a:lnTo>
                  <a:lnTo>
                    <a:pt x="72" y="304"/>
                  </a:lnTo>
                  <a:lnTo>
                    <a:pt x="72" y="304"/>
                  </a:lnTo>
                  <a:lnTo>
                    <a:pt x="71" y="303"/>
                  </a:lnTo>
                  <a:lnTo>
                    <a:pt x="70" y="303"/>
                  </a:lnTo>
                  <a:lnTo>
                    <a:pt x="67" y="302"/>
                  </a:lnTo>
                  <a:lnTo>
                    <a:pt x="62" y="302"/>
                  </a:lnTo>
                  <a:lnTo>
                    <a:pt x="60" y="302"/>
                  </a:lnTo>
                  <a:lnTo>
                    <a:pt x="57" y="301"/>
                  </a:lnTo>
                  <a:lnTo>
                    <a:pt x="56" y="300"/>
                  </a:lnTo>
                  <a:lnTo>
                    <a:pt x="53" y="297"/>
                  </a:lnTo>
                  <a:lnTo>
                    <a:pt x="50" y="294"/>
                  </a:lnTo>
                  <a:lnTo>
                    <a:pt x="48" y="292"/>
                  </a:lnTo>
                  <a:lnTo>
                    <a:pt x="43" y="284"/>
                  </a:lnTo>
                  <a:lnTo>
                    <a:pt x="42" y="282"/>
                  </a:lnTo>
                  <a:lnTo>
                    <a:pt x="40" y="281"/>
                  </a:lnTo>
                  <a:lnTo>
                    <a:pt x="38" y="279"/>
                  </a:lnTo>
                  <a:lnTo>
                    <a:pt x="36" y="277"/>
                  </a:lnTo>
                  <a:lnTo>
                    <a:pt x="34" y="275"/>
                  </a:lnTo>
                  <a:lnTo>
                    <a:pt x="32" y="274"/>
                  </a:lnTo>
                  <a:lnTo>
                    <a:pt x="29" y="273"/>
                  </a:lnTo>
                  <a:lnTo>
                    <a:pt x="27" y="272"/>
                  </a:lnTo>
                  <a:lnTo>
                    <a:pt x="25" y="271"/>
                  </a:lnTo>
                  <a:lnTo>
                    <a:pt x="21" y="271"/>
                  </a:lnTo>
                  <a:lnTo>
                    <a:pt x="17" y="270"/>
                  </a:lnTo>
                  <a:lnTo>
                    <a:pt x="13" y="269"/>
                  </a:lnTo>
                  <a:lnTo>
                    <a:pt x="10" y="270"/>
                  </a:lnTo>
                  <a:lnTo>
                    <a:pt x="9" y="270"/>
                  </a:lnTo>
                  <a:lnTo>
                    <a:pt x="8" y="270"/>
                  </a:lnTo>
                  <a:lnTo>
                    <a:pt x="8" y="269"/>
                  </a:lnTo>
                  <a:lnTo>
                    <a:pt x="7" y="267"/>
                  </a:lnTo>
                  <a:lnTo>
                    <a:pt x="4" y="256"/>
                  </a:lnTo>
                  <a:lnTo>
                    <a:pt x="2" y="252"/>
                  </a:lnTo>
                  <a:lnTo>
                    <a:pt x="2" y="250"/>
                  </a:lnTo>
                  <a:lnTo>
                    <a:pt x="2" y="247"/>
                  </a:lnTo>
                  <a:lnTo>
                    <a:pt x="1" y="244"/>
                  </a:lnTo>
                  <a:lnTo>
                    <a:pt x="1" y="240"/>
                  </a:lnTo>
                  <a:lnTo>
                    <a:pt x="0" y="237"/>
                  </a:lnTo>
                  <a:lnTo>
                    <a:pt x="0" y="232"/>
                  </a:lnTo>
                  <a:lnTo>
                    <a:pt x="1" y="228"/>
                  </a:lnTo>
                  <a:lnTo>
                    <a:pt x="1" y="223"/>
                  </a:lnTo>
                  <a:lnTo>
                    <a:pt x="2" y="219"/>
                  </a:lnTo>
                  <a:lnTo>
                    <a:pt x="3" y="212"/>
                  </a:lnTo>
                  <a:lnTo>
                    <a:pt x="5" y="207"/>
                  </a:lnTo>
                  <a:lnTo>
                    <a:pt x="6" y="201"/>
                  </a:lnTo>
                  <a:lnTo>
                    <a:pt x="7" y="197"/>
                  </a:lnTo>
                  <a:lnTo>
                    <a:pt x="8" y="194"/>
                  </a:lnTo>
                  <a:lnTo>
                    <a:pt x="10" y="191"/>
                  </a:lnTo>
                  <a:lnTo>
                    <a:pt x="13" y="184"/>
                  </a:lnTo>
                  <a:lnTo>
                    <a:pt x="17" y="177"/>
                  </a:lnTo>
                  <a:lnTo>
                    <a:pt x="20" y="174"/>
                  </a:lnTo>
                  <a:lnTo>
                    <a:pt x="22" y="171"/>
                  </a:lnTo>
                  <a:lnTo>
                    <a:pt x="24" y="169"/>
                  </a:lnTo>
                  <a:lnTo>
                    <a:pt x="26" y="167"/>
                  </a:lnTo>
                  <a:lnTo>
                    <a:pt x="27" y="165"/>
                  </a:lnTo>
                  <a:lnTo>
                    <a:pt x="30" y="164"/>
                  </a:lnTo>
                  <a:lnTo>
                    <a:pt x="32" y="162"/>
                  </a:lnTo>
                  <a:lnTo>
                    <a:pt x="33" y="162"/>
                  </a:lnTo>
                  <a:lnTo>
                    <a:pt x="40" y="159"/>
                  </a:lnTo>
                  <a:lnTo>
                    <a:pt x="42" y="158"/>
                  </a:lnTo>
                  <a:lnTo>
                    <a:pt x="45" y="156"/>
                  </a:lnTo>
                  <a:lnTo>
                    <a:pt x="47" y="154"/>
                  </a:lnTo>
                  <a:lnTo>
                    <a:pt x="50" y="152"/>
                  </a:lnTo>
                  <a:lnTo>
                    <a:pt x="51" y="150"/>
                  </a:lnTo>
                  <a:lnTo>
                    <a:pt x="52" y="148"/>
                  </a:lnTo>
                  <a:lnTo>
                    <a:pt x="54" y="146"/>
                  </a:lnTo>
                  <a:lnTo>
                    <a:pt x="55" y="145"/>
                  </a:lnTo>
                  <a:lnTo>
                    <a:pt x="55" y="142"/>
                  </a:lnTo>
                  <a:lnTo>
                    <a:pt x="56" y="140"/>
                  </a:lnTo>
                  <a:lnTo>
                    <a:pt x="57" y="138"/>
                  </a:lnTo>
                  <a:lnTo>
                    <a:pt x="57" y="135"/>
                  </a:lnTo>
                  <a:lnTo>
                    <a:pt x="57" y="130"/>
                  </a:lnTo>
                  <a:lnTo>
                    <a:pt x="57" y="127"/>
                  </a:lnTo>
                  <a:lnTo>
                    <a:pt x="56" y="122"/>
                  </a:lnTo>
                  <a:lnTo>
                    <a:pt x="53" y="110"/>
                  </a:lnTo>
                  <a:lnTo>
                    <a:pt x="52" y="107"/>
                  </a:lnTo>
                  <a:lnTo>
                    <a:pt x="51" y="102"/>
                  </a:lnTo>
                  <a:lnTo>
                    <a:pt x="47" y="95"/>
                  </a:lnTo>
                  <a:lnTo>
                    <a:pt x="47" y="91"/>
                  </a:lnTo>
                  <a:lnTo>
                    <a:pt x="46" y="87"/>
                  </a:lnTo>
                  <a:lnTo>
                    <a:pt x="46" y="85"/>
                  </a:lnTo>
                  <a:lnTo>
                    <a:pt x="46" y="82"/>
                  </a:lnTo>
                  <a:lnTo>
                    <a:pt x="46" y="80"/>
                  </a:lnTo>
                  <a:lnTo>
                    <a:pt x="49" y="72"/>
                  </a:lnTo>
                  <a:lnTo>
                    <a:pt x="50" y="68"/>
                  </a:lnTo>
                  <a:lnTo>
                    <a:pt x="50" y="64"/>
                  </a:lnTo>
                  <a:lnTo>
                    <a:pt x="50" y="52"/>
                  </a:lnTo>
                  <a:lnTo>
                    <a:pt x="51" y="47"/>
                  </a:lnTo>
                  <a:lnTo>
                    <a:pt x="52" y="40"/>
                  </a:lnTo>
                  <a:lnTo>
                    <a:pt x="53" y="35"/>
                  </a:lnTo>
                  <a:lnTo>
                    <a:pt x="54" y="30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7" y="25"/>
                  </a:lnTo>
                  <a:lnTo>
                    <a:pt x="58" y="25"/>
                  </a:lnTo>
                  <a:lnTo>
                    <a:pt x="60" y="25"/>
                  </a:lnTo>
                  <a:lnTo>
                    <a:pt x="62" y="25"/>
                  </a:lnTo>
                  <a:lnTo>
                    <a:pt x="63" y="25"/>
                  </a:lnTo>
                  <a:lnTo>
                    <a:pt x="74" y="27"/>
                  </a:lnTo>
                  <a:lnTo>
                    <a:pt x="77" y="28"/>
                  </a:lnTo>
                  <a:lnTo>
                    <a:pt x="80" y="29"/>
                  </a:lnTo>
                  <a:lnTo>
                    <a:pt x="82" y="29"/>
                  </a:lnTo>
                  <a:lnTo>
                    <a:pt x="85" y="29"/>
                  </a:lnTo>
                  <a:lnTo>
                    <a:pt x="87" y="28"/>
                  </a:lnTo>
                  <a:lnTo>
                    <a:pt x="90" y="27"/>
                  </a:lnTo>
                  <a:lnTo>
                    <a:pt x="92" y="27"/>
                  </a:lnTo>
                  <a:lnTo>
                    <a:pt x="94" y="26"/>
                  </a:lnTo>
                  <a:lnTo>
                    <a:pt x="96" y="25"/>
                  </a:lnTo>
                  <a:lnTo>
                    <a:pt x="99" y="22"/>
                  </a:lnTo>
                  <a:lnTo>
                    <a:pt x="104" y="20"/>
                  </a:lnTo>
                  <a:lnTo>
                    <a:pt x="107" y="17"/>
                  </a:lnTo>
                  <a:lnTo>
                    <a:pt x="119" y="7"/>
                  </a:lnTo>
                  <a:lnTo>
                    <a:pt x="122" y="5"/>
                  </a:lnTo>
                  <a:lnTo>
                    <a:pt x="125" y="3"/>
                  </a:lnTo>
                  <a:lnTo>
                    <a:pt x="129" y="1"/>
                  </a:lnTo>
                  <a:lnTo>
                    <a:pt x="131" y="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A8A8A8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102">
              <a:extLst>
                <a:ext uri="{FF2B5EF4-FFF2-40B4-BE49-F238E27FC236}">
                  <a16:creationId xmlns:a16="http://schemas.microsoft.com/office/drawing/2014/main" id="{C09EBE00-C3B5-D636-E262-ABA41A841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436" y="4598825"/>
              <a:ext cx="846138" cy="966788"/>
            </a:xfrm>
            <a:custGeom>
              <a:avLst/>
              <a:gdLst>
                <a:gd name="T0" fmla="*/ 147 w 533"/>
                <a:gd name="T1" fmla="*/ 19 h 609"/>
                <a:gd name="T2" fmla="*/ 172 w 533"/>
                <a:gd name="T3" fmla="*/ 6 h 609"/>
                <a:gd name="T4" fmla="*/ 193 w 533"/>
                <a:gd name="T5" fmla="*/ 21 h 609"/>
                <a:gd name="T6" fmla="*/ 222 w 533"/>
                <a:gd name="T7" fmla="*/ 35 h 609"/>
                <a:gd name="T8" fmla="*/ 252 w 533"/>
                <a:gd name="T9" fmla="*/ 44 h 609"/>
                <a:gd name="T10" fmla="*/ 273 w 533"/>
                <a:gd name="T11" fmla="*/ 61 h 609"/>
                <a:gd name="T12" fmla="*/ 279 w 533"/>
                <a:gd name="T13" fmla="*/ 70 h 609"/>
                <a:gd name="T14" fmla="*/ 294 w 533"/>
                <a:gd name="T15" fmla="*/ 84 h 609"/>
                <a:gd name="T16" fmla="*/ 290 w 533"/>
                <a:gd name="T17" fmla="*/ 103 h 609"/>
                <a:gd name="T18" fmla="*/ 270 w 533"/>
                <a:gd name="T19" fmla="*/ 120 h 609"/>
                <a:gd name="T20" fmla="*/ 279 w 533"/>
                <a:gd name="T21" fmla="*/ 148 h 609"/>
                <a:gd name="T22" fmla="*/ 282 w 533"/>
                <a:gd name="T23" fmla="*/ 175 h 609"/>
                <a:gd name="T24" fmla="*/ 295 w 533"/>
                <a:gd name="T25" fmla="*/ 193 h 609"/>
                <a:gd name="T26" fmla="*/ 288 w 533"/>
                <a:gd name="T27" fmla="*/ 220 h 609"/>
                <a:gd name="T28" fmla="*/ 278 w 533"/>
                <a:gd name="T29" fmla="*/ 273 h 609"/>
                <a:gd name="T30" fmla="*/ 304 w 533"/>
                <a:gd name="T31" fmla="*/ 310 h 609"/>
                <a:gd name="T32" fmla="*/ 326 w 533"/>
                <a:gd name="T33" fmla="*/ 365 h 609"/>
                <a:gd name="T34" fmla="*/ 348 w 533"/>
                <a:gd name="T35" fmla="*/ 396 h 609"/>
                <a:gd name="T36" fmla="*/ 375 w 533"/>
                <a:gd name="T37" fmla="*/ 440 h 609"/>
                <a:gd name="T38" fmla="*/ 407 w 533"/>
                <a:gd name="T39" fmla="*/ 460 h 609"/>
                <a:gd name="T40" fmla="*/ 434 w 533"/>
                <a:gd name="T41" fmla="*/ 476 h 609"/>
                <a:gd name="T42" fmla="*/ 459 w 533"/>
                <a:gd name="T43" fmla="*/ 494 h 609"/>
                <a:gd name="T44" fmla="*/ 506 w 533"/>
                <a:gd name="T45" fmla="*/ 510 h 609"/>
                <a:gd name="T46" fmla="*/ 532 w 533"/>
                <a:gd name="T47" fmla="*/ 524 h 609"/>
                <a:gd name="T48" fmla="*/ 512 w 533"/>
                <a:gd name="T49" fmla="*/ 542 h 609"/>
                <a:gd name="T50" fmla="*/ 505 w 533"/>
                <a:gd name="T51" fmla="*/ 557 h 609"/>
                <a:gd name="T52" fmla="*/ 496 w 533"/>
                <a:gd name="T53" fmla="*/ 564 h 609"/>
                <a:gd name="T54" fmla="*/ 489 w 533"/>
                <a:gd name="T55" fmla="*/ 596 h 609"/>
                <a:gd name="T56" fmla="*/ 456 w 533"/>
                <a:gd name="T57" fmla="*/ 607 h 609"/>
                <a:gd name="T58" fmla="*/ 361 w 533"/>
                <a:gd name="T59" fmla="*/ 607 h 609"/>
                <a:gd name="T60" fmla="*/ 326 w 533"/>
                <a:gd name="T61" fmla="*/ 593 h 609"/>
                <a:gd name="T62" fmla="*/ 302 w 533"/>
                <a:gd name="T63" fmla="*/ 564 h 609"/>
                <a:gd name="T64" fmla="*/ 280 w 533"/>
                <a:gd name="T65" fmla="*/ 553 h 609"/>
                <a:gd name="T66" fmla="*/ 261 w 533"/>
                <a:gd name="T67" fmla="*/ 540 h 609"/>
                <a:gd name="T68" fmla="*/ 241 w 533"/>
                <a:gd name="T69" fmla="*/ 564 h 609"/>
                <a:gd name="T70" fmla="*/ 197 w 533"/>
                <a:gd name="T71" fmla="*/ 576 h 609"/>
                <a:gd name="T72" fmla="*/ 159 w 533"/>
                <a:gd name="T73" fmla="*/ 572 h 609"/>
                <a:gd name="T74" fmla="*/ 104 w 533"/>
                <a:gd name="T75" fmla="*/ 544 h 609"/>
                <a:gd name="T76" fmla="*/ 55 w 533"/>
                <a:gd name="T77" fmla="*/ 539 h 609"/>
                <a:gd name="T78" fmla="*/ 34 w 533"/>
                <a:gd name="T79" fmla="*/ 518 h 609"/>
                <a:gd name="T80" fmla="*/ 0 w 533"/>
                <a:gd name="T81" fmla="*/ 507 h 609"/>
                <a:gd name="T82" fmla="*/ 13 w 533"/>
                <a:gd name="T83" fmla="*/ 466 h 609"/>
                <a:gd name="T84" fmla="*/ 18 w 533"/>
                <a:gd name="T85" fmla="*/ 440 h 609"/>
                <a:gd name="T86" fmla="*/ 7 w 533"/>
                <a:gd name="T87" fmla="*/ 407 h 609"/>
                <a:gd name="T88" fmla="*/ 29 w 533"/>
                <a:gd name="T89" fmla="*/ 387 h 609"/>
                <a:gd name="T90" fmla="*/ 24 w 533"/>
                <a:gd name="T91" fmla="*/ 368 h 609"/>
                <a:gd name="T92" fmla="*/ 18 w 533"/>
                <a:gd name="T93" fmla="*/ 350 h 609"/>
                <a:gd name="T94" fmla="*/ 35 w 533"/>
                <a:gd name="T95" fmla="*/ 335 h 609"/>
                <a:gd name="T96" fmla="*/ 37 w 533"/>
                <a:gd name="T97" fmla="*/ 310 h 609"/>
                <a:gd name="T98" fmla="*/ 71 w 533"/>
                <a:gd name="T99" fmla="*/ 275 h 609"/>
                <a:gd name="T100" fmla="*/ 92 w 533"/>
                <a:gd name="T101" fmla="*/ 228 h 609"/>
                <a:gd name="T102" fmla="*/ 81 w 533"/>
                <a:gd name="T103" fmla="*/ 201 h 609"/>
                <a:gd name="T104" fmla="*/ 79 w 533"/>
                <a:gd name="T105" fmla="*/ 143 h 609"/>
                <a:gd name="T106" fmla="*/ 77 w 533"/>
                <a:gd name="T107" fmla="*/ 99 h 609"/>
                <a:gd name="T108" fmla="*/ 68 w 533"/>
                <a:gd name="T109" fmla="*/ 56 h 609"/>
                <a:gd name="T110" fmla="*/ 71 w 533"/>
                <a:gd name="T111" fmla="*/ 24 h 609"/>
                <a:gd name="T112" fmla="*/ 86 w 533"/>
                <a:gd name="T113" fmla="*/ 21 h 609"/>
                <a:gd name="T114" fmla="*/ 106 w 533"/>
                <a:gd name="T115" fmla="*/ 12 h 609"/>
                <a:gd name="T116" fmla="*/ 127 w 533"/>
                <a:gd name="T117" fmla="*/ 0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3" h="609">
                  <a:moveTo>
                    <a:pt x="127" y="0"/>
                  </a:moveTo>
                  <a:lnTo>
                    <a:pt x="128" y="0"/>
                  </a:lnTo>
                  <a:lnTo>
                    <a:pt x="129" y="0"/>
                  </a:lnTo>
                  <a:lnTo>
                    <a:pt x="132" y="6"/>
                  </a:lnTo>
                  <a:lnTo>
                    <a:pt x="138" y="15"/>
                  </a:lnTo>
                  <a:lnTo>
                    <a:pt x="139" y="17"/>
                  </a:lnTo>
                  <a:lnTo>
                    <a:pt x="139" y="18"/>
                  </a:lnTo>
                  <a:lnTo>
                    <a:pt x="141" y="18"/>
                  </a:lnTo>
                  <a:lnTo>
                    <a:pt x="142" y="19"/>
                  </a:lnTo>
                  <a:lnTo>
                    <a:pt x="143" y="19"/>
                  </a:lnTo>
                  <a:lnTo>
                    <a:pt x="147" y="19"/>
                  </a:lnTo>
                  <a:lnTo>
                    <a:pt x="148" y="19"/>
                  </a:lnTo>
                  <a:lnTo>
                    <a:pt x="150" y="18"/>
                  </a:lnTo>
                  <a:lnTo>
                    <a:pt x="153" y="17"/>
                  </a:lnTo>
                  <a:lnTo>
                    <a:pt x="155" y="15"/>
                  </a:lnTo>
                  <a:lnTo>
                    <a:pt x="157" y="13"/>
                  </a:lnTo>
                  <a:lnTo>
                    <a:pt x="164" y="8"/>
                  </a:lnTo>
                  <a:lnTo>
                    <a:pt x="165" y="7"/>
                  </a:lnTo>
                  <a:lnTo>
                    <a:pt x="167" y="6"/>
                  </a:lnTo>
                  <a:lnTo>
                    <a:pt x="169" y="6"/>
                  </a:lnTo>
                  <a:lnTo>
                    <a:pt x="170" y="6"/>
                  </a:lnTo>
                  <a:lnTo>
                    <a:pt x="172" y="6"/>
                  </a:lnTo>
                  <a:lnTo>
                    <a:pt x="174" y="7"/>
                  </a:lnTo>
                  <a:lnTo>
                    <a:pt x="175" y="7"/>
                  </a:lnTo>
                  <a:lnTo>
                    <a:pt x="176" y="8"/>
                  </a:lnTo>
                  <a:lnTo>
                    <a:pt x="177" y="9"/>
                  </a:lnTo>
                  <a:lnTo>
                    <a:pt x="179" y="10"/>
                  </a:lnTo>
                  <a:lnTo>
                    <a:pt x="183" y="15"/>
                  </a:lnTo>
                  <a:lnTo>
                    <a:pt x="184" y="16"/>
                  </a:lnTo>
                  <a:lnTo>
                    <a:pt x="186" y="17"/>
                  </a:lnTo>
                  <a:lnTo>
                    <a:pt x="187" y="18"/>
                  </a:lnTo>
                  <a:lnTo>
                    <a:pt x="192" y="20"/>
                  </a:lnTo>
                  <a:lnTo>
                    <a:pt x="193" y="21"/>
                  </a:lnTo>
                  <a:lnTo>
                    <a:pt x="194" y="21"/>
                  </a:lnTo>
                  <a:lnTo>
                    <a:pt x="194" y="22"/>
                  </a:lnTo>
                  <a:lnTo>
                    <a:pt x="195" y="25"/>
                  </a:lnTo>
                  <a:lnTo>
                    <a:pt x="196" y="25"/>
                  </a:lnTo>
                  <a:lnTo>
                    <a:pt x="197" y="26"/>
                  </a:lnTo>
                  <a:lnTo>
                    <a:pt x="198" y="27"/>
                  </a:lnTo>
                  <a:lnTo>
                    <a:pt x="201" y="28"/>
                  </a:lnTo>
                  <a:lnTo>
                    <a:pt x="208" y="31"/>
                  </a:lnTo>
                  <a:lnTo>
                    <a:pt x="212" y="33"/>
                  </a:lnTo>
                  <a:lnTo>
                    <a:pt x="218" y="35"/>
                  </a:lnTo>
                  <a:lnTo>
                    <a:pt x="222" y="35"/>
                  </a:lnTo>
                  <a:lnTo>
                    <a:pt x="227" y="36"/>
                  </a:lnTo>
                  <a:lnTo>
                    <a:pt x="227" y="37"/>
                  </a:lnTo>
                  <a:lnTo>
                    <a:pt x="228" y="38"/>
                  </a:lnTo>
                  <a:lnTo>
                    <a:pt x="229" y="38"/>
                  </a:lnTo>
                  <a:lnTo>
                    <a:pt x="230" y="38"/>
                  </a:lnTo>
                  <a:lnTo>
                    <a:pt x="232" y="39"/>
                  </a:lnTo>
                  <a:lnTo>
                    <a:pt x="241" y="40"/>
                  </a:lnTo>
                  <a:lnTo>
                    <a:pt x="244" y="40"/>
                  </a:lnTo>
                  <a:lnTo>
                    <a:pt x="246" y="42"/>
                  </a:lnTo>
                  <a:lnTo>
                    <a:pt x="249" y="43"/>
                  </a:lnTo>
                  <a:lnTo>
                    <a:pt x="252" y="44"/>
                  </a:lnTo>
                  <a:lnTo>
                    <a:pt x="254" y="45"/>
                  </a:lnTo>
                  <a:lnTo>
                    <a:pt x="257" y="48"/>
                  </a:lnTo>
                  <a:lnTo>
                    <a:pt x="259" y="49"/>
                  </a:lnTo>
                  <a:lnTo>
                    <a:pt x="260" y="50"/>
                  </a:lnTo>
                  <a:lnTo>
                    <a:pt x="261" y="50"/>
                  </a:lnTo>
                  <a:lnTo>
                    <a:pt x="264" y="55"/>
                  </a:lnTo>
                  <a:lnTo>
                    <a:pt x="266" y="58"/>
                  </a:lnTo>
                  <a:lnTo>
                    <a:pt x="268" y="59"/>
                  </a:lnTo>
                  <a:lnTo>
                    <a:pt x="270" y="60"/>
                  </a:lnTo>
                  <a:lnTo>
                    <a:pt x="271" y="61"/>
                  </a:lnTo>
                  <a:lnTo>
                    <a:pt x="273" y="61"/>
                  </a:lnTo>
                  <a:lnTo>
                    <a:pt x="276" y="62"/>
                  </a:lnTo>
                  <a:lnTo>
                    <a:pt x="277" y="63"/>
                  </a:lnTo>
                  <a:lnTo>
                    <a:pt x="279" y="63"/>
                  </a:lnTo>
                  <a:lnTo>
                    <a:pt x="280" y="64"/>
                  </a:lnTo>
                  <a:lnTo>
                    <a:pt x="281" y="65"/>
                  </a:lnTo>
                  <a:lnTo>
                    <a:pt x="281" y="65"/>
                  </a:lnTo>
                  <a:lnTo>
                    <a:pt x="281" y="66"/>
                  </a:lnTo>
                  <a:lnTo>
                    <a:pt x="281" y="67"/>
                  </a:lnTo>
                  <a:lnTo>
                    <a:pt x="279" y="68"/>
                  </a:lnTo>
                  <a:lnTo>
                    <a:pt x="279" y="69"/>
                  </a:lnTo>
                  <a:lnTo>
                    <a:pt x="279" y="70"/>
                  </a:lnTo>
                  <a:lnTo>
                    <a:pt x="279" y="71"/>
                  </a:lnTo>
                  <a:lnTo>
                    <a:pt x="279" y="73"/>
                  </a:lnTo>
                  <a:lnTo>
                    <a:pt x="280" y="74"/>
                  </a:lnTo>
                  <a:lnTo>
                    <a:pt x="280" y="75"/>
                  </a:lnTo>
                  <a:lnTo>
                    <a:pt x="284" y="80"/>
                  </a:lnTo>
                  <a:lnTo>
                    <a:pt x="286" y="81"/>
                  </a:lnTo>
                  <a:lnTo>
                    <a:pt x="287" y="82"/>
                  </a:lnTo>
                  <a:lnTo>
                    <a:pt x="289" y="83"/>
                  </a:lnTo>
                  <a:lnTo>
                    <a:pt x="293" y="83"/>
                  </a:lnTo>
                  <a:lnTo>
                    <a:pt x="294" y="84"/>
                  </a:lnTo>
                  <a:lnTo>
                    <a:pt x="294" y="84"/>
                  </a:lnTo>
                  <a:lnTo>
                    <a:pt x="295" y="85"/>
                  </a:lnTo>
                  <a:lnTo>
                    <a:pt x="296" y="85"/>
                  </a:lnTo>
                  <a:lnTo>
                    <a:pt x="296" y="87"/>
                  </a:lnTo>
                  <a:lnTo>
                    <a:pt x="296" y="88"/>
                  </a:lnTo>
                  <a:lnTo>
                    <a:pt x="296" y="89"/>
                  </a:lnTo>
                  <a:lnTo>
                    <a:pt x="296" y="91"/>
                  </a:lnTo>
                  <a:lnTo>
                    <a:pt x="296" y="93"/>
                  </a:lnTo>
                  <a:lnTo>
                    <a:pt x="294" y="95"/>
                  </a:lnTo>
                  <a:lnTo>
                    <a:pt x="293" y="98"/>
                  </a:lnTo>
                  <a:lnTo>
                    <a:pt x="291" y="101"/>
                  </a:lnTo>
                  <a:lnTo>
                    <a:pt x="290" y="103"/>
                  </a:lnTo>
                  <a:lnTo>
                    <a:pt x="288" y="105"/>
                  </a:lnTo>
                  <a:lnTo>
                    <a:pt x="286" y="107"/>
                  </a:lnTo>
                  <a:lnTo>
                    <a:pt x="284" y="108"/>
                  </a:lnTo>
                  <a:lnTo>
                    <a:pt x="280" y="110"/>
                  </a:lnTo>
                  <a:lnTo>
                    <a:pt x="278" y="110"/>
                  </a:lnTo>
                  <a:lnTo>
                    <a:pt x="276" y="111"/>
                  </a:lnTo>
                  <a:lnTo>
                    <a:pt x="275" y="113"/>
                  </a:lnTo>
                  <a:lnTo>
                    <a:pt x="273" y="115"/>
                  </a:lnTo>
                  <a:lnTo>
                    <a:pt x="271" y="117"/>
                  </a:lnTo>
                  <a:lnTo>
                    <a:pt x="270" y="120"/>
                  </a:lnTo>
                  <a:lnTo>
                    <a:pt x="270" y="120"/>
                  </a:lnTo>
                  <a:lnTo>
                    <a:pt x="269" y="122"/>
                  </a:lnTo>
                  <a:lnTo>
                    <a:pt x="269" y="123"/>
                  </a:lnTo>
                  <a:lnTo>
                    <a:pt x="270" y="125"/>
                  </a:lnTo>
                  <a:lnTo>
                    <a:pt x="270" y="125"/>
                  </a:lnTo>
                  <a:lnTo>
                    <a:pt x="271" y="128"/>
                  </a:lnTo>
                  <a:lnTo>
                    <a:pt x="272" y="130"/>
                  </a:lnTo>
                  <a:lnTo>
                    <a:pt x="275" y="135"/>
                  </a:lnTo>
                  <a:lnTo>
                    <a:pt x="276" y="138"/>
                  </a:lnTo>
                  <a:lnTo>
                    <a:pt x="277" y="140"/>
                  </a:lnTo>
                  <a:lnTo>
                    <a:pt x="278" y="145"/>
                  </a:lnTo>
                  <a:lnTo>
                    <a:pt x="279" y="148"/>
                  </a:lnTo>
                  <a:lnTo>
                    <a:pt x="280" y="152"/>
                  </a:lnTo>
                  <a:lnTo>
                    <a:pt x="283" y="159"/>
                  </a:lnTo>
                  <a:lnTo>
                    <a:pt x="284" y="161"/>
                  </a:lnTo>
                  <a:lnTo>
                    <a:pt x="284" y="163"/>
                  </a:lnTo>
                  <a:lnTo>
                    <a:pt x="284" y="165"/>
                  </a:lnTo>
                  <a:lnTo>
                    <a:pt x="284" y="167"/>
                  </a:lnTo>
                  <a:lnTo>
                    <a:pt x="282" y="169"/>
                  </a:lnTo>
                  <a:lnTo>
                    <a:pt x="281" y="170"/>
                  </a:lnTo>
                  <a:lnTo>
                    <a:pt x="281" y="172"/>
                  </a:lnTo>
                  <a:lnTo>
                    <a:pt x="281" y="173"/>
                  </a:lnTo>
                  <a:lnTo>
                    <a:pt x="282" y="175"/>
                  </a:lnTo>
                  <a:lnTo>
                    <a:pt x="284" y="176"/>
                  </a:lnTo>
                  <a:lnTo>
                    <a:pt x="286" y="178"/>
                  </a:lnTo>
                  <a:lnTo>
                    <a:pt x="290" y="181"/>
                  </a:lnTo>
                  <a:lnTo>
                    <a:pt x="291" y="183"/>
                  </a:lnTo>
                  <a:lnTo>
                    <a:pt x="292" y="183"/>
                  </a:lnTo>
                  <a:lnTo>
                    <a:pt x="294" y="185"/>
                  </a:lnTo>
                  <a:lnTo>
                    <a:pt x="295" y="188"/>
                  </a:lnTo>
                  <a:lnTo>
                    <a:pt x="295" y="189"/>
                  </a:lnTo>
                  <a:lnTo>
                    <a:pt x="296" y="190"/>
                  </a:lnTo>
                  <a:lnTo>
                    <a:pt x="296" y="192"/>
                  </a:lnTo>
                  <a:lnTo>
                    <a:pt x="295" y="193"/>
                  </a:lnTo>
                  <a:lnTo>
                    <a:pt x="294" y="198"/>
                  </a:lnTo>
                  <a:lnTo>
                    <a:pt x="293" y="200"/>
                  </a:lnTo>
                  <a:lnTo>
                    <a:pt x="293" y="202"/>
                  </a:lnTo>
                  <a:lnTo>
                    <a:pt x="294" y="206"/>
                  </a:lnTo>
                  <a:lnTo>
                    <a:pt x="294" y="208"/>
                  </a:lnTo>
                  <a:lnTo>
                    <a:pt x="294" y="210"/>
                  </a:lnTo>
                  <a:lnTo>
                    <a:pt x="293" y="211"/>
                  </a:lnTo>
                  <a:lnTo>
                    <a:pt x="293" y="212"/>
                  </a:lnTo>
                  <a:lnTo>
                    <a:pt x="292" y="213"/>
                  </a:lnTo>
                  <a:lnTo>
                    <a:pt x="289" y="217"/>
                  </a:lnTo>
                  <a:lnTo>
                    <a:pt x="288" y="220"/>
                  </a:lnTo>
                  <a:lnTo>
                    <a:pt x="288" y="222"/>
                  </a:lnTo>
                  <a:lnTo>
                    <a:pt x="287" y="227"/>
                  </a:lnTo>
                  <a:lnTo>
                    <a:pt x="286" y="230"/>
                  </a:lnTo>
                  <a:lnTo>
                    <a:pt x="285" y="233"/>
                  </a:lnTo>
                  <a:lnTo>
                    <a:pt x="282" y="241"/>
                  </a:lnTo>
                  <a:lnTo>
                    <a:pt x="281" y="245"/>
                  </a:lnTo>
                  <a:lnTo>
                    <a:pt x="280" y="248"/>
                  </a:lnTo>
                  <a:lnTo>
                    <a:pt x="279" y="259"/>
                  </a:lnTo>
                  <a:lnTo>
                    <a:pt x="277" y="266"/>
                  </a:lnTo>
                  <a:lnTo>
                    <a:pt x="277" y="270"/>
                  </a:lnTo>
                  <a:lnTo>
                    <a:pt x="278" y="273"/>
                  </a:lnTo>
                  <a:lnTo>
                    <a:pt x="278" y="275"/>
                  </a:lnTo>
                  <a:lnTo>
                    <a:pt x="279" y="277"/>
                  </a:lnTo>
                  <a:lnTo>
                    <a:pt x="280" y="279"/>
                  </a:lnTo>
                  <a:lnTo>
                    <a:pt x="281" y="281"/>
                  </a:lnTo>
                  <a:lnTo>
                    <a:pt x="282" y="283"/>
                  </a:lnTo>
                  <a:lnTo>
                    <a:pt x="284" y="285"/>
                  </a:lnTo>
                  <a:lnTo>
                    <a:pt x="291" y="292"/>
                  </a:lnTo>
                  <a:lnTo>
                    <a:pt x="296" y="298"/>
                  </a:lnTo>
                  <a:lnTo>
                    <a:pt x="299" y="302"/>
                  </a:lnTo>
                  <a:lnTo>
                    <a:pt x="302" y="306"/>
                  </a:lnTo>
                  <a:lnTo>
                    <a:pt x="304" y="310"/>
                  </a:lnTo>
                  <a:lnTo>
                    <a:pt x="306" y="314"/>
                  </a:lnTo>
                  <a:lnTo>
                    <a:pt x="314" y="327"/>
                  </a:lnTo>
                  <a:lnTo>
                    <a:pt x="316" y="332"/>
                  </a:lnTo>
                  <a:lnTo>
                    <a:pt x="319" y="337"/>
                  </a:lnTo>
                  <a:lnTo>
                    <a:pt x="321" y="345"/>
                  </a:lnTo>
                  <a:lnTo>
                    <a:pt x="324" y="352"/>
                  </a:lnTo>
                  <a:lnTo>
                    <a:pt x="324" y="355"/>
                  </a:lnTo>
                  <a:lnTo>
                    <a:pt x="325" y="357"/>
                  </a:lnTo>
                  <a:lnTo>
                    <a:pt x="326" y="360"/>
                  </a:lnTo>
                  <a:lnTo>
                    <a:pt x="326" y="363"/>
                  </a:lnTo>
                  <a:lnTo>
                    <a:pt x="326" y="365"/>
                  </a:lnTo>
                  <a:lnTo>
                    <a:pt x="326" y="367"/>
                  </a:lnTo>
                  <a:lnTo>
                    <a:pt x="327" y="369"/>
                  </a:lnTo>
                  <a:lnTo>
                    <a:pt x="328" y="370"/>
                  </a:lnTo>
                  <a:lnTo>
                    <a:pt x="329" y="373"/>
                  </a:lnTo>
                  <a:lnTo>
                    <a:pt x="331" y="375"/>
                  </a:lnTo>
                  <a:lnTo>
                    <a:pt x="332" y="377"/>
                  </a:lnTo>
                  <a:lnTo>
                    <a:pt x="334" y="379"/>
                  </a:lnTo>
                  <a:lnTo>
                    <a:pt x="339" y="383"/>
                  </a:lnTo>
                  <a:lnTo>
                    <a:pt x="341" y="385"/>
                  </a:lnTo>
                  <a:lnTo>
                    <a:pt x="346" y="392"/>
                  </a:lnTo>
                  <a:lnTo>
                    <a:pt x="348" y="396"/>
                  </a:lnTo>
                  <a:lnTo>
                    <a:pt x="351" y="400"/>
                  </a:lnTo>
                  <a:lnTo>
                    <a:pt x="352" y="405"/>
                  </a:lnTo>
                  <a:lnTo>
                    <a:pt x="354" y="408"/>
                  </a:lnTo>
                  <a:lnTo>
                    <a:pt x="356" y="416"/>
                  </a:lnTo>
                  <a:lnTo>
                    <a:pt x="357" y="420"/>
                  </a:lnTo>
                  <a:lnTo>
                    <a:pt x="359" y="424"/>
                  </a:lnTo>
                  <a:lnTo>
                    <a:pt x="361" y="427"/>
                  </a:lnTo>
                  <a:lnTo>
                    <a:pt x="363" y="430"/>
                  </a:lnTo>
                  <a:lnTo>
                    <a:pt x="365" y="432"/>
                  </a:lnTo>
                  <a:lnTo>
                    <a:pt x="370" y="436"/>
                  </a:lnTo>
                  <a:lnTo>
                    <a:pt x="375" y="440"/>
                  </a:lnTo>
                  <a:lnTo>
                    <a:pt x="377" y="442"/>
                  </a:lnTo>
                  <a:lnTo>
                    <a:pt x="379" y="445"/>
                  </a:lnTo>
                  <a:lnTo>
                    <a:pt x="383" y="450"/>
                  </a:lnTo>
                  <a:lnTo>
                    <a:pt x="384" y="452"/>
                  </a:lnTo>
                  <a:lnTo>
                    <a:pt x="385" y="453"/>
                  </a:lnTo>
                  <a:lnTo>
                    <a:pt x="386" y="454"/>
                  </a:lnTo>
                  <a:lnTo>
                    <a:pt x="389" y="455"/>
                  </a:lnTo>
                  <a:lnTo>
                    <a:pt x="390" y="456"/>
                  </a:lnTo>
                  <a:lnTo>
                    <a:pt x="392" y="457"/>
                  </a:lnTo>
                  <a:lnTo>
                    <a:pt x="396" y="458"/>
                  </a:lnTo>
                  <a:lnTo>
                    <a:pt x="407" y="460"/>
                  </a:lnTo>
                  <a:lnTo>
                    <a:pt x="415" y="462"/>
                  </a:lnTo>
                  <a:lnTo>
                    <a:pt x="418" y="462"/>
                  </a:lnTo>
                  <a:lnTo>
                    <a:pt x="424" y="463"/>
                  </a:lnTo>
                  <a:lnTo>
                    <a:pt x="426" y="463"/>
                  </a:lnTo>
                  <a:lnTo>
                    <a:pt x="428" y="464"/>
                  </a:lnTo>
                  <a:lnTo>
                    <a:pt x="429" y="464"/>
                  </a:lnTo>
                  <a:lnTo>
                    <a:pt x="430" y="465"/>
                  </a:lnTo>
                  <a:lnTo>
                    <a:pt x="431" y="466"/>
                  </a:lnTo>
                  <a:lnTo>
                    <a:pt x="431" y="468"/>
                  </a:lnTo>
                  <a:lnTo>
                    <a:pt x="432" y="470"/>
                  </a:lnTo>
                  <a:lnTo>
                    <a:pt x="434" y="476"/>
                  </a:lnTo>
                  <a:lnTo>
                    <a:pt x="434" y="478"/>
                  </a:lnTo>
                  <a:lnTo>
                    <a:pt x="436" y="480"/>
                  </a:lnTo>
                  <a:lnTo>
                    <a:pt x="437" y="482"/>
                  </a:lnTo>
                  <a:lnTo>
                    <a:pt x="439" y="484"/>
                  </a:lnTo>
                  <a:lnTo>
                    <a:pt x="442" y="485"/>
                  </a:lnTo>
                  <a:lnTo>
                    <a:pt x="444" y="486"/>
                  </a:lnTo>
                  <a:lnTo>
                    <a:pt x="454" y="489"/>
                  </a:lnTo>
                  <a:lnTo>
                    <a:pt x="456" y="489"/>
                  </a:lnTo>
                  <a:lnTo>
                    <a:pt x="457" y="491"/>
                  </a:lnTo>
                  <a:lnTo>
                    <a:pt x="459" y="492"/>
                  </a:lnTo>
                  <a:lnTo>
                    <a:pt x="459" y="494"/>
                  </a:lnTo>
                  <a:lnTo>
                    <a:pt x="463" y="499"/>
                  </a:lnTo>
                  <a:lnTo>
                    <a:pt x="464" y="502"/>
                  </a:lnTo>
                  <a:lnTo>
                    <a:pt x="466" y="503"/>
                  </a:lnTo>
                  <a:lnTo>
                    <a:pt x="468" y="504"/>
                  </a:lnTo>
                  <a:lnTo>
                    <a:pt x="471" y="505"/>
                  </a:lnTo>
                  <a:lnTo>
                    <a:pt x="476" y="507"/>
                  </a:lnTo>
                  <a:lnTo>
                    <a:pt x="481" y="508"/>
                  </a:lnTo>
                  <a:lnTo>
                    <a:pt x="486" y="509"/>
                  </a:lnTo>
                  <a:lnTo>
                    <a:pt x="490" y="509"/>
                  </a:lnTo>
                  <a:lnTo>
                    <a:pt x="501" y="509"/>
                  </a:lnTo>
                  <a:lnTo>
                    <a:pt x="506" y="510"/>
                  </a:lnTo>
                  <a:lnTo>
                    <a:pt x="510" y="511"/>
                  </a:lnTo>
                  <a:lnTo>
                    <a:pt x="515" y="512"/>
                  </a:lnTo>
                  <a:lnTo>
                    <a:pt x="525" y="513"/>
                  </a:lnTo>
                  <a:lnTo>
                    <a:pt x="528" y="514"/>
                  </a:lnTo>
                  <a:lnTo>
                    <a:pt x="531" y="514"/>
                  </a:lnTo>
                  <a:lnTo>
                    <a:pt x="532" y="514"/>
                  </a:lnTo>
                  <a:lnTo>
                    <a:pt x="533" y="514"/>
                  </a:lnTo>
                  <a:lnTo>
                    <a:pt x="533" y="515"/>
                  </a:lnTo>
                  <a:lnTo>
                    <a:pt x="533" y="517"/>
                  </a:lnTo>
                  <a:lnTo>
                    <a:pt x="533" y="521"/>
                  </a:lnTo>
                  <a:lnTo>
                    <a:pt x="532" y="524"/>
                  </a:lnTo>
                  <a:lnTo>
                    <a:pt x="531" y="527"/>
                  </a:lnTo>
                  <a:lnTo>
                    <a:pt x="531" y="529"/>
                  </a:lnTo>
                  <a:lnTo>
                    <a:pt x="530" y="532"/>
                  </a:lnTo>
                  <a:lnTo>
                    <a:pt x="529" y="533"/>
                  </a:lnTo>
                  <a:lnTo>
                    <a:pt x="526" y="537"/>
                  </a:lnTo>
                  <a:lnTo>
                    <a:pt x="524" y="537"/>
                  </a:lnTo>
                  <a:lnTo>
                    <a:pt x="523" y="539"/>
                  </a:lnTo>
                  <a:lnTo>
                    <a:pt x="520" y="539"/>
                  </a:lnTo>
                  <a:lnTo>
                    <a:pt x="518" y="541"/>
                  </a:lnTo>
                  <a:lnTo>
                    <a:pt x="516" y="541"/>
                  </a:lnTo>
                  <a:lnTo>
                    <a:pt x="512" y="542"/>
                  </a:lnTo>
                  <a:lnTo>
                    <a:pt x="511" y="542"/>
                  </a:lnTo>
                  <a:lnTo>
                    <a:pt x="511" y="543"/>
                  </a:lnTo>
                  <a:lnTo>
                    <a:pt x="510" y="544"/>
                  </a:lnTo>
                  <a:lnTo>
                    <a:pt x="509" y="544"/>
                  </a:lnTo>
                  <a:lnTo>
                    <a:pt x="508" y="546"/>
                  </a:lnTo>
                  <a:lnTo>
                    <a:pt x="508" y="547"/>
                  </a:lnTo>
                  <a:lnTo>
                    <a:pt x="507" y="549"/>
                  </a:lnTo>
                  <a:lnTo>
                    <a:pt x="506" y="554"/>
                  </a:lnTo>
                  <a:lnTo>
                    <a:pt x="506" y="556"/>
                  </a:lnTo>
                  <a:lnTo>
                    <a:pt x="506" y="557"/>
                  </a:lnTo>
                  <a:lnTo>
                    <a:pt x="505" y="557"/>
                  </a:lnTo>
                  <a:lnTo>
                    <a:pt x="504" y="557"/>
                  </a:lnTo>
                  <a:lnTo>
                    <a:pt x="502" y="558"/>
                  </a:lnTo>
                  <a:lnTo>
                    <a:pt x="499" y="559"/>
                  </a:lnTo>
                  <a:lnTo>
                    <a:pt x="498" y="559"/>
                  </a:lnTo>
                  <a:lnTo>
                    <a:pt x="497" y="559"/>
                  </a:lnTo>
                  <a:lnTo>
                    <a:pt x="496" y="560"/>
                  </a:lnTo>
                  <a:lnTo>
                    <a:pt x="496" y="561"/>
                  </a:lnTo>
                  <a:lnTo>
                    <a:pt x="496" y="562"/>
                  </a:lnTo>
                  <a:lnTo>
                    <a:pt x="496" y="562"/>
                  </a:lnTo>
                  <a:lnTo>
                    <a:pt x="496" y="563"/>
                  </a:lnTo>
                  <a:lnTo>
                    <a:pt x="496" y="564"/>
                  </a:lnTo>
                  <a:lnTo>
                    <a:pt x="501" y="572"/>
                  </a:lnTo>
                  <a:lnTo>
                    <a:pt x="503" y="577"/>
                  </a:lnTo>
                  <a:lnTo>
                    <a:pt x="503" y="578"/>
                  </a:lnTo>
                  <a:lnTo>
                    <a:pt x="502" y="580"/>
                  </a:lnTo>
                  <a:lnTo>
                    <a:pt x="501" y="582"/>
                  </a:lnTo>
                  <a:lnTo>
                    <a:pt x="501" y="584"/>
                  </a:lnTo>
                  <a:lnTo>
                    <a:pt x="499" y="586"/>
                  </a:lnTo>
                  <a:lnTo>
                    <a:pt x="496" y="589"/>
                  </a:lnTo>
                  <a:lnTo>
                    <a:pt x="494" y="592"/>
                  </a:lnTo>
                  <a:lnTo>
                    <a:pt x="491" y="594"/>
                  </a:lnTo>
                  <a:lnTo>
                    <a:pt x="489" y="596"/>
                  </a:lnTo>
                  <a:lnTo>
                    <a:pt x="487" y="597"/>
                  </a:lnTo>
                  <a:lnTo>
                    <a:pt x="484" y="599"/>
                  </a:lnTo>
                  <a:lnTo>
                    <a:pt x="482" y="600"/>
                  </a:lnTo>
                  <a:lnTo>
                    <a:pt x="479" y="602"/>
                  </a:lnTo>
                  <a:lnTo>
                    <a:pt x="476" y="603"/>
                  </a:lnTo>
                  <a:lnTo>
                    <a:pt x="474" y="604"/>
                  </a:lnTo>
                  <a:lnTo>
                    <a:pt x="471" y="605"/>
                  </a:lnTo>
                  <a:lnTo>
                    <a:pt x="468" y="605"/>
                  </a:lnTo>
                  <a:lnTo>
                    <a:pt x="465" y="606"/>
                  </a:lnTo>
                  <a:lnTo>
                    <a:pt x="461" y="607"/>
                  </a:lnTo>
                  <a:lnTo>
                    <a:pt x="456" y="607"/>
                  </a:lnTo>
                  <a:lnTo>
                    <a:pt x="451" y="607"/>
                  </a:lnTo>
                  <a:lnTo>
                    <a:pt x="440" y="607"/>
                  </a:lnTo>
                  <a:lnTo>
                    <a:pt x="434" y="607"/>
                  </a:lnTo>
                  <a:lnTo>
                    <a:pt x="421" y="607"/>
                  </a:lnTo>
                  <a:lnTo>
                    <a:pt x="410" y="608"/>
                  </a:lnTo>
                  <a:lnTo>
                    <a:pt x="396" y="609"/>
                  </a:lnTo>
                  <a:lnTo>
                    <a:pt x="385" y="609"/>
                  </a:lnTo>
                  <a:lnTo>
                    <a:pt x="380" y="609"/>
                  </a:lnTo>
                  <a:lnTo>
                    <a:pt x="370" y="609"/>
                  </a:lnTo>
                  <a:lnTo>
                    <a:pt x="364" y="607"/>
                  </a:lnTo>
                  <a:lnTo>
                    <a:pt x="361" y="607"/>
                  </a:lnTo>
                  <a:lnTo>
                    <a:pt x="358" y="605"/>
                  </a:lnTo>
                  <a:lnTo>
                    <a:pt x="352" y="602"/>
                  </a:lnTo>
                  <a:lnTo>
                    <a:pt x="349" y="602"/>
                  </a:lnTo>
                  <a:lnTo>
                    <a:pt x="344" y="600"/>
                  </a:lnTo>
                  <a:lnTo>
                    <a:pt x="337" y="599"/>
                  </a:lnTo>
                  <a:lnTo>
                    <a:pt x="335" y="599"/>
                  </a:lnTo>
                  <a:lnTo>
                    <a:pt x="332" y="598"/>
                  </a:lnTo>
                  <a:lnTo>
                    <a:pt x="330" y="597"/>
                  </a:lnTo>
                  <a:lnTo>
                    <a:pt x="329" y="596"/>
                  </a:lnTo>
                  <a:lnTo>
                    <a:pt x="327" y="594"/>
                  </a:lnTo>
                  <a:lnTo>
                    <a:pt x="326" y="593"/>
                  </a:lnTo>
                  <a:lnTo>
                    <a:pt x="325" y="592"/>
                  </a:lnTo>
                  <a:lnTo>
                    <a:pt x="323" y="589"/>
                  </a:lnTo>
                  <a:lnTo>
                    <a:pt x="319" y="582"/>
                  </a:lnTo>
                  <a:lnTo>
                    <a:pt x="317" y="580"/>
                  </a:lnTo>
                  <a:lnTo>
                    <a:pt x="316" y="579"/>
                  </a:lnTo>
                  <a:lnTo>
                    <a:pt x="313" y="576"/>
                  </a:lnTo>
                  <a:lnTo>
                    <a:pt x="307" y="570"/>
                  </a:lnTo>
                  <a:lnTo>
                    <a:pt x="305" y="568"/>
                  </a:lnTo>
                  <a:lnTo>
                    <a:pt x="304" y="567"/>
                  </a:lnTo>
                  <a:lnTo>
                    <a:pt x="303" y="566"/>
                  </a:lnTo>
                  <a:lnTo>
                    <a:pt x="302" y="564"/>
                  </a:lnTo>
                  <a:lnTo>
                    <a:pt x="300" y="560"/>
                  </a:lnTo>
                  <a:lnTo>
                    <a:pt x="299" y="558"/>
                  </a:lnTo>
                  <a:lnTo>
                    <a:pt x="299" y="556"/>
                  </a:lnTo>
                  <a:lnTo>
                    <a:pt x="296" y="554"/>
                  </a:lnTo>
                  <a:lnTo>
                    <a:pt x="296" y="554"/>
                  </a:lnTo>
                  <a:lnTo>
                    <a:pt x="294" y="553"/>
                  </a:lnTo>
                  <a:lnTo>
                    <a:pt x="294" y="553"/>
                  </a:lnTo>
                  <a:lnTo>
                    <a:pt x="292" y="552"/>
                  </a:lnTo>
                  <a:lnTo>
                    <a:pt x="289" y="552"/>
                  </a:lnTo>
                  <a:lnTo>
                    <a:pt x="282" y="553"/>
                  </a:lnTo>
                  <a:lnTo>
                    <a:pt x="280" y="553"/>
                  </a:lnTo>
                  <a:lnTo>
                    <a:pt x="276" y="553"/>
                  </a:lnTo>
                  <a:lnTo>
                    <a:pt x="276" y="553"/>
                  </a:lnTo>
                  <a:lnTo>
                    <a:pt x="274" y="552"/>
                  </a:lnTo>
                  <a:lnTo>
                    <a:pt x="272" y="551"/>
                  </a:lnTo>
                  <a:lnTo>
                    <a:pt x="270" y="549"/>
                  </a:lnTo>
                  <a:lnTo>
                    <a:pt x="268" y="547"/>
                  </a:lnTo>
                  <a:lnTo>
                    <a:pt x="266" y="544"/>
                  </a:lnTo>
                  <a:lnTo>
                    <a:pt x="264" y="542"/>
                  </a:lnTo>
                  <a:lnTo>
                    <a:pt x="262" y="541"/>
                  </a:lnTo>
                  <a:lnTo>
                    <a:pt x="261" y="540"/>
                  </a:lnTo>
                  <a:lnTo>
                    <a:pt x="261" y="540"/>
                  </a:lnTo>
                  <a:lnTo>
                    <a:pt x="259" y="539"/>
                  </a:lnTo>
                  <a:lnTo>
                    <a:pt x="257" y="540"/>
                  </a:lnTo>
                  <a:lnTo>
                    <a:pt x="256" y="541"/>
                  </a:lnTo>
                  <a:lnTo>
                    <a:pt x="254" y="542"/>
                  </a:lnTo>
                  <a:lnTo>
                    <a:pt x="254" y="543"/>
                  </a:lnTo>
                  <a:lnTo>
                    <a:pt x="252" y="546"/>
                  </a:lnTo>
                  <a:lnTo>
                    <a:pt x="247" y="556"/>
                  </a:lnTo>
                  <a:lnTo>
                    <a:pt x="244" y="561"/>
                  </a:lnTo>
                  <a:lnTo>
                    <a:pt x="243" y="562"/>
                  </a:lnTo>
                  <a:lnTo>
                    <a:pt x="242" y="563"/>
                  </a:lnTo>
                  <a:lnTo>
                    <a:pt x="241" y="564"/>
                  </a:lnTo>
                  <a:lnTo>
                    <a:pt x="239" y="564"/>
                  </a:lnTo>
                  <a:lnTo>
                    <a:pt x="237" y="565"/>
                  </a:lnTo>
                  <a:lnTo>
                    <a:pt x="224" y="567"/>
                  </a:lnTo>
                  <a:lnTo>
                    <a:pt x="219" y="568"/>
                  </a:lnTo>
                  <a:lnTo>
                    <a:pt x="217" y="569"/>
                  </a:lnTo>
                  <a:lnTo>
                    <a:pt x="213" y="570"/>
                  </a:lnTo>
                  <a:lnTo>
                    <a:pt x="204" y="574"/>
                  </a:lnTo>
                  <a:lnTo>
                    <a:pt x="202" y="575"/>
                  </a:lnTo>
                  <a:lnTo>
                    <a:pt x="200" y="576"/>
                  </a:lnTo>
                  <a:lnTo>
                    <a:pt x="199" y="576"/>
                  </a:lnTo>
                  <a:lnTo>
                    <a:pt x="197" y="576"/>
                  </a:lnTo>
                  <a:lnTo>
                    <a:pt x="192" y="576"/>
                  </a:lnTo>
                  <a:lnTo>
                    <a:pt x="184" y="576"/>
                  </a:lnTo>
                  <a:lnTo>
                    <a:pt x="178" y="576"/>
                  </a:lnTo>
                  <a:lnTo>
                    <a:pt x="174" y="576"/>
                  </a:lnTo>
                  <a:lnTo>
                    <a:pt x="167" y="578"/>
                  </a:lnTo>
                  <a:lnTo>
                    <a:pt x="164" y="578"/>
                  </a:lnTo>
                  <a:lnTo>
                    <a:pt x="164" y="577"/>
                  </a:lnTo>
                  <a:lnTo>
                    <a:pt x="162" y="577"/>
                  </a:lnTo>
                  <a:lnTo>
                    <a:pt x="162" y="577"/>
                  </a:lnTo>
                  <a:lnTo>
                    <a:pt x="161" y="575"/>
                  </a:lnTo>
                  <a:lnTo>
                    <a:pt x="159" y="572"/>
                  </a:lnTo>
                  <a:lnTo>
                    <a:pt x="156" y="564"/>
                  </a:lnTo>
                  <a:lnTo>
                    <a:pt x="154" y="559"/>
                  </a:lnTo>
                  <a:lnTo>
                    <a:pt x="152" y="555"/>
                  </a:lnTo>
                  <a:lnTo>
                    <a:pt x="150" y="552"/>
                  </a:lnTo>
                  <a:lnTo>
                    <a:pt x="148" y="549"/>
                  </a:lnTo>
                  <a:lnTo>
                    <a:pt x="147" y="548"/>
                  </a:lnTo>
                  <a:lnTo>
                    <a:pt x="144" y="547"/>
                  </a:lnTo>
                  <a:lnTo>
                    <a:pt x="143" y="547"/>
                  </a:lnTo>
                  <a:lnTo>
                    <a:pt x="141" y="546"/>
                  </a:lnTo>
                  <a:lnTo>
                    <a:pt x="116" y="545"/>
                  </a:lnTo>
                  <a:lnTo>
                    <a:pt x="104" y="544"/>
                  </a:lnTo>
                  <a:lnTo>
                    <a:pt x="91" y="544"/>
                  </a:lnTo>
                  <a:lnTo>
                    <a:pt x="85" y="544"/>
                  </a:lnTo>
                  <a:lnTo>
                    <a:pt x="75" y="545"/>
                  </a:lnTo>
                  <a:lnTo>
                    <a:pt x="72" y="545"/>
                  </a:lnTo>
                  <a:lnTo>
                    <a:pt x="68" y="545"/>
                  </a:lnTo>
                  <a:lnTo>
                    <a:pt x="66" y="544"/>
                  </a:lnTo>
                  <a:lnTo>
                    <a:pt x="64" y="544"/>
                  </a:lnTo>
                  <a:lnTo>
                    <a:pt x="61" y="543"/>
                  </a:lnTo>
                  <a:lnTo>
                    <a:pt x="59" y="542"/>
                  </a:lnTo>
                  <a:lnTo>
                    <a:pt x="57" y="541"/>
                  </a:lnTo>
                  <a:lnTo>
                    <a:pt x="55" y="539"/>
                  </a:lnTo>
                  <a:lnTo>
                    <a:pt x="54" y="538"/>
                  </a:lnTo>
                  <a:lnTo>
                    <a:pt x="52" y="537"/>
                  </a:lnTo>
                  <a:lnTo>
                    <a:pt x="49" y="530"/>
                  </a:lnTo>
                  <a:lnTo>
                    <a:pt x="48" y="528"/>
                  </a:lnTo>
                  <a:lnTo>
                    <a:pt x="47" y="527"/>
                  </a:lnTo>
                  <a:lnTo>
                    <a:pt x="45" y="525"/>
                  </a:lnTo>
                  <a:lnTo>
                    <a:pt x="44" y="524"/>
                  </a:lnTo>
                  <a:lnTo>
                    <a:pt x="42" y="522"/>
                  </a:lnTo>
                  <a:lnTo>
                    <a:pt x="39" y="521"/>
                  </a:lnTo>
                  <a:lnTo>
                    <a:pt x="37" y="519"/>
                  </a:lnTo>
                  <a:lnTo>
                    <a:pt x="34" y="518"/>
                  </a:lnTo>
                  <a:lnTo>
                    <a:pt x="31" y="517"/>
                  </a:lnTo>
                  <a:lnTo>
                    <a:pt x="27" y="516"/>
                  </a:lnTo>
                  <a:lnTo>
                    <a:pt x="21" y="514"/>
                  </a:lnTo>
                  <a:lnTo>
                    <a:pt x="10" y="512"/>
                  </a:lnTo>
                  <a:lnTo>
                    <a:pt x="7" y="512"/>
                  </a:lnTo>
                  <a:lnTo>
                    <a:pt x="5" y="511"/>
                  </a:lnTo>
                  <a:lnTo>
                    <a:pt x="3" y="510"/>
                  </a:lnTo>
                  <a:lnTo>
                    <a:pt x="1" y="509"/>
                  </a:lnTo>
                  <a:lnTo>
                    <a:pt x="0" y="508"/>
                  </a:lnTo>
                  <a:lnTo>
                    <a:pt x="0" y="508"/>
                  </a:lnTo>
                  <a:lnTo>
                    <a:pt x="0" y="507"/>
                  </a:lnTo>
                  <a:lnTo>
                    <a:pt x="0" y="507"/>
                  </a:lnTo>
                  <a:lnTo>
                    <a:pt x="0" y="502"/>
                  </a:lnTo>
                  <a:lnTo>
                    <a:pt x="0" y="499"/>
                  </a:lnTo>
                  <a:lnTo>
                    <a:pt x="4" y="484"/>
                  </a:lnTo>
                  <a:lnTo>
                    <a:pt x="5" y="480"/>
                  </a:lnTo>
                  <a:lnTo>
                    <a:pt x="6" y="477"/>
                  </a:lnTo>
                  <a:lnTo>
                    <a:pt x="7" y="474"/>
                  </a:lnTo>
                  <a:lnTo>
                    <a:pt x="8" y="472"/>
                  </a:lnTo>
                  <a:lnTo>
                    <a:pt x="9" y="471"/>
                  </a:lnTo>
                  <a:lnTo>
                    <a:pt x="10" y="469"/>
                  </a:lnTo>
                  <a:lnTo>
                    <a:pt x="13" y="466"/>
                  </a:lnTo>
                  <a:lnTo>
                    <a:pt x="18" y="461"/>
                  </a:lnTo>
                  <a:lnTo>
                    <a:pt x="19" y="459"/>
                  </a:lnTo>
                  <a:lnTo>
                    <a:pt x="20" y="458"/>
                  </a:lnTo>
                  <a:lnTo>
                    <a:pt x="21" y="457"/>
                  </a:lnTo>
                  <a:lnTo>
                    <a:pt x="21" y="455"/>
                  </a:lnTo>
                  <a:lnTo>
                    <a:pt x="22" y="453"/>
                  </a:lnTo>
                  <a:lnTo>
                    <a:pt x="22" y="451"/>
                  </a:lnTo>
                  <a:lnTo>
                    <a:pt x="21" y="447"/>
                  </a:lnTo>
                  <a:lnTo>
                    <a:pt x="20" y="445"/>
                  </a:lnTo>
                  <a:lnTo>
                    <a:pt x="19" y="442"/>
                  </a:lnTo>
                  <a:lnTo>
                    <a:pt x="18" y="440"/>
                  </a:lnTo>
                  <a:lnTo>
                    <a:pt x="17" y="438"/>
                  </a:lnTo>
                  <a:lnTo>
                    <a:pt x="12" y="432"/>
                  </a:lnTo>
                  <a:lnTo>
                    <a:pt x="10" y="430"/>
                  </a:lnTo>
                  <a:lnTo>
                    <a:pt x="8" y="425"/>
                  </a:lnTo>
                  <a:lnTo>
                    <a:pt x="7" y="422"/>
                  </a:lnTo>
                  <a:lnTo>
                    <a:pt x="6" y="419"/>
                  </a:lnTo>
                  <a:lnTo>
                    <a:pt x="5" y="416"/>
                  </a:lnTo>
                  <a:lnTo>
                    <a:pt x="5" y="414"/>
                  </a:lnTo>
                  <a:lnTo>
                    <a:pt x="5" y="412"/>
                  </a:lnTo>
                  <a:lnTo>
                    <a:pt x="6" y="410"/>
                  </a:lnTo>
                  <a:lnTo>
                    <a:pt x="7" y="407"/>
                  </a:lnTo>
                  <a:lnTo>
                    <a:pt x="8" y="406"/>
                  </a:lnTo>
                  <a:lnTo>
                    <a:pt x="9" y="405"/>
                  </a:lnTo>
                  <a:lnTo>
                    <a:pt x="11" y="402"/>
                  </a:lnTo>
                  <a:lnTo>
                    <a:pt x="15" y="398"/>
                  </a:lnTo>
                  <a:lnTo>
                    <a:pt x="19" y="393"/>
                  </a:lnTo>
                  <a:lnTo>
                    <a:pt x="20" y="392"/>
                  </a:lnTo>
                  <a:lnTo>
                    <a:pt x="22" y="391"/>
                  </a:lnTo>
                  <a:lnTo>
                    <a:pt x="26" y="390"/>
                  </a:lnTo>
                  <a:lnTo>
                    <a:pt x="27" y="389"/>
                  </a:lnTo>
                  <a:lnTo>
                    <a:pt x="29" y="388"/>
                  </a:lnTo>
                  <a:lnTo>
                    <a:pt x="29" y="387"/>
                  </a:lnTo>
                  <a:lnTo>
                    <a:pt x="30" y="386"/>
                  </a:lnTo>
                  <a:lnTo>
                    <a:pt x="31" y="384"/>
                  </a:lnTo>
                  <a:lnTo>
                    <a:pt x="32" y="380"/>
                  </a:lnTo>
                  <a:lnTo>
                    <a:pt x="33" y="378"/>
                  </a:lnTo>
                  <a:lnTo>
                    <a:pt x="33" y="377"/>
                  </a:lnTo>
                  <a:lnTo>
                    <a:pt x="33" y="376"/>
                  </a:lnTo>
                  <a:lnTo>
                    <a:pt x="32" y="375"/>
                  </a:lnTo>
                  <a:lnTo>
                    <a:pt x="32" y="375"/>
                  </a:lnTo>
                  <a:lnTo>
                    <a:pt x="31" y="373"/>
                  </a:lnTo>
                  <a:lnTo>
                    <a:pt x="26" y="370"/>
                  </a:lnTo>
                  <a:lnTo>
                    <a:pt x="24" y="368"/>
                  </a:lnTo>
                  <a:lnTo>
                    <a:pt x="22" y="366"/>
                  </a:lnTo>
                  <a:lnTo>
                    <a:pt x="21" y="365"/>
                  </a:lnTo>
                  <a:lnTo>
                    <a:pt x="20" y="363"/>
                  </a:lnTo>
                  <a:lnTo>
                    <a:pt x="19" y="361"/>
                  </a:lnTo>
                  <a:lnTo>
                    <a:pt x="19" y="360"/>
                  </a:lnTo>
                  <a:lnTo>
                    <a:pt x="18" y="357"/>
                  </a:lnTo>
                  <a:lnTo>
                    <a:pt x="18" y="356"/>
                  </a:lnTo>
                  <a:lnTo>
                    <a:pt x="18" y="355"/>
                  </a:lnTo>
                  <a:lnTo>
                    <a:pt x="18" y="352"/>
                  </a:lnTo>
                  <a:lnTo>
                    <a:pt x="18" y="351"/>
                  </a:lnTo>
                  <a:lnTo>
                    <a:pt x="18" y="350"/>
                  </a:lnTo>
                  <a:lnTo>
                    <a:pt x="19" y="349"/>
                  </a:lnTo>
                  <a:lnTo>
                    <a:pt x="19" y="348"/>
                  </a:lnTo>
                  <a:lnTo>
                    <a:pt x="20" y="347"/>
                  </a:lnTo>
                  <a:lnTo>
                    <a:pt x="21" y="346"/>
                  </a:lnTo>
                  <a:lnTo>
                    <a:pt x="22" y="345"/>
                  </a:lnTo>
                  <a:lnTo>
                    <a:pt x="29" y="342"/>
                  </a:lnTo>
                  <a:lnTo>
                    <a:pt x="30" y="340"/>
                  </a:lnTo>
                  <a:lnTo>
                    <a:pt x="32" y="340"/>
                  </a:lnTo>
                  <a:lnTo>
                    <a:pt x="33" y="338"/>
                  </a:lnTo>
                  <a:lnTo>
                    <a:pt x="34" y="337"/>
                  </a:lnTo>
                  <a:lnTo>
                    <a:pt x="35" y="335"/>
                  </a:lnTo>
                  <a:lnTo>
                    <a:pt x="36" y="334"/>
                  </a:lnTo>
                  <a:lnTo>
                    <a:pt x="37" y="332"/>
                  </a:lnTo>
                  <a:lnTo>
                    <a:pt x="37" y="330"/>
                  </a:lnTo>
                  <a:lnTo>
                    <a:pt x="37" y="329"/>
                  </a:lnTo>
                  <a:lnTo>
                    <a:pt x="37" y="327"/>
                  </a:lnTo>
                  <a:lnTo>
                    <a:pt x="37" y="325"/>
                  </a:lnTo>
                  <a:lnTo>
                    <a:pt x="37" y="321"/>
                  </a:lnTo>
                  <a:lnTo>
                    <a:pt x="37" y="317"/>
                  </a:lnTo>
                  <a:lnTo>
                    <a:pt x="37" y="315"/>
                  </a:lnTo>
                  <a:lnTo>
                    <a:pt x="37" y="312"/>
                  </a:lnTo>
                  <a:lnTo>
                    <a:pt x="37" y="310"/>
                  </a:lnTo>
                  <a:lnTo>
                    <a:pt x="37" y="307"/>
                  </a:lnTo>
                  <a:lnTo>
                    <a:pt x="39" y="305"/>
                  </a:lnTo>
                  <a:lnTo>
                    <a:pt x="39" y="302"/>
                  </a:lnTo>
                  <a:lnTo>
                    <a:pt x="42" y="300"/>
                  </a:lnTo>
                  <a:lnTo>
                    <a:pt x="47" y="295"/>
                  </a:lnTo>
                  <a:lnTo>
                    <a:pt x="49" y="292"/>
                  </a:lnTo>
                  <a:lnTo>
                    <a:pt x="52" y="290"/>
                  </a:lnTo>
                  <a:lnTo>
                    <a:pt x="59" y="285"/>
                  </a:lnTo>
                  <a:lnTo>
                    <a:pt x="67" y="279"/>
                  </a:lnTo>
                  <a:lnTo>
                    <a:pt x="69" y="277"/>
                  </a:lnTo>
                  <a:lnTo>
                    <a:pt x="71" y="275"/>
                  </a:lnTo>
                  <a:lnTo>
                    <a:pt x="73" y="273"/>
                  </a:lnTo>
                  <a:lnTo>
                    <a:pt x="74" y="270"/>
                  </a:lnTo>
                  <a:lnTo>
                    <a:pt x="76" y="265"/>
                  </a:lnTo>
                  <a:lnTo>
                    <a:pt x="79" y="258"/>
                  </a:lnTo>
                  <a:lnTo>
                    <a:pt x="81" y="254"/>
                  </a:lnTo>
                  <a:lnTo>
                    <a:pt x="83" y="249"/>
                  </a:lnTo>
                  <a:lnTo>
                    <a:pt x="87" y="243"/>
                  </a:lnTo>
                  <a:lnTo>
                    <a:pt x="88" y="240"/>
                  </a:lnTo>
                  <a:lnTo>
                    <a:pt x="89" y="237"/>
                  </a:lnTo>
                  <a:lnTo>
                    <a:pt x="90" y="233"/>
                  </a:lnTo>
                  <a:lnTo>
                    <a:pt x="92" y="228"/>
                  </a:lnTo>
                  <a:lnTo>
                    <a:pt x="92" y="225"/>
                  </a:lnTo>
                  <a:lnTo>
                    <a:pt x="93" y="223"/>
                  </a:lnTo>
                  <a:lnTo>
                    <a:pt x="93" y="220"/>
                  </a:lnTo>
                  <a:lnTo>
                    <a:pt x="92" y="219"/>
                  </a:lnTo>
                  <a:lnTo>
                    <a:pt x="92" y="217"/>
                  </a:lnTo>
                  <a:lnTo>
                    <a:pt x="91" y="215"/>
                  </a:lnTo>
                  <a:lnTo>
                    <a:pt x="89" y="213"/>
                  </a:lnTo>
                  <a:lnTo>
                    <a:pt x="88" y="211"/>
                  </a:lnTo>
                  <a:lnTo>
                    <a:pt x="84" y="207"/>
                  </a:lnTo>
                  <a:lnTo>
                    <a:pt x="83" y="205"/>
                  </a:lnTo>
                  <a:lnTo>
                    <a:pt x="81" y="201"/>
                  </a:lnTo>
                  <a:lnTo>
                    <a:pt x="77" y="193"/>
                  </a:lnTo>
                  <a:lnTo>
                    <a:pt x="74" y="188"/>
                  </a:lnTo>
                  <a:lnTo>
                    <a:pt x="73" y="183"/>
                  </a:lnTo>
                  <a:lnTo>
                    <a:pt x="69" y="173"/>
                  </a:lnTo>
                  <a:lnTo>
                    <a:pt x="69" y="170"/>
                  </a:lnTo>
                  <a:lnTo>
                    <a:pt x="69" y="169"/>
                  </a:lnTo>
                  <a:lnTo>
                    <a:pt x="69" y="168"/>
                  </a:lnTo>
                  <a:lnTo>
                    <a:pt x="74" y="155"/>
                  </a:lnTo>
                  <a:lnTo>
                    <a:pt x="75" y="151"/>
                  </a:lnTo>
                  <a:lnTo>
                    <a:pt x="77" y="147"/>
                  </a:lnTo>
                  <a:lnTo>
                    <a:pt x="79" y="143"/>
                  </a:lnTo>
                  <a:lnTo>
                    <a:pt x="80" y="140"/>
                  </a:lnTo>
                  <a:lnTo>
                    <a:pt x="87" y="130"/>
                  </a:lnTo>
                  <a:lnTo>
                    <a:pt x="88" y="128"/>
                  </a:lnTo>
                  <a:lnTo>
                    <a:pt x="89" y="127"/>
                  </a:lnTo>
                  <a:lnTo>
                    <a:pt x="89" y="125"/>
                  </a:lnTo>
                  <a:lnTo>
                    <a:pt x="88" y="123"/>
                  </a:lnTo>
                  <a:lnTo>
                    <a:pt x="86" y="118"/>
                  </a:lnTo>
                  <a:lnTo>
                    <a:pt x="82" y="112"/>
                  </a:lnTo>
                  <a:lnTo>
                    <a:pt x="80" y="106"/>
                  </a:lnTo>
                  <a:lnTo>
                    <a:pt x="79" y="103"/>
                  </a:lnTo>
                  <a:lnTo>
                    <a:pt x="77" y="99"/>
                  </a:lnTo>
                  <a:lnTo>
                    <a:pt x="77" y="93"/>
                  </a:lnTo>
                  <a:lnTo>
                    <a:pt x="76" y="89"/>
                  </a:lnTo>
                  <a:lnTo>
                    <a:pt x="76" y="86"/>
                  </a:lnTo>
                  <a:lnTo>
                    <a:pt x="75" y="75"/>
                  </a:lnTo>
                  <a:lnTo>
                    <a:pt x="75" y="73"/>
                  </a:lnTo>
                  <a:lnTo>
                    <a:pt x="74" y="69"/>
                  </a:lnTo>
                  <a:lnTo>
                    <a:pt x="73" y="65"/>
                  </a:lnTo>
                  <a:lnTo>
                    <a:pt x="72" y="61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68" y="56"/>
                  </a:lnTo>
                  <a:lnTo>
                    <a:pt x="67" y="53"/>
                  </a:lnTo>
                  <a:lnTo>
                    <a:pt x="66" y="52"/>
                  </a:lnTo>
                  <a:lnTo>
                    <a:pt x="65" y="50"/>
                  </a:lnTo>
                  <a:lnTo>
                    <a:pt x="65" y="49"/>
                  </a:lnTo>
                  <a:lnTo>
                    <a:pt x="64" y="48"/>
                  </a:lnTo>
                  <a:lnTo>
                    <a:pt x="64" y="46"/>
                  </a:lnTo>
                  <a:lnTo>
                    <a:pt x="64" y="45"/>
                  </a:lnTo>
                  <a:lnTo>
                    <a:pt x="65" y="41"/>
                  </a:lnTo>
                  <a:lnTo>
                    <a:pt x="69" y="28"/>
                  </a:lnTo>
                  <a:lnTo>
                    <a:pt x="70" y="25"/>
                  </a:lnTo>
                  <a:lnTo>
                    <a:pt x="71" y="24"/>
                  </a:lnTo>
                  <a:lnTo>
                    <a:pt x="72" y="23"/>
                  </a:lnTo>
                  <a:lnTo>
                    <a:pt x="74" y="20"/>
                  </a:lnTo>
                  <a:lnTo>
                    <a:pt x="75" y="18"/>
                  </a:lnTo>
                  <a:lnTo>
                    <a:pt x="76" y="18"/>
                  </a:lnTo>
                  <a:lnTo>
                    <a:pt x="77" y="17"/>
                  </a:lnTo>
                  <a:lnTo>
                    <a:pt x="77" y="17"/>
                  </a:lnTo>
                  <a:lnTo>
                    <a:pt x="77" y="18"/>
                  </a:lnTo>
                  <a:lnTo>
                    <a:pt x="79" y="19"/>
                  </a:lnTo>
                  <a:lnTo>
                    <a:pt x="81" y="20"/>
                  </a:lnTo>
                  <a:lnTo>
                    <a:pt x="83" y="20"/>
                  </a:lnTo>
                  <a:lnTo>
                    <a:pt x="86" y="21"/>
                  </a:lnTo>
                  <a:lnTo>
                    <a:pt x="89" y="22"/>
                  </a:lnTo>
                  <a:lnTo>
                    <a:pt x="92" y="23"/>
                  </a:lnTo>
                  <a:lnTo>
                    <a:pt x="93" y="22"/>
                  </a:lnTo>
                  <a:lnTo>
                    <a:pt x="94" y="21"/>
                  </a:lnTo>
                  <a:lnTo>
                    <a:pt x="95" y="20"/>
                  </a:lnTo>
                  <a:lnTo>
                    <a:pt x="98" y="18"/>
                  </a:lnTo>
                  <a:lnTo>
                    <a:pt x="101" y="13"/>
                  </a:lnTo>
                  <a:lnTo>
                    <a:pt x="102" y="13"/>
                  </a:lnTo>
                  <a:lnTo>
                    <a:pt x="102" y="13"/>
                  </a:lnTo>
                  <a:lnTo>
                    <a:pt x="104" y="12"/>
                  </a:lnTo>
                  <a:lnTo>
                    <a:pt x="106" y="12"/>
                  </a:lnTo>
                  <a:lnTo>
                    <a:pt x="109" y="13"/>
                  </a:lnTo>
                  <a:lnTo>
                    <a:pt x="113" y="13"/>
                  </a:lnTo>
                  <a:lnTo>
                    <a:pt x="114" y="13"/>
                  </a:lnTo>
                  <a:lnTo>
                    <a:pt x="115" y="13"/>
                  </a:lnTo>
                  <a:lnTo>
                    <a:pt x="118" y="11"/>
                  </a:lnTo>
                  <a:lnTo>
                    <a:pt x="119" y="10"/>
                  </a:lnTo>
                  <a:lnTo>
                    <a:pt x="119" y="10"/>
                  </a:lnTo>
                  <a:lnTo>
                    <a:pt x="121" y="7"/>
                  </a:lnTo>
                  <a:lnTo>
                    <a:pt x="122" y="5"/>
                  </a:lnTo>
                  <a:lnTo>
                    <a:pt x="124" y="3"/>
                  </a:lnTo>
                  <a:lnTo>
                    <a:pt x="127" y="0"/>
                  </a:lnTo>
                  <a:lnTo>
                    <a:pt x="127" y="0"/>
                  </a:lnTo>
                  <a:close/>
                </a:path>
              </a:pathLst>
            </a:custGeom>
            <a:solidFill>
              <a:srgbClr val="A8A8A8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 103">
              <a:extLst>
                <a:ext uri="{FF2B5EF4-FFF2-40B4-BE49-F238E27FC236}">
                  <a16:creationId xmlns:a16="http://schemas.microsoft.com/office/drawing/2014/main" id="{EFFACBF0-1108-BB84-7767-C6A802C8C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6961" y="4421025"/>
              <a:ext cx="774700" cy="1096963"/>
            </a:xfrm>
            <a:custGeom>
              <a:avLst/>
              <a:gdLst>
                <a:gd name="T0" fmla="*/ 351 w 488"/>
                <a:gd name="T1" fmla="*/ 8 h 691"/>
                <a:gd name="T2" fmla="*/ 404 w 488"/>
                <a:gd name="T3" fmla="*/ 43 h 691"/>
                <a:gd name="T4" fmla="*/ 426 w 488"/>
                <a:gd name="T5" fmla="*/ 36 h 691"/>
                <a:gd name="T6" fmla="*/ 440 w 488"/>
                <a:gd name="T7" fmla="*/ 58 h 691"/>
                <a:gd name="T8" fmla="*/ 469 w 488"/>
                <a:gd name="T9" fmla="*/ 92 h 691"/>
                <a:gd name="T10" fmla="*/ 488 w 488"/>
                <a:gd name="T11" fmla="*/ 103 h 691"/>
                <a:gd name="T12" fmla="*/ 480 w 488"/>
                <a:gd name="T13" fmla="*/ 125 h 691"/>
                <a:gd name="T14" fmla="*/ 466 w 488"/>
                <a:gd name="T15" fmla="*/ 138 h 691"/>
                <a:gd name="T16" fmla="*/ 481 w 488"/>
                <a:gd name="T17" fmla="*/ 177 h 691"/>
                <a:gd name="T18" fmla="*/ 474 w 488"/>
                <a:gd name="T19" fmla="*/ 228 h 691"/>
                <a:gd name="T20" fmla="*/ 464 w 488"/>
                <a:gd name="T21" fmla="*/ 270 h 691"/>
                <a:gd name="T22" fmla="*/ 453 w 488"/>
                <a:gd name="T23" fmla="*/ 325 h 691"/>
                <a:gd name="T24" fmla="*/ 476 w 488"/>
                <a:gd name="T25" fmla="*/ 350 h 691"/>
                <a:gd name="T26" fmla="*/ 468 w 488"/>
                <a:gd name="T27" fmla="*/ 382 h 691"/>
                <a:gd name="T28" fmla="*/ 478 w 488"/>
                <a:gd name="T29" fmla="*/ 416 h 691"/>
                <a:gd name="T30" fmla="*/ 466 w 488"/>
                <a:gd name="T31" fmla="*/ 423 h 691"/>
                <a:gd name="T32" fmla="*/ 429 w 488"/>
                <a:gd name="T33" fmla="*/ 439 h 691"/>
                <a:gd name="T34" fmla="*/ 444 w 488"/>
                <a:gd name="T35" fmla="*/ 464 h 691"/>
                <a:gd name="T36" fmla="*/ 429 w 488"/>
                <a:gd name="T37" fmla="*/ 513 h 691"/>
                <a:gd name="T38" fmla="*/ 393 w 488"/>
                <a:gd name="T39" fmla="*/ 539 h 691"/>
                <a:gd name="T40" fmla="*/ 338 w 488"/>
                <a:gd name="T41" fmla="*/ 538 h 691"/>
                <a:gd name="T42" fmla="*/ 324 w 488"/>
                <a:gd name="T43" fmla="*/ 545 h 691"/>
                <a:gd name="T44" fmla="*/ 338 w 488"/>
                <a:gd name="T45" fmla="*/ 584 h 691"/>
                <a:gd name="T46" fmla="*/ 364 w 488"/>
                <a:gd name="T47" fmla="*/ 604 h 691"/>
                <a:gd name="T48" fmla="*/ 347 w 488"/>
                <a:gd name="T49" fmla="*/ 638 h 691"/>
                <a:gd name="T50" fmla="*/ 362 w 488"/>
                <a:gd name="T51" fmla="*/ 669 h 691"/>
                <a:gd name="T52" fmla="*/ 377 w 488"/>
                <a:gd name="T53" fmla="*/ 691 h 691"/>
                <a:gd name="T54" fmla="*/ 350 w 488"/>
                <a:gd name="T55" fmla="*/ 679 h 691"/>
                <a:gd name="T56" fmla="*/ 319 w 488"/>
                <a:gd name="T57" fmla="*/ 681 h 691"/>
                <a:gd name="T58" fmla="*/ 293 w 488"/>
                <a:gd name="T59" fmla="*/ 657 h 691"/>
                <a:gd name="T60" fmla="*/ 263 w 488"/>
                <a:gd name="T61" fmla="*/ 649 h 691"/>
                <a:gd name="T62" fmla="*/ 220 w 488"/>
                <a:gd name="T63" fmla="*/ 624 h 691"/>
                <a:gd name="T64" fmla="*/ 194 w 488"/>
                <a:gd name="T65" fmla="*/ 594 h 691"/>
                <a:gd name="T66" fmla="*/ 168 w 488"/>
                <a:gd name="T67" fmla="*/ 554 h 691"/>
                <a:gd name="T68" fmla="*/ 124 w 488"/>
                <a:gd name="T69" fmla="*/ 530 h 691"/>
                <a:gd name="T70" fmla="*/ 87 w 488"/>
                <a:gd name="T71" fmla="*/ 512 h 691"/>
                <a:gd name="T72" fmla="*/ 62 w 488"/>
                <a:gd name="T73" fmla="*/ 472 h 691"/>
                <a:gd name="T74" fmla="*/ 28 w 488"/>
                <a:gd name="T75" fmla="*/ 475 h 691"/>
                <a:gd name="T76" fmla="*/ 16 w 488"/>
                <a:gd name="T77" fmla="*/ 453 h 691"/>
                <a:gd name="T78" fmla="*/ 1 w 488"/>
                <a:gd name="T79" fmla="*/ 397 h 691"/>
                <a:gd name="T80" fmla="*/ 25 w 488"/>
                <a:gd name="T81" fmla="*/ 367 h 691"/>
                <a:gd name="T82" fmla="*/ 45 w 488"/>
                <a:gd name="T83" fmla="*/ 345 h 691"/>
                <a:gd name="T84" fmla="*/ 48 w 488"/>
                <a:gd name="T85" fmla="*/ 304 h 691"/>
                <a:gd name="T86" fmla="*/ 55 w 488"/>
                <a:gd name="T87" fmla="*/ 274 h 691"/>
                <a:gd name="T88" fmla="*/ 64 w 488"/>
                <a:gd name="T89" fmla="*/ 232 h 691"/>
                <a:gd name="T90" fmla="*/ 64 w 488"/>
                <a:gd name="T91" fmla="*/ 198 h 691"/>
                <a:gd name="T92" fmla="*/ 52 w 488"/>
                <a:gd name="T93" fmla="*/ 160 h 691"/>
                <a:gd name="T94" fmla="*/ 63 w 488"/>
                <a:gd name="T95" fmla="*/ 124 h 691"/>
                <a:gd name="T96" fmla="*/ 73 w 488"/>
                <a:gd name="T97" fmla="*/ 100 h 691"/>
                <a:gd name="T98" fmla="*/ 103 w 488"/>
                <a:gd name="T99" fmla="*/ 99 h 691"/>
                <a:gd name="T100" fmla="*/ 147 w 488"/>
                <a:gd name="T101" fmla="*/ 110 h 691"/>
                <a:gd name="T102" fmla="*/ 176 w 488"/>
                <a:gd name="T103" fmla="*/ 95 h 691"/>
                <a:gd name="T104" fmla="*/ 172 w 488"/>
                <a:gd name="T105" fmla="*/ 122 h 691"/>
                <a:gd name="T106" fmla="*/ 198 w 488"/>
                <a:gd name="T107" fmla="*/ 131 h 691"/>
                <a:gd name="T108" fmla="*/ 230 w 488"/>
                <a:gd name="T109" fmla="*/ 142 h 691"/>
                <a:gd name="T110" fmla="*/ 269 w 488"/>
                <a:gd name="T111" fmla="*/ 103 h 691"/>
                <a:gd name="T112" fmla="*/ 304 w 488"/>
                <a:gd name="T113" fmla="*/ 85 h 691"/>
                <a:gd name="T114" fmla="*/ 300 w 488"/>
                <a:gd name="T115" fmla="*/ 48 h 691"/>
                <a:gd name="T116" fmla="*/ 311 w 488"/>
                <a:gd name="T117" fmla="*/ 22 h 691"/>
                <a:gd name="T118" fmla="*/ 339 w 488"/>
                <a:gd name="T119" fmla="*/ 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88" h="691">
                  <a:moveTo>
                    <a:pt x="339" y="0"/>
                  </a:moveTo>
                  <a:lnTo>
                    <a:pt x="340" y="0"/>
                  </a:lnTo>
                  <a:lnTo>
                    <a:pt x="341" y="0"/>
                  </a:lnTo>
                  <a:lnTo>
                    <a:pt x="342" y="1"/>
                  </a:lnTo>
                  <a:lnTo>
                    <a:pt x="343" y="2"/>
                  </a:lnTo>
                  <a:lnTo>
                    <a:pt x="344" y="3"/>
                  </a:lnTo>
                  <a:lnTo>
                    <a:pt x="344" y="3"/>
                  </a:lnTo>
                  <a:lnTo>
                    <a:pt x="344" y="3"/>
                  </a:lnTo>
                  <a:lnTo>
                    <a:pt x="345" y="4"/>
                  </a:lnTo>
                  <a:lnTo>
                    <a:pt x="347" y="5"/>
                  </a:lnTo>
                  <a:lnTo>
                    <a:pt x="351" y="8"/>
                  </a:lnTo>
                  <a:lnTo>
                    <a:pt x="366" y="15"/>
                  </a:lnTo>
                  <a:lnTo>
                    <a:pt x="370" y="18"/>
                  </a:lnTo>
                  <a:lnTo>
                    <a:pt x="374" y="20"/>
                  </a:lnTo>
                  <a:lnTo>
                    <a:pt x="378" y="23"/>
                  </a:lnTo>
                  <a:lnTo>
                    <a:pt x="381" y="25"/>
                  </a:lnTo>
                  <a:lnTo>
                    <a:pt x="384" y="28"/>
                  </a:lnTo>
                  <a:lnTo>
                    <a:pt x="391" y="34"/>
                  </a:lnTo>
                  <a:lnTo>
                    <a:pt x="395" y="38"/>
                  </a:lnTo>
                  <a:lnTo>
                    <a:pt x="398" y="39"/>
                  </a:lnTo>
                  <a:lnTo>
                    <a:pt x="400" y="41"/>
                  </a:lnTo>
                  <a:lnTo>
                    <a:pt x="404" y="43"/>
                  </a:lnTo>
                  <a:lnTo>
                    <a:pt x="406" y="44"/>
                  </a:lnTo>
                  <a:lnTo>
                    <a:pt x="407" y="45"/>
                  </a:lnTo>
                  <a:lnTo>
                    <a:pt x="409" y="45"/>
                  </a:lnTo>
                  <a:lnTo>
                    <a:pt x="409" y="45"/>
                  </a:lnTo>
                  <a:lnTo>
                    <a:pt x="411" y="44"/>
                  </a:lnTo>
                  <a:lnTo>
                    <a:pt x="412" y="43"/>
                  </a:lnTo>
                  <a:lnTo>
                    <a:pt x="416" y="40"/>
                  </a:lnTo>
                  <a:lnTo>
                    <a:pt x="419" y="39"/>
                  </a:lnTo>
                  <a:lnTo>
                    <a:pt x="421" y="38"/>
                  </a:lnTo>
                  <a:lnTo>
                    <a:pt x="424" y="37"/>
                  </a:lnTo>
                  <a:lnTo>
                    <a:pt x="426" y="36"/>
                  </a:lnTo>
                  <a:lnTo>
                    <a:pt x="427" y="36"/>
                  </a:lnTo>
                  <a:lnTo>
                    <a:pt x="428" y="37"/>
                  </a:lnTo>
                  <a:lnTo>
                    <a:pt x="429" y="38"/>
                  </a:lnTo>
                  <a:lnTo>
                    <a:pt x="431" y="38"/>
                  </a:lnTo>
                  <a:lnTo>
                    <a:pt x="431" y="38"/>
                  </a:lnTo>
                  <a:lnTo>
                    <a:pt x="431" y="39"/>
                  </a:lnTo>
                  <a:lnTo>
                    <a:pt x="432" y="40"/>
                  </a:lnTo>
                  <a:lnTo>
                    <a:pt x="434" y="43"/>
                  </a:lnTo>
                  <a:lnTo>
                    <a:pt x="436" y="49"/>
                  </a:lnTo>
                  <a:lnTo>
                    <a:pt x="437" y="53"/>
                  </a:lnTo>
                  <a:lnTo>
                    <a:pt x="440" y="58"/>
                  </a:lnTo>
                  <a:lnTo>
                    <a:pt x="444" y="66"/>
                  </a:lnTo>
                  <a:lnTo>
                    <a:pt x="448" y="74"/>
                  </a:lnTo>
                  <a:lnTo>
                    <a:pt x="452" y="81"/>
                  </a:lnTo>
                  <a:lnTo>
                    <a:pt x="454" y="83"/>
                  </a:lnTo>
                  <a:lnTo>
                    <a:pt x="456" y="85"/>
                  </a:lnTo>
                  <a:lnTo>
                    <a:pt x="457" y="87"/>
                  </a:lnTo>
                  <a:lnTo>
                    <a:pt x="459" y="88"/>
                  </a:lnTo>
                  <a:lnTo>
                    <a:pt x="463" y="90"/>
                  </a:lnTo>
                  <a:lnTo>
                    <a:pt x="464" y="91"/>
                  </a:lnTo>
                  <a:lnTo>
                    <a:pt x="466" y="91"/>
                  </a:lnTo>
                  <a:lnTo>
                    <a:pt x="469" y="92"/>
                  </a:lnTo>
                  <a:lnTo>
                    <a:pt x="470" y="92"/>
                  </a:lnTo>
                  <a:lnTo>
                    <a:pt x="472" y="92"/>
                  </a:lnTo>
                  <a:lnTo>
                    <a:pt x="474" y="92"/>
                  </a:lnTo>
                  <a:lnTo>
                    <a:pt x="476" y="92"/>
                  </a:lnTo>
                  <a:lnTo>
                    <a:pt x="478" y="92"/>
                  </a:lnTo>
                  <a:lnTo>
                    <a:pt x="480" y="91"/>
                  </a:lnTo>
                  <a:lnTo>
                    <a:pt x="482" y="91"/>
                  </a:lnTo>
                  <a:lnTo>
                    <a:pt x="486" y="89"/>
                  </a:lnTo>
                  <a:lnTo>
                    <a:pt x="486" y="90"/>
                  </a:lnTo>
                  <a:lnTo>
                    <a:pt x="486" y="92"/>
                  </a:lnTo>
                  <a:lnTo>
                    <a:pt x="488" y="103"/>
                  </a:lnTo>
                  <a:lnTo>
                    <a:pt x="488" y="107"/>
                  </a:lnTo>
                  <a:lnTo>
                    <a:pt x="488" y="110"/>
                  </a:lnTo>
                  <a:lnTo>
                    <a:pt x="488" y="112"/>
                  </a:lnTo>
                  <a:lnTo>
                    <a:pt x="488" y="113"/>
                  </a:lnTo>
                  <a:lnTo>
                    <a:pt x="488" y="115"/>
                  </a:lnTo>
                  <a:lnTo>
                    <a:pt x="487" y="117"/>
                  </a:lnTo>
                  <a:lnTo>
                    <a:pt x="486" y="120"/>
                  </a:lnTo>
                  <a:lnTo>
                    <a:pt x="485" y="121"/>
                  </a:lnTo>
                  <a:lnTo>
                    <a:pt x="483" y="122"/>
                  </a:lnTo>
                  <a:lnTo>
                    <a:pt x="482" y="123"/>
                  </a:lnTo>
                  <a:lnTo>
                    <a:pt x="480" y="125"/>
                  </a:lnTo>
                  <a:lnTo>
                    <a:pt x="476" y="126"/>
                  </a:lnTo>
                  <a:lnTo>
                    <a:pt x="473" y="127"/>
                  </a:lnTo>
                  <a:lnTo>
                    <a:pt x="471" y="128"/>
                  </a:lnTo>
                  <a:lnTo>
                    <a:pt x="469" y="129"/>
                  </a:lnTo>
                  <a:lnTo>
                    <a:pt x="468" y="130"/>
                  </a:lnTo>
                  <a:lnTo>
                    <a:pt x="467" y="132"/>
                  </a:lnTo>
                  <a:lnTo>
                    <a:pt x="466" y="132"/>
                  </a:lnTo>
                  <a:lnTo>
                    <a:pt x="466" y="135"/>
                  </a:lnTo>
                  <a:lnTo>
                    <a:pt x="466" y="135"/>
                  </a:lnTo>
                  <a:lnTo>
                    <a:pt x="466" y="137"/>
                  </a:lnTo>
                  <a:lnTo>
                    <a:pt x="466" y="138"/>
                  </a:lnTo>
                  <a:lnTo>
                    <a:pt x="467" y="140"/>
                  </a:lnTo>
                  <a:lnTo>
                    <a:pt x="469" y="142"/>
                  </a:lnTo>
                  <a:lnTo>
                    <a:pt x="474" y="152"/>
                  </a:lnTo>
                  <a:lnTo>
                    <a:pt x="476" y="154"/>
                  </a:lnTo>
                  <a:lnTo>
                    <a:pt x="476" y="157"/>
                  </a:lnTo>
                  <a:lnTo>
                    <a:pt x="478" y="160"/>
                  </a:lnTo>
                  <a:lnTo>
                    <a:pt x="478" y="162"/>
                  </a:lnTo>
                  <a:lnTo>
                    <a:pt x="479" y="165"/>
                  </a:lnTo>
                  <a:lnTo>
                    <a:pt x="480" y="169"/>
                  </a:lnTo>
                  <a:lnTo>
                    <a:pt x="481" y="174"/>
                  </a:lnTo>
                  <a:lnTo>
                    <a:pt x="481" y="177"/>
                  </a:lnTo>
                  <a:lnTo>
                    <a:pt x="481" y="181"/>
                  </a:lnTo>
                  <a:lnTo>
                    <a:pt x="479" y="190"/>
                  </a:lnTo>
                  <a:lnTo>
                    <a:pt x="479" y="193"/>
                  </a:lnTo>
                  <a:lnTo>
                    <a:pt x="478" y="197"/>
                  </a:lnTo>
                  <a:lnTo>
                    <a:pt x="479" y="203"/>
                  </a:lnTo>
                  <a:lnTo>
                    <a:pt x="479" y="207"/>
                  </a:lnTo>
                  <a:lnTo>
                    <a:pt x="478" y="212"/>
                  </a:lnTo>
                  <a:lnTo>
                    <a:pt x="478" y="215"/>
                  </a:lnTo>
                  <a:lnTo>
                    <a:pt x="477" y="219"/>
                  </a:lnTo>
                  <a:lnTo>
                    <a:pt x="476" y="223"/>
                  </a:lnTo>
                  <a:lnTo>
                    <a:pt x="474" y="228"/>
                  </a:lnTo>
                  <a:lnTo>
                    <a:pt x="470" y="237"/>
                  </a:lnTo>
                  <a:lnTo>
                    <a:pt x="467" y="247"/>
                  </a:lnTo>
                  <a:lnTo>
                    <a:pt x="464" y="255"/>
                  </a:lnTo>
                  <a:lnTo>
                    <a:pt x="463" y="257"/>
                  </a:lnTo>
                  <a:lnTo>
                    <a:pt x="463" y="259"/>
                  </a:lnTo>
                  <a:lnTo>
                    <a:pt x="462" y="260"/>
                  </a:lnTo>
                  <a:lnTo>
                    <a:pt x="463" y="262"/>
                  </a:lnTo>
                  <a:lnTo>
                    <a:pt x="464" y="265"/>
                  </a:lnTo>
                  <a:lnTo>
                    <a:pt x="464" y="267"/>
                  </a:lnTo>
                  <a:lnTo>
                    <a:pt x="464" y="268"/>
                  </a:lnTo>
                  <a:lnTo>
                    <a:pt x="464" y="270"/>
                  </a:lnTo>
                  <a:lnTo>
                    <a:pt x="461" y="280"/>
                  </a:lnTo>
                  <a:lnTo>
                    <a:pt x="459" y="288"/>
                  </a:lnTo>
                  <a:lnTo>
                    <a:pt x="458" y="292"/>
                  </a:lnTo>
                  <a:lnTo>
                    <a:pt x="456" y="298"/>
                  </a:lnTo>
                  <a:lnTo>
                    <a:pt x="454" y="305"/>
                  </a:lnTo>
                  <a:lnTo>
                    <a:pt x="453" y="308"/>
                  </a:lnTo>
                  <a:lnTo>
                    <a:pt x="452" y="312"/>
                  </a:lnTo>
                  <a:lnTo>
                    <a:pt x="451" y="317"/>
                  </a:lnTo>
                  <a:lnTo>
                    <a:pt x="451" y="321"/>
                  </a:lnTo>
                  <a:lnTo>
                    <a:pt x="452" y="323"/>
                  </a:lnTo>
                  <a:lnTo>
                    <a:pt x="453" y="325"/>
                  </a:lnTo>
                  <a:lnTo>
                    <a:pt x="453" y="327"/>
                  </a:lnTo>
                  <a:lnTo>
                    <a:pt x="454" y="328"/>
                  </a:lnTo>
                  <a:lnTo>
                    <a:pt x="454" y="329"/>
                  </a:lnTo>
                  <a:lnTo>
                    <a:pt x="455" y="331"/>
                  </a:lnTo>
                  <a:lnTo>
                    <a:pt x="457" y="334"/>
                  </a:lnTo>
                  <a:lnTo>
                    <a:pt x="460" y="337"/>
                  </a:lnTo>
                  <a:lnTo>
                    <a:pt x="464" y="339"/>
                  </a:lnTo>
                  <a:lnTo>
                    <a:pt x="470" y="344"/>
                  </a:lnTo>
                  <a:lnTo>
                    <a:pt x="472" y="347"/>
                  </a:lnTo>
                  <a:lnTo>
                    <a:pt x="474" y="348"/>
                  </a:lnTo>
                  <a:lnTo>
                    <a:pt x="476" y="350"/>
                  </a:lnTo>
                  <a:lnTo>
                    <a:pt x="478" y="353"/>
                  </a:lnTo>
                  <a:lnTo>
                    <a:pt x="481" y="357"/>
                  </a:lnTo>
                  <a:lnTo>
                    <a:pt x="481" y="359"/>
                  </a:lnTo>
                  <a:lnTo>
                    <a:pt x="481" y="360"/>
                  </a:lnTo>
                  <a:lnTo>
                    <a:pt x="481" y="361"/>
                  </a:lnTo>
                  <a:lnTo>
                    <a:pt x="481" y="362"/>
                  </a:lnTo>
                  <a:lnTo>
                    <a:pt x="481" y="363"/>
                  </a:lnTo>
                  <a:lnTo>
                    <a:pt x="473" y="374"/>
                  </a:lnTo>
                  <a:lnTo>
                    <a:pt x="470" y="377"/>
                  </a:lnTo>
                  <a:lnTo>
                    <a:pt x="469" y="379"/>
                  </a:lnTo>
                  <a:lnTo>
                    <a:pt x="468" y="382"/>
                  </a:lnTo>
                  <a:lnTo>
                    <a:pt x="467" y="384"/>
                  </a:lnTo>
                  <a:lnTo>
                    <a:pt x="466" y="385"/>
                  </a:lnTo>
                  <a:lnTo>
                    <a:pt x="466" y="387"/>
                  </a:lnTo>
                  <a:lnTo>
                    <a:pt x="466" y="389"/>
                  </a:lnTo>
                  <a:lnTo>
                    <a:pt x="467" y="392"/>
                  </a:lnTo>
                  <a:lnTo>
                    <a:pt x="467" y="394"/>
                  </a:lnTo>
                  <a:lnTo>
                    <a:pt x="469" y="397"/>
                  </a:lnTo>
                  <a:lnTo>
                    <a:pt x="471" y="401"/>
                  </a:lnTo>
                  <a:lnTo>
                    <a:pt x="476" y="412"/>
                  </a:lnTo>
                  <a:lnTo>
                    <a:pt x="477" y="414"/>
                  </a:lnTo>
                  <a:lnTo>
                    <a:pt x="478" y="416"/>
                  </a:lnTo>
                  <a:lnTo>
                    <a:pt x="478" y="417"/>
                  </a:lnTo>
                  <a:lnTo>
                    <a:pt x="478" y="419"/>
                  </a:lnTo>
                  <a:lnTo>
                    <a:pt x="478" y="420"/>
                  </a:lnTo>
                  <a:lnTo>
                    <a:pt x="478" y="421"/>
                  </a:lnTo>
                  <a:lnTo>
                    <a:pt x="477" y="422"/>
                  </a:lnTo>
                  <a:lnTo>
                    <a:pt x="476" y="422"/>
                  </a:lnTo>
                  <a:lnTo>
                    <a:pt x="474" y="422"/>
                  </a:lnTo>
                  <a:lnTo>
                    <a:pt x="472" y="422"/>
                  </a:lnTo>
                  <a:lnTo>
                    <a:pt x="469" y="422"/>
                  </a:lnTo>
                  <a:lnTo>
                    <a:pt x="467" y="422"/>
                  </a:lnTo>
                  <a:lnTo>
                    <a:pt x="466" y="423"/>
                  </a:lnTo>
                  <a:lnTo>
                    <a:pt x="463" y="424"/>
                  </a:lnTo>
                  <a:lnTo>
                    <a:pt x="460" y="425"/>
                  </a:lnTo>
                  <a:lnTo>
                    <a:pt x="447" y="427"/>
                  </a:lnTo>
                  <a:lnTo>
                    <a:pt x="442" y="429"/>
                  </a:lnTo>
                  <a:lnTo>
                    <a:pt x="439" y="430"/>
                  </a:lnTo>
                  <a:lnTo>
                    <a:pt x="436" y="432"/>
                  </a:lnTo>
                  <a:lnTo>
                    <a:pt x="433" y="434"/>
                  </a:lnTo>
                  <a:lnTo>
                    <a:pt x="431" y="435"/>
                  </a:lnTo>
                  <a:lnTo>
                    <a:pt x="430" y="436"/>
                  </a:lnTo>
                  <a:lnTo>
                    <a:pt x="429" y="437"/>
                  </a:lnTo>
                  <a:lnTo>
                    <a:pt x="429" y="439"/>
                  </a:lnTo>
                  <a:lnTo>
                    <a:pt x="429" y="440"/>
                  </a:lnTo>
                  <a:lnTo>
                    <a:pt x="430" y="442"/>
                  </a:lnTo>
                  <a:lnTo>
                    <a:pt x="431" y="445"/>
                  </a:lnTo>
                  <a:lnTo>
                    <a:pt x="432" y="447"/>
                  </a:lnTo>
                  <a:lnTo>
                    <a:pt x="434" y="449"/>
                  </a:lnTo>
                  <a:lnTo>
                    <a:pt x="439" y="455"/>
                  </a:lnTo>
                  <a:lnTo>
                    <a:pt x="441" y="459"/>
                  </a:lnTo>
                  <a:lnTo>
                    <a:pt x="443" y="460"/>
                  </a:lnTo>
                  <a:lnTo>
                    <a:pt x="444" y="462"/>
                  </a:lnTo>
                  <a:lnTo>
                    <a:pt x="444" y="463"/>
                  </a:lnTo>
                  <a:lnTo>
                    <a:pt x="444" y="464"/>
                  </a:lnTo>
                  <a:lnTo>
                    <a:pt x="444" y="466"/>
                  </a:lnTo>
                  <a:lnTo>
                    <a:pt x="444" y="467"/>
                  </a:lnTo>
                  <a:lnTo>
                    <a:pt x="444" y="469"/>
                  </a:lnTo>
                  <a:lnTo>
                    <a:pt x="442" y="473"/>
                  </a:lnTo>
                  <a:lnTo>
                    <a:pt x="441" y="477"/>
                  </a:lnTo>
                  <a:lnTo>
                    <a:pt x="436" y="485"/>
                  </a:lnTo>
                  <a:lnTo>
                    <a:pt x="435" y="488"/>
                  </a:lnTo>
                  <a:lnTo>
                    <a:pt x="433" y="494"/>
                  </a:lnTo>
                  <a:lnTo>
                    <a:pt x="432" y="497"/>
                  </a:lnTo>
                  <a:lnTo>
                    <a:pt x="431" y="502"/>
                  </a:lnTo>
                  <a:lnTo>
                    <a:pt x="429" y="513"/>
                  </a:lnTo>
                  <a:lnTo>
                    <a:pt x="429" y="516"/>
                  </a:lnTo>
                  <a:lnTo>
                    <a:pt x="428" y="518"/>
                  </a:lnTo>
                  <a:lnTo>
                    <a:pt x="427" y="519"/>
                  </a:lnTo>
                  <a:lnTo>
                    <a:pt x="426" y="521"/>
                  </a:lnTo>
                  <a:lnTo>
                    <a:pt x="424" y="522"/>
                  </a:lnTo>
                  <a:lnTo>
                    <a:pt x="422" y="524"/>
                  </a:lnTo>
                  <a:lnTo>
                    <a:pt x="415" y="528"/>
                  </a:lnTo>
                  <a:lnTo>
                    <a:pt x="407" y="533"/>
                  </a:lnTo>
                  <a:lnTo>
                    <a:pt x="404" y="534"/>
                  </a:lnTo>
                  <a:lnTo>
                    <a:pt x="397" y="538"/>
                  </a:lnTo>
                  <a:lnTo>
                    <a:pt x="393" y="539"/>
                  </a:lnTo>
                  <a:lnTo>
                    <a:pt x="389" y="541"/>
                  </a:lnTo>
                  <a:lnTo>
                    <a:pt x="374" y="544"/>
                  </a:lnTo>
                  <a:lnTo>
                    <a:pt x="371" y="545"/>
                  </a:lnTo>
                  <a:lnTo>
                    <a:pt x="367" y="545"/>
                  </a:lnTo>
                  <a:lnTo>
                    <a:pt x="364" y="545"/>
                  </a:lnTo>
                  <a:lnTo>
                    <a:pt x="359" y="544"/>
                  </a:lnTo>
                  <a:lnTo>
                    <a:pt x="355" y="544"/>
                  </a:lnTo>
                  <a:lnTo>
                    <a:pt x="351" y="542"/>
                  </a:lnTo>
                  <a:lnTo>
                    <a:pt x="346" y="541"/>
                  </a:lnTo>
                  <a:lnTo>
                    <a:pt x="340" y="539"/>
                  </a:lnTo>
                  <a:lnTo>
                    <a:pt x="338" y="538"/>
                  </a:lnTo>
                  <a:lnTo>
                    <a:pt x="336" y="537"/>
                  </a:lnTo>
                  <a:lnTo>
                    <a:pt x="334" y="537"/>
                  </a:lnTo>
                  <a:lnTo>
                    <a:pt x="332" y="537"/>
                  </a:lnTo>
                  <a:lnTo>
                    <a:pt x="331" y="538"/>
                  </a:lnTo>
                  <a:lnTo>
                    <a:pt x="329" y="538"/>
                  </a:lnTo>
                  <a:lnTo>
                    <a:pt x="328" y="539"/>
                  </a:lnTo>
                  <a:lnTo>
                    <a:pt x="326" y="539"/>
                  </a:lnTo>
                  <a:lnTo>
                    <a:pt x="325" y="541"/>
                  </a:lnTo>
                  <a:lnTo>
                    <a:pt x="324" y="542"/>
                  </a:lnTo>
                  <a:lnTo>
                    <a:pt x="324" y="544"/>
                  </a:lnTo>
                  <a:lnTo>
                    <a:pt x="324" y="545"/>
                  </a:lnTo>
                  <a:lnTo>
                    <a:pt x="324" y="547"/>
                  </a:lnTo>
                  <a:lnTo>
                    <a:pt x="324" y="548"/>
                  </a:lnTo>
                  <a:lnTo>
                    <a:pt x="324" y="550"/>
                  </a:lnTo>
                  <a:lnTo>
                    <a:pt x="324" y="554"/>
                  </a:lnTo>
                  <a:lnTo>
                    <a:pt x="326" y="563"/>
                  </a:lnTo>
                  <a:lnTo>
                    <a:pt x="328" y="566"/>
                  </a:lnTo>
                  <a:lnTo>
                    <a:pt x="330" y="571"/>
                  </a:lnTo>
                  <a:lnTo>
                    <a:pt x="332" y="576"/>
                  </a:lnTo>
                  <a:lnTo>
                    <a:pt x="335" y="580"/>
                  </a:lnTo>
                  <a:lnTo>
                    <a:pt x="336" y="582"/>
                  </a:lnTo>
                  <a:lnTo>
                    <a:pt x="338" y="584"/>
                  </a:lnTo>
                  <a:lnTo>
                    <a:pt x="340" y="586"/>
                  </a:lnTo>
                  <a:lnTo>
                    <a:pt x="341" y="587"/>
                  </a:lnTo>
                  <a:lnTo>
                    <a:pt x="344" y="589"/>
                  </a:lnTo>
                  <a:lnTo>
                    <a:pt x="349" y="592"/>
                  </a:lnTo>
                  <a:lnTo>
                    <a:pt x="351" y="593"/>
                  </a:lnTo>
                  <a:lnTo>
                    <a:pt x="356" y="596"/>
                  </a:lnTo>
                  <a:lnTo>
                    <a:pt x="359" y="599"/>
                  </a:lnTo>
                  <a:lnTo>
                    <a:pt x="361" y="600"/>
                  </a:lnTo>
                  <a:lnTo>
                    <a:pt x="362" y="601"/>
                  </a:lnTo>
                  <a:lnTo>
                    <a:pt x="363" y="603"/>
                  </a:lnTo>
                  <a:lnTo>
                    <a:pt x="364" y="604"/>
                  </a:lnTo>
                  <a:lnTo>
                    <a:pt x="364" y="607"/>
                  </a:lnTo>
                  <a:lnTo>
                    <a:pt x="364" y="609"/>
                  </a:lnTo>
                  <a:lnTo>
                    <a:pt x="364" y="611"/>
                  </a:lnTo>
                  <a:lnTo>
                    <a:pt x="364" y="614"/>
                  </a:lnTo>
                  <a:lnTo>
                    <a:pt x="363" y="616"/>
                  </a:lnTo>
                  <a:lnTo>
                    <a:pt x="361" y="618"/>
                  </a:lnTo>
                  <a:lnTo>
                    <a:pt x="353" y="626"/>
                  </a:lnTo>
                  <a:lnTo>
                    <a:pt x="351" y="630"/>
                  </a:lnTo>
                  <a:lnTo>
                    <a:pt x="349" y="633"/>
                  </a:lnTo>
                  <a:lnTo>
                    <a:pt x="348" y="635"/>
                  </a:lnTo>
                  <a:lnTo>
                    <a:pt x="347" y="638"/>
                  </a:lnTo>
                  <a:lnTo>
                    <a:pt x="346" y="641"/>
                  </a:lnTo>
                  <a:lnTo>
                    <a:pt x="347" y="644"/>
                  </a:lnTo>
                  <a:lnTo>
                    <a:pt x="347" y="645"/>
                  </a:lnTo>
                  <a:lnTo>
                    <a:pt x="348" y="647"/>
                  </a:lnTo>
                  <a:lnTo>
                    <a:pt x="349" y="651"/>
                  </a:lnTo>
                  <a:lnTo>
                    <a:pt x="350" y="653"/>
                  </a:lnTo>
                  <a:lnTo>
                    <a:pt x="351" y="655"/>
                  </a:lnTo>
                  <a:lnTo>
                    <a:pt x="352" y="657"/>
                  </a:lnTo>
                  <a:lnTo>
                    <a:pt x="355" y="661"/>
                  </a:lnTo>
                  <a:lnTo>
                    <a:pt x="359" y="666"/>
                  </a:lnTo>
                  <a:lnTo>
                    <a:pt x="362" y="669"/>
                  </a:lnTo>
                  <a:lnTo>
                    <a:pt x="369" y="676"/>
                  </a:lnTo>
                  <a:lnTo>
                    <a:pt x="376" y="681"/>
                  </a:lnTo>
                  <a:lnTo>
                    <a:pt x="376" y="682"/>
                  </a:lnTo>
                  <a:lnTo>
                    <a:pt x="378" y="684"/>
                  </a:lnTo>
                  <a:lnTo>
                    <a:pt x="379" y="685"/>
                  </a:lnTo>
                  <a:lnTo>
                    <a:pt x="379" y="686"/>
                  </a:lnTo>
                  <a:lnTo>
                    <a:pt x="379" y="688"/>
                  </a:lnTo>
                  <a:lnTo>
                    <a:pt x="379" y="689"/>
                  </a:lnTo>
                  <a:lnTo>
                    <a:pt x="379" y="689"/>
                  </a:lnTo>
                  <a:lnTo>
                    <a:pt x="378" y="690"/>
                  </a:lnTo>
                  <a:lnTo>
                    <a:pt x="377" y="691"/>
                  </a:lnTo>
                  <a:lnTo>
                    <a:pt x="376" y="691"/>
                  </a:lnTo>
                  <a:lnTo>
                    <a:pt x="374" y="691"/>
                  </a:lnTo>
                  <a:lnTo>
                    <a:pt x="372" y="691"/>
                  </a:lnTo>
                  <a:lnTo>
                    <a:pt x="371" y="690"/>
                  </a:lnTo>
                  <a:lnTo>
                    <a:pt x="369" y="689"/>
                  </a:lnTo>
                  <a:lnTo>
                    <a:pt x="361" y="684"/>
                  </a:lnTo>
                  <a:lnTo>
                    <a:pt x="359" y="682"/>
                  </a:lnTo>
                  <a:lnTo>
                    <a:pt x="356" y="681"/>
                  </a:lnTo>
                  <a:lnTo>
                    <a:pt x="355" y="680"/>
                  </a:lnTo>
                  <a:lnTo>
                    <a:pt x="353" y="679"/>
                  </a:lnTo>
                  <a:lnTo>
                    <a:pt x="350" y="679"/>
                  </a:lnTo>
                  <a:lnTo>
                    <a:pt x="348" y="678"/>
                  </a:lnTo>
                  <a:lnTo>
                    <a:pt x="346" y="678"/>
                  </a:lnTo>
                  <a:lnTo>
                    <a:pt x="344" y="678"/>
                  </a:lnTo>
                  <a:lnTo>
                    <a:pt x="341" y="678"/>
                  </a:lnTo>
                  <a:lnTo>
                    <a:pt x="339" y="678"/>
                  </a:lnTo>
                  <a:lnTo>
                    <a:pt x="335" y="679"/>
                  </a:lnTo>
                  <a:lnTo>
                    <a:pt x="329" y="681"/>
                  </a:lnTo>
                  <a:lnTo>
                    <a:pt x="326" y="681"/>
                  </a:lnTo>
                  <a:lnTo>
                    <a:pt x="324" y="681"/>
                  </a:lnTo>
                  <a:lnTo>
                    <a:pt x="321" y="681"/>
                  </a:lnTo>
                  <a:lnTo>
                    <a:pt x="319" y="681"/>
                  </a:lnTo>
                  <a:lnTo>
                    <a:pt x="317" y="681"/>
                  </a:lnTo>
                  <a:lnTo>
                    <a:pt x="314" y="681"/>
                  </a:lnTo>
                  <a:lnTo>
                    <a:pt x="313" y="680"/>
                  </a:lnTo>
                  <a:lnTo>
                    <a:pt x="311" y="679"/>
                  </a:lnTo>
                  <a:lnTo>
                    <a:pt x="309" y="678"/>
                  </a:lnTo>
                  <a:lnTo>
                    <a:pt x="308" y="676"/>
                  </a:lnTo>
                  <a:lnTo>
                    <a:pt x="306" y="674"/>
                  </a:lnTo>
                  <a:lnTo>
                    <a:pt x="304" y="671"/>
                  </a:lnTo>
                  <a:lnTo>
                    <a:pt x="298" y="664"/>
                  </a:lnTo>
                  <a:lnTo>
                    <a:pt x="295" y="659"/>
                  </a:lnTo>
                  <a:lnTo>
                    <a:pt x="293" y="657"/>
                  </a:lnTo>
                  <a:lnTo>
                    <a:pt x="290" y="655"/>
                  </a:lnTo>
                  <a:lnTo>
                    <a:pt x="288" y="654"/>
                  </a:lnTo>
                  <a:lnTo>
                    <a:pt x="285" y="651"/>
                  </a:lnTo>
                  <a:lnTo>
                    <a:pt x="283" y="650"/>
                  </a:lnTo>
                  <a:lnTo>
                    <a:pt x="280" y="649"/>
                  </a:lnTo>
                  <a:lnTo>
                    <a:pt x="277" y="649"/>
                  </a:lnTo>
                  <a:lnTo>
                    <a:pt x="274" y="648"/>
                  </a:lnTo>
                  <a:lnTo>
                    <a:pt x="272" y="648"/>
                  </a:lnTo>
                  <a:lnTo>
                    <a:pt x="270" y="648"/>
                  </a:lnTo>
                  <a:lnTo>
                    <a:pt x="268" y="648"/>
                  </a:lnTo>
                  <a:lnTo>
                    <a:pt x="263" y="649"/>
                  </a:lnTo>
                  <a:lnTo>
                    <a:pt x="262" y="649"/>
                  </a:lnTo>
                  <a:lnTo>
                    <a:pt x="262" y="648"/>
                  </a:lnTo>
                  <a:lnTo>
                    <a:pt x="261" y="647"/>
                  </a:lnTo>
                  <a:lnTo>
                    <a:pt x="252" y="644"/>
                  </a:lnTo>
                  <a:lnTo>
                    <a:pt x="247" y="642"/>
                  </a:lnTo>
                  <a:lnTo>
                    <a:pt x="239" y="639"/>
                  </a:lnTo>
                  <a:lnTo>
                    <a:pt x="236" y="636"/>
                  </a:lnTo>
                  <a:lnTo>
                    <a:pt x="232" y="634"/>
                  </a:lnTo>
                  <a:lnTo>
                    <a:pt x="228" y="631"/>
                  </a:lnTo>
                  <a:lnTo>
                    <a:pt x="225" y="629"/>
                  </a:lnTo>
                  <a:lnTo>
                    <a:pt x="220" y="624"/>
                  </a:lnTo>
                  <a:lnTo>
                    <a:pt x="219" y="622"/>
                  </a:lnTo>
                  <a:lnTo>
                    <a:pt x="217" y="621"/>
                  </a:lnTo>
                  <a:lnTo>
                    <a:pt x="212" y="618"/>
                  </a:lnTo>
                  <a:lnTo>
                    <a:pt x="210" y="617"/>
                  </a:lnTo>
                  <a:lnTo>
                    <a:pt x="209" y="616"/>
                  </a:lnTo>
                  <a:lnTo>
                    <a:pt x="207" y="614"/>
                  </a:lnTo>
                  <a:lnTo>
                    <a:pt x="201" y="607"/>
                  </a:lnTo>
                  <a:lnTo>
                    <a:pt x="199" y="606"/>
                  </a:lnTo>
                  <a:lnTo>
                    <a:pt x="198" y="604"/>
                  </a:lnTo>
                  <a:lnTo>
                    <a:pt x="197" y="601"/>
                  </a:lnTo>
                  <a:lnTo>
                    <a:pt x="194" y="594"/>
                  </a:lnTo>
                  <a:lnTo>
                    <a:pt x="193" y="593"/>
                  </a:lnTo>
                  <a:lnTo>
                    <a:pt x="192" y="591"/>
                  </a:lnTo>
                  <a:lnTo>
                    <a:pt x="190" y="589"/>
                  </a:lnTo>
                  <a:lnTo>
                    <a:pt x="184" y="583"/>
                  </a:lnTo>
                  <a:lnTo>
                    <a:pt x="177" y="575"/>
                  </a:lnTo>
                  <a:lnTo>
                    <a:pt x="175" y="573"/>
                  </a:lnTo>
                  <a:lnTo>
                    <a:pt x="174" y="571"/>
                  </a:lnTo>
                  <a:lnTo>
                    <a:pt x="172" y="568"/>
                  </a:lnTo>
                  <a:lnTo>
                    <a:pt x="171" y="565"/>
                  </a:lnTo>
                  <a:lnTo>
                    <a:pt x="170" y="562"/>
                  </a:lnTo>
                  <a:lnTo>
                    <a:pt x="168" y="554"/>
                  </a:lnTo>
                  <a:lnTo>
                    <a:pt x="166" y="550"/>
                  </a:lnTo>
                  <a:lnTo>
                    <a:pt x="165" y="548"/>
                  </a:lnTo>
                  <a:lnTo>
                    <a:pt x="164" y="546"/>
                  </a:lnTo>
                  <a:lnTo>
                    <a:pt x="162" y="544"/>
                  </a:lnTo>
                  <a:lnTo>
                    <a:pt x="161" y="543"/>
                  </a:lnTo>
                  <a:lnTo>
                    <a:pt x="159" y="542"/>
                  </a:lnTo>
                  <a:lnTo>
                    <a:pt x="158" y="542"/>
                  </a:lnTo>
                  <a:lnTo>
                    <a:pt x="154" y="540"/>
                  </a:lnTo>
                  <a:lnTo>
                    <a:pt x="152" y="539"/>
                  </a:lnTo>
                  <a:lnTo>
                    <a:pt x="142" y="537"/>
                  </a:lnTo>
                  <a:lnTo>
                    <a:pt x="124" y="530"/>
                  </a:lnTo>
                  <a:lnTo>
                    <a:pt x="118" y="529"/>
                  </a:lnTo>
                  <a:lnTo>
                    <a:pt x="108" y="527"/>
                  </a:lnTo>
                  <a:lnTo>
                    <a:pt x="104" y="526"/>
                  </a:lnTo>
                  <a:lnTo>
                    <a:pt x="102" y="525"/>
                  </a:lnTo>
                  <a:lnTo>
                    <a:pt x="100" y="524"/>
                  </a:lnTo>
                  <a:lnTo>
                    <a:pt x="99" y="523"/>
                  </a:lnTo>
                  <a:lnTo>
                    <a:pt x="97" y="522"/>
                  </a:lnTo>
                  <a:lnTo>
                    <a:pt x="94" y="520"/>
                  </a:lnTo>
                  <a:lnTo>
                    <a:pt x="92" y="518"/>
                  </a:lnTo>
                  <a:lnTo>
                    <a:pt x="90" y="516"/>
                  </a:lnTo>
                  <a:lnTo>
                    <a:pt x="87" y="512"/>
                  </a:lnTo>
                  <a:lnTo>
                    <a:pt x="84" y="509"/>
                  </a:lnTo>
                  <a:lnTo>
                    <a:pt x="78" y="500"/>
                  </a:lnTo>
                  <a:lnTo>
                    <a:pt x="77" y="498"/>
                  </a:lnTo>
                  <a:lnTo>
                    <a:pt x="75" y="495"/>
                  </a:lnTo>
                  <a:lnTo>
                    <a:pt x="73" y="489"/>
                  </a:lnTo>
                  <a:lnTo>
                    <a:pt x="72" y="486"/>
                  </a:lnTo>
                  <a:lnTo>
                    <a:pt x="69" y="482"/>
                  </a:lnTo>
                  <a:lnTo>
                    <a:pt x="68" y="479"/>
                  </a:lnTo>
                  <a:lnTo>
                    <a:pt x="67" y="477"/>
                  </a:lnTo>
                  <a:lnTo>
                    <a:pt x="64" y="474"/>
                  </a:lnTo>
                  <a:lnTo>
                    <a:pt x="62" y="472"/>
                  </a:lnTo>
                  <a:lnTo>
                    <a:pt x="59" y="471"/>
                  </a:lnTo>
                  <a:lnTo>
                    <a:pt x="57" y="469"/>
                  </a:lnTo>
                  <a:lnTo>
                    <a:pt x="55" y="468"/>
                  </a:lnTo>
                  <a:lnTo>
                    <a:pt x="53" y="468"/>
                  </a:lnTo>
                  <a:lnTo>
                    <a:pt x="49" y="467"/>
                  </a:lnTo>
                  <a:lnTo>
                    <a:pt x="47" y="468"/>
                  </a:lnTo>
                  <a:lnTo>
                    <a:pt x="43" y="469"/>
                  </a:lnTo>
                  <a:lnTo>
                    <a:pt x="39" y="469"/>
                  </a:lnTo>
                  <a:lnTo>
                    <a:pt x="36" y="472"/>
                  </a:lnTo>
                  <a:lnTo>
                    <a:pt x="30" y="474"/>
                  </a:lnTo>
                  <a:lnTo>
                    <a:pt x="28" y="475"/>
                  </a:lnTo>
                  <a:lnTo>
                    <a:pt x="27" y="475"/>
                  </a:lnTo>
                  <a:lnTo>
                    <a:pt x="25" y="475"/>
                  </a:lnTo>
                  <a:lnTo>
                    <a:pt x="25" y="475"/>
                  </a:lnTo>
                  <a:lnTo>
                    <a:pt x="23" y="474"/>
                  </a:lnTo>
                  <a:lnTo>
                    <a:pt x="22" y="473"/>
                  </a:lnTo>
                  <a:lnTo>
                    <a:pt x="22" y="472"/>
                  </a:lnTo>
                  <a:lnTo>
                    <a:pt x="21" y="470"/>
                  </a:lnTo>
                  <a:lnTo>
                    <a:pt x="20" y="468"/>
                  </a:lnTo>
                  <a:lnTo>
                    <a:pt x="20" y="466"/>
                  </a:lnTo>
                  <a:lnTo>
                    <a:pt x="17" y="458"/>
                  </a:lnTo>
                  <a:lnTo>
                    <a:pt x="16" y="453"/>
                  </a:lnTo>
                  <a:lnTo>
                    <a:pt x="14" y="447"/>
                  </a:lnTo>
                  <a:lnTo>
                    <a:pt x="10" y="439"/>
                  </a:lnTo>
                  <a:lnTo>
                    <a:pt x="9" y="434"/>
                  </a:lnTo>
                  <a:lnTo>
                    <a:pt x="7" y="430"/>
                  </a:lnTo>
                  <a:lnTo>
                    <a:pt x="5" y="420"/>
                  </a:lnTo>
                  <a:lnTo>
                    <a:pt x="2" y="413"/>
                  </a:lnTo>
                  <a:lnTo>
                    <a:pt x="1" y="408"/>
                  </a:lnTo>
                  <a:lnTo>
                    <a:pt x="0" y="401"/>
                  </a:lnTo>
                  <a:lnTo>
                    <a:pt x="0" y="397"/>
                  </a:lnTo>
                  <a:lnTo>
                    <a:pt x="0" y="397"/>
                  </a:lnTo>
                  <a:lnTo>
                    <a:pt x="1" y="397"/>
                  </a:lnTo>
                  <a:lnTo>
                    <a:pt x="2" y="397"/>
                  </a:lnTo>
                  <a:lnTo>
                    <a:pt x="2" y="396"/>
                  </a:lnTo>
                  <a:lnTo>
                    <a:pt x="5" y="395"/>
                  </a:lnTo>
                  <a:lnTo>
                    <a:pt x="7" y="393"/>
                  </a:lnTo>
                  <a:lnTo>
                    <a:pt x="10" y="390"/>
                  </a:lnTo>
                  <a:lnTo>
                    <a:pt x="13" y="386"/>
                  </a:lnTo>
                  <a:lnTo>
                    <a:pt x="19" y="379"/>
                  </a:lnTo>
                  <a:lnTo>
                    <a:pt x="22" y="374"/>
                  </a:lnTo>
                  <a:lnTo>
                    <a:pt x="24" y="372"/>
                  </a:lnTo>
                  <a:lnTo>
                    <a:pt x="25" y="369"/>
                  </a:lnTo>
                  <a:lnTo>
                    <a:pt x="25" y="367"/>
                  </a:lnTo>
                  <a:lnTo>
                    <a:pt x="26" y="362"/>
                  </a:lnTo>
                  <a:lnTo>
                    <a:pt x="27" y="358"/>
                  </a:lnTo>
                  <a:lnTo>
                    <a:pt x="28" y="355"/>
                  </a:lnTo>
                  <a:lnTo>
                    <a:pt x="30" y="353"/>
                  </a:lnTo>
                  <a:lnTo>
                    <a:pt x="31" y="352"/>
                  </a:lnTo>
                  <a:lnTo>
                    <a:pt x="32" y="351"/>
                  </a:lnTo>
                  <a:lnTo>
                    <a:pt x="34" y="350"/>
                  </a:lnTo>
                  <a:lnTo>
                    <a:pt x="36" y="349"/>
                  </a:lnTo>
                  <a:lnTo>
                    <a:pt x="39" y="347"/>
                  </a:lnTo>
                  <a:lnTo>
                    <a:pt x="44" y="346"/>
                  </a:lnTo>
                  <a:lnTo>
                    <a:pt x="45" y="345"/>
                  </a:lnTo>
                  <a:lnTo>
                    <a:pt x="46" y="344"/>
                  </a:lnTo>
                  <a:lnTo>
                    <a:pt x="48" y="343"/>
                  </a:lnTo>
                  <a:lnTo>
                    <a:pt x="50" y="340"/>
                  </a:lnTo>
                  <a:lnTo>
                    <a:pt x="51" y="337"/>
                  </a:lnTo>
                  <a:lnTo>
                    <a:pt x="52" y="335"/>
                  </a:lnTo>
                  <a:lnTo>
                    <a:pt x="52" y="331"/>
                  </a:lnTo>
                  <a:lnTo>
                    <a:pt x="52" y="326"/>
                  </a:lnTo>
                  <a:lnTo>
                    <a:pt x="52" y="322"/>
                  </a:lnTo>
                  <a:lnTo>
                    <a:pt x="52" y="317"/>
                  </a:lnTo>
                  <a:lnTo>
                    <a:pt x="51" y="312"/>
                  </a:lnTo>
                  <a:lnTo>
                    <a:pt x="48" y="304"/>
                  </a:lnTo>
                  <a:lnTo>
                    <a:pt x="47" y="300"/>
                  </a:lnTo>
                  <a:lnTo>
                    <a:pt x="42" y="289"/>
                  </a:lnTo>
                  <a:lnTo>
                    <a:pt x="42" y="287"/>
                  </a:lnTo>
                  <a:lnTo>
                    <a:pt x="42" y="285"/>
                  </a:lnTo>
                  <a:lnTo>
                    <a:pt x="42" y="284"/>
                  </a:lnTo>
                  <a:lnTo>
                    <a:pt x="42" y="283"/>
                  </a:lnTo>
                  <a:lnTo>
                    <a:pt x="43" y="282"/>
                  </a:lnTo>
                  <a:lnTo>
                    <a:pt x="50" y="278"/>
                  </a:lnTo>
                  <a:lnTo>
                    <a:pt x="52" y="277"/>
                  </a:lnTo>
                  <a:lnTo>
                    <a:pt x="54" y="275"/>
                  </a:lnTo>
                  <a:lnTo>
                    <a:pt x="55" y="274"/>
                  </a:lnTo>
                  <a:lnTo>
                    <a:pt x="56" y="272"/>
                  </a:lnTo>
                  <a:lnTo>
                    <a:pt x="57" y="270"/>
                  </a:lnTo>
                  <a:lnTo>
                    <a:pt x="59" y="267"/>
                  </a:lnTo>
                  <a:lnTo>
                    <a:pt x="59" y="265"/>
                  </a:lnTo>
                  <a:lnTo>
                    <a:pt x="60" y="261"/>
                  </a:lnTo>
                  <a:lnTo>
                    <a:pt x="60" y="257"/>
                  </a:lnTo>
                  <a:lnTo>
                    <a:pt x="60" y="249"/>
                  </a:lnTo>
                  <a:lnTo>
                    <a:pt x="61" y="244"/>
                  </a:lnTo>
                  <a:lnTo>
                    <a:pt x="62" y="242"/>
                  </a:lnTo>
                  <a:lnTo>
                    <a:pt x="62" y="238"/>
                  </a:lnTo>
                  <a:lnTo>
                    <a:pt x="64" y="232"/>
                  </a:lnTo>
                  <a:lnTo>
                    <a:pt x="64" y="230"/>
                  </a:lnTo>
                  <a:lnTo>
                    <a:pt x="64" y="226"/>
                  </a:lnTo>
                  <a:lnTo>
                    <a:pt x="64" y="219"/>
                  </a:lnTo>
                  <a:lnTo>
                    <a:pt x="64" y="216"/>
                  </a:lnTo>
                  <a:lnTo>
                    <a:pt x="65" y="214"/>
                  </a:lnTo>
                  <a:lnTo>
                    <a:pt x="66" y="210"/>
                  </a:lnTo>
                  <a:lnTo>
                    <a:pt x="67" y="207"/>
                  </a:lnTo>
                  <a:lnTo>
                    <a:pt x="67" y="205"/>
                  </a:lnTo>
                  <a:lnTo>
                    <a:pt x="67" y="203"/>
                  </a:lnTo>
                  <a:lnTo>
                    <a:pt x="66" y="201"/>
                  </a:lnTo>
                  <a:lnTo>
                    <a:pt x="64" y="198"/>
                  </a:lnTo>
                  <a:lnTo>
                    <a:pt x="63" y="196"/>
                  </a:lnTo>
                  <a:lnTo>
                    <a:pt x="59" y="190"/>
                  </a:lnTo>
                  <a:lnTo>
                    <a:pt x="57" y="188"/>
                  </a:lnTo>
                  <a:lnTo>
                    <a:pt x="55" y="185"/>
                  </a:lnTo>
                  <a:lnTo>
                    <a:pt x="54" y="182"/>
                  </a:lnTo>
                  <a:lnTo>
                    <a:pt x="54" y="181"/>
                  </a:lnTo>
                  <a:lnTo>
                    <a:pt x="53" y="178"/>
                  </a:lnTo>
                  <a:lnTo>
                    <a:pt x="52" y="174"/>
                  </a:lnTo>
                  <a:lnTo>
                    <a:pt x="53" y="167"/>
                  </a:lnTo>
                  <a:lnTo>
                    <a:pt x="53" y="162"/>
                  </a:lnTo>
                  <a:lnTo>
                    <a:pt x="52" y="160"/>
                  </a:lnTo>
                  <a:lnTo>
                    <a:pt x="51" y="153"/>
                  </a:lnTo>
                  <a:lnTo>
                    <a:pt x="51" y="151"/>
                  </a:lnTo>
                  <a:lnTo>
                    <a:pt x="50" y="150"/>
                  </a:lnTo>
                  <a:lnTo>
                    <a:pt x="51" y="147"/>
                  </a:lnTo>
                  <a:lnTo>
                    <a:pt x="51" y="145"/>
                  </a:lnTo>
                  <a:lnTo>
                    <a:pt x="52" y="143"/>
                  </a:lnTo>
                  <a:lnTo>
                    <a:pt x="52" y="141"/>
                  </a:lnTo>
                  <a:lnTo>
                    <a:pt x="54" y="139"/>
                  </a:lnTo>
                  <a:lnTo>
                    <a:pt x="57" y="135"/>
                  </a:lnTo>
                  <a:lnTo>
                    <a:pt x="59" y="130"/>
                  </a:lnTo>
                  <a:lnTo>
                    <a:pt x="63" y="124"/>
                  </a:lnTo>
                  <a:lnTo>
                    <a:pt x="64" y="120"/>
                  </a:lnTo>
                  <a:lnTo>
                    <a:pt x="65" y="118"/>
                  </a:lnTo>
                  <a:lnTo>
                    <a:pt x="66" y="115"/>
                  </a:lnTo>
                  <a:lnTo>
                    <a:pt x="66" y="114"/>
                  </a:lnTo>
                  <a:lnTo>
                    <a:pt x="66" y="113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7" y="109"/>
                  </a:lnTo>
                  <a:lnTo>
                    <a:pt x="68" y="107"/>
                  </a:lnTo>
                  <a:lnTo>
                    <a:pt x="71" y="102"/>
                  </a:lnTo>
                  <a:lnTo>
                    <a:pt x="73" y="100"/>
                  </a:lnTo>
                  <a:lnTo>
                    <a:pt x="75" y="98"/>
                  </a:lnTo>
                  <a:lnTo>
                    <a:pt x="77" y="97"/>
                  </a:lnTo>
                  <a:lnTo>
                    <a:pt x="78" y="96"/>
                  </a:lnTo>
                  <a:lnTo>
                    <a:pt x="79" y="95"/>
                  </a:lnTo>
                  <a:lnTo>
                    <a:pt x="82" y="95"/>
                  </a:lnTo>
                  <a:lnTo>
                    <a:pt x="84" y="95"/>
                  </a:lnTo>
                  <a:lnTo>
                    <a:pt x="91" y="97"/>
                  </a:lnTo>
                  <a:lnTo>
                    <a:pt x="97" y="97"/>
                  </a:lnTo>
                  <a:lnTo>
                    <a:pt x="100" y="98"/>
                  </a:lnTo>
                  <a:lnTo>
                    <a:pt x="102" y="98"/>
                  </a:lnTo>
                  <a:lnTo>
                    <a:pt x="103" y="99"/>
                  </a:lnTo>
                  <a:lnTo>
                    <a:pt x="107" y="103"/>
                  </a:lnTo>
                  <a:lnTo>
                    <a:pt x="110" y="105"/>
                  </a:lnTo>
                  <a:lnTo>
                    <a:pt x="113" y="106"/>
                  </a:lnTo>
                  <a:lnTo>
                    <a:pt x="118" y="107"/>
                  </a:lnTo>
                  <a:lnTo>
                    <a:pt x="121" y="108"/>
                  </a:lnTo>
                  <a:lnTo>
                    <a:pt x="126" y="108"/>
                  </a:lnTo>
                  <a:lnTo>
                    <a:pt x="128" y="108"/>
                  </a:lnTo>
                  <a:lnTo>
                    <a:pt x="138" y="110"/>
                  </a:lnTo>
                  <a:lnTo>
                    <a:pt x="142" y="110"/>
                  </a:lnTo>
                  <a:lnTo>
                    <a:pt x="145" y="110"/>
                  </a:lnTo>
                  <a:lnTo>
                    <a:pt x="147" y="110"/>
                  </a:lnTo>
                  <a:lnTo>
                    <a:pt x="149" y="110"/>
                  </a:lnTo>
                  <a:lnTo>
                    <a:pt x="150" y="110"/>
                  </a:lnTo>
                  <a:lnTo>
                    <a:pt x="154" y="108"/>
                  </a:lnTo>
                  <a:lnTo>
                    <a:pt x="156" y="108"/>
                  </a:lnTo>
                  <a:lnTo>
                    <a:pt x="159" y="107"/>
                  </a:lnTo>
                  <a:lnTo>
                    <a:pt x="160" y="107"/>
                  </a:lnTo>
                  <a:lnTo>
                    <a:pt x="162" y="107"/>
                  </a:lnTo>
                  <a:lnTo>
                    <a:pt x="168" y="103"/>
                  </a:lnTo>
                  <a:lnTo>
                    <a:pt x="170" y="101"/>
                  </a:lnTo>
                  <a:lnTo>
                    <a:pt x="173" y="99"/>
                  </a:lnTo>
                  <a:lnTo>
                    <a:pt x="176" y="95"/>
                  </a:lnTo>
                  <a:lnTo>
                    <a:pt x="176" y="96"/>
                  </a:lnTo>
                  <a:lnTo>
                    <a:pt x="176" y="98"/>
                  </a:lnTo>
                  <a:lnTo>
                    <a:pt x="175" y="101"/>
                  </a:lnTo>
                  <a:lnTo>
                    <a:pt x="173" y="107"/>
                  </a:lnTo>
                  <a:lnTo>
                    <a:pt x="172" y="110"/>
                  </a:lnTo>
                  <a:lnTo>
                    <a:pt x="171" y="114"/>
                  </a:lnTo>
                  <a:lnTo>
                    <a:pt x="170" y="116"/>
                  </a:lnTo>
                  <a:lnTo>
                    <a:pt x="170" y="119"/>
                  </a:lnTo>
                  <a:lnTo>
                    <a:pt x="170" y="120"/>
                  </a:lnTo>
                  <a:lnTo>
                    <a:pt x="171" y="121"/>
                  </a:lnTo>
                  <a:lnTo>
                    <a:pt x="172" y="122"/>
                  </a:lnTo>
                  <a:lnTo>
                    <a:pt x="172" y="123"/>
                  </a:lnTo>
                  <a:lnTo>
                    <a:pt x="172" y="124"/>
                  </a:lnTo>
                  <a:lnTo>
                    <a:pt x="174" y="125"/>
                  </a:lnTo>
                  <a:lnTo>
                    <a:pt x="174" y="126"/>
                  </a:lnTo>
                  <a:lnTo>
                    <a:pt x="177" y="127"/>
                  </a:lnTo>
                  <a:lnTo>
                    <a:pt x="178" y="127"/>
                  </a:lnTo>
                  <a:lnTo>
                    <a:pt x="179" y="128"/>
                  </a:lnTo>
                  <a:lnTo>
                    <a:pt x="182" y="128"/>
                  </a:lnTo>
                  <a:lnTo>
                    <a:pt x="190" y="130"/>
                  </a:lnTo>
                  <a:lnTo>
                    <a:pt x="194" y="130"/>
                  </a:lnTo>
                  <a:lnTo>
                    <a:pt x="198" y="131"/>
                  </a:lnTo>
                  <a:lnTo>
                    <a:pt x="203" y="132"/>
                  </a:lnTo>
                  <a:lnTo>
                    <a:pt x="208" y="134"/>
                  </a:lnTo>
                  <a:lnTo>
                    <a:pt x="212" y="136"/>
                  </a:lnTo>
                  <a:lnTo>
                    <a:pt x="215" y="138"/>
                  </a:lnTo>
                  <a:lnTo>
                    <a:pt x="221" y="142"/>
                  </a:lnTo>
                  <a:lnTo>
                    <a:pt x="223" y="143"/>
                  </a:lnTo>
                  <a:lnTo>
                    <a:pt x="224" y="143"/>
                  </a:lnTo>
                  <a:lnTo>
                    <a:pt x="226" y="144"/>
                  </a:lnTo>
                  <a:lnTo>
                    <a:pt x="227" y="143"/>
                  </a:lnTo>
                  <a:lnTo>
                    <a:pt x="229" y="143"/>
                  </a:lnTo>
                  <a:lnTo>
                    <a:pt x="230" y="142"/>
                  </a:lnTo>
                  <a:lnTo>
                    <a:pt x="232" y="140"/>
                  </a:lnTo>
                  <a:lnTo>
                    <a:pt x="233" y="138"/>
                  </a:lnTo>
                  <a:lnTo>
                    <a:pt x="236" y="133"/>
                  </a:lnTo>
                  <a:lnTo>
                    <a:pt x="237" y="131"/>
                  </a:lnTo>
                  <a:lnTo>
                    <a:pt x="240" y="127"/>
                  </a:lnTo>
                  <a:lnTo>
                    <a:pt x="243" y="124"/>
                  </a:lnTo>
                  <a:lnTo>
                    <a:pt x="246" y="121"/>
                  </a:lnTo>
                  <a:lnTo>
                    <a:pt x="248" y="119"/>
                  </a:lnTo>
                  <a:lnTo>
                    <a:pt x="257" y="112"/>
                  </a:lnTo>
                  <a:lnTo>
                    <a:pt x="264" y="107"/>
                  </a:lnTo>
                  <a:lnTo>
                    <a:pt x="269" y="103"/>
                  </a:lnTo>
                  <a:lnTo>
                    <a:pt x="273" y="101"/>
                  </a:lnTo>
                  <a:lnTo>
                    <a:pt x="275" y="100"/>
                  </a:lnTo>
                  <a:lnTo>
                    <a:pt x="277" y="100"/>
                  </a:lnTo>
                  <a:lnTo>
                    <a:pt x="287" y="97"/>
                  </a:lnTo>
                  <a:lnTo>
                    <a:pt x="292" y="95"/>
                  </a:lnTo>
                  <a:lnTo>
                    <a:pt x="296" y="93"/>
                  </a:lnTo>
                  <a:lnTo>
                    <a:pt x="299" y="91"/>
                  </a:lnTo>
                  <a:lnTo>
                    <a:pt x="301" y="90"/>
                  </a:lnTo>
                  <a:lnTo>
                    <a:pt x="303" y="88"/>
                  </a:lnTo>
                  <a:lnTo>
                    <a:pt x="304" y="87"/>
                  </a:lnTo>
                  <a:lnTo>
                    <a:pt x="304" y="85"/>
                  </a:lnTo>
                  <a:lnTo>
                    <a:pt x="305" y="83"/>
                  </a:lnTo>
                  <a:lnTo>
                    <a:pt x="305" y="82"/>
                  </a:lnTo>
                  <a:lnTo>
                    <a:pt x="304" y="78"/>
                  </a:lnTo>
                  <a:lnTo>
                    <a:pt x="302" y="72"/>
                  </a:lnTo>
                  <a:lnTo>
                    <a:pt x="301" y="66"/>
                  </a:lnTo>
                  <a:lnTo>
                    <a:pt x="299" y="62"/>
                  </a:lnTo>
                  <a:lnTo>
                    <a:pt x="299" y="59"/>
                  </a:lnTo>
                  <a:lnTo>
                    <a:pt x="299" y="56"/>
                  </a:lnTo>
                  <a:lnTo>
                    <a:pt x="299" y="53"/>
                  </a:lnTo>
                  <a:lnTo>
                    <a:pt x="299" y="50"/>
                  </a:lnTo>
                  <a:lnTo>
                    <a:pt x="300" y="48"/>
                  </a:lnTo>
                  <a:lnTo>
                    <a:pt x="301" y="43"/>
                  </a:lnTo>
                  <a:lnTo>
                    <a:pt x="302" y="40"/>
                  </a:lnTo>
                  <a:lnTo>
                    <a:pt x="303" y="38"/>
                  </a:lnTo>
                  <a:lnTo>
                    <a:pt x="303" y="34"/>
                  </a:lnTo>
                  <a:lnTo>
                    <a:pt x="303" y="31"/>
                  </a:lnTo>
                  <a:lnTo>
                    <a:pt x="304" y="30"/>
                  </a:lnTo>
                  <a:lnTo>
                    <a:pt x="304" y="29"/>
                  </a:lnTo>
                  <a:lnTo>
                    <a:pt x="305" y="26"/>
                  </a:lnTo>
                  <a:lnTo>
                    <a:pt x="306" y="25"/>
                  </a:lnTo>
                  <a:lnTo>
                    <a:pt x="307" y="24"/>
                  </a:lnTo>
                  <a:lnTo>
                    <a:pt x="311" y="22"/>
                  </a:lnTo>
                  <a:lnTo>
                    <a:pt x="313" y="20"/>
                  </a:lnTo>
                  <a:lnTo>
                    <a:pt x="314" y="18"/>
                  </a:lnTo>
                  <a:lnTo>
                    <a:pt x="316" y="14"/>
                  </a:lnTo>
                  <a:lnTo>
                    <a:pt x="319" y="12"/>
                  </a:lnTo>
                  <a:lnTo>
                    <a:pt x="321" y="9"/>
                  </a:lnTo>
                  <a:lnTo>
                    <a:pt x="326" y="6"/>
                  </a:lnTo>
                  <a:lnTo>
                    <a:pt x="330" y="4"/>
                  </a:lnTo>
                  <a:lnTo>
                    <a:pt x="334" y="1"/>
                  </a:lnTo>
                  <a:lnTo>
                    <a:pt x="336" y="0"/>
                  </a:lnTo>
                  <a:lnTo>
                    <a:pt x="339" y="0"/>
                  </a:lnTo>
                  <a:lnTo>
                    <a:pt x="339" y="0"/>
                  </a:lnTo>
                  <a:close/>
                </a:path>
              </a:pathLst>
            </a:custGeom>
            <a:solidFill>
              <a:srgbClr val="A8A8A8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Rectangle 189">
              <a:extLst>
                <a:ext uri="{FF2B5EF4-FFF2-40B4-BE49-F238E27FC236}">
                  <a16:creationId xmlns:a16="http://schemas.microsoft.com/office/drawing/2014/main" id="{ADFB8215-E777-AB5F-47CF-F9F7599FCB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7504" y="5439947"/>
              <a:ext cx="121828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H</a:t>
              </a:r>
            </a:p>
          </p:txBody>
        </p:sp>
        <p:sp>
          <p:nvSpPr>
            <p:cNvPr id="141" name="Rectangle 193">
              <a:extLst>
                <a:ext uri="{FF2B5EF4-FFF2-40B4-BE49-F238E27FC236}">
                  <a16:creationId xmlns:a16="http://schemas.microsoft.com/office/drawing/2014/main" id="{4A1497B6-6830-93A8-2AA6-6D447201F9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5997" y="4840034"/>
              <a:ext cx="10259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I</a:t>
              </a:r>
            </a:p>
          </p:txBody>
        </p:sp>
        <p:sp>
          <p:nvSpPr>
            <p:cNvPr id="142" name="Rectangle 197">
              <a:extLst>
                <a:ext uri="{FF2B5EF4-FFF2-40B4-BE49-F238E27FC236}">
                  <a16:creationId xmlns:a16="http://schemas.microsoft.com/office/drawing/2014/main" id="{4DBE572C-0281-D511-D131-2241A40790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6617" y="5705227"/>
              <a:ext cx="13946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B</a:t>
              </a:r>
            </a:p>
          </p:txBody>
        </p:sp>
        <p:sp>
          <p:nvSpPr>
            <p:cNvPr id="143" name="Rectangle 198">
              <a:extLst>
                <a:ext uri="{FF2B5EF4-FFF2-40B4-BE49-F238E27FC236}">
                  <a16:creationId xmlns:a16="http://schemas.microsoft.com/office/drawing/2014/main" id="{D3443865-AFA9-2B37-BE80-A1F2BFD8D7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8299" y="6235423"/>
              <a:ext cx="137858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K</a:t>
              </a:r>
            </a:p>
          </p:txBody>
        </p:sp>
        <p:sp>
          <p:nvSpPr>
            <p:cNvPr id="144" name="Rectangle 201">
              <a:extLst>
                <a:ext uri="{FF2B5EF4-FFF2-40B4-BE49-F238E27FC236}">
                  <a16:creationId xmlns:a16="http://schemas.microsoft.com/office/drawing/2014/main" id="{9A4B7DDF-F588-4E5F-F1FC-EE2949BBAF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7814" y="4873912"/>
              <a:ext cx="14106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A</a:t>
              </a:r>
            </a:p>
          </p:txBody>
        </p:sp>
        <p:sp>
          <p:nvSpPr>
            <p:cNvPr id="230" name="Rectangle 204">
              <a:extLst>
                <a:ext uri="{FF2B5EF4-FFF2-40B4-BE49-F238E27FC236}">
                  <a16:creationId xmlns:a16="http://schemas.microsoft.com/office/drawing/2014/main" id="{736867E1-0D37-0488-503D-177984BA30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5736" y="5668800"/>
              <a:ext cx="13305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T</a:t>
              </a:r>
            </a:p>
          </p:txBody>
        </p:sp>
        <p:sp>
          <p:nvSpPr>
            <p:cNvPr id="231" name="Rectangle 222">
              <a:extLst>
                <a:ext uri="{FF2B5EF4-FFF2-40B4-BE49-F238E27FC236}">
                  <a16:creationId xmlns:a16="http://schemas.microsoft.com/office/drawing/2014/main" id="{02A223C9-C812-42BD-87B4-1C86B625AC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8409" y="5116435"/>
              <a:ext cx="12503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3850006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bdélník 19">
            <a:extLst>
              <a:ext uri="{FF2B5EF4-FFF2-40B4-BE49-F238E27FC236}">
                <a16:creationId xmlns:a16="http://schemas.microsoft.com/office/drawing/2014/main" id="{076A7662-2018-A293-1A5C-47041A1A4825}"/>
              </a:ext>
            </a:extLst>
          </p:cNvPr>
          <p:cNvSpPr/>
          <p:nvPr/>
        </p:nvSpPr>
        <p:spPr>
          <a:xfrm>
            <a:off x="196086" y="4154608"/>
            <a:ext cx="11444400" cy="288000"/>
          </a:xfrm>
          <a:prstGeom prst="rect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A9B8C5DF-55F7-2D85-D032-E3D6ADB36F9A}"/>
              </a:ext>
            </a:extLst>
          </p:cNvPr>
          <p:cNvSpPr/>
          <p:nvPr/>
        </p:nvSpPr>
        <p:spPr>
          <a:xfrm>
            <a:off x="196086" y="4439960"/>
            <a:ext cx="11444400" cy="288000"/>
          </a:xfrm>
          <a:prstGeom prst="rect">
            <a:avLst/>
          </a:prstGeom>
          <a:solidFill>
            <a:srgbClr val="FFB9B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Nadpis 17">
            <a:extLst>
              <a:ext uri="{FF2B5EF4-FFF2-40B4-BE49-F238E27FC236}">
                <a16:creationId xmlns:a16="http://schemas.microsoft.com/office/drawing/2014/main" id="{72CE58F4-DC4A-537B-6056-99AF97F47B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Podíl a zastoupení stadií u nově diagnostikovaných pacientů se ZN průdušnice, průdušky a plíce (C33, C34) v krajích ČR (období 2019–2023)</a:t>
            </a:r>
            <a:br>
              <a:rPr lang="cs-CZ" sz="2400" dirty="0"/>
            </a:br>
            <a:endParaRPr lang="cs-CZ" sz="2400" dirty="0"/>
          </a:p>
        </p:txBody>
      </p:sp>
      <p:graphicFrame>
        <p:nvGraphicFramePr>
          <p:cNvPr id="2" name="Graf 1">
            <a:extLst>
              <a:ext uri="{FF2B5EF4-FFF2-40B4-BE49-F238E27FC236}">
                <a16:creationId xmlns:a16="http://schemas.microsoft.com/office/drawing/2014/main" id="{B9DA35E5-8A09-CECA-B5DA-0FC85A9AB47F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76250" y="1507803"/>
          <a:ext cx="9953625" cy="48254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" name="Obdélník 2">
            <a:extLst>
              <a:ext uri="{FF2B5EF4-FFF2-40B4-BE49-F238E27FC236}">
                <a16:creationId xmlns:a16="http://schemas.microsoft.com/office/drawing/2014/main" id="{D553C8EA-D986-D082-2419-08F1A3F18312}"/>
              </a:ext>
            </a:extLst>
          </p:cNvPr>
          <p:cNvSpPr/>
          <p:nvPr/>
        </p:nvSpPr>
        <p:spPr>
          <a:xfrm>
            <a:off x="2006188" y="1168659"/>
            <a:ext cx="871293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dium při diagnóze:        1         2        3        4         neuvedeno z objektivních důvodů        neznámo – neúplný záznam</a:t>
            </a:r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45BC298B-F877-486C-0C5E-3017B1BC3D12}"/>
              </a:ext>
            </a:extLst>
          </p:cNvPr>
          <p:cNvSpPr/>
          <p:nvPr/>
        </p:nvSpPr>
        <p:spPr>
          <a:xfrm>
            <a:off x="3760997" y="1186890"/>
            <a:ext cx="144000" cy="144000"/>
          </a:xfrm>
          <a:prstGeom prst="rect">
            <a:avLst/>
          </a:prstGeom>
          <a:solidFill>
            <a:srgbClr val="00B0F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1F25BBBA-8BCC-FD13-49E9-2D1F042BA4CD}"/>
              </a:ext>
            </a:extLst>
          </p:cNvPr>
          <p:cNvSpPr/>
          <p:nvPr/>
        </p:nvSpPr>
        <p:spPr>
          <a:xfrm>
            <a:off x="4208720" y="1186890"/>
            <a:ext cx="144000" cy="144000"/>
          </a:xfrm>
          <a:prstGeom prst="rect">
            <a:avLst/>
          </a:prstGeom>
          <a:solidFill>
            <a:srgbClr val="92D05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637A24B2-E0A4-712E-DF4E-0177B0DE4371}"/>
              </a:ext>
            </a:extLst>
          </p:cNvPr>
          <p:cNvSpPr/>
          <p:nvPr/>
        </p:nvSpPr>
        <p:spPr>
          <a:xfrm>
            <a:off x="4656443" y="1186890"/>
            <a:ext cx="144000" cy="144000"/>
          </a:xfrm>
          <a:prstGeom prst="rect">
            <a:avLst/>
          </a:prstGeom>
          <a:solidFill>
            <a:srgbClr val="FFC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4A3DD82B-1442-2F74-D898-F063A31F0C38}"/>
              </a:ext>
            </a:extLst>
          </p:cNvPr>
          <p:cNvSpPr/>
          <p:nvPr/>
        </p:nvSpPr>
        <p:spPr>
          <a:xfrm>
            <a:off x="5104166" y="1186890"/>
            <a:ext cx="144000" cy="144000"/>
          </a:xfrm>
          <a:prstGeom prst="rect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375172B2-2A2F-75D9-647F-F220FD25B602}"/>
              </a:ext>
            </a:extLst>
          </p:cNvPr>
          <p:cNvSpPr/>
          <p:nvPr/>
        </p:nvSpPr>
        <p:spPr>
          <a:xfrm>
            <a:off x="5551889" y="1186890"/>
            <a:ext cx="144000" cy="144000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83256543-FB67-A49A-F0F2-CFABB320D562}"/>
              </a:ext>
            </a:extLst>
          </p:cNvPr>
          <p:cNvSpPr/>
          <p:nvPr/>
        </p:nvSpPr>
        <p:spPr>
          <a:xfrm>
            <a:off x="8359651" y="1186890"/>
            <a:ext cx="144000" cy="144000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6">
            <a:extLst>
              <a:ext uri="{FF2B5EF4-FFF2-40B4-BE49-F238E27FC236}">
                <a16:creationId xmlns:a16="http://schemas.microsoft.com/office/drawing/2014/main" id="{13319F71-58F1-AA27-6D5D-79A802C1B71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233351" y="1470160"/>
            <a:ext cx="180243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ůměrný počet nově diagnostikovaných ročně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7A8CE454-7912-1DC0-DA3F-B12D9D70BBE4}"/>
              </a:ext>
            </a:extLst>
          </p:cNvPr>
          <p:cNvGraphicFramePr>
            <a:graphicFrameLocks noGrp="1"/>
          </p:cNvGraphicFramePr>
          <p:nvPr/>
        </p:nvGraphicFramePr>
        <p:xfrm>
          <a:off x="10325055" y="1837547"/>
          <a:ext cx="904919" cy="4349565"/>
        </p:xfrm>
        <a:graphic>
          <a:graphicData uri="http://schemas.openxmlformats.org/drawingml/2006/table">
            <a:tbl>
              <a:tblPr/>
              <a:tblGrid>
                <a:gridCol w="904919">
                  <a:extLst>
                    <a:ext uri="{9D8B030D-6E8A-4147-A177-3AD203B41FA5}">
                      <a16:colId xmlns:a16="http://schemas.microsoft.com/office/drawing/2014/main" val="4292166783"/>
                    </a:ext>
                  </a:extLst>
                </a:gridCol>
              </a:tblGrid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3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8696273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7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0345229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3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0482653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3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8208403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3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9315730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7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5341452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2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692048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8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9200780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6 6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4403897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4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6617008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2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9309228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2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1594631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7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1065283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2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3975297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6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5493707"/>
                  </a:ext>
                </a:extLst>
              </a:tr>
            </a:tbl>
          </a:graphicData>
        </a:graphic>
      </p:graphicFrame>
      <p:sp>
        <p:nvSpPr>
          <p:cNvPr id="14" name="TextBox 6">
            <a:extLst>
              <a:ext uri="{FF2B5EF4-FFF2-40B4-BE49-F238E27FC236}">
                <a16:creationId xmlns:a16="http://schemas.microsoft.com/office/drawing/2014/main" id="{BCBE1F97-0821-B054-C1C8-0E807C8D8DA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96943" y="796716"/>
            <a:ext cx="23054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onkologický registr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166191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392">
            <a:extLst>
              <a:ext uri="{FF2B5EF4-FFF2-40B4-BE49-F238E27FC236}">
                <a16:creationId xmlns:a16="http://schemas.microsoft.com/office/drawing/2014/main" id="{E6EBBA63-5700-4BE9-B1DC-58FC1E36FAD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164993" y="845290"/>
          <a:ext cx="10847403" cy="5541620"/>
        </p:xfrm>
        <a:graphic>
          <a:graphicData uri="http://schemas.openxmlformats.org/drawingml/2006/table">
            <a:tbl>
              <a:tblPr/>
              <a:tblGrid>
                <a:gridCol w="28863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623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4686">
                  <a:extLst>
                    <a:ext uri="{9D8B030D-6E8A-4147-A177-3AD203B41FA5}">
                      <a16:colId xmlns:a16="http://schemas.microsoft.com/office/drawing/2014/main" val="357058986"/>
                    </a:ext>
                  </a:extLst>
                </a:gridCol>
                <a:gridCol w="774686">
                  <a:extLst>
                    <a:ext uri="{9D8B030D-6E8A-4147-A177-3AD203B41FA5}">
                      <a16:colId xmlns:a16="http://schemas.microsoft.com/office/drawing/2014/main" val="3282790491"/>
                    </a:ext>
                  </a:extLst>
                </a:gridCol>
                <a:gridCol w="774686">
                  <a:extLst>
                    <a:ext uri="{9D8B030D-6E8A-4147-A177-3AD203B41FA5}">
                      <a16:colId xmlns:a16="http://schemas.microsoft.com/office/drawing/2014/main" val="274195822"/>
                    </a:ext>
                  </a:extLst>
                </a:gridCol>
                <a:gridCol w="774686">
                  <a:extLst>
                    <a:ext uri="{9D8B030D-6E8A-4147-A177-3AD203B41FA5}">
                      <a16:colId xmlns:a16="http://schemas.microsoft.com/office/drawing/2014/main" val="1185986903"/>
                    </a:ext>
                  </a:extLst>
                </a:gridCol>
              </a:tblGrid>
              <a:tr h="595941"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latin typeface="Calibri  "/>
                        </a:rPr>
                        <a:t>Relativní přežití</a:t>
                      </a:r>
                      <a:r>
                        <a:rPr lang="cs-CZ" sz="12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 (%, kohorta 2010</a:t>
                      </a:r>
                      <a:r>
                        <a:rPr kumimoji="0" lang="cs-CZ" altLang="cs-CZ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  "/>
                          <a:ea typeface="+mn-ea"/>
                          <a:cs typeface="+mn-cs"/>
                        </a:rPr>
                        <a:t>–</a:t>
                      </a:r>
                      <a:r>
                        <a:rPr lang="cs-CZ" sz="12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2014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latin typeface="Calibri  "/>
                        </a:rPr>
                        <a:t>Relativní přežití</a:t>
                      </a:r>
                      <a:r>
                        <a:rPr lang="cs-CZ" sz="12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 (%, kohorta 2015</a:t>
                      </a:r>
                      <a:r>
                        <a:rPr kumimoji="0" lang="cs-CZ" altLang="cs-CZ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  "/>
                          <a:ea typeface="+mn-ea"/>
                          <a:cs typeface="+mn-cs"/>
                        </a:rPr>
                        <a:t>–</a:t>
                      </a:r>
                      <a:r>
                        <a:rPr lang="cs-CZ" sz="12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2019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latin typeface="Calibri  "/>
                        </a:rPr>
                        <a:t>Relativní přežití</a:t>
                      </a:r>
                      <a:r>
                        <a:rPr lang="cs-CZ" sz="12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 (%, perioda 2020</a:t>
                      </a:r>
                      <a:r>
                        <a:rPr kumimoji="0" lang="cs-CZ" altLang="cs-CZ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  "/>
                          <a:ea typeface="+mn-ea"/>
                          <a:cs typeface="+mn-cs"/>
                        </a:rPr>
                        <a:t>–</a:t>
                      </a:r>
                      <a:r>
                        <a:rPr lang="cs-CZ" sz="12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2022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latin typeface="Calibri  "/>
                        </a:rPr>
                        <a:t>Rozdíl</a:t>
                      </a:r>
                    </a:p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latin typeface="Calibri  "/>
                        </a:rPr>
                        <a:t>přežití</a:t>
                      </a: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ostaty (C61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1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7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1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.48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7.77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štítné žlázy (C73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7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8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83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2.12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varlete (C62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1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86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35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7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.86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houbný melanom kůže (C43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9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3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60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8.66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su (C50) u žen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73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.13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.0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5.31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gkinův lymfom (C81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7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6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.7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6.98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dělohy (C54, C55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.70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50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.5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3.89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ledviny (C64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1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.1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58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2.47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močového měchýře (C67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.86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1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.2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7.36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-Hodgkinův lymfom (C82–C86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.7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.27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40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5.66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rdla děložního (C53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.8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68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.7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3.90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tl. střeva a konečníku (C18–C20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cs-CZ" sz="1200" b="1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37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15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7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7.34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ojivových a měk. tkání (C47, C49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76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20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3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4.58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rtanu (C32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.77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63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23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8.46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lavy a krku (C00–C14, C30–C31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7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7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18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8.46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ohočetný myelom (C90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08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.1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27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4.19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ukémie (C91–C95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1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80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43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0.29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vaječníku (C56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97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0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1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7.22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žaludku (C16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57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48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0.47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2020682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mozku a míchy (C70–C72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76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8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70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7.94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3143575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ůdušnice a plíce (C33, C34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53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7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0.03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7667510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žlučníku a žluč. cest (C23, C24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5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77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7.88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3675180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jícnu (C15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4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3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67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8.18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2989520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slinivky břišní (C25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2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0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8.71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242486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jater a 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rahep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žluč. cest (C22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cs-CZ" sz="1200" b="1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8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3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6.20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B32EF47-F251-4798-8509-3D9DC37CC8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72591" y="160258"/>
            <a:ext cx="10515600" cy="538364"/>
          </a:xfrm>
        </p:spPr>
        <p:txBody>
          <a:bodyPr>
            <a:normAutofit/>
          </a:bodyPr>
          <a:lstStyle/>
          <a:p>
            <a:r>
              <a:rPr lang="cs-CZ" dirty="0"/>
              <a:t>Vývoj 5letého relativního přežití pacientů v České republice</a:t>
            </a:r>
          </a:p>
        </p:txBody>
      </p:sp>
      <p:sp>
        <p:nvSpPr>
          <p:cNvPr id="3" name="TextovéPole 20">
            <a:extLst>
              <a:ext uri="{FF2B5EF4-FFF2-40B4-BE49-F238E27FC236}">
                <a16:creationId xmlns:a16="http://schemas.microsoft.com/office/drawing/2014/main" id="{5E71DC4B-3B54-4FCB-8BD9-8A49465B98B8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7998" y="703701"/>
            <a:ext cx="5338484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agnózy jsou řazeny sestupně dle 5letého přežití pro analýzu periody 2020</a:t>
            </a:r>
            <a:r>
              <a:rPr kumimoji="0" lang="cs-CZ" alt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–</a:t>
            </a:r>
            <a:r>
              <a:rPr kumimoji="0" lang="pl-PL" alt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022.</a:t>
            </a:r>
          </a:p>
        </p:txBody>
      </p:sp>
      <p:graphicFrame>
        <p:nvGraphicFramePr>
          <p:cNvPr id="14" name="Object 2">
            <a:extLst>
              <a:ext uri="{FF2B5EF4-FFF2-40B4-BE49-F238E27FC236}">
                <a16:creationId xmlns:a16="http://schemas.microsoft.com/office/drawing/2014/main" id="{389BE572-0A6D-44CB-A7E7-2A21ACAD857A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3371783" y="964161"/>
          <a:ext cx="5540228" cy="54227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5" name="TextovéPole 20">
            <a:extLst>
              <a:ext uri="{FF2B5EF4-FFF2-40B4-BE49-F238E27FC236}">
                <a16:creationId xmlns:a16="http://schemas.microsoft.com/office/drawing/2014/main" id="{D1EA6079-E23B-4338-BC0D-0326DB5CC6A9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36801" y="891040"/>
            <a:ext cx="302577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lativní 5leté přežití [%]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08ECA76C-4649-43C8-9380-0BA5E9B3FC59}"/>
              </a:ext>
            </a:extLst>
          </p:cNvPr>
          <p:cNvSpPr/>
          <p:nvPr/>
        </p:nvSpPr>
        <p:spPr>
          <a:xfrm>
            <a:off x="271398" y="883273"/>
            <a:ext cx="293542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droj: Národní onkologický registr, ÚZIS ČR</a:t>
            </a:r>
          </a:p>
        </p:txBody>
      </p:sp>
      <p:sp>
        <p:nvSpPr>
          <p:cNvPr id="18" name="Text Box 4">
            <a:extLst>
              <a:ext uri="{FF2B5EF4-FFF2-40B4-BE49-F238E27FC236}">
                <a16:creationId xmlns:a16="http://schemas.microsoft.com/office/drawing/2014/main" id="{232CFFF3-BC01-473A-A980-39DAF219E248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88000" y="530262"/>
            <a:ext cx="5674925" cy="261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45710" rIns="91420" bIns="4571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šichni pacienti s diagnostikovaným onemocněním.</a:t>
            </a:r>
          </a:p>
        </p:txBody>
      </p:sp>
      <p:grpSp>
        <p:nvGrpSpPr>
          <p:cNvPr id="4" name="Skupina 3">
            <a:extLst>
              <a:ext uri="{FF2B5EF4-FFF2-40B4-BE49-F238E27FC236}">
                <a16:creationId xmlns:a16="http://schemas.microsoft.com/office/drawing/2014/main" id="{98FAA048-90A8-4BB0-A76C-729CF7E5E281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375844" y="1146461"/>
            <a:ext cx="3195814" cy="828775"/>
            <a:chOff x="375844" y="1146461"/>
            <a:chExt cx="3195814" cy="828775"/>
          </a:xfrm>
        </p:grpSpPr>
        <p:sp>
          <p:nvSpPr>
            <p:cNvPr id="27" name="Ovál 26">
              <a:extLst>
                <a:ext uri="{FF2B5EF4-FFF2-40B4-BE49-F238E27FC236}">
                  <a16:creationId xmlns:a16="http://schemas.microsoft.com/office/drawing/2014/main" id="{E3941126-8CF3-4742-9701-3562FE2424ED}"/>
                </a:ext>
              </a:extLst>
            </p:cNvPr>
            <p:cNvSpPr/>
            <p:nvPr/>
          </p:nvSpPr>
          <p:spPr>
            <a:xfrm>
              <a:off x="375844" y="1186793"/>
              <a:ext cx="180000" cy="180000"/>
            </a:xfrm>
            <a:prstGeom prst="ellipse">
              <a:avLst/>
            </a:prstGeom>
            <a:solidFill>
              <a:srgbClr val="C00000"/>
            </a:solidFill>
            <a:ln w="127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extovéPole 29">
              <a:extLst>
                <a:ext uri="{FF2B5EF4-FFF2-40B4-BE49-F238E27FC236}">
                  <a16:creationId xmlns:a16="http://schemas.microsoft.com/office/drawing/2014/main" id="{252FB36A-F224-4E82-B0C4-CBD6EE67FA3C}"/>
                </a:ext>
              </a:extLst>
            </p:cNvPr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555844" y="1146461"/>
              <a:ext cx="233203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ohortní analýza 20</a:t>
              </a:r>
              <a:r>
                <a:rPr kumimoji="0" lang="cs-CZ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</a:t>
              </a:r>
              <a:r>
                <a:rPr kumimoji="0" lang="pl-PL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</a:t>
              </a:r>
              <a:r>
                <a:rPr kumimoji="0" lang="cs-CZ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–2014</a:t>
              </a:r>
              <a:endParaRPr kumimoji="0" lang="pl-PL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TextovéPole 29">
              <a:extLst>
                <a:ext uri="{FF2B5EF4-FFF2-40B4-BE49-F238E27FC236}">
                  <a16:creationId xmlns:a16="http://schemas.microsoft.com/office/drawing/2014/main" id="{08C98FE0-1254-4804-96AE-21560EE40C8F}"/>
                </a:ext>
              </a:extLst>
            </p:cNvPr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555844" y="1413070"/>
              <a:ext cx="233203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ohortní analýza 2015</a:t>
              </a:r>
              <a:r>
                <a:rPr kumimoji="0" lang="cs-CZ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–2019</a:t>
              </a:r>
              <a:endParaRPr kumimoji="0" lang="pl-PL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TextovéPole 29">
              <a:extLst>
                <a:ext uri="{FF2B5EF4-FFF2-40B4-BE49-F238E27FC236}">
                  <a16:creationId xmlns:a16="http://schemas.microsoft.com/office/drawing/2014/main" id="{57280BA1-82F6-4523-AA34-FAA3DE41D51B}"/>
                </a:ext>
              </a:extLst>
            </p:cNvPr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545883" y="1698237"/>
              <a:ext cx="30257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nalýza periody 2020</a:t>
              </a:r>
              <a:r>
                <a:rPr kumimoji="0" lang="cs-CZ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–</a:t>
              </a:r>
              <a:r>
                <a:rPr kumimoji="0" lang="pl-PL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2</a:t>
              </a:r>
            </a:p>
          </p:txBody>
        </p:sp>
        <p:grpSp>
          <p:nvGrpSpPr>
            <p:cNvPr id="7" name="Skupina 34">
              <a:extLst>
                <a:ext uri="{FF2B5EF4-FFF2-40B4-BE49-F238E27FC236}">
                  <a16:creationId xmlns:a16="http://schemas.microsoft.com/office/drawing/2014/main" id="{4CC44408-DA10-482D-A8AB-D66BC4A27F0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5947" y="1748951"/>
              <a:ext cx="161925" cy="176077"/>
              <a:chOff x="4508326" y="837418"/>
              <a:chExt cx="161925" cy="162000"/>
            </a:xfrm>
          </p:grpSpPr>
          <p:sp>
            <p:nvSpPr>
              <p:cNvPr id="10" name="Obdélník 9">
                <a:extLst>
                  <a:ext uri="{FF2B5EF4-FFF2-40B4-BE49-F238E27FC236}">
                    <a16:creationId xmlns:a16="http://schemas.microsoft.com/office/drawing/2014/main" id="{9241B836-B695-468B-B5B1-7444789DF8E0}"/>
                  </a:ext>
                </a:extLst>
              </p:cNvPr>
              <p:cNvSpPr/>
              <p:nvPr/>
            </p:nvSpPr>
            <p:spPr bwMode="auto">
              <a:xfrm>
                <a:off x="4508326" y="837418"/>
                <a:ext cx="161925" cy="162000"/>
              </a:xfrm>
              <a:prstGeom prst="rect">
                <a:avLst/>
              </a:prstGeom>
              <a:solidFill>
                <a:srgbClr val="993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" name="Obdélník 8">
                <a:extLst>
                  <a:ext uri="{FF2B5EF4-FFF2-40B4-BE49-F238E27FC236}">
                    <a16:creationId xmlns:a16="http://schemas.microsoft.com/office/drawing/2014/main" id="{2A2A0786-43F5-431D-8E38-E186F2E0C2C0}"/>
                  </a:ext>
                </a:extLst>
              </p:cNvPr>
              <p:cNvSpPr/>
              <p:nvPr/>
            </p:nvSpPr>
            <p:spPr bwMode="auto">
              <a:xfrm>
                <a:off x="4521737" y="851649"/>
                <a:ext cx="136525" cy="136588"/>
              </a:xfrm>
              <a:prstGeom prst="rect">
                <a:avLst/>
              </a:prstGeom>
              <a:solidFill>
                <a:srgbClr val="FFC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4" name="Ovál 23">
              <a:extLst>
                <a:ext uri="{FF2B5EF4-FFF2-40B4-BE49-F238E27FC236}">
                  <a16:creationId xmlns:a16="http://schemas.microsoft.com/office/drawing/2014/main" id="{D5EF048C-C581-4293-8ECF-50219B7FBC81}"/>
                </a:ext>
              </a:extLst>
            </p:cNvPr>
            <p:cNvSpPr/>
            <p:nvPr/>
          </p:nvSpPr>
          <p:spPr>
            <a:xfrm>
              <a:off x="377872" y="1467872"/>
              <a:ext cx="180000" cy="180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068553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délník 15">
            <a:extLst>
              <a:ext uri="{FF2B5EF4-FFF2-40B4-BE49-F238E27FC236}">
                <a16:creationId xmlns:a16="http://schemas.microsoft.com/office/drawing/2014/main" id="{08ECA76C-4649-43C8-9380-0BA5E9B3FC5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88000" y="493506"/>
            <a:ext cx="915475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droj: Národní onkologický registr, ÚZIS ČR;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lýza periody 2020–2022, všichni pacienti s diagnostikovaným onemocnění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pl-PL" alt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 "/>
                <a:ea typeface="+mn-ea"/>
                <a:cs typeface="+mn-cs"/>
              </a:rPr>
              <a:t> jsou řazeny sestupně dle 5letého přežití.</a:t>
            </a:r>
          </a:p>
        </p:txBody>
      </p:sp>
      <p:graphicFrame>
        <p:nvGraphicFramePr>
          <p:cNvPr id="5" name="Group 392">
            <a:extLst>
              <a:ext uri="{FF2B5EF4-FFF2-40B4-BE49-F238E27FC236}">
                <a16:creationId xmlns:a16="http://schemas.microsoft.com/office/drawing/2014/main" id="{E6EBBA63-5700-4BE9-B1DC-58FC1E36FAD0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1033141" y="953332"/>
          <a:ext cx="10014989" cy="5190836"/>
        </p:xfrm>
        <a:graphic>
          <a:graphicData uri="http://schemas.openxmlformats.org/drawingml/2006/table">
            <a:tbl>
              <a:tblPr/>
              <a:tblGrid>
                <a:gridCol w="31089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372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44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34421">
                  <a:extLst>
                    <a:ext uri="{9D8B030D-6E8A-4147-A177-3AD203B41FA5}">
                      <a16:colId xmlns:a16="http://schemas.microsoft.com/office/drawing/2014/main" val="3441950630"/>
                    </a:ext>
                  </a:extLst>
                </a:gridCol>
              </a:tblGrid>
              <a:tr h="826301"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</a:pPr>
                      <a:endParaRPr lang="cs-CZ" sz="1400" b="1" i="0" u="none" strike="noStrike" dirty="0">
                        <a:solidFill>
                          <a:srgbClr val="000000"/>
                        </a:solidFill>
                        <a:latin typeface="Calibri  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</a:pPr>
                      <a:endParaRPr lang="cs-CZ" sz="1400" b="1" i="0" u="none" strike="noStrike" dirty="0">
                        <a:solidFill>
                          <a:srgbClr val="000000"/>
                        </a:solidFill>
                        <a:latin typeface="Calibri  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latin typeface="Calibri  "/>
                        </a:rPr>
                        <a:t>Počet</a:t>
                      </a:r>
                      <a:r>
                        <a:rPr lang="cs-CZ" sz="14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 pacientů</a:t>
                      </a: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latin typeface="Calibri  "/>
                        </a:rPr>
                        <a:t>Relativní přežití</a:t>
                      </a:r>
                      <a:r>
                        <a:rPr lang="cs-CZ" sz="14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 (%</a:t>
                      </a:r>
                      <a:r>
                        <a:rPr lang="en-US" sz="14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)</a:t>
                      </a:r>
                      <a:r>
                        <a:rPr lang="cs-CZ" sz="14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, </a:t>
                      </a:r>
                      <a:endParaRPr lang="cs-CZ" sz="1400" b="1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1" i="0" u="none" strike="noStrike" kern="1200" dirty="0">
                        <a:solidFill>
                          <a:schemeClr val="tx1"/>
                        </a:solidFill>
                        <a:latin typeface="Calibri  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78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1" i="0" u="none" strike="noStrike" kern="1200" dirty="0">
                        <a:solidFill>
                          <a:schemeClr val="tx1"/>
                        </a:solidFill>
                        <a:latin typeface="Calibri  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53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9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2954692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1" i="0" u="none" strike="noStrike" kern="1200" dirty="0">
                        <a:solidFill>
                          <a:schemeClr val="tx1"/>
                        </a:solidFill>
                        <a:latin typeface="Calibri  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1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2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0590358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1" i="0" u="none" strike="noStrike" kern="1200" dirty="0">
                        <a:solidFill>
                          <a:schemeClr val="tx1"/>
                        </a:solidFill>
                        <a:latin typeface="Calibri  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4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6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5904625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1" i="0" u="none" strike="noStrike" kern="1200" dirty="0">
                        <a:solidFill>
                          <a:schemeClr val="tx1"/>
                        </a:solidFill>
                        <a:latin typeface="Calibri  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44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9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6401143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>
                        <a:lnSpc>
                          <a:spcPct val="100000"/>
                        </a:lnSpc>
                      </a:pP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87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3545364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>
                        <a:lnSpc>
                          <a:spcPct val="100000"/>
                        </a:lnSpc>
                      </a:pP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06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3824727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cs-CZ" sz="14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Česká republika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>
                        <a:lnSpc>
                          <a:spcPct val="100000"/>
                        </a:lnSpc>
                      </a:pPr>
                      <a:endParaRPr lang="cs-CZ" sz="1400" b="1" i="0" u="none" strike="noStrike" kern="12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7 134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0.7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>
                        <a:lnSpc>
                          <a:spcPct val="100000"/>
                        </a:lnSpc>
                      </a:pPr>
                      <a:endParaRPr lang="cs-CZ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3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5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1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13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3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0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13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2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0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16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3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0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5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0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31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9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0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0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B32EF47-F251-4798-8509-3D9DC37CC8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72591" y="160258"/>
            <a:ext cx="10515600" cy="538364"/>
          </a:xfrm>
        </p:spPr>
        <p:txBody>
          <a:bodyPr>
            <a:normAutofit/>
          </a:bodyPr>
          <a:lstStyle/>
          <a:p>
            <a:r>
              <a:rPr lang="cs-CZ" dirty="0"/>
              <a:t>5leté relativní přežití pacientů se </a:t>
            </a:r>
            <a:r>
              <a:rPr lang="cs-CZ" u="sng" dirty="0"/>
              <a:t>ZN plic</a:t>
            </a:r>
            <a:r>
              <a:rPr lang="cs-CZ" dirty="0"/>
              <a:t> dle krajů (perioda 2020–2022)</a:t>
            </a:r>
          </a:p>
        </p:txBody>
      </p:sp>
      <p:graphicFrame>
        <p:nvGraphicFramePr>
          <p:cNvPr id="14" name="Object 2">
            <a:extLst>
              <a:ext uri="{FF2B5EF4-FFF2-40B4-BE49-F238E27FC236}">
                <a16:creationId xmlns:a16="http://schemas.microsoft.com/office/drawing/2014/main" id="{389BE572-0A6D-44CB-A7E7-2A21ACAD857A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3997666" y="1108069"/>
          <a:ext cx="5634051" cy="5291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5" name="TextovéPole 20">
            <a:extLst>
              <a:ext uri="{FF2B5EF4-FFF2-40B4-BE49-F238E27FC236}">
                <a16:creationId xmlns:a16="http://schemas.microsoft.com/office/drawing/2014/main" id="{D1EA6079-E23B-4338-BC0D-0326DB5CC6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50548" y="1004108"/>
            <a:ext cx="472828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lativní 5leté přežití pacientů s C33, C34 [%]</a:t>
            </a:r>
          </a:p>
        </p:txBody>
      </p:sp>
    </p:spTree>
    <p:extLst>
      <p:ext uri="{BB962C8B-B14F-4D97-AF65-F5344CB8AC3E}">
        <p14:creationId xmlns:p14="http://schemas.microsoft.com/office/powerpoint/2010/main" val="177863782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56DB691D-403F-F0A0-260D-66A82C70CB6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115737" y="3985600"/>
            <a:ext cx="6010274" cy="252000"/>
          </a:xfrm>
          <a:prstGeom prst="rect">
            <a:avLst/>
          </a:prstGeom>
          <a:solidFill>
            <a:srgbClr val="97BA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1D34476E-FBB5-61F3-DACF-94481BAAD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0" y="160258"/>
            <a:ext cx="10700209" cy="538364"/>
          </a:xfrm>
        </p:spPr>
        <p:txBody>
          <a:bodyPr/>
          <a:lstStyle/>
          <a:p>
            <a:r>
              <a:rPr lang="cs-CZ" sz="2400" dirty="0"/>
              <a:t>Primární protinádorová léčba</a:t>
            </a:r>
            <a:r>
              <a:rPr lang="cs-CZ" sz="2400" b="1" noProof="0" dirty="0">
                <a:solidFill>
                  <a:srgbClr val="D71440"/>
                </a:solidFill>
                <a:latin typeface="+mn-lt"/>
              </a:rPr>
              <a:t> pacientů se </a:t>
            </a:r>
            <a:r>
              <a:rPr lang="cs-CZ" sz="2400" b="1" u="sng" noProof="0" dirty="0">
                <a:solidFill>
                  <a:srgbClr val="D71440"/>
                </a:solidFill>
                <a:latin typeface="+mn-lt"/>
              </a:rPr>
              <a:t>ZN průdušnice, průdušky a plíce </a:t>
            </a:r>
            <a:br>
              <a:rPr lang="en-US" sz="2400" b="1" u="sng" noProof="0" dirty="0">
                <a:solidFill>
                  <a:srgbClr val="D71440"/>
                </a:solidFill>
                <a:latin typeface="+mn-lt"/>
              </a:rPr>
            </a:br>
            <a:r>
              <a:rPr lang="cs-CZ" sz="2400" b="1" u="sng" noProof="0" dirty="0">
                <a:solidFill>
                  <a:srgbClr val="D71440"/>
                </a:solidFill>
                <a:latin typeface="+mn-lt"/>
              </a:rPr>
              <a:t>(C33, C34)</a:t>
            </a:r>
            <a:r>
              <a:rPr lang="cs-CZ" sz="2400" b="1" noProof="0" dirty="0">
                <a:solidFill>
                  <a:srgbClr val="D71440"/>
                </a:solidFill>
                <a:latin typeface="+mn-lt"/>
              </a:rPr>
              <a:t> v KOC a mimo KOC: </a:t>
            </a:r>
            <a:r>
              <a:rPr lang="cs-CZ" sz="2400" dirty="0"/>
              <a:t>dle kraje bydliště pacienta </a:t>
            </a:r>
            <a:r>
              <a:rPr lang="cs-CZ" sz="2400" noProof="0" dirty="0"/>
              <a:t>(2018–2022)</a:t>
            </a:r>
            <a:endParaRPr lang="cs-CZ" sz="2400" dirty="0"/>
          </a:p>
        </p:txBody>
      </p:sp>
      <p:sp>
        <p:nvSpPr>
          <p:cNvPr id="3" name="TextBox 6">
            <a:extLst>
              <a:ext uri="{FF2B5EF4-FFF2-40B4-BE49-F238E27FC236}">
                <a16:creationId xmlns:a16="http://schemas.microsoft.com/office/drawing/2014/main" id="{3FB2422F-E955-3264-B4AC-910935BF7E1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8000" y="864000"/>
            <a:ext cx="118625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droj dat: NOR + NRHZS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2018–2022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; primární léčba zhoubného novotvaru (ZN) průdušnice, průdušky a plíce (C33, C34) vykázaná v datech NRHZS u novotvarů hlášených v datech NOR u dospělých pacientů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CBB92F03-3554-1A58-A134-F116B5122C2D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57150" y="1697786"/>
          <a:ext cx="6033052" cy="480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527FC453-FB7F-DE95-C8D7-E5DCD3621B8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78464" y="1236950"/>
            <a:ext cx="486396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ční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čet primárně léčených onkologických pacientů se ZN plic podle bydliště pacienta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8F80D6C5-988C-F262-2FB3-6CA7D1A7ACAE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5896858" y="1821725"/>
          <a:ext cx="5739156" cy="46024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FC05BBB3-A990-BB84-C4C3-E250FFA5F1B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086182" y="6251635"/>
            <a:ext cx="3936485" cy="261610"/>
          </a:xfrm>
          <a:prstGeom prst="rect">
            <a:avLst/>
          </a:prstGeom>
          <a:noFill/>
          <a:ln w="19050"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acient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bez místa bydliště jsou v součtu za ČR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zahrnut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8A273CE7-A85F-51F3-BCA8-1C564706FAE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090202" y="5027784"/>
            <a:ext cx="6010274" cy="259200"/>
          </a:xfrm>
          <a:prstGeom prst="rect">
            <a:avLst/>
          </a:prstGeom>
          <a:noFill/>
          <a:ln w="19050">
            <a:solidFill>
              <a:srgbClr val="2E5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DAB78114-CEA3-3F58-69A2-1696D4D3B612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27858" y="3808231"/>
            <a:ext cx="5472000" cy="270000"/>
          </a:xfrm>
          <a:prstGeom prst="rect">
            <a:avLst/>
          </a:prstGeom>
          <a:noFill/>
          <a:ln w="19050">
            <a:solidFill>
              <a:srgbClr val="2E5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A6F94202-D27A-4048-9A15-FCEF04A7B7D1}"/>
              </a:ext>
            </a:extLst>
          </p:cNvPr>
          <p:cNvSpPr txBox="1"/>
          <p:nvPr/>
        </p:nvSpPr>
        <p:spPr>
          <a:xfrm>
            <a:off x="6704228" y="1236950"/>
            <a:ext cx="479705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primárně léčených onkologických pacientů se ZN plic podle </a:t>
            </a:r>
            <a:r>
              <a:rPr kumimoji="0" lang="cs-CZ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ydliště pacienta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3015651-E51E-DFB2-E3F6-1FA548C2BDD0}"/>
              </a:ext>
            </a:extLst>
          </p:cNvPr>
          <p:cNvGraphicFramePr>
            <a:graphicFrameLocks noGrp="1"/>
          </p:cNvGraphicFramePr>
          <p:nvPr/>
        </p:nvGraphicFramePr>
        <p:xfrm>
          <a:off x="11396302" y="2430299"/>
          <a:ext cx="710855" cy="3856200"/>
        </p:xfrm>
        <a:graphic>
          <a:graphicData uri="http://schemas.openxmlformats.org/drawingml/2006/table">
            <a:tbl>
              <a:tblPr/>
              <a:tblGrid>
                <a:gridCol w="710855">
                  <a:extLst>
                    <a:ext uri="{9D8B030D-6E8A-4147-A177-3AD203B41FA5}">
                      <a16:colId xmlns:a16="http://schemas.microsoft.com/office/drawing/2014/main" val="1752176451"/>
                    </a:ext>
                  </a:extLst>
                </a:gridCol>
              </a:tblGrid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1197353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9409465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7272292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694620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5877951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4536518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 430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1345022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7742637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214636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3013189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3833449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1307107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12266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169871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12830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492735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7F4CB2-FFE9-8E41-D5D0-96615FE744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Onkologičtí pacienti se </a:t>
            </a:r>
            <a:r>
              <a:rPr lang="cs-CZ" sz="2400" u="sng" dirty="0"/>
              <a:t>ZN plic</a:t>
            </a:r>
            <a:r>
              <a:rPr lang="cs-CZ" sz="2400" dirty="0"/>
              <a:t> s konzultací multidisciplinárního týmu (MDT)</a:t>
            </a:r>
          </a:p>
        </p:txBody>
      </p:sp>
      <p:sp>
        <p:nvSpPr>
          <p:cNvPr id="3" name="TextBox 6">
            <a:extLst>
              <a:ext uri="{FF2B5EF4-FFF2-40B4-BE49-F238E27FC236}">
                <a16:creationId xmlns:a16="http://schemas.microsoft.com/office/drawing/2014/main" id="{310C877F-A6B0-28BD-CD16-6B14EA31243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88000" y="540000"/>
            <a:ext cx="104261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droj dat: NRHZS + NOR; kód 51881 = MULTIDISCIPLINÁRNÍ INDIKAČNÍ SEMINÁŘ K URČENÍ OPTIMÁLNÍHO ZPŮSOBU LÉČBY U NEMOCNÝCH SE ZHOUBNÝM ONKOLOGICKÝM ONEMOCNĚNÍM</a:t>
            </a:r>
          </a:p>
        </p:txBody>
      </p:sp>
      <p:graphicFrame>
        <p:nvGraphicFramePr>
          <p:cNvPr id="4" name="Chart 4">
            <a:extLst>
              <a:ext uri="{FF2B5EF4-FFF2-40B4-BE49-F238E27FC236}">
                <a16:creationId xmlns:a16="http://schemas.microsoft.com/office/drawing/2014/main" id="{C04934D6-6E59-B163-430F-DB42E467764A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053526" y="1219767"/>
          <a:ext cx="7865884" cy="4597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11531D73-80F4-DD26-25DE-D83CCDEB9FA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72590" y="1521432"/>
            <a:ext cx="3532155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pacientů, kteří měli v daném roce </a:t>
            </a:r>
            <a:b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agnostikován zhoubný novotvar průdušnice, průdušky a plíce (C33, C34) </a:t>
            </a: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NOR </a:t>
            </a:r>
            <a:b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zároveň měli vykázaný výkon konzultace MDT*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6E82D288-36BA-8E62-28D6-6BBA48271A0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39913" y="6000912"/>
            <a:ext cx="1066498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Sledujeme konzultace MDT vykázané max. 93 dní před datem diagnózy a max. 370 dní po datu diagnózy v NOR</a:t>
            </a:r>
          </a:p>
        </p:txBody>
      </p:sp>
      <p:grpSp>
        <p:nvGrpSpPr>
          <p:cNvPr id="7" name="Skupina 6">
            <a:extLst>
              <a:ext uri="{FF2B5EF4-FFF2-40B4-BE49-F238E27FC236}">
                <a16:creationId xmlns:a16="http://schemas.microsoft.com/office/drawing/2014/main" id="{F43506BE-BDCC-65C3-5FF3-8C02051185FD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5181783" y="1225169"/>
            <a:ext cx="4141326" cy="215444"/>
            <a:chOff x="801839" y="1079898"/>
            <a:chExt cx="4141326" cy="215444"/>
          </a:xfrm>
        </p:grpSpPr>
        <p:sp>
          <p:nvSpPr>
            <p:cNvPr id="8" name="TextovéPole 7">
              <a:extLst>
                <a:ext uri="{FF2B5EF4-FFF2-40B4-BE49-F238E27FC236}">
                  <a16:creationId xmlns:a16="http://schemas.microsoft.com/office/drawing/2014/main" id="{725EE07E-4458-4FEE-F858-53F5965280D9}"/>
                </a:ext>
              </a:extLst>
            </p:cNvPr>
            <p:cNvSpPr txBox="1"/>
            <p:nvPr/>
          </p:nvSpPr>
          <p:spPr>
            <a:xfrm>
              <a:off x="1088773" y="1079898"/>
              <a:ext cx="3854392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ihočeský kraj	Česká republika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Obdélník 10">
              <a:extLst>
                <a:ext uri="{FF2B5EF4-FFF2-40B4-BE49-F238E27FC236}">
                  <a16:creationId xmlns:a16="http://schemas.microsoft.com/office/drawing/2014/main" id="{79E7F03F-08BC-4639-FC05-326518990B2A}"/>
                </a:ext>
              </a:extLst>
            </p:cNvPr>
            <p:cNvSpPr/>
            <p:nvPr/>
          </p:nvSpPr>
          <p:spPr>
            <a:xfrm>
              <a:off x="801839" y="1121488"/>
              <a:ext cx="144000" cy="144000"/>
            </a:xfrm>
            <a:prstGeom prst="rect">
              <a:avLst/>
            </a:prstGeom>
            <a:solidFill>
              <a:srgbClr val="6598C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B8B5EA82-A0B1-A621-13D3-B1CC318E1270}"/>
                </a:ext>
              </a:extLst>
            </p:cNvPr>
            <p:cNvSpPr/>
            <p:nvPr/>
          </p:nvSpPr>
          <p:spPr>
            <a:xfrm>
              <a:off x="2678051" y="1121488"/>
              <a:ext cx="144000" cy="144000"/>
            </a:xfrm>
            <a:prstGeom prst="rect">
              <a:avLst/>
            </a:prstGeom>
            <a:solidFill>
              <a:srgbClr val="2E598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6092608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897F032E-B927-27A1-1061-76FB63DA19F6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cs-CZ" dirty="0"/>
              <a:t>Screening karcinomu plic</a:t>
            </a:r>
          </a:p>
        </p:txBody>
      </p:sp>
      <p:pic>
        <p:nvPicPr>
          <p:cNvPr id="3" name="Zástupný symbol obrázku 6">
            <a:extLst>
              <a:ext uri="{FF2B5EF4-FFF2-40B4-BE49-F238E27FC236}">
                <a16:creationId xmlns:a16="http://schemas.microsoft.com/office/drawing/2014/main" id="{593EE05E-6495-D952-6C86-2AF90DA755AD}"/>
              </a:ext>
            </a:extLst>
          </p:cNvPr>
          <p:cNvPicPr>
            <a:picLocks noGrp="1" noChangeAspect="1"/>
          </p:cNvPicPr>
          <p:nvPr>
            <p:ph type="pic" sz="quarter" idx="11"/>
            <p:custDataLst>
              <p:tags r:id="rId2"/>
            </p:custDataLst>
          </p:nvPr>
        </p:nvPicPr>
        <p:blipFill>
          <a:blip r:embed="rId5"/>
          <a:srcRect t="28733" b="28733"/>
          <a:stretch>
            <a:fillRect/>
          </a:stretch>
        </p:blipFill>
        <p:spPr>
          <a:xfrm>
            <a:off x="0" y="2297272"/>
            <a:ext cx="7983110" cy="2263455"/>
          </a:xfrm>
        </p:spPr>
      </p:pic>
    </p:spTree>
    <p:extLst>
      <p:ext uri="{BB962C8B-B14F-4D97-AF65-F5344CB8AC3E}">
        <p14:creationId xmlns:p14="http://schemas.microsoft.com/office/powerpoint/2010/main" val="423438649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1">
            <a:extLst>
              <a:ext uri="{FF2B5EF4-FFF2-40B4-BE49-F238E27FC236}">
                <a16:creationId xmlns:a16="http://schemas.microsoft.com/office/drawing/2014/main" id="{64DF5E38-24A9-136D-95B1-C5B4A54397D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071776" y="1450176"/>
            <a:ext cx="2179197" cy="4308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DDCE0">
                  <a:lumMod val="2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FCD2C015-47D3-9EA3-D95D-B7694F9FF7F6}"/>
              </a:ext>
            </a:extLst>
          </p:cNvPr>
          <p:cNvSpPr txBox="1"/>
          <p:nvPr/>
        </p:nvSpPr>
        <p:spPr>
          <a:xfrm>
            <a:off x="426860" y="6346811"/>
            <a:ext cx="1133827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Ve specifických případech je možné přímé odeslání osob splňující vstupní kritéria praktickým lékařem na radiologické centrum a dále pak koordinuje následnou péči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117CB099-C28A-EFB9-66E2-1AAEC2A3B893}"/>
              </a:ext>
            </a:extLst>
          </p:cNvPr>
          <p:cNvGrpSpPr/>
          <p:nvPr/>
        </p:nvGrpSpPr>
        <p:grpSpPr>
          <a:xfrm>
            <a:off x="3268896" y="1571980"/>
            <a:ext cx="8059127" cy="4400584"/>
            <a:chOff x="941710" y="1675611"/>
            <a:chExt cx="8059127" cy="4400584"/>
          </a:xfrm>
        </p:grpSpPr>
        <p:grpSp>
          <p:nvGrpSpPr>
            <p:cNvPr id="3" name="Skupina 2">
              <a:extLst>
                <a:ext uri="{FF2B5EF4-FFF2-40B4-BE49-F238E27FC236}">
                  <a16:creationId xmlns:a16="http://schemas.microsoft.com/office/drawing/2014/main" id="{0427DA59-B665-675B-2294-A55015BD48EA}"/>
                </a:ext>
              </a:extLst>
            </p:cNvPr>
            <p:cNvGrpSpPr/>
            <p:nvPr/>
          </p:nvGrpSpPr>
          <p:grpSpPr>
            <a:xfrm>
              <a:off x="941710" y="1675611"/>
              <a:ext cx="8059127" cy="4400584"/>
              <a:chOff x="1690941" y="1116917"/>
              <a:chExt cx="8059127" cy="4400584"/>
            </a:xfrm>
          </p:grpSpPr>
          <p:sp>
            <p:nvSpPr>
              <p:cNvPr id="4" name="Obdélník 3">
                <a:extLst>
                  <a:ext uri="{FF2B5EF4-FFF2-40B4-BE49-F238E27FC236}">
                    <a16:creationId xmlns:a16="http://schemas.microsoft.com/office/drawing/2014/main" id="{93F03830-432D-B46A-D859-6B902C153488}"/>
                  </a:ext>
                </a:extLst>
              </p:cNvPr>
              <p:cNvSpPr/>
              <p:nvPr/>
            </p:nvSpPr>
            <p:spPr>
              <a:xfrm>
                <a:off x="5414999" y="1116917"/>
                <a:ext cx="1800000" cy="54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mbulantní </a:t>
                </a:r>
                <a:br>
                  <a:rPr kumimoji="0" lang="cs-CZ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</a:br>
                <a:r>
                  <a:rPr kumimoji="0" lang="cs-CZ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licní lékař</a:t>
                </a:r>
              </a:p>
            </p:txBody>
          </p:sp>
          <p:sp>
            <p:nvSpPr>
              <p:cNvPr id="6" name="Obdélník 5">
                <a:extLst>
                  <a:ext uri="{FF2B5EF4-FFF2-40B4-BE49-F238E27FC236}">
                    <a16:creationId xmlns:a16="http://schemas.microsoft.com/office/drawing/2014/main" id="{6C850E73-6E8E-17D9-F672-9ACBCC9D088E}"/>
                  </a:ext>
                </a:extLst>
              </p:cNvPr>
              <p:cNvSpPr/>
              <p:nvPr/>
            </p:nvSpPr>
            <p:spPr>
              <a:xfrm>
                <a:off x="2803974" y="1116917"/>
                <a:ext cx="1800000" cy="54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Oslovení pacienta praktickým lékařem *</a:t>
                </a:r>
              </a:p>
            </p:txBody>
          </p:sp>
          <p:sp>
            <p:nvSpPr>
              <p:cNvPr id="7" name="Obdélník 6">
                <a:extLst>
                  <a:ext uri="{FF2B5EF4-FFF2-40B4-BE49-F238E27FC236}">
                    <a16:creationId xmlns:a16="http://schemas.microsoft.com/office/drawing/2014/main" id="{B22CE795-C8F0-D35C-FBF2-8EDF0284E95A}"/>
                  </a:ext>
                </a:extLst>
              </p:cNvPr>
              <p:cNvSpPr/>
              <p:nvPr/>
            </p:nvSpPr>
            <p:spPr>
              <a:xfrm>
                <a:off x="5414999" y="2236131"/>
                <a:ext cx="1800000" cy="6450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adiologické screeningové centrum </a:t>
                </a:r>
                <a:br>
                  <a:rPr kumimoji="0" lang="cs-CZ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</a:br>
                <a:r>
                  <a:rPr kumimoji="0" lang="cs-CZ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ři KOC</a:t>
                </a:r>
              </a:p>
            </p:txBody>
          </p:sp>
          <p:sp>
            <p:nvSpPr>
              <p:cNvPr id="8" name="Kosočtverec 7">
                <a:extLst>
                  <a:ext uri="{FF2B5EF4-FFF2-40B4-BE49-F238E27FC236}">
                    <a16:creationId xmlns:a16="http://schemas.microsoft.com/office/drawing/2014/main" id="{3E25DDF7-8B6C-2854-CB91-EFD7FF8F7556}"/>
                  </a:ext>
                </a:extLst>
              </p:cNvPr>
              <p:cNvSpPr/>
              <p:nvPr/>
            </p:nvSpPr>
            <p:spPr>
              <a:xfrm>
                <a:off x="5126330" y="3069000"/>
                <a:ext cx="2377338" cy="720000"/>
              </a:xfrm>
              <a:prstGeom prst="diamond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Výsledek screeningového CT</a:t>
                </a:r>
              </a:p>
            </p:txBody>
          </p:sp>
          <p:cxnSp>
            <p:nvCxnSpPr>
              <p:cNvPr id="9" name="Přímá spojnice se šipkou 8">
                <a:extLst>
                  <a:ext uri="{FF2B5EF4-FFF2-40B4-BE49-F238E27FC236}">
                    <a16:creationId xmlns:a16="http://schemas.microsoft.com/office/drawing/2014/main" id="{2EA314C8-97BF-BA84-930C-335898E9C897}"/>
                  </a:ext>
                </a:extLst>
              </p:cNvPr>
              <p:cNvCxnSpPr>
                <a:cxnSpLocks/>
                <a:endCxn id="4" idx="1"/>
              </p:cNvCxnSpPr>
              <p:nvPr/>
            </p:nvCxnSpPr>
            <p:spPr>
              <a:xfrm>
                <a:off x="4603974" y="1386917"/>
                <a:ext cx="811025" cy="0"/>
              </a:xfrm>
              <a:prstGeom prst="straightConnector1">
                <a:avLst/>
              </a:prstGeom>
              <a:ln>
                <a:solidFill>
                  <a:srgbClr val="004E8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bdélník 9">
                <a:extLst>
                  <a:ext uri="{FF2B5EF4-FFF2-40B4-BE49-F238E27FC236}">
                    <a16:creationId xmlns:a16="http://schemas.microsoft.com/office/drawing/2014/main" id="{E0A394A2-E6B5-AA99-03AF-BBFEF32EB4AE}"/>
                  </a:ext>
                </a:extLst>
              </p:cNvPr>
              <p:cNvSpPr/>
              <p:nvPr/>
            </p:nvSpPr>
            <p:spPr>
              <a:xfrm>
                <a:off x="7950068" y="4977501"/>
                <a:ext cx="1800000" cy="54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KOC/POCH</a:t>
                </a:r>
                <a:endPara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cxnSp>
            <p:nvCxnSpPr>
              <p:cNvPr id="11" name="Přímá spojnice se šipkou 10">
                <a:extLst>
                  <a:ext uri="{FF2B5EF4-FFF2-40B4-BE49-F238E27FC236}">
                    <a16:creationId xmlns:a16="http://schemas.microsoft.com/office/drawing/2014/main" id="{4D01E5CD-7384-9B22-4B69-9283C7295E9E}"/>
                  </a:ext>
                </a:extLst>
              </p:cNvPr>
              <p:cNvCxnSpPr>
                <a:cxnSpLocks/>
                <a:stCxn id="8" idx="2"/>
                <a:endCxn id="12" idx="0"/>
              </p:cNvCxnSpPr>
              <p:nvPr/>
            </p:nvCxnSpPr>
            <p:spPr>
              <a:xfrm>
                <a:off x="6314999" y="3789000"/>
                <a:ext cx="0" cy="468501"/>
              </a:xfrm>
              <a:prstGeom prst="straightConnector1">
                <a:avLst/>
              </a:prstGeom>
              <a:ln>
                <a:solidFill>
                  <a:srgbClr val="004E8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" name="Kosočtverec 11">
                <a:extLst>
                  <a:ext uri="{FF2B5EF4-FFF2-40B4-BE49-F238E27FC236}">
                    <a16:creationId xmlns:a16="http://schemas.microsoft.com/office/drawing/2014/main" id="{BDD63FF6-7788-72BF-37E6-4BCF47A28BB9}"/>
                  </a:ext>
                </a:extLst>
              </p:cNvPr>
              <p:cNvSpPr/>
              <p:nvPr/>
            </p:nvSpPr>
            <p:spPr>
              <a:xfrm>
                <a:off x="5126330" y="4257501"/>
                <a:ext cx="2377338" cy="720000"/>
              </a:xfrm>
              <a:prstGeom prst="diamond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Výsledek opakovaného CT</a:t>
                </a:r>
              </a:p>
            </p:txBody>
          </p:sp>
          <p:cxnSp>
            <p:nvCxnSpPr>
              <p:cNvPr id="13" name="Přímá spojnice se šipkou 12">
                <a:extLst>
                  <a:ext uri="{FF2B5EF4-FFF2-40B4-BE49-F238E27FC236}">
                    <a16:creationId xmlns:a16="http://schemas.microsoft.com/office/drawing/2014/main" id="{2D55027B-82CB-BD18-F7A1-FA01DFD67CAD}"/>
                  </a:ext>
                </a:extLst>
              </p:cNvPr>
              <p:cNvCxnSpPr>
                <a:cxnSpLocks/>
                <a:endCxn id="8" idx="0"/>
              </p:cNvCxnSpPr>
              <p:nvPr/>
            </p:nvCxnSpPr>
            <p:spPr>
              <a:xfrm>
                <a:off x="6314999" y="2834749"/>
                <a:ext cx="0" cy="234251"/>
              </a:xfrm>
              <a:prstGeom prst="straightConnector1">
                <a:avLst/>
              </a:prstGeom>
              <a:ln>
                <a:solidFill>
                  <a:srgbClr val="004E8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TextovéPole 13">
                <a:extLst>
                  <a:ext uri="{FF2B5EF4-FFF2-40B4-BE49-F238E27FC236}">
                    <a16:creationId xmlns:a16="http://schemas.microsoft.com/office/drawing/2014/main" id="{A358EDD3-1E82-7C09-DE95-B69678C5C111}"/>
                  </a:ext>
                </a:extLst>
              </p:cNvPr>
              <p:cNvSpPr txBox="1"/>
              <p:nvPr/>
            </p:nvSpPr>
            <p:spPr>
              <a:xfrm>
                <a:off x="7512366" y="3107792"/>
                <a:ext cx="102627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cs-CZ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100" b="0" i="0" u="none" strike="noStrike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C2F7A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zitivní</a:t>
                </a:r>
              </a:p>
            </p:txBody>
          </p:sp>
          <p:sp>
            <p:nvSpPr>
              <p:cNvPr id="15" name="TextovéPole 14">
                <a:extLst>
                  <a:ext uri="{FF2B5EF4-FFF2-40B4-BE49-F238E27FC236}">
                    <a16:creationId xmlns:a16="http://schemas.microsoft.com/office/drawing/2014/main" id="{FC794180-B018-3012-B982-AFFF95724E3D}"/>
                  </a:ext>
                </a:extLst>
              </p:cNvPr>
              <p:cNvSpPr txBox="1"/>
              <p:nvPr/>
            </p:nvSpPr>
            <p:spPr>
              <a:xfrm>
                <a:off x="6354486" y="3866723"/>
                <a:ext cx="10262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2C2F7A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Neurčitý</a:t>
                </a:r>
              </a:p>
            </p:txBody>
          </p:sp>
          <p:cxnSp>
            <p:nvCxnSpPr>
              <p:cNvPr id="16" name="Přímá spojnice se šipkou 15">
                <a:extLst>
                  <a:ext uri="{FF2B5EF4-FFF2-40B4-BE49-F238E27FC236}">
                    <a16:creationId xmlns:a16="http://schemas.microsoft.com/office/drawing/2014/main" id="{FB9ED9A4-E6AF-FCA6-69E0-4459D50756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51539" y="3429000"/>
                <a:ext cx="0" cy="1548501"/>
              </a:xfrm>
              <a:prstGeom prst="straightConnector1">
                <a:avLst/>
              </a:prstGeom>
              <a:ln>
                <a:solidFill>
                  <a:srgbClr val="004E8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Přímá spojnice 16">
                <a:extLst>
                  <a:ext uri="{FF2B5EF4-FFF2-40B4-BE49-F238E27FC236}">
                    <a16:creationId xmlns:a16="http://schemas.microsoft.com/office/drawing/2014/main" id="{1069CC1A-39F0-0A19-FC8E-8602CFC48167}"/>
                  </a:ext>
                </a:extLst>
              </p:cNvPr>
              <p:cNvCxnSpPr>
                <a:cxnSpLocks/>
                <a:stCxn id="8" idx="3"/>
              </p:cNvCxnSpPr>
              <p:nvPr/>
            </p:nvCxnSpPr>
            <p:spPr>
              <a:xfrm>
                <a:off x="7503668" y="3429000"/>
                <a:ext cx="1346400" cy="0"/>
              </a:xfrm>
              <a:prstGeom prst="line">
                <a:avLst/>
              </a:prstGeom>
              <a:ln>
                <a:solidFill>
                  <a:srgbClr val="004E8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Přímá spojnice 17">
                <a:extLst>
                  <a:ext uri="{FF2B5EF4-FFF2-40B4-BE49-F238E27FC236}">
                    <a16:creationId xmlns:a16="http://schemas.microsoft.com/office/drawing/2014/main" id="{55A7B5AA-34B3-D79F-D746-76C47308994E}"/>
                  </a:ext>
                </a:extLst>
              </p:cNvPr>
              <p:cNvCxnSpPr/>
              <p:nvPr/>
            </p:nvCxnSpPr>
            <p:spPr>
              <a:xfrm>
                <a:off x="7503668" y="4617664"/>
                <a:ext cx="1346400" cy="0"/>
              </a:xfrm>
              <a:prstGeom prst="line">
                <a:avLst/>
              </a:prstGeom>
              <a:ln>
                <a:solidFill>
                  <a:srgbClr val="004E8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TextovéPole 18">
                <a:extLst>
                  <a:ext uri="{FF2B5EF4-FFF2-40B4-BE49-F238E27FC236}">
                    <a16:creationId xmlns:a16="http://schemas.microsoft.com/office/drawing/2014/main" id="{B8E00B36-D57F-FCB3-6579-9EAE023557B8}"/>
                  </a:ext>
                </a:extLst>
              </p:cNvPr>
              <p:cNvSpPr txBox="1"/>
              <p:nvPr/>
            </p:nvSpPr>
            <p:spPr>
              <a:xfrm>
                <a:off x="7380761" y="4335224"/>
                <a:ext cx="10262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2C2F7A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zitivní</a:t>
                </a:r>
              </a:p>
            </p:txBody>
          </p:sp>
          <p:cxnSp>
            <p:nvCxnSpPr>
              <p:cNvPr id="20" name="Přímá spojnice 19">
                <a:extLst>
                  <a:ext uri="{FF2B5EF4-FFF2-40B4-BE49-F238E27FC236}">
                    <a16:creationId xmlns:a16="http://schemas.microsoft.com/office/drawing/2014/main" id="{44EDD03A-AADB-1C32-C470-427E0EA8562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78696" y="3429000"/>
                <a:ext cx="1347634" cy="0"/>
              </a:xfrm>
              <a:prstGeom prst="line">
                <a:avLst/>
              </a:prstGeom>
              <a:ln>
                <a:solidFill>
                  <a:srgbClr val="004E8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TextovéPole 20">
                <a:extLst>
                  <a:ext uri="{FF2B5EF4-FFF2-40B4-BE49-F238E27FC236}">
                    <a16:creationId xmlns:a16="http://schemas.microsoft.com/office/drawing/2014/main" id="{5A0DCFC8-5F0C-0265-D4C1-B583FDC5AEEA}"/>
                  </a:ext>
                </a:extLst>
              </p:cNvPr>
              <p:cNvSpPr txBox="1"/>
              <p:nvPr/>
            </p:nvSpPr>
            <p:spPr>
              <a:xfrm>
                <a:off x="4108753" y="3121223"/>
                <a:ext cx="10262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C2F7A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Negativní</a:t>
                </a:r>
              </a:p>
            </p:txBody>
          </p:sp>
          <p:cxnSp>
            <p:nvCxnSpPr>
              <p:cNvPr id="22" name="Přímá spojnice 21">
                <a:extLst>
                  <a:ext uri="{FF2B5EF4-FFF2-40B4-BE49-F238E27FC236}">
                    <a16:creationId xmlns:a16="http://schemas.microsoft.com/office/drawing/2014/main" id="{1A639331-7378-4BEB-534E-69328959B98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78696" y="4614082"/>
                <a:ext cx="1347634" cy="0"/>
              </a:xfrm>
              <a:prstGeom prst="line">
                <a:avLst/>
              </a:prstGeom>
              <a:ln>
                <a:solidFill>
                  <a:srgbClr val="004E8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TextovéPole 22">
                <a:extLst>
                  <a:ext uri="{FF2B5EF4-FFF2-40B4-BE49-F238E27FC236}">
                    <a16:creationId xmlns:a16="http://schemas.microsoft.com/office/drawing/2014/main" id="{C7CB6189-5F90-7055-9DA5-CADFCD5ED0D6}"/>
                  </a:ext>
                </a:extLst>
              </p:cNvPr>
              <p:cNvSpPr txBox="1"/>
              <p:nvPr/>
            </p:nvSpPr>
            <p:spPr>
              <a:xfrm>
                <a:off x="4108753" y="4301543"/>
                <a:ext cx="10262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2C2F7A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Negativní</a:t>
                </a:r>
              </a:p>
            </p:txBody>
          </p:sp>
          <p:cxnSp>
            <p:nvCxnSpPr>
              <p:cNvPr id="25" name="Přímá spojnice 24">
                <a:extLst>
                  <a:ext uri="{FF2B5EF4-FFF2-40B4-BE49-F238E27FC236}">
                    <a16:creationId xmlns:a16="http://schemas.microsoft.com/office/drawing/2014/main" id="{E30EAC51-AF14-5AD7-2C6B-50BFD8B53D9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778696" y="3429000"/>
                <a:ext cx="0" cy="1188665"/>
              </a:xfrm>
              <a:prstGeom prst="line">
                <a:avLst/>
              </a:prstGeom>
              <a:ln>
                <a:solidFill>
                  <a:srgbClr val="004E8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Obdélník 25">
                <a:extLst>
                  <a:ext uri="{FF2B5EF4-FFF2-40B4-BE49-F238E27FC236}">
                    <a16:creationId xmlns:a16="http://schemas.microsoft.com/office/drawing/2014/main" id="{DF1D1936-C43C-A0D1-424E-4D9AF2E65D43}"/>
                  </a:ext>
                </a:extLst>
              </p:cNvPr>
              <p:cNvSpPr/>
              <p:nvPr/>
            </p:nvSpPr>
            <p:spPr>
              <a:xfrm>
                <a:off x="1690941" y="3566722"/>
                <a:ext cx="1800000" cy="877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mbulantní plicní lékař, opakovaný screening </a:t>
                </a:r>
                <a:br>
                  <a:rPr kumimoji="0" lang="cs-CZ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</a:br>
                <a:r>
                  <a:rPr kumimoji="0" lang="cs-CZ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v doporučeném intervalu</a:t>
                </a:r>
              </a:p>
            </p:txBody>
          </p:sp>
          <p:cxnSp>
            <p:nvCxnSpPr>
              <p:cNvPr id="27" name="Přímá spojnice se šipkou 26">
                <a:extLst>
                  <a:ext uri="{FF2B5EF4-FFF2-40B4-BE49-F238E27FC236}">
                    <a16:creationId xmlns:a16="http://schemas.microsoft.com/office/drawing/2014/main" id="{ECE9551E-0856-C5DF-55B2-BE2B8A4DD2B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3490941" y="4005222"/>
                <a:ext cx="287755" cy="0"/>
              </a:xfrm>
              <a:prstGeom prst="straightConnector1">
                <a:avLst/>
              </a:prstGeom>
              <a:ln>
                <a:solidFill>
                  <a:srgbClr val="004E8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Přímá spojnice 27">
                <a:extLst>
                  <a:ext uri="{FF2B5EF4-FFF2-40B4-BE49-F238E27FC236}">
                    <a16:creationId xmlns:a16="http://schemas.microsoft.com/office/drawing/2014/main" id="{95C2A288-6651-CE7C-BF56-007A56E74DE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590941" y="2558664"/>
                <a:ext cx="0" cy="1008058"/>
              </a:xfrm>
              <a:prstGeom prst="line">
                <a:avLst/>
              </a:prstGeom>
              <a:ln>
                <a:solidFill>
                  <a:srgbClr val="004E8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Přímá spojnice se šipkou 28">
                <a:extLst>
                  <a:ext uri="{FF2B5EF4-FFF2-40B4-BE49-F238E27FC236}">
                    <a16:creationId xmlns:a16="http://schemas.microsoft.com/office/drawing/2014/main" id="{2B0CA05F-3584-6F67-9DD2-A55937E33647}"/>
                  </a:ext>
                </a:extLst>
              </p:cNvPr>
              <p:cNvCxnSpPr>
                <a:endCxn id="7" idx="1"/>
              </p:cNvCxnSpPr>
              <p:nvPr/>
            </p:nvCxnSpPr>
            <p:spPr>
              <a:xfrm>
                <a:off x="2590941" y="2558664"/>
                <a:ext cx="2824058" cy="0"/>
              </a:xfrm>
              <a:prstGeom prst="straightConnector1">
                <a:avLst/>
              </a:prstGeom>
              <a:ln>
                <a:solidFill>
                  <a:srgbClr val="004E8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Přímá spojnice se šipkou 29">
                <a:extLst>
                  <a:ext uri="{FF2B5EF4-FFF2-40B4-BE49-F238E27FC236}">
                    <a16:creationId xmlns:a16="http://schemas.microsoft.com/office/drawing/2014/main" id="{45E17BB2-4157-42DF-FC87-CF6F9EFF30B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314999" y="1656917"/>
                <a:ext cx="0" cy="579214"/>
              </a:xfrm>
              <a:prstGeom prst="straightConnector1">
                <a:avLst/>
              </a:prstGeom>
              <a:ln>
                <a:solidFill>
                  <a:srgbClr val="004E8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" name="TextovéPole 30">
              <a:extLst>
                <a:ext uri="{FF2B5EF4-FFF2-40B4-BE49-F238E27FC236}">
                  <a16:creationId xmlns:a16="http://schemas.microsoft.com/office/drawing/2014/main" id="{930ADA6F-277D-F8FA-065B-355189056645}"/>
                </a:ext>
              </a:extLst>
            </p:cNvPr>
            <p:cNvSpPr txBox="1"/>
            <p:nvPr/>
          </p:nvSpPr>
          <p:spPr>
            <a:xfrm>
              <a:off x="6541809" y="2184224"/>
              <a:ext cx="2278550" cy="6450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oučástí je krátká intervence</a:t>
              </a:r>
            </a:p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k odvykání kouření, nabídka léčby závislosti na tabáku</a:t>
              </a:r>
            </a:p>
          </p:txBody>
        </p:sp>
      </p:grpSp>
      <p:sp>
        <p:nvSpPr>
          <p:cNvPr id="39" name="Nadpis 4">
            <a:extLst>
              <a:ext uri="{FF2B5EF4-FFF2-40B4-BE49-F238E27FC236}">
                <a16:creationId xmlns:a16="http://schemas.microsoft.com/office/drawing/2014/main" id="{97553285-8658-0CB3-B8A6-0DD0F81B8C3C}"/>
              </a:ext>
            </a:extLst>
          </p:cNvPr>
          <p:cNvSpPr txBox="1">
            <a:spLocks/>
          </p:cNvSpPr>
          <p:nvPr/>
        </p:nvSpPr>
        <p:spPr>
          <a:xfrm>
            <a:off x="1436772" y="477734"/>
            <a:ext cx="9802034" cy="720000"/>
          </a:xfrm>
          <a:prstGeom prst="rect">
            <a:avLst/>
          </a:prstGeom>
        </p:spPr>
        <p:txBody>
          <a:bodyPr vert="horz" lIns="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all" spc="0" normalizeH="0" baseline="0" noProof="0">
                <a:ln>
                  <a:noFill/>
                </a:ln>
                <a:solidFill>
                  <a:srgbClr val="2C2F7A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lgoritmus programu časného záchytu karcinomu plic</a:t>
            </a:r>
            <a:endParaRPr kumimoji="0" lang="cs-CZ" sz="2400" b="1" i="0" u="none" strike="noStrike" kern="1200" cap="all" spc="0" normalizeH="0" baseline="0" noProof="0" dirty="0">
              <a:ln>
                <a:noFill/>
              </a:ln>
              <a:solidFill>
                <a:srgbClr val="2C2F7A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E117F8AE-7205-92C7-D5D7-EB3B30291E68}"/>
              </a:ext>
            </a:extLst>
          </p:cNvPr>
          <p:cNvSpPr txBox="1"/>
          <p:nvPr/>
        </p:nvSpPr>
        <p:spPr>
          <a:xfrm>
            <a:off x="189262" y="1468346"/>
            <a:ext cx="3352048" cy="892552"/>
          </a:xfrm>
          <a:prstGeom prst="rect">
            <a:avLst/>
          </a:prstGeom>
          <a:solidFill>
            <a:srgbClr val="2C2F7A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300" b="1" dirty="0">
                <a:solidFill>
                  <a:schemeClr val="bg1"/>
                </a:solidFill>
                <a:latin typeface="Arial" panose="020B0604020202020204"/>
              </a:rPr>
              <a:t>Program je určen pro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cs-CZ" sz="1300" dirty="0">
                <a:solidFill>
                  <a:schemeClr val="bg1"/>
                </a:solidFill>
                <a:latin typeface="Arial" panose="020B0604020202020204"/>
              </a:rPr>
              <a:t>b</a:t>
            </a:r>
            <a:r>
              <a:rPr kumimoji="0" lang="cs-CZ" sz="13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ývalé</a:t>
            </a:r>
            <a:r>
              <a:rPr kumimoji="0" lang="cs-CZ" sz="13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ebo současné kuř</a:t>
            </a:r>
            <a:r>
              <a:rPr lang="cs-CZ" sz="1300" dirty="0" err="1">
                <a:solidFill>
                  <a:schemeClr val="bg1"/>
                </a:solidFill>
                <a:latin typeface="Arial" panose="020B0604020202020204"/>
              </a:rPr>
              <a:t>áky</a:t>
            </a:r>
            <a:r>
              <a:rPr lang="cs-CZ" sz="1300" dirty="0">
                <a:solidFill>
                  <a:schemeClr val="bg1"/>
                </a:solidFill>
                <a:latin typeface="Arial" panose="020B0604020202020204"/>
              </a:rPr>
              <a:t>,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cs-CZ" sz="1300" dirty="0">
                <a:solidFill>
                  <a:schemeClr val="bg1"/>
                </a:solidFill>
                <a:latin typeface="Arial" panose="020B0604020202020204"/>
              </a:rPr>
              <a:t>v</a:t>
            </a:r>
            <a:r>
              <a:rPr kumimoji="0" lang="cs-CZ" sz="13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 věku 55</a:t>
            </a:r>
            <a:r>
              <a:rPr lang="cs-CZ" sz="1300" dirty="0">
                <a:solidFill>
                  <a:schemeClr val="bg1"/>
                </a:solidFill>
                <a:latin typeface="Arial" panose="020B0604020202020204"/>
              </a:rPr>
              <a:t>–74 let,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cs-CZ" sz="1300" dirty="0">
                <a:solidFill>
                  <a:schemeClr val="bg1"/>
                </a:solidFill>
                <a:latin typeface="Arial" panose="020B0604020202020204"/>
              </a:rPr>
              <a:t>s</a:t>
            </a:r>
            <a:r>
              <a:rPr kumimoji="0" lang="cs-CZ" sz="13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čtem </a:t>
            </a:r>
            <a:r>
              <a:rPr kumimoji="0" lang="cs-CZ" sz="13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líčkoroků</a:t>
            </a:r>
            <a:r>
              <a:rPr kumimoji="0" lang="cs-CZ" sz="13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lespoň 20 </a:t>
            </a:r>
          </a:p>
        </p:txBody>
      </p:sp>
      <p:pic>
        <p:nvPicPr>
          <p:cNvPr id="33" name="Grafický objekt 32">
            <a:extLst>
              <a:ext uri="{FF2B5EF4-FFF2-40B4-BE49-F238E27FC236}">
                <a16:creationId xmlns:a16="http://schemas.microsoft.com/office/drawing/2014/main" id="{B07BD03D-3104-AB52-18EC-1C3B77E37C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83271" y="90540"/>
            <a:ext cx="2477004" cy="403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015298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C3209B94-D503-BE29-7FEB-F306A8D97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1" y="485644"/>
            <a:ext cx="9802034" cy="720000"/>
          </a:xfrm>
        </p:spPr>
        <p:txBody>
          <a:bodyPr>
            <a:normAutofit/>
          </a:bodyPr>
          <a:lstStyle/>
          <a:p>
            <a:r>
              <a:rPr lang="cs-CZ" dirty="0"/>
              <a:t>Počet zapojených osob do programu</a:t>
            </a:r>
          </a:p>
        </p:txBody>
      </p:sp>
      <p:sp>
        <p:nvSpPr>
          <p:cNvPr id="4" name="Zaoblený obdélník 22">
            <a:extLst>
              <a:ext uri="{FF2B5EF4-FFF2-40B4-BE49-F238E27FC236}">
                <a16:creationId xmlns:a16="http://schemas.microsoft.com/office/drawing/2014/main" id="{EEB65EC0-BF63-7882-1652-5BEAB736BAEE}"/>
              </a:ext>
            </a:extLst>
          </p:cNvPr>
          <p:cNvSpPr/>
          <p:nvPr/>
        </p:nvSpPr>
        <p:spPr>
          <a:xfrm>
            <a:off x="9229592" y="3506030"/>
            <a:ext cx="2425702" cy="1015200"/>
          </a:xfrm>
          <a:prstGeom prst="roundRect">
            <a:avLst/>
          </a:prstGeom>
          <a:solidFill>
            <a:srgbClr val="2C2F79"/>
          </a:solidFill>
          <a:ln>
            <a:solidFill>
              <a:srgbClr val="2C2F7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soby s provedeným LDCT na radiologickém pracovišt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 = 14 989</a:t>
            </a:r>
            <a:endParaRPr kumimoji="0" lang="nb-NO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Zaoblený obdélník 22">
            <a:extLst>
              <a:ext uri="{FF2B5EF4-FFF2-40B4-BE49-F238E27FC236}">
                <a16:creationId xmlns:a16="http://schemas.microsoft.com/office/drawing/2014/main" id="{FD1BD401-A0FD-E55D-4DF5-2DCB718470AC}"/>
              </a:ext>
            </a:extLst>
          </p:cNvPr>
          <p:cNvSpPr/>
          <p:nvPr/>
        </p:nvSpPr>
        <p:spPr>
          <a:xfrm>
            <a:off x="5680924" y="3144378"/>
            <a:ext cx="2771516" cy="1738983"/>
          </a:xfrm>
          <a:prstGeom prst="roundRect">
            <a:avLst/>
          </a:prstGeom>
          <a:ln>
            <a:solidFill>
              <a:srgbClr val="2C2F79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yšetření u pneumologa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 = 20</a:t>
            </a:r>
            <a:r>
              <a:rPr lang="cs-CZ" sz="1600" b="1" dirty="0">
                <a:solidFill>
                  <a:prstClr val="white"/>
                </a:solidFill>
                <a:latin typeface="Calibri"/>
              </a:rPr>
              <a:t> 34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acient přichází od PL:</a:t>
            </a: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lang="cs-CZ" sz="1100" b="1" dirty="0">
                <a:solidFill>
                  <a:schemeClr val="bg1"/>
                </a:solidFill>
                <a:latin typeface="+mj-lt"/>
              </a:rPr>
              <a:t>10 45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acient přichází přímo k PN:</a:t>
            </a: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lang="cs-CZ" sz="1100" b="1" dirty="0">
                <a:solidFill>
                  <a:prstClr val="white"/>
                </a:solidFill>
                <a:latin typeface="+mj-lt"/>
              </a:rPr>
              <a:t>9 898</a:t>
            </a:r>
            <a:endParaRPr kumimoji="0" lang="nb-NO" sz="1100" b="1" i="0" u="none" strike="noStrike" kern="1200" cap="none" spc="0" normalizeH="0" baseline="0" noProof="0" dirty="0">
              <a:ln>
                <a:noFill/>
              </a:ln>
              <a:solidFill>
                <a:srgbClr val="DDDCE0">
                  <a:lumMod val="10000"/>
                </a:srgb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B3B87E26-6DFA-EB46-53E3-82DF8DABC37C}"/>
              </a:ext>
            </a:extLst>
          </p:cNvPr>
          <p:cNvCxnSpPr>
            <a:cxnSpLocks/>
          </p:cNvCxnSpPr>
          <p:nvPr/>
        </p:nvCxnSpPr>
        <p:spPr>
          <a:xfrm>
            <a:off x="5263764" y="2549667"/>
            <a:ext cx="0" cy="2880123"/>
          </a:xfrm>
          <a:prstGeom prst="line">
            <a:avLst/>
          </a:prstGeom>
          <a:ln>
            <a:solidFill>
              <a:srgbClr val="2C2F79"/>
            </a:solidFill>
            <a:prstDash val="sysDot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</p:cxnSp>
      <p:cxnSp>
        <p:nvCxnSpPr>
          <p:cNvPr id="14" name="Přímá spojnice 13">
            <a:extLst>
              <a:ext uri="{FF2B5EF4-FFF2-40B4-BE49-F238E27FC236}">
                <a16:creationId xmlns:a16="http://schemas.microsoft.com/office/drawing/2014/main" id="{2109C244-592A-B4BB-0CEA-FB1E8D8B6AB4}"/>
              </a:ext>
            </a:extLst>
          </p:cNvPr>
          <p:cNvCxnSpPr>
            <a:cxnSpLocks/>
          </p:cNvCxnSpPr>
          <p:nvPr/>
        </p:nvCxnSpPr>
        <p:spPr>
          <a:xfrm>
            <a:off x="8745045" y="2549667"/>
            <a:ext cx="0" cy="2868175"/>
          </a:xfrm>
          <a:prstGeom prst="line">
            <a:avLst/>
          </a:prstGeom>
          <a:ln>
            <a:solidFill>
              <a:srgbClr val="2C2F79"/>
            </a:solidFill>
            <a:prstDash val="sysDot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</p:cxnSp>
      <p:pic>
        <p:nvPicPr>
          <p:cNvPr id="17" name="Grafický objekt 16" descr="Lékař samčího pohlaví se souvislou výplní">
            <a:extLst>
              <a:ext uri="{FF2B5EF4-FFF2-40B4-BE49-F238E27FC236}">
                <a16:creationId xmlns:a16="http://schemas.microsoft.com/office/drawing/2014/main" id="{5ED89C2B-8861-C1BE-B5FD-A8B65626B27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436548" y="1929731"/>
            <a:ext cx="914400" cy="914400"/>
          </a:xfrm>
          <a:prstGeom prst="rect">
            <a:avLst/>
          </a:prstGeom>
        </p:spPr>
      </p:pic>
      <p:pic>
        <p:nvPicPr>
          <p:cNvPr id="18" name="Grafický objekt 17" descr="Plíce obrys">
            <a:extLst>
              <a:ext uri="{FF2B5EF4-FFF2-40B4-BE49-F238E27FC236}">
                <a16:creationId xmlns:a16="http://schemas.microsoft.com/office/drawing/2014/main" id="{C33EB7C9-3B82-2E9E-5E1E-BBE29DB0FAF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018227" y="1908565"/>
            <a:ext cx="625216" cy="625216"/>
          </a:xfrm>
          <a:prstGeom prst="rect">
            <a:avLst/>
          </a:prstGeom>
        </p:spPr>
      </p:pic>
      <p:pic>
        <p:nvPicPr>
          <p:cNvPr id="19" name="Grafický objekt 18" descr="Radioaktivní obrys">
            <a:extLst>
              <a:ext uri="{FF2B5EF4-FFF2-40B4-BE49-F238E27FC236}">
                <a16:creationId xmlns:a16="http://schemas.microsoft.com/office/drawing/2014/main" id="{178EAB71-FF5E-7535-4B9C-FA1D5D42B861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499327" y="1963467"/>
            <a:ext cx="457200" cy="457200"/>
          </a:xfrm>
          <a:prstGeom prst="rect">
            <a:avLst/>
          </a:prstGeom>
        </p:spPr>
      </p:pic>
      <p:pic>
        <p:nvPicPr>
          <p:cNvPr id="20" name="Grafický objekt 19" descr="Lékař samčího pohlaví se souvislou výplní">
            <a:extLst>
              <a:ext uri="{FF2B5EF4-FFF2-40B4-BE49-F238E27FC236}">
                <a16:creationId xmlns:a16="http://schemas.microsoft.com/office/drawing/2014/main" id="{8AB9E006-6575-D6AF-D04B-924D2CFFA13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917828" y="1929731"/>
            <a:ext cx="914400" cy="914400"/>
          </a:xfrm>
          <a:prstGeom prst="rect">
            <a:avLst/>
          </a:prstGeom>
        </p:spPr>
      </p:pic>
      <p:sp>
        <p:nvSpPr>
          <p:cNvPr id="7" name="Zaoblený obdélník 21">
            <a:extLst>
              <a:ext uri="{FF2B5EF4-FFF2-40B4-BE49-F238E27FC236}">
                <a16:creationId xmlns:a16="http://schemas.microsoft.com/office/drawing/2014/main" id="{563A70DB-2D5E-0C42-403A-3575370EC26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732377" y="4414590"/>
            <a:ext cx="2114228" cy="1015200"/>
          </a:xfrm>
          <a:prstGeom prst="roundRect">
            <a:avLst/>
          </a:prstGeom>
          <a:solidFill>
            <a:schemeClr val="accent1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 odeslán k P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výkon 01196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 = 16 787 (</a:t>
            </a:r>
            <a:r>
              <a:rPr lang="cs-CZ" sz="1400" b="1" kern="0" dirty="0">
                <a:solidFill>
                  <a:prstClr val="white"/>
                </a:solidFill>
                <a:latin typeface="Arial" panose="020B0604020202020204"/>
              </a:rPr>
              <a:t>50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6 %)</a:t>
            </a:r>
            <a:endParaRPr kumimoji="0" lang="nb-NO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Zaoblený obdélník 22">
            <a:extLst>
              <a:ext uri="{FF2B5EF4-FFF2-40B4-BE49-F238E27FC236}">
                <a16:creationId xmlns:a16="http://schemas.microsoft.com/office/drawing/2014/main" id="{22095223-A94A-D618-F063-C2496DBA3896}"/>
              </a:ext>
            </a:extLst>
          </p:cNvPr>
          <p:cNvSpPr/>
          <p:nvPr/>
        </p:nvSpPr>
        <p:spPr>
          <a:xfrm>
            <a:off x="507430" y="4421046"/>
            <a:ext cx="2113200" cy="1015200"/>
          </a:xfrm>
          <a:prstGeom prst="roundRect">
            <a:avLst/>
          </a:prstGeom>
          <a:solidFill>
            <a:schemeClr val="accent1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 odmítá účas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výkon 01197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 =  16 367 (</a:t>
            </a:r>
            <a:r>
              <a:rPr lang="cs-CZ" sz="1400" b="1" kern="0" dirty="0">
                <a:solidFill>
                  <a:prstClr val="white"/>
                </a:solidFill>
                <a:latin typeface="Arial" panose="020B0604020202020204"/>
              </a:rPr>
              <a:t>49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4 %)</a:t>
            </a:r>
            <a:endParaRPr kumimoji="0" lang="nb-NO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Šipka doprava 39">
            <a:extLst>
              <a:ext uri="{FF2B5EF4-FFF2-40B4-BE49-F238E27FC236}">
                <a16:creationId xmlns:a16="http://schemas.microsoft.com/office/drawing/2014/main" id="{5E313F6A-D86C-1A64-E7DC-011282F89ED0}"/>
              </a:ext>
            </a:extLst>
          </p:cNvPr>
          <p:cNvSpPr/>
          <p:nvPr/>
        </p:nvSpPr>
        <p:spPr>
          <a:xfrm rot="2488568">
            <a:off x="2668648" y="3872306"/>
            <a:ext cx="845339" cy="352587"/>
          </a:xfrm>
          <a:prstGeom prst="rightArrow">
            <a:avLst/>
          </a:prstGeom>
          <a:solidFill>
            <a:schemeClr val="accent1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Šipka doprava 40">
            <a:extLst>
              <a:ext uri="{FF2B5EF4-FFF2-40B4-BE49-F238E27FC236}">
                <a16:creationId xmlns:a16="http://schemas.microsoft.com/office/drawing/2014/main" id="{21E25C77-692A-F532-E2D9-018C2A7C9627}"/>
              </a:ext>
            </a:extLst>
          </p:cNvPr>
          <p:cNvSpPr/>
          <p:nvPr/>
        </p:nvSpPr>
        <p:spPr>
          <a:xfrm rot="8469263">
            <a:off x="1947258" y="3837337"/>
            <a:ext cx="1065507" cy="352587"/>
          </a:xfrm>
          <a:prstGeom prst="rightArrow">
            <a:avLst/>
          </a:prstGeom>
          <a:solidFill>
            <a:schemeClr val="accent1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Zaoblený obdélník 25">
            <a:extLst>
              <a:ext uri="{FF2B5EF4-FFF2-40B4-BE49-F238E27FC236}">
                <a16:creationId xmlns:a16="http://schemas.microsoft.com/office/drawing/2014/main" id="{C12DD54B-7657-CC16-FFB4-40B6F9B08A3A}"/>
              </a:ext>
            </a:extLst>
          </p:cNvPr>
          <p:cNvSpPr/>
          <p:nvPr/>
        </p:nvSpPr>
        <p:spPr>
          <a:xfrm>
            <a:off x="1662267" y="2824951"/>
            <a:ext cx="2114228" cy="1014108"/>
          </a:xfrm>
          <a:prstGeom prst="roundRect">
            <a:avLst/>
          </a:prstGeom>
          <a:solidFill>
            <a:schemeClr val="accent1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 osloven</a:t>
            </a:r>
            <a:b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praktického lékař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 = 33</a:t>
            </a:r>
            <a:r>
              <a:rPr lang="cs-CZ" sz="1400" b="1" kern="0" dirty="0">
                <a:solidFill>
                  <a:prstClr val="white"/>
                </a:solidFill>
                <a:latin typeface="Arial" panose="020B0604020202020204"/>
              </a:rPr>
              <a:t> 154</a:t>
            </a:r>
            <a:endParaRPr kumimoji="0" lang="cs-CZ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Rectangle 21">
            <a:extLst>
              <a:ext uri="{FF2B5EF4-FFF2-40B4-BE49-F238E27FC236}">
                <a16:creationId xmlns:a16="http://schemas.microsoft.com/office/drawing/2014/main" id="{ABECB8CF-5EF4-DD5E-D0A3-D78D03CEEAE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953018" y="1421754"/>
            <a:ext cx="2978851" cy="4308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uze pacienti ve věku 55–74 let</a:t>
            </a:r>
          </a:p>
        </p:txBody>
      </p:sp>
      <p:sp>
        <p:nvSpPr>
          <p:cNvPr id="26" name="Zástupný text 5">
            <a:extLst>
              <a:ext uri="{FF2B5EF4-FFF2-40B4-BE49-F238E27FC236}">
                <a16:creationId xmlns:a16="http://schemas.microsoft.com/office/drawing/2014/main" id="{0EF9D203-633D-AE1D-D1F1-6A0DA5073204}"/>
              </a:ext>
            </a:extLst>
          </p:cNvPr>
          <p:cNvSpPr txBox="1">
            <a:spLocks/>
          </p:cNvSpPr>
          <p:nvPr/>
        </p:nvSpPr>
        <p:spPr>
          <a:xfrm>
            <a:off x="732000" y="5913309"/>
            <a:ext cx="10728000" cy="720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anchor="ctr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500" b="0" i="0" u="none" strike="noStrike" kern="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rámci programu bylo </a:t>
            </a:r>
            <a:r>
              <a:rPr kumimoji="0" lang="cs-CZ" sz="15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 období 1. 1. 2022 – 31. </a:t>
            </a:r>
            <a:r>
              <a:rPr lang="cs-CZ" sz="1500" dirty="0">
                <a:solidFill>
                  <a:srgbClr val="DDDCE0">
                    <a:lumMod val="10000"/>
                  </a:srgbClr>
                </a:solidFill>
                <a:latin typeface="Arial" panose="020B0604020202020204"/>
              </a:rPr>
              <a:t>12</a:t>
            </a:r>
            <a:r>
              <a:rPr kumimoji="0" lang="cs-CZ" sz="15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4 </a:t>
            </a:r>
            <a:r>
              <a:rPr lang="cs-CZ" sz="1500" b="1" dirty="0">
                <a:solidFill>
                  <a:schemeClr val="accent1"/>
                </a:solidFill>
              </a:rPr>
              <a:t>celkově osloveno 43 052 osob. Praktičtí lékaři oslovili 33 154 osob</a:t>
            </a:r>
            <a:r>
              <a:rPr kumimoji="0" lang="cs-CZ" sz="1500" b="0" i="0" u="none" strike="noStrike" kern="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br>
              <a:rPr kumimoji="0" lang="cs-CZ" sz="1500" b="0" i="0" u="none" strike="noStrike" kern="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500" b="0" i="0" u="none" strike="noStrike" kern="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 nichž přibližně </a:t>
            </a:r>
            <a:r>
              <a:rPr kumimoji="0" lang="cs-CZ" sz="15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1</a:t>
            </a:r>
            <a:r>
              <a:rPr lang="cs-CZ" sz="1500" b="1" dirty="0">
                <a:solidFill>
                  <a:schemeClr val="accent1"/>
                </a:solidFill>
              </a:rPr>
              <a:t> % souhlasilo s účastí v programu</a:t>
            </a:r>
            <a:r>
              <a:rPr kumimoji="0" lang="cs-CZ" sz="1500" b="0" i="0" u="none" strike="noStrike" kern="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V uvedeném období bylo celkově </a:t>
            </a:r>
            <a:r>
              <a:rPr lang="cs-CZ" sz="1500" b="1" dirty="0">
                <a:solidFill>
                  <a:schemeClr val="accent1"/>
                </a:solidFill>
              </a:rPr>
              <a:t>vyšetřeno 20 349 osob u pneumologa </a:t>
            </a:r>
            <a:br>
              <a:rPr lang="cs-CZ" sz="1500" b="1" dirty="0">
                <a:solidFill>
                  <a:schemeClr val="accent1"/>
                </a:solidFill>
              </a:rPr>
            </a:br>
            <a:r>
              <a:rPr lang="cs-CZ" sz="1500" dirty="0">
                <a:solidFill>
                  <a:schemeClr val="bg2">
                    <a:lumMod val="10000"/>
                  </a:schemeClr>
                </a:solidFill>
              </a:rPr>
              <a:t>(9 898 napřímo bez předchozí návštěvy u PL), </a:t>
            </a:r>
            <a:r>
              <a:rPr lang="cs-CZ" sz="1500" b="1" dirty="0">
                <a:solidFill>
                  <a:schemeClr val="accent1"/>
                </a:solidFill>
              </a:rPr>
              <a:t>14 989 osob </a:t>
            </a:r>
            <a:r>
              <a:rPr kumimoji="0" lang="cs-CZ" sz="1500" b="0" i="0" u="none" strike="noStrike" kern="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stoupilo </a:t>
            </a:r>
            <a:r>
              <a:rPr lang="cs-CZ" sz="1500" b="1" dirty="0">
                <a:solidFill>
                  <a:schemeClr val="accent1"/>
                </a:solidFill>
              </a:rPr>
              <a:t>první </a:t>
            </a:r>
            <a:r>
              <a:rPr lang="cs-CZ" sz="1500" b="1" dirty="0" err="1">
                <a:solidFill>
                  <a:schemeClr val="accent1"/>
                </a:solidFill>
              </a:rPr>
              <a:t>nízkodávkové</a:t>
            </a:r>
            <a:r>
              <a:rPr lang="cs-CZ" sz="1500" b="1" dirty="0">
                <a:solidFill>
                  <a:schemeClr val="accent1"/>
                </a:solidFill>
              </a:rPr>
              <a:t> CT (LDCT).</a:t>
            </a:r>
          </a:p>
        </p:txBody>
      </p:sp>
      <p:pic>
        <p:nvPicPr>
          <p:cNvPr id="9" name="Grafický objekt 8" descr="Lékař samčího pohlaví se souvislou výplní">
            <a:extLst>
              <a:ext uri="{FF2B5EF4-FFF2-40B4-BE49-F238E27FC236}">
                <a16:creationId xmlns:a16="http://schemas.microsoft.com/office/drawing/2014/main" id="{6CBE4886-511B-4C13-335F-01CA3283583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262181" y="1926590"/>
            <a:ext cx="914400" cy="914400"/>
          </a:xfrm>
          <a:prstGeom prst="rect">
            <a:avLst/>
          </a:prstGeom>
        </p:spPr>
      </p:pic>
      <p:sp>
        <p:nvSpPr>
          <p:cNvPr id="8" name="Zástupný symbol pro obsah 4">
            <a:extLst>
              <a:ext uri="{FF2B5EF4-FFF2-40B4-BE49-F238E27FC236}">
                <a16:creationId xmlns:a16="http://schemas.microsoft.com/office/drawing/2014/main" id="{D826AACD-8B30-0B85-4F6A-9A8411E71C8C}"/>
              </a:ext>
            </a:extLst>
          </p:cNvPr>
          <p:cNvSpPr txBox="1">
            <a:spLocks/>
          </p:cNvSpPr>
          <p:nvPr/>
        </p:nvSpPr>
        <p:spPr>
          <a:xfrm>
            <a:off x="1473554" y="1093604"/>
            <a:ext cx="7742037" cy="8098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200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: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ktický lékař (01196, 01197)</a:t>
            </a:r>
          </a:p>
          <a:p>
            <a:pPr marL="7200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N: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neumolog (25507,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5022, 25023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 V případě vykázaného výkonů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021</a:t>
            </a:r>
            <a:r>
              <a:rPr lang="cs-CZ" sz="1100" b="0" dirty="0">
                <a:solidFill>
                  <a:srgbClr val="DDDCE0">
                    <a:lumMod val="10000"/>
                  </a:srgbClr>
                </a:solidFill>
                <a:latin typeface="Arial" panose="020B0604020202020204"/>
              </a:rPr>
              <a:t>,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022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ebo </a:t>
            </a:r>
            <a:r>
              <a:rPr lang="cs-CZ" sz="1100" b="0" dirty="0">
                <a:solidFill>
                  <a:srgbClr val="C00000"/>
                </a:solidFill>
                <a:latin typeface="Arial" panose="020B0604020202020204"/>
              </a:rPr>
              <a:t>25023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yly uvažovány jen takové osoby, které měly současně s tímto výkonem vykázán jeden z výkonů u radiologa 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89663, 89664, 89665).</a:t>
            </a:r>
          </a:p>
        </p:txBody>
      </p:sp>
      <p:sp>
        <p:nvSpPr>
          <p:cNvPr id="10" name="Zástupný text 3">
            <a:extLst>
              <a:ext uri="{FF2B5EF4-FFF2-40B4-BE49-F238E27FC236}">
                <a16:creationId xmlns:a16="http://schemas.microsoft.com/office/drawing/2014/main" id="{9BF727FC-41BF-15E4-3CCE-D79A2C3CD8FD}"/>
              </a:ext>
            </a:extLst>
          </p:cNvPr>
          <p:cNvSpPr txBox="1">
            <a:spLocks/>
          </p:cNvSpPr>
          <p:nvPr/>
        </p:nvSpPr>
        <p:spPr>
          <a:xfrm>
            <a:off x="8718710" y="917180"/>
            <a:ext cx="3261286" cy="7200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NRHZS</a:t>
            </a: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za období: 1. 1. 2022 – 31. 12. 2024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498B7F34-DF7E-F5B7-2656-CF8B585C97D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583271" y="90540"/>
            <a:ext cx="2477004" cy="403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44707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 descr="Obsah obrázku mapa, Elektricky modrá&#10;&#10;Obsah vygenerovaný umělou inteligencí může být nesprávný.">
            <a:extLst>
              <a:ext uri="{FF2B5EF4-FFF2-40B4-BE49-F238E27FC236}">
                <a16:creationId xmlns:a16="http://schemas.microsoft.com/office/drawing/2014/main" id="{0FD1CFA9-82F4-E426-AB0D-910619E0C3B7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1739" t="2448" r="9722" b="5209"/>
          <a:stretch/>
        </p:blipFill>
        <p:spPr>
          <a:xfrm>
            <a:off x="5856483" y="2178802"/>
            <a:ext cx="6069025" cy="3503485"/>
          </a:xfrm>
          <a:prstGeom prst="rect">
            <a:avLst/>
          </a:prstGeom>
        </p:spPr>
      </p:pic>
      <p:sp>
        <p:nvSpPr>
          <p:cNvPr id="5" name="Nadpis 4">
            <a:extLst>
              <a:ext uri="{FF2B5EF4-FFF2-40B4-BE49-F238E27FC236}">
                <a16:creationId xmlns:a16="http://schemas.microsoft.com/office/drawing/2014/main" id="{EA2DDA38-176D-AE75-ACBD-46003604A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5849" y="490974"/>
            <a:ext cx="9802034" cy="720000"/>
          </a:xfrm>
        </p:spPr>
        <p:txBody>
          <a:bodyPr>
            <a:normAutofit fontScale="90000"/>
          </a:bodyPr>
          <a:lstStyle/>
          <a:p>
            <a:r>
              <a:rPr lang="cs-CZ" dirty="0"/>
              <a:t>výsledky oslovení osob u praktického lékaře</a:t>
            </a:r>
            <a:br>
              <a:rPr lang="cs-CZ" dirty="0"/>
            </a:br>
            <a:r>
              <a:rPr lang="cs-CZ" dirty="0"/>
              <a:t>v 1. screeningové epizodě –</a:t>
            </a:r>
            <a:r>
              <a:rPr lang="cs-CZ" dirty="0">
                <a:solidFill>
                  <a:schemeClr val="accent3"/>
                </a:solidFill>
              </a:rPr>
              <a:t> ČR vs. Jihočeský kraj</a:t>
            </a:r>
          </a:p>
        </p:txBody>
      </p:sp>
      <p:sp>
        <p:nvSpPr>
          <p:cNvPr id="24" name="Rectangle 21">
            <a:extLst>
              <a:ext uri="{FF2B5EF4-FFF2-40B4-BE49-F238E27FC236}">
                <a16:creationId xmlns:a16="http://schemas.microsoft.com/office/drawing/2014/main" id="{64DF5E38-24A9-136D-95B1-C5B4A54397D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544190" y="1167543"/>
            <a:ext cx="2179197" cy="4308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DDCE0">
                  <a:lumMod val="2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" name="Skupina 5">
            <a:extLst>
              <a:ext uri="{FF2B5EF4-FFF2-40B4-BE49-F238E27FC236}">
                <a16:creationId xmlns:a16="http://schemas.microsoft.com/office/drawing/2014/main" id="{816F2048-3F45-35CE-84FD-CF118F6788E1}"/>
              </a:ext>
            </a:extLst>
          </p:cNvPr>
          <p:cNvGrpSpPr/>
          <p:nvPr/>
        </p:nvGrpSpPr>
        <p:grpSpPr>
          <a:xfrm>
            <a:off x="427494" y="3926368"/>
            <a:ext cx="5313470" cy="1892874"/>
            <a:chOff x="550973" y="2267806"/>
            <a:chExt cx="4946961" cy="2604839"/>
          </a:xfrm>
        </p:grpSpPr>
        <p:sp>
          <p:nvSpPr>
            <p:cNvPr id="29" name="Zaoblený obdélník 21">
              <a:extLst>
                <a:ext uri="{FF2B5EF4-FFF2-40B4-BE49-F238E27FC236}">
                  <a16:creationId xmlns:a16="http://schemas.microsoft.com/office/drawing/2014/main" id="{BDDB3944-E264-3C7E-4CC8-6D79DA836A89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550973" y="3857446"/>
              <a:ext cx="2114228" cy="1015199"/>
            </a:xfrm>
            <a:prstGeom prst="roundRect">
              <a:avLst/>
            </a:prstGeom>
            <a:solidFill>
              <a:schemeClr val="accent1"/>
            </a:solidFill>
            <a:ln w="254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acient </a:t>
              </a:r>
              <a: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4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ouhlasí</a:t>
              </a:r>
              <a: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s účastí </a:t>
              </a:r>
              <a:r>
                <a:rPr kumimoji="0" lang="cs-CZ" sz="110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(výkon 01196)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 = 850 (</a:t>
              </a:r>
              <a:r>
                <a:rPr lang="cs-CZ" sz="1100" b="1" kern="0" dirty="0">
                  <a:solidFill>
                    <a:prstClr val="white"/>
                  </a:solidFill>
                  <a:latin typeface="Arial" panose="020B0604020202020204"/>
                </a:rPr>
                <a:t>33</a:t>
              </a:r>
              <a: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,</a:t>
              </a:r>
              <a:r>
                <a:rPr lang="cs-CZ" sz="1100" b="1" kern="0" dirty="0">
                  <a:solidFill>
                    <a:prstClr val="white"/>
                  </a:solidFill>
                  <a:latin typeface="Arial" panose="020B0604020202020204"/>
                </a:rPr>
                <a:t>6</a:t>
              </a:r>
              <a: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%)</a:t>
              </a:r>
              <a:endParaRPr kumimoji="0" lang="nb-NO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Zaoblený obdélník 22">
              <a:extLst>
                <a:ext uri="{FF2B5EF4-FFF2-40B4-BE49-F238E27FC236}">
                  <a16:creationId xmlns:a16="http://schemas.microsoft.com/office/drawing/2014/main" id="{CE2D5944-BE8D-10FD-231C-E39536EF305A}"/>
                </a:ext>
              </a:extLst>
            </p:cNvPr>
            <p:cNvSpPr/>
            <p:nvPr/>
          </p:nvSpPr>
          <p:spPr>
            <a:xfrm>
              <a:off x="3384734" y="3845497"/>
              <a:ext cx="2113200" cy="1015199"/>
            </a:xfrm>
            <a:prstGeom prst="roundRect">
              <a:avLst/>
            </a:prstGeom>
            <a:solidFill>
              <a:schemeClr val="accent1"/>
            </a:solidFill>
            <a:ln w="254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acient </a:t>
              </a:r>
              <a: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odmítá</a:t>
              </a:r>
              <a: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účast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(výkon 01197)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 = </a:t>
              </a:r>
              <a:r>
                <a:rPr lang="cs-CZ" sz="1100" b="1" kern="0" dirty="0">
                  <a:solidFill>
                    <a:schemeClr val="accent6"/>
                  </a:solidFill>
                  <a:latin typeface="Arial" panose="020B0604020202020204"/>
                </a:rPr>
                <a:t>1 683</a:t>
              </a:r>
              <a: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(</a:t>
              </a:r>
              <a:r>
                <a:rPr lang="cs-CZ" sz="1100" b="1" kern="0" dirty="0">
                  <a:solidFill>
                    <a:schemeClr val="accent6"/>
                  </a:solidFill>
                  <a:latin typeface="Arial" panose="020B0604020202020204"/>
                </a:rPr>
                <a:t>66</a:t>
              </a:r>
              <a: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,</a:t>
              </a:r>
              <a:r>
                <a:rPr lang="cs-CZ" sz="1100" b="1" kern="0" dirty="0">
                  <a:solidFill>
                    <a:schemeClr val="accent6"/>
                  </a:solidFill>
                  <a:latin typeface="Arial" panose="020B0604020202020204"/>
                </a:rPr>
                <a:t>4</a:t>
              </a:r>
              <a: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%)</a:t>
              </a:r>
              <a:endParaRPr kumimoji="0" lang="nb-NO" sz="1100" b="1" i="0" u="none" strike="noStrike" kern="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Šipka doprava 39">
              <a:extLst>
                <a:ext uri="{FF2B5EF4-FFF2-40B4-BE49-F238E27FC236}">
                  <a16:creationId xmlns:a16="http://schemas.microsoft.com/office/drawing/2014/main" id="{10A1880A-4154-EE7C-AA62-8E3E9CCB776F}"/>
                </a:ext>
              </a:extLst>
            </p:cNvPr>
            <p:cNvSpPr/>
            <p:nvPr/>
          </p:nvSpPr>
          <p:spPr>
            <a:xfrm rot="2488568">
              <a:off x="3015515" y="3258868"/>
              <a:ext cx="683588" cy="352588"/>
            </a:xfrm>
            <a:prstGeom prst="rightArrow">
              <a:avLst/>
            </a:prstGeom>
            <a:solidFill>
              <a:schemeClr val="accent1"/>
            </a:solidFill>
            <a:ln w="254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Šipka doprava 40">
              <a:extLst>
                <a:ext uri="{FF2B5EF4-FFF2-40B4-BE49-F238E27FC236}">
                  <a16:creationId xmlns:a16="http://schemas.microsoft.com/office/drawing/2014/main" id="{7D4F5A34-07CA-8ADF-80BA-DB0078A82F01}"/>
                </a:ext>
              </a:extLst>
            </p:cNvPr>
            <p:cNvSpPr/>
            <p:nvPr/>
          </p:nvSpPr>
          <p:spPr>
            <a:xfrm rot="8469263">
              <a:off x="2430192" y="3186605"/>
              <a:ext cx="863612" cy="352588"/>
            </a:xfrm>
            <a:prstGeom prst="rightArrow">
              <a:avLst/>
            </a:prstGeom>
            <a:solidFill>
              <a:schemeClr val="accent1"/>
            </a:solidFill>
            <a:ln w="254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Zaoblený obdélník 25">
              <a:extLst>
                <a:ext uri="{FF2B5EF4-FFF2-40B4-BE49-F238E27FC236}">
                  <a16:creationId xmlns:a16="http://schemas.microsoft.com/office/drawing/2014/main" id="{37422D94-505A-F2AB-88E2-25C70BA106BA}"/>
                </a:ext>
              </a:extLst>
            </p:cNvPr>
            <p:cNvSpPr/>
            <p:nvPr/>
          </p:nvSpPr>
          <p:spPr>
            <a:xfrm>
              <a:off x="1965635" y="2267806"/>
              <a:ext cx="2114228" cy="1014108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54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Oslovené osoby u PL </a:t>
              </a:r>
              <a:b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 okresem bydliště </a:t>
              </a:r>
              <a:b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v </a:t>
              </a:r>
              <a:r>
                <a:rPr lang="cs-CZ" sz="1100" b="1" kern="0" dirty="0">
                  <a:solidFill>
                    <a:srgbClr val="C00000"/>
                  </a:solidFill>
                  <a:latin typeface="Arial" panose="020B0604020202020204"/>
                </a:rPr>
                <a:t>Jihočeském kraji</a:t>
              </a:r>
              <a: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 = </a:t>
              </a:r>
              <a:r>
                <a:rPr lang="cs-CZ" sz="1100" b="1" kern="0" dirty="0">
                  <a:latin typeface="Arial" panose="020B0604020202020204"/>
                </a:rPr>
                <a:t>2 533</a:t>
              </a:r>
              <a:endParaRPr kumimoji="0" lang="cs-CZ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6" name="Rectangle 21">
            <a:extLst>
              <a:ext uri="{FF2B5EF4-FFF2-40B4-BE49-F238E27FC236}">
                <a16:creationId xmlns:a16="http://schemas.microsoft.com/office/drawing/2014/main" id="{4768BA82-BB3B-F743-0B30-F95B6DA7094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150712" y="1708920"/>
            <a:ext cx="2233496" cy="430851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kres bydliště pacientů</a:t>
            </a:r>
          </a:p>
        </p:txBody>
      </p: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722C3466-123A-8992-D7A0-947A76F4662E}"/>
              </a:ext>
            </a:extLst>
          </p:cNvPr>
          <p:cNvSpPr txBox="1"/>
          <p:nvPr/>
        </p:nvSpPr>
        <p:spPr>
          <a:xfrm>
            <a:off x="7123246" y="5648419"/>
            <a:ext cx="42713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n.: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227 pacientů nebyl k dispozici okres bydliště</a:t>
            </a:r>
          </a:p>
        </p:txBody>
      </p:sp>
      <p:sp>
        <p:nvSpPr>
          <p:cNvPr id="3" name="Zástupný text 5">
            <a:extLst>
              <a:ext uri="{FF2B5EF4-FFF2-40B4-BE49-F238E27FC236}">
                <a16:creationId xmlns:a16="http://schemas.microsoft.com/office/drawing/2014/main" id="{6112E57E-DA03-60B3-64BB-A610DBC3F95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5225" y="6030874"/>
            <a:ext cx="11460000" cy="672133"/>
          </a:xfrm>
        </p:spPr>
        <p:txBody>
          <a:bodyPr anchor="ctr">
            <a:normAutofit fontScale="92500"/>
          </a:bodyPr>
          <a:lstStyle/>
          <a:p>
            <a:pPr algn="ctr"/>
            <a: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V rámci programu bylo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za období 1. 1. 2022 – 31. 12. 2024 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osloveno 2 533 osob s okresem bydliště v Jihočeském kraji</a:t>
            </a:r>
            <a:r>
              <a:rPr lang="cs-CZ" sz="1400" kern="0" dirty="0">
                <a:solidFill>
                  <a:srgbClr val="DDDCE0">
                    <a:lumMod val="10000"/>
                  </a:srgbClr>
                </a:solidFill>
                <a:latin typeface="+mj-lt"/>
              </a:rPr>
              <a:t>, </a:t>
            </a:r>
            <a:br>
              <a:rPr lang="cs-CZ" sz="1400" kern="0" dirty="0">
                <a:solidFill>
                  <a:srgbClr val="DDDCE0">
                    <a:lumMod val="10000"/>
                  </a:srgbClr>
                </a:solidFill>
                <a:latin typeface="+mj-lt"/>
              </a:rPr>
            </a:br>
            <a:r>
              <a:rPr lang="cs-CZ" sz="1400" kern="0" dirty="0">
                <a:solidFill>
                  <a:srgbClr val="DDDCE0">
                    <a:lumMod val="10000"/>
                  </a:srgbClr>
                </a:solidFill>
                <a:latin typeface="+mj-lt"/>
              </a:rPr>
              <a:t>z nichž </a:t>
            </a:r>
            <a:r>
              <a:rPr lang="cs-CZ" sz="1400" b="1" kern="0" dirty="0">
                <a:solidFill>
                  <a:schemeClr val="accent1"/>
                </a:solidFill>
                <a:latin typeface="+mj-lt"/>
              </a:rPr>
              <a:t>34 % souhlasilo s účastí v programu</a:t>
            </a:r>
            <a:r>
              <a:rPr lang="cs-CZ" sz="1400" kern="0" dirty="0">
                <a:solidFill>
                  <a:srgbClr val="DDDCE0">
                    <a:lumMod val="10000"/>
                  </a:srgbClr>
                </a:solidFill>
                <a:latin typeface="+mj-lt"/>
              </a:rPr>
              <a:t>.</a:t>
            </a:r>
            <a:br>
              <a:rPr lang="cs-CZ" sz="1400" kern="0" dirty="0">
                <a:solidFill>
                  <a:srgbClr val="DDDCE0">
                    <a:lumMod val="10000"/>
                  </a:srgbClr>
                </a:solidFill>
                <a:latin typeface="+mj-lt"/>
              </a:rPr>
            </a:br>
            <a:r>
              <a:rPr lang="cs-CZ" sz="1400" kern="0" dirty="0">
                <a:solidFill>
                  <a:srgbClr val="DDDCE0">
                    <a:lumMod val="10000"/>
                  </a:srgbClr>
                </a:solidFill>
                <a:latin typeface="+mj-lt"/>
              </a:rPr>
              <a:t> </a:t>
            </a:r>
            <a:r>
              <a:rPr lang="cs-CZ" sz="1400" b="1" kern="0" dirty="0">
                <a:solidFill>
                  <a:schemeClr val="accent1"/>
                </a:solidFill>
                <a:latin typeface="+mj-lt"/>
              </a:rPr>
              <a:t>Nejvyšší počet oslovených osob </a:t>
            </a:r>
            <a:r>
              <a:rPr lang="cs-CZ" sz="1400" kern="0" dirty="0">
                <a:solidFill>
                  <a:srgbClr val="DDDCE0">
                    <a:lumMod val="10000"/>
                  </a:srgbClr>
                </a:solidFill>
                <a:latin typeface="+mj-lt"/>
              </a:rPr>
              <a:t>v rámci Jihočeského kraje </a:t>
            </a:r>
            <a:r>
              <a:rPr lang="cs-CZ" sz="1400" b="1" kern="0" dirty="0">
                <a:solidFill>
                  <a:schemeClr val="accent1"/>
                </a:solidFill>
                <a:latin typeface="+mj-lt"/>
              </a:rPr>
              <a:t>byl v okrese České Budějovice </a:t>
            </a:r>
            <a:r>
              <a:rPr lang="cs-CZ" sz="1400" kern="0" dirty="0">
                <a:solidFill>
                  <a:srgbClr val="DDDCE0">
                    <a:lumMod val="10000"/>
                  </a:srgbClr>
                </a:solidFill>
                <a:latin typeface="+mj-lt"/>
              </a:rPr>
              <a:t>(N = 1 095) a </a:t>
            </a:r>
            <a:r>
              <a:rPr lang="cs-CZ" sz="1400" b="1" kern="0" dirty="0">
                <a:solidFill>
                  <a:schemeClr val="accent1"/>
                </a:solidFill>
                <a:latin typeface="+mj-lt"/>
              </a:rPr>
              <a:t>nejnižší v okrese Prachatice</a:t>
            </a:r>
            <a:r>
              <a:rPr lang="cs-CZ" sz="1400" kern="0" dirty="0">
                <a:solidFill>
                  <a:srgbClr val="DDDCE0">
                    <a:lumMod val="10000"/>
                  </a:srgbClr>
                </a:solidFill>
                <a:latin typeface="+mj-lt"/>
              </a:rPr>
              <a:t> (N = 97).</a:t>
            </a:r>
            <a:endParaRPr lang="cs-CZ" sz="1400" dirty="0"/>
          </a:p>
        </p:txBody>
      </p:sp>
      <p:sp>
        <p:nvSpPr>
          <p:cNvPr id="10" name="Zástupný symbol pro obsah 4">
            <a:extLst>
              <a:ext uri="{FF2B5EF4-FFF2-40B4-BE49-F238E27FC236}">
                <a16:creationId xmlns:a16="http://schemas.microsoft.com/office/drawing/2014/main" id="{DA24F2E9-31A5-CA0E-DA25-AA6CDE70F07C}"/>
              </a:ext>
            </a:extLst>
          </p:cNvPr>
          <p:cNvSpPr txBox="1">
            <a:spLocks/>
          </p:cNvSpPr>
          <p:nvPr/>
        </p:nvSpPr>
        <p:spPr>
          <a:xfrm>
            <a:off x="294209" y="1269961"/>
            <a:ext cx="2469269" cy="3199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200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: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ktický lékař (01196, 01197)</a:t>
            </a:r>
          </a:p>
        </p:txBody>
      </p:sp>
      <p:grpSp>
        <p:nvGrpSpPr>
          <p:cNvPr id="41" name="Skupina 40">
            <a:extLst>
              <a:ext uri="{FF2B5EF4-FFF2-40B4-BE49-F238E27FC236}">
                <a16:creationId xmlns:a16="http://schemas.microsoft.com/office/drawing/2014/main" id="{7000DFDB-EC02-B92C-CBC1-69A35E83EAA3}"/>
              </a:ext>
            </a:extLst>
          </p:cNvPr>
          <p:cNvGrpSpPr/>
          <p:nvPr/>
        </p:nvGrpSpPr>
        <p:grpSpPr>
          <a:xfrm>
            <a:off x="10605657" y="1523614"/>
            <a:ext cx="1723887" cy="1728241"/>
            <a:chOff x="10334763" y="1823806"/>
            <a:chExt cx="1723887" cy="1728241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537BCD84-7E58-23B8-B833-C1B9B251FF87}"/>
                </a:ext>
              </a:extLst>
            </p:cNvPr>
            <p:cNvGrpSpPr/>
            <p:nvPr/>
          </p:nvGrpSpPr>
          <p:grpSpPr>
            <a:xfrm>
              <a:off x="10374838" y="1829240"/>
              <a:ext cx="1683812" cy="1722807"/>
              <a:chOff x="5643529" y="5319230"/>
              <a:chExt cx="1371405" cy="1681710"/>
            </a:xfrm>
          </p:grpSpPr>
          <p:grpSp>
            <p:nvGrpSpPr>
              <p:cNvPr id="12" name="Skupina 11">
                <a:extLst>
                  <a:ext uri="{FF2B5EF4-FFF2-40B4-BE49-F238E27FC236}">
                    <a16:creationId xmlns:a16="http://schemas.microsoft.com/office/drawing/2014/main" id="{2B5C800A-86C3-0F2A-F4B0-26D93F4B8421}"/>
                  </a:ext>
                </a:extLst>
              </p:cNvPr>
              <p:cNvGrpSpPr/>
              <p:nvPr/>
            </p:nvGrpSpPr>
            <p:grpSpPr>
              <a:xfrm>
                <a:off x="5643529" y="5319230"/>
                <a:ext cx="1371405" cy="1681710"/>
                <a:chOff x="7866483" y="2402404"/>
                <a:chExt cx="1371405" cy="1681710"/>
              </a:xfrm>
            </p:grpSpPr>
            <p:sp>
              <p:nvSpPr>
                <p:cNvPr id="15" name="Text Box 3">
                  <a:extLst>
                    <a:ext uri="{FF2B5EF4-FFF2-40B4-BE49-F238E27FC236}">
                      <a16:creationId xmlns:a16="http://schemas.microsoft.com/office/drawing/2014/main" id="{1A3625AB-49B8-3F1A-FC7F-7389D8199FA7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7866483" y="2402404"/>
                  <a:ext cx="1230382" cy="1681710"/>
                </a:xfrm>
                <a:prstGeom prst="rect">
                  <a:avLst/>
                </a:prstGeom>
                <a:solidFill>
                  <a:sysClr val="window" lastClr="FFFFFF">
                    <a:lumMod val="85000"/>
                  </a:sysClr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cs-CZ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92929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Rectangle 177">
                  <a:extLst>
                    <a:ext uri="{FF2B5EF4-FFF2-40B4-BE49-F238E27FC236}">
                      <a16:creationId xmlns:a16="http://schemas.microsoft.com/office/drawing/2014/main" id="{AF3DAAF0-26D8-72A6-EA32-7C59CA380A0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905750" y="3067788"/>
                  <a:ext cx="180000" cy="180000"/>
                </a:xfrm>
                <a:prstGeom prst="rect">
                  <a:avLst/>
                </a:prstGeom>
                <a:solidFill>
                  <a:srgbClr val="BDD8F0"/>
                </a:solidFill>
                <a:ln w="9525">
                  <a:solidFill>
                    <a:sysClr val="window" lastClr="FFFFFF"/>
                  </a:solidFill>
                  <a:miter lim="800000"/>
                  <a:headEnd/>
                  <a:tailEnd/>
                </a:ln>
              </p:spPr>
              <p:txBody>
                <a:bodyPr lIns="90000" tIns="46800" rIns="90000" bIns="46800" anchor="ctr"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Verdana" pitchFamily="34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17" name="Rectangle 177">
                  <a:extLst>
                    <a:ext uri="{FF2B5EF4-FFF2-40B4-BE49-F238E27FC236}">
                      <a16:creationId xmlns:a16="http://schemas.microsoft.com/office/drawing/2014/main" id="{720C1E1A-DD77-E63E-F24F-FBC15DDE161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905750" y="3309088"/>
                  <a:ext cx="180000" cy="180000"/>
                </a:xfrm>
                <a:prstGeom prst="rect">
                  <a:avLst/>
                </a:prstGeom>
                <a:solidFill>
                  <a:srgbClr val="73B3D8"/>
                </a:solidFill>
                <a:ln w="9525">
                  <a:solidFill>
                    <a:sysClr val="window" lastClr="FFFFFF"/>
                  </a:solidFill>
                  <a:miter lim="800000"/>
                  <a:headEnd/>
                  <a:tailEnd/>
                </a:ln>
              </p:spPr>
              <p:txBody>
                <a:bodyPr lIns="90000" tIns="46800" rIns="90000" bIns="46800" anchor="ctr"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Verdana" pitchFamily="34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18" name="Rectangle 177">
                  <a:extLst>
                    <a:ext uri="{FF2B5EF4-FFF2-40B4-BE49-F238E27FC236}">
                      <a16:creationId xmlns:a16="http://schemas.microsoft.com/office/drawing/2014/main" id="{7650BAE0-7048-D521-842A-3F11F791C0A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905750" y="3550388"/>
                  <a:ext cx="180000" cy="180000"/>
                </a:xfrm>
                <a:prstGeom prst="rect">
                  <a:avLst/>
                </a:prstGeom>
                <a:solidFill>
                  <a:srgbClr val="2879B9"/>
                </a:solidFill>
                <a:ln w="9525">
                  <a:solidFill>
                    <a:sysClr val="window" lastClr="FFFFFF"/>
                  </a:solidFill>
                  <a:miter lim="800000"/>
                  <a:headEnd/>
                  <a:tailEnd/>
                </a:ln>
              </p:spPr>
              <p:txBody>
                <a:bodyPr lIns="90000" tIns="46800" rIns="90000" bIns="46800" anchor="ctr"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Verdana" pitchFamily="34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19" name="Text Box 3">
                  <a:extLst>
                    <a:ext uri="{FF2B5EF4-FFF2-40B4-BE49-F238E27FC236}">
                      <a16:creationId xmlns:a16="http://schemas.microsoft.com/office/drawing/2014/main" id="{99961F56-FF2C-B587-1CBA-4441D3594BC8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8085750" y="3021853"/>
                  <a:ext cx="1152138" cy="26161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cs-CZ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292929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1 až 100</a:t>
                  </a:r>
                </a:p>
              </p:txBody>
            </p:sp>
            <p:sp>
              <p:nvSpPr>
                <p:cNvPr id="20" name="Text Box 3">
                  <a:extLst>
                    <a:ext uri="{FF2B5EF4-FFF2-40B4-BE49-F238E27FC236}">
                      <a16:creationId xmlns:a16="http://schemas.microsoft.com/office/drawing/2014/main" id="{ED4FB7DB-A923-1580-AC95-94C342275710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8085750" y="3265718"/>
                  <a:ext cx="1152138" cy="26161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cs-CZ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292929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100 až 200</a:t>
                  </a:r>
                </a:p>
              </p:txBody>
            </p:sp>
            <p:sp>
              <p:nvSpPr>
                <p:cNvPr id="21" name="Text Box 3">
                  <a:extLst>
                    <a:ext uri="{FF2B5EF4-FFF2-40B4-BE49-F238E27FC236}">
                      <a16:creationId xmlns:a16="http://schemas.microsoft.com/office/drawing/2014/main" id="{504EDE0E-DF8A-8825-619E-E499DC08034A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8085750" y="3509582"/>
                  <a:ext cx="1152138" cy="26161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cs-CZ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292929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200 až 300</a:t>
                  </a:r>
                </a:p>
              </p:txBody>
            </p:sp>
          </p:grpSp>
          <p:sp>
            <p:nvSpPr>
              <p:cNvPr id="13" name="Rectangle 177">
                <a:extLst>
                  <a:ext uri="{FF2B5EF4-FFF2-40B4-BE49-F238E27FC236}">
                    <a16:creationId xmlns:a16="http://schemas.microsoft.com/office/drawing/2014/main" id="{0681281E-C12B-4370-E88B-85A68AE549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2658" y="6724715"/>
                <a:ext cx="180000" cy="180000"/>
              </a:xfrm>
              <a:prstGeom prst="rect">
                <a:avLst/>
              </a:prstGeom>
              <a:solidFill>
                <a:srgbClr val="08306B"/>
              </a:solidFill>
              <a:ln w="9525">
                <a:solidFill>
                  <a:sysClr val="window" lastClr="FFFFFF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14" name="Text Box 3">
                <a:extLst>
                  <a:ext uri="{FF2B5EF4-FFF2-40B4-BE49-F238E27FC236}">
                    <a16:creationId xmlns:a16="http://schemas.microsoft.com/office/drawing/2014/main" id="{47677D65-ECF4-3258-8A9A-D3389A7598A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862658" y="6683909"/>
                <a:ext cx="1152138" cy="2616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92929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300 a více</a:t>
                </a:r>
              </a:p>
            </p:txBody>
          </p:sp>
        </p:grpSp>
        <p:sp>
          <p:nvSpPr>
            <p:cNvPr id="49" name="Text Box 3">
              <a:extLst>
                <a:ext uri="{FF2B5EF4-FFF2-40B4-BE49-F238E27FC236}">
                  <a16:creationId xmlns:a16="http://schemas.microsoft.com/office/drawing/2014/main" id="{75D55E42-4D26-055F-0957-7EE736F8610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334763" y="1823806"/>
              <a:ext cx="1609002" cy="6001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DDDCE0">
                      <a:lumMod val="2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očet pacientů </a:t>
              </a:r>
              <a:br>
                <a:rPr kumimoji="0" lang="cs-CZ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DDDCE0">
                      <a:lumMod val="2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DDDCE0">
                      <a:lumMod val="2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v rámci ČR</a:t>
              </a:r>
              <a:br>
                <a:rPr kumimoji="0" lang="cs-CZ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DDDCE0">
                      <a:lumMod val="2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DDDCE0">
                      <a:lumMod val="2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(N = </a:t>
              </a:r>
              <a:r>
                <a:rPr lang="cs-CZ" sz="1100" b="1" dirty="0">
                  <a:solidFill>
                    <a:srgbClr val="DDDCE0">
                      <a:lumMod val="25000"/>
                    </a:srgbClr>
                  </a:solidFill>
                  <a:latin typeface="Arial" panose="020B0604020202020204"/>
                </a:rPr>
                <a:t>32</a:t>
              </a:r>
              <a:r>
                <a:rPr kumimoji="0" lang="cs-CZ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DDDCE0">
                      <a:lumMod val="2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927 pacientů)</a:t>
              </a:r>
            </a:p>
          </p:txBody>
        </p:sp>
      </p:grpSp>
      <p:sp>
        <p:nvSpPr>
          <p:cNvPr id="8" name="Rectangle 21">
            <a:extLst>
              <a:ext uri="{FF2B5EF4-FFF2-40B4-BE49-F238E27FC236}">
                <a16:creationId xmlns:a16="http://schemas.microsoft.com/office/drawing/2014/main" id="{7272C277-34C8-4BE8-6AF9-961532FD7B3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177545" y="1161498"/>
            <a:ext cx="2978851" cy="4308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uze pacienti ve věku 55–74 let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2E74F133-A861-4A6E-8D0F-3F9FC390D7E3}"/>
              </a:ext>
            </a:extLst>
          </p:cNvPr>
          <p:cNvSpPr txBox="1">
            <a:spLocks/>
          </p:cNvSpPr>
          <p:nvPr/>
        </p:nvSpPr>
        <p:spPr>
          <a:xfrm>
            <a:off x="8954464" y="815142"/>
            <a:ext cx="3261286" cy="7200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NRHZS</a:t>
            </a:r>
            <a:b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za období: 1. 1. 2022 – 31. </a:t>
            </a:r>
            <a:r>
              <a:rPr lang="cs-CZ" sz="1050" b="1" dirty="0">
                <a:solidFill>
                  <a:srgbClr val="000000"/>
                </a:solidFill>
                <a:latin typeface="Arial" panose="020B0604020202020204"/>
              </a:rPr>
              <a:t>12</a:t>
            </a:r>
            <a:r>
              <a:rPr kumimoji="0" lang="cs-CZ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4</a:t>
            </a:r>
          </a:p>
        </p:txBody>
      </p:sp>
      <p:grpSp>
        <p:nvGrpSpPr>
          <p:cNvPr id="40" name="Skupina 39">
            <a:extLst>
              <a:ext uri="{FF2B5EF4-FFF2-40B4-BE49-F238E27FC236}">
                <a16:creationId xmlns:a16="http://schemas.microsoft.com/office/drawing/2014/main" id="{609787DA-3BFA-71F1-9B4C-68A2E5DDADC6}"/>
              </a:ext>
            </a:extLst>
          </p:cNvPr>
          <p:cNvGrpSpPr/>
          <p:nvPr/>
        </p:nvGrpSpPr>
        <p:grpSpPr>
          <a:xfrm>
            <a:off x="443239" y="1714779"/>
            <a:ext cx="5278336" cy="1937915"/>
            <a:chOff x="365225" y="2267806"/>
            <a:chExt cx="4946961" cy="2661934"/>
          </a:xfrm>
        </p:grpSpPr>
        <p:sp>
          <p:nvSpPr>
            <p:cNvPr id="34" name="Zaoblený obdélník 21">
              <a:extLst>
                <a:ext uri="{FF2B5EF4-FFF2-40B4-BE49-F238E27FC236}">
                  <a16:creationId xmlns:a16="http://schemas.microsoft.com/office/drawing/2014/main" id="{BDDB3944-E264-3C7E-4CC8-6D79DA836A89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365225" y="3914540"/>
              <a:ext cx="2114228" cy="1015200"/>
            </a:xfrm>
            <a:prstGeom prst="roundRect">
              <a:avLst/>
            </a:prstGeom>
            <a:solidFill>
              <a:schemeClr val="accent1"/>
            </a:solidFill>
            <a:ln w="254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acient </a:t>
              </a: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4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ouhlasí</a:t>
              </a: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s účastí </a:t>
              </a: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(výkon 01196)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 = 16 787 (50,6 %)</a:t>
              </a:r>
              <a:endParaRPr kumimoji="0" lang="nb-NO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" name="Zaoblený obdélník 22">
              <a:extLst>
                <a:ext uri="{FF2B5EF4-FFF2-40B4-BE49-F238E27FC236}">
                  <a16:creationId xmlns:a16="http://schemas.microsoft.com/office/drawing/2014/main" id="{CE2D5944-BE8D-10FD-231C-E39536EF305A}"/>
                </a:ext>
              </a:extLst>
            </p:cNvPr>
            <p:cNvSpPr/>
            <p:nvPr/>
          </p:nvSpPr>
          <p:spPr>
            <a:xfrm>
              <a:off x="3198986" y="3902592"/>
              <a:ext cx="2113200" cy="1015200"/>
            </a:xfrm>
            <a:prstGeom prst="roundRect">
              <a:avLst/>
            </a:prstGeom>
            <a:solidFill>
              <a:schemeClr val="accent1"/>
            </a:solidFill>
            <a:ln w="254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acient </a:t>
              </a: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odmítá</a:t>
              </a: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účast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(výkon 01197)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 = 16 367 (49,4 %)</a:t>
              </a:r>
              <a:endParaRPr kumimoji="0" lang="nb-NO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Šipka doprava 39">
              <a:extLst>
                <a:ext uri="{FF2B5EF4-FFF2-40B4-BE49-F238E27FC236}">
                  <a16:creationId xmlns:a16="http://schemas.microsoft.com/office/drawing/2014/main" id="{10A1880A-4154-EE7C-AA62-8E3E9CCB776F}"/>
                </a:ext>
              </a:extLst>
            </p:cNvPr>
            <p:cNvSpPr/>
            <p:nvPr/>
          </p:nvSpPr>
          <p:spPr>
            <a:xfrm rot="2488568">
              <a:off x="2823643" y="3306647"/>
              <a:ext cx="733688" cy="352587"/>
            </a:xfrm>
            <a:prstGeom prst="rightArrow">
              <a:avLst/>
            </a:prstGeom>
            <a:solidFill>
              <a:schemeClr val="accent1"/>
            </a:solidFill>
            <a:ln w="254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Šipka doprava 40">
              <a:extLst>
                <a:ext uri="{FF2B5EF4-FFF2-40B4-BE49-F238E27FC236}">
                  <a16:creationId xmlns:a16="http://schemas.microsoft.com/office/drawing/2014/main" id="{7D4F5A34-07CA-8ADF-80BA-DB0078A82F01}"/>
                </a:ext>
              </a:extLst>
            </p:cNvPr>
            <p:cNvSpPr/>
            <p:nvPr/>
          </p:nvSpPr>
          <p:spPr>
            <a:xfrm rot="8469263">
              <a:off x="2184343" y="3218453"/>
              <a:ext cx="931191" cy="352587"/>
            </a:xfrm>
            <a:prstGeom prst="rightArrow">
              <a:avLst/>
            </a:prstGeom>
            <a:solidFill>
              <a:schemeClr val="accent1"/>
            </a:solidFill>
            <a:ln w="254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Zaoblený obdélník 25">
              <a:extLst>
                <a:ext uri="{FF2B5EF4-FFF2-40B4-BE49-F238E27FC236}">
                  <a16:creationId xmlns:a16="http://schemas.microsoft.com/office/drawing/2014/main" id="{37422D94-505A-F2AB-88E2-25C70BA106BA}"/>
                </a:ext>
              </a:extLst>
            </p:cNvPr>
            <p:cNvSpPr/>
            <p:nvPr/>
          </p:nvSpPr>
          <p:spPr>
            <a:xfrm>
              <a:off x="1779890" y="2267806"/>
              <a:ext cx="2114228" cy="1014108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54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bg2">
                      <a:lumMod val="10000"/>
                    </a:scheme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acient osloven u PL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cs-CZ" sz="1200" kern="0" dirty="0">
                  <a:solidFill>
                    <a:schemeClr val="bg2">
                      <a:lumMod val="10000"/>
                    </a:schemeClr>
                  </a:solidFill>
                  <a:latin typeface="Arial" panose="020B0604020202020204"/>
                </a:rPr>
                <a:t>(v rámci celé ČR)</a:t>
              </a: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schemeClr val="bg2">
                      <a:lumMod val="10000"/>
                    </a:scheme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bg2">
                      <a:lumMod val="10000"/>
                    </a:scheme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 = </a:t>
              </a:r>
              <a:r>
                <a:rPr lang="cs-CZ" sz="1200" b="1" kern="0" dirty="0">
                  <a:solidFill>
                    <a:schemeClr val="bg2">
                      <a:lumMod val="10000"/>
                    </a:schemeClr>
                  </a:solidFill>
                  <a:latin typeface="Arial" panose="020B0604020202020204"/>
                </a:rPr>
                <a:t>33</a:t>
              </a: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bg2">
                      <a:lumMod val="10000"/>
                    </a:scheme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154</a:t>
              </a:r>
            </a:p>
          </p:txBody>
        </p:sp>
      </p:grpSp>
      <p:cxnSp>
        <p:nvCxnSpPr>
          <p:cNvPr id="43" name="Přímá spojnice se šipkou 42">
            <a:extLst>
              <a:ext uri="{FF2B5EF4-FFF2-40B4-BE49-F238E27FC236}">
                <a16:creationId xmlns:a16="http://schemas.microsoft.com/office/drawing/2014/main" id="{C1CA665C-E61E-7DCD-B5F9-84FAFC7456A8}"/>
              </a:ext>
            </a:extLst>
          </p:cNvPr>
          <p:cNvCxnSpPr>
            <a:cxnSpLocks/>
            <a:stCxn id="44" idx="3"/>
          </p:cNvCxnSpPr>
          <p:nvPr/>
        </p:nvCxnSpPr>
        <p:spPr>
          <a:xfrm>
            <a:off x="5822112" y="4872472"/>
            <a:ext cx="1184863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4" name="Obdélník 43">
            <a:extLst>
              <a:ext uri="{FF2B5EF4-FFF2-40B4-BE49-F238E27FC236}">
                <a16:creationId xmlns:a16="http://schemas.microsoft.com/office/drawing/2014/main" id="{8F77EB7F-07D0-E74A-AD9D-BEE302AF2C0F}"/>
              </a:ext>
            </a:extLst>
          </p:cNvPr>
          <p:cNvSpPr/>
          <p:nvPr/>
        </p:nvSpPr>
        <p:spPr>
          <a:xfrm>
            <a:off x="357454" y="3819525"/>
            <a:ext cx="5464658" cy="2105893"/>
          </a:xfrm>
          <a:prstGeom prst="rect">
            <a:avLst/>
          </a:prstGeom>
          <a:noFill/>
          <a:ln w="381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pSp>
        <p:nvGrpSpPr>
          <p:cNvPr id="48" name="Skupina 47">
            <a:extLst>
              <a:ext uri="{FF2B5EF4-FFF2-40B4-BE49-F238E27FC236}">
                <a16:creationId xmlns:a16="http://schemas.microsoft.com/office/drawing/2014/main" id="{3BC7CB76-552C-15FD-306D-7E20A8C99691}"/>
              </a:ext>
            </a:extLst>
          </p:cNvPr>
          <p:cNvGrpSpPr/>
          <p:nvPr/>
        </p:nvGrpSpPr>
        <p:grpSpPr>
          <a:xfrm>
            <a:off x="7034030" y="4195801"/>
            <a:ext cx="1914964" cy="1438310"/>
            <a:chOff x="7023756" y="4206075"/>
            <a:chExt cx="1914964" cy="1438310"/>
          </a:xfrm>
        </p:grpSpPr>
        <p:sp>
          <p:nvSpPr>
            <p:cNvPr id="27" name="Volný tvar: obrazec 26">
              <a:extLst>
                <a:ext uri="{FF2B5EF4-FFF2-40B4-BE49-F238E27FC236}">
                  <a16:creationId xmlns:a16="http://schemas.microsoft.com/office/drawing/2014/main" id="{BC061784-4BA2-1FFF-6D37-D721B6C60B4C}"/>
                </a:ext>
              </a:extLst>
            </p:cNvPr>
            <p:cNvSpPr/>
            <p:nvPr/>
          </p:nvSpPr>
          <p:spPr>
            <a:xfrm>
              <a:off x="7033627" y="4283599"/>
              <a:ext cx="263318" cy="739706"/>
            </a:xfrm>
            <a:custGeom>
              <a:avLst/>
              <a:gdLst>
                <a:gd name="connsiteX0" fmla="*/ 0 w 254089"/>
                <a:gd name="connsiteY0" fmla="*/ 727075 h 727075"/>
                <a:gd name="connsiteX1" fmla="*/ 3175 w 254089"/>
                <a:gd name="connsiteY1" fmla="*/ 711200 h 727075"/>
                <a:gd name="connsiteX2" fmla="*/ 9525 w 254089"/>
                <a:gd name="connsiteY2" fmla="*/ 698500 h 727075"/>
                <a:gd name="connsiteX3" fmla="*/ 15875 w 254089"/>
                <a:gd name="connsiteY3" fmla="*/ 650875 h 727075"/>
                <a:gd name="connsiteX4" fmla="*/ 22225 w 254089"/>
                <a:gd name="connsiteY4" fmla="*/ 638175 h 727075"/>
                <a:gd name="connsiteX5" fmla="*/ 34925 w 254089"/>
                <a:gd name="connsiteY5" fmla="*/ 628650 h 727075"/>
                <a:gd name="connsiteX6" fmla="*/ 53975 w 254089"/>
                <a:gd name="connsiteY6" fmla="*/ 603250 h 727075"/>
                <a:gd name="connsiteX7" fmla="*/ 66675 w 254089"/>
                <a:gd name="connsiteY7" fmla="*/ 577850 h 727075"/>
                <a:gd name="connsiteX8" fmla="*/ 79375 w 254089"/>
                <a:gd name="connsiteY8" fmla="*/ 520700 h 727075"/>
                <a:gd name="connsiteX9" fmla="*/ 95250 w 254089"/>
                <a:gd name="connsiteY9" fmla="*/ 498475 h 727075"/>
                <a:gd name="connsiteX10" fmla="*/ 104775 w 254089"/>
                <a:gd name="connsiteY10" fmla="*/ 495300 h 727075"/>
                <a:gd name="connsiteX11" fmla="*/ 136525 w 254089"/>
                <a:gd name="connsiteY11" fmla="*/ 485775 h 727075"/>
                <a:gd name="connsiteX12" fmla="*/ 158750 w 254089"/>
                <a:gd name="connsiteY12" fmla="*/ 457200 h 727075"/>
                <a:gd name="connsiteX13" fmla="*/ 165100 w 254089"/>
                <a:gd name="connsiteY13" fmla="*/ 438150 h 727075"/>
                <a:gd name="connsiteX14" fmla="*/ 180975 w 254089"/>
                <a:gd name="connsiteY14" fmla="*/ 409575 h 727075"/>
                <a:gd name="connsiteX15" fmla="*/ 190500 w 254089"/>
                <a:gd name="connsiteY15" fmla="*/ 384175 h 727075"/>
                <a:gd name="connsiteX16" fmla="*/ 200025 w 254089"/>
                <a:gd name="connsiteY16" fmla="*/ 333375 h 727075"/>
                <a:gd name="connsiteX17" fmla="*/ 206375 w 254089"/>
                <a:gd name="connsiteY17" fmla="*/ 307975 h 727075"/>
                <a:gd name="connsiteX18" fmla="*/ 215900 w 254089"/>
                <a:gd name="connsiteY18" fmla="*/ 288925 h 727075"/>
                <a:gd name="connsiteX19" fmla="*/ 225425 w 254089"/>
                <a:gd name="connsiteY19" fmla="*/ 273050 h 727075"/>
                <a:gd name="connsiteX20" fmla="*/ 238125 w 254089"/>
                <a:gd name="connsiteY20" fmla="*/ 234950 h 727075"/>
                <a:gd name="connsiteX21" fmla="*/ 244475 w 254089"/>
                <a:gd name="connsiteY21" fmla="*/ 222250 h 727075"/>
                <a:gd name="connsiteX22" fmla="*/ 250825 w 254089"/>
                <a:gd name="connsiteY22" fmla="*/ 190500 h 727075"/>
                <a:gd name="connsiteX23" fmla="*/ 250825 w 254089"/>
                <a:gd name="connsiteY23" fmla="*/ 107950 h 727075"/>
                <a:gd name="connsiteX24" fmla="*/ 244475 w 254089"/>
                <a:gd name="connsiteY24" fmla="*/ 88900 h 727075"/>
                <a:gd name="connsiteX25" fmla="*/ 241300 w 254089"/>
                <a:gd name="connsiteY25" fmla="*/ 79375 h 727075"/>
                <a:gd name="connsiteX26" fmla="*/ 250825 w 254089"/>
                <a:gd name="connsiteY26" fmla="*/ 3175 h 727075"/>
                <a:gd name="connsiteX27" fmla="*/ 254000 w 254089"/>
                <a:gd name="connsiteY27" fmla="*/ 0 h 727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54089" h="727075">
                  <a:moveTo>
                    <a:pt x="0" y="727075"/>
                  </a:moveTo>
                  <a:cubicBezTo>
                    <a:pt x="1058" y="721783"/>
                    <a:pt x="1468" y="716320"/>
                    <a:pt x="3175" y="711200"/>
                  </a:cubicBezTo>
                  <a:cubicBezTo>
                    <a:pt x="4672" y="706710"/>
                    <a:pt x="8653" y="703152"/>
                    <a:pt x="9525" y="698500"/>
                  </a:cubicBezTo>
                  <a:cubicBezTo>
                    <a:pt x="14554" y="671677"/>
                    <a:pt x="8256" y="668653"/>
                    <a:pt x="15875" y="650875"/>
                  </a:cubicBezTo>
                  <a:cubicBezTo>
                    <a:pt x="17739" y="646525"/>
                    <a:pt x="19145" y="641769"/>
                    <a:pt x="22225" y="638175"/>
                  </a:cubicBezTo>
                  <a:cubicBezTo>
                    <a:pt x="25669" y="634157"/>
                    <a:pt x="30907" y="632094"/>
                    <a:pt x="34925" y="628650"/>
                  </a:cubicBezTo>
                  <a:cubicBezTo>
                    <a:pt x="45189" y="619852"/>
                    <a:pt x="47121" y="615979"/>
                    <a:pt x="53975" y="603250"/>
                  </a:cubicBezTo>
                  <a:cubicBezTo>
                    <a:pt x="58463" y="594915"/>
                    <a:pt x="66675" y="577850"/>
                    <a:pt x="66675" y="577850"/>
                  </a:cubicBezTo>
                  <a:cubicBezTo>
                    <a:pt x="72237" y="541700"/>
                    <a:pt x="68533" y="545095"/>
                    <a:pt x="79375" y="520700"/>
                  </a:cubicBezTo>
                  <a:cubicBezTo>
                    <a:pt x="83557" y="511291"/>
                    <a:pt x="86340" y="504415"/>
                    <a:pt x="95250" y="498475"/>
                  </a:cubicBezTo>
                  <a:cubicBezTo>
                    <a:pt x="98035" y="496619"/>
                    <a:pt x="101641" y="496475"/>
                    <a:pt x="104775" y="495300"/>
                  </a:cubicBezTo>
                  <a:cubicBezTo>
                    <a:pt x="128644" y="486349"/>
                    <a:pt x="112236" y="490633"/>
                    <a:pt x="136525" y="485775"/>
                  </a:cubicBezTo>
                  <a:cubicBezTo>
                    <a:pt x="144743" y="477557"/>
                    <a:pt x="154952" y="468593"/>
                    <a:pt x="158750" y="457200"/>
                  </a:cubicBezTo>
                  <a:cubicBezTo>
                    <a:pt x="160867" y="450850"/>
                    <a:pt x="161084" y="443505"/>
                    <a:pt x="165100" y="438150"/>
                  </a:cubicBezTo>
                  <a:cubicBezTo>
                    <a:pt x="180150" y="418083"/>
                    <a:pt x="170392" y="433387"/>
                    <a:pt x="180975" y="409575"/>
                  </a:cubicBezTo>
                  <a:cubicBezTo>
                    <a:pt x="189157" y="391166"/>
                    <a:pt x="186287" y="403132"/>
                    <a:pt x="190500" y="384175"/>
                  </a:cubicBezTo>
                  <a:cubicBezTo>
                    <a:pt x="194242" y="367338"/>
                    <a:pt x="196147" y="350181"/>
                    <a:pt x="200025" y="333375"/>
                  </a:cubicBezTo>
                  <a:cubicBezTo>
                    <a:pt x="201987" y="324871"/>
                    <a:pt x="202472" y="315781"/>
                    <a:pt x="206375" y="307975"/>
                  </a:cubicBezTo>
                  <a:cubicBezTo>
                    <a:pt x="209550" y="301625"/>
                    <a:pt x="212500" y="295158"/>
                    <a:pt x="215900" y="288925"/>
                  </a:cubicBezTo>
                  <a:cubicBezTo>
                    <a:pt x="218855" y="283507"/>
                    <a:pt x="223075" y="278756"/>
                    <a:pt x="225425" y="273050"/>
                  </a:cubicBezTo>
                  <a:cubicBezTo>
                    <a:pt x="230522" y="260671"/>
                    <a:pt x="232138" y="246924"/>
                    <a:pt x="238125" y="234950"/>
                  </a:cubicBezTo>
                  <a:cubicBezTo>
                    <a:pt x="240242" y="230717"/>
                    <a:pt x="242813" y="226682"/>
                    <a:pt x="244475" y="222250"/>
                  </a:cubicBezTo>
                  <a:cubicBezTo>
                    <a:pt x="247317" y="214672"/>
                    <a:pt x="249728" y="197084"/>
                    <a:pt x="250825" y="190500"/>
                  </a:cubicBezTo>
                  <a:cubicBezTo>
                    <a:pt x="253599" y="154444"/>
                    <a:pt x="256518" y="144006"/>
                    <a:pt x="250825" y="107950"/>
                  </a:cubicBezTo>
                  <a:cubicBezTo>
                    <a:pt x="249781" y="101338"/>
                    <a:pt x="246592" y="95250"/>
                    <a:pt x="244475" y="88900"/>
                  </a:cubicBezTo>
                  <a:lnTo>
                    <a:pt x="241300" y="79375"/>
                  </a:lnTo>
                  <a:cubicBezTo>
                    <a:pt x="243423" y="36920"/>
                    <a:pt x="235285" y="29075"/>
                    <a:pt x="250825" y="3175"/>
                  </a:cubicBezTo>
                  <a:cubicBezTo>
                    <a:pt x="251595" y="1892"/>
                    <a:pt x="252942" y="1058"/>
                    <a:pt x="254000" y="0"/>
                  </a:cubicBezTo>
                </a:path>
              </a:pathLst>
            </a:cu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28" name="Volný tvar: obrazec 27">
              <a:extLst>
                <a:ext uri="{FF2B5EF4-FFF2-40B4-BE49-F238E27FC236}">
                  <a16:creationId xmlns:a16="http://schemas.microsoft.com/office/drawing/2014/main" id="{4D6581B2-768D-9FBC-EBE5-68DAC8EDCDBE}"/>
                </a:ext>
              </a:extLst>
            </p:cNvPr>
            <p:cNvSpPr/>
            <p:nvPr/>
          </p:nvSpPr>
          <p:spPr>
            <a:xfrm>
              <a:off x="7023756" y="5026535"/>
              <a:ext cx="1319417" cy="617850"/>
            </a:xfrm>
            <a:custGeom>
              <a:avLst/>
              <a:gdLst>
                <a:gd name="connsiteX0" fmla="*/ 0 w 1273175"/>
                <a:gd name="connsiteY0" fmla="*/ 0 h 616654"/>
                <a:gd name="connsiteX1" fmla="*/ 41275 w 1273175"/>
                <a:gd name="connsiteY1" fmla="*/ 15875 h 616654"/>
                <a:gd name="connsiteX2" fmla="*/ 53975 w 1273175"/>
                <a:gd name="connsiteY2" fmla="*/ 25400 h 616654"/>
                <a:gd name="connsiteX3" fmla="*/ 66675 w 1273175"/>
                <a:gd name="connsiteY3" fmla="*/ 38100 h 616654"/>
                <a:gd name="connsiteX4" fmla="*/ 76200 w 1273175"/>
                <a:gd name="connsiteY4" fmla="*/ 41275 h 616654"/>
                <a:gd name="connsiteX5" fmla="*/ 88900 w 1273175"/>
                <a:gd name="connsiteY5" fmla="*/ 50800 h 616654"/>
                <a:gd name="connsiteX6" fmla="*/ 95250 w 1273175"/>
                <a:gd name="connsiteY6" fmla="*/ 73025 h 616654"/>
                <a:gd name="connsiteX7" fmla="*/ 104775 w 1273175"/>
                <a:gd name="connsiteY7" fmla="*/ 85725 h 616654"/>
                <a:gd name="connsiteX8" fmla="*/ 120650 w 1273175"/>
                <a:gd name="connsiteY8" fmla="*/ 123825 h 616654"/>
                <a:gd name="connsiteX9" fmla="*/ 127000 w 1273175"/>
                <a:gd name="connsiteY9" fmla="*/ 133350 h 616654"/>
                <a:gd name="connsiteX10" fmla="*/ 139700 w 1273175"/>
                <a:gd name="connsiteY10" fmla="*/ 139700 h 616654"/>
                <a:gd name="connsiteX11" fmla="*/ 149225 w 1273175"/>
                <a:gd name="connsiteY11" fmla="*/ 142875 h 616654"/>
                <a:gd name="connsiteX12" fmla="*/ 196850 w 1273175"/>
                <a:gd name="connsiteY12" fmla="*/ 155575 h 616654"/>
                <a:gd name="connsiteX13" fmla="*/ 209550 w 1273175"/>
                <a:gd name="connsiteY13" fmla="*/ 184150 h 616654"/>
                <a:gd name="connsiteX14" fmla="*/ 212725 w 1273175"/>
                <a:gd name="connsiteY14" fmla="*/ 196850 h 616654"/>
                <a:gd name="connsiteX15" fmla="*/ 219075 w 1273175"/>
                <a:gd name="connsiteY15" fmla="*/ 206375 h 616654"/>
                <a:gd name="connsiteX16" fmla="*/ 231775 w 1273175"/>
                <a:gd name="connsiteY16" fmla="*/ 228600 h 616654"/>
                <a:gd name="connsiteX17" fmla="*/ 238125 w 1273175"/>
                <a:gd name="connsiteY17" fmla="*/ 254000 h 616654"/>
                <a:gd name="connsiteX18" fmla="*/ 247650 w 1273175"/>
                <a:gd name="connsiteY18" fmla="*/ 263525 h 616654"/>
                <a:gd name="connsiteX19" fmla="*/ 260350 w 1273175"/>
                <a:gd name="connsiteY19" fmla="*/ 288925 h 616654"/>
                <a:gd name="connsiteX20" fmla="*/ 273050 w 1273175"/>
                <a:gd name="connsiteY20" fmla="*/ 298450 h 616654"/>
                <a:gd name="connsiteX21" fmla="*/ 282575 w 1273175"/>
                <a:gd name="connsiteY21" fmla="*/ 301625 h 616654"/>
                <a:gd name="connsiteX22" fmla="*/ 314325 w 1273175"/>
                <a:gd name="connsiteY22" fmla="*/ 317500 h 616654"/>
                <a:gd name="connsiteX23" fmla="*/ 339725 w 1273175"/>
                <a:gd name="connsiteY23" fmla="*/ 330200 h 616654"/>
                <a:gd name="connsiteX24" fmla="*/ 368300 w 1273175"/>
                <a:gd name="connsiteY24" fmla="*/ 349250 h 616654"/>
                <a:gd name="connsiteX25" fmla="*/ 387350 w 1273175"/>
                <a:gd name="connsiteY25" fmla="*/ 368300 h 616654"/>
                <a:gd name="connsiteX26" fmla="*/ 425450 w 1273175"/>
                <a:gd name="connsiteY26" fmla="*/ 403225 h 616654"/>
                <a:gd name="connsiteX27" fmla="*/ 434975 w 1273175"/>
                <a:gd name="connsiteY27" fmla="*/ 406400 h 616654"/>
                <a:gd name="connsiteX28" fmla="*/ 444500 w 1273175"/>
                <a:gd name="connsiteY28" fmla="*/ 419100 h 616654"/>
                <a:gd name="connsiteX29" fmla="*/ 450850 w 1273175"/>
                <a:gd name="connsiteY29" fmla="*/ 434975 h 616654"/>
                <a:gd name="connsiteX30" fmla="*/ 441325 w 1273175"/>
                <a:gd name="connsiteY30" fmla="*/ 441325 h 616654"/>
                <a:gd name="connsiteX31" fmla="*/ 434975 w 1273175"/>
                <a:gd name="connsiteY31" fmla="*/ 457200 h 616654"/>
                <a:gd name="connsiteX32" fmla="*/ 419100 w 1273175"/>
                <a:gd name="connsiteY32" fmla="*/ 476250 h 616654"/>
                <a:gd name="connsiteX33" fmla="*/ 428625 w 1273175"/>
                <a:gd name="connsiteY33" fmla="*/ 508000 h 616654"/>
                <a:gd name="connsiteX34" fmla="*/ 447675 w 1273175"/>
                <a:gd name="connsiteY34" fmla="*/ 511175 h 616654"/>
                <a:gd name="connsiteX35" fmla="*/ 460375 w 1273175"/>
                <a:gd name="connsiteY35" fmla="*/ 514350 h 616654"/>
                <a:gd name="connsiteX36" fmla="*/ 469900 w 1273175"/>
                <a:gd name="connsiteY36" fmla="*/ 520700 h 616654"/>
                <a:gd name="connsiteX37" fmla="*/ 482600 w 1273175"/>
                <a:gd name="connsiteY37" fmla="*/ 523875 h 616654"/>
                <a:gd name="connsiteX38" fmla="*/ 485775 w 1273175"/>
                <a:gd name="connsiteY38" fmla="*/ 536575 h 616654"/>
                <a:gd name="connsiteX39" fmla="*/ 501650 w 1273175"/>
                <a:gd name="connsiteY39" fmla="*/ 546100 h 616654"/>
                <a:gd name="connsiteX40" fmla="*/ 530225 w 1273175"/>
                <a:gd name="connsiteY40" fmla="*/ 561975 h 616654"/>
                <a:gd name="connsiteX41" fmla="*/ 542925 w 1273175"/>
                <a:gd name="connsiteY41" fmla="*/ 571500 h 616654"/>
                <a:gd name="connsiteX42" fmla="*/ 561975 w 1273175"/>
                <a:gd name="connsiteY42" fmla="*/ 574675 h 616654"/>
                <a:gd name="connsiteX43" fmla="*/ 593725 w 1273175"/>
                <a:gd name="connsiteY43" fmla="*/ 587375 h 616654"/>
                <a:gd name="connsiteX44" fmla="*/ 622300 w 1273175"/>
                <a:gd name="connsiteY44" fmla="*/ 593725 h 616654"/>
                <a:gd name="connsiteX45" fmla="*/ 647700 w 1273175"/>
                <a:gd name="connsiteY45" fmla="*/ 609600 h 616654"/>
                <a:gd name="connsiteX46" fmla="*/ 717550 w 1273175"/>
                <a:gd name="connsiteY46" fmla="*/ 612775 h 616654"/>
                <a:gd name="connsiteX47" fmla="*/ 730250 w 1273175"/>
                <a:gd name="connsiteY47" fmla="*/ 606425 h 616654"/>
                <a:gd name="connsiteX48" fmla="*/ 733425 w 1273175"/>
                <a:gd name="connsiteY48" fmla="*/ 596900 h 616654"/>
                <a:gd name="connsiteX49" fmla="*/ 746125 w 1273175"/>
                <a:gd name="connsiteY49" fmla="*/ 590550 h 616654"/>
                <a:gd name="connsiteX50" fmla="*/ 762000 w 1273175"/>
                <a:gd name="connsiteY50" fmla="*/ 574675 h 616654"/>
                <a:gd name="connsiteX51" fmla="*/ 781050 w 1273175"/>
                <a:gd name="connsiteY51" fmla="*/ 561975 h 616654"/>
                <a:gd name="connsiteX52" fmla="*/ 787400 w 1273175"/>
                <a:gd name="connsiteY52" fmla="*/ 552450 h 616654"/>
                <a:gd name="connsiteX53" fmla="*/ 790575 w 1273175"/>
                <a:gd name="connsiteY53" fmla="*/ 542925 h 616654"/>
                <a:gd name="connsiteX54" fmla="*/ 796925 w 1273175"/>
                <a:gd name="connsiteY54" fmla="*/ 530225 h 616654"/>
                <a:gd name="connsiteX55" fmla="*/ 809625 w 1273175"/>
                <a:gd name="connsiteY55" fmla="*/ 498475 h 616654"/>
                <a:gd name="connsiteX56" fmla="*/ 822325 w 1273175"/>
                <a:gd name="connsiteY56" fmla="*/ 501650 h 616654"/>
                <a:gd name="connsiteX57" fmla="*/ 828675 w 1273175"/>
                <a:gd name="connsiteY57" fmla="*/ 514350 h 616654"/>
                <a:gd name="connsiteX58" fmla="*/ 847725 w 1273175"/>
                <a:gd name="connsiteY58" fmla="*/ 520700 h 616654"/>
                <a:gd name="connsiteX59" fmla="*/ 863600 w 1273175"/>
                <a:gd name="connsiteY59" fmla="*/ 530225 h 616654"/>
                <a:gd name="connsiteX60" fmla="*/ 892175 w 1273175"/>
                <a:gd name="connsiteY60" fmla="*/ 536575 h 616654"/>
                <a:gd name="connsiteX61" fmla="*/ 923925 w 1273175"/>
                <a:gd name="connsiteY61" fmla="*/ 530225 h 616654"/>
                <a:gd name="connsiteX62" fmla="*/ 942975 w 1273175"/>
                <a:gd name="connsiteY62" fmla="*/ 523875 h 616654"/>
                <a:gd name="connsiteX63" fmla="*/ 955675 w 1273175"/>
                <a:gd name="connsiteY63" fmla="*/ 542925 h 616654"/>
                <a:gd name="connsiteX64" fmla="*/ 962025 w 1273175"/>
                <a:gd name="connsiteY64" fmla="*/ 552450 h 616654"/>
                <a:gd name="connsiteX65" fmla="*/ 981075 w 1273175"/>
                <a:gd name="connsiteY65" fmla="*/ 561975 h 616654"/>
                <a:gd name="connsiteX66" fmla="*/ 1000125 w 1273175"/>
                <a:gd name="connsiteY66" fmla="*/ 574675 h 616654"/>
                <a:gd name="connsiteX67" fmla="*/ 1025525 w 1273175"/>
                <a:gd name="connsiteY67" fmla="*/ 568325 h 616654"/>
                <a:gd name="connsiteX68" fmla="*/ 1031875 w 1273175"/>
                <a:gd name="connsiteY68" fmla="*/ 536575 h 616654"/>
                <a:gd name="connsiteX69" fmla="*/ 1041400 w 1273175"/>
                <a:gd name="connsiteY69" fmla="*/ 530225 h 616654"/>
                <a:gd name="connsiteX70" fmla="*/ 1044575 w 1273175"/>
                <a:gd name="connsiteY70" fmla="*/ 488950 h 616654"/>
                <a:gd name="connsiteX71" fmla="*/ 1054100 w 1273175"/>
                <a:gd name="connsiteY71" fmla="*/ 460375 h 616654"/>
                <a:gd name="connsiteX72" fmla="*/ 1057275 w 1273175"/>
                <a:gd name="connsiteY72" fmla="*/ 444500 h 616654"/>
                <a:gd name="connsiteX73" fmla="*/ 1069975 w 1273175"/>
                <a:gd name="connsiteY73" fmla="*/ 434975 h 616654"/>
                <a:gd name="connsiteX74" fmla="*/ 1085850 w 1273175"/>
                <a:gd name="connsiteY74" fmla="*/ 419100 h 616654"/>
                <a:gd name="connsiteX75" fmla="*/ 1089025 w 1273175"/>
                <a:gd name="connsiteY75" fmla="*/ 406400 h 616654"/>
                <a:gd name="connsiteX76" fmla="*/ 1111250 w 1273175"/>
                <a:gd name="connsiteY76" fmla="*/ 384175 h 616654"/>
                <a:gd name="connsiteX77" fmla="*/ 1127125 w 1273175"/>
                <a:gd name="connsiteY77" fmla="*/ 361950 h 616654"/>
                <a:gd name="connsiteX78" fmla="*/ 1139825 w 1273175"/>
                <a:gd name="connsiteY78" fmla="*/ 323850 h 616654"/>
                <a:gd name="connsiteX79" fmla="*/ 1152525 w 1273175"/>
                <a:gd name="connsiteY79" fmla="*/ 314325 h 616654"/>
                <a:gd name="connsiteX80" fmla="*/ 1168400 w 1273175"/>
                <a:gd name="connsiteY80" fmla="*/ 317500 h 616654"/>
                <a:gd name="connsiteX81" fmla="*/ 1177925 w 1273175"/>
                <a:gd name="connsiteY81" fmla="*/ 323850 h 616654"/>
                <a:gd name="connsiteX82" fmla="*/ 1187450 w 1273175"/>
                <a:gd name="connsiteY82" fmla="*/ 327025 h 616654"/>
                <a:gd name="connsiteX83" fmla="*/ 1222375 w 1273175"/>
                <a:gd name="connsiteY83" fmla="*/ 342900 h 616654"/>
                <a:gd name="connsiteX84" fmla="*/ 1260475 w 1273175"/>
                <a:gd name="connsiteY84" fmla="*/ 349250 h 616654"/>
                <a:gd name="connsiteX85" fmla="*/ 1270000 w 1273175"/>
                <a:gd name="connsiteY85" fmla="*/ 346075 h 616654"/>
                <a:gd name="connsiteX86" fmla="*/ 1273175 w 1273175"/>
                <a:gd name="connsiteY86" fmla="*/ 336550 h 616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73175" h="616654">
                  <a:moveTo>
                    <a:pt x="0" y="0"/>
                  </a:moveTo>
                  <a:cubicBezTo>
                    <a:pt x="17325" y="3465"/>
                    <a:pt x="24788" y="3510"/>
                    <a:pt x="41275" y="15875"/>
                  </a:cubicBezTo>
                  <a:cubicBezTo>
                    <a:pt x="45508" y="19050"/>
                    <a:pt x="49993" y="21915"/>
                    <a:pt x="53975" y="25400"/>
                  </a:cubicBezTo>
                  <a:cubicBezTo>
                    <a:pt x="58481" y="29342"/>
                    <a:pt x="61803" y="34620"/>
                    <a:pt x="66675" y="38100"/>
                  </a:cubicBezTo>
                  <a:cubicBezTo>
                    <a:pt x="69398" y="40045"/>
                    <a:pt x="73025" y="40217"/>
                    <a:pt x="76200" y="41275"/>
                  </a:cubicBezTo>
                  <a:cubicBezTo>
                    <a:pt x="80433" y="44450"/>
                    <a:pt x="85512" y="46735"/>
                    <a:pt x="88900" y="50800"/>
                  </a:cubicBezTo>
                  <a:cubicBezTo>
                    <a:pt x="90851" y="53141"/>
                    <a:pt x="94659" y="71843"/>
                    <a:pt x="95250" y="73025"/>
                  </a:cubicBezTo>
                  <a:cubicBezTo>
                    <a:pt x="97617" y="77758"/>
                    <a:pt x="101600" y="81492"/>
                    <a:pt x="104775" y="85725"/>
                  </a:cubicBezTo>
                  <a:cubicBezTo>
                    <a:pt x="108895" y="102205"/>
                    <a:pt x="108929" y="106243"/>
                    <a:pt x="120650" y="123825"/>
                  </a:cubicBezTo>
                  <a:cubicBezTo>
                    <a:pt x="122767" y="127000"/>
                    <a:pt x="124069" y="130907"/>
                    <a:pt x="127000" y="133350"/>
                  </a:cubicBezTo>
                  <a:cubicBezTo>
                    <a:pt x="130636" y="136380"/>
                    <a:pt x="135350" y="137836"/>
                    <a:pt x="139700" y="139700"/>
                  </a:cubicBezTo>
                  <a:cubicBezTo>
                    <a:pt x="142776" y="141018"/>
                    <a:pt x="146000" y="141979"/>
                    <a:pt x="149225" y="142875"/>
                  </a:cubicBezTo>
                  <a:cubicBezTo>
                    <a:pt x="165055" y="147272"/>
                    <a:pt x="180975" y="151342"/>
                    <a:pt x="196850" y="155575"/>
                  </a:cubicBezTo>
                  <a:cubicBezTo>
                    <a:pt x="202382" y="166639"/>
                    <a:pt x="205496" y="171988"/>
                    <a:pt x="209550" y="184150"/>
                  </a:cubicBezTo>
                  <a:cubicBezTo>
                    <a:pt x="210930" y="188290"/>
                    <a:pt x="211006" y="192839"/>
                    <a:pt x="212725" y="196850"/>
                  </a:cubicBezTo>
                  <a:cubicBezTo>
                    <a:pt x="214228" y="200357"/>
                    <a:pt x="217182" y="203062"/>
                    <a:pt x="219075" y="206375"/>
                  </a:cubicBezTo>
                  <a:cubicBezTo>
                    <a:pt x="235188" y="234573"/>
                    <a:pt x="216304" y="205394"/>
                    <a:pt x="231775" y="228600"/>
                  </a:cubicBezTo>
                  <a:cubicBezTo>
                    <a:pt x="232233" y="230890"/>
                    <a:pt x="235336" y="249816"/>
                    <a:pt x="238125" y="254000"/>
                  </a:cubicBezTo>
                  <a:cubicBezTo>
                    <a:pt x="240616" y="257736"/>
                    <a:pt x="244475" y="260350"/>
                    <a:pt x="247650" y="263525"/>
                  </a:cubicBezTo>
                  <a:cubicBezTo>
                    <a:pt x="251056" y="273743"/>
                    <a:pt x="252275" y="279697"/>
                    <a:pt x="260350" y="288925"/>
                  </a:cubicBezTo>
                  <a:cubicBezTo>
                    <a:pt x="263835" y="292907"/>
                    <a:pt x="268456" y="295825"/>
                    <a:pt x="273050" y="298450"/>
                  </a:cubicBezTo>
                  <a:cubicBezTo>
                    <a:pt x="275956" y="300110"/>
                    <a:pt x="279400" y="300567"/>
                    <a:pt x="282575" y="301625"/>
                  </a:cubicBezTo>
                  <a:cubicBezTo>
                    <a:pt x="313316" y="324681"/>
                    <a:pt x="274208" y="297442"/>
                    <a:pt x="314325" y="317500"/>
                  </a:cubicBezTo>
                  <a:cubicBezTo>
                    <a:pt x="346707" y="333691"/>
                    <a:pt x="308540" y="322404"/>
                    <a:pt x="339725" y="330200"/>
                  </a:cubicBezTo>
                  <a:cubicBezTo>
                    <a:pt x="349854" y="336277"/>
                    <a:pt x="359482" y="341313"/>
                    <a:pt x="368300" y="349250"/>
                  </a:cubicBezTo>
                  <a:cubicBezTo>
                    <a:pt x="374975" y="355257"/>
                    <a:pt x="382369" y="360828"/>
                    <a:pt x="387350" y="368300"/>
                  </a:cubicBezTo>
                  <a:cubicBezTo>
                    <a:pt x="397307" y="383235"/>
                    <a:pt x="404612" y="396279"/>
                    <a:pt x="425450" y="403225"/>
                  </a:cubicBezTo>
                  <a:lnTo>
                    <a:pt x="434975" y="406400"/>
                  </a:lnTo>
                  <a:cubicBezTo>
                    <a:pt x="438150" y="410633"/>
                    <a:pt x="440758" y="415358"/>
                    <a:pt x="444500" y="419100"/>
                  </a:cubicBezTo>
                  <a:cubicBezTo>
                    <a:pt x="451100" y="425700"/>
                    <a:pt x="460239" y="423239"/>
                    <a:pt x="450850" y="434975"/>
                  </a:cubicBezTo>
                  <a:cubicBezTo>
                    <a:pt x="448466" y="437955"/>
                    <a:pt x="444500" y="439208"/>
                    <a:pt x="441325" y="441325"/>
                  </a:cubicBezTo>
                  <a:cubicBezTo>
                    <a:pt x="439208" y="446617"/>
                    <a:pt x="439005" y="453170"/>
                    <a:pt x="434975" y="457200"/>
                  </a:cubicBezTo>
                  <a:cubicBezTo>
                    <a:pt x="413677" y="478498"/>
                    <a:pt x="427290" y="435302"/>
                    <a:pt x="419100" y="476250"/>
                  </a:cubicBezTo>
                  <a:cubicBezTo>
                    <a:pt x="422275" y="486833"/>
                    <a:pt x="421628" y="499448"/>
                    <a:pt x="428625" y="508000"/>
                  </a:cubicBezTo>
                  <a:cubicBezTo>
                    <a:pt x="432702" y="512982"/>
                    <a:pt x="441362" y="509912"/>
                    <a:pt x="447675" y="511175"/>
                  </a:cubicBezTo>
                  <a:cubicBezTo>
                    <a:pt x="451954" y="512031"/>
                    <a:pt x="456142" y="513292"/>
                    <a:pt x="460375" y="514350"/>
                  </a:cubicBezTo>
                  <a:cubicBezTo>
                    <a:pt x="463550" y="516467"/>
                    <a:pt x="466393" y="519197"/>
                    <a:pt x="469900" y="520700"/>
                  </a:cubicBezTo>
                  <a:cubicBezTo>
                    <a:pt x="473911" y="522419"/>
                    <a:pt x="479514" y="520789"/>
                    <a:pt x="482600" y="523875"/>
                  </a:cubicBezTo>
                  <a:cubicBezTo>
                    <a:pt x="485686" y="526961"/>
                    <a:pt x="482935" y="533262"/>
                    <a:pt x="485775" y="536575"/>
                  </a:cubicBezTo>
                  <a:cubicBezTo>
                    <a:pt x="489791" y="541260"/>
                    <a:pt x="496255" y="543103"/>
                    <a:pt x="501650" y="546100"/>
                  </a:cubicBezTo>
                  <a:cubicBezTo>
                    <a:pt x="519806" y="556187"/>
                    <a:pt x="510374" y="548741"/>
                    <a:pt x="530225" y="561975"/>
                  </a:cubicBezTo>
                  <a:cubicBezTo>
                    <a:pt x="534628" y="564910"/>
                    <a:pt x="538012" y="569535"/>
                    <a:pt x="542925" y="571500"/>
                  </a:cubicBezTo>
                  <a:cubicBezTo>
                    <a:pt x="548902" y="573891"/>
                    <a:pt x="555730" y="573114"/>
                    <a:pt x="561975" y="574675"/>
                  </a:cubicBezTo>
                  <a:cubicBezTo>
                    <a:pt x="596249" y="583243"/>
                    <a:pt x="567448" y="577521"/>
                    <a:pt x="593725" y="587375"/>
                  </a:cubicBezTo>
                  <a:cubicBezTo>
                    <a:pt x="598849" y="589297"/>
                    <a:pt x="617989" y="592863"/>
                    <a:pt x="622300" y="593725"/>
                  </a:cubicBezTo>
                  <a:cubicBezTo>
                    <a:pt x="630767" y="599017"/>
                    <a:pt x="638770" y="605135"/>
                    <a:pt x="647700" y="609600"/>
                  </a:cubicBezTo>
                  <a:cubicBezTo>
                    <a:pt x="672432" y="621966"/>
                    <a:pt x="686465" y="614718"/>
                    <a:pt x="717550" y="612775"/>
                  </a:cubicBezTo>
                  <a:cubicBezTo>
                    <a:pt x="721783" y="610658"/>
                    <a:pt x="726903" y="609772"/>
                    <a:pt x="730250" y="606425"/>
                  </a:cubicBezTo>
                  <a:cubicBezTo>
                    <a:pt x="732617" y="604058"/>
                    <a:pt x="731058" y="599267"/>
                    <a:pt x="733425" y="596900"/>
                  </a:cubicBezTo>
                  <a:cubicBezTo>
                    <a:pt x="736772" y="593553"/>
                    <a:pt x="741892" y="592667"/>
                    <a:pt x="746125" y="590550"/>
                  </a:cubicBezTo>
                  <a:cubicBezTo>
                    <a:pt x="757767" y="573088"/>
                    <a:pt x="746125" y="587904"/>
                    <a:pt x="762000" y="574675"/>
                  </a:cubicBezTo>
                  <a:cubicBezTo>
                    <a:pt x="777855" y="561462"/>
                    <a:pt x="764311" y="567555"/>
                    <a:pt x="781050" y="561975"/>
                  </a:cubicBezTo>
                  <a:cubicBezTo>
                    <a:pt x="783167" y="558800"/>
                    <a:pt x="785693" y="555863"/>
                    <a:pt x="787400" y="552450"/>
                  </a:cubicBezTo>
                  <a:cubicBezTo>
                    <a:pt x="788897" y="549457"/>
                    <a:pt x="789257" y="546001"/>
                    <a:pt x="790575" y="542925"/>
                  </a:cubicBezTo>
                  <a:cubicBezTo>
                    <a:pt x="792439" y="538575"/>
                    <a:pt x="794808" y="534458"/>
                    <a:pt x="796925" y="530225"/>
                  </a:cubicBezTo>
                  <a:cubicBezTo>
                    <a:pt x="798650" y="521601"/>
                    <a:pt x="800366" y="503766"/>
                    <a:pt x="809625" y="498475"/>
                  </a:cubicBezTo>
                  <a:cubicBezTo>
                    <a:pt x="813414" y="496310"/>
                    <a:pt x="818092" y="500592"/>
                    <a:pt x="822325" y="501650"/>
                  </a:cubicBezTo>
                  <a:cubicBezTo>
                    <a:pt x="824442" y="505883"/>
                    <a:pt x="824889" y="511510"/>
                    <a:pt x="828675" y="514350"/>
                  </a:cubicBezTo>
                  <a:cubicBezTo>
                    <a:pt x="834030" y="518366"/>
                    <a:pt x="841985" y="517256"/>
                    <a:pt x="847725" y="520700"/>
                  </a:cubicBezTo>
                  <a:cubicBezTo>
                    <a:pt x="853017" y="523875"/>
                    <a:pt x="858080" y="527465"/>
                    <a:pt x="863600" y="530225"/>
                  </a:cubicBezTo>
                  <a:cubicBezTo>
                    <a:pt x="871416" y="534133"/>
                    <a:pt x="884858" y="535356"/>
                    <a:pt x="892175" y="536575"/>
                  </a:cubicBezTo>
                  <a:cubicBezTo>
                    <a:pt x="902758" y="534458"/>
                    <a:pt x="913454" y="532843"/>
                    <a:pt x="923925" y="530225"/>
                  </a:cubicBezTo>
                  <a:cubicBezTo>
                    <a:pt x="930419" y="528602"/>
                    <a:pt x="942975" y="523875"/>
                    <a:pt x="942975" y="523875"/>
                  </a:cubicBezTo>
                  <a:lnTo>
                    <a:pt x="955675" y="542925"/>
                  </a:lnTo>
                  <a:cubicBezTo>
                    <a:pt x="957792" y="546100"/>
                    <a:pt x="958612" y="550743"/>
                    <a:pt x="962025" y="552450"/>
                  </a:cubicBezTo>
                  <a:cubicBezTo>
                    <a:pt x="968375" y="555625"/>
                    <a:pt x="975168" y="558037"/>
                    <a:pt x="981075" y="561975"/>
                  </a:cubicBezTo>
                  <a:cubicBezTo>
                    <a:pt x="1004858" y="577830"/>
                    <a:pt x="977477" y="567126"/>
                    <a:pt x="1000125" y="574675"/>
                  </a:cubicBezTo>
                  <a:cubicBezTo>
                    <a:pt x="1008592" y="572558"/>
                    <a:pt x="1019938" y="575029"/>
                    <a:pt x="1025525" y="568325"/>
                  </a:cubicBezTo>
                  <a:cubicBezTo>
                    <a:pt x="1032434" y="560034"/>
                    <a:pt x="1027724" y="546538"/>
                    <a:pt x="1031875" y="536575"/>
                  </a:cubicBezTo>
                  <a:cubicBezTo>
                    <a:pt x="1033343" y="533053"/>
                    <a:pt x="1038225" y="532342"/>
                    <a:pt x="1041400" y="530225"/>
                  </a:cubicBezTo>
                  <a:cubicBezTo>
                    <a:pt x="1058049" y="488601"/>
                    <a:pt x="1037782" y="546693"/>
                    <a:pt x="1044575" y="488950"/>
                  </a:cubicBezTo>
                  <a:cubicBezTo>
                    <a:pt x="1045748" y="478979"/>
                    <a:pt x="1052131" y="470220"/>
                    <a:pt x="1054100" y="460375"/>
                  </a:cubicBezTo>
                  <a:cubicBezTo>
                    <a:pt x="1055158" y="455083"/>
                    <a:pt x="1054415" y="449076"/>
                    <a:pt x="1057275" y="444500"/>
                  </a:cubicBezTo>
                  <a:cubicBezTo>
                    <a:pt x="1060080" y="440013"/>
                    <a:pt x="1066233" y="438717"/>
                    <a:pt x="1069975" y="434975"/>
                  </a:cubicBezTo>
                  <a:cubicBezTo>
                    <a:pt x="1091142" y="413808"/>
                    <a:pt x="1060450" y="436033"/>
                    <a:pt x="1085850" y="419100"/>
                  </a:cubicBezTo>
                  <a:cubicBezTo>
                    <a:pt x="1086908" y="414867"/>
                    <a:pt x="1087306" y="410411"/>
                    <a:pt x="1089025" y="406400"/>
                  </a:cubicBezTo>
                  <a:cubicBezTo>
                    <a:pt x="1094408" y="393839"/>
                    <a:pt x="1100788" y="394637"/>
                    <a:pt x="1111250" y="384175"/>
                  </a:cubicBezTo>
                  <a:cubicBezTo>
                    <a:pt x="1115188" y="380237"/>
                    <a:pt x="1123519" y="367358"/>
                    <a:pt x="1127125" y="361950"/>
                  </a:cubicBezTo>
                  <a:cubicBezTo>
                    <a:pt x="1129242" y="349249"/>
                    <a:pt x="1129931" y="333744"/>
                    <a:pt x="1139825" y="323850"/>
                  </a:cubicBezTo>
                  <a:cubicBezTo>
                    <a:pt x="1143567" y="320108"/>
                    <a:pt x="1148292" y="317500"/>
                    <a:pt x="1152525" y="314325"/>
                  </a:cubicBezTo>
                  <a:cubicBezTo>
                    <a:pt x="1157817" y="315383"/>
                    <a:pt x="1163347" y="315605"/>
                    <a:pt x="1168400" y="317500"/>
                  </a:cubicBezTo>
                  <a:cubicBezTo>
                    <a:pt x="1171973" y="318840"/>
                    <a:pt x="1174512" y="322143"/>
                    <a:pt x="1177925" y="323850"/>
                  </a:cubicBezTo>
                  <a:cubicBezTo>
                    <a:pt x="1180918" y="325347"/>
                    <a:pt x="1184275" y="325967"/>
                    <a:pt x="1187450" y="327025"/>
                  </a:cubicBezTo>
                  <a:cubicBezTo>
                    <a:pt x="1201615" y="341190"/>
                    <a:pt x="1195595" y="338437"/>
                    <a:pt x="1222375" y="342900"/>
                  </a:cubicBezTo>
                  <a:lnTo>
                    <a:pt x="1260475" y="349250"/>
                  </a:lnTo>
                  <a:cubicBezTo>
                    <a:pt x="1263650" y="348192"/>
                    <a:pt x="1267633" y="348442"/>
                    <a:pt x="1270000" y="346075"/>
                  </a:cubicBezTo>
                  <a:cubicBezTo>
                    <a:pt x="1272367" y="343708"/>
                    <a:pt x="1273175" y="336550"/>
                    <a:pt x="1273175" y="336550"/>
                  </a:cubicBezTo>
                </a:path>
              </a:pathLst>
            </a:cu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42" name="Volný tvar: obrazec 41">
              <a:extLst>
                <a:ext uri="{FF2B5EF4-FFF2-40B4-BE49-F238E27FC236}">
                  <a16:creationId xmlns:a16="http://schemas.microsoft.com/office/drawing/2014/main" id="{6922AA06-8C5C-8EDB-9D6A-B23E14BA572C}"/>
                </a:ext>
              </a:extLst>
            </p:cNvPr>
            <p:cNvSpPr/>
            <p:nvPr/>
          </p:nvSpPr>
          <p:spPr>
            <a:xfrm>
              <a:off x="7296852" y="4206075"/>
              <a:ext cx="1049611" cy="125976"/>
            </a:xfrm>
            <a:custGeom>
              <a:avLst/>
              <a:gdLst>
                <a:gd name="connsiteX0" fmla="*/ 0 w 1012825"/>
                <a:gd name="connsiteY0" fmla="*/ 76200 h 123825"/>
                <a:gd name="connsiteX1" fmla="*/ 57150 w 1012825"/>
                <a:gd name="connsiteY1" fmla="*/ 73025 h 123825"/>
                <a:gd name="connsiteX2" fmla="*/ 66675 w 1012825"/>
                <a:gd name="connsiteY2" fmla="*/ 69850 h 123825"/>
                <a:gd name="connsiteX3" fmla="*/ 101600 w 1012825"/>
                <a:gd name="connsiteY3" fmla="*/ 79375 h 123825"/>
                <a:gd name="connsiteX4" fmla="*/ 111125 w 1012825"/>
                <a:gd name="connsiteY4" fmla="*/ 92075 h 123825"/>
                <a:gd name="connsiteX5" fmla="*/ 146050 w 1012825"/>
                <a:gd name="connsiteY5" fmla="*/ 104775 h 123825"/>
                <a:gd name="connsiteX6" fmla="*/ 184150 w 1012825"/>
                <a:gd name="connsiteY6" fmla="*/ 101600 h 123825"/>
                <a:gd name="connsiteX7" fmla="*/ 203200 w 1012825"/>
                <a:gd name="connsiteY7" fmla="*/ 79375 h 123825"/>
                <a:gd name="connsiteX8" fmla="*/ 219075 w 1012825"/>
                <a:gd name="connsiteY8" fmla="*/ 60325 h 123825"/>
                <a:gd name="connsiteX9" fmla="*/ 222250 w 1012825"/>
                <a:gd name="connsiteY9" fmla="*/ 50800 h 123825"/>
                <a:gd name="connsiteX10" fmla="*/ 225425 w 1012825"/>
                <a:gd name="connsiteY10" fmla="*/ 38100 h 123825"/>
                <a:gd name="connsiteX11" fmla="*/ 238125 w 1012825"/>
                <a:gd name="connsiteY11" fmla="*/ 34925 h 123825"/>
                <a:gd name="connsiteX12" fmla="*/ 250825 w 1012825"/>
                <a:gd name="connsiteY12" fmla="*/ 38100 h 123825"/>
                <a:gd name="connsiteX13" fmla="*/ 266700 w 1012825"/>
                <a:gd name="connsiteY13" fmla="*/ 69850 h 123825"/>
                <a:gd name="connsiteX14" fmla="*/ 301625 w 1012825"/>
                <a:gd name="connsiteY14" fmla="*/ 85725 h 123825"/>
                <a:gd name="connsiteX15" fmla="*/ 365125 w 1012825"/>
                <a:gd name="connsiteY15" fmla="*/ 79375 h 123825"/>
                <a:gd name="connsiteX16" fmla="*/ 377825 w 1012825"/>
                <a:gd name="connsiteY16" fmla="*/ 76200 h 123825"/>
                <a:gd name="connsiteX17" fmla="*/ 384175 w 1012825"/>
                <a:gd name="connsiteY17" fmla="*/ 66675 h 123825"/>
                <a:gd name="connsiteX18" fmla="*/ 403225 w 1012825"/>
                <a:gd name="connsiteY18" fmla="*/ 53975 h 123825"/>
                <a:gd name="connsiteX19" fmla="*/ 425450 w 1012825"/>
                <a:gd name="connsiteY19" fmla="*/ 41275 h 123825"/>
                <a:gd name="connsiteX20" fmla="*/ 457200 w 1012825"/>
                <a:gd name="connsiteY20" fmla="*/ 44450 h 123825"/>
                <a:gd name="connsiteX21" fmla="*/ 476250 w 1012825"/>
                <a:gd name="connsiteY21" fmla="*/ 73025 h 123825"/>
                <a:gd name="connsiteX22" fmla="*/ 485775 w 1012825"/>
                <a:gd name="connsiteY22" fmla="*/ 79375 h 123825"/>
                <a:gd name="connsiteX23" fmla="*/ 508000 w 1012825"/>
                <a:gd name="connsiteY23" fmla="*/ 85725 h 123825"/>
                <a:gd name="connsiteX24" fmla="*/ 533400 w 1012825"/>
                <a:gd name="connsiteY24" fmla="*/ 82550 h 123825"/>
                <a:gd name="connsiteX25" fmla="*/ 542925 w 1012825"/>
                <a:gd name="connsiteY25" fmla="*/ 79375 h 123825"/>
                <a:gd name="connsiteX26" fmla="*/ 561975 w 1012825"/>
                <a:gd name="connsiteY26" fmla="*/ 76200 h 123825"/>
                <a:gd name="connsiteX27" fmla="*/ 574675 w 1012825"/>
                <a:gd name="connsiteY27" fmla="*/ 69850 h 123825"/>
                <a:gd name="connsiteX28" fmla="*/ 609600 w 1012825"/>
                <a:gd name="connsiteY28" fmla="*/ 82550 h 123825"/>
                <a:gd name="connsiteX29" fmla="*/ 641350 w 1012825"/>
                <a:gd name="connsiteY29" fmla="*/ 88900 h 123825"/>
                <a:gd name="connsiteX30" fmla="*/ 654050 w 1012825"/>
                <a:gd name="connsiteY30" fmla="*/ 95250 h 123825"/>
                <a:gd name="connsiteX31" fmla="*/ 698500 w 1012825"/>
                <a:gd name="connsiteY31" fmla="*/ 95250 h 123825"/>
                <a:gd name="connsiteX32" fmla="*/ 708025 w 1012825"/>
                <a:gd name="connsiteY32" fmla="*/ 92075 h 123825"/>
                <a:gd name="connsiteX33" fmla="*/ 723900 w 1012825"/>
                <a:gd name="connsiteY33" fmla="*/ 114300 h 123825"/>
                <a:gd name="connsiteX34" fmla="*/ 736600 w 1012825"/>
                <a:gd name="connsiteY34" fmla="*/ 123825 h 123825"/>
                <a:gd name="connsiteX35" fmla="*/ 787400 w 1012825"/>
                <a:gd name="connsiteY35" fmla="*/ 117475 h 123825"/>
                <a:gd name="connsiteX36" fmla="*/ 793750 w 1012825"/>
                <a:gd name="connsiteY36" fmla="*/ 107950 h 123825"/>
                <a:gd name="connsiteX37" fmla="*/ 803275 w 1012825"/>
                <a:gd name="connsiteY37" fmla="*/ 101600 h 123825"/>
                <a:gd name="connsiteX38" fmla="*/ 812800 w 1012825"/>
                <a:gd name="connsiteY38" fmla="*/ 92075 h 123825"/>
                <a:gd name="connsiteX39" fmla="*/ 838200 w 1012825"/>
                <a:gd name="connsiteY39" fmla="*/ 76200 h 123825"/>
                <a:gd name="connsiteX40" fmla="*/ 841375 w 1012825"/>
                <a:gd name="connsiteY40" fmla="*/ 66675 h 123825"/>
                <a:gd name="connsiteX41" fmla="*/ 854075 w 1012825"/>
                <a:gd name="connsiteY41" fmla="*/ 41275 h 123825"/>
                <a:gd name="connsiteX42" fmla="*/ 860425 w 1012825"/>
                <a:gd name="connsiteY42" fmla="*/ 22225 h 123825"/>
                <a:gd name="connsiteX43" fmla="*/ 863600 w 1012825"/>
                <a:gd name="connsiteY43" fmla="*/ 12700 h 123825"/>
                <a:gd name="connsiteX44" fmla="*/ 882650 w 1012825"/>
                <a:gd name="connsiteY44" fmla="*/ 0 h 123825"/>
                <a:gd name="connsiteX45" fmla="*/ 917575 w 1012825"/>
                <a:gd name="connsiteY45" fmla="*/ 19050 h 123825"/>
                <a:gd name="connsiteX46" fmla="*/ 933450 w 1012825"/>
                <a:gd name="connsiteY46" fmla="*/ 25400 h 123825"/>
                <a:gd name="connsiteX47" fmla="*/ 952500 w 1012825"/>
                <a:gd name="connsiteY47" fmla="*/ 38100 h 123825"/>
                <a:gd name="connsiteX48" fmla="*/ 977900 w 1012825"/>
                <a:gd name="connsiteY48" fmla="*/ 47625 h 123825"/>
                <a:gd name="connsiteX49" fmla="*/ 987425 w 1012825"/>
                <a:gd name="connsiteY49" fmla="*/ 79375 h 123825"/>
                <a:gd name="connsiteX50" fmla="*/ 990600 w 1012825"/>
                <a:gd name="connsiteY50" fmla="*/ 88900 h 123825"/>
                <a:gd name="connsiteX51" fmla="*/ 1009650 w 1012825"/>
                <a:gd name="connsiteY51" fmla="*/ 98425 h 123825"/>
                <a:gd name="connsiteX52" fmla="*/ 1012825 w 1012825"/>
                <a:gd name="connsiteY52" fmla="*/ 101600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1012825" h="123825">
                  <a:moveTo>
                    <a:pt x="0" y="76200"/>
                  </a:moveTo>
                  <a:cubicBezTo>
                    <a:pt x="19050" y="75142"/>
                    <a:pt x="38157" y="74834"/>
                    <a:pt x="57150" y="73025"/>
                  </a:cubicBezTo>
                  <a:cubicBezTo>
                    <a:pt x="60482" y="72708"/>
                    <a:pt x="63362" y="69377"/>
                    <a:pt x="66675" y="69850"/>
                  </a:cubicBezTo>
                  <a:cubicBezTo>
                    <a:pt x="78621" y="71557"/>
                    <a:pt x="89958" y="76200"/>
                    <a:pt x="101600" y="79375"/>
                  </a:cubicBezTo>
                  <a:cubicBezTo>
                    <a:pt x="104775" y="83608"/>
                    <a:pt x="107143" y="88590"/>
                    <a:pt x="111125" y="92075"/>
                  </a:cubicBezTo>
                  <a:cubicBezTo>
                    <a:pt x="124214" y="103528"/>
                    <a:pt x="129578" y="102030"/>
                    <a:pt x="146050" y="104775"/>
                  </a:cubicBezTo>
                  <a:cubicBezTo>
                    <a:pt x="158750" y="103717"/>
                    <a:pt x="171653" y="104099"/>
                    <a:pt x="184150" y="101600"/>
                  </a:cubicBezTo>
                  <a:cubicBezTo>
                    <a:pt x="194261" y="99578"/>
                    <a:pt x="199067" y="85987"/>
                    <a:pt x="203200" y="79375"/>
                  </a:cubicBezTo>
                  <a:cubicBezTo>
                    <a:pt x="210567" y="67587"/>
                    <a:pt x="208586" y="70814"/>
                    <a:pt x="219075" y="60325"/>
                  </a:cubicBezTo>
                  <a:cubicBezTo>
                    <a:pt x="220133" y="57150"/>
                    <a:pt x="221331" y="54018"/>
                    <a:pt x="222250" y="50800"/>
                  </a:cubicBezTo>
                  <a:cubicBezTo>
                    <a:pt x="223449" y="46604"/>
                    <a:pt x="222339" y="41186"/>
                    <a:pt x="225425" y="38100"/>
                  </a:cubicBezTo>
                  <a:cubicBezTo>
                    <a:pt x="228511" y="35014"/>
                    <a:pt x="233892" y="35983"/>
                    <a:pt x="238125" y="34925"/>
                  </a:cubicBezTo>
                  <a:cubicBezTo>
                    <a:pt x="242358" y="35983"/>
                    <a:pt x="247739" y="35014"/>
                    <a:pt x="250825" y="38100"/>
                  </a:cubicBezTo>
                  <a:cubicBezTo>
                    <a:pt x="266027" y="53302"/>
                    <a:pt x="233782" y="55742"/>
                    <a:pt x="266700" y="69850"/>
                  </a:cubicBezTo>
                  <a:cubicBezTo>
                    <a:pt x="293275" y="81239"/>
                    <a:pt x="281716" y="75770"/>
                    <a:pt x="301625" y="85725"/>
                  </a:cubicBezTo>
                  <a:cubicBezTo>
                    <a:pt x="312805" y="84709"/>
                    <a:pt x="352223" y="81360"/>
                    <a:pt x="365125" y="79375"/>
                  </a:cubicBezTo>
                  <a:cubicBezTo>
                    <a:pt x="369438" y="78711"/>
                    <a:pt x="373592" y="77258"/>
                    <a:pt x="377825" y="76200"/>
                  </a:cubicBezTo>
                  <a:cubicBezTo>
                    <a:pt x="379942" y="73025"/>
                    <a:pt x="381303" y="69188"/>
                    <a:pt x="384175" y="66675"/>
                  </a:cubicBezTo>
                  <a:cubicBezTo>
                    <a:pt x="389918" y="61649"/>
                    <a:pt x="396875" y="58208"/>
                    <a:pt x="403225" y="53975"/>
                  </a:cubicBezTo>
                  <a:cubicBezTo>
                    <a:pt x="416688" y="45000"/>
                    <a:pt x="409337" y="49332"/>
                    <a:pt x="425450" y="41275"/>
                  </a:cubicBezTo>
                  <a:cubicBezTo>
                    <a:pt x="436033" y="42333"/>
                    <a:pt x="447687" y="39693"/>
                    <a:pt x="457200" y="44450"/>
                  </a:cubicBezTo>
                  <a:cubicBezTo>
                    <a:pt x="488950" y="60325"/>
                    <a:pt x="457200" y="60325"/>
                    <a:pt x="476250" y="73025"/>
                  </a:cubicBezTo>
                  <a:cubicBezTo>
                    <a:pt x="479425" y="75142"/>
                    <a:pt x="482362" y="77668"/>
                    <a:pt x="485775" y="79375"/>
                  </a:cubicBezTo>
                  <a:cubicBezTo>
                    <a:pt x="490330" y="81652"/>
                    <a:pt x="503931" y="84708"/>
                    <a:pt x="508000" y="85725"/>
                  </a:cubicBezTo>
                  <a:cubicBezTo>
                    <a:pt x="516467" y="84667"/>
                    <a:pt x="525005" y="84076"/>
                    <a:pt x="533400" y="82550"/>
                  </a:cubicBezTo>
                  <a:cubicBezTo>
                    <a:pt x="536693" y="81951"/>
                    <a:pt x="539658" y="80101"/>
                    <a:pt x="542925" y="79375"/>
                  </a:cubicBezTo>
                  <a:cubicBezTo>
                    <a:pt x="549209" y="77978"/>
                    <a:pt x="555625" y="77258"/>
                    <a:pt x="561975" y="76200"/>
                  </a:cubicBezTo>
                  <a:cubicBezTo>
                    <a:pt x="566208" y="74083"/>
                    <a:pt x="569942" y="69850"/>
                    <a:pt x="574675" y="69850"/>
                  </a:cubicBezTo>
                  <a:cubicBezTo>
                    <a:pt x="624923" y="69850"/>
                    <a:pt x="583568" y="74540"/>
                    <a:pt x="609600" y="82550"/>
                  </a:cubicBezTo>
                  <a:cubicBezTo>
                    <a:pt x="619916" y="85724"/>
                    <a:pt x="641350" y="88900"/>
                    <a:pt x="641350" y="88900"/>
                  </a:cubicBezTo>
                  <a:cubicBezTo>
                    <a:pt x="645583" y="91017"/>
                    <a:pt x="649517" y="93890"/>
                    <a:pt x="654050" y="95250"/>
                  </a:cubicBezTo>
                  <a:cubicBezTo>
                    <a:pt x="672900" y="100905"/>
                    <a:pt x="678133" y="97796"/>
                    <a:pt x="698500" y="95250"/>
                  </a:cubicBezTo>
                  <a:cubicBezTo>
                    <a:pt x="701675" y="94192"/>
                    <a:pt x="704850" y="91017"/>
                    <a:pt x="708025" y="92075"/>
                  </a:cubicBezTo>
                  <a:cubicBezTo>
                    <a:pt x="718528" y="95576"/>
                    <a:pt x="718038" y="107461"/>
                    <a:pt x="723900" y="114300"/>
                  </a:cubicBezTo>
                  <a:cubicBezTo>
                    <a:pt x="727344" y="118318"/>
                    <a:pt x="732367" y="120650"/>
                    <a:pt x="736600" y="123825"/>
                  </a:cubicBezTo>
                  <a:cubicBezTo>
                    <a:pt x="753533" y="121708"/>
                    <a:pt x="770957" y="122042"/>
                    <a:pt x="787400" y="117475"/>
                  </a:cubicBezTo>
                  <a:cubicBezTo>
                    <a:pt x="791077" y="116454"/>
                    <a:pt x="791052" y="110648"/>
                    <a:pt x="793750" y="107950"/>
                  </a:cubicBezTo>
                  <a:cubicBezTo>
                    <a:pt x="796448" y="105252"/>
                    <a:pt x="800344" y="104043"/>
                    <a:pt x="803275" y="101600"/>
                  </a:cubicBezTo>
                  <a:cubicBezTo>
                    <a:pt x="806724" y="98725"/>
                    <a:pt x="809169" y="94716"/>
                    <a:pt x="812800" y="92075"/>
                  </a:cubicBezTo>
                  <a:cubicBezTo>
                    <a:pt x="820875" y="86203"/>
                    <a:pt x="838200" y="76200"/>
                    <a:pt x="838200" y="76200"/>
                  </a:cubicBezTo>
                  <a:cubicBezTo>
                    <a:pt x="839258" y="73025"/>
                    <a:pt x="839990" y="69722"/>
                    <a:pt x="841375" y="66675"/>
                  </a:cubicBezTo>
                  <a:cubicBezTo>
                    <a:pt x="845292" y="58057"/>
                    <a:pt x="851082" y="50255"/>
                    <a:pt x="854075" y="41275"/>
                  </a:cubicBezTo>
                  <a:lnTo>
                    <a:pt x="860425" y="22225"/>
                  </a:lnTo>
                  <a:cubicBezTo>
                    <a:pt x="861483" y="19050"/>
                    <a:pt x="860815" y="14556"/>
                    <a:pt x="863600" y="12700"/>
                  </a:cubicBezTo>
                  <a:lnTo>
                    <a:pt x="882650" y="0"/>
                  </a:lnTo>
                  <a:cubicBezTo>
                    <a:pt x="931068" y="13834"/>
                    <a:pt x="883547" y="-3635"/>
                    <a:pt x="917575" y="19050"/>
                  </a:cubicBezTo>
                  <a:cubicBezTo>
                    <a:pt x="922317" y="22211"/>
                    <a:pt x="928447" y="22671"/>
                    <a:pt x="933450" y="25400"/>
                  </a:cubicBezTo>
                  <a:cubicBezTo>
                    <a:pt x="940150" y="29054"/>
                    <a:pt x="945096" y="36249"/>
                    <a:pt x="952500" y="38100"/>
                  </a:cubicBezTo>
                  <a:cubicBezTo>
                    <a:pt x="969792" y="42423"/>
                    <a:pt x="961297" y="39324"/>
                    <a:pt x="977900" y="47625"/>
                  </a:cubicBezTo>
                  <a:cubicBezTo>
                    <a:pt x="982994" y="78191"/>
                    <a:pt x="977357" y="55883"/>
                    <a:pt x="987425" y="79375"/>
                  </a:cubicBezTo>
                  <a:cubicBezTo>
                    <a:pt x="988743" y="82451"/>
                    <a:pt x="988509" y="86287"/>
                    <a:pt x="990600" y="88900"/>
                  </a:cubicBezTo>
                  <a:cubicBezTo>
                    <a:pt x="996666" y="96483"/>
                    <a:pt x="1001981" y="94590"/>
                    <a:pt x="1009650" y="98425"/>
                  </a:cubicBezTo>
                  <a:cubicBezTo>
                    <a:pt x="1010989" y="99094"/>
                    <a:pt x="1011767" y="100542"/>
                    <a:pt x="1012825" y="101600"/>
                  </a:cubicBezTo>
                </a:path>
              </a:pathLst>
            </a:cu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45" name="Volný tvar: obrazec 44">
              <a:extLst>
                <a:ext uri="{FF2B5EF4-FFF2-40B4-BE49-F238E27FC236}">
                  <a16:creationId xmlns:a16="http://schemas.microsoft.com/office/drawing/2014/main" id="{ED038070-11AB-3A04-784E-AE6FEE76A1AD}"/>
                </a:ext>
              </a:extLst>
            </p:cNvPr>
            <p:cNvSpPr/>
            <p:nvPr/>
          </p:nvSpPr>
          <p:spPr>
            <a:xfrm>
              <a:off x="8313560" y="4312670"/>
              <a:ext cx="582386" cy="591119"/>
            </a:xfrm>
            <a:custGeom>
              <a:avLst/>
              <a:gdLst>
                <a:gd name="connsiteX0" fmla="*/ 28575 w 561975"/>
                <a:gd name="connsiteY0" fmla="*/ 0 h 581025"/>
                <a:gd name="connsiteX1" fmla="*/ 19050 w 561975"/>
                <a:gd name="connsiteY1" fmla="*/ 15875 h 581025"/>
                <a:gd name="connsiteX2" fmla="*/ 25400 w 561975"/>
                <a:gd name="connsiteY2" fmla="*/ 76200 h 581025"/>
                <a:gd name="connsiteX3" fmla="*/ 22225 w 561975"/>
                <a:gd name="connsiteY3" fmla="*/ 111125 h 581025"/>
                <a:gd name="connsiteX4" fmla="*/ 12700 w 561975"/>
                <a:gd name="connsiteY4" fmla="*/ 133350 h 581025"/>
                <a:gd name="connsiteX5" fmla="*/ 9525 w 561975"/>
                <a:gd name="connsiteY5" fmla="*/ 142875 h 581025"/>
                <a:gd name="connsiteX6" fmla="*/ 6350 w 561975"/>
                <a:gd name="connsiteY6" fmla="*/ 177800 h 581025"/>
                <a:gd name="connsiteX7" fmla="*/ 0 w 561975"/>
                <a:gd name="connsiteY7" fmla="*/ 196850 h 581025"/>
                <a:gd name="connsiteX8" fmla="*/ 6350 w 561975"/>
                <a:gd name="connsiteY8" fmla="*/ 222250 h 581025"/>
                <a:gd name="connsiteX9" fmla="*/ 22225 w 561975"/>
                <a:gd name="connsiteY9" fmla="*/ 228600 h 581025"/>
                <a:gd name="connsiteX10" fmla="*/ 19050 w 561975"/>
                <a:gd name="connsiteY10" fmla="*/ 244475 h 581025"/>
                <a:gd name="connsiteX11" fmla="*/ 15875 w 561975"/>
                <a:gd name="connsiteY11" fmla="*/ 273050 h 581025"/>
                <a:gd name="connsiteX12" fmla="*/ 19050 w 561975"/>
                <a:gd name="connsiteY12" fmla="*/ 304800 h 581025"/>
                <a:gd name="connsiteX13" fmla="*/ 47625 w 561975"/>
                <a:gd name="connsiteY13" fmla="*/ 314325 h 581025"/>
                <a:gd name="connsiteX14" fmla="*/ 60325 w 561975"/>
                <a:gd name="connsiteY14" fmla="*/ 333375 h 581025"/>
                <a:gd name="connsiteX15" fmla="*/ 69850 w 561975"/>
                <a:gd name="connsiteY15" fmla="*/ 346075 h 581025"/>
                <a:gd name="connsiteX16" fmla="*/ 82550 w 561975"/>
                <a:gd name="connsiteY16" fmla="*/ 349250 h 581025"/>
                <a:gd name="connsiteX17" fmla="*/ 101600 w 561975"/>
                <a:gd name="connsiteY17" fmla="*/ 346075 h 581025"/>
                <a:gd name="connsiteX18" fmla="*/ 111125 w 561975"/>
                <a:gd name="connsiteY18" fmla="*/ 339725 h 581025"/>
                <a:gd name="connsiteX19" fmla="*/ 133350 w 561975"/>
                <a:gd name="connsiteY19" fmla="*/ 346075 h 581025"/>
                <a:gd name="connsiteX20" fmla="*/ 146050 w 561975"/>
                <a:gd name="connsiteY20" fmla="*/ 355600 h 581025"/>
                <a:gd name="connsiteX21" fmla="*/ 158750 w 561975"/>
                <a:gd name="connsiteY21" fmla="*/ 361950 h 581025"/>
                <a:gd name="connsiteX22" fmla="*/ 168275 w 561975"/>
                <a:gd name="connsiteY22" fmla="*/ 374650 h 581025"/>
                <a:gd name="connsiteX23" fmla="*/ 171450 w 561975"/>
                <a:gd name="connsiteY23" fmla="*/ 384175 h 581025"/>
                <a:gd name="connsiteX24" fmla="*/ 168275 w 561975"/>
                <a:gd name="connsiteY24" fmla="*/ 393700 h 581025"/>
                <a:gd name="connsiteX25" fmla="*/ 177800 w 561975"/>
                <a:gd name="connsiteY25" fmla="*/ 396875 h 581025"/>
                <a:gd name="connsiteX26" fmla="*/ 196850 w 561975"/>
                <a:gd name="connsiteY26" fmla="*/ 400050 h 581025"/>
                <a:gd name="connsiteX27" fmla="*/ 203200 w 561975"/>
                <a:gd name="connsiteY27" fmla="*/ 422275 h 581025"/>
                <a:gd name="connsiteX28" fmla="*/ 225425 w 561975"/>
                <a:gd name="connsiteY28" fmla="*/ 441325 h 581025"/>
                <a:gd name="connsiteX29" fmla="*/ 247650 w 561975"/>
                <a:gd name="connsiteY29" fmla="*/ 428625 h 581025"/>
                <a:gd name="connsiteX30" fmla="*/ 301625 w 561975"/>
                <a:gd name="connsiteY30" fmla="*/ 434975 h 581025"/>
                <a:gd name="connsiteX31" fmla="*/ 307975 w 561975"/>
                <a:gd name="connsiteY31" fmla="*/ 444500 h 581025"/>
                <a:gd name="connsiteX32" fmla="*/ 365125 w 561975"/>
                <a:gd name="connsiteY32" fmla="*/ 444500 h 581025"/>
                <a:gd name="connsiteX33" fmla="*/ 371475 w 561975"/>
                <a:gd name="connsiteY33" fmla="*/ 454025 h 581025"/>
                <a:gd name="connsiteX34" fmla="*/ 381000 w 561975"/>
                <a:gd name="connsiteY34" fmla="*/ 482600 h 581025"/>
                <a:gd name="connsiteX35" fmla="*/ 393700 w 561975"/>
                <a:gd name="connsiteY35" fmla="*/ 536575 h 581025"/>
                <a:gd name="connsiteX36" fmla="*/ 409575 w 561975"/>
                <a:gd name="connsiteY36" fmla="*/ 542925 h 581025"/>
                <a:gd name="connsiteX37" fmla="*/ 419100 w 561975"/>
                <a:gd name="connsiteY37" fmla="*/ 555625 h 581025"/>
                <a:gd name="connsiteX38" fmla="*/ 434975 w 561975"/>
                <a:gd name="connsiteY38" fmla="*/ 558800 h 581025"/>
                <a:gd name="connsiteX39" fmla="*/ 444500 w 561975"/>
                <a:gd name="connsiteY39" fmla="*/ 561975 h 581025"/>
                <a:gd name="connsiteX40" fmla="*/ 454025 w 561975"/>
                <a:gd name="connsiteY40" fmla="*/ 568325 h 581025"/>
                <a:gd name="connsiteX41" fmla="*/ 485775 w 561975"/>
                <a:gd name="connsiteY41" fmla="*/ 577850 h 581025"/>
                <a:gd name="connsiteX42" fmla="*/ 495300 w 561975"/>
                <a:gd name="connsiteY42" fmla="*/ 581025 h 581025"/>
                <a:gd name="connsiteX43" fmla="*/ 533400 w 561975"/>
                <a:gd name="connsiteY43" fmla="*/ 577850 h 581025"/>
                <a:gd name="connsiteX44" fmla="*/ 542925 w 561975"/>
                <a:gd name="connsiteY44" fmla="*/ 571500 h 581025"/>
                <a:gd name="connsiteX45" fmla="*/ 561975 w 561975"/>
                <a:gd name="connsiteY45" fmla="*/ 568325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61975" h="581025">
                  <a:moveTo>
                    <a:pt x="28575" y="0"/>
                  </a:moveTo>
                  <a:cubicBezTo>
                    <a:pt x="25400" y="5292"/>
                    <a:pt x="19815" y="9752"/>
                    <a:pt x="19050" y="15875"/>
                  </a:cubicBezTo>
                  <a:cubicBezTo>
                    <a:pt x="18310" y="21796"/>
                    <a:pt x="24197" y="66574"/>
                    <a:pt x="25400" y="76200"/>
                  </a:cubicBezTo>
                  <a:cubicBezTo>
                    <a:pt x="24342" y="87842"/>
                    <a:pt x="23878" y="99553"/>
                    <a:pt x="22225" y="111125"/>
                  </a:cubicBezTo>
                  <a:cubicBezTo>
                    <a:pt x="21161" y="118571"/>
                    <a:pt x="15444" y="126947"/>
                    <a:pt x="12700" y="133350"/>
                  </a:cubicBezTo>
                  <a:cubicBezTo>
                    <a:pt x="11382" y="136426"/>
                    <a:pt x="10583" y="139700"/>
                    <a:pt x="9525" y="142875"/>
                  </a:cubicBezTo>
                  <a:cubicBezTo>
                    <a:pt x="8467" y="154517"/>
                    <a:pt x="8381" y="166288"/>
                    <a:pt x="6350" y="177800"/>
                  </a:cubicBezTo>
                  <a:cubicBezTo>
                    <a:pt x="5187" y="184392"/>
                    <a:pt x="0" y="196850"/>
                    <a:pt x="0" y="196850"/>
                  </a:cubicBezTo>
                  <a:cubicBezTo>
                    <a:pt x="2117" y="205317"/>
                    <a:pt x="1345" y="215100"/>
                    <a:pt x="6350" y="222250"/>
                  </a:cubicBezTo>
                  <a:cubicBezTo>
                    <a:pt x="9618" y="226919"/>
                    <a:pt x="19397" y="223652"/>
                    <a:pt x="22225" y="228600"/>
                  </a:cubicBezTo>
                  <a:cubicBezTo>
                    <a:pt x="24902" y="233285"/>
                    <a:pt x="19813" y="239133"/>
                    <a:pt x="19050" y="244475"/>
                  </a:cubicBezTo>
                  <a:cubicBezTo>
                    <a:pt x="17695" y="253962"/>
                    <a:pt x="16933" y="263525"/>
                    <a:pt x="15875" y="273050"/>
                  </a:cubicBezTo>
                  <a:cubicBezTo>
                    <a:pt x="16933" y="283633"/>
                    <a:pt x="12565" y="296370"/>
                    <a:pt x="19050" y="304800"/>
                  </a:cubicBezTo>
                  <a:cubicBezTo>
                    <a:pt x="25172" y="312758"/>
                    <a:pt x="47625" y="314325"/>
                    <a:pt x="47625" y="314325"/>
                  </a:cubicBezTo>
                  <a:cubicBezTo>
                    <a:pt x="53026" y="330527"/>
                    <a:pt x="47352" y="318240"/>
                    <a:pt x="60325" y="333375"/>
                  </a:cubicBezTo>
                  <a:cubicBezTo>
                    <a:pt x="63769" y="337393"/>
                    <a:pt x="65544" y="342999"/>
                    <a:pt x="69850" y="346075"/>
                  </a:cubicBezTo>
                  <a:cubicBezTo>
                    <a:pt x="73401" y="348611"/>
                    <a:pt x="78317" y="348192"/>
                    <a:pt x="82550" y="349250"/>
                  </a:cubicBezTo>
                  <a:cubicBezTo>
                    <a:pt x="88900" y="348192"/>
                    <a:pt x="95493" y="348111"/>
                    <a:pt x="101600" y="346075"/>
                  </a:cubicBezTo>
                  <a:cubicBezTo>
                    <a:pt x="105220" y="344868"/>
                    <a:pt x="107347" y="340265"/>
                    <a:pt x="111125" y="339725"/>
                  </a:cubicBezTo>
                  <a:cubicBezTo>
                    <a:pt x="113916" y="339326"/>
                    <a:pt x="129776" y="344884"/>
                    <a:pt x="133350" y="346075"/>
                  </a:cubicBezTo>
                  <a:cubicBezTo>
                    <a:pt x="137583" y="349250"/>
                    <a:pt x="141563" y="352795"/>
                    <a:pt x="146050" y="355600"/>
                  </a:cubicBezTo>
                  <a:cubicBezTo>
                    <a:pt x="150064" y="358108"/>
                    <a:pt x="155156" y="358870"/>
                    <a:pt x="158750" y="361950"/>
                  </a:cubicBezTo>
                  <a:cubicBezTo>
                    <a:pt x="162768" y="365394"/>
                    <a:pt x="165100" y="370417"/>
                    <a:pt x="168275" y="374650"/>
                  </a:cubicBezTo>
                  <a:cubicBezTo>
                    <a:pt x="169333" y="377825"/>
                    <a:pt x="171450" y="380828"/>
                    <a:pt x="171450" y="384175"/>
                  </a:cubicBezTo>
                  <a:cubicBezTo>
                    <a:pt x="171450" y="387522"/>
                    <a:pt x="166778" y="390707"/>
                    <a:pt x="168275" y="393700"/>
                  </a:cubicBezTo>
                  <a:cubicBezTo>
                    <a:pt x="169772" y="396693"/>
                    <a:pt x="174533" y="396149"/>
                    <a:pt x="177800" y="396875"/>
                  </a:cubicBezTo>
                  <a:cubicBezTo>
                    <a:pt x="184084" y="398272"/>
                    <a:pt x="190500" y="398992"/>
                    <a:pt x="196850" y="400050"/>
                  </a:cubicBezTo>
                  <a:cubicBezTo>
                    <a:pt x="197273" y="401744"/>
                    <a:pt x="201378" y="419542"/>
                    <a:pt x="203200" y="422275"/>
                  </a:cubicBezTo>
                  <a:cubicBezTo>
                    <a:pt x="207622" y="428908"/>
                    <a:pt x="219556" y="436923"/>
                    <a:pt x="225425" y="441325"/>
                  </a:cubicBezTo>
                  <a:cubicBezTo>
                    <a:pt x="230581" y="437458"/>
                    <a:pt x="239569" y="428625"/>
                    <a:pt x="247650" y="428625"/>
                  </a:cubicBezTo>
                  <a:cubicBezTo>
                    <a:pt x="266439" y="428625"/>
                    <a:pt x="283461" y="431948"/>
                    <a:pt x="301625" y="434975"/>
                  </a:cubicBezTo>
                  <a:cubicBezTo>
                    <a:pt x="303742" y="438150"/>
                    <a:pt x="305277" y="441802"/>
                    <a:pt x="307975" y="444500"/>
                  </a:cubicBezTo>
                  <a:cubicBezTo>
                    <a:pt x="324105" y="460630"/>
                    <a:pt x="341925" y="447593"/>
                    <a:pt x="365125" y="444500"/>
                  </a:cubicBezTo>
                  <a:cubicBezTo>
                    <a:pt x="367242" y="447675"/>
                    <a:pt x="369768" y="450612"/>
                    <a:pt x="371475" y="454025"/>
                  </a:cubicBezTo>
                  <a:cubicBezTo>
                    <a:pt x="377453" y="465981"/>
                    <a:pt x="377968" y="470473"/>
                    <a:pt x="381000" y="482600"/>
                  </a:cubicBezTo>
                  <a:cubicBezTo>
                    <a:pt x="384730" y="542282"/>
                    <a:pt x="368011" y="526942"/>
                    <a:pt x="393700" y="536575"/>
                  </a:cubicBezTo>
                  <a:cubicBezTo>
                    <a:pt x="399036" y="538576"/>
                    <a:pt x="404283" y="540808"/>
                    <a:pt x="409575" y="542925"/>
                  </a:cubicBezTo>
                  <a:cubicBezTo>
                    <a:pt x="412750" y="547158"/>
                    <a:pt x="414613" y="552820"/>
                    <a:pt x="419100" y="555625"/>
                  </a:cubicBezTo>
                  <a:cubicBezTo>
                    <a:pt x="423676" y="558485"/>
                    <a:pt x="429740" y="557491"/>
                    <a:pt x="434975" y="558800"/>
                  </a:cubicBezTo>
                  <a:cubicBezTo>
                    <a:pt x="438222" y="559612"/>
                    <a:pt x="441507" y="560478"/>
                    <a:pt x="444500" y="561975"/>
                  </a:cubicBezTo>
                  <a:cubicBezTo>
                    <a:pt x="447913" y="563682"/>
                    <a:pt x="450538" y="566775"/>
                    <a:pt x="454025" y="568325"/>
                  </a:cubicBezTo>
                  <a:cubicBezTo>
                    <a:pt x="467606" y="574361"/>
                    <a:pt x="472845" y="574156"/>
                    <a:pt x="485775" y="577850"/>
                  </a:cubicBezTo>
                  <a:cubicBezTo>
                    <a:pt x="488993" y="578769"/>
                    <a:pt x="492125" y="579967"/>
                    <a:pt x="495300" y="581025"/>
                  </a:cubicBezTo>
                  <a:cubicBezTo>
                    <a:pt x="508000" y="579967"/>
                    <a:pt x="520903" y="580349"/>
                    <a:pt x="533400" y="577850"/>
                  </a:cubicBezTo>
                  <a:cubicBezTo>
                    <a:pt x="537142" y="577102"/>
                    <a:pt x="539418" y="573003"/>
                    <a:pt x="542925" y="571500"/>
                  </a:cubicBezTo>
                  <a:cubicBezTo>
                    <a:pt x="551531" y="567812"/>
                    <a:pt x="554243" y="568325"/>
                    <a:pt x="561975" y="568325"/>
                  </a:cubicBezTo>
                </a:path>
              </a:pathLst>
            </a:cu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46" name="Volný tvar: obrazec 45">
              <a:extLst>
                <a:ext uri="{FF2B5EF4-FFF2-40B4-BE49-F238E27FC236}">
                  <a16:creationId xmlns:a16="http://schemas.microsoft.com/office/drawing/2014/main" id="{C0AB384E-97F8-648C-AF72-684FD9A17E13}"/>
                </a:ext>
              </a:extLst>
            </p:cNvPr>
            <p:cNvSpPr/>
            <p:nvPr/>
          </p:nvSpPr>
          <p:spPr>
            <a:xfrm>
              <a:off x="8330038" y="5032996"/>
              <a:ext cx="556036" cy="332706"/>
            </a:xfrm>
            <a:custGeom>
              <a:avLst/>
              <a:gdLst>
                <a:gd name="connsiteX0" fmla="*/ 9499 w 536549"/>
                <a:gd name="connsiteY0" fmla="*/ 327025 h 327025"/>
                <a:gd name="connsiteX1" fmla="*/ 9499 w 536549"/>
                <a:gd name="connsiteY1" fmla="*/ 238125 h 327025"/>
                <a:gd name="connsiteX2" fmla="*/ 15849 w 536549"/>
                <a:gd name="connsiteY2" fmla="*/ 228600 h 327025"/>
                <a:gd name="connsiteX3" fmla="*/ 25374 w 536549"/>
                <a:gd name="connsiteY3" fmla="*/ 215900 h 327025"/>
                <a:gd name="connsiteX4" fmla="*/ 31724 w 536549"/>
                <a:gd name="connsiteY4" fmla="*/ 158750 h 327025"/>
                <a:gd name="connsiteX5" fmla="*/ 44424 w 536549"/>
                <a:gd name="connsiteY5" fmla="*/ 19050 h 327025"/>
                <a:gd name="connsiteX6" fmla="*/ 53949 w 536549"/>
                <a:gd name="connsiteY6" fmla="*/ 15875 h 327025"/>
                <a:gd name="connsiteX7" fmla="*/ 63474 w 536549"/>
                <a:gd name="connsiteY7" fmla="*/ 6350 h 327025"/>
                <a:gd name="connsiteX8" fmla="*/ 82524 w 536549"/>
                <a:gd name="connsiteY8" fmla="*/ 0 h 327025"/>
                <a:gd name="connsiteX9" fmla="*/ 104749 w 536549"/>
                <a:gd name="connsiteY9" fmla="*/ 3175 h 327025"/>
                <a:gd name="connsiteX10" fmla="*/ 114274 w 536549"/>
                <a:gd name="connsiteY10" fmla="*/ 15875 h 327025"/>
                <a:gd name="connsiteX11" fmla="*/ 136499 w 536549"/>
                <a:gd name="connsiteY11" fmla="*/ 28575 h 327025"/>
                <a:gd name="connsiteX12" fmla="*/ 146024 w 536549"/>
                <a:gd name="connsiteY12" fmla="*/ 34925 h 327025"/>
                <a:gd name="connsiteX13" fmla="*/ 180949 w 536549"/>
                <a:gd name="connsiteY13" fmla="*/ 38100 h 327025"/>
                <a:gd name="connsiteX14" fmla="*/ 187299 w 536549"/>
                <a:gd name="connsiteY14" fmla="*/ 53975 h 327025"/>
                <a:gd name="connsiteX15" fmla="*/ 193649 w 536549"/>
                <a:gd name="connsiteY15" fmla="*/ 85725 h 327025"/>
                <a:gd name="connsiteX16" fmla="*/ 203174 w 536549"/>
                <a:gd name="connsiteY16" fmla="*/ 95250 h 327025"/>
                <a:gd name="connsiteX17" fmla="*/ 206349 w 536549"/>
                <a:gd name="connsiteY17" fmla="*/ 104775 h 327025"/>
                <a:gd name="connsiteX18" fmla="*/ 225399 w 536549"/>
                <a:gd name="connsiteY18" fmla="*/ 101600 h 327025"/>
                <a:gd name="connsiteX19" fmla="*/ 234924 w 536549"/>
                <a:gd name="connsiteY19" fmla="*/ 98425 h 327025"/>
                <a:gd name="connsiteX20" fmla="*/ 250799 w 536549"/>
                <a:gd name="connsiteY20" fmla="*/ 95250 h 327025"/>
                <a:gd name="connsiteX21" fmla="*/ 263499 w 536549"/>
                <a:gd name="connsiteY21" fmla="*/ 92075 h 327025"/>
                <a:gd name="connsiteX22" fmla="*/ 276199 w 536549"/>
                <a:gd name="connsiteY22" fmla="*/ 76200 h 327025"/>
                <a:gd name="connsiteX23" fmla="*/ 292074 w 536549"/>
                <a:gd name="connsiteY23" fmla="*/ 69850 h 327025"/>
                <a:gd name="connsiteX24" fmla="*/ 314299 w 536549"/>
                <a:gd name="connsiteY24" fmla="*/ 50800 h 327025"/>
                <a:gd name="connsiteX25" fmla="*/ 342874 w 536549"/>
                <a:gd name="connsiteY25" fmla="*/ 53975 h 327025"/>
                <a:gd name="connsiteX26" fmla="*/ 355574 w 536549"/>
                <a:gd name="connsiteY26" fmla="*/ 66675 h 327025"/>
                <a:gd name="connsiteX27" fmla="*/ 368274 w 536549"/>
                <a:gd name="connsiteY27" fmla="*/ 69850 h 327025"/>
                <a:gd name="connsiteX28" fmla="*/ 431774 w 536549"/>
                <a:gd name="connsiteY28" fmla="*/ 85725 h 327025"/>
                <a:gd name="connsiteX29" fmla="*/ 460349 w 536549"/>
                <a:gd name="connsiteY29" fmla="*/ 104775 h 327025"/>
                <a:gd name="connsiteX30" fmla="*/ 473049 w 536549"/>
                <a:gd name="connsiteY30" fmla="*/ 120650 h 327025"/>
                <a:gd name="connsiteX31" fmla="*/ 527024 w 536549"/>
                <a:gd name="connsiteY31" fmla="*/ 142875 h 327025"/>
                <a:gd name="connsiteX32" fmla="*/ 536549 w 536549"/>
                <a:gd name="connsiteY32" fmla="*/ 155575 h 327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36549" h="327025">
                  <a:moveTo>
                    <a:pt x="9499" y="327025"/>
                  </a:moveTo>
                  <a:cubicBezTo>
                    <a:pt x="-5039" y="290681"/>
                    <a:pt x="-1147" y="307323"/>
                    <a:pt x="9499" y="238125"/>
                  </a:cubicBezTo>
                  <a:cubicBezTo>
                    <a:pt x="10079" y="234353"/>
                    <a:pt x="13631" y="231705"/>
                    <a:pt x="15849" y="228600"/>
                  </a:cubicBezTo>
                  <a:cubicBezTo>
                    <a:pt x="18925" y="224294"/>
                    <a:pt x="22199" y="220133"/>
                    <a:pt x="25374" y="215900"/>
                  </a:cubicBezTo>
                  <a:cubicBezTo>
                    <a:pt x="30351" y="191016"/>
                    <a:pt x="30448" y="193841"/>
                    <a:pt x="31724" y="158750"/>
                  </a:cubicBezTo>
                  <a:cubicBezTo>
                    <a:pt x="33398" y="112723"/>
                    <a:pt x="-1959" y="42242"/>
                    <a:pt x="44424" y="19050"/>
                  </a:cubicBezTo>
                  <a:cubicBezTo>
                    <a:pt x="47417" y="17553"/>
                    <a:pt x="50774" y="16933"/>
                    <a:pt x="53949" y="15875"/>
                  </a:cubicBezTo>
                  <a:cubicBezTo>
                    <a:pt x="57124" y="12700"/>
                    <a:pt x="59549" y="8531"/>
                    <a:pt x="63474" y="6350"/>
                  </a:cubicBezTo>
                  <a:cubicBezTo>
                    <a:pt x="69325" y="3099"/>
                    <a:pt x="82524" y="0"/>
                    <a:pt x="82524" y="0"/>
                  </a:cubicBezTo>
                  <a:cubicBezTo>
                    <a:pt x="89932" y="1058"/>
                    <a:pt x="98056" y="-172"/>
                    <a:pt x="104749" y="3175"/>
                  </a:cubicBezTo>
                  <a:cubicBezTo>
                    <a:pt x="109482" y="5542"/>
                    <a:pt x="110532" y="12133"/>
                    <a:pt x="114274" y="15875"/>
                  </a:cubicBezTo>
                  <a:cubicBezTo>
                    <a:pt x="129629" y="31230"/>
                    <a:pt x="121968" y="21310"/>
                    <a:pt x="136499" y="28575"/>
                  </a:cubicBezTo>
                  <a:cubicBezTo>
                    <a:pt x="139912" y="30282"/>
                    <a:pt x="142293" y="34125"/>
                    <a:pt x="146024" y="34925"/>
                  </a:cubicBezTo>
                  <a:cubicBezTo>
                    <a:pt x="157454" y="37374"/>
                    <a:pt x="169307" y="37042"/>
                    <a:pt x="180949" y="38100"/>
                  </a:cubicBezTo>
                  <a:cubicBezTo>
                    <a:pt x="183066" y="43392"/>
                    <a:pt x="185831" y="48468"/>
                    <a:pt x="187299" y="53975"/>
                  </a:cubicBezTo>
                  <a:cubicBezTo>
                    <a:pt x="190080" y="64404"/>
                    <a:pt x="189775" y="75651"/>
                    <a:pt x="193649" y="85725"/>
                  </a:cubicBezTo>
                  <a:cubicBezTo>
                    <a:pt x="195261" y="89916"/>
                    <a:pt x="199999" y="92075"/>
                    <a:pt x="203174" y="95250"/>
                  </a:cubicBezTo>
                  <a:cubicBezTo>
                    <a:pt x="204232" y="98425"/>
                    <a:pt x="203131" y="103856"/>
                    <a:pt x="206349" y="104775"/>
                  </a:cubicBezTo>
                  <a:cubicBezTo>
                    <a:pt x="212539" y="106544"/>
                    <a:pt x="219115" y="102997"/>
                    <a:pt x="225399" y="101600"/>
                  </a:cubicBezTo>
                  <a:cubicBezTo>
                    <a:pt x="228666" y="100874"/>
                    <a:pt x="231677" y="99237"/>
                    <a:pt x="234924" y="98425"/>
                  </a:cubicBezTo>
                  <a:cubicBezTo>
                    <a:pt x="240159" y="97116"/>
                    <a:pt x="245531" y="96421"/>
                    <a:pt x="250799" y="95250"/>
                  </a:cubicBezTo>
                  <a:cubicBezTo>
                    <a:pt x="255059" y="94303"/>
                    <a:pt x="259266" y="93133"/>
                    <a:pt x="263499" y="92075"/>
                  </a:cubicBezTo>
                  <a:cubicBezTo>
                    <a:pt x="267732" y="86783"/>
                    <a:pt x="270850" y="80360"/>
                    <a:pt x="276199" y="76200"/>
                  </a:cubicBezTo>
                  <a:cubicBezTo>
                    <a:pt x="280698" y="72701"/>
                    <a:pt x="287785" y="73603"/>
                    <a:pt x="292074" y="69850"/>
                  </a:cubicBezTo>
                  <a:cubicBezTo>
                    <a:pt x="318753" y="46506"/>
                    <a:pt x="285070" y="58107"/>
                    <a:pt x="314299" y="50800"/>
                  </a:cubicBezTo>
                  <a:cubicBezTo>
                    <a:pt x="323824" y="51858"/>
                    <a:pt x="333929" y="50535"/>
                    <a:pt x="342874" y="53975"/>
                  </a:cubicBezTo>
                  <a:cubicBezTo>
                    <a:pt x="348462" y="56124"/>
                    <a:pt x="350497" y="63502"/>
                    <a:pt x="355574" y="66675"/>
                  </a:cubicBezTo>
                  <a:cubicBezTo>
                    <a:pt x="359274" y="68988"/>
                    <a:pt x="364041" y="68792"/>
                    <a:pt x="368274" y="69850"/>
                  </a:cubicBezTo>
                  <a:cubicBezTo>
                    <a:pt x="392664" y="94240"/>
                    <a:pt x="365050" y="70560"/>
                    <a:pt x="431774" y="85725"/>
                  </a:cubicBezTo>
                  <a:cubicBezTo>
                    <a:pt x="435686" y="86614"/>
                    <a:pt x="456861" y="101287"/>
                    <a:pt x="460349" y="104775"/>
                  </a:cubicBezTo>
                  <a:cubicBezTo>
                    <a:pt x="465141" y="109567"/>
                    <a:pt x="467535" y="116711"/>
                    <a:pt x="473049" y="120650"/>
                  </a:cubicBezTo>
                  <a:cubicBezTo>
                    <a:pt x="492370" y="134450"/>
                    <a:pt x="506002" y="136869"/>
                    <a:pt x="527024" y="142875"/>
                  </a:cubicBezTo>
                  <a:cubicBezTo>
                    <a:pt x="533847" y="156522"/>
                    <a:pt x="528641" y="155575"/>
                    <a:pt x="536549" y="155575"/>
                  </a:cubicBezTo>
                </a:path>
              </a:pathLst>
            </a:cu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47" name="Volný tvar: obrazec 46">
              <a:extLst>
                <a:ext uri="{FF2B5EF4-FFF2-40B4-BE49-F238E27FC236}">
                  <a16:creationId xmlns:a16="http://schemas.microsoft.com/office/drawing/2014/main" id="{DB2AB350-4855-08A1-425F-805ACE7D3F55}"/>
                </a:ext>
              </a:extLst>
            </p:cNvPr>
            <p:cNvSpPr/>
            <p:nvPr/>
          </p:nvSpPr>
          <p:spPr>
            <a:xfrm>
              <a:off x="8843301" y="4890869"/>
              <a:ext cx="95419" cy="306865"/>
            </a:xfrm>
            <a:custGeom>
              <a:avLst/>
              <a:gdLst>
                <a:gd name="connsiteX0" fmla="*/ 50800 w 92075"/>
                <a:gd name="connsiteY0" fmla="*/ 0 h 301625"/>
                <a:gd name="connsiteX1" fmla="*/ 66675 w 92075"/>
                <a:gd name="connsiteY1" fmla="*/ 6350 h 301625"/>
                <a:gd name="connsiteX2" fmla="*/ 76200 w 92075"/>
                <a:gd name="connsiteY2" fmla="*/ 25400 h 301625"/>
                <a:gd name="connsiteX3" fmla="*/ 92075 w 92075"/>
                <a:gd name="connsiteY3" fmla="*/ 50800 h 301625"/>
                <a:gd name="connsiteX4" fmla="*/ 79375 w 92075"/>
                <a:gd name="connsiteY4" fmla="*/ 69850 h 301625"/>
                <a:gd name="connsiteX5" fmla="*/ 69850 w 92075"/>
                <a:gd name="connsiteY5" fmla="*/ 88900 h 301625"/>
                <a:gd name="connsiteX6" fmla="*/ 57150 w 92075"/>
                <a:gd name="connsiteY6" fmla="*/ 92075 h 301625"/>
                <a:gd name="connsiteX7" fmla="*/ 47625 w 92075"/>
                <a:gd name="connsiteY7" fmla="*/ 114300 h 301625"/>
                <a:gd name="connsiteX8" fmla="*/ 41275 w 92075"/>
                <a:gd name="connsiteY8" fmla="*/ 127000 h 301625"/>
                <a:gd name="connsiteX9" fmla="*/ 38100 w 92075"/>
                <a:gd name="connsiteY9" fmla="*/ 136525 h 301625"/>
                <a:gd name="connsiteX10" fmla="*/ 19050 w 92075"/>
                <a:gd name="connsiteY10" fmla="*/ 152400 h 301625"/>
                <a:gd name="connsiteX11" fmla="*/ 0 w 92075"/>
                <a:gd name="connsiteY11" fmla="*/ 165100 h 301625"/>
                <a:gd name="connsiteX12" fmla="*/ 9525 w 92075"/>
                <a:gd name="connsiteY12" fmla="*/ 184150 h 301625"/>
                <a:gd name="connsiteX13" fmla="*/ 25400 w 92075"/>
                <a:gd name="connsiteY13" fmla="*/ 193675 h 301625"/>
                <a:gd name="connsiteX14" fmla="*/ 50800 w 92075"/>
                <a:gd name="connsiteY14" fmla="*/ 209550 h 301625"/>
                <a:gd name="connsiteX15" fmla="*/ 63500 w 92075"/>
                <a:gd name="connsiteY15" fmla="*/ 225425 h 301625"/>
                <a:gd name="connsiteX16" fmla="*/ 73025 w 92075"/>
                <a:gd name="connsiteY16" fmla="*/ 247650 h 301625"/>
                <a:gd name="connsiteX17" fmla="*/ 57150 w 92075"/>
                <a:gd name="connsiteY17" fmla="*/ 273050 h 301625"/>
                <a:gd name="connsiteX18" fmla="*/ 50800 w 92075"/>
                <a:gd name="connsiteY18" fmla="*/ 282575 h 301625"/>
                <a:gd name="connsiteX19" fmla="*/ 41275 w 92075"/>
                <a:gd name="connsiteY19" fmla="*/ 288925 h 301625"/>
                <a:gd name="connsiteX20" fmla="*/ 41275 w 92075"/>
                <a:gd name="connsiteY20" fmla="*/ 301625 h 301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2075" h="301625">
                  <a:moveTo>
                    <a:pt x="50800" y="0"/>
                  </a:moveTo>
                  <a:cubicBezTo>
                    <a:pt x="56092" y="2117"/>
                    <a:pt x="62037" y="3037"/>
                    <a:pt x="66675" y="6350"/>
                  </a:cubicBezTo>
                  <a:cubicBezTo>
                    <a:pt x="72432" y="10462"/>
                    <a:pt x="73967" y="19445"/>
                    <a:pt x="76200" y="25400"/>
                  </a:cubicBezTo>
                  <a:cubicBezTo>
                    <a:pt x="83416" y="44642"/>
                    <a:pt x="79152" y="37877"/>
                    <a:pt x="92075" y="50800"/>
                  </a:cubicBezTo>
                  <a:cubicBezTo>
                    <a:pt x="84526" y="73448"/>
                    <a:pt x="95230" y="46067"/>
                    <a:pt x="79375" y="69850"/>
                  </a:cubicBezTo>
                  <a:cubicBezTo>
                    <a:pt x="74304" y="77457"/>
                    <a:pt x="78843" y="82905"/>
                    <a:pt x="69850" y="88900"/>
                  </a:cubicBezTo>
                  <a:cubicBezTo>
                    <a:pt x="66219" y="91321"/>
                    <a:pt x="61383" y="91017"/>
                    <a:pt x="57150" y="92075"/>
                  </a:cubicBezTo>
                  <a:cubicBezTo>
                    <a:pt x="44281" y="111378"/>
                    <a:pt x="56412" y="90869"/>
                    <a:pt x="47625" y="114300"/>
                  </a:cubicBezTo>
                  <a:cubicBezTo>
                    <a:pt x="45963" y="118732"/>
                    <a:pt x="43139" y="122650"/>
                    <a:pt x="41275" y="127000"/>
                  </a:cubicBezTo>
                  <a:cubicBezTo>
                    <a:pt x="39957" y="130076"/>
                    <a:pt x="39956" y="133740"/>
                    <a:pt x="38100" y="136525"/>
                  </a:cubicBezTo>
                  <a:cubicBezTo>
                    <a:pt x="31143" y="146960"/>
                    <a:pt x="27835" y="145079"/>
                    <a:pt x="19050" y="152400"/>
                  </a:cubicBezTo>
                  <a:cubicBezTo>
                    <a:pt x="3195" y="165613"/>
                    <a:pt x="16739" y="159520"/>
                    <a:pt x="0" y="165100"/>
                  </a:cubicBezTo>
                  <a:cubicBezTo>
                    <a:pt x="2222" y="171767"/>
                    <a:pt x="3780" y="179226"/>
                    <a:pt x="9525" y="184150"/>
                  </a:cubicBezTo>
                  <a:cubicBezTo>
                    <a:pt x="14210" y="188166"/>
                    <a:pt x="20463" y="189972"/>
                    <a:pt x="25400" y="193675"/>
                  </a:cubicBezTo>
                  <a:cubicBezTo>
                    <a:pt x="48637" y="211103"/>
                    <a:pt x="18467" y="196617"/>
                    <a:pt x="50800" y="209550"/>
                  </a:cubicBezTo>
                  <a:cubicBezTo>
                    <a:pt x="55033" y="214842"/>
                    <a:pt x="59741" y="219786"/>
                    <a:pt x="63500" y="225425"/>
                  </a:cubicBezTo>
                  <a:cubicBezTo>
                    <a:pt x="68731" y="233272"/>
                    <a:pt x="70203" y="239183"/>
                    <a:pt x="73025" y="247650"/>
                  </a:cubicBezTo>
                  <a:cubicBezTo>
                    <a:pt x="63080" y="267541"/>
                    <a:pt x="70889" y="253816"/>
                    <a:pt x="57150" y="273050"/>
                  </a:cubicBezTo>
                  <a:cubicBezTo>
                    <a:pt x="54932" y="276155"/>
                    <a:pt x="53498" y="279877"/>
                    <a:pt x="50800" y="282575"/>
                  </a:cubicBezTo>
                  <a:cubicBezTo>
                    <a:pt x="48102" y="285273"/>
                    <a:pt x="42982" y="285512"/>
                    <a:pt x="41275" y="288925"/>
                  </a:cubicBezTo>
                  <a:cubicBezTo>
                    <a:pt x="39382" y="292711"/>
                    <a:pt x="41275" y="297392"/>
                    <a:pt x="41275" y="301625"/>
                  </a:cubicBezTo>
                </a:path>
              </a:pathLst>
            </a:cu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  <p:pic>
        <p:nvPicPr>
          <p:cNvPr id="7" name="Grafický objekt 6">
            <a:extLst>
              <a:ext uri="{FF2B5EF4-FFF2-40B4-BE49-F238E27FC236}">
                <a16:creationId xmlns:a16="http://schemas.microsoft.com/office/drawing/2014/main" id="{83774F60-B16E-8A6C-A521-1DADF8978E1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583271" y="90540"/>
            <a:ext cx="2477004" cy="403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9182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Nadpis 18">
            <a:extLst>
              <a:ext uri="{FF2B5EF4-FFF2-40B4-BE49-F238E27FC236}">
                <a16:creationId xmlns:a16="http://schemas.microsoft.com/office/drawing/2014/main" id="{D62B0AFD-F7A2-0BD9-6E71-6CF4757B8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Incidence zhoubných novotvarů v letech 2019–2023: srovnání JHC a ČR</a:t>
            </a:r>
            <a:br>
              <a:rPr lang="cs-CZ" dirty="0"/>
            </a:br>
            <a:endParaRPr lang="cs-CZ" dirty="0"/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8F4EE0BE-9611-E1C4-EC50-8EEFCEFA9A66}"/>
              </a:ext>
            </a:extLst>
          </p:cNvPr>
          <p:cNvSpPr/>
          <p:nvPr/>
        </p:nvSpPr>
        <p:spPr>
          <a:xfrm>
            <a:off x="2131919" y="1793966"/>
            <a:ext cx="3113641" cy="1900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Box 20">
            <a:extLst>
              <a:ext uri="{FF2B5EF4-FFF2-40B4-BE49-F238E27FC236}">
                <a16:creationId xmlns:a16="http://schemas.microsoft.com/office/drawing/2014/main" id="{6DA2279D-3154-4FE4-9D83-F5F642B8B21E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05807" y="656647"/>
            <a:ext cx="553668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ční počet nově diagnostikovaných onemocnění na 100 000 osob</a:t>
            </a:r>
          </a:p>
        </p:txBody>
      </p:sp>
      <p:sp>
        <p:nvSpPr>
          <p:cNvPr id="15" name="TextBox 6">
            <a:extLst>
              <a:ext uri="{FF2B5EF4-FFF2-40B4-BE49-F238E27FC236}">
                <a16:creationId xmlns:a16="http://schemas.microsoft.com/office/drawing/2014/main" id="{BFA19679-E927-A926-79F1-5DB0F2FA28A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8281" y="468586"/>
            <a:ext cx="23054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onkologický registr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B104FD49-D8D9-8F9E-E14D-5627B3FAE695}"/>
              </a:ext>
            </a:extLst>
          </p:cNvPr>
          <p:cNvGraphicFramePr>
            <a:graphicFrameLocks noGrp="1"/>
          </p:cNvGraphicFramePr>
          <p:nvPr/>
        </p:nvGraphicFramePr>
        <p:xfrm>
          <a:off x="5346700" y="3014815"/>
          <a:ext cx="6337300" cy="1524000"/>
        </p:xfrm>
        <a:graphic>
          <a:graphicData uri="http://schemas.openxmlformats.org/drawingml/2006/table">
            <a:tbl>
              <a:tblPr/>
              <a:tblGrid>
                <a:gridCol w="4422908">
                  <a:extLst>
                    <a:ext uri="{9D8B030D-6E8A-4147-A177-3AD203B41FA5}">
                      <a16:colId xmlns:a16="http://schemas.microsoft.com/office/drawing/2014/main" val="2411398723"/>
                    </a:ext>
                  </a:extLst>
                </a:gridCol>
                <a:gridCol w="957196">
                  <a:extLst>
                    <a:ext uri="{9D8B030D-6E8A-4147-A177-3AD203B41FA5}">
                      <a16:colId xmlns:a16="http://schemas.microsoft.com/office/drawing/2014/main" val="1316542829"/>
                    </a:ext>
                  </a:extLst>
                </a:gridCol>
                <a:gridCol w="957196">
                  <a:extLst>
                    <a:ext uri="{9D8B030D-6E8A-4147-A177-3AD203B41FA5}">
                      <a16:colId xmlns:a16="http://schemas.microsoft.com/office/drawing/2014/main" val="394226161"/>
                    </a:ext>
                  </a:extLst>
                </a:gridCol>
              </a:tblGrid>
              <a:tr h="144780">
                <a:tc>
                  <a:txBody>
                    <a:bodyPr/>
                    <a:lstStyle/>
                    <a:p>
                      <a:pPr algn="l" fontAlgn="auto"/>
                      <a:r>
                        <a:rPr lang="cs-CZ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  <a:endParaRPr lang="cs-CZ" b="1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  <a:endParaRPr lang="cs-CZ" b="1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601421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ově diagnostikovaných C50 ročně</a:t>
                      </a:r>
                      <a:r>
                        <a:rPr lang="cs-CZ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cs-CZ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699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3167827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 fontAlgn="base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nově diagnostikovaných C50 ročně na 100 000 osob</a:t>
                      </a: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,7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,9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7930776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íl ze zhoubných novotvarů</a:t>
                      </a:r>
                      <a:r>
                        <a:rPr lang="cs-CZ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cs-CZ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2 %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7 %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32626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íl ze zhoubných novotvarů bez C44</a:t>
                      </a:r>
                      <a:r>
                        <a:rPr lang="cs-CZ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cs-CZ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9 %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 %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787466"/>
                  </a:ext>
                </a:extLst>
              </a:tr>
            </a:tbl>
          </a:graphicData>
        </a:graphic>
      </p:graphicFrame>
      <p:sp>
        <p:nvSpPr>
          <p:cNvPr id="20" name="Text Box 20">
            <a:extLst>
              <a:ext uri="{FF2B5EF4-FFF2-40B4-BE49-F238E27FC236}">
                <a16:creationId xmlns:a16="http://schemas.microsoft.com/office/drawing/2014/main" id="{358776E1-BEB7-0059-94F3-D08CC135F07A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74699" y="849915"/>
            <a:ext cx="281073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agnostická skupina:</a:t>
            </a:r>
          </a:p>
        </p:txBody>
      </p:sp>
      <p:graphicFrame>
        <p:nvGraphicFramePr>
          <p:cNvPr id="3" name="Object 35">
            <a:extLst>
              <a:ext uri="{FF2B5EF4-FFF2-40B4-BE49-F238E27FC236}">
                <a16:creationId xmlns:a16="http://schemas.microsoft.com/office/drawing/2014/main" id="{F9410E11-F3EC-80D4-775F-9FE1DE645E65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3483839" y="905785"/>
          <a:ext cx="4186961" cy="55585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4" name="Group 91">
            <a:extLst>
              <a:ext uri="{FF2B5EF4-FFF2-40B4-BE49-F238E27FC236}">
                <a16:creationId xmlns:a16="http://schemas.microsoft.com/office/drawing/2014/main" id="{205739CA-1037-AF30-033F-1B7FD605A99E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394290" y="1211040"/>
          <a:ext cx="3224099" cy="5191074"/>
        </p:xfrm>
        <a:graphic>
          <a:graphicData uri="http://schemas.openxmlformats.org/drawingml/2006/table">
            <a:tbl>
              <a:tblPr/>
              <a:tblGrid>
                <a:gridCol w="32240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elanomový kožní ZN (C4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ostaty (C61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tlustého střeva a konečníku (C18–C20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pl-P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su (C50) u žen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ůdušnice, průdušky a plíce (C33, C3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ledviny (C6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houbný melanom kůže (C43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slinivky břišní (C2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močového měchýře (C67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dělohy (C54, C5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-Hodgkinův lymfom (C82–C86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pl-P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lavy a krku (C00–C14, C30–C31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žaludku (C16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štítné žlázy (C73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ukémie (C91–C9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jater a intrahepatálních žlučových cest (C2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mozku, míchy a jiných částí CNS (C70–C7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vaječníku (C56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žlučníku a žlučových cest (C23, C2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jícnu (C1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ohočetný myelom (C90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rdla děložního (C53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rtanu (C3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oj. a měk. tkání a perif. nervů (C47, C49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varlete (C6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gkinův lymfom (C81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houbné novotvary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</a:tbl>
          </a:graphicData>
        </a:graphic>
      </p:graphicFrame>
      <p:sp>
        <p:nvSpPr>
          <p:cNvPr id="11" name="Rectangle 233">
            <a:extLst>
              <a:ext uri="{FF2B5EF4-FFF2-40B4-BE49-F238E27FC236}">
                <a16:creationId xmlns:a16="http://schemas.microsoft.com/office/drawing/2014/main" id="{E9935E30-E1A0-472E-B505-FBAE12665FBB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346700" y="2497780"/>
            <a:ext cx="107950" cy="107950"/>
          </a:xfrm>
          <a:prstGeom prst="rect">
            <a:avLst/>
          </a:prstGeom>
          <a:solidFill>
            <a:srgbClr val="CC9900"/>
          </a:solidFill>
          <a:ln w="1651" algn="ctr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Rectangle 234">
            <a:extLst>
              <a:ext uri="{FF2B5EF4-FFF2-40B4-BE49-F238E27FC236}">
                <a16:creationId xmlns:a16="http://schemas.microsoft.com/office/drawing/2014/main" id="{F47512FE-66DB-457D-B5D9-C79C69E7DB89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346700" y="2328408"/>
            <a:ext cx="107950" cy="107950"/>
          </a:xfrm>
          <a:prstGeom prst="rect">
            <a:avLst/>
          </a:prstGeom>
          <a:solidFill>
            <a:srgbClr val="C00000"/>
          </a:solidFill>
          <a:ln w="1651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altLang="cs-CZ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" name="Text Box 237">
            <a:extLst>
              <a:ext uri="{FF2B5EF4-FFF2-40B4-BE49-F238E27FC236}">
                <a16:creationId xmlns:a16="http://schemas.microsoft.com/office/drawing/2014/main" id="{4C325B2C-77CB-4329-983F-A4E09D8F3DD9}"/>
              </a:ext>
            </a:extLst>
          </p:cNvPr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499100" y="2282767"/>
            <a:ext cx="1874471" cy="383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ihočeský kraj</a:t>
            </a:r>
          </a:p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ská republika</a:t>
            </a:r>
          </a:p>
        </p:txBody>
      </p:sp>
    </p:spTree>
    <p:extLst>
      <p:ext uri="{BB962C8B-B14F-4D97-AF65-F5344CB8AC3E}">
        <p14:creationId xmlns:p14="http://schemas.microsoft.com/office/powerpoint/2010/main" val="237307516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Obrázek 14" descr="Obsah obrázku mapa, atlas, text&#10;&#10;Obsah vygenerovaný umělou inteligencí může být nesprávný.">
            <a:extLst>
              <a:ext uri="{FF2B5EF4-FFF2-40B4-BE49-F238E27FC236}">
                <a16:creationId xmlns:a16="http://schemas.microsoft.com/office/drawing/2014/main" id="{E2ACEB2B-B3DA-D318-FC9F-8C98DFC1E15E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9750" t="8672" r="8155" b="6504"/>
          <a:stretch/>
        </p:blipFill>
        <p:spPr>
          <a:xfrm>
            <a:off x="6096000" y="2630030"/>
            <a:ext cx="5590912" cy="3197386"/>
          </a:xfrm>
          <a:prstGeom prst="rect">
            <a:avLst/>
          </a:prstGeom>
        </p:spPr>
      </p:pic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1CBC94A7-2AC5-FE39-5169-4C9819364E05}"/>
              </a:ext>
            </a:extLst>
          </p:cNvPr>
          <p:cNvCxnSpPr>
            <a:cxnSpLocks/>
          </p:cNvCxnSpPr>
          <p:nvPr/>
        </p:nvCxnSpPr>
        <p:spPr>
          <a:xfrm>
            <a:off x="1091677" y="3150744"/>
            <a:ext cx="4530525" cy="0"/>
          </a:xfrm>
          <a:prstGeom prst="line">
            <a:avLst/>
          </a:prstGeom>
          <a:ln w="28575">
            <a:solidFill>
              <a:schemeClr val="accent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8" name="Zástupný symbol pro obsah 5">
            <a:extLst>
              <a:ext uri="{FF2B5EF4-FFF2-40B4-BE49-F238E27FC236}">
                <a16:creationId xmlns:a16="http://schemas.microsoft.com/office/drawing/2014/main" id="{FDBDF2F1-3B1E-0008-83D3-4EFBD743DC8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90177839"/>
              </p:ext>
            </p:extLst>
          </p:nvPr>
        </p:nvGraphicFramePr>
        <p:xfrm>
          <a:off x="327261" y="2035732"/>
          <a:ext cx="5399247" cy="36665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5" name="Nadpis 4">
            <a:extLst>
              <a:ext uri="{FF2B5EF4-FFF2-40B4-BE49-F238E27FC236}">
                <a16:creationId xmlns:a16="http://schemas.microsoft.com/office/drawing/2014/main" id="{EA2DDA38-176D-AE75-ACBD-46003604A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558329"/>
            <a:ext cx="9802034" cy="720000"/>
          </a:xfrm>
        </p:spPr>
        <p:txBody>
          <a:bodyPr>
            <a:normAutofit fontScale="90000"/>
          </a:bodyPr>
          <a:lstStyle/>
          <a:p>
            <a:r>
              <a:rPr lang="cs-CZ" dirty="0"/>
              <a:t>Celkové Zapojení praktických lékařů do programu </a:t>
            </a:r>
            <a:br>
              <a:rPr lang="cs-CZ" dirty="0"/>
            </a:br>
            <a:r>
              <a:rPr lang="cs-CZ" dirty="0">
                <a:solidFill>
                  <a:schemeClr val="accent3"/>
                </a:solidFill>
              </a:rPr>
              <a:t>dle kraje </a:t>
            </a:r>
            <a:r>
              <a:rPr lang="cs-CZ" dirty="0"/>
              <a:t>působiště zdravotnického zařízení </a:t>
            </a:r>
          </a:p>
        </p:txBody>
      </p:sp>
      <p:sp>
        <p:nvSpPr>
          <p:cNvPr id="24" name="Rectangle 21">
            <a:extLst>
              <a:ext uri="{FF2B5EF4-FFF2-40B4-BE49-F238E27FC236}">
                <a16:creationId xmlns:a16="http://schemas.microsoft.com/office/drawing/2014/main" id="{64DF5E38-24A9-136D-95B1-C5B4A54397D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544190" y="1167543"/>
            <a:ext cx="2179197" cy="4308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DDCE0">
                  <a:lumMod val="2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Rectangle 21">
            <a:extLst>
              <a:ext uri="{FF2B5EF4-FFF2-40B4-BE49-F238E27FC236}">
                <a16:creationId xmlns:a16="http://schemas.microsoft.com/office/drawing/2014/main" id="{F668721C-1AAA-41E9-6183-7B641347FFD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059462" y="1841468"/>
            <a:ext cx="5087388" cy="430851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zapojených zdravotnických zařízení* (IČZ) dle kraj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B4C98D16-BA86-251F-690F-B8E2ED60A466}"/>
              </a:ext>
            </a:extLst>
          </p:cNvPr>
          <p:cNvGrpSpPr/>
          <p:nvPr/>
        </p:nvGrpSpPr>
        <p:grpSpPr>
          <a:xfrm>
            <a:off x="10278925" y="1789982"/>
            <a:ext cx="1729172" cy="1519733"/>
            <a:chOff x="5606584" y="5462038"/>
            <a:chExt cx="1408350" cy="1483481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912AA42E-B922-0D1D-36FD-68B97EC8FE1D}"/>
                </a:ext>
              </a:extLst>
            </p:cNvPr>
            <p:cNvGrpSpPr/>
            <p:nvPr/>
          </p:nvGrpSpPr>
          <p:grpSpPr>
            <a:xfrm>
              <a:off x="5606584" y="5462038"/>
              <a:ext cx="1408350" cy="1483481"/>
              <a:chOff x="7829538" y="2545212"/>
              <a:chExt cx="1408350" cy="1483481"/>
            </a:xfrm>
          </p:grpSpPr>
          <p:sp>
            <p:nvSpPr>
              <p:cNvPr id="31" name="Text Box 3">
                <a:extLst>
                  <a:ext uri="{FF2B5EF4-FFF2-40B4-BE49-F238E27FC236}">
                    <a16:creationId xmlns:a16="http://schemas.microsoft.com/office/drawing/2014/main" id="{E258EFA3-C556-D2FD-BF92-D0F7244E824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829538" y="2545212"/>
                <a:ext cx="1310476" cy="1483481"/>
              </a:xfrm>
              <a:prstGeom prst="rect">
                <a:avLst/>
              </a:prstGeom>
              <a:solidFill>
                <a:sysClr val="window" lastClr="FFFFFF">
                  <a:lumMod val="85000"/>
                </a:sys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2" name="Rectangle 177">
                <a:extLst>
                  <a:ext uri="{FF2B5EF4-FFF2-40B4-BE49-F238E27FC236}">
                    <a16:creationId xmlns:a16="http://schemas.microsoft.com/office/drawing/2014/main" id="{2054FC0E-F350-D824-B3E3-8E86A0042F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5750" y="3067788"/>
                <a:ext cx="180000" cy="180000"/>
              </a:xfrm>
              <a:prstGeom prst="rect">
                <a:avLst/>
              </a:prstGeom>
              <a:solidFill>
                <a:srgbClr val="BDD8F0"/>
              </a:solidFill>
              <a:ln w="9525">
                <a:solidFill>
                  <a:sysClr val="window" lastClr="FFFFFF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33" name="Rectangle 177">
                <a:extLst>
                  <a:ext uri="{FF2B5EF4-FFF2-40B4-BE49-F238E27FC236}">
                    <a16:creationId xmlns:a16="http://schemas.microsoft.com/office/drawing/2014/main" id="{B4688FED-D592-5316-5930-08B07D39B4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5750" y="3309088"/>
                <a:ext cx="180000" cy="180000"/>
              </a:xfrm>
              <a:prstGeom prst="rect">
                <a:avLst/>
              </a:prstGeom>
              <a:solidFill>
                <a:srgbClr val="73B3D8"/>
              </a:solidFill>
              <a:ln w="9525">
                <a:solidFill>
                  <a:sysClr val="window" lastClr="FFFFFF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34" name="Rectangle 177">
                <a:extLst>
                  <a:ext uri="{FF2B5EF4-FFF2-40B4-BE49-F238E27FC236}">
                    <a16:creationId xmlns:a16="http://schemas.microsoft.com/office/drawing/2014/main" id="{7D699A7A-D2B5-783A-86BD-AEB6F332E0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5750" y="3550387"/>
                <a:ext cx="180000" cy="180000"/>
              </a:xfrm>
              <a:prstGeom prst="rect">
                <a:avLst/>
              </a:prstGeom>
              <a:solidFill>
                <a:srgbClr val="2879B9"/>
              </a:solidFill>
              <a:ln w="9525">
                <a:solidFill>
                  <a:sysClr val="window" lastClr="FFFFFF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35" name="Text Box 3">
                <a:extLst>
                  <a:ext uri="{FF2B5EF4-FFF2-40B4-BE49-F238E27FC236}">
                    <a16:creationId xmlns:a16="http://schemas.microsoft.com/office/drawing/2014/main" id="{0129D90A-1367-A9FC-5EDA-32B71E8C563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8085750" y="3021853"/>
                <a:ext cx="1152138" cy="2616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92929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0 % až </a:t>
                </a:r>
                <a:r>
                  <a:rPr lang="cs-CZ" sz="1100" kern="0" dirty="0">
                    <a:solidFill>
                      <a:srgbClr val="292929"/>
                    </a:solidFill>
                    <a:latin typeface="Arial" panose="020B0604020202020204"/>
                  </a:rPr>
                  <a:t>40</a:t>
                </a:r>
                <a:r>
                  <a:rPr kumimoji="0" lang="cs-CZ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92929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%</a:t>
                </a:r>
              </a:p>
            </p:txBody>
          </p:sp>
          <p:sp>
            <p:nvSpPr>
              <p:cNvPr id="36" name="Text Box 3">
                <a:extLst>
                  <a:ext uri="{FF2B5EF4-FFF2-40B4-BE49-F238E27FC236}">
                    <a16:creationId xmlns:a16="http://schemas.microsoft.com/office/drawing/2014/main" id="{00C54EC1-2756-0325-A5AB-058E5976937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8085750" y="3265718"/>
                <a:ext cx="1152138" cy="2616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cs-CZ" sz="1100" kern="0" dirty="0">
                    <a:solidFill>
                      <a:srgbClr val="292929"/>
                    </a:solidFill>
                    <a:latin typeface="Arial" panose="020B0604020202020204"/>
                  </a:rPr>
                  <a:t>40</a:t>
                </a:r>
                <a:r>
                  <a:rPr kumimoji="0" lang="cs-CZ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92929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% až 45 %</a:t>
                </a:r>
              </a:p>
            </p:txBody>
          </p:sp>
          <p:sp>
            <p:nvSpPr>
              <p:cNvPr id="37" name="Text Box 3">
                <a:extLst>
                  <a:ext uri="{FF2B5EF4-FFF2-40B4-BE49-F238E27FC236}">
                    <a16:creationId xmlns:a16="http://schemas.microsoft.com/office/drawing/2014/main" id="{3DE6043F-361D-D39F-B1A9-D0F43E857D9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8085750" y="3509582"/>
                <a:ext cx="1152138" cy="2616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92929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45 % až 50 %</a:t>
                </a:r>
              </a:p>
            </p:txBody>
          </p:sp>
        </p:grpSp>
        <p:sp>
          <p:nvSpPr>
            <p:cNvPr id="29" name="Rectangle 177">
              <a:extLst>
                <a:ext uri="{FF2B5EF4-FFF2-40B4-BE49-F238E27FC236}">
                  <a16:creationId xmlns:a16="http://schemas.microsoft.com/office/drawing/2014/main" id="{6FBF8AFA-D5DD-602A-812E-F98BFF181B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2658" y="6724714"/>
              <a:ext cx="180000" cy="180000"/>
            </a:xfrm>
            <a:prstGeom prst="rect">
              <a:avLst/>
            </a:prstGeom>
            <a:solidFill>
              <a:srgbClr val="08306B"/>
            </a:solidFill>
            <a:ln w="9525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30" name="Text Box 3">
              <a:extLst>
                <a:ext uri="{FF2B5EF4-FFF2-40B4-BE49-F238E27FC236}">
                  <a16:creationId xmlns:a16="http://schemas.microsoft.com/office/drawing/2014/main" id="{203FA114-FBC2-ED8D-CA68-86DDA85CA66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62658" y="6683909"/>
              <a:ext cx="1152138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&gt; 50 %</a:t>
              </a:r>
            </a:p>
          </p:txBody>
        </p:sp>
      </p:grpSp>
      <p:sp>
        <p:nvSpPr>
          <p:cNvPr id="41" name="Text Box 3">
            <a:extLst>
              <a:ext uri="{FF2B5EF4-FFF2-40B4-BE49-F238E27FC236}">
                <a16:creationId xmlns:a16="http://schemas.microsoft.com/office/drawing/2014/main" id="{FAE085F7-F155-CAC8-8AB7-49CED11716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78925" y="1838695"/>
            <a:ext cx="160900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IČZ </a:t>
            </a:r>
            <a:b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le kraje působnosti</a:t>
            </a:r>
          </a:p>
        </p:txBody>
      </p:sp>
      <p:sp>
        <p:nvSpPr>
          <p:cNvPr id="42" name="Zástupný text 5">
            <a:extLst>
              <a:ext uri="{FF2B5EF4-FFF2-40B4-BE49-F238E27FC236}">
                <a16:creationId xmlns:a16="http://schemas.microsoft.com/office/drawing/2014/main" id="{F678C951-E088-C802-7AEA-28BE9066B8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4464" y="6272569"/>
            <a:ext cx="11863072" cy="494394"/>
          </a:xfrm>
        </p:spPr>
        <p:txBody>
          <a:bodyPr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>
                <a:solidFill>
                  <a:schemeClr val="bg2">
                    <a:lumMod val="10000"/>
                  </a:schemeClr>
                </a:solidFill>
              </a:rPr>
              <a:t>V </a:t>
            </a:r>
            <a:r>
              <a:rPr lang="cs-CZ" sz="1400" b="1" dirty="0">
                <a:solidFill>
                  <a:schemeClr val="accent1"/>
                </a:solidFill>
              </a:rPr>
              <a:t>Jihočeském kraji </a:t>
            </a:r>
            <a:r>
              <a:rPr lang="cs-CZ" sz="1400" dirty="0">
                <a:solidFill>
                  <a:schemeClr val="bg2">
                    <a:lumMod val="10000"/>
                  </a:schemeClr>
                </a:solidFill>
              </a:rPr>
              <a:t>bylo za obdob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. 1. 2022 – 31. 12. 2024</a:t>
            </a:r>
            <a:r>
              <a:rPr lang="cs-CZ" sz="1400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cs-CZ" sz="1400" b="1" dirty="0">
                <a:solidFill>
                  <a:schemeClr val="accent1"/>
                </a:solidFill>
              </a:rPr>
              <a:t>zapojeno</a:t>
            </a:r>
            <a:r>
              <a:rPr lang="cs-CZ" sz="1400" dirty="0">
                <a:solidFill>
                  <a:schemeClr val="bg2">
                    <a:lumMod val="10000"/>
                  </a:schemeClr>
                </a:solidFill>
              </a:rPr>
              <a:t> přibližně </a:t>
            </a:r>
            <a:r>
              <a:rPr lang="cs-CZ" sz="1400" b="1" dirty="0">
                <a:solidFill>
                  <a:schemeClr val="accent1"/>
                </a:solidFill>
              </a:rPr>
              <a:t>42 % PL, což je méně než celorepublikový průměr 45 %. Nejméně zapojených praktických lékařů </a:t>
            </a:r>
            <a:r>
              <a:rPr lang="cs-CZ" sz="1400" dirty="0">
                <a:solidFill>
                  <a:schemeClr val="bg2">
                    <a:lumMod val="10000"/>
                  </a:schemeClr>
                </a:solidFill>
              </a:rPr>
              <a:t>bylo v </a:t>
            </a:r>
            <a:r>
              <a:rPr lang="cs-CZ" sz="1400" b="1" dirty="0">
                <a:solidFill>
                  <a:schemeClr val="accent1"/>
                </a:solidFill>
              </a:rPr>
              <a:t>Plzeňském kraji </a:t>
            </a:r>
            <a:r>
              <a:rPr lang="cs-CZ" sz="1400" dirty="0">
                <a:solidFill>
                  <a:schemeClr val="bg2">
                    <a:lumMod val="10000"/>
                  </a:schemeClr>
                </a:solidFill>
              </a:rPr>
              <a:t>(37 %). </a:t>
            </a:r>
          </a:p>
        </p:txBody>
      </p:sp>
      <p:sp>
        <p:nvSpPr>
          <p:cNvPr id="10" name="Rectangle 21">
            <a:extLst>
              <a:ext uri="{FF2B5EF4-FFF2-40B4-BE49-F238E27FC236}">
                <a16:creationId xmlns:a16="http://schemas.microsoft.com/office/drawing/2014/main" id="{159EBE57-874E-77F8-4027-D8CA74EE237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960046" y="1390539"/>
            <a:ext cx="2978851" cy="4308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uze pacienti ve věku 55–74 let</a:t>
            </a:r>
          </a:p>
        </p:txBody>
      </p:sp>
      <p:sp>
        <p:nvSpPr>
          <p:cNvPr id="12" name="Rectangle 21">
            <a:extLst>
              <a:ext uri="{FF2B5EF4-FFF2-40B4-BE49-F238E27FC236}">
                <a16:creationId xmlns:a16="http://schemas.microsoft.com/office/drawing/2014/main" id="{D0540ED5-C7A6-9A78-5B22-79392BCB047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545339" y="5507889"/>
            <a:ext cx="963089" cy="378175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b="1" kern="0" dirty="0">
                <a:solidFill>
                  <a:srgbClr val="DDDCE0">
                    <a:lumMod val="10000"/>
                  </a:srgbClr>
                </a:solidFill>
                <a:latin typeface="Arial" panose="020B0604020202020204"/>
              </a:rPr>
              <a:t>Kraj IČZ</a:t>
            </a:r>
            <a:endParaRPr kumimoji="0" lang="cs-CZ" sz="1100" b="1" i="0" u="none" strike="noStrike" kern="0" cap="none" spc="0" normalizeH="0" baseline="0" noProof="0" dirty="0">
              <a:ln>
                <a:noFill/>
              </a:ln>
              <a:solidFill>
                <a:srgbClr val="DDDCE0">
                  <a:lumMod val="1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EFE12D74-0C7F-C50C-365A-BB9A9B624261}"/>
              </a:ext>
            </a:extLst>
          </p:cNvPr>
          <p:cNvSpPr txBox="1"/>
          <p:nvPr/>
        </p:nvSpPr>
        <p:spPr>
          <a:xfrm>
            <a:off x="502440" y="5940820"/>
            <a:ext cx="109195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E6B03C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1 IČZ může sdružovat více praktických lékařů. Byla uvažována pouze IČZ s počtem kapitačních plateb větších jak 100.</a:t>
            </a:r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C961D45A-9E24-7071-E82A-5676499C22C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83326" y="2201916"/>
            <a:ext cx="4475494" cy="251780"/>
          </a:xfrm>
          <a:prstGeom prst="rect">
            <a:avLst/>
          </a:prstGeom>
          <a:noFill/>
          <a:ln w="31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každém kraji by se mělo zapojit 100</a:t>
            </a:r>
            <a:r>
              <a:rPr lang="cs-CZ" sz="1200" b="1" dirty="0">
                <a:solidFill>
                  <a:srgbClr val="C00000"/>
                </a:solidFill>
                <a:latin typeface="Arial" panose="020B0604020202020204"/>
              </a:rPr>
              <a:t> % praktických lékařů</a:t>
            </a:r>
            <a:endParaRPr kumimoji="0" lang="cs-CZ" sz="1200" b="1" i="0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2A6F13A4-7ED8-CE63-CA12-9B092D2AC1F6}"/>
              </a:ext>
            </a:extLst>
          </p:cNvPr>
          <p:cNvSpPr txBox="1"/>
          <p:nvPr/>
        </p:nvSpPr>
        <p:spPr>
          <a:xfrm>
            <a:off x="4144763" y="2876772"/>
            <a:ext cx="162959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schemeClr val="bg2">
                    <a:lumMod val="10000"/>
                  </a:schemeClr>
                </a:solidFill>
                <a:latin typeface="Arial" panose="020B0604020202020204"/>
              </a:rPr>
              <a:t>Průměr v rámci ČR</a:t>
            </a:r>
            <a:endParaRPr kumimoji="0" lang="cs-CZ" sz="120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Zástupný text 3">
            <a:extLst>
              <a:ext uri="{FF2B5EF4-FFF2-40B4-BE49-F238E27FC236}">
                <a16:creationId xmlns:a16="http://schemas.microsoft.com/office/drawing/2014/main" id="{F547CBF5-ADA1-7834-C7BA-9F734CC3125E}"/>
              </a:ext>
            </a:extLst>
          </p:cNvPr>
          <p:cNvSpPr txBox="1">
            <a:spLocks/>
          </p:cNvSpPr>
          <p:nvPr/>
        </p:nvSpPr>
        <p:spPr>
          <a:xfrm>
            <a:off x="8718710" y="917180"/>
            <a:ext cx="3261286" cy="7200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NRHZS</a:t>
            </a: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za období: 1. 1. 2022 – 31. 12. 2024</a:t>
            </a:r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DD552F67-813B-BB7F-F7AA-BC00435BF79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583271" y="90540"/>
            <a:ext cx="2477004" cy="403365"/>
          </a:xfrm>
          <a:prstGeom prst="rect">
            <a:avLst/>
          </a:prstGeom>
        </p:spPr>
      </p:pic>
      <p:sp>
        <p:nvSpPr>
          <p:cNvPr id="3" name="Zástupný symbol pro obsah 4">
            <a:extLst>
              <a:ext uri="{FF2B5EF4-FFF2-40B4-BE49-F238E27FC236}">
                <a16:creationId xmlns:a16="http://schemas.microsoft.com/office/drawing/2014/main" id="{AEC87DAA-AE8C-48C0-76B3-103C2F483AF1}"/>
              </a:ext>
            </a:extLst>
          </p:cNvPr>
          <p:cNvSpPr txBox="1">
            <a:spLocks/>
          </p:cNvSpPr>
          <p:nvPr/>
        </p:nvSpPr>
        <p:spPr>
          <a:xfrm>
            <a:off x="294209" y="1343494"/>
            <a:ext cx="8383402" cy="4850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200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: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ktický lékař (01196, 01197) – za zapojeného PL je uvažováno každé IČZ, které vykázalo alespoň 1 z uvažovaných výkonů 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8FDAE213-0459-EAF7-3132-75823FD6954B}"/>
              </a:ext>
            </a:extLst>
          </p:cNvPr>
          <p:cNvGrpSpPr/>
          <p:nvPr/>
        </p:nvGrpSpPr>
        <p:grpSpPr>
          <a:xfrm>
            <a:off x="7259515" y="4499564"/>
            <a:ext cx="1707191" cy="1310619"/>
            <a:chOff x="7070611" y="4495145"/>
            <a:chExt cx="1749119" cy="1290138"/>
          </a:xfrm>
        </p:grpSpPr>
        <p:sp>
          <p:nvSpPr>
            <p:cNvPr id="16" name="Volný tvar: obrazec 15">
              <a:extLst>
                <a:ext uri="{FF2B5EF4-FFF2-40B4-BE49-F238E27FC236}">
                  <a16:creationId xmlns:a16="http://schemas.microsoft.com/office/drawing/2014/main" id="{4FCBDF88-4A30-AD6D-C243-2C128A7F8F96}"/>
                </a:ext>
              </a:extLst>
            </p:cNvPr>
            <p:cNvSpPr/>
            <p:nvPr/>
          </p:nvSpPr>
          <p:spPr>
            <a:xfrm>
              <a:off x="7070611" y="4590227"/>
              <a:ext cx="235611" cy="662141"/>
            </a:xfrm>
            <a:custGeom>
              <a:avLst/>
              <a:gdLst>
                <a:gd name="connsiteX0" fmla="*/ 0 w 254089"/>
                <a:gd name="connsiteY0" fmla="*/ 727075 h 727075"/>
                <a:gd name="connsiteX1" fmla="*/ 3175 w 254089"/>
                <a:gd name="connsiteY1" fmla="*/ 711200 h 727075"/>
                <a:gd name="connsiteX2" fmla="*/ 9525 w 254089"/>
                <a:gd name="connsiteY2" fmla="*/ 698500 h 727075"/>
                <a:gd name="connsiteX3" fmla="*/ 15875 w 254089"/>
                <a:gd name="connsiteY3" fmla="*/ 650875 h 727075"/>
                <a:gd name="connsiteX4" fmla="*/ 22225 w 254089"/>
                <a:gd name="connsiteY4" fmla="*/ 638175 h 727075"/>
                <a:gd name="connsiteX5" fmla="*/ 34925 w 254089"/>
                <a:gd name="connsiteY5" fmla="*/ 628650 h 727075"/>
                <a:gd name="connsiteX6" fmla="*/ 53975 w 254089"/>
                <a:gd name="connsiteY6" fmla="*/ 603250 h 727075"/>
                <a:gd name="connsiteX7" fmla="*/ 66675 w 254089"/>
                <a:gd name="connsiteY7" fmla="*/ 577850 h 727075"/>
                <a:gd name="connsiteX8" fmla="*/ 79375 w 254089"/>
                <a:gd name="connsiteY8" fmla="*/ 520700 h 727075"/>
                <a:gd name="connsiteX9" fmla="*/ 95250 w 254089"/>
                <a:gd name="connsiteY9" fmla="*/ 498475 h 727075"/>
                <a:gd name="connsiteX10" fmla="*/ 104775 w 254089"/>
                <a:gd name="connsiteY10" fmla="*/ 495300 h 727075"/>
                <a:gd name="connsiteX11" fmla="*/ 136525 w 254089"/>
                <a:gd name="connsiteY11" fmla="*/ 485775 h 727075"/>
                <a:gd name="connsiteX12" fmla="*/ 158750 w 254089"/>
                <a:gd name="connsiteY12" fmla="*/ 457200 h 727075"/>
                <a:gd name="connsiteX13" fmla="*/ 165100 w 254089"/>
                <a:gd name="connsiteY13" fmla="*/ 438150 h 727075"/>
                <a:gd name="connsiteX14" fmla="*/ 180975 w 254089"/>
                <a:gd name="connsiteY14" fmla="*/ 409575 h 727075"/>
                <a:gd name="connsiteX15" fmla="*/ 190500 w 254089"/>
                <a:gd name="connsiteY15" fmla="*/ 384175 h 727075"/>
                <a:gd name="connsiteX16" fmla="*/ 200025 w 254089"/>
                <a:gd name="connsiteY16" fmla="*/ 333375 h 727075"/>
                <a:gd name="connsiteX17" fmla="*/ 206375 w 254089"/>
                <a:gd name="connsiteY17" fmla="*/ 307975 h 727075"/>
                <a:gd name="connsiteX18" fmla="*/ 215900 w 254089"/>
                <a:gd name="connsiteY18" fmla="*/ 288925 h 727075"/>
                <a:gd name="connsiteX19" fmla="*/ 225425 w 254089"/>
                <a:gd name="connsiteY19" fmla="*/ 273050 h 727075"/>
                <a:gd name="connsiteX20" fmla="*/ 238125 w 254089"/>
                <a:gd name="connsiteY20" fmla="*/ 234950 h 727075"/>
                <a:gd name="connsiteX21" fmla="*/ 244475 w 254089"/>
                <a:gd name="connsiteY21" fmla="*/ 222250 h 727075"/>
                <a:gd name="connsiteX22" fmla="*/ 250825 w 254089"/>
                <a:gd name="connsiteY22" fmla="*/ 190500 h 727075"/>
                <a:gd name="connsiteX23" fmla="*/ 250825 w 254089"/>
                <a:gd name="connsiteY23" fmla="*/ 107950 h 727075"/>
                <a:gd name="connsiteX24" fmla="*/ 244475 w 254089"/>
                <a:gd name="connsiteY24" fmla="*/ 88900 h 727075"/>
                <a:gd name="connsiteX25" fmla="*/ 241300 w 254089"/>
                <a:gd name="connsiteY25" fmla="*/ 79375 h 727075"/>
                <a:gd name="connsiteX26" fmla="*/ 250825 w 254089"/>
                <a:gd name="connsiteY26" fmla="*/ 3175 h 727075"/>
                <a:gd name="connsiteX27" fmla="*/ 254000 w 254089"/>
                <a:gd name="connsiteY27" fmla="*/ 0 h 727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54089" h="727075">
                  <a:moveTo>
                    <a:pt x="0" y="727075"/>
                  </a:moveTo>
                  <a:cubicBezTo>
                    <a:pt x="1058" y="721783"/>
                    <a:pt x="1468" y="716320"/>
                    <a:pt x="3175" y="711200"/>
                  </a:cubicBezTo>
                  <a:cubicBezTo>
                    <a:pt x="4672" y="706710"/>
                    <a:pt x="8653" y="703152"/>
                    <a:pt x="9525" y="698500"/>
                  </a:cubicBezTo>
                  <a:cubicBezTo>
                    <a:pt x="14554" y="671677"/>
                    <a:pt x="8256" y="668653"/>
                    <a:pt x="15875" y="650875"/>
                  </a:cubicBezTo>
                  <a:cubicBezTo>
                    <a:pt x="17739" y="646525"/>
                    <a:pt x="19145" y="641769"/>
                    <a:pt x="22225" y="638175"/>
                  </a:cubicBezTo>
                  <a:cubicBezTo>
                    <a:pt x="25669" y="634157"/>
                    <a:pt x="30907" y="632094"/>
                    <a:pt x="34925" y="628650"/>
                  </a:cubicBezTo>
                  <a:cubicBezTo>
                    <a:pt x="45189" y="619852"/>
                    <a:pt x="47121" y="615979"/>
                    <a:pt x="53975" y="603250"/>
                  </a:cubicBezTo>
                  <a:cubicBezTo>
                    <a:pt x="58463" y="594915"/>
                    <a:pt x="66675" y="577850"/>
                    <a:pt x="66675" y="577850"/>
                  </a:cubicBezTo>
                  <a:cubicBezTo>
                    <a:pt x="72237" y="541700"/>
                    <a:pt x="68533" y="545095"/>
                    <a:pt x="79375" y="520700"/>
                  </a:cubicBezTo>
                  <a:cubicBezTo>
                    <a:pt x="83557" y="511291"/>
                    <a:pt x="86340" y="504415"/>
                    <a:pt x="95250" y="498475"/>
                  </a:cubicBezTo>
                  <a:cubicBezTo>
                    <a:pt x="98035" y="496619"/>
                    <a:pt x="101641" y="496475"/>
                    <a:pt x="104775" y="495300"/>
                  </a:cubicBezTo>
                  <a:cubicBezTo>
                    <a:pt x="128644" y="486349"/>
                    <a:pt x="112236" y="490633"/>
                    <a:pt x="136525" y="485775"/>
                  </a:cubicBezTo>
                  <a:cubicBezTo>
                    <a:pt x="144743" y="477557"/>
                    <a:pt x="154952" y="468593"/>
                    <a:pt x="158750" y="457200"/>
                  </a:cubicBezTo>
                  <a:cubicBezTo>
                    <a:pt x="160867" y="450850"/>
                    <a:pt x="161084" y="443505"/>
                    <a:pt x="165100" y="438150"/>
                  </a:cubicBezTo>
                  <a:cubicBezTo>
                    <a:pt x="180150" y="418083"/>
                    <a:pt x="170392" y="433387"/>
                    <a:pt x="180975" y="409575"/>
                  </a:cubicBezTo>
                  <a:cubicBezTo>
                    <a:pt x="189157" y="391166"/>
                    <a:pt x="186287" y="403132"/>
                    <a:pt x="190500" y="384175"/>
                  </a:cubicBezTo>
                  <a:cubicBezTo>
                    <a:pt x="194242" y="367338"/>
                    <a:pt x="196147" y="350181"/>
                    <a:pt x="200025" y="333375"/>
                  </a:cubicBezTo>
                  <a:cubicBezTo>
                    <a:pt x="201987" y="324871"/>
                    <a:pt x="202472" y="315781"/>
                    <a:pt x="206375" y="307975"/>
                  </a:cubicBezTo>
                  <a:cubicBezTo>
                    <a:pt x="209550" y="301625"/>
                    <a:pt x="212500" y="295158"/>
                    <a:pt x="215900" y="288925"/>
                  </a:cubicBezTo>
                  <a:cubicBezTo>
                    <a:pt x="218855" y="283507"/>
                    <a:pt x="223075" y="278756"/>
                    <a:pt x="225425" y="273050"/>
                  </a:cubicBezTo>
                  <a:cubicBezTo>
                    <a:pt x="230522" y="260671"/>
                    <a:pt x="232138" y="246924"/>
                    <a:pt x="238125" y="234950"/>
                  </a:cubicBezTo>
                  <a:cubicBezTo>
                    <a:pt x="240242" y="230717"/>
                    <a:pt x="242813" y="226682"/>
                    <a:pt x="244475" y="222250"/>
                  </a:cubicBezTo>
                  <a:cubicBezTo>
                    <a:pt x="247317" y="214672"/>
                    <a:pt x="249728" y="197084"/>
                    <a:pt x="250825" y="190500"/>
                  </a:cubicBezTo>
                  <a:cubicBezTo>
                    <a:pt x="253599" y="154444"/>
                    <a:pt x="256518" y="144006"/>
                    <a:pt x="250825" y="107950"/>
                  </a:cubicBezTo>
                  <a:cubicBezTo>
                    <a:pt x="249781" y="101338"/>
                    <a:pt x="246592" y="95250"/>
                    <a:pt x="244475" y="88900"/>
                  </a:cubicBezTo>
                  <a:lnTo>
                    <a:pt x="241300" y="79375"/>
                  </a:lnTo>
                  <a:cubicBezTo>
                    <a:pt x="243423" y="36920"/>
                    <a:pt x="235285" y="29075"/>
                    <a:pt x="250825" y="3175"/>
                  </a:cubicBezTo>
                  <a:cubicBezTo>
                    <a:pt x="251595" y="1892"/>
                    <a:pt x="252942" y="1058"/>
                    <a:pt x="254000" y="0"/>
                  </a:cubicBezTo>
                </a:path>
              </a:pathLst>
            </a:cu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17" name="Volný tvar: obrazec 16">
              <a:extLst>
                <a:ext uri="{FF2B5EF4-FFF2-40B4-BE49-F238E27FC236}">
                  <a16:creationId xmlns:a16="http://schemas.microsoft.com/office/drawing/2014/main" id="{E6508A04-595F-B481-7FDD-41DC129F9DCF}"/>
                </a:ext>
              </a:extLst>
            </p:cNvPr>
            <p:cNvSpPr/>
            <p:nvPr/>
          </p:nvSpPr>
          <p:spPr>
            <a:xfrm rot="21449082">
              <a:off x="7106299" y="5232221"/>
              <a:ext cx="1180583" cy="553062"/>
            </a:xfrm>
            <a:custGeom>
              <a:avLst/>
              <a:gdLst>
                <a:gd name="connsiteX0" fmla="*/ 0 w 1273175"/>
                <a:gd name="connsiteY0" fmla="*/ 0 h 616654"/>
                <a:gd name="connsiteX1" fmla="*/ 41275 w 1273175"/>
                <a:gd name="connsiteY1" fmla="*/ 15875 h 616654"/>
                <a:gd name="connsiteX2" fmla="*/ 53975 w 1273175"/>
                <a:gd name="connsiteY2" fmla="*/ 25400 h 616654"/>
                <a:gd name="connsiteX3" fmla="*/ 66675 w 1273175"/>
                <a:gd name="connsiteY3" fmla="*/ 38100 h 616654"/>
                <a:gd name="connsiteX4" fmla="*/ 76200 w 1273175"/>
                <a:gd name="connsiteY4" fmla="*/ 41275 h 616654"/>
                <a:gd name="connsiteX5" fmla="*/ 88900 w 1273175"/>
                <a:gd name="connsiteY5" fmla="*/ 50800 h 616654"/>
                <a:gd name="connsiteX6" fmla="*/ 95250 w 1273175"/>
                <a:gd name="connsiteY6" fmla="*/ 73025 h 616654"/>
                <a:gd name="connsiteX7" fmla="*/ 104775 w 1273175"/>
                <a:gd name="connsiteY7" fmla="*/ 85725 h 616654"/>
                <a:gd name="connsiteX8" fmla="*/ 120650 w 1273175"/>
                <a:gd name="connsiteY8" fmla="*/ 123825 h 616654"/>
                <a:gd name="connsiteX9" fmla="*/ 127000 w 1273175"/>
                <a:gd name="connsiteY9" fmla="*/ 133350 h 616654"/>
                <a:gd name="connsiteX10" fmla="*/ 139700 w 1273175"/>
                <a:gd name="connsiteY10" fmla="*/ 139700 h 616654"/>
                <a:gd name="connsiteX11" fmla="*/ 149225 w 1273175"/>
                <a:gd name="connsiteY11" fmla="*/ 142875 h 616654"/>
                <a:gd name="connsiteX12" fmla="*/ 196850 w 1273175"/>
                <a:gd name="connsiteY12" fmla="*/ 155575 h 616654"/>
                <a:gd name="connsiteX13" fmla="*/ 209550 w 1273175"/>
                <a:gd name="connsiteY13" fmla="*/ 184150 h 616654"/>
                <a:gd name="connsiteX14" fmla="*/ 212725 w 1273175"/>
                <a:gd name="connsiteY14" fmla="*/ 196850 h 616654"/>
                <a:gd name="connsiteX15" fmla="*/ 219075 w 1273175"/>
                <a:gd name="connsiteY15" fmla="*/ 206375 h 616654"/>
                <a:gd name="connsiteX16" fmla="*/ 231775 w 1273175"/>
                <a:gd name="connsiteY16" fmla="*/ 228600 h 616654"/>
                <a:gd name="connsiteX17" fmla="*/ 238125 w 1273175"/>
                <a:gd name="connsiteY17" fmla="*/ 254000 h 616654"/>
                <a:gd name="connsiteX18" fmla="*/ 247650 w 1273175"/>
                <a:gd name="connsiteY18" fmla="*/ 263525 h 616654"/>
                <a:gd name="connsiteX19" fmla="*/ 260350 w 1273175"/>
                <a:gd name="connsiteY19" fmla="*/ 288925 h 616654"/>
                <a:gd name="connsiteX20" fmla="*/ 273050 w 1273175"/>
                <a:gd name="connsiteY20" fmla="*/ 298450 h 616654"/>
                <a:gd name="connsiteX21" fmla="*/ 282575 w 1273175"/>
                <a:gd name="connsiteY21" fmla="*/ 301625 h 616654"/>
                <a:gd name="connsiteX22" fmla="*/ 314325 w 1273175"/>
                <a:gd name="connsiteY22" fmla="*/ 317500 h 616654"/>
                <a:gd name="connsiteX23" fmla="*/ 339725 w 1273175"/>
                <a:gd name="connsiteY23" fmla="*/ 330200 h 616654"/>
                <a:gd name="connsiteX24" fmla="*/ 368300 w 1273175"/>
                <a:gd name="connsiteY24" fmla="*/ 349250 h 616654"/>
                <a:gd name="connsiteX25" fmla="*/ 387350 w 1273175"/>
                <a:gd name="connsiteY25" fmla="*/ 368300 h 616654"/>
                <a:gd name="connsiteX26" fmla="*/ 425450 w 1273175"/>
                <a:gd name="connsiteY26" fmla="*/ 403225 h 616654"/>
                <a:gd name="connsiteX27" fmla="*/ 434975 w 1273175"/>
                <a:gd name="connsiteY27" fmla="*/ 406400 h 616654"/>
                <a:gd name="connsiteX28" fmla="*/ 444500 w 1273175"/>
                <a:gd name="connsiteY28" fmla="*/ 419100 h 616654"/>
                <a:gd name="connsiteX29" fmla="*/ 450850 w 1273175"/>
                <a:gd name="connsiteY29" fmla="*/ 434975 h 616654"/>
                <a:gd name="connsiteX30" fmla="*/ 441325 w 1273175"/>
                <a:gd name="connsiteY30" fmla="*/ 441325 h 616654"/>
                <a:gd name="connsiteX31" fmla="*/ 434975 w 1273175"/>
                <a:gd name="connsiteY31" fmla="*/ 457200 h 616654"/>
                <a:gd name="connsiteX32" fmla="*/ 419100 w 1273175"/>
                <a:gd name="connsiteY32" fmla="*/ 476250 h 616654"/>
                <a:gd name="connsiteX33" fmla="*/ 428625 w 1273175"/>
                <a:gd name="connsiteY33" fmla="*/ 508000 h 616654"/>
                <a:gd name="connsiteX34" fmla="*/ 447675 w 1273175"/>
                <a:gd name="connsiteY34" fmla="*/ 511175 h 616654"/>
                <a:gd name="connsiteX35" fmla="*/ 460375 w 1273175"/>
                <a:gd name="connsiteY35" fmla="*/ 514350 h 616654"/>
                <a:gd name="connsiteX36" fmla="*/ 469900 w 1273175"/>
                <a:gd name="connsiteY36" fmla="*/ 520700 h 616654"/>
                <a:gd name="connsiteX37" fmla="*/ 482600 w 1273175"/>
                <a:gd name="connsiteY37" fmla="*/ 523875 h 616654"/>
                <a:gd name="connsiteX38" fmla="*/ 485775 w 1273175"/>
                <a:gd name="connsiteY38" fmla="*/ 536575 h 616654"/>
                <a:gd name="connsiteX39" fmla="*/ 501650 w 1273175"/>
                <a:gd name="connsiteY39" fmla="*/ 546100 h 616654"/>
                <a:gd name="connsiteX40" fmla="*/ 530225 w 1273175"/>
                <a:gd name="connsiteY40" fmla="*/ 561975 h 616654"/>
                <a:gd name="connsiteX41" fmla="*/ 542925 w 1273175"/>
                <a:gd name="connsiteY41" fmla="*/ 571500 h 616654"/>
                <a:gd name="connsiteX42" fmla="*/ 561975 w 1273175"/>
                <a:gd name="connsiteY42" fmla="*/ 574675 h 616654"/>
                <a:gd name="connsiteX43" fmla="*/ 593725 w 1273175"/>
                <a:gd name="connsiteY43" fmla="*/ 587375 h 616654"/>
                <a:gd name="connsiteX44" fmla="*/ 622300 w 1273175"/>
                <a:gd name="connsiteY44" fmla="*/ 593725 h 616654"/>
                <a:gd name="connsiteX45" fmla="*/ 647700 w 1273175"/>
                <a:gd name="connsiteY45" fmla="*/ 609600 h 616654"/>
                <a:gd name="connsiteX46" fmla="*/ 717550 w 1273175"/>
                <a:gd name="connsiteY46" fmla="*/ 612775 h 616654"/>
                <a:gd name="connsiteX47" fmla="*/ 730250 w 1273175"/>
                <a:gd name="connsiteY47" fmla="*/ 606425 h 616654"/>
                <a:gd name="connsiteX48" fmla="*/ 733425 w 1273175"/>
                <a:gd name="connsiteY48" fmla="*/ 596900 h 616654"/>
                <a:gd name="connsiteX49" fmla="*/ 746125 w 1273175"/>
                <a:gd name="connsiteY49" fmla="*/ 590550 h 616654"/>
                <a:gd name="connsiteX50" fmla="*/ 762000 w 1273175"/>
                <a:gd name="connsiteY50" fmla="*/ 574675 h 616654"/>
                <a:gd name="connsiteX51" fmla="*/ 781050 w 1273175"/>
                <a:gd name="connsiteY51" fmla="*/ 561975 h 616654"/>
                <a:gd name="connsiteX52" fmla="*/ 787400 w 1273175"/>
                <a:gd name="connsiteY52" fmla="*/ 552450 h 616654"/>
                <a:gd name="connsiteX53" fmla="*/ 790575 w 1273175"/>
                <a:gd name="connsiteY53" fmla="*/ 542925 h 616654"/>
                <a:gd name="connsiteX54" fmla="*/ 796925 w 1273175"/>
                <a:gd name="connsiteY54" fmla="*/ 530225 h 616654"/>
                <a:gd name="connsiteX55" fmla="*/ 809625 w 1273175"/>
                <a:gd name="connsiteY55" fmla="*/ 498475 h 616654"/>
                <a:gd name="connsiteX56" fmla="*/ 822325 w 1273175"/>
                <a:gd name="connsiteY56" fmla="*/ 501650 h 616654"/>
                <a:gd name="connsiteX57" fmla="*/ 828675 w 1273175"/>
                <a:gd name="connsiteY57" fmla="*/ 514350 h 616654"/>
                <a:gd name="connsiteX58" fmla="*/ 847725 w 1273175"/>
                <a:gd name="connsiteY58" fmla="*/ 520700 h 616654"/>
                <a:gd name="connsiteX59" fmla="*/ 863600 w 1273175"/>
                <a:gd name="connsiteY59" fmla="*/ 530225 h 616654"/>
                <a:gd name="connsiteX60" fmla="*/ 892175 w 1273175"/>
                <a:gd name="connsiteY60" fmla="*/ 536575 h 616654"/>
                <a:gd name="connsiteX61" fmla="*/ 923925 w 1273175"/>
                <a:gd name="connsiteY61" fmla="*/ 530225 h 616654"/>
                <a:gd name="connsiteX62" fmla="*/ 942975 w 1273175"/>
                <a:gd name="connsiteY62" fmla="*/ 523875 h 616654"/>
                <a:gd name="connsiteX63" fmla="*/ 955675 w 1273175"/>
                <a:gd name="connsiteY63" fmla="*/ 542925 h 616654"/>
                <a:gd name="connsiteX64" fmla="*/ 962025 w 1273175"/>
                <a:gd name="connsiteY64" fmla="*/ 552450 h 616654"/>
                <a:gd name="connsiteX65" fmla="*/ 981075 w 1273175"/>
                <a:gd name="connsiteY65" fmla="*/ 561975 h 616654"/>
                <a:gd name="connsiteX66" fmla="*/ 1000125 w 1273175"/>
                <a:gd name="connsiteY66" fmla="*/ 574675 h 616654"/>
                <a:gd name="connsiteX67" fmla="*/ 1025525 w 1273175"/>
                <a:gd name="connsiteY67" fmla="*/ 568325 h 616654"/>
                <a:gd name="connsiteX68" fmla="*/ 1031875 w 1273175"/>
                <a:gd name="connsiteY68" fmla="*/ 536575 h 616654"/>
                <a:gd name="connsiteX69" fmla="*/ 1041400 w 1273175"/>
                <a:gd name="connsiteY69" fmla="*/ 530225 h 616654"/>
                <a:gd name="connsiteX70" fmla="*/ 1044575 w 1273175"/>
                <a:gd name="connsiteY70" fmla="*/ 488950 h 616654"/>
                <a:gd name="connsiteX71" fmla="*/ 1054100 w 1273175"/>
                <a:gd name="connsiteY71" fmla="*/ 460375 h 616654"/>
                <a:gd name="connsiteX72" fmla="*/ 1057275 w 1273175"/>
                <a:gd name="connsiteY72" fmla="*/ 444500 h 616654"/>
                <a:gd name="connsiteX73" fmla="*/ 1069975 w 1273175"/>
                <a:gd name="connsiteY73" fmla="*/ 434975 h 616654"/>
                <a:gd name="connsiteX74" fmla="*/ 1085850 w 1273175"/>
                <a:gd name="connsiteY74" fmla="*/ 419100 h 616654"/>
                <a:gd name="connsiteX75" fmla="*/ 1089025 w 1273175"/>
                <a:gd name="connsiteY75" fmla="*/ 406400 h 616654"/>
                <a:gd name="connsiteX76" fmla="*/ 1111250 w 1273175"/>
                <a:gd name="connsiteY76" fmla="*/ 384175 h 616654"/>
                <a:gd name="connsiteX77" fmla="*/ 1127125 w 1273175"/>
                <a:gd name="connsiteY77" fmla="*/ 361950 h 616654"/>
                <a:gd name="connsiteX78" fmla="*/ 1139825 w 1273175"/>
                <a:gd name="connsiteY78" fmla="*/ 323850 h 616654"/>
                <a:gd name="connsiteX79" fmla="*/ 1152525 w 1273175"/>
                <a:gd name="connsiteY79" fmla="*/ 314325 h 616654"/>
                <a:gd name="connsiteX80" fmla="*/ 1168400 w 1273175"/>
                <a:gd name="connsiteY80" fmla="*/ 317500 h 616654"/>
                <a:gd name="connsiteX81" fmla="*/ 1177925 w 1273175"/>
                <a:gd name="connsiteY81" fmla="*/ 323850 h 616654"/>
                <a:gd name="connsiteX82" fmla="*/ 1187450 w 1273175"/>
                <a:gd name="connsiteY82" fmla="*/ 327025 h 616654"/>
                <a:gd name="connsiteX83" fmla="*/ 1222375 w 1273175"/>
                <a:gd name="connsiteY83" fmla="*/ 342900 h 616654"/>
                <a:gd name="connsiteX84" fmla="*/ 1260475 w 1273175"/>
                <a:gd name="connsiteY84" fmla="*/ 349250 h 616654"/>
                <a:gd name="connsiteX85" fmla="*/ 1270000 w 1273175"/>
                <a:gd name="connsiteY85" fmla="*/ 346075 h 616654"/>
                <a:gd name="connsiteX86" fmla="*/ 1273175 w 1273175"/>
                <a:gd name="connsiteY86" fmla="*/ 336550 h 616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73175" h="616654">
                  <a:moveTo>
                    <a:pt x="0" y="0"/>
                  </a:moveTo>
                  <a:cubicBezTo>
                    <a:pt x="17325" y="3465"/>
                    <a:pt x="24788" y="3510"/>
                    <a:pt x="41275" y="15875"/>
                  </a:cubicBezTo>
                  <a:cubicBezTo>
                    <a:pt x="45508" y="19050"/>
                    <a:pt x="49993" y="21915"/>
                    <a:pt x="53975" y="25400"/>
                  </a:cubicBezTo>
                  <a:cubicBezTo>
                    <a:pt x="58481" y="29342"/>
                    <a:pt x="61803" y="34620"/>
                    <a:pt x="66675" y="38100"/>
                  </a:cubicBezTo>
                  <a:cubicBezTo>
                    <a:pt x="69398" y="40045"/>
                    <a:pt x="73025" y="40217"/>
                    <a:pt x="76200" y="41275"/>
                  </a:cubicBezTo>
                  <a:cubicBezTo>
                    <a:pt x="80433" y="44450"/>
                    <a:pt x="85512" y="46735"/>
                    <a:pt x="88900" y="50800"/>
                  </a:cubicBezTo>
                  <a:cubicBezTo>
                    <a:pt x="90851" y="53141"/>
                    <a:pt x="94659" y="71843"/>
                    <a:pt x="95250" y="73025"/>
                  </a:cubicBezTo>
                  <a:cubicBezTo>
                    <a:pt x="97617" y="77758"/>
                    <a:pt x="101600" y="81492"/>
                    <a:pt x="104775" y="85725"/>
                  </a:cubicBezTo>
                  <a:cubicBezTo>
                    <a:pt x="108895" y="102205"/>
                    <a:pt x="108929" y="106243"/>
                    <a:pt x="120650" y="123825"/>
                  </a:cubicBezTo>
                  <a:cubicBezTo>
                    <a:pt x="122767" y="127000"/>
                    <a:pt x="124069" y="130907"/>
                    <a:pt x="127000" y="133350"/>
                  </a:cubicBezTo>
                  <a:cubicBezTo>
                    <a:pt x="130636" y="136380"/>
                    <a:pt x="135350" y="137836"/>
                    <a:pt x="139700" y="139700"/>
                  </a:cubicBezTo>
                  <a:cubicBezTo>
                    <a:pt x="142776" y="141018"/>
                    <a:pt x="146000" y="141979"/>
                    <a:pt x="149225" y="142875"/>
                  </a:cubicBezTo>
                  <a:cubicBezTo>
                    <a:pt x="165055" y="147272"/>
                    <a:pt x="180975" y="151342"/>
                    <a:pt x="196850" y="155575"/>
                  </a:cubicBezTo>
                  <a:cubicBezTo>
                    <a:pt x="202382" y="166639"/>
                    <a:pt x="205496" y="171988"/>
                    <a:pt x="209550" y="184150"/>
                  </a:cubicBezTo>
                  <a:cubicBezTo>
                    <a:pt x="210930" y="188290"/>
                    <a:pt x="211006" y="192839"/>
                    <a:pt x="212725" y="196850"/>
                  </a:cubicBezTo>
                  <a:cubicBezTo>
                    <a:pt x="214228" y="200357"/>
                    <a:pt x="217182" y="203062"/>
                    <a:pt x="219075" y="206375"/>
                  </a:cubicBezTo>
                  <a:cubicBezTo>
                    <a:pt x="235188" y="234573"/>
                    <a:pt x="216304" y="205394"/>
                    <a:pt x="231775" y="228600"/>
                  </a:cubicBezTo>
                  <a:cubicBezTo>
                    <a:pt x="232233" y="230890"/>
                    <a:pt x="235336" y="249816"/>
                    <a:pt x="238125" y="254000"/>
                  </a:cubicBezTo>
                  <a:cubicBezTo>
                    <a:pt x="240616" y="257736"/>
                    <a:pt x="244475" y="260350"/>
                    <a:pt x="247650" y="263525"/>
                  </a:cubicBezTo>
                  <a:cubicBezTo>
                    <a:pt x="251056" y="273743"/>
                    <a:pt x="252275" y="279697"/>
                    <a:pt x="260350" y="288925"/>
                  </a:cubicBezTo>
                  <a:cubicBezTo>
                    <a:pt x="263835" y="292907"/>
                    <a:pt x="268456" y="295825"/>
                    <a:pt x="273050" y="298450"/>
                  </a:cubicBezTo>
                  <a:cubicBezTo>
                    <a:pt x="275956" y="300110"/>
                    <a:pt x="279400" y="300567"/>
                    <a:pt x="282575" y="301625"/>
                  </a:cubicBezTo>
                  <a:cubicBezTo>
                    <a:pt x="313316" y="324681"/>
                    <a:pt x="274208" y="297442"/>
                    <a:pt x="314325" y="317500"/>
                  </a:cubicBezTo>
                  <a:cubicBezTo>
                    <a:pt x="346707" y="333691"/>
                    <a:pt x="308540" y="322404"/>
                    <a:pt x="339725" y="330200"/>
                  </a:cubicBezTo>
                  <a:cubicBezTo>
                    <a:pt x="349854" y="336277"/>
                    <a:pt x="359482" y="341313"/>
                    <a:pt x="368300" y="349250"/>
                  </a:cubicBezTo>
                  <a:cubicBezTo>
                    <a:pt x="374975" y="355257"/>
                    <a:pt x="382369" y="360828"/>
                    <a:pt x="387350" y="368300"/>
                  </a:cubicBezTo>
                  <a:cubicBezTo>
                    <a:pt x="397307" y="383235"/>
                    <a:pt x="404612" y="396279"/>
                    <a:pt x="425450" y="403225"/>
                  </a:cubicBezTo>
                  <a:lnTo>
                    <a:pt x="434975" y="406400"/>
                  </a:lnTo>
                  <a:cubicBezTo>
                    <a:pt x="438150" y="410633"/>
                    <a:pt x="440758" y="415358"/>
                    <a:pt x="444500" y="419100"/>
                  </a:cubicBezTo>
                  <a:cubicBezTo>
                    <a:pt x="451100" y="425700"/>
                    <a:pt x="460239" y="423239"/>
                    <a:pt x="450850" y="434975"/>
                  </a:cubicBezTo>
                  <a:cubicBezTo>
                    <a:pt x="448466" y="437955"/>
                    <a:pt x="444500" y="439208"/>
                    <a:pt x="441325" y="441325"/>
                  </a:cubicBezTo>
                  <a:cubicBezTo>
                    <a:pt x="439208" y="446617"/>
                    <a:pt x="439005" y="453170"/>
                    <a:pt x="434975" y="457200"/>
                  </a:cubicBezTo>
                  <a:cubicBezTo>
                    <a:pt x="413677" y="478498"/>
                    <a:pt x="427290" y="435302"/>
                    <a:pt x="419100" y="476250"/>
                  </a:cubicBezTo>
                  <a:cubicBezTo>
                    <a:pt x="422275" y="486833"/>
                    <a:pt x="421628" y="499448"/>
                    <a:pt x="428625" y="508000"/>
                  </a:cubicBezTo>
                  <a:cubicBezTo>
                    <a:pt x="432702" y="512982"/>
                    <a:pt x="441362" y="509912"/>
                    <a:pt x="447675" y="511175"/>
                  </a:cubicBezTo>
                  <a:cubicBezTo>
                    <a:pt x="451954" y="512031"/>
                    <a:pt x="456142" y="513292"/>
                    <a:pt x="460375" y="514350"/>
                  </a:cubicBezTo>
                  <a:cubicBezTo>
                    <a:pt x="463550" y="516467"/>
                    <a:pt x="466393" y="519197"/>
                    <a:pt x="469900" y="520700"/>
                  </a:cubicBezTo>
                  <a:cubicBezTo>
                    <a:pt x="473911" y="522419"/>
                    <a:pt x="479514" y="520789"/>
                    <a:pt x="482600" y="523875"/>
                  </a:cubicBezTo>
                  <a:cubicBezTo>
                    <a:pt x="485686" y="526961"/>
                    <a:pt x="482935" y="533262"/>
                    <a:pt x="485775" y="536575"/>
                  </a:cubicBezTo>
                  <a:cubicBezTo>
                    <a:pt x="489791" y="541260"/>
                    <a:pt x="496255" y="543103"/>
                    <a:pt x="501650" y="546100"/>
                  </a:cubicBezTo>
                  <a:cubicBezTo>
                    <a:pt x="519806" y="556187"/>
                    <a:pt x="510374" y="548741"/>
                    <a:pt x="530225" y="561975"/>
                  </a:cubicBezTo>
                  <a:cubicBezTo>
                    <a:pt x="534628" y="564910"/>
                    <a:pt x="538012" y="569535"/>
                    <a:pt x="542925" y="571500"/>
                  </a:cubicBezTo>
                  <a:cubicBezTo>
                    <a:pt x="548902" y="573891"/>
                    <a:pt x="555730" y="573114"/>
                    <a:pt x="561975" y="574675"/>
                  </a:cubicBezTo>
                  <a:cubicBezTo>
                    <a:pt x="596249" y="583243"/>
                    <a:pt x="567448" y="577521"/>
                    <a:pt x="593725" y="587375"/>
                  </a:cubicBezTo>
                  <a:cubicBezTo>
                    <a:pt x="598849" y="589297"/>
                    <a:pt x="617989" y="592863"/>
                    <a:pt x="622300" y="593725"/>
                  </a:cubicBezTo>
                  <a:cubicBezTo>
                    <a:pt x="630767" y="599017"/>
                    <a:pt x="638770" y="605135"/>
                    <a:pt x="647700" y="609600"/>
                  </a:cubicBezTo>
                  <a:cubicBezTo>
                    <a:pt x="672432" y="621966"/>
                    <a:pt x="686465" y="614718"/>
                    <a:pt x="717550" y="612775"/>
                  </a:cubicBezTo>
                  <a:cubicBezTo>
                    <a:pt x="721783" y="610658"/>
                    <a:pt x="726903" y="609772"/>
                    <a:pt x="730250" y="606425"/>
                  </a:cubicBezTo>
                  <a:cubicBezTo>
                    <a:pt x="732617" y="604058"/>
                    <a:pt x="731058" y="599267"/>
                    <a:pt x="733425" y="596900"/>
                  </a:cubicBezTo>
                  <a:cubicBezTo>
                    <a:pt x="736772" y="593553"/>
                    <a:pt x="741892" y="592667"/>
                    <a:pt x="746125" y="590550"/>
                  </a:cubicBezTo>
                  <a:cubicBezTo>
                    <a:pt x="757767" y="573088"/>
                    <a:pt x="746125" y="587904"/>
                    <a:pt x="762000" y="574675"/>
                  </a:cubicBezTo>
                  <a:cubicBezTo>
                    <a:pt x="777855" y="561462"/>
                    <a:pt x="764311" y="567555"/>
                    <a:pt x="781050" y="561975"/>
                  </a:cubicBezTo>
                  <a:cubicBezTo>
                    <a:pt x="783167" y="558800"/>
                    <a:pt x="785693" y="555863"/>
                    <a:pt x="787400" y="552450"/>
                  </a:cubicBezTo>
                  <a:cubicBezTo>
                    <a:pt x="788897" y="549457"/>
                    <a:pt x="789257" y="546001"/>
                    <a:pt x="790575" y="542925"/>
                  </a:cubicBezTo>
                  <a:cubicBezTo>
                    <a:pt x="792439" y="538575"/>
                    <a:pt x="794808" y="534458"/>
                    <a:pt x="796925" y="530225"/>
                  </a:cubicBezTo>
                  <a:cubicBezTo>
                    <a:pt x="798650" y="521601"/>
                    <a:pt x="800366" y="503766"/>
                    <a:pt x="809625" y="498475"/>
                  </a:cubicBezTo>
                  <a:cubicBezTo>
                    <a:pt x="813414" y="496310"/>
                    <a:pt x="818092" y="500592"/>
                    <a:pt x="822325" y="501650"/>
                  </a:cubicBezTo>
                  <a:cubicBezTo>
                    <a:pt x="824442" y="505883"/>
                    <a:pt x="824889" y="511510"/>
                    <a:pt x="828675" y="514350"/>
                  </a:cubicBezTo>
                  <a:cubicBezTo>
                    <a:pt x="834030" y="518366"/>
                    <a:pt x="841985" y="517256"/>
                    <a:pt x="847725" y="520700"/>
                  </a:cubicBezTo>
                  <a:cubicBezTo>
                    <a:pt x="853017" y="523875"/>
                    <a:pt x="858080" y="527465"/>
                    <a:pt x="863600" y="530225"/>
                  </a:cubicBezTo>
                  <a:cubicBezTo>
                    <a:pt x="871416" y="534133"/>
                    <a:pt x="884858" y="535356"/>
                    <a:pt x="892175" y="536575"/>
                  </a:cubicBezTo>
                  <a:cubicBezTo>
                    <a:pt x="902758" y="534458"/>
                    <a:pt x="913454" y="532843"/>
                    <a:pt x="923925" y="530225"/>
                  </a:cubicBezTo>
                  <a:cubicBezTo>
                    <a:pt x="930419" y="528602"/>
                    <a:pt x="942975" y="523875"/>
                    <a:pt x="942975" y="523875"/>
                  </a:cubicBezTo>
                  <a:lnTo>
                    <a:pt x="955675" y="542925"/>
                  </a:lnTo>
                  <a:cubicBezTo>
                    <a:pt x="957792" y="546100"/>
                    <a:pt x="958612" y="550743"/>
                    <a:pt x="962025" y="552450"/>
                  </a:cubicBezTo>
                  <a:cubicBezTo>
                    <a:pt x="968375" y="555625"/>
                    <a:pt x="975168" y="558037"/>
                    <a:pt x="981075" y="561975"/>
                  </a:cubicBezTo>
                  <a:cubicBezTo>
                    <a:pt x="1004858" y="577830"/>
                    <a:pt x="977477" y="567126"/>
                    <a:pt x="1000125" y="574675"/>
                  </a:cubicBezTo>
                  <a:cubicBezTo>
                    <a:pt x="1008592" y="572558"/>
                    <a:pt x="1019938" y="575029"/>
                    <a:pt x="1025525" y="568325"/>
                  </a:cubicBezTo>
                  <a:cubicBezTo>
                    <a:pt x="1032434" y="560034"/>
                    <a:pt x="1027724" y="546538"/>
                    <a:pt x="1031875" y="536575"/>
                  </a:cubicBezTo>
                  <a:cubicBezTo>
                    <a:pt x="1033343" y="533053"/>
                    <a:pt x="1038225" y="532342"/>
                    <a:pt x="1041400" y="530225"/>
                  </a:cubicBezTo>
                  <a:cubicBezTo>
                    <a:pt x="1058049" y="488601"/>
                    <a:pt x="1037782" y="546693"/>
                    <a:pt x="1044575" y="488950"/>
                  </a:cubicBezTo>
                  <a:cubicBezTo>
                    <a:pt x="1045748" y="478979"/>
                    <a:pt x="1052131" y="470220"/>
                    <a:pt x="1054100" y="460375"/>
                  </a:cubicBezTo>
                  <a:cubicBezTo>
                    <a:pt x="1055158" y="455083"/>
                    <a:pt x="1054415" y="449076"/>
                    <a:pt x="1057275" y="444500"/>
                  </a:cubicBezTo>
                  <a:cubicBezTo>
                    <a:pt x="1060080" y="440013"/>
                    <a:pt x="1066233" y="438717"/>
                    <a:pt x="1069975" y="434975"/>
                  </a:cubicBezTo>
                  <a:cubicBezTo>
                    <a:pt x="1091142" y="413808"/>
                    <a:pt x="1060450" y="436033"/>
                    <a:pt x="1085850" y="419100"/>
                  </a:cubicBezTo>
                  <a:cubicBezTo>
                    <a:pt x="1086908" y="414867"/>
                    <a:pt x="1087306" y="410411"/>
                    <a:pt x="1089025" y="406400"/>
                  </a:cubicBezTo>
                  <a:cubicBezTo>
                    <a:pt x="1094408" y="393839"/>
                    <a:pt x="1100788" y="394637"/>
                    <a:pt x="1111250" y="384175"/>
                  </a:cubicBezTo>
                  <a:cubicBezTo>
                    <a:pt x="1115188" y="380237"/>
                    <a:pt x="1123519" y="367358"/>
                    <a:pt x="1127125" y="361950"/>
                  </a:cubicBezTo>
                  <a:cubicBezTo>
                    <a:pt x="1129242" y="349249"/>
                    <a:pt x="1129931" y="333744"/>
                    <a:pt x="1139825" y="323850"/>
                  </a:cubicBezTo>
                  <a:cubicBezTo>
                    <a:pt x="1143567" y="320108"/>
                    <a:pt x="1148292" y="317500"/>
                    <a:pt x="1152525" y="314325"/>
                  </a:cubicBezTo>
                  <a:cubicBezTo>
                    <a:pt x="1157817" y="315383"/>
                    <a:pt x="1163347" y="315605"/>
                    <a:pt x="1168400" y="317500"/>
                  </a:cubicBezTo>
                  <a:cubicBezTo>
                    <a:pt x="1171973" y="318840"/>
                    <a:pt x="1174512" y="322143"/>
                    <a:pt x="1177925" y="323850"/>
                  </a:cubicBezTo>
                  <a:cubicBezTo>
                    <a:pt x="1180918" y="325347"/>
                    <a:pt x="1184275" y="325967"/>
                    <a:pt x="1187450" y="327025"/>
                  </a:cubicBezTo>
                  <a:cubicBezTo>
                    <a:pt x="1201615" y="341190"/>
                    <a:pt x="1195595" y="338437"/>
                    <a:pt x="1222375" y="342900"/>
                  </a:cubicBezTo>
                  <a:lnTo>
                    <a:pt x="1260475" y="349250"/>
                  </a:lnTo>
                  <a:cubicBezTo>
                    <a:pt x="1263650" y="348192"/>
                    <a:pt x="1267633" y="348442"/>
                    <a:pt x="1270000" y="346075"/>
                  </a:cubicBezTo>
                  <a:cubicBezTo>
                    <a:pt x="1272367" y="343708"/>
                    <a:pt x="1273175" y="336550"/>
                    <a:pt x="1273175" y="336550"/>
                  </a:cubicBezTo>
                </a:path>
              </a:pathLst>
            </a:cu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18" name="Volný tvar: obrazec 17">
              <a:extLst>
                <a:ext uri="{FF2B5EF4-FFF2-40B4-BE49-F238E27FC236}">
                  <a16:creationId xmlns:a16="http://schemas.microsoft.com/office/drawing/2014/main" id="{66976B61-CEE3-C60D-544C-2DA51B4C943B}"/>
                </a:ext>
              </a:extLst>
            </p:cNvPr>
            <p:cNvSpPr/>
            <p:nvPr/>
          </p:nvSpPr>
          <p:spPr>
            <a:xfrm rot="21352129">
              <a:off x="7306360" y="4495145"/>
              <a:ext cx="971359" cy="105920"/>
            </a:xfrm>
            <a:custGeom>
              <a:avLst/>
              <a:gdLst>
                <a:gd name="connsiteX0" fmla="*/ 0 w 1012825"/>
                <a:gd name="connsiteY0" fmla="*/ 76200 h 123825"/>
                <a:gd name="connsiteX1" fmla="*/ 57150 w 1012825"/>
                <a:gd name="connsiteY1" fmla="*/ 73025 h 123825"/>
                <a:gd name="connsiteX2" fmla="*/ 66675 w 1012825"/>
                <a:gd name="connsiteY2" fmla="*/ 69850 h 123825"/>
                <a:gd name="connsiteX3" fmla="*/ 101600 w 1012825"/>
                <a:gd name="connsiteY3" fmla="*/ 79375 h 123825"/>
                <a:gd name="connsiteX4" fmla="*/ 111125 w 1012825"/>
                <a:gd name="connsiteY4" fmla="*/ 92075 h 123825"/>
                <a:gd name="connsiteX5" fmla="*/ 146050 w 1012825"/>
                <a:gd name="connsiteY5" fmla="*/ 104775 h 123825"/>
                <a:gd name="connsiteX6" fmla="*/ 184150 w 1012825"/>
                <a:gd name="connsiteY6" fmla="*/ 101600 h 123825"/>
                <a:gd name="connsiteX7" fmla="*/ 203200 w 1012825"/>
                <a:gd name="connsiteY7" fmla="*/ 79375 h 123825"/>
                <a:gd name="connsiteX8" fmla="*/ 219075 w 1012825"/>
                <a:gd name="connsiteY8" fmla="*/ 60325 h 123825"/>
                <a:gd name="connsiteX9" fmla="*/ 222250 w 1012825"/>
                <a:gd name="connsiteY9" fmla="*/ 50800 h 123825"/>
                <a:gd name="connsiteX10" fmla="*/ 225425 w 1012825"/>
                <a:gd name="connsiteY10" fmla="*/ 38100 h 123825"/>
                <a:gd name="connsiteX11" fmla="*/ 238125 w 1012825"/>
                <a:gd name="connsiteY11" fmla="*/ 34925 h 123825"/>
                <a:gd name="connsiteX12" fmla="*/ 250825 w 1012825"/>
                <a:gd name="connsiteY12" fmla="*/ 38100 h 123825"/>
                <a:gd name="connsiteX13" fmla="*/ 266700 w 1012825"/>
                <a:gd name="connsiteY13" fmla="*/ 69850 h 123825"/>
                <a:gd name="connsiteX14" fmla="*/ 301625 w 1012825"/>
                <a:gd name="connsiteY14" fmla="*/ 85725 h 123825"/>
                <a:gd name="connsiteX15" fmla="*/ 365125 w 1012825"/>
                <a:gd name="connsiteY15" fmla="*/ 79375 h 123825"/>
                <a:gd name="connsiteX16" fmla="*/ 377825 w 1012825"/>
                <a:gd name="connsiteY16" fmla="*/ 76200 h 123825"/>
                <a:gd name="connsiteX17" fmla="*/ 384175 w 1012825"/>
                <a:gd name="connsiteY17" fmla="*/ 66675 h 123825"/>
                <a:gd name="connsiteX18" fmla="*/ 403225 w 1012825"/>
                <a:gd name="connsiteY18" fmla="*/ 53975 h 123825"/>
                <a:gd name="connsiteX19" fmla="*/ 425450 w 1012825"/>
                <a:gd name="connsiteY19" fmla="*/ 41275 h 123825"/>
                <a:gd name="connsiteX20" fmla="*/ 457200 w 1012825"/>
                <a:gd name="connsiteY20" fmla="*/ 44450 h 123825"/>
                <a:gd name="connsiteX21" fmla="*/ 476250 w 1012825"/>
                <a:gd name="connsiteY21" fmla="*/ 73025 h 123825"/>
                <a:gd name="connsiteX22" fmla="*/ 485775 w 1012825"/>
                <a:gd name="connsiteY22" fmla="*/ 79375 h 123825"/>
                <a:gd name="connsiteX23" fmla="*/ 508000 w 1012825"/>
                <a:gd name="connsiteY23" fmla="*/ 85725 h 123825"/>
                <a:gd name="connsiteX24" fmla="*/ 533400 w 1012825"/>
                <a:gd name="connsiteY24" fmla="*/ 82550 h 123825"/>
                <a:gd name="connsiteX25" fmla="*/ 542925 w 1012825"/>
                <a:gd name="connsiteY25" fmla="*/ 79375 h 123825"/>
                <a:gd name="connsiteX26" fmla="*/ 561975 w 1012825"/>
                <a:gd name="connsiteY26" fmla="*/ 76200 h 123825"/>
                <a:gd name="connsiteX27" fmla="*/ 574675 w 1012825"/>
                <a:gd name="connsiteY27" fmla="*/ 69850 h 123825"/>
                <a:gd name="connsiteX28" fmla="*/ 609600 w 1012825"/>
                <a:gd name="connsiteY28" fmla="*/ 82550 h 123825"/>
                <a:gd name="connsiteX29" fmla="*/ 641350 w 1012825"/>
                <a:gd name="connsiteY29" fmla="*/ 88900 h 123825"/>
                <a:gd name="connsiteX30" fmla="*/ 654050 w 1012825"/>
                <a:gd name="connsiteY30" fmla="*/ 95250 h 123825"/>
                <a:gd name="connsiteX31" fmla="*/ 698500 w 1012825"/>
                <a:gd name="connsiteY31" fmla="*/ 95250 h 123825"/>
                <a:gd name="connsiteX32" fmla="*/ 708025 w 1012825"/>
                <a:gd name="connsiteY32" fmla="*/ 92075 h 123825"/>
                <a:gd name="connsiteX33" fmla="*/ 723900 w 1012825"/>
                <a:gd name="connsiteY33" fmla="*/ 114300 h 123825"/>
                <a:gd name="connsiteX34" fmla="*/ 736600 w 1012825"/>
                <a:gd name="connsiteY34" fmla="*/ 123825 h 123825"/>
                <a:gd name="connsiteX35" fmla="*/ 787400 w 1012825"/>
                <a:gd name="connsiteY35" fmla="*/ 117475 h 123825"/>
                <a:gd name="connsiteX36" fmla="*/ 793750 w 1012825"/>
                <a:gd name="connsiteY36" fmla="*/ 107950 h 123825"/>
                <a:gd name="connsiteX37" fmla="*/ 803275 w 1012825"/>
                <a:gd name="connsiteY37" fmla="*/ 101600 h 123825"/>
                <a:gd name="connsiteX38" fmla="*/ 812800 w 1012825"/>
                <a:gd name="connsiteY38" fmla="*/ 92075 h 123825"/>
                <a:gd name="connsiteX39" fmla="*/ 838200 w 1012825"/>
                <a:gd name="connsiteY39" fmla="*/ 76200 h 123825"/>
                <a:gd name="connsiteX40" fmla="*/ 841375 w 1012825"/>
                <a:gd name="connsiteY40" fmla="*/ 66675 h 123825"/>
                <a:gd name="connsiteX41" fmla="*/ 854075 w 1012825"/>
                <a:gd name="connsiteY41" fmla="*/ 41275 h 123825"/>
                <a:gd name="connsiteX42" fmla="*/ 860425 w 1012825"/>
                <a:gd name="connsiteY42" fmla="*/ 22225 h 123825"/>
                <a:gd name="connsiteX43" fmla="*/ 863600 w 1012825"/>
                <a:gd name="connsiteY43" fmla="*/ 12700 h 123825"/>
                <a:gd name="connsiteX44" fmla="*/ 882650 w 1012825"/>
                <a:gd name="connsiteY44" fmla="*/ 0 h 123825"/>
                <a:gd name="connsiteX45" fmla="*/ 917575 w 1012825"/>
                <a:gd name="connsiteY45" fmla="*/ 19050 h 123825"/>
                <a:gd name="connsiteX46" fmla="*/ 933450 w 1012825"/>
                <a:gd name="connsiteY46" fmla="*/ 25400 h 123825"/>
                <a:gd name="connsiteX47" fmla="*/ 952500 w 1012825"/>
                <a:gd name="connsiteY47" fmla="*/ 38100 h 123825"/>
                <a:gd name="connsiteX48" fmla="*/ 977900 w 1012825"/>
                <a:gd name="connsiteY48" fmla="*/ 47625 h 123825"/>
                <a:gd name="connsiteX49" fmla="*/ 987425 w 1012825"/>
                <a:gd name="connsiteY49" fmla="*/ 79375 h 123825"/>
                <a:gd name="connsiteX50" fmla="*/ 990600 w 1012825"/>
                <a:gd name="connsiteY50" fmla="*/ 88900 h 123825"/>
                <a:gd name="connsiteX51" fmla="*/ 1009650 w 1012825"/>
                <a:gd name="connsiteY51" fmla="*/ 98425 h 123825"/>
                <a:gd name="connsiteX52" fmla="*/ 1012825 w 1012825"/>
                <a:gd name="connsiteY52" fmla="*/ 101600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1012825" h="123825">
                  <a:moveTo>
                    <a:pt x="0" y="76200"/>
                  </a:moveTo>
                  <a:cubicBezTo>
                    <a:pt x="19050" y="75142"/>
                    <a:pt x="38157" y="74834"/>
                    <a:pt x="57150" y="73025"/>
                  </a:cubicBezTo>
                  <a:cubicBezTo>
                    <a:pt x="60482" y="72708"/>
                    <a:pt x="63362" y="69377"/>
                    <a:pt x="66675" y="69850"/>
                  </a:cubicBezTo>
                  <a:cubicBezTo>
                    <a:pt x="78621" y="71557"/>
                    <a:pt x="89958" y="76200"/>
                    <a:pt x="101600" y="79375"/>
                  </a:cubicBezTo>
                  <a:cubicBezTo>
                    <a:pt x="104775" y="83608"/>
                    <a:pt x="107143" y="88590"/>
                    <a:pt x="111125" y="92075"/>
                  </a:cubicBezTo>
                  <a:cubicBezTo>
                    <a:pt x="124214" y="103528"/>
                    <a:pt x="129578" y="102030"/>
                    <a:pt x="146050" y="104775"/>
                  </a:cubicBezTo>
                  <a:cubicBezTo>
                    <a:pt x="158750" y="103717"/>
                    <a:pt x="171653" y="104099"/>
                    <a:pt x="184150" y="101600"/>
                  </a:cubicBezTo>
                  <a:cubicBezTo>
                    <a:pt x="194261" y="99578"/>
                    <a:pt x="199067" y="85987"/>
                    <a:pt x="203200" y="79375"/>
                  </a:cubicBezTo>
                  <a:cubicBezTo>
                    <a:pt x="210567" y="67587"/>
                    <a:pt x="208586" y="70814"/>
                    <a:pt x="219075" y="60325"/>
                  </a:cubicBezTo>
                  <a:cubicBezTo>
                    <a:pt x="220133" y="57150"/>
                    <a:pt x="221331" y="54018"/>
                    <a:pt x="222250" y="50800"/>
                  </a:cubicBezTo>
                  <a:cubicBezTo>
                    <a:pt x="223449" y="46604"/>
                    <a:pt x="222339" y="41186"/>
                    <a:pt x="225425" y="38100"/>
                  </a:cubicBezTo>
                  <a:cubicBezTo>
                    <a:pt x="228511" y="35014"/>
                    <a:pt x="233892" y="35983"/>
                    <a:pt x="238125" y="34925"/>
                  </a:cubicBezTo>
                  <a:cubicBezTo>
                    <a:pt x="242358" y="35983"/>
                    <a:pt x="247739" y="35014"/>
                    <a:pt x="250825" y="38100"/>
                  </a:cubicBezTo>
                  <a:cubicBezTo>
                    <a:pt x="266027" y="53302"/>
                    <a:pt x="233782" y="55742"/>
                    <a:pt x="266700" y="69850"/>
                  </a:cubicBezTo>
                  <a:cubicBezTo>
                    <a:pt x="293275" y="81239"/>
                    <a:pt x="281716" y="75770"/>
                    <a:pt x="301625" y="85725"/>
                  </a:cubicBezTo>
                  <a:cubicBezTo>
                    <a:pt x="312805" y="84709"/>
                    <a:pt x="352223" y="81360"/>
                    <a:pt x="365125" y="79375"/>
                  </a:cubicBezTo>
                  <a:cubicBezTo>
                    <a:pt x="369438" y="78711"/>
                    <a:pt x="373592" y="77258"/>
                    <a:pt x="377825" y="76200"/>
                  </a:cubicBezTo>
                  <a:cubicBezTo>
                    <a:pt x="379942" y="73025"/>
                    <a:pt x="381303" y="69188"/>
                    <a:pt x="384175" y="66675"/>
                  </a:cubicBezTo>
                  <a:cubicBezTo>
                    <a:pt x="389918" y="61649"/>
                    <a:pt x="396875" y="58208"/>
                    <a:pt x="403225" y="53975"/>
                  </a:cubicBezTo>
                  <a:cubicBezTo>
                    <a:pt x="416688" y="45000"/>
                    <a:pt x="409337" y="49332"/>
                    <a:pt x="425450" y="41275"/>
                  </a:cubicBezTo>
                  <a:cubicBezTo>
                    <a:pt x="436033" y="42333"/>
                    <a:pt x="447687" y="39693"/>
                    <a:pt x="457200" y="44450"/>
                  </a:cubicBezTo>
                  <a:cubicBezTo>
                    <a:pt x="488950" y="60325"/>
                    <a:pt x="457200" y="60325"/>
                    <a:pt x="476250" y="73025"/>
                  </a:cubicBezTo>
                  <a:cubicBezTo>
                    <a:pt x="479425" y="75142"/>
                    <a:pt x="482362" y="77668"/>
                    <a:pt x="485775" y="79375"/>
                  </a:cubicBezTo>
                  <a:cubicBezTo>
                    <a:pt x="490330" y="81652"/>
                    <a:pt x="503931" y="84708"/>
                    <a:pt x="508000" y="85725"/>
                  </a:cubicBezTo>
                  <a:cubicBezTo>
                    <a:pt x="516467" y="84667"/>
                    <a:pt x="525005" y="84076"/>
                    <a:pt x="533400" y="82550"/>
                  </a:cubicBezTo>
                  <a:cubicBezTo>
                    <a:pt x="536693" y="81951"/>
                    <a:pt x="539658" y="80101"/>
                    <a:pt x="542925" y="79375"/>
                  </a:cubicBezTo>
                  <a:cubicBezTo>
                    <a:pt x="549209" y="77978"/>
                    <a:pt x="555625" y="77258"/>
                    <a:pt x="561975" y="76200"/>
                  </a:cubicBezTo>
                  <a:cubicBezTo>
                    <a:pt x="566208" y="74083"/>
                    <a:pt x="569942" y="69850"/>
                    <a:pt x="574675" y="69850"/>
                  </a:cubicBezTo>
                  <a:cubicBezTo>
                    <a:pt x="624923" y="69850"/>
                    <a:pt x="583568" y="74540"/>
                    <a:pt x="609600" y="82550"/>
                  </a:cubicBezTo>
                  <a:cubicBezTo>
                    <a:pt x="619916" y="85724"/>
                    <a:pt x="641350" y="88900"/>
                    <a:pt x="641350" y="88900"/>
                  </a:cubicBezTo>
                  <a:cubicBezTo>
                    <a:pt x="645583" y="91017"/>
                    <a:pt x="649517" y="93890"/>
                    <a:pt x="654050" y="95250"/>
                  </a:cubicBezTo>
                  <a:cubicBezTo>
                    <a:pt x="672900" y="100905"/>
                    <a:pt x="678133" y="97796"/>
                    <a:pt x="698500" y="95250"/>
                  </a:cubicBezTo>
                  <a:cubicBezTo>
                    <a:pt x="701675" y="94192"/>
                    <a:pt x="704850" y="91017"/>
                    <a:pt x="708025" y="92075"/>
                  </a:cubicBezTo>
                  <a:cubicBezTo>
                    <a:pt x="718528" y="95576"/>
                    <a:pt x="718038" y="107461"/>
                    <a:pt x="723900" y="114300"/>
                  </a:cubicBezTo>
                  <a:cubicBezTo>
                    <a:pt x="727344" y="118318"/>
                    <a:pt x="732367" y="120650"/>
                    <a:pt x="736600" y="123825"/>
                  </a:cubicBezTo>
                  <a:cubicBezTo>
                    <a:pt x="753533" y="121708"/>
                    <a:pt x="770957" y="122042"/>
                    <a:pt x="787400" y="117475"/>
                  </a:cubicBezTo>
                  <a:cubicBezTo>
                    <a:pt x="791077" y="116454"/>
                    <a:pt x="791052" y="110648"/>
                    <a:pt x="793750" y="107950"/>
                  </a:cubicBezTo>
                  <a:cubicBezTo>
                    <a:pt x="796448" y="105252"/>
                    <a:pt x="800344" y="104043"/>
                    <a:pt x="803275" y="101600"/>
                  </a:cubicBezTo>
                  <a:cubicBezTo>
                    <a:pt x="806724" y="98725"/>
                    <a:pt x="809169" y="94716"/>
                    <a:pt x="812800" y="92075"/>
                  </a:cubicBezTo>
                  <a:cubicBezTo>
                    <a:pt x="820875" y="86203"/>
                    <a:pt x="838200" y="76200"/>
                    <a:pt x="838200" y="76200"/>
                  </a:cubicBezTo>
                  <a:cubicBezTo>
                    <a:pt x="839258" y="73025"/>
                    <a:pt x="839990" y="69722"/>
                    <a:pt x="841375" y="66675"/>
                  </a:cubicBezTo>
                  <a:cubicBezTo>
                    <a:pt x="845292" y="58057"/>
                    <a:pt x="851082" y="50255"/>
                    <a:pt x="854075" y="41275"/>
                  </a:cubicBezTo>
                  <a:lnTo>
                    <a:pt x="860425" y="22225"/>
                  </a:lnTo>
                  <a:cubicBezTo>
                    <a:pt x="861483" y="19050"/>
                    <a:pt x="860815" y="14556"/>
                    <a:pt x="863600" y="12700"/>
                  </a:cubicBezTo>
                  <a:lnTo>
                    <a:pt x="882650" y="0"/>
                  </a:lnTo>
                  <a:cubicBezTo>
                    <a:pt x="931068" y="13834"/>
                    <a:pt x="883547" y="-3635"/>
                    <a:pt x="917575" y="19050"/>
                  </a:cubicBezTo>
                  <a:cubicBezTo>
                    <a:pt x="922317" y="22211"/>
                    <a:pt x="928447" y="22671"/>
                    <a:pt x="933450" y="25400"/>
                  </a:cubicBezTo>
                  <a:cubicBezTo>
                    <a:pt x="940150" y="29054"/>
                    <a:pt x="945096" y="36249"/>
                    <a:pt x="952500" y="38100"/>
                  </a:cubicBezTo>
                  <a:cubicBezTo>
                    <a:pt x="969792" y="42423"/>
                    <a:pt x="961297" y="39324"/>
                    <a:pt x="977900" y="47625"/>
                  </a:cubicBezTo>
                  <a:cubicBezTo>
                    <a:pt x="982994" y="78191"/>
                    <a:pt x="977357" y="55883"/>
                    <a:pt x="987425" y="79375"/>
                  </a:cubicBezTo>
                  <a:cubicBezTo>
                    <a:pt x="988743" y="82451"/>
                    <a:pt x="988509" y="86287"/>
                    <a:pt x="990600" y="88900"/>
                  </a:cubicBezTo>
                  <a:cubicBezTo>
                    <a:pt x="996666" y="96483"/>
                    <a:pt x="1001981" y="94590"/>
                    <a:pt x="1009650" y="98425"/>
                  </a:cubicBezTo>
                  <a:cubicBezTo>
                    <a:pt x="1010989" y="99094"/>
                    <a:pt x="1011767" y="100542"/>
                    <a:pt x="1012825" y="101600"/>
                  </a:cubicBezTo>
                </a:path>
              </a:pathLst>
            </a:cu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19" name="Volný tvar: obrazec 18">
              <a:extLst>
                <a:ext uri="{FF2B5EF4-FFF2-40B4-BE49-F238E27FC236}">
                  <a16:creationId xmlns:a16="http://schemas.microsoft.com/office/drawing/2014/main" id="{070C34E7-0A0E-6A47-171F-321389DF3A0D}"/>
                </a:ext>
              </a:extLst>
            </p:cNvPr>
            <p:cNvSpPr/>
            <p:nvPr/>
          </p:nvSpPr>
          <p:spPr>
            <a:xfrm>
              <a:off x="8251380" y="4547945"/>
              <a:ext cx="521104" cy="529135"/>
            </a:xfrm>
            <a:custGeom>
              <a:avLst/>
              <a:gdLst>
                <a:gd name="connsiteX0" fmla="*/ 28575 w 561975"/>
                <a:gd name="connsiteY0" fmla="*/ 0 h 581025"/>
                <a:gd name="connsiteX1" fmla="*/ 19050 w 561975"/>
                <a:gd name="connsiteY1" fmla="*/ 15875 h 581025"/>
                <a:gd name="connsiteX2" fmla="*/ 25400 w 561975"/>
                <a:gd name="connsiteY2" fmla="*/ 76200 h 581025"/>
                <a:gd name="connsiteX3" fmla="*/ 22225 w 561975"/>
                <a:gd name="connsiteY3" fmla="*/ 111125 h 581025"/>
                <a:gd name="connsiteX4" fmla="*/ 12700 w 561975"/>
                <a:gd name="connsiteY4" fmla="*/ 133350 h 581025"/>
                <a:gd name="connsiteX5" fmla="*/ 9525 w 561975"/>
                <a:gd name="connsiteY5" fmla="*/ 142875 h 581025"/>
                <a:gd name="connsiteX6" fmla="*/ 6350 w 561975"/>
                <a:gd name="connsiteY6" fmla="*/ 177800 h 581025"/>
                <a:gd name="connsiteX7" fmla="*/ 0 w 561975"/>
                <a:gd name="connsiteY7" fmla="*/ 196850 h 581025"/>
                <a:gd name="connsiteX8" fmla="*/ 6350 w 561975"/>
                <a:gd name="connsiteY8" fmla="*/ 222250 h 581025"/>
                <a:gd name="connsiteX9" fmla="*/ 22225 w 561975"/>
                <a:gd name="connsiteY9" fmla="*/ 228600 h 581025"/>
                <a:gd name="connsiteX10" fmla="*/ 19050 w 561975"/>
                <a:gd name="connsiteY10" fmla="*/ 244475 h 581025"/>
                <a:gd name="connsiteX11" fmla="*/ 15875 w 561975"/>
                <a:gd name="connsiteY11" fmla="*/ 273050 h 581025"/>
                <a:gd name="connsiteX12" fmla="*/ 19050 w 561975"/>
                <a:gd name="connsiteY12" fmla="*/ 304800 h 581025"/>
                <a:gd name="connsiteX13" fmla="*/ 47625 w 561975"/>
                <a:gd name="connsiteY13" fmla="*/ 314325 h 581025"/>
                <a:gd name="connsiteX14" fmla="*/ 60325 w 561975"/>
                <a:gd name="connsiteY14" fmla="*/ 333375 h 581025"/>
                <a:gd name="connsiteX15" fmla="*/ 69850 w 561975"/>
                <a:gd name="connsiteY15" fmla="*/ 346075 h 581025"/>
                <a:gd name="connsiteX16" fmla="*/ 82550 w 561975"/>
                <a:gd name="connsiteY16" fmla="*/ 349250 h 581025"/>
                <a:gd name="connsiteX17" fmla="*/ 101600 w 561975"/>
                <a:gd name="connsiteY17" fmla="*/ 346075 h 581025"/>
                <a:gd name="connsiteX18" fmla="*/ 111125 w 561975"/>
                <a:gd name="connsiteY18" fmla="*/ 339725 h 581025"/>
                <a:gd name="connsiteX19" fmla="*/ 133350 w 561975"/>
                <a:gd name="connsiteY19" fmla="*/ 346075 h 581025"/>
                <a:gd name="connsiteX20" fmla="*/ 146050 w 561975"/>
                <a:gd name="connsiteY20" fmla="*/ 355600 h 581025"/>
                <a:gd name="connsiteX21" fmla="*/ 158750 w 561975"/>
                <a:gd name="connsiteY21" fmla="*/ 361950 h 581025"/>
                <a:gd name="connsiteX22" fmla="*/ 168275 w 561975"/>
                <a:gd name="connsiteY22" fmla="*/ 374650 h 581025"/>
                <a:gd name="connsiteX23" fmla="*/ 171450 w 561975"/>
                <a:gd name="connsiteY23" fmla="*/ 384175 h 581025"/>
                <a:gd name="connsiteX24" fmla="*/ 168275 w 561975"/>
                <a:gd name="connsiteY24" fmla="*/ 393700 h 581025"/>
                <a:gd name="connsiteX25" fmla="*/ 177800 w 561975"/>
                <a:gd name="connsiteY25" fmla="*/ 396875 h 581025"/>
                <a:gd name="connsiteX26" fmla="*/ 196850 w 561975"/>
                <a:gd name="connsiteY26" fmla="*/ 400050 h 581025"/>
                <a:gd name="connsiteX27" fmla="*/ 203200 w 561975"/>
                <a:gd name="connsiteY27" fmla="*/ 422275 h 581025"/>
                <a:gd name="connsiteX28" fmla="*/ 225425 w 561975"/>
                <a:gd name="connsiteY28" fmla="*/ 441325 h 581025"/>
                <a:gd name="connsiteX29" fmla="*/ 247650 w 561975"/>
                <a:gd name="connsiteY29" fmla="*/ 428625 h 581025"/>
                <a:gd name="connsiteX30" fmla="*/ 301625 w 561975"/>
                <a:gd name="connsiteY30" fmla="*/ 434975 h 581025"/>
                <a:gd name="connsiteX31" fmla="*/ 307975 w 561975"/>
                <a:gd name="connsiteY31" fmla="*/ 444500 h 581025"/>
                <a:gd name="connsiteX32" fmla="*/ 365125 w 561975"/>
                <a:gd name="connsiteY32" fmla="*/ 444500 h 581025"/>
                <a:gd name="connsiteX33" fmla="*/ 371475 w 561975"/>
                <a:gd name="connsiteY33" fmla="*/ 454025 h 581025"/>
                <a:gd name="connsiteX34" fmla="*/ 381000 w 561975"/>
                <a:gd name="connsiteY34" fmla="*/ 482600 h 581025"/>
                <a:gd name="connsiteX35" fmla="*/ 393700 w 561975"/>
                <a:gd name="connsiteY35" fmla="*/ 536575 h 581025"/>
                <a:gd name="connsiteX36" fmla="*/ 409575 w 561975"/>
                <a:gd name="connsiteY36" fmla="*/ 542925 h 581025"/>
                <a:gd name="connsiteX37" fmla="*/ 419100 w 561975"/>
                <a:gd name="connsiteY37" fmla="*/ 555625 h 581025"/>
                <a:gd name="connsiteX38" fmla="*/ 434975 w 561975"/>
                <a:gd name="connsiteY38" fmla="*/ 558800 h 581025"/>
                <a:gd name="connsiteX39" fmla="*/ 444500 w 561975"/>
                <a:gd name="connsiteY39" fmla="*/ 561975 h 581025"/>
                <a:gd name="connsiteX40" fmla="*/ 454025 w 561975"/>
                <a:gd name="connsiteY40" fmla="*/ 568325 h 581025"/>
                <a:gd name="connsiteX41" fmla="*/ 485775 w 561975"/>
                <a:gd name="connsiteY41" fmla="*/ 577850 h 581025"/>
                <a:gd name="connsiteX42" fmla="*/ 495300 w 561975"/>
                <a:gd name="connsiteY42" fmla="*/ 581025 h 581025"/>
                <a:gd name="connsiteX43" fmla="*/ 533400 w 561975"/>
                <a:gd name="connsiteY43" fmla="*/ 577850 h 581025"/>
                <a:gd name="connsiteX44" fmla="*/ 542925 w 561975"/>
                <a:gd name="connsiteY44" fmla="*/ 571500 h 581025"/>
                <a:gd name="connsiteX45" fmla="*/ 561975 w 561975"/>
                <a:gd name="connsiteY45" fmla="*/ 568325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61975" h="581025">
                  <a:moveTo>
                    <a:pt x="28575" y="0"/>
                  </a:moveTo>
                  <a:cubicBezTo>
                    <a:pt x="25400" y="5292"/>
                    <a:pt x="19815" y="9752"/>
                    <a:pt x="19050" y="15875"/>
                  </a:cubicBezTo>
                  <a:cubicBezTo>
                    <a:pt x="18310" y="21796"/>
                    <a:pt x="24197" y="66574"/>
                    <a:pt x="25400" y="76200"/>
                  </a:cubicBezTo>
                  <a:cubicBezTo>
                    <a:pt x="24342" y="87842"/>
                    <a:pt x="23878" y="99553"/>
                    <a:pt x="22225" y="111125"/>
                  </a:cubicBezTo>
                  <a:cubicBezTo>
                    <a:pt x="21161" y="118571"/>
                    <a:pt x="15444" y="126947"/>
                    <a:pt x="12700" y="133350"/>
                  </a:cubicBezTo>
                  <a:cubicBezTo>
                    <a:pt x="11382" y="136426"/>
                    <a:pt x="10583" y="139700"/>
                    <a:pt x="9525" y="142875"/>
                  </a:cubicBezTo>
                  <a:cubicBezTo>
                    <a:pt x="8467" y="154517"/>
                    <a:pt x="8381" y="166288"/>
                    <a:pt x="6350" y="177800"/>
                  </a:cubicBezTo>
                  <a:cubicBezTo>
                    <a:pt x="5187" y="184392"/>
                    <a:pt x="0" y="196850"/>
                    <a:pt x="0" y="196850"/>
                  </a:cubicBezTo>
                  <a:cubicBezTo>
                    <a:pt x="2117" y="205317"/>
                    <a:pt x="1345" y="215100"/>
                    <a:pt x="6350" y="222250"/>
                  </a:cubicBezTo>
                  <a:cubicBezTo>
                    <a:pt x="9618" y="226919"/>
                    <a:pt x="19397" y="223652"/>
                    <a:pt x="22225" y="228600"/>
                  </a:cubicBezTo>
                  <a:cubicBezTo>
                    <a:pt x="24902" y="233285"/>
                    <a:pt x="19813" y="239133"/>
                    <a:pt x="19050" y="244475"/>
                  </a:cubicBezTo>
                  <a:cubicBezTo>
                    <a:pt x="17695" y="253962"/>
                    <a:pt x="16933" y="263525"/>
                    <a:pt x="15875" y="273050"/>
                  </a:cubicBezTo>
                  <a:cubicBezTo>
                    <a:pt x="16933" y="283633"/>
                    <a:pt x="12565" y="296370"/>
                    <a:pt x="19050" y="304800"/>
                  </a:cubicBezTo>
                  <a:cubicBezTo>
                    <a:pt x="25172" y="312758"/>
                    <a:pt x="47625" y="314325"/>
                    <a:pt x="47625" y="314325"/>
                  </a:cubicBezTo>
                  <a:cubicBezTo>
                    <a:pt x="53026" y="330527"/>
                    <a:pt x="47352" y="318240"/>
                    <a:pt x="60325" y="333375"/>
                  </a:cubicBezTo>
                  <a:cubicBezTo>
                    <a:pt x="63769" y="337393"/>
                    <a:pt x="65544" y="342999"/>
                    <a:pt x="69850" y="346075"/>
                  </a:cubicBezTo>
                  <a:cubicBezTo>
                    <a:pt x="73401" y="348611"/>
                    <a:pt x="78317" y="348192"/>
                    <a:pt x="82550" y="349250"/>
                  </a:cubicBezTo>
                  <a:cubicBezTo>
                    <a:pt x="88900" y="348192"/>
                    <a:pt x="95493" y="348111"/>
                    <a:pt x="101600" y="346075"/>
                  </a:cubicBezTo>
                  <a:cubicBezTo>
                    <a:pt x="105220" y="344868"/>
                    <a:pt x="107347" y="340265"/>
                    <a:pt x="111125" y="339725"/>
                  </a:cubicBezTo>
                  <a:cubicBezTo>
                    <a:pt x="113916" y="339326"/>
                    <a:pt x="129776" y="344884"/>
                    <a:pt x="133350" y="346075"/>
                  </a:cubicBezTo>
                  <a:cubicBezTo>
                    <a:pt x="137583" y="349250"/>
                    <a:pt x="141563" y="352795"/>
                    <a:pt x="146050" y="355600"/>
                  </a:cubicBezTo>
                  <a:cubicBezTo>
                    <a:pt x="150064" y="358108"/>
                    <a:pt x="155156" y="358870"/>
                    <a:pt x="158750" y="361950"/>
                  </a:cubicBezTo>
                  <a:cubicBezTo>
                    <a:pt x="162768" y="365394"/>
                    <a:pt x="165100" y="370417"/>
                    <a:pt x="168275" y="374650"/>
                  </a:cubicBezTo>
                  <a:cubicBezTo>
                    <a:pt x="169333" y="377825"/>
                    <a:pt x="171450" y="380828"/>
                    <a:pt x="171450" y="384175"/>
                  </a:cubicBezTo>
                  <a:cubicBezTo>
                    <a:pt x="171450" y="387522"/>
                    <a:pt x="166778" y="390707"/>
                    <a:pt x="168275" y="393700"/>
                  </a:cubicBezTo>
                  <a:cubicBezTo>
                    <a:pt x="169772" y="396693"/>
                    <a:pt x="174533" y="396149"/>
                    <a:pt x="177800" y="396875"/>
                  </a:cubicBezTo>
                  <a:cubicBezTo>
                    <a:pt x="184084" y="398272"/>
                    <a:pt x="190500" y="398992"/>
                    <a:pt x="196850" y="400050"/>
                  </a:cubicBezTo>
                  <a:cubicBezTo>
                    <a:pt x="197273" y="401744"/>
                    <a:pt x="201378" y="419542"/>
                    <a:pt x="203200" y="422275"/>
                  </a:cubicBezTo>
                  <a:cubicBezTo>
                    <a:pt x="207622" y="428908"/>
                    <a:pt x="219556" y="436923"/>
                    <a:pt x="225425" y="441325"/>
                  </a:cubicBezTo>
                  <a:cubicBezTo>
                    <a:pt x="230581" y="437458"/>
                    <a:pt x="239569" y="428625"/>
                    <a:pt x="247650" y="428625"/>
                  </a:cubicBezTo>
                  <a:cubicBezTo>
                    <a:pt x="266439" y="428625"/>
                    <a:pt x="283461" y="431948"/>
                    <a:pt x="301625" y="434975"/>
                  </a:cubicBezTo>
                  <a:cubicBezTo>
                    <a:pt x="303742" y="438150"/>
                    <a:pt x="305277" y="441802"/>
                    <a:pt x="307975" y="444500"/>
                  </a:cubicBezTo>
                  <a:cubicBezTo>
                    <a:pt x="324105" y="460630"/>
                    <a:pt x="341925" y="447593"/>
                    <a:pt x="365125" y="444500"/>
                  </a:cubicBezTo>
                  <a:cubicBezTo>
                    <a:pt x="367242" y="447675"/>
                    <a:pt x="369768" y="450612"/>
                    <a:pt x="371475" y="454025"/>
                  </a:cubicBezTo>
                  <a:cubicBezTo>
                    <a:pt x="377453" y="465981"/>
                    <a:pt x="377968" y="470473"/>
                    <a:pt x="381000" y="482600"/>
                  </a:cubicBezTo>
                  <a:cubicBezTo>
                    <a:pt x="384730" y="542282"/>
                    <a:pt x="368011" y="526942"/>
                    <a:pt x="393700" y="536575"/>
                  </a:cubicBezTo>
                  <a:cubicBezTo>
                    <a:pt x="399036" y="538576"/>
                    <a:pt x="404283" y="540808"/>
                    <a:pt x="409575" y="542925"/>
                  </a:cubicBezTo>
                  <a:cubicBezTo>
                    <a:pt x="412750" y="547158"/>
                    <a:pt x="414613" y="552820"/>
                    <a:pt x="419100" y="555625"/>
                  </a:cubicBezTo>
                  <a:cubicBezTo>
                    <a:pt x="423676" y="558485"/>
                    <a:pt x="429740" y="557491"/>
                    <a:pt x="434975" y="558800"/>
                  </a:cubicBezTo>
                  <a:cubicBezTo>
                    <a:pt x="438222" y="559612"/>
                    <a:pt x="441507" y="560478"/>
                    <a:pt x="444500" y="561975"/>
                  </a:cubicBezTo>
                  <a:cubicBezTo>
                    <a:pt x="447913" y="563682"/>
                    <a:pt x="450538" y="566775"/>
                    <a:pt x="454025" y="568325"/>
                  </a:cubicBezTo>
                  <a:cubicBezTo>
                    <a:pt x="467606" y="574361"/>
                    <a:pt x="472845" y="574156"/>
                    <a:pt x="485775" y="577850"/>
                  </a:cubicBezTo>
                  <a:cubicBezTo>
                    <a:pt x="488993" y="578769"/>
                    <a:pt x="492125" y="579967"/>
                    <a:pt x="495300" y="581025"/>
                  </a:cubicBezTo>
                  <a:cubicBezTo>
                    <a:pt x="508000" y="579967"/>
                    <a:pt x="520903" y="580349"/>
                    <a:pt x="533400" y="577850"/>
                  </a:cubicBezTo>
                  <a:cubicBezTo>
                    <a:pt x="537142" y="577102"/>
                    <a:pt x="539418" y="573003"/>
                    <a:pt x="542925" y="571500"/>
                  </a:cubicBezTo>
                  <a:cubicBezTo>
                    <a:pt x="551531" y="567812"/>
                    <a:pt x="554243" y="568325"/>
                    <a:pt x="561975" y="568325"/>
                  </a:cubicBezTo>
                </a:path>
              </a:pathLst>
            </a:cu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20" name="Volný tvar: obrazec 19">
              <a:extLst>
                <a:ext uri="{FF2B5EF4-FFF2-40B4-BE49-F238E27FC236}">
                  <a16:creationId xmlns:a16="http://schemas.microsoft.com/office/drawing/2014/main" id="{72D2981F-DF1E-801D-45AA-555D9418FBC4}"/>
                </a:ext>
              </a:extLst>
            </p:cNvPr>
            <p:cNvSpPr/>
            <p:nvPr/>
          </p:nvSpPr>
          <p:spPr>
            <a:xfrm>
              <a:off x="8286394" y="5187271"/>
              <a:ext cx="497529" cy="339314"/>
            </a:xfrm>
            <a:custGeom>
              <a:avLst/>
              <a:gdLst>
                <a:gd name="connsiteX0" fmla="*/ 9499 w 536549"/>
                <a:gd name="connsiteY0" fmla="*/ 327025 h 327025"/>
                <a:gd name="connsiteX1" fmla="*/ 9499 w 536549"/>
                <a:gd name="connsiteY1" fmla="*/ 238125 h 327025"/>
                <a:gd name="connsiteX2" fmla="*/ 15849 w 536549"/>
                <a:gd name="connsiteY2" fmla="*/ 228600 h 327025"/>
                <a:gd name="connsiteX3" fmla="*/ 25374 w 536549"/>
                <a:gd name="connsiteY3" fmla="*/ 215900 h 327025"/>
                <a:gd name="connsiteX4" fmla="*/ 31724 w 536549"/>
                <a:gd name="connsiteY4" fmla="*/ 158750 h 327025"/>
                <a:gd name="connsiteX5" fmla="*/ 44424 w 536549"/>
                <a:gd name="connsiteY5" fmla="*/ 19050 h 327025"/>
                <a:gd name="connsiteX6" fmla="*/ 53949 w 536549"/>
                <a:gd name="connsiteY6" fmla="*/ 15875 h 327025"/>
                <a:gd name="connsiteX7" fmla="*/ 63474 w 536549"/>
                <a:gd name="connsiteY7" fmla="*/ 6350 h 327025"/>
                <a:gd name="connsiteX8" fmla="*/ 82524 w 536549"/>
                <a:gd name="connsiteY8" fmla="*/ 0 h 327025"/>
                <a:gd name="connsiteX9" fmla="*/ 104749 w 536549"/>
                <a:gd name="connsiteY9" fmla="*/ 3175 h 327025"/>
                <a:gd name="connsiteX10" fmla="*/ 114274 w 536549"/>
                <a:gd name="connsiteY10" fmla="*/ 15875 h 327025"/>
                <a:gd name="connsiteX11" fmla="*/ 136499 w 536549"/>
                <a:gd name="connsiteY11" fmla="*/ 28575 h 327025"/>
                <a:gd name="connsiteX12" fmla="*/ 146024 w 536549"/>
                <a:gd name="connsiteY12" fmla="*/ 34925 h 327025"/>
                <a:gd name="connsiteX13" fmla="*/ 180949 w 536549"/>
                <a:gd name="connsiteY13" fmla="*/ 38100 h 327025"/>
                <a:gd name="connsiteX14" fmla="*/ 187299 w 536549"/>
                <a:gd name="connsiteY14" fmla="*/ 53975 h 327025"/>
                <a:gd name="connsiteX15" fmla="*/ 193649 w 536549"/>
                <a:gd name="connsiteY15" fmla="*/ 85725 h 327025"/>
                <a:gd name="connsiteX16" fmla="*/ 203174 w 536549"/>
                <a:gd name="connsiteY16" fmla="*/ 95250 h 327025"/>
                <a:gd name="connsiteX17" fmla="*/ 206349 w 536549"/>
                <a:gd name="connsiteY17" fmla="*/ 104775 h 327025"/>
                <a:gd name="connsiteX18" fmla="*/ 225399 w 536549"/>
                <a:gd name="connsiteY18" fmla="*/ 101600 h 327025"/>
                <a:gd name="connsiteX19" fmla="*/ 234924 w 536549"/>
                <a:gd name="connsiteY19" fmla="*/ 98425 h 327025"/>
                <a:gd name="connsiteX20" fmla="*/ 250799 w 536549"/>
                <a:gd name="connsiteY20" fmla="*/ 95250 h 327025"/>
                <a:gd name="connsiteX21" fmla="*/ 263499 w 536549"/>
                <a:gd name="connsiteY21" fmla="*/ 92075 h 327025"/>
                <a:gd name="connsiteX22" fmla="*/ 276199 w 536549"/>
                <a:gd name="connsiteY22" fmla="*/ 76200 h 327025"/>
                <a:gd name="connsiteX23" fmla="*/ 292074 w 536549"/>
                <a:gd name="connsiteY23" fmla="*/ 69850 h 327025"/>
                <a:gd name="connsiteX24" fmla="*/ 314299 w 536549"/>
                <a:gd name="connsiteY24" fmla="*/ 50800 h 327025"/>
                <a:gd name="connsiteX25" fmla="*/ 342874 w 536549"/>
                <a:gd name="connsiteY25" fmla="*/ 53975 h 327025"/>
                <a:gd name="connsiteX26" fmla="*/ 355574 w 536549"/>
                <a:gd name="connsiteY26" fmla="*/ 66675 h 327025"/>
                <a:gd name="connsiteX27" fmla="*/ 368274 w 536549"/>
                <a:gd name="connsiteY27" fmla="*/ 69850 h 327025"/>
                <a:gd name="connsiteX28" fmla="*/ 431774 w 536549"/>
                <a:gd name="connsiteY28" fmla="*/ 85725 h 327025"/>
                <a:gd name="connsiteX29" fmla="*/ 460349 w 536549"/>
                <a:gd name="connsiteY29" fmla="*/ 104775 h 327025"/>
                <a:gd name="connsiteX30" fmla="*/ 473049 w 536549"/>
                <a:gd name="connsiteY30" fmla="*/ 120650 h 327025"/>
                <a:gd name="connsiteX31" fmla="*/ 527024 w 536549"/>
                <a:gd name="connsiteY31" fmla="*/ 142875 h 327025"/>
                <a:gd name="connsiteX32" fmla="*/ 536549 w 536549"/>
                <a:gd name="connsiteY32" fmla="*/ 155575 h 327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36549" h="327025">
                  <a:moveTo>
                    <a:pt x="9499" y="327025"/>
                  </a:moveTo>
                  <a:cubicBezTo>
                    <a:pt x="-5039" y="290681"/>
                    <a:pt x="-1147" y="307323"/>
                    <a:pt x="9499" y="238125"/>
                  </a:cubicBezTo>
                  <a:cubicBezTo>
                    <a:pt x="10079" y="234353"/>
                    <a:pt x="13631" y="231705"/>
                    <a:pt x="15849" y="228600"/>
                  </a:cubicBezTo>
                  <a:cubicBezTo>
                    <a:pt x="18925" y="224294"/>
                    <a:pt x="22199" y="220133"/>
                    <a:pt x="25374" y="215900"/>
                  </a:cubicBezTo>
                  <a:cubicBezTo>
                    <a:pt x="30351" y="191016"/>
                    <a:pt x="30448" y="193841"/>
                    <a:pt x="31724" y="158750"/>
                  </a:cubicBezTo>
                  <a:cubicBezTo>
                    <a:pt x="33398" y="112723"/>
                    <a:pt x="-1959" y="42242"/>
                    <a:pt x="44424" y="19050"/>
                  </a:cubicBezTo>
                  <a:cubicBezTo>
                    <a:pt x="47417" y="17553"/>
                    <a:pt x="50774" y="16933"/>
                    <a:pt x="53949" y="15875"/>
                  </a:cubicBezTo>
                  <a:cubicBezTo>
                    <a:pt x="57124" y="12700"/>
                    <a:pt x="59549" y="8531"/>
                    <a:pt x="63474" y="6350"/>
                  </a:cubicBezTo>
                  <a:cubicBezTo>
                    <a:pt x="69325" y="3099"/>
                    <a:pt x="82524" y="0"/>
                    <a:pt x="82524" y="0"/>
                  </a:cubicBezTo>
                  <a:cubicBezTo>
                    <a:pt x="89932" y="1058"/>
                    <a:pt x="98056" y="-172"/>
                    <a:pt x="104749" y="3175"/>
                  </a:cubicBezTo>
                  <a:cubicBezTo>
                    <a:pt x="109482" y="5542"/>
                    <a:pt x="110532" y="12133"/>
                    <a:pt x="114274" y="15875"/>
                  </a:cubicBezTo>
                  <a:cubicBezTo>
                    <a:pt x="129629" y="31230"/>
                    <a:pt x="121968" y="21310"/>
                    <a:pt x="136499" y="28575"/>
                  </a:cubicBezTo>
                  <a:cubicBezTo>
                    <a:pt x="139912" y="30282"/>
                    <a:pt x="142293" y="34125"/>
                    <a:pt x="146024" y="34925"/>
                  </a:cubicBezTo>
                  <a:cubicBezTo>
                    <a:pt x="157454" y="37374"/>
                    <a:pt x="169307" y="37042"/>
                    <a:pt x="180949" y="38100"/>
                  </a:cubicBezTo>
                  <a:cubicBezTo>
                    <a:pt x="183066" y="43392"/>
                    <a:pt x="185831" y="48468"/>
                    <a:pt x="187299" y="53975"/>
                  </a:cubicBezTo>
                  <a:cubicBezTo>
                    <a:pt x="190080" y="64404"/>
                    <a:pt x="189775" y="75651"/>
                    <a:pt x="193649" y="85725"/>
                  </a:cubicBezTo>
                  <a:cubicBezTo>
                    <a:pt x="195261" y="89916"/>
                    <a:pt x="199999" y="92075"/>
                    <a:pt x="203174" y="95250"/>
                  </a:cubicBezTo>
                  <a:cubicBezTo>
                    <a:pt x="204232" y="98425"/>
                    <a:pt x="203131" y="103856"/>
                    <a:pt x="206349" y="104775"/>
                  </a:cubicBezTo>
                  <a:cubicBezTo>
                    <a:pt x="212539" y="106544"/>
                    <a:pt x="219115" y="102997"/>
                    <a:pt x="225399" y="101600"/>
                  </a:cubicBezTo>
                  <a:cubicBezTo>
                    <a:pt x="228666" y="100874"/>
                    <a:pt x="231677" y="99237"/>
                    <a:pt x="234924" y="98425"/>
                  </a:cubicBezTo>
                  <a:cubicBezTo>
                    <a:pt x="240159" y="97116"/>
                    <a:pt x="245531" y="96421"/>
                    <a:pt x="250799" y="95250"/>
                  </a:cubicBezTo>
                  <a:cubicBezTo>
                    <a:pt x="255059" y="94303"/>
                    <a:pt x="259266" y="93133"/>
                    <a:pt x="263499" y="92075"/>
                  </a:cubicBezTo>
                  <a:cubicBezTo>
                    <a:pt x="267732" y="86783"/>
                    <a:pt x="270850" y="80360"/>
                    <a:pt x="276199" y="76200"/>
                  </a:cubicBezTo>
                  <a:cubicBezTo>
                    <a:pt x="280698" y="72701"/>
                    <a:pt x="287785" y="73603"/>
                    <a:pt x="292074" y="69850"/>
                  </a:cubicBezTo>
                  <a:cubicBezTo>
                    <a:pt x="318753" y="46506"/>
                    <a:pt x="285070" y="58107"/>
                    <a:pt x="314299" y="50800"/>
                  </a:cubicBezTo>
                  <a:cubicBezTo>
                    <a:pt x="323824" y="51858"/>
                    <a:pt x="333929" y="50535"/>
                    <a:pt x="342874" y="53975"/>
                  </a:cubicBezTo>
                  <a:cubicBezTo>
                    <a:pt x="348462" y="56124"/>
                    <a:pt x="350497" y="63502"/>
                    <a:pt x="355574" y="66675"/>
                  </a:cubicBezTo>
                  <a:cubicBezTo>
                    <a:pt x="359274" y="68988"/>
                    <a:pt x="364041" y="68792"/>
                    <a:pt x="368274" y="69850"/>
                  </a:cubicBezTo>
                  <a:cubicBezTo>
                    <a:pt x="392664" y="94240"/>
                    <a:pt x="365050" y="70560"/>
                    <a:pt x="431774" y="85725"/>
                  </a:cubicBezTo>
                  <a:cubicBezTo>
                    <a:pt x="435686" y="86614"/>
                    <a:pt x="456861" y="101287"/>
                    <a:pt x="460349" y="104775"/>
                  </a:cubicBezTo>
                  <a:cubicBezTo>
                    <a:pt x="465141" y="109567"/>
                    <a:pt x="467535" y="116711"/>
                    <a:pt x="473049" y="120650"/>
                  </a:cubicBezTo>
                  <a:cubicBezTo>
                    <a:pt x="492370" y="134450"/>
                    <a:pt x="506002" y="136869"/>
                    <a:pt x="527024" y="142875"/>
                  </a:cubicBezTo>
                  <a:cubicBezTo>
                    <a:pt x="533847" y="156522"/>
                    <a:pt x="528641" y="155575"/>
                    <a:pt x="536549" y="155575"/>
                  </a:cubicBezTo>
                </a:path>
              </a:pathLst>
            </a:cu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21" name="Volný tvar: obrazec 20">
              <a:extLst>
                <a:ext uri="{FF2B5EF4-FFF2-40B4-BE49-F238E27FC236}">
                  <a16:creationId xmlns:a16="http://schemas.microsoft.com/office/drawing/2014/main" id="{9E137800-C0D5-716D-C1D0-5DB51E53D38F}"/>
                </a:ext>
              </a:extLst>
            </p:cNvPr>
            <p:cNvSpPr/>
            <p:nvPr/>
          </p:nvSpPr>
          <p:spPr>
            <a:xfrm>
              <a:off x="8734351" y="5065515"/>
              <a:ext cx="85379" cy="274687"/>
            </a:xfrm>
            <a:custGeom>
              <a:avLst/>
              <a:gdLst>
                <a:gd name="connsiteX0" fmla="*/ 50800 w 92075"/>
                <a:gd name="connsiteY0" fmla="*/ 0 h 301625"/>
                <a:gd name="connsiteX1" fmla="*/ 66675 w 92075"/>
                <a:gd name="connsiteY1" fmla="*/ 6350 h 301625"/>
                <a:gd name="connsiteX2" fmla="*/ 76200 w 92075"/>
                <a:gd name="connsiteY2" fmla="*/ 25400 h 301625"/>
                <a:gd name="connsiteX3" fmla="*/ 92075 w 92075"/>
                <a:gd name="connsiteY3" fmla="*/ 50800 h 301625"/>
                <a:gd name="connsiteX4" fmla="*/ 79375 w 92075"/>
                <a:gd name="connsiteY4" fmla="*/ 69850 h 301625"/>
                <a:gd name="connsiteX5" fmla="*/ 69850 w 92075"/>
                <a:gd name="connsiteY5" fmla="*/ 88900 h 301625"/>
                <a:gd name="connsiteX6" fmla="*/ 57150 w 92075"/>
                <a:gd name="connsiteY6" fmla="*/ 92075 h 301625"/>
                <a:gd name="connsiteX7" fmla="*/ 47625 w 92075"/>
                <a:gd name="connsiteY7" fmla="*/ 114300 h 301625"/>
                <a:gd name="connsiteX8" fmla="*/ 41275 w 92075"/>
                <a:gd name="connsiteY8" fmla="*/ 127000 h 301625"/>
                <a:gd name="connsiteX9" fmla="*/ 38100 w 92075"/>
                <a:gd name="connsiteY9" fmla="*/ 136525 h 301625"/>
                <a:gd name="connsiteX10" fmla="*/ 19050 w 92075"/>
                <a:gd name="connsiteY10" fmla="*/ 152400 h 301625"/>
                <a:gd name="connsiteX11" fmla="*/ 0 w 92075"/>
                <a:gd name="connsiteY11" fmla="*/ 165100 h 301625"/>
                <a:gd name="connsiteX12" fmla="*/ 9525 w 92075"/>
                <a:gd name="connsiteY12" fmla="*/ 184150 h 301625"/>
                <a:gd name="connsiteX13" fmla="*/ 25400 w 92075"/>
                <a:gd name="connsiteY13" fmla="*/ 193675 h 301625"/>
                <a:gd name="connsiteX14" fmla="*/ 50800 w 92075"/>
                <a:gd name="connsiteY14" fmla="*/ 209550 h 301625"/>
                <a:gd name="connsiteX15" fmla="*/ 63500 w 92075"/>
                <a:gd name="connsiteY15" fmla="*/ 225425 h 301625"/>
                <a:gd name="connsiteX16" fmla="*/ 73025 w 92075"/>
                <a:gd name="connsiteY16" fmla="*/ 247650 h 301625"/>
                <a:gd name="connsiteX17" fmla="*/ 57150 w 92075"/>
                <a:gd name="connsiteY17" fmla="*/ 273050 h 301625"/>
                <a:gd name="connsiteX18" fmla="*/ 50800 w 92075"/>
                <a:gd name="connsiteY18" fmla="*/ 282575 h 301625"/>
                <a:gd name="connsiteX19" fmla="*/ 41275 w 92075"/>
                <a:gd name="connsiteY19" fmla="*/ 288925 h 301625"/>
                <a:gd name="connsiteX20" fmla="*/ 41275 w 92075"/>
                <a:gd name="connsiteY20" fmla="*/ 301625 h 301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2075" h="301625">
                  <a:moveTo>
                    <a:pt x="50800" y="0"/>
                  </a:moveTo>
                  <a:cubicBezTo>
                    <a:pt x="56092" y="2117"/>
                    <a:pt x="62037" y="3037"/>
                    <a:pt x="66675" y="6350"/>
                  </a:cubicBezTo>
                  <a:cubicBezTo>
                    <a:pt x="72432" y="10462"/>
                    <a:pt x="73967" y="19445"/>
                    <a:pt x="76200" y="25400"/>
                  </a:cubicBezTo>
                  <a:cubicBezTo>
                    <a:pt x="83416" y="44642"/>
                    <a:pt x="79152" y="37877"/>
                    <a:pt x="92075" y="50800"/>
                  </a:cubicBezTo>
                  <a:cubicBezTo>
                    <a:pt x="84526" y="73448"/>
                    <a:pt x="95230" y="46067"/>
                    <a:pt x="79375" y="69850"/>
                  </a:cubicBezTo>
                  <a:cubicBezTo>
                    <a:pt x="74304" y="77457"/>
                    <a:pt x="78843" y="82905"/>
                    <a:pt x="69850" y="88900"/>
                  </a:cubicBezTo>
                  <a:cubicBezTo>
                    <a:pt x="66219" y="91321"/>
                    <a:pt x="61383" y="91017"/>
                    <a:pt x="57150" y="92075"/>
                  </a:cubicBezTo>
                  <a:cubicBezTo>
                    <a:pt x="44281" y="111378"/>
                    <a:pt x="56412" y="90869"/>
                    <a:pt x="47625" y="114300"/>
                  </a:cubicBezTo>
                  <a:cubicBezTo>
                    <a:pt x="45963" y="118732"/>
                    <a:pt x="43139" y="122650"/>
                    <a:pt x="41275" y="127000"/>
                  </a:cubicBezTo>
                  <a:cubicBezTo>
                    <a:pt x="39957" y="130076"/>
                    <a:pt x="39956" y="133740"/>
                    <a:pt x="38100" y="136525"/>
                  </a:cubicBezTo>
                  <a:cubicBezTo>
                    <a:pt x="31143" y="146960"/>
                    <a:pt x="27835" y="145079"/>
                    <a:pt x="19050" y="152400"/>
                  </a:cubicBezTo>
                  <a:cubicBezTo>
                    <a:pt x="3195" y="165613"/>
                    <a:pt x="16739" y="159520"/>
                    <a:pt x="0" y="165100"/>
                  </a:cubicBezTo>
                  <a:cubicBezTo>
                    <a:pt x="2222" y="171767"/>
                    <a:pt x="3780" y="179226"/>
                    <a:pt x="9525" y="184150"/>
                  </a:cubicBezTo>
                  <a:cubicBezTo>
                    <a:pt x="14210" y="188166"/>
                    <a:pt x="20463" y="189972"/>
                    <a:pt x="25400" y="193675"/>
                  </a:cubicBezTo>
                  <a:cubicBezTo>
                    <a:pt x="48637" y="211103"/>
                    <a:pt x="18467" y="196617"/>
                    <a:pt x="50800" y="209550"/>
                  </a:cubicBezTo>
                  <a:cubicBezTo>
                    <a:pt x="55033" y="214842"/>
                    <a:pt x="59741" y="219786"/>
                    <a:pt x="63500" y="225425"/>
                  </a:cubicBezTo>
                  <a:cubicBezTo>
                    <a:pt x="68731" y="233272"/>
                    <a:pt x="70203" y="239183"/>
                    <a:pt x="73025" y="247650"/>
                  </a:cubicBezTo>
                  <a:cubicBezTo>
                    <a:pt x="63080" y="267541"/>
                    <a:pt x="70889" y="253816"/>
                    <a:pt x="57150" y="273050"/>
                  </a:cubicBezTo>
                  <a:cubicBezTo>
                    <a:pt x="54932" y="276155"/>
                    <a:pt x="53498" y="279877"/>
                    <a:pt x="50800" y="282575"/>
                  </a:cubicBezTo>
                  <a:cubicBezTo>
                    <a:pt x="48102" y="285273"/>
                    <a:pt x="42982" y="285512"/>
                    <a:pt x="41275" y="288925"/>
                  </a:cubicBezTo>
                  <a:cubicBezTo>
                    <a:pt x="39382" y="292711"/>
                    <a:pt x="41275" y="297392"/>
                    <a:pt x="41275" y="301625"/>
                  </a:cubicBezTo>
                </a:path>
              </a:pathLst>
            </a:cu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</p:grpSp>
    </p:spTree>
    <p:extLst>
      <p:ext uri="{BB962C8B-B14F-4D97-AF65-F5344CB8AC3E}">
        <p14:creationId xmlns:p14="http://schemas.microsoft.com/office/powerpoint/2010/main" val="397100131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 descr="Obsah obrázku mapa, atlas, text&#10;&#10;Obsah vygenerovaný umělou inteligencí může být nesprávný.">
            <a:extLst>
              <a:ext uri="{FF2B5EF4-FFF2-40B4-BE49-F238E27FC236}">
                <a16:creationId xmlns:a16="http://schemas.microsoft.com/office/drawing/2014/main" id="{DBF716D4-4C2B-0EF1-B663-89E48E96F31D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9945" t="8536" r="7975" b="6015"/>
          <a:stretch/>
        </p:blipFill>
        <p:spPr>
          <a:xfrm>
            <a:off x="6155171" y="2493747"/>
            <a:ext cx="5468565" cy="3151033"/>
          </a:xfrm>
          <a:prstGeom prst="rect">
            <a:avLst/>
          </a:prstGeom>
        </p:spPr>
      </p:pic>
      <p:cxnSp>
        <p:nvCxnSpPr>
          <p:cNvPr id="17" name="Přímá spojnice 16">
            <a:extLst>
              <a:ext uri="{FF2B5EF4-FFF2-40B4-BE49-F238E27FC236}">
                <a16:creationId xmlns:a16="http://schemas.microsoft.com/office/drawing/2014/main" id="{CB939B44-7239-9734-33F6-8B70A8F23251}"/>
              </a:ext>
            </a:extLst>
          </p:cNvPr>
          <p:cNvCxnSpPr>
            <a:cxnSpLocks/>
          </p:cNvCxnSpPr>
          <p:nvPr/>
        </p:nvCxnSpPr>
        <p:spPr>
          <a:xfrm>
            <a:off x="1053113" y="3077736"/>
            <a:ext cx="4922915" cy="10302"/>
          </a:xfrm>
          <a:prstGeom prst="line">
            <a:avLst/>
          </a:prstGeom>
          <a:ln w="28575">
            <a:solidFill>
              <a:schemeClr val="accent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Nadpis 4">
            <a:extLst>
              <a:ext uri="{FF2B5EF4-FFF2-40B4-BE49-F238E27FC236}">
                <a16:creationId xmlns:a16="http://schemas.microsoft.com/office/drawing/2014/main" id="{EA2DDA38-176D-AE75-ACBD-46003604A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588414"/>
            <a:ext cx="9802034" cy="720000"/>
          </a:xfrm>
        </p:spPr>
        <p:txBody>
          <a:bodyPr>
            <a:normAutofit fontScale="90000"/>
          </a:bodyPr>
          <a:lstStyle/>
          <a:p>
            <a:r>
              <a:rPr lang="cs-CZ" dirty="0"/>
              <a:t>Podíl oslovených osob v rámci 1. screeningové epizody</a:t>
            </a:r>
            <a:br>
              <a:rPr lang="cs-CZ" dirty="0"/>
            </a:br>
            <a:r>
              <a:rPr lang="cs-CZ" dirty="0"/>
              <a:t>dle kraje bydliště</a:t>
            </a:r>
          </a:p>
        </p:txBody>
      </p:sp>
      <p:sp>
        <p:nvSpPr>
          <p:cNvPr id="24" name="Rectangle 21">
            <a:extLst>
              <a:ext uri="{FF2B5EF4-FFF2-40B4-BE49-F238E27FC236}">
                <a16:creationId xmlns:a16="http://schemas.microsoft.com/office/drawing/2014/main" id="{64DF5E38-24A9-136D-95B1-C5B4A54397D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544190" y="1167543"/>
            <a:ext cx="2179197" cy="4308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DDCE0">
                  <a:lumMod val="2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FE93ACD4-60F8-F6A0-72AC-03AFF4EFE898}"/>
              </a:ext>
            </a:extLst>
          </p:cNvPr>
          <p:cNvSpPr txBox="1"/>
          <p:nvPr/>
        </p:nvSpPr>
        <p:spPr>
          <a:xfrm>
            <a:off x="90205" y="6407502"/>
            <a:ext cx="120331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n.: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ový počet účastníků ve věku 55–74 let, kteří v období od 1. 1. 2022 do 31. </a:t>
            </a:r>
            <a:r>
              <a:rPr lang="cs-CZ" sz="1200" dirty="0">
                <a:solidFill>
                  <a:srgbClr val="DDDCE0">
                    <a:lumMod val="10000"/>
                  </a:srgbClr>
                </a:solidFill>
                <a:latin typeface="Arial" panose="020B0604020202020204"/>
              </a:rPr>
              <a:t>12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4 navštívili PL, byl stanoven na základě vykázaných kapitačních plateb PL </a:t>
            </a: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lang="cs-CZ" sz="1200" dirty="0">
                <a:solidFill>
                  <a:srgbClr val="DDDCE0">
                    <a:lumMod val="10000"/>
                  </a:srgbClr>
                </a:solidFill>
                <a:latin typeface="Arial" panose="020B0604020202020204"/>
              </a:rPr>
              <a:t>k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1. </a:t>
            </a:r>
            <a:r>
              <a:rPr lang="cs-CZ" sz="1200" dirty="0">
                <a:solidFill>
                  <a:srgbClr val="DDDCE0">
                    <a:lumMod val="10000"/>
                  </a:srgbClr>
                </a:solidFill>
                <a:latin typeface="Arial" panose="020B0604020202020204"/>
              </a:rPr>
              <a:t>12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4 </a:t>
            </a:r>
            <a:r>
              <a:rPr lang="cs-CZ" sz="1200" dirty="0">
                <a:solidFill>
                  <a:srgbClr val="DDDCE0">
                    <a:lumMod val="10000"/>
                  </a:srgbClr>
                </a:solidFill>
                <a:latin typeface="Arial" panose="020B0604020202020204"/>
              </a:rPr>
              <a:t>. Jde o všechny osoby v uvedeném věku bez ohledu na jejich kuřáckou anamnézu.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DDDCE0">
                  <a:lumMod val="1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Rectangle 21">
            <a:extLst>
              <a:ext uri="{FF2B5EF4-FFF2-40B4-BE49-F238E27FC236}">
                <a16:creationId xmlns:a16="http://schemas.microsoft.com/office/drawing/2014/main" id="{01566680-7AA2-FD19-4B00-56001DDEAD0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866313" y="2114065"/>
            <a:ext cx="2897728" cy="378175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oslovených osob v krajích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78C61A97-748F-0839-FEAC-0BB85C0FD69A}"/>
              </a:ext>
            </a:extLst>
          </p:cNvPr>
          <p:cNvGrpSpPr/>
          <p:nvPr/>
        </p:nvGrpSpPr>
        <p:grpSpPr>
          <a:xfrm>
            <a:off x="10628010" y="1812000"/>
            <a:ext cx="1736898" cy="1558548"/>
            <a:chOff x="10594893" y="1453611"/>
            <a:chExt cx="1736898" cy="1558548"/>
          </a:xfrm>
        </p:grpSpPr>
        <p:sp>
          <p:nvSpPr>
            <p:cNvPr id="31" name="Text Box 3">
              <a:extLst>
                <a:ext uri="{FF2B5EF4-FFF2-40B4-BE49-F238E27FC236}">
                  <a16:creationId xmlns:a16="http://schemas.microsoft.com/office/drawing/2014/main" id="{B76AA95D-2CE3-A460-A217-6B2A112C18A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617418" y="1476259"/>
              <a:ext cx="1382618" cy="1520468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Rectangle 177">
              <a:extLst>
                <a:ext uri="{FF2B5EF4-FFF2-40B4-BE49-F238E27FC236}">
                  <a16:creationId xmlns:a16="http://schemas.microsoft.com/office/drawing/2014/main" id="{96B66EA2-DF99-E110-AC0B-A11333581C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4930" y="2018473"/>
              <a:ext cx="221004" cy="184399"/>
            </a:xfrm>
            <a:prstGeom prst="rect">
              <a:avLst/>
            </a:prstGeom>
            <a:solidFill>
              <a:srgbClr val="BDD8F0"/>
            </a:solidFill>
            <a:ln w="9525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33" name="Rectangle 177">
              <a:extLst>
                <a:ext uri="{FF2B5EF4-FFF2-40B4-BE49-F238E27FC236}">
                  <a16:creationId xmlns:a16="http://schemas.microsoft.com/office/drawing/2014/main" id="{1DF18985-8FB5-3AD2-2A41-6C6B0565B5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4930" y="2265670"/>
              <a:ext cx="221004" cy="184399"/>
            </a:xfrm>
            <a:prstGeom prst="rect">
              <a:avLst/>
            </a:prstGeom>
            <a:solidFill>
              <a:srgbClr val="73B3D8"/>
            </a:solidFill>
            <a:ln w="9525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34" name="Rectangle 177">
              <a:extLst>
                <a:ext uri="{FF2B5EF4-FFF2-40B4-BE49-F238E27FC236}">
                  <a16:creationId xmlns:a16="http://schemas.microsoft.com/office/drawing/2014/main" id="{EBBA7E56-EC03-F5DA-9AD2-228EB48ACA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96192" y="2522166"/>
              <a:ext cx="221004" cy="184399"/>
            </a:xfrm>
            <a:prstGeom prst="rect">
              <a:avLst/>
            </a:prstGeom>
            <a:solidFill>
              <a:srgbClr val="2879B9"/>
            </a:solidFill>
            <a:ln w="9525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35" name="Text Box 3">
              <a:extLst>
                <a:ext uri="{FF2B5EF4-FFF2-40B4-BE49-F238E27FC236}">
                  <a16:creationId xmlns:a16="http://schemas.microsoft.com/office/drawing/2014/main" id="{81015473-5C04-6C61-708A-8C97944B089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917196" y="1980715"/>
              <a:ext cx="1414595" cy="2680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0 % až 0,8 %</a:t>
              </a:r>
            </a:p>
          </p:txBody>
        </p:sp>
        <p:sp>
          <p:nvSpPr>
            <p:cNvPr id="36" name="Text Box 3">
              <a:extLst>
                <a:ext uri="{FF2B5EF4-FFF2-40B4-BE49-F238E27FC236}">
                  <a16:creationId xmlns:a16="http://schemas.microsoft.com/office/drawing/2014/main" id="{FE3CFAAC-F765-D8D8-D91A-1DDADD927A4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917196" y="2230539"/>
              <a:ext cx="1414595" cy="2680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8 % až 1,2 %</a:t>
              </a:r>
            </a:p>
          </p:txBody>
        </p:sp>
        <p:sp>
          <p:nvSpPr>
            <p:cNvPr id="37" name="Text Box 3">
              <a:extLst>
                <a:ext uri="{FF2B5EF4-FFF2-40B4-BE49-F238E27FC236}">
                  <a16:creationId xmlns:a16="http://schemas.microsoft.com/office/drawing/2014/main" id="{189FBA42-C79C-A2AA-C14C-2909580241F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917196" y="2480363"/>
              <a:ext cx="1414595" cy="2680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,2 % až 1,6 %</a:t>
              </a:r>
            </a:p>
          </p:txBody>
        </p:sp>
        <p:sp>
          <p:nvSpPr>
            <p:cNvPr id="38" name="Rectangle 177">
              <a:extLst>
                <a:ext uri="{FF2B5EF4-FFF2-40B4-BE49-F238E27FC236}">
                  <a16:creationId xmlns:a16="http://schemas.microsoft.com/office/drawing/2014/main" id="{02F37FAD-CC6B-727F-D238-09BA4A0D9A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96022" y="2785960"/>
              <a:ext cx="221004" cy="184399"/>
            </a:xfrm>
            <a:prstGeom prst="rect">
              <a:avLst/>
            </a:prstGeom>
            <a:solidFill>
              <a:srgbClr val="08306B"/>
            </a:solidFill>
            <a:ln w="9525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39" name="Text Box 3">
              <a:extLst>
                <a:ext uri="{FF2B5EF4-FFF2-40B4-BE49-F238E27FC236}">
                  <a16:creationId xmlns:a16="http://schemas.microsoft.com/office/drawing/2014/main" id="{2A496979-AEF1-6D3E-9DFD-332B185FEEF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917026" y="2744156"/>
              <a:ext cx="1414595" cy="2680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&gt; 1,6 %</a:t>
              </a:r>
            </a:p>
          </p:txBody>
        </p:sp>
        <p:sp>
          <p:nvSpPr>
            <p:cNvPr id="40" name="Text Box 3">
              <a:extLst>
                <a:ext uri="{FF2B5EF4-FFF2-40B4-BE49-F238E27FC236}">
                  <a16:creationId xmlns:a16="http://schemas.microsoft.com/office/drawing/2014/main" id="{008D15CD-46FE-7964-7D6D-62DB15E04FD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594893" y="1453611"/>
              <a:ext cx="1609002" cy="5770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DDDCE0">
                      <a:lumMod val="2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odíl oslovených osob dle kraje bydliště</a:t>
              </a:r>
            </a:p>
          </p:txBody>
        </p:sp>
      </p:grpSp>
      <p:sp>
        <p:nvSpPr>
          <p:cNvPr id="46" name="Zástupný text 5">
            <a:extLst>
              <a:ext uri="{FF2B5EF4-FFF2-40B4-BE49-F238E27FC236}">
                <a16:creationId xmlns:a16="http://schemas.microsoft.com/office/drawing/2014/main" id="{E0AC4D90-9B98-1A7B-FC92-491AE9322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1325" y="5800391"/>
            <a:ext cx="11260412" cy="517342"/>
          </a:xfrm>
        </p:spPr>
        <p:txBody>
          <a:bodyPr anchor="ctr">
            <a:noAutofit/>
          </a:bodyPr>
          <a:lstStyle/>
          <a:p>
            <a:pPr algn="ctr"/>
            <a:r>
              <a:rPr lang="cs-CZ" sz="1400" b="1" kern="0" dirty="0">
                <a:solidFill>
                  <a:schemeClr val="accent1"/>
                </a:solidFill>
                <a:latin typeface="+mj-lt"/>
              </a:rPr>
              <a:t>Celkový podíl oslovených osob v rámci ČR činí přibližně 1,3 %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.</a:t>
            </a:r>
            <a:b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odíl oslovených osob </a:t>
            </a:r>
            <a: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avštěvujících praktického lékaře 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v Jihočeském kraji </a:t>
            </a:r>
            <a: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yl 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,</a:t>
            </a:r>
            <a:r>
              <a:rPr lang="cs-CZ" sz="1400" b="1" kern="0" dirty="0">
                <a:solidFill>
                  <a:schemeClr val="accent1"/>
                </a:solidFill>
                <a:latin typeface="+mj-lt"/>
              </a:rPr>
              <a:t>5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%, tedy vyšší, než celorepublikový průměr.</a:t>
            </a:r>
            <a:endParaRPr lang="cs-CZ" sz="1400" b="1" kern="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7" name="Rectangle 21">
            <a:extLst>
              <a:ext uri="{FF2B5EF4-FFF2-40B4-BE49-F238E27FC236}">
                <a16:creationId xmlns:a16="http://schemas.microsoft.com/office/drawing/2014/main" id="{7D694904-83A7-B209-1C8F-D69B89B5FE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960046" y="1390539"/>
            <a:ext cx="2978851" cy="4308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uze pacienti ve věku 55–74 let</a:t>
            </a:r>
          </a:p>
        </p:txBody>
      </p:sp>
      <p:sp>
        <p:nvSpPr>
          <p:cNvPr id="8" name="Zástupný symbol pro obsah 4">
            <a:extLst>
              <a:ext uri="{FF2B5EF4-FFF2-40B4-BE49-F238E27FC236}">
                <a16:creationId xmlns:a16="http://schemas.microsoft.com/office/drawing/2014/main" id="{0266F04E-D1FC-E7E6-EC96-759A1E1E8F31}"/>
              </a:ext>
            </a:extLst>
          </p:cNvPr>
          <p:cNvSpPr txBox="1">
            <a:spLocks/>
          </p:cNvSpPr>
          <p:nvPr/>
        </p:nvSpPr>
        <p:spPr>
          <a:xfrm>
            <a:off x="294209" y="1279486"/>
            <a:ext cx="2469269" cy="3199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200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: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ktický lékař (01196, 01197)</a:t>
            </a:r>
          </a:p>
        </p:txBody>
      </p:sp>
      <p:sp>
        <p:nvSpPr>
          <p:cNvPr id="11" name="Rectangle 21">
            <a:extLst>
              <a:ext uri="{FF2B5EF4-FFF2-40B4-BE49-F238E27FC236}">
                <a16:creationId xmlns:a16="http://schemas.microsoft.com/office/drawing/2014/main" id="{730CA756-1AC2-9AA7-60F2-0E78EA009F2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633788" y="5391848"/>
            <a:ext cx="1257149" cy="378175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b="1" kern="0" dirty="0">
                <a:solidFill>
                  <a:srgbClr val="DDDCE0">
                    <a:lumMod val="10000"/>
                  </a:srgbClr>
                </a:solidFill>
                <a:latin typeface="Arial" panose="020B0604020202020204"/>
              </a:rPr>
              <a:t>Kraj bydliště</a:t>
            </a:r>
            <a:endParaRPr kumimoji="0" lang="cs-CZ" sz="1100" b="1" i="0" u="none" strike="noStrike" kern="0" cap="none" spc="0" normalizeH="0" baseline="0" noProof="0" dirty="0">
              <a:ln>
                <a:noFill/>
              </a:ln>
              <a:solidFill>
                <a:srgbClr val="DDDCE0">
                  <a:lumMod val="1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DC42040-4A59-E1F1-5DA3-FE573147FB83}"/>
              </a:ext>
            </a:extLst>
          </p:cNvPr>
          <p:cNvSpPr txBox="1">
            <a:spLocks/>
          </p:cNvSpPr>
          <p:nvPr/>
        </p:nvSpPr>
        <p:spPr>
          <a:xfrm>
            <a:off x="8718710" y="917180"/>
            <a:ext cx="3261286" cy="7200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NRHZS</a:t>
            </a: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za období: 1. 1. 2022 – 31. 12. 2024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C78A8E22-DD99-80DB-8B85-12E75EB4A9DD}"/>
              </a:ext>
            </a:extLst>
          </p:cNvPr>
          <p:cNvSpPr txBox="1"/>
          <p:nvPr/>
        </p:nvSpPr>
        <p:spPr>
          <a:xfrm>
            <a:off x="4903254" y="2824212"/>
            <a:ext cx="1142721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schemeClr val="bg2">
                    <a:lumMod val="10000"/>
                  </a:schemeClr>
                </a:solidFill>
                <a:latin typeface="Arial" panose="020B0604020202020204"/>
              </a:rPr>
              <a:t>V rámci </a:t>
            </a:r>
            <a:r>
              <a:rPr kumimoji="0" lang="cs-CZ" sz="120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</a:t>
            </a:r>
          </a:p>
        </p:txBody>
      </p:sp>
      <p:graphicFrame>
        <p:nvGraphicFramePr>
          <p:cNvPr id="15" name="Zástupný symbol pro obsah 5">
            <a:extLst>
              <a:ext uri="{FF2B5EF4-FFF2-40B4-BE49-F238E27FC236}">
                <a16:creationId xmlns:a16="http://schemas.microsoft.com/office/drawing/2014/main" id="{3E5D23EC-C4D8-F31A-CE8B-AC9B54A519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44495092"/>
              </p:ext>
            </p:extLst>
          </p:nvPr>
        </p:nvGraphicFramePr>
        <p:xfrm>
          <a:off x="191964" y="2074829"/>
          <a:ext cx="5844867" cy="35316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" name="Rectangle 21">
            <a:extLst>
              <a:ext uri="{FF2B5EF4-FFF2-40B4-BE49-F238E27FC236}">
                <a16:creationId xmlns:a16="http://schemas.microsoft.com/office/drawing/2014/main" id="{6552D9A9-042D-5FEF-D7FF-C22C6F7E043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998962" y="2469194"/>
            <a:ext cx="3078647" cy="250626"/>
          </a:xfrm>
          <a:prstGeom prst="rect">
            <a:avLst/>
          </a:prstGeom>
          <a:noFill/>
          <a:ln w="31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„Ideální“ </a:t>
            </a:r>
            <a:r>
              <a:rPr lang="cs-CZ" sz="1200" b="1" dirty="0">
                <a:solidFill>
                  <a:srgbClr val="C00000"/>
                </a:solidFill>
                <a:latin typeface="Arial" panose="020B0604020202020204"/>
              </a:rPr>
              <a:t>pokrytí v každém kraji </a:t>
            </a:r>
            <a:r>
              <a:rPr kumimoji="0" lang="cs-CZ" sz="1200" b="1" i="0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e 15</a:t>
            </a:r>
            <a:r>
              <a:rPr lang="cs-CZ" sz="1200" b="1" dirty="0">
                <a:solidFill>
                  <a:srgbClr val="C00000"/>
                </a:solidFill>
                <a:latin typeface="Arial" panose="020B0604020202020204"/>
              </a:rPr>
              <a:t> %</a:t>
            </a:r>
            <a:endParaRPr kumimoji="0" lang="cs-CZ" sz="1200" b="1" i="0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1054F03C-1318-4DA6-5B3B-28BE008A3DFA}"/>
              </a:ext>
            </a:extLst>
          </p:cNvPr>
          <p:cNvGrpSpPr/>
          <p:nvPr/>
        </p:nvGrpSpPr>
        <p:grpSpPr>
          <a:xfrm>
            <a:off x="7284917" y="4330227"/>
            <a:ext cx="1675129" cy="1284741"/>
            <a:chOff x="7070611" y="4495145"/>
            <a:chExt cx="1749119" cy="1290138"/>
          </a:xfrm>
        </p:grpSpPr>
        <p:sp>
          <p:nvSpPr>
            <p:cNvPr id="23" name="Volný tvar: obrazec 22">
              <a:extLst>
                <a:ext uri="{FF2B5EF4-FFF2-40B4-BE49-F238E27FC236}">
                  <a16:creationId xmlns:a16="http://schemas.microsoft.com/office/drawing/2014/main" id="{25A47312-DC85-0EBC-7896-4D49E1AC406E}"/>
                </a:ext>
              </a:extLst>
            </p:cNvPr>
            <p:cNvSpPr/>
            <p:nvPr/>
          </p:nvSpPr>
          <p:spPr>
            <a:xfrm>
              <a:off x="7070611" y="4590227"/>
              <a:ext cx="235611" cy="662141"/>
            </a:xfrm>
            <a:custGeom>
              <a:avLst/>
              <a:gdLst>
                <a:gd name="connsiteX0" fmla="*/ 0 w 254089"/>
                <a:gd name="connsiteY0" fmla="*/ 727075 h 727075"/>
                <a:gd name="connsiteX1" fmla="*/ 3175 w 254089"/>
                <a:gd name="connsiteY1" fmla="*/ 711200 h 727075"/>
                <a:gd name="connsiteX2" fmla="*/ 9525 w 254089"/>
                <a:gd name="connsiteY2" fmla="*/ 698500 h 727075"/>
                <a:gd name="connsiteX3" fmla="*/ 15875 w 254089"/>
                <a:gd name="connsiteY3" fmla="*/ 650875 h 727075"/>
                <a:gd name="connsiteX4" fmla="*/ 22225 w 254089"/>
                <a:gd name="connsiteY4" fmla="*/ 638175 h 727075"/>
                <a:gd name="connsiteX5" fmla="*/ 34925 w 254089"/>
                <a:gd name="connsiteY5" fmla="*/ 628650 h 727075"/>
                <a:gd name="connsiteX6" fmla="*/ 53975 w 254089"/>
                <a:gd name="connsiteY6" fmla="*/ 603250 h 727075"/>
                <a:gd name="connsiteX7" fmla="*/ 66675 w 254089"/>
                <a:gd name="connsiteY7" fmla="*/ 577850 h 727075"/>
                <a:gd name="connsiteX8" fmla="*/ 79375 w 254089"/>
                <a:gd name="connsiteY8" fmla="*/ 520700 h 727075"/>
                <a:gd name="connsiteX9" fmla="*/ 95250 w 254089"/>
                <a:gd name="connsiteY9" fmla="*/ 498475 h 727075"/>
                <a:gd name="connsiteX10" fmla="*/ 104775 w 254089"/>
                <a:gd name="connsiteY10" fmla="*/ 495300 h 727075"/>
                <a:gd name="connsiteX11" fmla="*/ 136525 w 254089"/>
                <a:gd name="connsiteY11" fmla="*/ 485775 h 727075"/>
                <a:gd name="connsiteX12" fmla="*/ 158750 w 254089"/>
                <a:gd name="connsiteY12" fmla="*/ 457200 h 727075"/>
                <a:gd name="connsiteX13" fmla="*/ 165100 w 254089"/>
                <a:gd name="connsiteY13" fmla="*/ 438150 h 727075"/>
                <a:gd name="connsiteX14" fmla="*/ 180975 w 254089"/>
                <a:gd name="connsiteY14" fmla="*/ 409575 h 727075"/>
                <a:gd name="connsiteX15" fmla="*/ 190500 w 254089"/>
                <a:gd name="connsiteY15" fmla="*/ 384175 h 727075"/>
                <a:gd name="connsiteX16" fmla="*/ 200025 w 254089"/>
                <a:gd name="connsiteY16" fmla="*/ 333375 h 727075"/>
                <a:gd name="connsiteX17" fmla="*/ 206375 w 254089"/>
                <a:gd name="connsiteY17" fmla="*/ 307975 h 727075"/>
                <a:gd name="connsiteX18" fmla="*/ 215900 w 254089"/>
                <a:gd name="connsiteY18" fmla="*/ 288925 h 727075"/>
                <a:gd name="connsiteX19" fmla="*/ 225425 w 254089"/>
                <a:gd name="connsiteY19" fmla="*/ 273050 h 727075"/>
                <a:gd name="connsiteX20" fmla="*/ 238125 w 254089"/>
                <a:gd name="connsiteY20" fmla="*/ 234950 h 727075"/>
                <a:gd name="connsiteX21" fmla="*/ 244475 w 254089"/>
                <a:gd name="connsiteY21" fmla="*/ 222250 h 727075"/>
                <a:gd name="connsiteX22" fmla="*/ 250825 w 254089"/>
                <a:gd name="connsiteY22" fmla="*/ 190500 h 727075"/>
                <a:gd name="connsiteX23" fmla="*/ 250825 w 254089"/>
                <a:gd name="connsiteY23" fmla="*/ 107950 h 727075"/>
                <a:gd name="connsiteX24" fmla="*/ 244475 w 254089"/>
                <a:gd name="connsiteY24" fmla="*/ 88900 h 727075"/>
                <a:gd name="connsiteX25" fmla="*/ 241300 w 254089"/>
                <a:gd name="connsiteY25" fmla="*/ 79375 h 727075"/>
                <a:gd name="connsiteX26" fmla="*/ 250825 w 254089"/>
                <a:gd name="connsiteY26" fmla="*/ 3175 h 727075"/>
                <a:gd name="connsiteX27" fmla="*/ 254000 w 254089"/>
                <a:gd name="connsiteY27" fmla="*/ 0 h 727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54089" h="727075">
                  <a:moveTo>
                    <a:pt x="0" y="727075"/>
                  </a:moveTo>
                  <a:cubicBezTo>
                    <a:pt x="1058" y="721783"/>
                    <a:pt x="1468" y="716320"/>
                    <a:pt x="3175" y="711200"/>
                  </a:cubicBezTo>
                  <a:cubicBezTo>
                    <a:pt x="4672" y="706710"/>
                    <a:pt x="8653" y="703152"/>
                    <a:pt x="9525" y="698500"/>
                  </a:cubicBezTo>
                  <a:cubicBezTo>
                    <a:pt x="14554" y="671677"/>
                    <a:pt x="8256" y="668653"/>
                    <a:pt x="15875" y="650875"/>
                  </a:cubicBezTo>
                  <a:cubicBezTo>
                    <a:pt x="17739" y="646525"/>
                    <a:pt x="19145" y="641769"/>
                    <a:pt x="22225" y="638175"/>
                  </a:cubicBezTo>
                  <a:cubicBezTo>
                    <a:pt x="25669" y="634157"/>
                    <a:pt x="30907" y="632094"/>
                    <a:pt x="34925" y="628650"/>
                  </a:cubicBezTo>
                  <a:cubicBezTo>
                    <a:pt x="45189" y="619852"/>
                    <a:pt x="47121" y="615979"/>
                    <a:pt x="53975" y="603250"/>
                  </a:cubicBezTo>
                  <a:cubicBezTo>
                    <a:pt x="58463" y="594915"/>
                    <a:pt x="66675" y="577850"/>
                    <a:pt x="66675" y="577850"/>
                  </a:cubicBezTo>
                  <a:cubicBezTo>
                    <a:pt x="72237" y="541700"/>
                    <a:pt x="68533" y="545095"/>
                    <a:pt x="79375" y="520700"/>
                  </a:cubicBezTo>
                  <a:cubicBezTo>
                    <a:pt x="83557" y="511291"/>
                    <a:pt x="86340" y="504415"/>
                    <a:pt x="95250" y="498475"/>
                  </a:cubicBezTo>
                  <a:cubicBezTo>
                    <a:pt x="98035" y="496619"/>
                    <a:pt x="101641" y="496475"/>
                    <a:pt x="104775" y="495300"/>
                  </a:cubicBezTo>
                  <a:cubicBezTo>
                    <a:pt x="128644" y="486349"/>
                    <a:pt x="112236" y="490633"/>
                    <a:pt x="136525" y="485775"/>
                  </a:cubicBezTo>
                  <a:cubicBezTo>
                    <a:pt x="144743" y="477557"/>
                    <a:pt x="154952" y="468593"/>
                    <a:pt x="158750" y="457200"/>
                  </a:cubicBezTo>
                  <a:cubicBezTo>
                    <a:pt x="160867" y="450850"/>
                    <a:pt x="161084" y="443505"/>
                    <a:pt x="165100" y="438150"/>
                  </a:cubicBezTo>
                  <a:cubicBezTo>
                    <a:pt x="180150" y="418083"/>
                    <a:pt x="170392" y="433387"/>
                    <a:pt x="180975" y="409575"/>
                  </a:cubicBezTo>
                  <a:cubicBezTo>
                    <a:pt x="189157" y="391166"/>
                    <a:pt x="186287" y="403132"/>
                    <a:pt x="190500" y="384175"/>
                  </a:cubicBezTo>
                  <a:cubicBezTo>
                    <a:pt x="194242" y="367338"/>
                    <a:pt x="196147" y="350181"/>
                    <a:pt x="200025" y="333375"/>
                  </a:cubicBezTo>
                  <a:cubicBezTo>
                    <a:pt x="201987" y="324871"/>
                    <a:pt x="202472" y="315781"/>
                    <a:pt x="206375" y="307975"/>
                  </a:cubicBezTo>
                  <a:cubicBezTo>
                    <a:pt x="209550" y="301625"/>
                    <a:pt x="212500" y="295158"/>
                    <a:pt x="215900" y="288925"/>
                  </a:cubicBezTo>
                  <a:cubicBezTo>
                    <a:pt x="218855" y="283507"/>
                    <a:pt x="223075" y="278756"/>
                    <a:pt x="225425" y="273050"/>
                  </a:cubicBezTo>
                  <a:cubicBezTo>
                    <a:pt x="230522" y="260671"/>
                    <a:pt x="232138" y="246924"/>
                    <a:pt x="238125" y="234950"/>
                  </a:cubicBezTo>
                  <a:cubicBezTo>
                    <a:pt x="240242" y="230717"/>
                    <a:pt x="242813" y="226682"/>
                    <a:pt x="244475" y="222250"/>
                  </a:cubicBezTo>
                  <a:cubicBezTo>
                    <a:pt x="247317" y="214672"/>
                    <a:pt x="249728" y="197084"/>
                    <a:pt x="250825" y="190500"/>
                  </a:cubicBezTo>
                  <a:cubicBezTo>
                    <a:pt x="253599" y="154444"/>
                    <a:pt x="256518" y="144006"/>
                    <a:pt x="250825" y="107950"/>
                  </a:cubicBezTo>
                  <a:cubicBezTo>
                    <a:pt x="249781" y="101338"/>
                    <a:pt x="246592" y="95250"/>
                    <a:pt x="244475" y="88900"/>
                  </a:cubicBezTo>
                  <a:lnTo>
                    <a:pt x="241300" y="79375"/>
                  </a:lnTo>
                  <a:cubicBezTo>
                    <a:pt x="243423" y="36920"/>
                    <a:pt x="235285" y="29075"/>
                    <a:pt x="250825" y="3175"/>
                  </a:cubicBezTo>
                  <a:cubicBezTo>
                    <a:pt x="251595" y="1892"/>
                    <a:pt x="252942" y="1058"/>
                    <a:pt x="254000" y="0"/>
                  </a:cubicBezTo>
                </a:path>
              </a:pathLst>
            </a:cu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25" name="Volný tvar: obrazec 24">
              <a:extLst>
                <a:ext uri="{FF2B5EF4-FFF2-40B4-BE49-F238E27FC236}">
                  <a16:creationId xmlns:a16="http://schemas.microsoft.com/office/drawing/2014/main" id="{027E9127-D19A-4E75-DBCF-656BE0C09D8B}"/>
                </a:ext>
              </a:extLst>
            </p:cNvPr>
            <p:cNvSpPr/>
            <p:nvPr/>
          </p:nvSpPr>
          <p:spPr>
            <a:xfrm rot="21449082">
              <a:off x="7106299" y="5232221"/>
              <a:ext cx="1180583" cy="553062"/>
            </a:xfrm>
            <a:custGeom>
              <a:avLst/>
              <a:gdLst>
                <a:gd name="connsiteX0" fmla="*/ 0 w 1273175"/>
                <a:gd name="connsiteY0" fmla="*/ 0 h 616654"/>
                <a:gd name="connsiteX1" fmla="*/ 41275 w 1273175"/>
                <a:gd name="connsiteY1" fmla="*/ 15875 h 616654"/>
                <a:gd name="connsiteX2" fmla="*/ 53975 w 1273175"/>
                <a:gd name="connsiteY2" fmla="*/ 25400 h 616654"/>
                <a:gd name="connsiteX3" fmla="*/ 66675 w 1273175"/>
                <a:gd name="connsiteY3" fmla="*/ 38100 h 616654"/>
                <a:gd name="connsiteX4" fmla="*/ 76200 w 1273175"/>
                <a:gd name="connsiteY4" fmla="*/ 41275 h 616654"/>
                <a:gd name="connsiteX5" fmla="*/ 88900 w 1273175"/>
                <a:gd name="connsiteY5" fmla="*/ 50800 h 616654"/>
                <a:gd name="connsiteX6" fmla="*/ 95250 w 1273175"/>
                <a:gd name="connsiteY6" fmla="*/ 73025 h 616654"/>
                <a:gd name="connsiteX7" fmla="*/ 104775 w 1273175"/>
                <a:gd name="connsiteY7" fmla="*/ 85725 h 616654"/>
                <a:gd name="connsiteX8" fmla="*/ 120650 w 1273175"/>
                <a:gd name="connsiteY8" fmla="*/ 123825 h 616654"/>
                <a:gd name="connsiteX9" fmla="*/ 127000 w 1273175"/>
                <a:gd name="connsiteY9" fmla="*/ 133350 h 616654"/>
                <a:gd name="connsiteX10" fmla="*/ 139700 w 1273175"/>
                <a:gd name="connsiteY10" fmla="*/ 139700 h 616654"/>
                <a:gd name="connsiteX11" fmla="*/ 149225 w 1273175"/>
                <a:gd name="connsiteY11" fmla="*/ 142875 h 616654"/>
                <a:gd name="connsiteX12" fmla="*/ 196850 w 1273175"/>
                <a:gd name="connsiteY12" fmla="*/ 155575 h 616654"/>
                <a:gd name="connsiteX13" fmla="*/ 209550 w 1273175"/>
                <a:gd name="connsiteY13" fmla="*/ 184150 h 616654"/>
                <a:gd name="connsiteX14" fmla="*/ 212725 w 1273175"/>
                <a:gd name="connsiteY14" fmla="*/ 196850 h 616654"/>
                <a:gd name="connsiteX15" fmla="*/ 219075 w 1273175"/>
                <a:gd name="connsiteY15" fmla="*/ 206375 h 616654"/>
                <a:gd name="connsiteX16" fmla="*/ 231775 w 1273175"/>
                <a:gd name="connsiteY16" fmla="*/ 228600 h 616654"/>
                <a:gd name="connsiteX17" fmla="*/ 238125 w 1273175"/>
                <a:gd name="connsiteY17" fmla="*/ 254000 h 616654"/>
                <a:gd name="connsiteX18" fmla="*/ 247650 w 1273175"/>
                <a:gd name="connsiteY18" fmla="*/ 263525 h 616654"/>
                <a:gd name="connsiteX19" fmla="*/ 260350 w 1273175"/>
                <a:gd name="connsiteY19" fmla="*/ 288925 h 616654"/>
                <a:gd name="connsiteX20" fmla="*/ 273050 w 1273175"/>
                <a:gd name="connsiteY20" fmla="*/ 298450 h 616654"/>
                <a:gd name="connsiteX21" fmla="*/ 282575 w 1273175"/>
                <a:gd name="connsiteY21" fmla="*/ 301625 h 616654"/>
                <a:gd name="connsiteX22" fmla="*/ 314325 w 1273175"/>
                <a:gd name="connsiteY22" fmla="*/ 317500 h 616654"/>
                <a:gd name="connsiteX23" fmla="*/ 339725 w 1273175"/>
                <a:gd name="connsiteY23" fmla="*/ 330200 h 616654"/>
                <a:gd name="connsiteX24" fmla="*/ 368300 w 1273175"/>
                <a:gd name="connsiteY24" fmla="*/ 349250 h 616654"/>
                <a:gd name="connsiteX25" fmla="*/ 387350 w 1273175"/>
                <a:gd name="connsiteY25" fmla="*/ 368300 h 616654"/>
                <a:gd name="connsiteX26" fmla="*/ 425450 w 1273175"/>
                <a:gd name="connsiteY26" fmla="*/ 403225 h 616654"/>
                <a:gd name="connsiteX27" fmla="*/ 434975 w 1273175"/>
                <a:gd name="connsiteY27" fmla="*/ 406400 h 616654"/>
                <a:gd name="connsiteX28" fmla="*/ 444500 w 1273175"/>
                <a:gd name="connsiteY28" fmla="*/ 419100 h 616654"/>
                <a:gd name="connsiteX29" fmla="*/ 450850 w 1273175"/>
                <a:gd name="connsiteY29" fmla="*/ 434975 h 616654"/>
                <a:gd name="connsiteX30" fmla="*/ 441325 w 1273175"/>
                <a:gd name="connsiteY30" fmla="*/ 441325 h 616654"/>
                <a:gd name="connsiteX31" fmla="*/ 434975 w 1273175"/>
                <a:gd name="connsiteY31" fmla="*/ 457200 h 616654"/>
                <a:gd name="connsiteX32" fmla="*/ 419100 w 1273175"/>
                <a:gd name="connsiteY32" fmla="*/ 476250 h 616654"/>
                <a:gd name="connsiteX33" fmla="*/ 428625 w 1273175"/>
                <a:gd name="connsiteY33" fmla="*/ 508000 h 616654"/>
                <a:gd name="connsiteX34" fmla="*/ 447675 w 1273175"/>
                <a:gd name="connsiteY34" fmla="*/ 511175 h 616654"/>
                <a:gd name="connsiteX35" fmla="*/ 460375 w 1273175"/>
                <a:gd name="connsiteY35" fmla="*/ 514350 h 616654"/>
                <a:gd name="connsiteX36" fmla="*/ 469900 w 1273175"/>
                <a:gd name="connsiteY36" fmla="*/ 520700 h 616654"/>
                <a:gd name="connsiteX37" fmla="*/ 482600 w 1273175"/>
                <a:gd name="connsiteY37" fmla="*/ 523875 h 616654"/>
                <a:gd name="connsiteX38" fmla="*/ 485775 w 1273175"/>
                <a:gd name="connsiteY38" fmla="*/ 536575 h 616654"/>
                <a:gd name="connsiteX39" fmla="*/ 501650 w 1273175"/>
                <a:gd name="connsiteY39" fmla="*/ 546100 h 616654"/>
                <a:gd name="connsiteX40" fmla="*/ 530225 w 1273175"/>
                <a:gd name="connsiteY40" fmla="*/ 561975 h 616654"/>
                <a:gd name="connsiteX41" fmla="*/ 542925 w 1273175"/>
                <a:gd name="connsiteY41" fmla="*/ 571500 h 616654"/>
                <a:gd name="connsiteX42" fmla="*/ 561975 w 1273175"/>
                <a:gd name="connsiteY42" fmla="*/ 574675 h 616654"/>
                <a:gd name="connsiteX43" fmla="*/ 593725 w 1273175"/>
                <a:gd name="connsiteY43" fmla="*/ 587375 h 616654"/>
                <a:gd name="connsiteX44" fmla="*/ 622300 w 1273175"/>
                <a:gd name="connsiteY44" fmla="*/ 593725 h 616654"/>
                <a:gd name="connsiteX45" fmla="*/ 647700 w 1273175"/>
                <a:gd name="connsiteY45" fmla="*/ 609600 h 616654"/>
                <a:gd name="connsiteX46" fmla="*/ 717550 w 1273175"/>
                <a:gd name="connsiteY46" fmla="*/ 612775 h 616654"/>
                <a:gd name="connsiteX47" fmla="*/ 730250 w 1273175"/>
                <a:gd name="connsiteY47" fmla="*/ 606425 h 616654"/>
                <a:gd name="connsiteX48" fmla="*/ 733425 w 1273175"/>
                <a:gd name="connsiteY48" fmla="*/ 596900 h 616654"/>
                <a:gd name="connsiteX49" fmla="*/ 746125 w 1273175"/>
                <a:gd name="connsiteY49" fmla="*/ 590550 h 616654"/>
                <a:gd name="connsiteX50" fmla="*/ 762000 w 1273175"/>
                <a:gd name="connsiteY50" fmla="*/ 574675 h 616654"/>
                <a:gd name="connsiteX51" fmla="*/ 781050 w 1273175"/>
                <a:gd name="connsiteY51" fmla="*/ 561975 h 616654"/>
                <a:gd name="connsiteX52" fmla="*/ 787400 w 1273175"/>
                <a:gd name="connsiteY52" fmla="*/ 552450 h 616654"/>
                <a:gd name="connsiteX53" fmla="*/ 790575 w 1273175"/>
                <a:gd name="connsiteY53" fmla="*/ 542925 h 616654"/>
                <a:gd name="connsiteX54" fmla="*/ 796925 w 1273175"/>
                <a:gd name="connsiteY54" fmla="*/ 530225 h 616654"/>
                <a:gd name="connsiteX55" fmla="*/ 809625 w 1273175"/>
                <a:gd name="connsiteY55" fmla="*/ 498475 h 616654"/>
                <a:gd name="connsiteX56" fmla="*/ 822325 w 1273175"/>
                <a:gd name="connsiteY56" fmla="*/ 501650 h 616654"/>
                <a:gd name="connsiteX57" fmla="*/ 828675 w 1273175"/>
                <a:gd name="connsiteY57" fmla="*/ 514350 h 616654"/>
                <a:gd name="connsiteX58" fmla="*/ 847725 w 1273175"/>
                <a:gd name="connsiteY58" fmla="*/ 520700 h 616654"/>
                <a:gd name="connsiteX59" fmla="*/ 863600 w 1273175"/>
                <a:gd name="connsiteY59" fmla="*/ 530225 h 616654"/>
                <a:gd name="connsiteX60" fmla="*/ 892175 w 1273175"/>
                <a:gd name="connsiteY60" fmla="*/ 536575 h 616654"/>
                <a:gd name="connsiteX61" fmla="*/ 923925 w 1273175"/>
                <a:gd name="connsiteY61" fmla="*/ 530225 h 616654"/>
                <a:gd name="connsiteX62" fmla="*/ 942975 w 1273175"/>
                <a:gd name="connsiteY62" fmla="*/ 523875 h 616654"/>
                <a:gd name="connsiteX63" fmla="*/ 955675 w 1273175"/>
                <a:gd name="connsiteY63" fmla="*/ 542925 h 616654"/>
                <a:gd name="connsiteX64" fmla="*/ 962025 w 1273175"/>
                <a:gd name="connsiteY64" fmla="*/ 552450 h 616654"/>
                <a:gd name="connsiteX65" fmla="*/ 981075 w 1273175"/>
                <a:gd name="connsiteY65" fmla="*/ 561975 h 616654"/>
                <a:gd name="connsiteX66" fmla="*/ 1000125 w 1273175"/>
                <a:gd name="connsiteY66" fmla="*/ 574675 h 616654"/>
                <a:gd name="connsiteX67" fmla="*/ 1025525 w 1273175"/>
                <a:gd name="connsiteY67" fmla="*/ 568325 h 616654"/>
                <a:gd name="connsiteX68" fmla="*/ 1031875 w 1273175"/>
                <a:gd name="connsiteY68" fmla="*/ 536575 h 616654"/>
                <a:gd name="connsiteX69" fmla="*/ 1041400 w 1273175"/>
                <a:gd name="connsiteY69" fmla="*/ 530225 h 616654"/>
                <a:gd name="connsiteX70" fmla="*/ 1044575 w 1273175"/>
                <a:gd name="connsiteY70" fmla="*/ 488950 h 616654"/>
                <a:gd name="connsiteX71" fmla="*/ 1054100 w 1273175"/>
                <a:gd name="connsiteY71" fmla="*/ 460375 h 616654"/>
                <a:gd name="connsiteX72" fmla="*/ 1057275 w 1273175"/>
                <a:gd name="connsiteY72" fmla="*/ 444500 h 616654"/>
                <a:gd name="connsiteX73" fmla="*/ 1069975 w 1273175"/>
                <a:gd name="connsiteY73" fmla="*/ 434975 h 616654"/>
                <a:gd name="connsiteX74" fmla="*/ 1085850 w 1273175"/>
                <a:gd name="connsiteY74" fmla="*/ 419100 h 616654"/>
                <a:gd name="connsiteX75" fmla="*/ 1089025 w 1273175"/>
                <a:gd name="connsiteY75" fmla="*/ 406400 h 616654"/>
                <a:gd name="connsiteX76" fmla="*/ 1111250 w 1273175"/>
                <a:gd name="connsiteY76" fmla="*/ 384175 h 616654"/>
                <a:gd name="connsiteX77" fmla="*/ 1127125 w 1273175"/>
                <a:gd name="connsiteY77" fmla="*/ 361950 h 616654"/>
                <a:gd name="connsiteX78" fmla="*/ 1139825 w 1273175"/>
                <a:gd name="connsiteY78" fmla="*/ 323850 h 616654"/>
                <a:gd name="connsiteX79" fmla="*/ 1152525 w 1273175"/>
                <a:gd name="connsiteY79" fmla="*/ 314325 h 616654"/>
                <a:gd name="connsiteX80" fmla="*/ 1168400 w 1273175"/>
                <a:gd name="connsiteY80" fmla="*/ 317500 h 616654"/>
                <a:gd name="connsiteX81" fmla="*/ 1177925 w 1273175"/>
                <a:gd name="connsiteY81" fmla="*/ 323850 h 616654"/>
                <a:gd name="connsiteX82" fmla="*/ 1187450 w 1273175"/>
                <a:gd name="connsiteY82" fmla="*/ 327025 h 616654"/>
                <a:gd name="connsiteX83" fmla="*/ 1222375 w 1273175"/>
                <a:gd name="connsiteY83" fmla="*/ 342900 h 616654"/>
                <a:gd name="connsiteX84" fmla="*/ 1260475 w 1273175"/>
                <a:gd name="connsiteY84" fmla="*/ 349250 h 616654"/>
                <a:gd name="connsiteX85" fmla="*/ 1270000 w 1273175"/>
                <a:gd name="connsiteY85" fmla="*/ 346075 h 616654"/>
                <a:gd name="connsiteX86" fmla="*/ 1273175 w 1273175"/>
                <a:gd name="connsiteY86" fmla="*/ 336550 h 616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73175" h="616654">
                  <a:moveTo>
                    <a:pt x="0" y="0"/>
                  </a:moveTo>
                  <a:cubicBezTo>
                    <a:pt x="17325" y="3465"/>
                    <a:pt x="24788" y="3510"/>
                    <a:pt x="41275" y="15875"/>
                  </a:cubicBezTo>
                  <a:cubicBezTo>
                    <a:pt x="45508" y="19050"/>
                    <a:pt x="49993" y="21915"/>
                    <a:pt x="53975" y="25400"/>
                  </a:cubicBezTo>
                  <a:cubicBezTo>
                    <a:pt x="58481" y="29342"/>
                    <a:pt x="61803" y="34620"/>
                    <a:pt x="66675" y="38100"/>
                  </a:cubicBezTo>
                  <a:cubicBezTo>
                    <a:pt x="69398" y="40045"/>
                    <a:pt x="73025" y="40217"/>
                    <a:pt x="76200" y="41275"/>
                  </a:cubicBezTo>
                  <a:cubicBezTo>
                    <a:pt x="80433" y="44450"/>
                    <a:pt x="85512" y="46735"/>
                    <a:pt x="88900" y="50800"/>
                  </a:cubicBezTo>
                  <a:cubicBezTo>
                    <a:pt x="90851" y="53141"/>
                    <a:pt x="94659" y="71843"/>
                    <a:pt x="95250" y="73025"/>
                  </a:cubicBezTo>
                  <a:cubicBezTo>
                    <a:pt x="97617" y="77758"/>
                    <a:pt x="101600" y="81492"/>
                    <a:pt x="104775" y="85725"/>
                  </a:cubicBezTo>
                  <a:cubicBezTo>
                    <a:pt x="108895" y="102205"/>
                    <a:pt x="108929" y="106243"/>
                    <a:pt x="120650" y="123825"/>
                  </a:cubicBezTo>
                  <a:cubicBezTo>
                    <a:pt x="122767" y="127000"/>
                    <a:pt x="124069" y="130907"/>
                    <a:pt x="127000" y="133350"/>
                  </a:cubicBezTo>
                  <a:cubicBezTo>
                    <a:pt x="130636" y="136380"/>
                    <a:pt x="135350" y="137836"/>
                    <a:pt x="139700" y="139700"/>
                  </a:cubicBezTo>
                  <a:cubicBezTo>
                    <a:pt x="142776" y="141018"/>
                    <a:pt x="146000" y="141979"/>
                    <a:pt x="149225" y="142875"/>
                  </a:cubicBezTo>
                  <a:cubicBezTo>
                    <a:pt x="165055" y="147272"/>
                    <a:pt x="180975" y="151342"/>
                    <a:pt x="196850" y="155575"/>
                  </a:cubicBezTo>
                  <a:cubicBezTo>
                    <a:pt x="202382" y="166639"/>
                    <a:pt x="205496" y="171988"/>
                    <a:pt x="209550" y="184150"/>
                  </a:cubicBezTo>
                  <a:cubicBezTo>
                    <a:pt x="210930" y="188290"/>
                    <a:pt x="211006" y="192839"/>
                    <a:pt x="212725" y="196850"/>
                  </a:cubicBezTo>
                  <a:cubicBezTo>
                    <a:pt x="214228" y="200357"/>
                    <a:pt x="217182" y="203062"/>
                    <a:pt x="219075" y="206375"/>
                  </a:cubicBezTo>
                  <a:cubicBezTo>
                    <a:pt x="235188" y="234573"/>
                    <a:pt x="216304" y="205394"/>
                    <a:pt x="231775" y="228600"/>
                  </a:cubicBezTo>
                  <a:cubicBezTo>
                    <a:pt x="232233" y="230890"/>
                    <a:pt x="235336" y="249816"/>
                    <a:pt x="238125" y="254000"/>
                  </a:cubicBezTo>
                  <a:cubicBezTo>
                    <a:pt x="240616" y="257736"/>
                    <a:pt x="244475" y="260350"/>
                    <a:pt x="247650" y="263525"/>
                  </a:cubicBezTo>
                  <a:cubicBezTo>
                    <a:pt x="251056" y="273743"/>
                    <a:pt x="252275" y="279697"/>
                    <a:pt x="260350" y="288925"/>
                  </a:cubicBezTo>
                  <a:cubicBezTo>
                    <a:pt x="263835" y="292907"/>
                    <a:pt x="268456" y="295825"/>
                    <a:pt x="273050" y="298450"/>
                  </a:cubicBezTo>
                  <a:cubicBezTo>
                    <a:pt x="275956" y="300110"/>
                    <a:pt x="279400" y="300567"/>
                    <a:pt x="282575" y="301625"/>
                  </a:cubicBezTo>
                  <a:cubicBezTo>
                    <a:pt x="313316" y="324681"/>
                    <a:pt x="274208" y="297442"/>
                    <a:pt x="314325" y="317500"/>
                  </a:cubicBezTo>
                  <a:cubicBezTo>
                    <a:pt x="346707" y="333691"/>
                    <a:pt x="308540" y="322404"/>
                    <a:pt x="339725" y="330200"/>
                  </a:cubicBezTo>
                  <a:cubicBezTo>
                    <a:pt x="349854" y="336277"/>
                    <a:pt x="359482" y="341313"/>
                    <a:pt x="368300" y="349250"/>
                  </a:cubicBezTo>
                  <a:cubicBezTo>
                    <a:pt x="374975" y="355257"/>
                    <a:pt x="382369" y="360828"/>
                    <a:pt x="387350" y="368300"/>
                  </a:cubicBezTo>
                  <a:cubicBezTo>
                    <a:pt x="397307" y="383235"/>
                    <a:pt x="404612" y="396279"/>
                    <a:pt x="425450" y="403225"/>
                  </a:cubicBezTo>
                  <a:lnTo>
                    <a:pt x="434975" y="406400"/>
                  </a:lnTo>
                  <a:cubicBezTo>
                    <a:pt x="438150" y="410633"/>
                    <a:pt x="440758" y="415358"/>
                    <a:pt x="444500" y="419100"/>
                  </a:cubicBezTo>
                  <a:cubicBezTo>
                    <a:pt x="451100" y="425700"/>
                    <a:pt x="460239" y="423239"/>
                    <a:pt x="450850" y="434975"/>
                  </a:cubicBezTo>
                  <a:cubicBezTo>
                    <a:pt x="448466" y="437955"/>
                    <a:pt x="444500" y="439208"/>
                    <a:pt x="441325" y="441325"/>
                  </a:cubicBezTo>
                  <a:cubicBezTo>
                    <a:pt x="439208" y="446617"/>
                    <a:pt x="439005" y="453170"/>
                    <a:pt x="434975" y="457200"/>
                  </a:cubicBezTo>
                  <a:cubicBezTo>
                    <a:pt x="413677" y="478498"/>
                    <a:pt x="427290" y="435302"/>
                    <a:pt x="419100" y="476250"/>
                  </a:cubicBezTo>
                  <a:cubicBezTo>
                    <a:pt x="422275" y="486833"/>
                    <a:pt x="421628" y="499448"/>
                    <a:pt x="428625" y="508000"/>
                  </a:cubicBezTo>
                  <a:cubicBezTo>
                    <a:pt x="432702" y="512982"/>
                    <a:pt x="441362" y="509912"/>
                    <a:pt x="447675" y="511175"/>
                  </a:cubicBezTo>
                  <a:cubicBezTo>
                    <a:pt x="451954" y="512031"/>
                    <a:pt x="456142" y="513292"/>
                    <a:pt x="460375" y="514350"/>
                  </a:cubicBezTo>
                  <a:cubicBezTo>
                    <a:pt x="463550" y="516467"/>
                    <a:pt x="466393" y="519197"/>
                    <a:pt x="469900" y="520700"/>
                  </a:cubicBezTo>
                  <a:cubicBezTo>
                    <a:pt x="473911" y="522419"/>
                    <a:pt x="479514" y="520789"/>
                    <a:pt x="482600" y="523875"/>
                  </a:cubicBezTo>
                  <a:cubicBezTo>
                    <a:pt x="485686" y="526961"/>
                    <a:pt x="482935" y="533262"/>
                    <a:pt x="485775" y="536575"/>
                  </a:cubicBezTo>
                  <a:cubicBezTo>
                    <a:pt x="489791" y="541260"/>
                    <a:pt x="496255" y="543103"/>
                    <a:pt x="501650" y="546100"/>
                  </a:cubicBezTo>
                  <a:cubicBezTo>
                    <a:pt x="519806" y="556187"/>
                    <a:pt x="510374" y="548741"/>
                    <a:pt x="530225" y="561975"/>
                  </a:cubicBezTo>
                  <a:cubicBezTo>
                    <a:pt x="534628" y="564910"/>
                    <a:pt x="538012" y="569535"/>
                    <a:pt x="542925" y="571500"/>
                  </a:cubicBezTo>
                  <a:cubicBezTo>
                    <a:pt x="548902" y="573891"/>
                    <a:pt x="555730" y="573114"/>
                    <a:pt x="561975" y="574675"/>
                  </a:cubicBezTo>
                  <a:cubicBezTo>
                    <a:pt x="596249" y="583243"/>
                    <a:pt x="567448" y="577521"/>
                    <a:pt x="593725" y="587375"/>
                  </a:cubicBezTo>
                  <a:cubicBezTo>
                    <a:pt x="598849" y="589297"/>
                    <a:pt x="617989" y="592863"/>
                    <a:pt x="622300" y="593725"/>
                  </a:cubicBezTo>
                  <a:cubicBezTo>
                    <a:pt x="630767" y="599017"/>
                    <a:pt x="638770" y="605135"/>
                    <a:pt x="647700" y="609600"/>
                  </a:cubicBezTo>
                  <a:cubicBezTo>
                    <a:pt x="672432" y="621966"/>
                    <a:pt x="686465" y="614718"/>
                    <a:pt x="717550" y="612775"/>
                  </a:cubicBezTo>
                  <a:cubicBezTo>
                    <a:pt x="721783" y="610658"/>
                    <a:pt x="726903" y="609772"/>
                    <a:pt x="730250" y="606425"/>
                  </a:cubicBezTo>
                  <a:cubicBezTo>
                    <a:pt x="732617" y="604058"/>
                    <a:pt x="731058" y="599267"/>
                    <a:pt x="733425" y="596900"/>
                  </a:cubicBezTo>
                  <a:cubicBezTo>
                    <a:pt x="736772" y="593553"/>
                    <a:pt x="741892" y="592667"/>
                    <a:pt x="746125" y="590550"/>
                  </a:cubicBezTo>
                  <a:cubicBezTo>
                    <a:pt x="757767" y="573088"/>
                    <a:pt x="746125" y="587904"/>
                    <a:pt x="762000" y="574675"/>
                  </a:cubicBezTo>
                  <a:cubicBezTo>
                    <a:pt x="777855" y="561462"/>
                    <a:pt x="764311" y="567555"/>
                    <a:pt x="781050" y="561975"/>
                  </a:cubicBezTo>
                  <a:cubicBezTo>
                    <a:pt x="783167" y="558800"/>
                    <a:pt x="785693" y="555863"/>
                    <a:pt x="787400" y="552450"/>
                  </a:cubicBezTo>
                  <a:cubicBezTo>
                    <a:pt x="788897" y="549457"/>
                    <a:pt x="789257" y="546001"/>
                    <a:pt x="790575" y="542925"/>
                  </a:cubicBezTo>
                  <a:cubicBezTo>
                    <a:pt x="792439" y="538575"/>
                    <a:pt x="794808" y="534458"/>
                    <a:pt x="796925" y="530225"/>
                  </a:cubicBezTo>
                  <a:cubicBezTo>
                    <a:pt x="798650" y="521601"/>
                    <a:pt x="800366" y="503766"/>
                    <a:pt x="809625" y="498475"/>
                  </a:cubicBezTo>
                  <a:cubicBezTo>
                    <a:pt x="813414" y="496310"/>
                    <a:pt x="818092" y="500592"/>
                    <a:pt x="822325" y="501650"/>
                  </a:cubicBezTo>
                  <a:cubicBezTo>
                    <a:pt x="824442" y="505883"/>
                    <a:pt x="824889" y="511510"/>
                    <a:pt x="828675" y="514350"/>
                  </a:cubicBezTo>
                  <a:cubicBezTo>
                    <a:pt x="834030" y="518366"/>
                    <a:pt x="841985" y="517256"/>
                    <a:pt x="847725" y="520700"/>
                  </a:cubicBezTo>
                  <a:cubicBezTo>
                    <a:pt x="853017" y="523875"/>
                    <a:pt x="858080" y="527465"/>
                    <a:pt x="863600" y="530225"/>
                  </a:cubicBezTo>
                  <a:cubicBezTo>
                    <a:pt x="871416" y="534133"/>
                    <a:pt x="884858" y="535356"/>
                    <a:pt x="892175" y="536575"/>
                  </a:cubicBezTo>
                  <a:cubicBezTo>
                    <a:pt x="902758" y="534458"/>
                    <a:pt x="913454" y="532843"/>
                    <a:pt x="923925" y="530225"/>
                  </a:cubicBezTo>
                  <a:cubicBezTo>
                    <a:pt x="930419" y="528602"/>
                    <a:pt x="942975" y="523875"/>
                    <a:pt x="942975" y="523875"/>
                  </a:cubicBezTo>
                  <a:lnTo>
                    <a:pt x="955675" y="542925"/>
                  </a:lnTo>
                  <a:cubicBezTo>
                    <a:pt x="957792" y="546100"/>
                    <a:pt x="958612" y="550743"/>
                    <a:pt x="962025" y="552450"/>
                  </a:cubicBezTo>
                  <a:cubicBezTo>
                    <a:pt x="968375" y="555625"/>
                    <a:pt x="975168" y="558037"/>
                    <a:pt x="981075" y="561975"/>
                  </a:cubicBezTo>
                  <a:cubicBezTo>
                    <a:pt x="1004858" y="577830"/>
                    <a:pt x="977477" y="567126"/>
                    <a:pt x="1000125" y="574675"/>
                  </a:cubicBezTo>
                  <a:cubicBezTo>
                    <a:pt x="1008592" y="572558"/>
                    <a:pt x="1019938" y="575029"/>
                    <a:pt x="1025525" y="568325"/>
                  </a:cubicBezTo>
                  <a:cubicBezTo>
                    <a:pt x="1032434" y="560034"/>
                    <a:pt x="1027724" y="546538"/>
                    <a:pt x="1031875" y="536575"/>
                  </a:cubicBezTo>
                  <a:cubicBezTo>
                    <a:pt x="1033343" y="533053"/>
                    <a:pt x="1038225" y="532342"/>
                    <a:pt x="1041400" y="530225"/>
                  </a:cubicBezTo>
                  <a:cubicBezTo>
                    <a:pt x="1058049" y="488601"/>
                    <a:pt x="1037782" y="546693"/>
                    <a:pt x="1044575" y="488950"/>
                  </a:cubicBezTo>
                  <a:cubicBezTo>
                    <a:pt x="1045748" y="478979"/>
                    <a:pt x="1052131" y="470220"/>
                    <a:pt x="1054100" y="460375"/>
                  </a:cubicBezTo>
                  <a:cubicBezTo>
                    <a:pt x="1055158" y="455083"/>
                    <a:pt x="1054415" y="449076"/>
                    <a:pt x="1057275" y="444500"/>
                  </a:cubicBezTo>
                  <a:cubicBezTo>
                    <a:pt x="1060080" y="440013"/>
                    <a:pt x="1066233" y="438717"/>
                    <a:pt x="1069975" y="434975"/>
                  </a:cubicBezTo>
                  <a:cubicBezTo>
                    <a:pt x="1091142" y="413808"/>
                    <a:pt x="1060450" y="436033"/>
                    <a:pt x="1085850" y="419100"/>
                  </a:cubicBezTo>
                  <a:cubicBezTo>
                    <a:pt x="1086908" y="414867"/>
                    <a:pt x="1087306" y="410411"/>
                    <a:pt x="1089025" y="406400"/>
                  </a:cubicBezTo>
                  <a:cubicBezTo>
                    <a:pt x="1094408" y="393839"/>
                    <a:pt x="1100788" y="394637"/>
                    <a:pt x="1111250" y="384175"/>
                  </a:cubicBezTo>
                  <a:cubicBezTo>
                    <a:pt x="1115188" y="380237"/>
                    <a:pt x="1123519" y="367358"/>
                    <a:pt x="1127125" y="361950"/>
                  </a:cubicBezTo>
                  <a:cubicBezTo>
                    <a:pt x="1129242" y="349249"/>
                    <a:pt x="1129931" y="333744"/>
                    <a:pt x="1139825" y="323850"/>
                  </a:cubicBezTo>
                  <a:cubicBezTo>
                    <a:pt x="1143567" y="320108"/>
                    <a:pt x="1148292" y="317500"/>
                    <a:pt x="1152525" y="314325"/>
                  </a:cubicBezTo>
                  <a:cubicBezTo>
                    <a:pt x="1157817" y="315383"/>
                    <a:pt x="1163347" y="315605"/>
                    <a:pt x="1168400" y="317500"/>
                  </a:cubicBezTo>
                  <a:cubicBezTo>
                    <a:pt x="1171973" y="318840"/>
                    <a:pt x="1174512" y="322143"/>
                    <a:pt x="1177925" y="323850"/>
                  </a:cubicBezTo>
                  <a:cubicBezTo>
                    <a:pt x="1180918" y="325347"/>
                    <a:pt x="1184275" y="325967"/>
                    <a:pt x="1187450" y="327025"/>
                  </a:cubicBezTo>
                  <a:cubicBezTo>
                    <a:pt x="1201615" y="341190"/>
                    <a:pt x="1195595" y="338437"/>
                    <a:pt x="1222375" y="342900"/>
                  </a:cubicBezTo>
                  <a:lnTo>
                    <a:pt x="1260475" y="349250"/>
                  </a:lnTo>
                  <a:cubicBezTo>
                    <a:pt x="1263650" y="348192"/>
                    <a:pt x="1267633" y="348442"/>
                    <a:pt x="1270000" y="346075"/>
                  </a:cubicBezTo>
                  <a:cubicBezTo>
                    <a:pt x="1272367" y="343708"/>
                    <a:pt x="1273175" y="336550"/>
                    <a:pt x="1273175" y="336550"/>
                  </a:cubicBezTo>
                </a:path>
              </a:pathLst>
            </a:cu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26" name="Volný tvar: obrazec 25">
              <a:extLst>
                <a:ext uri="{FF2B5EF4-FFF2-40B4-BE49-F238E27FC236}">
                  <a16:creationId xmlns:a16="http://schemas.microsoft.com/office/drawing/2014/main" id="{4377A99B-A4E4-D31F-8FBC-6D6BCB18DEAF}"/>
                </a:ext>
              </a:extLst>
            </p:cNvPr>
            <p:cNvSpPr/>
            <p:nvPr/>
          </p:nvSpPr>
          <p:spPr>
            <a:xfrm rot="21352129">
              <a:off x="7306360" y="4495145"/>
              <a:ext cx="971359" cy="105920"/>
            </a:xfrm>
            <a:custGeom>
              <a:avLst/>
              <a:gdLst>
                <a:gd name="connsiteX0" fmla="*/ 0 w 1012825"/>
                <a:gd name="connsiteY0" fmla="*/ 76200 h 123825"/>
                <a:gd name="connsiteX1" fmla="*/ 57150 w 1012825"/>
                <a:gd name="connsiteY1" fmla="*/ 73025 h 123825"/>
                <a:gd name="connsiteX2" fmla="*/ 66675 w 1012825"/>
                <a:gd name="connsiteY2" fmla="*/ 69850 h 123825"/>
                <a:gd name="connsiteX3" fmla="*/ 101600 w 1012825"/>
                <a:gd name="connsiteY3" fmla="*/ 79375 h 123825"/>
                <a:gd name="connsiteX4" fmla="*/ 111125 w 1012825"/>
                <a:gd name="connsiteY4" fmla="*/ 92075 h 123825"/>
                <a:gd name="connsiteX5" fmla="*/ 146050 w 1012825"/>
                <a:gd name="connsiteY5" fmla="*/ 104775 h 123825"/>
                <a:gd name="connsiteX6" fmla="*/ 184150 w 1012825"/>
                <a:gd name="connsiteY6" fmla="*/ 101600 h 123825"/>
                <a:gd name="connsiteX7" fmla="*/ 203200 w 1012825"/>
                <a:gd name="connsiteY7" fmla="*/ 79375 h 123825"/>
                <a:gd name="connsiteX8" fmla="*/ 219075 w 1012825"/>
                <a:gd name="connsiteY8" fmla="*/ 60325 h 123825"/>
                <a:gd name="connsiteX9" fmla="*/ 222250 w 1012825"/>
                <a:gd name="connsiteY9" fmla="*/ 50800 h 123825"/>
                <a:gd name="connsiteX10" fmla="*/ 225425 w 1012825"/>
                <a:gd name="connsiteY10" fmla="*/ 38100 h 123825"/>
                <a:gd name="connsiteX11" fmla="*/ 238125 w 1012825"/>
                <a:gd name="connsiteY11" fmla="*/ 34925 h 123825"/>
                <a:gd name="connsiteX12" fmla="*/ 250825 w 1012825"/>
                <a:gd name="connsiteY12" fmla="*/ 38100 h 123825"/>
                <a:gd name="connsiteX13" fmla="*/ 266700 w 1012825"/>
                <a:gd name="connsiteY13" fmla="*/ 69850 h 123825"/>
                <a:gd name="connsiteX14" fmla="*/ 301625 w 1012825"/>
                <a:gd name="connsiteY14" fmla="*/ 85725 h 123825"/>
                <a:gd name="connsiteX15" fmla="*/ 365125 w 1012825"/>
                <a:gd name="connsiteY15" fmla="*/ 79375 h 123825"/>
                <a:gd name="connsiteX16" fmla="*/ 377825 w 1012825"/>
                <a:gd name="connsiteY16" fmla="*/ 76200 h 123825"/>
                <a:gd name="connsiteX17" fmla="*/ 384175 w 1012825"/>
                <a:gd name="connsiteY17" fmla="*/ 66675 h 123825"/>
                <a:gd name="connsiteX18" fmla="*/ 403225 w 1012825"/>
                <a:gd name="connsiteY18" fmla="*/ 53975 h 123825"/>
                <a:gd name="connsiteX19" fmla="*/ 425450 w 1012825"/>
                <a:gd name="connsiteY19" fmla="*/ 41275 h 123825"/>
                <a:gd name="connsiteX20" fmla="*/ 457200 w 1012825"/>
                <a:gd name="connsiteY20" fmla="*/ 44450 h 123825"/>
                <a:gd name="connsiteX21" fmla="*/ 476250 w 1012825"/>
                <a:gd name="connsiteY21" fmla="*/ 73025 h 123825"/>
                <a:gd name="connsiteX22" fmla="*/ 485775 w 1012825"/>
                <a:gd name="connsiteY22" fmla="*/ 79375 h 123825"/>
                <a:gd name="connsiteX23" fmla="*/ 508000 w 1012825"/>
                <a:gd name="connsiteY23" fmla="*/ 85725 h 123825"/>
                <a:gd name="connsiteX24" fmla="*/ 533400 w 1012825"/>
                <a:gd name="connsiteY24" fmla="*/ 82550 h 123825"/>
                <a:gd name="connsiteX25" fmla="*/ 542925 w 1012825"/>
                <a:gd name="connsiteY25" fmla="*/ 79375 h 123825"/>
                <a:gd name="connsiteX26" fmla="*/ 561975 w 1012825"/>
                <a:gd name="connsiteY26" fmla="*/ 76200 h 123825"/>
                <a:gd name="connsiteX27" fmla="*/ 574675 w 1012825"/>
                <a:gd name="connsiteY27" fmla="*/ 69850 h 123825"/>
                <a:gd name="connsiteX28" fmla="*/ 609600 w 1012825"/>
                <a:gd name="connsiteY28" fmla="*/ 82550 h 123825"/>
                <a:gd name="connsiteX29" fmla="*/ 641350 w 1012825"/>
                <a:gd name="connsiteY29" fmla="*/ 88900 h 123825"/>
                <a:gd name="connsiteX30" fmla="*/ 654050 w 1012825"/>
                <a:gd name="connsiteY30" fmla="*/ 95250 h 123825"/>
                <a:gd name="connsiteX31" fmla="*/ 698500 w 1012825"/>
                <a:gd name="connsiteY31" fmla="*/ 95250 h 123825"/>
                <a:gd name="connsiteX32" fmla="*/ 708025 w 1012825"/>
                <a:gd name="connsiteY32" fmla="*/ 92075 h 123825"/>
                <a:gd name="connsiteX33" fmla="*/ 723900 w 1012825"/>
                <a:gd name="connsiteY33" fmla="*/ 114300 h 123825"/>
                <a:gd name="connsiteX34" fmla="*/ 736600 w 1012825"/>
                <a:gd name="connsiteY34" fmla="*/ 123825 h 123825"/>
                <a:gd name="connsiteX35" fmla="*/ 787400 w 1012825"/>
                <a:gd name="connsiteY35" fmla="*/ 117475 h 123825"/>
                <a:gd name="connsiteX36" fmla="*/ 793750 w 1012825"/>
                <a:gd name="connsiteY36" fmla="*/ 107950 h 123825"/>
                <a:gd name="connsiteX37" fmla="*/ 803275 w 1012825"/>
                <a:gd name="connsiteY37" fmla="*/ 101600 h 123825"/>
                <a:gd name="connsiteX38" fmla="*/ 812800 w 1012825"/>
                <a:gd name="connsiteY38" fmla="*/ 92075 h 123825"/>
                <a:gd name="connsiteX39" fmla="*/ 838200 w 1012825"/>
                <a:gd name="connsiteY39" fmla="*/ 76200 h 123825"/>
                <a:gd name="connsiteX40" fmla="*/ 841375 w 1012825"/>
                <a:gd name="connsiteY40" fmla="*/ 66675 h 123825"/>
                <a:gd name="connsiteX41" fmla="*/ 854075 w 1012825"/>
                <a:gd name="connsiteY41" fmla="*/ 41275 h 123825"/>
                <a:gd name="connsiteX42" fmla="*/ 860425 w 1012825"/>
                <a:gd name="connsiteY42" fmla="*/ 22225 h 123825"/>
                <a:gd name="connsiteX43" fmla="*/ 863600 w 1012825"/>
                <a:gd name="connsiteY43" fmla="*/ 12700 h 123825"/>
                <a:gd name="connsiteX44" fmla="*/ 882650 w 1012825"/>
                <a:gd name="connsiteY44" fmla="*/ 0 h 123825"/>
                <a:gd name="connsiteX45" fmla="*/ 917575 w 1012825"/>
                <a:gd name="connsiteY45" fmla="*/ 19050 h 123825"/>
                <a:gd name="connsiteX46" fmla="*/ 933450 w 1012825"/>
                <a:gd name="connsiteY46" fmla="*/ 25400 h 123825"/>
                <a:gd name="connsiteX47" fmla="*/ 952500 w 1012825"/>
                <a:gd name="connsiteY47" fmla="*/ 38100 h 123825"/>
                <a:gd name="connsiteX48" fmla="*/ 977900 w 1012825"/>
                <a:gd name="connsiteY48" fmla="*/ 47625 h 123825"/>
                <a:gd name="connsiteX49" fmla="*/ 987425 w 1012825"/>
                <a:gd name="connsiteY49" fmla="*/ 79375 h 123825"/>
                <a:gd name="connsiteX50" fmla="*/ 990600 w 1012825"/>
                <a:gd name="connsiteY50" fmla="*/ 88900 h 123825"/>
                <a:gd name="connsiteX51" fmla="*/ 1009650 w 1012825"/>
                <a:gd name="connsiteY51" fmla="*/ 98425 h 123825"/>
                <a:gd name="connsiteX52" fmla="*/ 1012825 w 1012825"/>
                <a:gd name="connsiteY52" fmla="*/ 101600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1012825" h="123825">
                  <a:moveTo>
                    <a:pt x="0" y="76200"/>
                  </a:moveTo>
                  <a:cubicBezTo>
                    <a:pt x="19050" y="75142"/>
                    <a:pt x="38157" y="74834"/>
                    <a:pt x="57150" y="73025"/>
                  </a:cubicBezTo>
                  <a:cubicBezTo>
                    <a:pt x="60482" y="72708"/>
                    <a:pt x="63362" y="69377"/>
                    <a:pt x="66675" y="69850"/>
                  </a:cubicBezTo>
                  <a:cubicBezTo>
                    <a:pt x="78621" y="71557"/>
                    <a:pt x="89958" y="76200"/>
                    <a:pt x="101600" y="79375"/>
                  </a:cubicBezTo>
                  <a:cubicBezTo>
                    <a:pt x="104775" y="83608"/>
                    <a:pt x="107143" y="88590"/>
                    <a:pt x="111125" y="92075"/>
                  </a:cubicBezTo>
                  <a:cubicBezTo>
                    <a:pt x="124214" y="103528"/>
                    <a:pt x="129578" y="102030"/>
                    <a:pt x="146050" y="104775"/>
                  </a:cubicBezTo>
                  <a:cubicBezTo>
                    <a:pt x="158750" y="103717"/>
                    <a:pt x="171653" y="104099"/>
                    <a:pt x="184150" y="101600"/>
                  </a:cubicBezTo>
                  <a:cubicBezTo>
                    <a:pt x="194261" y="99578"/>
                    <a:pt x="199067" y="85987"/>
                    <a:pt x="203200" y="79375"/>
                  </a:cubicBezTo>
                  <a:cubicBezTo>
                    <a:pt x="210567" y="67587"/>
                    <a:pt x="208586" y="70814"/>
                    <a:pt x="219075" y="60325"/>
                  </a:cubicBezTo>
                  <a:cubicBezTo>
                    <a:pt x="220133" y="57150"/>
                    <a:pt x="221331" y="54018"/>
                    <a:pt x="222250" y="50800"/>
                  </a:cubicBezTo>
                  <a:cubicBezTo>
                    <a:pt x="223449" y="46604"/>
                    <a:pt x="222339" y="41186"/>
                    <a:pt x="225425" y="38100"/>
                  </a:cubicBezTo>
                  <a:cubicBezTo>
                    <a:pt x="228511" y="35014"/>
                    <a:pt x="233892" y="35983"/>
                    <a:pt x="238125" y="34925"/>
                  </a:cubicBezTo>
                  <a:cubicBezTo>
                    <a:pt x="242358" y="35983"/>
                    <a:pt x="247739" y="35014"/>
                    <a:pt x="250825" y="38100"/>
                  </a:cubicBezTo>
                  <a:cubicBezTo>
                    <a:pt x="266027" y="53302"/>
                    <a:pt x="233782" y="55742"/>
                    <a:pt x="266700" y="69850"/>
                  </a:cubicBezTo>
                  <a:cubicBezTo>
                    <a:pt x="293275" y="81239"/>
                    <a:pt x="281716" y="75770"/>
                    <a:pt x="301625" y="85725"/>
                  </a:cubicBezTo>
                  <a:cubicBezTo>
                    <a:pt x="312805" y="84709"/>
                    <a:pt x="352223" y="81360"/>
                    <a:pt x="365125" y="79375"/>
                  </a:cubicBezTo>
                  <a:cubicBezTo>
                    <a:pt x="369438" y="78711"/>
                    <a:pt x="373592" y="77258"/>
                    <a:pt x="377825" y="76200"/>
                  </a:cubicBezTo>
                  <a:cubicBezTo>
                    <a:pt x="379942" y="73025"/>
                    <a:pt x="381303" y="69188"/>
                    <a:pt x="384175" y="66675"/>
                  </a:cubicBezTo>
                  <a:cubicBezTo>
                    <a:pt x="389918" y="61649"/>
                    <a:pt x="396875" y="58208"/>
                    <a:pt x="403225" y="53975"/>
                  </a:cubicBezTo>
                  <a:cubicBezTo>
                    <a:pt x="416688" y="45000"/>
                    <a:pt x="409337" y="49332"/>
                    <a:pt x="425450" y="41275"/>
                  </a:cubicBezTo>
                  <a:cubicBezTo>
                    <a:pt x="436033" y="42333"/>
                    <a:pt x="447687" y="39693"/>
                    <a:pt x="457200" y="44450"/>
                  </a:cubicBezTo>
                  <a:cubicBezTo>
                    <a:pt x="488950" y="60325"/>
                    <a:pt x="457200" y="60325"/>
                    <a:pt x="476250" y="73025"/>
                  </a:cubicBezTo>
                  <a:cubicBezTo>
                    <a:pt x="479425" y="75142"/>
                    <a:pt x="482362" y="77668"/>
                    <a:pt x="485775" y="79375"/>
                  </a:cubicBezTo>
                  <a:cubicBezTo>
                    <a:pt x="490330" y="81652"/>
                    <a:pt x="503931" y="84708"/>
                    <a:pt x="508000" y="85725"/>
                  </a:cubicBezTo>
                  <a:cubicBezTo>
                    <a:pt x="516467" y="84667"/>
                    <a:pt x="525005" y="84076"/>
                    <a:pt x="533400" y="82550"/>
                  </a:cubicBezTo>
                  <a:cubicBezTo>
                    <a:pt x="536693" y="81951"/>
                    <a:pt x="539658" y="80101"/>
                    <a:pt x="542925" y="79375"/>
                  </a:cubicBezTo>
                  <a:cubicBezTo>
                    <a:pt x="549209" y="77978"/>
                    <a:pt x="555625" y="77258"/>
                    <a:pt x="561975" y="76200"/>
                  </a:cubicBezTo>
                  <a:cubicBezTo>
                    <a:pt x="566208" y="74083"/>
                    <a:pt x="569942" y="69850"/>
                    <a:pt x="574675" y="69850"/>
                  </a:cubicBezTo>
                  <a:cubicBezTo>
                    <a:pt x="624923" y="69850"/>
                    <a:pt x="583568" y="74540"/>
                    <a:pt x="609600" y="82550"/>
                  </a:cubicBezTo>
                  <a:cubicBezTo>
                    <a:pt x="619916" y="85724"/>
                    <a:pt x="641350" y="88900"/>
                    <a:pt x="641350" y="88900"/>
                  </a:cubicBezTo>
                  <a:cubicBezTo>
                    <a:pt x="645583" y="91017"/>
                    <a:pt x="649517" y="93890"/>
                    <a:pt x="654050" y="95250"/>
                  </a:cubicBezTo>
                  <a:cubicBezTo>
                    <a:pt x="672900" y="100905"/>
                    <a:pt x="678133" y="97796"/>
                    <a:pt x="698500" y="95250"/>
                  </a:cubicBezTo>
                  <a:cubicBezTo>
                    <a:pt x="701675" y="94192"/>
                    <a:pt x="704850" y="91017"/>
                    <a:pt x="708025" y="92075"/>
                  </a:cubicBezTo>
                  <a:cubicBezTo>
                    <a:pt x="718528" y="95576"/>
                    <a:pt x="718038" y="107461"/>
                    <a:pt x="723900" y="114300"/>
                  </a:cubicBezTo>
                  <a:cubicBezTo>
                    <a:pt x="727344" y="118318"/>
                    <a:pt x="732367" y="120650"/>
                    <a:pt x="736600" y="123825"/>
                  </a:cubicBezTo>
                  <a:cubicBezTo>
                    <a:pt x="753533" y="121708"/>
                    <a:pt x="770957" y="122042"/>
                    <a:pt x="787400" y="117475"/>
                  </a:cubicBezTo>
                  <a:cubicBezTo>
                    <a:pt x="791077" y="116454"/>
                    <a:pt x="791052" y="110648"/>
                    <a:pt x="793750" y="107950"/>
                  </a:cubicBezTo>
                  <a:cubicBezTo>
                    <a:pt x="796448" y="105252"/>
                    <a:pt x="800344" y="104043"/>
                    <a:pt x="803275" y="101600"/>
                  </a:cubicBezTo>
                  <a:cubicBezTo>
                    <a:pt x="806724" y="98725"/>
                    <a:pt x="809169" y="94716"/>
                    <a:pt x="812800" y="92075"/>
                  </a:cubicBezTo>
                  <a:cubicBezTo>
                    <a:pt x="820875" y="86203"/>
                    <a:pt x="838200" y="76200"/>
                    <a:pt x="838200" y="76200"/>
                  </a:cubicBezTo>
                  <a:cubicBezTo>
                    <a:pt x="839258" y="73025"/>
                    <a:pt x="839990" y="69722"/>
                    <a:pt x="841375" y="66675"/>
                  </a:cubicBezTo>
                  <a:cubicBezTo>
                    <a:pt x="845292" y="58057"/>
                    <a:pt x="851082" y="50255"/>
                    <a:pt x="854075" y="41275"/>
                  </a:cubicBezTo>
                  <a:lnTo>
                    <a:pt x="860425" y="22225"/>
                  </a:lnTo>
                  <a:cubicBezTo>
                    <a:pt x="861483" y="19050"/>
                    <a:pt x="860815" y="14556"/>
                    <a:pt x="863600" y="12700"/>
                  </a:cubicBezTo>
                  <a:lnTo>
                    <a:pt x="882650" y="0"/>
                  </a:lnTo>
                  <a:cubicBezTo>
                    <a:pt x="931068" y="13834"/>
                    <a:pt x="883547" y="-3635"/>
                    <a:pt x="917575" y="19050"/>
                  </a:cubicBezTo>
                  <a:cubicBezTo>
                    <a:pt x="922317" y="22211"/>
                    <a:pt x="928447" y="22671"/>
                    <a:pt x="933450" y="25400"/>
                  </a:cubicBezTo>
                  <a:cubicBezTo>
                    <a:pt x="940150" y="29054"/>
                    <a:pt x="945096" y="36249"/>
                    <a:pt x="952500" y="38100"/>
                  </a:cubicBezTo>
                  <a:cubicBezTo>
                    <a:pt x="969792" y="42423"/>
                    <a:pt x="961297" y="39324"/>
                    <a:pt x="977900" y="47625"/>
                  </a:cubicBezTo>
                  <a:cubicBezTo>
                    <a:pt x="982994" y="78191"/>
                    <a:pt x="977357" y="55883"/>
                    <a:pt x="987425" y="79375"/>
                  </a:cubicBezTo>
                  <a:cubicBezTo>
                    <a:pt x="988743" y="82451"/>
                    <a:pt x="988509" y="86287"/>
                    <a:pt x="990600" y="88900"/>
                  </a:cubicBezTo>
                  <a:cubicBezTo>
                    <a:pt x="996666" y="96483"/>
                    <a:pt x="1001981" y="94590"/>
                    <a:pt x="1009650" y="98425"/>
                  </a:cubicBezTo>
                  <a:cubicBezTo>
                    <a:pt x="1010989" y="99094"/>
                    <a:pt x="1011767" y="100542"/>
                    <a:pt x="1012825" y="101600"/>
                  </a:cubicBezTo>
                </a:path>
              </a:pathLst>
            </a:cu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27" name="Volný tvar: obrazec 26">
              <a:extLst>
                <a:ext uri="{FF2B5EF4-FFF2-40B4-BE49-F238E27FC236}">
                  <a16:creationId xmlns:a16="http://schemas.microsoft.com/office/drawing/2014/main" id="{C9A3E2E6-6393-C2C4-F3B5-348459B81A49}"/>
                </a:ext>
              </a:extLst>
            </p:cNvPr>
            <p:cNvSpPr/>
            <p:nvPr/>
          </p:nvSpPr>
          <p:spPr>
            <a:xfrm>
              <a:off x="8251380" y="4547945"/>
              <a:ext cx="521104" cy="529135"/>
            </a:xfrm>
            <a:custGeom>
              <a:avLst/>
              <a:gdLst>
                <a:gd name="connsiteX0" fmla="*/ 28575 w 561975"/>
                <a:gd name="connsiteY0" fmla="*/ 0 h 581025"/>
                <a:gd name="connsiteX1" fmla="*/ 19050 w 561975"/>
                <a:gd name="connsiteY1" fmla="*/ 15875 h 581025"/>
                <a:gd name="connsiteX2" fmla="*/ 25400 w 561975"/>
                <a:gd name="connsiteY2" fmla="*/ 76200 h 581025"/>
                <a:gd name="connsiteX3" fmla="*/ 22225 w 561975"/>
                <a:gd name="connsiteY3" fmla="*/ 111125 h 581025"/>
                <a:gd name="connsiteX4" fmla="*/ 12700 w 561975"/>
                <a:gd name="connsiteY4" fmla="*/ 133350 h 581025"/>
                <a:gd name="connsiteX5" fmla="*/ 9525 w 561975"/>
                <a:gd name="connsiteY5" fmla="*/ 142875 h 581025"/>
                <a:gd name="connsiteX6" fmla="*/ 6350 w 561975"/>
                <a:gd name="connsiteY6" fmla="*/ 177800 h 581025"/>
                <a:gd name="connsiteX7" fmla="*/ 0 w 561975"/>
                <a:gd name="connsiteY7" fmla="*/ 196850 h 581025"/>
                <a:gd name="connsiteX8" fmla="*/ 6350 w 561975"/>
                <a:gd name="connsiteY8" fmla="*/ 222250 h 581025"/>
                <a:gd name="connsiteX9" fmla="*/ 22225 w 561975"/>
                <a:gd name="connsiteY9" fmla="*/ 228600 h 581025"/>
                <a:gd name="connsiteX10" fmla="*/ 19050 w 561975"/>
                <a:gd name="connsiteY10" fmla="*/ 244475 h 581025"/>
                <a:gd name="connsiteX11" fmla="*/ 15875 w 561975"/>
                <a:gd name="connsiteY11" fmla="*/ 273050 h 581025"/>
                <a:gd name="connsiteX12" fmla="*/ 19050 w 561975"/>
                <a:gd name="connsiteY12" fmla="*/ 304800 h 581025"/>
                <a:gd name="connsiteX13" fmla="*/ 47625 w 561975"/>
                <a:gd name="connsiteY13" fmla="*/ 314325 h 581025"/>
                <a:gd name="connsiteX14" fmla="*/ 60325 w 561975"/>
                <a:gd name="connsiteY14" fmla="*/ 333375 h 581025"/>
                <a:gd name="connsiteX15" fmla="*/ 69850 w 561975"/>
                <a:gd name="connsiteY15" fmla="*/ 346075 h 581025"/>
                <a:gd name="connsiteX16" fmla="*/ 82550 w 561975"/>
                <a:gd name="connsiteY16" fmla="*/ 349250 h 581025"/>
                <a:gd name="connsiteX17" fmla="*/ 101600 w 561975"/>
                <a:gd name="connsiteY17" fmla="*/ 346075 h 581025"/>
                <a:gd name="connsiteX18" fmla="*/ 111125 w 561975"/>
                <a:gd name="connsiteY18" fmla="*/ 339725 h 581025"/>
                <a:gd name="connsiteX19" fmla="*/ 133350 w 561975"/>
                <a:gd name="connsiteY19" fmla="*/ 346075 h 581025"/>
                <a:gd name="connsiteX20" fmla="*/ 146050 w 561975"/>
                <a:gd name="connsiteY20" fmla="*/ 355600 h 581025"/>
                <a:gd name="connsiteX21" fmla="*/ 158750 w 561975"/>
                <a:gd name="connsiteY21" fmla="*/ 361950 h 581025"/>
                <a:gd name="connsiteX22" fmla="*/ 168275 w 561975"/>
                <a:gd name="connsiteY22" fmla="*/ 374650 h 581025"/>
                <a:gd name="connsiteX23" fmla="*/ 171450 w 561975"/>
                <a:gd name="connsiteY23" fmla="*/ 384175 h 581025"/>
                <a:gd name="connsiteX24" fmla="*/ 168275 w 561975"/>
                <a:gd name="connsiteY24" fmla="*/ 393700 h 581025"/>
                <a:gd name="connsiteX25" fmla="*/ 177800 w 561975"/>
                <a:gd name="connsiteY25" fmla="*/ 396875 h 581025"/>
                <a:gd name="connsiteX26" fmla="*/ 196850 w 561975"/>
                <a:gd name="connsiteY26" fmla="*/ 400050 h 581025"/>
                <a:gd name="connsiteX27" fmla="*/ 203200 w 561975"/>
                <a:gd name="connsiteY27" fmla="*/ 422275 h 581025"/>
                <a:gd name="connsiteX28" fmla="*/ 225425 w 561975"/>
                <a:gd name="connsiteY28" fmla="*/ 441325 h 581025"/>
                <a:gd name="connsiteX29" fmla="*/ 247650 w 561975"/>
                <a:gd name="connsiteY29" fmla="*/ 428625 h 581025"/>
                <a:gd name="connsiteX30" fmla="*/ 301625 w 561975"/>
                <a:gd name="connsiteY30" fmla="*/ 434975 h 581025"/>
                <a:gd name="connsiteX31" fmla="*/ 307975 w 561975"/>
                <a:gd name="connsiteY31" fmla="*/ 444500 h 581025"/>
                <a:gd name="connsiteX32" fmla="*/ 365125 w 561975"/>
                <a:gd name="connsiteY32" fmla="*/ 444500 h 581025"/>
                <a:gd name="connsiteX33" fmla="*/ 371475 w 561975"/>
                <a:gd name="connsiteY33" fmla="*/ 454025 h 581025"/>
                <a:gd name="connsiteX34" fmla="*/ 381000 w 561975"/>
                <a:gd name="connsiteY34" fmla="*/ 482600 h 581025"/>
                <a:gd name="connsiteX35" fmla="*/ 393700 w 561975"/>
                <a:gd name="connsiteY35" fmla="*/ 536575 h 581025"/>
                <a:gd name="connsiteX36" fmla="*/ 409575 w 561975"/>
                <a:gd name="connsiteY36" fmla="*/ 542925 h 581025"/>
                <a:gd name="connsiteX37" fmla="*/ 419100 w 561975"/>
                <a:gd name="connsiteY37" fmla="*/ 555625 h 581025"/>
                <a:gd name="connsiteX38" fmla="*/ 434975 w 561975"/>
                <a:gd name="connsiteY38" fmla="*/ 558800 h 581025"/>
                <a:gd name="connsiteX39" fmla="*/ 444500 w 561975"/>
                <a:gd name="connsiteY39" fmla="*/ 561975 h 581025"/>
                <a:gd name="connsiteX40" fmla="*/ 454025 w 561975"/>
                <a:gd name="connsiteY40" fmla="*/ 568325 h 581025"/>
                <a:gd name="connsiteX41" fmla="*/ 485775 w 561975"/>
                <a:gd name="connsiteY41" fmla="*/ 577850 h 581025"/>
                <a:gd name="connsiteX42" fmla="*/ 495300 w 561975"/>
                <a:gd name="connsiteY42" fmla="*/ 581025 h 581025"/>
                <a:gd name="connsiteX43" fmla="*/ 533400 w 561975"/>
                <a:gd name="connsiteY43" fmla="*/ 577850 h 581025"/>
                <a:gd name="connsiteX44" fmla="*/ 542925 w 561975"/>
                <a:gd name="connsiteY44" fmla="*/ 571500 h 581025"/>
                <a:gd name="connsiteX45" fmla="*/ 561975 w 561975"/>
                <a:gd name="connsiteY45" fmla="*/ 568325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61975" h="581025">
                  <a:moveTo>
                    <a:pt x="28575" y="0"/>
                  </a:moveTo>
                  <a:cubicBezTo>
                    <a:pt x="25400" y="5292"/>
                    <a:pt x="19815" y="9752"/>
                    <a:pt x="19050" y="15875"/>
                  </a:cubicBezTo>
                  <a:cubicBezTo>
                    <a:pt x="18310" y="21796"/>
                    <a:pt x="24197" y="66574"/>
                    <a:pt x="25400" y="76200"/>
                  </a:cubicBezTo>
                  <a:cubicBezTo>
                    <a:pt x="24342" y="87842"/>
                    <a:pt x="23878" y="99553"/>
                    <a:pt x="22225" y="111125"/>
                  </a:cubicBezTo>
                  <a:cubicBezTo>
                    <a:pt x="21161" y="118571"/>
                    <a:pt x="15444" y="126947"/>
                    <a:pt x="12700" y="133350"/>
                  </a:cubicBezTo>
                  <a:cubicBezTo>
                    <a:pt x="11382" y="136426"/>
                    <a:pt x="10583" y="139700"/>
                    <a:pt x="9525" y="142875"/>
                  </a:cubicBezTo>
                  <a:cubicBezTo>
                    <a:pt x="8467" y="154517"/>
                    <a:pt x="8381" y="166288"/>
                    <a:pt x="6350" y="177800"/>
                  </a:cubicBezTo>
                  <a:cubicBezTo>
                    <a:pt x="5187" y="184392"/>
                    <a:pt x="0" y="196850"/>
                    <a:pt x="0" y="196850"/>
                  </a:cubicBezTo>
                  <a:cubicBezTo>
                    <a:pt x="2117" y="205317"/>
                    <a:pt x="1345" y="215100"/>
                    <a:pt x="6350" y="222250"/>
                  </a:cubicBezTo>
                  <a:cubicBezTo>
                    <a:pt x="9618" y="226919"/>
                    <a:pt x="19397" y="223652"/>
                    <a:pt x="22225" y="228600"/>
                  </a:cubicBezTo>
                  <a:cubicBezTo>
                    <a:pt x="24902" y="233285"/>
                    <a:pt x="19813" y="239133"/>
                    <a:pt x="19050" y="244475"/>
                  </a:cubicBezTo>
                  <a:cubicBezTo>
                    <a:pt x="17695" y="253962"/>
                    <a:pt x="16933" y="263525"/>
                    <a:pt x="15875" y="273050"/>
                  </a:cubicBezTo>
                  <a:cubicBezTo>
                    <a:pt x="16933" y="283633"/>
                    <a:pt x="12565" y="296370"/>
                    <a:pt x="19050" y="304800"/>
                  </a:cubicBezTo>
                  <a:cubicBezTo>
                    <a:pt x="25172" y="312758"/>
                    <a:pt x="47625" y="314325"/>
                    <a:pt x="47625" y="314325"/>
                  </a:cubicBezTo>
                  <a:cubicBezTo>
                    <a:pt x="53026" y="330527"/>
                    <a:pt x="47352" y="318240"/>
                    <a:pt x="60325" y="333375"/>
                  </a:cubicBezTo>
                  <a:cubicBezTo>
                    <a:pt x="63769" y="337393"/>
                    <a:pt x="65544" y="342999"/>
                    <a:pt x="69850" y="346075"/>
                  </a:cubicBezTo>
                  <a:cubicBezTo>
                    <a:pt x="73401" y="348611"/>
                    <a:pt x="78317" y="348192"/>
                    <a:pt x="82550" y="349250"/>
                  </a:cubicBezTo>
                  <a:cubicBezTo>
                    <a:pt x="88900" y="348192"/>
                    <a:pt x="95493" y="348111"/>
                    <a:pt x="101600" y="346075"/>
                  </a:cubicBezTo>
                  <a:cubicBezTo>
                    <a:pt x="105220" y="344868"/>
                    <a:pt x="107347" y="340265"/>
                    <a:pt x="111125" y="339725"/>
                  </a:cubicBezTo>
                  <a:cubicBezTo>
                    <a:pt x="113916" y="339326"/>
                    <a:pt x="129776" y="344884"/>
                    <a:pt x="133350" y="346075"/>
                  </a:cubicBezTo>
                  <a:cubicBezTo>
                    <a:pt x="137583" y="349250"/>
                    <a:pt x="141563" y="352795"/>
                    <a:pt x="146050" y="355600"/>
                  </a:cubicBezTo>
                  <a:cubicBezTo>
                    <a:pt x="150064" y="358108"/>
                    <a:pt x="155156" y="358870"/>
                    <a:pt x="158750" y="361950"/>
                  </a:cubicBezTo>
                  <a:cubicBezTo>
                    <a:pt x="162768" y="365394"/>
                    <a:pt x="165100" y="370417"/>
                    <a:pt x="168275" y="374650"/>
                  </a:cubicBezTo>
                  <a:cubicBezTo>
                    <a:pt x="169333" y="377825"/>
                    <a:pt x="171450" y="380828"/>
                    <a:pt x="171450" y="384175"/>
                  </a:cubicBezTo>
                  <a:cubicBezTo>
                    <a:pt x="171450" y="387522"/>
                    <a:pt x="166778" y="390707"/>
                    <a:pt x="168275" y="393700"/>
                  </a:cubicBezTo>
                  <a:cubicBezTo>
                    <a:pt x="169772" y="396693"/>
                    <a:pt x="174533" y="396149"/>
                    <a:pt x="177800" y="396875"/>
                  </a:cubicBezTo>
                  <a:cubicBezTo>
                    <a:pt x="184084" y="398272"/>
                    <a:pt x="190500" y="398992"/>
                    <a:pt x="196850" y="400050"/>
                  </a:cubicBezTo>
                  <a:cubicBezTo>
                    <a:pt x="197273" y="401744"/>
                    <a:pt x="201378" y="419542"/>
                    <a:pt x="203200" y="422275"/>
                  </a:cubicBezTo>
                  <a:cubicBezTo>
                    <a:pt x="207622" y="428908"/>
                    <a:pt x="219556" y="436923"/>
                    <a:pt x="225425" y="441325"/>
                  </a:cubicBezTo>
                  <a:cubicBezTo>
                    <a:pt x="230581" y="437458"/>
                    <a:pt x="239569" y="428625"/>
                    <a:pt x="247650" y="428625"/>
                  </a:cubicBezTo>
                  <a:cubicBezTo>
                    <a:pt x="266439" y="428625"/>
                    <a:pt x="283461" y="431948"/>
                    <a:pt x="301625" y="434975"/>
                  </a:cubicBezTo>
                  <a:cubicBezTo>
                    <a:pt x="303742" y="438150"/>
                    <a:pt x="305277" y="441802"/>
                    <a:pt x="307975" y="444500"/>
                  </a:cubicBezTo>
                  <a:cubicBezTo>
                    <a:pt x="324105" y="460630"/>
                    <a:pt x="341925" y="447593"/>
                    <a:pt x="365125" y="444500"/>
                  </a:cubicBezTo>
                  <a:cubicBezTo>
                    <a:pt x="367242" y="447675"/>
                    <a:pt x="369768" y="450612"/>
                    <a:pt x="371475" y="454025"/>
                  </a:cubicBezTo>
                  <a:cubicBezTo>
                    <a:pt x="377453" y="465981"/>
                    <a:pt x="377968" y="470473"/>
                    <a:pt x="381000" y="482600"/>
                  </a:cubicBezTo>
                  <a:cubicBezTo>
                    <a:pt x="384730" y="542282"/>
                    <a:pt x="368011" y="526942"/>
                    <a:pt x="393700" y="536575"/>
                  </a:cubicBezTo>
                  <a:cubicBezTo>
                    <a:pt x="399036" y="538576"/>
                    <a:pt x="404283" y="540808"/>
                    <a:pt x="409575" y="542925"/>
                  </a:cubicBezTo>
                  <a:cubicBezTo>
                    <a:pt x="412750" y="547158"/>
                    <a:pt x="414613" y="552820"/>
                    <a:pt x="419100" y="555625"/>
                  </a:cubicBezTo>
                  <a:cubicBezTo>
                    <a:pt x="423676" y="558485"/>
                    <a:pt x="429740" y="557491"/>
                    <a:pt x="434975" y="558800"/>
                  </a:cubicBezTo>
                  <a:cubicBezTo>
                    <a:pt x="438222" y="559612"/>
                    <a:pt x="441507" y="560478"/>
                    <a:pt x="444500" y="561975"/>
                  </a:cubicBezTo>
                  <a:cubicBezTo>
                    <a:pt x="447913" y="563682"/>
                    <a:pt x="450538" y="566775"/>
                    <a:pt x="454025" y="568325"/>
                  </a:cubicBezTo>
                  <a:cubicBezTo>
                    <a:pt x="467606" y="574361"/>
                    <a:pt x="472845" y="574156"/>
                    <a:pt x="485775" y="577850"/>
                  </a:cubicBezTo>
                  <a:cubicBezTo>
                    <a:pt x="488993" y="578769"/>
                    <a:pt x="492125" y="579967"/>
                    <a:pt x="495300" y="581025"/>
                  </a:cubicBezTo>
                  <a:cubicBezTo>
                    <a:pt x="508000" y="579967"/>
                    <a:pt x="520903" y="580349"/>
                    <a:pt x="533400" y="577850"/>
                  </a:cubicBezTo>
                  <a:cubicBezTo>
                    <a:pt x="537142" y="577102"/>
                    <a:pt x="539418" y="573003"/>
                    <a:pt x="542925" y="571500"/>
                  </a:cubicBezTo>
                  <a:cubicBezTo>
                    <a:pt x="551531" y="567812"/>
                    <a:pt x="554243" y="568325"/>
                    <a:pt x="561975" y="568325"/>
                  </a:cubicBezTo>
                </a:path>
              </a:pathLst>
            </a:cu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41" name="Volný tvar: obrazec 40">
              <a:extLst>
                <a:ext uri="{FF2B5EF4-FFF2-40B4-BE49-F238E27FC236}">
                  <a16:creationId xmlns:a16="http://schemas.microsoft.com/office/drawing/2014/main" id="{09FC34A6-DEF6-4006-F8DB-E3C633F757A9}"/>
                </a:ext>
              </a:extLst>
            </p:cNvPr>
            <p:cNvSpPr/>
            <p:nvPr/>
          </p:nvSpPr>
          <p:spPr>
            <a:xfrm>
              <a:off x="8286394" y="5187271"/>
              <a:ext cx="497529" cy="339314"/>
            </a:xfrm>
            <a:custGeom>
              <a:avLst/>
              <a:gdLst>
                <a:gd name="connsiteX0" fmla="*/ 9499 w 536549"/>
                <a:gd name="connsiteY0" fmla="*/ 327025 h 327025"/>
                <a:gd name="connsiteX1" fmla="*/ 9499 w 536549"/>
                <a:gd name="connsiteY1" fmla="*/ 238125 h 327025"/>
                <a:gd name="connsiteX2" fmla="*/ 15849 w 536549"/>
                <a:gd name="connsiteY2" fmla="*/ 228600 h 327025"/>
                <a:gd name="connsiteX3" fmla="*/ 25374 w 536549"/>
                <a:gd name="connsiteY3" fmla="*/ 215900 h 327025"/>
                <a:gd name="connsiteX4" fmla="*/ 31724 w 536549"/>
                <a:gd name="connsiteY4" fmla="*/ 158750 h 327025"/>
                <a:gd name="connsiteX5" fmla="*/ 44424 w 536549"/>
                <a:gd name="connsiteY5" fmla="*/ 19050 h 327025"/>
                <a:gd name="connsiteX6" fmla="*/ 53949 w 536549"/>
                <a:gd name="connsiteY6" fmla="*/ 15875 h 327025"/>
                <a:gd name="connsiteX7" fmla="*/ 63474 w 536549"/>
                <a:gd name="connsiteY7" fmla="*/ 6350 h 327025"/>
                <a:gd name="connsiteX8" fmla="*/ 82524 w 536549"/>
                <a:gd name="connsiteY8" fmla="*/ 0 h 327025"/>
                <a:gd name="connsiteX9" fmla="*/ 104749 w 536549"/>
                <a:gd name="connsiteY9" fmla="*/ 3175 h 327025"/>
                <a:gd name="connsiteX10" fmla="*/ 114274 w 536549"/>
                <a:gd name="connsiteY10" fmla="*/ 15875 h 327025"/>
                <a:gd name="connsiteX11" fmla="*/ 136499 w 536549"/>
                <a:gd name="connsiteY11" fmla="*/ 28575 h 327025"/>
                <a:gd name="connsiteX12" fmla="*/ 146024 w 536549"/>
                <a:gd name="connsiteY12" fmla="*/ 34925 h 327025"/>
                <a:gd name="connsiteX13" fmla="*/ 180949 w 536549"/>
                <a:gd name="connsiteY13" fmla="*/ 38100 h 327025"/>
                <a:gd name="connsiteX14" fmla="*/ 187299 w 536549"/>
                <a:gd name="connsiteY14" fmla="*/ 53975 h 327025"/>
                <a:gd name="connsiteX15" fmla="*/ 193649 w 536549"/>
                <a:gd name="connsiteY15" fmla="*/ 85725 h 327025"/>
                <a:gd name="connsiteX16" fmla="*/ 203174 w 536549"/>
                <a:gd name="connsiteY16" fmla="*/ 95250 h 327025"/>
                <a:gd name="connsiteX17" fmla="*/ 206349 w 536549"/>
                <a:gd name="connsiteY17" fmla="*/ 104775 h 327025"/>
                <a:gd name="connsiteX18" fmla="*/ 225399 w 536549"/>
                <a:gd name="connsiteY18" fmla="*/ 101600 h 327025"/>
                <a:gd name="connsiteX19" fmla="*/ 234924 w 536549"/>
                <a:gd name="connsiteY19" fmla="*/ 98425 h 327025"/>
                <a:gd name="connsiteX20" fmla="*/ 250799 w 536549"/>
                <a:gd name="connsiteY20" fmla="*/ 95250 h 327025"/>
                <a:gd name="connsiteX21" fmla="*/ 263499 w 536549"/>
                <a:gd name="connsiteY21" fmla="*/ 92075 h 327025"/>
                <a:gd name="connsiteX22" fmla="*/ 276199 w 536549"/>
                <a:gd name="connsiteY22" fmla="*/ 76200 h 327025"/>
                <a:gd name="connsiteX23" fmla="*/ 292074 w 536549"/>
                <a:gd name="connsiteY23" fmla="*/ 69850 h 327025"/>
                <a:gd name="connsiteX24" fmla="*/ 314299 w 536549"/>
                <a:gd name="connsiteY24" fmla="*/ 50800 h 327025"/>
                <a:gd name="connsiteX25" fmla="*/ 342874 w 536549"/>
                <a:gd name="connsiteY25" fmla="*/ 53975 h 327025"/>
                <a:gd name="connsiteX26" fmla="*/ 355574 w 536549"/>
                <a:gd name="connsiteY26" fmla="*/ 66675 h 327025"/>
                <a:gd name="connsiteX27" fmla="*/ 368274 w 536549"/>
                <a:gd name="connsiteY27" fmla="*/ 69850 h 327025"/>
                <a:gd name="connsiteX28" fmla="*/ 431774 w 536549"/>
                <a:gd name="connsiteY28" fmla="*/ 85725 h 327025"/>
                <a:gd name="connsiteX29" fmla="*/ 460349 w 536549"/>
                <a:gd name="connsiteY29" fmla="*/ 104775 h 327025"/>
                <a:gd name="connsiteX30" fmla="*/ 473049 w 536549"/>
                <a:gd name="connsiteY30" fmla="*/ 120650 h 327025"/>
                <a:gd name="connsiteX31" fmla="*/ 527024 w 536549"/>
                <a:gd name="connsiteY31" fmla="*/ 142875 h 327025"/>
                <a:gd name="connsiteX32" fmla="*/ 536549 w 536549"/>
                <a:gd name="connsiteY32" fmla="*/ 155575 h 327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36549" h="327025">
                  <a:moveTo>
                    <a:pt x="9499" y="327025"/>
                  </a:moveTo>
                  <a:cubicBezTo>
                    <a:pt x="-5039" y="290681"/>
                    <a:pt x="-1147" y="307323"/>
                    <a:pt x="9499" y="238125"/>
                  </a:cubicBezTo>
                  <a:cubicBezTo>
                    <a:pt x="10079" y="234353"/>
                    <a:pt x="13631" y="231705"/>
                    <a:pt x="15849" y="228600"/>
                  </a:cubicBezTo>
                  <a:cubicBezTo>
                    <a:pt x="18925" y="224294"/>
                    <a:pt x="22199" y="220133"/>
                    <a:pt x="25374" y="215900"/>
                  </a:cubicBezTo>
                  <a:cubicBezTo>
                    <a:pt x="30351" y="191016"/>
                    <a:pt x="30448" y="193841"/>
                    <a:pt x="31724" y="158750"/>
                  </a:cubicBezTo>
                  <a:cubicBezTo>
                    <a:pt x="33398" y="112723"/>
                    <a:pt x="-1959" y="42242"/>
                    <a:pt x="44424" y="19050"/>
                  </a:cubicBezTo>
                  <a:cubicBezTo>
                    <a:pt x="47417" y="17553"/>
                    <a:pt x="50774" y="16933"/>
                    <a:pt x="53949" y="15875"/>
                  </a:cubicBezTo>
                  <a:cubicBezTo>
                    <a:pt x="57124" y="12700"/>
                    <a:pt x="59549" y="8531"/>
                    <a:pt x="63474" y="6350"/>
                  </a:cubicBezTo>
                  <a:cubicBezTo>
                    <a:pt x="69325" y="3099"/>
                    <a:pt x="82524" y="0"/>
                    <a:pt x="82524" y="0"/>
                  </a:cubicBezTo>
                  <a:cubicBezTo>
                    <a:pt x="89932" y="1058"/>
                    <a:pt x="98056" y="-172"/>
                    <a:pt x="104749" y="3175"/>
                  </a:cubicBezTo>
                  <a:cubicBezTo>
                    <a:pt x="109482" y="5542"/>
                    <a:pt x="110532" y="12133"/>
                    <a:pt x="114274" y="15875"/>
                  </a:cubicBezTo>
                  <a:cubicBezTo>
                    <a:pt x="129629" y="31230"/>
                    <a:pt x="121968" y="21310"/>
                    <a:pt x="136499" y="28575"/>
                  </a:cubicBezTo>
                  <a:cubicBezTo>
                    <a:pt x="139912" y="30282"/>
                    <a:pt x="142293" y="34125"/>
                    <a:pt x="146024" y="34925"/>
                  </a:cubicBezTo>
                  <a:cubicBezTo>
                    <a:pt x="157454" y="37374"/>
                    <a:pt x="169307" y="37042"/>
                    <a:pt x="180949" y="38100"/>
                  </a:cubicBezTo>
                  <a:cubicBezTo>
                    <a:pt x="183066" y="43392"/>
                    <a:pt x="185831" y="48468"/>
                    <a:pt x="187299" y="53975"/>
                  </a:cubicBezTo>
                  <a:cubicBezTo>
                    <a:pt x="190080" y="64404"/>
                    <a:pt x="189775" y="75651"/>
                    <a:pt x="193649" y="85725"/>
                  </a:cubicBezTo>
                  <a:cubicBezTo>
                    <a:pt x="195261" y="89916"/>
                    <a:pt x="199999" y="92075"/>
                    <a:pt x="203174" y="95250"/>
                  </a:cubicBezTo>
                  <a:cubicBezTo>
                    <a:pt x="204232" y="98425"/>
                    <a:pt x="203131" y="103856"/>
                    <a:pt x="206349" y="104775"/>
                  </a:cubicBezTo>
                  <a:cubicBezTo>
                    <a:pt x="212539" y="106544"/>
                    <a:pt x="219115" y="102997"/>
                    <a:pt x="225399" y="101600"/>
                  </a:cubicBezTo>
                  <a:cubicBezTo>
                    <a:pt x="228666" y="100874"/>
                    <a:pt x="231677" y="99237"/>
                    <a:pt x="234924" y="98425"/>
                  </a:cubicBezTo>
                  <a:cubicBezTo>
                    <a:pt x="240159" y="97116"/>
                    <a:pt x="245531" y="96421"/>
                    <a:pt x="250799" y="95250"/>
                  </a:cubicBezTo>
                  <a:cubicBezTo>
                    <a:pt x="255059" y="94303"/>
                    <a:pt x="259266" y="93133"/>
                    <a:pt x="263499" y="92075"/>
                  </a:cubicBezTo>
                  <a:cubicBezTo>
                    <a:pt x="267732" y="86783"/>
                    <a:pt x="270850" y="80360"/>
                    <a:pt x="276199" y="76200"/>
                  </a:cubicBezTo>
                  <a:cubicBezTo>
                    <a:pt x="280698" y="72701"/>
                    <a:pt x="287785" y="73603"/>
                    <a:pt x="292074" y="69850"/>
                  </a:cubicBezTo>
                  <a:cubicBezTo>
                    <a:pt x="318753" y="46506"/>
                    <a:pt x="285070" y="58107"/>
                    <a:pt x="314299" y="50800"/>
                  </a:cubicBezTo>
                  <a:cubicBezTo>
                    <a:pt x="323824" y="51858"/>
                    <a:pt x="333929" y="50535"/>
                    <a:pt x="342874" y="53975"/>
                  </a:cubicBezTo>
                  <a:cubicBezTo>
                    <a:pt x="348462" y="56124"/>
                    <a:pt x="350497" y="63502"/>
                    <a:pt x="355574" y="66675"/>
                  </a:cubicBezTo>
                  <a:cubicBezTo>
                    <a:pt x="359274" y="68988"/>
                    <a:pt x="364041" y="68792"/>
                    <a:pt x="368274" y="69850"/>
                  </a:cubicBezTo>
                  <a:cubicBezTo>
                    <a:pt x="392664" y="94240"/>
                    <a:pt x="365050" y="70560"/>
                    <a:pt x="431774" y="85725"/>
                  </a:cubicBezTo>
                  <a:cubicBezTo>
                    <a:pt x="435686" y="86614"/>
                    <a:pt x="456861" y="101287"/>
                    <a:pt x="460349" y="104775"/>
                  </a:cubicBezTo>
                  <a:cubicBezTo>
                    <a:pt x="465141" y="109567"/>
                    <a:pt x="467535" y="116711"/>
                    <a:pt x="473049" y="120650"/>
                  </a:cubicBezTo>
                  <a:cubicBezTo>
                    <a:pt x="492370" y="134450"/>
                    <a:pt x="506002" y="136869"/>
                    <a:pt x="527024" y="142875"/>
                  </a:cubicBezTo>
                  <a:cubicBezTo>
                    <a:pt x="533847" y="156522"/>
                    <a:pt x="528641" y="155575"/>
                    <a:pt x="536549" y="155575"/>
                  </a:cubicBezTo>
                </a:path>
              </a:pathLst>
            </a:cu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42" name="Volný tvar: obrazec 41">
              <a:extLst>
                <a:ext uri="{FF2B5EF4-FFF2-40B4-BE49-F238E27FC236}">
                  <a16:creationId xmlns:a16="http://schemas.microsoft.com/office/drawing/2014/main" id="{B681A752-13B4-A1DA-846E-EA1348B75DED}"/>
                </a:ext>
              </a:extLst>
            </p:cNvPr>
            <p:cNvSpPr/>
            <p:nvPr/>
          </p:nvSpPr>
          <p:spPr>
            <a:xfrm>
              <a:off x="8734351" y="5065515"/>
              <a:ext cx="85379" cy="274687"/>
            </a:xfrm>
            <a:custGeom>
              <a:avLst/>
              <a:gdLst>
                <a:gd name="connsiteX0" fmla="*/ 50800 w 92075"/>
                <a:gd name="connsiteY0" fmla="*/ 0 h 301625"/>
                <a:gd name="connsiteX1" fmla="*/ 66675 w 92075"/>
                <a:gd name="connsiteY1" fmla="*/ 6350 h 301625"/>
                <a:gd name="connsiteX2" fmla="*/ 76200 w 92075"/>
                <a:gd name="connsiteY2" fmla="*/ 25400 h 301625"/>
                <a:gd name="connsiteX3" fmla="*/ 92075 w 92075"/>
                <a:gd name="connsiteY3" fmla="*/ 50800 h 301625"/>
                <a:gd name="connsiteX4" fmla="*/ 79375 w 92075"/>
                <a:gd name="connsiteY4" fmla="*/ 69850 h 301625"/>
                <a:gd name="connsiteX5" fmla="*/ 69850 w 92075"/>
                <a:gd name="connsiteY5" fmla="*/ 88900 h 301625"/>
                <a:gd name="connsiteX6" fmla="*/ 57150 w 92075"/>
                <a:gd name="connsiteY6" fmla="*/ 92075 h 301625"/>
                <a:gd name="connsiteX7" fmla="*/ 47625 w 92075"/>
                <a:gd name="connsiteY7" fmla="*/ 114300 h 301625"/>
                <a:gd name="connsiteX8" fmla="*/ 41275 w 92075"/>
                <a:gd name="connsiteY8" fmla="*/ 127000 h 301625"/>
                <a:gd name="connsiteX9" fmla="*/ 38100 w 92075"/>
                <a:gd name="connsiteY9" fmla="*/ 136525 h 301625"/>
                <a:gd name="connsiteX10" fmla="*/ 19050 w 92075"/>
                <a:gd name="connsiteY10" fmla="*/ 152400 h 301625"/>
                <a:gd name="connsiteX11" fmla="*/ 0 w 92075"/>
                <a:gd name="connsiteY11" fmla="*/ 165100 h 301625"/>
                <a:gd name="connsiteX12" fmla="*/ 9525 w 92075"/>
                <a:gd name="connsiteY12" fmla="*/ 184150 h 301625"/>
                <a:gd name="connsiteX13" fmla="*/ 25400 w 92075"/>
                <a:gd name="connsiteY13" fmla="*/ 193675 h 301625"/>
                <a:gd name="connsiteX14" fmla="*/ 50800 w 92075"/>
                <a:gd name="connsiteY14" fmla="*/ 209550 h 301625"/>
                <a:gd name="connsiteX15" fmla="*/ 63500 w 92075"/>
                <a:gd name="connsiteY15" fmla="*/ 225425 h 301625"/>
                <a:gd name="connsiteX16" fmla="*/ 73025 w 92075"/>
                <a:gd name="connsiteY16" fmla="*/ 247650 h 301625"/>
                <a:gd name="connsiteX17" fmla="*/ 57150 w 92075"/>
                <a:gd name="connsiteY17" fmla="*/ 273050 h 301625"/>
                <a:gd name="connsiteX18" fmla="*/ 50800 w 92075"/>
                <a:gd name="connsiteY18" fmla="*/ 282575 h 301625"/>
                <a:gd name="connsiteX19" fmla="*/ 41275 w 92075"/>
                <a:gd name="connsiteY19" fmla="*/ 288925 h 301625"/>
                <a:gd name="connsiteX20" fmla="*/ 41275 w 92075"/>
                <a:gd name="connsiteY20" fmla="*/ 301625 h 301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2075" h="301625">
                  <a:moveTo>
                    <a:pt x="50800" y="0"/>
                  </a:moveTo>
                  <a:cubicBezTo>
                    <a:pt x="56092" y="2117"/>
                    <a:pt x="62037" y="3037"/>
                    <a:pt x="66675" y="6350"/>
                  </a:cubicBezTo>
                  <a:cubicBezTo>
                    <a:pt x="72432" y="10462"/>
                    <a:pt x="73967" y="19445"/>
                    <a:pt x="76200" y="25400"/>
                  </a:cubicBezTo>
                  <a:cubicBezTo>
                    <a:pt x="83416" y="44642"/>
                    <a:pt x="79152" y="37877"/>
                    <a:pt x="92075" y="50800"/>
                  </a:cubicBezTo>
                  <a:cubicBezTo>
                    <a:pt x="84526" y="73448"/>
                    <a:pt x="95230" y="46067"/>
                    <a:pt x="79375" y="69850"/>
                  </a:cubicBezTo>
                  <a:cubicBezTo>
                    <a:pt x="74304" y="77457"/>
                    <a:pt x="78843" y="82905"/>
                    <a:pt x="69850" y="88900"/>
                  </a:cubicBezTo>
                  <a:cubicBezTo>
                    <a:pt x="66219" y="91321"/>
                    <a:pt x="61383" y="91017"/>
                    <a:pt x="57150" y="92075"/>
                  </a:cubicBezTo>
                  <a:cubicBezTo>
                    <a:pt x="44281" y="111378"/>
                    <a:pt x="56412" y="90869"/>
                    <a:pt x="47625" y="114300"/>
                  </a:cubicBezTo>
                  <a:cubicBezTo>
                    <a:pt x="45963" y="118732"/>
                    <a:pt x="43139" y="122650"/>
                    <a:pt x="41275" y="127000"/>
                  </a:cubicBezTo>
                  <a:cubicBezTo>
                    <a:pt x="39957" y="130076"/>
                    <a:pt x="39956" y="133740"/>
                    <a:pt x="38100" y="136525"/>
                  </a:cubicBezTo>
                  <a:cubicBezTo>
                    <a:pt x="31143" y="146960"/>
                    <a:pt x="27835" y="145079"/>
                    <a:pt x="19050" y="152400"/>
                  </a:cubicBezTo>
                  <a:cubicBezTo>
                    <a:pt x="3195" y="165613"/>
                    <a:pt x="16739" y="159520"/>
                    <a:pt x="0" y="165100"/>
                  </a:cubicBezTo>
                  <a:cubicBezTo>
                    <a:pt x="2222" y="171767"/>
                    <a:pt x="3780" y="179226"/>
                    <a:pt x="9525" y="184150"/>
                  </a:cubicBezTo>
                  <a:cubicBezTo>
                    <a:pt x="14210" y="188166"/>
                    <a:pt x="20463" y="189972"/>
                    <a:pt x="25400" y="193675"/>
                  </a:cubicBezTo>
                  <a:cubicBezTo>
                    <a:pt x="48637" y="211103"/>
                    <a:pt x="18467" y="196617"/>
                    <a:pt x="50800" y="209550"/>
                  </a:cubicBezTo>
                  <a:cubicBezTo>
                    <a:pt x="55033" y="214842"/>
                    <a:pt x="59741" y="219786"/>
                    <a:pt x="63500" y="225425"/>
                  </a:cubicBezTo>
                  <a:cubicBezTo>
                    <a:pt x="68731" y="233272"/>
                    <a:pt x="70203" y="239183"/>
                    <a:pt x="73025" y="247650"/>
                  </a:cubicBezTo>
                  <a:cubicBezTo>
                    <a:pt x="63080" y="267541"/>
                    <a:pt x="70889" y="253816"/>
                    <a:pt x="57150" y="273050"/>
                  </a:cubicBezTo>
                  <a:cubicBezTo>
                    <a:pt x="54932" y="276155"/>
                    <a:pt x="53498" y="279877"/>
                    <a:pt x="50800" y="282575"/>
                  </a:cubicBezTo>
                  <a:cubicBezTo>
                    <a:pt x="48102" y="285273"/>
                    <a:pt x="42982" y="285512"/>
                    <a:pt x="41275" y="288925"/>
                  </a:cubicBezTo>
                  <a:cubicBezTo>
                    <a:pt x="39382" y="292711"/>
                    <a:pt x="41275" y="297392"/>
                    <a:pt x="41275" y="301625"/>
                  </a:cubicBezTo>
                </a:path>
              </a:pathLst>
            </a:cu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</p:grpSp>
      <p:pic>
        <p:nvPicPr>
          <p:cNvPr id="10" name="Grafický objekt 9">
            <a:extLst>
              <a:ext uri="{FF2B5EF4-FFF2-40B4-BE49-F238E27FC236}">
                <a16:creationId xmlns:a16="http://schemas.microsoft.com/office/drawing/2014/main" id="{72DF8C24-B9A1-7915-4CD6-F03A69DD28D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583271" y="90540"/>
            <a:ext cx="2477004" cy="403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73082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Přímá spojnice 5">
            <a:extLst>
              <a:ext uri="{FF2B5EF4-FFF2-40B4-BE49-F238E27FC236}">
                <a16:creationId xmlns:a16="http://schemas.microsoft.com/office/drawing/2014/main" id="{F1AA17F8-1573-0F02-6D6B-5B4868298E9C}"/>
              </a:ext>
            </a:extLst>
          </p:cNvPr>
          <p:cNvCxnSpPr>
            <a:cxnSpLocks/>
          </p:cNvCxnSpPr>
          <p:nvPr/>
        </p:nvCxnSpPr>
        <p:spPr>
          <a:xfrm>
            <a:off x="650949" y="2764435"/>
            <a:ext cx="5445051" cy="9746"/>
          </a:xfrm>
          <a:prstGeom prst="line">
            <a:avLst/>
          </a:prstGeom>
          <a:ln w="28575">
            <a:solidFill>
              <a:schemeClr val="accent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Zástupný symbol pro obsah 5">
            <a:extLst>
              <a:ext uri="{FF2B5EF4-FFF2-40B4-BE49-F238E27FC236}">
                <a16:creationId xmlns:a16="http://schemas.microsoft.com/office/drawing/2014/main" id="{2417B6F4-FB65-82F9-4A09-E7AF9AD679F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58491872"/>
              </p:ext>
            </p:extLst>
          </p:nvPr>
        </p:nvGraphicFramePr>
        <p:xfrm>
          <a:off x="-154378" y="1612324"/>
          <a:ext cx="7807561" cy="43899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Nadpis 4">
            <a:extLst>
              <a:ext uri="{FF2B5EF4-FFF2-40B4-BE49-F238E27FC236}">
                <a16:creationId xmlns:a16="http://schemas.microsoft.com/office/drawing/2014/main" id="{EA2DDA38-176D-AE75-ACBD-46003604A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558329"/>
            <a:ext cx="9802034" cy="720000"/>
          </a:xfrm>
        </p:spPr>
        <p:txBody>
          <a:bodyPr>
            <a:normAutofit fontScale="90000"/>
          </a:bodyPr>
          <a:lstStyle/>
          <a:p>
            <a:r>
              <a:rPr lang="cs-CZ" sz="2400" dirty="0"/>
              <a:t>Interval mezi oslovením osoby u praktického lékaře</a:t>
            </a:r>
            <a:br>
              <a:rPr lang="cs-CZ" sz="2400" dirty="0"/>
            </a:br>
            <a:r>
              <a:rPr lang="cs-CZ" sz="2400" dirty="0"/>
              <a:t>a návštěvou pneumologa </a:t>
            </a:r>
            <a:r>
              <a:rPr lang="cs-CZ" dirty="0">
                <a:solidFill>
                  <a:schemeClr val="accent3"/>
                </a:solidFill>
              </a:rPr>
              <a:t>v rámci KRAJE v roce 2024</a:t>
            </a:r>
          </a:p>
        </p:txBody>
      </p:sp>
      <p:sp>
        <p:nvSpPr>
          <p:cNvPr id="24" name="Rectangle 21">
            <a:extLst>
              <a:ext uri="{FF2B5EF4-FFF2-40B4-BE49-F238E27FC236}">
                <a16:creationId xmlns:a16="http://schemas.microsoft.com/office/drawing/2014/main" id="{64DF5E38-24A9-136D-95B1-C5B4A54397D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544190" y="1167543"/>
            <a:ext cx="2179197" cy="4308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DDCE0">
                  <a:lumMod val="2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5E62A73E-C051-AD0C-923E-F845A83BE199}"/>
              </a:ext>
            </a:extLst>
          </p:cNvPr>
          <p:cNvSpPr txBox="1">
            <a:spLocks/>
          </p:cNvSpPr>
          <p:nvPr/>
        </p:nvSpPr>
        <p:spPr>
          <a:xfrm>
            <a:off x="8718710" y="917180"/>
            <a:ext cx="3261286" cy="7200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NRHZS</a:t>
            </a: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za období: 1. 1. 2022 – 31. 12. 2024</a:t>
            </a:r>
          </a:p>
        </p:txBody>
      </p:sp>
      <p:sp>
        <p:nvSpPr>
          <p:cNvPr id="10" name="Rectangle 21">
            <a:extLst>
              <a:ext uri="{FF2B5EF4-FFF2-40B4-BE49-F238E27FC236}">
                <a16:creationId xmlns:a16="http://schemas.microsoft.com/office/drawing/2014/main" id="{159EBE57-874E-77F8-4027-D8CA74EE237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60046" y="1390539"/>
            <a:ext cx="2978851" cy="4308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uze pacienti ve věku 55–74 let</a:t>
            </a:r>
          </a:p>
        </p:txBody>
      </p:sp>
      <p:sp>
        <p:nvSpPr>
          <p:cNvPr id="13" name="Rectangle 21">
            <a:extLst>
              <a:ext uri="{FF2B5EF4-FFF2-40B4-BE49-F238E27FC236}">
                <a16:creationId xmlns:a16="http://schemas.microsoft.com/office/drawing/2014/main" id="{E3D4316F-FCED-5395-94CA-115BB2C0A1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027254" y="5381710"/>
            <a:ext cx="2882348" cy="378175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b="1" kern="0" dirty="0">
                <a:solidFill>
                  <a:srgbClr val="DDDCE0">
                    <a:lumMod val="10000"/>
                  </a:srgbClr>
                </a:solidFill>
                <a:latin typeface="Arial" panose="020B0604020202020204"/>
              </a:rPr>
              <a:t>Kraj IČZ pneumologického pracoviště</a:t>
            </a:r>
            <a:endParaRPr kumimoji="0" lang="cs-CZ" sz="1100" b="1" i="0" u="none" strike="noStrike" kern="0" cap="none" spc="0" normalizeH="0" baseline="0" noProof="0" dirty="0">
              <a:ln>
                <a:noFill/>
              </a:ln>
              <a:solidFill>
                <a:srgbClr val="DDDCE0">
                  <a:lumMod val="1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875C8ABB-BB27-9F5F-826E-A302E8119B88}"/>
              </a:ext>
            </a:extLst>
          </p:cNvPr>
          <p:cNvSpPr txBox="1"/>
          <p:nvPr/>
        </p:nvSpPr>
        <p:spPr>
          <a:xfrm>
            <a:off x="879373" y="1932389"/>
            <a:ext cx="5178110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 = </a:t>
            </a:r>
            <a:r>
              <a:rPr lang="cs-CZ" sz="1000" b="1" dirty="0">
                <a:solidFill>
                  <a:srgbClr val="000000"/>
                </a:solidFill>
                <a:latin typeface="Arial" panose="020B0604020202020204"/>
              </a:rPr>
              <a:t>4 998</a:t>
            </a: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počet vyšetřených</a:t>
            </a:r>
            <a:r>
              <a:rPr lang="cs-CZ" sz="1000" b="1" dirty="0">
                <a:solidFill>
                  <a:srgbClr val="000000"/>
                </a:solidFill>
                <a:latin typeface="Arial" panose="020B0604020202020204"/>
              </a:rPr>
              <a:t> osob u praktického lékaře, pneumologa)</a:t>
            </a:r>
            <a:endParaRPr kumimoji="0" lang="cs-CZ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Ovál 1">
            <a:extLst>
              <a:ext uri="{FF2B5EF4-FFF2-40B4-BE49-F238E27FC236}">
                <a16:creationId xmlns:a16="http://schemas.microsoft.com/office/drawing/2014/main" id="{EF6B0037-879F-9280-FDD6-4761570C6269}"/>
              </a:ext>
            </a:extLst>
          </p:cNvPr>
          <p:cNvSpPr/>
          <p:nvPr/>
        </p:nvSpPr>
        <p:spPr>
          <a:xfrm>
            <a:off x="167115" y="5553029"/>
            <a:ext cx="75415" cy="75600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211D591A-7F4A-AA27-E5D5-467EBC97001F}"/>
              </a:ext>
            </a:extLst>
          </p:cNvPr>
          <p:cNvSpPr txBox="1"/>
          <p:nvPr/>
        </p:nvSpPr>
        <p:spPr>
          <a:xfrm>
            <a:off x="242530" y="5442805"/>
            <a:ext cx="20180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E6B03C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  <a:r>
              <a:rPr lang="cs-CZ" sz="1200" dirty="0" err="1">
                <a:solidFill>
                  <a:srgbClr val="E6B03C">
                    <a:lumMod val="10000"/>
                  </a:srgbClr>
                </a:solidFill>
                <a:latin typeface="Arial" panose="020B0604020202020204"/>
              </a:rPr>
              <a:t>očet</a:t>
            </a:r>
            <a:r>
              <a:rPr lang="cs-CZ" sz="1200" dirty="0">
                <a:solidFill>
                  <a:srgbClr val="E6B03C">
                    <a:lumMod val="10000"/>
                  </a:srgbClr>
                </a:solidFill>
                <a:latin typeface="Arial" panose="020B0604020202020204"/>
              </a:rPr>
              <a:t> vyšetřených osob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E6B03C">
                  <a:lumMod val="1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49108649-8FBF-5827-1E2A-4FCBF336E5E3}"/>
              </a:ext>
            </a:extLst>
          </p:cNvPr>
          <p:cNvSpPr txBox="1"/>
          <p:nvPr/>
        </p:nvSpPr>
        <p:spPr>
          <a:xfrm>
            <a:off x="5239411" y="5420911"/>
            <a:ext cx="2909829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b="1" dirty="0">
                <a:solidFill>
                  <a:schemeClr val="bg2">
                    <a:lumMod val="10000"/>
                  </a:schemeClr>
                </a:solidFill>
                <a:latin typeface="Arial" panose="020B0604020202020204"/>
              </a:rPr>
              <a:t>Medián doby v ČR v roce 2024: 63 dnů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6" name="Přímá spojnice 15">
            <a:extLst>
              <a:ext uri="{FF2B5EF4-FFF2-40B4-BE49-F238E27FC236}">
                <a16:creationId xmlns:a16="http://schemas.microsoft.com/office/drawing/2014/main" id="{9CB3302B-5468-E2A1-6862-F7756E360981}"/>
              </a:ext>
            </a:extLst>
          </p:cNvPr>
          <p:cNvCxnSpPr>
            <a:cxnSpLocks/>
          </p:cNvCxnSpPr>
          <p:nvPr/>
        </p:nvCxnSpPr>
        <p:spPr>
          <a:xfrm>
            <a:off x="4851922" y="5566942"/>
            <a:ext cx="360000" cy="0"/>
          </a:xfrm>
          <a:prstGeom prst="line">
            <a:avLst/>
          </a:prstGeom>
          <a:ln w="28575">
            <a:solidFill>
              <a:schemeClr val="accent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122278BC-1F0F-3E28-B968-554F7C8582E6}"/>
              </a:ext>
            </a:extLst>
          </p:cNvPr>
          <p:cNvGraphicFramePr>
            <a:graphicFrameLocks noGrp="1"/>
          </p:cNvGraphicFramePr>
          <p:nvPr/>
        </p:nvGraphicFramePr>
        <p:xfrm>
          <a:off x="7006616" y="2629139"/>
          <a:ext cx="4983418" cy="1257300"/>
        </p:xfrm>
        <a:graphic>
          <a:graphicData uri="http://schemas.openxmlformats.org/drawingml/2006/table">
            <a:tbl>
              <a:tblPr firstRow="1" lastRow="1" bandRow="1">
                <a:tableStyleId>{69012ECD-51FC-41F1-AA8D-1B2483CD663E}</a:tableStyleId>
              </a:tblPr>
              <a:tblGrid>
                <a:gridCol w="657225">
                  <a:extLst>
                    <a:ext uri="{9D8B030D-6E8A-4147-A177-3AD203B41FA5}">
                      <a16:colId xmlns:a16="http://schemas.microsoft.com/office/drawing/2014/main" val="2813647728"/>
                    </a:ext>
                  </a:extLst>
                </a:gridCol>
                <a:gridCol w="1718037">
                  <a:extLst>
                    <a:ext uri="{9D8B030D-6E8A-4147-A177-3AD203B41FA5}">
                      <a16:colId xmlns:a16="http://schemas.microsoft.com/office/drawing/2014/main" val="1925499364"/>
                    </a:ext>
                  </a:extLst>
                </a:gridCol>
                <a:gridCol w="1398543">
                  <a:extLst>
                    <a:ext uri="{9D8B030D-6E8A-4147-A177-3AD203B41FA5}">
                      <a16:colId xmlns:a16="http://schemas.microsoft.com/office/drawing/2014/main" val="4157514003"/>
                    </a:ext>
                  </a:extLst>
                </a:gridCol>
                <a:gridCol w="1209613">
                  <a:extLst>
                    <a:ext uri="{9D8B030D-6E8A-4147-A177-3AD203B41FA5}">
                      <a16:colId xmlns:a16="http://schemas.microsoft.com/office/drawing/2014/main" val="3119284155"/>
                    </a:ext>
                  </a:extLst>
                </a:gridCol>
              </a:tblGrid>
              <a:tr h="183164">
                <a:tc rowSpan="2">
                  <a:txBody>
                    <a:bodyPr/>
                    <a:lstStyle/>
                    <a:p>
                      <a:pPr algn="ctr"/>
                      <a:endParaRPr lang="cs-CZ" sz="105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050" b="1" dirty="0">
                          <a:solidFill>
                            <a:schemeClr val="bg1"/>
                          </a:solidFill>
                          <a:latin typeface="+mj-lt"/>
                        </a:rPr>
                        <a:t>Počet vyšetřených osob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dirty="0">
                          <a:solidFill>
                            <a:schemeClr val="bg1"/>
                          </a:solidFill>
                          <a:latin typeface="+mj-lt"/>
                        </a:rPr>
                        <a:t>Interval mezi návštěvou PL a PN (dny)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9709372"/>
                  </a:ext>
                </a:extLst>
              </a:tr>
              <a:tr h="183164">
                <a:tc vMerge="1">
                  <a:txBody>
                    <a:bodyPr/>
                    <a:lstStyle/>
                    <a:p>
                      <a:pPr algn="ctr"/>
                      <a:endParaRPr lang="cs-CZ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Průměr</a:t>
                      </a:r>
                      <a:endParaRPr lang="cs-CZ" sz="1050" b="0" dirty="0">
                        <a:solidFill>
                          <a:schemeClr val="bg2">
                            <a:lumMod val="10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Medián</a:t>
                      </a:r>
                      <a:endParaRPr lang="cs-CZ" sz="1050" b="0" kern="1200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2402614"/>
                  </a:ext>
                </a:extLst>
              </a:tr>
              <a:tr h="18316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22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 881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9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2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3626085"/>
                  </a:ext>
                </a:extLst>
              </a:tr>
              <a:tr h="18316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23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 572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3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2282062"/>
                  </a:ext>
                </a:extLst>
              </a:tr>
              <a:tr h="18316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24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 998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6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3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850982427"/>
                  </a:ext>
                </a:extLst>
              </a:tr>
            </a:tbl>
          </a:graphicData>
        </a:graphic>
      </p:graphicFrame>
      <p:sp>
        <p:nvSpPr>
          <p:cNvPr id="19" name="Zástupný text 5">
            <a:extLst>
              <a:ext uri="{FF2B5EF4-FFF2-40B4-BE49-F238E27FC236}">
                <a16:creationId xmlns:a16="http://schemas.microsoft.com/office/drawing/2014/main" id="{E0B36937-7E5D-EB83-C4C6-B7835C37263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01966" y="5951488"/>
            <a:ext cx="11788068" cy="780375"/>
          </a:xfrm>
        </p:spPr>
        <p:txBody>
          <a:bodyPr anchor="ctr"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defRPr/>
            </a:pPr>
            <a:r>
              <a:rPr lang="cs-CZ" sz="1300" baseline="0" dirty="0">
                <a:solidFill>
                  <a:schemeClr val="accent6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val mezi oslovením osoby u praktického lékaře a návštěvou u pneumologa </a:t>
            </a:r>
            <a:r>
              <a:rPr lang="cs-CZ" sz="1300" dirty="0"/>
              <a:t>se každým rokem zvyšuje. V rámci ČR jeho </a:t>
            </a:r>
            <a:r>
              <a:rPr lang="cs-CZ" sz="1300" b="1" dirty="0">
                <a:solidFill>
                  <a:schemeClr val="accent1"/>
                </a:solidFill>
              </a:rPr>
              <a:t>průměrný interval dosahoval </a:t>
            </a:r>
            <a:br>
              <a:rPr lang="cs-CZ" sz="1300" b="1" dirty="0">
                <a:solidFill>
                  <a:schemeClr val="accent1"/>
                </a:solidFill>
              </a:rPr>
            </a:br>
            <a:r>
              <a:rPr lang="cs-CZ" sz="1300" b="1" dirty="0">
                <a:solidFill>
                  <a:schemeClr val="accent1"/>
                </a:solidFill>
              </a:rPr>
              <a:t>v roce 2024 126 dnů (medián 63 dnů)</a:t>
            </a:r>
            <a:r>
              <a:rPr lang="cs-CZ" sz="1300" dirty="0"/>
              <a:t>. </a:t>
            </a:r>
            <a:r>
              <a:rPr lang="cs-CZ" sz="1300" b="1" dirty="0">
                <a:solidFill>
                  <a:schemeClr val="accent1"/>
                </a:solidFill>
              </a:rPr>
              <a:t>Nejnižší medián intervalu mezi vyšetřeními v roce 2024 </a:t>
            </a:r>
            <a:r>
              <a:rPr lang="cs-CZ" sz="1300" dirty="0"/>
              <a:t>(41 dnů) byl zaznamenán v </a:t>
            </a:r>
            <a:r>
              <a:rPr lang="cs-CZ" sz="1300" b="1" dirty="0">
                <a:solidFill>
                  <a:schemeClr val="accent1"/>
                </a:solidFill>
              </a:rPr>
              <a:t>Olomouckém</a:t>
            </a:r>
            <a:r>
              <a:rPr lang="cs-CZ" sz="1300" dirty="0"/>
              <a:t> </a:t>
            </a:r>
            <a:r>
              <a:rPr lang="cs-CZ" sz="1300" b="1" dirty="0">
                <a:solidFill>
                  <a:schemeClr val="accent1"/>
                </a:solidFill>
              </a:rPr>
              <a:t>kraji </a:t>
            </a:r>
            <a:br>
              <a:rPr lang="cs-CZ" sz="1300" b="1" dirty="0">
                <a:solidFill>
                  <a:schemeClr val="accent1"/>
                </a:solidFill>
              </a:rPr>
            </a:br>
            <a:r>
              <a:rPr lang="cs-CZ" sz="1300" dirty="0"/>
              <a:t>(s počtem 200 vyšetřených osob) a </a:t>
            </a:r>
            <a:r>
              <a:rPr lang="cs-CZ" sz="1300" b="1" dirty="0">
                <a:solidFill>
                  <a:schemeClr val="accent1"/>
                </a:solidFill>
              </a:rPr>
              <a:t>nejvyšší medián intervalu </a:t>
            </a:r>
            <a:r>
              <a:rPr lang="cs-CZ" sz="1300" dirty="0"/>
              <a:t>(76 dnů) byl zaznamenán v</a:t>
            </a:r>
            <a:r>
              <a:rPr lang="cs-CZ" sz="1300" b="1" dirty="0">
                <a:solidFill>
                  <a:schemeClr val="accent1"/>
                </a:solidFill>
              </a:rPr>
              <a:t> Pardubickém kraji </a:t>
            </a:r>
            <a:r>
              <a:rPr lang="cs-CZ" sz="1300" dirty="0"/>
              <a:t>(s počtem 165 vyšetřených osob).</a:t>
            </a:r>
            <a:endParaRPr lang="cs-CZ" sz="1300" dirty="0">
              <a:highlight>
                <a:srgbClr val="FFFF00"/>
              </a:highlight>
            </a:endParaRPr>
          </a:p>
        </p:txBody>
      </p:sp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0390ED4D-6CF6-FBD6-5AD7-76D4C2639E0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583271" y="90540"/>
            <a:ext cx="2477004" cy="403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41199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B3B4496-7A4D-FC65-B0A3-6F36D60B23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Akreditovaná radiologická centra – </a:t>
            </a:r>
            <a:r>
              <a:rPr lang="cs-CZ" dirty="0">
                <a:solidFill>
                  <a:schemeClr val="accent3"/>
                </a:solidFill>
              </a:rPr>
              <a:t>únor 2025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D081FB59-3BB7-EECF-6557-BAC9B22D5E26}"/>
              </a:ext>
            </a:extLst>
          </p:cNvPr>
          <p:cNvGrpSpPr/>
          <p:nvPr/>
        </p:nvGrpSpPr>
        <p:grpSpPr>
          <a:xfrm>
            <a:off x="564776" y="1195199"/>
            <a:ext cx="11508691" cy="5612395"/>
            <a:chOff x="-1619623" y="1133618"/>
            <a:chExt cx="11508691" cy="5612395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8855832B-B9B7-9084-55D4-5D5C7F6C7516}"/>
                </a:ext>
              </a:extLst>
            </p:cNvPr>
            <p:cNvGrpSpPr/>
            <p:nvPr/>
          </p:nvGrpSpPr>
          <p:grpSpPr>
            <a:xfrm>
              <a:off x="-1619623" y="1133618"/>
              <a:ext cx="10643679" cy="5612395"/>
              <a:chOff x="-580530" y="1092053"/>
              <a:chExt cx="10643679" cy="5612395"/>
            </a:xfrm>
          </p:grpSpPr>
          <p:grpSp>
            <p:nvGrpSpPr>
              <p:cNvPr id="19" name="Skupina 18">
                <a:extLst>
                  <a:ext uri="{FF2B5EF4-FFF2-40B4-BE49-F238E27FC236}">
                    <a16:creationId xmlns:a16="http://schemas.microsoft.com/office/drawing/2014/main" id="{3CC5F7AD-9F9E-F999-6E3C-CB7D4E11FAC8}"/>
                  </a:ext>
                </a:extLst>
              </p:cNvPr>
              <p:cNvGrpSpPr/>
              <p:nvPr/>
            </p:nvGrpSpPr>
            <p:grpSpPr>
              <a:xfrm>
                <a:off x="2128851" y="1092053"/>
                <a:ext cx="7934298" cy="5612395"/>
                <a:chOff x="2128851" y="1092053"/>
                <a:chExt cx="7934298" cy="5612395"/>
              </a:xfrm>
            </p:grpSpPr>
            <p:pic>
              <p:nvPicPr>
                <p:cNvPr id="7" name="Obrázek 6" descr="Obsah obrázku text, mapa, atlas&#10;&#10;Popis byl vytvořen automaticky">
                  <a:extLst>
                    <a:ext uri="{FF2B5EF4-FFF2-40B4-BE49-F238E27FC236}">
                      <a16:creationId xmlns:a16="http://schemas.microsoft.com/office/drawing/2014/main" id="{982C1ADF-A145-8378-0A90-43A0521E39A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2128851" y="1092053"/>
                  <a:ext cx="7934298" cy="5612395"/>
                </a:xfrm>
                <a:prstGeom prst="rect">
                  <a:avLst/>
                </a:prstGeom>
              </p:spPr>
            </p:pic>
            <p:grpSp>
              <p:nvGrpSpPr>
                <p:cNvPr id="3" name="Skupina 2">
                  <a:extLst>
                    <a:ext uri="{FF2B5EF4-FFF2-40B4-BE49-F238E27FC236}">
                      <a16:creationId xmlns:a16="http://schemas.microsoft.com/office/drawing/2014/main" id="{1A9D396D-2A21-340E-AECF-48F959AD0461}"/>
                    </a:ext>
                  </a:extLst>
                </p:cNvPr>
                <p:cNvGrpSpPr/>
                <p:nvPr/>
              </p:nvGrpSpPr>
              <p:grpSpPr>
                <a:xfrm rot="278696">
                  <a:off x="3748803" y="4438822"/>
                  <a:ext cx="2340579" cy="1776255"/>
                  <a:chOff x="6550025" y="4387850"/>
                  <a:chExt cx="1847850" cy="1413749"/>
                </a:xfrm>
              </p:grpSpPr>
              <p:sp>
                <p:nvSpPr>
                  <p:cNvPr id="4" name="Volný tvar: obrazec 3">
                    <a:extLst>
                      <a:ext uri="{FF2B5EF4-FFF2-40B4-BE49-F238E27FC236}">
                        <a16:creationId xmlns:a16="http://schemas.microsoft.com/office/drawing/2014/main" id="{304B2277-5866-C334-F4FA-53BC2C2E775F}"/>
                      </a:ext>
                    </a:extLst>
                  </p:cNvPr>
                  <p:cNvSpPr/>
                  <p:nvPr/>
                </p:nvSpPr>
                <p:spPr>
                  <a:xfrm>
                    <a:off x="6559550" y="4464050"/>
                    <a:ext cx="254089" cy="727075"/>
                  </a:xfrm>
                  <a:custGeom>
                    <a:avLst/>
                    <a:gdLst>
                      <a:gd name="connsiteX0" fmla="*/ 0 w 254089"/>
                      <a:gd name="connsiteY0" fmla="*/ 727075 h 727075"/>
                      <a:gd name="connsiteX1" fmla="*/ 3175 w 254089"/>
                      <a:gd name="connsiteY1" fmla="*/ 711200 h 727075"/>
                      <a:gd name="connsiteX2" fmla="*/ 9525 w 254089"/>
                      <a:gd name="connsiteY2" fmla="*/ 698500 h 727075"/>
                      <a:gd name="connsiteX3" fmla="*/ 15875 w 254089"/>
                      <a:gd name="connsiteY3" fmla="*/ 650875 h 727075"/>
                      <a:gd name="connsiteX4" fmla="*/ 22225 w 254089"/>
                      <a:gd name="connsiteY4" fmla="*/ 638175 h 727075"/>
                      <a:gd name="connsiteX5" fmla="*/ 34925 w 254089"/>
                      <a:gd name="connsiteY5" fmla="*/ 628650 h 727075"/>
                      <a:gd name="connsiteX6" fmla="*/ 53975 w 254089"/>
                      <a:gd name="connsiteY6" fmla="*/ 603250 h 727075"/>
                      <a:gd name="connsiteX7" fmla="*/ 66675 w 254089"/>
                      <a:gd name="connsiteY7" fmla="*/ 577850 h 727075"/>
                      <a:gd name="connsiteX8" fmla="*/ 79375 w 254089"/>
                      <a:gd name="connsiteY8" fmla="*/ 520700 h 727075"/>
                      <a:gd name="connsiteX9" fmla="*/ 95250 w 254089"/>
                      <a:gd name="connsiteY9" fmla="*/ 498475 h 727075"/>
                      <a:gd name="connsiteX10" fmla="*/ 104775 w 254089"/>
                      <a:gd name="connsiteY10" fmla="*/ 495300 h 727075"/>
                      <a:gd name="connsiteX11" fmla="*/ 136525 w 254089"/>
                      <a:gd name="connsiteY11" fmla="*/ 485775 h 727075"/>
                      <a:gd name="connsiteX12" fmla="*/ 158750 w 254089"/>
                      <a:gd name="connsiteY12" fmla="*/ 457200 h 727075"/>
                      <a:gd name="connsiteX13" fmla="*/ 165100 w 254089"/>
                      <a:gd name="connsiteY13" fmla="*/ 438150 h 727075"/>
                      <a:gd name="connsiteX14" fmla="*/ 180975 w 254089"/>
                      <a:gd name="connsiteY14" fmla="*/ 409575 h 727075"/>
                      <a:gd name="connsiteX15" fmla="*/ 190500 w 254089"/>
                      <a:gd name="connsiteY15" fmla="*/ 384175 h 727075"/>
                      <a:gd name="connsiteX16" fmla="*/ 200025 w 254089"/>
                      <a:gd name="connsiteY16" fmla="*/ 333375 h 727075"/>
                      <a:gd name="connsiteX17" fmla="*/ 206375 w 254089"/>
                      <a:gd name="connsiteY17" fmla="*/ 307975 h 727075"/>
                      <a:gd name="connsiteX18" fmla="*/ 215900 w 254089"/>
                      <a:gd name="connsiteY18" fmla="*/ 288925 h 727075"/>
                      <a:gd name="connsiteX19" fmla="*/ 225425 w 254089"/>
                      <a:gd name="connsiteY19" fmla="*/ 273050 h 727075"/>
                      <a:gd name="connsiteX20" fmla="*/ 238125 w 254089"/>
                      <a:gd name="connsiteY20" fmla="*/ 234950 h 727075"/>
                      <a:gd name="connsiteX21" fmla="*/ 244475 w 254089"/>
                      <a:gd name="connsiteY21" fmla="*/ 222250 h 727075"/>
                      <a:gd name="connsiteX22" fmla="*/ 250825 w 254089"/>
                      <a:gd name="connsiteY22" fmla="*/ 190500 h 727075"/>
                      <a:gd name="connsiteX23" fmla="*/ 250825 w 254089"/>
                      <a:gd name="connsiteY23" fmla="*/ 107950 h 727075"/>
                      <a:gd name="connsiteX24" fmla="*/ 244475 w 254089"/>
                      <a:gd name="connsiteY24" fmla="*/ 88900 h 727075"/>
                      <a:gd name="connsiteX25" fmla="*/ 241300 w 254089"/>
                      <a:gd name="connsiteY25" fmla="*/ 79375 h 727075"/>
                      <a:gd name="connsiteX26" fmla="*/ 250825 w 254089"/>
                      <a:gd name="connsiteY26" fmla="*/ 3175 h 727075"/>
                      <a:gd name="connsiteX27" fmla="*/ 254000 w 254089"/>
                      <a:gd name="connsiteY27" fmla="*/ 0 h 7270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</a:cxnLst>
                    <a:rect l="l" t="t" r="r" b="b"/>
                    <a:pathLst>
                      <a:path w="254089" h="727075">
                        <a:moveTo>
                          <a:pt x="0" y="727075"/>
                        </a:moveTo>
                        <a:cubicBezTo>
                          <a:pt x="1058" y="721783"/>
                          <a:pt x="1468" y="716320"/>
                          <a:pt x="3175" y="711200"/>
                        </a:cubicBezTo>
                        <a:cubicBezTo>
                          <a:pt x="4672" y="706710"/>
                          <a:pt x="8653" y="703152"/>
                          <a:pt x="9525" y="698500"/>
                        </a:cubicBezTo>
                        <a:cubicBezTo>
                          <a:pt x="14554" y="671677"/>
                          <a:pt x="8256" y="668653"/>
                          <a:pt x="15875" y="650875"/>
                        </a:cubicBezTo>
                        <a:cubicBezTo>
                          <a:pt x="17739" y="646525"/>
                          <a:pt x="19145" y="641769"/>
                          <a:pt x="22225" y="638175"/>
                        </a:cubicBezTo>
                        <a:cubicBezTo>
                          <a:pt x="25669" y="634157"/>
                          <a:pt x="30907" y="632094"/>
                          <a:pt x="34925" y="628650"/>
                        </a:cubicBezTo>
                        <a:cubicBezTo>
                          <a:pt x="45189" y="619852"/>
                          <a:pt x="47121" y="615979"/>
                          <a:pt x="53975" y="603250"/>
                        </a:cubicBezTo>
                        <a:cubicBezTo>
                          <a:pt x="58463" y="594915"/>
                          <a:pt x="66675" y="577850"/>
                          <a:pt x="66675" y="577850"/>
                        </a:cubicBezTo>
                        <a:cubicBezTo>
                          <a:pt x="72237" y="541700"/>
                          <a:pt x="68533" y="545095"/>
                          <a:pt x="79375" y="520700"/>
                        </a:cubicBezTo>
                        <a:cubicBezTo>
                          <a:pt x="83557" y="511291"/>
                          <a:pt x="86340" y="504415"/>
                          <a:pt x="95250" y="498475"/>
                        </a:cubicBezTo>
                        <a:cubicBezTo>
                          <a:pt x="98035" y="496619"/>
                          <a:pt x="101641" y="496475"/>
                          <a:pt x="104775" y="495300"/>
                        </a:cubicBezTo>
                        <a:cubicBezTo>
                          <a:pt x="128644" y="486349"/>
                          <a:pt x="112236" y="490633"/>
                          <a:pt x="136525" y="485775"/>
                        </a:cubicBezTo>
                        <a:cubicBezTo>
                          <a:pt x="144743" y="477557"/>
                          <a:pt x="154952" y="468593"/>
                          <a:pt x="158750" y="457200"/>
                        </a:cubicBezTo>
                        <a:cubicBezTo>
                          <a:pt x="160867" y="450850"/>
                          <a:pt x="161084" y="443505"/>
                          <a:pt x="165100" y="438150"/>
                        </a:cubicBezTo>
                        <a:cubicBezTo>
                          <a:pt x="180150" y="418083"/>
                          <a:pt x="170392" y="433387"/>
                          <a:pt x="180975" y="409575"/>
                        </a:cubicBezTo>
                        <a:cubicBezTo>
                          <a:pt x="189157" y="391166"/>
                          <a:pt x="186287" y="403132"/>
                          <a:pt x="190500" y="384175"/>
                        </a:cubicBezTo>
                        <a:cubicBezTo>
                          <a:pt x="194242" y="367338"/>
                          <a:pt x="196147" y="350181"/>
                          <a:pt x="200025" y="333375"/>
                        </a:cubicBezTo>
                        <a:cubicBezTo>
                          <a:pt x="201987" y="324871"/>
                          <a:pt x="202472" y="315781"/>
                          <a:pt x="206375" y="307975"/>
                        </a:cubicBezTo>
                        <a:cubicBezTo>
                          <a:pt x="209550" y="301625"/>
                          <a:pt x="212500" y="295158"/>
                          <a:pt x="215900" y="288925"/>
                        </a:cubicBezTo>
                        <a:cubicBezTo>
                          <a:pt x="218855" y="283507"/>
                          <a:pt x="223075" y="278756"/>
                          <a:pt x="225425" y="273050"/>
                        </a:cubicBezTo>
                        <a:cubicBezTo>
                          <a:pt x="230522" y="260671"/>
                          <a:pt x="232138" y="246924"/>
                          <a:pt x="238125" y="234950"/>
                        </a:cubicBezTo>
                        <a:cubicBezTo>
                          <a:pt x="240242" y="230717"/>
                          <a:pt x="242813" y="226682"/>
                          <a:pt x="244475" y="222250"/>
                        </a:cubicBezTo>
                        <a:cubicBezTo>
                          <a:pt x="247317" y="214672"/>
                          <a:pt x="249728" y="197084"/>
                          <a:pt x="250825" y="190500"/>
                        </a:cubicBezTo>
                        <a:cubicBezTo>
                          <a:pt x="253599" y="154444"/>
                          <a:pt x="256518" y="144006"/>
                          <a:pt x="250825" y="107950"/>
                        </a:cubicBezTo>
                        <a:cubicBezTo>
                          <a:pt x="249781" y="101338"/>
                          <a:pt x="246592" y="95250"/>
                          <a:pt x="244475" y="88900"/>
                        </a:cubicBezTo>
                        <a:lnTo>
                          <a:pt x="241300" y="79375"/>
                        </a:lnTo>
                        <a:cubicBezTo>
                          <a:pt x="243423" y="36920"/>
                          <a:pt x="235285" y="29075"/>
                          <a:pt x="250825" y="3175"/>
                        </a:cubicBezTo>
                        <a:cubicBezTo>
                          <a:pt x="251595" y="1892"/>
                          <a:pt x="252942" y="1058"/>
                          <a:pt x="254000" y="0"/>
                        </a:cubicBezTo>
                      </a:path>
                    </a:pathLst>
                  </a:custGeom>
                  <a:noFill/>
                  <a:ln w="28575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cs-CZ"/>
                  </a:p>
                </p:txBody>
              </p:sp>
              <p:sp>
                <p:nvSpPr>
                  <p:cNvPr id="5" name="Volný tvar: obrazec 4">
                    <a:extLst>
                      <a:ext uri="{FF2B5EF4-FFF2-40B4-BE49-F238E27FC236}">
                        <a16:creationId xmlns:a16="http://schemas.microsoft.com/office/drawing/2014/main" id="{81BCA147-FAE0-6FBE-2844-5B43C373FA77}"/>
                      </a:ext>
                    </a:extLst>
                  </p:cNvPr>
                  <p:cNvSpPr/>
                  <p:nvPr/>
                </p:nvSpPr>
                <p:spPr>
                  <a:xfrm>
                    <a:off x="6550025" y="5194300"/>
                    <a:ext cx="1273175" cy="607299"/>
                  </a:xfrm>
                  <a:custGeom>
                    <a:avLst/>
                    <a:gdLst>
                      <a:gd name="connsiteX0" fmla="*/ 0 w 1273175"/>
                      <a:gd name="connsiteY0" fmla="*/ 0 h 616654"/>
                      <a:gd name="connsiteX1" fmla="*/ 41275 w 1273175"/>
                      <a:gd name="connsiteY1" fmla="*/ 15875 h 616654"/>
                      <a:gd name="connsiteX2" fmla="*/ 53975 w 1273175"/>
                      <a:gd name="connsiteY2" fmla="*/ 25400 h 616654"/>
                      <a:gd name="connsiteX3" fmla="*/ 66675 w 1273175"/>
                      <a:gd name="connsiteY3" fmla="*/ 38100 h 616654"/>
                      <a:gd name="connsiteX4" fmla="*/ 76200 w 1273175"/>
                      <a:gd name="connsiteY4" fmla="*/ 41275 h 616654"/>
                      <a:gd name="connsiteX5" fmla="*/ 88900 w 1273175"/>
                      <a:gd name="connsiteY5" fmla="*/ 50800 h 616654"/>
                      <a:gd name="connsiteX6" fmla="*/ 95250 w 1273175"/>
                      <a:gd name="connsiteY6" fmla="*/ 73025 h 616654"/>
                      <a:gd name="connsiteX7" fmla="*/ 104775 w 1273175"/>
                      <a:gd name="connsiteY7" fmla="*/ 85725 h 616654"/>
                      <a:gd name="connsiteX8" fmla="*/ 120650 w 1273175"/>
                      <a:gd name="connsiteY8" fmla="*/ 123825 h 616654"/>
                      <a:gd name="connsiteX9" fmla="*/ 127000 w 1273175"/>
                      <a:gd name="connsiteY9" fmla="*/ 133350 h 616654"/>
                      <a:gd name="connsiteX10" fmla="*/ 139700 w 1273175"/>
                      <a:gd name="connsiteY10" fmla="*/ 139700 h 616654"/>
                      <a:gd name="connsiteX11" fmla="*/ 149225 w 1273175"/>
                      <a:gd name="connsiteY11" fmla="*/ 142875 h 616654"/>
                      <a:gd name="connsiteX12" fmla="*/ 196850 w 1273175"/>
                      <a:gd name="connsiteY12" fmla="*/ 155575 h 616654"/>
                      <a:gd name="connsiteX13" fmla="*/ 209550 w 1273175"/>
                      <a:gd name="connsiteY13" fmla="*/ 184150 h 616654"/>
                      <a:gd name="connsiteX14" fmla="*/ 212725 w 1273175"/>
                      <a:gd name="connsiteY14" fmla="*/ 196850 h 616654"/>
                      <a:gd name="connsiteX15" fmla="*/ 219075 w 1273175"/>
                      <a:gd name="connsiteY15" fmla="*/ 206375 h 616654"/>
                      <a:gd name="connsiteX16" fmla="*/ 231775 w 1273175"/>
                      <a:gd name="connsiteY16" fmla="*/ 228600 h 616654"/>
                      <a:gd name="connsiteX17" fmla="*/ 238125 w 1273175"/>
                      <a:gd name="connsiteY17" fmla="*/ 254000 h 616654"/>
                      <a:gd name="connsiteX18" fmla="*/ 247650 w 1273175"/>
                      <a:gd name="connsiteY18" fmla="*/ 263525 h 616654"/>
                      <a:gd name="connsiteX19" fmla="*/ 260350 w 1273175"/>
                      <a:gd name="connsiteY19" fmla="*/ 288925 h 616654"/>
                      <a:gd name="connsiteX20" fmla="*/ 273050 w 1273175"/>
                      <a:gd name="connsiteY20" fmla="*/ 298450 h 616654"/>
                      <a:gd name="connsiteX21" fmla="*/ 282575 w 1273175"/>
                      <a:gd name="connsiteY21" fmla="*/ 301625 h 616654"/>
                      <a:gd name="connsiteX22" fmla="*/ 314325 w 1273175"/>
                      <a:gd name="connsiteY22" fmla="*/ 317500 h 616654"/>
                      <a:gd name="connsiteX23" fmla="*/ 339725 w 1273175"/>
                      <a:gd name="connsiteY23" fmla="*/ 330200 h 616654"/>
                      <a:gd name="connsiteX24" fmla="*/ 368300 w 1273175"/>
                      <a:gd name="connsiteY24" fmla="*/ 349250 h 616654"/>
                      <a:gd name="connsiteX25" fmla="*/ 387350 w 1273175"/>
                      <a:gd name="connsiteY25" fmla="*/ 368300 h 616654"/>
                      <a:gd name="connsiteX26" fmla="*/ 425450 w 1273175"/>
                      <a:gd name="connsiteY26" fmla="*/ 403225 h 616654"/>
                      <a:gd name="connsiteX27" fmla="*/ 434975 w 1273175"/>
                      <a:gd name="connsiteY27" fmla="*/ 406400 h 616654"/>
                      <a:gd name="connsiteX28" fmla="*/ 444500 w 1273175"/>
                      <a:gd name="connsiteY28" fmla="*/ 419100 h 616654"/>
                      <a:gd name="connsiteX29" fmla="*/ 450850 w 1273175"/>
                      <a:gd name="connsiteY29" fmla="*/ 434975 h 616654"/>
                      <a:gd name="connsiteX30" fmla="*/ 441325 w 1273175"/>
                      <a:gd name="connsiteY30" fmla="*/ 441325 h 616654"/>
                      <a:gd name="connsiteX31" fmla="*/ 434975 w 1273175"/>
                      <a:gd name="connsiteY31" fmla="*/ 457200 h 616654"/>
                      <a:gd name="connsiteX32" fmla="*/ 419100 w 1273175"/>
                      <a:gd name="connsiteY32" fmla="*/ 476250 h 616654"/>
                      <a:gd name="connsiteX33" fmla="*/ 428625 w 1273175"/>
                      <a:gd name="connsiteY33" fmla="*/ 508000 h 616654"/>
                      <a:gd name="connsiteX34" fmla="*/ 447675 w 1273175"/>
                      <a:gd name="connsiteY34" fmla="*/ 511175 h 616654"/>
                      <a:gd name="connsiteX35" fmla="*/ 460375 w 1273175"/>
                      <a:gd name="connsiteY35" fmla="*/ 514350 h 616654"/>
                      <a:gd name="connsiteX36" fmla="*/ 469900 w 1273175"/>
                      <a:gd name="connsiteY36" fmla="*/ 520700 h 616654"/>
                      <a:gd name="connsiteX37" fmla="*/ 482600 w 1273175"/>
                      <a:gd name="connsiteY37" fmla="*/ 523875 h 616654"/>
                      <a:gd name="connsiteX38" fmla="*/ 485775 w 1273175"/>
                      <a:gd name="connsiteY38" fmla="*/ 536575 h 616654"/>
                      <a:gd name="connsiteX39" fmla="*/ 501650 w 1273175"/>
                      <a:gd name="connsiteY39" fmla="*/ 546100 h 616654"/>
                      <a:gd name="connsiteX40" fmla="*/ 530225 w 1273175"/>
                      <a:gd name="connsiteY40" fmla="*/ 561975 h 616654"/>
                      <a:gd name="connsiteX41" fmla="*/ 542925 w 1273175"/>
                      <a:gd name="connsiteY41" fmla="*/ 571500 h 616654"/>
                      <a:gd name="connsiteX42" fmla="*/ 561975 w 1273175"/>
                      <a:gd name="connsiteY42" fmla="*/ 574675 h 616654"/>
                      <a:gd name="connsiteX43" fmla="*/ 593725 w 1273175"/>
                      <a:gd name="connsiteY43" fmla="*/ 587375 h 616654"/>
                      <a:gd name="connsiteX44" fmla="*/ 622300 w 1273175"/>
                      <a:gd name="connsiteY44" fmla="*/ 593725 h 616654"/>
                      <a:gd name="connsiteX45" fmla="*/ 647700 w 1273175"/>
                      <a:gd name="connsiteY45" fmla="*/ 609600 h 616654"/>
                      <a:gd name="connsiteX46" fmla="*/ 717550 w 1273175"/>
                      <a:gd name="connsiteY46" fmla="*/ 612775 h 616654"/>
                      <a:gd name="connsiteX47" fmla="*/ 730250 w 1273175"/>
                      <a:gd name="connsiteY47" fmla="*/ 606425 h 616654"/>
                      <a:gd name="connsiteX48" fmla="*/ 733425 w 1273175"/>
                      <a:gd name="connsiteY48" fmla="*/ 596900 h 616654"/>
                      <a:gd name="connsiteX49" fmla="*/ 746125 w 1273175"/>
                      <a:gd name="connsiteY49" fmla="*/ 590550 h 616654"/>
                      <a:gd name="connsiteX50" fmla="*/ 762000 w 1273175"/>
                      <a:gd name="connsiteY50" fmla="*/ 574675 h 616654"/>
                      <a:gd name="connsiteX51" fmla="*/ 781050 w 1273175"/>
                      <a:gd name="connsiteY51" fmla="*/ 561975 h 616654"/>
                      <a:gd name="connsiteX52" fmla="*/ 787400 w 1273175"/>
                      <a:gd name="connsiteY52" fmla="*/ 552450 h 616654"/>
                      <a:gd name="connsiteX53" fmla="*/ 790575 w 1273175"/>
                      <a:gd name="connsiteY53" fmla="*/ 542925 h 616654"/>
                      <a:gd name="connsiteX54" fmla="*/ 796925 w 1273175"/>
                      <a:gd name="connsiteY54" fmla="*/ 530225 h 616654"/>
                      <a:gd name="connsiteX55" fmla="*/ 809625 w 1273175"/>
                      <a:gd name="connsiteY55" fmla="*/ 498475 h 616654"/>
                      <a:gd name="connsiteX56" fmla="*/ 822325 w 1273175"/>
                      <a:gd name="connsiteY56" fmla="*/ 501650 h 616654"/>
                      <a:gd name="connsiteX57" fmla="*/ 828675 w 1273175"/>
                      <a:gd name="connsiteY57" fmla="*/ 514350 h 616654"/>
                      <a:gd name="connsiteX58" fmla="*/ 847725 w 1273175"/>
                      <a:gd name="connsiteY58" fmla="*/ 520700 h 616654"/>
                      <a:gd name="connsiteX59" fmla="*/ 863600 w 1273175"/>
                      <a:gd name="connsiteY59" fmla="*/ 530225 h 616654"/>
                      <a:gd name="connsiteX60" fmla="*/ 892175 w 1273175"/>
                      <a:gd name="connsiteY60" fmla="*/ 536575 h 616654"/>
                      <a:gd name="connsiteX61" fmla="*/ 923925 w 1273175"/>
                      <a:gd name="connsiteY61" fmla="*/ 530225 h 616654"/>
                      <a:gd name="connsiteX62" fmla="*/ 942975 w 1273175"/>
                      <a:gd name="connsiteY62" fmla="*/ 523875 h 616654"/>
                      <a:gd name="connsiteX63" fmla="*/ 955675 w 1273175"/>
                      <a:gd name="connsiteY63" fmla="*/ 542925 h 616654"/>
                      <a:gd name="connsiteX64" fmla="*/ 962025 w 1273175"/>
                      <a:gd name="connsiteY64" fmla="*/ 552450 h 616654"/>
                      <a:gd name="connsiteX65" fmla="*/ 981075 w 1273175"/>
                      <a:gd name="connsiteY65" fmla="*/ 561975 h 616654"/>
                      <a:gd name="connsiteX66" fmla="*/ 1000125 w 1273175"/>
                      <a:gd name="connsiteY66" fmla="*/ 574675 h 616654"/>
                      <a:gd name="connsiteX67" fmla="*/ 1025525 w 1273175"/>
                      <a:gd name="connsiteY67" fmla="*/ 568325 h 616654"/>
                      <a:gd name="connsiteX68" fmla="*/ 1031875 w 1273175"/>
                      <a:gd name="connsiteY68" fmla="*/ 536575 h 616654"/>
                      <a:gd name="connsiteX69" fmla="*/ 1041400 w 1273175"/>
                      <a:gd name="connsiteY69" fmla="*/ 530225 h 616654"/>
                      <a:gd name="connsiteX70" fmla="*/ 1044575 w 1273175"/>
                      <a:gd name="connsiteY70" fmla="*/ 488950 h 616654"/>
                      <a:gd name="connsiteX71" fmla="*/ 1054100 w 1273175"/>
                      <a:gd name="connsiteY71" fmla="*/ 460375 h 616654"/>
                      <a:gd name="connsiteX72" fmla="*/ 1057275 w 1273175"/>
                      <a:gd name="connsiteY72" fmla="*/ 444500 h 616654"/>
                      <a:gd name="connsiteX73" fmla="*/ 1069975 w 1273175"/>
                      <a:gd name="connsiteY73" fmla="*/ 434975 h 616654"/>
                      <a:gd name="connsiteX74" fmla="*/ 1085850 w 1273175"/>
                      <a:gd name="connsiteY74" fmla="*/ 419100 h 616654"/>
                      <a:gd name="connsiteX75" fmla="*/ 1089025 w 1273175"/>
                      <a:gd name="connsiteY75" fmla="*/ 406400 h 616654"/>
                      <a:gd name="connsiteX76" fmla="*/ 1111250 w 1273175"/>
                      <a:gd name="connsiteY76" fmla="*/ 384175 h 616654"/>
                      <a:gd name="connsiteX77" fmla="*/ 1127125 w 1273175"/>
                      <a:gd name="connsiteY77" fmla="*/ 361950 h 616654"/>
                      <a:gd name="connsiteX78" fmla="*/ 1139825 w 1273175"/>
                      <a:gd name="connsiteY78" fmla="*/ 323850 h 616654"/>
                      <a:gd name="connsiteX79" fmla="*/ 1152525 w 1273175"/>
                      <a:gd name="connsiteY79" fmla="*/ 314325 h 616654"/>
                      <a:gd name="connsiteX80" fmla="*/ 1168400 w 1273175"/>
                      <a:gd name="connsiteY80" fmla="*/ 317500 h 616654"/>
                      <a:gd name="connsiteX81" fmla="*/ 1177925 w 1273175"/>
                      <a:gd name="connsiteY81" fmla="*/ 323850 h 616654"/>
                      <a:gd name="connsiteX82" fmla="*/ 1187450 w 1273175"/>
                      <a:gd name="connsiteY82" fmla="*/ 327025 h 616654"/>
                      <a:gd name="connsiteX83" fmla="*/ 1222375 w 1273175"/>
                      <a:gd name="connsiteY83" fmla="*/ 342900 h 616654"/>
                      <a:gd name="connsiteX84" fmla="*/ 1260475 w 1273175"/>
                      <a:gd name="connsiteY84" fmla="*/ 349250 h 616654"/>
                      <a:gd name="connsiteX85" fmla="*/ 1270000 w 1273175"/>
                      <a:gd name="connsiteY85" fmla="*/ 346075 h 616654"/>
                      <a:gd name="connsiteX86" fmla="*/ 1273175 w 1273175"/>
                      <a:gd name="connsiteY86" fmla="*/ 336550 h 6166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</a:cxnLst>
                    <a:rect l="l" t="t" r="r" b="b"/>
                    <a:pathLst>
                      <a:path w="1273175" h="616654">
                        <a:moveTo>
                          <a:pt x="0" y="0"/>
                        </a:moveTo>
                        <a:cubicBezTo>
                          <a:pt x="17325" y="3465"/>
                          <a:pt x="24788" y="3510"/>
                          <a:pt x="41275" y="15875"/>
                        </a:cubicBezTo>
                        <a:cubicBezTo>
                          <a:pt x="45508" y="19050"/>
                          <a:pt x="49993" y="21915"/>
                          <a:pt x="53975" y="25400"/>
                        </a:cubicBezTo>
                        <a:cubicBezTo>
                          <a:pt x="58481" y="29342"/>
                          <a:pt x="61803" y="34620"/>
                          <a:pt x="66675" y="38100"/>
                        </a:cubicBezTo>
                        <a:cubicBezTo>
                          <a:pt x="69398" y="40045"/>
                          <a:pt x="73025" y="40217"/>
                          <a:pt x="76200" y="41275"/>
                        </a:cubicBezTo>
                        <a:cubicBezTo>
                          <a:pt x="80433" y="44450"/>
                          <a:pt x="85512" y="46735"/>
                          <a:pt x="88900" y="50800"/>
                        </a:cubicBezTo>
                        <a:cubicBezTo>
                          <a:pt x="90851" y="53141"/>
                          <a:pt x="94659" y="71843"/>
                          <a:pt x="95250" y="73025"/>
                        </a:cubicBezTo>
                        <a:cubicBezTo>
                          <a:pt x="97617" y="77758"/>
                          <a:pt x="101600" y="81492"/>
                          <a:pt x="104775" y="85725"/>
                        </a:cubicBezTo>
                        <a:cubicBezTo>
                          <a:pt x="108895" y="102205"/>
                          <a:pt x="108929" y="106243"/>
                          <a:pt x="120650" y="123825"/>
                        </a:cubicBezTo>
                        <a:cubicBezTo>
                          <a:pt x="122767" y="127000"/>
                          <a:pt x="124069" y="130907"/>
                          <a:pt x="127000" y="133350"/>
                        </a:cubicBezTo>
                        <a:cubicBezTo>
                          <a:pt x="130636" y="136380"/>
                          <a:pt x="135350" y="137836"/>
                          <a:pt x="139700" y="139700"/>
                        </a:cubicBezTo>
                        <a:cubicBezTo>
                          <a:pt x="142776" y="141018"/>
                          <a:pt x="146000" y="141979"/>
                          <a:pt x="149225" y="142875"/>
                        </a:cubicBezTo>
                        <a:cubicBezTo>
                          <a:pt x="165055" y="147272"/>
                          <a:pt x="180975" y="151342"/>
                          <a:pt x="196850" y="155575"/>
                        </a:cubicBezTo>
                        <a:cubicBezTo>
                          <a:pt x="202382" y="166639"/>
                          <a:pt x="205496" y="171988"/>
                          <a:pt x="209550" y="184150"/>
                        </a:cubicBezTo>
                        <a:cubicBezTo>
                          <a:pt x="210930" y="188290"/>
                          <a:pt x="211006" y="192839"/>
                          <a:pt x="212725" y="196850"/>
                        </a:cubicBezTo>
                        <a:cubicBezTo>
                          <a:pt x="214228" y="200357"/>
                          <a:pt x="217182" y="203062"/>
                          <a:pt x="219075" y="206375"/>
                        </a:cubicBezTo>
                        <a:cubicBezTo>
                          <a:pt x="235188" y="234573"/>
                          <a:pt x="216304" y="205394"/>
                          <a:pt x="231775" y="228600"/>
                        </a:cubicBezTo>
                        <a:cubicBezTo>
                          <a:pt x="232233" y="230890"/>
                          <a:pt x="235336" y="249816"/>
                          <a:pt x="238125" y="254000"/>
                        </a:cubicBezTo>
                        <a:cubicBezTo>
                          <a:pt x="240616" y="257736"/>
                          <a:pt x="244475" y="260350"/>
                          <a:pt x="247650" y="263525"/>
                        </a:cubicBezTo>
                        <a:cubicBezTo>
                          <a:pt x="251056" y="273743"/>
                          <a:pt x="252275" y="279697"/>
                          <a:pt x="260350" y="288925"/>
                        </a:cubicBezTo>
                        <a:cubicBezTo>
                          <a:pt x="263835" y="292907"/>
                          <a:pt x="268456" y="295825"/>
                          <a:pt x="273050" y="298450"/>
                        </a:cubicBezTo>
                        <a:cubicBezTo>
                          <a:pt x="275956" y="300110"/>
                          <a:pt x="279400" y="300567"/>
                          <a:pt x="282575" y="301625"/>
                        </a:cubicBezTo>
                        <a:cubicBezTo>
                          <a:pt x="313316" y="324681"/>
                          <a:pt x="274208" y="297442"/>
                          <a:pt x="314325" y="317500"/>
                        </a:cubicBezTo>
                        <a:cubicBezTo>
                          <a:pt x="346707" y="333691"/>
                          <a:pt x="308540" y="322404"/>
                          <a:pt x="339725" y="330200"/>
                        </a:cubicBezTo>
                        <a:cubicBezTo>
                          <a:pt x="349854" y="336277"/>
                          <a:pt x="359482" y="341313"/>
                          <a:pt x="368300" y="349250"/>
                        </a:cubicBezTo>
                        <a:cubicBezTo>
                          <a:pt x="374975" y="355257"/>
                          <a:pt x="382369" y="360828"/>
                          <a:pt x="387350" y="368300"/>
                        </a:cubicBezTo>
                        <a:cubicBezTo>
                          <a:pt x="397307" y="383235"/>
                          <a:pt x="404612" y="396279"/>
                          <a:pt x="425450" y="403225"/>
                        </a:cubicBezTo>
                        <a:lnTo>
                          <a:pt x="434975" y="406400"/>
                        </a:lnTo>
                        <a:cubicBezTo>
                          <a:pt x="438150" y="410633"/>
                          <a:pt x="440758" y="415358"/>
                          <a:pt x="444500" y="419100"/>
                        </a:cubicBezTo>
                        <a:cubicBezTo>
                          <a:pt x="451100" y="425700"/>
                          <a:pt x="460239" y="423239"/>
                          <a:pt x="450850" y="434975"/>
                        </a:cubicBezTo>
                        <a:cubicBezTo>
                          <a:pt x="448466" y="437955"/>
                          <a:pt x="444500" y="439208"/>
                          <a:pt x="441325" y="441325"/>
                        </a:cubicBezTo>
                        <a:cubicBezTo>
                          <a:pt x="439208" y="446617"/>
                          <a:pt x="439005" y="453170"/>
                          <a:pt x="434975" y="457200"/>
                        </a:cubicBezTo>
                        <a:cubicBezTo>
                          <a:pt x="413677" y="478498"/>
                          <a:pt x="427290" y="435302"/>
                          <a:pt x="419100" y="476250"/>
                        </a:cubicBezTo>
                        <a:cubicBezTo>
                          <a:pt x="422275" y="486833"/>
                          <a:pt x="421628" y="499448"/>
                          <a:pt x="428625" y="508000"/>
                        </a:cubicBezTo>
                        <a:cubicBezTo>
                          <a:pt x="432702" y="512982"/>
                          <a:pt x="441362" y="509912"/>
                          <a:pt x="447675" y="511175"/>
                        </a:cubicBezTo>
                        <a:cubicBezTo>
                          <a:pt x="451954" y="512031"/>
                          <a:pt x="456142" y="513292"/>
                          <a:pt x="460375" y="514350"/>
                        </a:cubicBezTo>
                        <a:cubicBezTo>
                          <a:pt x="463550" y="516467"/>
                          <a:pt x="466393" y="519197"/>
                          <a:pt x="469900" y="520700"/>
                        </a:cubicBezTo>
                        <a:cubicBezTo>
                          <a:pt x="473911" y="522419"/>
                          <a:pt x="479514" y="520789"/>
                          <a:pt x="482600" y="523875"/>
                        </a:cubicBezTo>
                        <a:cubicBezTo>
                          <a:pt x="485686" y="526961"/>
                          <a:pt x="482935" y="533262"/>
                          <a:pt x="485775" y="536575"/>
                        </a:cubicBezTo>
                        <a:cubicBezTo>
                          <a:pt x="489791" y="541260"/>
                          <a:pt x="496255" y="543103"/>
                          <a:pt x="501650" y="546100"/>
                        </a:cubicBezTo>
                        <a:cubicBezTo>
                          <a:pt x="519806" y="556187"/>
                          <a:pt x="510374" y="548741"/>
                          <a:pt x="530225" y="561975"/>
                        </a:cubicBezTo>
                        <a:cubicBezTo>
                          <a:pt x="534628" y="564910"/>
                          <a:pt x="538012" y="569535"/>
                          <a:pt x="542925" y="571500"/>
                        </a:cubicBezTo>
                        <a:cubicBezTo>
                          <a:pt x="548902" y="573891"/>
                          <a:pt x="555730" y="573114"/>
                          <a:pt x="561975" y="574675"/>
                        </a:cubicBezTo>
                        <a:cubicBezTo>
                          <a:pt x="596249" y="583243"/>
                          <a:pt x="567448" y="577521"/>
                          <a:pt x="593725" y="587375"/>
                        </a:cubicBezTo>
                        <a:cubicBezTo>
                          <a:pt x="598849" y="589297"/>
                          <a:pt x="617989" y="592863"/>
                          <a:pt x="622300" y="593725"/>
                        </a:cubicBezTo>
                        <a:cubicBezTo>
                          <a:pt x="630767" y="599017"/>
                          <a:pt x="638770" y="605135"/>
                          <a:pt x="647700" y="609600"/>
                        </a:cubicBezTo>
                        <a:cubicBezTo>
                          <a:pt x="672432" y="621966"/>
                          <a:pt x="686465" y="614718"/>
                          <a:pt x="717550" y="612775"/>
                        </a:cubicBezTo>
                        <a:cubicBezTo>
                          <a:pt x="721783" y="610658"/>
                          <a:pt x="726903" y="609772"/>
                          <a:pt x="730250" y="606425"/>
                        </a:cubicBezTo>
                        <a:cubicBezTo>
                          <a:pt x="732617" y="604058"/>
                          <a:pt x="731058" y="599267"/>
                          <a:pt x="733425" y="596900"/>
                        </a:cubicBezTo>
                        <a:cubicBezTo>
                          <a:pt x="736772" y="593553"/>
                          <a:pt x="741892" y="592667"/>
                          <a:pt x="746125" y="590550"/>
                        </a:cubicBezTo>
                        <a:cubicBezTo>
                          <a:pt x="757767" y="573088"/>
                          <a:pt x="746125" y="587904"/>
                          <a:pt x="762000" y="574675"/>
                        </a:cubicBezTo>
                        <a:cubicBezTo>
                          <a:pt x="777855" y="561462"/>
                          <a:pt x="764311" y="567555"/>
                          <a:pt x="781050" y="561975"/>
                        </a:cubicBezTo>
                        <a:cubicBezTo>
                          <a:pt x="783167" y="558800"/>
                          <a:pt x="785693" y="555863"/>
                          <a:pt x="787400" y="552450"/>
                        </a:cubicBezTo>
                        <a:cubicBezTo>
                          <a:pt x="788897" y="549457"/>
                          <a:pt x="789257" y="546001"/>
                          <a:pt x="790575" y="542925"/>
                        </a:cubicBezTo>
                        <a:cubicBezTo>
                          <a:pt x="792439" y="538575"/>
                          <a:pt x="794808" y="534458"/>
                          <a:pt x="796925" y="530225"/>
                        </a:cubicBezTo>
                        <a:cubicBezTo>
                          <a:pt x="798650" y="521601"/>
                          <a:pt x="800366" y="503766"/>
                          <a:pt x="809625" y="498475"/>
                        </a:cubicBezTo>
                        <a:cubicBezTo>
                          <a:pt x="813414" y="496310"/>
                          <a:pt x="818092" y="500592"/>
                          <a:pt x="822325" y="501650"/>
                        </a:cubicBezTo>
                        <a:cubicBezTo>
                          <a:pt x="824442" y="505883"/>
                          <a:pt x="824889" y="511510"/>
                          <a:pt x="828675" y="514350"/>
                        </a:cubicBezTo>
                        <a:cubicBezTo>
                          <a:pt x="834030" y="518366"/>
                          <a:pt x="841985" y="517256"/>
                          <a:pt x="847725" y="520700"/>
                        </a:cubicBezTo>
                        <a:cubicBezTo>
                          <a:pt x="853017" y="523875"/>
                          <a:pt x="858080" y="527465"/>
                          <a:pt x="863600" y="530225"/>
                        </a:cubicBezTo>
                        <a:cubicBezTo>
                          <a:pt x="871416" y="534133"/>
                          <a:pt x="884858" y="535356"/>
                          <a:pt x="892175" y="536575"/>
                        </a:cubicBezTo>
                        <a:cubicBezTo>
                          <a:pt x="902758" y="534458"/>
                          <a:pt x="913454" y="532843"/>
                          <a:pt x="923925" y="530225"/>
                        </a:cubicBezTo>
                        <a:cubicBezTo>
                          <a:pt x="930419" y="528602"/>
                          <a:pt x="942975" y="523875"/>
                          <a:pt x="942975" y="523875"/>
                        </a:cubicBezTo>
                        <a:lnTo>
                          <a:pt x="955675" y="542925"/>
                        </a:lnTo>
                        <a:cubicBezTo>
                          <a:pt x="957792" y="546100"/>
                          <a:pt x="958612" y="550743"/>
                          <a:pt x="962025" y="552450"/>
                        </a:cubicBezTo>
                        <a:cubicBezTo>
                          <a:pt x="968375" y="555625"/>
                          <a:pt x="975168" y="558037"/>
                          <a:pt x="981075" y="561975"/>
                        </a:cubicBezTo>
                        <a:cubicBezTo>
                          <a:pt x="1004858" y="577830"/>
                          <a:pt x="977477" y="567126"/>
                          <a:pt x="1000125" y="574675"/>
                        </a:cubicBezTo>
                        <a:cubicBezTo>
                          <a:pt x="1008592" y="572558"/>
                          <a:pt x="1019938" y="575029"/>
                          <a:pt x="1025525" y="568325"/>
                        </a:cubicBezTo>
                        <a:cubicBezTo>
                          <a:pt x="1032434" y="560034"/>
                          <a:pt x="1027724" y="546538"/>
                          <a:pt x="1031875" y="536575"/>
                        </a:cubicBezTo>
                        <a:cubicBezTo>
                          <a:pt x="1033343" y="533053"/>
                          <a:pt x="1038225" y="532342"/>
                          <a:pt x="1041400" y="530225"/>
                        </a:cubicBezTo>
                        <a:cubicBezTo>
                          <a:pt x="1058049" y="488601"/>
                          <a:pt x="1037782" y="546693"/>
                          <a:pt x="1044575" y="488950"/>
                        </a:cubicBezTo>
                        <a:cubicBezTo>
                          <a:pt x="1045748" y="478979"/>
                          <a:pt x="1052131" y="470220"/>
                          <a:pt x="1054100" y="460375"/>
                        </a:cubicBezTo>
                        <a:cubicBezTo>
                          <a:pt x="1055158" y="455083"/>
                          <a:pt x="1054415" y="449076"/>
                          <a:pt x="1057275" y="444500"/>
                        </a:cubicBezTo>
                        <a:cubicBezTo>
                          <a:pt x="1060080" y="440013"/>
                          <a:pt x="1066233" y="438717"/>
                          <a:pt x="1069975" y="434975"/>
                        </a:cubicBezTo>
                        <a:cubicBezTo>
                          <a:pt x="1091142" y="413808"/>
                          <a:pt x="1060450" y="436033"/>
                          <a:pt x="1085850" y="419100"/>
                        </a:cubicBezTo>
                        <a:cubicBezTo>
                          <a:pt x="1086908" y="414867"/>
                          <a:pt x="1087306" y="410411"/>
                          <a:pt x="1089025" y="406400"/>
                        </a:cubicBezTo>
                        <a:cubicBezTo>
                          <a:pt x="1094408" y="393839"/>
                          <a:pt x="1100788" y="394637"/>
                          <a:pt x="1111250" y="384175"/>
                        </a:cubicBezTo>
                        <a:cubicBezTo>
                          <a:pt x="1115188" y="380237"/>
                          <a:pt x="1123519" y="367358"/>
                          <a:pt x="1127125" y="361950"/>
                        </a:cubicBezTo>
                        <a:cubicBezTo>
                          <a:pt x="1129242" y="349249"/>
                          <a:pt x="1129931" y="333744"/>
                          <a:pt x="1139825" y="323850"/>
                        </a:cubicBezTo>
                        <a:cubicBezTo>
                          <a:pt x="1143567" y="320108"/>
                          <a:pt x="1148292" y="317500"/>
                          <a:pt x="1152525" y="314325"/>
                        </a:cubicBezTo>
                        <a:cubicBezTo>
                          <a:pt x="1157817" y="315383"/>
                          <a:pt x="1163347" y="315605"/>
                          <a:pt x="1168400" y="317500"/>
                        </a:cubicBezTo>
                        <a:cubicBezTo>
                          <a:pt x="1171973" y="318840"/>
                          <a:pt x="1174512" y="322143"/>
                          <a:pt x="1177925" y="323850"/>
                        </a:cubicBezTo>
                        <a:cubicBezTo>
                          <a:pt x="1180918" y="325347"/>
                          <a:pt x="1184275" y="325967"/>
                          <a:pt x="1187450" y="327025"/>
                        </a:cubicBezTo>
                        <a:cubicBezTo>
                          <a:pt x="1201615" y="341190"/>
                          <a:pt x="1195595" y="338437"/>
                          <a:pt x="1222375" y="342900"/>
                        </a:cubicBezTo>
                        <a:lnTo>
                          <a:pt x="1260475" y="349250"/>
                        </a:lnTo>
                        <a:cubicBezTo>
                          <a:pt x="1263650" y="348192"/>
                          <a:pt x="1267633" y="348442"/>
                          <a:pt x="1270000" y="346075"/>
                        </a:cubicBezTo>
                        <a:cubicBezTo>
                          <a:pt x="1272367" y="343708"/>
                          <a:pt x="1273175" y="336550"/>
                          <a:pt x="1273175" y="336550"/>
                        </a:cubicBezTo>
                      </a:path>
                    </a:pathLst>
                  </a:custGeom>
                  <a:noFill/>
                  <a:ln w="28575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cs-CZ"/>
                  </a:p>
                </p:txBody>
              </p:sp>
              <p:sp>
                <p:nvSpPr>
                  <p:cNvPr id="6" name="Volný tvar: obrazec 5">
                    <a:extLst>
                      <a:ext uri="{FF2B5EF4-FFF2-40B4-BE49-F238E27FC236}">
                        <a16:creationId xmlns:a16="http://schemas.microsoft.com/office/drawing/2014/main" id="{7C46DC46-D453-D6CD-3014-395A02A83E25}"/>
                      </a:ext>
                    </a:extLst>
                  </p:cNvPr>
                  <p:cNvSpPr/>
                  <p:nvPr/>
                </p:nvSpPr>
                <p:spPr>
                  <a:xfrm>
                    <a:off x="6813550" y="4387850"/>
                    <a:ext cx="1012825" cy="123825"/>
                  </a:xfrm>
                  <a:custGeom>
                    <a:avLst/>
                    <a:gdLst>
                      <a:gd name="connsiteX0" fmla="*/ 0 w 1012825"/>
                      <a:gd name="connsiteY0" fmla="*/ 76200 h 123825"/>
                      <a:gd name="connsiteX1" fmla="*/ 57150 w 1012825"/>
                      <a:gd name="connsiteY1" fmla="*/ 73025 h 123825"/>
                      <a:gd name="connsiteX2" fmla="*/ 66675 w 1012825"/>
                      <a:gd name="connsiteY2" fmla="*/ 69850 h 123825"/>
                      <a:gd name="connsiteX3" fmla="*/ 101600 w 1012825"/>
                      <a:gd name="connsiteY3" fmla="*/ 79375 h 123825"/>
                      <a:gd name="connsiteX4" fmla="*/ 111125 w 1012825"/>
                      <a:gd name="connsiteY4" fmla="*/ 92075 h 123825"/>
                      <a:gd name="connsiteX5" fmla="*/ 146050 w 1012825"/>
                      <a:gd name="connsiteY5" fmla="*/ 104775 h 123825"/>
                      <a:gd name="connsiteX6" fmla="*/ 184150 w 1012825"/>
                      <a:gd name="connsiteY6" fmla="*/ 101600 h 123825"/>
                      <a:gd name="connsiteX7" fmla="*/ 203200 w 1012825"/>
                      <a:gd name="connsiteY7" fmla="*/ 79375 h 123825"/>
                      <a:gd name="connsiteX8" fmla="*/ 219075 w 1012825"/>
                      <a:gd name="connsiteY8" fmla="*/ 60325 h 123825"/>
                      <a:gd name="connsiteX9" fmla="*/ 222250 w 1012825"/>
                      <a:gd name="connsiteY9" fmla="*/ 50800 h 123825"/>
                      <a:gd name="connsiteX10" fmla="*/ 225425 w 1012825"/>
                      <a:gd name="connsiteY10" fmla="*/ 38100 h 123825"/>
                      <a:gd name="connsiteX11" fmla="*/ 238125 w 1012825"/>
                      <a:gd name="connsiteY11" fmla="*/ 34925 h 123825"/>
                      <a:gd name="connsiteX12" fmla="*/ 250825 w 1012825"/>
                      <a:gd name="connsiteY12" fmla="*/ 38100 h 123825"/>
                      <a:gd name="connsiteX13" fmla="*/ 266700 w 1012825"/>
                      <a:gd name="connsiteY13" fmla="*/ 69850 h 123825"/>
                      <a:gd name="connsiteX14" fmla="*/ 301625 w 1012825"/>
                      <a:gd name="connsiteY14" fmla="*/ 85725 h 123825"/>
                      <a:gd name="connsiteX15" fmla="*/ 365125 w 1012825"/>
                      <a:gd name="connsiteY15" fmla="*/ 79375 h 123825"/>
                      <a:gd name="connsiteX16" fmla="*/ 377825 w 1012825"/>
                      <a:gd name="connsiteY16" fmla="*/ 76200 h 123825"/>
                      <a:gd name="connsiteX17" fmla="*/ 384175 w 1012825"/>
                      <a:gd name="connsiteY17" fmla="*/ 66675 h 123825"/>
                      <a:gd name="connsiteX18" fmla="*/ 403225 w 1012825"/>
                      <a:gd name="connsiteY18" fmla="*/ 53975 h 123825"/>
                      <a:gd name="connsiteX19" fmla="*/ 425450 w 1012825"/>
                      <a:gd name="connsiteY19" fmla="*/ 41275 h 123825"/>
                      <a:gd name="connsiteX20" fmla="*/ 457200 w 1012825"/>
                      <a:gd name="connsiteY20" fmla="*/ 44450 h 123825"/>
                      <a:gd name="connsiteX21" fmla="*/ 476250 w 1012825"/>
                      <a:gd name="connsiteY21" fmla="*/ 73025 h 123825"/>
                      <a:gd name="connsiteX22" fmla="*/ 485775 w 1012825"/>
                      <a:gd name="connsiteY22" fmla="*/ 79375 h 123825"/>
                      <a:gd name="connsiteX23" fmla="*/ 508000 w 1012825"/>
                      <a:gd name="connsiteY23" fmla="*/ 85725 h 123825"/>
                      <a:gd name="connsiteX24" fmla="*/ 533400 w 1012825"/>
                      <a:gd name="connsiteY24" fmla="*/ 82550 h 123825"/>
                      <a:gd name="connsiteX25" fmla="*/ 542925 w 1012825"/>
                      <a:gd name="connsiteY25" fmla="*/ 79375 h 123825"/>
                      <a:gd name="connsiteX26" fmla="*/ 561975 w 1012825"/>
                      <a:gd name="connsiteY26" fmla="*/ 76200 h 123825"/>
                      <a:gd name="connsiteX27" fmla="*/ 574675 w 1012825"/>
                      <a:gd name="connsiteY27" fmla="*/ 69850 h 123825"/>
                      <a:gd name="connsiteX28" fmla="*/ 609600 w 1012825"/>
                      <a:gd name="connsiteY28" fmla="*/ 82550 h 123825"/>
                      <a:gd name="connsiteX29" fmla="*/ 641350 w 1012825"/>
                      <a:gd name="connsiteY29" fmla="*/ 88900 h 123825"/>
                      <a:gd name="connsiteX30" fmla="*/ 654050 w 1012825"/>
                      <a:gd name="connsiteY30" fmla="*/ 95250 h 123825"/>
                      <a:gd name="connsiteX31" fmla="*/ 698500 w 1012825"/>
                      <a:gd name="connsiteY31" fmla="*/ 95250 h 123825"/>
                      <a:gd name="connsiteX32" fmla="*/ 708025 w 1012825"/>
                      <a:gd name="connsiteY32" fmla="*/ 92075 h 123825"/>
                      <a:gd name="connsiteX33" fmla="*/ 723900 w 1012825"/>
                      <a:gd name="connsiteY33" fmla="*/ 114300 h 123825"/>
                      <a:gd name="connsiteX34" fmla="*/ 736600 w 1012825"/>
                      <a:gd name="connsiteY34" fmla="*/ 123825 h 123825"/>
                      <a:gd name="connsiteX35" fmla="*/ 787400 w 1012825"/>
                      <a:gd name="connsiteY35" fmla="*/ 117475 h 123825"/>
                      <a:gd name="connsiteX36" fmla="*/ 793750 w 1012825"/>
                      <a:gd name="connsiteY36" fmla="*/ 107950 h 123825"/>
                      <a:gd name="connsiteX37" fmla="*/ 803275 w 1012825"/>
                      <a:gd name="connsiteY37" fmla="*/ 101600 h 123825"/>
                      <a:gd name="connsiteX38" fmla="*/ 812800 w 1012825"/>
                      <a:gd name="connsiteY38" fmla="*/ 92075 h 123825"/>
                      <a:gd name="connsiteX39" fmla="*/ 838200 w 1012825"/>
                      <a:gd name="connsiteY39" fmla="*/ 76200 h 123825"/>
                      <a:gd name="connsiteX40" fmla="*/ 841375 w 1012825"/>
                      <a:gd name="connsiteY40" fmla="*/ 66675 h 123825"/>
                      <a:gd name="connsiteX41" fmla="*/ 854075 w 1012825"/>
                      <a:gd name="connsiteY41" fmla="*/ 41275 h 123825"/>
                      <a:gd name="connsiteX42" fmla="*/ 860425 w 1012825"/>
                      <a:gd name="connsiteY42" fmla="*/ 22225 h 123825"/>
                      <a:gd name="connsiteX43" fmla="*/ 863600 w 1012825"/>
                      <a:gd name="connsiteY43" fmla="*/ 12700 h 123825"/>
                      <a:gd name="connsiteX44" fmla="*/ 882650 w 1012825"/>
                      <a:gd name="connsiteY44" fmla="*/ 0 h 123825"/>
                      <a:gd name="connsiteX45" fmla="*/ 917575 w 1012825"/>
                      <a:gd name="connsiteY45" fmla="*/ 19050 h 123825"/>
                      <a:gd name="connsiteX46" fmla="*/ 933450 w 1012825"/>
                      <a:gd name="connsiteY46" fmla="*/ 25400 h 123825"/>
                      <a:gd name="connsiteX47" fmla="*/ 952500 w 1012825"/>
                      <a:gd name="connsiteY47" fmla="*/ 38100 h 123825"/>
                      <a:gd name="connsiteX48" fmla="*/ 977900 w 1012825"/>
                      <a:gd name="connsiteY48" fmla="*/ 47625 h 123825"/>
                      <a:gd name="connsiteX49" fmla="*/ 987425 w 1012825"/>
                      <a:gd name="connsiteY49" fmla="*/ 79375 h 123825"/>
                      <a:gd name="connsiteX50" fmla="*/ 990600 w 1012825"/>
                      <a:gd name="connsiteY50" fmla="*/ 88900 h 123825"/>
                      <a:gd name="connsiteX51" fmla="*/ 1009650 w 1012825"/>
                      <a:gd name="connsiteY51" fmla="*/ 98425 h 123825"/>
                      <a:gd name="connsiteX52" fmla="*/ 1012825 w 1012825"/>
                      <a:gd name="connsiteY52" fmla="*/ 101600 h 1238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</a:cxnLst>
                    <a:rect l="l" t="t" r="r" b="b"/>
                    <a:pathLst>
                      <a:path w="1012825" h="123825">
                        <a:moveTo>
                          <a:pt x="0" y="76200"/>
                        </a:moveTo>
                        <a:cubicBezTo>
                          <a:pt x="19050" y="75142"/>
                          <a:pt x="38157" y="74834"/>
                          <a:pt x="57150" y="73025"/>
                        </a:cubicBezTo>
                        <a:cubicBezTo>
                          <a:pt x="60482" y="72708"/>
                          <a:pt x="63362" y="69377"/>
                          <a:pt x="66675" y="69850"/>
                        </a:cubicBezTo>
                        <a:cubicBezTo>
                          <a:pt x="78621" y="71557"/>
                          <a:pt x="89958" y="76200"/>
                          <a:pt x="101600" y="79375"/>
                        </a:cubicBezTo>
                        <a:cubicBezTo>
                          <a:pt x="104775" y="83608"/>
                          <a:pt x="107143" y="88590"/>
                          <a:pt x="111125" y="92075"/>
                        </a:cubicBezTo>
                        <a:cubicBezTo>
                          <a:pt x="124214" y="103528"/>
                          <a:pt x="129578" y="102030"/>
                          <a:pt x="146050" y="104775"/>
                        </a:cubicBezTo>
                        <a:cubicBezTo>
                          <a:pt x="158750" y="103717"/>
                          <a:pt x="171653" y="104099"/>
                          <a:pt x="184150" y="101600"/>
                        </a:cubicBezTo>
                        <a:cubicBezTo>
                          <a:pt x="194261" y="99578"/>
                          <a:pt x="199067" y="85987"/>
                          <a:pt x="203200" y="79375"/>
                        </a:cubicBezTo>
                        <a:cubicBezTo>
                          <a:pt x="210567" y="67587"/>
                          <a:pt x="208586" y="70814"/>
                          <a:pt x="219075" y="60325"/>
                        </a:cubicBezTo>
                        <a:cubicBezTo>
                          <a:pt x="220133" y="57150"/>
                          <a:pt x="221331" y="54018"/>
                          <a:pt x="222250" y="50800"/>
                        </a:cubicBezTo>
                        <a:cubicBezTo>
                          <a:pt x="223449" y="46604"/>
                          <a:pt x="222339" y="41186"/>
                          <a:pt x="225425" y="38100"/>
                        </a:cubicBezTo>
                        <a:cubicBezTo>
                          <a:pt x="228511" y="35014"/>
                          <a:pt x="233892" y="35983"/>
                          <a:pt x="238125" y="34925"/>
                        </a:cubicBezTo>
                        <a:cubicBezTo>
                          <a:pt x="242358" y="35983"/>
                          <a:pt x="247739" y="35014"/>
                          <a:pt x="250825" y="38100"/>
                        </a:cubicBezTo>
                        <a:cubicBezTo>
                          <a:pt x="266027" y="53302"/>
                          <a:pt x="233782" y="55742"/>
                          <a:pt x="266700" y="69850"/>
                        </a:cubicBezTo>
                        <a:cubicBezTo>
                          <a:pt x="293275" y="81239"/>
                          <a:pt x="281716" y="75770"/>
                          <a:pt x="301625" y="85725"/>
                        </a:cubicBezTo>
                        <a:cubicBezTo>
                          <a:pt x="312805" y="84709"/>
                          <a:pt x="352223" y="81360"/>
                          <a:pt x="365125" y="79375"/>
                        </a:cubicBezTo>
                        <a:cubicBezTo>
                          <a:pt x="369438" y="78711"/>
                          <a:pt x="373592" y="77258"/>
                          <a:pt x="377825" y="76200"/>
                        </a:cubicBezTo>
                        <a:cubicBezTo>
                          <a:pt x="379942" y="73025"/>
                          <a:pt x="381303" y="69188"/>
                          <a:pt x="384175" y="66675"/>
                        </a:cubicBezTo>
                        <a:cubicBezTo>
                          <a:pt x="389918" y="61649"/>
                          <a:pt x="396875" y="58208"/>
                          <a:pt x="403225" y="53975"/>
                        </a:cubicBezTo>
                        <a:cubicBezTo>
                          <a:pt x="416688" y="45000"/>
                          <a:pt x="409337" y="49332"/>
                          <a:pt x="425450" y="41275"/>
                        </a:cubicBezTo>
                        <a:cubicBezTo>
                          <a:pt x="436033" y="42333"/>
                          <a:pt x="447687" y="39693"/>
                          <a:pt x="457200" y="44450"/>
                        </a:cubicBezTo>
                        <a:cubicBezTo>
                          <a:pt x="488950" y="60325"/>
                          <a:pt x="457200" y="60325"/>
                          <a:pt x="476250" y="73025"/>
                        </a:cubicBezTo>
                        <a:cubicBezTo>
                          <a:pt x="479425" y="75142"/>
                          <a:pt x="482362" y="77668"/>
                          <a:pt x="485775" y="79375"/>
                        </a:cubicBezTo>
                        <a:cubicBezTo>
                          <a:pt x="490330" y="81652"/>
                          <a:pt x="503931" y="84708"/>
                          <a:pt x="508000" y="85725"/>
                        </a:cubicBezTo>
                        <a:cubicBezTo>
                          <a:pt x="516467" y="84667"/>
                          <a:pt x="525005" y="84076"/>
                          <a:pt x="533400" y="82550"/>
                        </a:cubicBezTo>
                        <a:cubicBezTo>
                          <a:pt x="536693" y="81951"/>
                          <a:pt x="539658" y="80101"/>
                          <a:pt x="542925" y="79375"/>
                        </a:cubicBezTo>
                        <a:cubicBezTo>
                          <a:pt x="549209" y="77978"/>
                          <a:pt x="555625" y="77258"/>
                          <a:pt x="561975" y="76200"/>
                        </a:cubicBezTo>
                        <a:cubicBezTo>
                          <a:pt x="566208" y="74083"/>
                          <a:pt x="569942" y="69850"/>
                          <a:pt x="574675" y="69850"/>
                        </a:cubicBezTo>
                        <a:cubicBezTo>
                          <a:pt x="624923" y="69850"/>
                          <a:pt x="583568" y="74540"/>
                          <a:pt x="609600" y="82550"/>
                        </a:cubicBezTo>
                        <a:cubicBezTo>
                          <a:pt x="619916" y="85724"/>
                          <a:pt x="641350" y="88900"/>
                          <a:pt x="641350" y="88900"/>
                        </a:cubicBezTo>
                        <a:cubicBezTo>
                          <a:pt x="645583" y="91017"/>
                          <a:pt x="649517" y="93890"/>
                          <a:pt x="654050" y="95250"/>
                        </a:cubicBezTo>
                        <a:cubicBezTo>
                          <a:pt x="672900" y="100905"/>
                          <a:pt x="678133" y="97796"/>
                          <a:pt x="698500" y="95250"/>
                        </a:cubicBezTo>
                        <a:cubicBezTo>
                          <a:pt x="701675" y="94192"/>
                          <a:pt x="704850" y="91017"/>
                          <a:pt x="708025" y="92075"/>
                        </a:cubicBezTo>
                        <a:cubicBezTo>
                          <a:pt x="718528" y="95576"/>
                          <a:pt x="718038" y="107461"/>
                          <a:pt x="723900" y="114300"/>
                        </a:cubicBezTo>
                        <a:cubicBezTo>
                          <a:pt x="727344" y="118318"/>
                          <a:pt x="732367" y="120650"/>
                          <a:pt x="736600" y="123825"/>
                        </a:cubicBezTo>
                        <a:cubicBezTo>
                          <a:pt x="753533" y="121708"/>
                          <a:pt x="770957" y="122042"/>
                          <a:pt x="787400" y="117475"/>
                        </a:cubicBezTo>
                        <a:cubicBezTo>
                          <a:pt x="791077" y="116454"/>
                          <a:pt x="791052" y="110648"/>
                          <a:pt x="793750" y="107950"/>
                        </a:cubicBezTo>
                        <a:cubicBezTo>
                          <a:pt x="796448" y="105252"/>
                          <a:pt x="800344" y="104043"/>
                          <a:pt x="803275" y="101600"/>
                        </a:cubicBezTo>
                        <a:cubicBezTo>
                          <a:pt x="806724" y="98725"/>
                          <a:pt x="809169" y="94716"/>
                          <a:pt x="812800" y="92075"/>
                        </a:cubicBezTo>
                        <a:cubicBezTo>
                          <a:pt x="820875" y="86203"/>
                          <a:pt x="838200" y="76200"/>
                          <a:pt x="838200" y="76200"/>
                        </a:cubicBezTo>
                        <a:cubicBezTo>
                          <a:pt x="839258" y="73025"/>
                          <a:pt x="839990" y="69722"/>
                          <a:pt x="841375" y="66675"/>
                        </a:cubicBezTo>
                        <a:cubicBezTo>
                          <a:pt x="845292" y="58057"/>
                          <a:pt x="851082" y="50255"/>
                          <a:pt x="854075" y="41275"/>
                        </a:cubicBezTo>
                        <a:lnTo>
                          <a:pt x="860425" y="22225"/>
                        </a:lnTo>
                        <a:cubicBezTo>
                          <a:pt x="861483" y="19050"/>
                          <a:pt x="860815" y="14556"/>
                          <a:pt x="863600" y="12700"/>
                        </a:cubicBezTo>
                        <a:lnTo>
                          <a:pt x="882650" y="0"/>
                        </a:lnTo>
                        <a:cubicBezTo>
                          <a:pt x="931068" y="13834"/>
                          <a:pt x="883547" y="-3635"/>
                          <a:pt x="917575" y="19050"/>
                        </a:cubicBezTo>
                        <a:cubicBezTo>
                          <a:pt x="922317" y="22211"/>
                          <a:pt x="928447" y="22671"/>
                          <a:pt x="933450" y="25400"/>
                        </a:cubicBezTo>
                        <a:cubicBezTo>
                          <a:pt x="940150" y="29054"/>
                          <a:pt x="945096" y="36249"/>
                          <a:pt x="952500" y="38100"/>
                        </a:cubicBezTo>
                        <a:cubicBezTo>
                          <a:pt x="969792" y="42423"/>
                          <a:pt x="961297" y="39324"/>
                          <a:pt x="977900" y="47625"/>
                        </a:cubicBezTo>
                        <a:cubicBezTo>
                          <a:pt x="982994" y="78191"/>
                          <a:pt x="977357" y="55883"/>
                          <a:pt x="987425" y="79375"/>
                        </a:cubicBezTo>
                        <a:cubicBezTo>
                          <a:pt x="988743" y="82451"/>
                          <a:pt x="988509" y="86287"/>
                          <a:pt x="990600" y="88900"/>
                        </a:cubicBezTo>
                        <a:cubicBezTo>
                          <a:pt x="996666" y="96483"/>
                          <a:pt x="1001981" y="94590"/>
                          <a:pt x="1009650" y="98425"/>
                        </a:cubicBezTo>
                        <a:cubicBezTo>
                          <a:pt x="1010989" y="99094"/>
                          <a:pt x="1011767" y="100542"/>
                          <a:pt x="1012825" y="101600"/>
                        </a:cubicBezTo>
                      </a:path>
                    </a:pathLst>
                  </a:custGeom>
                  <a:noFill/>
                  <a:ln w="28575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cs-CZ"/>
                  </a:p>
                </p:txBody>
              </p:sp>
              <p:sp>
                <p:nvSpPr>
                  <p:cNvPr id="8" name="Volný tvar: obrazec 7">
                    <a:extLst>
                      <a:ext uri="{FF2B5EF4-FFF2-40B4-BE49-F238E27FC236}">
                        <a16:creationId xmlns:a16="http://schemas.microsoft.com/office/drawing/2014/main" id="{003C8119-D9E1-EDBB-858A-CB2955A30B31}"/>
                      </a:ext>
                    </a:extLst>
                  </p:cNvPr>
                  <p:cNvSpPr/>
                  <p:nvPr/>
                </p:nvSpPr>
                <p:spPr>
                  <a:xfrm>
                    <a:off x="7794625" y="4492625"/>
                    <a:ext cx="561975" cy="581025"/>
                  </a:xfrm>
                  <a:custGeom>
                    <a:avLst/>
                    <a:gdLst>
                      <a:gd name="connsiteX0" fmla="*/ 28575 w 561975"/>
                      <a:gd name="connsiteY0" fmla="*/ 0 h 581025"/>
                      <a:gd name="connsiteX1" fmla="*/ 19050 w 561975"/>
                      <a:gd name="connsiteY1" fmla="*/ 15875 h 581025"/>
                      <a:gd name="connsiteX2" fmla="*/ 25400 w 561975"/>
                      <a:gd name="connsiteY2" fmla="*/ 76200 h 581025"/>
                      <a:gd name="connsiteX3" fmla="*/ 22225 w 561975"/>
                      <a:gd name="connsiteY3" fmla="*/ 111125 h 581025"/>
                      <a:gd name="connsiteX4" fmla="*/ 12700 w 561975"/>
                      <a:gd name="connsiteY4" fmla="*/ 133350 h 581025"/>
                      <a:gd name="connsiteX5" fmla="*/ 9525 w 561975"/>
                      <a:gd name="connsiteY5" fmla="*/ 142875 h 581025"/>
                      <a:gd name="connsiteX6" fmla="*/ 6350 w 561975"/>
                      <a:gd name="connsiteY6" fmla="*/ 177800 h 581025"/>
                      <a:gd name="connsiteX7" fmla="*/ 0 w 561975"/>
                      <a:gd name="connsiteY7" fmla="*/ 196850 h 581025"/>
                      <a:gd name="connsiteX8" fmla="*/ 6350 w 561975"/>
                      <a:gd name="connsiteY8" fmla="*/ 222250 h 581025"/>
                      <a:gd name="connsiteX9" fmla="*/ 22225 w 561975"/>
                      <a:gd name="connsiteY9" fmla="*/ 228600 h 581025"/>
                      <a:gd name="connsiteX10" fmla="*/ 19050 w 561975"/>
                      <a:gd name="connsiteY10" fmla="*/ 244475 h 581025"/>
                      <a:gd name="connsiteX11" fmla="*/ 15875 w 561975"/>
                      <a:gd name="connsiteY11" fmla="*/ 273050 h 581025"/>
                      <a:gd name="connsiteX12" fmla="*/ 19050 w 561975"/>
                      <a:gd name="connsiteY12" fmla="*/ 304800 h 581025"/>
                      <a:gd name="connsiteX13" fmla="*/ 47625 w 561975"/>
                      <a:gd name="connsiteY13" fmla="*/ 314325 h 581025"/>
                      <a:gd name="connsiteX14" fmla="*/ 60325 w 561975"/>
                      <a:gd name="connsiteY14" fmla="*/ 333375 h 581025"/>
                      <a:gd name="connsiteX15" fmla="*/ 69850 w 561975"/>
                      <a:gd name="connsiteY15" fmla="*/ 346075 h 581025"/>
                      <a:gd name="connsiteX16" fmla="*/ 82550 w 561975"/>
                      <a:gd name="connsiteY16" fmla="*/ 349250 h 581025"/>
                      <a:gd name="connsiteX17" fmla="*/ 101600 w 561975"/>
                      <a:gd name="connsiteY17" fmla="*/ 346075 h 581025"/>
                      <a:gd name="connsiteX18" fmla="*/ 111125 w 561975"/>
                      <a:gd name="connsiteY18" fmla="*/ 339725 h 581025"/>
                      <a:gd name="connsiteX19" fmla="*/ 133350 w 561975"/>
                      <a:gd name="connsiteY19" fmla="*/ 346075 h 581025"/>
                      <a:gd name="connsiteX20" fmla="*/ 146050 w 561975"/>
                      <a:gd name="connsiteY20" fmla="*/ 355600 h 581025"/>
                      <a:gd name="connsiteX21" fmla="*/ 158750 w 561975"/>
                      <a:gd name="connsiteY21" fmla="*/ 361950 h 581025"/>
                      <a:gd name="connsiteX22" fmla="*/ 168275 w 561975"/>
                      <a:gd name="connsiteY22" fmla="*/ 374650 h 581025"/>
                      <a:gd name="connsiteX23" fmla="*/ 171450 w 561975"/>
                      <a:gd name="connsiteY23" fmla="*/ 384175 h 581025"/>
                      <a:gd name="connsiteX24" fmla="*/ 168275 w 561975"/>
                      <a:gd name="connsiteY24" fmla="*/ 393700 h 581025"/>
                      <a:gd name="connsiteX25" fmla="*/ 177800 w 561975"/>
                      <a:gd name="connsiteY25" fmla="*/ 396875 h 581025"/>
                      <a:gd name="connsiteX26" fmla="*/ 196850 w 561975"/>
                      <a:gd name="connsiteY26" fmla="*/ 400050 h 581025"/>
                      <a:gd name="connsiteX27" fmla="*/ 203200 w 561975"/>
                      <a:gd name="connsiteY27" fmla="*/ 422275 h 581025"/>
                      <a:gd name="connsiteX28" fmla="*/ 225425 w 561975"/>
                      <a:gd name="connsiteY28" fmla="*/ 441325 h 581025"/>
                      <a:gd name="connsiteX29" fmla="*/ 247650 w 561975"/>
                      <a:gd name="connsiteY29" fmla="*/ 428625 h 581025"/>
                      <a:gd name="connsiteX30" fmla="*/ 301625 w 561975"/>
                      <a:gd name="connsiteY30" fmla="*/ 434975 h 581025"/>
                      <a:gd name="connsiteX31" fmla="*/ 307975 w 561975"/>
                      <a:gd name="connsiteY31" fmla="*/ 444500 h 581025"/>
                      <a:gd name="connsiteX32" fmla="*/ 365125 w 561975"/>
                      <a:gd name="connsiteY32" fmla="*/ 444500 h 581025"/>
                      <a:gd name="connsiteX33" fmla="*/ 371475 w 561975"/>
                      <a:gd name="connsiteY33" fmla="*/ 454025 h 581025"/>
                      <a:gd name="connsiteX34" fmla="*/ 381000 w 561975"/>
                      <a:gd name="connsiteY34" fmla="*/ 482600 h 581025"/>
                      <a:gd name="connsiteX35" fmla="*/ 393700 w 561975"/>
                      <a:gd name="connsiteY35" fmla="*/ 536575 h 581025"/>
                      <a:gd name="connsiteX36" fmla="*/ 409575 w 561975"/>
                      <a:gd name="connsiteY36" fmla="*/ 542925 h 581025"/>
                      <a:gd name="connsiteX37" fmla="*/ 419100 w 561975"/>
                      <a:gd name="connsiteY37" fmla="*/ 555625 h 581025"/>
                      <a:gd name="connsiteX38" fmla="*/ 434975 w 561975"/>
                      <a:gd name="connsiteY38" fmla="*/ 558800 h 581025"/>
                      <a:gd name="connsiteX39" fmla="*/ 444500 w 561975"/>
                      <a:gd name="connsiteY39" fmla="*/ 561975 h 581025"/>
                      <a:gd name="connsiteX40" fmla="*/ 454025 w 561975"/>
                      <a:gd name="connsiteY40" fmla="*/ 568325 h 581025"/>
                      <a:gd name="connsiteX41" fmla="*/ 485775 w 561975"/>
                      <a:gd name="connsiteY41" fmla="*/ 577850 h 581025"/>
                      <a:gd name="connsiteX42" fmla="*/ 495300 w 561975"/>
                      <a:gd name="connsiteY42" fmla="*/ 581025 h 581025"/>
                      <a:gd name="connsiteX43" fmla="*/ 533400 w 561975"/>
                      <a:gd name="connsiteY43" fmla="*/ 577850 h 581025"/>
                      <a:gd name="connsiteX44" fmla="*/ 542925 w 561975"/>
                      <a:gd name="connsiteY44" fmla="*/ 571500 h 581025"/>
                      <a:gd name="connsiteX45" fmla="*/ 561975 w 561975"/>
                      <a:gd name="connsiteY45" fmla="*/ 568325 h 5810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</a:cxnLst>
                    <a:rect l="l" t="t" r="r" b="b"/>
                    <a:pathLst>
                      <a:path w="561975" h="581025">
                        <a:moveTo>
                          <a:pt x="28575" y="0"/>
                        </a:moveTo>
                        <a:cubicBezTo>
                          <a:pt x="25400" y="5292"/>
                          <a:pt x="19815" y="9752"/>
                          <a:pt x="19050" y="15875"/>
                        </a:cubicBezTo>
                        <a:cubicBezTo>
                          <a:pt x="18310" y="21796"/>
                          <a:pt x="24197" y="66574"/>
                          <a:pt x="25400" y="76200"/>
                        </a:cubicBezTo>
                        <a:cubicBezTo>
                          <a:pt x="24342" y="87842"/>
                          <a:pt x="23878" y="99553"/>
                          <a:pt x="22225" y="111125"/>
                        </a:cubicBezTo>
                        <a:cubicBezTo>
                          <a:pt x="21161" y="118571"/>
                          <a:pt x="15444" y="126947"/>
                          <a:pt x="12700" y="133350"/>
                        </a:cubicBezTo>
                        <a:cubicBezTo>
                          <a:pt x="11382" y="136426"/>
                          <a:pt x="10583" y="139700"/>
                          <a:pt x="9525" y="142875"/>
                        </a:cubicBezTo>
                        <a:cubicBezTo>
                          <a:pt x="8467" y="154517"/>
                          <a:pt x="8381" y="166288"/>
                          <a:pt x="6350" y="177800"/>
                        </a:cubicBezTo>
                        <a:cubicBezTo>
                          <a:pt x="5187" y="184392"/>
                          <a:pt x="0" y="196850"/>
                          <a:pt x="0" y="196850"/>
                        </a:cubicBezTo>
                        <a:cubicBezTo>
                          <a:pt x="2117" y="205317"/>
                          <a:pt x="1345" y="215100"/>
                          <a:pt x="6350" y="222250"/>
                        </a:cubicBezTo>
                        <a:cubicBezTo>
                          <a:pt x="9618" y="226919"/>
                          <a:pt x="19397" y="223652"/>
                          <a:pt x="22225" y="228600"/>
                        </a:cubicBezTo>
                        <a:cubicBezTo>
                          <a:pt x="24902" y="233285"/>
                          <a:pt x="19813" y="239133"/>
                          <a:pt x="19050" y="244475"/>
                        </a:cubicBezTo>
                        <a:cubicBezTo>
                          <a:pt x="17695" y="253962"/>
                          <a:pt x="16933" y="263525"/>
                          <a:pt x="15875" y="273050"/>
                        </a:cubicBezTo>
                        <a:cubicBezTo>
                          <a:pt x="16933" y="283633"/>
                          <a:pt x="12565" y="296370"/>
                          <a:pt x="19050" y="304800"/>
                        </a:cubicBezTo>
                        <a:cubicBezTo>
                          <a:pt x="25172" y="312758"/>
                          <a:pt x="47625" y="314325"/>
                          <a:pt x="47625" y="314325"/>
                        </a:cubicBezTo>
                        <a:cubicBezTo>
                          <a:pt x="53026" y="330527"/>
                          <a:pt x="47352" y="318240"/>
                          <a:pt x="60325" y="333375"/>
                        </a:cubicBezTo>
                        <a:cubicBezTo>
                          <a:pt x="63769" y="337393"/>
                          <a:pt x="65544" y="342999"/>
                          <a:pt x="69850" y="346075"/>
                        </a:cubicBezTo>
                        <a:cubicBezTo>
                          <a:pt x="73401" y="348611"/>
                          <a:pt x="78317" y="348192"/>
                          <a:pt x="82550" y="349250"/>
                        </a:cubicBezTo>
                        <a:cubicBezTo>
                          <a:pt x="88900" y="348192"/>
                          <a:pt x="95493" y="348111"/>
                          <a:pt x="101600" y="346075"/>
                        </a:cubicBezTo>
                        <a:cubicBezTo>
                          <a:pt x="105220" y="344868"/>
                          <a:pt x="107347" y="340265"/>
                          <a:pt x="111125" y="339725"/>
                        </a:cubicBezTo>
                        <a:cubicBezTo>
                          <a:pt x="113916" y="339326"/>
                          <a:pt x="129776" y="344884"/>
                          <a:pt x="133350" y="346075"/>
                        </a:cubicBezTo>
                        <a:cubicBezTo>
                          <a:pt x="137583" y="349250"/>
                          <a:pt x="141563" y="352795"/>
                          <a:pt x="146050" y="355600"/>
                        </a:cubicBezTo>
                        <a:cubicBezTo>
                          <a:pt x="150064" y="358108"/>
                          <a:pt x="155156" y="358870"/>
                          <a:pt x="158750" y="361950"/>
                        </a:cubicBezTo>
                        <a:cubicBezTo>
                          <a:pt x="162768" y="365394"/>
                          <a:pt x="165100" y="370417"/>
                          <a:pt x="168275" y="374650"/>
                        </a:cubicBezTo>
                        <a:cubicBezTo>
                          <a:pt x="169333" y="377825"/>
                          <a:pt x="171450" y="380828"/>
                          <a:pt x="171450" y="384175"/>
                        </a:cubicBezTo>
                        <a:cubicBezTo>
                          <a:pt x="171450" y="387522"/>
                          <a:pt x="166778" y="390707"/>
                          <a:pt x="168275" y="393700"/>
                        </a:cubicBezTo>
                        <a:cubicBezTo>
                          <a:pt x="169772" y="396693"/>
                          <a:pt x="174533" y="396149"/>
                          <a:pt x="177800" y="396875"/>
                        </a:cubicBezTo>
                        <a:cubicBezTo>
                          <a:pt x="184084" y="398272"/>
                          <a:pt x="190500" y="398992"/>
                          <a:pt x="196850" y="400050"/>
                        </a:cubicBezTo>
                        <a:cubicBezTo>
                          <a:pt x="197273" y="401744"/>
                          <a:pt x="201378" y="419542"/>
                          <a:pt x="203200" y="422275"/>
                        </a:cubicBezTo>
                        <a:cubicBezTo>
                          <a:pt x="207622" y="428908"/>
                          <a:pt x="219556" y="436923"/>
                          <a:pt x="225425" y="441325"/>
                        </a:cubicBezTo>
                        <a:cubicBezTo>
                          <a:pt x="230581" y="437458"/>
                          <a:pt x="239569" y="428625"/>
                          <a:pt x="247650" y="428625"/>
                        </a:cubicBezTo>
                        <a:cubicBezTo>
                          <a:pt x="266439" y="428625"/>
                          <a:pt x="283461" y="431948"/>
                          <a:pt x="301625" y="434975"/>
                        </a:cubicBezTo>
                        <a:cubicBezTo>
                          <a:pt x="303742" y="438150"/>
                          <a:pt x="305277" y="441802"/>
                          <a:pt x="307975" y="444500"/>
                        </a:cubicBezTo>
                        <a:cubicBezTo>
                          <a:pt x="324105" y="460630"/>
                          <a:pt x="341925" y="447593"/>
                          <a:pt x="365125" y="444500"/>
                        </a:cubicBezTo>
                        <a:cubicBezTo>
                          <a:pt x="367242" y="447675"/>
                          <a:pt x="369768" y="450612"/>
                          <a:pt x="371475" y="454025"/>
                        </a:cubicBezTo>
                        <a:cubicBezTo>
                          <a:pt x="377453" y="465981"/>
                          <a:pt x="377968" y="470473"/>
                          <a:pt x="381000" y="482600"/>
                        </a:cubicBezTo>
                        <a:cubicBezTo>
                          <a:pt x="384730" y="542282"/>
                          <a:pt x="368011" y="526942"/>
                          <a:pt x="393700" y="536575"/>
                        </a:cubicBezTo>
                        <a:cubicBezTo>
                          <a:pt x="399036" y="538576"/>
                          <a:pt x="404283" y="540808"/>
                          <a:pt x="409575" y="542925"/>
                        </a:cubicBezTo>
                        <a:cubicBezTo>
                          <a:pt x="412750" y="547158"/>
                          <a:pt x="414613" y="552820"/>
                          <a:pt x="419100" y="555625"/>
                        </a:cubicBezTo>
                        <a:cubicBezTo>
                          <a:pt x="423676" y="558485"/>
                          <a:pt x="429740" y="557491"/>
                          <a:pt x="434975" y="558800"/>
                        </a:cubicBezTo>
                        <a:cubicBezTo>
                          <a:pt x="438222" y="559612"/>
                          <a:pt x="441507" y="560478"/>
                          <a:pt x="444500" y="561975"/>
                        </a:cubicBezTo>
                        <a:cubicBezTo>
                          <a:pt x="447913" y="563682"/>
                          <a:pt x="450538" y="566775"/>
                          <a:pt x="454025" y="568325"/>
                        </a:cubicBezTo>
                        <a:cubicBezTo>
                          <a:pt x="467606" y="574361"/>
                          <a:pt x="472845" y="574156"/>
                          <a:pt x="485775" y="577850"/>
                        </a:cubicBezTo>
                        <a:cubicBezTo>
                          <a:pt x="488993" y="578769"/>
                          <a:pt x="492125" y="579967"/>
                          <a:pt x="495300" y="581025"/>
                        </a:cubicBezTo>
                        <a:cubicBezTo>
                          <a:pt x="508000" y="579967"/>
                          <a:pt x="520903" y="580349"/>
                          <a:pt x="533400" y="577850"/>
                        </a:cubicBezTo>
                        <a:cubicBezTo>
                          <a:pt x="537142" y="577102"/>
                          <a:pt x="539418" y="573003"/>
                          <a:pt x="542925" y="571500"/>
                        </a:cubicBezTo>
                        <a:cubicBezTo>
                          <a:pt x="551531" y="567812"/>
                          <a:pt x="554243" y="568325"/>
                          <a:pt x="561975" y="568325"/>
                        </a:cubicBezTo>
                      </a:path>
                    </a:pathLst>
                  </a:custGeom>
                  <a:noFill/>
                  <a:ln w="28575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cs-CZ"/>
                  </a:p>
                </p:txBody>
              </p:sp>
              <p:sp>
                <p:nvSpPr>
                  <p:cNvPr id="9" name="Volný tvar: obrazec 8">
                    <a:extLst>
                      <a:ext uri="{FF2B5EF4-FFF2-40B4-BE49-F238E27FC236}">
                        <a16:creationId xmlns:a16="http://schemas.microsoft.com/office/drawing/2014/main" id="{4B80527C-7049-4E43-2D3A-28EAA5A57BA4}"/>
                      </a:ext>
                    </a:extLst>
                  </p:cNvPr>
                  <p:cNvSpPr/>
                  <p:nvPr/>
                </p:nvSpPr>
                <p:spPr>
                  <a:xfrm>
                    <a:off x="7810526" y="5200650"/>
                    <a:ext cx="536549" cy="327025"/>
                  </a:xfrm>
                  <a:custGeom>
                    <a:avLst/>
                    <a:gdLst>
                      <a:gd name="connsiteX0" fmla="*/ 9499 w 536549"/>
                      <a:gd name="connsiteY0" fmla="*/ 327025 h 327025"/>
                      <a:gd name="connsiteX1" fmla="*/ 9499 w 536549"/>
                      <a:gd name="connsiteY1" fmla="*/ 238125 h 327025"/>
                      <a:gd name="connsiteX2" fmla="*/ 15849 w 536549"/>
                      <a:gd name="connsiteY2" fmla="*/ 228600 h 327025"/>
                      <a:gd name="connsiteX3" fmla="*/ 25374 w 536549"/>
                      <a:gd name="connsiteY3" fmla="*/ 215900 h 327025"/>
                      <a:gd name="connsiteX4" fmla="*/ 31724 w 536549"/>
                      <a:gd name="connsiteY4" fmla="*/ 158750 h 327025"/>
                      <a:gd name="connsiteX5" fmla="*/ 44424 w 536549"/>
                      <a:gd name="connsiteY5" fmla="*/ 19050 h 327025"/>
                      <a:gd name="connsiteX6" fmla="*/ 53949 w 536549"/>
                      <a:gd name="connsiteY6" fmla="*/ 15875 h 327025"/>
                      <a:gd name="connsiteX7" fmla="*/ 63474 w 536549"/>
                      <a:gd name="connsiteY7" fmla="*/ 6350 h 327025"/>
                      <a:gd name="connsiteX8" fmla="*/ 82524 w 536549"/>
                      <a:gd name="connsiteY8" fmla="*/ 0 h 327025"/>
                      <a:gd name="connsiteX9" fmla="*/ 104749 w 536549"/>
                      <a:gd name="connsiteY9" fmla="*/ 3175 h 327025"/>
                      <a:gd name="connsiteX10" fmla="*/ 114274 w 536549"/>
                      <a:gd name="connsiteY10" fmla="*/ 15875 h 327025"/>
                      <a:gd name="connsiteX11" fmla="*/ 136499 w 536549"/>
                      <a:gd name="connsiteY11" fmla="*/ 28575 h 327025"/>
                      <a:gd name="connsiteX12" fmla="*/ 146024 w 536549"/>
                      <a:gd name="connsiteY12" fmla="*/ 34925 h 327025"/>
                      <a:gd name="connsiteX13" fmla="*/ 180949 w 536549"/>
                      <a:gd name="connsiteY13" fmla="*/ 38100 h 327025"/>
                      <a:gd name="connsiteX14" fmla="*/ 187299 w 536549"/>
                      <a:gd name="connsiteY14" fmla="*/ 53975 h 327025"/>
                      <a:gd name="connsiteX15" fmla="*/ 193649 w 536549"/>
                      <a:gd name="connsiteY15" fmla="*/ 85725 h 327025"/>
                      <a:gd name="connsiteX16" fmla="*/ 203174 w 536549"/>
                      <a:gd name="connsiteY16" fmla="*/ 95250 h 327025"/>
                      <a:gd name="connsiteX17" fmla="*/ 206349 w 536549"/>
                      <a:gd name="connsiteY17" fmla="*/ 104775 h 327025"/>
                      <a:gd name="connsiteX18" fmla="*/ 225399 w 536549"/>
                      <a:gd name="connsiteY18" fmla="*/ 101600 h 327025"/>
                      <a:gd name="connsiteX19" fmla="*/ 234924 w 536549"/>
                      <a:gd name="connsiteY19" fmla="*/ 98425 h 327025"/>
                      <a:gd name="connsiteX20" fmla="*/ 250799 w 536549"/>
                      <a:gd name="connsiteY20" fmla="*/ 95250 h 327025"/>
                      <a:gd name="connsiteX21" fmla="*/ 263499 w 536549"/>
                      <a:gd name="connsiteY21" fmla="*/ 92075 h 327025"/>
                      <a:gd name="connsiteX22" fmla="*/ 276199 w 536549"/>
                      <a:gd name="connsiteY22" fmla="*/ 76200 h 327025"/>
                      <a:gd name="connsiteX23" fmla="*/ 292074 w 536549"/>
                      <a:gd name="connsiteY23" fmla="*/ 69850 h 327025"/>
                      <a:gd name="connsiteX24" fmla="*/ 314299 w 536549"/>
                      <a:gd name="connsiteY24" fmla="*/ 50800 h 327025"/>
                      <a:gd name="connsiteX25" fmla="*/ 342874 w 536549"/>
                      <a:gd name="connsiteY25" fmla="*/ 53975 h 327025"/>
                      <a:gd name="connsiteX26" fmla="*/ 355574 w 536549"/>
                      <a:gd name="connsiteY26" fmla="*/ 66675 h 327025"/>
                      <a:gd name="connsiteX27" fmla="*/ 368274 w 536549"/>
                      <a:gd name="connsiteY27" fmla="*/ 69850 h 327025"/>
                      <a:gd name="connsiteX28" fmla="*/ 431774 w 536549"/>
                      <a:gd name="connsiteY28" fmla="*/ 85725 h 327025"/>
                      <a:gd name="connsiteX29" fmla="*/ 460349 w 536549"/>
                      <a:gd name="connsiteY29" fmla="*/ 104775 h 327025"/>
                      <a:gd name="connsiteX30" fmla="*/ 473049 w 536549"/>
                      <a:gd name="connsiteY30" fmla="*/ 120650 h 327025"/>
                      <a:gd name="connsiteX31" fmla="*/ 527024 w 536549"/>
                      <a:gd name="connsiteY31" fmla="*/ 142875 h 327025"/>
                      <a:gd name="connsiteX32" fmla="*/ 536549 w 536549"/>
                      <a:gd name="connsiteY32" fmla="*/ 155575 h 3270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</a:cxnLst>
                    <a:rect l="l" t="t" r="r" b="b"/>
                    <a:pathLst>
                      <a:path w="536549" h="327025">
                        <a:moveTo>
                          <a:pt x="9499" y="327025"/>
                        </a:moveTo>
                        <a:cubicBezTo>
                          <a:pt x="-5039" y="290681"/>
                          <a:pt x="-1147" y="307323"/>
                          <a:pt x="9499" y="238125"/>
                        </a:cubicBezTo>
                        <a:cubicBezTo>
                          <a:pt x="10079" y="234353"/>
                          <a:pt x="13631" y="231705"/>
                          <a:pt x="15849" y="228600"/>
                        </a:cubicBezTo>
                        <a:cubicBezTo>
                          <a:pt x="18925" y="224294"/>
                          <a:pt x="22199" y="220133"/>
                          <a:pt x="25374" y="215900"/>
                        </a:cubicBezTo>
                        <a:cubicBezTo>
                          <a:pt x="30351" y="191016"/>
                          <a:pt x="30448" y="193841"/>
                          <a:pt x="31724" y="158750"/>
                        </a:cubicBezTo>
                        <a:cubicBezTo>
                          <a:pt x="33398" y="112723"/>
                          <a:pt x="-1959" y="42242"/>
                          <a:pt x="44424" y="19050"/>
                        </a:cubicBezTo>
                        <a:cubicBezTo>
                          <a:pt x="47417" y="17553"/>
                          <a:pt x="50774" y="16933"/>
                          <a:pt x="53949" y="15875"/>
                        </a:cubicBezTo>
                        <a:cubicBezTo>
                          <a:pt x="57124" y="12700"/>
                          <a:pt x="59549" y="8531"/>
                          <a:pt x="63474" y="6350"/>
                        </a:cubicBezTo>
                        <a:cubicBezTo>
                          <a:pt x="69325" y="3099"/>
                          <a:pt x="82524" y="0"/>
                          <a:pt x="82524" y="0"/>
                        </a:cubicBezTo>
                        <a:cubicBezTo>
                          <a:pt x="89932" y="1058"/>
                          <a:pt x="98056" y="-172"/>
                          <a:pt x="104749" y="3175"/>
                        </a:cubicBezTo>
                        <a:cubicBezTo>
                          <a:pt x="109482" y="5542"/>
                          <a:pt x="110532" y="12133"/>
                          <a:pt x="114274" y="15875"/>
                        </a:cubicBezTo>
                        <a:cubicBezTo>
                          <a:pt x="129629" y="31230"/>
                          <a:pt x="121968" y="21310"/>
                          <a:pt x="136499" y="28575"/>
                        </a:cubicBezTo>
                        <a:cubicBezTo>
                          <a:pt x="139912" y="30282"/>
                          <a:pt x="142293" y="34125"/>
                          <a:pt x="146024" y="34925"/>
                        </a:cubicBezTo>
                        <a:cubicBezTo>
                          <a:pt x="157454" y="37374"/>
                          <a:pt x="169307" y="37042"/>
                          <a:pt x="180949" y="38100"/>
                        </a:cubicBezTo>
                        <a:cubicBezTo>
                          <a:pt x="183066" y="43392"/>
                          <a:pt x="185831" y="48468"/>
                          <a:pt x="187299" y="53975"/>
                        </a:cubicBezTo>
                        <a:cubicBezTo>
                          <a:pt x="190080" y="64404"/>
                          <a:pt x="189775" y="75651"/>
                          <a:pt x="193649" y="85725"/>
                        </a:cubicBezTo>
                        <a:cubicBezTo>
                          <a:pt x="195261" y="89916"/>
                          <a:pt x="199999" y="92075"/>
                          <a:pt x="203174" y="95250"/>
                        </a:cubicBezTo>
                        <a:cubicBezTo>
                          <a:pt x="204232" y="98425"/>
                          <a:pt x="203131" y="103856"/>
                          <a:pt x="206349" y="104775"/>
                        </a:cubicBezTo>
                        <a:cubicBezTo>
                          <a:pt x="212539" y="106544"/>
                          <a:pt x="219115" y="102997"/>
                          <a:pt x="225399" y="101600"/>
                        </a:cubicBezTo>
                        <a:cubicBezTo>
                          <a:pt x="228666" y="100874"/>
                          <a:pt x="231677" y="99237"/>
                          <a:pt x="234924" y="98425"/>
                        </a:cubicBezTo>
                        <a:cubicBezTo>
                          <a:pt x="240159" y="97116"/>
                          <a:pt x="245531" y="96421"/>
                          <a:pt x="250799" y="95250"/>
                        </a:cubicBezTo>
                        <a:cubicBezTo>
                          <a:pt x="255059" y="94303"/>
                          <a:pt x="259266" y="93133"/>
                          <a:pt x="263499" y="92075"/>
                        </a:cubicBezTo>
                        <a:cubicBezTo>
                          <a:pt x="267732" y="86783"/>
                          <a:pt x="270850" y="80360"/>
                          <a:pt x="276199" y="76200"/>
                        </a:cubicBezTo>
                        <a:cubicBezTo>
                          <a:pt x="280698" y="72701"/>
                          <a:pt x="287785" y="73603"/>
                          <a:pt x="292074" y="69850"/>
                        </a:cubicBezTo>
                        <a:cubicBezTo>
                          <a:pt x="318753" y="46506"/>
                          <a:pt x="285070" y="58107"/>
                          <a:pt x="314299" y="50800"/>
                        </a:cubicBezTo>
                        <a:cubicBezTo>
                          <a:pt x="323824" y="51858"/>
                          <a:pt x="333929" y="50535"/>
                          <a:pt x="342874" y="53975"/>
                        </a:cubicBezTo>
                        <a:cubicBezTo>
                          <a:pt x="348462" y="56124"/>
                          <a:pt x="350497" y="63502"/>
                          <a:pt x="355574" y="66675"/>
                        </a:cubicBezTo>
                        <a:cubicBezTo>
                          <a:pt x="359274" y="68988"/>
                          <a:pt x="364041" y="68792"/>
                          <a:pt x="368274" y="69850"/>
                        </a:cubicBezTo>
                        <a:cubicBezTo>
                          <a:pt x="392664" y="94240"/>
                          <a:pt x="365050" y="70560"/>
                          <a:pt x="431774" y="85725"/>
                        </a:cubicBezTo>
                        <a:cubicBezTo>
                          <a:pt x="435686" y="86614"/>
                          <a:pt x="456861" y="101287"/>
                          <a:pt x="460349" y="104775"/>
                        </a:cubicBezTo>
                        <a:cubicBezTo>
                          <a:pt x="465141" y="109567"/>
                          <a:pt x="467535" y="116711"/>
                          <a:pt x="473049" y="120650"/>
                        </a:cubicBezTo>
                        <a:cubicBezTo>
                          <a:pt x="492370" y="134450"/>
                          <a:pt x="506002" y="136869"/>
                          <a:pt x="527024" y="142875"/>
                        </a:cubicBezTo>
                        <a:cubicBezTo>
                          <a:pt x="533847" y="156522"/>
                          <a:pt x="528641" y="155575"/>
                          <a:pt x="536549" y="155575"/>
                        </a:cubicBezTo>
                      </a:path>
                    </a:pathLst>
                  </a:custGeom>
                  <a:noFill/>
                  <a:ln w="28575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cs-CZ"/>
                  </a:p>
                </p:txBody>
              </p:sp>
              <p:sp>
                <p:nvSpPr>
                  <p:cNvPr id="10" name="Volný tvar: obrazec 9">
                    <a:extLst>
                      <a:ext uri="{FF2B5EF4-FFF2-40B4-BE49-F238E27FC236}">
                        <a16:creationId xmlns:a16="http://schemas.microsoft.com/office/drawing/2014/main" id="{72D9A157-97D3-AB28-3C2B-ABF852B125CE}"/>
                      </a:ext>
                    </a:extLst>
                  </p:cNvPr>
                  <p:cNvSpPr/>
                  <p:nvPr/>
                </p:nvSpPr>
                <p:spPr>
                  <a:xfrm>
                    <a:off x="8305800" y="5060950"/>
                    <a:ext cx="92075" cy="301625"/>
                  </a:xfrm>
                  <a:custGeom>
                    <a:avLst/>
                    <a:gdLst>
                      <a:gd name="connsiteX0" fmla="*/ 50800 w 92075"/>
                      <a:gd name="connsiteY0" fmla="*/ 0 h 301625"/>
                      <a:gd name="connsiteX1" fmla="*/ 66675 w 92075"/>
                      <a:gd name="connsiteY1" fmla="*/ 6350 h 301625"/>
                      <a:gd name="connsiteX2" fmla="*/ 76200 w 92075"/>
                      <a:gd name="connsiteY2" fmla="*/ 25400 h 301625"/>
                      <a:gd name="connsiteX3" fmla="*/ 92075 w 92075"/>
                      <a:gd name="connsiteY3" fmla="*/ 50800 h 301625"/>
                      <a:gd name="connsiteX4" fmla="*/ 79375 w 92075"/>
                      <a:gd name="connsiteY4" fmla="*/ 69850 h 301625"/>
                      <a:gd name="connsiteX5" fmla="*/ 69850 w 92075"/>
                      <a:gd name="connsiteY5" fmla="*/ 88900 h 301625"/>
                      <a:gd name="connsiteX6" fmla="*/ 57150 w 92075"/>
                      <a:gd name="connsiteY6" fmla="*/ 92075 h 301625"/>
                      <a:gd name="connsiteX7" fmla="*/ 47625 w 92075"/>
                      <a:gd name="connsiteY7" fmla="*/ 114300 h 301625"/>
                      <a:gd name="connsiteX8" fmla="*/ 41275 w 92075"/>
                      <a:gd name="connsiteY8" fmla="*/ 127000 h 301625"/>
                      <a:gd name="connsiteX9" fmla="*/ 38100 w 92075"/>
                      <a:gd name="connsiteY9" fmla="*/ 136525 h 301625"/>
                      <a:gd name="connsiteX10" fmla="*/ 19050 w 92075"/>
                      <a:gd name="connsiteY10" fmla="*/ 152400 h 301625"/>
                      <a:gd name="connsiteX11" fmla="*/ 0 w 92075"/>
                      <a:gd name="connsiteY11" fmla="*/ 165100 h 301625"/>
                      <a:gd name="connsiteX12" fmla="*/ 9525 w 92075"/>
                      <a:gd name="connsiteY12" fmla="*/ 184150 h 301625"/>
                      <a:gd name="connsiteX13" fmla="*/ 25400 w 92075"/>
                      <a:gd name="connsiteY13" fmla="*/ 193675 h 301625"/>
                      <a:gd name="connsiteX14" fmla="*/ 50800 w 92075"/>
                      <a:gd name="connsiteY14" fmla="*/ 209550 h 301625"/>
                      <a:gd name="connsiteX15" fmla="*/ 63500 w 92075"/>
                      <a:gd name="connsiteY15" fmla="*/ 225425 h 301625"/>
                      <a:gd name="connsiteX16" fmla="*/ 73025 w 92075"/>
                      <a:gd name="connsiteY16" fmla="*/ 247650 h 301625"/>
                      <a:gd name="connsiteX17" fmla="*/ 57150 w 92075"/>
                      <a:gd name="connsiteY17" fmla="*/ 273050 h 301625"/>
                      <a:gd name="connsiteX18" fmla="*/ 50800 w 92075"/>
                      <a:gd name="connsiteY18" fmla="*/ 282575 h 301625"/>
                      <a:gd name="connsiteX19" fmla="*/ 41275 w 92075"/>
                      <a:gd name="connsiteY19" fmla="*/ 288925 h 301625"/>
                      <a:gd name="connsiteX20" fmla="*/ 41275 w 92075"/>
                      <a:gd name="connsiteY20" fmla="*/ 301625 h 3016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92075" h="301625">
                        <a:moveTo>
                          <a:pt x="50800" y="0"/>
                        </a:moveTo>
                        <a:cubicBezTo>
                          <a:pt x="56092" y="2117"/>
                          <a:pt x="62037" y="3037"/>
                          <a:pt x="66675" y="6350"/>
                        </a:cubicBezTo>
                        <a:cubicBezTo>
                          <a:pt x="72432" y="10462"/>
                          <a:pt x="73967" y="19445"/>
                          <a:pt x="76200" y="25400"/>
                        </a:cubicBezTo>
                        <a:cubicBezTo>
                          <a:pt x="83416" y="44642"/>
                          <a:pt x="79152" y="37877"/>
                          <a:pt x="92075" y="50800"/>
                        </a:cubicBezTo>
                        <a:cubicBezTo>
                          <a:pt x="84526" y="73448"/>
                          <a:pt x="95230" y="46067"/>
                          <a:pt x="79375" y="69850"/>
                        </a:cubicBezTo>
                        <a:cubicBezTo>
                          <a:pt x="74304" y="77457"/>
                          <a:pt x="78843" y="82905"/>
                          <a:pt x="69850" y="88900"/>
                        </a:cubicBezTo>
                        <a:cubicBezTo>
                          <a:pt x="66219" y="91321"/>
                          <a:pt x="61383" y="91017"/>
                          <a:pt x="57150" y="92075"/>
                        </a:cubicBezTo>
                        <a:cubicBezTo>
                          <a:pt x="44281" y="111378"/>
                          <a:pt x="56412" y="90869"/>
                          <a:pt x="47625" y="114300"/>
                        </a:cubicBezTo>
                        <a:cubicBezTo>
                          <a:pt x="45963" y="118732"/>
                          <a:pt x="43139" y="122650"/>
                          <a:pt x="41275" y="127000"/>
                        </a:cubicBezTo>
                        <a:cubicBezTo>
                          <a:pt x="39957" y="130076"/>
                          <a:pt x="39956" y="133740"/>
                          <a:pt x="38100" y="136525"/>
                        </a:cubicBezTo>
                        <a:cubicBezTo>
                          <a:pt x="31143" y="146960"/>
                          <a:pt x="27835" y="145079"/>
                          <a:pt x="19050" y="152400"/>
                        </a:cubicBezTo>
                        <a:cubicBezTo>
                          <a:pt x="3195" y="165613"/>
                          <a:pt x="16739" y="159520"/>
                          <a:pt x="0" y="165100"/>
                        </a:cubicBezTo>
                        <a:cubicBezTo>
                          <a:pt x="2222" y="171767"/>
                          <a:pt x="3780" y="179226"/>
                          <a:pt x="9525" y="184150"/>
                        </a:cubicBezTo>
                        <a:cubicBezTo>
                          <a:pt x="14210" y="188166"/>
                          <a:pt x="20463" y="189972"/>
                          <a:pt x="25400" y="193675"/>
                        </a:cubicBezTo>
                        <a:cubicBezTo>
                          <a:pt x="48637" y="211103"/>
                          <a:pt x="18467" y="196617"/>
                          <a:pt x="50800" y="209550"/>
                        </a:cubicBezTo>
                        <a:cubicBezTo>
                          <a:pt x="55033" y="214842"/>
                          <a:pt x="59741" y="219786"/>
                          <a:pt x="63500" y="225425"/>
                        </a:cubicBezTo>
                        <a:cubicBezTo>
                          <a:pt x="68731" y="233272"/>
                          <a:pt x="70203" y="239183"/>
                          <a:pt x="73025" y="247650"/>
                        </a:cubicBezTo>
                        <a:cubicBezTo>
                          <a:pt x="63080" y="267541"/>
                          <a:pt x="70889" y="253816"/>
                          <a:pt x="57150" y="273050"/>
                        </a:cubicBezTo>
                        <a:cubicBezTo>
                          <a:pt x="54932" y="276155"/>
                          <a:pt x="53498" y="279877"/>
                          <a:pt x="50800" y="282575"/>
                        </a:cubicBezTo>
                        <a:cubicBezTo>
                          <a:pt x="48102" y="285273"/>
                          <a:pt x="42982" y="285512"/>
                          <a:pt x="41275" y="288925"/>
                        </a:cubicBezTo>
                        <a:cubicBezTo>
                          <a:pt x="39382" y="292711"/>
                          <a:pt x="41275" y="297392"/>
                          <a:pt x="41275" y="301625"/>
                        </a:cubicBezTo>
                      </a:path>
                    </a:pathLst>
                  </a:custGeom>
                  <a:noFill/>
                  <a:ln w="28575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cs-CZ"/>
                  </a:p>
                </p:txBody>
              </p:sp>
            </p:grpSp>
          </p:grpSp>
          <p:sp>
            <p:nvSpPr>
              <p:cNvPr id="12" name="Zástupný text 3">
                <a:extLst>
                  <a:ext uri="{FF2B5EF4-FFF2-40B4-BE49-F238E27FC236}">
                    <a16:creationId xmlns:a16="http://schemas.microsoft.com/office/drawing/2014/main" id="{55039643-055C-00B3-670D-7F274A1F1B9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80756" y="1466904"/>
                <a:ext cx="3261286" cy="72000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0" indent="0" algn="r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200" b="0" i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 b="0" i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800" b="0" i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600" b="0" i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14400" rtl="0" eaLnBrk="1" fontAlgn="auto" latinLnBrk="0" hangingPunct="1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cs-CZ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34 radiologických center</a:t>
                </a:r>
              </a:p>
            </p:txBody>
          </p:sp>
          <p:sp>
            <p:nvSpPr>
              <p:cNvPr id="13" name="Obdélník 12">
                <a:extLst>
                  <a:ext uri="{FF2B5EF4-FFF2-40B4-BE49-F238E27FC236}">
                    <a16:creationId xmlns:a16="http://schemas.microsoft.com/office/drawing/2014/main" id="{E3E4B536-BD23-8BDA-CE48-17A2B4CE1C4C}"/>
                  </a:ext>
                </a:extLst>
              </p:cNvPr>
              <p:cNvSpPr/>
              <p:nvPr/>
            </p:nvSpPr>
            <p:spPr>
              <a:xfrm>
                <a:off x="2259598" y="5802429"/>
                <a:ext cx="1769477" cy="49101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/>
              </a:p>
            </p:txBody>
          </p:sp>
          <p:sp>
            <p:nvSpPr>
              <p:cNvPr id="11" name="Zástupný text 3">
                <a:extLst>
                  <a:ext uri="{FF2B5EF4-FFF2-40B4-BE49-F238E27FC236}">
                    <a16:creationId xmlns:a16="http://schemas.microsoft.com/office/drawing/2014/main" id="{1021F5A0-C735-464C-2E98-280ADB309D5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-580530" y="3584879"/>
                <a:ext cx="3261286" cy="118456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0" indent="0" algn="r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200" b="0" i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 b="0" i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800" b="0" i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600" b="0" i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b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</a:br>
                <a:r>
                  <a:rPr kumimoji="0" lang="cs-CZ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Jihočeský kraj: 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cs-CZ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4 akreditovaná radiologická centra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cs-CZ" b="1" dirty="0">
                    <a:solidFill>
                      <a:srgbClr val="000000"/>
                    </a:solidFill>
                    <a:latin typeface="Arial" panose="020B0604020202020204"/>
                  </a:rPr>
                  <a:t>p</a:t>
                </a:r>
                <a:r>
                  <a:rPr kumimoji="0" lang="cs-CZ" sz="12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ůměrná</a:t>
                </a:r>
                <a:r>
                  <a:rPr kumimoji="0" lang="cs-CZ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dojezdová vzdálenost </a:t>
                </a:r>
                <a:br>
                  <a:rPr kumimoji="0" lang="cs-CZ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</a:br>
                <a:r>
                  <a:rPr kumimoji="0" lang="cs-CZ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do těchto center je 31 minut</a:t>
                </a:r>
              </a:p>
              <a:p>
                <a:pPr marL="0" marR="0" lvl="0" indent="0" algn="r" defTabSz="914400" rtl="0" eaLnBrk="1" fontAlgn="auto" latinLnBrk="0" hangingPunct="1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864867FA-5EB6-1DEB-3174-4C4966DF26E9}"/>
                </a:ext>
              </a:extLst>
            </p:cNvPr>
            <p:cNvSpPr/>
            <p:nvPr/>
          </p:nvSpPr>
          <p:spPr>
            <a:xfrm>
              <a:off x="5304915" y="1256780"/>
              <a:ext cx="3872953" cy="11677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770B66D3-7921-D7B6-9B11-19E0A9122C02}"/>
                </a:ext>
              </a:extLst>
            </p:cNvPr>
            <p:cNvSpPr/>
            <p:nvPr/>
          </p:nvSpPr>
          <p:spPr>
            <a:xfrm>
              <a:off x="7052733" y="2228470"/>
              <a:ext cx="2836335" cy="11677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pic>
          <p:nvPicPr>
            <p:cNvPr id="23" name="Obrázek 22" descr="Obsah obrázku text, mapa, atlas&#10;&#10;Popis byl vytvořen automaticky">
              <a:extLst>
                <a:ext uri="{FF2B5EF4-FFF2-40B4-BE49-F238E27FC236}">
                  <a16:creationId xmlns:a16="http://schemas.microsoft.com/office/drawing/2014/main" id="{6E7652E5-7104-C041-ECAC-E0901CF23FD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74176" t="21588" r="1174" b="58603"/>
            <a:stretch/>
          </p:blipFill>
          <p:spPr>
            <a:xfrm>
              <a:off x="6901562" y="2032795"/>
              <a:ext cx="2229284" cy="1111771"/>
            </a:xfrm>
            <a:prstGeom prst="rect">
              <a:avLst/>
            </a:prstGeom>
          </p:spPr>
        </p:pic>
      </p:grpSp>
      <p:graphicFrame>
        <p:nvGraphicFramePr>
          <p:cNvPr id="18" name="Tabulka 17">
            <a:extLst>
              <a:ext uri="{FF2B5EF4-FFF2-40B4-BE49-F238E27FC236}">
                <a16:creationId xmlns:a16="http://schemas.microsoft.com/office/drawing/2014/main" id="{BCA9E50D-34ED-D933-167E-B554E4F4F6F6}"/>
              </a:ext>
            </a:extLst>
          </p:cNvPr>
          <p:cNvGraphicFramePr>
            <a:graphicFrameLocks noGrp="1"/>
          </p:cNvGraphicFramePr>
          <p:nvPr/>
        </p:nvGraphicFramePr>
        <p:xfrm>
          <a:off x="214210" y="5165995"/>
          <a:ext cx="3872953" cy="152400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2281949">
                  <a:extLst>
                    <a:ext uri="{9D8B030D-6E8A-4147-A177-3AD203B41FA5}">
                      <a16:colId xmlns:a16="http://schemas.microsoft.com/office/drawing/2014/main" val="3169041683"/>
                    </a:ext>
                  </a:extLst>
                </a:gridCol>
                <a:gridCol w="1591004">
                  <a:extLst>
                    <a:ext uri="{9D8B030D-6E8A-4147-A177-3AD203B41FA5}">
                      <a16:colId xmlns:a16="http://schemas.microsoft.com/office/drawing/2014/main" val="1479269190"/>
                    </a:ext>
                  </a:extLst>
                </a:gridCol>
              </a:tblGrid>
              <a:tr h="301768">
                <a:tc>
                  <a:txBody>
                    <a:bodyPr/>
                    <a:lstStyle/>
                    <a:p>
                      <a:r>
                        <a:rPr lang="cs-CZ" sz="1400" dirty="0"/>
                        <a:t>Radiologické centrum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400" dirty="0"/>
                        <a:t>Zapojení centr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5282172"/>
                  </a:ext>
                </a:extLst>
              </a:tr>
              <a:tr h="252312">
                <a:tc>
                  <a:txBody>
                    <a:bodyPr/>
                    <a:lstStyle/>
                    <a:p>
                      <a:r>
                        <a:rPr lang="cs-CZ" sz="1400" dirty="0"/>
                        <a:t>České Budějov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400" dirty="0"/>
                        <a:t>9/202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5338484"/>
                  </a:ext>
                </a:extLst>
              </a:tr>
              <a:tr h="252312">
                <a:tc>
                  <a:txBody>
                    <a:bodyPr/>
                    <a:lstStyle/>
                    <a:p>
                      <a:r>
                        <a:rPr lang="cs-CZ" sz="1400" dirty="0"/>
                        <a:t>Prachat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400" dirty="0"/>
                        <a:t>9/202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759791"/>
                  </a:ext>
                </a:extLst>
              </a:tr>
              <a:tr h="252312">
                <a:tc>
                  <a:txBody>
                    <a:bodyPr/>
                    <a:lstStyle/>
                    <a:p>
                      <a:r>
                        <a:rPr lang="cs-CZ" sz="1400" dirty="0"/>
                        <a:t>Táb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400" dirty="0"/>
                        <a:t>2/20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7123302"/>
                  </a:ext>
                </a:extLst>
              </a:tr>
              <a:tr h="252312">
                <a:tc>
                  <a:txBody>
                    <a:bodyPr/>
                    <a:lstStyle/>
                    <a:p>
                      <a:r>
                        <a:rPr lang="cs-CZ" sz="1400" dirty="0"/>
                        <a:t>Strakon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400" dirty="0"/>
                        <a:t>7/20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5575448"/>
                  </a:ext>
                </a:extLst>
              </a:tr>
            </a:tbl>
          </a:graphicData>
        </a:graphic>
      </p:graphicFrame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924A3C42-768C-A3EB-CA3B-13C4955A4F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83271" y="90540"/>
            <a:ext cx="2477004" cy="403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26042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Přímá spojnice 5">
            <a:extLst>
              <a:ext uri="{FF2B5EF4-FFF2-40B4-BE49-F238E27FC236}">
                <a16:creationId xmlns:a16="http://schemas.microsoft.com/office/drawing/2014/main" id="{F1AA17F8-1573-0F02-6D6B-5B4868298E9C}"/>
              </a:ext>
            </a:extLst>
          </p:cNvPr>
          <p:cNvCxnSpPr>
            <a:cxnSpLocks/>
          </p:cNvCxnSpPr>
          <p:nvPr/>
        </p:nvCxnSpPr>
        <p:spPr>
          <a:xfrm>
            <a:off x="650949" y="3831235"/>
            <a:ext cx="5445051" cy="9746"/>
          </a:xfrm>
          <a:prstGeom prst="line">
            <a:avLst/>
          </a:prstGeom>
          <a:ln w="28575">
            <a:solidFill>
              <a:schemeClr val="accent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Nadpis 4">
            <a:extLst>
              <a:ext uri="{FF2B5EF4-FFF2-40B4-BE49-F238E27FC236}">
                <a16:creationId xmlns:a16="http://schemas.microsoft.com/office/drawing/2014/main" id="{EA2DDA38-176D-AE75-ACBD-46003604A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558329"/>
            <a:ext cx="9802034" cy="720000"/>
          </a:xfrm>
        </p:spPr>
        <p:txBody>
          <a:bodyPr>
            <a:normAutofit fontScale="90000"/>
          </a:bodyPr>
          <a:lstStyle/>
          <a:p>
            <a:r>
              <a:rPr lang="cs-CZ" sz="2400" dirty="0"/>
              <a:t>Interval mezi návštěvou u pneumologa</a:t>
            </a:r>
            <a:br>
              <a:rPr lang="cs-CZ" sz="2400" dirty="0"/>
            </a:br>
            <a:r>
              <a:rPr lang="cs-CZ" sz="2400" dirty="0"/>
              <a:t>a LDCT vyšetřením </a:t>
            </a:r>
            <a:r>
              <a:rPr lang="cs-CZ" sz="2400" dirty="0">
                <a:solidFill>
                  <a:schemeClr val="accent3"/>
                </a:solidFill>
              </a:rPr>
              <a:t>v rámci KRAJE v roce 2024</a:t>
            </a:r>
            <a:endParaRPr lang="cs-CZ" dirty="0">
              <a:solidFill>
                <a:schemeClr val="accent3"/>
              </a:solidFill>
            </a:endParaRPr>
          </a:p>
        </p:txBody>
      </p:sp>
      <p:sp>
        <p:nvSpPr>
          <p:cNvPr id="24" name="Rectangle 21">
            <a:extLst>
              <a:ext uri="{FF2B5EF4-FFF2-40B4-BE49-F238E27FC236}">
                <a16:creationId xmlns:a16="http://schemas.microsoft.com/office/drawing/2014/main" id="{64DF5E38-24A9-136D-95B1-C5B4A54397D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544190" y="1167543"/>
            <a:ext cx="2179197" cy="4308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DDCE0">
                  <a:lumMod val="2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5E62A73E-C051-AD0C-923E-F845A83BE199}"/>
              </a:ext>
            </a:extLst>
          </p:cNvPr>
          <p:cNvSpPr txBox="1">
            <a:spLocks/>
          </p:cNvSpPr>
          <p:nvPr/>
        </p:nvSpPr>
        <p:spPr>
          <a:xfrm>
            <a:off x="8718710" y="917180"/>
            <a:ext cx="3261286" cy="7200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NRHZS</a:t>
            </a: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za období: 1. 1. 2022 – 31. 12. 2024</a:t>
            </a:r>
          </a:p>
        </p:txBody>
      </p:sp>
      <p:sp>
        <p:nvSpPr>
          <p:cNvPr id="10" name="Rectangle 21">
            <a:extLst>
              <a:ext uri="{FF2B5EF4-FFF2-40B4-BE49-F238E27FC236}">
                <a16:creationId xmlns:a16="http://schemas.microsoft.com/office/drawing/2014/main" id="{159EBE57-874E-77F8-4027-D8CA74EE237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60046" y="1390539"/>
            <a:ext cx="2978851" cy="4308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uze pacienti ve věku 55–74 let</a:t>
            </a:r>
          </a:p>
        </p:txBody>
      </p:sp>
      <p:sp>
        <p:nvSpPr>
          <p:cNvPr id="13" name="Rectangle 21">
            <a:extLst>
              <a:ext uri="{FF2B5EF4-FFF2-40B4-BE49-F238E27FC236}">
                <a16:creationId xmlns:a16="http://schemas.microsoft.com/office/drawing/2014/main" id="{E3D4316F-FCED-5395-94CA-115BB2C0A1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60604" y="5381710"/>
            <a:ext cx="2882348" cy="378175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b="1" kern="0" dirty="0">
                <a:solidFill>
                  <a:srgbClr val="DDDCE0">
                    <a:lumMod val="10000"/>
                  </a:srgbClr>
                </a:solidFill>
                <a:latin typeface="Arial" panose="020B0604020202020204"/>
              </a:rPr>
              <a:t>Kraj IČZ radiologického pracoviště</a:t>
            </a:r>
            <a:endParaRPr kumimoji="0" lang="cs-CZ" sz="1100" b="1" i="0" u="none" strike="noStrike" kern="0" cap="none" spc="0" normalizeH="0" baseline="0" noProof="0" dirty="0">
              <a:ln>
                <a:noFill/>
              </a:ln>
              <a:solidFill>
                <a:srgbClr val="DDDCE0">
                  <a:lumMod val="1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875C8ABB-BB27-9F5F-826E-A302E8119B88}"/>
              </a:ext>
            </a:extLst>
          </p:cNvPr>
          <p:cNvSpPr txBox="1"/>
          <p:nvPr/>
        </p:nvSpPr>
        <p:spPr>
          <a:xfrm>
            <a:off x="879373" y="1932389"/>
            <a:ext cx="5178110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 = 5 744 (počet vyšetřených</a:t>
            </a:r>
            <a:r>
              <a:rPr lang="cs-CZ" sz="1000" b="1" dirty="0">
                <a:solidFill>
                  <a:srgbClr val="000000"/>
                </a:solidFill>
                <a:latin typeface="Arial" panose="020B0604020202020204"/>
              </a:rPr>
              <a:t> osob u pneumologa a radiologa)</a:t>
            </a:r>
            <a:endParaRPr kumimoji="0" lang="cs-CZ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Ovál 1">
            <a:extLst>
              <a:ext uri="{FF2B5EF4-FFF2-40B4-BE49-F238E27FC236}">
                <a16:creationId xmlns:a16="http://schemas.microsoft.com/office/drawing/2014/main" id="{EF6B0037-879F-9280-FDD6-4761570C6269}"/>
              </a:ext>
            </a:extLst>
          </p:cNvPr>
          <p:cNvSpPr/>
          <p:nvPr/>
        </p:nvSpPr>
        <p:spPr>
          <a:xfrm>
            <a:off x="167115" y="5553029"/>
            <a:ext cx="75415" cy="75600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211D591A-7F4A-AA27-E5D5-467EBC97001F}"/>
              </a:ext>
            </a:extLst>
          </p:cNvPr>
          <p:cNvSpPr txBox="1"/>
          <p:nvPr/>
        </p:nvSpPr>
        <p:spPr>
          <a:xfrm>
            <a:off x="242530" y="5442805"/>
            <a:ext cx="20180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E6B03C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  <a:r>
              <a:rPr lang="cs-CZ" sz="1200" dirty="0" err="1">
                <a:solidFill>
                  <a:srgbClr val="E6B03C">
                    <a:lumMod val="10000"/>
                  </a:srgbClr>
                </a:solidFill>
                <a:latin typeface="Arial" panose="020B0604020202020204"/>
              </a:rPr>
              <a:t>očet</a:t>
            </a:r>
            <a:r>
              <a:rPr lang="cs-CZ" sz="1200" dirty="0">
                <a:solidFill>
                  <a:srgbClr val="E6B03C">
                    <a:lumMod val="10000"/>
                  </a:srgbClr>
                </a:solidFill>
                <a:latin typeface="Arial" panose="020B0604020202020204"/>
              </a:rPr>
              <a:t> vyšetřených osob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E6B03C">
                  <a:lumMod val="1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49108649-8FBF-5827-1E2A-4FCBF336E5E3}"/>
              </a:ext>
            </a:extLst>
          </p:cNvPr>
          <p:cNvSpPr txBox="1"/>
          <p:nvPr/>
        </p:nvSpPr>
        <p:spPr>
          <a:xfrm>
            <a:off x="5239411" y="5420911"/>
            <a:ext cx="2909829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b="1" dirty="0">
                <a:solidFill>
                  <a:schemeClr val="bg2">
                    <a:lumMod val="10000"/>
                  </a:schemeClr>
                </a:solidFill>
                <a:latin typeface="Arial" panose="020B0604020202020204"/>
              </a:rPr>
              <a:t>Medián doby v ČR v roce 2024: 58 dnů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6" name="Přímá spojnice 15">
            <a:extLst>
              <a:ext uri="{FF2B5EF4-FFF2-40B4-BE49-F238E27FC236}">
                <a16:creationId xmlns:a16="http://schemas.microsoft.com/office/drawing/2014/main" id="{9CB3302B-5468-E2A1-6862-F7756E360981}"/>
              </a:ext>
            </a:extLst>
          </p:cNvPr>
          <p:cNvCxnSpPr>
            <a:cxnSpLocks/>
          </p:cNvCxnSpPr>
          <p:nvPr/>
        </p:nvCxnSpPr>
        <p:spPr>
          <a:xfrm>
            <a:off x="4851922" y="5566942"/>
            <a:ext cx="360000" cy="0"/>
          </a:xfrm>
          <a:prstGeom prst="line">
            <a:avLst/>
          </a:prstGeom>
          <a:ln w="28575">
            <a:solidFill>
              <a:schemeClr val="accent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cký objekt 7">
            <a:extLst>
              <a:ext uri="{FF2B5EF4-FFF2-40B4-BE49-F238E27FC236}">
                <a16:creationId xmlns:a16="http://schemas.microsoft.com/office/drawing/2014/main" id="{A891BB55-66E3-27BD-BA59-FD5B26CE74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583271" y="90540"/>
            <a:ext cx="2477004" cy="403365"/>
          </a:xfrm>
          <a:prstGeom prst="rect">
            <a:avLst/>
          </a:prstGeom>
        </p:spPr>
      </p:pic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122278BC-1F0F-3E28-B968-554F7C8582E6}"/>
              </a:ext>
            </a:extLst>
          </p:cNvPr>
          <p:cNvGraphicFramePr>
            <a:graphicFrameLocks noGrp="1"/>
          </p:cNvGraphicFramePr>
          <p:nvPr/>
        </p:nvGraphicFramePr>
        <p:xfrm>
          <a:off x="7006616" y="2629139"/>
          <a:ext cx="4983418" cy="1417320"/>
        </p:xfrm>
        <a:graphic>
          <a:graphicData uri="http://schemas.openxmlformats.org/drawingml/2006/table">
            <a:tbl>
              <a:tblPr firstRow="1" lastRow="1" bandRow="1">
                <a:tableStyleId>{69012ECD-51FC-41F1-AA8D-1B2483CD663E}</a:tableStyleId>
              </a:tblPr>
              <a:tblGrid>
                <a:gridCol w="657225">
                  <a:extLst>
                    <a:ext uri="{9D8B030D-6E8A-4147-A177-3AD203B41FA5}">
                      <a16:colId xmlns:a16="http://schemas.microsoft.com/office/drawing/2014/main" val="2813647728"/>
                    </a:ext>
                  </a:extLst>
                </a:gridCol>
                <a:gridCol w="1718037">
                  <a:extLst>
                    <a:ext uri="{9D8B030D-6E8A-4147-A177-3AD203B41FA5}">
                      <a16:colId xmlns:a16="http://schemas.microsoft.com/office/drawing/2014/main" val="1925499364"/>
                    </a:ext>
                  </a:extLst>
                </a:gridCol>
                <a:gridCol w="1398543">
                  <a:extLst>
                    <a:ext uri="{9D8B030D-6E8A-4147-A177-3AD203B41FA5}">
                      <a16:colId xmlns:a16="http://schemas.microsoft.com/office/drawing/2014/main" val="4157514003"/>
                    </a:ext>
                  </a:extLst>
                </a:gridCol>
                <a:gridCol w="1209613">
                  <a:extLst>
                    <a:ext uri="{9D8B030D-6E8A-4147-A177-3AD203B41FA5}">
                      <a16:colId xmlns:a16="http://schemas.microsoft.com/office/drawing/2014/main" val="3119284155"/>
                    </a:ext>
                  </a:extLst>
                </a:gridCol>
              </a:tblGrid>
              <a:tr h="183164">
                <a:tc rowSpan="2">
                  <a:txBody>
                    <a:bodyPr/>
                    <a:lstStyle/>
                    <a:p>
                      <a:pPr algn="ctr"/>
                      <a:endParaRPr lang="cs-CZ" sz="105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050" b="1" dirty="0">
                          <a:solidFill>
                            <a:schemeClr val="bg1"/>
                          </a:solidFill>
                          <a:latin typeface="+mj-lt"/>
                        </a:rPr>
                        <a:t>Počet vyšetřených osob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dirty="0">
                          <a:solidFill>
                            <a:schemeClr val="bg1"/>
                          </a:solidFill>
                          <a:latin typeface="+mj-lt"/>
                        </a:rPr>
                        <a:t>Interval mezi návštěvou PN a LDCT (dny)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9709372"/>
                  </a:ext>
                </a:extLst>
              </a:tr>
              <a:tr h="183164">
                <a:tc vMerge="1">
                  <a:txBody>
                    <a:bodyPr/>
                    <a:lstStyle/>
                    <a:p>
                      <a:pPr algn="ctr"/>
                      <a:endParaRPr lang="cs-CZ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Průměr</a:t>
                      </a:r>
                      <a:endParaRPr lang="cs-CZ" sz="1050" b="0" dirty="0">
                        <a:solidFill>
                          <a:schemeClr val="bg2">
                            <a:lumMod val="10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Medián</a:t>
                      </a:r>
                      <a:endParaRPr lang="cs-CZ" sz="1050" b="0" kern="1200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2402614"/>
                  </a:ext>
                </a:extLst>
              </a:tr>
              <a:tr h="18316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22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  <a:r>
                        <a:rPr lang="cs-CZ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65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1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3626085"/>
                  </a:ext>
                </a:extLst>
              </a:tr>
              <a:tr h="18316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23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  <a:r>
                        <a:rPr lang="cs-CZ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29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3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4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2282062"/>
                  </a:ext>
                </a:extLst>
              </a:tr>
              <a:tr h="18316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24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r>
                        <a:rPr lang="cs-CZ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44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6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8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850982427"/>
                  </a:ext>
                </a:extLst>
              </a:tr>
            </a:tbl>
          </a:graphicData>
        </a:graphic>
      </p:graphicFrame>
      <p:sp>
        <p:nvSpPr>
          <p:cNvPr id="19" name="Zástupný text 5">
            <a:extLst>
              <a:ext uri="{FF2B5EF4-FFF2-40B4-BE49-F238E27FC236}">
                <a16:creationId xmlns:a16="http://schemas.microsoft.com/office/drawing/2014/main" id="{E0B36937-7E5D-EB83-C4C6-B7835C37263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01966" y="5951488"/>
            <a:ext cx="11788068" cy="780375"/>
          </a:xfrm>
        </p:spPr>
        <p:txBody>
          <a:bodyPr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b="1" dirty="0">
                <a:solidFill>
                  <a:schemeClr val="accent1"/>
                </a:solidFill>
              </a:rPr>
              <a:t>Interval mezi vyšetřeními v rámci ČR se každým rokem zvyšuje. Tento průměrný interval dosahoval v roce 2024 86 dnů (medián 58 dnů)</a:t>
            </a:r>
            <a:r>
              <a:rPr lang="cs-CZ" sz="1400" dirty="0"/>
              <a:t>. </a:t>
            </a:r>
            <a:r>
              <a:rPr lang="cs-CZ" sz="1400" b="1" dirty="0">
                <a:solidFill>
                  <a:schemeClr val="accent1"/>
                </a:solidFill>
              </a:rPr>
              <a:t>Nejnižší medián intervalu mezi vyšetřeními v roce 2024 </a:t>
            </a:r>
            <a:r>
              <a:rPr lang="cs-CZ" sz="1400" dirty="0"/>
              <a:t>(38 dnů) byl zaznamenán v </a:t>
            </a:r>
            <a:r>
              <a:rPr lang="cs-CZ" sz="1400" b="1" dirty="0">
                <a:solidFill>
                  <a:schemeClr val="accent1"/>
                </a:solidFill>
              </a:rPr>
              <a:t>Kraji Vysočina </a:t>
            </a:r>
            <a:r>
              <a:rPr lang="cs-CZ" sz="1400" dirty="0"/>
              <a:t>(s počtem 168 vyšetřených osob) a </a:t>
            </a:r>
            <a:r>
              <a:rPr lang="cs-CZ" sz="1400" b="1" dirty="0">
                <a:solidFill>
                  <a:schemeClr val="accent1"/>
                </a:solidFill>
              </a:rPr>
              <a:t>nejvyšší medián intervalu </a:t>
            </a:r>
            <a:r>
              <a:rPr lang="cs-CZ" sz="1400" dirty="0"/>
              <a:t>(223 dnů) byl zaznamenán v</a:t>
            </a:r>
            <a:r>
              <a:rPr lang="cs-CZ" sz="1400" b="1" dirty="0">
                <a:solidFill>
                  <a:schemeClr val="accent1"/>
                </a:solidFill>
              </a:rPr>
              <a:t> Pardubickém kraji </a:t>
            </a:r>
            <a:r>
              <a:rPr lang="cs-CZ" sz="1400" dirty="0"/>
              <a:t>(s počtem 64 vyšetřených osob).</a:t>
            </a:r>
          </a:p>
        </p:txBody>
      </p:sp>
      <p:graphicFrame>
        <p:nvGraphicFramePr>
          <p:cNvPr id="9" name="Zástupný symbol pro obsah 5">
            <a:extLst>
              <a:ext uri="{FF2B5EF4-FFF2-40B4-BE49-F238E27FC236}">
                <a16:creationId xmlns:a16="http://schemas.microsoft.com/office/drawing/2014/main" id="{2417B6F4-FB65-82F9-4A09-E7AF9AD679F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13676037"/>
              </p:ext>
            </p:extLst>
          </p:nvPr>
        </p:nvGraphicFramePr>
        <p:xfrm>
          <a:off x="-154378" y="1612324"/>
          <a:ext cx="7807561" cy="43899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" name="TextovéPole 10">
            <a:extLst>
              <a:ext uri="{FF2B5EF4-FFF2-40B4-BE49-F238E27FC236}">
                <a16:creationId xmlns:a16="http://schemas.microsoft.com/office/drawing/2014/main" id="{A9F79559-7A87-81FA-ABD1-D24D72368F6C}"/>
              </a:ext>
            </a:extLst>
          </p:cNvPr>
          <p:cNvSpPr txBox="1"/>
          <p:nvPr/>
        </p:nvSpPr>
        <p:spPr>
          <a:xfrm>
            <a:off x="1533697" y="1264025"/>
            <a:ext cx="73149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počet vychází z </a:t>
            </a:r>
            <a:r>
              <a:rPr kumimoji="0" lang="cs-CZ" sz="110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iodového</a:t>
            </a:r>
            <a:r>
              <a:rPr kumimoji="0" lang="cs-CZ" sz="11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hledu, tedy z posloupnosti vyšetření: radiolog </a:t>
            </a:r>
            <a:r>
              <a:rPr kumimoji="0" lang="cs-CZ" sz="11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Wingdings" panose="05000000000000000000" pitchFamily="2" charset="2"/>
              </a:rPr>
              <a:t> pneumolog  praktický lékař</a:t>
            </a:r>
            <a:endParaRPr kumimoji="0" lang="cs-CZ" sz="110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DC212B29-3D63-180C-4D96-8EDE5D5CA980}"/>
              </a:ext>
            </a:extLst>
          </p:cNvPr>
          <p:cNvSpPr txBox="1"/>
          <p:nvPr/>
        </p:nvSpPr>
        <p:spPr>
          <a:xfrm>
            <a:off x="7107122" y="4569423"/>
            <a:ext cx="478240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050" b="1" dirty="0">
                <a:solidFill>
                  <a:srgbClr val="E6B03C">
                    <a:lumMod val="10000"/>
                  </a:srgbClr>
                </a:solidFill>
                <a:latin typeface="Arial" panose="020B0604020202020204"/>
              </a:rPr>
              <a:t>*</a:t>
            </a:r>
            <a:r>
              <a:rPr lang="cs-CZ" sz="1050" dirty="0">
                <a:solidFill>
                  <a:srgbClr val="E6B03C">
                    <a:lumMod val="10000"/>
                  </a:srgbClr>
                </a:solidFill>
                <a:latin typeface="Arial" panose="020B0604020202020204"/>
              </a:rPr>
              <a:t>V Karlovarském kraji v hodnoceném období nebylo žádné akreditované radiologické centrum, proto v tomto kraji nejsou vyšetřeny žádné osoby.</a:t>
            </a:r>
            <a:endParaRPr kumimoji="0" lang="cs-CZ" sz="1050" i="0" u="none" strike="noStrike" kern="1200" cap="none" spc="0" normalizeH="0" baseline="0" noProof="0" dirty="0">
              <a:ln>
                <a:noFill/>
              </a:ln>
              <a:solidFill>
                <a:srgbClr val="E6B03C">
                  <a:lumMod val="1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268688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>
            <a:extLst>
              <a:ext uri="{FF2B5EF4-FFF2-40B4-BE49-F238E27FC236}">
                <a16:creationId xmlns:a16="http://schemas.microsoft.com/office/drawing/2014/main" id="{EA2DDA38-176D-AE75-ACBD-46003604A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475199"/>
            <a:ext cx="10435412" cy="720000"/>
          </a:xfrm>
        </p:spPr>
        <p:txBody>
          <a:bodyPr>
            <a:normAutofit/>
          </a:bodyPr>
          <a:lstStyle/>
          <a:p>
            <a:r>
              <a:rPr lang="pl-PL" dirty="0"/>
              <a:t>Provedení LDCt u obyvatel Jihočeského kraje a okolí</a:t>
            </a:r>
            <a:endParaRPr lang="cs-CZ" dirty="0"/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E5CF0424-DA42-6527-47C0-EAFD32B30985}"/>
              </a:ext>
            </a:extLst>
          </p:cNvPr>
          <p:cNvSpPr txBox="1"/>
          <p:nvPr/>
        </p:nvSpPr>
        <p:spPr>
          <a:xfrm>
            <a:off x="467270" y="5482866"/>
            <a:ext cx="7436356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cs-CZ" sz="1200" dirty="0"/>
              <a:t>Pozn.: 78 pacientů nemělo uveden kraj svého bydliště a nebyli tak zařazeny do výpočtu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55625CE1-7ED6-ABD6-7CF8-6B7DA4C58AE9}"/>
              </a:ext>
            </a:extLst>
          </p:cNvPr>
          <p:cNvSpPr txBox="1"/>
          <p:nvPr/>
        </p:nvSpPr>
        <p:spPr>
          <a:xfrm rot="16200000">
            <a:off x="-1066931" y="3773245"/>
            <a:ext cx="2900711" cy="286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cs-CZ" sz="1400" b="1" dirty="0">
                <a:solidFill>
                  <a:srgbClr val="2C2F79"/>
                </a:solidFill>
              </a:rPr>
              <a:t>Kraj radiologického pracoviště</a:t>
            </a:r>
          </a:p>
        </p:txBody>
      </p:sp>
      <p:sp>
        <p:nvSpPr>
          <p:cNvPr id="10" name="Rectangle 21">
            <a:extLst>
              <a:ext uri="{FF2B5EF4-FFF2-40B4-BE49-F238E27FC236}">
                <a16:creationId xmlns:a16="http://schemas.microsoft.com/office/drawing/2014/main" id="{EDEE4D56-32B6-3615-7FED-218F61B3007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035927" y="1225909"/>
            <a:ext cx="2978851" cy="4308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ouze pacienti ve věku 55–74 let</a:t>
            </a:r>
          </a:p>
        </p:txBody>
      </p:sp>
      <p:sp>
        <p:nvSpPr>
          <p:cNvPr id="11" name="Zástupný text 3">
            <a:extLst>
              <a:ext uri="{FF2B5EF4-FFF2-40B4-BE49-F238E27FC236}">
                <a16:creationId xmlns:a16="http://schemas.microsoft.com/office/drawing/2014/main" id="{CECDD70B-F6E7-6B70-2F4F-FC6B75EE9ABB}"/>
              </a:ext>
            </a:extLst>
          </p:cNvPr>
          <p:cNvSpPr txBox="1">
            <a:spLocks/>
          </p:cNvSpPr>
          <p:nvPr/>
        </p:nvSpPr>
        <p:spPr>
          <a:xfrm>
            <a:off x="8794126" y="766351"/>
            <a:ext cx="3261286" cy="7200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NRHZS</a:t>
            </a: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za období: 1. 1. 2022 – 31. 12. 2024</a:t>
            </a:r>
          </a:p>
        </p:txBody>
      </p:sp>
      <p:sp>
        <p:nvSpPr>
          <p:cNvPr id="4" name="Zástupný text 5">
            <a:extLst>
              <a:ext uri="{FF2B5EF4-FFF2-40B4-BE49-F238E27FC236}">
                <a16:creationId xmlns:a16="http://schemas.microsoft.com/office/drawing/2014/main" id="{8AE12E82-BDCD-EC0B-EA21-7F02C2577DCC}"/>
              </a:ext>
            </a:extLst>
          </p:cNvPr>
          <p:cNvSpPr txBox="1">
            <a:spLocks/>
          </p:cNvSpPr>
          <p:nvPr/>
        </p:nvSpPr>
        <p:spPr>
          <a:xfrm>
            <a:off x="807156" y="6140234"/>
            <a:ext cx="10728000" cy="573930"/>
          </a:xfrm>
          <a:prstGeom prst="rect">
            <a:avLst/>
          </a:prstGeom>
          <a:ln w="28575">
            <a:solidFill>
              <a:srgbClr val="2C2F79"/>
            </a:solidFill>
          </a:ln>
        </p:spPr>
        <p:txBody>
          <a:bodyPr vert="horz" lIns="91440" tIns="45720" rIns="91440" bIns="45720" rtlCol="0" anchor="ctr">
            <a:normAutofit fontScale="925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cs-CZ" sz="1300" b="1" dirty="0">
                <a:solidFill>
                  <a:schemeClr val="accent1"/>
                </a:solidFill>
              </a:rPr>
              <a:t>Radiologická pracoviště v Jihočeském kraji primárně poskytla LDCT vyšetření obyvatelům tohoto kraje </a:t>
            </a:r>
            <a:r>
              <a:rPr lang="cs-CZ" sz="1300" dirty="0"/>
              <a:t>(94 % LDCT vyšetření provedených </a:t>
            </a:r>
            <a:br>
              <a:rPr lang="cs-CZ" sz="1300" dirty="0"/>
            </a:br>
            <a:r>
              <a:rPr lang="cs-CZ" sz="1300" dirty="0"/>
              <a:t>v tomto kraji). Avšak </a:t>
            </a:r>
            <a:r>
              <a:rPr lang="cs-CZ" sz="1300" b="1" dirty="0">
                <a:solidFill>
                  <a:schemeClr val="accent1"/>
                </a:solidFill>
              </a:rPr>
              <a:t>radiologická pracoviště v Jihočeském kraji jsou mírně využívána i obyvateli z kraje Vysočina.</a:t>
            </a:r>
            <a:endParaRPr lang="cs-CZ" sz="1100" b="1" dirty="0">
              <a:solidFill>
                <a:schemeClr val="accent1"/>
              </a:solidFill>
            </a:endParaRPr>
          </a:p>
        </p:txBody>
      </p:sp>
      <p:graphicFrame>
        <p:nvGraphicFramePr>
          <p:cNvPr id="3" name="Tabulka 7">
            <a:extLst>
              <a:ext uri="{FF2B5EF4-FFF2-40B4-BE49-F238E27FC236}">
                <a16:creationId xmlns:a16="http://schemas.microsoft.com/office/drawing/2014/main" id="{3D84A53D-3729-A886-B7D1-2F74FE7A07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615573"/>
              </p:ext>
            </p:extLst>
          </p:nvPr>
        </p:nvGraphicFramePr>
        <p:xfrm>
          <a:off x="526541" y="1701718"/>
          <a:ext cx="11453792" cy="36408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0730">
                  <a:extLst>
                    <a:ext uri="{9D8B030D-6E8A-4147-A177-3AD203B41FA5}">
                      <a16:colId xmlns:a16="http://schemas.microsoft.com/office/drawing/2014/main" val="2496513978"/>
                    </a:ext>
                  </a:extLst>
                </a:gridCol>
                <a:gridCol w="890730">
                  <a:extLst>
                    <a:ext uri="{9D8B030D-6E8A-4147-A177-3AD203B41FA5}">
                      <a16:colId xmlns:a16="http://schemas.microsoft.com/office/drawing/2014/main" val="3161106342"/>
                    </a:ext>
                  </a:extLst>
                </a:gridCol>
                <a:gridCol w="890730">
                  <a:extLst>
                    <a:ext uri="{9D8B030D-6E8A-4147-A177-3AD203B41FA5}">
                      <a16:colId xmlns:a16="http://schemas.microsoft.com/office/drawing/2014/main" val="3783431783"/>
                    </a:ext>
                  </a:extLst>
                </a:gridCol>
                <a:gridCol w="1075476">
                  <a:extLst>
                    <a:ext uri="{9D8B030D-6E8A-4147-A177-3AD203B41FA5}">
                      <a16:colId xmlns:a16="http://schemas.microsoft.com/office/drawing/2014/main" val="12959041"/>
                    </a:ext>
                  </a:extLst>
                </a:gridCol>
                <a:gridCol w="973666">
                  <a:extLst>
                    <a:ext uri="{9D8B030D-6E8A-4147-A177-3AD203B41FA5}">
                      <a16:colId xmlns:a16="http://schemas.microsoft.com/office/drawing/2014/main" val="3971882458"/>
                    </a:ext>
                  </a:extLst>
                </a:gridCol>
                <a:gridCol w="1143000">
                  <a:extLst>
                    <a:ext uri="{9D8B030D-6E8A-4147-A177-3AD203B41FA5}">
                      <a16:colId xmlns:a16="http://schemas.microsoft.com/office/drawing/2014/main" val="3043129089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139972730"/>
                    </a:ext>
                  </a:extLst>
                </a:gridCol>
                <a:gridCol w="1029558">
                  <a:extLst>
                    <a:ext uri="{9D8B030D-6E8A-4147-A177-3AD203B41FA5}">
                      <a16:colId xmlns:a16="http://schemas.microsoft.com/office/drawing/2014/main" val="4242289246"/>
                    </a:ext>
                  </a:extLst>
                </a:gridCol>
                <a:gridCol w="799242">
                  <a:extLst>
                    <a:ext uri="{9D8B030D-6E8A-4147-A177-3AD203B41FA5}">
                      <a16:colId xmlns:a16="http://schemas.microsoft.com/office/drawing/2014/main" val="2858147600"/>
                    </a:ext>
                  </a:extLst>
                </a:gridCol>
                <a:gridCol w="880534">
                  <a:extLst>
                    <a:ext uri="{9D8B030D-6E8A-4147-A177-3AD203B41FA5}">
                      <a16:colId xmlns:a16="http://schemas.microsoft.com/office/drawing/2014/main" val="929145610"/>
                    </a:ext>
                  </a:extLst>
                </a:gridCol>
                <a:gridCol w="856593">
                  <a:extLst>
                    <a:ext uri="{9D8B030D-6E8A-4147-A177-3AD203B41FA5}">
                      <a16:colId xmlns:a16="http://schemas.microsoft.com/office/drawing/2014/main" val="2188709282"/>
                    </a:ext>
                  </a:extLst>
                </a:gridCol>
                <a:gridCol w="1109133">
                  <a:extLst>
                    <a:ext uri="{9D8B030D-6E8A-4147-A177-3AD203B41FA5}">
                      <a16:colId xmlns:a16="http://schemas.microsoft.com/office/drawing/2014/main" val="203582770"/>
                    </a:ext>
                  </a:extLst>
                </a:gridCol>
              </a:tblGrid>
              <a:tr h="555178">
                <a:tc rowSpan="2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200" b="1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200" b="1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Tábo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200" b="1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Písek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200" b="1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České Budějovi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Jindřichův Hradec</a:t>
                      </a:r>
                      <a:endParaRPr lang="en-GB" sz="1200" dirty="0"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Prachatice</a:t>
                      </a:r>
                      <a:endParaRPr lang="en-GB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200" b="1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Český Krumlov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200" b="1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Strakoni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200" b="1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PLK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200" b="1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STC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VYS</a:t>
                      </a:r>
                      <a:endParaRPr lang="en-GB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200" b="1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Zbytek Č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7555494"/>
                  </a:ext>
                </a:extLst>
              </a:tr>
              <a:tr h="3097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b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 gridSpan="1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Počet (podíl) vyšetřených osob s daným místem bydliště</a:t>
                      </a:r>
                    </a:p>
                  </a:txBody>
                  <a:tcPr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b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b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mpd="sng">
                      <a:noFill/>
                    </a:lnL>
                    <a:lnT w="38100" cmpd="sng">
                      <a:noFill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mpd="sng">
                      <a:noFill/>
                    </a:lnL>
                    <a:lnT w="38100" cmpd="sng">
                      <a:noFill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mpd="sng">
                      <a:noFill/>
                    </a:lnL>
                    <a:lnT w="38100" cmpd="sng">
                      <a:noFill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mpd="sng">
                      <a:noFill/>
                    </a:lnL>
                    <a:lnT w="38100" cmpd="sng">
                      <a:noFill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mpd="sng">
                      <a:noFill/>
                    </a:lnL>
                    <a:lnT w="38100" cmpd="sng">
                      <a:noFill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mpd="sng">
                      <a:noFill/>
                    </a:lnL>
                    <a:lnT w="38100" cmpd="sng">
                      <a:noFill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mpd="sng">
                      <a:noFill/>
                    </a:lnL>
                    <a:lnT w="38100" cmpd="sng">
                      <a:noFill/>
                    </a:lnT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b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54990762"/>
                  </a:ext>
                </a:extLst>
              </a:tr>
              <a:tr h="55517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JHC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26</a:t>
                      </a:r>
                      <a:r>
                        <a:rPr lang="cs-CZ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93,4 %)</a:t>
                      </a:r>
                      <a:endParaRPr lang="en-GB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18</a:t>
                      </a:r>
                      <a:r>
                        <a:rPr lang="cs-CZ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87,4 %)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87</a:t>
                      </a:r>
                      <a:r>
                        <a:rPr lang="cs-CZ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94,6 %)</a:t>
                      </a:r>
                      <a:endParaRPr lang="en-GB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86</a:t>
                      </a:r>
                      <a:r>
                        <a:rPr lang="cs-CZ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74,8 %)</a:t>
                      </a:r>
                      <a:endParaRPr lang="en-GB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62</a:t>
                      </a:r>
                      <a:r>
                        <a:rPr lang="cs-CZ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98,4 %)</a:t>
                      </a:r>
                      <a:endParaRPr lang="en-GB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54</a:t>
                      </a:r>
                      <a:r>
                        <a:rPr lang="cs-CZ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100,0 %)</a:t>
                      </a:r>
                      <a:endParaRPr lang="en-GB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40</a:t>
                      </a:r>
                      <a:r>
                        <a:rPr lang="cs-CZ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87,0 %)</a:t>
                      </a:r>
                      <a:endParaRPr lang="en-GB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0,6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7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0,3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6</a:t>
                      </a:r>
                      <a:r>
                        <a:rPr lang="cs-CZ" sz="10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5,2 %)</a:t>
                      </a:r>
                      <a:endParaRPr lang="en-GB" sz="1000" b="0" i="0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1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0,1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8822370"/>
                  </a:ext>
                </a:extLst>
              </a:tr>
              <a:tr h="55517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LK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0,4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1,1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2,2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328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93,4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8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2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0,5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08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2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4429184"/>
                  </a:ext>
                </a:extLst>
              </a:tr>
              <a:tr h="55517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TC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0,3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33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38,8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8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6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3,2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73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1,6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40771"/>
                  </a:ext>
                </a:extLst>
              </a:tr>
              <a:tr h="55517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Y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0,7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5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21,7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&lt;0,1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421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84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8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5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&lt;0,1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7586959"/>
                  </a:ext>
                </a:extLst>
              </a:tr>
              <a:tr h="55517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bytek Č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5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6,2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6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11,9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4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4,3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4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3,5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1,6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5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10,9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5,7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611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60,5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38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7,6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51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96,3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8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9849542"/>
                  </a:ext>
                </a:extLst>
              </a:tr>
            </a:tbl>
          </a:graphicData>
        </a:graphic>
      </p:graphicFrame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E7592C0-A19B-78B9-9CBE-1A87307EC2B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83271" y="90540"/>
            <a:ext cx="2477004" cy="403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22816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>
            <a:extLst>
              <a:ext uri="{FF2B5EF4-FFF2-40B4-BE49-F238E27FC236}">
                <a16:creationId xmlns:a16="http://schemas.microsoft.com/office/drawing/2014/main" id="{EA2DDA38-176D-AE75-ACBD-46003604A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0328" y="483907"/>
            <a:ext cx="9962400" cy="960233"/>
          </a:xfrm>
        </p:spPr>
        <p:txBody>
          <a:bodyPr>
            <a:normAutofit/>
          </a:bodyPr>
          <a:lstStyle/>
          <a:p>
            <a:r>
              <a:rPr lang="cs-CZ" dirty="0"/>
              <a:t>Celkové výsledky LDCT v rámci 1. screeningové epizody </a:t>
            </a:r>
            <a:r>
              <a:rPr lang="cs-CZ" dirty="0">
                <a:solidFill>
                  <a:schemeClr val="accent3"/>
                </a:solidFill>
              </a:rPr>
              <a:t>v české republice a jihočeském kraji </a:t>
            </a:r>
          </a:p>
        </p:txBody>
      </p:sp>
      <p:sp>
        <p:nvSpPr>
          <p:cNvPr id="24" name="Rectangle 21">
            <a:extLst>
              <a:ext uri="{FF2B5EF4-FFF2-40B4-BE49-F238E27FC236}">
                <a16:creationId xmlns:a16="http://schemas.microsoft.com/office/drawing/2014/main" id="{64DF5E38-24A9-136D-95B1-C5B4A54397D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544190" y="1167543"/>
            <a:ext cx="2179197" cy="4308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DDCE0">
                  <a:lumMod val="2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Zástupný text 5">
            <a:extLst>
              <a:ext uri="{FF2B5EF4-FFF2-40B4-BE49-F238E27FC236}">
                <a16:creationId xmlns:a16="http://schemas.microsoft.com/office/drawing/2014/main" id="{F9907E1D-2C93-C55B-551A-6D34C7D9BF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96531" y="5995016"/>
            <a:ext cx="11803686" cy="758153"/>
          </a:xfrm>
        </p:spPr>
        <p:txBody>
          <a:bodyPr anchor="t"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defRPr/>
            </a:pPr>
            <a:r>
              <a:rPr lang="cs-CZ" sz="1400" dirty="0">
                <a:solidFill>
                  <a:schemeClr val="accent6">
                    <a:lumMod val="10000"/>
                  </a:schemeClr>
                </a:solidFill>
                <a:effectLst/>
                <a:latin typeface="+mj-lt"/>
                <a:ea typeface="Times New Roman" panose="02020603050405020304" pitchFamily="18" charset="0"/>
              </a:rPr>
              <a:t>Na základě prvního LDCT vyšetření (resp. posledního vyšetření LDCT po neurčitém výsledku) byla </a:t>
            </a:r>
            <a:r>
              <a:rPr lang="cs-CZ" sz="1400" b="1" dirty="0">
                <a:solidFill>
                  <a:schemeClr val="accent1"/>
                </a:solidFill>
                <a:effectLst/>
                <a:latin typeface="+mj-lt"/>
                <a:ea typeface="Times New Roman" panose="02020603050405020304" pitchFamily="18" charset="0"/>
              </a:rPr>
              <a:t>většina pacientů v ČR a </a:t>
            </a:r>
            <a:r>
              <a:rPr lang="cs-CZ" sz="1400" b="1" dirty="0">
                <a:solidFill>
                  <a:schemeClr val="accent1"/>
                </a:solidFill>
                <a:latin typeface="+mj-lt"/>
                <a:ea typeface="Times New Roman" panose="02020603050405020304" pitchFamily="18" charset="0"/>
              </a:rPr>
              <a:t>Jihočeském</a:t>
            </a:r>
            <a:r>
              <a:rPr lang="cs-CZ" sz="1400" b="1" dirty="0">
                <a:solidFill>
                  <a:schemeClr val="accent1"/>
                </a:solidFill>
                <a:effectLst/>
                <a:latin typeface="+mj-lt"/>
                <a:ea typeface="Times New Roman" panose="02020603050405020304" pitchFamily="18" charset="0"/>
              </a:rPr>
              <a:t> kraji </a:t>
            </a:r>
            <a:br>
              <a:rPr lang="cs-CZ" sz="1400" b="1" dirty="0">
                <a:solidFill>
                  <a:schemeClr val="accent1"/>
                </a:solidFill>
                <a:effectLst/>
                <a:latin typeface="+mj-lt"/>
                <a:ea typeface="Times New Roman" panose="02020603050405020304" pitchFamily="18" charset="0"/>
              </a:rPr>
            </a:br>
            <a:r>
              <a:rPr lang="cs-CZ" sz="1400" b="1" dirty="0">
                <a:solidFill>
                  <a:schemeClr val="accent1"/>
                </a:solidFill>
                <a:effectLst/>
                <a:latin typeface="+mj-lt"/>
                <a:ea typeface="Times New Roman" panose="02020603050405020304" pitchFamily="18" charset="0"/>
              </a:rPr>
              <a:t>(89 %) negativních</a:t>
            </a:r>
            <a:r>
              <a:rPr lang="cs-CZ" sz="1400" dirty="0">
                <a:solidFill>
                  <a:schemeClr val="accent6">
                    <a:lumMod val="10000"/>
                  </a:schemeClr>
                </a:solidFill>
                <a:effectLst/>
                <a:latin typeface="+mj-lt"/>
                <a:ea typeface="Times New Roman" panose="02020603050405020304" pitchFamily="18" charset="0"/>
              </a:rPr>
              <a:t>. Celkem </a:t>
            </a:r>
            <a:r>
              <a:rPr lang="cs-CZ" sz="1400" dirty="0">
                <a:solidFill>
                  <a:schemeClr val="accent6">
                    <a:lumMod val="10000"/>
                  </a:schemeClr>
                </a:solidFill>
                <a:latin typeface="+mj-lt"/>
                <a:ea typeface="Times New Roman" panose="02020603050405020304" pitchFamily="18" charset="0"/>
              </a:rPr>
              <a:t>486 osob z ČR mělo </a:t>
            </a:r>
            <a:r>
              <a:rPr lang="cs-CZ" sz="1400" b="1" dirty="0">
                <a:solidFill>
                  <a:schemeClr val="accent1"/>
                </a:solidFill>
                <a:latin typeface="+mj-lt"/>
              </a:rPr>
              <a:t>výsledek LDCT rizikový, z nich 3,5 %</a:t>
            </a:r>
            <a:r>
              <a:rPr lang="cs-CZ" sz="1400" dirty="0">
                <a:solidFill>
                  <a:schemeClr val="bg2">
                    <a:lumMod val="10000"/>
                  </a:schemeClr>
                </a:solidFill>
                <a:latin typeface="+mj-lt"/>
              </a:rPr>
              <a:t> (N = 17) tvořily </a:t>
            </a:r>
            <a:r>
              <a:rPr lang="cs-CZ" sz="1400" b="1" dirty="0">
                <a:solidFill>
                  <a:schemeClr val="accent1"/>
                </a:solidFill>
                <a:latin typeface="+mj-lt"/>
              </a:rPr>
              <a:t>osoby žijící </a:t>
            </a:r>
            <a:br>
              <a:rPr lang="cs-CZ" sz="1400" b="1" dirty="0">
                <a:solidFill>
                  <a:schemeClr val="accent1"/>
                </a:solidFill>
                <a:latin typeface="+mj-lt"/>
              </a:rPr>
            </a:br>
            <a:r>
              <a:rPr lang="cs-CZ" sz="1400" b="1" dirty="0">
                <a:solidFill>
                  <a:schemeClr val="accent1"/>
                </a:solidFill>
                <a:latin typeface="+mj-lt"/>
              </a:rPr>
              <a:t>v Jihočeském kraji</a:t>
            </a:r>
            <a:r>
              <a:rPr lang="cs-CZ" sz="1400" dirty="0">
                <a:solidFill>
                  <a:schemeClr val="accent6">
                    <a:lumMod val="10000"/>
                  </a:schemeClr>
                </a:solidFill>
                <a:latin typeface="+mj-lt"/>
                <a:ea typeface="Times New Roman" panose="02020603050405020304" pitchFamily="18" charset="0"/>
              </a:rPr>
              <a:t>. </a:t>
            </a:r>
            <a:r>
              <a:rPr lang="cs-CZ" sz="1400" b="1" dirty="0">
                <a:solidFill>
                  <a:schemeClr val="accent1"/>
                </a:solidFill>
                <a:latin typeface="+mj-lt"/>
                <a:ea typeface="Times New Roman" panose="02020603050405020304" pitchFamily="18" charset="0"/>
              </a:rPr>
              <a:t>Pa</a:t>
            </a:r>
            <a:r>
              <a:rPr lang="cs-CZ" sz="1400" b="1" dirty="0">
                <a:solidFill>
                  <a:schemeClr val="accent1"/>
                </a:solidFill>
                <a:latin typeface="+mj-lt"/>
              </a:rPr>
              <a:t>cienti s rizikovým výsledkem LDCT jsou dále zasílání do specializovaných </a:t>
            </a:r>
            <a:r>
              <a:rPr lang="cs-CZ" sz="1400" b="1" dirty="0" err="1">
                <a:solidFill>
                  <a:schemeClr val="accent1"/>
                </a:solidFill>
                <a:latin typeface="+mj-lt"/>
              </a:rPr>
              <a:t>pneumoonkochirugických</a:t>
            </a:r>
            <a:r>
              <a:rPr lang="cs-CZ" sz="1400" b="1" dirty="0">
                <a:solidFill>
                  <a:schemeClr val="accent1"/>
                </a:solidFill>
                <a:latin typeface="+mj-lt"/>
              </a:rPr>
              <a:t> center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400" b="1" dirty="0">
              <a:solidFill>
                <a:srgbClr val="274073"/>
              </a:solidFill>
              <a:latin typeface="+mj-lt"/>
            </a:endParaRPr>
          </a:p>
        </p:txBody>
      </p:sp>
      <p:sp>
        <p:nvSpPr>
          <p:cNvPr id="9" name="Zástupný symbol pro obsah 4">
            <a:extLst>
              <a:ext uri="{FF2B5EF4-FFF2-40B4-BE49-F238E27FC236}">
                <a16:creationId xmlns:a16="http://schemas.microsoft.com/office/drawing/2014/main" id="{882296C3-A772-48B8-1C30-6C30B1FD8217}"/>
              </a:ext>
            </a:extLst>
          </p:cNvPr>
          <p:cNvSpPr txBox="1">
            <a:spLocks/>
          </p:cNvSpPr>
          <p:nvPr/>
        </p:nvSpPr>
        <p:spPr>
          <a:xfrm>
            <a:off x="1402614" y="1314369"/>
            <a:ext cx="5262138" cy="4021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200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ykázané zdravotní výkony: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9663, 89664</a:t>
            </a:r>
            <a:r>
              <a:rPr lang="cs-CZ" sz="1100" b="0" dirty="0">
                <a:solidFill>
                  <a:srgbClr val="DDDCE0">
                    <a:lumMod val="10000"/>
                  </a:srgbClr>
                </a:solidFill>
                <a:latin typeface="Arial" panose="020B0604020202020204"/>
              </a:rPr>
              <a:t>,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9665</a:t>
            </a:r>
          </a:p>
          <a:p>
            <a:pPr marL="7200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DDDCE0">
                  <a:lumMod val="1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Zástupný text 3">
            <a:extLst>
              <a:ext uri="{FF2B5EF4-FFF2-40B4-BE49-F238E27FC236}">
                <a16:creationId xmlns:a16="http://schemas.microsoft.com/office/drawing/2014/main" id="{B5C1C1B5-6271-0975-46B9-E64E0F1E40A5}"/>
              </a:ext>
            </a:extLst>
          </p:cNvPr>
          <p:cNvSpPr txBox="1">
            <a:spLocks/>
          </p:cNvSpPr>
          <p:nvPr/>
        </p:nvSpPr>
        <p:spPr>
          <a:xfrm>
            <a:off x="9597790" y="969440"/>
            <a:ext cx="2932035" cy="9494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</a:t>
            </a:r>
            <a:b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RHZS</a:t>
            </a:r>
            <a:r>
              <a:rPr kumimoji="0" lang="cs-CZ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  <a:r>
              <a:rPr kumimoji="0" lang="cs-CZ" sz="110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1. 2022 – 30. 9. 2024 </a:t>
            </a:r>
            <a:endParaRPr kumimoji="0" lang="cs-CZ" sz="11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Rectangle 21">
            <a:extLst>
              <a:ext uri="{FF2B5EF4-FFF2-40B4-BE49-F238E27FC236}">
                <a16:creationId xmlns:a16="http://schemas.microsoft.com/office/drawing/2014/main" id="{99BE57E3-BE62-9E83-F37D-9BDD3FA8403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89077" y="1340595"/>
            <a:ext cx="2978851" cy="4308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ouze pacienti ve věku 55–74 let</a:t>
            </a:r>
          </a:p>
        </p:txBody>
      </p:sp>
      <p:graphicFrame>
        <p:nvGraphicFramePr>
          <p:cNvPr id="8" name="Zástupný symbol pro obsah 5">
            <a:extLst>
              <a:ext uri="{FF2B5EF4-FFF2-40B4-BE49-F238E27FC236}">
                <a16:creationId xmlns:a16="http://schemas.microsoft.com/office/drawing/2014/main" id="{A47CB224-1A5C-5E37-7FF8-C70DA9989BD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33745743"/>
              </p:ext>
            </p:extLst>
          </p:nvPr>
        </p:nvGraphicFramePr>
        <p:xfrm>
          <a:off x="7028329" y="1687209"/>
          <a:ext cx="4766127" cy="4064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Zástupný symbol pro obsah 5">
            <a:extLst>
              <a:ext uri="{FF2B5EF4-FFF2-40B4-BE49-F238E27FC236}">
                <a16:creationId xmlns:a16="http://schemas.microsoft.com/office/drawing/2014/main" id="{1E7ADD71-3C19-BDF5-864A-F71816AD4EA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93802534"/>
              </p:ext>
            </p:extLst>
          </p:nvPr>
        </p:nvGraphicFramePr>
        <p:xfrm>
          <a:off x="-470977" y="1630911"/>
          <a:ext cx="5967034" cy="42511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12DEF1BC-CEB3-0A0B-84D5-E2675C31F8AF}"/>
              </a:ext>
            </a:extLst>
          </p:cNvPr>
          <p:cNvSpPr txBox="1"/>
          <p:nvPr/>
        </p:nvSpPr>
        <p:spPr>
          <a:xfrm>
            <a:off x="3723387" y="2922137"/>
            <a:ext cx="3153367" cy="175432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cs-CZ" sz="1200" b="1" dirty="0">
                <a:solidFill>
                  <a:schemeClr val="bg1"/>
                </a:solidFill>
                <a:latin typeface="+mj-lt"/>
              </a:rPr>
              <a:t>Díky realizaci reportingu bylo v Praze zjištěno, že u </a:t>
            </a:r>
            <a:r>
              <a:rPr lang="cs-CZ" sz="1200" b="1" u="sng" dirty="0">
                <a:solidFill>
                  <a:schemeClr val="bg1"/>
                </a:solidFill>
                <a:latin typeface="+mj-lt"/>
              </a:rPr>
              <a:t>40 pacientů</a:t>
            </a:r>
            <a:r>
              <a:rPr lang="cs-CZ" sz="1200" b="1" dirty="0">
                <a:solidFill>
                  <a:schemeClr val="bg1"/>
                </a:solidFill>
                <a:latin typeface="+mj-lt"/>
              </a:rPr>
              <a:t> byl výsledek LDCT </a:t>
            </a:r>
            <a:r>
              <a:rPr lang="cs-CZ" sz="1200" b="1" u="sng" dirty="0">
                <a:solidFill>
                  <a:schemeClr val="bg1"/>
                </a:solidFill>
                <a:latin typeface="+mj-lt"/>
              </a:rPr>
              <a:t>chybně</a:t>
            </a:r>
            <a:r>
              <a:rPr lang="cs-CZ" sz="1200" b="1" dirty="0">
                <a:solidFill>
                  <a:schemeClr val="bg1"/>
                </a:solidFill>
                <a:latin typeface="+mj-lt"/>
              </a:rPr>
              <a:t> vykázán jako pozitivní.</a:t>
            </a:r>
            <a:br>
              <a:rPr lang="cs-CZ" sz="1200" b="1" dirty="0">
                <a:solidFill>
                  <a:schemeClr val="bg1"/>
                </a:solidFill>
                <a:latin typeface="+mj-lt"/>
              </a:rPr>
            </a:br>
            <a:br>
              <a:rPr lang="cs-CZ" sz="1200" b="1" dirty="0">
                <a:solidFill>
                  <a:schemeClr val="bg1"/>
                </a:solidFill>
                <a:latin typeface="+mj-lt"/>
              </a:rPr>
            </a:br>
            <a:r>
              <a:rPr lang="cs-CZ" sz="1200" dirty="0">
                <a:solidFill>
                  <a:schemeClr val="bg1"/>
                </a:solidFill>
                <a:latin typeface="+mj-lt"/>
              </a:rPr>
              <a:t>Tito pacienti budou mít pravděpodobně negativní nebo neurčitý výsledek LDCT vyšetření. Opravy se v NRHZS objeví jakmile budou nesprávně vykázané výkony opraveny poskytovatelem.</a:t>
            </a:r>
          </a:p>
        </p:txBody>
      </p:sp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5A66905E-FF9E-566D-70B2-D1F0958DD6D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583271" y="90540"/>
            <a:ext cx="2477004" cy="403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94959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>
            <a:extLst>
              <a:ext uri="{FF2B5EF4-FFF2-40B4-BE49-F238E27FC236}">
                <a16:creationId xmlns:a16="http://schemas.microsoft.com/office/drawing/2014/main" id="{16A351A3-F0AE-0353-7E25-87EF4559BC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ersonální zázemí</a:t>
            </a:r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72543925-3314-FC7D-5A63-1A33CD0F49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5369816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BA3FDBDE-A4BB-9837-6EF2-3474238BE3CD}"/>
              </a:ext>
            </a:extLst>
          </p:cNvPr>
          <p:cNvGraphicFramePr>
            <a:graphicFrameLocks noGrp="1"/>
          </p:cNvGraphicFramePr>
          <p:nvPr/>
        </p:nvGraphicFramePr>
        <p:xfrm>
          <a:off x="4513572" y="1718079"/>
          <a:ext cx="7496482" cy="4450630"/>
        </p:xfrm>
        <a:graphic>
          <a:graphicData uri="http://schemas.openxmlformats.org/drawingml/2006/table">
            <a:tbl>
              <a:tblPr/>
              <a:tblGrid>
                <a:gridCol w="535463">
                  <a:extLst>
                    <a:ext uri="{9D8B030D-6E8A-4147-A177-3AD203B41FA5}">
                      <a16:colId xmlns:a16="http://schemas.microsoft.com/office/drawing/2014/main" val="1678723766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1330297458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1809223636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3628892294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2223718987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2172153319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805509027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3069212066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1037917762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2980279694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794820961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2766038060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1239481182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3084537212"/>
                    </a:ext>
                  </a:extLst>
                </a:gridCol>
              </a:tblGrid>
              <a:tr h="55504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93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C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F1F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9F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9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FBF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E1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7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1A9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9F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F5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C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508011"/>
                  </a:ext>
                </a:extLst>
              </a:tr>
              <a:tr h="52214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93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E0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F3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AF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FF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FAF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8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F2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9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6C0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F4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7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8575763"/>
                  </a:ext>
                </a:extLst>
              </a:tr>
              <a:tr h="571713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93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FBF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B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FF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F5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E2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F8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FBF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2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9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F3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180315"/>
                  </a:ext>
                </a:extLst>
              </a:tr>
              <a:tr h="53027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93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8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F3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E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C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D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E4F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E1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9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9AE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CF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AF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6B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2655"/>
                  </a:ext>
                </a:extLst>
              </a:tr>
              <a:tr h="53794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93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F8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F3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AF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FF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F7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8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F3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FF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CE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C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F5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8495063"/>
                  </a:ext>
                </a:extLst>
              </a:tr>
              <a:tr h="538385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93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8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F7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C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FF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6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D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F3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C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CF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FF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E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2183437"/>
                  </a:ext>
                </a:extLst>
              </a:tr>
              <a:tr h="640935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93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F1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F9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F8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3356670"/>
                  </a:ext>
                </a:extLst>
              </a:tr>
              <a:tr h="554184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93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E1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E6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DF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7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E2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C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F7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8B7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A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F1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BD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9101031"/>
                  </a:ext>
                </a:extLst>
              </a:tr>
            </a:tbl>
          </a:graphicData>
        </a:graphic>
      </p:graphicFrame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D5169362-07D5-733F-FB26-6C214E0135F1}"/>
              </a:ext>
            </a:extLst>
          </p:cNvPr>
          <p:cNvGraphicFramePr>
            <a:graphicFrameLocks noGrp="1"/>
          </p:cNvGraphicFramePr>
          <p:nvPr/>
        </p:nvGraphicFramePr>
        <p:xfrm>
          <a:off x="4513572" y="2274033"/>
          <a:ext cx="7496482" cy="524382"/>
        </p:xfrm>
        <a:graphic>
          <a:graphicData uri="http://schemas.openxmlformats.org/drawingml/2006/table">
            <a:tbl>
              <a:tblPr/>
              <a:tblGrid>
                <a:gridCol w="535463">
                  <a:extLst>
                    <a:ext uri="{9D8B030D-6E8A-4147-A177-3AD203B41FA5}">
                      <a16:colId xmlns:a16="http://schemas.microsoft.com/office/drawing/2014/main" val="4005109670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677623514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2762383906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2330973756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1674395941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3699918809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648352422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1914481934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1469843253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2337100771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3550349847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318344380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3947210145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3959232459"/>
                    </a:ext>
                  </a:extLst>
                </a:gridCol>
              </a:tblGrid>
              <a:tr h="52438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93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9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F0F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F3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F8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FCF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E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F3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C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3F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F1F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F7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A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1363004"/>
                  </a:ext>
                </a:extLst>
              </a:tr>
            </a:tbl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EE6FB153-99F9-4A25-A906-FF8C5818F7AA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33554" y="80484"/>
            <a:ext cx="11724892" cy="59815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Lékaři a NLZP v krajích - úvazky</a:t>
            </a: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368E04CA-8864-C378-F21B-598140249296}"/>
              </a:ext>
            </a:extLst>
          </p:cNvPr>
          <p:cNvSpPr txBox="1"/>
          <p:nvPr/>
        </p:nvSpPr>
        <p:spPr>
          <a:xfrm>
            <a:off x="5624623" y="6083376"/>
            <a:ext cx="61668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3000" dirty="0">
                <a:solidFill>
                  <a:schemeClr val="bg1"/>
                </a:solidFill>
                <a:latin typeface="Arial Black" panose="020B0A04020102020204" pitchFamily="34" charset="0"/>
              </a:rPr>
              <a:t>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835498A-9759-B54C-C3A3-2B8D2B4836B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6624" y="626136"/>
            <a:ext cx="80008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 + NRHZS, stav k 31.12.202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16E9E920-6450-92F0-95C7-70D96A07F6DD}"/>
              </a:ext>
            </a:extLst>
          </p:cNvPr>
          <p:cNvGraphicFramePr>
            <a:graphicFrameLocks noGrp="1"/>
          </p:cNvGraphicFramePr>
          <p:nvPr/>
        </p:nvGraphicFramePr>
        <p:xfrm>
          <a:off x="272591" y="1178731"/>
          <a:ext cx="11728917" cy="4981432"/>
        </p:xfrm>
        <a:graphic>
          <a:graphicData uri="http://schemas.openxmlformats.org/drawingml/2006/table">
            <a:tbl>
              <a:tblPr firstRow="1" firstCol="1" bandRow="1"/>
              <a:tblGrid>
                <a:gridCol w="806918">
                  <a:extLst>
                    <a:ext uri="{9D8B030D-6E8A-4147-A177-3AD203B41FA5}">
                      <a16:colId xmlns:a16="http://schemas.microsoft.com/office/drawing/2014/main" val="495827061"/>
                    </a:ext>
                  </a:extLst>
                </a:gridCol>
                <a:gridCol w="1013514">
                  <a:extLst>
                    <a:ext uri="{9D8B030D-6E8A-4147-A177-3AD203B41FA5}">
                      <a16:colId xmlns:a16="http://schemas.microsoft.com/office/drawing/2014/main" val="749349511"/>
                    </a:ext>
                  </a:extLst>
                </a:gridCol>
                <a:gridCol w="1777071">
                  <a:extLst>
                    <a:ext uri="{9D8B030D-6E8A-4147-A177-3AD203B41FA5}">
                      <a16:colId xmlns:a16="http://schemas.microsoft.com/office/drawing/2014/main" val="1651027947"/>
                    </a:ext>
                  </a:extLst>
                </a:gridCol>
                <a:gridCol w="647700">
                  <a:extLst>
                    <a:ext uri="{9D8B030D-6E8A-4147-A177-3AD203B41FA5}">
                      <a16:colId xmlns:a16="http://schemas.microsoft.com/office/drawing/2014/main" val="3324360221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2150051128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3135757721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2800491835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1712772451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3819188730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2363692602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1151791323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832606109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269164415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3807983441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1287845555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4121075870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2923089797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634072791"/>
                    </a:ext>
                  </a:extLst>
                </a:gridCol>
              </a:tblGrid>
              <a:tr h="5426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volá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ecializace / povolá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3381165"/>
                  </a:ext>
                </a:extLst>
              </a:tr>
              <a:tr h="542669">
                <a:tc rowSpan="6"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specializace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inická onkologie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65.97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00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9.72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25.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5.03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5.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9.8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4.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8.1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6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9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0.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.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2.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.3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2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7.3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8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.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2.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6.5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.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6.9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20.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8.1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6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.8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.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2.1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9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9251588"/>
                  </a:ext>
                </a:extLst>
              </a:tr>
              <a:tr h="542669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diační onkologie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26.09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00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4.6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26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2.0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.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8.4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5.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6.5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5.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3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2.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.1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4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.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.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.1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6.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6.4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5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1.6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6.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9.5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2.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7.7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5.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.8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4.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4.53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0.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517454"/>
                  </a:ext>
                </a:extLst>
              </a:tr>
              <a:tr h="542669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ástavbová specializace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á onkologie a hematologie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6.29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00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.76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3.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.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1.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34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5.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8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.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4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9.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2.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.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9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9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7.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5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2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.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4513504"/>
                  </a:ext>
                </a:extLst>
              </a:tr>
              <a:tr h="542669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nkochirurgie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97.78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00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3.8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21.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.7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4.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8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2.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.1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.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0.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.8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4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.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.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6.6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5.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8.7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6.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.8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4.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8.5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6.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1.5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7.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.3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4.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3.6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4.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4004220"/>
                  </a:ext>
                </a:extLst>
              </a:tr>
              <a:tr h="542669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nkogynekologie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9.03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00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3.8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1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3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2.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.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6.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0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4.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74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2.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4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6.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9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.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4.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5.5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4.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2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5.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2.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2.8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1.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9959014"/>
                  </a:ext>
                </a:extLst>
              </a:tr>
              <a:tr h="542669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nkourologie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0.31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00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4.0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4.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3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7.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2.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6.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5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5.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0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2.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0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5.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5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.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72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.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3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6.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6.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5.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0.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2498294"/>
                  </a:ext>
                </a:extLst>
              </a:tr>
              <a:tr h="624523">
                <a:tc rowSpan="2"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LZP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specializace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šetřovatelská péče v onkologii a 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matoonkologii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9.39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00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5.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79.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0.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9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5.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5.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41746"/>
                  </a:ext>
                </a:extLst>
              </a:tr>
              <a:tr h="542669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borná způsobilost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diologický asistent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229.25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00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02.5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8.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11.6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6.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86.8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5.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31.8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7.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9.2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.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82.1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5.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8.8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.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5.5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6.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56.5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4.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2.4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.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23.9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3.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47.59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7.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27.64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4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92.48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2.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2847917"/>
                  </a:ext>
                </a:extLst>
              </a:tr>
            </a:tbl>
          </a:graphicData>
        </a:graphic>
      </p:graphicFrame>
      <p:sp>
        <p:nvSpPr>
          <p:cNvPr id="2" name="Šipka: dolů 1">
            <a:extLst>
              <a:ext uri="{FF2B5EF4-FFF2-40B4-BE49-F238E27FC236}">
                <a16:creationId xmlns:a16="http://schemas.microsoft.com/office/drawing/2014/main" id="{7AB5D786-DBE3-377F-3DA4-43024927695B}"/>
              </a:ext>
            </a:extLst>
          </p:cNvPr>
          <p:cNvSpPr/>
          <p:nvPr/>
        </p:nvSpPr>
        <p:spPr>
          <a:xfrm>
            <a:off x="5513744" y="371789"/>
            <a:ext cx="663191" cy="598157"/>
          </a:xfrm>
          <a:prstGeom prst="downArrow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2389127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5C7A5CDF-EDA6-FA06-A889-E1F6BB877A1E}"/>
              </a:ext>
            </a:extLst>
          </p:cNvPr>
          <p:cNvGraphicFramePr>
            <a:graphicFrameLocks noGrp="1"/>
          </p:cNvGraphicFramePr>
          <p:nvPr/>
        </p:nvGraphicFramePr>
        <p:xfrm>
          <a:off x="3865548" y="1735233"/>
          <a:ext cx="8157600" cy="4450630"/>
        </p:xfrm>
        <a:graphic>
          <a:graphicData uri="http://schemas.openxmlformats.org/drawingml/2006/table">
            <a:tbl>
              <a:tblPr/>
              <a:tblGrid>
                <a:gridCol w="648000">
                  <a:extLst>
                    <a:ext uri="{9D8B030D-6E8A-4147-A177-3AD203B41FA5}">
                      <a16:colId xmlns:a16="http://schemas.microsoft.com/office/drawing/2014/main" val="1860784336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1501525579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626120852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4195742436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3691332564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3130301079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1101979683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2017081309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2431563641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4046989835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1872785475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2678222029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1897114779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3587761300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3054494516"/>
                    </a:ext>
                  </a:extLst>
                </a:gridCol>
              </a:tblGrid>
              <a:tr h="546494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4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B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D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E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9C5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6745960"/>
                  </a:ext>
                </a:extLst>
              </a:tr>
              <a:tr h="52214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4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8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5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2954332"/>
                  </a:ext>
                </a:extLst>
              </a:tr>
              <a:tr h="554184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9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3CC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5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3609916"/>
                  </a:ext>
                </a:extLst>
              </a:tr>
              <a:tr h="554184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D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A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CE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8014452"/>
                  </a:ext>
                </a:extLst>
              </a:tr>
              <a:tr h="554184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6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3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4319914"/>
                  </a:ext>
                </a:extLst>
              </a:tr>
              <a:tr h="51577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4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10072"/>
                  </a:ext>
                </a:extLst>
              </a:tr>
              <a:tr h="64948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703748"/>
                  </a:ext>
                </a:extLst>
              </a:tr>
              <a:tr h="554184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9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9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4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B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4CD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9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6158531"/>
                  </a:ext>
                </a:extLst>
              </a:tr>
            </a:tbl>
          </a:graphicData>
        </a:graphic>
      </p:graphicFrame>
      <p:graphicFrame>
        <p:nvGraphicFramePr>
          <p:cNvPr id="2" name="Tabulka 1">
            <a:extLst>
              <a:ext uri="{FF2B5EF4-FFF2-40B4-BE49-F238E27FC236}">
                <a16:creationId xmlns:a16="http://schemas.microsoft.com/office/drawing/2014/main" id="{81F0CAFC-22DD-C5AE-C934-986D38C237AE}"/>
              </a:ext>
            </a:extLst>
          </p:cNvPr>
          <p:cNvGraphicFramePr>
            <a:graphicFrameLocks noGrp="1"/>
          </p:cNvGraphicFramePr>
          <p:nvPr/>
        </p:nvGraphicFramePr>
        <p:xfrm>
          <a:off x="3865548" y="2276250"/>
          <a:ext cx="8157600" cy="525219"/>
        </p:xfrm>
        <a:graphic>
          <a:graphicData uri="http://schemas.openxmlformats.org/drawingml/2006/table">
            <a:tbl>
              <a:tblPr/>
              <a:tblGrid>
                <a:gridCol w="648000">
                  <a:extLst>
                    <a:ext uri="{9D8B030D-6E8A-4147-A177-3AD203B41FA5}">
                      <a16:colId xmlns:a16="http://schemas.microsoft.com/office/drawing/2014/main" val="2757427811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133064740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1657524758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148942763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1163758129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3471690127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3806108450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4138122401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1579373214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1912887267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3001374501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4184006974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3663251946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130012877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2862568238"/>
                    </a:ext>
                  </a:extLst>
                </a:gridCol>
              </a:tblGrid>
              <a:tr h="52521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1826178"/>
                  </a:ext>
                </a:extLst>
              </a:tr>
            </a:tbl>
          </a:graphicData>
        </a:graphic>
      </p:graphicFrame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16E9E920-6450-92F0-95C7-70D96A07F6DD}"/>
              </a:ext>
            </a:extLst>
          </p:cNvPr>
          <p:cNvGraphicFramePr>
            <a:graphicFrameLocks noGrp="1"/>
          </p:cNvGraphicFramePr>
          <p:nvPr/>
        </p:nvGraphicFramePr>
        <p:xfrm>
          <a:off x="276284" y="1187339"/>
          <a:ext cx="11728917" cy="4981432"/>
        </p:xfrm>
        <a:graphic>
          <a:graphicData uri="http://schemas.openxmlformats.org/drawingml/2006/table">
            <a:tbl>
              <a:tblPr firstRow="1" firstCol="1" bandRow="1"/>
              <a:tblGrid>
                <a:gridCol w="806918">
                  <a:extLst>
                    <a:ext uri="{9D8B030D-6E8A-4147-A177-3AD203B41FA5}">
                      <a16:colId xmlns:a16="http://schemas.microsoft.com/office/drawing/2014/main" val="495827061"/>
                    </a:ext>
                  </a:extLst>
                </a:gridCol>
                <a:gridCol w="1013514">
                  <a:extLst>
                    <a:ext uri="{9D8B030D-6E8A-4147-A177-3AD203B41FA5}">
                      <a16:colId xmlns:a16="http://schemas.microsoft.com/office/drawing/2014/main" val="749349511"/>
                    </a:ext>
                  </a:extLst>
                </a:gridCol>
                <a:gridCol w="1777071">
                  <a:extLst>
                    <a:ext uri="{9D8B030D-6E8A-4147-A177-3AD203B41FA5}">
                      <a16:colId xmlns:a16="http://schemas.microsoft.com/office/drawing/2014/main" val="1651027947"/>
                    </a:ext>
                  </a:extLst>
                </a:gridCol>
                <a:gridCol w="647700">
                  <a:extLst>
                    <a:ext uri="{9D8B030D-6E8A-4147-A177-3AD203B41FA5}">
                      <a16:colId xmlns:a16="http://schemas.microsoft.com/office/drawing/2014/main" val="3324360221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2150051128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3135757721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2800491835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1712772451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3819188730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2363692602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1151791323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832606109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269164415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3807983441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1287845555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4121075870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2923089797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634072791"/>
                    </a:ext>
                  </a:extLst>
                </a:gridCol>
              </a:tblGrid>
              <a:tr h="5426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volá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ecializace / povolá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3381165"/>
                  </a:ext>
                </a:extLst>
              </a:tr>
              <a:tr h="542669">
                <a:tc rowSpan="6"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specializace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inická onkologie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9251588"/>
                  </a:ext>
                </a:extLst>
              </a:tr>
              <a:tr h="542669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diační onkologie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517454"/>
                  </a:ext>
                </a:extLst>
              </a:tr>
              <a:tr h="542669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ástavbová specializace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á onkologie a hematologie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4513504"/>
                  </a:ext>
                </a:extLst>
              </a:tr>
              <a:tr h="542669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nkochirurgie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4004220"/>
                  </a:ext>
                </a:extLst>
              </a:tr>
              <a:tr h="542669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nkogynekologie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9959014"/>
                  </a:ext>
                </a:extLst>
              </a:tr>
              <a:tr h="542669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nkourologie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2498294"/>
                  </a:ext>
                </a:extLst>
              </a:tr>
              <a:tr h="624523">
                <a:tc rowSpan="2"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LZP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specializace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šetřovatelská péče v onkologii a 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matoonkologii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41746"/>
                  </a:ext>
                </a:extLst>
              </a:tr>
              <a:tr h="542669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borná způsobilost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diologický asistent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9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3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8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7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2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1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6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9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9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4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9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2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3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2847917"/>
                  </a:ext>
                </a:extLst>
              </a:tr>
            </a:tbl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EE6FB153-99F9-4A25-A906-FF8C5818F7AA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33554" y="80484"/>
            <a:ext cx="11724892" cy="59815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Lékaři a NLZP v krajích – úvazky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 </a:t>
            </a:r>
            <a:r>
              <a:rPr kumimoji="0" lang="en-US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na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 100 000 </a:t>
            </a:r>
            <a:r>
              <a:rPr kumimoji="0" lang="en-US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ob</a:t>
            </a:r>
            <a:r>
              <a:rPr kumimoji="0" lang="cs-CZ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yvatel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 kraje</a:t>
            </a: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368E04CA-8864-C378-F21B-598140249296}"/>
              </a:ext>
            </a:extLst>
          </p:cNvPr>
          <p:cNvSpPr txBox="1"/>
          <p:nvPr/>
        </p:nvSpPr>
        <p:spPr>
          <a:xfrm>
            <a:off x="5624623" y="6083376"/>
            <a:ext cx="61668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3000" dirty="0">
                <a:solidFill>
                  <a:schemeClr val="bg1"/>
                </a:solidFill>
                <a:latin typeface="Arial Black" panose="020B0A04020102020204" pitchFamily="34" charset="0"/>
              </a:rPr>
              <a:t>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835498A-9759-B54C-C3A3-2B8D2B4836B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6624" y="626136"/>
            <a:ext cx="80008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 + NRHZS, stav k 31.12.202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Šipka: dolů 7">
            <a:extLst>
              <a:ext uri="{FF2B5EF4-FFF2-40B4-BE49-F238E27FC236}">
                <a16:creationId xmlns:a16="http://schemas.microsoft.com/office/drawing/2014/main" id="{832DD511-B41E-72E3-BED2-7340A826808E}"/>
              </a:ext>
            </a:extLst>
          </p:cNvPr>
          <p:cNvSpPr/>
          <p:nvPr/>
        </p:nvSpPr>
        <p:spPr>
          <a:xfrm>
            <a:off x="5569689" y="626136"/>
            <a:ext cx="551712" cy="509669"/>
          </a:xfrm>
          <a:prstGeom prst="downArrow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132629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Nadpis 134">
            <a:extLst>
              <a:ext uri="{FF2B5EF4-FFF2-40B4-BE49-F238E27FC236}">
                <a16:creationId xmlns:a16="http://schemas.microsoft.com/office/drawing/2014/main" id="{C3471F7A-46E1-B470-6A2C-B33F01049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Incidence ZN prsu (C50)</a:t>
            </a:r>
            <a:r>
              <a:rPr lang="cs-CZ" dirty="0"/>
              <a:t> </a:t>
            </a:r>
            <a:r>
              <a:rPr lang="es-ES" dirty="0"/>
              <a:t>u žen</a:t>
            </a:r>
            <a:endParaRPr lang="cs-CZ" dirty="0"/>
          </a:p>
        </p:txBody>
      </p:sp>
      <p:graphicFrame>
        <p:nvGraphicFramePr>
          <p:cNvPr id="2" name="Object 123">
            <a:extLst>
              <a:ext uri="{FF2B5EF4-FFF2-40B4-BE49-F238E27FC236}">
                <a16:creationId xmlns:a16="http://schemas.microsoft.com/office/drawing/2014/main" id="{10810DC1-F7A1-49F4-827E-09D15B931EC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601106" y="1911300"/>
          <a:ext cx="4122544" cy="3813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3" name="Group 110">
            <a:extLst>
              <a:ext uri="{FF2B5EF4-FFF2-40B4-BE49-F238E27FC236}">
                <a16:creationId xmlns:a16="http://schemas.microsoft.com/office/drawing/2014/main" id="{0EB1675A-69A4-4717-95C6-DD9F58ADD5A1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4597801" y="1824344"/>
          <a:ext cx="1931064" cy="2510535"/>
        </p:xfrm>
        <a:graphic>
          <a:graphicData uri="http://schemas.openxmlformats.org/drawingml/2006/table">
            <a:tbl>
              <a:tblPr/>
              <a:tblGrid>
                <a:gridCol w="19310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á republik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4" name="TextBox 9">
            <a:extLst>
              <a:ext uri="{FF2B5EF4-FFF2-40B4-BE49-F238E27FC236}">
                <a16:creationId xmlns:a16="http://schemas.microsoft.com/office/drawing/2014/main" id="{0A51F226-86A0-4005-BB9C-D648577A80D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68781" y="3455017"/>
            <a:ext cx="29114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očet nově diagnostikovaných onemocně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 100 000 žen</a:t>
            </a:r>
          </a:p>
        </p:txBody>
      </p:sp>
      <p:sp>
        <p:nvSpPr>
          <p:cNvPr id="5" name="Rectangle 110">
            <a:extLst>
              <a:ext uri="{FF2B5EF4-FFF2-40B4-BE49-F238E27FC236}">
                <a16:creationId xmlns:a16="http://schemas.microsoft.com/office/drawing/2014/main" id="{6F4D1A70-A3A9-4D04-AA89-C9474BF7C1B7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397843" y="5696482"/>
            <a:ext cx="529069" cy="131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k</a:t>
            </a:r>
          </a:p>
        </p:txBody>
      </p:sp>
      <p:sp>
        <p:nvSpPr>
          <p:cNvPr id="6" name="TextovéPole 7">
            <a:extLst>
              <a:ext uri="{FF2B5EF4-FFF2-40B4-BE49-F238E27FC236}">
                <a16:creationId xmlns:a16="http://schemas.microsoft.com/office/drawing/2014/main" id="{B287C757-E904-45E7-B046-9EC04007401D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89670" y="2611897"/>
            <a:ext cx="65932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C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7,0</a:t>
            </a:r>
          </a:p>
        </p:txBody>
      </p:sp>
      <p:sp>
        <p:nvSpPr>
          <p:cNvPr id="7" name="TextBox 9">
            <a:extLst>
              <a:ext uri="{FF2B5EF4-FFF2-40B4-BE49-F238E27FC236}">
                <a16:creationId xmlns:a16="http://schemas.microsoft.com/office/drawing/2014/main" id="{33D1BF51-3B9F-493E-A550-8897179273C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316861" y="1026669"/>
            <a:ext cx="38798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očet nově diagnostikovaných onemocnění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 100 000 žen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(roční průměr za období 2019–2023)</a:t>
            </a:r>
          </a:p>
        </p:txBody>
      </p:sp>
      <p:graphicFrame>
        <p:nvGraphicFramePr>
          <p:cNvPr id="8" name="Object 16">
            <a:extLst>
              <a:ext uri="{FF2B5EF4-FFF2-40B4-BE49-F238E27FC236}">
                <a16:creationId xmlns:a16="http://schemas.microsoft.com/office/drawing/2014/main" id="{CD67FA2A-DCB1-4B10-B2E7-EA42181B475C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6449966" y="1533313"/>
          <a:ext cx="2376793" cy="28147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AFD084D9-53D8-4820-929C-135EFBAF7618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256137" y="747842"/>
            <a:ext cx="338230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idence: časový trend </a:t>
            </a: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2A011C0A-EFAA-464B-8FE9-A461B2CD7CDF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495098" y="747842"/>
            <a:ext cx="338230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idence: regionální srovnání </a:t>
            </a: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7">
            <a:extLst>
              <a:ext uri="{FF2B5EF4-FFF2-40B4-BE49-F238E27FC236}">
                <a16:creationId xmlns:a16="http://schemas.microsoft.com/office/drawing/2014/main" id="{D50B36CC-0574-406E-8799-2B063A4E4186}"/>
              </a:ext>
            </a:extLst>
          </p:cNvPr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589670" y="2440300"/>
            <a:ext cx="65932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7,0</a:t>
            </a:r>
          </a:p>
        </p:txBody>
      </p:sp>
      <p:grpSp>
        <p:nvGrpSpPr>
          <p:cNvPr id="14" name="Skupina 13">
            <a:extLst>
              <a:ext uri="{FF2B5EF4-FFF2-40B4-BE49-F238E27FC236}">
                <a16:creationId xmlns:a16="http://schemas.microsoft.com/office/drawing/2014/main" id="{0C6B2F2A-ABBD-4292-B8F6-D1991BA731A0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2132483" y="1181883"/>
            <a:ext cx="2106409" cy="593942"/>
            <a:chOff x="4637416" y="1161434"/>
            <a:chExt cx="2106409" cy="593942"/>
          </a:xfrm>
        </p:grpSpPr>
        <p:sp>
          <p:nvSpPr>
            <p:cNvPr id="15" name="TextovéPole 14">
              <a:extLst>
                <a:ext uri="{FF2B5EF4-FFF2-40B4-BE49-F238E27FC236}">
                  <a16:creationId xmlns:a16="http://schemas.microsoft.com/office/drawing/2014/main" id="{426CBE04-0581-4F51-8C9C-A8321D2B61B4}"/>
                </a:ext>
              </a:extLst>
            </p:cNvPr>
            <p:cNvSpPr txBox="1"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4973409" y="1570710"/>
              <a:ext cx="1770416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ozsah hodnot krajů</a:t>
              </a:r>
            </a:p>
          </p:txBody>
        </p:sp>
        <p:sp>
          <p:nvSpPr>
            <p:cNvPr id="16" name="Rectangle 53">
              <a:extLst>
                <a:ext uri="{FF2B5EF4-FFF2-40B4-BE49-F238E27FC236}">
                  <a16:creationId xmlns:a16="http://schemas.microsoft.com/office/drawing/2014/main" id="{8B14D4AE-536F-4C73-87DA-E1B5D7B78B51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>
            <a:xfrm>
              <a:off x="4709976" y="1592059"/>
              <a:ext cx="144000" cy="143777"/>
            </a:xfrm>
            <a:prstGeom prst="rect">
              <a:avLst/>
            </a:prstGeom>
            <a:solidFill>
              <a:srgbClr val="CC9900">
                <a:alpha val="30000"/>
              </a:srgb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CC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TextovéPole 7">
              <a:extLst>
                <a:ext uri="{FF2B5EF4-FFF2-40B4-BE49-F238E27FC236}">
                  <a16:creationId xmlns:a16="http://schemas.microsoft.com/office/drawing/2014/main" id="{F9FED6A7-3F97-4B3E-B397-F128EA107D43}"/>
                </a:ext>
              </a:extLst>
            </p:cNvPr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4979145" y="1355266"/>
              <a:ext cx="1414709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ihočeský kraj</a:t>
              </a:r>
            </a:p>
          </p:txBody>
        </p:sp>
        <p:cxnSp>
          <p:nvCxnSpPr>
            <p:cNvPr id="18" name="Straight Connector 35">
              <a:extLst>
                <a:ext uri="{FF2B5EF4-FFF2-40B4-BE49-F238E27FC236}">
                  <a16:creationId xmlns:a16="http://schemas.microsoft.com/office/drawing/2014/main" id="{8FF49DB3-EA1B-4E51-8DFE-A45DFF44F920}"/>
                </a:ext>
              </a:extLst>
            </p:cNvPr>
            <p:cNvCxnSpPr/>
            <p:nvPr>
              <p:custDataLst>
                <p:tags r:id="rId20"/>
              </p:custDataLst>
            </p:nvPr>
          </p:nvCxnSpPr>
          <p:spPr>
            <a:xfrm>
              <a:off x="4637416" y="1452250"/>
              <a:ext cx="287338" cy="0"/>
            </a:xfrm>
            <a:prstGeom prst="line">
              <a:avLst/>
            </a:prstGeom>
            <a:solidFill>
              <a:srgbClr val="FF6600"/>
            </a:solidFill>
            <a:ln w="25400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19" name="TextovéPole 7">
              <a:extLst>
                <a:ext uri="{FF2B5EF4-FFF2-40B4-BE49-F238E27FC236}">
                  <a16:creationId xmlns:a16="http://schemas.microsoft.com/office/drawing/2014/main" id="{DD0B0EBA-999B-4443-AE93-FE8C1F9D1030}"/>
                </a:ext>
              </a:extLst>
            </p:cNvPr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4971744" y="1161434"/>
              <a:ext cx="1302677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Česká republika</a:t>
              </a:r>
            </a:p>
          </p:txBody>
        </p:sp>
        <p:cxnSp>
          <p:nvCxnSpPr>
            <p:cNvPr id="20" name="Straight Connector 35">
              <a:extLst>
                <a:ext uri="{FF2B5EF4-FFF2-40B4-BE49-F238E27FC236}">
                  <a16:creationId xmlns:a16="http://schemas.microsoft.com/office/drawing/2014/main" id="{B46A3F8D-3055-42AA-9A3B-A03A0A8C6233}"/>
                </a:ext>
              </a:extLst>
            </p:cNvPr>
            <p:cNvCxnSpPr/>
            <p:nvPr>
              <p:custDataLst>
                <p:tags r:id="rId22"/>
              </p:custDataLst>
            </p:nvPr>
          </p:nvCxnSpPr>
          <p:spPr>
            <a:xfrm>
              <a:off x="4639346" y="1258418"/>
              <a:ext cx="287338" cy="0"/>
            </a:xfrm>
            <a:prstGeom prst="line">
              <a:avLst/>
            </a:prstGeom>
            <a:solidFill>
              <a:srgbClr val="FF6600"/>
            </a:solidFill>
            <a:ln w="25400" cap="flat" cmpd="sng" algn="ctr">
              <a:solidFill>
                <a:srgbClr val="CC9900"/>
              </a:solidFill>
              <a:prstDash val="solid"/>
              <a:miter lim="800000"/>
            </a:ln>
            <a:effectLst/>
          </p:spPr>
        </p:cxnSp>
      </p:grpSp>
      <p:sp>
        <p:nvSpPr>
          <p:cNvPr id="21" name="TextBox 6">
            <a:extLst>
              <a:ext uri="{FF2B5EF4-FFF2-40B4-BE49-F238E27FC236}">
                <a16:creationId xmlns:a16="http://schemas.microsoft.com/office/drawing/2014/main" id="{578E4CDB-52CB-4798-B12C-F19A803F9D00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278281" y="468586"/>
            <a:ext cx="23054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onkologický registr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DAD395C-5D30-51B7-D227-BCC80380EC24}"/>
              </a:ext>
            </a:extLst>
          </p:cNvPr>
          <p:cNvGrpSpPr/>
          <p:nvPr/>
        </p:nvGrpSpPr>
        <p:grpSpPr>
          <a:xfrm>
            <a:off x="10951469" y="1905027"/>
            <a:ext cx="920040" cy="839147"/>
            <a:chOff x="5368539" y="5686843"/>
            <a:chExt cx="920040" cy="839147"/>
          </a:xfrm>
        </p:grpSpPr>
        <p:sp>
          <p:nvSpPr>
            <p:cNvPr id="24" name="Text Box 58">
              <a:extLst>
                <a:ext uri="{FF2B5EF4-FFF2-40B4-BE49-F238E27FC236}">
                  <a16:creationId xmlns:a16="http://schemas.microsoft.com/office/drawing/2014/main" id="{ABA97A06-CD9E-1DB5-0B67-19AD7AC0DA2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42967" y="5694325"/>
              <a:ext cx="745612" cy="83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&gt; 1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4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–1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1–1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  <a:endParaRPr kumimoji="0" lang="en-US" alt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≤ 1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 </a:t>
              </a:r>
            </a:p>
          </p:txBody>
        </p:sp>
        <p:sp>
          <p:nvSpPr>
            <p:cNvPr id="25" name="Rectangle 56">
              <a:extLst>
                <a:ext uri="{FF2B5EF4-FFF2-40B4-BE49-F238E27FC236}">
                  <a16:creationId xmlns:a16="http://schemas.microsoft.com/office/drawing/2014/main" id="{66F78460-848A-AC58-4C84-992F5860CB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6183266"/>
              <a:ext cx="144000" cy="144000"/>
            </a:xfrm>
            <a:prstGeom prst="rect">
              <a:avLst/>
            </a:prstGeom>
            <a:solidFill>
              <a:srgbClr val="FFE389"/>
            </a:solidFill>
            <a:ln w="1651">
              <a:noFill/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6" name="Rectangle 56">
              <a:extLst>
                <a:ext uri="{FF2B5EF4-FFF2-40B4-BE49-F238E27FC236}">
                  <a16:creationId xmlns:a16="http://schemas.microsoft.com/office/drawing/2014/main" id="{08F54FC7-F814-B91A-ACE1-22EC858CE0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6017791"/>
              <a:ext cx="144000" cy="144000"/>
            </a:xfrm>
            <a:prstGeom prst="rect">
              <a:avLst/>
            </a:prstGeom>
            <a:solidFill>
              <a:srgbClr val="FFCC29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7" name="Rectangle 56">
              <a:extLst>
                <a:ext uri="{FF2B5EF4-FFF2-40B4-BE49-F238E27FC236}">
                  <a16:creationId xmlns:a16="http://schemas.microsoft.com/office/drawing/2014/main" id="{22D94027-6996-7AF5-B2B4-E4374B0CBE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5852317"/>
              <a:ext cx="144000" cy="144000"/>
            </a:xfrm>
            <a:prstGeom prst="rect">
              <a:avLst/>
            </a:prstGeom>
            <a:solidFill>
              <a:srgbClr val="E6AF00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8" name="Rectangle 56">
              <a:extLst>
                <a:ext uri="{FF2B5EF4-FFF2-40B4-BE49-F238E27FC236}">
                  <a16:creationId xmlns:a16="http://schemas.microsoft.com/office/drawing/2014/main" id="{CE401C00-A584-C457-214C-D466CD73D0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5686843"/>
              <a:ext cx="144000" cy="144000"/>
            </a:xfrm>
            <a:prstGeom prst="rect">
              <a:avLst/>
            </a:prstGeom>
            <a:solidFill>
              <a:srgbClr val="BC8F00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grpSp>
        <p:nvGrpSpPr>
          <p:cNvPr id="145" name="Group 5">
            <a:extLst>
              <a:ext uri="{FF2B5EF4-FFF2-40B4-BE49-F238E27FC236}">
                <a16:creationId xmlns:a16="http://schemas.microsoft.com/office/drawing/2014/main" id="{F6D30733-1F96-00EF-A35D-76062EB31D9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779704" y="1850178"/>
            <a:ext cx="3308350" cy="2682875"/>
            <a:chOff x="771" y="2585"/>
            <a:chExt cx="2084" cy="1690"/>
          </a:xfrm>
        </p:grpSpPr>
        <p:sp>
          <p:nvSpPr>
            <p:cNvPr id="146" name="AutoShape 4">
              <a:extLst>
                <a:ext uri="{FF2B5EF4-FFF2-40B4-BE49-F238E27FC236}">
                  <a16:creationId xmlns:a16="http://schemas.microsoft.com/office/drawing/2014/main" id="{16D3D5E6-771A-7D43-F7DB-40F3C38F8B0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71" y="2585"/>
              <a:ext cx="2084" cy="16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Freeform 6">
              <a:extLst>
                <a:ext uri="{FF2B5EF4-FFF2-40B4-BE49-F238E27FC236}">
                  <a16:creationId xmlns:a16="http://schemas.microsoft.com/office/drawing/2014/main" id="{949CD10B-E397-3EB6-DB9E-27784E66F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4" y="3272"/>
              <a:ext cx="138" cy="106"/>
            </a:xfrm>
            <a:custGeom>
              <a:avLst/>
              <a:gdLst>
                <a:gd name="T0" fmla="*/ 88 w 138"/>
                <a:gd name="T1" fmla="*/ 1 h 106"/>
                <a:gd name="T2" fmla="*/ 90 w 138"/>
                <a:gd name="T3" fmla="*/ 4 h 106"/>
                <a:gd name="T4" fmla="*/ 99 w 138"/>
                <a:gd name="T5" fmla="*/ 11 h 106"/>
                <a:gd name="T6" fmla="*/ 105 w 138"/>
                <a:gd name="T7" fmla="*/ 13 h 106"/>
                <a:gd name="T8" fmla="*/ 108 w 138"/>
                <a:gd name="T9" fmla="*/ 19 h 106"/>
                <a:gd name="T10" fmla="*/ 112 w 138"/>
                <a:gd name="T11" fmla="*/ 22 h 106"/>
                <a:gd name="T12" fmla="*/ 124 w 138"/>
                <a:gd name="T13" fmla="*/ 27 h 106"/>
                <a:gd name="T14" fmla="*/ 128 w 138"/>
                <a:gd name="T15" fmla="*/ 32 h 106"/>
                <a:gd name="T16" fmla="*/ 135 w 138"/>
                <a:gd name="T17" fmla="*/ 38 h 106"/>
                <a:gd name="T18" fmla="*/ 138 w 138"/>
                <a:gd name="T19" fmla="*/ 43 h 106"/>
                <a:gd name="T20" fmla="*/ 136 w 138"/>
                <a:gd name="T21" fmla="*/ 48 h 106"/>
                <a:gd name="T22" fmla="*/ 126 w 138"/>
                <a:gd name="T23" fmla="*/ 54 h 106"/>
                <a:gd name="T24" fmla="*/ 123 w 138"/>
                <a:gd name="T25" fmla="*/ 57 h 106"/>
                <a:gd name="T26" fmla="*/ 123 w 138"/>
                <a:gd name="T27" fmla="*/ 61 h 106"/>
                <a:gd name="T28" fmla="*/ 126 w 138"/>
                <a:gd name="T29" fmla="*/ 64 h 106"/>
                <a:gd name="T30" fmla="*/ 127 w 138"/>
                <a:gd name="T31" fmla="*/ 74 h 106"/>
                <a:gd name="T32" fmla="*/ 124 w 138"/>
                <a:gd name="T33" fmla="*/ 79 h 106"/>
                <a:gd name="T34" fmla="*/ 118 w 138"/>
                <a:gd name="T35" fmla="*/ 83 h 106"/>
                <a:gd name="T36" fmla="*/ 112 w 138"/>
                <a:gd name="T37" fmla="*/ 82 h 106"/>
                <a:gd name="T38" fmla="*/ 104 w 138"/>
                <a:gd name="T39" fmla="*/ 78 h 106"/>
                <a:gd name="T40" fmla="*/ 97 w 138"/>
                <a:gd name="T41" fmla="*/ 77 h 106"/>
                <a:gd name="T42" fmla="*/ 89 w 138"/>
                <a:gd name="T43" fmla="*/ 79 h 106"/>
                <a:gd name="T44" fmla="*/ 85 w 138"/>
                <a:gd name="T45" fmla="*/ 82 h 106"/>
                <a:gd name="T46" fmla="*/ 78 w 138"/>
                <a:gd name="T47" fmla="*/ 86 h 106"/>
                <a:gd name="T48" fmla="*/ 67 w 138"/>
                <a:gd name="T49" fmla="*/ 93 h 106"/>
                <a:gd name="T50" fmla="*/ 58 w 138"/>
                <a:gd name="T51" fmla="*/ 97 h 106"/>
                <a:gd name="T52" fmla="*/ 50 w 138"/>
                <a:gd name="T53" fmla="*/ 99 h 106"/>
                <a:gd name="T54" fmla="*/ 46 w 138"/>
                <a:gd name="T55" fmla="*/ 105 h 106"/>
                <a:gd name="T56" fmla="*/ 44 w 138"/>
                <a:gd name="T57" fmla="*/ 106 h 106"/>
                <a:gd name="T58" fmla="*/ 34 w 138"/>
                <a:gd name="T59" fmla="*/ 105 h 106"/>
                <a:gd name="T60" fmla="*/ 30 w 138"/>
                <a:gd name="T61" fmla="*/ 103 h 106"/>
                <a:gd name="T62" fmla="*/ 29 w 138"/>
                <a:gd name="T63" fmla="*/ 99 h 106"/>
                <a:gd name="T64" fmla="*/ 30 w 138"/>
                <a:gd name="T65" fmla="*/ 95 h 106"/>
                <a:gd name="T66" fmla="*/ 29 w 138"/>
                <a:gd name="T67" fmla="*/ 91 h 106"/>
                <a:gd name="T68" fmla="*/ 29 w 138"/>
                <a:gd name="T69" fmla="*/ 87 h 106"/>
                <a:gd name="T70" fmla="*/ 23 w 138"/>
                <a:gd name="T71" fmla="*/ 84 h 106"/>
                <a:gd name="T72" fmla="*/ 20 w 138"/>
                <a:gd name="T73" fmla="*/ 81 h 106"/>
                <a:gd name="T74" fmla="*/ 21 w 138"/>
                <a:gd name="T75" fmla="*/ 77 h 106"/>
                <a:gd name="T76" fmla="*/ 21 w 138"/>
                <a:gd name="T77" fmla="*/ 73 h 106"/>
                <a:gd name="T78" fmla="*/ 13 w 138"/>
                <a:gd name="T79" fmla="*/ 65 h 106"/>
                <a:gd name="T80" fmla="*/ 9 w 138"/>
                <a:gd name="T81" fmla="*/ 58 h 106"/>
                <a:gd name="T82" fmla="*/ 6 w 138"/>
                <a:gd name="T83" fmla="*/ 53 h 106"/>
                <a:gd name="T84" fmla="*/ 10 w 138"/>
                <a:gd name="T85" fmla="*/ 49 h 106"/>
                <a:gd name="T86" fmla="*/ 13 w 138"/>
                <a:gd name="T87" fmla="*/ 45 h 106"/>
                <a:gd name="T88" fmla="*/ 7 w 138"/>
                <a:gd name="T89" fmla="*/ 38 h 106"/>
                <a:gd name="T90" fmla="*/ 1 w 138"/>
                <a:gd name="T91" fmla="*/ 34 h 106"/>
                <a:gd name="T92" fmla="*/ 0 w 138"/>
                <a:gd name="T93" fmla="*/ 33 h 106"/>
                <a:gd name="T94" fmla="*/ 9 w 138"/>
                <a:gd name="T95" fmla="*/ 28 h 106"/>
                <a:gd name="T96" fmla="*/ 20 w 138"/>
                <a:gd name="T97" fmla="*/ 24 h 106"/>
                <a:gd name="T98" fmla="*/ 23 w 138"/>
                <a:gd name="T99" fmla="*/ 25 h 106"/>
                <a:gd name="T100" fmla="*/ 30 w 138"/>
                <a:gd name="T101" fmla="*/ 27 h 106"/>
                <a:gd name="T102" fmla="*/ 35 w 138"/>
                <a:gd name="T103" fmla="*/ 26 h 106"/>
                <a:gd name="T104" fmla="*/ 37 w 138"/>
                <a:gd name="T105" fmla="*/ 19 h 106"/>
                <a:gd name="T106" fmla="*/ 41 w 138"/>
                <a:gd name="T107" fmla="*/ 16 h 106"/>
                <a:gd name="T108" fmla="*/ 49 w 138"/>
                <a:gd name="T109" fmla="*/ 14 h 106"/>
                <a:gd name="T110" fmla="*/ 61 w 138"/>
                <a:gd name="T111" fmla="*/ 9 h 106"/>
                <a:gd name="T112" fmla="*/ 73 w 138"/>
                <a:gd name="T113" fmla="*/ 4 h 106"/>
                <a:gd name="T114" fmla="*/ 87 w 138"/>
                <a:gd name="T115" fmla="*/ 1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8" h="106">
                  <a:moveTo>
                    <a:pt x="88" y="0"/>
                  </a:moveTo>
                  <a:lnTo>
                    <a:pt x="88" y="0"/>
                  </a:lnTo>
                  <a:lnTo>
                    <a:pt x="89" y="0"/>
                  </a:lnTo>
                  <a:lnTo>
                    <a:pt x="89" y="0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2"/>
                  </a:lnTo>
                  <a:lnTo>
                    <a:pt x="89" y="2"/>
                  </a:lnTo>
                  <a:lnTo>
                    <a:pt x="89" y="3"/>
                  </a:lnTo>
                  <a:lnTo>
                    <a:pt x="89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1" y="5"/>
                  </a:lnTo>
                  <a:lnTo>
                    <a:pt x="94" y="7"/>
                  </a:lnTo>
                  <a:lnTo>
                    <a:pt x="95" y="8"/>
                  </a:lnTo>
                  <a:lnTo>
                    <a:pt x="98" y="10"/>
                  </a:lnTo>
                  <a:lnTo>
                    <a:pt x="99" y="11"/>
                  </a:lnTo>
                  <a:lnTo>
                    <a:pt x="100" y="11"/>
                  </a:lnTo>
                  <a:lnTo>
                    <a:pt x="101" y="12"/>
                  </a:lnTo>
                  <a:lnTo>
                    <a:pt x="103" y="12"/>
                  </a:lnTo>
                  <a:lnTo>
                    <a:pt x="104" y="12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6" y="14"/>
                  </a:lnTo>
                  <a:lnTo>
                    <a:pt x="107" y="16"/>
                  </a:lnTo>
                  <a:lnTo>
                    <a:pt x="107" y="17"/>
                  </a:lnTo>
                  <a:lnTo>
                    <a:pt x="107" y="18"/>
                  </a:lnTo>
                  <a:lnTo>
                    <a:pt x="108" y="19"/>
                  </a:lnTo>
                  <a:lnTo>
                    <a:pt x="109" y="19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4" y="23"/>
                  </a:lnTo>
                  <a:lnTo>
                    <a:pt x="117" y="23"/>
                  </a:lnTo>
                  <a:lnTo>
                    <a:pt x="118" y="24"/>
                  </a:lnTo>
                  <a:lnTo>
                    <a:pt x="122" y="26"/>
                  </a:lnTo>
                  <a:lnTo>
                    <a:pt x="123" y="27"/>
                  </a:lnTo>
                  <a:lnTo>
                    <a:pt x="124" y="27"/>
                  </a:lnTo>
                  <a:lnTo>
                    <a:pt x="124" y="28"/>
                  </a:lnTo>
                  <a:lnTo>
                    <a:pt x="125" y="28"/>
                  </a:lnTo>
                  <a:lnTo>
                    <a:pt x="126" y="29"/>
                  </a:lnTo>
                  <a:lnTo>
                    <a:pt x="127" y="31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9" y="33"/>
                  </a:lnTo>
                  <a:lnTo>
                    <a:pt x="130" y="34"/>
                  </a:lnTo>
                  <a:lnTo>
                    <a:pt x="133" y="36"/>
                  </a:lnTo>
                  <a:lnTo>
                    <a:pt x="134" y="37"/>
                  </a:lnTo>
                  <a:lnTo>
                    <a:pt x="135" y="37"/>
                  </a:lnTo>
                  <a:lnTo>
                    <a:pt x="135" y="38"/>
                  </a:lnTo>
                  <a:lnTo>
                    <a:pt x="136" y="39"/>
                  </a:lnTo>
                  <a:lnTo>
                    <a:pt x="137" y="40"/>
                  </a:lnTo>
                  <a:lnTo>
                    <a:pt x="137" y="41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38" y="43"/>
                  </a:lnTo>
                  <a:lnTo>
                    <a:pt x="138" y="43"/>
                  </a:lnTo>
                  <a:lnTo>
                    <a:pt x="138" y="44"/>
                  </a:lnTo>
                  <a:lnTo>
                    <a:pt x="138" y="45"/>
                  </a:lnTo>
                  <a:lnTo>
                    <a:pt x="137" y="46"/>
                  </a:lnTo>
                  <a:lnTo>
                    <a:pt x="137" y="47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5" y="49"/>
                  </a:lnTo>
                  <a:lnTo>
                    <a:pt x="134" y="49"/>
                  </a:lnTo>
                  <a:lnTo>
                    <a:pt x="134" y="50"/>
                  </a:lnTo>
                  <a:lnTo>
                    <a:pt x="131" y="51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25" y="55"/>
                  </a:lnTo>
                  <a:lnTo>
                    <a:pt x="124" y="56"/>
                  </a:lnTo>
                  <a:lnTo>
                    <a:pt x="123" y="56"/>
                  </a:lnTo>
                  <a:lnTo>
                    <a:pt x="123" y="57"/>
                  </a:lnTo>
                  <a:lnTo>
                    <a:pt x="123" y="57"/>
                  </a:lnTo>
                  <a:lnTo>
                    <a:pt x="123" y="58"/>
                  </a:lnTo>
                  <a:lnTo>
                    <a:pt x="122" y="58"/>
                  </a:lnTo>
                  <a:lnTo>
                    <a:pt x="122" y="59"/>
                  </a:lnTo>
                  <a:lnTo>
                    <a:pt x="122" y="60"/>
                  </a:lnTo>
                  <a:lnTo>
                    <a:pt x="123" y="60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4" y="62"/>
                  </a:lnTo>
                  <a:lnTo>
                    <a:pt x="125" y="63"/>
                  </a:lnTo>
                  <a:lnTo>
                    <a:pt x="125" y="63"/>
                  </a:lnTo>
                  <a:lnTo>
                    <a:pt x="125" y="64"/>
                  </a:lnTo>
                  <a:lnTo>
                    <a:pt x="126" y="64"/>
                  </a:lnTo>
                  <a:lnTo>
                    <a:pt x="126" y="65"/>
                  </a:lnTo>
                  <a:lnTo>
                    <a:pt x="126" y="66"/>
                  </a:lnTo>
                  <a:lnTo>
                    <a:pt x="126" y="68"/>
                  </a:lnTo>
                  <a:lnTo>
                    <a:pt x="127" y="72"/>
                  </a:lnTo>
                  <a:lnTo>
                    <a:pt x="127" y="73"/>
                  </a:lnTo>
                  <a:lnTo>
                    <a:pt x="127" y="74"/>
                  </a:lnTo>
                  <a:lnTo>
                    <a:pt x="127" y="75"/>
                  </a:lnTo>
                  <a:lnTo>
                    <a:pt x="127" y="76"/>
                  </a:lnTo>
                  <a:lnTo>
                    <a:pt x="126" y="77"/>
                  </a:lnTo>
                  <a:lnTo>
                    <a:pt x="126" y="78"/>
                  </a:lnTo>
                  <a:lnTo>
                    <a:pt x="125" y="79"/>
                  </a:lnTo>
                  <a:lnTo>
                    <a:pt x="124" y="79"/>
                  </a:lnTo>
                  <a:lnTo>
                    <a:pt x="122" y="81"/>
                  </a:lnTo>
                  <a:lnTo>
                    <a:pt x="121" y="82"/>
                  </a:lnTo>
                  <a:lnTo>
                    <a:pt x="120" y="82"/>
                  </a:lnTo>
                  <a:lnTo>
                    <a:pt x="120" y="83"/>
                  </a:lnTo>
                  <a:lnTo>
                    <a:pt x="119" y="83"/>
                  </a:lnTo>
                  <a:lnTo>
                    <a:pt x="118" y="83"/>
                  </a:lnTo>
                  <a:lnTo>
                    <a:pt x="118" y="83"/>
                  </a:lnTo>
                  <a:lnTo>
                    <a:pt x="117" y="83"/>
                  </a:lnTo>
                  <a:lnTo>
                    <a:pt x="115" y="83"/>
                  </a:lnTo>
                  <a:lnTo>
                    <a:pt x="114" y="83"/>
                  </a:lnTo>
                  <a:lnTo>
                    <a:pt x="113" y="82"/>
                  </a:lnTo>
                  <a:lnTo>
                    <a:pt x="112" y="82"/>
                  </a:lnTo>
                  <a:lnTo>
                    <a:pt x="112" y="82"/>
                  </a:lnTo>
                  <a:lnTo>
                    <a:pt x="110" y="81"/>
                  </a:lnTo>
                  <a:lnTo>
                    <a:pt x="108" y="80"/>
                  </a:lnTo>
                  <a:lnTo>
                    <a:pt x="107" y="79"/>
                  </a:lnTo>
                  <a:lnTo>
                    <a:pt x="106" y="78"/>
                  </a:lnTo>
                  <a:lnTo>
                    <a:pt x="104" y="78"/>
                  </a:lnTo>
                  <a:lnTo>
                    <a:pt x="103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1" y="77"/>
                  </a:lnTo>
                  <a:lnTo>
                    <a:pt x="99" y="77"/>
                  </a:lnTo>
                  <a:lnTo>
                    <a:pt x="97" y="77"/>
                  </a:lnTo>
                  <a:lnTo>
                    <a:pt x="95" y="77"/>
                  </a:lnTo>
                  <a:lnTo>
                    <a:pt x="94" y="78"/>
                  </a:lnTo>
                  <a:lnTo>
                    <a:pt x="91" y="78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89" y="79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7" y="80"/>
                  </a:lnTo>
                  <a:lnTo>
                    <a:pt x="87" y="80"/>
                  </a:lnTo>
                  <a:lnTo>
                    <a:pt x="86" y="82"/>
                  </a:lnTo>
                  <a:lnTo>
                    <a:pt x="85" y="82"/>
                  </a:lnTo>
                  <a:lnTo>
                    <a:pt x="84" y="83"/>
                  </a:lnTo>
                  <a:lnTo>
                    <a:pt x="83" y="83"/>
                  </a:lnTo>
                  <a:lnTo>
                    <a:pt x="82" y="84"/>
                  </a:lnTo>
                  <a:lnTo>
                    <a:pt x="81" y="84"/>
                  </a:lnTo>
                  <a:lnTo>
                    <a:pt x="79" y="85"/>
                  </a:lnTo>
                  <a:lnTo>
                    <a:pt x="78" y="86"/>
                  </a:lnTo>
                  <a:lnTo>
                    <a:pt x="77" y="86"/>
                  </a:lnTo>
                  <a:lnTo>
                    <a:pt x="76" y="86"/>
                  </a:lnTo>
                  <a:lnTo>
                    <a:pt x="75" y="87"/>
                  </a:lnTo>
                  <a:lnTo>
                    <a:pt x="73" y="89"/>
                  </a:lnTo>
                  <a:lnTo>
                    <a:pt x="68" y="93"/>
                  </a:lnTo>
                  <a:lnTo>
                    <a:pt x="67" y="93"/>
                  </a:lnTo>
                  <a:lnTo>
                    <a:pt x="66" y="94"/>
                  </a:lnTo>
                  <a:lnTo>
                    <a:pt x="65" y="94"/>
                  </a:lnTo>
                  <a:lnTo>
                    <a:pt x="64" y="95"/>
                  </a:lnTo>
                  <a:lnTo>
                    <a:pt x="62" y="95"/>
                  </a:lnTo>
                  <a:lnTo>
                    <a:pt x="59" y="96"/>
                  </a:lnTo>
                  <a:lnTo>
                    <a:pt x="58" y="97"/>
                  </a:lnTo>
                  <a:lnTo>
                    <a:pt x="56" y="97"/>
                  </a:lnTo>
                  <a:lnTo>
                    <a:pt x="55" y="98"/>
                  </a:lnTo>
                  <a:lnTo>
                    <a:pt x="52" y="98"/>
                  </a:lnTo>
                  <a:lnTo>
                    <a:pt x="51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49" y="100"/>
                  </a:lnTo>
                  <a:lnTo>
                    <a:pt x="49" y="100"/>
                  </a:lnTo>
                  <a:lnTo>
                    <a:pt x="49" y="101"/>
                  </a:lnTo>
                  <a:lnTo>
                    <a:pt x="48" y="102"/>
                  </a:lnTo>
                  <a:lnTo>
                    <a:pt x="47" y="104"/>
                  </a:lnTo>
                  <a:lnTo>
                    <a:pt x="46" y="105"/>
                  </a:lnTo>
                  <a:lnTo>
                    <a:pt x="46" y="105"/>
                  </a:lnTo>
                  <a:lnTo>
                    <a:pt x="46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1" y="106"/>
                  </a:lnTo>
                  <a:lnTo>
                    <a:pt x="40" y="106"/>
                  </a:lnTo>
                  <a:lnTo>
                    <a:pt x="36" y="106"/>
                  </a:lnTo>
                  <a:lnTo>
                    <a:pt x="35" y="106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3" y="105"/>
                  </a:lnTo>
                  <a:lnTo>
                    <a:pt x="32" y="105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3"/>
                  </a:lnTo>
                  <a:lnTo>
                    <a:pt x="30" y="103"/>
                  </a:lnTo>
                  <a:lnTo>
                    <a:pt x="30" y="102"/>
                  </a:lnTo>
                  <a:lnTo>
                    <a:pt x="29" y="102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30" y="97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1"/>
                  </a:lnTo>
                  <a:lnTo>
                    <a:pt x="29" y="90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7"/>
                  </a:lnTo>
                  <a:lnTo>
                    <a:pt x="28" y="87"/>
                  </a:lnTo>
                  <a:lnTo>
                    <a:pt x="28" y="86"/>
                  </a:lnTo>
                  <a:lnTo>
                    <a:pt x="27" y="86"/>
                  </a:lnTo>
                  <a:lnTo>
                    <a:pt x="25" y="85"/>
                  </a:lnTo>
                  <a:lnTo>
                    <a:pt x="24" y="85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2" y="83"/>
                  </a:lnTo>
                  <a:lnTo>
                    <a:pt x="21" y="83"/>
                  </a:lnTo>
                  <a:lnTo>
                    <a:pt x="21" y="82"/>
                  </a:lnTo>
                  <a:lnTo>
                    <a:pt x="20" y="82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0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8"/>
                  </a:lnTo>
                  <a:lnTo>
                    <a:pt x="21" y="77"/>
                  </a:lnTo>
                  <a:lnTo>
                    <a:pt x="21" y="76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4"/>
                  </a:lnTo>
                  <a:lnTo>
                    <a:pt x="21" y="73"/>
                  </a:lnTo>
                  <a:lnTo>
                    <a:pt x="21" y="73"/>
                  </a:lnTo>
                  <a:lnTo>
                    <a:pt x="20" y="72"/>
                  </a:lnTo>
                  <a:lnTo>
                    <a:pt x="20" y="71"/>
                  </a:lnTo>
                  <a:lnTo>
                    <a:pt x="17" y="69"/>
                  </a:lnTo>
                  <a:lnTo>
                    <a:pt x="15" y="67"/>
                  </a:lnTo>
                  <a:lnTo>
                    <a:pt x="14" y="66"/>
                  </a:lnTo>
                  <a:lnTo>
                    <a:pt x="13" y="65"/>
                  </a:lnTo>
                  <a:lnTo>
                    <a:pt x="12" y="64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0" y="59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7" y="56"/>
                  </a:lnTo>
                  <a:lnTo>
                    <a:pt x="7" y="55"/>
                  </a:lnTo>
                  <a:lnTo>
                    <a:pt x="7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3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8" y="51"/>
                  </a:lnTo>
                  <a:lnTo>
                    <a:pt x="8" y="50"/>
                  </a:lnTo>
                  <a:lnTo>
                    <a:pt x="9" y="50"/>
                  </a:lnTo>
                  <a:lnTo>
                    <a:pt x="10" y="49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6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4"/>
                  </a:lnTo>
                  <a:lnTo>
                    <a:pt x="12" y="44"/>
                  </a:lnTo>
                  <a:lnTo>
                    <a:pt x="11" y="43"/>
                  </a:lnTo>
                  <a:lnTo>
                    <a:pt x="9" y="40"/>
                  </a:lnTo>
                  <a:lnTo>
                    <a:pt x="7" y="38"/>
                  </a:lnTo>
                  <a:lnTo>
                    <a:pt x="5" y="37"/>
                  </a:lnTo>
                  <a:lnTo>
                    <a:pt x="5" y="36"/>
                  </a:lnTo>
                  <a:lnTo>
                    <a:pt x="4" y="35"/>
                  </a:lnTo>
                  <a:lnTo>
                    <a:pt x="3" y="35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0" y="34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32"/>
                  </a:lnTo>
                  <a:lnTo>
                    <a:pt x="2" y="31"/>
                  </a:lnTo>
                  <a:lnTo>
                    <a:pt x="3" y="31"/>
                  </a:lnTo>
                  <a:lnTo>
                    <a:pt x="4" y="30"/>
                  </a:lnTo>
                  <a:lnTo>
                    <a:pt x="6" y="29"/>
                  </a:lnTo>
                  <a:lnTo>
                    <a:pt x="9" y="28"/>
                  </a:lnTo>
                  <a:lnTo>
                    <a:pt x="11" y="28"/>
                  </a:lnTo>
                  <a:lnTo>
                    <a:pt x="14" y="27"/>
                  </a:lnTo>
                  <a:lnTo>
                    <a:pt x="15" y="27"/>
                  </a:lnTo>
                  <a:lnTo>
                    <a:pt x="16" y="26"/>
                  </a:lnTo>
                  <a:lnTo>
                    <a:pt x="19" y="25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2" y="24"/>
                  </a:lnTo>
                  <a:lnTo>
                    <a:pt x="23" y="24"/>
                  </a:lnTo>
                  <a:lnTo>
                    <a:pt x="23" y="25"/>
                  </a:lnTo>
                  <a:lnTo>
                    <a:pt x="24" y="25"/>
                  </a:lnTo>
                  <a:lnTo>
                    <a:pt x="26" y="26"/>
                  </a:lnTo>
                  <a:lnTo>
                    <a:pt x="27" y="26"/>
                  </a:lnTo>
                  <a:lnTo>
                    <a:pt x="27" y="27"/>
                  </a:lnTo>
                  <a:lnTo>
                    <a:pt x="28" y="27"/>
                  </a:lnTo>
                  <a:lnTo>
                    <a:pt x="30" y="27"/>
                  </a:lnTo>
                  <a:lnTo>
                    <a:pt x="31" y="27"/>
                  </a:lnTo>
                  <a:lnTo>
                    <a:pt x="33" y="27"/>
                  </a:lnTo>
                  <a:lnTo>
                    <a:pt x="34" y="27"/>
                  </a:lnTo>
                  <a:lnTo>
                    <a:pt x="34" y="26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5" y="25"/>
                  </a:lnTo>
                  <a:lnTo>
                    <a:pt x="36" y="24"/>
                  </a:lnTo>
                  <a:lnTo>
                    <a:pt x="36" y="23"/>
                  </a:lnTo>
                  <a:lnTo>
                    <a:pt x="37" y="21"/>
                  </a:lnTo>
                  <a:lnTo>
                    <a:pt x="37" y="20"/>
                  </a:lnTo>
                  <a:lnTo>
                    <a:pt x="37" y="19"/>
                  </a:lnTo>
                  <a:lnTo>
                    <a:pt x="38" y="18"/>
                  </a:lnTo>
                  <a:lnTo>
                    <a:pt x="38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40" y="16"/>
                  </a:lnTo>
                  <a:lnTo>
                    <a:pt x="41" y="16"/>
                  </a:lnTo>
                  <a:lnTo>
                    <a:pt x="41" y="15"/>
                  </a:lnTo>
                  <a:lnTo>
                    <a:pt x="43" y="15"/>
                  </a:lnTo>
                  <a:lnTo>
                    <a:pt x="44" y="15"/>
                  </a:lnTo>
                  <a:lnTo>
                    <a:pt x="47" y="15"/>
                  </a:lnTo>
                  <a:lnTo>
                    <a:pt x="48" y="14"/>
                  </a:lnTo>
                  <a:lnTo>
                    <a:pt x="49" y="14"/>
                  </a:lnTo>
                  <a:lnTo>
                    <a:pt x="52" y="14"/>
                  </a:lnTo>
                  <a:lnTo>
                    <a:pt x="53" y="13"/>
                  </a:lnTo>
                  <a:lnTo>
                    <a:pt x="54" y="12"/>
                  </a:lnTo>
                  <a:lnTo>
                    <a:pt x="58" y="10"/>
                  </a:lnTo>
                  <a:lnTo>
                    <a:pt x="59" y="10"/>
                  </a:lnTo>
                  <a:lnTo>
                    <a:pt x="61" y="9"/>
                  </a:lnTo>
                  <a:lnTo>
                    <a:pt x="64" y="9"/>
                  </a:lnTo>
                  <a:lnTo>
                    <a:pt x="66" y="8"/>
                  </a:lnTo>
                  <a:lnTo>
                    <a:pt x="67" y="7"/>
                  </a:lnTo>
                  <a:lnTo>
                    <a:pt x="70" y="5"/>
                  </a:lnTo>
                  <a:lnTo>
                    <a:pt x="71" y="5"/>
                  </a:lnTo>
                  <a:lnTo>
                    <a:pt x="73" y="4"/>
                  </a:lnTo>
                  <a:lnTo>
                    <a:pt x="75" y="3"/>
                  </a:lnTo>
                  <a:lnTo>
                    <a:pt x="77" y="3"/>
                  </a:lnTo>
                  <a:lnTo>
                    <a:pt x="79" y="2"/>
                  </a:lnTo>
                  <a:lnTo>
                    <a:pt x="84" y="1"/>
                  </a:lnTo>
                  <a:lnTo>
                    <a:pt x="86" y="1"/>
                  </a:lnTo>
                  <a:lnTo>
                    <a:pt x="87" y="1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88" y="0"/>
                  </a:lnTo>
                  <a:close/>
                </a:path>
              </a:pathLst>
            </a:custGeom>
            <a:solidFill>
              <a:srgbClr val="C00000"/>
            </a:solidFill>
            <a:ln w="63500">
              <a:solidFill>
                <a:srgbClr val="C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7">
              <a:extLst>
                <a:ext uri="{FF2B5EF4-FFF2-40B4-BE49-F238E27FC236}">
                  <a16:creationId xmlns:a16="http://schemas.microsoft.com/office/drawing/2014/main" id="{113C2CCF-720E-CA6D-6E98-B424F0873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6" y="3069"/>
              <a:ext cx="633" cy="513"/>
            </a:xfrm>
            <a:custGeom>
              <a:avLst/>
              <a:gdLst>
                <a:gd name="T0" fmla="*/ 487 w 633"/>
                <a:gd name="T1" fmla="*/ 20 h 513"/>
                <a:gd name="T2" fmla="*/ 512 w 633"/>
                <a:gd name="T3" fmla="*/ 53 h 513"/>
                <a:gd name="T4" fmla="*/ 516 w 633"/>
                <a:gd name="T5" fmla="*/ 105 h 513"/>
                <a:gd name="T6" fmla="*/ 525 w 633"/>
                <a:gd name="T7" fmla="*/ 128 h 513"/>
                <a:gd name="T8" fmla="*/ 553 w 633"/>
                <a:gd name="T9" fmla="*/ 151 h 513"/>
                <a:gd name="T10" fmla="*/ 587 w 633"/>
                <a:gd name="T11" fmla="*/ 174 h 513"/>
                <a:gd name="T12" fmla="*/ 583 w 633"/>
                <a:gd name="T13" fmla="*/ 217 h 513"/>
                <a:gd name="T14" fmla="*/ 599 w 633"/>
                <a:gd name="T15" fmla="*/ 238 h 513"/>
                <a:gd name="T16" fmla="*/ 591 w 633"/>
                <a:gd name="T17" fmla="*/ 260 h 513"/>
                <a:gd name="T18" fmla="*/ 603 w 633"/>
                <a:gd name="T19" fmla="*/ 280 h 513"/>
                <a:gd name="T20" fmla="*/ 632 w 633"/>
                <a:gd name="T21" fmla="*/ 303 h 513"/>
                <a:gd name="T22" fmla="*/ 624 w 633"/>
                <a:gd name="T23" fmla="*/ 350 h 513"/>
                <a:gd name="T24" fmla="*/ 604 w 633"/>
                <a:gd name="T25" fmla="*/ 375 h 513"/>
                <a:gd name="T26" fmla="*/ 566 w 633"/>
                <a:gd name="T27" fmla="*/ 394 h 513"/>
                <a:gd name="T28" fmla="*/ 532 w 633"/>
                <a:gd name="T29" fmla="*/ 420 h 513"/>
                <a:gd name="T30" fmla="*/ 549 w 633"/>
                <a:gd name="T31" fmla="*/ 455 h 513"/>
                <a:gd name="T32" fmla="*/ 524 w 633"/>
                <a:gd name="T33" fmla="*/ 473 h 513"/>
                <a:gd name="T34" fmla="*/ 473 w 633"/>
                <a:gd name="T35" fmla="*/ 469 h 513"/>
                <a:gd name="T36" fmla="*/ 455 w 633"/>
                <a:gd name="T37" fmla="*/ 494 h 513"/>
                <a:gd name="T38" fmla="*/ 430 w 633"/>
                <a:gd name="T39" fmla="*/ 479 h 513"/>
                <a:gd name="T40" fmla="*/ 394 w 633"/>
                <a:gd name="T41" fmla="*/ 475 h 513"/>
                <a:gd name="T42" fmla="*/ 369 w 633"/>
                <a:gd name="T43" fmla="*/ 512 h 513"/>
                <a:gd name="T44" fmla="*/ 342 w 633"/>
                <a:gd name="T45" fmla="*/ 501 h 513"/>
                <a:gd name="T46" fmla="*/ 298 w 633"/>
                <a:gd name="T47" fmla="*/ 492 h 513"/>
                <a:gd name="T48" fmla="*/ 273 w 633"/>
                <a:gd name="T49" fmla="*/ 499 h 513"/>
                <a:gd name="T50" fmla="*/ 239 w 633"/>
                <a:gd name="T51" fmla="*/ 498 h 513"/>
                <a:gd name="T52" fmla="*/ 195 w 633"/>
                <a:gd name="T53" fmla="*/ 493 h 513"/>
                <a:gd name="T54" fmla="*/ 164 w 633"/>
                <a:gd name="T55" fmla="*/ 508 h 513"/>
                <a:gd name="T56" fmla="*/ 127 w 633"/>
                <a:gd name="T57" fmla="*/ 508 h 513"/>
                <a:gd name="T58" fmla="*/ 101 w 633"/>
                <a:gd name="T59" fmla="*/ 493 h 513"/>
                <a:gd name="T60" fmla="*/ 87 w 633"/>
                <a:gd name="T61" fmla="*/ 456 h 513"/>
                <a:gd name="T62" fmla="*/ 84 w 633"/>
                <a:gd name="T63" fmla="*/ 439 h 513"/>
                <a:gd name="T64" fmla="*/ 78 w 633"/>
                <a:gd name="T65" fmla="*/ 424 h 513"/>
                <a:gd name="T66" fmla="*/ 111 w 633"/>
                <a:gd name="T67" fmla="*/ 404 h 513"/>
                <a:gd name="T68" fmla="*/ 117 w 633"/>
                <a:gd name="T69" fmla="*/ 367 h 513"/>
                <a:gd name="T70" fmla="*/ 110 w 633"/>
                <a:gd name="T71" fmla="*/ 311 h 513"/>
                <a:gd name="T72" fmla="*/ 74 w 633"/>
                <a:gd name="T73" fmla="*/ 283 h 513"/>
                <a:gd name="T74" fmla="*/ 33 w 633"/>
                <a:gd name="T75" fmla="*/ 269 h 513"/>
                <a:gd name="T76" fmla="*/ 2 w 633"/>
                <a:gd name="T77" fmla="*/ 265 h 513"/>
                <a:gd name="T78" fmla="*/ 5 w 633"/>
                <a:gd name="T79" fmla="*/ 235 h 513"/>
                <a:gd name="T80" fmla="*/ 27 w 633"/>
                <a:gd name="T81" fmla="*/ 212 h 513"/>
                <a:gd name="T82" fmla="*/ 69 w 633"/>
                <a:gd name="T83" fmla="*/ 184 h 513"/>
                <a:gd name="T84" fmla="*/ 113 w 633"/>
                <a:gd name="T85" fmla="*/ 171 h 513"/>
                <a:gd name="T86" fmla="*/ 149 w 633"/>
                <a:gd name="T87" fmla="*/ 158 h 513"/>
                <a:gd name="T88" fmla="*/ 176 w 633"/>
                <a:gd name="T89" fmla="*/ 133 h 513"/>
                <a:gd name="T90" fmla="*/ 236 w 633"/>
                <a:gd name="T91" fmla="*/ 127 h 513"/>
                <a:gd name="T92" fmla="*/ 287 w 633"/>
                <a:gd name="T93" fmla="*/ 120 h 513"/>
                <a:gd name="T94" fmla="*/ 299 w 633"/>
                <a:gd name="T95" fmla="*/ 88 h 513"/>
                <a:gd name="T96" fmla="*/ 318 w 633"/>
                <a:gd name="T97" fmla="*/ 59 h 513"/>
                <a:gd name="T98" fmla="*/ 340 w 633"/>
                <a:gd name="T99" fmla="*/ 53 h 513"/>
                <a:gd name="T100" fmla="*/ 361 w 633"/>
                <a:gd name="T101" fmla="*/ 65 h 513"/>
                <a:gd name="T102" fmla="*/ 404 w 633"/>
                <a:gd name="T103" fmla="*/ 32 h 513"/>
                <a:gd name="T104" fmla="*/ 435 w 633"/>
                <a:gd name="T105" fmla="*/ 21 h 513"/>
                <a:gd name="T106" fmla="*/ 306 w 633"/>
                <a:gd name="T107" fmla="*/ 213 h 513"/>
                <a:gd name="T108" fmla="*/ 269 w 633"/>
                <a:gd name="T109" fmla="*/ 227 h 513"/>
                <a:gd name="T110" fmla="*/ 258 w 633"/>
                <a:gd name="T111" fmla="*/ 252 h 513"/>
                <a:gd name="T112" fmla="*/ 269 w 633"/>
                <a:gd name="T113" fmla="*/ 285 h 513"/>
                <a:gd name="T114" fmla="*/ 280 w 633"/>
                <a:gd name="T115" fmla="*/ 308 h 513"/>
                <a:gd name="T116" fmla="*/ 326 w 633"/>
                <a:gd name="T117" fmla="*/ 289 h 513"/>
                <a:gd name="T118" fmla="*/ 368 w 633"/>
                <a:gd name="T119" fmla="*/ 286 h 513"/>
                <a:gd name="T120" fmla="*/ 383 w 633"/>
                <a:gd name="T121" fmla="*/ 252 h 513"/>
                <a:gd name="T122" fmla="*/ 356 w 633"/>
                <a:gd name="T123" fmla="*/ 222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3" h="513">
                  <a:moveTo>
                    <a:pt x="451" y="0"/>
                  </a:moveTo>
                  <a:lnTo>
                    <a:pt x="451" y="0"/>
                  </a:lnTo>
                  <a:lnTo>
                    <a:pt x="452" y="0"/>
                  </a:lnTo>
                  <a:lnTo>
                    <a:pt x="452" y="1"/>
                  </a:lnTo>
                  <a:lnTo>
                    <a:pt x="453" y="1"/>
                  </a:lnTo>
                  <a:lnTo>
                    <a:pt x="455" y="3"/>
                  </a:lnTo>
                  <a:lnTo>
                    <a:pt x="456" y="4"/>
                  </a:lnTo>
                  <a:lnTo>
                    <a:pt x="457" y="5"/>
                  </a:lnTo>
                  <a:lnTo>
                    <a:pt x="459" y="6"/>
                  </a:lnTo>
                  <a:lnTo>
                    <a:pt x="460" y="7"/>
                  </a:lnTo>
                  <a:lnTo>
                    <a:pt x="460" y="7"/>
                  </a:lnTo>
                  <a:lnTo>
                    <a:pt x="461" y="8"/>
                  </a:lnTo>
                  <a:lnTo>
                    <a:pt x="461" y="9"/>
                  </a:lnTo>
                  <a:lnTo>
                    <a:pt x="462" y="9"/>
                  </a:lnTo>
                  <a:lnTo>
                    <a:pt x="463" y="9"/>
                  </a:lnTo>
                  <a:lnTo>
                    <a:pt x="463" y="10"/>
                  </a:lnTo>
                  <a:lnTo>
                    <a:pt x="464" y="10"/>
                  </a:lnTo>
                  <a:lnTo>
                    <a:pt x="465" y="10"/>
                  </a:lnTo>
                  <a:lnTo>
                    <a:pt x="465" y="10"/>
                  </a:lnTo>
                  <a:lnTo>
                    <a:pt x="465" y="9"/>
                  </a:lnTo>
                  <a:lnTo>
                    <a:pt x="466" y="9"/>
                  </a:lnTo>
                  <a:lnTo>
                    <a:pt x="467" y="8"/>
                  </a:lnTo>
                  <a:lnTo>
                    <a:pt x="468" y="8"/>
                  </a:lnTo>
                  <a:lnTo>
                    <a:pt x="468" y="8"/>
                  </a:lnTo>
                  <a:lnTo>
                    <a:pt x="469" y="7"/>
                  </a:lnTo>
                  <a:lnTo>
                    <a:pt x="470" y="7"/>
                  </a:lnTo>
                  <a:lnTo>
                    <a:pt x="471" y="7"/>
                  </a:lnTo>
                  <a:lnTo>
                    <a:pt x="471" y="7"/>
                  </a:lnTo>
                  <a:lnTo>
                    <a:pt x="474" y="8"/>
                  </a:lnTo>
                  <a:lnTo>
                    <a:pt x="475" y="8"/>
                  </a:lnTo>
                  <a:lnTo>
                    <a:pt x="476" y="8"/>
                  </a:lnTo>
                  <a:lnTo>
                    <a:pt x="476" y="8"/>
                  </a:lnTo>
                  <a:lnTo>
                    <a:pt x="476" y="9"/>
                  </a:lnTo>
                  <a:lnTo>
                    <a:pt x="477" y="9"/>
                  </a:lnTo>
                  <a:lnTo>
                    <a:pt x="479" y="10"/>
                  </a:lnTo>
                  <a:lnTo>
                    <a:pt x="481" y="14"/>
                  </a:lnTo>
                  <a:lnTo>
                    <a:pt x="485" y="18"/>
                  </a:lnTo>
                  <a:lnTo>
                    <a:pt x="487" y="20"/>
                  </a:lnTo>
                  <a:lnTo>
                    <a:pt x="488" y="21"/>
                  </a:lnTo>
                  <a:lnTo>
                    <a:pt x="488" y="21"/>
                  </a:lnTo>
                  <a:lnTo>
                    <a:pt x="489" y="22"/>
                  </a:lnTo>
                  <a:lnTo>
                    <a:pt x="490" y="22"/>
                  </a:lnTo>
                  <a:lnTo>
                    <a:pt x="491" y="22"/>
                  </a:lnTo>
                  <a:lnTo>
                    <a:pt x="493" y="23"/>
                  </a:lnTo>
                  <a:lnTo>
                    <a:pt x="494" y="24"/>
                  </a:lnTo>
                  <a:lnTo>
                    <a:pt x="495" y="24"/>
                  </a:lnTo>
                  <a:lnTo>
                    <a:pt x="496" y="25"/>
                  </a:lnTo>
                  <a:lnTo>
                    <a:pt x="497" y="26"/>
                  </a:lnTo>
                  <a:lnTo>
                    <a:pt x="499" y="27"/>
                  </a:lnTo>
                  <a:lnTo>
                    <a:pt x="500" y="28"/>
                  </a:lnTo>
                  <a:lnTo>
                    <a:pt x="501" y="29"/>
                  </a:lnTo>
                  <a:lnTo>
                    <a:pt x="501" y="30"/>
                  </a:lnTo>
                  <a:lnTo>
                    <a:pt x="502" y="31"/>
                  </a:lnTo>
                  <a:lnTo>
                    <a:pt x="503" y="32"/>
                  </a:lnTo>
                  <a:lnTo>
                    <a:pt x="505" y="35"/>
                  </a:lnTo>
                  <a:lnTo>
                    <a:pt x="505" y="36"/>
                  </a:lnTo>
                  <a:lnTo>
                    <a:pt x="505" y="37"/>
                  </a:lnTo>
                  <a:lnTo>
                    <a:pt x="506" y="37"/>
                  </a:lnTo>
                  <a:lnTo>
                    <a:pt x="507" y="38"/>
                  </a:lnTo>
                  <a:lnTo>
                    <a:pt x="508" y="38"/>
                  </a:lnTo>
                  <a:lnTo>
                    <a:pt x="508" y="39"/>
                  </a:lnTo>
                  <a:lnTo>
                    <a:pt x="509" y="39"/>
                  </a:lnTo>
                  <a:lnTo>
                    <a:pt x="511" y="40"/>
                  </a:lnTo>
                  <a:lnTo>
                    <a:pt x="512" y="41"/>
                  </a:lnTo>
                  <a:lnTo>
                    <a:pt x="517" y="43"/>
                  </a:lnTo>
                  <a:lnTo>
                    <a:pt x="518" y="43"/>
                  </a:lnTo>
                  <a:lnTo>
                    <a:pt x="519" y="44"/>
                  </a:lnTo>
                  <a:lnTo>
                    <a:pt x="518" y="45"/>
                  </a:lnTo>
                  <a:lnTo>
                    <a:pt x="517" y="46"/>
                  </a:lnTo>
                  <a:lnTo>
                    <a:pt x="515" y="48"/>
                  </a:lnTo>
                  <a:lnTo>
                    <a:pt x="514" y="49"/>
                  </a:lnTo>
                  <a:lnTo>
                    <a:pt x="513" y="50"/>
                  </a:lnTo>
                  <a:lnTo>
                    <a:pt x="512" y="51"/>
                  </a:lnTo>
                  <a:lnTo>
                    <a:pt x="512" y="52"/>
                  </a:lnTo>
                  <a:lnTo>
                    <a:pt x="512" y="52"/>
                  </a:lnTo>
                  <a:lnTo>
                    <a:pt x="512" y="53"/>
                  </a:lnTo>
                  <a:lnTo>
                    <a:pt x="512" y="54"/>
                  </a:lnTo>
                  <a:lnTo>
                    <a:pt x="512" y="54"/>
                  </a:lnTo>
                  <a:lnTo>
                    <a:pt x="512" y="55"/>
                  </a:lnTo>
                  <a:lnTo>
                    <a:pt x="512" y="56"/>
                  </a:lnTo>
                  <a:lnTo>
                    <a:pt x="513" y="58"/>
                  </a:lnTo>
                  <a:lnTo>
                    <a:pt x="514" y="60"/>
                  </a:lnTo>
                  <a:lnTo>
                    <a:pt x="514" y="61"/>
                  </a:lnTo>
                  <a:lnTo>
                    <a:pt x="515" y="63"/>
                  </a:lnTo>
                  <a:lnTo>
                    <a:pt x="516" y="65"/>
                  </a:lnTo>
                  <a:lnTo>
                    <a:pt x="516" y="66"/>
                  </a:lnTo>
                  <a:lnTo>
                    <a:pt x="516" y="66"/>
                  </a:lnTo>
                  <a:lnTo>
                    <a:pt x="516" y="67"/>
                  </a:lnTo>
                  <a:lnTo>
                    <a:pt x="516" y="69"/>
                  </a:lnTo>
                  <a:lnTo>
                    <a:pt x="516" y="74"/>
                  </a:lnTo>
                  <a:lnTo>
                    <a:pt x="516" y="75"/>
                  </a:lnTo>
                  <a:lnTo>
                    <a:pt x="516" y="76"/>
                  </a:lnTo>
                  <a:lnTo>
                    <a:pt x="517" y="77"/>
                  </a:lnTo>
                  <a:lnTo>
                    <a:pt x="517" y="78"/>
                  </a:lnTo>
                  <a:lnTo>
                    <a:pt x="517" y="78"/>
                  </a:lnTo>
                  <a:lnTo>
                    <a:pt x="518" y="80"/>
                  </a:lnTo>
                  <a:lnTo>
                    <a:pt x="519" y="81"/>
                  </a:lnTo>
                  <a:lnTo>
                    <a:pt x="519" y="82"/>
                  </a:lnTo>
                  <a:lnTo>
                    <a:pt x="520" y="83"/>
                  </a:lnTo>
                  <a:lnTo>
                    <a:pt x="520" y="84"/>
                  </a:lnTo>
                  <a:lnTo>
                    <a:pt x="521" y="87"/>
                  </a:lnTo>
                  <a:lnTo>
                    <a:pt x="522" y="89"/>
                  </a:lnTo>
                  <a:lnTo>
                    <a:pt x="522" y="90"/>
                  </a:lnTo>
                  <a:lnTo>
                    <a:pt x="522" y="91"/>
                  </a:lnTo>
                  <a:lnTo>
                    <a:pt x="522" y="93"/>
                  </a:lnTo>
                  <a:lnTo>
                    <a:pt x="521" y="94"/>
                  </a:lnTo>
                  <a:lnTo>
                    <a:pt x="521" y="95"/>
                  </a:lnTo>
                  <a:lnTo>
                    <a:pt x="520" y="96"/>
                  </a:lnTo>
                  <a:lnTo>
                    <a:pt x="520" y="97"/>
                  </a:lnTo>
                  <a:lnTo>
                    <a:pt x="518" y="99"/>
                  </a:lnTo>
                  <a:lnTo>
                    <a:pt x="518" y="100"/>
                  </a:lnTo>
                  <a:lnTo>
                    <a:pt x="517" y="101"/>
                  </a:lnTo>
                  <a:lnTo>
                    <a:pt x="516" y="104"/>
                  </a:lnTo>
                  <a:lnTo>
                    <a:pt x="516" y="105"/>
                  </a:lnTo>
                  <a:lnTo>
                    <a:pt x="516" y="105"/>
                  </a:lnTo>
                  <a:lnTo>
                    <a:pt x="515" y="105"/>
                  </a:lnTo>
                  <a:lnTo>
                    <a:pt x="515" y="106"/>
                  </a:lnTo>
                  <a:lnTo>
                    <a:pt x="514" y="106"/>
                  </a:lnTo>
                  <a:lnTo>
                    <a:pt x="512" y="108"/>
                  </a:lnTo>
                  <a:lnTo>
                    <a:pt x="511" y="108"/>
                  </a:lnTo>
                  <a:lnTo>
                    <a:pt x="511" y="108"/>
                  </a:lnTo>
                  <a:lnTo>
                    <a:pt x="510" y="109"/>
                  </a:lnTo>
                  <a:lnTo>
                    <a:pt x="510" y="110"/>
                  </a:lnTo>
                  <a:lnTo>
                    <a:pt x="510" y="110"/>
                  </a:lnTo>
                  <a:lnTo>
                    <a:pt x="509" y="111"/>
                  </a:lnTo>
                  <a:lnTo>
                    <a:pt x="509" y="111"/>
                  </a:lnTo>
                  <a:lnTo>
                    <a:pt x="509" y="112"/>
                  </a:lnTo>
                  <a:lnTo>
                    <a:pt x="509" y="113"/>
                  </a:lnTo>
                  <a:lnTo>
                    <a:pt x="510" y="114"/>
                  </a:lnTo>
                  <a:lnTo>
                    <a:pt x="510" y="114"/>
                  </a:lnTo>
                  <a:lnTo>
                    <a:pt x="510" y="115"/>
                  </a:lnTo>
                  <a:lnTo>
                    <a:pt x="511" y="117"/>
                  </a:lnTo>
                  <a:lnTo>
                    <a:pt x="512" y="118"/>
                  </a:lnTo>
                  <a:lnTo>
                    <a:pt x="512" y="119"/>
                  </a:lnTo>
                  <a:lnTo>
                    <a:pt x="513" y="120"/>
                  </a:lnTo>
                  <a:lnTo>
                    <a:pt x="513" y="121"/>
                  </a:lnTo>
                  <a:lnTo>
                    <a:pt x="513" y="122"/>
                  </a:lnTo>
                  <a:lnTo>
                    <a:pt x="514" y="123"/>
                  </a:lnTo>
                  <a:lnTo>
                    <a:pt x="514" y="124"/>
                  </a:lnTo>
                  <a:lnTo>
                    <a:pt x="515" y="124"/>
                  </a:lnTo>
                  <a:lnTo>
                    <a:pt x="515" y="125"/>
                  </a:lnTo>
                  <a:lnTo>
                    <a:pt x="516" y="125"/>
                  </a:lnTo>
                  <a:lnTo>
                    <a:pt x="517" y="126"/>
                  </a:lnTo>
                  <a:lnTo>
                    <a:pt x="518" y="126"/>
                  </a:lnTo>
                  <a:lnTo>
                    <a:pt x="518" y="126"/>
                  </a:lnTo>
                  <a:lnTo>
                    <a:pt x="519" y="127"/>
                  </a:lnTo>
                  <a:lnTo>
                    <a:pt x="519" y="127"/>
                  </a:lnTo>
                  <a:lnTo>
                    <a:pt x="520" y="127"/>
                  </a:lnTo>
                  <a:lnTo>
                    <a:pt x="521" y="127"/>
                  </a:lnTo>
                  <a:lnTo>
                    <a:pt x="524" y="127"/>
                  </a:lnTo>
                  <a:lnTo>
                    <a:pt x="525" y="128"/>
                  </a:lnTo>
                  <a:lnTo>
                    <a:pt x="525" y="128"/>
                  </a:lnTo>
                  <a:lnTo>
                    <a:pt x="527" y="128"/>
                  </a:lnTo>
                  <a:lnTo>
                    <a:pt x="528" y="129"/>
                  </a:lnTo>
                  <a:lnTo>
                    <a:pt x="529" y="129"/>
                  </a:lnTo>
                  <a:lnTo>
                    <a:pt x="529" y="130"/>
                  </a:lnTo>
                  <a:lnTo>
                    <a:pt x="530" y="130"/>
                  </a:lnTo>
                  <a:lnTo>
                    <a:pt x="531" y="132"/>
                  </a:lnTo>
                  <a:lnTo>
                    <a:pt x="531" y="132"/>
                  </a:lnTo>
                  <a:lnTo>
                    <a:pt x="532" y="133"/>
                  </a:lnTo>
                  <a:lnTo>
                    <a:pt x="533" y="134"/>
                  </a:lnTo>
                  <a:lnTo>
                    <a:pt x="534" y="135"/>
                  </a:lnTo>
                  <a:lnTo>
                    <a:pt x="536" y="137"/>
                  </a:lnTo>
                  <a:lnTo>
                    <a:pt x="536" y="137"/>
                  </a:lnTo>
                  <a:lnTo>
                    <a:pt x="537" y="138"/>
                  </a:lnTo>
                  <a:lnTo>
                    <a:pt x="537" y="139"/>
                  </a:lnTo>
                  <a:lnTo>
                    <a:pt x="538" y="139"/>
                  </a:lnTo>
                  <a:lnTo>
                    <a:pt x="538" y="140"/>
                  </a:lnTo>
                  <a:lnTo>
                    <a:pt x="538" y="142"/>
                  </a:lnTo>
                  <a:lnTo>
                    <a:pt x="538" y="144"/>
                  </a:lnTo>
                  <a:lnTo>
                    <a:pt x="538" y="144"/>
                  </a:lnTo>
                  <a:lnTo>
                    <a:pt x="538" y="145"/>
                  </a:lnTo>
                  <a:lnTo>
                    <a:pt x="538" y="146"/>
                  </a:lnTo>
                  <a:lnTo>
                    <a:pt x="539" y="147"/>
                  </a:lnTo>
                  <a:lnTo>
                    <a:pt x="539" y="148"/>
                  </a:lnTo>
                  <a:lnTo>
                    <a:pt x="539" y="148"/>
                  </a:lnTo>
                  <a:lnTo>
                    <a:pt x="540" y="149"/>
                  </a:lnTo>
                  <a:lnTo>
                    <a:pt x="540" y="149"/>
                  </a:lnTo>
                  <a:lnTo>
                    <a:pt x="541" y="150"/>
                  </a:lnTo>
                  <a:lnTo>
                    <a:pt x="542" y="150"/>
                  </a:lnTo>
                  <a:lnTo>
                    <a:pt x="542" y="151"/>
                  </a:lnTo>
                  <a:lnTo>
                    <a:pt x="543" y="151"/>
                  </a:lnTo>
                  <a:lnTo>
                    <a:pt x="544" y="151"/>
                  </a:lnTo>
                  <a:lnTo>
                    <a:pt x="545" y="152"/>
                  </a:lnTo>
                  <a:lnTo>
                    <a:pt x="545" y="152"/>
                  </a:lnTo>
                  <a:lnTo>
                    <a:pt x="546" y="152"/>
                  </a:lnTo>
                  <a:lnTo>
                    <a:pt x="547" y="152"/>
                  </a:lnTo>
                  <a:lnTo>
                    <a:pt x="548" y="152"/>
                  </a:lnTo>
                  <a:lnTo>
                    <a:pt x="552" y="151"/>
                  </a:lnTo>
                  <a:lnTo>
                    <a:pt x="553" y="151"/>
                  </a:lnTo>
                  <a:lnTo>
                    <a:pt x="554" y="151"/>
                  </a:lnTo>
                  <a:lnTo>
                    <a:pt x="558" y="152"/>
                  </a:lnTo>
                  <a:lnTo>
                    <a:pt x="561" y="152"/>
                  </a:lnTo>
                  <a:lnTo>
                    <a:pt x="564" y="153"/>
                  </a:lnTo>
                  <a:lnTo>
                    <a:pt x="565" y="153"/>
                  </a:lnTo>
                  <a:lnTo>
                    <a:pt x="566" y="153"/>
                  </a:lnTo>
                  <a:lnTo>
                    <a:pt x="567" y="153"/>
                  </a:lnTo>
                  <a:lnTo>
                    <a:pt x="568" y="152"/>
                  </a:lnTo>
                  <a:lnTo>
                    <a:pt x="572" y="151"/>
                  </a:lnTo>
                  <a:lnTo>
                    <a:pt x="574" y="150"/>
                  </a:lnTo>
                  <a:lnTo>
                    <a:pt x="575" y="150"/>
                  </a:lnTo>
                  <a:lnTo>
                    <a:pt x="577" y="149"/>
                  </a:lnTo>
                  <a:lnTo>
                    <a:pt x="577" y="149"/>
                  </a:lnTo>
                  <a:lnTo>
                    <a:pt x="578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80" y="149"/>
                  </a:lnTo>
                  <a:lnTo>
                    <a:pt x="581" y="149"/>
                  </a:lnTo>
                  <a:lnTo>
                    <a:pt x="581" y="150"/>
                  </a:lnTo>
                  <a:lnTo>
                    <a:pt x="582" y="151"/>
                  </a:lnTo>
                  <a:lnTo>
                    <a:pt x="584" y="152"/>
                  </a:lnTo>
                  <a:lnTo>
                    <a:pt x="584" y="153"/>
                  </a:lnTo>
                  <a:lnTo>
                    <a:pt x="585" y="153"/>
                  </a:lnTo>
                  <a:lnTo>
                    <a:pt x="586" y="154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7" y="156"/>
                  </a:lnTo>
                  <a:lnTo>
                    <a:pt x="587" y="158"/>
                  </a:lnTo>
                  <a:lnTo>
                    <a:pt x="587" y="158"/>
                  </a:lnTo>
                  <a:lnTo>
                    <a:pt x="587" y="160"/>
                  </a:lnTo>
                  <a:lnTo>
                    <a:pt x="587" y="162"/>
                  </a:lnTo>
                  <a:lnTo>
                    <a:pt x="588" y="165"/>
                  </a:lnTo>
                  <a:lnTo>
                    <a:pt x="588" y="167"/>
                  </a:lnTo>
                  <a:lnTo>
                    <a:pt x="587" y="168"/>
                  </a:lnTo>
                  <a:lnTo>
                    <a:pt x="587" y="171"/>
                  </a:lnTo>
                  <a:lnTo>
                    <a:pt x="587" y="172"/>
                  </a:lnTo>
                  <a:lnTo>
                    <a:pt x="587" y="173"/>
                  </a:lnTo>
                  <a:lnTo>
                    <a:pt x="587" y="174"/>
                  </a:lnTo>
                  <a:lnTo>
                    <a:pt x="587" y="176"/>
                  </a:lnTo>
                  <a:lnTo>
                    <a:pt x="587" y="178"/>
                  </a:lnTo>
                  <a:lnTo>
                    <a:pt x="587" y="179"/>
                  </a:lnTo>
                  <a:lnTo>
                    <a:pt x="587" y="179"/>
                  </a:lnTo>
                  <a:lnTo>
                    <a:pt x="587" y="180"/>
                  </a:lnTo>
                  <a:lnTo>
                    <a:pt x="588" y="182"/>
                  </a:lnTo>
                  <a:lnTo>
                    <a:pt x="589" y="183"/>
                  </a:lnTo>
                  <a:lnTo>
                    <a:pt x="591" y="185"/>
                  </a:lnTo>
                  <a:lnTo>
                    <a:pt x="591" y="186"/>
                  </a:lnTo>
                  <a:lnTo>
                    <a:pt x="592" y="188"/>
                  </a:lnTo>
                  <a:lnTo>
                    <a:pt x="592" y="189"/>
                  </a:lnTo>
                  <a:lnTo>
                    <a:pt x="593" y="191"/>
                  </a:lnTo>
                  <a:lnTo>
                    <a:pt x="593" y="191"/>
                  </a:lnTo>
                  <a:lnTo>
                    <a:pt x="593" y="192"/>
                  </a:lnTo>
                  <a:lnTo>
                    <a:pt x="593" y="192"/>
                  </a:lnTo>
                  <a:lnTo>
                    <a:pt x="593" y="193"/>
                  </a:lnTo>
                  <a:lnTo>
                    <a:pt x="593" y="194"/>
                  </a:lnTo>
                  <a:lnTo>
                    <a:pt x="592" y="195"/>
                  </a:lnTo>
                  <a:lnTo>
                    <a:pt x="592" y="196"/>
                  </a:lnTo>
                  <a:lnTo>
                    <a:pt x="591" y="198"/>
                  </a:lnTo>
                  <a:lnTo>
                    <a:pt x="591" y="199"/>
                  </a:lnTo>
                  <a:lnTo>
                    <a:pt x="590" y="200"/>
                  </a:lnTo>
                  <a:lnTo>
                    <a:pt x="589" y="202"/>
                  </a:lnTo>
                  <a:lnTo>
                    <a:pt x="588" y="203"/>
                  </a:lnTo>
                  <a:lnTo>
                    <a:pt x="587" y="204"/>
                  </a:lnTo>
                  <a:lnTo>
                    <a:pt x="586" y="206"/>
                  </a:lnTo>
                  <a:lnTo>
                    <a:pt x="585" y="207"/>
                  </a:lnTo>
                  <a:lnTo>
                    <a:pt x="584" y="208"/>
                  </a:lnTo>
                  <a:lnTo>
                    <a:pt x="584" y="209"/>
                  </a:lnTo>
                  <a:lnTo>
                    <a:pt x="583" y="210"/>
                  </a:lnTo>
                  <a:lnTo>
                    <a:pt x="583" y="210"/>
                  </a:lnTo>
                  <a:lnTo>
                    <a:pt x="583" y="211"/>
                  </a:lnTo>
                  <a:lnTo>
                    <a:pt x="584" y="212"/>
                  </a:lnTo>
                  <a:lnTo>
                    <a:pt x="584" y="213"/>
                  </a:lnTo>
                  <a:lnTo>
                    <a:pt x="584" y="214"/>
                  </a:lnTo>
                  <a:lnTo>
                    <a:pt x="584" y="214"/>
                  </a:lnTo>
                  <a:lnTo>
                    <a:pt x="583" y="217"/>
                  </a:lnTo>
                  <a:lnTo>
                    <a:pt x="583" y="217"/>
                  </a:lnTo>
                  <a:lnTo>
                    <a:pt x="583" y="217"/>
                  </a:lnTo>
                  <a:lnTo>
                    <a:pt x="583" y="218"/>
                  </a:lnTo>
                  <a:lnTo>
                    <a:pt x="583" y="218"/>
                  </a:lnTo>
                  <a:lnTo>
                    <a:pt x="584" y="218"/>
                  </a:lnTo>
                  <a:lnTo>
                    <a:pt x="585" y="219"/>
                  </a:lnTo>
                  <a:lnTo>
                    <a:pt x="588" y="220"/>
                  </a:lnTo>
                  <a:lnTo>
                    <a:pt x="592" y="221"/>
                  </a:lnTo>
                  <a:lnTo>
                    <a:pt x="593" y="221"/>
                  </a:lnTo>
                  <a:lnTo>
                    <a:pt x="594" y="221"/>
                  </a:lnTo>
                  <a:lnTo>
                    <a:pt x="596" y="222"/>
                  </a:lnTo>
                  <a:lnTo>
                    <a:pt x="597" y="222"/>
                  </a:lnTo>
                  <a:lnTo>
                    <a:pt x="598" y="222"/>
                  </a:lnTo>
                  <a:lnTo>
                    <a:pt x="599" y="223"/>
                  </a:lnTo>
                  <a:lnTo>
                    <a:pt x="600" y="223"/>
                  </a:lnTo>
                  <a:lnTo>
                    <a:pt x="602" y="225"/>
                  </a:lnTo>
                  <a:lnTo>
                    <a:pt x="603" y="226"/>
                  </a:lnTo>
                  <a:lnTo>
                    <a:pt x="605" y="226"/>
                  </a:lnTo>
                  <a:lnTo>
                    <a:pt x="605" y="227"/>
                  </a:lnTo>
                  <a:lnTo>
                    <a:pt x="605" y="227"/>
                  </a:lnTo>
                  <a:lnTo>
                    <a:pt x="606" y="228"/>
                  </a:lnTo>
                  <a:lnTo>
                    <a:pt x="606" y="228"/>
                  </a:lnTo>
                  <a:lnTo>
                    <a:pt x="606" y="229"/>
                  </a:lnTo>
                  <a:lnTo>
                    <a:pt x="606" y="229"/>
                  </a:lnTo>
                  <a:lnTo>
                    <a:pt x="606" y="230"/>
                  </a:lnTo>
                  <a:lnTo>
                    <a:pt x="606" y="231"/>
                  </a:lnTo>
                  <a:lnTo>
                    <a:pt x="606" y="231"/>
                  </a:lnTo>
                  <a:lnTo>
                    <a:pt x="606" y="233"/>
                  </a:lnTo>
                  <a:lnTo>
                    <a:pt x="606" y="234"/>
                  </a:lnTo>
                  <a:lnTo>
                    <a:pt x="606" y="235"/>
                  </a:lnTo>
                  <a:lnTo>
                    <a:pt x="605" y="235"/>
                  </a:lnTo>
                  <a:lnTo>
                    <a:pt x="605" y="236"/>
                  </a:lnTo>
                  <a:lnTo>
                    <a:pt x="605" y="236"/>
                  </a:lnTo>
                  <a:lnTo>
                    <a:pt x="604" y="236"/>
                  </a:lnTo>
                  <a:lnTo>
                    <a:pt x="603" y="236"/>
                  </a:lnTo>
                  <a:lnTo>
                    <a:pt x="603" y="237"/>
                  </a:lnTo>
                  <a:lnTo>
                    <a:pt x="602" y="237"/>
                  </a:lnTo>
                  <a:lnTo>
                    <a:pt x="600" y="237"/>
                  </a:lnTo>
                  <a:lnTo>
                    <a:pt x="599" y="238"/>
                  </a:lnTo>
                  <a:lnTo>
                    <a:pt x="599" y="238"/>
                  </a:lnTo>
                  <a:lnTo>
                    <a:pt x="598" y="238"/>
                  </a:lnTo>
                  <a:lnTo>
                    <a:pt x="598" y="239"/>
                  </a:lnTo>
                  <a:lnTo>
                    <a:pt x="597" y="239"/>
                  </a:lnTo>
                  <a:lnTo>
                    <a:pt x="597" y="239"/>
                  </a:lnTo>
                  <a:lnTo>
                    <a:pt x="597" y="240"/>
                  </a:lnTo>
                  <a:lnTo>
                    <a:pt x="597" y="240"/>
                  </a:lnTo>
                  <a:lnTo>
                    <a:pt x="597" y="241"/>
                  </a:lnTo>
                  <a:lnTo>
                    <a:pt x="597" y="241"/>
                  </a:lnTo>
                  <a:lnTo>
                    <a:pt x="597" y="241"/>
                  </a:lnTo>
                  <a:lnTo>
                    <a:pt x="598" y="242"/>
                  </a:lnTo>
                  <a:lnTo>
                    <a:pt x="599" y="243"/>
                  </a:lnTo>
                  <a:lnTo>
                    <a:pt x="599" y="243"/>
                  </a:lnTo>
                  <a:lnTo>
                    <a:pt x="599" y="244"/>
                  </a:lnTo>
                  <a:lnTo>
                    <a:pt x="599" y="244"/>
                  </a:lnTo>
                  <a:lnTo>
                    <a:pt x="599" y="245"/>
                  </a:lnTo>
                  <a:lnTo>
                    <a:pt x="599" y="245"/>
                  </a:lnTo>
                  <a:lnTo>
                    <a:pt x="598" y="246"/>
                  </a:lnTo>
                  <a:lnTo>
                    <a:pt x="598" y="247"/>
                  </a:lnTo>
                  <a:lnTo>
                    <a:pt x="598" y="247"/>
                  </a:lnTo>
                  <a:lnTo>
                    <a:pt x="598" y="249"/>
                  </a:lnTo>
                  <a:lnTo>
                    <a:pt x="597" y="251"/>
                  </a:lnTo>
                  <a:lnTo>
                    <a:pt x="597" y="252"/>
                  </a:lnTo>
                  <a:lnTo>
                    <a:pt x="597" y="253"/>
                  </a:lnTo>
                  <a:lnTo>
                    <a:pt x="597" y="254"/>
                  </a:lnTo>
                  <a:lnTo>
                    <a:pt x="596" y="254"/>
                  </a:lnTo>
                  <a:lnTo>
                    <a:pt x="596" y="255"/>
                  </a:lnTo>
                  <a:lnTo>
                    <a:pt x="596" y="255"/>
                  </a:lnTo>
                  <a:lnTo>
                    <a:pt x="595" y="256"/>
                  </a:lnTo>
                  <a:lnTo>
                    <a:pt x="594" y="256"/>
                  </a:lnTo>
                  <a:lnTo>
                    <a:pt x="592" y="258"/>
                  </a:lnTo>
                  <a:lnTo>
                    <a:pt x="591" y="259"/>
                  </a:lnTo>
                  <a:lnTo>
                    <a:pt x="591" y="259"/>
                  </a:lnTo>
                  <a:lnTo>
                    <a:pt x="591" y="259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1"/>
                  </a:lnTo>
                  <a:lnTo>
                    <a:pt x="592" y="262"/>
                  </a:lnTo>
                  <a:lnTo>
                    <a:pt x="592" y="262"/>
                  </a:lnTo>
                  <a:lnTo>
                    <a:pt x="593" y="263"/>
                  </a:lnTo>
                  <a:lnTo>
                    <a:pt x="593" y="263"/>
                  </a:lnTo>
                  <a:lnTo>
                    <a:pt x="592" y="263"/>
                  </a:lnTo>
                  <a:lnTo>
                    <a:pt x="592" y="263"/>
                  </a:lnTo>
                  <a:lnTo>
                    <a:pt x="592" y="264"/>
                  </a:lnTo>
                  <a:lnTo>
                    <a:pt x="591" y="264"/>
                  </a:lnTo>
                  <a:lnTo>
                    <a:pt x="589" y="265"/>
                  </a:lnTo>
                  <a:lnTo>
                    <a:pt x="589" y="265"/>
                  </a:lnTo>
                  <a:lnTo>
                    <a:pt x="588" y="265"/>
                  </a:lnTo>
                  <a:lnTo>
                    <a:pt x="588" y="266"/>
                  </a:lnTo>
                  <a:lnTo>
                    <a:pt x="587" y="266"/>
                  </a:lnTo>
                  <a:lnTo>
                    <a:pt x="587" y="267"/>
                  </a:lnTo>
                  <a:lnTo>
                    <a:pt x="587" y="267"/>
                  </a:lnTo>
                  <a:lnTo>
                    <a:pt x="587" y="267"/>
                  </a:lnTo>
                  <a:lnTo>
                    <a:pt x="587" y="268"/>
                  </a:lnTo>
                  <a:lnTo>
                    <a:pt x="587" y="269"/>
                  </a:lnTo>
                  <a:lnTo>
                    <a:pt x="587" y="269"/>
                  </a:lnTo>
                  <a:lnTo>
                    <a:pt x="587" y="270"/>
                  </a:lnTo>
                  <a:lnTo>
                    <a:pt x="588" y="271"/>
                  </a:lnTo>
                  <a:lnTo>
                    <a:pt x="588" y="272"/>
                  </a:lnTo>
                  <a:lnTo>
                    <a:pt x="589" y="272"/>
                  </a:lnTo>
                  <a:lnTo>
                    <a:pt x="590" y="273"/>
                  </a:lnTo>
                  <a:lnTo>
                    <a:pt x="591" y="274"/>
                  </a:lnTo>
                  <a:lnTo>
                    <a:pt x="592" y="274"/>
                  </a:lnTo>
                  <a:lnTo>
                    <a:pt x="593" y="275"/>
                  </a:lnTo>
                  <a:lnTo>
                    <a:pt x="594" y="275"/>
                  </a:lnTo>
                  <a:lnTo>
                    <a:pt x="595" y="276"/>
                  </a:lnTo>
                  <a:lnTo>
                    <a:pt x="598" y="276"/>
                  </a:lnTo>
                  <a:lnTo>
                    <a:pt x="598" y="277"/>
                  </a:lnTo>
                  <a:lnTo>
                    <a:pt x="599" y="277"/>
                  </a:lnTo>
                  <a:lnTo>
                    <a:pt x="601" y="278"/>
                  </a:lnTo>
                  <a:lnTo>
                    <a:pt x="601" y="278"/>
                  </a:lnTo>
                  <a:lnTo>
                    <a:pt x="602" y="279"/>
                  </a:lnTo>
                  <a:lnTo>
                    <a:pt x="603" y="279"/>
                  </a:lnTo>
                  <a:lnTo>
                    <a:pt x="603" y="280"/>
                  </a:lnTo>
                  <a:lnTo>
                    <a:pt x="604" y="280"/>
                  </a:lnTo>
                  <a:lnTo>
                    <a:pt x="604" y="280"/>
                  </a:lnTo>
                  <a:lnTo>
                    <a:pt x="605" y="281"/>
                  </a:lnTo>
                  <a:lnTo>
                    <a:pt x="607" y="281"/>
                  </a:lnTo>
                  <a:lnTo>
                    <a:pt x="608" y="282"/>
                  </a:lnTo>
                  <a:lnTo>
                    <a:pt x="610" y="282"/>
                  </a:lnTo>
                  <a:lnTo>
                    <a:pt x="610" y="282"/>
                  </a:lnTo>
                  <a:lnTo>
                    <a:pt x="611" y="282"/>
                  </a:lnTo>
                  <a:lnTo>
                    <a:pt x="611" y="282"/>
                  </a:lnTo>
                  <a:lnTo>
                    <a:pt x="611" y="283"/>
                  </a:lnTo>
                  <a:lnTo>
                    <a:pt x="612" y="284"/>
                  </a:lnTo>
                  <a:lnTo>
                    <a:pt x="613" y="284"/>
                  </a:lnTo>
                  <a:lnTo>
                    <a:pt x="613" y="284"/>
                  </a:lnTo>
                  <a:lnTo>
                    <a:pt x="614" y="285"/>
                  </a:lnTo>
                  <a:lnTo>
                    <a:pt x="615" y="285"/>
                  </a:lnTo>
                  <a:lnTo>
                    <a:pt x="615" y="285"/>
                  </a:lnTo>
                  <a:lnTo>
                    <a:pt x="615" y="285"/>
                  </a:lnTo>
                  <a:lnTo>
                    <a:pt x="615" y="286"/>
                  </a:lnTo>
                  <a:lnTo>
                    <a:pt x="616" y="286"/>
                  </a:lnTo>
                  <a:lnTo>
                    <a:pt x="616" y="287"/>
                  </a:lnTo>
                  <a:lnTo>
                    <a:pt x="616" y="290"/>
                  </a:lnTo>
                  <a:lnTo>
                    <a:pt x="616" y="290"/>
                  </a:lnTo>
                  <a:lnTo>
                    <a:pt x="616" y="291"/>
                  </a:lnTo>
                  <a:lnTo>
                    <a:pt x="616" y="291"/>
                  </a:lnTo>
                  <a:lnTo>
                    <a:pt x="616" y="292"/>
                  </a:lnTo>
                  <a:lnTo>
                    <a:pt x="617" y="293"/>
                  </a:lnTo>
                  <a:lnTo>
                    <a:pt x="617" y="293"/>
                  </a:lnTo>
                  <a:lnTo>
                    <a:pt x="618" y="294"/>
                  </a:lnTo>
                  <a:lnTo>
                    <a:pt x="620" y="295"/>
                  </a:lnTo>
                  <a:lnTo>
                    <a:pt x="621" y="296"/>
                  </a:lnTo>
                  <a:lnTo>
                    <a:pt x="622" y="297"/>
                  </a:lnTo>
                  <a:lnTo>
                    <a:pt x="624" y="298"/>
                  </a:lnTo>
                  <a:lnTo>
                    <a:pt x="625" y="299"/>
                  </a:lnTo>
                  <a:lnTo>
                    <a:pt x="628" y="300"/>
                  </a:lnTo>
                  <a:lnTo>
                    <a:pt x="629" y="301"/>
                  </a:lnTo>
                  <a:lnTo>
                    <a:pt x="630" y="301"/>
                  </a:lnTo>
                  <a:lnTo>
                    <a:pt x="631" y="302"/>
                  </a:lnTo>
                  <a:lnTo>
                    <a:pt x="632" y="303"/>
                  </a:lnTo>
                  <a:lnTo>
                    <a:pt x="632" y="304"/>
                  </a:lnTo>
                  <a:lnTo>
                    <a:pt x="633" y="304"/>
                  </a:lnTo>
                  <a:lnTo>
                    <a:pt x="633" y="305"/>
                  </a:lnTo>
                  <a:lnTo>
                    <a:pt x="633" y="306"/>
                  </a:lnTo>
                  <a:lnTo>
                    <a:pt x="633" y="307"/>
                  </a:lnTo>
                  <a:lnTo>
                    <a:pt x="633" y="307"/>
                  </a:lnTo>
                  <a:lnTo>
                    <a:pt x="633" y="309"/>
                  </a:lnTo>
                  <a:lnTo>
                    <a:pt x="632" y="311"/>
                  </a:lnTo>
                  <a:lnTo>
                    <a:pt x="632" y="312"/>
                  </a:lnTo>
                  <a:lnTo>
                    <a:pt x="632" y="312"/>
                  </a:lnTo>
                  <a:lnTo>
                    <a:pt x="632" y="313"/>
                  </a:lnTo>
                  <a:lnTo>
                    <a:pt x="632" y="314"/>
                  </a:lnTo>
                  <a:lnTo>
                    <a:pt x="632" y="314"/>
                  </a:lnTo>
                  <a:lnTo>
                    <a:pt x="633" y="317"/>
                  </a:lnTo>
                  <a:lnTo>
                    <a:pt x="633" y="318"/>
                  </a:lnTo>
                  <a:lnTo>
                    <a:pt x="633" y="319"/>
                  </a:lnTo>
                  <a:lnTo>
                    <a:pt x="633" y="320"/>
                  </a:lnTo>
                  <a:lnTo>
                    <a:pt x="633" y="321"/>
                  </a:lnTo>
                  <a:lnTo>
                    <a:pt x="633" y="322"/>
                  </a:lnTo>
                  <a:lnTo>
                    <a:pt x="632" y="324"/>
                  </a:lnTo>
                  <a:lnTo>
                    <a:pt x="631" y="325"/>
                  </a:lnTo>
                  <a:lnTo>
                    <a:pt x="630" y="329"/>
                  </a:lnTo>
                  <a:lnTo>
                    <a:pt x="629" y="330"/>
                  </a:lnTo>
                  <a:lnTo>
                    <a:pt x="629" y="331"/>
                  </a:lnTo>
                  <a:lnTo>
                    <a:pt x="627" y="333"/>
                  </a:lnTo>
                  <a:lnTo>
                    <a:pt x="627" y="333"/>
                  </a:lnTo>
                  <a:lnTo>
                    <a:pt x="626" y="334"/>
                  </a:lnTo>
                  <a:lnTo>
                    <a:pt x="626" y="335"/>
                  </a:lnTo>
                  <a:lnTo>
                    <a:pt x="626" y="336"/>
                  </a:lnTo>
                  <a:lnTo>
                    <a:pt x="626" y="336"/>
                  </a:lnTo>
                  <a:lnTo>
                    <a:pt x="626" y="340"/>
                  </a:lnTo>
                  <a:lnTo>
                    <a:pt x="625" y="343"/>
                  </a:lnTo>
                  <a:lnTo>
                    <a:pt x="625" y="347"/>
                  </a:lnTo>
                  <a:lnTo>
                    <a:pt x="624" y="349"/>
                  </a:lnTo>
                  <a:lnTo>
                    <a:pt x="624" y="349"/>
                  </a:lnTo>
                  <a:lnTo>
                    <a:pt x="624" y="350"/>
                  </a:lnTo>
                  <a:lnTo>
                    <a:pt x="624" y="349"/>
                  </a:lnTo>
                  <a:lnTo>
                    <a:pt x="624" y="350"/>
                  </a:lnTo>
                  <a:lnTo>
                    <a:pt x="624" y="350"/>
                  </a:lnTo>
                  <a:lnTo>
                    <a:pt x="624" y="351"/>
                  </a:lnTo>
                  <a:lnTo>
                    <a:pt x="623" y="351"/>
                  </a:lnTo>
                  <a:lnTo>
                    <a:pt x="623" y="352"/>
                  </a:lnTo>
                  <a:lnTo>
                    <a:pt x="622" y="353"/>
                  </a:lnTo>
                  <a:lnTo>
                    <a:pt x="619" y="354"/>
                  </a:lnTo>
                  <a:lnTo>
                    <a:pt x="617" y="356"/>
                  </a:lnTo>
                  <a:lnTo>
                    <a:pt x="616" y="357"/>
                  </a:lnTo>
                  <a:lnTo>
                    <a:pt x="616" y="357"/>
                  </a:lnTo>
                  <a:lnTo>
                    <a:pt x="616" y="357"/>
                  </a:lnTo>
                  <a:lnTo>
                    <a:pt x="615" y="358"/>
                  </a:lnTo>
                  <a:lnTo>
                    <a:pt x="614" y="358"/>
                  </a:lnTo>
                  <a:lnTo>
                    <a:pt x="613" y="358"/>
                  </a:lnTo>
                  <a:lnTo>
                    <a:pt x="611" y="358"/>
                  </a:lnTo>
                  <a:lnTo>
                    <a:pt x="610" y="358"/>
                  </a:lnTo>
                  <a:lnTo>
                    <a:pt x="609" y="359"/>
                  </a:lnTo>
                  <a:lnTo>
                    <a:pt x="608" y="359"/>
                  </a:lnTo>
                  <a:lnTo>
                    <a:pt x="607" y="359"/>
                  </a:lnTo>
                  <a:lnTo>
                    <a:pt x="607" y="360"/>
                  </a:lnTo>
                  <a:lnTo>
                    <a:pt x="606" y="360"/>
                  </a:lnTo>
                  <a:lnTo>
                    <a:pt x="606" y="361"/>
                  </a:lnTo>
                  <a:lnTo>
                    <a:pt x="604" y="362"/>
                  </a:lnTo>
                  <a:lnTo>
                    <a:pt x="603" y="363"/>
                  </a:lnTo>
                  <a:lnTo>
                    <a:pt x="603" y="364"/>
                  </a:lnTo>
                  <a:lnTo>
                    <a:pt x="603" y="364"/>
                  </a:lnTo>
                  <a:lnTo>
                    <a:pt x="602" y="365"/>
                  </a:lnTo>
                  <a:lnTo>
                    <a:pt x="602" y="365"/>
                  </a:lnTo>
                  <a:lnTo>
                    <a:pt x="602" y="366"/>
                  </a:lnTo>
                  <a:lnTo>
                    <a:pt x="602" y="367"/>
                  </a:lnTo>
                  <a:lnTo>
                    <a:pt x="602" y="367"/>
                  </a:lnTo>
                  <a:lnTo>
                    <a:pt x="602" y="368"/>
                  </a:lnTo>
                  <a:lnTo>
                    <a:pt x="602" y="369"/>
                  </a:lnTo>
                  <a:lnTo>
                    <a:pt x="602" y="369"/>
                  </a:lnTo>
                  <a:lnTo>
                    <a:pt x="603" y="372"/>
                  </a:lnTo>
                  <a:lnTo>
                    <a:pt x="604" y="373"/>
                  </a:lnTo>
                  <a:lnTo>
                    <a:pt x="604" y="374"/>
                  </a:lnTo>
                  <a:lnTo>
                    <a:pt x="604" y="375"/>
                  </a:lnTo>
                  <a:lnTo>
                    <a:pt x="604" y="375"/>
                  </a:lnTo>
                  <a:lnTo>
                    <a:pt x="604" y="376"/>
                  </a:lnTo>
                  <a:lnTo>
                    <a:pt x="604" y="377"/>
                  </a:lnTo>
                  <a:lnTo>
                    <a:pt x="604" y="377"/>
                  </a:lnTo>
                  <a:lnTo>
                    <a:pt x="604" y="377"/>
                  </a:lnTo>
                  <a:lnTo>
                    <a:pt x="604" y="378"/>
                  </a:lnTo>
                  <a:lnTo>
                    <a:pt x="604" y="378"/>
                  </a:lnTo>
                  <a:lnTo>
                    <a:pt x="603" y="379"/>
                  </a:lnTo>
                  <a:lnTo>
                    <a:pt x="603" y="379"/>
                  </a:lnTo>
                  <a:lnTo>
                    <a:pt x="602" y="379"/>
                  </a:lnTo>
                  <a:lnTo>
                    <a:pt x="602" y="380"/>
                  </a:lnTo>
                  <a:lnTo>
                    <a:pt x="601" y="380"/>
                  </a:lnTo>
                  <a:lnTo>
                    <a:pt x="600" y="380"/>
                  </a:lnTo>
                  <a:lnTo>
                    <a:pt x="599" y="380"/>
                  </a:lnTo>
                  <a:lnTo>
                    <a:pt x="598" y="380"/>
                  </a:lnTo>
                  <a:lnTo>
                    <a:pt x="597" y="380"/>
                  </a:lnTo>
                  <a:lnTo>
                    <a:pt x="594" y="380"/>
                  </a:lnTo>
                  <a:lnTo>
                    <a:pt x="592" y="380"/>
                  </a:lnTo>
                  <a:lnTo>
                    <a:pt x="592" y="380"/>
                  </a:lnTo>
                  <a:lnTo>
                    <a:pt x="591" y="380"/>
                  </a:lnTo>
                  <a:lnTo>
                    <a:pt x="590" y="381"/>
                  </a:lnTo>
                  <a:lnTo>
                    <a:pt x="590" y="381"/>
                  </a:lnTo>
                  <a:lnTo>
                    <a:pt x="589" y="382"/>
                  </a:lnTo>
                  <a:lnTo>
                    <a:pt x="588" y="382"/>
                  </a:lnTo>
                  <a:lnTo>
                    <a:pt x="587" y="383"/>
                  </a:lnTo>
                  <a:lnTo>
                    <a:pt x="586" y="386"/>
                  </a:lnTo>
                  <a:lnTo>
                    <a:pt x="585" y="387"/>
                  </a:lnTo>
                  <a:lnTo>
                    <a:pt x="584" y="387"/>
                  </a:lnTo>
                  <a:lnTo>
                    <a:pt x="584" y="388"/>
                  </a:lnTo>
                  <a:lnTo>
                    <a:pt x="582" y="389"/>
                  </a:lnTo>
                  <a:lnTo>
                    <a:pt x="581" y="390"/>
                  </a:lnTo>
                  <a:lnTo>
                    <a:pt x="580" y="390"/>
                  </a:lnTo>
                  <a:lnTo>
                    <a:pt x="578" y="391"/>
                  </a:lnTo>
                  <a:lnTo>
                    <a:pt x="576" y="391"/>
                  </a:lnTo>
                  <a:lnTo>
                    <a:pt x="575" y="391"/>
                  </a:lnTo>
                  <a:lnTo>
                    <a:pt x="573" y="392"/>
                  </a:lnTo>
                  <a:lnTo>
                    <a:pt x="570" y="393"/>
                  </a:lnTo>
                  <a:lnTo>
                    <a:pt x="568" y="393"/>
                  </a:lnTo>
                  <a:lnTo>
                    <a:pt x="566" y="394"/>
                  </a:lnTo>
                  <a:lnTo>
                    <a:pt x="565" y="394"/>
                  </a:lnTo>
                  <a:lnTo>
                    <a:pt x="563" y="395"/>
                  </a:lnTo>
                  <a:lnTo>
                    <a:pt x="562" y="396"/>
                  </a:lnTo>
                  <a:lnTo>
                    <a:pt x="559" y="397"/>
                  </a:lnTo>
                  <a:lnTo>
                    <a:pt x="558" y="398"/>
                  </a:lnTo>
                  <a:lnTo>
                    <a:pt x="557" y="398"/>
                  </a:lnTo>
                  <a:lnTo>
                    <a:pt x="556" y="399"/>
                  </a:lnTo>
                  <a:lnTo>
                    <a:pt x="555" y="399"/>
                  </a:lnTo>
                  <a:lnTo>
                    <a:pt x="555" y="399"/>
                  </a:lnTo>
                  <a:lnTo>
                    <a:pt x="554" y="399"/>
                  </a:lnTo>
                  <a:lnTo>
                    <a:pt x="553" y="399"/>
                  </a:lnTo>
                  <a:lnTo>
                    <a:pt x="553" y="398"/>
                  </a:lnTo>
                  <a:lnTo>
                    <a:pt x="552" y="398"/>
                  </a:lnTo>
                  <a:lnTo>
                    <a:pt x="552" y="398"/>
                  </a:lnTo>
                  <a:lnTo>
                    <a:pt x="551" y="398"/>
                  </a:lnTo>
                  <a:lnTo>
                    <a:pt x="550" y="397"/>
                  </a:lnTo>
                  <a:lnTo>
                    <a:pt x="549" y="397"/>
                  </a:lnTo>
                  <a:lnTo>
                    <a:pt x="549" y="397"/>
                  </a:lnTo>
                  <a:lnTo>
                    <a:pt x="548" y="397"/>
                  </a:lnTo>
                  <a:lnTo>
                    <a:pt x="547" y="398"/>
                  </a:lnTo>
                  <a:lnTo>
                    <a:pt x="546" y="398"/>
                  </a:lnTo>
                  <a:lnTo>
                    <a:pt x="546" y="398"/>
                  </a:lnTo>
                  <a:lnTo>
                    <a:pt x="545" y="399"/>
                  </a:lnTo>
                  <a:lnTo>
                    <a:pt x="544" y="399"/>
                  </a:lnTo>
                  <a:lnTo>
                    <a:pt x="544" y="400"/>
                  </a:lnTo>
                  <a:lnTo>
                    <a:pt x="543" y="400"/>
                  </a:lnTo>
                  <a:lnTo>
                    <a:pt x="543" y="401"/>
                  </a:lnTo>
                  <a:lnTo>
                    <a:pt x="543" y="401"/>
                  </a:lnTo>
                  <a:lnTo>
                    <a:pt x="543" y="402"/>
                  </a:lnTo>
                  <a:lnTo>
                    <a:pt x="542" y="404"/>
                  </a:lnTo>
                  <a:lnTo>
                    <a:pt x="542" y="405"/>
                  </a:lnTo>
                  <a:lnTo>
                    <a:pt x="541" y="407"/>
                  </a:lnTo>
                  <a:lnTo>
                    <a:pt x="539" y="410"/>
                  </a:lnTo>
                  <a:lnTo>
                    <a:pt x="539" y="411"/>
                  </a:lnTo>
                  <a:lnTo>
                    <a:pt x="539" y="412"/>
                  </a:lnTo>
                  <a:lnTo>
                    <a:pt x="538" y="412"/>
                  </a:lnTo>
                  <a:lnTo>
                    <a:pt x="532" y="419"/>
                  </a:lnTo>
                  <a:lnTo>
                    <a:pt x="532" y="420"/>
                  </a:lnTo>
                  <a:lnTo>
                    <a:pt x="531" y="421"/>
                  </a:lnTo>
                  <a:lnTo>
                    <a:pt x="531" y="422"/>
                  </a:lnTo>
                  <a:lnTo>
                    <a:pt x="530" y="423"/>
                  </a:lnTo>
                  <a:lnTo>
                    <a:pt x="530" y="424"/>
                  </a:lnTo>
                  <a:lnTo>
                    <a:pt x="530" y="425"/>
                  </a:lnTo>
                  <a:lnTo>
                    <a:pt x="530" y="426"/>
                  </a:lnTo>
                  <a:lnTo>
                    <a:pt x="529" y="427"/>
                  </a:lnTo>
                  <a:lnTo>
                    <a:pt x="529" y="428"/>
                  </a:lnTo>
                  <a:lnTo>
                    <a:pt x="529" y="429"/>
                  </a:lnTo>
                  <a:lnTo>
                    <a:pt x="529" y="430"/>
                  </a:lnTo>
                  <a:lnTo>
                    <a:pt x="530" y="432"/>
                  </a:lnTo>
                  <a:lnTo>
                    <a:pt x="530" y="433"/>
                  </a:lnTo>
                  <a:lnTo>
                    <a:pt x="530" y="434"/>
                  </a:lnTo>
                  <a:lnTo>
                    <a:pt x="531" y="435"/>
                  </a:lnTo>
                  <a:lnTo>
                    <a:pt x="531" y="436"/>
                  </a:lnTo>
                  <a:lnTo>
                    <a:pt x="531" y="436"/>
                  </a:lnTo>
                  <a:lnTo>
                    <a:pt x="532" y="437"/>
                  </a:lnTo>
                  <a:lnTo>
                    <a:pt x="533" y="437"/>
                  </a:lnTo>
                  <a:lnTo>
                    <a:pt x="533" y="438"/>
                  </a:lnTo>
                  <a:lnTo>
                    <a:pt x="537" y="440"/>
                  </a:lnTo>
                  <a:lnTo>
                    <a:pt x="539" y="440"/>
                  </a:lnTo>
                  <a:lnTo>
                    <a:pt x="541" y="441"/>
                  </a:lnTo>
                  <a:lnTo>
                    <a:pt x="542" y="442"/>
                  </a:lnTo>
                  <a:lnTo>
                    <a:pt x="543" y="442"/>
                  </a:lnTo>
                  <a:lnTo>
                    <a:pt x="544" y="443"/>
                  </a:lnTo>
                  <a:lnTo>
                    <a:pt x="544" y="443"/>
                  </a:lnTo>
                  <a:lnTo>
                    <a:pt x="545" y="444"/>
                  </a:lnTo>
                  <a:lnTo>
                    <a:pt x="545" y="444"/>
                  </a:lnTo>
                  <a:lnTo>
                    <a:pt x="546" y="445"/>
                  </a:lnTo>
                  <a:lnTo>
                    <a:pt x="547" y="446"/>
                  </a:lnTo>
                  <a:lnTo>
                    <a:pt x="548" y="448"/>
                  </a:lnTo>
                  <a:lnTo>
                    <a:pt x="548" y="449"/>
                  </a:lnTo>
                  <a:lnTo>
                    <a:pt x="549" y="450"/>
                  </a:lnTo>
                  <a:lnTo>
                    <a:pt x="549" y="451"/>
                  </a:lnTo>
                  <a:lnTo>
                    <a:pt x="549" y="451"/>
                  </a:lnTo>
                  <a:lnTo>
                    <a:pt x="549" y="452"/>
                  </a:lnTo>
                  <a:lnTo>
                    <a:pt x="549" y="454"/>
                  </a:lnTo>
                  <a:lnTo>
                    <a:pt x="549" y="455"/>
                  </a:lnTo>
                  <a:lnTo>
                    <a:pt x="549" y="456"/>
                  </a:lnTo>
                  <a:lnTo>
                    <a:pt x="549" y="457"/>
                  </a:lnTo>
                  <a:lnTo>
                    <a:pt x="549" y="457"/>
                  </a:lnTo>
                  <a:lnTo>
                    <a:pt x="548" y="458"/>
                  </a:lnTo>
                  <a:lnTo>
                    <a:pt x="548" y="459"/>
                  </a:lnTo>
                  <a:lnTo>
                    <a:pt x="548" y="460"/>
                  </a:lnTo>
                  <a:lnTo>
                    <a:pt x="547" y="460"/>
                  </a:lnTo>
                  <a:lnTo>
                    <a:pt x="547" y="461"/>
                  </a:lnTo>
                  <a:lnTo>
                    <a:pt x="546" y="461"/>
                  </a:lnTo>
                  <a:lnTo>
                    <a:pt x="544" y="463"/>
                  </a:lnTo>
                  <a:lnTo>
                    <a:pt x="543" y="463"/>
                  </a:lnTo>
                  <a:lnTo>
                    <a:pt x="543" y="464"/>
                  </a:lnTo>
                  <a:lnTo>
                    <a:pt x="542" y="464"/>
                  </a:lnTo>
                  <a:lnTo>
                    <a:pt x="541" y="464"/>
                  </a:lnTo>
                  <a:lnTo>
                    <a:pt x="540" y="464"/>
                  </a:lnTo>
                  <a:lnTo>
                    <a:pt x="539" y="464"/>
                  </a:lnTo>
                  <a:lnTo>
                    <a:pt x="537" y="464"/>
                  </a:lnTo>
                  <a:lnTo>
                    <a:pt x="536" y="464"/>
                  </a:lnTo>
                  <a:lnTo>
                    <a:pt x="534" y="464"/>
                  </a:lnTo>
                  <a:lnTo>
                    <a:pt x="533" y="464"/>
                  </a:lnTo>
                  <a:lnTo>
                    <a:pt x="532" y="464"/>
                  </a:lnTo>
                  <a:lnTo>
                    <a:pt x="532" y="464"/>
                  </a:lnTo>
                  <a:lnTo>
                    <a:pt x="531" y="464"/>
                  </a:lnTo>
                  <a:lnTo>
                    <a:pt x="531" y="464"/>
                  </a:lnTo>
                  <a:lnTo>
                    <a:pt x="530" y="464"/>
                  </a:lnTo>
                  <a:lnTo>
                    <a:pt x="529" y="466"/>
                  </a:lnTo>
                  <a:lnTo>
                    <a:pt x="528" y="466"/>
                  </a:lnTo>
                  <a:lnTo>
                    <a:pt x="528" y="466"/>
                  </a:lnTo>
                  <a:lnTo>
                    <a:pt x="528" y="467"/>
                  </a:lnTo>
                  <a:lnTo>
                    <a:pt x="527" y="467"/>
                  </a:lnTo>
                  <a:lnTo>
                    <a:pt x="526" y="469"/>
                  </a:lnTo>
                  <a:lnTo>
                    <a:pt x="526" y="470"/>
                  </a:lnTo>
                  <a:lnTo>
                    <a:pt x="525" y="471"/>
                  </a:lnTo>
                  <a:lnTo>
                    <a:pt x="525" y="472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3" y="473"/>
                  </a:lnTo>
                  <a:lnTo>
                    <a:pt x="523" y="473"/>
                  </a:lnTo>
                  <a:lnTo>
                    <a:pt x="522" y="473"/>
                  </a:lnTo>
                  <a:lnTo>
                    <a:pt x="521" y="473"/>
                  </a:lnTo>
                  <a:lnTo>
                    <a:pt x="519" y="471"/>
                  </a:lnTo>
                  <a:lnTo>
                    <a:pt x="519" y="471"/>
                  </a:lnTo>
                  <a:lnTo>
                    <a:pt x="518" y="470"/>
                  </a:lnTo>
                  <a:lnTo>
                    <a:pt x="517" y="470"/>
                  </a:lnTo>
                  <a:lnTo>
                    <a:pt x="515" y="470"/>
                  </a:lnTo>
                  <a:lnTo>
                    <a:pt x="514" y="469"/>
                  </a:lnTo>
                  <a:lnTo>
                    <a:pt x="512" y="469"/>
                  </a:lnTo>
                  <a:lnTo>
                    <a:pt x="510" y="468"/>
                  </a:lnTo>
                  <a:lnTo>
                    <a:pt x="510" y="468"/>
                  </a:lnTo>
                  <a:lnTo>
                    <a:pt x="509" y="468"/>
                  </a:lnTo>
                  <a:lnTo>
                    <a:pt x="509" y="468"/>
                  </a:lnTo>
                  <a:lnTo>
                    <a:pt x="508" y="468"/>
                  </a:lnTo>
                  <a:lnTo>
                    <a:pt x="507" y="468"/>
                  </a:lnTo>
                  <a:lnTo>
                    <a:pt x="505" y="469"/>
                  </a:lnTo>
                  <a:lnTo>
                    <a:pt x="502" y="470"/>
                  </a:lnTo>
                  <a:lnTo>
                    <a:pt x="500" y="471"/>
                  </a:lnTo>
                  <a:lnTo>
                    <a:pt x="500" y="471"/>
                  </a:lnTo>
                  <a:lnTo>
                    <a:pt x="498" y="471"/>
                  </a:lnTo>
                  <a:lnTo>
                    <a:pt x="496" y="472"/>
                  </a:lnTo>
                  <a:lnTo>
                    <a:pt x="495" y="472"/>
                  </a:lnTo>
                  <a:lnTo>
                    <a:pt x="494" y="472"/>
                  </a:lnTo>
                  <a:lnTo>
                    <a:pt x="492" y="472"/>
                  </a:lnTo>
                  <a:lnTo>
                    <a:pt x="491" y="472"/>
                  </a:lnTo>
                  <a:lnTo>
                    <a:pt x="487" y="471"/>
                  </a:lnTo>
                  <a:lnTo>
                    <a:pt x="486" y="471"/>
                  </a:lnTo>
                  <a:lnTo>
                    <a:pt x="483" y="471"/>
                  </a:lnTo>
                  <a:lnTo>
                    <a:pt x="482" y="471"/>
                  </a:lnTo>
                  <a:lnTo>
                    <a:pt x="481" y="470"/>
                  </a:lnTo>
                  <a:lnTo>
                    <a:pt x="480" y="470"/>
                  </a:lnTo>
                  <a:lnTo>
                    <a:pt x="476" y="469"/>
                  </a:lnTo>
                  <a:lnTo>
                    <a:pt x="475" y="469"/>
                  </a:lnTo>
                  <a:lnTo>
                    <a:pt x="474" y="469"/>
                  </a:lnTo>
                  <a:lnTo>
                    <a:pt x="474" y="469"/>
                  </a:lnTo>
                  <a:lnTo>
                    <a:pt x="473" y="469"/>
                  </a:lnTo>
                  <a:lnTo>
                    <a:pt x="472" y="469"/>
                  </a:lnTo>
                  <a:lnTo>
                    <a:pt x="471" y="469"/>
                  </a:lnTo>
                  <a:lnTo>
                    <a:pt x="471" y="470"/>
                  </a:lnTo>
                  <a:lnTo>
                    <a:pt x="470" y="470"/>
                  </a:lnTo>
                  <a:lnTo>
                    <a:pt x="470" y="471"/>
                  </a:lnTo>
                  <a:lnTo>
                    <a:pt x="470" y="471"/>
                  </a:lnTo>
                  <a:lnTo>
                    <a:pt x="469" y="472"/>
                  </a:lnTo>
                  <a:lnTo>
                    <a:pt x="469" y="472"/>
                  </a:lnTo>
                  <a:lnTo>
                    <a:pt x="469" y="473"/>
                  </a:lnTo>
                  <a:lnTo>
                    <a:pt x="469" y="473"/>
                  </a:lnTo>
                  <a:lnTo>
                    <a:pt x="469" y="474"/>
                  </a:lnTo>
                  <a:lnTo>
                    <a:pt x="470" y="476"/>
                  </a:lnTo>
                  <a:lnTo>
                    <a:pt x="470" y="477"/>
                  </a:lnTo>
                  <a:lnTo>
                    <a:pt x="470" y="477"/>
                  </a:lnTo>
                  <a:lnTo>
                    <a:pt x="470" y="478"/>
                  </a:lnTo>
                  <a:lnTo>
                    <a:pt x="470" y="478"/>
                  </a:lnTo>
                  <a:lnTo>
                    <a:pt x="470" y="478"/>
                  </a:lnTo>
                  <a:lnTo>
                    <a:pt x="469" y="479"/>
                  </a:lnTo>
                  <a:lnTo>
                    <a:pt x="469" y="479"/>
                  </a:lnTo>
                  <a:lnTo>
                    <a:pt x="468" y="479"/>
                  </a:lnTo>
                  <a:lnTo>
                    <a:pt x="468" y="480"/>
                  </a:lnTo>
                  <a:lnTo>
                    <a:pt x="467" y="480"/>
                  </a:lnTo>
                  <a:lnTo>
                    <a:pt x="466" y="480"/>
                  </a:lnTo>
                  <a:lnTo>
                    <a:pt x="461" y="482"/>
                  </a:lnTo>
                  <a:lnTo>
                    <a:pt x="460" y="482"/>
                  </a:lnTo>
                  <a:lnTo>
                    <a:pt x="460" y="482"/>
                  </a:lnTo>
                  <a:lnTo>
                    <a:pt x="459" y="482"/>
                  </a:lnTo>
                  <a:lnTo>
                    <a:pt x="459" y="483"/>
                  </a:lnTo>
                  <a:lnTo>
                    <a:pt x="459" y="483"/>
                  </a:lnTo>
                  <a:lnTo>
                    <a:pt x="458" y="484"/>
                  </a:lnTo>
                  <a:lnTo>
                    <a:pt x="458" y="484"/>
                  </a:lnTo>
                  <a:lnTo>
                    <a:pt x="458" y="485"/>
                  </a:lnTo>
                  <a:lnTo>
                    <a:pt x="457" y="486"/>
                  </a:lnTo>
                  <a:lnTo>
                    <a:pt x="457" y="487"/>
                  </a:lnTo>
                  <a:lnTo>
                    <a:pt x="457" y="490"/>
                  </a:lnTo>
                  <a:lnTo>
                    <a:pt x="456" y="491"/>
                  </a:lnTo>
                  <a:lnTo>
                    <a:pt x="456" y="492"/>
                  </a:lnTo>
                  <a:lnTo>
                    <a:pt x="455" y="494"/>
                  </a:lnTo>
                  <a:lnTo>
                    <a:pt x="455" y="494"/>
                  </a:lnTo>
                  <a:lnTo>
                    <a:pt x="455" y="494"/>
                  </a:lnTo>
                  <a:lnTo>
                    <a:pt x="454" y="495"/>
                  </a:lnTo>
                  <a:lnTo>
                    <a:pt x="453" y="495"/>
                  </a:lnTo>
                  <a:lnTo>
                    <a:pt x="453" y="495"/>
                  </a:lnTo>
                  <a:lnTo>
                    <a:pt x="452" y="495"/>
                  </a:lnTo>
                  <a:lnTo>
                    <a:pt x="451" y="495"/>
                  </a:lnTo>
                  <a:lnTo>
                    <a:pt x="451" y="495"/>
                  </a:lnTo>
                  <a:lnTo>
                    <a:pt x="450" y="495"/>
                  </a:lnTo>
                  <a:lnTo>
                    <a:pt x="449" y="495"/>
                  </a:lnTo>
                  <a:lnTo>
                    <a:pt x="449" y="495"/>
                  </a:lnTo>
                  <a:lnTo>
                    <a:pt x="447" y="494"/>
                  </a:lnTo>
                  <a:lnTo>
                    <a:pt x="447" y="494"/>
                  </a:lnTo>
                  <a:lnTo>
                    <a:pt x="446" y="494"/>
                  </a:lnTo>
                  <a:lnTo>
                    <a:pt x="445" y="493"/>
                  </a:lnTo>
                  <a:lnTo>
                    <a:pt x="445" y="492"/>
                  </a:lnTo>
                  <a:lnTo>
                    <a:pt x="444" y="492"/>
                  </a:lnTo>
                  <a:lnTo>
                    <a:pt x="443" y="491"/>
                  </a:lnTo>
                  <a:lnTo>
                    <a:pt x="442" y="489"/>
                  </a:lnTo>
                  <a:lnTo>
                    <a:pt x="441" y="487"/>
                  </a:lnTo>
                  <a:lnTo>
                    <a:pt x="440" y="484"/>
                  </a:lnTo>
                  <a:lnTo>
                    <a:pt x="439" y="482"/>
                  </a:lnTo>
                  <a:lnTo>
                    <a:pt x="438" y="481"/>
                  </a:lnTo>
                  <a:lnTo>
                    <a:pt x="438" y="479"/>
                  </a:lnTo>
                  <a:lnTo>
                    <a:pt x="437" y="478"/>
                  </a:lnTo>
                  <a:lnTo>
                    <a:pt x="437" y="478"/>
                  </a:lnTo>
                  <a:lnTo>
                    <a:pt x="437" y="477"/>
                  </a:lnTo>
                  <a:lnTo>
                    <a:pt x="437" y="477"/>
                  </a:lnTo>
                  <a:lnTo>
                    <a:pt x="436" y="477"/>
                  </a:lnTo>
                  <a:lnTo>
                    <a:pt x="436" y="477"/>
                  </a:lnTo>
                  <a:lnTo>
                    <a:pt x="435" y="477"/>
                  </a:lnTo>
                  <a:lnTo>
                    <a:pt x="435" y="477"/>
                  </a:lnTo>
                  <a:lnTo>
                    <a:pt x="434" y="477"/>
                  </a:lnTo>
                  <a:lnTo>
                    <a:pt x="433" y="478"/>
                  </a:lnTo>
                  <a:lnTo>
                    <a:pt x="432" y="478"/>
                  </a:lnTo>
                  <a:lnTo>
                    <a:pt x="431" y="479"/>
                  </a:lnTo>
                  <a:lnTo>
                    <a:pt x="430" y="479"/>
                  </a:lnTo>
                  <a:lnTo>
                    <a:pt x="430" y="479"/>
                  </a:lnTo>
                  <a:lnTo>
                    <a:pt x="429" y="479"/>
                  </a:lnTo>
                  <a:lnTo>
                    <a:pt x="429" y="479"/>
                  </a:lnTo>
                  <a:lnTo>
                    <a:pt x="428" y="479"/>
                  </a:lnTo>
                  <a:lnTo>
                    <a:pt x="428" y="479"/>
                  </a:lnTo>
                  <a:lnTo>
                    <a:pt x="427" y="478"/>
                  </a:lnTo>
                  <a:lnTo>
                    <a:pt x="426" y="477"/>
                  </a:lnTo>
                  <a:lnTo>
                    <a:pt x="425" y="477"/>
                  </a:lnTo>
                  <a:lnTo>
                    <a:pt x="423" y="475"/>
                  </a:lnTo>
                  <a:lnTo>
                    <a:pt x="420" y="473"/>
                  </a:lnTo>
                  <a:lnTo>
                    <a:pt x="419" y="472"/>
                  </a:lnTo>
                  <a:lnTo>
                    <a:pt x="418" y="471"/>
                  </a:lnTo>
                  <a:lnTo>
                    <a:pt x="417" y="471"/>
                  </a:lnTo>
                  <a:lnTo>
                    <a:pt x="416" y="470"/>
                  </a:lnTo>
                  <a:lnTo>
                    <a:pt x="412" y="468"/>
                  </a:lnTo>
                  <a:lnTo>
                    <a:pt x="411" y="467"/>
                  </a:lnTo>
                  <a:lnTo>
                    <a:pt x="410" y="467"/>
                  </a:lnTo>
                  <a:lnTo>
                    <a:pt x="408" y="465"/>
                  </a:lnTo>
                  <a:lnTo>
                    <a:pt x="407" y="465"/>
                  </a:lnTo>
                  <a:lnTo>
                    <a:pt x="406" y="464"/>
                  </a:lnTo>
                  <a:lnTo>
                    <a:pt x="405" y="464"/>
                  </a:lnTo>
                  <a:lnTo>
                    <a:pt x="405" y="464"/>
                  </a:lnTo>
                  <a:lnTo>
                    <a:pt x="405" y="464"/>
                  </a:lnTo>
                  <a:lnTo>
                    <a:pt x="404" y="465"/>
                  </a:lnTo>
                  <a:lnTo>
                    <a:pt x="404" y="465"/>
                  </a:lnTo>
                  <a:lnTo>
                    <a:pt x="402" y="466"/>
                  </a:lnTo>
                  <a:lnTo>
                    <a:pt x="400" y="467"/>
                  </a:lnTo>
                  <a:lnTo>
                    <a:pt x="399" y="468"/>
                  </a:lnTo>
                  <a:lnTo>
                    <a:pt x="399" y="469"/>
                  </a:lnTo>
                  <a:lnTo>
                    <a:pt x="398" y="469"/>
                  </a:lnTo>
                  <a:lnTo>
                    <a:pt x="398" y="471"/>
                  </a:lnTo>
                  <a:lnTo>
                    <a:pt x="397" y="471"/>
                  </a:lnTo>
                  <a:lnTo>
                    <a:pt x="397" y="472"/>
                  </a:lnTo>
                  <a:lnTo>
                    <a:pt x="396" y="473"/>
                  </a:lnTo>
                  <a:lnTo>
                    <a:pt x="395" y="473"/>
                  </a:lnTo>
                  <a:lnTo>
                    <a:pt x="395" y="474"/>
                  </a:lnTo>
                  <a:lnTo>
                    <a:pt x="394" y="474"/>
                  </a:lnTo>
                  <a:lnTo>
                    <a:pt x="394" y="475"/>
                  </a:lnTo>
                  <a:lnTo>
                    <a:pt x="394" y="475"/>
                  </a:lnTo>
                  <a:lnTo>
                    <a:pt x="394" y="477"/>
                  </a:lnTo>
                  <a:lnTo>
                    <a:pt x="394" y="478"/>
                  </a:lnTo>
                  <a:lnTo>
                    <a:pt x="394" y="479"/>
                  </a:lnTo>
                  <a:lnTo>
                    <a:pt x="393" y="481"/>
                  </a:lnTo>
                  <a:lnTo>
                    <a:pt x="393" y="482"/>
                  </a:lnTo>
                  <a:lnTo>
                    <a:pt x="393" y="484"/>
                  </a:lnTo>
                  <a:lnTo>
                    <a:pt x="393" y="484"/>
                  </a:lnTo>
                  <a:lnTo>
                    <a:pt x="393" y="485"/>
                  </a:lnTo>
                  <a:lnTo>
                    <a:pt x="394" y="487"/>
                  </a:lnTo>
                  <a:lnTo>
                    <a:pt x="394" y="489"/>
                  </a:lnTo>
                  <a:lnTo>
                    <a:pt x="395" y="491"/>
                  </a:lnTo>
                  <a:lnTo>
                    <a:pt x="395" y="492"/>
                  </a:lnTo>
                  <a:lnTo>
                    <a:pt x="395" y="492"/>
                  </a:lnTo>
                  <a:lnTo>
                    <a:pt x="395" y="493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3" y="495"/>
                  </a:lnTo>
                  <a:lnTo>
                    <a:pt x="393" y="495"/>
                  </a:lnTo>
                  <a:lnTo>
                    <a:pt x="391" y="496"/>
                  </a:lnTo>
                  <a:lnTo>
                    <a:pt x="390" y="496"/>
                  </a:lnTo>
                  <a:lnTo>
                    <a:pt x="389" y="497"/>
                  </a:lnTo>
                  <a:lnTo>
                    <a:pt x="386" y="498"/>
                  </a:lnTo>
                  <a:lnTo>
                    <a:pt x="385" y="498"/>
                  </a:lnTo>
                  <a:lnTo>
                    <a:pt x="384" y="498"/>
                  </a:lnTo>
                  <a:lnTo>
                    <a:pt x="383" y="499"/>
                  </a:lnTo>
                  <a:lnTo>
                    <a:pt x="381" y="500"/>
                  </a:lnTo>
                  <a:lnTo>
                    <a:pt x="379" y="502"/>
                  </a:lnTo>
                  <a:lnTo>
                    <a:pt x="376" y="504"/>
                  </a:lnTo>
                  <a:lnTo>
                    <a:pt x="375" y="505"/>
                  </a:lnTo>
                  <a:lnTo>
                    <a:pt x="374" y="507"/>
                  </a:lnTo>
                  <a:lnTo>
                    <a:pt x="373" y="508"/>
                  </a:lnTo>
                  <a:lnTo>
                    <a:pt x="372" y="509"/>
                  </a:lnTo>
                  <a:lnTo>
                    <a:pt x="371" y="511"/>
                  </a:lnTo>
                  <a:lnTo>
                    <a:pt x="370" y="511"/>
                  </a:lnTo>
                  <a:lnTo>
                    <a:pt x="370" y="512"/>
                  </a:lnTo>
                  <a:lnTo>
                    <a:pt x="369" y="512"/>
                  </a:lnTo>
                  <a:lnTo>
                    <a:pt x="369" y="512"/>
                  </a:lnTo>
                  <a:lnTo>
                    <a:pt x="369" y="512"/>
                  </a:lnTo>
                  <a:lnTo>
                    <a:pt x="368" y="512"/>
                  </a:lnTo>
                  <a:lnTo>
                    <a:pt x="368" y="512"/>
                  </a:lnTo>
                  <a:lnTo>
                    <a:pt x="368" y="512"/>
                  </a:lnTo>
                  <a:lnTo>
                    <a:pt x="367" y="512"/>
                  </a:lnTo>
                  <a:lnTo>
                    <a:pt x="367" y="512"/>
                  </a:lnTo>
                  <a:lnTo>
                    <a:pt x="365" y="510"/>
                  </a:lnTo>
                  <a:lnTo>
                    <a:pt x="364" y="510"/>
                  </a:lnTo>
                  <a:lnTo>
                    <a:pt x="363" y="509"/>
                  </a:lnTo>
                  <a:lnTo>
                    <a:pt x="361" y="509"/>
                  </a:lnTo>
                  <a:lnTo>
                    <a:pt x="360" y="508"/>
                  </a:lnTo>
                  <a:lnTo>
                    <a:pt x="358" y="508"/>
                  </a:lnTo>
                  <a:lnTo>
                    <a:pt x="357" y="508"/>
                  </a:lnTo>
                  <a:lnTo>
                    <a:pt x="355" y="507"/>
                  </a:lnTo>
                  <a:lnTo>
                    <a:pt x="353" y="507"/>
                  </a:lnTo>
                  <a:lnTo>
                    <a:pt x="353" y="507"/>
                  </a:lnTo>
                  <a:lnTo>
                    <a:pt x="352" y="507"/>
                  </a:lnTo>
                  <a:lnTo>
                    <a:pt x="352" y="506"/>
                  </a:lnTo>
                  <a:lnTo>
                    <a:pt x="351" y="506"/>
                  </a:lnTo>
                  <a:lnTo>
                    <a:pt x="351" y="506"/>
                  </a:lnTo>
                  <a:lnTo>
                    <a:pt x="350" y="505"/>
                  </a:lnTo>
                  <a:lnTo>
                    <a:pt x="350" y="505"/>
                  </a:lnTo>
                  <a:lnTo>
                    <a:pt x="350" y="505"/>
                  </a:lnTo>
                  <a:lnTo>
                    <a:pt x="350" y="504"/>
                  </a:lnTo>
                  <a:lnTo>
                    <a:pt x="350" y="504"/>
                  </a:lnTo>
                  <a:lnTo>
                    <a:pt x="351" y="501"/>
                  </a:lnTo>
                  <a:lnTo>
                    <a:pt x="351" y="500"/>
                  </a:lnTo>
                  <a:lnTo>
                    <a:pt x="351" y="500"/>
                  </a:lnTo>
                  <a:lnTo>
                    <a:pt x="351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48" y="500"/>
                  </a:lnTo>
                  <a:lnTo>
                    <a:pt x="346" y="500"/>
                  </a:lnTo>
                  <a:lnTo>
                    <a:pt x="345" y="500"/>
                  </a:lnTo>
                  <a:lnTo>
                    <a:pt x="343" y="501"/>
                  </a:lnTo>
                  <a:lnTo>
                    <a:pt x="342" y="501"/>
                  </a:lnTo>
                  <a:lnTo>
                    <a:pt x="341" y="501"/>
                  </a:lnTo>
                  <a:lnTo>
                    <a:pt x="339" y="501"/>
                  </a:lnTo>
                  <a:lnTo>
                    <a:pt x="338" y="501"/>
                  </a:lnTo>
                  <a:lnTo>
                    <a:pt x="334" y="500"/>
                  </a:lnTo>
                  <a:lnTo>
                    <a:pt x="332" y="500"/>
                  </a:lnTo>
                  <a:lnTo>
                    <a:pt x="331" y="500"/>
                  </a:lnTo>
                  <a:lnTo>
                    <a:pt x="330" y="499"/>
                  </a:lnTo>
                  <a:lnTo>
                    <a:pt x="329" y="499"/>
                  </a:lnTo>
                  <a:lnTo>
                    <a:pt x="327" y="498"/>
                  </a:lnTo>
                  <a:lnTo>
                    <a:pt x="327" y="498"/>
                  </a:lnTo>
                  <a:lnTo>
                    <a:pt x="326" y="498"/>
                  </a:lnTo>
                  <a:lnTo>
                    <a:pt x="325" y="498"/>
                  </a:lnTo>
                  <a:lnTo>
                    <a:pt x="324" y="497"/>
                  </a:lnTo>
                  <a:lnTo>
                    <a:pt x="322" y="497"/>
                  </a:lnTo>
                  <a:lnTo>
                    <a:pt x="321" y="497"/>
                  </a:lnTo>
                  <a:lnTo>
                    <a:pt x="320" y="497"/>
                  </a:lnTo>
                  <a:lnTo>
                    <a:pt x="320" y="497"/>
                  </a:lnTo>
                  <a:lnTo>
                    <a:pt x="319" y="498"/>
                  </a:lnTo>
                  <a:lnTo>
                    <a:pt x="318" y="498"/>
                  </a:lnTo>
                  <a:lnTo>
                    <a:pt x="317" y="499"/>
                  </a:lnTo>
                  <a:lnTo>
                    <a:pt x="316" y="500"/>
                  </a:lnTo>
                  <a:lnTo>
                    <a:pt x="315" y="500"/>
                  </a:lnTo>
                  <a:lnTo>
                    <a:pt x="315" y="500"/>
                  </a:lnTo>
                  <a:lnTo>
                    <a:pt x="314" y="500"/>
                  </a:lnTo>
                  <a:lnTo>
                    <a:pt x="314" y="500"/>
                  </a:lnTo>
                  <a:lnTo>
                    <a:pt x="313" y="500"/>
                  </a:lnTo>
                  <a:lnTo>
                    <a:pt x="312" y="499"/>
                  </a:lnTo>
                  <a:lnTo>
                    <a:pt x="311" y="499"/>
                  </a:lnTo>
                  <a:lnTo>
                    <a:pt x="308" y="496"/>
                  </a:lnTo>
                  <a:lnTo>
                    <a:pt x="307" y="496"/>
                  </a:lnTo>
                  <a:lnTo>
                    <a:pt x="306" y="495"/>
                  </a:lnTo>
                  <a:lnTo>
                    <a:pt x="304" y="495"/>
                  </a:lnTo>
                  <a:lnTo>
                    <a:pt x="303" y="494"/>
                  </a:lnTo>
                  <a:lnTo>
                    <a:pt x="302" y="494"/>
                  </a:lnTo>
                  <a:lnTo>
                    <a:pt x="300" y="492"/>
                  </a:lnTo>
                  <a:lnTo>
                    <a:pt x="299" y="492"/>
                  </a:lnTo>
                  <a:lnTo>
                    <a:pt x="298" y="492"/>
                  </a:lnTo>
                  <a:lnTo>
                    <a:pt x="298" y="492"/>
                  </a:lnTo>
                  <a:lnTo>
                    <a:pt x="297" y="492"/>
                  </a:lnTo>
                  <a:lnTo>
                    <a:pt x="297" y="492"/>
                  </a:lnTo>
                  <a:lnTo>
                    <a:pt x="297" y="493"/>
                  </a:lnTo>
                  <a:lnTo>
                    <a:pt x="297" y="493"/>
                  </a:lnTo>
                  <a:lnTo>
                    <a:pt x="297" y="493"/>
                  </a:lnTo>
                  <a:lnTo>
                    <a:pt x="297" y="494"/>
                  </a:lnTo>
                  <a:lnTo>
                    <a:pt x="297" y="496"/>
                  </a:lnTo>
                  <a:lnTo>
                    <a:pt x="297" y="497"/>
                  </a:lnTo>
                  <a:lnTo>
                    <a:pt x="297" y="497"/>
                  </a:lnTo>
                  <a:lnTo>
                    <a:pt x="297" y="498"/>
                  </a:lnTo>
                  <a:lnTo>
                    <a:pt x="297" y="498"/>
                  </a:lnTo>
                  <a:lnTo>
                    <a:pt x="296" y="498"/>
                  </a:lnTo>
                  <a:lnTo>
                    <a:pt x="296" y="498"/>
                  </a:lnTo>
                  <a:lnTo>
                    <a:pt x="296" y="498"/>
                  </a:lnTo>
                  <a:lnTo>
                    <a:pt x="294" y="498"/>
                  </a:lnTo>
                  <a:lnTo>
                    <a:pt x="293" y="498"/>
                  </a:lnTo>
                  <a:lnTo>
                    <a:pt x="292" y="498"/>
                  </a:lnTo>
                  <a:lnTo>
                    <a:pt x="291" y="498"/>
                  </a:lnTo>
                  <a:lnTo>
                    <a:pt x="290" y="499"/>
                  </a:lnTo>
                  <a:lnTo>
                    <a:pt x="289" y="499"/>
                  </a:lnTo>
                  <a:lnTo>
                    <a:pt x="288" y="500"/>
                  </a:lnTo>
                  <a:lnTo>
                    <a:pt x="285" y="502"/>
                  </a:lnTo>
                  <a:lnTo>
                    <a:pt x="285" y="502"/>
                  </a:lnTo>
                  <a:lnTo>
                    <a:pt x="284" y="502"/>
                  </a:lnTo>
                  <a:lnTo>
                    <a:pt x="284" y="503"/>
                  </a:lnTo>
                  <a:lnTo>
                    <a:pt x="282" y="503"/>
                  </a:lnTo>
                  <a:lnTo>
                    <a:pt x="281" y="503"/>
                  </a:lnTo>
                  <a:lnTo>
                    <a:pt x="280" y="503"/>
                  </a:lnTo>
                  <a:lnTo>
                    <a:pt x="279" y="503"/>
                  </a:lnTo>
                  <a:lnTo>
                    <a:pt x="277" y="503"/>
                  </a:lnTo>
                  <a:lnTo>
                    <a:pt x="276" y="503"/>
                  </a:lnTo>
                  <a:lnTo>
                    <a:pt x="275" y="502"/>
                  </a:lnTo>
                  <a:lnTo>
                    <a:pt x="275" y="502"/>
                  </a:lnTo>
                  <a:lnTo>
                    <a:pt x="275" y="502"/>
                  </a:lnTo>
                  <a:lnTo>
                    <a:pt x="274" y="502"/>
                  </a:lnTo>
                  <a:lnTo>
                    <a:pt x="274" y="501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3" y="498"/>
                  </a:lnTo>
                  <a:lnTo>
                    <a:pt x="272" y="497"/>
                  </a:lnTo>
                  <a:lnTo>
                    <a:pt x="271" y="497"/>
                  </a:lnTo>
                  <a:lnTo>
                    <a:pt x="270" y="496"/>
                  </a:lnTo>
                  <a:lnTo>
                    <a:pt x="270" y="496"/>
                  </a:lnTo>
                  <a:lnTo>
                    <a:pt x="268" y="495"/>
                  </a:lnTo>
                  <a:lnTo>
                    <a:pt x="267" y="494"/>
                  </a:lnTo>
                  <a:lnTo>
                    <a:pt x="265" y="494"/>
                  </a:lnTo>
                  <a:lnTo>
                    <a:pt x="265" y="494"/>
                  </a:lnTo>
                  <a:lnTo>
                    <a:pt x="264" y="493"/>
                  </a:lnTo>
                  <a:lnTo>
                    <a:pt x="264" y="493"/>
                  </a:lnTo>
                  <a:lnTo>
                    <a:pt x="263" y="492"/>
                  </a:lnTo>
                  <a:lnTo>
                    <a:pt x="263" y="492"/>
                  </a:lnTo>
                  <a:lnTo>
                    <a:pt x="262" y="490"/>
                  </a:lnTo>
                  <a:lnTo>
                    <a:pt x="261" y="489"/>
                  </a:lnTo>
                  <a:lnTo>
                    <a:pt x="260" y="489"/>
                  </a:lnTo>
                  <a:lnTo>
                    <a:pt x="259" y="488"/>
                  </a:lnTo>
                  <a:lnTo>
                    <a:pt x="258" y="487"/>
                  </a:lnTo>
                  <a:lnTo>
                    <a:pt x="257" y="487"/>
                  </a:lnTo>
                  <a:lnTo>
                    <a:pt x="255" y="486"/>
                  </a:lnTo>
                  <a:lnTo>
                    <a:pt x="254" y="486"/>
                  </a:lnTo>
                  <a:lnTo>
                    <a:pt x="254" y="486"/>
                  </a:lnTo>
                  <a:lnTo>
                    <a:pt x="253" y="486"/>
                  </a:lnTo>
                  <a:lnTo>
                    <a:pt x="252" y="486"/>
                  </a:lnTo>
                  <a:lnTo>
                    <a:pt x="251" y="486"/>
                  </a:lnTo>
                  <a:lnTo>
                    <a:pt x="249" y="487"/>
                  </a:lnTo>
                  <a:lnTo>
                    <a:pt x="246" y="488"/>
                  </a:lnTo>
                  <a:lnTo>
                    <a:pt x="245" y="488"/>
                  </a:lnTo>
                  <a:lnTo>
                    <a:pt x="244" y="488"/>
                  </a:lnTo>
                  <a:lnTo>
                    <a:pt x="244" y="489"/>
                  </a:lnTo>
                  <a:lnTo>
                    <a:pt x="243" y="490"/>
                  </a:lnTo>
                  <a:lnTo>
                    <a:pt x="243" y="490"/>
                  </a:lnTo>
                  <a:lnTo>
                    <a:pt x="242" y="492"/>
                  </a:lnTo>
                  <a:lnTo>
                    <a:pt x="241" y="494"/>
                  </a:lnTo>
                  <a:lnTo>
                    <a:pt x="240" y="495"/>
                  </a:lnTo>
                  <a:lnTo>
                    <a:pt x="239" y="496"/>
                  </a:lnTo>
                  <a:lnTo>
                    <a:pt x="239" y="498"/>
                  </a:lnTo>
                  <a:lnTo>
                    <a:pt x="238" y="499"/>
                  </a:lnTo>
                  <a:lnTo>
                    <a:pt x="238" y="499"/>
                  </a:lnTo>
                  <a:lnTo>
                    <a:pt x="237" y="499"/>
                  </a:lnTo>
                  <a:lnTo>
                    <a:pt x="237" y="499"/>
                  </a:lnTo>
                  <a:lnTo>
                    <a:pt x="236" y="499"/>
                  </a:lnTo>
                  <a:lnTo>
                    <a:pt x="236" y="499"/>
                  </a:lnTo>
                  <a:lnTo>
                    <a:pt x="234" y="499"/>
                  </a:lnTo>
                  <a:lnTo>
                    <a:pt x="233" y="499"/>
                  </a:lnTo>
                  <a:lnTo>
                    <a:pt x="231" y="499"/>
                  </a:lnTo>
                  <a:lnTo>
                    <a:pt x="228" y="500"/>
                  </a:lnTo>
                  <a:lnTo>
                    <a:pt x="220" y="500"/>
                  </a:lnTo>
                  <a:lnTo>
                    <a:pt x="219" y="500"/>
                  </a:lnTo>
                  <a:lnTo>
                    <a:pt x="215" y="500"/>
                  </a:lnTo>
                  <a:lnTo>
                    <a:pt x="214" y="500"/>
                  </a:lnTo>
                  <a:lnTo>
                    <a:pt x="213" y="500"/>
                  </a:lnTo>
                  <a:lnTo>
                    <a:pt x="211" y="501"/>
                  </a:lnTo>
                  <a:lnTo>
                    <a:pt x="210" y="501"/>
                  </a:lnTo>
                  <a:lnTo>
                    <a:pt x="208" y="501"/>
                  </a:lnTo>
                  <a:lnTo>
                    <a:pt x="206" y="501"/>
                  </a:lnTo>
                  <a:lnTo>
                    <a:pt x="206" y="501"/>
                  </a:lnTo>
                  <a:lnTo>
                    <a:pt x="205" y="501"/>
                  </a:lnTo>
                  <a:lnTo>
                    <a:pt x="204" y="501"/>
                  </a:lnTo>
                  <a:lnTo>
                    <a:pt x="203" y="501"/>
                  </a:lnTo>
                  <a:lnTo>
                    <a:pt x="202" y="502"/>
                  </a:lnTo>
                  <a:lnTo>
                    <a:pt x="200" y="501"/>
                  </a:lnTo>
                  <a:lnTo>
                    <a:pt x="200" y="501"/>
                  </a:lnTo>
                  <a:lnTo>
                    <a:pt x="199" y="501"/>
                  </a:lnTo>
                  <a:lnTo>
                    <a:pt x="198" y="501"/>
                  </a:lnTo>
                  <a:lnTo>
                    <a:pt x="197" y="500"/>
                  </a:lnTo>
                  <a:lnTo>
                    <a:pt x="197" y="500"/>
                  </a:lnTo>
                  <a:lnTo>
                    <a:pt x="196" y="499"/>
                  </a:lnTo>
                  <a:lnTo>
                    <a:pt x="196" y="499"/>
                  </a:lnTo>
                  <a:lnTo>
                    <a:pt x="195" y="498"/>
                  </a:lnTo>
                  <a:lnTo>
                    <a:pt x="195" y="498"/>
                  </a:lnTo>
                  <a:lnTo>
                    <a:pt x="195" y="497"/>
                  </a:lnTo>
                  <a:lnTo>
                    <a:pt x="195" y="496"/>
                  </a:lnTo>
                  <a:lnTo>
                    <a:pt x="195" y="495"/>
                  </a:lnTo>
                  <a:lnTo>
                    <a:pt x="195" y="493"/>
                  </a:lnTo>
                  <a:lnTo>
                    <a:pt x="195" y="489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2" y="487"/>
                  </a:lnTo>
                  <a:lnTo>
                    <a:pt x="190" y="488"/>
                  </a:lnTo>
                  <a:lnTo>
                    <a:pt x="189" y="488"/>
                  </a:lnTo>
                  <a:lnTo>
                    <a:pt x="188" y="489"/>
                  </a:lnTo>
                  <a:lnTo>
                    <a:pt x="185" y="490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80" y="493"/>
                  </a:lnTo>
                  <a:lnTo>
                    <a:pt x="180" y="493"/>
                  </a:lnTo>
                  <a:lnTo>
                    <a:pt x="179" y="494"/>
                  </a:lnTo>
                  <a:lnTo>
                    <a:pt x="179" y="494"/>
                  </a:lnTo>
                  <a:lnTo>
                    <a:pt x="179" y="495"/>
                  </a:lnTo>
                  <a:lnTo>
                    <a:pt x="178" y="497"/>
                  </a:lnTo>
                  <a:lnTo>
                    <a:pt x="177" y="499"/>
                  </a:lnTo>
                  <a:lnTo>
                    <a:pt x="176" y="500"/>
                  </a:lnTo>
                  <a:lnTo>
                    <a:pt x="176" y="501"/>
                  </a:lnTo>
                  <a:lnTo>
                    <a:pt x="175" y="502"/>
                  </a:lnTo>
                  <a:lnTo>
                    <a:pt x="175" y="503"/>
                  </a:lnTo>
                  <a:lnTo>
                    <a:pt x="174" y="503"/>
                  </a:lnTo>
                  <a:lnTo>
                    <a:pt x="174" y="504"/>
                  </a:lnTo>
                  <a:lnTo>
                    <a:pt x="173" y="504"/>
                  </a:lnTo>
                  <a:lnTo>
                    <a:pt x="173" y="504"/>
                  </a:lnTo>
                  <a:lnTo>
                    <a:pt x="171" y="505"/>
                  </a:lnTo>
                  <a:lnTo>
                    <a:pt x="171" y="505"/>
                  </a:lnTo>
                  <a:lnTo>
                    <a:pt x="170" y="505"/>
                  </a:lnTo>
                  <a:lnTo>
                    <a:pt x="168" y="507"/>
                  </a:lnTo>
                  <a:lnTo>
                    <a:pt x="167" y="507"/>
                  </a:lnTo>
                  <a:lnTo>
                    <a:pt x="166" y="508"/>
                  </a:lnTo>
                  <a:lnTo>
                    <a:pt x="166" y="508"/>
                  </a:lnTo>
                  <a:lnTo>
                    <a:pt x="165" y="508"/>
                  </a:lnTo>
                  <a:lnTo>
                    <a:pt x="164" y="508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59" y="509"/>
                  </a:lnTo>
                  <a:lnTo>
                    <a:pt x="158" y="510"/>
                  </a:lnTo>
                  <a:lnTo>
                    <a:pt x="157" y="510"/>
                  </a:lnTo>
                  <a:lnTo>
                    <a:pt x="155" y="511"/>
                  </a:lnTo>
                  <a:lnTo>
                    <a:pt x="155" y="512"/>
                  </a:lnTo>
                  <a:lnTo>
                    <a:pt x="154" y="512"/>
                  </a:lnTo>
                  <a:lnTo>
                    <a:pt x="153" y="513"/>
                  </a:lnTo>
                  <a:lnTo>
                    <a:pt x="152" y="513"/>
                  </a:lnTo>
                  <a:lnTo>
                    <a:pt x="151" y="513"/>
                  </a:lnTo>
                  <a:lnTo>
                    <a:pt x="150" y="513"/>
                  </a:lnTo>
                  <a:lnTo>
                    <a:pt x="149" y="513"/>
                  </a:lnTo>
                  <a:lnTo>
                    <a:pt x="148" y="512"/>
                  </a:lnTo>
                  <a:lnTo>
                    <a:pt x="147" y="512"/>
                  </a:lnTo>
                  <a:lnTo>
                    <a:pt x="147" y="512"/>
                  </a:lnTo>
                  <a:lnTo>
                    <a:pt x="145" y="511"/>
                  </a:lnTo>
                  <a:lnTo>
                    <a:pt x="144" y="511"/>
                  </a:lnTo>
                  <a:lnTo>
                    <a:pt x="144" y="510"/>
                  </a:lnTo>
                  <a:lnTo>
                    <a:pt x="143" y="510"/>
                  </a:lnTo>
                  <a:lnTo>
                    <a:pt x="143" y="509"/>
                  </a:lnTo>
                  <a:lnTo>
                    <a:pt x="142" y="509"/>
                  </a:lnTo>
                  <a:lnTo>
                    <a:pt x="142" y="509"/>
                  </a:lnTo>
                  <a:lnTo>
                    <a:pt x="140" y="508"/>
                  </a:lnTo>
                  <a:lnTo>
                    <a:pt x="140" y="507"/>
                  </a:lnTo>
                  <a:lnTo>
                    <a:pt x="137" y="506"/>
                  </a:lnTo>
                  <a:lnTo>
                    <a:pt x="137" y="505"/>
                  </a:lnTo>
                  <a:lnTo>
                    <a:pt x="136" y="505"/>
                  </a:lnTo>
                  <a:lnTo>
                    <a:pt x="136" y="505"/>
                  </a:lnTo>
                  <a:lnTo>
                    <a:pt x="135" y="505"/>
                  </a:lnTo>
                  <a:lnTo>
                    <a:pt x="134" y="505"/>
                  </a:lnTo>
                  <a:lnTo>
                    <a:pt x="133" y="505"/>
                  </a:lnTo>
                  <a:lnTo>
                    <a:pt x="132" y="505"/>
                  </a:lnTo>
                  <a:lnTo>
                    <a:pt x="130" y="507"/>
                  </a:lnTo>
                  <a:lnTo>
                    <a:pt x="129" y="507"/>
                  </a:lnTo>
                  <a:lnTo>
                    <a:pt x="128" y="507"/>
                  </a:lnTo>
                  <a:lnTo>
                    <a:pt x="128" y="508"/>
                  </a:lnTo>
                  <a:lnTo>
                    <a:pt x="127" y="508"/>
                  </a:lnTo>
                  <a:lnTo>
                    <a:pt x="127" y="508"/>
                  </a:lnTo>
                  <a:lnTo>
                    <a:pt x="126" y="507"/>
                  </a:lnTo>
                  <a:lnTo>
                    <a:pt x="125" y="507"/>
                  </a:lnTo>
                  <a:lnTo>
                    <a:pt x="125" y="507"/>
                  </a:lnTo>
                  <a:lnTo>
                    <a:pt x="124" y="507"/>
                  </a:lnTo>
                  <a:lnTo>
                    <a:pt x="122" y="505"/>
                  </a:lnTo>
                  <a:lnTo>
                    <a:pt x="122" y="504"/>
                  </a:lnTo>
                  <a:lnTo>
                    <a:pt x="121" y="504"/>
                  </a:lnTo>
                  <a:lnTo>
                    <a:pt x="121" y="504"/>
                  </a:lnTo>
                  <a:lnTo>
                    <a:pt x="120" y="504"/>
                  </a:lnTo>
                  <a:lnTo>
                    <a:pt x="120" y="504"/>
                  </a:lnTo>
                  <a:lnTo>
                    <a:pt x="119" y="504"/>
                  </a:lnTo>
                  <a:lnTo>
                    <a:pt x="119" y="504"/>
                  </a:lnTo>
                  <a:lnTo>
                    <a:pt x="117" y="505"/>
                  </a:lnTo>
                  <a:lnTo>
                    <a:pt x="115" y="506"/>
                  </a:lnTo>
                  <a:lnTo>
                    <a:pt x="112" y="507"/>
                  </a:lnTo>
                  <a:lnTo>
                    <a:pt x="109" y="508"/>
                  </a:lnTo>
                  <a:lnTo>
                    <a:pt x="108" y="508"/>
                  </a:lnTo>
                  <a:lnTo>
                    <a:pt x="106" y="508"/>
                  </a:lnTo>
                  <a:lnTo>
                    <a:pt x="105" y="508"/>
                  </a:lnTo>
                  <a:lnTo>
                    <a:pt x="105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7"/>
                  </a:lnTo>
                  <a:lnTo>
                    <a:pt x="104" y="506"/>
                  </a:lnTo>
                  <a:lnTo>
                    <a:pt x="104" y="505"/>
                  </a:lnTo>
                  <a:lnTo>
                    <a:pt x="104" y="503"/>
                  </a:lnTo>
                  <a:lnTo>
                    <a:pt x="104" y="502"/>
                  </a:lnTo>
                  <a:lnTo>
                    <a:pt x="104" y="501"/>
                  </a:lnTo>
                  <a:lnTo>
                    <a:pt x="104" y="500"/>
                  </a:lnTo>
                  <a:lnTo>
                    <a:pt x="104" y="499"/>
                  </a:lnTo>
                  <a:lnTo>
                    <a:pt x="103" y="497"/>
                  </a:lnTo>
                  <a:lnTo>
                    <a:pt x="103" y="496"/>
                  </a:lnTo>
                  <a:lnTo>
                    <a:pt x="103" y="495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1" y="493"/>
                  </a:lnTo>
                  <a:lnTo>
                    <a:pt x="100" y="492"/>
                  </a:lnTo>
                  <a:lnTo>
                    <a:pt x="99" y="492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7" y="490"/>
                  </a:lnTo>
                  <a:lnTo>
                    <a:pt x="97" y="490"/>
                  </a:lnTo>
                  <a:lnTo>
                    <a:pt x="97" y="489"/>
                  </a:lnTo>
                  <a:lnTo>
                    <a:pt x="97" y="489"/>
                  </a:lnTo>
                  <a:lnTo>
                    <a:pt x="97" y="485"/>
                  </a:lnTo>
                  <a:lnTo>
                    <a:pt x="97" y="484"/>
                  </a:lnTo>
                  <a:lnTo>
                    <a:pt x="97" y="481"/>
                  </a:lnTo>
                  <a:lnTo>
                    <a:pt x="98" y="478"/>
                  </a:lnTo>
                  <a:lnTo>
                    <a:pt x="98" y="476"/>
                  </a:lnTo>
                  <a:lnTo>
                    <a:pt x="98" y="474"/>
                  </a:lnTo>
                  <a:lnTo>
                    <a:pt x="99" y="471"/>
                  </a:lnTo>
                  <a:lnTo>
                    <a:pt x="99" y="469"/>
                  </a:lnTo>
                  <a:lnTo>
                    <a:pt x="99" y="468"/>
                  </a:lnTo>
                  <a:lnTo>
                    <a:pt x="99" y="466"/>
                  </a:lnTo>
                  <a:lnTo>
                    <a:pt x="99" y="464"/>
                  </a:lnTo>
                  <a:lnTo>
                    <a:pt x="99" y="462"/>
                  </a:lnTo>
                  <a:lnTo>
                    <a:pt x="99" y="461"/>
                  </a:lnTo>
                  <a:lnTo>
                    <a:pt x="99" y="460"/>
                  </a:lnTo>
                  <a:lnTo>
                    <a:pt x="99" y="460"/>
                  </a:lnTo>
                  <a:lnTo>
                    <a:pt x="98" y="459"/>
                  </a:lnTo>
                  <a:lnTo>
                    <a:pt x="98" y="459"/>
                  </a:lnTo>
                  <a:lnTo>
                    <a:pt x="98" y="458"/>
                  </a:lnTo>
                  <a:lnTo>
                    <a:pt x="97" y="458"/>
                  </a:lnTo>
                  <a:lnTo>
                    <a:pt x="96" y="457"/>
                  </a:lnTo>
                  <a:lnTo>
                    <a:pt x="95" y="457"/>
                  </a:lnTo>
                  <a:lnTo>
                    <a:pt x="94" y="456"/>
                  </a:lnTo>
                  <a:lnTo>
                    <a:pt x="93" y="456"/>
                  </a:lnTo>
                  <a:lnTo>
                    <a:pt x="92" y="456"/>
                  </a:lnTo>
                  <a:lnTo>
                    <a:pt x="91" y="456"/>
                  </a:lnTo>
                  <a:lnTo>
                    <a:pt x="89" y="456"/>
                  </a:lnTo>
                  <a:lnTo>
                    <a:pt x="88" y="456"/>
                  </a:lnTo>
                  <a:lnTo>
                    <a:pt x="87" y="456"/>
                  </a:lnTo>
                  <a:lnTo>
                    <a:pt x="87" y="456"/>
                  </a:lnTo>
                  <a:lnTo>
                    <a:pt x="87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4"/>
                  </a:lnTo>
                  <a:lnTo>
                    <a:pt x="86" y="453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1"/>
                  </a:lnTo>
                  <a:lnTo>
                    <a:pt x="86" y="451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49"/>
                  </a:lnTo>
                  <a:lnTo>
                    <a:pt x="82" y="449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7"/>
                  </a:lnTo>
                  <a:lnTo>
                    <a:pt x="84" y="447"/>
                  </a:lnTo>
                  <a:lnTo>
                    <a:pt x="85" y="447"/>
                  </a:lnTo>
                  <a:lnTo>
                    <a:pt x="86" y="447"/>
                  </a:lnTo>
                  <a:lnTo>
                    <a:pt x="86" y="447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8" y="445"/>
                  </a:lnTo>
                  <a:lnTo>
                    <a:pt x="88" y="445"/>
                  </a:lnTo>
                  <a:lnTo>
                    <a:pt x="88" y="444"/>
                  </a:lnTo>
                  <a:lnTo>
                    <a:pt x="87" y="443"/>
                  </a:lnTo>
                  <a:lnTo>
                    <a:pt x="87" y="443"/>
                  </a:lnTo>
                  <a:lnTo>
                    <a:pt x="86" y="442"/>
                  </a:lnTo>
                  <a:lnTo>
                    <a:pt x="86" y="441"/>
                  </a:lnTo>
                  <a:lnTo>
                    <a:pt x="84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4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5"/>
                  </a:lnTo>
                  <a:lnTo>
                    <a:pt x="88" y="434"/>
                  </a:lnTo>
                  <a:lnTo>
                    <a:pt x="89" y="433"/>
                  </a:lnTo>
                  <a:lnTo>
                    <a:pt x="90" y="433"/>
                  </a:lnTo>
                  <a:lnTo>
                    <a:pt x="90" y="432"/>
                  </a:lnTo>
                  <a:lnTo>
                    <a:pt x="90" y="432"/>
                  </a:lnTo>
                  <a:lnTo>
                    <a:pt x="91" y="431"/>
                  </a:lnTo>
                  <a:lnTo>
                    <a:pt x="90" y="431"/>
                  </a:lnTo>
                  <a:lnTo>
                    <a:pt x="90" y="431"/>
                  </a:lnTo>
                  <a:lnTo>
                    <a:pt x="90" y="430"/>
                  </a:lnTo>
                  <a:lnTo>
                    <a:pt x="90" y="430"/>
                  </a:lnTo>
                  <a:lnTo>
                    <a:pt x="89" y="430"/>
                  </a:lnTo>
                  <a:lnTo>
                    <a:pt x="89" y="430"/>
                  </a:lnTo>
                  <a:lnTo>
                    <a:pt x="88" y="429"/>
                  </a:lnTo>
                  <a:lnTo>
                    <a:pt x="86" y="429"/>
                  </a:lnTo>
                  <a:lnTo>
                    <a:pt x="85" y="429"/>
                  </a:lnTo>
                  <a:lnTo>
                    <a:pt x="84" y="429"/>
                  </a:lnTo>
                  <a:lnTo>
                    <a:pt x="83" y="429"/>
                  </a:lnTo>
                  <a:lnTo>
                    <a:pt x="81" y="430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8"/>
                  </a:lnTo>
                  <a:lnTo>
                    <a:pt x="78" y="428"/>
                  </a:lnTo>
                  <a:lnTo>
                    <a:pt x="78" y="427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8" y="425"/>
                  </a:lnTo>
                  <a:lnTo>
                    <a:pt x="78" y="424"/>
                  </a:lnTo>
                  <a:lnTo>
                    <a:pt x="79" y="423"/>
                  </a:lnTo>
                  <a:lnTo>
                    <a:pt x="79" y="422"/>
                  </a:lnTo>
                  <a:lnTo>
                    <a:pt x="79" y="421"/>
                  </a:lnTo>
                  <a:lnTo>
                    <a:pt x="80" y="420"/>
                  </a:lnTo>
                  <a:lnTo>
                    <a:pt x="83" y="417"/>
                  </a:lnTo>
                  <a:lnTo>
                    <a:pt x="84" y="415"/>
                  </a:lnTo>
                  <a:lnTo>
                    <a:pt x="84" y="414"/>
                  </a:lnTo>
                  <a:lnTo>
                    <a:pt x="85" y="414"/>
                  </a:lnTo>
                  <a:lnTo>
                    <a:pt x="86" y="413"/>
                  </a:lnTo>
                  <a:lnTo>
                    <a:pt x="87" y="412"/>
                  </a:lnTo>
                  <a:lnTo>
                    <a:pt x="88" y="411"/>
                  </a:lnTo>
                  <a:lnTo>
                    <a:pt x="89" y="411"/>
                  </a:lnTo>
                  <a:lnTo>
                    <a:pt x="90" y="410"/>
                  </a:lnTo>
                  <a:lnTo>
                    <a:pt x="92" y="409"/>
                  </a:lnTo>
                  <a:lnTo>
                    <a:pt x="93" y="409"/>
                  </a:lnTo>
                  <a:lnTo>
                    <a:pt x="94" y="408"/>
                  </a:lnTo>
                  <a:lnTo>
                    <a:pt x="95" y="408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7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101" y="410"/>
                  </a:lnTo>
                  <a:lnTo>
                    <a:pt x="102" y="410"/>
                  </a:lnTo>
                  <a:lnTo>
                    <a:pt x="103" y="411"/>
                  </a:lnTo>
                  <a:lnTo>
                    <a:pt x="103" y="411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7" y="409"/>
                  </a:lnTo>
                  <a:lnTo>
                    <a:pt x="108" y="408"/>
                  </a:lnTo>
                  <a:lnTo>
                    <a:pt x="109" y="406"/>
                  </a:lnTo>
                  <a:lnTo>
                    <a:pt x="110" y="405"/>
                  </a:lnTo>
                  <a:lnTo>
                    <a:pt x="111" y="404"/>
                  </a:lnTo>
                  <a:lnTo>
                    <a:pt x="112" y="403"/>
                  </a:lnTo>
                  <a:lnTo>
                    <a:pt x="115" y="400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17" y="398"/>
                  </a:lnTo>
                  <a:lnTo>
                    <a:pt x="117" y="398"/>
                  </a:lnTo>
                  <a:lnTo>
                    <a:pt x="118" y="397"/>
                  </a:lnTo>
                  <a:lnTo>
                    <a:pt x="118" y="397"/>
                  </a:lnTo>
                  <a:lnTo>
                    <a:pt x="118" y="396"/>
                  </a:lnTo>
                  <a:lnTo>
                    <a:pt x="118" y="395"/>
                  </a:lnTo>
                  <a:lnTo>
                    <a:pt x="117" y="395"/>
                  </a:lnTo>
                  <a:lnTo>
                    <a:pt x="117" y="394"/>
                  </a:lnTo>
                  <a:lnTo>
                    <a:pt x="116" y="394"/>
                  </a:lnTo>
                  <a:lnTo>
                    <a:pt x="116" y="393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3" y="392"/>
                  </a:lnTo>
                  <a:lnTo>
                    <a:pt x="113" y="391"/>
                  </a:lnTo>
                  <a:lnTo>
                    <a:pt x="113" y="390"/>
                  </a:lnTo>
                  <a:lnTo>
                    <a:pt x="114" y="388"/>
                  </a:lnTo>
                  <a:lnTo>
                    <a:pt x="114" y="387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5" y="384"/>
                  </a:lnTo>
                  <a:lnTo>
                    <a:pt x="115" y="383"/>
                  </a:lnTo>
                  <a:lnTo>
                    <a:pt x="115" y="380"/>
                  </a:lnTo>
                  <a:lnTo>
                    <a:pt x="115" y="379"/>
                  </a:lnTo>
                  <a:lnTo>
                    <a:pt x="115" y="378"/>
                  </a:lnTo>
                  <a:lnTo>
                    <a:pt x="115" y="377"/>
                  </a:lnTo>
                  <a:lnTo>
                    <a:pt x="115" y="376"/>
                  </a:lnTo>
                  <a:lnTo>
                    <a:pt x="115" y="376"/>
                  </a:lnTo>
                  <a:lnTo>
                    <a:pt x="116" y="373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7" y="369"/>
                  </a:lnTo>
                  <a:lnTo>
                    <a:pt x="117" y="368"/>
                  </a:lnTo>
                  <a:lnTo>
                    <a:pt x="117" y="367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7" y="361"/>
                  </a:lnTo>
                  <a:lnTo>
                    <a:pt x="118" y="356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9" y="351"/>
                  </a:lnTo>
                  <a:lnTo>
                    <a:pt x="120" y="349"/>
                  </a:lnTo>
                  <a:lnTo>
                    <a:pt x="120" y="348"/>
                  </a:lnTo>
                  <a:lnTo>
                    <a:pt x="121" y="347"/>
                  </a:lnTo>
                  <a:lnTo>
                    <a:pt x="121" y="346"/>
                  </a:lnTo>
                  <a:lnTo>
                    <a:pt x="122" y="346"/>
                  </a:lnTo>
                  <a:lnTo>
                    <a:pt x="122" y="345"/>
                  </a:lnTo>
                  <a:lnTo>
                    <a:pt x="124" y="344"/>
                  </a:lnTo>
                  <a:lnTo>
                    <a:pt x="124" y="343"/>
                  </a:lnTo>
                  <a:lnTo>
                    <a:pt x="125" y="343"/>
                  </a:lnTo>
                  <a:lnTo>
                    <a:pt x="125" y="342"/>
                  </a:lnTo>
                  <a:lnTo>
                    <a:pt x="125" y="341"/>
                  </a:lnTo>
                  <a:lnTo>
                    <a:pt x="125" y="341"/>
                  </a:lnTo>
                  <a:lnTo>
                    <a:pt x="125" y="340"/>
                  </a:lnTo>
                  <a:lnTo>
                    <a:pt x="125" y="339"/>
                  </a:lnTo>
                  <a:lnTo>
                    <a:pt x="125" y="335"/>
                  </a:lnTo>
                  <a:lnTo>
                    <a:pt x="125" y="333"/>
                  </a:lnTo>
                  <a:lnTo>
                    <a:pt x="125" y="329"/>
                  </a:lnTo>
                  <a:lnTo>
                    <a:pt x="124" y="326"/>
                  </a:lnTo>
                  <a:lnTo>
                    <a:pt x="124" y="324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8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7"/>
                  </a:lnTo>
                  <a:lnTo>
                    <a:pt x="122" y="317"/>
                  </a:lnTo>
                  <a:lnTo>
                    <a:pt x="116" y="313"/>
                  </a:lnTo>
                  <a:lnTo>
                    <a:pt x="113" y="312"/>
                  </a:lnTo>
                  <a:lnTo>
                    <a:pt x="112" y="311"/>
                  </a:lnTo>
                  <a:lnTo>
                    <a:pt x="110" y="311"/>
                  </a:lnTo>
                  <a:lnTo>
                    <a:pt x="107" y="310"/>
                  </a:lnTo>
                  <a:lnTo>
                    <a:pt x="104" y="309"/>
                  </a:lnTo>
                  <a:lnTo>
                    <a:pt x="104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2" y="308"/>
                  </a:lnTo>
                  <a:lnTo>
                    <a:pt x="102" y="307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1" y="303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0" y="301"/>
                  </a:lnTo>
                  <a:lnTo>
                    <a:pt x="100" y="301"/>
                  </a:lnTo>
                  <a:lnTo>
                    <a:pt x="99" y="300"/>
                  </a:lnTo>
                  <a:lnTo>
                    <a:pt x="98" y="300"/>
                  </a:lnTo>
                  <a:lnTo>
                    <a:pt x="98" y="299"/>
                  </a:lnTo>
                  <a:lnTo>
                    <a:pt x="97" y="299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2" y="298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6"/>
                  </a:lnTo>
                  <a:lnTo>
                    <a:pt x="85" y="294"/>
                  </a:lnTo>
                  <a:lnTo>
                    <a:pt x="83" y="292"/>
                  </a:lnTo>
                  <a:lnTo>
                    <a:pt x="82" y="291"/>
                  </a:lnTo>
                  <a:lnTo>
                    <a:pt x="80" y="289"/>
                  </a:lnTo>
                  <a:lnTo>
                    <a:pt x="78" y="286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0" y="283"/>
                  </a:lnTo>
                  <a:lnTo>
                    <a:pt x="69" y="283"/>
                  </a:lnTo>
                  <a:lnTo>
                    <a:pt x="68" y="283"/>
                  </a:lnTo>
                  <a:lnTo>
                    <a:pt x="65" y="284"/>
                  </a:lnTo>
                  <a:lnTo>
                    <a:pt x="64" y="284"/>
                  </a:lnTo>
                  <a:lnTo>
                    <a:pt x="63" y="285"/>
                  </a:lnTo>
                  <a:lnTo>
                    <a:pt x="61" y="285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7" y="285"/>
                  </a:lnTo>
                  <a:lnTo>
                    <a:pt x="56" y="285"/>
                  </a:lnTo>
                  <a:lnTo>
                    <a:pt x="55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1" y="284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48" y="282"/>
                  </a:lnTo>
                  <a:lnTo>
                    <a:pt x="47" y="281"/>
                  </a:lnTo>
                  <a:lnTo>
                    <a:pt x="44" y="279"/>
                  </a:lnTo>
                  <a:lnTo>
                    <a:pt x="42" y="277"/>
                  </a:lnTo>
                  <a:lnTo>
                    <a:pt x="40" y="276"/>
                  </a:lnTo>
                  <a:lnTo>
                    <a:pt x="37" y="275"/>
                  </a:lnTo>
                  <a:lnTo>
                    <a:pt x="36" y="274"/>
                  </a:lnTo>
                  <a:lnTo>
                    <a:pt x="35" y="273"/>
                  </a:lnTo>
                  <a:lnTo>
                    <a:pt x="34" y="273"/>
                  </a:lnTo>
                  <a:lnTo>
                    <a:pt x="33" y="272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2" y="271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6" y="267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5" y="265"/>
                  </a:lnTo>
                  <a:lnTo>
                    <a:pt x="34" y="264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0" y="263"/>
                  </a:lnTo>
                  <a:lnTo>
                    <a:pt x="19" y="263"/>
                  </a:lnTo>
                  <a:lnTo>
                    <a:pt x="17" y="263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4" y="264"/>
                  </a:lnTo>
                  <a:lnTo>
                    <a:pt x="12" y="264"/>
                  </a:lnTo>
                  <a:lnTo>
                    <a:pt x="10" y="265"/>
                  </a:lnTo>
                  <a:lnTo>
                    <a:pt x="9" y="266"/>
                  </a:lnTo>
                  <a:lnTo>
                    <a:pt x="8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5"/>
                  </a:lnTo>
                  <a:lnTo>
                    <a:pt x="2" y="265"/>
                  </a:lnTo>
                  <a:lnTo>
                    <a:pt x="1" y="265"/>
                  </a:lnTo>
                  <a:lnTo>
                    <a:pt x="1" y="265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1" y="260"/>
                  </a:lnTo>
                  <a:lnTo>
                    <a:pt x="1" y="259"/>
                  </a:lnTo>
                  <a:lnTo>
                    <a:pt x="2" y="257"/>
                  </a:lnTo>
                  <a:lnTo>
                    <a:pt x="3" y="255"/>
                  </a:lnTo>
                  <a:lnTo>
                    <a:pt x="4" y="254"/>
                  </a:lnTo>
                  <a:lnTo>
                    <a:pt x="5" y="252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0"/>
                  </a:lnTo>
                  <a:lnTo>
                    <a:pt x="6" y="249"/>
                  </a:lnTo>
                  <a:lnTo>
                    <a:pt x="6" y="248"/>
                  </a:lnTo>
                  <a:lnTo>
                    <a:pt x="6" y="247"/>
                  </a:lnTo>
                  <a:lnTo>
                    <a:pt x="6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4" y="243"/>
                  </a:lnTo>
                  <a:lnTo>
                    <a:pt x="3" y="242"/>
                  </a:lnTo>
                  <a:lnTo>
                    <a:pt x="2" y="241"/>
                  </a:lnTo>
                  <a:lnTo>
                    <a:pt x="2" y="240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8"/>
                  </a:lnTo>
                  <a:lnTo>
                    <a:pt x="2" y="237"/>
                  </a:lnTo>
                  <a:lnTo>
                    <a:pt x="3" y="237"/>
                  </a:lnTo>
                  <a:lnTo>
                    <a:pt x="4" y="236"/>
                  </a:lnTo>
                  <a:lnTo>
                    <a:pt x="5" y="235"/>
                  </a:lnTo>
                  <a:lnTo>
                    <a:pt x="6" y="234"/>
                  </a:lnTo>
                  <a:lnTo>
                    <a:pt x="7" y="233"/>
                  </a:lnTo>
                  <a:lnTo>
                    <a:pt x="8" y="233"/>
                  </a:lnTo>
                  <a:lnTo>
                    <a:pt x="9" y="232"/>
                  </a:lnTo>
                  <a:lnTo>
                    <a:pt x="10" y="232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3" y="231"/>
                  </a:lnTo>
                  <a:lnTo>
                    <a:pt x="14" y="231"/>
                  </a:lnTo>
                  <a:lnTo>
                    <a:pt x="15" y="231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7" y="231"/>
                  </a:lnTo>
                  <a:lnTo>
                    <a:pt x="17" y="230"/>
                  </a:lnTo>
                  <a:lnTo>
                    <a:pt x="18" y="230"/>
                  </a:lnTo>
                  <a:lnTo>
                    <a:pt x="19" y="228"/>
                  </a:lnTo>
                  <a:lnTo>
                    <a:pt x="19" y="227"/>
                  </a:lnTo>
                  <a:lnTo>
                    <a:pt x="20" y="226"/>
                  </a:lnTo>
                  <a:lnTo>
                    <a:pt x="21" y="224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2" y="223"/>
                  </a:lnTo>
                  <a:lnTo>
                    <a:pt x="22" y="222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6"/>
                  </a:lnTo>
                  <a:lnTo>
                    <a:pt x="26" y="215"/>
                  </a:lnTo>
                  <a:lnTo>
                    <a:pt x="26" y="215"/>
                  </a:lnTo>
                  <a:lnTo>
                    <a:pt x="26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6"/>
                  </a:lnTo>
                  <a:lnTo>
                    <a:pt x="29" y="206"/>
                  </a:lnTo>
                  <a:lnTo>
                    <a:pt x="29" y="205"/>
                  </a:lnTo>
                  <a:lnTo>
                    <a:pt x="31" y="203"/>
                  </a:lnTo>
                  <a:lnTo>
                    <a:pt x="33" y="202"/>
                  </a:lnTo>
                  <a:lnTo>
                    <a:pt x="34" y="201"/>
                  </a:lnTo>
                  <a:lnTo>
                    <a:pt x="36" y="200"/>
                  </a:lnTo>
                  <a:lnTo>
                    <a:pt x="36" y="199"/>
                  </a:lnTo>
                  <a:lnTo>
                    <a:pt x="38" y="198"/>
                  </a:lnTo>
                  <a:lnTo>
                    <a:pt x="40" y="197"/>
                  </a:lnTo>
                  <a:lnTo>
                    <a:pt x="41" y="196"/>
                  </a:lnTo>
                  <a:lnTo>
                    <a:pt x="42" y="195"/>
                  </a:lnTo>
                  <a:lnTo>
                    <a:pt x="43" y="195"/>
                  </a:lnTo>
                  <a:lnTo>
                    <a:pt x="44" y="194"/>
                  </a:lnTo>
                  <a:lnTo>
                    <a:pt x="45" y="194"/>
                  </a:lnTo>
                  <a:lnTo>
                    <a:pt x="47" y="194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51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4"/>
                  </a:lnTo>
                  <a:lnTo>
                    <a:pt x="57" y="193"/>
                  </a:lnTo>
                  <a:lnTo>
                    <a:pt x="59" y="193"/>
                  </a:lnTo>
                  <a:lnTo>
                    <a:pt x="60" y="192"/>
                  </a:lnTo>
                  <a:lnTo>
                    <a:pt x="61" y="192"/>
                  </a:lnTo>
                  <a:lnTo>
                    <a:pt x="62" y="191"/>
                  </a:lnTo>
                  <a:lnTo>
                    <a:pt x="63" y="190"/>
                  </a:lnTo>
                  <a:lnTo>
                    <a:pt x="64" y="190"/>
                  </a:lnTo>
                  <a:lnTo>
                    <a:pt x="65" y="188"/>
                  </a:lnTo>
                  <a:lnTo>
                    <a:pt x="66" y="18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9" y="184"/>
                  </a:lnTo>
                  <a:lnTo>
                    <a:pt x="72" y="182"/>
                  </a:lnTo>
                  <a:lnTo>
                    <a:pt x="76" y="178"/>
                  </a:lnTo>
                  <a:lnTo>
                    <a:pt x="77" y="177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2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4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7" y="178"/>
                  </a:lnTo>
                  <a:lnTo>
                    <a:pt x="99" y="178"/>
                  </a:lnTo>
                  <a:lnTo>
                    <a:pt x="100" y="178"/>
                  </a:lnTo>
                  <a:lnTo>
                    <a:pt x="101" y="178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1" y="173"/>
                  </a:lnTo>
                  <a:lnTo>
                    <a:pt x="111" y="173"/>
                  </a:lnTo>
                  <a:lnTo>
                    <a:pt x="113" y="172"/>
                  </a:lnTo>
                  <a:lnTo>
                    <a:pt x="113" y="171"/>
                  </a:lnTo>
                  <a:lnTo>
                    <a:pt x="115" y="170"/>
                  </a:lnTo>
                  <a:lnTo>
                    <a:pt x="118" y="167"/>
                  </a:lnTo>
                  <a:lnTo>
                    <a:pt x="119" y="166"/>
                  </a:lnTo>
                  <a:lnTo>
                    <a:pt x="120" y="165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3"/>
                  </a:lnTo>
                  <a:lnTo>
                    <a:pt x="123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7" y="164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69"/>
                  </a:lnTo>
                  <a:lnTo>
                    <a:pt x="136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8" y="167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2" y="162"/>
                  </a:lnTo>
                  <a:lnTo>
                    <a:pt x="143" y="161"/>
                  </a:lnTo>
                  <a:lnTo>
                    <a:pt x="144" y="161"/>
                  </a:lnTo>
                  <a:lnTo>
                    <a:pt x="145" y="160"/>
                  </a:lnTo>
                  <a:lnTo>
                    <a:pt x="146" y="159"/>
                  </a:lnTo>
                  <a:lnTo>
                    <a:pt x="147" y="159"/>
                  </a:lnTo>
                  <a:lnTo>
                    <a:pt x="147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1" y="157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6"/>
                  </a:lnTo>
                  <a:lnTo>
                    <a:pt x="157" y="155"/>
                  </a:lnTo>
                  <a:lnTo>
                    <a:pt x="158" y="154"/>
                  </a:lnTo>
                  <a:lnTo>
                    <a:pt x="160" y="153"/>
                  </a:lnTo>
                  <a:lnTo>
                    <a:pt x="160" y="153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4" y="150"/>
                  </a:lnTo>
                  <a:lnTo>
                    <a:pt x="164" y="149"/>
                  </a:lnTo>
                  <a:lnTo>
                    <a:pt x="165" y="148"/>
                  </a:lnTo>
                  <a:lnTo>
                    <a:pt x="165" y="147"/>
                  </a:lnTo>
                  <a:lnTo>
                    <a:pt x="166" y="146"/>
                  </a:lnTo>
                  <a:lnTo>
                    <a:pt x="166" y="145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68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4" y="143"/>
                  </a:lnTo>
                  <a:lnTo>
                    <a:pt x="174" y="142"/>
                  </a:lnTo>
                  <a:lnTo>
                    <a:pt x="175" y="142"/>
                  </a:lnTo>
                  <a:lnTo>
                    <a:pt x="175" y="142"/>
                  </a:lnTo>
                  <a:lnTo>
                    <a:pt x="175" y="141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39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6" y="134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1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7" y="129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9" y="127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4" y="125"/>
                  </a:lnTo>
                  <a:lnTo>
                    <a:pt x="185" y="125"/>
                  </a:lnTo>
                  <a:lnTo>
                    <a:pt x="186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4" y="126"/>
                  </a:lnTo>
                  <a:lnTo>
                    <a:pt x="198" y="127"/>
                  </a:lnTo>
                  <a:lnTo>
                    <a:pt x="202" y="128"/>
                  </a:lnTo>
                  <a:lnTo>
                    <a:pt x="205" y="129"/>
                  </a:lnTo>
                  <a:lnTo>
                    <a:pt x="207" y="129"/>
                  </a:lnTo>
                  <a:lnTo>
                    <a:pt x="209" y="129"/>
                  </a:lnTo>
                  <a:lnTo>
                    <a:pt x="215" y="130"/>
                  </a:lnTo>
                  <a:lnTo>
                    <a:pt x="217" y="130"/>
                  </a:lnTo>
                  <a:lnTo>
                    <a:pt x="219" y="130"/>
                  </a:lnTo>
                  <a:lnTo>
                    <a:pt x="222" y="130"/>
                  </a:lnTo>
                  <a:lnTo>
                    <a:pt x="224" y="130"/>
                  </a:lnTo>
                  <a:lnTo>
                    <a:pt x="226" y="130"/>
                  </a:lnTo>
                  <a:lnTo>
                    <a:pt x="228" y="129"/>
                  </a:lnTo>
                  <a:lnTo>
                    <a:pt x="230" y="129"/>
                  </a:lnTo>
                  <a:lnTo>
                    <a:pt x="232" y="129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5" y="127"/>
                  </a:lnTo>
                  <a:lnTo>
                    <a:pt x="236" y="127"/>
                  </a:lnTo>
                  <a:lnTo>
                    <a:pt x="236" y="127"/>
                  </a:lnTo>
                  <a:lnTo>
                    <a:pt x="237" y="127"/>
                  </a:lnTo>
                  <a:lnTo>
                    <a:pt x="239" y="128"/>
                  </a:lnTo>
                  <a:lnTo>
                    <a:pt x="241" y="128"/>
                  </a:lnTo>
                  <a:lnTo>
                    <a:pt x="245" y="129"/>
                  </a:lnTo>
                  <a:lnTo>
                    <a:pt x="248" y="130"/>
                  </a:lnTo>
                  <a:lnTo>
                    <a:pt x="250" y="130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6" y="128"/>
                  </a:lnTo>
                  <a:lnTo>
                    <a:pt x="257" y="127"/>
                  </a:lnTo>
                  <a:lnTo>
                    <a:pt x="259" y="125"/>
                  </a:lnTo>
                  <a:lnTo>
                    <a:pt x="260" y="124"/>
                  </a:lnTo>
                  <a:lnTo>
                    <a:pt x="260" y="124"/>
                  </a:lnTo>
                  <a:lnTo>
                    <a:pt x="261" y="124"/>
                  </a:lnTo>
                  <a:lnTo>
                    <a:pt x="262" y="123"/>
                  </a:lnTo>
                  <a:lnTo>
                    <a:pt x="263" y="123"/>
                  </a:lnTo>
                  <a:lnTo>
                    <a:pt x="264" y="123"/>
                  </a:lnTo>
                  <a:lnTo>
                    <a:pt x="270" y="122"/>
                  </a:lnTo>
                  <a:lnTo>
                    <a:pt x="272" y="121"/>
                  </a:lnTo>
                  <a:lnTo>
                    <a:pt x="276" y="121"/>
                  </a:lnTo>
                  <a:lnTo>
                    <a:pt x="277" y="121"/>
                  </a:lnTo>
                  <a:lnTo>
                    <a:pt x="279" y="121"/>
                  </a:lnTo>
                  <a:lnTo>
                    <a:pt x="280" y="121"/>
                  </a:lnTo>
                  <a:lnTo>
                    <a:pt x="282" y="122"/>
                  </a:lnTo>
                  <a:lnTo>
                    <a:pt x="284" y="122"/>
                  </a:lnTo>
                  <a:lnTo>
                    <a:pt x="284" y="122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0"/>
                  </a:lnTo>
                  <a:lnTo>
                    <a:pt x="288" y="120"/>
                  </a:lnTo>
                  <a:lnTo>
                    <a:pt x="288" y="119"/>
                  </a:lnTo>
                  <a:lnTo>
                    <a:pt x="289" y="118"/>
                  </a:lnTo>
                  <a:lnTo>
                    <a:pt x="289" y="117"/>
                  </a:lnTo>
                  <a:lnTo>
                    <a:pt x="289" y="116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91" y="109"/>
                  </a:lnTo>
                  <a:lnTo>
                    <a:pt x="291" y="108"/>
                  </a:lnTo>
                  <a:lnTo>
                    <a:pt x="291" y="106"/>
                  </a:lnTo>
                  <a:lnTo>
                    <a:pt x="291" y="105"/>
                  </a:lnTo>
                  <a:lnTo>
                    <a:pt x="291" y="104"/>
                  </a:lnTo>
                  <a:lnTo>
                    <a:pt x="291" y="103"/>
                  </a:lnTo>
                  <a:lnTo>
                    <a:pt x="290" y="102"/>
                  </a:lnTo>
                  <a:lnTo>
                    <a:pt x="290" y="99"/>
                  </a:lnTo>
                  <a:lnTo>
                    <a:pt x="289" y="98"/>
                  </a:lnTo>
                  <a:lnTo>
                    <a:pt x="289" y="97"/>
                  </a:lnTo>
                  <a:lnTo>
                    <a:pt x="289" y="96"/>
                  </a:lnTo>
                  <a:lnTo>
                    <a:pt x="289" y="95"/>
                  </a:lnTo>
                  <a:lnTo>
                    <a:pt x="289" y="94"/>
                  </a:lnTo>
                  <a:lnTo>
                    <a:pt x="289" y="93"/>
                  </a:lnTo>
                  <a:lnTo>
                    <a:pt x="289" y="91"/>
                  </a:lnTo>
                  <a:lnTo>
                    <a:pt x="289" y="89"/>
                  </a:lnTo>
                  <a:lnTo>
                    <a:pt x="289" y="88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90" y="86"/>
                  </a:lnTo>
                  <a:lnTo>
                    <a:pt x="291" y="86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7" y="88"/>
                  </a:lnTo>
                  <a:lnTo>
                    <a:pt x="298" y="88"/>
                  </a:lnTo>
                  <a:lnTo>
                    <a:pt x="299" y="88"/>
                  </a:lnTo>
                  <a:lnTo>
                    <a:pt x="300" y="88"/>
                  </a:lnTo>
                  <a:lnTo>
                    <a:pt x="301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3" y="88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3" y="86"/>
                  </a:lnTo>
                  <a:lnTo>
                    <a:pt x="303" y="85"/>
                  </a:lnTo>
                  <a:lnTo>
                    <a:pt x="305" y="83"/>
                  </a:lnTo>
                  <a:lnTo>
                    <a:pt x="306" y="80"/>
                  </a:lnTo>
                  <a:lnTo>
                    <a:pt x="306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8" y="78"/>
                  </a:lnTo>
                  <a:lnTo>
                    <a:pt x="311" y="78"/>
                  </a:lnTo>
                  <a:lnTo>
                    <a:pt x="314" y="77"/>
                  </a:lnTo>
                  <a:lnTo>
                    <a:pt x="316" y="76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7" y="75"/>
                  </a:lnTo>
                  <a:lnTo>
                    <a:pt x="318" y="75"/>
                  </a:lnTo>
                  <a:lnTo>
                    <a:pt x="318" y="75"/>
                  </a:lnTo>
                  <a:lnTo>
                    <a:pt x="318" y="74"/>
                  </a:lnTo>
                  <a:lnTo>
                    <a:pt x="319" y="74"/>
                  </a:lnTo>
                  <a:lnTo>
                    <a:pt x="319" y="73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1"/>
                  </a:lnTo>
                  <a:lnTo>
                    <a:pt x="319" y="70"/>
                  </a:lnTo>
                  <a:lnTo>
                    <a:pt x="319" y="67"/>
                  </a:lnTo>
                  <a:lnTo>
                    <a:pt x="319" y="66"/>
                  </a:lnTo>
                  <a:lnTo>
                    <a:pt x="319" y="64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8" y="58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19" y="55"/>
                  </a:lnTo>
                  <a:lnTo>
                    <a:pt x="319" y="54"/>
                  </a:lnTo>
                  <a:lnTo>
                    <a:pt x="320" y="53"/>
                  </a:lnTo>
                  <a:lnTo>
                    <a:pt x="321" y="53"/>
                  </a:lnTo>
                  <a:lnTo>
                    <a:pt x="321" y="52"/>
                  </a:lnTo>
                  <a:lnTo>
                    <a:pt x="322" y="52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5" y="53"/>
                  </a:lnTo>
                  <a:lnTo>
                    <a:pt x="325" y="53"/>
                  </a:lnTo>
                  <a:lnTo>
                    <a:pt x="326" y="53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7" y="54"/>
                  </a:lnTo>
                  <a:lnTo>
                    <a:pt x="328" y="54"/>
                  </a:lnTo>
                  <a:lnTo>
                    <a:pt x="328" y="53"/>
                  </a:lnTo>
                  <a:lnTo>
                    <a:pt x="329" y="53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2" y="51"/>
                  </a:lnTo>
                  <a:lnTo>
                    <a:pt x="333" y="51"/>
                  </a:lnTo>
                  <a:lnTo>
                    <a:pt x="334" y="51"/>
                  </a:lnTo>
                  <a:lnTo>
                    <a:pt x="335" y="51"/>
                  </a:lnTo>
                  <a:lnTo>
                    <a:pt x="335" y="52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0" y="53"/>
                  </a:lnTo>
                  <a:lnTo>
                    <a:pt x="340" y="53"/>
                  </a:lnTo>
                  <a:lnTo>
                    <a:pt x="341" y="53"/>
                  </a:lnTo>
                  <a:lnTo>
                    <a:pt x="341" y="53"/>
                  </a:lnTo>
                  <a:lnTo>
                    <a:pt x="342" y="53"/>
                  </a:lnTo>
                  <a:lnTo>
                    <a:pt x="343" y="53"/>
                  </a:lnTo>
                  <a:lnTo>
                    <a:pt x="344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7" y="51"/>
                  </a:lnTo>
                  <a:lnTo>
                    <a:pt x="348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49" y="51"/>
                  </a:lnTo>
                  <a:lnTo>
                    <a:pt x="350" y="51"/>
                  </a:lnTo>
                  <a:lnTo>
                    <a:pt x="350" y="52"/>
                  </a:lnTo>
                  <a:lnTo>
                    <a:pt x="350" y="52"/>
                  </a:lnTo>
                  <a:lnTo>
                    <a:pt x="350" y="53"/>
                  </a:lnTo>
                  <a:lnTo>
                    <a:pt x="351" y="54"/>
                  </a:lnTo>
                  <a:lnTo>
                    <a:pt x="351" y="55"/>
                  </a:lnTo>
                  <a:lnTo>
                    <a:pt x="352" y="57"/>
                  </a:lnTo>
                  <a:lnTo>
                    <a:pt x="352" y="59"/>
                  </a:lnTo>
                  <a:lnTo>
                    <a:pt x="352" y="60"/>
                  </a:lnTo>
                  <a:lnTo>
                    <a:pt x="353" y="61"/>
                  </a:lnTo>
                  <a:lnTo>
                    <a:pt x="353" y="62"/>
                  </a:lnTo>
                  <a:lnTo>
                    <a:pt x="353" y="62"/>
                  </a:lnTo>
                  <a:lnTo>
                    <a:pt x="354" y="63"/>
                  </a:lnTo>
                  <a:lnTo>
                    <a:pt x="354" y="63"/>
                  </a:lnTo>
                  <a:lnTo>
                    <a:pt x="355" y="64"/>
                  </a:lnTo>
                  <a:lnTo>
                    <a:pt x="355" y="64"/>
                  </a:lnTo>
                  <a:lnTo>
                    <a:pt x="356" y="64"/>
                  </a:lnTo>
                  <a:lnTo>
                    <a:pt x="356" y="65"/>
                  </a:lnTo>
                  <a:lnTo>
                    <a:pt x="357" y="65"/>
                  </a:lnTo>
                  <a:lnTo>
                    <a:pt x="358" y="65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7" y="63"/>
                  </a:lnTo>
                  <a:lnTo>
                    <a:pt x="368" y="62"/>
                  </a:lnTo>
                  <a:lnTo>
                    <a:pt x="369" y="62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81" y="61"/>
                  </a:lnTo>
                  <a:lnTo>
                    <a:pt x="382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6" y="58"/>
                  </a:lnTo>
                  <a:lnTo>
                    <a:pt x="389" y="56"/>
                  </a:lnTo>
                  <a:lnTo>
                    <a:pt x="391" y="55"/>
                  </a:lnTo>
                  <a:lnTo>
                    <a:pt x="391" y="54"/>
                  </a:lnTo>
                  <a:lnTo>
                    <a:pt x="392" y="53"/>
                  </a:lnTo>
                  <a:lnTo>
                    <a:pt x="393" y="52"/>
                  </a:lnTo>
                  <a:lnTo>
                    <a:pt x="395" y="49"/>
                  </a:lnTo>
                  <a:lnTo>
                    <a:pt x="395" y="49"/>
                  </a:lnTo>
                  <a:lnTo>
                    <a:pt x="396" y="48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9" y="46"/>
                  </a:lnTo>
                  <a:lnTo>
                    <a:pt x="400" y="45"/>
                  </a:lnTo>
                  <a:lnTo>
                    <a:pt x="400" y="44"/>
                  </a:lnTo>
                  <a:lnTo>
                    <a:pt x="401" y="44"/>
                  </a:lnTo>
                  <a:lnTo>
                    <a:pt x="401" y="43"/>
                  </a:lnTo>
                  <a:lnTo>
                    <a:pt x="402" y="42"/>
                  </a:lnTo>
                  <a:lnTo>
                    <a:pt x="402" y="41"/>
                  </a:lnTo>
                  <a:lnTo>
                    <a:pt x="402" y="40"/>
                  </a:lnTo>
                  <a:lnTo>
                    <a:pt x="403" y="39"/>
                  </a:lnTo>
                  <a:lnTo>
                    <a:pt x="403" y="35"/>
                  </a:lnTo>
                  <a:lnTo>
                    <a:pt x="403" y="34"/>
                  </a:lnTo>
                  <a:lnTo>
                    <a:pt x="403" y="33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1"/>
                  </a:lnTo>
                  <a:lnTo>
                    <a:pt x="406" y="31"/>
                  </a:lnTo>
                  <a:lnTo>
                    <a:pt x="407" y="30"/>
                  </a:lnTo>
                  <a:lnTo>
                    <a:pt x="407" y="30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1" y="30"/>
                  </a:lnTo>
                  <a:lnTo>
                    <a:pt x="413" y="31"/>
                  </a:lnTo>
                  <a:lnTo>
                    <a:pt x="415" y="31"/>
                  </a:lnTo>
                  <a:lnTo>
                    <a:pt x="417" y="32"/>
                  </a:lnTo>
                  <a:lnTo>
                    <a:pt x="420" y="33"/>
                  </a:lnTo>
                  <a:lnTo>
                    <a:pt x="422" y="33"/>
                  </a:lnTo>
                  <a:lnTo>
                    <a:pt x="423" y="33"/>
                  </a:lnTo>
                  <a:lnTo>
                    <a:pt x="423" y="33"/>
                  </a:lnTo>
                  <a:lnTo>
                    <a:pt x="424" y="33"/>
                  </a:lnTo>
                  <a:lnTo>
                    <a:pt x="425" y="33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29" y="31"/>
                  </a:lnTo>
                  <a:lnTo>
                    <a:pt x="430" y="31"/>
                  </a:lnTo>
                  <a:lnTo>
                    <a:pt x="430" y="30"/>
                  </a:lnTo>
                  <a:lnTo>
                    <a:pt x="431" y="29"/>
                  </a:lnTo>
                  <a:lnTo>
                    <a:pt x="431" y="29"/>
                  </a:lnTo>
                  <a:lnTo>
                    <a:pt x="432" y="28"/>
                  </a:lnTo>
                  <a:lnTo>
                    <a:pt x="432" y="28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3" y="24"/>
                  </a:lnTo>
                  <a:lnTo>
                    <a:pt x="433" y="23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4" y="22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7" y="20"/>
                  </a:lnTo>
                  <a:lnTo>
                    <a:pt x="437" y="19"/>
                  </a:lnTo>
                  <a:lnTo>
                    <a:pt x="439" y="18"/>
                  </a:lnTo>
                  <a:lnTo>
                    <a:pt x="443" y="16"/>
                  </a:lnTo>
                  <a:lnTo>
                    <a:pt x="444" y="16"/>
                  </a:lnTo>
                  <a:lnTo>
                    <a:pt x="445" y="15"/>
                  </a:lnTo>
                  <a:lnTo>
                    <a:pt x="445" y="15"/>
                  </a:lnTo>
                  <a:lnTo>
                    <a:pt x="446" y="14"/>
                  </a:lnTo>
                  <a:lnTo>
                    <a:pt x="446" y="14"/>
                  </a:lnTo>
                  <a:lnTo>
                    <a:pt x="447" y="13"/>
                  </a:lnTo>
                  <a:lnTo>
                    <a:pt x="447" y="12"/>
                  </a:lnTo>
                  <a:lnTo>
                    <a:pt x="447" y="11"/>
                  </a:lnTo>
                  <a:lnTo>
                    <a:pt x="447" y="9"/>
                  </a:lnTo>
                  <a:lnTo>
                    <a:pt x="447" y="8"/>
                  </a:lnTo>
                  <a:lnTo>
                    <a:pt x="448" y="6"/>
                  </a:lnTo>
                  <a:lnTo>
                    <a:pt x="449" y="4"/>
                  </a:lnTo>
                  <a:lnTo>
                    <a:pt x="450" y="3"/>
                  </a:lnTo>
                  <a:lnTo>
                    <a:pt x="45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1" y="0"/>
                  </a:lnTo>
                  <a:lnTo>
                    <a:pt x="451" y="0"/>
                  </a:lnTo>
                  <a:close/>
                  <a:moveTo>
                    <a:pt x="335" y="203"/>
                  </a:moveTo>
                  <a:lnTo>
                    <a:pt x="335" y="204"/>
                  </a:lnTo>
                  <a:lnTo>
                    <a:pt x="334" y="204"/>
                  </a:lnTo>
                  <a:lnTo>
                    <a:pt x="332" y="204"/>
                  </a:lnTo>
                  <a:lnTo>
                    <a:pt x="327" y="205"/>
                  </a:lnTo>
                  <a:lnTo>
                    <a:pt x="325" y="206"/>
                  </a:lnTo>
                  <a:lnTo>
                    <a:pt x="323" y="206"/>
                  </a:lnTo>
                  <a:lnTo>
                    <a:pt x="321" y="207"/>
                  </a:lnTo>
                  <a:lnTo>
                    <a:pt x="319" y="208"/>
                  </a:lnTo>
                  <a:lnTo>
                    <a:pt x="318" y="208"/>
                  </a:lnTo>
                  <a:lnTo>
                    <a:pt x="315" y="210"/>
                  </a:lnTo>
                  <a:lnTo>
                    <a:pt x="314" y="211"/>
                  </a:lnTo>
                  <a:lnTo>
                    <a:pt x="312" y="212"/>
                  </a:lnTo>
                  <a:lnTo>
                    <a:pt x="309" y="212"/>
                  </a:lnTo>
                  <a:lnTo>
                    <a:pt x="307" y="213"/>
                  </a:lnTo>
                  <a:lnTo>
                    <a:pt x="306" y="213"/>
                  </a:lnTo>
                  <a:lnTo>
                    <a:pt x="302" y="215"/>
                  </a:lnTo>
                  <a:lnTo>
                    <a:pt x="301" y="216"/>
                  </a:lnTo>
                  <a:lnTo>
                    <a:pt x="300" y="217"/>
                  </a:lnTo>
                  <a:lnTo>
                    <a:pt x="297" y="217"/>
                  </a:lnTo>
                  <a:lnTo>
                    <a:pt x="296" y="217"/>
                  </a:lnTo>
                  <a:lnTo>
                    <a:pt x="295" y="218"/>
                  </a:lnTo>
                  <a:lnTo>
                    <a:pt x="292" y="218"/>
                  </a:lnTo>
                  <a:lnTo>
                    <a:pt x="291" y="218"/>
                  </a:lnTo>
                  <a:lnTo>
                    <a:pt x="289" y="218"/>
                  </a:lnTo>
                  <a:lnTo>
                    <a:pt x="289" y="219"/>
                  </a:lnTo>
                  <a:lnTo>
                    <a:pt x="288" y="219"/>
                  </a:lnTo>
                  <a:lnTo>
                    <a:pt x="287" y="219"/>
                  </a:lnTo>
                  <a:lnTo>
                    <a:pt x="287" y="220"/>
                  </a:lnTo>
                  <a:lnTo>
                    <a:pt x="286" y="220"/>
                  </a:lnTo>
                  <a:lnTo>
                    <a:pt x="286" y="221"/>
                  </a:lnTo>
                  <a:lnTo>
                    <a:pt x="285" y="222"/>
                  </a:lnTo>
                  <a:lnTo>
                    <a:pt x="285" y="223"/>
                  </a:lnTo>
                  <a:lnTo>
                    <a:pt x="285" y="224"/>
                  </a:lnTo>
                  <a:lnTo>
                    <a:pt x="284" y="226"/>
                  </a:lnTo>
                  <a:lnTo>
                    <a:pt x="284" y="227"/>
                  </a:lnTo>
                  <a:lnTo>
                    <a:pt x="283" y="228"/>
                  </a:lnTo>
                  <a:lnTo>
                    <a:pt x="283" y="229"/>
                  </a:lnTo>
                  <a:lnTo>
                    <a:pt x="283" y="229"/>
                  </a:lnTo>
                  <a:lnTo>
                    <a:pt x="282" y="229"/>
                  </a:lnTo>
                  <a:lnTo>
                    <a:pt x="282" y="230"/>
                  </a:lnTo>
                  <a:lnTo>
                    <a:pt x="281" y="230"/>
                  </a:lnTo>
                  <a:lnTo>
                    <a:pt x="279" y="230"/>
                  </a:lnTo>
                  <a:lnTo>
                    <a:pt x="278" y="230"/>
                  </a:lnTo>
                  <a:lnTo>
                    <a:pt x="276" y="230"/>
                  </a:lnTo>
                  <a:lnTo>
                    <a:pt x="275" y="230"/>
                  </a:lnTo>
                  <a:lnTo>
                    <a:pt x="275" y="229"/>
                  </a:lnTo>
                  <a:lnTo>
                    <a:pt x="274" y="229"/>
                  </a:lnTo>
                  <a:lnTo>
                    <a:pt x="272" y="228"/>
                  </a:lnTo>
                  <a:lnTo>
                    <a:pt x="271" y="228"/>
                  </a:lnTo>
                  <a:lnTo>
                    <a:pt x="271" y="227"/>
                  </a:lnTo>
                  <a:lnTo>
                    <a:pt x="270" y="227"/>
                  </a:lnTo>
                  <a:lnTo>
                    <a:pt x="269" y="227"/>
                  </a:lnTo>
                  <a:lnTo>
                    <a:pt x="269" y="227"/>
                  </a:lnTo>
                  <a:lnTo>
                    <a:pt x="268" y="227"/>
                  </a:lnTo>
                  <a:lnTo>
                    <a:pt x="268" y="227"/>
                  </a:lnTo>
                  <a:lnTo>
                    <a:pt x="267" y="228"/>
                  </a:lnTo>
                  <a:lnTo>
                    <a:pt x="264" y="229"/>
                  </a:lnTo>
                  <a:lnTo>
                    <a:pt x="263" y="230"/>
                  </a:lnTo>
                  <a:lnTo>
                    <a:pt x="262" y="230"/>
                  </a:lnTo>
                  <a:lnTo>
                    <a:pt x="259" y="231"/>
                  </a:lnTo>
                  <a:lnTo>
                    <a:pt x="257" y="231"/>
                  </a:lnTo>
                  <a:lnTo>
                    <a:pt x="254" y="232"/>
                  </a:lnTo>
                  <a:lnTo>
                    <a:pt x="252" y="233"/>
                  </a:lnTo>
                  <a:lnTo>
                    <a:pt x="251" y="234"/>
                  </a:lnTo>
                  <a:lnTo>
                    <a:pt x="250" y="234"/>
                  </a:lnTo>
                  <a:lnTo>
                    <a:pt x="249" y="235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7"/>
                  </a:lnTo>
                  <a:lnTo>
                    <a:pt x="249" y="237"/>
                  </a:lnTo>
                  <a:lnTo>
                    <a:pt x="249" y="237"/>
                  </a:lnTo>
                  <a:lnTo>
                    <a:pt x="251" y="238"/>
                  </a:lnTo>
                  <a:lnTo>
                    <a:pt x="252" y="238"/>
                  </a:lnTo>
                  <a:lnTo>
                    <a:pt x="253" y="239"/>
                  </a:lnTo>
                  <a:lnTo>
                    <a:pt x="253" y="240"/>
                  </a:lnTo>
                  <a:lnTo>
                    <a:pt x="255" y="241"/>
                  </a:lnTo>
                  <a:lnTo>
                    <a:pt x="257" y="243"/>
                  </a:lnTo>
                  <a:lnTo>
                    <a:pt x="259" y="246"/>
                  </a:lnTo>
                  <a:lnTo>
                    <a:pt x="260" y="247"/>
                  </a:lnTo>
                  <a:lnTo>
                    <a:pt x="261" y="247"/>
                  </a:lnTo>
                  <a:lnTo>
                    <a:pt x="261" y="248"/>
                  </a:lnTo>
                  <a:lnTo>
                    <a:pt x="261" y="248"/>
                  </a:lnTo>
                  <a:lnTo>
                    <a:pt x="261" y="249"/>
                  </a:lnTo>
                  <a:lnTo>
                    <a:pt x="261" y="250"/>
                  </a:lnTo>
                  <a:lnTo>
                    <a:pt x="261" y="250"/>
                  </a:lnTo>
                  <a:lnTo>
                    <a:pt x="260" y="251"/>
                  </a:lnTo>
                  <a:lnTo>
                    <a:pt x="260" y="251"/>
                  </a:lnTo>
                  <a:lnTo>
                    <a:pt x="258" y="252"/>
                  </a:lnTo>
                  <a:lnTo>
                    <a:pt x="257" y="253"/>
                  </a:lnTo>
                  <a:lnTo>
                    <a:pt x="256" y="253"/>
                  </a:lnTo>
                  <a:lnTo>
                    <a:pt x="256" y="254"/>
                  </a:lnTo>
                  <a:lnTo>
                    <a:pt x="255" y="255"/>
                  </a:lnTo>
                  <a:lnTo>
                    <a:pt x="255" y="255"/>
                  </a:lnTo>
                  <a:lnTo>
                    <a:pt x="254" y="256"/>
                  </a:lnTo>
                  <a:lnTo>
                    <a:pt x="254" y="257"/>
                  </a:lnTo>
                  <a:lnTo>
                    <a:pt x="254" y="257"/>
                  </a:lnTo>
                  <a:lnTo>
                    <a:pt x="255" y="257"/>
                  </a:lnTo>
                  <a:lnTo>
                    <a:pt x="255" y="258"/>
                  </a:lnTo>
                  <a:lnTo>
                    <a:pt x="255" y="259"/>
                  </a:lnTo>
                  <a:lnTo>
                    <a:pt x="257" y="261"/>
                  </a:lnTo>
                  <a:lnTo>
                    <a:pt x="257" y="261"/>
                  </a:lnTo>
                  <a:lnTo>
                    <a:pt x="258" y="262"/>
                  </a:lnTo>
                  <a:lnTo>
                    <a:pt x="259" y="265"/>
                  </a:lnTo>
                  <a:lnTo>
                    <a:pt x="259" y="265"/>
                  </a:lnTo>
                  <a:lnTo>
                    <a:pt x="260" y="267"/>
                  </a:lnTo>
                  <a:lnTo>
                    <a:pt x="261" y="268"/>
                  </a:lnTo>
                  <a:lnTo>
                    <a:pt x="262" y="269"/>
                  </a:lnTo>
                  <a:lnTo>
                    <a:pt x="263" y="270"/>
                  </a:lnTo>
                  <a:lnTo>
                    <a:pt x="265" y="272"/>
                  </a:lnTo>
                  <a:lnTo>
                    <a:pt x="268" y="274"/>
                  </a:lnTo>
                  <a:lnTo>
                    <a:pt x="268" y="275"/>
                  </a:lnTo>
                  <a:lnTo>
                    <a:pt x="269" y="276"/>
                  </a:lnTo>
                  <a:lnTo>
                    <a:pt x="269" y="276"/>
                  </a:lnTo>
                  <a:lnTo>
                    <a:pt x="269" y="277"/>
                  </a:lnTo>
                  <a:lnTo>
                    <a:pt x="269" y="278"/>
                  </a:lnTo>
                  <a:lnTo>
                    <a:pt x="269" y="278"/>
                  </a:lnTo>
                  <a:lnTo>
                    <a:pt x="269" y="279"/>
                  </a:lnTo>
                  <a:lnTo>
                    <a:pt x="269" y="280"/>
                  </a:lnTo>
                  <a:lnTo>
                    <a:pt x="268" y="281"/>
                  </a:lnTo>
                  <a:lnTo>
                    <a:pt x="268" y="282"/>
                  </a:lnTo>
                  <a:lnTo>
                    <a:pt x="268" y="282"/>
                  </a:lnTo>
                  <a:lnTo>
                    <a:pt x="268" y="283"/>
                  </a:lnTo>
                  <a:lnTo>
                    <a:pt x="268" y="284"/>
                  </a:lnTo>
                  <a:lnTo>
                    <a:pt x="268" y="284"/>
                  </a:lnTo>
                  <a:lnTo>
                    <a:pt x="268" y="285"/>
                  </a:lnTo>
                  <a:lnTo>
                    <a:pt x="269" y="285"/>
                  </a:lnTo>
                  <a:lnTo>
                    <a:pt x="269" y="286"/>
                  </a:lnTo>
                  <a:lnTo>
                    <a:pt x="270" y="286"/>
                  </a:lnTo>
                  <a:lnTo>
                    <a:pt x="271" y="287"/>
                  </a:lnTo>
                  <a:lnTo>
                    <a:pt x="271" y="287"/>
                  </a:lnTo>
                  <a:lnTo>
                    <a:pt x="272" y="288"/>
                  </a:lnTo>
                  <a:lnTo>
                    <a:pt x="273" y="288"/>
                  </a:lnTo>
                  <a:lnTo>
                    <a:pt x="275" y="289"/>
                  </a:lnTo>
                  <a:lnTo>
                    <a:pt x="276" y="289"/>
                  </a:lnTo>
                  <a:lnTo>
                    <a:pt x="276" y="290"/>
                  </a:lnTo>
                  <a:lnTo>
                    <a:pt x="277" y="290"/>
                  </a:lnTo>
                  <a:lnTo>
                    <a:pt x="277" y="291"/>
                  </a:lnTo>
                  <a:lnTo>
                    <a:pt x="277" y="291"/>
                  </a:lnTo>
                  <a:lnTo>
                    <a:pt x="277" y="292"/>
                  </a:lnTo>
                  <a:lnTo>
                    <a:pt x="277" y="292"/>
                  </a:lnTo>
                  <a:lnTo>
                    <a:pt x="277" y="293"/>
                  </a:lnTo>
                  <a:lnTo>
                    <a:pt x="277" y="294"/>
                  </a:lnTo>
                  <a:lnTo>
                    <a:pt x="277" y="296"/>
                  </a:lnTo>
                  <a:lnTo>
                    <a:pt x="277" y="296"/>
                  </a:lnTo>
                  <a:lnTo>
                    <a:pt x="277" y="297"/>
                  </a:lnTo>
                  <a:lnTo>
                    <a:pt x="277" y="297"/>
                  </a:lnTo>
                  <a:lnTo>
                    <a:pt x="278" y="298"/>
                  </a:lnTo>
                  <a:lnTo>
                    <a:pt x="278" y="298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8" y="300"/>
                  </a:lnTo>
                  <a:lnTo>
                    <a:pt x="277" y="302"/>
                  </a:lnTo>
                  <a:lnTo>
                    <a:pt x="277" y="302"/>
                  </a:lnTo>
                  <a:lnTo>
                    <a:pt x="277" y="303"/>
                  </a:lnTo>
                  <a:lnTo>
                    <a:pt x="277" y="304"/>
                  </a:lnTo>
                  <a:lnTo>
                    <a:pt x="277" y="304"/>
                  </a:lnTo>
                  <a:lnTo>
                    <a:pt x="277" y="305"/>
                  </a:lnTo>
                  <a:lnTo>
                    <a:pt x="278" y="305"/>
                  </a:lnTo>
                  <a:lnTo>
                    <a:pt x="278" y="306"/>
                  </a:lnTo>
                  <a:lnTo>
                    <a:pt x="279" y="306"/>
                  </a:lnTo>
                  <a:lnTo>
                    <a:pt x="279" y="307"/>
                  </a:lnTo>
                  <a:lnTo>
                    <a:pt x="279" y="307"/>
                  </a:lnTo>
                  <a:lnTo>
                    <a:pt x="280" y="308"/>
                  </a:lnTo>
                  <a:lnTo>
                    <a:pt x="281" y="308"/>
                  </a:lnTo>
                  <a:lnTo>
                    <a:pt x="282" y="308"/>
                  </a:lnTo>
                  <a:lnTo>
                    <a:pt x="282" y="308"/>
                  </a:lnTo>
                  <a:lnTo>
                    <a:pt x="283" y="309"/>
                  </a:lnTo>
                  <a:lnTo>
                    <a:pt x="284" y="309"/>
                  </a:lnTo>
                  <a:lnTo>
                    <a:pt x="288" y="309"/>
                  </a:lnTo>
                  <a:lnTo>
                    <a:pt x="289" y="309"/>
                  </a:lnTo>
                  <a:lnTo>
                    <a:pt x="292" y="309"/>
                  </a:lnTo>
                  <a:lnTo>
                    <a:pt x="292" y="309"/>
                  </a:lnTo>
                  <a:lnTo>
                    <a:pt x="293" y="309"/>
                  </a:lnTo>
                  <a:lnTo>
                    <a:pt x="293" y="309"/>
                  </a:lnTo>
                  <a:lnTo>
                    <a:pt x="294" y="309"/>
                  </a:lnTo>
                  <a:lnTo>
                    <a:pt x="294" y="308"/>
                  </a:lnTo>
                  <a:lnTo>
                    <a:pt x="294" y="308"/>
                  </a:lnTo>
                  <a:lnTo>
                    <a:pt x="295" y="307"/>
                  </a:lnTo>
                  <a:lnTo>
                    <a:pt x="296" y="305"/>
                  </a:lnTo>
                  <a:lnTo>
                    <a:pt x="297" y="304"/>
                  </a:lnTo>
                  <a:lnTo>
                    <a:pt x="297" y="303"/>
                  </a:lnTo>
                  <a:lnTo>
                    <a:pt x="297" y="303"/>
                  </a:lnTo>
                  <a:lnTo>
                    <a:pt x="298" y="302"/>
                  </a:lnTo>
                  <a:lnTo>
                    <a:pt x="298" y="302"/>
                  </a:lnTo>
                  <a:lnTo>
                    <a:pt x="299" y="302"/>
                  </a:lnTo>
                  <a:lnTo>
                    <a:pt x="300" y="301"/>
                  </a:lnTo>
                  <a:lnTo>
                    <a:pt x="303" y="301"/>
                  </a:lnTo>
                  <a:lnTo>
                    <a:pt x="304" y="300"/>
                  </a:lnTo>
                  <a:lnTo>
                    <a:pt x="306" y="300"/>
                  </a:lnTo>
                  <a:lnTo>
                    <a:pt x="307" y="299"/>
                  </a:lnTo>
                  <a:lnTo>
                    <a:pt x="310" y="298"/>
                  </a:lnTo>
                  <a:lnTo>
                    <a:pt x="312" y="298"/>
                  </a:lnTo>
                  <a:lnTo>
                    <a:pt x="313" y="297"/>
                  </a:lnTo>
                  <a:lnTo>
                    <a:pt x="314" y="297"/>
                  </a:lnTo>
                  <a:lnTo>
                    <a:pt x="315" y="296"/>
                  </a:lnTo>
                  <a:lnTo>
                    <a:pt x="316" y="296"/>
                  </a:lnTo>
                  <a:lnTo>
                    <a:pt x="321" y="292"/>
                  </a:lnTo>
                  <a:lnTo>
                    <a:pt x="323" y="290"/>
                  </a:lnTo>
                  <a:lnTo>
                    <a:pt x="324" y="289"/>
                  </a:lnTo>
                  <a:lnTo>
                    <a:pt x="325" y="289"/>
                  </a:lnTo>
                  <a:lnTo>
                    <a:pt x="326" y="289"/>
                  </a:lnTo>
                  <a:lnTo>
                    <a:pt x="327" y="288"/>
                  </a:lnTo>
                  <a:lnTo>
                    <a:pt x="329" y="287"/>
                  </a:lnTo>
                  <a:lnTo>
                    <a:pt x="330" y="287"/>
                  </a:lnTo>
                  <a:lnTo>
                    <a:pt x="331" y="286"/>
                  </a:lnTo>
                  <a:lnTo>
                    <a:pt x="332" y="286"/>
                  </a:lnTo>
                  <a:lnTo>
                    <a:pt x="333" y="285"/>
                  </a:lnTo>
                  <a:lnTo>
                    <a:pt x="334" y="285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6" y="282"/>
                  </a:lnTo>
                  <a:lnTo>
                    <a:pt x="336" y="282"/>
                  </a:lnTo>
                  <a:lnTo>
                    <a:pt x="337" y="282"/>
                  </a:lnTo>
                  <a:lnTo>
                    <a:pt x="338" y="281"/>
                  </a:lnTo>
                  <a:lnTo>
                    <a:pt x="338" y="281"/>
                  </a:lnTo>
                  <a:lnTo>
                    <a:pt x="339" y="281"/>
                  </a:lnTo>
                  <a:lnTo>
                    <a:pt x="342" y="281"/>
                  </a:lnTo>
                  <a:lnTo>
                    <a:pt x="343" y="280"/>
                  </a:lnTo>
                  <a:lnTo>
                    <a:pt x="345" y="280"/>
                  </a:lnTo>
                  <a:lnTo>
                    <a:pt x="347" y="280"/>
                  </a:lnTo>
                  <a:lnTo>
                    <a:pt x="349" y="280"/>
                  </a:lnTo>
                  <a:lnTo>
                    <a:pt x="350" y="280"/>
                  </a:lnTo>
                  <a:lnTo>
                    <a:pt x="350" y="280"/>
                  </a:lnTo>
                  <a:lnTo>
                    <a:pt x="351" y="280"/>
                  </a:lnTo>
                  <a:lnTo>
                    <a:pt x="352" y="281"/>
                  </a:lnTo>
                  <a:lnTo>
                    <a:pt x="354" y="281"/>
                  </a:lnTo>
                  <a:lnTo>
                    <a:pt x="355" y="282"/>
                  </a:lnTo>
                  <a:lnTo>
                    <a:pt x="356" y="283"/>
                  </a:lnTo>
                  <a:lnTo>
                    <a:pt x="358" y="284"/>
                  </a:lnTo>
                  <a:lnTo>
                    <a:pt x="360" y="285"/>
                  </a:lnTo>
                  <a:lnTo>
                    <a:pt x="360" y="285"/>
                  </a:lnTo>
                  <a:lnTo>
                    <a:pt x="361" y="285"/>
                  </a:lnTo>
                  <a:lnTo>
                    <a:pt x="362" y="286"/>
                  </a:lnTo>
                  <a:lnTo>
                    <a:pt x="363" y="286"/>
                  </a:lnTo>
                  <a:lnTo>
                    <a:pt x="365" y="286"/>
                  </a:lnTo>
                  <a:lnTo>
                    <a:pt x="366" y="286"/>
                  </a:lnTo>
                  <a:lnTo>
                    <a:pt x="366" y="286"/>
                  </a:lnTo>
                  <a:lnTo>
                    <a:pt x="367" y="286"/>
                  </a:lnTo>
                  <a:lnTo>
                    <a:pt x="368" y="286"/>
                  </a:lnTo>
                  <a:lnTo>
                    <a:pt x="368" y="285"/>
                  </a:lnTo>
                  <a:lnTo>
                    <a:pt x="369" y="285"/>
                  </a:lnTo>
                  <a:lnTo>
                    <a:pt x="370" y="284"/>
                  </a:lnTo>
                  <a:lnTo>
                    <a:pt x="372" y="282"/>
                  </a:lnTo>
                  <a:lnTo>
                    <a:pt x="373" y="282"/>
                  </a:lnTo>
                  <a:lnTo>
                    <a:pt x="374" y="281"/>
                  </a:lnTo>
                  <a:lnTo>
                    <a:pt x="374" y="280"/>
                  </a:lnTo>
                  <a:lnTo>
                    <a:pt x="375" y="279"/>
                  </a:lnTo>
                  <a:lnTo>
                    <a:pt x="375" y="278"/>
                  </a:lnTo>
                  <a:lnTo>
                    <a:pt x="375" y="277"/>
                  </a:lnTo>
                  <a:lnTo>
                    <a:pt x="375" y="276"/>
                  </a:lnTo>
                  <a:lnTo>
                    <a:pt x="375" y="275"/>
                  </a:lnTo>
                  <a:lnTo>
                    <a:pt x="374" y="271"/>
                  </a:lnTo>
                  <a:lnTo>
                    <a:pt x="374" y="269"/>
                  </a:lnTo>
                  <a:lnTo>
                    <a:pt x="374" y="268"/>
                  </a:lnTo>
                  <a:lnTo>
                    <a:pt x="374" y="267"/>
                  </a:lnTo>
                  <a:lnTo>
                    <a:pt x="373" y="267"/>
                  </a:lnTo>
                  <a:lnTo>
                    <a:pt x="373" y="266"/>
                  </a:lnTo>
                  <a:lnTo>
                    <a:pt x="373" y="266"/>
                  </a:lnTo>
                  <a:lnTo>
                    <a:pt x="372" y="265"/>
                  </a:lnTo>
                  <a:lnTo>
                    <a:pt x="371" y="264"/>
                  </a:lnTo>
                  <a:lnTo>
                    <a:pt x="371" y="264"/>
                  </a:lnTo>
                  <a:lnTo>
                    <a:pt x="371" y="263"/>
                  </a:lnTo>
                  <a:lnTo>
                    <a:pt x="370" y="263"/>
                  </a:lnTo>
                  <a:lnTo>
                    <a:pt x="370" y="262"/>
                  </a:lnTo>
                  <a:lnTo>
                    <a:pt x="370" y="261"/>
                  </a:lnTo>
                  <a:lnTo>
                    <a:pt x="371" y="261"/>
                  </a:lnTo>
                  <a:lnTo>
                    <a:pt x="371" y="260"/>
                  </a:lnTo>
                  <a:lnTo>
                    <a:pt x="371" y="260"/>
                  </a:lnTo>
                  <a:lnTo>
                    <a:pt x="371" y="259"/>
                  </a:lnTo>
                  <a:lnTo>
                    <a:pt x="372" y="259"/>
                  </a:lnTo>
                  <a:lnTo>
                    <a:pt x="373" y="258"/>
                  </a:lnTo>
                  <a:lnTo>
                    <a:pt x="374" y="257"/>
                  </a:lnTo>
                  <a:lnTo>
                    <a:pt x="374" y="257"/>
                  </a:lnTo>
                  <a:lnTo>
                    <a:pt x="379" y="254"/>
                  </a:lnTo>
                  <a:lnTo>
                    <a:pt x="382" y="253"/>
                  </a:lnTo>
                  <a:lnTo>
                    <a:pt x="382" y="252"/>
                  </a:lnTo>
                  <a:lnTo>
                    <a:pt x="383" y="252"/>
                  </a:lnTo>
                  <a:lnTo>
                    <a:pt x="384" y="251"/>
                  </a:lnTo>
                  <a:lnTo>
                    <a:pt x="384" y="251"/>
                  </a:lnTo>
                  <a:lnTo>
                    <a:pt x="385" y="250"/>
                  </a:lnTo>
                  <a:lnTo>
                    <a:pt x="385" y="249"/>
                  </a:lnTo>
                  <a:lnTo>
                    <a:pt x="386" y="248"/>
                  </a:lnTo>
                  <a:lnTo>
                    <a:pt x="386" y="247"/>
                  </a:lnTo>
                  <a:lnTo>
                    <a:pt x="386" y="246"/>
                  </a:lnTo>
                  <a:lnTo>
                    <a:pt x="386" y="246"/>
                  </a:lnTo>
                  <a:lnTo>
                    <a:pt x="386" y="245"/>
                  </a:lnTo>
                  <a:lnTo>
                    <a:pt x="386" y="245"/>
                  </a:lnTo>
                  <a:lnTo>
                    <a:pt x="385" y="244"/>
                  </a:lnTo>
                  <a:lnTo>
                    <a:pt x="385" y="243"/>
                  </a:lnTo>
                  <a:lnTo>
                    <a:pt x="384" y="242"/>
                  </a:lnTo>
                  <a:lnTo>
                    <a:pt x="383" y="241"/>
                  </a:lnTo>
                  <a:lnTo>
                    <a:pt x="383" y="240"/>
                  </a:lnTo>
                  <a:lnTo>
                    <a:pt x="382" y="240"/>
                  </a:lnTo>
                  <a:lnTo>
                    <a:pt x="381" y="239"/>
                  </a:lnTo>
                  <a:lnTo>
                    <a:pt x="378" y="237"/>
                  </a:lnTo>
                  <a:lnTo>
                    <a:pt x="377" y="236"/>
                  </a:lnTo>
                  <a:lnTo>
                    <a:pt x="376" y="235"/>
                  </a:lnTo>
                  <a:lnTo>
                    <a:pt x="376" y="235"/>
                  </a:lnTo>
                  <a:lnTo>
                    <a:pt x="375" y="234"/>
                  </a:lnTo>
                  <a:lnTo>
                    <a:pt x="374" y="232"/>
                  </a:lnTo>
                  <a:lnTo>
                    <a:pt x="373" y="231"/>
                  </a:lnTo>
                  <a:lnTo>
                    <a:pt x="372" y="231"/>
                  </a:lnTo>
                  <a:lnTo>
                    <a:pt x="372" y="230"/>
                  </a:lnTo>
                  <a:lnTo>
                    <a:pt x="371" y="230"/>
                  </a:lnTo>
                  <a:lnTo>
                    <a:pt x="370" y="229"/>
                  </a:lnTo>
                  <a:lnTo>
                    <a:pt x="366" y="227"/>
                  </a:lnTo>
                  <a:lnTo>
                    <a:pt x="365" y="226"/>
                  </a:lnTo>
                  <a:lnTo>
                    <a:pt x="362" y="226"/>
                  </a:lnTo>
                  <a:lnTo>
                    <a:pt x="360" y="225"/>
                  </a:lnTo>
                  <a:lnTo>
                    <a:pt x="360" y="225"/>
                  </a:lnTo>
                  <a:lnTo>
                    <a:pt x="359" y="224"/>
                  </a:lnTo>
                  <a:lnTo>
                    <a:pt x="358" y="224"/>
                  </a:lnTo>
                  <a:lnTo>
                    <a:pt x="357" y="223"/>
                  </a:lnTo>
                  <a:lnTo>
                    <a:pt x="357" y="222"/>
                  </a:lnTo>
                  <a:lnTo>
                    <a:pt x="356" y="222"/>
                  </a:lnTo>
                  <a:lnTo>
                    <a:pt x="355" y="221"/>
                  </a:lnTo>
                  <a:lnTo>
                    <a:pt x="355" y="220"/>
                  </a:lnTo>
                  <a:lnTo>
                    <a:pt x="355" y="219"/>
                  </a:lnTo>
                  <a:lnTo>
                    <a:pt x="354" y="217"/>
                  </a:lnTo>
                  <a:lnTo>
                    <a:pt x="353" y="216"/>
                  </a:lnTo>
                  <a:lnTo>
                    <a:pt x="353" y="216"/>
                  </a:lnTo>
                  <a:lnTo>
                    <a:pt x="353" y="216"/>
                  </a:lnTo>
                  <a:lnTo>
                    <a:pt x="352" y="215"/>
                  </a:lnTo>
                  <a:lnTo>
                    <a:pt x="351" y="215"/>
                  </a:lnTo>
                  <a:lnTo>
                    <a:pt x="349" y="215"/>
                  </a:lnTo>
                  <a:lnTo>
                    <a:pt x="348" y="214"/>
                  </a:lnTo>
                  <a:lnTo>
                    <a:pt x="347" y="214"/>
                  </a:lnTo>
                  <a:lnTo>
                    <a:pt x="346" y="213"/>
                  </a:lnTo>
                  <a:lnTo>
                    <a:pt x="343" y="211"/>
                  </a:lnTo>
                  <a:lnTo>
                    <a:pt x="342" y="210"/>
                  </a:lnTo>
                  <a:lnTo>
                    <a:pt x="339" y="208"/>
                  </a:lnTo>
                  <a:lnTo>
                    <a:pt x="338" y="207"/>
                  </a:lnTo>
                  <a:lnTo>
                    <a:pt x="338" y="207"/>
                  </a:lnTo>
                  <a:lnTo>
                    <a:pt x="337" y="207"/>
                  </a:lnTo>
                  <a:lnTo>
                    <a:pt x="337" y="206"/>
                  </a:lnTo>
                  <a:lnTo>
                    <a:pt x="337" y="205"/>
                  </a:lnTo>
                  <a:lnTo>
                    <a:pt x="336" y="205"/>
                  </a:lnTo>
                  <a:lnTo>
                    <a:pt x="336" y="204"/>
                  </a:lnTo>
                  <a:lnTo>
                    <a:pt x="336" y="204"/>
                  </a:lnTo>
                  <a:lnTo>
                    <a:pt x="336" y="204"/>
                  </a:lnTo>
                  <a:lnTo>
                    <a:pt x="337" y="203"/>
                  </a:lnTo>
                  <a:lnTo>
                    <a:pt x="336" y="203"/>
                  </a:lnTo>
                  <a:lnTo>
                    <a:pt x="336" y="203"/>
                  </a:lnTo>
                  <a:lnTo>
                    <a:pt x="335" y="203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8">
              <a:extLst>
                <a:ext uri="{FF2B5EF4-FFF2-40B4-BE49-F238E27FC236}">
                  <a16:creationId xmlns:a16="http://schemas.microsoft.com/office/drawing/2014/main" id="{BC7F1EF3-C133-39CD-BCDD-0F6D2BF4B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1" y="3069"/>
              <a:ext cx="438" cy="512"/>
            </a:xfrm>
            <a:custGeom>
              <a:avLst/>
              <a:gdLst>
                <a:gd name="T0" fmla="*/ 269 w 438"/>
                <a:gd name="T1" fmla="*/ 10 h 512"/>
                <a:gd name="T2" fmla="*/ 282 w 438"/>
                <a:gd name="T3" fmla="*/ 9 h 512"/>
                <a:gd name="T4" fmla="*/ 306 w 438"/>
                <a:gd name="T5" fmla="*/ 29 h 512"/>
                <a:gd name="T6" fmla="*/ 323 w 438"/>
                <a:gd name="T7" fmla="*/ 45 h 512"/>
                <a:gd name="T8" fmla="*/ 321 w 438"/>
                <a:gd name="T9" fmla="*/ 65 h 512"/>
                <a:gd name="T10" fmla="*/ 327 w 438"/>
                <a:gd name="T11" fmla="*/ 89 h 512"/>
                <a:gd name="T12" fmla="*/ 317 w 438"/>
                <a:gd name="T13" fmla="*/ 108 h 512"/>
                <a:gd name="T14" fmla="*/ 318 w 438"/>
                <a:gd name="T15" fmla="*/ 121 h 512"/>
                <a:gd name="T16" fmla="*/ 332 w 438"/>
                <a:gd name="T17" fmla="*/ 128 h 512"/>
                <a:gd name="T18" fmla="*/ 343 w 438"/>
                <a:gd name="T19" fmla="*/ 144 h 512"/>
                <a:gd name="T20" fmla="*/ 352 w 438"/>
                <a:gd name="T21" fmla="*/ 152 h 512"/>
                <a:gd name="T22" fmla="*/ 383 w 438"/>
                <a:gd name="T23" fmla="*/ 149 h 512"/>
                <a:gd name="T24" fmla="*/ 392 w 438"/>
                <a:gd name="T25" fmla="*/ 162 h 512"/>
                <a:gd name="T26" fmla="*/ 397 w 438"/>
                <a:gd name="T27" fmla="*/ 188 h 512"/>
                <a:gd name="T28" fmla="*/ 390 w 438"/>
                <a:gd name="T29" fmla="*/ 207 h 512"/>
                <a:gd name="T30" fmla="*/ 393 w 438"/>
                <a:gd name="T31" fmla="*/ 220 h 512"/>
                <a:gd name="T32" fmla="*/ 411 w 438"/>
                <a:gd name="T33" fmla="*/ 229 h 512"/>
                <a:gd name="T34" fmla="*/ 403 w 438"/>
                <a:gd name="T35" fmla="*/ 238 h 512"/>
                <a:gd name="T36" fmla="*/ 403 w 438"/>
                <a:gd name="T37" fmla="*/ 247 h 512"/>
                <a:gd name="T38" fmla="*/ 396 w 438"/>
                <a:gd name="T39" fmla="*/ 260 h 512"/>
                <a:gd name="T40" fmla="*/ 392 w 438"/>
                <a:gd name="T41" fmla="*/ 267 h 512"/>
                <a:gd name="T42" fmla="*/ 403 w 438"/>
                <a:gd name="T43" fmla="*/ 277 h 512"/>
                <a:gd name="T44" fmla="*/ 417 w 438"/>
                <a:gd name="T45" fmla="*/ 284 h 512"/>
                <a:gd name="T46" fmla="*/ 423 w 438"/>
                <a:gd name="T47" fmla="*/ 294 h 512"/>
                <a:gd name="T48" fmla="*/ 438 w 438"/>
                <a:gd name="T49" fmla="*/ 309 h 512"/>
                <a:gd name="T50" fmla="*/ 434 w 438"/>
                <a:gd name="T51" fmla="*/ 331 h 512"/>
                <a:gd name="T52" fmla="*/ 428 w 438"/>
                <a:gd name="T53" fmla="*/ 351 h 512"/>
                <a:gd name="T54" fmla="*/ 411 w 438"/>
                <a:gd name="T55" fmla="*/ 360 h 512"/>
                <a:gd name="T56" fmla="*/ 409 w 438"/>
                <a:gd name="T57" fmla="*/ 375 h 512"/>
                <a:gd name="T58" fmla="*/ 399 w 438"/>
                <a:gd name="T59" fmla="*/ 380 h 512"/>
                <a:gd name="T60" fmla="*/ 381 w 438"/>
                <a:gd name="T61" fmla="*/ 391 h 512"/>
                <a:gd name="T62" fmla="*/ 358 w 438"/>
                <a:gd name="T63" fmla="*/ 398 h 512"/>
                <a:gd name="T64" fmla="*/ 348 w 438"/>
                <a:gd name="T65" fmla="*/ 402 h 512"/>
                <a:gd name="T66" fmla="*/ 334 w 438"/>
                <a:gd name="T67" fmla="*/ 428 h 512"/>
                <a:gd name="T68" fmla="*/ 349 w 438"/>
                <a:gd name="T69" fmla="*/ 443 h 512"/>
                <a:gd name="T70" fmla="*/ 353 w 438"/>
                <a:gd name="T71" fmla="*/ 458 h 512"/>
                <a:gd name="T72" fmla="*/ 337 w 438"/>
                <a:gd name="T73" fmla="*/ 464 h 512"/>
                <a:gd name="T74" fmla="*/ 329 w 438"/>
                <a:gd name="T75" fmla="*/ 473 h 512"/>
                <a:gd name="T76" fmla="*/ 312 w 438"/>
                <a:gd name="T77" fmla="*/ 468 h 512"/>
                <a:gd name="T78" fmla="*/ 281 w 438"/>
                <a:gd name="T79" fmla="*/ 469 h 512"/>
                <a:gd name="T80" fmla="*/ 275 w 438"/>
                <a:gd name="T81" fmla="*/ 477 h 512"/>
                <a:gd name="T82" fmla="*/ 263 w 438"/>
                <a:gd name="T83" fmla="*/ 484 h 512"/>
                <a:gd name="T84" fmla="*/ 255 w 438"/>
                <a:gd name="T85" fmla="*/ 495 h 512"/>
                <a:gd name="T86" fmla="*/ 242 w 438"/>
                <a:gd name="T87" fmla="*/ 478 h 512"/>
                <a:gd name="T88" fmla="*/ 232 w 438"/>
                <a:gd name="T89" fmla="*/ 478 h 512"/>
                <a:gd name="T90" fmla="*/ 210 w 438"/>
                <a:gd name="T91" fmla="*/ 464 h 512"/>
                <a:gd name="T92" fmla="*/ 199 w 438"/>
                <a:gd name="T93" fmla="*/ 477 h 512"/>
                <a:gd name="T94" fmla="*/ 198 w 438"/>
                <a:gd name="T95" fmla="*/ 495 h 512"/>
                <a:gd name="T96" fmla="*/ 175 w 438"/>
                <a:gd name="T97" fmla="*/ 511 h 512"/>
                <a:gd name="T98" fmla="*/ 160 w 438"/>
                <a:gd name="T99" fmla="*/ 507 h 512"/>
                <a:gd name="T100" fmla="*/ 155 w 438"/>
                <a:gd name="T101" fmla="*/ 499 h 512"/>
                <a:gd name="T102" fmla="*/ 132 w 438"/>
                <a:gd name="T103" fmla="*/ 498 h 512"/>
                <a:gd name="T104" fmla="*/ 117 w 438"/>
                <a:gd name="T105" fmla="*/ 499 h 512"/>
                <a:gd name="T106" fmla="*/ 102 w 438"/>
                <a:gd name="T107" fmla="*/ 494 h 512"/>
                <a:gd name="T108" fmla="*/ 90 w 438"/>
                <a:gd name="T109" fmla="*/ 502 h 512"/>
                <a:gd name="T110" fmla="*/ 78 w 438"/>
                <a:gd name="T111" fmla="*/ 498 h 512"/>
                <a:gd name="T112" fmla="*/ 63 w 438"/>
                <a:gd name="T113" fmla="*/ 487 h 512"/>
                <a:gd name="T114" fmla="*/ 45 w 438"/>
                <a:gd name="T115" fmla="*/ 495 h 512"/>
                <a:gd name="T116" fmla="*/ 18 w 438"/>
                <a:gd name="T117" fmla="*/ 500 h 512"/>
                <a:gd name="T118" fmla="*/ 1 w 438"/>
                <a:gd name="T119" fmla="*/ 499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8" h="512">
                  <a:moveTo>
                    <a:pt x="256" y="0"/>
                  </a:moveTo>
                  <a:lnTo>
                    <a:pt x="256" y="0"/>
                  </a:lnTo>
                  <a:lnTo>
                    <a:pt x="257" y="0"/>
                  </a:lnTo>
                  <a:lnTo>
                    <a:pt x="257" y="1"/>
                  </a:lnTo>
                  <a:lnTo>
                    <a:pt x="258" y="1"/>
                  </a:lnTo>
                  <a:lnTo>
                    <a:pt x="260" y="3"/>
                  </a:lnTo>
                  <a:lnTo>
                    <a:pt x="261" y="4"/>
                  </a:lnTo>
                  <a:lnTo>
                    <a:pt x="262" y="5"/>
                  </a:lnTo>
                  <a:lnTo>
                    <a:pt x="264" y="6"/>
                  </a:lnTo>
                  <a:lnTo>
                    <a:pt x="265" y="7"/>
                  </a:lnTo>
                  <a:lnTo>
                    <a:pt x="265" y="7"/>
                  </a:lnTo>
                  <a:lnTo>
                    <a:pt x="266" y="8"/>
                  </a:lnTo>
                  <a:lnTo>
                    <a:pt x="266" y="9"/>
                  </a:lnTo>
                  <a:lnTo>
                    <a:pt x="267" y="9"/>
                  </a:lnTo>
                  <a:lnTo>
                    <a:pt x="268" y="9"/>
                  </a:lnTo>
                  <a:lnTo>
                    <a:pt x="268" y="10"/>
                  </a:lnTo>
                  <a:lnTo>
                    <a:pt x="269" y="10"/>
                  </a:lnTo>
                  <a:lnTo>
                    <a:pt x="270" y="10"/>
                  </a:lnTo>
                  <a:lnTo>
                    <a:pt x="270" y="10"/>
                  </a:lnTo>
                  <a:lnTo>
                    <a:pt x="270" y="9"/>
                  </a:lnTo>
                  <a:lnTo>
                    <a:pt x="271" y="9"/>
                  </a:lnTo>
                  <a:lnTo>
                    <a:pt x="272" y="8"/>
                  </a:lnTo>
                  <a:lnTo>
                    <a:pt x="273" y="8"/>
                  </a:lnTo>
                  <a:lnTo>
                    <a:pt x="273" y="8"/>
                  </a:lnTo>
                  <a:lnTo>
                    <a:pt x="274" y="7"/>
                  </a:lnTo>
                  <a:lnTo>
                    <a:pt x="275" y="7"/>
                  </a:lnTo>
                  <a:lnTo>
                    <a:pt x="276" y="7"/>
                  </a:lnTo>
                  <a:lnTo>
                    <a:pt x="276" y="7"/>
                  </a:lnTo>
                  <a:lnTo>
                    <a:pt x="279" y="8"/>
                  </a:lnTo>
                  <a:lnTo>
                    <a:pt x="280" y="8"/>
                  </a:lnTo>
                  <a:lnTo>
                    <a:pt x="281" y="8"/>
                  </a:lnTo>
                  <a:lnTo>
                    <a:pt x="281" y="8"/>
                  </a:lnTo>
                  <a:lnTo>
                    <a:pt x="281" y="9"/>
                  </a:lnTo>
                  <a:lnTo>
                    <a:pt x="282" y="9"/>
                  </a:lnTo>
                  <a:lnTo>
                    <a:pt x="284" y="10"/>
                  </a:lnTo>
                  <a:lnTo>
                    <a:pt x="286" y="14"/>
                  </a:lnTo>
                  <a:lnTo>
                    <a:pt x="290" y="18"/>
                  </a:lnTo>
                  <a:lnTo>
                    <a:pt x="292" y="20"/>
                  </a:lnTo>
                  <a:lnTo>
                    <a:pt x="293" y="21"/>
                  </a:lnTo>
                  <a:lnTo>
                    <a:pt x="293" y="21"/>
                  </a:lnTo>
                  <a:lnTo>
                    <a:pt x="294" y="22"/>
                  </a:lnTo>
                  <a:lnTo>
                    <a:pt x="295" y="22"/>
                  </a:lnTo>
                  <a:lnTo>
                    <a:pt x="296" y="22"/>
                  </a:lnTo>
                  <a:lnTo>
                    <a:pt x="298" y="23"/>
                  </a:lnTo>
                  <a:lnTo>
                    <a:pt x="299" y="24"/>
                  </a:lnTo>
                  <a:lnTo>
                    <a:pt x="300" y="24"/>
                  </a:lnTo>
                  <a:lnTo>
                    <a:pt x="301" y="25"/>
                  </a:lnTo>
                  <a:lnTo>
                    <a:pt x="302" y="26"/>
                  </a:lnTo>
                  <a:lnTo>
                    <a:pt x="304" y="27"/>
                  </a:lnTo>
                  <a:lnTo>
                    <a:pt x="305" y="28"/>
                  </a:lnTo>
                  <a:lnTo>
                    <a:pt x="306" y="29"/>
                  </a:lnTo>
                  <a:lnTo>
                    <a:pt x="306" y="30"/>
                  </a:lnTo>
                  <a:lnTo>
                    <a:pt x="307" y="31"/>
                  </a:lnTo>
                  <a:lnTo>
                    <a:pt x="308" y="32"/>
                  </a:lnTo>
                  <a:lnTo>
                    <a:pt x="310" y="35"/>
                  </a:lnTo>
                  <a:lnTo>
                    <a:pt x="310" y="36"/>
                  </a:lnTo>
                  <a:lnTo>
                    <a:pt x="310" y="37"/>
                  </a:lnTo>
                  <a:lnTo>
                    <a:pt x="311" y="37"/>
                  </a:lnTo>
                  <a:lnTo>
                    <a:pt x="312" y="38"/>
                  </a:lnTo>
                  <a:lnTo>
                    <a:pt x="313" y="38"/>
                  </a:lnTo>
                  <a:lnTo>
                    <a:pt x="313" y="39"/>
                  </a:lnTo>
                  <a:lnTo>
                    <a:pt x="314" y="39"/>
                  </a:lnTo>
                  <a:lnTo>
                    <a:pt x="316" y="40"/>
                  </a:lnTo>
                  <a:lnTo>
                    <a:pt x="317" y="41"/>
                  </a:lnTo>
                  <a:lnTo>
                    <a:pt x="322" y="43"/>
                  </a:lnTo>
                  <a:lnTo>
                    <a:pt x="323" y="43"/>
                  </a:lnTo>
                  <a:lnTo>
                    <a:pt x="324" y="44"/>
                  </a:lnTo>
                  <a:lnTo>
                    <a:pt x="323" y="45"/>
                  </a:lnTo>
                  <a:lnTo>
                    <a:pt x="322" y="46"/>
                  </a:lnTo>
                  <a:lnTo>
                    <a:pt x="320" y="48"/>
                  </a:lnTo>
                  <a:lnTo>
                    <a:pt x="319" y="49"/>
                  </a:lnTo>
                  <a:lnTo>
                    <a:pt x="318" y="50"/>
                  </a:lnTo>
                  <a:lnTo>
                    <a:pt x="317" y="51"/>
                  </a:lnTo>
                  <a:lnTo>
                    <a:pt x="317" y="52"/>
                  </a:lnTo>
                  <a:lnTo>
                    <a:pt x="317" y="52"/>
                  </a:lnTo>
                  <a:lnTo>
                    <a:pt x="317" y="53"/>
                  </a:lnTo>
                  <a:lnTo>
                    <a:pt x="317" y="54"/>
                  </a:lnTo>
                  <a:lnTo>
                    <a:pt x="317" y="54"/>
                  </a:lnTo>
                  <a:lnTo>
                    <a:pt x="317" y="55"/>
                  </a:lnTo>
                  <a:lnTo>
                    <a:pt x="317" y="56"/>
                  </a:lnTo>
                  <a:lnTo>
                    <a:pt x="318" y="58"/>
                  </a:lnTo>
                  <a:lnTo>
                    <a:pt x="319" y="60"/>
                  </a:lnTo>
                  <a:lnTo>
                    <a:pt x="319" y="61"/>
                  </a:lnTo>
                  <a:lnTo>
                    <a:pt x="320" y="63"/>
                  </a:lnTo>
                  <a:lnTo>
                    <a:pt x="321" y="65"/>
                  </a:lnTo>
                  <a:lnTo>
                    <a:pt x="321" y="66"/>
                  </a:lnTo>
                  <a:lnTo>
                    <a:pt x="321" y="66"/>
                  </a:lnTo>
                  <a:lnTo>
                    <a:pt x="321" y="67"/>
                  </a:lnTo>
                  <a:lnTo>
                    <a:pt x="321" y="69"/>
                  </a:lnTo>
                  <a:lnTo>
                    <a:pt x="321" y="74"/>
                  </a:lnTo>
                  <a:lnTo>
                    <a:pt x="321" y="75"/>
                  </a:lnTo>
                  <a:lnTo>
                    <a:pt x="321" y="76"/>
                  </a:lnTo>
                  <a:lnTo>
                    <a:pt x="322" y="77"/>
                  </a:lnTo>
                  <a:lnTo>
                    <a:pt x="322" y="78"/>
                  </a:lnTo>
                  <a:lnTo>
                    <a:pt x="322" y="78"/>
                  </a:lnTo>
                  <a:lnTo>
                    <a:pt x="323" y="80"/>
                  </a:lnTo>
                  <a:lnTo>
                    <a:pt x="324" y="81"/>
                  </a:lnTo>
                  <a:lnTo>
                    <a:pt x="324" y="82"/>
                  </a:lnTo>
                  <a:lnTo>
                    <a:pt x="325" y="83"/>
                  </a:lnTo>
                  <a:lnTo>
                    <a:pt x="325" y="84"/>
                  </a:lnTo>
                  <a:lnTo>
                    <a:pt x="326" y="87"/>
                  </a:lnTo>
                  <a:lnTo>
                    <a:pt x="327" y="89"/>
                  </a:lnTo>
                  <a:lnTo>
                    <a:pt x="327" y="90"/>
                  </a:lnTo>
                  <a:lnTo>
                    <a:pt x="327" y="91"/>
                  </a:lnTo>
                  <a:lnTo>
                    <a:pt x="327" y="93"/>
                  </a:lnTo>
                  <a:lnTo>
                    <a:pt x="326" y="94"/>
                  </a:lnTo>
                  <a:lnTo>
                    <a:pt x="326" y="95"/>
                  </a:lnTo>
                  <a:lnTo>
                    <a:pt x="325" y="96"/>
                  </a:lnTo>
                  <a:lnTo>
                    <a:pt x="325" y="97"/>
                  </a:lnTo>
                  <a:lnTo>
                    <a:pt x="323" y="99"/>
                  </a:lnTo>
                  <a:lnTo>
                    <a:pt x="323" y="100"/>
                  </a:lnTo>
                  <a:lnTo>
                    <a:pt x="322" y="101"/>
                  </a:lnTo>
                  <a:lnTo>
                    <a:pt x="321" y="104"/>
                  </a:lnTo>
                  <a:lnTo>
                    <a:pt x="321" y="105"/>
                  </a:lnTo>
                  <a:lnTo>
                    <a:pt x="321" y="105"/>
                  </a:lnTo>
                  <a:lnTo>
                    <a:pt x="320" y="105"/>
                  </a:lnTo>
                  <a:lnTo>
                    <a:pt x="320" y="106"/>
                  </a:lnTo>
                  <a:lnTo>
                    <a:pt x="319" y="106"/>
                  </a:lnTo>
                  <a:lnTo>
                    <a:pt x="317" y="108"/>
                  </a:lnTo>
                  <a:lnTo>
                    <a:pt x="316" y="108"/>
                  </a:lnTo>
                  <a:lnTo>
                    <a:pt x="316" y="108"/>
                  </a:lnTo>
                  <a:lnTo>
                    <a:pt x="315" y="109"/>
                  </a:lnTo>
                  <a:lnTo>
                    <a:pt x="315" y="110"/>
                  </a:lnTo>
                  <a:lnTo>
                    <a:pt x="315" y="110"/>
                  </a:lnTo>
                  <a:lnTo>
                    <a:pt x="314" y="111"/>
                  </a:lnTo>
                  <a:lnTo>
                    <a:pt x="314" y="111"/>
                  </a:lnTo>
                  <a:lnTo>
                    <a:pt x="314" y="112"/>
                  </a:lnTo>
                  <a:lnTo>
                    <a:pt x="314" y="113"/>
                  </a:lnTo>
                  <a:lnTo>
                    <a:pt x="315" y="114"/>
                  </a:lnTo>
                  <a:lnTo>
                    <a:pt x="315" y="114"/>
                  </a:lnTo>
                  <a:lnTo>
                    <a:pt x="315" y="115"/>
                  </a:lnTo>
                  <a:lnTo>
                    <a:pt x="316" y="117"/>
                  </a:lnTo>
                  <a:lnTo>
                    <a:pt x="317" y="118"/>
                  </a:lnTo>
                  <a:lnTo>
                    <a:pt x="317" y="119"/>
                  </a:lnTo>
                  <a:lnTo>
                    <a:pt x="318" y="120"/>
                  </a:lnTo>
                  <a:lnTo>
                    <a:pt x="318" y="121"/>
                  </a:lnTo>
                  <a:lnTo>
                    <a:pt x="318" y="122"/>
                  </a:lnTo>
                  <a:lnTo>
                    <a:pt x="319" y="123"/>
                  </a:lnTo>
                  <a:lnTo>
                    <a:pt x="319" y="124"/>
                  </a:lnTo>
                  <a:lnTo>
                    <a:pt x="320" y="124"/>
                  </a:lnTo>
                  <a:lnTo>
                    <a:pt x="320" y="125"/>
                  </a:lnTo>
                  <a:lnTo>
                    <a:pt x="321" y="125"/>
                  </a:lnTo>
                  <a:lnTo>
                    <a:pt x="322" y="126"/>
                  </a:lnTo>
                  <a:lnTo>
                    <a:pt x="323" y="126"/>
                  </a:lnTo>
                  <a:lnTo>
                    <a:pt x="323" y="126"/>
                  </a:lnTo>
                  <a:lnTo>
                    <a:pt x="324" y="127"/>
                  </a:lnTo>
                  <a:lnTo>
                    <a:pt x="324" y="127"/>
                  </a:lnTo>
                  <a:lnTo>
                    <a:pt x="325" y="127"/>
                  </a:lnTo>
                  <a:lnTo>
                    <a:pt x="326" y="127"/>
                  </a:lnTo>
                  <a:lnTo>
                    <a:pt x="329" y="127"/>
                  </a:lnTo>
                  <a:lnTo>
                    <a:pt x="330" y="128"/>
                  </a:lnTo>
                  <a:lnTo>
                    <a:pt x="330" y="128"/>
                  </a:lnTo>
                  <a:lnTo>
                    <a:pt x="332" y="128"/>
                  </a:lnTo>
                  <a:lnTo>
                    <a:pt x="333" y="129"/>
                  </a:lnTo>
                  <a:lnTo>
                    <a:pt x="334" y="129"/>
                  </a:lnTo>
                  <a:lnTo>
                    <a:pt x="334" y="130"/>
                  </a:lnTo>
                  <a:lnTo>
                    <a:pt x="335" y="130"/>
                  </a:lnTo>
                  <a:lnTo>
                    <a:pt x="336" y="132"/>
                  </a:lnTo>
                  <a:lnTo>
                    <a:pt x="336" y="132"/>
                  </a:lnTo>
                  <a:lnTo>
                    <a:pt x="337" y="133"/>
                  </a:lnTo>
                  <a:lnTo>
                    <a:pt x="338" y="134"/>
                  </a:lnTo>
                  <a:lnTo>
                    <a:pt x="339" y="135"/>
                  </a:lnTo>
                  <a:lnTo>
                    <a:pt x="341" y="137"/>
                  </a:lnTo>
                  <a:lnTo>
                    <a:pt x="341" y="137"/>
                  </a:lnTo>
                  <a:lnTo>
                    <a:pt x="342" y="138"/>
                  </a:lnTo>
                  <a:lnTo>
                    <a:pt x="342" y="139"/>
                  </a:lnTo>
                  <a:lnTo>
                    <a:pt x="343" y="139"/>
                  </a:lnTo>
                  <a:lnTo>
                    <a:pt x="343" y="140"/>
                  </a:lnTo>
                  <a:lnTo>
                    <a:pt x="343" y="142"/>
                  </a:lnTo>
                  <a:lnTo>
                    <a:pt x="343" y="144"/>
                  </a:lnTo>
                  <a:lnTo>
                    <a:pt x="343" y="144"/>
                  </a:lnTo>
                  <a:lnTo>
                    <a:pt x="343" y="145"/>
                  </a:lnTo>
                  <a:lnTo>
                    <a:pt x="343" y="146"/>
                  </a:lnTo>
                  <a:lnTo>
                    <a:pt x="344" y="147"/>
                  </a:lnTo>
                  <a:lnTo>
                    <a:pt x="344" y="148"/>
                  </a:lnTo>
                  <a:lnTo>
                    <a:pt x="344" y="148"/>
                  </a:lnTo>
                  <a:lnTo>
                    <a:pt x="345" y="149"/>
                  </a:lnTo>
                  <a:lnTo>
                    <a:pt x="345" y="149"/>
                  </a:lnTo>
                  <a:lnTo>
                    <a:pt x="346" y="150"/>
                  </a:lnTo>
                  <a:lnTo>
                    <a:pt x="347" y="150"/>
                  </a:lnTo>
                  <a:lnTo>
                    <a:pt x="347" y="151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50" y="152"/>
                  </a:lnTo>
                  <a:lnTo>
                    <a:pt x="350" y="152"/>
                  </a:lnTo>
                  <a:lnTo>
                    <a:pt x="351" y="152"/>
                  </a:lnTo>
                  <a:lnTo>
                    <a:pt x="352" y="152"/>
                  </a:lnTo>
                  <a:lnTo>
                    <a:pt x="353" y="152"/>
                  </a:lnTo>
                  <a:lnTo>
                    <a:pt x="357" y="151"/>
                  </a:lnTo>
                  <a:lnTo>
                    <a:pt x="358" y="151"/>
                  </a:lnTo>
                  <a:lnTo>
                    <a:pt x="359" y="151"/>
                  </a:lnTo>
                  <a:lnTo>
                    <a:pt x="363" y="152"/>
                  </a:lnTo>
                  <a:lnTo>
                    <a:pt x="366" y="152"/>
                  </a:lnTo>
                  <a:lnTo>
                    <a:pt x="369" y="153"/>
                  </a:lnTo>
                  <a:lnTo>
                    <a:pt x="370" y="153"/>
                  </a:lnTo>
                  <a:lnTo>
                    <a:pt x="371" y="153"/>
                  </a:lnTo>
                  <a:lnTo>
                    <a:pt x="372" y="153"/>
                  </a:lnTo>
                  <a:lnTo>
                    <a:pt x="373" y="152"/>
                  </a:lnTo>
                  <a:lnTo>
                    <a:pt x="377" y="151"/>
                  </a:lnTo>
                  <a:lnTo>
                    <a:pt x="379" y="150"/>
                  </a:lnTo>
                  <a:lnTo>
                    <a:pt x="380" y="150"/>
                  </a:lnTo>
                  <a:lnTo>
                    <a:pt x="382" y="149"/>
                  </a:lnTo>
                  <a:lnTo>
                    <a:pt x="382" y="149"/>
                  </a:lnTo>
                  <a:lnTo>
                    <a:pt x="383" y="149"/>
                  </a:lnTo>
                  <a:lnTo>
                    <a:pt x="384" y="149"/>
                  </a:lnTo>
                  <a:lnTo>
                    <a:pt x="384" y="149"/>
                  </a:lnTo>
                  <a:lnTo>
                    <a:pt x="385" y="149"/>
                  </a:lnTo>
                  <a:lnTo>
                    <a:pt x="386" y="149"/>
                  </a:lnTo>
                  <a:lnTo>
                    <a:pt x="386" y="150"/>
                  </a:lnTo>
                  <a:lnTo>
                    <a:pt x="387" y="151"/>
                  </a:lnTo>
                  <a:lnTo>
                    <a:pt x="389" y="152"/>
                  </a:lnTo>
                  <a:lnTo>
                    <a:pt x="389" y="153"/>
                  </a:lnTo>
                  <a:lnTo>
                    <a:pt x="390" y="153"/>
                  </a:lnTo>
                  <a:lnTo>
                    <a:pt x="391" y="154"/>
                  </a:lnTo>
                  <a:lnTo>
                    <a:pt x="391" y="155"/>
                  </a:lnTo>
                  <a:lnTo>
                    <a:pt x="391" y="155"/>
                  </a:lnTo>
                  <a:lnTo>
                    <a:pt x="392" y="156"/>
                  </a:lnTo>
                  <a:lnTo>
                    <a:pt x="392" y="158"/>
                  </a:lnTo>
                  <a:lnTo>
                    <a:pt x="392" y="158"/>
                  </a:lnTo>
                  <a:lnTo>
                    <a:pt x="392" y="160"/>
                  </a:lnTo>
                  <a:lnTo>
                    <a:pt x="392" y="162"/>
                  </a:lnTo>
                  <a:lnTo>
                    <a:pt x="393" y="165"/>
                  </a:lnTo>
                  <a:lnTo>
                    <a:pt x="393" y="167"/>
                  </a:lnTo>
                  <a:lnTo>
                    <a:pt x="392" y="168"/>
                  </a:lnTo>
                  <a:lnTo>
                    <a:pt x="392" y="171"/>
                  </a:lnTo>
                  <a:lnTo>
                    <a:pt x="392" y="172"/>
                  </a:lnTo>
                  <a:lnTo>
                    <a:pt x="392" y="173"/>
                  </a:lnTo>
                  <a:lnTo>
                    <a:pt x="392" y="174"/>
                  </a:lnTo>
                  <a:lnTo>
                    <a:pt x="392" y="176"/>
                  </a:lnTo>
                  <a:lnTo>
                    <a:pt x="392" y="178"/>
                  </a:lnTo>
                  <a:lnTo>
                    <a:pt x="392" y="179"/>
                  </a:lnTo>
                  <a:lnTo>
                    <a:pt x="392" y="179"/>
                  </a:lnTo>
                  <a:lnTo>
                    <a:pt x="392" y="180"/>
                  </a:lnTo>
                  <a:lnTo>
                    <a:pt x="393" y="182"/>
                  </a:lnTo>
                  <a:lnTo>
                    <a:pt x="394" y="183"/>
                  </a:lnTo>
                  <a:lnTo>
                    <a:pt x="396" y="185"/>
                  </a:lnTo>
                  <a:lnTo>
                    <a:pt x="396" y="186"/>
                  </a:lnTo>
                  <a:lnTo>
                    <a:pt x="397" y="188"/>
                  </a:lnTo>
                  <a:lnTo>
                    <a:pt x="397" y="189"/>
                  </a:lnTo>
                  <a:lnTo>
                    <a:pt x="398" y="191"/>
                  </a:lnTo>
                  <a:lnTo>
                    <a:pt x="398" y="191"/>
                  </a:lnTo>
                  <a:lnTo>
                    <a:pt x="398" y="192"/>
                  </a:lnTo>
                  <a:lnTo>
                    <a:pt x="398" y="192"/>
                  </a:lnTo>
                  <a:lnTo>
                    <a:pt x="398" y="193"/>
                  </a:lnTo>
                  <a:lnTo>
                    <a:pt x="398" y="194"/>
                  </a:lnTo>
                  <a:lnTo>
                    <a:pt x="397" y="195"/>
                  </a:lnTo>
                  <a:lnTo>
                    <a:pt x="397" y="196"/>
                  </a:lnTo>
                  <a:lnTo>
                    <a:pt x="396" y="198"/>
                  </a:lnTo>
                  <a:lnTo>
                    <a:pt x="396" y="199"/>
                  </a:lnTo>
                  <a:lnTo>
                    <a:pt x="395" y="200"/>
                  </a:lnTo>
                  <a:lnTo>
                    <a:pt x="394" y="202"/>
                  </a:lnTo>
                  <a:lnTo>
                    <a:pt x="393" y="203"/>
                  </a:lnTo>
                  <a:lnTo>
                    <a:pt x="392" y="204"/>
                  </a:lnTo>
                  <a:lnTo>
                    <a:pt x="391" y="206"/>
                  </a:lnTo>
                  <a:lnTo>
                    <a:pt x="390" y="207"/>
                  </a:lnTo>
                  <a:lnTo>
                    <a:pt x="389" y="208"/>
                  </a:lnTo>
                  <a:lnTo>
                    <a:pt x="389" y="209"/>
                  </a:lnTo>
                  <a:lnTo>
                    <a:pt x="388" y="210"/>
                  </a:lnTo>
                  <a:lnTo>
                    <a:pt x="388" y="210"/>
                  </a:lnTo>
                  <a:lnTo>
                    <a:pt x="388" y="211"/>
                  </a:lnTo>
                  <a:lnTo>
                    <a:pt x="389" y="212"/>
                  </a:lnTo>
                  <a:lnTo>
                    <a:pt x="389" y="213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8" y="217"/>
                  </a:lnTo>
                  <a:lnTo>
                    <a:pt x="388" y="217"/>
                  </a:lnTo>
                  <a:lnTo>
                    <a:pt x="388" y="217"/>
                  </a:lnTo>
                  <a:lnTo>
                    <a:pt x="388" y="218"/>
                  </a:lnTo>
                  <a:lnTo>
                    <a:pt x="388" y="218"/>
                  </a:lnTo>
                  <a:lnTo>
                    <a:pt x="389" y="218"/>
                  </a:lnTo>
                  <a:lnTo>
                    <a:pt x="390" y="219"/>
                  </a:lnTo>
                  <a:lnTo>
                    <a:pt x="393" y="220"/>
                  </a:lnTo>
                  <a:lnTo>
                    <a:pt x="397" y="221"/>
                  </a:lnTo>
                  <a:lnTo>
                    <a:pt x="398" y="221"/>
                  </a:lnTo>
                  <a:lnTo>
                    <a:pt x="399" y="221"/>
                  </a:lnTo>
                  <a:lnTo>
                    <a:pt x="401" y="222"/>
                  </a:lnTo>
                  <a:lnTo>
                    <a:pt x="402" y="222"/>
                  </a:lnTo>
                  <a:lnTo>
                    <a:pt x="403" y="222"/>
                  </a:lnTo>
                  <a:lnTo>
                    <a:pt x="404" y="223"/>
                  </a:lnTo>
                  <a:lnTo>
                    <a:pt x="405" y="223"/>
                  </a:lnTo>
                  <a:lnTo>
                    <a:pt x="407" y="225"/>
                  </a:lnTo>
                  <a:lnTo>
                    <a:pt x="408" y="226"/>
                  </a:lnTo>
                  <a:lnTo>
                    <a:pt x="410" y="226"/>
                  </a:lnTo>
                  <a:lnTo>
                    <a:pt x="410" y="227"/>
                  </a:lnTo>
                  <a:lnTo>
                    <a:pt x="410" y="227"/>
                  </a:lnTo>
                  <a:lnTo>
                    <a:pt x="411" y="228"/>
                  </a:lnTo>
                  <a:lnTo>
                    <a:pt x="411" y="228"/>
                  </a:lnTo>
                  <a:lnTo>
                    <a:pt x="411" y="229"/>
                  </a:lnTo>
                  <a:lnTo>
                    <a:pt x="411" y="229"/>
                  </a:lnTo>
                  <a:lnTo>
                    <a:pt x="411" y="230"/>
                  </a:lnTo>
                  <a:lnTo>
                    <a:pt x="411" y="231"/>
                  </a:lnTo>
                  <a:lnTo>
                    <a:pt x="411" y="231"/>
                  </a:lnTo>
                  <a:lnTo>
                    <a:pt x="411" y="233"/>
                  </a:lnTo>
                  <a:lnTo>
                    <a:pt x="411" y="234"/>
                  </a:lnTo>
                  <a:lnTo>
                    <a:pt x="411" y="235"/>
                  </a:lnTo>
                  <a:lnTo>
                    <a:pt x="410" y="235"/>
                  </a:lnTo>
                  <a:lnTo>
                    <a:pt x="410" y="236"/>
                  </a:lnTo>
                  <a:lnTo>
                    <a:pt x="410" y="236"/>
                  </a:lnTo>
                  <a:lnTo>
                    <a:pt x="409" y="236"/>
                  </a:lnTo>
                  <a:lnTo>
                    <a:pt x="408" y="236"/>
                  </a:lnTo>
                  <a:lnTo>
                    <a:pt x="408" y="237"/>
                  </a:lnTo>
                  <a:lnTo>
                    <a:pt x="407" y="237"/>
                  </a:lnTo>
                  <a:lnTo>
                    <a:pt x="405" y="237"/>
                  </a:lnTo>
                  <a:lnTo>
                    <a:pt x="404" y="238"/>
                  </a:lnTo>
                  <a:lnTo>
                    <a:pt x="404" y="238"/>
                  </a:lnTo>
                  <a:lnTo>
                    <a:pt x="403" y="238"/>
                  </a:lnTo>
                  <a:lnTo>
                    <a:pt x="403" y="239"/>
                  </a:lnTo>
                  <a:lnTo>
                    <a:pt x="402" y="239"/>
                  </a:lnTo>
                  <a:lnTo>
                    <a:pt x="402" y="239"/>
                  </a:lnTo>
                  <a:lnTo>
                    <a:pt x="402" y="240"/>
                  </a:lnTo>
                  <a:lnTo>
                    <a:pt x="402" y="240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403" y="242"/>
                  </a:lnTo>
                  <a:lnTo>
                    <a:pt x="404" y="243"/>
                  </a:lnTo>
                  <a:lnTo>
                    <a:pt x="404" y="243"/>
                  </a:lnTo>
                  <a:lnTo>
                    <a:pt x="404" y="244"/>
                  </a:lnTo>
                  <a:lnTo>
                    <a:pt x="404" y="244"/>
                  </a:lnTo>
                  <a:lnTo>
                    <a:pt x="404" y="245"/>
                  </a:lnTo>
                  <a:lnTo>
                    <a:pt x="404" y="245"/>
                  </a:lnTo>
                  <a:lnTo>
                    <a:pt x="403" y="246"/>
                  </a:lnTo>
                  <a:lnTo>
                    <a:pt x="403" y="247"/>
                  </a:lnTo>
                  <a:lnTo>
                    <a:pt x="403" y="247"/>
                  </a:lnTo>
                  <a:lnTo>
                    <a:pt x="403" y="249"/>
                  </a:lnTo>
                  <a:lnTo>
                    <a:pt x="402" y="251"/>
                  </a:lnTo>
                  <a:lnTo>
                    <a:pt x="402" y="252"/>
                  </a:lnTo>
                  <a:lnTo>
                    <a:pt x="402" y="253"/>
                  </a:lnTo>
                  <a:lnTo>
                    <a:pt x="402" y="254"/>
                  </a:lnTo>
                  <a:lnTo>
                    <a:pt x="401" y="254"/>
                  </a:lnTo>
                  <a:lnTo>
                    <a:pt x="401" y="255"/>
                  </a:lnTo>
                  <a:lnTo>
                    <a:pt x="401" y="255"/>
                  </a:lnTo>
                  <a:lnTo>
                    <a:pt x="400" y="256"/>
                  </a:lnTo>
                  <a:lnTo>
                    <a:pt x="399" y="256"/>
                  </a:lnTo>
                  <a:lnTo>
                    <a:pt x="397" y="258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1"/>
                  </a:lnTo>
                  <a:lnTo>
                    <a:pt x="397" y="262"/>
                  </a:lnTo>
                  <a:lnTo>
                    <a:pt x="397" y="262"/>
                  </a:lnTo>
                  <a:lnTo>
                    <a:pt x="398" y="263"/>
                  </a:lnTo>
                  <a:lnTo>
                    <a:pt x="398" y="263"/>
                  </a:lnTo>
                  <a:lnTo>
                    <a:pt x="397" y="263"/>
                  </a:lnTo>
                  <a:lnTo>
                    <a:pt x="397" y="263"/>
                  </a:lnTo>
                  <a:lnTo>
                    <a:pt x="397" y="264"/>
                  </a:lnTo>
                  <a:lnTo>
                    <a:pt x="396" y="264"/>
                  </a:lnTo>
                  <a:lnTo>
                    <a:pt x="394" y="265"/>
                  </a:lnTo>
                  <a:lnTo>
                    <a:pt x="394" y="265"/>
                  </a:lnTo>
                  <a:lnTo>
                    <a:pt x="393" y="265"/>
                  </a:lnTo>
                  <a:lnTo>
                    <a:pt x="393" y="266"/>
                  </a:lnTo>
                  <a:lnTo>
                    <a:pt x="392" y="266"/>
                  </a:lnTo>
                  <a:lnTo>
                    <a:pt x="392" y="267"/>
                  </a:lnTo>
                  <a:lnTo>
                    <a:pt x="392" y="267"/>
                  </a:lnTo>
                  <a:lnTo>
                    <a:pt x="392" y="267"/>
                  </a:lnTo>
                  <a:lnTo>
                    <a:pt x="392" y="268"/>
                  </a:lnTo>
                  <a:lnTo>
                    <a:pt x="392" y="269"/>
                  </a:lnTo>
                  <a:lnTo>
                    <a:pt x="392" y="269"/>
                  </a:lnTo>
                  <a:lnTo>
                    <a:pt x="392" y="270"/>
                  </a:lnTo>
                  <a:lnTo>
                    <a:pt x="393" y="271"/>
                  </a:lnTo>
                  <a:lnTo>
                    <a:pt x="393" y="272"/>
                  </a:lnTo>
                  <a:lnTo>
                    <a:pt x="394" y="272"/>
                  </a:lnTo>
                  <a:lnTo>
                    <a:pt x="395" y="273"/>
                  </a:lnTo>
                  <a:lnTo>
                    <a:pt x="396" y="274"/>
                  </a:lnTo>
                  <a:lnTo>
                    <a:pt x="397" y="274"/>
                  </a:lnTo>
                  <a:lnTo>
                    <a:pt x="398" y="275"/>
                  </a:lnTo>
                  <a:lnTo>
                    <a:pt x="399" y="275"/>
                  </a:lnTo>
                  <a:lnTo>
                    <a:pt x="400" y="276"/>
                  </a:lnTo>
                  <a:lnTo>
                    <a:pt x="403" y="276"/>
                  </a:lnTo>
                  <a:lnTo>
                    <a:pt x="403" y="277"/>
                  </a:lnTo>
                  <a:lnTo>
                    <a:pt x="404" y="277"/>
                  </a:lnTo>
                  <a:lnTo>
                    <a:pt x="406" y="278"/>
                  </a:lnTo>
                  <a:lnTo>
                    <a:pt x="406" y="278"/>
                  </a:lnTo>
                  <a:lnTo>
                    <a:pt x="407" y="279"/>
                  </a:lnTo>
                  <a:lnTo>
                    <a:pt x="408" y="279"/>
                  </a:lnTo>
                  <a:lnTo>
                    <a:pt x="408" y="280"/>
                  </a:lnTo>
                  <a:lnTo>
                    <a:pt x="409" y="280"/>
                  </a:lnTo>
                  <a:lnTo>
                    <a:pt x="409" y="280"/>
                  </a:lnTo>
                  <a:lnTo>
                    <a:pt x="410" y="281"/>
                  </a:lnTo>
                  <a:lnTo>
                    <a:pt x="412" y="281"/>
                  </a:lnTo>
                  <a:lnTo>
                    <a:pt x="413" y="282"/>
                  </a:lnTo>
                  <a:lnTo>
                    <a:pt x="415" y="282"/>
                  </a:lnTo>
                  <a:lnTo>
                    <a:pt x="415" y="282"/>
                  </a:lnTo>
                  <a:lnTo>
                    <a:pt x="416" y="282"/>
                  </a:lnTo>
                  <a:lnTo>
                    <a:pt x="416" y="282"/>
                  </a:lnTo>
                  <a:lnTo>
                    <a:pt x="416" y="283"/>
                  </a:lnTo>
                  <a:lnTo>
                    <a:pt x="417" y="284"/>
                  </a:lnTo>
                  <a:lnTo>
                    <a:pt x="418" y="284"/>
                  </a:lnTo>
                  <a:lnTo>
                    <a:pt x="418" y="284"/>
                  </a:lnTo>
                  <a:lnTo>
                    <a:pt x="419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6"/>
                  </a:lnTo>
                  <a:lnTo>
                    <a:pt x="421" y="286"/>
                  </a:lnTo>
                  <a:lnTo>
                    <a:pt x="421" y="287"/>
                  </a:lnTo>
                  <a:lnTo>
                    <a:pt x="421" y="290"/>
                  </a:lnTo>
                  <a:lnTo>
                    <a:pt x="421" y="290"/>
                  </a:lnTo>
                  <a:lnTo>
                    <a:pt x="421" y="291"/>
                  </a:lnTo>
                  <a:lnTo>
                    <a:pt x="421" y="291"/>
                  </a:lnTo>
                  <a:lnTo>
                    <a:pt x="421" y="292"/>
                  </a:lnTo>
                  <a:lnTo>
                    <a:pt x="422" y="293"/>
                  </a:lnTo>
                  <a:lnTo>
                    <a:pt x="422" y="293"/>
                  </a:lnTo>
                  <a:lnTo>
                    <a:pt x="423" y="294"/>
                  </a:lnTo>
                  <a:lnTo>
                    <a:pt x="425" y="295"/>
                  </a:lnTo>
                  <a:lnTo>
                    <a:pt x="426" y="296"/>
                  </a:lnTo>
                  <a:lnTo>
                    <a:pt x="427" y="297"/>
                  </a:lnTo>
                  <a:lnTo>
                    <a:pt x="429" y="298"/>
                  </a:lnTo>
                  <a:lnTo>
                    <a:pt x="430" y="299"/>
                  </a:lnTo>
                  <a:lnTo>
                    <a:pt x="433" y="300"/>
                  </a:lnTo>
                  <a:lnTo>
                    <a:pt x="434" y="301"/>
                  </a:lnTo>
                  <a:lnTo>
                    <a:pt x="435" y="301"/>
                  </a:lnTo>
                  <a:lnTo>
                    <a:pt x="436" y="302"/>
                  </a:lnTo>
                  <a:lnTo>
                    <a:pt x="437" y="303"/>
                  </a:lnTo>
                  <a:lnTo>
                    <a:pt x="437" y="304"/>
                  </a:lnTo>
                  <a:lnTo>
                    <a:pt x="438" y="304"/>
                  </a:lnTo>
                  <a:lnTo>
                    <a:pt x="438" y="305"/>
                  </a:lnTo>
                  <a:lnTo>
                    <a:pt x="438" y="306"/>
                  </a:lnTo>
                  <a:lnTo>
                    <a:pt x="438" y="307"/>
                  </a:lnTo>
                  <a:lnTo>
                    <a:pt x="438" y="307"/>
                  </a:lnTo>
                  <a:lnTo>
                    <a:pt x="438" y="309"/>
                  </a:lnTo>
                  <a:lnTo>
                    <a:pt x="437" y="311"/>
                  </a:lnTo>
                  <a:lnTo>
                    <a:pt x="437" y="312"/>
                  </a:lnTo>
                  <a:lnTo>
                    <a:pt x="437" y="312"/>
                  </a:lnTo>
                  <a:lnTo>
                    <a:pt x="437" y="313"/>
                  </a:lnTo>
                  <a:lnTo>
                    <a:pt x="437" y="314"/>
                  </a:lnTo>
                  <a:lnTo>
                    <a:pt x="437" y="314"/>
                  </a:lnTo>
                  <a:lnTo>
                    <a:pt x="438" y="317"/>
                  </a:lnTo>
                  <a:lnTo>
                    <a:pt x="438" y="318"/>
                  </a:lnTo>
                  <a:lnTo>
                    <a:pt x="438" y="319"/>
                  </a:lnTo>
                  <a:lnTo>
                    <a:pt x="438" y="320"/>
                  </a:lnTo>
                  <a:lnTo>
                    <a:pt x="438" y="321"/>
                  </a:lnTo>
                  <a:lnTo>
                    <a:pt x="438" y="322"/>
                  </a:lnTo>
                  <a:lnTo>
                    <a:pt x="437" y="324"/>
                  </a:lnTo>
                  <a:lnTo>
                    <a:pt x="436" y="325"/>
                  </a:lnTo>
                  <a:lnTo>
                    <a:pt x="435" y="329"/>
                  </a:lnTo>
                  <a:lnTo>
                    <a:pt x="434" y="330"/>
                  </a:lnTo>
                  <a:lnTo>
                    <a:pt x="434" y="331"/>
                  </a:lnTo>
                  <a:lnTo>
                    <a:pt x="432" y="333"/>
                  </a:lnTo>
                  <a:lnTo>
                    <a:pt x="432" y="333"/>
                  </a:lnTo>
                  <a:lnTo>
                    <a:pt x="431" y="334"/>
                  </a:lnTo>
                  <a:lnTo>
                    <a:pt x="431" y="335"/>
                  </a:lnTo>
                  <a:lnTo>
                    <a:pt x="431" y="336"/>
                  </a:lnTo>
                  <a:lnTo>
                    <a:pt x="431" y="336"/>
                  </a:lnTo>
                  <a:lnTo>
                    <a:pt x="431" y="340"/>
                  </a:lnTo>
                  <a:lnTo>
                    <a:pt x="430" y="343"/>
                  </a:lnTo>
                  <a:lnTo>
                    <a:pt x="430" y="347"/>
                  </a:lnTo>
                  <a:lnTo>
                    <a:pt x="429" y="349"/>
                  </a:lnTo>
                  <a:lnTo>
                    <a:pt x="429" y="349"/>
                  </a:lnTo>
                  <a:lnTo>
                    <a:pt x="429" y="350"/>
                  </a:lnTo>
                  <a:lnTo>
                    <a:pt x="429" y="349"/>
                  </a:lnTo>
                  <a:lnTo>
                    <a:pt x="429" y="350"/>
                  </a:lnTo>
                  <a:lnTo>
                    <a:pt x="429" y="350"/>
                  </a:lnTo>
                  <a:lnTo>
                    <a:pt x="429" y="351"/>
                  </a:lnTo>
                  <a:lnTo>
                    <a:pt x="428" y="351"/>
                  </a:lnTo>
                  <a:lnTo>
                    <a:pt x="428" y="352"/>
                  </a:lnTo>
                  <a:lnTo>
                    <a:pt x="427" y="353"/>
                  </a:lnTo>
                  <a:lnTo>
                    <a:pt x="424" y="354"/>
                  </a:lnTo>
                  <a:lnTo>
                    <a:pt x="422" y="356"/>
                  </a:lnTo>
                  <a:lnTo>
                    <a:pt x="421" y="357"/>
                  </a:lnTo>
                  <a:lnTo>
                    <a:pt x="421" y="357"/>
                  </a:lnTo>
                  <a:lnTo>
                    <a:pt x="421" y="357"/>
                  </a:lnTo>
                  <a:lnTo>
                    <a:pt x="420" y="358"/>
                  </a:lnTo>
                  <a:lnTo>
                    <a:pt x="419" y="358"/>
                  </a:lnTo>
                  <a:lnTo>
                    <a:pt x="418" y="358"/>
                  </a:lnTo>
                  <a:lnTo>
                    <a:pt x="416" y="358"/>
                  </a:lnTo>
                  <a:lnTo>
                    <a:pt x="415" y="358"/>
                  </a:lnTo>
                  <a:lnTo>
                    <a:pt x="414" y="359"/>
                  </a:lnTo>
                  <a:lnTo>
                    <a:pt x="413" y="359"/>
                  </a:lnTo>
                  <a:lnTo>
                    <a:pt x="412" y="359"/>
                  </a:lnTo>
                  <a:lnTo>
                    <a:pt x="412" y="360"/>
                  </a:lnTo>
                  <a:lnTo>
                    <a:pt x="411" y="360"/>
                  </a:lnTo>
                  <a:lnTo>
                    <a:pt x="411" y="361"/>
                  </a:lnTo>
                  <a:lnTo>
                    <a:pt x="409" y="362"/>
                  </a:lnTo>
                  <a:lnTo>
                    <a:pt x="408" y="363"/>
                  </a:lnTo>
                  <a:lnTo>
                    <a:pt x="408" y="364"/>
                  </a:lnTo>
                  <a:lnTo>
                    <a:pt x="408" y="364"/>
                  </a:lnTo>
                  <a:lnTo>
                    <a:pt x="407" y="365"/>
                  </a:lnTo>
                  <a:lnTo>
                    <a:pt x="407" y="365"/>
                  </a:lnTo>
                  <a:lnTo>
                    <a:pt x="407" y="366"/>
                  </a:lnTo>
                  <a:lnTo>
                    <a:pt x="407" y="367"/>
                  </a:lnTo>
                  <a:lnTo>
                    <a:pt x="407" y="367"/>
                  </a:lnTo>
                  <a:lnTo>
                    <a:pt x="407" y="368"/>
                  </a:lnTo>
                  <a:lnTo>
                    <a:pt x="407" y="369"/>
                  </a:lnTo>
                  <a:lnTo>
                    <a:pt x="407" y="369"/>
                  </a:lnTo>
                  <a:lnTo>
                    <a:pt x="408" y="372"/>
                  </a:lnTo>
                  <a:lnTo>
                    <a:pt x="409" y="373"/>
                  </a:lnTo>
                  <a:lnTo>
                    <a:pt x="409" y="374"/>
                  </a:lnTo>
                  <a:lnTo>
                    <a:pt x="409" y="375"/>
                  </a:lnTo>
                  <a:lnTo>
                    <a:pt x="409" y="375"/>
                  </a:lnTo>
                  <a:lnTo>
                    <a:pt x="409" y="376"/>
                  </a:lnTo>
                  <a:lnTo>
                    <a:pt x="409" y="377"/>
                  </a:lnTo>
                  <a:lnTo>
                    <a:pt x="409" y="377"/>
                  </a:lnTo>
                  <a:lnTo>
                    <a:pt x="409" y="377"/>
                  </a:lnTo>
                  <a:lnTo>
                    <a:pt x="409" y="378"/>
                  </a:lnTo>
                  <a:lnTo>
                    <a:pt x="409" y="378"/>
                  </a:lnTo>
                  <a:lnTo>
                    <a:pt x="408" y="379"/>
                  </a:lnTo>
                  <a:lnTo>
                    <a:pt x="408" y="379"/>
                  </a:lnTo>
                  <a:lnTo>
                    <a:pt x="407" y="379"/>
                  </a:lnTo>
                  <a:lnTo>
                    <a:pt x="407" y="380"/>
                  </a:lnTo>
                  <a:lnTo>
                    <a:pt x="406" y="380"/>
                  </a:lnTo>
                  <a:lnTo>
                    <a:pt x="405" y="380"/>
                  </a:lnTo>
                  <a:lnTo>
                    <a:pt x="404" y="380"/>
                  </a:lnTo>
                  <a:lnTo>
                    <a:pt x="403" y="380"/>
                  </a:lnTo>
                  <a:lnTo>
                    <a:pt x="402" y="380"/>
                  </a:lnTo>
                  <a:lnTo>
                    <a:pt x="399" y="380"/>
                  </a:lnTo>
                  <a:lnTo>
                    <a:pt x="397" y="380"/>
                  </a:lnTo>
                  <a:lnTo>
                    <a:pt x="397" y="380"/>
                  </a:lnTo>
                  <a:lnTo>
                    <a:pt x="396" y="380"/>
                  </a:lnTo>
                  <a:lnTo>
                    <a:pt x="395" y="381"/>
                  </a:lnTo>
                  <a:lnTo>
                    <a:pt x="395" y="381"/>
                  </a:lnTo>
                  <a:lnTo>
                    <a:pt x="394" y="382"/>
                  </a:lnTo>
                  <a:lnTo>
                    <a:pt x="393" y="382"/>
                  </a:lnTo>
                  <a:lnTo>
                    <a:pt x="392" y="383"/>
                  </a:lnTo>
                  <a:lnTo>
                    <a:pt x="391" y="386"/>
                  </a:lnTo>
                  <a:lnTo>
                    <a:pt x="390" y="387"/>
                  </a:lnTo>
                  <a:lnTo>
                    <a:pt x="389" y="387"/>
                  </a:lnTo>
                  <a:lnTo>
                    <a:pt x="389" y="388"/>
                  </a:lnTo>
                  <a:lnTo>
                    <a:pt x="387" y="389"/>
                  </a:lnTo>
                  <a:lnTo>
                    <a:pt x="386" y="390"/>
                  </a:lnTo>
                  <a:lnTo>
                    <a:pt x="385" y="390"/>
                  </a:lnTo>
                  <a:lnTo>
                    <a:pt x="383" y="391"/>
                  </a:lnTo>
                  <a:lnTo>
                    <a:pt x="381" y="391"/>
                  </a:lnTo>
                  <a:lnTo>
                    <a:pt x="380" y="391"/>
                  </a:lnTo>
                  <a:lnTo>
                    <a:pt x="378" y="392"/>
                  </a:lnTo>
                  <a:lnTo>
                    <a:pt x="375" y="393"/>
                  </a:lnTo>
                  <a:lnTo>
                    <a:pt x="373" y="393"/>
                  </a:lnTo>
                  <a:lnTo>
                    <a:pt x="371" y="394"/>
                  </a:lnTo>
                  <a:lnTo>
                    <a:pt x="370" y="394"/>
                  </a:lnTo>
                  <a:lnTo>
                    <a:pt x="368" y="395"/>
                  </a:lnTo>
                  <a:lnTo>
                    <a:pt x="367" y="396"/>
                  </a:lnTo>
                  <a:lnTo>
                    <a:pt x="364" y="397"/>
                  </a:lnTo>
                  <a:lnTo>
                    <a:pt x="363" y="398"/>
                  </a:lnTo>
                  <a:lnTo>
                    <a:pt x="362" y="398"/>
                  </a:lnTo>
                  <a:lnTo>
                    <a:pt x="361" y="399"/>
                  </a:lnTo>
                  <a:lnTo>
                    <a:pt x="360" y="399"/>
                  </a:lnTo>
                  <a:lnTo>
                    <a:pt x="360" y="399"/>
                  </a:lnTo>
                  <a:lnTo>
                    <a:pt x="359" y="399"/>
                  </a:lnTo>
                  <a:lnTo>
                    <a:pt x="358" y="399"/>
                  </a:lnTo>
                  <a:lnTo>
                    <a:pt x="358" y="398"/>
                  </a:lnTo>
                  <a:lnTo>
                    <a:pt x="357" y="398"/>
                  </a:lnTo>
                  <a:lnTo>
                    <a:pt x="357" y="398"/>
                  </a:lnTo>
                  <a:lnTo>
                    <a:pt x="356" y="398"/>
                  </a:lnTo>
                  <a:lnTo>
                    <a:pt x="355" y="397"/>
                  </a:lnTo>
                  <a:lnTo>
                    <a:pt x="354" y="397"/>
                  </a:lnTo>
                  <a:lnTo>
                    <a:pt x="354" y="397"/>
                  </a:lnTo>
                  <a:lnTo>
                    <a:pt x="353" y="397"/>
                  </a:lnTo>
                  <a:lnTo>
                    <a:pt x="352" y="398"/>
                  </a:lnTo>
                  <a:lnTo>
                    <a:pt x="351" y="398"/>
                  </a:lnTo>
                  <a:lnTo>
                    <a:pt x="351" y="398"/>
                  </a:lnTo>
                  <a:lnTo>
                    <a:pt x="350" y="399"/>
                  </a:lnTo>
                  <a:lnTo>
                    <a:pt x="349" y="399"/>
                  </a:lnTo>
                  <a:lnTo>
                    <a:pt x="349" y="400"/>
                  </a:lnTo>
                  <a:lnTo>
                    <a:pt x="348" y="400"/>
                  </a:lnTo>
                  <a:lnTo>
                    <a:pt x="348" y="401"/>
                  </a:lnTo>
                  <a:lnTo>
                    <a:pt x="348" y="401"/>
                  </a:lnTo>
                  <a:lnTo>
                    <a:pt x="348" y="402"/>
                  </a:lnTo>
                  <a:lnTo>
                    <a:pt x="347" y="404"/>
                  </a:lnTo>
                  <a:lnTo>
                    <a:pt x="347" y="405"/>
                  </a:lnTo>
                  <a:lnTo>
                    <a:pt x="346" y="407"/>
                  </a:lnTo>
                  <a:lnTo>
                    <a:pt x="344" y="410"/>
                  </a:lnTo>
                  <a:lnTo>
                    <a:pt x="344" y="411"/>
                  </a:lnTo>
                  <a:lnTo>
                    <a:pt x="344" y="412"/>
                  </a:lnTo>
                  <a:lnTo>
                    <a:pt x="343" y="412"/>
                  </a:lnTo>
                  <a:lnTo>
                    <a:pt x="337" y="419"/>
                  </a:lnTo>
                  <a:lnTo>
                    <a:pt x="337" y="420"/>
                  </a:lnTo>
                  <a:lnTo>
                    <a:pt x="336" y="421"/>
                  </a:lnTo>
                  <a:lnTo>
                    <a:pt x="336" y="422"/>
                  </a:lnTo>
                  <a:lnTo>
                    <a:pt x="335" y="423"/>
                  </a:lnTo>
                  <a:lnTo>
                    <a:pt x="335" y="424"/>
                  </a:lnTo>
                  <a:lnTo>
                    <a:pt x="335" y="425"/>
                  </a:lnTo>
                  <a:lnTo>
                    <a:pt x="335" y="426"/>
                  </a:lnTo>
                  <a:lnTo>
                    <a:pt x="334" y="427"/>
                  </a:lnTo>
                  <a:lnTo>
                    <a:pt x="334" y="428"/>
                  </a:lnTo>
                  <a:lnTo>
                    <a:pt x="334" y="429"/>
                  </a:lnTo>
                  <a:lnTo>
                    <a:pt x="334" y="430"/>
                  </a:lnTo>
                  <a:lnTo>
                    <a:pt x="335" y="432"/>
                  </a:lnTo>
                  <a:lnTo>
                    <a:pt x="335" y="433"/>
                  </a:lnTo>
                  <a:lnTo>
                    <a:pt x="335" y="434"/>
                  </a:lnTo>
                  <a:lnTo>
                    <a:pt x="336" y="435"/>
                  </a:lnTo>
                  <a:lnTo>
                    <a:pt x="336" y="436"/>
                  </a:lnTo>
                  <a:lnTo>
                    <a:pt x="336" y="436"/>
                  </a:lnTo>
                  <a:lnTo>
                    <a:pt x="337" y="437"/>
                  </a:lnTo>
                  <a:lnTo>
                    <a:pt x="338" y="437"/>
                  </a:lnTo>
                  <a:lnTo>
                    <a:pt x="338" y="438"/>
                  </a:lnTo>
                  <a:lnTo>
                    <a:pt x="342" y="440"/>
                  </a:lnTo>
                  <a:lnTo>
                    <a:pt x="344" y="440"/>
                  </a:lnTo>
                  <a:lnTo>
                    <a:pt x="346" y="441"/>
                  </a:lnTo>
                  <a:lnTo>
                    <a:pt x="347" y="442"/>
                  </a:lnTo>
                  <a:lnTo>
                    <a:pt x="348" y="442"/>
                  </a:lnTo>
                  <a:lnTo>
                    <a:pt x="349" y="443"/>
                  </a:lnTo>
                  <a:lnTo>
                    <a:pt x="349" y="443"/>
                  </a:lnTo>
                  <a:lnTo>
                    <a:pt x="350" y="444"/>
                  </a:lnTo>
                  <a:lnTo>
                    <a:pt x="350" y="444"/>
                  </a:lnTo>
                  <a:lnTo>
                    <a:pt x="351" y="445"/>
                  </a:lnTo>
                  <a:lnTo>
                    <a:pt x="352" y="446"/>
                  </a:lnTo>
                  <a:lnTo>
                    <a:pt x="353" y="448"/>
                  </a:lnTo>
                  <a:lnTo>
                    <a:pt x="353" y="449"/>
                  </a:lnTo>
                  <a:lnTo>
                    <a:pt x="354" y="450"/>
                  </a:lnTo>
                  <a:lnTo>
                    <a:pt x="354" y="451"/>
                  </a:lnTo>
                  <a:lnTo>
                    <a:pt x="354" y="451"/>
                  </a:lnTo>
                  <a:lnTo>
                    <a:pt x="354" y="452"/>
                  </a:lnTo>
                  <a:lnTo>
                    <a:pt x="354" y="454"/>
                  </a:lnTo>
                  <a:lnTo>
                    <a:pt x="354" y="455"/>
                  </a:lnTo>
                  <a:lnTo>
                    <a:pt x="354" y="456"/>
                  </a:lnTo>
                  <a:lnTo>
                    <a:pt x="354" y="457"/>
                  </a:lnTo>
                  <a:lnTo>
                    <a:pt x="354" y="457"/>
                  </a:lnTo>
                  <a:lnTo>
                    <a:pt x="353" y="458"/>
                  </a:lnTo>
                  <a:lnTo>
                    <a:pt x="353" y="459"/>
                  </a:lnTo>
                  <a:lnTo>
                    <a:pt x="353" y="460"/>
                  </a:lnTo>
                  <a:lnTo>
                    <a:pt x="352" y="460"/>
                  </a:lnTo>
                  <a:lnTo>
                    <a:pt x="352" y="461"/>
                  </a:lnTo>
                  <a:lnTo>
                    <a:pt x="351" y="461"/>
                  </a:lnTo>
                  <a:lnTo>
                    <a:pt x="349" y="463"/>
                  </a:lnTo>
                  <a:lnTo>
                    <a:pt x="348" y="463"/>
                  </a:lnTo>
                  <a:lnTo>
                    <a:pt x="348" y="464"/>
                  </a:lnTo>
                  <a:lnTo>
                    <a:pt x="347" y="464"/>
                  </a:lnTo>
                  <a:lnTo>
                    <a:pt x="346" y="464"/>
                  </a:lnTo>
                  <a:lnTo>
                    <a:pt x="345" y="464"/>
                  </a:lnTo>
                  <a:lnTo>
                    <a:pt x="344" y="464"/>
                  </a:lnTo>
                  <a:lnTo>
                    <a:pt x="342" y="464"/>
                  </a:lnTo>
                  <a:lnTo>
                    <a:pt x="341" y="464"/>
                  </a:lnTo>
                  <a:lnTo>
                    <a:pt x="339" y="464"/>
                  </a:lnTo>
                  <a:lnTo>
                    <a:pt x="338" y="464"/>
                  </a:lnTo>
                  <a:lnTo>
                    <a:pt x="337" y="464"/>
                  </a:lnTo>
                  <a:lnTo>
                    <a:pt x="337" y="464"/>
                  </a:lnTo>
                  <a:lnTo>
                    <a:pt x="336" y="464"/>
                  </a:lnTo>
                  <a:lnTo>
                    <a:pt x="336" y="464"/>
                  </a:lnTo>
                  <a:lnTo>
                    <a:pt x="335" y="464"/>
                  </a:lnTo>
                  <a:lnTo>
                    <a:pt x="334" y="466"/>
                  </a:lnTo>
                  <a:lnTo>
                    <a:pt x="333" y="466"/>
                  </a:lnTo>
                  <a:lnTo>
                    <a:pt x="333" y="466"/>
                  </a:lnTo>
                  <a:lnTo>
                    <a:pt x="333" y="467"/>
                  </a:lnTo>
                  <a:lnTo>
                    <a:pt x="332" y="467"/>
                  </a:lnTo>
                  <a:lnTo>
                    <a:pt x="331" y="469"/>
                  </a:lnTo>
                  <a:lnTo>
                    <a:pt x="331" y="470"/>
                  </a:lnTo>
                  <a:lnTo>
                    <a:pt x="330" y="471"/>
                  </a:lnTo>
                  <a:lnTo>
                    <a:pt x="330" y="472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8" y="473"/>
                  </a:lnTo>
                  <a:lnTo>
                    <a:pt x="328" y="473"/>
                  </a:lnTo>
                  <a:lnTo>
                    <a:pt x="327" y="473"/>
                  </a:lnTo>
                  <a:lnTo>
                    <a:pt x="326" y="473"/>
                  </a:lnTo>
                  <a:lnTo>
                    <a:pt x="324" y="471"/>
                  </a:lnTo>
                  <a:lnTo>
                    <a:pt x="324" y="471"/>
                  </a:lnTo>
                  <a:lnTo>
                    <a:pt x="323" y="470"/>
                  </a:lnTo>
                  <a:lnTo>
                    <a:pt x="322" y="470"/>
                  </a:lnTo>
                  <a:lnTo>
                    <a:pt x="320" y="470"/>
                  </a:lnTo>
                  <a:lnTo>
                    <a:pt x="319" y="469"/>
                  </a:lnTo>
                  <a:lnTo>
                    <a:pt x="317" y="469"/>
                  </a:lnTo>
                  <a:lnTo>
                    <a:pt x="315" y="468"/>
                  </a:lnTo>
                  <a:lnTo>
                    <a:pt x="315" y="468"/>
                  </a:lnTo>
                  <a:lnTo>
                    <a:pt x="314" y="468"/>
                  </a:lnTo>
                  <a:lnTo>
                    <a:pt x="314" y="468"/>
                  </a:lnTo>
                  <a:lnTo>
                    <a:pt x="313" y="468"/>
                  </a:lnTo>
                  <a:lnTo>
                    <a:pt x="312" y="468"/>
                  </a:lnTo>
                  <a:lnTo>
                    <a:pt x="310" y="469"/>
                  </a:lnTo>
                  <a:lnTo>
                    <a:pt x="307" y="470"/>
                  </a:lnTo>
                  <a:lnTo>
                    <a:pt x="305" y="471"/>
                  </a:lnTo>
                  <a:lnTo>
                    <a:pt x="305" y="471"/>
                  </a:lnTo>
                  <a:lnTo>
                    <a:pt x="303" y="471"/>
                  </a:lnTo>
                  <a:lnTo>
                    <a:pt x="301" y="472"/>
                  </a:lnTo>
                  <a:lnTo>
                    <a:pt x="300" y="472"/>
                  </a:lnTo>
                  <a:lnTo>
                    <a:pt x="299" y="472"/>
                  </a:lnTo>
                  <a:lnTo>
                    <a:pt x="297" y="472"/>
                  </a:lnTo>
                  <a:lnTo>
                    <a:pt x="296" y="472"/>
                  </a:lnTo>
                  <a:lnTo>
                    <a:pt x="292" y="471"/>
                  </a:lnTo>
                  <a:lnTo>
                    <a:pt x="291" y="471"/>
                  </a:lnTo>
                  <a:lnTo>
                    <a:pt x="288" y="471"/>
                  </a:lnTo>
                  <a:lnTo>
                    <a:pt x="287" y="471"/>
                  </a:lnTo>
                  <a:lnTo>
                    <a:pt x="286" y="470"/>
                  </a:lnTo>
                  <a:lnTo>
                    <a:pt x="285" y="470"/>
                  </a:lnTo>
                  <a:lnTo>
                    <a:pt x="281" y="469"/>
                  </a:lnTo>
                  <a:lnTo>
                    <a:pt x="280" y="469"/>
                  </a:lnTo>
                  <a:lnTo>
                    <a:pt x="279" y="469"/>
                  </a:lnTo>
                  <a:lnTo>
                    <a:pt x="279" y="469"/>
                  </a:lnTo>
                  <a:lnTo>
                    <a:pt x="278" y="469"/>
                  </a:lnTo>
                  <a:lnTo>
                    <a:pt x="277" y="469"/>
                  </a:lnTo>
                  <a:lnTo>
                    <a:pt x="276" y="469"/>
                  </a:lnTo>
                  <a:lnTo>
                    <a:pt x="276" y="470"/>
                  </a:lnTo>
                  <a:lnTo>
                    <a:pt x="275" y="470"/>
                  </a:lnTo>
                  <a:lnTo>
                    <a:pt x="275" y="471"/>
                  </a:lnTo>
                  <a:lnTo>
                    <a:pt x="275" y="471"/>
                  </a:lnTo>
                  <a:lnTo>
                    <a:pt x="274" y="472"/>
                  </a:lnTo>
                  <a:lnTo>
                    <a:pt x="274" y="472"/>
                  </a:lnTo>
                  <a:lnTo>
                    <a:pt x="274" y="473"/>
                  </a:lnTo>
                  <a:lnTo>
                    <a:pt x="274" y="473"/>
                  </a:lnTo>
                  <a:lnTo>
                    <a:pt x="274" y="474"/>
                  </a:lnTo>
                  <a:lnTo>
                    <a:pt x="275" y="476"/>
                  </a:lnTo>
                  <a:lnTo>
                    <a:pt x="275" y="477"/>
                  </a:lnTo>
                  <a:lnTo>
                    <a:pt x="275" y="477"/>
                  </a:lnTo>
                  <a:lnTo>
                    <a:pt x="275" y="478"/>
                  </a:lnTo>
                  <a:lnTo>
                    <a:pt x="275" y="478"/>
                  </a:lnTo>
                  <a:lnTo>
                    <a:pt x="275" y="478"/>
                  </a:lnTo>
                  <a:lnTo>
                    <a:pt x="274" y="479"/>
                  </a:lnTo>
                  <a:lnTo>
                    <a:pt x="274" y="479"/>
                  </a:lnTo>
                  <a:lnTo>
                    <a:pt x="273" y="479"/>
                  </a:lnTo>
                  <a:lnTo>
                    <a:pt x="273" y="480"/>
                  </a:lnTo>
                  <a:lnTo>
                    <a:pt x="272" y="480"/>
                  </a:lnTo>
                  <a:lnTo>
                    <a:pt x="271" y="480"/>
                  </a:lnTo>
                  <a:lnTo>
                    <a:pt x="266" y="482"/>
                  </a:lnTo>
                  <a:lnTo>
                    <a:pt x="265" y="482"/>
                  </a:lnTo>
                  <a:lnTo>
                    <a:pt x="265" y="482"/>
                  </a:lnTo>
                  <a:lnTo>
                    <a:pt x="264" y="482"/>
                  </a:lnTo>
                  <a:lnTo>
                    <a:pt x="264" y="483"/>
                  </a:lnTo>
                  <a:lnTo>
                    <a:pt x="264" y="483"/>
                  </a:lnTo>
                  <a:lnTo>
                    <a:pt x="263" y="484"/>
                  </a:lnTo>
                  <a:lnTo>
                    <a:pt x="263" y="484"/>
                  </a:lnTo>
                  <a:lnTo>
                    <a:pt x="263" y="485"/>
                  </a:lnTo>
                  <a:lnTo>
                    <a:pt x="262" y="486"/>
                  </a:lnTo>
                  <a:lnTo>
                    <a:pt x="262" y="487"/>
                  </a:lnTo>
                  <a:lnTo>
                    <a:pt x="262" y="490"/>
                  </a:lnTo>
                  <a:lnTo>
                    <a:pt x="261" y="491"/>
                  </a:lnTo>
                  <a:lnTo>
                    <a:pt x="261" y="492"/>
                  </a:lnTo>
                  <a:lnTo>
                    <a:pt x="260" y="494"/>
                  </a:lnTo>
                  <a:lnTo>
                    <a:pt x="260" y="494"/>
                  </a:lnTo>
                  <a:lnTo>
                    <a:pt x="260" y="494"/>
                  </a:lnTo>
                  <a:lnTo>
                    <a:pt x="259" y="495"/>
                  </a:lnTo>
                  <a:lnTo>
                    <a:pt x="258" y="495"/>
                  </a:lnTo>
                  <a:lnTo>
                    <a:pt x="258" y="495"/>
                  </a:lnTo>
                  <a:lnTo>
                    <a:pt x="257" y="495"/>
                  </a:lnTo>
                  <a:lnTo>
                    <a:pt x="256" y="495"/>
                  </a:lnTo>
                  <a:lnTo>
                    <a:pt x="256" y="495"/>
                  </a:lnTo>
                  <a:lnTo>
                    <a:pt x="255" y="495"/>
                  </a:lnTo>
                  <a:lnTo>
                    <a:pt x="254" y="495"/>
                  </a:lnTo>
                  <a:lnTo>
                    <a:pt x="254" y="495"/>
                  </a:lnTo>
                  <a:lnTo>
                    <a:pt x="252" y="494"/>
                  </a:lnTo>
                  <a:lnTo>
                    <a:pt x="252" y="494"/>
                  </a:lnTo>
                  <a:lnTo>
                    <a:pt x="251" y="494"/>
                  </a:lnTo>
                  <a:lnTo>
                    <a:pt x="250" y="493"/>
                  </a:lnTo>
                  <a:lnTo>
                    <a:pt x="250" y="492"/>
                  </a:lnTo>
                  <a:lnTo>
                    <a:pt x="249" y="492"/>
                  </a:lnTo>
                  <a:lnTo>
                    <a:pt x="248" y="491"/>
                  </a:lnTo>
                  <a:lnTo>
                    <a:pt x="247" y="489"/>
                  </a:lnTo>
                  <a:lnTo>
                    <a:pt x="246" y="487"/>
                  </a:lnTo>
                  <a:lnTo>
                    <a:pt x="245" y="484"/>
                  </a:lnTo>
                  <a:lnTo>
                    <a:pt x="244" y="482"/>
                  </a:lnTo>
                  <a:lnTo>
                    <a:pt x="243" y="481"/>
                  </a:lnTo>
                  <a:lnTo>
                    <a:pt x="243" y="479"/>
                  </a:lnTo>
                  <a:lnTo>
                    <a:pt x="242" y="478"/>
                  </a:lnTo>
                  <a:lnTo>
                    <a:pt x="242" y="478"/>
                  </a:lnTo>
                  <a:lnTo>
                    <a:pt x="242" y="477"/>
                  </a:lnTo>
                  <a:lnTo>
                    <a:pt x="242" y="477"/>
                  </a:lnTo>
                  <a:lnTo>
                    <a:pt x="241" y="477"/>
                  </a:lnTo>
                  <a:lnTo>
                    <a:pt x="241" y="477"/>
                  </a:lnTo>
                  <a:lnTo>
                    <a:pt x="240" y="477"/>
                  </a:lnTo>
                  <a:lnTo>
                    <a:pt x="240" y="477"/>
                  </a:lnTo>
                  <a:lnTo>
                    <a:pt x="239" y="477"/>
                  </a:lnTo>
                  <a:lnTo>
                    <a:pt x="238" y="478"/>
                  </a:lnTo>
                  <a:lnTo>
                    <a:pt x="237" y="478"/>
                  </a:lnTo>
                  <a:lnTo>
                    <a:pt x="236" y="479"/>
                  </a:lnTo>
                  <a:lnTo>
                    <a:pt x="235" y="479"/>
                  </a:lnTo>
                  <a:lnTo>
                    <a:pt x="235" y="479"/>
                  </a:lnTo>
                  <a:lnTo>
                    <a:pt x="234" y="479"/>
                  </a:lnTo>
                  <a:lnTo>
                    <a:pt x="234" y="479"/>
                  </a:lnTo>
                  <a:lnTo>
                    <a:pt x="233" y="479"/>
                  </a:lnTo>
                  <a:lnTo>
                    <a:pt x="233" y="479"/>
                  </a:lnTo>
                  <a:lnTo>
                    <a:pt x="232" y="478"/>
                  </a:lnTo>
                  <a:lnTo>
                    <a:pt x="231" y="477"/>
                  </a:lnTo>
                  <a:lnTo>
                    <a:pt x="230" y="477"/>
                  </a:lnTo>
                  <a:lnTo>
                    <a:pt x="228" y="475"/>
                  </a:lnTo>
                  <a:lnTo>
                    <a:pt x="225" y="473"/>
                  </a:lnTo>
                  <a:lnTo>
                    <a:pt x="224" y="472"/>
                  </a:lnTo>
                  <a:lnTo>
                    <a:pt x="223" y="471"/>
                  </a:lnTo>
                  <a:lnTo>
                    <a:pt x="222" y="471"/>
                  </a:lnTo>
                  <a:lnTo>
                    <a:pt x="221" y="470"/>
                  </a:lnTo>
                  <a:lnTo>
                    <a:pt x="217" y="468"/>
                  </a:lnTo>
                  <a:lnTo>
                    <a:pt x="216" y="467"/>
                  </a:lnTo>
                  <a:lnTo>
                    <a:pt x="215" y="467"/>
                  </a:lnTo>
                  <a:lnTo>
                    <a:pt x="213" y="465"/>
                  </a:lnTo>
                  <a:lnTo>
                    <a:pt x="212" y="465"/>
                  </a:lnTo>
                  <a:lnTo>
                    <a:pt x="211" y="464"/>
                  </a:lnTo>
                  <a:lnTo>
                    <a:pt x="210" y="464"/>
                  </a:lnTo>
                  <a:lnTo>
                    <a:pt x="210" y="464"/>
                  </a:lnTo>
                  <a:lnTo>
                    <a:pt x="210" y="464"/>
                  </a:lnTo>
                  <a:lnTo>
                    <a:pt x="209" y="465"/>
                  </a:lnTo>
                  <a:lnTo>
                    <a:pt x="209" y="465"/>
                  </a:lnTo>
                  <a:lnTo>
                    <a:pt x="207" y="466"/>
                  </a:lnTo>
                  <a:lnTo>
                    <a:pt x="205" y="467"/>
                  </a:lnTo>
                  <a:lnTo>
                    <a:pt x="204" y="468"/>
                  </a:lnTo>
                  <a:lnTo>
                    <a:pt x="204" y="469"/>
                  </a:lnTo>
                  <a:lnTo>
                    <a:pt x="203" y="469"/>
                  </a:lnTo>
                  <a:lnTo>
                    <a:pt x="203" y="471"/>
                  </a:lnTo>
                  <a:lnTo>
                    <a:pt x="202" y="471"/>
                  </a:lnTo>
                  <a:lnTo>
                    <a:pt x="202" y="472"/>
                  </a:lnTo>
                  <a:lnTo>
                    <a:pt x="201" y="473"/>
                  </a:lnTo>
                  <a:lnTo>
                    <a:pt x="200" y="473"/>
                  </a:lnTo>
                  <a:lnTo>
                    <a:pt x="200" y="474"/>
                  </a:lnTo>
                  <a:lnTo>
                    <a:pt x="199" y="474"/>
                  </a:lnTo>
                  <a:lnTo>
                    <a:pt x="199" y="475"/>
                  </a:lnTo>
                  <a:lnTo>
                    <a:pt x="199" y="475"/>
                  </a:lnTo>
                  <a:lnTo>
                    <a:pt x="199" y="477"/>
                  </a:lnTo>
                  <a:lnTo>
                    <a:pt x="199" y="478"/>
                  </a:lnTo>
                  <a:lnTo>
                    <a:pt x="199" y="479"/>
                  </a:lnTo>
                  <a:lnTo>
                    <a:pt x="198" y="481"/>
                  </a:lnTo>
                  <a:lnTo>
                    <a:pt x="198" y="482"/>
                  </a:lnTo>
                  <a:lnTo>
                    <a:pt x="198" y="484"/>
                  </a:lnTo>
                  <a:lnTo>
                    <a:pt x="198" y="484"/>
                  </a:lnTo>
                  <a:lnTo>
                    <a:pt x="198" y="485"/>
                  </a:lnTo>
                  <a:lnTo>
                    <a:pt x="199" y="487"/>
                  </a:lnTo>
                  <a:lnTo>
                    <a:pt x="199" y="489"/>
                  </a:lnTo>
                  <a:lnTo>
                    <a:pt x="200" y="491"/>
                  </a:lnTo>
                  <a:lnTo>
                    <a:pt x="200" y="492"/>
                  </a:lnTo>
                  <a:lnTo>
                    <a:pt x="200" y="492"/>
                  </a:lnTo>
                  <a:lnTo>
                    <a:pt x="200" y="493"/>
                  </a:lnTo>
                  <a:lnTo>
                    <a:pt x="199" y="494"/>
                  </a:lnTo>
                  <a:lnTo>
                    <a:pt x="199" y="494"/>
                  </a:lnTo>
                  <a:lnTo>
                    <a:pt x="199" y="494"/>
                  </a:lnTo>
                  <a:lnTo>
                    <a:pt x="198" y="495"/>
                  </a:lnTo>
                  <a:lnTo>
                    <a:pt x="198" y="495"/>
                  </a:lnTo>
                  <a:lnTo>
                    <a:pt x="196" y="496"/>
                  </a:lnTo>
                  <a:lnTo>
                    <a:pt x="195" y="496"/>
                  </a:lnTo>
                  <a:lnTo>
                    <a:pt x="194" y="497"/>
                  </a:lnTo>
                  <a:lnTo>
                    <a:pt x="191" y="498"/>
                  </a:lnTo>
                  <a:lnTo>
                    <a:pt x="190" y="498"/>
                  </a:lnTo>
                  <a:lnTo>
                    <a:pt x="189" y="498"/>
                  </a:lnTo>
                  <a:lnTo>
                    <a:pt x="188" y="499"/>
                  </a:lnTo>
                  <a:lnTo>
                    <a:pt x="186" y="500"/>
                  </a:lnTo>
                  <a:lnTo>
                    <a:pt x="184" y="502"/>
                  </a:lnTo>
                  <a:lnTo>
                    <a:pt x="181" y="504"/>
                  </a:lnTo>
                  <a:lnTo>
                    <a:pt x="180" y="505"/>
                  </a:lnTo>
                  <a:lnTo>
                    <a:pt x="179" y="507"/>
                  </a:lnTo>
                  <a:lnTo>
                    <a:pt x="178" y="508"/>
                  </a:lnTo>
                  <a:lnTo>
                    <a:pt x="177" y="509"/>
                  </a:lnTo>
                  <a:lnTo>
                    <a:pt x="176" y="511"/>
                  </a:lnTo>
                  <a:lnTo>
                    <a:pt x="175" y="511"/>
                  </a:lnTo>
                  <a:lnTo>
                    <a:pt x="175" y="512"/>
                  </a:lnTo>
                  <a:lnTo>
                    <a:pt x="174" y="512"/>
                  </a:lnTo>
                  <a:lnTo>
                    <a:pt x="174" y="512"/>
                  </a:lnTo>
                  <a:lnTo>
                    <a:pt x="174" y="512"/>
                  </a:lnTo>
                  <a:lnTo>
                    <a:pt x="173" y="512"/>
                  </a:lnTo>
                  <a:lnTo>
                    <a:pt x="173" y="512"/>
                  </a:lnTo>
                  <a:lnTo>
                    <a:pt x="173" y="512"/>
                  </a:lnTo>
                  <a:lnTo>
                    <a:pt x="172" y="512"/>
                  </a:lnTo>
                  <a:lnTo>
                    <a:pt x="172" y="512"/>
                  </a:lnTo>
                  <a:lnTo>
                    <a:pt x="170" y="510"/>
                  </a:lnTo>
                  <a:lnTo>
                    <a:pt x="169" y="510"/>
                  </a:lnTo>
                  <a:lnTo>
                    <a:pt x="168" y="509"/>
                  </a:lnTo>
                  <a:lnTo>
                    <a:pt x="166" y="509"/>
                  </a:lnTo>
                  <a:lnTo>
                    <a:pt x="165" y="508"/>
                  </a:lnTo>
                  <a:lnTo>
                    <a:pt x="163" y="508"/>
                  </a:lnTo>
                  <a:lnTo>
                    <a:pt x="162" y="508"/>
                  </a:lnTo>
                  <a:lnTo>
                    <a:pt x="160" y="507"/>
                  </a:lnTo>
                  <a:lnTo>
                    <a:pt x="158" y="507"/>
                  </a:lnTo>
                  <a:lnTo>
                    <a:pt x="158" y="507"/>
                  </a:lnTo>
                  <a:lnTo>
                    <a:pt x="157" y="507"/>
                  </a:lnTo>
                  <a:lnTo>
                    <a:pt x="157" y="506"/>
                  </a:lnTo>
                  <a:lnTo>
                    <a:pt x="156" y="506"/>
                  </a:lnTo>
                  <a:lnTo>
                    <a:pt x="156" y="506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5" y="504"/>
                  </a:lnTo>
                  <a:lnTo>
                    <a:pt x="155" y="504"/>
                  </a:lnTo>
                  <a:lnTo>
                    <a:pt x="156" y="501"/>
                  </a:lnTo>
                  <a:lnTo>
                    <a:pt x="156" y="500"/>
                  </a:lnTo>
                  <a:lnTo>
                    <a:pt x="156" y="500"/>
                  </a:lnTo>
                  <a:lnTo>
                    <a:pt x="156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3" y="500"/>
                  </a:lnTo>
                  <a:lnTo>
                    <a:pt x="151" y="500"/>
                  </a:lnTo>
                  <a:lnTo>
                    <a:pt x="150" y="500"/>
                  </a:lnTo>
                  <a:lnTo>
                    <a:pt x="148" y="501"/>
                  </a:lnTo>
                  <a:lnTo>
                    <a:pt x="147" y="501"/>
                  </a:lnTo>
                  <a:lnTo>
                    <a:pt x="146" y="501"/>
                  </a:lnTo>
                  <a:lnTo>
                    <a:pt x="144" y="501"/>
                  </a:lnTo>
                  <a:lnTo>
                    <a:pt x="143" y="501"/>
                  </a:lnTo>
                  <a:lnTo>
                    <a:pt x="139" y="500"/>
                  </a:lnTo>
                  <a:lnTo>
                    <a:pt x="137" y="500"/>
                  </a:lnTo>
                  <a:lnTo>
                    <a:pt x="136" y="500"/>
                  </a:lnTo>
                  <a:lnTo>
                    <a:pt x="135" y="499"/>
                  </a:lnTo>
                  <a:lnTo>
                    <a:pt x="134" y="499"/>
                  </a:lnTo>
                  <a:lnTo>
                    <a:pt x="132" y="498"/>
                  </a:lnTo>
                  <a:lnTo>
                    <a:pt x="132" y="498"/>
                  </a:lnTo>
                  <a:lnTo>
                    <a:pt x="131" y="498"/>
                  </a:lnTo>
                  <a:lnTo>
                    <a:pt x="130" y="498"/>
                  </a:lnTo>
                  <a:lnTo>
                    <a:pt x="129" y="497"/>
                  </a:lnTo>
                  <a:lnTo>
                    <a:pt x="127" y="497"/>
                  </a:lnTo>
                  <a:lnTo>
                    <a:pt x="126" y="497"/>
                  </a:lnTo>
                  <a:lnTo>
                    <a:pt x="125" y="497"/>
                  </a:lnTo>
                  <a:lnTo>
                    <a:pt x="125" y="497"/>
                  </a:lnTo>
                  <a:lnTo>
                    <a:pt x="124" y="498"/>
                  </a:lnTo>
                  <a:lnTo>
                    <a:pt x="123" y="498"/>
                  </a:lnTo>
                  <a:lnTo>
                    <a:pt x="122" y="499"/>
                  </a:lnTo>
                  <a:lnTo>
                    <a:pt x="121" y="500"/>
                  </a:lnTo>
                  <a:lnTo>
                    <a:pt x="120" y="500"/>
                  </a:lnTo>
                  <a:lnTo>
                    <a:pt x="120" y="500"/>
                  </a:lnTo>
                  <a:lnTo>
                    <a:pt x="119" y="500"/>
                  </a:lnTo>
                  <a:lnTo>
                    <a:pt x="119" y="500"/>
                  </a:lnTo>
                  <a:lnTo>
                    <a:pt x="118" y="500"/>
                  </a:lnTo>
                  <a:lnTo>
                    <a:pt x="117" y="499"/>
                  </a:lnTo>
                  <a:lnTo>
                    <a:pt x="116" y="499"/>
                  </a:lnTo>
                  <a:lnTo>
                    <a:pt x="113" y="496"/>
                  </a:lnTo>
                  <a:lnTo>
                    <a:pt x="112" y="496"/>
                  </a:lnTo>
                  <a:lnTo>
                    <a:pt x="111" y="495"/>
                  </a:lnTo>
                  <a:lnTo>
                    <a:pt x="109" y="495"/>
                  </a:lnTo>
                  <a:lnTo>
                    <a:pt x="108" y="494"/>
                  </a:lnTo>
                  <a:lnTo>
                    <a:pt x="107" y="494"/>
                  </a:lnTo>
                  <a:lnTo>
                    <a:pt x="105" y="492"/>
                  </a:lnTo>
                  <a:lnTo>
                    <a:pt x="104" y="492"/>
                  </a:lnTo>
                  <a:lnTo>
                    <a:pt x="103" y="492"/>
                  </a:lnTo>
                  <a:lnTo>
                    <a:pt x="103" y="492"/>
                  </a:lnTo>
                  <a:lnTo>
                    <a:pt x="102" y="492"/>
                  </a:lnTo>
                  <a:lnTo>
                    <a:pt x="102" y="492"/>
                  </a:lnTo>
                  <a:lnTo>
                    <a:pt x="102" y="493"/>
                  </a:lnTo>
                  <a:lnTo>
                    <a:pt x="102" y="493"/>
                  </a:lnTo>
                  <a:lnTo>
                    <a:pt x="102" y="493"/>
                  </a:lnTo>
                  <a:lnTo>
                    <a:pt x="102" y="494"/>
                  </a:lnTo>
                  <a:lnTo>
                    <a:pt x="102" y="496"/>
                  </a:lnTo>
                  <a:lnTo>
                    <a:pt x="102" y="497"/>
                  </a:lnTo>
                  <a:lnTo>
                    <a:pt x="102" y="497"/>
                  </a:lnTo>
                  <a:lnTo>
                    <a:pt x="102" y="498"/>
                  </a:lnTo>
                  <a:lnTo>
                    <a:pt x="102" y="498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99" y="498"/>
                  </a:lnTo>
                  <a:lnTo>
                    <a:pt x="98" y="498"/>
                  </a:lnTo>
                  <a:lnTo>
                    <a:pt x="97" y="498"/>
                  </a:lnTo>
                  <a:lnTo>
                    <a:pt x="96" y="498"/>
                  </a:lnTo>
                  <a:lnTo>
                    <a:pt x="95" y="499"/>
                  </a:lnTo>
                  <a:lnTo>
                    <a:pt x="94" y="499"/>
                  </a:lnTo>
                  <a:lnTo>
                    <a:pt x="93" y="500"/>
                  </a:lnTo>
                  <a:lnTo>
                    <a:pt x="90" y="502"/>
                  </a:lnTo>
                  <a:lnTo>
                    <a:pt x="90" y="502"/>
                  </a:lnTo>
                  <a:lnTo>
                    <a:pt x="89" y="502"/>
                  </a:lnTo>
                  <a:lnTo>
                    <a:pt x="89" y="503"/>
                  </a:lnTo>
                  <a:lnTo>
                    <a:pt x="87" y="503"/>
                  </a:lnTo>
                  <a:lnTo>
                    <a:pt x="86" y="503"/>
                  </a:lnTo>
                  <a:lnTo>
                    <a:pt x="85" y="503"/>
                  </a:lnTo>
                  <a:lnTo>
                    <a:pt x="84" y="503"/>
                  </a:lnTo>
                  <a:lnTo>
                    <a:pt x="82" y="503"/>
                  </a:lnTo>
                  <a:lnTo>
                    <a:pt x="81" y="503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79" y="502"/>
                  </a:lnTo>
                  <a:lnTo>
                    <a:pt x="79" y="501"/>
                  </a:lnTo>
                  <a:lnTo>
                    <a:pt x="78" y="499"/>
                  </a:lnTo>
                  <a:lnTo>
                    <a:pt x="78" y="499"/>
                  </a:lnTo>
                  <a:lnTo>
                    <a:pt x="78" y="499"/>
                  </a:lnTo>
                  <a:lnTo>
                    <a:pt x="78" y="498"/>
                  </a:lnTo>
                  <a:lnTo>
                    <a:pt x="77" y="497"/>
                  </a:lnTo>
                  <a:lnTo>
                    <a:pt x="76" y="497"/>
                  </a:lnTo>
                  <a:lnTo>
                    <a:pt x="75" y="496"/>
                  </a:lnTo>
                  <a:lnTo>
                    <a:pt x="75" y="496"/>
                  </a:lnTo>
                  <a:lnTo>
                    <a:pt x="73" y="495"/>
                  </a:lnTo>
                  <a:lnTo>
                    <a:pt x="72" y="494"/>
                  </a:lnTo>
                  <a:lnTo>
                    <a:pt x="70" y="494"/>
                  </a:lnTo>
                  <a:lnTo>
                    <a:pt x="70" y="494"/>
                  </a:lnTo>
                  <a:lnTo>
                    <a:pt x="69" y="493"/>
                  </a:lnTo>
                  <a:lnTo>
                    <a:pt x="69" y="493"/>
                  </a:lnTo>
                  <a:lnTo>
                    <a:pt x="68" y="492"/>
                  </a:lnTo>
                  <a:lnTo>
                    <a:pt x="68" y="492"/>
                  </a:lnTo>
                  <a:lnTo>
                    <a:pt x="67" y="490"/>
                  </a:lnTo>
                  <a:lnTo>
                    <a:pt x="66" y="489"/>
                  </a:lnTo>
                  <a:lnTo>
                    <a:pt x="65" y="489"/>
                  </a:lnTo>
                  <a:lnTo>
                    <a:pt x="64" y="488"/>
                  </a:lnTo>
                  <a:lnTo>
                    <a:pt x="63" y="487"/>
                  </a:lnTo>
                  <a:lnTo>
                    <a:pt x="62" y="487"/>
                  </a:lnTo>
                  <a:lnTo>
                    <a:pt x="60" y="486"/>
                  </a:lnTo>
                  <a:lnTo>
                    <a:pt x="59" y="486"/>
                  </a:lnTo>
                  <a:lnTo>
                    <a:pt x="59" y="486"/>
                  </a:lnTo>
                  <a:lnTo>
                    <a:pt x="58" y="486"/>
                  </a:lnTo>
                  <a:lnTo>
                    <a:pt x="57" y="486"/>
                  </a:lnTo>
                  <a:lnTo>
                    <a:pt x="56" y="486"/>
                  </a:lnTo>
                  <a:lnTo>
                    <a:pt x="54" y="487"/>
                  </a:lnTo>
                  <a:lnTo>
                    <a:pt x="51" y="488"/>
                  </a:lnTo>
                  <a:lnTo>
                    <a:pt x="50" y="488"/>
                  </a:lnTo>
                  <a:lnTo>
                    <a:pt x="49" y="488"/>
                  </a:lnTo>
                  <a:lnTo>
                    <a:pt x="49" y="489"/>
                  </a:lnTo>
                  <a:lnTo>
                    <a:pt x="48" y="490"/>
                  </a:lnTo>
                  <a:lnTo>
                    <a:pt x="48" y="490"/>
                  </a:lnTo>
                  <a:lnTo>
                    <a:pt x="47" y="492"/>
                  </a:lnTo>
                  <a:lnTo>
                    <a:pt x="46" y="494"/>
                  </a:lnTo>
                  <a:lnTo>
                    <a:pt x="45" y="495"/>
                  </a:lnTo>
                  <a:lnTo>
                    <a:pt x="44" y="496"/>
                  </a:lnTo>
                  <a:lnTo>
                    <a:pt x="44" y="498"/>
                  </a:lnTo>
                  <a:lnTo>
                    <a:pt x="43" y="499"/>
                  </a:lnTo>
                  <a:lnTo>
                    <a:pt x="43" y="499"/>
                  </a:lnTo>
                  <a:lnTo>
                    <a:pt x="42" y="499"/>
                  </a:lnTo>
                  <a:lnTo>
                    <a:pt x="42" y="499"/>
                  </a:lnTo>
                  <a:lnTo>
                    <a:pt x="41" y="499"/>
                  </a:lnTo>
                  <a:lnTo>
                    <a:pt x="41" y="499"/>
                  </a:lnTo>
                  <a:lnTo>
                    <a:pt x="39" y="499"/>
                  </a:lnTo>
                  <a:lnTo>
                    <a:pt x="38" y="499"/>
                  </a:lnTo>
                  <a:lnTo>
                    <a:pt x="36" y="499"/>
                  </a:lnTo>
                  <a:lnTo>
                    <a:pt x="33" y="500"/>
                  </a:lnTo>
                  <a:lnTo>
                    <a:pt x="25" y="500"/>
                  </a:lnTo>
                  <a:lnTo>
                    <a:pt x="24" y="500"/>
                  </a:lnTo>
                  <a:lnTo>
                    <a:pt x="20" y="500"/>
                  </a:lnTo>
                  <a:lnTo>
                    <a:pt x="19" y="500"/>
                  </a:lnTo>
                  <a:lnTo>
                    <a:pt x="18" y="500"/>
                  </a:lnTo>
                  <a:lnTo>
                    <a:pt x="16" y="501"/>
                  </a:lnTo>
                  <a:lnTo>
                    <a:pt x="15" y="501"/>
                  </a:lnTo>
                  <a:lnTo>
                    <a:pt x="13" y="501"/>
                  </a:lnTo>
                  <a:lnTo>
                    <a:pt x="11" y="501"/>
                  </a:lnTo>
                  <a:lnTo>
                    <a:pt x="11" y="501"/>
                  </a:lnTo>
                  <a:lnTo>
                    <a:pt x="10" y="501"/>
                  </a:lnTo>
                  <a:lnTo>
                    <a:pt x="9" y="501"/>
                  </a:lnTo>
                  <a:lnTo>
                    <a:pt x="8" y="501"/>
                  </a:lnTo>
                  <a:lnTo>
                    <a:pt x="7" y="502"/>
                  </a:lnTo>
                  <a:lnTo>
                    <a:pt x="5" y="501"/>
                  </a:lnTo>
                  <a:lnTo>
                    <a:pt x="5" y="501"/>
                  </a:lnTo>
                  <a:lnTo>
                    <a:pt x="4" y="501"/>
                  </a:lnTo>
                  <a:lnTo>
                    <a:pt x="3" y="501"/>
                  </a:lnTo>
                  <a:lnTo>
                    <a:pt x="2" y="500"/>
                  </a:lnTo>
                  <a:lnTo>
                    <a:pt x="2" y="500"/>
                  </a:lnTo>
                  <a:lnTo>
                    <a:pt x="1" y="499"/>
                  </a:lnTo>
                  <a:lnTo>
                    <a:pt x="1" y="499"/>
                  </a:lnTo>
                  <a:lnTo>
                    <a:pt x="0" y="498"/>
                  </a:lnTo>
                  <a:lnTo>
                    <a:pt x="0" y="498"/>
                  </a:lnTo>
                  <a:lnTo>
                    <a:pt x="0" y="497"/>
                  </a:lnTo>
                  <a:lnTo>
                    <a:pt x="0" y="496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Freeform 9">
              <a:extLst>
                <a:ext uri="{FF2B5EF4-FFF2-40B4-BE49-F238E27FC236}">
                  <a16:creationId xmlns:a16="http://schemas.microsoft.com/office/drawing/2014/main" id="{7837A00A-345B-ABF5-4E59-0E55E5EC2F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" y="3069"/>
              <a:ext cx="451" cy="513"/>
            </a:xfrm>
            <a:custGeom>
              <a:avLst/>
              <a:gdLst>
                <a:gd name="T0" fmla="*/ 182 w 451"/>
                <a:gd name="T1" fmla="*/ 492 h 513"/>
                <a:gd name="T2" fmla="*/ 173 w 451"/>
                <a:gd name="T3" fmla="*/ 504 h 513"/>
                <a:gd name="T4" fmla="*/ 155 w 451"/>
                <a:gd name="T5" fmla="*/ 512 h 513"/>
                <a:gd name="T6" fmla="*/ 142 w 451"/>
                <a:gd name="T7" fmla="*/ 509 h 513"/>
                <a:gd name="T8" fmla="*/ 127 w 451"/>
                <a:gd name="T9" fmla="*/ 508 h 513"/>
                <a:gd name="T10" fmla="*/ 109 w 451"/>
                <a:gd name="T11" fmla="*/ 508 h 513"/>
                <a:gd name="T12" fmla="*/ 103 w 451"/>
                <a:gd name="T13" fmla="*/ 497 h 513"/>
                <a:gd name="T14" fmla="*/ 97 w 451"/>
                <a:gd name="T15" fmla="*/ 484 h 513"/>
                <a:gd name="T16" fmla="*/ 98 w 451"/>
                <a:gd name="T17" fmla="*/ 458 h 513"/>
                <a:gd name="T18" fmla="*/ 86 w 451"/>
                <a:gd name="T19" fmla="*/ 455 h 513"/>
                <a:gd name="T20" fmla="*/ 83 w 451"/>
                <a:gd name="T21" fmla="*/ 447 h 513"/>
                <a:gd name="T22" fmla="*/ 84 w 451"/>
                <a:gd name="T23" fmla="*/ 439 h 513"/>
                <a:gd name="T24" fmla="*/ 90 w 451"/>
                <a:gd name="T25" fmla="*/ 431 h 513"/>
                <a:gd name="T26" fmla="*/ 79 w 451"/>
                <a:gd name="T27" fmla="*/ 429 h 513"/>
                <a:gd name="T28" fmla="*/ 86 w 451"/>
                <a:gd name="T29" fmla="*/ 413 h 513"/>
                <a:gd name="T30" fmla="*/ 102 w 451"/>
                <a:gd name="T31" fmla="*/ 410 h 513"/>
                <a:gd name="T32" fmla="*/ 116 w 451"/>
                <a:gd name="T33" fmla="*/ 399 h 513"/>
                <a:gd name="T34" fmla="*/ 113 w 451"/>
                <a:gd name="T35" fmla="*/ 391 h 513"/>
                <a:gd name="T36" fmla="*/ 117 w 451"/>
                <a:gd name="T37" fmla="*/ 370 h 513"/>
                <a:gd name="T38" fmla="*/ 122 w 451"/>
                <a:gd name="T39" fmla="*/ 346 h 513"/>
                <a:gd name="T40" fmla="*/ 124 w 451"/>
                <a:gd name="T41" fmla="*/ 319 h 513"/>
                <a:gd name="T42" fmla="*/ 103 w 451"/>
                <a:gd name="T43" fmla="*/ 308 h 513"/>
                <a:gd name="T44" fmla="*/ 92 w 451"/>
                <a:gd name="T45" fmla="*/ 298 h 513"/>
                <a:gd name="T46" fmla="*/ 72 w 451"/>
                <a:gd name="T47" fmla="*/ 283 h 513"/>
                <a:gd name="T48" fmla="*/ 51 w 451"/>
                <a:gd name="T49" fmla="*/ 284 h 513"/>
                <a:gd name="T50" fmla="*/ 32 w 451"/>
                <a:gd name="T51" fmla="*/ 270 h 513"/>
                <a:gd name="T52" fmla="*/ 35 w 451"/>
                <a:gd name="T53" fmla="*/ 265 h 513"/>
                <a:gd name="T54" fmla="*/ 15 w 451"/>
                <a:gd name="T55" fmla="*/ 264 h 513"/>
                <a:gd name="T56" fmla="*/ 0 w 451"/>
                <a:gd name="T57" fmla="*/ 264 h 513"/>
                <a:gd name="T58" fmla="*/ 6 w 451"/>
                <a:gd name="T59" fmla="*/ 249 h 513"/>
                <a:gd name="T60" fmla="*/ 4 w 451"/>
                <a:gd name="T61" fmla="*/ 236 h 513"/>
                <a:gd name="T62" fmla="*/ 18 w 451"/>
                <a:gd name="T63" fmla="*/ 230 h 513"/>
                <a:gd name="T64" fmla="*/ 26 w 451"/>
                <a:gd name="T65" fmla="*/ 218 h 513"/>
                <a:gd name="T66" fmla="*/ 33 w 451"/>
                <a:gd name="T67" fmla="*/ 202 h 513"/>
                <a:gd name="T68" fmla="*/ 54 w 451"/>
                <a:gd name="T69" fmla="*/ 194 h 513"/>
                <a:gd name="T70" fmla="*/ 77 w 451"/>
                <a:gd name="T71" fmla="*/ 177 h 513"/>
                <a:gd name="T72" fmla="*/ 90 w 451"/>
                <a:gd name="T73" fmla="*/ 179 h 513"/>
                <a:gd name="T74" fmla="*/ 111 w 451"/>
                <a:gd name="T75" fmla="*/ 173 h 513"/>
                <a:gd name="T76" fmla="*/ 128 w 451"/>
                <a:gd name="T77" fmla="*/ 165 h 513"/>
                <a:gd name="T78" fmla="*/ 139 w 451"/>
                <a:gd name="T79" fmla="*/ 166 h 513"/>
                <a:gd name="T80" fmla="*/ 158 w 451"/>
                <a:gd name="T81" fmla="*/ 154 h 513"/>
                <a:gd name="T82" fmla="*/ 170 w 451"/>
                <a:gd name="T83" fmla="*/ 143 h 513"/>
                <a:gd name="T84" fmla="*/ 176 w 451"/>
                <a:gd name="T85" fmla="*/ 132 h 513"/>
                <a:gd name="T86" fmla="*/ 186 w 451"/>
                <a:gd name="T87" fmla="*/ 125 h 513"/>
                <a:gd name="T88" fmla="*/ 230 w 451"/>
                <a:gd name="T89" fmla="*/ 129 h 513"/>
                <a:gd name="T90" fmla="*/ 253 w 451"/>
                <a:gd name="T91" fmla="*/ 130 h 513"/>
                <a:gd name="T92" fmla="*/ 277 w 451"/>
                <a:gd name="T93" fmla="*/ 121 h 513"/>
                <a:gd name="T94" fmla="*/ 289 w 451"/>
                <a:gd name="T95" fmla="*/ 116 h 513"/>
                <a:gd name="T96" fmla="*/ 289 w 451"/>
                <a:gd name="T97" fmla="*/ 93 h 513"/>
                <a:gd name="T98" fmla="*/ 298 w 451"/>
                <a:gd name="T99" fmla="*/ 88 h 513"/>
                <a:gd name="T100" fmla="*/ 307 w 451"/>
                <a:gd name="T101" fmla="*/ 79 h 513"/>
                <a:gd name="T102" fmla="*/ 319 w 451"/>
                <a:gd name="T103" fmla="*/ 71 h 513"/>
                <a:gd name="T104" fmla="*/ 321 w 451"/>
                <a:gd name="T105" fmla="*/ 53 h 513"/>
                <a:gd name="T106" fmla="*/ 327 w 451"/>
                <a:gd name="T107" fmla="*/ 54 h 513"/>
                <a:gd name="T108" fmla="*/ 341 w 451"/>
                <a:gd name="T109" fmla="*/ 53 h 513"/>
                <a:gd name="T110" fmla="*/ 351 w 451"/>
                <a:gd name="T111" fmla="*/ 55 h 513"/>
                <a:gd name="T112" fmla="*/ 360 w 451"/>
                <a:gd name="T113" fmla="*/ 65 h 513"/>
                <a:gd name="T114" fmla="*/ 383 w 451"/>
                <a:gd name="T115" fmla="*/ 61 h 513"/>
                <a:gd name="T116" fmla="*/ 401 w 451"/>
                <a:gd name="T117" fmla="*/ 44 h 513"/>
                <a:gd name="T118" fmla="*/ 409 w 451"/>
                <a:gd name="T119" fmla="*/ 30 h 513"/>
                <a:gd name="T120" fmla="*/ 429 w 451"/>
                <a:gd name="T121" fmla="*/ 31 h 513"/>
                <a:gd name="T122" fmla="*/ 437 w 451"/>
                <a:gd name="T123" fmla="*/ 20 h 513"/>
                <a:gd name="T124" fmla="*/ 450 w 451"/>
                <a:gd name="T125" fmla="*/ 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1" h="513">
                  <a:moveTo>
                    <a:pt x="195" y="496"/>
                  </a:moveTo>
                  <a:lnTo>
                    <a:pt x="195" y="495"/>
                  </a:lnTo>
                  <a:lnTo>
                    <a:pt x="195" y="493"/>
                  </a:lnTo>
                  <a:lnTo>
                    <a:pt x="195" y="489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2" y="487"/>
                  </a:lnTo>
                  <a:lnTo>
                    <a:pt x="190" y="488"/>
                  </a:lnTo>
                  <a:lnTo>
                    <a:pt x="189" y="488"/>
                  </a:lnTo>
                  <a:lnTo>
                    <a:pt x="188" y="489"/>
                  </a:lnTo>
                  <a:lnTo>
                    <a:pt x="185" y="490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80" y="493"/>
                  </a:lnTo>
                  <a:lnTo>
                    <a:pt x="180" y="493"/>
                  </a:lnTo>
                  <a:lnTo>
                    <a:pt x="179" y="494"/>
                  </a:lnTo>
                  <a:lnTo>
                    <a:pt x="179" y="494"/>
                  </a:lnTo>
                  <a:lnTo>
                    <a:pt x="179" y="495"/>
                  </a:lnTo>
                  <a:lnTo>
                    <a:pt x="178" y="497"/>
                  </a:lnTo>
                  <a:lnTo>
                    <a:pt x="177" y="499"/>
                  </a:lnTo>
                  <a:lnTo>
                    <a:pt x="176" y="500"/>
                  </a:lnTo>
                  <a:lnTo>
                    <a:pt x="176" y="501"/>
                  </a:lnTo>
                  <a:lnTo>
                    <a:pt x="175" y="502"/>
                  </a:lnTo>
                  <a:lnTo>
                    <a:pt x="175" y="503"/>
                  </a:lnTo>
                  <a:lnTo>
                    <a:pt x="174" y="503"/>
                  </a:lnTo>
                  <a:lnTo>
                    <a:pt x="174" y="504"/>
                  </a:lnTo>
                  <a:lnTo>
                    <a:pt x="173" y="504"/>
                  </a:lnTo>
                  <a:lnTo>
                    <a:pt x="173" y="504"/>
                  </a:lnTo>
                  <a:lnTo>
                    <a:pt x="171" y="505"/>
                  </a:lnTo>
                  <a:lnTo>
                    <a:pt x="171" y="505"/>
                  </a:lnTo>
                  <a:lnTo>
                    <a:pt x="170" y="505"/>
                  </a:lnTo>
                  <a:lnTo>
                    <a:pt x="168" y="507"/>
                  </a:lnTo>
                  <a:lnTo>
                    <a:pt x="167" y="507"/>
                  </a:lnTo>
                  <a:lnTo>
                    <a:pt x="166" y="508"/>
                  </a:lnTo>
                  <a:lnTo>
                    <a:pt x="166" y="508"/>
                  </a:lnTo>
                  <a:lnTo>
                    <a:pt x="165" y="508"/>
                  </a:lnTo>
                  <a:lnTo>
                    <a:pt x="164" y="508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59" y="509"/>
                  </a:lnTo>
                  <a:lnTo>
                    <a:pt x="158" y="510"/>
                  </a:lnTo>
                  <a:lnTo>
                    <a:pt x="157" y="510"/>
                  </a:lnTo>
                  <a:lnTo>
                    <a:pt x="155" y="511"/>
                  </a:lnTo>
                  <a:lnTo>
                    <a:pt x="155" y="512"/>
                  </a:lnTo>
                  <a:lnTo>
                    <a:pt x="154" y="512"/>
                  </a:lnTo>
                  <a:lnTo>
                    <a:pt x="153" y="513"/>
                  </a:lnTo>
                  <a:lnTo>
                    <a:pt x="152" y="513"/>
                  </a:lnTo>
                  <a:lnTo>
                    <a:pt x="151" y="513"/>
                  </a:lnTo>
                  <a:lnTo>
                    <a:pt x="150" y="513"/>
                  </a:lnTo>
                  <a:lnTo>
                    <a:pt x="149" y="513"/>
                  </a:lnTo>
                  <a:lnTo>
                    <a:pt x="148" y="512"/>
                  </a:lnTo>
                  <a:lnTo>
                    <a:pt x="147" y="512"/>
                  </a:lnTo>
                  <a:lnTo>
                    <a:pt x="147" y="512"/>
                  </a:lnTo>
                  <a:lnTo>
                    <a:pt x="145" y="511"/>
                  </a:lnTo>
                  <a:lnTo>
                    <a:pt x="144" y="511"/>
                  </a:lnTo>
                  <a:lnTo>
                    <a:pt x="144" y="510"/>
                  </a:lnTo>
                  <a:lnTo>
                    <a:pt x="143" y="510"/>
                  </a:lnTo>
                  <a:lnTo>
                    <a:pt x="143" y="509"/>
                  </a:lnTo>
                  <a:lnTo>
                    <a:pt x="142" y="509"/>
                  </a:lnTo>
                  <a:lnTo>
                    <a:pt x="142" y="509"/>
                  </a:lnTo>
                  <a:lnTo>
                    <a:pt x="140" y="508"/>
                  </a:lnTo>
                  <a:lnTo>
                    <a:pt x="140" y="507"/>
                  </a:lnTo>
                  <a:lnTo>
                    <a:pt x="137" y="506"/>
                  </a:lnTo>
                  <a:lnTo>
                    <a:pt x="137" y="505"/>
                  </a:lnTo>
                  <a:lnTo>
                    <a:pt x="136" y="505"/>
                  </a:lnTo>
                  <a:lnTo>
                    <a:pt x="136" y="505"/>
                  </a:lnTo>
                  <a:lnTo>
                    <a:pt x="135" y="505"/>
                  </a:lnTo>
                  <a:lnTo>
                    <a:pt x="134" y="505"/>
                  </a:lnTo>
                  <a:lnTo>
                    <a:pt x="133" y="505"/>
                  </a:lnTo>
                  <a:lnTo>
                    <a:pt x="132" y="505"/>
                  </a:lnTo>
                  <a:lnTo>
                    <a:pt x="130" y="507"/>
                  </a:lnTo>
                  <a:lnTo>
                    <a:pt x="129" y="507"/>
                  </a:lnTo>
                  <a:lnTo>
                    <a:pt x="128" y="507"/>
                  </a:lnTo>
                  <a:lnTo>
                    <a:pt x="128" y="508"/>
                  </a:lnTo>
                  <a:lnTo>
                    <a:pt x="127" y="508"/>
                  </a:lnTo>
                  <a:lnTo>
                    <a:pt x="127" y="508"/>
                  </a:lnTo>
                  <a:lnTo>
                    <a:pt x="126" y="507"/>
                  </a:lnTo>
                  <a:lnTo>
                    <a:pt x="125" y="507"/>
                  </a:lnTo>
                  <a:lnTo>
                    <a:pt x="125" y="507"/>
                  </a:lnTo>
                  <a:lnTo>
                    <a:pt x="124" y="507"/>
                  </a:lnTo>
                  <a:lnTo>
                    <a:pt x="122" y="505"/>
                  </a:lnTo>
                  <a:lnTo>
                    <a:pt x="122" y="504"/>
                  </a:lnTo>
                  <a:lnTo>
                    <a:pt x="121" y="504"/>
                  </a:lnTo>
                  <a:lnTo>
                    <a:pt x="121" y="504"/>
                  </a:lnTo>
                  <a:lnTo>
                    <a:pt x="120" y="504"/>
                  </a:lnTo>
                  <a:lnTo>
                    <a:pt x="120" y="504"/>
                  </a:lnTo>
                  <a:lnTo>
                    <a:pt x="119" y="504"/>
                  </a:lnTo>
                  <a:lnTo>
                    <a:pt x="119" y="504"/>
                  </a:lnTo>
                  <a:lnTo>
                    <a:pt x="117" y="505"/>
                  </a:lnTo>
                  <a:lnTo>
                    <a:pt x="115" y="506"/>
                  </a:lnTo>
                  <a:lnTo>
                    <a:pt x="112" y="507"/>
                  </a:lnTo>
                  <a:lnTo>
                    <a:pt x="109" y="508"/>
                  </a:lnTo>
                  <a:lnTo>
                    <a:pt x="108" y="508"/>
                  </a:lnTo>
                  <a:lnTo>
                    <a:pt x="106" y="508"/>
                  </a:lnTo>
                  <a:lnTo>
                    <a:pt x="105" y="508"/>
                  </a:lnTo>
                  <a:lnTo>
                    <a:pt x="105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7"/>
                  </a:lnTo>
                  <a:lnTo>
                    <a:pt x="104" y="506"/>
                  </a:lnTo>
                  <a:lnTo>
                    <a:pt x="104" y="505"/>
                  </a:lnTo>
                  <a:lnTo>
                    <a:pt x="104" y="503"/>
                  </a:lnTo>
                  <a:lnTo>
                    <a:pt x="104" y="502"/>
                  </a:lnTo>
                  <a:lnTo>
                    <a:pt x="104" y="501"/>
                  </a:lnTo>
                  <a:lnTo>
                    <a:pt x="104" y="500"/>
                  </a:lnTo>
                  <a:lnTo>
                    <a:pt x="104" y="499"/>
                  </a:lnTo>
                  <a:lnTo>
                    <a:pt x="103" y="497"/>
                  </a:lnTo>
                  <a:lnTo>
                    <a:pt x="103" y="496"/>
                  </a:lnTo>
                  <a:lnTo>
                    <a:pt x="103" y="495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1" y="493"/>
                  </a:lnTo>
                  <a:lnTo>
                    <a:pt x="100" y="492"/>
                  </a:lnTo>
                  <a:lnTo>
                    <a:pt x="99" y="492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7" y="490"/>
                  </a:lnTo>
                  <a:lnTo>
                    <a:pt x="97" y="490"/>
                  </a:lnTo>
                  <a:lnTo>
                    <a:pt x="97" y="489"/>
                  </a:lnTo>
                  <a:lnTo>
                    <a:pt x="97" y="489"/>
                  </a:lnTo>
                  <a:lnTo>
                    <a:pt x="97" y="485"/>
                  </a:lnTo>
                  <a:lnTo>
                    <a:pt x="97" y="484"/>
                  </a:lnTo>
                  <a:lnTo>
                    <a:pt x="97" y="481"/>
                  </a:lnTo>
                  <a:lnTo>
                    <a:pt x="98" y="478"/>
                  </a:lnTo>
                  <a:lnTo>
                    <a:pt x="98" y="476"/>
                  </a:lnTo>
                  <a:lnTo>
                    <a:pt x="98" y="474"/>
                  </a:lnTo>
                  <a:lnTo>
                    <a:pt x="99" y="471"/>
                  </a:lnTo>
                  <a:lnTo>
                    <a:pt x="99" y="469"/>
                  </a:lnTo>
                  <a:lnTo>
                    <a:pt x="99" y="468"/>
                  </a:lnTo>
                  <a:lnTo>
                    <a:pt x="99" y="466"/>
                  </a:lnTo>
                  <a:lnTo>
                    <a:pt x="99" y="464"/>
                  </a:lnTo>
                  <a:lnTo>
                    <a:pt x="99" y="462"/>
                  </a:lnTo>
                  <a:lnTo>
                    <a:pt x="99" y="461"/>
                  </a:lnTo>
                  <a:lnTo>
                    <a:pt x="99" y="460"/>
                  </a:lnTo>
                  <a:lnTo>
                    <a:pt x="99" y="460"/>
                  </a:lnTo>
                  <a:lnTo>
                    <a:pt x="98" y="459"/>
                  </a:lnTo>
                  <a:lnTo>
                    <a:pt x="98" y="459"/>
                  </a:lnTo>
                  <a:lnTo>
                    <a:pt x="98" y="458"/>
                  </a:lnTo>
                  <a:lnTo>
                    <a:pt x="97" y="458"/>
                  </a:lnTo>
                  <a:lnTo>
                    <a:pt x="96" y="457"/>
                  </a:lnTo>
                  <a:lnTo>
                    <a:pt x="95" y="457"/>
                  </a:lnTo>
                  <a:lnTo>
                    <a:pt x="94" y="456"/>
                  </a:lnTo>
                  <a:lnTo>
                    <a:pt x="93" y="456"/>
                  </a:lnTo>
                  <a:lnTo>
                    <a:pt x="92" y="456"/>
                  </a:lnTo>
                  <a:lnTo>
                    <a:pt x="91" y="456"/>
                  </a:lnTo>
                  <a:lnTo>
                    <a:pt x="89" y="456"/>
                  </a:lnTo>
                  <a:lnTo>
                    <a:pt x="88" y="456"/>
                  </a:lnTo>
                  <a:lnTo>
                    <a:pt x="87" y="456"/>
                  </a:lnTo>
                  <a:lnTo>
                    <a:pt x="87" y="456"/>
                  </a:lnTo>
                  <a:lnTo>
                    <a:pt x="87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4"/>
                  </a:lnTo>
                  <a:lnTo>
                    <a:pt x="86" y="453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1"/>
                  </a:lnTo>
                  <a:lnTo>
                    <a:pt x="86" y="451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49"/>
                  </a:lnTo>
                  <a:lnTo>
                    <a:pt x="82" y="449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7"/>
                  </a:lnTo>
                  <a:lnTo>
                    <a:pt x="84" y="447"/>
                  </a:lnTo>
                  <a:lnTo>
                    <a:pt x="85" y="447"/>
                  </a:lnTo>
                  <a:lnTo>
                    <a:pt x="86" y="447"/>
                  </a:lnTo>
                  <a:lnTo>
                    <a:pt x="86" y="447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8" y="445"/>
                  </a:lnTo>
                  <a:lnTo>
                    <a:pt x="88" y="445"/>
                  </a:lnTo>
                  <a:lnTo>
                    <a:pt x="88" y="444"/>
                  </a:lnTo>
                  <a:lnTo>
                    <a:pt x="87" y="443"/>
                  </a:lnTo>
                  <a:lnTo>
                    <a:pt x="87" y="443"/>
                  </a:lnTo>
                  <a:lnTo>
                    <a:pt x="86" y="442"/>
                  </a:lnTo>
                  <a:lnTo>
                    <a:pt x="86" y="441"/>
                  </a:lnTo>
                  <a:lnTo>
                    <a:pt x="84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4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5"/>
                  </a:lnTo>
                  <a:lnTo>
                    <a:pt x="88" y="434"/>
                  </a:lnTo>
                  <a:lnTo>
                    <a:pt x="89" y="433"/>
                  </a:lnTo>
                  <a:lnTo>
                    <a:pt x="90" y="433"/>
                  </a:lnTo>
                  <a:lnTo>
                    <a:pt x="90" y="432"/>
                  </a:lnTo>
                  <a:lnTo>
                    <a:pt x="90" y="432"/>
                  </a:lnTo>
                  <a:lnTo>
                    <a:pt x="91" y="431"/>
                  </a:lnTo>
                  <a:lnTo>
                    <a:pt x="90" y="431"/>
                  </a:lnTo>
                  <a:lnTo>
                    <a:pt x="90" y="431"/>
                  </a:lnTo>
                  <a:lnTo>
                    <a:pt x="90" y="430"/>
                  </a:lnTo>
                  <a:lnTo>
                    <a:pt x="90" y="430"/>
                  </a:lnTo>
                  <a:lnTo>
                    <a:pt x="89" y="430"/>
                  </a:lnTo>
                  <a:lnTo>
                    <a:pt x="89" y="430"/>
                  </a:lnTo>
                  <a:lnTo>
                    <a:pt x="88" y="429"/>
                  </a:lnTo>
                  <a:lnTo>
                    <a:pt x="86" y="429"/>
                  </a:lnTo>
                  <a:lnTo>
                    <a:pt x="85" y="429"/>
                  </a:lnTo>
                  <a:lnTo>
                    <a:pt x="84" y="429"/>
                  </a:lnTo>
                  <a:lnTo>
                    <a:pt x="83" y="429"/>
                  </a:lnTo>
                  <a:lnTo>
                    <a:pt x="81" y="430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8"/>
                  </a:lnTo>
                  <a:lnTo>
                    <a:pt x="78" y="428"/>
                  </a:lnTo>
                  <a:lnTo>
                    <a:pt x="78" y="427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8" y="425"/>
                  </a:lnTo>
                  <a:lnTo>
                    <a:pt x="78" y="424"/>
                  </a:lnTo>
                  <a:lnTo>
                    <a:pt x="79" y="423"/>
                  </a:lnTo>
                  <a:lnTo>
                    <a:pt x="79" y="422"/>
                  </a:lnTo>
                  <a:lnTo>
                    <a:pt x="79" y="421"/>
                  </a:lnTo>
                  <a:lnTo>
                    <a:pt x="80" y="420"/>
                  </a:lnTo>
                  <a:lnTo>
                    <a:pt x="83" y="417"/>
                  </a:lnTo>
                  <a:lnTo>
                    <a:pt x="84" y="415"/>
                  </a:lnTo>
                  <a:lnTo>
                    <a:pt x="84" y="414"/>
                  </a:lnTo>
                  <a:lnTo>
                    <a:pt x="85" y="414"/>
                  </a:lnTo>
                  <a:lnTo>
                    <a:pt x="86" y="413"/>
                  </a:lnTo>
                  <a:lnTo>
                    <a:pt x="87" y="412"/>
                  </a:lnTo>
                  <a:lnTo>
                    <a:pt x="88" y="411"/>
                  </a:lnTo>
                  <a:lnTo>
                    <a:pt x="89" y="411"/>
                  </a:lnTo>
                  <a:lnTo>
                    <a:pt x="90" y="410"/>
                  </a:lnTo>
                  <a:lnTo>
                    <a:pt x="92" y="409"/>
                  </a:lnTo>
                  <a:lnTo>
                    <a:pt x="93" y="409"/>
                  </a:lnTo>
                  <a:lnTo>
                    <a:pt x="94" y="408"/>
                  </a:lnTo>
                  <a:lnTo>
                    <a:pt x="95" y="408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7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101" y="410"/>
                  </a:lnTo>
                  <a:lnTo>
                    <a:pt x="102" y="410"/>
                  </a:lnTo>
                  <a:lnTo>
                    <a:pt x="103" y="411"/>
                  </a:lnTo>
                  <a:lnTo>
                    <a:pt x="103" y="411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7" y="409"/>
                  </a:lnTo>
                  <a:lnTo>
                    <a:pt x="108" y="408"/>
                  </a:lnTo>
                  <a:lnTo>
                    <a:pt x="109" y="406"/>
                  </a:lnTo>
                  <a:lnTo>
                    <a:pt x="110" y="405"/>
                  </a:lnTo>
                  <a:lnTo>
                    <a:pt x="111" y="404"/>
                  </a:lnTo>
                  <a:lnTo>
                    <a:pt x="112" y="403"/>
                  </a:lnTo>
                  <a:lnTo>
                    <a:pt x="115" y="400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17" y="398"/>
                  </a:lnTo>
                  <a:lnTo>
                    <a:pt x="117" y="398"/>
                  </a:lnTo>
                  <a:lnTo>
                    <a:pt x="118" y="397"/>
                  </a:lnTo>
                  <a:lnTo>
                    <a:pt x="118" y="397"/>
                  </a:lnTo>
                  <a:lnTo>
                    <a:pt x="118" y="396"/>
                  </a:lnTo>
                  <a:lnTo>
                    <a:pt x="118" y="395"/>
                  </a:lnTo>
                  <a:lnTo>
                    <a:pt x="117" y="395"/>
                  </a:lnTo>
                  <a:lnTo>
                    <a:pt x="117" y="394"/>
                  </a:lnTo>
                  <a:lnTo>
                    <a:pt x="116" y="394"/>
                  </a:lnTo>
                  <a:lnTo>
                    <a:pt x="116" y="393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3" y="392"/>
                  </a:lnTo>
                  <a:lnTo>
                    <a:pt x="113" y="391"/>
                  </a:lnTo>
                  <a:lnTo>
                    <a:pt x="113" y="390"/>
                  </a:lnTo>
                  <a:lnTo>
                    <a:pt x="114" y="388"/>
                  </a:lnTo>
                  <a:lnTo>
                    <a:pt x="114" y="387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5" y="384"/>
                  </a:lnTo>
                  <a:lnTo>
                    <a:pt x="115" y="383"/>
                  </a:lnTo>
                  <a:lnTo>
                    <a:pt x="115" y="380"/>
                  </a:lnTo>
                  <a:lnTo>
                    <a:pt x="115" y="379"/>
                  </a:lnTo>
                  <a:lnTo>
                    <a:pt x="115" y="378"/>
                  </a:lnTo>
                  <a:lnTo>
                    <a:pt x="115" y="377"/>
                  </a:lnTo>
                  <a:lnTo>
                    <a:pt x="115" y="376"/>
                  </a:lnTo>
                  <a:lnTo>
                    <a:pt x="115" y="376"/>
                  </a:lnTo>
                  <a:lnTo>
                    <a:pt x="116" y="373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7" y="369"/>
                  </a:lnTo>
                  <a:lnTo>
                    <a:pt x="117" y="368"/>
                  </a:lnTo>
                  <a:lnTo>
                    <a:pt x="117" y="367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7" y="361"/>
                  </a:lnTo>
                  <a:lnTo>
                    <a:pt x="118" y="356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9" y="351"/>
                  </a:lnTo>
                  <a:lnTo>
                    <a:pt x="120" y="349"/>
                  </a:lnTo>
                  <a:lnTo>
                    <a:pt x="120" y="348"/>
                  </a:lnTo>
                  <a:lnTo>
                    <a:pt x="121" y="347"/>
                  </a:lnTo>
                  <a:lnTo>
                    <a:pt x="121" y="346"/>
                  </a:lnTo>
                  <a:lnTo>
                    <a:pt x="122" y="346"/>
                  </a:lnTo>
                  <a:lnTo>
                    <a:pt x="122" y="345"/>
                  </a:lnTo>
                  <a:lnTo>
                    <a:pt x="124" y="344"/>
                  </a:lnTo>
                  <a:lnTo>
                    <a:pt x="124" y="343"/>
                  </a:lnTo>
                  <a:lnTo>
                    <a:pt x="125" y="343"/>
                  </a:lnTo>
                  <a:lnTo>
                    <a:pt x="125" y="342"/>
                  </a:lnTo>
                  <a:lnTo>
                    <a:pt x="125" y="341"/>
                  </a:lnTo>
                  <a:lnTo>
                    <a:pt x="125" y="341"/>
                  </a:lnTo>
                  <a:lnTo>
                    <a:pt x="125" y="340"/>
                  </a:lnTo>
                  <a:lnTo>
                    <a:pt x="125" y="339"/>
                  </a:lnTo>
                  <a:lnTo>
                    <a:pt x="125" y="335"/>
                  </a:lnTo>
                  <a:lnTo>
                    <a:pt x="125" y="333"/>
                  </a:lnTo>
                  <a:lnTo>
                    <a:pt x="125" y="329"/>
                  </a:lnTo>
                  <a:lnTo>
                    <a:pt x="124" y="326"/>
                  </a:lnTo>
                  <a:lnTo>
                    <a:pt x="124" y="324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8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7"/>
                  </a:lnTo>
                  <a:lnTo>
                    <a:pt x="122" y="317"/>
                  </a:lnTo>
                  <a:lnTo>
                    <a:pt x="116" y="313"/>
                  </a:lnTo>
                  <a:lnTo>
                    <a:pt x="113" y="312"/>
                  </a:lnTo>
                  <a:lnTo>
                    <a:pt x="112" y="311"/>
                  </a:lnTo>
                  <a:lnTo>
                    <a:pt x="110" y="311"/>
                  </a:lnTo>
                  <a:lnTo>
                    <a:pt x="107" y="310"/>
                  </a:lnTo>
                  <a:lnTo>
                    <a:pt x="104" y="309"/>
                  </a:lnTo>
                  <a:lnTo>
                    <a:pt x="104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2" y="308"/>
                  </a:lnTo>
                  <a:lnTo>
                    <a:pt x="102" y="307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1" y="303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0" y="301"/>
                  </a:lnTo>
                  <a:lnTo>
                    <a:pt x="100" y="301"/>
                  </a:lnTo>
                  <a:lnTo>
                    <a:pt x="99" y="300"/>
                  </a:lnTo>
                  <a:lnTo>
                    <a:pt x="98" y="300"/>
                  </a:lnTo>
                  <a:lnTo>
                    <a:pt x="98" y="299"/>
                  </a:lnTo>
                  <a:lnTo>
                    <a:pt x="97" y="299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2" y="298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6"/>
                  </a:lnTo>
                  <a:lnTo>
                    <a:pt x="85" y="294"/>
                  </a:lnTo>
                  <a:lnTo>
                    <a:pt x="83" y="292"/>
                  </a:lnTo>
                  <a:lnTo>
                    <a:pt x="82" y="291"/>
                  </a:lnTo>
                  <a:lnTo>
                    <a:pt x="80" y="289"/>
                  </a:lnTo>
                  <a:lnTo>
                    <a:pt x="78" y="286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0" y="283"/>
                  </a:lnTo>
                  <a:lnTo>
                    <a:pt x="69" y="283"/>
                  </a:lnTo>
                  <a:lnTo>
                    <a:pt x="68" y="283"/>
                  </a:lnTo>
                  <a:lnTo>
                    <a:pt x="65" y="284"/>
                  </a:lnTo>
                  <a:lnTo>
                    <a:pt x="64" y="284"/>
                  </a:lnTo>
                  <a:lnTo>
                    <a:pt x="63" y="285"/>
                  </a:lnTo>
                  <a:lnTo>
                    <a:pt x="61" y="285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7" y="285"/>
                  </a:lnTo>
                  <a:lnTo>
                    <a:pt x="56" y="285"/>
                  </a:lnTo>
                  <a:lnTo>
                    <a:pt x="55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1" y="284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48" y="282"/>
                  </a:lnTo>
                  <a:lnTo>
                    <a:pt x="47" y="281"/>
                  </a:lnTo>
                  <a:lnTo>
                    <a:pt x="44" y="279"/>
                  </a:lnTo>
                  <a:lnTo>
                    <a:pt x="42" y="277"/>
                  </a:lnTo>
                  <a:lnTo>
                    <a:pt x="40" y="276"/>
                  </a:lnTo>
                  <a:lnTo>
                    <a:pt x="37" y="275"/>
                  </a:lnTo>
                  <a:lnTo>
                    <a:pt x="36" y="274"/>
                  </a:lnTo>
                  <a:lnTo>
                    <a:pt x="35" y="273"/>
                  </a:lnTo>
                  <a:lnTo>
                    <a:pt x="34" y="273"/>
                  </a:lnTo>
                  <a:lnTo>
                    <a:pt x="33" y="272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2" y="271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6" y="267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5" y="265"/>
                  </a:lnTo>
                  <a:lnTo>
                    <a:pt x="34" y="264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0" y="263"/>
                  </a:lnTo>
                  <a:lnTo>
                    <a:pt x="19" y="263"/>
                  </a:lnTo>
                  <a:lnTo>
                    <a:pt x="17" y="263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4" y="264"/>
                  </a:lnTo>
                  <a:lnTo>
                    <a:pt x="12" y="264"/>
                  </a:lnTo>
                  <a:lnTo>
                    <a:pt x="10" y="265"/>
                  </a:lnTo>
                  <a:lnTo>
                    <a:pt x="9" y="266"/>
                  </a:lnTo>
                  <a:lnTo>
                    <a:pt x="8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5"/>
                  </a:lnTo>
                  <a:lnTo>
                    <a:pt x="2" y="265"/>
                  </a:lnTo>
                  <a:lnTo>
                    <a:pt x="1" y="265"/>
                  </a:lnTo>
                  <a:lnTo>
                    <a:pt x="1" y="265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1" y="260"/>
                  </a:lnTo>
                  <a:lnTo>
                    <a:pt x="1" y="259"/>
                  </a:lnTo>
                  <a:lnTo>
                    <a:pt x="2" y="257"/>
                  </a:lnTo>
                  <a:lnTo>
                    <a:pt x="3" y="255"/>
                  </a:lnTo>
                  <a:lnTo>
                    <a:pt x="4" y="254"/>
                  </a:lnTo>
                  <a:lnTo>
                    <a:pt x="5" y="252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0"/>
                  </a:lnTo>
                  <a:lnTo>
                    <a:pt x="6" y="249"/>
                  </a:lnTo>
                  <a:lnTo>
                    <a:pt x="6" y="248"/>
                  </a:lnTo>
                  <a:lnTo>
                    <a:pt x="6" y="247"/>
                  </a:lnTo>
                  <a:lnTo>
                    <a:pt x="6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4" y="243"/>
                  </a:lnTo>
                  <a:lnTo>
                    <a:pt x="3" y="242"/>
                  </a:lnTo>
                  <a:lnTo>
                    <a:pt x="2" y="241"/>
                  </a:lnTo>
                  <a:lnTo>
                    <a:pt x="2" y="240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8"/>
                  </a:lnTo>
                  <a:lnTo>
                    <a:pt x="2" y="237"/>
                  </a:lnTo>
                  <a:lnTo>
                    <a:pt x="3" y="237"/>
                  </a:lnTo>
                  <a:lnTo>
                    <a:pt x="4" y="236"/>
                  </a:lnTo>
                  <a:lnTo>
                    <a:pt x="5" y="235"/>
                  </a:lnTo>
                  <a:lnTo>
                    <a:pt x="6" y="234"/>
                  </a:lnTo>
                  <a:lnTo>
                    <a:pt x="7" y="233"/>
                  </a:lnTo>
                  <a:lnTo>
                    <a:pt x="8" y="233"/>
                  </a:lnTo>
                  <a:lnTo>
                    <a:pt x="9" y="232"/>
                  </a:lnTo>
                  <a:lnTo>
                    <a:pt x="10" y="232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3" y="231"/>
                  </a:lnTo>
                  <a:lnTo>
                    <a:pt x="14" y="231"/>
                  </a:lnTo>
                  <a:lnTo>
                    <a:pt x="15" y="231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7" y="231"/>
                  </a:lnTo>
                  <a:lnTo>
                    <a:pt x="17" y="230"/>
                  </a:lnTo>
                  <a:lnTo>
                    <a:pt x="18" y="230"/>
                  </a:lnTo>
                  <a:lnTo>
                    <a:pt x="19" y="228"/>
                  </a:lnTo>
                  <a:lnTo>
                    <a:pt x="19" y="227"/>
                  </a:lnTo>
                  <a:lnTo>
                    <a:pt x="20" y="226"/>
                  </a:lnTo>
                  <a:lnTo>
                    <a:pt x="21" y="224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2" y="223"/>
                  </a:lnTo>
                  <a:lnTo>
                    <a:pt x="22" y="222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6"/>
                  </a:lnTo>
                  <a:lnTo>
                    <a:pt x="26" y="215"/>
                  </a:lnTo>
                  <a:lnTo>
                    <a:pt x="26" y="215"/>
                  </a:lnTo>
                  <a:lnTo>
                    <a:pt x="26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6"/>
                  </a:lnTo>
                  <a:lnTo>
                    <a:pt x="29" y="206"/>
                  </a:lnTo>
                  <a:lnTo>
                    <a:pt x="29" y="205"/>
                  </a:lnTo>
                  <a:lnTo>
                    <a:pt x="31" y="203"/>
                  </a:lnTo>
                  <a:lnTo>
                    <a:pt x="33" y="202"/>
                  </a:lnTo>
                  <a:lnTo>
                    <a:pt x="34" y="201"/>
                  </a:lnTo>
                  <a:lnTo>
                    <a:pt x="36" y="200"/>
                  </a:lnTo>
                  <a:lnTo>
                    <a:pt x="36" y="199"/>
                  </a:lnTo>
                  <a:lnTo>
                    <a:pt x="38" y="198"/>
                  </a:lnTo>
                  <a:lnTo>
                    <a:pt x="40" y="197"/>
                  </a:lnTo>
                  <a:lnTo>
                    <a:pt x="41" y="196"/>
                  </a:lnTo>
                  <a:lnTo>
                    <a:pt x="42" y="195"/>
                  </a:lnTo>
                  <a:lnTo>
                    <a:pt x="43" y="195"/>
                  </a:lnTo>
                  <a:lnTo>
                    <a:pt x="44" y="194"/>
                  </a:lnTo>
                  <a:lnTo>
                    <a:pt x="45" y="194"/>
                  </a:lnTo>
                  <a:lnTo>
                    <a:pt x="47" y="194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51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4"/>
                  </a:lnTo>
                  <a:lnTo>
                    <a:pt x="57" y="193"/>
                  </a:lnTo>
                  <a:lnTo>
                    <a:pt x="59" y="193"/>
                  </a:lnTo>
                  <a:lnTo>
                    <a:pt x="60" y="192"/>
                  </a:lnTo>
                  <a:lnTo>
                    <a:pt x="61" y="192"/>
                  </a:lnTo>
                  <a:lnTo>
                    <a:pt x="62" y="191"/>
                  </a:lnTo>
                  <a:lnTo>
                    <a:pt x="63" y="190"/>
                  </a:lnTo>
                  <a:lnTo>
                    <a:pt x="64" y="190"/>
                  </a:lnTo>
                  <a:lnTo>
                    <a:pt x="65" y="188"/>
                  </a:lnTo>
                  <a:lnTo>
                    <a:pt x="66" y="18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9" y="184"/>
                  </a:lnTo>
                  <a:lnTo>
                    <a:pt x="72" y="182"/>
                  </a:lnTo>
                  <a:lnTo>
                    <a:pt x="76" y="178"/>
                  </a:lnTo>
                  <a:lnTo>
                    <a:pt x="77" y="177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2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4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7" y="178"/>
                  </a:lnTo>
                  <a:lnTo>
                    <a:pt x="99" y="178"/>
                  </a:lnTo>
                  <a:lnTo>
                    <a:pt x="100" y="178"/>
                  </a:lnTo>
                  <a:lnTo>
                    <a:pt x="101" y="178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1" y="173"/>
                  </a:lnTo>
                  <a:lnTo>
                    <a:pt x="111" y="173"/>
                  </a:lnTo>
                  <a:lnTo>
                    <a:pt x="113" y="172"/>
                  </a:lnTo>
                  <a:lnTo>
                    <a:pt x="113" y="171"/>
                  </a:lnTo>
                  <a:lnTo>
                    <a:pt x="115" y="170"/>
                  </a:lnTo>
                  <a:lnTo>
                    <a:pt x="118" y="167"/>
                  </a:lnTo>
                  <a:lnTo>
                    <a:pt x="119" y="166"/>
                  </a:lnTo>
                  <a:lnTo>
                    <a:pt x="120" y="165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3"/>
                  </a:lnTo>
                  <a:lnTo>
                    <a:pt x="123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7" y="164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69"/>
                  </a:lnTo>
                  <a:lnTo>
                    <a:pt x="136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8" y="167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2" y="162"/>
                  </a:lnTo>
                  <a:lnTo>
                    <a:pt x="143" y="161"/>
                  </a:lnTo>
                  <a:lnTo>
                    <a:pt x="144" y="161"/>
                  </a:lnTo>
                  <a:lnTo>
                    <a:pt x="145" y="160"/>
                  </a:lnTo>
                  <a:lnTo>
                    <a:pt x="146" y="159"/>
                  </a:lnTo>
                  <a:lnTo>
                    <a:pt x="147" y="159"/>
                  </a:lnTo>
                  <a:lnTo>
                    <a:pt x="147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1" y="157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6"/>
                  </a:lnTo>
                  <a:lnTo>
                    <a:pt x="157" y="155"/>
                  </a:lnTo>
                  <a:lnTo>
                    <a:pt x="158" y="154"/>
                  </a:lnTo>
                  <a:lnTo>
                    <a:pt x="160" y="153"/>
                  </a:lnTo>
                  <a:lnTo>
                    <a:pt x="160" y="153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4" y="150"/>
                  </a:lnTo>
                  <a:lnTo>
                    <a:pt x="164" y="149"/>
                  </a:lnTo>
                  <a:lnTo>
                    <a:pt x="165" y="148"/>
                  </a:lnTo>
                  <a:lnTo>
                    <a:pt x="165" y="147"/>
                  </a:lnTo>
                  <a:lnTo>
                    <a:pt x="166" y="146"/>
                  </a:lnTo>
                  <a:lnTo>
                    <a:pt x="166" y="145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68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4" y="143"/>
                  </a:lnTo>
                  <a:lnTo>
                    <a:pt x="174" y="142"/>
                  </a:lnTo>
                  <a:lnTo>
                    <a:pt x="175" y="142"/>
                  </a:lnTo>
                  <a:lnTo>
                    <a:pt x="175" y="142"/>
                  </a:lnTo>
                  <a:lnTo>
                    <a:pt x="175" y="141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39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6" y="134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1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7" y="129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9" y="127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4" y="125"/>
                  </a:lnTo>
                  <a:lnTo>
                    <a:pt x="185" y="125"/>
                  </a:lnTo>
                  <a:lnTo>
                    <a:pt x="186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4" y="126"/>
                  </a:lnTo>
                  <a:lnTo>
                    <a:pt x="198" y="127"/>
                  </a:lnTo>
                  <a:lnTo>
                    <a:pt x="202" y="128"/>
                  </a:lnTo>
                  <a:lnTo>
                    <a:pt x="205" y="129"/>
                  </a:lnTo>
                  <a:lnTo>
                    <a:pt x="207" y="129"/>
                  </a:lnTo>
                  <a:lnTo>
                    <a:pt x="209" y="129"/>
                  </a:lnTo>
                  <a:lnTo>
                    <a:pt x="215" y="130"/>
                  </a:lnTo>
                  <a:lnTo>
                    <a:pt x="217" y="130"/>
                  </a:lnTo>
                  <a:lnTo>
                    <a:pt x="219" y="130"/>
                  </a:lnTo>
                  <a:lnTo>
                    <a:pt x="222" y="130"/>
                  </a:lnTo>
                  <a:lnTo>
                    <a:pt x="224" y="130"/>
                  </a:lnTo>
                  <a:lnTo>
                    <a:pt x="226" y="130"/>
                  </a:lnTo>
                  <a:lnTo>
                    <a:pt x="228" y="129"/>
                  </a:lnTo>
                  <a:lnTo>
                    <a:pt x="230" y="129"/>
                  </a:lnTo>
                  <a:lnTo>
                    <a:pt x="232" y="129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5" y="127"/>
                  </a:lnTo>
                  <a:lnTo>
                    <a:pt x="236" y="127"/>
                  </a:lnTo>
                  <a:lnTo>
                    <a:pt x="236" y="127"/>
                  </a:lnTo>
                  <a:lnTo>
                    <a:pt x="237" y="127"/>
                  </a:lnTo>
                  <a:lnTo>
                    <a:pt x="239" y="128"/>
                  </a:lnTo>
                  <a:lnTo>
                    <a:pt x="241" y="128"/>
                  </a:lnTo>
                  <a:lnTo>
                    <a:pt x="245" y="129"/>
                  </a:lnTo>
                  <a:lnTo>
                    <a:pt x="248" y="130"/>
                  </a:lnTo>
                  <a:lnTo>
                    <a:pt x="250" y="130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6" y="128"/>
                  </a:lnTo>
                  <a:lnTo>
                    <a:pt x="257" y="127"/>
                  </a:lnTo>
                  <a:lnTo>
                    <a:pt x="259" y="125"/>
                  </a:lnTo>
                  <a:lnTo>
                    <a:pt x="260" y="124"/>
                  </a:lnTo>
                  <a:lnTo>
                    <a:pt x="260" y="124"/>
                  </a:lnTo>
                  <a:lnTo>
                    <a:pt x="261" y="124"/>
                  </a:lnTo>
                  <a:lnTo>
                    <a:pt x="262" y="123"/>
                  </a:lnTo>
                  <a:lnTo>
                    <a:pt x="263" y="123"/>
                  </a:lnTo>
                  <a:lnTo>
                    <a:pt x="264" y="123"/>
                  </a:lnTo>
                  <a:lnTo>
                    <a:pt x="270" y="122"/>
                  </a:lnTo>
                  <a:lnTo>
                    <a:pt x="272" y="121"/>
                  </a:lnTo>
                  <a:lnTo>
                    <a:pt x="276" y="121"/>
                  </a:lnTo>
                  <a:lnTo>
                    <a:pt x="277" y="121"/>
                  </a:lnTo>
                  <a:lnTo>
                    <a:pt x="279" y="121"/>
                  </a:lnTo>
                  <a:lnTo>
                    <a:pt x="280" y="121"/>
                  </a:lnTo>
                  <a:lnTo>
                    <a:pt x="282" y="122"/>
                  </a:lnTo>
                  <a:lnTo>
                    <a:pt x="284" y="122"/>
                  </a:lnTo>
                  <a:lnTo>
                    <a:pt x="284" y="122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0"/>
                  </a:lnTo>
                  <a:lnTo>
                    <a:pt x="288" y="120"/>
                  </a:lnTo>
                  <a:lnTo>
                    <a:pt x="288" y="119"/>
                  </a:lnTo>
                  <a:lnTo>
                    <a:pt x="289" y="118"/>
                  </a:lnTo>
                  <a:lnTo>
                    <a:pt x="289" y="117"/>
                  </a:lnTo>
                  <a:lnTo>
                    <a:pt x="289" y="116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91" y="109"/>
                  </a:lnTo>
                  <a:lnTo>
                    <a:pt x="291" y="108"/>
                  </a:lnTo>
                  <a:lnTo>
                    <a:pt x="291" y="106"/>
                  </a:lnTo>
                  <a:lnTo>
                    <a:pt x="291" y="105"/>
                  </a:lnTo>
                  <a:lnTo>
                    <a:pt x="291" y="104"/>
                  </a:lnTo>
                  <a:lnTo>
                    <a:pt x="291" y="103"/>
                  </a:lnTo>
                  <a:lnTo>
                    <a:pt x="290" y="102"/>
                  </a:lnTo>
                  <a:lnTo>
                    <a:pt x="290" y="99"/>
                  </a:lnTo>
                  <a:lnTo>
                    <a:pt x="289" y="98"/>
                  </a:lnTo>
                  <a:lnTo>
                    <a:pt x="289" y="97"/>
                  </a:lnTo>
                  <a:lnTo>
                    <a:pt x="289" y="96"/>
                  </a:lnTo>
                  <a:lnTo>
                    <a:pt x="289" y="95"/>
                  </a:lnTo>
                  <a:lnTo>
                    <a:pt x="289" y="94"/>
                  </a:lnTo>
                  <a:lnTo>
                    <a:pt x="289" y="93"/>
                  </a:lnTo>
                  <a:lnTo>
                    <a:pt x="289" y="91"/>
                  </a:lnTo>
                  <a:lnTo>
                    <a:pt x="289" y="89"/>
                  </a:lnTo>
                  <a:lnTo>
                    <a:pt x="289" y="88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90" y="86"/>
                  </a:lnTo>
                  <a:lnTo>
                    <a:pt x="291" y="86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7" y="88"/>
                  </a:lnTo>
                  <a:lnTo>
                    <a:pt x="298" y="88"/>
                  </a:lnTo>
                  <a:lnTo>
                    <a:pt x="299" y="88"/>
                  </a:lnTo>
                  <a:lnTo>
                    <a:pt x="300" y="88"/>
                  </a:lnTo>
                  <a:lnTo>
                    <a:pt x="301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3" y="88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3" y="86"/>
                  </a:lnTo>
                  <a:lnTo>
                    <a:pt x="303" y="85"/>
                  </a:lnTo>
                  <a:lnTo>
                    <a:pt x="305" y="83"/>
                  </a:lnTo>
                  <a:lnTo>
                    <a:pt x="306" y="80"/>
                  </a:lnTo>
                  <a:lnTo>
                    <a:pt x="306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8" y="78"/>
                  </a:lnTo>
                  <a:lnTo>
                    <a:pt x="311" y="78"/>
                  </a:lnTo>
                  <a:lnTo>
                    <a:pt x="314" y="77"/>
                  </a:lnTo>
                  <a:lnTo>
                    <a:pt x="316" y="76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7" y="75"/>
                  </a:lnTo>
                  <a:lnTo>
                    <a:pt x="318" y="75"/>
                  </a:lnTo>
                  <a:lnTo>
                    <a:pt x="318" y="75"/>
                  </a:lnTo>
                  <a:lnTo>
                    <a:pt x="318" y="74"/>
                  </a:lnTo>
                  <a:lnTo>
                    <a:pt x="319" y="74"/>
                  </a:lnTo>
                  <a:lnTo>
                    <a:pt x="319" y="73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1"/>
                  </a:lnTo>
                  <a:lnTo>
                    <a:pt x="319" y="70"/>
                  </a:lnTo>
                  <a:lnTo>
                    <a:pt x="319" y="67"/>
                  </a:lnTo>
                  <a:lnTo>
                    <a:pt x="319" y="66"/>
                  </a:lnTo>
                  <a:lnTo>
                    <a:pt x="319" y="64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8" y="58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19" y="55"/>
                  </a:lnTo>
                  <a:lnTo>
                    <a:pt x="319" y="54"/>
                  </a:lnTo>
                  <a:lnTo>
                    <a:pt x="320" y="53"/>
                  </a:lnTo>
                  <a:lnTo>
                    <a:pt x="321" y="53"/>
                  </a:lnTo>
                  <a:lnTo>
                    <a:pt x="321" y="52"/>
                  </a:lnTo>
                  <a:lnTo>
                    <a:pt x="322" y="52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5" y="53"/>
                  </a:lnTo>
                  <a:lnTo>
                    <a:pt x="325" y="53"/>
                  </a:lnTo>
                  <a:lnTo>
                    <a:pt x="326" y="53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7" y="54"/>
                  </a:lnTo>
                  <a:lnTo>
                    <a:pt x="328" y="54"/>
                  </a:lnTo>
                  <a:lnTo>
                    <a:pt x="328" y="53"/>
                  </a:lnTo>
                  <a:lnTo>
                    <a:pt x="329" y="53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2" y="51"/>
                  </a:lnTo>
                  <a:lnTo>
                    <a:pt x="333" y="51"/>
                  </a:lnTo>
                  <a:lnTo>
                    <a:pt x="334" y="51"/>
                  </a:lnTo>
                  <a:lnTo>
                    <a:pt x="335" y="51"/>
                  </a:lnTo>
                  <a:lnTo>
                    <a:pt x="335" y="52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0" y="53"/>
                  </a:lnTo>
                  <a:lnTo>
                    <a:pt x="340" y="53"/>
                  </a:lnTo>
                  <a:lnTo>
                    <a:pt x="341" y="53"/>
                  </a:lnTo>
                  <a:lnTo>
                    <a:pt x="341" y="53"/>
                  </a:lnTo>
                  <a:lnTo>
                    <a:pt x="342" y="53"/>
                  </a:lnTo>
                  <a:lnTo>
                    <a:pt x="343" y="53"/>
                  </a:lnTo>
                  <a:lnTo>
                    <a:pt x="344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7" y="51"/>
                  </a:lnTo>
                  <a:lnTo>
                    <a:pt x="348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49" y="51"/>
                  </a:lnTo>
                  <a:lnTo>
                    <a:pt x="350" y="51"/>
                  </a:lnTo>
                  <a:lnTo>
                    <a:pt x="350" y="52"/>
                  </a:lnTo>
                  <a:lnTo>
                    <a:pt x="350" y="52"/>
                  </a:lnTo>
                  <a:lnTo>
                    <a:pt x="350" y="53"/>
                  </a:lnTo>
                  <a:lnTo>
                    <a:pt x="351" y="54"/>
                  </a:lnTo>
                  <a:lnTo>
                    <a:pt x="351" y="55"/>
                  </a:lnTo>
                  <a:lnTo>
                    <a:pt x="352" y="57"/>
                  </a:lnTo>
                  <a:lnTo>
                    <a:pt x="352" y="59"/>
                  </a:lnTo>
                  <a:lnTo>
                    <a:pt x="352" y="60"/>
                  </a:lnTo>
                  <a:lnTo>
                    <a:pt x="353" y="61"/>
                  </a:lnTo>
                  <a:lnTo>
                    <a:pt x="353" y="62"/>
                  </a:lnTo>
                  <a:lnTo>
                    <a:pt x="353" y="62"/>
                  </a:lnTo>
                  <a:lnTo>
                    <a:pt x="354" y="63"/>
                  </a:lnTo>
                  <a:lnTo>
                    <a:pt x="354" y="63"/>
                  </a:lnTo>
                  <a:lnTo>
                    <a:pt x="355" y="64"/>
                  </a:lnTo>
                  <a:lnTo>
                    <a:pt x="355" y="64"/>
                  </a:lnTo>
                  <a:lnTo>
                    <a:pt x="356" y="64"/>
                  </a:lnTo>
                  <a:lnTo>
                    <a:pt x="356" y="65"/>
                  </a:lnTo>
                  <a:lnTo>
                    <a:pt x="357" y="65"/>
                  </a:lnTo>
                  <a:lnTo>
                    <a:pt x="358" y="65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7" y="63"/>
                  </a:lnTo>
                  <a:lnTo>
                    <a:pt x="368" y="62"/>
                  </a:lnTo>
                  <a:lnTo>
                    <a:pt x="369" y="62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81" y="61"/>
                  </a:lnTo>
                  <a:lnTo>
                    <a:pt x="382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6" y="58"/>
                  </a:lnTo>
                  <a:lnTo>
                    <a:pt x="389" y="56"/>
                  </a:lnTo>
                  <a:lnTo>
                    <a:pt x="391" y="55"/>
                  </a:lnTo>
                  <a:lnTo>
                    <a:pt x="391" y="54"/>
                  </a:lnTo>
                  <a:lnTo>
                    <a:pt x="392" y="53"/>
                  </a:lnTo>
                  <a:lnTo>
                    <a:pt x="393" y="52"/>
                  </a:lnTo>
                  <a:lnTo>
                    <a:pt x="395" y="49"/>
                  </a:lnTo>
                  <a:lnTo>
                    <a:pt x="395" y="49"/>
                  </a:lnTo>
                  <a:lnTo>
                    <a:pt x="396" y="48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9" y="46"/>
                  </a:lnTo>
                  <a:lnTo>
                    <a:pt x="400" y="45"/>
                  </a:lnTo>
                  <a:lnTo>
                    <a:pt x="400" y="44"/>
                  </a:lnTo>
                  <a:lnTo>
                    <a:pt x="401" y="44"/>
                  </a:lnTo>
                  <a:lnTo>
                    <a:pt x="401" y="43"/>
                  </a:lnTo>
                  <a:lnTo>
                    <a:pt x="402" y="42"/>
                  </a:lnTo>
                  <a:lnTo>
                    <a:pt x="402" y="41"/>
                  </a:lnTo>
                  <a:lnTo>
                    <a:pt x="402" y="40"/>
                  </a:lnTo>
                  <a:lnTo>
                    <a:pt x="403" y="39"/>
                  </a:lnTo>
                  <a:lnTo>
                    <a:pt x="403" y="35"/>
                  </a:lnTo>
                  <a:lnTo>
                    <a:pt x="403" y="34"/>
                  </a:lnTo>
                  <a:lnTo>
                    <a:pt x="403" y="33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1"/>
                  </a:lnTo>
                  <a:lnTo>
                    <a:pt x="406" y="31"/>
                  </a:lnTo>
                  <a:lnTo>
                    <a:pt x="407" y="30"/>
                  </a:lnTo>
                  <a:lnTo>
                    <a:pt x="407" y="30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1" y="30"/>
                  </a:lnTo>
                  <a:lnTo>
                    <a:pt x="413" y="31"/>
                  </a:lnTo>
                  <a:lnTo>
                    <a:pt x="415" y="31"/>
                  </a:lnTo>
                  <a:lnTo>
                    <a:pt x="417" y="32"/>
                  </a:lnTo>
                  <a:lnTo>
                    <a:pt x="420" y="33"/>
                  </a:lnTo>
                  <a:lnTo>
                    <a:pt x="422" y="33"/>
                  </a:lnTo>
                  <a:lnTo>
                    <a:pt x="423" y="33"/>
                  </a:lnTo>
                  <a:lnTo>
                    <a:pt x="423" y="33"/>
                  </a:lnTo>
                  <a:lnTo>
                    <a:pt x="424" y="33"/>
                  </a:lnTo>
                  <a:lnTo>
                    <a:pt x="425" y="33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29" y="31"/>
                  </a:lnTo>
                  <a:lnTo>
                    <a:pt x="430" y="31"/>
                  </a:lnTo>
                  <a:lnTo>
                    <a:pt x="430" y="30"/>
                  </a:lnTo>
                  <a:lnTo>
                    <a:pt x="431" y="29"/>
                  </a:lnTo>
                  <a:lnTo>
                    <a:pt x="431" y="29"/>
                  </a:lnTo>
                  <a:lnTo>
                    <a:pt x="432" y="28"/>
                  </a:lnTo>
                  <a:lnTo>
                    <a:pt x="432" y="28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3" y="24"/>
                  </a:lnTo>
                  <a:lnTo>
                    <a:pt x="433" y="23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4" y="22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7" y="20"/>
                  </a:lnTo>
                  <a:lnTo>
                    <a:pt x="437" y="19"/>
                  </a:lnTo>
                  <a:lnTo>
                    <a:pt x="439" y="18"/>
                  </a:lnTo>
                  <a:lnTo>
                    <a:pt x="443" y="16"/>
                  </a:lnTo>
                  <a:lnTo>
                    <a:pt x="444" y="16"/>
                  </a:lnTo>
                  <a:lnTo>
                    <a:pt x="445" y="15"/>
                  </a:lnTo>
                  <a:lnTo>
                    <a:pt x="445" y="15"/>
                  </a:lnTo>
                  <a:lnTo>
                    <a:pt x="446" y="14"/>
                  </a:lnTo>
                  <a:lnTo>
                    <a:pt x="446" y="14"/>
                  </a:lnTo>
                  <a:lnTo>
                    <a:pt x="447" y="13"/>
                  </a:lnTo>
                  <a:lnTo>
                    <a:pt x="447" y="12"/>
                  </a:lnTo>
                  <a:lnTo>
                    <a:pt x="447" y="11"/>
                  </a:lnTo>
                  <a:lnTo>
                    <a:pt x="447" y="9"/>
                  </a:lnTo>
                  <a:lnTo>
                    <a:pt x="447" y="8"/>
                  </a:lnTo>
                  <a:lnTo>
                    <a:pt x="448" y="6"/>
                  </a:lnTo>
                  <a:lnTo>
                    <a:pt x="449" y="4"/>
                  </a:lnTo>
                  <a:lnTo>
                    <a:pt x="450" y="3"/>
                  </a:lnTo>
                  <a:lnTo>
                    <a:pt x="45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1" y="0"/>
                  </a:lnTo>
                  <a:lnTo>
                    <a:pt x="451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Freeform 10">
              <a:extLst>
                <a:ext uri="{FF2B5EF4-FFF2-40B4-BE49-F238E27FC236}">
                  <a16:creationId xmlns:a16="http://schemas.microsoft.com/office/drawing/2014/main" id="{412C054B-FD22-4193-4860-38F9B9C877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4" y="3272"/>
              <a:ext cx="138" cy="106"/>
            </a:xfrm>
            <a:custGeom>
              <a:avLst/>
              <a:gdLst>
                <a:gd name="T0" fmla="*/ 77 w 138"/>
                <a:gd name="T1" fmla="*/ 3 h 106"/>
                <a:gd name="T2" fmla="*/ 66 w 138"/>
                <a:gd name="T3" fmla="*/ 8 h 106"/>
                <a:gd name="T4" fmla="*/ 53 w 138"/>
                <a:gd name="T5" fmla="*/ 13 h 106"/>
                <a:gd name="T6" fmla="*/ 43 w 138"/>
                <a:gd name="T7" fmla="*/ 15 h 106"/>
                <a:gd name="T8" fmla="*/ 38 w 138"/>
                <a:gd name="T9" fmla="*/ 17 h 106"/>
                <a:gd name="T10" fmla="*/ 36 w 138"/>
                <a:gd name="T11" fmla="*/ 24 h 106"/>
                <a:gd name="T12" fmla="*/ 33 w 138"/>
                <a:gd name="T13" fmla="*/ 27 h 106"/>
                <a:gd name="T14" fmla="*/ 26 w 138"/>
                <a:gd name="T15" fmla="*/ 26 h 106"/>
                <a:gd name="T16" fmla="*/ 21 w 138"/>
                <a:gd name="T17" fmla="*/ 24 h 106"/>
                <a:gd name="T18" fmla="*/ 14 w 138"/>
                <a:gd name="T19" fmla="*/ 27 h 106"/>
                <a:gd name="T20" fmla="*/ 2 w 138"/>
                <a:gd name="T21" fmla="*/ 31 h 106"/>
                <a:gd name="T22" fmla="*/ 0 w 138"/>
                <a:gd name="T23" fmla="*/ 33 h 106"/>
                <a:gd name="T24" fmla="*/ 5 w 138"/>
                <a:gd name="T25" fmla="*/ 36 h 106"/>
                <a:gd name="T26" fmla="*/ 13 w 138"/>
                <a:gd name="T27" fmla="*/ 44 h 106"/>
                <a:gd name="T28" fmla="*/ 12 w 138"/>
                <a:gd name="T29" fmla="*/ 48 h 106"/>
                <a:gd name="T30" fmla="*/ 7 w 138"/>
                <a:gd name="T31" fmla="*/ 52 h 106"/>
                <a:gd name="T32" fmla="*/ 7 w 138"/>
                <a:gd name="T33" fmla="*/ 55 h 106"/>
                <a:gd name="T34" fmla="*/ 11 w 138"/>
                <a:gd name="T35" fmla="*/ 62 h 106"/>
                <a:gd name="T36" fmla="*/ 20 w 138"/>
                <a:gd name="T37" fmla="*/ 71 h 106"/>
                <a:gd name="T38" fmla="*/ 21 w 138"/>
                <a:gd name="T39" fmla="*/ 75 h 106"/>
                <a:gd name="T40" fmla="*/ 20 w 138"/>
                <a:gd name="T41" fmla="*/ 80 h 106"/>
                <a:gd name="T42" fmla="*/ 22 w 138"/>
                <a:gd name="T43" fmla="*/ 83 h 106"/>
                <a:gd name="T44" fmla="*/ 28 w 138"/>
                <a:gd name="T45" fmla="*/ 86 h 106"/>
                <a:gd name="T46" fmla="*/ 29 w 138"/>
                <a:gd name="T47" fmla="*/ 89 h 106"/>
                <a:gd name="T48" fmla="*/ 29 w 138"/>
                <a:gd name="T49" fmla="*/ 94 h 106"/>
                <a:gd name="T50" fmla="*/ 30 w 138"/>
                <a:gd name="T51" fmla="*/ 97 h 106"/>
                <a:gd name="T52" fmla="*/ 29 w 138"/>
                <a:gd name="T53" fmla="*/ 102 h 106"/>
                <a:gd name="T54" fmla="*/ 32 w 138"/>
                <a:gd name="T55" fmla="*/ 105 h 106"/>
                <a:gd name="T56" fmla="*/ 40 w 138"/>
                <a:gd name="T57" fmla="*/ 106 h 106"/>
                <a:gd name="T58" fmla="*/ 46 w 138"/>
                <a:gd name="T59" fmla="*/ 106 h 106"/>
                <a:gd name="T60" fmla="*/ 49 w 138"/>
                <a:gd name="T61" fmla="*/ 100 h 106"/>
                <a:gd name="T62" fmla="*/ 55 w 138"/>
                <a:gd name="T63" fmla="*/ 98 h 106"/>
                <a:gd name="T64" fmla="*/ 65 w 138"/>
                <a:gd name="T65" fmla="*/ 94 h 106"/>
                <a:gd name="T66" fmla="*/ 76 w 138"/>
                <a:gd name="T67" fmla="*/ 86 h 106"/>
                <a:gd name="T68" fmla="*/ 83 w 138"/>
                <a:gd name="T69" fmla="*/ 83 h 106"/>
                <a:gd name="T70" fmla="*/ 88 w 138"/>
                <a:gd name="T71" fmla="*/ 79 h 106"/>
                <a:gd name="T72" fmla="*/ 94 w 138"/>
                <a:gd name="T73" fmla="*/ 78 h 106"/>
                <a:gd name="T74" fmla="*/ 102 w 138"/>
                <a:gd name="T75" fmla="*/ 77 h 106"/>
                <a:gd name="T76" fmla="*/ 110 w 138"/>
                <a:gd name="T77" fmla="*/ 81 h 106"/>
                <a:gd name="T78" fmla="*/ 117 w 138"/>
                <a:gd name="T79" fmla="*/ 83 h 106"/>
                <a:gd name="T80" fmla="*/ 121 w 138"/>
                <a:gd name="T81" fmla="*/ 82 h 106"/>
                <a:gd name="T82" fmla="*/ 127 w 138"/>
                <a:gd name="T83" fmla="*/ 76 h 106"/>
                <a:gd name="T84" fmla="*/ 126 w 138"/>
                <a:gd name="T85" fmla="*/ 66 h 106"/>
                <a:gd name="T86" fmla="*/ 124 w 138"/>
                <a:gd name="T87" fmla="*/ 62 h 106"/>
                <a:gd name="T88" fmla="*/ 122 w 138"/>
                <a:gd name="T89" fmla="*/ 58 h 106"/>
                <a:gd name="T90" fmla="*/ 125 w 138"/>
                <a:gd name="T91" fmla="*/ 55 h 106"/>
                <a:gd name="T92" fmla="*/ 135 w 138"/>
                <a:gd name="T93" fmla="*/ 49 h 106"/>
                <a:gd name="T94" fmla="*/ 138 w 138"/>
                <a:gd name="T95" fmla="*/ 44 h 106"/>
                <a:gd name="T96" fmla="*/ 137 w 138"/>
                <a:gd name="T97" fmla="*/ 40 h 106"/>
                <a:gd name="T98" fmla="*/ 130 w 138"/>
                <a:gd name="T99" fmla="*/ 34 h 106"/>
                <a:gd name="T100" fmla="*/ 125 w 138"/>
                <a:gd name="T101" fmla="*/ 28 h 106"/>
                <a:gd name="T102" fmla="*/ 117 w 138"/>
                <a:gd name="T103" fmla="*/ 23 h 106"/>
                <a:gd name="T104" fmla="*/ 109 w 138"/>
                <a:gd name="T105" fmla="*/ 20 h 106"/>
                <a:gd name="T106" fmla="*/ 106 w 138"/>
                <a:gd name="T107" fmla="*/ 14 h 106"/>
                <a:gd name="T108" fmla="*/ 101 w 138"/>
                <a:gd name="T109" fmla="*/ 12 h 106"/>
                <a:gd name="T110" fmla="*/ 91 w 138"/>
                <a:gd name="T111" fmla="*/ 5 h 106"/>
                <a:gd name="T112" fmla="*/ 88 w 138"/>
                <a:gd name="T113" fmla="*/ 2 h 106"/>
                <a:gd name="T114" fmla="*/ 88 w 138"/>
                <a:gd name="T11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8" h="106">
                  <a:moveTo>
                    <a:pt x="87" y="0"/>
                  </a:moveTo>
                  <a:lnTo>
                    <a:pt x="87" y="1"/>
                  </a:lnTo>
                  <a:lnTo>
                    <a:pt x="86" y="1"/>
                  </a:lnTo>
                  <a:lnTo>
                    <a:pt x="84" y="1"/>
                  </a:lnTo>
                  <a:lnTo>
                    <a:pt x="79" y="2"/>
                  </a:lnTo>
                  <a:lnTo>
                    <a:pt x="77" y="3"/>
                  </a:lnTo>
                  <a:lnTo>
                    <a:pt x="75" y="3"/>
                  </a:lnTo>
                  <a:lnTo>
                    <a:pt x="73" y="4"/>
                  </a:lnTo>
                  <a:lnTo>
                    <a:pt x="71" y="5"/>
                  </a:lnTo>
                  <a:lnTo>
                    <a:pt x="70" y="5"/>
                  </a:lnTo>
                  <a:lnTo>
                    <a:pt x="67" y="7"/>
                  </a:lnTo>
                  <a:lnTo>
                    <a:pt x="66" y="8"/>
                  </a:lnTo>
                  <a:lnTo>
                    <a:pt x="64" y="9"/>
                  </a:lnTo>
                  <a:lnTo>
                    <a:pt x="61" y="9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4" y="12"/>
                  </a:lnTo>
                  <a:lnTo>
                    <a:pt x="53" y="13"/>
                  </a:lnTo>
                  <a:lnTo>
                    <a:pt x="52" y="14"/>
                  </a:lnTo>
                  <a:lnTo>
                    <a:pt x="49" y="14"/>
                  </a:lnTo>
                  <a:lnTo>
                    <a:pt x="48" y="14"/>
                  </a:lnTo>
                  <a:lnTo>
                    <a:pt x="47" y="15"/>
                  </a:lnTo>
                  <a:lnTo>
                    <a:pt x="44" y="15"/>
                  </a:lnTo>
                  <a:lnTo>
                    <a:pt x="43" y="15"/>
                  </a:lnTo>
                  <a:lnTo>
                    <a:pt x="41" y="15"/>
                  </a:lnTo>
                  <a:lnTo>
                    <a:pt x="41" y="16"/>
                  </a:lnTo>
                  <a:lnTo>
                    <a:pt x="40" y="16"/>
                  </a:lnTo>
                  <a:lnTo>
                    <a:pt x="39" y="16"/>
                  </a:lnTo>
                  <a:lnTo>
                    <a:pt x="39" y="17"/>
                  </a:lnTo>
                  <a:lnTo>
                    <a:pt x="38" y="17"/>
                  </a:lnTo>
                  <a:lnTo>
                    <a:pt x="38" y="18"/>
                  </a:lnTo>
                  <a:lnTo>
                    <a:pt x="37" y="19"/>
                  </a:lnTo>
                  <a:lnTo>
                    <a:pt x="37" y="20"/>
                  </a:lnTo>
                  <a:lnTo>
                    <a:pt x="37" y="21"/>
                  </a:lnTo>
                  <a:lnTo>
                    <a:pt x="36" y="23"/>
                  </a:lnTo>
                  <a:lnTo>
                    <a:pt x="36" y="24"/>
                  </a:lnTo>
                  <a:lnTo>
                    <a:pt x="35" y="25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4" y="26"/>
                  </a:lnTo>
                  <a:lnTo>
                    <a:pt x="34" y="27"/>
                  </a:lnTo>
                  <a:lnTo>
                    <a:pt x="33" y="27"/>
                  </a:lnTo>
                  <a:lnTo>
                    <a:pt x="31" y="27"/>
                  </a:lnTo>
                  <a:lnTo>
                    <a:pt x="30" y="27"/>
                  </a:lnTo>
                  <a:lnTo>
                    <a:pt x="28" y="27"/>
                  </a:lnTo>
                  <a:lnTo>
                    <a:pt x="27" y="27"/>
                  </a:lnTo>
                  <a:lnTo>
                    <a:pt x="27" y="26"/>
                  </a:lnTo>
                  <a:lnTo>
                    <a:pt x="26" y="26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3" y="24"/>
                  </a:lnTo>
                  <a:lnTo>
                    <a:pt x="22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9" y="25"/>
                  </a:lnTo>
                  <a:lnTo>
                    <a:pt x="16" y="26"/>
                  </a:lnTo>
                  <a:lnTo>
                    <a:pt x="15" y="27"/>
                  </a:lnTo>
                  <a:lnTo>
                    <a:pt x="14" y="27"/>
                  </a:lnTo>
                  <a:lnTo>
                    <a:pt x="11" y="28"/>
                  </a:lnTo>
                  <a:lnTo>
                    <a:pt x="9" y="28"/>
                  </a:lnTo>
                  <a:lnTo>
                    <a:pt x="6" y="29"/>
                  </a:lnTo>
                  <a:lnTo>
                    <a:pt x="4" y="30"/>
                  </a:lnTo>
                  <a:lnTo>
                    <a:pt x="3" y="31"/>
                  </a:lnTo>
                  <a:lnTo>
                    <a:pt x="2" y="31"/>
                  </a:lnTo>
                  <a:lnTo>
                    <a:pt x="1" y="32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4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3" y="35"/>
                  </a:lnTo>
                  <a:lnTo>
                    <a:pt x="4" y="35"/>
                  </a:lnTo>
                  <a:lnTo>
                    <a:pt x="5" y="36"/>
                  </a:lnTo>
                  <a:lnTo>
                    <a:pt x="5" y="37"/>
                  </a:lnTo>
                  <a:lnTo>
                    <a:pt x="7" y="38"/>
                  </a:lnTo>
                  <a:lnTo>
                    <a:pt x="9" y="40"/>
                  </a:lnTo>
                  <a:lnTo>
                    <a:pt x="11" y="43"/>
                  </a:lnTo>
                  <a:lnTo>
                    <a:pt x="12" y="44"/>
                  </a:lnTo>
                  <a:lnTo>
                    <a:pt x="13" y="44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6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0" y="49"/>
                  </a:lnTo>
                  <a:lnTo>
                    <a:pt x="9" y="50"/>
                  </a:lnTo>
                  <a:lnTo>
                    <a:pt x="8" y="50"/>
                  </a:lnTo>
                  <a:lnTo>
                    <a:pt x="8" y="51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6" y="53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7" y="54"/>
                  </a:lnTo>
                  <a:lnTo>
                    <a:pt x="7" y="55"/>
                  </a:lnTo>
                  <a:lnTo>
                    <a:pt x="7" y="56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10" y="59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2" y="64"/>
                  </a:lnTo>
                  <a:lnTo>
                    <a:pt x="13" y="65"/>
                  </a:lnTo>
                  <a:lnTo>
                    <a:pt x="14" y="66"/>
                  </a:lnTo>
                  <a:lnTo>
                    <a:pt x="15" y="67"/>
                  </a:lnTo>
                  <a:lnTo>
                    <a:pt x="17" y="69"/>
                  </a:lnTo>
                  <a:lnTo>
                    <a:pt x="20" y="71"/>
                  </a:lnTo>
                  <a:lnTo>
                    <a:pt x="20" y="72"/>
                  </a:lnTo>
                  <a:lnTo>
                    <a:pt x="21" y="73"/>
                  </a:lnTo>
                  <a:lnTo>
                    <a:pt x="21" y="73"/>
                  </a:lnTo>
                  <a:lnTo>
                    <a:pt x="21" y="74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6"/>
                  </a:lnTo>
                  <a:lnTo>
                    <a:pt x="21" y="77"/>
                  </a:lnTo>
                  <a:lnTo>
                    <a:pt x="20" y="78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80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2"/>
                  </a:lnTo>
                  <a:lnTo>
                    <a:pt x="21" y="82"/>
                  </a:lnTo>
                  <a:lnTo>
                    <a:pt x="21" y="83"/>
                  </a:lnTo>
                  <a:lnTo>
                    <a:pt x="22" y="83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4" y="85"/>
                  </a:lnTo>
                  <a:lnTo>
                    <a:pt x="25" y="85"/>
                  </a:lnTo>
                  <a:lnTo>
                    <a:pt x="27" y="86"/>
                  </a:lnTo>
                  <a:lnTo>
                    <a:pt x="28" y="86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29" y="90"/>
                  </a:lnTo>
                  <a:lnTo>
                    <a:pt x="29" y="91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7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29" y="100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102"/>
                  </a:lnTo>
                  <a:lnTo>
                    <a:pt x="30" y="102"/>
                  </a:lnTo>
                  <a:lnTo>
                    <a:pt x="30" y="103"/>
                  </a:lnTo>
                  <a:lnTo>
                    <a:pt x="31" y="103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2" y="105"/>
                  </a:lnTo>
                  <a:lnTo>
                    <a:pt x="33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5" y="106"/>
                  </a:lnTo>
                  <a:lnTo>
                    <a:pt x="36" y="106"/>
                  </a:lnTo>
                  <a:lnTo>
                    <a:pt x="40" y="106"/>
                  </a:lnTo>
                  <a:lnTo>
                    <a:pt x="41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6" y="106"/>
                  </a:lnTo>
                  <a:lnTo>
                    <a:pt x="46" y="105"/>
                  </a:lnTo>
                  <a:lnTo>
                    <a:pt x="46" y="105"/>
                  </a:lnTo>
                  <a:lnTo>
                    <a:pt x="47" y="104"/>
                  </a:lnTo>
                  <a:lnTo>
                    <a:pt x="48" y="102"/>
                  </a:lnTo>
                  <a:lnTo>
                    <a:pt x="49" y="101"/>
                  </a:lnTo>
                  <a:lnTo>
                    <a:pt x="49" y="100"/>
                  </a:lnTo>
                  <a:lnTo>
                    <a:pt x="49" y="100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1" y="99"/>
                  </a:lnTo>
                  <a:lnTo>
                    <a:pt x="52" y="98"/>
                  </a:lnTo>
                  <a:lnTo>
                    <a:pt x="55" y="98"/>
                  </a:lnTo>
                  <a:lnTo>
                    <a:pt x="56" y="97"/>
                  </a:lnTo>
                  <a:lnTo>
                    <a:pt x="58" y="97"/>
                  </a:lnTo>
                  <a:lnTo>
                    <a:pt x="59" y="96"/>
                  </a:lnTo>
                  <a:lnTo>
                    <a:pt x="62" y="95"/>
                  </a:lnTo>
                  <a:lnTo>
                    <a:pt x="64" y="95"/>
                  </a:lnTo>
                  <a:lnTo>
                    <a:pt x="65" y="94"/>
                  </a:lnTo>
                  <a:lnTo>
                    <a:pt x="66" y="94"/>
                  </a:lnTo>
                  <a:lnTo>
                    <a:pt x="67" y="93"/>
                  </a:lnTo>
                  <a:lnTo>
                    <a:pt x="68" y="93"/>
                  </a:lnTo>
                  <a:lnTo>
                    <a:pt x="73" y="89"/>
                  </a:lnTo>
                  <a:lnTo>
                    <a:pt x="75" y="87"/>
                  </a:lnTo>
                  <a:lnTo>
                    <a:pt x="76" y="86"/>
                  </a:lnTo>
                  <a:lnTo>
                    <a:pt x="77" y="86"/>
                  </a:lnTo>
                  <a:lnTo>
                    <a:pt x="78" y="86"/>
                  </a:lnTo>
                  <a:lnTo>
                    <a:pt x="79" y="85"/>
                  </a:lnTo>
                  <a:lnTo>
                    <a:pt x="81" y="84"/>
                  </a:lnTo>
                  <a:lnTo>
                    <a:pt x="82" y="84"/>
                  </a:lnTo>
                  <a:lnTo>
                    <a:pt x="83" y="83"/>
                  </a:lnTo>
                  <a:lnTo>
                    <a:pt x="84" y="83"/>
                  </a:lnTo>
                  <a:lnTo>
                    <a:pt x="85" y="82"/>
                  </a:lnTo>
                  <a:lnTo>
                    <a:pt x="86" y="82"/>
                  </a:lnTo>
                  <a:lnTo>
                    <a:pt x="87" y="80"/>
                  </a:lnTo>
                  <a:lnTo>
                    <a:pt x="87" y="80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9" y="79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91" y="78"/>
                  </a:lnTo>
                  <a:lnTo>
                    <a:pt x="94" y="78"/>
                  </a:lnTo>
                  <a:lnTo>
                    <a:pt x="95" y="77"/>
                  </a:lnTo>
                  <a:lnTo>
                    <a:pt x="97" y="77"/>
                  </a:lnTo>
                  <a:lnTo>
                    <a:pt x="99" y="77"/>
                  </a:lnTo>
                  <a:lnTo>
                    <a:pt x="101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3" y="77"/>
                  </a:lnTo>
                  <a:lnTo>
                    <a:pt x="104" y="78"/>
                  </a:lnTo>
                  <a:lnTo>
                    <a:pt x="106" y="78"/>
                  </a:lnTo>
                  <a:lnTo>
                    <a:pt x="107" y="79"/>
                  </a:lnTo>
                  <a:lnTo>
                    <a:pt x="108" y="80"/>
                  </a:lnTo>
                  <a:lnTo>
                    <a:pt x="110" y="81"/>
                  </a:lnTo>
                  <a:lnTo>
                    <a:pt x="112" y="82"/>
                  </a:lnTo>
                  <a:lnTo>
                    <a:pt x="112" y="82"/>
                  </a:lnTo>
                  <a:lnTo>
                    <a:pt x="113" y="82"/>
                  </a:lnTo>
                  <a:lnTo>
                    <a:pt x="114" y="83"/>
                  </a:lnTo>
                  <a:lnTo>
                    <a:pt x="115" y="83"/>
                  </a:lnTo>
                  <a:lnTo>
                    <a:pt x="117" y="83"/>
                  </a:lnTo>
                  <a:lnTo>
                    <a:pt x="118" y="83"/>
                  </a:lnTo>
                  <a:lnTo>
                    <a:pt x="118" y="83"/>
                  </a:lnTo>
                  <a:lnTo>
                    <a:pt x="119" y="83"/>
                  </a:lnTo>
                  <a:lnTo>
                    <a:pt x="120" y="83"/>
                  </a:lnTo>
                  <a:lnTo>
                    <a:pt x="120" y="82"/>
                  </a:lnTo>
                  <a:lnTo>
                    <a:pt x="121" y="82"/>
                  </a:lnTo>
                  <a:lnTo>
                    <a:pt x="122" y="81"/>
                  </a:lnTo>
                  <a:lnTo>
                    <a:pt x="124" y="79"/>
                  </a:lnTo>
                  <a:lnTo>
                    <a:pt x="125" y="79"/>
                  </a:lnTo>
                  <a:lnTo>
                    <a:pt x="126" y="78"/>
                  </a:lnTo>
                  <a:lnTo>
                    <a:pt x="126" y="77"/>
                  </a:lnTo>
                  <a:lnTo>
                    <a:pt x="127" y="76"/>
                  </a:lnTo>
                  <a:lnTo>
                    <a:pt x="127" y="75"/>
                  </a:lnTo>
                  <a:lnTo>
                    <a:pt x="127" y="74"/>
                  </a:lnTo>
                  <a:lnTo>
                    <a:pt x="127" y="73"/>
                  </a:lnTo>
                  <a:lnTo>
                    <a:pt x="127" y="72"/>
                  </a:lnTo>
                  <a:lnTo>
                    <a:pt x="126" y="68"/>
                  </a:lnTo>
                  <a:lnTo>
                    <a:pt x="126" y="66"/>
                  </a:lnTo>
                  <a:lnTo>
                    <a:pt x="126" y="65"/>
                  </a:lnTo>
                  <a:lnTo>
                    <a:pt x="126" y="64"/>
                  </a:lnTo>
                  <a:lnTo>
                    <a:pt x="125" y="64"/>
                  </a:lnTo>
                  <a:lnTo>
                    <a:pt x="125" y="63"/>
                  </a:lnTo>
                  <a:lnTo>
                    <a:pt x="125" y="63"/>
                  </a:lnTo>
                  <a:lnTo>
                    <a:pt x="124" y="62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3" y="60"/>
                  </a:lnTo>
                  <a:lnTo>
                    <a:pt x="122" y="60"/>
                  </a:lnTo>
                  <a:lnTo>
                    <a:pt x="122" y="59"/>
                  </a:lnTo>
                  <a:lnTo>
                    <a:pt x="122" y="58"/>
                  </a:lnTo>
                  <a:lnTo>
                    <a:pt x="123" y="58"/>
                  </a:lnTo>
                  <a:lnTo>
                    <a:pt x="123" y="57"/>
                  </a:lnTo>
                  <a:lnTo>
                    <a:pt x="123" y="57"/>
                  </a:lnTo>
                  <a:lnTo>
                    <a:pt x="123" y="56"/>
                  </a:lnTo>
                  <a:lnTo>
                    <a:pt x="124" y="56"/>
                  </a:lnTo>
                  <a:lnTo>
                    <a:pt x="125" y="55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31" y="51"/>
                  </a:lnTo>
                  <a:lnTo>
                    <a:pt x="134" y="50"/>
                  </a:lnTo>
                  <a:lnTo>
                    <a:pt x="134" y="49"/>
                  </a:lnTo>
                  <a:lnTo>
                    <a:pt x="135" y="49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7" y="47"/>
                  </a:lnTo>
                  <a:lnTo>
                    <a:pt x="137" y="46"/>
                  </a:lnTo>
                  <a:lnTo>
                    <a:pt x="138" y="45"/>
                  </a:lnTo>
                  <a:lnTo>
                    <a:pt x="138" y="44"/>
                  </a:lnTo>
                  <a:lnTo>
                    <a:pt x="138" y="43"/>
                  </a:lnTo>
                  <a:lnTo>
                    <a:pt x="138" y="43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37" y="41"/>
                  </a:lnTo>
                  <a:lnTo>
                    <a:pt x="137" y="40"/>
                  </a:lnTo>
                  <a:lnTo>
                    <a:pt x="136" y="39"/>
                  </a:lnTo>
                  <a:lnTo>
                    <a:pt x="135" y="38"/>
                  </a:lnTo>
                  <a:lnTo>
                    <a:pt x="135" y="37"/>
                  </a:lnTo>
                  <a:lnTo>
                    <a:pt x="134" y="37"/>
                  </a:lnTo>
                  <a:lnTo>
                    <a:pt x="133" y="36"/>
                  </a:lnTo>
                  <a:lnTo>
                    <a:pt x="130" y="34"/>
                  </a:lnTo>
                  <a:lnTo>
                    <a:pt x="129" y="33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7" y="31"/>
                  </a:lnTo>
                  <a:lnTo>
                    <a:pt x="126" y="29"/>
                  </a:lnTo>
                  <a:lnTo>
                    <a:pt x="125" y="28"/>
                  </a:lnTo>
                  <a:lnTo>
                    <a:pt x="124" y="28"/>
                  </a:lnTo>
                  <a:lnTo>
                    <a:pt x="124" y="27"/>
                  </a:lnTo>
                  <a:lnTo>
                    <a:pt x="123" y="27"/>
                  </a:lnTo>
                  <a:lnTo>
                    <a:pt x="122" y="26"/>
                  </a:lnTo>
                  <a:lnTo>
                    <a:pt x="118" y="24"/>
                  </a:lnTo>
                  <a:lnTo>
                    <a:pt x="117" y="23"/>
                  </a:lnTo>
                  <a:lnTo>
                    <a:pt x="114" y="23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1" y="21"/>
                  </a:lnTo>
                  <a:lnTo>
                    <a:pt x="110" y="21"/>
                  </a:lnTo>
                  <a:lnTo>
                    <a:pt x="109" y="20"/>
                  </a:lnTo>
                  <a:lnTo>
                    <a:pt x="109" y="19"/>
                  </a:lnTo>
                  <a:lnTo>
                    <a:pt x="108" y="19"/>
                  </a:lnTo>
                  <a:lnTo>
                    <a:pt x="107" y="18"/>
                  </a:lnTo>
                  <a:lnTo>
                    <a:pt x="107" y="17"/>
                  </a:lnTo>
                  <a:lnTo>
                    <a:pt x="107" y="16"/>
                  </a:lnTo>
                  <a:lnTo>
                    <a:pt x="106" y="14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4" y="12"/>
                  </a:lnTo>
                  <a:lnTo>
                    <a:pt x="103" y="12"/>
                  </a:lnTo>
                  <a:lnTo>
                    <a:pt x="101" y="12"/>
                  </a:lnTo>
                  <a:lnTo>
                    <a:pt x="100" y="11"/>
                  </a:lnTo>
                  <a:lnTo>
                    <a:pt x="99" y="11"/>
                  </a:lnTo>
                  <a:lnTo>
                    <a:pt x="98" y="10"/>
                  </a:lnTo>
                  <a:lnTo>
                    <a:pt x="95" y="8"/>
                  </a:lnTo>
                  <a:lnTo>
                    <a:pt x="94" y="7"/>
                  </a:lnTo>
                  <a:lnTo>
                    <a:pt x="91" y="5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89" y="4"/>
                  </a:lnTo>
                  <a:lnTo>
                    <a:pt x="89" y="3"/>
                  </a:lnTo>
                  <a:lnTo>
                    <a:pt x="89" y="2"/>
                  </a:lnTo>
                  <a:lnTo>
                    <a:pt x="88" y="2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9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7" y="0"/>
                  </a:lnTo>
                </a:path>
              </a:pathLst>
            </a:custGeom>
            <a:solidFill>
              <a:srgbClr val="E6AF00"/>
            </a:solidFill>
            <a:ln w="635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Freeform 11">
              <a:extLst>
                <a:ext uri="{FF2B5EF4-FFF2-40B4-BE49-F238E27FC236}">
                  <a16:creationId xmlns:a16="http://schemas.microsoft.com/office/drawing/2014/main" id="{F828F0EF-8C9B-741B-C691-74B72EC83C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3533"/>
              <a:ext cx="624" cy="488"/>
            </a:xfrm>
            <a:custGeom>
              <a:avLst/>
              <a:gdLst>
                <a:gd name="T0" fmla="*/ 178 w 624"/>
                <a:gd name="T1" fmla="*/ 37 h 488"/>
                <a:gd name="T2" fmla="*/ 217 w 624"/>
                <a:gd name="T3" fmla="*/ 23 h 488"/>
                <a:gd name="T4" fmla="*/ 241 w 624"/>
                <a:gd name="T5" fmla="*/ 35 h 488"/>
                <a:gd name="T6" fmla="*/ 265 w 624"/>
                <a:gd name="T7" fmla="*/ 33 h 488"/>
                <a:gd name="T8" fmla="*/ 286 w 624"/>
                <a:gd name="T9" fmla="*/ 34 h 488"/>
                <a:gd name="T10" fmla="*/ 319 w 624"/>
                <a:gd name="T11" fmla="*/ 35 h 488"/>
                <a:gd name="T12" fmla="*/ 337 w 624"/>
                <a:gd name="T13" fmla="*/ 48 h 488"/>
                <a:gd name="T14" fmla="*/ 363 w 624"/>
                <a:gd name="T15" fmla="*/ 27 h 488"/>
                <a:gd name="T16" fmla="*/ 373 w 624"/>
                <a:gd name="T17" fmla="*/ 0 h 488"/>
                <a:gd name="T18" fmla="*/ 403 w 624"/>
                <a:gd name="T19" fmla="*/ 13 h 488"/>
                <a:gd name="T20" fmla="*/ 422 w 624"/>
                <a:gd name="T21" fmla="*/ 31 h 488"/>
                <a:gd name="T22" fmla="*/ 417 w 624"/>
                <a:gd name="T23" fmla="*/ 47 h 488"/>
                <a:gd name="T24" fmla="*/ 415 w 624"/>
                <a:gd name="T25" fmla="*/ 88 h 488"/>
                <a:gd name="T26" fmla="*/ 421 w 624"/>
                <a:gd name="T27" fmla="*/ 120 h 488"/>
                <a:gd name="T28" fmla="*/ 435 w 624"/>
                <a:gd name="T29" fmla="*/ 153 h 488"/>
                <a:gd name="T30" fmla="*/ 468 w 624"/>
                <a:gd name="T31" fmla="*/ 159 h 488"/>
                <a:gd name="T32" fmla="*/ 473 w 624"/>
                <a:gd name="T33" fmla="*/ 171 h 488"/>
                <a:gd name="T34" fmla="*/ 502 w 624"/>
                <a:gd name="T35" fmla="*/ 178 h 488"/>
                <a:gd name="T36" fmla="*/ 542 w 624"/>
                <a:gd name="T37" fmla="*/ 184 h 488"/>
                <a:gd name="T38" fmla="*/ 551 w 624"/>
                <a:gd name="T39" fmla="*/ 212 h 488"/>
                <a:gd name="T40" fmla="*/ 591 w 624"/>
                <a:gd name="T41" fmla="*/ 227 h 488"/>
                <a:gd name="T42" fmla="*/ 614 w 624"/>
                <a:gd name="T43" fmla="*/ 228 h 488"/>
                <a:gd name="T44" fmla="*/ 621 w 624"/>
                <a:gd name="T45" fmla="*/ 249 h 488"/>
                <a:gd name="T46" fmla="*/ 600 w 624"/>
                <a:gd name="T47" fmla="*/ 276 h 488"/>
                <a:gd name="T48" fmla="*/ 605 w 624"/>
                <a:gd name="T49" fmla="*/ 293 h 488"/>
                <a:gd name="T50" fmla="*/ 617 w 624"/>
                <a:gd name="T51" fmla="*/ 312 h 488"/>
                <a:gd name="T52" fmla="*/ 606 w 624"/>
                <a:gd name="T53" fmla="*/ 325 h 488"/>
                <a:gd name="T54" fmla="*/ 560 w 624"/>
                <a:gd name="T55" fmla="*/ 297 h 488"/>
                <a:gd name="T56" fmla="*/ 529 w 624"/>
                <a:gd name="T57" fmla="*/ 291 h 488"/>
                <a:gd name="T58" fmla="*/ 496 w 624"/>
                <a:gd name="T59" fmla="*/ 309 h 488"/>
                <a:gd name="T60" fmla="*/ 484 w 624"/>
                <a:gd name="T61" fmla="*/ 286 h 488"/>
                <a:gd name="T62" fmla="*/ 448 w 624"/>
                <a:gd name="T63" fmla="*/ 277 h 488"/>
                <a:gd name="T64" fmla="*/ 438 w 624"/>
                <a:gd name="T65" fmla="*/ 313 h 488"/>
                <a:gd name="T66" fmla="*/ 432 w 624"/>
                <a:gd name="T67" fmla="*/ 370 h 488"/>
                <a:gd name="T68" fmla="*/ 425 w 624"/>
                <a:gd name="T69" fmla="*/ 394 h 488"/>
                <a:gd name="T70" fmla="*/ 386 w 624"/>
                <a:gd name="T71" fmla="*/ 391 h 488"/>
                <a:gd name="T72" fmla="*/ 358 w 624"/>
                <a:gd name="T73" fmla="*/ 437 h 488"/>
                <a:gd name="T74" fmla="*/ 350 w 624"/>
                <a:gd name="T75" fmla="*/ 476 h 488"/>
                <a:gd name="T76" fmla="*/ 326 w 624"/>
                <a:gd name="T77" fmla="*/ 461 h 488"/>
                <a:gd name="T78" fmla="*/ 291 w 624"/>
                <a:gd name="T79" fmla="*/ 458 h 488"/>
                <a:gd name="T80" fmla="*/ 273 w 624"/>
                <a:gd name="T81" fmla="*/ 465 h 488"/>
                <a:gd name="T82" fmla="*/ 253 w 624"/>
                <a:gd name="T83" fmla="*/ 481 h 488"/>
                <a:gd name="T84" fmla="*/ 211 w 624"/>
                <a:gd name="T85" fmla="*/ 477 h 488"/>
                <a:gd name="T86" fmla="*/ 158 w 624"/>
                <a:gd name="T87" fmla="*/ 467 h 488"/>
                <a:gd name="T88" fmla="*/ 145 w 624"/>
                <a:gd name="T89" fmla="*/ 446 h 488"/>
                <a:gd name="T90" fmla="*/ 142 w 624"/>
                <a:gd name="T91" fmla="*/ 422 h 488"/>
                <a:gd name="T92" fmla="*/ 101 w 624"/>
                <a:gd name="T93" fmla="*/ 392 h 488"/>
                <a:gd name="T94" fmla="*/ 73 w 624"/>
                <a:gd name="T95" fmla="*/ 361 h 488"/>
                <a:gd name="T96" fmla="*/ 46 w 624"/>
                <a:gd name="T97" fmla="*/ 336 h 488"/>
                <a:gd name="T98" fmla="*/ 20 w 624"/>
                <a:gd name="T99" fmla="*/ 306 h 488"/>
                <a:gd name="T100" fmla="*/ 0 w 624"/>
                <a:gd name="T101" fmla="*/ 286 h 488"/>
                <a:gd name="T102" fmla="*/ 17 w 624"/>
                <a:gd name="T103" fmla="*/ 255 h 488"/>
                <a:gd name="T104" fmla="*/ 18 w 624"/>
                <a:gd name="T105" fmla="*/ 214 h 488"/>
                <a:gd name="T106" fmla="*/ 47 w 624"/>
                <a:gd name="T107" fmla="*/ 201 h 488"/>
                <a:gd name="T108" fmla="*/ 49 w 624"/>
                <a:gd name="T109" fmla="*/ 174 h 488"/>
                <a:gd name="T110" fmla="*/ 52 w 624"/>
                <a:gd name="T111" fmla="*/ 157 h 488"/>
                <a:gd name="T112" fmla="*/ 59 w 624"/>
                <a:gd name="T113" fmla="*/ 140 h 488"/>
                <a:gd name="T114" fmla="*/ 74 w 624"/>
                <a:gd name="T115" fmla="*/ 107 h 488"/>
                <a:gd name="T116" fmla="*/ 71 w 624"/>
                <a:gd name="T117" fmla="*/ 67 h 488"/>
                <a:gd name="T118" fmla="*/ 73 w 624"/>
                <a:gd name="T119" fmla="*/ 44 h 488"/>
                <a:gd name="T120" fmla="*/ 102 w 624"/>
                <a:gd name="T121" fmla="*/ 41 h 488"/>
                <a:gd name="T122" fmla="*/ 127 w 624"/>
                <a:gd name="T123" fmla="*/ 45 h 488"/>
                <a:gd name="T124" fmla="*/ 150 w 624"/>
                <a:gd name="T125" fmla="*/ 28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24" h="488">
                  <a:moveTo>
                    <a:pt x="162" y="23"/>
                  </a:moveTo>
                  <a:lnTo>
                    <a:pt x="162" y="23"/>
                  </a:lnTo>
                  <a:lnTo>
                    <a:pt x="162" y="23"/>
                  </a:lnTo>
                  <a:lnTo>
                    <a:pt x="163" y="24"/>
                  </a:lnTo>
                  <a:lnTo>
                    <a:pt x="163" y="24"/>
                  </a:lnTo>
                  <a:lnTo>
                    <a:pt x="163" y="25"/>
                  </a:lnTo>
                  <a:lnTo>
                    <a:pt x="163" y="29"/>
                  </a:lnTo>
                  <a:lnTo>
                    <a:pt x="163" y="31"/>
                  </a:lnTo>
                  <a:lnTo>
                    <a:pt x="163" y="32"/>
                  </a:lnTo>
                  <a:lnTo>
                    <a:pt x="163" y="33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4" y="35"/>
                  </a:lnTo>
                  <a:lnTo>
                    <a:pt x="164" y="35"/>
                  </a:lnTo>
                  <a:lnTo>
                    <a:pt x="165" y="36"/>
                  </a:lnTo>
                  <a:lnTo>
                    <a:pt x="165" y="36"/>
                  </a:lnTo>
                  <a:lnTo>
                    <a:pt x="166" y="37"/>
                  </a:lnTo>
                  <a:lnTo>
                    <a:pt x="167" y="37"/>
                  </a:lnTo>
                  <a:lnTo>
                    <a:pt x="168" y="37"/>
                  </a:lnTo>
                  <a:lnTo>
                    <a:pt x="168" y="37"/>
                  </a:lnTo>
                  <a:lnTo>
                    <a:pt x="170" y="38"/>
                  </a:lnTo>
                  <a:lnTo>
                    <a:pt x="171" y="37"/>
                  </a:lnTo>
                  <a:lnTo>
                    <a:pt x="172" y="37"/>
                  </a:lnTo>
                  <a:lnTo>
                    <a:pt x="173" y="37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6" y="37"/>
                  </a:lnTo>
                  <a:lnTo>
                    <a:pt x="178" y="37"/>
                  </a:lnTo>
                  <a:lnTo>
                    <a:pt x="179" y="37"/>
                  </a:lnTo>
                  <a:lnTo>
                    <a:pt x="181" y="36"/>
                  </a:lnTo>
                  <a:lnTo>
                    <a:pt x="182" y="36"/>
                  </a:lnTo>
                  <a:lnTo>
                    <a:pt x="183" y="36"/>
                  </a:lnTo>
                  <a:lnTo>
                    <a:pt x="187" y="36"/>
                  </a:lnTo>
                  <a:lnTo>
                    <a:pt x="188" y="36"/>
                  </a:lnTo>
                  <a:lnTo>
                    <a:pt x="196" y="36"/>
                  </a:lnTo>
                  <a:lnTo>
                    <a:pt x="199" y="35"/>
                  </a:lnTo>
                  <a:lnTo>
                    <a:pt x="201" y="35"/>
                  </a:lnTo>
                  <a:lnTo>
                    <a:pt x="202" y="35"/>
                  </a:lnTo>
                  <a:lnTo>
                    <a:pt x="204" y="35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6" y="35"/>
                  </a:lnTo>
                  <a:lnTo>
                    <a:pt x="206" y="35"/>
                  </a:lnTo>
                  <a:lnTo>
                    <a:pt x="207" y="34"/>
                  </a:lnTo>
                  <a:lnTo>
                    <a:pt x="207" y="32"/>
                  </a:lnTo>
                  <a:lnTo>
                    <a:pt x="208" y="31"/>
                  </a:lnTo>
                  <a:lnTo>
                    <a:pt x="209" y="30"/>
                  </a:lnTo>
                  <a:lnTo>
                    <a:pt x="210" y="28"/>
                  </a:lnTo>
                  <a:lnTo>
                    <a:pt x="211" y="26"/>
                  </a:lnTo>
                  <a:lnTo>
                    <a:pt x="211" y="26"/>
                  </a:lnTo>
                  <a:lnTo>
                    <a:pt x="212" y="25"/>
                  </a:lnTo>
                  <a:lnTo>
                    <a:pt x="212" y="24"/>
                  </a:lnTo>
                  <a:lnTo>
                    <a:pt x="213" y="24"/>
                  </a:lnTo>
                  <a:lnTo>
                    <a:pt x="214" y="24"/>
                  </a:lnTo>
                  <a:lnTo>
                    <a:pt x="217" y="23"/>
                  </a:lnTo>
                  <a:lnTo>
                    <a:pt x="219" y="22"/>
                  </a:lnTo>
                  <a:lnTo>
                    <a:pt x="220" y="22"/>
                  </a:lnTo>
                  <a:lnTo>
                    <a:pt x="221" y="22"/>
                  </a:lnTo>
                  <a:lnTo>
                    <a:pt x="222" y="22"/>
                  </a:lnTo>
                  <a:lnTo>
                    <a:pt x="222" y="22"/>
                  </a:lnTo>
                  <a:lnTo>
                    <a:pt x="223" y="22"/>
                  </a:lnTo>
                  <a:lnTo>
                    <a:pt x="225" y="23"/>
                  </a:lnTo>
                  <a:lnTo>
                    <a:pt x="226" y="23"/>
                  </a:lnTo>
                  <a:lnTo>
                    <a:pt x="227" y="24"/>
                  </a:lnTo>
                  <a:lnTo>
                    <a:pt x="228" y="25"/>
                  </a:lnTo>
                  <a:lnTo>
                    <a:pt x="229" y="25"/>
                  </a:lnTo>
                  <a:lnTo>
                    <a:pt x="230" y="26"/>
                  </a:lnTo>
                  <a:lnTo>
                    <a:pt x="231" y="28"/>
                  </a:lnTo>
                  <a:lnTo>
                    <a:pt x="231" y="28"/>
                  </a:lnTo>
                  <a:lnTo>
                    <a:pt x="232" y="29"/>
                  </a:lnTo>
                  <a:lnTo>
                    <a:pt x="232" y="29"/>
                  </a:lnTo>
                  <a:lnTo>
                    <a:pt x="233" y="30"/>
                  </a:lnTo>
                  <a:lnTo>
                    <a:pt x="233" y="30"/>
                  </a:lnTo>
                  <a:lnTo>
                    <a:pt x="235" y="30"/>
                  </a:lnTo>
                  <a:lnTo>
                    <a:pt x="236" y="31"/>
                  </a:lnTo>
                  <a:lnTo>
                    <a:pt x="238" y="32"/>
                  </a:lnTo>
                  <a:lnTo>
                    <a:pt x="238" y="32"/>
                  </a:lnTo>
                  <a:lnTo>
                    <a:pt x="239" y="33"/>
                  </a:lnTo>
                  <a:lnTo>
                    <a:pt x="240" y="33"/>
                  </a:lnTo>
                  <a:lnTo>
                    <a:pt x="241" y="34"/>
                  </a:lnTo>
                  <a:lnTo>
                    <a:pt x="241" y="35"/>
                  </a:lnTo>
                  <a:lnTo>
                    <a:pt x="241" y="35"/>
                  </a:lnTo>
                  <a:lnTo>
                    <a:pt x="241" y="35"/>
                  </a:lnTo>
                  <a:lnTo>
                    <a:pt x="242" y="37"/>
                  </a:lnTo>
                  <a:lnTo>
                    <a:pt x="242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4" y="39"/>
                  </a:lnTo>
                  <a:lnTo>
                    <a:pt x="245" y="39"/>
                  </a:lnTo>
                  <a:lnTo>
                    <a:pt x="247" y="39"/>
                  </a:lnTo>
                  <a:lnTo>
                    <a:pt x="248" y="39"/>
                  </a:lnTo>
                  <a:lnTo>
                    <a:pt x="249" y="39"/>
                  </a:lnTo>
                  <a:lnTo>
                    <a:pt x="250" y="39"/>
                  </a:lnTo>
                  <a:lnTo>
                    <a:pt x="252" y="39"/>
                  </a:lnTo>
                  <a:lnTo>
                    <a:pt x="252" y="38"/>
                  </a:lnTo>
                  <a:lnTo>
                    <a:pt x="253" y="38"/>
                  </a:lnTo>
                  <a:lnTo>
                    <a:pt x="253" y="38"/>
                  </a:lnTo>
                  <a:lnTo>
                    <a:pt x="256" y="36"/>
                  </a:lnTo>
                  <a:lnTo>
                    <a:pt x="257" y="35"/>
                  </a:lnTo>
                  <a:lnTo>
                    <a:pt x="258" y="35"/>
                  </a:lnTo>
                  <a:lnTo>
                    <a:pt x="259" y="34"/>
                  </a:lnTo>
                  <a:lnTo>
                    <a:pt x="260" y="34"/>
                  </a:lnTo>
                  <a:lnTo>
                    <a:pt x="261" y="34"/>
                  </a:lnTo>
                  <a:lnTo>
                    <a:pt x="262" y="34"/>
                  </a:lnTo>
                  <a:lnTo>
                    <a:pt x="264" y="34"/>
                  </a:lnTo>
                  <a:lnTo>
                    <a:pt x="264" y="34"/>
                  </a:lnTo>
                  <a:lnTo>
                    <a:pt x="264" y="34"/>
                  </a:lnTo>
                  <a:lnTo>
                    <a:pt x="265" y="34"/>
                  </a:lnTo>
                  <a:lnTo>
                    <a:pt x="265" y="34"/>
                  </a:lnTo>
                  <a:lnTo>
                    <a:pt x="265" y="33"/>
                  </a:lnTo>
                  <a:lnTo>
                    <a:pt x="265" y="33"/>
                  </a:lnTo>
                  <a:lnTo>
                    <a:pt x="265" y="32"/>
                  </a:lnTo>
                  <a:lnTo>
                    <a:pt x="265" y="30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8"/>
                  </a:lnTo>
                  <a:lnTo>
                    <a:pt x="265" y="28"/>
                  </a:lnTo>
                  <a:lnTo>
                    <a:pt x="266" y="28"/>
                  </a:lnTo>
                  <a:lnTo>
                    <a:pt x="266" y="28"/>
                  </a:lnTo>
                  <a:lnTo>
                    <a:pt x="267" y="28"/>
                  </a:lnTo>
                  <a:lnTo>
                    <a:pt x="268" y="28"/>
                  </a:lnTo>
                  <a:lnTo>
                    <a:pt x="270" y="30"/>
                  </a:lnTo>
                  <a:lnTo>
                    <a:pt x="271" y="30"/>
                  </a:lnTo>
                  <a:lnTo>
                    <a:pt x="272" y="31"/>
                  </a:lnTo>
                  <a:lnTo>
                    <a:pt x="274" y="31"/>
                  </a:lnTo>
                  <a:lnTo>
                    <a:pt x="275" y="32"/>
                  </a:lnTo>
                  <a:lnTo>
                    <a:pt x="276" y="32"/>
                  </a:lnTo>
                  <a:lnTo>
                    <a:pt x="279" y="35"/>
                  </a:lnTo>
                  <a:lnTo>
                    <a:pt x="280" y="35"/>
                  </a:lnTo>
                  <a:lnTo>
                    <a:pt x="281" y="36"/>
                  </a:lnTo>
                  <a:lnTo>
                    <a:pt x="282" y="36"/>
                  </a:lnTo>
                  <a:lnTo>
                    <a:pt x="282" y="36"/>
                  </a:lnTo>
                  <a:lnTo>
                    <a:pt x="283" y="36"/>
                  </a:lnTo>
                  <a:lnTo>
                    <a:pt x="283" y="36"/>
                  </a:lnTo>
                  <a:lnTo>
                    <a:pt x="284" y="36"/>
                  </a:lnTo>
                  <a:lnTo>
                    <a:pt x="285" y="35"/>
                  </a:lnTo>
                  <a:lnTo>
                    <a:pt x="286" y="34"/>
                  </a:lnTo>
                  <a:lnTo>
                    <a:pt x="287" y="34"/>
                  </a:lnTo>
                  <a:lnTo>
                    <a:pt x="288" y="33"/>
                  </a:lnTo>
                  <a:lnTo>
                    <a:pt x="288" y="33"/>
                  </a:lnTo>
                  <a:lnTo>
                    <a:pt x="289" y="33"/>
                  </a:lnTo>
                  <a:lnTo>
                    <a:pt x="290" y="33"/>
                  </a:lnTo>
                  <a:lnTo>
                    <a:pt x="292" y="33"/>
                  </a:lnTo>
                  <a:lnTo>
                    <a:pt x="293" y="34"/>
                  </a:lnTo>
                  <a:lnTo>
                    <a:pt x="294" y="34"/>
                  </a:lnTo>
                  <a:lnTo>
                    <a:pt x="295" y="34"/>
                  </a:lnTo>
                  <a:lnTo>
                    <a:pt x="295" y="34"/>
                  </a:lnTo>
                  <a:lnTo>
                    <a:pt x="297" y="35"/>
                  </a:lnTo>
                  <a:lnTo>
                    <a:pt x="298" y="35"/>
                  </a:lnTo>
                  <a:lnTo>
                    <a:pt x="299" y="36"/>
                  </a:lnTo>
                  <a:lnTo>
                    <a:pt x="300" y="36"/>
                  </a:lnTo>
                  <a:lnTo>
                    <a:pt x="302" y="36"/>
                  </a:lnTo>
                  <a:lnTo>
                    <a:pt x="306" y="37"/>
                  </a:lnTo>
                  <a:lnTo>
                    <a:pt x="307" y="37"/>
                  </a:lnTo>
                  <a:lnTo>
                    <a:pt x="309" y="37"/>
                  </a:lnTo>
                  <a:lnTo>
                    <a:pt x="310" y="37"/>
                  </a:lnTo>
                  <a:lnTo>
                    <a:pt x="311" y="37"/>
                  </a:lnTo>
                  <a:lnTo>
                    <a:pt x="313" y="36"/>
                  </a:lnTo>
                  <a:lnTo>
                    <a:pt x="314" y="36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9" y="35"/>
                  </a:lnTo>
                  <a:lnTo>
                    <a:pt x="319" y="36"/>
                  </a:lnTo>
                  <a:lnTo>
                    <a:pt x="319" y="36"/>
                  </a:lnTo>
                  <a:lnTo>
                    <a:pt x="319" y="37"/>
                  </a:lnTo>
                  <a:lnTo>
                    <a:pt x="318" y="40"/>
                  </a:lnTo>
                  <a:lnTo>
                    <a:pt x="318" y="40"/>
                  </a:lnTo>
                  <a:lnTo>
                    <a:pt x="318" y="41"/>
                  </a:lnTo>
                  <a:lnTo>
                    <a:pt x="318" y="41"/>
                  </a:lnTo>
                  <a:lnTo>
                    <a:pt x="318" y="41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20" y="42"/>
                  </a:lnTo>
                  <a:lnTo>
                    <a:pt x="320" y="43"/>
                  </a:lnTo>
                  <a:lnTo>
                    <a:pt x="321" y="43"/>
                  </a:lnTo>
                  <a:lnTo>
                    <a:pt x="321" y="43"/>
                  </a:lnTo>
                  <a:lnTo>
                    <a:pt x="323" y="43"/>
                  </a:lnTo>
                  <a:lnTo>
                    <a:pt x="325" y="44"/>
                  </a:lnTo>
                  <a:lnTo>
                    <a:pt x="326" y="44"/>
                  </a:lnTo>
                  <a:lnTo>
                    <a:pt x="328" y="44"/>
                  </a:lnTo>
                  <a:lnTo>
                    <a:pt x="329" y="45"/>
                  </a:lnTo>
                  <a:lnTo>
                    <a:pt x="331" y="45"/>
                  </a:lnTo>
                  <a:lnTo>
                    <a:pt x="332" y="46"/>
                  </a:lnTo>
                  <a:lnTo>
                    <a:pt x="333" y="46"/>
                  </a:lnTo>
                  <a:lnTo>
                    <a:pt x="335" y="48"/>
                  </a:lnTo>
                  <a:lnTo>
                    <a:pt x="335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8" y="48"/>
                  </a:lnTo>
                  <a:lnTo>
                    <a:pt x="338" y="47"/>
                  </a:lnTo>
                  <a:lnTo>
                    <a:pt x="339" y="47"/>
                  </a:lnTo>
                  <a:lnTo>
                    <a:pt x="340" y="45"/>
                  </a:lnTo>
                  <a:lnTo>
                    <a:pt x="341" y="44"/>
                  </a:lnTo>
                  <a:lnTo>
                    <a:pt x="342" y="43"/>
                  </a:lnTo>
                  <a:lnTo>
                    <a:pt x="343" y="41"/>
                  </a:lnTo>
                  <a:lnTo>
                    <a:pt x="344" y="40"/>
                  </a:lnTo>
                  <a:lnTo>
                    <a:pt x="347" y="38"/>
                  </a:lnTo>
                  <a:lnTo>
                    <a:pt x="349" y="36"/>
                  </a:lnTo>
                  <a:lnTo>
                    <a:pt x="351" y="35"/>
                  </a:lnTo>
                  <a:lnTo>
                    <a:pt x="352" y="34"/>
                  </a:lnTo>
                  <a:lnTo>
                    <a:pt x="353" y="34"/>
                  </a:lnTo>
                  <a:lnTo>
                    <a:pt x="354" y="34"/>
                  </a:lnTo>
                  <a:lnTo>
                    <a:pt x="357" y="33"/>
                  </a:lnTo>
                  <a:lnTo>
                    <a:pt x="358" y="32"/>
                  </a:lnTo>
                  <a:lnTo>
                    <a:pt x="359" y="32"/>
                  </a:lnTo>
                  <a:lnTo>
                    <a:pt x="361" y="31"/>
                  </a:lnTo>
                  <a:lnTo>
                    <a:pt x="361" y="31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3" y="29"/>
                  </a:lnTo>
                  <a:lnTo>
                    <a:pt x="363" y="28"/>
                  </a:lnTo>
                  <a:lnTo>
                    <a:pt x="363" y="28"/>
                  </a:lnTo>
                  <a:lnTo>
                    <a:pt x="363" y="27"/>
                  </a:lnTo>
                  <a:lnTo>
                    <a:pt x="362" y="25"/>
                  </a:lnTo>
                  <a:lnTo>
                    <a:pt x="362" y="23"/>
                  </a:lnTo>
                  <a:lnTo>
                    <a:pt x="361" y="21"/>
                  </a:lnTo>
                  <a:lnTo>
                    <a:pt x="361" y="20"/>
                  </a:lnTo>
                  <a:lnTo>
                    <a:pt x="361" y="20"/>
                  </a:lnTo>
                  <a:lnTo>
                    <a:pt x="361" y="18"/>
                  </a:lnTo>
                  <a:lnTo>
                    <a:pt x="361" y="17"/>
                  </a:lnTo>
                  <a:lnTo>
                    <a:pt x="362" y="15"/>
                  </a:lnTo>
                  <a:lnTo>
                    <a:pt x="362" y="14"/>
                  </a:lnTo>
                  <a:lnTo>
                    <a:pt x="362" y="13"/>
                  </a:lnTo>
                  <a:lnTo>
                    <a:pt x="362" y="11"/>
                  </a:lnTo>
                  <a:lnTo>
                    <a:pt x="362" y="11"/>
                  </a:lnTo>
                  <a:lnTo>
                    <a:pt x="362" y="10"/>
                  </a:lnTo>
                  <a:lnTo>
                    <a:pt x="363" y="10"/>
                  </a:lnTo>
                  <a:lnTo>
                    <a:pt x="363" y="9"/>
                  </a:lnTo>
                  <a:lnTo>
                    <a:pt x="364" y="9"/>
                  </a:lnTo>
                  <a:lnTo>
                    <a:pt x="365" y="8"/>
                  </a:lnTo>
                  <a:lnTo>
                    <a:pt x="365" y="7"/>
                  </a:lnTo>
                  <a:lnTo>
                    <a:pt x="366" y="7"/>
                  </a:lnTo>
                  <a:lnTo>
                    <a:pt x="366" y="5"/>
                  </a:lnTo>
                  <a:lnTo>
                    <a:pt x="367" y="5"/>
                  </a:lnTo>
                  <a:lnTo>
                    <a:pt x="367" y="4"/>
                  </a:lnTo>
                  <a:lnTo>
                    <a:pt x="368" y="3"/>
                  </a:lnTo>
                  <a:lnTo>
                    <a:pt x="370" y="2"/>
                  </a:lnTo>
                  <a:lnTo>
                    <a:pt x="372" y="1"/>
                  </a:lnTo>
                  <a:lnTo>
                    <a:pt x="372" y="1"/>
                  </a:lnTo>
                  <a:lnTo>
                    <a:pt x="373" y="0"/>
                  </a:lnTo>
                  <a:lnTo>
                    <a:pt x="373" y="0"/>
                  </a:lnTo>
                  <a:lnTo>
                    <a:pt x="373" y="0"/>
                  </a:lnTo>
                  <a:lnTo>
                    <a:pt x="374" y="0"/>
                  </a:lnTo>
                  <a:lnTo>
                    <a:pt x="375" y="1"/>
                  </a:lnTo>
                  <a:lnTo>
                    <a:pt x="376" y="1"/>
                  </a:lnTo>
                  <a:lnTo>
                    <a:pt x="378" y="3"/>
                  </a:lnTo>
                  <a:lnTo>
                    <a:pt x="379" y="3"/>
                  </a:lnTo>
                  <a:lnTo>
                    <a:pt x="380" y="4"/>
                  </a:lnTo>
                  <a:lnTo>
                    <a:pt x="384" y="6"/>
                  </a:lnTo>
                  <a:lnTo>
                    <a:pt x="385" y="7"/>
                  </a:lnTo>
                  <a:lnTo>
                    <a:pt x="386" y="7"/>
                  </a:lnTo>
                  <a:lnTo>
                    <a:pt x="387" y="8"/>
                  </a:lnTo>
                  <a:lnTo>
                    <a:pt x="388" y="9"/>
                  </a:lnTo>
                  <a:lnTo>
                    <a:pt x="391" y="11"/>
                  </a:lnTo>
                  <a:lnTo>
                    <a:pt x="393" y="13"/>
                  </a:lnTo>
                  <a:lnTo>
                    <a:pt x="394" y="13"/>
                  </a:lnTo>
                  <a:lnTo>
                    <a:pt x="395" y="14"/>
                  </a:lnTo>
                  <a:lnTo>
                    <a:pt x="396" y="15"/>
                  </a:lnTo>
                  <a:lnTo>
                    <a:pt x="396" y="15"/>
                  </a:lnTo>
                  <a:lnTo>
                    <a:pt x="397" y="15"/>
                  </a:lnTo>
                  <a:lnTo>
                    <a:pt x="397" y="15"/>
                  </a:lnTo>
                  <a:lnTo>
                    <a:pt x="398" y="15"/>
                  </a:lnTo>
                  <a:lnTo>
                    <a:pt x="398" y="15"/>
                  </a:lnTo>
                  <a:lnTo>
                    <a:pt x="399" y="15"/>
                  </a:lnTo>
                  <a:lnTo>
                    <a:pt x="400" y="14"/>
                  </a:lnTo>
                  <a:lnTo>
                    <a:pt x="401" y="14"/>
                  </a:lnTo>
                  <a:lnTo>
                    <a:pt x="402" y="13"/>
                  </a:lnTo>
                  <a:lnTo>
                    <a:pt x="403" y="13"/>
                  </a:lnTo>
                  <a:lnTo>
                    <a:pt x="403" y="13"/>
                  </a:lnTo>
                  <a:lnTo>
                    <a:pt x="404" y="13"/>
                  </a:lnTo>
                  <a:lnTo>
                    <a:pt x="404" y="13"/>
                  </a:lnTo>
                  <a:lnTo>
                    <a:pt x="405" y="13"/>
                  </a:lnTo>
                  <a:lnTo>
                    <a:pt x="405" y="13"/>
                  </a:lnTo>
                  <a:lnTo>
                    <a:pt x="405" y="14"/>
                  </a:lnTo>
                  <a:lnTo>
                    <a:pt x="405" y="14"/>
                  </a:lnTo>
                  <a:lnTo>
                    <a:pt x="406" y="15"/>
                  </a:lnTo>
                  <a:lnTo>
                    <a:pt x="406" y="17"/>
                  </a:lnTo>
                  <a:lnTo>
                    <a:pt x="407" y="18"/>
                  </a:lnTo>
                  <a:lnTo>
                    <a:pt x="408" y="20"/>
                  </a:lnTo>
                  <a:lnTo>
                    <a:pt x="409" y="23"/>
                  </a:lnTo>
                  <a:lnTo>
                    <a:pt x="410" y="25"/>
                  </a:lnTo>
                  <a:lnTo>
                    <a:pt x="411" y="27"/>
                  </a:lnTo>
                  <a:lnTo>
                    <a:pt x="412" y="28"/>
                  </a:lnTo>
                  <a:lnTo>
                    <a:pt x="413" y="28"/>
                  </a:lnTo>
                  <a:lnTo>
                    <a:pt x="413" y="29"/>
                  </a:lnTo>
                  <a:lnTo>
                    <a:pt x="414" y="30"/>
                  </a:lnTo>
                  <a:lnTo>
                    <a:pt x="415" y="30"/>
                  </a:lnTo>
                  <a:lnTo>
                    <a:pt x="415" y="30"/>
                  </a:lnTo>
                  <a:lnTo>
                    <a:pt x="417" y="31"/>
                  </a:lnTo>
                  <a:lnTo>
                    <a:pt x="417" y="31"/>
                  </a:lnTo>
                  <a:lnTo>
                    <a:pt x="418" y="31"/>
                  </a:lnTo>
                  <a:lnTo>
                    <a:pt x="419" y="31"/>
                  </a:lnTo>
                  <a:lnTo>
                    <a:pt x="419" y="31"/>
                  </a:lnTo>
                  <a:lnTo>
                    <a:pt x="420" y="31"/>
                  </a:lnTo>
                  <a:lnTo>
                    <a:pt x="421" y="31"/>
                  </a:lnTo>
                  <a:lnTo>
                    <a:pt x="421" y="31"/>
                  </a:lnTo>
                  <a:lnTo>
                    <a:pt x="422" y="31"/>
                  </a:lnTo>
                  <a:lnTo>
                    <a:pt x="423" y="30"/>
                  </a:lnTo>
                  <a:lnTo>
                    <a:pt x="423" y="30"/>
                  </a:lnTo>
                  <a:lnTo>
                    <a:pt x="423" y="30"/>
                  </a:lnTo>
                  <a:lnTo>
                    <a:pt x="423" y="31"/>
                  </a:lnTo>
                  <a:lnTo>
                    <a:pt x="424" y="35"/>
                  </a:lnTo>
                  <a:lnTo>
                    <a:pt x="424" y="36"/>
                  </a:lnTo>
                  <a:lnTo>
                    <a:pt x="424" y="37"/>
                  </a:lnTo>
                  <a:lnTo>
                    <a:pt x="424" y="38"/>
                  </a:lnTo>
                  <a:lnTo>
                    <a:pt x="424" y="39"/>
                  </a:lnTo>
                  <a:lnTo>
                    <a:pt x="424" y="39"/>
                  </a:lnTo>
                  <a:lnTo>
                    <a:pt x="424" y="40"/>
                  </a:lnTo>
                  <a:lnTo>
                    <a:pt x="423" y="40"/>
                  </a:lnTo>
                  <a:lnTo>
                    <a:pt x="423" y="41"/>
                  </a:lnTo>
                  <a:lnTo>
                    <a:pt x="422" y="41"/>
                  </a:lnTo>
                  <a:lnTo>
                    <a:pt x="422" y="42"/>
                  </a:lnTo>
                  <a:lnTo>
                    <a:pt x="421" y="42"/>
                  </a:lnTo>
                  <a:lnTo>
                    <a:pt x="420" y="43"/>
                  </a:lnTo>
                  <a:lnTo>
                    <a:pt x="419" y="43"/>
                  </a:lnTo>
                  <a:lnTo>
                    <a:pt x="418" y="43"/>
                  </a:lnTo>
                  <a:lnTo>
                    <a:pt x="418" y="44"/>
                  </a:lnTo>
                  <a:lnTo>
                    <a:pt x="417" y="44"/>
                  </a:lnTo>
                  <a:lnTo>
                    <a:pt x="417" y="44"/>
                  </a:lnTo>
                  <a:lnTo>
                    <a:pt x="417" y="45"/>
                  </a:lnTo>
                  <a:lnTo>
                    <a:pt x="417" y="45"/>
                  </a:lnTo>
                  <a:lnTo>
                    <a:pt x="417" y="46"/>
                  </a:lnTo>
                  <a:lnTo>
                    <a:pt x="417" y="46"/>
                  </a:lnTo>
                  <a:lnTo>
                    <a:pt x="417" y="47"/>
                  </a:lnTo>
                  <a:lnTo>
                    <a:pt x="417" y="47"/>
                  </a:lnTo>
                  <a:lnTo>
                    <a:pt x="417" y="48"/>
                  </a:lnTo>
                  <a:lnTo>
                    <a:pt x="419" y="51"/>
                  </a:lnTo>
                  <a:lnTo>
                    <a:pt x="420" y="52"/>
                  </a:lnTo>
                  <a:lnTo>
                    <a:pt x="420" y="53"/>
                  </a:lnTo>
                  <a:lnTo>
                    <a:pt x="420" y="54"/>
                  </a:lnTo>
                  <a:lnTo>
                    <a:pt x="421" y="55"/>
                  </a:lnTo>
                  <a:lnTo>
                    <a:pt x="421" y="56"/>
                  </a:lnTo>
                  <a:lnTo>
                    <a:pt x="421" y="57"/>
                  </a:lnTo>
                  <a:lnTo>
                    <a:pt x="421" y="59"/>
                  </a:lnTo>
                  <a:lnTo>
                    <a:pt x="421" y="60"/>
                  </a:lnTo>
                  <a:lnTo>
                    <a:pt x="421" y="61"/>
                  </a:lnTo>
                  <a:lnTo>
                    <a:pt x="421" y="64"/>
                  </a:lnTo>
                  <a:lnTo>
                    <a:pt x="421" y="65"/>
                  </a:lnTo>
                  <a:lnTo>
                    <a:pt x="421" y="66"/>
                  </a:lnTo>
                  <a:lnTo>
                    <a:pt x="421" y="68"/>
                  </a:lnTo>
                  <a:lnTo>
                    <a:pt x="421" y="69"/>
                  </a:lnTo>
                  <a:lnTo>
                    <a:pt x="421" y="71"/>
                  </a:lnTo>
                  <a:lnTo>
                    <a:pt x="420" y="72"/>
                  </a:lnTo>
                  <a:lnTo>
                    <a:pt x="420" y="73"/>
                  </a:lnTo>
                  <a:lnTo>
                    <a:pt x="420" y="75"/>
                  </a:lnTo>
                  <a:lnTo>
                    <a:pt x="419" y="77"/>
                  </a:lnTo>
                  <a:lnTo>
                    <a:pt x="418" y="80"/>
                  </a:lnTo>
                  <a:lnTo>
                    <a:pt x="417" y="83"/>
                  </a:lnTo>
                  <a:lnTo>
                    <a:pt x="416" y="85"/>
                  </a:lnTo>
                  <a:lnTo>
                    <a:pt x="415" y="86"/>
                  </a:lnTo>
                  <a:lnTo>
                    <a:pt x="415" y="87"/>
                  </a:lnTo>
                  <a:lnTo>
                    <a:pt x="415" y="88"/>
                  </a:lnTo>
                  <a:lnTo>
                    <a:pt x="415" y="88"/>
                  </a:lnTo>
                  <a:lnTo>
                    <a:pt x="416" y="89"/>
                  </a:lnTo>
                  <a:lnTo>
                    <a:pt x="416" y="89"/>
                  </a:lnTo>
                  <a:lnTo>
                    <a:pt x="416" y="90"/>
                  </a:lnTo>
                  <a:lnTo>
                    <a:pt x="416" y="90"/>
                  </a:lnTo>
                  <a:lnTo>
                    <a:pt x="415" y="94"/>
                  </a:lnTo>
                  <a:lnTo>
                    <a:pt x="414" y="97"/>
                  </a:lnTo>
                  <a:lnTo>
                    <a:pt x="414" y="98"/>
                  </a:lnTo>
                  <a:lnTo>
                    <a:pt x="413" y="100"/>
                  </a:lnTo>
                  <a:lnTo>
                    <a:pt x="412" y="102"/>
                  </a:lnTo>
                  <a:lnTo>
                    <a:pt x="412" y="103"/>
                  </a:lnTo>
                  <a:lnTo>
                    <a:pt x="412" y="105"/>
                  </a:lnTo>
                  <a:lnTo>
                    <a:pt x="412" y="106"/>
                  </a:lnTo>
                  <a:lnTo>
                    <a:pt x="412" y="106"/>
                  </a:lnTo>
                  <a:lnTo>
                    <a:pt x="412" y="107"/>
                  </a:lnTo>
                  <a:lnTo>
                    <a:pt x="412" y="108"/>
                  </a:lnTo>
                  <a:lnTo>
                    <a:pt x="412" y="109"/>
                  </a:lnTo>
                  <a:lnTo>
                    <a:pt x="412" y="110"/>
                  </a:lnTo>
                  <a:lnTo>
                    <a:pt x="413" y="111"/>
                  </a:lnTo>
                  <a:lnTo>
                    <a:pt x="414" y="112"/>
                  </a:lnTo>
                  <a:lnTo>
                    <a:pt x="415" y="113"/>
                  </a:lnTo>
                  <a:lnTo>
                    <a:pt x="416" y="113"/>
                  </a:lnTo>
                  <a:lnTo>
                    <a:pt x="418" y="115"/>
                  </a:lnTo>
                  <a:lnTo>
                    <a:pt x="419" y="116"/>
                  </a:lnTo>
                  <a:lnTo>
                    <a:pt x="419" y="117"/>
                  </a:lnTo>
                  <a:lnTo>
                    <a:pt x="420" y="117"/>
                  </a:lnTo>
                  <a:lnTo>
                    <a:pt x="420" y="118"/>
                  </a:lnTo>
                  <a:lnTo>
                    <a:pt x="421" y="119"/>
                  </a:lnTo>
                  <a:lnTo>
                    <a:pt x="421" y="120"/>
                  </a:lnTo>
                  <a:lnTo>
                    <a:pt x="421" y="120"/>
                  </a:lnTo>
                  <a:lnTo>
                    <a:pt x="421" y="121"/>
                  </a:lnTo>
                  <a:lnTo>
                    <a:pt x="421" y="121"/>
                  </a:lnTo>
                  <a:lnTo>
                    <a:pt x="421" y="122"/>
                  </a:lnTo>
                  <a:lnTo>
                    <a:pt x="421" y="122"/>
                  </a:lnTo>
                  <a:lnTo>
                    <a:pt x="420" y="124"/>
                  </a:lnTo>
                  <a:lnTo>
                    <a:pt x="419" y="125"/>
                  </a:lnTo>
                  <a:lnTo>
                    <a:pt x="418" y="126"/>
                  </a:lnTo>
                  <a:lnTo>
                    <a:pt x="417" y="127"/>
                  </a:lnTo>
                  <a:lnTo>
                    <a:pt x="417" y="128"/>
                  </a:lnTo>
                  <a:lnTo>
                    <a:pt x="417" y="129"/>
                  </a:lnTo>
                  <a:lnTo>
                    <a:pt x="417" y="129"/>
                  </a:lnTo>
                  <a:lnTo>
                    <a:pt x="417" y="130"/>
                  </a:lnTo>
                  <a:lnTo>
                    <a:pt x="417" y="131"/>
                  </a:lnTo>
                  <a:lnTo>
                    <a:pt x="417" y="131"/>
                  </a:lnTo>
                  <a:lnTo>
                    <a:pt x="417" y="132"/>
                  </a:lnTo>
                  <a:lnTo>
                    <a:pt x="417" y="133"/>
                  </a:lnTo>
                  <a:lnTo>
                    <a:pt x="418" y="134"/>
                  </a:lnTo>
                  <a:lnTo>
                    <a:pt x="420" y="137"/>
                  </a:lnTo>
                  <a:lnTo>
                    <a:pt x="422" y="140"/>
                  </a:lnTo>
                  <a:lnTo>
                    <a:pt x="423" y="140"/>
                  </a:lnTo>
                  <a:lnTo>
                    <a:pt x="423" y="141"/>
                  </a:lnTo>
                  <a:lnTo>
                    <a:pt x="427" y="144"/>
                  </a:lnTo>
                  <a:lnTo>
                    <a:pt x="427" y="145"/>
                  </a:lnTo>
                  <a:lnTo>
                    <a:pt x="429" y="147"/>
                  </a:lnTo>
                  <a:lnTo>
                    <a:pt x="430" y="149"/>
                  </a:lnTo>
                  <a:lnTo>
                    <a:pt x="433" y="151"/>
                  </a:lnTo>
                  <a:lnTo>
                    <a:pt x="435" y="153"/>
                  </a:lnTo>
                  <a:lnTo>
                    <a:pt x="436" y="154"/>
                  </a:lnTo>
                  <a:lnTo>
                    <a:pt x="437" y="154"/>
                  </a:lnTo>
                  <a:lnTo>
                    <a:pt x="437" y="154"/>
                  </a:lnTo>
                  <a:lnTo>
                    <a:pt x="438" y="154"/>
                  </a:lnTo>
                  <a:lnTo>
                    <a:pt x="439" y="155"/>
                  </a:lnTo>
                  <a:lnTo>
                    <a:pt x="440" y="155"/>
                  </a:lnTo>
                  <a:lnTo>
                    <a:pt x="441" y="154"/>
                  </a:lnTo>
                  <a:lnTo>
                    <a:pt x="442" y="154"/>
                  </a:lnTo>
                  <a:lnTo>
                    <a:pt x="443" y="154"/>
                  </a:lnTo>
                  <a:lnTo>
                    <a:pt x="447" y="152"/>
                  </a:lnTo>
                  <a:lnTo>
                    <a:pt x="448" y="151"/>
                  </a:lnTo>
                  <a:lnTo>
                    <a:pt x="449" y="151"/>
                  </a:lnTo>
                  <a:lnTo>
                    <a:pt x="450" y="150"/>
                  </a:lnTo>
                  <a:lnTo>
                    <a:pt x="451" y="150"/>
                  </a:lnTo>
                  <a:lnTo>
                    <a:pt x="452" y="150"/>
                  </a:lnTo>
                  <a:lnTo>
                    <a:pt x="453" y="150"/>
                  </a:lnTo>
                  <a:lnTo>
                    <a:pt x="453" y="150"/>
                  </a:lnTo>
                  <a:lnTo>
                    <a:pt x="454" y="151"/>
                  </a:lnTo>
                  <a:lnTo>
                    <a:pt x="455" y="151"/>
                  </a:lnTo>
                  <a:lnTo>
                    <a:pt x="456" y="151"/>
                  </a:lnTo>
                  <a:lnTo>
                    <a:pt x="456" y="152"/>
                  </a:lnTo>
                  <a:lnTo>
                    <a:pt x="458" y="154"/>
                  </a:lnTo>
                  <a:lnTo>
                    <a:pt x="460" y="155"/>
                  </a:lnTo>
                  <a:lnTo>
                    <a:pt x="461" y="156"/>
                  </a:lnTo>
                  <a:lnTo>
                    <a:pt x="463" y="156"/>
                  </a:lnTo>
                  <a:lnTo>
                    <a:pt x="463" y="157"/>
                  </a:lnTo>
                  <a:lnTo>
                    <a:pt x="464" y="157"/>
                  </a:lnTo>
                  <a:lnTo>
                    <a:pt x="468" y="159"/>
                  </a:lnTo>
                  <a:lnTo>
                    <a:pt x="469" y="159"/>
                  </a:lnTo>
                  <a:lnTo>
                    <a:pt x="471" y="160"/>
                  </a:lnTo>
                  <a:lnTo>
                    <a:pt x="472" y="160"/>
                  </a:lnTo>
                  <a:lnTo>
                    <a:pt x="472" y="160"/>
                  </a:lnTo>
                  <a:lnTo>
                    <a:pt x="473" y="161"/>
                  </a:lnTo>
                  <a:lnTo>
                    <a:pt x="473" y="161"/>
                  </a:lnTo>
                  <a:lnTo>
                    <a:pt x="473" y="162"/>
                  </a:lnTo>
                  <a:lnTo>
                    <a:pt x="473" y="162"/>
                  </a:lnTo>
                  <a:lnTo>
                    <a:pt x="473" y="163"/>
                  </a:lnTo>
                  <a:lnTo>
                    <a:pt x="473" y="163"/>
                  </a:lnTo>
                  <a:lnTo>
                    <a:pt x="473" y="164"/>
                  </a:lnTo>
                  <a:lnTo>
                    <a:pt x="473" y="165"/>
                  </a:lnTo>
                  <a:lnTo>
                    <a:pt x="473" y="166"/>
                  </a:lnTo>
                  <a:lnTo>
                    <a:pt x="473" y="166"/>
                  </a:lnTo>
                  <a:lnTo>
                    <a:pt x="473" y="167"/>
                  </a:lnTo>
                  <a:lnTo>
                    <a:pt x="472" y="167"/>
                  </a:lnTo>
                  <a:lnTo>
                    <a:pt x="472" y="167"/>
                  </a:lnTo>
                  <a:lnTo>
                    <a:pt x="471" y="168"/>
                  </a:lnTo>
                  <a:lnTo>
                    <a:pt x="470" y="168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70"/>
                  </a:lnTo>
                  <a:lnTo>
                    <a:pt x="471" y="170"/>
                  </a:lnTo>
                  <a:lnTo>
                    <a:pt x="472" y="170"/>
                  </a:lnTo>
                  <a:lnTo>
                    <a:pt x="473" y="171"/>
                  </a:lnTo>
                  <a:lnTo>
                    <a:pt x="473" y="171"/>
                  </a:lnTo>
                  <a:lnTo>
                    <a:pt x="474" y="171"/>
                  </a:lnTo>
                  <a:lnTo>
                    <a:pt x="477" y="171"/>
                  </a:lnTo>
                  <a:lnTo>
                    <a:pt x="478" y="171"/>
                  </a:lnTo>
                  <a:lnTo>
                    <a:pt x="478" y="172"/>
                  </a:lnTo>
                  <a:lnTo>
                    <a:pt x="479" y="172"/>
                  </a:lnTo>
                  <a:lnTo>
                    <a:pt x="480" y="172"/>
                  </a:lnTo>
                  <a:lnTo>
                    <a:pt x="480" y="172"/>
                  </a:lnTo>
                  <a:lnTo>
                    <a:pt x="481" y="173"/>
                  </a:lnTo>
                  <a:lnTo>
                    <a:pt x="482" y="173"/>
                  </a:lnTo>
                  <a:lnTo>
                    <a:pt x="483" y="175"/>
                  </a:lnTo>
                  <a:lnTo>
                    <a:pt x="484" y="176"/>
                  </a:lnTo>
                  <a:lnTo>
                    <a:pt x="486" y="178"/>
                  </a:lnTo>
                  <a:lnTo>
                    <a:pt x="487" y="179"/>
                  </a:lnTo>
                  <a:lnTo>
                    <a:pt x="487" y="180"/>
                  </a:lnTo>
                  <a:lnTo>
                    <a:pt x="487" y="180"/>
                  </a:lnTo>
                  <a:lnTo>
                    <a:pt x="488" y="180"/>
                  </a:lnTo>
                  <a:lnTo>
                    <a:pt x="489" y="181"/>
                  </a:lnTo>
                  <a:lnTo>
                    <a:pt x="490" y="181"/>
                  </a:lnTo>
                  <a:lnTo>
                    <a:pt x="491" y="181"/>
                  </a:lnTo>
                  <a:lnTo>
                    <a:pt x="492" y="182"/>
                  </a:lnTo>
                  <a:lnTo>
                    <a:pt x="493" y="182"/>
                  </a:lnTo>
                  <a:lnTo>
                    <a:pt x="494" y="181"/>
                  </a:lnTo>
                  <a:lnTo>
                    <a:pt x="495" y="181"/>
                  </a:lnTo>
                  <a:lnTo>
                    <a:pt x="496" y="181"/>
                  </a:lnTo>
                  <a:lnTo>
                    <a:pt x="497" y="180"/>
                  </a:lnTo>
                  <a:lnTo>
                    <a:pt x="500" y="179"/>
                  </a:lnTo>
                  <a:lnTo>
                    <a:pt x="501" y="179"/>
                  </a:lnTo>
                  <a:lnTo>
                    <a:pt x="502" y="178"/>
                  </a:lnTo>
                  <a:lnTo>
                    <a:pt x="502" y="178"/>
                  </a:lnTo>
                  <a:lnTo>
                    <a:pt x="503" y="178"/>
                  </a:lnTo>
                  <a:lnTo>
                    <a:pt x="503" y="178"/>
                  </a:lnTo>
                  <a:lnTo>
                    <a:pt x="504" y="178"/>
                  </a:lnTo>
                  <a:lnTo>
                    <a:pt x="505" y="178"/>
                  </a:lnTo>
                  <a:lnTo>
                    <a:pt x="510" y="180"/>
                  </a:lnTo>
                  <a:lnTo>
                    <a:pt x="513" y="181"/>
                  </a:lnTo>
                  <a:lnTo>
                    <a:pt x="516" y="182"/>
                  </a:lnTo>
                  <a:lnTo>
                    <a:pt x="517" y="182"/>
                  </a:lnTo>
                  <a:lnTo>
                    <a:pt x="518" y="183"/>
                  </a:lnTo>
                  <a:lnTo>
                    <a:pt x="519" y="184"/>
                  </a:lnTo>
                  <a:lnTo>
                    <a:pt x="519" y="184"/>
                  </a:lnTo>
                  <a:lnTo>
                    <a:pt x="521" y="185"/>
                  </a:lnTo>
                  <a:lnTo>
                    <a:pt x="521" y="186"/>
                  </a:lnTo>
                  <a:lnTo>
                    <a:pt x="521" y="186"/>
                  </a:lnTo>
                  <a:lnTo>
                    <a:pt x="522" y="186"/>
                  </a:lnTo>
                  <a:lnTo>
                    <a:pt x="523" y="186"/>
                  </a:lnTo>
                  <a:lnTo>
                    <a:pt x="523" y="186"/>
                  </a:lnTo>
                  <a:lnTo>
                    <a:pt x="527" y="186"/>
                  </a:lnTo>
                  <a:lnTo>
                    <a:pt x="528" y="185"/>
                  </a:lnTo>
                  <a:lnTo>
                    <a:pt x="531" y="185"/>
                  </a:lnTo>
                  <a:lnTo>
                    <a:pt x="532" y="185"/>
                  </a:lnTo>
                  <a:lnTo>
                    <a:pt x="533" y="185"/>
                  </a:lnTo>
                  <a:lnTo>
                    <a:pt x="536" y="184"/>
                  </a:lnTo>
                  <a:lnTo>
                    <a:pt x="539" y="184"/>
                  </a:lnTo>
                  <a:lnTo>
                    <a:pt x="540" y="184"/>
                  </a:lnTo>
                  <a:lnTo>
                    <a:pt x="541" y="184"/>
                  </a:lnTo>
                  <a:lnTo>
                    <a:pt x="542" y="184"/>
                  </a:lnTo>
                  <a:lnTo>
                    <a:pt x="543" y="184"/>
                  </a:lnTo>
                  <a:lnTo>
                    <a:pt x="544" y="184"/>
                  </a:lnTo>
                  <a:lnTo>
                    <a:pt x="544" y="185"/>
                  </a:lnTo>
                  <a:lnTo>
                    <a:pt x="545" y="185"/>
                  </a:lnTo>
                  <a:lnTo>
                    <a:pt x="545" y="185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7" y="187"/>
                  </a:lnTo>
                  <a:lnTo>
                    <a:pt x="547" y="188"/>
                  </a:lnTo>
                  <a:lnTo>
                    <a:pt x="548" y="189"/>
                  </a:lnTo>
                  <a:lnTo>
                    <a:pt x="548" y="190"/>
                  </a:lnTo>
                  <a:lnTo>
                    <a:pt x="548" y="192"/>
                  </a:lnTo>
                  <a:lnTo>
                    <a:pt x="548" y="193"/>
                  </a:lnTo>
                  <a:lnTo>
                    <a:pt x="549" y="194"/>
                  </a:lnTo>
                  <a:lnTo>
                    <a:pt x="549" y="195"/>
                  </a:lnTo>
                  <a:lnTo>
                    <a:pt x="549" y="196"/>
                  </a:lnTo>
                  <a:lnTo>
                    <a:pt x="548" y="198"/>
                  </a:lnTo>
                  <a:lnTo>
                    <a:pt x="548" y="201"/>
                  </a:lnTo>
                  <a:lnTo>
                    <a:pt x="548" y="202"/>
                  </a:lnTo>
                  <a:lnTo>
                    <a:pt x="548" y="204"/>
                  </a:lnTo>
                  <a:lnTo>
                    <a:pt x="548" y="205"/>
                  </a:lnTo>
                  <a:lnTo>
                    <a:pt x="548" y="206"/>
                  </a:lnTo>
                  <a:lnTo>
                    <a:pt x="548" y="208"/>
                  </a:lnTo>
                  <a:lnTo>
                    <a:pt x="549" y="209"/>
                  </a:lnTo>
                  <a:lnTo>
                    <a:pt x="550" y="210"/>
                  </a:lnTo>
                  <a:lnTo>
                    <a:pt x="550" y="211"/>
                  </a:lnTo>
                  <a:lnTo>
                    <a:pt x="551" y="212"/>
                  </a:lnTo>
                  <a:lnTo>
                    <a:pt x="551" y="212"/>
                  </a:lnTo>
                  <a:lnTo>
                    <a:pt x="553" y="214"/>
                  </a:lnTo>
                  <a:lnTo>
                    <a:pt x="554" y="215"/>
                  </a:lnTo>
                  <a:lnTo>
                    <a:pt x="557" y="217"/>
                  </a:lnTo>
                  <a:lnTo>
                    <a:pt x="560" y="219"/>
                  </a:lnTo>
                  <a:lnTo>
                    <a:pt x="560" y="220"/>
                  </a:lnTo>
                  <a:lnTo>
                    <a:pt x="562" y="221"/>
                  </a:lnTo>
                  <a:lnTo>
                    <a:pt x="564" y="222"/>
                  </a:lnTo>
                  <a:lnTo>
                    <a:pt x="568" y="225"/>
                  </a:lnTo>
                  <a:lnTo>
                    <a:pt x="571" y="226"/>
                  </a:lnTo>
                  <a:lnTo>
                    <a:pt x="571" y="227"/>
                  </a:lnTo>
                  <a:lnTo>
                    <a:pt x="572" y="227"/>
                  </a:lnTo>
                  <a:lnTo>
                    <a:pt x="572" y="227"/>
                  </a:lnTo>
                  <a:lnTo>
                    <a:pt x="573" y="227"/>
                  </a:lnTo>
                  <a:lnTo>
                    <a:pt x="573" y="227"/>
                  </a:lnTo>
                  <a:lnTo>
                    <a:pt x="573" y="226"/>
                  </a:lnTo>
                  <a:lnTo>
                    <a:pt x="575" y="226"/>
                  </a:lnTo>
                  <a:lnTo>
                    <a:pt x="576" y="226"/>
                  </a:lnTo>
                  <a:lnTo>
                    <a:pt x="577" y="225"/>
                  </a:lnTo>
                  <a:lnTo>
                    <a:pt x="578" y="225"/>
                  </a:lnTo>
                  <a:lnTo>
                    <a:pt x="578" y="225"/>
                  </a:lnTo>
                  <a:lnTo>
                    <a:pt x="579" y="226"/>
                  </a:lnTo>
                  <a:lnTo>
                    <a:pt x="580" y="226"/>
                  </a:lnTo>
                  <a:lnTo>
                    <a:pt x="583" y="227"/>
                  </a:lnTo>
                  <a:lnTo>
                    <a:pt x="584" y="227"/>
                  </a:lnTo>
                  <a:lnTo>
                    <a:pt x="585" y="227"/>
                  </a:lnTo>
                  <a:lnTo>
                    <a:pt x="587" y="227"/>
                  </a:lnTo>
                  <a:lnTo>
                    <a:pt x="589" y="227"/>
                  </a:lnTo>
                  <a:lnTo>
                    <a:pt x="591" y="227"/>
                  </a:lnTo>
                  <a:lnTo>
                    <a:pt x="593" y="227"/>
                  </a:lnTo>
                  <a:lnTo>
                    <a:pt x="594" y="227"/>
                  </a:lnTo>
                  <a:lnTo>
                    <a:pt x="595" y="227"/>
                  </a:lnTo>
                  <a:lnTo>
                    <a:pt x="596" y="226"/>
                  </a:lnTo>
                  <a:lnTo>
                    <a:pt x="599" y="225"/>
                  </a:lnTo>
                  <a:lnTo>
                    <a:pt x="600" y="225"/>
                  </a:lnTo>
                  <a:lnTo>
                    <a:pt x="602" y="225"/>
                  </a:lnTo>
                  <a:lnTo>
                    <a:pt x="604" y="224"/>
                  </a:lnTo>
                  <a:lnTo>
                    <a:pt x="605" y="224"/>
                  </a:lnTo>
                  <a:lnTo>
                    <a:pt x="605" y="224"/>
                  </a:lnTo>
                  <a:lnTo>
                    <a:pt x="607" y="223"/>
                  </a:lnTo>
                  <a:lnTo>
                    <a:pt x="607" y="223"/>
                  </a:lnTo>
                  <a:lnTo>
                    <a:pt x="608" y="223"/>
                  </a:lnTo>
                  <a:lnTo>
                    <a:pt x="608" y="223"/>
                  </a:lnTo>
                  <a:lnTo>
                    <a:pt x="609" y="223"/>
                  </a:lnTo>
                  <a:lnTo>
                    <a:pt x="609" y="223"/>
                  </a:lnTo>
                  <a:lnTo>
                    <a:pt x="610" y="223"/>
                  </a:lnTo>
                  <a:lnTo>
                    <a:pt x="610" y="223"/>
                  </a:lnTo>
                  <a:lnTo>
                    <a:pt x="611" y="224"/>
                  </a:lnTo>
                  <a:lnTo>
                    <a:pt x="612" y="224"/>
                  </a:lnTo>
                  <a:lnTo>
                    <a:pt x="613" y="225"/>
                  </a:lnTo>
                  <a:lnTo>
                    <a:pt x="613" y="225"/>
                  </a:lnTo>
                  <a:lnTo>
                    <a:pt x="614" y="225"/>
                  </a:lnTo>
                  <a:lnTo>
                    <a:pt x="614" y="226"/>
                  </a:lnTo>
                  <a:lnTo>
                    <a:pt x="614" y="227"/>
                  </a:lnTo>
                  <a:lnTo>
                    <a:pt x="614" y="227"/>
                  </a:lnTo>
                  <a:lnTo>
                    <a:pt x="615" y="228"/>
                  </a:lnTo>
                  <a:lnTo>
                    <a:pt x="614" y="228"/>
                  </a:lnTo>
                  <a:lnTo>
                    <a:pt x="614" y="229"/>
                  </a:lnTo>
                  <a:lnTo>
                    <a:pt x="614" y="230"/>
                  </a:lnTo>
                  <a:lnTo>
                    <a:pt x="614" y="230"/>
                  </a:lnTo>
                  <a:lnTo>
                    <a:pt x="614" y="231"/>
                  </a:lnTo>
                  <a:lnTo>
                    <a:pt x="614" y="231"/>
                  </a:lnTo>
                  <a:lnTo>
                    <a:pt x="615" y="232"/>
                  </a:lnTo>
                  <a:lnTo>
                    <a:pt x="615" y="232"/>
                  </a:lnTo>
                  <a:lnTo>
                    <a:pt x="616" y="233"/>
                  </a:lnTo>
                  <a:lnTo>
                    <a:pt x="616" y="234"/>
                  </a:lnTo>
                  <a:lnTo>
                    <a:pt x="618" y="234"/>
                  </a:lnTo>
                  <a:lnTo>
                    <a:pt x="619" y="236"/>
                  </a:lnTo>
                  <a:lnTo>
                    <a:pt x="620" y="236"/>
                  </a:lnTo>
                  <a:lnTo>
                    <a:pt x="621" y="237"/>
                  </a:lnTo>
                  <a:lnTo>
                    <a:pt x="621" y="237"/>
                  </a:lnTo>
                  <a:lnTo>
                    <a:pt x="623" y="240"/>
                  </a:lnTo>
                  <a:lnTo>
                    <a:pt x="624" y="241"/>
                  </a:lnTo>
                  <a:lnTo>
                    <a:pt x="624" y="242"/>
                  </a:lnTo>
                  <a:lnTo>
                    <a:pt x="624" y="243"/>
                  </a:lnTo>
                  <a:lnTo>
                    <a:pt x="624" y="243"/>
                  </a:lnTo>
                  <a:lnTo>
                    <a:pt x="624" y="244"/>
                  </a:lnTo>
                  <a:lnTo>
                    <a:pt x="624" y="245"/>
                  </a:lnTo>
                  <a:lnTo>
                    <a:pt x="624" y="246"/>
                  </a:lnTo>
                  <a:lnTo>
                    <a:pt x="623" y="247"/>
                  </a:lnTo>
                  <a:lnTo>
                    <a:pt x="623" y="247"/>
                  </a:lnTo>
                  <a:lnTo>
                    <a:pt x="623" y="248"/>
                  </a:lnTo>
                  <a:lnTo>
                    <a:pt x="622" y="248"/>
                  </a:lnTo>
                  <a:lnTo>
                    <a:pt x="622" y="248"/>
                  </a:lnTo>
                  <a:lnTo>
                    <a:pt x="621" y="249"/>
                  </a:lnTo>
                  <a:lnTo>
                    <a:pt x="620" y="249"/>
                  </a:lnTo>
                  <a:lnTo>
                    <a:pt x="618" y="250"/>
                  </a:lnTo>
                  <a:lnTo>
                    <a:pt x="615" y="250"/>
                  </a:lnTo>
                  <a:lnTo>
                    <a:pt x="614" y="250"/>
                  </a:lnTo>
                  <a:lnTo>
                    <a:pt x="614" y="251"/>
                  </a:lnTo>
                  <a:lnTo>
                    <a:pt x="614" y="251"/>
                  </a:lnTo>
                  <a:lnTo>
                    <a:pt x="613" y="251"/>
                  </a:lnTo>
                  <a:lnTo>
                    <a:pt x="613" y="252"/>
                  </a:lnTo>
                  <a:lnTo>
                    <a:pt x="612" y="253"/>
                  </a:lnTo>
                  <a:lnTo>
                    <a:pt x="611" y="254"/>
                  </a:lnTo>
                  <a:lnTo>
                    <a:pt x="610" y="256"/>
                  </a:lnTo>
                  <a:lnTo>
                    <a:pt x="610" y="257"/>
                  </a:lnTo>
                  <a:lnTo>
                    <a:pt x="609" y="258"/>
                  </a:lnTo>
                  <a:lnTo>
                    <a:pt x="609" y="259"/>
                  </a:lnTo>
                  <a:lnTo>
                    <a:pt x="609" y="261"/>
                  </a:lnTo>
                  <a:lnTo>
                    <a:pt x="608" y="262"/>
                  </a:lnTo>
                  <a:lnTo>
                    <a:pt x="608" y="262"/>
                  </a:lnTo>
                  <a:lnTo>
                    <a:pt x="608" y="263"/>
                  </a:lnTo>
                  <a:lnTo>
                    <a:pt x="608" y="264"/>
                  </a:lnTo>
                  <a:lnTo>
                    <a:pt x="606" y="266"/>
                  </a:lnTo>
                  <a:lnTo>
                    <a:pt x="605" y="267"/>
                  </a:lnTo>
                  <a:lnTo>
                    <a:pt x="605" y="268"/>
                  </a:lnTo>
                  <a:lnTo>
                    <a:pt x="604" y="270"/>
                  </a:lnTo>
                  <a:lnTo>
                    <a:pt x="604" y="271"/>
                  </a:lnTo>
                  <a:lnTo>
                    <a:pt x="603" y="272"/>
                  </a:lnTo>
                  <a:lnTo>
                    <a:pt x="603" y="273"/>
                  </a:lnTo>
                  <a:lnTo>
                    <a:pt x="602" y="273"/>
                  </a:lnTo>
                  <a:lnTo>
                    <a:pt x="600" y="276"/>
                  </a:lnTo>
                  <a:lnTo>
                    <a:pt x="599" y="277"/>
                  </a:lnTo>
                  <a:lnTo>
                    <a:pt x="598" y="278"/>
                  </a:lnTo>
                  <a:lnTo>
                    <a:pt x="597" y="279"/>
                  </a:lnTo>
                  <a:lnTo>
                    <a:pt x="596" y="281"/>
                  </a:lnTo>
                  <a:lnTo>
                    <a:pt x="595" y="282"/>
                  </a:lnTo>
                  <a:lnTo>
                    <a:pt x="594" y="283"/>
                  </a:lnTo>
                  <a:lnTo>
                    <a:pt x="594" y="283"/>
                  </a:lnTo>
                  <a:lnTo>
                    <a:pt x="594" y="284"/>
                  </a:lnTo>
                  <a:lnTo>
                    <a:pt x="594" y="284"/>
                  </a:lnTo>
                  <a:lnTo>
                    <a:pt x="594" y="285"/>
                  </a:lnTo>
                  <a:lnTo>
                    <a:pt x="594" y="285"/>
                  </a:lnTo>
                  <a:lnTo>
                    <a:pt x="594" y="286"/>
                  </a:lnTo>
                  <a:lnTo>
                    <a:pt x="595" y="286"/>
                  </a:lnTo>
                  <a:lnTo>
                    <a:pt x="595" y="286"/>
                  </a:lnTo>
                  <a:lnTo>
                    <a:pt x="595" y="286"/>
                  </a:lnTo>
                  <a:lnTo>
                    <a:pt x="596" y="286"/>
                  </a:lnTo>
                  <a:lnTo>
                    <a:pt x="598" y="287"/>
                  </a:lnTo>
                  <a:lnTo>
                    <a:pt x="599" y="287"/>
                  </a:lnTo>
                  <a:lnTo>
                    <a:pt x="599" y="287"/>
                  </a:lnTo>
                  <a:lnTo>
                    <a:pt x="600" y="287"/>
                  </a:lnTo>
                  <a:lnTo>
                    <a:pt x="601" y="287"/>
                  </a:lnTo>
                  <a:lnTo>
                    <a:pt x="601" y="287"/>
                  </a:lnTo>
                  <a:lnTo>
                    <a:pt x="602" y="288"/>
                  </a:lnTo>
                  <a:lnTo>
                    <a:pt x="602" y="289"/>
                  </a:lnTo>
                  <a:lnTo>
                    <a:pt x="603" y="289"/>
                  </a:lnTo>
                  <a:lnTo>
                    <a:pt x="604" y="292"/>
                  </a:lnTo>
                  <a:lnTo>
                    <a:pt x="604" y="292"/>
                  </a:lnTo>
                  <a:lnTo>
                    <a:pt x="605" y="293"/>
                  </a:lnTo>
                  <a:lnTo>
                    <a:pt x="606" y="294"/>
                  </a:lnTo>
                  <a:lnTo>
                    <a:pt x="607" y="295"/>
                  </a:lnTo>
                  <a:lnTo>
                    <a:pt x="608" y="295"/>
                  </a:lnTo>
                  <a:lnTo>
                    <a:pt x="609" y="296"/>
                  </a:lnTo>
                  <a:lnTo>
                    <a:pt x="611" y="297"/>
                  </a:lnTo>
                  <a:lnTo>
                    <a:pt x="613" y="297"/>
                  </a:lnTo>
                  <a:lnTo>
                    <a:pt x="614" y="298"/>
                  </a:lnTo>
                  <a:lnTo>
                    <a:pt x="615" y="299"/>
                  </a:lnTo>
                  <a:lnTo>
                    <a:pt x="617" y="300"/>
                  </a:lnTo>
                  <a:lnTo>
                    <a:pt x="618" y="301"/>
                  </a:lnTo>
                  <a:lnTo>
                    <a:pt x="618" y="301"/>
                  </a:lnTo>
                  <a:lnTo>
                    <a:pt x="619" y="302"/>
                  </a:lnTo>
                  <a:lnTo>
                    <a:pt x="619" y="303"/>
                  </a:lnTo>
                  <a:lnTo>
                    <a:pt x="620" y="303"/>
                  </a:lnTo>
                  <a:lnTo>
                    <a:pt x="620" y="304"/>
                  </a:lnTo>
                  <a:lnTo>
                    <a:pt x="621" y="306"/>
                  </a:lnTo>
                  <a:lnTo>
                    <a:pt x="622" y="307"/>
                  </a:lnTo>
                  <a:lnTo>
                    <a:pt x="622" y="308"/>
                  </a:lnTo>
                  <a:lnTo>
                    <a:pt x="622" y="308"/>
                  </a:lnTo>
                  <a:lnTo>
                    <a:pt x="622" y="309"/>
                  </a:lnTo>
                  <a:lnTo>
                    <a:pt x="620" y="310"/>
                  </a:lnTo>
                  <a:lnTo>
                    <a:pt x="620" y="311"/>
                  </a:lnTo>
                  <a:lnTo>
                    <a:pt x="620" y="311"/>
                  </a:lnTo>
                  <a:lnTo>
                    <a:pt x="619" y="311"/>
                  </a:lnTo>
                  <a:lnTo>
                    <a:pt x="619" y="311"/>
                  </a:lnTo>
                  <a:lnTo>
                    <a:pt x="618" y="311"/>
                  </a:lnTo>
                  <a:lnTo>
                    <a:pt x="617" y="311"/>
                  </a:lnTo>
                  <a:lnTo>
                    <a:pt x="617" y="312"/>
                  </a:lnTo>
                  <a:lnTo>
                    <a:pt x="617" y="312"/>
                  </a:lnTo>
                  <a:lnTo>
                    <a:pt x="617" y="313"/>
                  </a:lnTo>
                  <a:lnTo>
                    <a:pt x="617" y="313"/>
                  </a:lnTo>
                  <a:lnTo>
                    <a:pt x="617" y="314"/>
                  </a:lnTo>
                  <a:lnTo>
                    <a:pt x="616" y="315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7"/>
                  </a:lnTo>
                  <a:lnTo>
                    <a:pt x="616" y="317"/>
                  </a:lnTo>
                  <a:lnTo>
                    <a:pt x="616" y="317"/>
                  </a:lnTo>
                  <a:lnTo>
                    <a:pt x="615" y="317"/>
                  </a:lnTo>
                  <a:lnTo>
                    <a:pt x="615" y="318"/>
                  </a:lnTo>
                  <a:lnTo>
                    <a:pt x="614" y="319"/>
                  </a:lnTo>
                  <a:lnTo>
                    <a:pt x="613" y="319"/>
                  </a:lnTo>
                  <a:lnTo>
                    <a:pt x="613" y="319"/>
                  </a:lnTo>
                  <a:lnTo>
                    <a:pt x="612" y="320"/>
                  </a:lnTo>
                  <a:lnTo>
                    <a:pt x="612" y="320"/>
                  </a:lnTo>
                  <a:lnTo>
                    <a:pt x="611" y="320"/>
                  </a:lnTo>
                  <a:lnTo>
                    <a:pt x="611" y="321"/>
                  </a:lnTo>
                  <a:lnTo>
                    <a:pt x="610" y="324"/>
                  </a:lnTo>
                  <a:lnTo>
                    <a:pt x="609" y="326"/>
                  </a:lnTo>
                  <a:lnTo>
                    <a:pt x="609" y="326"/>
                  </a:lnTo>
                  <a:lnTo>
                    <a:pt x="608" y="326"/>
                  </a:lnTo>
                  <a:lnTo>
                    <a:pt x="608" y="326"/>
                  </a:lnTo>
                  <a:lnTo>
                    <a:pt x="607" y="326"/>
                  </a:lnTo>
                  <a:lnTo>
                    <a:pt x="606" y="325"/>
                  </a:lnTo>
                  <a:lnTo>
                    <a:pt x="604" y="324"/>
                  </a:lnTo>
                  <a:lnTo>
                    <a:pt x="603" y="323"/>
                  </a:lnTo>
                  <a:lnTo>
                    <a:pt x="601" y="321"/>
                  </a:lnTo>
                  <a:lnTo>
                    <a:pt x="600" y="320"/>
                  </a:lnTo>
                  <a:lnTo>
                    <a:pt x="599" y="319"/>
                  </a:lnTo>
                  <a:lnTo>
                    <a:pt x="596" y="315"/>
                  </a:lnTo>
                  <a:lnTo>
                    <a:pt x="595" y="314"/>
                  </a:lnTo>
                  <a:lnTo>
                    <a:pt x="594" y="313"/>
                  </a:lnTo>
                  <a:lnTo>
                    <a:pt x="593" y="312"/>
                  </a:lnTo>
                  <a:lnTo>
                    <a:pt x="592" y="311"/>
                  </a:lnTo>
                  <a:lnTo>
                    <a:pt x="590" y="310"/>
                  </a:lnTo>
                  <a:lnTo>
                    <a:pt x="589" y="310"/>
                  </a:lnTo>
                  <a:lnTo>
                    <a:pt x="588" y="309"/>
                  </a:lnTo>
                  <a:lnTo>
                    <a:pt x="587" y="309"/>
                  </a:lnTo>
                  <a:lnTo>
                    <a:pt x="586" y="308"/>
                  </a:lnTo>
                  <a:lnTo>
                    <a:pt x="585" y="308"/>
                  </a:lnTo>
                  <a:lnTo>
                    <a:pt x="583" y="308"/>
                  </a:lnTo>
                  <a:lnTo>
                    <a:pt x="582" y="307"/>
                  </a:lnTo>
                  <a:lnTo>
                    <a:pt x="577" y="307"/>
                  </a:lnTo>
                  <a:lnTo>
                    <a:pt x="576" y="306"/>
                  </a:lnTo>
                  <a:lnTo>
                    <a:pt x="575" y="306"/>
                  </a:lnTo>
                  <a:lnTo>
                    <a:pt x="574" y="305"/>
                  </a:lnTo>
                  <a:lnTo>
                    <a:pt x="573" y="305"/>
                  </a:lnTo>
                  <a:lnTo>
                    <a:pt x="572" y="304"/>
                  </a:lnTo>
                  <a:lnTo>
                    <a:pt x="571" y="304"/>
                  </a:lnTo>
                  <a:lnTo>
                    <a:pt x="569" y="302"/>
                  </a:lnTo>
                  <a:lnTo>
                    <a:pt x="564" y="300"/>
                  </a:lnTo>
                  <a:lnTo>
                    <a:pt x="560" y="297"/>
                  </a:lnTo>
                  <a:lnTo>
                    <a:pt x="559" y="296"/>
                  </a:lnTo>
                  <a:lnTo>
                    <a:pt x="558" y="295"/>
                  </a:lnTo>
                  <a:lnTo>
                    <a:pt x="556" y="294"/>
                  </a:lnTo>
                  <a:lnTo>
                    <a:pt x="554" y="293"/>
                  </a:lnTo>
                  <a:lnTo>
                    <a:pt x="552" y="293"/>
                  </a:lnTo>
                  <a:lnTo>
                    <a:pt x="551" y="293"/>
                  </a:lnTo>
                  <a:lnTo>
                    <a:pt x="550" y="292"/>
                  </a:lnTo>
                  <a:lnTo>
                    <a:pt x="549" y="292"/>
                  </a:lnTo>
                  <a:lnTo>
                    <a:pt x="547" y="292"/>
                  </a:lnTo>
                  <a:lnTo>
                    <a:pt x="545" y="292"/>
                  </a:lnTo>
                  <a:lnTo>
                    <a:pt x="542" y="293"/>
                  </a:lnTo>
                  <a:lnTo>
                    <a:pt x="541" y="293"/>
                  </a:lnTo>
                  <a:lnTo>
                    <a:pt x="540" y="293"/>
                  </a:lnTo>
                  <a:lnTo>
                    <a:pt x="539" y="292"/>
                  </a:lnTo>
                  <a:lnTo>
                    <a:pt x="537" y="292"/>
                  </a:lnTo>
                  <a:lnTo>
                    <a:pt x="536" y="292"/>
                  </a:lnTo>
                  <a:lnTo>
                    <a:pt x="536" y="292"/>
                  </a:lnTo>
                  <a:lnTo>
                    <a:pt x="534" y="291"/>
                  </a:lnTo>
                  <a:lnTo>
                    <a:pt x="532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0" y="290"/>
                  </a:lnTo>
                  <a:lnTo>
                    <a:pt x="530" y="290"/>
                  </a:lnTo>
                  <a:lnTo>
                    <a:pt x="529" y="290"/>
                  </a:lnTo>
                  <a:lnTo>
                    <a:pt x="529" y="291"/>
                  </a:lnTo>
                  <a:lnTo>
                    <a:pt x="529" y="291"/>
                  </a:lnTo>
                  <a:lnTo>
                    <a:pt x="528" y="292"/>
                  </a:lnTo>
                  <a:lnTo>
                    <a:pt x="528" y="295"/>
                  </a:lnTo>
                  <a:lnTo>
                    <a:pt x="527" y="296"/>
                  </a:lnTo>
                  <a:lnTo>
                    <a:pt x="526" y="298"/>
                  </a:lnTo>
                  <a:lnTo>
                    <a:pt x="525" y="300"/>
                  </a:lnTo>
                  <a:lnTo>
                    <a:pt x="524" y="301"/>
                  </a:lnTo>
                  <a:lnTo>
                    <a:pt x="524" y="302"/>
                  </a:lnTo>
                  <a:lnTo>
                    <a:pt x="523" y="302"/>
                  </a:lnTo>
                  <a:lnTo>
                    <a:pt x="522" y="303"/>
                  </a:lnTo>
                  <a:lnTo>
                    <a:pt x="522" y="303"/>
                  </a:lnTo>
                  <a:lnTo>
                    <a:pt x="521" y="303"/>
                  </a:lnTo>
                  <a:lnTo>
                    <a:pt x="521" y="304"/>
                  </a:lnTo>
                  <a:lnTo>
                    <a:pt x="519" y="304"/>
                  </a:lnTo>
                  <a:lnTo>
                    <a:pt x="517" y="304"/>
                  </a:lnTo>
                  <a:lnTo>
                    <a:pt x="514" y="304"/>
                  </a:lnTo>
                  <a:lnTo>
                    <a:pt x="513" y="304"/>
                  </a:lnTo>
                  <a:lnTo>
                    <a:pt x="511" y="305"/>
                  </a:lnTo>
                  <a:lnTo>
                    <a:pt x="510" y="305"/>
                  </a:lnTo>
                  <a:lnTo>
                    <a:pt x="508" y="306"/>
                  </a:lnTo>
                  <a:lnTo>
                    <a:pt x="506" y="307"/>
                  </a:lnTo>
                  <a:lnTo>
                    <a:pt x="503" y="308"/>
                  </a:lnTo>
                  <a:lnTo>
                    <a:pt x="502" y="309"/>
                  </a:lnTo>
                  <a:lnTo>
                    <a:pt x="501" y="309"/>
                  </a:lnTo>
                  <a:lnTo>
                    <a:pt x="500" y="309"/>
                  </a:lnTo>
                  <a:lnTo>
                    <a:pt x="499" y="309"/>
                  </a:lnTo>
                  <a:lnTo>
                    <a:pt x="497" y="309"/>
                  </a:lnTo>
                  <a:lnTo>
                    <a:pt x="496" y="309"/>
                  </a:lnTo>
                  <a:lnTo>
                    <a:pt x="496" y="309"/>
                  </a:lnTo>
                  <a:lnTo>
                    <a:pt x="495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4" y="308"/>
                  </a:lnTo>
                  <a:lnTo>
                    <a:pt x="493" y="308"/>
                  </a:lnTo>
                  <a:lnTo>
                    <a:pt x="493" y="308"/>
                  </a:lnTo>
                  <a:lnTo>
                    <a:pt x="493" y="307"/>
                  </a:lnTo>
                  <a:lnTo>
                    <a:pt x="493" y="307"/>
                  </a:lnTo>
                  <a:lnTo>
                    <a:pt x="493" y="306"/>
                  </a:lnTo>
                  <a:lnTo>
                    <a:pt x="493" y="302"/>
                  </a:lnTo>
                  <a:lnTo>
                    <a:pt x="493" y="302"/>
                  </a:lnTo>
                  <a:lnTo>
                    <a:pt x="493" y="301"/>
                  </a:lnTo>
                  <a:lnTo>
                    <a:pt x="493" y="300"/>
                  </a:lnTo>
                  <a:lnTo>
                    <a:pt x="493" y="299"/>
                  </a:lnTo>
                  <a:lnTo>
                    <a:pt x="492" y="297"/>
                  </a:lnTo>
                  <a:lnTo>
                    <a:pt x="492" y="296"/>
                  </a:lnTo>
                  <a:lnTo>
                    <a:pt x="491" y="293"/>
                  </a:lnTo>
                  <a:lnTo>
                    <a:pt x="491" y="291"/>
                  </a:lnTo>
                  <a:lnTo>
                    <a:pt x="490" y="290"/>
                  </a:lnTo>
                  <a:lnTo>
                    <a:pt x="490" y="290"/>
                  </a:lnTo>
                  <a:lnTo>
                    <a:pt x="490" y="289"/>
                  </a:lnTo>
                  <a:lnTo>
                    <a:pt x="489" y="288"/>
                  </a:lnTo>
                  <a:lnTo>
                    <a:pt x="488" y="288"/>
                  </a:lnTo>
                  <a:lnTo>
                    <a:pt x="487" y="287"/>
                  </a:lnTo>
                  <a:lnTo>
                    <a:pt x="487" y="287"/>
                  </a:lnTo>
                  <a:lnTo>
                    <a:pt x="485" y="286"/>
                  </a:lnTo>
                  <a:lnTo>
                    <a:pt x="484" y="286"/>
                  </a:lnTo>
                  <a:lnTo>
                    <a:pt x="483" y="286"/>
                  </a:lnTo>
                  <a:lnTo>
                    <a:pt x="481" y="285"/>
                  </a:lnTo>
                  <a:lnTo>
                    <a:pt x="479" y="285"/>
                  </a:lnTo>
                  <a:lnTo>
                    <a:pt x="478" y="285"/>
                  </a:lnTo>
                  <a:lnTo>
                    <a:pt x="475" y="285"/>
                  </a:lnTo>
                  <a:lnTo>
                    <a:pt x="473" y="285"/>
                  </a:lnTo>
                  <a:lnTo>
                    <a:pt x="472" y="285"/>
                  </a:lnTo>
                  <a:lnTo>
                    <a:pt x="471" y="285"/>
                  </a:lnTo>
                  <a:lnTo>
                    <a:pt x="470" y="284"/>
                  </a:lnTo>
                  <a:lnTo>
                    <a:pt x="468" y="284"/>
                  </a:lnTo>
                  <a:lnTo>
                    <a:pt x="468" y="284"/>
                  </a:lnTo>
                  <a:lnTo>
                    <a:pt x="467" y="283"/>
                  </a:lnTo>
                  <a:lnTo>
                    <a:pt x="466" y="283"/>
                  </a:lnTo>
                  <a:lnTo>
                    <a:pt x="465" y="283"/>
                  </a:lnTo>
                  <a:lnTo>
                    <a:pt x="464" y="282"/>
                  </a:lnTo>
                  <a:lnTo>
                    <a:pt x="462" y="280"/>
                  </a:lnTo>
                  <a:lnTo>
                    <a:pt x="462" y="280"/>
                  </a:lnTo>
                  <a:lnTo>
                    <a:pt x="461" y="279"/>
                  </a:lnTo>
                  <a:lnTo>
                    <a:pt x="461" y="279"/>
                  </a:lnTo>
                  <a:lnTo>
                    <a:pt x="460" y="279"/>
                  </a:lnTo>
                  <a:lnTo>
                    <a:pt x="459" y="278"/>
                  </a:lnTo>
                  <a:lnTo>
                    <a:pt x="459" y="278"/>
                  </a:lnTo>
                  <a:lnTo>
                    <a:pt x="455" y="278"/>
                  </a:lnTo>
                  <a:lnTo>
                    <a:pt x="452" y="277"/>
                  </a:lnTo>
                  <a:lnTo>
                    <a:pt x="451" y="277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8" y="277"/>
                  </a:lnTo>
                  <a:lnTo>
                    <a:pt x="447" y="277"/>
                  </a:lnTo>
                  <a:lnTo>
                    <a:pt x="446" y="278"/>
                  </a:lnTo>
                  <a:lnTo>
                    <a:pt x="445" y="278"/>
                  </a:lnTo>
                  <a:lnTo>
                    <a:pt x="444" y="279"/>
                  </a:lnTo>
                  <a:lnTo>
                    <a:pt x="444" y="279"/>
                  </a:lnTo>
                  <a:lnTo>
                    <a:pt x="443" y="280"/>
                  </a:lnTo>
                  <a:lnTo>
                    <a:pt x="443" y="280"/>
                  </a:lnTo>
                  <a:lnTo>
                    <a:pt x="443" y="280"/>
                  </a:lnTo>
                  <a:lnTo>
                    <a:pt x="443" y="281"/>
                  </a:lnTo>
                  <a:lnTo>
                    <a:pt x="442" y="283"/>
                  </a:lnTo>
                  <a:lnTo>
                    <a:pt x="442" y="284"/>
                  </a:lnTo>
                  <a:lnTo>
                    <a:pt x="442" y="286"/>
                  </a:lnTo>
                  <a:lnTo>
                    <a:pt x="441" y="287"/>
                  </a:lnTo>
                  <a:lnTo>
                    <a:pt x="440" y="288"/>
                  </a:lnTo>
                  <a:lnTo>
                    <a:pt x="439" y="290"/>
                  </a:lnTo>
                  <a:lnTo>
                    <a:pt x="439" y="292"/>
                  </a:lnTo>
                  <a:lnTo>
                    <a:pt x="439" y="292"/>
                  </a:lnTo>
                  <a:lnTo>
                    <a:pt x="438" y="294"/>
                  </a:lnTo>
                  <a:lnTo>
                    <a:pt x="438" y="295"/>
                  </a:lnTo>
                  <a:lnTo>
                    <a:pt x="437" y="296"/>
                  </a:lnTo>
                  <a:lnTo>
                    <a:pt x="437" y="297"/>
                  </a:lnTo>
                  <a:lnTo>
                    <a:pt x="437" y="298"/>
                  </a:lnTo>
                  <a:lnTo>
                    <a:pt x="437" y="300"/>
                  </a:lnTo>
                  <a:lnTo>
                    <a:pt x="437" y="302"/>
                  </a:lnTo>
                  <a:lnTo>
                    <a:pt x="437" y="304"/>
                  </a:lnTo>
                  <a:lnTo>
                    <a:pt x="437" y="305"/>
                  </a:lnTo>
                  <a:lnTo>
                    <a:pt x="438" y="308"/>
                  </a:lnTo>
                  <a:lnTo>
                    <a:pt x="438" y="313"/>
                  </a:lnTo>
                  <a:lnTo>
                    <a:pt x="439" y="316"/>
                  </a:lnTo>
                  <a:lnTo>
                    <a:pt x="439" y="318"/>
                  </a:lnTo>
                  <a:lnTo>
                    <a:pt x="440" y="323"/>
                  </a:lnTo>
                  <a:lnTo>
                    <a:pt x="440" y="325"/>
                  </a:lnTo>
                  <a:lnTo>
                    <a:pt x="440" y="326"/>
                  </a:lnTo>
                  <a:lnTo>
                    <a:pt x="440" y="328"/>
                  </a:lnTo>
                  <a:lnTo>
                    <a:pt x="440" y="329"/>
                  </a:lnTo>
                  <a:lnTo>
                    <a:pt x="440" y="330"/>
                  </a:lnTo>
                  <a:lnTo>
                    <a:pt x="440" y="332"/>
                  </a:lnTo>
                  <a:lnTo>
                    <a:pt x="439" y="334"/>
                  </a:lnTo>
                  <a:lnTo>
                    <a:pt x="438" y="340"/>
                  </a:lnTo>
                  <a:lnTo>
                    <a:pt x="438" y="341"/>
                  </a:lnTo>
                  <a:lnTo>
                    <a:pt x="437" y="343"/>
                  </a:lnTo>
                  <a:lnTo>
                    <a:pt x="437" y="344"/>
                  </a:lnTo>
                  <a:lnTo>
                    <a:pt x="436" y="346"/>
                  </a:lnTo>
                  <a:lnTo>
                    <a:pt x="436" y="347"/>
                  </a:lnTo>
                  <a:lnTo>
                    <a:pt x="436" y="349"/>
                  </a:lnTo>
                  <a:lnTo>
                    <a:pt x="436" y="350"/>
                  </a:lnTo>
                  <a:lnTo>
                    <a:pt x="436" y="354"/>
                  </a:lnTo>
                  <a:lnTo>
                    <a:pt x="436" y="355"/>
                  </a:lnTo>
                  <a:lnTo>
                    <a:pt x="436" y="356"/>
                  </a:lnTo>
                  <a:lnTo>
                    <a:pt x="436" y="357"/>
                  </a:lnTo>
                  <a:lnTo>
                    <a:pt x="436" y="357"/>
                  </a:lnTo>
                  <a:lnTo>
                    <a:pt x="435" y="360"/>
                  </a:lnTo>
                  <a:lnTo>
                    <a:pt x="434" y="361"/>
                  </a:lnTo>
                  <a:lnTo>
                    <a:pt x="433" y="366"/>
                  </a:lnTo>
                  <a:lnTo>
                    <a:pt x="432" y="369"/>
                  </a:lnTo>
                  <a:lnTo>
                    <a:pt x="432" y="370"/>
                  </a:lnTo>
                  <a:lnTo>
                    <a:pt x="431" y="372"/>
                  </a:lnTo>
                  <a:lnTo>
                    <a:pt x="431" y="374"/>
                  </a:lnTo>
                  <a:lnTo>
                    <a:pt x="431" y="376"/>
                  </a:lnTo>
                  <a:lnTo>
                    <a:pt x="431" y="377"/>
                  </a:lnTo>
                  <a:lnTo>
                    <a:pt x="431" y="378"/>
                  </a:lnTo>
                  <a:lnTo>
                    <a:pt x="431" y="379"/>
                  </a:lnTo>
                  <a:lnTo>
                    <a:pt x="431" y="380"/>
                  </a:lnTo>
                  <a:lnTo>
                    <a:pt x="431" y="381"/>
                  </a:lnTo>
                  <a:lnTo>
                    <a:pt x="432" y="382"/>
                  </a:lnTo>
                  <a:lnTo>
                    <a:pt x="432" y="383"/>
                  </a:lnTo>
                  <a:lnTo>
                    <a:pt x="434" y="385"/>
                  </a:lnTo>
                  <a:lnTo>
                    <a:pt x="434" y="386"/>
                  </a:lnTo>
                  <a:lnTo>
                    <a:pt x="434" y="386"/>
                  </a:lnTo>
                  <a:lnTo>
                    <a:pt x="435" y="387"/>
                  </a:lnTo>
                  <a:lnTo>
                    <a:pt x="435" y="388"/>
                  </a:lnTo>
                  <a:lnTo>
                    <a:pt x="435" y="389"/>
                  </a:lnTo>
                  <a:lnTo>
                    <a:pt x="435" y="390"/>
                  </a:lnTo>
                  <a:lnTo>
                    <a:pt x="434" y="390"/>
                  </a:lnTo>
                  <a:lnTo>
                    <a:pt x="434" y="391"/>
                  </a:lnTo>
                  <a:lnTo>
                    <a:pt x="433" y="392"/>
                  </a:lnTo>
                  <a:lnTo>
                    <a:pt x="433" y="393"/>
                  </a:lnTo>
                  <a:lnTo>
                    <a:pt x="432" y="393"/>
                  </a:lnTo>
                  <a:lnTo>
                    <a:pt x="431" y="394"/>
                  </a:lnTo>
                  <a:lnTo>
                    <a:pt x="430" y="394"/>
                  </a:lnTo>
                  <a:lnTo>
                    <a:pt x="429" y="394"/>
                  </a:lnTo>
                  <a:lnTo>
                    <a:pt x="428" y="394"/>
                  </a:lnTo>
                  <a:lnTo>
                    <a:pt x="426" y="394"/>
                  </a:lnTo>
                  <a:lnTo>
                    <a:pt x="425" y="394"/>
                  </a:lnTo>
                  <a:lnTo>
                    <a:pt x="420" y="392"/>
                  </a:lnTo>
                  <a:lnTo>
                    <a:pt x="417" y="391"/>
                  </a:lnTo>
                  <a:lnTo>
                    <a:pt x="415" y="391"/>
                  </a:lnTo>
                  <a:lnTo>
                    <a:pt x="414" y="391"/>
                  </a:lnTo>
                  <a:lnTo>
                    <a:pt x="410" y="389"/>
                  </a:lnTo>
                  <a:lnTo>
                    <a:pt x="409" y="389"/>
                  </a:lnTo>
                  <a:lnTo>
                    <a:pt x="407" y="388"/>
                  </a:lnTo>
                  <a:lnTo>
                    <a:pt x="406" y="388"/>
                  </a:lnTo>
                  <a:lnTo>
                    <a:pt x="405" y="387"/>
                  </a:lnTo>
                  <a:lnTo>
                    <a:pt x="404" y="387"/>
                  </a:lnTo>
                  <a:lnTo>
                    <a:pt x="400" y="386"/>
                  </a:lnTo>
                  <a:lnTo>
                    <a:pt x="397" y="386"/>
                  </a:lnTo>
                  <a:lnTo>
                    <a:pt x="395" y="385"/>
                  </a:lnTo>
                  <a:lnTo>
                    <a:pt x="394" y="385"/>
                  </a:lnTo>
                  <a:lnTo>
                    <a:pt x="393" y="385"/>
                  </a:lnTo>
                  <a:lnTo>
                    <a:pt x="392" y="385"/>
                  </a:lnTo>
                  <a:lnTo>
                    <a:pt x="391" y="386"/>
                  </a:lnTo>
                  <a:lnTo>
                    <a:pt x="391" y="386"/>
                  </a:lnTo>
                  <a:lnTo>
                    <a:pt x="390" y="386"/>
                  </a:lnTo>
                  <a:lnTo>
                    <a:pt x="389" y="386"/>
                  </a:lnTo>
                  <a:lnTo>
                    <a:pt x="389" y="387"/>
                  </a:lnTo>
                  <a:lnTo>
                    <a:pt x="388" y="387"/>
                  </a:lnTo>
                  <a:lnTo>
                    <a:pt x="387" y="388"/>
                  </a:lnTo>
                  <a:lnTo>
                    <a:pt x="387" y="388"/>
                  </a:lnTo>
                  <a:lnTo>
                    <a:pt x="386" y="389"/>
                  </a:lnTo>
                  <a:lnTo>
                    <a:pt x="386" y="389"/>
                  </a:lnTo>
                  <a:lnTo>
                    <a:pt x="386" y="390"/>
                  </a:lnTo>
                  <a:lnTo>
                    <a:pt x="386" y="391"/>
                  </a:lnTo>
                  <a:lnTo>
                    <a:pt x="385" y="394"/>
                  </a:lnTo>
                  <a:lnTo>
                    <a:pt x="384" y="399"/>
                  </a:lnTo>
                  <a:lnTo>
                    <a:pt x="384" y="401"/>
                  </a:lnTo>
                  <a:lnTo>
                    <a:pt x="383" y="404"/>
                  </a:lnTo>
                  <a:lnTo>
                    <a:pt x="383" y="405"/>
                  </a:lnTo>
                  <a:lnTo>
                    <a:pt x="383" y="406"/>
                  </a:lnTo>
                  <a:lnTo>
                    <a:pt x="382" y="407"/>
                  </a:lnTo>
                  <a:lnTo>
                    <a:pt x="382" y="408"/>
                  </a:lnTo>
                  <a:lnTo>
                    <a:pt x="381" y="409"/>
                  </a:lnTo>
                  <a:lnTo>
                    <a:pt x="380" y="410"/>
                  </a:lnTo>
                  <a:lnTo>
                    <a:pt x="379" y="412"/>
                  </a:lnTo>
                  <a:lnTo>
                    <a:pt x="377" y="414"/>
                  </a:lnTo>
                  <a:lnTo>
                    <a:pt x="376" y="415"/>
                  </a:lnTo>
                  <a:lnTo>
                    <a:pt x="375" y="416"/>
                  </a:lnTo>
                  <a:lnTo>
                    <a:pt x="374" y="416"/>
                  </a:lnTo>
                  <a:lnTo>
                    <a:pt x="373" y="417"/>
                  </a:lnTo>
                  <a:lnTo>
                    <a:pt x="370" y="419"/>
                  </a:lnTo>
                  <a:lnTo>
                    <a:pt x="367" y="422"/>
                  </a:lnTo>
                  <a:lnTo>
                    <a:pt x="365" y="423"/>
                  </a:lnTo>
                  <a:lnTo>
                    <a:pt x="364" y="424"/>
                  </a:lnTo>
                  <a:lnTo>
                    <a:pt x="364" y="425"/>
                  </a:lnTo>
                  <a:lnTo>
                    <a:pt x="363" y="426"/>
                  </a:lnTo>
                  <a:lnTo>
                    <a:pt x="362" y="427"/>
                  </a:lnTo>
                  <a:lnTo>
                    <a:pt x="361" y="429"/>
                  </a:lnTo>
                  <a:lnTo>
                    <a:pt x="360" y="431"/>
                  </a:lnTo>
                  <a:lnTo>
                    <a:pt x="360" y="432"/>
                  </a:lnTo>
                  <a:lnTo>
                    <a:pt x="359" y="434"/>
                  </a:lnTo>
                  <a:lnTo>
                    <a:pt x="358" y="437"/>
                  </a:lnTo>
                  <a:lnTo>
                    <a:pt x="358" y="438"/>
                  </a:lnTo>
                  <a:lnTo>
                    <a:pt x="357" y="440"/>
                  </a:lnTo>
                  <a:lnTo>
                    <a:pt x="357" y="441"/>
                  </a:lnTo>
                  <a:lnTo>
                    <a:pt x="357" y="443"/>
                  </a:lnTo>
                  <a:lnTo>
                    <a:pt x="357" y="444"/>
                  </a:lnTo>
                  <a:lnTo>
                    <a:pt x="357" y="445"/>
                  </a:lnTo>
                  <a:lnTo>
                    <a:pt x="357" y="451"/>
                  </a:lnTo>
                  <a:lnTo>
                    <a:pt x="357" y="453"/>
                  </a:lnTo>
                  <a:lnTo>
                    <a:pt x="357" y="454"/>
                  </a:lnTo>
                  <a:lnTo>
                    <a:pt x="357" y="456"/>
                  </a:lnTo>
                  <a:lnTo>
                    <a:pt x="357" y="461"/>
                  </a:lnTo>
                  <a:lnTo>
                    <a:pt x="357" y="464"/>
                  </a:lnTo>
                  <a:lnTo>
                    <a:pt x="357" y="465"/>
                  </a:lnTo>
                  <a:lnTo>
                    <a:pt x="356" y="467"/>
                  </a:lnTo>
                  <a:lnTo>
                    <a:pt x="356" y="468"/>
                  </a:lnTo>
                  <a:lnTo>
                    <a:pt x="356" y="469"/>
                  </a:lnTo>
                  <a:lnTo>
                    <a:pt x="356" y="469"/>
                  </a:lnTo>
                  <a:lnTo>
                    <a:pt x="355" y="471"/>
                  </a:lnTo>
                  <a:lnTo>
                    <a:pt x="355" y="472"/>
                  </a:lnTo>
                  <a:lnTo>
                    <a:pt x="354" y="473"/>
                  </a:lnTo>
                  <a:lnTo>
                    <a:pt x="353" y="473"/>
                  </a:lnTo>
                  <a:lnTo>
                    <a:pt x="353" y="474"/>
                  </a:lnTo>
                  <a:lnTo>
                    <a:pt x="352" y="475"/>
                  </a:lnTo>
                  <a:lnTo>
                    <a:pt x="352" y="475"/>
                  </a:lnTo>
                  <a:lnTo>
                    <a:pt x="351" y="475"/>
                  </a:lnTo>
                  <a:lnTo>
                    <a:pt x="351" y="476"/>
                  </a:lnTo>
                  <a:lnTo>
                    <a:pt x="350" y="476"/>
                  </a:lnTo>
                  <a:lnTo>
                    <a:pt x="350" y="476"/>
                  </a:lnTo>
                  <a:lnTo>
                    <a:pt x="349" y="476"/>
                  </a:lnTo>
                  <a:lnTo>
                    <a:pt x="348" y="476"/>
                  </a:lnTo>
                  <a:lnTo>
                    <a:pt x="347" y="476"/>
                  </a:lnTo>
                  <a:lnTo>
                    <a:pt x="346" y="476"/>
                  </a:lnTo>
                  <a:lnTo>
                    <a:pt x="345" y="476"/>
                  </a:lnTo>
                  <a:lnTo>
                    <a:pt x="344" y="476"/>
                  </a:lnTo>
                  <a:lnTo>
                    <a:pt x="344" y="476"/>
                  </a:lnTo>
                  <a:lnTo>
                    <a:pt x="343" y="476"/>
                  </a:lnTo>
                  <a:lnTo>
                    <a:pt x="342" y="475"/>
                  </a:lnTo>
                  <a:lnTo>
                    <a:pt x="342" y="475"/>
                  </a:lnTo>
                  <a:lnTo>
                    <a:pt x="342" y="475"/>
                  </a:lnTo>
                  <a:lnTo>
                    <a:pt x="341" y="474"/>
                  </a:lnTo>
                  <a:lnTo>
                    <a:pt x="340" y="474"/>
                  </a:lnTo>
                  <a:lnTo>
                    <a:pt x="340" y="473"/>
                  </a:lnTo>
                  <a:lnTo>
                    <a:pt x="337" y="470"/>
                  </a:lnTo>
                  <a:lnTo>
                    <a:pt x="337" y="469"/>
                  </a:lnTo>
                  <a:lnTo>
                    <a:pt x="336" y="468"/>
                  </a:lnTo>
                  <a:lnTo>
                    <a:pt x="335" y="467"/>
                  </a:lnTo>
                  <a:lnTo>
                    <a:pt x="334" y="467"/>
                  </a:lnTo>
                  <a:lnTo>
                    <a:pt x="333" y="467"/>
                  </a:lnTo>
                  <a:lnTo>
                    <a:pt x="332" y="466"/>
                  </a:lnTo>
                  <a:lnTo>
                    <a:pt x="331" y="466"/>
                  </a:lnTo>
                  <a:lnTo>
                    <a:pt x="330" y="465"/>
                  </a:lnTo>
                  <a:lnTo>
                    <a:pt x="330" y="465"/>
                  </a:lnTo>
                  <a:lnTo>
                    <a:pt x="329" y="464"/>
                  </a:lnTo>
                  <a:lnTo>
                    <a:pt x="328" y="463"/>
                  </a:lnTo>
                  <a:lnTo>
                    <a:pt x="328" y="463"/>
                  </a:lnTo>
                  <a:lnTo>
                    <a:pt x="326" y="461"/>
                  </a:lnTo>
                  <a:lnTo>
                    <a:pt x="326" y="459"/>
                  </a:lnTo>
                  <a:lnTo>
                    <a:pt x="325" y="459"/>
                  </a:lnTo>
                  <a:lnTo>
                    <a:pt x="324" y="458"/>
                  </a:lnTo>
                  <a:lnTo>
                    <a:pt x="324" y="458"/>
                  </a:lnTo>
                  <a:lnTo>
                    <a:pt x="323" y="458"/>
                  </a:lnTo>
                  <a:lnTo>
                    <a:pt x="323" y="458"/>
                  </a:lnTo>
                  <a:lnTo>
                    <a:pt x="322" y="458"/>
                  </a:lnTo>
                  <a:lnTo>
                    <a:pt x="322" y="458"/>
                  </a:lnTo>
                  <a:lnTo>
                    <a:pt x="321" y="458"/>
                  </a:lnTo>
                  <a:lnTo>
                    <a:pt x="320" y="459"/>
                  </a:lnTo>
                  <a:lnTo>
                    <a:pt x="314" y="462"/>
                  </a:lnTo>
                  <a:lnTo>
                    <a:pt x="313" y="463"/>
                  </a:lnTo>
                  <a:lnTo>
                    <a:pt x="312" y="464"/>
                  </a:lnTo>
                  <a:lnTo>
                    <a:pt x="311" y="464"/>
                  </a:lnTo>
                  <a:lnTo>
                    <a:pt x="310" y="464"/>
                  </a:lnTo>
                  <a:lnTo>
                    <a:pt x="309" y="465"/>
                  </a:lnTo>
                  <a:lnTo>
                    <a:pt x="308" y="465"/>
                  </a:lnTo>
                  <a:lnTo>
                    <a:pt x="308" y="465"/>
                  </a:lnTo>
                  <a:lnTo>
                    <a:pt x="307" y="465"/>
                  </a:lnTo>
                  <a:lnTo>
                    <a:pt x="307" y="464"/>
                  </a:lnTo>
                  <a:lnTo>
                    <a:pt x="306" y="464"/>
                  </a:lnTo>
                  <a:lnTo>
                    <a:pt x="303" y="463"/>
                  </a:lnTo>
                  <a:lnTo>
                    <a:pt x="299" y="462"/>
                  </a:lnTo>
                  <a:lnTo>
                    <a:pt x="297" y="461"/>
                  </a:lnTo>
                  <a:lnTo>
                    <a:pt x="294" y="460"/>
                  </a:lnTo>
                  <a:lnTo>
                    <a:pt x="293" y="459"/>
                  </a:lnTo>
                  <a:lnTo>
                    <a:pt x="292" y="459"/>
                  </a:lnTo>
                  <a:lnTo>
                    <a:pt x="291" y="458"/>
                  </a:lnTo>
                  <a:lnTo>
                    <a:pt x="290" y="457"/>
                  </a:lnTo>
                  <a:lnTo>
                    <a:pt x="289" y="457"/>
                  </a:lnTo>
                  <a:lnTo>
                    <a:pt x="288" y="455"/>
                  </a:lnTo>
                  <a:lnTo>
                    <a:pt x="287" y="454"/>
                  </a:lnTo>
                  <a:lnTo>
                    <a:pt x="284" y="451"/>
                  </a:lnTo>
                  <a:lnTo>
                    <a:pt x="283" y="450"/>
                  </a:lnTo>
                  <a:lnTo>
                    <a:pt x="282" y="449"/>
                  </a:lnTo>
                  <a:lnTo>
                    <a:pt x="281" y="449"/>
                  </a:lnTo>
                  <a:lnTo>
                    <a:pt x="280" y="448"/>
                  </a:lnTo>
                  <a:lnTo>
                    <a:pt x="280" y="448"/>
                  </a:lnTo>
                  <a:lnTo>
                    <a:pt x="279" y="448"/>
                  </a:lnTo>
                  <a:lnTo>
                    <a:pt x="279" y="449"/>
                  </a:lnTo>
                  <a:lnTo>
                    <a:pt x="278" y="449"/>
                  </a:lnTo>
                  <a:lnTo>
                    <a:pt x="278" y="449"/>
                  </a:lnTo>
                  <a:lnTo>
                    <a:pt x="277" y="449"/>
                  </a:lnTo>
                  <a:lnTo>
                    <a:pt x="277" y="450"/>
                  </a:lnTo>
                  <a:lnTo>
                    <a:pt x="276" y="450"/>
                  </a:lnTo>
                  <a:lnTo>
                    <a:pt x="276" y="450"/>
                  </a:lnTo>
                  <a:lnTo>
                    <a:pt x="276" y="451"/>
                  </a:lnTo>
                  <a:lnTo>
                    <a:pt x="275" y="451"/>
                  </a:lnTo>
                  <a:lnTo>
                    <a:pt x="275" y="452"/>
                  </a:lnTo>
                  <a:lnTo>
                    <a:pt x="275" y="456"/>
                  </a:lnTo>
                  <a:lnTo>
                    <a:pt x="275" y="457"/>
                  </a:lnTo>
                  <a:lnTo>
                    <a:pt x="275" y="458"/>
                  </a:lnTo>
                  <a:lnTo>
                    <a:pt x="274" y="460"/>
                  </a:lnTo>
                  <a:lnTo>
                    <a:pt x="274" y="463"/>
                  </a:lnTo>
                  <a:lnTo>
                    <a:pt x="273" y="464"/>
                  </a:lnTo>
                  <a:lnTo>
                    <a:pt x="273" y="465"/>
                  </a:lnTo>
                  <a:lnTo>
                    <a:pt x="272" y="466"/>
                  </a:lnTo>
                  <a:lnTo>
                    <a:pt x="272" y="467"/>
                  </a:lnTo>
                  <a:lnTo>
                    <a:pt x="271" y="468"/>
                  </a:lnTo>
                  <a:lnTo>
                    <a:pt x="270" y="469"/>
                  </a:lnTo>
                  <a:lnTo>
                    <a:pt x="270" y="470"/>
                  </a:lnTo>
                  <a:lnTo>
                    <a:pt x="269" y="470"/>
                  </a:lnTo>
                  <a:lnTo>
                    <a:pt x="269" y="471"/>
                  </a:lnTo>
                  <a:lnTo>
                    <a:pt x="268" y="472"/>
                  </a:lnTo>
                  <a:lnTo>
                    <a:pt x="267" y="472"/>
                  </a:lnTo>
                  <a:lnTo>
                    <a:pt x="267" y="472"/>
                  </a:lnTo>
                  <a:lnTo>
                    <a:pt x="266" y="472"/>
                  </a:lnTo>
                  <a:lnTo>
                    <a:pt x="265" y="472"/>
                  </a:lnTo>
                  <a:lnTo>
                    <a:pt x="262" y="472"/>
                  </a:lnTo>
                  <a:lnTo>
                    <a:pt x="260" y="473"/>
                  </a:lnTo>
                  <a:lnTo>
                    <a:pt x="259" y="473"/>
                  </a:lnTo>
                  <a:lnTo>
                    <a:pt x="259" y="473"/>
                  </a:lnTo>
                  <a:lnTo>
                    <a:pt x="258" y="473"/>
                  </a:lnTo>
                  <a:lnTo>
                    <a:pt x="257" y="474"/>
                  </a:lnTo>
                  <a:lnTo>
                    <a:pt x="257" y="474"/>
                  </a:lnTo>
                  <a:lnTo>
                    <a:pt x="257" y="475"/>
                  </a:lnTo>
                  <a:lnTo>
                    <a:pt x="256" y="476"/>
                  </a:lnTo>
                  <a:lnTo>
                    <a:pt x="256" y="477"/>
                  </a:lnTo>
                  <a:lnTo>
                    <a:pt x="255" y="478"/>
                  </a:lnTo>
                  <a:lnTo>
                    <a:pt x="255" y="479"/>
                  </a:lnTo>
                  <a:lnTo>
                    <a:pt x="255" y="479"/>
                  </a:lnTo>
                  <a:lnTo>
                    <a:pt x="254" y="480"/>
                  </a:lnTo>
                  <a:lnTo>
                    <a:pt x="254" y="480"/>
                  </a:lnTo>
                  <a:lnTo>
                    <a:pt x="253" y="481"/>
                  </a:lnTo>
                  <a:lnTo>
                    <a:pt x="252" y="481"/>
                  </a:lnTo>
                  <a:lnTo>
                    <a:pt x="251" y="482"/>
                  </a:lnTo>
                  <a:lnTo>
                    <a:pt x="249" y="482"/>
                  </a:lnTo>
                  <a:lnTo>
                    <a:pt x="248" y="482"/>
                  </a:lnTo>
                  <a:lnTo>
                    <a:pt x="248" y="482"/>
                  </a:lnTo>
                  <a:lnTo>
                    <a:pt x="247" y="483"/>
                  </a:lnTo>
                  <a:lnTo>
                    <a:pt x="246" y="483"/>
                  </a:lnTo>
                  <a:lnTo>
                    <a:pt x="245" y="484"/>
                  </a:lnTo>
                  <a:lnTo>
                    <a:pt x="244" y="486"/>
                  </a:lnTo>
                  <a:lnTo>
                    <a:pt x="243" y="487"/>
                  </a:lnTo>
                  <a:lnTo>
                    <a:pt x="242" y="487"/>
                  </a:lnTo>
                  <a:lnTo>
                    <a:pt x="241" y="487"/>
                  </a:lnTo>
                  <a:lnTo>
                    <a:pt x="241" y="488"/>
                  </a:lnTo>
                  <a:lnTo>
                    <a:pt x="240" y="488"/>
                  </a:lnTo>
                  <a:lnTo>
                    <a:pt x="239" y="488"/>
                  </a:lnTo>
                  <a:lnTo>
                    <a:pt x="239" y="488"/>
                  </a:lnTo>
                  <a:lnTo>
                    <a:pt x="238" y="488"/>
                  </a:lnTo>
                  <a:lnTo>
                    <a:pt x="237" y="487"/>
                  </a:lnTo>
                  <a:lnTo>
                    <a:pt x="235" y="486"/>
                  </a:lnTo>
                  <a:lnTo>
                    <a:pt x="231" y="485"/>
                  </a:lnTo>
                  <a:lnTo>
                    <a:pt x="228" y="483"/>
                  </a:lnTo>
                  <a:lnTo>
                    <a:pt x="221" y="479"/>
                  </a:lnTo>
                  <a:lnTo>
                    <a:pt x="219" y="478"/>
                  </a:lnTo>
                  <a:lnTo>
                    <a:pt x="218" y="478"/>
                  </a:lnTo>
                  <a:lnTo>
                    <a:pt x="217" y="478"/>
                  </a:lnTo>
                  <a:lnTo>
                    <a:pt x="216" y="477"/>
                  </a:lnTo>
                  <a:lnTo>
                    <a:pt x="212" y="477"/>
                  </a:lnTo>
                  <a:lnTo>
                    <a:pt x="211" y="477"/>
                  </a:lnTo>
                  <a:lnTo>
                    <a:pt x="209" y="476"/>
                  </a:lnTo>
                  <a:lnTo>
                    <a:pt x="205" y="475"/>
                  </a:lnTo>
                  <a:lnTo>
                    <a:pt x="200" y="473"/>
                  </a:lnTo>
                  <a:lnTo>
                    <a:pt x="197" y="472"/>
                  </a:lnTo>
                  <a:lnTo>
                    <a:pt x="196" y="472"/>
                  </a:lnTo>
                  <a:lnTo>
                    <a:pt x="195" y="472"/>
                  </a:lnTo>
                  <a:lnTo>
                    <a:pt x="193" y="472"/>
                  </a:lnTo>
                  <a:lnTo>
                    <a:pt x="190" y="472"/>
                  </a:lnTo>
                  <a:lnTo>
                    <a:pt x="188" y="472"/>
                  </a:lnTo>
                  <a:lnTo>
                    <a:pt x="187" y="471"/>
                  </a:lnTo>
                  <a:lnTo>
                    <a:pt x="183" y="471"/>
                  </a:lnTo>
                  <a:lnTo>
                    <a:pt x="181" y="471"/>
                  </a:lnTo>
                  <a:lnTo>
                    <a:pt x="179" y="470"/>
                  </a:lnTo>
                  <a:lnTo>
                    <a:pt x="178" y="470"/>
                  </a:lnTo>
                  <a:lnTo>
                    <a:pt x="177" y="470"/>
                  </a:lnTo>
                  <a:lnTo>
                    <a:pt x="173" y="471"/>
                  </a:lnTo>
                  <a:lnTo>
                    <a:pt x="172" y="471"/>
                  </a:lnTo>
                  <a:lnTo>
                    <a:pt x="171" y="471"/>
                  </a:lnTo>
                  <a:lnTo>
                    <a:pt x="170" y="471"/>
                  </a:lnTo>
                  <a:lnTo>
                    <a:pt x="169" y="471"/>
                  </a:lnTo>
                  <a:lnTo>
                    <a:pt x="168" y="471"/>
                  </a:lnTo>
                  <a:lnTo>
                    <a:pt x="168" y="471"/>
                  </a:lnTo>
                  <a:lnTo>
                    <a:pt x="165" y="470"/>
                  </a:lnTo>
                  <a:lnTo>
                    <a:pt x="164" y="469"/>
                  </a:lnTo>
                  <a:lnTo>
                    <a:pt x="163" y="469"/>
                  </a:lnTo>
                  <a:lnTo>
                    <a:pt x="160" y="468"/>
                  </a:lnTo>
                  <a:lnTo>
                    <a:pt x="159" y="468"/>
                  </a:lnTo>
                  <a:lnTo>
                    <a:pt x="158" y="467"/>
                  </a:lnTo>
                  <a:lnTo>
                    <a:pt x="158" y="467"/>
                  </a:lnTo>
                  <a:lnTo>
                    <a:pt x="156" y="466"/>
                  </a:lnTo>
                  <a:lnTo>
                    <a:pt x="154" y="464"/>
                  </a:lnTo>
                  <a:lnTo>
                    <a:pt x="154" y="464"/>
                  </a:lnTo>
                  <a:lnTo>
                    <a:pt x="153" y="463"/>
                  </a:lnTo>
                  <a:lnTo>
                    <a:pt x="152" y="462"/>
                  </a:lnTo>
                  <a:lnTo>
                    <a:pt x="152" y="461"/>
                  </a:lnTo>
                  <a:lnTo>
                    <a:pt x="151" y="461"/>
                  </a:lnTo>
                  <a:lnTo>
                    <a:pt x="151" y="460"/>
                  </a:lnTo>
                  <a:lnTo>
                    <a:pt x="150" y="457"/>
                  </a:lnTo>
                  <a:lnTo>
                    <a:pt x="149" y="457"/>
                  </a:lnTo>
                  <a:lnTo>
                    <a:pt x="149" y="456"/>
                  </a:lnTo>
                  <a:lnTo>
                    <a:pt x="149" y="456"/>
                  </a:lnTo>
                  <a:lnTo>
                    <a:pt x="148" y="455"/>
                  </a:lnTo>
                  <a:lnTo>
                    <a:pt x="147" y="454"/>
                  </a:lnTo>
                  <a:lnTo>
                    <a:pt x="146" y="454"/>
                  </a:lnTo>
                  <a:lnTo>
                    <a:pt x="145" y="453"/>
                  </a:lnTo>
                  <a:lnTo>
                    <a:pt x="145" y="452"/>
                  </a:lnTo>
                  <a:lnTo>
                    <a:pt x="144" y="451"/>
                  </a:lnTo>
                  <a:lnTo>
                    <a:pt x="144" y="451"/>
                  </a:lnTo>
                  <a:lnTo>
                    <a:pt x="144" y="450"/>
                  </a:lnTo>
                  <a:lnTo>
                    <a:pt x="144" y="449"/>
                  </a:lnTo>
                  <a:lnTo>
                    <a:pt x="144" y="449"/>
                  </a:lnTo>
                  <a:lnTo>
                    <a:pt x="144" y="448"/>
                  </a:lnTo>
                  <a:lnTo>
                    <a:pt x="144" y="448"/>
                  </a:lnTo>
                  <a:lnTo>
                    <a:pt x="144" y="447"/>
                  </a:lnTo>
                  <a:lnTo>
                    <a:pt x="144" y="447"/>
                  </a:lnTo>
                  <a:lnTo>
                    <a:pt x="145" y="446"/>
                  </a:lnTo>
                  <a:lnTo>
                    <a:pt x="145" y="445"/>
                  </a:lnTo>
                  <a:lnTo>
                    <a:pt x="146" y="445"/>
                  </a:lnTo>
                  <a:lnTo>
                    <a:pt x="147" y="444"/>
                  </a:lnTo>
                  <a:lnTo>
                    <a:pt x="148" y="443"/>
                  </a:lnTo>
                  <a:lnTo>
                    <a:pt x="149" y="443"/>
                  </a:lnTo>
                  <a:lnTo>
                    <a:pt x="151" y="442"/>
                  </a:lnTo>
                  <a:lnTo>
                    <a:pt x="152" y="442"/>
                  </a:lnTo>
                  <a:lnTo>
                    <a:pt x="152" y="441"/>
                  </a:lnTo>
                  <a:lnTo>
                    <a:pt x="153" y="441"/>
                  </a:lnTo>
                  <a:lnTo>
                    <a:pt x="153" y="440"/>
                  </a:lnTo>
                  <a:lnTo>
                    <a:pt x="153" y="440"/>
                  </a:lnTo>
                  <a:lnTo>
                    <a:pt x="154" y="439"/>
                  </a:lnTo>
                  <a:lnTo>
                    <a:pt x="154" y="438"/>
                  </a:lnTo>
                  <a:lnTo>
                    <a:pt x="154" y="438"/>
                  </a:lnTo>
                  <a:lnTo>
                    <a:pt x="154" y="437"/>
                  </a:lnTo>
                  <a:lnTo>
                    <a:pt x="154" y="436"/>
                  </a:lnTo>
                  <a:lnTo>
                    <a:pt x="154" y="435"/>
                  </a:lnTo>
                  <a:lnTo>
                    <a:pt x="153" y="434"/>
                  </a:lnTo>
                  <a:lnTo>
                    <a:pt x="153" y="434"/>
                  </a:lnTo>
                  <a:lnTo>
                    <a:pt x="152" y="433"/>
                  </a:lnTo>
                  <a:lnTo>
                    <a:pt x="152" y="433"/>
                  </a:lnTo>
                  <a:lnTo>
                    <a:pt x="149" y="431"/>
                  </a:lnTo>
                  <a:lnTo>
                    <a:pt x="148" y="430"/>
                  </a:lnTo>
                  <a:lnTo>
                    <a:pt x="147" y="429"/>
                  </a:lnTo>
                  <a:lnTo>
                    <a:pt x="146" y="428"/>
                  </a:lnTo>
                  <a:lnTo>
                    <a:pt x="144" y="425"/>
                  </a:lnTo>
                  <a:lnTo>
                    <a:pt x="143" y="424"/>
                  </a:lnTo>
                  <a:lnTo>
                    <a:pt x="142" y="422"/>
                  </a:lnTo>
                  <a:lnTo>
                    <a:pt x="140" y="421"/>
                  </a:lnTo>
                  <a:lnTo>
                    <a:pt x="139" y="420"/>
                  </a:lnTo>
                  <a:lnTo>
                    <a:pt x="139" y="419"/>
                  </a:lnTo>
                  <a:lnTo>
                    <a:pt x="138" y="419"/>
                  </a:lnTo>
                  <a:lnTo>
                    <a:pt x="137" y="418"/>
                  </a:lnTo>
                  <a:lnTo>
                    <a:pt x="136" y="418"/>
                  </a:lnTo>
                  <a:lnTo>
                    <a:pt x="136" y="418"/>
                  </a:lnTo>
                  <a:lnTo>
                    <a:pt x="134" y="417"/>
                  </a:lnTo>
                  <a:lnTo>
                    <a:pt x="131" y="416"/>
                  </a:lnTo>
                  <a:lnTo>
                    <a:pt x="129" y="415"/>
                  </a:lnTo>
                  <a:lnTo>
                    <a:pt x="128" y="414"/>
                  </a:lnTo>
                  <a:lnTo>
                    <a:pt x="126" y="414"/>
                  </a:lnTo>
                  <a:lnTo>
                    <a:pt x="125" y="414"/>
                  </a:lnTo>
                  <a:lnTo>
                    <a:pt x="125" y="413"/>
                  </a:lnTo>
                  <a:lnTo>
                    <a:pt x="121" y="410"/>
                  </a:lnTo>
                  <a:lnTo>
                    <a:pt x="120" y="410"/>
                  </a:lnTo>
                  <a:lnTo>
                    <a:pt x="119" y="409"/>
                  </a:lnTo>
                  <a:lnTo>
                    <a:pt x="118" y="408"/>
                  </a:lnTo>
                  <a:lnTo>
                    <a:pt x="117" y="407"/>
                  </a:lnTo>
                  <a:lnTo>
                    <a:pt x="116" y="405"/>
                  </a:lnTo>
                  <a:lnTo>
                    <a:pt x="111" y="401"/>
                  </a:lnTo>
                  <a:lnTo>
                    <a:pt x="110" y="399"/>
                  </a:lnTo>
                  <a:lnTo>
                    <a:pt x="108" y="398"/>
                  </a:lnTo>
                  <a:lnTo>
                    <a:pt x="107" y="396"/>
                  </a:lnTo>
                  <a:lnTo>
                    <a:pt x="105" y="395"/>
                  </a:lnTo>
                  <a:lnTo>
                    <a:pt x="104" y="394"/>
                  </a:lnTo>
                  <a:lnTo>
                    <a:pt x="103" y="393"/>
                  </a:lnTo>
                  <a:lnTo>
                    <a:pt x="101" y="392"/>
                  </a:lnTo>
                  <a:lnTo>
                    <a:pt x="100" y="391"/>
                  </a:lnTo>
                  <a:lnTo>
                    <a:pt x="99" y="390"/>
                  </a:lnTo>
                  <a:lnTo>
                    <a:pt x="97" y="390"/>
                  </a:lnTo>
                  <a:lnTo>
                    <a:pt x="96" y="389"/>
                  </a:lnTo>
                  <a:lnTo>
                    <a:pt x="94" y="389"/>
                  </a:lnTo>
                  <a:lnTo>
                    <a:pt x="88" y="387"/>
                  </a:lnTo>
                  <a:lnTo>
                    <a:pt x="86" y="386"/>
                  </a:lnTo>
                  <a:lnTo>
                    <a:pt x="85" y="386"/>
                  </a:lnTo>
                  <a:lnTo>
                    <a:pt x="84" y="385"/>
                  </a:lnTo>
                  <a:lnTo>
                    <a:pt x="83" y="385"/>
                  </a:lnTo>
                  <a:lnTo>
                    <a:pt x="82" y="384"/>
                  </a:lnTo>
                  <a:lnTo>
                    <a:pt x="82" y="384"/>
                  </a:lnTo>
                  <a:lnTo>
                    <a:pt x="81" y="383"/>
                  </a:lnTo>
                  <a:lnTo>
                    <a:pt x="81" y="383"/>
                  </a:lnTo>
                  <a:lnTo>
                    <a:pt x="81" y="382"/>
                  </a:lnTo>
                  <a:lnTo>
                    <a:pt x="80" y="380"/>
                  </a:lnTo>
                  <a:lnTo>
                    <a:pt x="80" y="379"/>
                  </a:lnTo>
                  <a:lnTo>
                    <a:pt x="80" y="376"/>
                  </a:lnTo>
                  <a:lnTo>
                    <a:pt x="79" y="375"/>
                  </a:lnTo>
                  <a:lnTo>
                    <a:pt x="79" y="374"/>
                  </a:lnTo>
                  <a:lnTo>
                    <a:pt x="79" y="373"/>
                  </a:lnTo>
                  <a:lnTo>
                    <a:pt x="78" y="371"/>
                  </a:lnTo>
                  <a:lnTo>
                    <a:pt x="76" y="366"/>
                  </a:lnTo>
                  <a:lnTo>
                    <a:pt x="75" y="365"/>
                  </a:lnTo>
                  <a:lnTo>
                    <a:pt x="75" y="364"/>
                  </a:lnTo>
                  <a:lnTo>
                    <a:pt x="74" y="362"/>
                  </a:lnTo>
                  <a:lnTo>
                    <a:pt x="73" y="362"/>
                  </a:lnTo>
                  <a:lnTo>
                    <a:pt x="73" y="361"/>
                  </a:lnTo>
                  <a:lnTo>
                    <a:pt x="72" y="361"/>
                  </a:lnTo>
                  <a:lnTo>
                    <a:pt x="72" y="360"/>
                  </a:lnTo>
                  <a:lnTo>
                    <a:pt x="70" y="359"/>
                  </a:lnTo>
                  <a:lnTo>
                    <a:pt x="69" y="358"/>
                  </a:lnTo>
                  <a:lnTo>
                    <a:pt x="68" y="357"/>
                  </a:lnTo>
                  <a:lnTo>
                    <a:pt x="68" y="357"/>
                  </a:lnTo>
                  <a:lnTo>
                    <a:pt x="67" y="356"/>
                  </a:lnTo>
                  <a:lnTo>
                    <a:pt x="67" y="355"/>
                  </a:lnTo>
                  <a:lnTo>
                    <a:pt x="66" y="355"/>
                  </a:lnTo>
                  <a:lnTo>
                    <a:pt x="66" y="353"/>
                  </a:lnTo>
                  <a:lnTo>
                    <a:pt x="65" y="352"/>
                  </a:lnTo>
                  <a:lnTo>
                    <a:pt x="65" y="351"/>
                  </a:lnTo>
                  <a:lnTo>
                    <a:pt x="63" y="347"/>
                  </a:lnTo>
                  <a:lnTo>
                    <a:pt x="62" y="343"/>
                  </a:lnTo>
                  <a:lnTo>
                    <a:pt x="61" y="341"/>
                  </a:lnTo>
                  <a:lnTo>
                    <a:pt x="60" y="340"/>
                  </a:lnTo>
                  <a:lnTo>
                    <a:pt x="60" y="339"/>
                  </a:lnTo>
                  <a:lnTo>
                    <a:pt x="59" y="338"/>
                  </a:lnTo>
                  <a:lnTo>
                    <a:pt x="58" y="337"/>
                  </a:lnTo>
                  <a:lnTo>
                    <a:pt x="58" y="336"/>
                  </a:lnTo>
                  <a:lnTo>
                    <a:pt x="57" y="336"/>
                  </a:lnTo>
                  <a:lnTo>
                    <a:pt x="57" y="336"/>
                  </a:lnTo>
                  <a:lnTo>
                    <a:pt x="56" y="336"/>
                  </a:lnTo>
                  <a:lnTo>
                    <a:pt x="55" y="336"/>
                  </a:lnTo>
                  <a:lnTo>
                    <a:pt x="52" y="336"/>
                  </a:lnTo>
                  <a:lnTo>
                    <a:pt x="51" y="336"/>
                  </a:lnTo>
                  <a:lnTo>
                    <a:pt x="49" y="336"/>
                  </a:lnTo>
                  <a:lnTo>
                    <a:pt x="46" y="336"/>
                  </a:lnTo>
                  <a:lnTo>
                    <a:pt x="45" y="336"/>
                  </a:lnTo>
                  <a:lnTo>
                    <a:pt x="44" y="336"/>
                  </a:lnTo>
                  <a:lnTo>
                    <a:pt x="43" y="336"/>
                  </a:lnTo>
                  <a:lnTo>
                    <a:pt x="42" y="335"/>
                  </a:lnTo>
                  <a:lnTo>
                    <a:pt x="41" y="335"/>
                  </a:lnTo>
                  <a:lnTo>
                    <a:pt x="40" y="335"/>
                  </a:lnTo>
                  <a:lnTo>
                    <a:pt x="40" y="334"/>
                  </a:lnTo>
                  <a:lnTo>
                    <a:pt x="39" y="334"/>
                  </a:lnTo>
                  <a:lnTo>
                    <a:pt x="38" y="333"/>
                  </a:lnTo>
                  <a:lnTo>
                    <a:pt x="35" y="330"/>
                  </a:lnTo>
                  <a:lnTo>
                    <a:pt x="34" y="329"/>
                  </a:lnTo>
                  <a:lnTo>
                    <a:pt x="34" y="328"/>
                  </a:lnTo>
                  <a:lnTo>
                    <a:pt x="33" y="326"/>
                  </a:lnTo>
                  <a:lnTo>
                    <a:pt x="32" y="324"/>
                  </a:lnTo>
                  <a:lnTo>
                    <a:pt x="30" y="321"/>
                  </a:lnTo>
                  <a:lnTo>
                    <a:pt x="29" y="318"/>
                  </a:lnTo>
                  <a:lnTo>
                    <a:pt x="28" y="315"/>
                  </a:lnTo>
                  <a:lnTo>
                    <a:pt x="26" y="311"/>
                  </a:lnTo>
                  <a:lnTo>
                    <a:pt x="25" y="308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2" y="306"/>
                  </a:lnTo>
                  <a:lnTo>
                    <a:pt x="20" y="306"/>
                  </a:lnTo>
                  <a:lnTo>
                    <a:pt x="20" y="306"/>
                  </a:lnTo>
                  <a:lnTo>
                    <a:pt x="19" y="305"/>
                  </a:lnTo>
                  <a:lnTo>
                    <a:pt x="18" y="305"/>
                  </a:lnTo>
                  <a:lnTo>
                    <a:pt x="17" y="304"/>
                  </a:lnTo>
                  <a:lnTo>
                    <a:pt x="16" y="303"/>
                  </a:lnTo>
                  <a:lnTo>
                    <a:pt x="16" y="302"/>
                  </a:lnTo>
                  <a:lnTo>
                    <a:pt x="14" y="300"/>
                  </a:lnTo>
                  <a:lnTo>
                    <a:pt x="13" y="299"/>
                  </a:lnTo>
                  <a:lnTo>
                    <a:pt x="13" y="299"/>
                  </a:lnTo>
                  <a:lnTo>
                    <a:pt x="12" y="298"/>
                  </a:lnTo>
                  <a:lnTo>
                    <a:pt x="12" y="297"/>
                  </a:lnTo>
                  <a:lnTo>
                    <a:pt x="11" y="297"/>
                  </a:lnTo>
                  <a:lnTo>
                    <a:pt x="10" y="296"/>
                  </a:lnTo>
                  <a:lnTo>
                    <a:pt x="9" y="296"/>
                  </a:lnTo>
                  <a:lnTo>
                    <a:pt x="9" y="296"/>
                  </a:lnTo>
                  <a:lnTo>
                    <a:pt x="8" y="296"/>
                  </a:lnTo>
                  <a:lnTo>
                    <a:pt x="7" y="295"/>
                  </a:lnTo>
                  <a:lnTo>
                    <a:pt x="5" y="295"/>
                  </a:lnTo>
                  <a:lnTo>
                    <a:pt x="4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2" y="295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1" y="290"/>
                  </a:lnTo>
                  <a:lnTo>
                    <a:pt x="0" y="289"/>
                  </a:lnTo>
                  <a:lnTo>
                    <a:pt x="0" y="288"/>
                  </a:lnTo>
                  <a:lnTo>
                    <a:pt x="0" y="287"/>
                  </a:lnTo>
                  <a:lnTo>
                    <a:pt x="0" y="286"/>
                  </a:lnTo>
                  <a:lnTo>
                    <a:pt x="0" y="285"/>
                  </a:lnTo>
                  <a:lnTo>
                    <a:pt x="0" y="284"/>
                  </a:lnTo>
                  <a:lnTo>
                    <a:pt x="0" y="282"/>
                  </a:lnTo>
                  <a:lnTo>
                    <a:pt x="0" y="281"/>
                  </a:lnTo>
                  <a:lnTo>
                    <a:pt x="0" y="279"/>
                  </a:lnTo>
                  <a:lnTo>
                    <a:pt x="0" y="278"/>
                  </a:lnTo>
                  <a:lnTo>
                    <a:pt x="1" y="276"/>
                  </a:lnTo>
                  <a:lnTo>
                    <a:pt x="1" y="274"/>
                  </a:lnTo>
                  <a:lnTo>
                    <a:pt x="2" y="272"/>
                  </a:lnTo>
                  <a:lnTo>
                    <a:pt x="2" y="271"/>
                  </a:lnTo>
                  <a:lnTo>
                    <a:pt x="2" y="270"/>
                  </a:lnTo>
                  <a:lnTo>
                    <a:pt x="3" y="269"/>
                  </a:lnTo>
                  <a:lnTo>
                    <a:pt x="4" y="266"/>
                  </a:lnTo>
                  <a:lnTo>
                    <a:pt x="5" y="264"/>
                  </a:lnTo>
                  <a:lnTo>
                    <a:pt x="6" y="263"/>
                  </a:lnTo>
                  <a:lnTo>
                    <a:pt x="7" y="262"/>
                  </a:lnTo>
                  <a:lnTo>
                    <a:pt x="8" y="261"/>
                  </a:lnTo>
                  <a:lnTo>
                    <a:pt x="8" y="261"/>
                  </a:lnTo>
                  <a:lnTo>
                    <a:pt x="9" y="260"/>
                  </a:lnTo>
                  <a:lnTo>
                    <a:pt x="9" y="260"/>
                  </a:lnTo>
                  <a:lnTo>
                    <a:pt x="10" y="259"/>
                  </a:lnTo>
                  <a:lnTo>
                    <a:pt x="11" y="259"/>
                  </a:lnTo>
                  <a:lnTo>
                    <a:pt x="13" y="258"/>
                  </a:lnTo>
                  <a:lnTo>
                    <a:pt x="14" y="258"/>
                  </a:lnTo>
                  <a:lnTo>
                    <a:pt x="14" y="257"/>
                  </a:lnTo>
                  <a:lnTo>
                    <a:pt x="15" y="256"/>
                  </a:lnTo>
                  <a:lnTo>
                    <a:pt x="16" y="256"/>
                  </a:lnTo>
                  <a:lnTo>
                    <a:pt x="17" y="255"/>
                  </a:lnTo>
                  <a:lnTo>
                    <a:pt x="17" y="255"/>
                  </a:lnTo>
                  <a:lnTo>
                    <a:pt x="17" y="254"/>
                  </a:lnTo>
                  <a:lnTo>
                    <a:pt x="18" y="253"/>
                  </a:lnTo>
                  <a:lnTo>
                    <a:pt x="18" y="253"/>
                  </a:lnTo>
                  <a:lnTo>
                    <a:pt x="18" y="252"/>
                  </a:lnTo>
                  <a:lnTo>
                    <a:pt x="18" y="251"/>
                  </a:lnTo>
                  <a:lnTo>
                    <a:pt x="18" y="250"/>
                  </a:lnTo>
                  <a:lnTo>
                    <a:pt x="18" y="249"/>
                  </a:lnTo>
                  <a:lnTo>
                    <a:pt x="18" y="248"/>
                  </a:lnTo>
                  <a:lnTo>
                    <a:pt x="18" y="246"/>
                  </a:lnTo>
                  <a:lnTo>
                    <a:pt x="17" y="242"/>
                  </a:lnTo>
                  <a:lnTo>
                    <a:pt x="17" y="241"/>
                  </a:lnTo>
                  <a:lnTo>
                    <a:pt x="17" y="239"/>
                  </a:lnTo>
                  <a:lnTo>
                    <a:pt x="15" y="237"/>
                  </a:lnTo>
                  <a:lnTo>
                    <a:pt x="15" y="235"/>
                  </a:lnTo>
                  <a:lnTo>
                    <a:pt x="15" y="234"/>
                  </a:lnTo>
                  <a:lnTo>
                    <a:pt x="15" y="233"/>
                  </a:lnTo>
                  <a:lnTo>
                    <a:pt x="15" y="233"/>
                  </a:lnTo>
                  <a:lnTo>
                    <a:pt x="15" y="232"/>
                  </a:lnTo>
                  <a:lnTo>
                    <a:pt x="16" y="229"/>
                  </a:lnTo>
                  <a:lnTo>
                    <a:pt x="16" y="228"/>
                  </a:lnTo>
                  <a:lnTo>
                    <a:pt x="16" y="226"/>
                  </a:lnTo>
                  <a:lnTo>
                    <a:pt x="16" y="223"/>
                  </a:lnTo>
                  <a:lnTo>
                    <a:pt x="17" y="221"/>
                  </a:lnTo>
                  <a:lnTo>
                    <a:pt x="17" y="219"/>
                  </a:lnTo>
                  <a:lnTo>
                    <a:pt x="18" y="215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9" y="214"/>
                  </a:lnTo>
                  <a:lnTo>
                    <a:pt x="19" y="214"/>
                  </a:lnTo>
                  <a:lnTo>
                    <a:pt x="20" y="214"/>
                  </a:lnTo>
                  <a:lnTo>
                    <a:pt x="21" y="214"/>
                  </a:lnTo>
                  <a:lnTo>
                    <a:pt x="24" y="214"/>
                  </a:lnTo>
                  <a:lnTo>
                    <a:pt x="25" y="215"/>
                  </a:lnTo>
                  <a:lnTo>
                    <a:pt x="26" y="215"/>
                  </a:lnTo>
                  <a:lnTo>
                    <a:pt x="27" y="215"/>
                  </a:lnTo>
                  <a:lnTo>
                    <a:pt x="28" y="215"/>
                  </a:lnTo>
                  <a:lnTo>
                    <a:pt x="29" y="214"/>
                  </a:lnTo>
                  <a:lnTo>
                    <a:pt x="29" y="214"/>
                  </a:lnTo>
                  <a:lnTo>
                    <a:pt x="30" y="214"/>
                  </a:lnTo>
                  <a:lnTo>
                    <a:pt x="31" y="214"/>
                  </a:lnTo>
                  <a:lnTo>
                    <a:pt x="32" y="213"/>
                  </a:lnTo>
                  <a:lnTo>
                    <a:pt x="33" y="212"/>
                  </a:lnTo>
                  <a:lnTo>
                    <a:pt x="35" y="211"/>
                  </a:lnTo>
                  <a:lnTo>
                    <a:pt x="38" y="209"/>
                  </a:lnTo>
                  <a:lnTo>
                    <a:pt x="38" y="208"/>
                  </a:lnTo>
                  <a:lnTo>
                    <a:pt x="40" y="208"/>
                  </a:lnTo>
                  <a:lnTo>
                    <a:pt x="41" y="207"/>
                  </a:lnTo>
                  <a:lnTo>
                    <a:pt x="44" y="206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6" y="205"/>
                  </a:lnTo>
                  <a:lnTo>
                    <a:pt x="46" y="204"/>
                  </a:lnTo>
                  <a:lnTo>
                    <a:pt x="47" y="201"/>
                  </a:lnTo>
                  <a:lnTo>
                    <a:pt x="48" y="198"/>
                  </a:lnTo>
                  <a:lnTo>
                    <a:pt x="48" y="197"/>
                  </a:lnTo>
                  <a:lnTo>
                    <a:pt x="49" y="196"/>
                  </a:lnTo>
                  <a:lnTo>
                    <a:pt x="49" y="195"/>
                  </a:lnTo>
                  <a:lnTo>
                    <a:pt x="50" y="194"/>
                  </a:lnTo>
                  <a:lnTo>
                    <a:pt x="51" y="193"/>
                  </a:lnTo>
                  <a:lnTo>
                    <a:pt x="52" y="192"/>
                  </a:lnTo>
                  <a:lnTo>
                    <a:pt x="53" y="191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3" y="189"/>
                  </a:lnTo>
                  <a:lnTo>
                    <a:pt x="53" y="188"/>
                  </a:lnTo>
                  <a:lnTo>
                    <a:pt x="53" y="187"/>
                  </a:lnTo>
                  <a:lnTo>
                    <a:pt x="53" y="186"/>
                  </a:lnTo>
                  <a:lnTo>
                    <a:pt x="52" y="185"/>
                  </a:lnTo>
                  <a:lnTo>
                    <a:pt x="52" y="185"/>
                  </a:lnTo>
                  <a:lnTo>
                    <a:pt x="52" y="184"/>
                  </a:lnTo>
                  <a:lnTo>
                    <a:pt x="50" y="182"/>
                  </a:lnTo>
                  <a:lnTo>
                    <a:pt x="50" y="181"/>
                  </a:lnTo>
                  <a:lnTo>
                    <a:pt x="49" y="179"/>
                  </a:lnTo>
                  <a:lnTo>
                    <a:pt x="48" y="178"/>
                  </a:lnTo>
                  <a:lnTo>
                    <a:pt x="48" y="177"/>
                  </a:lnTo>
                  <a:lnTo>
                    <a:pt x="48" y="176"/>
                  </a:lnTo>
                  <a:lnTo>
                    <a:pt x="48" y="176"/>
                  </a:lnTo>
                  <a:lnTo>
                    <a:pt x="48" y="175"/>
                  </a:lnTo>
                  <a:lnTo>
                    <a:pt x="48" y="174"/>
                  </a:lnTo>
                  <a:lnTo>
                    <a:pt x="49" y="174"/>
                  </a:lnTo>
                  <a:lnTo>
                    <a:pt x="49" y="173"/>
                  </a:lnTo>
                  <a:lnTo>
                    <a:pt x="49" y="172"/>
                  </a:lnTo>
                  <a:lnTo>
                    <a:pt x="50" y="172"/>
                  </a:lnTo>
                  <a:lnTo>
                    <a:pt x="51" y="171"/>
                  </a:lnTo>
                  <a:lnTo>
                    <a:pt x="52" y="169"/>
                  </a:lnTo>
                  <a:lnTo>
                    <a:pt x="53" y="169"/>
                  </a:lnTo>
                  <a:lnTo>
                    <a:pt x="53" y="168"/>
                  </a:lnTo>
                  <a:lnTo>
                    <a:pt x="55" y="168"/>
                  </a:lnTo>
                  <a:lnTo>
                    <a:pt x="55" y="167"/>
                  </a:lnTo>
                  <a:lnTo>
                    <a:pt x="56" y="167"/>
                  </a:lnTo>
                  <a:lnTo>
                    <a:pt x="56" y="167"/>
                  </a:lnTo>
                  <a:lnTo>
                    <a:pt x="56" y="166"/>
                  </a:lnTo>
                  <a:lnTo>
                    <a:pt x="57" y="166"/>
                  </a:lnTo>
                  <a:lnTo>
                    <a:pt x="57" y="165"/>
                  </a:lnTo>
                  <a:lnTo>
                    <a:pt x="57" y="164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2"/>
                  </a:lnTo>
                  <a:lnTo>
                    <a:pt x="55" y="161"/>
                  </a:lnTo>
                  <a:lnTo>
                    <a:pt x="54" y="161"/>
                  </a:lnTo>
                  <a:lnTo>
                    <a:pt x="54" y="160"/>
                  </a:lnTo>
                  <a:lnTo>
                    <a:pt x="53" y="159"/>
                  </a:lnTo>
                  <a:lnTo>
                    <a:pt x="53" y="159"/>
                  </a:lnTo>
                  <a:lnTo>
                    <a:pt x="53" y="158"/>
                  </a:lnTo>
                  <a:lnTo>
                    <a:pt x="52" y="158"/>
                  </a:lnTo>
                  <a:lnTo>
                    <a:pt x="52" y="157"/>
                  </a:lnTo>
                  <a:lnTo>
                    <a:pt x="52" y="156"/>
                  </a:lnTo>
                  <a:lnTo>
                    <a:pt x="52" y="156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2" y="154"/>
                  </a:lnTo>
                  <a:lnTo>
                    <a:pt x="52" y="154"/>
                  </a:lnTo>
                  <a:lnTo>
                    <a:pt x="53" y="154"/>
                  </a:lnTo>
                  <a:lnTo>
                    <a:pt x="53" y="153"/>
                  </a:lnTo>
                  <a:lnTo>
                    <a:pt x="53" y="153"/>
                  </a:lnTo>
                  <a:lnTo>
                    <a:pt x="54" y="153"/>
                  </a:lnTo>
                  <a:lnTo>
                    <a:pt x="56" y="152"/>
                  </a:lnTo>
                  <a:lnTo>
                    <a:pt x="56" y="151"/>
                  </a:lnTo>
                  <a:lnTo>
                    <a:pt x="57" y="151"/>
                  </a:lnTo>
                  <a:lnTo>
                    <a:pt x="57" y="151"/>
                  </a:lnTo>
                  <a:lnTo>
                    <a:pt x="57" y="150"/>
                  </a:lnTo>
                  <a:lnTo>
                    <a:pt x="58" y="150"/>
                  </a:lnTo>
                  <a:lnTo>
                    <a:pt x="58" y="149"/>
                  </a:lnTo>
                  <a:lnTo>
                    <a:pt x="58" y="149"/>
                  </a:lnTo>
                  <a:lnTo>
                    <a:pt x="59" y="148"/>
                  </a:lnTo>
                  <a:lnTo>
                    <a:pt x="59" y="147"/>
                  </a:lnTo>
                  <a:lnTo>
                    <a:pt x="59" y="147"/>
                  </a:lnTo>
                  <a:lnTo>
                    <a:pt x="59" y="146"/>
                  </a:lnTo>
                  <a:lnTo>
                    <a:pt x="58" y="145"/>
                  </a:lnTo>
                  <a:lnTo>
                    <a:pt x="58" y="144"/>
                  </a:lnTo>
                  <a:lnTo>
                    <a:pt x="58" y="143"/>
                  </a:lnTo>
                  <a:lnTo>
                    <a:pt x="58" y="142"/>
                  </a:lnTo>
                  <a:lnTo>
                    <a:pt x="59" y="141"/>
                  </a:lnTo>
                  <a:lnTo>
                    <a:pt x="59" y="140"/>
                  </a:lnTo>
                  <a:lnTo>
                    <a:pt x="59" y="139"/>
                  </a:lnTo>
                  <a:lnTo>
                    <a:pt x="59" y="139"/>
                  </a:lnTo>
                  <a:lnTo>
                    <a:pt x="60" y="138"/>
                  </a:lnTo>
                  <a:lnTo>
                    <a:pt x="62" y="136"/>
                  </a:lnTo>
                  <a:lnTo>
                    <a:pt x="62" y="135"/>
                  </a:lnTo>
                  <a:lnTo>
                    <a:pt x="64" y="135"/>
                  </a:lnTo>
                  <a:lnTo>
                    <a:pt x="66" y="133"/>
                  </a:lnTo>
                  <a:lnTo>
                    <a:pt x="69" y="131"/>
                  </a:lnTo>
                  <a:lnTo>
                    <a:pt x="69" y="130"/>
                  </a:lnTo>
                  <a:lnTo>
                    <a:pt x="70" y="130"/>
                  </a:lnTo>
                  <a:lnTo>
                    <a:pt x="70" y="129"/>
                  </a:lnTo>
                  <a:lnTo>
                    <a:pt x="71" y="128"/>
                  </a:lnTo>
                  <a:lnTo>
                    <a:pt x="71" y="126"/>
                  </a:lnTo>
                  <a:lnTo>
                    <a:pt x="72" y="124"/>
                  </a:lnTo>
                  <a:lnTo>
                    <a:pt x="73" y="122"/>
                  </a:lnTo>
                  <a:lnTo>
                    <a:pt x="74" y="121"/>
                  </a:lnTo>
                  <a:lnTo>
                    <a:pt x="75" y="119"/>
                  </a:lnTo>
                  <a:lnTo>
                    <a:pt x="76" y="118"/>
                  </a:lnTo>
                  <a:lnTo>
                    <a:pt x="76" y="117"/>
                  </a:lnTo>
                  <a:lnTo>
                    <a:pt x="76" y="116"/>
                  </a:lnTo>
                  <a:lnTo>
                    <a:pt x="77" y="114"/>
                  </a:lnTo>
                  <a:lnTo>
                    <a:pt x="77" y="113"/>
                  </a:lnTo>
                  <a:lnTo>
                    <a:pt x="77" y="112"/>
                  </a:lnTo>
                  <a:lnTo>
                    <a:pt x="77" y="111"/>
                  </a:lnTo>
                  <a:lnTo>
                    <a:pt x="77" y="110"/>
                  </a:lnTo>
                  <a:lnTo>
                    <a:pt x="76" y="110"/>
                  </a:lnTo>
                  <a:lnTo>
                    <a:pt x="76" y="109"/>
                  </a:lnTo>
                  <a:lnTo>
                    <a:pt x="74" y="107"/>
                  </a:lnTo>
                  <a:lnTo>
                    <a:pt x="74" y="106"/>
                  </a:lnTo>
                  <a:lnTo>
                    <a:pt x="73" y="105"/>
                  </a:lnTo>
                  <a:lnTo>
                    <a:pt x="71" y="102"/>
                  </a:lnTo>
                  <a:lnTo>
                    <a:pt x="71" y="101"/>
                  </a:lnTo>
                  <a:lnTo>
                    <a:pt x="71" y="99"/>
                  </a:lnTo>
                  <a:lnTo>
                    <a:pt x="70" y="98"/>
                  </a:lnTo>
                  <a:lnTo>
                    <a:pt x="70" y="96"/>
                  </a:lnTo>
                  <a:lnTo>
                    <a:pt x="70" y="95"/>
                  </a:lnTo>
                  <a:lnTo>
                    <a:pt x="70" y="93"/>
                  </a:lnTo>
                  <a:lnTo>
                    <a:pt x="71" y="90"/>
                  </a:lnTo>
                  <a:lnTo>
                    <a:pt x="71" y="89"/>
                  </a:lnTo>
                  <a:lnTo>
                    <a:pt x="71" y="88"/>
                  </a:lnTo>
                  <a:lnTo>
                    <a:pt x="72" y="87"/>
                  </a:lnTo>
                  <a:lnTo>
                    <a:pt x="72" y="86"/>
                  </a:lnTo>
                  <a:lnTo>
                    <a:pt x="73" y="84"/>
                  </a:lnTo>
                  <a:lnTo>
                    <a:pt x="75" y="81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5" y="79"/>
                  </a:lnTo>
                  <a:lnTo>
                    <a:pt x="75" y="78"/>
                  </a:lnTo>
                  <a:lnTo>
                    <a:pt x="75" y="77"/>
                  </a:lnTo>
                  <a:lnTo>
                    <a:pt x="74" y="75"/>
                  </a:lnTo>
                  <a:lnTo>
                    <a:pt x="73" y="73"/>
                  </a:lnTo>
                  <a:lnTo>
                    <a:pt x="72" y="72"/>
                  </a:lnTo>
                  <a:lnTo>
                    <a:pt x="72" y="71"/>
                  </a:lnTo>
                  <a:lnTo>
                    <a:pt x="71" y="68"/>
                  </a:lnTo>
                  <a:lnTo>
                    <a:pt x="71" y="67"/>
                  </a:lnTo>
                  <a:lnTo>
                    <a:pt x="71" y="63"/>
                  </a:lnTo>
                  <a:lnTo>
                    <a:pt x="71" y="62"/>
                  </a:lnTo>
                  <a:lnTo>
                    <a:pt x="71" y="61"/>
                  </a:lnTo>
                  <a:lnTo>
                    <a:pt x="71" y="59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69" y="57"/>
                  </a:lnTo>
                  <a:lnTo>
                    <a:pt x="68" y="56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4"/>
                  </a:lnTo>
                  <a:lnTo>
                    <a:pt x="68" y="54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68" y="52"/>
                  </a:lnTo>
                  <a:lnTo>
                    <a:pt x="69" y="47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70" y="45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4" y="44"/>
                  </a:lnTo>
                  <a:lnTo>
                    <a:pt x="76" y="44"/>
                  </a:lnTo>
                  <a:lnTo>
                    <a:pt x="77" y="44"/>
                  </a:lnTo>
                  <a:lnTo>
                    <a:pt x="80" y="43"/>
                  </a:lnTo>
                  <a:lnTo>
                    <a:pt x="83" y="42"/>
                  </a:lnTo>
                  <a:lnTo>
                    <a:pt x="85" y="41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90" y="40"/>
                  </a:lnTo>
                  <a:lnTo>
                    <a:pt x="90" y="41"/>
                  </a:lnTo>
                  <a:lnTo>
                    <a:pt x="92" y="43"/>
                  </a:lnTo>
                  <a:lnTo>
                    <a:pt x="93" y="43"/>
                  </a:lnTo>
                  <a:lnTo>
                    <a:pt x="93" y="43"/>
                  </a:lnTo>
                  <a:lnTo>
                    <a:pt x="94" y="43"/>
                  </a:lnTo>
                  <a:lnTo>
                    <a:pt x="95" y="44"/>
                  </a:lnTo>
                  <a:lnTo>
                    <a:pt x="95" y="44"/>
                  </a:lnTo>
                  <a:lnTo>
                    <a:pt x="96" y="44"/>
                  </a:lnTo>
                  <a:lnTo>
                    <a:pt x="96" y="43"/>
                  </a:lnTo>
                  <a:lnTo>
                    <a:pt x="97" y="43"/>
                  </a:lnTo>
                  <a:lnTo>
                    <a:pt x="98" y="43"/>
                  </a:lnTo>
                  <a:lnTo>
                    <a:pt x="100" y="41"/>
                  </a:lnTo>
                  <a:lnTo>
                    <a:pt x="101" y="41"/>
                  </a:lnTo>
                  <a:lnTo>
                    <a:pt x="102" y="41"/>
                  </a:lnTo>
                  <a:lnTo>
                    <a:pt x="103" y="41"/>
                  </a:lnTo>
                  <a:lnTo>
                    <a:pt x="104" y="41"/>
                  </a:lnTo>
                  <a:lnTo>
                    <a:pt x="104" y="41"/>
                  </a:lnTo>
                  <a:lnTo>
                    <a:pt x="105" y="41"/>
                  </a:lnTo>
                  <a:lnTo>
                    <a:pt x="105" y="42"/>
                  </a:lnTo>
                  <a:lnTo>
                    <a:pt x="108" y="43"/>
                  </a:lnTo>
                  <a:lnTo>
                    <a:pt x="108" y="44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1" y="45"/>
                  </a:lnTo>
                  <a:lnTo>
                    <a:pt x="111" y="46"/>
                  </a:lnTo>
                  <a:lnTo>
                    <a:pt x="112" y="46"/>
                  </a:lnTo>
                  <a:lnTo>
                    <a:pt x="112" y="47"/>
                  </a:lnTo>
                  <a:lnTo>
                    <a:pt x="113" y="47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6" y="48"/>
                  </a:lnTo>
                  <a:lnTo>
                    <a:pt x="117" y="49"/>
                  </a:lnTo>
                  <a:lnTo>
                    <a:pt x="118" y="49"/>
                  </a:lnTo>
                  <a:lnTo>
                    <a:pt x="119" y="49"/>
                  </a:lnTo>
                  <a:lnTo>
                    <a:pt x="120" y="49"/>
                  </a:lnTo>
                  <a:lnTo>
                    <a:pt x="121" y="49"/>
                  </a:lnTo>
                  <a:lnTo>
                    <a:pt x="122" y="48"/>
                  </a:lnTo>
                  <a:lnTo>
                    <a:pt x="123" y="48"/>
                  </a:lnTo>
                  <a:lnTo>
                    <a:pt x="123" y="47"/>
                  </a:lnTo>
                  <a:lnTo>
                    <a:pt x="125" y="46"/>
                  </a:lnTo>
                  <a:lnTo>
                    <a:pt x="126" y="46"/>
                  </a:lnTo>
                  <a:lnTo>
                    <a:pt x="127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32" y="44"/>
                  </a:lnTo>
                  <a:lnTo>
                    <a:pt x="133" y="44"/>
                  </a:lnTo>
                  <a:lnTo>
                    <a:pt x="134" y="44"/>
                  </a:lnTo>
                  <a:lnTo>
                    <a:pt x="134" y="44"/>
                  </a:lnTo>
                  <a:lnTo>
                    <a:pt x="135" y="43"/>
                  </a:lnTo>
                  <a:lnTo>
                    <a:pt x="136" y="43"/>
                  </a:lnTo>
                  <a:lnTo>
                    <a:pt x="138" y="41"/>
                  </a:lnTo>
                  <a:lnTo>
                    <a:pt x="139" y="41"/>
                  </a:lnTo>
                  <a:lnTo>
                    <a:pt x="139" y="41"/>
                  </a:lnTo>
                  <a:lnTo>
                    <a:pt x="141" y="40"/>
                  </a:lnTo>
                  <a:lnTo>
                    <a:pt x="141" y="40"/>
                  </a:lnTo>
                  <a:lnTo>
                    <a:pt x="142" y="40"/>
                  </a:lnTo>
                  <a:lnTo>
                    <a:pt x="142" y="39"/>
                  </a:lnTo>
                  <a:lnTo>
                    <a:pt x="143" y="39"/>
                  </a:lnTo>
                  <a:lnTo>
                    <a:pt x="143" y="38"/>
                  </a:lnTo>
                  <a:lnTo>
                    <a:pt x="144" y="37"/>
                  </a:lnTo>
                  <a:lnTo>
                    <a:pt x="144" y="36"/>
                  </a:lnTo>
                  <a:lnTo>
                    <a:pt x="145" y="35"/>
                  </a:lnTo>
                  <a:lnTo>
                    <a:pt x="146" y="33"/>
                  </a:lnTo>
                  <a:lnTo>
                    <a:pt x="147" y="31"/>
                  </a:lnTo>
                  <a:lnTo>
                    <a:pt x="147" y="30"/>
                  </a:lnTo>
                  <a:lnTo>
                    <a:pt x="147" y="30"/>
                  </a:lnTo>
                  <a:lnTo>
                    <a:pt x="148" y="29"/>
                  </a:lnTo>
                  <a:lnTo>
                    <a:pt x="148" y="29"/>
                  </a:lnTo>
                  <a:lnTo>
                    <a:pt x="149" y="28"/>
                  </a:lnTo>
                  <a:lnTo>
                    <a:pt x="150" y="28"/>
                  </a:lnTo>
                  <a:lnTo>
                    <a:pt x="153" y="26"/>
                  </a:lnTo>
                  <a:lnTo>
                    <a:pt x="156" y="25"/>
                  </a:lnTo>
                  <a:lnTo>
                    <a:pt x="157" y="24"/>
                  </a:lnTo>
                  <a:lnTo>
                    <a:pt x="158" y="24"/>
                  </a:lnTo>
                  <a:lnTo>
                    <a:pt x="160" y="23"/>
                  </a:lnTo>
                  <a:lnTo>
                    <a:pt x="162" y="23"/>
                  </a:lnTo>
                  <a:lnTo>
                    <a:pt x="162" y="23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Freeform 12">
              <a:extLst>
                <a:ext uri="{FF2B5EF4-FFF2-40B4-BE49-F238E27FC236}">
                  <a16:creationId xmlns:a16="http://schemas.microsoft.com/office/drawing/2014/main" id="{5EF9D8DE-1D1D-84C1-FE53-CEA74FCA13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0" y="3533"/>
              <a:ext cx="462" cy="417"/>
            </a:xfrm>
            <a:custGeom>
              <a:avLst/>
              <a:gdLst>
                <a:gd name="T0" fmla="*/ 4 w 462"/>
                <a:gd name="T1" fmla="*/ 37 h 417"/>
                <a:gd name="T2" fmla="*/ 26 w 462"/>
                <a:gd name="T3" fmla="*/ 36 h 417"/>
                <a:gd name="T4" fmla="*/ 49 w 462"/>
                <a:gd name="T5" fmla="*/ 26 h 417"/>
                <a:gd name="T6" fmla="*/ 68 w 462"/>
                <a:gd name="T7" fmla="*/ 26 h 417"/>
                <a:gd name="T8" fmla="*/ 80 w 462"/>
                <a:gd name="T9" fmla="*/ 37 h 417"/>
                <a:gd name="T10" fmla="*/ 96 w 462"/>
                <a:gd name="T11" fmla="*/ 35 h 417"/>
                <a:gd name="T12" fmla="*/ 103 w 462"/>
                <a:gd name="T13" fmla="*/ 28 h 417"/>
                <a:gd name="T14" fmla="*/ 121 w 462"/>
                <a:gd name="T15" fmla="*/ 36 h 417"/>
                <a:gd name="T16" fmla="*/ 137 w 462"/>
                <a:gd name="T17" fmla="*/ 36 h 417"/>
                <a:gd name="T18" fmla="*/ 157 w 462"/>
                <a:gd name="T19" fmla="*/ 36 h 417"/>
                <a:gd name="T20" fmla="*/ 167 w 462"/>
                <a:gd name="T21" fmla="*/ 45 h 417"/>
                <a:gd name="T22" fmla="*/ 180 w 462"/>
                <a:gd name="T23" fmla="*/ 43 h 417"/>
                <a:gd name="T24" fmla="*/ 201 w 462"/>
                <a:gd name="T25" fmla="*/ 29 h 417"/>
                <a:gd name="T26" fmla="*/ 201 w 462"/>
                <a:gd name="T27" fmla="*/ 10 h 417"/>
                <a:gd name="T28" fmla="*/ 213 w 462"/>
                <a:gd name="T29" fmla="*/ 1 h 417"/>
                <a:gd name="T30" fmla="*/ 235 w 462"/>
                <a:gd name="T31" fmla="*/ 15 h 417"/>
                <a:gd name="T32" fmla="*/ 245 w 462"/>
                <a:gd name="T33" fmla="*/ 18 h 417"/>
                <a:gd name="T34" fmla="*/ 259 w 462"/>
                <a:gd name="T35" fmla="*/ 31 h 417"/>
                <a:gd name="T36" fmla="*/ 260 w 462"/>
                <a:gd name="T37" fmla="*/ 42 h 417"/>
                <a:gd name="T38" fmla="*/ 258 w 462"/>
                <a:gd name="T39" fmla="*/ 53 h 417"/>
                <a:gd name="T40" fmla="*/ 257 w 462"/>
                <a:gd name="T41" fmla="*/ 77 h 417"/>
                <a:gd name="T42" fmla="*/ 250 w 462"/>
                <a:gd name="T43" fmla="*/ 103 h 417"/>
                <a:gd name="T44" fmla="*/ 259 w 462"/>
                <a:gd name="T45" fmla="*/ 119 h 417"/>
                <a:gd name="T46" fmla="*/ 255 w 462"/>
                <a:gd name="T47" fmla="*/ 132 h 417"/>
                <a:gd name="T48" fmla="*/ 277 w 462"/>
                <a:gd name="T49" fmla="*/ 155 h 417"/>
                <a:gd name="T50" fmla="*/ 296 w 462"/>
                <a:gd name="T51" fmla="*/ 154 h 417"/>
                <a:gd name="T52" fmla="*/ 311 w 462"/>
                <a:gd name="T53" fmla="*/ 164 h 417"/>
                <a:gd name="T54" fmla="*/ 311 w 462"/>
                <a:gd name="T55" fmla="*/ 171 h 417"/>
                <a:gd name="T56" fmla="*/ 327 w 462"/>
                <a:gd name="T57" fmla="*/ 181 h 417"/>
                <a:gd name="T58" fmla="*/ 348 w 462"/>
                <a:gd name="T59" fmla="*/ 180 h 417"/>
                <a:gd name="T60" fmla="*/ 371 w 462"/>
                <a:gd name="T61" fmla="*/ 185 h 417"/>
                <a:gd name="T62" fmla="*/ 386 w 462"/>
                <a:gd name="T63" fmla="*/ 192 h 417"/>
                <a:gd name="T64" fmla="*/ 391 w 462"/>
                <a:gd name="T65" fmla="*/ 214 h 417"/>
                <a:gd name="T66" fmla="*/ 415 w 462"/>
                <a:gd name="T67" fmla="*/ 225 h 417"/>
                <a:gd name="T68" fmla="*/ 440 w 462"/>
                <a:gd name="T69" fmla="*/ 225 h 417"/>
                <a:gd name="T70" fmla="*/ 452 w 462"/>
                <a:gd name="T71" fmla="*/ 226 h 417"/>
                <a:gd name="T72" fmla="*/ 459 w 462"/>
                <a:gd name="T73" fmla="*/ 237 h 417"/>
                <a:gd name="T74" fmla="*/ 456 w 462"/>
                <a:gd name="T75" fmla="*/ 250 h 417"/>
                <a:gd name="T76" fmla="*/ 446 w 462"/>
                <a:gd name="T77" fmla="*/ 264 h 417"/>
                <a:gd name="T78" fmla="*/ 432 w 462"/>
                <a:gd name="T79" fmla="*/ 284 h 417"/>
                <a:gd name="T80" fmla="*/ 441 w 462"/>
                <a:gd name="T81" fmla="*/ 289 h 417"/>
                <a:gd name="T82" fmla="*/ 458 w 462"/>
                <a:gd name="T83" fmla="*/ 303 h 417"/>
                <a:gd name="T84" fmla="*/ 455 w 462"/>
                <a:gd name="T85" fmla="*/ 313 h 417"/>
                <a:gd name="T86" fmla="*/ 449 w 462"/>
                <a:gd name="T87" fmla="*/ 320 h 417"/>
                <a:gd name="T88" fmla="*/ 431 w 462"/>
                <a:gd name="T89" fmla="*/ 312 h 417"/>
                <a:gd name="T90" fmla="*/ 407 w 462"/>
                <a:gd name="T91" fmla="*/ 302 h 417"/>
                <a:gd name="T92" fmla="*/ 375 w 462"/>
                <a:gd name="T93" fmla="*/ 292 h 417"/>
                <a:gd name="T94" fmla="*/ 364 w 462"/>
                <a:gd name="T95" fmla="*/ 298 h 417"/>
                <a:gd name="T96" fmla="*/ 341 w 462"/>
                <a:gd name="T97" fmla="*/ 308 h 417"/>
                <a:gd name="T98" fmla="*/ 331 w 462"/>
                <a:gd name="T99" fmla="*/ 306 h 417"/>
                <a:gd name="T100" fmla="*/ 323 w 462"/>
                <a:gd name="T101" fmla="*/ 286 h 417"/>
                <a:gd name="T102" fmla="*/ 300 w 462"/>
                <a:gd name="T103" fmla="*/ 280 h 417"/>
                <a:gd name="T104" fmla="*/ 282 w 462"/>
                <a:gd name="T105" fmla="*/ 279 h 417"/>
                <a:gd name="T106" fmla="*/ 275 w 462"/>
                <a:gd name="T107" fmla="*/ 298 h 417"/>
                <a:gd name="T108" fmla="*/ 276 w 462"/>
                <a:gd name="T109" fmla="*/ 340 h 417"/>
                <a:gd name="T110" fmla="*/ 270 w 462"/>
                <a:gd name="T111" fmla="*/ 370 h 417"/>
                <a:gd name="T112" fmla="*/ 273 w 462"/>
                <a:gd name="T113" fmla="*/ 390 h 417"/>
                <a:gd name="T114" fmla="*/ 247 w 462"/>
                <a:gd name="T115" fmla="*/ 389 h 417"/>
                <a:gd name="T116" fmla="*/ 225 w 462"/>
                <a:gd name="T117" fmla="*/ 388 h 417"/>
                <a:gd name="T118" fmla="*/ 215 w 462"/>
                <a:gd name="T119" fmla="*/ 414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62" h="417">
                  <a:moveTo>
                    <a:pt x="0" y="23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5"/>
                  </a:lnTo>
                  <a:lnTo>
                    <a:pt x="1" y="29"/>
                  </a:lnTo>
                  <a:lnTo>
                    <a:pt x="1" y="31"/>
                  </a:lnTo>
                  <a:lnTo>
                    <a:pt x="1" y="32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4" y="37"/>
                  </a:lnTo>
                  <a:lnTo>
                    <a:pt x="5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8" y="38"/>
                  </a:lnTo>
                  <a:lnTo>
                    <a:pt x="9" y="37"/>
                  </a:lnTo>
                  <a:lnTo>
                    <a:pt x="10" y="37"/>
                  </a:lnTo>
                  <a:lnTo>
                    <a:pt x="11" y="37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4" y="37"/>
                  </a:lnTo>
                  <a:lnTo>
                    <a:pt x="16" y="37"/>
                  </a:lnTo>
                  <a:lnTo>
                    <a:pt x="17" y="37"/>
                  </a:lnTo>
                  <a:lnTo>
                    <a:pt x="19" y="36"/>
                  </a:lnTo>
                  <a:lnTo>
                    <a:pt x="20" y="36"/>
                  </a:lnTo>
                  <a:lnTo>
                    <a:pt x="21" y="36"/>
                  </a:lnTo>
                  <a:lnTo>
                    <a:pt x="25" y="36"/>
                  </a:lnTo>
                  <a:lnTo>
                    <a:pt x="26" y="36"/>
                  </a:lnTo>
                  <a:lnTo>
                    <a:pt x="34" y="36"/>
                  </a:lnTo>
                  <a:lnTo>
                    <a:pt x="37" y="35"/>
                  </a:lnTo>
                  <a:lnTo>
                    <a:pt x="39" y="35"/>
                  </a:lnTo>
                  <a:lnTo>
                    <a:pt x="40" y="35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5" y="34"/>
                  </a:lnTo>
                  <a:lnTo>
                    <a:pt x="45" y="32"/>
                  </a:lnTo>
                  <a:lnTo>
                    <a:pt x="46" y="31"/>
                  </a:lnTo>
                  <a:lnTo>
                    <a:pt x="47" y="30"/>
                  </a:lnTo>
                  <a:lnTo>
                    <a:pt x="48" y="28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50" y="25"/>
                  </a:lnTo>
                  <a:lnTo>
                    <a:pt x="50" y="24"/>
                  </a:lnTo>
                  <a:lnTo>
                    <a:pt x="51" y="24"/>
                  </a:lnTo>
                  <a:lnTo>
                    <a:pt x="52" y="24"/>
                  </a:lnTo>
                  <a:lnTo>
                    <a:pt x="55" y="23"/>
                  </a:lnTo>
                  <a:lnTo>
                    <a:pt x="57" y="22"/>
                  </a:lnTo>
                  <a:lnTo>
                    <a:pt x="58" y="22"/>
                  </a:lnTo>
                  <a:lnTo>
                    <a:pt x="59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1" y="22"/>
                  </a:lnTo>
                  <a:lnTo>
                    <a:pt x="63" y="23"/>
                  </a:lnTo>
                  <a:lnTo>
                    <a:pt x="64" y="23"/>
                  </a:lnTo>
                  <a:lnTo>
                    <a:pt x="65" y="24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8" y="26"/>
                  </a:lnTo>
                  <a:lnTo>
                    <a:pt x="69" y="28"/>
                  </a:lnTo>
                  <a:lnTo>
                    <a:pt x="69" y="28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3" y="30"/>
                  </a:lnTo>
                  <a:lnTo>
                    <a:pt x="74" y="31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7" y="33"/>
                  </a:lnTo>
                  <a:lnTo>
                    <a:pt x="78" y="33"/>
                  </a:lnTo>
                  <a:lnTo>
                    <a:pt x="79" y="34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80" y="37"/>
                  </a:lnTo>
                  <a:lnTo>
                    <a:pt x="80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2" y="39"/>
                  </a:lnTo>
                  <a:lnTo>
                    <a:pt x="83" y="39"/>
                  </a:lnTo>
                  <a:lnTo>
                    <a:pt x="85" y="39"/>
                  </a:lnTo>
                  <a:lnTo>
                    <a:pt x="86" y="39"/>
                  </a:lnTo>
                  <a:lnTo>
                    <a:pt x="87" y="39"/>
                  </a:lnTo>
                  <a:lnTo>
                    <a:pt x="88" y="39"/>
                  </a:lnTo>
                  <a:lnTo>
                    <a:pt x="90" y="39"/>
                  </a:lnTo>
                  <a:lnTo>
                    <a:pt x="90" y="38"/>
                  </a:lnTo>
                  <a:lnTo>
                    <a:pt x="91" y="38"/>
                  </a:lnTo>
                  <a:lnTo>
                    <a:pt x="91" y="38"/>
                  </a:lnTo>
                  <a:lnTo>
                    <a:pt x="94" y="36"/>
                  </a:lnTo>
                  <a:lnTo>
                    <a:pt x="95" y="35"/>
                  </a:lnTo>
                  <a:lnTo>
                    <a:pt x="96" y="35"/>
                  </a:lnTo>
                  <a:lnTo>
                    <a:pt x="97" y="34"/>
                  </a:lnTo>
                  <a:lnTo>
                    <a:pt x="98" y="34"/>
                  </a:lnTo>
                  <a:lnTo>
                    <a:pt x="99" y="34"/>
                  </a:lnTo>
                  <a:lnTo>
                    <a:pt x="100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3"/>
                  </a:lnTo>
                  <a:lnTo>
                    <a:pt x="103" y="33"/>
                  </a:lnTo>
                  <a:lnTo>
                    <a:pt x="103" y="32"/>
                  </a:lnTo>
                  <a:lnTo>
                    <a:pt x="103" y="30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5" y="28"/>
                  </a:lnTo>
                  <a:lnTo>
                    <a:pt x="106" y="28"/>
                  </a:lnTo>
                  <a:lnTo>
                    <a:pt x="108" y="30"/>
                  </a:lnTo>
                  <a:lnTo>
                    <a:pt x="109" y="30"/>
                  </a:lnTo>
                  <a:lnTo>
                    <a:pt x="110" y="31"/>
                  </a:lnTo>
                  <a:lnTo>
                    <a:pt x="112" y="31"/>
                  </a:lnTo>
                  <a:lnTo>
                    <a:pt x="113" y="32"/>
                  </a:lnTo>
                  <a:lnTo>
                    <a:pt x="114" y="32"/>
                  </a:lnTo>
                  <a:lnTo>
                    <a:pt x="117" y="35"/>
                  </a:lnTo>
                  <a:lnTo>
                    <a:pt x="118" y="35"/>
                  </a:lnTo>
                  <a:lnTo>
                    <a:pt x="119" y="36"/>
                  </a:lnTo>
                  <a:lnTo>
                    <a:pt x="120" y="36"/>
                  </a:lnTo>
                  <a:lnTo>
                    <a:pt x="120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2" y="36"/>
                  </a:lnTo>
                  <a:lnTo>
                    <a:pt x="123" y="35"/>
                  </a:lnTo>
                  <a:lnTo>
                    <a:pt x="124" y="34"/>
                  </a:lnTo>
                  <a:lnTo>
                    <a:pt x="125" y="34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7" y="33"/>
                  </a:lnTo>
                  <a:lnTo>
                    <a:pt x="128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2" y="34"/>
                  </a:lnTo>
                  <a:lnTo>
                    <a:pt x="133" y="34"/>
                  </a:lnTo>
                  <a:lnTo>
                    <a:pt x="133" y="34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7" y="36"/>
                  </a:lnTo>
                  <a:lnTo>
                    <a:pt x="138" y="36"/>
                  </a:lnTo>
                  <a:lnTo>
                    <a:pt x="140" y="36"/>
                  </a:lnTo>
                  <a:lnTo>
                    <a:pt x="144" y="37"/>
                  </a:lnTo>
                  <a:lnTo>
                    <a:pt x="145" y="37"/>
                  </a:lnTo>
                  <a:lnTo>
                    <a:pt x="147" y="37"/>
                  </a:lnTo>
                  <a:lnTo>
                    <a:pt x="148" y="37"/>
                  </a:lnTo>
                  <a:lnTo>
                    <a:pt x="149" y="37"/>
                  </a:lnTo>
                  <a:lnTo>
                    <a:pt x="151" y="36"/>
                  </a:lnTo>
                  <a:lnTo>
                    <a:pt x="152" y="36"/>
                  </a:lnTo>
                  <a:lnTo>
                    <a:pt x="154" y="36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7" y="35"/>
                  </a:lnTo>
                  <a:lnTo>
                    <a:pt x="157" y="36"/>
                  </a:lnTo>
                  <a:lnTo>
                    <a:pt x="157" y="36"/>
                  </a:lnTo>
                  <a:lnTo>
                    <a:pt x="157" y="37"/>
                  </a:lnTo>
                  <a:lnTo>
                    <a:pt x="156" y="40"/>
                  </a:lnTo>
                  <a:lnTo>
                    <a:pt x="156" y="40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7" y="42"/>
                  </a:lnTo>
                  <a:lnTo>
                    <a:pt x="157" y="42"/>
                  </a:lnTo>
                  <a:lnTo>
                    <a:pt x="158" y="42"/>
                  </a:lnTo>
                  <a:lnTo>
                    <a:pt x="158" y="43"/>
                  </a:lnTo>
                  <a:lnTo>
                    <a:pt x="159" y="43"/>
                  </a:lnTo>
                  <a:lnTo>
                    <a:pt x="159" y="43"/>
                  </a:lnTo>
                  <a:lnTo>
                    <a:pt x="161" y="43"/>
                  </a:lnTo>
                  <a:lnTo>
                    <a:pt x="163" y="44"/>
                  </a:lnTo>
                  <a:lnTo>
                    <a:pt x="164" y="44"/>
                  </a:lnTo>
                  <a:lnTo>
                    <a:pt x="166" y="44"/>
                  </a:lnTo>
                  <a:lnTo>
                    <a:pt x="167" y="45"/>
                  </a:lnTo>
                  <a:lnTo>
                    <a:pt x="169" y="45"/>
                  </a:lnTo>
                  <a:lnTo>
                    <a:pt x="170" y="46"/>
                  </a:lnTo>
                  <a:lnTo>
                    <a:pt x="171" y="46"/>
                  </a:lnTo>
                  <a:lnTo>
                    <a:pt x="173" y="48"/>
                  </a:lnTo>
                  <a:lnTo>
                    <a:pt x="173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6" y="48"/>
                  </a:lnTo>
                  <a:lnTo>
                    <a:pt x="176" y="47"/>
                  </a:lnTo>
                  <a:lnTo>
                    <a:pt x="177" y="47"/>
                  </a:lnTo>
                  <a:lnTo>
                    <a:pt x="178" y="45"/>
                  </a:lnTo>
                  <a:lnTo>
                    <a:pt x="179" y="44"/>
                  </a:lnTo>
                  <a:lnTo>
                    <a:pt x="180" y="43"/>
                  </a:lnTo>
                  <a:lnTo>
                    <a:pt x="181" y="41"/>
                  </a:lnTo>
                  <a:lnTo>
                    <a:pt x="182" y="40"/>
                  </a:lnTo>
                  <a:lnTo>
                    <a:pt x="185" y="38"/>
                  </a:lnTo>
                  <a:lnTo>
                    <a:pt x="187" y="36"/>
                  </a:lnTo>
                  <a:lnTo>
                    <a:pt x="189" y="35"/>
                  </a:lnTo>
                  <a:lnTo>
                    <a:pt x="190" y="34"/>
                  </a:lnTo>
                  <a:lnTo>
                    <a:pt x="191" y="34"/>
                  </a:lnTo>
                  <a:lnTo>
                    <a:pt x="192" y="34"/>
                  </a:lnTo>
                  <a:lnTo>
                    <a:pt x="195" y="33"/>
                  </a:lnTo>
                  <a:lnTo>
                    <a:pt x="196" y="32"/>
                  </a:lnTo>
                  <a:lnTo>
                    <a:pt x="197" y="32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1" y="29"/>
                  </a:lnTo>
                  <a:lnTo>
                    <a:pt x="201" y="28"/>
                  </a:lnTo>
                  <a:lnTo>
                    <a:pt x="201" y="28"/>
                  </a:lnTo>
                  <a:lnTo>
                    <a:pt x="201" y="27"/>
                  </a:lnTo>
                  <a:lnTo>
                    <a:pt x="200" y="25"/>
                  </a:lnTo>
                  <a:lnTo>
                    <a:pt x="200" y="23"/>
                  </a:lnTo>
                  <a:lnTo>
                    <a:pt x="199" y="21"/>
                  </a:lnTo>
                  <a:lnTo>
                    <a:pt x="199" y="20"/>
                  </a:lnTo>
                  <a:lnTo>
                    <a:pt x="199" y="20"/>
                  </a:lnTo>
                  <a:lnTo>
                    <a:pt x="199" y="18"/>
                  </a:lnTo>
                  <a:lnTo>
                    <a:pt x="199" y="17"/>
                  </a:lnTo>
                  <a:lnTo>
                    <a:pt x="200" y="15"/>
                  </a:lnTo>
                  <a:lnTo>
                    <a:pt x="200" y="14"/>
                  </a:lnTo>
                  <a:lnTo>
                    <a:pt x="200" y="13"/>
                  </a:lnTo>
                  <a:lnTo>
                    <a:pt x="200" y="11"/>
                  </a:lnTo>
                  <a:lnTo>
                    <a:pt x="200" y="11"/>
                  </a:lnTo>
                  <a:lnTo>
                    <a:pt x="200" y="10"/>
                  </a:lnTo>
                  <a:lnTo>
                    <a:pt x="201" y="10"/>
                  </a:lnTo>
                  <a:lnTo>
                    <a:pt x="201" y="9"/>
                  </a:lnTo>
                  <a:lnTo>
                    <a:pt x="202" y="9"/>
                  </a:lnTo>
                  <a:lnTo>
                    <a:pt x="203" y="8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4" y="5"/>
                  </a:lnTo>
                  <a:lnTo>
                    <a:pt x="205" y="5"/>
                  </a:lnTo>
                  <a:lnTo>
                    <a:pt x="205" y="4"/>
                  </a:lnTo>
                  <a:lnTo>
                    <a:pt x="206" y="3"/>
                  </a:lnTo>
                  <a:lnTo>
                    <a:pt x="208" y="2"/>
                  </a:lnTo>
                  <a:lnTo>
                    <a:pt x="210" y="1"/>
                  </a:lnTo>
                  <a:lnTo>
                    <a:pt x="210" y="1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2" y="0"/>
                  </a:lnTo>
                  <a:lnTo>
                    <a:pt x="213" y="1"/>
                  </a:lnTo>
                  <a:lnTo>
                    <a:pt x="214" y="1"/>
                  </a:lnTo>
                  <a:lnTo>
                    <a:pt x="216" y="3"/>
                  </a:lnTo>
                  <a:lnTo>
                    <a:pt x="217" y="3"/>
                  </a:lnTo>
                  <a:lnTo>
                    <a:pt x="218" y="4"/>
                  </a:lnTo>
                  <a:lnTo>
                    <a:pt x="222" y="6"/>
                  </a:lnTo>
                  <a:lnTo>
                    <a:pt x="223" y="7"/>
                  </a:lnTo>
                  <a:lnTo>
                    <a:pt x="224" y="7"/>
                  </a:lnTo>
                  <a:lnTo>
                    <a:pt x="225" y="8"/>
                  </a:lnTo>
                  <a:lnTo>
                    <a:pt x="226" y="9"/>
                  </a:lnTo>
                  <a:lnTo>
                    <a:pt x="229" y="11"/>
                  </a:lnTo>
                  <a:lnTo>
                    <a:pt x="231" y="13"/>
                  </a:lnTo>
                  <a:lnTo>
                    <a:pt x="232" y="13"/>
                  </a:lnTo>
                  <a:lnTo>
                    <a:pt x="233" y="14"/>
                  </a:lnTo>
                  <a:lnTo>
                    <a:pt x="234" y="15"/>
                  </a:lnTo>
                  <a:lnTo>
                    <a:pt x="234" y="15"/>
                  </a:lnTo>
                  <a:lnTo>
                    <a:pt x="235" y="15"/>
                  </a:lnTo>
                  <a:lnTo>
                    <a:pt x="235" y="15"/>
                  </a:lnTo>
                  <a:lnTo>
                    <a:pt x="236" y="15"/>
                  </a:lnTo>
                  <a:lnTo>
                    <a:pt x="236" y="15"/>
                  </a:lnTo>
                  <a:lnTo>
                    <a:pt x="237" y="15"/>
                  </a:lnTo>
                  <a:lnTo>
                    <a:pt x="238" y="14"/>
                  </a:lnTo>
                  <a:lnTo>
                    <a:pt x="239" y="14"/>
                  </a:lnTo>
                  <a:lnTo>
                    <a:pt x="240" y="13"/>
                  </a:lnTo>
                  <a:lnTo>
                    <a:pt x="241" y="13"/>
                  </a:lnTo>
                  <a:lnTo>
                    <a:pt x="241" y="13"/>
                  </a:lnTo>
                  <a:lnTo>
                    <a:pt x="242" y="13"/>
                  </a:lnTo>
                  <a:lnTo>
                    <a:pt x="242" y="13"/>
                  </a:lnTo>
                  <a:lnTo>
                    <a:pt x="243" y="13"/>
                  </a:lnTo>
                  <a:lnTo>
                    <a:pt x="243" y="13"/>
                  </a:lnTo>
                  <a:lnTo>
                    <a:pt x="243" y="14"/>
                  </a:lnTo>
                  <a:lnTo>
                    <a:pt x="243" y="14"/>
                  </a:lnTo>
                  <a:lnTo>
                    <a:pt x="244" y="15"/>
                  </a:lnTo>
                  <a:lnTo>
                    <a:pt x="244" y="17"/>
                  </a:lnTo>
                  <a:lnTo>
                    <a:pt x="245" y="18"/>
                  </a:lnTo>
                  <a:lnTo>
                    <a:pt x="246" y="20"/>
                  </a:lnTo>
                  <a:lnTo>
                    <a:pt x="247" y="23"/>
                  </a:lnTo>
                  <a:lnTo>
                    <a:pt x="248" y="25"/>
                  </a:lnTo>
                  <a:lnTo>
                    <a:pt x="249" y="27"/>
                  </a:lnTo>
                  <a:lnTo>
                    <a:pt x="250" y="28"/>
                  </a:lnTo>
                  <a:lnTo>
                    <a:pt x="251" y="28"/>
                  </a:lnTo>
                  <a:lnTo>
                    <a:pt x="251" y="29"/>
                  </a:lnTo>
                  <a:lnTo>
                    <a:pt x="252" y="30"/>
                  </a:lnTo>
                  <a:lnTo>
                    <a:pt x="253" y="30"/>
                  </a:lnTo>
                  <a:lnTo>
                    <a:pt x="253" y="30"/>
                  </a:lnTo>
                  <a:lnTo>
                    <a:pt x="255" y="31"/>
                  </a:lnTo>
                  <a:lnTo>
                    <a:pt x="255" y="31"/>
                  </a:lnTo>
                  <a:lnTo>
                    <a:pt x="256" y="31"/>
                  </a:lnTo>
                  <a:lnTo>
                    <a:pt x="257" y="31"/>
                  </a:lnTo>
                  <a:lnTo>
                    <a:pt x="257" y="31"/>
                  </a:lnTo>
                  <a:lnTo>
                    <a:pt x="258" y="31"/>
                  </a:lnTo>
                  <a:lnTo>
                    <a:pt x="259" y="31"/>
                  </a:lnTo>
                  <a:lnTo>
                    <a:pt x="259" y="31"/>
                  </a:lnTo>
                  <a:lnTo>
                    <a:pt x="260" y="31"/>
                  </a:lnTo>
                  <a:lnTo>
                    <a:pt x="261" y="30"/>
                  </a:lnTo>
                  <a:lnTo>
                    <a:pt x="261" y="30"/>
                  </a:lnTo>
                  <a:lnTo>
                    <a:pt x="261" y="30"/>
                  </a:lnTo>
                  <a:lnTo>
                    <a:pt x="261" y="31"/>
                  </a:lnTo>
                  <a:lnTo>
                    <a:pt x="262" y="35"/>
                  </a:lnTo>
                  <a:lnTo>
                    <a:pt x="262" y="36"/>
                  </a:lnTo>
                  <a:lnTo>
                    <a:pt x="262" y="37"/>
                  </a:lnTo>
                  <a:lnTo>
                    <a:pt x="262" y="38"/>
                  </a:lnTo>
                  <a:lnTo>
                    <a:pt x="262" y="39"/>
                  </a:lnTo>
                  <a:lnTo>
                    <a:pt x="262" y="39"/>
                  </a:lnTo>
                  <a:lnTo>
                    <a:pt x="262" y="40"/>
                  </a:lnTo>
                  <a:lnTo>
                    <a:pt x="261" y="40"/>
                  </a:lnTo>
                  <a:lnTo>
                    <a:pt x="261" y="41"/>
                  </a:lnTo>
                  <a:lnTo>
                    <a:pt x="260" y="41"/>
                  </a:lnTo>
                  <a:lnTo>
                    <a:pt x="260" y="42"/>
                  </a:lnTo>
                  <a:lnTo>
                    <a:pt x="259" y="42"/>
                  </a:lnTo>
                  <a:lnTo>
                    <a:pt x="258" y="43"/>
                  </a:lnTo>
                  <a:lnTo>
                    <a:pt x="257" y="43"/>
                  </a:lnTo>
                  <a:lnTo>
                    <a:pt x="256" y="43"/>
                  </a:lnTo>
                  <a:lnTo>
                    <a:pt x="256" y="44"/>
                  </a:lnTo>
                  <a:lnTo>
                    <a:pt x="255" y="44"/>
                  </a:lnTo>
                  <a:lnTo>
                    <a:pt x="255" y="44"/>
                  </a:lnTo>
                  <a:lnTo>
                    <a:pt x="255" y="45"/>
                  </a:lnTo>
                  <a:lnTo>
                    <a:pt x="255" y="45"/>
                  </a:lnTo>
                  <a:lnTo>
                    <a:pt x="255" y="46"/>
                  </a:lnTo>
                  <a:lnTo>
                    <a:pt x="255" y="46"/>
                  </a:lnTo>
                  <a:lnTo>
                    <a:pt x="255" y="47"/>
                  </a:lnTo>
                  <a:lnTo>
                    <a:pt x="255" y="47"/>
                  </a:lnTo>
                  <a:lnTo>
                    <a:pt x="255" y="48"/>
                  </a:lnTo>
                  <a:lnTo>
                    <a:pt x="257" y="51"/>
                  </a:lnTo>
                  <a:lnTo>
                    <a:pt x="258" y="52"/>
                  </a:lnTo>
                  <a:lnTo>
                    <a:pt x="258" y="53"/>
                  </a:lnTo>
                  <a:lnTo>
                    <a:pt x="258" y="54"/>
                  </a:lnTo>
                  <a:lnTo>
                    <a:pt x="259" y="55"/>
                  </a:lnTo>
                  <a:lnTo>
                    <a:pt x="259" y="56"/>
                  </a:lnTo>
                  <a:lnTo>
                    <a:pt x="259" y="57"/>
                  </a:lnTo>
                  <a:lnTo>
                    <a:pt x="259" y="59"/>
                  </a:lnTo>
                  <a:lnTo>
                    <a:pt x="259" y="60"/>
                  </a:lnTo>
                  <a:lnTo>
                    <a:pt x="259" y="61"/>
                  </a:lnTo>
                  <a:lnTo>
                    <a:pt x="259" y="64"/>
                  </a:lnTo>
                  <a:lnTo>
                    <a:pt x="259" y="65"/>
                  </a:lnTo>
                  <a:lnTo>
                    <a:pt x="259" y="66"/>
                  </a:lnTo>
                  <a:lnTo>
                    <a:pt x="259" y="68"/>
                  </a:lnTo>
                  <a:lnTo>
                    <a:pt x="259" y="69"/>
                  </a:lnTo>
                  <a:lnTo>
                    <a:pt x="259" y="71"/>
                  </a:lnTo>
                  <a:lnTo>
                    <a:pt x="258" y="72"/>
                  </a:lnTo>
                  <a:lnTo>
                    <a:pt x="258" y="73"/>
                  </a:lnTo>
                  <a:lnTo>
                    <a:pt x="258" y="75"/>
                  </a:lnTo>
                  <a:lnTo>
                    <a:pt x="257" y="77"/>
                  </a:lnTo>
                  <a:lnTo>
                    <a:pt x="256" y="80"/>
                  </a:lnTo>
                  <a:lnTo>
                    <a:pt x="255" y="83"/>
                  </a:lnTo>
                  <a:lnTo>
                    <a:pt x="254" y="85"/>
                  </a:lnTo>
                  <a:lnTo>
                    <a:pt x="253" y="86"/>
                  </a:lnTo>
                  <a:lnTo>
                    <a:pt x="253" y="87"/>
                  </a:lnTo>
                  <a:lnTo>
                    <a:pt x="253" y="88"/>
                  </a:lnTo>
                  <a:lnTo>
                    <a:pt x="253" y="88"/>
                  </a:lnTo>
                  <a:lnTo>
                    <a:pt x="254" y="89"/>
                  </a:lnTo>
                  <a:lnTo>
                    <a:pt x="254" y="89"/>
                  </a:lnTo>
                  <a:lnTo>
                    <a:pt x="254" y="90"/>
                  </a:lnTo>
                  <a:lnTo>
                    <a:pt x="254" y="90"/>
                  </a:lnTo>
                  <a:lnTo>
                    <a:pt x="253" y="94"/>
                  </a:lnTo>
                  <a:lnTo>
                    <a:pt x="252" y="97"/>
                  </a:lnTo>
                  <a:lnTo>
                    <a:pt x="252" y="98"/>
                  </a:lnTo>
                  <a:lnTo>
                    <a:pt x="251" y="100"/>
                  </a:lnTo>
                  <a:lnTo>
                    <a:pt x="250" y="102"/>
                  </a:lnTo>
                  <a:lnTo>
                    <a:pt x="250" y="103"/>
                  </a:lnTo>
                  <a:lnTo>
                    <a:pt x="250" y="105"/>
                  </a:lnTo>
                  <a:lnTo>
                    <a:pt x="250" y="106"/>
                  </a:lnTo>
                  <a:lnTo>
                    <a:pt x="250" y="106"/>
                  </a:lnTo>
                  <a:lnTo>
                    <a:pt x="250" y="107"/>
                  </a:lnTo>
                  <a:lnTo>
                    <a:pt x="250" y="108"/>
                  </a:lnTo>
                  <a:lnTo>
                    <a:pt x="250" y="109"/>
                  </a:lnTo>
                  <a:lnTo>
                    <a:pt x="250" y="110"/>
                  </a:lnTo>
                  <a:lnTo>
                    <a:pt x="251" y="111"/>
                  </a:lnTo>
                  <a:lnTo>
                    <a:pt x="252" y="112"/>
                  </a:lnTo>
                  <a:lnTo>
                    <a:pt x="253" y="113"/>
                  </a:lnTo>
                  <a:lnTo>
                    <a:pt x="254" y="113"/>
                  </a:lnTo>
                  <a:lnTo>
                    <a:pt x="256" y="115"/>
                  </a:lnTo>
                  <a:lnTo>
                    <a:pt x="257" y="116"/>
                  </a:lnTo>
                  <a:lnTo>
                    <a:pt x="257" y="117"/>
                  </a:lnTo>
                  <a:lnTo>
                    <a:pt x="258" y="117"/>
                  </a:lnTo>
                  <a:lnTo>
                    <a:pt x="258" y="118"/>
                  </a:lnTo>
                  <a:lnTo>
                    <a:pt x="259" y="119"/>
                  </a:lnTo>
                  <a:lnTo>
                    <a:pt x="259" y="120"/>
                  </a:lnTo>
                  <a:lnTo>
                    <a:pt x="259" y="120"/>
                  </a:lnTo>
                  <a:lnTo>
                    <a:pt x="259" y="121"/>
                  </a:lnTo>
                  <a:lnTo>
                    <a:pt x="259" y="121"/>
                  </a:lnTo>
                  <a:lnTo>
                    <a:pt x="259" y="122"/>
                  </a:lnTo>
                  <a:lnTo>
                    <a:pt x="259" y="122"/>
                  </a:lnTo>
                  <a:lnTo>
                    <a:pt x="258" y="124"/>
                  </a:lnTo>
                  <a:lnTo>
                    <a:pt x="257" y="125"/>
                  </a:lnTo>
                  <a:lnTo>
                    <a:pt x="256" y="126"/>
                  </a:lnTo>
                  <a:lnTo>
                    <a:pt x="255" y="127"/>
                  </a:lnTo>
                  <a:lnTo>
                    <a:pt x="255" y="128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5" y="130"/>
                  </a:lnTo>
                  <a:lnTo>
                    <a:pt x="255" y="131"/>
                  </a:lnTo>
                  <a:lnTo>
                    <a:pt x="255" y="131"/>
                  </a:lnTo>
                  <a:lnTo>
                    <a:pt x="255" y="132"/>
                  </a:lnTo>
                  <a:lnTo>
                    <a:pt x="255" y="133"/>
                  </a:lnTo>
                  <a:lnTo>
                    <a:pt x="256" y="134"/>
                  </a:lnTo>
                  <a:lnTo>
                    <a:pt x="258" y="137"/>
                  </a:lnTo>
                  <a:lnTo>
                    <a:pt x="260" y="140"/>
                  </a:lnTo>
                  <a:lnTo>
                    <a:pt x="261" y="140"/>
                  </a:lnTo>
                  <a:lnTo>
                    <a:pt x="261" y="141"/>
                  </a:lnTo>
                  <a:lnTo>
                    <a:pt x="265" y="144"/>
                  </a:lnTo>
                  <a:lnTo>
                    <a:pt x="265" y="145"/>
                  </a:lnTo>
                  <a:lnTo>
                    <a:pt x="267" y="147"/>
                  </a:lnTo>
                  <a:lnTo>
                    <a:pt x="268" y="149"/>
                  </a:lnTo>
                  <a:lnTo>
                    <a:pt x="271" y="151"/>
                  </a:lnTo>
                  <a:lnTo>
                    <a:pt x="273" y="153"/>
                  </a:lnTo>
                  <a:lnTo>
                    <a:pt x="274" y="154"/>
                  </a:lnTo>
                  <a:lnTo>
                    <a:pt x="275" y="154"/>
                  </a:lnTo>
                  <a:lnTo>
                    <a:pt x="275" y="154"/>
                  </a:lnTo>
                  <a:lnTo>
                    <a:pt x="276" y="154"/>
                  </a:lnTo>
                  <a:lnTo>
                    <a:pt x="277" y="155"/>
                  </a:lnTo>
                  <a:lnTo>
                    <a:pt x="278" y="155"/>
                  </a:lnTo>
                  <a:lnTo>
                    <a:pt x="279" y="154"/>
                  </a:lnTo>
                  <a:lnTo>
                    <a:pt x="280" y="154"/>
                  </a:lnTo>
                  <a:lnTo>
                    <a:pt x="281" y="154"/>
                  </a:lnTo>
                  <a:lnTo>
                    <a:pt x="285" y="152"/>
                  </a:lnTo>
                  <a:lnTo>
                    <a:pt x="286" y="151"/>
                  </a:lnTo>
                  <a:lnTo>
                    <a:pt x="287" y="151"/>
                  </a:lnTo>
                  <a:lnTo>
                    <a:pt x="288" y="150"/>
                  </a:lnTo>
                  <a:lnTo>
                    <a:pt x="289" y="150"/>
                  </a:lnTo>
                  <a:lnTo>
                    <a:pt x="290" y="150"/>
                  </a:lnTo>
                  <a:lnTo>
                    <a:pt x="291" y="150"/>
                  </a:lnTo>
                  <a:lnTo>
                    <a:pt x="291" y="150"/>
                  </a:lnTo>
                  <a:lnTo>
                    <a:pt x="292" y="151"/>
                  </a:lnTo>
                  <a:lnTo>
                    <a:pt x="293" y="151"/>
                  </a:lnTo>
                  <a:lnTo>
                    <a:pt x="294" y="151"/>
                  </a:lnTo>
                  <a:lnTo>
                    <a:pt x="294" y="152"/>
                  </a:lnTo>
                  <a:lnTo>
                    <a:pt x="296" y="154"/>
                  </a:lnTo>
                  <a:lnTo>
                    <a:pt x="298" y="155"/>
                  </a:lnTo>
                  <a:lnTo>
                    <a:pt x="299" y="156"/>
                  </a:lnTo>
                  <a:lnTo>
                    <a:pt x="301" y="156"/>
                  </a:lnTo>
                  <a:lnTo>
                    <a:pt x="301" y="157"/>
                  </a:lnTo>
                  <a:lnTo>
                    <a:pt x="302" y="157"/>
                  </a:lnTo>
                  <a:lnTo>
                    <a:pt x="306" y="159"/>
                  </a:lnTo>
                  <a:lnTo>
                    <a:pt x="307" y="159"/>
                  </a:lnTo>
                  <a:lnTo>
                    <a:pt x="309" y="160"/>
                  </a:lnTo>
                  <a:lnTo>
                    <a:pt x="310" y="160"/>
                  </a:lnTo>
                  <a:lnTo>
                    <a:pt x="310" y="160"/>
                  </a:lnTo>
                  <a:lnTo>
                    <a:pt x="311" y="161"/>
                  </a:lnTo>
                  <a:lnTo>
                    <a:pt x="311" y="161"/>
                  </a:lnTo>
                  <a:lnTo>
                    <a:pt x="311" y="162"/>
                  </a:lnTo>
                  <a:lnTo>
                    <a:pt x="311" y="162"/>
                  </a:lnTo>
                  <a:lnTo>
                    <a:pt x="311" y="163"/>
                  </a:lnTo>
                  <a:lnTo>
                    <a:pt x="311" y="163"/>
                  </a:lnTo>
                  <a:lnTo>
                    <a:pt x="311" y="164"/>
                  </a:lnTo>
                  <a:lnTo>
                    <a:pt x="311" y="165"/>
                  </a:lnTo>
                  <a:lnTo>
                    <a:pt x="311" y="166"/>
                  </a:lnTo>
                  <a:lnTo>
                    <a:pt x="311" y="166"/>
                  </a:lnTo>
                  <a:lnTo>
                    <a:pt x="311" y="167"/>
                  </a:lnTo>
                  <a:lnTo>
                    <a:pt x="310" y="167"/>
                  </a:lnTo>
                  <a:lnTo>
                    <a:pt x="310" y="167"/>
                  </a:lnTo>
                  <a:lnTo>
                    <a:pt x="309" y="168"/>
                  </a:lnTo>
                  <a:lnTo>
                    <a:pt x="308" y="168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70"/>
                  </a:lnTo>
                  <a:lnTo>
                    <a:pt x="309" y="170"/>
                  </a:lnTo>
                  <a:lnTo>
                    <a:pt x="310" y="170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2" y="171"/>
                  </a:lnTo>
                  <a:lnTo>
                    <a:pt x="315" y="171"/>
                  </a:lnTo>
                  <a:lnTo>
                    <a:pt x="316" y="171"/>
                  </a:lnTo>
                  <a:lnTo>
                    <a:pt x="316" y="172"/>
                  </a:lnTo>
                  <a:lnTo>
                    <a:pt x="317" y="172"/>
                  </a:lnTo>
                  <a:lnTo>
                    <a:pt x="318" y="172"/>
                  </a:lnTo>
                  <a:lnTo>
                    <a:pt x="318" y="172"/>
                  </a:lnTo>
                  <a:lnTo>
                    <a:pt x="319" y="173"/>
                  </a:lnTo>
                  <a:lnTo>
                    <a:pt x="320" y="173"/>
                  </a:lnTo>
                  <a:lnTo>
                    <a:pt x="321" y="175"/>
                  </a:lnTo>
                  <a:lnTo>
                    <a:pt x="322" y="176"/>
                  </a:lnTo>
                  <a:lnTo>
                    <a:pt x="324" y="178"/>
                  </a:lnTo>
                  <a:lnTo>
                    <a:pt x="325" y="179"/>
                  </a:lnTo>
                  <a:lnTo>
                    <a:pt x="325" y="180"/>
                  </a:lnTo>
                  <a:lnTo>
                    <a:pt x="325" y="180"/>
                  </a:lnTo>
                  <a:lnTo>
                    <a:pt x="326" y="180"/>
                  </a:lnTo>
                  <a:lnTo>
                    <a:pt x="327" y="181"/>
                  </a:lnTo>
                  <a:lnTo>
                    <a:pt x="328" y="181"/>
                  </a:lnTo>
                  <a:lnTo>
                    <a:pt x="329" y="181"/>
                  </a:lnTo>
                  <a:lnTo>
                    <a:pt x="330" y="182"/>
                  </a:lnTo>
                  <a:lnTo>
                    <a:pt x="331" y="182"/>
                  </a:lnTo>
                  <a:lnTo>
                    <a:pt x="332" y="181"/>
                  </a:lnTo>
                  <a:lnTo>
                    <a:pt x="333" y="181"/>
                  </a:lnTo>
                  <a:lnTo>
                    <a:pt x="334" y="181"/>
                  </a:lnTo>
                  <a:lnTo>
                    <a:pt x="335" y="180"/>
                  </a:lnTo>
                  <a:lnTo>
                    <a:pt x="338" y="179"/>
                  </a:lnTo>
                  <a:lnTo>
                    <a:pt x="339" y="179"/>
                  </a:lnTo>
                  <a:lnTo>
                    <a:pt x="340" y="178"/>
                  </a:lnTo>
                  <a:lnTo>
                    <a:pt x="340" y="178"/>
                  </a:lnTo>
                  <a:lnTo>
                    <a:pt x="341" y="178"/>
                  </a:lnTo>
                  <a:lnTo>
                    <a:pt x="341" y="178"/>
                  </a:lnTo>
                  <a:lnTo>
                    <a:pt x="342" y="178"/>
                  </a:lnTo>
                  <a:lnTo>
                    <a:pt x="343" y="178"/>
                  </a:lnTo>
                  <a:lnTo>
                    <a:pt x="348" y="180"/>
                  </a:lnTo>
                  <a:lnTo>
                    <a:pt x="351" y="181"/>
                  </a:lnTo>
                  <a:lnTo>
                    <a:pt x="354" y="182"/>
                  </a:lnTo>
                  <a:lnTo>
                    <a:pt x="355" y="182"/>
                  </a:lnTo>
                  <a:lnTo>
                    <a:pt x="356" y="183"/>
                  </a:lnTo>
                  <a:lnTo>
                    <a:pt x="357" y="184"/>
                  </a:lnTo>
                  <a:lnTo>
                    <a:pt x="357" y="184"/>
                  </a:lnTo>
                  <a:lnTo>
                    <a:pt x="359" y="185"/>
                  </a:lnTo>
                  <a:lnTo>
                    <a:pt x="359" y="186"/>
                  </a:lnTo>
                  <a:lnTo>
                    <a:pt x="359" y="186"/>
                  </a:lnTo>
                  <a:lnTo>
                    <a:pt x="360" y="186"/>
                  </a:lnTo>
                  <a:lnTo>
                    <a:pt x="361" y="186"/>
                  </a:lnTo>
                  <a:lnTo>
                    <a:pt x="361" y="186"/>
                  </a:lnTo>
                  <a:lnTo>
                    <a:pt x="365" y="186"/>
                  </a:lnTo>
                  <a:lnTo>
                    <a:pt x="366" y="185"/>
                  </a:lnTo>
                  <a:lnTo>
                    <a:pt x="369" y="185"/>
                  </a:lnTo>
                  <a:lnTo>
                    <a:pt x="370" y="185"/>
                  </a:lnTo>
                  <a:lnTo>
                    <a:pt x="371" y="185"/>
                  </a:lnTo>
                  <a:lnTo>
                    <a:pt x="374" y="184"/>
                  </a:lnTo>
                  <a:lnTo>
                    <a:pt x="377" y="184"/>
                  </a:lnTo>
                  <a:lnTo>
                    <a:pt x="378" y="184"/>
                  </a:lnTo>
                  <a:lnTo>
                    <a:pt x="379" y="184"/>
                  </a:lnTo>
                  <a:lnTo>
                    <a:pt x="380" y="184"/>
                  </a:lnTo>
                  <a:lnTo>
                    <a:pt x="381" y="184"/>
                  </a:lnTo>
                  <a:lnTo>
                    <a:pt x="382" y="184"/>
                  </a:lnTo>
                  <a:lnTo>
                    <a:pt x="382" y="185"/>
                  </a:lnTo>
                  <a:lnTo>
                    <a:pt x="383" y="185"/>
                  </a:lnTo>
                  <a:lnTo>
                    <a:pt x="383" y="185"/>
                  </a:lnTo>
                  <a:lnTo>
                    <a:pt x="384" y="186"/>
                  </a:lnTo>
                  <a:lnTo>
                    <a:pt x="384" y="186"/>
                  </a:lnTo>
                  <a:lnTo>
                    <a:pt x="385" y="187"/>
                  </a:lnTo>
                  <a:lnTo>
                    <a:pt x="385" y="188"/>
                  </a:lnTo>
                  <a:lnTo>
                    <a:pt x="386" y="189"/>
                  </a:lnTo>
                  <a:lnTo>
                    <a:pt x="386" y="190"/>
                  </a:lnTo>
                  <a:lnTo>
                    <a:pt x="386" y="192"/>
                  </a:lnTo>
                  <a:lnTo>
                    <a:pt x="386" y="193"/>
                  </a:lnTo>
                  <a:lnTo>
                    <a:pt x="387" y="194"/>
                  </a:lnTo>
                  <a:lnTo>
                    <a:pt x="387" y="195"/>
                  </a:lnTo>
                  <a:lnTo>
                    <a:pt x="387" y="196"/>
                  </a:lnTo>
                  <a:lnTo>
                    <a:pt x="386" y="198"/>
                  </a:lnTo>
                  <a:lnTo>
                    <a:pt x="386" y="201"/>
                  </a:lnTo>
                  <a:lnTo>
                    <a:pt x="386" y="202"/>
                  </a:lnTo>
                  <a:lnTo>
                    <a:pt x="386" y="204"/>
                  </a:lnTo>
                  <a:lnTo>
                    <a:pt x="386" y="205"/>
                  </a:lnTo>
                  <a:lnTo>
                    <a:pt x="386" y="206"/>
                  </a:lnTo>
                  <a:lnTo>
                    <a:pt x="386" y="208"/>
                  </a:lnTo>
                  <a:lnTo>
                    <a:pt x="387" y="209"/>
                  </a:lnTo>
                  <a:lnTo>
                    <a:pt x="388" y="210"/>
                  </a:lnTo>
                  <a:lnTo>
                    <a:pt x="388" y="211"/>
                  </a:lnTo>
                  <a:lnTo>
                    <a:pt x="389" y="212"/>
                  </a:lnTo>
                  <a:lnTo>
                    <a:pt x="389" y="212"/>
                  </a:lnTo>
                  <a:lnTo>
                    <a:pt x="391" y="214"/>
                  </a:lnTo>
                  <a:lnTo>
                    <a:pt x="392" y="215"/>
                  </a:lnTo>
                  <a:lnTo>
                    <a:pt x="395" y="217"/>
                  </a:lnTo>
                  <a:lnTo>
                    <a:pt x="398" y="219"/>
                  </a:lnTo>
                  <a:lnTo>
                    <a:pt x="398" y="220"/>
                  </a:lnTo>
                  <a:lnTo>
                    <a:pt x="400" y="221"/>
                  </a:lnTo>
                  <a:lnTo>
                    <a:pt x="402" y="222"/>
                  </a:lnTo>
                  <a:lnTo>
                    <a:pt x="406" y="225"/>
                  </a:lnTo>
                  <a:lnTo>
                    <a:pt x="409" y="226"/>
                  </a:lnTo>
                  <a:lnTo>
                    <a:pt x="409" y="227"/>
                  </a:lnTo>
                  <a:lnTo>
                    <a:pt x="410" y="227"/>
                  </a:lnTo>
                  <a:lnTo>
                    <a:pt x="410" y="227"/>
                  </a:lnTo>
                  <a:lnTo>
                    <a:pt x="411" y="227"/>
                  </a:lnTo>
                  <a:lnTo>
                    <a:pt x="411" y="227"/>
                  </a:lnTo>
                  <a:lnTo>
                    <a:pt x="411" y="226"/>
                  </a:lnTo>
                  <a:lnTo>
                    <a:pt x="413" y="226"/>
                  </a:lnTo>
                  <a:lnTo>
                    <a:pt x="414" y="226"/>
                  </a:lnTo>
                  <a:lnTo>
                    <a:pt x="415" y="225"/>
                  </a:lnTo>
                  <a:lnTo>
                    <a:pt x="416" y="225"/>
                  </a:lnTo>
                  <a:lnTo>
                    <a:pt x="416" y="225"/>
                  </a:lnTo>
                  <a:lnTo>
                    <a:pt x="417" y="226"/>
                  </a:lnTo>
                  <a:lnTo>
                    <a:pt x="418" y="226"/>
                  </a:lnTo>
                  <a:lnTo>
                    <a:pt x="421" y="227"/>
                  </a:lnTo>
                  <a:lnTo>
                    <a:pt x="422" y="227"/>
                  </a:lnTo>
                  <a:lnTo>
                    <a:pt x="423" y="227"/>
                  </a:lnTo>
                  <a:lnTo>
                    <a:pt x="425" y="227"/>
                  </a:lnTo>
                  <a:lnTo>
                    <a:pt x="427" y="227"/>
                  </a:lnTo>
                  <a:lnTo>
                    <a:pt x="429" y="227"/>
                  </a:lnTo>
                  <a:lnTo>
                    <a:pt x="431" y="227"/>
                  </a:lnTo>
                  <a:lnTo>
                    <a:pt x="432" y="227"/>
                  </a:lnTo>
                  <a:lnTo>
                    <a:pt x="433" y="227"/>
                  </a:lnTo>
                  <a:lnTo>
                    <a:pt x="434" y="226"/>
                  </a:lnTo>
                  <a:lnTo>
                    <a:pt x="437" y="225"/>
                  </a:lnTo>
                  <a:lnTo>
                    <a:pt x="438" y="225"/>
                  </a:lnTo>
                  <a:lnTo>
                    <a:pt x="440" y="225"/>
                  </a:lnTo>
                  <a:lnTo>
                    <a:pt x="442" y="224"/>
                  </a:lnTo>
                  <a:lnTo>
                    <a:pt x="443" y="224"/>
                  </a:lnTo>
                  <a:lnTo>
                    <a:pt x="443" y="224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6" y="223"/>
                  </a:lnTo>
                  <a:lnTo>
                    <a:pt x="446" y="223"/>
                  </a:lnTo>
                  <a:lnTo>
                    <a:pt x="447" y="223"/>
                  </a:lnTo>
                  <a:lnTo>
                    <a:pt x="447" y="223"/>
                  </a:lnTo>
                  <a:lnTo>
                    <a:pt x="448" y="223"/>
                  </a:lnTo>
                  <a:lnTo>
                    <a:pt x="448" y="223"/>
                  </a:lnTo>
                  <a:lnTo>
                    <a:pt x="449" y="224"/>
                  </a:lnTo>
                  <a:lnTo>
                    <a:pt x="450" y="224"/>
                  </a:lnTo>
                  <a:lnTo>
                    <a:pt x="451" y="225"/>
                  </a:lnTo>
                  <a:lnTo>
                    <a:pt x="451" y="225"/>
                  </a:lnTo>
                  <a:lnTo>
                    <a:pt x="452" y="225"/>
                  </a:lnTo>
                  <a:lnTo>
                    <a:pt x="452" y="226"/>
                  </a:lnTo>
                  <a:lnTo>
                    <a:pt x="452" y="227"/>
                  </a:lnTo>
                  <a:lnTo>
                    <a:pt x="452" y="227"/>
                  </a:lnTo>
                  <a:lnTo>
                    <a:pt x="453" y="228"/>
                  </a:lnTo>
                  <a:lnTo>
                    <a:pt x="452" y="228"/>
                  </a:lnTo>
                  <a:lnTo>
                    <a:pt x="452" y="229"/>
                  </a:lnTo>
                  <a:lnTo>
                    <a:pt x="452" y="230"/>
                  </a:lnTo>
                  <a:lnTo>
                    <a:pt x="452" y="230"/>
                  </a:lnTo>
                  <a:lnTo>
                    <a:pt x="452" y="231"/>
                  </a:lnTo>
                  <a:lnTo>
                    <a:pt x="452" y="231"/>
                  </a:lnTo>
                  <a:lnTo>
                    <a:pt x="453" y="232"/>
                  </a:lnTo>
                  <a:lnTo>
                    <a:pt x="453" y="232"/>
                  </a:lnTo>
                  <a:lnTo>
                    <a:pt x="454" y="233"/>
                  </a:lnTo>
                  <a:lnTo>
                    <a:pt x="454" y="234"/>
                  </a:lnTo>
                  <a:lnTo>
                    <a:pt x="456" y="234"/>
                  </a:lnTo>
                  <a:lnTo>
                    <a:pt x="457" y="236"/>
                  </a:lnTo>
                  <a:lnTo>
                    <a:pt x="458" y="236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61" y="240"/>
                  </a:lnTo>
                  <a:lnTo>
                    <a:pt x="462" y="241"/>
                  </a:lnTo>
                  <a:lnTo>
                    <a:pt x="462" y="242"/>
                  </a:lnTo>
                  <a:lnTo>
                    <a:pt x="462" y="243"/>
                  </a:lnTo>
                  <a:lnTo>
                    <a:pt x="462" y="243"/>
                  </a:lnTo>
                  <a:lnTo>
                    <a:pt x="462" y="244"/>
                  </a:lnTo>
                  <a:lnTo>
                    <a:pt x="462" y="245"/>
                  </a:lnTo>
                  <a:lnTo>
                    <a:pt x="462" y="246"/>
                  </a:lnTo>
                  <a:lnTo>
                    <a:pt x="461" y="247"/>
                  </a:lnTo>
                  <a:lnTo>
                    <a:pt x="461" y="247"/>
                  </a:lnTo>
                  <a:lnTo>
                    <a:pt x="461" y="248"/>
                  </a:lnTo>
                  <a:lnTo>
                    <a:pt x="460" y="248"/>
                  </a:lnTo>
                  <a:lnTo>
                    <a:pt x="460" y="248"/>
                  </a:lnTo>
                  <a:lnTo>
                    <a:pt x="459" y="249"/>
                  </a:lnTo>
                  <a:lnTo>
                    <a:pt x="458" y="249"/>
                  </a:lnTo>
                  <a:lnTo>
                    <a:pt x="456" y="250"/>
                  </a:lnTo>
                  <a:lnTo>
                    <a:pt x="453" y="250"/>
                  </a:lnTo>
                  <a:lnTo>
                    <a:pt x="452" y="250"/>
                  </a:lnTo>
                  <a:lnTo>
                    <a:pt x="452" y="251"/>
                  </a:lnTo>
                  <a:lnTo>
                    <a:pt x="452" y="251"/>
                  </a:lnTo>
                  <a:lnTo>
                    <a:pt x="451" y="251"/>
                  </a:lnTo>
                  <a:lnTo>
                    <a:pt x="451" y="252"/>
                  </a:lnTo>
                  <a:lnTo>
                    <a:pt x="450" y="253"/>
                  </a:lnTo>
                  <a:lnTo>
                    <a:pt x="449" y="254"/>
                  </a:lnTo>
                  <a:lnTo>
                    <a:pt x="448" y="256"/>
                  </a:lnTo>
                  <a:lnTo>
                    <a:pt x="448" y="257"/>
                  </a:lnTo>
                  <a:lnTo>
                    <a:pt x="447" y="258"/>
                  </a:lnTo>
                  <a:lnTo>
                    <a:pt x="447" y="259"/>
                  </a:lnTo>
                  <a:lnTo>
                    <a:pt x="447" y="261"/>
                  </a:lnTo>
                  <a:lnTo>
                    <a:pt x="446" y="262"/>
                  </a:lnTo>
                  <a:lnTo>
                    <a:pt x="446" y="262"/>
                  </a:lnTo>
                  <a:lnTo>
                    <a:pt x="446" y="263"/>
                  </a:lnTo>
                  <a:lnTo>
                    <a:pt x="446" y="264"/>
                  </a:lnTo>
                  <a:lnTo>
                    <a:pt x="444" y="266"/>
                  </a:lnTo>
                  <a:lnTo>
                    <a:pt x="443" y="267"/>
                  </a:lnTo>
                  <a:lnTo>
                    <a:pt x="443" y="268"/>
                  </a:lnTo>
                  <a:lnTo>
                    <a:pt x="442" y="270"/>
                  </a:lnTo>
                  <a:lnTo>
                    <a:pt x="442" y="271"/>
                  </a:lnTo>
                  <a:lnTo>
                    <a:pt x="441" y="272"/>
                  </a:lnTo>
                  <a:lnTo>
                    <a:pt x="441" y="273"/>
                  </a:lnTo>
                  <a:lnTo>
                    <a:pt x="440" y="273"/>
                  </a:lnTo>
                  <a:lnTo>
                    <a:pt x="438" y="276"/>
                  </a:lnTo>
                  <a:lnTo>
                    <a:pt x="437" y="277"/>
                  </a:lnTo>
                  <a:lnTo>
                    <a:pt x="436" y="278"/>
                  </a:lnTo>
                  <a:lnTo>
                    <a:pt x="435" y="279"/>
                  </a:lnTo>
                  <a:lnTo>
                    <a:pt x="434" y="281"/>
                  </a:lnTo>
                  <a:lnTo>
                    <a:pt x="433" y="282"/>
                  </a:lnTo>
                  <a:lnTo>
                    <a:pt x="432" y="283"/>
                  </a:lnTo>
                  <a:lnTo>
                    <a:pt x="432" y="283"/>
                  </a:lnTo>
                  <a:lnTo>
                    <a:pt x="432" y="284"/>
                  </a:lnTo>
                  <a:lnTo>
                    <a:pt x="432" y="284"/>
                  </a:lnTo>
                  <a:lnTo>
                    <a:pt x="432" y="285"/>
                  </a:lnTo>
                  <a:lnTo>
                    <a:pt x="432" y="285"/>
                  </a:lnTo>
                  <a:lnTo>
                    <a:pt x="432" y="286"/>
                  </a:lnTo>
                  <a:lnTo>
                    <a:pt x="433" y="286"/>
                  </a:lnTo>
                  <a:lnTo>
                    <a:pt x="433" y="286"/>
                  </a:lnTo>
                  <a:lnTo>
                    <a:pt x="433" y="286"/>
                  </a:lnTo>
                  <a:lnTo>
                    <a:pt x="434" y="286"/>
                  </a:lnTo>
                  <a:lnTo>
                    <a:pt x="436" y="287"/>
                  </a:lnTo>
                  <a:lnTo>
                    <a:pt x="437" y="287"/>
                  </a:lnTo>
                  <a:lnTo>
                    <a:pt x="437" y="287"/>
                  </a:lnTo>
                  <a:lnTo>
                    <a:pt x="438" y="287"/>
                  </a:lnTo>
                  <a:lnTo>
                    <a:pt x="439" y="287"/>
                  </a:lnTo>
                  <a:lnTo>
                    <a:pt x="439" y="287"/>
                  </a:lnTo>
                  <a:lnTo>
                    <a:pt x="440" y="288"/>
                  </a:lnTo>
                  <a:lnTo>
                    <a:pt x="440" y="289"/>
                  </a:lnTo>
                  <a:lnTo>
                    <a:pt x="441" y="289"/>
                  </a:lnTo>
                  <a:lnTo>
                    <a:pt x="442" y="292"/>
                  </a:lnTo>
                  <a:lnTo>
                    <a:pt x="442" y="292"/>
                  </a:lnTo>
                  <a:lnTo>
                    <a:pt x="443" y="293"/>
                  </a:lnTo>
                  <a:lnTo>
                    <a:pt x="444" y="294"/>
                  </a:lnTo>
                  <a:lnTo>
                    <a:pt x="445" y="295"/>
                  </a:lnTo>
                  <a:lnTo>
                    <a:pt x="446" y="295"/>
                  </a:lnTo>
                  <a:lnTo>
                    <a:pt x="447" y="296"/>
                  </a:lnTo>
                  <a:lnTo>
                    <a:pt x="449" y="297"/>
                  </a:lnTo>
                  <a:lnTo>
                    <a:pt x="451" y="297"/>
                  </a:lnTo>
                  <a:lnTo>
                    <a:pt x="452" y="298"/>
                  </a:lnTo>
                  <a:lnTo>
                    <a:pt x="453" y="299"/>
                  </a:lnTo>
                  <a:lnTo>
                    <a:pt x="455" y="300"/>
                  </a:lnTo>
                  <a:lnTo>
                    <a:pt x="456" y="301"/>
                  </a:lnTo>
                  <a:lnTo>
                    <a:pt x="456" y="301"/>
                  </a:lnTo>
                  <a:lnTo>
                    <a:pt x="457" y="302"/>
                  </a:lnTo>
                  <a:lnTo>
                    <a:pt x="457" y="303"/>
                  </a:lnTo>
                  <a:lnTo>
                    <a:pt x="458" y="303"/>
                  </a:lnTo>
                  <a:lnTo>
                    <a:pt x="458" y="304"/>
                  </a:lnTo>
                  <a:lnTo>
                    <a:pt x="459" y="306"/>
                  </a:lnTo>
                  <a:lnTo>
                    <a:pt x="460" y="307"/>
                  </a:lnTo>
                  <a:lnTo>
                    <a:pt x="460" y="308"/>
                  </a:lnTo>
                  <a:lnTo>
                    <a:pt x="460" y="308"/>
                  </a:lnTo>
                  <a:lnTo>
                    <a:pt x="460" y="309"/>
                  </a:lnTo>
                  <a:lnTo>
                    <a:pt x="458" y="310"/>
                  </a:lnTo>
                  <a:lnTo>
                    <a:pt x="458" y="311"/>
                  </a:lnTo>
                  <a:lnTo>
                    <a:pt x="458" y="311"/>
                  </a:lnTo>
                  <a:lnTo>
                    <a:pt x="457" y="311"/>
                  </a:lnTo>
                  <a:lnTo>
                    <a:pt x="457" y="311"/>
                  </a:lnTo>
                  <a:lnTo>
                    <a:pt x="456" y="311"/>
                  </a:lnTo>
                  <a:lnTo>
                    <a:pt x="455" y="311"/>
                  </a:lnTo>
                  <a:lnTo>
                    <a:pt x="455" y="312"/>
                  </a:lnTo>
                  <a:lnTo>
                    <a:pt x="455" y="312"/>
                  </a:lnTo>
                  <a:lnTo>
                    <a:pt x="455" y="313"/>
                  </a:lnTo>
                  <a:lnTo>
                    <a:pt x="455" y="313"/>
                  </a:lnTo>
                  <a:lnTo>
                    <a:pt x="455" y="314"/>
                  </a:lnTo>
                  <a:lnTo>
                    <a:pt x="454" y="315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7"/>
                  </a:lnTo>
                  <a:lnTo>
                    <a:pt x="454" y="317"/>
                  </a:lnTo>
                  <a:lnTo>
                    <a:pt x="454" y="317"/>
                  </a:lnTo>
                  <a:lnTo>
                    <a:pt x="453" y="317"/>
                  </a:lnTo>
                  <a:lnTo>
                    <a:pt x="453" y="318"/>
                  </a:lnTo>
                  <a:lnTo>
                    <a:pt x="452" y="319"/>
                  </a:lnTo>
                  <a:lnTo>
                    <a:pt x="451" y="319"/>
                  </a:lnTo>
                  <a:lnTo>
                    <a:pt x="451" y="319"/>
                  </a:lnTo>
                  <a:lnTo>
                    <a:pt x="450" y="320"/>
                  </a:lnTo>
                  <a:lnTo>
                    <a:pt x="450" y="320"/>
                  </a:lnTo>
                  <a:lnTo>
                    <a:pt x="449" y="320"/>
                  </a:lnTo>
                  <a:lnTo>
                    <a:pt x="449" y="321"/>
                  </a:lnTo>
                  <a:lnTo>
                    <a:pt x="448" y="324"/>
                  </a:lnTo>
                  <a:lnTo>
                    <a:pt x="447" y="326"/>
                  </a:lnTo>
                  <a:lnTo>
                    <a:pt x="447" y="326"/>
                  </a:lnTo>
                  <a:lnTo>
                    <a:pt x="446" y="326"/>
                  </a:lnTo>
                  <a:lnTo>
                    <a:pt x="446" y="326"/>
                  </a:lnTo>
                  <a:lnTo>
                    <a:pt x="445" y="326"/>
                  </a:lnTo>
                  <a:lnTo>
                    <a:pt x="444" y="325"/>
                  </a:lnTo>
                  <a:lnTo>
                    <a:pt x="442" y="324"/>
                  </a:lnTo>
                  <a:lnTo>
                    <a:pt x="441" y="323"/>
                  </a:lnTo>
                  <a:lnTo>
                    <a:pt x="439" y="321"/>
                  </a:lnTo>
                  <a:lnTo>
                    <a:pt x="438" y="320"/>
                  </a:lnTo>
                  <a:lnTo>
                    <a:pt x="437" y="319"/>
                  </a:lnTo>
                  <a:lnTo>
                    <a:pt x="434" y="315"/>
                  </a:lnTo>
                  <a:lnTo>
                    <a:pt x="433" y="314"/>
                  </a:lnTo>
                  <a:lnTo>
                    <a:pt x="432" y="313"/>
                  </a:lnTo>
                  <a:lnTo>
                    <a:pt x="431" y="312"/>
                  </a:lnTo>
                  <a:lnTo>
                    <a:pt x="430" y="311"/>
                  </a:lnTo>
                  <a:lnTo>
                    <a:pt x="428" y="310"/>
                  </a:lnTo>
                  <a:lnTo>
                    <a:pt x="427" y="310"/>
                  </a:lnTo>
                  <a:lnTo>
                    <a:pt x="426" y="309"/>
                  </a:lnTo>
                  <a:lnTo>
                    <a:pt x="425" y="309"/>
                  </a:lnTo>
                  <a:lnTo>
                    <a:pt x="424" y="308"/>
                  </a:lnTo>
                  <a:lnTo>
                    <a:pt x="423" y="308"/>
                  </a:lnTo>
                  <a:lnTo>
                    <a:pt x="421" y="308"/>
                  </a:lnTo>
                  <a:lnTo>
                    <a:pt x="420" y="307"/>
                  </a:lnTo>
                  <a:lnTo>
                    <a:pt x="415" y="307"/>
                  </a:lnTo>
                  <a:lnTo>
                    <a:pt x="414" y="306"/>
                  </a:lnTo>
                  <a:lnTo>
                    <a:pt x="413" y="306"/>
                  </a:lnTo>
                  <a:lnTo>
                    <a:pt x="412" y="305"/>
                  </a:lnTo>
                  <a:lnTo>
                    <a:pt x="411" y="305"/>
                  </a:lnTo>
                  <a:lnTo>
                    <a:pt x="410" y="304"/>
                  </a:lnTo>
                  <a:lnTo>
                    <a:pt x="409" y="304"/>
                  </a:lnTo>
                  <a:lnTo>
                    <a:pt x="407" y="302"/>
                  </a:lnTo>
                  <a:lnTo>
                    <a:pt x="402" y="300"/>
                  </a:lnTo>
                  <a:lnTo>
                    <a:pt x="398" y="297"/>
                  </a:lnTo>
                  <a:lnTo>
                    <a:pt x="397" y="296"/>
                  </a:lnTo>
                  <a:lnTo>
                    <a:pt x="396" y="295"/>
                  </a:lnTo>
                  <a:lnTo>
                    <a:pt x="394" y="294"/>
                  </a:lnTo>
                  <a:lnTo>
                    <a:pt x="392" y="293"/>
                  </a:lnTo>
                  <a:lnTo>
                    <a:pt x="390" y="293"/>
                  </a:lnTo>
                  <a:lnTo>
                    <a:pt x="389" y="293"/>
                  </a:lnTo>
                  <a:lnTo>
                    <a:pt x="388" y="292"/>
                  </a:lnTo>
                  <a:lnTo>
                    <a:pt x="387" y="292"/>
                  </a:lnTo>
                  <a:lnTo>
                    <a:pt x="385" y="292"/>
                  </a:lnTo>
                  <a:lnTo>
                    <a:pt x="383" y="292"/>
                  </a:lnTo>
                  <a:lnTo>
                    <a:pt x="380" y="293"/>
                  </a:lnTo>
                  <a:lnTo>
                    <a:pt x="379" y="293"/>
                  </a:lnTo>
                  <a:lnTo>
                    <a:pt x="378" y="293"/>
                  </a:lnTo>
                  <a:lnTo>
                    <a:pt x="377" y="292"/>
                  </a:lnTo>
                  <a:lnTo>
                    <a:pt x="375" y="292"/>
                  </a:lnTo>
                  <a:lnTo>
                    <a:pt x="374" y="292"/>
                  </a:lnTo>
                  <a:lnTo>
                    <a:pt x="374" y="292"/>
                  </a:lnTo>
                  <a:lnTo>
                    <a:pt x="372" y="291"/>
                  </a:lnTo>
                  <a:lnTo>
                    <a:pt x="370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8" y="290"/>
                  </a:lnTo>
                  <a:lnTo>
                    <a:pt x="368" y="290"/>
                  </a:lnTo>
                  <a:lnTo>
                    <a:pt x="367" y="290"/>
                  </a:lnTo>
                  <a:lnTo>
                    <a:pt x="367" y="291"/>
                  </a:lnTo>
                  <a:lnTo>
                    <a:pt x="367" y="291"/>
                  </a:lnTo>
                  <a:lnTo>
                    <a:pt x="366" y="292"/>
                  </a:lnTo>
                  <a:lnTo>
                    <a:pt x="366" y="295"/>
                  </a:lnTo>
                  <a:lnTo>
                    <a:pt x="365" y="296"/>
                  </a:lnTo>
                  <a:lnTo>
                    <a:pt x="364" y="298"/>
                  </a:lnTo>
                  <a:lnTo>
                    <a:pt x="363" y="300"/>
                  </a:lnTo>
                  <a:lnTo>
                    <a:pt x="362" y="301"/>
                  </a:lnTo>
                  <a:lnTo>
                    <a:pt x="362" y="302"/>
                  </a:lnTo>
                  <a:lnTo>
                    <a:pt x="361" y="302"/>
                  </a:lnTo>
                  <a:lnTo>
                    <a:pt x="360" y="303"/>
                  </a:lnTo>
                  <a:lnTo>
                    <a:pt x="360" y="303"/>
                  </a:lnTo>
                  <a:lnTo>
                    <a:pt x="359" y="303"/>
                  </a:lnTo>
                  <a:lnTo>
                    <a:pt x="359" y="304"/>
                  </a:lnTo>
                  <a:lnTo>
                    <a:pt x="357" y="304"/>
                  </a:lnTo>
                  <a:lnTo>
                    <a:pt x="355" y="304"/>
                  </a:lnTo>
                  <a:lnTo>
                    <a:pt x="352" y="304"/>
                  </a:lnTo>
                  <a:lnTo>
                    <a:pt x="351" y="304"/>
                  </a:lnTo>
                  <a:lnTo>
                    <a:pt x="349" y="305"/>
                  </a:lnTo>
                  <a:lnTo>
                    <a:pt x="348" y="305"/>
                  </a:lnTo>
                  <a:lnTo>
                    <a:pt x="346" y="306"/>
                  </a:lnTo>
                  <a:lnTo>
                    <a:pt x="344" y="307"/>
                  </a:lnTo>
                  <a:lnTo>
                    <a:pt x="341" y="308"/>
                  </a:lnTo>
                  <a:lnTo>
                    <a:pt x="340" y="309"/>
                  </a:lnTo>
                  <a:lnTo>
                    <a:pt x="339" y="309"/>
                  </a:lnTo>
                  <a:lnTo>
                    <a:pt x="338" y="309"/>
                  </a:lnTo>
                  <a:lnTo>
                    <a:pt x="337" y="309"/>
                  </a:lnTo>
                  <a:lnTo>
                    <a:pt x="335" y="309"/>
                  </a:lnTo>
                  <a:lnTo>
                    <a:pt x="334" y="309"/>
                  </a:lnTo>
                  <a:lnTo>
                    <a:pt x="334" y="309"/>
                  </a:lnTo>
                  <a:lnTo>
                    <a:pt x="333" y="309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2" y="308"/>
                  </a:lnTo>
                  <a:lnTo>
                    <a:pt x="331" y="308"/>
                  </a:lnTo>
                  <a:lnTo>
                    <a:pt x="331" y="308"/>
                  </a:lnTo>
                  <a:lnTo>
                    <a:pt x="331" y="307"/>
                  </a:lnTo>
                  <a:lnTo>
                    <a:pt x="331" y="307"/>
                  </a:lnTo>
                  <a:lnTo>
                    <a:pt x="331" y="306"/>
                  </a:lnTo>
                  <a:lnTo>
                    <a:pt x="331" y="302"/>
                  </a:lnTo>
                  <a:lnTo>
                    <a:pt x="331" y="302"/>
                  </a:lnTo>
                  <a:lnTo>
                    <a:pt x="331" y="301"/>
                  </a:lnTo>
                  <a:lnTo>
                    <a:pt x="331" y="300"/>
                  </a:lnTo>
                  <a:lnTo>
                    <a:pt x="331" y="299"/>
                  </a:lnTo>
                  <a:lnTo>
                    <a:pt x="330" y="297"/>
                  </a:lnTo>
                  <a:lnTo>
                    <a:pt x="330" y="296"/>
                  </a:lnTo>
                  <a:lnTo>
                    <a:pt x="329" y="293"/>
                  </a:lnTo>
                  <a:lnTo>
                    <a:pt x="329" y="291"/>
                  </a:lnTo>
                  <a:lnTo>
                    <a:pt x="328" y="290"/>
                  </a:lnTo>
                  <a:lnTo>
                    <a:pt x="328" y="290"/>
                  </a:lnTo>
                  <a:lnTo>
                    <a:pt x="328" y="289"/>
                  </a:lnTo>
                  <a:lnTo>
                    <a:pt x="327" y="288"/>
                  </a:lnTo>
                  <a:lnTo>
                    <a:pt x="326" y="288"/>
                  </a:lnTo>
                  <a:lnTo>
                    <a:pt x="325" y="287"/>
                  </a:lnTo>
                  <a:lnTo>
                    <a:pt x="325" y="287"/>
                  </a:lnTo>
                  <a:lnTo>
                    <a:pt x="323" y="286"/>
                  </a:lnTo>
                  <a:lnTo>
                    <a:pt x="322" y="286"/>
                  </a:lnTo>
                  <a:lnTo>
                    <a:pt x="321" y="286"/>
                  </a:lnTo>
                  <a:lnTo>
                    <a:pt x="319" y="285"/>
                  </a:lnTo>
                  <a:lnTo>
                    <a:pt x="317" y="285"/>
                  </a:lnTo>
                  <a:lnTo>
                    <a:pt x="316" y="285"/>
                  </a:lnTo>
                  <a:lnTo>
                    <a:pt x="313" y="285"/>
                  </a:lnTo>
                  <a:lnTo>
                    <a:pt x="311" y="285"/>
                  </a:lnTo>
                  <a:lnTo>
                    <a:pt x="310" y="285"/>
                  </a:lnTo>
                  <a:lnTo>
                    <a:pt x="309" y="285"/>
                  </a:lnTo>
                  <a:lnTo>
                    <a:pt x="308" y="284"/>
                  </a:lnTo>
                  <a:lnTo>
                    <a:pt x="306" y="284"/>
                  </a:lnTo>
                  <a:lnTo>
                    <a:pt x="306" y="284"/>
                  </a:lnTo>
                  <a:lnTo>
                    <a:pt x="305" y="283"/>
                  </a:lnTo>
                  <a:lnTo>
                    <a:pt x="304" y="283"/>
                  </a:lnTo>
                  <a:lnTo>
                    <a:pt x="303" y="283"/>
                  </a:lnTo>
                  <a:lnTo>
                    <a:pt x="302" y="282"/>
                  </a:lnTo>
                  <a:lnTo>
                    <a:pt x="300" y="280"/>
                  </a:lnTo>
                  <a:lnTo>
                    <a:pt x="300" y="280"/>
                  </a:lnTo>
                  <a:lnTo>
                    <a:pt x="299" y="279"/>
                  </a:lnTo>
                  <a:lnTo>
                    <a:pt x="299" y="279"/>
                  </a:lnTo>
                  <a:lnTo>
                    <a:pt x="298" y="279"/>
                  </a:lnTo>
                  <a:lnTo>
                    <a:pt x="297" y="278"/>
                  </a:lnTo>
                  <a:lnTo>
                    <a:pt x="297" y="278"/>
                  </a:lnTo>
                  <a:lnTo>
                    <a:pt x="293" y="278"/>
                  </a:lnTo>
                  <a:lnTo>
                    <a:pt x="290" y="277"/>
                  </a:lnTo>
                  <a:lnTo>
                    <a:pt x="289" y="277"/>
                  </a:lnTo>
                  <a:lnTo>
                    <a:pt x="288" y="277"/>
                  </a:lnTo>
                  <a:lnTo>
                    <a:pt x="287" y="277"/>
                  </a:lnTo>
                  <a:lnTo>
                    <a:pt x="286" y="277"/>
                  </a:lnTo>
                  <a:lnTo>
                    <a:pt x="285" y="277"/>
                  </a:lnTo>
                  <a:lnTo>
                    <a:pt x="284" y="278"/>
                  </a:lnTo>
                  <a:lnTo>
                    <a:pt x="283" y="278"/>
                  </a:lnTo>
                  <a:lnTo>
                    <a:pt x="282" y="279"/>
                  </a:lnTo>
                  <a:lnTo>
                    <a:pt x="282" y="279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1"/>
                  </a:lnTo>
                  <a:lnTo>
                    <a:pt x="280" y="283"/>
                  </a:lnTo>
                  <a:lnTo>
                    <a:pt x="280" y="284"/>
                  </a:lnTo>
                  <a:lnTo>
                    <a:pt x="280" y="286"/>
                  </a:lnTo>
                  <a:lnTo>
                    <a:pt x="279" y="287"/>
                  </a:lnTo>
                  <a:lnTo>
                    <a:pt x="278" y="288"/>
                  </a:lnTo>
                  <a:lnTo>
                    <a:pt x="277" y="290"/>
                  </a:lnTo>
                  <a:lnTo>
                    <a:pt x="277" y="292"/>
                  </a:lnTo>
                  <a:lnTo>
                    <a:pt x="277" y="292"/>
                  </a:lnTo>
                  <a:lnTo>
                    <a:pt x="276" y="294"/>
                  </a:lnTo>
                  <a:lnTo>
                    <a:pt x="276" y="295"/>
                  </a:lnTo>
                  <a:lnTo>
                    <a:pt x="275" y="296"/>
                  </a:lnTo>
                  <a:lnTo>
                    <a:pt x="275" y="297"/>
                  </a:lnTo>
                  <a:lnTo>
                    <a:pt x="275" y="298"/>
                  </a:lnTo>
                  <a:lnTo>
                    <a:pt x="275" y="300"/>
                  </a:lnTo>
                  <a:lnTo>
                    <a:pt x="275" y="302"/>
                  </a:lnTo>
                  <a:lnTo>
                    <a:pt x="275" y="304"/>
                  </a:lnTo>
                  <a:lnTo>
                    <a:pt x="275" y="305"/>
                  </a:lnTo>
                  <a:lnTo>
                    <a:pt x="276" y="308"/>
                  </a:lnTo>
                  <a:lnTo>
                    <a:pt x="276" y="313"/>
                  </a:lnTo>
                  <a:lnTo>
                    <a:pt x="277" y="316"/>
                  </a:lnTo>
                  <a:lnTo>
                    <a:pt x="277" y="318"/>
                  </a:lnTo>
                  <a:lnTo>
                    <a:pt x="278" y="323"/>
                  </a:lnTo>
                  <a:lnTo>
                    <a:pt x="278" y="325"/>
                  </a:lnTo>
                  <a:lnTo>
                    <a:pt x="278" y="326"/>
                  </a:lnTo>
                  <a:lnTo>
                    <a:pt x="278" y="328"/>
                  </a:lnTo>
                  <a:lnTo>
                    <a:pt x="278" y="329"/>
                  </a:lnTo>
                  <a:lnTo>
                    <a:pt x="278" y="330"/>
                  </a:lnTo>
                  <a:lnTo>
                    <a:pt x="278" y="332"/>
                  </a:lnTo>
                  <a:lnTo>
                    <a:pt x="277" y="334"/>
                  </a:lnTo>
                  <a:lnTo>
                    <a:pt x="276" y="340"/>
                  </a:lnTo>
                  <a:lnTo>
                    <a:pt x="276" y="341"/>
                  </a:lnTo>
                  <a:lnTo>
                    <a:pt x="275" y="343"/>
                  </a:lnTo>
                  <a:lnTo>
                    <a:pt x="275" y="344"/>
                  </a:lnTo>
                  <a:lnTo>
                    <a:pt x="274" y="346"/>
                  </a:lnTo>
                  <a:lnTo>
                    <a:pt x="274" y="347"/>
                  </a:lnTo>
                  <a:lnTo>
                    <a:pt x="274" y="349"/>
                  </a:lnTo>
                  <a:lnTo>
                    <a:pt x="274" y="350"/>
                  </a:lnTo>
                  <a:lnTo>
                    <a:pt x="274" y="354"/>
                  </a:lnTo>
                  <a:lnTo>
                    <a:pt x="274" y="355"/>
                  </a:lnTo>
                  <a:lnTo>
                    <a:pt x="274" y="356"/>
                  </a:lnTo>
                  <a:lnTo>
                    <a:pt x="274" y="357"/>
                  </a:lnTo>
                  <a:lnTo>
                    <a:pt x="274" y="357"/>
                  </a:lnTo>
                  <a:lnTo>
                    <a:pt x="273" y="360"/>
                  </a:lnTo>
                  <a:lnTo>
                    <a:pt x="272" y="361"/>
                  </a:lnTo>
                  <a:lnTo>
                    <a:pt x="271" y="366"/>
                  </a:lnTo>
                  <a:lnTo>
                    <a:pt x="270" y="369"/>
                  </a:lnTo>
                  <a:lnTo>
                    <a:pt x="270" y="370"/>
                  </a:lnTo>
                  <a:lnTo>
                    <a:pt x="269" y="372"/>
                  </a:lnTo>
                  <a:lnTo>
                    <a:pt x="269" y="374"/>
                  </a:lnTo>
                  <a:lnTo>
                    <a:pt x="269" y="376"/>
                  </a:lnTo>
                  <a:lnTo>
                    <a:pt x="269" y="377"/>
                  </a:lnTo>
                  <a:lnTo>
                    <a:pt x="269" y="378"/>
                  </a:lnTo>
                  <a:lnTo>
                    <a:pt x="269" y="379"/>
                  </a:lnTo>
                  <a:lnTo>
                    <a:pt x="269" y="380"/>
                  </a:lnTo>
                  <a:lnTo>
                    <a:pt x="269" y="381"/>
                  </a:lnTo>
                  <a:lnTo>
                    <a:pt x="270" y="382"/>
                  </a:lnTo>
                  <a:lnTo>
                    <a:pt x="270" y="383"/>
                  </a:lnTo>
                  <a:lnTo>
                    <a:pt x="272" y="385"/>
                  </a:lnTo>
                  <a:lnTo>
                    <a:pt x="272" y="386"/>
                  </a:lnTo>
                  <a:lnTo>
                    <a:pt x="272" y="386"/>
                  </a:lnTo>
                  <a:lnTo>
                    <a:pt x="273" y="387"/>
                  </a:lnTo>
                  <a:lnTo>
                    <a:pt x="273" y="388"/>
                  </a:lnTo>
                  <a:lnTo>
                    <a:pt x="273" y="389"/>
                  </a:lnTo>
                  <a:lnTo>
                    <a:pt x="273" y="390"/>
                  </a:lnTo>
                  <a:lnTo>
                    <a:pt x="272" y="390"/>
                  </a:lnTo>
                  <a:lnTo>
                    <a:pt x="272" y="391"/>
                  </a:lnTo>
                  <a:lnTo>
                    <a:pt x="271" y="392"/>
                  </a:lnTo>
                  <a:lnTo>
                    <a:pt x="271" y="393"/>
                  </a:lnTo>
                  <a:lnTo>
                    <a:pt x="270" y="393"/>
                  </a:lnTo>
                  <a:lnTo>
                    <a:pt x="269" y="394"/>
                  </a:lnTo>
                  <a:lnTo>
                    <a:pt x="268" y="394"/>
                  </a:lnTo>
                  <a:lnTo>
                    <a:pt x="267" y="394"/>
                  </a:lnTo>
                  <a:lnTo>
                    <a:pt x="266" y="394"/>
                  </a:lnTo>
                  <a:lnTo>
                    <a:pt x="264" y="394"/>
                  </a:lnTo>
                  <a:lnTo>
                    <a:pt x="263" y="394"/>
                  </a:lnTo>
                  <a:lnTo>
                    <a:pt x="258" y="392"/>
                  </a:lnTo>
                  <a:lnTo>
                    <a:pt x="255" y="391"/>
                  </a:lnTo>
                  <a:lnTo>
                    <a:pt x="253" y="391"/>
                  </a:lnTo>
                  <a:lnTo>
                    <a:pt x="252" y="391"/>
                  </a:lnTo>
                  <a:lnTo>
                    <a:pt x="248" y="389"/>
                  </a:lnTo>
                  <a:lnTo>
                    <a:pt x="247" y="389"/>
                  </a:lnTo>
                  <a:lnTo>
                    <a:pt x="245" y="388"/>
                  </a:lnTo>
                  <a:lnTo>
                    <a:pt x="244" y="388"/>
                  </a:lnTo>
                  <a:lnTo>
                    <a:pt x="243" y="387"/>
                  </a:lnTo>
                  <a:lnTo>
                    <a:pt x="242" y="387"/>
                  </a:lnTo>
                  <a:lnTo>
                    <a:pt x="238" y="386"/>
                  </a:lnTo>
                  <a:lnTo>
                    <a:pt x="235" y="386"/>
                  </a:lnTo>
                  <a:lnTo>
                    <a:pt x="233" y="385"/>
                  </a:lnTo>
                  <a:lnTo>
                    <a:pt x="232" y="385"/>
                  </a:lnTo>
                  <a:lnTo>
                    <a:pt x="231" y="385"/>
                  </a:lnTo>
                  <a:lnTo>
                    <a:pt x="230" y="385"/>
                  </a:lnTo>
                  <a:lnTo>
                    <a:pt x="229" y="386"/>
                  </a:lnTo>
                  <a:lnTo>
                    <a:pt x="229" y="386"/>
                  </a:lnTo>
                  <a:lnTo>
                    <a:pt x="228" y="386"/>
                  </a:lnTo>
                  <a:lnTo>
                    <a:pt x="227" y="386"/>
                  </a:lnTo>
                  <a:lnTo>
                    <a:pt x="227" y="387"/>
                  </a:lnTo>
                  <a:lnTo>
                    <a:pt x="226" y="387"/>
                  </a:lnTo>
                  <a:lnTo>
                    <a:pt x="225" y="388"/>
                  </a:lnTo>
                  <a:lnTo>
                    <a:pt x="225" y="388"/>
                  </a:lnTo>
                  <a:lnTo>
                    <a:pt x="224" y="389"/>
                  </a:lnTo>
                  <a:lnTo>
                    <a:pt x="224" y="389"/>
                  </a:lnTo>
                  <a:lnTo>
                    <a:pt x="224" y="390"/>
                  </a:lnTo>
                  <a:lnTo>
                    <a:pt x="224" y="391"/>
                  </a:lnTo>
                  <a:lnTo>
                    <a:pt x="223" y="394"/>
                  </a:lnTo>
                  <a:lnTo>
                    <a:pt x="222" y="399"/>
                  </a:lnTo>
                  <a:lnTo>
                    <a:pt x="222" y="401"/>
                  </a:lnTo>
                  <a:lnTo>
                    <a:pt x="221" y="404"/>
                  </a:lnTo>
                  <a:lnTo>
                    <a:pt x="221" y="405"/>
                  </a:lnTo>
                  <a:lnTo>
                    <a:pt x="221" y="406"/>
                  </a:lnTo>
                  <a:lnTo>
                    <a:pt x="220" y="407"/>
                  </a:lnTo>
                  <a:lnTo>
                    <a:pt x="220" y="408"/>
                  </a:lnTo>
                  <a:lnTo>
                    <a:pt x="219" y="409"/>
                  </a:lnTo>
                  <a:lnTo>
                    <a:pt x="218" y="410"/>
                  </a:lnTo>
                  <a:lnTo>
                    <a:pt x="217" y="412"/>
                  </a:lnTo>
                  <a:lnTo>
                    <a:pt x="215" y="414"/>
                  </a:lnTo>
                  <a:lnTo>
                    <a:pt x="214" y="415"/>
                  </a:lnTo>
                  <a:lnTo>
                    <a:pt x="213" y="416"/>
                  </a:lnTo>
                  <a:lnTo>
                    <a:pt x="212" y="416"/>
                  </a:lnTo>
                  <a:lnTo>
                    <a:pt x="211" y="417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Freeform 13">
              <a:extLst>
                <a:ext uri="{FF2B5EF4-FFF2-40B4-BE49-F238E27FC236}">
                  <a16:creationId xmlns:a16="http://schemas.microsoft.com/office/drawing/2014/main" id="{025D1216-EB86-27AB-886B-F67A4EBB51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3556"/>
              <a:ext cx="373" cy="465"/>
            </a:xfrm>
            <a:custGeom>
              <a:avLst/>
              <a:gdLst>
                <a:gd name="T0" fmla="*/ 359 w 373"/>
                <a:gd name="T1" fmla="*/ 411 h 465"/>
                <a:gd name="T2" fmla="*/ 357 w 373"/>
                <a:gd name="T3" fmla="*/ 438 h 465"/>
                <a:gd name="T4" fmla="*/ 352 w 373"/>
                <a:gd name="T5" fmla="*/ 452 h 465"/>
                <a:gd name="T6" fmla="*/ 344 w 373"/>
                <a:gd name="T7" fmla="*/ 453 h 465"/>
                <a:gd name="T8" fmla="*/ 334 w 373"/>
                <a:gd name="T9" fmla="*/ 444 h 465"/>
                <a:gd name="T10" fmla="*/ 324 w 373"/>
                <a:gd name="T11" fmla="*/ 435 h 465"/>
                <a:gd name="T12" fmla="*/ 310 w 373"/>
                <a:gd name="T13" fmla="*/ 441 h 465"/>
                <a:gd name="T14" fmla="*/ 292 w 373"/>
                <a:gd name="T15" fmla="*/ 436 h 465"/>
                <a:gd name="T16" fmla="*/ 279 w 373"/>
                <a:gd name="T17" fmla="*/ 425 h 465"/>
                <a:gd name="T18" fmla="*/ 275 w 373"/>
                <a:gd name="T19" fmla="*/ 434 h 465"/>
                <a:gd name="T20" fmla="*/ 269 w 373"/>
                <a:gd name="T21" fmla="*/ 448 h 465"/>
                <a:gd name="T22" fmla="*/ 257 w 373"/>
                <a:gd name="T23" fmla="*/ 451 h 465"/>
                <a:gd name="T24" fmla="*/ 249 w 373"/>
                <a:gd name="T25" fmla="*/ 459 h 465"/>
                <a:gd name="T26" fmla="*/ 239 w 373"/>
                <a:gd name="T27" fmla="*/ 465 h 465"/>
                <a:gd name="T28" fmla="*/ 212 w 373"/>
                <a:gd name="T29" fmla="*/ 454 h 465"/>
                <a:gd name="T30" fmla="*/ 183 w 373"/>
                <a:gd name="T31" fmla="*/ 448 h 465"/>
                <a:gd name="T32" fmla="*/ 165 w 373"/>
                <a:gd name="T33" fmla="*/ 447 h 465"/>
                <a:gd name="T34" fmla="*/ 152 w 373"/>
                <a:gd name="T35" fmla="*/ 438 h 465"/>
                <a:gd name="T36" fmla="*/ 144 w 373"/>
                <a:gd name="T37" fmla="*/ 428 h 465"/>
                <a:gd name="T38" fmla="*/ 147 w 373"/>
                <a:gd name="T39" fmla="*/ 421 h 465"/>
                <a:gd name="T40" fmla="*/ 154 w 373"/>
                <a:gd name="T41" fmla="*/ 414 h 465"/>
                <a:gd name="T42" fmla="*/ 143 w 373"/>
                <a:gd name="T43" fmla="*/ 401 h 465"/>
                <a:gd name="T44" fmla="*/ 128 w 373"/>
                <a:gd name="T45" fmla="*/ 391 h 465"/>
                <a:gd name="T46" fmla="*/ 108 w 373"/>
                <a:gd name="T47" fmla="*/ 375 h 465"/>
                <a:gd name="T48" fmla="*/ 86 w 373"/>
                <a:gd name="T49" fmla="*/ 363 h 465"/>
                <a:gd name="T50" fmla="*/ 79 w 373"/>
                <a:gd name="T51" fmla="*/ 352 h 465"/>
                <a:gd name="T52" fmla="*/ 70 w 373"/>
                <a:gd name="T53" fmla="*/ 336 h 465"/>
                <a:gd name="T54" fmla="*/ 61 w 373"/>
                <a:gd name="T55" fmla="*/ 318 h 465"/>
                <a:gd name="T56" fmla="*/ 49 w 373"/>
                <a:gd name="T57" fmla="*/ 313 h 465"/>
                <a:gd name="T58" fmla="*/ 34 w 373"/>
                <a:gd name="T59" fmla="*/ 306 h 465"/>
                <a:gd name="T60" fmla="*/ 23 w 373"/>
                <a:gd name="T61" fmla="*/ 283 h 465"/>
                <a:gd name="T62" fmla="*/ 13 w 373"/>
                <a:gd name="T63" fmla="*/ 276 h 465"/>
                <a:gd name="T64" fmla="*/ 3 w 373"/>
                <a:gd name="T65" fmla="*/ 272 h 465"/>
                <a:gd name="T66" fmla="*/ 0 w 373"/>
                <a:gd name="T67" fmla="*/ 259 h 465"/>
                <a:gd name="T68" fmla="*/ 6 w 373"/>
                <a:gd name="T69" fmla="*/ 240 h 465"/>
                <a:gd name="T70" fmla="*/ 16 w 373"/>
                <a:gd name="T71" fmla="*/ 233 h 465"/>
                <a:gd name="T72" fmla="*/ 17 w 373"/>
                <a:gd name="T73" fmla="*/ 219 h 465"/>
                <a:gd name="T74" fmla="*/ 16 w 373"/>
                <a:gd name="T75" fmla="*/ 200 h 465"/>
                <a:gd name="T76" fmla="*/ 25 w 373"/>
                <a:gd name="T77" fmla="*/ 192 h 465"/>
                <a:gd name="T78" fmla="*/ 38 w 373"/>
                <a:gd name="T79" fmla="*/ 185 h 465"/>
                <a:gd name="T80" fmla="*/ 49 w 373"/>
                <a:gd name="T81" fmla="*/ 173 h 465"/>
                <a:gd name="T82" fmla="*/ 53 w 373"/>
                <a:gd name="T83" fmla="*/ 163 h 465"/>
                <a:gd name="T84" fmla="*/ 48 w 373"/>
                <a:gd name="T85" fmla="*/ 151 h 465"/>
                <a:gd name="T86" fmla="*/ 56 w 373"/>
                <a:gd name="T87" fmla="*/ 144 h 465"/>
                <a:gd name="T88" fmla="*/ 54 w 373"/>
                <a:gd name="T89" fmla="*/ 137 h 465"/>
                <a:gd name="T90" fmla="*/ 53 w 373"/>
                <a:gd name="T91" fmla="*/ 131 h 465"/>
                <a:gd name="T92" fmla="*/ 59 w 373"/>
                <a:gd name="T93" fmla="*/ 125 h 465"/>
                <a:gd name="T94" fmla="*/ 60 w 373"/>
                <a:gd name="T95" fmla="*/ 115 h 465"/>
                <a:gd name="T96" fmla="*/ 73 w 373"/>
                <a:gd name="T97" fmla="*/ 99 h 465"/>
                <a:gd name="T98" fmla="*/ 76 w 373"/>
                <a:gd name="T99" fmla="*/ 86 h 465"/>
                <a:gd name="T100" fmla="*/ 71 w 373"/>
                <a:gd name="T101" fmla="*/ 66 h 465"/>
                <a:gd name="T102" fmla="*/ 74 w 373"/>
                <a:gd name="T103" fmla="*/ 52 h 465"/>
                <a:gd name="T104" fmla="*/ 70 w 373"/>
                <a:gd name="T105" fmla="*/ 35 h 465"/>
                <a:gd name="T106" fmla="*/ 70 w 373"/>
                <a:gd name="T107" fmla="*/ 23 h 465"/>
                <a:gd name="T108" fmla="*/ 76 w 373"/>
                <a:gd name="T109" fmla="*/ 21 h 465"/>
                <a:gd name="T110" fmla="*/ 90 w 373"/>
                <a:gd name="T111" fmla="*/ 18 h 465"/>
                <a:gd name="T112" fmla="*/ 101 w 373"/>
                <a:gd name="T113" fmla="*/ 18 h 465"/>
                <a:gd name="T114" fmla="*/ 111 w 373"/>
                <a:gd name="T115" fmla="*/ 23 h 465"/>
                <a:gd name="T116" fmla="*/ 122 w 373"/>
                <a:gd name="T117" fmla="*/ 25 h 465"/>
                <a:gd name="T118" fmla="*/ 135 w 373"/>
                <a:gd name="T119" fmla="*/ 20 h 465"/>
                <a:gd name="T120" fmla="*/ 144 w 373"/>
                <a:gd name="T121" fmla="*/ 13 h 465"/>
                <a:gd name="T122" fmla="*/ 157 w 373"/>
                <a:gd name="T123" fmla="*/ 1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" h="465">
                  <a:moveTo>
                    <a:pt x="373" y="394"/>
                  </a:moveTo>
                  <a:lnTo>
                    <a:pt x="370" y="396"/>
                  </a:lnTo>
                  <a:lnTo>
                    <a:pt x="367" y="399"/>
                  </a:lnTo>
                  <a:lnTo>
                    <a:pt x="365" y="400"/>
                  </a:lnTo>
                  <a:lnTo>
                    <a:pt x="364" y="401"/>
                  </a:lnTo>
                  <a:lnTo>
                    <a:pt x="364" y="402"/>
                  </a:lnTo>
                  <a:lnTo>
                    <a:pt x="363" y="403"/>
                  </a:lnTo>
                  <a:lnTo>
                    <a:pt x="362" y="404"/>
                  </a:lnTo>
                  <a:lnTo>
                    <a:pt x="361" y="406"/>
                  </a:lnTo>
                  <a:lnTo>
                    <a:pt x="360" y="408"/>
                  </a:lnTo>
                  <a:lnTo>
                    <a:pt x="360" y="409"/>
                  </a:lnTo>
                  <a:lnTo>
                    <a:pt x="359" y="411"/>
                  </a:lnTo>
                  <a:lnTo>
                    <a:pt x="358" y="414"/>
                  </a:lnTo>
                  <a:lnTo>
                    <a:pt x="358" y="415"/>
                  </a:lnTo>
                  <a:lnTo>
                    <a:pt x="357" y="417"/>
                  </a:lnTo>
                  <a:lnTo>
                    <a:pt x="357" y="418"/>
                  </a:lnTo>
                  <a:lnTo>
                    <a:pt x="357" y="420"/>
                  </a:lnTo>
                  <a:lnTo>
                    <a:pt x="357" y="421"/>
                  </a:lnTo>
                  <a:lnTo>
                    <a:pt x="357" y="422"/>
                  </a:lnTo>
                  <a:lnTo>
                    <a:pt x="357" y="428"/>
                  </a:lnTo>
                  <a:lnTo>
                    <a:pt x="357" y="430"/>
                  </a:lnTo>
                  <a:lnTo>
                    <a:pt x="357" y="431"/>
                  </a:lnTo>
                  <a:lnTo>
                    <a:pt x="357" y="433"/>
                  </a:lnTo>
                  <a:lnTo>
                    <a:pt x="357" y="438"/>
                  </a:lnTo>
                  <a:lnTo>
                    <a:pt x="357" y="441"/>
                  </a:lnTo>
                  <a:lnTo>
                    <a:pt x="357" y="442"/>
                  </a:lnTo>
                  <a:lnTo>
                    <a:pt x="356" y="444"/>
                  </a:lnTo>
                  <a:lnTo>
                    <a:pt x="356" y="445"/>
                  </a:lnTo>
                  <a:lnTo>
                    <a:pt x="356" y="446"/>
                  </a:lnTo>
                  <a:lnTo>
                    <a:pt x="356" y="446"/>
                  </a:lnTo>
                  <a:lnTo>
                    <a:pt x="355" y="448"/>
                  </a:lnTo>
                  <a:lnTo>
                    <a:pt x="355" y="449"/>
                  </a:lnTo>
                  <a:lnTo>
                    <a:pt x="354" y="450"/>
                  </a:lnTo>
                  <a:lnTo>
                    <a:pt x="353" y="450"/>
                  </a:lnTo>
                  <a:lnTo>
                    <a:pt x="353" y="451"/>
                  </a:lnTo>
                  <a:lnTo>
                    <a:pt x="352" y="452"/>
                  </a:lnTo>
                  <a:lnTo>
                    <a:pt x="352" y="452"/>
                  </a:lnTo>
                  <a:lnTo>
                    <a:pt x="351" y="452"/>
                  </a:lnTo>
                  <a:lnTo>
                    <a:pt x="351" y="453"/>
                  </a:lnTo>
                  <a:lnTo>
                    <a:pt x="350" y="453"/>
                  </a:lnTo>
                  <a:lnTo>
                    <a:pt x="350" y="453"/>
                  </a:lnTo>
                  <a:lnTo>
                    <a:pt x="349" y="453"/>
                  </a:lnTo>
                  <a:lnTo>
                    <a:pt x="348" y="453"/>
                  </a:lnTo>
                  <a:lnTo>
                    <a:pt x="347" y="453"/>
                  </a:lnTo>
                  <a:lnTo>
                    <a:pt x="346" y="453"/>
                  </a:lnTo>
                  <a:lnTo>
                    <a:pt x="345" y="453"/>
                  </a:lnTo>
                  <a:lnTo>
                    <a:pt x="344" y="453"/>
                  </a:lnTo>
                  <a:lnTo>
                    <a:pt x="344" y="453"/>
                  </a:lnTo>
                  <a:lnTo>
                    <a:pt x="343" y="453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1" y="451"/>
                  </a:lnTo>
                  <a:lnTo>
                    <a:pt x="340" y="451"/>
                  </a:lnTo>
                  <a:lnTo>
                    <a:pt x="340" y="450"/>
                  </a:lnTo>
                  <a:lnTo>
                    <a:pt x="337" y="447"/>
                  </a:lnTo>
                  <a:lnTo>
                    <a:pt x="337" y="446"/>
                  </a:lnTo>
                  <a:lnTo>
                    <a:pt x="336" y="445"/>
                  </a:lnTo>
                  <a:lnTo>
                    <a:pt x="335" y="444"/>
                  </a:lnTo>
                  <a:lnTo>
                    <a:pt x="334" y="444"/>
                  </a:lnTo>
                  <a:lnTo>
                    <a:pt x="333" y="444"/>
                  </a:lnTo>
                  <a:lnTo>
                    <a:pt x="332" y="443"/>
                  </a:lnTo>
                  <a:lnTo>
                    <a:pt x="331" y="443"/>
                  </a:lnTo>
                  <a:lnTo>
                    <a:pt x="330" y="442"/>
                  </a:lnTo>
                  <a:lnTo>
                    <a:pt x="330" y="442"/>
                  </a:lnTo>
                  <a:lnTo>
                    <a:pt x="329" y="441"/>
                  </a:lnTo>
                  <a:lnTo>
                    <a:pt x="328" y="440"/>
                  </a:lnTo>
                  <a:lnTo>
                    <a:pt x="328" y="440"/>
                  </a:lnTo>
                  <a:lnTo>
                    <a:pt x="326" y="438"/>
                  </a:lnTo>
                  <a:lnTo>
                    <a:pt x="326" y="436"/>
                  </a:lnTo>
                  <a:lnTo>
                    <a:pt x="325" y="436"/>
                  </a:lnTo>
                  <a:lnTo>
                    <a:pt x="324" y="435"/>
                  </a:lnTo>
                  <a:lnTo>
                    <a:pt x="324" y="435"/>
                  </a:lnTo>
                  <a:lnTo>
                    <a:pt x="323" y="435"/>
                  </a:lnTo>
                  <a:lnTo>
                    <a:pt x="323" y="435"/>
                  </a:lnTo>
                  <a:lnTo>
                    <a:pt x="322" y="435"/>
                  </a:lnTo>
                  <a:lnTo>
                    <a:pt x="322" y="435"/>
                  </a:lnTo>
                  <a:lnTo>
                    <a:pt x="321" y="435"/>
                  </a:lnTo>
                  <a:lnTo>
                    <a:pt x="320" y="436"/>
                  </a:lnTo>
                  <a:lnTo>
                    <a:pt x="314" y="439"/>
                  </a:lnTo>
                  <a:lnTo>
                    <a:pt x="313" y="440"/>
                  </a:lnTo>
                  <a:lnTo>
                    <a:pt x="312" y="441"/>
                  </a:lnTo>
                  <a:lnTo>
                    <a:pt x="311" y="441"/>
                  </a:lnTo>
                  <a:lnTo>
                    <a:pt x="310" y="441"/>
                  </a:lnTo>
                  <a:lnTo>
                    <a:pt x="309" y="442"/>
                  </a:lnTo>
                  <a:lnTo>
                    <a:pt x="308" y="442"/>
                  </a:lnTo>
                  <a:lnTo>
                    <a:pt x="308" y="442"/>
                  </a:lnTo>
                  <a:lnTo>
                    <a:pt x="307" y="442"/>
                  </a:lnTo>
                  <a:lnTo>
                    <a:pt x="307" y="441"/>
                  </a:lnTo>
                  <a:lnTo>
                    <a:pt x="306" y="441"/>
                  </a:lnTo>
                  <a:lnTo>
                    <a:pt x="303" y="440"/>
                  </a:lnTo>
                  <a:lnTo>
                    <a:pt x="299" y="439"/>
                  </a:lnTo>
                  <a:lnTo>
                    <a:pt x="297" y="438"/>
                  </a:lnTo>
                  <a:lnTo>
                    <a:pt x="294" y="437"/>
                  </a:lnTo>
                  <a:lnTo>
                    <a:pt x="293" y="436"/>
                  </a:lnTo>
                  <a:lnTo>
                    <a:pt x="292" y="436"/>
                  </a:lnTo>
                  <a:lnTo>
                    <a:pt x="291" y="435"/>
                  </a:lnTo>
                  <a:lnTo>
                    <a:pt x="290" y="434"/>
                  </a:lnTo>
                  <a:lnTo>
                    <a:pt x="289" y="434"/>
                  </a:lnTo>
                  <a:lnTo>
                    <a:pt x="288" y="432"/>
                  </a:lnTo>
                  <a:lnTo>
                    <a:pt x="287" y="431"/>
                  </a:lnTo>
                  <a:lnTo>
                    <a:pt x="284" y="428"/>
                  </a:lnTo>
                  <a:lnTo>
                    <a:pt x="283" y="427"/>
                  </a:lnTo>
                  <a:lnTo>
                    <a:pt x="282" y="426"/>
                  </a:lnTo>
                  <a:lnTo>
                    <a:pt x="281" y="426"/>
                  </a:lnTo>
                  <a:lnTo>
                    <a:pt x="280" y="425"/>
                  </a:lnTo>
                  <a:lnTo>
                    <a:pt x="280" y="425"/>
                  </a:lnTo>
                  <a:lnTo>
                    <a:pt x="279" y="425"/>
                  </a:lnTo>
                  <a:lnTo>
                    <a:pt x="279" y="426"/>
                  </a:lnTo>
                  <a:lnTo>
                    <a:pt x="278" y="426"/>
                  </a:lnTo>
                  <a:lnTo>
                    <a:pt x="278" y="426"/>
                  </a:lnTo>
                  <a:lnTo>
                    <a:pt x="277" y="426"/>
                  </a:lnTo>
                  <a:lnTo>
                    <a:pt x="277" y="427"/>
                  </a:lnTo>
                  <a:lnTo>
                    <a:pt x="276" y="427"/>
                  </a:lnTo>
                  <a:lnTo>
                    <a:pt x="276" y="427"/>
                  </a:lnTo>
                  <a:lnTo>
                    <a:pt x="276" y="428"/>
                  </a:lnTo>
                  <a:lnTo>
                    <a:pt x="275" y="428"/>
                  </a:lnTo>
                  <a:lnTo>
                    <a:pt x="275" y="429"/>
                  </a:lnTo>
                  <a:lnTo>
                    <a:pt x="275" y="433"/>
                  </a:lnTo>
                  <a:lnTo>
                    <a:pt x="275" y="434"/>
                  </a:lnTo>
                  <a:lnTo>
                    <a:pt x="275" y="435"/>
                  </a:lnTo>
                  <a:lnTo>
                    <a:pt x="274" y="437"/>
                  </a:lnTo>
                  <a:lnTo>
                    <a:pt x="274" y="440"/>
                  </a:lnTo>
                  <a:lnTo>
                    <a:pt x="273" y="441"/>
                  </a:lnTo>
                  <a:lnTo>
                    <a:pt x="273" y="442"/>
                  </a:lnTo>
                  <a:lnTo>
                    <a:pt x="272" y="443"/>
                  </a:lnTo>
                  <a:lnTo>
                    <a:pt x="272" y="444"/>
                  </a:lnTo>
                  <a:lnTo>
                    <a:pt x="271" y="445"/>
                  </a:lnTo>
                  <a:lnTo>
                    <a:pt x="270" y="446"/>
                  </a:lnTo>
                  <a:lnTo>
                    <a:pt x="270" y="447"/>
                  </a:lnTo>
                  <a:lnTo>
                    <a:pt x="269" y="447"/>
                  </a:lnTo>
                  <a:lnTo>
                    <a:pt x="269" y="448"/>
                  </a:lnTo>
                  <a:lnTo>
                    <a:pt x="268" y="449"/>
                  </a:lnTo>
                  <a:lnTo>
                    <a:pt x="267" y="449"/>
                  </a:lnTo>
                  <a:lnTo>
                    <a:pt x="267" y="449"/>
                  </a:lnTo>
                  <a:lnTo>
                    <a:pt x="266" y="449"/>
                  </a:lnTo>
                  <a:lnTo>
                    <a:pt x="265" y="449"/>
                  </a:lnTo>
                  <a:lnTo>
                    <a:pt x="262" y="449"/>
                  </a:lnTo>
                  <a:lnTo>
                    <a:pt x="260" y="450"/>
                  </a:lnTo>
                  <a:lnTo>
                    <a:pt x="259" y="450"/>
                  </a:lnTo>
                  <a:lnTo>
                    <a:pt x="259" y="450"/>
                  </a:lnTo>
                  <a:lnTo>
                    <a:pt x="258" y="450"/>
                  </a:lnTo>
                  <a:lnTo>
                    <a:pt x="257" y="451"/>
                  </a:lnTo>
                  <a:lnTo>
                    <a:pt x="257" y="451"/>
                  </a:lnTo>
                  <a:lnTo>
                    <a:pt x="257" y="452"/>
                  </a:lnTo>
                  <a:lnTo>
                    <a:pt x="256" y="453"/>
                  </a:lnTo>
                  <a:lnTo>
                    <a:pt x="256" y="454"/>
                  </a:lnTo>
                  <a:lnTo>
                    <a:pt x="255" y="455"/>
                  </a:lnTo>
                  <a:lnTo>
                    <a:pt x="255" y="456"/>
                  </a:lnTo>
                  <a:lnTo>
                    <a:pt x="255" y="456"/>
                  </a:lnTo>
                  <a:lnTo>
                    <a:pt x="254" y="457"/>
                  </a:lnTo>
                  <a:lnTo>
                    <a:pt x="254" y="457"/>
                  </a:lnTo>
                  <a:lnTo>
                    <a:pt x="253" y="458"/>
                  </a:lnTo>
                  <a:lnTo>
                    <a:pt x="252" y="458"/>
                  </a:lnTo>
                  <a:lnTo>
                    <a:pt x="251" y="459"/>
                  </a:lnTo>
                  <a:lnTo>
                    <a:pt x="249" y="459"/>
                  </a:lnTo>
                  <a:lnTo>
                    <a:pt x="248" y="459"/>
                  </a:lnTo>
                  <a:lnTo>
                    <a:pt x="248" y="459"/>
                  </a:lnTo>
                  <a:lnTo>
                    <a:pt x="247" y="460"/>
                  </a:lnTo>
                  <a:lnTo>
                    <a:pt x="246" y="460"/>
                  </a:lnTo>
                  <a:lnTo>
                    <a:pt x="245" y="461"/>
                  </a:lnTo>
                  <a:lnTo>
                    <a:pt x="244" y="463"/>
                  </a:lnTo>
                  <a:lnTo>
                    <a:pt x="243" y="464"/>
                  </a:lnTo>
                  <a:lnTo>
                    <a:pt x="242" y="464"/>
                  </a:lnTo>
                  <a:lnTo>
                    <a:pt x="241" y="464"/>
                  </a:lnTo>
                  <a:lnTo>
                    <a:pt x="241" y="465"/>
                  </a:lnTo>
                  <a:lnTo>
                    <a:pt x="240" y="465"/>
                  </a:lnTo>
                  <a:lnTo>
                    <a:pt x="239" y="465"/>
                  </a:lnTo>
                  <a:lnTo>
                    <a:pt x="239" y="465"/>
                  </a:lnTo>
                  <a:lnTo>
                    <a:pt x="238" y="465"/>
                  </a:lnTo>
                  <a:lnTo>
                    <a:pt x="237" y="464"/>
                  </a:lnTo>
                  <a:lnTo>
                    <a:pt x="235" y="463"/>
                  </a:lnTo>
                  <a:lnTo>
                    <a:pt x="231" y="462"/>
                  </a:lnTo>
                  <a:lnTo>
                    <a:pt x="228" y="460"/>
                  </a:lnTo>
                  <a:lnTo>
                    <a:pt x="221" y="456"/>
                  </a:lnTo>
                  <a:lnTo>
                    <a:pt x="219" y="455"/>
                  </a:lnTo>
                  <a:lnTo>
                    <a:pt x="218" y="455"/>
                  </a:lnTo>
                  <a:lnTo>
                    <a:pt x="217" y="455"/>
                  </a:lnTo>
                  <a:lnTo>
                    <a:pt x="216" y="454"/>
                  </a:lnTo>
                  <a:lnTo>
                    <a:pt x="212" y="454"/>
                  </a:lnTo>
                  <a:lnTo>
                    <a:pt x="211" y="454"/>
                  </a:lnTo>
                  <a:lnTo>
                    <a:pt x="209" y="453"/>
                  </a:lnTo>
                  <a:lnTo>
                    <a:pt x="205" y="452"/>
                  </a:lnTo>
                  <a:lnTo>
                    <a:pt x="200" y="450"/>
                  </a:lnTo>
                  <a:lnTo>
                    <a:pt x="197" y="449"/>
                  </a:lnTo>
                  <a:lnTo>
                    <a:pt x="196" y="449"/>
                  </a:lnTo>
                  <a:lnTo>
                    <a:pt x="195" y="449"/>
                  </a:lnTo>
                  <a:lnTo>
                    <a:pt x="193" y="449"/>
                  </a:lnTo>
                  <a:lnTo>
                    <a:pt x="190" y="449"/>
                  </a:lnTo>
                  <a:lnTo>
                    <a:pt x="188" y="449"/>
                  </a:lnTo>
                  <a:lnTo>
                    <a:pt x="187" y="448"/>
                  </a:lnTo>
                  <a:lnTo>
                    <a:pt x="183" y="448"/>
                  </a:lnTo>
                  <a:lnTo>
                    <a:pt x="181" y="448"/>
                  </a:lnTo>
                  <a:lnTo>
                    <a:pt x="179" y="447"/>
                  </a:lnTo>
                  <a:lnTo>
                    <a:pt x="178" y="447"/>
                  </a:lnTo>
                  <a:lnTo>
                    <a:pt x="177" y="447"/>
                  </a:lnTo>
                  <a:lnTo>
                    <a:pt x="173" y="448"/>
                  </a:lnTo>
                  <a:lnTo>
                    <a:pt x="172" y="448"/>
                  </a:lnTo>
                  <a:lnTo>
                    <a:pt x="171" y="448"/>
                  </a:lnTo>
                  <a:lnTo>
                    <a:pt x="170" y="448"/>
                  </a:lnTo>
                  <a:lnTo>
                    <a:pt x="169" y="448"/>
                  </a:lnTo>
                  <a:lnTo>
                    <a:pt x="168" y="448"/>
                  </a:lnTo>
                  <a:lnTo>
                    <a:pt x="168" y="448"/>
                  </a:lnTo>
                  <a:lnTo>
                    <a:pt x="165" y="447"/>
                  </a:lnTo>
                  <a:lnTo>
                    <a:pt x="164" y="446"/>
                  </a:lnTo>
                  <a:lnTo>
                    <a:pt x="163" y="446"/>
                  </a:lnTo>
                  <a:lnTo>
                    <a:pt x="160" y="445"/>
                  </a:lnTo>
                  <a:lnTo>
                    <a:pt x="159" y="445"/>
                  </a:lnTo>
                  <a:lnTo>
                    <a:pt x="158" y="444"/>
                  </a:lnTo>
                  <a:lnTo>
                    <a:pt x="158" y="444"/>
                  </a:lnTo>
                  <a:lnTo>
                    <a:pt x="156" y="443"/>
                  </a:lnTo>
                  <a:lnTo>
                    <a:pt x="154" y="441"/>
                  </a:lnTo>
                  <a:lnTo>
                    <a:pt x="154" y="441"/>
                  </a:lnTo>
                  <a:lnTo>
                    <a:pt x="153" y="440"/>
                  </a:lnTo>
                  <a:lnTo>
                    <a:pt x="152" y="439"/>
                  </a:lnTo>
                  <a:lnTo>
                    <a:pt x="152" y="438"/>
                  </a:lnTo>
                  <a:lnTo>
                    <a:pt x="151" y="438"/>
                  </a:lnTo>
                  <a:lnTo>
                    <a:pt x="151" y="437"/>
                  </a:lnTo>
                  <a:lnTo>
                    <a:pt x="150" y="434"/>
                  </a:lnTo>
                  <a:lnTo>
                    <a:pt x="149" y="434"/>
                  </a:lnTo>
                  <a:lnTo>
                    <a:pt x="149" y="433"/>
                  </a:lnTo>
                  <a:lnTo>
                    <a:pt x="149" y="433"/>
                  </a:lnTo>
                  <a:lnTo>
                    <a:pt x="148" y="432"/>
                  </a:lnTo>
                  <a:lnTo>
                    <a:pt x="147" y="431"/>
                  </a:lnTo>
                  <a:lnTo>
                    <a:pt x="146" y="431"/>
                  </a:lnTo>
                  <a:lnTo>
                    <a:pt x="145" y="430"/>
                  </a:lnTo>
                  <a:lnTo>
                    <a:pt x="145" y="429"/>
                  </a:lnTo>
                  <a:lnTo>
                    <a:pt x="144" y="428"/>
                  </a:lnTo>
                  <a:lnTo>
                    <a:pt x="144" y="428"/>
                  </a:lnTo>
                  <a:lnTo>
                    <a:pt x="144" y="427"/>
                  </a:lnTo>
                  <a:lnTo>
                    <a:pt x="144" y="426"/>
                  </a:lnTo>
                  <a:lnTo>
                    <a:pt x="144" y="426"/>
                  </a:lnTo>
                  <a:lnTo>
                    <a:pt x="144" y="425"/>
                  </a:lnTo>
                  <a:lnTo>
                    <a:pt x="144" y="425"/>
                  </a:lnTo>
                  <a:lnTo>
                    <a:pt x="144" y="424"/>
                  </a:lnTo>
                  <a:lnTo>
                    <a:pt x="144" y="424"/>
                  </a:lnTo>
                  <a:lnTo>
                    <a:pt x="145" y="423"/>
                  </a:lnTo>
                  <a:lnTo>
                    <a:pt x="145" y="422"/>
                  </a:lnTo>
                  <a:lnTo>
                    <a:pt x="146" y="422"/>
                  </a:lnTo>
                  <a:lnTo>
                    <a:pt x="147" y="421"/>
                  </a:lnTo>
                  <a:lnTo>
                    <a:pt x="148" y="420"/>
                  </a:lnTo>
                  <a:lnTo>
                    <a:pt x="149" y="420"/>
                  </a:lnTo>
                  <a:lnTo>
                    <a:pt x="151" y="419"/>
                  </a:lnTo>
                  <a:lnTo>
                    <a:pt x="152" y="419"/>
                  </a:lnTo>
                  <a:lnTo>
                    <a:pt x="152" y="418"/>
                  </a:lnTo>
                  <a:lnTo>
                    <a:pt x="153" y="418"/>
                  </a:lnTo>
                  <a:lnTo>
                    <a:pt x="153" y="417"/>
                  </a:lnTo>
                  <a:lnTo>
                    <a:pt x="153" y="417"/>
                  </a:lnTo>
                  <a:lnTo>
                    <a:pt x="154" y="416"/>
                  </a:lnTo>
                  <a:lnTo>
                    <a:pt x="154" y="415"/>
                  </a:lnTo>
                  <a:lnTo>
                    <a:pt x="154" y="415"/>
                  </a:lnTo>
                  <a:lnTo>
                    <a:pt x="154" y="414"/>
                  </a:lnTo>
                  <a:lnTo>
                    <a:pt x="154" y="413"/>
                  </a:lnTo>
                  <a:lnTo>
                    <a:pt x="154" y="412"/>
                  </a:lnTo>
                  <a:lnTo>
                    <a:pt x="153" y="411"/>
                  </a:lnTo>
                  <a:lnTo>
                    <a:pt x="153" y="411"/>
                  </a:lnTo>
                  <a:lnTo>
                    <a:pt x="152" y="410"/>
                  </a:lnTo>
                  <a:lnTo>
                    <a:pt x="152" y="410"/>
                  </a:lnTo>
                  <a:lnTo>
                    <a:pt x="149" y="408"/>
                  </a:lnTo>
                  <a:lnTo>
                    <a:pt x="148" y="407"/>
                  </a:lnTo>
                  <a:lnTo>
                    <a:pt x="147" y="406"/>
                  </a:lnTo>
                  <a:lnTo>
                    <a:pt x="146" y="405"/>
                  </a:lnTo>
                  <a:lnTo>
                    <a:pt x="144" y="402"/>
                  </a:lnTo>
                  <a:lnTo>
                    <a:pt x="143" y="401"/>
                  </a:lnTo>
                  <a:lnTo>
                    <a:pt x="142" y="399"/>
                  </a:lnTo>
                  <a:lnTo>
                    <a:pt x="140" y="398"/>
                  </a:lnTo>
                  <a:lnTo>
                    <a:pt x="139" y="397"/>
                  </a:lnTo>
                  <a:lnTo>
                    <a:pt x="139" y="396"/>
                  </a:lnTo>
                  <a:lnTo>
                    <a:pt x="138" y="396"/>
                  </a:lnTo>
                  <a:lnTo>
                    <a:pt x="137" y="395"/>
                  </a:lnTo>
                  <a:lnTo>
                    <a:pt x="136" y="395"/>
                  </a:lnTo>
                  <a:lnTo>
                    <a:pt x="136" y="395"/>
                  </a:lnTo>
                  <a:lnTo>
                    <a:pt x="134" y="394"/>
                  </a:lnTo>
                  <a:lnTo>
                    <a:pt x="131" y="393"/>
                  </a:lnTo>
                  <a:lnTo>
                    <a:pt x="129" y="392"/>
                  </a:lnTo>
                  <a:lnTo>
                    <a:pt x="128" y="391"/>
                  </a:lnTo>
                  <a:lnTo>
                    <a:pt x="126" y="391"/>
                  </a:lnTo>
                  <a:lnTo>
                    <a:pt x="125" y="391"/>
                  </a:lnTo>
                  <a:lnTo>
                    <a:pt x="125" y="390"/>
                  </a:lnTo>
                  <a:lnTo>
                    <a:pt x="121" y="387"/>
                  </a:lnTo>
                  <a:lnTo>
                    <a:pt x="120" y="387"/>
                  </a:lnTo>
                  <a:lnTo>
                    <a:pt x="119" y="386"/>
                  </a:lnTo>
                  <a:lnTo>
                    <a:pt x="118" y="385"/>
                  </a:lnTo>
                  <a:lnTo>
                    <a:pt x="117" y="384"/>
                  </a:lnTo>
                  <a:lnTo>
                    <a:pt x="116" y="382"/>
                  </a:lnTo>
                  <a:lnTo>
                    <a:pt x="111" y="378"/>
                  </a:lnTo>
                  <a:lnTo>
                    <a:pt x="110" y="376"/>
                  </a:lnTo>
                  <a:lnTo>
                    <a:pt x="108" y="375"/>
                  </a:lnTo>
                  <a:lnTo>
                    <a:pt x="107" y="373"/>
                  </a:lnTo>
                  <a:lnTo>
                    <a:pt x="105" y="372"/>
                  </a:lnTo>
                  <a:lnTo>
                    <a:pt x="104" y="371"/>
                  </a:lnTo>
                  <a:lnTo>
                    <a:pt x="103" y="370"/>
                  </a:lnTo>
                  <a:lnTo>
                    <a:pt x="101" y="369"/>
                  </a:lnTo>
                  <a:lnTo>
                    <a:pt x="100" y="368"/>
                  </a:lnTo>
                  <a:lnTo>
                    <a:pt x="99" y="367"/>
                  </a:lnTo>
                  <a:lnTo>
                    <a:pt x="97" y="367"/>
                  </a:lnTo>
                  <a:lnTo>
                    <a:pt x="96" y="366"/>
                  </a:lnTo>
                  <a:lnTo>
                    <a:pt x="94" y="366"/>
                  </a:lnTo>
                  <a:lnTo>
                    <a:pt x="88" y="364"/>
                  </a:lnTo>
                  <a:lnTo>
                    <a:pt x="86" y="363"/>
                  </a:lnTo>
                  <a:lnTo>
                    <a:pt x="85" y="363"/>
                  </a:lnTo>
                  <a:lnTo>
                    <a:pt x="84" y="362"/>
                  </a:lnTo>
                  <a:lnTo>
                    <a:pt x="83" y="362"/>
                  </a:lnTo>
                  <a:lnTo>
                    <a:pt x="82" y="361"/>
                  </a:lnTo>
                  <a:lnTo>
                    <a:pt x="82" y="361"/>
                  </a:lnTo>
                  <a:lnTo>
                    <a:pt x="81" y="360"/>
                  </a:lnTo>
                  <a:lnTo>
                    <a:pt x="81" y="360"/>
                  </a:lnTo>
                  <a:lnTo>
                    <a:pt x="81" y="359"/>
                  </a:lnTo>
                  <a:lnTo>
                    <a:pt x="80" y="357"/>
                  </a:lnTo>
                  <a:lnTo>
                    <a:pt x="80" y="356"/>
                  </a:lnTo>
                  <a:lnTo>
                    <a:pt x="80" y="353"/>
                  </a:lnTo>
                  <a:lnTo>
                    <a:pt x="79" y="352"/>
                  </a:lnTo>
                  <a:lnTo>
                    <a:pt x="79" y="351"/>
                  </a:lnTo>
                  <a:lnTo>
                    <a:pt x="79" y="350"/>
                  </a:lnTo>
                  <a:lnTo>
                    <a:pt x="78" y="348"/>
                  </a:lnTo>
                  <a:lnTo>
                    <a:pt x="76" y="343"/>
                  </a:lnTo>
                  <a:lnTo>
                    <a:pt x="75" y="342"/>
                  </a:lnTo>
                  <a:lnTo>
                    <a:pt x="75" y="341"/>
                  </a:lnTo>
                  <a:lnTo>
                    <a:pt x="74" y="339"/>
                  </a:lnTo>
                  <a:lnTo>
                    <a:pt x="73" y="339"/>
                  </a:lnTo>
                  <a:lnTo>
                    <a:pt x="73" y="338"/>
                  </a:lnTo>
                  <a:lnTo>
                    <a:pt x="72" y="338"/>
                  </a:lnTo>
                  <a:lnTo>
                    <a:pt x="72" y="337"/>
                  </a:lnTo>
                  <a:lnTo>
                    <a:pt x="70" y="336"/>
                  </a:lnTo>
                  <a:lnTo>
                    <a:pt x="69" y="335"/>
                  </a:lnTo>
                  <a:lnTo>
                    <a:pt x="68" y="334"/>
                  </a:lnTo>
                  <a:lnTo>
                    <a:pt x="68" y="334"/>
                  </a:lnTo>
                  <a:lnTo>
                    <a:pt x="67" y="333"/>
                  </a:lnTo>
                  <a:lnTo>
                    <a:pt x="67" y="332"/>
                  </a:lnTo>
                  <a:lnTo>
                    <a:pt x="66" y="332"/>
                  </a:lnTo>
                  <a:lnTo>
                    <a:pt x="66" y="330"/>
                  </a:lnTo>
                  <a:lnTo>
                    <a:pt x="65" y="329"/>
                  </a:lnTo>
                  <a:lnTo>
                    <a:pt x="65" y="328"/>
                  </a:lnTo>
                  <a:lnTo>
                    <a:pt x="63" y="324"/>
                  </a:lnTo>
                  <a:lnTo>
                    <a:pt x="62" y="320"/>
                  </a:lnTo>
                  <a:lnTo>
                    <a:pt x="61" y="318"/>
                  </a:lnTo>
                  <a:lnTo>
                    <a:pt x="60" y="317"/>
                  </a:lnTo>
                  <a:lnTo>
                    <a:pt x="60" y="316"/>
                  </a:lnTo>
                  <a:lnTo>
                    <a:pt x="59" y="315"/>
                  </a:lnTo>
                  <a:lnTo>
                    <a:pt x="58" y="314"/>
                  </a:lnTo>
                  <a:lnTo>
                    <a:pt x="58" y="313"/>
                  </a:lnTo>
                  <a:lnTo>
                    <a:pt x="57" y="313"/>
                  </a:lnTo>
                  <a:lnTo>
                    <a:pt x="57" y="313"/>
                  </a:lnTo>
                  <a:lnTo>
                    <a:pt x="56" y="313"/>
                  </a:lnTo>
                  <a:lnTo>
                    <a:pt x="55" y="313"/>
                  </a:lnTo>
                  <a:lnTo>
                    <a:pt x="52" y="313"/>
                  </a:lnTo>
                  <a:lnTo>
                    <a:pt x="51" y="313"/>
                  </a:lnTo>
                  <a:lnTo>
                    <a:pt x="49" y="313"/>
                  </a:lnTo>
                  <a:lnTo>
                    <a:pt x="46" y="313"/>
                  </a:lnTo>
                  <a:lnTo>
                    <a:pt x="45" y="313"/>
                  </a:lnTo>
                  <a:lnTo>
                    <a:pt x="44" y="313"/>
                  </a:lnTo>
                  <a:lnTo>
                    <a:pt x="43" y="313"/>
                  </a:lnTo>
                  <a:lnTo>
                    <a:pt x="42" y="312"/>
                  </a:lnTo>
                  <a:lnTo>
                    <a:pt x="41" y="312"/>
                  </a:lnTo>
                  <a:lnTo>
                    <a:pt x="40" y="312"/>
                  </a:lnTo>
                  <a:lnTo>
                    <a:pt x="40" y="311"/>
                  </a:lnTo>
                  <a:lnTo>
                    <a:pt x="39" y="311"/>
                  </a:lnTo>
                  <a:lnTo>
                    <a:pt x="38" y="310"/>
                  </a:lnTo>
                  <a:lnTo>
                    <a:pt x="35" y="307"/>
                  </a:lnTo>
                  <a:lnTo>
                    <a:pt x="34" y="306"/>
                  </a:lnTo>
                  <a:lnTo>
                    <a:pt x="34" y="305"/>
                  </a:lnTo>
                  <a:lnTo>
                    <a:pt x="33" y="303"/>
                  </a:lnTo>
                  <a:lnTo>
                    <a:pt x="32" y="301"/>
                  </a:lnTo>
                  <a:lnTo>
                    <a:pt x="30" y="298"/>
                  </a:lnTo>
                  <a:lnTo>
                    <a:pt x="29" y="295"/>
                  </a:lnTo>
                  <a:lnTo>
                    <a:pt x="28" y="292"/>
                  </a:lnTo>
                  <a:lnTo>
                    <a:pt x="26" y="288"/>
                  </a:lnTo>
                  <a:lnTo>
                    <a:pt x="25" y="285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2" y="283"/>
                  </a:lnTo>
                  <a:lnTo>
                    <a:pt x="20" y="283"/>
                  </a:lnTo>
                  <a:lnTo>
                    <a:pt x="20" y="283"/>
                  </a:lnTo>
                  <a:lnTo>
                    <a:pt x="19" y="282"/>
                  </a:lnTo>
                  <a:lnTo>
                    <a:pt x="18" y="282"/>
                  </a:lnTo>
                  <a:lnTo>
                    <a:pt x="17" y="281"/>
                  </a:lnTo>
                  <a:lnTo>
                    <a:pt x="16" y="280"/>
                  </a:lnTo>
                  <a:lnTo>
                    <a:pt x="16" y="279"/>
                  </a:lnTo>
                  <a:lnTo>
                    <a:pt x="14" y="277"/>
                  </a:lnTo>
                  <a:lnTo>
                    <a:pt x="13" y="276"/>
                  </a:lnTo>
                  <a:lnTo>
                    <a:pt x="13" y="276"/>
                  </a:lnTo>
                  <a:lnTo>
                    <a:pt x="12" y="275"/>
                  </a:lnTo>
                  <a:lnTo>
                    <a:pt x="12" y="274"/>
                  </a:lnTo>
                  <a:lnTo>
                    <a:pt x="11" y="274"/>
                  </a:lnTo>
                  <a:lnTo>
                    <a:pt x="10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8" y="273"/>
                  </a:lnTo>
                  <a:lnTo>
                    <a:pt x="7" y="272"/>
                  </a:lnTo>
                  <a:lnTo>
                    <a:pt x="5" y="272"/>
                  </a:lnTo>
                  <a:lnTo>
                    <a:pt x="4" y="272"/>
                  </a:lnTo>
                  <a:lnTo>
                    <a:pt x="3" y="272"/>
                  </a:lnTo>
                  <a:lnTo>
                    <a:pt x="3" y="272"/>
                  </a:lnTo>
                  <a:lnTo>
                    <a:pt x="2" y="272"/>
                  </a:lnTo>
                  <a:lnTo>
                    <a:pt x="2" y="272"/>
                  </a:lnTo>
                  <a:lnTo>
                    <a:pt x="2" y="271"/>
                  </a:lnTo>
                  <a:lnTo>
                    <a:pt x="1" y="267"/>
                  </a:lnTo>
                  <a:lnTo>
                    <a:pt x="0" y="266"/>
                  </a:lnTo>
                  <a:lnTo>
                    <a:pt x="0" y="265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59"/>
                  </a:lnTo>
                  <a:lnTo>
                    <a:pt x="0" y="258"/>
                  </a:lnTo>
                  <a:lnTo>
                    <a:pt x="0" y="256"/>
                  </a:lnTo>
                  <a:lnTo>
                    <a:pt x="0" y="255"/>
                  </a:lnTo>
                  <a:lnTo>
                    <a:pt x="1" y="253"/>
                  </a:lnTo>
                  <a:lnTo>
                    <a:pt x="1" y="251"/>
                  </a:lnTo>
                  <a:lnTo>
                    <a:pt x="2" y="249"/>
                  </a:lnTo>
                  <a:lnTo>
                    <a:pt x="2" y="248"/>
                  </a:lnTo>
                  <a:lnTo>
                    <a:pt x="2" y="247"/>
                  </a:lnTo>
                  <a:lnTo>
                    <a:pt x="3" y="246"/>
                  </a:lnTo>
                  <a:lnTo>
                    <a:pt x="4" y="243"/>
                  </a:lnTo>
                  <a:lnTo>
                    <a:pt x="5" y="241"/>
                  </a:lnTo>
                  <a:lnTo>
                    <a:pt x="6" y="240"/>
                  </a:lnTo>
                  <a:lnTo>
                    <a:pt x="7" y="239"/>
                  </a:lnTo>
                  <a:lnTo>
                    <a:pt x="8" y="238"/>
                  </a:lnTo>
                  <a:lnTo>
                    <a:pt x="8" y="238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10" y="236"/>
                  </a:lnTo>
                  <a:lnTo>
                    <a:pt x="11" y="236"/>
                  </a:lnTo>
                  <a:lnTo>
                    <a:pt x="13" y="235"/>
                  </a:lnTo>
                  <a:lnTo>
                    <a:pt x="14" y="235"/>
                  </a:lnTo>
                  <a:lnTo>
                    <a:pt x="14" y="234"/>
                  </a:lnTo>
                  <a:lnTo>
                    <a:pt x="15" y="233"/>
                  </a:lnTo>
                  <a:lnTo>
                    <a:pt x="16" y="233"/>
                  </a:lnTo>
                  <a:lnTo>
                    <a:pt x="17" y="232"/>
                  </a:lnTo>
                  <a:lnTo>
                    <a:pt x="17" y="232"/>
                  </a:lnTo>
                  <a:lnTo>
                    <a:pt x="17" y="231"/>
                  </a:lnTo>
                  <a:lnTo>
                    <a:pt x="18" y="230"/>
                  </a:lnTo>
                  <a:lnTo>
                    <a:pt x="18" y="230"/>
                  </a:lnTo>
                  <a:lnTo>
                    <a:pt x="18" y="229"/>
                  </a:lnTo>
                  <a:lnTo>
                    <a:pt x="18" y="228"/>
                  </a:lnTo>
                  <a:lnTo>
                    <a:pt x="18" y="227"/>
                  </a:lnTo>
                  <a:lnTo>
                    <a:pt x="18" y="226"/>
                  </a:lnTo>
                  <a:lnTo>
                    <a:pt x="18" y="225"/>
                  </a:lnTo>
                  <a:lnTo>
                    <a:pt x="18" y="223"/>
                  </a:lnTo>
                  <a:lnTo>
                    <a:pt x="17" y="219"/>
                  </a:lnTo>
                  <a:lnTo>
                    <a:pt x="17" y="218"/>
                  </a:lnTo>
                  <a:lnTo>
                    <a:pt x="17" y="216"/>
                  </a:lnTo>
                  <a:lnTo>
                    <a:pt x="15" y="214"/>
                  </a:lnTo>
                  <a:lnTo>
                    <a:pt x="15" y="212"/>
                  </a:lnTo>
                  <a:lnTo>
                    <a:pt x="15" y="211"/>
                  </a:lnTo>
                  <a:lnTo>
                    <a:pt x="15" y="210"/>
                  </a:lnTo>
                  <a:lnTo>
                    <a:pt x="15" y="210"/>
                  </a:lnTo>
                  <a:lnTo>
                    <a:pt x="15" y="209"/>
                  </a:lnTo>
                  <a:lnTo>
                    <a:pt x="16" y="206"/>
                  </a:lnTo>
                  <a:lnTo>
                    <a:pt x="16" y="205"/>
                  </a:lnTo>
                  <a:lnTo>
                    <a:pt x="16" y="203"/>
                  </a:lnTo>
                  <a:lnTo>
                    <a:pt x="16" y="200"/>
                  </a:lnTo>
                  <a:lnTo>
                    <a:pt x="17" y="198"/>
                  </a:lnTo>
                  <a:lnTo>
                    <a:pt x="17" y="196"/>
                  </a:lnTo>
                  <a:lnTo>
                    <a:pt x="18" y="192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9" y="191"/>
                  </a:lnTo>
                  <a:lnTo>
                    <a:pt x="19" y="191"/>
                  </a:lnTo>
                  <a:lnTo>
                    <a:pt x="20" y="191"/>
                  </a:lnTo>
                  <a:lnTo>
                    <a:pt x="21" y="191"/>
                  </a:lnTo>
                  <a:lnTo>
                    <a:pt x="24" y="191"/>
                  </a:lnTo>
                  <a:lnTo>
                    <a:pt x="25" y="192"/>
                  </a:lnTo>
                  <a:lnTo>
                    <a:pt x="26" y="192"/>
                  </a:lnTo>
                  <a:lnTo>
                    <a:pt x="27" y="192"/>
                  </a:lnTo>
                  <a:lnTo>
                    <a:pt x="28" y="192"/>
                  </a:lnTo>
                  <a:lnTo>
                    <a:pt x="29" y="191"/>
                  </a:lnTo>
                  <a:lnTo>
                    <a:pt x="29" y="191"/>
                  </a:lnTo>
                  <a:lnTo>
                    <a:pt x="30" y="191"/>
                  </a:lnTo>
                  <a:lnTo>
                    <a:pt x="31" y="191"/>
                  </a:lnTo>
                  <a:lnTo>
                    <a:pt x="32" y="190"/>
                  </a:lnTo>
                  <a:lnTo>
                    <a:pt x="33" y="189"/>
                  </a:lnTo>
                  <a:lnTo>
                    <a:pt x="35" y="188"/>
                  </a:lnTo>
                  <a:lnTo>
                    <a:pt x="38" y="186"/>
                  </a:lnTo>
                  <a:lnTo>
                    <a:pt x="38" y="185"/>
                  </a:lnTo>
                  <a:lnTo>
                    <a:pt x="40" y="185"/>
                  </a:lnTo>
                  <a:lnTo>
                    <a:pt x="41" y="184"/>
                  </a:lnTo>
                  <a:lnTo>
                    <a:pt x="44" y="183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6" y="182"/>
                  </a:lnTo>
                  <a:lnTo>
                    <a:pt x="46" y="181"/>
                  </a:lnTo>
                  <a:lnTo>
                    <a:pt x="47" y="178"/>
                  </a:lnTo>
                  <a:lnTo>
                    <a:pt x="48" y="175"/>
                  </a:lnTo>
                  <a:lnTo>
                    <a:pt x="48" y="174"/>
                  </a:lnTo>
                  <a:lnTo>
                    <a:pt x="49" y="173"/>
                  </a:lnTo>
                  <a:lnTo>
                    <a:pt x="49" y="172"/>
                  </a:lnTo>
                  <a:lnTo>
                    <a:pt x="50" y="171"/>
                  </a:lnTo>
                  <a:lnTo>
                    <a:pt x="51" y="170"/>
                  </a:lnTo>
                  <a:lnTo>
                    <a:pt x="52" y="169"/>
                  </a:lnTo>
                  <a:lnTo>
                    <a:pt x="53" y="168"/>
                  </a:lnTo>
                  <a:lnTo>
                    <a:pt x="53" y="167"/>
                  </a:lnTo>
                  <a:lnTo>
                    <a:pt x="53" y="167"/>
                  </a:lnTo>
                  <a:lnTo>
                    <a:pt x="53" y="167"/>
                  </a:lnTo>
                  <a:lnTo>
                    <a:pt x="53" y="166"/>
                  </a:lnTo>
                  <a:lnTo>
                    <a:pt x="53" y="165"/>
                  </a:lnTo>
                  <a:lnTo>
                    <a:pt x="53" y="164"/>
                  </a:lnTo>
                  <a:lnTo>
                    <a:pt x="53" y="163"/>
                  </a:lnTo>
                  <a:lnTo>
                    <a:pt x="52" y="162"/>
                  </a:lnTo>
                  <a:lnTo>
                    <a:pt x="52" y="162"/>
                  </a:lnTo>
                  <a:lnTo>
                    <a:pt x="52" y="161"/>
                  </a:lnTo>
                  <a:lnTo>
                    <a:pt x="50" y="159"/>
                  </a:lnTo>
                  <a:lnTo>
                    <a:pt x="50" y="158"/>
                  </a:lnTo>
                  <a:lnTo>
                    <a:pt x="49" y="156"/>
                  </a:lnTo>
                  <a:lnTo>
                    <a:pt x="48" y="155"/>
                  </a:lnTo>
                  <a:lnTo>
                    <a:pt x="48" y="154"/>
                  </a:lnTo>
                  <a:lnTo>
                    <a:pt x="48" y="153"/>
                  </a:lnTo>
                  <a:lnTo>
                    <a:pt x="48" y="153"/>
                  </a:lnTo>
                  <a:lnTo>
                    <a:pt x="48" y="152"/>
                  </a:lnTo>
                  <a:lnTo>
                    <a:pt x="48" y="151"/>
                  </a:lnTo>
                  <a:lnTo>
                    <a:pt x="49" y="151"/>
                  </a:lnTo>
                  <a:lnTo>
                    <a:pt x="49" y="150"/>
                  </a:lnTo>
                  <a:lnTo>
                    <a:pt x="49" y="149"/>
                  </a:lnTo>
                  <a:lnTo>
                    <a:pt x="50" y="149"/>
                  </a:lnTo>
                  <a:lnTo>
                    <a:pt x="51" y="148"/>
                  </a:lnTo>
                  <a:lnTo>
                    <a:pt x="52" y="146"/>
                  </a:lnTo>
                  <a:lnTo>
                    <a:pt x="53" y="146"/>
                  </a:lnTo>
                  <a:lnTo>
                    <a:pt x="53" y="145"/>
                  </a:lnTo>
                  <a:lnTo>
                    <a:pt x="55" y="145"/>
                  </a:lnTo>
                  <a:lnTo>
                    <a:pt x="55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3"/>
                  </a:lnTo>
                  <a:lnTo>
                    <a:pt x="57" y="143"/>
                  </a:lnTo>
                  <a:lnTo>
                    <a:pt x="57" y="142"/>
                  </a:lnTo>
                  <a:lnTo>
                    <a:pt x="57" y="141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39"/>
                  </a:lnTo>
                  <a:lnTo>
                    <a:pt x="55" y="138"/>
                  </a:lnTo>
                  <a:lnTo>
                    <a:pt x="54" y="138"/>
                  </a:lnTo>
                  <a:lnTo>
                    <a:pt x="54" y="137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5"/>
                  </a:lnTo>
                  <a:lnTo>
                    <a:pt x="52" y="135"/>
                  </a:lnTo>
                  <a:lnTo>
                    <a:pt x="52" y="134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3" y="131"/>
                  </a:lnTo>
                  <a:lnTo>
                    <a:pt x="53" y="130"/>
                  </a:lnTo>
                  <a:lnTo>
                    <a:pt x="53" y="130"/>
                  </a:lnTo>
                  <a:lnTo>
                    <a:pt x="54" y="130"/>
                  </a:lnTo>
                  <a:lnTo>
                    <a:pt x="56" y="129"/>
                  </a:lnTo>
                  <a:lnTo>
                    <a:pt x="56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7"/>
                  </a:lnTo>
                  <a:lnTo>
                    <a:pt x="58" y="127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5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3"/>
                  </a:lnTo>
                  <a:lnTo>
                    <a:pt x="58" y="122"/>
                  </a:lnTo>
                  <a:lnTo>
                    <a:pt x="58" y="121"/>
                  </a:lnTo>
                  <a:lnTo>
                    <a:pt x="58" y="120"/>
                  </a:lnTo>
                  <a:lnTo>
                    <a:pt x="58" y="119"/>
                  </a:lnTo>
                  <a:lnTo>
                    <a:pt x="59" y="118"/>
                  </a:lnTo>
                  <a:lnTo>
                    <a:pt x="59" y="117"/>
                  </a:lnTo>
                  <a:lnTo>
                    <a:pt x="59" y="116"/>
                  </a:lnTo>
                  <a:lnTo>
                    <a:pt x="59" y="116"/>
                  </a:lnTo>
                  <a:lnTo>
                    <a:pt x="60" y="115"/>
                  </a:lnTo>
                  <a:lnTo>
                    <a:pt x="62" y="113"/>
                  </a:lnTo>
                  <a:lnTo>
                    <a:pt x="62" y="112"/>
                  </a:lnTo>
                  <a:lnTo>
                    <a:pt x="64" y="112"/>
                  </a:lnTo>
                  <a:lnTo>
                    <a:pt x="66" y="110"/>
                  </a:lnTo>
                  <a:lnTo>
                    <a:pt x="69" y="108"/>
                  </a:lnTo>
                  <a:lnTo>
                    <a:pt x="69" y="107"/>
                  </a:lnTo>
                  <a:lnTo>
                    <a:pt x="70" y="107"/>
                  </a:lnTo>
                  <a:lnTo>
                    <a:pt x="70" y="106"/>
                  </a:lnTo>
                  <a:lnTo>
                    <a:pt x="71" y="105"/>
                  </a:lnTo>
                  <a:lnTo>
                    <a:pt x="71" y="103"/>
                  </a:lnTo>
                  <a:lnTo>
                    <a:pt x="72" y="101"/>
                  </a:lnTo>
                  <a:lnTo>
                    <a:pt x="73" y="99"/>
                  </a:lnTo>
                  <a:lnTo>
                    <a:pt x="74" y="98"/>
                  </a:lnTo>
                  <a:lnTo>
                    <a:pt x="75" y="96"/>
                  </a:lnTo>
                  <a:lnTo>
                    <a:pt x="76" y="95"/>
                  </a:lnTo>
                  <a:lnTo>
                    <a:pt x="76" y="94"/>
                  </a:lnTo>
                  <a:lnTo>
                    <a:pt x="76" y="93"/>
                  </a:lnTo>
                  <a:lnTo>
                    <a:pt x="77" y="91"/>
                  </a:lnTo>
                  <a:lnTo>
                    <a:pt x="77" y="90"/>
                  </a:lnTo>
                  <a:lnTo>
                    <a:pt x="77" y="89"/>
                  </a:lnTo>
                  <a:lnTo>
                    <a:pt x="77" y="88"/>
                  </a:lnTo>
                  <a:lnTo>
                    <a:pt x="77" y="87"/>
                  </a:lnTo>
                  <a:lnTo>
                    <a:pt x="76" y="87"/>
                  </a:lnTo>
                  <a:lnTo>
                    <a:pt x="76" y="86"/>
                  </a:lnTo>
                  <a:lnTo>
                    <a:pt x="74" y="84"/>
                  </a:lnTo>
                  <a:lnTo>
                    <a:pt x="74" y="83"/>
                  </a:lnTo>
                  <a:lnTo>
                    <a:pt x="73" y="82"/>
                  </a:lnTo>
                  <a:lnTo>
                    <a:pt x="71" y="79"/>
                  </a:lnTo>
                  <a:lnTo>
                    <a:pt x="71" y="78"/>
                  </a:lnTo>
                  <a:lnTo>
                    <a:pt x="71" y="76"/>
                  </a:lnTo>
                  <a:lnTo>
                    <a:pt x="70" y="75"/>
                  </a:lnTo>
                  <a:lnTo>
                    <a:pt x="70" y="73"/>
                  </a:lnTo>
                  <a:lnTo>
                    <a:pt x="70" y="72"/>
                  </a:lnTo>
                  <a:lnTo>
                    <a:pt x="70" y="70"/>
                  </a:lnTo>
                  <a:lnTo>
                    <a:pt x="71" y="67"/>
                  </a:lnTo>
                  <a:lnTo>
                    <a:pt x="71" y="66"/>
                  </a:lnTo>
                  <a:lnTo>
                    <a:pt x="71" y="65"/>
                  </a:lnTo>
                  <a:lnTo>
                    <a:pt x="72" y="64"/>
                  </a:lnTo>
                  <a:lnTo>
                    <a:pt x="72" y="63"/>
                  </a:lnTo>
                  <a:lnTo>
                    <a:pt x="73" y="61"/>
                  </a:lnTo>
                  <a:lnTo>
                    <a:pt x="75" y="58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5" y="56"/>
                  </a:lnTo>
                  <a:lnTo>
                    <a:pt x="75" y="55"/>
                  </a:lnTo>
                  <a:lnTo>
                    <a:pt x="75" y="54"/>
                  </a:lnTo>
                  <a:lnTo>
                    <a:pt x="74" y="52"/>
                  </a:lnTo>
                  <a:lnTo>
                    <a:pt x="73" y="50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1" y="45"/>
                  </a:lnTo>
                  <a:lnTo>
                    <a:pt x="71" y="44"/>
                  </a:lnTo>
                  <a:lnTo>
                    <a:pt x="71" y="40"/>
                  </a:lnTo>
                  <a:lnTo>
                    <a:pt x="71" y="39"/>
                  </a:lnTo>
                  <a:lnTo>
                    <a:pt x="71" y="38"/>
                  </a:lnTo>
                  <a:lnTo>
                    <a:pt x="71" y="36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69" y="34"/>
                  </a:lnTo>
                  <a:lnTo>
                    <a:pt x="68" y="33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8" y="29"/>
                  </a:lnTo>
                  <a:lnTo>
                    <a:pt x="69" y="24"/>
                  </a:lnTo>
                  <a:lnTo>
                    <a:pt x="70" y="23"/>
                  </a:lnTo>
                  <a:lnTo>
                    <a:pt x="70" y="23"/>
                  </a:lnTo>
                  <a:lnTo>
                    <a:pt x="70" y="22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3" y="21"/>
                  </a:lnTo>
                  <a:lnTo>
                    <a:pt x="73" y="21"/>
                  </a:lnTo>
                  <a:lnTo>
                    <a:pt x="74" y="21"/>
                  </a:lnTo>
                  <a:lnTo>
                    <a:pt x="76" y="21"/>
                  </a:lnTo>
                  <a:lnTo>
                    <a:pt x="77" y="21"/>
                  </a:lnTo>
                  <a:lnTo>
                    <a:pt x="80" y="20"/>
                  </a:lnTo>
                  <a:lnTo>
                    <a:pt x="83" y="19"/>
                  </a:lnTo>
                  <a:lnTo>
                    <a:pt x="85" y="18"/>
                  </a:lnTo>
                  <a:lnTo>
                    <a:pt x="87" y="17"/>
                  </a:lnTo>
                  <a:lnTo>
                    <a:pt x="87" y="17"/>
                  </a:lnTo>
                  <a:lnTo>
                    <a:pt x="88" y="17"/>
                  </a:lnTo>
                  <a:lnTo>
                    <a:pt x="88" y="17"/>
                  </a:lnTo>
                  <a:lnTo>
                    <a:pt x="89" y="17"/>
                  </a:lnTo>
                  <a:lnTo>
                    <a:pt x="89" y="17"/>
                  </a:lnTo>
                  <a:lnTo>
                    <a:pt x="90" y="17"/>
                  </a:lnTo>
                  <a:lnTo>
                    <a:pt x="90" y="18"/>
                  </a:lnTo>
                  <a:lnTo>
                    <a:pt x="92" y="20"/>
                  </a:lnTo>
                  <a:lnTo>
                    <a:pt x="93" y="20"/>
                  </a:lnTo>
                  <a:lnTo>
                    <a:pt x="93" y="20"/>
                  </a:lnTo>
                  <a:lnTo>
                    <a:pt x="94" y="20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6" y="21"/>
                  </a:lnTo>
                  <a:lnTo>
                    <a:pt x="96" y="20"/>
                  </a:lnTo>
                  <a:lnTo>
                    <a:pt x="97" y="20"/>
                  </a:lnTo>
                  <a:lnTo>
                    <a:pt x="98" y="20"/>
                  </a:lnTo>
                  <a:lnTo>
                    <a:pt x="100" y="18"/>
                  </a:lnTo>
                  <a:lnTo>
                    <a:pt x="101" y="18"/>
                  </a:lnTo>
                  <a:lnTo>
                    <a:pt x="102" y="18"/>
                  </a:lnTo>
                  <a:lnTo>
                    <a:pt x="103" y="18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5" y="18"/>
                  </a:lnTo>
                  <a:lnTo>
                    <a:pt x="105" y="19"/>
                  </a:lnTo>
                  <a:lnTo>
                    <a:pt x="108" y="20"/>
                  </a:lnTo>
                  <a:lnTo>
                    <a:pt x="108" y="21"/>
                  </a:lnTo>
                  <a:lnTo>
                    <a:pt x="110" y="22"/>
                  </a:lnTo>
                  <a:lnTo>
                    <a:pt x="110" y="22"/>
                  </a:lnTo>
                  <a:lnTo>
                    <a:pt x="111" y="22"/>
                  </a:lnTo>
                  <a:lnTo>
                    <a:pt x="111" y="23"/>
                  </a:lnTo>
                  <a:lnTo>
                    <a:pt x="112" y="23"/>
                  </a:lnTo>
                  <a:lnTo>
                    <a:pt x="112" y="24"/>
                  </a:lnTo>
                  <a:lnTo>
                    <a:pt x="113" y="24"/>
                  </a:lnTo>
                  <a:lnTo>
                    <a:pt x="115" y="25"/>
                  </a:lnTo>
                  <a:lnTo>
                    <a:pt x="115" y="25"/>
                  </a:lnTo>
                  <a:lnTo>
                    <a:pt x="116" y="25"/>
                  </a:lnTo>
                  <a:lnTo>
                    <a:pt x="117" y="26"/>
                  </a:lnTo>
                  <a:lnTo>
                    <a:pt x="118" y="26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6"/>
                  </a:lnTo>
                  <a:lnTo>
                    <a:pt x="122" y="25"/>
                  </a:lnTo>
                  <a:lnTo>
                    <a:pt x="123" y="25"/>
                  </a:lnTo>
                  <a:lnTo>
                    <a:pt x="123" y="24"/>
                  </a:lnTo>
                  <a:lnTo>
                    <a:pt x="125" y="23"/>
                  </a:lnTo>
                  <a:lnTo>
                    <a:pt x="126" y="23"/>
                  </a:lnTo>
                  <a:lnTo>
                    <a:pt x="127" y="22"/>
                  </a:lnTo>
                  <a:lnTo>
                    <a:pt x="128" y="22"/>
                  </a:lnTo>
                  <a:lnTo>
                    <a:pt x="128" y="22"/>
                  </a:lnTo>
                  <a:lnTo>
                    <a:pt x="132" y="21"/>
                  </a:lnTo>
                  <a:lnTo>
                    <a:pt x="133" y="21"/>
                  </a:lnTo>
                  <a:lnTo>
                    <a:pt x="134" y="21"/>
                  </a:lnTo>
                  <a:lnTo>
                    <a:pt x="134" y="21"/>
                  </a:lnTo>
                  <a:lnTo>
                    <a:pt x="135" y="20"/>
                  </a:lnTo>
                  <a:lnTo>
                    <a:pt x="136" y="20"/>
                  </a:lnTo>
                  <a:lnTo>
                    <a:pt x="138" y="18"/>
                  </a:lnTo>
                  <a:lnTo>
                    <a:pt x="139" y="18"/>
                  </a:lnTo>
                  <a:lnTo>
                    <a:pt x="139" y="18"/>
                  </a:lnTo>
                  <a:lnTo>
                    <a:pt x="141" y="17"/>
                  </a:lnTo>
                  <a:lnTo>
                    <a:pt x="141" y="17"/>
                  </a:lnTo>
                  <a:lnTo>
                    <a:pt x="142" y="17"/>
                  </a:lnTo>
                  <a:lnTo>
                    <a:pt x="142" y="16"/>
                  </a:lnTo>
                  <a:lnTo>
                    <a:pt x="143" y="16"/>
                  </a:lnTo>
                  <a:lnTo>
                    <a:pt x="143" y="15"/>
                  </a:lnTo>
                  <a:lnTo>
                    <a:pt x="144" y="14"/>
                  </a:lnTo>
                  <a:lnTo>
                    <a:pt x="144" y="13"/>
                  </a:lnTo>
                  <a:lnTo>
                    <a:pt x="145" y="12"/>
                  </a:lnTo>
                  <a:lnTo>
                    <a:pt x="146" y="10"/>
                  </a:lnTo>
                  <a:lnTo>
                    <a:pt x="147" y="8"/>
                  </a:lnTo>
                  <a:lnTo>
                    <a:pt x="147" y="7"/>
                  </a:lnTo>
                  <a:lnTo>
                    <a:pt x="147" y="7"/>
                  </a:lnTo>
                  <a:lnTo>
                    <a:pt x="148" y="6"/>
                  </a:lnTo>
                  <a:lnTo>
                    <a:pt x="148" y="6"/>
                  </a:lnTo>
                  <a:lnTo>
                    <a:pt x="149" y="5"/>
                  </a:lnTo>
                  <a:lnTo>
                    <a:pt x="150" y="5"/>
                  </a:lnTo>
                  <a:lnTo>
                    <a:pt x="153" y="3"/>
                  </a:lnTo>
                  <a:lnTo>
                    <a:pt x="156" y="2"/>
                  </a:lnTo>
                  <a:lnTo>
                    <a:pt x="157" y="1"/>
                  </a:lnTo>
                  <a:lnTo>
                    <a:pt x="158" y="1"/>
                  </a:lnTo>
                  <a:lnTo>
                    <a:pt x="160" y="0"/>
                  </a:lnTo>
                  <a:lnTo>
                    <a:pt x="162" y="0"/>
                  </a:lnTo>
                  <a:lnTo>
                    <a:pt x="162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Freeform 14">
              <a:extLst>
                <a:ext uri="{FF2B5EF4-FFF2-40B4-BE49-F238E27FC236}">
                  <a16:creationId xmlns:a16="http://schemas.microsoft.com/office/drawing/2014/main" id="{8B54BAAA-8D1F-0605-643C-F9C3105EB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301"/>
              <a:ext cx="427" cy="537"/>
            </a:xfrm>
            <a:custGeom>
              <a:avLst/>
              <a:gdLst>
                <a:gd name="T0" fmla="*/ 287 w 427"/>
                <a:gd name="T1" fmla="*/ 2 h 537"/>
                <a:gd name="T2" fmla="*/ 301 w 427"/>
                <a:gd name="T3" fmla="*/ 10 h 537"/>
                <a:gd name="T4" fmla="*/ 305 w 427"/>
                <a:gd name="T5" fmla="*/ 23 h 537"/>
                <a:gd name="T6" fmla="*/ 311 w 427"/>
                <a:gd name="T7" fmla="*/ 34 h 537"/>
                <a:gd name="T8" fmla="*/ 338 w 427"/>
                <a:gd name="T9" fmla="*/ 34 h 537"/>
                <a:gd name="T10" fmla="*/ 337 w 427"/>
                <a:gd name="T11" fmla="*/ 41 h 537"/>
                <a:gd name="T12" fmla="*/ 367 w 427"/>
                <a:gd name="T13" fmla="*/ 52 h 537"/>
                <a:gd name="T14" fmla="*/ 394 w 427"/>
                <a:gd name="T15" fmla="*/ 66 h 537"/>
                <a:gd name="T16" fmla="*/ 406 w 427"/>
                <a:gd name="T17" fmla="*/ 77 h 537"/>
                <a:gd name="T18" fmla="*/ 427 w 427"/>
                <a:gd name="T19" fmla="*/ 109 h 537"/>
                <a:gd name="T20" fmla="*/ 419 w 427"/>
                <a:gd name="T21" fmla="*/ 137 h 537"/>
                <a:gd name="T22" fmla="*/ 416 w 427"/>
                <a:gd name="T23" fmla="*/ 160 h 537"/>
                <a:gd name="T24" fmla="*/ 408 w 427"/>
                <a:gd name="T25" fmla="*/ 178 h 537"/>
                <a:gd name="T26" fmla="*/ 390 w 427"/>
                <a:gd name="T27" fmla="*/ 179 h 537"/>
                <a:gd name="T28" fmla="*/ 382 w 427"/>
                <a:gd name="T29" fmla="*/ 198 h 537"/>
                <a:gd name="T30" fmla="*/ 386 w 427"/>
                <a:gd name="T31" fmla="*/ 204 h 537"/>
                <a:gd name="T32" fmla="*/ 388 w 427"/>
                <a:gd name="T33" fmla="*/ 215 h 537"/>
                <a:gd name="T34" fmla="*/ 388 w 427"/>
                <a:gd name="T35" fmla="*/ 223 h 537"/>
                <a:gd name="T36" fmla="*/ 401 w 427"/>
                <a:gd name="T37" fmla="*/ 232 h 537"/>
                <a:gd name="T38" fmla="*/ 404 w 427"/>
                <a:gd name="T39" fmla="*/ 262 h 537"/>
                <a:gd name="T40" fmla="*/ 403 w 427"/>
                <a:gd name="T41" fmla="*/ 279 h 537"/>
                <a:gd name="T42" fmla="*/ 407 w 427"/>
                <a:gd name="T43" fmla="*/ 305 h 537"/>
                <a:gd name="T44" fmla="*/ 405 w 427"/>
                <a:gd name="T45" fmla="*/ 334 h 537"/>
                <a:gd name="T46" fmla="*/ 404 w 427"/>
                <a:gd name="T47" fmla="*/ 362 h 537"/>
                <a:gd name="T48" fmla="*/ 392 w 427"/>
                <a:gd name="T49" fmla="*/ 381 h 537"/>
                <a:gd name="T50" fmla="*/ 387 w 427"/>
                <a:gd name="T51" fmla="*/ 391 h 537"/>
                <a:gd name="T52" fmla="*/ 384 w 427"/>
                <a:gd name="T53" fmla="*/ 404 h 537"/>
                <a:gd name="T54" fmla="*/ 387 w 427"/>
                <a:gd name="T55" fmla="*/ 422 h 537"/>
                <a:gd name="T56" fmla="*/ 369 w 427"/>
                <a:gd name="T57" fmla="*/ 443 h 537"/>
                <a:gd name="T58" fmla="*/ 351 w 427"/>
                <a:gd name="T59" fmla="*/ 453 h 537"/>
                <a:gd name="T60" fmla="*/ 352 w 427"/>
                <a:gd name="T61" fmla="*/ 485 h 537"/>
                <a:gd name="T62" fmla="*/ 336 w 427"/>
                <a:gd name="T63" fmla="*/ 503 h 537"/>
                <a:gd name="T64" fmla="*/ 334 w 427"/>
                <a:gd name="T65" fmla="*/ 526 h 537"/>
                <a:gd name="T66" fmla="*/ 318 w 427"/>
                <a:gd name="T67" fmla="*/ 537 h 537"/>
                <a:gd name="T68" fmla="*/ 292 w 427"/>
                <a:gd name="T69" fmla="*/ 509 h 537"/>
                <a:gd name="T70" fmla="*/ 269 w 427"/>
                <a:gd name="T71" fmla="*/ 465 h 537"/>
                <a:gd name="T72" fmla="*/ 236 w 427"/>
                <a:gd name="T73" fmla="*/ 454 h 537"/>
                <a:gd name="T74" fmla="*/ 220 w 427"/>
                <a:gd name="T75" fmla="*/ 429 h 537"/>
                <a:gd name="T76" fmla="*/ 191 w 427"/>
                <a:gd name="T77" fmla="*/ 392 h 537"/>
                <a:gd name="T78" fmla="*/ 176 w 427"/>
                <a:gd name="T79" fmla="*/ 366 h 537"/>
                <a:gd name="T80" fmla="*/ 141 w 427"/>
                <a:gd name="T81" fmla="*/ 347 h 537"/>
                <a:gd name="T82" fmla="*/ 117 w 427"/>
                <a:gd name="T83" fmla="*/ 349 h 537"/>
                <a:gd name="T84" fmla="*/ 98 w 427"/>
                <a:gd name="T85" fmla="*/ 322 h 537"/>
                <a:gd name="T86" fmla="*/ 71 w 427"/>
                <a:gd name="T87" fmla="*/ 300 h 537"/>
                <a:gd name="T88" fmla="*/ 66 w 427"/>
                <a:gd name="T89" fmla="*/ 263 h 537"/>
                <a:gd name="T90" fmla="*/ 48 w 427"/>
                <a:gd name="T91" fmla="*/ 242 h 537"/>
                <a:gd name="T92" fmla="*/ 35 w 427"/>
                <a:gd name="T93" fmla="*/ 213 h 537"/>
                <a:gd name="T94" fmla="*/ 32 w 427"/>
                <a:gd name="T95" fmla="*/ 188 h 537"/>
                <a:gd name="T96" fmla="*/ 1 w 427"/>
                <a:gd name="T97" fmla="*/ 160 h 537"/>
                <a:gd name="T98" fmla="*/ 18 w 427"/>
                <a:gd name="T99" fmla="*/ 138 h 537"/>
                <a:gd name="T100" fmla="*/ 35 w 427"/>
                <a:gd name="T101" fmla="*/ 103 h 537"/>
                <a:gd name="T102" fmla="*/ 63 w 427"/>
                <a:gd name="T103" fmla="*/ 87 h 537"/>
                <a:gd name="T104" fmla="*/ 83 w 427"/>
                <a:gd name="T105" fmla="*/ 91 h 537"/>
                <a:gd name="T106" fmla="*/ 95 w 427"/>
                <a:gd name="T107" fmla="*/ 79 h 537"/>
                <a:gd name="T108" fmla="*/ 124 w 427"/>
                <a:gd name="T109" fmla="*/ 74 h 537"/>
                <a:gd name="T110" fmla="*/ 156 w 427"/>
                <a:gd name="T111" fmla="*/ 80 h 537"/>
                <a:gd name="T112" fmla="*/ 170 w 427"/>
                <a:gd name="T113" fmla="*/ 60 h 537"/>
                <a:gd name="T114" fmla="*/ 200 w 427"/>
                <a:gd name="T115" fmla="*/ 41 h 537"/>
                <a:gd name="T116" fmla="*/ 229 w 427"/>
                <a:gd name="T117" fmla="*/ 36 h 537"/>
                <a:gd name="T118" fmla="*/ 250 w 427"/>
                <a:gd name="T119" fmla="*/ 46 h 537"/>
                <a:gd name="T120" fmla="*/ 259 w 427"/>
                <a:gd name="T121" fmla="*/ 24 h 537"/>
                <a:gd name="T122" fmla="*/ 267 w 427"/>
                <a:gd name="T123" fmla="*/ 11 h 537"/>
                <a:gd name="T124" fmla="*/ 278 w 427"/>
                <a:gd name="T125" fmla="*/ 1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537">
                  <a:moveTo>
                    <a:pt x="279" y="1"/>
                  </a:moveTo>
                  <a:lnTo>
                    <a:pt x="279" y="1"/>
                  </a:lnTo>
                  <a:lnTo>
                    <a:pt x="279" y="1"/>
                  </a:lnTo>
                  <a:lnTo>
                    <a:pt x="279" y="2"/>
                  </a:lnTo>
                  <a:lnTo>
                    <a:pt x="279" y="4"/>
                  </a:lnTo>
                  <a:lnTo>
                    <a:pt x="279" y="4"/>
                  </a:lnTo>
                  <a:lnTo>
                    <a:pt x="280" y="5"/>
                  </a:lnTo>
                  <a:lnTo>
                    <a:pt x="280" y="5"/>
                  </a:lnTo>
                  <a:lnTo>
                    <a:pt x="280" y="6"/>
                  </a:lnTo>
                  <a:lnTo>
                    <a:pt x="281" y="6"/>
                  </a:lnTo>
                  <a:lnTo>
                    <a:pt x="281" y="6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83" y="5"/>
                  </a:lnTo>
                  <a:lnTo>
                    <a:pt x="283" y="5"/>
                  </a:lnTo>
                  <a:lnTo>
                    <a:pt x="285" y="3"/>
                  </a:lnTo>
                  <a:lnTo>
                    <a:pt x="285" y="3"/>
                  </a:lnTo>
                  <a:lnTo>
                    <a:pt x="286" y="2"/>
                  </a:lnTo>
                  <a:lnTo>
                    <a:pt x="286" y="2"/>
                  </a:lnTo>
                  <a:lnTo>
                    <a:pt x="287" y="2"/>
                  </a:lnTo>
                  <a:lnTo>
                    <a:pt x="288" y="1"/>
                  </a:lnTo>
                  <a:lnTo>
                    <a:pt x="288" y="2"/>
                  </a:lnTo>
                  <a:lnTo>
                    <a:pt x="288" y="2"/>
                  </a:lnTo>
                  <a:lnTo>
                    <a:pt x="289" y="3"/>
                  </a:lnTo>
                  <a:lnTo>
                    <a:pt x="289" y="4"/>
                  </a:lnTo>
                  <a:lnTo>
                    <a:pt x="291" y="6"/>
                  </a:lnTo>
                  <a:lnTo>
                    <a:pt x="292" y="7"/>
                  </a:lnTo>
                  <a:lnTo>
                    <a:pt x="292" y="8"/>
                  </a:lnTo>
                  <a:lnTo>
                    <a:pt x="293" y="10"/>
                  </a:lnTo>
                  <a:lnTo>
                    <a:pt x="293" y="11"/>
                  </a:lnTo>
                  <a:lnTo>
                    <a:pt x="293" y="11"/>
                  </a:lnTo>
                  <a:lnTo>
                    <a:pt x="294" y="11"/>
                  </a:lnTo>
                  <a:lnTo>
                    <a:pt x="294" y="12"/>
                  </a:lnTo>
                  <a:lnTo>
                    <a:pt x="294" y="12"/>
                  </a:lnTo>
                  <a:lnTo>
                    <a:pt x="295" y="12"/>
                  </a:lnTo>
                  <a:lnTo>
                    <a:pt x="295" y="12"/>
                  </a:lnTo>
                  <a:lnTo>
                    <a:pt x="296" y="12"/>
                  </a:lnTo>
                  <a:lnTo>
                    <a:pt x="299" y="11"/>
                  </a:lnTo>
                  <a:lnTo>
                    <a:pt x="299" y="11"/>
                  </a:lnTo>
                  <a:lnTo>
                    <a:pt x="299" y="11"/>
                  </a:lnTo>
                  <a:lnTo>
                    <a:pt x="301" y="10"/>
                  </a:lnTo>
                  <a:lnTo>
                    <a:pt x="302" y="9"/>
                  </a:lnTo>
                  <a:lnTo>
                    <a:pt x="302" y="9"/>
                  </a:lnTo>
                  <a:lnTo>
                    <a:pt x="303" y="8"/>
                  </a:lnTo>
                  <a:lnTo>
                    <a:pt x="304" y="7"/>
                  </a:lnTo>
                  <a:lnTo>
                    <a:pt x="304" y="8"/>
                  </a:lnTo>
                  <a:lnTo>
                    <a:pt x="304" y="9"/>
                  </a:lnTo>
                  <a:lnTo>
                    <a:pt x="305" y="10"/>
                  </a:lnTo>
                  <a:lnTo>
                    <a:pt x="306" y="11"/>
                  </a:lnTo>
                  <a:lnTo>
                    <a:pt x="307" y="13"/>
                  </a:lnTo>
                  <a:lnTo>
                    <a:pt x="307" y="14"/>
                  </a:lnTo>
                  <a:lnTo>
                    <a:pt x="308" y="14"/>
                  </a:lnTo>
                  <a:lnTo>
                    <a:pt x="308" y="15"/>
                  </a:lnTo>
                  <a:lnTo>
                    <a:pt x="308" y="16"/>
                  </a:lnTo>
                  <a:lnTo>
                    <a:pt x="308" y="17"/>
                  </a:lnTo>
                  <a:lnTo>
                    <a:pt x="308" y="18"/>
                  </a:lnTo>
                  <a:lnTo>
                    <a:pt x="308" y="19"/>
                  </a:lnTo>
                  <a:lnTo>
                    <a:pt x="308" y="19"/>
                  </a:lnTo>
                  <a:lnTo>
                    <a:pt x="308" y="19"/>
                  </a:lnTo>
                  <a:lnTo>
                    <a:pt x="307" y="20"/>
                  </a:lnTo>
                  <a:lnTo>
                    <a:pt x="306" y="22"/>
                  </a:lnTo>
                  <a:lnTo>
                    <a:pt x="305" y="23"/>
                  </a:lnTo>
                  <a:lnTo>
                    <a:pt x="304" y="25"/>
                  </a:lnTo>
                  <a:lnTo>
                    <a:pt x="303" y="27"/>
                  </a:lnTo>
                  <a:lnTo>
                    <a:pt x="303" y="28"/>
                  </a:lnTo>
                  <a:lnTo>
                    <a:pt x="302" y="28"/>
                  </a:lnTo>
                  <a:lnTo>
                    <a:pt x="302" y="29"/>
                  </a:lnTo>
                  <a:lnTo>
                    <a:pt x="302" y="30"/>
                  </a:lnTo>
                  <a:lnTo>
                    <a:pt x="302" y="30"/>
                  </a:lnTo>
                  <a:lnTo>
                    <a:pt x="302" y="31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3" y="33"/>
                  </a:lnTo>
                  <a:lnTo>
                    <a:pt x="303" y="33"/>
                  </a:lnTo>
                  <a:lnTo>
                    <a:pt x="304" y="33"/>
                  </a:lnTo>
                  <a:lnTo>
                    <a:pt x="305" y="33"/>
                  </a:lnTo>
                  <a:lnTo>
                    <a:pt x="308" y="34"/>
                  </a:lnTo>
                  <a:lnTo>
                    <a:pt x="308" y="34"/>
                  </a:lnTo>
                  <a:lnTo>
                    <a:pt x="309" y="34"/>
                  </a:lnTo>
                  <a:lnTo>
                    <a:pt x="309" y="34"/>
                  </a:lnTo>
                  <a:lnTo>
                    <a:pt x="310" y="34"/>
                  </a:lnTo>
                  <a:lnTo>
                    <a:pt x="311" y="34"/>
                  </a:lnTo>
                  <a:lnTo>
                    <a:pt x="312" y="33"/>
                  </a:lnTo>
                  <a:lnTo>
                    <a:pt x="314" y="32"/>
                  </a:lnTo>
                  <a:lnTo>
                    <a:pt x="316" y="32"/>
                  </a:lnTo>
                  <a:lnTo>
                    <a:pt x="317" y="32"/>
                  </a:lnTo>
                  <a:lnTo>
                    <a:pt x="317" y="31"/>
                  </a:lnTo>
                  <a:lnTo>
                    <a:pt x="319" y="31"/>
                  </a:lnTo>
                  <a:lnTo>
                    <a:pt x="321" y="31"/>
                  </a:lnTo>
                  <a:lnTo>
                    <a:pt x="322" y="31"/>
                  </a:lnTo>
                  <a:lnTo>
                    <a:pt x="323" y="32"/>
                  </a:lnTo>
                  <a:lnTo>
                    <a:pt x="326" y="32"/>
                  </a:lnTo>
                  <a:lnTo>
                    <a:pt x="327" y="32"/>
                  </a:lnTo>
                  <a:lnTo>
                    <a:pt x="328" y="32"/>
                  </a:lnTo>
                  <a:lnTo>
                    <a:pt x="328" y="32"/>
                  </a:lnTo>
                  <a:lnTo>
                    <a:pt x="331" y="32"/>
                  </a:lnTo>
                  <a:lnTo>
                    <a:pt x="333" y="32"/>
                  </a:lnTo>
                  <a:lnTo>
                    <a:pt x="334" y="32"/>
                  </a:lnTo>
                  <a:lnTo>
                    <a:pt x="334" y="32"/>
                  </a:lnTo>
                  <a:lnTo>
                    <a:pt x="335" y="32"/>
                  </a:lnTo>
                  <a:lnTo>
                    <a:pt x="336" y="32"/>
                  </a:lnTo>
                  <a:lnTo>
                    <a:pt x="337" y="33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9" y="34"/>
                  </a:lnTo>
                  <a:lnTo>
                    <a:pt x="338" y="35"/>
                  </a:lnTo>
                  <a:lnTo>
                    <a:pt x="338" y="35"/>
                  </a:lnTo>
                  <a:lnTo>
                    <a:pt x="336" y="36"/>
                  </a:lnTo>
                  <a:lnTo>
                    <a:pt x="336" y="36"/>
                  </a:lnTo>
                  <a:lnTo>
                    <a:pt x="335" y="37"/>
                  </a:lnTo>
                  <a:lnTo>
                    <a:pt x="335" y="37"/>
                  </a:lnTo>
                  <a:lnTo>
                    <a:pt x="334" y="37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9"/>
                  </a:lnTo>
                  <a:lnTo>
                    <a:pt x="335" y="39"/>
                  </a:lnTo>
                  <a:lnTo>
                    <a:pt x="335" y="39"/>
                  </a:lnTo>
                  <a:lnTo>
                    <a:pt x="335" y="40"/>
                  </a:lnTo>
                  <a:lnTo>
                    <a:pt x="336" y="41"/>
                  </a:lnTo>
                  <a:lnTo>
                    <a:pt x="337" y="41"/>
                  </a:lnTo>
                  <a:lnTo>
                    <a:pt x="338" y="42"/>
                  </a:lnTo>
                  <a:lnTo>
                    <a:pt x="339" y="43"/>
                  </a:lnTo>
                  <a:lnTo>
                    <a:pt x="342" y="44"/>
                  </a:lnTo>
                  <a:lnTo>
                    <a:pt x="344" y="45"/>
                  </a:lnTo>
                  <a:lnTo>
                    <a:pt x="346" y="47"/>
                  </a:lnTo>
                  <a:lnTo>
                    <a:pt x="349" y="49"/>
                  </a:lnTo>
                  <a:lnTo>
                    <a:pt x="350" y="50"/>
                  </a:lnTo>
                  <a:lnTo>
                    <a:pt x="352" y="51"/>
                  </a:lnTo>
                  <a:lnTo>
                    <a:pt x="352" y="51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6" y="52"/>
                  </a:lnTo>
                  <a:lnTo>
                    <a:pt x="357" y="52"/>
                  </a:lnTo>
                  <a:lnTo>
                    <a:pt x="358" y="53"/>
                  </a:lnTo>
                  <a:lnTo>
                    <a:pt x="359" y="53"/>
                  </a:lnTo>
                  <a:lnTo>
                    <a:pt x="361" y="53"/>
                  </a:lnTo>
                  <a:lnTo>
                    <a:pt x="362" y="53"/>
                  </a:lnTo>
                  <a:lnTo>
                    <a:pt x="363" y="53"/>
                  </a:lnTo>
                  <a:lnTo>
                    <a:pt x="365" y="53"/>
                  </a:lnTo>
                  <a:lnTo>
                    <a:pt x="366" y="52"/>
                  </a:lnTo>
                  <a:lnTo>
                    <a:pt x="367" y="52"/>
                  </a:lnTo>
                  <a:lnTo>
                    <a:pt x="370" y="51"/>
                  </a:lnTo>
                  <a:lnTo>
                    <a:pt x="371" y="51"/>
                  </a:lnTo>
                  <a:lnTo>
                    <a:pt x="372" y="51"/>
                  </a:lnTo>
                  <a:lnTo>
                    <a:pt x="374" y="51"/>
                  </a:lnTo>
                  <a:lnTo>
                    <a:pt x="374" y="51"/>
                  </a:lnTo>
                  <a:lnTo>
                    <a:pt x="376" y="51"/>
                  </a:lnTo>
                  <a:lnTo>
                    <a:pt x="376" y="52"/>
                  </a:lnTo>
                  <a:lnTo>
                    <a:pt x="377" y="52"/>
                  </a:lnTo>
                  <a:lnTo>
                    <a:pt x="378" y="52"/>
                  </a:lnTo>
                  <a:lnTo>
                    <a:pt x="378" y="53"/>
                  </a:lnTo>
                  <a:lnTo>
                    <a:pt x="379" y="53"/>
                  </a:lnTo>
                  <a:lnTo>
                    <a:pt x="380" y="54"/>
                  </a:lnTo>
                  <a:lnTo>
                    <a:pt x="382" y="57"/>
                  </a:lnTo>
                  <a:lnTo>
                    <a:pt x="384" y="59"/>
                  </a:lnTo>
                  <a:lnTo>
                    <a:pt x="385" y="60"/>
                  </a:lnTo>
                  <a:lnTo>
                    <a:pt x="387" y="62"/>
                  </a:lnTo>
                  <a:lnTo>
                    <a:pt x="390" y="64"/>
                  </a:lnTo>
                  <a:lnTo>
                    <a:pt x="391" y="65"/>
                  </a:lnTo>
                  <a:lnTo>
                    <a:pt x="392" y="66"/>
                  </a:lnTo>
                  <a:lnTo>
                    <a:pt x="393" y="66"/>
                  </a:lnTo>
                  <a:lnTo>
                    <a:pt x="394" y="66"/>
                  </a:lnTo>
                  <a:lnTo>
                    <a:pt x="397" y="67"/>
                  </a:lnTo>
                  <a:lnTo>
                    <a:pt x="398" y="67"/>
                  </a:lnTo>
                  <a:lnTo>
                    <a:pt x="399" y="67"/>
                  </a:lnTo>
                  <a:lnTo>
                    <a:pt x="400" y="67"/>
                  </a:lnTo>
                  <a:lnTo>
                    <a:pt x="400" y="68"/>
                  </a:lnTo>
                  <a:lnTo>
                    <a:pt x="401" y="68"/>
                  </a:lnTo>
                  <a:lnTo>
                    <a:pt x="402" y="69"/>
                  </a:lnTo>
                  <a:lnTo>
                    <a:pt x="402" y="69"/>
                  </a:lnTo>
                  <a:lnTo>
                    <a:pt x="403" y="70"/>
                  </a:lnTo>
                  <a:lnTo>
                    <a:pt x="403" y="70"/>
                  </a:lnTo>
                  <a:lnTo>
                    <a:pt x="403" y="71"/>
                  </a:lnTo>
                  <a:lnTo>
                    <a:pt x="404" y="72"/>
                  </a:lnTo>
                  <a:lnTo>
                    <a:pt x="404" y="72"/>
                  </a:lnTo>
                  <a:lnTo>
                    <a:pt x="404" y="75"/>
                  </a:lnTo>
                  <a:lnTo>
                    <a:pt x="404" y="76"/>
                  </a:lnTo>
                  <a:lnTo>
                    <a:pt x="405" y="76"/>
                  </a:lnTo>
                  <a:lnTo>
                    <a:pt x="405" y="76"/>
                  </a:lnTo>
                  <a:lnTo>
                    <a:pt x="405" y="77"/>
                  </a:lnTo>
                  <a:lnTo>
                    <a:pt x="405" y="77"/>
                  </a:lnTo>
                  <a:lnTo>
                    <a:pt x="406" y="77"/>
                  </a:lnTo>
                  <a:lnTo>
                    <a:pt x="406" y="77"/>
                  </a:lnTo>
                  <a:lnTo>
                    <a:pt x="409" y="78"/>
                  </a:lnTo>
                  <a:lnTo>
                    <a:pt x="412" y="79"/>
                  </a:lnTo>
                  <a:lnTo>
                    <a:pt x="414" y="79"/>
                  </a:lnTo>
                  <a:lnTo>
                    <a:pt x="415" y="80"/>
                  </a:lnTo>
                  <a:lnTo>
                    <a:pt x="418" y="81"/>
                  </a:lnTo>
                  <a:lnTo>
                    <a:pt x="424" y="85"/>
                  </a:lnTo>
                  <a:lnTo>
                    <a:pt x="425" y="85"/>
                  </a:lnTo>
                  <a:lnTo>
                    <a:pt x="425" y="86"/>
                  </a:lnTo>
                  <a:lnTo>
                    <a:pt x="425" y="86"/>
                  </a:lnTo>
                  <a:lnTo>
                    <a:pt x="426" y="86"/>
                  </a:lnTo>
                  <a:lnTo>
                    <a:pt x="426" y="87"/>
                  </a:lnTo>
                  <a:lnTo>
                    <a:pt x="426" y="87"/>
                  </a:lnTo>
                  <a:lnTo>
                    <a:pt x="426" y="92"/>
                  </a:lnTo>
                  <a:lnTo>
                    <a:pt x="426" y="94"/>
                  </a:lnTo>
                  <a:lnTo>
                    <a:pt x="427" y="97"/>
                  </a:lnTo>
                  <a:lnTo>
                    <a:pt x="427" y="101"/>
                  </a:lnTo>
                  <a:lnTo>
                    <a:pt x="427" y="103"/>
                  </a:lnTo>
                  <a:lnTo>
                    <a:pt x="427" y="107"/>
                  </a:lnTo>
                  <a:lnTo>
                    <a:pt x="427" y="108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7" y="110"/>
                  </a:lnTo>
                  <a:lnTo>
                    <a:pt x="427" y="111"/>
                  </a:lnTo>
                  <a:lnTo>
                    <a:pt x="426" y="111"/>
                  </a:lnTo>
                  <a:lnTo>
                    <a:pt x="426" y="112"/>
                  </a:lnTo>
                  <a:lnTo>
                    <a:pt x="424" y="113"/>
                  </a:lnTo>
                  <a:lnTo>
                    <a:pt x="424" y="114"/>
                  </a:lnTo>
                  <a:lnTo>
                    <a:pt x="423" y="114"/>
                  </a:lnTo>
                  <a:lnTo>
                    <a:pt x="423" y="115"/>
                  </a:lnTo>
                  <a:lnTo>
                    <a:pt x="422" y="116"/>
                  </a:lnTo>
                  <a:lnTo>
                    <a:pt x="422" y="117"/>
                  </a:lnTo>
                  <a:lnTo>
                    <a:pt x="421" y="119"/>
                  </a:lnTo>
                  <a:lnTo>
                    <a:pt x="420" y="122"/>
                  </a:lnTo>
                  <a:lnTo>
                    <a:pt x="420" y="123"/>
                  </a:lnTo>
                  <a:lnTo>
                    <a:pt x="420" y="124"/>
                  </a:lnTo>
                  <a:lnTo>
                    <a:pt x="419" y="129"/>
                  </a:lnTo>
                  <a:lnTo>
                    <a:pt x="419" y="130"/>
                  </a:lnTo>
                  <a:lnTo>
                    <a:pt x="419" y="131"/>
                  </a:lnTo>
                  <a:lnTo>
                    <a:pt x="419" y="134"/>
                  </a:lnTo>
                  <a:lnTo>
                    <a:pt x="419" y="135"/>
                  </a:lnTo>
                  <a:lnTo>
                    <a:pt x="419" y="136"/>
                  </a:lnTo>
                  <a:lnTo>
                    <a:pt x="419" y="137"/>
                  </a:lnTo>
                  <a:lnTo>
                    <a:pt x="419" y="138"/>
                  </a:lnTo>
                  <a:lnTo>
                    <a:pt x="419" y="139"/>
                  </a:lnTo>
                  <a:lnTo>
                    <a:pt x="418" y="141"/>
                  </a:lnTo>
                  <a:lnTo>
                    <a:pt x="417" y="144"/>
                  </a:lnTo>
                  <a:lnTo>
                    <a:pt x="417" y="144"/>
                  </a:lnTo>
                  <a:lnTo>
                    <a:pt x="417" y="145"/>
                  </a:lnTo>
                  <a:lnTo>
                    <a:pt x="417" y="146"/>
                  </a:lnTo>
                  <a:lnTo>
                    <a:pt x="417" y="147"/>
                  </a:lnTo>
                  <a:lnTo>
                    <a:pt x="417" y="148"/>
                  </a:lnTo>
                  <a:lnTo>
                    <a:pt x="417" y="151"/>
                  </a:lnTo>
                  <a:lnTo>
                    <a:pt x="417" y="152"/>
                  </a:lnTo>
                  <a:lnTo>
                    <a:pt x="416" y="153"/>
                  </a:lnTo>
                  <a:lnTo>
                    <a:pt x="416" y="154"/>
                  </a:lnTo>
                  <a:lnTo>
                    <a:pt x="416" y="155"/>
                  </a:lnTo>
                  <a:lnTo>
                    <a:pt x="416" y="156"/>
                  </a:lnTo>
                  <a:lnTo>
                    <a:pt x="415" y="158"/>
                  </a:lnTo>
                  <a:lnTo>
                    <a:pt x="415" y="159"/>
                  </a:lnTo>
                  <a:lnTo>
                    <a:pt x="415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8" y="161"/>
                  </a:lnTo>
                  <a:lnTo>
                    <a:pt x="418" y="162"/>
                  </a:lnTo>
                  <a:lnTo>
                    <a:pt x="419" y="162"/>
                  </a:lnTo>
                  <a:lnTo>
                    <a:pt x="419" y="163"/>
                  </a:lnTo>
                  <a:lnTo>
                    <a:pt x="420" y="163"/>
                  </a:lnTo>
                  <a:lnTo>
                    <a:pt x="420" y="164"/>
                  </a:lnTo>
                  <a:lnTo>
                    <a:pt x="420" y="165"/>
                  </a:lnTo>
                  <a:lnTo>
                    <a:pt x="420" y="165"/>
                  </a:lnTo>
                  <a:lnTo>
                    <a:pt x="419" y="166"/>
                  </a:lnTo>
                  <a:lnTo>
                    <a:pt x="419" y="166"/>
                  </a:lnTo>
                  <a:lnTo>
                    <a:pt x="419" y="167"/>
                  </a:lnTo>
                  <a:lnTo>
                    <a:pt x="418" y="167"/>
                  </a:lnTo>
                  <a:lnTo>
                    <a:pt x="417" y="168"/>
                  </a:lnTo>
                  <a:lnTo>
                    <a:pt x="414" y="171"/>
                  </a:lnTo>
                  <a:lnTo>
                    <a:pt x="413" y="172"/>
                  </a:lnTo>
                  <a:lnTo>
                    <a:pt x="412" y="173"/>
                  </a:lnTo>
                  <a:lnTo>
                    <a:pt x="411" y="174"/>
                  </a:lnTo>
                  <a:lnTo>
                    <a:pt x="410" y="176"/>
                  </a:lnTo>
                  <a:lnTo>
                    <a:pt x="409" y="177"/>
                  </a:lnTo>
                  <a:lnTo>
                    <a:pt x="408" y="177"/>
                  </a:lnTo>
                  <a:lnTo>
                    <a:pt x="408" y="178"/>
                  </a:lnTo>
                  <a:lnTo>
                    <a:pt x="407" y="178"/>
                  </a:lnTo>
                  <a:lnTo>
                    <a:pt x="407" y="178"/>
                  </a:lnTo>
                  <a:lnTo>
                    <a:pt x="406" y="179"/>
                  </a:lnTo>
                  <a:lnTo>
                    <a:pt x="406" y="179"/>
                  </a:lnTo>
                  <a:lnTo>
                    <a:pt x="405" y="179"/>
                  </a:lnTo>
                  <a:lnTo>
                    <a:pt x="405" y="179"/>
                  </a:lnTo>
                  <a:lnTo>
                    <a:pt x="404" y="178"/>
                  </a:lnTo>
                  <a:lnTo>
                    <a:pt x="403" y="178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399" y="176"/>
                  </a:lnTo>
                  <a:lnTo>
                    <a:pt x="398" y="176"/>
                  </a:lnTo>
                  <a:lnTo>
                    <a:pt x="397" y="176"/>
                  </a:lnTo>
                  <a:lnTo>
                    <a:pt x="397" y="176"/>
                  </a:lnTo>
                  <a:lnTo>
                    <a:pt x="396" y="176"/>
                  </a:lnTo>
                  <a:lnTo>
                    <a:pt x="395" y="177"/>
                  </a:lnTo>
                  <a:lnTo>
                    <a:pt x="394" y="177"/>
                  </a:lnTo>
                  <a:lnTo>
                    <a:pt x="392" y="178"/>
                  </a:lnTo>
                  <a:lnTo>
                    <a:pt x="391" y="179"/>
                  </a:lnTo>
                  <a:lnTo>
                    <a:pt x="390" y="179"/>
                  </a:lnTo>
                  <a:lnTo>
                    <a:pt x="389" y="180"/>
                  </a:lnTo>
                  <a:lnTo>
                    <a:pt x="388" y="181"/>
                  </a:lnTo>
                  <a:lnTo>
                    <a:pt x="387" y="182"/>
                  </a:lnTo>
                  <a:lnTo>
                    <a:pt x="386" y="182"/>
                  </a:lnTo>
                  <a:lnTo>
                    <a:pt x="386" y="183"/>
                  </a:lnTo>
                  <a:lnTo>
                    <a:pt x="385" y="185"/>
                  </a:lnTo>
                  <a:lnTo>
                    <a:pt x="382" y="188"/>
                  </a:lnTo>
                  <a:lnTo>
                    <a:pt x="381" y="189"/>
                  </a:lnTo>
                  <a:lnTo>
                    <a:pt x="381" y="190"/>
                  </a:lnTo>
                  <a:lnTo>
                    <a:pt x="381" y="191"/>
                  </a:lnTo>
                  <a:lnTo>
                    <a:pt x="380" y="192"/>
                  </a:lnTo>
                  <a:lnTo>
                    <a:pt x="380" y="193"/>
                  </a:lnTo>
                  <a:lnTo>
                    <a:pt x="380" y="194"/>
                  </a:lnTo>
                  <a:lnTo>
                    <a:pt x="380" y="195"/>
                  </a:lnTo>
                  <a:lnTo>
                    <a:pt x="380" y="195"/>
                  </a:lnTo>
                  <a:lnTo>
                    <a:pt x="380" y="196"/>
                  </a:lnTo>
                  <a:lnTo>
                    <a:pt x="381" y="196"/>
                  </a:lnTo>
                  <a:lnTo>
                    <a:pt x="381" y="197"/>
                  </a:lnTo>
                  <a:lnTo>
                    <a:pt x="381" y="197"/>
                  </a:lnTo>
                  <a:lnTo>
                    <a:pt x="381" y="197"/>
                  </a:lnTo>
                  <a:lnTo>
                    <a:pt x="382" y="198"/>
                  </a:lnTo>
                  <a:lnTo>
                    <a:pt x="382" y="198"/>
                  </a:lnTo>
                  <a:lnTo>
                    <a:pt x="383" y="198"/>
                  </a:lnTo>
                  <a:lnTo>
                    <a:pt x="385" y="197"/>
                  </a:lnTo>
                  <a:lnTo>
                    <a:pt x="386" y="197"/>
                  </a:lnTo>
                  <a:lnTo>
                    <a:pt x="387" y="197"/>
                  </a:lnTo>
                  <a:lnTo>
                    <a:pt x="388" y="197"/>
                  </a:lnTo>
                  <a:lnTo>
                    <a:pt x="390" y="197"/>
                  </a:lnTo>
                  <a:lnTo>
                    <a:pt x="391" y="198"/>
                  </a:lnTo>
                  <a:lnTo>
                    <a:pt x="391" y="198"/>
                  </a:lnTo>
                  <a:lnTo>
                    <a:pt x="392" y="198"/>
                  </a:lnTo>
                  <a:lnTo>
                    <a:pt x="392" y="198"/>
                  </a:lnTo>
                  <a:lnTo>
                    <a:pt x="392" y="199"/>
                  </a:lnTo>
                  <a:lnTo>
                    <a:pt x="392" y="199"/>
                  </a:lnTo>
                  <a:lnTo>
                    <a:pt x="393" y="199"/>
                  </a:lnTo>
                  <a:lnTo>
                    <a:pt x="392" y="200"/>
                  </a:lnTo>
                  <a:lnTo>
                    <a:pt x="392" y="200"/>
                  </a:lnTo>
                  <a:lnTo>
                    <a:pt x="392" y="201"/>
                  </a:lnTo>
                  <a:lnTo>
                    <a:pt x="391" y="201"/>
                  </a:lnTo>
                  <a:lnTo>
                    <a:pt x="390" y="202"/>
                  </a:lnTo>
                  <a:lnTo>
                    <a:pt x="386" y="203"/>
                  </a:lnTo>
                  <a:lnTo>
                    <a:pt x="386" y="204"/>
                  </a:lnTo>
                  <a:lnTo>
                    <a:pt x="386" y="204"/>
                  </a:lnTo>
                  <a:lnTo>
                    <a:pt x="386" y="204"/>
                  </a:lnTo>
                  <a:lnTo>
                    <a:pt x="385" y="204"/>
                  </a:lnTo>
                  <a:lnTo>
                    <a:pt x="385" y="205"/>
                  </a:lnTo>
                  <a:lnTo>
                    <a:pt x="385" y="206"/>
                  </a:lnTo>
                  <a:lnTo>
                    <a:pt x="386" y="206"/>
                  </a:lnTo>
                  <a:lnTo>
                    <a:pt x="386" y="207"/>
                  </a:lnTo>
                  <a:lnTo>
                    <a:pt x="386" y="207"/>
                  </a:lnTo>
                  <a:lnTo>
                    <a:pt x="386" y="208"/>
                  </a:lnTo>
                  <a:lnTo>
                    <a:pt x="388" y="209"/>
                  </a:lnTo>
                  <a:lnTo>
                    <a:pt x="388" y="210"/>
                  </a:lnTo>
                  <a:lnTo>
                    <a:pt x="389" y="211"/>
                  </a:lnTo>
                  <a:lnTo>
                    <a:pt x="389" y="211"/>
                  </a:lnTo>
                  <a:lnTo>
                    <a:pt x="390" y="212"/>
                  </a:lnTo>
                  <a:lnTo>
                    <a:pt x="390" y="213"/>
                  </a:lnTo>
                  <a:lnTo>
                    <a:pt x="390" y="213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8" y="215"/>
                  </a:lnTo>
                  <a:lnTo>
                    <a:pt x="388" y="215"/>
                  </a:lnTo>
                  <a:lnTo>
                    <a:pt x="387" y="215"/>
                  </a:lnTo>
                  <a:lnTo>
                    <a:pt x="386" y="215"/>
                  </a:lnTo>
                  <a:lnTo>
                    <a:pt x="385" y="215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7"/>
                  </a:lnTo>
                  <a:lnTo>
                    <a:pt x="385" y="217"/>
                  </a:lnTo>
                  <a:lnTo>
                    <a:pt x="386" y="218"/>
                  </a:lnTo>
                  <a:lnTo>
                    <a:pt x="387" y="219"/>
                  </a:lnTo>
                  <a:lnTo>
                    <a:pt x="388" y="219"/>
                  </a:lnTo>
                  <a:lnTo>
                    <a:pt x="388" y="219"/>
                  </a:lnTo>
                  <a:lnTo>
                    <a:pt x="388" y="220"/>
                  </a:lnTo>
                  <a:lnTo>
                    <a:pt x="388" y="220"/>
                  </a:lnTo>
                  <a:lnTo>
                    <a:pt x="388" y="221"/>
                  </a:lnTo>
                  <a:lnTo>
                    <a:pt x="388" y="222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9" y="223"/>
                  </a:lnTo>
                  <a:lnTo>
                    <a:pt x="389" y="224"/>
                  </a:lnTo>
                  <a:lnTo>
                    <a:pt x="389" y="224"/>
                  </a:lnTo>
                  <a:lnTo>
                    <a:pt x="390" y="224"/>
                  </a:lnTo>
                  <a:lnTo>
                    <a:pt x="391" y="224"/>
                  </a:lnTo>
                  <a:lnTo>
                    <a:pt x="393" y="224"/>
                  </a:lnTo>
                  <a:lnTo>
                    <a:pt x="394" y="224"/>
                  </a:lnTo>
                  <a:lnTo>
                    <a:pt x="395" y="224"/>
                  </a:lnTo>
                  <a:lnTo>
                    <a:pt x="396" y="224"/>
                  </a:lnTo>
                  <a:lnTo>
                    <a:pt x="397" y="225"/>
                  </a:lnTo>
                  <a:lnTo>
                    <a:pt x="398" y="225"/>
                  </a:lnTo>
                  <a:lnTo>
                    <a:pt x="399" y="226"/>
                  </a:lnTo>
                  <a:lnTo>
                    <a:pt x="400" y="226"/>
                  </a:lnTo>
                  <a:lnTo>
                    <a:pt x="400" y="227"/>
                  </a:lnTo>
                  <a:lnTo>
                    <a:pt x="400" y="227"/>
                  </a:lnTo>
                  <a:lnTo>
                    <a:pt x="401" y="228"/>
                  </a:lnTo>
                  <a:lnTo>
                    <a:pt x="401" y="228"/>
                  </a:lnTo>
                  <a:lnTo>
                    <a:pt x="401" y="229"/>
                  </a:lnTo>
                  <a:lnTo>
                    <a:pt x="401" y="230"/>
                  </a:lnTo>
                  <a:lnTo>
                    <a:pt x="401" y="232"/>
                  </a:lnTo>
                  <a:lnTo>
                    <a:pt x="401" y="234"/>
                  </a:lnTo>
                  <a:lnTo>
                    <a:pt x="401" y="236"/>
                  </a:lnTo>
                  <a:lnTo>
                    <a:pt x="401" y="237"/>
                  </a:lnTo>
                  <a:lnTo>
                    <a:pt x="401" y="239"/>
                  </a:lnTo>
                  <a:lnTo>
                    <a:pt x="400" y="242"/>
                  </a:lnTo>
                  <a:lnTo>
                    <a:pt x="400" y="244"/>
                  </a:lnTo>
                  <a:lnTo>
                    <a:pt x="400" y="246"/>
                  </a:lnTo>
                  <a:lnTo>
                    <a:pt x="399" y="249"/>
                  </a:lnTo>
                  <a:lnTo>
                    <a:pt x="399" y="252"/>
                  </a:lnTo>
                  <a:lnTo>
                    <a:pt x="399" y="253"/>
                  </a:lnTo>
                  <a:lnTo>
                    <a:pt x="399" y="257"/>
                  </a:lnTo>
                  <a:lnTo>
                    <a:pt x="399" y="257"/>
                  </a:lnTo>
                  <a:lnTo>
                    <a:pt x="399" y="258"/>
                  </a:lnTo>
                  <a:lnTo>
                    <a:pt x="399" y="258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1" y="260"/>
                  </a:lnTo>
                  <a:lnTo>
                    <a:pt x="402" y="260"/>
                  </a:lnTo>
                  <a:lnTo>
                    <a:pt x="403" y="261"/>
                  </a:lnTo>
                  <a:lnTo>
                    <a:pt x="404" y="262"/>
                  </a:lnTo>
                  <a:lnTo>
                    <a:pt x="404" y="262"/>
                  </a:lnTo>
                  <a:lnTo>
                    <a:pt x="405" y="263"/>
                  </a:lnTo>
                  <a:lnTo>
                    <a:pt x="405" y="264"/>
                  </a:lnTo>
                  <a:lnTo>
                    <a:pt x="405" y="265"/>
                  </a:lnTo>
                  <a:lnTo>
                    <a:pt x="406" y="267"/>
                  </a:lnTo>
                  <a:lnTo>
                    <a:pt x="406" y="268"/>
                  </a:lnTo>
                  <a:lnTo>
                    <a:pt x="406" y="269"/>
                  </a:lnTo>
                  <a:lnTo>
                    <a:pt x="406" y="270"/>
                  </a:lnTo>
                  <a:lnTo>
                    <a:pt x="406" y="271"/>
                  </a:lnTo>
                  <a:lnTo>
                    <a:pt x="406" y="273"/>
                  </a:lnTo>
                  <a:lnTo>
                    <a:pt x="406" y="274"/>
                  </a:lnTo>
                  <a:lnTo>
                    <a:pt x="406" y="275"/>
                  </a:lnTo>
                  <a:lnTo>
                    <a:pt x="406" y="276"/>
                  </a:lnTo>
                  <a:lnTo>
                    <a:pt x="406" y="276"/>
                  </a:lnTo>
                  <a:lnTo>
                    <a:pt x="405" y="276"/>
                  </a:lnTo>
                  <a:lnTo>
                    <a:pt x="405" y="276"/>
                  </a:lnTo>
                  <a:lnTo>
                    <a:pt x="405" y="276"/>
                  </a:lnTo>
                  <a:lnTo>
                    <a:pt x="404" y="277"/>
                  </a:lnTo>
                  <a:lnTo>
                    <a:pt x="404" y="278"/>
                  </a:lnTo>
                  <a:lnTo>
                    <a:pt x="404" y="278"/>
                  </a:lnTo>
                  <a:lnTo>
                    <a:pt x="403" y="279"/>
                  </a:lnTo>
                  <a:lnTo>
                    <a:pt x="402" y="284"/>
                  </a:lnTo>
                  <a:lnTo>
                    <a:pt x="402" y="285"/>
                  </a:lnTo>
                  <a:lnTo>
                    <a:pt x="402" y="285"/>
                  </a:lnTo>
                  <a:lnTo>
                    <a:pt x="402" y="286"/>
                  </a:lnTo>
                  <a:lnTo>
                    <a:pt x="402" y="286"/>
                  </a:lnTo>
                  <a:lnTo>
                    <a:pt x="402" y="287"/>
                  </a:lnTo>
                  <a:lnTo>
                    <a:pt x="402" y="287"/>
                  </a:lnTo>
                  <a:lnTo>
                    <a:pt x="402" y="288"/>
                  </a:lnTo>
                  <a:lnTo>
                    <a:pt x="403" y="289"/>
                  </a:lnTo>
                  <a:lnTo>
                    <a:pt x="404" y="290"/>
                  </a:lnTo>
                  <a:lnTo>
                    <a:pt x="404" y="290"/>
                  </a:lnTo>
                  <a:lnTo>
                    <a:pt x="404" y="290"/>
                  </a:lnTo>
                  <a:lnTo>
                    <a:pt x="405" y="291"/>
                  </a:lnTo>
                  <a:lnTo>
                    <a:pt x="405" y="293"/>
                  </a:lnTo>
                  <a:lnTo>
                    <a:pt x="405" y="294"/>
                  </a:lnTo>
                  <a:lnTo>
                    <a:pt x="405" y="295"/>
                  </a:lnTo>
                  <a:lnTo>
                    <a:pt x="405" y="299"/>
                  </a:lnTo>
                  <a:lnTo>
                    <a:pt x="405" y="300"/>
                  </a:lnTo>
                  <a:lnTo>
                    <a:pt x="406" y="303"/>
                  </a:lnTo>
                  <a:lnTo>
                    <a:pt x="406" y="304"/>
                  </a:lnTo>
                  <a:lnTo>
                    <a:pt x="407" y="305"/>
                  </a:lnTo>
                  <a:lnTo>
                    <a:pt x="408" y="307"/>
                  </a:lnTo>
                  <a:lnTo>
                    <a:pt x="409" y="309"/>
                  </a:lnTo>
                  <a:lnTo>
                    <a:pt x="409" y="310"/>
                  </a:lnTo>
                  <a:lnTo>
                    <a:pt x="409" y="311"/>
                  </a:lnTo>
                  <a:lnTo>
                    <a:pt x="410" y="312"/>
                  </a:lnTo>
                  <a:lnTo>
                    <a:pt x="410" y="312"/>
                  </a:lnTo>
                  <a:lnTo>
                    <a:pt x="410" y="312"/>
                  </a:lnTo>
                  <a:lnTo>
                    <a:pt x="409" y="313"/>
                  </a:lnTo>
                  <a:lnTo>
                    <a:pt x="407" y="316"/>
                  </a:lnTo>
                  <a:lnTo>
                    <a:pt x="406" y="318"/>
                  </a:lnTo>
                  <a:lnTo>
                    <a:pt x="406" y="319"/>
                  </a:lnTo>
                  <a:lnTo>
                    <a:pt x="405" y="320"/>
                  </a:lnTo>
                  <a:lnTo>
                    <a:pt x="405" y="321"/>
                  </a:lnTo>
                  <a:lnTo>
                    <a:pt x="405" y="322"/>
                  </a:lnTo>
                  <a:lnTo>
                    <a:pt x="404" y="325"/>
                  </a:lnTo>
                  <a:lnTo>
                    <a:pt x="404" y="327"/>
                  </a:lnTo>
                  <a:lnTo>
                    <a:pt x="404" y="328"/>
                  </a:lnTo>
                  <a:lnTo>
                    <a:pt x="404" y="330"/>
                  </a:lnTo>
                  <a:lnTo>
                    <a:pt x="405" y="331"/>
                  </a:lnTo>
                  <a:lnTo>
                    <a:pt x="405" y="333"/>
                  </a:lnTo>
                  <a:lnTo>
                    <a:pt x="405" y="334"/>
                  </a:lnTo>
                  <a:lnTo>
                    <a:pt x="407" y="337"/>
                  </a:lnTo>
                  <a:lnTo>
                    <a:pt x="408" y="338"/>
                  </a:lnTo>
                  <a:lnTo>
                    <a:pt x="408" y="339"/>
                  </a:lnTo>
                  <a:lnTo>
                    <a:pt x="410" y="341"/>
                  </a:lnTo>
                  <a:lnTo>
                    <a:pt x="410" y="342"/>
                  </a:lnTo>
                  <a:lnTo>
                    <a:pt x="411" y="342"/>
                  </a:lnTo>
                  <a:lnTo>
                    <a:pt x="411" y="343"/>
                  </a:lnTo>
                  <a:lnTo>
                    <a:pt x="411" y="344"/>
                  </a:lnTo>
                  <a:lnTo>
                    <a:pt x="411" y="345"/>
                  </a:lnTo>
                  <a:lnTo>
                    <a:pt x="411" y="346"/>
                  </a:lnTo>
                  <a:lnTo>
                    <a:pt x="410" y="348"/>
                  </a:lnTo>
                  <a:lnTo>
                    <a:pt x="410" y="349"/>
                  </a:lnTo>
                  <a:lnTo>
                    <a:pt x="410" y="350"/>
                  </a:lnTo>
                  <a:lnTo>
                    <a:pt x="409" y="351"/>
                  </a:lnTo>
                  <a:lnTo>
                    <a:pt x="408" y="353"/>
                  </a:lnTo>
                  <a:lnTo>
                    <a:pt x="407" y="354"/>
                  </a:lnTo>
                  <a:lnTo>
                    <a:pt x="406" y="356"/>
                  </a:lnTo>
                  <a:lnTo>
                    <a:pt x="405" y="358"/>
                  </a:lnTo>
                  <a:lnTo>
                    <a:pt x="405" y="360"/>
                  </a:lnTo>
                  <a:lnTo>
                    <a:pt x="404" y="361"/>
                  </a:lnTo>
                  <a:lnTo>
                    <a:pt x="404" y="362"/>
                  </a:lnTo>
                  <a:lnTo>
                    <a:pt x="403" y="362"/>
                  </a:lnTo>
                  <a:lnTo>
                    <a:pt x="403" y="363"/>
                  </a:lnTo>
                  <a:lnTo>
                    <a:pt x="400" y="365"/>
                  </a:lnTo>
                  <a:lnTo>
                    <a:pt x="398" y="367"/>
                  </a:lnTo>
                  <a:lnTo>
                    <a:pt x="396" y="367"/>
                  </a:lnTo>
                  <a:lnTo>
                    <a:pt x="396" y="368"/>
                  </a:lnTo>
                  <a:lnTo>
                    <a:pt x="394" y="370"/>
                  </a:lnTo>
                  <a:lnTo>
                    <a:pt x="393" y="371"/>
                  </a:lnTo>
                  <a:lnTo>
                    <a:pt x="393" y="371"/>
                  </a:lnTo>
                  <a:lnTo>
                    <a:pt x="393" y="372"/>
                  </a:lnTo>
                  <a:lnTo>
                    <a:pt x="393" y="373"/>
                  </a:lnTo>
                  <a:lnTo>
                    <a:pt x="392" y="374"/>
                  </a:lnTo>
                  <a:lnTo>
                    <a:pt x="392" y="375"/>
                  </a:lnTo>
                  <a:lnTo>
                    <a:pt x="392" y="376"/>
                  </a:lnTo>
                  <a:lnTo>
                    <a:pt x="392" y="377"/>
                  </a:lnTo>
                  <a:lnTo>
                    <a:pt x="393" y="378"/>
                  </a:lnTo>
                  <a:lnTo>
                    <a:pt x="393" y="379"/>
                  </a:lnTo>
                  <a:lnTo>
                    <a:pt x="393" y="379"/>
                  </a:lnTo>
                  <a:lnTo>
                    <a:pt x="393" y="380"/>
                  </a:lnTo>
                  <a:lnTo>
                    <a:pt x="392" y="381"/>
                  </a:lnTo>
                  <a:lnTo>
                    <a:pt x="392" y="381"/>
                  </a:lnTo>
                  <a:lnTo>
                    <a:pt x="392" y="382"/>
                  </a:lnTo>
                  <a:lnTo>
                    <a:pt x="391" y="382"/>
                  </a:lnTo>
                  <a:lnTo>
                    <a:pt x="391" y="383"/>
                  </a:lnTo>
                  <a:lnTo>
                    <a:pt x="391" y="383"/>
                  </a:lnTo>
                  <a:lnTo>
                    <a:pt x="390" y="383"/>
                  </a:lnTo>
                  <a:lnTo>
                    <a:pt x="390" y="384"/>
                  </a:lnTo>
                  <a:lnTo>
                    <a:pt x="388" y="385"/>
                  </a:lnTo>
                  <a:lnTo>
                    <a:pt x="387" y="385"/>
                  </a:lnTo>
                  <a:lnTo>
                    <a:pt x="387" y="385"/>
                  </a:lnTo>
                  <a:lnTo>
                    <a:pt x="387" y="386"/>
                  </a:lnTo>
                  <a:lnTo>
                    <a:pt x="386" y="386"/>
                  </a:lnTo>
                  <a:lnTo>
                    <a:pt x="386" y="386"/>
                  </a:lnTo>
                  <a:lnTo>
                    <a:pt x="386" y="387"/>
                  </a:lnTo>
                  <a:lnTo>
                    <a:pt x="386" y="387"/>
                  </a:lnTo>
                  <a:lnTo>
                    <a:pt x="386" y="388"/>
                  </a:lnTo>
                  <a:lnTo>
                    <a:pt x="386" y="388"/>
                  </a:lnTo>
                  <a:lnTo>
                    <a:pt x="386" y="389"/>
                  </a:lnTo>
                  <a:lnTo>
                    <a:pt x="386" y="390"/>
                  </a:lnTo>
                  <a:lnTo>
                    <a:pt x="387" y="390"/>
                  </a:lnTo>
                  <a:lnTo>
                    <a:pt x="387" y="391"/>
                  </a:lnTo>
                  <a:lnTo>
                    <a:pt x="387" y="391"/>
                  </a:lnTo>
                  <a:lnTo>
                    <a:pt x="388" y="392"/>
                  </a:lnTo>
                  <a:lnTo>
                    <a:pt x="388" y="393"/>
                  </a:lnTo>
                  <a:lnTo>
                    <a:pt x="389" y="393"/>
                  </a:lnTo>
                  <a:lnTo>
                    <a:pt x="391" y="394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6"/>
                  </a:lnTo>
                  <a:lnTo>
                    <a:pt x="391" y="397"/>
                  </a:lnTo>
                  <a:lnTo>
                    <a:pt x="391" y="398"/>
                  </a:lnTo>
                  <a:lnTo>
                    <a:pt x="390" y="398"/>
                  </a:lnTo>
                  <a:lnTo>
                    <a:pt x="390" y="399"/>
                  </a:lnTo>
                  <a:lnTo>
                    <a:pt x="390" y="399"/>
                  </a:lnTo>
                  <a:lnTo>
                    <a:pt x="389" y="399"/>
                  </a:lnTo>
                  <a:lnTo>
                    <a:pt x="389" y="400"/>
                  </a:lnTo>
                  <a:lnTo>
                    <a:pt x="387" y="400"/>
                  </a:lnTo>
                  <a:lnTo>
                    <a:pt x="387" y="401"/>
                  </a:lnTo>
                  <a:lnTo>
                    <a:pt x="386" y="401"/>
                  </a:lnTo>
                  <a:lnTo>
                    <a:pt x="385" y="403"/>
                  </a:lnTo>
                  <a:lnTo>
                    <a:pt x="384" y="404"/>
                  </a:lnTo>
                  <a:lnTo>
                    <a:pt x="383" y="404"/>
                  </a:lnTo>
                  <a:lnTo>
                    <a:pt x="383" y="405"/>
                  </a:lnTo>
                  <a:lnTo>
                    <a:pt x="383" y="406"/>
                  </a:lnTo>
                  <a:lnTo>
                    <a:pt x="382" y="406"/>
                  </a:lnTo>
                  <a:lnTo>
                    <a:pt x="382" y="407"/>
                  </a:lnTo>
                  <a:lnTo>
                    <a:pt x="382" y="408"/>
                  </a:lnTo>
                  <a:lnTo>
                    <a:pt x="382" y="408"/>
                  </a:lnTo>
                  <a:lnTo>
                    <a:pt x="382" y="409"/>
                  </a:lnTo>
                  <a:lnTo>
                    <a:pt x="382" y="410"/>
                  </a:lnTo>
                  <a:lnTo>
                    <a:pt x="383" y="411"/>
                  </a:lnTo>
                  <a:lnTo>
                    <a:pt x="384" y="413"/>
                  </a:lnTo>
                  <a:lnTo>
                    <a:pt x="384" y="414"/>
                  </a:lnTo>
                  <a:lnTo>
                    <a:pt x="386" y="416"/>
                  </a:lnTo>
                  <a:lnTo>
                    <a:pt x="386" y="417"/>
                  </a:lnTo>
                  <a:lnTo>
                    <a:pt x="386" y="417"/>
                  </a:lnTo>
                  <a:lnTo>
                    <a:pt x="387" y="418"/>
                  </a:lnTo>
                  <a:lnTo>
                    <a:pt x="387" y="419"/>
                  </a:lnTo>
                  <a:lnTo>
                    <a:pt x="387" y="420"/>
                  </a:lnTo>
                  <a:lnTo>
                    <a:pt x="387" y="421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3"/>
                  </a:lnTo>
                  <a:lnTo>
                    <a:pt x="386" y="424"/>
                  </a:lnTo>
                  <a:lnTo>
                    <a:pt x="385" y="425"/>
                  </a:lnTo>
                  <a:lnTo>
                    <a:pt x="384" y="426"/>
                  </a:lnTo>
                  <a:lnTo>
                    <a:pt x="383" y="427"/>
                  </a:lnTo>
                  <a:lnTo>
                    <a:pt x="383" y="428"/>
                  </a:lnTo>
                  <a:lnTo>
                    <a:pt x="382" y="429"/>
                  </a:lnTo>
                  <a:lnTo>
                    <a:pt x="382" y="430"/>
                  </a:lnTo>
                  <a:lnTo>
                    <a:pt x="381" y="433"/>
                  </a:lnTo>
                  <a:lnTo>
                    <a:pt x="380" y="436"/>
                  </a:lnTo>
                  <a:lnTo>
                    <a:pt x="380" y="437"/>
                  </a:lnTo>
                  <a:lnTo>
                    <a:pt x="379" y="437"/>
                  </a:lnTo>
                  <a:lnTo>
                    <a:pt x="379" y="437"/>
                  </a:lnTo>
                  <a:lnTo>
                    <a:pt x="379" y="437"/>
                  </a:lnTo>
                  <a:lnTo>
                    <a:pt x="378" y="438"/>
                  </a:lnTo>
                  <a:lnTo>
                    <a:pt x="375" y="439"/>
                  </a:lnTo>
                  <a:lnTo>
                    <a:pt x="374" y="440"/>
                  </a:lnTo>
                  <a:lnTo>
                    <a:pt x="372" y="440"/>
                  </a:lnTo>
                  <a:lnTo>
                    <a:pt x="372" y="441"/>
                  </a:lnTo>
                  <a:lnTo>
                    <a:pt x="369" y="443"/>
                  </a:lnTo>
                  <a:lnTo>
                    <a:pt x="367" y="444"/>
                  </a:lnTo>
                  <a:lnTo>
                    <a:pt x="366" y="445"/>
                  </a:lnTo>
                  <a:lnTo>
                    <a:pt x="365" y="446"/>
                  </a:lnTo>
                  <a:lnTo>
                    <a:pt x="364" y="446"/>
                  </a:lnTo>
                  <a:lnTo>
                    <a:pt x="363" y="446"/>
                  </a:lnTo>
                  <a:lnTo>
                    <a:pt x="363" y="446"/>
                  </a:lnTo>
                  <a:lnTo>
                    <a:pt x="362" y="447"/>
                  </a:lnTo>
                  <a:lnTo>
                    <a:pt x="361" y="447"/>
                  </a:lnTo>
                  <a:lnTo>
                    <a:pt x="360" y="447"/>
                  </a:lnTo>
                  <a:lnTo>
                    <a:pt x="359" y="447"/>
                  </a:lnTo>
                  <a:lnTo>
                    <a:pt x="358" y="446"/>
                  </a:lnTo>
                  <a:lnTo>
                    <a:pt x="355" y="446"/>
                  </a:lnTo>
                  <a:lnTo>
                    <a:pt x="354" y="446"/>
                  </a:lnTo>
                  <a:lnTo>
                    <a:pt x="353" y="446"/>
                  </a:lnTo>
                  <a:lnTo>
                    <a:pt x="353" y="446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2" y="447"/>
                  </a:lnTo>
                  <a:lnTo>
                    <a:pt x="351" y="451"/>
                  </a:lnTo>
                  <a:lnTo>
                    <a:pt x="351" y="453"/>
                  </a:lnTo>
                  <a:lnTo>
                    <a:pt x="350" y="455"/>
                  </a:lnTo>
                  <a:lnTo>
                    <a:pt x="350" y="458"/>
                  </a:lnTo>
                  <a:lnTo>
                    <a:pt x="350" y="460"/>
                  </a:lnTo>
                  <a:lnTo>
                    <a:pt x="350" y="461"/>
                  </a:lnTo>
                  <a:lnTo>
                    <a:pt x="349" y="464"/>
                  </a:lnTo>
                  <a:lnTo>
                    <a:pt x="349" y="465"/>
                  </a:lnTo>
                  <a:lnTo>
                    <a:pt x="349" y="465"/>
                  </a:lnTo>
                  <a:lnTo>
                    <a:pt x="349" y="466"/>
                  </a:lnTo>
                  <a:lnTo>
                    <a:pt x="349" y="467"/>
                  </a:lnTo>
                  <a:lnTo>
                    <a:pt x="349" y="469"/>
                  </a:lnTo>
                  <a:lnTo>
                    <a:pt x="351" y="471"/>
                  </a:lnTo>
                  <a:lnTo>
                    <a:pt x="351" y="473"/>
                  </a:lnTo>
                  <a:lnTo>
                    <a:pt x="351" y="474"/>
                  </a:lnTo>
                  <a:lnTo>
                    <a:pt x="352" y="478"/>
                  </a:lnTo>
                  <a:lnTo>
                    <a:pt x="352" y="480"/>
                  </a:lnTo>
                  <a:lnTo>
                    <a:pt x="352" y="481"/>
                  </a:lnTo>
                  <a:lnTo>
                    <a:pt x="352" y="482"/>
                  </a:lnTo>
                  <a:lnTo>
                    <a:pt x="352" y="483"/>
                  </a:lnTo>
                  <a:lnTo>
                    <a:pt x="352" y="484"/>
                  </a:lnTo>
                  <a:lnTo>
                    <a:pt x="352" y="485"/>
                  </a:lnTo>
                  <a:lnTo>
                    <a:pt x="352" y="485"/>
                  </a:lnTo>
                  <a:lnTo>
                    <a:pt x="351" y="486"/>
                  </a:lnTo>
                  <a:lnTo>
                    <a:pt x="351" y="487"/>
                  </a:lnTo>
                  <a:lnTo>
                    <a:pt x="351" y="487"/>
                  </a:lnTo>
                  <a:lnTo>
                    <a:pt x="350" y="488"/>
                  </a:lnTo>
                  <a:lnTo>
                    <a:pt x="349" y="488"/>
                  </a:lnTo>
                  <a:lnTo>
                    <a:pt x="348" y="489"/>
                  </a:lnTo>
                  <a:lnTo>
                    <a:pt x="348" y="490"/>
                  </a:lnTo>
                  <a:lnTo>
                    <a:pt x="347" y="490"/>
                  </a:lnTo>
                  <a:lnTo>
                    <a:pt x="345" y="491"/>
                  </a:lnTo>
                  <a:lnTo>
                    <a:pt x="344" y="491"/>
                  </a:lnTo>
                  <a:lnTo>
                    <a:pt x="343" y="492"/>
                  </a:lnTo>
                  <a:lnTo>
                    <a:pt x="343" y="492"/>
                  </a:lnTo>
                  <a:lnTo>
                    <a:pt x="342" y="493"/>
                  </a:lnTo>
                  <a:lnTo>
                    <a:pt x="342" y="493"/>
                  </a:lnTo>
                  <a:lnTo>
                    <a:pt x="341" y="494"/>
                  </a:lnTo>
                  <a:lnTo>
                    <a:pt x="340" y="495"/>
                  </a:lnTo>
                  <a:lnTo>
                    <a:pt x="339" y="496"/>
                  </a:lnTo>
                  <a:lnTo>
                    <a:pt x="338" y="498"/>
                  </a:lnTo>
                  <a:lnTo>
                    <a:pt x="337" y="501"/>
                  </a:lnTo>
                  <a:lnTo>
                    <a:pt x="336" y="502"/>
                  </a:lnTo>
                  <a:lnTo>
                    <a:pt x="336" y="503"/>
                  </a:lnTo>
                  <a:lnTo>
                    <a:pt x="336" y="504"/>
                  </a:lnTo>
                  <a:lnTo>
                    <a:pt x="335" y="506"/>
                  </a:lnTo>
                  <a:lnTo>
                    <a:pt x="335" y="508"/>
                  </a:lnTo>
                  <a:lnTo>
                    <a:pt x="334" y="510"/>
                  </a:lnTo>
                  <a:lnTo>
                    <a:pt x="334" y="511"/>
                  </a:lnTo>
                  <a:lnTo>
                    <a:pt x="334" y="513"/>
                  </a:lnTo>
                  <a:lnTo>
                    <a:pt x="334" y="514"/>
                  </a:lnTo>
                  <a:lnTo>
                    <a:pt x="334" y="516"/>
                  </a:lnTo>
                  <a:lnTo>
                    <a:pt x="334" y="517"/>
                  </a:lnTo>
                  <a:lnTo>
                    <a:pt x="334" y="518"/>
                  </a:lnTo>
                  <a:lnTo>
                    <a:pt x="334" y="519"/>
                  </a:lnTo>
                  <a:lnTo>
                    <a:pt x="334" y="520"/>
                  </a:lnTo>
                  <a:lnTo>
                    <a:pt x="334" y="521"/>
                  </a:lnTo>
                  <a:lnTo>
                    <a:pt x="335" y="522"/>
                  </a:lnTo>
                  <a:lnTo>
                    <a:pt x="336" y="526"/>
                  </a:lnTo>
                  <a:lnTo>
                    <a:pt x="336" y="527"/>
                  </a:lnTo>
                  <a:lnTo>
                    <a:pt x="336" y="527"/>
                  </a:lnTo>
                  <a:lnTo>
                    <a:pt x="336" y="527"/>
                  </a:lnTo>
                  <a:lnTo>
                    <a:pt x="335" y="527"/>
                  </a:lnTo>
                  <a:lnTo>
                    <a:pt x="334" y="526"/>
                  </a:lnTo>
                  <a:lnTo>
                    <a:pt x="334" y="526"/>
                  </a:lnTo>
                  <a:lnTo>
                    <a:pt x="333" y="526"/>
                  </a:lnTo>
                  <a:lnTo>
                    <a:pt x="331" y="527"/>
                  </a:lnTo>
                  <a:lnTo>
                    <a:pt x="331" y="527"/>
                  </a:lnTo>
                  <a:lnTo>
                    <a:pt x="329" y="527"/>
                  </a:lnTo>
                  <a:lnTo>
                    <a:pt x="328" y="528"/>
                  </a:lnTo>
                  <a:lnTo>
                    <a:pt x="328" y="528"/>
                  </a:lnTo>
                  <a:lnTo>
                    <a:pt x="327" y="529"/>
                  </a:lnTo>
                  <a:lnTo>
                    <a:pt x="326" y="529"/>
                  </a:lnTo>
                  <a:lnTo>
                    <a:pt x="325" y="530"/>
                  </a:lnTo>
                  <a:lnTo>
                    <a:pt x="325" y="531"/>
                  </a:lnTo>
                  <a:lnTo>
                    <a:pt x="324" y="531"/>
                  </a:lnTo>
                  <a:lnTo>
                    <a:pt x="324" y="532"/>
                  </a:lnTo>
                  <a:lnTo>
                    <a:pt x="322" y="535"/>
                  </a:lnTo>
                  <a:lnTo>
                    <a:pt x="322" y="535"/>
                  </a:lnTo>
                  <a:lnTo>
                    <a:pt x="322" y="536"/>
                  </a:lnTo>
                  <a:lnTo>
                    <a:pt x="321" y="536"/>
                  </a:lnTo>
                  <a:lnTo>
                    <a:pt x="321" y="536"/>
                  </a:lnTo>
                  <a:lnTo>
                    <a:pt x="321" y="536"/>
                  </a:lnTo>
                  <a:lnTo>
                    <a:pt x="320" y="537"/>
                  </a:lnTo>
                  <a:lnTo>
                    <a:pt x="319" y="537"/>
                  </a:lnTo>
                  <a:lnTo>
                    <a:pt x="318" y="537"/>
                  </a:lnTo>
                  <a:lnTo>
                    <a:pt x="318" y="536"/>
                  </a:lnTo>
                  <a:lnTo>
                    <a:pt x="317" y="536"/>
                  </a:lnTo>
                  <a:lnTo>
                    <a:pt x="317" y="536"/>
                  </a:lnTo>
                  <a:lnTo>
                    <a:pt x="315" y="535"/>
                  </a:lnTo>
                  <a:lnTo>
                    <a:pt x="312" y="533"/>
                  </a:lnTo>
                  <a:lnTo>
                    <a:pt x="311" y="532"/>
                  </a:lnTo>
                  <a:lnTo>
                    <a:pt x="308" y="530"/>
                  </a:lnTo>
                  <a:lnTo>
                    <a:pt x="304" y="527"/>
                  </a:lnTo>
                  <a:lnTo>
                    <a:pt x="302" y="526"/>
                  </a:lnTo>
                  <a:lnTo>
                    <a:pt x="300" y="524"/>
                  </a:lnTo>
                  <a:lnTo>
                    <a:pt x="299" y="523"/>
                  </a:lnTo>
                  <a:lnTo>
                    <a:pt x="298" y="522"/>
                  </a:lnTo>
                  <a:lnTo>
                    <a:pt x="296" y="521"/>
                  </a:lnTo>
                  <a:lnTo>
                    <a:pt x="295" y="520"/>
                  </a:lnTo>
                  <a:lnTo>
                    <a:pt x="295" y="519"/>
                  </a:lnTo>
                  <a:lnTo>
                    <a:pt x="294" y="518"/>
                  </a:lnTo>
                  <a:lnTo>
                    <a:pt x="294" y="517"/>
                  </a:lnTo>
                  <a:lnTo>
                    <a:pt x="293" y="516"/>
                  </a:lnTo>
                  <a:lnTo>
                    <a:pt x="293" y="514"/>
                  </a:lnTo>
                  <a:lnTo>
                    <a:pt x="293" y="513"/>
                  </a:lnTo>
                  <a:lnTo>
                    <a:pt x="292" y="509"/>
                  </a:lnTo>
                  <a:lnTo>
                    <a:pt x="292" y="505"/>
                  </a:lnTo>
                  <a:lnTo>
                    <a:pt x="292" y="501"/>
                  </a:lnTo>
                  <a:lnTo>
                    <a:pt x="291" y="500"/>
                  </a:lnTo>
                  <a:lnTo>
                    <a:pt x="291" y="497"/>
                  </a:lnTo>
                  <a:lnTo>
                    <a:pt x="291" y="496"/>
                  </a:lnTo>
                  <a:lnTo>
                    <a:pt x="290" y="494"/>
                  </a:lnTo>
                  <a:lnTo>
                    <a:pt x="289" y="491"/>
                  </a:lnTo>
                  <a:lnTo>
                    <a:pt x="289" y="489"/>
                  </a:lnTo>
                  <a:lnTo>
                    <a:pt x="289" y="488"/>
                  </a:lnTo>
                  <a:lnTo>
                    <a:pt x="288" y="488"/>
                  </a:lnTo>
                  <a:lnTo>
                    <a:pt x="288" y="487"/>
                  </a:lnTo>
                  <a:lnTo>
                    <a:pt x="287" y="486"/>
                  </a:lnTo>
                  <a:lnTo>
                    <a:pt x="284" y="483"/>
                  </a:lnTo>
                  <a:lnTo>
                    <a:pt x="282" y="480"/>
                  </a:lnTo>
                  <a:lnTo>
                    <a:pt x="279" y="476"/>
                  </a:lnTo>
                  <a:lnTo>
                    <a:pt x="275" y="471"/>
                  </a:lnTo>
                  <a:lnTo>
                    <a:pt x="274" y="470"/>
                  </a:lnTo>
                  <a:lnTo>
                    <a:pt x="272" y="468"/>
                  </a:lnTo>
                  <a:lnTo>
                    <a:pt x="271" y="467"/>
                  </a:lnTo>
                  <a:lnTo>
                    <a:pt x="270" y="466"/>
                  </a:lnTo>
                  <a:lnTo>
                    <a:pt x="269" y="465"/>
                  </a:lnTo>
                  <a:lnTo>
                    <a:pt x="267" y="463"/>
                  </a:lnTo>
                  <a:lnTo>
                    <a:pt x="266" y="462"/>
                  </a:lnTo>
                  <a:lnTo>
                    <a:pt x="265" y="461"/>
                  </a:lnTo>
                  <a:lnTo>
                    <a:pt x="263" y="460"/>
                  </a:lnTo>
                  <a:lnTo>
                    <a:pt x="262" y="459"/>
                  </a:lnTo>
                  <a:lnTo>
                    <a:pt x="260" y="458"/>
                  </a:lnTo>
                  <a:lnTo>
                    <a:pt x="258" y="457"/>
                  </a:lnTo>
                  <a:lnTo>
                    <a:pt x="258" y="457"/>
                  </a:lnTo>
                  <a:lnTo>
                    <a:pt x="256" y="457"/>
                  </a:lnTo>
                  <a:lnTo>
                    <a:pt x="255" y="456"/>
                  </a:lnTo>
                  <a:lnTo>
                    <a:pt x="253" y="456"/>
                  </a:lnTo>
                  <a:lnTo>
                    <a:pt x="252" y="456"/>
                  </a:lnTo>
                  <a:lnTo>
                    <a:pt x="250" y="456"/>
                  </a:lnTo>
                  <a:lnTo>
                    <a:pt x="246" y="456"/>
                  </a:lnTo>
                  <a:lnTo>
                    <a:pt x="243" y="456"/>
                  </a:lnTo>
                  <a:lnTo>
                    <a:pt x="242" y="456"/>
                  </a:lnTo>
                  <a:lnTo>
                    <a:pt x="241" y="456"/>
                  </a:lnTo>
                  <a:lnTo>
                    <a:pt x="240" y="455"/>
                  </a:lnTo>
                  <a:lnTo>
                    <a:pt x="239" y="455"/>
                  </a:lnTo>
                  <a:lnTo>
                    <a:pt x="237" y="454"/>
                  </a:lnTo>
                  <a:lnTo>
                    <a:pt x="236" y="454"/>
                  </a:lnTo>
                  <a:lnTo>
                    <a:pt x="235" y="453"/>
                  </a:lnTo>
                  <a:lnTo>
                    <a:pt x="233" y="452"/>
                  </a:lnTo>
                  <a:lnTo>
                    <a:pt x="231" y="451"/>
                  </a:lnTo>
                  <a:lnTo>
                    <a:pt x="231" y="451"/>
                  </a:lnTo>
                  <a:lnTo>
                    <a:pt x="229" y="449"/>
                  </a:lnTo>
                  <a:lnTo>
                    <a:pt x="228" y="448"/>
                  </a:lnTo>
                  <a:lnTo>
                    <a:pt x="227" y="447"/>
                  </a:lnTo>
                  <a:lnTo>
                    <a:pt x="226" y="446"/>
                  </a:lnTo>
                  <a:lnTo>
                    <a:pt x="226" y="446"/>
                  </a:lnTo>
                  <a:lnTo>
                    <a:pt x="225" y="444"/>
                  </a:lnTo>
                  <a:lnTo>
                    <a:pt x="225" y="443"/>
                  </a:lnTo>
                  <a:lnTo>
                    <a:pt x="224" y="442"/>
                  </a:lnTo>
                  <a:lnTo>
                    <a:pt x="224" y="441"/>
                  </a:lnTo>
                  <a:lnTo>
                    <a:pt x="223" y="436"/>
                  </a:lnTo>
                  <a:lnTo>
                    <a:pt x="223" y="434"/>
                  </a:lnTo>
                  <a:lnTo>
                    <a:pt x="222" y="433"/>
                  </a:lnTo>
                  <a:lnTo>
                    <a:pt x="222" y="432"/>
                  </a:lnTo>
                  <a:lnTo>
                    <a:pt x="222" y="431"/>
                  </a:lnTo>
                  <a:lnTo>
                    <a:pt x="221" y="430"/>
                  </a:lnTo>
                  <a:lnTo>
                    <a:pt x="221" y="430"/>
                  </a:lnTo>
                  <a:lnTo>
                    <a:pt x="220" y="429"/>
                  </a:lnTo>
                  <a:lnTo>
                    <a:pt x="217" y="426"/>
                  </a:lnTo>
                  <a:lnTo>
                    <a:pt x="214" y="422"/>
                  </a:lnTo>
                  <a:lnTo>
                    <a:pt x="209" y="417"/>
                  </a:lnTo>
                  <a:lnTo>
                    <a:pt x="208" y="416"/>
                  </a:lnTo>
                  <a:lnTo>
                    <a:pt x="208" y="416"/>
                  </a:lnTo>
                  <a:lnTo>
                    <a:pt x="207" y="415"/>
                  </a:lnTo>
                  <a:lnTo>
                    <a:pt x="207" y="414"/>
                  </a:lnTo>
                  <a:lnTo>
                    <a:pt x="206" y="413"/>
                  </a:lnTo>
                  <a:lnTo>
                    <a:pt x="205" y="410"/>
                  </a:lnTo>
                  <a:lnTo>
                    <a:pt x="204" y="409"/>
                  </a:lnTo>
                  <a:lnTo>
                    <a:pt x="203" y="407"/>
                  </a:lnTo>
                  <a:lnTo>
                    <a:pt x="201" y="404"/>
                  </a:lnTo>
                  <a:lnTo>
                    <a:pt x="200" y="403"/>
                  </a:lnTo>
                  <a:lnTo>
                    <a:pt x="199" y="402"/>
                  </a:lnTo>
                  <a:lnTo>
                    <a:pt x="197" y="399"/>
                  </a:lnTo>
                  <a:lnTo>
                    <a:pt x="197" y="398"/>
                  </a:lnTo>
                  <a:lnTo>
                    <a:pt x="196" y="397"/>
                  </a:lnTo>
                  <a:lnTo>
                    <a:pt x="196" y="396"/>
                  </a:lnTo>
                  <a:lnTo>
                    <a:pt x="195" y="396"/>
                  </a:lnTo>
                  <a:lnTo>
                    <a:pt x="192" y="393"/>
                  </a:lnTo>
                  <a:lnTo>
                    <a:pt x="191" y="392"/>
                  </a:lnTo>
                  <a:lnTo>
                    <a:pt x="190" y="391"/>
                  </a:lnTo>
                  <a:lnTo>
                    <a:pt x="189" y="389"/>
                  </a:lnTo>
                  <a:lnTo>
                    <a:pt x="188" y="388"/>
                  </a:lnTo>
                  <a:lnTo>
                    <a:pt x="187" y="388"/>
                  </a:lnTo>
                  <a:lnTo>
                    <a:pt x="185" y="385"/>
                  </a:lnTo>
                  <a:lnTo>
                    <a:pt x="184" y="385"/>
                  </a:lnTo>
                  <a:lnTo>
                    <a:pt x="184" y="384"/>
                  </a:lnTo>
                  <a:lnTo>
                    <a:pt x="183" y="383"/>
                  </a:lnTo>
                  <a:lnTo>
                    <a:pt x="183" y="382"/>
                  </a:lnTo>
                  <a:lnTo>
                    <a:pt x="182" y="381"/>
                  </a:lnTo>
                  <a:lnTo>
                    <a:pt x="182" y="380"/>
                  </a:lnTo>
                  <a:lnTo>
                    <a:pt x="182" y="379"/>
                  </a:lnTo>
                  <a:lnTo>
                    <a:pt x="181" y="375"/>
                  </a:lnTo>
                  <a:lnTo>
                    <a:pt x="181" y="373"/>
                  </a:lnTo>
                  <a:lnTo>
                    <a:pt x="181" y="372"/>
                  </a:lnTo>
                  <a:lnTo>
                    <a:pt x="180" y="371"/>
                  </a:lnTo>
                  <a:lnTo>
                    <a:pt x="180" y="370"/>
                  </a:lnTo>
                  <a:lnTo>
                    <a:pt x="179" y="370"/>
                  </a:lnTo>
                  <a:lnTo>
                    <a:pt x="179" y="369"/>
                  </a:lnTo>
                  <a:lnTo>
                    <a:pt x="178" y="368"/>
                  </a:lnTo>
                  <a:lnTo>
                    <a:pt x="176" y="366"/>
                  </a:lnTo>
                  <a:lnTo>
                    <a:pt x="173" y="363"/>
                  </a:lnTo>
                  <a:lnTo>
                    <a:pt x="170" y="359"/>
                  </a:lnTo>
                  <a:lnTo>
                    <a:pt x="168" y="358"/>
                  </a:lnTo>
                  <a:lnTo>
                    <a:pt x="167" y="356"/>
                  </a:lnTo>
                  <a:lnTo>
                    <a:pt x="166" y="355"/>
                  </a:lnTo>
                  <a:lnTo>
                    <a:pt x="164" y="354"/>
                  </a:lnTo>
                  <a:lnTo>
                    <a:pt x="163" y="354"/>
                  </a:lnTo>
                  <a:lnTo>
                    <a:pt x="163" y="353"/>
                  </a:lnTo>
                  <a:lnTo>
                    <a:pt x="161" y="352"/>
                  </a:lnTo>
                  <a:lnTo>
                    <a:pt x="159" y="351"/>
                  </a:lnTo>
                  <a:lnTo>
                    <a:pt x="158" y="351"/>
                  </a:lnTo>
                  <a:lnTo>
                    <a:pt x="157" y="350"/>
                  </a:lnTo>
                  <a:lnTo>
                    <a:pt x="156" y="350"/>
                  </a:lnTo>
                  <a:lnTo>
                    <a:pt x="153" y="349"/>
                  </a:lnTo>
                  <a:lnTo>
                    <a:pt x="151" y="348"/>
                  </a:lnTo>
                  <a:lnTo>
                    <a:pt x="146" y="347"/>
                  </a:lnTo>
                  <a:lnTo>
                    <a:pt x="144" y="347"/>
                  </a:lnTo>
                  <a:lnTo>
                    <a:pt x="142" y="347"/>
                  </a:lnTo>
                  <a:lnTo>
                    <a:pt x="142" y="347"/>
                  </a:lnTo>
                  <a:lnTo>
                    <a:pt x="141" y="347"/>
                  </a:lnTo>
                  <a:lnTo>
                    <a:pt x="141" y="347"/>
                  </a:lnTo>
                  <a:lnTo>
                    <a:pt x="140" y="347"/>
                  </a:lnTo>
                  <a:lnTo>
                    <a:pt x="139" y="348"/>
                  </a:lnTo>
                  <a:lnTo>
                    <a:pt x="139" y="348"/>
                  </a:lnTo>
                  <a:lnTo>
                    <a:pt x="139" y="349"/>
                  </a:lnTo>
                  <a:lnTo>
                    <a:pt x="138" y="350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36" y="351"/>
                  </a:lnTo>
                  <a:lnTo>
                    <a:pt x="135" y="352"/>
                  </a:lnTo>
                  <a:lnTo>
                    <a:pt x="135" y="352"/>
                  </a:lnTo>
                  <a:lnTo>
                    <a:pt x="134" y="351"/>
                  </a:lnTo>
                  <a:lnTo>
                    <a:pt x="133" y="351"/>
                  </a:lnTo>
                  <a:lnTo>
                    <a:pt x="130" y="351"/>
                  </a:lnTo>
                  <a:lnTo>
                    <a:pt x="128" y="350"/>
                  </a:lnTo>
                  <a:lnTo>
                    <a:pt x="126" y="350"/>
                  </a:lnTo>
                  <a:lnTo>
                    <a:pt x="125" y="349"/>
                  </a:lnTo>
                  <a:lnTo>
                    <a:pt x="122" y="349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7" y="349"/>
                  </a:lnTo>
                  <a:lnTo>
                    <a:pt x="115" y="348"/>
                  </a:lnTo>
                  <a:lnTo>
                    <a:pt x="114" y="348"/>
                  </a:lnTo>
                  <a:lnTo>
                    <a:pt x="113" y="347"/>
                  </a:lnTo>
                  <a:lnTo>
                    <a:pt x="111" y="347"/>
                  </a:lnTo>
                  <a:lnTo>
                    <a:pt x="110" y="346"/>
                  </a:lnTo>
                  <a:lnTo>
                    <a:pt x="110" y="346"/>
                  </a:lnTo>
                  <a:lnTo>
                    <a:pt x="109" y="345"/>
                  </a:lnTo>
                  <a:lnTo>
                    <a:pt x="108" y="344"/>
                  </a:lnTo>
                  <a:lnTo>
                    <a:pt x="108" y="343"/>
                  </a:lnTo>
                  <a:lnTo>
                    <a:pt x="107" y="343"/>
                  </a:lnTo>
                  <a:lnTo>
                    <a:pt x="106" y="340"/>
                  </a:lnTo>
                  <a:lnTo>
                    <a:pt x="104" y="336"/>
                  </a:lnTo>
                  <a:lnTo>
                    <a:pt x="103" y="335"/>
                  </a:lnTo>
                  <a:lnTo>
                    <a:pt x="102" y="333"/>
                  </a:lnTo>
                  <a:lnTo>
                    <a:pt x="102" y="332"/>
                  </a:lnTo>
                  <a:lnTo>
                    <a:pt x="101" y="329"/>
                  </a:lnTo>
                  <a:lnTo>
                    <a:pt x="100" y="327"/>
                  </a:lnTo>
                  <a:lnTo>
                    <a:pt x="100" y="326"/>
                  </a:lnTo>
                  <a:lnTo>
                    <a:pt x="99" y="325"/>
                  </a:lnTo>
                  <a:lnTo>
                    <a:pt x="99" y="324"/>
                  </a:lnTo>
                  <a:lnTo>
                    <a:pt x="98" y="322"/>
                  </a:lnTo>
                  <a:lnTo>
                    <a:pt x="97" y="321"/>
                  </a:lnTo>
                  <a:lnTo>
                    <a:pt x="96" y="320"/>
                  </a:lnTo>
                  <a:lnTo>
                    <a:pt x="94" y="318"/>
                  </a:lnTo>
                  <a:lnTo>
                    <a:pt x="93" y="317"/>
                  </a:lnTo>
                  <a:lnTo>
                    <a:pt x="87" y="313"/>
                  </a:lnTo>
                  <a:lnTo>
                    <a:pt x="86" y="312"/>
                  </a:lnTo>
                  <a:lnTo>
                    <a:pt x="85" y="311"/>
                  </a:lnTo>
                  <a:lnTo>
                    <a:pt x="84" y="310"/>
                  </a:lnTo>
                  <a:lnTo>
                    <a:pt x="82" y="310"/>
                  </a:lnTo>
                  <a:lnTo>
                    <a:pt x="79" y="308"/>
                  </a:lnTo>
                  <a:lnTo>
                    <a:pt x="77" y="307"/>
                  </a:lnTo>
                  <a:lnTo>
                    <a:pt x="76" y="307"/>
                  </a:lnTo>
                  <a:lnTo>
                    <a:pt x="75" y="306"/>
                  </a:lnTo>
                  <a:lnTo>
                    <a:pt x="74" y="305"/>
                  </a:lnTo>
                  <a:lnTo>
                    <a:pt x="73" y="304"/>
                  </a:lnTo>
                  <a:lnTo>
                    <a:pt x="73" y="304"/>
                  </a:lnTo>
                  <a:lnTo>
                    <a:pt x="73" y="303"/>
                  </a:lnTo>
                  <a:lnTo>
                    <a:pt x="72" y="303"/>
                  </a:lnTo>
                  <a:lnTo>
                    <a:pt x="72" y="302"/>
                  </a:lnTo>
                  <a:lnTo>
                    <a:pt x="72" y="301"/>
                  </a:lnTo>
                  <a:lnTo>
                    <a:pt x="71" y="300"/>
                  </a:lnTo>
                  <a:lnTo>
                    <a:pt x="71" y="299"/>
                  </a:lnTo>
                  <a:lnTo>
                    <a:pt x="70" y="295"/>
                  </a:lnTo>
                  <a:lnTo>
                    <a:pt x="69" y="293"/>
                  </a:lnTo>
                  <a:lnTo>
                    <a:pt x="68" y="291"/>
                  </a:lnTo>
                  <a:lnTo>
                    <a:pt x="67" y="287"/>
                  </a:lnTo>
                  <a:lnTo>
                    <a:pt x="67" y="286"/>
                  </a:lnTo>
                  <a:lnTo>
                    <a:pt x="67" y="285"/>
                  </a:lnTo>
                  <a:lnTo>
                    <a:pt x="67" y="284"/>
                  </a:lnTo>
                  <a:lnTo>
                    <a:pt x="67" y="283"/>
                  </a:lnTo>
                  <a:lnTo>
                    <a:pt x="67" y="282"/>
                  </a:lnTo>
                  <a:lnTo>
                    <a:pt x="67" y="280"/>
                  </a:lnTo>
                  <a:lnTo>
                    <a:pt x="67" y="278"/>
                  </a:lnTo>
                  <a:lnTo>
                    <a:pt x="67" y="276"/>
                  </a:lnTo>
                  <a:lnTo>
                    <a:pt x="67" y="273"/>
                  </a:lnTo>
                  <a:lnTo>
                    <a:pt x="67" y="270"/>
                  </a:lnTo>
                  <a:lnTo>
                    <a:pt x="67" y="268"/>
                  </a:lnTo>
                  <a:lnTo>
                    <a:pt x="67" y="267"/>
                  </a:lnTo>
                  <a:lnTo>
                    <a:pt x="67" y="266"/>
                  </a:lnTo>
                  <a:lnTo>
                    <a:pt x="67" y="265"/>
                  </a:lnTo>
                  <a:lnTo>
                    <a:pt x="66" y="264"/>
                  </a:lnTo>
                  <a:lnTo>
                    <a:pt x="66" y="263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4" y="261"/>
                  </a:lnTo>
                  <a:lnTo>
                    <a:pt x="62" y="260"/>
                  </a:lnTo>
                  <a:lnTo>
                    <a:pt x="60" y="260"/>
                  </a:lnTo>
                  <a:lnTo>
                    <a:pt x="58" y="259"/>
                  </a:lnTo>
                  <a:lnTo>
                    <a:pt x="57" y="258"/>
                  </a:lnTo>
                  <a:lnTo>
                    <a:pt x="57" y="258"/>
                  </a:lnTo>
                  <a:lnTo>
                    <a:pt x="56" y="257"/>
                  </a:lnTo>
                  <a:lnTo>
                    <a:pt x="55" y="257"/>
                  </a:lnTo>
                  <a:lnTo>
                    <a:pt x="55" y="256"/>
                  </a:lnTo>
                  <a:lnTo>
                    <a:pt x="54" y="255"/>
                  </a:lnTo>
                  <a:lnTo>
                    <a:pt x="53" y="254"/>
                  </a:lnTo>
                  <a:lnTo>
                    <a:pt x="52" y="252"/>
                  </a:lnTo>
                  <a:lnTo>
                    <a:pt x="51" y="250"/>
                  </a:lnTo>
                  <a:lnTo>
                    <a:pt x="50" y="249"/>
                  </a:lnTo>
                  <a:lnTo>
                    <a:pt x="50" y="247"/>
                  </a:lnTo>
                  <a:lnTo>
                    <a:pt x="49" y="246"/>
                  </a:lnTo>
                  <a:lnTo>
                    <a:pt x="49" y="245"/>
                  </a:lnTo>
                  <a:lnTo>
                    <a:pt x="48" y="243"/>
                  </a:lnTo>
                  <a:lnTo>
                    <a:pt x="48" y="242"/>
                  </a:lnTo>
                  <a:lnTo>
                    <a:pt x="48" y="241"/>
                  </a:lnTo>
                  <a:lnTo>
                    <a:pt x="47" y="235"/>
                  </a:lnTo>
                  <a:lnTo>
                    <a:pt x="47" y="234"/>
                  </a:lnTo>
                  <a:lnTo>
                    <a:pt x="47" y="232"/>
                  </a:lnTo>
                  <a:lnTo>
                    <a:pt x="47" y="230"/>
                  </a:lnTo>
                  <a:lnTo>
                    <a:pt x="45" y="226"/>
                  </a:lnTo>
                  <a:lnTo>
                    <a:pt x="45" y="224"/>
                  </a:lnTo>
                  <a:lnTo>
                    <a:pt x="44" y="223"/>
                  </a:lnTo>
                  <a:lnTo>
                    <a:pt x="43" y="222"/>
                  </a:lnTo>
                  <a:lnTo>
                    <a:pt x="43" y="221"/>
                  </a:lnTo>
                  <a:lnTo>
                    <a:pt x="42" y="220"/>
                  </a:lnTo>
                  <a:lnTo>
                    <a:pt x="42" y="219"/>
                  </a:lnTo>
                  <a:lnTo>
                    <a:pt x="41" y="219"/>
                  </a:lnTo>
                  <a:lnTo>
                    <a:pt x="40" y="218"/>
                  </a:lnTo>
                  <a:lnTo>
                    <a:pt x="38" y="217"/>
                  </a:lnTo>
                  <a:lnTo>
                    <a:pt x="38" y="217"/>
                  </a:lnTo>
                  <a:lnTo>
                    <a:pt x="37" y="217"/>
                  </a:lnTo>
                  <a:lnTo>
                    <a:pt x="37" y="216"/>
                  </a:lnTo>
                  <a:lnTo>
                    <a:pt x="36" y="215"/>
                  </a:lnTo>
                  <a:lnTo>
                    <a:pt x="35" y="214"/>
                  </a:lnTo>
                  <a:lnTo>
                    <a:pt x="35" y="213"/>
                  </a:lnTo>
                  <a:lnTo>
                    <a:pt x="34" y="212"/>
                  </a:lnTo>
                  <a:lnTo>
                    <a:pt x="34" y="211"/>
                  </a:lnTo>
                  <a:lnTo>
                    <a:pt x="34" y="209"/>
                  </a:lnTo>
                  <a:lnTo>
                    <a:pt x="34" y="208"/>
                  </a:lnTo>
                  <a:lnTo>
                    <a:pt x="33" y="206"/>
                  </a:lnTo>
                  <a:lnTo>
                    <a:pt x="33" y="206"/>
                  </a:lnTo>
                  <a:lnTo>
                    <a:pt x="33" y="205"/>
                  </a:lnTo>
                  <a:lnTo>
                    <a:pt x="34" y="204"/>
                  </a:lnTo>
                  <a:lnTo>
                    <a:pt x="34" y="202"/>
                  </a:lnTo>
                  <a:lnTo>
                    <a:pt x="34" y="199"/>
                  </a:lnTo>
                  <a:lnTo>
                    <a:pt x="35" y="197"/>
                  </a:lnTo>
                  <a:lnTo>
                    <a:pt x="35" y="196"/>
                  </a:lnTo>
                  <a:lnTo>
                    <a:pt x="35" y="195"/>
                  </a:lnTo>
                  <a:lnTo>
                    <a:pt x="35" y="194"/>
                  </a:lnTo>
                  <a:lnTo>
                    <a:pt x="35" y="193"/>
                  </a:lnTo>
                  <a:lnTo>
                    <a:pt x="34" y="192"/>
                  </a:lnTo>
                  <a:lnTo>
                    <a:pt x="34" y="190"/>
                  </a:lnTo>
                  <a:lnTo>
                    <a:pt x="33" y="189"/>
                  </a:lnTo>
                  <a:lnTo>
                    <a:pt x="33" y="189"/>
                  </a:lnTo>
                  <a:lnTo>
                    <a:pt x="32" y="188"/>
                  </a:lnTo>
                  <a:lnTo>
                    <a:pt x="32" y="188"/>
                  </a:lnTo>
                  <a:lnTo>
                    <a:pt x="31" y="187"/>
                  </a:lnTo>
                  <a:lnTo>
                    <a:pt x="30" y="187"/>
                  </a:lnTo>
                  <a:lnTo>
                    <a:pt x="26" y="185"/>
                  </a:lnTo>
                  <a:lnTo>
                    <a:pt x="25" y="185"/>
                  </a:lnTo>
                  <a:lnTo>
                    <a:pt x="24" y="184"/>
                  </a:lnTo>
                  <a:lnTo>
                    <a:pt x="21" y="183"/>
                  </a:lnTo>
                  <a:lnTo>
                    <a:pt x="17" y="180"/>
                  </a:lnTo>
                  <a:lnTo>
                    <a:pt x="14" y="179"/>
                  </a:lnTo>
                  <a:lnTo>
                    <a:pt x="14" y="178"/>
                  </a:lnTo>
                  <a:lnTo>
                    <a:pt x="13" y="177"/>
                  </a:lnTo>
                  <a:lnTo>
                    <a:pt x="12" y="177"/>
                  </a:lnTo>
                  <a:lnTo>
                    <a:pt x="11" y="176"/>
                  </a:lnTo>
                  <a:lnTo>
                    <a:pt x="10" y="175"/>
                  </a:lnTo>
                  <a:lnTo>
                    <a:pt x="10" y="174"/>
                  </a:lnTo>
                  <a:lnTo>
                    <a:pt x="9" y="174"/>
                  </a:lnTo>
                  <a:lnTo>
                    <a:pt x="8" y="173"/>
                  </a:lnTo>
                  <a:lnTo>
                    <a:pt x="7" y="170"/>
                  </a:lnTo>
                  <a:lnTo>
                    <a:pt x="5" y="167"/>
                  </a:lnTo>
                  <a:lnTo>
                    <a:pt x="3" y="163"/>
                  </a:lnTo>
                  <a:lnTo>
                    <a:pt x="2" y="162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6"/>
                  </a:lnTo>
                  <a:lnTo>
                    <a:pt x="0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6" y="147"/>
                  </a:lnTo>
                  <a:lnTo>
                    <a:pt x="9" y="146"/>
                  </a:lnTo>
                  <a:lnTo>
                    <a:pt x="14" y="143"/>
                  </a:lnTo>
                  <a:lnTo>
                    <a:pt x="15" y="142"/>
                  </a:lnTo>
                  <a:lnTo>
                    <a:pt x="16" y="141"/>
                  </a:lnTo>
                  <a:lnTo>
                    <a:pt x="17" y="140"/>
                  </a:lnTo>
                  <a:lnTo>
                    <a:pt x="18" y="140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9" y="138"/>
                  </a:lnTo>
                  <a:lnTo>
                    <a:pt x="19" y="137"/>
                  </a:lnTo>
                  <a:lnTo>
                    <a:pt x="19" y="136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21" y="128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3" y="119"/>
                  </a:lnTo>
                  <a:lnTo>
                    <a:pt x="24" y="118"/>
                  </a:lnTo>
                  <a:lnTo>
                    <a:pt x="25" y="117"/>
                  </a:lnTo>
                  <a:lnTo>
                    <a:pt x="26" y="116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9" y="112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3" y="106"/>
                  </a:lnTo>
                  <a:lnTo>
                    <a:pt x="34" y="105"/>
                  </a:lnTo>
                  <a:lnTo>
                    <a:pt x="35" y="103"/>
                  </a:lnTo>
                  <a:lnTo>
                    <a:pt x="37" y="98"/>
                  </a:lnTo>
                  <a:lnTo>
                    <a:pt x="38" y="96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2"/>
                  </a:lnTo>
                  <a:lnTo>
                    <a:pt x="44" y="88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2" y="87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89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5" y="86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8" y="84"/>
                  </a:lnTo>
                  <a:lnTo>
                    <a:pt x="69" y="84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8" y="85"/>
                  </a:lnTo>
                  <a:lnTo>
                    <a:pt x="79" y="86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1" y="89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89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7"/>
                  </a:lnTo>
                  <a:lnTo>
                    <a:pt x="86" y="86"/>
                  </a:lnTo>
                  <a:lnTo>
                    <a:pt x="87" y="86"/>
                  </a:lnTo>
                  <a:lnTo>
                    <a:pt x="88" y="85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1" y="77"/>
                  </a:lnTo>
                  <a:lnTo>
                    <a:pt x="103" y="77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9" y="75"/>
                  </a:lnTo>
                  <a:lnTo>
                    <a:pt x="110" y="75"/>
                  </a:lnTo>
                  <a:lnTo>
                    <a:pt x="112" y="75"/>
                  </a:lnTo>
                  <a:lnTo>
                    <a:pt x="113" y="75"/>
                  </a:lnTo>
                  <a:lnTo>
                    <a:pt x="114" y="75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0" y="73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7" y="75"/>
                  </a:lnTo>
                  <a:lnTo>
                    <a:pt x="132" y="76"/>
                  </a:lnTo>
                  <a:lnTo>
                    <a:pt x="133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8"/>
                  </a:lnTo>
                  <a:lnTo>
                    <a:pt x="142" y="78"/>
                  </a:lnTo>
                  <a:lnTo>
                    <a:pt x="144" y="78"/>
                  </a:lnTo>
                  <a:lnTo>
                    <a:pt x="146" y="78"/>
                  </a:lnTo>
                  <a:lnTo>
                    <a:pt x="147" y="78"/>
                  </a:lnTo>
                  <a:lnTo>
                    <a:pt x="148" y="77"/>
                  </a:lnTo>
                  <a:lnTo>
                    <a:pt x="149" y="77"/>
                  </a:lnTo>
                  <a:lnTo>
                    <a:pt x="150" y="78"/>
                  </a:lnTo>
                  <a:lnTo>
                    <a:pt x="151" y="78"/>
                  </a:lnTo>
                  <a:lnTo>
                    <a:pt x="152" y="78"/>
                  </a:lnTo>
                  <a:lnTo>
                    <a:pt x="155" y="79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7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7" y="74"/>
                  </a:lnTo>
                  <a:lnTo>
                    <a:pt x="168" y="73"/>
                  </a:lnTo>
                  <a:lnTo>
                    <a:pt x="168" y="72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70" y="66"/>
                  </a:lnTo>
                  <a:lnTo>
                    <a:pt x="170" y="65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1" y="59"/>
                  </a:lnTo>
                  <a:lnTo>
                    <a:pt x="171" y="58"/>
                  </a:lnTo>
                  <a:lnTo>
                    <a:pt x="172" y="58"/>
                  </a:lnTo>
                  <a:lnTo>
                    <a:pt x="172" y="57"/>
                  </a:lnTo>
                  <a:lnTo>
                    <a:pt x="173" y="57"/>
                  </a:lnTo>
                  <a:lnTo>
                    <a:pt x="174" y="57"/>
                  </a:lnTo>
                  <a:lnTo>
                    <a:pt x="176" y="56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92" y="47"/>
                  </a:lnTo>
                  <a:lnTo>
                    <a:pt x="194" y="45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0" y="42"/>
                  </a:lnTo>
                  <a:lnTo>
                    <a:pt x="200" y="41"/>
                  </a:lnTo>
                  <a:lnTo>
                    <a:pt x="202" y="40"/>
                  </a:lnTo>
                  <a:lnTo>
                    <a:pt x="203" y="38"/>
                  </a:lnTo>
                  <a:lnTo>
                    <a:pt x="205" y="37"/>
                  </a:lnTo>
                  <a:lnTo>
                    <a:pt x="207" y="35"/>
                  </a:lnTo>
                  <a:lnTo>
                    <a:pt x="207" y="34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7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6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2" y="38"/>
                  </a:lnTo>
                  <a:lnTo>
                    <a:pt x="233" y="39"/>
                  </a:lnTo>
                  <a:lnTo>
                    <a:pt x="235" y="41"/>
                  </a:lnTo>
                  <a:lnTo>
                    <a:pt x="236" y="41"/>
                  </a:lnTo>
                  <a:lnTo>
                    <a:pt x="237" y="42"/>
                  </a:lnTo>
                  <a:lnTo>
                    <a:pt x="240" y="44"/>
                  </a:lnTo>
                  <a:lnTo>
                    <a:pt x="241" y="45"/>
                  </a:lnTo>
                  <a:lnTo>
                    <a:pt x="242" y="46"/>
                  </a:lnTo>
                  <a:lnTo>
                    <a:pt x="243" y="46"/>
                  </a:lnTo>
                  <a:lnTo>
                    <a:pt x="244" y="47"/>
                  </a:lnTo>
                  <a:lnTo>
                    <a:pt x="245" y="47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7"/>
                  </a:lnTo>
                  <a:lnTo>
                    <a:pt x="249" y="47"/>
                  </a:lnTo>
                  <a:lnTo>
                    <a:pt x="249" y="46"/>
                  </a:lnTo>
                  <a:lnTo>
                    <a:pt x="250" y="46"/>
                  </a:lnTo>
                  <a:lnTo>
                    <a:pt x="250" y="45"/>
                  </a:lnTo>
                  <a:lnTo>
                    <a:pt x="250" y="44"/>
                  </a:lnTo>
                  <a:lnTo>
                    <a:pt x="250" y="43"/>
                  </a:lnTo>
                  <a:lnTo>
                    <a:pt x="252" y="37"/>
                  </a:lnTo>
                  <a:lnTo>
                    <a:pt x="252" y="36"/>
                  </a:lnTo>
                  <a:lnTo>
                    <a:pt x="252" y="35"/>
                  </a:lnTo>
                  <a:lnTo>
                    <a:pt x="252" y="34"/>
                  </a:lnTo>
                  <a:lnTo>
                    <a:pt x="252" y="32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2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3" y="26"/>
                  </a:lnTo>
                  <a:lnTo>
                    <a:pt x="254" y="26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7" y="25"/>
                  </a:lnTo>
                  <a:lnTo>
                    <a:pt x="259" y="24"/>
                  </a:lnTo>
                  <a:lnTo>
                    <a:pt x="262" y="23"/>
                  </a:lnTo>
                  <a:lnTo>
                    <a:pt x="263" y="23"/>
                  </a:lnTo>
                  <a:lnTo>
                    <a:pt x="264" y="22"/>
                  </a:lnTo>
                  <a:lnTo>
                    <a:pt x="265" y="21"/>
                  </a:lnTo>
                  <a:lnTo>
                    <a:pt x="266" y="21"/>
                  </a:lnTo>
                  <a:lnTo>
                    <a:pt x="267" y="20"/>
                  </a:lnTo>
                  <a:lnTo>
                    <a:pt x="268" y="20"/>
                  </a:lnTo>
                  <a:lnTo>
                    <a:pt x="268" y="19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7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4"/>
                  </a:lnTo>
                  <a:lnTo>
                    <a:pt x="268" y="14"/>
                  </a:lnTo>
                  <a:lnTo>
                    <a:pt x="268" y="12"/>
                  </a:lnTo>
                  <a:lnTo>
                    <a:pt x="267" y="12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0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8" y="7"/>
                  </a:lnTo>
                  <a:lnTo>
                    <a:pt x="268" y="6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70" y="3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6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79" y="0"/>
                  </a:lnTo>
                  <a:lnTo>
                    <a:pt x="279" y="1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Freeform 15">
              <a:extLst>
                <a:ext uri="{FF2B5EF4-FFF2-40B4-BE49-F238E27FC236}">
                  <a16:creationId xmlns:a16="http://schemas.microsoft.com/office/drawing/2014/main" id="{FD35F4A4-176F-DBA6-72E1-808DFF391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" y="3302"/>
              <a:ext cx="419" cy="536"/>
            </a:xfrm>
            <a:custGeom>
              <a:avLst/>
              <a:gdLst>
                <a:gd name="T0" fmla="*/ 277 w 419"/>
                <a:gd name="T1" fmla="*/ 2 h 536"/>
                <a:gd name="T2" fmla="*/ 286 w 419"/>
                <a:gd name="T3" fmla="*/ 11 h 536"/>
                <a:gd name="T4" fmla="*/ 299 w 419"/>
                <a:gd name="T5" fmla="*/ 12 h 536"/>
                <a:gd name="T6" fmla="*/ 294 w 419"/>
                <a:gd name="T7" fmla="*/ 28 h 536"/>
                <a:gd name="T8" fmla="*/ 304 w 419"/>
                <a:gd name="T9" fmla="*/ 32 h 536"/>
                <a:gd name="T10" fmla="*/ 327 w 419"/>
                <a:gd name="T11" fmla="*/ 31 h 536"/>
                <a:gd name="T12" fmla="*/ 326 w 419"/>
                <a:gd name="T13" fmla="*/ 37 h 536"/>
                <a:gd name="T14" fmla="*/ 345 w 419"/>
                <a:gd name="T15" fmla="*/ 51 h 536"/>
                <a:gd name="T16" fmla="*/ 368 w 419"/>
                <a:gd name="T17" fmla="*/ 50 h 536"/>
                <a:gd name="T18" fmla="*/ 390 w 419"/>
                <a:gd name="T19" fmla="*/ 66 h 536"/>
                <a:gd name="T20" fmla="*/ 397 w 419"/>
                <a:gd name="T21" fmla="*/ 76 h 536"/>
                <a:gd name="T22" fmla="*/ 419 w 419"/>
                <a:gd name="T23" fmla="*/ 96 h 536"/>
                <a:gd name="T24" fmla="*/ 413 w 419"/>
                <a:gd name="T25" fmla="*/ 118 h 536"/>
                <a:gd name="T26" fmla="*/ 409 w 419"/>
                <a:gd name="T27" fmla="*/ 145 h 536"/>
                <a:gd name="T28" fmla="*/ 411 w 419"/>
                <a:gd name="T29" fmla="*/ 161 h 536"/>
                <a:gd name="T30" fmla="*/ 400 w 419"/>
                <a:gd name="T31" fmla="*/ 176 h 536"/>
                <a:gd name="T32" fmla="*/ 388 w 419"/>
                <a:gd name="T33" fmla="*/ 175 h 536"/>
                <a:gd name="T34" fmla="*/ 372 w 419"/>
                <a:gd name="T35" fmla="*/ 192 h 536"/>
                <a:gd name="T36" fmla="*/ 383 w 419"/>
                <a:gd name="T37" fmla="*/ 197 h 536"/>
                <a:gd name="T38" fmla="*/ 377 w 419"/>
                <a:gd name="T39" fmla="*/ 204 h 536"/>
                <a:gd name="T40" fmla="*/ 380 w 419"/>
                <a:gd name="T41" fmla="*/ 214 h 536"/>
                <a:gd name="T42" fmla="*/ 380 w 419"/>
                <a:gd name="T43" fmla="*/ 220 h 536"/>
                <a:gd name="T44" fmla="*/ 391 w 419"/>
                <a:gd name="T45" fmla="*/ 225 h 536"/>
                <a:gd name="T46" fmla="*/ 391 w 419"/>
                <a:gd name="T47" fmla="*/ 251 h 536"/>
                <a:gd name="T48" fmla="*/ 398 w 419"/>
                <a:gd name="T49" fmla="*/ 266 h 536"/>
                <a:gd name="T50" fmla="*/ 394 w 419"/>
                <a:gd name="T51" fmla="*/ 283 h 536"/>
                <a:gd name="T52" fmla="*/ 397 w 419"/>
                <a:gd name="T53" fmla="*/ 299 h 536"/>
                <a:gd name="T54" fmla="*/ 397 w 419"/>
                <a:gd name="T55" fmla="*/ 321 h 536"/>
                <a:gd name="T56" fmla="*/ 403 w 419"/>
                <a:gd name="T57" fmla="*/ 345 h 536"/>
                <a:gd name="T58" fmla="*/ 388 w 419"/>
                <a:gd name="T59" fmla="*/ 367 h 536"/>
                <a:gd name="T60" fmla="*/ 383 w 419"/>
                <a:gd name="T61" fmla="*/ 381 h 536"/>
                <a:gd name="T62" fmla="*/ 379 w 419"/>
                <a:gd name="T63" fmla="*/ 389 h 536"/>
                <a:gd name="T64" fmla="*/ 381 w 419"/>
                <a:gd name="T65" fmla="*/ 398 h 536"/>
                <a:gd name="T66" fmla="*/ 376 w 419"/>
                <a:gd name="T67" fmla="*/ 412 h 536"/>
                <a:gd name="T68" fmla="*/ 375 w 419"/>
                <a:gd name="T69" fmla="*/ 427 h 536"/>
                <a:gd name="T70" fmla="*/ 357 w 419"/>
                <a:gd name="T71" fmla="*/ 445 h 536"/>
                <a:gd name="T72" fmla="*/ 343 w 419"/>
                <a:gd name="T73" fmla="*/ 450 h 536"/>
                <a:gd name="T74" fmla="*/ 344 w 419"/>
                <a:gd name="T75" fmla="*/ 480 h 536"/>
                <a:gd name="T76" fmla="*/ 335 w 419"/>
                <a:gd name="T77" fmla="*/ 491 h 536"/>
                <a:gd name="T78" fmla="*/ 326 w 419"/>
                <a:gd name="T79" fmla="*/ 515 h 536"/>
                <a:gd name="T80" fmla="*/ 321 w 419"/>
                <a:gd name="T81" fmla="*/ 526 h 536"/>
                <a:gd name="T82" fmla="*/ 310 w 419"/>
                <a:gd name="T83" fmla="*/ 536 h 536"/>
                <a:gd name="T84" fmla="*/ 286 w 419"/>
                <a:gd name="T85" fmla="*/ 516 h 536"/>
                <a:gd name="T86" fmla="*/ 276 w 419"/>
                <a:gd name="T87" fmla="*/ 482 h 536"/>
                <a:gd name="T88" fmla="*/ 248 w 419"/>
                <a:gd name="T89" fmla="*/ 456 h 536"/>
                <a:gd name="T90" fmla="*/ 221 w 419"/>
                <a:gd name="T91" fmla="*/ 448 h 536"/>
                <a:gd name="T92" fmla="*/ 209 w 419"/>
                <a:gd name="T93" fmla="*/ 425 h 536"/>
                <a:gd name="T94" fmla="*/ 188 w 419"/>
                <a:gd name="T95" fmla="*/ 395 h 536"/>
                <a:gd name="T96" fmla="*/ 173 w 419"/>
                <a:gd name="T97" fmla="*/ 372 h 536"/>
                <a:gd name="T98" fmla="*/ 151 w 419"/>
                <a:gd name="T99" fmla="*/ 350 h 536"/>
                <a:gd name="T100" fmla="*/ 129 w 419"/>
                <a:gd name="T101" fmla="*/ 350 h 536"/>
                <a:gd name="T102" fmla="*/ 106 w 419"/>
                <a:gd name="T103" fmla="*/ 347 h 536"/>
                <a:gd name="T104" fmla="*/ 91 w 419"/>
                <a:gd name="T105" fmla="*/ 324 h 536"/>
                <a:gd name="T106" fmla="*/ 65 w 419"/>
                <a:gd name="T107" fmla="*/ 303 h 536"/>
                <a:gd name="T108" fmla="*/ 59 w 419"/>
                <a:gd name="T109" fmla="*/ 279 h 536"/>
                <a:gd name="T110" fmla="*/ 49 w 419"/>
                <a:gd name="T111" fmla="*/ 257 h 536"/>
                <a:gd name="T112" fmla="*/ 39 w 419"/>
                <a:gd name="T113" fmla="*/ 233 h 536"/>
                <a:gd name="T114" fmla="*/ 27 w 419"/>
                <a:gd name="T115" fmla="*/ 213 h 536"/>
                <a:gd name="T116" fmla="*/ 26 w 419"/>
                <a:gd name="T117" fmla="*/ 191 h 536"/>
                <a:gd name="T118" fmla="*/ 3 w 419"/>
                <a:gd name="T119" fmla="*/ 175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9" h="536">
                  <a:moveTo>
                    <a:pt x="271" y="0"/>
                  </a:moveTo>
                  <a:lnTo>
                    <a:pt x="271" y="0"/>
                  </a:lnTo>
                  <a:lnTo>
                    <a:pt x="271" y="0"/>
                  </a:lnTo>
                  <a:lnTo>
                    <a:pt x="271" y="1"/>
                  </a:lnTo>
                  <a:lnTo>
                    <a:pt x="271" y="3"/>
                  </a:lnTo>
                  <a:lnTo>
                    <a:pt x="271" y="3"/>
                  </a:lnTo>
                  <a:lnTo>
                    <a:pt x="272" y="4"/>
                  </a:lnTo>
                  <a:lnTo>
                    <a:pt x="272" y="4"/>
                  </a:lnTo>
                  <a:lnTo>
                    <a:pt x="272" y="5"/>
                  </a:lnTo>
                  <a:lnTo>
                    <a:pt x="273" y="5"/>
                  </a:lnTo>
                  <a:lnTo>
                    <a:pt x="273" y="5"/>
                  </a:lnTo>
                  <a:lnTo>
                    <a:pt x="274" y="5"/>
                  </a:lnTo>
                  <a:lnTo>
                    <a:pt x="274" y="5"/>
                  </a:lnTo>
                  <a:lnTo>
                    <a:pt x="274" y="5"/>
                  </a:lnTo>
                  <a:lnTo>
                    <a:pt x="275" y="4"/>
                  </a:lnTo>
                  <a:lnTo>
                    <a:pt x="275" y="4"/>
                  </a:lnTo>
                  <a:lnTo>
                    <a:pt x="277" y="2"/>
                  </a:lnTo>
                  <a:lnTo>
                    <a:pt x="277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80" y="0"/>
                  </a:lnTo>
                  <a:lnTo>
                    <a:pt x="280" y="1"/>
                  </a:lnTo>
                  <a:lnTo>
                    <a:pt x="280" y="1"/>
                  </a:lnTo>
                  <a:lnTo>
                    <a:pt x="281" y="2"/>
                  </a:lnTo>
                  <a:lnTo>
                    <a:pt x="281" y="3"/>
                  </a:lnTo>
                  <a:lnTo>
                    <a:pt x="283" y="5"/>
                  </a:lnTo>
                  <a:lnTo>
                    <a:pt x="284" y="6"/>
                  </a:lnTo>
                  <a:lnTo>
                    <a:pt x="284" y="7"/>
                  </a:lnTo>
                  <a:lnTo>
                    <a:pt x="285" y="9"/>
                  </a:lnTo>
                  <a:lnTo>
                    <a:pt x="285" y="10"/>
                  </a:lnTo>
                  <a:lnTo>
                    <a:pt x="285" y="10"/>
                  </a:lnTo>
                  <a:lnTo>
                    <a:pt x="286" y="10"/>
                  </a:lnTo>
                  <a:lnTo>
                    <a:pt x="286" y="11"/>
                  </a:lnTo>
                  <a:lnTo>
                    <a:pt x="286" y="11"/>
                  </a:lnTo>
                  <a:lnTo>
                    <a:pt x="287" y="11"/>
                  </a:lnTo>
                  <a:lnTo>
                    <a:pt x="287" y="11"/>
                  </a:lnTo>
                  <a:lnTo>
                    <a:pt x="288" y="11"/>
                  </a:lnTo>
                  <a:lnTo>
                    <a:pt x="291" y="10"/>
                  </a:lnTo>
                  <a:lnTo>
                    <a:pt x="291" y="10"/>
                  </a:lnTo>
                  <a:lnTo>
                    <a:pt x="291" y="10"/>
                  </a:lnTo>
                  <a:lnTo>
                    <a:pt x="293" y="9"/>
                  </a:lnTo>
                  <a:lnTo>
                    <a:pt x="294" y="8"/>
                  </a:lnTo>
                  <a:lnTo>
                    <a:pt x="294" y="8"/>
                  </a:lnTo>
                  <a:lnTo>
                    <a:pt x="295" y="7"/>
                  </a:lnTo>
                  <a:lnTo>
                    <a:pt x="296" y="6"/>
                  </a:lnTo>
                  <a:lnTo>
                    <a:pt x="296" y="7"/>
                  </a:lnTo>
                  <a:lnTo>
                    <a:pt x="296" y="8"/>
                  </a:lnTo>
                  <a:lnTo>
                    <a:pt x="297" y="9"/>
                  </a:lnTo>
                  <a:lnTo>
                    <a:pt x="298" y="10"/>
                  </a:lnTo>
                  <a:lnTo>
                    <a:pt x="299" y="12"/>
                  </a:lnTo>
                  <a:lnTo>
                    <a:pt x="299" y="13"/>
                  </a:lnTo>
                  <a:lnTo>
                    <a:pt x="300" y="13"/>
                  </a:lnTo>
                  <a:lnTo>
                    <a:pt x="300" y="14"/>
                  </a:lnTo>
                  <a:lnTo>
                    <a:pt x="300" y="15"/>
                  </a:lnTo>
                  <a:lnTo>
                    <a:pt x="300" y="16"/>
                  </a:lnTo>
                  <a:lnTo>
                    <a:pt x="300" y="17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299" y="19"/>
                  </a:lnTo>
                  <a:lnTo>
                    <a:pt x="298" y="21"/>
                  </a:lnTo>
                  <a:lnTo>
                    <a:pt x="297" y="22"/>
                  </a:lnTo>
                  <a:lnTo>
                    <a:pt x="296" y="24"/>
                  </a:lnTo>
                  <a:lnTo>
                    <a:pt x="295" y="26"/>
                  </a:lnTo>
                  <a:lnTo>
                    <a:pt x="295" y="27"/>
                  </a:lnTo>
                  <a:lnTo>
                    <a:pt x="294" y="27"/>
                  </a:lnTo>
                  <a:lnTo>
                    <a:pt x="294" y="28"/>
                  </a:lnTo>
                  <a:lnTo>
                    <a:pt x="294" y="29"/>
                  </a:lnTo>
                  <a:lnTo>
                    <a:pt x="294" y="29"/>
                  </a:lnTo>
                  <a:lnTo>
                    <a:pt x="294" y="30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5" y="32"/>
                  </a:lnTo>
                  <a:lnTo>
                    <a:pt x="295" y="32"/>
                  </a:lnTo>
                  <a:lnTo>
                    <a:pt x="296" y="32"/>
                  </a:lnTo>
                  <a:lnTo>
                    <a:pt x="297" y="32"/>
                  </a:lnTo>
                  <a:lnTo>
                    <a:pt x="300" y="33"/>
                  </a:lnTo>
                  <a:lnTo>
                    <a:pt x="300" y="33"/>
                  </a:lnTo>
                  <a:lnTo>
                    <a:pt x="301" y="33"/>
                  </a:lnTo>
                  <a:lnTo>
                    <a:pt x="301" y="33"/>
                  </a:lnTo>
                  <a:lnTo>
                    <a:pt x="302" y="33"/>
                  </a:lnTo>
                  <a:lnTo>
                    <a:pt x="303" y="33"/>
                  </a:lnTo>
                  <a:lnTo>
                    <a:pt x="304" y="32"/>
                  </a:lnTo>
                  <a:lnTo>
                    <a:pt x="306" y="31"/>
                  </a:lnTo>
                  <a:lnTo>
                    <a:pt x="308" y="31"/>
                  </a:lnTo>
                  <a:lnTo>
                    <a:pt x="309" y="31"/>
                  </a:lnTo>
                  <a:lnTo>
                    <a:pt x="309" y="30"/>
                  </a:lnTo>
                  <a:lnTo>
                    <a:pt x="311" y="30"/>
                  </a:lnTo>
                  <a:lnTo>
                    <a:pt x="313" y="30"/>
                  </a:lnTo>
                  <a:lnTo>
                    <a:pt x="314" y="30"/>
                  </a:lnTo>
                  <a:lnTo>
                    <a:pt x="315" y="31"/>
                  </a:lnTo>
                  <a:lnTo>
                    <a:pt x="318" y="31"/>
                  </a:lnTo>
                  <a:lnTo>
                    <a:pt x="319" y="31"/>
                  </a:lnTo>
                  <a:lnTo>
                    <a:pt x="320" y="31"/>
                  </a:lnTo>
                  <a:lnTo>
                    <a:pt x="320" y="31"/>
                  </a:lnTo>
                  <a:lnTo>
                    <a:pt x="323" y="31"/>
                  </a:lnTo>
                  <a:lnTo>
                    <a:pt x="325" y="31"/>
                  </a:lnTo>
                  <a:lnTo>
                    <a:pt x="326" y="31"/>
                  </a:lnTo>
                  <a:lnTo>
                    <a:pt x="326" y="31"/>
                  </a:lnTo>
                  <a:lnTo>
                    <a:pt x="327" y="31"/>
                  </a:lnTo>
                  <a:lnTo>
                    <a:pt x="328" y="31"/>
                  </a:lnTo>
                  <a:lnTo>
                    <a:pt x="329" y="32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1" y="33"/>
                  </a:lnTo>
                  <a:lnTo>
                    <a:pt x="330" y="34"/>
                  </a:lnTo>
                  <a:lnTo>
                    <a:pt x="330" y="34"/>
                  </a:lnTo>
                  <a:lnTo>
                    <a:pt x="328" y="35"/>
                  </a:lnTo>
                  <a:lnTo>
                    <a:pt x="328" y="35"/>
                  </a:lnTo>
                  <a:lnTo>
                    <a:pt x="327" y="36"/>
                  </a:lnTo>
                  <a:lnTo>
                    <a:pt x="327" y="36"/>
                  </a:lnTo>
                  <a:lnTo>
                    <a:pt x="326" y="36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8"/>
                  </a:lnTo>
                  <a:lnTo>
                    <a:pt x="327" y="38"/>
                  </a:lnTo>
                  <a:lnTo>
                    <a:pt x="327" y="38"/>
                  </a:lnTo>
                  <a:lnTo>
                    <a:pt x="327" y="39"/>
                  </a:lnTo>
                  <a:lnTo>
                    <a:pt x="328" y="40"/>
                  </a:lnTo>
                  <a:lnTo>
                    <a:pt x="329" y="40"/>
                  </a:lnTo>
                  <a:lnTo>
                    <a:pt x="330" y="41"/>
                  </a:lnTo>
                  <a:lnTo>
                    <a:pt x="331" y="42"/>
                  </a:lnTo>
                  <a:lnTo>
                    <a:pt x="334" y="43"/>
                  </a:lnTo>
                  <a:lnTo>
                    <a:pt x="336" y="44"/>
                  </a:lnTo>
                  <a:lnTo>
                    <a:pt x="338" y="46"/>
                  </a:lnTo>
                  <a:lnTo>
                    <a:pt x="341" y="48"/>
                  </a:lnTo>
                  <a:lnTo>
                    <a:pt x="342" y="49"/>
                  </a:lnTo>
                  <a:lnTo>
                    <a:pt x="344" y="50"/>
                  </a:lnTo>
                  <a:lnTo>
                    <a:pt x="344" y="50"/>
                  </a:lnTo>
                  <a:lnTo>
                    <a:pt x="345" y="51"/>
                  </a:lnTo>
                  <a:lnTo>
                    <a:pt x="346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50" y="52"/>
                  </a:lnTo>
                  <a:lnTo>
                    <a:pt x="351" y="52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5" y="52"/>
                  </a:lnTo>
                  <a:lnTo>
                    <a:pt x="357" y="52"/>
                  </a:lnTo>
                  <a:lnTo>
                    <a:pt x="358" y="51"/>
                  </a:lnTo>
                  <a:lnTo>
                    <a:pt x="359" y="51"/>
                  </a:lnTo>
                  <a:lnTo>
                    <a:pt x="362" y="50"/>
                  </a:lnTo>
                  <a:lnTo>
                    <a:pt x="363" y="50"/>
                  </a:lnTo>
                  <a:lnTo>
                    <a:pt x="364" y="50"/>
                  </a:lnTo>
                  <a:lnTo>
                    <a:pt x="366" y="50"/>
                  </a:lnTo>
                  <a:lnTo>
                    <a:pt x="366" y="50"/>
                  </a:lnTo>
                  <a:lnTo>
                    <a:pt x="368" y="50"/>
                  </a:lnTo>
                  <a:lnTo>
                    <a:pt x="368" y="51"/>
                  </a:lnTo>
                  <a:lnTo>
                    <a:pt x="369" y="51"/>
                  </a:lnTo>
                  <a:lnTo>
                    <a:pt x="370" y="51"/>
                  </a:lnTo>
                  <a:lnTo>
                    <a:pt x="370" y="52"/>
                  </a:lnTo>
                  <a:lnTo>
                    <a:pt x="371" y="52"/>
                  </a:lnTo>
                  <a:lnTo>
                    <a:pt x="372" y="53"/>
                  </a:lnTo>
                  <a:lnTo>
                    <a:pt x="374" y="56"/>
                  </a:lnTo>
                  <a:lnTo>
                    <a:pt x="376" y="58"/>
                  </a:lnTo>
                  <a:lnTo>
                    <a:pt x="377" y="59"/>
                  </a:lnTo>
                  <a:lnTo>
                    <a:pt x="379" y="61"/>
                  </a:lnTo>
                  <a:lnTo>
                    <a:pt x="382" y="63"/>
                  </a:lnTo>
                  <a:lnTo>
                    <a:pt x="383" y="64"/>
                  </a:lnTo>
                  <a:lnTo>
                    <a:pt x="384" y="65"/>
                  </a:lnTo>
                  <a:lnTo>
                    <a:pt x="385" y="65"/>
                  </a:lnTo>
                  <a:lnTo>
                    <a:pt x="386" y="65"/>
                  </a:lnTo>
                  <a:lnTo>
                    <a:pt x="389" y="66"/>
                  </a:lnTo>
                  <a:lnTo>
                    <a:pt x="390" y="66"/>
                  </a:lnTo>
                  <a:lnTo>
                    <a:pt x="391" y="66"/>
                  </a:lnTo>
                  <a:lnTo>
                    <a:pt x="392" y="66"/>
                  </a:lnTo>
                  <a:lnTo>
                    <a:pt x="392" y="67"/>
                  </a:lnTo>
                  <a:lnTo>
                    <a:pt x="393" y="67"/>
                  </a:lnTo>
                  <a:lnTo>
                    <a:pt x="394" y="68"/>
                  </a:lnTo>
                  <a:lnTo>
                    <a:pt x="394" y="68"/>
                  </a:lnTo>
                  <a:lnTo>
                    <a:pt x="395" y="69"/>
                  </a:lnTo>
                  <a:lnTo>
                    <a:pt x="395" y="69"/>
                  </a:lnTo>
                  <a:lnTo>
                    <a:pt x="395" y="70"/>
                  </a:lnTo>
                  <a:lnTo>
                    <a:pt x="396" y="71"/>
                  </a:lnTo>
                  <a:lnTo>
                    <a:pt x="396" y="71"/>
                  </a:lnTo>
                  <a:lnTo>
                    <a:pt x="396" y="74"/>
                  </a:lnTo>
                  <a:lnTo>
                    <a:pt x="396" y="75"/>
                  </a:lnTo>
                  <a:lnTo>
                    <a:pt x="397" y="75"/>
                  </a:lnTo>
                  <a:lnTo>
                    <a:pt x="397" y="75"/>
                  </a:lnTo>
                  <a:lnTo>
                    <a:pt x="397" y="76"/>
                  </a:lnTo>
                  <a:lnTo>
                    <a:pt x="397" y="76"/>
                  </a:lnTo>
                  <a:lnTo>
                    <a:pt x="398" y="76"/>
                  </a:lnTo>
                  <a:lnTo>
                    <a:pt x="398" y="76"/>
                  </a:lnTo>
                  <a:lnTo>
                    <a:pt x="401" y="77"/>
                  </a:lnTo>
                  <a:lnTo>
                    <a:pt x="404" y="78"/>
                  </a:lnTo>
                  <a:lnTo>
                    <a:pt x="406" y="78"/>
                  </a:lnTo>
                  <a:lnTo>
                    <a:pt x="407" y="79"/>
                  </a:lnTo>
                  <a:lnTo>
                    <a:pt x="410" y="80"/>
                  </a:lnTo>
                  <a:lnTo>
                    <a:pt x="416" y="84"/>
                  </a:lnTo>
                  <a:lnTo>
                    <a:pt x="417" y="84"/>
                  </a:lnTo>
                  <a:lnTo>
                    <a:pt x="417" y="85"/>
                  </a:lnTo>
                  <a:lnTo>
                    <a:pt x="417" y="85"/>
                  </a:lnTo>
                  <a:lnTo>
                    <a:pt x="418" y="85"/>
                  </a:lnTo>
                  <a:lnTo>
                    <a:pt x="418" y="86"/>
                  </a:lnTo>
                  <a:lnTo>
                    <a:pt x="418" y="86"/>
                  </a:lnTo>
                  <a:lnTo>
                    <a:pt x="418" y="91"/>
                  </a:lnTo>
                  <a:lnTo>
                    <a:pt x="418" y="93"/>
                  </a:lnTo>
                  <a:lnTo>
                    <a:pt x="419" y="96"/>
                  </a:lnTo>
                  <a:lnTo>
                    <a:pt x="419" y="100"/>
                  </a:lnTo>
                  <a:lnTo>
                    <a:pt x="419" y="102"/>
                  </a:lnTo>
                  <a:lnTo>
                    <a:pt x="419" y="106"/>
                  </a:lnTo>
                  <a:lnTo>
                    <a:pt x="419" y="107"/>
                  </a:lnTo>
                  <a:lnTo>
                    <a:pt x="419" y="108"/>
                  </a:lnTo>
                  <a:lnTo>
                    <a:pt x="419" y="108"/>
                  </a:lnTo>
                  <a:lnTo>
                    <a:pt x="419" y="109"/>
                  </a:lnTo>
                  <a:lnTo>
                    <a:pt x="419" y="110"/>
                  </a:lnTo>
                  <a:lnTo>
                    <a:pt x="418" y="110"/>
                  </a:lnTo>
                  <a:lnTo>
                    <a:pt x="418" y="111"/>
                  </a:lnTo>
                  <a:lnTo>
                    <a:pt x="416" y="112"/>
                  </a:lnTo>
                  <a:lnTo>
                    <a:pt x="416" y="113"/>
                  </a:lnTo>
                  <a:lnTo>
                    <a:pt x="415" y="113"/>
                  </a:lnTo>
                  <a:lnTo>
                    <a:pt x="415" y="114"/>
                  </a:lnTo>
                  <a:lnTo>
                    <a:pt x="414" y="115"/>
                  </a:lnTo>
                  <a:lnTo>
                    <a:pt x="414" y="116"/>
                  </a:lnTo>
                  <a:lnTo>
                    <a:pt x="413" y="118"/>
                  </a:lnTo>
                  <a:lnTo>
                    <a:pt x="412" y="121"/>
                  </a:lnTo>
                  <a:lnTo>
                    <a:pt x="412" y="122"/>
                  </a:lnTo>
                  <a:lnTo>
                    <a:pt x="412" y="123"/>
                  </a:lnTo>
                  <a:lnTo>
                    <a:pt x="411" y="128"/>
                  </a:lnTo>
                  <a:lnTo>
                    <a:pt x="411" y="129"/>
                  </a:lnTo>
                  <a:lnTo>
                    <a:pt x="411" y="130"/>
                  </a:lnTo>
                  <a:lnTo>
                    <a:pt x="411" y="133"/>
                  </a:lnTo>
                  <a:lnTo>
                    <a:pt x="411" y="134"/>
                  </a:lnTo>
                  <a:lnTo>
                    <a:pt x="411" y="135"/>
                  </a:lnTo>
                  <a:lnTo>
                    <a:pt x="411" y="136"/>
                  </a:lnTo>
                  <a:lnTo>
                    <a:pt x="411" y="137"/>
                  </a:lnTo>
                  <a:lnTo>
                    <a:pt x="411" y="138"/>
                  </a:lnTo>
                  <a:lnTo>
                    <a:pt x="410" y="140"/>
                  </a:lnTo>
                  <a:lnTo>
                    <a:pt x="409" y="143"/>
                  </a:lnTo>
                  <a:lnTo>
                    <a:pt x="409" y="143"/>
                  </a:lnTo>
                  <a:lnTo>
                    <a:pt x="409" y="144"/>
                  </a:lnTo>
                  <a:lnTo>
                    <a:pt x="409" y="145"/>
                  </a:lnTo>
                  <a:lnTo>
                    <a:pt x="409" y="146"/>
                  </a:lnTo>
                  <a:lnTo>
                    <a:pt x="409" y="147"/>
                  </a:lnTo>
                  <a:lnTo>
                    <a:pt x="409" y="150"/>
                  </a:lnTo>
                  <a:lnTo>
                    <a:pt x="409" y="151"/>
                  </a:lnTo>
                  <a:lnTo>
                    <a:pt x="408" y="152"/>
                  </a:lnTo>
                  <a:lnTo>
                    <a:pt x="408" y="153"/>
                  </a:lnTo>
                  <a:lnTo>
                    <a:pt x="408" y="154"/>
                  </a:lnTo>
                  <a:lnTo>
                    <a:pt x="408" y="155"/>
                  </a:lnTo>
                  <a:lnTo>
                    <a:pt x="407" y="157"/>
                  </a:lnTo>
                  <a:lnTo>
                    <a:pt x="407" y="158"/>
                  </a:lnTo>
                  <a:lnTo>
                    <a:pt x="407" y="159"/>
                  </a:lnTo>
                  <a:lnTo>
                    <a:pt x="408" y="159"/>
                  </a:lnTo>
                  <a:lnTo>
                    <a:pt x="408" y="159"/>
                  </a:lnTo>
                  <a:lnTo>
                    <a:pt x="408" y="159"/>
                  </a:lnTo>
                  <a:lnTo>
                    <a:pt x="410" y="160"/>
                  </a:lnTo>
                  <a:lnTo>
                    <a:pt x="410" y="161"/>
                  </a:lnTo>
                  <a:lnTo>
                    <a:pt x="411" y="161"/>
                  </a:lnTo>
                  <a:lnTo>
                    <a:pt x="411" y="162"/>
                  </a:lnTo>
                  <a:lnTo>
                    <a:pt x="412" y="162"/>
                  </a:lnTo>
                  <a:lnTo>
                    <a:pt x="412" y="163"/>
                  </a:lnTo>
                  <a:lnTo>
                    <a:pt x="412" y="164"/>
                  </a:lnTo>
                  <a:lnTo>
                    <a:pt x="412" y="164"/>
                  </a:lnTo>
                  <a:lnTo>
                    <a:pt x="411" y="165"/>
                  </a:lnTo>
                  <a:lnTo>
                    <a:pt x="411" y="165"/>
                  </a:lnTo>
                  <a:lnTo>
                    <a:pt x="411" y="166"/>
                  </a:lnTo>
                  <a:lnTo>
                    <a:pt x="410" y="166"/>
                  </a:lnTo>
                  <a:lnTo>
                    <a:pt x="409" y="167"/>
                  </a:lnTo>
                  <a:lnTo>
                    <a:pt x="406" y="170"/>
                  </a:lnTo>
                  <a:lnTo>
                    <a:pt x="405" y="171"/>
                  </a:lnTo>
                  <a:lnTo>
                    <a:pt x="404" y="172"/>
                  </a:lnTo>
                  <a:lnTo>
                    <a:pt x="403" y="173"/>
                  </a:lnTo>
                  <a:lnTo>
                    <a:pt x="402" y="175"/>
                  </a:lnTo>
                  <a:lnTo>
                    <a:pt x="401" y="176"/>
                  </a:lnTo>
                  <a:lnTo>
                    <a:pt x="400" y="176"/>
                  </a:lnTo>
                  <a:lnTo>
                    <a:pt x="400" y="177"/>
                  </a:lnTo>
                  <a:lnTo>
                    <a:pt x="399" y="177"/>
                  </a:lnTo>
                  <a:lnTo>
                    <a:pt x="399" y="177"/>
                  </a:lnTo>
                  <a:lnTo>
                    <a:pt x="398" y="178"/>
                  </a:lnTo>
                  <a:lnTo>
                    <a:pt x="398" y="178"/>
                  </a:lnTo>
                  <a:lnTo>
                    <a:pt x="397" y="178"/>
                  </a:lnTo>
                  <a:lnTo>
                    <a:pt x="397" y="178"/>
                  </a:lnTo>
                  <a:lnTo>
                    <a:pt x="396" y="177"/>
                  </a:lnTo>
                  <a:lnTo>
                    <a:pt x="395" y="177"/>
                  </a:lnTo>
                  <a:lnTo>
                    <a:pt x="392" y="175"/>
                  </a:lnTo>
                  <a:lnTo>
                    <a:pt x="392" y="175"/>
                  </a:lnTo>
                  <a:lnTo>
                    <a:pt x="392" y="175"/>
                  </a:lnTo>
                  <a:lnTo>
                    <a:pt x="391" y="175"/>
                  </a:lnTo>
                  <a:lnTo>
                    <a:pt x="390" y="175"/>
                  </a:lnTo>
                  <a:lnTo>
                    <a:pt x="389" y="175"/>
                  </a:lnTo>
                  <a:lnTo>
                    <a:pt x="389" y="175"/>
                  </a:lnTo>
                  <a:lnTo>
                    <a:pt x="388" y="175"/>
                  </a:lnTo>
                  <a:lnTo>
                    <a:pt x="387" y="176"/>
                  </a:lnTo>
                  <a:lnTo>
                    <a:pt x="386" y="176"/>
                  </a:lnTo>
                  <a:lnTo>
                    <a:pt x="384" y="177"/>
                  </a:lnTo>
                  <a:lnTo>
                    <a:pt x="383" y="178"/>
                  </a:lnTo>
                  <a:lnTo>
                    <a:pt x="382" y="178"/>
                  </a:lnTo>
                  <a:lnTo>
                    <a:pt x="381" y="179"/>
                  </a:lnTo>
                  <a:lnTo>
                    <a:pt x="380" y="180"/>
                  </a:lnTo>
                  <a:lnTo>
                    <a:pt x="379" y="181"/>
                  </a:lnTo>
                  <a:lnTo>
                    <a:pt x="378" y="181"/>
                  </a:lnTo>
                  <a:lnTo>
                    <a:pt x="378" y="182"/>
                  </a:lnTo>
                  <a:lnTo>
                    <a:pt x="377" y="184"/>
                  </a:lnTo>
                  <a:lnTo>
                    <a:pt x="374" y="187"/>
                  </a:lnTo>
                  <a:lnTo>
                    <a:pt x="373" y="188"/>
                  </a:lnTo>
                  <a:lnTo>
                    <a:pt x="373" y="189"/>
                  </a:lnTo>
                  <a:lnTo>
                    <a:pt x="373" y="190"/>
                  </a:lnTo>
                  <a:lnTo>
                    <a:pt x="372" y="191"/>
                  </a:lnTo>
                  <a:lnTo>
                    <a:pt x="372" y="192"/>
                  </a:lnTo>
                  <a:lnTo>
                    <a:pt x="372" y="193"/>
                  </a:lnTo>
                  <a:lnTo>
                    <a:pt x="372" y="194"/>
                  </a:lnTo>
                  <a:lnTo>
                    <a:pt x="372" y="194"/>
                  </a:lnTo>
                  <a:lnTo>
                    <a:pt x="372" y="195"/>
                  </a:lnTo>
                  <a:lnTo>
                    <a:pt x="373" y="195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4" y="197"/>
                  </a:lnTo>
                  <a:lnTo>
                    <a:pt x="374" y="197"/>
                  </a:lnTo>
                  <a:lnTo>
                    <a:pt x="375" y="197"/>
                  </a:lnTo>
                  <a:lnTo>
                    <a:pt x="377" y="196"/>
                  </a:lnTo>
                  <a:lnTo>
                    <a:pt x="378" y="196"/>
                  </a:lnTo>
                  <a:lnTo>
                    <a:pt x="379" y="196"/>
                  </a:lnTo>
                  <a:lnTo>
                    <a:pt x="380" y="196"/>
                  </a:lnTo>
                  <a:lnTo>
                    <a:pt x="382" y="196"/>
                  </a:lnTo>
                  <a:lnTo>
                    <a:pt x="383" y="197"/>
                  </a:lnTo>
                  <a:lnTo>
                    <a:pt x="383" y="197"/>
                  </a:lnTo>
                  <a:lnTo>
                    <a:pt x="384" y="197"/>
                  </a:lnTo>
                  <a:lnTo>
                    <a:pt x="384" y="197"/>
                  </a:lnTo>
                  <a:lnTo>
                    <a:pt x="384" y="198"/>
                  </a:lnTo>
                  <a:lnTo>
                    <a:pt x="384" y="198"/>
                  </a:lnTo>
                  <a:lnTo>
                    <a:pt x="385" y="198"/>
                  </a:lnTo>
                  <a:lnTo>
                    <a:pt x="384" y="199"/>
                  </a:lnTo>
                  <a:lnTo>
                    <a:pt x="384" y="199"/>
                  </a:lnTo>
                  <a:lnTo>
                    <a:pt x="384" y="200"/>
                  </a:lnTo>
                  <a:lnTo>
                    <a:pt x="383" y="200"/>
                  </a:lnTo>
                  <a:lnTo>
                    <a:pt x="382" y="201"/>
                  </a:lnTo>
                  <a:lnTo>
                    <a:pt x="378" y="202"/>
                  </a:lnTo>
                  <a:lnTo>
                    <a:pt x="378" y="203"/>
                  </a:lnTo>
                  <a:lnTo>
                    <a:pt x="378" y="203"/>
                  </a:lnTo>
                  <a:lnTo>
                    <a:pt x="378" y="203"/>
                  </a:lnTo>
                  <a:lnTo>
                    <a:pt x="377" y="203"/>
                  </a:lnTo>
                  <a:lnTo>
                    <a:pt x="377" y="204"/>
                  </a:lnTo>
                  <a:lnTo>
                    <a:pt x="377" y="205"/>
                  </a:lnTo>
                  <a:lnTo>
                    <a:pt x="378" y="205"/>
                  </a:lnTo>
                  <a:lnTo>
                    <a:pt x="378" y="206"/>
                  </a:lnTo>
                  <a:lnTo>
                    <a:pt x="378" y="206"/>
                  </a:lnTo>
                  <a:lnTo>
                    <a:pt x="378" y="207"/>
                  </a:lnTo>
                  <a:lnTo>
                    <a:pt x="380" y="208"/>
                  </a:lnTo>
                  <a:lnTo>
                    <a:pt x="380" y="209"/>
                  </a:lnTo>
                  <a:lnTo>
                    <a:pt x="381" y="210"/>
                  </a:lnTo>
                  <a:lnTo>
                    <a:pt x="381" y="210"/>
                  </a:lnTo>
                  <a:lnTo>
                    <a:pt x="382" y="211"/>
                  </a:lnTo>
                  <a:lnTo>
                    <a:pt x="382" y="212"/>
                  </a:lnTo>
                  <a:lnTo>
                    <a:pt x="382" y="212"/>
                  </a:lnTo>
                  <a:lnTo>
                    <a:pt x="381" y="213"/>
                  </a:lnTo>
                  <a:lnTo>
                    <a:pt x="381" y="213"/>
                  </a:lnTo>
                  <a:lnTo>
                    <a:pt x="381" y="213"/>
                  </a:lnTo>
                  <a:lnTo>
                    <a:pt x="380" y="214"/>
                  </a:lnTo>
                  <a:lnTo>
                    <a:pt x="380" y="214"/>
                  </a:lnTo>
                  <a:lnTo>
                    <a:pt x="379" y="214"/>
                  </a:lnTo>
                  <a:lnTo>
                    <a:pt x="378" y="214"/>
                  </a:lnTo>
                  <a:lnTo>
                    <a:pt x="377" y="214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6"/>
                  </a:lnTo>
                  <a:lnTo>
                    <a:pt x="377" y="216"/>
                  </a:lnTo>
                  <a:lnTo>
                    <a:pt x="378" y="217"/>
                  </a:lnTo>
                  <a:lnTo>
                    <a:pt x="379" y="218"/>
                  </a:lnTo>
                  <a:lnTo>
                    <a:pt x="380" y="218"/>
                  </a:lnTo>
                  <a:lnTo>
                    <a:pt x="380" y="218"/>
                  </a:lnTo>
                  <a:lnTo>
                    <a:pt x="380" y="219"/>
                  </a:lnTo>
                  <a:lnTo>
                    <a:pt x="380" y="219"/>
                  </a:lnTo>
                  <a:lnTo>
                    <a:pt x="380" y="220"/>
                  </a:lnTo>
                  <a:lnTo>
                    <a:pt x="380" y="221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1" y="222"/>
                  </a:lnTo>
                  <a:lnTo>
                    <a:pt x="381" y="223"/>
                  </a:lnTo>
                  <a:lnTo>
                    <a:pt x="381" y="223"/>
                  </a:lnTo>
                  <a:lnTo>
                    <a:pt x="382" y="223"/>
                  </a:lnTo>
                  <a:lnTo>
                    <a:pt x="383" y="223"/>
                  </a:lnTo>
                  <a:lnTo>
                    <a:pt x="385" y="223"/>
                  </a:lnTo>
                  <a:lnTo>
                    <a:pt x="386" y="223"/>
                  </a:lnTo>
                  <a:lnTo>
                    <a:pt x="387" y="223"/>
                  </a:lnTo>
                  <a:lnTo>
                    <a:pt x="388" y="223"/>
                  </a:lnTo>
                  <a:lnTo>
                    <a:pt x="389" y="224"/>
                  </a:lnTo>
                  <a:lnTo>
                    <a:pt x="390" y="224"/>
                  </a:lnTo>
                  <a:lnTo>
                    <a:pt x="391" y="225"/>
                  </a:lnTo>
                  <a:lnTo>
                    <a:pt x="392" y="225"/>
                  </a:lnTo>
                  <a:lnTo>
                    <a:pt x="392" y="226"/>
                  </a:lnTo>
                  <a:lnTo>
                    <a:pt x="392" y="226"/>
                  </a:lnTo>
                  <a:lnTo>
                    <a:pt x="393" y="227"/>
                  </a:lnTo>
                  <a:lnTo>
                    <a:pt x="393" y="227"/>
                  </a:lnTo>
                  <a:lnTo>
                    <a:pt x="393" y="228"/>
                  </a:lnTo>
                  <a:lnTo>
                    <a:pt x="393" y="229"/>
                  </a:lnTo>
                  <a:lnTo>
                    <a:pt x="393" y="231"/>
                  </a:lnTo>
                  <a:lnTo>
                    <a:pt x="393" y="233"/>
                  </a:lnTo>
                  <a:lnTo>
                    <a:pt x="393" y="235"/>
                  </a:lnTo>
                  <a:lnTo>
                    <a:pt x="393" y="236"/>
                  </a:lnTo>
                  <a:lnTo>
                    <a:pt x="393" y="238"/>
                  </a:lnTo>
                  <a:lnTo>
                    <a:pt x="392" y="241"/>
                  </a:lnTo>
                  <a:lnTo>
                    <a:pt x="392" y="243"/>
                  </a:lnTo>
                  <a:lnTo>
                    <a:pt x="392" y="245"/>
                  </a:lnTo>
                  <a:lnTo>
                    <a:pt x="391" y="248"/>
                  </a:lnTo>
                  <a:lnTo>
                    <a:pt x="391" y="251"/>
                  </a:lnTo>
                  <a:lnTo>
                    <a:pt x="391" y="252"/>
                  </a:lnTo>
                  <a:lnTo>
                    <a:pt x="391" y="256"/>
                  </a:lnTo>
                  <a:lnTo>
                    <a:pt x="391" y="256"/>
                  </a:lnTo>
                  <a:lnTo>
                    <a:pt x="391" y="257"/>
                  </a:lnTo>
                  <a:lnTo>
                    <a:pt x="391" y="257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3" y="259"/>
                  </a:lnTo>
                  <a:lnTo>
                    <a:pt x="394" y="259"/>
                  </a:lnTo>
                  <a:lnTo>
                    <a:pt x="395" y="260"/>
                  </a:lnTo>
                  <a:lnTo>
                    <a:pt x="396" y="261"/>
                  </a:lnTo>
                  <a:lnTo>
                    <a:pt x="396" y="261"/>
                  </a:lnTo>
                  <a:lnTo>
                    <a:pt x="397" y="262"/>
                  </a:lnTo>
                  <a:lnTo>
                    <a:pt x="397" y="263"/>
                  </a:lnTo>
                  <a:lnTo>
                    <a:pt x="397" y="264"/>
                  </a:lnTo>
                  <a:lnTo>
                    <a:pt x="398" y="266"/>
                  </a:lnTo>
                  <a:lnTo>
                    <a:pt x="398" y="267"/>
                  </a:lnTo>
                  <a:lnTo>
                    <a:pt x="398" y="268"/>
                  </a:lnTo>
                  <a:lnTo>
                    <a:pt x="398" y="269"/>
                  </a:lnTo>
                  <a:lnTo>
                    <a:pt x="398" y="270"/>
                  </a:lnTo>
                  <a:lnTo>
                    <a:pt x="398" y="272"/>
                  </a:lnTo>
                  <a:lnTo>
                    <a:pt x="398" y="273"/>
                  </a:lnTo>
                  <a:lnTo>
                    <a:pt x="398" y="274"/>
                  </a:lnTo>
                  <a:lnTo>
                    <a:pt x="398" y="275"/>
                  </a:lnTo>
                  <a:lnTo>
                    <a:pt x="398" y="275"/>
                  </a:lnTo>
                  <a:lnTo>
                    <a:pt x="397" y="275"/>
                  </a:lnTo>
                  <a:lnTo>
                    <a:pt x="397" y="275"/>
                  </a:lnTo>
                  <a:lnTo>
                    <a:pt x="397" y="275"/>
                  </a:lnTo>
                  <a:lnTo>
                    <a:pt x="396" y="276"/>
                  </a:lnTo>
                  <a:lnTo>
                    <a:pt x="396" y="277"/>
                  </a:lnTo>
                  <a:lnTo>
                    <a:pt x="396" y="277"/>
                  </a:lnTo>
                  <a:lnTo>
                    <a:pt x="395" y="278"/>
                  </a:lnTo>
                  <a:lnTo>
                    <a:pt x="394" y="283"/>
                  </a:lnTo>
                  <a:lnTo>
                    <a:pt x="394" y="284"/>
                  </a:lnTo>
                  <a:lnTo>
                    <a:pt x="394" y="284"/>
                  </a:lnTo>
                  <a:lnTo>
                    <a:pt x="394" y="285"/>
                  </a:lnTo>
                  <a:lnTo>
                    <a:pt x="394" y="285"/>
                  </a:lnTo>
                  <a:lnTo>
                    <a:pt x="394" y="286"/>
                  </a:lnTo>
                  <a:lnTo>
                    <a:pt x="394" y="286"/>
                  </a:lnTo>
                  <a:lnTo>
                    <a:pt x="394" y="287"/>
                  </a:lnTo>
                  <a:lnTo>
                    <a:pt x="395" y="288"/>
                  </a:lnTo>
                  <a:lnTo>
                    <a:pt x="396" y="289"/>
                  </a:lnTo>
                  <a:lnTo>
                    <a:pt x="396" y="289"/>
                  </a:lnTo>
                  <a:lnTo>
                    <a:pt x="396" y="289"/>
                  </a:lnTo>
                  <a:lnTo>
                    <a:pt x="397" y="290"/>
                  </a:lnTo>
                  <a:lnTo>
                    <a:pt x="397" y="292"/>
                  </a:lnTo>
                  <a:lnTo>
                    <a:pt x="397" y="293"/>
                  </a:lnTo>
                  <a:lnTo>
                    <a:pt x="397" y="294"/>
                  </a:lnTo>
                  <a:lnTo>
                    <a:pt x="397" y="298"/>
                  </a:lnTo>
                  <a:lnTo>
                    <a:pt x="397" y="299"/>
                  </a:lnTo>
                  <a:lnTo>
                    <a:pt x="398" y="302"/>
                  </a:lnTo>
                  <a:lnTo>
                    <a:pt x="398" y="303"/>
                  </a:lnTo>
                  <a:lnTo>
                    <a:pt x="399" y="304"/>
                  </a:lnTo>
                  <a:lnTo>
                    <a:pt x="400" y="306"/>
                  </a:lnTo>
                  <a:lnTo>
                    <a:pt x="401" y="308"/>
                  </a:lnTo>
                  <a:lnTo>
                    <a:pt x="401" y="309"/>
                  </a:lnTo>
                  <a:lnTo>
                    <a:pt x="401" y="310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1" y="312"/>
                  </a:lnTo>
                  <a:lnTo>
                    <a:pt x="399" y="315"/>
                  </a:lnTo>
                  <a:lnTo>
                    <a:pt x="398" y="317"/>
                  </a:lnTo>
                  <a:lnTo>
                    <a:pt x="398" y="318"/>
                  </a:lnTo>
                  <a:lnTo>
                    <a:pt x="397" y="319"/>
                  </a:lnTo>
                  <a:lnTo>
                    <a:pt x="397" y="320"/>
                  </a:lnTo>
                  <a:lnTo>
                    <a:pt x="397" y="321"/>
                  </a:lnTo>
                  <a:lnTo>
                    <a:pt x="396" y="324"/>
                  </a:lnTo>
                  <a:lnTo>
                    <a:pt x="396" y="326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7" y="330"/>
                  </a:lnTo>
                  <a:lnTo>
                    <a:pt x="397" y="332"/>
                  </a:lnTo>
                  <a:lnTo>
                    <a:pt x="397" y="333"/>
                  </a:lnTo>
                  <a:lnTo>
                    <a:pt x="399" y="336"/>
                  </a:lnTo>
                  <a:lnTo>
                    <a:pt x="400" y="337"/>
                  </a:lnTo>
                  <a:lnTo>
                    <a:pt x="400" y="338"/>
                  </a:lnTo>
                  <a:lnTo>
                    <a:pt x="402" y="340"/>
                  </a:lnTo>
                  <a:lnTo>
                    <a:pt x="402" y="341"/>
                  </a:lnTo>
                  <a:lnTo>
                    <a:pt x="403" y="341"/>
                  </a:lnTo>
                  <a:lnTo>
                    <a:pt x="403" y="342"/>
                  </a:lnTo>
                  <a:lnTo>
                    <a:pt x="403" y="343"/>
                  </a:lnTo>
                  <a:lnTo>
                    <a:pt x="403" y="344"/>
                  </a:lnTo>
                  <a:lnTo>
                    <a:pt x="403" y="345"/>
                  </a:lnTo>
                  <a:lnTo>
                    <a:pt x="402" y="347"/>
                  </a:lnTo>
                  <a:lnTo>
                    <a:pt x="402" y="348"/>
                  </a:lnTo>
                  <a:lnTo>
                    <a:pt x="402" y="349"/>
                  </a:lnTo>
                  <a:lnTo>
                    <a:pt x="401" y="350"/>
                  </a:lnTo>
                  <a:lnTo>
                    <a:pt x="400" y="352"/>
                  </a:lnTo>
                  <a:lnTo>
                    <a:pt x="399" y="353"/>
                  </a:lnTo>
                  <a:lnTo>
                    <a:pt x="398" y="355"/>
                  </a:lnTo>
                  <a:lnTo>
                    <a:pt x="397" y="357"/>
                  </a:lnTo>
                  <a:lnTo>
                    <a:pt x="397" y="359"/>
                  </a:lnTo>
                  <a:lnTo>
                    <a:pt x="396" y="360"/>
                  </a:lnTo>
                  <a:lnTo>
                    <a:pt x="396" y="361"/>
                  </a:lnTo>
                  <a:lnTo>
                    <a:pt x="395" y="361"/>
                  </a:lnTo>
                  <a:lnTo>
                    <a:pt x="395" y="362"/>
                  </a:lnTo>
                  <a:lnTo>
                    <a:pt x="392" y="364"/>
                  </a:lnTo>
                  <a:lnTo>
                    <a:pt x="390" y="366"/>
                  </a:lnTo>
                  <a:lnTo>
                    <a:pt x="388" y="366"/>
                  </a:lnTo>
                  <a:lnTo>
                    <a:pt x="388" y="367"/>
                  </a:lnTo>
                  <a:lnTo>
                    <a:pt x="386" y="369"/>
                  </a:lnTo>
                  <a:lnTo>
                    <a:pt x="385" y="370"/>
                  </a:lnTo>
                  <a:lnTo>
                    <a:pt x="385" y="370"/>
                  </a:lnTo>
                  <a:lnTo>
                    <a:pt x="385" y="371"/>
                  </a:lnTo>
                  <a:lnTo>
                    <a:pt x="385" y="372"/>
                  </a:lnTo>
                  <a:lnTo>
                    <a:pt x="384" y="373"/>
                  </a:lnTo>
                  <a:lnTo>
                    <a:pt x="384" y="374"/>
                  </a:lnTo>
                  <a:lnTo>
                    <a:pt x="384" y="375"/>
                  </a:lnTo>
                  <a:lnTo>
                    <a:pt x="384" y="376"/>
                  </a:lnTo>
                  <a:lnTo>
                    <a:pt x="385" y="377"/>
                  </a:lnTo>
                  <a:lnTo>
                    <a:pt x="385" y="378"/>
                  </a:lnTo>
                  <a:lnTo>
                    <a:pt x="385" y="378"/>
                  </a:lnTo>
                  <a:lnTo>
                    <a:pt x="385" y="379"/>
                  </a:lnTo>
                  <a:lnTo>
                    <a:pt x="384" y="380"/>
                  </a:lnTo>
                  <a:lnTo>
                    <a:pt x="384" y="380"/>
                  </a:lnTo>
                  <a:lnTo>
                    <a:pt x="384" y="381"/>
                  </a:lnTo>
                  <a:lnTo>
                    <a:pt x="383" y="381"/>
                  </a:lnTo>
                  <a:lnTo>
                    <a:pt x="383" y="382"/>
                  </a:lnTo>
                  <a:lnTo>
                    <a:pt x="383" y="382"/>
                  </a:lnTo>
                  <a:lnTo>
                    <a:pt x="382" y="382"/>
                  </a:lnTo>
                  <a:lnTo>
                    <a:pt x="382" y="383"/>
                  </a:lnTo>
                  <a:lnTo>
                    <a:pt x="380" y="384"/>
                  </a:lnTo>
                  <a:lnTo>
                    <a:pt x="379" y="384"/>
                  </a:lnTo>
                  <a:lnTo>
                    <a:pt x="379" y="384"/>
                  </a:lnTo>
                  <a:lnTo>
                    <a:pt x="379" y="385"/>
                  </a:lnTo>
                  <a:lnTo>
                    <a:pt x="378" y="385"/>
                  </a:lnTo>
                  <a:lnTo>
                    <a:pt x="378" y="385"/>
                  </a:lnTo>
                  <a:lnTo>
                    <a:pt x="378" y="386"/>
                  </a:lnTo>
                  <a:lnTo>
                    <a:pt x="378" y="386"/>
                  </a:lnTo>
                  <a:lnTo>
                    <a:pt x="378" y="387"/>
                  </a:lnTo>
                  <a:lnTo>
                    <a:pt x="378" y="387"/>
                  </a:lnTo>
                  <a:lnTo>
                    <a:pt x="378" y="388"/>
                  </a:lnTo>
                  <a:lnTo>
                    <a:pt x="378" y="389"/>
                  </a:lnTo>
                  <a:lnTo>
                    <a:pt x="379" y="389"/>
                  </a:lnTo>
                  <a:lnTo>
                    <a:pt x="379" y="390"/>
                  </a:lnTo>
                  <a:lnTo>
                    <a:pt x="379" y="390"/>
                  </a:lnTo>
                  <a:lnTo>
                    <a:pt x="380" y="391"/>
                  </a:lnTo>
                  <a:lnTo>
                    <a:pt x="380" y="392"/>
                  </a:lnTo>
                  <a:lnTo>
                    <a:pt x="381" y="392"/>
                  </a:lnTo>
                  <a:lnTo>
                    <a:pt x="383" y="393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5"/>
                  </a:lnTo>
                  <a:lnTo>
                    <a:pt x="383" y="396"/>
                  </a:lnTo>
                  <a:lnTo>
                    <a:pt x="383" y="397"/>
                  </a:lnTo>
                  <a:lnTo>
                    <a:pt x="382" y="397"/>
                  </a:lnTo>
                  <a:lnTo>
                    <a:pt x="382" y="398"/>
                  </a:lnTo>
                  <a:lnTo>
                    <a:pt x="382" y="398"/>
                  </a:lnTo>
                  <a:lnTo>
                    <a:pt x="381" y="398"/>
                  </a:lnTo>
                  <a:lnTo>
                    <a:pt x="381" y="399"/>
                  </a:lnTo>
                  <a:lnTo>
                    <a:pt x="379" y="399"/>
                  </a:lnTo>
                  <a:lnTo>
                    <a:pt x="379" y="400"/>
                  </a:lnTo>
                  <a:lnTo>
                    <a:pt x="378" y="400"/>
                  </a:lnTo>
                  <a:lnTo>
                    <a:pt x="377" y="402"/>
                  </a:lnTo>
                  <a:lnTo>
                    <a:pt x="376" y="403"/>
                  </a:lnTo>
                  <a:lnTo>
                    <a:pt x="375" y="403"/>
                  </a:lnTo>
                  <a:lnTo>
                    <a:pt x="375" y="404"/>
                  </a:lnTo>
                  <a:lnTo>
                    <a:pt x="375" y="405"/>
                  </a:lnTo>
                  <a:lnTo>
                    <a:pt x="374" y="405"/>
                  </a:lnTo>
                  <a:lnTo>
                    <a:pt x="374" y="406"/>
                  </a:lnTo>
                  <a:lnTo>
                    <a:pt x="374" y="407"/>
                  </a:lnTo>
                  <a:lnTo>
                    <a:pt x="374" y="407"/>
                  </a:lnTo>
                  <a:lnTo>
                    <a:pt x="374" y="408"/>
                  </a:lnTo>
                  <a:lnTo>
                    <a:pt x="374" y="409"/>
                  </a:lnTo>
                  <a:lnTo>
                    <a:pt x="375" y="410"/>
                  </a:lnTo>
                  <a:lnTo>
                    <a:pt x="376" y="412"/>
                  </a:lnTo>
                  <a:lnTo>
                    <a:pt x="376" y="413"/>
                  </a:lnTo>
                  <a:lnTo>
                    <a:pt x="378" y="415"/>
                  </a:lnTo>
                  <a:lnTo>
                    <a:pt x="378" y="416"/>
                  </a:lnTo>
                  <a:lnTo>
                    <a:pt x="378" y="416"/>
                  </a:lnTo>
                  <a:lnTo>
                    <a:pt x="379" y="417"/>
                  </a:lnTo>
                  <a:lnTo>
                    <a:pt x="379" y="418"/>
                  </a:lnTo>
                  <a:lnTo>
                    <a:pt x="379" y="419"/>
                  </a:lnTo>
                  <a:lnTo>
                    <a:pt x="379" y="420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2"/>
                  </a:lnTo>
                  <a:lnTo>
                    <a:pt x="378" y="423"/>
                  </a:lnTo>
                  <a:lnTo>
                    <a:pt x="377" y="424"/>
                  </a:lnTo>
                  <a:lnTo>
                    <a:pt x="376" y="425"/>
                  </a:lnTo>
                  <a:lnTo>
                    <a:pt x="375" y="426"/>
                  </a:lnTo>
                  <a:lnTo>
                    <a:pt x="375" y="427"/>
                  </a:lnTo>
                  <a:lnTo>
                    <a:pt x="374" y="428"/>
                  </a:lnTo>
                  <a:lnTo>
                    <a:pt x="374" y="429"/>
                  </a:lnTo>
                  <a:lnTo>
                    <a:pt x="373" y="432"/>
                  </a:lnTo>
                  <a:lnTo>
                    <a:pt x="372" y="435"/>
                  </a:lnTo>
                  <a:lnTo>
                    <a:pt x="372" y="436"/>
                  </a:lnTo>
                  <a:lnTo>
                    <a:pt x="371" y="436"/>
                  </a:lnTo>
                  <a:lnTo>
                    <a:pt x="371" y="436"/>
                  </a:lnTo>
                  <a:lnTo>
                    <a:pt x="371" y="436"/>
                  </a:lnTo>
                  <a:lnTo>
                    <a:pt x="370" y="437"/>
                  </a:lnTo>
                  <a:lnTo>
                    <a:pt x="367" y="438"/>
                  </a:lnTo>
                  <a:lnTo>
                    <a:pt x="366" y="439"/>
                  </a:lnTo>
                  <a:lnTo>
                    <a:pt x="364" y="439"/>
                  </a:lnTo>
                  <a:lnTo>
                    <a:pt x="364" y="440"/>
                  </a:lnTo>
                  <a:lnTo>
                    <a:pt x="361" y="442"/>
                  </a:lnTo>
                  <a:lnTo>
                    <a:pt x="359" y="443"/>
                  </a:lnTo>
                  <a:lnTo>
                    <a:pt x="358" y="444"/>
                  </a:lnTo>
                  <a:lnTo>
                    <a:pt x="357" y="445"/>
                  </a:lnTo>
                  <a:lnTo>
                    <a:pt x="356" y="445"/>
                  </a:lnTo>
                  <a:lnTo>
                    <a:pt x="355" y="445"/>
                  </a:lnTo>
                  <a:lnTo>
                    <a:pt x="355" y="445"/>
                  </a:lnTo>
                  <a:lnTo>
                    <a:pt x="354" y="446"/>
                  </a:lnTo>
                  <a:lnTo>
                    <a:pt x="353" y="446"/>
                  </a:lnTo>
                  <a:lnTo>
                    <a:pt x="352" y="446"/>
                  </a:lnTo>
                  <a:lnTo>
                    <a:pt x="351" y="446"/>
                  </a:lnTo>
                  <a:lnTo>
                    <a:pt x="350" y="445"/>
                  </a:lnTo>
                  <a:lnTo>
                    <a:pt x="347" y="445"/>
                  </a:lnTo>
                  <a:lnTo>
                    <a:pt x="346" y="445"/>
                  </a:lnTo>
                  <a:lnTo>
                    <a:pt x="345" y="445"/>
                  </a:lnTo>
                  <a:lnTo>
                    <a:pt x="345" y="445"/>
                  </a:lnTo>
                  <a:lnTo>
                    <a:pt x="344" y="445"/>
                  </a:lnTo>
                  <a:lnTo>
                    <a:pt x="344" y="445"/>
                  </a:lnTo>
                  <a:lnTo>
                    <a:pt x="344" y="445"/>
                  </a:lnTo>
                  <a:lnTo>
                    <a:pt x="344" y="446"/>
                  </a:lnTo>
                  <a:lnTo>
                    <a:pt x="343" y="450"/>
                  </a:lnTo>
                  <a:lnTo>
                    <a:pt x="343" y="452"/>
                  </a:lnTo>
                  <a:lnTo>
                    <a:pt x="342" y="454"/>
                  </a:lnTo>
                  <a:lnTo>
                    <a:pt x="342" y="457"/>
                  </a:lnTo>
                  <a:lnTo>
                    <a:pt x="342" y="459"/>
                  </a:lnTo>
                  <a:lnTo>
                    <a:pt x="342" y="460"/>
                  </a:lnTo>
                  <a:lnTo>
                    <a:pt x="341" y="463"/>
                  </a:lnTo>
                  <a:lnTo>
                    <a:pt x="341" y="464"/>
                  </a:lnTo>
                  <a:lnTo>
                    <a:pt x="341" y="464"/>
                  </a:lnTo>
                  <a:lnTo>
                    <a:pt x="341" y="465"/>
                  </a:lnTo>
                  <a:lnTo>
                    <a:pt x="341" y="466"/>
                  </a:lnTo>
                  <a:lnTo>
                    <a:pt x="341" y="468"/>
                  </a:lnTo>
                  <a:lnTo>
                    <a:pt x="343" y="470"/>
                  </a:lnTo>
                  <a:lnTo>
                    <a:pt x="343" y="472"/>
                  </a:lnTo>
                  <a:lnTo>
                    <a:pt x="343" y="473"/>
                  </a:lnTo>
                  <a:lnTo>
                    <a:pt x="344" y="477"/>
                  </a:lnTo>
                  <a:lnTo>
                    <a:pt x="344" y="479"/>
                  </a:lnTo>
                  <a:lnTo>
                    <a:pt x="344" y="480"/>
                  </a:lnTo>
                  <a:lnTo>
                    <a:pt x="344" y="481"/>
                  </a:lnTo>
                  <a:lnTo>
                    <a:pt x="344" y="482"/>
                  </a:lnTo>
                  <a:lnTo>
                    <a:pt x="344" y="483"/>
                  </a:lnTo>
                  <a:lnTo>
                    <a:pt x="344" y="484"/>
                  </a:lnTo>
                  <a:lnTo>
                    <a:pt x="344" y="484"/>
                  </a:lnTo>
                  <a:lnTo>
                    <a:pt x="343" y="485"/>
                  </a:lnTo>
                  <a:lnTo>
                    <a:pt x="343" y="486"/>
                  </a:lnTo>
                  <a:lnTo>
                    <a:pt x="343" y="486"/>
                  </a:lnTo>
                  <a:lnTo>
                    <a:pt x="342" y="487"/>
                  </a:lnTo>
                  <a:lnTo>
                    <a:pt x="341" y="487"/>
                  </a:lnTo>
                  <a:lnTo>
                    <a:pt x="340" y="488"/>
                  </a:lnTo>
                  <a:lnTo>
                    <a:pt x="340" y="489"/>
                  </a:lnTo>
                  <a:lnTo>
                    <a:pt x="339" y="489"/>
                  </a:lnTo>
                  <a:lnTo>
                    <a:pt x="337" y="490"/>
                  </a:lnTo>
                  <a:lnTo>
                    <a:pt x="336" y="490"/>
                  </a:lnTo>
                  <a:lnTo>
                    <a:pt x="335" y="491"/>
                  </a:lnTo>
                  <a:lnTo>
                    <a:pt x="335" y="491"/>
                  </a:lnTo>
                  <a:lnTo>
                    <a:pt x="334" y="492"/>
                  </a:lnTo>
                  <a:lnTo>
                    <a:pt x="334" y="492"/>
                  </a:lnTo>
                  <a:lnTo>
                    <a:pt x="333" y="493"/>
                  </a:lnTo>
                  <a:lnTo>
                    <a:pt x="332" y="494"/>
                  </a:lnTo>
                  <a:lnTo>
                    <a:pt x="331" y="495"/>
                  </a:lnTo>
                  <a:lnTo>
                    <a:pt x="330" y="497"/>
                  </a:lnTo>
                  <a:lnTo>
                    <a:pt x="329" y="500"/>
                  </a:lnTo>
                  <a:lnTo>
                    <a:pt x="328" y="501"/>
                  </a:lnTo>
                  <a:lnTo>
                    <a:pt x="328" y="502"/>
                  </a:lnTo>
                  <a:lnTo>
                    <a:pt x="328" y="503"/>
                  </a:lnTo>
                  <a:lnTo>
                    <a:pt x="327" y="505"/>
                  </a:lnTo>
                  <a:lnTo>
                    <a:pt x="327" y="507"/>
                  </a:lnTo>
                  <a:lnTo>
                    <a:pt x="326" y="509"/>
                  </a:lnTo>
                  <a:lnTo>
                    <a:pt x="326" y="510"/>
                  </a:lnTo>
                  <a:lnTo>
                    <a:pt x="326" y="512"/>
                  </a:lnTo>
                  <a:lnTo>
                    <a:pt x="326" y="513"/>
                  </a:lnTo>
                  <a:lnTo>
                    <a:pt x="326" y="515"/>
                  </a:lnTo>
                  <a:lnTo>
                    <a:pt x="326" y="516"/>
                  </a:lnTo>
                  <a:lnTo>
                    <a:pt x="326" y="517"/>
                  </a:lnTo>
                  <a:lnTo>
                    <a:pt x="326" y="518"/>
                  </a:lnTo>
                  <a:lnTo>
                    <a:pt x="326" y="519"/>
                  </a:lnTo>
                  <a:lnTo>
                    <a:pt x="326" y="520"/>
                  </a:lnTo>
                  <a:lnTo>
                    <a:pt x="327" y="521"/>
                  </a:lnTo>
                  <a:lnTo>
                    <a:pt x="328" y="525"/>
                  </a:lnTo>
                  <a:lnTo>
                    <a:pt x="328" y="526"/>
                  </a:lnTo>
                  <a:lnTo>
                    <a:pt x="328" y="526"/>
                  </a:lnTo>
                  <a:lnTo>
                    <a:pt x="328" y="526"/>
                  </a:lnTo>
                  <a:lnTo>
                    <a:pt x="327" y="526"/>
                  </a:lnTo>
                  <a:lnTo>
                    <a:pt x="326" y="525"/>
                  </a:lnTo>
                  <a:lnTo>
                    <a:pt x="326" y="525"/>
                  </a:lnTo>
                  <a:lnTo>
                    <a:pt x="325" y="525"/>
                  </a:lnTo>
                  <a:lnTo>
                    <a:pt x="323" y="526"/>
                  </a:lnTo>
                  <a:lnTo>
                    <a:pt x="323" y="526"/>
                  </a:lnTo>
                  <a:lnTo>
                    <a:pt x="321" y="526"/>
                  </a:lnTo>
                  <a:lnTo>
                    <a:pt x="320" y="527"/>
                  </a:lnTo>
                  <a:lnTo>
                    <a:pt x="320" y="527"/>
                  </a:lnTo>
                  <a:lnTo>
                    <a:pt x="319" y="528"/>
                  </a:lnTo>
                  <a:lnTo>
                    <a:pt x="318" y="528"/>
                  </a:lnTo>
                  <a:lnTo>
                    <a:pt x="317" y="529"/>
                  </a:lnTo>
                  <a:lnTo>
                    <a:pt x="317" y="530"/>
                  </a:lnTo>
                  <a:lnTo>
                    <a:pt x="316" y="530"/>
                  </a:lnTo>
                  <a:lnTo>
                    <a:pt x="316" y="531"/>
                  </a:lnTo>
                  <a:lnTo>
                    <a:pt x="314" y="534"/>
                  </a:lnTo>
                  <a:lnTo>
                    <a:pt x="314" y="534"/>
                  </a:lnTo>
                  <a:lnTo>
                    <a:pt x="314" y="535"/>
                  </a:lnTo>
                  <a:lnTo>
                    <a:pt x="313" y="535"/>
                  </a:lnTo>
                  <a:lnTo>
                    <a:pt x="313" y="535"/>
                  </a:lnTo>
                  <a:lnTo>
                    <a:pt x="313" y="535"/>
                  </a:lnTo>
                  <a:lnTo>
                    <a:pt x="312" y="536"/>
                  </a:lnTo>
                  <a:lnTo>
                    <a:pt x="311" y="536"/>
                  </a:lnTo>
                  <a:lnTo>
                    <a:pt x="310" y="536"/>
                  </a:lnTo>
                  <a:lnTo>
                    <a:pt x="310" y="535"/>
                  </a:lnTo>
                  <a:lnTo>
                    <a:pt x="309" y="535"/>
                  </a:lnTo>
                  <a:lnTo>
                    <a:pt x="309" y="535"/>
                  </a:lnTo>
                  <a:lnTo>
                    <a:pt x="307" y="534"/>
                  </a:lnTo>
                  <a:lnTo>
                    <a:pt x="304" y="532"/>
                  </a:lnTo>
                  <a:lnTo>
                    <a:pt x="303" y="531"/>
                  </a:lnTo>
                  <a:lnTo>
                    <a:pt x="300" y="529"/>
                  </a:lnTo>
                  <a:lnTo>
                    <a:pt x="296" y="526"/>
                  </a:lnTo>
                  <a:lnTo>
                    <a:pt x="294" y="525"/>
                  </a:lnTo>
                  <a:lnTo>
                    <a:pt x="292" y="523"/>
                  </a:lnTo>
                  <a:lnTo>
                    <a:pt x="291" y="522"/>
                  </a:lnTo>
                  <a:lnTo>
                    <a:pt x="290" y="521"/>
                  </a:lnTo>
                  <a:lnTo>
                    <a:pt x="288" y="520"/>
                  </a:lnTo>
                  <a:lnTo>
                    <a:pt x="287" y="519"/>
                  </a:lnTo>
                  <a:lnTo>
                    <a:pt x="287" y="518"/>
                  </a:lnTo>
                  <a:lnTo>
                    <a:pt x="286" y="517"/>
                  </a:lnTo>
                  <a:lnTo>
                    <a:pt x="286" y="516"/>
                  </a:lnTo>
                  <a:lnTo>
                    <a:pt x="285" y="515"/>
                  </a:lnTo>
                  <a:lnTo>
                    <a:pt x="285" y="513"/>
                  </a:lnTo>
                  <a:lnTo>
                    <a:pt x="285" y="512"/>
                  </a:lnTo>
                  <a:lnTo>
                    <a:pt x="284" y="508"/>
                  </a:lnTo>
                  <a:lnTo>
                    <a:pt x="284" y="504"/>
                  </a:lnTo>
                  <a:lnTo>
                    <a:pt x="284" y="500"/>
                  </a:lnTo>
                  <a:lnTo>
                    <a:pt x="283" y="499"/>
                  </a:lnTo>
                  <a:lnTo>
                    <a:pt x="283" y="496"/>
                  </a:lnTo>
                  <a:lnTo>
                    <a:pt x="283" y="495"/>
                  </a:lnTo>
                  <a:lnTo>
                    <a:pt x="282" y="493"/>
                  </a:lnTo>
                  <a:lnTo>
                    <a:pt x="281" y="490"/>
                  </a:lnTo>
                  <a:lnTo>
                    <a:pt x="281" y="488"/>
                  </a:lnTo>
                  <a:lnTo>
                    <a:pt x="281" y="487"/>
                  </a:lnTo>
                  <a:lnTo>
                    <a:pt x="280" y="487"/>
                  </a:lnTo>
                  <a:lnTo>
                    <a:pt x="280" y="486"/>
                  </a:lnTo>
                  <a:lnTo>
                    <a:pt x="279" y="485"/>
                  </a:lnTo>
                  <a:lnTo>
                    <a:pt x="276" y="482"/>
                  </a:lnTo>
                  <a:lnTo>
                    <a:pt x="274" y="479"/>
                  </a:lnTo>
                  <a:lnTo>
                    <a:pt x="271" y="475"/>
                  </a:lnTo>
                  <a:lnTo>
                    <a:pt x="267" y="470"/>
                  </a:lnTo>
                  <a:lnTo>
                    <a:pt x="266" y="469"/>
                  </a:lnTo>
                  <a:lnTo>
                    <a:pt x="264" y="467"/>
                  </a:lnTo>
                  <a:lnTo>
                    <a:pt x="263" y="466"/>
                  </a:lnTo>
                  <a:lnTo>
                    <a:pt x="262" y="465"/>
                  </a:lnTo>
                  <a:lnTo>
                    <a:pt x="261" y="464"/>
                  </a:lnTo>
                  <a:lnTo>
                    <a:pt x="259" y="462"/>
                  </a:lnTo>
                  <a:lnTo>
                    <a:pt x="258" y="461"/>
                  </a:lnTo>
                  <a:lnTo>
                    <a:pt x="257" y="460"/>
                  </a:lnTo>
                  <a:lnTo>
                    <a:pt x="255" y="459"/>
                  </a:lnTo>
                  <a:lnTo>
                    <a:pt x="254" y="458"/>
                  </a:lnTo>
                  <a:lnTo>
                    <a:pt x="252" y="457"/>
                  </a:lnTo>
                  <a:lnTo>
                    <a:pt x="250" y="456"/>
                  </a:lnTo>
                  <a:lnTo>
                    <a:pt x="250" y="456"/>
                  </a:lnTo>
                  <a:lnTo>
                    <a:pt x="248" y="456"/>
                  </a:lnTo>
                  <a:lnTo>
                    <a:pt x="247" y="455"/>
                  </a:lnTo>
                  <a:lnTo>
                    <a:pt x="245" y="455"/>
                  </a:lnTo>
                  <a:lnTo>
                    <a:pt x="244" y="455"/>
                  </a:lnTo>
                  <a:lnTo>
                    <a:pt x="242" y="455"/>
                  </a:lnTo>
                  <a:lnTo>
                    <a:pt x="238" y="455"/>
                  </a:lnTo>
                  <a:lnTo>
                    <a:pt x="235" y="455"/>
                  </a:lnTo>
                  <a:lnTo>
                    <a:pt x="234" y="455"/>
                  </a:lnTo>
                  <a:lnTo>
                    <a:pt x="233" y="455"/>
                  </a:lnTo>
                  <a:lnTo>
                    <a:pt x="232" y="454"/>
                  </a:lnTo>
                  <a:lnTo>
                    <a:pt x="231" y="454"/>
                  </a:lnTo>
                  <a:lnTo>
                    <a:pt x="229" y="453"/>
                  </a:lnTo>
                  <a:lnTo>
                    <a:pt x="228" y="453"/>
                  </a:lnTo>
                  <a:lnTo>
                    <a:pt x="227" y="452"/>
                  </a:lnTo>
                  <a:lnTo>
                    <a:pt x="225" y="451"/>
                  </a:lnTo>
                  <a:lnTo>
                    <a:pt x="223" y="450"/>
                  </a:lnTo>
                  <a:lnTo>
                    <a:pt x="223" y="450"/>
                  </a:lnTo>
                  <a:lnTo>
                    <a:pt x="221" y="448"/>
                  </a:lnTo>
                  <a:lnTo>
                    <a:pt x="220" y="447"/>
                  </a:lnTo>
                  <a:lnTo>
                    <a:pt x="219" y="446"/>
                  </a:lnTo>
                  <a:lnTo>
                    <a:pt x="218" y="445"/>
                  </a:lnTo>
                  <a:lnTo>
                    <a:pt x="218" y="445"/>
                  </a:lnTo>
                  <a:lnTo>
                    <a:pt x="217" y="443"/>
                  </a:lnTo>
                  <a:lnTo>
                    <a:pt x="217" y="442"/>
                  </a:lnTo>
                  <a:lnTo>
                    <a:pt x="216" y="441"/>
                  </a:lnTo>
                  <a:lnTo>
                    <a:pt x="216" y="440"/>
                  </a:lnTo>
                  <a:lnTo>
                    <a:pt x="215" y="435"/>
                  </a:lnTo>
                  <a:lnTo>
                    <a:pt x="215" y="433"/>
                  </a:lnTo>
                  <a:lnTo>
                    <a:pt x="214" y="432"/>
                  </a:lnTo>
                  <a:lnTo>
                    <a:pt x="214" y="431"/>
                  </a:lnTo>
                  <a:lnTo>
                    <a:pt x="214" y="430"/>
                  </a:lnTo>
                  <a:lnTo>
                    <a:pt x="213" y="429"/>
                  </a:lnTo>
                  <a:lnTo>
                    <a:pt x="213" y="429"/>
                  </a:lnTo>
                  <a:lnTo>
                    <a:pt x="212" y="428"/>
                  </a:lnTo>
                  <a:lnTo>
                    <a:pt x="209" y="425"/>
                  </a:lnTo>
                  <a:lnTo>
                    <a:pt x="206" y="421"/>
                  </a:lnTo>
                  <a:lnTo>
                    <a:pt x="201" y="416"/>
                  </a:lnTo>
                  <a:lnTo>
                    <a:pt x="200" y="415"/>
                  </a:lnTo>
                  <a:lnTo>
                    <a:pt x="200" y="415"/>
                  </a:lnTo>
                  <a:lnTo>
                    <a:pt x="199" y="414"/>
                  </a:lnTo>
                  <a:lnTo>
                    <a:pt x="199" y="413"/>
                  </a:lnTo>
                  <a:lnTo>
                    <a:pt x="198" y="412"/>
                  </a:lnTo>
                  <a:lnTo>
                    <a:pt x="197" y="409"/>
                  </a:lnTo>
                  <a:lnTo>
                    <a:pt x="196" y="408"/>
                  </a:lnTo>
                  <a:lnTo>
                    <a:pt x="195" y="406"/>
                  </a:lnTo>
                  <a:lnTo>
                    <a:pt x="193" y="403"/>
                  </a:lnTo>
                  <a:lnTo>
                    <a:pt x="192" y="402"/>
                  </a:lnTo>
                  <a:lnTo>
                    <a:pt x="191" y="401"/>
                  </a:lnTo>
                  <a:lnTo>
                    <a:pt x="189" y="398"/>
                  </a:lnTo>
                  <a:lnTo>
                    <a:pt x="189" y="397"/>
                  </a:lnTo>
                  <a:lnTo>
                    <a:pt x="188" y="396"/>
                  </a:lnTo>
                  <a:lnTo>
                    <a:pt x="188" y="395"/>
                  </a:lnTo>
                  <a:lnTo>
                    <a:pt x="187" y="395"/>
                  </a:lnTo>
                  <a:lnTo>
                    <a:pt x="184" y="392"/>
                  </a:lnTo>
                  <a:lnTo>
                    <a:pt x="183" y="391"/>
                  </a:lnTo>
                  <a:lnTo>
                    <a:pt x="182" y="390"/>
                  </a:lnTo>
                  <a:lnTo>
                    <a:pt x="181" y="388"/>
                  </a:lnTo>
                  <a:lnTo>
                    <a:pt x="180" y="387"/>
                  </a:lnTo>
                  <a:lnTo>
                    <a:pt x="179" y="387"/>
                  </a:lnTo>
                  <a:lnTo>
                    <a:pt x="177" y="384"/>
                  </a:lnTo>
                  <a:lnTo>
                    <a:pt x="176" y="384"/>
                  </a:lnTo>
                  <a:lnTo>
                    <a:pt x="176" y="383"/>
                  </a:lnTo>
                  <a:lnTo>
                    <a:pt x="175" y="382"/>
                  </a:lnTo>
                  <a:lnTo>
                    <a:pt x="175" y="381"/>
                  </a:lnTo>
                  <a:lnTo>
                    <a:pt x="174" y="380"/>
                  </a:lnTo>
                  <a:lnTo>
                    <a:pt x="174" y="379"/>
                  </a:lnTo>
                  <a:lnTo>
                    <a:pt x="174" y="378"/>
                  </a:lnTo>
                  <a:lnTo>
                    <a:pt x="173" y="374"/>
                  </a:lnTo>
                  <a:lnTo>
                    <a:pt x="173" y="372"/>
                  </a:lnTo>
                  <a:lnTo>
                    <a:pt x="173" y="371"/>
                  </a:lnTo>
                  <a:lnTo>
                    <a:pt x="172" y="370"/>
                  </a:lnTo>
                  <a:lnTo>
                    <a:pt x="172" y="369"/>
                  </a:lnTo>
                  <a:lnTo>
                    <a:pt x="171" y="369"/>
                  </a:lnTo>
                  <a:lnTo>
                    <a:pt x="171" y="368"/>
                  </a:lnTo>
                  <a:lnTo>
                    <a:pt x="170" y="367"/>
                  </a:lnTo>
                  <a:lnTo>
                    <a:pt x="168" y="365"/>
                  </a:lnTo>
                  <a:lnTo>
                    <a:pt x="165" y="362"/>
                  </a:lnTo>
                  <a:lnTo>
                    <a:pt x="162" y="358"/>
                  </a:lnTo>
                  <a:lnTo>
                    <a:pt x="160" y="357"/>
                  </a:lnTo>
                  <a:lnTo>
                    <a:pt x="159" y="355"/>
                  </a:lnTo>
                  <a:lnTo>
                    <a:pt x="158" y="354"/>
                  </a:lnTo>
                  <a:lnTo>
                    <a:pt x="156" y="353"/>
                  </a:lnTo>
                  <a:lnTo>
                    <a:pt x="155" y="353"/>
                  </a:lnTo>
                  <a:lnTo>
                    <a:pt x="155" y="352"/>
                  </a:lnTo>
                  <a:lnTo>
                    <a:pt x="153" y="351"/>
                  </a:lnTo>
                  <a:lnTo>
                    <a:pt x="151" y="350"/>
                  </a:lnTo>
                  <a:lnTo>
                    <a:pt x="150" y="350"/>
                  </a:lnTo>
                  <a:lnTo>
                    <a:pt x="149" y="349"/>
                  </a:lnTo>
                  <a:lnTo>
                    <a:pt x="148" y="349"/>
                  </a:lnTo>
                  <a:lnTo>
                    <a:pt x="145" y="348"/>
                  </a:lnTo>
                  <a:lnTo>
                    <a:pt x="143" y="347"/>
                  </a:lnTo>
                  <a:lnTo>
                    <a:pt x="138" y="346"/>
                  </a:lnTo>
                  <a:lnTo>
                    <a:pt x="136" y="346"/>
                  </a:lnTo>
                  <a:lnTo>
                    <a:pt x="134" y="346"/>
                  </a:lnTo>
                  <a:lnTo>
                    <a:pt x="134" y="346"/>
                  </a:lnTo>
                  <a:lnTo>
                    <a:pt x="133" y="346"/>
                  </a:lnTo>
                  <a:lnTo>
                    <a:pt x="133" y="346"/>
                  </a:lnTo>
                  <a:lnTo>
                    <a:pt x="132" y="346"/>
                  </a:lnTo>
                  <a:lnTo>
                    <a:pt x="131" y="347"/>
                  </a:lnTo>
                  <a:lnTo>
                    <a:pt x="131" y="347"/>
                  </a:lnTo>
                  <a:lnTo>
                    <a:pt x="131" y="348"/>
                  </a:lnTo>
                  <a:lnTo>
                    <a:pt x="130" y="349"/>
                  </a:lnTo>
                  <a:lnTo>
                    <a:pt x="129" y="350"/>
                  </a:lnTo>
                  <a:lnTo>
                    <a:pt x="129" y="350"/>
                  </a:lnTo>
                  <a:lnTo>
                    <a:pt x="129" y="350"/>
                  </a:lnTo>
                  <a:lnTo>
                    <a:pt x="128" y="350"/>
                  </a:lnTo>
                  <a:lnTo>
                    <a:pt x="127" y="351"/>
                  </a:lnTo>
                  <a:lnTo>
                    <a:pt x="127" y="351"/>
                  </a:lnTo>
                  <a:lnTo>
                    <a:pt x="126" y="350"/>
                  </a:lnTo>
                  <a:lnTo>
                    <a:pt x="125" y="350"/>
                  </a:lnTo>
                  <a:lnTo>
                    <a:pt x="122" y="350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7" y="348"/>
                  </a:lnTo>
                  <a:lnTo>
                    <a:pt x="114" y="348"/>
                  </a:lnTo>
                  <a:lnTo>
                    <a:pt x="112" y="348"/>
                  </a:lnTo>
                  <a:lnTo>
                    <a:pt x="110" y="348"/>
                  </a:lnTo>
                  <a:lnTo>
                    <a:pt x="109" y="348"/>
                  </a:lnTo>
                  <a:lnTo>
                    <a:pt x="107" y="347"/>
                  </a:lnTo>
                  <a:lnTo>
                    <a:pt x="106" y="347"/>
                  </a:lnTo>
                  <a:lnTo>
                    <a:pt x="105" y="346"/>
                  </a:lnTo>
                  <a:lnTo>
                    <a:pt x="103" y="346"/>
                  </a:lnTo>
                  <a:lnTo>
                    <a:pt x="102" y="345"/>
                  </a:lnTo>
                  <a:lnTo>
                    <a:pt x="102" y="345"/>
                  </a:lnTo>
                  <a:lnTo>
                    <a:pt x="101" y="344"/>
                  </a:lnTo>
                  <a:lnTo>
                    <a:pt x="100" y="343"/>
                  </a:lnTo>
                  <a:lnTo>
                    <a:pt x="100" y="342"/>
                  </a:lnTo>
                  <a:lnTo>
                    <a:pt x="99" y="342"/>
                  </a:lnTo>
                  <a:lnTo>
                    <a:pt x="98" y="339"/>
                  </a:lnTo>
                  <a:lnTo>
                    <a:pt x="96" y="335"/>
                  </a:lnTo>
                  <a:lnTo>
                    <a:pt x="95" y="334"/>
                  </a:lnTo>
                  <a:lnTo>
                    <a:pt x="94" y="332"/>
                  </a:lnTo>
                  <a:lnTo>
                    <a:pt x="94" y="331"/>
                  </a:lnTo>
                  <a:lnTo>
                    <a:pt x="93" y="328"/>
                  </a:lnTo>
                  <a:lnTo>
                    <a:pt x="92" y="326"/>
                  </a:lnTo>
                  <a:lnTo>
                    <a:pt x="92" y="325"/>
                  </a:lnTo>
                  <a:lnTo>
                    <a:pt x="91" y="324"/>
                  </a:lnTo>
                  <a:lnTo>
                    <a:pt x="91" y="323"/>
                  </a:lnTo>
                  <a:lnTo>
                    <a:pt x="90" y="321"/>
                  </a:lnTo>
                  <a:lnTo>
                    <a:pt x="89" y="320"/>
                  </a:lnTo>
                  <a:lnTo>
                    <a:pt x="88" y="319"/>
                  </a:lnTo>
                  <a:lnTo>
                    <a:pt x="86" y="317"/>
                  </a:lnTo>
                  <a:lnTo>
                    <a:pt x="85" y="316"/>
                  </a:lnTo>
                  <a:lnTo>
                    <a:pt x="79" y="312"/>
                  </a:lnTo>
                  <a:lnTo>
                    <a:pt x="78" y="311"/>
                  </a:lnTo>
                  <a:lnTo>
                    <a:pt x="77" y="310"/>
                  </a:lnTo>
                  <a:lnTo>
                    <a:pt x="76" y="309"/>
                  </a:lnTo>
                  <a:lnTo>
                    <a:pt x="74" y="309"/>
                  </a:lnTo>
                  <a:lnTo>
                    <a:pt x="71" y="307"/>
                  </a:lnTo>
                  <a:lnTo>
                    <a:pt x="69" y="306"/>
                  </a:lnTo>
                  <a:lnTo>
                    <a:pt x="68" y="306"/>
                  </a:lnTo>
                  <a:lnTo>
                    <a:pt x="67" y="305"/>
                  </a:lnTo>
                  <a:lnTo>
                    <a:pt x="66" y="304"/>
                  </a:lnTo>
                  <a:lnTo>
                    <a:pt x="65" y="303"/>
                  </a:lnTo>
                  <a:lnTo>
                    <a:pt x="65" y="303"/>
                  </a:lnTo>
                  <a:lnTo>
                    <a:pt x="65" y="302"/>
                  </a:lnTo>
                  <a:lnTo>
                    <a:pt x="64" y="302"/>
                  </a:lnTo>
                  <a:lnTo>
                    <a:pt x="64" y="301"/>
                  </a:lnTo>
                  <a:lnTo>
                    <a:pt x="64" y="300"/>
                  </a:lnTo>
                  <a:lnTo>
                    <a:pt x="63" y="299"/>
                  </a:lnTo>
                  <a:lnTo>
                    <a:pt x="63" y="298"/>
                  </a:lnTo>
                  <a:lnTo>
                    <a:pt x="62" y="294"/>
                  </a:lnTo>
                  <a:lnTo>
                    <a:pt x="61" y="292"/>
                  </a:lnTo>
                  <a:lnTo>
                    <a:pt x="60" y="290"/>
                  </a:lnTo>
                  <a:lnTo>
                    <a:pt x="59" y="286"/>
                  </a:lnTo>
                  <a:lnTo>
                    <a:pt x="59" y="285"/>
                  </a:lnTo>
                  <a:lnTo>
                    <a:pt x="59" y="284"/>
                  </a:lnTo>
                  <a:lnTo>
                    <a:pt x="59" y="283"/>
                  </a:lnTo>
                  <a:lnTo>
                    <a:pt x="59" y="282"/>
                  </a:lnTo>
                  <a:lnTo>
                    <a:pt x="59" y="281"/>
                  </a:lnTo>
                  <a:lnTo>
                    <a:pt x="59" y="279"/>
                  </a:lnTo>
                  <a:lnTo>
                    <a:pt x="59" y="277"/>
                  </a:lnTo>
                  <a:lnTo>
                    <a:pt x="59" y="275"/>
                  </a:lnTo>
                  <a:lnTo>
                    <a:pt x="59" y="272"/>
                  </a:lnTo>
                  <a:lnTo>
                    <a:pt x="59" y="269"/>
                  </a:lnTo>
                  <a:lnTo>
                    <a:pt x="59" y="267"/>
                  </a:lnTo>
                  <a:lnTo>
                    <a:pt x="59" y="266"/>
                  </a:lnTo>
                  <a:lnTo>
                    <a:pt x="59" y="265"/>
                  </a:lnTo>
                  <a:lnTo>
                    <a:pt x="59" y="264"/>
                  </a:lnTo>
                  <a:lnTo>
                    <a:pt x="58" y="263"/>
                  </a:lnTo>
                  <a:lnTo>
                    <a:pt x="58" y="262"/>
                  </a:lnTo>
                  <a:lnTo>
                    <a:pt x="57" y="261"/>
                  </a:lnTo>
                  <a:lnTo>
                    <a:pt x="57" y="261"/>
                  </a:lnTo>
                  <a:lnTo>
                    <a:pt x="56" y="260"/>
                  </a:lnTo>
                  <a:lnTo>
                    <a:pt x="54" y="259"/>
                  </a:lnTo>
                  <a:lnTo>
                    <a:pt x="52" y="259"/>
                  </a:lnTo>
                  <a:lnTo>
                    <a:pt x="50" y="258"/>
                  </a:lnTo>
                  <a:lnTo>
                    <a:pt x="49" y="257"/>
                  </a:lnTo>
                  <a:lnTo>
                    <a:pt x="49" y="257"/>
                  </a:lnTo>
                  <a:lnTo>
                    <a:pt x="48" y="256"/>
                  </a:lnTo>
                  <a:lnTo>
                    <a:pt x="47" y="256"/>
                  </a:lnTo>
                  <a:lnTo>
                    <a:pt x="47" y="255"/>
                  </a:lnTo>
                  <a:lnTo>
                    <a:pt x="46" y="254"/>
                  </a:lnTo>
                  <a:lnTo>
                    <a:pt x="45" y="253"/>
                  </a:lnTo>
                  <a:lnTo>
                    <a:pt x="44" y="251"/>
                  </a:lnTo>
                  <a:lnTo>
                    <a:pt x="43" y="249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1" y="245"/>
                  </a:lnTo>
                  <a:lnTo>
                    <a:pt x="41" y="244"/>
                  </a:lnTo>
                  <a:lnTo>
                    <a:pt x="40" y="242"/>
                  </a:lnTo>
                  <a:lnTo>
                    <a:pt x="40" y="241"/>
                  </a:lnTo>
                  <a:lnTo>
                    <a:pt x="40" y="240"/>
                  </a:lnTo>
                  <a:lnTo>
                    <a:pt x="39" y="234"/>
                  </a:lnTo>
                  <a:lnTo>
                    <a:pt x="39" y="233"/>
                  </a:lnTo>
                  <a:lnTo>
                    <a:pt x="39" y="231"/>
                  </a:lnTo>
                  <a:lnTo>
                    <a:pt x="39" y="229"/>
                  </a:lnTo>
                  <a:lnTo>
                    <a:pt x="37" y="225"/>
                  </a:lnTo>
                  <a:lnTo>
                    <a:pt x="37" y="223"/>
                  </a:lnTo>
                  <a:lnTo>
                    <a:pt x="36" y="222"/>
                  </a:lnTo>
                  <a:lnTo>
                    <a:pt x="35" y="221"/>
                  </a:lnTo>
                  <a:lnTo>
                    <a:pt x="35" y="220"/>
                  </a:lnTo>
                  <a:lnTo>
                    <a:pt x="34" y="219"/>
                  </a:lnTo>
                  <a:lnTo>
                    <a:pt x="34" y="218"/>
                  </a:lnTo>
                  <a:lnTo>
                    <a:pt x="33" y="218"/>
                  </a:lnTo>
                  <a:lnTo>
                    <a:pt x="32" y="217"/>
                  </a:lnTo>
                  <a:lnTo>
                    <a:pt x="30" y="216"/>
                  </a:lnTo>
                  <a:lnTo>
                    <a:pt x="30" y="216"/>
                  </a:lnTo>
                  <a:lnTo>
                    <a:pt x="29" y="216"/>
                  </a:lnTo>
                  <a:lnTo>
                    <a:pt x="29" y="215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27" y="212"/>
                  </a:lnTo>
                  <a:lnTo>
                    <a:pt x="26" y="211"/>
                  </a:lnTo>
                  <a:lnTo>
                    <a:pt x="26" y="210"/>
                  </a:lnTo>
                  <a:lnTo>
                    <a:pt x="26" y="208"/>
                  </a:lnTo>
                  <a:lnTo>
                    <a:pt x="26" y="207"/>
                  </a:lnTo>
                  <a:lnTo>
                    <a:pt x="25" y="205"/>
                  </a:lnTo>
                  <a:lnTo>
                    <a:pt x="25" y="205"/>
                  </a:lnTo>
                  <a:lnTo>
                    <a:pt x="25" y="204"/>
                  </a:lnTo>
                  <a:lnTo>
                    <a:pt x="26" y="203"/>
                  </a:lnTo>
                  <a:lnTo>
                    <a:pt x="26" y="201"/>
                  </a:lnTo>
                  <a:lnTo>
                    <a:pt x="26" y="198"/>
                  </a:lnTo>
                  <a:lnTo>
                    <a:pt x="27" y="196"/>
                  </a:lnTo>
                  <a:lnTo>
                    <a:pt x="27" y="195"/>
                  </a:lnTo>
                  <a:lnTo>
                    <a:pt x="27" y="194"/>
                  </a:lnTo>
                  <a:lnTo>
                    <a:pt x="27" y="193"/>
                  </a:lnTo>
                  <a:lnTo>
                    <a:pt x="27" y="192"/>
                  </a:lnTo>
                  <a:lnTo>
                    <a:pt x="26" y="191"/>
                  </a:lnTo>
                  <a:lnTo>
                    <a:pt x="26" y="189"/>
                  </a:lnTo>
                  <a:lnTo>
                    <a:pt x="25" y="188"/>
                  </a:lnTo>
                  <a:lnTo>
                    <a:pt x="25" y="188"/>
                  </a:lnTo>
                  <a:lnTo>
                    <a:pt x="24" y="187"/>
                  </a:lnTo>
                  <a:lnTo>
                    <a:pt x="24" y="187"/>
                  </a:lnTo>
                  <a:lnTo>
                    <a:pt x="23" y="186"/>
                  </a:lnTo>
                  <a:lnTo>
                    <a:pt x="22" y="186"/>
                  </a:lnTo>
                  <a:lnTo>
                    <a:pt x="18" y="184"/>
                  </a:lnTo>
                  <a:lnTo>
                    <a:pt x="17" y="184"/>
                  </a:lnTo>
                  <a:lnTo>
                    <a:pt x="16" y="183"/>
                  </a:lnTo>
                  <a:lnTo>
                    <a:pt x="13" y="182"/>
                  </a:lnTo>
                  <a:lnTo>
                    <a:pt x="9" y="179"/>
                  </a:lnTo>
                  <a:lnTo>
                    <a:pt x="6" y="178"/>
                  </a:lnTo>
                  <a:lnTo>
                    <a:pt x="6" y="177"/>
                  </a:lnTo>
                  <a:lnTo>
                    <a:pt x="5" y="176"/>
                  </a:lnTo>
                  <a:lnTo>
                    <a:pt x="4" y="176"/>
                  </a:lnTo>
                  <a:lnTo>
                    <a:pt x="3" y="175"/>
                  </a:lnTo>
                  <a:lnTo>
                    <a:pt x="2" y="174"/>
                  </a:lnTo>
                  <a:lnTo>
                    <a:pt x="2" y="173"/>
                  </a:lnTo>
                  <a:lnTo>
                    <a:pt x="1" y="173"/>
                  </a:lnTo>
                  <a:lnTo>
                    <a:pt x="0" y="172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Freeform 16">
              <a:extLst>
                <a:ext uri="{FF2B5EF4-FFF2-40B4-BE49-F238E27FC236}">
                  <a16:creationId xmlns:a16="http://schemas.microsoft.com/office/drawing/2014/main" id="{30B3E1CB-E442-2EBA-5C94-5D58C039A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301"/>
              <a:ext cx="279" cy="173"/>
            </a:xfrm>
            <a:custGeom>
              <a:avLst/>
              <a:gdLst>
                <a:gd name="T0" fmla="*/ 2 w 279"/>
                <a:gd name="T1" fmla="*/ 162 h 173"/>
                <a:gd name="T2" fmla="*/ 0 w 279"/>
                <a:gd name="T3" fmla="*/ 155 h 173"/>
                <a:gd name="T4" fmla="*/ 2 w 279"/>
                <a:gd name="T5" fmla="*/ 151 h 173"/>
                <a:gd name="T6" fmla="*/ 9 w 279"/>
                <a:gd name="T7" fmla="*/ 146 h 173"/>
                <a:gd name="T8" fmla="*/ 18 w 279"/>
                <a:gd name="T9" fmla="*/ 140 h 173"/>
                <a:gd name="T10" fmla="*/ 19 w 279"/>
                <a:gd name="T11" fmla="*/ 136 h 173"/>
                <a:gd name="T12" fmla="*/ 23 w 279"/>
                <a:gd name="T13" fmla="*/ 120 h 173"/>
                <a:gd name="T14" fmla="*/ 27 w 279"/>
                <a:gd name="T15" fmla="*/ 114 h 173"/>
                <a:gd name="T16" fmla="*/ 31 w 279"/>
                <a:gd name="T17" fmla="*/ 108 h 173"/>
                <a:gd name="T18" fmla="*/ 38 w 279"/>
                <a:gd name="T19" fmla="*/ 96 h 173"/>
                <a:gd name="T20" fmla="*/ 45 w 279"/>
                <a:gd name="T21" fmla="*/ 87 h 173"/>
                <a:gd name="T22" fmla="*/ 52 w 279"/>
                <a:gd name="T23" fmla="*/ 87 h 173"/>
                <a:gd name="T24" fmla="*/ 60 w 279"/>
                <a:gd name="T25" fmla="*/ 89 h 173"/>
                <a:gd name="T26" fmla="*/ 65 w 279"/>
                <a:gd name="T27" fmla="*/ 86 h 173"/>
                <a:gd name="T28" fmla="*/ 71 w 279"/>
                <a:gd name="T29" fmla="*/ 83 h 173"/>
                <a:gd name="T30" fmla="*/ 76 w 279"/>
                <a:gd name="T31" fmla="*/ 84 h 173"/>
                <a:gd name="T32" fmla="*/ 80 w 279"/>
                <a:gd name="T33" fmla="*/ 87 h 173"/>
                <a:gd name="T34" fmla="*/ 83 w 279"/>
                <a:gd name="T35" fmla="*/ 91 h 173"/>
                <a:gd name="T36" fmla="*/ 84 w 279"/>
                <a:gd name="T37" fmla="*/ 90 h 173"/>
                <a:gd name="T38" fmla="*/ 86 w 279"/>
                <a:gd name="T39" fmla="*/ 86 h 173"/>
                <a:gd name="T40" fmla="*/ 91 w 279"/>
                <a:gd name="T41" fmla="*/ 83 h 173"/>
                <a:gd name="T42" fmla="*/ 94 w 279"/>
                <a:gd name="T43" fmla="*/ 80 h 173"/>
                <a:gd name="T44" fmla="*/ 101 w 279"/>
                <a:gd name="T45" fmla="*/ 77 h 173"/>
                <a:gd name="T46" fmla="*/ 110 w 279"/>
                <a:gd name="T47" fmla="*/ 75 h 173"/>
                <a:gd name="T48" fmla="*/ 118 w 279"/>
                <a:gd name="T49" fmla="*/ 73 h 173"/>
                <a:gd name="T50" fmla="*/ 123 w 279"/>
                <a:gd name="T51" fmla="*/ 73 h 173"/>
                <a:gd name="T52" fmla="*/ 132 w 279"/>
                <a:gd name="T53" fmla="*/ 76 h 173"/>
                <a:gd name="T54" fmla="*/ 139 w 279"/>
                <a:gd name="T55" fmla="*/ 78 h 173"/>
                <a:gd name="T56" fmla="*/ 146 w 279"/>
                <a:gd name="T57" fmla="*/ 78 h 173"/>
                <a:gd name="T58" fmla="*/ 151 w 279"/>
                <a:gd name="T59" fmla="*/ 78 h 173"/>
                <a:gd name="T60" fmla="*/ 157 w 279"/>
                <a:gd name="T61" fmla="*/ 80 h 173"/>
                <a:gd name="T62" fmla="*/ 162 w 279"/>
                <a:gd name="T63" fmla="*/ 78 h 173"/>
                <a:gd name="T64" fmla="*/ 168 w 279"/>
                <a:gd name="T65" fmla="*/ 73 h 173"/>
                <a:gd name="T66" fmla="*/ 170 w 279"/>
                <a:gd name="T67" fmla="*/ 65 h 173"/>
                <a:gd name="T68" fmla="*/ 170 w 279"/>
                <a:gd name="T69" fmla="*/ 60 h 173"/>
                <a:gd name="T70" fmla="*/ 173 w 279"/>
                <a:gd name="T71" fmla="*/ 57 h 173"/>
                <a:gd name="T72" fmla="*/ 182 w 279"/>
                <a:gd name="T73" fmla="*/ 53 h 173"/>
                <a:gd name="T74" fmla="*/ 192 w 279"/>
                <a:gd name="T75" fmla="*/ 47 h 173"/>
                <a:gd name="T76" fmla="*/ 200 w 279"/>
                <a:gd name="T77" fmla="*/ 41 h 173"/>
                <a:gd name="T78" fmla="*/ 207 w 279"/>
                <a:gd name="T79" fmla="*/ 34 h 173"/>
                <a:gd name="T80" fmla="*/ 210 w 279"/>
                <a:gd name="T81" fmla="*/ 33 h 173"/>
                <a:gd name="T82" fmla="*/ 217 w 279"/>
                <a:gd name="T83" fmla="*/ 35 h 173"/>
                <a:gd name="T84" fmla="*/ 228 w 279"/>
                <a:gd name="T85" fmla="*/ 36 h 173"/>
                <a:gd name="T86" fmla="*/ 233 w 279"/>
                <a:gd name="T87" fmla="*/ 39 h 173"/>
                <a:gd name="T88" fmla="*/ 241 w 279"/>
                <a:gd name="T89" fmla="*/ 45 h 173"/>
                <a:gd name="T90" fmla="*/ 245 w 279"/>
                <a:gd name="T91" fmla="*/ 47 h 173"/>
                <a:gd name="T92" fmla="*/ 249 w 279"/>
                <a:gd name="T93" fmla="*/ 47 h 173"/>
                <a:gd name="T94" fmla="*/ 250 w 279"/>
                <a:gd name="T95" fmla="*/ 43 h 173"/>
                <a:gd name="T96" fmla="*/ 252 w 279"/>
                <a:gd name="T97" fmla="*/ 32 h 173"/>
                <a:gd name="T98" fmla="*/ 252 w 279"/>
                <a:gd name="T99" fmla="*/ 27 h 173"/>
                <a:gd name="T100" fmla="*/ 255 w 279"/>
                <a:gd name="T101" fmla="*/ 25 h 173"/>
                <a:gd name="T102" fmla="*/ 263 w 279"/>
                <a:gd name="T103" fmla="*/ 23 h 173"/>
                <a:gd name="T104" fmla="*/ 268 w 279"/>
                <a:gd name="T105" fmla="*/ 20 h 173"/>
                <a:gd name="T106" fmla="*/ 269 w 279"/>
                <a:gd name="T107" fmla="*/ 16 h 173"/>
                <a:gd name="T108" fmla="*/ 268 w 279"/>
                <a:gd name="T109" fmla="*/ 14 h 173"/>
                <a:gd name="T110" fmla="*/ 267 w 279"/>
                <a:gd name="T111" fmla="*/ 10 h 173"/>
                <a:gd name="T112" fmla="*/ 269 w 279"/>
                <a:gd name="T113" fmla="*/ 4 h 173"/>
                <a:gd name="T114" fmla="*/ 271 w 279"/>
                <a:gd name="T115" fmla="*/ 2 h 173"/>
                <a:gd name="T116" fmla="*/ 274 w 279"/>
                <a:gd name="T117" fmla="*/ 2 h 173"/>
                <a:gd name="T118" fmla="*/ 278 w 279"/>
                <a:gd name="T119" fmla="*/ 1 h 173"/>
                <a:gd name="T120" fmla="*/ 279 w 279"/>
                <a:gd name="T121" fmla="*/ 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9" h="173">
                  <a:moveTo>
                    <a:pt x="8" y="173"/>
                  </a:moveTo>
                  <a:lnTo>
                    <a:pt x="7" y="170"/>
                  </a:lnTo>
                  <a:lnTo>
                    <a:pt x="5" y="167"/>
                  </a:lnTo>
                  <a:lnTo>
                    <a:pt x="3" y="163"/>
                  </a:lnTo>
                  <a:lnTo>
                    <a:pt x="2" y="162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6"/>
                  </a:lnTo>
                  <a:lnTo>
                    <a:pt x="0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6" y="147"/>
                  </a:lnTo>
                  <a:lnTo>
                    <a:pt x="9" y="146"/>
                  </a:lnTo>
                  <a:lnTo>
                    <a:pt x="14" y="143"/>
                  </a:lnTo>
                  <a:lnTo>
                    <a:pt x="15" y="142"/>
                  </a:lnTo>
                  <a:lnTo>
                    <a:pt x="16" y="141"/>
                  </a:lnTo>
                  <a:lnTo>
                    <a:pt x="17" y="140"/>
                  </a:lnTo>
                  <a:lnTo>
                    <a:pt x="18" y="140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9" y="138"/>
                  </a:lnTo>
                  <a:lnTo>
                    <a:pt x="19" y="137"/>
                  </a:lnTo>
                  <a:lnTo>
                    <a:pt x="19" y="136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21" y="128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3" y="119"/>
                  </a:lnTo>
                  <a:lnTo>
                    <a:pt x="24" y="118"/>
                  </a:lnTo>
                  <a:lnTo>
                    <a:pt x="25" y="117"/>
                  </a:lnTo>
                  <a:lnTo>
                    <a:pt x="26" y="116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9" y="112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3" y="106"/>
                  </a:lnTo>
                  <a:lnTo>
                    <a:pt x="34" y="105"/>
                  </a:lnTo>
                  <a:lnTo>
                    <a:pt x="35" y="103"/>
                  </a:lnTo>
                  <a:lnTo>
                    <a:pt x="37" y="98"/>
                  </a:lnTo>
                  <a:lnTo>
                    <a:pt x="38" y="96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2"/>
                  </a:lnTo>
                  <a:lnTo>
                    <a:pt x="44" y="88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2" y="87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89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5" y="86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8" y="84"/>
                  </a:lnTo>
                  <a:lnTo>
                    <a:pt x="69" y="84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8" y="85"/>
                  </a:lnTo>
                  <a:lnTo>
                    <a:pt x="79" y="86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1" y="89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89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7"/>
                  </a:lnTo>
                  <a:lnTo>
                    <a:pt x="86" y="86"/>
                  </a:lnTo>
                  <a:lnTo>
                    <a:pt x="87" y="86"/>
                  </a:lnTo>
                  <a:lnTo>
                    <a:pt x="88" y="85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1" y="77"/>
                  </a:lnTo>
                  <a:lnTo>
                    <a:pt x="103" y="77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9" y="75"/>
                  </a:lnTo>
                  <a:lnTo>
                    <a:pt x="110" y="75"/>
                  </a:lnTo>
                  <a:lnTo>
                    <a:pt x="112" y="75"/>
                  </a:lnTo>
                  <a:lnTo>
                    <a:pt x="113" y="75"/>
                  </a:lnTo>
                  <a:lnTo>
                    <a:pt x="114" y="75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0" y="73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7" y="75"/>
                  </a:lnTo>
                  <a:lnTo>
                    <a:pt x="132" y="76"/>
                  </a:lnTo>
                  <a:lnTo>
                    <a:pt x="133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8"/>
                  </a:lnTo>
                  <a:lnTo>
                    <a:pt x="142" y="78"/>
                  </a:lnTo>
                  <a:lnTo>
                    <a:pt x="144" y="78"/>
                  </a:lnTo>
                  <a:lnTo>
                    <a:pt x="146" y="78"/>
                  </a:lnTo>
                  <a:lnTo>
                    <a:pt x="147" y="78"/>
                  </a:lnTo>
                  <a:lnTo>
                    <a:pt x="148" y="77"/>
                  </a:lnTo>
                  <a:lnTo>
                    <a:pt x="149" y="77"/>
                  </a:lnTo>
                  <a:lnTo>
                    <a:pt x="150" y="78"/>
                  </a:lnTo>
                  <a:lnTo>
                    <a:pt x="151" y="78"/>
                  </a:lnTo>
                  <a:lnTo>
                    <a:pt x="152" y="78"/>
                  </a:lnTo>
                  <a:lnTo>
                    <a:pt x="155" y="79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7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7" y="74"/>
                  </a:lnTo>
                  <a:lnTo>
                    <a:pt x="168" y="73"/>
                  </a:lnTo>
                  <a:lnTo>
                    <a:pt x="168" y="72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70" y="66"/>
                  </a:lnTo>
                  <a:lnTo>
                    <a:pt x="170" y="65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1" y="59"/>
                  </a:lnTo>
                  <a:lnTo>
                    <a:pt x="171" y="58"/>
                  </a:lnTo>
                  <a:lnTo>
                    <a:pt x="172" y="58"/>
                  </a:lnTo>
                  <a:lnTo>
                    <a:pt x="172" y="57"/>
                  </a:lnTo>
                  <a:lnTo>
                    <a:pt x="173" y="57"/>
                  </a:lnTo>
                  <a:lnTo>
                    <a:pt x="174" y="57"/>
                  </a:lnTo>
                  <a:lnTo>
                    <a:pt x="176" y="56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92" y="47"/>
                  </a:lnTo>
                  <a:lnTo>
                    <a:pt x="194" y="45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0" y="42"/>
                  </a:lnTo>
                  <a:lnTo>
                    <a:pt x="200" y="41"/>
                  </a:lnTo>
                  <a:lnTo>
                    <a:pt x="202" y="40"/>
                  </a:lnTo>
                  <a:lnTo>
                    <a:pt x="203" y="38"/>
                  </a:lnTo>
                  <a:lnTo>
                    <a:pt x="205" y="37"/>
                  </a:lnTo>
                  <a:lnTo>
                    <a:pt x="207" y="35"/>
                  </a:lnTo>
                  <a:lnTo>
                    <a:pt x="207" y="34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7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6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2" y="38"/>
                  </a:lnTo>
                  <a:lnTo>
                    <a:pt x="233" y="39"/>
                  </a:lnTo>
                  <a:lnTo>
                    <a:pt x="235" y="41"/>
                  </a:lnTo>
                  <a:lnTo>
                    <a:pt x="236" y="41"/>
                  </a:lnTo>
                  <a:lnTo>
                    <a:pt x="237" y="42"/>
                  </a:lnTo>
                  <a:lnTo>
                    <a:pt x="240" y="44"/>
                  </a:lnTo>
                  <a:lnTo>
                    <a:pt x="241" y="45"/>
                  </a:lnTo>
                  <a:lnTo>
                    <a:pt x="242" y="46"/>
                  </a:lnTo>
                  <a:lnTo>
                    <a:pt x="243" y="46"/>
                  </a:lnTo>
                  <a:lnTo>
                    <a:pt x="244" y="47"/>
                  </a:lnTo>
                  <a:lnTo>
                    <a:pt x="245" y="47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7"/>
                  </a:lnTo>
                  <a:lnTo>
                    <a:pt x="249" y="47"/>
                  </a:lnTo>
                  <a:lnTo>
                    <a:pt x="249" y="46"/>
                  </a:lnTo>
                  <a:lnTo>
                    <a:pt x="250" y="46"/>
                  </a:lnTo>
                  <a:lnTo>
                    <a:pt x="250" y="45"/>
                  </a:lnTo>
                  <a:lnTo>
                    <a:pt x="250" y="44"/>
                  </a:lnTo>
                  <a:lnTo>
                    <a:pt x="250" y="43"/>
                  </a:lnTo>
                  <a:lnTo>
                    <a:pt x="252" y="37"/>
                  </a:lnTo>
                  <a:lnTo>
                    <a:pt x="252" y="36"/>
                  </a:lnTo>
                  <a:lnTo>
                    <a:pt x="252" y="35"/>
                  </a:lnTo>
                  <a:lnTo>
                    <a:pt x="252" y="34"/>
                  </a:lnTo>
                  <a:lnTo>
                    <a:pt x="252" y="32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2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3" y="26"/>
                  </a:lnTo>
                  <a:lnTo>
                    <a:pt x="254" y="26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7" y="25"/>
                  </a:lnTo>
                  <a:lnTo>
                    <a:pt x="259" y="24"/>
                  </a:lnTo>
                  <a:lnTo>
                    <a:pt x="262" y="23"/>
                  </a:lnTo>
                  <a:lnTo>
                    <a:pt x="263" y="23"/>
                  </a:lnTo>
                  <a:lnTo>
                    <a:pt x="264" y="22"/>
                  </a:lnTo>
                  <a:lnTo>
                    <a:pt x="265" y="21"/>
                  </a:lnTo>
                  <a:lnTo>
                    <a:pt x="266" y="21"/>
                  </a:lnTo>
                  <a:lnTo>
                    <a:pt x="267" y="20"/>
                  </a:lnTo>
                  <a:lnTo>
                    <a:pt x="268" y="20"/>
                  </a:lnTo>
                  <a:lnTo>
                    <a:pt x="268" y="19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7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4"/>
                  </a:lnTo>
                  <a:lnTo>
                    <a:pt x="268" y="14"/>
                  </a:lnTo>
                  <a:lnTo>
                    <a:pt x="268" y="12"/>
                  </a:lnTo>
                  <a:lnTo>
                    <a:pt x="267" y="12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0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8" y="7"/>
                  </a:lnTo>
                  <a:lnTo>
                    <a:pt x="268" y="6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70" y="3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6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79" y="0"/>
                  </a:lnTo>
                  <a:lnTo>
                    <a:pt x="279" y="1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Freeform 17">
              <a:extLst>
                <a:ext uri="{FF2B5EF4-FFF2-40B4-BE49-F238E27FC236}">
                  <a16:creationId xmlns:a16="http://schemas.microsoft.com/office/drawing/2014/main" id="{AAF38B95-A98F-B4B5-D8A1-071E4498F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" y="3133"/>
              <a:ext cx="354" cy="259"/>
            </a:xfrm>
            <a:custGeom>
              <a:avLst/>
              <a:gdLst>
                <a:gd name="T0" fmla="*/ 244 w 354"/>
                <a:gd name="T1" fmla="*/ 19 h 259"/>
                <a:gd name="T2" fmla="*/ 262 w 354"/>
                <a:gd name="T3" fmla="*/ 31 h 259"/>
                <a:gd name="T4" fmla="*/ 289 w 354"/>
                <a:gd name="T5" fmla="*/ 36 h 259"/>
                <a:gd name="T6" fmla="*/ 298 w 354"/>
                <a:gd name="T7" fmla="*/ 48 h 259"/>
                <a:gd name="T8" fmla="*/ 305 w 354"/>
                <a:gd name="T9" fmla="*/ 51 h 259"/>
                <a:gd name="T10" fmla="*/ 329 w 354"/>
                <a:gd name="T11" fmla="*/ 51 h 259"/>
                <a:gd name="T12" fmla="*/ 336 w 354"/>
                <a:gd name="T13" fmla="*/ 63 h 259"/>
                <a:gd name="T14" fmla="*/ 333 w 354"/>
                <a:gd name="T15" fmla="*/ 85 h 259"/>
                <a:gd name="T16" fmla="*/ 335 w 354"/>
                <a:gd name="T17" fmla="*/ 104 h 259"/>
                <a:gd name="T18" fmla="*/ 340 w 354"/>
                <a:gd name="T19" fmla="*/ 118 h 259"/>
                <a:gd name="T20" fmla="*/ 349 w 354"/>
                <a:gd name="T21" fmla="*/ 141 h 259"/>
                <a:gd name="T22" fmla="*/ 347 w 354"/>
                <a:gd name="T23" fmla="*/ 150 h 259"/>
                <a:gd name="T24" fmla="*/ 336 w 354"/>
                <a:gd name="T25" fmla="*/ 152 h 259"/>
                <a:gd name="T26" fmla="*/ 345 w 354"/>
                <a:gd name="T27" fmla="*/ 158 h 259"/>
                <a:gd name="T28" fmla="*/ 352 w 354"/>
                <a:gd name="T29" fmla="*/ 171 h 259"/>
                <a:gd name="T30" fmla="*/ 351 w 354"/>
                <a:gd name="T31" fmla="*/ 182 h 259"/>
                <a:gd name="T32" fmla="*/ 344 w 354"/>
                <a:gd name="T33" fmla="*/ 191 h 259"/>
                <a:gd name="T34" fmla="*/ 334 w 354"/>
                <a:gd name="T35" fmla="*/ 202 h 259"/>
                <a:gd name="T36" fmla="*/ 327 w 354"/>
                <a:gd name="T37" fmla="*/ 215 h 259"/>
                <a:gd name="T38" fmla="*/ 308 w 354"/>
                <a:gd name="T39" fmla="*/ 204 h 259"/>
                <a:gd name="T40" fmla="*/ 289 w 354"/>
                <a:gd name="T41" fmla="*/ 203 h 259"/>
                <a:gd name="T42" fmla="*/ 262 w 354"/>
                <a:gd name="T43" fmla="*/ 222 h 259"/>
                <a:gd name="T44" fmla="*/ 252 w 354"/>
                <a:gd name="T45" fmla="*/ 234 h 259"/>
                <a:gd name="T46" fmla="*/ 238 w 354"/>
                <a:gd name="T47" fmla="*/ 248 h 259"/>
                <a:gd name="T48" fmla="*/ 220 w 354"/>
                <a:gd name="T49" fmla="*/ 246 h 259"/>
                <a:gd name="T50" fmla="*/ 199 w 354"/>
                <a:gd name="T51" fmla="*/ 242 h 259"/>
                <a:gd name="T52" fmla="*/ 176 w 354"/>
                <a:gd name="T53" fmla="*/ 248 h 259"/>
                <a:gd name="T54" fmla="*/ 166 w 354"/>
                <a:gd name="T55" fmla="*/ 258 h 259"/>
                <a:gd name="T56" fmla="*/ 157 w 354"/>
                <a:gd name="T57" fmla="*/ 251 h 259"/>
                <a:gd name="T58" fmla="*/ 141 w 354"/>
                <a:gd name="T59" fmla="*/ 257 h 259"/>
                <a:gd name="T60" fmla="*/ 124 w 354"/>
                <a:gd name="T61" fmla="*/ 247 h 259"/>
                <a:gd name="T62" fmla="*/ 107 w 354"/>
                <a:gd name="T63" fmla="*/ 233 h 259"/>
                <a:gd name="T64" fmla="*/ 110 w 354"/>
                <a:gd name="T65" fmla="*/ 220 h 259"/>
                <a:gd name="T66" fmla="*/ 95 w 354"/>
                <a:gd name="T67" fmla="*/ 213 h 259"/>
                <a:gd name="T68" fmla="*/ 80 w 354"/>
                <a:gd name="T69" fmla="*/ 201 h 259"/>
                <a:gd name="T70" fmla="*/ 61 w 354"/>
                <a:gd name="T71" fmla="*/ 187 h 259"/>
                <a:gd name="T72" fmla="*/ 46 w 354"/>
                <a:gd name="T73" fmla="*/ 177 h 259"/>
                <a:gd name="T74" fmla="*/ 39 w 354"/>
                <a:gd name="T75" fmla="*/ 163 h 259"/>
                <a:gd name="T76" fmla="*/ 27 w 354"/>
                <a:gd name="T77" fmla="*/ 150 h 259"/>
                <a:gd name="T78" fmla="*/ 30 w 354"/>
                <a:gd name="T79" fmla="*/ 125 h 259"/>
                <a:gd name="T80" fmla="*/ 18 w 354"/>
                <a:gd name="T81" fmla="*/ 106 h 259"/>
                <a:gd name="T82" fmla="*/ 3 w 354"/>
                <a:gd name="T83" fmla="*/ 94 h 259"/>
                <a:gd name="T84" fmla="*/ 2 w 354"/>
                <a:gd name="T85" fmla="*/ 84 h 259"/>
                <a:gd name="T86" fmla="*/ 9 w 354"/>
                <a:gd name="T87" fmla="*/ 73 h 259"/>
                <a:gd name="T88" fmla="*/ 4 w 354"/>
                <a:gd name="T89" fmla="*/ 58 h 259"/>
                <a:gd name="T90" fmla="*/ 23 w 354"/>
                <a:gd name="T91" fmla="*/ 58 h 259"/>
                <a:gd name="T92" fmla="*/ 32 w 354"/>
                <a:gd name="T93" fmla="*/ 77 h 259"/>
                <a:gd name="T94" fmla="*/ 47 w 354"/>
                <a:gd name="T95" fmla="*/ 87 h 259"/>
                <a:gd name="T96" fmla="*/ 45 w 354"/>
                <a:gd name="T97" fmla="*/ 94 h 259"/>
                <a:gd name="T98" fmla="*/ 54 w 354"/>
                <a:gd name="T99" fmla="*/ 112 h 259"/>
                <a:gd name="T100" fmla="*/ 58 w 354"/>
                <a:gd name="T101" fmla="*/ 126 h 259"/>
                <a:gd name="T102" fmla="*/ 67 w 354"/>
                <a:gd name="T103" fmla="*/ 121 h 259"/>
                <a:gd name="T104" fmla="*/ 69 w 354"/>
                <a:gd name="T105" fmla="*/ 99 h 259"/>
                <a:gd name="T106" fmla="*/ 75 w 354"/>
                <a:gd name="T107" fmla="*/ 90 h 259"/>
                <a:gd name="T108" fmla="*/ 88 w 354"/>
                <a:gd name="T109" fmla="*/ 69 h 259"/>
                <a:gd name="T110" fmla="*/ 100 w 354"/>
                <a:gd name="T111" fmla="*/ 55 h 259"/>
                <a:gd name="T112" fmla="*/ 116 w 354"/>
                <a:gd name="T113" fmla="*/ 43 h 259"/>
                <a:gd name="T114" fmla="*/ 128 w 354"/>
                <a:gd name="T115" fmla="*/ 26 h 259"/>
                <a:gd name="T116" fmla="*/ 171 w 354"/>
                <a:gd name="T117" fmla="*/ 21 h 259"/>
                <a:gd name="T118" fmla="*/ 191 w 354"/>
                <a:gd name="T119" fmla="*/ 14 h 259"/>
                <a:gd name="T120" fmla="*/ 208 w 354"/>
                <a:gd name="T121" fmla="*/ 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4" h="259">
                  <a:moveTo>
                    <a:pt x="217" y="0"/>
                  </a:moveTo>
                  <a:lnTo>
                    <a:pt x="218" y="1"/>
                  </a:lnTo>
                  <a:lnTo>
                    <a:pt x="220" y="2"/>
                  </a:lnTo>
                  <a:lnTo>
                    <a:pt x="221" y="3"/>
                  </a:lnTo>
                  <a:lnTo>
                    <a:pt x="226" y="6"/>
                  </a:lnTo>
                  <a:lnTo>
                    <a:pt x="231" y="10"/>
                  </a:lnTo>
                  <a:lnTo>
                    <a:pt x="233" y="12"/>
                  </a:lnTo>
                  <a:lnTo>
                    <a:pt x="235" y="12"/>
                  </a:lnTo>
                  <a:lnTo>
                    <a:pt x="237" y="14"/>
                  </a:lnTo>
                  <a:lnTo>
                    <a:pt x="239" y="16"/>
                  </a:lnTo>
                  <a:lnTo>
                    <a:pt x="240" y="16"/>
                  </a:lnTo>
                  <a:lnTo>
                    <a:pt x="241" y="17"/>
                  </a:lnTo>
                  <a:lnTo>
                    <a:pt x="242" y="18"/>
                  </a:lnTo>
                  <a:lnTo>
                    <a:pt x="243" y="18"/>
                  </a:lnTo>
                  <a:lnTo>
                    <a:pt x="244" y="19"/>
                  </a:lnTo>
                  <a:lnTo>
                    <a:pt x="246" y="20"/>
                  </a:lnTo>
                  <a:lnTo>
                    <a:pt x="248" y="22"/>
                  </a:lnTo>
                  <a:lnTo>
                    <a:pt x="249" y="23"/>
                  </a:lnTo>
                  <a:lnTo>
                    <a:pt x="251" y="25"/>
                  </a:lnTo>
                  <a:lnTo>
                    <a:pt x="251" y="26"/>
                  </a:lnTo>
                  <a:lnTo>
                    <a:pt x="252" y="26"/>
                  </a:lnTo>
                  <a:lnTo>
                    <a:pt x="252" y="26"/>
                  </a:lnTo>
                  <a:lnTo>
                    <a:pt x="253" y="26"/>
                  </a:lnTo>
                  <a:lnTo>
                    <a:pt x="253" y="26"/>
                  </a:lnTo>
                  <a:lnTo>
                    <a:pt x="253" y="26"/>
                  </a:lnTo>
                  <a:lnTo>
                    <a:pt x="257" y="29"/>
                  </a:lnTo>
                  <a:lnTo>
                    <a:pt x="259" y="30"/>
                  </a:lnTo>
                  <a:lnTo>
                    <a:pt x="260" y="30"/>
                  </a:lnTo>
                  <a:lnTo>
                    <a:pt x="260" y="31"/>
                  </a:lnTo>
                  <a:lnTo>
                    <a:pt x="262" y="31"/>
                  </a:lnTo>
                  <a:lnTo>
                    <a:pt x="265" y="32"/>
                  </a:lnTo>
                  <a:lnTo>
                    <a:pt x="267" y="32"/>
                  </a:lnTo>
                  <a:lnTo>
                    <a:pt x="269" y="32"/>
                  </a:lnTo>
                  <a:lnTo>
                    <a:pt x="272" y="32"/>
                  </a:lnTo>
                  <a:lnTo>
                    <a:pt x="273" y="33"/>
                  </a:lnTo>
                  <a:lnTo>
                    <a:pt x="275" y="33"/>
                  </a:lnTo>
                  <a:lnTo>
                    <a:pt x="278" y="34"/>
                  </a:lnTo>
                  <a:lnTo>
                    <a:pt x="280" y="35"/>
                  </a:lnTo>
                  <a:lnTo>
                    <a:pt x="281" y="35"/>
                  </a:lnTo>
                  <a:lnTo>
                    <a:pt x="283" y="35"/>
                  </a:lnTo>
                  <a:lnTo>
                    <a:pt x="285" y="35"/>
                  </a:lnTo>
                  <a:lnTo>
                    <a:pt x="287" y="35"/>
                  </a:lnTo>
                  <a:lnTo>
                    <a:pt x="288" y="36"/>
                  </a:lnTo>
                  <a:lnTo>
                    <a:pt x="289" y="36"/>
                  </a:lnTo>
                  <a:lnTo>
                    <a:pt x="289" y="36"/>
                  </a:lnTo>
                  <a:lnTo>
                    <a:pt x="291" y="37"/>
                  </a:lnTo>
                  <a:lnTo>
                    <a:pt x="294" y="38"/>
                  </a:lnTo>
                  <a:lnTo>
                    <a:pt x="295" y="39"/>
                  </a:lnTo>
                  <a:lnTo>
                    <a:pt x="295" y="39"/>
                  </a:lnTo>
                  <a:lnTo>
                    <a:pt x="296" y="40"/>
                  </a:lnTo>
                  <a:lnTo>
                    <a:pt x="296" y="40"/>
                  </a:lnTo>
                  <a:lnTo>
                    <a:pt x="296" y="41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7" y="42"/>
                  </a:lnTo>
                  <a:lnTo>
                    <a:pt x="297" y="43"/>
                  </a:lnTo>
                  <a:lnTo>
                    <a:pt x="298" y="44"/>
                  </a:lnTo>
                  <a:lnTo>
                    <a:pt x="298" y="46"/>
                  </a:lnTo>
                  <a:lnTo>
                    <a:pt x="298" y="47"/>
                  </a:lnTo>
                  <a:lnTo>
                    <a:pt x="298" y="48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9" y="50"/>
                  </a:lnTo>
                  <a:lnTo>
                    <a:pt x="299" y="50"/>
                  </a:lnTo>
                  <a:lnTo>
                    <a:pt x="299" y="51"/>
                  </a:lnTo>
                  <a:lnTo>
                    <a:pt x="300" y="51"/>
                  </a:lnTo>
                  <a:lnTo>
                    <a:pt x="300" y="51"/>
                  </a:lnTo>
                  <a:lnTo>
                    <a:pt x="301" y="51"/>
                  </a:lnTo>
                  <a:lnTo>
                    <a:pt x="301" y="51"/>
                  </a:lnTo>
                  <a:lnTo>
                    <a:pt x="302" y="51"/>
                  </a:lnTo>
                  <a:lnTo>
                    <a:pt x="302" y="51"/>
                  </a:lnTo>
                  <a:lnTo>
                    <a:pt x="303" y="51"/>
                  </a:lnTo>
                  <a:lnTo>
                    <a:pt x="304" y="51"/>
                  </a:lnTo>
                  <a:lnTo>
                    <a:pt x="305" y="51"/>
                  </a:lnTo>
                  <a:lnTo>
                    <a:pt x="307" y="51"/>
                  </a:lnTo>
                  <a:lnTo>
                    <a:pt x="308" y="50"/>
                  </a:lnTo>
                  <a:lnTo>
                    <a:pt x="308" y="50"/>
                  </a:lnTo>
                  <a:lnTo>
                    <a:pt x="310" y="50"/>
                  </a:lnTo>
                  <a:lnTo>
                    <a:pt x="311" y="51"/>
                  </a:lnTo>
                  <a:lnTo>
                    <a:pt x="315" y="51"/>
                  </a:lnTo>
                  <a:lnTo>
                    <a:pt x="317" y="51"/>
                  </a:lnTo>
                  <a:lnTo>
                    <a:pt x="318" y="51"/>
                  </a:lnTo>
                  <a:lnTo>
                    <a:pt x="321" y="51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7" y="51"/>
                  </a:lnTo>
                  <a:lnTo>
                    <a:pt x="328" y="51"/>
                  </a:lnTo>
                  <a:lnTo>
                    <a:pt x="328" y="51"/>
                  </a:lnTo>
                  <a:lnTo>
                    <a:pt x="329" y="51"/>
                  </a:lnTo>
                  <a:lnTo>
                    <a:pt x="329" y="51"/>
                  </a:lnTo>
                  <a:lnTo>
                    <a:pt x="330" y="51"/>
                  </a:lnTo>
                  <a:lnTo>
                    <a:pt x="331" y="52"/>
                  </a:lnTo>
                  <a:lnTo>
                    <a:pt x="332" y="52"/>
                  </a:lnTo>
                  <a:lnTo>
                    <a:pt x="332" y="53"/>
                  </a:lnTo>
                  <a:lnTo>
                    <a:pt x="333" y="54"/>
                  </a:lnTo>
                  <a:lnTo>
                    <a:pt x="333" y="54"/>
                  </a:lnTo>
                  <a:lnTo>
                    <a:pt x="334" y="55"/>
                  </a:lnTo>
                  <a:lnTo>
                    <a:pt x="334" y="56"/>
                  </a:lnTo>
                  <a:lnTo>
                    <a:pt x="335" y="58"/>
                  </a:lnTo>
                  <a:lnTo>
                    <a:pt x="336" y="59"/>
                  </a:lnTo>
                  <a:lnTo>
                    <a:pt x="336" y="60"/>
                  </a:lnTo>
                  <a:lnTo>
                    <a:pt x="336" y="61"/>
                  </a:lnTo>
                  <a:lnTo>
                    <a:pt x="336" y="62"/>
                  </a:lnTo>
                  <a:lnTo>
                    <a:pt x="336" y="63"/>
                  </a:lnTo>
                  <a:lnTo>
                    <a:pt x="336" y="64"/>
                  </a:lnTo>
                  <a:lnTo>
                    <a:pt x="336" y="66"/>
                  </a:lnTo>
                  <a:lnTo>
                    <a:pt x="336" y="67"/>
                  </a:lnTo>
                  <a:lnTo>
                    <a:pt x="335" y="69"/>
                  </a:lnTo>
                  <a:lnTo>
                    <a:pt x="335" y="70"/>
                  </a:lnTo>
                  <a:lnTo>
                    <a:pt x="335" y="71"/>
                  </a:lnTo>
                  <a:lnTo>
                    <a:pt x="335" y="72"/>
                  </a:lnTo>
                  <a:lnTo>
                    <a:pt x="335" y="73"/>
                  </a:lnTo>
                  <a:lnTo>
                    <a:pt x="335" y="76"/>
                  </a:lnTo>
                  <a:lnTo>
                    <a:pt x="335" y="76"/>
                  </a:lnTo>
                  <a:lnTo>
                    <a:pt x="335" y="77"/>
                  </a:lnTo>
                  <a:lnTo>
                    <a:pt x="334" y="78"/>
                  </a:lnTo>
                  <a:lnTo>
                    <a:pt x="334" y="80"/>
                  </a:lnTo>
                  <a:lnTo>
                    <a:pt x="333" y="84"/>
                  </a:lnTo>
                  <a:lnTo>
                    <a:pt x="333" y="85"/>
                  </a:lnTo>
                  <a:lnTo>
                    <a:pt x="333" y="86"/>
                  </a:lnTo>
                  <a:lnTo>
                    <a:pt x="333" y="87"/>
                  </a:lnTo>
                  <a:lnTo>
                    <a:pt x="333" y="88"/>
                  </a:lnTo>
                  <a:lnTo>
                    <a:pt x="333" y="89"/>
                  </a:lnTo>
                  <a:lnTo>
                    <a:pt x="334" y="91"/>
                  </a:lnTo>
                  <a:lnTo>
                    <a:pt x="334" y="92"/>
                  </a:lnTo>
                  <a:lnTo>
                    <a:pt x="335" y="94"/>
                  </a:lnTo>
                  <a:lnTo>
                    <a:pt x="335" y="96"/>
                  </a:lnTo>
                  <a:lnTo>
                    <a:pt x="335" y="98"/>
                  </a:lnTo>
                  <a:lnTo>
                    <a:pt x="335" y="99"/>
                  </a:lnTo>
                  <a:lnTo>
                    <a:pt x="335" y="100"/>
                  </a:lnTo>
                  <a:lnTo>
                    <a:pt x="335" y="102"/>
                  </a:lnTo>
                  <a:lnTo>
                    <a:pt x="335" y="103"/>
                  </a:lnTo>
                  <a:lnTo>
                    <a:pt x="334" y="103"/>
                  </a:lnTo>
                  <a:lnTo>
                    <a:pt x="335" y="104"/>
                  </a:lnTo>
                  <a:lnTo>
                    <a:pt x="335" y="105"/>
                  </a:lnTo>
                  <a:lnTo>
                    <a:pt x="335" y="105"/>
                  </a:lnTo>
                  <a:lnTo>
                    <a:pt x="335" y="106"/>
                  </a:lnTo>
                  <a:lnTo>
                    <a:pt x="336" y="106"/>
                  </a:lnTo>
                  <a:lnTo>
                    <a:pt x="336" y="107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9" y="110"/>
                  </a:lnTo>
                  <a:lnTo>
                    <a:pt x="339" y="111"/>
                  </a:lnTo>
                  <a:lnTo>
                    <a:pt x="339" y="111"/>
                  </a:lnTo>
                  <a:lnTo>
                    <a:pt x="340" y="113"/>
                  </a:lnTo>
                  <a:lnTo>
                    <a:pt x="340" y="114"/>
                  </a:lnTo>
                  <a:lnTo>
                    <a:pt x="340" y="117"/>
                  </a:lnTo>
                  <a:lnTo>
                    <a:pt x="340" y="118"/>
                  </a:lnTo>
                  <a:lnTo>
                    <a:pt x="340" y="118"/>
                  </a:lnTo>
                  <a:lnTo>
                    <a:pt x="340" y="119"/>
                  </a:lnTo>
                  <a:lnTo>
                    <a:pt x="340" y="119"/>
                  </a:lnTo>
                  <a:lnTo>
                    <a:pt x="342" y="122"/>
                  </a:lnTo>
                  <a:lnTo>
                    <a:pt x="343" y="123"/>
                  </a:lnTo>
                  <a:lnTo>
                    <a:pt x="344" y="125"/>
                  </a:lnTo>
                  <a:lnTo>
                    <a:pt x="345" y="127"/>
                  </a:lnTo>
                  <a:lnTo>
                    <a:pt x="347" y="131"/>
                  </a:lnTo>
                  <a:lnTo>
                    <a:pt x="347" y="133"/>
                  </a:lnTo>
                  <a:lnTo>
                    <a:pt x="348" y="134"/>
                  </a:lnTo>
                  <a:lnTo>
                    <a:pt x="348" y="137"/>
                  </a:lnTo>
                  <a:lnTo>
                    <a:pt x="349" y="138"/>
                  </a:lnTo>
                  <a:lnTo>
                    <a:pt x="349" y="139"/>
                  </a:lnTo>
                  <a:lnTo>
                    <a:pt x="349" y="139"/>
                  </a:lnTo>
                  <a:lnTo>
                    <a:pt x="349" y="140"/>
                  </a:lnTo>
                  <a:lnTo>
                    <a:pt x="349" y="141"/>
                  </a:lnTo>
                  <a:lnTo>
                    <a:pt x="348" y="141"/>
                  </a:lnTo>
                  <a:lnTo>
                    <a:pt x="348" y="142"/>
                  </a:lnTo>
                  <a:lnTo>
                    <a:pt x="348" y="142"/>
                  </a:lnTo>
                  <a:lnTo>
                    <a:pt x="347" y="143"/>
                  </a:lnTo>
                  <a:lnTo>
                    <a:pt x="347" y="144"/>
                  </a:lnTo>
                  <a:lnTo>
                    <a:pt x="347" y="144"/>
                  </a:lnTo>
                  <a:lnTo>
                    <a:pt x="347" y="145"/>
                  </a:lnTo>
                  <a:lnTo>
                    <a:pt x="347" y="146"/>
                  </a:lnTo>
                  <a:lnTo>
                    <a:pt x="347" y="148"/>
                  </a:lnTo>
                  <a:lnTo>
                    <a:pt x="348" y="149"/>
                  </a:lnTo>
                  <a:lnTo>
                    <a:pt x="348" y="149"/>
                  </a:lnTo>
                  <a:lnTo>
                    <a:pt x="348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1"/>
                  </a:lnTo>
                  <a:lnTo>
                    <a:pt x="346" y="151"/>
                  </a:lnTo>
                  <a:lnTo>
                    <a:pt x="346" y="151"/>
                  </a:lnTo>
                  <a:lnTo>
                    <a:pt x="343" y="150"/>
                  </a:lnTo>
                  <a:lnTo>
                    <a:pt x="342" y="150"/>
                  </a:lnTo>
                  <a:lnTo>
                    <a:pt x="341" y="150"/>
                  </a:lnTo>
                  <a:lnTo>
                    <a:pt x="340" y="150"/>
                  </a:lnTo>
                  <a:lnTo>
                    <a:pt x="340" y="150"/>
                  </a:lnTo>
                  <a:lnTo>
                    <a:pt x="339" y="150"/>
                  </a:lnTo>
                  <a:lnTo>
                    <a:pt x="338" y="151"/>
                  </a:lnTo>
                  <a:lnTo>
                    <a:pt x="337" y="151"/>
                  </a:lnTo>
                  <a:lnTo>
                    <a:pt x="337" y="151"/>
                  </a:lnTo>
                  <a:lnTo>
                    <a:pt x="337" y="152"/>
                  </a:lnTo>
                  <a:lnTo>
                    <a:pt x="336" y="152"/>
                  </a:lnTo>
                  <a:lnTo>
                    <a:pt x="336" y="153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7" y="156"/>
                  </a:lnTo>
                  <a:lnTo>
                    <a:pt x="338" y="156"/>
                  </a:lnTo>
                  <a:lnTo>
                    <a:pt x="338" y="157"/>
                  </a:lnTo>
                  <a:lnTo>
                    <a:pt x="339" y="157"/>
                  </a:lnTo>
                  <a:lnTo>
                    <a:pt x="343" y="157"/>
                  </a:lnTo>
                  <a:lnTo>
                    <a:pt x="344" y="158"/>
                  </a:lnTo>
                  <a:lnTo>
                    <a:pt x="344" y="158"/>
                  </a:lnTo>
                  <a:lnTo>
                    <a:pt x="345" y="158"/>
                  </a:lnTo>
                  <a:lnTo>
                    <a:pt x="346" y="159"/>
                  </a:lnTo>
                  <a:lnTo>
                    <a:pt x="347" y="159"/>
                  </a:lnTo>
                  <a:lnTo>
                    <a:pt x="348" y="160"/>
                  </a:lnTo>
                  <a:lnTo>
                    <a:pt x="348" y="161"/>
                  </a:lnTo>
                  <a:lnTo>
                    <a:pt x="349" y="162"/>
                  </a:lnTo>
                  <a:lnTo>
                    <a:pt x="351" y="164"/>
                  </a:lnTo>
                  <a:lnTo>
                    <a:pt x="352" y="165"/>
                  </a:lnTo>
                  <a:lnTo>
                    <a:pt x="352" y="166"/>
                  </a:lnTo>
                  <a:lnTo>
                    <a:pt x="353" y="167"/>
                  </a:lnTo>
                  <a:lnTo>
                    <a:pt x="353" y="168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3" y="170"/>
                  </a:lnTo>
                  <a:lnTo>
                    <a:pt x="352" y="171"/>
                  </a:lnTo>
                  <a:lnTo>
                    <a:pt x="352" y="171"/>
                  </a:lnTo>
                  <a:lnTo>
                    <a:pt x="351" y="172"/>
                  </a:lnTo>
                  <a:lnTo>
                    <a:pt x="351" y="172"/>
                  </a:lnTo>
                  <a:lnTo>
                    <a:pt x="351" y="172"/>
                  </a:lnTo>
                  <a:lnTo>
                    <a:pt x="350" y="174"/>
                  </a:lnTo>
                  <a:lnTo>
                    <a:pt x="350" y="175"/>
                  </a:lnTo>
                  <a:lnTo>
                    <a:pt x="349" y="177"/>
                  </a:lnTo>
                  <a:lnTo>
                    <a:pt x="349" y="177"/>
                  </a:lnTo>
                  <a:lnTo>
                    <a:pt x="349" y="178"/>
                  </a:lnTo>
                  <a:lnTo>
                    <a:pt x="349" y="179"/>
                  </a:lnTo>
                  <a:lnTo>
                    <a:pt x="349" y="179"/>
                  </a:lnTo>
                  <a:lnTo>
                    <a:pt x="349" y="180"/>
                  </a:lnTo>
                  <a:lnTo>
                    <a:pt x="350" y="180"/>
                  </a:lnTo>
                  <a:lnTo>
                    <a:pt x="350" y="182"/>
                  </a:lnTo>
                  <a:lnTo>
                    <a:pt x="351" y="182"/>
                  </a:lnTo>
                  <a:lnTo>
                    <a:pt x="351" y="183"/>
                  </a:lnTo>
                  <a:lnTo>
                    <a:pt x="351" y="183"/>
                  </a:lnTo>
                  <a:lnTo>
                    <a:pt x="351" y="184"/>
                  </a:lnTo>
                  <a:lnTo>
                    <a:pt x="351" y="184"/>
                  </a:lnTo>
                  <a:lnTo>
                    <a:pt x="351" y="185"/>
                  </a:lnTo>
                  <a:lnTo>
                    <a:pt x="351" y="186"/>
                  </a:lnTo>
                  <a:lnTo>
                    <a:pt x="351" y="186"/>
                  </a:lnTo>
                  <a:lnTo>
                    <a:pt x="350" y="187"/>
                  </a:lnTo>
                  <a:lnTo>
                    <a:pt x="350" y="188"/>
                  </a:lnTo>
                  <a:lnTo>
                    <a:pt x="349" y="188"/>
                  </a:lnTo>
                  <a:lnTo>
                    <a:pt x="348" y="189"/>
                  </a:lnTo>
                  <a:lnTo>
                    <a:pt x="347" y="189"/>
                  </a:lnTo>
                  <a:lnTo>
                    <a:pt x="346" y="190"/>
                  </a:lnTo>
                  <a:lnTo>
                    <a:pt x="345" y="191"/>
                  </a:lnTo>
                  <a:lnTo>
                    <a:pt x="344" y="191"/>
                  </a:lnTo>
                  <a:lnTo>
                    <a:pt x="341" y="192"/>
                  </a:lnTo>
                  <a:lnTo>
                    <a:pt x="339" y="193"/>
                  </a:lnTo>
                  <a:lnTo>
                    <a:pt x="339" y="193"/>
                  </a:lnTo>
                  <a:lnTo>
                    <a:pt x="337" y="193"/>
                  </a:lnTo>
                  <a:lnTo>
                    <a:pt x="336" y="194"/>
                  </a:lnTo>
                  <a:lnTo>
                    <a:pt x="335" y="194"/>
                  </a:lnTo>
                  <a:lnTo>
                    <a:pt x="335" y="195"/>
                  </a:lnTo>
                  <a:lnTo>
                    <a:pt x="335" y="195"/>
                  </a:lnTo>
                  <a:lnTo>
                    <a:pt x="334" y="195"/>
                  </a:lnTo>
                  <a:lnTo>
                    <a:pt x="334" y="196"/>
                  </a:lnTo>
                  <a:lnTo>
                    <a:pt x="334" y="196"/>
                  </a:lnTo>
                  <a:lnTo>
                    <a:pt x="334" y="197"/>
                  </a:lnTo>
                  <a:lnTo>
                    <a:pt x="334" y="199"/>
                  </a:lnTo>
                  <a:lnTo>
                    <a:pt x="334" y="200"/>
                  </a:lnTo>
                  <a:lnTo>
                    <a:pt x="334" y="202"/>
                  </a:lnTo>
                  <a:lnTo>
                    <a:pt x="334" y="203"/>
                  </a:lnTo>
                  <a:lnTo>
                    <a:pt x="334" y="204"/>
                  </a:lnTo>
                  <a:lnTo>
                    <a:pt x="334" y="205"/>
                  </a:lnTo>
                  <a:lnTo>
                    <a:pt x="332" y="211"/>
                  </a:lnTo>
                  <a:lnTo>
                    <a:pt x="332" y="212"/>
                  </a:lnTo>
                  <a:lnTo>
                    <a:pt x="332" y="213"/>
                  </a:lnTo>
                  <a:lnTo>
                    <a:pt x="332" y="214"/>
                  </a:lnTo>
                  <a:lnTo>
                    <a:pt x="331" y="214"/>
                  </a:lnTo>
                  <a:lnTo>
                    <a:pt x="331" y="215"/>
                  </a:lnTo>
                  <a:lnTo>
                    <a:pt x="330" y="215"/>
                  </a:lnTo>
                  <a:lnTo>
                    <a:pt x="329" y="215"/>
                  </a:lnTo>
                  <a:lnTo>
                    <a:pt x="329" y="215"/>
                  </a:lnTo>
                  <a:lnTo>
                    <a:pt x="328" y="215"/>
                  </a:lnTo>
                  <a:lnTo>
                    <a:pt x="327" y="215"/>
                  </a:lnTo>
                  <a:lnTo>
                    <a:pt x="327" y="215"/>
                  </a:lnTo>
                  <a:lnTo>
                    <a:pt x="326" y="215"/>
                  </a:lnTo>
                  <a:lnTo>
                    <a:pt x="325" y="214"/>
                  </a:lnTo>
                  <a:lnTo>
                    <a:pt x="324" y="214"/>
                  </a:lnTo>
                  <a:lnTo>
                    <a:pt x="323" y="213"/>
                  </a:lnTo>
                  <a:lnTo>
                    <a:pt x="322" y="212"/>
                  </a:lnTo>
                  <a:lnTo>
                    <a:pt x="319" y="210"/>
                  </a:lnTo>
                  <a:lnTo>
                    <a:pt x="318" y="209"/>
                  </a:lnTo>
                  <a:lnTo>
                    <a:pt x="317" y="209"/>
                  </a:lnTo>
                  <a:lnTo>
                    <a:pt x="315" y="207"/>
                  </a:lnTo>
                  <a:lnTo>
                    <a:pt x="314" y="206"/>
                  </a:lnTo>
                  <a:lnTo>
                    <a:pt x="313" y="205"/>
                  </a:lnTo>
                  <a:lnTo>
                    <a:pt x="312" y="205"/>
                  </a:lnTo>
                  <a:lnTo>
                    <a:pt x="311" y="204"/>
                  </a:lnTo>
                  <a:lnTo>
                    <a:pt x="310" y="204"/>
                  </a:lnTo>
                  <a:lnTo>
                    <a:pt x="308" y="204"/>
                  </a:lnTo>
                  <a:lnTo>
                    <a:pt x="307" y="203"/>
                  </a:lnTo>
                  <a:lnTo>
                    <a:pt x="306" y="203"/>
                  </a:lnTo>
                  <a:lnTo>
                    <a:pt x="303" y="203"/>
                  </a:lnTo>
                  <a:lnTo>
                    <a:pt x="299" y="203"/>
                  </a:lnTo>
                  <a:lnTo>
                    <a:pt x="299" y="202"/>
                  </a:lnTo>
                  <a:lnTo>
                    <a:pt x="296" y="202"/>
                  </a:lnTo>
                  <a:lnTo>
                    <a:pt x="294" y="201"/>
                  </a:lnTo>
                  <a:lnTo>
                    <a:pt x="293" y="201"/>
                  </a:lnTo>
                  <a:lnTo>
                    <a:pt x="292" y="201"/>
                  </a:lnTo>
                  <a:lnTo>
                    <a:pt x="292" y="201"/>
                  </a:lnTo>
                  <a:lnTo>
                    <a:pt x="291" y="201"/>
                  </a:lnTo>
                  <a:lnTo>
                    <a:pt x="291" y="202"/>
                  </a:lnTo>
                  <a:lnTo>
                    <a:pt x="290" y="202"/>
                  </a:lnTo>
                  <a:lnTo>
                    <a:pt x="289" y="202"/>
                  </a:lnTo>
                  <a:lnTo>
                    <a:pt x="289" y="203"/>
                  </a:lnTo>
                  <a:lnTo>
                    <a:pt x="287" y="205"/>
                  </a:lnTo>
                  <a:lnTo>
                    <a:pt x="285" y="206"/>
                  </a:lnTo>
                  <a:lnTo>
                    <a:pt x="284" y="208"/>
                  </a:lnTo>
                  <a:lnTo>
                    <a:pt x="282" y="209"/>
                  </a:lnTo>
                  <a:lnTo>
                    <a:pt x="282" y="210"/>
                  </a:lnTo>
                  <a:lnTo>
                    <a:pt x="279" y="211"/>
                  </a:lnTo>
                  <a:lnTo>
                    <a:pt x="277" y="212"/>
                  </a:lnTo>
                  <a:lnTo>
                    <a:pt x="276" y="213"/>
                  </a:lnTo>
                  <a:lnTo>
                    <a:pt x="274" y="215"/>
                  </a:lnTo>
                  <a:lnTo>
                    <a:pt x="269" y="218"/>
                  </a:lnTo>
                  <a:lnTo>
                    <a:pt x="268" y="218"/>
                  </a:lnTo>
                  <a:lnTo>
                    <a:pt x="266" y="219"/>
                  </a:lnTo>
                  <a:lnTo>
                    <a:pt x="265" y="220"/>
                  </a:lnTo>
                  <a:lnTo>
                    <a:pt x="264" y="221"/>
                  </a:lnTo>
                  <a:lnTo>
                    <a:pt x="262" y="222"/>
                  </a:lnTo>
                  <a:lnTo>
                    <a:pt x="262" y="222"/>
                  </a:lnTo>
                  <a:lnTo>
                    <a:pt x="258" y="224"/>
                  </a:lnTo>
                  <a:lnTo>
                    <a:pt x="256" y="225"/>
                  </a:lnTo>
                  <a:lnTo>
                    <a:pt x="255" y="225"/>
                  </a:lnTo>
                  <a:lnTo>
                    <a:pt x="254" y="225"/>
                  </a:lnTo>
                  <a:lnTo>
                    <a:pt x="254" y="226"/>
                  </a:lnTo>
                  <a:lnTo>
                    <a:pt x="253" y="226"/>
                  </a:lnTo>
                  <a:lnTo>
                    <a:pt x="253" y="227"/>
                  </a:lnTo>
                  <a:lnTo>
                    <a:pt x="252" y="228"/>
                  </a:lnTo>
                  <a:lnTo>
                    <a:pt x="252" y="228"/>
                  </a:lnTo>
                  <a:lnTo>
                    <a:pt x="252" y="229"/>
                  </a:lnTo>
                  <a:lnTo>
                    <a:pt x="252" y="229"/>
                  </a:lnTo>
                  <a:lnTo>
                    <a:pt x="252" y="232"/>
                  </a:lnTo>
                  <a:lnTo>
                    <a:pt x="252" y="233"/>
                  </a:lnTo>
                  <a:lnTo>
                    <a:pt x="252" y="234"/>
                  </a:lnTo>
                  <a:lnTo>
                    <a:pt x="251" y="239"/>
                  </a:lnTo>
                  <a:lnTo>
                    <a:pt x="251" y="239"/>
                  </a:lnTo>
                  <a:lnTo>
                    <a:pt x="250" y="240"/>
                  </a:lnTo>
                  <a:lnTo>
                    <a:pt x="250" y="241"/>
                  </a:lnTo>
                  <a:lnTo>
                    <a:pt x="249" y="242"/>
                  </a:lnTo>
                  <a:lnTo>
                    <a:pt x="248" y="243"/>
                  </a:lnTo>
                  <a:lnTo>
                    <a:pt x="247" y="244"/>
                  </a:lnTo>
                  <a:lnTo>
                    <a:pt x="245" y="245"/>
                  </a:lnTo>
                  <a:lnTo>
                    <a:pt x="244" y="246"/>
                  </a:lnTo>
                  <a:lnTo>
                    <a:pt x="243" y="247"/>
                  </a:lnTo>
                  <a:lnTo>
                    <a:pt x="242" y="247"/>
                  </a:lnTo>
                  <a:lnTo>
                    <a:pt x="241" y="248"/>
                  </a:lnTo>
                  <a:lnTo>
                    <a:pt x="240" y="248"/>
                  </a:lnTo>
                  <a:lnTo>
                    <a:pt x="239" y="248"/>
                  </a:lnTo>
                  <a:lnTo>
                    <a:pt x="238" y="248"/>
                  </a:lnTo>
                  <a:lnTo>
                    <a:pt x="238" y="248"/>
                  </a:lnTo>
                  <a:lnTo>
                    <a:pt x="237" y="247"/>
                  </a:lnTo>
                  <a:lnTo>
                    <a:pt x="234" y="246"/>
                  </a:lnTo>
                  <a:lnTo>
                    <a:pt x="233" y="246"/>
                  </a:lnTo>
                  <a:lnTo>
                    <a:pt x="232" y="246"/>
                  </a:lnTo>
                  <a:lnTo>
                    <a:pt x="231" y="245"/>
                  </a:lnTo>
                  <a:lnTo>
                    <a:pt x="230" y="245"/>
                  </a:lnTo>
                  <a:lnTo>
                    <a:pt x="229" y="246"/>
                  </a:lnTo>
                  <a:lnTo>
                    <a:pt x="228" y="246"/>
                  </a:lnTo>
                  <a:lnTo>
                    <a:pt x="226" y="246"/>
                  </a:lnTo>
                  <a:lnTo>
                    <a:pt x="224" y="246"/>
                  </a:lnTo>
                  <a:lnTo>
                    <a:pt x="223" y="246"/>
                  </a:lnTo>
                  <a:lnTo>
                    <a:pt x="222" y="246"/>
                  </a:lnTo>
                  <a:lnTo>
                    <a:pt x="221" y="246"/>
                  </a:lnTo>
                  <a:lnTo>
                    <a:pt x="220" y="246"/>
                  </a:lnTo>
                  <a:lnTo>
                    <a:pt x="219" y="246"/>
                  </a:lnTo>
                  <a:lnTo>
                    <a:pt x="218" y="246"/>
                  </a:lnTo>
                  <a:lnTo>
                    <a:pt x="215" y="245"/>
                  </a:lnTo>
                  <a:lnTo>
                    <a:pt x="214" y="244"/>
                  </a:lnTo>
                  <a:lnTo>
                    <a:pt x="209" y="243"/>
                  </a:lnTo>
                  <a:lnTo>
                    <a:pt x="208" y="242"/>
                  </a:lnTo>
                  <a:lnTo>
                    <a:pt x="206" y="242"/>
                  </a:lnTo>
                  <a:lnTo>
                    <a:pt x="205" y="241"/>
                  </a:lnTo>
                  <a:lnTo>
                    <a:pt x="205" y="241"/>
                  </a:lnTo>
                  <a:lnTo>
                    <a:pt x="203" y="241"/>
                  </a:lnTo>
                  <a:lnTo>
                    <a:pt x="202" y="241"/>
                  </a:lnTo>
                  <a:lnTo>
                    <a:pt x="201" y="241"/>
                  </a:lnTo>
                  <a:lnTo>
                    <a:pt x="201" y="241"/>
                  </a:lnTo>
                  <a:lnTo>
                    <a:pt x="200" y="241"/>
                  </a:lnTo>
                  <a:lnTo>
                    <a:pt x="199" y="242"/>
                  </a:lnTo>
                  <a:lnTo>
                    <a:pt x="196" y="243"/>
                  </a:lnTo>
                  <a:lnTo>
                    <a:pt x="195" y="243"/>
                  </a:lnTo>
                  <a:lnTo>
                    <a:pt x="194" y="243"/>
                  </a:lnTo>
                  <a:lnTo>
                    <a:pt x="192" y="243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6" y="244"/>
                  </a:lnTo>
                  <a:lnTo>
                    <a:pt x="185" y="245"/>
                  </a:lnTo>
                  <a:lnTo>
                    <a:pt x="183" y="245"/>
                  </a:lnTo>
                  <a:lnTo>
                    <a:pt x="182" y="246"/>
                  </a:lnTo>
                  <a:lnTo>
                    <a:pt x="180" y="246"/>
                  </a:lnTo>
                  <a:lnTo>
                    <a:pt x="178" y="247"/>
                  </a:lnTo>
                  <a:lnTo>
                    <a:pt x="177" y="247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4" y="250"/>
                  </a:lnTo>
                  <a:lnTo>
                    <a:pt x="174" y="250"/>
                  </a:lnTo>
                  <a:lnTo>
                    <a:pt x="173" y="251"/>
                  </a:lnTo>
                  <a:lnTo>
                    <a:pt x="173" y="251"/>
                  </a:lnTo>
                  <a:lnTo>
                    <a:pt x="171" y="253"/>
                  </a:lnTo>
                  <a:lnTo>
                    <a:pt x="170" y="253"/>
                  </a:lnTo>
                  <a:lnTo>
                    <a:pt x="169" y="254"/>
                  </a:lnTo>
                  <a:lnTo>
                    <a:pt x="168" y="254"/>
                  </a:lnTo>
                  <a:lnTo>
                    <a:pt x="168" y="255"/>
                  </a:lnTo>
                  <a:lnTo>
                    <a:pt x="167" y="255"/>
                  </a:lnTo>
                  <a:lnTo>
                    <a:pt x="167" y="256"/>
                  </a:lnTo>
                  <a:lnTo>
                    <a:pt x="167" y="257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5" y="259"/>
                  </a:lnTo>
                  <a:lnTo>
                    <a:pt x="165" y="259"/>
                  </a:lnTo>
                  <a:lnTo>
                    <a:pt x="165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3" y="257"/>
                  </a:lnTo>
                  <a:lnTo>
                    <a:pt x="162" y="255"/>
                  </a:lnTo>
                  <a:lnTo>
                    <a:pt x="162" y="255"/>
                  </a:lnTo>
                  <a:lnTo>
                    <a:pt x="161" y="254"/>
                  </a:lnTo>
                  <a:lnTo>
                    <a:pt x="160" y="253"/>
                  </a:lnTo>
                  <a:lnTo>
                    <a:pt x="159" y="252"/>
                  </a:lnTo>
                  <a:lnTo>
                    <a:pt x="158" y="252"/>
                  </a:lnTo>
                  <a:lnTo>
                    <a:pt x="157" y="251"/>
                  </a:lnTo>
                  <a:lnTo>
                    <a:pt x="155" y="251"/>
                  </a:lnTo>
                  <a:lnTo>
                    <a:pt x="155" y="251"/>
                  </a:lnTo>
                  <a:lnTo>
                    <a:pt x="154" y="251"/>
                  </a:lnTo>
                  <a:lnTo>
                    <a:pt x="153" y="251"/>
                  </a:lnTo>
                  <a:lnTo>
                    <a:pt x="151" y="252"/>
                  </a:lnTo>
                  <a:lnTo>
                    <a:pt x="150" y="252"/>
                  </a:lnTo>
                  <a:lnTo>
                    <a:pt x="149" y="253"/>
                  </a:lnTo>
                  <a:lnTo>
                    <a:pt x="148" y="253"/>
                  </a:lnTo>
                  <a:lnTo>
                    <a:pt x="147" y="254"/>
                  </a:lnTo>
                  <a:lnTo>
                    <a:pt x="145" y="255"/>
                  </a:lnTo>
                  <a:lnTo>
                    <a:pt x="144" y="256"/>
                  </a:lnTo>
                  <a:lnTo>
                    <a:pt x="144" y="256"/>
                  </a:lnTo>
                  <a:lnTo>
                    <a:pt x="143" y="257"/>
                  </a:lnTo>
                  <a:lnTo>
                    <a:pt x="142" y="257"/>
                  </a:lnTo>
                  <a:lnTo>
                    <a:pt x="141" y="257"/>
                  </a:lnTo>
                  <a:lnTo>
                    <a:pt x="140" y="257"/>
                  </a:lnTo>
                  <a:lnTo>
                    <a:pt x="140" y="257"/>
                  </a:lnTo>
                  <a:lnTo>
                    <a:pt x="139" y="257"/>
                  </a:lnTo>
                  <a:lnTo>
                    <a:pt x="134" y="255"/>
                  </a:lnTo>
                  <a:lnTo>
                    <a:pt x="130" y="254"/>
                  </a:lnTo>
                  <a:lnTo>
                    <a:pt x="128" y="254"/>
                  </a:lnTo>
                  <a:lnTo>
                    <a:pt x="128" y="253"/>
                  </a:lnTo>
                  <a:lnTo>
                    <a:pt x="128" y="253"/>
                  </a:lnTo>
                  <a:lnTo>
                    <a:pt x="128" y="252"/>
                  </a:lnTo>
                  <a:lnTo>
                    <a:pt x="127" y="251"/>
                  </a:lnTo>
                  <a:lnTo>
                    <a:pt x="127" y="250"/>
                  </a:lnTo>
                  <a:lnTo>
                    <a:pt x="126" y="250"/>
                  </a:lnTo>
                  <a:lnTo>
                    <a:pt x="125" y="249"/>
                  </a:lnTo>
                  <a:lnTo>
                    <a:pt x="125" y="248"/>
                  </a:lnTo>
                  <a:lnTo>
                    <a:pt x="124" y="247"/>
                  </a:lnTo>
                  <a:lnTo>
                    <a:pt x="123" y="246"/>
                  </a:lnTo>
                  <a:lnTo>
                    <a:pt x="120" y="245"/>
                  </a:lnTo>
                  <a:lnTo>
                    <a:pt x="119" y="244"/>
                  </a:lnTo>
                  <a:lnTo>
                    <a:pt x="114" y="241"/>
                  </a:lnTo>
                  <a:lnTo>
                    <a:pt x="112" y="240"/>
                  </a:lnTo>
                  <a:lnTo>
                    <a:pt x="110" y="239"/>
                  </a:lnTo>
                  <a:lnTo>
                    <a:pt x="109" y="238"/>
                  </a:lnTo>
                  <a:lnTo>
                    <a:pt x="108" y="237"/>
                  </a:lnTo>
                  <a:lnTo>
                    <a:pt x="108" y="237"/>
                  </a:lnTo>
                  <a:lnTo>
                    <a:pt x="108" y="236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4"/>
                  </a:lnTo>
                  <a:lnTo>
                    <a:pt x="107" y="233"/>
                  </a:lnTo>
                  <a:lnTo>
                    <a:pt x="107" y="232"/>
                  </a:lnTo>
                  <a:lnTo>
                    <a:pt x="108" y="231"/>
                  </a:lnTo>
                  <a:lnTo>
                    <a:pt x="108" y="230"/>
                  </a:lnTo>
                  <a:lnTo>
                    <a:pt x="108" y="230"/>
                  </a:lnTo>
                  <a:lnTo>
                    <a:pt x="110" y="227"/>
                  </a:lnTo>
                  <a:lnTo>
                    <a:pt x="110" y="226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1" y="224"/>
                  </a:lnTo>
                  <a:lnTo>
                    <a:pt x="111" y="223"/>
                  </a:lnTo>
                  <a:lnTo>
                    <a:pt x="111" y="222"/>
                  </a:lnTo>
                  <a:lnTo>
                    <a:pt x="111" y="222"/>
                  </a:lnTo>
                  <a:lnTo>
                    <a:pt x="110" y="221"/>
                  </a:lnTo>
                  <a:lnTo>
                    <a:pt x="110" y="220"/>
                  </a:lnTo>
                  <a:lnTo>
                    <a:pt x="110" y="220"/>
                  </a:lnTo>
                  <a:lnTo>
                    <a:pt x="110" y="219"/>
                  </a:lnTo>
                  <a:lnTo>
                    <a:pt x="109" y="219"/>
                  </a:lnTo>
                  <a:lnTo>
                    <a:pt x="109" y="218"/>
                  </a:lnTo>
                  <a:lnTo>
                    <a:pt x="107" y="216"/>
                  </a:lnTo>
                  <a:lnTo>
                    <a:pt x="105" y="215"/>
                  </a:lnTo>
                  <a:lnTo>
                    <a:pt x="104" y="215"/>
                  </a:lnTo>
                  <a:lnTo>
                    <a:pt x="104" y="214"/>
                  </a:lnTo>
                  <a:lnTo>
                    <a:pt x="103" y="214"/>
                  </a:lnTo>
                  <a:lnTo>
                    <a:pt x="102" y="214"/>
                  </a:lnTo>
                  <a:lnTo>
                    <a:pt x="101" y="213"/>
                  </a:lnTo>
                  <a:lnTo>
                    <a:pt x="100" y="213"/>
                  </a:lnTo>
                  <a:lnTo>
                    <a:pt x="98" y="213"/>
                  </a:lnTo>
                  <a:lnTo>
                    <a:pt x="97" y="213"/>
                  </a:lnTo>
                  <a:lnTo>
                    <a:pt x="96" y="213"/>
                  </a:lnTo>
                  <a:lnTo>
                    <a:pt x="95" y="213"/>
                  </a:lnTo>
                  <a:lnTo>
                    <a:pt x="95" y="212"/>
                  </a:lnTo>
                  <a:lnTo>
                    <a:pt x="94" y="212"/>
                  </a:lnTo>
                  <a:lnTo>
                    <a:pt x="94" y="212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2" y="209"/>
                  </a:lnTo>
                  <a:lnTo>
                    <a:pt x="91" y="208"/>
                  </a:lnTo>
                  <a:lnTo>
                    <a:pt x="90" y="207"/>
                  </a:lnTo>
                  <a:lnTo>
                    <a:pt x="87" y="205"/>
                  </a:lnTo>
                  <a:lnTo>
                    <a:pt x="85" y="204"/>
                  </a:lnTo>
                  <a:lnTo>
                    <a:pt x="84" y="203"/>
                  </a:lnTo>
                  <a:lnTo>
                    <a:pt x="83" y="203"/>
                  </a:lnTo>
                  <a:lnTo>
                    <a:pt x="83" y="202"/>
                  </a:lnTo>
                  <a:lnTo>
                    <a:pt x="81" y="201"/>
                  </a:lnTo>
                  <a:lnTo>
                    <a:pt x="80" y="201"/>
                  </a:lnTo>
                  <a:lnTo>
                    <a:pt x="79" y="200"/>
                  </a:lnTo>
                  <a:lnTo>
                    <a:pt x="76" y="199"/>
                  </a:lnTo>
                  <a:lnTo>
                    <a:pt x="75" y="198"/>
                  </a:lnTo>
                  <a:lnTo>
                    <a:pt x="73" y="196"/>
                  </a:lnTo>
                  <a:lnTo>
                    <a:pt x="70" y="193"/>
                  </a:lnTo>
                  <a:lnTo>
                    <a:pt x="69" y="192"/>
                  </a:lnTo>
                  <a:lnTo>
                    <a:pt x="68" y="192"/>
                  </a:lnTo>
                  <a:lnTo>
                    <a:pt x="68" y="192"/>
                  </a:lnTo>
                  <a:lnTo>
                    <a:pt x="67" y="191"/>
                  </a:lnTo>
                  <a:lnTo>
                    <a:pt x="65" y="190"/>
                  </a:lnTo>
                  <a:lnTo>
                    <a:pt x="64" y="190"/>
                  </a:lnTo>
                  <a:lnTo>
                    <a:pt x="64" y="190"/>
                  </a:lnTo>
                  <a:lnTo>
                    <a:pt x="63" y="189"/>
                  </a:lnTo>
                  <a:lnTo>
                    <a:pt x="62" y="188"/>
                  </a:lnTo>
                  <a:lnTo>
                    <a:pt x="61" y="187"/>
                  </a:lnTo>
                  <a:lnTo>
                    <a:pt x="60" y="185"/>
                  </a:lnTo>
                  <a:lnTo>
                    <a:pt x="59" y="185"/>
                  </a:lnTo>
                  <a:lnTo>
                    <a:pt x="59" y="184"/>
                  </a:lnTo>
                  <a:lnTo>
                    <a:pt x="58" y="183"/>
                  </a:lnTo>
                  <a:lnTo>
                    <a:pt x="57" y="182"/>
                  </a:lnTo>
                  <a:lnTo>
                    <a:pt x="55" y="182"/>
                  </a:lnTo>
                  <a:lnTo>
                    <a:pt x="54" y="181"/>
                  </a:lnTo>
                  <a:lnTo>
                    <a:pt x="51" y="180"/>
                  </a:lnTo>
                  <a:lnTo>
                    <a:pt x="50" y="180"/>
                  </a:lnTo>
                  <a:lnTo>
                    <a:pt x="48" y="179"/>
                  </a:lnTo>
                  <a:lnTo>
                    <a:pt x="47" y="179"/>
                  </a:lnTo>
                  <a:lnTo>
                    <a:pt x="47" y="178"/>
                  </a:lnTo>
                  <a:lnTo>
                    <a:pt x="47" y="178"/>
                  </a:lnTo>
                  <a:lnTo>
                    <a:pt x="46" y="178"/>
                  </a:lnTo>
                  <a:lnTo>
                    <a:pt x="46" y="177"/>
                  </a:lnTo>
                  <a:lnTo>
                    <a:pt x="46" y="177"/>
                  </a:lnTo>
                  <a:lnTo>
                    <a:pt x="46" y="176"/>
                  </a:lnTo>
                  <a:lnTo>
                    <a:pt x="46" y="176"/>
                  </a:lnTo>
                  <a:lnTo>
                    <a:pt x="46" y="174"/>
                  </a:lnTo>
                  <a:lnTo>
                    <a:pt x="46" y="173"/>
                  </a:lnTo>
                  <a:lnTo>
                    <a:pt x="46" y="172"/>
                  </a:lnTo>
                  <a:lnTo>
                    <a:pt x="46" y="171"/>
                  </a:lnTo>
                  <a:lnTo>
                    <a:pt x="45" y="170"/>
                  </a:lnTo>
                  <a:lnTo>
                    <a:pt x="44" y="169"/>
                  </a:lnTo>
                  <a:lnTo>
                    <a:pt x="43" y="167"/>
                  </a:lnTo>
                  <a:lnTo>
                    <a:pt x="42" y="166"/>
                  </a:lnTo>
                  <a:lnTo>
                    <a:pt x="41" y="165"/>
                  </a:lnTo>
                  <a:lnTo>
                    <a:pt x="40" y="164"/>
                  </a:lnTo>
                  <a:lnTo>
                    <a:pt x="40" y="163"/>
                  </a:lnTo>
                  <a:lnTo>
                    <a:pt x="39" y="163"/>
                  </a:lnTo>
                  <a:lnTo>
                    <a:pt x="38" y="162"/>
                  </a:lnTo>
                  <a:lnTo>
                    <a:pt x="37" y="162"/>
                  </a:lnTo>
                  <a:lnTo>
                    <a:pt x="36" y="161"/>
                  </a:lnTo>
                  <a:lnTo>
                    <a:pt x="35" y="161"/>
                  </a:lnTo>
                  <a:lnTo>
                    <a:pt x="34" y="160"/>
                  </a:lnTo>
                  <a:lnTo>
                    <a:pt x="32" y="158"/>
                  </a:lnTo>
                  <a:lnTo>
                    <a:pt x="31" y="158"/>
                  </a:lnTo>
                  <a:lnTo>
                    <a:pt x="30" y="157"/>
                  </a:lnTo>
                  <a:lnTo>
                    <a:pt x="30" y="157"/>
                  </a:lnTo>
                  <a:lnTo>
                    <a:pt x="29" y="156"/>
                  </a:lnTo>
                  <a:lnTo>
                    <a:pt x="29" y="155"/>
                  </a:lnTo>
                  <a:lnTo>
                    <a:pt x="28" y="154"/>
                  </a:lnTo>
                  <a:lnTo>
                    <a:pt x="28" y="153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7" y="149"/>
                  </a:lnTo>
                  <a:lnTo>
                    <a:pt x="27" y="148"/>
                  </a:lnTo>
                  <a:lnTo>
                    <a:pt x="27" y="146"/>
                  </a:lnTo>
                  <a:lnTo>
                    <a:pt x="27" y="145"/>
                  </a:lnTo>
                  <a:lnTo>
                    <a:pt x="27" y="143"/>
                  </a:lnTo>
                  <a:lnTo>
                    <a:pt x="27" y="142"/>
                  </a:lnTo>
                  <a:lnTo>
                    <a:pt x="27" y="141"/>
                  </a:lnTo>
                  <a:lnTo>
                    <a:pt x="28" y="136"/>
                  </a:lnTo>
                  <a:lnTo>
                    <a:pt x="30" y="133"/>
                  </a:lnTo>
                  <a:lnTo>
                    <a:pt x="30" y="131"/>
                  </a:lnTo>
                  <a:lnTo>
                    <a:pt x="30" y="130"/>
                  </a:lnTo>
                  <a:lnTo>
                    <a:pt x="30" y="129"/>
                  </a:lnTo>
                  <a:lnTo>
                    <a:pt x="30" y="128"/>
                  </a:lnTo>
                  <a:lnTo>
                    <a:pt x="30" y="127"/>
                  </a:lnTo>
                  <a:lnTo>
                    <a:pt x="30" y="125"/>
                  </a:lnTo>
                  <a:lnTo>
                    <a:pt x="29" y="124"/>
                  </a:lnTo>
                  <a:lnTo>
                    <a:pt x="29" y="122"/>
                  </a:lnTo>
                  <a:lnTo>
                    <a:pt x="28" y="121"/>
                  </a:lnTo>
                  <a:lnTo>
                    <a:pt x="28" y="120"/>
                  </a:lnTo>
                  <a:lnTo>
                    <a:pt x="27" y="117"/>
                  </a:lnTo>
                  <a:lnTo>
                    <a:pt x="26" y="115"/>
                  </a:lnTo>
                  <a:lnTo>
                    <a:pt x="26" y="115"/>
                  </a:lnTo>
                  <a:lnTo>
                    <a:pt x="25" y="114"/>
                  </a:lnTo>
                  <a:lnTo>
                    <a:pt x="24" y="113"/>
                  </a:lnTo>
                  <a:lnTo>
                    <a:pt x="23" y="111"/>
                  </a:lnTo>
                  <a:lnTo>
                    <a:pt x="21" y="109"/>
                  </a:lnTo>
                  <a:lnTo>
                    <a:pt x="21" y="109"/>
                  </a:lnTo>
                  <a:lnTo>
                    <a:pt x="19" y="107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7" y="103"/>
                  </a:lnTo>
                  <a:lnTo>
                    <a:pt x="16" y="102"/>
                  </a:lnTo>
                  <a:lnTo>
                    <a:pt x="15" y="101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2" y="98"/>
                  </a:lnTo>
                  <a:lnTo>
                    <a:pt x="11" y="98"/>
                  </a:lnTo>
                  <a:lnTo>
                    <a:pt x="9" y="97"/>
                  </a:lnTo>
                  <a:lnTo>
                    <a:pt x="8" y="97"/>
                  </a:lnTo>
                  <a:lnTo>
                    <a:pt x="7" y="96"/>
                  </a:lnTo>
                  <a:lnTo>
                    <a:pt x="6" y="96"/>
                  </a:lnTo>
                  <a:lnTo>
                    <a:pt x="5" y="95"/>
                  </a:lnTo>
                  <a:lnTo>
                    <a:pt x="4" y="95"/>
                  </a:lnTo>
                  <a:lnTo>
                    <a:pt x="4" y="94"/>
                  </a:lnTo>
                  <a:lnTo>
                    <a:pt x="3" y="94"/>
                  </a:lnTo>
                  <a:lnTo>
                    <a:pt x="2" y="93"/>
                  </a:lnTo>
                  <a:lnTo>
                    <a:pt x="1" y="92"/>
                  </a:lnTo>
                  <a:lnTo>
                    <a:pt x="1" y="91"/>
                  </a:lnTo>
                  <a:lnTo>
                    <a:pt x="0" y="91"/>
                  </a:lnTo>
                  <a:lnTo>
                    <a:pt x="0" y="90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8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6"/>
                  </a:lnTo>
                  <a:lnTo>
                    <a:pt x="1" y="85"/>
                  </a:lnTo>
                  <a:lnTo>
                    <a:pt x="1" y="85"/>
                  </a:lnTo>
                  <a:lnTo>
                    <a:pt x="2" y="84"/>
                  </a:lnTo>
                  <a:lnTo>
                    <a:pt x="3" y="83"/>
                  </a:lnTo>
                  <a:lnTo>
                    <a:pt x="4" y="82"/>
                  </a:lnTo>
                  <a:lnTo>
                    <a:pt x="5" y="81"/>
                  </a:lnTo>
                  <a:lnTo>
                    <a:pt x="6" y="80"/>
                  </a:lnTo>
                  <a:lnTo>
                    <a:pt x="7" y="80"/>
                  </a:lnTo>
                  <a:lnTo>
                    <a:pt x="8" y="79"/>
                  </a:lnTo>
                  <a:lnTo>
                    <a:pt x="8" y="78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9" y="76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3"/>
                  </a:lnTo>
                  <a:lnTo>
                    <a:pt x="8" y="70"/>
                  </a:lnTo>
                  <a:lnTo>
                    <a:pt x="8" y="69"/>
                  </a:lnTo>
                  <a:lnTo>
                    <a:pt x="7" y="67"/>
                  </a:lnTo>
                  <a:lnTo>
                    <a:pt x="7" y="65"/>
                  </a:lnTo>
                  <a:lnTo>
                    <a:pt x="7" y="64"/>
                  </a:lnTo>
                  <a:lnTo>
                    <a:pt x="6" y="63"/>
                  </a:lnTo>
                  <a:lnTo>
                    <a:pt x="6" y="62"/>
                  </a:lnTo>
                  <a:lnTo>
                    <a:pt x="5" y="61"/>
                  </a:lnTo>
                  <a:lnTo>
                    <a:pt x="4" y="60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5" y="58"/>
                  </a:lnTo>
                  <a:lnTo>
                    <a:pt x="6" y="58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12" y="57"/>
                  </a:lnTo>
                  <a:lnTo>
                    <a:pt x="14" y="57"/>
                  </a:lnTo>
                  <a:lnTo>
                    <a:pt x="16" y="57"/>
                  </a:lnTo>
                  <a:lnTo>
                    <a:pt x="18" y="57"/>
                  </a:lnTo>
                  <a:lnTo>
                    <a:pt x="19" y="57"/>
                  </a:lnTo>
                  <a:lnTo>
                    <a:pt x="21" y="57"/>
                  </a:lnTo>
                  <a:lnTo>
                    <a:pt x="22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4" y="59"/>
                  </a:lnTo>
                  <a:lnTo>
                    <a:pt x="25" y="59"/>
                  </a:lnTo>
                  <a:lnTo>
                    <a:pt x="26" y="60"/>
                  </a:lnTo>
                  <a:lnTo>
                    <a:pt x="27" y="61"/>
                  </a:lnTo>
                  <a:lnTo>
                    <a:pt x="28" y="63"/>
                  </a:lnTo>
                  <a:lnTo>
                    <a:pt x="28" y="64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6"/>
                  </a:lnTo>
                  <a:lnTo>
                    <a:pt x="30" y="70"/>
                  </a:lnTo>
                  <a:lnTo>
                    <a:pt x="30" y="71"/>
                  </a:lnTo>
                  <a:lnTo>
                    <a:pt x="31" y="74"/>
                  </a:lnTo>
                  <a:lnTo>
                    <a:pt x="31" y="75"/>
                  </a:lnTo>
                  <a:lnTo>
                    <a:pt x="32" y="76"/>
                  </a:lnTo>
                  <a:lnTo>
                    <a:pt x="32" y="77"/>
                  </a:lnTo>
                  <a:lnTo>
                    <a:pt x="33" y="78"/>
                  </a:lnTo>
                  <a:lnTo>
                    <a:pt x="33" y="79"/>
                  </a:lnTo>
                  <a:lnTo>
                    <a:pt x="34" y="79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6" y="80"/>
                  </a:lnTo>
                  <a:lnTo>
                    <a:pt x="37" y="81"/>
                  </a:lnTo>
                  <a:lnTo>
                    <a:pt x="42" y="83"/>
                  </a:lnTo>
                  <a:lnTo>
                    <a:pt x="43" y="83"/>
                  </a:lnTo>
                  <a:lnTo>
                    <a:pt x="44" y="83"/>
                  </a:lnTo>
                  <a:lnTo>
                    <a:pt x="45" y="84"/>
                  </a:lnTo>
                  <a:lnTo>
                    <a:pt x="45" y="85"/>
                  </a:lnTo>
                  <a:lnTo>
                    <a:pt x="46" y="85"/>
                  </a:lnTo>
                  <a:lnTo>
                    <a:pt x="46" y="86"/>
                  </a:lnTo>
                  <a:lnTo>
                    <a:pt x="47" y="87"/>
                  </a:lnTo>
                  <a:lnTo>
                    <a:pt x="47" y="87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7" y="89"/>
                  </a:lnTo>
                  <a:lnTo>
                    <a:pt x="46" y="89"/>
                  </a:lnTo>
                  <a:lnTo>
                    <a:pt x="46" y="89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4" y="90"/>
                  </a:lnTo>
                  <a:lnTo>
                    <a:pt x="44" y="91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3"/>
                  </a:lnTo>
                  <a:lnTo>
                    <a:pt x="44" y="94"/>
                  </a:lnTo>
                  <a:lnTo>
                    <a:pt x="45" y="94"/>
                  </a:lnTo>
                  <a:lnTo>
                    <a:pt x="45" y="95"/>
                  </a:lnTo>
                  <a:lnTo>
                    <a:pt x="46" y="96"/>
                  </a:lnTo>
                  <a:lnTo>
                    <a:pt x="47" y="97"/>
                  </a:lnTo>
                  <a:lnTo>
                    <a:pt x="48" y="98"/>
                  </a:lnTo>
                  <a:lnTo>
                    <a:pt x="51" y="100"/>
                  </a:lnTo>
                  <a:lnTo>
                    <a:pt x="51" y="101"/>
                  </a:lnTo>
                  <a:lnTo>
                    <a:pt x="52" y="102"/>
                  </a:lnTo>
                  <a:lnTo>
                    <a:pt x="53" y="103"/>
                  </a:lnTo>
                  <a:lnTo>
                    <a:pt x="54" y="104"/>
                  </a:lnTo>
                  <a:lnTo>
                    <a:pt x="54" y="105"/>
                  </a:lnTo>
                  <a:lnTo>
                    <a:pt x="54" y="105"/>
                  </a:lnTo>
                  <a:lnTo>
                    <a:pt x="54" y="106"/>
                  </a:lnTo>
                  <a:lnTo>
                    <a:pt x="54" y="107"/>
                  </a:lnTo>
                  <a:lnTo>
                    <a:pt x="54" y="109"/>
                  </a:lnTo>
                  <a:lnTo>
                    <a:pt x="54" y="112"/>
                  </a:lnTo>
                  <a:lnTo>
                    <a:pt x="53" y="113"/>
                  </a:lnTo>
                  <a:lnTo>
                    <a:pt x="53" y="115"/>
                  </a:lnTo>
                  <a:lnTo>
                    <a:pt x="53" y="116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8"/>
                  </a:lnTo>
                  <a:lnTo>
                    <a:pt x="53" y="119"/>
                  </a:lnTo>
                  <a:lnTo>
                    <a:pt x="54" y="121"/>
                  </a:lnTo>
                  <a:lnTo>
                    <a:pt x="55" y="122"/>
                  </a:lnTo>
                  <a:lnTo>
                    <a:pt x="56" y="123"/>
                  </a:lnTo>
                  <a:lnTo>
                    <a:pt x="56" y="124"/>
                  </a:lnTo>
                  <a:lnTo>
                    <a:pt x="57" y="125"/>
                  </a:lnTo>
                  <a:lnTo>
                    <a:pt x="57" y="125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6"/>
                  </a:lnTo>
                  <a:lnTo>
                    <a:pt x="60" y="127"/>
                  </a:lnTo>
                  <a:lnTo>
                    <a:pt x="61" y="127"/>
                  </a:lnTo>
                  <a:lnTo>
                    <a:pt x="62" y="127"/>
                  </a:lnTo>
                  <a:lnTo>
                    <a:pt x="63" y="127"/>
                  </a:lnTo>
                  <a:lnTo>
                    <a:pt x="64" y="128"/>
                  </a:lnTo>
                  <a:lnTo>
                    <a:pt x="64" y="127"/>
                  </a:lnTo>
                  <a:lnTo>
                    <a:pt x="65" y="127"/>
                  </a:lnTo>
                  <a:lnTo>
                    <a:pt x="65" y="127"/>
                  </a:lnTo>
                  <a:lnTo>
                    <a:pt x="66" y="127"/>
                  </a:lnTo>
                  <a:lnTo>
                    <a:pt x="66" y="127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7" y="123"/>
                  </a:lnTo>
                  <a:lnTo>
                    <a:pt x="67" y="121"/>
                  </a:lnTo>
                  <a:lnTo>
                    <a:pt x="67" y="120"/>
                  </a:lnTo>
                  <a:lnTo>
                    <a:pt x="67" y="119"/>
                  </a:lnTo>
                  <a:lnTo>
                    <a:pt x="67" y="118"/>
                  </a:lnTo>
                  <a:lnTo>
                    <a:pt x="67" y="116"/>
                  </a:lnTo>
                  <a:lnTo>
                    <a:pt x="67" y="114"/>
                  </a:lnTo>
                  <a:lnTo>
                    <a:pt x="67" y="113"/>
                  </a:lnTo>
                  <a:lnTo>
                    <a:pt x="67" y="112"/>
                  </a:lnTo>
                  <a:lnTo>
                    <a:pt x="67" y="110"/>
                  </a:lnTo>
                  <a:lnTo>
                    <a:pt x="67" y="109"/>
                  </a:lnTo>
                  <a:lnTo>
                    <a:pt x="67" y="105"/>
                  </a:lnTo>
                  <a:lnTo>
                    <a:pt x="68" y="102"/>
                  </a:lnTo>
                  <a:lnTo>
                    <a:pt x="68" y="101"/>
                  </a:lnTo>
                  <a:lnTo>
                    <a:pt x="68" y="100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8"/>
                  </a:lnTo>
                  <a:lnTo>
                    <a:pt x="70" y="98"/>
                  </a:lnTo>
                  <a:lnTo>
                    <a:pt x="70" y="98"/>
                  </a:lnTo>
                  <a:lnTo>
                    <a:pt x="70" y="97"/>
                  </a:lnTo>
                  <a:lnTo>
                    <a:pt x="72" y="97"/>
                  </a:lnTo>
                  <a:lnTo>
                    <a:pt x="73" y="97"/>
                  </a:lnTo>
                  <a:lnTo>
                    <a:pt x="73" y="96"/>
                  </a:lnTo>
                  <a:lnTo>
                    <a:pt x="73" y="96"/>
                  </a:lnTo>
                  <a:lnTo>
                    <a:pt x="74" y="96"/>
                  </a:lnTo>
                  <a:lnTo>
                    <a:pt x="74" y="95"/>
                  </a:lnTo>
                  <a:lnTo>
                    <a:pt x="74" y="94"/>
                  </a:lnTo>
                  <a:lnTo>
                    <a:pt x="74" y="94"/>
                  </a:lnTo>
                  <a:lnTo>
                    <a:pt x="75" y="93"/>
                  </a:lnTo>
                  <a:lnTo>
                    <a:pt x="75" y="91"/>
                  </a:lnTo>
                  <a:lnTo>
                    <a:pt x="75" y="90"/>
                  </a:lnTo>
                  <a:lnTo>
                    <a:pt x="75" y="89"/>
                  </a:lnTo>
                  <a:lnTo>
                    <a:pt x="76" y="87"/>
                  </a:lnTo>
                  <a:lnTo>
                    <a:pt x="76" y="86"/>
                  </a:lnTo>
                  <a:lnTo>
                    <a:pt x="77" y="84"/>
                  </a:lnTo>
                  <a:lnTo>
                    <a:pt x="78" y="82"/>
                  </a:lnTo>
                  <a:lnTo>
                    <a:pt x="78" y="81"/>
                  </a:lnTo>
                  <a:lnTo>
                    <a:pt x="79" y="80"/>
                  </a:lnTo>
                  <a:lnTo>
                    <a:pt x="80" y="79"/>
                  </a:lnTo>
                  <a:lnTo>
                    <a:pt x="81" y="78"/>
                  </a:lnTo>
                  <a:lnTo>
                    <a:pt x="82" y="76"/>
                  </a:lnTo>
                  <a:lnTo>
                    <a:pt x="86" y="73"/>
                  </a:lnTo>
                  <a:lnTo>
                    <a:pt x="86" y="72"/>
                  </a:lnTo>
                  <a:lnTo>
                    <a:pt x="87" y="71"/>
                  </a:lnTo>
                  <a:lnTo>
                    <a:pt x="88" y="70"/>
                  </a:lnTo>
                  <a:lnTo>
                    <a:pt x="88" y="69"/>
                  </a:lnTo>
                  <a:lnTo>
                    <a:pt x="89" y="68"/>
                  </a:lnTo>
                  <a:lnTo>
                    <a:pt x="90" y="65"/>
                  </a:lnTo>
                  <a:lnTo>
                    <a:pt x="91" y="63"/>
                  </a:lnTo>
                  <a:lnTo>
                    <a:pt x="91" y="62"/>
                  </a:lnTo>
                  <a:lnTo>
                    <a:pt x="91" y="62"/>
                  </a:lnTo>
                  <a:lnTo>
                    <a:pt x="91" y="61"/>
                  </a:lnTo>
                  <a:lnTo>
                    <a:pt x="92" y="61"/>
                  </a:lnTo>
                  <a:lnTo>
                    <a:pt x="93" y="60"/>
                  </a:lnTo>
                  <a:lnTo>
                    <a:pt x="94" y="60"/>
                  </a:lnTo>
                  <a:lnTo>
                    <a:pt x="94" y="59"/>
                  </a:lnTo>
                  <a:lnTo>
                    <a:pt x="97" y="58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9" y="56"/>
                  </a:lnTo>
                  <a:lnTo>
                    <a:pt x="100" y="55"/>
                  </a:lnTo>
                  <a:lnTo>
                    <a:pt x="102" y="53"/>
                  </a:lnTo>
                  <a:lnTo>
                    <a:pt x="103" y="51"/>
                  </a:lnTo>
                  <a:lnTo>
                    <a:pt x="105" y="50"/>
                  </a:lnTo>
                  <a:lnTo>
                    <a:pt x="106" y="49"/>
                  </a:lnTo>
                  <a:lnTo>
                    <a:pt x="108" y="48"/>
                  </a:lnTo>
                  <a:lnTo>
                    <a:pt x="109" y="47"/>
                  </a:lnTo>
                  <a:lnTo>
                    <a:pt x="110" y="47"/>
                  </a:lnTo>
                  <a:lnTo>
                    <a:pt x="112" y="46"/>
                  </a:lnTo>
                  <a:lnTo>
                    <a:pt x="113" y="46"/>
                  </a:lnTo>
                  <a:lnTo>
                    <a:pt x="114" y="46"/>
                  </a:lnTo>
                  <a:lnTo>
                    <a:pt x="114" y="46"/>
                  </a:lnTo>
                  <a:lnTo>
                    <a:pt x="115" y="45"/>
                  </a:lnTo>
                  <a:lnTo>
                    <a:pt x="115" y="45"/>
                  </a:lnTo>
                  <a:lnTo>
                    <a:pt x="115" y="44"/>
                  </a:lnTo>
                  <a:lnTo>
                    <a:pt x="116" y="43"/>
                  </a:lnTo>
                  <a:lnTo>
                    <a:pt x="116" y="42"/>
                  </a:lnTo>
                  <a:lnTo>
                    <a:pt x="117" y="39"/>
                  </a:lnTo>
                  <a:lnTo>
                    <a:pt x="118" y="38"/>
                  </a:lnTo>
                  <a:lnTo>
                    <a:pt x="118" y="37"/>
                  </a:lnTo>
                  <a:lnTo>
                    <a:pt x="119" y="35"/>
                  </a:lnTo>
                  <a:lnTo>
                    <a:pt x="120" y="33"/>
                  </a:lnTo>
                  <a:lnTo>
                    <a:pt x="121" y="31"/>
                  </a:lnTo>
                  <a:lnTo>
                    <a:pt x="122" y="31"/>
                  </a:lnTo>
                  <a:lnTo>
                    <a:pt x="123" y="30"/>
                  </a:lnTo>
                  <a:lnTo>
                    <a:pt x="123" y="29"/>
                  </a:lnTo>
                  <a:lnTo>
                    <a:pt x="124" y="29"/>
                  </a:lnTo>
                  <a:lnTo>
                    <a:pt x="125" y="28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8" y="26"/>
                  </a:lnTo>
                  <a:lnTo>
                    <a:pt x="130" y="26"/>
                  </a:lnTo>
                  <a:lnTo>
                    <a:pt x="133" y="25"/>
                  </a:lnTo>
                  <a:lnTo>
                    <a:pt x="137" y="24"/>
                  </a:lnTo>
                  <a:lnTo>
                    <a:pt x="139" y="24"/>
                  </a:lnTo>
                  <a:lnTo>
                    <a:pt x="145" y="22"/>
                  </a:lnTo>
                  <a:lnTo>
                    <a:pt x="150" y="21"/>
                  </a:lnTo>
                  <a:lnTo>
                    <a:pt x="154" y="20"/>
                  </a:lnTo>
                  <a:lnTo>
                    <a:pt x="155" y="20"/>
                  </a:lnTo>
                  <a:lnTo>
                    <a:pt x="156" y="20"/>
                  </a:lnTo>
                  <a:lnTo>
                    <a:pt x="157" y="20"/>
                  </a:lnTo>
                  <a:lnTo>
                    <a:pt x="159" y="20"/>
                  </a:lnTo>
                  <a:lnTo>
                    <a:pt x="160" y="20"/>
                  </a:lnTo>
                  <a:lnTo>
                    <a:pt x="164" y="20"/>
                  </a:lnTo>
                  <a:lnTo>
                    <a:pt x="169" y="20"/>
                  </a:lnTo>
                  <a:lnTo>
                    <a:pt x="171" y="21"/>
                  </a:lnTo>
                  <a:lnTo>
                    <a:pt x="172" y="21"/>
                  </a:lnTo>
                  <a:lnTo>
                    <a:pt x="173" y="21"/>
                  </a:lnTo>
                  <a:lnTo>
                    <a:pt x="174" y="22"/>
                  </a:lnTo>
                  <a:lnTo>
                    <a:pt x="177" y="23"/>
                  </a:lnTo>
                  <a:lnTo>
                    <a:pt x="178" y="24"/>
                  </a:lnTo>
                  <a:lnTo>
                    <a:pt x="179" y="24"/>
                  </a:lnTo>
                  <a:lnTo>
                    <a:pt x="179" y="24"/>
                  </a:lnTo>
                  <a:lnTo>
                    <a:pt x="180" y="24"/>
                  </a:lnTo>
                  <a:lnTo>
                    <a:pt x="181" y="24"/>
                  </a:lnTo>
                  <a:lnTo>
                    <a:pt x="181" y="24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90" y="15"/>
                  </a:lnTo>
                  <a:lnTo>
                    <a:pt x="191" y="14"/>
                  </a:lnTo>
                  <a:lnTo>
                    <a:pt x="192" y="13"/>
                  </a:lnTo>
                  <a:lnTo>
                    <a:pt x="192" y="12"/>
                  </a:lnTo>
                  <a:lnTo>
                    <a:pt x="194" y="12"/>
                  </a:lnTo>
                  <a:lnTo>
                    <a:pt x="195" y="11"/>
                  </a:lnTo>
                  <a:lnTo>
                    <a:pt x="197" y="10"/>
                  </a:lnTo>
                  <a:lnTo>
                    <a:pt x="199" y="9"/>
                  </a:lnTo>
                  <a:lnTo>
                    <a:pt x="201" y="8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5" y="7"/>
                  </a:lnTo>
                  <a:lnTo>
                    <a:pt x="206" y="7"/>
                  </a:lnTo>
                  <a:lnTo>
                    <a:pt x="207" y="7"/>
                  </a:lnTo>
                  <a:lnTo>
                    <a:pt x="207" y="7"/>
                  </a:lnTo>
                  <a:lnTo>
                    <a:pt x="207" y="7"/>
                  </a:lnTo>
                  <a:lnTo>
                    <a:pt x="208" y="7"/>
                  </a:lnTo>
                  <a:lnTo>
                    <a:pt x="210" y="8"/>
                  </a:lnTo>
                  <a:lnTo>
                    <a:pt x="211" y="8"/>
                  </a:lnTo>
                  <a:lnTo>
                    <a:pt x="211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3" y="7"/>
                  </a:lnTo>
                  <a:lnTo>
                    <a:pt x="213" y="7"/>
                  </a:lnTo>
                  <a:lnTo>
                    <a:pt x="213" y="7"/>
                  </a:lnTo>
                  <a:lnTo>
                    <a:pt x="215" y="3"/>
                  </a:lnTo>
                  <a:lnTo>
                    <a:pt x="216" y="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CCCCCC"/>
            </a:solidFill>
            <a:ln w="63500">
              <a:solidFill>
                <a:srgbClr val="CCCCC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Freeform 18">
              <a:extLst>
                <a:ext uri="{FF2B5EF4-FFF2-40B4-BE49-F238E27FC236}">
                  <a16:creationId xmlns:a16="http://schemas.microsoft.com/office/drawing/2014/main" id="{89393697-C0A3-8EA4-E70A-B343AD7370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2866"/>
              <a:ext cx="504" cy="447"/>
            </a:xfrm>
            <a:custGeom>
              <a:avLst/>
              <a:gdLst>
                <a:gd name="T0" fmla="*/ 434 w 504"/>
                <a:gd name="T1" fmla="*/ 15 h 447"/>
                <a:gd name="T2" fmla="*/ 459 w 504"/>
                <a:gd name="T3" fmla="*/ 8 h 447"/>
                <a:gd name="T4" fmla="*/ 472 w 504"/>
                <a:gd name="T5" fmla="*/ 21 h 447"/>
                <a:gd name="T6" fmla="*/ 486 w 504"/>
                <a:gd name="T7" fmla="*/ 47 h 447"/>
                <a:gd name="T8" fmla="*/ 489 w 504"/>
                <a:gd name="T9" fmla="*/ 63 h 447"/>
                <a:gd name="T10" fmla="*/ 497 w 504"/>
                <a:gd name="T11" fmla="*/ 84 h 447"/>
                <a:gd name="T12" fmla="*/ 479 w 504"/>
                <a:gd name="T13" fmla="*/ 108 h 447"/>
                <a:gd name="T14" fmla="*/ 458 w 504"/>
                <a:gd name="T15" fmla="*/ 114 h 447"/>
                <a:gd name="T16" fmla="*/ 445 w 504"/>
                <a:gd name="T17" fmla="*/ 127 h 447"/>
                <a:gd name="T18" fmla="*/ 436 w 504"/>
                <a:gd name="T19" fmla="*/ 148 h 447"/>
                <a:gd name="T20" fmla="*/ 417 w 504"/>
                <a:gd name="T21" fmla="*/ 176 h 447"/>
                <a:gd name="T22" fmla="*/ 425 w 504"/>
                <a:gd name="T23" fmla="*/ 209 h 447"/>
                <a:gd name="T24" fmla="*/ 450 w 504"/>
                <a:gd name="T25" fmla="*/ 247 h 447"/>
                <a:gd name="T26" fmla="*/ 449 w 504"/>
                <a:gd name="T27" fmla="*/ 259 h 447"/>
                <a:gd name="T28" fmla="*/ 445 w 504"/>
                <a:gd name="T29" fmla="*/ 280 h 447"/>
                <a:gd name="T30" fmla="*/ 423 w 504"/>
                <a:gd name="T31" fmla="*/ 289 h 447"/>
                <a:gd name="T32" fmla="*/ 422 w 504"/>
                <a:gd name="T33" fmla="*/ 308 h 447"/>
                <a:gd name="T34" fmla="*/ 407 w 504"/>
                <a:gd name="T35" fmla="*/ 324 h 447"/>
                <a:gd name="T36" fmla="*/ 370 w 504"/>
                <a:gd name="T37" fmla="*/ 331 h 447"/>
                <a:gd name="T38" fmla="*/ 322 w 504"/>
                <a:gd name="T39" fmla="*/ 328 h 447"/>
                <a:gd name="T40" fmla="*/ 307 w 504"/>
                <a:gd name="T41" fmla="*/ 343 h 447"/>
                <a:gd name="T42" fmla="*/ 292 w 504"/>
                <a:gd name="T43" fmla="*/ 355 h 447"/>
                <a:gd name="T44" fmla="*/ 267 w 504"/>
                <a:gd name="T45" fmla="*/ 371 h 447"/>
                <a:gd name="T46" fmla="*/ 249 w 504"/>
                <a:gd name="T47" fmla="*/ 370 h 447"/>
                <a:gd name="T48" fmla="*/ 218 w 504"/>
                <a:gd name="T49" fmla="*/ 381 h 447"/>
                <a:gd name="T50" fmla="*/ 194 w 504"/>
                <a:gd name="T51" fmla="*/ 393 h 447"/>
                <a:gd name="T52" fmla="*/ 164 w 504"/>
                <a:gd name="T53" fmla="*/ 405 h 447"/>
                <a:gd name="T54" fmla="*/ 155 w 504"/>
                <a:gd name="T55" fmla="*/ 424 h 447"/>
                <a:gd name="T56" fmla="*/ 137 w 504"/>
                <a:gd name="T57" fmla="*/ 437 h 447"/>
                <a:gd name="T58" fmla="*/ 122 w 504"/>
                <a:gd name="T59" fmla="*/ 446 h 447"/>
                <a:gd name="T60" fmla="*/ 109 w 504"/>
                <a:gd name="T61" fmla="*/ 440 h 447"/>
                <a:gd name="T62" fmla="*/ 101 w 504"/>
                <a:gd name="T63" fmla="*/ 437 h 447"/>
                <a:gd name="T64" fmla="*/ 83 w 504"/>
                <a:gd name="T65" fmla="*/ 421 h 447"/>
                <a:gd name="T66" fmla="*/ 95 w 504"/>
                <a:gd name="T67" fmla="*/ 416 h 447"/>
                <a:gd name="T68" fmla="*/ 87 w 504"/>
                <a:gd name="T69" fmla="*/ 386 h 447"/>
                <a:gd name="T70" fmla="*/ 82 w 504"/>
                <a:gd name="T71" fmla="*/ 365 h 447"/>
                <a:gd name="T72" fmla="*/ 83 w 504"/>
                <a:gd name="T73" fmla="*/ 331 h 447"/>
                <a:gd name="T74" fmla="*/ 65 w 504"/>
                <a:gd name="T75" fmla="*/ 318 h 447"/>
                <a:gd name="T76" fmla="*/ 45 w 504"/>
                <a:gd name="T77" fmla="*/ 315 h 447"/>
                <a:gd name="T78" fmla="*/ 25 w 504"/>
                <a:gd name="T79" fmla="*/ 301 h 447"/>
                <a:gd name="T80" fmla="*/ 8 w 504"/>
                <a:gd name="T81" fmla="*/ 287 h 447"/>
                <a:gd name="T82" fmla="*/ 26 w 504"/>
                <a:gd name="T83" fmla="*/ 249 h 447"/>
                <a:gd name="T84" fmla="*/ 54 w 504"/>
                <a:gd name="T85" fmla="*/ 245 h 447"/>
                <a:gd name="T86" fmla="*/ 78 w 504"/>
                <a:gd name="T87" fmla="*/ 240 h 447"/>
                <a:gd name="T88" fmla="*/ 94 w 504"/>
                <a:gd name="T89" fmla="*/ 210 h 447"/>
                <a:gd name="T90" fmla="*/ 111 w 504"/>
                <a:gd name="T91" fmla="*/ 211 h 447"/>
                <a:gd name="T92" fmla="*/ 129 w 504"/>
                <a:gd name="T93" fmla="*/ 186 h 447"/>
                <a:gd name="T94" fmla="*/ 151 w 504"/>
                <a:gd name="T95" fmla="*/ 203 h 447"/>
                <a:gd name="T96" fmla="*/ 171 w 504"/>
                <a:gd name="T97" fmla="*/ 182 h 447"/>
                <a:gd name="T98" fmla="*/ 178 w 504"/>
                <a:gd name="T99" fmla="*/ 158 h 447"/>
                <a:gd name="T100" fmla="*/ 209 w 504"/>
                <a:gd name="T101" fmla="*/ 149 h 447"/>
                <a:gd name="T102" fmla="*/ 232 w 504"/>
                <a:gd name="T103" fmla="*/ 149 h 447"/>
                <a:gd name="T104" fmla="*/ 270 w 504"/>
                <a:gd name="T105" fmla="*/ 148 h 447"/>
                <a:gd name="T106" fmla="*/ 283 w 504"/>
                <a:gd name="T107" fmla="*/ 126 h 447"/>
                <a:gd name="T108" fmla="*/ 308 w 504"/>
                <a:gd name="T109" fmla="*/ 110 h 447"/>
                <a:gd name="T110" fmla="*/ 345 w 504"/>
                <a:gd name="T111" fmla="*/ 104 h 447"/>
                <a:gd name="T112" fmla="*/ 388 w 504"/>
                <a:gd name="T113" fmla="*/ 77 h 447"/>
                <a:gd name="T114" fmla="*/ 423 w 504"/>
                <a:gd name="T115" fmla="*/ 72 h 447"/>
                <a:gd name="T116" fmla="*/ 426 w 504"/>
                <a:gd name="T117" fmla="*/ 54 h 447"/>
                <a:gd name="T118" fmla="*/ 408 w 504"/>
                <a:gd name="T119" fmla="*/ 37 h 447"/>
                <a:gd name="T120" fmla="*/ 393 w 504"/>
                <a:gd name="T121" fmla="*/ 30 h 447"/>
                <a:gd name="T122" fmla="*/ 402 w 504"/>
                <a:gd name="T123" fmla="*/ 1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4" h="447">
                  <a:moveTo>
                    <a:pt x="404" y="0"/>
                  </a:moveTo>
                  <a:lnTo>
                    <a:pt x="405" y="0"/>
                  </a:lnTo>
                  <a:lnTo>
                    <a:pt x="405" y="0"/>
                  </a:lnTo>
                  <a:lnTo>
                    <a:pt x="406" y="1"/>
                  </a:lnTo>
                  <a:lnTo>
                    <a:pt x="410" y="3"/>
                  </a:lnTo>
                  <a:lnTo>
                    <a:pt x="411" y="4"/>
                  </a:lnTo>
                  <a:lnTo>
                    <a:pt x="413" y="5"/>
                  </a:lnTo>
                  <a:lnTo>
                    <a:pt x="414" y="5"/>
                  </a:lnTo>
                  <a:lnTo>
                    <a:pt x="415" y="5"/>
                  </a:lnTo>
                  <a:lnTo>
                    <a:pt x="419" y="6"/>
                  </a:lnTo>
                  <a:lnTo>
                    <a:pt x="420" y="6"/>
                  </a:lnTo>
                  <a:lnTo>
                    <a:pt x="421" y="7"/>
                  </a:lnTo>
                  <a:lnTo>
                    <a:pt x="422" y="7"/>
                  </a:lnTo>
                  <a:lnTo>
                    <a:pt x="423" y="8"/>
                  </a:lnTo>
                  <a:lnTo>
                    <a:pt x="425" y="9"/>
                  </a:lnTo>
                  <a:lnTo>
                    <a:pt x="426" y="10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0" y="13"/>
                  </a:lnTo>
                  <a:lnTo>
                    <a:pt x="431" y="14"/>
                  </a:lnTo>
                  <a:lnTo>
                    <a:pt x="432" y="14"/>
                  </a:lnTo>
                  <a:lnTo>
                    <a:pt x="433" y="15"/>
                  </a:lnTo>
                  <a:lnTo>
                    <a:pt x="434" y="15"/>
                  </a:lnTo>
                  <a:lnTo>
                    <a:pt x="435" y="15"/>
                  </a:lnTo>
                  <a:lnTo>
                    <a:pt x="436" y="15"/>
                  </a:lnTo>
                  <a:lnTo>
                    <a:pt x="437" y="15"/>
                  </a:lnTo>
                  <a:lnTo>
                    <a:pt x="438" y="14"/>
                  </a:lnTo>
                  <a:lnTo>
                    <a:pt x="439" y="14"/>
                  </a:lnTo>
                  <a:lnTo>
                    <a:pt x="440" y="14"/>
                  </a:lnTo>
                  <a:lnTo>
                    <a:pt x="444" y="12"/>
                  </a:lnTo>
                  <a:lnTo>
                    <a:pt x="445" y="12"/>
                  </a:lnTo>
                  <a:lnTo>
                    <a:pt x="447" y="11"/>
                  </a:lnTo>
                  <a:lnTo>
                    <a:pt x="448" y="11"/>
                  </a:lnTo>
                  <a:lnTo>
                    <a:pt x="449" y="11"/>
                  </a:lnTo>
                  <a:lnTo>
                    <a:pt x="450" y="11"/>
                  </a:lnTo>
                  <a:lnTo>
                    <a:pt x="451" y="11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5" y="12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8" y="10"/>
                  </a:lnTo>
                  <a:lnTo>
                    <a:pt x="459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2" y="9"/>
                  </a:lnTo>
                  <a:lnTo>
                    <a:pt x="462" y="9"/>
                  </a:lnTo>
                  <a:lnTo>
                    <a:pt x="462" y="11"/>
                  </a:lnTo>
                  <a:lnTo>
                    <a:pt x="462" y="12"/>
                  </a:lnTo>
                  <a:lnTo>
                    <a:pt x="462" y="12"/>
                  </a:lnTo>
                  <a:lnTo>
                    <a:pt x="463" y="13"/>
                  </a:lnTo>
                  <a:lnTo>
                    <a:pt x="463" y="14"/>
                  </a:lnTo>
                  <a:lnTo>
                    <a:pt x="464" y="14"/>
                  </a:lnTo>
                  <a:lnTo>
                    <a:pt x="464" y="15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9" y="18"/>
                  </a:lnTo>
                  <a:lnTo>
                    <a:pt x="470" y="19"/>
                  </a:lnTo>
                  <a:lnTo>
                    <a:pt x="471" y="21"/>
                  </a:lnTo>
                  <a:lnTo>
                    <a:pt x="472" y="21"/>
                  </a:lnTo>
                  <a:lnTo>
                    <a:pt x="473" y="22"/>
                  </a:lnTo>
                  <a:lnTo>
                    <a:pt x="474" y="22"/>
                  </a:lnTo>
                  <a:lnTo>
                    <a:pt x="475" y="22"/>
                  </a:lnTo>
                  <a:lnTo>
                    <a:pt x="478" y="23"/>
                  </a:lnTo>
                  <a:lnTo>
                    <a:pt x="478" y="23"/>
                  </a:lnTo>
                  <a:lnTo>
                    <a:pt x="479" y="24"/>
                  </a:lnTo>
                  <a:lnTo>
                    <a:pt x="480" y="24"/>
                  </a:lnTo>
                  <a:lnTo>
                    <a:pt x="481" y="25"/>
                  </a:lnTo>
                  <a:lnTo>
                    <a:pt x="482" y="26"/>
                  </a:lnTo>
                  <a:lnTo>
                    <a:pt x="483" y="26"/>
                  </a:lnTo>
                  <a:lnTo>
                    <a:pt x="484" y="28"/>
                  </a:lnTo>
                  <a:lnTo>
                    <a:pt x="486" y="30"/>
                  </a:lnTo>
                  <a:lnTo>
                    <a:pt x="487" y="31"/>
                  </a:lnTo>
                  <a:lnTo>
                    <a:pt x="487" y="32"/>
                  </a:lnTo>
                  <a:lnTo>
                    <a:pt x="488" y="34"/>
                  </a:lnTo>
                  <a:lnTo>
                    <a:pt x="488" y="35"/>
                  </a:lnTo>
                  <a:lnTo>
                    <a:pt x="488" y="36"/>
                  </a:lnTo>
                  <a:lnTo>
                    <a:pt x="488" y="38"/>
                  </a:lnTo>
                  <a:lnTo>
                    <a:pt x="488" y="39"/>
                  </a:lnTo>
                  <a:lnTo>
                    <a:pt x="488" y="41"/>
                  </a:lnTo>
                  <a:lnTo>
                    <a:pt x="487" y="43"/>
                  </a:lnTo>
                  <a:lnTo>
                    <a:pt x="487" y="45"/>
                  </a:lnTo>
                  <a:lnTo>
                    <a:pt x="486" y="47"/>
                  </a:lnTo>
                  <a:lnTo>
                    <a:pt x="485" y="50"/>
                  </a:lnTo>
                  <a:lnTo>
                    <a:pt x="484" y="51"/>
                  </a:lnTo>
                  <a:lnTo>
                    <a:pt x="482" y="55"/>
                  </a:lnTo>
                  <a:lnTo>
                    <a:pt x="482" y="56"/>
                  </a:lnTo>
                  <a:lnTo>
                    <a:pt x="481" y="57"/>
                  </a:lnTo>
                  <a:lnTo>
                    <a:pt x="481" y="57"/>
                  </a:lnTo>
                  <a:lnTo>
                    <a:pt x="481" y="59"/>
                  </a:lnTo>
                  <a:lnTo>
                    <a:pt x="481" y="59"/>
                  </a:lnTo>
                  <a:lnTo>
                    <a:pt x="481" y="60"/>
                  </a:lnTo>
                  <a:lnTo>
                    <a:pt x="481" y="60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4" y="63"/>
                  </a:lnTo>
                  <a:lnTo>
                    <a:pt x="485" y="64"/>
                  </a:lnTo>
                  <a:lnTo>
                    <a:pt x="485" y="64"/>
                  </a:lnTo>
                  <a:lnTo>
                    <a:pt x="486" y="64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2"/>
                  </a:lnTo>
                  <a:lnTo>
                    <a:pt x="495" y="61"/>
                  </a:lnTo>
                  <a:lnTo>
                    <a:pt x="497" y="61"/>
                  </a:lnTo>
                  <a:lnTo>
                    <a:pt x="498" y="60"/>
                  </a:lnTo>
                  <a:lnTo>
                    <a:pt x="499" y="60"/>
                  </a:lnTo>
                  <a:lnTo>
                    <a:pt x="500" y="60"/>
                  </a:lnTo>
                  <a:lnTo>
                    <a:pt x="501" y="60"/>
                  </a:lnTo>
                  <a:lnTo>
                    <a:pt x="501" y="60"/>
                  </a:lnTo>
                  <a:lnTo>
                    <a:pt x="502" y="60"/>
                  </a:lnTo>
                  <a:lnTo>
                    <a:pt x="502" y="61"/>
                  </a:lnTo>
                  <a:lnTo>
                    <a:pt x="503" y="61"/>
                  </a:lnTo>
                  <a:lnTo>
                    <a:pt x="503" y="62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4"/>
                  </a:lnTo>
                  <a:lnTo>
                    <a:pt x="504" y="65"/>
                  </a:lnTo>
                  <a:lnTo>
                    <a:pt x="504" y="66"/>
                  </a:lnTo>
                  <a:lnTo>
                    <a:pt x="504" y="68"/>
                  </a:lnTo>
                  <a:lnTo>
                    <a:pt x="504" y="69"/>
                  </a:lnTo>
                  <a:lnTo>
                    <a:pt x="503" y="70"/>
                  </a:lnTo>
                  <a:lnTo>
                    <a:pt x="502" y="73"/>
                  </a:lnTo>
                  <a:lnTo>
                    <a:pt x="501" y="75"/>
                  </a:lnTo>
                  <a:lnTo>
                    <a:pt x="497" y="84"/>
                  </a:lnTo>
                  <a:lnTo>
                    <a:pt x="495" y="90"/>
                  </a:lnTo>
                  <a:lnTo>
                    <a:pt x="495" y="91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4" y="93"/>
                  </a:lnTo>
                  <a:lnTo>
                    <a:pt x="494" y="93"/>
                  </a:lnTo>
                  <a:lnTo>
                    <a:pt x="493" y="95"/>
                  </a:lnTo>
                  <a:lnTo>
                    <a:pt x="491" y="96"/>
                  </a:lnTo>
                  <a:lnTo>
                    <a:pt x="490" y="97"/>
                  </a:lnTo>
                  <a:lnTo>
                    <a:pt x="489" y="98"/>
                  </a:lnTo>
                  <a:lnTo>
                    <a:pt x="487" y="99"/>
                  </a:lnTo>
                  <a:lnTo>
                    <a:pt x="485" y="100"/>
                  </a:lnTo>
                  <a:lnTo>
                    <a:pt x="484" y="101"/>
                  </a:lnTo>
                  <a:lnTo>
                    <a:pt x="482" y="102"/>
                  </a:lnTo>
                  <a:lnTo>
                    <a:pt x="482" y="102"/>
                  </a:lnTo>
                  <a:lnTo>
                    <a:pt x="482" y="103"/>
                  </a:lnTo>
                  <a:lnTo>
                    <a:pt x="481" y="104"/>
                  </a:lnTo>
                  <a:lnTo>
                    <a:pt x="481" y="104"/>
                  </a:lnTo>
                  <a:lnTo>
                    <a:pt x="480" y="105"/>
                  </a:lnTo>
                  <a:lnTo>
                    <a:pt x="480" y="107"/>
                  </a:lnTo>
                  <a:lnTo>
                    <a:pt x="479" y="108"/>
                  </a:lnTo>
                  <a:lnTo>
                    <a:pt x="478" y="114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6" y="116"/>
                  </a:lnTo>
                  <a:lnTo>
                    <a:pt x="476" y="117"/>
                  </a:lnTo>
                  <a:lnTo>
                    <a:pt x="476" y="117"/>
                  </a:lnTo>
                  <a:lnTo>
                    <a:pt x="475" y="118"/>
                  </a:lnTo>
                  <a:lnTo>
                    <a:pt x="475" y="118"/>
                  </a:lnTo>
                  <a:lnTo>
                    <a:pt x="474" y="118"/>
                  </a:lnTo>
                  <a:lnTo>
                    <a:pt x="474" y="119"/>
                  </a:lnTo>
                  <a:lnTo>
                    <a:pt x="473" y="119"/>
                  </a:lnTo>
                  <a:lnTo>
                    <a:pt x="472" y="119"/>
                  </a:lnTo>
                  <a:lnTo>
                    <a:pt x="471" y="119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69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6" y="118"/>
                  </a:lnTo>
                  <a:lnTo>
                    <a:pt x="464" y="118"/>
                  </a:lnTo>
                  <a:lnTo>
                    <a:pt x="463" y="117"/>
                  </a:lnTo>
                  <a:lnTo>
                    <a:pt x="460" y="115"/>
                  </a:lnTo>
                  <a:lnTo>
                    <a:pt x="458" y="114"/>
                  </a:lnTo>
                  <a:lnTo>
                    <a:pt x="457" y="114"/>
                  </a:lnTo>
                  <a:lnTo>
                    <a:pt x="455" y="113"/>
                  </a:lnTo>
                  <a:lnTo>
                    <a:pt x="454" y="112"/>
                  </a:lnTo>
                  <a:lnTo>
                    <a:pt x="453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1" y="112"/>
                  </a:lnTo>
                  <a:lnTo>
                    <a:pt x="450" y="112"/>
                  </a:lnTo>
                  <a:lnTo>
                    <a:pt x="448" y="113"/>
                  </a:lnTo>
                  <a:lnTo>
                    <a:pt x="447" y="113"/>
                  </a:lnTo>
                  <a:lnTo>
                    <a:pt x="447" y="113"/>
                  </a:lnTo>
                  <a:lnTo>
                    <a:pt x="446" y="113"/>
                  </a:lnTo>
                  <a:lnTo>
                    <a:pt x="446" y="113"/>
                  </a:lnTo>
                  <a:lnTo>
                    <a:pt x="446" y="114"/>
                  </a:lnTo>
                  <a:lnTo>
                    <a:pt x="446" y="114"/>
                  </a:lnTo>
                  <a:lnTo>
                    <a:pt x="446" y="115"/>
                  </a:lnTo>
                  <a:lnTo>
                    <a:pt x="446" y="116"/>
                  </a:lnTo>
                  <a:lnTo>
                    <a:pt x="446" y="119"/>
                  </a:lnTo>
                  <a:lnTo>
                    <a:pt x="446" y="121"/>
                  </a:lnTo>
                  <a:lnTo>
                    <a:pt x="446" y="122"/>
                  </a:lnTo>
                  <a:lnTo>
                    <a:pt x="446" y="123"/>
                  </a:lnTo>
                  <a:lnTo>
                    <a:pt x="446" y="126"/>
                  </a:lnTo>
                  <a:lnTo>
                    <a:pt x="445" y="127"/>
                  </a:lnTo>
                  <a:lnTo>
                    <a:pt x="445" y="128"/>
                  </a:lnTo>
                  <a:lnTo>
                    <a:pt x="445" y="128"/>
                  </a:lnTo>
                  <a:lnTo>
                    <a:pt x="444" y="129"/>
                  </a:lnTo>
                  <a:lnTo>
                    <a:pt x="444" y="130"/>
                  </a:lnTo>
                  <a:lnTo>
                    <a:pt x="442" y="132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0" y="134"/>
                  </a:lnTo>
                  <a:lnTo>
                    <a:pt x="440" y="135"/>
                  </a:lnTo>
                  <a:lnTo>
                    <a:pt x="439" y="136"/>
                  </a:lnTo>
                  <a:lnTo>
                    <a:pt x="439" y="137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7" y="141"/>
                  </a:lnTo>
                  <a:lnTo>
                    <a:pt x="437" y="142"/>
                  </a:lnTo>
                  <a:lnTo>
                    <a:pt x="437" y="143"/>
                  </a:lnTo>
                  <a:lnTo>
                    <a:pt x="437" y="144"/>
                  </a:lnTo>
                  <a:lnTo>
                    <a:pt x="437" y="146"/>
                  </a:lnTo>
                  <a:lnTo>
                    <a:pt x="437" y="146"/>
                  </a:lnTo>
                  <a:lnTo>
                    <a:pt x="437" y="147"/>
                  </a:lnTo>
                  <a:lnTo>
                    <a:pt x="436" y="147"/>
                  </a:lnTo>
                  <a:lnTo>
                    <a:pt x="436" y="147"/>
                  </a:lnTo>
                  <a:lnTo>
                    <a:pt x="436" y="148"/>
                  </a:lnTo>
                  <a:lnTo>
                    <a:pt x="435" y="148"/>
                  </a:lnTo>
                  <a:lnTo>
                    <a:pt x="434" y="149"/>
                  </a:lnTo>
                  <a:lnTo>
                    <a:pt x="433" y="149"/>
                  </a:lnTo>
                  <a:lnTo>
                    <a:pt x="433" y="149"/>
                  </a:lnTo>
                  <a:lnTo>
                    <a:pt x="430" y="152"/>
                  </a:lnTo>
                  <a:lnTo>
                    <a:pt x="427" y="154"/>
                  </a:lnTo>
                  <a:lnTo>
                    <a:pt x="426" y="155"/>
                  </a:lnTo>
                  <a:lnTo>
                    <a:pt x="425" y="156"/>
                  </a:lnTo>
                  <a:lnTo>
                    <a:pt x="425" y="156"/>
                  </a:lnTo>
                  <a:lnTo>
                    <a:pt x="424" y="157"/>
                  </a:lnTo>
                  <a:lnTo>
                    <a:pt x="424" y="158"/>
                  </a:lnTo>
                  <a:lnTo>
                    <a:pt x="423" y="159"/>
                  </a:lnTo>
                  <a:lnTo>
                    <a:pt x="423" y="160"/>
                  </a:lnTo>
                  <a:lnTo>
                    <a:pt x="422" y="162"/>
                  </a:lnTo>
                  <a:lnTo>
                    <a:pt x="422" y="163"/>
                  </a:lnTo>
                  <a:lnTo>
                    <a:pt x="422" y="164"/>
                  </a:lnTo>
                  <a:lnTo>
                    <a:pt x="421" y="167"/>
                  </a:lnTo>
                  <a:lnTo>
                    <a:pt x="421" y="168"/>
                  </a:lnTo>
                  <a:lnTo>
                    <a:pt x="421" y="169"/>
                  </a:lnTo>
                  <a:lnTo>
                    <a:pt x="420" y="170"/>
                  </a:lnTo>
                  <a:lnTo>
                    <a:pt x="420" y="171"/>
                  </a:lnTo>
                  <a:lnTo>
                    <a:pt x="418" y="174"/>
                  </a:lnTo>
                  <a:lnTo>
                    <a:pt x="417" y="176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8"/>
                  </a:lnTo>
                  <a:lnTo>
                    <a:pt x="415" y="178"/>
                  </a:lnTo>
                  <a:lnTo>
                    <a:pt x="415" y="179"/>
                  </a:lnTo>
                  <a:lnTo>
                    <a:pt x="415" y="180"/>
                  </a:lnTo>
                  <a:lnTo>
                    <a:pt x="415" y="181"/>
                  </a:lnTo>
                  <a:lnTo>
                    <a:pt x="415" y="182"/>
                  </a:lnTo>
                  <a:lnTo>
                    <a:pt x="416" y="182"/>
                  </a:lnTo>
                  <a:lnTo>
                    <a:pt x="416" y="183"/>
                  </a:lnTo>
                  <a:lnTo>
                    <a:pt x="417" y="185"/>
                  </a:lnTo>
                  <a:lnTo>
                    <a:pt x="417" y="186"/>
                  </a:lnTo>
                  <a:lnTo>
                    <a:pt x="418" y="187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19" y="193"/>
                  </a:lnTo>
                  <a:lnTo>
                    <a:pt x="419" y="196"/>
                  </a:lnTo>
                  <a:lnTo>
                    <a:pt x="420" y="196"/>
                  </a:lnTo>
                  <a:lnTo>
                    <a:pt x="420" y="198"/>
                  </a:lnTo>
                  <a:lnTo>
                    <a:pt x="421" y="199"/>
                  </a:lnTo>
                  <a:lnTo>
                    <a:pt x="422" y="201"/>
                  </a:lnTo>
                  <a:lnTo>
                    <a:pt x="423" y="205"/>
                  </a:lnTo>
                  <a:lnTo>
                    <a:pt x="425" y="209"/>
                  </a:lnTo>
                  <a:lnTo>
                    <a:pt x="426" y="210"/>
                  </a:lnTo>
                  <a:lnTo>
                    <a:pt x="427" y="211"/>
                  </a:lnTo>
                  <a:lnTo>
                    <a:pt x="428" y="213"/>
                  </a:lnTo>
                  <a:lnTo>
                    <a:pt x="428" y="214"/>
                  </a:lnTo>
                  <a:lnTo>
                    <a:pt x="430" y="216"/>
                  </a:lnTo>
                  <a:lnTo>
                    <a:pt x="430" y="217"/>
                  </a:lnTo>
                  <a:lnTo>
                    <a:pt x="431" y="218"/>
                  </a:lnTo>
                  <a:lnTo>
                    <a:pt x="432" y="220"/>
                  </a:lnTo>
                  <a:lnTo>
                    <a:pt x="433" y="222"/>
                  </a:lnTo>
                  <a:lnTo>
                    <a:pt x="433" y="223"/>
                  </a:lnTo>
                  <a:lnTo>
                    <a:pt x="436" y="230"/>
                  </a:lnTo>
                  <a:lnTo>
                    <a:pt x="436" y="230"/>
                  </a:lnTo>
                  <a:lnTo>
                    <a:pt x="437" y="231"/>
                  </a:lnTo>
                  <a:lnTo>
                    <a:pt x="439" y="236"/>
                  </a:lnTo>
                  <a:lnTo>
                    <a:pt x="441" y="240"/>
                  </a:lnTo>
                  <a:lnTo>
                    <a:pt x="442" y="240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44" y="243"/>
                  </a:lnTo>
                  <a:lnTo>
                    <a:pt x="445" y="243"/>
                  </a:lnTo>
                  <a:lnTo>
                    <a:pt x="447" y="245"/>
                  </a:lnTo>
                  <a:lnTo>
                    <a:pt x="448" y="246"/>
                  </a:lnTo>
                  <a:lnTo>
                    <a:pt x="450" y="247"/>
                  </a:lnTo>
                  <a:lnTo>
                    <a:pt x="451" y="248"/>
                  </a:lnTo>
                  <a:lnTo>
                    <a:pt x="451" y="249"/>
                  </a:lnTo>
                  <a:lnTo>
                    <a:pt x="452" y="249"/>
                  </a:lnTo>
                  <a:lnTo>
                    <a:pt x="453" y="250"/>
                  </a:lnTo>
                  <a:lnTo>
                    <a:pt x="453" y="251"/>
                  </a:lnTo>
                  <a:lnTo>
                    <a:pt x="454" y="252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5"/>
                  </a:lnTo>
                  <a:lnTo>
                    <a:pt x="455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3" y="254"/>
                  </a:lnTo>
                  <a:lnTo>
                    <a:pt x="453" y="255"/>
                  </a:lnTo>
                  <a:lnTo>
                    <a:pt x="452" y="255"/>
                  </a:lnTo>
                  <a:lnTo>
                    <a:pt x="452" y="256"/>
                  </a:lnTo>
                  <a:lnTo>
                    <a:pt x="451" y="256"/>
                  </a:lnTo>
                  <a:lnTo>
                    <a:pt x="450" y="257"/>
                  </a:lnTo>
                  <a:lnTo>
                    <a:pt x="450" y="258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60"/>
                  </a:lnTo>
                  <a:lnTo>
                    <a:pt x="449" y="260"/>
                  </a:lnTo>
                  <a:lnTo>
                    <a:pt x="449" y="261"/>
                  </a:lnTo>
                  <a:lnTo>
                    <a:pt x="449" y="262"/>
                  </a:lnTo>
                  <a:lnTo>
                    <a:pt x="449" y="262"/>
                  </a:lnTo>
                  <a:lnTo>
                    <a:pt x="449" y="264"/>
                  </a:lnTo>
                  <a:lnTo>
                    <a:pt x="450" y="267"/>
                  </a:lnTo>
                  <a:lnTo>
                    <a:pt x="450" y="269"/>
                  </a:lnTo>
                  <a:lnTo>
                    <a:pt x="450" y="270"/>
                  </a:lnTo>
                  <a:lnTo>
                    <a:pt x="450" y="273"/>
                  </a:lnTo>
                  <a:lnTo>
                    <a:pt x="450" y="274"/>
                  </a:lnTo>
                  <a:lnTo>
                    <a:pt x="450" y="275"/>
                  </a:lnTo>
                  <a:lnTo>
                    <a:pt x="450" y="275"/>
                  </a:lnTo>
                  <a:lnTo>
                    <a:pt x="450" y="276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7" y="279"/>
                  </a:lnTo>
                  <a:lnTo>
                    <a:pt x="445" y="280"/>
                  </a:lnTo>
                  <a:lnTo>
                    <a:pt x="442" y="281"/>
                  </a:lnTo>
                  <a:lnTo>
                    <a:pt x="439" y="281"/>
                  </a:lnTo>
                  <a:lnTo>
                    <a:pt x="438" y="282"/>
                  </a:lnTo>
                  <a:lnTo>
                    <a:pt x="438" y="282"/>
                  </a:lnTo>
                  <a:lnTo>
                    <a:pt x="437" y="282"/>
                  </a:lnTo>
                  <a:lnTo>
                    <a:pt x="437" y="283"/>
                  </a:lnTo>
                  <a:lnTo>
                    <a:pt x="436" y="286"/>
                  </a:lnTo>
                  <a:lnTo>
                    <a:pt x="434" y="288"/>
                  </a:lnTo>
                  <a:lnTo>
                    <a:pt x="434" y="289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2" y="291"/>
                  </a:lnTo>
                  <a:lnTo>
                    <a:pt x="431" y="291"/>
                  </a:lnTo>
                  <a:lnTo>
                    <a:pt x="430" y="291"/>
                  </a:lnTo>
                  <a:lnTo>
                    <a:pt x="429" y="291"/>
                  </a:lnTo>
                  <a:lnTo>
                    <a:pt x="428" y="291"/>
                  </a:lnTo>
                  <a:lnTo>
                    <a:pt x="424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2" y="289"/>
                  </a:lnTo>
                  <a:lnTo>
                    <a:pt x="422" y="289"/>
                  </a:lnTo>
                  <a:lnTo>
                    <a:pt x="421" y="289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1"/>
                  </a:lnTo>
                  <a:lnTo>
                    <a:pt x="420" y="292"/>
                  </a:lnTo>
                  <a:lnTo>
                    <a:pt x="420" y="294"/>
                  </a:lnTo>
                  <a:lnTo>
                    <a:pt x="420" y="296"/>
                  </a:lnTo>
                  <a:lnTo>
                    <a:pt x="420" y="297"/>
                  </a:lnTo>
                  <a:lnTo>
                    <a:pt x="420" y="298"/>
                  </a:lnTo>
                  <a:lnTo>
                    <a:pt x="420" y="299"/>
                  </a:lnTo>
                  <a:lnTo>
                    <a:pt x="420" y="300"/>
                  </a:lnTo>
                  <a:lnTo>
                    <a:pt x="420" y="301"/>
                  </a:lnTo>
                  <a:lnTo>
                    <a:pt x="421" y="302"/>
                  </a:lnTo>
                  <a:lnTo>
                    <a:pt x="421" y="305"/>
                  </a:lnTo>
                  <a:lnTo>
                    <a:pt x="422" y="306"/>
                  </a:lnTo>
                  <a:lnTo>
                    <a:pt x="422" y="307"/>
                  </a:lnTo>
                  <a:lnTo>
                    <a:pt x="422" y="308"/>
                  </a:lnTo>
                  <a:lnTo>
                    <a:pt x="422" y="309"/>
                  </a:lnTo>
                  <a:lnTo>
                    <a:pt x="422" y="311"/>
                  </a:lnTo>
                  <a:lnTo>
                    <a:pt x="422" y="312"/>
                  </a:lnTo>
                  <a:lnTo>
                    <a:pt x="421" y="313"/>
                  </a:lnTo>
                  <a:lnTo>
                    <a:pt x="421" y="315"/>
                  </a:lnTo>
                  <a:lnTo>
                    <a:pt x="420" y="319"/>
                  </a:lnTo>
                  <a:lnTo>
                    <a:pt x="420" y="320"/>
                  </a:lnTo>
                  <a:lnTo>
                    <a:pt x="420" y="321"/>
                  </a:lnTo>
                  <a:lnTo>
                    <a:pt x="419" y="322"/>
                  </a:lnTo>
                  <a:lnTo>
                    <a:pt x="419" y="323"/>
                  </a:lnTo>
                  <a:lnTo>
                    <a:pt x="418" y="323"/>
                  </a:lnTo>
                  <a:lnTo>
                    <a:pt x="418" y="324"/>
                  </a:lnTo>
                  <a:lnTo>
                    <a:pt x="418" y="324"/>
                  </a:lnTo>
                  <a:lnTo>
                    <a:pt x="417" y="324"/>
                  </a:lnTo>
                  <a:lnTo>
                    <a:pt x="417" y="325"/>
                  </a:lnTo>
                  <a:lnTo>
                    <a:pt x="416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3" y="325"/>
                  </a:lnTo>
                  <a:lnTo>
                    <a:pt x="411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4"/>
                  </a:lnTo>
                  <a:lnTo>
                    <a:pt x="401" y="325"/>
                  </a:lnTo>
                  <a:lnTo>
                    <a:pt x="395" y="326"/>
                  </a:lnTo>
                  <a:lnTo>
                    <a:pt x="394" y="326"/>
                  </a:lnTo>
                  <a:lnTo>
                    <a:pt x="393" y="326"/>
                  </a:lnTo>
                  <a:lnTo>
                    <a:pt x="392" y="327"/>
                  </a:lnTo>
                  <a:lnTo>
                    <a:pt x="391" y="327"/>
                  </a:lnTo>
                  <a:lnTo>
                    <a:pt x="391" y="327"/>
                  </a:lnTo>
                  <a:lnTo>
                    <a:pt x="390" y="328"/>
                  </a:lnTo>
                  <a:lnTo>
                    <a:pt x="388" y="330"/>
                  </a:lnTo>
                  <a:lnTo>
                    <a:pt x="387" y="331"/>
                  </a:lnTo>
                  <a:lnTo>
                    <a:pt x="386" y="332"/>
                  </a:lnTo>
                  <a:lnTo>
                    <a:pt x="385" y="332"/>
                  </a:lnTo>
                  <a:lnTo>
                    <a:pt x="384" y="333"/>
                  </a:lnTo>
                  <a:lnTo>
                    <a:pt x="384" y="333"/>
                  </a:lnTo>
                  <a:lnTo>
                    <a:pt x="383" y="333"/>
                  </a:lnTo>
                  <a:lnTo>
                    <a:pt x="383" y="333"/>
                  </a:lnTo>
                  <a:lnTo>
                    <a:pt x="382" y="333"/>
                  </a:lnTo>
                  <a:lnTo>
                    <a:pt x="381" y="333"/>
                  </a:lnTo>
                  <a:lnTo>
                    <a:pt x="379" y="333"/>
                  </a:lnTo>
                  <a:lnTo>
                    <a:pt x="376" y="332"/>
                  </a:lnTo>
                  <a:lnTo>
                    <a:pt x="372" y="331"/>
                  </a:lnTo>
                  <a:lnTo>
                    <a:pt x="370" y="331"/>
                  </a:lnTo>
                  <a:lnTo>
                    <a:pt x="368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6" y="330"/>
                  </a:lnTo>
                  <a:lnTo>
                    <a:pt x="365" y="330"/>
                  </a:lnTo>
                  <a:lnTo>
                    <a:pt x="365" y="331"/>
                  </a:lnTo>
                  <a:lnTo>
                    <a:pt x="363" y="332"/>
                  </a:lnTo>
                  <a:lnTo>
                    <a:pt x="361" y="332"/>
                  </a:lnTo>
                  <a:lnTo>
                    <a:pt x="359" y="332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3" y="333"/>
                  </a:lnTo>
                  <a:lnTo>
                    <a:pt x="350" y="333"/>
                  </a:lnTo>
                  <a:lnTo>
                    <a:pt x="348" y="333"/>
                  </a:lnTo>
                  <a:lnTo>
                    <a:pt x="346" y="333"/>
                  </a:lnTo>
                  <a:lnTo>
                    <a:pt x="340" y="332"/>
                  </a:lnTo>
                  <a:lnTo>
                    <a:pt x="338" y="332"/>
                  </a:lnTo>
                  <a:lnTo>
                    <a:pt x="336" y="332"/>
                  </a:lnTo>
                  <a:lnTo>
                    <a:pt x="333" y="331"/>
                  </a:lnTo>
                  <a:lnTo>
                    <a:pt x="329" y="330"/>
                  </a:lnTo>
                  <a:lnTo>
                    <a:pt x="325" y="329"/>
                  </a:lnTo>
                  <a:lnTo>
                    <a:pt x="323" y="328"/>
                  </a:lnTo>
                  <a:lnTo>
                    <a:pt x="322" y="328"/>
                  </a:lnTo>
                  <a:lnTo>
                    <a:pt x="317" y="328"/>
                  </a:lnTo>
                  <a:lnTo>
                    <a:pt x="316" y="328"/>
                  </a:lnTo>
                  <a:lnTo>
                    <a:pt x="315" y="328"/>
                  </a:lnTo>
                  <a:lnTo>
                    <a:pt x="314" y="328"/>
                  </a:lnTo>
                  <a:lnTo>
                    <a:pt x="313" y="328"/>
                  </a:lnTo>
                  <a:lnTo>
                    <a:pt x="313" y="328"/>
                  </a:lnTo>
                  <a:lnTo>
                    <a:pt x="312" y="329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09" y="331"/>
                  </a:lnTo>
                  <a:lnTo>
                    <a:pt x="309" y="331"/>
                  </a:lnTo>
                  <a:lnTo>
                    <a:pt x="308" y="332"/>
                  </a:lnTo>
                  <a:lnTo>
                    <a:pt x="307" y="333"/>
                  </a:lnTo>
                  <a:lnTo>
                    <a:pt x="307" y="333"/>
                  </a:lnTo>
                  <a:lnTo>
                    <a:pt x="307" y="334"/>
                  </a:lnTo>
                  <a:lnTo>
                    <a:pt x="307" y="335"/>
                  </a:lnTo>
                  <a:lnTo>
                    <a:pt x="307" y="335"/>
                  </a:lnTo>
                  <a:lnTo>
                    <a:pt x="307" y="336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4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4" y="346"/>
                  </a:lnTo>
                  <a:lnTo>
                    <a:pt x="304" y="346"/>
                  </a:lnTo>
                  <a:lnTo>
                    <a:pt x="302" y="346"/>
                  </a:lnTo>
                  <a:lnTo>
                    <a:pt x="301" y="346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298" y="347"/>
                  </a:lnTo>
                  <a:lnTo>
                    <a:pt x="298" y="347"/>
                  </a:lnTo>
                  <a:lnTo>
                    <a:pt x="297" y="347"/>
                  </a:lnTo>
                  <a:lnTo>
                    <a:pt x="297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2"/>
                  </a:lnTo>
                  <a:lnTo>
                    <a:pt x="295" y="353"/>
                  </a:lnTo>
                  <a:lnTo>
                    <a:pt x="294" y="353"/>
                  </a:lnTo>
                  <a:lnTo>
                    <a:pt x="292" y="355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89" y="357"/>
                  </a:lnTo>
                  <a:lnTo>
                    <a:pt x="288" y="358"/>
                  </a:lnTo>
                  <a:lnTo>
                    <a:pt x="287" y="359"/>
                  </a:lnTo>
                  <a:lnTo>
                    <a:pt x="286" y="359"/>
                  </a:lnTo>
                  <a:lnTo>
                    <a:pt x="285" y="359"/>
                  </a:lnTo>
                  <a:lnTo>
                    <a:pt x="282" y="360"/>
                  </a:lnTo>
                  <a:lnTo>
                    <a:pt x="281" y="361"/>
                  </a:lnTo>
                  <a:lnTo>
                    <a:pt x="280" y="361"/>
                  </a:lnTo>
                  <a:lnTo>
                    <a:pt x="278" y="361"/>
                  </a:lnTo>
                  <a:lnTo>
                    <a:pt x="278" y="362"/>
                  </a:lnTo>
                  <a:lnTo>
                    <a:pt x="277" y="362"/>
                  </a:lnTo>
                  <a:lnTo>
                    <a:pt x="276" y="363"/>
                  </a:lnTo>
                  <a:lnTo>
                    <a:pt x="275" y="364"/>
                  </a:lnTo>
                  <a:lnTo>
                    <a:pt x="274" y="364"/>
                  </a:lnTo>
                  <a:lnTo>
                    <a:pt x="273" y="365"/>
                  </a:lnTo>
                  <a:lnTo>
                    <a:pt x="272" y="367"/>
                  </a:lnTo>
                  <a:lnTo>
                    <a:pt x="270" y="369"/>
                  </a:lnTo>
                  <a:lnTo>
                    <a:pt x="269" y="370"/>
                  </a:lnTo>
                  <a:lnTo>
                    <a:pt x="268" y="371"/>
                  </a:lnTo>
                  <a:lnTo>
                    <a:pt x="268" y="371"/>
                  </a:lnTo>
                  <a:lnTo>
                    <a:pt x="267" y="371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5" y="372"/>
                  </a:lnTo>
                  <a:lnTo>
                    <a:pt x="265" y="372"/>
                  </a:lnTo>
                  <a:lnTo>
                    <a:pt x="264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3" y="371"/>
                  </a:lnTo>
                  <a:lnTo>
                    <a:pt x="262" y="371"/>
                  </a:lnTo>
                  <a:lnTo>
                    <a:pt x="261" y="370"/>
                  </a:lnTo>
                  <a:lnTo>
                    <a:pt x="259" y="368"/>
                  </a:lnTo>
                  <a:lnTo>
                    <a:pt x="259" y="368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4" y="366"/>
                  </a:lnTo>
                  <a:lnTo>
                    <a:pt x="253" y="366"/>
                  </a:lnTo>
                  <a:lnTo>
                    <a:pt x="253" y="367"/>
                  </a:lnTo>
                  <a:lnTo>
                    <a:pt x="252" y="367"/>
                  </a:lnTo>
                  <a:lnTo>
                    <a:pt x="251" y="368"/>
                  </a:lnTo>
                  <a:lnTo>
                    <a:pt x="250" y="369"/>
                  </a:lnTo>
                  <a:lnTo>
                    <a:pt x="249" y="370"/>
                  </a:lnTo>
                  <a:lnTo>
                    <a:pt x="246" y="373"/>
                  </a:lnTo>
                  <a:lnTo>
                    <a:pt x="244" y="374"/>
                  </a:lnTo>
                  <a:lnTo>
                    <a:pt x="244" y="375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8" y="378"/>
                  </a:lnTo>
                  <a:lnTo>
                    <a:pt x="236" y="380"/>
                  </a:lnTo>
                  <a:lnTo>
                    <a:pt x="235" y="380"/>
                  </a:lnTo>
                  <a:lnTo>
                    <a:pt x="234" y="381"/>
                  </a:lnTo>
                  <a:lnTo>
                    <a:pt x="233" y="381"/>
                  </a:lnTo>
                  <a:lnTo>
                    <a:pt x="232" y="381"/>
                  </a:lnTo>
                  <a:lnTo>
                    <a:pt x="231" y="381"/>
                  </a:lnTo>
                  <a:lnTo>
                    <a:pt x="230" y="381"/>
                  </a:lnTo>
                  <a:lnTo>
                    <a:pt x="228" y="381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2"/>
                  </a:lnTo>
                  <a:lnTo>
                    <a:pt x="220" y="382"/>
                  </a:lnTo>
                  <a:lnTo>
                    <a:pt x="218" y="381"/>
                  </a:lnTo>
                  <a:lnTo>
                    <a:pt x="217" y="381"/>
                  </a:lnTo>
                  <a:lnTo>
                    <a:pt x="215" y="381"/>
                  </a:lnTo>
                  <a:lnTo>
                    <a:pt x="214" y="380"/>
                  </a:lnTo>
                  <a:lnTo>
                    <a:pt x="214" y="380"/>
                  </a:lnTo>
                  <a:lnTo>
                    <a:pt x="213" y="380"/>
                  </a:lnTo>
                  <a:lnTo>
                    <a:pt x="212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09" y="379"/>
                  </a:lnTo>
                  <a:lnTo>
                    <a:pt x="208" y="380"/>
                  </a:lnTo>
                  <a:lnTo>
                    <a:pt x="207" y="381"/>
                  </a:lnTo>
                  <a:lnTo>
                    <a:pt x="203" y="385"/>
                  </a:lnTo>
                  <a:lnTo>
                    <a:pt x="200" y="387"/>
                  </a:lnTo>
                  <a:lnTo>
                    <a:pt x="198" y="389"/>
                  </a:lnTo>
                  <a:lnTo>
                    <a:pt x="198" y="389"/>
                  </a:lnTo>
                  <a:lnTo>
                    <a:pt x="197" y="390"/>
                  </a:lnTo>
                  <a:lnTo>
                    <a:pt x="196" y="391"/>
                  </a:lnTo>
                  <a:lnTo>
                    <a:pt x="195" y="393"/>
                  </a:lnTo>
                  <a:lnTo>
                    <a:pt x="194" y="393"/>
                  </a:lnTo>
                  <a:lnTo>
                    <a:pt x="193" y="394"/>
                  </a:lnTo>
                  <a:lnTo>
                    <a:pt x="192" y="395"/>
                  </a:lnTo>
                  <a:lnTo>
                    <a:pt x="191" y="395"/>
                  </a:lnTo>
                  <a:lnTo>
                    <a:pt x="190" y="396"/>
                  </a:lnTo>
                  <a:lnTo>
                    <a:pt x="188" y="396"/>
                  </a:lnTo>
                  <a:lnTo>
                    <a:pt x="186" y="397"/>
                  </a:lnTo>
                  <a:lnTo>
                    <a:pt x="185" y="397"/>
                  </a:lnTo>
                  <a:lnTo>
                    <a:pt x="183" y="397"/>
                  </a:lnTo>
                  <a:lnTo>
                    <a:pt x="182" y="397"/>
                  </a:lnTo>
                  <a:lnTo>
                    <a:pt x="181" y="397"/>
                  </a:lnTo>
                  <a:lnTo>
                    <a:pt x="179" y="397"/>
                  </a:lnTo>
                  <a:lnTo>
                    <a:pt x="178" y="397"/>
                  </a:lnTo>
                  <a:lnTo>
                    <a:pt x="176" y="397"/>
                  </a:lnTo>
                  <a:lnTo>
                    <a:pt x="175" y="397"/>
                  </a:lnTo>
                  <a:lnTo>
                    <a:pt x="174" y="398"/>
                  </a:lnTo>
                  <a:lnTo>
                    <a:pt x="173" y="398"/>
                  </a:lnTo>
                  <a:lnTo>
                    <a:pt x="172" y="399"/>
                  </a:lnTo>
                  <a:lnTo>
                    <a:pt x="171" y="400"/>
                  </a:lnTo>
                  <a:lnTo>
                    <a:pt x="169" y="401"/>
                  </a:lnTo>
                  <a:lnTo>
                    <a:pt x="167" y="402"/>
                  </a:lnTo>
                  <a:lnTo>
                    <a:pt x="167" y="403"/>
                  </a:lnTo>
                  <a:lnTo>
                    <a:pt x="165" y="404"/>
                  </a:lnTo>
                  <a:lnTo>
                    <a:pt x="164" y="405"/>
                  </a:lnTo>
                  <a:lnTo>
                    <a:pt x="162" y="406"/>
                  </a:lnTo>
                  <a:lnTo>
                    <a:pt x="160" y="408"/>
                  </a:lnTo>
                  <a:lnTo>
                    <a:pt x="160" y="409"/>
                  </a:lnTo>
                  <a:lnTo>
                    <a:pt x="159" y="409"/>
                  </a:lnTo>
                  <a:lnTo>
                    <a:pt x="159" y="410"/>
                  </a:lnTo>
                  <a:lnTo>
                    <a:pt x="159" y="410"/>
                  </a:lnTo>
                  <a:lnTo>
                    <a:pt x="158" y="411"/>
                  </a:lnTo>
                  <a:lnTo>
                    <a:pt x="158" y="412"/>
                  </a:lnTo>
                  <a:lnTo>
                    <a:pt x="158" y="415"/>
                  </a:lnTo>
                  <a:lnTo>
                    <a:pt x="158" y="415"/>
                  </a:lnTo>
                  <a:lnTo>
                    <a:pt x="157" y="416"/>
                  </a:lnTo>
                  <a:lnTo>
                    <a:pt x="157" y="418"/>
                  </a:lnTo>
                  <a:lnTo>
                    <a:pt x="157" y="418"/>
                  </a:lnTo>
                  <a:lnTo>
                    <a:pt x="157" y="419"/>
                  </a:lnTo>
                  <a:lnTo>
                    <a:pt x="157" y="420"/>
                  </a:lnTo>
                  <a:lnTo>
                    <a:pt x="157" y="421"/>
                  </a:lnTo>
                  <a:lnTo>
                    <a:pt x="157" y="422"/>
                  </a:lnTo>
                  <a:lnTo>
                    <a:pt x="156" y="423"/>
                  </a:lnTo>
                  <a:lnTo>
                    <a:pt x="156" y="423"/>
                  </a:lnTo>
                  <a:lnTo>
                    <a:pt x="156" y="424"/>
                  </a:lnTo>
                  <a:lnTo>
                    <a:pt x="156" y="424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3" y="425"/>
                  </a:lnTo>
                  <a:lnTo>
                    <a:pt x="153" y="426"/>
                  </a:lnTo>
                  <a:lnTo>
                    <a:pt x="152" y="426"/>
                  </a:lnTo>
                  <a:lnTo>
                    <a:pt x="152" y="426"/>
                  </a:lnTo>
                  <a:lnTo>
                    <a:pt x="152" y="427"/>
                  </a:lnTo>
                  <a:lnTo>
                    <a:pt x="151" y="429"/>
                  </a:lnTo>
                  <a:lnTo>
                    <a:pt x="150" y="430"/>
                  </a:lnTo>
                  <a:lnTo>
                    <a:pt x="150" y="431"/>
                  </a:lnTo>
                  <a:lnTo>
                    <a:pt x="149" y="433"/>
                  </a:lnTo>
                  <a:lnTo>
                    <a:pt x="148" y="433"/>
                  </a:lnTo>
                  <a:lnTo>
                    <a:pt x="148" y="434"/>
                  </a:lnTo>
                  <a:lnTo>
                    <a:pt x="147" y="434"/>
                  </a:lnTo>
                  <a:lnTo>
                    <a:pt x="147" y="434"/>
                  </a:lnTo>
                  <a:lnTo>
                    <a:pt x="146" y="434"/>
                  </a:lnTo>
                  <a:lnTo>
                    <a:pt x="145" y="434"/>
                  </a:lnTo>
                  <a:lnTo>
                    <a:pt x="144" y="434"/>
                  </a:lnTo>
                  <a:lnTo>
                    <a:pt x="143" y="434"/>
                  </a:lnTo>
                  <a:lnTo>
                    <a:pt x="142" y="435"/>
                  </a:lnTo>
                  <a:lnTo>
                    <a:pt x="141" y="435"/>
                  </a:lnTo>
                  <a:lnTo>
                    <a:pt x="140" y="435"/>
                  </a:lnTo>
                  <a:lnTo>
                    <a:pt x="139" y="436"/>
                  </a:lnTo>
                  <a:lnTo>
                    <a:pt x="138" y="436"/>
                  </a:lnTo>
                  <a:lnTo>
                    <a:pt x="137" y="437"/>
                  </a:lnTo>
                  <a:lnTo>
                    <a:pt x="136" y="438"/>
                  </a:lnTo>
                  <a:lnTo>
                    <a:pt x="135" y="439"/>
                  </a:lnTo>
                  <a:lnTo>
                    <a:pt x="134" y="440"/>
                  </a:lnTo>
                  <a:lnTo>
                    <a:pt x="133" y="440"/>
                  </a:lnTo>
                  <a:lnTo>
                    <a:pt x="133" y="441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2" y="443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0" y="445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5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3" y="447"/>
                  </a:lnTo>
                  <a:lnTo>
                    <a:pt x="123" y="447"/>
                  </a:lnTo>
                  <a:lnTo>
                    <a:pt x="123" y="446"/>
                  </a:lnTo>
                  <a:lnTo>
                    <a:pt x="122" y="446"/>
                  </a:lnTo>
                  <a:lnTo>
                    <a:pt x="122" y="446"/>
                  </a:lnTo>
                  <a:lnTo>
                    <a:pt x="122" y="445"/>
                  </a:lnTo>
                  <a:lnTo>
                    <a:pt x="121" y="443"/>
                  </a:lnTo>
                  <a:lnTo>
                    <a:pt x="121" y="442"/>
                  </a:lnTo>
                  <a:lnTo>
                    <a:pt x="120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7" y="436"/>
                  </a:lnTo>
                  <a:lnTo>
                    <a:pt x="116" y="437"/>
                  </a:lnTo>
                  <a:lnTo>
                    <a:pt x="115" y="437"/>
                  </a:lnTo>
                  <a:lnTo>
                    <a:pt x="115" y="437"/>
                  </a:lnTo>
                  <a:lnTo>
                    <a:pt x="114" y="438"/>
                  </a:lnTo>
                  <a:lnTo>
                    <a:pt x="114" y="438"/>
                  </a:lnTo>
                  <a:lnTo>
                    <a:pt x="112" y="440"/>
                  </a:lnTo>
                  <a:lnTo>
                    <a:pt x="112" y="440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0" y="441"/>
                  </a:lnTo>
                  <a:lnTo>
                    <a:pt x="110" y="441"/>
                  </a:lnTo>
                  <a:lnTo>
                    <a:pt x="109" y="441"/>
                  </a:lnTo>
                  <a:lnTo>
                    <a:pt x="109" y="440"/>
                  </a:lnTo>
                  <a:lnTo>
                    <a:pt x="109" y="440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8" y="437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5"/>
                  </a:lnTo>
                  <a:lnTo>
                    <a:pt x="108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5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0" y="435"/>
                  </a:lnTo>
                  <a:lnTo>
                    <a:pt x="100" y="434"/>
                  </a:lnTo>
                  <a:lnTo>
                    <a:pt x="99" y="433"/>
                  </a:lnTo>
                  <a:lnTo>
                    <a:pt x="99" y="432"/>
                  </a:lnTo>
                  <a:lnTo>
                    <a:pt x="98" y="431"/>
                  </a:lnTo>
                  <a:lnTo>
                    <a:pt x="96" y="429"/>
                  </a:lnTo>
                  <a:lnTo>
                    <a:pt x="95" y="428"/>
                  </a:lnTo>
                  <a:lnTo>
                    <a:pt x="95" y="427"/>
                  </a:lnTo>
                  <a:lnTo>
                    <a:pt x="94" y="426"/>
                  </a:lnTo>
                  <a:lnTo>
                    <a:pt x="93" y="426"/>
                  </a:lnTo>
                  <a:lnTo>
                    <a:pt x="92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0" y="424"/>
                  </a:lnTo>
                  <a:lnTo>
                    <a:pt x="86" y="424"/>
                  </a:lnTo>
                  <a:lnTo>
                    <a:pt x="85" y="424"/>
                  </a:lnTo>
                  <a:lnTo>
                    <a:pt x="85" y="423"/>
                  </a:lnTo>
                  <a:lnTo>
                    <a:pt x="84" y="423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4" y="419"/>
                  </a:lnTo>
                  <a:lnTo>
                    <a:pt x="84" y="418"/>
                  </a:lnTo>
                  <a:lnTo>
                    <a:pt x="84" y="418"/>
                  </a:lnTo>
                  <a:lnTo>
                    <a:pt x="85" y="418"/>
                  </a:lnTo>
                  <a:lnTo>
                    <a:pt x="86" y="417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8" y="417"/>
                  </a:lnTo>
                  <a:lnTo>
                    <a:pt x="89" y="417"/>
                  </a:lnTo>
                  <a:lnTo>
                    <a:pt x="90" y="417"/>
                  </a:lnTo>
                  <a:lnTo>
                    <a:pt x="93" y="418"/>
                  </a:lnTo>
                  <a:lnTo>
                    <a:pt x="93" y="418"/>
                  </a:lnTo>
                  <a:lnTo>
                    <a:pt x="94" y="418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5" y="417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4" y="415"/>
                  </a:lnTo>
                  <a:lnTo>
                    <a:pt x="94" y="413"/>
                  </a:lnTo>
                  <a:lnTo>
                    <a:pt x="94" y="412"/>
                  </a:lnTo>
                  <a:lnTo>
                    <a:pt x="94" y="411"/>
                  </a:lnTo>
                  <a:lnTo>
                    <a:pt x="94" y="411"/>
                  </a:lnTo>
                  <a:lnTo>
                    <a:pt x="94" y="410"/>
                  </a:lnTo>
                  <a:lnTo>
                    <a:pt x="95" y="409"/>
                  </a:lnTo>
                  <a:lnTo>
                    <a:pt x="95" y="409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6" y="407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6" y="405"/>
                  </a:lnTo>
                  <a:lnTo>
                    <a:pt x="95" y="404"/>
                  </a:lnTo>
                  <a:lnTo>
                    <a:pt x="95" y="401"/>
                  </a:lnTo>
                  <a:lnTo>
                    <a:pt x="94" y="400"/>
                  </a:lnTo>
                  <a:lnTo>
                    <a:pt x="94" y="398"/>
                  </a:lnTo>
                  <a:lnTo>
                    <a:pt x="92" y="394"/>
                  </a:lnTo>
                  <a:lnTo>
                    <a:pt x="91" y="392"/>
                  </a:lnTo>
                  <a:lnTo>
                    <a:pt x="90" y="390"/>
                  </a:lnTo>
                  <a:lnTo>
                    <a:pt x="89" y="389"/>
                  </a:lnTo>
                  <a:lnTo>
                    <a:pt x="87" y="386"/>
                  </a:lnTo>
                  <a:lnTo>
                    <a:pt x="87" y="386"/>
                  </a:lnTo>
                  <a:lnTo>
                    <a:pt x="87" y="385"/>
                  </a:lnTo>
                  <a:lnTo>
                    <a:pt x="87" y="385"/>
                  </a:lnTo>
                  <a:lnTo>
                    <a:pt x="87" y="384"/>
                  </a:lnTo>
                  <a:lnTo>
                    <a:pt x="87" y="381"/>
                  </a:lnTo>
                  <a:lnTo>
                    <a:pt x="87" y="380"/>
                  </a:lnTo>
                  <a:lnTo>
                    <a:pt x="86" y="378"/>
                  </a:lnTo>
                  <a:lnTo>
                    <a:pt x="86" y="378"/>
                  </a:lnTo>
                  <a:lnTo>
                    <a:pt x="86" y="377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3" y="374"/>
                  </a:lnTo>
                  <a:lnTo>
                    <a:pt x="83" y="373"/>
                  </a:lnTo>
                  <a:lnTo>
                    <a:pt x="82" y="373"/>
                  </a:lnTo>
                  <a:lnTo>
                    <a:pt x="82" y="372"/>
                  </a:lnTo>
                  <a:lnTo>
                    <a:pt x="82" y="372"/>
                  </a:lnTo>
                  <a:lnTo>
                    <a:pt x="82" y="371"/>
                  </a:lnTo>
                  <a:lnTo>
                    <a:pt x="81" y="370"/>
                  </a:lnTo>
                  <a:lnTo>
                    <a:pt x="82" y="370"/>
                  </a:lnTo>
                  <a:lnTo>
                    <a:pt x="82" y="369"/>
                  </a:lnTo>
                  <a:lnTo>
                    <a:pt x="82" y="367"/>
                  </a:lnTo>
                  <a:lnTo>
                    <a:pt x="82" y="366"/>
                  </a:lnTo>
                  <a:lnTo>
                    <a:pt x="82" y="365"/>
                  </a:lnTo>
                  <a:lnTo>
                    <a:pt x="82" y="363"/>
                  </a:lnTo>
                  <a:lnTo>
                    <a:pt x="82" y="361"/>
                  </a:lnTo>
                  <a:lnTo>
                    <a:pt x="81" y="359"/>
                  </a:lnTo>
                  <a:lnTo>
                    <a:pt x="81" y="358"/>
                  </a:lnTo>
                  <a:lnTo>
                    <a:pt x="80" y="356"/>
                  </a:lnTo>
                  <a:lnTo>
                    <a:pt x="80" y="355"/>
                  </a:lnTo>
                  <a:lnTo>
                    <a:pt x="80" y="354"/>
                  </a:lnTo>
                  <a:lnTo>
                    <a:pt x="80" y="353"/>
                  </a:lnTo>
                  <a:lnTo>
                    <a:pt x="80" y="352"/>
                  </a:lnTo>
                  <a:lnTo>
                    <a:pt x="80" y="351"/>
                  </a:lnTo>
                  <a:lnTo>
                    <a:pt x="81" y="347"/>
                  </a:lnTo>
                  <a:lnTo>
                    <a:pt x="81" y="345"/>
                  </a:lnTo>
                  <a:lnTo>
                    <a:pt x="82" y="344"/>
                  </a:lnTo>
                  <a:lnTo>
                    <a:pt x="82" y="343"/>
                  </a:lnTo>
                  <a:lnTo>
                    <a:pt x="82" y="343"/>
                  </a:lnTo>
                  <a:lnTo>
                    <a:pt x="82" y="340"/>
                  </a:lnTo>
                  <a:lnTo>
                    <a:pt x="82" y="339"/>
                  </a:lnTo>
                  <a:lnTo>
                    <a:pt x="82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3" y="334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0"/>
                  </a:lnTo>
                  <a:lnTo>
                    <a:pt x="83" y="329"/>
                  </a:lnTo>
                  <a:lnTo>
                    <a:pt x="83" y="328"/>
                  </a:lnTo>
                  <a:lnTo>
                    <a:pt x="83" y="327"/>
                  </a:lnTo>
                  <a:lnTo>
                    <a:pt x="83" y="326"/>
                  </a:lnTo>
                  <a:lnTo>
                    <a:pt x="82" y="325"/>
                  </a:lnTo>
                  <a:lnTo>
                    <a:pt x="81" y="323"/>
                  </a:lnTo>
                  <a:lnTo>
                    <a:pt x="81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9" y="319"/>
                  </a:lnTo>
                  <a:lnTo>
                    <a:pt x="78" y="319"/>
                  </a:lnTo>
                  <a:lnTo>
                    <a:pt x="77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4" y="318"/>
                  </a:lnTo>
                  <a:lnTo>
                    <a:pt x="70" y="318"/>
                  </a:lnTo>
                  <a:lnTo>
                    <a:pt x="69" y="318"/>
                  </a:lnTo>
                  <a:lnTo>
                    <a:pt x="68" y="318"/>
                  </a:lnTo>
                  <a:lnTo>
                    <a:pt x="65" y="318"/>
                  </a:lnTo>
                  <a:lnTo>
                    <a:pt x="64" y="318"/>
                  </a:lnTo>
                  <a:lnTo>
                    <a:pt x="62" y="318"/>
                  </a:lnTo>
                  <a:lnTo>
                    <a:pt x="58" y="318"/>
                  </a:lnTo>
                  <a:lnTo>
                    <a:pt x="57" y="317"/>
                  </a:lnTo>
                  <a:lnTo>
                    <a:pt x="55" y="317"/>
                  </a:lnTo>
                  <a:lnTo>
                    <a:pt x="55" y="317"/>
                  </a:lnTo>
                  <a:lnTo>
                    <a:pt x="54" y="318"/>
                  </a:lnTo>
                  <a:lnTo>
                    <a:pt x="52" y="318"/>
                  </a:lnTo>
                  <a:lnTo>
                    <a:pt x="51" y="318"/>
                  </a:lnTo>
                  <a:lnTo>
                    <a:pt x="50" y="318"/>
                  </a:lnTo>
                  <a:lnTo>
                    <a:pt x="49" y="318"/>
                  </a:lnTo>
                  <a:lnTo>
                    <a:pt x="49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6" y="318"/>
                  </a:lnTo>
                  <a:lnTo>
                    <a:pt x="46" y="317"/>
                  </a:lnTo>
                  <a:lnTo>
                    <a:pt x="46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5"/>
                  </a:lnTo>
                  <a:lnTo>
                    <a:pt x="45" y="314"/>
                  </a:lnTo>
                  <a:lnTo>
                    <a:pt x="45" y="313"/>
                  </a:lnTo>
                  <a:lnTo>
                    <a:pt x="45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4" y="309"/>
                  </a:lnTo>
                  <a:lnTo>
                    <a:pt x="44" y="308"/>
                  </a:lnTo>
                  <a:lnTo>
                    <a:pt x="43" y="308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1" y="305"/>
                  </a:lnTo>
                  <a:lnTo>
                    <a:pt x="38" y="304"/>
                  </a:lnTo>
                  <a:lnTo>
                    <a:pt x="36" y="303"/>
                  </a:lnTo>
                  <a:lnTo>
                    <a:pt x="36" y="303"/>
                  </a:lnTo>
                  <a:lnTo>
                    <a:pt x="35" y="303"/>
                  </a:lnTo>
                  <a:lnTo>
                    <a:pt x="34" y="302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5" y="301"/>
                  </a:lnTo>
                  <a:lnTo>
                    <a:pt x="22" y="300"/>
                  </a:lnTo>
                  <a:lnTo>
                    <a:pt x="20" y="300"/>
                  </a:lnTo>
                  <a:lnTo>
                    <a:pt x="19" y="299"/>
                  </a:lnTo>
                  <a:lnTo>
                    <a:pt x="16" y="299"/>
                  </a:lnTo>
                  <a:lnTo>
                    <a:pt x="14" y="299"/>
                  </a:lnTo>
                  <a:lnTo>
                    <a:pt x="12" y="299"/>
                  </a:lnTo>
                  <a:lnTo>
                    <a:pt x="9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6" y="297"/>
                  </a:lnTo>
                  <a:lnTo>
                    <a:pt x="4" y="296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1" y="291"/>
                  </a:lnTo>
                  <a:lnTo>
                    <a:pt x="1" y="291"/>
                  </a:lnTo>
                  <a:lnTo>
                    <a:pt x="2" y="290"/>
                  </a:lnTo>
                  <a:lnTo>
                    <a:pt x="6" y="288"/>
                  </a:lnTo>
                  <a:lnTo>
                    <a:pt x="8" y="287"/>
                  </a:lnTo>
                  <a:lnTo>
                    <a:pt x="10" y="286"/>
                  </a:lnTo>
                  <a:lnTo>
                    <a:pt x="11" y="285"/>
                  </a:lnTo>
                  <a:lnTo>
                    <a:pt x="12" y="284"/>
                  </a:lnTo>
                  <a:lnTo>
                    <a:pt x="13" y="283"/>
                  </a:lnTo>
                  <a:lnTo>
                    <a:pt x="18" y="278"/>
                  </a:lnTo>
                  <a:lnTo>
                    <a:pt x="19" y="276"/>
                  </a:lnTo>
                  <a:lnTo>
                    <a:pt x="20" y="275"/>
                  </a:lnTo>
                  <a:lnTo>
                    <a:pt x="21" y="274"/>
                  </a:lnTo>
                  <a:lnTo>
                    <a:pt x="21" y="273"/>
                  </a:lnTo>
                  <a:lnTo>
                    <a:pt x="21" y="272"/>
                  </a:lnTo>
                  <a:lnTo>
                    <a:pt x="22" y="271"/>
                  </a:lnTo>
                  <a:lnTo>
                    <a:pt x="22" y="269"/>
                  </a:lnTo>
                  <a:lnTo>
                    <a:pt x="22" y="264"/>
                  </a:lnTo>
                  <a:lnTo>
                    <a:pt x="22" y="261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4" y="254"/>
                  </a:lnTo>
                  <a:lnTo>
                    <a:pt x="24" y="253"/>
                  </a:lnTo>
                  <a:lnTo>
                    <a:pt x="25" y="252"/>
                  </a:lnTo>
                  <a:lnTo>
                    <a:pt x="25" y="251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8" y="248"/>
                  </a:lnTo>
                  <a:lnTo>
                    <a:pt x="28" y="248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8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7" y="247"/>
                  </a:lnTo>
                  <a:lnTo>
                    <a:pt x="51" y="246"/>
                  </a:lnTo>
                  <a:lnTo>
                    <a:pt x="52" y="245"/>
                  </a:lnTo>
                  <a:lnTo>
                    <a:pt x="53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5" y="245"/>
                  </a:lnTo>
                  <a:lnTo>
                    <a:pt x="56" y="245"/>
                  </a:lnTo>
                  <a:lnTo>
                    <a:pt x="57" y="246"/>
                  </a:lnTo>
                  <a:lnTo>
                    <a:pt x="59" y="246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4" y="246"/>
                  </a:lnTo>
                  <a:lnTo>
                    <a:pt x="75" y="245"/>
                  </a:lnTo>
                  <a:lnTo>
                    <a:pt x="77" y="241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81" y="235"/>
                  </a:lnTo>
                  <a:lnTo>
                    <a:pt x="81" y="233"/>
                  </a:lnTo>
                  <a:lnTo>
                    <a:pt x="82" y="232"/>
                  </a:lnTo>
                  <a:lnTo>
                    <a:pt x="83" y="230"/>
                  </a:lnTo>
                  <a:lnTo>
                    <a:pt x="83" y="228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4" y="222"/>
                  </a:lnTo>
                  <a:lnTo>
                    <a:pt x="85" y="221"/>
                  </a:lnTo>
                  <a:lnTo>
                    <a:pt x="87" y="216"/>
                  </a:lnTo>
                  <a:lnTo>
                    <a:pt x="87" y="215"/>
                  </a:lnTo>
                  <a:lnTo>
                    <a:pt x="88" y="215"/>
                  </a:lnTo>
                  <a:lnTo>
                    <a:pt x="88" y="214"/>
                  </a:lnTo>
                  <a:lnTo>
                    <a:pt x="89" y="213"/>
                  </a:lnTo>
                  <a:lnTo>
                    <a:pt x="89" y="212"/>
                  </a:lnTo>
                  <a:lnTo>
                    <a:pt x="90" y="212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2" y="210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4" y="210"/>
                  </a:lnTo>
                  <a:lnTo>
                    <a:pt x="95" y="210"/>
                  </a:lnTo>
                  <a:lnTo>
                    <a:pt x="95" y="210"/>
                  </a:lnTo>
                  <a:lnTo>
                    <a:pt x="96" y="210"/>
                  </a:lnTo>
                  <a:lnTo>
                    <a:pt x="98" y="210"/>
                  </a:lnTo>
                  <a:lnTo>
                    <a:pt x="99" y="211"/>
                  </a:lnTo>
                  <a:lnTo>
                    <a:pt x="99" y="211"/>
                  </a:lnTo>
                  <a:lnTo>
                    <a:pt x="100" y="211"/>
                  </a:lnTo>
                  <a:lnTo>
                    <a:pt x="102" y="213"/>
                  </a:lnTo>
                  <a:lnTo>
                    <a:pt x="103" y="213"/>
                  </a:lnTo>
                  <a:lnTo>
                    <a:pt x="104" y="214"/>
                  </a:lnTo>
                  <a:lnTo>
                    <a:pt x="104" y="214"/>
                  </a:lnTo>
                  <a:lnTo>
                    <a:pt x="105" y="214"/>
                  </a:lnTo>
                  <a:lnTo>
                    <a:pt x="106" y="214"/>
                  </a:lnTo>
                  <a:lnTo>
                    <a:pt x="107" y="214"/>
                  </a:lnTo>
                  <a:lnTo>
                    <a:pt x="107" y="214"/>
                  </a:lnTo>
                  <a:lnTo>
                    <a:pt x="108" y="214"/>
                  </a:lnTo>
                  <a:lnTo>
                    <a:pt x="109" y="214"/>
                  </a:lnTo>
                  <a:lnTo>
                    <a:pt x="109" y="213"/>
                  </a:lnTo>
                  <a:lnTo>
                    <a:pt x="110" y="213"/>
                  </a:lnTo>
                  <a:lnTo>
                    <a:pt x="110" y="213"/>
                  </a:lnTo>
                  <a:lnTo>
                    <a:pt x="111" y="212"/>
                  </a:lnTo>
                  <a:lnTo>
                    <a:pt x="111" y="212"/>
                  </a:lnTo>
                  <a:lnTo>
                    <a:pt x="111" y="211"/>
                  </a:lnTo>
                  <a:lnTo>
                    <a:pt x="112" y="210"/>
                  </a:lnTo>
                  <a:lnTo>
                    <a:pt x="113" y="207"/>
                  </a:lnTo>
                  <a:lnTo>
                    <a:pt x="113" y="206"/>
                  </a:lnTo>
                  <a:lnTo>
                    <a:pt x="114" y="205"/>
                  </a:lnTo>
                  <a:lnTo>
                    <a:pt x="115" y="204"/>
                  </a:lnTo>
                  <a:lnTo>
                    <a:pt x="115" y="204"/>
                  </a:lnTo>
                  <a:lnTo>
                    <a:pt x="116" y="202"/>
                  </a:lnTo>
                  <a:lnTo>
                    <a:pt x="118" y="201"/>
                  </a:lnTo>
                  <a:lnTo>
                    <a:pt x="119" y="200"/>
                  </a:lnTo>
                  <a:lnTo>
                    <a:pt x="122" y="198"/>
                  </a:lnTo>
                  <a:lnTo>
                    <a:pt x="123" y="197"/>
                  </a:lnTo>
                  <a:lnTo>
                    <a:pt x="124" y="196"/>
                  </a:lnTo>
                  <a:lnTo>
                    <a:pt x="125" y="196"/>
                  </a:lnTo>
                  <a:lnTo>
                    <a:pt x="125" y="195"/>
                  </a:lnTo>
                  <a:lnTo>
                    <a:pt x="126" y="195"/>
                  </a:lnTo>
                  <a:lnTo>
                    <a:pt x="127" y="193"/>
                  </a:lnTo>
                  <a:lnTo>
                    <a:pt x="127" y="192"/>
                  </a:lnTo>
                  <a:lnTo>
                    <a:pt x="128" y="191"/>
                  </a:lnTo>
                  <a:lnTo>
                    <a:pt x="128" y="188"/>
                  </a:lnTo>
                  <a:lnTo>
                    <a:pt x="129" y="187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1" y="185"/>
                  </a:lnTo>
                  <a:lnTo>
                    <a:pt x="132" y="186"/>
                  </a:lnTo>
                  <a:lnTo>
                    <a:pt x="132" y="186"/>
                  </a:lnTo>
                  <a:lnTo>
                    <a:pt x="133" y="186"/>
                  </a:lnTo>
                  <a:lnTo>
                    <a:pt x="133" y="186"/>
                  </a:lnTo>
                  <a:lnTo>
                    <a:pt x="133" y="187"/>
                  </a:lnTo>
                  <a:lnTo>
                    <a:pt x="135" y="188"/>
                  </a:lnTo>
                  <a:lnTo>
                    <a:pt x="136" y="190"/>
                  </a:lnTo>
                  <a:lnTo>
                    <a:pt x="137" y="191"/>
                  </a:lnTo>
                  <a:lnTo>
                    <a:pt x="139" y="195"/>
                  </a:lnTo>
                  <a:lnTo>
                    <a:pt x="140" y="196"/>
                  </a:lnTo>
                  <a:lnTo>
                    <a:pt x="141" y="197"/>
                  </a:lnTo>
                  <a:lnTo>
                    <a:pt x="142" y="198"/>
                  </a:lnTo>
                  <a:lnTo>
                    <a:pt x="142" y="199"/>
                  </a:lnTo>
                  <a:lnTo>
                    <a:pt x="144" y="200"/>
                  </a:lnTo>
                  <a:lnTo>
                    <a:pt x="145" y="201"/>
                  </a:lnTo>
                  <a:lnTo>
                    <a:pt x="146" y="201"/>
                  </a:lnTo>
                  <a:lnTo>
                    <a:pt x="147" y="201"/>
                  </a:lnTo>
                  <a:lnTo>
                    <a:pt x="149" y="202"/>
                  </a:lnTo>
                  <a:lnTo>
                    <a:pt x="151" y="203"/>
                  </a:lnTo>
                  <a:lnTo>
                    <a:pt x="152" y="203"/>
                  </a:lnTo>
                  <a:lnTo>
                    <a:pt x="152" y="203"/>
                  </a:lnTo>
                  <a:lnTo>
                    <a:pt x="153" y="203"/>
                  </a:lnTo>
                  <a:lnTo>
                    <a:pt x="153" y="203"/>
                  </a:lnTo>
                  <a:lnTo>
                    <a:pt x="154" y="203"/>
                  </a:lnTo>
                  <a:lnTo>
                    <a:pt x="154" y="203"/>
                  </a:lnTo>
                  <a:lnTo>
                    <a:pt x="155" y="203"/>
                  </a:lnTo>
                  <a:lnTo>
                    <a:pt x="156" y="202"/>
                  </a:lnTo>
                  <a:lnTo>
                    <a:pt x="156" y="202"/>
                  </a:lnTo>
                  <a:lnTo>
                    <a:pt x="157" y="201"/>
                  </a:lnTo>
                  <a:lnTo>
                    <a:pt x="158" y="201"/>
                  </a:lnTo>
                  <a:lnTo>
                    <a:pt x="159" y="199"/>
                  </a:lnTo>
                  <a:lnTo>
                    <a:pt x="163" y="196"/>
                  </a:lnTo>
                  <a:lnTo>
                    <a:pt x="166" y="193"/>
                  </a:lnTo>
                  <a:lnTo>
                    <a:pt x="169" y="190"/>
                  </a:lnTo>
                  <a:lnTo>
                    <a:pt x="170" y="189"/>
                  </a:lnTo>
                  <a:lnTo>
                    <a:pt x="170" y="188"/>
                  </a:lnTo>
                  <a:lnTo>
                    <a:pt x="171" y="188"/>
                  </a:lnTo>
                  <a:lnTo>
                    <a:pt x="171" y="187"/>
                  </a:lnTo>
                  <a:lnTo>
                    <a:pt x="171" y="186"/>
                  </a:lnTo>
                  <a:lnTo>
                    <a:pt x="171" y="185"/>
                  </a:lnTo>
                  <a:lnTo>
                    <a:pt x="171" y="183"/>
                  </a:lnTo>
                  <a:lnTo>
                    <a:pt x="171" y="182"/>
                  </a:lnTo>
                  <a:lnTo>
                    <a:pt x="172" y="181"/>
                  </a:lnTo>
                  <a:lnTo>
                    <a:pt x="172" y="181"/>
                  </a:lnTo>
                  <a:lnTo>
                    <a:pt x="172" y="180"/>
                  </a:lnTo>
                  <a:lnTo>
                    <a:pt x="173" y="179"/>
                  </a:lnTo>
                  <a:lnTo>
                    <a:pt x="174" y="177"/>
                  </a:lnTo>
                  <a:lnTo>
                    <a:pt x="175" y="175"/>
                  </a:lnTo>
                  <a:lnTo>
                    <a:pt x="176" y="174"/>
                  </a:lnTo>
                  <a:lnTo>
                    <a:pt x="176" y="174"/>
                  </a:lnTo>
                  <a:lnTo>
                    <a:pt x="176" y="173"/>
                  </a:lnTo>
                  <a:lnTo>
                    <a:pt x="176" y="172"/>
                  </a:lnTo>
                  <a:lnTo>
                    <a:pt x="177" y="171"/>
                  </a:lnTo>
                  <a:lnTo>
                    <a:pt x="177" y="170"/>
                  </a:lnTo>
                  <a:lnTo>
                    <a:pt x="177" y="170"/>
                  </a:lnTo>
                  <a:lnTo>
                    <a:pt x="177" y="168"/>
                  </a:lnTo>
                  <a:lnTo>
                    <a:pt x="177" y="166"/>
                  </a:lnTo>
                  <a:lnTo>
                    <a:pt x="176" y="163"/>
                  </a:lnTo>
                  <a:lnTo>
                    <a:pt x="176" y="162"/>
                  </a:lnTo>
                  <a:lnTo>
                    <a:pt x="176" y="161"/>
                  </a:lnTo>
                  <a:lnTo>
                    <a:pt x="176" y="160"/>
                  </a:lnTo>
                  <a:lnTo>
                    <a:pt x="176" y="160"/>
                  </a:lnTo>
                  <a:lnTo>
                    <a:pt x="177" y="159"/>
                  </a:lnTo>
                  <a:lnTo>
                    <a:pt x="177" y="159"/>
                  </a:lnTo>
                  <a:lnTo>
                    <a:pt x="178" y="158"/>
                  </a:lnTo>
                  <a:lnTo>
                    <a:pt x="178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80" y="156"/>
                  </a:lnTo>
                  <a:lnTo>
                    <a:pt x="181" y="156"/>
                  </a:lnTo>
                  <a:lnTo>
                    <a:pt x="182" y="156"/>
                  </a:lnTo>
                  <a:lnTo>
                    <a:pt x="183" y="155"/>
                  </a:lnTo>
                  <a:lnTo>
                    <a:pt x="184" y="155"/>
                  </a:lnTo>
                  <a:lnTo>
                    <a:pt x="185" y="155"/>
                  </a:lnTo>
                  <a:lnTo>
                    <a:pt x="187" y="155"/>
                  </a:lnTo>
                  <a:lnTo>
                    <a:pt x="192" y="155"/>
                  </a:lnTo>
                  <a:lnTo>
                    <a:pt x="194" y="155"/>
                  </a:lnTo>
                  <a:lnTo>
                    <a:pt x="196" y="155"/>
                  </a:lnTo>
                  <a:lnTo>
                    <a:pt x="197" y="154"/>
                  </a:lnTo>
                  <a:lnTo>
                    <a:pt x="199" y="154"/>
                  </a:lnTo>
                  <a:lnTo>
                    <a:pt x="200" y="153"/>
                  </a:lnTo>
                  <a:lnTo>
                    <a:pt x="201" y="153"/>
                  </a:lnTo>
                  <a:lnTo>
                    <a:pt x="202" y="152"/>
                  </a:lnTo>
                  <a:lnTo>
                    <a:pt x="204" y="151"/>
                  </a:lnTo>
                  <a:lnTo>
                    <a:pt x="205" y="151"/>
                  </a:lnTo>
                  <a:lnTo>
                    <a:pt x="206" y="150"/>
                  </a:lnTo>
                  <a:lnTo>
                    <a:pt x="208" y="149"/>
                  </a:lnTo>
                  <a:lnTo>
                    <a:pt x="209" y="149"/>
                  </a:lnTo>
                  <a:lnTo>
                    <a:pt x="210" y="148"/>
                  </a:lnTo>
                  <a:lnTo>
                    <a:pt x="211" y="148"/>
                  </a:lnTo>
                  <a:lnTo>
                    <a:pt x="212" y="148"/>
                  </a:lnTo>
                  <a:lnTo>
                    <a:pt x="213" y="148"/>
                  </a:lnTo>
                  <a:lnTo>
                    <a:pt x="214" y="148"/>
                  </a:lnTo>
                  <a:lnTo>
                    <a:pt x="215" y="148"/>
                  </a:lnTo>
                  <a:lnTo>
                    <a:pt x="215" y="148"/>
                  </a:lnTo>
                  <a:lnTo>
                    <a:pt x="216" y="149"/>
                  </a:lnTo>
                  <a:lnTo>
                    <a:pt x="217" y="149"/>
                  </a:lnTo>
                  <a:lnTo>
                    <a:pt x="220" y="151"/>
                  </a:lnTo>
                  <a:lnTo>
                    <a:pt x="222" y="151"/>
                  </a:lnTo>
                  <a:lnTo>
                    <a:pt x="223" y="151"/>
                  </a:lnTo>
                  <a:lnTo>
                    <a:pt x="223" y="152"/>
                  </a:lnTo>
                  <a:lnTo>
                    <a:pt x="224" y="152"/>
                  </a:lnTo>
                  <a:lnTo>
                    <a:pt x="225" y="152"/>
                  </a:lnTo>
                  <a:lnTo>
                    <a:pt x="225" y="152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7" y="151"/>
                  </a:lnTo>
                  <a:lnTo>
                    <a:pt x="228" y="151"/>
                  </a:lnTo>
                  <a:lnTo>
                    <a:pt x="229" y="150"/>
                  </a:lnTo>
                  <a:lnTo>
                    <a:pt x="231" y="149"/>
                  </a:lnTo>
                  <a:lnTo>
                    <a:pt x="232" y="149"/>
                  </a:lnTo>
                  <a:lnTo>
                    <a:pt x="233" y="148"/>
                  </a:lnTo>
                  <a:lnTo>
                    <a:pt x="234" y="148"/>
                  </a:lnTo>
                  <a:lnTo>
                    <a:pt x="238" y="148"/>
                  </a:lnTo>
                  <a:lnTo>
                    <a:pt x="242" y="147"/>
                  </a:lnTo>
                  <a:lnTo>
                    <a:pt x="243" y="147"/>
                  </a:lnTo>
                  <a:lnTo>
                    <a:pt x="244" y="147"/>
                  </a:lnTo>
                  <a:lnTo>
                    <a:pt x="247" y="147"/>
                  </a:lnTo>
                  <a:lnTo>
                    <a:pt x="248" y="147"/>
                  </a:lnTo>
                  <a:lnTo>
                    <a:pt x="250" y="147"/>
                  </a:lnTo>
                  <a:lnTo>
                    <a:pt x="252" y="147"/>
                  </a:lnTo>
                  <a:lnTo>
                    <a:pt x="254" y="147"/>
                  </a:lnTo>
                  <a:lnTo>
                    <a:pt x="255" y="147"/>
                  </a:lnTo>
                  <a:lnTo>
                    <a:pt x="256" y="148"/>
                  </a:lnTo>
                  <a:lnTo>
                    <a:pt x="259" y="149"/>
                  </a:lnTo>
                  <a:lnTo>
                    <a:pt x="260" y="149"/>
                  </a:lnTo>
                  <a:lnTo>
                    <a:pt x="261" y="149"/>
                  </a:lnTo>
                  <a:lnTo>
                    <a:pt x="263" y="150"/>
                  </a:lnTo>
                  <a:lnTo>
                    <a:pt x="264" y="150"/>
                  </a:lnTo>
                  <a:lnTo>
                    <a:pt x="266" y="150"/>
                  </a:lnTo>
                  <a:lnTo>
                    <a:pt x="267" y="149"/>
                  </a:lnTo>
                  <a:lnTo>
                    <a:pt x="268" y="149"/>
                  </a:lnTo>
                  <a:lnTo>
                    <a:pt x="269" y="149"/>
                  </a:lnTo>
                  <a:lnTo>
                    <a:pt x="270" y="148"/>
                  </a:lnTo>
                  <a:lnTo>
                    <a:pt x="271" y="147"/>
                  </a:lnTo>
                  <a:lnTo>
                    <a:pt x="273" y="146"/>
                  </a:lnTo>
                  <a:lnTo>
                    <a:pt x="274" y="145"/>
                  </a:lnTo>
                  <a:lnTo>
                    <a:pt x="275" y="145"/>
                  </a:lnTo>
                  <a:lnTo>
                    <a:pt x="278" y="144"/>
                  </a:lnTo>
                  <a:lnTo>
                    <a:pt x="278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80" y="142"/>
                  </a:lnTo>
                  <a:lnTo>
                    <a:pt x="281" y="142"/>
                  </a:lnTo>
                  <a:lnTo>
                    <a:pt x="281" y="141"/>
                  </a:lnTo>
                  <a:lnTo>
                    <a:pt x="282" y="140"/>
                  </a:lnTo>
                  <a:lnTo>
                    <a:pt x="282" y="139"/>
                  </a:lnTo>
                  <a:lnTo>
                    <a:pt x="282" y="138"/>
                  </a:lnTo>
                  <a:lnTo>
                    <a:pt x="282" y="138"/>
                  </a:lnTo>
                  <a:lnTo>
                    <a:pt x="282" y="136"/>
                  </a:lnTo>
                  <a:lnTo>
                    <a:pt x="282" y="133"/>
                  </a:lnTo>
                  <a:lnTo>
                    <a:pt x="282" y="132"/>
                  </a:lnTo>
                  <a:lnTo>
                    <a:pt x="282" y="130"/>
                  </a:lnTo>
                  <a:lnTo>
                    <a:pt x="282" y="129"/>
                  </a:lnTo>
                  <a:lnTo>
                    <a:pt x="282" y="128"/>
                  </a:lnTo>
                  <a:lnTo>
                    <a:pt x="283" y="127"/>
                  </a:lnTo>
                  <a:lnTo>
                    <a:pt x="283" y="126"/>
                  </a:lnTo>
                  <a:lnTo>
                    <a:pt x="283" y="125"/>
                  </a:lnTo>
                  <a:lnTo>
                    <a:pt x="284" y="124"/>
                  </a:lnTo>
                  <a:lnTo>
                    <a:pt x="284" y="124"/>
                  </a:lnTo>
                  <a:lnTo>
                    <a:pt x="284" y="123"/>
                  </a:lnTo>
                  <a:lnTo>
                    <a:pt x="285" y="123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2"/>
                  </a:lnTo>
                  <a:lnTo>
                    <a:pt x="287" y="121"/>
                  </a:lnTo>
                  <a:lnTo>
                    <a:pt x="288" y="121"/>
                  </a:lnTo>
                  <a:lnTo>
                    <a:pt x="291" y="120"/>
                  </a:lnTo>
                  <a:lnTo>
                    <a:pt x="292" y="120"/>
                  </a:lnTo>
                  <a:lnTo>
                    <a:pt x="294" y="119"/>
                  </a:lnTo>
                  <a:lnTo>
                    <a:pt x="295" y="119"/>
                  </a:lnTo>
                  <a:lnTo>
                    <a:pt x="297" y="118"/>
                  </a:lnTo>
                  <a:lnTo>
                    <a:pt x="298" y="117"/>
                  </a:lnTo>
                  <a:lnTo>
                    <a:pt x="299" y="116"/>
                  </a:lnTo>
                  <a:lnTo>
                    <a:pt x="301" y="114"/>
                  </a:lnTo>
                  <a:lnTo>
                    <a:pt x="302" y="113"/>
                  </a:lnTo>
                  <a:lnTo>
                    <a:pt x="303" y="113"/>
                  </a:lnTo>
                  <a:lnTo>
                    <a:pt x="305" y="112"/>
                  </a:lnTo>
                  <a:lnTo>
                    <a:pt x="306" y="111"/>
                  </a:lnTo>
                  <a:lnTo>
                    <a:pt x="308" y="110"/>
                  </a:lnTo>
                  <a:lnTo>
                    <a:pt x="309" y="110"/>
                  </a:lnTo>
                  <a:lnTo>
                    <a:pt x="310" y="110"/>
                  </a:lnTo>
                  <a:lnTo>
                    <a:pt x="311" y="110"/>
                  </a:lnTo>
                  <a:lnTo>
                    <a:pt x="312" y="110"/>
                  </a:lnTo>
                  <a:lnTo>
                    <a:pt x="313" y="110"/>
                  </a:lnTo>
                  <a:lnTo>
                    <a:pt x="314" y="110"/>
                  </a:lnTo>
                  <a:lnTo>
                    <a:pt x="316" y="111"/>
                  </a:lnTo>
                  <a:lnTo>
                    <a:pt x="319" y="112"/>
                  </a:lnTo>
                  <a:lnTo>
                    <a:pt x="321" y="113"/>
                  </a:lnTo>
                  <a:lnTo>
                    <a:pt x="322" y="113"/>
                  </a:lnTo>
                  <a:lnTo>
                    <a:pt x="323" y="113"/>
                  </a:lnTo>
                  <a:lnTo>
                    <a:pt x="324" y="113"/>
                  </a:lnTo>
                  <a:lnTo>
                    <a:pt x="327" y="112"/>
                  </a:lnTo>
                  <a:lnTo>
                    <a:pt x="331" y="112"/>
                  </a:lnTo>
                  <a:lnTo>
                    <a:pt x="331" y="111"/>
                  </a:lnTo>
                  <a:lnTo>
                    <a:pt x="332" y="111"/>
                  </a:lnTo>
                  <a:lnTo>
                    <a:pt x="334" y="111"/>
                  </a:lnTo>
                  <a:lnTo>
                    <a:pt x="335" y="110"/>
                  </a:lnTo>
                  <a:lnTo>
                    <a:pt x="336" y="109"/>
                  </a:lnTo>
                  <a:lnTo>
                    <a:pt x="339" y="107"/>
                  </a:lnTo>
                  <a:lnTo>
                    <a:pt x="340" y="106"/>
                  </a:lnTo>
                  <a:lnTo>
                    <a:pt x="342" y="105"/>
                  </a:lnTo>
                  <a:lnTo>
                    <a:pt x="345" y="104"/>
                  </a:lnTo>
                  <a:lnTo>
                    <a:pt x="352" y="101"/>
                  </a:lnTo>
                  <a:lnTo>
                    <a:pt x="357" y="98"/>
                  </a:lnTo>
                  <a:lnTo>
                    <a:pt x="360" y="97"/>
                  </a:lnTo>
                  <a:lnTo>
                    <a:pt x="362" y="96"/>
                  </a:lnTo>
                  <a:lnTo>
                    <a:pt x="368" y="94"/>
                  </a:lnTo>
                  <a:lnTo>
                    <a:pt x="370" y="94"/>
                  </a:lnTo>
                  <a:lnTo>
                    <a:pt x="372" y="93"/>
                  </a:lnTo>
                  <a:lnTo>
                    <a:pt x="373" y="92"/>
                  </a:lnTo>
                  <a:lnTo>
                    <a:pt x="374" y="92"/>
                  </a:lnTo>
                  <a:lnTo>
                    <a:pt x="375" y="91"/>
                  </a:lnTo>
                  <a:lnTo>
                    <a:pt x="377" y="89"/>
                  </a:lnTo>
                  <a:lnTo>
                    <a:pt x="378" y="88"/>
                  </a:lnTo>
                  <a:lnTo>
                    <a:pt x="379" y="87"/>
                  </a:lnTo>
                  <a:lnTo>
                    <a:pt x="380" y="86"/>
                  </a:lnTo>
                  <a:lnTo>
                    <a:pt x="381" y="85"/>
                  </a:lnTo>
                  <a:lnTo>
                    <a:pt x="382" y="84"/>
                  </a:lnTo>
                  <a:lnTo>
                    <a:pt x="384" y="81"/>
                  </a:lnTo>
                  <a:lnTo>
                    <a:pt x="384" y="80"/>
                  </a:lnTo>
                  <a:lnTo>
                    <a:pt x="384" y="79"/>
                  </a:lnTo>
                  <a:lnTo>
                    <a:pt x="385" y="79"/>
                  </a:lnTo>
                  <a:lnTo>
                    <a:pt x="386" y="78"/>
                  </a:lnTo>
                  <a:lnTo>
                    <a:pt x="387" y="78"/>
                  </a:lnTo>
                  <a:lnTo>
                    <a:pt x="388" y="77"/>
                  </a:lnTo>
                  <a:lnTo>
                    <a:pt x="389" y="76"/>
                  </a:lnTo>
                  <a:lnTo>
                    <a:pt x="391" y="76"/>
                  </a:lnTo>
                  <a:lnTo>
                    <a:pt x="392" y="76"/>
                  </a:lnTo>
                  <a:lnTo>
                    <a:pt x="393" y="76"/>
                  </a:lnTo>
                  <a:lnTo>
                    <a:pt x="394" y="76"/>
                  </a:lnTo>
                  <a:lnTo>
                    <a:pt x="395" y="76"/>
                  </a:lnTo>
                  <a:lnTo>
                    <a:pt x="397" y="76"/>
                  </a:lnTo>
                  <a:lnTo>
                    <a:pt x="399" y="77"/>
                  </a:lnTo>
                  <a:lnTo>
                    <a:pt x="401" y="77"/>
                  </a:lnTo>
                  <a:lnTo>
                    <a:pt x="402" y="77"/>
                  </a:lnTo>
                  <a:lnTo>
                    <a:pt x="403" y="77"/>
                  </a:lnTo>
                  <a:lnTo>
                    <a:pt x="404" y="77"/>
                  </a:lnTo>
                  <a:lnTo>
                    <a:pt x="405" y="77"/>
                  </a:lnTo>
                  <a:lnTo>
                    <a:pt x="407" y="77"/>
                  </a:lnTo>
                  <a:lnTo>
                    <a:pt x="410" y="76"/>
                  </a:lnTo>
                  <a:lnTo>
                    <a:pt x="411" y="76"/>
                  </a:lnTo>
                  <a:lnTo>
                    <a:pt x="412" y="75"/>
                  </a:lnTo>
                  <a:lnTo>
                    <a:pt x="414" y="75"/>
                  </a:lnTo>
                  <a:lnTo>
                    <a:pt x="417" y="74"/>
                  </a:lnTo>
                  <a:lnTo>
                    <a:pt x="418" y="73"/>
                  </a:lnTo>
                  <a:lnTo>
                    <a:pt x="419" y="73"/>
                  </a:lnTo>
                  <a:lnTo>
                    <a:pt x="422" y="72"/>
                  </a:lnTo>
                  <a:lnTo>
                    <a:pt x="423" y="72"/>
                  </a:lnTo>
                  <a:lnTo>
                    <a:pt x="424" y="72"/>
                  </a:lnTo>
                  <a:lnTo>
                    <a:pt x="425" y="71"/>
                  </a:lnTo>
                  <a:lnTo>
                    <a:pt x="425" y="71"/>
                  </a:lnTo>
                  <a:lnTo>
                    <a:pt x="426" y="70"/>
                  </a:lnTo>
                  <a:lnTo>
                    <a:pt x="426" y="70"/>
                  </a:lnTo>
                  <a:lnTo>
                    <a:pt x="427" y="69"/>
                  </a:lnTo>
                  <a:lnTo>
                    <a:pt x="427" y="69"/>
                  </a:lnTo>
                  <a:lnTo>
                    <a:pt x="428" y="68"/>
                  </a:lnTo>
                  <a:lnTo>
                    <a:pt x="428" y="65"/>
                  </a:lnTo>
                  <a:lnTo>
                    <a:pt x="429" y="63"/>
                  </a:lnTo>
                  <a:lnTo>
                    <a:pt x="430" y="61"/>
                  </a:lnTo>
                  <a:lnTo>
                    <a:pt x="430" y="60"/>
                  </a:lnTo>
                  <a:lnTo>
                    <a:pt x="430" y="60"/>
                  </a:lnTo>
                  <a:lnTo>
                    <a:pt x="430" y="59"/>
                  </a:lnTo>
                  <a:lnTo>
                    <a:pt x="430" y="58"/>
                  </a:lnTo>
                  <a:lnTo>
                    <a:pt x="430" y="58"/>
                  </a:lnTo>
                  <a:lnTo>
                    <a:pt x="430" y="57"/>
                  </a:lnTo>
                  <a:lnTo>
                    <a:pt x="429" y="57"/>
                  </a:lnTo>
                  <a:lnTo>
                    <a:pt x="429" y="56"/>
                  </a:lnTo>
                  <a:lnTo>
                    <a:pt x="428" y="55"/>
                  </a:lnTo>
                  <a:lnTo>
                    <a:pt x="428" y="55"/>
                  </a:lnTo>
                  <a:lnTo>
                    <a:pt x="427" y="55"/>
                  </a:lnTo>
                  <a:lnTo>
                    <a:pt x="426" y="54"/>
                  </a:lnTo>
                  <a:lnTo>
                    <a:pt x="425" y="54"/>
                  </a:lnTo>
                  <a:lnTo>
                    <a:pt x="423" y="53"/>
                  </a:lnTo>
                  <a:lnTo>
                    <a:pt x="419" y="51"/>
                  </a:lnTo>
                  <a:lnTo>
                    <a:pt x="417" y="50"/>
                  </a:lnTo>
                  <a:lnTo>
                    <a:pt x="412" y="49"/>
                  </a:lnTo>
                  <a:lnTo>
                    <a:pt x="411" y="48"/>
                  </a:lnTo>
                  <a:lnTo>
                    <a:pt x="410" y="48"/>
                  </a:lnTo>
                  <a:lnTo>
                    <a:pt x="409" y="47"/>
                  </a:lnTo>
                  <a:lnTo>
                    <a:pt x="409" y="47"/>
                  </a:lnTo>
                  <a:lnTo>
                    <a:pt x="408" y="46"/>
                  </a:lnTo>
                  <a:lnTo>
                    <a:pt x="408" y="46"/>
                  </a:lnTo>
                  <a:lnTo>
                    <a:pt x="408" y="45"/>
                  </a:lnTo>
                  <a:lnTo>
                    <a:pt x="407" y="45"/>
                  </a:lnTo>
                  <a:lnTo>
                    <a:pt x="407" y="44"/>
                  </a:lnTo>
                  <a:lnTo>
                    <a:pt x="406" y="43"/>
                  </a:lnTo>
                  <a:lnTo>
                    <a:pt x="406" y="42"/>
                  </a:lnTo>
                  <a:lnTo>
                    <a:pt x="406" y="42"/>
                  </a:lnTo>
                  <a:lnTo>
                    <a:pt x="406" y="41"/>
                  </a:lnTo>
                  <a:lnTo>
                    <a:pt x="406" y="41"/>
                  </a:lnTo>
                  <a:lnTo>
                    <a:pt x="406" y="40"/>
                  </a:lnTo>
                  <a:lnTo>
                    <a:pt x="406" y="40"/>
                  </a:lnTo>
                  <a:lnTo>
                    <a:pt x="407" y="39"/>
                  </a:lnTo>
                  <a:lnTo>
                    <a:pt x="408" y="37"/>
                  </a:lnTo>
                  <a:lnTo>
                    <a:pt x="408" y="37"/>
                  </a:lnTo>
                  <a:lnTo>
                    <a:pt x="408" y="37"/>
                  </a:lnTo>
                  <a:lnTo>
                    <a:pt x="408" y="36"/>
                  </a:lnTo>
                  <a:lnTo>
                    <a:pt x="408" y="36"/>
                  </a:lnTo>
                  <a:lnTo>
                    <a:pt x="408" y="35"/>
                  </a:lnTo>
                  <a:lnTo>
                    <a:pt x="407" y="35"/>
                  </a:lnTo>
                  <a:lnTo>
                    <a:pt x="407" y="35"/>
                  </a:lnTo>
                  <a:lnTo>
                    <a:pt x="407" y="34"/>
                  </a:lnTo>
                  <a:lnTo>
                    <a:pt x="406" y="34"/>
                  </a:lnTo>
                  <a:lnTo>
                    <a:pt x="405" y="34"/>
                  </a:lnTo>
                  <a:lnTo>
                    <a:pt x="404" y="34"/>
                  </a:lnTo>
                  <a:lnTo>
                    <a:pt x="401" y="34"/>
                  </a:lnTo>
                  <a:lnTo>
                    <a:pt x="400" y="34"/>
                  </a:lnTo>
                  <a:lnTo>
                    <a:pt x="399" y="34"/>
                  </a:lnTo>
                  <a:lnTo>
                    <a:pt x="398" y="34"/>
                  </a:lnTo>
                  <a:lnTo>
                    <a:pt x="397" y="33"/>
                  </a:lnTo>
                  <a:lnTo>
                    <a:pt x="396" y="33"/>
                  </a:lnTo>
                  <a:lnTo>
                    <a:pt x="395" y="32"/>
                  </a:lnTo>
                  <a:lnTo>
                    <a:pt x="394" y="32"/>
                  </a:lnTo>
                  <a:lnTo>
                    <a:pt x="394" y="31"/>
                  </a:lnTo>
                  <a:lnTo>
                    <a:pt x="393" y="31"/>
                  </a:lnTo>
                  <a:lnTo>
                    <a:pt x="393" y="30"/>
                  </a:lnTo>
                  <a:lnTo>
                    <a:pt x="393" y="30"/>
                  </a:lnTo>
                  <a:lnTo>
                    <a:pt x="392" y="29"/>
                  </a:lnTo>
                  <a:lnTo>
                    <a:pt x="392" y="28"/>
                  </a:lnTo>
                  <a:lnTo>
                    <a:pt x="392" y="28"/>
                  </a:lnTo>
                  <a:lnTo>
                    <a:pt x="392" y="27"/>
                  </a:lnTo>
                  <a:lnTo>
                    <a:pt x="392" y="24"/>
                  </a:lnTo>
                  <a:lnTo>
                    <a:pt x="392" y="24"/>
                  </a:lnTo>
                  <a:lnTo>
                    <a:pt x="392" y="23"/>
                  </a:lnTo>
                  <a:lnTo>
                    <a:pt x="393" y="22"/>
                  </a:lnTo>
                  <a:lnTo>
                    <a:pt x="393" y="21"/>
                  </a:lnTo>
                  <a:lnTo>
                    <a:pt x="394" y="19"/>
                  </a:lnTo>
                  <a:lnTo>
                    <a:pt x="395" y="18"/>
                  </a:lnTo>
                  <a:lnTo>
                    <a:pt x="395" y="17"/>
                  </a:lnTo>
                  <a:lnTo>
                    <a:pt x="396" y="16"/>
                  </a:lnTo>
                  <a:lnTo>
                    <a:pt x="396" y="14"/>
                  </a:lnTo>
                  <a:lnTo>
                    <a:pt x="396" y="13"/>
                  </a:lnTo>
                  <a:lnTo>
                    <a:pt x="397" y="12"/>
                  </a:lnTo>
                  <a:lnTo>
                    <a:pt x="397" y="9"/>
                  </a:lnTo>
                  <a:lnTo>
                    <a:pt x="398" y="8"/>
                  </a:lnTo>
                  <a:lnTo>
                    <a:pt x="398" y="8"/>
                  </a:lnTo>
                  <a:lnTo>
                    <a:pt x="398" y="7"/>
                  </a:lnTo>
                  <a:lnTo>
                    <a:pt x="398" y="6"/>
                  </a:lnTo>
                  <a:lnTo>
                    <a:pt x="399" y="5"/>
                  </a:lnTo>
                  <a:lnTo>
                    <a:pt x="402" y="1"/>
                  </a:lnTo>
                  <a:lnTo>
                    <a:pt x="403" y="0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04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Freeform 19">
              <a:extLst>
                <a:ext uri="{FF2B5EF4-FFF2-40B4-BE49-F238E27FC236}">
                  <a16:creationId xmlns:a16="http://schemas.microsoft.com/office/drawing/2014/main" id="{73F45412-4252-4043-213C-7005606AF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2866"/>
              <a:ext cx="504" cy="447"/>
            </a:xfrm>
            <a:custGeom>
              <a:avLst/>
              <a:gdLst>
                <a:gd name="T0" fmla="*/ 428 w 504"/>
                <a:gd name="T1" fmla="*/ 12 h 447"/>
                <a:gd name="T2" fmla="*/ 449 w 504"/>
                <a:gd name="T3" fmla="*/ 11 h 447"/>
                <a:gd name="T4" fmla="*/ 461 w 504"/>
                <a:gd name="T5" fmla="*/ 8 h 447"/>
                <a:gd name="T6" fmla="*/ 471 w 504"/>
                <a:gd name="T7" fmla="*/ 21 h 447"/>
                <a:gd name="T8" fmla="*/ 488 w 504"/>
                <a:gd name="T9" fmla="*/ 35 h 447"/>
                <a:gd name="T10" fmla="*/ 481 w 504"/>
                <a:gd name="T11" fmla="*/ 60 h 447"/>
                <a:gd name="T12" fmla="*/ 498 w 504"/>
                <a:gd name="T13" fmla="*/ 60 h 447"/>
                <a:gd name="T14" fmla="*/ 502 w 504"/>
                <a:gd name="T15" fmla="*/ 73 h 447"/>
                <a:gd name="T16" fmla="*/ 484 w 504"/>
                <a:gd name="T17" fmla="*/ 101 h 447"/>
                <a:gd name="T18" fmla="*/ 474 w 504"/>
                <a:gd name="T19" fmla="*/ 118 h 447"/>
                <a:gd name="T20" fmla="*/ 454 w 504"/>
                <a:gd name="T21" fmla="*/ 112 h 447"/>
                <a:gd name="T22" fmla="*/ 446 w 504"/>
                <a:gd name="T23" fmla="*/ 122 h 447"/>
                <a:gd name="T24" fmla="*/ 437 w 504"/>
                <a:gd name="T25" fmla="*/ 141 h 447"/>
                <a:gd name="T26" fmla="*/ 425 w 504"/>
                <a:gd name="T27" fmla="*/ 156 h 447"/>
                <a:gd name="T28" fmla="*/ 416 w 504"/>
                <a:gd name="T29" fmla="*/ 177 h 447"/>
                <a:gd name="T30" fmla="*/ 420 w 504"/>
                <a:gd name="T31" fmla="*/ 198 h 447"/>
                <a:gd name="T32" fmla="*/ 437 w 504"/>
                <a:gd name="T33" fmla="*/ 231 h 447"/>
                <a:gd name="T34" fmla="*/ 455 w 504"/>
                <a:gd name="T35" fmla="*/ 254 h 447"/>
                <a:gd name="T36" fmla="*/ 449 w 504"/>
                <a:gd name="T37" fmla="*/ 260 h 447"/>
                <a:gd name="T38" fmla="*/ 449 w 504"/>
                <a:gd name="T39" fmla="*/ 278 h 447"/>
                <a:gd name="T40" fmla="*/ 434 w 504"/>
                <a:gd name="T41" fmla="*/ 291 h 447"/>
                <a:gd name="T42" fmla="*/ 420 w 504"/>
                <a:gd name="T43" fmla="*/ 290 h 447"/>
                <a:gd name="T44" fmla="*/ 422 w 504"/>
                <a:gd name="T45" fmla="*/ 308 h 447"/>
                <a:gd name="T46" fmla="*/ 415 w 504"/>
                <a:gd name="T47" fmla="*/ 325 h 447"/>
                <a:gd name="T48" fmla="*/ 387 w 504"/>
                <a:gd name="T49" fmla="*/ 331 h 447"/>
                <a:gd name="T50" fmla="*/ 365 w 504"/>
                <a:gd name="T51" fmla="*/ 330 h 447"/>
                <a:gd name="T52" fmla="*/ 323 w 504"/>
                <a:gd name="T53" fmla="*/ 328 h 447"/>
                <a:gd name="T54" fmla="*/ 307 w 504"/>
                <a:gd name="T55" fmla="*/ 335 h 447"/>
                <a:gd name="T56" fmla="*/ 301 w 504"/>
                <a:gd name="T57" fmla="*/ 346 h 447"/>
                <a:gd name="T58" fmla="*/ 288 w 504"/>
                <a:gd name="T59" fmla="*/ 358 h 447"/>
                <a:gd name="T60" fmla="*/ 268 w 504"/>
                <a:gd name="T61" fmla="*/ 371 h 447"/>
                <a:gd name="T62" fmla="*/ 256 w 504"/>
                <a:gd name="T63" fmla="*/ 366 h 447"/>
                <a:gd name="T64" fmla="*/ 239 w 504"/>
                <a:gd name="T65" fmla="*/ 377 h 447"/>
                <a:gd name="T66" fmla="*/ 214 w 504"/>
                <a:gd name="T67" fmla="*/ 380 h 447"/>
                <a:gd name="T68" fmla="*/ 197 w 504"/>
                <a:gd name="T69" fmla="*/ 390 h 447"/>
                <a:gd name="T70" fmla="*/ 175 w 504"/>
                <a:gd name="T71" fmla="*/ 397 h 447"/>
                <a:gd name="T72" fmla="*/ 158 w 504"/>
                <a:gd name="T73" fmla="*/ 412 h 447"/>
                <a:gd name="T74" fmla="*/ 153 w 504"/>
                <a:gd name="T75" fmla="*/ 426 h 447"/>
                <a:gd name="T76" fmla="*/ 141 w 504"/>
                <a:gd name="T77" fmla="*/ 435 h 447"/>
                <a:gd name="T78" fmla="*/ 128 w 504"/>
                <a:gd name="T79" fmla="*/ 446 h 447"/>
                <a:gd name="T80" fmla="*/ 117 w 504"/>
                <a:gd name="T81" fmla="*/ 437 h 447"/>
                <a:gd name="T82" fmla="*/ 109 w 504"/>
                <a:gd name="T83" fmla="*/ 440 h 447"/>
                <a:gd name="T84" fmla="*/ 102 w 504"/>
                <a:gd name="T85" fmla="*/ 437 h 447"/>
                <a:gd name="T86" fmla="*/ 91 w 504"/>
                <a:gd name="T87" fmla="*/ 425 h 447"/>
                <a:gd name="T88" fmla="*/ 84 w 504"/>
                <a:gd name="T89" fmla="*/ 418 h 447"/>
                <a:gd name="T90" fmla="*/ 95 w 504"/>
                <a:gd name="T91" fmla="*/ 416 h 447"/>
                <a:gd name="T92" fmla="*/ 94 w 504"/>
                <a:gd name="T93" fmla="*/ 400 h 447"/>
                <a:gd name="T94" fmla="*/ 85 w 504"/>
                <a:gd name="T95" fmla="*/ 376 h 447"/>
                <a:gd name="T96" fmla="*/ 80 w 504"/>
                <a:gd name="T97" fmla="*/ 356 h 447"/>
                <a:gd name="T98" fmla="*/ 83 w 504"/>
                <a:gd name="T99" fmla="*/ 333 h 447"/>
                <a:gd name="T100" fmla="*/ 76 w 504"/>
                <a:gd name="T101" fmla="*/ 318 h 447"/>
                <a:gd name="T102" fmla="*/ 50 w 504"/>
                <a:gd name="T103" fmla="*/ 318 h 447"/>
                <a:gd name="T104" fmla="*/ 44 w 504"/>
                <a:gd name="T105" fmla="*/ 310 h 447"/>
                <a:gd name="T106" fmla="*/ 28 w 504"/>
                <a:gd name="T107" fmla="*/ 302 h 447"/>
                <a:gd name="T108" fmla="*/ 0 w 504"/>
                <a:gd name="T109" fmla="*/ 293 h 447"/>
                <a:gd name="T110" fmla="*/ 21 w 504"/>
                <a:gd name="T111" fmla="*/ 273 h 447"/>
                <a:gd name="T112" fmla="*/ 28 w 504"/>
                <a:gd name="T113" fmla="*/ 248 h 447"/>
                <a:gd name="T114" fmla="*/ 52 w 504"/>
                <a:gd name="T115" fmla="*/ 245 h 447"/>
                <a:gd name="T116" fmla="*/ 72 w 504"/>
                <a:gd name="T117" fmla="*/ 248 h 447"/>
                <a:gd name="T118" fmla="*/ 84 w 504"/>
                <a:gd name="T119" fmla="*/ 223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4" h="447">
                  <a:moveTo>
                    <a:pt x="404" y="0"/>
                  </a:moveTo>
                  <a:lnTo>
                    <a:pt x="405" y="0"/>
                  </a:lnTo>
                  <a:lnTo>
                    <a:pt x="405" y="0"/>
                  </a:lnTo>
                  <a:lnTo>
                    <a:pt x="406" y="1"/>
                  </a:lnTo>
                  <a:lnTo>
                    <a:pt x="410" y="3"/>
                  </a:lnTo>
                  <a:lnTo>
                    <a:pt x="411" y="4"/>
                  </a:lnTo>
                  <a:lnTo>
                    <a:pt x="413" y="5"/>
                  </a:lnTo>
                  <a:lnTo>
                    <a:pt x="414" y="5"/>
                  </a:lnTo>
                  <a:lnTo>
                    <a:pt x="415" y="5"/>
                  </a:lnTo>
                  <a:lnTo>
                    <a:pt x="419" y="6"/>
                  </a:lnTo>
                  <a:lnTo>
                    <a:pt x="420" y="6"/>
                  </a:lnTo>
                  <a:lnTo>
                    <a:pt x="421" y="7"/>
                  </a:lnTo>
                  <a:lnTo>
                    <a:pt x="422" y="7"/>
                  </a:lnTo>
                  <a:lnTo>
                    <a:pt x="423" y="8"/>
                  </a:lnTo>
                  <a:lnTo>
                    <a:pt x="425" y="9"/>
                  </a:lnTo>
                  <a:lnTo>
                    <a:pt x="426" y="10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0" y="13"/>
                  </a:lnTo>
                  <a:lnTo>
                    <a:pt x="431" y="14"/>
                  </a:lnTo>
                  <a:lnTo>
                    <a:pt x="432" y="14"/>
                  </a:lnTo>
                  <a:lnTo>
                    <a:pt x="433" y="15"/>
                  </a:lnTo>
                  <a:lnTo>
                    <a:pt x="434" y="15"/>
                  </a:lnTo>
                  <a:lnTo>
                    <a:pt x="435" y="15"/>
                  </a:lnTo>
                  <a:lnTo>
                    <a:pt x="436" y="15"/>
                  </a:lnTo>
                  <a:lnTo>
                    <a:pt x="437" y="15"/>
                  </a:lnTo>
                  <a:lnTo>
                    <a:pt x="438" y="14"/>
                  </a:lnTo>
                  <a:lnTo>
                    <a:pt x="439" y="14"/>
                  </a:lnTo>
                  <a:lnTo>
                    <a:pt x="440" y="14"/>
                  </a:lnTo>
                  <a:lnTo>
                    <a:pt x="444" y="12"/>
                  </a:lnTo>
                  <a:lnTo>
                    <a:pt x="445" y="12"/>
                  </a:lnTo>
                  <a:lnTo>
                    <a:pt x="447" y="11"/>
                  </a:lnTo>
                  <a:lnTo>
                    <a:pt x="448" y="11"/>
                  </a:lnTo>
                  <a:lnTo>
                    <a:pt x="449" y="11"/>
                  </a:lnTo>
                  <a:lnTo>
                    <a:pt x="450" y="11"/>
                  </a:lnTo>
                  <a:lnTo>
                    <a:pt x="451" y="11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5" y="12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8" y="10"/>
                  </a:lnTo>
                  <a:lnTo>
                    <a:pt x="459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2" y="9"/>
                  </a:lnTo>
                  <a:lnTo>
                    <a:pt x="462" y="9"/>
                  </a:lnTo>
                  <a:lnTo>
                    <a:pt x="462" y="11"/>
                  </a:lnTo>
                  <a:lnTo>
                    <a:pt x="462" y="12"/>
                  </a:lnTo>
                  <a:lnTo>
                    <a:pt x="462" y="12"/>
                  </a:lnTo>
                  <a:lnTo>
                    <a:pt x="463" y="13"/>
                  </a:lnTo>
                  <a:lnTo>
                    <a:pt x="463" y="14"/>
                  </a:lnTo>
                  <a:lnTo>
                    <a:pt x="464" y="14"/>
                  </a:lnTo>
                  <a:lnTo>
                    <a:pt x="464" y="15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9" y="18"/>
                  </a:lnTo>
                  <a:lnTo>
                    <a:pt x="470" y="19"/>
                  </a:lnTo>
                  <a:lnTo>
                    <a:pt x="471" y="21"/>
                  </a:lnTo>
                  <a:lnTo>
                    <a:pt x="472" y="21"/>
                  </a:lnTo>
                  <a:lnTo>
                    <a:pt x="473" y="22"/>
                  </a:lnTo>
                  <a:lnTo>
                    <a:pt x="474" y="22"/>
                  </a:lnTo>
                  <a:lnTo>
                    <a:pt x="475" y="22"/>
                  </a:lnTo>
                  <a:lnTo>
                    <a:pt x="478" y="23"/>
                  </a:lnTo>
                  <a:lnTo>
                    <a:pt x="478" y="23"/>
                  </a:lnTo>
                  <a:lnTo>
                    <a:pt x="479" y="24"/>
                  </a:lnTo>
                  <a:lnTo>
                    <a:pt x="480" y="24"/>
                  </a:lnTo>
                  <a:lnTo>
                    <a:pt x="481" y="25"/>
                  </a:lnTo>
                  <a:lnTo>
                    <a:pt x="482" y="26"/>
                  </a:lnTo>
                  <a:lnTo>
                    <a:pt x="483" y="26"/>
                  </a:lnTo>
                  <a:lnTo>
                    <a:pt x="484" y="28"/>
                  </a:lnTo>
                  <a:lnTo>
                    <a:pt x="486" y="30"/>
                  </a:lnTo>
                  <a:lnTo>
                    <a:pt x="487" y="31"/>
                  </a:lnTo>
                  <a:lnTo>
                    <a:pt x="487" y="32"/>
                  </a:lnTo>
                  <a:lnTo>
                    <a:pt x="488" y="34"/>
                  </a:lnTo>
                  <a:lnTo>
                    <a:pt x="488" y="35"/>
                  </a:lnTo>
                  <a:lnTo>
                    <a:pt x="488" y="36"/>
                  </a:lnTo>
                  <a:lnTo>
                    <a:pt x="488" y="38"/>
                  </a:lnTo>
                  <a:lnTo>
                    <a:pt x="488" y="39"/>
                  </a:lnTo>
                  <a:lnTo>
                    <a:pt x="488" y="41"/>
                  </a:lnTo>
                  <a:lnTo>
                    <a:pt x="487" y="43"/>
                  </a:lnTo>
                  <a:lnTo>
                    <a:pt x="487" y="45"/>
                  </a:lnTo>
                  <a:lnTo>
                    <a:pt x="486" y="47"/>
                  </a:lnTo>
                  <a:lnTo>
                    <a:pt x="485" y="50"/>
                  </a:lnTo>
                  <a:lnTo>
                    <a:pt x="484" y="51"/>
                  </a:lnTo>
                  <a:lnTo>
                    <a:pt x="482" y="55"/>
                  </a:lnTo>
                  <a:lnTo>
                    <a:pt x="482" y="56"/>
                  </a:lnTo>
                  <a:lnTo>
                    <a:pt x="481" y="57"/>
                  </a:lnTo>
                  <a:lnTo>
                    <a:pt x="481" y="57"/>
                  </a:lnTo>
                  <a:lnTo>
                    <a:pt x="481" y="59"/>
                  </a:lnTo>
                  <a:lnTo>
                    <a:pt x="481" y="59"/>
                  </a:lnTo>
                  <a:lnTo>
                    <a:pt x="481" y="60"/>
                  </a:lnTo>
                  <a:lnTo>
                    <a:pt x="481" y="60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4" y="63"/>
                  </a:lnTo>
                  <a:lnTo>
                    <a:pt x="485" y="64"/>
                  </a:lnTo>
                  <a:lnTo>
                    <a:pt x="485" y="64"/>
                  </a:lnTo>
                  <a:lnTo>
                    <a:pt x="486" y="64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2"/>
                  </a:lnTo>
                  <a:lnTo>
                    <a:pt x="495" y="61"/>
                  </a:lnTo>
                  <a:lnTo>
                    <a:pt x="497" y="61"/>
                  </a:lnTo>
                  <a:lnTo>
                    <a:pt x="498" y="60"/>
                  </a:lnTo>
                  <a:lnTo>
                    <a:pt x="499" y="60"/>
                  </a:lnTo>
                  <a:lnTo>
                    <a:pt x="500" y="60"/>
                  </a:lnTo>
                  <a:lnTo>
                    <a:pt x="501" y="60"/>
                  </a:lnTo>
                  <a:lnTo>
                    <a:pt x="501" y="60"/>
                  </a:lnTo>
                  <a:lnTo>
                    <a:pt x="502" y="60"/>
                  </a:lnTo>
                  <a:lnTo>
                    <a:pt x="502" y="61"/>
                  </a:lnTo>
                  <a:lnTo>
                    <a:pt x="503" y="61"/>
                  </a:lnTo>
                  <a:lnTo>
                    <a:pt x="503" y="62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4"/>
                  </a:lnTo>
                  <a:lnTo>
                    <a:pt x="504" y="65"/>
                  </a:lnTo>
                  <a:lnTo>
                    <a:pt x="504" y="66"/>
                  </a:lnTo>
                  <a:lnTo>
                    <a:pt x="504" y="68"/>
                  </a:lnTo>
                  <a:lnTo>
                    <a:pt x="504" y="69"/>
                  </a:lnTo>
                  <a:lnTo>
                    <a:pt x="503" y="70"/>
                  </a:lnTo>
                  <a:lnTo>
                    <a:pt x="502" y="73"/>
                  </a:lnTo>
                  <a:lnTo>
                    <a:pt x="501" y="75"/>
                  </a:lnTo>
                  <a:lnTo>
                    <a:pt x="497" y="84"/>
                  </a:lnTo>
                  <a:lnTo>
                    <a:pt x="495" y="90"/>
                  </a:lnTo>
                  <a:lnTo>
                    <a:pt x="495" y="91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4" y="93"/>
                  </a:lnTo>
                  <a:lnTo>
                    <a:pt x="494" y="93"/>
                  </a:lnTo>
                  <a:lnTo>
                    <a:pt x="493" y="95"/>
                  </a:lnTo>
                  <a:lnTo>
                    <a:pt x="491" y="96"/>
                  </a:lnTo>
                  <a:lnTo>
                    <a:pt x="490" y="97"/>
                  </a:lnTo>
                  <a:lnTo>
                    <a:pt x="489" y="98"/>
                  </a:lnTo>
                  <a:lnTo>
                    <a:pt x="487" y="99"/>
                  </a:lnTo>
                  <a:lnTo>
                    <a:pt x="485" y="100"/>
                  </a:lnTo>
                  <a:lnTo>
                    <a:pt x="484" y="101"/>
                  </a:lnTo>
                  <a:lnTo>
                    <a:pt x="482" y="102"/>
                  </a:lnTo>
                  <a:lnTo>
                    <a:pt x="482" y="102"/>
                  </a:lnTo>
                  <a:lnTo>
                    <a:pt x="482" y="103"/>
                  </a:lnTo>
                  <a:lnTo>
                    <a:pt x="481" y="104"/>
                  </a:lnTo>
                  <a:lnTo>
                    <a:pt x="481" y="104"/>
                  </a:lnTo>
                  <a:lnTo>
                    <a:pt x="480" y="105"/>
                  </a:lnTo>
                  <a:lnTo>
                    <a:pt x="480" y="107"/>
                  </a:lnTo>
                  <a:lnTo>
                    <a:pt x="479" y="108"/>
                  </a:lnTo>
                  <a:lnTo>
                    <a:pt x="478" y="114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6" y="116"/>
                  </a:lnTo>
                  <a:lnTo>
                    <a:pt x="476" y="117"/>
                  </a:lnTo>
                  <a:lnTo>
                    <a:pt x="476" y="117"/>
                  </a:lnTo>
                  <a:lnTo>
                    <a:pt x="475" y="118"/>
                  </a:lnTo>
                  <a:lnTo>
                    <a:pt x="475" y="118"/>
                  </a:lnTo>
                  <a:lnTo>
                    <a:pt x="474" y="118"/>
                  </a:lnTo>
                  <a:lnTo>
                    <a:pt x="474" y="119"/>
                  </a:lnTo>
                  <a:lnTo>
                    <a:pt x="473" y="119"/>
                  </a:lnTo>
                  <a:lnTo>
                    <a:pt x="472" y="119"/>
                  </a:lnTo>
                  <a:lnTo>
                    <a:pt x="471" y="119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69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6" y="118"/>
                  </a:lnTo>
                  <a:lnTo>
                    <a:pt x="464" y="118"/>
                  </a:lnTo>
                  <a:lnTo>
                    <a:pt x="463" y="117"/>
                  </a:lnTo>
                  <a:lnTo>
                    <a:pt x="460" y="115"/>
                  </a:lnTo>
                  <a:lnTo>
                    <a:pt x="458" y="114"/>
                  </a:lnTo>
                  <a:lnTo>
                    <a:pt x="457" y="114"/>
                  </a:lnTo>
                  <a:lnTo>
                    <a:pt x="455" y="113"/>
                  </a:lnTo>
                  <a:lnTo>
                    <a:pt x="454" y="112"/>
                  </a:lnTo>
                  <a:lnTo>
                    <a:pt x="453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1" y="112"/>
                  </a:lnTo>
                  <a:lnTo>
                    <a:pt x="450" y="112"/>
                  </a:lnTo>
                  <a:lnTo>
                    <a:pt x="448" y="113"/>
                  </a:lnTo>
                  <a:lnTo>
                    <a:pt x="447" y="113"/>
                  </a:lnTo>
                  <a:lnTo>
                    <a:pt x="447" y="113"/>
                  </a:lnTo>
                  <a:lnTo>
                    <a:pt x="446" y="113"/>
                  </a:lnTo>
                  <a:lnTo>
                    <a:pt x="446" y="113"/>
                  </a:lnTo>
                  <a:lnTo>
                    <a:pt x="446" y="114"/>
                  </a:lnTo>
                  <a:lnTo>
                    <a:pt x="446" y="114"/>
                  </a:lnTo>
                  <a:lnTo>
                    <a:pt x="446" y="115"/>
                  </a:lnTo>
                  <a:lnTo>
                    <a:pt x="446" y="116"/>
                  </a:lnTo>
                  <a:lnTo>
                    <a:pt x="446" y="119"/>
                  </a:lnTo>
                  <a:lnTo>
                    <a:pt x="446" y="121"/>
                  </a:lnTo>
                  <a:lnTo>
                    <a:pt x="446" y="122"/>
                  </a:lnTo>
                  <a:lnTo>
                    <a:pt x="446" y="123"/>
                  </a:lnTo>
                  <a:lnTo>
                    <a:pt x="446" y="126"/>
                  </a:lnTo>
                  <a:lnTo>
                    <a:pt x="445" y="127"/>
                  </a:lnTo>
                  <a:lnTo>
                    <a:pt x="445" y="128"/>
                  </a:lnTo>
                  <a:lnTo>
                    <a:pt x="445" y="128"/>
                  </a:lnTo>
                  <a:lnTo>
                    <a:pt x="444" y="129"/>
                  </a:lnTo>
                  <a:lnTo>
                    <a:pt x="444" y="130"/>
                  </a:lnTo>
                  <a:lnTo>
                    <a:pt x="442" y="132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0" y="134"/>
                  </a:lnTo>
                  <a:lnTo>
                    <a:pt x="440" y="135"/>
                  </a:lnTo>
                  <a:lnTo>
                    <a:pt x="439" y="136"/>
                  </a:lnTo>
                  <a:lnTo>
                    <a:pt x="439" y="137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7" y="141"/>
                  </a:lnTo>
                  <a:lnTo>
                    <a:pt x="437" y="142"/>
                  </a:lnTo>
                  <a:lnTo>
                    <a:pt x="437" y="143"/>
                  </a:lnTo>
                  <a:lnTo>
                    <a:pt x="437" y="144"/>
                  </a:lnTo>
                  <a:lnTo>
                    <a:pt x="437" y="146"/>
                  </a:lnTo>
                  <a:lnTo>
                    <a:pt x="437" y="146"/>
                  </a:lnTo>
                  <a:lnTo>
                    <a:pt x="437" y="147"/>
                  </a:lnTo>
                  <a:lnTo>
                    <a:pt x="436" y="147"/>
                  </a:lnTo>
                  <a:lnTo>
                    <a:pt x="436" y="147"/>
                  </a:lnTo>
                  <a:lnTo>
                    <a:pt x="436" y="148"/>
                  </a:lnTo>
                  <a:lnTo>
                    <a:pt x="435" y="148"/>
                  </a:lnTo>
                  <a:lnTo>
                    <a:pt x="434" y="149"/>
                  </a:lnTo>
                  <a:lnTo>
                    <a:pt x="433" y="149"/>
                  </a:lnTo>
                  <a:lnTo>
                    <a:pt x="433" y="149"/>
                  </a:lnTo>
                  <a:lnTo>
                    <a:pt x="430" y="152"/>
                  </a:lnTo>
                  <a:lnTo>
                    <a:pt x="427" y="154"/>
                  </a:lnTo>
                  <a:lnTo>
                    <a:pt x="426" y="155"/>
                  </a:lnTo>
                  <a:lnTo>
                    <a:pt x="425" y="156"/>
                  </a:lnTo>
                  <a:lnTo>
                    <a:pt x="425" y="156"/>
                  </a:lnTo>
                  <a:lnTo>
                    <a:pt x="424" y="157"/>
                  </a:lnTo>
                  <a:lnTo>
                    <a:pt x="424" y="158"/>
                  </a:lnTo>
                  <a:lnTo>
                    <a:pt x="423" y="159"/>
                  </a:lnTo>
                  <a:lnTo>
                    <a:pt x="423" y="160"/>
                  </a:lnTo>
                  <a:lnTo>
                    <a:pt x="422" y="162"/>
                  </a:lnTo>
                  <a:lnTo>
                    <a:pt x="422" y="163"/>
                  </a:lnTo>
                  <a:lnTo>
                    <a:pt x="422" y="164"/>
                  </a:lnTo>
                  <a:lnTo>
                    <a:pt x="421" y="167"/>
                  </a:lnTo>
                  <a:lnTo>
                    <a:pt x="421" y="168"/>
                  </a:lnTo>
                  <a:lnTo>
                    <a:pt x="421" y="169"/>
                  </a:lnTo>
                  <a:lnTo>
                    <a:pt x="420" y="170"/>
                  </a:lnTo>
                  <a:lnTo>
                    <a:pt x="420" y="171"/>
                  </a:lnTo>
                  <a:lnTo>
                    <a:pt x="418" y="174"/>
                  </a:lnTo>
                  <a:lnTo>
                    <a:pt x="417" y="176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8"/>
                  </a:lnTo>
                  <a:lnTo>
                    <a:pt x="415" y="178"/>
                  </a:lnTo>
                  <a:lnTo>
                    <a:pt x="415" y="179"/>
                  </a:lnTo>
                  <a:lnTo>
                    <a:pt x="415" y="180"/>
                  </a:lnTo>
                  <a:lnTo>
                    <a:pt x="415" y="181"/>
                  </a:lnTo>
                  <a:lnTo>
                    <a:pt x="415" y="182"/>
                  </a:lnTo>
                  <a:lnTo>
                    <a:pt x="416" y="182"/>
                  </a:lnTo>
                  <a:lnTo>
                    <a:pt x="416" y="183"/>
                  </a:lnTo>
                  <a:lnTo>
                    <a:pt x="417" y="185"/>
                  </a:lnTo>
                  <a:lnTo>
                    <a:pt x="417" y="186"/>
                  </a:lnTo>
                  <a:lnTo>
                    <a:pt x="418" y="187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19" y="193"/>
                  </a:lnTo>
                  <a:lnTo>
                    <a:pt x="419" y="196"/>
                  </a:lnTo>
                  <a:lnTo>
                    <a:pt x="420" y="196"/>
                  </a:lnTo>
                  <a:lnTo>
                    <a:pt x="420" y="198"/>
                  </a:lnTo>
                  <a:lnTo>
                    <a:pt x="421" y="199"/>
                  </a:lnTo>
                  <a:lnTo>
                    <a:pt x="422" y="201"/>
                  </a:lnTo>
                  <a:lnTo>
                    <a:pt x="423" y="205"/>
                  </a:lnTo>
                  <a:lnTo>
                    <a:pt x="425" y="209"/>
                  </a:lnTo>
                  <a:lnTo>
                    <a:pt x="426" y="210"/>
                  </a:lnTo>
                  <a:lnTo>
                    <a:pt x="427" y="211"/>
                  </a:lnTo>
                  <a:lnTo>
                    <a:pt x="428" y="213"/>
                  </a:lnTo>
                  <a:lnTo>
                    <a:pt x="428" y="214"/>
                  </a:lnTo>
                  <a:lnTo>
                    <a:pt x="430" y="216"/>
                  </a:lnTo>
                  <a:lnTo>
                    <a:pt x="430" y="217"/>
                  </a:lnTo>
                  <a:lnTo>
                    <a:pt x="431" y="218"/>
                  </a:lnTo>
                  <a:lnTo>
                    <a:pt x="432" y="220"/>
                  </a:lnTo>
                  <a:lnTo>
                    <a:pt x="433" y="222"/>
                  </a:lnTo>
                  <a:lnTo>
                    <a:pt x="433" y="223"/>
                  </a:lnTo>
                  <a:lnTo>
                    <a:pt x="436" y="230"/>
                  </a:lnTo>
                  <a:lnTo>
                    <a:pt x="436" y="230"/>
                  </a:lnTo>
                  <a:lnTo>
                    <a:pt x="437" y="231"/>
                  </a:lnTo>
                  <a:lnTo>
                    <a:pt x="439" y="236"/>
                  </a:lnTo>
                  <a:lnTo>
                    <a:pt x="441" y="240"/>
                  </a:lnTo>
                  <a:lnTo>
                    <a:pt x="442" y="240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44" y="243"/>
                  </a:lnTo>
                  <a:lnTo>
                    <a:pt x="445" y="243"/>
                  </a:lnTo>
                  <a:lnTo>
                    <a:pt x="447" y="245"/>
                  </a:lnTo>
                  <a:lnTo>
                    <a:pt x="448" y="246"/>
                  </a:lnTo>
                  <a:lnTo>
                    <a:pt x="450" y="247"/>
                  </a:lnTo>
                  <a:lnTo>
                    <a:pt x="451" y="248"/>
                  </a:lnTo>
                  <a:lnTo>
                    <a:pt x="451" y="249"/>
                  </a:lnTo>
                  <a:lnTo>
                    <a:pt x="452" y="249"/>
                  </a:lnTo>
                  <a:lnTo>
                    <a:pt x="453" y="250"/>
                  </a:lnTo>
                  <a:lnTo>
                    <a:pt x="453" y="251"/>
                  </a:lnTo>
                  <a:lnTo>
                    <a:pt x="454" y="252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5"/>
                  </a:lnTo>
                  <a:lnTo>
                    <a:pt x="455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3" y="254"/>
                  </a:lnTo>
                  <a:lnTo>
                    <a:pt x="453" y="255"/>
                  </a:lnTo>
                  <a:lnTo>
                    <a:pt x="452" y="255"/>
                  </a:lnTo>
                  <a:lnTo>
                    <a:pt x="452" y="256"/>
                  </a:lnTo>
                  <a:lnTo>
                    <a:pt x="451" y="256"/>
                  </a:lnTo>
                  <a:lnTo>
                    <a:pt x="450" y="257"/>
                  </a:lnTo>
                  <a:lnTo>
                    <a:pt x="450" y="258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60"/>
                  </a:lnTo>
                  <a:lnTo>
                    <a:pt x="449" y="260"/>
                  </a:lnTo>
                  <a:lnTo>
                    <a:pt x="449" y="261"/>
                  </a:lnTo>
                  <a:lnTo>
                    <a:pt x="449" y="262"/>
                  </a:lnTo>
                  <a:lnTo>
                    <a:pt x="449" y="262"/>
                  </a:lnTo>
                  <a:lnTo>
                    <a:pt x="449" y="264"/>
                  </a:lnTo>
                  <a:lnTo>
                    <a:pt x="450" y="267"/>
                  </a:lnTo>
                  <a:lnTo>
                    <a:pt x="450" y="269"/>
                  </a:lnTo>
                  <a:lnTo>
                    <a:pt x="450" y="270"/>
                  </a:lnTo>
                  <a:lnTo>
                    <a:pt x="450" y="273"/>
                  </a:lnTo>
                  <a:lnTo>
                    <a:pt x="450" y="274"/>
                  </a:lnTo>
                  <a:lnTo>
                    <a:pt x="450" y="275"/>
                  </a:lnTo>
                  <a:lnTo>
                    <a:pt x="450" y="275"/>
                  </a:lnTo>
                  <a:lnTo>
                    <a:pt x="450" y="276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7" y="279"/>
                  </a:lnTo>
                  <a:lnTo>
                    <a:pt x="445" y="280"/>
                  </a:lnTo>
                  <a:lnTo>
                    <a:pt x="442" y="281"/>
                  </a:lnTo>
                  <a:lnTo>
                    <a:pt x="439" y="281"/>
                  </a:lnTo>
                  <a:lnTo>
                    <a:pt x="438" y="282"/>
                  </a:lnTo>
                  <a:lnTo>
                    <a:pt x="438" y="282"/>
                  </a:lnTo>
                  <a:lnTo>
                    <a:pt x="437" y="282"/>
                  </a:lnTo>
                  <a:lnTo>
                    <a:pt x="437" y="283"/>
                  </a:lnTo>
                  <a:lnTo>
                    <a:pt x="436" y="286"/>
                  </a:lnTo>
                  <a:lnTo>
                    <a:pt x="434" y="288"/>
                  </a:lnTo>
                  <a:lnTo>
                    <a:pt x="434" y="289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2" y="291"/>
                  </a:lnTo>
                  <a:lnTo>
                    <a:pt x="431" y="291"/>
                  </a:lnTo>
                  <a:lnTo>
                    <a:pt x="430" y="291"/>
                  </a:lnTo>
                  <a:lnTo>
                    <a:pt x="429" y="291"/>
                  </a:lnTo>
                  <a:lnTo>
                    <a:pt x="428" y="291"/>
                  </a:lnTo>
                  <a:lnTo>
                    <a:pt x="424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2" y="289"/>
                  </a:lnTo>
                  <a:lnTo>
                    <a:pt x="422" y="289"/>
                  </a:lnTo>
                  <a:lnTo>
                    <a:pt x="421" y="289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1"/>
                  </a:lnTo>
                  <a:lnTo>
                    <a:pt x="420" y="292"/>
                  </a:lnTo>
                  <a:lnTo>
                    <a:pt x="420" y="294"/>
                  </a:lnTo>
                  <a:lnTo>
                    <a:pt x="420" y="296"/>
                  </a:lnTo>
                  <a:lnTo>
                    <a:pt x="420" y="297"/>
                  </a:lnTo>
                  <a:lnTo>
                    <a:pt x="420" y="298"/>
                  </a:lnTo>
                  <a:lnTo>
                    <a:pt x="420" y="299"/>
                  </a:lnTo>
                  <a:lnTo>
                    <a:pt x="420" y="300"/>
                  </a:lnTo>
                  <a:lnTo>
                    <a:pt x="420" y="301"/>
                  </a:lnTo>
                  <a:lnTo>
                    <a:pt x="421" y="302"/>
                  </a:lnTo>
                  <a:lnTo>
                    <a:pt x="421" y="305"/>
                  </a:lnTo>
                  <a:lnTo>
                    <a:pt x="422" y="306"/>
                  </a:lnTo>
                  <a:lnTo>
                    <a:pt x="422" y="307"/>
                  </a:lnTo>
                  <a:lnTo>
                    <a:pt x="422" y="308"/>
                  </a:lnTo>
                  <a:lnTo>
                    <a:pt x="422" y="309"/>
                  </a:lnTo>
                  <a:lnTo>
                    <a:pt x="422" y="311"/>
                  </a:lnTo>
                  <a:lnTo>
                    <a:pt x="422" y="312"/>
                  </a:lnTo>
                  <a:lnTo>
                    <a:pt x="421" y="313"/>
                  </a:lnTo>
                  <a:lnTo>
                    <a:pt x="421" y="315"/>
                  </a:lnTo>
                  <a:lnTo>
                    <a:pt x="420" y="319"/>
                  </a:lnTo>
                  <a:lnTo>
                    <a:pt x="420" y="320"/>
                  </a:lnTo>
                  <a:lnTo>
                    <a:pt x="420" y="321"/>
                  </a:lnTo>
                  <a:lnTo>
                    <a:pt x="419" y="322"/>
                  </a:lnTo>
                  <a:lnTo>
                    <a:pt x="419" y="323"/>
                  </a:lnTo>
                  <a:lnTo>
                    <a:pt x="418" y="323"/>
                  </a:lnTo>
                  <a:lnTo>
                    <a:pt x="418" y="324"/>
                  </a:lnTo>
                  <a:lnTo>
                    <a:pt x="418" y="324"/>
                  </a:lnTo>
                  <a:lnTo>
                    <a:pt x="417" y="324"/>
                  </a:lnTo>
                  <a:lnTo>
                    <a:pt x="417" y="325"/>
                  </a:lnTo>
                  <a:lnTo>
                    <a:pt x="416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3" y="325"/>
                  </a:lnTo>
                  <a:lnTo>
                    <a:pt x="411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4"/>
                  </a:lnTo>
                  <a:lnTo>
                    <a:pt x="401" y="325"/>
                  </a:lnTo>
                  <a:lnTo>
                    <a:pt x="395" y="326"/>
                  </a:lnTo>
                  <a:lnTo>
                    <a:pt x="394" y="326"/>
                  </a:lnTo>
                  <a:lnTo>
                    <a:pt x="393" y="326"/>
                  </a:lnTo>
                  <a:lnTo>
                    <a:pt x="392" y="327"/>
                  </a:lnTo>
                  <a:lnTo>
                    <a:pt x="391" y="327"/>
                  </a:lnTo>
                  <a:lnTo>
                    <a:pt x="391" y="327"/>
                  </a:lnTo>
                  <a:lnTo>
                    <a:pt x="390" y="328"/>
                  </a:lnTo>
                  <a:lnTo>
                    <a:pt x="388" y="330"/>
                  </a:lnTo>
                  <a:lnTo>
                    <a:pt x="387" y="331"/>
                  </a:lnTo>
                  <a:lnTo>
                    <a:pt x="386" y="332"/>
                  </a:lnTo>
                  <a:lnTo>
                    <a:pt x="385" y="332"/>
                  </a:lnTo>
                  <a:lnTo>
                    <a:pt x="384" y="333"/>
                  </a:lnTo>
                  <a:lnTo>
                    <a:pt x="384" y="333"/>
                  </a:lnTo>
                  <a:lnTo>
                    <a:pt x="383" y="333"/>
                  </a:lnTo>
                  <a:lnTo>
                    <a:pt x="383" y="333"/>
                  </a:lnTo>
                  <a:lnTo>
                    <a:pt x="382" y="333"/>
                  </a:lnTo>
                  <a:lnTo>
                    <a:pt x="381" y="333"/>
                  </a:lnTo>
                  <a:lnTo>
                    <a:pt x="379" y="333"/>
                  </a:lnTo>
                  <a:lnTo>
                    <a:pt x="376" y="332"/>
                  </a:lnTo>
                  <a:lnTo>
                    <a:pt x="372" y="331"/>
                  </a:lnTo>
                  <a:lnTo>
                    <a:pt x="370" y="331"/>
                  </a:lnTo>
                  <a:lnTo>
                    <a:pt x="368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6" y="330"/>
                  </a:lnTo>
                  <a:lnTo>
                    <a:pt x="365" y="330"/>
                  </a:lnTo>
                  <a:lnTo>
                    <a:pt x="365" y="331"/>
                  </a:lnTo>
                  <a:lnTo>
                    <a:pt x="363" y="332"/>
                  </a:lnTo>
                  <a:lnTo>
                    <a:pt x="361" y="332"/>
                  </a:lnTo>
                  <a:lnTo>
                    <a:pt x="359" y="332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3" y="333"/>
                  </a:lnTo>
                  <a:lnTo>
                    <a:pt x="350" y="333"/>
                  </a:lnTo>
                  <a:lnTo>
                    <a:pt x="348" y="333"/>
                  </a:lnTo>
                  <a:lnTo>
                    <a:pt x="346" y="333"/>
                  </a:lnTo>
                  <a:lnTo>
                    <a:pt x="340" y="332"/>
                  </a:lnTo>
                  <a:lnTo>
                    <a:pt x="338" y="332"/>
                  </a:lnTo>
                  <a:lnTo>
                    <a:pt x="336" y="332"/>
                  </a:lnTo>
                  <a:lnTo>
                    <a:pt x="333" y="331"/>
                  </a:lnTo>
                  <a:lnTo>
                    <a:pt x="329" y="330"/>
                  </a:lnTo>
                  <a:lnTo>
                    <a:pt x="325" y="329"/>
                  </a:lnTo>
                  <a:lnTo>
                    <a:pt x="323" y="328"/>
                  </a:lnTo>
                  <a:lnTo>
                    <a:pt x="322" y="328"/>
                  </a:lnTo>
                  <a:lnTo>
                    <a:pt x="317" y="328"/>
                  </a:lnTo>
                  <a:lnTo>
                    <a:pt x="316" y="328"/>
                  </a:lnTo>
                  <a:lnTo>
                    <a:pt x="315" y="328"/>
                  </a:lnTo>
                  <a:lnTo>
                    <a:pt x="314" y="328"/>
                  </a:lnTo>
                  <a:lnTo>
                    <a:pt x="313" y="328"/>
                  </a:lnTo>
                  <a:lnTo>
                    <a:pt x="313" y="328"/>
                  </a:lnTo>
                  <a:lnTo>
                    <a:pt x="312" y="329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09" y="331"/>
                  </a:lnTo>
                  <a:lnTo>
                    <a:pt x="309" y="331"/>
                  </a:lnTo>
                  <a:lnTo>
                    <a:pt x="308" y="332"/>
                  </a:lnTo>
                  <a:lnTo>
                    <a:pt x="307" y="333"/>
                  </a:lnTo>
                  <a:lnTo>
                    <a:pt x="307" y="333"/>
                  </a:lnTo>
                  <a:lnTo>
                    <a:pt x="307" y="334"/>
                  </a:lnTo>
                  <a:lnTo>
                    <a:pt x="307" y="335"/>
                  </a:lnTo>
                  <a:lnTo>
                    <a:pt x="307" y="335"/>
                  </a:lnTo>
                  <a:lnTo>
                    <a:pt x="307" y="336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4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4" y="346"/>
                  </a:lnTo>
                  <a:lnTo>
                    <a:pt x="304" y="346"/>
                  </a:lnTo>
                  <a:lnTo>
                    <a:pt x="302" y="346"/>
                  </a:lnTo>
                  <a:lnTo>
                    <a:pt x="301" y="346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298" y="347"/>
                  </a:lnTo>
                  <a:lnTo>
                    <a:pt x="298" y="347"/>
                  </a:lnTo>
                  <a:lnTo>
                    <a:pt x="297" y="347"/>
                  </a:lnTo>
                  <a:lnTo>
                    <a:pt x="297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2"/>
                  </a:lnTo>
                  <a:lnTo>
                    <a:pt x="295" y="353"/>
                  </a:lnTo>
                  <a:lnTo>
                    <a:pt x="294" y="353"/>
                  </a:lnTo>
                  <a:lnTo>
                    <a:pt x="292" y="355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89" y="357"/>
                  </a:lnTo>
                  <a:lnTo>
                    <a:pt x="288" y="358"/>
                  </a:lnTo>
                  <a:lnTo>
                    <a:pt x="287" y="359"/>
                  </a:lnTo>
                  <a:lnTo>
                    <a:pt x="286" y="359"/>
                  </a:lnTo>
                  <a:lnTo>
                    <a:pt x="285" y="359"/>
                  </a:lnTo>
                  <a:lnTo>
                    <a:pt x="282" y="360"/>
                  </a:lnTo>
                  <a:lnTo>
                    <a:pt x="281" y="361"/>
                  </a:lnTo>
                  <a:lnTo>
                    <a:pt x="280" y="361"/>
                  </a:lnTo>
                  <a:lnTo>
                    <a:pt x="278" y="361"/>
                  </a:lnTo>
                  <a:lnTo>
                    <a:pt x="278" y="362"/>
                  </a:lnTo>
                  <a:lnTo>
                    <a:pt x="277" y="362"/>
                  </a:lnTo>
                  <a:lnTo>
                    <a:pt x="276" y="363"/>
                  </a:lnTo>
                  <a:lnTo>
                    <a:pt x="275" y="364"/>
                  </a:lnTo>
                  <a:lnTo>
                    <a:pt x="274" y="364"/>
                  </a:lnTo>
                  <a:lnTo>
                    <a:pt x="273" y="365"/>
                  </a:lnTo>
                  <a:lnTo>
                    <a:pt x="272" y="367"/>
                  </a:lnTo>
                  <a:lnTo>
                    <a:pt x="270" y="369"/>
                  </a:lnTo>
                  <a:lnTo>
                    <a:pt x="269" y="370"/>
                  </a:lnTo>
                  <a:lnTo>
                    <a:pt x="268" y="371"/>
                  </a:lnTo>
                  <a:lnTo>
                    <a:pt x="268" y="371"/>
                  </a:lnTo>
                  <a:lnTo>
                    <a:pt x="267" y="371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5" y="372"/>
                  </a:lnTo>
                  <a:lnTo>
                    <a:pt x="265" y="372"/>
                  </a:lnTo>
                  <a:lnTo>
                    <a:pt x="264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3" y="371"/>
                  </a:lnTo>
                  <a:lnTo>
                    <a:pt x="262" y="371"/>
                  </a:lnTo>
                  <a:lnTo>
                    <a:pt x="261" y="370"/>
                  </a:lnTo>
                  <a:lnTo>
                    <a:pt x="259" y="368"/>
                  </a:lnTo>
                  <a:lnTo>
                    <a:pt x="259" y="368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4" y="366"/>
                  </a:lnTo>
                  <a:lnTo>
                    <a:pt x="253" y="366"/>
                  </a:lnTo>
                  <a:lnTo>
                    <a:pt x="253" y="367"/>
                  </a:lnTo>
                  <a:lnTo>
                    <a:pt x="252" y="367"/>
                  </a:lnTo>
                  <a:lnTo>
                    <a:pt x="251" y="368"/>
                  </a:lnTo>
                  <a:lnTo>
                    <a:pt x="250" y="369"/>
                  </a:lnTo>
                  <a:lnTo>
                    <a:pt x="249" y="370"/>
                  </a:lnTo>
                  <a:lnTo>
                    <a:pt x="246" y="373"/>
                  </a:lnTo>
                  <a:lnTo>
                    <a:pt x="244" y="374"/>
                  </a:lnTo>
                  <a:lnTo>
                    <a:pt x="244" y="375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8" y="378"/>
                  </a:lnTo>
                  <a:lnTo>
                    <a:pt x="236" y="380"/>
                  </a:lnTo>
                  <a:lnTo>
                    <a:pt x="235" y="380"/>
                  </a:lnTo>
                  <a:lnTo>
                    <a:pt x="234" y="381"/>
                  </a:lnTo>
                  <a:lnTo>
                    <a:pt x="233" y="381"/>
                  </a:lnTo>
                  <a:lnTo>
                    <a:pt x="232" y="381"/>
                  </a:lnTo>
                  <a:lnTo>
                    <a:pt x="231" y="381"/>
                  </a:lnTo>
                  <a:lnTo>
                    <a:pt x="230" y="381"/>
                  </a:lnTo>
                  <a:lnTo>
                    <a:pt x="228" y="381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2"/>
                  </a:lnTo>
                  <a:lnTo>
                    <a:pt x="220" y="382"/>
                  </a:lnTo>
                  <a:lnTo>
                    <a:pt x="218" y="381"/>
                  </a:lnTo>
                  <a:lnTo>
                    <a:pt x="217" y="381"/>
                  </a:lnTo>
                  <a:lnTo>
                    <a:pt x="215" y="381"/>
                  </a:lnTo>
                  <a:lnTo>
                    <a:pt x="214" y="380"/>
                  </a:lnTo>
                  <a:lnTo>
                    <a:pt x="214" y="380"/>
                  </a:lnTo>
                  <a:lnTo>
                    <a:pt x="213" y="380"/>
                  </a:lnTo>
                  <a:lnTo>
                    <a:pt x="212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09" y="379"/>
                  </a:lnTo>
                  <a:lnTo>
                    <a:pt x="208" y="380"/>
                  </a:lnTo>
                  <a:lnTo>
                    <a:pt x="207" y="381"/>
                  </a:lnTo>
                  <a:lnTo>
                    <a:pt x="203" y="385"/>
                  </a:lnTo>
                  <a:lnTo>
                    <a:pt x="200" y="387"/>
                  </a:lnTo>
                  <a:lnTo>
                    <a:pt x="198" y="389"/>
                  </a:lnTo>
                  <a:lnTo>
                    <a:pt x="198" y="389"/>
                  </a:lnTo>
                  <a:lnTo>
                    <a:pt x="197" y="390"/>
                  </a:lnTo>
                  <a:lnTo>
                    <a:pt x="196" y="391"/>
                  </a:lnTo>
                  <a:lnTo>
                    <a:pt x="195" y="393"/>
                  </a:lnTo>
                  <a:lnTo>
                    <a:pt x="194" y="393"/>
                  </a:lnTo>
                  <a:lnTo>
                    <a:pt x="193" y="394"/>
                  </a:lnTo>
                  <a:lnTo>
                    <a:pt x="192" y="395"/>
                  </a:lnTo>
                  <a:lnTo>
                    <a:pt x="191" y="395"/>
                  </a:lnTo>
                  <a:lnTo>
                    <a:pt x="190" y="396"/>
                  </a:lnTo>
                  <a:lnTo>
                    <a:pt x="188" y="396"/>
                  </a:lnTo>
                  <a:lnTo>
                    <a:pt x="186" y="397"/>
                  </a:lnTo>
                  <a:lnTo>
                    <a:pt x="185" y="397"/>
                  </a:lnTo>
                  <a:lnTo>
                    <a:pt x="183" y="397"/>
                  </a:lnTo>
                  <a:lnTo>
                    <a:pt x="182" y="397"/>
                  </a:lnTo>
                  <a:lnTo>
                    <a:pt x="181" y="397"/>
                  </a:lnTo>
                  <a:lnTo>
                    <a:pt x="179" y="397"/>
                  </a:lnTo>
                  <a:lnTo>
                    <a:pt x="178" y="397"/>
                  </a:lnTo>
                  <a:lnTo>
                    <a:pt x="176" y="397"/>
                  </a:lnTo>
                  <a:lnTo>
                    <a:pt x="175" y="397"/>
                  </a:lnTo>
                  <a:lnTo>
                    <a:pt x="174" y="398"/>
                  </a:lnTo>
                  <a:lnTo>
                    <a:pt x="173" y="398"/>
                  </a:lnTo>
                  <a:lnTo>
                    <a:pt x="172" y="399"/>
                  </a:lnTo>
                  <a:lnTo>
                    <a:pt x="171" y="400"/>
                  </a:lnTo>
                  <a:lnTo>
                    <a:pt x="169" y="401"/>
                  </a:lnTo>
                  <a:lnTo>
                    <a:pt x="167" y="402"/>
                  </a:lnTo>
                  <a:lnTo>
                    <a:pt x="167" y="403"/>
                  </a:lnTo>
                  <a:lnTo>
                    <a:pt x="165" y="404"/>
                  </a:lnTo>
                  <a:lnTo>
                    <a:pt x="164" y="405"/>
                  </a:lnTo>
                  <a:lnTo>
                    <a:pt x="162" y="406"/>
                  </a:lnTo>
                  <a:lnTo>
                    <a:pt x="160" y="408"/>
                  </a:lnTo>
                  <a:lnTo>
                    <a:pt x="160" y="409"/>
                  </a:lnTo>
                  <a:lnTo>
                    <a:pt x="159" y="409"/>
                  </a:lnTo>
                  <a:lnTo>
                    <a:pt x="159" y="410"/>
                  </a:lnTo>
                  <a:lnTo>
                    <a:pt x="159" y="410"/>
                  </a:lnTo>
                  <a:lnTo>
                    <a:pt x="158" y="411"/>
                  </a:lnTo>
                  <a:lnTo>
                    <a:pt x="158" y="412"/>
                  </a:lnTo>
                  <a:lnTo>
                    <a:pt x="158" y="415"/>
                  </a:lnTo>
                  <a:lnTo>
                    <a:pt x="158" y="415"/>
                  </a:lnTo>
                  <a:lnTo>
                    <a:pt x="157" y="416"/>
                  </a:lnTo>
                  <a:lnTo>
                    <a:pt x="157" y="418"/>
                  </a:lnTo>
                  <a:lnTo>
                    <a:pt x="157" y="418"/>
                  </a:lnTo>
                  <a:lnTo>
                    <a:pt x="157" y="419"/>
                  </a:lnTo>
                  <a:lnTo>
                    <a:pt x="157" y="420"/>
                  </a:lnTo>
                  <a:lnTo>
                    <a:pt x="157" y="421"/>
                  </a:lnTo>
                  <a:lnTo>
                    <a:pt x="157" y="422"/>
                  </a:lnTo>
                  <a:lnTo>
                    <a:pt x="156" y="423"/>
                  </a:lnTo>
                  <a:lnTo>
                    <a:pt x="156" y="423"/>
                  </a:lnTo>
                  <a:lnTo>
                    <a:pt x="156" y="424"/>
                  </a:lnTo>
                  <a:lnTo>
                    <a:pt x="156" y="424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3" y="425"/>
                  </a:lnTo>
                  <a:lnTo>
                    <a:pt x="153" y="426"/>
                  </a:lnTo>
                  <a:lnTo>
                    <a:pt x="152" y="426"/>
                  </a:lnTo>
                  <a:lnTo>
                    <a:pt x="152" y="426"/>
                  </a:lnTo>
                  <a:lnTo>
                    <a:pt x="152" y="427"/>
                  </a:lnTo>
                  <a:lnTo>
                    <a:pt x="151" y="429"/>
                  </a:lnTo>
                  <a:lnTo>
                    <a:pt x="150" y="430"/>
                  </a:lnTo>
                  <a:lnTo>
                    <a:pt x="150" y="431"/>
                  </a:lnTo>
                  <a:lnTo>
                    <a:pt x="149" y="433"/>
                  </a:lnTo>
                  <a:lnTo>
                    <a:pt x="148" y="433"/>
                  </a:lnTo>
                  <a:lnTo>
                    <a:pt x="148" y="434"/>
                  </a:lnTo>
                  <a:lnTo>
                    <a:pt x="147" y="434"/>
                  </a:lnTo>
                  <a:lnTo>
                    <a:pt x="147" y="434"/>
                  </a:lnTo>
                  <a:lnTo>
                    <a:pt x="146" y="434"/>
                  </a:lnTo>
                  <a:lnTo>
                    <a:pt x="145" y="434"/>
                  </a:lnTo>
                  <a:lnTo>
                    <a:pt x="144" y="434"/>
                  </a:lnTo>
                  <a:lnTo>
                    <a:pt x="143" y="434"/>
                  </a:lnTo>
                  <a:lnTo>
                    <a:pt x="142" y="435"/>
                  </a:lnTo>
                  <a:lnTo>
                    <a:pt x="141" y="435"/>
                  </a:lnTo>
                  <a:lnTo>
                    <a:pt x="140" y="435"/>
                  </a:lnTo>
                  <a:lnTo>
                    <a:pt x="139" y="436"/>
                  </a:lnTo>
                  <a:lnTo>
                    <a:pt x="138" y="436"/>
                  </a:lnTo>
                  <a:lnTo>
                    <a:pt x="137" y="437"/>
                  </a:lnTo>
                  <a:lnTo>
                    <a:pt x="136" y="438"/>
                  </a:lnTo>
                  <a:lnTo>
                    <a:pt x="135" y="439"/>
                  </a:lnTo>
                  <a:lnTo>
                    <a:pt x="134" y="440"/>
                  </a:lnTo>
                  <a:lnTo>
                    <a:pt x="133" y="440"/>
                  </a:lnTo>
                  <a:lnTo>
                    <a:pt x="133" y="441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2" y="443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0" y="445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5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3" y="447"/>
                  </a:lnTo>
                  <a:lnTo>
                    <a:pt x="123" y="447"/>
                  </a:lnTo>
                  <a:lnTo>
                    <a:pt x="123" y="446"/>
                  </a:lnTo>
                  <a:lnTo>
                    <a:pt x="122" y="446"/>
                  </a:lnTo>
                  <a:lnTo>
                    <a:pt x="122" y="446"/>
                  </a:lnTo>
                  <a:lnTo>
                    <a:pt x="122" y="445"/>
                  </a:lnTo>
                  <a:lnTo>
                    <a:pt x="121" y="443"/>
                  </a:lnTo>
                  <a:lnTo>
                    <a:pt x="121" y="442"/>
                  </a:lnTo>
                  <a:lnTo>
                    <a:pt x="120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7" y="436"/>
                  </a:lnTo>
                  <a:lnTo>
                    <a:pt x="116" y="437"/>
                  </a:lnTo>
                  <a:lnTo>
                    <a:pt x="115" y="437"/>
                  </a:lnTo>
                  <a:lnTo>
                    <a:pt x="115" y="437"/>
                  </a:lnTo>
                  <a:lnTo>
                    <a:pt x="114" y="438"/>
                  </a:lnTo>
                  <a:lnTo>
                    <a:pt x="114" y="438"/>
                  </a:lnTo>
                  <a:lnTo>
                    <a:pt x="112" y="440"/>
                  </a:lnTo>
                  <a:lnTo>
                    <a:pt x="112" y="440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0" y="441"/>
                  </a:lnTo>
                  <a:lnTo>
                    <a:pt x="110" y="441"/>
                  </a:lnTo>
                  <a:lnTo>
                    <a:pt x="109" y="441"/>
                  </a:lnTo>
                  <a:lnTo>
                    <a:pt x="109" y="440"/>
                  </a:lnTo>
                  <a:lnTo>
                    <a:pt x="109" y="440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8" y="437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5"/>
                  </a:lnTo>
                  <a:lnTo>
                    <a:pt x="108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5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0" y="435"/>
                  </a:lnTo>
                  <a:lnTo>
                    <a:pt x="100" y="434"/>
                  </a:lnTo>
                  <a:lnTo>
                    <a:pt x="99" y="433"/>
                  </a:lnTo>
                  <a:lnTo>
                    <a:pt x="99" y="432"/>
                  </a:lnTo>
                  <a:lnTo>
                    <a:pt x="98" y="431"/>
                  </a:lnTo>
                  <a:lnTo>
                    <a:pt x="96" y="429"/>
                  </a:lnTo>
                  <a:lnTo>
                    <a:pt x="95" y="428"/>
                  </a:lnTo>
                  <a:lnTo>
                    <a:pt x="95" y="427"/>
                  </a:lnTo>
                  <a:lnTo>
                    <a:pt x="94" y="426"/>
                  </a:lnTo>
                  <a:lnTo>
                    <a:pt x="93" y="426"/>
                  </a:lnTo>
                  <a:lnTo>
                    <a:pt x="92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0" y="424"/>
                  </a:lnTo>
                  <a:lnTo>
                    <a:pt x="86" y="424"/>
                  </a:lnTo>
                  <a:lnTo>
                    <a:pt x="85" y="424"/>
                  </a:lnTo>
                  <a:lnTo>
                    <a:pt x="85" y="423"/>
                  </a:lnTo>
                  <a:lnTo>
                    <a:pt x="84" y="423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4" y="419"/>
                  </a:lnTo>
                  <a:lnTo>
                    <a:pt x="84" y="418"/>
                  </a:lnTo>
                  <a:lnTo>
                    <a:pt x="84" y="418"/>
                  </a:lnTo>
                  <a:lnTo>
                    <a:pt x="85" y="418"/>
                  </a:lnTo>
                  <a:lnTo>
                    <a:pt x="86" y="417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8" y="417"/>
                  </a:lnTo>
                  <a:lnTo>
                    <a:pt x="89" y="417"/>
                  </a:lnTo>
                  <a:lnTo>
                    <a:pt x="90" y="417"/>
                  </a:lnTo>
                  <a:lnTo>
                    <a:pt x="93" y="418"/>
                  </a:lnTo>
                  <a:lnTo>
                    <a:pt x="93" y="418"/>
                  </a:lnTo>
                  <a:lnTo>
                    <a:pt x="94" y="418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5" y="417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4" y="415"/>
                  </a:lnTo>
                  <a:lnTo>
                    <a:pt x="94" y="413"/>
                  </a:lnTo>
                  <a:lnTo>
                    <a:pt x="94" y="412"/>
                  </a:lnTo>
                  <a:lnTo>
                    <a:pt x="94" y="411"/>
                  </a:lnTo>
                  <a:lnTo>
                    <a:pt x="94" y="411"/>
                  </a:lnTo>
                  <a:lnTo>
                    <a:pt x="94" y="410"/>
                  </a:lnTo>
                  <a:lnTo>
                    <a:pt x="95" y="409"/>
                  </a:lnTo>
                  <a:lnTo>
                    <a:pt x="95" y="409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6" y="407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6" y="405"/>
                  </a:lnTo>
                  <a:lnTo>
                    <a:pt x="95" y="404"/>
                  </a:lnTo>
                  <a:lnTo>
                    <a:pt x="95" y="401"/>
                  </a:lnTo>
                  <a:lnTo>
                    <a:pt x="94" y="400"/>
                  </a:lnTo>
                  <a:lnTo>
                    <a:pt x="94" y="398"/>
                  </a:lnTo>
                  <a:lnTo>
                    <a:pt x="92" y="394"/>
                  </a:lnTo>
                  <a:lnTo>
                    <a:pt x="91" y="392"/>
                  </a:lnTo>
                  <a:lnTo>
                    <a:pt x="90" y="390"/>
                  </a:lnTo>
                  <a:lnTo>
                    <a:pt x="89" y="389"/>
                  </a:lnTo>
                  <a:lnTo>
                    <a:pt x="87" y="386"/>
                  </a:lnTo>
                  <a:lnTo>
                    <a:pt x="87" y="386"/>
                  </a:lnTo>
                  <a:lnTo>
                    <a:pt x="87" y="385"/>
                  </a:lnTo>
                  <a:lnTo>
                    <a:pt x="87" y="385"/>
                  </a:lnTo>
                  <a:lnTo>
                    <a:pt x="87" y="384"/>
                  </a:lnTo>
                  <a:lnTo>
                    <a:pt x="87" y="381"/>
                  </a:lnTo>
                  <a:lnTo>
                    <a:pt x="87" y="380"/>
                  </a:lnTo>
                  <a:lnTo>
                    <a:pt x="86" y="378"/>
                  </a:lnTo>
                  <a:lnTo>
                    <a:pt x="86" y="378"/>
                  </a:lnTo>
                  <a:lnTo>
                    <a:pt x="86" y="377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3" y="374"/>
                  </a:lnTo>
                  <a:lnTo>
                    <a:pt x="83" y="373"/>
                  </a:lnTo>
                  <a:lnTo>
                    <a:pt x="82" y="373"/>
                  </a:lnTo>
                  <a:lnTo>
                    <a:pt x="82" y="372"/>
                  </a:lnTo>
                  <a:lnTo>
                    <a:pt x="82" y="372"/>
                  </a:lnTo>
                  <a:lnTo>
                    <a:pt x="82" y="371"/>
                  </a:lnTo>
                  <a:lnTo>
                    <a:pt x="81" y="370"/>
                  </a:lnTo>
                  <a:lnTo>
                    <a:pt x="82" y="370"/>
                  </a:lnTo>
                  <a:lnTo>
                    <a:pt x="82" y="369"/>
                  </a:lnTo>
                  <a:lnTo>
                    <a:pt x="82" y="367"/>
                  </a:lnTo>
                  <a:lnTo>
                    <a:pt x="82" y="366"/>
                  </a:lnTo>
                  <a:lnTo>
                    <a:pt x="82" y="365"/>
                  </a:lnTo>
                  <a:lnTo>
                    <a:pt x="82" y="363"/>
                  </a:lnTo>
                  <a:lnTo>
                    <a:pt x="82" y="361"/>
                  </a:lnTo>
                  <a:lnTo>
                    <a:pt x="81" y="359"/>
                  </a:lnTo>
                  <a:lnTo>
                    <a:pt x="81" y="358"/>
                  </a:lnTo>
                  <a:lnTo>
                    <a:pt x="80" y="356"/>
                  </a:lnTo>
                  <a:lnTo>
                    <a:pt x="80" y="355"/>
                  </a:lnTo>
                  <a:lnTo>
                    <a:pt x="80" y="354"/>
                  </a:lnTo>
                  <a:lnTo>
                    <a:pt x="80" y="353"/>
                  </a:lnTo>
                  <a:lnTo>
                    <a:pt x="80" y="352"/>
                  </a:lnTo>
                  <a:lnTo>
                    <a:pt x="80" y="351"/>
                  </a:lnTo>
                  <a:lnTo>
                    <a:pt x="81" y="347"/>
                  </a:lnTo>
                  <a:lnTo>
                    <a:pt x="81" y="345"/>
                  </a:lnTo>
                  <a:lnTo>
                    <a:pt x="82" y="344"/>
                  </a:lnTo>
                  <a:lnTo>
                    <a:pt x="82" y="343"/>
                  </a:lnTo>
                  <a:lnTo>
                    <a:pt x="82" y="343"/>
                  </a:lnTo>
                  <a:lnTo>
                    <a:pt x="82" y="340"/>
                  </a:lnTo>
                  <a:lnTo>
                    <a:pt x="82" y="339"/>
                  </a:lnTo>
                  <a:lnTo>
                    <a:pt x="82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3" y="334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0"/>
                  </a:lnTo>
                  <a:lnTo>
                    <a:pt x="83" y="329"/>
                  </a:lnTo>
                  <a:lnTo>
                    <a:pt x="83" y="328"/>
                  </a:lnTo>
                  <a:lnTo>
                    <a:pt x="83" y="327"/>
                  </a:lnTo>
                  <a:lnTo>
                    <a:pt x="83" y="326"/>
                  </a:lnTo>
                  <a:lnTo>
                    <a:pt x="82" y="325"/>
                  </a:lnTo>
                  <a:lnTo>
                    <a:pt x="81" y="323"/>
                  </a:lnTo>
                  <a:lnTo>
                    <a:pt x="81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9" y="319"/>
                  </a:lnTo>
                  <a:lnTo>
                    <a:pt x="78" y="319"/>
                  </a:lnTo>
                  <a:lnTo>
                    <a:pt x="77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4" y="318"/>
                  </a:lnTo>
                  <a:lnTo>
                    <a:pt x="70" y="318"/>
                  </a:lnTo>
                  <a:lnTo>
                    <a:pt x="69" y="318"/>
                  </a:lnTo>
                  <a:lnTo>
                    <a:pt x="68" y="318"/>
                  </a:lnTo>
                  <a:lnTo>
                    <a:pt x="65" y="318"/>
                  </a:lnTo>
                  <a:lnTo>
                    <a:pt x="64" y="318"/>
                  </a:lnTo>
                  <a:lnTo>
                    <a:pt x="62" y="318"/>
                  </a:lnTo>
                  <a:lnTo>
                    <a:pt x="58" y="318"/>
                  </a:lnTo>
                  <a:lnTo>
                    <a:pt x="57" y="317"/>
                  </a:lnTo>
                  <a:lnTo>
                    <a:pt x="55" y="317"/>
                  </a:lnTo>
                  <a:lnTo>
                    <a:pt x="55" y="317"/>
                  </a:lnTo>
                  <a:lnTo>
                    <a:pt x="54" y="318"/>
                  </a:lnTo>
                  <a:lnTo>
                    <a:pt x="52" y="318"/>
                  </a:lnTo>
                  <a:lnTo>
                    <a:pt x="51" y="318"/>
                  </a:lnTo>
                  <a:lnTo>
                    <a:pt x="50" y="318"/>
                  </a:lnTo>
                  <a:lnTo>
                    <a:pt x="49" y="318"/>
                  </a:lnTo>
                  <a:lnTo>
                    <a:pt x="49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6" y="318"/>
                  </a:lnTo>
                  <a:lnTo>
                    <a:pt x="46" y="317"/>
                  </a:lnTo>
                  <a:lnTo>
                    <a:pt x="46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5"/>
                  </a:lnTo>
                  <a:lnTo>
                    <a:pt x="45" y="314"/>
                  </a:lnTo>
                  <a:lnTo>
                    <a:pt x="45" y="313"/>
                  </a:lnTo>
                  <a:lnTo>
                    <a:pt x="45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4" y="309"/>
                  </a:lnTo>
                  <a:lnTo>
                    <a:pt x="44" y="308"/>
                  </a:lnTo>
                  <a:lnTo>
                    <a:pt x="43" y="308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1" y="305"/>
                  </a:lnTo>
                  <a:lnTo>
                    <a:pt x="38" y="304"/>
                  </a:lnTo>
                  <a:lnTo>
                    <a:pt x="36" y="303"/>
                  </a:lnTo>
                  <a:lnTo>
                    <a:pt x="36" y="303"/>
                  </a:lnTo>
                  <a:lnTo>
                    <a:pt x="35" y="303"/>
                  </a:lnTo>
                  <a:lnTo>
                    <a:pt x="34" y="302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5" y="301"/>
                  </a:lnTo>
                  <a:lnTo>
                    <a:pt x="22" y="300"/>
                  </a:lnTo>
                  <a:lnTo>
                    <a:pt x="20" y="300"/>
                  </a:lnTo>
                  <a:lnTo>
                    <a:pt x="19" y="299"/>
                  </a:lnTo>
                  <a:lnTo>
                    <a:pt x="16" y="299"/>
                  </a:lnTo>
                  <a:lnTo>
                    <a:pt x="14" y="299"/>
                  </a:lnTo>
                  <a:lnTo>
                    <a:pt x="12" y="299"/>
                  </a:lnTo>
                  <a:lnTo>
                    <a:pt x="9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6" y="297"/>
                  </a:lnTo>
                  <a:lnTo>
                    <a:pt x="4" y="296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1" y="291"/>
                  </a:lnTo>
                  <a:lnTo>
                    <a:pt x="1" y="291"/>
                  </a:lnTo>
                  <a:lnTo>
                    <a:pt x="2" y="290"/>
                  </a:lnTo>
                  <a:lnTo>
                    <a:pt x="6" y="288"/>
                  </a:lnTo>
                  <a:lnTo>
                    <a:pt x="8" y="287"/>
                  </a:lnTo>
                  <a:lnTo>
                    <a:pt x="10" y="286"/>
                  </a:lnTo>
                  <a:lnTo>
                    <a:pt x="11" y="285"/>
                  </a:lnTo>
                  <a:lnTo>
                    <a:pt x="12" y="284"/>
                  </a:lnTo>
                  <a:lnTo>
                    <a:pt x="13" y="283"/>
                  </a:lnTo>
                  <a:lnTo>
                    <a:pt x="18" y="278"/>
                  </a:lnTo>
                  <a:lnTo>
                    <a:pt x="19" y="276"/>
                  </a:lnTo>
                  <a:lnTo>
                    <a:pt x="20" y="275"/>
                  </a:lnTo>
                  <a:lnTo>
                    <a:pt x="21" y="274"/>
                  </a:lnTo>
                  <a:lnTo>
                    <a:pt x="21" y="273"/>
                  </a:lnTo>
                  <a:lnTo>
                    <a:pt x="21" y="272"/>
                  </a:lnTo>
                  <a:lnTo>
                    <a:pt x="22" y="271"/>
                  </a:lnTo>
                  <a:lnTo>
                    <a:pt x="22" y="269"/>
                  </a:lnTo>
                  <a:lnTo>
                    <a:pt x="22" y="264"/>
                  </a:lnTo>
                  <a:lnTo>
                    <a:pt x="22" y="261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4" y="254"/>
                  </a:lnTo>
                  <a:lnTo>
                    <a:pt x="24" y="253"/>
                  </a:lnTo>
                  <a:lnTo>
                    <a:pt x="25" y="252"/>
                  </a:lnTo>
                  <a:lnTo>
                    <a:pt x="25" y="251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8" y="248"/>
                  </a:lnTo>
                  <a:lnTo>
                    <a:pt x="28" y="248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8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7" y="247"/>
                  </a:lnTo>
                  <a:lnTo>
                    <a:pt x="51" y="246"/>
                  </a:lnTo>
                  <a:lnTo>
                    <a:pt x="52" y="245"/>
                  </a:lnTo>
                  <a:lnTo>
                    <a:pt x="53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5" y="245"/>
                  </a:lnTo>
                  <a:lnTo>
                    <a:pt x="56" y="245"/>
                  </a:lnTo>
                  <a:lnTo>
                    <a:pt x="57" y="246"/>
                  </a:lnTo>
                  <a:lnTo>
                    <a:pt x="59" y="246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4" y="246"/>
                  </a:lnTo>
                  <a:lnTo>
                    <a:pt x="75" y="245"/>
                  </a:lnTo>
                  <a:lnTo>
                    <a:pt x="77" y="241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81" y="235"/>
                  </a:lnTo>
                  <a:lnTo>
                    <a:pt x="81" y="233"/>
                  </a:lnTo>
                  <a:lnTo>
                    <a:pt x="82" y="232"/>
                  </a:lnTo>
                  <a:lnTo>
                    <a:pt x="83" y="230"/>
                  </a:lnTo>
                  <a:lnTo>
                    <a:pt x="83" y="228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4" y="222"/>
                  </a:lnTo>
                  <a:lnTo>
                    <a:pt x="85" y="221"/>
                  </a:lnTo>
                  <a:lnTo>
                    <a:pt x="87" y="216"/>
                  </a:lnTo>
                  <a:lnTo>
                    <a:pt x="87" y="215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Freeform 20">
              <a:extLst>
                <a:ext uri="{FF2B5EF4-FFF2-40B4-BE49-F238E27FC236}">
                  <a16:creationId xmlns:a16="http://schemas.microsoft.com/office/drawing/2014/main" id="{D51BAD0F-0B7A-74B9-42B5-DA5F00B4D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" y="2866"/>
              <a:ext cx="343" cy="215"/>
            </a:xfrm>
            <a:custGeom>
              <a:avLst/>
              <a:gdLst>
                <a:gd name="T0" fmla="*/ 4 w 343"/>
                <a:gd name="T1" fmla="*/ 211 h 215"/>
                <a:gd name="T2" fmla="*/ 8 w 343"/>
                <a:gd name="T3" fmla="*/ 210 h 215"/>
                <a:gd name="T4" fmla="*/ 16 w 343"/>
                <a:gd name="T5" fmla="*/ 213 h 215"/>
                <a:gd name="T6" fmla="*/ 21 w 343"/>
                <a:gd name="T7" fmla="*/ 214 h 215"/>
                <a:gd name="T8" fmla="*/ 24 w 343"/>
                <a:gd name="T9" fmla="*/ 211 h 215"/>
                <a:gd name="T10" fmla="*/ 29 w 343"/>
                <a:gd name="T11" fmla="*/ 202 h 215"/>
                <a:gd name="T12" fmla="*/ 38 w 343"/>
                <a:gd name="T13" fmla="*/ 195 h 215"/>
                <a:gd name="T14" fmla="*/ 42 w 343"/>
                <a:gd name="T15" fmla="*/ 186 h 215"/>
                <a:gd name="T16" fmla="*/ 45 w 343"/>
                <a:gd name="T17" fmla="*/ 186 h 215"/>
                <a:gd name="T18" fmla="*/ 50 w 343"/>
                <a:gd name="T19" fmla="*/ 191 h 215"/>
                <a:gd name="T20" fmla="*/ 58 w 343"/>
                <a:gd name="T21" fmla="*/ 201 h 215"/>
                <a:gd name="T22" fmla="*/ 66 w 343"/>
                <a:gd name="T23" fmla="*/ 203 h 215"/>
                <a:gd name="T24" fmla="*/ 70 w 343"/>
                <a:gd name="T25" fmla="*/ 201 h 215"/>
                <a:gd name="T26" fmla="*/ 83 w 343"/>
                <a:gd name="T27" fmla="*/ 188 h 215"/>
                <a:gd name="T28" fmla="*/ 85 w 343"/>
                <a:gd name="T29" fmla="*/ 181 h 215"/>
                <a:gd name="T30" fmla="*/ 89 w 343"/>
                <a:gd name="T31" fmla="*/ 174 h 215"/>
                <a:gd name="T32" fmla="*/ 90 w 343"/>
                <a:gd name="T33" fmla="*/ 166 h 215"/>
                <a:gd name="T34" fmla="*/ 90 w 343"/>
                <a:gd name="T35" fmla="*/ 159 h 215"/>
                <a:gd name="T36" fmla="*/ 95 w 343"/>
                <a:gd name="T37" fmla="*/ 156 h 215"/>
                <a:gd name="T38" fmla="*/ 109 w 343"/>
                <a:gd name="T39" fmla="*/ 155 h 215"/>
                <a:gd name="T40" fmla="*/ 118 w 343"/>
                <a:gd name="T41" fmla="*/ 151 h 215"/>
                <a:gd name="T42" fmla="*/ 126 w 343"/>
                <a:gd name="T43" fmla="*/ 148 h 215"/>
                <a:gd name="T44" fmla="*/ 135 w 343"/>
                <a:gd name="T45" fmla="*/ 151 h 215"/>
                <a:gd name="T46" fmla="*/ 139 w 343"/>
                <a:gd name="T47" fmla="*/ 152 h 215"/>
                <a:gd name="T48" fmla="*/ 147 w 343"/>
                <a:gd name="T49" fmla="*/ 148 h 215"/>
                <a:gd name="T50" fmla="*/ 163 w 343"/>
                <a:gd name="T51" fmla="*/ 147 h 215"/>
                <a:gd name="T52" fmla="*/ 174 w 343"/>
                <a:gd name="T53" fmla="*/ 149 h 215"/>
                <a:gd name="T54" fmla="*/ 183 w 343"/>
                <a:gd name="T55" fmla="*/ 148 h 215"/>
                <a:gd name="T56" fmla="*/ 192 w 343"/>
                <a:gd name="T57" fmla="*/ 143 h 215"/>
                <a:gd name="T58" fmla="*/ 195 w 343"/>
                <a:gd name="T59" fmla="*/ 138 h 215"/>
                <a:gd name="T60" fmla="*/ 195 w 343"/>
                <a:gd name="T61" fmla="*/ 128 h 215"/>
                <a:gd name="T62" fmla="*/ 198 w 343"/>
                <a:gd name="T63" fmla="*/ 123 h 215"/>
                <a:gd name="T64" fmla="*/ 205 w 343"/>
                <a:gd name="T65" fmla="*/ 120 h 215"/>
                <a:gd name="T66" fmla="*/ 215 w 343"/>
                <a:gd name="T67" fmla="*/ 113 h 215"/>
                <a:gd name="T68" fmla="*/ 224 w 343"/>
                <a:gd name="T69" fmla="*/ 110 h 215"/>
                <a:gd name="T70" fmla="*/ 235 w 343"/>
                <a:gd name="T71" fmla="*/ 113 h 215"/>
                <a:gd name="T72" fmla="*/ 247 w 343"/>
                <a:gd name="T73" fmla="*/ 111 h 215"/>
                <a:gd name="T74" fmla="*/ 265 w 343"/>
                <a:gd name="T75" fmla="*/ 101 h 215"/>
                <a:gd name="T76" fmla="*/ 286 w 343"/>
                <a:gd name="T77" fmla="*/ 92 h 215"/>
                <a:gd name="T78" fmla="*/ 294 w 343"/>
                <a:gd name="T79" fmla="*/ 85 h 215"/>
                <a:gd name="T80" fmla="*/ 300 w 343"/>
                <a:gd name="T81" fmla="*/ 78 h 215"/>
                <a:gd name="T82" fmla="*/ 308 w 343"/>
                <a:gd name="T83" fmla="*/ 76 h 215"/>
                <a:gd name="T84" fmla="*/ 318 w 343"/>
                <a:gd name="T85" fmla="*/ 77 h 215"/>
                <a:gd name="T86" fmla="*/ 331 w 343"/>
                <a:gd name="T87" fmla="*/ 73 h 215"/>
                <a:gd name="T88" fmla="*/ 339 w 343"/>
                <a:gd name="T89" fmla="*/ 70 h 215"/>
                <a:gd name="T90" fmla="*/ 343 w 343"/>
                <a:gd name="T91" fmla="*/ 61 h 215"/>
                <a:gd name="T92" fmla="*/ 342 w 343"/>
                <a:gd name="T93" fmla="*/ 57 h 215"/>
                <a:gd name="T94" fmla="*/ 336 w 343"/>
                <a:gd name="T95" fmla="*/ 53 h 215"/>
                <a:gd name="T96" fmla="*/ 322 w 343"/>
                <a:gd name="T97" fmla="*/ 47 h 215"/>
                <a:gd name="T98" fmla="*/ 319 w 343"/>
                <a:gd name="T99" fmla="*/ 42 h 215"/>
                <a:gd name="T100" fmla="*/ 321 w 343"/>
                <a:gd name="T101" fmla="*/ 37 h 215"/>
                <a:gd name="T102" fmla="*/ 320 w 343"/>
                <a:gd name="T103" fmla="*/ 35 h 215"/>
                <a:gd name="T104" fmla="*/ 312 w 343"/>
                <a:gd name="T105" fmla="*/ 34 h 215"/>
                <a:gd name="T106" fmla="*/ 306 w 343"/>
                <a:gd name="T107" fmla="*/ 31 h 215"/>
                <a:gd name="T108" fmla="*/ 305 w 343"/>
                <a:gd name="T109" fmla="*/ 24 h 215"/>
                <a:gd name="T110" fmla="*/ 308 w 343"/>
                <a:gd name="T111" fmla="*/ 17 h 215"/>
                <a:gd name="T112" fmla="*/ 311 w 343"/>
                <a:gd name="T113" fmla="*/ 8 h 215"/>
                <a:gd name="T114" fmla="*/ 317 w 343"/>
                <a:gd name="T115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43" h="215">
                  <a:moveTo>
                    <a:pt x="0" y="215"/>
                  </a:moveTo>
                  <a:lnTo>
                    <a:pt x="1" y="215"/>
                  </a:lnTo>
                  <a:lnTo>
                    <a:pt x="1" y="214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12"/>
                  </a:lnTo>
                  <a:lnTo>
                    <a:pt x="4" y="211"/>
                  </a:lnTo>
                  <a:lnTo>
                    <a:pt x="4" y="211"/>
                  </a:lnTo>
                  <a:lnTo>
                    <a:pt x="5" y="210"/>
                  </a:lnTo>
                  <a:lnTo>
                    <a:pt x="6" y="210"/>
                  </a:lnTo>
                  <a:lnTo>
                    <a:pt x="6" y="210"/>
                  </a:lnTo>
                  <a:lnTo>
                    <a:pt x="7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9" y="210"/>
                  </a:lnTo>
                  <a:lnTo>
                    <a:pt x="11" y="210"/>
                  </a:lnTo>
                  <a:lnTo>
                    <a:pt x="12" y="211"/>
                  </a:lnTo>
                  <a:lnTo>
                    <a:pt x="12" y="211"/>
                  </a:lnTo>
                  <a:lnTo>
                    <a:pt x="13" y="211"/>
                  </a:lnTo>
                  <a:lnTo>
                    <a:pt x="15" y="213"/>
                  </a:lnTo>
                  <a:lnTo>
                    <a:pt x="16" y="213"/>
                  </a:lnTo>
                  <a:lnTo>
                    <a:pt x="17" y="214"/>
                  </a:lnTo>
                  <a:lnTo>
                    <a:pt x="17" y="214"/>
                  </a:lnTo>
                  <a:lnTo>
                    <a:pt x="18" y="214"/>
                  </a:lnTo>
                  <a:lnTo>
                    <a:pt x="19" y="214"/>
                  </a:lnTo>
                  <a:lnTo>
                    <a:pt x="20" y="214"/>
                  </a:lnTo>
                  <a:lnTo>
                    <a:pt x="20" y="214"/>
                  </a:lnTo>
                  <a:lnTo>
                    <a:pt x="21" y="214"/>
                  </a:lnTo>
                  <a:lnTo>
                    <a:pt x="22" y="214"/>
                  </a:lnTo>
                  <a:lnTo>
                    <a:pt x="22" y="213"/>
                  </a:lnTo>
                  <a:lnTo>
                    <a:pt x="23" y="213"/>
                  </a:lnTo>
                  <a:lnTo>
                    <a:pt x="23" y="213"/>
                  </a:lnTo>
                  <a:lnTo>
                    <a:pt x="24" y="212"/>
                  </a:lnTo>
                  <a:lnTo>
                    <a:pt x="24" y="212"/>
                  </a:lnTo>
                  <a:lnTo>
                    <a:pt x="24" y="211"/>
                  </a:lnTo>
                  <a:lnTo>
                    <a:pt x="25" y="210"/>
                  </a:lnTo>
                  <a:lnTo>
                    <a:pt x="26" y="207"/>
                  </a:lnTo>
                  <a:lnTo>
                    <a:pt x="26" y="206"/>
                  </a:lnTo>
                  <a:lnTo>
                    <a:pt x="27" y="205"/>
                  </a:lnTo>
                  <a:lnTo>
                    <a:pt x="28" y="204"/>
                  </a:lnTo>
                  <a:lnTo>
                    <a:pt x="28" y="204"/>
                  </a:lnTo>
                  <a:lnTo>
                    <a:pt x="29" y="202"/>
                  </a:lnTo>
                  <a:lnTo>
                    <a:pt x="31" y="201"/>
                  </a:lnTo>
                  <a:lnTo>
                    <a:pt x="32" y="200"/>
                  </a:lnTo>
                  <a:lnTo>
                    <a:pt x="35" y="198"/>
                  </a:lnTo>
                  <a:lnTo>
                    <a:pt x="36" y="197"/>
                  </a:lnTo>
                  <a:lnTo>
                    <a:pt x="37" y="196"/>
                  </a:lnTo>
                  <a:lnTo>
                    <a:pt x="38" y="196"/>
                  </a:lnTo>
                  <a:lnTo>
                    <a:pt x="38" y="195"/>
                  </a:lnTo>
                  <a:lnTo>
                    <a:pt x="39" y="195"/>
                  </a:lnTo>
                  <a:lnTo>
                    <a:pt x="40" y="193"/>
                  </a:lnTo>
                  <a:lnTo>
                    <a:pt x="40" y="192"/>
                  </a:lnTo>
                  <a:lnTo>
                    <a:pt x="41" y="191"/>
                  </a:lnTo>
                  <a:lnTo>
                    <a:pt x="41" y="188"/>
                  </a:lnTo>
                  <a:lnTo>
                    <a:pt x="42" y="187"/>
                  </a:lnTo>
                  <a:lnTo>
                    <a:pt x="42" y="186"/>
                  </a:lnTo>
                  <a:lnTo>
                    <a:pt x="42" y="186"/>
                  </a:lnTo>
                  <a:lnTo>
                    <a:pt x="42" y="186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4" y="185"/>
                  </a:lnTo>
                  <a:lnTo>
                    <a:pt x="45" y="186"/>
                  </a:lnTo>
                  <a:lnTo>
                    <a:pt x="45" y="186"/>
                  </a:lnTo>
                  <a:lnTo>
                    <a:pt x="46" y="186"/>
                  </a:lnTo>
                  <a:lnTo>
                    <a:pt x="46" y="186"/>
                  </a:lnTo>
                  <a:lnTo>
                    <a:pt x="46" y="187"/>
                  </a:lnTo>
                  <a:lnTo>
                    <a:pt x="48" y="188"/>
                  </a:lnTo>
                  <a:lnTo>
                    <a:pt x="49" y="190"/>
                  </a:lnTo>
                  <a:lnTo>
                    <a:pt x="50" y="191"/>
                  </a:lnTo>
                  <a:lnTo>
                    <a:pt x="52" y="195"/>
                  </a:lnTo>
                  <a:lnTo>
                    <a:pt x="53" y="196"/>
                  </a:lnTo>
                  <a:lnTo>
                    <a:pt x="54" y="197"/>
                  </a:lnTo>
                  <a:lnTo>
                    <a:pt x="55" y="198"/>
                  </a:lnTo>
                  <a:lnTo>
                    <a:pt x="55" y="199"/>
                  </a:lnTo>
                  <a:lnTo>
                    <a:pt x="57" y="200"/>
                  </a:lnTo>
                  <a:lnTo>
                    <a:pt x="58" y="201"/>
                  </a:lnTo>
                  <a:lnTo>
                    <a:pt x="59" y="201"/>
                  </a:lnTo>
                  <a:lnTo>
                    <a:pt x="60" y="201"/>
                  </a:lnTo>
                  <a:lnTo>
                    <a:pt x="62" y="202"/>
                  </a:lnTo>
                  <a:lnTo>
                    <a:pt x="64" y="203"/>
                  </a:lnTo>
                  <a:lnTo>
                    <a:pt x="65" y="203"/>
                  </a:lnTo>
                  <a:lnTo>
                    <a:pt x="65" y="203"/>
                  </a:lnTo>
                  <a:lnTo>
                    <a:pt x="66" y="203"/>
                  </a:lnTo>
                  <a:lnTo>
                    <a:pt x="66" y="203"/>
                  </a:lnTo>
                  <a:lnTo>
                    <a:pt x="67" y="203"/>
                  </a:lnTo>
                  <a:lnTo>
                    <a:pt x="67" y="203"/>
                  </a:lnTo>
                  <a:lnTo>
                    <a:pt x="68" y="203"/>
                  </a:lnTo>
                  <a:lnTo>
                    <a:pt x="69" y="202"/>
                  </a:lnTo>
                  <a:lnTo>
                    <a:pt x="69" y="202"/>
                  </a:lnTo>
                  <a:lnTo>
                    <a:pt x="70" y="201"/>
                  </a:lnTo>
                  <a:lnTo>
                    <a:pt x="71" y="201"/>
                  </a:lnTo>
                  <a:lnTo>
                    <a:pt x="72" y="199"/>
                  </a:lnTo>
                  <a:lnTo>
                    <a:pt x="76" y="196"/>
                  </a:lnTo>
                  <a:lnTo>
                    <a:pt x="79" y="193"/>
                  </a:lnTo>
                  <a:lnTo>
                    <a:pt x="82" y="190"/>
                  </a:lnTo>
                  <a:lnTo>
                    <a:pt x="83" y="189"/>
                  </a:lnTo>
                  <a:lnTo>
                    <a:pt x="83" y="188"/>
                  </a:lnTo>
                  <a:lnTo>
                    <a:pt x="84" y="188"/>
                  </a:lnTo>
                  <a:lnTo>
                    <a:pt x="84" y="187"/>
                  </a:lnTo>
                  <a:lnTo>
                    <a:pt x="84" y="186"/>
                  </a:lnTo>
                  <a:lnTo>
                    <a:pt x="84" y="185"/>
                  </a:lnTo>
                  <a:lnTo>
                    <a:pt x="84" y="183"/>
                  </a:lnTo>
                  <a:lnTo>
                    <a:pt x="84" y="182"/>
                  </a:lnTo>
                  <a:lnTo>
                    <a:pt x="85" y="181"/>
                  </a:lnTo>
                  <a:lnTo>
                    <a:pt x="85" y="181"/>
                  </a:lnTo>
                  <a:lnTo>
                    <a:pt x="85" y="180"/>
                  </a:lnTo>
                  <a:lnTo>
                    <a:pt x="86" y="179"/>
                  </a:lnTo>
                  <a:lnTo>
                    <a:pt x="87" y="177"/>
                  </a:lnTo>
                  <a:lnTo>
                    <a:pt x="88" y="175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3"/>
                  </a:lnTo>
                  <a:lnTo>
                    <a:pt x="89" y="172"/>
                  </a:lnTo>
                  <a:lnTo>
                    <a:pt x="90" y="171"/>
                  </a:lnTo>
                  <a:lnTo>
                    <a:pt x="90" y="170"/>
                  </a:lnTo>
                  <a:lnTo>
                    <a:pt x="90" y="170"/>
                  </a:lnTo>
                  <a:lnTo>
                    <a:pt x="90" y="168"/>
                  </a:lnTo>
                  <a:lnTo>
                    <a:pt x="90" y="166"/>
                  </a:lnTo>
                  <a:lnTo>
                    <a:pt x="89" y="163"/>
                  </a:lnTo>
                  <a:lnTo>
                    <a:pt x="89" y="162"/>
                  </a:lnTo>
                  <a:lnTo>
                    <a:pt x="89" y="161"/>
                  </a:lnTo>
                  <a:lnTo>
                    <a:pt x="89" y="160"/>
                  </a:lnTo>
                  <a:lnTo>
                    <a:pt x="89" y="160"/>
                  </a:lnTo>
                  <a:lnTo>
                    <a:pt x="90" y="159"/>
                  </a:lnTo>
                  <a:lnTo>
                    <a:pt x="90" y="159"/>
                  </a:lnTo>
                  <a:lnTo>
                    <a:pt x="91" y="158"/>
                  </a:lnTo>
                  <a:lnTo>
                    <a:pt x="91" y="157"/>
                  </a:lnTo>
                  <a:lnTo>
                    <a:pt x="92" y="157"/>
                  </a:lnTo>
                  <a:lnTo>
                    <a:pt x="92" y="157"/>
                  </a:lnTo>
                  <a:lnTo>
                    <a:pt x="93" y="156"/>
                  </a:lnTo>
                  <a:lnTo>
                    <a:pt x="94" y="156"/>
                  </a:lnTo>
                  <a:lnTo>
                    <a:pt x="95" y="156"/>
                  </a:lnTo>
                  <a:lnTo>
                    <a:pt x="96" y="155"/>
                  </a:lnTo>
                  <a:lnTo>
                    <a:pt x="97" y="155"/>
                  </a:lnTo>
                  <a:lnTo>
                    <a:pt x="98" y="155"/>
                  </a:lnTo>
                  <a:lnTo>
                    <a:pt x="100" y="155"/>
                  </a:lnTo>
                  <a:lnTo>
                    <a:pt x="105" y="155"/>
                  </a:lnTo>
                  <a:lnTo>
                    <a:pt x="107" y="155"/>
                  </a:lnTo>
                  <a:lnTo>
                    <a:pt x="109" y="155"/>
                  </a:lnTo>
                  <a:lnTo>
                    <a:pt x="110" y="154"/>
                  </a:lnTo>
                  <a:lnTo>
                    <a:pt x="112" y="154"/>
                  </a:lnTo>
                  <a:lnTo>
                    <a:pt x="113" y="153"/>
                  </a:lnTo>
                  <a:lnTo>
                    <a:pt x="114" y="153"/>
                  </a:lnTo>
                  <a:lnTo>
                    <a:pt x="115" y="152"/>
                  </a:lnTo>
                  <a:lnTo>
                    <a:pt x="117" y="151"/>
                  </a:lnTo>
                  <a:lnTo>
                    <a:pt x="118" y="151"/>
                  </a:lnTo>
                  <a:lnTo>
                    <a:pt x="119" y="150"/>
                  </a:lnTo>
                  <a:lnTo>
                    <a:pt x="121" y="149"/>
                  </a:lnTo>
                  <a:lnTo>
                    <a:pt x="122" y="149"/>
                  </a:lnTo>
                  <a:lnTo>
                    <a:pt x="123" y="148"/>
                  </a:lnTo>
                  <a:lnTo>
                    <a:pt x="124" y="148"/>
                  </a:lnTo>
                  <a:lnTo>
                    <a:pt x="125" y="148"/>
                  </a:lnTo>
                  <a:lnTo>
                    <a:pt x="126" y="148"/>
                  </a:lnTo>
                  <a:lnTo>
                    <a:pt x="127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9" y="149"/>
                  </a:lnTo>
                  <a:lnTo>
                    <a:pt x="130" y="149"/>
                  </a:lnTo>
                  <a:lnTo>
                    <a:pt x="133" y="151"/>
                  </a:lnTo>
                  <a:lnTo>
                    <a:pt x="135" y="151"/>
                  </a:lnTo>
                  <a:lnTo>
                    <a:pt x="136" y="151"/>
                  </a:lnTo>
                  <a:lnTo>
                    <a:pt x="136" y="152"/>
                  </a:lnTo>
                  <a:lnTo>
                    <a:pt x="137" y="152"/>
                  </a:lnTo>
                  <a:lnTo>
                    <a:pt x="138" y="152"/>
                  </a:lnTo>
                  <a:lnTo>
                    <a:pt x="138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40" y="151"/>
                  </a:lnTo>
                  <a:lnTo>
                    <a:pt x="141" y="151"/>
                  </a:lnTo>
                  <a:lnTo>
                    <a:pt x="142" y="150"/>
                  </a:lnTo>
                  <a:lnTo>
                    <a:pt x="144" y="149"/>
                  </a:lnTo>
                  <a:lnTo>
                    <a:pt x="145" y="149"/>
                  </a:lnTo>
                  <a:lnTo>
                    <a:pt x="146" y="148"/>
                  </a:lnTo>
                  <a:lnTo>
                    <a:pt x="147" y="148"/>
                  </a:lnTo>
                  <a:lnTo>
                    <a:pt x="151" y="148"/>
                  </a:lnTo>
                  <a:lnTo>
                    <a:pt x="155" y="147"/>
                  </a:lnTo>
                  <a:lnTo>
                    <a:pt x="156" y="147"/>
                  </a:lnTo>
                  <a:lnTo>
                    <a:pt x="157" y="147"/>
                  </a:lnTo>
                  <a:lnTo>
                    <a:pt x="160" y="147"/>
                  </a:lnTo>
                  <a:lnTo>
                    <a:pt x="161" y="147"/>
                  </a:lnTo>
                  <a:lnTo>
                    <a:pt x="163" y="147"/>
                  </a:lnTo>
                  <a:lnTo>
                    <a:pt x="165" y="147"/>
                  </a:lnTo>
                  <a:lnTo>
                    <a:pt x="167" y="147"/>
                  </a:lnTo>
                  <a:lnTo>
                    <a:pt x="168" y="147"/>
                  </a:lnTo>
                  <a:lnTo>
                    <a:pt x="169" y="148"/>
                  </a:lnTo>
                  <a:lnTo>
                    <a:pt x="172" y="149"/>
                  </a:lnTo>
                  <a:lnTo>
                    <a:pt x="173" y="149"/>
                  </a:lnTo>
                  <a:lnTo>
                    <a:pt x="174" y="149"/>
                  </a:lnTo>
                  <a:lnTo>
                    <a:pt x="176" y="150"/>
                  </a:lnTo>
                  <a:lnTo>
                    <a:pt x="177" y="150"/>
                  </a:lnTo>
                  <a:lnTo>
                    <a:pt x="179" y="150"/>
                  </a:lnTo>
                  <a:lnTo>
                    <a:pt x="180" y="149"/>
                  </a:lnTo>
                  <a:lnTo>
                    <a:pt x="181" y="149"/>
                  </a:lnTo>
                  <a:lnTo>
                    <a:pt x="182" y="149"/>
                  </a:lnTo>
                  <a:lnTo>
                    <a:pt x="183" y="148"/>
                  </a:lnTo>
                  <a:lnTo>
                    <a:pt x="184" y="147"/>
                  </a:lnTo>
                  <a:lnTo>
                    <a:pt x="186" y="146"/>
                  </a:lnTo>
                  <a:lnTo>
                    <a:pt x="187" y="145"/>
                  </a:lnTo>
                  <a:lnTo>
                    <a:pt x="188" y="145"/>
                  </a:lnTo>
                  <a:lnTo>
                    <a:pt x="191" y="144"/>
                  </a:lnTo>
                  <a:lnTo>
                    <a:pt x="191" y="143"/>
                  </a:lnTo>
                  <a:lnTo>
                    <a:pt x="192" y="143"/>
                  </a:lnTo>
                  <a:lnTo>
                    <a:pt x="192" y="143"/>
                  </a:lnTo>
                  <a:lnTo>
                    <a:pt x="193" y="142"/>
                  </a:lnTo>
                  <a:lnTo>
                    <a:pt x="194" y="142"/>
                  </a:lnTo>
                  <a:lnTo>
                    <a:pt x="194" y="141"/>
                  </a:lnTo>
                  <a:lnTo>
                    <a:pt x="195" y="140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6"/>
                  </a:lnTo>
                  <a:lnTo>
                    <a:pt x="195" y="133"/>
                  </a:lnTo>
                  <a:lnTo>
                    <a:pt x="195" y="132"/>
                  </a:lnTo>
                  <a:lnTo>
                    <a:pt x="195" y="130"/>
                  </a:lnTo>
                  <a:lnTo>
                    <a:pt x="195" y="129"/>
                  </a:lnTo>
                  <a:lnTo>
                    <a:pt x="195" y="128"/>
                  </a:lnTo>
                  <a:lnTo>
                    <a:pt x="196" y="127"/>
                  </a:lnTo>
                  <a:lnTo>
                    <a:pt x="196" y="126"/>
                  </a:lnTo>
                  <a:lnTo>
                    <a:pt x="196" y="125"/>
                  </a:lnTo>
                  <a:lnTo>
                    <a:pt x="197" y="124"/>
                  </a:lnTo>
                  <a:lnTo>
                    <a:pt x="197" y="124"/>
                  </a:lnTo>
                  <a:lnTo>
                    <a:pt x="197" y="123"/>
                  </a:lnTo>
                  <a:lnTo>
                    <a:pt x="198" y="123"/>
                  </a:lnTo>
                  <a:lnTo>
                    <a:pt x="198" y="122"/>
                  </a:lnTo>
                  <a:lnTo>
                    <a:pt x="199" y="122"/>
                  </a:lnTo>
                  <a:lnTo>
                    <a:pt x="199" y="122"/>
                  </a:lnTo>
                  <a:lnTo>
                    <a:pt x="200" y="121"/>
                  </a:lnTo>
                  <a:lnTo>
                    <a:pt x="201" y="121"/>
                  </a:lnTo>
                  <a:lnTo>
                    <a:pt x="204" y="120"/>
                  </a:lnTo>
                  <a:lnTo>
                    <a:pt x="205" y="120"/>
                  </a:lnTo>
                  <a:lnTo>
                    <a:pt x="207" y="119"/>
                  </a:lnTo>
                  <a:lnTo>
                    <a:pt x="208" y="119"/>
                  </a:lnTo>
                  <a:lnTo>
                    <a:pt x="210" y="118"/>
                  </a:lnTo>
                  <a:lnTo>
                    <a:pt x="211" y="117"/>
                  </a:lnTo>
                  <a:lnTo>
                    <a:pt x="212" y="116"/>
                  </a:lnTo>
                  <a:lnTo>
                    <a:pt x="214" y="114"/>
                  </a:lnTo>
                  <a:lnTo>
                    <a:pt x="215" y="113"/>
                  </a:lnTo>
                  <a:lnTo>
                    <a:pt x="216" y="113"/>
                  </a:lnTo>
                  <a:lnTo>
                    <a:pt x="218" y="112"/>
                  </a:lnTo>
                  <a:lnTo>
                    <a:pt x="219" y="111"/>
                  </a:lnTo>
                  <a:lnTo>
                    <a:pt x="221" y="110"/>
                  </a:lnTo>
                  <a:lnTo>
                    <a:pt x="222" y="110"/>
                  </a:lnTo>
                  <a:lnTo>
                    <a:pt x="223" y="110"/>
                  </a:lnTo>
                  <a:lnTo>
                    <a:pt x="224" y="110"/>
                  </a:lnTo>
                  <a:lnTo>
                    <a:pt x="225" y="110"/>
                  </a:lnTo>
                  <a:lnTo>
                    <a:pt x="226" y="110"/>
                  </a:lnTo>
                  <a:lnTo>
                    <a:pt x="227" y="110"/>
                  </a:lnTo>
                  <a:lnTo>
                    <a:pt x="229" y="111"/>
                  </a:lnTo>
                  <a:lnTo>
                    <a:pt x="232" y="112"/>
                  </a:lnTo>
                  <a:lnTo>
                    <a:pt x="234" y="113"/>
                  </a:lnTo>
                  <a:lnTo>
                    <a:pt x="235" y="113"/>
                  </a:lnTo>
                  <a:lnTo>
                    <a:pt x="236" y="113"/>
                  </a:lnTo>
                  <a:lnTo>
                    <a:pt x="237" y="113"/>
                  </a:lnTo>
                  <a:lnTo>
                    <a:pt x="240" y="112"/>
                  </a:lnTo>
                  <a:lnTo>
                    <a:pt x="244" y="112"/>
                  </a:lnTo>
                  <a:lnTo>
                    <a:pt x="244" y="111"/>
                  </a:lnTo>
                  <a:lnTo>
                    <a:pt x="245" y="111"/>
                  </a:lnTo>
                  <a:lnTo>
                    <a:pt x="247" y="111"/>
                  </a:lnTo>
                  <a:lnTo>
                    <a:pt x="248" y="110"/>
                  </a:lnTo>
                  <a:lnTo>
                    <a:pt x="249" y="109"/>
                  </a:lnTo>
                  <a:lnTo>
                    <a:pt x="252" y="107"/>
                  </a:lnTo>
                  <a:lnTo>
                    <a:pt x="253" y="106"/>
                  </a:lnTo>
                  <a:lnTo>
                    <a:pt x="255" y="105"/>
                  </a:lnTo>
                  <a:lnTo>
                    <a:pt x="258" y="104"/>
                  </a:lnTo>
                  <a:lnTo>
                    <a:pt x="265" y="101"/>
                  </a:lnTo>
                  <a:lnTo>
                    <a:pt x="270" y="98"/>
                  </a:lnTo>
                  <a:lnTo>
                    <a:pt x="273" y="97"/>
                  </a:lnTo>
                  <a:lnTo>
                    <a:pt x="275" y="96"/>
                  </a:lnTo>
                  <a:lnTo>
                    <a:pt x="281" y="94"/>
                  </a:lnTo>
                  <a:lnTo>
                    <a:pt x="283" y="94"/>
                  </a:lnTo>
                  <a:lnTo>
                    <a:pt x="285" y="93"/>
                  </a:lnTo>
                  <a:lnTo>
                    <a:pt x="286" y="92"/>
                  </a:lnTo>
                  <a:lnTo>
                    <a:pt x="287" y="92"/>
                  </a:lnTo>
                  <a:lnTo>
                    <a:pt x="288" y="91"/>
                  </a:lnTo>
                  <a:lnTo>
                    <a:pt x="290" y="89"/>
                  </a:lnTo>
                  <a:lnTo>
                    <a:pt x="291" y="88"/>
                  </a:lnTo>
                  <a:lnTo>
                    <a:pt x="292" y="87"/>
                  </a:lnTo>
                  <a:lnTo>
                    <a:pt x="293" y="86"/>
                  </a:lnTo>
                  <a:lnTo>
                    <a:pt x="294" y="85"/>
                  </a:lnTo>
                  <a:lnTo>
                    <a:pt x="295" y="84"/>
                  </a:lnTo>
                  <a:lnTo>
                    <a:pt x="297" y="81"/>
                  </a:lnTo>
                  <a:lnTo>
                    <a:pt x="297" y="80"/>
                  </a:lnTo>
                  <a:lnTo>
                    <a:pt x="297" y="79"/>
                  </a:lnTo>
                  <a:lnTo>
                    <a:pt x="298" y="79"/>
                  </a:lnTo>
                  <a:lnTo>
                    <a:pt x="299" y="78"/>
                  </a:lnTo>
                  <a:lnTo>
                    <a:pt x="300" y="78"/>
                  </a:lnTo>
                  <a:lnTo>
                    <a:pt x="301" y="77"/>
                  </a:lnTo>
                  <a:lnTo>
                    <a:pt x="302" y="76"/>
                  </a:lnTo>
                  <a:lnTo>
                    <a:pt x="304" y="76"/>
                  </a:lnTo>
                  <a:lnTo>
                    <a:pt x="305" y="76"/>
                  </a:lnTo>
                  <a:lnTo>
                    <a:pt x="306" y="76"/>
                  </a:lnTo>
                  <a:lnTo>
                    <a:pt x="307" y="76"/>
                  </a:lnTo>
                  <a:lnTo>
                    <a:pt x="308" y="76"/>
                  </a:lnTo>
                  <a:lnTo>
                    <a:pt x="310" y="76"/>
                  </a:lnTo>
                  <a:lnTo>
                    <a:pt x="312" y="77"/>
                  </a:lnTo>
                  <a:lnTo>
                    <a:pt x="314" y="77"/>
                  </a:lnTo>
                  <a:lnTo>
                    <a:pt x="315" y="77"/>
                  </a:lnTo>
                  <a:lnTo>
                    <a:pt x="316" y="77"/>
                  </a:lnTo>
                  <a:lnTo>
                    <a:pt x="317" y="77"/>
                  </a:lnTo>
                  <a:lnTo>
                    <a:pt x="318" y="77"/>
                  </a:lnTo>
                  <a:lnTo>
                    <a:pt x="320" y="77"/>
                  </a:lnTo>
                  <a:lnTo>
                    <a:pt x="323" y="76"/>
                  </a:lnTo>
                  <a:lnTo>
                    <a:pt x="324" y="76"/>
                  </a:lnTo>
                  <a:lnTo>
                    <a:pt x="325" y="75"/>
                  </a:lnTo>
                  <a:lnTo>
                    <a:pt x="327" y="75"/>
                  </a:lnTo>
                  <a:lnTo>
                    <a:pt x="330" y="74"/>
                  </a:lnTo>
                  <a:lnTo>
                    <a:pt x="331" y="73"/>
                  </a:lnTo>
                  <a:lnTo>
                    <a:pt x="332" y="73"/>
                  </a:lnTo>
                  <a:lnTo>
                    <a:pt x="335" y="72"/>
                  </a:lnTo>
                  <a:lnTo>
                    <a:pt x="336" y="72"/>
                  </a:lnTo>
                  <a:lnTo>
                    <a:pt x="337" y="72"/>
                  </a:lnTo>
                  <a:lnTo>
                    <a:pt x="338" y="71"/>
                  </a:lnTo>
                  <a:lnTo>
                    <a:pt x="338" y="71"/>
                  </a:lnTo>
                  <a:lnTo>
                    <a:pt x="339" y="70"/>
                  </a:lnTo>
                  <a:lnTo>
                    <a:pt x="339" y="70"/>
                  </a:lnTo>
                  <a:lnTo>
                    <a:pt x="340" y="69"/>
                  </a:lnTo>
                  <a:lnTo>
                    <a:pt x="340" y="69"/>
                  </a:lnTo>
                  <a:lnTo>
                    <a:pt x="341" y="68"/>
                  </a:lnTo>
                  <a:lnTo>
                    <a:pt x="341" y="65"/>
                  </a:lnTo>
                  <a:lnTo>
                    <a:pt x="342" y="63"/>
                  </a:lnTo>
                  <a:lnTo>
                    <a:pt x="343" y="61"/>
                  </a:lnTo>
                  <a:lnTo>
                    <a:pt x="343" y="60"/>
                  </a:lnTo>
                  <a:lnTo>
                    <a:pt x="343" y="60"/>
                  </a:lnTo>
                  <a:lnTo>
                    <a:pt x="343" y="59"/>
                  </a:lnTo>
                  <a:lnTo>
                    <a:pt x="343" y="58"/>
                  </a:lnTo>
                  <a:lnTo>
                    <a:pt x="343" y="58"/>
                  </a:lnTo>
                  <a:lnTo>
                    <a:pt x="343" y="57"/>
                  </a:lnTo>
                  <a:lnTo>
                    <a:pt x="342" y="57"/>
                  </a:lnTo>
                  <a:lnTo>
                    <a:pt x="342" y="56"/>
                  </a:lnTo>
                  <a:lnTo>
                    <a:pt x="341" y="55"/>
                  </a:lnTo>
                  <a:lnTo>
                    <a:pt x="341" y="55"/>
                  </a:lnTo>
                  <a:lnTo>
                    <a:pt x="340" y="55"/>
                  </a:lnTo>
                  <a:lnTo>
                    <a:pt x="339" y="54"/>
                  </a:lnTo>
                  <a:lnTo>
                    <a:pt x="338" y="54"/>
                  </a:lnTo>
                  <a:lnTo>
                    <a:pt x="336" y="53"/>
                  </a:lnTo>
                  <a:lnTo>
                    <a:pt x="332" y="51"/>
                  </a:lnTo>
                  <a:lnTo>
                    <a:pt x="330" y="50"/>
                  </a:lnTo>
                  <a:lnTo>
                    <a:pt x="325" y="49"/>
                  </a:lnTo>
                  <a:lnTo>
                    <a:pt x="324" y="48"/>
                  </a:lnTo>
                  <a:lnTo>
                    <a:pt x="323" y="48"/>
                  </a:lnTo>
                  <a:lnTo>
                    <a:pt x="322" y="47"/>
                  </a:lnTo>
                  <a:lnTo>
                    <a:pt x="322" y="47"/>
                  </a:lnTo>
                  <a:lnTo>
                    <a:pt x="321" y="46"/>
                  </a:lnTo>
                  <a:lnTo>
                    <a:pt x="321" y="46"/>
                  </a:lnTo>
                  <a:lnTo>
                    <a:pt x="321" y="45"/>
                  </a:lnTo>
                  <a:lnTo>
                    <a:pt x="320" y="45"/>
                  </a:lnTo>
                  <a:lnTo>
                    <a:pt x="320" y="44"/>
                  </a:lnTo>
                  <a:lnTo>
                    <a:pt x="319" y="43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19" y="41"/>
                  </a:lnTo>
                  <a:lnTo>
                    <a:pt x="319" y="41"/>
                  </a:lnTo>
                  <a:lnTo>
                    <a:pt x="319" y="40"/>
                  </a:lnTo>
                  <a:lnTo>
                    <a:pt x="319" y="40"/>
                  </a:lnTo>
                  <a:lnTo>
                    <a:pt x="320" y="39"/>
                  </a:lnTo>
                  <a:lnTo>
                    <a:pt x="321" y="37"/>
                  </a:lnTo>
                  <a:lnTo>
                    <a:pt x="321" y="37"/>
                  </a:lnTo>
                  <a:lnTo>
                    <a:pt x="321" y="37"/>
                  </a:lnTo>
                  <a:lnTo>
                    <a:pt x="321" y="36"/>
                  </a:lnTo>
                  <a:lnTo>
                    <a:pt x="321" y="36"/>
                  </a:lnTo>
                  <a:lnTo>
                    <a:pt x="321" y="35"/>
                  </a:lnTo>
                  <a:lnTo>
                    <a:pt x="320" y="35"/>
                  </a:lnTo>
                  <a:lnTo>
                    <a:pt x="320" y="35"/>
                  </a:lnTo>
                  <a:lnTo>
                    <a:pt x="320" y="34"/>
                  </a:lnTo>
                  <a:lnTo>
                    <a:pt x="319" y="34"/>
                  </a:lnTo>
                  <a:lnTo>
                    <a:pt x="318" y="34"/>
                  </a:lnTo>
                  <a:lnTo>
                    <a:pt x="317" y="34"/>
                  </a:lnTo>
                  <a:lnTo>
                    <a:pt x="314" y="34"/>
                  </a:lnTo>
                  <a:lnTo>
                    <a:pt x="313" y="34"/>
                  </a:lnTo>
                  <a:lnTo>
                    <a:pt x="312" y="34"/>
                  </a:lnTo>
                  <a:lnTo>
                    <a:pt x="311" y="34"/>
                  </a:lnTo>
                  <a:lnTo>
                    <a:pt x="310" y="33"/>
                  </a:lnTo>
                  <a:lnTo>
                    <a:pt x="309" y="33"/>
                  </a:lnTo>
                  <a:lnTo>
                    <a:pt x="308" y="32"/>
                  </a:lnTo>
                  <a:lnTo>
                    <a:pt x="307" y="32"/>
                  </a:lnTo>
                  <a:lnTo>
                    <a:pt x="307" y="31"/>
                  </a:lnTo>
                  <a:lnTo>
                    <a:pt x="306" y="31"/>
                  </a:lnTo>
                  <a:lnTo>
                    <a:pt x="306" y="30"/>
                  </a:lnTo>
                  <a:lnTo>
                    <a:pt x="306" y="30"/>
                  </a:lnTo>
                  <a:lnTo>
                    <a:pt x="305" y="29"/>
                  </a:lnTo>
                  <a:lnTo>
                    <a:pt x="305" y="28"/>
                  </a:lnTo>
                  <a:lnTo>
                    <a:pt x="305" y="28"/>
                  </a:lnTo>
                  <a:lnTo>
                    <a:pt x="305" y="27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3"/>
                  </a:lnTo>
                  <a:lnTo>
                    <a:pt x="306" y="22"/>
                  </a:lnTo>
                  <a:lnTo>
                    <a:pt x="306" y="21"/>
                  </a:lnTo>
                  <a:lnTo>
                    <a:pt x="307" y="19"/>
                  </a:lnTo>
                  <a:lnTo>
                    <a:pt x="308" y="18"/>
                  </a:lnTo>
                  <a:lnTo>
                    <a:pt x="308" y="17"/>
                  </a:lnTo>
                  <a:lnTo>
                    <a:pt x="309" y="16"/>
                  </a:lnTo>
                  <a:lnTo>
                    <a:pt x="309" y="14"/>
                  </a:lnTo>
                  <a:lnTo>
                    <a:pt x="309" y="13"/>
                  </a:lnTo>
                  <a:lnTo>
                    <a:pt x="310" y="12"/>
                  </a:lnTo>
                  <a:lnTo>
                    <a:pt x="310" y="9"/>
                  </a:lnTo>
                  <a:lnTo>
                    <a:pt x="311" y="8"/>
                  </a:lnTo>
                  <a:lnTo>
                    <a:pt x="311" y="8"/>
                  </a:lnTo>
                  <a:lnTo>
                    <a:pt x="311" y="7"/>
                  </a:lnTo>
                  <a:lnTo>
                    <a:pt x="311" y="6"/>
                  </a:lnTo>
                  <a:lnTo>
                    <a:pt x="312" y="5"/>
                  </a:lnTo>
                  <a:lnTo>
                    <a:pt x="315" y="1"/>
                  </a:lnTo>
                  <a:lnTo>
                    <a:pt x="316" y="0"/>
                  </a:lnTo>
                  <a:lnTo>
                    <a:pt x="317" y="0"/>
                  </a:lnTo>
                  <a:lnTo>
                    <a:pt x="317" y="0"/>
                  </a:lnTo>
                  <a:lnTo>
                    <a:pt x="317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Freeform 21">
              <a:extLst>
                <a:ext uri="{FF2B5EF4-FFF2-40B4-BE49-F238E27FC236}">
                  <a16:creationId xmlns:a16="http://schemas.microsoft.com/office/drawing/2014/main" id="{E418D4A3-BC1C-E6CF-D081-114FB820D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0" y="2882"/>
              <a:ext cx="376" cy="252"/>
            </a:xfrm>
            <a:custGeom>
              <a:avLst/>
              <a:gdLst>
                <a:gd name="T0" fmla="*/ 210 w 376"/>
                <a:gd name="T1" fmla="*/ 2 h 252"/>
                <a:gd name="T2" fmla="*/ 222 w 376"/>
                <a:gd name="T3" fmla="*/ 11 h 252"/>
                <a:gd name="T4" fmla="*/ 231 w 376"/>
                <a:gd name="T5" fmla="*/ 11 h 252"/>
                <a:gd name="T6" fmla="*/ 240 w 376"/>
                <a:gd name="T7" fmla="*/ 5 h 252"/>
                <a:gd name="T8" fmla="*/ 247 w 376"/>
                <a:gd name="T9" fmla="*/ 16 h 252"/>
                <a:gd name="T10" fmla="*/ 261 w 376"/>
                <a:gd name="T11" fmla="*/ 14 h 252"/>
                <a:gd name="T12" fmla="*/ 274 w 376"/>
                <a:gd name="T13" fmla="*/ 32 h 252"/>
                <a:gd name="T14" fmla="*/ 272 w 376"/>
                <a:gd name="T15" fmla="*/ 55 h 252"/>
                <a:gd name="T16" fmla="*/ 285 w 376"/>
                <a:gd name="T17" fmla="*/ 74 h 252"/>
                <a:gd name="T18" fmla="*/ 300 w 376"/>
                <a:gd name="T19" fmla="*/ 94 h 252"/>
                <a:gd name="T20" fmla="*/ 305 w 376"/>
                <a:gd name="T21" fmla="*/ 111 h 252"/>
                <a:gd name="T22" fmla="*/ 318 w 376"/>
                <a:gd name="T23" fmla="*/ 101 h 252"/>
                <a:gd name="T24" fmla="*/ 342 w 376"/>
                <a:gd name="T25" fmla="*/ 109 h 252"/>
                <a:gd name="T26" fmla="*/ 353 w 376"/>
                <a:gd name="T27" fmla="*/ 122 h 252"/>
                <a:gd name="T28" fmla="*/ 358 w 376"/>
                <a:gd name="T29" fmla="*/ 156 h 252"/>
                <a:gd name="T30" fmla="*/ 363 w 376"/>
                <a:gd name="T31" fmla="*/ 183 h 252"/>
                <a:gd name="T32" fmla="*/ 363 w 376"/>
                <a:gd name="T33" fmla="*/ 202 h 252"/>
                <a:gd name="T34" fmla="*/ 376 w 376"/>
                <a:gd name="T35" fmla="*/ 226 h 252"/>
                <a:gd name="T36" fmla="*/ 365 w 376"/>
                <a:gd name="T37" fmla="*/ 232 h 252"/>
                <a:gd name="T38" fmla="*/ 348 w 376"/>
                <a:gd name="T39" fmla="*/ 233 h 252"/>
                <a:gd name="T40" fmla="*/ 334 w 376"/>
                <a:gd name="T41" fmla="*/ 222 h 252"/>
                <a:gd name="T42" fmla="*/ 322 w 376"/>
                <a:gd name="T43" fmla="*/ 233 h 252"/>
                <a:gd name="T44" fmla="*/ 318 w 376"/>
                <a:gd name="T45" fmla="*/ 247 h 252"/>
                <a:gd name="T46" fmla="*/ 306 w 376"/>
                <a:gd name="T47" fmla="*/ 247 h 252"/>
                <a:gd name="T48" fmla="*/ 299 w 376"/>
                <a:gd name="T49" fmla="*/ 241 h 252"/>
                <a:gd name="T50" fmla="*/ 278 w 376"/>
                <a:gd name="T51" fmla="*/ 232 h 252"/>
                <a:gd name="T52" fmla="*/ 265 w 376"/>
                <a:gd name="T53" fmla="*/ 236 h 252"/>
                <a:gd name="T54" fmla="*/ 250 w 376"/>
                <a:gd name="T55" fmla="*/ 240 h 252"/>
                <a:gd name="T56" fmla="*/ 227 w 376"/>
                <a:gd name="T57" fmla="*/ 227 h 252"/>
                <a:gd name="T58" fmla="*/ 213 w 376"/>
                <a:gd name="T59" fmla="*/ 213 h 252"/>
                <a:gd name="T60" fmla="*/ 192 w 376"/>
                <a:gd name="T61" fmla="*/ 196 h 252"/>
                <a:gd name="T62" fmla="*/ 181 w 376"/>
                <a:gd name="T63" fmla="*/ 197 h 252"/>
                <a:gd name="T64" fmla="*/ 168 w 376"/>
                <a:gd name="T65" fmla="*/ 187 h 252"/>
                <a:gd name="T66" fmla="*/ 162 w 376"/>
                <a:gd name="T67" fmla="*/ 201 h 252"/>
                <a:gd name="T68" fmla="*/ 149 w 376"/>
                <a:gd name="T69" fmla="*/ 211 h 252"/>
                <a:gd name="T70" fmla="*/ 141 w 376"/>
                <a:gd name="T71" fmla="*/ 220 h 252"/>
                <a:gd name="T72" fmla="*/ 121 w 376"/>
                <a:gd name="T73" fmla="*/ 218 h 252"/>
                <a:gd name="T74" fmla="*/ 113 w 376"/>
                <a:gd name="T75" fmla="*/ 234 h 252"/>
                <a:gd name="T76" fmla="*/ 97 w 376"/>
                <a:gd name="T77" fmla="*/ 248 h 252"/>
                <a:gd name="T78" fmla="*/ 74 w 376"/>
                <a:gd name="T79" fmla="*/ 252 h 252"/>
                <a:gd name="T80" fmla="*/ 67 w 376"/>
                <a:gd name="T81" fmla="*/ 241 h 252"/>
                <a:gd name="T82" fmla="*/ 57 w 376"/>
                <a:gd name="T83" fmla="*/ 240 h 252"/>
                <a:gd name="T84" fmla="*/ 44 w 376"/>
                <a:gd name="T85" fmla="*/ 241 h 252"/>
                <a:gd name="T86" fmla="*/ 38 w 376"/>
                <a:gd name="T87" fmla="*/ 234 h 252"/>
                <a:gd name="T88" fmla="*/ 21 w 376"/>
                <a:gd name="T89" fmla="*/ 214 h 252"/>
                <a:gd name="T90" fmla="*/ 6 w 376"/>
                <a:gd name="T91" fmla="*/ 183 h 252"/>
                <a:gd name="T92" fmla="*/ 0 w 376"/>
                <a:gd name="T93" fmla="*/ 163 h 252"/>
                <a:gd name="T94" fmla="*/ 8 w 376"/>
                <a:gd name="T95" fmla="*/ 144 h 252"/>
                <a:gd name="T96" fmla="*/ 21 w 376"/>
                <a:gd name="T97" fmla="*/ 131 h 252"/>
                <a:gd name="T98" fmla="*/ 26 w 376"/>
                <a:gd name="T99" fmla="*/ 117 h 252"/>
                <a:gd name="T100" fmla="*/ 31 w 376"/>
                <a:gd name="T101" fmla="*/ 98 h 252"/>
                <a:gd name="T102" fmla="*/ 45 w 376"/>
                <a:gd name="T103" fmla="*/ 99 h 252"/>
                <a:gd name="T104" fmla="*/ 60 w 376"/>
                <a:gd name="T105" fmla="*/ 102 h 252"/>
                <a:gd name="T106" fmla="*/ 69 w 376"/>
                <a:gd name="T107" fmla="*/ 85 h 252"/>
                <a:gd name="T108" fmla="*/ 92 w 376"/>
                <a:gd name="T109" fmla="*/ 80 h 252"/>
                <a:gd name="T110" fmla="*/ 117 w 376"/>
                <a:gd name="T111" fmla="*/ 91 h 252"/>
                <a:gd name="T112" fmla="*/ 134 w 376"/>
                <a:gd name="T113" fmla="*/ 86 h 252"/>
                <a:gd name="T114" fmla="*/ 153 w 376"/>
                <a:gd name="T115" fmla="*/ 69 h 252"/>
                <a:gd name="T116" fmla="*/ 179 w 376"/>
                <a:gd name="T117" fmla="*/ 72 h 252"/>
                <a:gd name="T118" fmla="*/ 191 w 376"/>
                <a:gd name="T119" fmla="*/ 67 h 252"/>
                <a:gd name="T120" fmla="*/ 194 w 376"/>
                <a:gd name="T121" fmla="*/ 37 h 252"/>
                <a:gd name="T122" fmla="*/ 193 w 376"/>
                <a:gd name="T123" fmla="*/ 19 h 252"/>
                <a:gd name="T124" fmla="*/ 185 w 376"/>
                <a:gd name="T125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6" h="252">
                  <a:moveTo>
                    <a:pt x="198" y="0"/>
                  </a:moveTo>
                  <a:lnTo>
                    <a:pt x="198" y="0"/>
                  </a:lnTo>
                  <a:lnTo>
                    <a:pt x="201" y="1"/>
                  </a:lnTo>
                  <a:lnTo>
                    <a:pt x="201" y="2"/>
                  </a:lnTo>
                  <a:lnTo>
                    <a:pt x="202" y="2"/>
                  </a:lnTo>
                  <a:lnTo>
                    <a:pt x="203" y="2"/>
                  </a:lnTo>
                  <a:lnTo>
                    <a:pt x="204" y="3"/>
                  </a:lnTo>
                  <a:lnTo>
                    <a:pt x="205" y="3"/>
                  </a:lnTo>
                  <a:lnTo>
                    <a:pt x="205" y="3"/>
                  </a:lnTo>
                  <a:lnTo>
                    <a:pt x="206" y="3"/>
                  </a:lnTo>
                  <a:lnTo>
                    <a:pt x="206" y="3"/>
                  </a:lnTo>
                  <a:lnTo>
                    <a:pt x="207" y="2"/>
                  </a:lnTo>
                  <a:lnTo>
                    <a:pt x="209" y="2"/>
                  </a:lnTo>
                  <a:lnTo>
                    <a:pt x="209" y="2"/>
                  </a:lnTo>
                  <a:lnTo>
                    <a:pt x="210" y="2"/>
                  </a:lnTo>
                  <a:lnTo>
                    <a:pt x="211" y="2"/>
                  </a:lnTo>
                  <a:lnTo>
                    <a:pt x="212" y="2"/>
                  </a:lnTo>
                  <a:lnTo>
                    <a:pt x="213" y="2"/>
                  </a:lnTo>
                  <a:lnTo>
                    <a:pt x="217" y="4"/>
                  </a:lnTo>
                  <a:lnTo>
                    <a:pt x="219" y="5"/>
                  </a:lnTo>
                  <a:lnTo>
                    <a:pt x="220" y="5"/>
                  </a:lnTo>
                  <a:lnTo>
                    <a:pt x="220" y="5"/>
                  </a:lnTo>
                  <a:lnTo>
                    <a:pt x="221" y="6"/>
                  </a:lnTo>
                  <a:lnTo>
                    <a:pt x="221" y="6"/>
                  </a:lnTo>
                  <a:lnTo>
                    <a:pt x="221" y="7"/>
                  </a:lnTo>
                  <a:lnTo>
                    <a:pt x="221" y="7"/>
                  </a:lnTo>
                  <a:lnTo>
                    <a:pt x="221" y="9"/>
                  </a:lnTo>
                  <a:lnTo>
                    <a:pt x="221" y="10"/>
                  </a:lnTo>
                  <a:lnTo>
                    <a:pt x="222" y="11"/>
                  </a:lnTo>
                  <a:lnTo>
                    <a:pt x="222" y="11"/>
                  </a:lnTo>
                  <a:lnTo>
                    <a:pt x="223" y="12"/>
                  </a:lnTo>
                  <a:lnTo>
                    <a:pt x="223" y="13"/>
                  </a:lnTo>
                  <a:lnTo>
                    <a:pt x="224" y="13"/>
                  </a:lnTo>
                  <a:lnTo>
                    <a:pt x="225" y="13"/>
                  </a:lnTo>
                  <a:lnTo>
                    <a:pt x="226" y="13"/>
                  </a:lnTo>
                  <a:lnTo>
                    <a:pt x="226" y="14"/>
                  </a:lnTo>
                  <a:lnTo>
                    <a:pt x="227" y="14"/>
                  </a:lnTo>
                  <a:lnTo>
                    <a:pt x="228" y="14"/>
                  </a:lnTo>
                  <a:lnTo>
                    <a:pt x="229" y="13"/>
                  </a:lnTo>
                  <a:lnTo>
                    <a:pt x="229" y="13"/>
                  </a:lnTo>
                  <a:lnTo>
                    <a:pt x="230" y="13"/>
                  </a:lnTo>
                  <a:lnTo>
                    <a:pt x="230" y="13"/>
                  </a:lnTo>
                  <a:lnTo>
                    <a:pt x="230" y="12"/>
                  </a:lnTo>
                  <a:lnTo>
                    <a:pt x="231" y="12"/>
                  </a:lnTo>
                  <a:lnTo>
                    <a:pt x="231" y="11"/>
                  </a:lnTo>
                  <a:lnTo>
                    <a:pt x="232" y="10"/>
                  </a:lnTo>
                  <a:lnTo>
                    <a:pt x="233" y="8"/>
                  </a:lnTo>
                  <a:lnTo>
                    <a:pt x="234" y="7"/>
                  </a:lnTo>
                  <a:lnTo>
                    <a:pt x="235" y="6"/>
                  </a:lnTo>
                  <a:lnTo>
                    <a:pt x="235" y="6"/>
                  </a:lnTo>
                  <a:lnTo>
                    <a:pt x="235" y="5"/>
                  </a:lnTo>
                  <a:lnTo>
                    <a:pt x="236" y="5"/>
                  </a:lnTo>
                  <a:lnTo>
                    <a:pt x="237" y="5"/>
                  </a:lnTo>
                  <a:lnTo>
                    <a:pt x="237" y="5"/>
                  </a:lnTo>
                  <a:lnTo>
                    <a:pt x="238" y="5"/>
                  </a:lnTo>
                  <a:lnTo>
                    <a:pt x="238" y="4"/>
                  </a:lnTo>
                  <a:lnTo>
                    <a:pt x="239" y="4"/>
                  </a:lnTo>
                  <a:lnTo>
                    <a:pt x="239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1" y="6"/>
                  </a:lnTo>
                  <a:lnTo>
                    <a:pt x="241" y="6"/>
                  </a:lnTo>
                  <a:lnTo>
                    <a:pt x="242" y="8"/>
                  </a:lnTo>
                  <a:lnTo>
                    <a:pt x="242" y="9"/>
                  </a:lnTo>
                  <a:lnTo>
                    <a:pt x="243" y="12"/>
                  </a:lnTo>
                  <a:lnTo>
                    <a:pt x="243" y="13"/>
                  </a:lnTo>
                  <a:lnTo>
                    <a:pt x="244" y="14"/>
                  </a:lnTo>
                  <a:lnTo>
                    <a:pt x="244" y="15"/>
                  </a:lnTo>
                  <a:lnTo>
                    <a:pt x="245" y="15"/>
                  </a:lnTo>
                  <a:lnTo>
                    <a:pt x="245" y="16"/>
                  </a:lnTo>
                  <a:lnTo>
                    <a:pt x="246" y="16"/>
                  </a:lnTo>
                  <a:lnTo>
                    <a:pt x="247" y="16"/>
                  </a:lnTo>
                  <a:lnTo>
                    <a:pt x="247" y="16"/>
                  </a:lnTo>
                  <a:lnTo>
                    <a:pt x="248" y="16"/>
                  </a:lnTo>
                  <a:lnTo>
                    <a:pt x="248" y="16"/>
                  </a:lnTo>
                  <a:lnTo>
                    <a:pt x="249" y="16"/>
                  </a:lnTo>
                  <a:lnTo>
                    <a:pt x="251" y="15"/>
                  </a:lnTo>
                  <a:lnTo>
                    <a:pt x="253" y="14"/>
                  </a:lnTo>
                  <a:lnTo>
                    <a:pt x="255" y="13"/>
                  </a:lnTo>
                  <a:lnTo>
                    <a:pt x="256" y="13"/>
                  </a:lnTo>
                  <a:lnTo>
                    <a:pt x="257" y="13"/>
                  </a:lnTo>
                  <a:lnTo>
                    <a:pt x="258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60" y="13"/>
                  </a:lnTo>
                  <a:lnTo>
                    <a:pt x="260" y="13"/>
                  </a:lnTo>
                  <a:lnTo>
                    <a:pt x="261" y="14"/>
                  </a:lnTo>
                  <a:lnTo>
                    <a:pt x="261" y="14"/>
                  </a:lnTo>
                  <a:lnTo>
                    <a:pt x="263" y="16"/>
                  </a:lnTo>
                  <a:lnTo>
                    <a:pt x="264" y="17"/>
                  </a:lnTo>
                  <a:lnTo>
                    <a:pt x="265" y="18"/>
                  </a:lnTo>
                  <a:lnTo>
                    <a:pt x="268" y="19"/>
                  </a:lnTo>
                  <a:lnTo>
                    <a:pt x="269" y="20"/>
                  </a:lnTo>
                  <a:lnTo>
                    <a:pt x="269" y="21"/>
                  </a:lnTo>
                  <a:lnTo>
                    <a:pt x="270" y="21"/>
                  </a:lnTo>
                  <a:lnTo>
                    <a:pt x="271" y="22"/>
                  </a:lnTo>
                  <a:lnTo>
                    <a:pt x="271" y="23"/>
                  </a:lnTo>
                  <a:lnTo>
                    <a:pt x="272" y="24"/>
                  </a:lnTo>
                  <a:lnTo>
                    <a:pt x="274" y="28"/>
                  </a:lnTo>
                  <a:lnTo>
                    <a:pt x="274" y="29"/>
                  </a:lnTo>
                  <a:lnTo>
                    <a:pt x="274" y="31"/>
                  </a:lnTo>
                  <a:lnTo>
                    <a:pt x="274" y="32"/>
                  </a:lnTo>
                  <a:lnTo>
                    <a:pt x="274" y="33"/>
                  </a:lnTo>
                  <a:lnTo>
                    <a:pt x="274" y="34"/>
                  </a:lnTo>
                  <a:lnTo>
                    <a:pt x="274" y="34"/>
                  </a:lnTo>
                  <a:lnTo>
                    <a:pt x="274" y="35"/>
                  </a:lnTo>
                  <a:lnTo>
                    <a:pt x="272" y="40"/>
                  </a:lnTo>
                  <a:lnTo>
                    <a:pt x="271" y="41"/>
                  </a:lnTo>
                  <a:lnTo>
                    <a:pt x="271" y="43"/>
                  </a:lnTo>
                  <a:lnTo>
                    <a:pt x="271" y="44"/>
                  </a:lnTo>
                  <a:lnTo>
                    <a:pt x="271" y="45"/>
                  </a:lnTo>
                  <a:lnTo>
                    <a:pt x="271" y="47"/>
                  </a:lnTo>
                  <a:lnTo>
                    <a:pt x="271" y="48"/>
                  </a:lnTo>
                  <a:lnTo>
                    <a:pt x="271" y="50"/>
                  </a:lnTo>
                  <a:lnTo>
                    <a:pt x="271" y="52"/>
                  </a:lnTo>
                  <a:lnTo>
                    <a:pt x="272" y="53"/>
                  </a:lnTo>
                  <a:lnTo>
                    <a:pt x="272" y="55"/>
                  </a:lnTo>
                  <a:lnTo>
                    <a:pt x="273" y="57"/>
                  </a:lnTo>
                  <a:lnTo>
                    <a:pt x="273" y="59"/>
                  </a:lnTo>
                  <a:lnTo>
                    <a:pt x="274" y="60"/>
                  </a:lnTo>
                  <a:lnTo>
                    <a:pt x="274" y="62"/>
                  </a:lnTo>
                  <a:lnTo>
                    <a:pt x="275" y="64"/>
                  </a:lnTo>
                  <a:lnTo>
                    <a:pt x="277" y="66"/>
                  </a:lnTo>
                  <a:lnTo>
                    <a:pt x="278" y="67"/>
                  </a:lnTo>
                  <a:lnTo>
                    <a:pt x="279" y="69"/>
                  </a:lnTo>
                  <a:lnTo>
                    <a:pt x="280" y="70"/>
                  </a:lnTo>
                  <a:lnTo>
                    <a:pt x="281" y="71"/>
                  </a:lnTo>
                  <a:lnTo>
                    <a:pt x="282" y="72"/>
                  </a:lnTo>
                  <a:lnTo>
                    <a:pt x="282" y="73"/>
                  </a:lnTo>
                  <a:lnTo>
                    <a:pt x="283" y="73"/>
                  </a:lnTo>
                  <a:lnTo>
                    <a:pt x="284" y="74"/>
                  </a:lnTo>
                  <a:lnTo>
                    <a:pt x="285" y="74"/>
                  </a:lnTo>
                  <a:lnTo>
                    <a:pt x="286" y="75"/>
                  </a:lnTo>
                  <a:lnTo>
                    <a:pt x="287" y="76"/>
                  </a:lnTo>
                  <a:lnTo>
                    <a:pt x="291" y="77"/>
                  </a:lnTo>
                  <a:lnTo>
                    <a:pt x="292" y="78"/>
                  </a:lnTo>
                  <a:lnTo>
                    <a:pt x="293" y="78"/>
                  </a:lnTo>
                  <a:lnTo>
                    <a:pt x="294" y="79"/>
                  </a:lnTo>
                  <a:lnTo>
                    <a:pt x="295" y="80"/>
                  </a:lnTo>
                  <a:lnTo>
                    <a:pt x="296" y="81"/>
                  </a:lnTo>
                  <a:lnTo>
                    <a:pt x="297" y="83"/>
                  </a:lnTo>
                  <a:lnTo>
                    <a:pt x="298" y="85"/>
                  </a:lnTo>
                  <a:lnTo>
                    <a:pt x="299" y="86"/>
                  </a:lnTo>
                  <a:lnTo>
                    <a:pt x="299" y="88"/>
                  </a:lnTo>
                  <a:lnTo>
                    <a:pt x="300" y="90"/>
                  </a:lnTo>
                  <a:lnTo>
                    <a:pt x="300" y="92"/>
                  </a:lnTo>
                  <a:lnTo>
                    <a:pt x="300" y="94"/>
                  </a:lnTo>
                  <a:lnTo>
                    <a:pt x="300" y="97"/>
                  </a:lnTo>
                  <a:lnTo>
                    <a:pt x="300" y="102"/>
                  </a:lnTo>
                  <a:lnTo>
                    <a:pt x="300" y="102"/>
                  </a:lnTo>
                  <a:lnTo>
                    <a:pt x="300" y="104"/>
                  </a:lnTo>
                  <a:lnTo>
                    <a:pt x="301" y="106"/>
                  </a:lnTo>
                  <a:lnTo>
                    <a:pt x="301" y="107"/>
                  </a:lnTo>
                  <a:lnTo>
                    <a:pt x="301" y="108"/>
                  </a:lnTo>
                  <a:lnTo>
                    <a:pt x="302" y="109"/>
                  </a:lnTo>
                  <a:lnTo>
                    <a:pt x="302" y="109"/>
                  </a:lnTo>
                  <a:lnTo>
                    <a:pt x="302" y="110"/>
                  </a:lnTo>
                  <a:lnTo>
                    <a:pt x="302" y="110"/>
                  </a:lnTo>
                  <a:lnTo>
                    <a:pt x="303" y="110"/>
                  </a:lnTo>
                  <a:lnTo>
                    <a:pt x="303" y="111"/>
                  </a:lnTo>
                  <a:lnTo>
                    <a:pt x="304" y="111"/>
                  </a:lnTo>
                  <a:lnTo>
                    <a:pt x="305" y="111"/>
                  </a:lnTo>
                  <a:lnTo>
                    <a:pt x="305" y="111"/>
                  </a:lnTo>
                  <a:lnTo>
                    <a:pt x="306" y="111"/>
                  </a:lnTo>
                  <a:lnTo>
                    <a:pt x="307" y="111"/>
                  </a:lnTo>
                  <a:lnTo>
                    <a:pt x="307" y="111"/>
                  </a:lnTo>
                  <a:lnTo>
                    <a:pt x="308" y="110"/>
                  </a:lnTo>
                  <a:lnTo>
                    <a:pt x="308" y="110"/>
                  </a:lnTo>
                  <a:lnTo>
                    <a:pt x="309" y="109"/>
                  </a:lnTo>
                  <a:lnTo>
                    <a:pt x="310" y="109"/>
                  </a:lnTo>
                  <a:lnTo>
                    <a:pt x="311" y="107"/>
                  </a:lnTo>
                  <a:lnTo>
                    <a:pt x="314" y="104"/>
                  </a:lnTo>
                  <a:lnTo>
                    <a:pt x="316" y="103"/>
                  </a:lnTo>
                  <a:lnTo>
                    <a:pt x="317" y="102"/>
                  </a:lnTo>
                  <a:lnTo>
                    <a:pt x="317" y="102"/>
                  </a:lnTo>
                  <a:lnTo>
                    <a:pt x="318" y="101"/>
                  </a:lnTo>
                  <a:lnTo>
                    <a:pt x="318" y="101"/>
                  </a:lnTo>
                  <a:lnTo>
                    <a:pt x="319" y="101"/>
                  </a:lnTo>
                  <a:lnTo>
                    <a:pt x="320" y="101"/>
                  </a:lnTo>
                  <a:lnTo>
                    <a:pt x="320" y="101"/>
                  </a:lnTo>
                  <a:lnTo>
                    <a:pt x="321" y="101"/>
                  </a:lnTo>
                  <a:lnTo>
                    <a:pt x="322" y="101"/>
                  </a:lnTo>
                  <a:lnTo>
                    <a:pt x="322" y="101"/>
                  </a:lnTo>
                  <a:lnTo>
                    <a:pt x="324" y="101"/>
                  </a:lnTo>
                  <a:lnTo>
                    <a:pt x="326" y="102"/>
                  </a:lnTo>
                  <a:lnTo>
                    <a:pt x="327" y="102"/>
                  </a:lnTo>
                  <a:lnTo>
                    <a:pt x="329" y="103"/>
                  </a:lnTo>
                  <a:lnTo>
                    <a:pt x="332" y="105"/>
                  </a:lnTo>
                  <a:lnTo>
                    <a:pt x="334" y="106"/>
                  </a:lnTo>
                  <a:lnTo>
                    <a:pt x="337" y="107"/>
                  </a:lnTo>
                  <a:lnTo>
                    <a:pt x="341" y="108"/>
                  </a:lnTo>
                  <a:lnTo>
                    <a:pt x="342" y="109"/>
                  </a:lnTo>
                  <a:lnTo>
                    <a:pt x="344" y="110"/>
                  </a:lnTo>
                  <a:lnTo>
                    <a:pt x="347" y="111"/>
                  </a:lnTo>
                  <a:lnTo>
                    <a:pt x="347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3"/>
                  </a:lnTo>
                  <a:lnTo>
                    <a:pt x="349" y="114"/>
                  </a:lnTo>
                  <a:lnTo>
                    <a:pt x="349" y="115"/>
                  </a:lnTo>
                  <a:lnTo>
                    <a:pt x="349" y="116"/>
                  </a:lnTo>
                  <a:lnTo>
                    <a:pt x="350" y="117"/>
                  </a:lnTo>
                  <a:lnTo>
                    <a:pt x="351" y="119"/>
                  </a:lnTo>
                  <a:lnTo>
                    <a:pt x="352" y="121"/>
                  </a:lnTo>
                  <a:lnTo>
                    <a:pt x="353" y="122"/>
                  </a:lnTo>
                  <a:lnTo>
                    <a:pt x="355" y="126"/>
                  </a:lnTo>
                  <a:lnTo>
                    <a:pt x="356" y="127"/>
                  </a:lnTo>
                  <a:lnTo>
                    <a:pt x="357" y="129"/>
                  </a:lnTo>
                  <a:lnTo>
                    <a:pt x="357" y="130"/>
                  </a:lnTo>
                  <a:lnTo>
                    <a:pt x="357" y="131"/>
                  </a:lnTo>
                  <a:lnTo>
                    <a:pt x="358" y="131"/>
                  </a:lnTo>
                  <a:lnTo>
                    <a:pt x="358" y="133"/>
                  </a:lnTo>
                  <a:lnTo>
                    <a:pt x="358" y="134"/>
                  </a:lnTo>
                  <a:lnTo>
                    <a:pt x="358" y="136"/>
                  </a:lnTo>
                  <a:lnTo>
                    <a:pt x="357" y="140"/>
                  </a:lnTo>
                  <a:lnTo>
                    <a:pt x="357" y="141"/>
                  </a:lnTo>
                  <a:lnTo>
                    <a:pt x="357" y="142"/>
                  </a:lnTo>
                  <a:lnTo>
                    <a:pt x="357" y="147"/>
                  </a:lnTo>
                  <a:lnTo>
                    <a:pt x="357" y="154"/>
                  </a:lnTo>
                  <a:lnTo>
                    <a:pt x="358" y="156"/>
                  </a:lnTo>
                  <a:lnTo>
                    <a:pt x="358" y="157"/>
                  </a:lnTo>
                  <a:lnTo>
                    <a:pt x="358" y="159"/>
                  </a:lnTo>
                  <a:lnTo>
                    <a:pt x="359" y="162"/>
                  </a:lnTo>
                  <a:lnTo>
                    <a:pt x="359" y="165"/>
                  </a:lnTo>
                  <a:lnTo>
                    <a:pt x="360" y="168"/>
                  </a:lnTo>
                  <a:lnTo>
                    <a:pt x="361" y="170"/>
                  </a:lnTo>
                  <a:lnTo>
                    <a:pt x="361" y="170"/>
                  </a:lnTo>
                  <a:lnTo>
                    <a:pt x="361" y="171"/>
                  </a:lnTo>
                  <a:lnTo>
                    <a:pt x="361" y="174"/>
                  </a:lnTo>
                  <a:lnTo>
                    <a:pt x="361" y="175"/>
                  </a:lnTo>
                  <a:lnTo>
                    <a:pt x="361" y="176"/>
                  </a:lnTo>
                  <a:lnTo>
                    <a:pt x="361" y="177"/>
                  </a:lnTo>
                  <a:lnTo>
                    <a:pt x="361" y="178"/>
                  </a:lnTo>
                  <a:lnTo>
                    <a:pt x="361" y="178"/>
                  </a:lnTo>
                  <a:lnTo>
                    <a:pt x="363" y="183"/>
                  </a:lnTo>
                  <a:lnTo>
                    <a:pt x="365" y="185"/>
                  </a:lnTo>
                  <a:lnTo>
                    <a:pt x="365" y="186"/>
                  </a:lnTo>
                  <a:lnTo>
                    <a:pt x="365" y="187"/>
                  </a:lnTo>
                  <a:lnTo>
                    <a:pt x="365" y="187"/>
                  </a:lnTo>
                  <a:lnTo>
                    <a:pt x="366" y="188"/>
                  </a:lnTo>
                  <a:lnTo>
                    <a:pt x="366" y="189"/>
                  </a:lnTo>
                  <a:lnTo>
                    <a:pt x="366" y="189"/>
                  </a:lnTo>
                  <a:lnTo>
                    <a:pt x="365" y="190"/>
                  </a:lnTo>
                  <a:lnTo>
                    <a:pt x="365" y="191"/>
                  </a:lnTo>
                  <a:lnTo>
                    <a:pt x="364" y="195"/>
                  </a:lnTo>
                  <a:lnTo>
                    <a:pt x="363" y="197"/>
                  </a:lnTo>
                  <a:lnTo>
                    <a:pt x="363" y="199"/>
                  </a:lnTo>
                  <a:lnTo>
                    <a:pt x="363" y="200"/>
                  </a:lnTo>
                  <a:lnTo>
                    <a:pt x="362" y="201"/>
                  </a:lnTo>
                  <a:lnTo>
                    <a:pt x="363" y="202"/>
                  </a:lnTo>
                  <a:lnTo>
                    <a:pt x="363" y="203"/>
                  </a:lnTo>
                  <a:lnTo>
                    <a:pt x="363" y="204"/>
                  </a:lnTo>
                  <a:lnTo>
                    <a:pt x="363" y="204"/>
                  </a:lnTo>
                  <a:lnTo>
                    <a:pt x="365" y="207"/>
                  </a:lnTo>
                  <a:lnTo>
                    <a:pt x="366" y="210"/>
                  </a:lnTo>
                  <a:lnTo>
                    <a:pt x="368" y="214"/>
                  </a:lnTo>
                  <a:lnTo>
                    <a:pt x="368" y="214"/>
                  </a:lnTo>
                  <a:lnTo>
                    <a:pt x="370" y="216"/>
                  </a:lnTo>
                  <a:lnTo>
                    <a:pt x="372" y="220"/>
                  </a:lnTo>
                  <a:lnTo>
                    <a:pt x="374" y="222"/>
                  </a:lnTo>
                  <a:lnTo>
                    <a:pt x="374" y="223"/>
                  </a:lnTo>
                  <a:lnTo>
                    <a:pt x="375" y="224"/>
                  </a:lnTo>
                  <a:lnTo>
                    <a:pt x="375" y="224"/>
                  </a:lnTo>
                  <a:lnTo>
                    <a:pt x="375" y="225"/>
                  </a:lnTo>
                  <a:lnTo>
                    <a:pt x="376" y="226"/>
                  </a:lnTo>
                  <a:lnTo>
                    <a:pt x="376" y="227"/>
                  </a:lnTo>
                  <a:lnTo>
                    <a:pt x="376" y="228"/>
                  </a:lnTo>
                  <a:lnTo>
                    <a:pt x="375" y="228"/>
                  </a:lnTo>
                  <a:lnTo>
                    <a:pt x="375" y="229"/>
                  </a:lnTo>
                  <a:lnTo>
                    <a:pt x="375" y="229"/>
                  </a:lnTo>
                  <a:lnTo>
                    <a:pt x="374" y="229"/>
                  </a:lnTo>
                  <a:lnTo>
                    <a:pt x="374" y="230"/>
                  </a:lnTo>
                  <a:lnTo>
                    <a:pt x="373" y="230"/>
                  </a:lnTo>
                  <a:lnTo>
                    <a:pt x="372" y="231"/>
                  </a:lnTo>
                  <a:lnTo>
                    <a:pt x="371" y="231"/>
                  </a:lnTo>
                  <a:lnTo>
                    <a:pt x="369" y="232"/>
                  </a:lnTo>
                  <a:lnTo>
                    <a:pt x="368" y="232"/>
                  </a:lnTo>
                  <a:lnTo>
                    <a:pt x="367" y="232"/>
                  </a:lnTo>
                  <a:lnTo>
                    <a:pt x="365" y="232"/>
                  </a:lnTo>
                  <a:lnTo>
                    <a:pt x="365" y="232"/>
                  </a:lnTo>
                  <a:lnTo>
                    <a:pt x="364" y="232"/>
                  </a:lnTo>
                  <a:lnTo>
                    <a:pt x="364" y="232"/>
                  </a:lnTo>
                  <a:lnTo>
                    <a:pt x="362" y="232"/>
                  </a:lnTo>
                  <a:lnTo>
                    <a:pt x="361" y="231"/>
                  </a:lnTo>
                  <a:lnTo>
                    <a:pt x="359" y="231"/>
                  </a:lnTo>
                  <a:lnTo>
                    <a:pt x="358" y="231"/>
                  </a:lnTo>
                  <a:lnTo>
                    <a:pt x="357" y="231"/>
                  </a:lnTo>
                  <a:lnTo>
                    <a:pt x="356" y="231"/>
                  </a:lnTo>
                  <a:lnTo>
                    <a:pt x="355" y="232"/>
                  </a:lnTo>
                  <a:lnTo>
                    <a:pt x="352" y="232"/>
                  </a:lnTo>
                  <a:lnTo>
                    <a:pt x="351" y="233"/>
                  </a:lnTo>
                  <a:lnTo>
                    <a:pt x="350" y="233"/>
                  </a:lnTo>
                  <a:lnTo>
                    <a:pt x="350" y="233"/>
                  </a:lnTo>
                  <a:lnTo>
                    <a:pt x="349" y="233"/>
                  </a:lnTo>
                  <a:lnTo>
                    <a:pt x="348" y="233"/>
                  </a:lnTo>
                  <a:lnTo>
                    <a:pt x="347" y="232"/>
                  </a:lnTo>
                  <a:lnTo>
                    <a:pt x="346" y="232"/>
                  </a:lnTo>
                  <a:lnTo>
                    <a:pt x="345" y="231"/>
                  </a:lnTo>
                  <a:lnTo>
                    <a:pt x="343" y="231"/>
                  </a:lnTo>
                  <a:lnTo>
                    <a:pt x="343" y="230"/>
                  </a:lnTo>
                  <a:lnTo>
                    <a:pt x="342" y="229"/>
                  </a:lnTo>
                  <a:lnTo>
                    <a:pt x="341" y="229"/>
                  </a:lnTo>
                  <a:lnTo>
                    <a:pt x="340" y="228"/>
                  </a:lnTo>
                  <a:lnTo>
                    <a:pt x="339" y="226"/>
                  </a:lnTo>
                  <a:lnTo>
                    <a:pt x="337" y="224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6" y="222"/>
                  </a:lnTo>
                  <a:lnTo>
                    <a:pt x="335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3" y="222"/>
                  </a:lnTo>
                  <a:lnTo>
                    <a:pt x="333" y="222"/>
                  </a:lnTo>
                  <a:lnTo>
                    <a:pt x="332" y="223"/>
                  </a:lnTo>
                  <a:lnTo>
                    <a:pt x="332" y="224"/>
                  </a:lnTo>
                  <a:lnTo>
                    <a:pt x="331" y="224"/>
                  </a:lnTo>
                  <a:lnTo>
                    <a:pt x="329" y="226"/>
                  </a:lnTo>
                  <a:lnTo>
                    <a:pt x="327" y="228"/>
                  </a:lnTo>
                  <a:lnTo>
                    <a:pt x="325" y="230"/>
                  </a:lnTo>
                  <a:lnTo>
                    <a:pt x="324" y="230"/>
                  </a:lnTo>
                  <a:lnTo>
                    <a:pt x="323" y="231"/>
                  </a:lnTo>
                  <a:lnTo>
                    <a:pt x="323" y="232"/>
                  </a:lnTo>
                  <a:lnTo>
                    <a:pt x="322" y="233"/>
                  </a:lnTo>
                  <a:lnTo>
                    <a:pt x="322" y="233"/>
                  </a:lnTo>
                  <a:lnTo>
                    <a:pt x="322" y="234"/>
                  </a:lnTo>
                  <a:lnTo>
                    <a:pt x="322" y="235"/>
                  </a:lnTo>
                  <a:lnTo>
                    <a:pt x="322" y="236"/>
                  </a:lnTo>
                  <a:lnTo>
                    <a:pt x="322" y="237"/>
                  </a:lnTo>
                  <a:lnTo>
                    <a:pt x="323" y="240"/>
                  </a:lnTo>
                  <a:lnTo>
                    <a:pt x="323" y="241"/>
                  </a:lnTo>
                  <a:lnTo>
                    <a:pt x="323" y="241"/>
                  </a:lnTo>
                  <a:lnTo>
                    <a:pt x="323" y="242"/>
                  </a:lnTo>
                  <a:lnTo>
                    <a:pt x="322" y="243"/>
                  </a:lnTo>
                  <a:lnTo>
                    <a:pt x="322" y="244"/>
                  </a:lnTo>
                  <a:lnTo>
                    <a:pt x="321" y="245"/>
                  </a:lnTo>
                  <a:lnTo>
                    <a:pt x="321" y="245"/>
                  </a:lnTo>
                  <a:lnTo>
                    <a:pt x="321" y="246"/>
                  </a:lnTo>
                  <a:lnTo>
                    <a:pt x="318" y="247"/>
                  </a:lnTo>
                  <a:lnTo>
                    <a:pt x="318" y="247"/>
                  </a:lnTo>
                  <a:lnTo>
                    <a:pt x="317" y="248"/>
                  </a:lnTo>
                  <a:lnTo>
                    <a:pt x="316" y="248"/>
                  </a:lnTo>
                  <a:lnTo>
                    <a:pt x="315" y="249"/>
                  </a:lnTo>
                  <a:lnTo>
                    <a:pt x="314" y="249"/>
                  </a:lnTo>
                  <a:lnTo>
                    <a:pt x="313" y="249"/>
                  </a:lnTo>
                  <a:lnTo>
                    <a:pt x="312" y="249"/>
                  </a:lnTo>
                  <a:lnTo>
                    <a:pt x="311" y="249"/>
                  </a:lnTo>
                  <a:lnTo>
                    <a:pt x="310" y="249"/>
                  </a:lnTo>
                  <a:lnTo>
                    <a:pt x="310" y="249"/>
                  </a:lnTo>
                  <a:lnTo>
                    <a:pt x="309" y="249"/>
                  </a:lnTo>
                  <a:lnTo>
                    <a:pt x="308" y="249"/>
                  </a:lnTo>
                  <a:lnTo>
                    <a:pt x="308" y="248"/>
                  </a:lnTo>
                  <a:lnTo>
                    <a:pt x="308" y="248"/>
                  </a:lnTo>
                  <a:lnTo>
                    <a:pt x="307" y="248"/>
                  </a:lnTo>
                  <a:lnTo>
                    <a:pt x="306" y="247"/>
                  </a:lnTo>
                  <a:lnTo>
                    <a:pt x="306" y="246"/>
                  </a:lnTo>
                  <a:lnTo>
                    <a:pt x="306" y="246"/>
                  </a:lnTo>
                  <a:lnTo>
                    <a:pt x="305" y="245"/>
                  </a:lnTo>
                  <a:lnTo>
                    <a:pt x="305" y="244"/>
                  </a:lnTo>
                  <a:lnTo>
                    <a:pt x="305" y="243"/>
                  </a:lnTo>
                  <a:lnTo>
                    <a:pt x="304" y="242"/>
                  </a:lnTo>
                  <a:lnTo>
                    <a:pt x="304" y="242"/>
                  </a:lnTo>
                  <a:lnTo>
                    <a:pt x="304" y="241"/>
                  </a:lnTo>
                  <a:lnTo>
                    <a:pt x="303" y="241"/>
                  </a:lnTo>
                  <a:lnTo>
                    <a:pt x="303" y="241"/>
                  </a:lnTo>
                  <a:lnTo>
                    <a:pt x="303" y="240"/>
                  </a:lnTo>
                  <a:lnTo>
                    <a:pt x="302" y="240"/>
                  </a:lnTo>
                  <a:lnTo>
                    <a:pt x="300" y="241"/>
                  </a:lnTo>
                  <a:lnTo>
                    <a:pt x="299" y="241"/>
                  </a:lnTo>
                  <a:lnTo>
                    <a:pt x="299" y="241"/>
                  </a:lnTo>
                  <a:lnTo>
                    <a:pt x="298" y="240"/>
                  </a:lnTo>
                  <a:lnTo>
                    <a:pt x="296" y="240"/>
                  </a:lnTo>
                  <a:lnTo>
                    <a:pt x="294" y="239"/>
                  </a:lnTo>
                  <a:lnTo>
                    <a:pt x="293" y="238"/>
                  </a:lnTo>
                  <a:lnTo>
                    <a:pt x="291" y="237"/>
                  </a:lnTo>
                  <a:lnTo>
                    <a:pt x="290" y="236"/>
                  </a:lnTo>
                  <a:lnTo>
                    <a:pt x="289" y="236"/>
                  </a:lnTo>
                  <a:lnTo>
                    <a:pt x="288" y="236"/>
                  </a:lnTo>
                  <a:lnTo>
                    <a:pt x="287" y="235"/>
                  </a:lnTo>
                  <a:lnTo>
                    <a:pt x="286" y="235"/>
                  </a:lnTo>
                  <a:lnTo>
                    <a:pt x="284" y="235"/>
                  </a:lnTo>
                  <a:lnTo>
                    <a:pt x="283" y="234"/>
                  </a:lnTo>
                  <a:lnTo>
                    <a:pt x="281" y="234"/>
                  </a:lnTo>
                  <a:lnTo>
                    <a:pt x="279" y="233"/>
                  </a:lnTo>
                  <a:lnTo>
                    <a:pt x="278" y="232"/>
                  </a:lnTo>
                  <a:lnTo>
                    <a:pt x="277" y="232"/>
                  </a:lnTo>
                  <a:lnTo>
                    <a:pt x="276" y="231"/>
                  </a:lnTo>
                  <a:lnTo>
                    <a:pt x="275" y="231"/>
                  </a:lnTo>
                  <a:lnTo>
                    <a:pt x="274" y="231"/>
                  </a:lnTo>
                  <a:lnTo>
                    <a:pt x="273" y="231"/>
                  </a:lnTo>
                  <a:lnTo>
                    <a:pt x="272" y="231"/>
                  </a:lnTo>
                  <a:lnTo>
                    <a:pt x="271" y="231"/>
                  </a:lnTo>
                  <a:lnTo>
                    <a:pt x="271" y="231"/>
                  </a:lnTo>
                  <a:lnTo>
                    <a:pt x="270" y="232"/>
                  </a:lnTo>
                  <a:lnTo>
                    <a:pt x="270" y="232"/>
                  </a:lnTo>
                  <a:lnTo>
                    <a:pt x="269" y="232"/>
                  </a:lnTo>
                  <a:lnTo>
                    <a:pt x="269" y="233"/>
                  </a:lnTo>
                  <a:lnTo>
                    <a:pt x="268" y="233"/>
                  </a:lnTo>
                  <a:lnTo>
                    <a:pt x="267" y="234"/>
                  </a:lnTo>
                  <a:lnTo>
                    <a:pt x="265" y="236"/>
                  </a:lnTo>
                  <a:lnTo>
                    <a:pt x="263" y="239"/>
                  </a:lnTo>
                  <a:lnTo>
                    <a:pt x="262" y="240"/>
                  </a:lnTo>
                  <a:lnTo>
                    <a:pt x="261" y="241"/>
                  </a:lnTo>
                  <a:lnTo>
                    <a:pt x="261" y="241"/>
                  </a:lnTo>
                  <a:lnTo>
                    <a:pt x="260" y="242"/>
                  </a:lnTo>
                  <a:lnTo>
                    <a:pt x="259" y="242"/>
                  </a:lnTo>
                  <a:lnTo>
                    <a:pt x="259" y="242"/>
                  </a:lnTo>
                  <a:lnTo>
                    <a:pt x="258" y="242"/>
                  </a:lnTo>
                  <a:lnTo>
                    <a:pt x="257" y="242"/>
                  </a:lnTo>
                  <a:lnTo>
                    <a:pt x="256" y="242"/>
                  </a:lnTo>
                  <a:lnTo>
                    <a:pt x="255" y="242"/>
                  </a:lnTo>
                  <a:lnTo>
                    <a:pt x="255" y="242"/>
                  </a:lnTo>
                  <a:lnTo>
                    <a:pt x="253" y="241"/>
                  </a:lnTo>
                  <a:lnTo>
                    <a:pt x="252" y="241"/>
                  </a:lnTo>
                  <a:lnTo>
                    <a:pt x="250" y="240"/>
                  </a:lnTo>
                  <a:lnTo>
                    <a:pt x="249" y="239"/>
                  </a:lnTo>
                  <a:lnTo>
                    <a:pt x="247" y="239"/>
                  </a:lnTo>
                  <a:lnTo>
                    <a:pt x="246" y="238"/>
                  </a:lnTo>
                  <a:lnTo>
                    <a:pt x="242" y="236"/>
                  </a:lnTo>
                  <a:lnTo>
                    <a:pt x="240" y="235"/>
                  </a:lnTo>
                  <a:lnTo>
                    <a:pt x="238" y="233"/>
                  </a:lnTo>
                  <a:lnTo>
                    <a:pt x="236" y="233"/>
                  </a:lnTo>
                  <a:lnTo>
                    <a:pt x="235" y="232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4" y="230"/>
                  </a:lnTo>
                  <a:lnTo>
                    <a:pt x="233" y="230"/>
                  </a:lnTo>
                  <a:lnTo>
                    <a:pt x="228" y="228"/>
                  </a:lnTo>
                  <a:lnTo>
                    <a:pt x="227" y="227"/>
                  </a:lnTo>
                  <a:lnTo>
                    <a:pt x="225" y="226"/>
                  </a:lnTo>
                  <a:lnTo>
                    <a:pt x="224" y="226"/>
                  </a:lnTo>
                  <a:lnTo>
                    <a:pt x="224" y="225"/>
                  </a:lnTo>
                  <a:lnTo>
                    <a:pt x="223" y="225"/>
                  </a:lnTo>
                  <a:lnTo>
                    <a:pt x="222" y="224"/>
                  </a:lnTo>
                  <a:lnTo>
                    <a:pt x="221" y="224"/>
                  </a:lnTo>
                  <a:lnTo>
                    <a:pt x="221" y="223"/>
                  </a:lnTo>
                  <a:lnTo>
                    <a:pt x="221" y="222"/>
                  </a:lnTo>
                  <a:lnTo>
                    <a:pt x="219" y="219"/>
                  </a:lnTo>
                  <a:lnTo>
                    <a:pt x="218" y="218"/>
                  </a:lnTo>
                  <a:lnTo>
                    <a:pt x="217" y="217"/>
                  </a:lnTo>
                  <a:lnTo>
                    <a:pt x="217" y="216"/>
                  </a:lnTo>
                  <a:lnTo>
                    <a:pt x="216" y="215"/>
                  </a:lnTo>
                  <a:lnTo>
                    <a:pt x="215" y="214"/>
                  </a:lnTo>
                  <a:lnTo>
                    <a:pt x="213" y="213"/>
                  </a:lnTo>
                  <a:lnTo>
                    <a:pt x="212" y="212"/>
                  </a:lnTo>
                  <a:lnTo>
                    <a:pt x="211" y="211"/>
                  </a:lnTo>
                  <a:lnTo>
                    <a:pt x="210" y="211"/>
                  </a:lnTo>
                  <a:lnTo>
                    <a:pt x="209" y="210"/>
                  </a:lnTo>
                  <a:lnTo>
                    <a:pt x="207" y="209"/>
                  </a:lnTo>
                  <a:lnTo>
                    <a:pt x="206" y="209"/>
                  </a:lnTo>
                  <a:lnTo>
                    <a:pt x="205" y="209"/>
                  </a:lnTo>
                  <a:lnTo>
                    <a:pt x="204" y="208"/>
                  </a:lnTo>
                  <a:lnTo>
                    <a:pt x="204" y="208"/>
                  </a:lnTo>
                  <a:lnTo>
                    <a:pt x="203" y="207"/>
                  </a:lnTo>
                  <a:lnTo>
                    <a:pt x="201" y="205"/>
                  </a:lnTo>
                  <a:lnTo>
                    <a:pt x="197" y="201"/>
                  </a:lnTo>
                  <a:lnTo>
                    <a:pt x="195" y="197"/>
                  </a:lnTo>
                  <a:lnTo>
                    <a:pt x="193" y="196"/>
                  </a:lnTo>
                  <a:lnTo>
                    <a:pt x="192" y="196"/>
                  </a:lnTo>
                  <a:lnTo>
                    <a:pt x="192" y="195"/>
                  </a:lnTo>
                  <a:lnTo>
                    <a:pt x="192" y="195"/>
                  </a:lnTo>
                  <a:lnTo>
                    <a:pt x="191" y="195"/>
                  </a:lnTo>
                  <a:lnTo>
                    <a:pt x="190" y="195"/>
                  </a:lnTo>
                  <a:lnTo>
                    <a:pt x="187" y="194"/>
                  </a:lnTo>
                  <a:lnTo>
                    <a:pt x="187" y="194"/>
                  </a:lnTo>
                  <a:lnTo>
                    <a:pt x="186" y="194"/>
                  </a:lnTo>
                  <a:lnTo>
                    <a:pt x="185" y="194"/>
                  </a:lnTo>
                  <a:lnTo>
                    <a:pt x="184" y="195"/>
                  </a:lnTo>
                  <a:lnTo>
                    <a:pt x="184" y="195"/>
                  </a:lnTo>
                  <a:lnTo>
                    <a:pt x="183" y="195"/>
                  </a:lnTo>
                  <a:lnTo>
                    <a:pt x="182" y="196"/>
                  </a:lnTo>
                  <a:lnTo>
                    <a:pt x="181" y="196"/>
                  </a:lnTo>
                  <a:lnTo>
                    <a:pt x="181" y="197"/>
                  </a:lnTo>
                  <a:lnTo>
                    <a:pt x="181" y="197"/>
                  </a:lnTo>
                  <a:lnTo>
                    <a:pt x="180" y="197"/>
                  </a:lnTo>
                  <a:lnTo>
                    <a:pt x="179" y="197"/>
                  </a:lnTo>
                  <a:lnTo>
                    <a:pt x="179" y="196"/>
                  </a:lnTo>
                  <a:lnTo>
                    <a:pt x="178" y="196"/>
                  </a:lnTo>
                  <a:lnTo>
                    <a:pt x="177" y="196"/>
                  </a:lnTo>
                  <a:lnTo>
                    <a:pt x="177" y="195"/>
                  </a:lnTo>
                  <a:lnTo>
                    <a:pt x="176" y="194"/>
                  </a:lnTo>
                  <a:lnTo>
                    <a:pt x="176" y="194"/>
                  </a:lnTo>
                  <a:lnTo>
                    <a:pt x="175" y="193"/>
                  </a:lnTo>
                  <a:lnTo>
                    <a:pt x="173" y="192"/>
                  </a:lnTo>
                  <a:lnTo>
                    <a:pt x="172" y="191"/>
                  </a:lnTo>
                  <a:lnTo>
                    <a:pt x="171" y="190"/>
                  </a:lnTo>
                  <a:lnTo>
                    <a:pt x="169" y="188"/>
                  </a:lnTo>
                  <a:lnTo>
                    <a:pt x="168" y="188"/>
                  </a:lnTo>
                  <a:lnTo>
                    <a:pt x="168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6" y="187"/>
                  </a:lnTo>
                  <a:lnTo>
                    <a:pt x="166" y="187"/>
                  </a:lnTo>
                  <a:lnTo>
                    <a:pt x="166" y="189"/>
                  </a:lnTo>
                  <a:lnTo>
                    <a:pt x="166" y="190"/>
                  </a:lnTo>
                  <a:lnTo>
                    <a:pt x="165" y="191"/>
                  </a:lnTo>
                  <a:lnTo>
                    <a:pt x="164" y="193"/>
                  </a:lnTo>
                  <a:lnTo>
                    <a:pt x="163" y="195"/>
                  </a:lnTo>
                  <a:lnTo>
                    <a:pt x="163" y="196"/>
                  </a:lnTo>
                  <a:lnTo>
                    <a:pt x="163" y="198"/>
                  </a:lnTo>
                  <a:lnTo>
                    <a:pt x="163" y="199"/>
                  </a:lnTo>
                  <a:lnTo>
                    <a:pt x="163" y="200"/>
                  </a:lnTo>
                  <a:lnTo>
                    <a:pt x="162" y="201"/>
                  </a:lnTo>
                  <a:lnTo>
                    <a:pt x="162" y="201"/>
                  </a:lnTo>
                  <a:lnTo>
                    <a:pt x="161" y="202"/>
                  </a:lnTo>
                  <a:lnTo>
                    <a:pt x="161" y="202"/>
                  </a:lnTo>
                  <a:lnTo>
                    <a:pt x="160" y="203"/>
                  </a:lnTo>
                  <a:lnTo>
                    <a:pt x="159" y="203"/>
                  </a:lnTo>
                  <a:lnTo>
                    <a:pt x="155" y="205"/>
                  </a:lnTo>
                  <a:lnTo>
                    <a:pt x="153" y="206"/>
                  </a:lnTo>
                  <a:lnTo>
                    <a:pt x="153" y="207"/>
                  </a:lnTo>
                  <a:lnTo>
                    <a:pt x="151" y="208"/>
                  </a:lnTo>
                  <a:lnTo>
                    <a:pt x="151" y="208"/>
                  </a:lnTo>
                  <a:lnTo>
                    <a:pt x="150" y="209"/>
                  </a:lnTo>
                  <a:lnTo>
                    <a:pt x="149" y="209"/>
                  </a:lnTo>
                  <a:lnTo>
                    <a:pt x="149" y="209"/>
                  </a:lnTo>
                  <a:lnTo>
                    <a:pt x="149" y="210"/>
                  </a:lnTo>
                  <a:lnTo>
                    <a:pt x="149" y="211"/>
                  </a:lnTo>
                  <a:lnTo>
                    <a:pt x="148" y="212"/>
                  </a:lnTo>
                  <a:lnTo>
                    <a:pt x="148" y="214"/>
                  </a:lnTo>
                  <a:lnTo>
                    <a:pt x="148" y="215"/>
                  </a:lnTo>
                  <a:lnTo>
                    <a:pt x="148" y="215"/>
                  </a:lnTo>
                  <a:lnTo>
                    <a:pt x="147" y="216"/>
                  </a:lnTo>
                  <a:lnTo>
                    <a:pt x="147" y="216"/>
                  </a:lnTo>
                  <a:lnTo>
                    <a:pt x="146" y="217"/>
                  </a:lnTo>
                  <a:lnTo>
                    <a:pt x="146" y="218"/>
                  </a:lnTo>
                  <a:lnTo>
                    <a:pt x="145" y="218"/>
                  </a:lnTo>
                  <a:lnTo>
                    <a:pt x="144" y="219"/>
                  </a:lnTo>
                  <a:lnTo>
                    <a:pt x="143" y="219"/>
                  </a:lnTo>
                  <a:lnTo>
                    <a:pt x="143" y="219"/>
                  </a:lnTo>
                  <a:lnTo>
                    <a:pt x="142" y="220"/>
                  </a:lnTo>
                  <a:lnTo>
                    <a:pt x="141" y="220"/>
                  </a:lnTo>
                  <a:lnTo>
                    <a:pt x="141" y="220"/>
                  </a:lnTo>
                  <a:lnTo>
                    <a:pt x="140" y="220"/>
                  </a:lnTo>
                  <a:lnTo>
                    <a:pt x="139" y="220"/>
                  </a:lnTo>
                  <a:lnTo>
                    <a:pt x="139" y="220"/>
                  </a:lnTo>
                  <a:lnTo>
                    <a:pt x="138" y="220"/>
                  </a:lnTo>
                  <a:lnTo>
                    <a:pt x="136" y="220"/>
                  </a:lnTo>
                  <a:lnTo>
                    <a:pt x="133" y="219"/>
                  </a:lnTo>
                  <a:lnTo>
                    <a:pt x="131" y="218"/>
                  </a:lnTo>
                  <a:lnTo>
                    <a:pt x="129" y="218"/>
                  </a:lnTo>
                  <a:lnTo>
                    <a:pt x="127" y="217"/>
                  </a:lnTo>
                  <a:lnTo>
                    <a:pt x="125" y="217"/>
                  </a:lnTo>
                  <a:lnTo>
                    <a:pt x="124" y="217"/>
                  </a:lnTo>
                  <a:lnTo>
                    <a:pt x="123" y="217"/>
                  </a:lnTo>
                  <a:lnTo>
                    <a:pt x="123" y="217"/>
                  </a:lnTo>
                  <a:lnTo>
                    <a:pt x="122" y="218"/>
                  </a:lnTo>
                  <a:lnTo>
                    <a:pt x="121" y="218"/>
                  </a:lnTo>
                  <a:lnTo>
                    <a:pt x="120" y="219"/>
                  </a:lnTo>
                  <a:lnTo>
                    <a:pt x="120" y="219"/>
                  </a:lnTo>
                  <a:lnTo>
                    <a:pt x="119" y="220"/>
                  </a:lnTo>
                  <a:lnTo>
                    <a:pt x="119" y="221"/>
                  </a:lnTo>
                  <a:lnTo>
                    <a:pt x="119" y="222"/>
                  </a:lnTo>
                  <a:lnTo>
                    <a:pt x="119" y="226"/>
                  </a:lnTo>
                  <a:lnTo>
                    <a:pt x="118" y="227"/>
                  </a:lnTo>
                  <a:lnTo>
                    <a:pt x="118" y="228"/>
                  </a:lnTo>
                  <a:lnTo>
                    <a:pt x="118" y="229"/>
                  </a:lnTo>
                  <a:lnTo>
                    <a:pt x="117" y="230"/>
                  </a:lnTo>
                  <a:lnTo>
                    <a:pt x="117" y="231"/>
                  </a:lnTo>
                  <a:lnTo>
                    <a:pt x="116" y="231"/>
                  </a:lnTo>
                  <a:lnTo>
                    <a:pt x="116" y="232"/>
                  </a:lnTo>
                  <a:lnTo>
                    <a:pt x="115" y="233"/>
                  </a:lnTo>
                  <a:lnTo>
                    <a:pt x="113" y="234"/>
                  </a:lnTo>
                  <a:lnTo>
                    <a:pt x="112" y="234"/>
                  </a:lnTo>
                  <a:lnTo>
                    <a:pt x="112" y="235"/>
                  </a:lnTo>
                  <a:lnTo>
                    <a:pt x="111" y="236"/>
                  </a:lnTo>
                  <a:lnTo>
                    <a:pt x="111" y="236"/>
                  </a:lnTo>
                  <a:lnTo>
                    <a:pt x="109" y="239"/>
                  </a:lnTo>
                  <a:lnTo>
                    <a:pt x="108" y="240"/>
                  </a:lnTo>
                  <a:lnTo>
                    <a:pt x="107" y="241"/>
                  </a:lnTo>
                  <a:lnTo>
                    <a:pt x="107" y="242"/>
                  </a:lnTo>
                  <a:lnTo>
                    <a:pt x="105" y="243"/>
                  </a:lnTo>
                  <a:lnTo>
                    <a:pt x="102" y="245"/>
                  </a:lnTo>
                  <a:lnTo>
                    <a:pt x="100" y="248"/>
                  </a:lnTo>
                  <a:lnTo>
                    <a:pt x="99" y="248"/>
                  </a:lnTo>
                  <a:lnTo>
                    <a:pt x="99" y="248"/>
                  </a:lnTo>
                  <a:lnTo>
                    <a:pt x="98" y="248"/>
                  </a:lnTo>
                  <a:lnTo>
                    <a:pt x="97" y="248"/>
                  </a:lnTo>
                  <a:lnTo>
                    <a:pt x="91" y="249"/>
                  </a:lnTo>
                  <a:lnTo>
                    <a:pt x="90" y="249"/>
                  </a:lnTo>
                  <a:lnTo>
                    <a:pt x="88" y="249"/>
                  </a:lnTo>
                  <a:lnTo>
                    <a:pt x="87" y="249"/>
                  </a:lnTo>
                  <a:lnTo>
                    <a:pt x="85" y="249"/>
                  </a:lnTo>
                  <a:lnTo>
                    <a:pt x="84" y="249"/>
                  </a:lnTo>
                  <a:lnTo>
                    <a:pt x="83" y="250"/>
                  </a:lnTo>
                  <a:lnTo>
                    <a:pt x="79" y="251"/>
                  </a:lnTo>
                  <a:lnTo>
                    <a:pt x="78" y="251"/>
                  </a:lnTo>
                  <a:lnTo>
                    <a:pt x="77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5" y="252"/>
                  </a:lnTo>
                  <a:lnTo>
                    <a:pt x="74" y="252"/>
                  </a:lnTo>
                  <a:lnTo>
                    <a:pt x="73" y="252"/>
                  </a:lnTo>
                  <a:lnTo>
                    <a:pt x="72" y="252"/>
                  </a:lnTo>
                  <a:lnTo>
                    <a:pt x="72" y="251"/>
                  </a:lnTo>
                  <a:lnTo>
                    <a:pt x="71" y="251"/>
                  </a:lnTo>
                  <a:lnTo>
                    <a:pt x="71" y="251"/>
                  </a:lnTo>
                  <a:lnTo>
                    <a:pt x="70" y="250"/>
                  </a:lnTo>
                  <a:lnTo>
                    <a:pt x="70" y="250"/>
                  </a:lnTo>
                  <a:lnTo>
                    <a:pt x="69" y="249"/>
                  </a:lnTo>
                  <a:lnTo>
                    <a:pt x="69" y="249"/>
                  </a:lnTo>
                  <a:lnTo>
                    <a:pt x="69" y="248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8" y="244"/>
                  </a:lnTo>
                  <a:lnTo>
                    <a:pt x="67" y="242"/>
                  </a:lnTo>
                  <a:lnTo>
                    <a:pt x="67" y="241"/>
                  </a:lnTo>
                  <a:lnTo>
                    <a:pt x="66" y="240"/>
                  </a:lnTo>
                  <a:lnTo>
                    <a:pt x="66" y="239"/>
                  </a:lnTo>
                  <a:lnTo>
                    <a:pt x="66" y="239"/>
                  </a:lnTo>
                  <a:lnTo>
                    <a:pt x="66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4" y="238"/>
                  </a:lnTo>
                  <a:lnTo>
                    <a:pt x="63" y="238"/>
                  </a:lnTo>
                  <a:lnTo>
                    <a:pt x="62" y="239"/>
                  </a:lnTo>
                  <a:lnTo>
                    <a:pt x="61" y="239"/>
                  </a:lnTo>
                  <a:lnTo>
                    <a:pt x="60" y="239"/>
                  </a:lnTo>
                  <a:lnTo>
                    <a:pt x="59" y="240"/>
                  </a:lnTo>
                  <a:lnTo>
                    <a:pt x="58" y="240"/>
                  </a:lnTo>
                  <a:lnTo>
                    <a:pt x="57" y="240"/>
                  </a:lnTo>
                  <a:lnTo>
                    <a:pt x="57" y="240"/>
                  </a:lnTo>
                  <a:lnTo>
                    <a:pt x="56" y="240"/>
                  </a:lnTo>
                  <a:lnTo>
                    <a:pt x="56" y="240"/>
                  </a:lnTo>
                  <a:lnTo>
                    <a:pt x="55" y="240"/>
                  </a:lnTo>
                  <a:lnTo>
                    <a:pt x="54" y="240"/>
                  </a:lnTo>
                  <a:lnTo>
                    <a:pt x="51" y="239"/>
                  </a:lnTo>
                  <a:lnTo>
                    <a:pt x="51" y="238"/>
                  </a:lnTo>
                  <a:lnTo>
                    <a:pt x="50" y="238"/>
                  </a:lnTo>
                  <a:lnTo>
                    <a:pt x="49" y="238"/>
                  </a:lnTo>
                  <a:lnTo>
                    <a:pt x="48" y="238"/>
                  </a:lnTo>
                  <a:lnTo>
                    <a:pt x="47" y="239"/>
                  </a:lnTo>
                  <a:lnTo>
                    <a:pt x="47" y="239"/>
                  </a:lnTo>
                  <a:lnTo>
                    <a:pt x="45" y="240"/>
                  </a:lnTo>
                  <a:lnTo>
                    <a:pt x="44" y="240"/>
                  </a:lnTo>
                  <a:lnTo>
                    <a:pt x="44" y="241"/>
                  </a:lnTo>
                  <a:lnTo>
                    <a:pt x="43" y="241"/>
                  </a:lnTo>
                  <a:lnTo>
                    <a:pt x="42" y="241"/>
                  </a:lnTo>
                  <a:lnTo>
                    <a:pt x="42" y="241"/>
                  </a:lnTo>
                  <a:lnTo>
                    <a:pt x="42" y="240"/>
                  </a:lnTo>
                  <a:lnTo>
                    <a:pt x="41" y="240"/>
                  </a:lnTo>
                  <a:lnTo>
                    <a:pt x="41" y="240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39" y="236"/>
                  </a:lnTo>
                  <a:lnTo>
                    <a:pt x="38" y="235"/>
                  </a:lnTo>
                  <a:lnTo>
                    <a:pt x="38" y="234"/>
                  </a:lnTo>
                  <a:lnTo>
                    <a:pt x="37" y="233"/>
                  </a:lnTo>
                  <a:lnTo>
                    <a:pt x="36" y="233"/>
                  </a:lnTo>
                  <a:lnTo>
                    <a:pt x="36" y="232"/>
                  </a:lnTo>
                  <a:lnTo>
                    <a:pt x="35" y="231"/>
                  </a:lnTo>
                  <a:lnTo>
                    <a:pt x="33" y="230"/>
                  </a:lnTo>
                  <a:lnTo>
                    <a:pt x="32" y="229"/>
                  </a:lnTo>
                  <a:lnTo>
                    <a:pt x="30" y="227"/>
                  </a:lnTo>
                  <a:lnTo>
                    <a:pt x="29" y="227"/>
                  </a:lnTo>
                  <a:lnTo>
                    <a:pt x="28" y="226"/>
                  </a:lnTo>
                  <a:lnTo>
                    <a:pt x="27" y="225"/>
                  </a:lnTo>
                  <a:lnTo>
                    <a:pt x="27" y="224"/>
                  </a:lnTo>
                  <a:lnTo>
                    <a:pt x="26" y="224"/>
                  </a:lnTo>
                  <a:lnTo>
                    <a:pt x="24" y="220"/>
                  </a:lnTo>
                  <a:lnTo>
                    <a:pt x="22" y="215"/>
                  </a:lnTo>
                  <a:lnTo>
                    <a:pt x="21" y="214"/>
                  </a:lnTo>
                  <a:lnTo>
                    <a:pt x="21" y="214"/>
                  </a:lnTo>
                  <a:lnTo>
                    <a:pt x="18" y="207"/>
                  </a:lnTo>
                  <a:lnTo>
                    <a:pt x="18" y="206"/>
                  </a:lnTo>
                  <a:lnTo>
                    <a:pt x="17" y="204"/>
                  </a:lnTo>
                  <a:lnTo>
                    <a:pt x="16" y="202"/>
                  </a:lnTo>
                  <a:lnTo>
                    <a:pt x="15" y="201"/>
                  </a:lnTo>
                  <a:lnTo>
                    <a:pt x="15" y="200"/>
                  </a:lnTo>
                  <a:lnTo>
                    <a:pt x="13" y="198"/>
                  </a:lnTo>
                  <a:lnTo>
                    <a:pt x="13" y="197"/>
                  </a:lnTo>
                  <a:lnTo>
                    <a:pt x="12" y="195"/>
                  </a:lnTo>
                  <a:lnTo>
                    <a:pt x="11" y="194"/>
                  </a:lnTo>
                  <a:lnTo>
                    <a:pt x="10" y="193"/>
                  </a:lnTo>
                  <a:lnTo>
                    <a:pt x="8" y="189"/>
                  </a:lnTo>
                  <a:lnTo>
                    <a:pt x="7" y="185"/>
                  </a:lnTo>
                  <a:lnTo>
                    <a:pt x="6" y="183"/>
                  </a:lnTo>
                  <a:lnTo>
                    <a:pt x="5" y="182"/>
                  </a:lnTo>
                  <a:lnTo>
                    <a:pt x="5" y="180"/>
                  </a:lnTo>
                  <a:lnTo>
                    <a:pt x="4" y="180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3" y="174"/>
                  </a:lnTo>
                  <a:lnTo>
                    <a:pt x="3" y="171"/>
                  </a:lnTo>
                  <a:lnTo>
                    <a:pt x="2" y="170"/>
                  </a:lnTo>
                  <a:lnTo>
                    <a:pt x="2" y="169"/>
                  </a:lnTo>
                  <a:lnTo>
                    <a:pt x="1" y="167"/>
                  </a:lnTo>
                  <a:lnTo>
                    <a:pt x="1" y="166"/>
                  </a:lnTo>
                  <a:lnTo>
                    <a:pt x="0" y="166"/>
                  </a:lnTo>
                  <a:lnTo>
                    <a:pt x="0" y="165"/>
                  </a:lnTo>
                  <a:lnTo>
                    <a:pt x="0" y="164"/>
                  </a:lnTo>
                  <a:lnTo>
                    <a:pt x="0" y="163"/>
                  </a:lnTo>
                  <a:lnTo>
                    <a:pt x="0" y="162"/>
                  </a:lnTo>
                  <a:lnTo>
                    <a:pt x="1" y="162"/>
                  </a:lnTo>
                  <a:lnTo>
                    <a:pt x="1" y="161"/>
                  </a:lnTo>
                  <a:lnTo>
                    <a:pt x="1" y="161"/>
                  </a:lnTo>
                  <a:lnTo>
                    <a:pt x="2" y="160"/>
                  </a:lnTo>
                  <a:lnTo>
                    <a:pt x="3" y="158"/>
                  </a:lnTo>
                  <a:lnTo>
                    <a:pt x="5" y="155"/>
                  </a:lnTo>
                  <a:lnTo>
                    <a:pt x="5" y="154"/>
                  </a:lnTo>
                  <a:lnTo>
                    <a:pt x="6" y="153"/>
                  </a:lnTo>
                  <a:lnTo>
                    <a:pt x="6" y="152"/>
                  </a:lnTo>
                  <a:lnTo>
                    <a:pt x="6" y="151"/>
                  </a:lnTo>
                  <a:lnTo>
                    <a:pt x="7" y="148"/>
                  </a:lnTo>
                  <a:lnTo>
                    <a:pt x="7" y="147"/>
                  </a:lnTo>
                  <a:lnTo>
                    <a:pt x="7" y="146"/>
                  </a:lnTo>
                  <a:lnTo>
                    <a:pt x="8" y="144"/>
                  </a:lnTo>
                  <a:lnTo>
                    <a:pt x="8" y="143"/>
                  </a:lnTo>
                  <a:lnTo>
                    <a:pt x="9" y="142"/>
                  </a:lnTo>
                  <a:lnTo>
                    <a:pt x="9" y="141"/>
                  </a:lnTo>
                  <a:lnTo>
                    <a:pt x="10" y="140"/>
                  </a:lnTo>
                  <a:lnTo>
                    <a:pt x="10" y="140"/>
                  </a:lnTo>
                  <a:lnTo>
                    <a:pt x="11" y="139"/>
                  </a:lnTo>
                  <a:lnTo>
                    <a:pt x="12" y="138"/>
                  </a:lnTo>
                  <a:lnTo>
                    <a:pt x="15" y="136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9" y="133"/>
                  </a:lnTo>
                  <a:lnTo>
                    <a:pt x="20" y="132"/>
                  </a:lnTo>
                  <a:lnTo>
                    <a:pt x="21" y="132"/>
                  </a:lnTo>
                  <a:lnTo>
                    <a:pt x="21" y="131"/>
                  </a:lnTo>
                  <a:lnTo>
                    <a:pt x="21" y="131"/>
                  </a:lnTo>
                  <a:lnTo>
                    <a:pt x="22" y="131"/>
                  </a:lnTo>
                  <a:lnTo>
                    <a:pt x="22" y="130"/>
                  </a:lnTo>
                  <a:lnTo>
                    <a:pt x="22" y="130"/>
                  </a:lnTo>
                  <a:lnTo>
                    <a:pt x="22" y="128"/>
                  </a:lnTo>
                  <a:lnTo>
                    <a:pt x="22" y="127"/>
                  </a:lnTo>
                  <a:lnTo>
                    <a:pt x="22" y="126"/>
                  </a:lnTo>
                  <a:lnTo>
                    <a:pt x="22" y="125"/>
                  </a:lnTo>
                  <a:lnTo>
                    <a:pt x="23" y="124"/>
                  </a:lnTo>
                  <a:lnTo>
                    <a:pt x="23" y="122"/>
                  </a:lnTo>
                  <a:lnTo>
                    <a:pt x="24" y="121"/>
                  </a:lnTo>
                  <a:lnTo>
                    <a:pt x="24" y="120"/>
                  </a:lnTo>
                  <a:lnTo>
                    <a:pt x="25" y="119"/>
                  </a:lnTo>
                  <a:lnTo>
                    <a:pt x="25" y="118"/>
                  </a:lnTo>
                  <a:lnTo>
                    <a:pt x="26" y="117"/>
                  </a:lnTo>
                  <a:lnTo>
                    <a:pt x="26" y="117"/>
                  </a:lnTo>
                  <a:lnTo>
                    <a:pt x="27" y="116"/>
                  </a:lnTo>
                  <a:lnTo>
                    <a:pt x="29" y="114"/>
                  </a:lnTo>
                  <a:lnTo>
                    <a:pt x="29" y="113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0" y="111"/>
                  </a:lnTo>
                  <a:lnTo>
                    <a:pt x="31" y="110"/>
                  </a:lnTo>
                  <a:lnTo>
                    <a:pt x="31" y="107"/>
                  </a:lnTo>
                  <a:lnTo>
                    <a:pt x="31" y="106"/>
                  </a:lnTo>
                  <a:lnTo>
                    <a:pt x="31" y="105"/>
                  </a:lnTo>
                  <a:lnTo>
                    <a:pt x="31" y="103"/>
                  </a:lnTo>
                  <a:lnTo>
                    <a:pt x="31" y="100"/>
                  </a:lnTo>
                  <a:lnTo>
                    <a:pt x="31" y="99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3" y="97"/>
                  </a:lnTo>
                  <a:lnTo>
                    <a:pt x="35" y="96"/>
                  </a:lnTo>
                  <a:lnTo>
                    <a:pt x="36" y="96"/>
                  </a:lnTo>
                  <a:lnTo>
                    <a:pt x="37" y="96"/>
                  </a:lnTo>
                  <a:lnTo>
                    <a:pt x="37" y="96"/>
                  </a:lnTo>
                  <a:lnTo>
                    <a:pt x="38" y="96"/>
                  </a:lnTo>
                  <a:lnTo>
                    <a:pt x="39" y="96"/>
                  </a:lnTo>
                  <a:lnTo>
                    <a:pt x="40" y="97"/>
                  </a:lnTo>
                  <a:lnTo>
                    <a:pt x="42" y="98"/>
                  </a:lnTo>
                  <a:lnTo>
                    <a:pt x="43" y="98"/>
                  </a:lnTo>
                  <a:lnTo>
                    <a:pt x="45" y="99"/>
                  </a:lnTo>
                  <a:lnTo>
                    <a:pt x="48" y="101"/>
                  </a:lnTo>
                  <a:lnTo>
                    <a:pt x="49" y="102"/>
                  </a:lnTo>
                  <a:lnTo>
                    <a:pt x="51" y="102"/>
                  </a:lnTo>
                  <a:lnTo>
                    <a:pt x="52" y="103"/>
                  </a:lnTo>
                  <a:lnTo>
                    <a:pt x="53" y="103"/>
                  </a:lnTo>
                  <a:lnTo>
                    <a:pt x="54" y="103"/>
                  </a:lnTo>
                  <a:lnTo>
                    <a:pt x="55" y="103"/>
                  </a:lnTo>
                  <a:lnTo>
                    <a:pt x="56" y="103"/>
                  </a:lnTo>
                  <a:lnTo>
                    <a:pt x="56" y="103"/>
                  </a:lnTo>
                  <a:lnTo>
                    <a:pt x="57" y="103"/>
                  </a:lnTo>
                  <a:lnTo>
                    <a:pt x="58" y="103"/>
                  </a:lnTo>
                  <a:lnTo>
                    <a:pt x="59" y="103"/>
                  </a:lnTo>
                  <a:lnTo>
                    <a:pt x="59" y="102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1" y="101"/>
                  </a:lnTo>
                  <a:lnTo>
                    <a:pt x="61" y="101"/>
                  </a:lnTo>
                  <a:lnTo>
                    <a:pt x="61" y="100"/>
                  </a:lnTo>
                  <a:lnTo>
                    <a:pt x="62" y="99"/>
                  </a:lnTo>
                  <a:lnTo>
                    <a:pt x="62" y="99"/>
                  </a:lnTo>
                  <a:lnTo>
                    <a:pt x="63" y="98"/>
                  </a:lnTo>
                  <a:lnTo>
                    <a:pt x="64" y="92"/>
                  </a:lnTo>
                  <a:lnTo>
                    <a:pt x="65" y="91"/>
                  </a:lnTo>
                  <a:lnTo>
                    <a:pt x="65" y="89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7" y="87"/>
                  </a:lnTo>
                  <a:lnTo>
                    <a:pt x="67" y="86"/>
                  </a:lnTo>
                  <a:lnTo>
                    <a:pt x="67" y="86"/>
                  </a:lnTo>
                  <a:lnTo>
                    <a:pt x="69" y="85"/>
                  </a:lnTo>
                  <a:lnTo>
                    <a:pt x="70" y="84"/>
                  </a:lnTo>
                  <a:lnTo>
                    <a:pt x="72" y="83"/>
                  </a:lnTo>
                  <a:lnTo>
                    <a:pt x="74" y="82"/>
                  </a:lnTo>
                  <a:lnTo>
                    <a:pt x="75" y="81"/>
                  </a:lnTo>
                  <a:lnTo>
                    <a:pt x="76" y="80"/>
                  </a:lnTo>
                  <a:lnTo>
                    <a:pt x="78" y="79"/>
                  </a:lnTo>
                  <a:lnTo>
                    <a:pt x="79" y="77"/>
                  </a:lnTo>
                  <a:lnTo>
                    <a:pt x="79" y="77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1" y="76"/>
                  </a:lnTo>
                  <a:lnTo>
                    <a:pt x="86" y="78"/>
                  </a:lnTo>
                  <a:lnTo>
                    <a:pt x="90" y="80"/>
                  </a:lnTo>
                  <a:lnTo>
                    <a:pt x="92" y="80"/>
                  </a:lnTo>
                  <a:lnTo>
                    <a:pt x="95" y="81"/>
                  </a:lnTo>
                  <a:lnTo>
                    <a:pt x="100" y="84"/>
                  </a:lnTo>
                  <a:lnTo>
                    <a:pt x="103" y="85"/>
                  </a:lnTo>
                  <a:lnTo>
                    <a:pt x="104" y="85"/>
                  </a:lnTo>
                  <a:lnTo>
                    <a:pt x="105" y="86"/>
                  </a:lnTo>
                  <a:lnTo>
                    <a:pt x="106" y="87"/>
                  </a:lnTo>
                  <a:lnTo>
                    <a:pt x="108" y="88"/>
                  </a:lnTo>
                  <a:lnTo>
                    <a:pt x="109" y="89"/>
                  </a:lnTo>
                  <a:lnTo>
                    <a:pt x="110" y="89"/>
                  </a:lnTo>
                  <a:lnTo>
                    <a:pt x="110" y="90"/>
                  </a:lnTo>
                  <a:lnTo>
                    <a:pt x="111" y="90"/>
                  </a:lnTo>
                  <a:lnTo>
                    <a:pt x="112" y="90"/>
                  </a:lnTo>
                  <a:lnTo>
                    <a:pt x="113" y="91"/>
                  </a:lnTo>
                  <a:lnTo>
                    <a:pt x="116" y="91"/>
                  </a:lnTo>
                  <a:lnTo>
                    <a:pt x="117" y="91"/>
                  </a:lnTo>
                  <a:lnTo>
                    <a:pt x="121" y="92"/>
                  </a:lnTo>
                  <a:lnTo>
                    <a:pt x="123" y="92"/>
                  </a:lnTo>
                  <a:lnTo>
                    <a:pt x="124" y="92"/>
                  </a:lnTo>
                  <a:lnTo>
                    <a:pt x="125" y="92"/>
                  </a:lnTo>
                  <a:lnTo>
                    <a:pt x="126" y="92"/>
                  </a:lnTo>
                  <a:lnTo>
                    <a:pt x="128" y="92"/>
                  </a:lnTo>
                  <a:lnTo>
                    <a:pt x="129" y="92"/>
                  </a:lnTo>
                  <a:lnTo>
                    <a:pt x="129" y="92"/>
                  </a:lnTo>
                  <a:lnTo>
                    <a:pt x="130" y="91"/>
                  </a:lnTo>
                  <a:lnTo>
                    <a:pt x="131" y="91"/>
                  </a:lnTo>
                  <a:lnTo>
                    <a:pt x="131" y="90"/>
                  </a:lnTo>
                  <a:lnTo>
                    <a:pt x="132" y="90"/>
                  </a:lnTo>
                  <a:lnTo>
                    <a:pt x="133" y="89"/>
                  </a:lnTo>
                  <a:lnTo>
                    <a:pt x="133" y="88"/>
                  </a:lnTo>
                  <a:lnTo>
                    <a:pt x="134" y="86"/>
                  </a:lnTo>
                  <a:lnTo>
                    <a:pt x="136" y="81"/>
                  </a:lnTo>
                  <a:lnTo>
                    <a:pt x="137" y="79"/>
                  </a:lnTo>
                  <a:lnTo>
                    <a:pt x="138" y="77"/>
                  </a:lnTo>
                  <a:lnTo>
                    <a:pt x="139" y="75"/>
                  </a:lnTo>
                  <a:lnTo>
                    <a:pt x="140" y="73"/>
                  </a:lnTo>
                  <a:lnTo>
                    <a:pt x="141" y="73"/>
                  </a:lnTo>
                  <a:lnTo>
                    <a:pt x="141" y="72"/>
                  </a:lnTo>
                  <a:lnTo>
                    <a:pt x="142" y="72"/>
                  </a:lnTo>
                  <a:lnTo>
                    <a:pt x="142" y="71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44" y="70"/>
                  </a:lnTo>
                  <a:lnTo>
                    <a:pt x="145" y="70"/>
                  </a:lnTo>
                  <a:lnTo>
                    <a:pt x="149" y="69"/>
                  </a:lnTo>
                  <a:lnTo>
                    <a:pt x="153" y="69"/>
                  </a:lnTo>
                  <a:lnTo>
                    <a:pt x="154" y="68"/>
                  </a:lnTo>
                  <a:lnTo>
                    <a:pt x="155" y="68"/>
                  </a:lnTo>
                  <a:lnTo>
                    <a:pt x="157" y="69"/>
                  </a:lnTo>
                  <a:lnTo>
                    <a:pt x="159" y="69"/>
                  </a:lnTo>
                  <a:lnTo>
                    <a:pt x="160" y="69"/>
                  </a:lnTo>
                  <a:lnTo>
                    <a:pt x="161" y="69"/>
                  </a:lnTo>
                  <a:lnTo>
                    <a:pt x="164" y="69"/>
                  </a:lnTo>
                  <a:lnTo>
                    <a:pt x="165" y="69"/>
                  </a:lnTo>
                  <a:lnTo>
                    <a:pt x="166" y="69"/>
                  </a:lnTo>
                  <a:lnTo>
                    <a:pt x="167" y="70"/>
                  </a:lnTo>
                  <a:lnTo>
                    <a:pt x="169" y="70"/>
                  </a:lnTo>
                  <a:lnTo>
                    <a:pt x="175" y="72"/>
                  </a:lnTo>
                  <a:lnTo>
                    <a:pt x="177" y="72"/>
                  </a:lnTo>
                  <a:lnTo>
                    <a:pt x="178" y="72"/>
                  </a:lnTo>
                  <a:lnTo>
                    <a:pt x="179" y="72"/>
                  </a:lnTo>
                  <a:lnTo>
                    <a:pt x="180" y="72"/>
                  </a:lnTo>
                  <a:lnTo>
                    <a:pt x="181" y="72"/>
                  </a:lnTo>
                  <a:lnTo>
                    <a:pt x="182" y="72"/>
                  </a:lnTo>
                  <a:lnTo>
                    <a:pt x="183" y="72"/>
                  </a:lnTo>
                  <a:lnTo>
                    <a:pt x="184" y="72"/>
                  </a:lnTo>
                  <a:lnTo>
                    <a:pt x="186" y="71"/>
                  </a:lnTo>
                  <a:lnTo>
                    <a:pt x="187" y="71"/>
                  </a:lnTo>
                  <a:lnTo>
                    <a:pt x="187" y="70"/>
                  </a:lnTo>
                  <a:lnTo>
                    <a:pt x="188" y="70"/>
                  </a:lnTo>
                  <a:lnTo>
                    <a:pt x="189" y="70"/>
                  </a:lnTo>
                  <a:lnTo>
                    <a:pt x="189" y="69"/>
                  </a:lnTo>
                  <a:lnTo>
                    <a:pt x="190" y="69"/>
                  </a:lnTo>
                  <a:lnTo>
                    <a:pt x="190" y="68"/>
                  </a:lnTo>
                  <a:lnTo>
                    <a:pt x="190" y="68"/>
                  </a:lnTo>
                  <a:lnTo>
                    <a:pt x="191" y="67"/>
                  </a:lnTo>
                  <a:lnTo>
                    <a:pt x="191" y="67"/>
                  </a:lnTo>
                  <a:lnTo>
                    <a:pt x="191" y="66"/>
                  </a:lnTo>
                  <a:lnTo>
                    <a:pt x="191" y="65"/>
                  </a:lnTo>
                  <a:lnTo>
                    <a:pt x="191" y="63"/>
                  </a:lnTo>
                  <a:lnTo>
                    <a:pt x="191" y="59"/>
                  </a:lnTo>
                  <a:lnTo>
                    <a:pt x="192" y="54"/>
                  </a:lnTo>
                  <a:lnTo>
                    <a:pt x="192" y="54"/>
                  </a:lnTo>
                  <a:lnTo>
                    <a:pt x="191" y="51"/>
                  </a:lnTo>
                  <a:lnTo>
                    <a:pt x="191" y="49"/>
                  </a:lnTo>
                  <a:lnTo>
                    <a:pt x="191" y="48"/>
                  </a:lnTo>
                  <a:lnTo>
                    <a:pt x="191" y="47"/>
                  </a:lnTo>
                  <a:lnTo>
                    <a:pt x="191" y="46"/>
                  </a:lnTo>
                  <a:lnTo>
                    <a:pt x="192" y="44"/>
                  </a:lnTo>
                  <a:lnTo>
                    <a:pt x="194" y="39"/>
                  </a:lnTo>
                  <a:lnTo>
                    <a:pt x="194" y="37"/>
                  </a:lnTo>
                  <a:lnTo>
                    <a:pt x="195" y="36"/>
                  </a:lnTo>
                  <a:lnTo>
                    <a:pt x="195" y="34"/>
                  </a:lnTo>
                  <a:lnTo>
                    <a:pt x="195" y="32"/>
                  </a:lnTo>
                  <a:lnTo>
                    <a:pt x="196" y="27"/>
                  </a:lnTo>
                  <a:lnTo>
                    <a:pt x="196" y="25"/>
                  </a:lnTo>
                  <a:lnTo>
                    <a:pt x="196" y="24"/>
                  </a:lnTo>
                  <a:lnTo>
                    <a:pt x="196" y="24"/>
                  </a:lnTo>
                  <a:lnTo>
                    <a:pt x="195" y="23"/>
                  </a:lnTo>
                  <a:lnTo>
                    <a:pt x="195" y="22"/>
                  </a:lnTo>
                  <a:lnTo>
                    <a:pt x="195" y="22"/>
                  </a:lnTo>
                  <a:lnTo>
                    <a:pt x="194" y="21"/>
                  </a:lnTo>
                  <a:lnTo>
                    <a:pt x="194" y="20"/>
                  </a:lnTo>
                  <a:lnTo>
                    <a:pt x="194" y="20"/>
                  </a:lnTo>
                  <a:lnTo>
                    <a:pt x="193" y="20"/>
                  </a:lnTo>
                  <a:lnTo>
                    <a:pt x="193" y="19"/>
                  </a:lnTo>
                  <a:lnTo>
                    <a:pt x="192" y="19"/>
                  </a:lnTo>
                  <a:lnTo>
                    <a:pt x="191" y="18"/>
                  </a:lnTo>
                  <a:lnTo>
                    <a:pt x="189" y="18"/>
                  </a:lnTo>
                  <a:lnTo>
                    <a:pt x="188" y="18"/>
                  </a:lnTo>
                  <a:lnTo>
                    <a:pt x="188" y="17"/>
                  </a:lnTo>
                  <a:lnTo>
                    <a:pt x="187" y="17"/>
                  </a:lnTo>
                  <a:lnTo>
                    <a:pt x="186" y="16"/>
                  </a:lnTo>
                  <a:lnTo>
                    <a:pt x="186" y="15"/>
                  </a:lnTo>
                  <a:lnTo>
                    <a:pt x="186" y="15"/>
                  </a:lnTo>
                  <a:lnTo>
                    <a:pt x="185" y="15"/>
                  </a:lnTo>
                  <a:lnTo>
                    <a:pt x="185" y="14"/>
                  </a:lnTo>
                  <a:lnTo>
                    <a:pt x="185" y="13"/>
                  </a:lnTo>
                  <a:lnTo>
                    <a:pt x="185" y="13"/>
                  </a:lnTo>
                  <a:lnTo>
                    <a:pt x="185" y="12"/>
                  </a:lnTo>
                  <a:lnTo>
                    <a:pt x="185" y="12"/>
                  </a:lnTo>
                  <a:lnTo>
                    <a:pt x="186" y="11"/>
                  </a:lnTo>
                  <a:lnTo>
                    <a:pt x="186" y="10"/>
                  </a:lnTo>
                  <a:lnTo>
                    <a:pt x="186" y="9"/>
                  </a:lnTo>
                  <a:lnTo>
                    <a:pt x="187" y="8"/>
                  </a:lnTo>
                  <a:lnTo>
                    <a:pt x="187" y="8"/>
                  </a:lnTo>
                  <a:lnTo>
                    <a:pt x="188" y="7"/>
                  </a:lnTo>
                  <a:lnTo>
                    <a:pt x="189" y="6"/>
                  </a:lnTo>
                  <a:lnTo>
                    <a:pt x="190" y="5"/>
                  </a:lnTo>
                  <a:lnTo>
                    <a:pt x="195" y="2"/>
                  </a:lnTo>
                  <a:lnTo>
                    <a:pt x="196" y="1"/>
                  </a:lnTo>
                  <a:lnTo>
                    <a:pt x="197" y="0"/>
                  </a:lnTo>
                  <a:lnTo>
                    <a:pt x="197" y="0"/>
                  </a:lnTo>
                  <a:lnTo>
                    <a:pt x="198" y="0"/>
                  </a:lnTo>
                  <a:close/>
                </a:path>
              </a:pathLst>
            </a:custGeom>
            <a:solidFill>
              <a:srgbClr val="CCCCCC"/>
            </a:solidFill>
            <a:ln w="63500">
              <a:solidFill>
                <a:srgbClr val="CCCCC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Freeform 22">
              <a:extLst>
                <a:ext uri="{FF2B5EF4-FFF2-40B4-BE49-F238E27FC236}">
                  <a16:creationId xmlns:a16="http://schemas.microsoft.com/office/drawing/2014/main" id="{5A1B2482-E03D-1396-1713-157443D5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993"/>
              <a:ext cx="436" cy="339"/>
            </a:xfrm>
            <a:custGeom>
              <a:avLst/>
              <a:gdLst>
                <a:gd name="T0" fmla="*/ 170 w 436"/>
                <a:gd name="T1" fmla="*/ 16 h 339"/>
                <a:gd name="T2" fmla="*/ 204 w 436"/>
                <a:gd name="T3" fmla="*/ 13 h 339"/>
                <a:gd name="T4" fmla="*/ 221 w 436"/>
                <a:gd name="T5" fmla="*/ 46 h 339"/>
                <a:gd name="T6" fmla="*/ 247 w 436"/>
                <a:gd name="T7" fmla="*/ 42 h 339"/>
                <a:gd name="T8" fmla="*/ 262 w 436"/>
                <a:gd name="T9" fmla="*/ 61 h 339"/>
                <a:gd name="T10" fmla="*/ 264 w 436"/>
                <a:gd name="T11" fmla="*/ 79 h 339"/>
                <a:gd name="T12" fmla="*/ 283 w 436"/>
                <a:gd name="T13" fmla="*/ 62 h 339"/>
                <a:gd name="T14" fmla="*/ 310 w 436"/>
                <a:gd name="T15" fmla="*/ 62 h 339"/>
                <a:gd name="T16" fmla="*/ 325 w 436"/>
                <a:gd name="T17" fmla="*/ 61 h 339"/>
                <a:gd name="T18" fmla="*/ 345 w 436"/>
                <a:gd name="T19" fmla="*/ 51 h 339"/>
                <a:gd name="T20" fmla="*/ 376 w 436"/>
                <a:gd name="T21" fmla="*/ 69 h 339"/>
                <a:gd name="T22" fmla="*/ 384 w 436"/>
                <a:gd name="T23" fmla="*/ 96 h 339"/>
                <a:gd name="T24" fmla="*/ 367 w 436"/>
                <a:gd name="T25" fmla="*/ 125 h 339"/>
                <a:gd name="T26" fmla="*/ 348 w 436"/>
                <a:gd name="T27" fmla="*/ 134 h 339"/>
                <a:gd name="T28" fmla="*/ 329 w 436"/>
                <a:gd name="T29" fmla="*/ 147 h 339"/>
                <a:gd name="T30" fmla="*/ 322 w 436"/>
                <a:gd name="T31" fmla="*/ 157 h 339"/>
                <a:gd name="T32" fmla="*/ 335 w 436"/>
                <a:gd name="T33" fmla="*/ 173 h 339"/>
                <a:gd name="T34" fmla="*/ 353 w 436"/>
                <a:gd name="T35" fmla="*/ 183 h 339"/>
                <a:gd name="T36" fmla="*/ 372 w 436"/>
                <a:gd name="T37" fmla="*/ 196 h 339"/>
                <a:gd name="T38" fmla="*/ 392 w 436"/>
                <a:gd name="T39" fmla="*/ 212 h 339"/>
                <a:gd name="T40" fmla="*/ 424 w 436"/>
                <a:gd name="T41" fmla="*/ 250 h 339"/>
                <a:gd name="T42" fmla="*/ 436 w 436"/>
                <a:gd name="T43" fmla="*/ 287 h 339"/>
                <a:gd name="T44" fmla="*/ 417 w 436"/>
                <a:gd name="T45" fmla="*/ 283 h 339"/>
                <a:gd name="T46" fmla="*/ 403 w 436"/>
                <a:gd name="T47" fmla="*/ 293 h 339"/>
                <a:gd name="T48" fmla="*/ 372 w 436"/>
                <a:gd name="T49" fmla="*/ 312 h 339"/>
                <a:gd name="T50" fmla="*/ 361 w 436"/>
                <a:gd name="T51" fmla="*/ 328 h 339"/>
                <a:gd name="T52" fmla="*/ 355 w 436"/>
                <a:gd name="T53" fmla="*/ 337 h 339"/>
                <a:gd name="T54" fmla="*/ 332 w 436"/>
                <a:gd name="T55" fmla="*/ 338 h 339"/>
                <a:gd name="T56" fmla="*/ 303 w 436"/>
                <a:gd name="T57" fmla="*/ 327 h 339"/>
                <a:gd name="T58" fmla="*/ 278 w 436"/>
                <a:gd name="T59" fmla="*/ 308 h 339"/>
                <a:gd name="T60" fmla="*/ 261 w 436"/>
                <a:gd name="T61" fmla="*/ 289 h 339"/>
                <a:gd name="T62" fmla="*/ 229 w 436"/>
                <a:gd name="T63" fmla="*/ 290 h 339"/>
                <a:gd name="T64" fmla="*/ 209 w 436"/>
                <a:gd name="T65" fmla="*/ 296 h 339"/>
                <a:gd name="T66" fmla="*/ 198 w 436"/>
                <a:gd name="T67" fmla="*/ 280 h 339"/>
                <a:gd name="T68" fmla="*/ 181 w 436"/>
                <a:gd name="T69" fmla="*/ 297 h 339"/>
                <a:gd name="T70" fmla="*/ 155 w 436"/>
                <a:gd name="T71" fmla="*/ 298 h 339"/>
                <a:gd name="T72" fmla="*/ 136 w 436"/>
                <a:gd name="T73" fmla="*/ 294 h 339"/>
                <a:gd name="T74" fmla="*/ 117 w 436"/>
                <a:gd name="T75" fmla="*/ 308 h 339"/>
                <a:gd name="T76" fmla="*/ 98 w 436"/>
                <a:gd name="T77" fmla="*/ 312 h 339"/>
                <a:gd name="T78" fmla="*/ 90 w 436"/>
                <a:gd name="T79" fmla="*/ 299 h 339"/>
                <a:gd name="T80" fmla="*/ 74 w 436"/>
                <a:gd name="T81" fmla="*/ 286 h 339"/>
                <a:gd name="T82" fmla="*/ 83 w 436"/>
                <a:gd name="T83" fmla="*/ 265 h 339"/>
                <a:gd name="T84" fmla="*/ 78 w 436"/>
                <a:gd name="T85" fmla="*/ 234 h 339"/>
                <a:gd name="T86" fmla="*/ 63 w 436"/>
                <a:gd name="T87" fmla="*/ 227 h 339"/>
                <a:gd name="T88" fmla="*/ 32 w 436"/>
                <a:gd name="T89" fmla="*/ 226 h 339"/>
                <a:gd name="T90" fmla="*/ 22 w 436"/>
                <a:gd name="T91" fmla="*/ 208 h 339"/>
                <a:gd name="T92" fmla="*/ 5 w 436"/>
                <a:gd name="T93" fmla="*/ 200 h 339"/>
                <a:gd name="T94" fmla="*/ 3 w 436"/>
                <a:gd name="T95" fmla="*/ 184 h 339"/>
                <a:gd name="T96" fmla="*/ 11 w 436"/>
                <a:gd name="T97" fmla="*/ 159 h 339"/>
                <a:gd name="T98" fmla="*/ 3 w 436"/>
                <a:gd name="T99" fmla="*/ 131 h 339"/>
                <a:gd name="T100" fmla="*/ 21 w 436"/>
                <a:gd name="T101" fmla="*/ 127 h 339"/>
                <a:gd name="T102" fmla="*/ 43 w 436"/>
                <a:gd name="T103" fmla="*/ 122 h 339"/>
                <a:gd name="T104" fmla="*/ 63 w 436"/>
                <a:gd name="T105" fmla="*/ 125 h 339"/>
                <a:gd name="T106" fmla="*/ 80 w 436"/>
                <a:gd name="T107" fmla="*/ 134 h 339"/>
                <a:gd name="T108" fmla="*/ 96 w 436"/>
                <a:gd name="T109" fmla="*/ 135 h 339"/>
                <a:gd name="T110" fmla="*/ 104 w 436"/>
                <a:gd name="T111" fmla="*/ 115 h 339"/>
                <a:gd name="T112" fmla="*/ 120 w 436"/>
                <a:gd name="T113" fmla="*/ 120 h 339"/>
                <a:gd name="T114" fmla="*/ 142 w 436"/>
                <a:gd name="T115" fmla="*/ 121 h 339"/>
                <a:gd name="T116" fmla="*/ 145 w 436"/>
                <a:gd name="T117" fmla="*/ 105 h 339"/>
                <a:gd name="T118" fmla="*/ 140 w 436"/>
                <a:gd name="T119" fmla="*/ 76 h 339"/>
                <a:gd name="T120" fmla="*/ 132 w 436"/>
                <a:gd name="T121" fmla="*/ 36 h 339"/>
                <a:gd name="T122" fmla="*/ 123 w 436"/>
                <a:gd name="T123" fmla="*/ 2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36" h="339">
                  <a:moveTo>
                    <a:pt x="127" y="1"/>
                  </a:moveTo>
                  <a:lnTo>
                    <a:pt x="129" y="1"/>
                  </a:lnTo>
                  <a:lnTo>
                    <a:pt x="135" y="1"/>
                  </a:lnTo>
                  <a:lnTo>
                    <a:pt x="137" y="2"/>
                  </a:lnTo>
                  <a:lnTo>
                    <a:pt x="139" y="2"/>
                  </a:lnTo>
                  <a:lnTo>
                    <a:pt x="141" y="2"/>
                  </a:lnTo>
                  <a:lnTo>
                    <a:pt x="143" y="3"/>
                  </a:lnTo>
                  <a:lnTo>
                    <a:pt x="144" y="3"/>
                  </a:lnTo>
                  <a:lnTo>
                    <a:pt x="145" y="4"/>
                  </a:lnTo>
                  <a:lnTo>
                    <a:pt x="146" y="4"/>
                  </a:lnTo>
                  <a:lnTo>
                    <a:pt x="150" y="6"/>
                  </a:lnTo>
                  <a:lnTo>
                    <a:pt x="152" y="7"/>
                  </a:lnTo>
                  <a:lnTo>
                    <a:pt x="155" y="9"/>
                  </a:lnTo>
                  <a:lnTo>
                    <a:pt x="160" y="10"/>
                  </a:lnTo>
                  <a:lnTo>
                    <a:pt x="161" y="11"/>
                  </a:lnTo>
                  <a:lnTo>
                    <a:pt x="163" y="12"/>
                  </a:lnTo>
                  <a:lnTo>
                    <a:pt x="164" y="12"/>
                  </a:lnTo>
                  <a:lnTo>
                    <a:pt x="165" y="13"/>
                  </a:lnTo>
                  <a:lnTo>
                    <a:pt x="166" y="14"/>
                  </a:lnTo>
                  <a:lnTo>
                    <a:pt x="170" y="16"/>
                  </a:lnTo>
                  <a:lnTo>
                    <a:pt x="170" y="17"/>
                  </a:lnTo>
                  <a:lnTo>
                    <a:pt x="171" y="17"/>
                  </a:lnTo>
                  <a:lnTo>
                    <a:pt x="173" y="18"/>
                  </a:lnTo>
                  <a:lnTo>
                    <a:pt x="174" y="18"/>
                  </a:lnTo>
                  <a:lnTo>
                    <a:pt x="175" y="18"/>
                  </a:lnTo>
                  <a:lnTo>
                    <a:pt x="175" y="19"/>
                  </a:lnTo>
                  <a:lnTo>
                    <a:pt x="176" y="19"/>
                  </a:lnTo>
                  <a:lnTo>
                    <a:pt x="178" y="19"/>
                  </a:lnTo>
                  <a:lnTo>
                    <a:pt x="181" y="19"/>
                  </a:lnTo>
                  <a:lnTo>
                    <a:pt x="183" y="19"/>
                  </a:lnTo>
                  <a:lnTo>
                    <a:pt x="184" y="19"/>
                  </a:lnTo>
                  <a:lnTo>
                    <a:pt x="184" y="19"/>
                  </a:lnTo>
                  <a:lnTo>
                    <a:pt x="187" y="18"/>
                  </a:lnTo>
                  <a:lnTo>
                    <a:pt x="194" y="16"/>
                  </a:lnTo>
                  <a:lnTo>
                    <a:pt x="196" y="16"/>
                  </a:lnTo>
                  <a:lnTo>
                    <a:pt x="199" y="14"/>
                  </a:lnTo>
                  <a:lnTo>
                    <a:pt x="200" y="14"/>
                  </a:lnTo>
                  <a:lnTo>
                    <a:pt x="201" y="14"/>
                  </a:lnTo>
                  <a:lnTo>
                    <a:pt x="203" y="13"/>
                  </a:lnTo>
                  <a:lnTo>
                    <a:pt x="204" y="13"/>
                  </a:lnTo>
                  <a:lnTo>
                    <a:pt x="204" y="14"/>
                  </a:lnTo>
                  <a:lnTo>
                    <a:pt x="205" y="14"/>
                  </a:lnTo>
                  <a:lnTo>
                    <a:pt x="206" y="14"/>
                  </a:lnTo>
                  <a:lnTo>
                    <a:pt x="206" y="15"/>
                  </a:lnTo>
                  <a:lnTo>
                    <a:pt x="207" y="15"/>
                  </a:lnTo>
                  <a:lnTo>
                    <a:pt x="208" y="16"/>
                  </a:lnTo>
                  <a:lnTo>
                    <a:pt x="209" y="17"/>
                  </a:lnTo>
                  <a:lnTo>
                    <a:pt x="209" y="18"/>
                  </a:lnTo>
                  <a:lnTo>
                    <a:pt x="210" y="19"/>
                  </a:lnTo>
                  <a:lnTo>
                    <a:pt x="210" y="20"/>
                  </a:lnTo>
                  <a:lnTo>
                    <a:pt x="211" y="24"/>
                  </a:lnTo>
                  <a:lnTo>
                    <a:pt x="212" y="26"/>
                  </a:lnTo>
                  <a:lnTo>
                    <a:pt x="213" y="28"/>
                  </a:lnTo>
                  <a:lnTo>
                    <a:pt x="216" y="34"/>
                  </a:lnTo>
                  <a:lnTo>
                    <a:pt x="217" y="38"/>
                  </a:lnTo>
                  <a:lnTo>
                    <a:pt x="219" y="41"/>
                  </a:lnTo>
                  <a:lnTo>
                    <a:pt x="219" y="43"/>
                  </a:lnTo>
                  <a:lnTo>
                    <a:pt x="220" y="44"/>
                  </a:lnTo>
                  <a:lnTo>
                    <a:pt x="221" y="45"/>
                  </a:lnTo>
                  <a:lnTo>
                    <a:pt x="221" y="46"/>
                  </a:lnTo>
                  <a:lnTo>
                    <a:pt x="222" y="46"/>
                  </a:lnTo>
                  <a:lnTo>
                    <a:pt x="222" y="46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4" y="48"/>
                  </a:lnTo>
                  <a:lnTo>
                    <a:pt x="225" y="48"/>
                  </a:lnTo>
                  <a:lnTo>
                    <a:pt x="225" y="48"/>
                  </a:lnTo>
                  <a:lnTo>
                    <a:pt x="226" y="48"/>
                  </a:lnTo>
                  <a:lnTo>
                    <a:pt x="227" y="48"/>
                  </a:lnTo>
                  <a:lnTo>
                    <a:pt x="228" y="47"/>
                  </a:lnTo>
                  <a:lnTo>
                    <a:pt x="229" y="47"/>
                  </a:lnTo>
                  <a:lnTo>
                    <a:pt x="231" y="46"/>
                  </a:lnTo>
                  <a:lnTo>
                    <a:pt x="236" y="45"/>
                  </a:lnTo>
                  <a:lnTo>
                    <a:pt x="238" y="44"/>
                  </a:lnTo>
                  <a:lnTo>
                    <a:pt x="241" y="43"/>
                  </a:lnTo>
                  <a:lnTo>
                    <a:pt x="242" y="43"/>
                  </a:lnTo>
                  <a:lnTo>
                    <a:pt x="244" y="42"/>
                  </a:lnTo>
                  <a:lnTo>
                    <a:pt x="245" y="42"/>
                  </a:lnTo>
                  <a:lnTo>
                    <a:pt x="247" y="42"/>
                  </a:lnTo>
                  <a:lnTo>
                    <a:pt x="247" y="41"/>
                  </a:lnTo>
                  <a:lnTo>
                    <a:pt x="249" y="41"/>
                  </a:lnTo>
                  <a:lnTo>
                    <a:pt x="250" y="41"/>
                  </a:lnTo>
                  <a:lnTo>
                    <a:pt x="251" y="42"/>
                  </a:lnTo>
                  <a:lnTo>
                    <a:pt x="252" y="42"/>
                  </a:lnTo>
                  <a:lnTo>
                    <a:pt x="253" y="43"/>
                  </a:lnTo>
                  <a:lnTo>
                    <a:pt x="254" y="43"/>
                  </a:lnTo>
                  <a:lnTo>
                    <a:pt x="255" y="44"/>
                  </a:lnTo>
                  <a:lnTo>
                    <a:pt x="256" y="45"/>
                  </a:lnTo>
                  <a:lnTo>
                    <a:pt x="257" y="45"/>
                  </a:lnTo>
                  <a:lnTo>
                    <a:pt x="257" y="46"/>
                  </a:lnTo>
                  <a:lnTo>
                    <a:pt x="258" y="47"/>
                  </a:lnTo>
                  <a:lnTo>
                    <a:pt x="259" y="49"/>
                  </a:lnTo>
                  <a:lnTo>
                    <a:pt x="259" y="49"/>
                  </a:lnTo>
                  <a:lnTo>
                    <a:pt x="260" y="50"/>
                  </a:lnTo>
                  <a:lnTo>
                    <a:pt x="260" y="52"/>
                  </a:lnTo>
                  <a:lnTo>
                    <a:pt x="261" y="54"/>
                  </a:lnTo>
                  <a:lnTo>
                    <a:pt x="262" y="56"/>
                  </a:lnTo>
                  <a:lnTo>
                    <a:pt x="262" y="58"/>
                  </a:lnTo>
                  <a:lnTo>
                    <a:pt x="262" y="61"/>
                  </a:lnTo>
                  <a:lnTo>
                    <a:pt x="263" y="65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3" y="68"/>
                  </a:lnTo>
                  <a:lnTo>
                    <a:pt x="263" y="68"/>
                  </a:lnTo>
                  <a:lnTo>
                    <a:pt x="263" y="69"/>
                  </a:lnTo>
                  <a:lnTo>
                    <a:pt x="263" y="69"/>
                  </a:lnTo>
                  <a:lnTo>
                    <a:pt x="263" y="70"/>
                  </a:lnTo>
                  <a:lnTo>
                    <a:pt x="261" y="73"/>
                  </a:lnTo>
                  <a:lnTo>
                    <a:pt x="261" y="74"/>
                  </a:lnTo>
                  <a:lnTo>
                    <a:pt x="261" y="74"/>
                  </a:lnTo>
                  <a:lnTo>
                    <a:pt x="260" y="75"/>
                  </a:lnTo>
                  <a:lnTo>
                    <a:pt x="260" y="76"/>
                  </a:lnTo>
                  <a:lnTo>
                    <a:pt x="261" y="76"/>
                  </a:lnTo>
                  <a:lnTo>
                    <a:pt x="261" y="77"/>
                  </a:lnTo>
                  <a:lnTo>
                    <a:pt x="261" y="77"/>
                  </a:lnTo>
                  <a:lnTo>
                    <a:pt x="262" y="78"/>
                  </a:lnTo>
                  <a:lnTo>
                    <a:pt x="262" y="79"/>
                  </a:lnTo>
                  <a:lnTo>
                    <a:pt x="263" y="79"/>
                  </a:lnTo>
                  <a:lnTo>
                    <a:pt x="264" y="79"/>
                  </a:lnTo>
                  <a:lnTo>
                    <a:pt x="265" y="80"/>
                  </a:lnTo>
                  <a:lnTo>
                    <a:pt x="266" y="80"/>
                  </a:lnTo>
                  <a:lnTo>
                    <a:pt x="267" y="80"/>
                  </a:lnTo>
                  <a:lnTo>
                    <a:pt x="267" y="80"/>
                  </a:lnTo>
                  <a:lnTo>
                    <a:pt x="268" y="80"/>
                  </a:lnTo>
                  <a:lnTo>
                    <a:pt x="269" y="79"/>
                  </a:lnTo>
                  <a:lnTo>
                    <a:pt x="270" y="79"/>
                  </a:lnTo>
                  <a:lnTo>
                    <a:pt x="272" y="78"/>
                  </a:lnTo>
                  <a:lnTo>
                    <a:pt x="274" y="76"/>
                  </a:lnTo>
                  <a:lnTo>
                    <a:pt x="275" y="76"/>
                  </a:lnTo>
                  <a:lnTo>
                    <a:pt x="276" y="75"/>
                  </a:lnTo>
                  <a:lnTo>
                    <a:pt x="276" y="75"/>
                  </a:lnTo>
                  <a:lnTo>
                    <a:pt x="276" y="74"/>
                  </a:lnTo>
                  <a:lnTo>
                    <a:pt x="277" y="74"/>
                  </a:lnTo>
                  <a:lnTo>
                    <a:pt x="277" y="73"/>
                  </a:lnTo>
                  <a:lnTo>
                    <a:pt x="278" y="72"/>
                  </a:lnTo>
                  <a:lnTo>
                    <a:pt x="280" y="68"/>
                  </a:lnTo>
                  <a:lnTo>
                    <a:pt x="281" y="65"/>
                  </a:lnTo>
                  <a:lnTo>
                    <a:pt x="282" y="64"/>
                  </a:lnTo>
                  <a:lnTo>
                    <a:pt x="283" y="62"/>
                  </a:lnTo>
                  <a:lnTo>
                    <a:pt x="285" y="61"/>
                  </a:lnTo>
                  <a:lnTo>
                    <a:pt x="286" y="59"/>
                  </a:lnTo>
                  <a:lnTo>
                    <a:pt x="287" y="58"/>
                  </a:lnTo>
                  <a:lnTo>
                    <a:pt x="289" y="57"/>
                  </a:lnTo>
                  <a:lnTo>
                    <a:pt x="290" y="56"/>
                  </a:lnTo>
                  <a:lnTo>
                    <a:pt x="291" y="55"/>
                  </a:lnTo>
                  <a:lnTo>
                    <a:pt x="291" y="55"/>
                  </a:lnTo>
                  <a:lnTo>
                    <a:pt x="292" y="55"/>
                  </a:lnTo>
                  <a:lnTo>
                    <a:pt x="293" y="54"/>
                  </a:lnTo>
                  <a:lnTo>
                    <a:pt x="295" y="54"/>
                  </a:lnTo>
                  <a:lnTo>
                    <a:pt x="296" y="55"/>
                  </a:lnTo>
                  <a:lnTo>
                    <a:pt x="297" y="55"/>
                  </a:lnTo>
                  <a:lnTo>
                    <a:pt x="298" y="55"/>
                  </a:lnTo>
                  <a:lnTo>
                    <a:pt x="299" y="56"/>
                  </a:lnTo>
                  <a:lnTo>
                    <a:pt x="304" y="58"/>
                  </a:lnTo>
                  <a:lnTo>
                    <a:pt x="305" y="58"/>
                  </a:lnTo>
                  <a:lnTo>
                    <a:pt x="306" y="59"/>
                  </a:lnTo>
                  <a:lnTo>
                    <a:pt x="307" y="60"/>
                  </a:lnTo>
                  <a:lnTo>
                    <a:pt x="309" y="61"/>
                  </a:lnTo>
                  <a:lnTo>
                    <a:pt x="310" y="62"/>
                  </a:lnTo>
                  <a:lnTo>
                    <a:pt x="313" y="65"/>
                  </a:lnTo>
                  <a:lnTo>
                    <a:pt x="314" y="65"/>
                  </a:lnTo>
                  <a:lnTo>
                    <a:pt x="315" y="66"/>
                  </a:lnTo>
                  <a:lnTo>
                    <a:pt x="315" y="66"/>
                  </a:lnTo>
                  <a:lnTo>
                    <a:pt x="316" y="66"/>
                  </a:lnTo>
                  <a:lnTo>
                    <a:pt x="316" y="66"/>
                  </a:lnTo>
                  <a:lnTo>
                    <a:pt x="317" y="66"/>
                  </a:lnTo>
                  <a:lnTo>
                    <a:pt x="318" y="66"/>
                  </a:lnTo>
                  <a:lnTo>
                    <a:pt x="319" y="66"/>
                  </a:lnTo>
                  <a:lnTo>
                    <a:pt x="319" y="66"/>
                  </a:lnTo>
                  <a:lnTo>
                    <a:pt x="320" y="66"/>
                  </a:lnTo>
                  <a:lnTo>
                    <a:pt x="321" y="66"/>
                  </a:lnTo>
                  <a:lnTo>
                    <a:pt x="322" y="65"/>
                  </a:lnTo>
                  <a:lnTo>
                    <a:pt x="322" y="65"/>
                  </a:lnTo>
                  <a:lnTo>
                    <a:pt x="323" y="64"/>
                  </a:lnTo>
                  <a:lnTo>
                    <a:pt x="323" y="64"/>
                  </a:lnTo>
                  <a:lnTo>
                    <a:pt x="324" y="63"/>
                  </a:lnTo>
                  <a:lnTo>
                    <a:pt x="324" y="63"/>
                  </a:lnTo>
                  <a:lnTo>
                    <a:pt x="325" y="62"/>
                  </a:lnTo>
                  <a:lnTo>
                    <a:pt x="325" y="61"/>
                  </a:lnTo>
                  <a:lnTo>
                    <a:pt x="326" y="57"/>
                  </a:lnTo>
                  <a:lnTo>
                    <a:pt x="327" y="55"/>
                  </a:lnTo>
                  <a:lnTo>
                    <a:pt x="328" y="54"/>
                  </a:lnTo>
                  <a:lnTo>
                    <a:pt x="329" y="53"/>
                  </a:lnTo>
                  <a:lnTo>
                    <a:pt x="329" y="53"/>
                  </a:lnTo>
                  <a:lnTo>
                    <a:pt x="330" y="52"/>
                  </a:lnTo>
                  <a:lnTo>
                    <a:pt x="330" y="52"/>
                  </a:lnTo>
                  <a:lnTo>
                    <a:pt x="330" y="51"/>
                  </a:lnTo>
                  <a:lnTo>
                    <a:pt x="331" y="51"/>
                  </a:lnTo>
                  <a:lnTo>
                    <a:pt x="332" y="50"/>
                  </a:lnTo>
                  <a:lnTo>
                    <a:pt x="332" y="50"/>
                  </a:lnTo>
                  <a:lnTo>
                    <a:pt x="333" y="50"/>
                  </a:lnTo>
                  <a:lnTo>
                    <a:pt x="334" y="50"/>
                  </a:lnTo>
                  <a:lnTo>
                    <a:pt x="335" y="50"/>
                  </a:lnTo>
                  <a:lnTo>
                    <a:pt x="336" y="50"/>
                  </a:lnTo>
                  <a:lnTo>
                    <a:pt x="338" y="50"/>
                  </a:lnTo>
                  <a:lnTo>
                    <a:pt x="339" y="50"/>
                  </a:lnTo>
                  <a:lnTo>
                    <a:pt x="340" y="50"/>
                  </a:lnTo>
                  <a:lnTo>
                    <a:pt x="341" y="50"/>
                  </a:lnTo>
                  <a:lnTo>
                    <a:pt x="345" y="51"/>
                  </a:lnTo>
                  <a:lnTo>
                    <a:pt x="346" y="51"/>
                  </a:lnTo>
                  <a:lnTo>
                    <a:pt x="347" y="51"/>
                  </a:lnTo>
                  <a:lnTo>
                    <a:pt x="348" y="52"/>
                  </a:lnTo>
                  <a:lnTo>
                    <a:pt x="350" y="52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6" y="52"/>
                  </a:lnTo>
                  <a:lnTo>
                    <a:pt x="357" y="52"/>
                  </a:lnTo>
                  <a:lnTo>
                    <a:pt x="358" y="52"/>
                  </a:lnTo>
                  <a:lnTo>
                    <a:pt x="359" y="53"/>
                  </a:lnTo>
                  <a:lnTo>
                    <a:pt x="360" y="53"/>
                  </a:lnTo>
                  <a:lnTo>
                    <a:pt x="361" y="54"/>
                  </a:lnTo>
                  <a:lnTo>
                    <a:pt x="362" y="55"/>
                  </a:lnTo>
                  <a:lnTo>
                    <a:pt x="365" y="57"/>
                  </a:lnTo>
                  <a:lnTo>
                    <a:pt x="367" y="59"/>
                  </a:lnTo>
                  <a:lnTo>
                    <a:pt x="367" y="59"/>
                  </a:lnTo>
                  <a:lnTo>
                    <a:pt x="369" y="61"/>
                  </a:lnTo>
                  <a:lnTo>
                    <a:pt x="371" y="64"/>
                  </a:lnTo>
                  <a:lnTo>
                    <a:pt x="374" y="67"/>
                  </a:lnTo>
                  <a:lnTo>
                    <a:pt x="376" y="69"/>
                  </a:lnTo>
                  <a:lnTo>
                    <a:pt x="378" y="71"/>
                  </a:lnTo>
                  <a:lnTo>
                    <a:pt x="381" y="74"/>
                  </a:lnTo>
                  <a:lnTo>
                    <a:pt x="383" y="76"/>
                  </a:lnTo>
                  <a:lnTo>
                    <a:pt x="385" y="78"/>
                  </a:lnTo>
                  <a:lnTo>
                    <a:pt x="386" y="80"/>
                  </a:lnTo>
                  <a:lnTo>
                    <a:pt x="388" y="81"/>
                  </a:lnTo>
                  <a:lnTo>
                    <a:pt x="388" y="83"/>
                  </a:lnTo>
                  <a:lnTo>
                    <a:pt x="389" y="84"/>
                  </a:lnTo>
                  <a:lnTo>
                    <a:pt x="389" y="85"/>
                  </a:lnTo>
                  <a:lnTo>
                    <a:pt x="389" y="86"/>
                  </a:lnTo>
                  <a:lnTo>
                    <a:pt x="389" y="87"/>
                  </a:lnTo>
                  <a:lnTo>
                    <a:pt x="389" y="88"/>
                  </a:lnTo>
                  <a:lnTo>
                    <a:pt x="389" y="89"/>
                  </a:lnTo>
                  <a:lnTo>
                    <a:pt x="389" y="90"/>
                  </a:lnTo>
                  <a:lnTo>
                    <a:pt x="389" y="90"/>
                  </a:lnTo>
                  <a:lnTo>
                    <a:pt x="388" y="91"/>
                  </a:lnTo>
                  <a:lnTo>
                    <a:pt x="388" y="92"/>
                  </a:lnTo>
                  <a:lnTo>
                    <a:pt x="386" y="93"/>
                  </a:lnTo>
                  <a:lnTo>
                    <a:pt x="384" y="95"/>
                  </a:lnTo>
                  <a:lnTo>
                    <a:pt x="384" y="96"/>
                  </a:lnTo>
                  <a:lnTo>
                    <a:pt x="383" y="96"/>
                  </a:lnTo>
                  <a:lnTo>
                    <a:pt x="383" y="97"/>
                  </a:lnTo>
                  <a:lnTo>
                    <a:pt x="382" y="98"/>
                  </a:lnTo>
                  <a:lnTo>
                    <a:pt x="381" y="101"/>
                  </a:lnTo>
                  <a:lnTo>
                    <a:pt x="381" y="103"/>
                  </a:lnTo>
                  <a:lnTo>
                    <a:pt x="380" y="104"/>
                  </a:lnTo>
                  <a:lnTo>
                    <a:pt x="379" y="107"/>
                  </a:lnTo>
                  <a:lnTo>
                    <a:pt x="378" y="108"/>
                  </a:lnTo>
                  <a:lnTo>
                    <a:pt x="378" y="109"/>
                  </a:lnTo>
                  <a:lnTo>
                    <a:pt x="378" y="111"/>
                  </a:lnTo>
                  <a:lnTo>
                    <a:pt x="378" y="112"/>
                  </a:lnTo>
                  <a:lnTo>
                    <a:pt x="377" y="113"/>
                  </a:lnTo>
                  <a:lnTo>
                    <a:pt x="377" y="114"/>
                  </a:lnTo>
                  <a:lnTo>
                    <a:pt x="376" y="116"/>
                  </a:lnTo>
                  <a:lnTo>
                    <a:pt x="375" y="117"/>
                  </a:lnTo>
                  <a:lnTo>
                    <a:pt x="373" y="118"/>
                  </a:lnTo>
                  <a:lnTo>
                    <a:pt x="370" y="122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7" y="125"/>
                  </a:lnTo>
                  <a:lnTo>
                    <a:pt x="366" y="125"/>
                  </a:lnTo>
                  <a:lnTo>
                    <a:pt x="366" y="126"/>
                  </a:lnTo>
                  <a:lnTo>
                    <a:pt x="365" y="126"/>
                  </a:lnTo>
                  <a:lnTo>
                    <a:pt x="364" y="126"/>
                  </a:lnTo>
                  <a:lnTo>
                    <a:pt x="363" y="127"/>
                  </a:lnTo>
                  <a:lnTo>
                    <a:pt x="362" y="127"/>
                  </a:lnTo>
                  <a:lnTo>
                    <a:pt x="361" y="127"/>
                  </a:lnTo>
                  <a:lnTo>
                    <a:pt x="359" y="126"/>
                  </a:lnTo>
                  <a:lnTo>
                    <a:pt x="357" y="126"/>
                  </a:lnTo>
                  <a:lnTo>
                    <a:pt x="357" y="126"/>
                  </a:lnTo>
                  <a:lnTo>
                    <a:pt x="356" y="126"/>
                  </a:lnTo>
                  <a:lnTo>
                    <a:pt x="356" y="127"/>
                  </a:lnTo>
                  <a:lnTo>
                    <a:pt x="355" y="127"/>
                  </a:lnTo>
                  <a:lnTo>
                    <a:pt x="355" y="127"/>
                  </a:lnTo>
                  <a:lnTo>
                    <a:pt x="354" y="128"/>
                  </a:lnTo>
                  <a:lnTo>
                    <a:pt x="354" y="128"/>
                  </a:lnTo>
                  <a:lnTo>
                    <a:pt x="352" y="130"/>
                  </a:lnTo>
                  <a:lnTo>
                    <a:pt x="350" y="132"/>
                  </a:lnTo>
                  <a:lnTo>
                    <a:pt x="349" y="133"/>
                  </a:lnTo>
                  <a:lnTo>
                    <a:pt x="348" y="134"/>
                  </a:lnTo>
                  <a:lnTo>
                    <a:pt x="347" y="135"/>
                  </a:lnTo>
                  <a:lnTo>
                    <a:pt x="346" y="135"/>
                  </a:lnTo>
                  <a:lnTo>
                    <a:pt x="345" y="135"/>
                  </a:lnTo>
                  <a:lnTo>
                    <a:pt x="343" y="136"/>
                  </a:lnTo>
                  <a:lnTo>
                    <a:pt x="343" y="136"/>
                  </a:lnTo>
                  <a:lnTo>
                    <a:pt x="342" y="136"/>
                  </a:lnTo>
                  <a:lnTo>
                    <a:pt x="341" y="137"/>
                  </a:lnTo>
                  <a:lnTo>
                    <a:pt x="339" y="138"/>
                  </a:lnTo>
                  <a:lnTo>
                    <a:pt x="338" y="139"/>
                  </a:lnTo>
                  <a:lnTo>
                    <a:pt x="337" y="139"/>
                  </a:lnTo>
                  <a:lnTo>
                    <a:pt x="337" y="140"/>
                  </a:lnTo>
                  <a:lnTo>
                    <a:pt x="335" y="141"/>
                  </a:lnTo>
                  <a:lnTo>
                    <a:pt x="335" y="142"/>
                  </a:lnTo>
                  <a:lnTo>
                    <a:pt x="334" y="143"/>
                  </a:lnTo>
                  <a:lnTo>
                    <a:pt x="332" y="144"/>
                  </a:lnTo>
                  <a:lnTo>
                    <a:pt x="332" y="144"/>
                  </a:lnTo>
                  <a:lnTo>
                    <a:pt x="331" y="145"/>
                  </a:lnTo>
                  <a:lnTo>
                    <a:pt x="330" y="146"/>
                  </a:lnTo>
                  <a:lnTo>
                    <a:pt x="330" y="147"/>
                  </a:lnTo>
                  <a:lnTo>
                    <a:pt x="329" y="147"/>
                  </a:lnTo>
                  <a:lnTo>
                    <a:pt x="329" y="148"/>
                  </a:lnTo>
                  <a:lnTo>
                    <a:pt x="329" y="149"/>
                  </a:lnTo>
                  <a:lnTo>
                    <a:pt x="329" y="150"/>
                  </a:lnTo>
                  <a:lnTo>
                    <a:pt x="329" y="151"/>
                  </a:lnTo>
                  <a:lnTo>
                    <a:pt x="328" y="151"/>
                  </a:lnTo>
                  <a:lnTo>
                    <a:pt x="328" y="152"/>
                  </a:lnTo>
                  <a:lnTo>
                    <a:pt x="327" y="152"/>
                  </a:lnTo>
                  <a:lnTo>
                    <a:pt x="327" y="152"/>
                  </a:lnTo>
                  <a:lnTo>
                    <a:pt x="326" y="152"/>
                  </a:lnTo>
                  <a:lnTo>
                    <a:pt x="325" y="152"/>
                  </a:lnTo>
                  <a:lnTo>
                    <a:pt x="325" y="152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3" y="154"/>
                  </a:lnTo>
                  <a:lnTo>
                    <a:pt x="323" y="154"/>
                  </a:lnTo>
                  <a:lnTo>
                    <a:pt x="322" y="155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9"/>
                  </a:lnTo>
                  <a:lnTo>
                    <a:pt x="322" y="160"/>
                  </a:lnTo>
                  <a:lnTo>
                    <a:pt x="322" y="160"/>
                  </a:lnTo>
                  <a:lnTo>
                    <a:pt x="323" y="161"/>
                  </a:lnTo>
                  <a:lnTo>
                    <a:pt x="324" y="164"/>
                  </a:lnTo>
                  <a:lnTo>
                    <a:pt x="325" y="166"/>
                  </a:lnTo>
                  <a:lnTo>
                    <a:pt x="326" y="167"/>
                  </a:lnTo>
                  <a:lnTo>
                    <a:pt x="326" y="167"/>
                  </a:lnTo>
                  <a:lnTo>
                    <a:pt x="327" y="168"/>
                  </a:lnTo>
                  <a:lnTo>
                    <a:pt x="327" y="168"/>
                  </a:lnTo>
                  <a:lnTo>
                    <a:pt x="328" y="168"/>
                  </a:lnTo>
                  <a:lnTo>
                    <a:pt x="329" y="169"/>
                  </a:lnTo>
                  <a:lnTo>
                    <a:pt x="331" y="169"/>
                  </a:lnTo>
                  <a:lnTo>
                    <a:pt x="331" y="169"/>
                  </a:lnTo>
                  <a:lnTo>
                    <a:pt x="332" y="170"/>
                  </a:lnTo>
                  <a:lnTo>
                    <a:pt x="333" y="171"/>
                  </a:lnTo>
                  <a:lnTo>
                    <a:pt x="334" y="171"/>
                  </a:lnTo>
                  <a:lnTo>
                    <a:pt x="335" y="172"/>
                  </a:lnTo>
                  <a:lnTo>
                    <a:pt x="335" y="173"/>
                  </a:lnTo>
                  <a:lnTo>
                    <a:pt x="337" y="176"/>
                  </a:lnTo>
                  <a:lnTo>
                    <a:pt x="338" y="176"/>
                  </a:lnTo>
                  <a:lnTo>
                    <a:pt x="339" y="178"/>
                  </a:lnTo>
                  <a:lnTo>
                    <a:pt x="339" y="178"/>
                  </a:lnTo>
                  <a:lnTo>
                    <a:pt x="340" y="180"/>
                  </a:lnTo>
                  <a:lnTo>
                    <a:pt x="342" y="181"/>
                  </a:lnTo>
                  <a:lnTo>
                    <a:pt x="342" y="182"/>
                  </a:lnTo>
                  <a:lnTo>
                    <a:pt x="343" y="183"/>
                  </a:lnTo>
                  <a:lnTo>
                    <a:pt x="344" y="184"/>
                  </a:lnTo>
                  <a:lnTo>
                    <a:pt x="344" y="185"/>
                  </a:lnTo>
                  <a:lnTo>
                    <a:pt x="345" y="185"/>
                  </a:lnTo>
                  <a:lnTo>
                    <a:pt x="346" y="186"/>
                  </a:lnTo>
                  <a:lnTo>
                    <a:pt x="346" y="186"/>
                  </a:lnTo>
                  <a:lnTo>
                    <a:pt x="347" y="186"/>
                  </a:lnTo>
                  <a:lnTo>
                    <a:pt x="348" y="186"/>
                  </a:lnTo>
                  <a:lnTo>
                    <a:pt x="348" y="186"/>
                  </a:lnTo>
                  <a:lnTo>
                    <a:pt x="349" y="185"/>
                  </a:lnTo>
                  <a:lnTo>
                    <a:pt x="352" y="184"/>
                  </a:lnTo>
                  <a:lnTo>
                    <a:pt x="353" y="183"/>
                  </a:lnTo>
                  <a:lnTo>
                    <a:pt x="353" y="183"/>
                  </a:lnTo>
                  <a:lnTo>
                    <a:pt x="354" y="183"/>
                  </a:lnTo>
                  <a:lnTo>
                    <a:pt x="355" y="183"/>
                  </a:lnTo>
                  <a:lnTo>
                    <a:pt x="356" y="183"/>
                  </a:lnTo>
                  <a:lnTo>
                    <a:pt x="358" y="183"/>
                  </a:lnTo>
                  <a:lnTo>
                    <a:pt x="359" y="183"/>
                  </a:lnTo>
                  <a:lnTo>
                    <a:pt x="361" y="183"/>
                  </a:lnTo>
                  <a:lnTo>
                    <a:pt x="362" y="183"/>
                  </a:lnTo>
                  <a:lnTo>
                    <a:pt x="363" y="183"/>
                  </a:lnTo>
                  <a:lnTo>
                    <a:pt x="365" y="183"/>
                  </a:lnTo>
                  <a:lnTo>
                    <a:pt x="365" y="184"/>
                  </a:lnTo>
                  <a:lnTo>
                    <a:pt x="366" y="184"/>
                  </a:lnTo>
                  <a:lnTo>
                    <a:pt x="367" y="185"/>
                  </a:lnTo>
                  <a:lnTo>
                    <a:pt x="368" y="185"/>
                  </a:lnTo>
                  <a:lnTo>
                    <a:pt x="368" y="185"/>
                  </a:lnTo>
                  <a:lnTo>
                    <a:pt x="368" y="186"/>
                  </a:lnTo>
                  <a:lnTo>
                    <a:pt x="369" y="187"/>
                  </a:lnTo>
                  <a:lnTo>
                    <a:pt x="370" y="189"/>
                  </a:lnTo>
                  <a:lnTo>
                    <a:pt x="370" y="190"/>
                  </a:lnTo>
                  <a:lnTo>
                    <a:pt x="371" y="194"/>
                  </a:lnTo>
                  <a:lnTo>
                    <a:pt x="372" y="196"/>
                  </a:lnTo>
                  <a:lnTo>
                    <a:pt x="372" y="197"/>
                  </a:lnTo>
                  <a:lnTo>
                    <a:pt x="373" y="198"/>
                  </a:lnTo>
                  <a:lnTo>
                    <a:pt x="373" y="200"/>
                  </a:lnTo>
                  <a:lnTo>
                    <a:pt x="374" y="201"/>
                  </a:lnTo>
                  <a:lnTo>
                    <a:pt x="375" y="203"/>
                  </a:lnTo>
                  <a:lnTo>
                    <a:pt x="376" y="203"/>
                  </a:lnTo>
                  <a:lnTo>
                    <a:pt x="377" y="205"/>
                  </a:lnTo>
                  <a:lnTo>
                    <a:pt x="378" y="205"/>
                  </a:lnTo>
                  <a:lnTo>
                    <a:pt x="379" y="206"/>
                  </a:lnTo>
                  <a:lnTo>
                    <a:pt x="380" y="207"/>
                  </a:lnTo>
                  <a:lnTo>
                    <a:pt x="381" y="208"/>
                  </a:lnTo>
                  <a:lnTo>
                    <a:pt x="382" y="208"/>
                  </a:lnTo>
                  <a:lnTo>
                    <a:pt x="383" y="208"/>
                  </a:lnTo>
                  <a:lnTo>
                    <a:pt x="386" y="208"/>
                  </a:lnTo>
                  <a:lnTo>
                    <a:pt x="387" y="209"/>
                  </a:lnTo>
                  <a:lnTo>
                    <a:pt x="388" y="209"/>
                  </a:lnTo>
                  <a:lnTo>
                    <a:pt x="389" y="210"/>
                  </a:lnTo>
                  <a:lnTo>
                    <a:pt x="390" y="210"/>
                  </a:lnTo>
                  <a:lnTo>
                    <a:pt x="391" y="211"/>
                  </a:lnTo>
                  <a:lnTo>
                    <a:pt x="392" y="212"/>
                  </a:lnTo>
                  <a:lnTo>
                    <a:pt x="394" y="213"/>
                  </a:lnTo>
                  <a:lnTo>
                    <a:pt x="395" y="215"/>
                  </a:lnTo>
                  <a:lnTo>
                    <a:pt x="397" y="218"/>
                  </a:lnTo>
                  <a:lnTo>
                    <a:pt x="399" y="220"/>
                  </a:lnTo>
                  <a:lnTo>
                    <a:pt x="400" y="222"/>
                  </a:lnTo>
                  <a:lnTo>
                    <a:pt x="402" y="225"/>
                  </a:lnTo>
                  <a:lnTo>
                    <a:pt x="404" y="229"/>
                  </a:lnTo>
                  <a:lnTo>
                    <a:pt x="406" y="231"/>
                  </a:lnTo>
                  <a:lnTo>
                    <a:pt x="408" y="234"/>
                  </a:lnTo>
                  <a:lnTo>
                    <a:pt x="409" y="234"/>
                  </a:lnTo>
                  <a:lnTo>
                    <a:pt x="410" y="235"/>
                  </a:lnTo>
                  <a:lnTo>
                    <a:pt x="413" y="238"/>
                  </a:lnTo>
                  <a:lnTo>
                    <a:pt x="416" y="243"/>
                  </a:lnTo>
                  <a:lnTo>
                    <a:pt x="417" y="244"/>
                  </a:lnTo>
                  <a:lnTo>
                    <a:pt x="418" y="245"/>
                  </a:lnTo>
                  <a:lnTo>
                    <a:pt x="419" y="246"/>
                  </a:lnTo>
                  <a:lnTo>
                    <a:pt x="422" y="248"/>
                  </a:lnTo>
                  <a:lnTo>
                    <a:pt x="423" y="249"/>
                  </a:lnTo>
                  <a:lnTo>
                    <a:pt x="423" y="249"/>
                  </a:lnTo>
                  <a:lnTo>
                    <a:pt x="424" y="250"/>
                  </a:lnTo>
                  <a:lnTo>
                    <a:pt x="425" y="252"/>
                  </a:lnTo>
                  <a:lnTo>
                    <a:pt x="426" y="253"/>
                  </a:lnTo>
                  <a:lnTo>
                    <a:pt x="426" y="254"/>
                  </a:lnTo>
                  <a:lnTo>
                    <a:pt x="427" y="255"/>
                  </a:lnTo>
                  <a:lnTo>
                    <a:pt x="428" y="256"/>
                  </a:lnTo>
                  <a:lnTo>
                    <a:pt x="428" y="259"/>
                  </a:lnTo>
                  <a:lnTo>
                    <a:pt x="429" y="260"/>
                  </a:lnTo>
                  <a:lnTo>
                    <a:pt x="429" y="262"/>
                  </a:lnTo>
                  <a:lnTo>
                    <a:pt x="429" y="266"/>
                  </a:lnTo>
                  <a:lnTo>
                    <a:pt x="429" y="269"/>
                  </a:lnTo>
                  <a:lnTo>
                    <a:pt x="430" y="271"/>
                  </a:lnTo>
                  <a:lnTo>
                    <a:pt x="430" y="273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2" y="281"/>
                  </a:lnTo>
                  <a:lnTo>
                    <a:pt x="433" y="283"/>
                  </a:lnTo>
                  <a:lnTo>
                    <a:pt x="435" y="286"/>
                  </a:lnTo>
                  <a:lnTo>
                    <a:pt x="436" y="287"/>
                  </a:lnTo>
                  <a:lnTo>
                    <a:pt x="436" y="288"/>
                  </a:lnTo>
                  <a:lnTo>
                    <a:pt x="436" y="289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5" y="291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1" y="290"/>
                  </a:lnTo>
                  <a:lnTo>
                    <a:pt x="430" y="290"/>
                  </a:lnTo>
                  <a:lnTo>
                    <a:pt x="425" y="288"/>
                  </a:lnTo>
                  <a:lnTo>
                    <a:pt x="423" y="287"/>
                  </a:lnTo>
                  <a:lnTo>
                    <a:pt x="421" y="286"/>
                  </a:lnTo>
                  <a:lnTo>
                    <a:pt x="420" y="285"/>
                  </a:lnTo>
                  <a:lnTo>
                    <a:pt x="417" y="284"/>
                  </a:lnTo>
                  <a:lnTo>
                    <a:pt x="417" y="283"/>
                  </a:lnTo>
                  <a:lnTo>
                    <a:pt x="416" y="283"/>
                  </a:lnTo>
                  <a:lnTo>
                    <a:pt x="414" y="282"/>
                  </a:lnTo>
                  <a:lnTo>
                    <a:pt x="414" y="282"/>
                  </a:lnTo>
                  <a:lnTo>
                    <a:pt x="413" y="282"/>
                  </a:lnTo>
                  <a:lnTo>
                    <a:pt x="412" y="282"/>
                  </a:lnTo>
                  <a:lnTo>
                    <a:pt x="412" y="282"/>
                  </a:lnTo>
                  <a:lnTo>
                    <a:pt x="411" y="282"/>
                  </a:lnTo>
                  <a:lnTo>
                    <a:pt x="411" y="282"/>
                  </a:lnTo>
                  <a:lnTo>
                    <a:pt x="410" y="282"/>
                  </a:lnTo>
                  <a:lnTo>
                    <a:pt x="410" y="282"/>
                  </a:lnTo>
                  <a:lnTo>
                    <a:pt x="409" y="283"/>
                  </a:lnTo>
                  <a:lnTo>
                    <a:pt x="408" y="283"/>
                  </a:lnTo>
                  <a:lnTo>
                    <a:pt x="408" y="283"/>
                  </a:lnTo>
                  <a:lnTo>
                    <a:pt x="407" y="284"/>
                  </a:lnTo>
                  <a:lnTo>
                    <a:pt x="407" y="285"/>
                  </a:lnTo>
                  <a:lnTo>
                    <a:pt x="407" y="286"/>
                  </a:lnTo>
                  <a:lnTo>
                    <a:pt x="405" y="289"/>
                  </a:lnTo>
                  <a:lnTo>
                    <a:pt x="404" y="291"/>
                  </a:lnTo>
                  <a:lnTo>
                    <a:pt x="404" y="292"/>
                  </a:lnTo>
                  <a:lnTo>
                    <a:pt x="403" y="293"/>
                  </a:lnTo>
                  <a:lnTo>
                    <a:pt x="402" y="293"/>
                  </a:lnTo>
                  <a:lnTo>
                    <a:pt x="401" y="294"/>
                  </a:lnTo>
                  <a:lnTo>
                    <a:pt x="400" y="295"/>
                  </a:lnTo>
                  <a:lnTo>
                    <a:pt x="399" y="296"/>
                  </a:lnTo>
                  <a:lnTo>
                    <a:pt x="398" y="297"/>
                  </a:lnTo>
                  <a:lnTo>
                    <a:pt x="396" y="297"/>
                  </a:lnTo>
                  <a:lnTo>
                    <a:pt x="394" y="298"/>
                  </a:lnTo>
                  <a:lnTo>
                    <a:pt x="392" y="300"/>
                  </a:lnTo>
                  <a:lnTo>
                    <a:pt x="392" y="300"/>
                  </a:lnTo>
                  <a:lnTo>
                    <a:pt x="390" y="301"/>
                  </a:lnTo>
                  <a:lnTo>
                    <a:pt x="390" y="301"/>
                  </a:lnTo>
                  <a:lnTo>
                    <a:pt x="387" y="303"/>
                  </a:lnTo>
                  <a:lnTo>
                    <a:pt x="384" y="304"/>
                  </a:lnTo>
                  <a:lnTo>
                    <a:pt x="382" y="305"/>
                  </a:lnTo>
                  <a:lnTo>
                    <a:pt x="381" y="305"/>
                  </a:lnTo>
                  <a:lnTo>
                    <a:pt x="380" y="306"/>
                  </a:lnTo>
                  <a:lnTo>
                    <a:pt x="378" y="308"/>
                  </a:lnTo>
                  <a:lnTo>
                    <a:pt x="376" y="309"/>
                  </a:lnTo>
                  <a:lnTo>
                    <a:pt x="374" y="310"/>
                  </a:lnTo>
                  <a:lnTo>
                    <a:pt x="372" y="312"/>
                  </a:lnTo>
                  <a:lnTo>
                    <a:pt x="371" y="312"/>
                  </a:lnTo>
                  <a:lnTo>
                    <a:pt x="370" y="313"/>
                  </a:lnTo>
                  <a:lnTo>
                    <a:pt x="369" y="314"/>
                  </a:lnTo>
                  <a:lnTo>
                    <a:pt x="368" y="315"/>
                  </a:lnTo>
                  <a:lnTo>
                    <a:pt x="368" y="316"/>
                  </a:lnTo>
                  <a:lnTo>
                    <a:pt x="368" y="316"/>
                  </a:lnTo>
                  <a:lnTo>
                    <a:pt x="367" y="317"/>
                  </a:lnTo>
                  <a:lnTo>
                    <a:pt x="367" y="318"/>
                  </a:lnTo>
                  <a:lnTo>
                    <a:pt x="367" y="318"/>
                  </a:lnTo>
                  <a:lnTo>
                    <a:pt x="367" y="321"/>
                  </a:lnTo>
                  <a:lnTo>
                    <a:pt x="367" y="321"/>
                  </a:lnTo>
                  <a:lnTo>
                    <a:pt x="367" y="322"/>
                  </a:lnTo>
                  <a:lnTo>
                    <a:pt x="366" y="323"/>
                  </a:lnTo>
                  <a:lnTo>
                    <a:pt x="366" y="323"/>
                  </a:lnTo>
                  <a:lnTo>
                    <a:pt x="366" y="324"/>
                  </a:lnTo>
                  <a:lnTo>
                    <a:pt x="365" y="325"/>
                  </a:lnTo>
                  <a:lnTo>
                    <a:pt x="364" y="326"/>
                  </a:lnTo>
                  <a:lnTo>
                    <a:pt x="362" y="327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60" y="329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1"/>
                  </a:lnTo>
                  <a:lnTo>
                    <a:pt x="360" y="331"/>
                  </a:lnTo>
                  <a:lnTo>
                    <a:pt x="360" y="332"/>
                  </a:lnTo>
                  <a:lnTo>
                    <a:pt x="361" y="335"/>
                  </a:lnTo>
                  <a:lnTo>
                    <a:pt x="361" y="335"/>
                  </a:lnTo>
                  <a:lnTo>
                    <a:pt x="361" y="336"/>
                  </a:lnTo>
                  <a:lnTo>
                    <a:pt x="361" y="336"/>
                  </a:lnTo>
                  <a:lnTo>
                    <a:pt x="361" y="337"/>
                  </a:lnTo>
                  <a:lnTo>
                    <a:pt x="360" y="337"/>
                  </a:lnTo>
                  <a:lnTo>
                    <a:pt x="360" y="337"/>
                  </a:lnTo>
                  <a:lnTo>
                    <a:pt x="359" y="337"/>
                  </a:lnTo>
                  <a:lnTo>
                    <a:pt x="359" y="338"/>
                  </a:lnTo>
                  <a:lnTo>
                    <a:pt x="358" y="338"/>
                  </a:lnTo>
                  <a:lnTo>
                    <a:pt x="357" y="338"/>
                  </a:lnTo>
                  <a:lnTo>
                    <a:pt x="356" y="338"/>
                  </a:lnTo>
                  <a:lnTo>
                    <a:pt x="355" y="337"/>
                  </a:lnTo>
                  <a:lnTo>
                    <a:pt x="353" y="337"/>
                  </a:lnTo>
                  <a:lnTo>
                    <a:pt x="352" y="336"/>
                  </a:lnTo>
                  <a:lnTo>
                    <a:pt x="351" y="336"/>
                  </a:lnTo>
                  <a:lnTo>
                    <a:pt x="350" y="336"/>
                  </a:lnTo>
                  <a:lnTo>
                    <a:pt x="349" y="336"/>
                  </a:lnTo>
                  <a:lnTo>
                    <a:pt x="347" y="337"/>
                  </a:lnTo>
                  <a:lnTo>
                    <a:pt x="344" y="337"/>
                  </a:lnTo>
                  <a:lnTo>
                    <a:pt x="343" y="337"/>
                  </a:lnTo>
                  <a:lnTo>
                    <a:pt x="341" y="337"/>
                  </a:lnTo>
                  <a:lnTo>
                    <a:pt x="341" y="337"/>
                  </a:lnTo>
                  <a:lnTo>
                    <a:pt x="340" y="337"/>
                  </a:lnTo>
                  <a:lnTo>
                    <a:pt x="339" y="336"/>
                  </a:lnTo>
                  <a:lnTo>
                    <a:pt x="338" y="336"/>
                  </a:lnTo>
                  <a:lnTo>
                    <a:pt x="338" y="336"/>
                  </a:lnTo>
                  <a:lnTo>
                    <a:pt x="337" y="336"/>
                  </a:lnTo>
                  <a:lnTo>
                    <a:pt x="337" y="336"/>
                  </a:lnTo>
                  <a:lnTo>
                    <a:pt x="336" y="336"/>
                  </a:lnTo>
                  <a:lnTo>
                    <a:pt x="334" y="337"/>
                  </a:lnTo>
                  <a:lnTo>
                    <a:pt x="333" y="337"/>
                  </a:lnTo>
                  <a:lnTo>
                    <a:pt x="332" y="338"/>
                  </a:lnTo>
                  <a:lnTo>
                    <a:pt x="329" y="338"/>
                  </a:lnTo>
                  <a:lnTo>
                    <a:pt x="327" y="339"/>
                  </a:lnTo>
                  <a:lnTo>
                    <a:pt x="326" y="339"/>
                  </a:lnTo>
                  <a:lnTo>
                    <a:pt x="325" y="339"/>
                  </a:lnTo>
                  <a:lnTo>
                    <a:pt x="324" y="339"/>
                  </a:lnTo>
                  <a:lnTo>
                    <a:pt x="324" y="339"/>
                  </a:lnTo>
                  <a:lnTo>
                    <a:pt x="323" y="338"/>
                  </a:lnTo>
                  <a:lnTo>
                    <a:pt x="322" y="338"/>
                  </a:lnTo>
                  <a:lnTo>
                    <a:pt x="321" y="337"/>
                  </a:lnTo>
                  <a:lnTo>
                    <a:pt x="320" y="337"/>
                  </a:lnTo>
                  <a:lnTo>
                    <a:pt x="316" y="334"/>
                  </a:lnTo>
                  <a:lnTo>
                    <a:pt x="315" y="333"/>
                  </a:lnTo>
                  <a:lnTo>
                    <a:pt x="314" y="332"/>
                  </a:lnTo>
                  <a:lnTo>
                    <a:pt x="313" y="331"/>
                  </a:lnTo>
                  <a:lnTo>
                    <a:pt x="311" y="331"/>
                  </a:lnTo>
                  <a:lnTo>
                    <a:pt x="309" y="330"/>
                  </a:lnTo>
                  <a:lnTo>
                    <a:pt x="306" y="329"/>
                  </a:lnTo>
                  <a:lnTo>
                    <a:pt x="305" y="328"/>
                  </a:lnTo>
                  <a:lnTo>
                    <a:pt x="305" y="328"/>
                  </a:lnTo>
                  <a:lnTo>
                    <a:pt x="303" y="327"/>
                  </a:lnTo>
                  <a:lnTo>
                    <a:pt x="302" y="326"/>
                  </a:lnTo>
                  <a:lnTo>
                    <a:pt x="300" y="324"/>
                  </a:lnTo>
                  <a:lnTo>
                    <a:pt x="299" y="323"/>
                  </a:lnTo>
                  <a:lnTo>
                    <a:pt x="298" y="323"/>
                  </a:lnTo>
                  <a:lnTo>
                    <a:pt x="297" y="322"/>
                  </a:lnTo>
                  <a:lnTo>
                    <a:pt x="296" y="322"/>
                  </a:lnTo>
                  <a:lnTo>
                    <a:pt x="293" y="320"/>
                  </a:lnTo>
                  <a:lnTo>
                    <a:pt x="291" y="320"/>
                  </a:lnTo>
                  <a:lnTo>
                    <a:pt x="290" y="319"/>
                  </a:lnTo>
                  <a:lnTo>
                    <a:pt x="289" y="318"/>
                  </a:lnTo>
                  <a:lnTo>
                    <a:pt x="288" y="317"/>
                  </a:lnTo>
                  <a:lnTo>
                    <a:pt x="287" y="316"/>
                  </a:lnTo>
                  <a:lnTo>
                    <a:pt x="286" y="315"/>
                  </a:lnTo>
                  <a:lnTo>
                    <a:pt x="284" y="312"/>
                  </a:lnTo>
                  <a:lnTo>
                    <a:pt x="282" y="311"/>
                  </a:lnTo>
                  <a:lnTo>
                    <a:pt x="281" y="310"/>
                  </a:lnTo>
                  <a:lnTo>
                    <a:pt x="281" y="310"/>
                  </a:lnTo>
                  <a:lnTo>
                    <a:pt x="281" y="310"/>
                  </a:lnTo>
                  <a:lnTo>
                    <a:pt x="279" y="309"/>
                  </a:lnTo>
                  <a:lnTo>
                    <a:pt x="278" y="308"/>
                  </a:lnTo>
                  <a:lnTo>
                    <a:pt x="277" y="308"/>
                  </a:lnTo>
                  <a:lnTo>
                    <a:pt x="274" y="307"/>
                  </a:lnTo>
                  <a:lnTo>
                    <a:pt x="272" y="307"/>
                  </a:lnTo>
                  <a:lnTo>
                    <a:pt x="271" y="306"/>
                  </a:lnTo>
                  <a:lnTo>
                    <a:pt x="270" y="306"/>
                  </a:lnTo>
                  <a:lnTo>
                    <a:pt x="270" y="305"/>
                  </a:lnTo>
                  <a:lnTo>
                    <a:pt x="269" y="305"/>
                  </a:lnTo>
                  <a:lnTo>
                    <a:pt x="269" y="304"/>
                  </a:lnTo>
                  <a:lnTo>
                    <a:pt x="268" y="303"/>
                  </a:lnTo>
                  <a:lnTo>
                    <a:pt x="268" y="302"/>
                  </a:lnTo>
                  <a:lnTo>
                    <a:pt x="267" y="301"/>
                  </a:lnTo>
                  <a:lnTo>
                    <a:pt x="266" y="297"/>
                  </a:lnTo>
                  <a:lnTo>
                    <a:pt x="266" y="296"/>
                  </a:lnTo>
                  <a:lnTo>
                    <a:pt x="265" y="295"/>
                  </a:lnTo>
                  <a:lnTo>
                    <a:pt x="265" y="294"/>
                  </a:lnTo>
                  <a:lnTo>
                    <a:pt x="264" y="294"/>
                  </a:lnTo>
                  <a:lnTo>
                    <a:pt x="264" y="293"/>
                  </a:lnTo>
                  <a:lnTo>
                    <a:pt x="263" y="293"/>
                  </a:lnTo>
                  <a:lnTo>
                    <a:pt x="261" y="290"/>
                  </a:lnTo>
                  <a:lnTo>
                    <a:pt x="261" y="289"/>
                  </a:lnTo>
                  <a:lnTo>
                    <a:pt x="260" y="289"/>
                  </a:lnTo>
                  <a:lnTo>
                    <a:pt x="259" y="288"/>
                  </a:lnTo>
                  <a:lnTo>
                    <a:pt x="258" y="288"/>
                  </a:lnTo>
                  <a:lnTo>
                    <a:pt x="257" y="287"/>
                  </a:lnTo>
                  <a:lnTo>
                    <a:pt x="255" y="287"/>
                  </a:lnTo>
                  <a:lnTo>
                    <a:pt x="252" y="286"/>
                  </a:lnTo>
                  <a:lnTo>
                    <a:pt x="248" y="285"/>
                  </a:lnTo>
                  <a:lnTo>
                    <a:pt x="246" y="284"/>
                  </a:lnTo>
                  <a:lnTo>
                    <a:pt x="243" y="284"/>
                  </a:lnTo>
                  <a:lnTo>
                    <a:pt x="242" y="283"/>
                  </a:lnTo>
                  <a:lnTo>
                    <a:pt x="241" y="283"/>
                  </a:lnTo>
                  <a:lnTo>
                    <a:pt x="240" y="283"/>
                  </a:lnTo>
                  <a:lnTo>
                    <a:pt x="239" y="283"/>
                  </a:lnTo>
                  <a:lnTo>
                    <a:pt x="238" y="284"/>
                  </a:lnTo>
                  <a:lnTo>
                    <a:pt x="236" y="285"/>
                  </a:lnTo>
                  <a:lnTo>
                    <a:pt x="234" y="285"/>
                  </a:lnTo>
                  <a:lnTo>
                    <a:pt x="233" y="286"/>
                  </a:lnTo>
                  <a:lnTo>
                    <a:pt x="232" y="287"/>
                  </a:lnTo>
                  <a:lnTo>
                    <a:pt x="232" y="287"/>
                  </a:lnTo>
                  <a:lnTo>
                    <a:pt x="229" y="290"/>
                  </a:lnTo>
                  <a:lnTo>
                    <a:pt x="228" y="290"/>
                  </a:lnTo>
                  <a:lnTo>
                    <a:pt x="228" y="291"/>
                  </a:lnTo>
                  <a:lnTo>
                    <a:pt x="227" y="291"/>
                  </a:lnTo>
                  <a:lnTo>
                    <a:pt x="226" y="292"/>
                  </a:lnTo>
                  <a:lnTo>
                    <a:pt x="223" y="293"/>
                  </a:lnTo>
                  <a:lnTo>
                    <a:pt x="222" y="294"/>
                  </a:lnTo>
                  <a:lnTo>
                    <a:pt x="221" y="294"/>
                  </a:lnTo>
                  <a:lnTo>
                    <a:pt x="218" y="296"/>
                  </a:lnTo>
                  <a:lnTo>
                    <a:pt x="217" y="297"/>
                  </a:lnTo>
                  <a:lnTo>
                    <a:pt x="216" y="297"/>
                  </a:lnTo>
                  <a:lnTo>
                    <a:pt x="215" y="297"/>
                  </a:lnTo>
                  <a:lnTo>
                    <a:pt x="215" y="297"/>
                  </a:lnTo>
                  <a:lnTo>
                    <a:pt x="214" y="297"/>
                  </a:lnTo>
                  <a:lnTo>
                    <a:pt x="214" y="297"/>
                  </a:lnTo>
                  <a:lnTo>
                    <a:pt x="213" y="297"/>
                  </a:lnTo>
                  <a:lnTo>
                    <a:pt x="212" y="297"/>
                  </a:lnTo>
                  <a:lnTo>
                    <a:pt x="211" y="297"/>
                  </a:lnTo>
                  <a:lnTo>
                    <a:pt x="210" y="297"/>
                  </a:lnTo>
                  <a:lnTo>
                    <a:pt x="210" y="297"/>
                  </a:lnTo>
                  <a:lnTo>
                    <a:pt x="209" y="296"/>
                  </a:lnTo>
                  <a:lnTo>
                    <a:pt x="209" y="296"/>
                  </a:lnTo>
                  <a:lnTo>
                    <a:pt x="208" y="295"/>
                  </a:lnTo>
                  <a:lnTo>
                    <a:pt x="207" y="295"/>
                  </a:lnTo>
                  <a:lnTo>
                    <a:pt x="207" y="294"/>
                  </a:lnTo>
                  <a:lnTo>
                    <a:pt x="206" y="293"/>
                  </a:lnTo>
                  <a:lnTo>
                    <a:pt x="206" y="292"/>
                  </a:lnTo>
                  <a:lnTo>
                    <a:pt x="205" y="289"/>
                  </a:lnTo>
                  <a:lnTo>
                    <a:pt x="204" y="287"/>
                  </a:lnTo>
                  <a:lnTo>
                    <a:pt x="204" y="286"/>
                  </a:lnTo>
                  <a:lnTo>
                    <a:pt x="203" y="284"/>
                  </a:lnTo>
                  <a:lnTo>
                    <a:pt x="202" y="283"/>
                  </a:lnTo>
                  <a:lnTo>
                    <a:pt x="201" y="283"/>
                  </a:lnTo>
                  <a:lnTo>
                    <a:pt x="201" y="282"/>
                  </a:lnTo>
                  <a:lnTo>
                    <a:pt x="200" y="282"/>
                  </a:lnTo>
                  <a:lnTo>
                    <a:pt x="200" y="281"/>
                  </a:lnTo>
                  <a:lnTo>
                    <a:pt x="199" y="280"/>
                  </a:lnTo>
                  <a:lnTo>
                    <a:pt x="199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6" y="281"/>
                  </a:lnTo>
                  <a:lnTo>
                    <a:pt x="194" y="282"/>
                  </a:lnTo>
                  <a:lnTo>
                    <a:pt x="193" y="283"/>
                  </a:lnTo>
                  <a:lnTo>
                    <a:pt x="192" y="284"/>
                  </a:lnTo>
                  <a:lnTo>
                    <a:pt x="191" y="285"/>
                  </a:lnTo>
                  <a:lnTo>
                    <a:pt x="190" y="286"/>
                  </a:lnTo>
                  <a:lnTo>
                    <a:pt x="189" y="286"/>
                  </a:lnTo>
                  <a:lnTo>
                    <a:pt x="189" y="287"/>
                  </a:lnTo>
                  <a:lnTo>
                    <a:pt x="188" y="288"/>
                  </a:lnTo>
                  <a:lnTo>
                    <a:pt x="188" y="288"/>
                  </a:lnTo>
                  <a:lnTo>
                    <a:pt x="187" y="289"/>
                  </a:lnTo>
                  <a:lnTo>
                    <a:pt x="186" y="292"/>
                  </a:lnTo>
                  <a:lnTo>
                    <a:pt x="186" y="293"/>
                  </a:lnTo>
                  <a:lnTo>
                    <a:pt x="185" y="293"/>
                  </a:lnTo>
                  <a:lnTo>
                    <a:pt x="185" y="294"/>
                  </a:lnTo>
                  <a:lnTo>
                    <a:pt x="184" y="295"/>
                  </a:lnTo>
                  <a:lnTo>
                    <a:pt x="184" y="295"/>
                  </a:lnTo>
                  <a:lnTo>
                    <a:pt x="183" y="296"/>
                  </a:lnTo>
                  <a:lnTo>
                    <a:pt x="182" y="297"/>
                  </a:lnTo>
                  <a:lnTo>
                    <a:pt x="181" y="297"/>
                  </a:lnTo>
                  <a:lnTo>
                    <a:pt x="180" y="297"/>
                  </a:lnTo>
                  <a:lnTo>
                    <a:pt x="178" y="298"/>
                  </a:lnTo>
                  <a:lnTo>
                    <a:pt x="176" y="298"/>
                  </a:lnTo>
                  <a:lnTo>
                    <a:pt x="175" y="299"/>
                  </a:lnTo>
                  <a:lnTo>
                    <a:pt x="172" y="300"/>
                  </a:lnTo>
                  <a:lnTo>
                    <a:pt x="171" y="301"/>
                  </a:lnTo>
                  <a:lnTo>
                    <a:pt x="170" y="301"/>
                  </a:lnTo>
                  <a:lnTo>
                    <a:pt x="170" y="301"/>
                  </a:lnTo>
                  <a:lnTo>
                    <a:pt x="168" y="301"/>
                  </a:lnTo>
                  <a:lnTo>
                    <a:pt x="167" y="301"/>
                  </a:lnTo>
                  <a:lnTo>
                    <a:pt x="167" y="301"/>
                  </a:lnTo>
                  <a:lnTo>
                    <a:pt x="165" y="300"/>
                  </a:lnTo>
                  <a:lnTo>
                    <a:pt x="163" y="299"/>
                  </a:lnTo>
                  <a:lnTo>
                    <a:pt x="161" y="299"/>
                  </a:lnTo>
                  <a:lnTo>
                    <a:pt x="161" y="298"/>
                  </a:lnTo>
                  <a:lnTo>
                    <a:pt x="160" y="298"/>
                  </a:lnTo>
                  <a:lnTo>
                    <a:pt x="159" y="298"/>
                  </a:lnTo>
                  <a:lnTo>
                    <a:pt x="158" y="298"/>
                  </a:lnTo>
                  <a:lnTo>
                    <a:pt x="156" y="298"/>
                  </a:lnTo>
                  <a:lnTo>
                    <a:pt x="155" y="298"/>
                  </a:lnTo>
                  <a:lnTo>
                    <a:pt x="153" y="298"/>
                  </a:lnTo>
                  <a:lnTo>
                    <a:pt x="152" y="298"/>
                  </a:lnTo>
                  <a:lnTo>
                    <a:pt x="151" y="298"/>
                  </a:lnTo>
                  <a:lnTo>
                    <a:pt x="148" y="298"/>
                  </a:lnTo>
                  <a:lnTo>
                    <a:pt x="147" y="298"/>
                  </a:lnTo>
                  <a:lnTo>
                    <a:pt x="146" y="298"/>
                  </a:lnTo>
                  <a:lnTo>
                    <a:pt x="144" y="298"/>
                  </a:lnTo>
                  <a:lnTo>
                    <a:pt x="144" y="298"/>
                  </a:lnTo>
                  <a:lnTo>
                    <a:pt x="143" y="298"/>
                  </a:lnTo>
                  <a:lnTo>
                    <a:pt x="142" y="297"/>
                  </a:lnTo>
                  <a:lnTo>
                    <a:pt x="141" y="297"/>
                  </a:lnTo>
                  <a:lnTo>
                    <a:pt x="140" y="297"/>
                  </a:lnTo>
                  <a:lnTo>
                    <a:pt x="139" y="295"/>
                  </a:lnTo>
                  <a:lnTo>
                    <a:pt x="138" y="295"/>
                  </a:lnTo>
                  <a:lnTo>
                    <a:pt x="138" y="295"/>
                  </a:lnTo>
                  <a:lnTo>
                    <a:pt x="137" y="294"/>
                  </a:lnTo>
                  <a:lnTo>
                    <a:pt x="137" y="294"/>
                  </a:lnTo>
                  <a:lnTo>
                    <a:pt x="136" y="294"/>
                  </a:lnTo>
                  <a:lnTo>
                    <a:pt x="136" y="294"/>
                  </a:lnTo>
                  <a:lnTo>
                    <a:pt x="136" y="294"/>
                  </a:lnTo>
                  <a:lnTo>
                    <a:pt x="135" y="294"/>
                  </a:lnTo>
                  <a:lnTo>
                    <a:pt x="132" y="296"/>
                  </a:lnTo>
                  <a:lnTo>
                    <a:pt x="131" y="297"/>
                  </a:lnTo>
                  <a:lnTo>
                    <a:pt x="130" y="297"/>
                  </a:lnTo>
                  <a:lnTo>
                    <a:pt x="128" y="297"/>
                  </a:lnTo>
                  <a:lnTo>
                    <a:pt x="127" y="297"/>
                  </a:lnTo>
                  <a:lnTo>
                    <a:pt x="126" y="298"/>
                  </a:lnTo>
                  <a:lnTo>
                    <a:pt x="125" y="298"/>
                  </a:lnTo>
                  <a:lnTo>
                    <a:pt x="125" y="299"/>
                  </a:lnTo>
                  <a:lnTo>
                    <a:pt x="124" y="299"/>
                  </a:lnTo>
                  <a:lnTo>
                    <a:pt x="123" y="300"/>
                  </a:lnTo>
                  <a:lnTo>
                    <a:pt x="123" y="301"/>
                  </a:lnTo>
                  <a:lnTo>
                    <a:pt x="122" y="301"/>
                  </a:lnTo>
                  <a:lnTo>
                    <a:pt x="122" y="302"/>
                  </a:lnTo>
                  <a:lnTo>
                    <a:pt x="121" y="304"/>
                  </a:lnTo>
                  <a:lnTo>
                    <a:pt x="121" y="304"/>
                  </a:lnTo>
                  <a:lnTo>
                    <a:pt x="120" y="305"/>
                  </a:lnTo>
                  <a:lnTo>
                    <a:pt x="120" y="306"/>
                  </a:lnTo>
                  <a:lnTo>
                    <a:pt x="118" y="307"/>
                  </a:lnTo>
                  <a:lnTo>
                    <a:pt x="117" y="308"/>
                  </a:lnTo>
                  <a:lnTo>
                    <a:pt x="116" y="308"/>
                  </a:lnTo>
                  <a:lnTo>
                    <a:pt x="115" y="309"/>
                  </a:lnTo>
                  <a:lnTo>
                    <a:pt x="114" y="309"/>
                  </a:lnTo>
                  <a:lnTo>
                    <a:pt x="112" y="311"/>
                  </a:lnTo>
                  <a:lnTo>
                    <a:pt x="111" y="311"/>
                  </a:lnTo>
                  <a:lnTo>
                    <a:pt x="110" y="312"/>
                  </a:lnTo>
                  <a:lnTo>
                    <a:pt x="109" y="312"/>
                  </a:lnTo>
                  <a:lnTo>
                    <a:pt x="108" y="313"/>
                  </a:lnTo>
                  <a:lnTo>
                    <a:pt x="107" y="313"/>
                  </a:lnTo>
                  <a:lnTo>
                    <a:pt x="106" y="313"/>
                  </a:lnTo>
                  <a:lnTo>
                    <a:pt x="105" y="313"/>
                  </a:lnTo>
                  <a:lnTo>
                    <a:pt x="104" y="314"/>
                  </a:lnTo>
                  <a:lnTo>
                    <a:pt x="103" y="314"/>
                  </a:lnTo>
                  <a:lnTo>
                    <a:pt x="102" y="314"/>
                  </a:lnTo>
                  <a:lnTo>
                    <a:pt x="102" y="314"/>
                  </a:lnTo>
                  <a:lnTo>
                    <a:pt x="101" y="313"/>
                  </a:lnTo>
                  <a:lnTo>
                    <a:pt x="100" y="313"/>
                  </a:lnTo>
                  <a:lnTo>
                    <a:pt x="99" y="313"/>
                  </a:lnTo>
                  <a:lnTo>
                    <a:pt x="98" y="312"/>
                  </a:lnTo>
                  <a:lnTo>
                    <a:pt x="98" y="312"/>
                  </a:lnTo>
                  <a:lnTo>
                    <a:pt x="97" y="312"/>
                  </a:lnTo>
                  <a:lnTo>
                    <a:pt x="97" y="311"/>
                  </a:lnTo>
                  <a:lnTo>
                    <a:pt x="97" y="311"/>
                  </a:lnTo>
                  <a:lnTo>
                    <a:pt x="97" y="311"/>
                  </a:lnTo>
                  <a:lnTo>
                    <a:pt x="97" y="310"/>
                  </a:lnTo>
                  <a:lnTo>
                    <a:pt x="97" y="309"/>
                  </a:lnTo>
                  <a:lnTo>
                    <a:pt x="97" y="307"/>
                  </a:lnTo>
                  <a:lnTo>
                    <a:pt x="97" y="307"/>
                  </a:lnTo>
                  <a:lnTo>
                    <a:pt x="97" y="306"/>
                  </a:lnTo>
                  <a:lnTo>
                    <a:pt x="97" y="305"/>
                  </a:lnTo>
                  <a:lnTo>
                    <a:pt x="97" y="305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6" y="303"/>
                  </a:lnTo>
                  <a:lnTo>
                    <a:pt x="96" y="303"/>
                  </a:lnTo>
                  <a:lnTo>
                    <a:pt x="96" y="302"/>
                  </a:lnTo>
                  <a:lnTo>
                    <a:pt x="94" y="302"/>
                  </a:lnTo>
                  <a:lnTo>
                    <a:pt x="93" y="301"/>
                  </a:lnTo>
                  <a:lnTo>
                    <a:pt x="91" y="299"/>
                  </a:lnTo>
                  <a:lnTo>
                    <a:pt x="90" y="299"/>
                  </a:lnTo>
                  <a:lnTo>
                    <a:pt x="89" y="298"/>
                  </a:lnTo>
                  <a:lnTo>
                    <a:pt x="88" y="298"/>
                  </a:lnTo>
                  <a:lnTo>
                    <a:pt x="87" y="298"/>
                  </a:lnTo>
                  <a:lnTo>
                    <a:pt x="85" y="297"/>
                  </a:lnTo>
                  <a:lnTo>
                    <a:pt x="84" y="297"/>
                  </a:lnTo>
                  <a:lnTo>
                    <a:pt x="83" y="297"/>
                  </a:lnTo>
                  <a:lnTo>
                    <a:pt x="79" y="296"/>
                  </a:lnTo>
                  <a:lnTo>
                    <a:pt x="76" y="295"/>
                  </a:lnTo>
                  <a:lnTo>
                    <a:pt x="75" y="294"/>
                  </a:lnTo>
                  <a:lnTo>
                    <a:pt x="74" y="294"/>
                  </a:lnTo>
                  <a:lnTo>
                    <a:pt x="74" y="294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5" y="290"/>
                  </a:lnTo>
                  <a:lnTo>
                    <a:pt x="75" y="290"/>
                  </a:lnTo>
                  <a:lnTo>
                    <a:pt x="75" y="289"/>
                  </a:lnTo>
                  <a:lnTo>
                    <a:pt x="75" y="288"/>
                  </a:lnTo>
                  <a:lnTo>
                    <a:pt x="74" y="287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5" y="285"/>
                  </a:lnTo>
                  <a:lnTo>
                    <a:pt x="75" y="284"/>
                  </a:lnTo>
                  <a:lnTo>
                    <a:pt x="76" y="283"/>
                  </a:lnTo>
                  <a:lnTo>
                    <a:pt x="77" y="282"/>
                  </a:lnTo>
                  <a:lnTo>
                    <a:pt x="78" y="280"/>
                  </a:lnTo>
                  <a:lnTo>
                    <a:pt x="79" y="279"/>
                  </a:lnTo>
                  <a:lnTo>
                    <a:pt x="80" y="278"/>
                  </a:lnTo>
                  <a:lnTo>
                    <a:pt x="81" y="276"/>
                  </a:lnTo>
                  <a:lnTo>
                    <a:pt x="82" y="275"/>
                  </a:lnTo>
                  <a:lnTo>
                    <a:pt x="82" y="274"/>
                  </a:lnTo>
                  <a:lnTo>
                    <a:pt x="83" y="272"/>
                  </a:lnTo>
                  <a:lnTo>
                    <a:pt x="83" y="271"/>
                  </a:lnTo>
                  <a:lnTo>
                    <a:pt x="84" y="270"/>
                  </a:lnTo>
                  <a:lnTo>
                    <a:pt x="84" y="269"/>
                  </a:lnTo>
                  <a:lnTo>
                    <a:pt x="84" y="268"/>
                  </a:lnTo>
                  <a:lnTo>
                    <a:pt x="84" y="268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3" y="265"/>
                  </a:lnTo>
                  <a:lnTo>
                    <a:pt x="83" y="264"/>
                  </a:lnTo>
                  <a:lnTo>
                    <a:pt x="82" y="262"/>
                  </a:lnTo>
                  <a:lnTo>
                    <a:pt x="82" y="261"/>
                  </a:lnTo>
                  <a:lnTo>
                    <a:pt x="80" y="259"/>
                  </a:lnTo>
                  <a:lnTo>
                    <a:pt x="79" y="258"/>
                  </a:lnTo>
                  <a:lnTo>
                    <a:pt x="78" y="256"/>
                  </a:lnTo>
                  <a:lnTo>
                    <a:pt x="78" y="255"/>
                  </a:lnTo>
                  <a:lnTo>
                    <a:pt x="78" y="255"/>
                  </a:lnTo>
                  <a:lnTo>
                    <a:pt x="78" y="254"/>
                  </a:lnTo>
                  <a:lnTo>
                    <a:pt x="78" y="252"/>
                  </a:lnTo>
                  <a:lnTo>
                    <a:pt x="78" y="250"/>
                  </a:lnTo>
                  <a:lnTo>
                    <a:pt x="78" y="249"/>
                  </a:lnTo>
                  <a:lnTo>
                    <a:pt x="78" y="248"/>
                  </a:lnTo>
                  <a:lnTo>
                    <a:pt x="78" y="247"/>
                  </a:lnTo>
                  <a:lnTo>
                    <a:pt x="78" y="244"/>
                  </a:lnTo>
                  <a:lnTo>
                    <a:pt x="79" y="243"/>
                  </a:lnTo>
                  <a:lnTo>
                    <a:pt x="79" y="241"/>
                  </a:lnTo>
                  <a:lnTo>
                    <a:pt x="78" y="238"/>
                  </a:lnTo>
                  <a:lnTo>
                    <a:pt x="78" y="236"/>
                  </a:lnTo>
                  <a:lnTo>
                    <a:pt x="78" y="234"/>
                  </a:lnTo>
                  <a:lnTo>
                    <a:pt x="78" y="234"/>
                  </a:lnTo>
                  <a:lnTo>
                    <a:pt x="78" y="232"/>
                  </a:lnTo>
                  <a:lnTo>
                    <a:pt x="77" y="231"/>
                  </a:lnTo>
                  <a:lnTo>
                    <a:pt x="77" y="231"/>
                  </a:lnTo>
                  <a:lnTo>
                    <a:pt x="77" y="230"/>
                  </a:lnTo>
                  <a:lnTo>
                    <a:pt x="76" y="229"/>
                  </a:lnTo>
                  <a:lnTo>
                    <a:pt x="75" y="229"/>
                  </a:lnTo>
                  <a:lnTo>
                    <a:pt x="75" y="228"/>
                  </a:lnTo>
                  <a:lnTo>
                    <a:pt x="73" y="227"/>
                  </a:lnTo>
                  <a:lnTo>
                    <a:pt x="72" y="226"/>
                  </a:lnTo>
                  <a:lnTo>
                    <a:pt x="72" y="225"/>
                  </a:lnTo>
                  <a:lnTo>
                    <a:pt x="71" y="225"/>
                  </a:lnTo>
                  <a:lnTo>
                    <a:pt x="70" y="225"/>
                  </a:lnTo>
                  <a:lnTo>
                    <a:pt x="70" y="225"/>
                  </a:lnTo>
                  <a:lnTo>
                    <a:pt x="69" y="225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66" y="226"/>
                  </a:lnTo>
                  <a:lnTo>
                    <a:pt x="65" y="226"/>
                  </a:lnTo>
                  <a:lnTo>
                    <a:pt x="63" y="227"/>
                  </a:lnTo>
                  <a:lnTo>
                    <a:pt x="59" y="228"/>
                  </a:lnTo>
                  <a:lnTo>
                    <a:pt x="58" y="229"/>
                  </a:lnTo>
                  <a:lnTo>
                    <a:pt x="57" y="229"/>
                  </a:lnTo>
                  <a:lnTo>
                    <a:pt x="56" y="229"/>
                  </a:lnTo>
                  <a:lnTo>
                    <a:pt x="55" y="229"/>
                  </a:lnTo>
                  <a:lnTo>
                    <a:pt x="52" y="228"/>
                  </a:lnTo>
                  <a:lnTo>
                    <a:pt x="49" y="228"/>
                  </a:lnTo>
                  <a:lnTo>
                    <a:pt x="45" y="227"/>
                  </a:lnTo>
                  <a:lnTo>
                    <a:pt x="44" y="227"/>
                  </a:lnTo>
                  <a:lnTo>
                    <a:pt x="43" y="227"/>
                  </a:lnTo>
                  <a:lnTo>
                    <a:pt x="39" y="228"/>
                  </a:lnTo>
                  <a:lnTo>
                    <a:pt x="38" y="228"/>
                  </a:lnTo>
                  <a:lnTo>
                    <a:pt x="37" y="228"/>
                  </a:lnTo>
                  <a:lnTo>
                    <a:pt x="36" y="228"/>
                  </a:lnTo>
                  <a:lnTo>
                    <a:pt x="36" y="228"/>
                  </a:lnTo>
                  <a:lnTo>
                    <a:pt x="35" y="227"/>
                  </a:lnTo>
                  <a:lnTo>
                    <a:pt x="34" y="227"/>
                  </a:lnTo>
                  <a:lnTo>
                    <a:pt x="33" y="227"/>
                  </a:lnTo>
                  <a:lnTo>
                    <a:pt x="33" y="226"/>
                  </a:lnTo>
                  <a:lnTo>
                    <a:pt x="32" y="226"/>
                  </a:lnTo>
                  <a:lnTo>
                    <a:pt x="31" y="225"/>
                  </a:lnTo>
                  <a:lnTo>
                    <a:pt x="31" y="225"/>
                  </a:lnTo>
                  <a:lnTo>
                    <a:pt x="30" y="224"/>
                  </a:lnTo>
                  <a:lnTo>
                    <a:pt x="30" y="224"/>
                  </a:lnTo>
                  <a:lnTo>
                    <a:pt x="30" y="223"/>
                  </a:lnTo>
                  <a:lnTo>
                    <a:pt x="29" y="222"/>
                  </a:lnTo>
                  <a:lnTo>
                    <a:pt x="29" y="221"/>
                  </a:lnTo>
                  <a:lnTo>
                    <a:pt x="29" y="220"/>
                  </a:lnTo>
                  <a:lnTo>
                    <a:pt x="29" y="220"/>
                  </a:lnTo>
                  <a:lnTo>
                    <a:pt x="29" y="218"/>
                  </a:lnTo>
                  <a:lnTo>
                    <a:pt x="29" y="216"/>
                  </a:lnTo>
                  <a:lnTo>
                    <a:pt x="29" y="215"/>
                  </a:lnTo>
                  <a:lnTo>
                    <a:pt x="28" y="215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27" y="213"/>
                  </a:lnTo>
                  <a:lnTo>
                    <a:pt x="25" y="211"/>
                  </a:lnTo>
                  <a:lnTo>
                    <a:pt x="24" y="210"/>
                  </a:lnTo>
                  <a:lnTo>
                    <a:pt x="23" y="209"/>
                  </a:lnTo>
                  <a:lnTo>
                    <a:pt x="22" y="208"/>
                  </a:lnTo>
                  <a:lnTo>
                    <a:pt x="22" y="208"/>
                  </a:lnTo>
                  <a:lnTo>
                    <a:pt x="21" y="206"/>
                  </a:lnTo>
                  <a:lnTo>
                    <a:pt x="20" y="206"/>
                  </a:lnTo>
                  <a:lnTo>
                    <a:pt x="20" y="205"/>
                  </a:lnTo>
                  <a:lnTo>
                    <a:pt x="19" y="205"/>
                  </a:lnTo>
                  <a:lnTo>
                    <a:pt x="18" y="204"/>
                  </a:lnTo>
                  <a:lnTo>
                    <a:pt x="16" y="204"/>
                  </a:lnTo>
                  <a:lnTo>
                    <a:pt x="16" y="204"/>
                  </a:lnTo>
                  <a:lnTo>
                    <a:pt x="15" y="203"/>
                  </a:lnTo>
                  <a:lnTo>
                    <a:pt x="12" y="203"/>
                  </a:lnTo>
                  <a:lnTo>
                    <a:pt x="11" y="203"/>
                  </a:lnTo>
                  <a:lnTo>
                    <a:pt x="10" y="203"/>
                  </a:lnTo>
                  <a:lnTo>
                    <a:pt x="10" y="203"/>
                  </a:lnTo>
                  <a:lnTo>
                    <a:pt x="9" y="202"/>
                  </a:lnTo>
                  <a:lnTo>
                    <a:pt x="9" y="202"/>
                  </a:lnTo>
                  <a:lnTo>
                    <a:pt x="8" y="202"/>
                  </a:lnTo>
                  <a:lnTo>
                    <a:pt x="7" y="201"/>
                  </a:lnTo>
                  <a:lnTo>
                    <a:pt x="6" y="201"/>
                  </a:lnTo>
                  <a:lnTo>
                    <a:pt x="6" y="200"/>
                  </a:lnTo>
                  <a:lnTo>
                    <a:pt x="5" y="200"/>
                  </a:lnTo>
                  <a:lnTo>
                    <a:pt x="5" y="199"/>
                  </a:lnTo>
                  <a:lnTo>
                    <a:pt x="4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3" y="195"/>
                  </a:lnTo>
                  <a:lnTo>
                    <a:pt x="3" y="194"/>
                  </a:lnTo>
                  <a:lnTo>
                    <a:pt x="2" y="193"/>
                  </a:lnTo>
                  <a:lnTo>
                    <a:pt x="1" y="191"/>
                  </a:lnTo>
                  <a:lnTo>
                    <a:pt x="1" y="190"/>
                  </a:lnTo>
                  <a:lnTo>
                    <a:pt x="1" y="190"/>
                  </a:lnTo>
                  <a:lnTo>
                    <a:pt x="0" y="189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0" y="187"/>
                  </a:lnTo>
                  <a:lnTo>
                    <a:pt x="1" y="186"/>
                  </a:lnTo>
                  <a:lnTo>
                    <a:pt x="1" y="186"/>
                  </a:lnTo>
                  <a:lnTo>
                    <a:pt x="1" y="185"/>
                  </a:lnTo>
                  <a:lnTo>
                    <a:pt x="2" y="184"/>
                  </a:lnTo>
                  <a:lnTo>
                    <a:pt x="2" y="184"/>
                  </a:lnTo>
                  <a:lnTo>
                    <a:pt x="3" y="184"/>
                  </a:lnTo>
                  <a:lnTo>
                    <a:pt x="5" y="182"/>
                  </a:lnTo>
                  <a:lnTo>
                    <a:pt x="6" y="182"/>
                  </a:lnTo>
                  <a:lnTo>
                    <a:pt x="6" y="181"/>
                  </a:lnTo>
                  <a:lnTo>
                    <a:pt x="7" y="181"/>
                  </a:lnTo>
                  <a:lnTo>
                    <a:pt x="7" y="181"/>
                  </a:lnTo>
                  <a:lnTo>
                    <a:pt x="7" y="180"/>
                  </a:lnTo>
                  <a:lnTo>
                    <a:pt x="8" y="177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2" y="171"/>
                  </a:lnTo>
                  <a:lnTo>
                    <a:pt x="12" y="170"/>
                  </a:lnTo>
                  <a:lnTo>
                    <a:pt x="13" y="169"/>
                  </a:lnTo>
                  <a:lnTo>
                    <a:pt x="13" y="167"/>
                  </a:lnTo>
                  <a:lnTo>
                    <a:pt x="13" y="166"/>
                  </a:lnTo>
                  <a:lnTo>
                    <a:pt x="13" y="165"/>
                  </a:lnTo>
                  <a:lnTo>
                    <a:pt x="12" y="163"/>
                  </a:lnTo>
                  <a:lnTo>
                    <a:pt x="11" y="160"/>
                  </a:lnTo>
                  <a:lnTo>
                    <a:pt x="11" y="159"/>
                  </a:lnTo>
                  <a:lnTo>
                    <a:pt x="10" y="158"/>
                  </a:lnTo>
                  <a:lnTo>
                    <a:pt x="10" y="157"/>
                  </a:lnTo>
                  <a:lnTo>
                    <a:pt x="9" y="156"/>
                  </a:lnTo>
                  <a:lnTo>
                    <a:pt x="8" y="154"/>
                  </a:lnTo>
                  <a:lnTo>
                    <a:pt x="8" y="154"/>
                  </a:lnTo>
                  <a:lnTo>
                    <a:pt x="8" y="153"/>
                  </a:lnTo>
                  <a:lnTo>
                    <a:pt x="7" y="152"/>
                  </a:lnTo>
                  <a:lnTo>
                    <a:pt x="7" y="151"/>
                  </a:lnTo>
                  <a:lnTo>
                    <a:pt x="7" y="150"/>
                  </a:lnTo>
                  <a:lnTo>
                    <a:pt x="7" y="145"/>
                  </a:lnTo>
                  <a:lnTo>
                    <a:pt x="7" y="143"/>
                  </a:lnTo>
                  <a:lnTo>
                    <a:pt x="7" y="142"/>
                  </a:lnTo>
                  <a:lnTo>
                    <a:pt x="7" y="142"/>
                  </a:lnTo>
                  <a:lnTo>
                    <a:pt x="7" y="141"/>
                  </a:lnTo>
                  <a:lnTo>
                    <a:pt x="6" y="139"/>
                  </a:lnTo>
                  <a:lnTo>
                    <a:pt x="5" y="137"/>
                  </a:lnTo>
                  <a:lnTo>
                    <a:pt x="5" y="136"/>
                  </a:lnTo>
                  <a:lnTo>
                    <a:pt x="4" y="134"/>
                  </a:lnTo>
                  <a:lnTo>
                    <a:pt x="3" y="132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4" y="126"/>
                  </a:lnTo>
                  <a:lnTo>
                    <a:pt x="5" y="125"/>
                  </a:lnTo>
                  <a:lnTo>
                    <a:pt x="6" y="124"/>
                  </a:lnTo>
                  <a:lnTo>
                    <a:pt x="8" y="122"/>
                  </a:lnTo>
                  <a:lnTo>
                    <a:pt x="9" y="121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0" y="121"/>
                  </a:lnTo>
                  <a:lnTo>
                    <a:pt x="11" y="122"/>
                  </a:lnTo>
                  <a:lnTo>
                    <a:pt x="13" y="122"/>
                  </a:lnTo>
                  <a:lnTo>
                    <a:pt x="15" y="124"/>
                  </a:lnTo>
                  <a:lnTo>
                    <a:pt x="17" y="125"/>
                  </a:lnTo>
                  <a:lnTo>
                    <a:pt x="21" y="127"/>
                  </a:lnTo>
                  <a:lnTo>
                    <a:pt x="22" y="128"/>
                  </a:lnTo>
                  <a:lnTo>
                    <a:pt x="24" y="128"/>
                  </a:lnTo>
                  <a:lnTo>
                    <a:pt x="25" y="129"/>
                  </a:lnTo>
                  <a:lnTo>
                    <a:pt x="27" y="130"/>
                  </a:lnTo>
                  <a:lnTo>
                    <a:pt x="28" y="130"/>
                  </a:lnTo>
                  <a:lnTo>
                    <a:pt x="30" y="131"/>
                  </a:lnTo>
                  <a:lnTo>
                    <a:pt x="30" y="131"/>
                  </a:lnTo>
                  <a:lnTo>
                    <a:pt x="31" y="131"/>
                  </a:lnTo>
                  <a:lnTo>
                    <a:pt x="32" y="131"/>
                  </a:lnTo>
                  <a:lnTo>
                    <a:pt x="33" y="131"/>
                  </a:lnTo>
                  <a:lnTo>
                    <a:pt x="34" y="131"/>
                  </a:lnTo>
                  <a:lnTo>
                    <a:pt x="34" y="131"/>
                  </a:lnTo>
                  <a:lnTo>
                    <a:pt x="35" y="131"/>
                  </a:lnTo>
                  <a:lnTo>
                    <a:pt x="36" y="130"/>
                  </a:lnTo>
                  <a:lnTo>
                    <a:pt x="36" y="130"/>
                  </a:lnTo>
                  <a:lnTo>
                    <a:pt x="37" y="129"/>
                  </a:lnTo>
                  <a:lnTo>
                    <a:pt x="38" y="128"/>
                  </a:lnTo>
                  <a:lnTo>
                    <a:pt x="40" y="125"/>
                  </a:lnTo>
                  <a:lnTo>
                    <a:pt x="42" y="123"/>
                  </a:lnTo>
                  <a:lnTo>
                    <a:pt x="43" y="122"/>
                  </a:lnTo>
                  <a:lnTo>
                    <a:pt x="44" y="122"/>
                  </a:lnTo>
                  <a:lnTo>
                    <a:pt x="44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6" y="120"/>
                  </a:lnTo>
                  <a:lnTo>
                    <a:pt x="46" y="120"/>
                  </a:lnTo>
                  <a:lnTo>
                    <a:pt x="47" y="120"/>
                  </a:lnTo>
                  <a:lnTo>
                    <a:pt x="48" y="120"/>
                  </a:lnTo>
                  <a:lnTo>
                    <a:pt x="49" y="120"/>
                  </a:lnTo>
                  <a:lnTo>
                    <a:pt x="50" y="120"/>
                  </a:lnTo>
                  <a:lnTo>
                    <a:pt x="51" y="120"/>
                  </a:lnTo>
                  <a:lnTo>
                    <a:pt x="52" y="121"/>
                  </a:lnTo>
                  <a:lnTo>
                    <a:pt x="53" y="121"/>
                  </a:lnTo>
                  <a:lnTo>
                    <a:pt x="54" y="122"/>
                  </a:lnTo>
                  <a:lnTo>
                    <a:pt x="56" y="123"/>
                  </a:lnTo>
                  <a:lnTo>
                    <a:pt x="58" y="123"/>
                  </a:lnTo>
                  <a:lnTo>
                    <a:pt x="59" y="124"/>
                  </a:lnTo>
                  <a:lnTo>
                    <a:pt x="61" y="124"/>
                  </a:lnTo>
                  <a:lnTo>
                    <a:pt x="62" y="124"/>
                  </a:lnTo>
                  <a:lnTo>
                    <a:pt x="63" y="125"/>
                  </a:lnTo>
                  <a:lnTo>
                    <a:pt x="64" y="125"/>
                  </a:lnTo>
                  <a:lnTo>
                    <a:pt x="65" y="125"/>
                  </a:lnTo>
                  <a:lnTo>
                    <a:pt x="66" y="126"/>
                  </a:lnTo>
                  <a:lnTo>
                    <a:pt x="68" y="127"/>
                  </a:lnTo>
                  <a:lnTo>
                    <a:pt x="69" y="128"/>
                  </a:lnTo>
                  <a:lnTo>
                    <a:pt x="71" y="129"/>
                  </a:lnTo>
                  <a:lnTo>
                    <a:pt x="73" y="129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5" y="130"/>
                  </a:lnTo>
                  <a:lnTo>
                    <a:pt x="77" y="129"/>
                  </a:lnTo>
                  <a:lnTo>
                    <a:pt x="78" y="129"/>
                  </a:lnTo>
                  <a:lnTo>
                    <a:pt x="78" y="130"/>
                  </a:lnTo>
                  <a:lnTo>
                    <a:pt x="78" y="130"/>
                  </a:lnTo>
                  <a:lnTo>
                    <a:pt x="79" y="130"/>
                  </a:lnTo>
                  <a:lnTo>
                    <a:pt x="79" y="131"/>
                  </a:lnTo>
                  <a:lnTo>
                    <a:pt x="79" y="131"/>
                  </a:lnTo>
                  <a:lnTo>
                    <a:pt x="80" y="132"/>
                  </a:lnTo>
                  <a:lnTo>
                    <a:pt x="80" y="133"/>
                  </a:lnTo>
                  <a:lnTo>
                    <a:pt x="80" y="134"/>
                  </a:lnTo>
                  <a:lnTo>
                    <a:pt x="81" y="135"/>
                  </a:lnTo>
                  <a:lnTo>
                    <a:pt x="81" y="135"/>
                  </a:lnTo>
                  <a:lnTo>
                    <a:pt x="81" y="136"/>
                  </a:lnTo>
                  <a:lnTo>
                    <a:pt x="82" y="137"/>
                  </a:lnTo>
                  <a:lnTo>
                    <a:pt x="83" y="137"/>
                  </a:lnTo>
                  <a:lnTo>
                    <a:pt x="83" y="137"/>
                  </a:lnTo>
                  <a:lnTo>
                    <a:pt x="83" y="138"/>
                  </a:lnTo>
                  <a:lnTo>
                    <a:pt x="84" y="138"/>
                  </a:lnTo>
                  <a:lnTo>
                    <a:pt x="85" y="138"/>
                  </a:lnTo>
                  <a:lnTo>
                    <a:pt x="85" y="138"/>
                  </a:lnTo>
                  <a:lnTo>
                    <a:pt x="86" y="138"/>
                  </a:lnTo>
                  <a:lnTo>
                    <a:pt x="87" y="138"/>
                  </a:lnTo>
                  <a:lnTo>
                    <a:pt x="88" y="138"/>
                  </a:lnTo>
                  <a:lnTo>
                    <a:pt x="89" y="138"/>
                  </a:lnTo>
                  <a:lnTo>
                    <a:pt x="90" y="138"/>
                  </a:lnTo>
                  <a:lnTo>
                    <a:pt x="91" y="137"/>
                  </a:lnTo>
                  <a:lnTo>
                    <a:pt x="92" y="137"/>
                  </a:lnTo>
                  <a:lnTo>
                    <a:pt x="93" y="136"/>
                  </a:lnTo>
                  <a:lnTo>
                    <a:pt x="93" y="136"/>
                  </a:lnTo>
                  <a:lnTo>
                    <a:pt x="96" y="135"/>
                  </a:lnTo>
                  <a:lnTo>
                    <a:pt x="96" y="134"/>
                  </a:lnTo>
                  <a:lnTo>
                    <a:pt x="96" y="134"/>
                  </a:lnTo>
                  <a:lnTo>
                    <a:pt x="97" y="133"/>
                  </a:lnTo>
                  <a:lnTo>
                    <a:pt x="97" y="132"/>
                  </a:lnTo>
                  <a:lnTo>
                    <a:pt x="98" y="131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98" y="129"/>
                  </a:lnTo>
                  <a:lnTo>
                    <a:pt x="97" y="126"/>
                  </a:lnTo>
                  <a:lnTo>
                    <a:pt x="97" y="125"/>
                  </a:lnTo>
                  <a:lnTo>
                    <a:pt x="97" y="124"/>
                  </a:lnTo>
                  <a:lnTo>
                    <a:pt x="97" y="123"/>
                  </a:lnTo>
                  <a:lnTo>
                    <a:pt x="97" y="122"/>
                  </a:lnTo>
                  <a:lnTo>
                    <a:pt x="97" y="122"/>
                  </a:lnTo>
                  <a:lnTo>
                    <a:pt x="98" y="121"/>
                  </a:lnTo>
                  <a:lnTo>
                    <a:pt x="98" y="120"/>
                  </a:lnTo>
                  <a:lnTo>
                    <a:pt x="99" y="119"/>
                  </a:lnTo>
                  <a:lnTo>
                    <a:pt x="100" y="119"/>
                  </a:lnTo>
                  <a:lnTo>
                    <a:pt x="102" y="117"/>
                  </a:lnTo>
                  <a:lnTo>
                    <a:pt x="104" y="115"/>
                  </a:lnTo>
                  <a:lnTo>
                    <a:pt x="106" y="113"/>
                  </a:lnTo>
                  <a:lnTo>
                    <a:pt x="107" y="113"/>
                  </a:lnTo>
                  <a:lnTo>
                    <a:pt x="107" y="112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10" y="111"/>
                  </a:lnTo>
                  <a:lnTo>
                    <a:pt x="111" y="111"/>
                  </a:lnTo>
                  <a:lnTo>
                    <a:pt x="112" y="112"/>
                  </a:lnTo>
                  <a:lnTo>
                    <a:pt x="112" y="112"/>
                  </a:lnTo>
                  <a:lnTo>
                    <a:pt x="112" y="113"/>
                  </a:lnTo>
                  <a:lnTo>
                    <a:pt x="114" y="115"/>
                  </a:lnTo>
                  <a:lnTo>
                    <a:pt x="115" y="117"/>
                  </a:lnTo>
                  <a:lnTo>
                    <a:pt x="116" y="118"/>
                  </a:lnTo>
                  <a:lnTo>
                    <a:pt x="117" y="118"/>
                  </a:lnTo>
                  <a:lnTo>
                    <a:pt x="118" y="119"/>
                  </a:lnTo>
                  <a:lnTo>
                    <a:pt x="118" y="120"/>
                  </a:lnTo>
                  <a:lnTo>
                    <a:pt x="120" y="120"/>
                  </a:lnTo>
                  <a:lnTo>
                    <a:pt x="121" y="121"/>
                  </a:lnTo>
                  <a:lnTo>
                    <a:pt x="122" y="121"/>
                  </a:lnTo>
                  <a:lnTo>
                    <a:pt x="123" y="122"/>
                  </a:lnTo>
                  <a:lnTo>
                    <a:pt x="124" y="122"/>
                  </a:lnTo>
                  <a:lnTo>
                    <a:pt x="125" y="122"/>
                  </a:lnTo>
                  <a:lnTo>
                    <a:pt x="125" y="122"/>
                  </a:lnTo>
                  <a:lnTo>
                    <a:pt x="126" y="122"/>
                  </a:lnTo>
                  <a:lnTo>
                    <a:pt x="127" y="121"/>
                  </a:lnTo>
                  <a:lnTo>
                    <a:pt x="130" y="121"/>
                  </a:lnTo>
                  <a:lnTo>
                    <a:pt x="131" y="120"/>
                  </a:lnTo>
                  <a:lnTo>
                    <a:pt x="132" y="120"/>
                  </a:lnTo>
                  <a:lnTo>
                    <a:pt x="133" y="120"/>
                  </a:lnTo>
                  <a:lnTo>
                    <a:pt x="134" y="120"/>
                  </a:lnTo>
                  <a:lnTo>
                    <a:pt x="136" y="120"/>
                  </a:lnTo>
                  <a:lnTo>
                    <a:pt x="137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40" y="121"/>
                  </a:lnTo>
                  <a:lnTo>
                    <a:pt x="140" y="121"/>
                  </a:lnTo>
                  <a:lnTo>
                    <a:pt x="142" y="121"/>
                  </a:lnTo>
                  <a:lnTo>
                    <a:pt x="143" y="121"/>
                  </a:lnTo>
                  <a:lnTo>
                    <a:pt x="144" y="121"/>
                  </a:lnTo>
                  <a:lnTo>
                    <a:pt x="146" y="120"/>
                  </a:lnTo>
                  <a:lnTo>
                    <a:pt x="147" y="120"/>
                  </a:lnTo>
                  <a:lnTo>
                    <a:pt x="148" y="119"/>
                  </a:lnTo>
                  <a:lnTo>
                    <a:pt x="149" y="119"/>
                  </a:lnTo>
                  <a:lnTo>
                    <a:pt x="149" y="118"/>
                  </a:lnTo>
                  <a:lnTo>
                    <a:pt x="150" y="118"/>
                  </a:lnTo>
                  <a:lnTo>
                    <a:pt x="150" y="118"/>
                  </a:lnTo>
                  <a:lnTo>
                    <a:pt x="150" y="117"/>
                  </a:lnTo>
                  <a:lnTo>
                    <a:pt x="151" y="117"/>
                  </a:lnTo>
                  <a:lnTo>
                    <a:pt x="151" y="116"/>
                  </a:lnTo>
                  <a:lnTo>
                    <a:pt x="151" y="115"/>
                  </a:lnTo>
                  <a:lnTo>
                    <a:pt x="150" y="114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49" y="112"/>
                  </a:lnTo>
                  <a:lnTo>
                    <a:pt x="149" y="111"/>
                  </a:lnTo>
                  <a:lnTo>
                    <a:pt x="147" y="109"/>
                  </a:lnTo>
                  <a:lnTo>
                    <a:pt x="145" y="105"/>
                  </a:lnTo>
                  <a:lnTo>
                    <a:pt x="143" y="103"/>
                  </a:lnTo>
                  <a:lnTo>
                    <a:pt x="143" y="103"/>
                  </a:lnTo>
                  <a:lnTo>
                    <a:pt x="141" y="99"/>
                  </a:lnTo>
                  <a:lnTo>
                    <a:pt x="140" y="96"/>
                  </a:lnTo>
                  <a:lnTo>
                    <a:pt x="138" y="93"/>
                  </a:lnTo>
                  <a:lnTo>
                    <a:pt x="138" y="93"/>
                  </a:lnTo>
                  <a:lnTo>
                    <a:pt x="138" y="92"/>
                  </a:lnTo>
                  <a:lnTo>
                    <a:pt x="138" y="91"/>
                  </a:lnTo>
                  <a:lnTo>
                    <a:pt x="137" y="90"/>
                  </a:lnTo>
                  <a:lnTo>
                    <a:pt x="138" y="89"/>
                  </a:lnTo>
                  <a:lnTo>
                    <a:pt x="138" y="88"/>
                  </a:lnTo>
                  <a:lnTo>
                    <a:pt x="138" y="86"/>
                  </a:lnTo>
                  <a:lnTo>
                    <a:pt x="139" y="84"/>
                  </a:lnTo>
                  <a:lnTo>
                    <a:pt x="140" y="80"/>
                  </a:lnTo>
                  <a:lnTo>
                    <a:pt x="140" y="79"/>
                  </a:lnTo>
                  <a:lnTo>
                    <a:pt x="141" y="78"/>
                  </a:lnTo>
                  <a:lnTo>
                    <a:pt x="141" y="78"/>
                  </a:lnTo>
                  <a:lnTo>
                    <a:pt x="141" y="77"/>
                  </a:lnTo>
                  <a:lnTo>
                    <a:pt x="140" y="76"/>
                  </a:lnTo>
                  <a:lnTo>
                    <a:pt x="140" y="76"/>
                  </a:lnTo>
                  <a:lnTo>
                    <a:pt x="140" y="75"/>
                  </a:lnTo>
                  <a:lnTo>
                    <a:pt x="140" y="74"/>
                  </a:lnTo>
                  <a:lnTo>
                    <a:pt x="138" y="72"/>
                  </a:lnTo>
                  <a:lnTo>
                    <a:pt x="136" y="67"/>
                  </a:lnTo>
                  <a:lnTo>
                    <a:pt x="136" y="67"/>
                  </a:lnTo>
                  <a:lnTo>
                    <a:pt x="136" y="66"/>
                  </a:lnTo>
                  <a:lnTo>
                    <a:pt x="136" y="65"/>
                  </a:lnTo>
                  <a:lnTo>
                    <a:pt x="136" y="64"/>
                  </a:lnTo>
                  <a:lnTo>
                    <a:pt x="136" y="63"/>
                  </a:lnTo>
                  <a:lnTo>
                    <a:pt x="136" y="60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5" y="57"/>
                  </a:lnTo>
                  <a:lnTo>
                    <a:pt x="134" y="54"/>
                  </a:lnTo>
                  <a:lnTo>
                    <a:pt x="134" y="51"/>
                  </a:lnTo>
                  <a:lnTo>
                    <a:pt x="133" y="48"/>
                  </a:lnTo>
                  <a:lnTo>
                    <a:pt x="133" y="46"/>
                  </a:lnTo>
                  <a:lnTo>
                    <a:pt x="133" y="45"/>
                  </a:lnTo>
                  <a:lnTo>
                    <a:pt x="132" y="43"/>
                  </a:lnTo>
                  <a:lnTo>
                    <a:pt x="132" y="36"/>
                  </a:lnTo>
                  <a:lnTo>
                    <a:pt x="132" y="31"/>
                  </a:lnTo>
                  <a:lnTo>
                    <a:pt x="132" y="30"/>
                  </a:lnTo>
                  <a:lnTo>
                    <a:pt x="132" y="29"/>
                  </a:lnTo>
                  <a:lnTo>
                    <a:pt x="133" y="25"/>
                  </a:lnTo>
                  <a:lnTo>
                    <a:pt x="133" y="23"/>
                  </a:lnTo>
                  <a:lnTo>
                    <a:pt x="133" y="22"/>
                  </a:lnTo>
                  <a:lnTo>
                    <a:pt x="133" y="20"/>
                  </a:lnTo>
                  <a:lnTo>
                    <a:pt x="132" y="20"/>
                  </a:lnTo>
                  <a:lnTo>
                    <a:pt x="132" y="19"/>
                  </a:lnTo>
                  <a:lnTo>
                    <a:pt x="132" y="18"/>
                  </a:lnTo>
                  <a:lnTo>
                    <a:pt x="131" y="16"/>
                  </a:lnTo>
                  <a:lnTo>
                    <a:pt x="130" y="15"/>
                  </a:lnTo>
                  <a:lnTo>
                    <a:pt x="128" y="11"/>
                  </a:lnTo>
                  <a:lnTo>
                    <a:pt x="127" y="10"/>
                  </a:lnTo>
                  <a:lnTo>
                    <a:pt x="126" y="8"/>
                  </a:lnTo>
                  <a:lnTo>
                    <a:pt x="125" y="6"/>
                  </a:lnTo>
                  <a:lnTo>
                    <a:pt x="124" y="5"/>
                  </a:lnTo>
                  <a:lnTo>
                    <a:pt x="124" y="4"/>
                  </a:lnTo>
                  <a:lnTo>
                    <a:pt x="124" y="3"/>
                  </a:lnTo>
                  <a:lnTo>
                    <a:pt x="123" y="2"/>
                  </a:lnTo>
                  <a:lnTo>
                    <a:pt x="123" y="1"/>
                  </a:lnTo>
                  <a:lnTo>
                    <a:pt x="123" y="1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27" y="1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Freeform 23">
              <a:extLst>
                <a:ext uri="{FF2B5EF4-FFF2-40B4-BE49-F238E27FC236}">
                  <a16:creationId xmlns:a16="http://schemas.microsoft.com/office/drawing/2014/main" id="{C007DD0F-ED80-9874-71F3-4039525D9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994"/>
              <a:ext cx="436" cy="338"/>
            </a:xfrm>
            <a:custGeom>
              <a:avLst/>
              <a:gdLst>
                <a:gd name="T0" fmla="*/ 164 w 436"/>
                <a:gd name="T1" fmla="*/ 11 h 338"/>
                <a:gd name="T2" fmla="*/ 194 w 436"/>
                <a:gd name="T3" fmla="*/ 15 h 338"/>
                <a:gd name="T4" fmla="*/ 211 w 436"/>
                <a:gd name="T5" fmla="*/ 23 h 338"/>
                <a:gd name="T6" fmla="*/ 225 w 436"/>
                <a:gd name="T7" fmla="*/ 47 h 338"/>
                <a:gd name="T8" fmla="*/ 252 w 436"/>
                <a:gd name="T9" fmla="*/ 41 h 338"/>
                <a:gd name="T10" fmla="*/ 263 w 436"/>
                <a:gd name="T11" fmla="*/ 65 h 338"/>
                <a:gd name="T12" fmla="*/ 263 w 436"/>
                <a:gd name="T13" fmla="*/ 78 h 338"/>
                <a:gd name="T14" fmla="*/ 278 w 436"/>
                <a:gd name="T15" fmla="*/ 71 h 338"/>
                <a:gd name="T16" fmla="*/ 298 w 436"/>
                <a:gd name="T17" fmla="*/ 54 h 338"/>
                <a:gd name="T18" fmla="*/ 319 w 436"/>
                <a:gd name="T19" fmla="*/ 65 h 338"/>
                <a:gd name="T20" fmla="*/ 330 w 436"/>
                <a:gd name="T21" fmla="*/ 51 h 338"/>
                <a:gd name="T22" fmla="*/ 350 w 436"/>
                <a:gd name="T23" fmla="*/ 51 h 338"/>
                <a:gd name="T24" fmla="*/ 378 w 436"/>
                <a:gd name="T25" fmla="*/ 70 h 338"/>
                <a:gd name="T26" fmla="*/ 386 w 436"/>
                <a:gd name="T27" fmla="*/ 92 h 338"/>
                <a:gd name="T28" fmla="*/ 375 w 436"/>
                <a:gd name="T29" fmla="*/ 116 h 338"/>
                <a:gd name="T30" fmla="*/ 356 w 436"/>
                <a:gd name="T31" fmla="*/ 126 h 338"/>
                <a:gd name="T32" fmla="*/ 338 w 436"/>
                <a:gd name="T33" fmla="*/ 138 h 338"/>
                <a:gd name="T34" fmla="*/ 328 w 436"/>
                <a:gd name="T35" fmla="*/ 151 h 338"/>
                <a:gd name="T36" fmla="*/ 322 w 436"/>
                <a:gd name="T37" fmla="*/ 159 h 338"/>
                <a:gd name="T38" fmla="*/ 335 w 436"/>
                <a:gd name="T39" fmla="*/ 172 h 338"/>
                <a:gd name="T40" fmla="*/ 349 w 436"/>
                <a:gd name="T41" fmla="*/ 184 h 338"/>
                <a:gd name="T42" fmla="*/ 368 w 436"/>
                <a:gd name="T43" fmla="*/ 184 h 338"/>
                <a:gd name="T44" fmla="*/ 381 w 436"/>
                <a:gd name="T45" fmla="*/ 207 h 338"/>
                <a:gd name="T46" fmla="*/ 406 w 436"/>
                <a:gd name="T47" fmla="*/ 230 h 338"/>
                <a:gd name="T48" fmla="*/ 428 w 436"/>
                <a:gd name="T49" fmla="*/ 255 h 338"/>
                <a:gd name="T50" fmla="*/ 436 w 436"/>
                <a:gd name="T51" fmla="*/ 288 h 338"/>
                <a:gd name="T52" fmla="*/ 417 w 436"/>
                <a:gd name="T53" fmla="*/ 283 h 338"/>
                <a:gd name="T54" fmla="*/ 407 w 436"/>
                <a:gd name="T55" fmla="*/ 285 h 338"/>
                <a:gd name="T56" fmla="*/ 384 w 436"/>
                <a:gd name="T57" fmla="*/ 303 h 338"/>
                <a:gd name="T58" fmla="*/ 367 w 436"/>
                <a:gd name="T59" fmla="*/ 320 h 338"/>
                <a:gd name="T60" fmla="*/ 360 w 436"/>
                <a:gd name="T61" fmla="*/ 331 h 338"/>
                <a:gd name="T62" fmla="*/ 350 w 436"/>
                <a:gd name="T63" fmla="*/ 335 h 338"/>
                <a:gd name="T64" fmla="*/ 329 w 436"/>
                <a:gd name="T65" fmla="*/ 337 h 338"/>
                <a:gd name="T66" fmla="*/ 305 w 436"/>
                <a:gd name="T67" fmla="*/ 327 h 338"/>
                <a:gd name="T68" fmla="*/ 282 w 436"/>
                <a:gd name="T69" fmla="*/ 310 h 338"/>
                <a:gd name="T70" fmla="*/ 266 w 436"/>
                <a:gd name="T71" fmla="*/ 296 h 338"/>
                <a:gd name="T72" fmla="*/ 243 w 436"/>
                <a:gd name="T73" fmla="*/ 283 h 338"/>
                <a:gd name="T74" fmla="*/ 222 w 436"/>
                <a:gd name="T75" fmla="*/ 293 h 338"/>
                <a:gd name="T76" fmla="*/ 207 w 436"/>
                <a:gd name="T77" fmla="*/ 294 h 338"/>
                <a:gd name="T78" fmla="*/ 198 w 436"/>
                <a:gd name="T79" fmla="*/ 279 h 338"/>
                <a:gd name="T80" fmla="*/ 184 w 436"/>
                <a:gd name="T81" fmla="*/ 294 h 338"/>
                <a:gd name="T82" fmla="*/ 161 w 436"/>
                <a:gd name="T83" fmla="*/ 298 h 338"/>
                <a:gd name="T84" fmla="*/ 141 w 436"/>
                <a:gd name="T85" fmla="*/ 296 h 338"/>
                <a:gd name="T86" fmla="*/ 125 w 436"/>
                <a:gd name="T87" fmla="*/ 297 h 338"/>
                <a:gd name="T88" fmla="*/ 111 w 436"/>
                <a:gd name="T89" fmla="*/ 310 h 338"/>
                <a:gd name="T90" fmla="*/ 97 w 436"/>
                <a:gd name="T91" fmla="*/ 310 h 338"/>
                <a:gd name="T92" fmla="*/ 91 w 436"/>
                <a:gd name="T93" fmla="*/ 298 h 338"/>
                <a:gd name="T94" fmla="*/ 75 w 436"/>
                <a:gd name="T95" fmla="*/ 289 h 338"/>
                <a:gd name="T96" fmla="*/ 83 w 436"/>
                <a:gd name="T97" fmla="*/ 270 h 338"/>
                <a:gd name="T98" fmla="*/ 78 w 436"/>
                <a:gd name="T99" fmla="*/ 251 h 338"/>
                <a:gd name="T100" fmla="*/ 75 w 436"/>
                <a:gd name="T101" fmla="*/ 228 h 338"/>
                <a:gd name="T102" fmla="*/ 56 w 436"/>
                <a:gd name="T103" fmla="*/ 228 h 338"/>
                <a:gd name="T104" fmla="*/ 31 w 436"/>
                <a:gd name="T105" fmla="*/ 224 h 338"/>
                <a:gd name="T106" fmla="*/ 24 w 436"/>
                <a:gd name="T107" fmla="*/ 209 h 338"/>
                <a:gd name="T108" fmla="*/ 9 w 436"/>
                <a:gd name="T109" fmla="*/ 201 h 338"/>
                <a:gd name="T110" fmla="*/ 0 w 436"/>
                <a:gd name="T111" fmla="*/ 187 h 338"/>
                <a:gd name="T112" fmla="*/ 9 w 436"/>
                <a:gd name="T113" fmla="*/ 174 h 338"/>
                <a:gd name="T114" fmla="*/ 8 w 436"/>
                <a:gd name="T115" fmla="*/ 152 h 338"/>
                <a:gd name="T116" fmla="*/ 3 w 436"/>
                <a:gd name="T117" fmla="*/ 128 h 338"/>
                <a:gd name="T118" fmla="*/ 21 w 436"/>
                <a:gd name="T119" fmla="*/ 126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6" h="338">
                  <a:moveTo>
                    <a:pt x="127" y="0"/>
                  </a:moveTo>
                  <a:lnTo>
                    <a:pt x="129" y="0"/>
                  </a:lnTo>
                  <a:lnTo>
                    <a:pt x="135" y="0"/>
                  </a:lnTo>
                  <a:lnTo>
                    <a:pt x="137" y="1"/>
                  </a:lnTo>
                  <a:lnTo>
                    <a:pt x="139" y="1"/>
                  </a:lnTo>
                  <a:lnTo>
                    <a:pt x="141" y="1"/>
                  </a:lnTo>
                  <a:lnTo>
                    <a:pt x="143" y="2"/>
                  </a:lnTo>
                  <a:lnTo>
                    <a:pt x="144" y="2"/>
                  </a:lnTo>
                  <a:lnTo>
                    <a:pt x="145" y="3"/>
                  </a:lnTo>
                  <a:lnTo>
                    <a:pt x="146" y="3"/>
                  </a:lnTo>
                  <a:lnTo>
                    <a:pt x="150" y="5"/>
                  </a:lnTo>
                  <a:lnTo>
                    <a:pt x="152" y="6"/>
                  </a:lnTo>
                  <a:lnTo>
                    <a:pt x="155" y="8"/>
                  </a:lnTo>
                  <a:lnTo>
                    <a:pt x="160" y="9"/>
                  </a:lnTo>
                  <a:lnTo>
                    <a:pt x="161" y="10"/>
                  </a:lnTo>
                  <a:lnTo>
                    <a:pt x="163" y="11"/>
                  </a:lnTo>
                  <a:lnTo>
                    <a:pt x="164" y="11"/>
                  </a:lnTo>
                  <a:lnTo>
                    <a:pt x="165" y="12"/>
                  </a:lnTo>
                  <a:lnTo>
                    <a:pt x="166" y="13"/>
                  </a:lnTo>
                  <a:lnTo>
                    <a:pt x="170" y="15"/>
                  </a:lnTo>
                  <a:lnTo>
                    <a:pt x="170" y="16"/>
                  </a:lnTo>
                  <a:lnTo>
                    <a:pt x="171" y="16"/>
                  </a:lnTo>
                  <a:lnTo>
                    <a:pt x="173" y="17"/>
                  </a:lnTo>
                  <a:lnTo>
                    <a:pt x="174" y="17"/>
                  </a:lnTo>
                  <a:lnTo>
                    <a:pt x="175" y="17"/>
                  </a:lnTo>
                  <a:lnTo>
                    <a:pt x="175" y="18"/>
                  </a:lnTo>
                  <a:lnTo>
                    <a:pt x="176" y="18"/>
                  </a:lnTo>
                  <a:lnTo>
                    <a:pt x="178" y="18"/>
                  </a:lnTo>
                  <a:lnTo>
                    <a:pt x="181" y="18"/>
                  </a:lnTo>
                  <a:lnTo>
                    <a:pt x="183" y="18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87" y="17"/>
                  </a:lnTo>
                  <a:lnTo>
                    <a:pt x="194" y="15"/>
                  </a:lnTo>
                  <a:lnTo>
                    <a:pt x="196" y="15"/>
                  </a:lnTo>
                  <a:lnTo>
                    <a:pt x="199" y="13"/>
                  </a:lnTo>
                  <a:lnTo>
                    <a:pt x="200" y="13"/>
                  </a:lnTo>
                  <a:lnTo>
                    <a:pt x="201" y="13"/>
                  </a:lnTo>
                  <a:lnTo>
                    <a:pt x="203" y="12"/>
                  </a:lnTo>
                  <a:lnTo>
                    <a:pt x="204" y="12"/>
                  </a:lnTo>
                  <a:lnTo>
                    <a:pt x="204" y="13"/>
                  </a:lnTo>
                  <a:lnTo>
                    <a:pt x="205" y="13"/>
                  </a:lnTo>
                  <a:lnTo>
                    <a:pt x="206" y="13"/>
                  </a:lnTo>
                  <a:lnTo>
                    <a:pt x="206" y="14"/>
                  </a:lnTo>
                  <a:lnTo>
                    <a:pt x="207" y="14"/>
                  </a:lnTo>
                  <a:lnTo>
                    <a:pt x="208" y="15"/>
                  </a:lnTo>
                  <a:lnTo>
                    <a:pt x="209" y="16"/>
                  </a:lnTo>
                  <a:lnTo>
                    <a:pt x="209" y="17"/>
                  </a:lnTo>
                  <a:lnTo>
                    <a:pt x="210" y="18"/>
                  </a:lnTo>
                  <a:lnTo>
                    <a:pt x="210" y="19"/>
                  </a:lnTo>
                  <a:lnTo>
                    <a:pt x="211" y="23"/>
                  </a:lnTo>
                  <a:lnTo>
                    <a:pt x="212" y="25"/>
                  </a:lnTo>
                  <a:lnTo>
                    <a:pt x="213" y="27"/>
                  </a:lnTo>
                  <a:lnTo>
                    <a:pt x="216" y="33"/>
                  </a:lnTo>
                  <a:lnTo>
                    <a:pt x="217" y="37"/>
                  </a:lnTo>
                  <a:lnTo>
                    <a:pt x="219" y="40"/>
                  </a:lnTo>
                  <a:lnTo>
                    <a:pt x="219" y="42"/>
                  </a:lnTo>
                  <a:lnTo>
                    <a:pt x="220" y="43"/>
                  </a:lnTo>
                  <a:lnTo>
                    <a:pt x="221" y="44"/>
                  </a:lnTo>
                  <a:lnTo>
                    <a:pt x="221" y="45"/>
                  </a:lnTo>
                  <a:lnTo>
                    <a:pt x="222" y="45"/>
                  </a:lnTo>
                  <a:lnTo>
                    <a:pt x="222" y="45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4" y="47"/>
                  </a:lnTo>
                  <a:lnTo>
                    <a:pt x="225" y="47"/>
                  </a:lnTo>
                  <a:lnTo>
                    <a:pt x="225" y="47"/>
                  </a:lnTo>
                  <a:lnTo>
                    <a:pt x="226" y="47"/>
                  </a:lnTo>
                  <a:lnTo>
                    <a:pt x="227" y="47"/>
                  </a:lnTo>
                  <a:lnTo>
                    <a:pt x="228" y="46"/>
                  </a:lnTo>
                  <a:lnTo>
                    <a:pt x="229" y="46"/>
                  </a:lnTo>
                  <a:lnTo>
                    <a:pt x="231" y="45"/>
                  </a:lnTo>
                  <a:lnTo>
                    <a:pt x="236" y="44"/>
                  </a:lnTo>
                  <a:lnTo>
                    <a:pt x="238" y="43"/>
                  </a:lnTo>
                  <a:lnTo>
                    <a:pt x="241" y="42"/>
                  </a:lnTo>
                  <a:lnTo>
                    <a:pt x="242" y="42"/>
                  </a:lnTo>
                  <a:lnTo>
                    <a:pt x="244" y="41"/>
                  </a:lnTo>
                  <a:lnTo>
                    <a:pt x="245" y="41"/>
                  </a:lnTo>
                  <a:lnTo>
                    <a:pt x="247" y="41"/>
                  </a:lnTo>
                  <a:lnTo>
                    <a:pt x="247" y="40"/>
                  </a:lnTo>
                  <a:lnTo>
                    <a:pt x="249" y="40"/>
                  </a:lnTo>
                  <a:lnTo>
                    <a:pt x="250" y="40"/>
                  </a:lnTo>
                  <a:lnTo>
                    <a:pt x="251" y="41"/>
                  </a:lnTo>
                  <a:lnTo>
                    <a:pt x="252" y="41"/>
                  </a:lnTo>
                  <a:lnTo>
                    <a:pt x="253" y="42"/>
                  </a:lnTo>
                  <a:lnTo>
                    <a:pt x="254" y="42"/>
                  </a:lnTo>
                  <a:lnTo>
                    <a:pt x="255" y="43"/>
                  </a:lnTo>
                  <a:lnTo>
                    <a:pt x="256" y="44"/>
                  </a:lnTo>
                  <a:lnTo>
                    <a:pt x="257" y="44"/>
                  </a:lnTo>
                  <a:lnTo>
                    <a:pt x="257" y="45"/>
                  </a:lnTo>
                  <a:lnTo>
                    <a:pt x="258" y="46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60" y="49"/>
                  </a:lnTo>
                  <a:lnTo>
                    <a:pt x="260" y="51"/>
                  </a:lnTo>
                  <a:lnTo>
                    <a:pt x="261" y="53"/>
                  </a:lnTo>
                  <a:lnTo>
                    <a:pt x="262" y="55"/>
                  </a:lnTo>
                  <a:lnTo>
                    <a:pt x="262" y="57"/>
                  </a:lnTo>
                  <a:lnTo>
                    <a:pt x="262" y="60"/>
                  </a:lnTo>
                  <a:lnTo>
                    <a:pt x="263" y="64"/>
                  </a:lnTo>
                  <a:lnTo>
                    <a:pt x="263" y="65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3" y="67"/>
                  </a:lnTo>
                  <a:lnTo>
                    <a:pt x="263" y="68"/>
                  </a:lnTo>
                  <a:lnTo>
                    <a:pt x="263" y="68"/>
                  </a:lnTo>
                  <a:lnTo>
                    <a:pt x="263" y="69"/>
                  </a:lnTo>
                  <a:lnTo>
                    <a:pt x="261" y="72"/>
                  </a:lnTo>
                  <a:lnTo>
                    <a:pt x="261" y="73"/>
                  </a:lnTo>
                  <a:lnTo>
                    <a:pt x="261" y="73"/>
                  </a:lnTo>
                  <a:lnTo>
                    <a:pt x="260" y="74"/>
                  </a:lnTo>
                  <a:lnTo>
                    <a:pt x="260" y="75"/>
                  </a:lnTo>
                  <a:lnTo>
                    <a:pt x="261" y="75"/>
                  </a:lnTo>
                  <a:lnTo>
                    <a:pt x="261" y="76"/>
                  </a:lnTo>
                  <a:lnTo>
                    <a:pt x="261" y="76"/>
                  </a:lnTo>
                  <a:lnTo>
                    <a:pt x="262" y="77"/>
                  </a:lnTo>
                  <a:lnTo>
                    <a:pt x="262" y="78"/>
                  </a:lnTo>
                  <a:lnTo>
                    <a:pt x="263" y="78"/>
                  </a:lnTo>
                  <a:lnTo>
                    <a:pt x="264" y="78"/>
                  </a:lnTo>
                  <a:lnTo>
                    <a:pt x="265" y="79"/>
                  </a:lnTo>
                  <a:lnTo>
                    <a:pt x="266" y="79"/>
                  </a:lnTo>
                  <a:lnTo>
                    <a:pt x="267" y="79"/>
                  </a:lnTo>
                  <a:lnTo>
                    <a:pt x="267" y="79"/>
                  </a:lnTo>
                  <a:lnTo>
                    <a:pt x="268" y="79"/>
                  </a:lnTo>
                  <a:lnTo>
                    <a:pt x="269" y="78"/>
                  </a:lnTo>
                  <a:lnTo>
                    <a:pt x="270" y="78"/>
                  </a:lnTo>
                  <a:lnTo>
                    <a:pt x="272" y="77"/>
                  </a:lnTo>
                  <a:lnTo>
                    <a:pt x="274" y="75"/>
                  </a:lnTo>
                  <a:lnTo>
                    <a:pt x="275" y="75"/>
                  </a:lnTo>
                  <a:lnTo>
                    <a:pt x="276" y="74"/>
                  </a:lnTo>
                  <a:lnTo>
                    <a:pt x="276" y="74"/>
                  </a:lnTo>
                  <a:lnTo>
                    <a:pt x="276" y="73"/>
                  </a:lnTo>
                  <a:lnTo>
                    <a:pt x="277" y="73"/>
                  </a:lnTo>
                  <a:lnTo>
                    <a:pt x="277" y="72"/>
                  </a:lnTo>
                  <a:lnTo>
                    <a:pt x="278" y="71"/>
                  </a:lnTo>
                  <a:lnTo>
                    <a:pt x="280" y="67"/>
                  </a:lnTo>
                  <a:lnTo>
                    <a:pt x="281" y="64"/>
                  </a:lnTo>
                  <a:lnTo>
                    <a:pt x="282" y="63"/>
                  </a:lnTo>
                  <a:lnTo>
                    <a:pt x="283" y="61"/>
                  </a:lnTo>
                  <a:lnTo>
                    <a:pt x="285" y="60"/>
                  </a:lnTo>
                  <a:lnTo>
                    <a:pt x="286" y="58"/>
                  </a:lnTo>
                  <a:lnTo>
                    <a:pt x="287" y="57"/>
                  </a:lnTo>
                  <a:lnTo>
                    <a:pt x="289" y="56"/>
                  </a:lnTo>
                  <a:lnTo>
                    <a:pt x="290" y="55"/>
                  </a:lnTo>
                  <a:lnTo>
                    <a:pt x="291" y="54"/>
                  </a:lnTo>
                  <a:lnTo>
                    <a:pt x="291" y="54"/>
                  </a:lnTo>
                  <a:lnTo>
                    <a:pt x="292" y="54"/>
                  </a:lnTo>
                  <a:lnTo>
                    <a:pt x="293" y="53"/>
                  </a:lnTo>
                  <a:lnTo>
                    <a:pt x="295" y="53"/>
                  </a:lnTo>
                  <a:lnTo>
                    <a:pt x="296" y="54"/>
                  </a:lnTo>
                  <a:lnTo>
                    <a:pt x="297" y="54"/>
                  </a:lnTo>
                  <a:lnTo>
                    <a:pt x="298" y="54"/>
                  </a:lnTo>
                  <a:lnTo>
                    <a:pt x="299" y="55"/>
                  </a:lnTo>
                  <a:lnTo>
                    <a:pt x="304" y="57"/>
                  </a:lnTo>
                  <a:lnTo>
                    <a:pt x="305" y="57"/>
                  </a:lnTo>
                  <a:lnTo>
                    <a:pt x="306" y="58"/>
                  </a:lnTo>
                  <a:lnTo>
                    <a:pt x="307" y="59"/>
                  </a:lnTo>
                  <a:lnTo>
                    <a:pt x="309" y="60"/>
                  </a:lnTo>
                  <a:lnTo>
                    <a:pt x="310" y="61"/>
                  </a:lnTo>
                  <a:lnTo>
                    <a:pt x="313" y="64"/>
                  </a:lnTo>
                  <a:lnTo>
                    <a:pt x="314" y="64"/>
                  </a:lnTo>
                  <a:lnTo>
                    <a:pt x="315" y="65"/>
                  </a:lnTo>
                  <a:lnTo>
                    <a:pt x="315" y="65"/>
                  </a:lnTo>
                  <a:lnTo>
                    <a:pt x="316" y="65"/>
                  </a:lnTo>
                  <a:lnTo>
                    <a:pt x="316" y="65"/>
                  </a:lnTo>
                  <a:lnTo>
                    <a:pt x="317" y="65"/>
                  </a:lnTo>
                  <a:lnTo>
                    <a:pt x="318" y="65"/>
                  </a:lnTo>
                  <a:lnTo>
                    <a:pt x="319" y="65"/>
                  </a:lnTo>
                  <a:lnTo>
                    <a:pt x="319" y="65"/>
                  </a:lnTo>
                  <a:lnTo>
                    <a:pt x="320" y="65"/>
                  </a:lnTo>
                  <a:lnTo>
                    <a:pt x="321" y="65"/>
                  </a:lnTo>
                  <a:lnTo>
                    <a:pt x="322" y="64"/>
                  </a:lnTo>
                  <a:lnTo>
                    <a:pt x="322" y="64"/>
                  </a:lnTo>
                  <a:lnTo>
                    <a:pt x="323" y="63"/>
                  </a:lnTo>
                  <a:lnTo>
                    <a:pt x="323" y="63"/>
                  </a:lnTo>
                  <a:lnTo>
                    <a:pt x="324" y="62"/>
                  </a:lnTo>
                  <a:lnTo>
                    <a:pt x="324" y="62"/>
                  </a:lnTo>
                  <a:lnTo>
                    <a:pt x="325" y="61"/>
                  </a:lnTo>
                  <a:lnTo>
                    <a:pt x="325" y="60"/>
                  </a:lnTo>
                  <a:lnTo>
                    <a:pt x="326" y="56"/>
                  </a:lnTo>
                  <a:lnTo>
                    <a:pt x="327" y="54"/>
                  </a:lnTo>
                  <a:lnTo>
                    <a:pt x="328" y="53"/>
                  </a:lnTo>
                  <a:lnTo>
                    <a:pt x="329" y="52"/>
                  </a:lnTo>
                  <a:lnTo>
                    <a:pt x="329" y="52"/>
                  </a:lnTo>
                  <a:lnTo>
                    <a:pt x="330" y="51"/>
                  </a:lnTo>
                  <a:lnTo>
                    <a:pt x="330" y="51"/>
                  </a:lnTo>
                  <a:lnTo>
                    <a:pt x="330" y="50"/>
                  </a:lnTo>
                  <a:lnTo>
                    <a:pt x="331" y="50"/>
                  </a:lnTo>
                  <a:lnTo>
                    <a:pt x="332" y="49"/>
                  </a:lnTo>
                  <a:lnTo>
                    <a:pt x="332" y="49"/>
                  </a:lnTo>
                  <a:lnTo>
                    <a:pt x="333" y="49"/>
                  </a:lnTo>
                  <a:lnTo>
                    <a:pt x="334" y="49"/>
                  </a:lnTo>
                  <a:lnTo>
                    <a:pt x="335" y="49"/>
                  </a:lnTo>
                  <a:lnTo>
                    <a:pt x="336" y="49"/>
                  </a:lnTo>
                  <a:lnTo>
                    <a:pt x="338" y="49"/>
                  </a:lnTo>
                  <a:lnTo>
                    <a:pt x="339" y="49"/>
                  </a:lnTo>
                  <a:lnTo>
                    <a:pt x="340" y="49"/>
                  </a:lnTo>
                  <a:lnTo>
                    <a:pt x="341" y="49"/>
                  </a:lnTo>
                  <a:lnTo>
                    <a:pt x="345" y="50"/>
                  </a:lnTo>
                  <a:lnTo>
                    <a:pt x="346" y="50"/>
                  </a:lnTo>
                  <a:lnTo>
                    <a:pt x="347" y="50"/>
                  </a:lnTo>
                  <a:lnTo>
                    <a:pt x="348" y="51"/>
                  </a:lnTo>
                  <a:lnTo>
                    <a:pt x="350" y="51"/>
                  </a:lnTo>
                  <a:lnTo>
                    <a:pt x="353" y="51"/>
                  </a:lnTo>
                  <a:lnTo>
                    <a:pt x="354" y="51"/>
                  </a:lnTo>
                  <a:lnTo>
                    <a:pt x="356" y="51"/>
                  </a:lnTo>
                  <a:lnTo>
                    <a:pt x="357" y="51"/>
                  </a:lnTo>
                  <a:lnTo>
                    <a:pt x="358" y="51"/>
                  </a:lnTo>
                  <a:lnTo>
                    <a:pt x="359" y="52"/>
                  </a:lnTo>
                  <a:lnTo>
                    <a:pt x="360" y="52"/>
                  </a:lnTo>
                  <a:lnTo>
                    <a:pt x="361" y="53"/>
                  </a:lnTo>
                  <a:lnTo>
                    <a:pt x="362" y="54"/>
                  </a:lnTo>
                  <a:lnTo>
                    <a:pt x="365" y="56"/>
                  </a:lnTo>
                  <a:lnTo>
                    <a:pt x="367" y="58"/>
                  </a:lnTo>
                  <a:lnTo>
                    <a:pt x="367" y="58"/>
                  </a:lnTo>
                  <a:lnTo>
                    <a:pt x="369" y="60"/>
                  </a:lnTo>
                  <a:lnTo>
                    <a:pt x="371" y="63"/>
                  </a:lnTo>
                  <a:lnTo>
                    <a:pt x="374" y="66"/>
                  </a:lnTo>
                  <a:lnTo>
                    <a:pt x="376" y="68"/>
                  </a:lnTo>
                  <a:lnTo>
                    <a:pt x="378" y="70"/>
                  </a:lnTo>
                  <a:lnTo>
                    <a:pt x="381" y="73"/>
                  </a:lnTo>
                  <a:lnTo>
                    <a:pt x="383" y="75"/>
                  </a:lnTo>
                  <a:lnTo>
                    <a:pt x="385" y="77"/>
                  </a:lnTo>
                  <a:lnTo>
                    <a:pt x="386" y="79"/>
                  </a:lnTo>
                  <a:lnTo>
                    <a:pt x="388" y="80"/>
                  </a:lnTo>
                  <a:lnTo>
                    <a:pt x="388" y="82"/>
                  </a:lnTo>
                  <a:lnTo>
                    <a:pt x="389" y="83"/>
                  </a:lnTo>
                  <a:lnTo>
                    <a:pt x="389" y="84"/>
                  </a:lnTo>
                  <a:lnTo>
                    <a:pt x="389" y="85"/>
                  </a:lnTo>
                  <a:lnTo>
                    <a:pt x="389" y="86"/>
                  </a:lnTo>
                  <a:lnTo>
                    <a:pt x="389" y="87"/>
                  </a:lnTo>
                  <a:lnTo>
                    <a:pt x="389" y="88"/>
                  </a:lnTo>
                  <a:lnTo>
                    <a:pt x="389" y="89"/>
                  </a:lnTo>
                  <a:lnTo>
                    <a:pt x="389" y="89"/>
                  </a:lnTo>
                  <a:lnTo>
                    <a:pt x="388" y="90"/>
                  </a:lnTo>
                  <a:lnTo>
                    <a:pt x="388" y="91"/>
                  </a:lnTo>
                  <a:lnTo>
                    <a:pt x="386" y="92"/>
                  </a:lnTo>
                  <a:lnTo>
                    <a:pt x="384" y="94"/>
                  </a:lnTo>
                  <a:lnTo>
                    <a:pt x="384" y="95"/>
                  </a:lnTo>
                  <a:lnTo>
                    <a:pt x="383" y="95"/>
                  </a:lnTo>
                  <a:lnTo>
                    <a:pt x="383" y="96"/>
                  </a:lnTo>
                  <a:lnTo>
                    <a:pt x="382" y="97"/>
                  </a:lnTo>
                  <a:lnTo>
                    <a:pt x="381" y="100"/>
                  </a:lnTo>
                  <a:lnTo>
                    <a:pt x="381" y="102"/>
                  </a:lnTo>
                  <a:lnTo>
                    <a:pt x="380" y="103"/>
                  </a:lnTo>
                  <a:lnTo>
                    <a:pt x="379" y="106"/>
                  </a:lnTo>
                  <a:lnTo>
                    <a:pt x="378" y="107"/>
                  </a:lnTo>
                  <a:lnTo>
                    <a:pt x="378" y="108"/>
                  </a:lnTo>
                  <a:lnTo>
                    <a:pt x="378" y="110"/>
                  </a:lnTo>
                  <a:lnTo>
                    <a:pt x="378" y="111"/>
                  </a:lnTo>
                  <a:lnTo>
                    <a:pt x="377" y="112"/>
                  </a:lnTo>
                  <a:lnTo>
                    <a:pt x="377" y="113"/>
                  </a:lnTo>
                  <a:lnTo>
                    <a:pt x="376" y="115"/>
                  </a:lnTo>
                  <a:lnTo>
                    <a:pt x="375" y="116"/>
                  </a:lnTo>
                  <a:lnTo>
                    <a:pt x="373" y="117"/>
                  </a:lnTo>
                  <a:lnTo>
                    <a:pt x="370" y="121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7" y="124"/>
                  </a:lnTo>
                  <a:lnTo>
                    <a:pt x="366" y="124"/>
                  </a:lnTo>
                  <a:lnTo>
                    <a:pt x="366" y="125"/>
                  </a:lnTo>
                  <a:lnTo>
                    <a:pt x="365" y="125"/>
                  </a:lnTo>
                  <a:lnTo>
                    <a:pt x="364" y="125"/>
                  </a:lnTo>
                  <a:lnTo>
                    <a:pt x="363" y="126"/>
                  </a:lnTo>
                  <a:lnTo>
                    <a:pt x="362" y="126"/>
                  </a:lnTo>
                  <a:lnTo>
                    <a:pt x="361" y="126"/>
                  </a:lnTo>
                  <a:lnTo>
                    <a:pt x="359" y="125"/>
                  </a:lnTo>
                  <a:lnTo>
                    <a:pt x="357" y="125"/>
                  </a:lnTo>
                  <a:lnTo>
                    <a:pt x="357" y="125"/>
                  </a:lnTo>
                  <a:lnTo>
                    <a:pt x="356" y="125"/>
                  </a:lnTo>
                  <a:lnTo>
                    <a:pt x="356" y="126"/>
                  </a:lnTo>
                  <a:lnTo>
                    <a:pt x="355" y="126"/>
                  </a:lnTo>
                  <a:lnTo>
                    <a:pt x="355" y="126"/>
                  </a:lnTo>
                  <a:lnTo>
                    <a:pt x="354" y="127"/>
                  </a:lnTo>
                  <a:lnTo>
                    <a:pt x="354" y="127"/>
                  </a:lnTo>
                  <a:lnTo>
                    <a:pt x="352" y="129"/>
                  </a:lnTo>
                  <a:lnTo>
                    <a:pt x="350" y="131"/>
                  </a:lnTo>
                  <a:lnTo>
                    <a:pt x="349" y="132"/>
                  </a:lnTo>
                  <a:lnTo>
                    <a:pt x="348" y="133"/>
                  </a:lnTo>
                  <a:lnTo>
                    <a:pt x="347" y="134"/>
                  </a:lnTo>
                  <a:lnTo>
                    <a:pt x="346" y="134"/>
                  </a:lnTo>
                  <a:lnTo>
                    <a:pt x="345" y="134"/>
                  </a:lnTo>
                  <a:lnTo>
                    <a:pt x="343" y="135"/>
                  </a:lnTo>
                  <a:lnTo>
                    <a:pt x="343" y="135"/>
                  </a:lnTo>
                  <a:lnTo>
                    <a:pt x="342" y="135"/>
                  </a:lnTo>
                  <a:lnTo>
                    <a:pt x="341" y="136"/>
                  </a:lnTo>
                  <a:lnTo>
                    <a:pt x="339" y="137"/>
                  </a:lnTo>
                  <a:lnTo>
                    <a:pt x="338" y="138"/>
                  </a:lnTo>
                  <a:lnTo>
                    <a:pt x="337" y="138"/>
                  </a:lnTo>
                  <a:lnTo>
                    <a:pt x="337" y="139"/>
                  </a:lnTo>
                  <a:lnTo>
                    <a:pt x="335" y="140"/>
                  </a:lnTo>
                  <a:lnTo>
                    <a:pt x="335" y="141"/>
                  </a:lnTo>
                  <a:lnTo>
                    <a:pt x="334" y="142"/>
                  </a:lnTo>
                  <a:lnTo>
                    <a:pt x="332" y="143"/>
                  </a:lnTo>
                  <a:lnTo>
                    <a:pt x="332" y="143"/>
                  </a:lnTo>
                  <a:lnTo>
                    <a:pt x="331" y="144"/>
                  </a:lnTo>
                  <a:lnTo>
                    <a:pt x="330" y="145"/>
                  </a:lnTo>
                  <a:lnTo>
                    <a:pt x="330" y="146"/>
                  </a:lnTo>
                  <a:lnTo>
                    <a:pt x="329" y="146"/>
                  </a:lnTo>
                  <a:lnTo>
                    <a:pt x="329" y="147"/>
                  </a:lnTo>
                  <a:lnTo>
                    <a:pt x="329" y="148"/>
                  </a:lnTo>
                  <a:lnTo>
                    <a:pt x="329" y="149"/>
                  </a:lnTo>
                  <a:lnTo>
                    <a:pt x="329" y="150"/>
                  </a:lnTo>
                  <a:lnTo>
                    <a:pt x="328" y="150"/>
                  </a:lnTo>
                  <a:lnTo>
                    <a:pt x="328" y="151"/>
                  </a:lnTo>
                  <a:lnTo>
                    <a:pt x="327" y="151"/>
                  </a:lnTo>
                  <a:lnTo>
                    <a:pt x="327" y="151"/>
                  </a:lnTo>
                  <a:lnTo>
                    <a:pt x="326" y="151"/>
                  </a:lnTo>
                  <a:lnTo>
                    <a:pt x="325" y="151"/>
                  </a:lnTo>
                  <a:lnTo>
                    <a:pt x="325" y="151"/>
                  </a:lnTo>
                  <a:lnTo>
                    <a:pt x="324" y="152"/>
                  </a:lnTo>
                  <a:lnTo>
                    <a:pt x="324" y="152"/>
                  </a:lnTo>
                  <a:lnTo>
                    <a:pt x="324" y="152"/>
                  </a:lnTo>
                  <a:lnTo>
                    <a:pt x="323" y="153"/>
                  </a:lnTo>
                  <a:lnTo>
                    <a:pt x="323" y="153"/>
                  </a:lnTo>
                  <a:lnTo>
                    <a:pt x="322" y="154"/>
                  </a:lnTo>
                  <a:lnTo>
                    <a:pt x="322" y="155"/>
                  </a:lnTo>
                  <a:lnTo>
                    <a:pt x="322" y="155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9"/>
                  </a:lnTo>
                  <a:lnTo>
                    <a:pt x="322" y="159"/>
                  </a:lnTo>
                  <a:lnTo>
                    <a:pt x="323" y="160"/>
                  </a:lnTo>
                  <a:lnTo>
                    <a:pt x="324" y="163"/>
                  </a:lnTo>
                  <a:lnTo>
                    <a:pt x="325" y="165"/>
                  </a:lnTo>
                  <a:lnTo>
                    <a:pt x="326" y="166"/>
                  </a:lnTo>
                  <a:lnTo>
                    <a:pt x="326" y="166"/>
                  </a:lnTo>
                  <a:lnTo>
                    <a:pt x="327" y="167"/>
                  </a:lnTo>
                  <a:lnTo>
                    <a:pt x="327" y="167"/>
                  </a:lnTo>
                  <a:lnTo>
                    <a:pt x="328" y="167"/>
                  </a:lnTo>
                  <a:lnTo>
                    <a:pt x="329" y="168"/>
                  </a:lnTo>
                  <a:lnTo>
                    <a:pt x="331" y="168"/>
                  </a:lnTo>
                  <a:lnTo>
                    <a:pt x="331" y="168"/>
                  </a:lnTo>
                  <a:lnTo>
                    <a:pt x="332" y="169"/>
                  </a:lnTo>
                  <a:lnTo>
                    <a:pt x="333" y="170"/>
                  </a:lnTo>
                  <a:lnTo>
                    <a:pt x="334" y="170"/>
                  </a:lnTo>
                  <a:lnTo>
                    <a:pt x="335" y="171"/>
                  </a:lnTo>
                  <a:lnTo>
                    <a:pt x="335" y="172"/>
                  </a:lnTo>
                  <a:lnTo>
                    <a:pt x="337" y="175"/>
                  </a:lnTo>
                  <a:lnTo>
                    <a:pt x="338" y="175"/>
                  </a:lnTo>
                  <a:lnTo>
                    <a:pt x="339" y="177"/>
                  </a:lnTo>
                  <a:lnTo>
                    <a:pt x="339" y="177"/>
                  </a:lnTo>
                  <a:lnTo>
                    <a:pt x="340" y="179"/>
                  </a:lnTo>
                  <a:lnTo>
                    <a:pt x="342" y="180"/>
                  </a:lnTo>
                  <a:lnTo>
                    <a:pt x="342" y="181"/>
                  </a:lnTo>
                  <a:lnTo>
                    <a:pt x="343" y="182"/>
                  </a:lnTo>
                  <a:lnTo>
                    <a:pt x="344" y="183"/>
                  </a:lnTo>
                  <a:lnTo>
                    <a:pt x="344" y="184"/>
                  </a:lnTo>
                  <a:lnTo>
                    <a:pt x="345" y="184"/>
                  </a:lnTo>
                  <a:lnTo>
                    <a:pt x="346" y="185"/>
                  </a:lnTo>
                  <a:lnTo>
                    <a:pt x="346" y="185"/>
                  </a:lnTo>
                  <a:lnTo>
                    <a:pt x="347" y="185"/>
                  </a:lnTo>
                  <a:lnTo>
                    <a:pt x="348" y="185"/>
                  </a:lnTo>
                  <a:lnTo>
                    <a:pt x="348" y="185"/>
                  </a:lnTo>
                  <a:lnTo>
                    <a:pt x="349" y="184"/>
                  </a:lnTo>
                  <a:lnTo>
                    <a:pt x="352" y="183"/>
                  </a:lnTo>
                  <a:lnTo>
                    <a:pt x="353" y="182"/>
                  </a:lnTo>
                  <a:lnTo>
                    <a:pt x="353" y="182"/>
                  </a:lnTo>
                  <a:lnTo>
                    <a:pt x="354" y="182"/>
                  </a:lnTo>
                  <a:lnTo>
                    <a:pt x="355" y="182"/>
                  </a:lnTo>
                  <a:lnTo>
                    <a:pt x="356" y="182"/>
                  </a:lnTo>
                  <a:lnTo>
                    <a:pt x="358" y="182"/>
                  </a:lnTo>
                  <a:lnTo>
                    <a:pt x="359" y="182"/>
                  </a:lnTo>
                  <a:lnTo>
                    <a:pt x="361" y="182"/>
                  </a:lnTo>
                  <a:lnTo>
                    <a:pt x="362" y="182"/>
                  </a:lnTo>
                  <a:lnTo>
                    <a:pt x="363" y="182"/>
                  </a:lnTo>
                  <a:lnTo>
                    <a:pt x="365" y="182"/>
                  </a:lnTo>
                  <a:lnTo>
                    <a:pt x="365" y="183"/>
                  </a:lnTo>
                  <a:lnTo>
                    <a:pt x="366" y="183"/>
                  </a:lnTo>
                  <a:lnTo>
                    <a:pt x="367" y="184"/>
                  </a:lnTo>
                  <a:lnTo>
                    <a:pt x="368" y="184"/>
                  </a:lnTo>
                  <a:lnTo>
                    <a:pt x="368" y="184"/>
                  </a:lnTo>
                  <a:lnTo>
                    <a:pt x="368" y="185"/>
                  </a:lnTo>
                  <a:lnTo>
                    <a:pt x="369" y="186"/>
                  </a:lnTo>
                  <a:lnTo>
                    <a:pt x="370" y="188"/>
                  </a:lnTo>
                  <a:lnTo>
                    <a:pt x="370" y="189"/>
                  </a:lnTo>
                  <a:lnTo>
                    <a:pt x="371" y="193"/>
                  </a:lnTo>
                  <a:lnTo>
                    <a:pt x="372" y="195"/>
                  </a:lnTo>
                  <a:lnTo>
                    <a:pt x="372" y="196"/>
                  </a:lnTo>
                  <a:lnTo>
                    <a:pt x="373" y="197"/>
                  </a:lnTo>
                  <a:lnTo>
                    <a:pt x="373" y="199"/>
                  </a:lnTo>
                  <a:lnTo>
                    <a:pt x="374" y="200"/>
                  </a:lnTo>
                  <a:lnTo>
                    <a:pt x="375" y="202"/>
                  </a:lnTo>
                  <a:lnTo>
                    <a:pt x="376" y="202"/>
                  </a:lnTo>
                  <a:lnTo>
                    <a:pt x="377" y="204"/>
                  </a:lnTo>
                  <a:lnTo>
                    <a:pt x="378" y="204"/>
                  </a:lnTo>
                  <a:lnTo>
                    <a:pt x="379" y="205"/>
                  </a:lnTo>
                  <a:lnTo>
                    <a:pt x="380" y="206"/>
                  </a:lnTo>
                  <a:lnTo>
                    <a:pt x="381" y="207"/>
                  </a:lnTo>
                  <a:lnTo>
                    <a:pt x="382" y="207"/>
                  </a:lnTo>
                  <a:lnTo>
                    <a:pt x="383" y="207"/>
                  </a:lnTo>
                  <a:lnTo>
                    <a:pt x="386" y="207"/>
                  </a:lnTo>
                  <a:lnTo>
                    <a:pt x="387" y="208"/>
                  </a:lnTo>
                  <a:lnTo>
                    <a:pt x="388" y="208"/>
                  </a:lnTo>
                  <a:lnTo>
                    <a:pt x="389" y="209"/>
                  </a:lnTo>
                  <a:lnTo>
                    <a:pt x="390" y="209"/>
                  </a:lnTo>
                  <a:lnTo>
                    <a:pt x="391" y="210"/>
                  </a:lnTo>
                  <a:lnTo>
                    <a:pt x="392" y="211"/>
                  </a:lnTo>
                  <a:lnTo>
                    <a:pt x="394" y="212"/>
                  </a:lnTo>
                  <a:lnTo>
                    <a:pt x="395" y="214"/>
                  </a:lnTo>
                  <a:lnTo>
                    <a:pt x="397" y="217"/>
                  </a:lnTo>
                  <a:lnTo>
                    <a:pt x="399" y="219"/>
                  </a:lnTo>
                  <a:lnTo>
                    <a:pt x="400" y="221"/>
                  </a:lnTo>
                  <a:lnTo>
                    <a:pt x="402" y="224"/>
                  </a:lnTo>
                  <a:lnTo>
                    <a:pt x="404" y="228"/>
                  </a:lnTo>
                  <a:lnTo>
                    <a:pt x="406" y="230"/>
                  </a:lnTo>
                  <a:lnTo>
                    <a:pt x="408" y="233"/>
                  </a:lnTo>
                  <a:lnTo>
                    <a:pt x="409" y="233"/>
                  </a:lnTo>
                  <a:lnTo>
                    <a:pt x="410" y="234"/>
                  </a:lnTo>
                  <a:lnTo>
                    <a:pt x="413" y="237"/>
                  </a:lnTo>
                  <a:lnTo>
                    <a:pt x="416" y="242"/>
                  </a:lnTo>
                  <a:lnTo>
                    <a:pt x="417" y="243"/>
                  </a:lnTo>
                  <a:lnTo>
                    <a:pt x="418" y="244"/>
                  </a:lnTo>
                  <a:lnTo>
                    <a:pt x="419" y="245"/>
                  </a:lnTo>
                  <a:lnTo>
                    <a:pt x="422" y="247"/>
                  </a:lnTo>
                  <a:lnTo>
                    <a:pt x="423" y="248"/>
                  </a:lnTo>
                  <a:lnTo>
                    <a:pt x="423" y="248"/>
                  </a:lnTo>
                  <a:lnTo>
                    <a:pt x="424" y="249"/>
                  </a:lnTo>
                  <a:lnTo>
                    <a:pt x="425" y="251"/>
                  </a:lnTo>
                  <a:lnTo>
                    <a:pt x="426" y="252"/>
                  </a:lnTo>
                  <a:lnTo>
                    <a:pt x="426" y="253"/>
                  </a:lnTo>
                  <a:lnTo>
                    <a:pt x="427" y="254"/>
                  </a:lnTo>
                  <a:lnTo>
                    <a:pt x="428" y="255"/>
                  </a:lnTo>
                  <a:lnTo>
                    <a:pt x="428" y="258"/>
                  </a:lnTo>
                  <a:lnTo>
                    <a:pt x="429" y="259"/>
                  </a:lnTo>
                  <a:lnTo>
                    <a:pt x="429" y="261"/>
                  </a:lnTo>
                  <a:lnTo>
                    <a:pt x="429" y="265"/>
                  </a:lnTo>
                  <a:lnTo>
                    <a:pt x="429" y="268"/>
                  </a:lnTo>
                  <a:lnTo>
                    <a:pt x="430" y="270"/>
                  </a:lnTo>
                  <a:lnTo>
                    <a:pt x="430" y="272"/>
                  </a:lnTo>
                  <a:lnTo>
                    <a:pt x="431" y="275"/>
                  </a:lnTo>
                  <a:lnTo>
                    <a:pt x="431" y="277"/>
                  </a:lnTo>
                  <a:lnTo>
                    <a:pt x="431" y="277"/>
                  </a:lnTo>
                  <a:lnTo>
                    <a:pt x="431" y="278"/>
                  </a:lnTo>
                  <a:lnTo>
                    <a:pt x="432" y="280"/>
                  </a:lnTo>
                  <a:lnTo>
                    <a:pt x="433" y="282"/>
                  </a:lnTo>
                  <a:lnTo>
                    <a:pt x="435" y="285"/>
                  </a:lnTo>
                  <a:lnTo>
                    <a:pt x="436" y="286"/>
                  </a:lnTo>
                  <a:lnTo>
                    <a:pt x="436" y="287"/>
                  </a:lnTo>
                  <a:lnTo>
                    <a:pt x="436" y="288"/>
                  </a:lnTo>
                  <a:lnTo>
                    <a:pt x="436" y="289"/>
                  </a:lnTo>
                  <a:lnTo>
                    <a:pt x="436" y="289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5" y="290"/>
                  </a:lnTo>
                  <a:lnTo>
                    <a:pt x="434" y="290"/>
                  </a:lnTo>
                  <a:lnTo>
                    <a:pt x="433" y="290"/>
                  </a:lnTo>
                  <a:lnTo>
                    <a:pt x="431" y="289"/>
                  </a:lnTo>
                  <a:lnTo>
                    <a:pt x="430" y="289"/>
                  </a:lnTo>
                  <a:lnTo>
                    <a:pt x="425" y="287"/>
                  </a:lnTo>
                  <a:lnTo>
                    <a:pt x="423" y="286"/>
                  </a:lnTo>
                  <a:lnTo>
                    <a:pt x="421" y="285"/>
                  </a:lnTo>
                  <a:lnTo>
                    <a:pt x="420" y="284"/>
                  </a:lnTo>
                  <a:lnTo>
                    <a:pt x="417" y="283"/>
                  </a:lnTo>
                  <a:lnTo>
                    <a:pt x="417" y="282"/>
                  </a:lnTo>
                  <a:lnTo>
                    <a:pt x="416" y="282"/>
                  </a:lnTo>
                  <a:lnTo>
                    <a:pt x="414" y="281"/>
                  </a:lnTo>
                  <a:lnTo>
                    <a:pt x="414" y="281"/>
                  </a:lnTo>
                  <a:lnTo>
                    <a:pt x="413" y="281"/>
                  </a:lnTo>
                  <a:lnTo>
                    <a:pt x="412" y="281"/>
                  </a:lnTo>
                  <a:lnTo>
                    <a:pt x="412" y="281"/>
                  </a:lnTo>
                  <a:lnTo>
                    <a:pt x="411" y="281"/>
                  </a:lnTo>
                  <a:lnTo>
                    <a:pt x="411" y="281"/>
                  </a:lnTo>
                  <a:lnTo>
                    <a:pt x="410" y="281"/>
                  </a:lnTo>
                  <a:lnTo>
                    <a:pt x="410" y="281"/>
                  </a:lnTo>
                  <a:lnTo>
                    <a:pt x="409" y="282"/>
                  </a:lnTo>
                  <a:lnTo>
                    <a:pt x="408" y="282"/>
                  </a:lnTo>
                  <a:lnTo>
                    <a:pt x="408" y="282"/>
                  </a:lnTo>
                  <a:lnTo>
                    <a:pt x="407" y="283"/>
                  </a:lnTo>
                  <a:lnTo>
                    <a:pt x="407" y="284"/>
                  </a:lnTo>
                  <a:lnTo>
                    <a:pt x="407" y="285"/>
                  </a:lnTo>
                  <a:lnTo>
                    <a:pt x="405" y="288"/>
                  </a:lnTo>
                  <a:lnTo>
                    <a:pt x="404" y="290"/>
                  </a:lnTo>
                  <a:lnTo>
                    <a:pt x="404" y="291"/>
                  </a:lnTo>
                  <a:lnTo>
                    <a:pt x="403" y="292"/>
                  </a:lnTo>
                  <a:lnTo>
                    <a:pt x="402" y="292"/>
                  </a:lnTo>
                  <a:lnTo>
                    <a:pt x="401" y="293"/>
                  </a:lnTo>
                  <a:lnTo>
                    <a:pt x="400" y="294"/>
                  </a:lnTo>
                  <a:lnTo>
                    <a:pt x="399" y="295"/>
                  </a:lnTo>
                  <a:lnTo>
                    <a:pt x="398" y="296"/>
                  </a:lnTo>
                  <a:lnTo>
                    <a:pt x="396" y="296"/>
                  </a:lnTo>
                  <a:lnTo>
                    <a:pt x="394" y="297"/>
                  </a:lnTo>
                  <a:lnTo>
                    <a:pt x="392" y="299"/>
                  </a:lnTo>
                  <a:lnTo>
                    <a:pt x="392" y="299"/>
                  </a:lnTo>
                  <a:lnTo>
                    <a:pt x="390" y="300"/>
                  </a:lnTo>
                  <a:lnTo>
                    <a:pt x="390" y="300"/>
                  </a:lnTo>
                  <a:lnTo>
                    <a:pt x="387" y="302"/>
                  </a:lnTo>
                  <a:lnTo>
                    <a:pt x="384" y="303"/>
                  </a:lnTo>
                  <a:lnTo>
                    <a:pt x="382" y="304"/>
                  </a:lnTo>
                  <a:lnTo>
                    <a:pt x="381" y="304"/>
                  </a:lnTo>
                  <a:lnTo>
                    <a:pt x="380" y="305"/>
                  </a:lnTo>
                  <a:lnTo>
                    <a:pt x="378" y="307"/>
                  </a:lnTo>
                  <a:lnTo>
                    <a:pt x="376" y="308"/>
                  </a:lnTo>
                  <a:lnTo>
                    <a:pt x="374" y="309"/>
                  </a:lnTo>
                  <a:lnTo>
                    <a:pt x="372" y="311"/>
                  </a:lnTo>
                  <a:lnTo>
                    <a:pt x="371" y="311"/>
                  </a:lnTo>
                  <a:lnTo>
                    <a:pt x="370" y="312"/>
                  </a:lnTo>
                  <a:lnTo>
                    <a:pt x="369" y="313"/>
                  </a:lnTo>
                  <a:lnTo>
                    <a:pt x="368" y="314"/>
                  </a:lnTo>
                  <a:lnTo>
                    <a:pt x="368" y="315"/>
                  </a:lnTo>
                  <a:lnTo>
                    <a:pt x="368" y="315"/>
                  </a:lnTo>
                  <a:lnTo>
                    <a:pt x="367" y="316"/>
                  </a:lnTo>
                  <a:lnTo>
                    <a:pt x="367" y="317"/>
                  </a:lnTo>
                  <a:lnTo>
                    <a:pt x="367" y="317"/>
                  </a:lnTo>
                  <a:lnTo>
                    <a:pt x="367" y="320"/>
                  </a:lnTo>
                  <a:lnTo>
                    <a:pt x="367" y="320"/>
                  </a:lnTo>
                  <a:lnTo>
                    <a:pt x="367" y="321"/>
                  </a:lnTo>
                  <a:lnTo>
                    <a:pt x="366" y="322"/>
                  </a:lnTo>
                  <a:lnTo>
                    <a:pt x="366" y="322"/>
                  </a:lnTo>
                  <a:lnTo>
                    <a:pt x="366" y="323"/>
                  </a:lnTo>
                  <a:lnTo>
                    <a:pt x="365" y="324"/>
                  </a:lnTo>
                  <a:lnTo>
                    <a:pt x="364" y="325"/>
                  </a:lnTo>
                  <a:lnTo>
                    <a:pt x="362" y="326"/>
                  </a:lnTo>
                  <a:lnTo>
                    <a:pt x="361" y="327"/>
                  </a:lnTo>
                  <a:lnTo>
                    <a:pt x="361" y="327"/>
                  </a:lnTo>
                  <a:lnTo>
                    <a:pt x="361" y="327"/>
                  </a:lnTo>
                  <a:lnTo>
                    <a:pt x="360" y="328"/>
                  </a:lnTo>
                  <a:lnTo>
                    <a:pt x="360" y="329"/>
                  </a:lnTo>
                  <a:lnTo>
                    <a:pt x="360" y="329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1"/>
                  </a:lnTo>
                  <a:lnTo>
                    <a:pt x="361" y="334"/>
                  </a:lnTo>
                  <a:lnTo>
                    <a:pt x="361" y="334"/>
                  </a:lnTo>
                  <a:lnTo>
                    <a:pt x="361" y="335"/>
                  </a:lnTo>
                  <a:lnTo>
                    <a:pt x="361" y="335"/>
                  </a:lnTo>
                  <a:lnTo>
                    <a:pt x="361" y="336"/>
                  </a:lnTo>
                  <a:lnTo>
                    <a:pt x="360" y="336"/>
                  </a:lnTo>
                  <a:lnTo>
                    <a:pt x="360" y="336"/>
                  </a:lnTo>
                  <a:lnTo>
                    <a:pt x="359" y="336"/>
                  </a:lnTo>
                  <a:lnTo>
                    <a:pt x="359" y="337"/>
                  </a:lnTo>
                  <a:lnTo>
                    <a:pt x="358" y="337"/>
                  </a:lnTo>
                  <a:lnTo>
                    <a:pt x="357" y="337"/>
                  </a:lnTo>
                  <a:lnTo>
                    <a:pt x="356" y="337"/>
                  </a:lnTo>
                  <a:lnTo>
                    <a:pt x="355" y="336"/>
                  </a:lnTo>
                  <a:lnTo>
                    <a:pt x="353" y="336"/>
                  </a:lnTo>
                  <a:lnTo>
                    <a:pt x="352" y="335"/>
                  </a:lnTo>
                  <a:lnTo>
                    <a:pt x="351" y="335"/>
                  </a:lnTo>
                  <a:lnTo>
                    <a:pt x="350" y="335"/>
                  </a:lnTo>
                  <a:lnTo>
                    <a:pt x="349" y="335"/>
                  </a:lnTo>
                  <a:lnTo>
                    <a:pt x="347" y="336"/>
                  </a:lnTo>
                  <a:lnTo>
                    <a:pt x="344" y="336"/>
                  </a:lnTo>
                  <a:lnTo>
                    <a:pt x="343" y="336"/>
                  </a:lnTo>
                  <a:lnTo>
                    <a:pt x="341" y="336"/>
                  </a:lnTo>
                  <a:lnTo>
                    <a:pt x="341" y="336"/>
                  </a:lnTo>
                  <a:lnTo>
                    <a:pt x="340" y="336"/>
                  </a:lnTo>
                  <a:lnTo>
                    <a:pt x="339" y="335"/>
                  </a:lnTo>
                  <a:lnTo>
                    <a:pt x="338" y="335"/>
                  </a:lnTo>
                  <a:lnTo>
                    <a:pt x="338" y="335"/>
                  </a:lnTo>
                  <a:lnTo>
                    <a:pt x="337" y="335"/>
                  </a:lnTo>
                  <a:lnTo>
                    <a:pt x="337" y="335"/>
                  </a:lnTo>
                  <a:lnTo>
                    <a:pt x="336" y="335"/>
                  </a:lnTo>
                  <a:lnTo>
                    <a:pt x="334" y="336"/>
                  </a:lnTo>
                  <a:lnTo>
                    <a:pt x="333" y="336"/>
                  </a:lnTo>
                  <a:lnTo>
                    <a:pt x="332" y="337"/>
                  </a:lnTo>
                  <a:lnTo>
                    <a:pt x="329" y="337"/>
                  </a:lnTo>
                  <a:lnTo>
                    <a:pt x="327" y="338"/>
                  </a:lnTo>
                  <a:lnTo>
                    <a:pt x="326" y="338"/>
                  </a:lnTo>
                  <a:lnTo>
                    <a:pt x="325" y="338"/>
                  </a:lnTo>
                  <a:lnTo>
                    <a:pt x="324" y="338"/>
                  </a:lnTo>
                  <a:lnTo>
                    <a:pt x="324" y="338"/>
                  </a:lnTo>
                  <a:lnTo>
                    <a:pt x="323" y="337"/>
                  </a:lnTo>
                  <a:lnTo>
                    <a:pt x="322" y="337"/>
                  </a:lnTo>
                  <a:lnTo>
                    <a:pt x="321" y="336"/>
                  </a:lnTo>
                  <a:lnTo>
                    <a:pt x="320" y="336"/>
                  </a:lnTo>
                  <a:lnTo>
                    <a:pt x="316" y="333"/>
                  </a:lnTo>
                  <a:lnTo>
                    <a:pt x="315" y="332"/>
                  </a:lnTo>
                  <a:lnTo>
                    <a:pt x="314" y="331"/>
                  </a:lnTo>
                  <a:lnTo>
                    <a:pt x="313" y="330"/>
                  </a:lnTo>
                  <a:lnTo>
                    <a:pt x="311" y="330"/>
                  </a:lnTo>
                  <a:lnTo>
                    <a:pt x="309" y="329"/>
                  </a:lnTo>
                  <a:lnTo>
                    <a:pt x="306" y="328"/>
                  </a:lnTo>
                  <a:lnTo>
                    <a:pt x="305" y="327"/>
                  </a:lnTo>
                  <a:lnTo>
                    <a:pt x="305" y="327"/>
                  </a:lnTo>
                  <a:lnTo>
                    <a:pt x="303" y="326"/>
                  </a:lnTo>
                  <a:lnTo>
                    <a:pt x="302" y="325"/>
                  </a:lnTo>
                  <a:lnTo>
                    <a:pt x="300" y="323"/>
                  </a:lnTo>
                  <a:lnTo>
                    <a:pt x="299" y="322"/>
                  </a:lnTo>
                  <a:lnTo>
                    <a:pt x="298" y="322"/>
                  </a:lnTo>
                  <a:lnTo>
                    <a:pt x="297" y="321"/>
                  </a:lnTo>
                  <a:lnTo>
                    <a:pt x="296" y="321"/>
                  </a:lnTo>
                  <a:lnTo>
                    <a:pt x="293" y="319"/>
                  </a:lnTo>
                  <a:lnTo>
                    <a:pt x="291" y="319"/>
                  </a:lnTo>
                  <a:lnTo>
                    <a:pt x="290" y="318"/>
                  </a:lnTo>
                  <a:lnTo>
                    <a:pt x="289" y="317"/>
                  </a:lnTo>
                  <a:lnTo>
                    <a:pt x="288" y="316"/>
                  </a:lnTo>
                  <a:lnTo>
                    <a:pt x="287" y="315"/>
                  </a:lnTo>
                  <a:lnTo>
                    <a:pt x="286" y="314"/>
                  </a:lnTo>
                  <a:lnTo>
                    <a:pt x="284" y="311"/>
                  </a:lnTo>
                  <a:lnTo>
                    <a:pt x="282" y="310"/>
                  </a:lnTo>
                  <a:lnTo>
                    <a:pt x="281" y="309"/>
                  </a:lnTo>
                  <a:lnTo>
                    <a:pt x="281" y="309"/>
                  </a:lnTo>
                  <a:lnTo>
                    <a:pt x="281" y="309"/>
                  </a:lnTo>
                  <a:lnTo>
                    <a:pt x="279" y="308"/>
                  </a:lnTo>
                  <a:lnTo>
                    <a:pt x="278" y="307"/>
                  </a:lnTo>
                  <a:lnTo>
                    <a:pt x="277" y="307"/>
                  </a:lnTo>
                  <a:lnTo>
                    <a:pt x="274" y="306"/>
                  </a:lnTo>
                  <a:lnTo>
                    <a:pt x="272" y="306"/>
                  </a:lnTo>
                  <a:lnTo>
                    <a:pt x="271" y="305"/>
                  </a:lnTo>
                  <a:lnTo>
                    <a:pt x="270" y="305"/>
                  </a:lnTo>
                  <a:lnTo>
                    <a:pt x="270" y="304"/>
                  </a:lnTo>
                  <a:lnTo>
                    <a:pt x="269" y="304"/>
                  </a:lnTo>
                  <a:lnTo>
                    <a:pt x="269" y="303"/>
                  </a:lnTo>
                  <a:lnTo>
                    <a:pt x="268" y="302"/>
                  </a:lnTo>
                  <a:lnTo>
                    <a:pt x="268" y="301"/>
                  </a:lnTo>
                  <a:lnTo>
                    <a:pt x="267" y="300"/>
                  </a:lnTo>
                  <a:lnTo>
                    <a:pt x="266" y="296"/>
                  </a:lnTo>
                  <a:lnTo>
                    <a:pt x="266" y="295"/>
                  </a:lnTo>
                  <a:lnTo>
                    <a:pt x="265" y="294"/>
                  </a:lnTo>
                  <a:lnTo>
                    <a:pt x="265" y="293"/>
                  </a:lnTo>
                  <a:lnTo>
                    <a:pt x="264" y="293"/>
                  </a:lnTo>
                  <a:lnTo>
                    <a:pt x="264" y="292"/>
                  </a:lnTo>
                  <a:lnTo>
                    <a:pt x="263" y="292"/>
                  </a:lnTo>
                  <a:lnTo>
                    <a:pt x="261" y="289"/>
                  </a:lnTo>
                  <a:lnTo>
                    <a:pt x="261" y="288"/>
                  </a:lnTo>
                  <a:lnTo>
                    <a:pt x="260" y="288"/>
                  </a:lnTo>
                  <a:lnTo>
                    <a:pt x="259" y="287"/>
                  </a:lnTo>
                  <a:lnTo>
                    <a:pt x="258" y="287"/>
                  </a:lnTo>
                  <a:lnTo>
                    <a:pt x="257" y="286"/>
                  </a:lnTo>
                  <a:lnTo>
                    <a:pt x="255" y="286"/>
                  </a:lnTo>
                  <a:lnTo>
                    <a:pt x="252" y="285"/>
                  </a:lnTo>
                  <a:lnTo>
                    <a:pt x="248" y="284"/>
                  </a:lnTo>
                  <a:lnTo>
                    <a:pt x="246" y="283"/>
                  </a:lnTo>
                  <a:lnTo>
                    <a:pt x="243" y="283"/>
                  </a:lnTo>
                  <a:lnTo>
                    <a:pt x="242" y="282"/>
                  </a:lnTo>
                  <a:lnTo>
                    <a:pt x="241" y="282"/>
                  </a:lnTo>
                  <a:lnTo>
                    <a:pt x="240" y="282"/>
                  </a:lnTo>
                  <a:lnTo>
                    <a:pt x="239" y="282"/>
                  </a:lnTo>
                  <a:lnTo>
                    <a:pt x="238" y="283"/>
                  </a:lnTo>
                  <a:lnTo>
                    <a:pt x="236" y="284"/>
                  </a:lnTo>
                  <a:lnTo>
                    <a:pt x="234" y="284"/>
                  </a:lnTo>
                  <a:lnTo>
                    <a:pt x="233" y="285"/>
                  </a:lnTo>
                  <a:lnTo>
                    <a:pt x="232" y="286"/>
                  </a:lnTo>
                  <a:lnTo>
                    <a:pt x="232" y="286"/>
                  </a:lnTo>
                  <a:lnTo>
                    <a:pt x="229" y="289"/>
                  </a:lnTo>
                  <a:lnTo>
                    <a:pt x="228" y="289"/>
                  </a:lnTo>
                  <a:lnTo>
                    <a:pt x="228" y="290"/>
                  </a:lnTo>
                  <a:lnTo>
                    <a:pt x="227" y="290"/>
                  </a:lnTo>
                  <a:lnTo>
                    <a:pt x="226" y="291"/>
                  </a:lnTo>
                  <a:lnTo>
                    <a:pt x="223" y="292"/>
                  </a:lnTo>
                  <a:lnTo>
                    <a:pt x="222" y="293"/>
                  </a:lnTo>
                  <a:lnTo>
                    <a:pt x="221" y="293"/>
                  </a:lnTo>
                  <a:lnTo>
                    <a:pt x="218" y="295"/>
                  </a:lnTo>
                  <a:lnTo>
                    <a:pt x="217" y="296"/>
                  </a:lnTo>
                  <a:lnTo>
                    <a:pt x="216" y="296"/>
                  </a:lnTo>
                  <a:lnTo>
                    <a:pt x="215" y="296"/>
                  </a:lnTo>
                  <a:lnTo>
                    <a:pt x="215" y="296"/>
                  </a:lnTo>
                  <a:lnTo>
                    <a:pt x="214" y="296"/>
                  </a:lnTo>
                  <a:lnTo>
                    <a:pt x="214" y="296"/>
                  </a:lnTo>
                  <a:lnTo>
                    <a:pt x="213" y="296"/>
                  </a:lnTo>
                  <a:lnTo>
                    <a:pt x="212" y="296"/>
                  </a:lnTo>
                  <a:lnTo>
                    <a:pt x="211" y="296"/>
                  </a:lnTo>
                  <a:lnTo>
                    <a:pt x="210" y="296"/>
                  </a:lnTo>
                  <a:lnTo>
                    <a:pt x="210" y="296"/>
                  </a:lnTo>
                  <a:lnTo>
                    <a:pt x="209" y="295"/>
                  </a:lnTo>
                  <a:lnTo>
                    <a:pt x="209" y="295"/>
                  </a:lnTo>
                  <a:lnTo>
                    <a:pt x="208" y="294"/>
                  </a:lnTo>
                  <a:lnTo>
                    <a:pt x="207" y="294"/>
                  </a:lnTo>
                  <a:lnTo>
                    <a:pt x="207" y="293"/>
                  </a:lnTo>
                  <a:lnTo>
                    <a:pt x="206" y="292"/>
                  </a:lnTo>
                  <a:lnTo>
                    <a:pt x="206" y="291"/>
                  </a:lnTo>
                  <a:lnTo>
                    <a:pt x="205" y="288"/>
                  </a:lnTo>
                  <a:lnTo>
                    <a:pt x="204" y="286"/>
                  </a:lnTo>
                  <a:lnTo>
                    <a:pt x="204" y="285"/>
                  </a:lnTo>
                  <a:lnTo>
                    <a:pt x="203" y="283"/>
                  </a:lnTo>
                  <a:lnTo>
                    <a:pt x="202" y="282"/>
                  </a:lnTo>
                  <a:lnTo>
                    <a:pt x="201" y="282"/>
                  </a:lnTo>
                  <a:lnTo>
                    <a:pt x="201" y="281"/>
                  </a:lnTo>
                  <a:lnTo>
                    <a:pt x="200" y="281"/>
                  </a:lnTo>
                  <a:lnTo>
                    <a:pt x="200" y="280"/>
                  </a:lnTo>
                  <a:lnTo>
                    <a:pt x="199" y="279"/>
                  </a:lnTo>
                  <a:lnTo>
                    <a:pt x="199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6" y="280"/>
                  </a:lnTo>
                  <a:lnTo>
                    <a:pt x="194" y="281"/>
                  </a:lnTo>
                  <a:lnTo>
                    <a:pt x="193" y="282"/>
                  </a:lnTo>
                  <a:lnTo>
                    <a:pt x="192" y="283"/>
                  </a:lnTo>
                  <a:lnTo>
                    <a:pt x="191" y="284"/>
                  </a:lnTo>
                  <a:lnTo>
                    <a:pt x="190" y="285"/>
                  </a:lnTo>
                  <a:lnTo>
                    <a:pt x="189" y="285"/>
                  </a:lnTo>
                  <a:lnTo>
                    <a:pt x="189" y="286"/>
                  </a:lnTo>
                  <a:lnTo>
                    <a:pt x="188" y="287"/>
                  </a:lnTo>
                  <a:lnTo>
                    <a:pt x="188" y="287"/>
                  </a:lnTo>
                  <a:lnTo>
                    <a:pt x="187" y="288"/>
                  </a:lnTo>
                  <a:lnTo>
                    <a:pt x="186" y="291"/>
                  </a:lnTo>
                  <a:lnTo>
                    <a:pt x="186" y="292"/>
                  </a:lnTo>
                  <a:lnTo>
                    <a:pt x="185" y="292"/>
                  </a:lnTo>
                  <a:lnTo>
                    <a:pt x="185" y="293"/>
                  </a:lnTo>
                  <a:lnTo>
                    <a:pt x="184" y="294"/>
                  </a:lnTo>
                  <a:lnTo>
                    <a:pt x="184" y="294"/>
                  </a:lnTo>
                  <a:lnTo>
                    <a:pt x="183" y="295"/>
                  </a:lnTo>
                  <a:lnTo>
                    <a:pt x="182" y="296"/>
                  </a:lnTo>
                  <a:lnTo>
                    <a:pt x="181" y="296"/>
                  </a:lnTo>
                  <a:lnTo>
                    <a:pt x="180" y="296"/>
                  </a:lnTo>
                  <a:lnTo>
                    <a:pt x="178" y="297"/>
                  </a:lnTo>
                  <a:lnTo>
                    <a:pt x="176" y="297"/>
                  </a:lnTo>
                  <a:lnTo>
                    <a:pt x="175" y="298"/>
                  </a:lnTo>
                  <a:lnTo>
                    <a:pt x="172" y="299"/>
                  </a:lnTo>
                  <a:lnTo>
                    <a:pt x="171" y="300"/>
                  </a:lnTo>
                  <a:lnTo>
                    <a:pt x="170" y="300"/>
                  </a:lnTo>
                  <a:lnTo>
                    <a:pt x="170" y="300"/>
                  </a:lnTo>
                  <a:lnTo>
                    <a:pt x="168" y="300"/>
                  </a:lnTo>
                  <a:lnTo>
                    <a:pt x="167" y="300"/>
                  </a:lnTo>
                  <a:lnTo>
                    <a:pt x="167" y="300"/>
                  </a:lnTo>
                  <a:lnTo>
                    <a:pt x="165" y="299"/>
                  </a:lnTo>
                  <a:lnTo>
                    <a:pt x="163" y="298"/>
                  </a:lnTo>
                  <a:lnTo>
                    <a:pt x="161" y="298"/>
                  </a:lnTo>
                  <a:lnTo>
                    <a:pt x="161" y="297"/>
                  </a:lnTo>
                  <a:lnTo>
                    <a:pt x="160" y="297"/>
                  </a:lnTo>
                  <a:lnTo>
                    <a:pt x="159" y="297"/>
                  </a:lnTo>
                  <a:lnTo>
                    <a:pt x="158" y="297"/>
                  </a:lnTo>
                  <a:lnTo>
                    <a:pt x="156" y="297"/>
                  </a:lnTo>
                  <a:lnTo>
                    <a:pt x="155" y="297"/>
                  </a:lnTo>
                  <a:lnTo>
                    <a:pt x="153" y="297"/>
                  </a:lnTo>
                  <a:lnTo>
                    <a:pt x="152" y="297"/>
                  </a:lnTo>
                  <a:lnTo>
                    <a:pt x="151" y="297"/>
                  </a:lnTo>
                  <a:lnTo>
                    <a:pt x="148" y="297"/>
                  </a:lnTo>
                  <a:lnTo>
                    <a:pt x="147" y="297"/>
                  </a:lnTo>
                  <a:lnTo>
                    <a:pt x="146" y="297"/>
                  </a:lnTo>
                  <a:lnTo>
                    <a:pt x="144" y="297"/>
                  </a:lnTo>
                  <a:lnTo>
                    <a:pt x="144" y="297"/>
                  </a:lnTo>
                  <a:lnTo>
                    <a:pt x="143" y="297"/>
                  </a:lnTo>
                  <a:lnTo>
                    <a:pt x="142" y="296"/>
                  </a:lnTo>
                  <a:lnTo>
                    <a:pt x="141" y="296"/>
                  </a:lnTo>
                  <a:lnTo>
                    <a:pt x="140" y="296"/>
                  </a:lnTo>
                  <a:lnTo>
                    <a:pt x="139" y="294"/>
                  </a:lnTo>
                  <a:lnTo>
                    <a:pt x="138" y="294"/>
                  </a:lnTo>
                  <a:lnTo>
                    <a:pt x="138" y="294"/>
                  </a:lnTo>
                  <a:lnTo>
                    <a:pt x="137" y="293"/>
                  </a:lnTo>
                  <a:lnTo>
                    <a:pt x="137" y="293"/>
                  </a:lnTo>
                  <a:lnTo>
                    <a:pt x="136" y="293"/>
                  </a:lnTo>
                  <a:lnTo>
                    <a:pt x="136" y="293"/>
                  </a:lnTo>
                  <a:lnTo>
                    <a:pt x="136" y="293"/>
                  </a:lnTo>
                  <a:lnTo>
                    <a:pt x="135" y="293"/>
                  </a:lnTo>
                  <a:lnTo>
                    <a:pt x="132" y="295"/>
                  </a:lnTo>
                  <a:lnTo>
                    <a:pt x="131" y="296"/>
                  </a:lnTo>
                  <a:lnTo>
                    <a:pt x="130" y="296"/>
                  </a:lnTo>
                  <a:lnTo>
                    <a:pt x="128" y="296"/>
                  </a:lnTo>
                  <a:lnTo>
                    <a:pt x="127" y="296"/>
                  </a:lnTo>
                  <a:lnTo>
                    <a:pt x="126" y="297"/>
                  </a:lnTo>
                  <a:lnTo>
                    <a:pt x="125" y="297"/>
                  </a:lnTo>
                  <a:lnTo>
                    <a:pt x="125" y="298"/>
                  </a:lnTo>
                  <a:lnTo>
                    <a:pt x="124" y="298"/>
                  </a:lnTo>
                  <a:lnTo>
                    <a:pt x="123" y="299"/>
                  </a:lnTo>
                  <a:lnTo>
                    <a:pt x="123" y="300"/>
                  </a:lnTo>
                  <a:lnTo>
                    <a:pt x="122" y="300"/>
                  </a:lnTo>
                  <a:lnTo>
                    <a:pt x="122" y="301"/>
                  </a:lnTo>
                  <a:lnTo>
                    <a:pt x="121" y="303"/>
                  </a:lnTo>
                  <a:lnTo>
                    <a:pt x="121" y="303"/>
                  </a:lnTo>
                  <a:lnTo>
                    <a:pt x="120" y="304"/>
                  </a:lnTo>
                  <a:lnTo>
                    <a:pt x="120" y="305"/>
                  </a:lnTo>
                  <a:lnTo>
                    <a:pt x="118" y="306"/>
                  </a:lnTo>
                  <a:lnTo>
                    <a:pt x="117" y="307"/>
                  </a:lnTo>
                  <a:lnTo>
                    <a:pt x="116" y="307"/>
                  </a:lnTo>
                  <a:lnTo>
                    <a:pt x="115" y="308"/>
                  </a:lnTo>
                  <a:lnTo>
                    <a:pt x="114" y="308"/>
                  </a:lnTo>
                  <a:lnTo>
                    <a:pt x="112" y="310"/>
                  </a:lnTo>
                  <a:lnTo>
                    <a:pt x="111" y="310"/>
                  </a:lnTo>
                  <a:lnTo>
                    <a:pt x="110" y="311"/>
                  </a:lnTo>
                  <a:lnTo>
                    <a:pt x="109" y="311"/>
                  </a:lnTo>
                  <a:lnTo>
                    <a:pt x="108" y="312"/>
                  </a:lnTo>
                  <a:lnTo>
                    <a:pt x="107" y="312"/>
                  </a:lnTo>
                  <a:lnTo>
                    <a:pt x="106" y="312"/>
                  </a:lnTo>
                  <a:lnTo>
                    <a:pt x="105" y="312"/>
                  </a:lnTo>
                  <a:lnTo>
                    <a:pt x="104" y="313"/>
                  </a:lnTo>
                  <a:lnTo>
                    <a:pt x="103" y="313"/>
                  </a:lnTo>
                  <a:lnTo>
                    <a:pt x="102" y="313"/>
                  </a:lnTo>
                  <a:lnTo>
                    <a:pt x="102" y="313"/>
                  </a:lnTo>
                  <a:lnTo>
                    <a:pt x="101" y="312"/>
                  </a:lnTo>
                  <a:lnTo>
                    <a:pt x="100" y="312"/>
                  </a:lnTo>
                  <a:lnTo>
                    <a:pt x="99" y="312"/>
                  </a:lnTo>
                  <a:lnTo>
                    <a:pt x="98" y="311"/>
                  </a:lnTo>
                  <a:lnTo>
                    <a:pt x="98" y="311"/>
                  </a:lnTo>
                  <a:lnTo>
                    <a:pt x="97" y="311"/>
                  </a:lnTo>
                  <a:lnTo>
                    <a:pt x="97" y="310"/>
                  </a:lnTo>
                  <a:lnTo>
                    <a:pt x="97" y="310"/>
                  </a:lnTo>
                  <a:lnTo>
                    <a:pt x="97" y="310"/>
                  </a:lnTo>
                  <a:lnTo>
                    <a:pt x="97" y="309"/>
                  </a:lnTo>
                  <a:lnTo>
                    <a:pt x="97" y="308"/>
                  </a:lnTo>
                  <a:lnTo>
                    <a:pt x="97" y="306"/>
                  </a:lnTo>
                  <a:lnTo>
                    <a:pt x="97" y="306"/>
                  </a:lnTo>
                  <a:lnTo>
                    <a:pt x="97" y="305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7" y="303"/>
                  </a:lnTo>
                  <a:lnTo>
                    <a:pt x="97" y="303"/>
                  </a:lnTo>
                  <a:lnTo>
                    <a:pt x="96" y="302"/>
                  </a:lnTo>
                  <a:lnTo>
                    <a:pt x="96" y="302"/>
                  </a:lnTo>
                  <a:lnTo>
                    <a:pt x="96" y="301"/>
                  </a:lnTo>
                  <a:lnTo>
                    <a:pt x="94" y="301"/>
                  </a:lnTo>
                  <a:lnTo>
                    <a:pt x="93" y="300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7"/>
                  </a:lnTo>
                  <a:lnTo>
                    <a:pt x="87" y="297"/>
                  </a:lnTo>
                  <a:lnTo>
                    <a:pt x="85" y="296"/>
                  </a:lnTo>
                  <a:lnTo>
                    <a:pt x="84" y="296"/>
                  </a:lnTo>
                  <a:lnTo>
                    <a:pt x="83" y="296"/>
                  </a:lnTo>
                  <a:lnTo>
                    <a:pt x="79" y="295"/>
                  </a:lnTo>
                  <a:lnTo>
                    <a:pt x="76" y="294"/>
                  </a:lnTo>
                  <a:lnTo>
                    <a:pt x="75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2"/>
                  </a:lnTo>
                  <a:lnTo>
                    <a:pt x="74" y="292"/>
                  </a:lnTo>
                  <a:lnTo>
                    <a:pt x="74" y="292"/>
                  </a:lnTo>
                  <a:lnTo>
                    <a:pt x="75" y="289"/>
                  </a:lnTo>
                  <a:lnTo>
                    <a:pt x="75" y="289"/>
                  </a:lnTo>
                  <a:lnTo>
                    <a:pt x="75" y="288"/>
                  </a:lnTo>
                  <a:lnTo>
                    <a:pt x="75" y="287"/>
                  </a:lnTo>
                  <a:lnTo>
                    <a:pt x="74" y="286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5" y="284"/>
                  </a:lnTo>
                  <a:lnTo>
                    <a:pt x="75" y="283"/>
                  </a:lnTo>
                  <a:lnTo>
                    <a:pt x="76" y="282"/>
                  </a:lnTo>
                  <a:lnTo>
                    <a:pt x="77" y="281"/>
                  </a:lnTo>
                  <a:lnTo>
                    <a:pt x="78" y="279"/>
                  </a:lnTo>
                  <a:lnTo>
                    <a:pt x="79" y="278"/>
                  </a:lnTo>
                  <a:lnTo>
                    <a:pt x="80" y="277"/>
                  </a:lnTo>
                  <a:lnTo>
                    <a:pt x="81" y="275"/>
                  </a:lnTo>
                  <a:lnTo>
                    <a:pt x="82" y="274"/>
                  </a:lnTo>
                  <a:lnTo>
                    <a:pt x="82" y="273"/>
                  </a:lnTo>
                  <a:lnTo>
                    <a:pt x="83" y="271"/>
                  </a:lnTo>
                  <a:lnTo>
                    <a:pt x="83" y="270"/>
                  </a:lnTo>
                  <a:lnTo>
                    <a:pt x="84" y="269"/>
                  </a:lnTo>
                  <a:lnTo>
                    <a:pt x="84" y="268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66"/>
                  </a:lnTo>
                  <a:lnTo>
                    <a:pt x="84" y="266"/>
                  </a:lnTo>
                  <a:lnTo>
                    <a:pt x="83" y="264"/>
                  </a:lnTo>
                  <a:lnTo>
                    <a:pt x="83" y="263"/>
                  </a:lnTo>
                  <a:lnTo>
                    <a:pt x="82" y="261"/>
                  </a:lnTo>
                  <a:lnTo>
                    <a:pt x="82" y="260"/>
                  </a:lnTo>
                  <a:lnTo>
                    <a:pt x="80" y="258"/>
                  </a:lnTo>
                  <a:lnTo>
                    <a:pt x="79" y="257"/>
                  </a:lnTo>
                  <a:lnTo>
                    <a:pt x="78" y="255"/>
                  </a:lnTo>
                  <a:lnTo>
                    <a:pt x="78" y="254"/>
                  </a:lnTo>
                  <a:lnTo>
                    <a:pt x="78" y="254"/>
                  </a:lnTo>
                  <a:lnTo>
                    <a:pt x="78" y="253"/>
                  </a:lnTo>
                  <a:lnTo>
                    <a:pt x="78" y="251"/>
                  </a:lnTo>
                  <a:lnTo>
                    <a:pt x="78" y="249"/>
                  </a:lnTo>
                  <a:lnTo>
                    <a:pt x="78" y="248"/>
                  </a:lnTo>
                  <a:lnTo>
                    <a:pt x="78" y="247"/>
                  </a:lnTo>
                  <a:lnTo>
                    <a:pt x="78" y="246"/>
                  </a:lnTo>
                  <a:lnTo>
                    <a:pt x="78" y="243"/>
                  </a:lnTo>
                  <a:lnTo>
                    <a:pt x="79" y="242"/>
                  </a:lnTo>
                  <a:lnTo>
                    <a:pt x="79" y="240"/>
                  </a:lnTo>
                  <a:lnTo>
                    <a:pt x="78" y="237"/>
                  </a:lnTo>
                  <a:lnTo>
                    <a:pt x="78" y="235"/>
                  </a:lnTo>
                  <a:lnTo>
                    <a:pt x="78" y="233"/>
                  </a:lnTo>
                  <a:lnTo>
                    <a:pt x="78" y="233"/>
                  </a:lnTo>
                  <a:lnTo>
                    <a:pt x="78" y="231"/>
                  </a:lnTo>
                  <a:lnTo>
                    <a:pt x="77" y="230"/>
                  </a:lnTo>
                  <a:lnTo>
                    <a:pt x="77" y="230"/>
                  </a:lnTo>
                  <a:lnTo>
                    <a:pt x="77" y="229"/>
                  </a:lnTo>
                  <a:lnTo>
                    <a:pt x="76" y="228"/>
                  </a:lnTo>
                  <a:lnTo>
                    <a:pt x="75" y="228"/>
                  </a:lnTo>
                  <a:lnTo>
                    <a:pt x="75" y="227"/>
                  </a:lnTo>
                  <a:lnTo>
                    <a:pt x="73" y="226"/>
                  </a:lnTo>
                  <a:lnTo>
                    <a:pt x="72" y="225"/>
                  </a:lnTo>
                  <a:lnTo>
                    <a:pt x="72" y="224"/>
                  </a:lnTo>
                  <a:lnTo>
                    <a:pt x="71" y="224"/>
                  </a:lnTo>
                  <a:lnTo>
                    <a:pt x="70" y="224"/>
                  </a:lnTo>
                  <a:lnTo>
                    <a:pt x="70" y="224"/>
                  </a:lnTo>
                  <a:lnTo>
                    <a:pt x="69" y="224"/>
                  </a:lnTo>
                  <a:lnTo>
                    <a:pt x="68" y="224"/>
                  </a:lnTo>
                  <a:lnTo>
                    <a:pt x="68" y="224"/>
                  </a:lnTo>
                  <a:lnTo>
                    <a:pt x="66" y="225"/>
                  </a:lnTo>
                  <a:lnTo>
                    <a:pt x="65" y="225"/>
                  </a:lnTo>
                  <a:lnTo>
                    <a:pt x="63" y="226"/>
                  </a:lnTo>
                  <a:lnTo>
                    <a:pt x="59" y="227"/>
                  </a:lnTo>
                  <a:lnTo>
                    <a:pt x="58" y="228"/>
                  </a:lnTo>
                  <a:lnTo>
                    <a:pt x="57" y="228"/>
                  </a:lnTo>
                  <a:lnTo>
                    <a:pt x="56" y="228"/>
                  </a:lnTo>
                  <a:lnTo>
                    <a:pt x="55" y="228"/>
                  </a:lnTo>
                  <a:lnTo>
                    <a:pt x="52" y="227"/>
                  </a:lnTo>
                  <a:lnTo>
                    <a:pt x="49" y="227"/>
                  </a:lnTo>
                  <a:lnTo>
                    <a:pt x="45" y="226"/>
                  </a:lnTo>
                  <a:lnTo>
                    <a:pt x="44" y="226"/>
                  </a:lnTo>
                  <a:lnTo>
                    <a:pt x="43" y="226"/>
                  </a:lnTo>
                  <a:lnTo>
                    <a:pt x="39" y="227"/>
                  </a:lnTo>
                  <a:lnTo>
                    <a:pt x="38" y="227"/>
                  </a:lnTo>
                  <a:lnTo>
                    <a:pt x="37" y="227"/>
                  </a:lnTo>
                  <a:lnTo>
                    <a:pt x="36" y="227"/>
                  </a:lnTo>
                  <a:lnTo>
                    <a:pt x="36" y="227"/>
                  </a:lnTo>
                  <a:lnTo>
                    <a:pt x="35" y="226"/>
                  </a:lnTo>
                  <a:lnTo>
                    <a:pt x="34" y="226"/>
                  </a:lnTo>
                  <a:lnTo>
                    <a:pt x="33" y="226"/>
                  </a:lnTo>
                  <a:lnTo>
                    <a:pt x="33" y="225"/>
                  </a:lnTo>
                  <a:lnTo>
                    <a:pt x="32" y="225"/>
                  </a:lnTo>
                  <a:lnTo>
                    <a:pt x="31" y="224"/>
                  </a:lnTo>
                  <a:lnTo>
                    <a:pt x="31" y="224"/>
                  </a:lnTo>
                  <a:lnTo>
                    <a:pt x="30" y="223"/>
                  </a:lnTo>
                  <a:lnTo>
                    <a:pt x="30" y="223"/>
                  </a:lnTo>
                  <a:lnTo>
                    <a:pt x="30" y="222"/>
                  </a:lnTo>
                  <a:lnTo>
                    <a:pt x="29" y="221"/>
                  </a:lnTo>
                  <a:lnTo>
                    <a:pt x="29" y="220"/>
                  </a:lnTo>
                  <a:lnTo>
                    <a:pt x="29" y="219"/>
                  </a:lnTo>
                  <a:lnTo>
                    <a:pt x="29" y="219"/>
                  </a:lnTo>
                  <a:lnTo>
                    <a:pt x="29" y="217"/>
                  </a:lnTo>
                  <a:lnTo>
                    <a:pt x="29" y="215"/>
                  </a:lnTo>
                  <a:lnTo>
                    <a:pt x="29" y="214"/>
                  </a:lnTo>
                  <a:lnTo>
                    <a:pt x="28" y="214"/>
                  </a:lnTo>
                  <a:lnTo>
                    <a:pt x="28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5" y="210"/>
                  </a:lnTo>
                  <a:lnTo>
                    <a:pt x="24" y="209"/>
                  </a:lnTo>
                  <a:lnTo>
                    <a:pt x="23" y="208"/>
                  </a:lnTo>
                  <a:lnTo>
                    <a:pt x="22" y="207"/>
                  </a:lnTo>
                  <a:lnTo>
                    <a:pt x="22" y="207"/>
                  </a:lnTo>
                  <a:lnTo>
                    <a:pt x="21" y="205"/>
                  </a:lnTo>
                  <a:lnTo>
                    <a:pt x="20" y="205"/>
                  </a:lnTo>
                  <a:lnTo>
                    <a:pt x="20" y="204"/>
                  </a:lnTo>
                  <a:lnTo>
                    <a:pt x="19" y="204"/>
                  </a:lnTo>
                  <a:lnTo>
                    <a:pt x="18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5" y="202"/>
                  </a:lnTo>
                  <a:lnTo>
                    <a:pt x="12" y="202"/>
                  </a:lnTo>
                  <a:lnTo>
                    <a:pt x="11" y="202"/>
                  </a:lnTo>
                  <a:lnTo>
                    <a:pt x="10" y="202"/>
                  </a:lnTo>
                  <a:lnTo>
                    <a:pt x="10" y="202"/>
                  </a:lnTo>
                  <a:lnTo>
                    <a:pt x="9" y="201"/>
                  </a:lnTo>
                  <a:lnTo>
                    <a:pt x="9" y="201"/>
                  </a:lnTo>
                  <a:lnTo>
                    <a:pt x="8" y="201"/>
                  </a:lnTo>
                  <a:lnTo>
                    <a:pt x="7" y="200"/>
                  </a:lnTo>
                  <a:lnTo>
                    <a:pt x="6" y="200"/>
                  </a:lnTo>
                  <a:lnTo>
                    <a:pt x="6" y="199"/>
                  </a:lnTo>
                  <a:lnTo>
                    <a:pt x="5" y="199"/>
                  </a:lnTo>
                  <a:lnTo>
                    <a:pt x="5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3" y="194"/>
                  </a:lnTo>
                  <a:lnTo>
                    <a:pt x="3" y="193"/>
                  </a:lnTo>
                  <a:lnTo>
                    <a:pt x="2" y="192"/>
                  </a:lnTo>
                  <a:lnTo>
                    <a:pt x="1" y="190"/>
                  </a:lnTo>
                  <a:lnTo>
                    <a:pt x="1" y="189"/>
                  </a:lnTo>
                  <a:lnTo>
                    <a:pt x="1" y="189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1" y="185"/>
                  </a:lnTo>
                  <a:lnTo>
                    <a:pt x="1" y="185"/>
                  </a:lnTo>
                  <a:lnTo>
                    <a:pt x="1" y="184"/>
                  </a:lnTo>
                  <a:lnTo>
                    <a:pt x="2" y="183"/>
                  </a:lnTo>
                  <a:lnTo>
                    <a:pt x="2" y="183"/>
                  </a:lnTo>
                  <a:lnTo>
                    <a:pt x="3" y="183"/>
                  </a:lnTo>
                  <a:lnTo>
                    <a:pt x="5" y="181"/>
                  </a:lnTo>
                  <a:lnTo>
                    <a:pt x="6" y="181"/>
                  </a:lnTo>
                  <a:lnTo>
                    <a:pt x="6" y="180"/>
                  </a:lnTo>
                  <a:lnTo>
                    <a:pt x="7" y="180"/>
                  </a:lnTo>
                  <a:lnTo>
                    <a:pt x="7" y="180"/>
                  </a:lnTo>
                  <a:lnTo>
                    <a:pt x="7" y="179"/>
                  </a:lnTo>
                  <a:lnTo>
                    <a:pt x="8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2" y="170"/>
                  </a:lnTo>
                  <a:lnTo>
                    <a:pt x="12" y="169"/>
                  </a:lnTo>
                  <a:lnTo>
                    <a:pt x="13" y="168"/>
                  </a:lnTo>
                  <a:lnTo>
                    <a:pt x="13" y="166"/>
                  </a:lnTo>
                  <a:lnTo>
                    <a:pt x="13" y="165"/>
                  </a:lnTo>
                  <a:lnTo>
                    <a:pt x="13" y="164"/>
                  </a:lnTo>
                  <a:lnTo>
                    <a:pt x="12" y="162"/>
                  </a:lnTo>
                  <a:lnTo>
                    <a:pt x="11" y="159"/>
                  </a:lnTo>
                  <a:lnTo>
                    <a:pt x="11" y="158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9" y="155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2"/>
                  </a:lnTo>
                  <a:lnTo>
                    <a:pt x="7" y="151"/>
                  </a:lnTo>
                  <a:lnTo>
                    <a:pt x="7" y="150"/>
                  </a:lnTo>
                  <a:lnTo>
                    <a:pt x="7" y="149"/>
                  </a:lnTo>
                  <a:lnTo>
                    <a:pt x="7" y="144"/>
                  </a:lnTo>
                  <a:lnTo>
                    <a:pt x="7" y="142"/>
                  </a:lnTo>
                  <a:lnTo>
                    <a:pt x="7" y="141"/>
                  </a:lnTo>
                  <a:lnTo>
                    <a:pt x="7" y="141"/>
                  </a:lnTo>
                  <a:lnTo>
                    <a:pt x="7" y="140"/>
                  </a:lnTo>
                  <a:lnTo>
                    <a:pt x="6" y="138"/>
                  </a:lnTo>
                  <a:lnTo>
                    <a:pt x="5" y="136"/>
                  </a:lnTo>
                  <a:lnTo>
                    <a:pt x="5" y="135"/>
                  </a:lnTo>
                  <a:lnTo>
                    <a:pt x="4" y="133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3" y="127"/>
                  </a:lnTo>
                  <a:lnTo>
                    <a:pt x="3" y="126"/>
                  </a:lnTo>
                  <a:lnTo>
                    <a:pt x="4" y="125"/>
                  </a:lnTo>
                  <a:lnTo>
                    <a:pt x="5" y="124"/>
                  </a:lnTo>
                  <a:lnTo>
                    <a:pt x="6" y="123"/>
                  </a:lnTo>
                  <a:lnTo>
                    <a:pt x="8" y="121"/>
                  </a:lnTo>
                  <a:lnTo>
                    <a:pt x="9" y="120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20"/>
                  </a:lnTo>
                  <a:lnTo>
                    <a:pt x="11" y="121"/>
                  </a:lnTo>
                  <a:lnTo>
                    <a:pt x="13" y="121"/>
                  </a:lnTo>
                  <a:lnTo>
                    <a:pt x="15" y="123"/>
                  </a:lnTo>
                  <a:lnTo>
                    <a:pt x="17" y="124"/>
                  </a:lnTo>
                  <a:lnTo>
                    <a:pt x="21" y="126"/>
                  </a:lnTo>
                  <a:lnTo>
                    <a:pt x="22" y="127"/>
                  </a:lnTo>
                  <a:lnTo>
                    <a:pt x="24" y="127"/>
                  </a:lnTo>
                  <a:lnTo>
                    <a:pt x="25" y="128"/>
                  </a:lnTo>
                  <a:lnTo>
                    <a:pt x="27" y="129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Freeform 24">
              <a:extLst>
                <a:ext uri="{FF2B5EF4-FFF2-40B4-BE49-F238E27FC236}">
                  <a16:creationId xmlns:a16="http://schemas.microsoft.com/office/drawing/2014/main" id="{88A46074-5AEB-4F0B-D971-F1A33FE9CF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2" y="2993"/>
              <a:ext cx="124" cy="138"/>
            </a:xfrm>
            <a:custGeom>
              <a:avLst/>
              <a:gdLst>
                <a:gd name="T0" fmla="*/ 3 w 124"/>
                <a:gd name="T1" fmla="*/ 131 h 138"/>
                <a:gd name="T2" fmla="*/ 7 w 124"/>
                <a:gd name="T3" fmla="*/ 131 h 138"/>
                <a:gd name="T4" fmla="*/ 9 w 124"/>
                <a:gd name="T5" fmla="*/ 130 h 138"/>
                <a:gd name="T6" fmla="*/ 15 w 124"/>
                <a:gd name="T7" fmla="*/ 123 h 138"/>
                <a:gd name="T8" fmla="*/ 18 w 124"/>
                <a:gd name="T9" fmla="*/ 121 h 138"/>
                <a:gd name="T10" fmla="*/ 20 w 124"/>
                <a:gd name="T11" fmla="*/ 120 h 138"/>
                <a:gd name="T12" fmla="*/ 24 w 124"/>
                <a:gd name="T13" fmla="*/ 120 h 138"/>
                <a:gd name="T14" fmla="*/ 29 w 124"/>
                <a:gd name="T15" fmla="*/ 123 h 138"/>
                <a:gd name="T16" fmla="*/ 35 w 124"/>
                <a:gd name="T17" fmla="*/ 124 h 138"/>
                <a:gd name="T18" fmla="*/ 39 w 124"/>
                <a:gd name="T19" fmla="*/ 126 h 138"/>
                <a:gd name="T20" fmla="*/ 46 w 124"/>
                <a:gd name="T21" fmla="*/ 129 h 138"/>
                <a:gd name="T22" fmla="*/ 50 w 124"/>
                <a:gd name="T23" fmla="*/ 129 h 138"/>
                <a:gd name="T24" fmla="*/ 52 w 124"/>
                <a:gd name="T25" fmla="*/ 130 h 138"/>
                <a:gd name="T26" fmla="*/ 53 w 124"/>
                <a:gd name="T27" fmla="*/ 133 h 138"/>
                <a:gd name="T28" fmla="*/ 54 w 124"/>
                <a:gd name="T29" fmla="*/ 136 h 138"/>
                <a:gd name="T30" fmla="*/ 56 w 124"/>
                <a:gd name="T31" fmla="*/ 138 h 138"/>
                <a:gd name="T32" fmla="*/ 59 w 124"/>
                <a:gd name="T33" fmla="*/ 138 h 138"/>
                <a:gd name="T34" fmla="*/ 63 w 124"/>
                <a:gd name="T35" fmla="*/ 138 h 138"/>
                <a:gd name="T36" fmla="*/ 66 w 124"/>
                <a:gd name="T37" fmla="*/ 136 h 138"/>
                <a:gd name="T38" fmla="*/ 70 w 124"/>
                <a:gd name="T39" fmla="*/ 133 h 138"/>
                <a:gd name="T40" fmla="*/ 71 w 124"/>
                <a:gd name="T41" fmla="*/ 130 h 138"/>
                <a:gd name="T42" fmla="*/ 70 w 124"/>
                <a:gd name="T43" fmla="*/ 124 h 138"/>
                <a:gd name="T44" fmla="*/ 71 w 124"/>
                <a:gd name="T45" fmla="*/ 121 h 138"/>
                <a:gd name="T46" fmla="*/ 75 w 124"/>
                <a:gd name="T47" fmla="*/ 117 h 138"/>
                <a:gd name="T48" fmla="*/ 80 w 124"/>
                <a:gd name="T49" fmla="*/ 112 h 138"/>
                <a:gd name="T50" fmla="*/ 82 w 124"/>
                <a:gd name="T51" fmla="*/ 111 h 138"/>
                <a:gd name="T52" fmla="*/ 85 w 124"/>
                <a:gd name="T53" fmla="*/ 112 h 138"/>
                <a:gd name="T54" fmla="*/ 88 w 124"/>
                <a:gd name="T55" fmla="*/ 117 h 138"/>
                <a:gd name="T56" fmla="*/ 91 w 124"/>
                <a:gd name="T57" fmla="*/ 120 h 138"/>
                <a:gd name="T58" fmla="*/ 96 w 124"/>
                <a:gd name="T59" fmla="*/ 122 h 138"/>
                <a:gd name="T60" fmla="*/ 99 w 124"/>
                <a:gd name="T61" fmla="*/ 122 h 138"/>
                <a:gd name="T62" fmla="*/ 105 w 124"/>
                <a:gd name="T63" fmla="*/ 120 h 138"/>
                <a:gd name="T64" fmla="*/ 110 w 124"/>
                <a:gd name="T65" fmla="*/ 121 h 138"/>
                <a:gd name="T66" fmla="*/ 113 w 124"/>
                <a:gd name="T67" fmla="*/ 121 h 138"/>
                <a:gd name="T68" fmla="*/ 119 w 124"/>
                <a:gd name="T69" fmla="*/ 120 h 138"/>
                <a:gd name="T70" fmla="*/ 122 w 124"/>
                <a:gd name="T71" fmla="*/ 118 h 138"/>
                <a:gd name="T72" fmla="*/ 124 w 124"/>
                <a:gd name="T73" fmla="*/ 117 h 138"/>
                <a:gd name="T74" fmla="*/ 123 w 124"/>
                <a:gd name="T75" fmla="*/ 113 h 138"/>
                <a:gd name="T76" fmla="*/ 120 w 124"/>
                <a:gd name="T77" fmla="*/ 109 h 138"/>
                <a:gd name="T78" fmla="*/ 114 w 124"/>
                <a:gd name="T79" fmla="*/ 99 h 138"/>
                <a:gd name="T80" fmla="*/ 111 w 124"/>
                <a:gd name="T81" fmla="*/ 92 h 138"/>
                <a:gd name="T82" fmla="*/ 111 w 124"/>
                <a:gd name="T83" fmla="*/ 88 h 138"/>
                <a:gd name="T84" fmla="*/ 113 w 124"/>
                <a:gd name="T85" fmla="*/ 79 h 138"/>
                <a:gd name="T86" fmla="*/ 113 w 124"/>
                <a:gd name="T87" fmla="*/ 76 h 138"/>
                <a:gd name="T88" fmla="*/ 111 w 124"/>
                <a:gd name="T89" fmla="*/ 72 h 138"/>
                <a:gd name="T90" fmla="*/ 109 w 124"/>
                <a:gd name="T91" fmla="*/ 65 h 138"/>
                <a:gd name="T92" fmla="*/ 109 w 124"/>
                <a:gd name="T93" fmla="*/ 59 h 138"/>
                <a:gd name="T94" fmla="*/ 107 w 124"/>
                <a:gd name="T95" fmla="*/ 51 h 138"/>
                <a:gd name="T96" fmla="*/ 105 w 124"/>
                <a:gd name="T97" fmla="*/ 43 h 138"/>
                <a:gd name="T98" fmla="*/ 105 w 124"/>
                <a:gd name="T99" fmla="*/ 29 h 138"/>
                <a:gd name="T100" fmla="*/ 106 w 124"/>
                <a:gd name="T101" fmla="*/ 20 h 138"/>
                <a:gd name="T102" fmla="*/ 104 w 124"/>
                <a:gd name="T103" fmla="*/ 16 h 138"/>
                <a:gd name="T104" fmla="*/ 99 w 124"/>
                <a:gd name="T105" fmla="*/ 8 h 138"/>
                <a:gd name="T106" fmla="*/ 97 w 124"/>
                <a:gd name="T107" fmla="*/ 3 h 138"/>
                <a:gd name="T108" fmla="*/ 98 w 124"/>
                <a:gd name="T10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4" h="138">
                  <a:moveTo>
                    <a:pt x="0" y="130"/>
                  </a:moveTo>
                  <a:lnTo>
                    <a:pt x="1" y="130"/>
                  </a:lnTo>
                  <a:lnTo>
                    <a:pt x="3" y="131"/>
                  </a:lnTo>
                  <a:lnTo>
                    <a:pt x="3" y="131"/>
                  </a:lnTo>
                  <a:lnTo>
                    <a:pt x="4" y="131"/>
                  </a:lnTo>
                  <a:lnTo>
                    <a:pt x="5" y="131"/>
                  </a:lnTo>
                  <a:lnTo>
                    <a:pt x="6" y="131"/>
                  </a:lnTo>
                  <a:lnTo>
                    <a:pt x="7" y="131"/>
                  </a:lnTo>
                  <a:lnTo>
                    <a:pt x="7" y="131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9" y="130"/>
                  </a:lnTo>
                  <a:lnTo>
                    <a:pt x="10" y="129"/>
                  </a:lnTo>
                  <a:lnTo>
                    <a:pt x="11" y="128"/>
                  </a:lnTo>
                  <a:lnTo>
                    <a:pt x="13" y="125"/>
                  </a:lnTo>
                  <a:lnTo>
                    <a:pt x="15" y="123"/>
                  </a:lnTo>
                  <a:lnTo>
                    <a:pt x="16" y="122"/>
                  </a:lnTo>
                  <a:lnTo>
                    <a:pt x="17" y="122"/>
                  </a:lnTo>
                  <a:lnTo>
                    <a:pt x="17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9" y="120"/>
                  </a:lnTo>
                  <a:lnTo>
                    <a:pt x="19" y="120"/>
                  </a:lnTo>
                  <a:lnTo>
                    <a:pt x="20" y="120"/>
                  </a:lnTo>
                  <a:lnTo>
                    <a:pt x="21" y="120"/>
                  </a:lnTo>
                  <a:lnTo>
                    <a:pt x="22" y="120"/>
                  </a:lnTo>
                  <a:lnTo>
                    <a:pt x="23" y="120"/>
                  </a:lnTo>
                  <a:lnTo>
                    <a:pt x="24" y="120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27" y="122"/>
                  </a:lnTo>
                  <a:lnTo>
                    <a:pt x="29" y="123"/>
                  </a:lnTo>
                  <a:lnTo>
                    <a:pt x="31" y="123"/>
                  </a:lnTo>
                  <a:lnTo>
                    <a:pt x="32" y="124"/>
                  </a:lnTo>
                  <a:lnTo>
                    <a:pt x="34" y="124"/>
                  </a:lnTo>
                  <a:lnTo>
                    <a:pt x="35" y="124"/>
                  </a:lnTo>
                  <a:lnTo>
                    <a:pt x="36" y="125"/>
                  </a:lnTo>
                  <a:lnTo>
                    <a:pt x="37" y="125"/>
                  </a:lnTo>
                  <a:lnTo>
                    <a:pt x="38" y="125"/>
                  </a:lnTo>
                  <a:lnTo>
                    <a:pt x="39" y="126"/>
                  </a:lnTo>
                  <a:lnTo>
                    <a:pt x="41" y="127"/>
                  </a:lnTo>
                  <a:lnTo>
                    <a:pt x="42" y="128"/>
                  </a:lnTo>
                  <a:lnTo>
                    <a:pt x="44" y="129"/>
                  </a:lnTo>
                  <a:lnTo>
                    <a:pt x="46" y="129"/>
                  </a:lnTo>
                  <a:lnTo>
                    <a:pt x="47" y="130"/>
                  </a:lnTo>
                  <a:lnTo>
                    <a:pt x="47" y="130"/>
                  </a:lnTo>
                  <a:lnTo>
                    <a:pt x="48" y="130"/>
                  </a:lnTo>
                  <a:lnTo>
                    <a:pt x="50" y="129"/>
                  </a:lnTo>
                  <a:lnTo>
                    <a:pt x="51" y="129"/>
                  </a:lnTo>
                  <a:lnTo>
                    <a:pt x="51" y="130"/>
                  </a:lnTo>
                  <a:lnTo>
                    <a:pt x="51" y="130"/>
                  </a:lnTo>
                  <a:lnTo>
                    <a:pt x="52" y="130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3" y="132"/>
                  </a:lnTo>
                  <a:lnTo>
                    <a:pt x="53" y="133"/>
                  </a:lnTo>
                  <a:lnTo>
                    <a:pt x="53" y="134"/>
                  </a:lnTo>
                  <a:lnTo>
                    <a:pt x="54" y="135"/>
                  </a:lnTo>
                  <a:lnTo>
                    <a:pt x="54" y="135"/>
                  </a:lnTo>
                  <a:lnTo>
                    <a:pt x="54" y="136"/>
                  </a:lnTo>
                  <a:lnTo>
                    <a:pt x="55" y="137"/>
                  </a:lnTo>
                  <a:lnTo>
                    <a:pt x="56" y="137"/>
                  </a:lnTo>
                  <a:lnTo>
                    <a:pt x="56" y="137"/>
                  </a:lnTo>
                  <a:lnTo>
                    <a:pt x="56" y="138"/>
                  </a:lnTo>
                  <a:lnTo>
                    <a:pt x="57" y="138"/>
                  </a:lnTo>
                  <a:lnTo>
                    <a:pt x="58" y="138"/>
                  </a:lnTo>
                  <a:lnTo>
                    <a:pt x="58" y="138"/>
                  </a:lnTo>
                  <a:lnTo>
                    <a:pt x="59" y="138"/>
                  </a:lnTo>
                  <a:lnTo>
                    <a:pt x="60" y="138"/>
                  </a:lnTo>
                  <a:lnTo>
                    <a:pt x="61" y="138"/>
                  </a:lnTo>
                  <a:lnTo>
                    <a:pt x="62" y="138"/>
                  </a:lnTo>
                  <a:lnTo>
                    <a:pt x="63" y="138"/>
                  </a:lnTo>
                  <a:lnTo>
                    <a:pt x="64" y="137"/>
                  </a:lnTo>
                  <a:lnTo>
                    <a:pt x="65" y="137"/>
                  </a:lnTo>
                  <a:lnTo>
                    <a:pt x="66" y="136"/>
                  </a:lnTo>
                  <a:lnTo>
                    <a:pt x="66" y="136"/>
                  </a:lnTo>
                  <a:lnTo>
                    <a:pt x="69" y="135"/>
                  </a:lnTo>
                  <a:lnTo>
                    <a:pt x="69" y="134"/>
                  </a:lnTo>
                  <a:lnTo>
                    <a:pt x="69" y="134"/>
                  </a:lnTo>
                  <a:lnTo>
                    <a:pt x="70" y="133"/>
                  </a:lnTo>
                  <a:lnTo>
                    <a:pt x="70" y="132"/>
                  </a:lnTo>
                  <a:lnTo>
                    <a:pt x="71" y="131"/>
                  </a:lnTo>
                  <a:lnTo>
                    <a:pt x="71" y="130"/>
                  </a:lnTo>
                  <a:lnTo>
                    <a:pt x="71" y="130"/>
                  </a:lnTo>
                  <a:lnTo>
                    <a:pt x="71" y="129"/>
                  </a:lnTo>
                  <a:lnTo>
                    <a:pt x="70" y="126"/>
                  </a:lnTo>
                  <a:lnTo>
                    <a:pt x="70" y="125"/>
                  </a:lnTo>
                  <a:lnTo>
                    <a:pt x="70" y="124"/>
                  </a:lnTo>
                  <a:lnTo>
                    <a:pt x="70" y="123"/>
                  </a:lnTo>
                  <a:lnTo>
                    <a:pt x="70" y="122"/>
                  </a:lnTo>
                  <a:lnTo>
                    <a:pt x="70" y="122"/>
                  </a:lnTo>
                  <a:lnTo>
                    <a:pt x="71" y="121"/>
                  </a:lnTo>
                  <a:lnTo>
                    <a:pt x="71" y="120"/>
                  </a:lnTo>
                  <a:lnTo>
                    <a:pt x="72" y="119"/>
                  </a:lnTo>
                  <a:lnTo>
                    <a:pt x="73" y="119"/>
                  </a:lnTo>
                  <a:lnTo>
                    <a:pt x="75" y="117"/>
                  </a:lnTo>
                  <a:lnTo>
                    <a:pt x="77" y="115"/>
                  </a:lnTo>
                  <a:lnTo>
                    <a:pt x="79" y="113"/>
                  </a:lnTo>
                  <a:lnTo>
                    <a:pt x="80" y="113"/>
                  </a:lnTo>
                  <a:lnTo>
                    <a:pt x="80" y="112"/>
                  </a:lnTo>
                  <a:lnTo>
                    <a:pt x="81" y="111"/>
                  </a:lnTo>
                  <a:lnTo>
                    <a:pt x="81" y="111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3" y="111"/>
                  </a:lnTo>
                  <a:lnTo>
                    <a:pt x="84" y="111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5" y="113"/>
                  </a:lnTo>
                  <a:lnTo>
                    <a:pt x="87" y="115"/>
                  </a:lnTo>
                  <a:lnTo>
                    <a:pt x="88" y="117"/>
                  </a:lnTo>
                  <a:lnTo>
                    <a:pt x="89" y="118"/>
                  </a:lnTo>
                  <a:lnTo>
                    <a:pt x="90" y="118"/>
                  </a:lnTo>
                  <a:lnTo>
                    <a:pt x="91" y="119"/>
                  </a:lnTo>
                  <a:lnTo>
                    <a:pt x="91" y="120"/>
                  </a:lnTo>
                  <a:lnTo>
                    <a:pt x="93" y="120"/>
                  </a:lnTo>
                  <a:lnTo>
                    <a:pt x="94" y="121"/>
                  </a:lnTo>
                  <a:lnTo>
                    <a:pt x="95" y="121"/>
                  </a:lnTo>
                  <a:lnTo>
                    <a:pt x="96" y="122"/>
                  </a:lnTo>
                  <a:lnTo>
                    <a:pt x="97" y="122"/>
                  </a:lnTo>
                  <a:lnTo>
                    <a:pt x="98" y="122"/>
                  </a:lnTo>
                  <a:lnTo>
                    <a:pt x="98" y="122"/>
                  </a:lnTo>
                  <a:lnTo>
                    <a:pt x="99" y="122"/>
                  </a:lnTo>
                  <a:lnTo>
                    <a:pt x="100" y="121"/>
                  </a:lnTo>
                  <a:lnTo>
                    <a:pt x="103" y="121"/>
                  </a:lnTo>
                  <a:lnTo>
                    <a:pt x="104" y="120"/>
                  </a:lnTo>
                  <a:lnTo>
                    <a:pt x="105" y="120"/>
                  </a:lnTo>
                  <a:lnTo>
                    <a:pt x="106" y="120"/>
                  </a:lnTo>
                  <a:lnTo>
                    <a:pt x="107" y="120"/>
                  </a:lnTo>
                  <a:lnTo>
                    <a:pt x="109" y="120"/>
                  </a:lnTo>
                  <a:lnTo>
                    <a:pt x="110" y="121"/>
                  </a:lnTo>
                  <a:lnTo>
                    <a:pt x="112" y="121"/>
                  </a:lnTo>
                  <a:lnTo>
                    <a:pt x="112" y="121"/>
                  </a:lnTo>
                  <a:lnTo>
                    <a:pt x="113" y="121"/>
                  </a:lnTo>
                  <a:lnTo>
                    <a:pt x="113" y="121"/>
                  </a:lnTo>
                  <a:lnTo>
                    <a:pt x="115" y="121"/>
                  </a:lnTo>
                  <a:lnTo>
                    <a:pt x="116" y="121"/>
                  </a:lnTo>
                  <a:lnTo>
                    <a:pt x="117" y="121"/>
                  </a:lnTo>
                  <a:lnTo>
                    <a:pt x="119" y="120"/>
                  </a:lnTo>
                  <a:lnTo>
                    <a:pt x="120" y="120"/>
                  </a:lnTo>
                  <a:lnTo>
                    <a:pt x="121" y="119"/>
                  </a:lnTo>
                  <a:lnTo>
                    <a:pt x="122" y="119"/>
                  </a:lnTo>
                  <a:lnTo>
                    <a:pt x="122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3" y="117"/>
                  </a:lnTo>
                  <a:lnTo>
                    <a:pt x="124" y="117"/>
                  </a:lnTo>
                  <a:lnTo>
                    <a:pt x="124" y="116"/>
                  </a:lnTo>
                  <a:lnTo>
                    <a:pt x="124" y="115"/>
                  </a:lnTo>
                  <a:lnTo>
                    <a:pt x="123" y="114"/>
                  </a:lnTo>
                  <a:lnTo>
                    <a:pt x="123" y="113"/>
                  </a:lnTo>
                  <a:lnTo>
                    <a:pt x="123" y="113"/>
                  </a:lnTo>
                  <a:lnTo>
                    <a:pt x="122" y="112"/>
                  </a:lnTo>
                  <a:lnTo>
                    <a:pt x="122" y="111"/>
                  </a:lnTo>
                  <a:lnTo>
                    <a:pt x="120" y="109"/>
                  </a:lnTo>
                  <a:lnTo>
                    <a:pt x="118" y="105"/>
                  </a:lnTo>
                  <a:lnTo>
                    <a:pt x="116" y="103"/>
                  </a:lnTo>
                  <a:lnTo>
                    <a:pt x="116" y="103"/>
                  </a:lnTo>
                  <a:lnTo>
                    <a:pt x="114" y="99"/>
                  </a:lnTo>
                  <a:lnTo>
                    <a:pt x="113" y="96"/>
                  </a:lnTo>
                  <a:lnTo>
                    <a:pt x="111" y="93"/>
                  </a:lnTo>
                  <a:lnTo>
                    <a:pt x="111" y="93"/>
                  </a:lnTo>
                  <a:lnTo>
                    <a:pt x="111" y="92"/>
                  </a:lnTo>
                  <a:lnTo>
                    <a:pt x="111" y="91"/>
                  </a:lnTo>
                  <a:lnTo>
                    <a:pt x="110" y="90"/>
                  </a:lnTo>
                  <a:lnTo>
                    <a:pt x="111" y="89"/>
                  </a:lnTo>
                  <a:lnTo>
                    <a:pt x="111" y="88"/>
                  </a:lnTo>
                  <a:lnTo>
                    <a:pt x="111" y="86"/>
                  </a:lnTo>
                  <a:lnTo>
                    <a:pt x="112" y="84"/>
                  </a:lnTo>
                  <a:lnTo>
                    <a:pt x="113" y="80"/>
                  </a:lnTo>
                  <a:lnTo>
                    <a:pt x="113" y="79"/>
                  </a:lnTo>
                  <a:lnTo>
                    <a:pt x="114" y="78"/>
                  </a:lnTo>
                  <a:lnTo>
                    <a:pt x="114" y="78"/>
                  </a:lnTo>
                  <a:lnTo>
                    <a:pt x="114" y="77"/>
                  </a:lnTo>
                  <a:lnTo>
                    <a:pt x="113" y="76"/>
                  </a:lnTo>
                  <a:lnTo>
                    <a:pt x="113" y="76"/>
                  </a:lnTo>
                  <a:lnTo>
                    <a:pt x="113" y="75"/>
                  </a:lnTo>
                  <a:lnTo>
                    <a:pt x="113" y="74"/>
                  </a:lnTo>
                  <a:lnTo>
                    <a:pt x="111" y="72"/>
                  </a:lnTo>
                  <a:lnTo>
                    <a:pt x="109" y="67"/>
                  </a:lnTo>
                  <a:lnTo>
                    <a:pt x="109" y="67"/>
                  </a:lnTo>
                  <a:lnTo>
                    <a:pt x="109" y="66"/>
                  </a:lnTo>
                  <a:lnTo>
                    <a:pt x="109" y="65"/>
                  </a:lnTo>
                  <a:lnTo>
                    <a:pt x="109" y="64"/>
                  </a:lnTo>
                  <a:lnTo>
                    <a:pt x="109" y="63"/>
                  </a:lnTo>
                  <a:lnTo>
                    <a:pt x="109" y="60"/>
                  </a:lnTo>
                  <a:lnTo>
                    <a:pt x="109" y="59"/>
                  </a:lnTo>
                  <a:lnTo>
                    <a:pt x="109" y="59"/>
                  </a:lnTo>
                  <a:lnTo>
                    <a:pt x="108" y="57"/>
                  </a:lnTo>
                  <a:lnTo>
                    <a:pt x="107" y="54"/>
                  </a:lnTo>
                  <a:lnTo>
                    <a:pt x="107" y="51"/>
                  </a:lnTo>
                  <a:lnTo>
                    <a:pt x="106" y="48"/>
                  </a:lnTo>
                  <a:lnTo>
                    <a:pt x="106" y="46"/>
                  </a:lnTo>
                  <a:lnTo>
                    <a:pt x="106" y="45"/>
                  </a:lnTo>
                  <a:lnTo>
                    <a:pt x="105" y="43"/>
                  </a:lnTo>
                  <a:lnTo>
                    <a:pt x="105" y="36"/>
                  </a:lnTo>
                  <a:lnTo>
                    <a:pt x="105" y="31"/>
                  </a:lnTo>
                  <a:lnTo>
                    <a:pt x="105" y="30"/>
                  </a:lnTo>
                  <a:lnTo>
                    <a:pt x="105" y="29"/>
                  </a:lnTo>
                  <a:lnTo>
                    <a:pt x="106" y="25"/>
                  </a:lnTo>
                  <a:lnTo>
                    <a:pt x="106" y="23"/>
                  </a:lnTo>
                  <a:lnTo>
                    <a:pt x="106" y="22"/>
                  </a:lnTo>
                  <a:lnTo>
                    <a:pt x="106" y="20"/>
                  </a:lnTo>
                  <a:lnTo>
                    <a:pt x="105" y="20"/>
                  </a:lnTo>
                  <a:lnTo>
                    <a:pt x="105" y="19"/>
                  </a:lnTo>
                  <a:lnTo>
                    <a:pt x="105" y="18"/>
                  </a:lnTo>
                  <a:lnTo>
                    <a:pt x="104" y="16"/>
                  </a:lnTo>
                  <a:lnTo>
                    <a:pt x="103" y="15"/>
                  </a:lnTo>
                  <a:lnTo>
                    <a:pt x="101" y="11"/>
                  </a:lnTo>
                  <a:lnTo>
                    <a:pt x="100" y="10"/>
                  </a:lnTo>
                  <a:lnTo>
                    <a:pt x="99" y="8"/>
                  </a:lnTo>
                  <a:lnTo>
                    <a:pt x="98" y="6"/>
                  </a:lnTo>
                  <a:lnTo>
                    <a:pt x="97" y="5"/>
                  </a:lnTo>
                  <a:lnTo>
                    <a:pt x="97" y="4"/>
                  </a:lnTo>
                  <a:lnTo>
                    <a:pt x="97" y="3"/>
                  </a:lnTo>
                  <a:lnTo>
                    <a:pt x="96" y="2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100" y="1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Freeform 25">
              <a:extLst>
                <a:ext uri="{FF2B5EF4-FFF2-40B4-BE49-F238E27FC236}">
                  <a16:creationId xmlns:a16="http://schemas.microsoft.com/office/drawing/2014/main" id="{50CFA49A-6FE1-D408-791D-6E98F4FD5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" y="3255"/>
              <a:ext cx="442" cy="291"/>
            </a:xfrm>
            <a:custGeom>
              <a:avLst/>
              <a:gdLst>
                <a:gd name="T0" fmla="*/ 131 w 442"/>
                <a:gd name="T1" fmla="*/ 34 h 291"/>
                <a:gd name="T2" fmla="*/ 150 w 442"/>
                <a:gd name="T3" fmla="*/ 29 h 291"/>
                <a:gd name="T4" fmla="*/ 179 w 442"/>
                <a:gd name="T5" fmla="*/ 25 h 291"/>
                <a:gd name="T6" fmla="*/ 192 w 442"/>
                <a:gd name="T7" fmla="*/ 43 h 291"/>
                <a:gd name="T8" fmla="*/ 213 w 442"/>
                <a:gd name="T9" fmla="*/ 58 h 291"/>
                <a:gd name="T10" fmla="*/ 242 w 442"/>
                <a:gd name="T11" fmla="*/ 75 h 291"/>
                <a:gd name="T12" fmla="*/ 261 w 442"/>
                <a:gd name="T13" fmla="*/ 74 h 291"/>
                <a:gd name="T14" fmla="*/ 282 w 442"/>
                <a:gd name="T15" fmla="*/ 75 h 291"/>
                <a:gd name="T16" fmla="*/ 287 w 442"/>
                <a:gd name="T17" fmla="*/ 63 h 291"/>
                <a:gd name="T18" fmla="*/ 298 w 442"/>
                <a:gd name="T19" fmla="*/ 47 h 291"/>
                <a:gd name="T20" fmla="*/ 325 w 442"/>
                <a:gd name="T21" fmla="*/ 31 h 291"/>
                <a:gd name="T22" fmla="*/ 336 w 442"/>
                <a:gd name="T23" fmla="*/ 20 h 291"/>
                <a:gd name="T24" fmla="*/ 359 w 442"/>
                <a:gd name="T25" fmla="*/ 29 h 291"/>
                <a:gd name="T26" fmla="*/ 389 w 442"/>
                <a:gd name="T27" fmla="*/ 47 h 291"/>
                <a:gd name="T28" fmla="*/ 408 w 442"/>
                <a:gd name="T29" fmla="*/ 34 h 291"/>
                <a:gd name="T30" fmla="*/ 427 w 442"/>
                <a:gd name="T31" fmla="*/ 6 h 291"/>
                <a:gd name="T32" fmla="*/ 441 w 442"/>
                <a:gd name="T33" fmla="*/ 1 h 291"/>
                <a:gd name="T34" fmla="*/ 430 w 442"/>
                <a:gd name="T35" fmla="*/ 40 h 291"/>
                <a:gd name="T36" fmla="*/ 426 w 442"/>
                <a:gd name="T37" fmla="*/ 62 h 291"/>
                <a:gd name="T38" fmla="*/ 416 w 442"/>
                <a:gd name="T39" fmla="*/ 87 h 291"/>
                <a:gd name="T40" fmla="*/ 402 w 442"/>
                <a:gd name="T41" fmla="*/ 96 h 291"/>
                <a:gd name="T42" fmla="*/ 412 w 442"/>
                <a:gd name="T43" fmla="*/ 133 h 291"/>
                <a:gd name="T44" fmla="*/ 409 w 442"/>
                <a:gd name="T45" fmla="*/ 161 h 291"/>
                <a:gd name="T46" fmla="*/ 416 w 442"/>
                <a:gd name="T47" fmla="*/ 185 h 291"/>
                <a:gd name="T48" fmla="*/ 429 w 442"/>
                <a:gd name="T49" fmla="*/ 210 h 291"/>
                <a:gd name="T50" fmla="*/ 436 w 442"/>
                <a:gd name="T51" fmla="*/ 220 h 291"/>
                <a:gd name="T52" fmla="*/ 440 w 442"/>
                <a:gd name="T53" fmla="*/ 241 h 291"/>
                <a:gd name="T54" fmla="*/ 433 w 442"/>
                <a:gd name="T55" fmla="*/ 265 h 291"/>
                <a:gd name="T56" fmla="*/ 423 w 442"/>
                <a:gd name="T57" fmla="*/ 278 h 291"/>
                <a:gd name="T58" fmla="*/ 390 w 442"/>
                <a:gd name="T59" fmla="*/ 267 h 291"/>
                <a:gd name="T60" fmla="*/ 363 w 442"/>
                <a:gd name="T61" fmla="*/ 268 h 291"/>
                <a:gd name="T62" fmla="*/ 351 w 442"/>
                <a:gd name="T63" fmla="*/ 283 h 291"/>
                <a:gd name="T64" fmla="*/ 325 w 442"/>
                <a:gd name="T65" fmla="*/ 284 h 291"/>
                <a:gd name="T66" fmla="*/ 311 w 442"/>
                <a:gd name="T67" fmla="*/ 290 h 291"/>
                <a:gd name="T68" fmla="*/ 290 w 442"/>
                <a:gd name="T69" fmla="*/ 275 h 291"/>
                <a:gd name="T70" fmla="*/ 261 w 442"/>
                <a:gd name="T71" fmla="*/ 255 h 291"/>
                <a:gd name="T72" fmla="*/ 224 w 442"/>
                <a:gd name="T73" fmla="*/ 242 h 291"/>
                <a:gd name="T74" fmla="*/ 207 w 442"/>
                <a:gd name="T75" fmla="*/ 230 h 291"/>
                <a:gd name="T76" fmla="*/ 188 w 442"/>
                <a:gd name="T77" fmla="*/ 221 h 291"/>
                <a:gd name="T78" fmla="*/ 173 w 442"/>
                <a:gd name="T79" fmla="*/ 241 h 291"/>
                <a:gd name="T80" fmla="*/ 148 w 442"/>
                <a:gd name="T81" fmla="*/ 233 h 291"/>
                <a:gd name="T82" fmla="*/ 143 w 442"/>
                <a:gd name="T83" fmla="*/ 218 h 291"/>
                <a:gd name="T84" fmla="*/ 123 w 442"/>
                <a:gd name="T85" fmla="*/ 209 h 291"/>
                <a:gd name="T86" fmla="*/ 109 w 442"/>
                <a:gd name="T87" fmla="*/ 199 h 291"/>
                <a:gd name="T88" fmla="*/ 89 w 442"/>
                <a:gd name="T89" fmla="*/ 186 h 291"/>
                <a:gd name="T90" fmla="*/ 68 w 442"/>
                <a:gd name="T91" fmla="*/ 186 h 291"/>
                <a:gd name="T92" fmla="*/ 38 w 442"/>
                <a:gd name="T93" fmla="*/ 157 h 291"/>
                <a:gd name="T94" fmla="*/ 46 w 442"/>
                <a:gd name="T95" fmla="*/ 131 h 291"/>
                <a:gd name="T96" fmla="*/ 41 w 442"/>
                <a:gd name="T97" fmla="*/ 114 h 291"/>
                <a:gd name="T98" fmla="*/ 28 w 442"/>
                <a:gd name="T99" fmla="*/ 99 h 291"/>
                <a:gd name="T100" fmla="*/ 15 w 442"/>
                <a:gd name="T101" fmla="*/ 93 h 291"/>
                <a:gd name="T102" fmla="*/ 0 w 442"/>
                <a:gd name="T103" fmla="*/ 82 h 291"/>
                <a:gd name="T104" fmla="*/ 4 w 442"/>
                <a:gd name="T105" fmla="*/ 74 h 291"/>
                <a:gd name="T106" fmla="*/ 11 w 442"/>
                <a:gd name="T107" fmla="*/ 61 h 291"/>
                <a:gd name="T108" fmla="*/ 11 w 442"/>
                <a:gd name="T109" fmla="*/ 52 h 291"/>
                <a:gd name="T110" fmla="*/ 22 w 442"/>
                <a:gd name="T111" fmla="*/ 51 h 291"/>
                <a:gd name="T112" fmla="*/ 40 w 442"/>
                <a:gd name="T113" fmla="*/ 45 h 291"/>
                <a:gd name="T114" fmla="*/ 57 w 442"/>
                <a:gd name="T115" fmla="*/ 32 h 291"/>
                <a:gd name="T116" fmla="*/ 73 w 442"/>
                <a:gd name="T117" fmla="*/ 36 h 291"/>
                <a:gd name="T118" fmla="*/ 94 w 442"/>
                <a:gd name="T119" fmla="*/ 38 h 291"/>
                <a:gd name="T120" fmla="*/ 111 w 442"/>
                <a:gd name="T121" fmla="*/ 24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2" h="291">
                  <a:moveTo>
                    <a:pt x="121" y="18"/>
                  </a:moveTo>
                  <a:lnTo>
                    <a:pt x="121" y="18"/>
                  </a:lnTo>
                  <a:lnTo>
                    <a:pt x="122" y="19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5" y="22"/>
                  </a:lnTo>
                  <a:lnTo>
                    <a:pt x="126" y="24"/>
                  </a:lnTo>
                  <a:lnTo>
                    <a:pt x="126" y="25"/>
                  </a:lnTo>
                  <a:lnTo>
                    <a:pt x="127" y="27"/>
                  </a:lnTo>
                  <a:lnTo>
                    <a:pt x="128" y="30"/>
                  </a:lnTo>
                  <a:lnTo>
                    <a:pt x="128" y="31"/>
                  </a:lnTo>
                  <a:lnTo>
                    <a:pt x="129" y="32"/>
                  </a:lnTo>
                  <a:lnTo>
                    <a:pt x="129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8" y="35"/>
                  </a:lnTo>
                  <a:lnTo>
                    <a:pt x="139" y="35"/>
                  </a:lnTo>
                  <a:lnTo>
                    <a:pt x="140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5" y="31"/>
                  </a:lnTo>
                  <a:lnTo>
                    <a:pt x="148" y="30"/>
                  </a:lnTo>
                  <a:lnTo>
                    <a:pt x="149" y="29"/>
                  </a:lnTo>
                  <a:lnTo>
                    <a:pt x="150" y="29"/>
                  </a:lnTo>
                  <a:lnTo>
                    <a:pt x="150" y="28"/>
                  </a:lnTo>
                  <a:lnTo>
                    <a:pt x="151" y="28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4"/>
                  </a:lnTo>
                  <a:lnTo>
                    <a:pt x="156" y="23"/>
                  </a:lnTo>
                  <a:lnTo>
                    <a:pt x="158" y="23"/>
                  </a:lnTo>
                  <a:lnTo>
                    <a:pt x="160" y="22"/>
                  </a:lnTo>
                  <a:lnTo>
                    <a:pt x="161" y="21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70" y="23"/>
                  </a:lnTo>
                  <a:lnTo>
                    <a:pt x="174" y="24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0" y="26"/>
                  </a:lnTo>
                  <a:lnTo>
                    <a:pt x="181" y="26"/>
                  </a:lnTo>
                  <a:lnTo>
                    <a:pt x="182" y="27"/>
                  </a:lnTo>
                  <a:lnTo>
                    <a:pt x="183" y="27"/>
                  </a:lnTo>
                  <a:lnTo>
                    <a:pt x="183" y="28"/>
                  </a:lnTo>
                  <a:lnTo>
                    <a:pt x="185" y="31"/>
                  </a:lnTo>
                  <a:lnTo>
                    <a:pt x="186" y="31"/>
                  </a:lnTo>
                  <a:lnTo>
                    <a:pt x="186" y="32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88" y="35"/>
                  </a:lnTo>
                  <a:lnTo>
                    <a:pt x="189" y="39"/>
                  </a:lnTo>
                  <a:lnTo>
                    <a:pt x="190" y="40"/>
                  </a:lnTo>
                  <a:lnTo>
                    <a:pt x="190" y="41"/>
                  </a:lnTo>
                  <a:lnTo>
                    <a:pt x="191" y="42"/>
                  </a:lnTo>
                  <a:lnTo>
                    <a:pt x="191" y="43"/>
                  </a:lnTo>
                  <a:lnTo>
                    <a:pt x="192" y="43"/>
                  </a:lnTo>
                  <a:lnTo>
                    <a:pt x="192" y="44"/>
                  </a:lnTo>
                  <a:lnTo>
                    <a:pt x="193" y="44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6"/>
                  </a:lnTo>
                  <a:lnTo>
                    <a:pt x="200" y="46"/>
                  </a:lnTo>
                  <a:lnTo>
                    <a:pt x="201" y="47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4" y="49"/>
                  </a:lnTo>
                  <a:lnTo>
                    <a:pt x="206" y="50"/>
                  </a:lnTo>
                  <a:lnTo>
                    <a:pt x="208" y="53"/>
                  </a:lnTo>
                  <a:lnTo>
                    <a:pt x="209" y="54"/>
                  </a:lnTo>
                  <a:lnTo>
                    <a:pt x="210" y="55"/>
                  </a:lnTo>
                  <a:lnTo>
                    <a:pt x="211" y="56"/>
                  </a:lnTo>
                  <a:lnTo>
                    <a:pt x="212" y="57"/>
                  </a:lnTo>
                  <a:lnTo>
                    <a:pt x="213" y="58"/>
                  </a:lnTo>
                  <a:lnTo>
                    <a:pt x="215" y="58"/>
                  </a:lnTo>
                  <a:lnTo>
                    <a:pt x="218" y="60"/>
                  </a:lnTo>
                  <a:lnTo>
                    <a:pt x="219" y="60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2"/>
                  </a:lnTo>
                  <a:lnTo>
                    <a:pt x="224" y="64"/>
                  </a:lnTo>
                  <a:lnTo>
                    <a:pt x="225" y="65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8" y="67"/>
                  </a:lnTo>
                  <a:lnTo>
                    <a:pt x="231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6" y="70"/>
                  </a:lnTo>
                  <a:lnTo>
                    <a:pt x="237" y="71"/>
                  </a:lnTo>
                  <a:lnTo>
                    <a:pt x="238" y="72"/>
                  </a:lnTo>
                  <a:lnTo>
                    <a:pt x="242" y="75"/>
                  </a:lnTo>
                  <a:lnTo>
                    <a:pt x="243" y="75"/>
                  </a:lnTo>
                  <a:lnTo>
                    <a:pt x="244" y="76"/>
                  </a:lnTo>
                  <a:lnTo>
                    <a:pt x="245" y="76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7" y="77"/>
                  </a:lnTo>
                  <a:lnTo>
                    <a:pt x="248" y="77"/>
                  </a:lnTo>
                  <a:lnTo>
                    <a:pt x="249" y="77"/>
                  </a:lnTo>
                  <a:lnTo>
                    <a:pt x="251" y="76"/>
                  </a:lnTo>
                  <a:lnTo>
                    <a:pt x="254" y="76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1" y="74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6" y="75"/>
                  </a:lnTo>
                  <a:lnTo>
                    <a:pt x="269" y="75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4" y="74"/>
                  </a:lnTo>
                  <a:lnTo>
                    <a:pt x="275" y="75"/>
                  </a:lnTo>
                  <a:lnTo>
                    <a:pt x="277" y="75"/>
                  </a:lnTo>
                  <a:lnTo>
                    <a:pt x="278" y="76"/>
                  </a:lnTo>
                  <a:lnTo>
                    <a:pt x="279" y="76"/>
                  </a:lnTo>
                  <a:lnTo>
                    <a:pt x="280" y="76"/>
                  </a:lnTo>
                  <a:lnTo>
                    <a:pt x="281" y="76"/>
                  </a:lnTo>
                  <a:lnTo>
                    <a:pt x="281" y="75"/>
                  </a:lnTo>
                  <a:lnTo>
                    <a:pt x="282" y="75"/>
                  </a:lnTo>
                  <a:lnTo>
                    <a:pt x="282" y="75"/>
                  </a:lnTo>
                  <a:lnTo>
                    <a:pt x="283" y="75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2" y="70"/>
                  </a:lnTo>
                  <a:lnTo>
                    <a:pt x="282" y="69"/>
                  </a:lnTo>
                  <a:lnTo>
                    <a:pt x="282" y="69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7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4" y="65"/>
                  </a:lnTo>
                  <a:lnTo>
                    <a:pt x="286" y="64"/>
                  </a:lnTo>
                  <a:lnTo>
                    <a:pt x="287" y="63"/>
                  </a:lnTo>
                  <a:lnTo>
                    <a:pt x="288" y="62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0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5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1" y="52"/>
                  </a:lnTo>
                  <a:lnTo>
                    <a:pt x="292" y="51"/>
                  </a:lnTo>
                  <a:lnTo>
                    <a:pt x="293" y="50"/>
                  </a:lnTo>
                  <a:lnTo>
                    <a:pt x="294" y="50"/>
                  </a:lnTo>
                  <a:lnTo>
                    <a:pt x="296" y="48"/>
                  </a:lnTo>
                  <a:lnTo>
                    <a:pt x="298" y="47"/>
                  </a:lnTo>
                  <a:lnTo>
                    <a:pt x="300" y="46"/>
                  </a:lnTo>
                  <a:lnTo>
                    <a:pt x="302" y="44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6" y="42"/>
                  </a:lnTo>
                  <a:lnTo>
                    <a:pt x="309" y="41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20" y="35"/>
                  </a:lnTo>
                  <a:lnTo>
                    <a:pt x="321" y="34"/>
                  </a:lnTo>
                  <a:lnTo>
                    <a:pt x="322" y="33"/>
                  </a:lnTo>
                  <a:lnTo>
                    <a:pt x="323" y="32"/>
                  </a:lnTo>
                  <a:lnTo>
                    <a:pt x="324" y="31"/>
                  </a:lnTo>
                  <a:lnTo>
                    <a:pt x="325" y="31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7" y="27"/>
                  </a:lnTo>
                  <a:lnTo>
                    <a:pt x="329" y="24"/>
                  </a:lnTo>
                  <a:lnTo>
                    <a:pt x="329" y="23"/>
                  </a:lnTo>
                  <a:lnTo>
                    <a:pt x="329" y="22"/>
                  </a:lnTo>
                  <a:lnTo>
                    <a:pt x="330" y="21"/>
                  </a:lnTo>
                  <a:lnTo>
                    <a:pt x="330" y="21"/>
                  </a:lnTo>
                  <a:lnTo>
                    <a:pt x="331" y="21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39" y="22"/>
                  </a:lnTo>
                  <a:lnTo>
                    <a:pt x="342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7" y="26"/>
                  </a:lnTo>
                  <a:lnTo>
                    <a:pt x="352" y="28"/>
                  </a:lnTo>
                  <a:lnTo>
                    <a:pt x="353" y="28"/>
                  </a:lnTo>
                  <a:lnTo>
                    <a:pt x="355" y="29"/>
                  </a:lnTo>
                  <a:lnTo>
                    <a:pt x="356" y="29"/>
                  </a:lnTo>
                  <a:lnTo>
                    <a:pt x="357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9" y="29"/>
                  </a:lnTo>
                  <a:lnTo>
                    <a:pt x="359" y="29"/>
                  </a:lnTo>
                  <a:lnTo>
                    <a:pt x="360" y="30"/>
                  </a:lnTo>
                  <a:lnTo>
                    <a:pt x="362" y="31"/>
                  </a:lnTo>
                  <a:lnTo>
                    <a:pt x="363" y="32"/>
                  </a:lnTo>
                  <a:lnTo>
                    <a:pt x="365" y="33"/>
                  </a:lnTo>
                  <a:lnTo>
                    <a:pt x="366" y="34"/>
                  </a:lnTo>
                  <a:lnTo>
                    <a:pt x="367" y="35"/>
                  </a:lnTo>
                  <a:lnTo>
                    <a:pt x="370" y="38"/>
                  </a:lnTo>
                  <a:lnTo>
                    <a:pt x="371" y="39"/>
                  </a:lnTo>
                  <a:lnTo>
                    <a:pt x="373" y="40"/>
                  </a:lnTo>
                  <a:lnTo>
                    <a:pt x="374" y="41"/>
                  </a:lnTo>
                  <a:lnTo>
                    <a:pt x="375" y="41"/>
                  </a:lnTo>
                  <a:lnTo>
                    <a:pt x="376" y="42"/>
                  </a:lnTo>
                  <a:lnTo>
                    <a:pt x="377" y="43"/>
                  </a:lnTo>
                  <a:lnTo>
                    <a:pt x="378" y="43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9" y="47"/>
                  </a:lnTo>
                  <a:lnTo>
                    <a:pt x="390" y="47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3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5" y="47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8" y="46"/>
                  </a:lnTo>
                  <a:lnTo>
                    <a:pt x="399" y="45"/>
                  </a:lnTo>
                  <a:lnTo>
                    <a:pt x="400" y="45"/>
                  </a:lnTo>
                  <a:lnTo>
                    <a:pt x="401" y="44"/>
                  </a:lnTo>
                  <a:lnTo>
                    <a:pt x="402" y="42"/>
                  </a:lnTo>
                  <a:lnTo>
                    <a:pt x="406" y="37"/>
                  </a:lnTo>
                  <a:lnTo>
                    <a:pt x="407" y="35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9" y="33"/>
                  </a:lnTo>
                  <a:lnTo>
                    <a:pt x="412" y="30"/>
                  </a:lnTo>
                  <a:lnTo>
                    <a:pt x="414" y="28"/>
                  </a:lnTo>
                  <a:lnTo>
                    <a:pt x="416" y="27"/>
                  </a:lnTo>
                  <a:lnTo>
                    <a:pt x="417" y="26"/>
                  </a:lnTo>
                  <a:lnTo>
                    <a:pt x="418" y="24"/>
                  </a:lnTo>
                  <a:lnTo>
                    <a:pt x="419" y="22"/>
                  </a:lnTo>
                  <a:lnTo>
                    <a:pt x="420" y="21"/>
                  </a:lnTo>
                  <a:lnTo>
                    <a:pt x="421" y="20"/>
                  </a:lnTo>
                  <a:lnTo>
                    <a:pt x="421" y="18"/>
                  </a:lnTo>
                  <a:lnTo>
                    <a:pt x="422" y="17"/>
                  </a:lnTo>
                  <a:lnTo>
                    <a:pt x="424" y="12"/>
                  </a:lnTo>
                  <a:lnTo>
                    <a:pt x="424" y="11"/>
                  </a:lnTo>
                  <a:lnTo>
                    <a:pt x="425" y="10"/>
                  </a:lnTo>
                  <a:lnTo>
                    <a:pt x="426" y="9"/>
                  </a:lnTo>
                  <a:lnTo>
                    <a:pt x="426" y="7"/>
                  </a:lnTo>
                  <a:lnTo>
                    <a:pt x="427" y="6"/>
                  </a:lnTo>
                  <a:lnTo>
                    <a:pt x="428" y="6"/>
                  </a:lnTo>
                  <a:lnTo>
                    <a:pt x="429" y="5"/>
                  </a:lnTo>
                  <a:lnTo>
                    <a:pt x="430" y="4"/>
                  </a:lnTo>
                  <a:lnTo>
                    <a:pt x="431" y="3"/>
                  </a:lnTo>
                  <a:lnTo>
                    <a:pt x="432" y="2"/>
                  </a:lnTo>
                  <a:lnTo>
                    <a:pt x="433" y="2"/>
                  </a:lnTo>
                  <a:lnTo>
                    <a:pt x="434" y="1"/>
                  </a:lnTo>
                  <a:lnTo>
                    <a:pt x="435" y="1"/>
                  </a:lnTo>
                  <a:lnTo>
                    <a:pt x="436" y="0"/>
                  </a:lnTo>
                  <a:lnTo>
                    <a:pt x="437" y="0"/>
                  </a:lnTo>
                  <a:lnTo>
                    <a:pt x="438" y="0"/>
                  </a:lnTo>
                  <a:lnTo>
                    <a:pt x="439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2" y="1"/>
                  </a:lnTo>
                  <a:lnTo>
                    <a:pt x="442" y="1"/>
                  </a:lnTo>
                  <a:lnTo>
                    <a:pt x="442" y="3"/>
                  </a:lnTo>
                  <a:lnTo>
                    <a:pt x="442" y="4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0" y="11"/>
                  </a:lnTo>
                  <a:lnTo>
                    <a:pt x="440" y="13"/>
                  </a:lnTo>
                  <a:lnTo>
                    <a:pt x="439" y="17"/>
                  </a:lnTo>
                  <a:lnTo>
                    <a:pt x="437" y="20"/>
                  </a:lnTo>
                  <a:lnTo>
                    <a:pt x="435" y="28"/>
                  </a:lnTo>
                  <a:lnTo>
                    <a:pt x="433" y="32"/>
                  </a:lnTo>
                  <a:lnTo>
                    <a:pt x="433" y="33"/>
                  </a:lnTo>
                  <a:lnTo>
                    <a:pt x="431" y="35"/>
                  </a:lnTo>
                  <a:lnTo>
                    <a:pt x="430" y="39"/>
                  </a:lnTo>
                  <a:lnTo>
                    <a:pt x="430" y="40"/>
                  </a:lnTo>
                  <a:lnTo>
                    <a:pt x="429" y="42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6"/>
                  </a:lnTo>
                  <a:lnTo>
                    <a:pt x="428" y="47"/>
                  </a:lnTo>
                  <a:lnTo>
                    <a:pt x="428" y="51"/>
                  </a:lnTo>
                  <a:lnTo>
                    <a:pt x="428" y="52"/>
                  </a:lnTo>
                  <a:lnTo>
                    <a:pt x="428" y="53"/>
                  </a:lnTo>
                  <a:lnTo>
                    <a:pt x="428" y="54"/>
                  </a:lnTo>
                  <a:lnTo>
                    <a:pt x="428" y="55"/>
                  </a:lnTo>
                  <a:lnTo>
                    <a:pt x="427" y="58"/>
                  </a:lnTo>
                  <a:lnTo>
                    <a:pt x="427" y="59"/>
                  </a:lnTo>
                  <a:lnTo>
                    <a:pt x="426" y="60"/>
                  </a:lnTo>
                  <a:lnTo>
                    <a:pt x="426" y="61"/>
                  </a:lnTo>
                  <a:lnTo>
                    <a:pt x="426" y="62"/>
                  </a:lnTo>
                  <a:lnTo>
                    <a:pt x="426" y="62"/>
                  </a:lnTo>
                  <a:lnTo>
                    <a:pt x="427" y="63"/>
                  </a:lnTo>
                  <a:lnTo>
                    <a:pt x="427" y="66"/>
                  </a:lnTo>
                  <a:lnTo>
                    <a:pt x="427" y="67"/>
                  </a:lnTo>
                  <a:lnTo>
                    <a:pt x="428" y="70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8" y="74"/>
                  </a:lnTo>
                  <a:lnTo>
                    <a:pt x="427" y="75"/>
                  </a:lnTo>
                  <a:lnTo>
                    <a:pt x="427" y="76"/>
                  </a:lnTo>
                  <a:lnTo>
                    <a:pt x="426" y="77"/>
                  </a:lnTo>
                  <a:lnTo>
                    <a:pt x="426" y="78"/>
                  </a:lnTo>
                  <a:lnTo>
                    <a:pt x="426" y="78"/>
                  </a:lnTo>
                  <a:lnTo>
                    <a:pt x="425" y="79"/>
                  </a:lnTo>
                  <a:lnTo>
                    <a:pt x="424" y="79"/>
                  </a:lnTo>
                  <a:lnTo>
                    <a:pt x="423" y="81"/>
                  </a:lnTo>
                  <a:lnTo>
                    <a:pt x="420" y="83"/>
                  </a:lnTo>
                  <a:lnTo>
                    <a:pt x="419" y="84"/>
                  </a:lnTo>
                  <a:lnTo>
                    <a:pt x="416" y="87"/>
                  </a:lnTo>
                  <a:lnTo>
                    <a:pt x="416" y="88"/>
                  </a:lnTo>
                  <a:lnTo>
                    <a:pt x="415" y="89"/>
                  </a:lnTo>
                  <a:lnTo>
                    <a:pt x="414" y="90"/>
                  </a:lnTo>
                  <a:lnTo>
                    <a:pt x="413" y="91"/>
                  </a:lnTo>
                  <a:lnTo>
                    <a:pt x="412" y="91"/>
                  </a:lnTo>
                  <a:lnTo>
                    <a:pt x="412" y="92"/>
                  </a:lnTo>
                  <a:lnTo>
                    <a:pt x="411" y="92"/>
                  </a:lnTo>
                  <a:lnTo>
                    <a:pt x="410" y="93"/>
                  </a:lnTo>
                  <a:lnTo>
                    <a:pt x="410" y="93"/>
                  </a:lnTo>
                  <a:lnTo>
                    <a:pt x="409" y="93"/>
                  </a:lnTo>
                  <a:lnTo>
                    <a:pt x="406" y="94"/>
                  </a:lnTo>
                  <a:lnTo>
                    <a:pt x="405" y="94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2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2" y="97"/>
                  </a:lnTo>
                  <a:lnTo>
                    <a:pt x="401" y="98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2" y="101"/>
                  </a:lnTo>
                  <a:lnTo>
                    <a:pt x="404" y="105"/>
                  </a:lnTo>
                  <a:lnTo>
                    <a:pt x="405" y="108"/>
                  </a:lnTo>
                  <a:lnTo>
                    <a:pt x="405" y="110"/>
                  </a:lnTo>
                  <a:lnTo>
                    <a:pt x="406" y="115"/>
                  </a:lnTo>
                  <a:lnTo>
                    <a:pt x="407" y="117"/>
                  </a:lnTo>
                  <a:lnTo>
                    <a:pt x="407" y="119"/>
                  </a:lnTo>
                  <a:lnTo>
                    <a:pt x="408" y="121"/>
                  </a:lnTo>
                  <a:lnTo>
                    <a:pt x="410" y="126"/>
                  </a:lnTo>
                  <a:lnTo>
                    <a:pt x="411" y="131"/>
                  </a:lnTo>
                  <a:lnTo>
                    <a:pt x="412" y="132"/>
                  </a:lnTo>
                  <a:lnTo>
                    <a:pt x="412" y="133"/>
                  </a:lnTo>
                  <a:lnTo>
                    <a:pt x="412" y="135"/>
                  </a:lnTo>
                  <a:lnTo>
                    <a:pt x="413" y="139"/>
                  </a:lnTo>
                  <a:lnTo>
                    <a:pt x="413" y="142"/>
                  </a:lnTo>
                  <a:lnTo>
                    <a:pt x="413" y="143"/>
                  </a:lnTo>
                  <a:lnTo>
                    <a:pt x="413" y="145"/>
                  </a:lnTo>
                  <a:lnTo>
                    <a:pt x="414" y="148"/>
                  </a:lnTo>
                  <a:lnTo>
                    <a:pt x="414" y="150"/>
                  </a:lnTo>
                  <a:lnTo>
                    <a:pt x="414" y="151"/>
                  </a:lnTo>
                  <a:lnTo>
                    <a:pt x="414" y="151"/>
                  </a:lnTo>
                  <a:lnTo>
                    <a:pt x="414" y="152"/>
                  </a:lnTo>
                  <a:lnTo>
                    <a:pt x="414" y="153"/>
                  </a:lnTo>
                  <a:lnTo>
                    <a:pt x="413" y="154"/>
                  </a:lnTo>
                  <a:lnTo>
                    <a:pt x="413" y="154"/>
                  </a:lnTo>
                  <a:lnTo>
                    <a:pt x="411" y="157"/>
                  </a:lnTo>
                  <a:lnTo>
                    <a:pt x="410" y="158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09" y="161"/>
                  </a:lnTo>
                  <a:lnTo>
                    <a:pt x="409" y="162"/>
                  </a:lnTo>
                  <a:lnTo>
                    <a:pt x="409" y="163"/>
                  </a:lnTo>
                  <a:lnTo>
                    <a:pt x="408" y="164"/>
                  </a:lnTo>
                  <a:lnTo>
                    <a:pt x="408" y="165"/>
                  </a:lnTo>
                  <a:lnTo>
                    <a:pt x="408" y="166"/>
                  </a:lnTo>
                  <a:lnTo>
                    <a:pt x="408" y="167"/>
                  </a:lnTo>
                  <a:lnTo>
                    <a:pt x="408" y="169"/>
                  </a:lnTo>
                  <a:lnTo>
                    <a:pt x="409" y="170"/>
                  </a:lnTo>
                  <a:lnTo>
                    <a:pt x="409" y="171"/>
                  </a:lnTo>
                  <a:lnTo>
                    <a:pt x="409" y="172"/>
                  </a:lnTo>
                  <a:lnTo>
                    <a:pt x="410" y="173"/>
                  </a:lnTo>
                  <a:lnTo>
                    <a:pt x="412" y="176"/>
                  </a:lnTo>
                  <a:lnTo>
                    <a:pt x="413" y="177"/>
                  </a:lnTo>
                  <a:lnTo>
                    <a:pt x="413" y="178"/>
                  </a:lnTo>
                  <a:lnTo>
                    <a:pt x="413" y="179"/>
                  </a:lnTo>
                  <a:lnTo>
                    <a:pt x="414" y="180"/>
                  </a:lnTo>
                  <a:lnTo>
                    <a:pt x="415" y="183"/>
                  </a:lnTo>
                  <a:lnTo>
                    <a:pt x="416" y="185"/>
                  </a:lnTo>
                  <a:lnTo>
                    <a:pt x="416" y="187"/>
                  </a:lnTo>
                  <a:lnTo>
                    <a:pt x="417" y="189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21" y="193"/>
                  </a:lnTo>
                  <a:lnTo>
                    <a:pt x="422" y="195"/>
                  </a:lnTo>
                  <a:lnTo>
                    <a:pt x="425" y="198"/>
                  </a:lnTo>
                  <a:lnTo>
                    <a:pt x="425" y="199"/>
                  </a:lnTo>
                  <a:lnTo>
                    <a:pt x="426" y="199"/>
                  </a:lnTo>
                  <a:lnTo>
                    <a:pt x="426" y="200"/>
                  </a:lnTo>
                  <a:lnTo>
                    <a:pt x="427" y="201"/>
                  </a:lnTo>
                  <a:lnTo>
                    <a:pt x="427" y="202"/>
                  </a:lnTo>
                  <a:lnTo>
                    <a:pt x="427" y="205"/>
                  </a:lnTo>
                  <a:lnTo>
                    <a:pt x="427" y="206"/>
                  </a:lnTo>
                  <a:lnTo>
                    <a:pt x="428" y="206"/>
                  </a:lnTo>
                  <a:lnTo>
                    <a:pt x="429" y="209"/>
                  </a:lnTo>
                  <a:lnTo>
                    <a:pt x="429" y="210"/>
                  </a:lnTo>
                  <a:lnTo>
                    <a:pt x="429" y="210"/>
                  </a:lnTo>
                  <a:lnTo>
                    <a:pt x="429" y="211"/>
                  </a:lnTo>
                  <a:lnTo>
                    <a:pt x="429" y="212"/>
                  </a:lnTo>
                  <a:lnTo>
                    <a:pt x="429" y="213"/>
                  </a:lnTo>
                  <a:lnTo>
                    <a:pt x="428" y="215"/>
                  </a:lnTo>
                  <a:lnTo>
                    <a:pt x="428" y="216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8"/>
                  </a:lnTo>
                  <a:lnTo>
                    <a:pt x="428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0" y="218"/>
                  </a:lnTo>
                  <a:lnTo>
                    <a:pt x="431" y="218"/>
                  </a:lnTo>
                  <a:lnTo>
                    <a:pt x="432" y="219"/>
                  </a:lnTo>
                  <a:lnTo>
                    <a:pt x="435" y="219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7" y="220"/>
                  </a:lnTo>
                  <a:lnTo>
                    <a:pt x="438" y="221"/>
                  </a:lnTo>
                  <a:lnTo>
                    <a:pt x="439" y="221"/>
                  </a:lnTo>
                  <a:lnTo>
                    <a:pt x="439" y="222"/>
                  </a:lnTo>
                  <a:lnTo>
                    <a:pt x="440" y="223"/>
                  </a:lnTo>
                  <a:lnTo>
                    <a:pt x="440" y="223"/>
                  </a:lnTo>
                  <a:lnTo>
                    <a:pt x="441" y="224"/>
                  </a:lnTo>
                  <a:lnTo>
                    <a:pt x="441" y="225"/>
                  </a:lnTo>
                  <a:lnTo>
                    <a:pt x="441" y="226"/>
                  </a:lnTo>
                  <a:lnTo>
                    <a:pt x="441" y="227"/>
                  </a:lnTo>
                  <a:lnTo>
                    <a:pt x="442" y="231"/>
                  </a:lnTo>
                  <a:lnTo>
                    <a:pt x="442" y="232"/>
                  </a:lnTo>
                  <a:lnTo>
                    <a:pt x="442" y="233"/>
                  </a:lnTo>
                  <a:lnTo>
                    <a:pt x="442" y="235"/>
                  </a:lnTo>
                  <a:lnTo>
                    <a:pt x="442" y="237"/>
                  </a:lnTo>
                  <a:lnTo>
                    <a:pt x="441" y="238"/>
                  </a:lnTo>
                  <a:lnTo>
                    <a:pt x="441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0" y="242"/>
                  </a:lnTo>
                  <a:lnTo>
                    <a:pt x="439" y="243"/>
                  </a:lnTo>
                  <a:lnTo>
                    <a:pt x="437" y="246"/>
                  </a:lnTo>
                  <a:lnTo>
                    <a:pt x="434" y="249"/>
                  </a:lnTo>
                  <a:lnTo>
                    <a:pt x="434" y="250"/>
                  </a:lnTo>
                  <a:lnTo>
                    <a:pt x="433" y="251"/>
                  </a:lnTo>
                  <a:lnTo>
                    <a:pt x="432" y="252"/>
                  </a:lnTo>
                  <a:lnTo>
                    <a:pt x="432" y="253"/>
                  </a:lnTo>
                  <a:lnTo>
                    <a:pt x="431" y="254"/>
                  </a:lnTo>
                  <a:lnTo>
                    <a:pt x="431" y="255"/>
                  </a:lnTo>
                  <a:lnTo>
                    <a:pt x="431" y="256"/>
                  </a:lnTo>
                  <a:lnTo>
                    <a:pt x="431" y="258"/>
                  </a:lnTo>
                  <a:lnTo>
                    <a:pt x="431" y="259"/>
                  </a:lnTo>
                  <a:lnTo>
                    <a:pt x="431" y="259"/>
                  </a:lnTo>
                  <a:lnTo>
                    <a:pt x="431" y="260"/>
                  </a:lnTo>
                  <a:lnTo>
                    <a:pt x="432" y="262"/>
                  </a:lnTo>
                  <a:lnTo>
                    <a:pt x="433" y="265"/>
                  </a:lnTo>
                  <a:lnTo>
                    <a:pt x="433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9"/>
                  </a:lnTo>
                  <a:lnTo>
                    <a:pt x="432" y="271"/>
                  </a:lnTo>
                  <a:lnTo>
                    <a:pt x="431" y="274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1" y="279"/>
                  </a:lnTo>
                  <a:lnTo>
                    <a:pt x="430" y="279"/>
                  </a:lnTo>
                  <a:lnTo>
                    <a:pt x="430" y="279"/>
                  </a:lnTo>
                  <a:lnTo>
                    <a:pt x="429" y="279"/>
                  </a:lnTo>
                  <a:lnTo>
                    <a:pt x="427" y="279"/>
                  </a:lnTo>
                  <a:lnTo>
                    <a:pt x="426" y="279"/>
                  </a:lnTo>
                  <a:lnTo>
                    <a:pt x="425" y="279"/>
                  </a:lnTo>
                  <a:lnTo>
                    <a:pt x="423" y="278"/>
                  </a:lnTo>
                  <a:lnTo>
                    <a:pt x="421" y="278"/>
                  </a:lnTo>
                  <a:lnTo>
                    <a:pt x="420" y="277"/>
                  </a:lnTo>
                  <a:lnTo>
                    <a:pt x="418" y="277"/>
                  </a:lnTo>
                  <a:lnTo>
                    <a:pt x="416" y="276"/>
                  </a:lnTo>
                  <a:lnTo>
                    <a:pt x="415" y="275"/>
                  </a:lnTo>
                  <a:lnTo>
                    <a:pt x="413" y="275"/>
                  </a:lnTo>
                  <a:lnTo>
                    <a:pt x="406" y="271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9"/>
                  </a:lnTo>
                  <a:lnTo>
                    <a:pt x="400" y="269"/>
                  </a:lnTo>
                  <a:lnTo>
                    <a:pt x="398" y="268"/>
                  </a:lnTo>
                  <a:lnTo>
                    <a:pt x="397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2" y="267"/>
                  </a:lnTo>
                  <a:lnTo>
                    <a:pt x="391" y="267"/>
                  </a:lnTo>
                  <a:lnTo>
                    <a:pt x="390" y="267"/>
                  </a:lnTo>
                  <a:lnTo>
                    <a:pt x="388" y="268"/>
                  </a:lnTo>
                  <a:lnTo>
                    <a:pt x="386" y="268"/>
                  </a:lnTo>
                  <a:lnTo>
                    <a:pt x="385" y="268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3" y="268"/>
                  </a:lnTo>
                  <a:lnTo>
                    <a:pt x="380" y="267"/>
                  </a:lnTo>
                  <a:lnTo>
                    <a:pt x="379" y="267"/>
                  </a:lnTo>
                  <a:lnTo>
                    <a:pt x="378" y="267"/>
                  </a:lnTo>
                  <a:lnTo>
                    <a:pt x="377" y="267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70" y="268"/>
                  </a:lnTo>
                  <a:lnTo>
                    <a:pt x="368" y="268"/>
                  </a:lnTo>
                  <a:lnTo>
                    <a:pt x="365" y="268"/>
                  </a:lnTo>
                  <a:lnTo>
                    <a:pt x="363" y="268"/>
                  </a:lnTo>
                  <a:lnTo>
                    <a:pt x="362" y="267"/>
                  </a:lnTo>
                  <a:lnTo>
                    <a:pt x="359" y="267"/>
                  </a:lnTo>
                  <a:lnTo>
                    <a:pt x="358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6" y="267"/>
                  </a:lnTo>
                  <a:lnTo>
                    <a:pt x="356" y="268"/>
                  </a:lnTo>
                  <a:lnTo>
                    <a:pt x="355" y="269"/>
                  </a:lnTo>
                  <a:lnTo>
                    <a:pt x="355" y="271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2" y="281"/>
                  </a:lnTo>
                  <a:lnTo>
                    <a:pt x="352" y="282"/>
                  </a:lnTo>
                  <a:lnTo>
                    <a:pt x="351" y="283"/>
                  </a:lnTo>
                  <a:lnTo>
                    <a:pt x="351" y="283"/>
                  </a:lnTo>
                  <a:lnTo>
                    <a:pt x="350" y="283"/>
                  </a:lnTo>
                  <a:lnTo>
                    <a:pt x="350" y="283"/>
                  </a:lnTo>
                  <a:lnTo>
                    <a:pt x="349" y="284"/>
                  </a:lnTo>
                  <a:lnTo>
                    <a:pt x="348" y="284"/>
                  </a:lnTo>
                  <a:lnTo>
                    <a:pt x="346" y="284"/>
                  </a:lnTo>
                  <a:lnTo>
                    <a:pt x="344" y="284"/>
                  </a:lnTo>
                  <a:lnTo>
                    <a:pt x="343" y="284"/>
                  </a:lnTo>
                  <a:lnTo>
                    <a:pt x="341" y="284"/>
                  </a:lnTo>
                  <a:lnTo>
                    <a:pt x="337" y="283"/>
                  </a:lnTo>
                  <a:lnTo>
                    <a:pt x="336" y="283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4" y="283"/>
                  </a:lnTo>
                  <a:lnTo>
                    <a:pt x="331" y="283"/>
                  </a:lnTo>
                  <a:lnTo>
                    <a:pt x="329" y="284"/>
                  </a:lnTo>
                  <a:lnTo>
                    <a:pt x="327" y="284"/>
                  </a:lnTo>
                  <a:lnTo>
                    <a:pt x="326" y="284"/>
                  </a:lnTo>
                  <a:lnTo>
                    <a:pt x="325" y="284"/>
                  </a:lnTo>
                  <a:lnTo>
                    <a:pt x="324" y="284"/>
                  </a:lnTo>
                  <a:lnTo>
                    <a:pt x="324" y="284"/>
                  </a:lnTo>
                  <a:lnTo>
                    <a:pt x="323" y="283"/>
                  </a:lnTo>
                  <a:lnTo>
                    <a:pt x="322" y="283"/>
                  </a:lnTo>
                  <a:lnTo>
                    <a:pt x="322" y="283"/>
                  </a:lnTo>
                  <a:lnTo>
                    <a:pt x="321" y="283"/>
                  </a:lnTo>
                  <a:lnTo>
                    <a:pt x="321" y="283"/>
                  </a:lnTo>
                  <a:lnTo>
                    <a:pt x="320" y="283"/>
                  </a:lnTo>
                  <a:lnTo>
                    <a:pt x="319" y="283"/>
                  </a:lnTo>
                  <a:lnTo>
                    <a:pt x="318" y="283"/>
                  </a:lnTo>
                  <a:lnTo>
                    <a:pt x="317" y="284"/>
                  </a:lnTo>
                  <a:lnTo>
                    <a:pt x="316" y="284"/>
                  </a:lnTo>
                  <a:lnTo>
                    <a:pt x="316" y="285"/>
                  </a:lnTo>
                  <a:lnTo>
                    <a:pt x="315" y="285"/>
                  </a:lnTo>
                  <a:lnTo>
                    <a:pt x="314" y="287"/>
                  </a:lnTo>
                  <a:lnTo>
                    <a:pt x="313" y="288"/>
                  </a:lnTo>
                  <a:lnTo>
                    <a:pt x="311" y="289"/>
                  </a:lnTo>
                  <a:lnTo>
                    <a:pt x="311" y="290"/>
                  </a:lnTo>
                  <a:lnTo>
                    <a:pt x="310" y="290"/>
                  </a:lnTo>
                  <a:lnTo>
                    <a:pt x="310" y="291"/>
                  </a:lnTo>
                  <a:lnTo>
                    <a:pt x="309" y="291"/>
                  </a:lnTo>
                  <a:lnTo>
                    <a:pt x="309" y="291"/>
                  </a:lnTo>
                  <a:lnTo>
                    <a:pt x="308" y="291"/>
                  </a:lnTo>
                  <a:lnTo>
                    <a:pt x="308" y="291"/>
                  </a:lnTo>
                  <a:lnTo>
                    <a:pt x="307" y="291"/>
                  </a:lnTo>
                  <a:lnTo>
                    <a:pt x="307" y="290"/>
                  </a:lnTo>
                  <a:lnTo>
                    <a:pt x="307" y="290"/>
                  </a:lnTo>
                  <a:lnTo>
                    <a:pt x="303" y="284"/>
                  </a:lnTo>
                  <a:lnTo>
                    <a:pt x="302" y="283"/>
                  </a:lnTo>
                  <a:lnTo>
                    <a:pt x="301" y="282"/>
                  </a:lnTo>
                  <a:lnTo>
                    <a:pt x="300" y="281"/>
                  </a:lnTo>
                  <a:lnTo>
                    <a:pt x="299" y="281"/>
                  </a:lnTo>
                  <a:lnTo>
                    <a:pt x="296" y="279"/>
                  </a:lnTo>
                  <a:lnTo>
                    <a:pt x="293" y="277"/>
                  </a:lnTo>
                  <a:lnTo>
                    <a:pt x="292" y="276"/>
                  </a:lnTo>
                  <a:lnTo>
                    <a:pt x="290" y="275"/>
                  </a:lnTo>
                  <a:lnTo>
                    <a:pt x="289" y="275"/>
                  </a:lnTo>
                  <a:lnTo>
                    <a:pt x="285" y="274"/>
                  </a:lnTo>
                  <a:lnTo>
                    <a:pt x="281" y="272"/>
                  </a:lnTo>
                  <a:lnTo>
                    <a:pt x="280" y="272"/>
                  </a:lnTo>
                  <a:lnTo>
                    <a:pt x="278" y="272"/>
                  </a:lnTo>
                  <a:lnTo>
                    <a:pt x="277" y="271"/>
                  </a:lnTo>
                  <a:lnTo>
                    <a:pt x="276" y="271"/>
                  </a:lnTo>
                  <a:lnTo>
                    <a:pt x="276" y="271"/>
                  </a:lnTo>
                  <a:lnTo>
                    <a:pt x="275" y="270"/>
                  </a:lnTo>
                  <a:lnTo>
                    <a:pt x="273" y="269"/>
                  </a:lnTo>
                  <a:lnTo>
                    <a:pt x="272" y="267"/>
                  </a:lnTo>
                  <a:lnTo>
                    <a:pt x="271" y="266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2"/>
                  </a:lnTo>
                  <a:lnTo>
                    <a:pt x="264" y="258"/>
                  </a:lnTo>
                  <a:lnTo>
                    <a:pt x="262" y="256"/>
                  </a:lnTo>
                  <a:lnTo>
                    <a:pt x="261" y="255"/>
                  </a:lnTo>
                  <a:lnTo>
                    <a:pt x="260" y="254"/>
                  </a:lnTo>
                  <a:lnTo>
                    <a:pt x="258" y="254"/>
                  </a:lnTo>
                  <a:lnTo>
                    <a:pt x="257" y="253"/>
                  </a:lnTo>
                  <a:lnTo>
                    <a:pt x="256" y="252"/>
                  </a:lnTo>
                  <a:lnTo>
                    <a:pt x="252" y="250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6" y="247"/>
                  </a:lnTo>
                  <a:lnTo>
                    <a:pt x="243" y="246"/>
                  </a:lnTo>
                  <a:lnTo>
                    <a:pt x="239" y="245"/>
                  </a:lnTo>
                  <a:lnTo>
                    <a:pt x="235" y="244"/>
                  </a:lnTo>
                  <a:lnTo>
                    <a:pt x="234" y="244"/>
                  </a:lnTo>
                  <a:lnTo>
                    <a:pt x="232" y="243"/>
                  </a:lnTo>
                  <a:lnTo>
                    <a:pt x="231" y="243"/>
                  </a:lnTo>
                  <a:lnTo>
                    <a:pt x="230" y="242"/>
                  </a:lnTo>
                  <a:lnTo>
                    <a:pt x="229" y="242"/>
                  </a:lnTo>
                  <a:lnTo>
                    <a:pt x="228" y="242"/>
                  </a:lnTo>
                  <a:lnTo>
                    <a:pt x="224" y="242"/>
                  </a:lnTo>
                  <a:lnTo>
                    <a:pt x="222" y="242"/>
                  </a:lnTo>
                  <a:lnTo>
                    <a:pt x="221" y="242"/>
                  </a:lnTo>
                  <a:lnTo>
                    <a:pt x="221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19" y="241"/>
                  </a:lnTo>
                  <a:lnTo>
                    <a:pt x="219" y="240"/>
                  </a:lnTo>
                  <a:lnTo>
                    <a:pt x="218" y="240"/>
                  </a:lnTo>
                  <a:lnTo>
                    <a:pt x="216" y="238"/>
                  </a:lnTo>
                  <a:lnTo>
                    <a:pt x="214" y="236"/>
                  </a:lnTo>
                  <a:lnTo>
                    <a:pt x="213" y="235"/>
                  </a:lnTo>
                  <a:lnTo>
                    <a:pt x="212" y="233"/>
                  </a:lnTo>
                  <a:lnTo>
                    <a:pt x="211" y="233"/>
                  </a:lnTo>
                  <a:lnTo>
                    <a:pt x="210" y="232"/>
                  </a:lnTo>
                  <a:lnTo>
                    <a:pt x="209" y="232"/>
                  </a:lnTo>
                  <a:lnTo>
                    <a:pt x="209" y="231"/>
                  </a:lnTo>
                  <a:lnTo>
                    <a:pt x="208" y="231"/>
                  </a:lnTo>
                  <a:lnTo>
                    <a:pt x="207" y="230"/>
                  </a:lnTo>
                  <a:lnTo>
                    <a:pt x="205" y="230"/>
                  </a:lnTo>
                  <a:lnTo>
                    <a:pt x="202" y="230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6" y="227"/>
                  </a:lnTo>
                  <a:lnTo>
                    <a:pt x="195" y="227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3" y="225"/>
                  </a:lnTo>
                  <a:lnTo>
                    <a:pt x="192" y="224"/>
                  </a:lnTo>
                  <a:lnTo>
                    <a:pt x="191" y="223"/>
                  </a:lnTo>
                  <a:lnTo>
                    <a:pt x="190" y="222"/>
                  </a:lnTo>
                  <a:lnTo>
                    <a:pt x="190" y="221"/>
                  </a:lnTo>
                  <a:lnTo>
                    <a:pt x="189" y="221"/>
                  </a:lnTo>
                  <a:lnTo>
                    <a:pt x="189" y="221"/>
                  </a:lnTo>
                  <a:lnTo>
                    <a:pt x="188" y="221"/>
                  </a:lnTo>
                  <a:lnTo>
                    <a:pt x="188" y="221"/>
                  </a:lnTo>
                  <a:lnTo>
                    <a:pt x="187" y="221"/>
                  </a:lnTo>
                  <a:lnTo>
                    <a:pt x="186" y="222"/>
                  </a:lnTo>
                  <a:lnTo>
                    <a:pt x="185" y="223"/>
                  </a:lnTo>
                  <a:lnTo>
                    <a:pt x="184" y="224"/>
                  </a:lnTo>
                  <a:lnTo>
                    <a:pt x="183" y="225"/>
                  </a:lnTo>
                  <a:lnTo>
                    <a:pt x="182" y="226"/>
                  </a:lnTo>
                  <a:lnTo>
                    <a:pt x="181" y="228"/>
                  </a:lnTo>
                  <a:lnTo>
                    <a:pt x="180" y="230"/>
                  </a:lnTo>
                  <a:lnTo>
                    <a:pt x="179" y="233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8" y="235"/>
                  </a:lnTo>
                  <a:lnTo>
                    <a:pt x="176" y="237"/>
                  </a:lnTo>
                  <a:lnTo>
                    <a:pt x="175" y="240"/>
                  </a:lnTo>
                  <a:lnTo>
                    <a:pt x="174" y="240"/>
                  </a:lnTo>
                  <a:lnTo>
                    <a:pt x="174" y="241"/>
                  </a:lnTo>
                  <a:lnTo>
                    <a:pt x="173" y="241"/>
                  </a:lnTo>
                  <a:lnTo>
                    <a:pt x="173" y="241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6" y="242"/>
                  </a:lnTo>
                  <a:lnTo>
                    <a:pt x="165" y="242"/>
                  </a:lnTo>
                  <a:lnTo>
                    <a:pt x="164" y="242"/>
                  </a:lnTo>
                  <a:lnTo>
                    <a:pt x="164" y="241"/>
                  </a:lnTo>
                  <a:lnTo>
                    <a:pt x="163" y="241"/>
                  </a:lnTo>
                  <a:lnTo>
                    <a:pt x="161" y="240"/>
                  </a:lnTo>
                  <a:lnTo>
                    <a:pt x="158" y="239"/>
                  </a:lnTo>
                  <a:lnTo>
                    <a:pt x="152" y="236"/>
                  </a:lnTo>
                  <a:lnTo>
                    <a:pt x="150" y="235"/>
                  </a:lnTo>
                  <a:lnTo>
                    <a:pt x="150" y="234"/>
                  </a:lnTo>
                  <a:lnTo>
                    <a:pt x="149" y="234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6" y="231"/>
                  </a:lnTo>
                  <a:lnTo>
                    <a:pt x="146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5" y="227"/>
                  </a:lnTo>
                  <a:lnTo>
                    <a:pt x="146" y="226"/>
                  </a:lnTo>
                  <a:lnTo>
                    <a:pt x="146" y="225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5" y="219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7"/>
                  </a:lnTo>
                  <a:lnTo>
                    <a:pt x="140" y="217"/>
                  </a:lnTo>
                  <a:lnTo>
                    <a:pt x="139" y="216"/>
                  </a:lnTo>
                  <a:lnTo>
                    <a:pt x="138" y="216"/>
                  </a:lnTo>
                  <a:lnTo>
                    <a:pt x="137" y="215"/>
                  </a:lnTo>
                  <a:lnTo>
                    <a:pt x="135" y="214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1" y="212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7" y="211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3" y="210"/>
                  </a:lnTo>
                  <a:lnTo>
                    <a:pt x="123" y="209"/>
                  </a:lnTo>
                  <a:lnTo>
                    <a:pt x="122" y="209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3"/>
                  </a:lnTo>
                  <a:lnTo>
                    <a:pt x="120" y="203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19" y="202"/>
                  </a:lnTo>
                  <a:lnTo>
                    <a:pt x="119" y="201"/>
                  </a:lnTo>
                  <a:lnTo>
                    <a:pt x="118" y="201"/>
                  </a:lnTo>
                  <a:lnTo>
                    <a:pt x="115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9" y="199"/>
                  </a:lnTo>
                  <a:lnTo>
                    <a:pt x="108" y="198"/>
                  </a:lnTo>
                  <a:lnTo>
                    <a:pt x="107" y="198"/>
                  </a:lnTo>
                  <a:lnTo>
                    <a:pt x="106" y="197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4" y="195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0" y="191"/>
                  </a:lnTo>
                  <a:lnTo>
                    <a:pt x="99" y="191"/>
                  </a:lnTo>
                  <a:lnTo>
                    <a:pt x="98" y="190"/>
                  </a:lnTo>
                  <a:lnTo>
                    <a:pt x="95" y="189"/>
                  </a:lnTo>
                  <a:lnTo>
                    <a:pt x="94" y="189"/>
                  </a:lnTo>
                  <a:lnTo>
                    <a:pt x="93" y="188"/>
                  </a:lnTo>
                  <a:lnTo>
                    <a:pt x="93" y="187"/>
                  </a:lnTo>
                  <a:lnTo>
                    <a:pt x="92" y="187"/>
                  </a:lnTo>
                  <a:lnTo>
                    <a:pt x="91" y="187"/>
                  </a:lnTo>
                  <a:lnTo>
                    <a:pt x="89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7" y="186"/>
                  </a:lnTo>
                  <a:lnTo>
                    <a:pt x="73" y="186"/>
                  </a:lnTo>
                  <a:lnTo>
                    <a:pt x="72" y="186"/>
                  </a:lnTo>
                  <a:lnTo>
                    <a:pt x="71" y="186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7" y="186"/>
                  </a:lnTo>
                  <a:lnTo>
                    <a:pt x="66" y="186"/>
                  </a:lnTo>
                  <a:lnTo>
                    <a:pt x="66" y="185"/>
                  </a:lnTo>
                  <a:lnTo>
                    <a:pt x="64" y="184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0"/>
                  </a:lnTo>
                  <a:lnTo>
                    <a:pt x="59" y="179"/>
                  </a:lnTo>
                  <a:lnTo>
                    <a:pt x="52" y="174"/>
                  </a:lnTo>
                  <a:lnTo>
                    <a:pt x="49" y="172"/>
                  </a:lnTo>
                  <a:lnTo>
                    <a:pt x="47" y="171"/>
                  </a:lnTo>
                  <a:lnTo>
                    <a:pt x="42" y="167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8" y="161"/>
                  </a:lnTo>
                  <a:lnTo>
                    <a:pt x="38" y="157"/>
                  </a:lnTo>
                  <a:lnTo>
                    <a:pt x="39" y="154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9" y="148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4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6" y="131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19"/>
                  </a:lnTo>
                  <a:lnTo>
                    <a:pt x="46" y="118"/>
                  </a:lnTo>
                  <a:lnTo>
                    <a:pt x="45" y="118"/>
                  </a:lnTo>
                  <a:lnTo>
                    <a:pt x="45" y="117"/>
                  </a:lnTo>
                  <a:lnTo>
                    <a:pt x="44" y="116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1" y="114"/>
                  </a:lnTo>
                  <a:lnTo>
                    <a:pt x="38" y="113"/>
                  </a:lnTo>
                  <a:lnTo>
                    <a:pt x="37" y="112"/>
                  </a:lnTo>
                  <a:lnTo>
                    <a:pt x="35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29" y="106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5" y="98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3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8"/>
                  </a:lnTo>
                  <a:lnTo>
                    <a:pt x="5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2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3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8" y="46"/>
                  </a:lnTo>
                  <a:lnTo>
                    <a:pt x="39" y="46"/>
                  </a:lnTo>
                  <a:lnTo>
                    <a:pt x="40" y="45"/>
                  </a:lnTo>
                  <a:lnTo>
                    <a:pt x="42" y="44"/>
                  </a:lnTo>
                  <a:lnTo>
                    <a:pt x="42" y="43"/>
                  </a:lnTo>
                  <a:lnTo>
                    <a:pt x="43" y="42"/>
                  </a:lnTo>
                  <a:lnTo>
                    <a:pt x="43" y="42"/>
                  </a:lnTo>
                  <a:lnTo>
                    <a:pt x="44" y="40"/>
                  </a:lnTo>
                  <a:lnTo>
                    <a:pt x="44" y="39"/>
                  </a:lnTo>
                  <a:lnTo>
                    <a:pt x="45" y="39"/>
                  </a:lnTo>
                  <a:lnTo>
                    <a:pt x="45" y="38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47" y="36"/>
                  </a:lnTo>
                  <a:lnTo>
                    <a:pt x="48" y="36"/>
                  </a:lnTo>
                  <a:lnTo>
                    <a:pt x="49" y="35"/>
                  </a:lnTo>
                  <a:lnTo>
                    <a:pt x="50" y="35"/>
                  </a:lnTo>
                  <a:lnTo>
                    <a:pt x="52" y="35"/>
                  </a:lnTo>
                  <a:lnTo>
                    <a:pt x="53" y="35"/>
                  </a:lnTo>
                  <a:lnTo>
                    <a:pt x="54" y="34"/>
                  </a:lnTo>
                  <a:lnTo>
                    <a:pt x="57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9" y="32"/>
                  </a:lnTo>
                  <a:lnTo>
                    <a:pt x="59" y="32"/>
                  </a:lnTo>
                  <a:lnTo>
                    <a:pt x="60" y="33"/>
                  </a:lnTo>
                  <a:lnTo>
                    <a:pt x="60" y="33"/>
                  </a:lnTo>
                  <a:lnTo>
                    <a:pt x="61" y="33"/>
                  </a:lnTo>
                  <a:lnTo>
                    <a:pt x="62" y="35"/>
                  </a:lnTo>
                  <a:lnTo>
                    <a:pt x="63" y="35"/>
                  </a:lnTo>
                  <a:lnTo>
                    <a:pt x="64" y="35"/>
                  </a:lnTo>
                  <a:lnTo>
                    <a:pt x="65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8" y="36"/>
                  </a:lnTo>
                  <a:lnTo>
                    <a:pt x="69" y="36"/>
                  </a:lnTo>
                  <a:lnTo>
                    <a:pt x="70" y="36"/>
                  </a:lnTo>
                  <a:lnTo>
                    <a:pt x="73" y="36"/>
                  </a:lnTo>
                  <a:lnTo>
                    <a:pt x="74" y="36"/>
                  </a:lnTo>
                  <a:lnTo>
                    <a:pt x="75" y="36"/>
                  </a:lnTo>
                  <a:lnTo>
                    <a:pt x="77" y="36"/>
                  </a:lnTo>
                  <a:lnTo>
                    <a:pt x="78" y="36"/>
                  </a:lnTo>
                  <a:lnTo>
                    <a:pt x="80" y="36"/>
                  </a:lnTo>
                  <a:lnTo>
                    <a:pt x="81" y="36"/>
                  </a:lnTo>
                  <a:lnTo>
                    <a:pt x="82" y="36"/>
                  </a:lnTo>
                  <a:lnTo>
                    <a:pt x="83" y="36"/>
                  </a:lnTo>
                  <a:lnTo>
                    <a:pt x="83" y="37"/>
                  </a:lnTo>
                  <a:lnTo>
                    <a:pt x="85" y="37"/>
                  </a:lnTo>
                  <a:lnTo>
                    <a:pt x="87" y="38"/>
                  </a:lnTo>
                  <a:lnTo>
                    <a:pt x="89" y="39"/>
                  </a:lnTo>
                  <a:lnTo>
                    <a:pt x="89" y="39"/>
                  </a:lnTo>
                  <a:lnTo>
                    <a:pt x="90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3" y="39"/>
                  </a:lnTo>
                  <a:lnTo>
                    <a:pt x="94" y="38"/>
                  </a:lnTo>
                  <a:lnTo>
                    <a:pt x="97" y="37"/>
                  </a:lnTo>
                  <a:lnTo>
                    <a:pt x="98" y="36"/>
                  </a:lnTo>
                  <a:lnTo>
                    <a:pt x="100" y="36"/>
                  </a:lnTo>
                  <a:lnTo>
                    <a:pt x="102" y="35"/>
                  </a:lnTo>
                  <a:lnTo>
                    <a:pt x="103" y="35"/>
                  </a:lnTo>
                  <a:lnTo>
                    <a:pt x="104" y="35"/>
                  </a:lnTo>
                  <a:lnTo>
                    <a:pt x="105" y="34"/>
                  </a:lnTo>
                  <a:lnTo>
                    <a:pt x="106" y="33"/>
                  </a:lnTo>
                  <a:lnTo>
                    <a:pt x="106" y="33"/>
                  </a:lnTo>
                  <a:lnTo>
                    <a:pt x="107" y="32"/>
                  </a:lnTo>
                  <a:lnTo>
                    <a:pt x="107" y="31"/>
                  </a:lnTo>
                  <a:lnTo>
                    <a:pt x="108" y="31"/>
                  </a:lnTo>
                  <a:lnTo>
                    <a:pt x="108" y="30"/>
                  </a:lnTo>
                  <a:lnTo>
                    <a:pt x="109" y="27"/>
                  </a:lnTo>
                  <a:lnTo>
                    <a:pt x="110" y="26"/>
                  </a:lnTo>
                  <a:lnTo>
                    <a:pt x="110" y="26"/>
                  </a:lnTo>
                  <a:lnTo>
                    <a:pt x="111" y="25"/>
                  </a:lnTo>
                  <a:lnTo>
                    <a:pt x="111" y="24"/>
                  </a:lnTo>
                  <a:lnTo>
                    <a:pt x="112" y="24"/>
                  </a:lnTo>
                  <a:lnTo>
                    <a:pt x="113" y="23"/>
                  </a:lnTo>
                  <a:lnTo>
                    <a:pt x="114" y="22"/>
                  </a:lnTo>
                  <a:lnTo>
                    <a:pt x="115" y="21"/>
                  </a:lnTo>
                  <a:lnTo>
                    <a:pt x="116" y="20"/>
                  </a:lnTo>
                  <a:lnTo>
                    <a:pt x="118" y="19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1" y="18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Freeform 26">
              <a:extLst>
                <a:ext uri="{FF2B5EF4-FFF2-40B4-BE49-F238E27FC236}">
                  <a16:creationId xmlns:a16="http://schemas.microsoft.com/office/drawing/2014/main" id="{107976D1-510B-6CDB-4F99-1EA7D1F1B4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" y="3255"/>
              <a:ext cx="442" cy="291"/>
            </a:xfrm>
            <a:custGeom>
              <a:avLst/>
              <a:gdLst>
                <a:gd name="T0" fmla="*/ 131 w 442"/>
                <a:gd name="T1" fmla="*/ 34 h 291"/>
                <a:gd name="T2" fmla="*/ 148 w 442"/>
                <a:gd name="T3" fmla="*/ 30 h 291"/>
                <a:gd name="T4" fmla="*/ 170 w 442"/>
                <a:gd name="T5" fmla="*/ 23 h 291"/>
                <a:gd name="T6" fmla="*/ 190 w 442"/>
                <a:gd name="T7" fmla="*/ 40 h 291"/>
                <a:gd name="T8" fmla="*/ 208 w 442"/>
                <a:gd name="T9" fmla="*/ 53 h 291"/>
                <a:gd name="T10" fmla="*/ 231 w 442"/>
                <a:gd name="T11" fmla="*/ 68 h 291"/>
                <a:gd name="T12" fmla="*/ 255 w 442"/>
                <a:gd name="T13" fmla="*/ 75 h 291"/>
                <a:gd name="T14" fmla="*/ 274 w 442"/>
                <a:gd name="T15" fmla="*/ 74 h 291"/>
                <a:gd name="T16" fmla="*/ 282 w 442"/>
                <a:gd name="T17" fmla="*/ 69 h 291"/>
                <a:gd name="T18" fmla="*/ 289 w 442"/>
                <a:gd name="T19" fmla="*/ 56 h 291"/>
                <a:gd name="T20" fmla="*/ 312 w 442"/>
                <a:gd name="T21" fmla="*/ 39 h 291"/>
                <a:gd name="T22" fmla="*/ 329 w 442"/>
                <a:gd name="T23" fmla="*/ 22 h 291"/>
                <a:gd name="T24" fmla="*/ 343 w 442"/>
                <a:gd name="T25" fmla="*/ 24 h 291"/>
                <a:gd name="T26" fmla="*/ 365 w 442"/>
                <a:gd name="T27" fmla="*/ 33 h 291"/>
                <a:gd name="T28" fmla="*/ 392 w 442"/>
                <a:gd name="T29" fmla="*/ 48 h 291"/>
                <a:gd name="T30" fmla="*/ 409 w 442"/>
                <a:gd name="T31" fmla="*/ 33 h 291"/>
                <a:gd name="T32" fmla="*/ 428 w 442"/>
                <a:gd name="T33" fmla="*/ 6 h 291"/>
                <a:gd name="T34" fmla="*/ 441 w 442"/>
                <a:gd name="T35" fmla="*/ 1 h 291"/>
                <a:gd name="T36" fmla="*/ 430 w 442"/>
                <a:gd name="T37" fmla="*/ 39 h 291"/>
                <a:gd name="T38" fmla="*/ 426 w 442"/>
                <a:gd name="T39" fmla="*/ 61 h 291"/>
                <a:gd name="T40" fmla="*/ 423 w 442"/>
                <a:gd name="T41" fmla="*/ 81 h 291"/>
                <a:gd name="T42" fmla="*/ 403 w 442"/>
                <a:gd name="T43" fmla="*/ 95 h 291"/>
                <a:gd name="T44" fmla="*/ 407 w 442"/>
                <a:gd name="T45" fmla="*/ 119 h 291"/>
                <a:gd name="T46" fmla="*/ 413 w 442"/>
                <a:gd name="T47" fmla="*/ 154 h 291"/>
                <a:gd name="T48" fmla="*/ 410 w 442"/>
                <a:gd name="T49" fmla="*/ 173 h 291"/>
                <a:gd name="T50" fmla="*/ 426 w 442"/>
                <a:gd name="T51" fmla="*/ 200 h 291"/>
                <a:gd name="T52" fmla="*/ 428 w 442"/>
                <a:gd name="T53" fmla="*/ 218 h 291"/>
                <a:gd name="T54" fmla="*/ 441 w 442"/>
                <a:gd name="T55" fmla="*/ 225 h 291"/>
                <a:gd name="T56" fmla="*/ 433 w 442"/>
                <a:gd name="T57" fmla="*/ 251 h 291"/>
                <a:gd name="T58" fmla="*/ 431 w 442"/>
                <a:gd name="T59" fmla="*/ 274 h 291"/>
                <a:gd name="T60" fmla="*/ 415 w 442"/>
                <a:gd name="T61" fmla="*/ 275 h 291"/>
                <a:gd name="T62" fmla="*/ 384 w 442"/>
                <a:gd name="T63" fmla="*/ 268 h 291"/>
                <a:gd name="T64" fmla="*/ 358 w 442"/>
                <a:gd name="T65" fmla="*/ 266 h 291"/>
                <a:gd name="T66" fmla="*/ 350 w 442"/>
                <a:gd name="T67" fmla="*/ 283 h 291"/>
                <a:gd name="T68" fmla="*/ 324 w 442"/>
                <a:gd name="T69" fmla="*/ 284 h 291"/>
                <a:gd name="T70" fmla="*/ 311 w 442"/>
                <a:gd name="T71" fmla="*/ 290 h 291"/>
                <a:gd name="T72" fmla="*/ 292 w 442"/>
                <a:gd name="T73" fmla="*/ 276 h 291"/>
                <a:gd name="T74" fmla="*/ 264 w 442"/>
                <a:gd name="T75" fmla="*/ 258 h 291"/>
                <a:gd name="T76" fmla="*/ 230 w 442"/>
                <a:gd name="T77" fmla="*/ 242 h 291"/>
                <a:gd name="T78" fmla="*/ 210 w 442"/>
                <a:gd name="T79" fmla="*/ 232 h 291"/>
                <a:gd name="T80" fmla="*/ 191 w 442"/>
                <a:gd name="T81" fmla="*/ 223 h 291"/>
                <a:gd name="T82" fmla="*/ 179 w 442"/>
                <a:gd name="T83" fmla="*/ 234 h 291"/>
                <a:gd name="T84" fmla="*/ 163 w 442"/>
                <a:gd name="T85" fmla="*/ 241 h 291"/>
                <a:gd name="T86" fmla="*/ 147 w 442"/>
                <a:gd name="T87" fmla="*/ 222 h 291"/>
                <a:gd name="T88" fmla="*/ 132 w 442"/>
                <a:gd name="T89" fmla="*/ 213 h 291"/>
                <a:gd name="T90" fmla="*/ 120 w 442"/>
                <a:gd name="T91" fmla="*/ 203 h 291"/>
                <a:gd name="T92" fmla="*/ 101 w 442"/>
                <a:gd name="T93" fmla="*/ 192 h 291"/>
                <a:gd name="T94" fmla="*/ 84 w 442"/>
                <a:gd name="T95" fmla="*/ 187 h 291"/>
                <a:gd name="T96" fmla="*/ 64 w 442"/>
                <a:gd name="T97" fmla="*/ 184 h 291"/>
                <a:gd name="T98" fmla="*/ 39 w 442"/>
                <a:gd name="T99" fmla="*/ 149 h 291"/>
                <a:gd name="T100" fmla="*/ 45 w 442"/>
                <a:gd name="T101" fmla="*/ 127 h 291"/>
                <a:gd name="T102" fmla="*/ 37 w 442"/>
                <a:gd name="T103" fmla="*/ 112 h 291"/>
                <a:gd name="T104" fmla="*/ 28 w 442"/>
                <a:gd name="T105" fmla="*/ 99 h 291"/>
                <a:gd name="T106" fmla="*/ 15 w 442"/>
                <a:gd name="T107" fmla="*/ 93 h 291"/>
                <a:gd name="T108" fmla="*/ 0 w 442"/>
                <a:gd name="T109" fmla="*/ 83 h 291"/>
                <a:gd name="T110" fmla="*/ 5 w 442"/>
                <a:gd name="T111" fmla="*/ 76 h 291"/>
                <a:gd name="T112" fmla="*/ 10 w 442"/>
                <a:gd name="T113" fmla="*/ 66 h 291"/>
                <a:gd name="T114" fmla="*/ 10 w 442"/>
                <a:gd name="T115" fmla="*/ 54 h 291"/>
                <a:gd name="T116" fmla="*/ 19 w 442"/>
                <a:gd name="T117" fmla="*/ 49 h 291"/>
                <a:gd name="T118" fmla="*/ 33 w 442"/>
                <a:gd name="T119" fmla="*/ 49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2" h="291">
                  <a:moveTo>
                    <a:pt x="121" y="18"/>
                  </a:moveTo>
                  <a:lnTo>
                    <a:pt x="121" y="18"/>
                  </a:lnTo>
                  <a:lnTo>
                    <a:pt x="122" y="19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5" y="22"/>
                  </a:lnTo>
                  <a:lnTo>
                    <a:pt x="126" y="24"/>
                  </a:lnTo>
                  <a:lnTo>
                    <a:pt x="126" y="25"/>
                  </a:lnTo>
                  <a:lnTo>
                    <a:pt x="127" y="27"/>
                  </a:lnTo>
                  <a:lnTo>
                    <a:pt x="128" y="30"/>
                  </a:lnTo>
                  <a:lnTo>
                    <a:pt x="128" y="31"/>
                  </a:lnTo>
                  <a:lnTo>
                    <a:pt x="129" y="32"/>
                  </a:lnTo>
                  <a:lnTo>
                    <a:pt x="129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8" y="35"/>
                  </a:lnTo>
                  <a:lnTo>
                    <a:pt x="139" y="35"/>
                  </a:lnTo>
                  <a:lnTo>
                    <a:pt x="140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5" y="31"/>
                  </a:lnTo>
                  <a:lnTo>
                    <a:pt x="148" y="30"/>
                  </a:lnTo>
                  <a:lnTo>
                    <a:pt x="149" y="29"/>
                  </a:lnTo>
                  <a:lnTo>
                    <a:pt x="150" y="29"/>
                  </a:lnTo>
                  <a:lnTo>
                    <a:pt x="150" y="28"/>
                  </a:lnTo>
                  <a:lnTo>
                    <a:pt x="151" y="28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4"/>
                  </a:lnTo>
                  <a:lnTo>
                    <a:pt x="156" y="23"/>
                  </a:lnTo>
                  <a:lnTo>
                    <a:pt x="158" y="23"/>
                  </a:lnTo>
                  <a:lnTo>
                    <a:pt x="160" y="22"/>
                  </a:lnTo>
                  <a:lnTo>
                    <a:pt x="161" y="21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70" y="23"/>
                  </a:lnTo>
                  <a:lnTo>
                    <a:pt x="174" y="24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0" y="26"/>
                  </a:lnTo>
                  <a:lnTo>
                    <a:pt x="181" y="26"/>
                  </a:lnTo>
                  <a:lnTo>
                    <a:pt x="182" y="27"/>
                  </a:lnTo>
                  <a:lnTo>
                    <a:pt x="183" y="27"/>
                  </a:lnTo>
                  <a:lnTo>
                    <a:pt x="183" y="28"/>
                  </a:lnTo>
                  <a:lnTo>
                    <a:pt x="185" y="31"/>
                  </a:lnTo>
                  <a:lnTo>
                    <a:pt x="186" y="31"/>
                  </a:lnTo>
                  <a:lnTo>
                    <a:pt x="186" y="32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88" y="35"/>
                  </a:lnTo>
                  <a:lnTo>
                    <a:pt x="189" y="39"/>
                  </a:lnTo>
                  <a:lnTo>
                    <a:pt x="190" y="40"/>
                  </a:lnTo>
                  <a:lnTo>
                    <a:pt x="190" y="41"/>
                  </a:lnTo>
                  <a:lnTo>
                    <a:pt x="191" y="42"/>
                  </a:lnTo>
                  <a:lnTo>
                    <a:pt x="191" y="43"/>
                  </a:lnTo>
                  <a:lnTo>
                    <a:pt x="192" y="43"/>
                  </a:lnTo>
                  <a:lnTo>
                    <a:pt x="192" y="44"/>
                  </a:lnTo>
                  <a:lnTo>
                    <a:pt x="193" y="44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6"/>
                  </a:lnTo>
                  <a:lnTo>
                    <a:pt x="200" y="46"/>
                  </a:lnTo>
                  <a:lnTo>
                    <a:pt x="201" y="47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4" y="49"/>
                  </a:lnTo>
                  <a:lnTo>
                    <a:pt x="206" y="50"/>
                  </a:lnTo>
                  <a:lnTo>
                    <a:pt x="208" y="53"/>
                  </a:lnTo>
                  <a:lnTo>
                    <a:pt x="209" y="54"/>
                  </a:lnTo>
                  <a:lnTo>
                    <a:pt x="210" y="55"/>
                  </a:lnTo>
                  <a:lnTo>
                    <a:pt x="211" y="56"/>
                  </a:lnTo>
                  <a:lnTo>
                    <a:pt x="212" y="57"/>
                  </a:lnTo>
                  <a:lnTo>
                    <a:pt x="213" y="58"/>
                  </a:lnTo>
                  <a:lnTo>
                    <a:pt x="215" y="58"/>
                  </a:lnTo>
                  <a:lnTo>
                    <a:pt x="218" y="60"/>
                  </a:lnTo>
                  <a:lnTo>
                    <a:pt x="219" y="60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2"/>
                  </a:lnTo>
                  <a:lnTo>
                    <a:pt x="224" y="64"/>
                  </a:lnTo>
                  <a:lnTo>
                    <a:pt x="225" y="65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8" y="67"/>
                  </a:lnTo>
                  <a:lnTo>
                    <a:pt x="231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6" y="70"/>
                  </a:lnTo>
                  <a:lnTo>
                    <a:pt x="237" y="71"/>
                  </a:lnTo>
                  <a:lnTo>
                    <a:pt x="238" y="72"/>
                  </a:lnTo>
                  <a:lnTo>
                    <a:pt x="242" y="75"/>
                  </a:lnTo>
                  <a:lnTo>
                    <a:pt x="243" y="75"/>
                  </a:lnTo>
                  <a:lnTo>
                    <a:pt x="244" y="76"/>
                  </a:lnTo>
                  <a:lnTo>
                    <a:pt x="245" y="76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7" y="77"/>
                  </a:lnTo>
                  <a:lnTo>
                    <a:pt x="248" y="77"/>
                  </a:lnTo>
                  <a:lnTo>
                    <a:pt x="249" y="77"/>
                  </a:lnTo>
                  <a:lnTo>
                    <a:pt x="251" y="76"/>
                  </a:lnTo>
                  <a:lnTo>
                    <a:pt x="254" y="76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1" y="74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6" y="75"/>
                  </a:lnTo>
                  <a:lnTo>
                    <a:pt x="269" y="75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4" y="74"/>
                  </a:lnTo>
                  <a:lnTo>
                    <a:pt x="275" y="75"/>
                  </a:lnTo>
                  <a:lnTo>
                    <a:pt x="277" y="75"/>
                  </a:lnTo>
                  <a:lnTo>
                    <a:pt x="278" y="76"/>
                  </a:lnTo>
                  <a:lnTo>
                    <a:pt x="279" y="76"/>
                  </a:lnTo>
                  <a:lnTo>
                    <a:pt x="280" y="76"/>
                  </a:lnTo>
                  <a:lnTo>
                    <a:pt x="281" y="76"/>
                  </a:lnTo>
                  <a:lnTo>
                    <a:pt x="281" y="75"/>
                  </a:lnTo>
                  <a:lnTo>
                    <a:pt x="282" y="75"/>
                  </a:lnTo>
                  <a:lnTo>
                    <a:pt x="282" y="75"/>
                  </a:lnTo>
                  <a:lnTo>
                    <a:pt x="283" y="75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2" y="70"/>
                  </a:lnTo>
                  <a:lnTo>
                    <a:pt x="282" y="69"/>
                  </a:lnTo>
                  <a:lnTo>
                    <a:pt x="282" y="69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7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4" y="65"/>
                  </a:lnTo>
                  <a:lnTo>
                    <a:pt x="286" y="64"/>
                  </a:lnTo>
                  <a:lnTo>
                    <a:pt x="287" y="63"/>
                  </a:lnTo>
                  <a:lnTo>
                    <a:pt x="288" y="62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0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5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1" y="52"/>
                  </a:lnTo>
                  <a:lnTo>
                    <a:pt x="292" y="51"/>
                  </a:lnTo>
                  <a:lnTo>
                    <a:pt x="293" y="50"/>
                  </a:lnTo>
                  <a:lnTo>
                    <a:pt x="294" y="50"/>
                  </a:lnTo>
                  <a:lnTo>
                    <a:pt x="296" y="48"/>
                  </a:lnTo>
                  <a:lnTo>
                    <a:pt x="298" y="47"/>
                  </a:lnTo>
                  <a:lnTo>
                    <a:pt x="300" y="46"/>
                  </a:lnTo>
                  <a:lnTo>
                    <a:pt x="302" y="44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6" y="42"/>
                  </a:lnTo>
                  <a:lnTo>
                    <a:pt x="309" y="41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20" y="35"/>
                  </a:lnTo>
                  <a:lnTo>
                    <a:pt x="321" y="34"/>
                  </a:lnTo>
                  <a:lnTo>
                    <a:pt x="322" y="33"/>
                  </a:lnTo>
                  <a:lnTo>
                    <a:pt x="323" y="32"/>
                  </a:lnTo>
                  <a:lnTo>
                    <a:pt x="324" y="31"/>
                  </a:lnTo>
                  <a:lnTo>
                    <a:pt x="325" y="31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7" y="27"/>
                  </a:lnTo>
                  <a:lnTo>
                    <a:pt x="329" y="24"/>
                  </a:lnTo>
                  <a:lnTo>
                    <a:pt x="329" y="23"/>
                  </a:lnTo>
                  <a:lnTo>
                    <a:pt x="329" y="22"/>
                  </a:lnTo>
                  <a:lnTo>
                    <a:pt x="330" y="21"/>
                  </a:lnTo>
                  <a:lnTo>
                    <a:pt x="330" y="21"/>
                  </a:lnTo>
                  <a:lnTo>
                    <a:pt x="331" y="21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39" y="22"/>
                  </a:lnTo>
                  <a:lnTo>
                    <a:pt x="342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7" y="26"/>
                  </a:lnTo>
                  <a:lnTo>
                    <a:pt x="352" y="28"/>
                  </a:lnTo>
                  <a:lnTo>
                    <a:pt x="353" y="28"/>
                  </a:lnTo>
                  <a:lnTo>
                    <a:pt x="355" y="29"/>
                  </a:lnTo>
                  <a:lnTo>
                    <a:pt x="356" y="29"/>
                  </a:lnTo>
                  <a:lnTo>
                    <a:pt x="357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9" y="29"/>
                  </a:lnTo>
                  <a:lnTo>
                    <a:pt x="359" y="29"/>
                  </a:lnTo>
                  <a:lnTo>
                    <a:pt x="360" y="30"/>
                  </a:lnTo>
                  <a:lnTo>
                    <a:pt x="362" y="31"/>
                  </a:lnTo>
                  <a:lnTo>
                    <a:pt x="363" y="32"/>
                  </a:lnTo>
                  <a:lnTo>
                    <a:pt x="365" y="33"/>
                  </a:lnTo>
                  <a:lnTo>
                    <a:pt x="366" y="34"/>
                  </a:lnTo>
                  <a:lnTo>
                    <a:pt x="367" y="35"/>
                  </a:lnTo>
                  <a:lnTo>
                    <a:pt x="370" y="38"/>
                  </a:lnTo>
                  <a:lnTo>
                    <a:pt x="371" y="39"/>
                  </a:lnTo>
                  <a:lnTo>
                    <a:pt x="373" y="40"/>
                  </a:lnTo>
                  <a:lnTo>
                    <a:pt x="374" y="41"/>
                  </a:lnTo>
                  <a:lnTo>
                    <a:pt x="375" y="41"/>
                  </a:lnTo>
                  <a:lnTo>
                    <a:pt x="376" y="42"/>
                  </a:lnTo>
                  <a:lnTo>
                    <a:pt x="377" y="43"/>
                  </a:lnTo>
                  <a:lnTo>
                    <a:pt x="378" y="43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9" y="47"/>
                  </a:lnTo>
                  <a:lnTo>
                    <a:pt x="390" y="47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3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5" y="47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8" y="46"/>
                  </a:lnTo>
                  <a:lnTo>
                    <a:pt x="399" y="45"/>
                  </a:lnTo>
                  <a:lnTo>
                    <a:pt x="400" y="45"/>
                  </a:lnTo>
                  <a:lnTo>
                    <a:pt x="401" y="44"/>
                  </a:lnTo>
                  <a:lnTo>
                    <a:pt x="402" y="42"/>
                  </a:lnTo>
                  <a:lnTo>
                    <a:pt x="406" y="37"/>
                  </a:lnTo>
                  <a:lnTo>
                    <a:pt x="407" y="35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9" y="33"/>
                  </a:lnTo>
                  <a:lnTo>
                    <a:pt x="412" y="30"/>
                  </a:lnTo>
                  <a:lnTo>
                    <a:pt x="414" y="28"/>
                  </a:lnTo>
                  <a:lnTo>
                    <a:pt x="416" y="27"/>
                  </a:lnTo>
                  <a:lnTo>
                    <a:pt x="417" y="26"/>
                  </a:lnTo>
                  <a:lnTo>
                    <a:pt x="418" y="24"/>
                  </a:lnTo>
                  <a:lnTo>
                    <a:pt x="419" y="22"/>
                  </a:lnTo>
                  <a:lnTo>
                    <a:pt x="420" y="21"/>
                  </a:lnTo>
                  <a:lnTo>
                    <a:pt x="421" y="20"/>
                  </a:lnTo>
                  <a:lnTo>
                    <a:pt x="421" y="18"/>
                  </a:lnTo>
                  <a:lnTo>
                    <a:pt x="422" y="17"/>
                  </a:lnTo>
                  <a:lnTo>
                    <a:pt x="424" y="12"/>
                  </a:lnTo>
                  <a:lnTo>
                    <a:pt x="424" y="11"/>
                  </a:lnTo>
                  <a:lnTo>
                    <a:pt x="425" y="10"/>
                  </a:lnTo>
                  <a:lnTo>
                    <a:pt x="426" y="9"/>
                  </a:lnTo>
                  <a:lnTo>
                    <a:pt x="426" y="7"/>
                  </a:lnTo>
                  <a:lnTo>
                    <a:pt x="427" y="6"/>
                  </a:lnTo>
                  <a:lnTo>
                    <a:pt x="428" y="6"/>
                  </a:lnTo>
                  <a:lnTo>
                    <a:pt x="429" y="5"/>
                  </a:lnTo>
                  <a:lnTo>
                    <a:pt x="430" y="4"/>
                  </a:lnTo>
                  <a:lnTo>
                    <a:pt x="431" y="3"/>
                  </a:lnTo>
                  <a:lnTo>
                    <a:pt x="432" y="2"/>
                  </a:lnTo>
                  <a:lnTo>
                    <a:pt x="433" y="2"/>
                  </a:lnTo>
                  <a:lnTo>
                    <a:pt x="434" y="1"/>
                  </a:lnTo>
                  <a:lnTo>
                    <a:pt x="435" y="1"/>
                  </a:lnTo>
                  <a:lnTo>
                    <a:pt x="436" y="0"/>
                  </a:lnTo>
                  <a:lnTo>
                    <a:pt x="437" y="0"/>
                  </a:lnTo>
                  <a:lnTo>
                    <a:pt x="438" y="0"/>
                  </a:lnTo>
                  <a:lnTo>
                    <a:pt x="439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2" y="1"/>
                  </a:lnTo>
                  <a:lnTo>
                    <a:pt x="442" y="1"/>
                  </a:lnTo>
                  <a:lnTo>
                    <a:pt x="442" y="3"/>
                  </a:lnTo>
                  <a:lnTo>
                    <a:pt x="442" y="4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0" y="11"/>
                  </a:lnTo>
                  <a:lnTo>
                    <a:pt x="440" y="13"/>
                  </a:lnTo>
                  <a:lnTo>
                    <a:pt x="439" y="17"/>
                  </a:lnTo>
                  <a:lnTo>
                    <a:pt x="437" y="20"/>
                  </a:lnTo>
                  <a:lnTo>
                    <a:pt x="435" y="28"/>
                  </a:lnTo>
                  <a:lnTo>
                    <a:pt x="433" y="32"/>
                  </a:lnTo>
                  <a:lnTo>
                    <a:pt x="433" y="33"/>
                  </a:lnTo>
                  <a:lnTo>
                    <a:pt x="431" y="35"/>
                  </a:lnTo>
                  <a:lnTo>
                    <a:pt x="430" y="39"/>
                  </a:lnTo>
                  <a:lnTo>
                    <a:pt x="430" y="40"/>
                  </a:lnTo>
                  <a:lnTo>
                    <a:pt x="429" y="42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6"/>
                  </a:lnTo>
                  <a:lnTo>
                    <a:pt x="428" y="47"/>
                  </a:lnTo>
                  <a:lnTo>
                    <a:pt x="428" y="51"/>
                  </a:lnTo>
                  <a:lnTo>
                    <a:pt x="428" y="52"/>
                  </a:lnTo>
                  <a:lnTo>
                    <a:pt x="428" y="53"/>
                  </a:lnTo>
                  <a:lnTo>
                    <a:pt x="428" y="54"/>
                  </a:lnTo>
                  <a:lnTo>
                    <a:pt x="428" y="55"/>
                  </a:lnTo>
                  <a:lnTo>
                    <a:pt x="427" y="58"/>
                  </a:lnTo>
                  <a:lnTo>
                    <a:pt x="427" y="59"/>
                  </a:lnTo>
                  <a:lnTo>
                    <a:pt x="426" y="60"/>
                  </a:lnTo>
                  <a:lnTo>
                    <a:pt x="426" y="61"/>
                  </a:lnTo>
                  <a:lnTo>
                    <a:pt x="426" y="62"/>
                  </a:lnTo>
                  <a:lnTo>
                    <a:pt x="426" y="62"/>
                  </a:lnTo>
                  <a:lnTo>
                    <a:pt x="427" y="63"/>
                  </a:lnTo>
                  <a:lnTo>
                    <a:pt x="427" y="66"/>
                  </a:lnTo>
                  <a:lnTo>
                    <a:pt x="427" y="67"/>
                  </a:lnTo>
                  <a:lnTo>
                    <a:pt x="428" y="70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8" y="74"/>
                  </a:lnTo>
                  <a:lnTo>
                    <a:pt x="427" y="75"/>
                  </a:lnTo>
                  <a:lnTo>
                    <a:pt x="427" y="76"/>
                  </a:lnTo>
                  <a:lnTo>
                    <a:pt x="426" y="77"/>
                  </a:lnTo>
                  <a:lnTo>
                    <a:pt x="426" y="78"/>
                  </a:lnTo>
                  <a:lnTo>
                    <a:pt x="426" y="78"/>
                  </a:lnTo>
                  <a:lnTo>
                    <a:pt x="425" y="79"/>
                  </a:lnTo>
                  <a:lnTo>
                    <a:pt x="424" y="79"/>
                  </a:lnTo>
                  <a:lnTo>
                    <a:pt x="423" y="81"/>
                  </a:lnTo>
                  <a:lnTo>
                    <a:pt x="420" y="83"/>
                  </a:lnTo>
                  <a:lnTo>
                    <a:pt x="419" y="84"/>
                  </a:lnTo>
                  <a:lnTo>
                    <a:pt x="416" y="87"/>
                  </a:lnTo>
                  <a:lnTo>
                    <a:pt x="416" y="88"/>
                  </a:lnTo>
                  <a:lnTo>
                    <a:pt x="415" y="89"/>
                  </a:lnTo>
                  <a:lnTo>
                    <a:pt x="414" y="90"/>
                  </a:lnTo>
                  <a:lnTo>
                    <a:pt x="413" y="91"/>
                  </a:lnTo>
                  <a:lnTo>
                    <a:pt x="412" y="91"/>
                  </a:lnTo>
                  <a:lnTo>
                    <a:pt x="412" y="92"/>
                  </a:lnTo>
                  <a:lnTo>
                    <a:pt x="411" y="92"/>
                  </a:lnTo>
                  <a:lnTo>
                    <a:pt x="410" y="93"/>
                  </a:lnTo>
                  <a:lnTo>
                    <a:pt x="410" y="93"/>
                  </a:lnTo>
                  <a:lnTo>
                    <a:pt x="409" y="93"/>
                  </a:lnTo>
                  <a:lnTo>
                    <a:pt x="406" y="94"/>
                  </a:lnTo>
                  <a:lnTo>
                    <a:pt x="405" y="94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2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2" y="97"/>
                  </a:lnTo>
                  <a:lnTo>
                    <a:pt x="401" y="98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2" y="101"/>
                  </a:lnTo>
                  <a:lnTo>
                    <a:pt x="404" y="105"/>
                  </a:lnTo>
                  <a:lnTo>
                    <a:pt x="405" y="108"/>
                  </a:lnTo>
                  <a:lnTo>
                    <a:pt x="405" y="110"/>
                  </a:lnTo>
                  <a:lnTo>
                    <a:pt x="406" y="115"/>
                  </a:lnTo>
                  <a:lnTo>
                    <a:pt x="407" y="117"/>
                  </a:lnTo>
                  <a:lnTo>
                    <a:pt x="407" y="119"/>
                  </a:lnTo>
                  <a:lnTo>
                    <a:pt x="408" y="121"/>
                  </a:lnTo>
                  <a:lnTo>
                    <a:pt x="410" y="126"/>
                  </a:lnTo>
                  <a:lnTo>
                    <a:pt x="411" y="131"/>
                  </a:lnTo>
                  <a:lnTo>
                    <a:pt x="412" y="132"/>
                  </a:lnTo>
                  <a:lnTo>
                    <a:pt x="412" y="133"/>
                  </a:lnTo>
                  <a:lnTo>
                    <a:pt x="412" y="135"/>
                  </a:lnTo>
                  <a:lnTo>
                    <a:pt x="413" y="139"/>
                  </a:lnTo>
                  <a:lnTo>
                    <a:pt x="413" y="142"/>
                  </a:lnTo>
                  <a:lnTo>
                    <a:pt x="413" y="143"/>
                  </a:lnTo>
                  <a:lnTo>
                    <a:pt x="413" y="145"/>
                  </a:lnTo>
                  <a:lnTo>
                    <a:pt x="414" y="148"/>
                  </a:lnTo>
                  <a:lnTo>
                    <a:pt x="414" y="150"/>
                  </a:lnTo>
                  <a:lnTo>
                    <a:pt x="414" y="151"/>
                  </a:lnTo>
                  <a:lnTo>
                    <a:pt x="414" y="151"/>
                  </a:lnTo>
                  <a:lnTo>
                    <a:pt x="414" y="152"/>
                  </a:lnTo>
                  <a:lnTo>
                    <a:pt x="414" y="153"/>
                  </a:lnTo>
                  <a:lnTo>
                    <a:pt x="413" y="154"/>
                  </a:lnTo>
                  <a:lnTo>
                    <a:pt x="413" y="154"/>
                  </a:lnTo>
                  <a:lnTo>
                    <a:pt x="411" y="157"/>
                  </a:lnTo>
                  <a:lnTo>
                    <a:pt x="410" y="158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09" y="161"/>
                  </a:lnTo>
                  <a:lnTo>
                    <a:pt x="409" y="162"/>
                  </a:lnTo>
                  <a:lnTo>
                    <a:pt x="409" y="163"/>
                  </a:lnTo>
                  <a:lnTo>
                    <a:pt x="408" y="164"/>
                  </a:lnTo>
                  <a:lnTo>
                    <a:pt x="408" y="165"/>
                  </a:lnTo>
                  <a:lnTo>
                    <a:pt x="408" y="166"/>
                  </a:lnTo>
                  <a:lnTo>
                    <a:pt x="408" y="167"/>
                  </a:lnTo>
                  <a:lnTo>
                    <a:pt x="408" y="169"/>
                  </a:lnTo>
                  <a:lnTo>
                    <a:pt x="409" y="170"/>
                  </a:lnTo>
                  <a:lnTo>
                    <a:pt x="409" y="171"/>
                  </a:lnTo>
                  <a:lnTo>
                    <a:pt x="409" y="172"/>
                  </a:lnTo>
                  <a:lnTo>
                    <a:pt x="410" y="173"/>
                  </a:lnTo>
                  <a:lnTo>
                    <a:pt x="412" y="176"/>
                  </a:lnTo>
                  <a:lnTo>
                    <a:pt x="413" y="177"/>
                  </a:lnTo>
                  <a:lnTo>
                    <a:pt x="413" y="178"/>
                  </a:lnTo>
                  <a:lnTo>
                    <a:pt x="413" y="179"/>
                  </a:lnTo>
                  <a:lnTo>
                    <a:pt x="414" y="180"/>
                  </a:lnTo>
                  <a:lnTo>
                    <a:pt x="415" y="183"/>
                  </a:lnTo>
                  <a:lnTo>
                    <a:pt x="416" y="185"/>
                  </a:lnTo>
                  <a:lnTo>
                    <a:pt x="416" y="187"/>
                  </a:lnTo>
                  <a:lnTo>
                    <a:pt x="417" y="189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21" y="193"/>
                  </a:lnTo>
                  <a:lnTo>
                    <a:pt x="422" y="195"/>
                  </a:lnTo>
                  <a:lnTo>
                    <a:pt x="425" y="198"/>
                  </a:lnTo>
                  <a:lnTo>
                    <a:pt x="425" y="199"/>
                  </a:lnTo>
                  <a:lnTo>
                    <a:pt x="426" y="199"/>
                  </a:lnTo>
                  <a:lnTo>
                    <a:pt x="426" y="200"/>
                  </a:lnTo>
                  <a:lnTo>
                    <a:pt x="427" y="201"/>
                  </a:lnTo>
                  <a:lnTo>
                    <a:pt x="427" y="202"/>
                  </a:lnTo>
                  <a:lnTo>
                    <a:pt x="427" y="205"/>
                  </a:lnTo>
                  <a:lnTo>
                    <a:pt x="427" y="206"/>
                  </a:lnTo>
                  <a:lnTo>
                    <a:pt x="428" y="206"/>
                  </a:lnTo>
                  <a:lnTo>
                    <a:pt x="429" y="209"/>
                  </a:lnTo>
                  <a:lnTo>
                    <a:pt x="429" y="210"/>
                  </a:lnTo>
                  <a:lnTo>
                    <a:pt x="429" y="210"/>
                  </a:lnTo>
                  <a:lnTo>
                    <a:pt x="429" y="211"/>
                  </a:lnTo>
                  <a:lnTo>
                    <a:pt x="429" y="212"/>
                  </a:lnTo>
                  <a:lnTo>
                    <a:pt x="429" y="213"/>
                  </a:lnTo>
                  <a:lnTo>
                    <a:pt x="428" y="215"/>
                  </a:lnTo>
                  <a:lnTo>
                    <a:pt x="428" y="216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8"/>
                  </a:lnTo>
                  <a:lnTo>
                    <a:pt x="428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0" y="218"/>
                  </a:lnTo>
                  <a:lnTo>
                    <a:pt x="431" y="218"/>
                  </a:lnTo>
                  <a:lnTo>
                    <a:pt x="432" y="219"/>
                  </a:lnTo>
                  <a:lnTo>
                    <a:pt x="435" y="219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7" y="220"/>
                  </a:lnTo>
                  <a:lnTo>
                    <a:pt x="438" y="221"/>
                  </a:lnTo>
                  <a:lnTo>
                    <a:pt x="439" y="221"/>
                  </a:lnTo>
                  <a:lnTo>
                    <a:pt x="439" y="222"/>
                  </a:lnTo>
                  <a:lnTo>
                    <a:pt x="440" y="223"/>
                  </a:lnTo>
                  <a:lnTo>
                    <a:pt x="440" y="223"/>
                  </a:lnTo>
                  <a:lnTo>
                    <a:pt x="441" y="224"/>
                  </a:lnTo>
                  <a:lnTo>
                    <a:pt x="441" y="225"/>
                  </a:lnTo>
                  <a:lnTo>
                    <a:pt x="441" y="226"/>
                  </a:lnTo>
                  <a:lnTo>
                    <a:pt x="441" y="227"/>
                  </a:lnTo>
                  <a:lnTo>
                    <a:pt x="442" y="231"/>
                  </a:lnTo>
                  <a:lnTo>
                    <a:pt x="442" y="232"/>
                  </a:lnTo>
                  <a:lnTo>
                    <a:pt x="442" y="233"/>
                  </a:lnTo>
                  <a:lnTo>
                    <a:pt x="442" y="235"/>
                  </a:lnTo>
                  <a:lnTo>
                    <a:pt x="442" y="237"/>
                  </a:lnTo>
                  <a:lnTo>
                    <a:pt x="441" y="238"/>
                  </a:lnTo>
                  <a:lnTo>
                    <a:pt x="441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0" y="242"/>
                  </a:lnTo>
                  <a:lnTo>
                    <a:pt x="439" y="243"/>
                  </a:lnTo>
                  <a:lnTo>
                    <a:pt x="437" y="246"/>
                  </a:lnTo>
                  <a:lnTo>
                    <a:pt x="434" y="249"/>
                  </a:lnTo>
                  <a:lnTo>
                    <a:pt x="434" y="250"/>
                  </a:lnTo>
                  <a:lnTo>
                    <a:pt x="433" y="251"/>
                  </a:lnTo>
                  <a:lnTo>
                    <a:pt x="432" y="252"/>
                  </a:lnTo>
                  <a:lnTo>
                    <a:pt x="432" y="253"/>
                  </a:lnTo>
                  <a:lnTo>
                    <a:pt x="431" y="254"/>
                  </a:lnTo>
                  <a:lnTo>
                    <a:pt x="431" y="255"/>
                  </a:lnTo>
                  <a:lnTo>
                    <a:pt x="431" y="256"/>
                  </a:lnTo>
                  <a:lnTo>
                    <a:pt x="431" y="258"/>
                  </a:lnTo>
                  <a:lnTo>
                    <a:pt x="431" y="259"/>
                  </a:lnTo>
                  <a:lnTo>
                    <a:pt x="431" y="259"/>
                  </a:lnTo>
                  <a:lnTo>
                    <a:pt x="431" y="260"/>
                  </a:lnTo>
                  <a:lnTo>
                    <a:pt x="432" y="262"/>
                  </a:lnTo>
                  <a:lnTo>
                    <a:pt x="433" y="265"/>
                  </a:lnTo>
                  <a:lnTo>
                    <a:pt x="433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9"/>
                  </a:lnTo>
                  <a:lnTo>
                    <a:pt x="432" y="271"/>
                  </a:lnTo>
                  <a:lnTo>
                    <a:pt x="431" y="274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1" y="279"/>
                  </a:lnTo>
                  <a:lnTo>
                    <a:pt x="430" y="279"/>
                  </a:lnTo>
                  <a:lnTo>
                    <a:pt x="430" y="279"/>
                  </a:lnTo>
                  <a:lnTo>
                    <a:pt x="429" y="279"/>
                  </a:lnTo>
                  <a:lnTo>
                    <a:pt x="427" y="279"/>
                  </a:lnTo>
                  <a:lnTo>
                    <a:pt x="426" y="279"/>
                  </a:lnTo>
                  <a:lnTo>
                    <a:pt x="425" y="279"/>
                  </a:lnTo>
                  <a:lnTo>
                    <a:pt x="423" y="278"/>
                  </a:lnTo>
                  <a:lnTo>
                    <a:pt x="421" y="278"/>
                  </a:lnTo>
                  <a:lnTo>
                    <a:pt x="420" y="277"/>
                  </a:lnTo>
                  <a:lnTo>
                    <a:pt x="418" y="277"/>
                  </a:lnTo>
                  <a:lnTo>
                    <a:pt x="416" y="276"/>
                  </a:lnTo>
                  <a:lnTo>
                    <a:pt x="415" y="275"/>
                  </a:lnTo>
                  <a:lnTo>
                    <a:pt x="413" y="275"/>
                  </a:lnTo>
                  <a:lnTo>
                    <a:pt x="406" y="271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9"/>
                  </a:lnTo>
                  <a:lnTo>
                    <a:pt x="400" y="269"/>
                  </a:lnTo>
                  <a:lnTo>
                    <a:pt x="398" y="268"/>
                  </a:lnTo>
                  <a:lnTo>
                    <a:pt x="397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2" y="267"/>
                  </a:lnTo>
                  <a:lnTo>
                    <a:pt x="391" y="267"/>
                  </a:lnTo>
                  <a:lnTo>
                    <a:pt x="390" y="267"/>
                  </a:lnTo>
                  <a:lnTo>
                    <a:pt x="388" y="268"/>
                  </a:lnTo>
                  <a:lnTo>
                    <a:pt x="386" y="268"/>
                  </a:lnTo>
                  <a:lnTo>
                    <a:pt x="385" y="268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3" y="268"/>
                  </a:lnTo>
                  <a:lnTo>
                    <a:pt x="380" y="267"/>
                  </a:lnTo>
                  <a:lnTo>
                    <a:pt x="379" y="267"/>
                  </a:lnTo>
                  <a:lnTo>
                    <a:pt x="378" y="267"/>
                  </a:lnTo>
                  <a:lnTo>
                    <a:pt x="377" y="267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70" y="268"/>
                  </a:lnTo>
                  <a:lnTo>
                    <a:pt x="368" y="268"/>
                  </a:lnTo>
                  <a:lnTo>
                    <a:pt x="365" y="268"/>
                  </a:lnTo>
                  <a:lnTo>
                    <a:pt x="363" y="268"/>
                  </a:lnTo>
                  <a:lnTo>
                    <a:pt x="362" y="267"/>
                  </a:lnTo>
                  <a:lnTo>
                    <a:pt x="359" y="267"/>
                  </a:lnTo>
                  <a:lnTo>
                    <a:pt x="358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6" y="267"/>
                  </a:lnTo>
                  <a:lnTo>
                    <a:pt x="356" y="268"/>
                  </a:lnTo>
                  <a:lnTo>
                    <a:pt x="355" y="269"/>
                  </a:lnTo>
                  <a:lnTo>
                    <a:pt x="355" y="271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2" y="281"/>
                  </a:lnTo>
                  <a:lnTo>
                    <a:pt x="352" y="282"/>
                  </a:lnTo>
                  <a:lnTo>
                    <a:pt x="351" y="283"/>
                  </a:lnTo>
                  <a:lnTo>
                    <a:pt x="351" y="283"/>
                  </a:lnTo>
                  <a:lnTo>
                    <a:pt x="350" y="283"/>
                  </a:lnTo>
                  <a:lnTo>
                    <a:pt x="350" y="283"/>
                  </a:lnTo>
                  <a:lnTo>
                    <a:pt x="349" y="284"/>
                  </a:lnTo>
                  <a:lnTo>
                    <a:pt x="348" y="284"/>
                  </a:lnTo>
                  <a:lnTo>
                    <a:pt x="346" y="284"/>
                  </a:lnTo>
                  <a:lnTo>
                    <a:pt x="344" y="284"/>
                  </a:lnTo>
                  <a:lnTo>
                    <a:pt x="343" y="284"/>
                  </a:lnTo>
                  <a:lnTo>
                    <a:pt x="341" y="284"/>
                  </a:lnTo>
                  <a:lnTo>
                    <a:pt x="337" y="283"/>
                  </a:lnTo>
                  <a:lnTo>
                    <a:pt x="336" y="283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4" y="283"/>
                  </a:lnTo>
                  <a:lnTo>
                    <a:pt x="331" y="283"/>
                  </a:lnTo>
                  <a:lnTo>
                    <a:pt x="329" y="284"/>
                  </a:lnTo>
                  <a:lnTo>
                    <a:pt x="327" y="284"/>
                  </a:lnTo>
                  <a:lnTo>
                    <a:pt x="326" y="284"/>
                  </a:lnTo>
                  <a:lnTo>
                    <a:pt x="325" y="284"/>
                  </a:lnTo>
                  <a:lnTo>
                    <a:pt x="324" y="284"/>
                  </a:lnTo>
                  <a:lnTo>
                    <a:pt x="324" y="284"/>
                  </a:lnTo>
                  <a:lnTo>
                    <a:pt x="323" y="283"/>
                  </a:lnTo>
                  <a:lnTo>
                    <a:pt x="322" y="283"/>
                  </a:lnTo>
                  <a:lnTo>
                    <a:pt x="322" y="283"/>
                  </a:lnTo>
                  <a:lnTo>
                    <a:pt x="321" y="283"/>
                  </a:lnTo>
                  <a:lnTo>
                    <a:pt x="321" y="283"/>
                  </a:lnTo>
                  <a:lnTo>
                    <a:pt x="320" y="283"/>
                  </a:lnTo>
                  <a:lnTo>
                    <a:pt x="319" y="283"/>
                  </a:lnTo>
                  <a:lnTo>
                    <a:pt x="318" y="283"/>
                  </a:lnTo>
                  <a:lnTo>
                    <a:pt x="317" y="284"/>
                  </a:lnTo>
                  <a:lnTo>
                    <a:pt x="316" y="284"/>
                  </a:lnTo>
                  <a:lnTo>
                    <a:pt x="316" y="285"/>
                  </a:lnTo>
                  <a:lnTo>
                    <a:pt x="315" y="285"/>
                  </a:lnTo>
                  <a:lnTo>
                    <a:pt x="314" y="287"/>
                  </a:lnTo>
                  <a:lnTo>
                    <a:pt x="313" y="288"/>
                  </a:lnTo>
                  <a:lnTo>
                    <a:pt x="311" y="289"/>
                  </a:lnTo>
                  <a:lnTo>
                    <a:pt x="311" y="290"/>
                  </a:lnTo>
                  <a:lnTo>
                    <a:pt x="310" y="290"/>
                  </a:lnTo>
                  <a:lnTo>
                    <a:pt x="310" y="291"/>
                  </a:lnTo>
                  <a:lnTo>
                    <a:pt x="309" y="291"/>
                  </a:lnTo>
                  <a:lnTo>
                    <a:pt x="309" y="291"/>
                  </a:lnTo>
                  <a:lnTo>
                    <a:pt x="308" y="291"/>
                  </a:lnTo>
                  <a:lnTo>
                    <a:pt x="308" y="291"/>
                  </a:lnTo>
                  <a:lnTo>
                    <a:pt x="307" y="291"/>
                  </a:lnTo>
                  <a:lnTo>
                    <a:pt x="307" y="290"/>
                  </a:lnTo>
                  <a:lnTo>
                    <a:pt x="307" y="290"/>
                  </a:lnTo>
                  <a:lnTo>
                    <a:pt x="303" y="284"/>
                  </a:lnTo>
                  <a:lnTo>
                    <a:pt x="302" y="283"/>
                  </a:lnTo>
                  <a:lnTo>
                    <a:pt x="301" y="282"/>
                  </a:lnTo>
                  <a:lnTo>
                    <a:pt x="300" y="281"/>
                  </a:lnTo>
                  <a:lnTo>
                    <a:pt x="299" y="281"/>
                  </a:lnTo>
                  <a:lnTo>
                    <a:pt x="296" y="279"/>
                  </a:lnTo>
                  <a:lnTo>
                    <a:pt x="293" y="277"/>
                  </a:lnTo>
                  <a:lnTo>
                    <a:pt x="292" y="276"/>
                  </a:lnTo>
                  <a:lnTo>
                    <a:pt x="290" y="275"/>
                  </a:lnTo>
                  <a:lnTo>
                    <a:pt x="289" y="275"/>
                  </a:lnTo>
                  <a:lnTo>
                    <a:pt x="285" y="274"/>
                  </a:lnTo>
                  <a:lnTo>
                    <a:pt x="281" y="272"/>
                  </a:lnTo>
                  <a:lnTo>
                    <a:pt x="280" y="272"/>
                  </a:lnTo>
                  <a:lnTo>
                    <a:pt x="278" y="272"/>
                  </a:lnTo>
                  <a:lnTo>
                    <a:pt x="277" y="271"/>
                  </a:lnTo>
                  <a:lnTo>
                    <a:pt x="276" y="271"/>
                  </a:lnTo>
                  <a:lnTo>
                    <a:pt x="276" y="271"/>
                  </a:lnTo>
                  <a:lnTo>
                    <a:pt x="275" y="270"/>
                  </a:lnTo>
                  <a:lnTo>
                    <a:pt x="273" y="269"/>
                  </a:lnTo>
                  <a:lnTo>
                    <a:pt x="272" y="267"/>
                  </a:lnTo>
                  <a:lnTo>
                    <a:pt x="271" y="266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2"/>
                  </a:lnTo>
                  <a:lnTo>
                    <a:pt x="264" y="258"/>
                  </a:lnTo>
                  <a:lnTo>
                    <a:pt x="262" y="256"/>
                  </a:lnTo>
                  <a:lnTo>
                    <a:pt x="261" y="255"/>
                  </a:lnTo>
                  <a:lnTo>
                    <a:pt x="260" y="254"/>
                  </a:lnTo>
                  <a:lnTo>
                    <a:pt x="258" y="254"/>
                  </a:lnTo>
                  <a:lnTo>
                    <a:pt x="257" y="253"/>
                  </a:lnTo>
                  <a:lnTo>
                    <a:pt x="256" y="252"/>
                  </a:lnTo>
                  <a:lnTo>
                    <a:pt x="252" y="250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6" y="247"/>
                  </a:lnTo>
                  <a:lnTo>
                    <a:pt x="243" y="246"/>
                  </a:lnTo>
                  <a:lnTo>
                    <a:pt x="239" y="245"/>
                  </a:lnTo>
                  <a:lnTo>
                    <a:pt x="235" y="244"/>
                  </a:lnTo>
                  <a:lnTo>
                    <a:pt x="234" y="244"/>
                  </a:lnTo>
                  <a:lnTo>
                    <a:pt x="232" y="243"/>
                  </a:lnTo>
                  <a:lnTo>
                    <a:pt x="231" y="243"/>
                  </a:lnTo>
                  <a:lnTo>
                    <a:pt x="230" y="242"/>
                  </a:lnTo>
                  <a:lnTo>
                    <a:pt x="229" y="242"/>
                  </a:lnTo>
                  <a:lnTo>
                    <a:pt x="228" y="242"/>
                  </a:lnTo>
                  <a:lnTo>
                    <a:pt x="224" y="242"/>
                  </a:lnTo>
                  <a:lnTo>
                    <a:pt x="222" y="242"/>
                  </a:lnTo>
                  <a:lnTo>
                    <a:pt x="221" y="242"/>
                  </a:lnTo>
                  <a:lnTo>
                    <a:pt x="221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19" y="241"/>
                  </a:lnTo>
                  <a:lnTo>
                    <a:pt x="219" y="240"/>
                  </a:lnTo>
                  <a:lnTo>
                    <a:pt x="218" y="240"/>
                  </a:lnTo>
                  <a:lnTo>
                    <a:pt x="216" y="238"/>
                  </a:lnTo>
                  <a:lnTo>
                    <a:pt x="214" y="236"/>
                  </a:lnTo>
                  <a:lnTo>
                    <a:pt x="213" y="235"/>
                  </a:lnTo>
                  <a:lnTo>
                    <a:pt x="212" y="233"/>
                  </a:lnTo>
                  <a:lnTo>
                    <a:pt x="211" y="233"/>
                  </a:lnTo>
                  <a:lnTo>
                    <a:pt x="210" y="232"/>
                  </a:lnTo>
                  <a:lnTo>
                    <a:pt x="209" y="232"/>
                  </a:lnTo>
                  <a:lnTo>
                    <a:pt x="209" y="231"/>
                  </a:lnTo>
                  <a:lnTo>
                    <a:pt x="208" y="231"/>
                  </a:lnTo>
                  <a:lnTo>
                    <a:pt x="207" y="230"/>
                  </a:lnTo>
                  <a:lnTo>
                    <a:pt x="205" y="230"/>
                  </a:lnTo>
                  <a:lnTo>
                    <a:pt x="202" y="230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6" y="227"/>
                  </a:lnTo>
                  <a:lnTo>
                    <a:pt x="195" y="227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3" y="225"/>
                  </a:lnTo>
                  <a:lnTo>
                    <a:pt x="192" y="224"/>
                  </a:lnTo>
                  <a:lnTo>
                    <a:pt x="191" y="223"/>
                  </a:lnTo>
                  <a:lnTo>
                    <a:pt x="190" y="222"/>
                  </a:lnTo>
                  <a:lnTo>
                    <a:pt x="190" y="221"/>
                  </a:lnTo>
                  <a:lnTo>
                    <a:pt x="189" y="221"/>
                  </a:lnTo>
                  <a:lnTo>
                    <a:pt x="189" y="221"/>
                  </a:lnTo>
                  <a:lnTo>
                    <a:pt x="188" y="221"/>
                  </a:lnTo>
                  <a:lnTo>
                    <a:pt x="188" y="221"/>
                  </a:lnTo>
                  <a:lnTo>
                    <a:pt x="187" y="221"/>
                  </a:lnTo>
                  <a:lnTo>
                    <a:pt x="186" y="222"/>
                  </a:lnTo>
                  <a:lnTo>
                    <a:pt x="185" y="223"/>
                  </a:lnTo>
                  <a:lnTo>
                    <a:pt x="184" y="224"/>
                  </a:lnTo>
                  <a:lnTo>
                    <a:pt x="183" y="225"/>
                  </a:lnTo>
                  <a:lnTo>
                    <a:pt x="182" y="226"/>
                  </a:lnTo>
                  <a:lnTo>
                    <a:pt x="181" y="228"/>
                  </a:lnTo>
                  <a:lnTo>
                    <a:pt x="180" y="230"/>
                  </a:lnTo>
                  <a:lnTo>
                    <a:pt x="179" y="233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8" y="235"/>
                  </a:lnTo>
                  <a:lnTo>
                    <a:pt x="176" y="237"/>
                  </a:lnTo>
                  <a:lnTo>
                    <a:pt x="175" y="240"/>
                  </a:lnTo>
                  <a:lnTo>
                    <a:pt x="174" y="240"/>
                  </a:lnTo>
                  <a:lnTo>
                    <a:pt x="174" y="241"/>
                  </a:lnTo>
                  <a:lnTo>
                    <a:pt x="173" y="241"/>
                  </a:lnTo>
                  <a:lnTo>
                    <a:pt x="173" y="241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6" y="242"/>
                  </a:lnTo>
                  <a:lnTo>
                    <a:pt x="165" y="242"/>
                  </a:lnTo>
                  <a:lnTo>
                    <a:pt x="164" y="242"/>
                  </a:lnTo>
                  <a:lnTo>
                    <a:pt x="164" y="241"/>
                  </a:lnTo>
                  <a:lnTo>
                    <a:pt x="163" y="241"/>
                  </a:lnTo>
                  <a:lnTo>
                    <a:pt x="161" y="240"/>
                  </a:lnTo>
                  <a:lnTo>
                    <a:pt x="158" y="239"/>
                  </a:lnTo>
                  <a:lnTo>
                    <a:pt x="152" y="236"/>
                  </a:lnTo>
                  <a:lnTo>
                    <a:pt x="150" y="235"/>
                  </a:lnTo>
                  <a:lnTo>
                    <a:pt x="150" y="234"/>
                  </a:lnTo>
                  <a:lnTo>
                    <a:pt x="149" y="234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6" y="231"/>
                  </a:lnTo>
                  <a:lnTo>
                    <a:pt x="146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5" y="227"/>
                  </a:lnTo>
                  <a:lnTo>
                    <a:pt x="146" y="226"/>
                  </a:lnTo>
                  <a:lnTo>
                    <a:pt x="146" y="225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5" y="219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7"/>
                  </a:lnTo>
                  <a:lnTo>
                    <a:pt x="140" y="217"/>
                  </a:lnTo>
                  <a:lnTo>
                    <a:pt x="139" y="216"/>
                  </a:lnTo>
                  <a:lnTo>
                    <a:pt x="138" y="216"/>
                  </a:lnTo>
                  <a:lnTo>
                    <a:pt x="137" y="215"/>
                  </a:lnTo>
                  <a:lnTo>
                    <a:pt x="135" y="214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1" y="212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7" y="211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3" y="210"/>
                  </a:lnTo>
                  <a:lnTo>
                    <a:pt x="123" y="209"/>
                  </a:lnTo>
                  <a:lnTo>
                    <a:pt x="122" y="209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3"/>
                  </a:lnTo>
                  <a:lnTo>
                    <a:pt x="120" y="203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19" y="202"/>
                  </a:lnTo>
                  <a:lnTo>
                    <a:pt x="119" y="201"/>
                  </a:lnTo>
                  <a:lnTo>
                    <a:pt x="118" y="201"/>
                  </a:lnTo>
                  <a:lnTo>
                    <a:pt x="115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9" y="199"/>
                  </a:lnTo>
                  <a:lnTo>
                    <a:pt x="108" y="198"/>
                  </a:lnTo>
                  <a:lnTo>
                    <a:pt x="107" y="198"/>
                  </a:lnTo>
                  <a:lnTo>
                    <a:pt x="106" y="197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4" y="195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0" y="191"/>
                  </a:lnTo>
                  <a:lnTo>
                    <a:pt x="99" y="191"/>
                  </a:lnTo>
                  <a:lnTo>
                    <a:pt x="98" y="190"/>
                  </a:lnTo>
                  <a:lnTo>
                    <a:pt x="95" y="189"/>
                  </a:lnTo>
                  <a:lnTo>
                    <a:pt x="94" y="189"/>
                  </a:lnTo>
                  <a:lnTo>
                    <a:pt x="93" y="188"/>
                  </a:lnTo>
                  <a:lnTo>
                    <a:pt x="93" y="187"/>
                  </a:lnTo>
                  <a:lnTo>
                    <a:pt x="92" y="187"/>
                  </a:lnTo>
                  <a:lnTo>
                    <a:pt x="91" y="187"/>
                  </a:lnTo>
                  <a:lnTo>
                    <a:pt x="89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7" y="186"/>
                  </a:lnTo>
                  <a:lnTo>
                    <a:pt x="73" y="186"/>
                  </a:lnTo>
                  <a:lnTo>
                    <a:pt x="72" y="186"/>
                  </a:lnTo>
                  <a:lnTo>
                    <a:pt x="71" y="186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7" y="186"/>
                  </a:lnTo>
                  <a:lnTo>
                    <a:pt x="66" y="186"/>
                  </a:lnTo>
                  <a:lnTo>
                    <a:pt x="66" y="185"/>
                  </a:lnTo>
                  <a:lnTo>
                    <a:pt x="64" y="184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0"/>
                  </a:lnTo>
                  <a:lnTo>
                    <a:pt x="59" y="179"/>
                  </a:lnTo>
                  <a:lnTo>
                    <a:pt x="52" y="174"/>
                  </a:lnTo>
                  <a:lnTo>
                    <a:pt x="49" y="172"/>
                  </a:lnTo>
                  <a:lnTo>
                    <a:pt x="47" y="171"/>
                  </a:lnTo>
                  <a:lnTo>
                    <a:pt x="42" y="167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8" y="161"/>
                  </a:lnTo>
                  <a:lnTo>
                    <a:pt x="38" y="157"/>
                  </a:lnTo>
                  <a:lnTo>
                    <a:pt x="39" y="154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9" y="148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4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6" y="131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19"/>
                  </a:lnTo>
                  <a:lnTo>
                    <a:pt x="46" y="118"/>
                  </a:lnTo>
                  <a:lnTo>
                    <a:pt x="45" y="118"/>
                  </a:lnTo>
                  <a:lnTo>
                    <a:pt x="45" y="117"/>
                  </a:lnTo>
                  <a:lnTo>
                    <a:pt x="44" y="116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1" y="114"/>
                  </a:lnTo>
                  <a:lnTo>
                    <a:pt x="38" y="113"/>
                  </a:lnTo>
                  <a:lnTo>
                    <a:pt x="37" y="112"/>
                  </a:lnTo>
                  <a:lnTo>
                    <a:pt x="35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29" y="106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5" y="98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3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8"/>
                  </a:lnTo>
                  <a:lnTo>
                    <a:pt x="5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2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3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8" y="46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Freeform 27">
              <a:extLst>
                <a:ext uri="{FF2B5EF4-FFF2-40B4-BE49-F238E27FC236}">
                  <a16:creationId xmlns:a16="http://schemas.microsoft.com/office/drawing/2014/main" id="{35274914-0144-62C7-682E-DEAF82A930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" y="3273"/>
              <a:ext cx="83" cy="28"/>
            </a:xfrm>
            <a:custGeom>
              <a:avLst/>
              <a:gdLst>
                <a:gd name="T0" fmla="*/ 1 w 83"/>
                <a:gd name="T1" fmla="*/ 28 h 28"/>
                <a:gd name="T2" fmla="*/ 4 w 83"/>
                <a:gd name="T3" fmla="*/ 26 h 28"/>
                <a:gd name="T4" fmla="*/ 5 w 83"/>
                <a:gd name="T5" fmla="*/ 24 h 28"/>
                <a:gd name="T6" fmla="*/ 6 w 83"/>
                <a:gd name="T7" fmla="*/ 22 h 28"/>
                <a:gd name="T8" fmla="*/ 7 w 83"/>
                <a:gd name="T9" fmla="*/ 21 h 28"/>
                <a:gd name="T10" fmla="*/ 8 w 83"/>
                <a:gd name="T11" fmla="*/ 19 h 28"/>
                <a:gd name="T12" fmla="*/ 9 w 83"/>
                <a:gd name="T13" fmla="*/ 18 h 28"/>
                <a:gd name="T14" fmla="*/ 11 w 83"/>
                <a:gd name="T15" fmla="*/ 17 h 28"/>
                <a:gd name="T16" fmla="*/ 14 w 83"/>
                <a:gd name="T17" fmla="*/ 17 h 28"/>
                <a:gd name="T18" fmla="*/ 16 w 83"/>
                <a:gd name="T19" fmla="*/ 16 h 28"/>
                <a:gd name="T20" fmla="*/ 20 w 83"/>
                <a:gd name="T21" fmla="*/ 14 h 28"/>
                <a:gd name="T22" fmla="*/ 20 w 83"/>
                <a:gd name="T23" fmla="*/ 14 h 28"/>
                <a:gd name="T24" fmla="*/ 21 w 83"/>
                <a:gd name="T25" fmla="*/ 14 h 28"/>
                <a:gd name="T26" fmla="*/ 22 w 83"/>
                <a:gd name="T27" fmla="*/ 15 h 28"/>
                <a:gd name="T28" fmla="*/ 24 w 83"/>
                <a:gd name="T29" fmla="*/ 17 h 28"/>
                <a:gd name="T30" fmla="*/ 26 w 83"/>
                <a:gd name="T31" fmla="*/ 17 h 28"/>
                <a:gd name="T32" fmla="*/ 28 w 83"/>
                <a:gd name="T33" fmla="*/ 18 h 28"/>
                <a:gd name="T34" fmla="*/ 30 w 83"/>
                <a:gd name="T35" fmla="*/ 18 h 28"/>
                <a:gd name="T36" fmla="*/ 32 w 83"/>
                <a:gd name="T37" fmla="*/ 18 h 28"/>
                <a:gd name="T38" fmla="*/ 36 w 83"/>
                <a:gd name="T39" fmla="*/ 18 h 28"/>
                <a:gd name="T40" fmla="*/ 39 w 83"/>
                <a:gd name="T41" fmla="*/ 18 h 28"/>
                <a:gd name="T42" fmla="*/ 42 w 83"/>
                <a:gd name="T43" fmla="*/ 18 h 28"/>
                <a:gd name="T44" fmla="*/ 44 w 83"/>
                <a:gd name="T45" fmla="*/ 18 h 28"/>
                <a:gd name="T46" fmla="*/ 45 w 83"/>
                <a:gd name="T47" fmla="*/ 19 h 28"/>
                <a:gd name="T48" fmla="*/ 49 w 83"/>
                <a:gd name="T49" fmla="*/ 20 h 28"/>
                <a:gd name="T50" fmla="*/ 51 w 83"/>
                <a:gd name="T51" fmla="*/ 21 h 28"/>
                <a:gd name="T52" fmla="*/ 54 w 83"/>
                <a:gd name="T53" fmla="*/ 21 h 28"/>
                <a:gd name="T54" fmla="*/ 55 w 83"/>
                <a:gd name="T55" fmla="*/ 21 h 28"/>
                <a:gd name="T56" fmla="*/ 59 w 83"/>
                <a:gd name="T57" fmla="*/ 19 h 28"/>
                <a:gd name="T58" fmla="*/ 62 w 83"/>
                <a:gd name="T59" fmla="*/ 18 h 28"/>
                <a:gd name="T60" fmla="*/ 65 w 83"/>
                <a:gd name="T61" fmla="*/ 17 h 28"/>
                <a:gd name="T62" fmla="*/ 67 w 83"/>
                <a:gd name="T63" fmla="*/ 16 h 28"/>
                <a:gd name="T64" fmla="*/ 68 w 83"/>
                <a:gd name="T65" fmla="*/ 15 h 28"/>
                <a:gd name="T66" fmla="*/ 69 w 83"/>
                <a:gd name="T67" fmla="*/ 13 h 28"/>
                <a:gd name="T68" fmla="*/ 70 w 83"/>
                <a:gd name="T69" fmla="*/ 12 h 28"/>
                <a:gd name="T70" fmla="*/ 72 w 83"/>
                <a:gd name="T71" fmla="*/ 8 h 28"/>
                <a:gd name="T72" fmla="*/ 73 w 83"/>
                <a:gd name="T73" fmla="*/ 7 h 28"/>
                <a:gd name="T74" fmla="*/ 74 w 83"/>
                <a:gd name="T75" fmla="*/ 6 h 28"/>
                <a:gd name="T76" fmla="*/ 76 w 83"/>
                <a:gd name="T77" fmla="*/ 4 h 28"/>
                <a:gd name="T78" fmla="*/ 78 w 83"/>
                <a:gd name="T79" fmla="*/ 2 h 28"/>
                <a:gd name="T80" fmla="*/ 82 w 83"/>
                <a:gd name="T81" fmla="*/ 0 h 28"/>
                <a:gd name="T82" fmla="*/ 82 w 83"/>
                <a:gd name="T8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3" h="28">
                  <a:moveTo>
                    <a:pt x="0" y="28"/>
                  </a:moveTo>
                  <a:lnTo>
                    <a:pt x="1" y="28"/>
                  </a:lnTo>
                  <a:lnTo>
                    <a:pt x="2" y="27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6" y="22"/>
                  </a:lnTo>
                  <a:lnTo>
                    <a:pt x="6" y="21"/>
                  </a:lnTo>
                  <a:lnTo>
                    <a:pt x="7" y="21"/>
                  </a:lnTo>
                  <a:lnTo>
                    <a:pt x="7" y="20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10" y="18"/>
                  </a:lnTo>
                  <a:lnTo>
                    <a:pt x="11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5" y="17"/>
                  </a:lnTo>
                  <a:lnTo>
                    <a:pt x="16" y="16"/>
                  </a:lnTo>
                  <a:lnTo>
                    <a:pt x="19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4" y="17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30" y="18"/>
                  </a:lnTo>
                  <a:lnTo>
                    <a:pt x="31" y="18"/>
                  </a:lnTo>
                  <a:lnTo>
                    <a:pt x="32" y="18"/>
                  </a:lnTo>
                  <a:lnTo>
                    <a:pt x="35" y="18"/>
                  </a:lnTo>
                  <a:lnTo>
                    <a:pt x="36" y="18"/>
                  </a:lnTo>
                  <a:lnTo>
                    <a:pt x="37" y="18"/>
                  </a:lnTo>
                  <a:lnTo>
                    <a:pt x="39" y="18"/>
                  </a:lnTo>
                  <a:lnTo>
                    <a:pt x="40" y="18"/>
                  </a:lnTo>
                  <a:lnTo>
                    <a:pt x="42" y="18"/>
                  </a:lnTo>
                  <a:lnTo>
                    <a:pt x="43" y="18"/>
                  </a:lnTo>
                  <a:lnTo>
                    <a:pt x="44" y="18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7" y="19"/>
                  </a:lnTo>
                  <a:lnTo>
                    <a:pt x="49" y="20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52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5" y="21"/>
                  </a:lnTo>
                  <a:lnTo>
                    <a:pt x="56" y="20"/>
                  </a:lnTo>
                  <a:lnTo>
                    <a:pt x="59" y="19"/>
                  </a:lnTo>
                  <a:lnTo>
                    <a:pt x="60" y="18"/>
                  </a:lnTo>
                  <a:lnTo>
                    <a:pt x="62" y="18"/>
                  </a:lnTo>
                  <a:lnTo>
                    <a:pt x="64" y="17"/>
                  </a:lnTo>
                  <a:lnTo>
                    <a:pt x="65" y="17"/>
                  </a:lnTo>
                  <a:lnTo>
                    <a:pt x="66" y="17"/>
                  </a:lnTo>
                  <a:lnTo>
                    <a:pt x="67" y="16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9" y="14"/>
                  </a:lnTo>
                  <a:lnTo>
                    <a:pt x="69" y="13"/>
                  </a:lnTo>
                  <a:lnTo>
                    <a:pt x="70" y="13"/>
                  </a:lnTo>
                  <a:lnTo>
                    <a:pt x="70" y="12"/>
                  </a:lnTo>
                  <a:lnTo>
                    <a:pt x="71" y="9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3" y="7"/>
                  </a:lnTo>
                  <a:lnTo>
                    <a:pt x="73" y="6"/>
                  </a:lnTo>
                  <a:lnTo>
                    <a:pt x="74" y="6"/>
                  </a:lnTo>
                  <a:lnTo>
                    <a:pt x="75" y="5"/>
                  </a:lnTo>
                  <a:lnTo>
                    <a:pt x="76" y="4"/>
                  </a:lnTo>
                  <a:lnTo>
                    <a:pt x="77" y="3"/>
                  </a:lnTo>
                  <a:lnTo>
                    <a:pt x="78" y="2"/>
                  </a:lnTo>
                  <a:lnTo>
                    <a:pt x="80" y="1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3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Freeform 28">
              <a:extLst>
                <a:ext uri="{FF2B5EF4-FFF2-40B4-BE49-F238E27FC236}">
                  <a16:creationId xmlns:a16="http://schemas.microsoft.com/office/drawing/2014/main" id="{EB4A1B39-A433-D3A4-B1E9-74FA974A2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" y="3418"/>
              <a:ext cx="457" cy="425"/>
            </a:xfrm>
            <a:custGeom>
              <a:avLst/>
              <a:gdLst>
                <a:gd name="T0" fmla="*/ 224 w 457"/>
                <a:gd name="T1" fmla="*/ 24 h 425"/>
                <a:gd name="T2" fmla="*/ 248 w 457"/>
                <a:gd name="T3" fmla="*/ 33 h 425"/>
                <a:gd name="T4" fmla="*/ 266 w 457"/>
                <a:gd name="T5" fmla="*/ 47 h 425"/>
                <a:gd name="T6" fmla="*/ 290 w 457"/>
                <a:gd name="T7" fmla="*/ 57 h 425"/>
                <a:gd name="T8" fmla="*/ 309 w 457"/>
                <a:gd name="T9" fmla="*/ 79 h 425"/>
                <a:gd name="T10" fmla="*/ 330 w 457"/>
                <a:gd name="T11" fmla="*/ 58 h 425"/>
                <a:gd name="T12" fmla="*/ 352 w 457"/>
                <a:gd name="T13" fmla="*/ 69 h 425"/>
                <a:gd name="T14" fmla="*/ 382 w 457"/>
                <a:gd name="T15" fmla="*/ 82 h 425"/>
                <a:gd name="T16" fmla="*/ 421 w 457"/>
                <a:gd name="T17" fmla="*/ 109 h 425"/>
                <a:gd name="T18" fmla="*/ 447 w 457"/>
                <a:gd name="T19" fmla="*/ 140 h 425"/>
                <a:gd name="T20" fmla="*/ 456 w 457"/>
                <a:gd name="T21" fmla="*/ 155 h 425"/>
                <a:gd name="T22" fmla="*/ 443 w 457"/>
                <a:gd name="T23" fmla="*/ 168 h 425"/>
                <a:gd name="T24" fmla="*/ 444 w 457"/>
                <a:gd name="T25" fmla="*/ 186 h 425"/>
                <a:gd name="T26" fmla="*/ 430 w 457"/>
                <a:gd name="T27" fmla="*/ 181 h 425"/>
                <a:gd name="T28" fmla="*/ 432 w 457"/>
                <a:gd name="T29" fmla="*/ 192 h 425"/>
                <a:gd name="T30" fmla="*/ 411 w 457"/>
                <a:gd name="T31" fmla="*/ 204 h 425"/>
                <a:gd name="T32" fmla="*/ 403 w 457"/>
                <a:gd name="T33" fmla="*/ 234 h 425"/>
                <a:gd name="T34" fmla="*/ 415 w 457"/>
                <a:gd name="T35" fmla="*/ 248 h 425"/>
                <a:gd name="T36" fmla="*/ 414 w 457"/>
                <a:gd name="T37" fmla="*/ 266 h 425"/>
                <a:gd name="T38" fmla="*/ 409 w 457"/>
                <a:gd name="T39" fmla="*/ 285 h 425"/>
                <a:gd name="T40" fmla="*/ 415 w 457"/>
                <a:gd name="T41" fmla="*/ 304 h 425"/>
                <a:gd name="T42" fmla="*/ 405 w 457"/>
                <a:gd name="T43" fmla="*/ 320 h 425"/>
                <a:gd name="T44" fmla="*/ 400 w 457"/>
                <a:gd name="T45" fmla="*/ 334 h 425"/>
                <a:gd name="T46" fmla="*/ 405 w 457"/>
                <a:gd name="T47" fmla="*/ 353 h 425"/>
                <a:gd name="T48" fmla="*/ 381 w 457"/>
                <a:gd name="T49" fmla="*/ 365 h 425"/>
                <a:gd name="T50" fmla="*/ 362 w 457"/>
                <a:gd name="T51" fmla="*/ 380 h 425"/>
                <a:gd name="T52" fmla="*/ 334 w 457"/>
                <a:gd name="T53" fmla="*/ 383 h 425"/>
                <a:gd name="T54" fmla="*/ 316 w 457"/>
                <a:gd name="T55" fmla="*/ 377 h 425"/>
                <a:gd name="T56" fmla="*/ 300 w 457"/>
                <a:gd name="T57" fmla="*/ 386 h 425"/>
                <a:gd name="T58" fmla="*/ 275 w 457"/>
                <a:gd name="T59" fmla="*/ 400 h 425"/>
                <a:gd name="T60" fmla="*/ 253 w 457"/>
                <a:gd name="T61" fmla="*/ 419 h 425"/>
                <a:gd name="T62" fmla="*/ 229 w 457"/>
                <a:gd name="T63" fmla="*/ 424 h 425"/>
                <a:gd name="T64" fmla="*/ 211 w 457"/>
                <a:gd name="T65" fmla="*/ 422 h 425"/>
                <a:gd name="T66" fmla="*/ 193 w 457"/>
                <a:gd name="T67" fmla="*/ 408 h 425"/>
                <a:gd name="T68" fmla="*/ 183 w 457"/>
                <a:gd name="T69" fmla="*/ 397 h 425"/>
                <a:gd name="T70" fmla="*/ 199 w 457"/>
                <a:gd name="T71" fmla="*/ 369 h 425"/>
                <a:gd name="T72" fmla="*/ 211 w 457"/>
                <a:gd name="T73" fmla="*/ 355 h 425"/>
                <a:gd name="T74" fmla="*/ 200 w 457"/>
                <a:gd name="T75" fmla="*/ 339 h 425"/>
                <a:gd name="T76" fmla="*/ 173 w 457"/>
                <a:gd name="T77" fmla="*/ 342 h 425"/>
                <a:gd name="T78" fmla="*/ 142 w 457"/>
                <a:gd name="T79" fmla="*/ 330 h 425"/>
                <a:gd name="T80" fmla="*/ 134 w 457"/>
                <a:gd name="T81" fmla="*/ 301 h 425"/>
                <a:gd name="T82" fmla="*/ 107 w 457"/>
                <a:gd name="T83" fmla="*/ 299 h 425"/>
                <a:gd name="T84" fmla="*/ 77 w 457"/>
                <a:gd name="T85" fmla="*/ 296 h 425"/>
                <a:gd name="T86" fmla="*/ 58 w 457"/>
                <a:gd name="T87" fmla="*/ 284 h 425"/>
                <a:gd name="T88" fmla="*/ 52 w 457"/>
                <a:gd name="T89" fmla="*/ 272 h 425"/>
                <a:gd name="T90" fmla="*/ 26 w 457"/>
                <a:gd name="T91" fmla="*/ 269 h 425"/>
                <a:gd name="T92" fmla="*/ 5 w 457"/>
                <a:gd name="T93" fmla="*/ 242 h 425"/>
                <a:gd name="T94" fmla="*/ 0 w 457"/>
                <a:gd name="T95" fmla="*/ 222 h 425"/>
                <a:gd name="T96" fmla="*/ 8 w 457"/>
                <a:gd name="T97" fmla="*/ 188 h 425"/>
                <a:gd name="T98" fmla="*/ 5 w 457"/>
                <a:gd name="T99" fmla="*/ 160 h 425"/>
                <a:gd name="T100" fmla="*/ 11 w 457"/>
                <a:gd name="T101" fmla="*/ 145 h 425"/>
                <a:gd name="T102" fmla="*/ 26 w 457"/>
                <a:gd name="T103" fmla="*/ 129 h 425"/>
                <a:gd name="T104" fmla="*/ 39 w 457"/>
                <a:gd name="T105" fmla="*/ 122 h 425"/>
                <a:gd name="T106" fmla="*/ 74 w 457"/>
                <a:gd name="T107" fmla="*/ 121 h 425"/>
                <a:gd name="T108" fmla="*/ 88 w 457"/>
                <a:gd name="T109" fmla="*/ 115 h 425"/>
                <a:gd name="T110" fmla="*/ 105 w 457"/>
                <a:gd name="T111" fmla="*/ 105 h 425"/>
                <a:gd name="T112" fmla="*/ 87 w 457"/>
                <a:gd name="T113" fmla="*/ 86 h 425"/>
                <a:gd name="T114" fmla="*/ 99 w 457"/>
                <a:gd name="T115" fmla="*/ 53 h 425"/>
                <a:gd name="T116" fmla="*/ 113 w 457"/>
                <a:gd name="T117" fmla="*/ 49 h 425"/>
                <a:gd name="T118" fmla="*/ 146 w 457"/>
                <a:gd name="T119" fmla="*/ 32 h 425"/>
                <a:gd name="T120" fmla="*/ 160 w 457"/>
                <a:gd name="T121" fmla="*/ 25 h 425"/>
                <a:gd name="T122" fmla="*/ 169 w 457"/>
                <a:gd name="T123" fmla="*/ 9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7" h="425">
                  <a:moveTo>
                    <a:pt x="185" y="4"/>
                  </a:moveTo>
                  <a:lnTo>
                    <a:pt x="190" y="8"/>
                  </a:lnTo>
                  <a:lnTo>
                    <a:pt x="192" y="9"/>
                  </a:lnTo>
                  <a:lnTo>
                    <a:pt x="195" y="11"/>
                  </a:lnTo>
                  <a:lnTo>
                    <a:pt x="202" y="16"/>
                  </a:lnTo>
                  <a:lnTo>
                    <a:pt x="203" y="17"/>
                  </a:lnTo>
                  <a:lnTo>
                    <a:pt x="205" y="19"/>
                  </a:lnTo>
                  <a:lnTo>
                    <a:pt x="206" y="19"/>
                  </a:lnTo>
                  <a:lnTo>
                    <a:pt x="207" y="21"/>
                  </a:lnTo>
                  <a:lnTo>
                    <a:pt x="209" y="22"/>
                  </a:lnTo>
                  <a:lnTo>
                    <a:pt x="209" y="23"/>
                  </a:lnTo>
                  <a:lnTo>
                    <a:pt x="210" y="23"/>
                  </a:lnTo>
                  <a:lnTo>
                    <a:pt x="211" y="23"/>
                  </a:lnTo>
                  <a:lnTo>
                    <a:pt x="211" y="23"/>
                  </a:lnTo>
                  <a:lnTo>
                    <a:pt x="212" y="23"/>
                  </a:lnTo>
                  <a:lnTo>
                    <a:pt x="214" y="23"/>
                  </a:lnTo>
                  <a:lnTo>
                    <a:pt x="215" y="23"/>
                  </a:lnTo>
                  <a:lnTo>
                    <a:pt x="216" y="23"/>
                  </a:lnTo>
                  <a:lnTo>
                    <a:pt x="220" y="23"/>
                  </a:lnTo>
                  <a:lnTo>
                    <a:pt x="221" y="23"/>
                  </a:lnTo>
                  <a:lnTo>
                    <a:pt x="221" y="23"/>
                  </a:lnTo>
                  <a:lnTo>
                    <a:pt x="222" y="23"/>
                  </a:lnTo>
                  <a:lnTo>
                    <a:pt x="224" y="24"/>
                  </a:lnTo>
                  <a:lnTo>
                    <a:pt x="225" y="24"/>
                  </a:lnTo>
                  <a:lnTo>
                    <a:pt x="226" y="24"/>
                  </a:lnTo>
                  <a:lnTo>
                    <a:pt x="227" y="24"/>
                  </a:lnTo>
                  <a:lnTo>
                    <a:pt x="227" y="23"/>
                  </a:lnTo>
                  <a:lnTo>
                    <a:pt x="229" y="23"/>
                  </a:lnTo>
                  <a:lnTo>
                    <a:pt x="230" y="23"/>
                  </a:lnTo>
                  <a:lnTo>
                    <a:pt x="230" y="23"/>
                  </a:lnTo>
                  <a:lnTo>
                    <a:pt x="231" y="23"/>
                  </a:lnTo>
                  <a:lnTo>
                    <a:pt x="232" y="23"/>
                  </a:lnTo>
                  <a:lnTo>
                    <a:pt x="234" y="24"/>
                  </a:lnTo>
                  <a:lnTo>
                    <a:pt x="235" y="24"/>
                  </a:lnTo>
                  <a:lnTo>
                    <a:pt x="236" y="24"/>
                  </a:lnTo>
                  <a:lnTo>
                    <a:pt x="236" y="25"/>
                  </a:lnTo>
                  <a:lnTo>
                    <a:pt x="237" y="26"/>
                  </a:lnTo>
                  <a:lnTo>
                    <a:pt x="238" y="26"/>
                  </a:lnTo>
                  <a:lnTo>
                    <a:pt x="241" y="27"/>
                  </a:lnTo>
                  <a:lnTo>
                    <a:pt x="242" y="28"/>
                  </a:lnTo>
                  <a:lnTo>
                    <a:pt x="243" y="28"/>
                  </a:lnTo>
                  <a:lnTo>
                    <a:pt x="244" y="29"/>
                  </a:lnTo>
                  <a:lnTo>
                    <a:pt x="244" y="29"/>
                  </a:lnTo>
                  <a:lnTo>
                    <a:pt x="247" y="32"/>
                  </a:lnTo>
                  <a:lnTo>
                    <a:pt x="248" y="33"/>
                  </a:lnTo>
                  <a:lnTo>
                    <a:pt x="248" y="33"/>
                  </a:lnTo>
                  <a:lnTo>
                    <a:pt x="249" y="34"/>
                  </a:lnTo>
                  <a:lnTo>
                    <a:pt x="250" y="35"/>
                  </a:lnTo>
                  <a:lnTo>
                    <a:pt x="251" y="35"/>
                  </a:lnTo>
                  <a:lnTo>
                    <a:pt x="252" y="36"/>
                  </a:lnTo>
                  <a:lnTo>
                    <a:pt x="254" y="36"/>
                  </a:lnTo>
                  <a:lnTo>
                    <a:pt x="254" y="36"/>
                  </a:lnTo>
                  <a:lnTo>
                    <a:pt x="257" y="37"/>
                  </a:lnTo>
                  <a:lnTo>
                    <a:pt x="258" y="37"/>
                  </a:lnTo>
                  <a:lnTo>
                    <a:pt x="261" y="38"/>
                  </a:lnTo>
                  <a:lnTo>
                    <a:pt x="262" y="38"/>
                  </a:lnTo>
                  <a:lnTo>
                    <a:pt x="262" y="39"/>
                  </a:lnTo>
                  <a:lnTo>
                    <a:pt x="263" y="39"/>
                  </a:lnTo>
                  <a:lnTo>
                    <a:pt x="263" y="39"/>
                  </a:lnTo>
                  <a:lnTo>
                    <a:pt x="263" y="40"/>
                  </a:lnTo>
                  <a:lnTo>
                    <a:pt x="264" y="40"/>
                  </a:lnTo>
                  <a:lnTo>
                    <a:pt x="264" y="41"/>
                  </a:lnTo>
                  <a:lnTo>
                    <a:pt x="264" y="41"/>
                  </a:lnTo>
                  <a:lnTo>
                    <a:pt x="264" y="43"/>
                  </a:lnTo>
                  <a:lnTo>
                    <a:pt x="265" y="45"/>
                  </a:lnTo>
                  <a:lnTo>
                    <a:pt x="265" y="45"/>
                  </a:lnTo>
                  <a:lnTo>
                    <a:pt x="265" y="46"/>
                  </a:lnTo>
                  <a:lnTo>
                    <a:pt x="266" y="46"/>
                  </a:lnTo>
                  <a:lnTo>
                    <a:pt x="266" y="47"/>
                  </a:lnTo>
                  <a:lnTo>
                    <a:pt x="267" y="47"/>
                  </a:lnTo>
                  <a:lnTo>
                    <a:pt x="268" y="47"/>
                  </a:lnTo>
                  <a:lnTo>
                    <a:pt x="268" y="47"/>
                  </a:lnTo>
                  <a:lnTo>
                    <a:pt x="270" y="48"/>
                  </a:lnTo>
                  <a:lnTo>
                    <a:pt x="271" y="48"/>
                  </a:lnTo>
                  <a:lnTo>
                    <a:pt x="273" y="48"/>
                  </a:lnTo>
                  <a:lnTo>
                    <a:pt x="274" y="49"/>
                  </a:lnTo>
                  <a:lnTo>
                    <a:pt x="275" y="50"/>
                  </a:lnTo>
                  <a:lnTo>
                    <a:pt x="277" y="50"/>
                  </a:lnTo>
                  <a:lnTo>
                    <a:pt x="278" y="51"/>
                  </a:lnTo>
                  <a:lnTo>
                    <a:pt x="280" y="52"/>
                  </a:lnTo>
                  <a:lnTo>
                    <a:pt x="281" y="53"/>
                  </a:lnTo>
                  <a:lnTo>
                    <a:pt x="282" y="53"/>
                  </a:lnTo>
                  <a:lnTo>
                    <a:pt x="283" y="54"/>
                  </a:lnTo>
                  <a:lnTo>
                    <a:pt x="284" y="54"/>
                  </a:lnTo>
                  <a:lnTo>
                    <a:pt x="286" y="55"/>
                  </a:lnTo>
                  <a:lnTo>
                    <a:pt x="286" y="55"/>
                  </a:lnTo>
                  <a:lnTo>
                    <a:pt x="288" y="56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90" y="58"/>
                  </a:lnTo>
                  <a:lnTo>
                    <a:pt x="290" y="59"/>
                  </a:lnTo>
                  <a:lnTo>
                    <a:pt x="290" y="59"/>
                  </a:lnTo>
                  <a:lnTo>
                    <a:pt x="289" y="62"/>
                  </a:lnTo>
                  <a:lnTo>
                    <a:pt x="289" y="63"/>
                  </a:lnTo>
                  <a:lnTo>
                    <a:pt x="288" y="64"/>
                  </a:lnTo>
                  <a:lnTo>
                    <a:pt x="288" y="65"/>
                  </a:lnTo>
                  <a:lnTo>
                    <a:pt x="289" y="66"/>
                  </a:lnTo>
                  <a:lnTo>
                    <a:pt x="289" y="67"/>
                  </a:lnTo>
                  <a:lnTo>
                    <a:pt x="289" y="68"/>
                  </a:lnTo>
                  <a:lnTo>
                    <a:pt x="290" y="69"/>
                  </a:lnTo>
                  <a:lnTo>
                    <a:pt x="291" y="70"/>
                  </a:lnTo>
                  <a:lnTo>
                    <a:pt x="292" y="71"/>
                  </a:lnTo>
                  <a:lnTo>
                    <a:pt x="293" y="71"/>
                  </a:lnTo>
                  <a:lnTo>
                    <a:pt x="293" y="72"/>
                  </a:lnTo>
                  <a:lnTo>
                    <a:pt x="295" y="73"/>
                  </a:lnTo>
                  <a:lnTo>
                    <a:pt x="301" y="76"/>
                  </a:lnTo>
                  <a:lnTo>
                    <a:pt x="304" y="77"/>
                  </a:lnTo>
                  <a:lnTo>
                    <a:pt x="306" y="78"/>
                  </a:lnTo>
                  <a:lnTo>
                    <a:pt x="307" y="78"/>
                  </a:lnTo>
                  <a:lnTo>
                    <a:pt x="307" y="79"/>
                  </a:lnTo>
                  <a:lnTo>
                    <a:pt x="308" y="79"/>
                  </a:lnTo>
                  <a:lnTo>
                    <a:pt x="309" y="79"/>
                  </a:lnTo>
                  <a:lnTo>
                    <a:pt x="310" y="79"/>
                  </a:lnTo>
                  <a:lnTo>
                    <a:pt x="312" y="79"/>
                  </a:lnTo>
                  <a:lnTo>
                    <a:pt x="313" y="79"/>
                  </a:lnTo>
                  <a:lnTo>
                    <a:pt x="314" y="79"/>
                  </a:lnTo>
                  <a:lnTo>
                    <a:pt x="315" y="79"/>
                  </a:lnTo>
                  <a:lnTo>
                    <a:pt x="316" y="78"/>
                  </a:lnTo>
                  <a:lnTo>
                    <a:pt x="316" y="78"/>
                  </a:lnTo>
                  <a:lnTo>
                    <a:pt x="317" y="78"/>
                  </a:lnTo>
                  <a:lnTo>
                    <a:pt x="317" y="77"/>
                  </a:lnTo>
                  <a:lnTo>
                    <a:pt x="318" y="77"/>
                  </a:lnTo>
                  <a:lnTo>
                    <a:pt x="319" y="74"/>
                  </a:lnTo>
                  <a:lnTo>
                    <a:pt x="321" y="72"/>
                  </a:lnTo>
                  <a:lnTo>
                    <a:pt x="322" y="71"/>
                  </a:lnTo>
                  <a:lnTo>
                    <a:pt x="322" y="71"/>
                  </a:lnTo>
                  <a:lnTo>
                    <a:pt x="322" y="70"/>
                  </a:lnTo>
                  <a:lnTo>
                    <a:pt x="323" y="67"/>
                  </a:lnTo>
                  <a:lnTo>
                    <a:pt x="324" y="65"/>
                  </a:lnTo>
                  <a:lnTo>
                    <a:pt x="325" y="63"/>
                  </a:lnTo>
                  <a:lnTo>
                    <a:pt x="326" y="62"/>
                  </a:lnTo>
                  <a:lnTo>
                    <a:pt x="327" y="61"/>
                  </a:lnTo>
                  <a:lnTo>
                    <a:pt x="328" y="60"/>
                  </a:lnTo>
                  <a:lnTo>
                    <a:pt x="329" y="59"/>
                  </a:lnTo>
                  <a:lnTo>
                    <a:pt x="330" y="58"/>
                  </a:lnTo>
                  <a:lnTo>
                    <a:pt x="331" y="58"/>
                  </a:lnTo>
                  <a:lnTo>
                    <a:pt x="331" y="58"/>
                  </a:lnTo>
                  <a:lnTo>
                    <a:pt x="332" y="58"/>
                  </a:lnTo>
                  <a:lnTo>
                    <a:pt x="332" y="58"/>
                  </a:lnTo>
                  <a:lnTo>
                    <a:pt x="333" y="58"/>
                  </a:lnTo>
                  <a:lnTo>
                    <a:pt x="333" y="59"/>
                  </a:lnTo>
                  <a:lnTo>
                    <a:pt x="334" y="60"/>
                  </a:lnTo>
                  <a:lnTo>
                    <a:pt x="335" y="61"/>
                  </a:lnTo>
                  <a:lnTo>
                    <a:pt x="336" y="62"/>
                  </a:lnTo>
                  <a:lnTo>
                    <a:pt x="337" y="63"/>
                  </a:lnTo>
                  <a:lnTo>
                    <a:pt x="337" y="63"/>
                  </a:lnTo>
                  <a:lnTo>
                    <a:pt x="338" y="64"/>
                  </a:lnTo>
                  <a:lnTo>
                    <a:pt x="339" y="64"/>
                  </a:lnTo>
                  <a:lnTo>
                    <a:pt x="340" y="65"/>
                  </a:lnTo>
                  <a:lnTo>
                    <a:pt x="341" y="65"/>
                  </a:lnTo>
                  <a:lnTo>
                    <a:pt x="342" y="66"/>
                  </a:lnTo>
                  <a:lnTo>
                    <a:pt x="343" y="66"/>
                  </a:lnTo>
                  <a:lnTo>
                    <a:pt x="345" y="67"/>
                  </a:lnTo>
                  <a:lnTo>
                    <a:pt x="348" y="67"/>
                  </a:lnTo>
                  <a:lnTo>
                    <a:pt x="350" y="67"/>
                  </a:lnTo>
                  <a:lnTo>
                    <a:pt x="351" y="68"/>
                  </a:lnTo>
                  <a:lnTo>
                    <a:pt x="352" y="68"/>
                  </a:lnTo>
                  <a:lnTo>
                    <a:pt x="352" y="69"/>
                  </a:lnTo>
                  <a:lnTo>
                    <a:pt x="353" y="69"/>
                  </a:lnTo>
                  <a:lnTo>
                    <a:pt x="354" y="70"/>
                  </a:lnTo>
                  <a:lnTo>
                    <a:pt x="355" y="70"/>
                  </a:lnTo>
                  <a:lnTo>
                    <a:pt x="356" y="72"/>
                  </a:lnTo>
                  <a:lnTo>
                    <a:pt x="357" y="73"/>
                  </a:lnTo>
                  <a:lnTo>
                    <a:pt x="359" y="75"/>
                  </a:lnTo>
                  <a:lnTo>
                    <a:pt x="361" y="77"/>
                  </a:lnTo>
                  <a:lnTo>
                    <a:pt x="362" y="77"/>
                  </a:lnTo>
                  <a:lnTo>
                    <a:pt x="362" y="78"/>
                  </a:lnTo>
                  <a:lnTo>
                    <a:pt x="363" y="78"/>
                  </a:lnTo>
                  <a:lnTo>
                    <a:pt x="363" y="78"/>
                  </a:lnTo>
                  <a:lnTo>
                    <a:pt x="364" y="78"/>
                  </a:lnTo>
                  <a:lnTo>
                    <a:pt x="364" y="79"/>
                  </a:lnTo>
                  <a:lnTo>
                    <a:pt x="365" y="79"/>
                  </a:lnTo>
                  <a:lnTo>
                    <a:pt x="367" y="79"/>
                  </a:lnTo>
                  <a:lnTo>
                    <a:pt x="371" y="79"/>
                  </a:lnTo>
                  <a:lnTo>
                    <a:pt x="372" y="79"/>
                  </a:lnTo>
                  <a:lnTo>
                    <a:pt x="373" y="79"/>
                  </a:lnTo>
                  <a:lnTo>
                    <a:pt x="374" y="80"/>
                  </a:lnTo>
                  <a:lnTo>
                    <a:pt x="375" y="80"/>
                  </a:lnTo>
                  <a:lnTo>
                    <a:pt x="377" y="81"/>
                  </a:lnTo>
                  <a:lnTo>
                    <a:pt x="378" y="81"/>
                  </a:lnTo>
                  <a:lnTo>
                    <a:pt x="382" y="82"/>
                  </a:lnTo>
                  <a:lnTo>
                    <a:pt x="386" y="83"/>
                  </a:lnTo>
                  <a:lnTo>
                    <a:pt x="389" y="84"/>
                  </a:lnTo>
                  <a:lnTo>
                    <a:pt x="390" y="85"/>
                  </a:lnTo>
                  <a:lnTo>
                    <a:pt x="390" y="85"/>
                  </a:lnTo>
                  <a:lnTo>
                    <a:pt x="395" y="87"/>
                  </a:lnTo>
                  <a:lnTo>
                    <a:pt x="399" y="89"/>
                  </a:lnTo>
                  <a:lnTo>
                    <a:pt x="400" y="90"/>
                  </a:lnTo>
                  <a:lnTo>
                    <a:pt x="401" y="91"/>
                  </a:lnTo>
                  <a:lnTo>
                    <a:pt x="403" y="91"/>
                  </a:lnTo>
                  <a:lnTo>
                    <a:pt x="404" y="92"/>
                  </a:lnTo>
                  <a:lnTo>
                    <a:pt x="405" y="93"/>
                  </a:lnTo>
                  <a:lnTo>
                    <a:pt x="407" y="95"/>
                  </a:lnTo>
                  <a:lnTo>
                    <a:pt x="410" y="99"/>
                  </a:lnTo>
                  <a:lnTo>
                    <a:pt x="412" y="100"/>
                  </a:lnTo>
                  <a:lnTo>
                    <a:pt x="413" y="101"/>
                  </a:lnTo>
                  <a:lnTo>
                    <a:pt x="414" y="103"/>
                  </a:lnTo>
                  <a:lnTo>
                    <a:pt x="415" y="104"/>
                  </a:lnTo>
                  <a:lnTo>
                    <a:pt x="416" y="106"/>
                  </a:lnTo>
                  <a:lnTo>
                    <a:pt x="418" y="107"/>
                  </a:lnTo>
                  <a:lnTo>
                    <a:pt x="419" y="108"/>
                  </a:lnTo>
                  <a:lnTo>
                    <a:pt x="419" y="108"/>
                  </a:lnTo>
                  <a:lnTo>
                    <a:pt x="420" y="108"/>
                  </a:lnTo>
                  <a:lnTo>
                    <a:pt x="421" y="109"/>
                  </a:lnTo>
                  <a:lnTo>
                    <a:pt x="423" y="109"/>
                  </a:lnTo>
                  <a:lnTo>
                    <a:pt x="424" y="109"/>
                  </a:lnTo>
                  <a:lnTo>
                    <a:pt x="428" y="111"/>
                  </a:lnTo>
                  <a:lnTo>
                    <a:pt x="432" y="112"/>
                  </a:lnTo>
                  <a:lnTo>
                    <a:pt x="433" y="112"/>
                  </a:lnTo>
                  <a:lnTo>
                    <a:pt x="435" y="113"/>
                  </a:lnTo>
                  <a:lnTo>
                    <a:pt x="436" y="114"/>
                  </a:lnTo>
                  <a:lnTo>
                    <a:pt x="439" y="116"/>
                  </a:lnTo>
                  <a:lnTo>
                    <a:pt x="442" y="118"/>
                  </a:lnTo>
                  <a:lnTo>
                    <a:pt x="443" y="118"/>
                  </a:lnTo>
                  <a:lnTo>
                    <a:pt x="444" y="119"/>
                  </a:lnTo>
                  <a:lnTo>
                    <a:pt x="445" y="120"/>
                  </a:lnTo>
                  <a:lnTo>
                    <a:pt x="446" y="121"/>
                  </a:lnTo>
                  <a:lnTo>
                    <a:pt x="450" y="127"/>
                  </a:lnTo>
                  <a:lnTo>
                    <a:pt x="450" y="127"/>
                  </a:lnTo>
                  <a:lnTo>
                    <a:pt x="450" y="128"/>
                  </a:lnTo>
                  <a:lnTo>
                    <a:pt x="450" y="129"/>
                  </a:lnTo>
                  <a:lnTo>
                    <a:pt x="450" y="131"/>
                  </a:lnTo>
                  <a:lnTo>
                    <a:pt x="449" y="132"/>
                  </a:lnTo>
                  <a:lnTo>
                    <a:pt x="449" y="134"/>
                  </a:lnTo>
                  <a:lnTo>
                    <a:pt x="447" y="138"/>
                  </a:lnTo>
                  <a:lnTo>
                    <a:pt x="447" y="139"/>
                  </a:lnTo>
                  <a:lnTo>
                    <a:pt x="447" y="140"/>
                  </a:lnTo>
                  <a:lnTo>
                    <a:pt x="447" y="140"/>
                  </a:lnTo>
                  <a:lnTo>
                    <a:pt x="447" y="141"/>
                  </a:lnTo>
                  <a:lnTo>
                    <a:pt x="447" y="141"/>
                  </a:lnTo>
                  <a:lnTo>
                    <a:pt x="447" y="142"/>
                  </a:lnTo>
                  <a:lnTo>
                    <a:pt x="448" y="143"/>
                  </a:lnTo>
                  <a:lnTo>
                    <a:pt x="448" y="144"/>
                  </a:lnTo>
                  <a:lnTo>
                    <a:pt x="449" y="144"/>
                  </a:lnTo>
                  <a:lnTo>
                    <a:pt x="450" y="145"/>
                  </a:lnTo>
                  <a:lnTo>
                    <a:pt x="450" y="145"/>
                  </a:lnTo>
                  <a:lnTo>
                    <a:pt x="453" y="147"/>
                  </a:lnTo>
                  <a:lnTo>
                    <a:pt x="454" y="147"/>
                  </a:lnTo>
                  <a:lnTo>
                    <a:pt x="454" y="148"/>
                  </a:lnTo>
                  <a:lnTo>
                    <a:pt x="455" y="149"/>
                  </a:lnTo>
                  <a:lnTo>
                    <a:pt x="455" y="149"/>
                  </a:lnTo>
                  <a:lnTo>
                    <a:pt x="456" y="150"/>
                  </a:lnTo>
                  <a:lnTo>
                    <a:pt x="456" y="150"/>
                  </a:lnTo>
                  <a:lnTo>
                    <a:pt x="456" y="151"/>
                  </a:lnTo>
                  <a:lnTo>
                    <a:pt x="456" y="151"/>
                  </a:lnTo>
                  <a:lnTo>
                    <a:pt x="457" y="152"/>
                  </a:lnTo>
                  <a:lnTo>
                    <a:pt x="457" y="153"/>
                  </a:lnTo>
                  <a:lnTo>
                    <a:pt x="457" y="154"/>
                  </a:lnTo>
                  <a:lnTo>
                    <a:pt x="456" y="154"/>
                  </a:lnTo>
                  <a:lnTo>
                    <a:pt x="456" y="155"/>
                  </a:lnTo>
                  <a:lnTo>
                    <a:pt x="456" y="156"/>
                  </a:lnTo>
                  <a:lnTo>
                    <a:pt x="455" y="157"/>
                  </a:lnTo>
                  <a:lnTo>
                    <a:pt x="455" y="158"/>
                  </a:lnTo>
                  <a:lnTo>
                    <a:pt x="454" y="160"/>
                  </a:lnTo>
                  <a:lnTo>
                    <a:pt x="453" y="161"/>
                  </a:lnTo>
                  <a:lnTo>
                    <a:pt x="452" y="162"/>
                  </a:lnTo>
                  <a:lnTo>
                    <a:pt x="451" y="164"/>
                  </a:lnTo>
                  <a:lnTo>
                    <a:pt x="450" y="164"/>
                  </a:lnTo>
                  <a:lnTo>
                    <a:pt x="449" y="165"/>
                  </a:lnTo>
                  <a:lnTo>
                    <a:pt x="448" y="165"/>
                  </a:lnTo>
                  <a:lnTo>
                    <a:pt x="447" y="166"/>
                  </a:lnTo>
                  <a:lnTo>
                    <a:pt x="446" y="166"/>
                  </a:lnTo>
                  <a:lnTo>
                    <a:pt x="446" y="166"/>
                  </a:lnTo>
                  <a:lnTo>
                    <a:pt x="445" y="166"/>
                  </a:lnTo>
                  <a:lnTo>
                    <a:pt x="443" y="166"/>
                  </a:lnTo>
                  <a:lnTo>
                    <a:pt x="443" y="166"/>
                  </a:lnTo>
                  <a:lnTo>
                    <a:pt x="443" y="166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2" y="167"/>
                  </a:lnTo>
                  <a:lnTo>
                    <a:pt x="442" y="167"/>
                  </a:lnTo>
                  <a:lnTo>
                    <a:pt x="443" y="168"/>
                  </a:lnTo>
                  <a:lnTo>
                    <a:pt x="443" y="169"/>
                  </a:lnTo>
                  <a:lnTo>
                    <a:pt x="443" y="169"/>
                  </a:lnTo>
                  <a:lnTo>
                    <a:pt x="444" y="170"/>
                  </a:lnTo>
                  <a:lnTo>
                    <a:pt x="444" y="171"/>
                  </a:lnTo>
                  <a:lnTo>
                    <a:pt x="446" y="172"/>
                  </a:lnTo>
                  <a:lnTo>
                    <a:pt x="446" y="173"/>
                  </a:lnTo>
                  <a:lnTo>
                    <a:pt x="447" y="174"/>
                  </a:lnTo>
                  <a:lnTo>
                    <a:pt x="448" y="175"/>
                  </a:lnTo>
                  <a:lnTo>
                    <a:pt x="448" y="176"/>
                  </a:lnTo>
                  <a:lnTo>
                    <a:pt x="448" y="177"/>
                  </a:lnTo>
                  <a:lnTo>
                    <a:pt x="448" y="177"/>
                  </a:lnTo>
                  <a:lnTo>
                    <a:pt x="448" y="178"/>
                  </a:lnTo>
                  <a:lnTo>
                    <a:pt x="448" y="178"/>
                  </a:lnTo>
                  <a:lnTo>
                    <a:pt x="448" y="179"/>
                  </a:lnTo>
                  <a:lnTo>
                    <a:pt x="448" y="180"/>
                  </a:lnTo>
                  <a:lnTo>
                    <a:pt x="447" y="181"/>
                  </a:lnTo>
                  <a:lnTo>
                    <a:pt x="447" y="183"/>
                  </a:lnTo>
                  <a:lnTo>
                    <a:pt x="446" y="184"/>
                  </a:lnTo>
                  <a:lnTo>
                    <a:pt x="446" y="185"/>
                  </a:lnTo>
                  <a:lnTo>
                    <a:pt x="446" y="185"/>
                  </a:lnTo>
                  <a:lnTo>
                    <a:pt x="445" y="185"/>
                  </a:lnTo>
                  <a:lnTo>
                    <a:pt x="444" y="186"/>
                  </a:lnTo>
                  <a:lnTo>
                    <a:pt x="444" y="186"/>
                  </a:lnTo>
                  <a:lnTo>
                    <a:pt x="443" y="186"/>
                  </a:lnTo>
                  <a:lnTo>
                    <a:pt x="443" y="186"/>
                  </a:lnTo>
                  <a:lnTo>
                    <a:pt x="442" y="186"/>
                  </a:lnTo>
                  <a:lnTo>
                    <a:pt x="441" y="186"/>
                  </a:lnTo>
                  <a:lnTo>
                    <a:pt x="441" y="186"/>
                  </a:lnTo>
                  <a:lnTo>
                    <a:pt x="440" y="185"/>
                  </a:lnTo>
                  <a:lnTo>
                    <a:pt x="440" y="185"/>
                  </a:lnTo>
                  <a:lnTo>
                    <a:pt x="439" y="184"/>
                  </a:lnTo>
                  <a:lnTo>
                    <a:pt x="439" y="184"/>
                  </a:lnTo>
                  <a:lnTo>
                    <a:pt x="439" y="183"/>
                  </a:lnTo>
                  <a:lnTo>
                    <a:pt x="438" y="182"/>
                  </a:lnTo>
                  <a:lnTo>
                    <a:pt x="438" y="181"/>
                  </a:lnTo>
                  <a:lnTo>
                    <a:pt x="437" y="181"/>
                  </a:lnTo>
                  <a:lnTo>
                    <a:pt x="437" y="180"/>
                  </a:lnTo>
                  <a:lnTo>
                    <a:pt x="436" y="180"/>
                  </a:lnTo>
                  <a:lnTo>
                    <a:pt x="436" y="180"/>
                  </a:lnTo>
                  <a:lnTo>
                    <a:pt x="435" y="180"/>
                  </a:lnTo>
                  <a:lnTo>
                    <a:pt x="434" y="180"/>
                  </a:lnTo>
                  <a:lnTo>
                    <a:pt x="433" y="180"/>
                  </a:lnTo>
                  <a:lnTo>
                    <a:pt x="433" y="180"/>
                  </a:lnTo>
                  <a:lnTo>
                    <a:pt x="432" y="180"/>
                  </a:lnTo>
                  <a:lnTo>
                    <a:pt x="431" y="180"/>
                  </a:lnTo>
                  <a:lnTo>
                    <a:pt x="430" y="181"/>
                  </a:lnTo>
                  <a:lnTo>
                    <a:pt x="429" y="182"/>
                  </a:lnTo>
                  <a:lnTo>
                    <a:pt x="428" y="182"/>
                  </a:lnTo>
                  <a:lnTo>
                    <a:pt x="428" y="183"/>
                  </a:lnTo>
                  <a:lnTo>
                    <a:pt x="426" y="184"/>
                  </a:lnTo>
                  <a:lnTo>
                    <a:pt x="425" y="185"/>
                  </a:lnTo>
                  <a:lnTo>
                    <a:pt x="425" y="186"/>
                  </a:lnTo>
                  <a:lnTo>
                    <a:pt x="424" y="186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25" y="188"/>
                  </a:lnTo>
                  <a:lnTo>
                    <a:pt x="425" y="188"/>
                  </a:lnTo>
                  <a:lnTo>
                    <a:pt x="426" y="188"/>
                  </a:lnTo>
                  <a:lnTo>
                    <a:pt x="428" y="189"/>
                  </a:lnTo>
                  <a:lnTo>
                    <a:pt x="429" y="189"/>
                  </a:lnTo>
                  <a:lnTo>
                    <a:pt x="430" y="189"/>
                  </a:lnTo>
                  <a:lnTo>
                    <a:pt x="430" y="190"/>
                  </a:lnTo>
                  <a:lnTo>
                    <a:pt x="431" y="190"/>
                  </a:lnTo>
                  <a:lnTo>
                    <a:pt x="431" y="190"/>
                  </a:lnTo>
                  <a:lnTo>
                    <a:pt x="432" y="191"/>
                  </a:lnTo>
                  <a:lnTo>
                    <a:pt x="432" y="191"/>
                  </a:lnTo>
                  <a:lnTo>
                    <a:pt x="432" y="192"/>
                  </a:lnTo>
                  <a:lnTo>
                    <a:pt x="432" y="192"/>
                  </a:lnTo>
                  <a:lnTo>
                    <a:pt x="432" y="193"/>
                  </a:lnTo>
                  <a:lnTo>
                    <a:pt x="432" y="193"/>
                  </a:lnTo>
                  <a:lnTo>
                    <a:pt x="432" y="194"/>
                  </a:lnTo>
                  <a:lnTo>
                    <a:pt x="431" y="194"/>
                  </a:lnTo>
                  <a:lnTo>
                    <a:pt x="431" y="195"/>
                  </a:lnTo>
                  <a:lnTo>
                    <a:pt x="430" y="195"/>
                  </a:lnTo>
                  <a:lnTo>
                    <a:pt x="429" y="196"/>
                  </a:lnTo>
                  <a:lnTo>
                    <a:pt x="428" y="196"/>
                  </a:lnTo>
                  <a:lnTo>
                    <a:pt x="427" y="196"/>
                  </a:lnTo>
                  <a:lnTo>
                    <a:pt x="425" y="197"/>
                  </a:lnTo>
                  <a:lnTo>
                    <a:pt x="423" y="197"/>
                  </a:lnTo>
                  <a:lnTo>
                    <a:pt x="420" y="197"/>
                  </a:lnTo>
                  <a:lnTo>
                    <a:pt x="419" y="198"/>
                  </a:lnTo>
                  <a:lnTo>
                    <a:pt x="418" y="198"/>
                  </a:lnTo>
                  <a:lnTo>
                    <a:pt x="417" y="198"/>
                  </a:lnTo>
                  <a:lnTo>
                    <a:pt x="415" y="199"/>
                  </a:lnTo>
                  <a:lnTo>
                    <a:pt x="415" y="199"/>
                  </a:lnTo>
                  <a:lnTo>
                    <a:pt x="414" y="200"/>
                  </a:lnTo>
                  <a:lnTo>
                    <a:pt x="414" y="200"/>
                  </a:lnTo>
                  <a:lnTo>
                    <a:pt x="413" y="201"/>
                  </a:lnTo>
                  <a:lnTo>
                    <a:pt x="413" y="202"/>
                  </a:lnTo>
                  <a:lnTo>
                    <a:pt x="412" y="203"/>
                  </a:lnTo>
                  <a:lnTo>
                    <a:pt x="411" y="204"/>
                  </a:lnTo>
                  <a:lnTo>
                    <a:pt x="410" y="207"/>
                  </a:lnTo>
                  <a:lnTo>
                    <a:pt x="409" y="208"/>
                  </a:lnTo>
                  <a:lnTo>
                    <a:pt x="409" y="208"/>
                  </a:lnTo>
                  <a:lnTo>
                    <a:pt x="407" y="211"/>
                  </a:lnTo>
                  <a:lnTo>
                    <a:pt x="406" y="212"/>
                  </a:lnTo>
                  <a:lnTo>
                    <a:pt x="405" y="213"/>
                  </a:lnTo>
                  <a:lnTo>
                    <a:pt x="404" y="214"/>
                  </a:lnTo>
                  <a:lnTo>
                    <a:pt x="404" y="215"/>
                  </a:lnTo>
                  <a:lnTo>
                    <a:pt x="404" y="216"/>
                  </a:lnTo>
                  <a:lnTo>
                    <a:pt x="404" y="217"/>
                  </a:lnTo>
                  <a:lnTo>
                    <a:pt x="404" y="220"/>
                  </a:lnTo>
                  <a:lnTo>
                    <a:pt x="403" y="222"/>
                  </a:lnTo>
                  <a:lnTo>
                    <a:pt x="403" y="224"/>
                  </a:lnTo>
                  <a:lnTo>
                    <a:pt x="403" y="226"/>
                  </a:lnTo>
                  <a:lnTo>
                    <a:pt x="402" y="229"/>
                  </a:lnTo>
                  <a:lnTo>
                    <a:pt x="402" y="230"/>
                  </a:lnTo>
                  <a:lnTo>
                    <a:pt x="402" y="231"/>
                  </a:lnTo>
                  <a:lnTo>
                    <a:pt x="402" y="232"/>
                  </a:lnTo>
                  <a:lnTo>
                    <a:pt x="402" y="232"/>
                  </a:lnTo>
                  <a:lnTo>
                    <a:pt x="402" y="233"/>
                  </a:lnTo>
                  <a:lnTo>
                    <a:pt x="402" y="233"/>
                  </a:lnTo>
                  <a:lnTo>
                    <a:pt x="403" y="234"/>
                  </a:lnTo>
                  <a:lnTo>
                    <a:pt x="403" y="234"/>
                  </a:lnTo>
                  <a:lnTo>
                    <a:pt x="404" y="235"/>
                  </a:lnTo>
                  <a:lnTo>
                    <a:pt x="407" y="237"/>
                  </a:lnTo>
                  <a:lnTo>
                    <a:pt x="412" y="241"/>
                  </a:lnTo>
                  <a:lnTo>
                    <a:pt x="412" y="241"/>
                  </a:lnTo>
                  <a:lnTo>
                    <a:pt x="413" y="241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2" y="243"/>
                  </a:lnTo>
                  <a:lnTo>
                    <a:pt x="411" y="243"/>
                  </a:lnTo>
                  <a:lnTo>
                    <a:pt x="411" y="244"/>
                  </a:lnTo>
                  <a:lnTo>
                    <a:pt x="411" y="244"/>
                  </a:lnTo>
                  <a:lnTo>
                    <a:pt x="410" y="244"/>
                  </a:lnTo>
                  <a:lnTo>
                    <a:pt x="410" y="245"/>
                  </a:lnTo>
                  <a:lnTo>
                    <a:pt x="410" y="245"/>
                  </a:lnTo>
                  <a:lnTo>
                    <a:pt x="410" y="245"/>
                  </a:lnTo>
                  <a:lnTo>
                    <a:pt x="411" y="246"/>
                  </a:lnTo>
                  <a:lnTo>
                    <a:pt x="411" y="246"/>
                  </a:lnTo>
                  <a:lnTo>
                    <a:pt x="412" y="247"/>
                  </a:lnTo>
                  <a:lnTo>
                    <a:pt x="413" y="247"/>
                  </a:lnTo>
                  <a:lnTo>
                    <a:pt x="413" y="247"/>
                  </a:lnTo>
                  <a:lnTo>
                    <a:pt x="414" y="248"/>
                  </a:lnTo>
                  <a:lnTo>
                    <a:pt x="415" y="248"/>
                  </a:lnTo>
                  <a:lnTo>
                    <a:pt x="418" y="249"/>
                  </a:lnTo>
                  <a:lnTo>
                    <a:pt x="419" y="249"/>
                  </a:lnTo>
                  <a:lnTo>
                    <a:pt x="419" y="249"/>
                  </a:lnTo>
                  <a:lnTo>
                    <a:pt x="419" y="250"/>
                  </a:lnTo>
                  <a:lnTo>
                    <a:pt x="420" y="250"/>
                  </a:lnTo>
                  <a:lnTo>
                    <a:pt x="420" y="250"/>
                  </a:lnTo>
                  <a:lnTo>
                    <a:pt x="420" y="251"/>
                  </a:lnTo>
                  <a:lnTo>
                    <a:pt x="420" y="252"/>
                  </a:lnTo>
                  <a:lnTo>
                    <a:pt x="420" y="252"/>
                  </a:lnTo>
                  <a:lnTo>
                    <a:pt x="420" y="253"/>
                  </a:lnTo>
                  <a:lnTo>
                    <a:pt x="420" y="253"/>
                  </a:lnTo>
                  <a:lnTo>
                    <a:pt x="420" y="254"/>
                  </a:lnTo>
                  <a:lnTo>
                    <a:pt x="419" y="255"/>
                  </a:lnTo>
                  <a:lnTo>
                    <a:pt x="419" y="256"/>
                  </a:lnTo>
                  <a:lnTo>
                    <a:pt x="418" y="258"/>
                  </a:lnTo>
                  <a:lnTo>
                    <a:pt x="415" y="261"/>
                  </a:lnTo>
                  <a:lnTo>
                    <a:pt x="415" y="262"/>
                  </a:lnTo>
                  <a:lnTo>
                    <a:pt x="414" y="262"/>
                  </a:lnTo>
                  <a:lnTo>
                    <a:pt x="414" y="263"/>
                  </a:lnTo>
                  <a:lnTo>
                    <a:pt x="414" y="264"/>
                  </a:lnTo>
                  <a:lnTo>
                    <a:pt x="414" y="265"/>
                  </a:lnTo>
                  <a:lnTo>
                    <a:pt x="414" y="266"/>
                  </a:lnTo>
                  <a:lnTo>
                    <a:pt x="414" y="266"/>
                  </a:lnTo>
                  <a:lnTo>
                    <a:pt x="414" y="267"/>
                  </a:lnTo>
                  <a:lnTo>
                    <a:pt x="414" y="268"/>
                  </a:lnTo>
                  <a:lnTo>
                    <a:pt x="415" y="269"/>
                  </a:lnTo>
                  <a:lnTo>
                    <a:pt x="415" y="269"/>
                  </a:lnTo>
                  <a:lnTo>
                    <a:pt x="417" y="271"/>
                  </a:lnTo>
                  <a:lnTo>
                    <a:pt x="418" y="272"/>
                  </a:lnTo>
                  <a:lnTo>
                    <a:pt x="418" y="273"/>
                  </a:lnTo>
                  <a:lnTo>
                    <a:pt x="418" y="274"/>
                  </a:lnTo>
                  <a:lnTo>
                    <a:pt x="419" y="274"/>
                  </a:lnTo>
                  <a:lnTo>
                    <a:pt x="419" y="275"/>
                  </a:lnTo>
                  <a:lnTo>
                    <a:pt x="419" y="275"/>
                  </a:lnTo>
                  <a:lnTo>
                    <a:pt x="419" y="276"/>
                  </a:lnTo>
                  <a:lnTo>
                    <a:pt x="418" y="276"/>
                  </a:lnTo>
                  <a:lnTo>
                    <a:pt x="418" y="277"/>
                  </a:lnTo>
                  <a:lnTo>
                    <a:pt x="418" y="277"/>
                  </a:lnTo>
                  <a:lnTo>
                    <a:pt x="417" y="278"/>
                  </a:lnTo>
                  <a:lnTo>
                    <a:pt x="416" y="278"/>
                  </a:lnTo>
                  <a:lnTo>
                    <a:pt x="414" y="280"/>
                  </a:lnTo>
                  <a:lnTo>
                    <a:pt x="413" y="281"/>
                  </a:lnTo>
                  <a:lnTo>
                    <a:pt x="412" y="281"/>
                  </a:lnTo>
                  <a:lnTo>
                    <a:pt x="411" y="283"/>
                  </a:lnTo>
                  <a:lnTo>
                    <a:pt x="410" y="284"/>
                  </a:lnTo>
                  <a:lnTo>
                    <a:pt x="409" y="285"/>
                  </a:lnTo>
                  <a:lnTo>
                    <a:pt x="409" y="286"/>
                  </a:lnTo>
                  <a:lnTo>
                    <a:pt x="409" y="287"/>
                  </a:lnTo>
                  <a:lnTo>
                    <a:pt x="408" y="288"/>
                  </a:lnTo>
                  <a:lnTo>
                    <a:pt x="408" y="289"/>
                  </a:lnTo>
                  <a:lnTo>
                    <a:pt x="407" y="290"/>
                  </a:lnTo>
                  <a:lnTo>
                    <a:pt x="407" y="291"/>
                  </a:lnTo>
                  <a:lnTo>
                    <a:pt x="407" y="292"/>
                  </a:lnTo>
                  <a:lnTo>
                    <a:pt x="407" y="293"/>
                  </a:lnTo>
                  <a:lnTo>
                    <a:pt x="407" y="294"/>
                  </a:lnTo>
                  <a:lnTo>
                    <a:pt x="407" y="295"/>
                  </a:lnTo>
                  <a:lnTo>
                    <a:pt x="407" y="295"/>
                  </a:lnTo>
                  <a:lnTo>
                    <a:pt x="407" y="296"/>
                  </a:lnTo>
                  <a:lnTo>
                    <a:pt x="407" y="296"/>
                  </a:lnTo>
                  <a:lnTo>
                    <a:pt x="408" y="297"/>
                  </a:lnTo>
                  <a:lnTo>
                    <a:pt x="408" y="297"/>
                  </a:lnTo>
                  <a:lnTo>
                    <a:pt x="409" y="298"/>
                  </a:lnTo>
                  <a:lnTo>
                    <a:pt x="410" y="299"/>
                  </a:lnTo>
                  <a:lnTo>
                    <a:pt x="412" y="301"/>
                  </a:lnTo>
                  <a:lnTo>
                    <a:pt x="414" y="301"/>
                  </a:lnTo>
                  <a:lnTo>
                    <a:pt x="414" y="302"/>
                  </a:lnTo>
                  <a:lnTo>
                    <a:pt x="414" y="303"/>
                  </a:lnTo>
                  <a:lnTo>
                    <a:pt x="415" y="303"/>
                  </a:lnTo>
                  <a:lnTo>
                    <a:pt x="415" y="304"/>
                  </a:lnTo>
                  <a:lnTo>
                    <a:pt x="415" y="304"/>
                  </a:lnTo>
                  <a:lnTo>
                    <a:pt x="416" y="305"/>
                  </a:lnTo>
                  <a:lnTo>
                    <a:pt x="416" y="305"/>
                  </a:lnTo>
                  <a:lnTo>
                    <a:pt x="416" y="306"/>
                  </a:lnTo>
                  <a:lnTo>
                    <a:pt x="416" y="308"/>
                  </a:lnTo>
                  <a:lnTo>
                    <a:pt x="416" y="309"/>
                  </a:lnTo>
                  <a:lnTo>
                    <a:pt x="416" y="310"/>
                  </a:lnTo>
                  <a:lnTo>
                    <a:pt x="416" y="311"/>
                  </a:lnTo>
                  <a:lnTo>
                    <a:pt x="416" y="311"/>
                  </a:lnTo>
                  <a:lnTo>
                    <a:pt x="415" y="312"/>
                  </a:lnTo>
                  <a:lnTo>
                    <a:pt x="414" y="313"/>
                  </a:lnTo>
                  <a:lnTo>
                    <a:pt x="413" y="314"/>
                  </a:lnTo>
                  <a:lnTo>
                    <a:pt x="412" y="314"/>
                  </a:lnTo>
                  <a:lnTo>
                    <a:pt x="411" y="315"/>
                  </a:lnTo>
                  <a:lnTo>
                    <a:pt x="409" y="316"/>
                  </a:lnTo>
                  <a:lnTo>
                    <a:pt x="408" y="316"/>
                  </a:lnTo>
                  <a:lnTo>
                    <a:pt x="408" y="317"/>
                  </a:lnTo>
                  <a:lnTo>
                    <a:pt x="407" y="317"/>
                  </a:lnTo>
                  <a:lnTo>
                    <a:pt x="407" y="318"/>
                  </a:lnTo>
                  <a:lnTo>
                    <a:pt x="406" y="318"/>
                  </a:lnTo>
                  <a:lnTo>
                    <a:pt x="406" y="319"/>
                  </a:lnTo>
                  <a:lnTo>
                    <a:pt x="406" y="320"/>
                  </a:lnTo>
                  <a:lnTo>
                    <a:pt x="405" y="320"/>
                  </a:lnTo>
                  <a:lnTo>
                    <a:pt x="405" y="321"/>
                  </a:lnTo>
                  <a:lnTo>
                    <a:pt x="405" y="322"/>
                  </a:lnTo>
                  <a:lnTo>
                    <a:pt x="405" y="322"/>
                  </a:lnTo>
                  <a:lnTo>
                    <a:pt x="406" y="325"/>
                  </a:lnTo>
                  <a:lnTo>
                    <a:pt x="406" y="326"/>
                  </a:lnTo>
                  <a:lnTo>
                    <a:pt x="407" y="327"/>
                  </a:lnTo>
                  <a:lnTo>
                    <a:pt x="407" y="327"/>
                  </a:lnTo>
                  <a:lnTo>
                    <a:pt x="407" y="328"/>
                  </a:lnTo>
                  <a:lnTo>
                    <a:pt x="406" y="329"/>
                  </a:lnTo>
                  <a:lnTo>
                    <a:pt x="406" y="329"/>
                  </a:lnTo>
                  <a:lnTo>
                    <a:pt x="406" y="330"/>
                  </a:lnTo>
                  <a:lnTo>
                    <a:pt x="405" y="330"/>
                  </a:lnTo>
                  <a:lnTo>
                    <a:pt x="405" y="331"/>
                  </a:lnTo>
                  <a:lnTo>
                    <a:pt x="404" y="331"/>
                  </a:lnTo>
                  <a:lnTo>
                    <a:pt x="404" y="332"/>
                  </a:lnTo>
                  <a:lnTo>
                    <a:pt x="403" y="332"/>
                  </a:lnTo>
                  <a:lnTo>
                    <a:pt x="402" y="333"/>
                  </a:lnTo>
                  <a:lnTo>
                    <a:pt x="401" y="333"/>
                  </a:lnTo>
                  <a:lnTo>
                    <a:pt x="400" y="333"/>
                  </a:lnTo>
                  <a:lnTo>
                    <a:pt x="400" y="333"/>
                  </a:lnTo>
                  <a:lnTo>
                    <a:pt x="400" y="334"/>
                  </a:lnTo>
                  <a:lnTo>
                    <a:pt x="400" y="334"/>
                  </a:lnTo>
                  <a:lnTo>
                    <a:pt x="400" y="334"/>
                  </a:lnTo>
                  <a:lnTo>
                    <a:pt x="399" y="334"/>
                  </a:lnTo>
                  <a:lnTo>
                    <a:pt x="400" y="335"/>
                  </a:lnTo>
                  <a:lnTo>
                    <a:pt x="400" y="336"/>
                  </a:lnTo>
                  <a:lnTo>
                    <a:pt x="400" y="336"/>
                  </a:lnTo>
                  <a:lnTo>
                    <a:pt x="401" y="337"/>
                  </a:lnTo>
                  <a:lnTo>
                    <a:pt x="402" y="339"/>
                  </a:lnTo>
                  <a:lnTo>
                    <a:pt x="404" y="339"/>
                  </a:lnTo>
                  <a:lnTo>
                    <a:pt x="406" y="342"/>
                  </a:lnTo>
                  <a:lnTo>
                    <a:pt x="407" y="343"/>
                  </a:lnTo>
                  <a:lnTo>
                    <a:pt x="408" y="344"/>
                  </a:lnTo>
                  <a:lnTo>
                    <a:pt x="409" y="344"/>
                  </a:lnTo>
                  <a:lnTo>
                    <a:pt x="409" y="345"/>
                  </a:lnTo>
                  <a:lnTo>
                    <a:pt x="409" y="346"/>
                  </a:lnTo>
                  <a:lnTo>
                    <a:pt x="409" y="346"/>
                  </a:lnTo>
                  <a:lnTo>
                    <a:pt x="409" y="347"/>
                  </a:lnTo>
                  <a:lnTo>
                    <a:pt x="409" y="348"/>
                  </a:lnTo>
                  <a:lnTo>
                    <a:pt x="409" y="348"/>
                  </a:lnTo>
                  <a:lnTo>
                    <a:pt x="409" y="349"/>
                  </a:lnTo>
                  <a:lnTo>
                    <a:pt x="408" y="349"/>
                  </a:lnTo>
                  <a:lnTo>
                    <a:pt x="408" y="350"/>
                  </a:lnTo>
                  <a:lnTo>
                    <a:pt x="407" y="350"/>
                  </a:lnTo>
                  <a:lnTo>
                    <a:pt x="405" y="352"/>
                  </a:lnTo>
                  <a:lnTo>
                    <a:pt x="405" y="353"/>
                  </a:lnTo>
                  <a:lnTo>
                    <a:pt x="404" y="353"/>
                  </a:lnTo>
                  <a:lnTo>
                    <a:pt x="404" y="354"/>
                  </a:lnTo>
                  <a:lnTo>
                    <a:pt x="404" y="354"/>
                  </a:lnTo>
                  <a:lnTo>
                    <a:pt x="403" y="356"/>
                  </a:lnTo>
                  <a:lnTo>
                    <a:pt x="403" y="357"/>
                  </a:lnTo>
                  <a:lnTo>
                    <a:pt x="402" y="358"/>
                  </a:lnTo>
                  <a:lnTo>
                    <a:pt x="401" y="359"/>
                  </a:lnTo>
                  <a:lnTo>
                    <a:pt x="401" y="359"/>
                  </a:lnTo>
                  <a:lnTo>
                    <a:pt x="400" y="360"/>
                  </a:lnTo>
                  <a:lnTo>
                    <a:pt x="400" y="360"/>
                  </a:lnTo>
                  <a:lnTo>
                    <a:pt x="399" y="361"/>
                  </a:lnTo>
                  <a:lnTo>
                    <a:pt x="399" y="361"/>
                  </a:lnTo>
                  <a:lnTo>
                    <a:pt x="398" y="362"/>
                  </a:lnTo>
                  <a:lnTo>
                    <a:pt x="397" y="362"/>
                  </a:lnTo>
                  <a:lnTo>
                    <a:pt x="397" y="362"/>
                  </a:lnTo>
                  <a:lnTo>
                    <a:pt x="395" y="363"/>
                  </a:lnTo>
                  <a:lnTo>
                    <a:pt x="393" y="363"/>
                  </a:lnTo>
                  <a:lnTo>
                    <a:pt x="390" y="363"/>
                  </a:lnTo>
                  <a:lnTo>
                    <a:pt x="386" y="364"/>
                  </a:lnTo>
                  <a:lnTo>
                    <a:pt x="385" y="364"/>
                  </a:lnTo>
                  <a:lnTo>
                    <a:pt x="383" y="364"/>
                  </a:lnTo>
                  <a:lnTo>
                    <a:pt x="382" y="365"/>
                  </a:lnTo>
                  <a:lnTo>
                    <a:pt x="381" y="365"/>
                  </a:lnTo>
                  <a:lnTo>
                    <a:pt x="380" y="366"/>
                  </a:lnTo>
                  <a:lnTo>
                    <a:pt x="379" y="366"/>
                  </a:lnTo>
                  <a:lnTo>
                    <a:pt x="378" y="367"/>
                  </a:lnTo>
                  <a:lnTo>
                    <a:pt x="378" y="368"/>
                  </a:lnTo>
                  <a:lnTo>
                    <a:pt x="377" y="368"/>
                  </a:lnTo>
                  <a:lnTo>
                    <a:pt x="377" y="369"/>
                  </a:lnTo>
                  <a:lnTo>
                    <a:pt x="377" y="370"/>
                  </a:lnTo>
                  <a:lnTo>
                    <a:pt x="377" y="371"/>
                  </a:lnTo>
                  <a:lnTo>
                    <a:pt x="377" y="373"/>
                  </a:lnTo>
                  <a:lnTo>
                    <a:pt x="377" y="373"/>
                  </a:lnTo>
                  <a:lnTo>
                    <a:pt x="377" y="374"/>
                  </a:lnTo>
                  <a:lnTo>
                    <a:pt x="377" y="374"/>
                  </a:lnTo>
                  <a:lnTo>
                    <a:pt x="376" y="375"/>
                  </a:lnTo>
                  <a:lnTo>
                    <a:pt x="376" y="375"/>
                  </a:lnTo>
                  <a:lnTo>
                    <a:pt x="376" y="376"/>
                  </a:lnTo>
                  <a:lnTo>
                    <a:pt x="375" y="376"/>
                  </a:lnTo>
                  <a:lnTo>
                    <a:pt x="372" y="378"/>
                  </a:lnTo>
                  <a:lnTo>
                    <a:pt x="372" y="378"/>
                  </a:lnTo>
                  <a:lnTo>
                    <a:pt x="371" y="378"/>
                  </a:lnTo>
                  <a:lnTo>
                    <a:pt x="370" y="379"/>
                  </a:lnTo>
                  <a:lnTo>
                    <a:pt x="368" y="379"/>
                  </a:lnTo>
                  <a:lnTo>
                    <a:pt x="364" y="380"/>
                  </a:lnTo>
                  <a:lnTo>
                    <a:pt x="362" y="380"/>
                  </a:lnTo>
                  <a:lnTo>
                    <a:pt x="361" y="380"/>
                  </a:lnTo>
                  <a:lnTo>
                    <a:pt x="360" y="380"/>
                  </a:lnTo>
                  <a:lnTo>
                    <a:pt x="358" y="380"/>
                  </a:lnTo>
                  <a:lnTo>
                    <a:pt x="356" y="380"/>
                  </a:lnTo>
                  <a:lnTo>
                    <a:pt x="355" y="379"/>
                  </a:lnTo>
                  <a:lnTo>
                    <a:pt x="352" y="379"/>
                  </a:lnTo>
                  <a:lnTo>
                    <a:pt x="351" y="379"/>
                  </a:lnTo>
                  <a:lnTo>
                    <a:pt x="349" y="378"/>
                  </a:lnTo>
                  <a:lnTo>
                    <a:pt x="348" y="378"/>
                  </a:lnTo>
                  <a:lnTo>
                    <a:pt x="347" y="378"/>
                  </a:lnTo>
                  <a:lnTo>
                    <a:pt x="346" y="378"/>
                  </a:lnTo>
                  <a:lnTo>
                    <a:pt x="346" y="379"/>
                  </a:lnTo>
                  <a:lnTo>
                    <a:pt x="345" y="379"/>
                  </a:lnTo>
                  <a:lnTo>
                    <a:pt x="344" y="380"/>
                  </a:lnTo>
                  <a:lnTo>
                    <a:pt x="343" y="381"/>
                  </a:lnTo>
                  <a:lnTo>
                    <a:pt x="341" y="382"/>
                  </a:lnTo>
                  <a:lnTo>
                    <a:pt x="340" y="382"/>
                  </a:lnTo>
                  <a:lnTo>
                    <a:pt x="339" y="383"/>
                  </a:lnTo>
                  <a:lnTo>
                    <a:pt x="338" y="383"/>
                  </a:lnTo>
                  <a:lnTo>
                    <a:pt x="336" y="383"/>
                  </a:lnTo>
                  <a:lnTo>
                    <a:pt x="335" y="383"/>
                  </a:lnTo>
                  <a:lnTo>
                    <a:pt x="335" y="383"/>
                  </a:lnTo>
                  <a:lnTo>
                    <a:pt x="334" y="383"/>
                  </a:lnTo>
                  <a:lnTo>
                    <a:pt x="333" y="382"/>
                  </a:lnTo>
                  <a:lnTo>
                    <a:pt x="332" y="382"/>
                  </a:lnTo>
                  <a:lnTo>
                    <a:pt x="331" y="381"/>
                  </a:lnTo>
                  <a:lnTo>
                    <a:pt x="329" y="379"/>
                  </a:lnTo>
                  <a:lnTo>
                    <a:pt x="328" y="379"/>
                  </a:lnTo>
                  <a:lnTo>
                    <a:pt x="327" y="378"/>
                  </a:lnTo>
                  <a:lnTo>
                    <a:pt x="327" y="378"/>
                  </a:lnTo>
                  <a:lnTo>
                    <a:pt x="326" y="376"/>
                  </a:lnTo>
                  <a:lnTo>
                    <a:pt x="325" y="375"/>
                  </a:lnTo>
                  <a:lnTo>
                    <a:pt x="325" y="375"/>
                  </a:lnTo>
                  <a:lnTo>
                    <a:pt x="324" y="374"/>
                  </a:lnTo>
                  <a:lnTo>
                    <a:pt x="324" y="374"/>
                  </a:lnTo>
                  <a:lnTo>
                    <a:pt x="323" y="374"/>
                  </a:lnTo>
                  <a:lnTo>
                    <a:pt x="323" y="374"/>
                  </a:lnTo>
                  <a:lnTo>
                    <a:pt x="322" y="374"/>
                  </a:lnTo>
                  <a:lnTo>
                    <a:pt x="322" y="374"/>
                  </a:lnTo>
                  <a:lnTo>
                    <a:pt x="320" y="374"/>
                  </a:lnTo>
                  <a:lnTo>
                    <a:pt x="320" y="375"/>
                  </a:lnTo>
                  <a:lnTo>
                    <a:pt x="318" y="375"/>
                  </a:lnTo>
                  <a:lnTo>
                    <a:pt x="317" y="376"/>
                  </a:lnTo>
                  <a:lnTo>
                    <a:pt x="317" y="376"/>
                  </a:lnTo>
                  <a:lnTo>
                    <a:pt x="316" y="376"/>
                  </a:lnTo>
                  <a:lnTo>
                    <a:pt x="316" y="377"/>
                  </a:lnTo>
                  <a:lnTo>
                    <a:pt x="314" y="379"/>
                  </a:lnTo>
                  <a:lnTo>
                    <a:pt x="313" y="380"/>
                  </a:lnTo>
                  <a:lnTo>
                    <a:pt x="312" y="380"/>
                  </a:lnTo>
                  <a:lnTo>
                    <a:pt x="312" y="381"/>
                  </a:lnTo>
                  <a:lnTo>
                    <a:pt x="311" y="381"/>
                  </a:lnTo>
                  <a:lnTo>
                    <a:pt x="310" y="382"/>
                  </a:lnTo>
                  <a:lnTo>
                    <a:pt x="310" y="382"/>
                  </a:lnTo>
                  <a:lnTo>
                    <a:pt x="309" y="382"/>
                  </a:lnTo>
                  <a:lnTo>
                    <a:pt x="309" y="382"/>
                  </a:lnTo>
                  <a:lnTo>
                    <a:pt x="308" y="382"/>
                  </a:lnTo>
                  <a:lnTo>
                    <a:pt x="307" y="382"/>
                  </a:lnTo>
                  <a:lnTo>
                    <a:pt x="305" y="382"/>
                  </a:lnTo>
                  <a:lnTo>
                    <a:pt x="304" y="382"/>
                  </a:lnTo>
                  <a:lnTo>
                    <a:pt x="304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2" y="383"/>
                  </a:lnTo>
                  <a:lnTo>
                    <a:pt x="302" y="383"/>
                  </a:lnTo>
                  <a:lnTo>
                    <a:pt x="301" y="383"/>
                  </a:lnTo>
                  <a:lnTo>
                    <a:pt x="301" y="384"/>
                  </a:lnTo>
                  <a:lnTo>
                    <a:pt x="300" y="385"/>
                  </a:lnTo>
                  <a:lnTo>
                    <a:pt x="300" y="386"/>
                  </a:lnTo>
                  <a:lnTo>
                    <a:pt x="299" y="389"/>
                  </a:lnTo>
                  <a:lnTo>
                    <a:pt x="298" y="390"/>
                  </a:lnTo>
                  <a:lnTo>
                    <a:pt x="298" y="390"/>
                  </a:lnTo>
                  <a:lnTo>
                    <a:pt x="298" y="391"/>
                  </a:lnTo>
                  <a:lnTo>
                    <a:pt x="297" y="392"/>
                  </a:lnTo>
                  <a:lnTo>
                    <a:pt x="297" y="392"/>
                  </a:lnTo>
                  <a:lnTo>
                    <a:pt x="296" y="392"/>
                  </a:lnTo>
                  <a:lnTo>
                    <a:pt x="295" y="393"/>
                  </a:lnTo>
                  <a:lnTo>
                    <a:pt x="295" y="393"/>
                  </a:lnTo>
                  <a:lnTo>
                    <a:pt x="293" y="393"/>
                  </a:lnTo>
                  <a:lnTo>
                    <a:pt x="291" y="393"/>
                  </a:lnTo>
                  <a:lnTo>
                    <a:pt x="290" y="393"/>
                  </a:lnTo>
                  <a:lnTo>
                    <a:pt x="288" y="393"/>
                  </a:lnTo>
                  <a:lnTo>
                    <a:pt x="286" y="393"/>
                  </a:lnTo>
                  <a:lnTo>
                    <a:pt x="285" y="394"/>
                  </a:lnTo>
                  <a:lnTo>
                    <a:pt x="282" y="395"/>
                  </a:lnTo>
                  <a:lnTo>
                    <a:pt x="281" y="395"/>
                  </a:lnTo>
                  <a:lnTo>
                    <a:pt x="279" y="396"/>
                  </a:lnTo>
                  <a:lnTo>
                    <a:pt x="278" y="397"/>
                  </a:lnTo>
                  <a:lnTo>
                    <a:pt x="277" y="397"/>
                  </a:lnTo>
                  <a:lnTo>
                    <a:pt x="277" y="398"/>
                  </a:lnTo>
                  <a:lnTo>
                    <a:pt x="276" y="399"/>
                  </a:lnTo>
                  <a:lnTo>
                    <a:pt x="275" y="400"/>
                  </a:lnTo>
                  <a:lnTo>
                    <a:pt x="274" y="402"/>
                  </a:lnTo>
                  <a:lnTo>
                    <a:pt x="272" y="403"/>
                  </a:lnTo>
                  <a:lnTo>
                    <a:pt x="271" y="404"/>
                  </a:lnTo>
                  <a:lnTo>
                    <a:pt x="270" y="405"/>
                  </a:lnTo>
                  <a:lnTo>
                    <a:pt x="269" y="406"/>
                  </a:lnTo>
                  <a:lnTo>
                    <a:pt x="268" y="407"/>
                  </a:lnTo>
                  <a:lnTo>
                    <a:pt x="266" y="408"/>
                  </a:lnTo>
                  <a:lnTo>
                    <a:pt x="265" y="409"/>
                  </a:lnTo>
                  <a:lnTo>
                    <a:pt x="264" y="409"/>
                  </a:lnTo>
                  <a:lnTo>
                    <a:pt x="263" y="410"/>
                  </a:lnTo>
                  <a:lnTo>
                    <a:pt x="263" y="410"/>
                  </a:lnTo>
                  <a:lnTo>
                    <a:pt x="261" y="412"/>
                  </a:lnTo>
                  <a:lnTo>
                    <a:pt x="259" y="414"/>
                  </a:lnTo>
                  <a:lnTo>
                    <a:pt x="259" y="414"/>
                  </a:lnTo>
                  <a:lnTo>
                    <a:pt x="258" y="416"/>
                  </a:lnTo>
                  <a:lnTo>
                    <a:pt x="256" y="418"/>
                  </a:lnTo>
                  <a:lnTo>
                    <a:pt x="256" y="418"/>
                  </a:lnTo>
                  <a:lnTo>
                    <a:pt x="255" y="419"/>
                  </a:lnTo>
                  <a:lnTo>
                    <a:pt x="255" y="419"/>
                  </a:lnTo>
                  <a:lnTo>
                    <a:pt x="254" y="419"/>
                  </a:lnTo>
                  <a:lnTo>
                    <a:pt x="254" y="419"/>
                  </a:lnTo>
                  <a:lnTo>
                    <a:pt x="253" y="419"/>
                  </a:lnTo>
                  <a:lnTo>
                    <a:pt x="253" y="419"/>
                  </a:lnTo>
                  <a:lnTo>
                    <a:pt x="252" y="419"/>
                  </a:lnTo>
                  <a:lnTo>
                    <a:pt x="251" y="419"/>
                  </a:lnTo>
                  <a:lnTo>
                    <a:pt x="249" y="417"/>
                  </a:lnTo>
                  <a:lnTo>
                    <a:pt x="248" y="417"/>
                  </a:lnTo>
                  <a:lnTo>
                    <a:pt x="247" y="416"/>
                  </a:lnTo>
                  <a:lnTo>
                    <a:pt x="246" y="416"/>
                  </a:lnTo>
                  <a:lnTo>
                    <a:pt x="245" y="415"/>
                  </a:lnTo>
                  <a:lnTo>
                    <a:pt x="244" y="415"/>
                  </a:lnTo>
                  <a:lnTo>
                    <a:pt x="243" y="415"/>
                  </a:lnTo>
                  <a:lnTo>
                    <a:pt x="242" y="415"/>
                  </a:lnTo>
                  <a:lnTo>
                    <a:pt x="238" y="416"/>
                  </a:lnTo>
                  <a:lnTo>
                    <a:pt x="237" y="416"/>
                  </a:lnTo>
                  <a:lnTo>
                    <a:pt x="236" y="416"/>
                  </a:lnTo>
                  <a:lnTo>
                    <a:pt x="236" y="416"/>
                  </a:lnTo>
                  <a:lnTo>
                    <a:pt x="235" y="416"/>
                  </a:lnTo>
                  <a:lnTo>
                    <a:pt x="235" y="417"/>
                  </a:lnTo>
                  <a:lnTo>
                    <a:pt x="235" y="417"/>
                  </a:lnTo>
                  <a:lnTo>
                    <a:pt x="234" y="417"/>
                  </a:lnTo>
                  <a:lnTo>
                    <a:pt x="232" y="420"/>
                  </a:lnTo>
                  <a:lnTo>
                    <a:pt x="231" y="422"/>
                  </a:lnTo>
                  <a:lnTo>
                    <a:pt x="231" y="422"/>
                  </a:lnTo>
                  <a:lnTo>
                    <a:pt x="230" y="423"/>
                  </a:lnTo>
                  <a:lnTo>
                    <a:pt x="229" y="424"/>
                  </a:lnTo>
                  <a:lnTo>
                    <a:pt x="229" y="424"/>
                  </a:lnTo>
                  <a:lnTo>
                    <a:pt x="228" y="425"/>
                  </a:lnTo>
                  <a:lnTo>
                    <a:pt x="228" y="425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26" y="425"/>
                  </a:lnTo>
                  <a:lnTo>
                    <a:pt x="225" y="425"/>
                  </a:lnTo>
                  <a:lnTo>
                    <a:pt x="224" y="424"/>
                  </a:lnTo>
                  <a:lnTo>
                    <a:pt x="223" y="424"/>
                  </a:lnTo>
                  <a:lnTo>
                    <a:pt x="222" y="424"/>
                  </a:lnTo>
                  <a:lnTo>
                    <a:pt x="222" y="423"/>
                  </a:lnTo>
                  <a:lnTo>
                    <a:pt x="220" y="422"/>
                  </a:lnTo>
                  <a:lnTo>
                    <a:pt x="219" y="421"/>
                  </a:lnTo>
                  <a:lnTo>
                    <a:pt x="218" y="421"/>
                  </a:lnTo>
                  <a:lnTo>
                    <a:pt x="217" y="421"/>
                  </a:lnTo>
                  <a:lnTo>
                    <a:pt x="217" y="421"/>
                  </a:lnTo>
                  <a:lnTo>
                    <a:pt x="216" y="421"/>
                  </a:lnTo>
                  <a:lnTo>
                    <a:pt x="215" y="421"/>
                  </a:lnTo>
                  <a:lnTo>
                    <a:pt x="214" y="421"/>
                  </a:lnTo>
                  <a:lnTo>
                    <a:pt x="213" y="421"/>
                  </a:lnTo>
                  <a:lnTo>
                    <a:pt x="212" y="421"/>
                  </a:lnTo>
                  <a:lnTo>
                    <a:pt x="211" y="422"/>
                  </a:lnTo>
                  <a:lnTo>
                    <a:pt x="211" y="422"/>
                  </a:lnTo>
                  <a:lnTo>
                    <a:pt x="210" y="422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2"/>
                  </a:lnTo>
                  <a:lnTo>
                    <a:pt x="209" y="421"/>
                  </a:lnTo>
                  <a:lnTo>
                    <a:pt x="208" y="419"/>
                  </a:lnTo>
                  <a:lnTo>
                    <a:pt x="208" y="418"/>
                  </a:lnTo>
                  <a:lnTo>
                    <a:pt x="207" y="418"/>
                  </a:lnTo>
                  <a:lnTo>
                    <a:pt x="207" y="417"/>
                  </a:lnTo>
                  <a:lnTo>
                    <a:pt x="206" y="416"/>
                  </a:lnTo>
                  <a:lnTo>
                    <a:pt x="206" y="416"/>
                  </a:lnTo>
                  <a:lnTo>
                    <a:pt x="205" y="415"/>
                  </a:lnTo>
                  <a:lnTo>
                    <a:pt x="203" y="414"/>
                  </a:lnTo>
                  <a:lnTo>
                    <a:pt x="202" y="413"/>
                  </a:lnTo>
                  <a:lnTo>
                    <a:pt x="201" y="412"/>
                  </a:lnTo>
                  <a:lnTo>
                    <a:pt x="199" y="412"/>
                  </a:lnTo>
                  <a:lnTo>
                    <a:pt x="197" y="411"/>
                  </a:lnTo>
                  <a:lnTo>
                    <a:pt x="196" y="410"/>
                  </a:lnTo>
                  <a:lnTo>
                    <a:pt x="195" y="410"/>
                  </a:lnTo>
                  <a:lnTo>
                    <a:pt x="194" y="409"/>
                  </a:lnTo>
                  <a:lnTo>
                    <a:pt x="193" y="408"/>
                  </a:lnTo>
                  <a:lnTo>
                    <a:pt x="192" y="407"/>
                  </a:lnTo>
                  <a:lnTo>
                    <a:pt x="192" y="407"/>
                  </a:lnTo>
                  <a:lnTo>
                    <a:pt x="191" y="404"/>
                  </a:lnTo>
                  <a:lnTo>
                    <a:pt x="190" y="404"/>
                  </a:lnTo>
                  <a:lnTo>
                    <a:pt x="190" y="403"/>
                  </a:lnTo>
                  <a:lnTo>
                    <a:pt x="189" y="402"/>
                  </a:lnTo>
                  <a:lnTo>
                    <a:pt x="189" y="402"/>
                  </a:lnTo>
                  <a:lnTo>
                    <a:pt x="188" y="402"/>
                  </a:lnTo>
                  <a:lnTo>
                    <a:pt x="187" y="402"/>
                  </a:lnTo>
                  <a:lnTo>
                    <a:pt x="187" y="402"/>
                  </a:lnTo>
                  <a:lnTo>
                    <a:pt x="186" y="402"/>
                  </a:lnTo>
                  <a:lnTo>
                    <a:pt x="184" y="401"/>
                  </a:lnTo>
                  <a:lnTo>
                    <a:pt x="183" y="401"/>
                  </a:lnTo>
                  <a:lnTo>
                    <a:pt x="183" y="401"/>
                  </a:lnTo>
                  <a:lnTo>
                    <a:pt x="183" y="401"/>
                  </a:lnTo>
                  <a:lnTo>
                    <a:pt x="182" y="401"/>
                  </a:lnTo>
                  <a:lnTo>
                    <a:pt x="182" y="400"/>
                  </a:lnTo>
                  <a:lnTo>
                    <a:pt x="182" y="400"/>
                  </a:lnTo>
                  <a:lnTo>
                    <a:pt x="182" y="399"/>
                  </a:lnTo>
                  <a:lnTo>
                    <a:pt x="182" y="399"/>
                  </a:lnTo>
                  <a:lnTo>
                    <a:pt x="182" y="398"/>
                  </a:lnTo>
                  <a:lnTo>
                    <a:pt x="182" y="398"/>
                  </a:lnTo>
                  <a:lnTo>
                    <a:pt x="183" y="397"/>
                  </a:lnTo>
                  <a:lnTo>
                    <a:pt x="184" y="396"/>
                  </a:lnTo>
                  <a:lnTo>
                    <a:pt x="185" y="394"/>
                  </a:lnTo>
                  <a:lnTo>
                    <a:pt x="186" y="393"/>
                  </a:lnTo>
                  <a:lnTo>
                    <a:pt x="187" y="392"/>
                  </a:lnTo>
                  <a:lnTo>
                    <a:pt x="188" y="391"/>
                  </a:lnTo>
                  <a:lnTo>
                    <a:pt x="190" y="388"/>
                  </a:lnTo>
                  <a:lnTo>
                    <a:pt x="191" y="388"/>
                  </a:lnTo>
                  <a:lnTo>
                    <a:pt x="191" y="387"/>
                  </a:lnTo>
                  <a:lnTo>
                    <a:pt x="192" y="386"/>
                  </a:lnTo>
                  <a:lnTo>
                    <a:pt x="192" y="385"/>
                  </a:lnTo>
                  <a:lnTo>
                    <a:pt x="193" y="383"/>
                  </a:lnTo>
                  <a:lnTo>
                    <a:pt x="193" y="382"/>
                  </a:lnTo>
                  <a:lnTo>
                    <a:pt x="194" y="381"/>
                  </a:lnTo>
                  <a:lnTo>
                    <a:pt x="196" y="379"/>
                  </a:lnTo>
                  <a:lnTo>
                    <a:pt x="196" y="378"/>
                  </a:lnTo>
                  <a:lnTo>
                    <a:pt x="196" y="377"/>
                  </a:lnTo>
                  <a:lnTo>
                    <a:pt x="196" y="377"/>
                  </a:lnTo>
                  <a:lnTo>
                    <a:pt x="197" y="376"/>
                  </a:lnTo>
                  <a:lnTo>
                    <a:pt x="197" y="374"/>
                  </a:lnTo>
                  <a:lnTo>
                    <a:pt x="197" y="373"/>
                  </a:lnTo>
                  <a:lnTo>
                    <a:pt x="198" y="372"/>
                  </a:lnTo>
                  <a:lnTo>
                    <a:pt x="198" y="371"/>
                  </a:lnTo>
                  <a:lnTo>
                    <a:pt x="199" y="369"/>
                  </a:lnTo>
                  <a:lnTo>
                    <a:pt x="200" y="368"/>
                  </a:lnTo>
                  <a:lnTo>
                    <a:pt x="201" y="367"/>
                  </a:lnTo>
                  <a:lnTo>
                    <a:pt x="201" y="366"/>
                  </a:lnTo>
                  <a:lnTo>
                    <a:pt x="202" y="366"/>
                  </a:lnTo>
                  <a:lnTo>
                    <a:pt x="202" y="366"/>
                  </a:lnTo>
                  <a:lnTo>
                    <a:pt x="202" y="365"/>
                  </a:lnTo>
                  <a:lnTo>
                    <a:pt x="203" y="365"/>
                  </a:lnTo>
                  <a:lnTo>
                    <a:pt x="206" y="365"/>
                  </a:lnTo>
                  <a:lnTo>
                    <a:pt x="208" y="364"/>
                  </a:lnTo>
                  <a:lnTo>
                    <a:pt x="209" y="364"/>
                  </a:lnTo>
                  <a:lnTo>
                    <a:pt x="210" y="363"/>
                  </a:lnTo>
                  <a:lnTo>
                    <a:pt x="210" y="363"/>
                  </a:lnTo>
                  <a:lnTo>
                    <a:pt x="211" y="363"/>
                  </a:lnTo>
                  <a:lnTo>
                    <a:pt x="211" y="362"/>
                  </a:lnTo>
                  <a:lnTo>
                    <a:pt x="211" y="362"/>
                  </a:lnTo>
                  <a:lnTo>
                    <a:pt x="212" y="361"/>
                  </a:lnTo>
                  <a:lnTo>
                    <a:pt x="212" y="360"/>
                  </a:lnTo>
                  <a:lnTo>
                    <a:pt x="212" y="359"/>
                  </a:lnTo>
                  <a:lnTo>
                    <a:pt x="212" y="358"/>
                  </a:lnTo>
                  <a:lnTo>
                    <a:pt x="212" y="358"/>
                  </a:lnTo>
                  <a:lnTo>
                    <a:pt x="212" y="357"/>
                  </a:lnTo>
                  <a:lnTo>
                    <a:pt x="212" y="356"/>
                  </a:lnTo>
                  <a:lnTo>
                    <a:pt x="211" y="355"/>
                  </a:lnTo>
                  <a:lnTo>
                    <a:pt x="209" y="352"/>
                  </a:lnTo>
                  <a:lnTo>
                    <a:pt x="209" y="352"/>
                  </a:lnTo>
                  <a:lnTo>
                    <a:pt x="208" y="351"/>
                  </a:lnTo>
                  <a:lnTo>
                    <a:pt x="207" y="351"/>
                  </a:lnTo>
                  <a:lnTo>
                    <a:pt x="206" y="349"/>
                  </a:lnTo>
                  <a:lnTo>
                    <a:pt x="204" y="349"/>
                  </a:lnTo>
                  <a:lnTo>
                    <a:pt x="204" y="348"/>
                  </a:lnTo>
                  <a:lnTo>
                    <a:pt x="203" y="347"/>
                  </a:lnTo>
                  <a:lnTo>
                    <a:pt x="203" y="347"/>
                  </a:lnTo>
                  <a:lnTo>
                    <a:pt x="202" y="346"/>
                  </a:lnTo>
                  <a:lnTo>
                    <a:pt x="202" y="346"/>
                  </a:lnTo>
                  <a:lnTo>
                    <a:pt x="202" y="345"/>
                  </a:lnTo>
                  <a:lnTo>
                    <a:pt x="202" y="345"/>
                  </a:lnTo>
                  <a:lnTo>
                    <a:pt x="202" y="344"/>
                  </a:lnTo>
                  <a:lnTo>
                    <a:pt x="202" y="343"/>
                  </a:lnTo>
                  <a:lnTo>
                    <a:pt x="203" y="343"/>
                  </a:lnTo>
                  <a:lnTo>
                    <a:pt x="202" y="342"/>
                  </a:lnTo>
                  <a:lnTo>
                    <a:pt x="202" y="342"/>
                  </a:lnTo>
                  <a:lnTo>
                    <a:pt x="202" y="341"/>
                  </a:lnTo>
                  <a:lnTo>
                    <a:pt x="202" y="340"/>
                  </a:lnTo>
                  <a:lnTo>
                    <a:pt x="201" y="340"/>
                  </a:lnTo>
                  <a:lnTo>
                    <a:pt x="201" y="340"/>
                  </a:lnTo>
                  <a:lnTo>
                    <a:pt x="200" y="339"/>
                  </a:lnTo>
                  <a:lnTo>
                    <a:pt x="199" y="339"/>
                  </a:lnTo>
                  <a:lnTo>
                    <a:pt x="198" y="338"/>
                  </a:lnTo>
                  <a:lnTo>
                    <a:pt x="198" y="338"/>
                  </a:lnTo>
                  <a:lnTo>
                    <a:pt x="197" y="338"/>
                  </a:lnTo>
                  <a:lnTo>
                    <a:pt x="197" y="338"/>
                  </a:lnTo>
                  <a:lnTo>
                    <a:pt x="196" y="338"/>
                  </a:lnTo>
                  <a:lnTo>
                    <a:pt x="196" y="338"/>
                  </a:lnTo>
                  <a:lnTo>
                    <a:pt x="195" y="338"/>
                  </a:lnTo>
                  <a:lnTo>
                    <a:pt x="195" y="338"/>
                  </a:lnTo>
                  <a:lnTo>
                    <a:pt x="193" y="339"/>
                  </a:lnTo>
                  <a:lnTo>
                    <a:pt x="193" y="339"/>
                  </a:lnTo>
                  <a:lnTo>
                    <a:pt x="192" y="339"/>
                  </a:lnTo>
                  <a:lnTo>
                    <a:pt x="190" y="340"/>
                  </a:lnTo>
                  <a:lnTo>
                    <a:pt x="188" y="340"/>
                  </a:lnTo>
                  <a:lnTo>
                    <a:pt x="187" y="340"/>
                  </a:lnTo>
                  <a:lnTo>
                    <a:pt x="184" y="341"/>
                  </a:lnTo>
                  <a:lnTo>
                    <a:pt x="183" y="342"/>
                  </a:lnTo>
                  <a:lnTo>
                    <a:pt x="182" y="342"/>
                  </a:lnTo>
                  <a:lnTo>
                    <a:pt x="181" y="342"/>
                  </a:lnTo>
                  <a:lnTo>
                    <a:pt x="179" y="342"/>
                  </a:lnTo>
                  <a:lnTo>
                    <a:pt x="177" y="342"/>
                  </a:lnTo>
                  <a:lnTo>
                    <a:pt x="175" y="342"/>
                  </a:lnTo>
                  <a:lnTo>
                    <a:pt x="173" y="342"/>
                  </a:lnTo>
                  <a:lnTo>
                    <a:pt x="172" y="342"/>
                  </a:lnTo>
                  <a:lnTo>
                    <a:pt x="171" y="342"/>
                  </a:lnTo>
                  <a:lnTo>
                    <a:pt x="168" y="341"/>
                  </a:lnTo>
                  <a:lnTo>
                    <a:pt x="167" y="341"/>
                  </a:lnTo>
                  <a:lnTo>
                    <a:pt x="166" y="340"/>
                  </a:lnTo>
                  <a:lnTo>
                    <a:pt x="166" y="340"/>
                  </a:lnTo>
                  <a:lnTo>
                    <a:pt x="165" y="340"/>
                  </a:lnTo>
                  <a:lnTo>
                    <a:pt x="164" y="341"/>
                  </a:lnTo>
                  <a:lnTo>
                    <a:pt x="163" y="341"/>
                  </a:lnTo>
                  <a:lnTo>
                    <a:pt x="161" y="341"/>
                  </a:lnTo>
                  <a:lnTo>
                    <a:pt x="161" y="342"/>
                  </a:lnTo>
                  <a:lnTo>
                    <a:pt x="161" y="342"/>
                  </a:lnTo>
                  <a:lnTo>
                    <a:pt x="160" y="342"/>
                  </a:lnTo>
                  <a:lnTo>
                    <a:pt x="160" y="342"/>
                  </a:lnTo>
                  <a:lnTo>
                    <a:pt x="159" y="342"/>
                  </a:lnTo>
                  <a:lnTo>
                    <a:pt x="159" y="341"/>
                  </a:lnTo>
                  <a:lnTo>
                    <a:pt x="156" y="340"/>
                  </a:lnTo>
                  <a:lnTo>
                    <a:pt x="152" y="337"/>
                  </a:lnTo>
                  <a:lnTo>
                    <a:pt x="150" y="336"/>
                  </a:lnTo>
                  <a:lnTo>
                    <a:pt x="148" y="335"/>
                  </a:lnTo>
                  <a:lnTo>
                    <a:pt x="148" y="334"/>
                  </a:lnTo>
                  <a:lnTo>
                    <a:pt x="145" y="332"/>
                  </a:lnTo>
                  <a:lnTo>
                    <a:pt x="142" y="330"/>
                  </a:lnTo>
                  <a:lnTo>
                    <a:pt x="141" y="329"/>
                  </a:lnTo>
                  <a:lnTo>
                    <a:pt x="139" y="327"/>
                  </a:lnTo>
                  <a:lnTo>
                    <a:pt x="139" y="327"/>
                  </a:lnTo>
                  <a:lnTo>
                    <a:pt x="138" y="326"/>
                  </a:lnTo>
                  <a:lnTo>
                    <a:pt x="138" y="325"/>
                  </a:lnTo>
                  <a:lnTo>
                    <a:pt x="137" y="324"/>
                  </a:lnTo>
                  <a:lnTo>
                    <a:pt x="136" y="323"/>
                  </a:lnTo>
                  <a:lnTo>
                    <a:pt x="136" y="321"/>
                  </a:lnTo>
                  <a:lnTo>
                    <a:pt x="136" y="320"/>
                  </a:lnTo>
                  <a:lnTo>
                    <a:pt x="136" y="319"/>
                  </a:lnTo>
                  <a:lnTo>
                    <a:pt x="136" y="317"/>
                  </a:lnTo>
                  <a:lnTo>
                    <a:pt x="136" y="316"/>
                  </a:lnTo>
                  <a:lnTo>
                    <a:pt x="136" y="313"/>
                  </a:lnTo>
                  <a:lnTo>
                    <a:pt x="137" y="311"/>
                  </a:lnTo>
                  <a:lnTo>
                    <a:pt x="137" y="310"/>
                  </a:lnTo>
                  <a:lnTo>
                    <a:pt x="137" y="309"/>
                  </a:lnTo>
                  <a:lnTo>
                    <a:pt x="136" y="308"/>
                  </a:lnTo>
                  <a:lnTo>
                    <a:pt x="136" y="307"/>
                  </a:lnTo>
                  <a:lnTo>
                    <a:pt x="136" y="305"/>
                  </a:lnTo>
                  <a:lnTo>
                    <a:pt x="136" y="304"/>
                  </a:lnTo>
                  <a:lnTo>
                    <a:pt x="135" y="303"/>
                  </a:lnTo>
                  <a:lnTo>
                    <a:pt x="135" y="302"/>
                  </a:lnTo>
                  <a:lnTo>
                    <a:pt x="134" y="301"/>
                  </a:lnTo>
                  <a:lnTo>
                    <a:pt x="134" y="301"/>
                  </a:lnTo>
                  <a:lnTo>
                    <a:pt x="133" y="300"/>
                  </a:lnTo>
                  <a:lnTo>
                    <a:pt x="133" y="300"/>
                  </a:lnTo>
                  <a:lnTo>
                    <a:pt x="132" y="300"/>
                  </a:lnTo>
                  <a:lnTo>
                    <a:pt x="132" y="299"/>
                  </a:lnTo>
                  <a:lnTo>
                    <a:pt x="131" y="299"/>
                  </a:lnTo>
                  <a:lnTo>
                    <a:pt x="130" y="299"/>
                  </a:lnTo>
                  <a:lnTo>
                    <a:pt x="129" y="299"/>
                  </a:lnTo>
                  <a:lnTo>
                    <a:pt x="128" y="299"/>
                  </a:lnTo>
                  <a:lnTo>
                    <a:pt x="127" y="299"/>
                  </a:lnTo>
                  <a:lnTo>
                    <a:pt x="124" y="299"/>
                  </a:lnTo>
                  <a:lnTo>
                    <a:pt x="121" y="300"/>
                  </a:lnTo>
                  <a:lnTo>
                    <a:pt x="120" y="300"/>
                  </a:lnTo>
                  <a:lnTo>
                    <a:pt x="119" y="300"/>
                  </a:lnTo>
                  <a:lnTo>
                    <a:pt x="116" y="300"/>
                  </a:lnTo>
                  <a:lnTo>
                    <a:pt x="115" y="301"/>
                  </a:lnTo>
                  <a:lnTo>
                    <a:pt x="111" y="301"/>
                  </a:lnTo>
                  <a:lnTo>
                    <a:pt x="111" y="301"/>
                  </a:lnTo>
                  <a:lnTo>
                    <a:pt x="110" y="301"/>
                  </a:lnTo>
                  <a:lnTo>
                    <a:pt x="109" y="301"/>
                  </a:lnTo>
                  <a:lnTo>
                    <a:pt x="109" y="301"/>
                  </a:lnTo>
                  <a:lnTo>
                    <a:pt x="109" y="300"/>
                  </a:lnTo>
                  <a:lnTo>
                    <a:pt x="107" y="299"/>
                  </a:lnTo>
                  <a:lnTo>
                    <a:pt x="107" y="299"/>
                  </a:lnTo>
                  <a:lnTo>
                    <a:pt x="106" y="298"/>
                  </a:lnTo>
                  <a:lnTo>
                    <a:pt x="105" y="297"/>
                  </a:lnTo>
                  <a:lnTo>
                    <a:pt x="104" y="297"/>
                  </a:lnTo>
                  <a:lnTo>
                    <a:pt x="101" y="296"/>
                  </a:lnTo>
                  <a:lnTo>
                    <a:pt x="98" y="295"/>
                  </a:lnTo>
                  <a:lnTo>
                    <a:pt x="93" y="293"/>
                  </a:lnTo>
                  <a:lnTo>
                    <a:pt x="92" y="293"/>
                  </a:lnTo>
                  <a:lnTo>
                    <a:pt x="91" y="293"/>
                  </a:lnTo>
                  <a:lnTo>
                    <a:pt x="91" y="293"/>
                  </a:lnTo>
                  <a:lnTo>
                    <a:pt x="90" y="293"/>
                  </a:lnTo>
                  <a:lnTo>
                    <a:pt x="90" y="293"/>
                  </a:lnTo>
                  <a:lnTo>
                    <a:pt x="89" y="294"/>
                  </a:lnTo>
                  <a:lnTo>
                    <a:pt x="88" y="294"/>
                  </a:lnTo>
                  <a:lnTo>
                    <a:pt x="85" y="295"/>
                  </a:lnTo>
                  <a:lnTo>
                    <a:pt x="84" y="296"/>
                  </a:lnTo>
                  <a:lnTo>
                    <a:pt x="83" y="296"/>
                  </a:lnTo>
                  <a:lnTo>
                    <a:pt x="82" y="296"/>
                  </a:lnTo>
                  <a:lnTo>
                    <a:pt x="81" y="297"/>
                  </a:lnTo>
                  <a:lnTo>
                    <a:pt x="80" y="297"/>
                  </a:lnTo>
                  <a:lnTo>
                    <a:pt x="79" y="296"/>
                  </a:lnTo>
                  <a:lnTo>
                    <a:pt x="78" y="296"/>
                  </a:lnTo>
                  <a:lnTo>
                    <a:pt x="77" y="296"/>
                  </a:lnTo>
                  <a:lnTo>
                    <a:pt x="76" y="295"/>
                  </a:lnTo>
                  <a:lnTo>
                    <a:pt x="75" y="295"/>
                  </a:lnTo>
                  <a:lnTo>
                    <a:pt x="75" y="295"/>
                  </a:lnTo>
                  <a:lnTo>
                    <a:pt x="75" y="294"/>
                  </a:lnTo>
                  <a:lnTo>
                    <a:pt x="74" y="293"/>
                  </a:lnTo>
                  <a:lnTo>
                    <a:pt x="72" y="291"/>
                  </a:lnTo>
                  <a:lnTo>
                    <a:pt x="71" y="290"/>
                  </a:lnTo>
                  <a:lnTo>
                    <a:pt x="70" y="288"/>
                  </a:lnTo>
                  <a:lnTo>
                    <a:pt x="69" y="288"/>
                  </a:lnTo>
                  <a:lnTo>
                    <a:pt x="68" y="287"/>
                  </a:lnTo>
                  <a:lnTo>
                    <a:pt x="68" y="287"/>
                  </a:lnTo>
                  <a:lnTo>
                    <a:pt x="67" y="287"/>
                  </a:lnTo>
                  <a:lnTo>
                    <a:pt x="66" y="287"/>
                  </a:lnTo>
                  <a:lnTo>
                    <a:pt x="66" y="286"/>
                  </a:lnTo>
                  <a:lnTo>
                    <a:pt x="65" y="286"/>
                  </a:lnTo>
                  <a:lnTo>
                    <a:pt x="62" y="286"/>
                  </a:lnTo>
                  <a:lnTo>
                    <a:pt x="61" y="286"/>
                  </a:lnTo>
                  <a:lnTo>
                    <a:pt x="61" y="286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8" y="285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3"/>
                  </a:lnTo>
                  <a:lnTo>
                    <a:pt x="59" y="283"/>
                  </a:lnTo>
                  <a:lnTo>
                    <a:pt x="60" y="282"/>
                  </a:lnTo>
                  <a:lnTo>
                    <a:pt x="60" y="282"/>
                  </a:lnTo>
                  <a:lnTo>
                    <a:pt x="61" y="282"/>
                  </a:lnTo>
                  <a:lnTo>
                    <a:pt x="61" y="281"/>
                  </a:lnTo>
                  <a:lnTo>
                    <a:pt x="61" y="281"/>
                  </a:lnTo>
                  <a:lnTo>
                    <a:pt x="61" y="280"/>
                  </a:lnTo>
                  <a:lnTo>
                    <a:pt x="61" y="279"/>
                  </a:lnTo>
                  <a:lnTo>
                    <a:pt x="61" y="278"/>
                  </a:lnTo>
                  <a:lnTo>
                    <a:pt x="61" y="278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9" y="275"/>
                  </a:lnTo>
                  <a:lnTo>
                    <a:pt x="57" y="274"/>
                  </a:lnTo>
                  <a:lnTo>
                    <a:pt x="56" y="274"/>
                  </a:lnTo>
                  <a:lnTo>
                    <a:pt x="52" y="272"/>
                  </a:lnTo>
                  <a:lnTo>
                    <a:pt x="51" y="272"/>
                  </a:lnTo>
                  <a:lnTo>
                    <a:pt x="51" y="271"/>
                  </a:lnTo>
                  <a:lnTo>
                    <a:pt x="49" y="271"/>
                  </a:lnTo>
                  <a:lnTo>
                    <a:pt x="48" y="270"/>
                  </a:lnTo>
                  <a:lnTo>
                    <a:pt x="46" y="269"/>
                  </a:lnTo>
                  <a:lnTo>
                    <a:pt x="44" y="267"/>
                  </a:lnTo>
                  <a:lnTo>
                    <a:pt x="44" y="266"/>
                  </a:lnTo>
                  <a:lnTo>
                    <a:pt x="43" y="266"/>
                  </a:lnTo>
                  <a:lnTo>
                    <a:pt x="42" y="266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30" y="269"/>
                  </a:lnTo>
                  <a:lnTo>
                    <a:pt x="29" y="269"/>
                  </a:lnTo>
                  <a:lnTo>
                    <a:pt x="28" y="270"/>
                  </a:lnTo>
                  <a:lnTo>
                    <a:pt x="27" y="270"/>
                  </a:lnTo>
                  <a:lnTo>
                    <a:pt x="26" y="269"/>
                  </a:lnTo>
                  <a:lnTo>
                    <a:pt x="25" y="269"/>
                  </a:lnTo>
                  <a:lnTo>
                    <a:pt x="25" y="269"/>
                  </a:lnTo>
                  <a:lnTo>
                    <a:pt x="24" y="269"/>
                  </a:lnTo>
                  <a:lnTo>
                    <a:pt x="23" y="268"/>
                  </a:lnTo>
                  <a:lnTo>
                    <a:pt x="21" y="266"/>
                  </a:lnTo>
                  <a:lnTo>
                    <a:pt x="18" y="264"/>
                  </a:lnTo>
                  <a:lnTo>
                    <a:pt x="17" y="262"/>
                  </a:lnTo>
                  <a:lnTo>
                    <a:pt x="15" y="260"/>
                  </a:lnTo>
                  <a:lnTo>
                    <a:pt x="15" y="259"/>
                  </a:lnTo>
                  <a:lnTo>
                    <a:pt x="11" y="256"/>
                  </a:lnTo>
                  <a:lnTo>
                    <a:pt x="11" y="255"/>
                  </a:lnTo>
                  <a:lnTo>
                    <a:pt x="10" y="255"/>
                  </a:lnTo>
                  <a:lnTo>
                    <a:pt x="8" y="252"/>
                  </a:lnTo>
                  <a:lnTo>
                    <a:pt x="6" y="249"/>
                  </a:lnTo>
                  <a:lnTo>
                    <a:pt x="5" y="248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5" y="243"/>
                  </a:lnTo>
                  <a:lnTo>
                    <a:pt x="5" y="242"/>
                  </a:lnTo>
                  <a:lnTo>
                    <a:pt x="6" y="241"/>
                  </a:lnTo>
                  <a:lnTo>
                    <a:pt x="7" y="240"/>
                  </a:lnTo>
                  <a:lnTo>
                    <a:pt x="8" y="239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4"/>
                  </a:lnTo>
                  <a:lnTo>
                    <a:pt x="8" y="233"/>
                  </a:lnTo>
                  <a:lnTo>
                    <a:pt x="8" y="232"/>
                  </a:lnTo>
                  <a:lnTo>
                    <a:pt x="7" y="232"/>
                  </a:lnTo>
                  <a:lnTo>
                    <a:pt x="7" y="231"/>
                  </a:lnTo>
                  <a:lnTo>
                    <a:pt x="6" y="230"/>
                  </a:lnTo>
                  <a:lnTo>
                    <a:pt x="4" y="228"/>
                  </a:lnTo>
                  <a:lnTo>
                    <a:pt x="3" y="228"/>
                  </a:lnTo>
                  <a:lnTo>
                    <a:pt x="2" y="227"/>
                  </a:lnTo>
                  <a:lnTo>
                    <a:pt x="1" y="226"/>
                  </a:lnTo>
                  <a:lnTo>
                    <a:pt x="0" y="225"/>
                  </a:lnTo>
                  <a:lnTo>
                    <a:pt x="0" y="224"/>
                  </a:lnTo>
                  <a:lnTo>
                    <a:pt x="0" y="223"/>
                  </a:lnTo>
                  <a:lnTo>
                    <a:pt x="0" y="222"/>
                  </a:lnTo>
                  <a:lnTo>
                    <a:pt x="0" y="221"/>
                  </a:lnTo>
                  <a:lnTo>
                    <a:pt x="0" y="221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1" y="215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09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1"/>
                  </a:lnTo>
                  <a:lnTo>
                    <a:pt x="4" y="200"/>
                  </a:lnTo>
                  <a:lnTo>
                    <a:pt x="5" y="198"/>
                  </a:lnTo>
                  <a:lnTo>
                    <a:pt x="6" y="195"/>
                  </a:lnTo>
                  <a:lnTo>
                    <a:pt x="7" y="192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7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9" y="180"/>
                  </a:lnTo>
                  <a:lnTo>
                    <a:pt x="9" y="179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9" y="172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8" y="169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7" y="166"/>
                  </a:lnTo>
                  <a:lnTo>
                    <a:pt x="5" y="163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9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1" y="156"/>
                  </a:lnTo>
                  <a:lnTo>
                    <a:pt x="11" y="155"/>
                  </a:lnTo>
                  <a:lnTo>
                    <a:pt x="12" y="155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1" y="146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3" y="141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7" y="133"/>
                  </a:lnTo>
                  <a:lnTo>
                    <a:pt x="22" y="131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9" y="120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0"/>
                  </a:lnTo>
                  <a:lnTo>
                    <a:pt x="32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22"/>
                  </a:lnTo>
                  <a:lnTo>
                    <a:pt x="43" y="122"/>
                  </a:lnTo>
                  <a:lnTo>
                    <a:pt x="47" y="123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8" y="121"/>
                  </a:lnTo>
                  <a:lnTo>
                    <a:pt x="61" y="120"/>
                  </a:lnTo>
                  <a:lnTo>
                    <a:pt x="63" y="119"/>
                  </a:lnTo>
                  <a:lnTo>
                    <a:pt x="64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20"/>
                  </a:lnTo>
                  <a:lnTo>
                    <a:pt x="70" y="120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7" y="124"/>
                  </a:lnTo>
                  <a:lnTo>
                    <a:pt x="78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1" y="123"/>
                  </a:lnTo>
                  <a:lnTo>
                    <a:pt x="81" y="122"/>
                  </a:lnTo>
                  <a:lnTo>
                    <a:pt x="82" y="121"/>
                  </a:lnTo>
                  <a:lnTo>
                    <a:pt x="82" y="120"/>
                  </a:lnTo>
                  <a:lnTo>
                    <a:pt x="83" y="118"/>
                  </a:lnTo>
                  <a:lnTo>
                    <a:pt x="84" y="118"/>
                  </a:lnTo>
                  <a:lnTo>
                    <a:pt x="84" y="117"/>
                  </a:lnTo>
                  <a:lnTo>
                    <a:pt x="84" y="117"/>
                  </a:lnTo>
                  <a:lnTo>
                    <a:pt x="85" y="117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9" y="115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5" y="115"/>
                  </a:lnTo>
                  <a:lnTo>
                    <a:pt x="96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100" y="114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4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5" y="101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3" y="97"/>
                  </a:lnTo>
                  <a:lnTo>
                    <a:pt x="102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3"/>
                  </a:lnTo>
                  <a:lnTo>
                    <a:pt x="98" y="93"/>
                  </a:lnTo>
                  <a:lnTo>
                    <a:pt x="97" y="92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6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3"/>
                  </a:lnTo>
                  <a:lnTo>
                    <a:pt x="85" y="81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5" y="78"/>
                  </a:lnTo>
                  <a:lnTo>
                    <a:pt x="86" y="77"/>
                  </a:lnTo>
                  <a:lnTo>
                    <a:pt x="86" y="76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8" y="71"/>
                  </a:lnTo>
                  <a:lnTo>
                    <a:pt x="88" y="70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7" y="58"/>
                  </a:lnTo>
                  <a:lnTo>
                    <a:pt x="98" y="56"/>
                  </a:lnTo>
                  <a:lnTo>
                    <a:pt x="98" y="55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3" y="49"/>
                  </a:lnTo>
                  <a:lnTo>
                    <a:pt x="104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6" y="48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4" y="49"/>
                  </a:lnTo>
                  <a:lnTo>
                    <a:pt x="115" y="48"/>
                  </a:lnTo>
                  <a:lnTo>
                    <a:pt x="118" y="47"/>
                  </a:lnTo>
                  <a:lnTo>
                    <a:pt x="119" y="46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4" y="44"/>
                  </a:lnTo>
                  <a:lnTo>
                    <a:pt x="126" y="44"/>
                  </a:lnTo>
                  <a:lnTo>
                    <a:pt x="129" y="43"/>
                  </a:lnTo>
                  <a:lnTo>
                    <a:pt x="131" y="42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6" y="41"/>
                  </a:lnTo>
                  <a:lnTo>
                    <a:pt x="137" y="41"/>
                  </a:lnTo>
                  <a:lnTo>
                    <a:pt x="138" y="40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41" y="38"/>
                  </a:lnTo>
                  <a:lnTo>
                    <a:pt x="142" y="37"/>
                  </a:lnTo>
                  <a:lnTo>
                    <a:pt x="143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7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4" y="31"/>
                  </a:lnTo>
                  <a:lnTo>
                    <a:pt x="155" y="31"/>
                  </a:lnTo>
                  <a:lnTo>
                    <a:pt x="156" y="31"/>
                  </a:lnTo>
                  <a:lnTo>
                    <a:pt x="157" y="31"/>
                  </a:lnTo>
                  <a:lnTo>
                    <a:pt x="158" y="31"/>
                  </a:lnTo>
                  <a:lnTo>
                    <a:pt x="158" y="30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7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5"/>
                  </a:lnTo>
                  <a:lnTo>
                    <a:pt x="160" y="24"/>
                  </a:lnTo>
                  <a:lnTo>
                    <a:pt x="159" y="23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7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4"/>
                  </a:lnTo>
                  <a:lnTo>
                    <a:pt x="160" y="13"/>
                  </a:lnTo>
                  <a:lnTo>
                    <a:pt x="162" y="12"/>
                  </a:lnTo>
                  <a:lnTo>
                    <a:pt x="162" y="11"/>
                  </a:lnTo>
                  <a:lnTo>
                    <a:pt x="163" y="11"/>
                  </a:lnTo>
                  <a:lnTo>
                    <a:pt x="163" y="10"/>
                  </a:lnTo>
                  <a:lnTo>
                    <a:pt x="164" y="10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9"/>
                  </a:lnTo>
                  <a:lnTo>
                    <a:pt x="170" y="9"/>
                  </a:lnTo>
                  <a:lnTo>
                    <a:pt x="171" y="9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8" y="4"/>
                  </a:lnTo>
                  <a:lnTo>
                    <a:pt x="179" y="3"/>
                  </a:lnTo>
                  <a:lnTo>
                    <a:pt x="179" y="2"/>
                  </a:lnTo>
                  <a:lnTo>
                    <a:pt x="180" y="2"/>
                  </a:lnTo>
                  <a:lnTo>
                    <a:pt x="180" y="1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80" y="1"/>
                  </a:lnTo>
                  <a:lnTo>
                    <a:pt x="185" y="4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Freeform 29">
              <a:extLst>
                <a:ext uri="{FF2B5EF4-FFF2-40B4-BE49-F238E27FC236}">
                  <a16:creationId xmlns:a16="http://schemas.microsoft.com/office/drawing/2014/main" id="{BE0A36EF-EC70-1B36-1750-F0B0C7EAB9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8" y="3422"/>
              <a:ext cx="399" cy="421"/>
            </a:xfrm>
            <a:custGeom>
              <a:avLst/>
              <a:gdLst>
                <a:gd name="T0" fmla="*/ 157 w 399"/>
                <a:gd name="T1" fmla="*/ 19 h 421"/>
                <a:gd name="T2" fmla="*/ 177 w 399"/>
                <a:gd name="T3" fmla="*/ 20 h 421"/>
                <a:gd name="T4" fmla="*/ 196 w 399"/>
                <a:gd name="T5" fmla="*/ 32 h 421"/>
                <a:gd name="T6" fmla="*/ 208 w 399"/>
                <a:gd name="T7" fmla="*/ 42 h 421"/>
                <a:gd name="T8" fmla="*/ 228 w 399"/>
                <a:gd name="T9" fmla="*/ 51 h 421"/>
                <a:gd name="T10" fmla="*/ 231 w 399"/>
                <a:gd name="T11" fmla="*/ 64 h 421"/>
                <a:gd name="T12" fmla="*/ 256 w 399"/>
                <a:gd name="T13" fmla="*/ 75 h 421"/>
                <a:gd name="T14" fmla="*/ 270 w 399"/>
                <a:gd name="T15" fmla="*/ 56 h 421"/>
                <a:gd name="T16" fmla="*/ 283 w 399"/>
                <a:gd name="T17" fmla="*/ 61 h 421"/>
                <a:gd name="T18" fmla="*/ 304 w 399"/>
                <a:gd name="T19" fmla="*/ 74 h 421"/>
                <a:gd name="T20" fmla="*/ 332 w 399"/>
                <a:gd name="T21" fmla="*/ 81 h 421"/>
                <a:gd name="T22" fmla="*/ 361 w 399"/>
                <a:gd name="T23" fmla="*/ 104 h 421"/>
                <a:gd name="T24" fmla="*/ 392 w 399"/>
                <a:gd name="T25" fmla="*/ 123 h 421"/>
                <a:gd name="T26" fmla="*/ 392 w 399"/>
                <a:gd name="T27" fmla="*/ 141 h 421"/>
                <a:gd name="T28" fmla="*/ 397 w 399"/>
                <a:gd name="T29" fmla="*/ 153 h 421"/>
                <a:gd name="T30" fmla="*/ 384 w 399"/>
                <a:gd name="T31" fmla="*/ 162 h 421"/>
                <a:gd name="T32" fmla="*/ 390 w 399"/>
                <a:gd name="T33" fmla="*/ 174 h 421"/>
                <a:gd name="T34" fmla="*/ 382 w 399"/>
                <a:gd name="T35" fmla="*/ 181 h 421"/>
                <a:gd name="T36" fmla="*/ 371 w 399"/>
                <a:gd name="T37" fmla="*/ 178 h 421"/>
                <a:gd name="T38" fmla="*/ 373 w 399"/>
                <a:gd name="T39" fmla="*/ 186 h 421"/>
                <a:gd name="T40" fmla="*/ 362 w 399"/>
                <a:gd name="T41" fmla="*/ 193 h 421"/>
                <a:gd name="T42" fmla="*/ 347 w 399"/>
                <a:gd name="T43" fmla="*/ 209 h 421"/>
                <a:gd name="T44" fmla="*/ 345 w 399"/>
                <a:gd name="T45" fmla="*/ 230 h 421"/>
                <a:gd name="T46" fmla="*/ 353 w 399"/>
                <a:gd name="T47" fmla="*/ 242 h 421"/>
                <a:gd name="T48" fmla="*/ 362 w 399"/>
                <a:gd name="T49" fmla="*/ 249 h 421"/>
                <a:gd name="T50" fmla="*/ 359 w 399"/>
                <a:gd name="T51" fmla="*/ 267 h 421"/>
                <a:gd name="T52" fmla="*/ 352 w 399"/>
                <a:gd name="T53" fmla="*/ 280 h 421"/>
                <a:gd name="T54" fmla="*/ 351 w 399"/>
                <a:gd name="T55" fmla="*/ 294 h 421"/>
                <a:gd name="T56" fmla="*/ 357 w 399"/>
                <a:gd name="T57" fmla="*/ 308 h 421"/>
                <a:gd name="T58" fmla="*/ 348 w 399"/>
                <a:gd name="T59" fmla="*/ 321 h 421"/>
                <a:gd name="T60" fmla="*/ 342 w 399"/>
                <a:gd name="T61" fmla="*/ 330 h 421"/>
                <a:gd name="T62" fmla="*/ 351 w 399"/>
                <a:gd name="T63" fmla="*/ 343 h 421"/>
                <a:gd name="T64" fmla="*/ 342 w 399"/>
                <a:gd name="T65" fmla="*/ 356 h 421"/>
                <a:gd name="T66" fmla="*/ 320 w 399"/>
                <a:gd name="T67" fmla="*/ 363 h 421"/>
                <a:gd name="T68" fmla="*/ 312 w 399"/>
                <a:gd name="T69" fmla="*/ 375 h 421"/>
                <a:gd name="T70" fmla="*/ 286 w 399"/>
                <a:gd name="T71" fmla="*/ 376 h 421"/>
                <a:gd name="T72" fmla="*/ 268 w 399"/>
                <a:gd name="T73" fmla="*/ 372 h 421"/>
                <a:gd name="T74" fmla="*/ 255 w 399"/>
                <a:gd name="T75" fmla="*/ 376 h 421"/>
                <a:gd name="T76" fmla="*/ 244 w 399"/>
                <a:gd name="T77" fmla="*/ 379 h 421"/>
                <a:gd name="T78" fmla="*/ 230 w 399"/>
                <a:gd name="T79" fmla="*/ 389 h 421"/>
                <a:gd name="T80" fmla="*/ 208 w 399"/>
                <a:gd name="T81" fmla="*/ 404 h 421"/>
                <a:gd name="T82" fmla="*/ 194 w 399"/>
                <a:gd name="T83" fmla="*/ 415 h 421"/>
                <a:gd name="T84" fmla="*/ 176 w 399"/>
                <a:gd name="T85" fmla="*/ 413 h 421"/>
                <a:gd name="T86" fmla="*/ 162 w 399"/>
                <a:gd name="T87" fmla="*/ 418 h 421"/>
                <a:gd name="T88" fmla="*/ 152 w 399"/>
                <a:gd name="T89" fmla="*/ 418 h 421"/>
                <a:gd name="T90" fmla="*/ 135 w 399"/>
                <a:gd name="T91" fmla="*/ 404 h 421"/>
                <a:gd name="T92" fmla="*/ 124 w 399"/>
                <a:gd name="T93" fmla="*/ 396 h 421"/>
                <a:gd name="T94" fmla="*/ 135 w 399"/>
                <a:gd name="T95" fmla="*/ 379 h 421"/>
                <a:gd name="T96" fmla="*/ 144 w 399"/>
                <a:gd name="T97" fmla="*/ 362 h 421"/>
                <a:gd name="T98" fmla="*/ 154 w 399"/>
                <a:gd name="T99" fmla="*/ 352 h 421"/>
                <a:gd name="T100" fmla="*/ 145 w 399"/>
                <a:gd name="T101" fmla="*/ 339 h 421"/>
                <a:gd name="T102" fmla="*/ 135 w 399"/>
                <a:gd name="T103" fmla="*/ 335 h 421"/>
                <a:gd name="T104" fmla="*/ 109 w 399"/>
                <a:gd name="T105" fmla="*/ 337 h 421"/>
                <a:gd name="T106" fmla="*/ 90 w 399"/>
                <a:gd name="T107" fmla="*/ 330 h 421"/>
                <a:gd name="T108" fmla="*/ 79 w 399"/>
                <a:gd name="T109" fmla="*/ 306 h 421"/>
                <a:gd name="T110" fmla="*/ 70 w 399"/>
                <a:gd name="T111" fmla="*/ 295 h 421"/>
                <a:gd name="T112" fmla="*/ 47 w 399"/>
                <a:gd name="T113" fmla="*/ 293 h 421"/>
                <a:gd name="T114" fmla="*/ 22 w 399"/>
                <a:gd name="T115" fmla="*/ 293 h 421"/>
                <a:gd name="T116" fmla="*/ 8 w 399"/>
                <a:gd name="T117" fmla="*/ 282 h 421"/>
                <a:gd name="T118" fmla="*/ 3 w 399"/>
                <a:gd name="T119" fmla="*/ 277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9" h="421">
                  <a:moveTo>
                    <a:pt x="127" y="0"/>
                  </a:moveTo>
                  <a:lnTo>
                    <a:pt x="132" y="4"/>
                  </a:lnTo>
                  <a:lnTo>
                    <a:pt x="134" y="5"/>
                  </a:lnTo>
                  <a:lnTo>
                    <a:pt x="137" y="7"/>
                  </a:lnTo>
                  <a:lnTo>
                    <a:pt x="144" y="12"/>
                  </a:lnTo>
                  <a:lnTo>
                    <a:pt x="145" y="13"/>
                  </a:lnTo>
                  <a:lnTo>
                    <a:pt x="147" y="15"/>
                  </a:lnTo>
                  <a:lnTo>
                    <a:pt x="148" y="15"/>
                  </a:lnTo>
                  <a:lnTo>
                    <a:pt x="149" y="17"/>
                  </a:lnTo>
                  <a:lnTo>
                    <a:pt x="151" y="18"/>
                  </a:lnTo>
                  <a:lnTo>
                    <a:pt x="151" y="19"/>
                  </a:lnTo>
                  <a:lnTo>
                    <a:pt x="152" y="1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54" y="19"/>
                  </a:lnTo>
                  <a:lnTo>
                    <a:pt x="156" y="19"/>
                  </a:lnTo>
                  <a:lnTo>
                    <a:pt x="157" y="19"/>
                  </a:lnTo>
                  <a:lnTo>
                    <a:pt x="158" y="19"/>
                  </a:lnTo>
                  <a:lnTo>
                    <a:pt x="162" y="19"/>
                  </a:lnTo>
                  <a:lnTo>
                    <a:pt x="163" y="19"/>
                  </a:lnTo>
                  <a:lnTo>
                    <a:pt x="163" y="19"/>
                  </a:lnTo>
                  <a:lnTo>
                    <a:pt x="164" y="19"/>
                  </a:lnTo>
                  <a:lnTo>
                    <a:pt x="166" y="20"/>
                  </a:lnTo>
                  <a:lnTo>
                    <a:pt x="167" y="20"/>
                  </a:lnTo>
                  <a:lnTo>
                    <a:pt x="168" y="20"/>
                  </a:lnTo>
                  <a:lnTo>
                    <a:pt x="169" y="20"/>
                  </a:lnTo>
                  <a:lnTo>
                    <a:pt x="169" y="19"/>
                  </a:lnTo>
                  <a:lnTo>
                    <a:pt x="171" y="19"/>
                  </a:lnTo>
                  <a:lnTo>
                    <a:pt x="172" y="19"/>
                  </a:lnTo>
                  <a:lnTo>
                    <a:pt x="172" y="19"/>
                  </a:lnTo>
                  <a:lnTo>
                    <a:pt x="173" y="19"/>
                  </a:lnTo>
                  <a:lnTo>
                    <a:pt x="174" y="19"/>
                  </a:lnTo>
                  <a:lnTo>
                    <a:pt x="176" y="20"/>
                  </a:lnTo>
                  <a:lnTo>
                    <a:pt x="177" y="20"/>
                  </a:lnTo>
                  <a:lnTo>
                    <a:pt x="178" y="20"/>
                  </a:lnTo>
                  <a:lnTo>
                    <a:pt x="178" y="21"/>
                  </a:lnTo>
                  <a:lnTo>
                    <a:pt x="179" y="22"/>
                  </a:lnTo>
                  <a:lnTo>
                    <a:pt x="180" y="22"/>
                  </a:lnTo>
                  <a:lnTo>
                    <a:pt x="183" y="23"/>
                  </a:lnTo>
                  <a:lnTo>
                    <a:pt x="184" y="24"/>
                  </a:lnTo>
                  <a:lnTo>
                    <a:pt x="185" y="24"/>
                  </a:lnTo>
                  <a:lnTo>
                    <a:pt x="186" y="25"/>
                  </a:lnTo>
                  <a:lnTo>
                    <a:pt x="186" y="25"/>
                  </a:lnTo>
                  <a:lnTo>
                    <a:pt x="189" y="28"/>
                  </a:lnTo>
                  <a:lnTo>
                    <a:pt x="190" y="29"/>
                  </a:lnTo>
                  <a:lnTo>
                    <a:pt x="190" y="29"/>
                  </a:lnTo>
                  <a:lnTo>
                    <a:pt x="191" y="30"/>
                  </a:lnTo>
                  <a:lnTo>
                    <a:pt x="192" y="31"/>
                  </a:lnTo>
                  <a:lnTo>
                    <a:pt x="193" y="31"/>
                  </a:lnTo>
                  <a:lnTo>
                    <a:pt x="194" y="32"/>
                  </a:lnTo>
                  <a:lnTo>
                    <a:pt x="196" y="32"/>
                  </a:lnTo>
                  <a:lnTo>
                    <a:pt x="196" y="32"/>
                  </a:lnTo>
                  <a:lnTo>
                    <a:pt x="199" y="33"/>
                  </a:lnTo>
                  <a:lnTo>
                    <a:pt x="200" y="33"/>
                  </a:lnTo>
                  <a:lnTo>
                    <a:pt x="203" y="34"/>
                  </a:lnTo>
                  <a:lnTo>
                    <a:pt x="204" y="34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5" y="36"/>
                  </a:lnTo>
                  <a:lnTo>
                    <a:pt x="206" y="36"/>
                  </a:lnTo>
                  <a:lnTo>
                    <a:pt x="206" y="37"/>
                  </a:lnTo>
                  <a:lnTo>
                    <a:pt x="206" y="37"/>
                  </a:lnTo>
                  <a:lnTo>
                    <a:pt x="206" y="39"/>
                  </a:lnTo>
                  <a:lnTo>
                    <a:pt x="207" y="41"/>
                  </a:lnTo>
                  <a:lnTo>
                    <a:pt x="207" y="41"/>
                  </a:lnTo>
                  <a:lnTo>
                    <a:pt x="207" y="42"/>
                  </a:lnTo>
                  <a:lnTo>
                    <a:pt x="208" y="42"/>
                  </a:lnTo>
                  <a:lnTo>
                    <a:pt x="208" y="43"/>
                  </a:lnTo>
                  <a:lnTo>
                    <a:pt x="209" y="43"/>
                  </a:lnTo>
                  <a:lnTo>
                    <a:pt x="210" y="43"/>
                  </a:lnTo>
                  <a:lnTo>
                    <a:pt x="210" y="43"/>
                  </a:lnTo>
                  <a:lnTo>
                    <a:pt x="212" y="44"/>
                  </a:lnTo>
                  <a:lnTo>
                    <a:pt x="213" y="44"/>
                  </a:lnTo>
                  <a:lnTo>
                    <a:pt x="215" y="44"/>
                  </a:lnTo>
                  <a:lnTo>
                    <a:pt x="216" y="45"/>
                  </a:lnTo>
                  <a:lnTo>
                    <a:pt x="217" y="46"/>
                  </a:lnTo>
                  <a:lnTo>
                    <a:pt x="219" y="46"/>
                  </a:lnTo>
                  <a:lnTo>
                    <a:pt x="220" y="47"/>
                  </a:lnTo>
                  <a:lnTo>
                    <a:pt x="222" y="48"/>
                  </a:lnTo>
                  <a:lnTo>
                    <a:pt x="223" y="49"/>
                  </a:lnTo>
                  <a:lnTo>
                    <a:pt x="224" y="49"/>
                  </a:lnTo>
                  <a:lnTo>
                    <a:pt x="225" y="50"/>
                  </a:lnTo>
                  <a:lnTo>
                    <a:pt x="226" y="50"/>
                  </a:lnTo>
                  <a:lnTo>
                    <a:pt x="228" y="51"/>
                  </a:lnTo>
                  <a:lnTo>
                    <a:pt x="228" y="51"/>
                  </a:lnTo>
                  <a:lnTo>
                    <a:pt x="230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2" y="53"/>
                  </a:lnTo>
                  <a:lnTo>
                    <a:pt x="232" y="53"/>
                  </a:lnTo>
                  <a:lnTo>
                    <a:pt x="232" y="54"/>
                  </a:lnTo>
                  <a:lnTo>
                    <a:pt x="232" y="55"/>
                  </a:lnTo>
                  <a:lnTo>
                    <a:pt x="232" y="55"/>
                  </a:lnTo>
                  <a:lnTo>
                    <a:pt x="231" y="58"/>
                  </a:lnTo>
                  <a:lnTo>
                    <a:pt x="231" y="59"/>
                  </a:lnTo>
                  <a:lnTo>
                    <a:pt x="230" y="60"/>
                  </a:lnTo>
                  <a:lnTo>
                    <a:pt x="230" y="61"/>
                  </a:lnTo>
                  <a:lnTo>
                    <a:pt x="231" y="62"/>
                  </a:lnTo>
                  <a:lnTo>
                    <a:pt x="231" y="63"/>
                  </a:lnTo>
                  <a:lnTo>
                    <a:pt x="231" y="64"/>
                  </a:lnTo>
                  <a:lnTo>
                    <a:pt x="232" y="65"/>
                  </a:lnTo>
                  <a:lnTo>
                    <a:pt x="233" y="66"/>
                  </a:lnTo>
                  <a:lnTo>
                    <a:pt x="234" y="67"/>
                  </a:lnTo>
                  <a:lnTo>
                    <a:pt x="235" y="67"/>
                  </a:lnTo>
                  <a:lnTo>
                    <a:pt x="235" y="68"/>
                  </a:lnTo>
                  <a:lnTo>
                    <a:pt x="237" y="69"/>
                  </a:lnTo>
                  <a:lnTo>
                    <a:pt x="243" y="72"/>
                  </a:lnTo>
                  <a:lnTo>
                    <a:pt x="246" y="73"/>
                  </a:lnTo>
                  <a:lnTo>
                    <a:pt x="248" y="74"/>
                  </a:lnTo>
                  <a:lnTo>
                    <a:pt x="249" y="74"/>
                  </a:lnTo>
                  <a:lnTo>
                    <a:pt x="249" y="75"/>
                  </a:lnTo>
                  <a:lnTo>
                    <a:pt x="250" y="75"/>
                  </a:lnTo>
                  <a:lnTo>
                    <a:pt x="251" y="75"/>
                  </a:lnTo>
                  <a:lnTo>
                    <a:pt x="252" y="75"/>
                  </a:lnTo>
                  <a:lnTo>
                    <a:pt x="254" y="75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7" y="75"/>
                  </a:lnTo>
                  <a:lnTo>
                    <a:pt x="258" y="74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3"/>
                  </a:lnTo>
                  <a:lnTo>
                    <a:pt x="260" y="73"/>
                  </a:lnTo>
                  <a:lnTo>
                    <a:pt x="261" y="70"/>
                  </a:lnTo>
                  <a:lnTo>
                    <a:pt x="263" y="68"/>
                  </a:lnTo>
                  <a:lnTo>
                    <a:pt x="264" y="67"/>
                  </a:lnTo>
                  <a:lnTo>
                    <a:pt x="264" y="67"/>
                  </a:lnTo>
                  <a:lnTo>
                    <a:pt x="264" y="66"/>
                  </a:lnTo>
                  <a:lnTo>
                    <a:pt x="265" y="63"/>
                  </a:lnTo>
                  <a:lnTo>
                    <a:pt x="266" y="61"/>
                  </a:lnTo>
                  <a:lnTo>
                    <a:pt x="267" y="59"/>
                  </a:lnTo>
                  <a:lnTo>
                    <a:pt x="268" y="58"/>
                  </a:lnTo>
                  <a:lnTo>
                    <a:pt x="269" y="57"/>
                  </a:lnTo>
                  <a:lnTo>
                    <a:pt x="270" y="56"/>
                  </a:lnTo>
                  <a:lnTo>
                    <a:pt x="271" y="55"/>
                  </a:lnTo>
                  <a:lnTo>
                    <a:pt x="272" y="54"/>
                  </a:lnTo>
                  <a:lnTo>
                    <a:pt x="273" y="54"/>
                  </a:lnTo>
                  <a:lnTo>
                    <a:pt x="273" y="54"/>
                  </a:lnTo>
                  <a:lnTo>
                    <a:pt x="274" y="54"/>
                  </a:lnTo>
                  <a:lnTo>
                    <a:pt x="274" y="54"/>
                  </a:lnTo>
                  <a:lnTo>
                    <a:pt x="275" y="54"/>
                  </a:lnTo>
                  <a:lnTo>
                    <a:pt x="275" y="55"/>
                  </a:lnTo>
                  <a:lnTo>
                    <a:pt x="276" y="56"/>
                  </a:lnTo>
                  <a:lnTo>
                    <a:pt x="277" y="57"/>
                  </a:lnTo>
                  <a:lnTo>
                    <a:pt x="278" y="58"/>
                  </a:lnTo>
                  <a:lnTo>
                    <a:pt x="279" y="59"/>
                  </a:lnTo>
                  <a:lnTo>
                    <a:pt x="279" y="59"/>
                  </a:lnTo>
                  <a:lnTo>
                    <a:pt x="280" y="60"/>
                  </a:lnTo>
                  <a:lnTo>
                    <a:pt x="281" y="60"/>
                  </a:lnTo>
                  <a:lnTo>
                    <a:pt x="282" y="61"/>
                  </a:lnTo>
                  <a:lnTo>
                    <a:pt x="283" y="61"/>
                  </a:lnTo>
                  <a:lnTo>
                    <a:pt x="284" y="62"/>
                  </a:lnTo>
                  <a:lnTo>
                    <a:pt x="285" y="62"/>
                  </a:lnTo>
                  <a:lnTo>
                    <a:pt x="287" y="63"/>
                  </a:lnTo>
                  <a:lnTo>
                    <a:pt x="290" y="63"/>
                  </a:lnTo>
                  <a:lnTo>
                    <a:pt x="292" y="63"/>
                  </a:lnTo>
                  <a:lnTo>
                    <a:pt x="293" y="64"/>
                  </a:lnTo>
                  <a:lnTo>
                    <a:pt x="294" y="64"/>
                  </a:lnTo>
                  <a:lnTo>
                    <a:pt x="294" y="65"/>
                  </a:lnTo>
                  <a:lnTo>
                    <a:pt x="295" y="65"/>
                  </a:lnTo>
                  <a:lnTo>
                    <a:pt x="296" y="66"/>
                  </a:lnTo>
                  <a:lnTo>
                    <a:pt x="297" y="66"/>
                  </a:lnTo>
                  <a:lnTo>
                    <a:pt x="298" y="68"/>
                  </a:lnTo>
                  <a:lnTo>
                    <a:pt x="299" y="69"/>
                  </a:lnTo>
                  <a:lnTo>
                    <a:pt x="301" y="71"/>
                  </a:lnTo>
                  <a:lnTo>
                    <a:pt x="303" y="73"/>
                  </a:lnTo>
                  <a:lnTo>
                    <a:pt x="304" y="73"/>
                  </a:lnTo>
                  <a:lnTo>
                    <a:pt x="304" y="74"/>
                  </a:lnTo>
                  <a:lnTo>
                    <a:pt x="305" y="74"/>
                  </a:lnTo>
                  <a:lnTo>
                    <a:pt x="305" y="74"/>
                  </a:lnTo>
                  <a:lnTo>
                    <a:pt x="306" y="74"/>
                  </a:lnTo>
                  <a:lnTo>
                    <a:pt x="306" y="75"/>
                  </a:lnTo>
                  <a:lnTo>
                    <a:pt x="307" y="75"/>
                  </a:lnTo>
                  <a:lnTo>
                    <a:pt x="309" y="75"/>
                  </a:lnTo>
                  <a:lnTo>
                    <a:pt x="313" y="75"/>
                  </a:lnTo>
                  <a:lnTo>
                    <a:pt x="314" y="75"/>
                  </a:lnTo>
                  <a:lnTo>
                    <a:pt x="315" y="75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9" y="77"/>
                  </a:lnTo>
                  <a:lnTo>
                    <a:pt x="320" y="77"/>
                  </a:lnTo>
                  <a:lnTo>
                    <a:pt x="324" y="78"/>
                  </a:lnTo>
                  <a:lnTo>
                    <a:pt x="328" y="79"/>
                  </a:lnTo>
                  <a:lnTo>
                    <a:pt x="331" y="80"/>
                  </a:lnTo>
                  <a:lnTo>
                    <a:pt x="332" y="81"/>
                  </a:lnTo>
                  <a:lnTo>
                    <a:pt x="332" y="81"/>
                  </a:lnTo>
                  <a:lnTo>
                    <a:pt x="337" y="83"/>
                  </a:lnTo>
                  <a:lnTo>
                    <a:pt x="341" y="85"/>
                  </a:lnTo>
                  <a:lnTo>
                    <a:pt x="342" y="86"/>
                  </a:lnTo>
                  <a:lnTo>
                    <a:pt x="343" y="87"/>
                  </a:lnTo>
                  <a:lnTo>
                    <a:pt x="345" y="87"/>
                  </a:lnTo>
                  <a:lnTo>
                    <a:pt x="346" y="88"/>
                  </a:lnTo>
                  <a:lnTo>
                    <a:pt x="347" y="89"/>
                  </a:lnTo>
                  <a:lnTo>
                    <a:pt x="349" y="91"/>
                  </a:lnTo>
                  <a:lnTo>
                    <a:pt x="352" y="95"/>
                  </a:lnTo>
                  <a:lnTo>
                    <a:pt x="354" y="96"/>
                  </a:lnTo>
                  <a:lnTo>
                    <a:pt x="355" y="97"/>
                  </a:lnTo>
                  <a:lnTo>
                    <a:pt x="356" y="99"/>
                  </a:lnTo>
                  <a:lnTo>
                    <a:pt x="357" y="100"/>
                  </a:lnTo>
                  <a:lnTo>
                    <a:pt x="358" y="102"/>
                  </a:lnTo>
                  <a:lnTo>
                    <a:pt x="360" y="103"/>
                  </a:lnTo>
                  <a:lnTo>
                    <a:pt x="361" y="104"/>
                  </a:lnTo>
                  <a:lnTo>
                    <a:pt x="361" y="104"/>
                  </a:lnTo>
                  <a:lnTo>
                    <a:pt x="362" y="104"/>
                  </a:lnTo>
                  <a:lnTo>
                    <a:pt x="363" y="105"/>
                  </a:lnTo>
                  <a:lnTo>
                    <a:pt x="365" y="105"/>
                  </a:lnTo>
                  <a:lnTo>
                    <a:pt x="366" y="105"/>
                  </a:lnTo>
                  <a:lnTo>
                    <a:pt x="370" y="107"/>
                  </a:lnTo>
                  <a:lnTo>
                    <a:pt x="374" y="108"/>
                  </a:lnTo>
                  <a:lnTo>
                    <a:pt x="375" y="108"/>
                  </a:lnTo>
                  <a:lnTo>
                    <a:pt x="377" y="109"/>
                  </a:lnTo>
                  <a:lnTo>
                    <a:pt x="378" y="110"/>
                  </a:lnTo>
                  <a:lnTo>
                    <a:pt x="381" y="112"/>
                  </a:lnTo>
                  <a:lnTo>
                    <a:pt x="384" y="114"/>
                  </a:lnTo>
                  <a:lnTo>
                    <a:pt x="385" y="114"/>
                  </a:lnTo>
                  <a:lnTo>
                    <a:pt x="386" y="115"/>
                  </a:lnTo>
                  <a:lnTo>
                    <a:pt x="387" y="116"/>
                  </a:lnTo>
                  <a:lnTo>
                    <a:pt x="388" y="117"/>
                  </a:lnTo>
                  <a:lnTo>
                    <a:pt x="392" y="123"/>
                  </a:lnTo>
                  <a:lnTo>
                    <a:pt x="392" y="123"/>
                  </a:lnTo>
                  <a:lnTo>
                    <a:pt x="392" y="124"/>
                  </a:lnTo>
                  <a:lnTo>
                    <a:pt x="392" y="125"/>
                  </a:lnTo>
                  <a:lnTo>
                    <a:pt x="392" y="127"/>
                  </a:lnTo>
                  <a:lnTo>
                    <a:pt x="391" y="128"/>
                  </a:lnTo>
                  <a:lnTo>
                    <a:pt x="391" y="130"/>
                  </a:lnTo>
                  <a:lnTo>
                    <a:pt x="389" y="134"/>
                  </a:lnTo>
                  <a:lnTo>
                    <a:pt x="389" y="135"/>
                  </a:lnTo>
                  <a:lnTo>
                    <a:pt x="389" y="136"/>
                  </a:lnTo>
                  <a:lnTo>
                    <a:pt x="389" y="136"/>
                  </a:lnTo>
                  <a:lnTo>
                    <a:pt x="389" y="137"/>
                  </a:lnTo>
                  <a:lnTo>
                    <a:pt x="389" y="137"/>
                  </a:lnTo>
                  <a:lnTo>
                    <a:pt x="389" y="138"/>
                  </a:lnTo>
                  <a:lnTo>
                    <a:pt x="390" y="139"/>
                  </a:lnTo>
                  <a:lnTo>
                    <a:pt x="390" y="140"/>
                  </a:lnTo>
                  <a:lnTo>
                    <a:pt x="391" y="140"/>
                  </a:lnTo>
                  <a:lnTo>
                    <a:pt x="392" y="141"/>
                  </a:lnTo>
                  <a:lnTo>
                    <a:pt x="392" y="141"/>
                  </a:lnTo>
                  <a:lnTo>
                    <a:pt x="395" y="143"/>
                  </a:lnTo>
                  <a:lnTo>
                    <a:pt x="396" y="143"/>
                  </a:lnTo>
                  <a:lnTo>
                    <a:pt x="396" y="144"/>
                  </a:lnTo>
                  <a:lnTo>
                    <a:pt x="397" y="145"/>
                  </a:lnTo>
                  <a:lnTo>
                    <a:pt x="397" y="145"/>
                  </a:lnTo>
                  <a:lnTo>
                    <a:pt x="398" y="146"/>
                  </a:lnTo>
                  <a:lnTo>
                    <a:pt x="398" y="146"/>
                  </a:lnTo>
                  <a:lnTo>
                    <a:pt x="398" y="147"/>
                  </a:lnTo>
                  <a:lnTo>
                    <a:pt x="398" y="147"/>
                  </a:lnTo>
                  <a:lnTo>
                    <a:pt x="399" y="148"/>
                  </a:lnTo>
                  <a:lnTo>
                    <a:pt x="399" y="149"/>
                  </a:lnTo>
                  <a:lnTo>
                    <a:pt x="399" y="150"/>
                  </a:lnTo>
                  <a:lnTo>
                    <a:pt x="398" y="150"/>
                  </a:lnTo>
                  <a:lnTo>
                    <a:pt x="398" y="151"/>
                  </a:lnTo>
                  <a:lnTo>
                    <a:pt x="398" y="152"/>
                  </a:lnTo>
                  <a:lnTo>
                    <a:pt x="397" y="153"/>
                  </a:lnTo>
                  <a:lnTo>
                    <a:pt x="397" y="154"/>
                  </a:lnTo>
                  <a:lnTo>
                    <a:pt x="396" y="156"/>
                  </a:lnTo>
                  <a:lnTo>
                    <a:pt x="395" y="157"/>
                  </a:lnTo>
                  <a:lnTo>
                    <a:pt x="394" y="158"/>
                  </a:lnTo>
                  <a:lnTo>
                    <a:pt x="393" y="160"/>
                  </a:lnTo>
                  <a:lnTo>
                    <a:pt x="392" y="160"/>
                  </a:lnTo>
                  <a:lnTo>
                    <a:pt x="391" y="161"/>
                  </a:lnTo>
                  <a:lnTo>
                    <a:pt x="390" y="161"/>
                  </a:lnTo>
                  <a:lnTo>
                    <a:pt x="389" y="162"/>
                  </a:lnTo>
                  <a:lnTo>
                    <a:pt x="388" y="162"/>
                  </a:lnTo>
                  <a:lnTo>
                    <a:pt x="388" y="162"/>
                  </a:lnTo>
                  <a:lnTo>
                    <a:pt x="387" y="162"/>
                  </a:lnTo>
                  <a:lnTo>
                    <a:pt x="385" y="162"/>
                  </a:lnTo>
                  <a:lnTo>
                    <a:pt x="385" y="162"/>
                  </a:lnTo>
                  <a:lnTo>
                    <a:pt x="385" y="162"/>
                  </a:lnTo>
                  <a:lnTo>
                    <a:pt x="384" y="162"/>
                  </a:lnTo>
                  <a:lnTo>
                    <a:pt x="384" y="162"/>
                  </a:lnTo>
                  <a:lnTo>
                    <a:pt x="384" y="162"/>
                  </a:lnTo>
                  <a:lnTo>
                    <a:pt x="384" y="163"/>
                  </a:lnTo>
                  <a:lnTo>
                    <a:pt x="384" y="163"/>
                  </a:lnTo>
                  <a:lnTo>
                    <a:pt x="385" y="164"/>
                  </a:lnTo>
                  <a:lnTo>
                    <a:pt x="385" y="165"/>
                  </a:lnTo>
                  <a:lnTo>
                    <a:pt x="385" y="165"/>
                  </a:lnTo>
                  <a:lnTo>
                    <a:pt x="386" y="166"/>
                  </a:lnTo>
                  <a:lnTo>
                    <a:pt x="386" y="167"/>
                  </a:lnTo>
                  <a:lnTo>
                    <a:pt x="388" y="168"/>
                  </a:lnTo>
                  <a:lnTo>
                    <a:pt x="388" y="169"/>
                  </a:lnTo>
                  <a:lnTo>
                    <a:pt x="389" y="170"/>
                  </a:lnTo>
                  <a:lnTo>
                    <a:pt x="390" y="171"/>
                  </a:lnTo>
                  <a:lnTo>
                    <a:pt x="390" y="172"/>
                  </a:lnTo>
                  <a:lnTo>
                    <a:pt x="390" y="173"/>
                  </a:lnTo>
                  <a:lnTo>
                    <a:pt x="390" y="173"/>
                  </a:lnTo>
                  <a:lnTo>
                    <a:pt x="390" y="174"/>
                  </a:lnTo>
                  <a:lnTo>
                    <a:pt x="390" y="174"/>
                  </a:lnTo>
                  <a:lnTo>
                    <a:pt x="390" y="175"/>
                  </a:lnTo>
                  <a:lnTo>
                    <a:pt x="390" y="176"/>
                  </a:lnTo>
                  <a:lnTo>
                    <a:pt x="389" y="177"/>
                  </a:lnTo>
                  <a:lnTo>
                    <a:pt x="389" y="179"/>
                  </a:lnTo>
                  <a:lnTo>
                    <a:pt x="388" y="180"/>
                  </a:lnTo>
                  <a:lnTo>
                    <a:pt x="388" y="181"/>
                  </a:lnTo>
                  <a:lnTo>
                    <a:pt x="388" y="181"/>
                  </a:lnTo>
                  <a:lnTo>
                    <a:pt x="387" y="181"/>
                  </a:lnTo>
                  <a:lnTo>
                    <a:pt x="386" y="182"/>
                  </a:lnTo>
                  <a:lnTo>
                    <a:pt x="386" y="182"/>
                  </a:lnTo>
                  <a:lnTo>
                    <a:pt x="385" y="182"/>
                  </a:lnTo>
                  <a:lnTo>
                    <a:pt x="385" y="182"/>
                  </a:lnTo>
                  <a:lnTo>
                    <a:pt x="384" y="182"/>
                  </a:lnTo>
                  <a:lnTo>
                    <a:pt x="383" y="182"/>
                  </a:lnTo>
                  <a:lnTo>
                    <a:pt x="383" y="182"/>
                  </a:lnTo>
                  <a:lnTo>
                    <a:pt x="382" y="181"/>
                  </a:lnTo>
                  <a:lnTo>
                    <a:pt x="382" y="181"/>
                  </a:lnTo>
                  <a:lnTo>
                    <a:pt x="381" y="180"/>
                  </a:lnTo>
                  <a:lnTo>
                    <a:pt x="381" y="180"/>
                  </a:lnTo>
                  <a:lnTo>
                    <a:pt x="381" y="179"/>
                  </a:lnTo>
                  <a:lnTo>
                    <a:pt x="380" y="178"/>
                  </a:lnTo>
                  <a:lnTo>
                    <a:pt x="380" y="177"/>
                  </a:lnTo>
                  <a:lnTo>
                    <a:pt x="379" y="177"/>
                  </a:lnTo>
                  <a:lnTo>
                    <a:pt x="379" y="176"/>
                  </a:lnTo>
                  <a:lnTo>
                    <a:pt x="378" y="176"/>
                  </a:lnTo>
                  <a:lnTo>
                    <a:pt x="378" y="176"/>
                  </a:lnTo>
                  <a:lnTo>
                    <a:pt x="377" y="176"/>
                  </a:lnTo>
                  <a:lnTo>
                    <a:pt x="376" y="176"/>
                  </a:lnTo>
                  <a:lnTo>
                    <a:pt x="375" y="176"/>
                  </a:lnTo>
                  <a:lnTo>
                    <a:pt x="375" y="176"/>
                  </a:lnTo>
                  <a:lnTo>
                    <a:pt x="374" y="176"/>
                  </a:lnTo>
                  <a:lnTo>
                    <a:pt x="373" y="176"/>
                  </a:lnTo>
                  <a:lnTo>
                    <a:pt x="372" y="177"/>
                  </a:lnTo>
                  <a:lnTo>
                    <a:pt x="371" y="178"/>
                  </a:lnTo>
                  <a:lnTo>
                    <a:pt x="370" y="178"/>
                  </a:lnTo>
                  <a:lnTo>
                    <a:pt x="370" y="179"/>
                  </a:lnTo>
                  <a:lnTo>
                    <a:pt x="368" y="180"/>
                  </a:lnTo>
                  <a:lnTo>
                    <a:pt x="367" y="181"/>
                  </a:lnTo>
                  <a:lnTo>
                    <a:pt x="367" y="182"/>
                  </a:lnTo>
                  <a:lnTo>
                    <a:pt x="366" y="182"/>
                  </a:lnTo>
                  <a:lnTo>
                    <a:pt x="366" y="183"/>
                  </a:lnTo>
                  <a:lnTo>
                    <a:pt x="366" y="183"/>
                  </a:lnTo>
                  <a:lnTo>
                    <a:pt x="366" y="183"/>
                  </a:lnTo>
                  <a:lnTo>
                    <a:pt x="367" y="184"/>
                  </a:lnTo>
                  <a:lnTo>
                    <a:pt x="367" y="184"/>
                  </a:lnTo>
                  <a:lnTo>
                    <a:pt x="368" y="184"/>
                  </a:lnTo>
                  <a:lnTo>
                    <a:pt x="370" y="185"/>
                  </a:lnTo>
                  <a:lnTo>
                    <a:pt x="371" y="185"/>
                  </a:lnTo>
                  <a:lnTo>
                    <a:pt x="372" y="185"/>
                  </a:lnTo>
                  <a:lnTo>
                    <a:pt x="372" y="186"/>
                  </a:lnTo>
                  <a:lnTo>
                    <a:pt x="373" y="186"/>
                  </a:lnTo>
                  <a:lnTo>
                    <a:pt x="373" y="186"/>
                  </a:lnTo>
                  <a:lnTo>
                    <a:pt x="374" y="187"/>
                  </a:lnTo>
                  <a:lnTo>
                    <a:pt x="374" y="187"/>
                  </a:lnTo>
                  <a:lnTo>
                    <a:pt x="374" y="188"/>
                  </a:lnTo>
                  <a:lnTo>
                    <a:pt x="374" y="188"/>
                  </a:lnTo>
                  <a:lnTo>
                    <a:pt x="374" y="189"/>
                  </a:lnTo>
                  <a:lnTo>
                    <a:pt x="374" y="189"/>
                  </a:lnTo>
                  <a:lnTo>
                    <a:pt x="374" y="190"/>
                  </a:lnTo>
                  <a:lnTo>
                    <a:pt x="373" y="190"/>
                  </a:lnTo>
                  <a:lnTo>
                    <a:pt x="373" y="191"/>
                  </a:lnTo>
                  <a:lnTo>
                    <a:pt x="372" y="191"/>
                  </a:lnTo>
                  <a:lnTo>
                    <a:pt x="371" y="192"/>
                  </a:lnTo>
                  <a:lnTo>
                    <a:pt x="370" y="192"/>
                  </a:lnTo>
                  <a:lnTo>
                    <a:pt x="369" y="192"/>
                  </a:lnTo>
                  <a:lnTo>
                    <a:pt x="367" y="193"/>
                  </a:lnTo>
                  <a:lnTo>
                    <a:pt x="365" y="193"/>
                  </a:lnTo>
                  <a:lnTo>
                    <a:pt x="362" y="193"/>
                  </a:lnTo>
                  <a:lnTo>
                    <a:pt x="361" y="194"/>
                  </a:lnTo>
                  <a:lnTo>
                    <a:pt x="360" y="194"/>
                  </a:lnTo>
                  <a:lnTo>
                    <a:pt x="359" y="194"/>
                  </a:lnTo>
                  <a:lnTo>
                    <a:pt x="357" y="195"/>
                  </a:lnTo>
                  <a:lnTo>
                    <a:pt x="357" y="195"/>
                  </a:lnTo>
                  <a:lnTo>
                    <a:pt x="356" y="196"/>
                  </a:lnTo>
                  <a:lnTo>
                    <a:pt x="356" y="196"/>
                  </a:lnTo>
                  <a:lnTo>
                    <a:pt x="355" y="197"/>
                  </a:lnTo>
                  <a:lnTo>
                    <a:pt x="355" y="198"/>
                  </a:lnTo>
                  <a:lnTo>
                    <a:pt x="354" y="199"/>
                  </a:lnTo>
                  <a:lnTo>
                    <a:pt x="353" y="200"/>
                  </a:lnTo>
                  <a:lnTo>
                    <a:pt x="352" y="203"/>
                  </a:lnTo>
                  <a:lnTo>
                    <a:pt x="351" y="204"/>
                  </a:lnTo>
                  <a:lnTo>
                    <a:pt x="351" y="204"/>
                  </a:lnTo>
                  <a:lnTo>
                    <a:pt x="349" y="207"/>
                  </a:lnTo>
                  <a:lnTo>
                    <a:pt x="348" y="208"/>
                  </a:lnTo>
                  <a:lnTo>
                    <a:pt x="347" y="209"/>
                  </a:lnTo>
                  <a:lnTo>
                    <a:pt x="346" y="210"/>
                  </a:lnTo>
                  <a:lnTo>
                    <a:pt x="346" y="211"/>
                  </a:lnTo>
                  <a:lnTo>
                    <a:pt x="346" y="212"/>
                  </a:lnTo>
                  <a:lnTo>
                    <a:pt x="346" y="213"/>
                  </a:lnTo>
                  <a:lnTo>
                    <a:pt x="346" y="216"/>
                  </a:lnTo>
                  <a:lnTo>
                    <a:pt x="345" y="218"/>
                  </a:lnTo>
                  <a:lnTo>
                    <a:pt x="345" y="220"/>
                  </a:lnTo>
                  <a:lnTo>
                    <a:pt x="345" y="222"/>
                  </a:lnTo>
                  <a:lnTo>
                    <a:pt x="344" y="225"/>
                  </a:lnTo>
                  <a:lnTo>
                    <a:pt x="344" y="226"/>
                  </a:lnTo>
                  <a:lnTo>
                    <a:pt x="344" y="227"/>
                  </a:lnTo>
                  <a:lnTo>
                    <a:pt x="344" y="228"/>
                  </a:lnTo>
                  <a:lnTo>
                    <a:pt x="344" y="228"/>
                  </a:lnTo>
                  <a:lnTo>
                    <a:pt x="344" y="229"/>
                  </a:lnTo>
                  <a:lnTo>
                    <a:pt x="344" y="229"/>
                  </a:lnTo>
                  <a:lnTo>
                    <a:pt x="345" y="230"/>
                  </a:lnTo>
                  <a:lnTo>
                    <a:pt x="345" y="230"/>
                  </a:lnTo>
                  <a:lnTo>
                    <a:pt x="346" y="231"/>
                  </a:lnTo>
                  <a:lnTo>
                    <a:pt x="349" y="233"/>
                  </a:lnTo>
                  <a:lnTo>
                    <a:pt x="354" y="237"/>
                  </a:lnTo>
                  <a:lnTo>
                    <a:pt x="354" y="237"/>
                  </a:lnTo>
                  <a:lnTo>
                    <a:pt x="355" y="237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4" y="239"/>
                  </a:lnTo>
                  <a:lnTo>
                    <a:pt x="353" y="239"/>
                  </a:lnTo>
                  <a:lnTo>
                    <a:pt x="353" y="240"/>
                  </a:lnTo>
                  <a:lnTo>
                    <a:pt x="353" y="240"/>
                  </a:lnTo>
                  <a:lnTo>
                    <a:pt x="352" y="240"/>
                  </a:lnTo>
                  <a:lnTo>
                    <a:pt x="352" y="241"/>
                  </a:lnTo>
                  <a:lnTo>
                    <a:pt x="352" y="241"/>
                  </a:lnTo>
                  <a:lnTo>
                    <a:pt x="352" y="241"/>
                  </a:lnTo>
                  <a:lnTo>
                    <a:pt x="353" y="242"/>
                  </a:lnTo>
                  <a:lnTo>
                    <a:pt x="353" y="242"/>
                  </a:lnTo>
                  <a:lnTo>
                    <a:pt x="354" y="243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6" y="244"/>
                  </a:lnTo>
                  <a:lnTo>
                    <a:pt x="357" y="244"/>
                  </a:lnTo>
                  <a:lnTo>
                    <a:pt x="360" y="245"/>
                  </a:lnTo>
                  <a:lnTo>
                    <a:pt x="361" y="245"/>
                  </a:lnTo>
                  <a:lnTo>
                    <a:pt x="361" y="245"/>
                  </a:lnTo>
                  <a:lnTo>
                    <a:pt x="361" y="246"/>
                  </a:lnTo>
                  <a:lnTo>
                    <a:pt x="362" y="246"/>
                  </a:lnTo>
                  <a:lnTo>
                    <a:pt x="362" y="246"/>
                  </a:lnTo>
                  <a:lnTo>
                    <a:pt x="362" y="247"/>
                  </a:lnTo>
                  <a:lnTo>
                    <a:pt x="362" y="248"/>
                  </a:lnTo>
                  <a:lnTo>
                    <a:pt x="362" y="248"/>
                  </a:lnTo>
                  <a:lnTo>
                    <a:pt x="362" y="249"/>
                  </a:lnTo>
                  <a:lnTo>
                    <a:pt x="362" y="249"/>
                  </a:lnTo>
                  <a:lnTo>
                    <a:pt x="362" y="250"/>
                  </a:lnTo>
                  <a:lnTo>
                    <a:pt x="361" y="251"/>
                  </a:lnTo>
                  <a:lnTo>
                    <a:pt x="361" y="252"/>
                  </a:lnTo>
                  <a:lnTo>
                    <a:pt x="360" y="254"/>
                  </a:lnTo>
                  <a:lnTo>
                    <a:pt x="357" y="257"/>
                  </a:lnTo>
                  <a:lnTo>
                    <a:pt x="357" y="258"/>
                  </a:lnTo>
                  <a:lnTo>
                    <a:pt x="356" y="258"/>
                  </a:lnTo>
                  <a:lnTo>
                    <a:pt x="356" y="259"/>
                  </a:lnTo>
                  <a:lnTo>
                    <a:pt x="356" y="260"/>
                  </a:lnTo>
                  <a:lnTo>
                    <a:pt x="356" y="261"/>
                  </a:lnTo>
                  <a:lnTo>
                    <a:pt x="356" y="262"/>
                  </a:lnTo>
                  <a:lnTo>
                    <a:pt x="356" y="262"/>
                  </a:lnTo>
                  <a:lnTo>
                    <a:pt x="356" y="263"/>
                  </a:lnTo>
                  <a:lnTo>
                    <a:pt x="356" y="264"/>
                  </a:lnTo>
                  <a:lnTo>
                    <a:pt x="357" y="265"/>
                  </a:lnTo>
                  <a:lnTo>
                    <a:pt x="357" y="265"/>
                  </a:lnTo>
                  <a:lnTo>
                    <a:pt x="359" y="267"/>
                  </a:lnTo>
                  <a:lnTo>
                    <a:pt x="360" y="268"/>
                  </a:lnTo>
                  <a:lnTo>
                    <a:pt x="360" y="269"/>
                  </a:lnTo>
                  <a:lnTo>
                    <a:pt x="360" y="270"/>
                  </a:lnTo>
                  <a:lnTo>
                    <a:pt x="361" y="270"/>
                  </a:lnTo>
                  <a:lnTo>
                    <a:pt x="361" y="271"/>
                  </a:lnTo>
                  <a:lnTo>
                    <a:pt x="361" y="271"/>
                  </a:lnTo>
                  <a:lnTo>
                    <a:pt x="361" y="272"/>
                  </a:lnTo>
                  <a:lnTo>
                    <a:pt x="360" y="272"/>
                  </a:lnTo>
                  <a:lnTo>
                    <a:pt x="360" y="273"/>
                  </a:lnTo>
                  <a:lnTo>
                    <a:pt x="360" y="273"/>
                  </a:lnTo>
                  <a:lnTo>
                    <a:pt x="359" y="274"/>
                  </a:lnTo>
                  <a:lnTo>
                    <a:pt x="358" y="274"/>
                  </a:lnTo>
                  <a:lnTo>
                    <a:pt x="356" y="276"/>
                  </a:lnTo>
                  <a:lnTo>
                    <a:pt x="355" y="277"/>
                  </a:lnTo>
                  <a:lnTo>
                    <a:pt x="354" y="277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1" y="281"/>
                  </a:lnTo>
                  <a:lnTo>
                    <a:pt x="351" y="282"/>
                  </a:lnTo>
                  <a:lnTo>
                    <a:pt x="351" y="283"/>
                  </a:lnTo>
                  <a:lnTo>
                    <a:pt x="350" y="284"/>
                  </a:lnTo>
                  <a:lnTo>
                    <a:pt x="350" y="285"/>
                  </a:lnTo>
                  <a:lnTo>
                    <a:pt x="349" y="286"/>
                  </a:lnTo>
                  <a:lnTo>
                    <a:pt x="349" y="287"/>
                  </a:lnTo>
                  <a:lnTo>
                    <a:pt x="349" y="288"/>
                  </a:lnTo>
                  <a:lnTo>
                    <a:pt x="349" y="289"/>
                  </a:lnTo>
                  <a:lnTo>
                    <a:pt x="349" y="290"/>
                  </a:lnTo>
                  <a:lnTo>
                    <a:pt x="349" y="291"/>
                  </a:lnTo>
                  <a:lnTo>
                    <a:pt x="349" y="291"/>
                  </a:lnTo>
                  <a:lnTo>
                    <a:pt x="349" y="292"/>
                  </a:lnTo>
                  <a:lnTo>
                    <a:pt x="349" y="292"/>
                  </a:lnTo>
                  <a:lnTo>
                    <a:pt x="350" y="293"/>
                  </a:lnTo>
                  <a:lnTo>
                    <a:pt x="350" y="293"/>
                  </a:lnTo>
                  <a:lnTo>
                    <a:pt x="351" y="294"/>
                  </a:lnTo>
                  <a:lnTo>
                    <a:pt x="352" y="295"/>
                  </a:lnTo>
                  <a:lnTo>
                    <a:pt x="354" y="297"/>
                  </a:lnTo>
                  <a:lnTo>
                    <a:pt x="356" y="297"/>
                  </a:lnTo>
                  <a:lnTo>
                    <a:pt x="356" y="298"/>
                  </a:lnTo>
                  <a:lnTo>
                    <a:pt x="356" y="299"/>
                  </a:lnTo>
                  <a:lnTo>
                    <a:pt x="357" y="299"/>
                  </a:lnTo>
                  <a:lnTo>
                    <a:pt x="357" y="300"/>
                  </a:lnTo>
                  <a:lnTo>
                    <a:pt x="357" y="300"/>
                  </a:lnTo>
                  <a:lnTo>
                    <a:pt x="358" y="301"/>
                  </a:lnTo>
                  <a:lnTo>
                    <a:pt x="358" y="301"/>
                  </a:lnTo>
                  <a:lnTo>
                    <a:pt x="358" y="302"/>
                  </a:lnTo>
                  <a:lnTo>
                    <a:pt x="358" y="304"/>
                  </a:lnTo>
                  <a:lnTo>
                    <a:pt x="358" y="305"/>
                  </a:lnTo>
                  <a:lnTo>
                    <a:pt x="358" y="306"/>
                  </a:lnTo>
                  <a:lnTo>
                    <a:pt x="358" y="307"/>
                  </a:lnTo>
                  <a:lnTo>
                    <a:pt x="358" y="307"/>
                  </a:lnTo>
                  <a:lnTo>
                    <a:pt x="357" y="308"/>
                  </a:lnTo>
                  <a:lnTo>
                    <a:pt x="356" y="309"/>
                  </a:lnTo>
                  <a:lnTo>
                    <a:pt x="355" y="310"/>
                  </a:lnTo>
                  <a:lnTo>
                    <a:pt x="354" y="310"/>
                  </a:lnTo>
                  <a:lnTo>
                    <a:pt x="353" y="311"/>
                  </a:lnTo>
                  <a:lnTo>
                    <a:pt x="351" y="312"/>
                  </a:lnTo>
                  <a:lnTo>
                    <a:pt x="350" y="312"/>
                  </a:lnTo>
                  <a:lnTo>
                    <a:pt x="350" y="313"/>
                  </a:lnTo>
                  <a:lnTo>
                    <a:pt x="349" y="313"/>
                  </a:lnTo>
                  <a:lnTo>
                    <a:pt x="349" y="314"/>
                  </a:lnTo>
                  <a:lnTo>
                    <a:pt x="348" y="314"/>
                  </a:lnTo>
                  <a:lnTo>
                    <a:pt x="348" y="315"/>
                  </a:lnTo>
                  <a:lnTo>
                    <a:pt x="348" y="316"/>
                  </a:lnTo>
                  <a:lnTo>
                    <a:pt x="347" y="316"/>
                  </a:lnTo>
                  <a:lnTo>
                    <a:pt x="347" y="317"/>
                  </a:lnTo>
                  <a:lnTo>
                    <a:pt x="347" y="318"/>
                  </a:lnTo>
                  <a:lnTo>
                    <a:pt x="347" y="318"/>
                  </a:lnTo>
                  <a:lnTo>
                    <a:pt x="348" y="321"/>
                  </a:lnTo>
                  <a:lnTo>
                    <a:pt x="348" y="322"/>
                  </a:lnTo>
                  <a:lnTo>
                    <a:pt x="349" y="323"/>
                  </a:lnTo>
                  <a:lnTo>
                    <a:pt x="349" y="323"/>
                  </a:lnTo>
                  <a:lnTo>
                    <a:pt x="349" y="324"/>
                  </a:lnTo>
                  <a:lnTo>
                    <a:pt x="348" y="325"/>
                  </a:lnTo>
                  <a:lnTo>
                    <a:pt x="348" y="325"/>
                  </a:lnTo>
                  <a:lnTo>
                    <a:pt x="348" y="326"/>
                  </a:lnTo>
                  <a:lnTo>
                    <a:pt x="347" y="326"/>
                  </a:lnTo>
                  <a:lnTo>
                    <a:pt x="347" y="327"/>
                  </a:lnTo>
                  <a:lnTo>
                    <a:pt x="346" y="327"/>
                  </a:lnTo>
                  <a:lnTo>
                    <a:pt x="346" y="328"/>
                  </a:lnTo>
                  <a:lnTo>
                    <a:pt x="345" y="328"/>
                  </a:lnTo>
                  <a:lnTo>
                    <a:pt x="344" y="329"/>
                  </a:lnTo>
                  <a:lnTo>
                    <a:pt x="343" y="329"/>
                  </a:lnTo>
                  <a:lnTo>
                    <a:pt x="342" y="329"/>
                  </a:lnTo>
                  <a:lnTo>
                    <a:pt x="342" y="329"/>
                  </a:lnTo>
                  <a:lnTo>
                    <a:pt x="342" y="330"/>
                  </a:lnTo>
                  <a:lnTo>
                    <a:pt x="342" y="330"/>
                  </a:lnTo>
                  <a:lnTo>
                    <a:pt x="342" y="330"/>
                  </a:lnTo>
                  <a:lnTo>
                    <a:pt x="341" y="330"/>
                  </a:lnTo>
                  <a:lnTo>
                    <a:pt x="342" y="331"/>
                  </a:lnTo>
                  <a:lnTo>
                    <a:pt x="342" y="332"/>
                  </a:lnTo>
                  <a:lnTo>
                    <a:pt x="342" y="332"/>
                  </a:lnTo>
                  <a:lnTo>
                    <a:pt x="343" y="333"/>
                  </a:lnTo>
                  <a:lnTo>
                    <a:pt x="344" y="335"/>
                  </a:lnTo>
                  <a:lnTo>
                    <a:pt x="346" y="335"/>
                  </a:lnTo>
                  <a:lnTo>
                    <a:pt x="348" y="338"/>
                  </a:lnTo>
                  <a:lnTo>
                    <a:pt x="349" y="339"/>
                  </a:lnTo>
                  <a:lnTo>
                    <a:pt x="350" y="340"/>
                  </a:lnTo>
                  <a:lnTo>
                    <a:pt x="351" y="340"/>
                  </a:lnTo>
                  <a:lnTo>
                    <a:pt x="351" y="341"/>
                  </a:lnTo>
                  <a:lnTo>
                    <a:pt x="351" y="342"/>
                  </a:lnTo>
                  <a:lnTo>
                    <a:pt x="351" y="342"/>
                  </a:lnTo>
                  <a:lnTo>
                    <a:pt x="351" y="343"/>
                  </a:lnTo>
                  <a:lnTo>
                    <a:pt x="351" y="344"/>
                  </a:lnTo>
                  <a:lnTo>
                    <a:pt x="351" y="344"/>
                  </a:lnTo>
                  <a:lnTo>
                    <a:pt x="351" y="345"/>
                  </a:lnTo>
                  <a:lnTo>
                    <a:pt x="350" y="345"/>
                  </a:lnTo>
                  <a:lnTo>
                    <a:pt x="350" y="346"/>
                  </a:lnTo>
                  <a:lnTo>
                    <a:pt x="349" y="346"/>
                  </a:lnTo>
                  <a:lnTo>
                    <a:pt x="347" y="348"/>
                  </a:lnTo>
                  <a:lnTo>
                    <a:pt x="347" y="349"/>
                  </a:lnTo>
                  <a:lnTo>
                    <a:pt x="346" y="349"/>
                  </a:lnTo>
                  <a:lnTo>
                    <a:pt x="346" y="350"/>
                  </a:lnTo>
                  <a:lnTo>
                    <a:pt x="346" y="350"/>
                  </a:lnTo>
                  <a:lnTo>
                    <a:pt x="345" y="352"/>
                  </a:lnTo>
                  <a:lnTo>
                    <a:pt x="345" y="353"/>
                  </a:lnTo>
                  <a:lnTo>
                    <a:pt x="344" y="354"/>
                  </a:lnTo>
                  <a:lnTo>
                    <a:pt x="343" y="355"/>
                  </a:lnTo>
                  <a:lnTo>
                    <a:pt x="343" y="355"/>
                  </a:lnTo>
                  <a:lnTo>
                    <a:pt x="342" y="356"/>
                  </a:lnTo>
                  <a:lnTo>
                    <a:pt x="342" y="356"/>
                  </a:lnTo>
                  <a:lnTo>
                    <a:pt x="341" y="357"/>
                  </a:lnTo>
                  <a:lnTo>
                    <a:pt x="341" y="357"/>
                  </a:lnTo>
                  <a:lnTo>
                    <a:pt x="340" y="358"/>
                  </a:lnTo>
                  <a:lnTo>
                    <a:pt x="339" y="358"/>
                  </a:lnTo>
                  <a:lnTo>
                    <a:pt x="339" y="358"/>
                  </a:lnTo>
                  <a:lnTo>
                    <a:pt x="337" y="359"/>
                  </a:lnTo>
                  <a:lnTo>
                    <a:pt x="335" y="359"/>
                  </a:lnTo>
                  <a:lnTo>
                    <a:pt x="332" y="359"/>
                  </a:lnTo>
                  <a:lnTo>
                    <a:pt x="328" y="360"/>
                  </a:lnTo>
                  <a:lnTo>
                    <a:pt x="327" y="360"/>
                  </a:lnTo>
                  <a:lnTo>
                    <a:pt x="325" y="360"/>
                  </a:lnTo>
                  <a:lnTo>
                    <a:pt x="324" y="361"/>
                  </a:lnTo>
                  <a:lnTo>
                    <a:pt x="323" y="361"/>
                  </a:lnTo>
                  <a:lnTo>
                    <a:pt x="322" y="362"/>
                  </a:lnTo>
                  <a:lnTo>
                    <a:pt x="321" y="362"/>
                  </a:lnTo>
                  <a:lnTo>
                    <a:pt x="320" y="363"/>
                  </a:lnTo>
                  <a:lnTo>
                    <a:pt x="320" y="364"/>
                  </a:lnTo>
                  <a:lnTo>
                    <a:pt x="319" y="364"/>
                  </a:lnTo>
                  <a:lnTo>
                    <a:pt x="319" y="365"/>
                  </a:lnTo>
                  <a:lnTo>
                    <a:pt x="319" y="366"/>
                  </a:lnTo>
                  <a:lnTo>
                    <a:pt x="319" y="367"/>
                  </a:lnTo>
                  <a:lnTo>
                    <a:pt x="319" y="369"/>
                  </a:lnTo>
                  <a:lnTo>
                    <a:pt x="319" y="369"/>
                  </a:lnTo>
                  <a:lnTo>
                    <a:pt x="319" y="370"/>
                  </a:lnTo>
                  <a:lnTo>
                    <a:pt x="319" y="370"/>
                  </a:lnTo>
                  <a:lnTo>
                    <a:pt x="318" y="371"/>
                  </a:lnTo>
                  <a:lnTo>
                    <a:pt x="318" y="371"/>
                  </a:lnTo>
                  <a:lnTo>
                    <a:pt x="318" y="372"/>
                  </a:lnTo>
                  <a:lnTo>
                    <a:pt x="317" y="372"/>
                  </a:lnTo>
                  <a:lnTo>
                    <a:pt x="314" y="374"/>
                  </a:lnTo>
                  <a:lnTo>
                    <a:pt x="314" y="374"/>
                  </a:lnTo>
                  <a:lnTo>
                    <a:pt x="313" y="374"/>
                  </a:lnTo>
                  <a:lnTo>
                    <a:pt x="312" y="375"/>
                  </a:lnTo>
                  <a:lnTo>
                    <a:pt x="310" y="375"/>
                  </a:lnTo>
                  <a:lnTo>
                    <a:pt x="306" y="376"/>
                  </a:lnTo>
                  <a:lnTo>
                    <a:pt x="304" y="376"/>
                  </a:lnTo>
                  <a:lnTo>
                    <a:pt x="303" y="376"/>
                  </a:lnTo>
                  <a:lnTo>
                    <a:pt x="302" y="376"/>
                  </a:lnTo>
                  <a:lnTo>
                    <a:pt x="300" y="376"/>
                  </a:lnTo>
                  <a:lnTo>
                    <a:pt x="298" y="376"/>
                  </a:lnTo>
                  <a:lnTo>
                    <a:pt x="297" y="375"/>
                  </a:lnTo>
                  <a:lnTo>
                    <a:pt x="294" y="375"/>
                  </a:lnTo>
                  <a:lnTo>
                    <a:pt x="293" y="375"/>
                  </a:lnTo>
                  <a:lnTo>
                    <a:pt x="291" y="374"/>
                  </a:lnTo>
                  <a:lnTo>
                    <a:pt x="290" y="374"/>
                  </a:lnTo>
                  <a:lnTo>
                    <a:pt x="289" y="374"/>
                  </a:lnTo>
                  <a:lnTo>
                    <a:pt x="288" y="374"/>
                  </a:lnTo>
                  <a:lnTo>
                    <a:pt x="288" y="375"/>
                  </a:lnTo>
                  <a:lnTo>
                    <a:pt x="287" y="375"/>
                  </a:lnTo>
                  <a:lnTo>
                    <a:pt x="286" y="376"/>
                  </a:lnTo>
                  <a:lnTo>
                    <a:pt x="285" y="377"/>
                  </a:lnTo>
                  <a:lnTo>
                    <a:pt x="283" y="378"/>
                  </a:lnTo>
                  <a:lnTo>
                    <a:pt x="282" y="378"/>
                  </a:lnTo>
                  <a:lnTo>
                    <a:pt x="281" y="379"/>
                  </a:lnTo>
                  <a:lnTo>
                    <a:pt x="280" y="379"/>
                  </a:lnTo>
                  <a:lnTo>
                    <a:pt x="278" y="379"/>
                  </a:lnTo>
                  <a:lnTo>
                    <a:pt x="277" y="379"/>
                  </a:lnTo>
                  <a:lnTo>
                    <a:pt x="277" y="379"/>
                  </a:lnTo>
                  <a:lnTo>
                    <a:pt x="276" y="379"/>
                  </a:lnTo>
                  <a:lnTo>
                    <a:pt x="275" y="378"/>
                  </a:lnTo>
                  <a:lnTo>
                    <a:pt x="274" y="378"/>
                  </a:lnTo>
                  <a:lnTo>
                    <a:pt x="273" y="377"/>
                  </a:lnTo>
                  <a:lnTo>
                    <a:pt x="271" y="375"/>
                  </a:lnTo>
                  <a:lnTo>
                    <a:pt x="270" y="375"/>
                  </a:lnTo>
                  <a:lnTo>
                    <a:pt x="269" y="374"/>
                  </a:lnTo>
                  <a:lnTo>
                    <a:pt x="269" y="374"/>
                  </a:lnTo>
                  <a:lnTo>
                    <a:pt x="268" y="372"/>
                  </a:lnTo>
                  <a:lnTo>
                    <a:pt x="267" y="371"/>
                  </a:lnTo>
                  <a:lnTo>
                    <a:pt x="267" y="371"/>
                  </a:lnTo>
                  <a:lnTo>
                    <a:pt x="266" y="370"/>
                  </a:lnTo>
                  <a:lnTo>
                    <a:pt x="266" y="370"/>
                  </a:lnTo>
                  <a:lnTo>
                    <a:pt x="265" y="370"/>
                  </a:lnTo>
                  <a:lnTo>
                    <a:pt x="265" y="370"/>
                  </a:lnTo>
                  <a:lnTo>
                    <a:pt x="264" y="370"/>
                  </a:lnTo>
                  <a:lnTo>
                    <a:pt x="264" y="370"/>
                  </a:lnTo>
                  <a:lnTo>
                    <a:pt x="262" y="370"/>
                  </a:lnTo>
                  <a:lnTo>
                    <a:pt x="262" y="371"/>
                  </a:lnTo>
                  <a:lnTo>
                    <a:pt x="260" y="371"/>
                  </a:lnTo>
                  <a:lnTo>
                    <a:pt x="259" y="372"/>
                  </a:lnTo>
                  <a:lnTo>
                    <a:pt x="259" y="372"/>
                  </a:lnTo>
                  <a:lnTo>
                    <a:pt x="258" y="372"/>
                  </a:lnTo>
                  <a:lnTo>
                    <a:pt x="258" y="373"/>
                  </a:lnTo>
                  <a:lnTo>
                    <a:pt x="256" y="375"/>
                  </a:lnTo>
                  <a:lnTo>
                    <a:pt x="255" y="376"/>
                  </a:lnTo>
                  <a:lnTo>
                    <a:pt x="254" y="376"/>
                  </a:lnTo>
                  <a:lnTo>
                    <a:pt x="254" y="377"/>
                  </a:lnTo>
                  <a:lnTo>
                    <a:pt x="253" y="377"/>
                  </a:lnTo>
                  <a:lnTo>
                    <a:pt x="252" y="378"/>
                  </a:lnTo>
                  <a:lnTo>
                    <a:pt x="252" y="378"/>
                  </a:lnTo>
                  <a:lnTo>
                    <a:pt x="251" y="378"/>
                  </a:lnTo>
                  <a:lnTo>
                    <a:pt x="251" y="378"/>
                  </a:lnTo>
                  <a:lnTo>
                    <a:pt x="250" y="378"/>
                  </a:lnTo>
                  <a:lnTo>
                    <a:pt x="249" y="378"/>
                  </a:lnTo>
                  <a:lnTo>
                    <a:pt x="247" y="378"/>
                  </a:lnTo>
                  <a:lnTo>
                    <a:pt x="246" y="378"/>
                  </a:lnTo>
                  <a:lnTo>
                    <a:pt x="246" y="378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4" y="379"/>
                  </a:lnTo>
                  <a:lnTo>
                    <a:pt x="244" y="379"/>
                  </a:lnTo>
                  <a:lnTo>
                    <a:pt x="243" y="379"/>
                  </a:lnTo>
                  <a:lnTo>
                    <a:pt x="243" y="380"/>
                  </a:lnTo>
                  <a:lnTo>
                    <a:pt x="242" y="381"/>
                  </a:lnTo>
                  <a:lnTo>
                    <a:pt x="242" y="382"/>
                  </a:lnTo>
                  <a:lnTo>
                    <a:pt x="241" y="385"/>
                  </a:lnTo>
                  <a:lnTo>
                    <a:pt x="240" y="386"/>
                  </a:lnTo>
                  <a:lnTo>
                    <a:pt x="240" y="386"/>
                  </a:lnTo>
                  <a:lnTo>
                    <a:pt x="240" y="387"/>
                  </a:lnTo>
                  <a:lnTo>
                    <a:pt x="239" y="388"/>
                  </a:lnTo>
                  <a:lnTo>
                    <a:pt x="239" y="388"/>
                  </a:lnTo>
                  <a:lnTo>
                    <a:pt x="238" y="388"/>
                  </a:lnTo>
                  <a:lnTo>
                    <a:pt x="237" y="389"/>
                  </a:lnTo>
                  <a:lnTo>
                    <a:pt x="237" y="389"/>
                  </a:lnTo>
                  <a:lnTo>
                    <a:pt x="235" y="389"/>
                  </a:lnTo>
                  <a:lnTo>
                    <a:pt x="233" y="389"/>
                  </a:lnTo>
                  <a:lnTo>
                    <a:pt x="232" y="389"/>
                  </a:lnTo>
                  <a:lnTo>
                    <a:pt x="230" y="389"/>
                  </a:lnTo>
                  <a:lnTo>
                    <a:pt x="228" y="389"/>
                  </a:lnTo>
                  <a:lnTo>
                    <a:pt x="227" y="390"/>
                  </a:lnTo>
                  <a:lnTo>
                    <a:pt x="224" y="391"/>
                  </a:lnTo>
                  <a:lnTo>
                    <a:pt x="223" y="391"/>
                  </a:lnTo>
                  <a:lnTo>
                    <a:pt x="221" y="392"/>
                  </a:lnTo>
                  <a:lnTo>
                    <a:pt x="220" y="393"/>
                  </a:lnTo>
                  <a:lnTo>
                    <a:pt x="219" y="393"/>
                  </a:lnTo>
                  <a:lnTo>
                    <a:pt x="219" y="394"/>
                  </a:lnTo>
                  <a:lnTo>
                    <a:pt x="218" y="395"/>
                  </a:lnTo>
                  <a:lnTo>
                    <a:pt x="217" y="396"/>
                  </a:lnTo>
                  <a:lnTo>
                    <a:pt x="216" y="398"/>
                  </a:lnTo>
                  <a:lnTo>
                    <a:pt x="214" y="399"/>
                  </a:lnTo>
                  <a:lnTo>
                    <a:pt x="213" y="400"/>
                  </a:lnTo>
                  <a:lnTo>
                    <a:pt x="212" y="401"/>
                  </a:lnTo>
                  <a:lnTo>
                    <a:pt x="211" y="402"/>
                  </a:lnTo>
                  <a:lnTo>
                    <a:pt x="210" y="403"/>
                  </a:lnTo>
                  <a:lnTo>
                    <a:pt x="208" y="404"/>
                  </a:lnTo>
                  <a:lnTo>
                    <a:pt x="207" y="405"/>
                  </a:lnTo>
                  <a:lnTo>
                    <a:pt x="206" y="405"/>
                  </a:lnTo>
                  <a:lnTo>
                    <a:pt x="205" y="406"/>
                  </a:lnTo>
                  <a:lnTo>
                    <a:pt x="205" y="406"/>
                  </a:lnTo>
                  <a:lnTo>
                    <a:pt x="203" y="408"/>
                  </a:lnTo>
                  <a:lnTo>
                    <a:pt x="201" y="410"/>
                  </a:lnTo>
                  <a:lnTo>
                    <a:pt x="201" y="410"/>
                  </a:lnTo>
                  <a:lnTo>
                    <a:pt x="200" y="412"/>
                  </a:lnTo>
                  <a:lnTo>
                    <a:pt x="198" y="414"/>
                  </a:lnTo>
                  <a:lnTo>
                    <a:pt x="198" y="414"/>
                  </a:lnTo>
                  <a:lnTo>
                    <a:pt x="197" y="415"/>
                  </a:lnTo>
                  <a:lnTo>
                    <a:pt x="197" y="415"/>
                  </a:lnTo>
                  <a:lnTo>
                    <a:pt x="196" y="415"/>
                  </a:lnTo>
                  <a:lnTo>
                    <a:pt x="196" y="415"/>
                  </a:lnTo>
                  <a:lnTo>
                    <a:pt x="195" y="415"/>
                  </a:lnTo>
                  <a:lnTo>
                    <a:pt x="195" y="415"/>
                  </a:lnTo>
                  <a:lnTo>
                    <a:pt x="194" y="415"/>
                  </a:lnTo>
                  <a:lnTo>
                    <a:pt x="193" y="415"/>
                  </a:lnTo>
                  <a:lnTo>
                    <a:pt x="191" y="413"/>
                  </a:lnTo>
                  <a:lnTo>
                    <a:pt x="190" y="413"/>
                  </a:lnTo>
                  <a:lnTo>
                    <a:pt x="189" y="412"/>
                  </a:lnTo>
                  <a:lnTo>
                    <a:pt x="188" y="412"/>
                  </a:lnTo>
                  <a:lnTo>
                    <a:pt x="187" y="411"/>
                  </a:lnTo>
                  <a:lnTo>
                    <a:pt x="186" y="411"/>
                  </a:lnTo>
                  <a:lnTo>
                    <a:pt x="185" y="411"/>
                  </a:lnTo>
                  <a:lnTo>
                    <a:pt x="184" y="411"/>
                  </a:lnTo>
                  <a:lnTo>
                    <a:pt x="180" y="412"/>
                  </a:lnTo>
                  <a:lnTo>
                    <a:pt x="179" y="412"/>
                  </a:lnTo>
                  <a:lnTo>
                    <a:pt x="178" y="412"/>
                  </a:lnTo>
                  <a:lnTo>
                    <a:pt x="178" y="412"/>
                  </a:lnTo>
                  <a:lnTo>
                    <a:pt x="177" y="412"/>
                  </a:lnTo>
                  <a:lnTo>
                    <a:pt x="177" y="413"/>
                  </a:lnTo>
                  <a:lnTo>
                    <a:pt x="177" y="413"/>
                  </a:lnTo>
                  <a:lnTo>
                    <a:pt x="176" y="413"/>
                  </a:lnTo>
                  <a:lnTo>
                    <a:pt x="174" y="416"/>
                  </a:lnTo>
                  <a:lnTo>
                    <a:pt x="173" y="418"/>
                  </a:lnTo>
                  <a:lnTo>
                    <a:pt x="173" y="418"/>
                  </a:lnTo>
                  <a:lnTo>
                    <a:pt x="172" y="419"/>
                  </a:lnTo>
                  <a:lnTo>
                    <a:pt x="171" y="420"/>
                  </a:lnTo>
                  <a:lnTo>
                    <a:pt x="171" y="420"/>
                  </a:lnTo>
                  <a:lnTo>
                    <a:pt x="170" y="421"/>
                  </a:lnTo>
                  <a:lnTo>
                    <a:pt x="170" y="421"/>
                  </a:lnTo>
                  <a:lnTo>
                    <a:pt x="169" y="421"/>
                  </a:lnTo>
                  <a:lnTo>
                    <a:pt x="169" y="421"/>
                  </a:lnTo>
                  <a:lnTo>
                    <a:pt x="168" y="421"/>
                  </a:lnTo>
                  <a:lnTo>
                    <a:pt x="167" y="421"/>
                  </a:lnTo>
                  <a:lnTo>
                    <a:pt x="166" y="420"/>
                  </a:lnTo>
                  <a:lnTo>
                    <a:pt x="165" y="420"/>
                  </a:lnTo>
                  <a:lnTo>
                    <a:pt x="164" y="420"/>
                  </a:lnTo>
                  <a:lnTo>
                    <a:pt x="164" y="419"/>
                  </a:lnTo>
                  <a:lnTo>
                    <a:pt x="162" y="418"/>
                  </a:lnTo>
                  <a:lnTo>
                    <a:pt x="161" y="417"/>
                  </a:lnTo>
                  <a:lnTo>
                    <a:pt x="160" y="417"/>
                  </a:lnTo>
                  <a:lnTo>
                    <a:pt x="159" y="417"/>
                  </a:lnTo>
                  <a:lnTo>
                    <a:pt x="159" y="417"/>
                  </a:lnTo>
                  <a:lnTo>
                    <a:pt x="158" y="417"/>
                  </a:lnTo>
                  <a:lnTo>
                    <a:pt x="157" y="417"/>
                  </a:lnTo>
                  <a:lnTo>
                    <a:pt x="156" y="417"/>
                  </a:lnTo>
                  <a:lnTo>
                    <a:pt x="155" y="417"/>
                  </a:lnTo>
                  <a:lnTo>
                    <a:pt x="154" y="417"/>
                  </a:lnTo>
                  <a:lnTo>
                    <a:pt x="153" y="418"/>
                  </a:lnTo>
                  <a:lnTo>
                    <a:pt x="153" y="418"/>
                  </a:lnTo>
                  <a:lnTo>
                    <a:pt x="152" y="418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8"/>
                  </a:lnTo>
                  <a:lnTo>
                    <a:pt x="151" y="417"/>
                  </a:lnTo>
                  <a:lnTo>
                    <a:pt x="150" y="415"/>
                  </a:lnTo>
                  <a:lnTo>
                    <a:pt x="150" y="414"/>
                  </a:lnTo>
                  <a:lnTo>
                    <a:pt x="149" y="414"/>
                  </a:lnTo>
                  <a:lnTo>
                    <a:pt x="149" y="413"/>
                  </a:lnTo>
                  <a:lnTo>
                    <a:pt x="148" y="412"/>
                  </a:lnTo>
                  <a:lnTo>
                    <a:pt x="148" y="412"/>
                  </a:lnTo>
                  <a:lnTo>
                    <a:pt x="147" y="411"/>
                  </a:lnTo>
                  <a:lnTo>
                    <a:pt x="145" y="410"/>
                  </a:lnTo>
                  <a:lnTo>
                    <a:pt x="144" y="409"/>
                  </a:lnTo>
                  <a:lnTo>
                    <a:pt x="143" y="408"/>
                  </a:lnTo>
                  <a:lnTo>
                    <a:pt x="141" y="408"/>
                  </a:lnTo>
                  <a:lnTo>
                    <a:pt x="139" y="407"/>
                  </a:lnTo>
                  <a:lnTo>
                    <a:pt x="138" y="406"/>
                  </a:lnTo>
                  <a:lnTo>
                    <a:pt x="137" y="406"/>
                  </a:lnTo>
                  <a:lnTo>
                    <a:pt x="136" y="405"/>
                  </a:lnTo>
                  <a:lnTo>
                    <a:pt x="135" y="404"/>
                  </a:lnTo>
                  <a:lnTo>
                    <a:pt x="134" y="403"/>
                  </a:lnTo>
                  <a:lnTo>
                    <a:pt x="134" y="403"/>
                  </a:lnTo>
                  <a:lnTo>
                    <a:pt x="133" y="400"/>
                  </a:lnTo>
                  <a:lnTo>
                    <a:pt x="132" y="400"/>
                  </a:lnTo>
                  <a:lnTo>
                    <a:pt x="132" y="399"/>
                  </a:lnTo>
                  <a:lnTo>
                    <a:pt x="131" y="398"/>
                  </a:lnTo>
                  <a:lnTo>
                    <a:pt x="131" y="398"/>
                  </a:lnTo>
                  <a:lnTo>
                    <a:pt x="130" y="398"/>
                  </a:lnTo>
                  <a:lnTo>
                    <a:pt x="129" y="398"/>
                  </a:lnTo>
                  <a:lnTo>
                    <a:pt x="129" y="398"/>
                  </a:lnTo>
                  <a:lnTo>
                    <a:pt x="128" y="398"/>
                  </a:lnTo>
                  <a:lnTo>
                    <a:pt x="126" y="397"/>
                  </a:lnTo>
                  <a:lnTo>
                    <a:pt x="125" y="397"/>
                  </a:lnTo>
                  <a:lnTo>
                    <a:pt x="125" y="397"/>
                  </a:lnTo>
                  <a:lnTo>
                    <a:pt x="125" y="397"/>
                  </a:lnTo>
                  <a:lnTo>
                    <a:pt x="124" y="397"/>
                  </a:lnTo>
                  <a:lnTo>
                    <a:pt x="124" y="396"/>
                  </a:lnTo>
                  <a:lnTo>
                    <a:pt x="124" y="396"/>
                  </a:lnTo>
                  <a:lnTo>
                    <a:pt x="124" y="395"/>
                  </a:lnTo>
                  <a:lnTo>
                    <a:pt x="124" y="395"/>
                  </a:lnTo>
                  <a:lnTo>
                    <a:pt x="124" y="394"/>
                  </a:lnTo>
                  <a:lnTo>
                    <a:pt x="124" y="394"/>
                  </a:lnTo>
                  <a:lnTo>
                    <a:pt x="125" y="393"/>
                  </a:lnTo>
                  <a:lnTo>
                    <a:pt x="126" y="392"/>
                  </a:lnTo>
                  <a:lnTo>
                    <a:pt x="127" y="390"/>
                  </a:lnTo>
                  <a:lnTo>
                    <a:pt x="128" y="389"/>
                  </a:lnTo>
                  <a:lnTo>
                    <a:pt x="129" y="388"/>
                  </a:lnTo>
                  <a:lnTo>
                    <a:pt x="130" y="387"/>
                  </a:lnTo>
                  <a:lnTo>
                    <a:pt x="132" y="384"/>
                  </a:lnTo>
                  <a:lnTo>
                    <a:pt x="133" y="384"/>
                  </a:lnTo>
                  <a:lnTo>
                    <a:pt x="133" y="383"/>
                  </a:lnTo>
                  <a:lnTo>
                    <a:pt x="134" y="382"/>
                  </a:lnTo>
                  <a:lnTo>
                    <a:pt x="134" y="381"/>
                  </a:lnTo>
                  <a:lnTo>
                    <a:pt x="135" y="379"/>
                  </a:lnTo>
                  <a:lnTo>
                    <a:pt x="135" y="378"/>
                  </a:lnTo>
                  <a:lnTo>
                    <a:pt x="136" y="377"/>
                  </a:lnTo>
                  <a:lnTo>
                    <a:pt x="138" y="375"/>
                  </a:lnTo>
                  <a:lnTo>
                    <a:pt x="138" y="374"/>
                  </a:lnTo>
                  <a:lnTo>
                    <a:pt x="138" y="373"/>
                  </a:lnTo>
                  <a:lnTo>
                    <a:pt x="138" y="373"/>
                  </a:lnTo>
                  <a:lnTo>
                    <a:pt x="139" y="372"/>
                  </a:lnTo>
                  <a:lnTo>
                    <a:pt x="139" y="370"/>
                  </a:lnTo>
                  <a:lnTo>
                    <a:pt x="139" y="369"/>
                  </a:lnTo>
                  <a:lnTo>
                    <a:pt x="140" y="368"/>
                  </a:lnTo>
                  <a:lnTo>
                    <a:pt x="140" y="367"/>
                  </a:lnTo>
                  <a:lnTo>
                    <a:pt x="141" y="365"/>
                  </a:lnTo>
                  <a:lnTo>
                    <a:pt x="142" y="364"/>
                  </a:lnTo>
                  <a:lnTo>
                    <a:pt x="143" y="363"/>
                  </a:lnTo>
                  <a:lnTo>
                    <a:pt x="143" y="362"/>
                  </a:lnTo>
                  <a:lnTo>
                    <a:pt x="144" y="362"/>
                  </a:lnTo>
                  <a:lnTo>
                    <a:pt x="144" y="362"/>
                  </a:lnTo>
                  <a:lnTo>
                    <a:pt x="144" y="361"/>
                  </a:lnTo>
                  <a:lnTo>
                    <a:pt x="145" y="361"/>
                  </a:lnTo>
                  <a:lnTo>
                    <a:pt x="148" y="361"/>
                  </a:lnTo>
                  <a:lnTo>
                    <a:pt x="150" y="360"/>
                  </a:lnTo>
                  <a:lnTo>
                    <a:pt x="151" y="360"/>
                  </a:lnTo>
                  <a:lnTo>
                    <a:pt x="152" y="359"/>
                  </a:lnTo>
                  <a:lnTo>
                    <a:pt x="152" y="359"/>
                  </a:lnTo>
                  <a:lnTo>
                    <a:pt x="153" y="359"/>
                  </a:lnTo>
                  <a:lnTo>
                    <a:pt x="153" y="358"/>
                  </a:lnTo>
                  <a:lnTo>
                    <a:pt x="153" y="358"/>
                  </a:lnTo>
                  <a:lnTo>
                    <a:pt x="154" y="357"/>
                  </a:lnTo>
                  <a:lnTo>
                    <a:pt x="154" y="356"/>
                  </a:lnTo>
                  <a:lnTo>
                    <a:pt x="154" y="355"/>
                  </a:lnTo>
                  <a:lnTo>
                    <a:pt x="154" y="354"/>
                  </a:lnTo>
                  <a:lnTo>
                    <a:pt x="154" y="354"/>
                  </a:lnTo>
                  <a:lnTo>
                    <a:pt x="154" y="353"/>
                  </a:lnTo>
                  <a:lnTo>
                    <a:pt x="154" y="352"/>
                  </a:lnTo>
                  <a:lnTo>
                    <a:pt x="153" y="351"/>
                  </a:lnTo>
                  <a:lnTo>
                    <a:pt x="151" y="348"/>
                  </a:lnTo>
                  <a:lnTo>
                    <a:pt x="151" y="348"/>
                  </a:lnTo>
                  <a:lnTo>
                    <a:pt x="150" y="347"/>
                  </a:lnTo>
                  <a:lnTo>
                    <a:pt x="149" y="347"/>
                  </a:lnTo>
                  <a:lnTo>
                    <a:pt x="148" y="345"/>
                  </a:lnTo>
                  <a:lnTo>
                    <a:pt x="146" y="345"/>
                  </a:lnTo>
                  <a:lnTo>
                    <a:pt x="146" y="344"/>
                  </a:lnTo>
                  <a:lnTo>
                    <a:pt x="145" y="343"/>
                  </a:lnTo>
                  <a:lnTo>
                    <a:pt x="145" y="343"/>
                  </a:lnTo>
                  <a:lnTo>
                    <a:pt x="144" y="342"/>
                  </a:lnTo>
                  <a:lnTo>
                    <a:pt x="144" y="342"/>
                  </a:lnTo>
                  <a:lnTo>
                    <a:pt x="144" y="341"/>
                  </a:lnTo>
                  <a:lnTo>
                    <a:pt x="144" y="341"/>
                  </a:lnTo>
                  <a:lnTo>
                    <a:pt x="144" y="340"/>
                  </a:lnTo>
                  <a:lnTo>
                    <a:pt x="144" y="339"/>
                  </a:lnTo>
                  <a:lnTo>
                    <a:pt x="145" y="339"/>
                  </a:lnTo>
                  <a:lnTo>
                    <a:pt x="144" y="338"/>
                  </a:lnTo>
                  <a:lnTo>
                    <a:pt x="144" y="338"/>
                  </a:lnTo>
                  <a:lnTo>
                    <a:pt x="144" y="337"/>
                  </a:lnTo>
                  <a:lnTo>
                    <a:pt x="144" y="336"/>
                  </a:lnTo>
                  <a:lnTo>
                    <a:pt x="143" y="336"/>
                  </a:lnTo>
                  <a:lnTo>
                    <a:pt x="143" y="336"/>
                  </a:lnTo>
                  <a:lnTo>
                    <a:pt x="142" y="335"/>
                  </a:lnTo>
                  <a:lnTo>
                    <a:pt x="141" y="335"/>
                  </a:lnTo>
                  <a:lnTo>
                    <a:pt x="140" y="334"/>
                  </a:lnTo>
                  <a:lnTo>
                    <a:pt x="140" y="334"/>
                  </a:lnTo>
                  <a:lnTo>
                    <a:pt x="139" y="334"/>
                  </a:lnTo>
                  <a:lnTo>
                    <a:pt x="139" y="334"/>
                  </a:lnTo>
                  <a:lnTo>
                    <a:pt x="138" y="334"/>
                  </a:lnTo>
                  <a:lnTo>
                    <a:pt x="138" y="334"/>
                  </a:lnTo>
                  <a:lnTo>
                    <a:pt x="137" y="334"/>
                  </a:lnTo>
                  <a:lnTo>
                    <a:pt x="137" y="334"/>
                  </a:lnTo>
                  <a:lnTo>
                    <a:pt x="135" y="335"/>
                  </a:lnTo>
                  <a:lnTo>
                    <a:pt x="135" y="335"/>
                  </a:lnTo>
                  <a:lnTo>
                    <a:pt x="134" y="335"/>
                  </a:lnTo>
                  <a:lnTo>
                    <a:pt x="132" y="336"/>
                  </a:lnTo>
                  <a:lnTo>
                    <a:pt x="130" y="336"/>
                  </a:lnTo>
                  <a:lnTo>
                    <a:pt x="129" y="336"/>
                  </a:lnTo>
                  <a:lnTo>
                    <a:pt x="126" y="337"/>
                  </a:lnTo>
                  <a:lnTo>
                    <a:pt x="125" y="338"/>
                  </a:lnTo>
                  <a:lnTo>
                    <a:pt x="124" y="338"/>
                  </a:lnTo>
                  <a:lnTo>
                    <a:pt x="123" y="338"/>
                  </a:lnTo>
                  <a:lnTo>
                    <a:pt x="121" y="338"/>
                  </a:lnTo>
                  <a:lnTo>
                    <a:pt x="119" y="338"/>
                  </a:lnTo>
                  <a:lnTo>
                    <a:pt x="117" y="338"/>
                  </a:lnTo>
                  <a:lnTo>
                    <a:pt x="115" y="338"/>
                  </a:lnTo>
                  <a:lnTo>
                    <a:pt x="114" y="338"/>
                  </a:lnTo>
                  <a:lnTo>
                    <a:pt x="113" y="338"/>
                  </a:lnTo>
                  <a:lnTo>
                    <a:pt x="110" y="337"/>
                  </a:lnTo>
                  <a:lnTo>
                    <a:pt x="109" y="337"/>
                  </a:lnTo>
                  <a:lnTo>
                    <a:pt x="108" y="336"/>
                  </a:lnTo>
                  <a:lnTo>
                    <a:pt x="108" y="336"/>
                  </a:lnTo>
                  <a:lnTo>
                    <a:pt x="107" y="336"/>
                  </a:lnTo>
                  <a:lnTo>
                    <a:pt x="106" y="337"/>
                  </a:lnTo>
                  <a:lnTo>
                    <a:pt x="105" y="337"/>
                  </a:lnTo>
                  <a:lnTo>
                    <a:pt x="103" y="337"/>
                  </a:lnTo>
                  <a:lnTo>
                    <a:pt x="103" y="338"/>
                  </a:lnTo>
                  <a:lnTo>
                    <a:pt x="103" y="338"/>
                  </a:lnTo>
                  <a:lnTo>
                    <a:pt x="102" y="338"/>
                  </a:lnTo>
                  <a:lnTo>
                    <a:pt x="102" y="338"/>
                  </a:lnTo>
                  <a:lnTo>
                    <a:pt x="101" y="338"/>
                  </a:lnTo>
                  <a:lnTo>
                    <a:pt x="101" y="337"/>
                  </a:lnTo>
                  <a:lnTo>
                    <a:pt x="98" y="336"/>
                  </a:lnTo>
                  <a:lnTo>
                    <a:pt x="94" y="333"/>
                  </a:lnTo>
                  <a:lnTo>
                    <a:pt x="92" y="332"/>
                  </a:lnTo>
                  <a:lnTo>
                    <a:pt x="90" y="331"/>
                  </a:lnTo>
                  <a:lnTo>
                    <a:pt x="90" y="330"/>
                  </a:lnTo>
                  <a:lnTo>
                    <a:pt x="87" y="328"/>
                  </a:lnTo>
                  <a:lnTo>
                    <a:pt x="84" y="326"/>
                  </a:lnTo>
                  <a:lnTo>
                    <a:pt x="83" y="325"/>
                  </a:lnTo>
                  <a:lnTo>
                    <a:pt x="81" y="323"/>
                  </a:lnTo>
                  <a:lnTo>
                    <a:pt x="81" y="323"/>
                  </a:lnTo>
                  <a:lnTo>
                    <a:pt x="80" y="322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8" y="319"/>
                  </a:lnTo>
                  <a:lnTo>
                    <a:pt x="78" y="317"/>
                  </a:lnTo>
                  <a:lnTo>
                    <a:pt x="78" y="316"/>
                  </a:lnTo>
                  <a:lnTo>
                    <a:pt x="78" y="315"/>
                  </a:lnTo>
                  <a:lnTo>
                    <a:pt x="78" y="313"/>
                  </a:lnTo>
                  <a:lnTo>
                    <a:pt x="78" y="312"/>
                  </a:lnTo>
                  <a:lnTo>
                    <a:pt x="78" y="309"/>
                  </a:lnTo>
                  <a:lnTo>
                    <a:pt x="79" y="307"/>
                  </a:lnTo>
                  <a:lnTo>
                    <a:pt x="79" y="306"/>
                  </a:lnTo>
                  <a:lnTo>
                    <a:pt x="79" y="305"/>
                  </a:lnTo>
                  <a:lnTo>
                    <a:pt x="78" y="304"/>
                  </a:lnTo>
                  <a:lnTo>
                    <a:pt x="78" y="303"/>
                  </a:lnTo>
                  <a:lnTo>
                    <a:pt x="78" y="301"/>
                  </a:lnTo>
                  <a:lnTo>
                    <a:pt x="78" y="300"/>
                  </a:lnTo>
                  <a:lnTo>
                    <a:pt x="77" y="299"/>
                  </a:lnTo>
                  <a:lnTo>
                    <a:pt x="77" y="298"/>
                  </a:lnTo>
                  <a:lnTo>
                    <a:pt x="76" y="297"/>
                  </a:lnTo>
                  <a:lnTo>
                    <a:pt x="76" y="297"/>
                  </a:lnTo>
                  <a:lnTo>
                    <a:pt x="75" y="296"/>
                  </a:lnTo>
                  <a:lnTo>
                    <a:pt x="75" y="296"/>
                  </a:lnTo>
                  <a:lnTo>
                    <a:pt x="74" y="296"/>
                  </a:lnTo>
                  <a:lnTo>
                    <a:pt x="74" y="295"/>
                  </a:lnTo>
                  <a:lnTo>
                    <a:pt x="73" y="295"/>
                  </a:lnTo>
                  <a:lnTo>
                    <a:pt x="72" y="295"/>
                  </a:lnTo>
                  <a:lnTo>
                    <a:pt x="71" y="295"/>
                  </a:lnTo>
                  <a:lnTo>
                    <a:pt x="70" y="295"/>
                  </a:lnTo>
                  <a:lnTo>
                    <a:pt x="69" y="295"/>
                  </a:lnTo>
                  <a:lnTo>
                    <a:pt x="66" y="295"/>
                  </a:lnTo>
                  <a:lnTo>
                    <a:pt x="63" y="296"/>
                  </a:lnTo>
                  <a:lnTo>
                    <a:pt x="62" y="296"/>
                  </a:lnTo>
                  <a:lnTo>
                    <a:pt x="61" y="296"/>
                  </a:lnTo>
                  <a:lnTo>
                    <a:pt x="58" y="296"/>
                  </a:lnTo>
                  <a:lnTo>
                    <a:pt x="57" y="297"/>
                  </a:lnTo>
                  <a:lnTo>
                    <a:pt x="53" y="297"/>
                  </a:lnTo>
                  <a:lnTo>
                    <a:pt x="53" y="297"/>
                  </a:lnTo>
                  <a:lnTo>
                    <a:pt x="52" y="297"/>
                  </a:lnTo>
                  <a:lnTo>
                    <a:pt x="51" y="297"/>
                  </a:lnTo>
                  <a:lnTo>
                    <a:pt x="51" y="297"/>
                  </a:lnTo>
                  <a:lnTo>
                    <a:pt x="51" y="296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8" y="294"/>
                  </a:lnTo>
                  <a:lnTo>
                    <a:pt x="47" y="293"/>
                  </a:lnTo>
                  <a:lnTo>
                    <a:pt x="46" y="293"/>
                  </a:lnTo>
                  <a:lnTo>
                    <a:pt x="43" y="292"/>
                  </a:lnTo>
                  <a:lnTo>
                    <a:pt x="40" y="291"/>
                  </a:lnTo>
                  <a:lnTo>
                    <a:pt x="35" y="289"/>
                  </a:lnTo>
                  <a:lnTo>
                    <a:pt x="34" y="289"/>
                  </a:lnTo>
                  <a:lnTo>
                    <a:pt x="33" y="289"/>
                  </a:lnTo>
                  <a:lnTo>
                    <a:pt x="33" y="289"/>
                  </a:lnTo>
                  <a:lnTo>
                    <a:pt x="32" y="289"/>
                  </a:lnTo>
                  <a:lnTo>
                    <a:pt x="32" y="289"/>
                  </a:lnTo>
                  <a:lnTo>
                    <a:pt x="31" y="290"/>
                  </a:lnTo>
                  <a:lnTo>
                    <a:pt x="30" y="290"/>
                  </a:lnTo>
                  <a:lnTo>
                    <a:pt x="27" y="291"/>
                  </a:lnTo>
                  <a:lnTo>
                    <a:pt x="26" y="292"/>
                  </a:lnTo>
                  <a:lnTo>
                    <a:pt x="25" y="292"/>
                  </a:lnTo>
                  <a:lnTo>
                    <a:pt x="24" y="292"/>
                  </a:lnTo>
                  <a:lnTo>
                    <a:pt x="23" y="293"/>
                  </a:lnTo>
                  <a:lnTo>
                    <a:pt x="22" y="293"/>
                  </a:lnTo>
                  <a:lnTo>
                    <a:pt x="21" y="292"/>
                  </a:lnTo>
                  <a:lnTo>
                    <a:pt x="20" y="292"/>
                  </a:lnTo>
                  <a:lnTo>
                    <a:pt x="19" y="292"/>
                  </a:lnTo>
                  <a:lnTo>
                    <a:pt x="18" y="291"/>
                  </a:lnTo>
                  <a:lnTo>
                    <a:pt x="17" y="291"/>
                  </a:lnTo>
                  <a:lnTo>
                    <a:pt x="17" y="291"/>
                  </a:lnTo>
                  <a:lnTo>
                    <a:pt x="17" y="290"/>
                  </a:lnTo>
                  <a:lnTo>
                    <a:pt x="16" y="289"/>
                  </a:lnTo>
                  <a:lnTo>
                    <a:pt x="14" y="287"/>
                  </a:lnTo>
                  <a:lnTo>
                    <a:pt x="13" y="286"/>
                  </a:lnTo>
                  <a:lnTo>
                    <a:pt x="12" y="284"/>
                  </a:lnTo>
                  <a:lnTo>
                    <a:pt x="11" y="284"/>
                  </a:lnTo>
                  <a:lnTo>
                    <a:pt x="10" y="283"/>
                  </a:lnTo>
                  <a:lnTo>
                    <a:pt x="10" y="283"/>
                  </a:lnTo>
                  <a:lnTo>
                    <a:pt x="9" y="283"/>
                  </a:lnTo>
                  <a:lnTo>
                    <a:pt x="8" y="283"/>
                  </a:lnTo>
                  <a:lnTo>
                    <a:pt x="8" y="282"/>
                  </a:lnTo>
                  <a:lnTo>
                    <a:pt x="7" y="282"/>
                  </a:lnTo>
                  <a:lnTo>
                    <a:pt x="4" y="282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2" y="281"/>
                  </a:lnTo>
                  <a:lnTo>
                    <a:pt x="1" y="281"/>
                  </a:lnTo>
                  <a:lnTo>
                    <a:pt x="0" y="281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79"/>
                  </a:lnTo>
                  <a:lnTo>
                    <a:pt x="1" y="279"/>
                  </a:lnTo>
                  <a:lnTo>
                    <a:pt x="2" y="278"/>
                  </a:lnTo>
                  <a:lnTo>
                    <a:pt x="2" y="278"/>
                  </a:lnTo>
                  <a:lnTo>
                    <a:pt x="3" y="278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6"/>
                  </a:lnTo>
                  <a:lnTo>
                    <a:pt x="3" y="275"/>
                  </a:lnTo>
                  <a:lnTo>
                    <a:pt x="3" y="274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Freeform 30">
              <a:extLst>
                <a:ext uri="{FF2B5EF4-FFF2-40B4-BE49-F238E27FC236}">
                  <a16:creationId xmlns:a16="http://schemas.microsoft.com/office/drawing/2014/main" id="{0288C28E-0091-9909-959A-9958519CCE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" y="3418"/>
              <a:ext cx="185" cy="278"/>
            </a:xfrm>
            <a:custGeom>
              <a:avLst/>
              <a:gdLst>
                <a:gd name="T0" fmla="*/ 60 w 185"/>
                <a:gd name="T1" fmla="*/ 275 h 278"/>
                <a:gd name="T2" fmla="*/ 51 w 185"/>
                <a:gd name="T3" fmla="*/ 271 h 278"/>
                <a:gd name="T4" fmla="*/ 42 w 185"/>
                <a:gd name="T5" fmla="*/ 266 h 278"/>
                <a:gd name="T6" fmla="*/ 36 w 185"/>
                <a:gd name="T7" fmla="*/ 266 h 278"/>
                <a:gd name="T8" fmla="*/ 26 w 185"/>
                <a:gd name="T9" fmla="*/ 269 h 278"/>
                <a:gd name="T10" fmla="*/ 17 w 185"/>
                <a:gd name="T11" fmla="*/ 262 h 278"/>
                <a:gd name="T12" fmla="*/ 6 w 185"/>
                <a:gd name="T13" fmla="*/ 249 h 278"/>
                <a:gd name="T14" fmla="*/ 5 w 185"/>
                <a:gd name="T15" fmla="*/ 244 h 278"/>
                <a:gd name="T16" fmla="*/ 9 w 185"/>
                <a:gd name="T17" fmla="*/ 237 h 278"/>
                <a:gd name="T18" fmla="*/ 8 w 185"/>
                <a:gd name="T19" fmla="*/ 232 h 278"/>
                <a:gd name="T20" fmla="*/ 1 w 185"/>
                <a:gd name="T21" fmla="*/ 226 h 278"/>
                <a:gd name="T22" fmla="*/ 0 w 185"/>
                <a:gd name="T23" fmla="*/ 220 h 278"/>
                <a:gd name="T24" fmla="*/ 4 w 185"/>
                <a:gd name="T25" fmla="*/ 205 h 278"/>
                <a:gd name="T26" fmla="*/ 3 w 185"/>
                <a:gd name="T27" fmla="*/ 201 h 278"/>
                <a:gd name="T28" fmla="*/ 8 w 185"/>
                <a:gd name="T29" fmla="*/ 187 h 278"/>
                <a:gd name="T30" fmla="*/ 9 w 185"/>
                <a:gd name="T31" fmla="*/ 176 h 278"/>
                <a:gd name="T32" fmla="*/ 8 w 185"/>
                <a:gd name="T33" fmla="*/ 168 h 278"/>
                <a:gd name="T34" fmla="*/ 5 w 185"/>
                <a:gd name="T35" fmla="*/ 161 h 278"/>
                <a:gd name="T36" fmla="*/ 7 w 185"/>
                <a:gd name="T37" fmla="*/ 158 h 278"/>
                <a:gd name="T38" fmla="*/ 12 w 185"/>
                <a:gd name="T39" fmla="*/ 155 h 278"/>
                <a:gd name="T40" fmla="*/ 11 w 185"/>
                <a:gd name="T41" fmla="*/ 146 h 278"/>
                <a:gd name="T42" fmla="*/ 13 w 185"/>
                <a:gd name="T43" fmla="*/ 138 h 278"/>
                <a:gd name="T44" fmla="*/ 15 w 185"/>
                <a:gd name="T45" fmla="*/ 133 h 278"/>
                <a:gd name="T46" fmla="*/ 24 w 185"/>
                <a:gd name="T47" fmla="*/ 130 h 278"/>
                <a:gd name="T48" fmla="*/ 26 w 185"/>
                <a:gd name="T49" fmla="*/ 128 h 278"/>
                <a:gd name="T50" fmla="*/ 26 w 185"/>
                <a:gd name="T51" fmla="*/ 122 h 278"/>
                <a:gd name="T52" fmla="*/ 30 w 185"/>
                <a:gd name="T53" fmla="*/ 120 h 278"/>
                <a:gd name="T54" fmla="*/ 39 w 185"/>
                <a:gd name="T55" fmla="*/ 122 h 278"/>
                <a:gd name="T56" fmla="*/ 52 w 185"/>
                <a:gd name="T57" fmla="*/ 123 h 278"/>
                <a:gd name="T58" fmla="*/ 64 w 185"/>
                <a:gd name="T59" fmla="*/ 119 h 278"/>
                <a:gd name="T60" fmla="*/ 71 w 185"/>
                <a:gd name="T61" fmla="*/ 121 h 278"/>
                <a:gd name="T62" fmla="*/ 79 w 185"/>
                <a:gd name="T63" fmla="*/ 124 h 278"/>
                <a:gd name="T64" fmla="*/ 81 w 185"/>
                <a:gd name="T65" fmla="*/ 122 h 278"/>
                <a:gd name="T66" fmla="*/ 85 w 185"/>
                <a:gd name="T67" fmla="*/ 117 h 278"/>
                <a:gd name="T68" fmla="*/ 90 w 185"/>
                <a:gd name="T69" fmla="*/ 115 h 278"/>
                <a:gd name="T70" fmla="*/ 99 w 185"/>
                <a:gd name="T71" fmla="*/ 115 h 278"/>
                <a:gd name="T72" fmla="*/ 104 w 185"/>
                <a:gd name="T73" fmla="*/ 110 h 278"/>
                <a:gd name="T74" fmla="*/ 105 w 185"/>
                <a:gd name="T75" fmla="*/ 103 h 278"/>
                <a:gd name="T76" fmla="*/ 102 w 185"/>
                <a:gd name="T77" fmla="*/ 96 h 278"/>
                <a:gd name="T78" fmla="*/ 97 w 185"/>
                <a:gd name="T79" fmla="*/ 92 h 278"/>
                <a:gd name="T80" fmla="*/ 87 w 185"/>
                <a:gd name="T81" fmla="*/ 87 h 278"/>
                <a:gd name="T82" fmla="*/ 85 w 185"/>
                <a:gd name="T83" fmla="*/ 79 h 278"/>
                <a:gd name="T84" fmla="*/ 87 w 185"/>
                <a:gd name="T85" fmla="*/ 72 h 278"/>
                <a:gd name="T86" fmla="*/ 97 w 185"/>
                <a:gd name="T87" fmla="*/ 58 h 278"/>
                <a:gd name="T88" fmla="*/ 100 w 185"/>
                <a:gd name="T89" fmla="*/ 51 h 278"/>
                <a:gd name="T90" fmla="*/ 105 w 185"/>
                <a:gd name="T91" fmla="*/ 48 h 278"/>
                <a:gd name="T92" fmla="*/ 109 w 185"/>
                <a:gd name="T93" fmla="*/ 50 h 278"/>
                <a:gd name="T94" fmla="*/ 115 w 185"/>
                <a:gd name="T95" fmla="*/ 48 h 278"/>
                <a:gd name="T96" fmla="*/ 129 w 185"/>
                <a:gd name="T97" fmla="*/ 43 h 278"/>
                <a:gd name="T98" fmla="*/ 140 w 185"/>
                <a:gd name="T99" fmla="*/ 39 h 278"/>
                <a:gd name="T100" fmla="*/ 146 w 185"/>
                <a:gd name="T101" fmla="*/ 32 h 278"/>
                <a:gd name="T102" fmla="*/ 154 w 185"/>
                <a:gd name="T103" fmla="*/ 31 h 278"/>
                <a:gd name="T104" fmla="*/ 159 w 185"/>
                <a:gd name="T105" fmla="*/ 30 h 278"/>
                <a:gd name="T106" fmla="*/ 160 w 185"/>
                <a:gd name="T107" fmla="*/ 26 h 278"/>
                <a:gd name="T108" fmla="*/ 158 w 185"/>
                <a:gd name="T109" fmla="*/ 19 h 278"/>
                <a:gd name="T110" fmla="*/ 159 w 185"/>
                <a:gd name="T111" fmla="*/ 15 h 278"/>
                <a:gd name="T112" fmla="*/ 164 w 185"/>
                <a:gd name="T113" fmla="*/ 10 h 278"/>
                <a:gd name="T114" fmla="*/ 172 w 185"/>
                <a:gd name="T115" fmla="*/ 8 h 278"/>
                <a:gd name="T116" fmla="*/ 179 w 185"/>
                <a:gd name="T117" fmla="*/ 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5" h="278">
                  <a:moveTo>
                    <a:pt x="61" y="278"/>
                  </a:moveTo>
                  <a:lnTo>
                    <a:pt x="61" y="278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9" y="275"/>
                  </a:lnTo>
                  <a:lnTo>
                    <a:pt x="57" y="274"/>
                  </a:lnTo>
                  <a:lnTo>
                    <a:pt x="56" y="274"/>
                  </a:lnTo>
                  <a:lnTo>
                    <a:pt x="52" y="272"/>
                  </a:lnTo>
                  <a:lnTo>
                    <a:pt x="51" y="272"/>
                  </a:lnTo>
                  <a:lnTo>
                    <a:pt x="51" y="271"/>
                  </a:lnTo>
                  <a:lnTo>
                    <a:pt x="49" y="271"/>
                  </a:lnTo>
                  <a:lnTo>
                    <a:pt x="48" y="270"/>
                  </a:lnTo>
                  <a:lnTo>
                    <a:pt x="46" y="269"/>
                  </a:lnTo>
                  <a:lnTo>
                    <a:pt x="44" y="267"/>
                  </a:lnTo>
                  <a:lnTo>
                    <a:pt x="44" y="266"/>
                  </a:lnTo>
                  <a:lnTo>
                    <a:pt x="43" y="266"/>
                  </a:lnTo>
                  <a:lnTo>
                    <a:pt x="42" y="266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30" y="269"/>
                  </a:lnTo>
                  <a:lnTo>
                    <a:pt x="29" y="269"/>
                  </a:lnTo>
                  <a:lnTo>
                    <a:pt x="28" y="270"/>
                  </a:lnTo>
                  <a:lnTo>
                    <a:pt x="27" y="270"/>
                  </a:lnTo>
                  <a:lnTo>
                    <a:pt x="26" y="269"/>
                  </a:lnTo>
                  <a:lnTo>
                    <a:pt x="25" y="269"/>
                  </a:lnTo>
                  <a:lnTo>
                    <a:pt x="25" y="269"/>
                  </a:lnTo>
                  <a:lnTo>
                    <a:pt x="24" y="269"/>
                  </a:lnTo>
                  <a:lnTo>
                    <a:pt x="23" y="268"/>
                  </a:lnTo>
                  <a:lnTo>
                    <a:pt x="21" y="266"/>
                  </a:lnTo>
                  <a:lnTo>
                    <a:pt x="18" y="264"/>
                  </a:lnTo>
                  <a:lnTo>
                    <a:pt x="17" y="262"/>
                  </a:lnTo>
                  <a:lnTo>
                    <a:pt x="15" y="260"/>
                  </a:lnTo>
                  <a:lnTo>
                    <a:pt x="15" y="259"/>
                  </a:lnTo>
                  <a:lnTo>
                    <a:pt x="11" y="256"/>
                  </a:lnTo>
                  <a:lnTo>
                    <a:pt x="11" y="255"/>
                  </a:lnTo>
                  <a:lnTo>
                    <a:pt x="10" y="255"/>
                  </a:lnTo>
                  <a:lnTo>
                    <a:pt x="8" y="252"/>
                  </a:lnTo>
                  <a:lnTo>
                    <a:pt x="6" y="249"/>
                  </a:lnTo>
                  <a:lnTo>
                    <a:pt x="5" y="248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5" y="243"/>
                  </a:lnTo>
                  <a:lnTo>
                    <a:pt x="5" y="242"/>
                  </a:lnTo>
                  <a:lnTo>
                    <a:pt x="6" y="241"/>
                  </a:lnTo>
                  <a:lnTo>
                    <a:pt x="7" y="240"/>
                  </a:lnTo>
                  <a:lnTo>
                    <a:pt x="8" y="239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4"/>
                  </a:lnTo>
                  <a:lnTo>
                    <a:pt x="8" y="233"/>
                  </a:lnTo>
                  <a:lnTo>
                    <a:pt x="8" y="232"/>
                  </a:lnTo>
                  <a:lnTo>
                    <a:pt x="7" y="232"/>
                  </a:lnTo>
                  <a:lnTo>
                    <a:pt x="7" y="231"/>
                  </a:lnTo>
                  <a:lnTo>
                    <a:pt x="6" y="230"/>
                  </a:lnTo>
                  <a:lnTo>
                    <a:pt x="4" y="228"/>
                  </a:lnTo>
                  <a:lnTo>
                    <a:pt x="3" y="228"/>
                  </a:lnTo>
                  <a:lnTo>
                    <a:pt x="2" y="227"/>
                  </a:lnTo>
                  <a:lnTo>
                    <a:pt x="1" y="226"/>
                  </a:lnTo>
                  <a:lnTo>
                    <a:pt x="0" y="225"/>
                  </a:lnTo>
                  <a:lnTo>
                    <a:pt x="0" y="224"/>
                  </a:lnTo>
                  <a:lnTo>
                    <a:pt x="0" y="223"/>
                  </a:lnTo>
                  <a:lnTo>
                    <a:pt x="0" y="222"/>
                  </a:lnTo>
                  <a:lnTo>
                    <a:pt x="0" y="221"/>
                  </a:lnTo>
                  <a:lnTo>
                    <a:pt x="0" y="221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1" y="215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09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1"/>
                  </a:lnTo>
                  <a:lnTo>
                    <a:pt x="4" y="200"/>
                  </a:lnTo>
                  <a:lnTo>
                    <a:pt x="5" y="198"/>
                  </a:lnTo>
                  <a:lnTo>
                    <a:pt x="6" y="195"/>
                  </a:lnTo>
                  <a:lnTo>
                    <a:pt x="7" y="192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7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9" y="180"/>
                  </a:lnTo>
                  <a:lnTo>
                    <a:pt x="9" y="179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9" y="172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8" y="169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7" y="166"/>
                  </a:lnTo>
                  <a:lnTo>
                    <a:pt x="5" y="163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9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1" y="156"/>
                  </a:lnTo>
                  <a:lnTo>
                    <a:pt x="11" y="155"/>
                  </a:lnTo>
                  <a:lnTo>
                    <a:pt x="12" y="155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1" y="146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3" y="141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7" y="133"/>
                  </a:lnTo>
                  <a:lnTo>
                    <a:pt x="22" y="131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9" y="120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0"/>
                  </a:lnTo>
                  <a:lnTo>
                    <a:pt x="32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22"/>
                  </a:lnTo>
                  <a:lnTo>
                    <a:pt x="43" y="122"/>
                  </a:lnTo>
                  <a:lnTo>
                    <a:pt x="47" y="123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8" y="121"/>
                  </a:lnTo>
                  <a:lnTo>
                    <a:pt x="61" y="120"/>
                  </a:lnTo>
                  <a:lnTo>
                    <a:pt x="63" y="119"/>
                  </a:lnTo>
                  <a:lnTo>
                    <a:pt x="64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20"/>
                  </a:lnTo>
                  <a:lnTo>
                    <a:pt x="70" y="120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7" y="124"/>
                  </a:lnTo>
                  <a:lnTo>
                    <a:pt x="78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1" y="123"/>
                  </a:lnTo>
                  <a:lnTo>
                    <a:pt x="81" y="122"/>
                  </a:lnTo>
                  <a:lnTo>
                    <a:pt x="82" y="121"/>
                  </a:lnTo>
                  <a:lnTo>
                    <a:pt x="82" y="120"/>
                  </a:lnTo>
                  <a:lnTo>
                    <a:pt x="83" y="118"/>
                  </a:lnTo>
                  <a:lnTo>
                    <a:pt x="84" y="118"/>
                  </a:lnTo>
                  <a:lnTo>
                    <a:pt x="84" y="117"/>
                  </a:lnTo>
                  <a:lnTo>
                    <a:pt x="84" y="117"/>
                  </a:lnTo>
                  <a:lnTo>
                    <a:pt x="85" y="117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9" y="115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5" y="115"/>
                  </a:lnTo>
                  <a:lnTo>
                    <a:pt x="96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100" y="114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4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5" y="101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3" y="97"/>
                  </a:lnTo>
                  <a:lnTo>
                    <a:pt x="102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3"/>
                  </a:lnTo>
                  <a:lnTo>
                    <a:pt x="98" y="93"/>
                  </a:lnTo>
                  <a:lnTo>
                    <a:pt x="97" y="92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6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3"/>
                  </a:lnTo>
                  <a:lnTo>
                    <a:pt x="85" y="81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5" y="78"/>
                  </a:lnTo>
                  <a:lnTo>
                    <a:pt x="86" y="77"/>
                  </a:lnTo>
                  <a:lnTo>
                    <a:pt x="86" y="76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8" y="71"/>
                  </a:lnTo>
                  <a:lnTo>
                    <a:pt x="88" y="70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7" y="58"/>
                  </a:lnTo>
                  <a:lnTo>
                    <a:pt x="98" y="56"/>
                  </a:lnTo>
                  <a:lnTo>
                    <a:pt x="98" y="55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3" y="49"/>
                  </a:lnTo>
                  <a:lnTo>
                    <a:pt x="104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6" y="48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4" y="49"/>
                  </a:lnTo>
                  <a:lnTo>
                    <a:pt x="115" y="48"/>
                  </a:lnTo>
                  <a:lnTo>
                    <a:pt x="118" y="47"/>
                  </a:lnTo>
                  <a:lnTo>
                    <a:pt x="119" y="46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4" y="44"/>
                  </a:lnTo>
                  <a:lnTo>
                    <a:pt x="126" y="44"/>
                  </a:lnTo>
                  <a:lnTo>
                    <a:pt x="129" y="43"/>
                  </a:lnTo>
                  <a:lnTo>
                    <a:pt x="131" y="42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6" y="41"/>
                  </a:lnTo>
                  <a:lnTo>
                    <a:pt x="137" y="41"/>
                  </a:lnTo>
                  <a:lnTo>
                    <a:pt x="138" y="40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41" y="38"/>
                  </a:lnTo>
                  <a:lnTo>
                    <a:pt x="142" y="37"/>
                  </a:lnTo>
                  <a:lnTo>
                    <a:pt x="143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7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4" y="31"/>
                  </a:lnTo>
                  <a:lnTo>
                    <a:pt x="155" y="31"/>
                  </a:lnTo>
                  <a:lnTo>
                    <a:pt x="156" y="31"/>
                  </a:lnTo>
                  <a:lnTo>
                    <a:pt x="157" y="31"/>
                  </a:lnTo>
                  <a:lnTo>
                    <a:pt x="158" y="31"/>
                  </a:lnTo>
                  <a:lnTo>
                    <a:pt x="158" y="30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7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5"/>
                  </a:lnTo>
                  <a:lnTo>
                    <a:pt x="160" y="24"/>
                  </a:lnTo>
                  <a:lnTo>
                    <a:pt x="159" y="23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7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4"/>
                  </a:lnTo>
                  <a:lnTo>
                    <a:pt x="160" y="13"/>
                  </a:lnTo>
                  <a:lnTo>
                    <a:pt x="162" y="12"/>
                  </a:lnTo>
                  <a:lnTo>
                    <a:pt x="162" y="11"/>
                  </a:lnTo>
                  <a:lnTo>
                    <a:pt x="163" y="11"/>
                  </a:lnTo>
                  <a:lnTo>
                    <a:pt x="163" y="10"/>
                  </a:lnTo>
                  <a:lnTo>
                    <a:pt x="164" y="10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9"/>
                  </a:lnTo>
                  <a:lnTo>
                    <a:pt x="170" y="9"/>
                  </a:lnTo>
                  <a:lnTo>
                    <a:pt x="171" y="9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8" y="4"/>
                  </a:lnTo>
                  <a:lnTo>
                    <a:pt x="179" y="3"/>
                  </a:lnTo>
                  <a:lnTo>
                    <a:pt x="179" y="2"/>
                  </a:lnTo>
                  <a:lnTo>
                    <a:pt x="180" y="2"/>
                  </a:lnTo>
                  <a:lnTo>
                    <a:pt x="180" y="1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80" y="1"/>
                  </a:lnTo>
                  <a:lnTo>
                    <a:pt x="185" y="4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Freeform 31">
              <a:extLst>
                <a:ext uri="{FF2B5EF4-FFF2-40B4-BE49-F238E27FC236}">
                  <a16:creationId xmlns:a16="http://schemas.microsoft.com/office/drawing/2014/main" id="{9BD4A4A8-02D7-06D8-95F6-79172992F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21"/>
              <a:ext cx="642" cy="464"/>
            </a:xfrm>
            <a:custGeom>
              <a:avLst/>
              <a:gdLst>
                <a:gd name="T0" fmla="*/ 339 w 642"/>
                <a:gd name="T1" fmla="*/ 2 h 464"/>
                <a:gd name="T2" fmla="*/ 375 w 642"/>
                <a:gd name="T3" fmla="*/ 17 h 464"/>
                <a:gd name="T4" fmla="*/ 360 w 642"/>
                <a:gd name="T5" fmla="*/ 32 h 464"/>
                <a:gd name="T6" fmla="*/ 381 w 642"/>
                <a:gd name="T7" fmla="*/ 46 h 464"/>
                <a:gd name="T8" fmla="*/ 384 w 642"/>
                <a:gd name="T9" fmla="*/ 87 h 464"/>
                <a:gd name="T10" fmla="*/ 390 w 642"/>
                <a:gd name="T11" fmla="*/ 109 h 464"/>
                <a:gd name="T12" fmla="*/ 410 w 642"/>
                <a:gd name="T13" fmla="*/ 87 h 464"/>
                <a:gd name="T14" fmla="*/ 403 w 642"/>
                <a:gd name="T15" fmla="*/ 62 h 464"/>
                <a:gd name="T16" fmla="*/ 430 w 642"/>
                <a:gd name="T17" fmla="*/ 77 h 464"/>
                <a:gd name="T18" fmla="*/ 448 w 642"/>
                <a:gd name="T19" fmla="*/ 106 h 464"/>
                <a:gd name="T20" fmla="*/ 452 w 642"/>
                <a:gd name="T21" fmla="*/ 121 h 464"/>
                <a:gd name="T22" fmla="*/ 483 w 642"/>
                <a:gd name="T23" fmla="*/ 146 h 464"/>
                <a:gd name="T24" fmla="*/ 488 w 642"/>
                <a:gd name="T25" fmla="*/ 200 h 464"/>
                <a:gd name="T26" fmla="*/ 500 w 642"/>
                <a:gd name="T27" fmla="*/ 213 h 464"/>
                <a:gd name="T28" fmla="*/ 478 w 642"/>
                <a:gd name="T29" fmla="*/ 242 h 464"/>
                <a:gd name="T30" fmla="*/ 504 w 642"/>
                <a:gd name="T31" fmla="*/ 246 h 464"/>
                <a:gd name="T32" fmla="*/ 517 w 642"/>
                <a:gd name="T33" fmla="*/ 270 h 464"/>
                <a:gd name="T34" fmla="*/ 551 w 642"/>
                <a:gd name="T35" fmla="*/ 287 h 464"/>
                <a:gd name="T36" fmla="*/ 578 w 642"/>
                <a:gd name="T37" fmla="*/ 304 h 464"/>
                <a:gd name="T38" fmla="*/ 610 w 642"/>
                <a:gd name="T39" fmla="*/ 313 h 464"/>
                <a:gd name="T40" fmla="*/ 641 w 642"/>
                <a:gd name="T41" fmla="*/ 348 h 464"/>
                <a:gd name="T42" fmla="*/ 611 w 642"/>
                <a:gd name="T43" fmla="*/ 367 h 464"/>
                <a:gd name="T44" fmla="*/ 583 w 642"/>
                <a:gd name="T45" fmla="*/ 358 h 464"/>
                <a:gd name="T46" fmla="*/ 546 w 642"/>
                <a:gd name="T47" fmla="*/ 362 h 464"/>
                <a:gd name="T48" fmla="*/ 503 w 642"/>
                <a:gd name="T49" fmla="*/ 347 h 464"/>
                <a:gd name="T50" fmla="*/ 462 w 642"/>
                <a:gd name="T51" fmla="*/ 396 h 464"/>
                <a:gd name="T52" fmla="*/ 435 w 642"/>
                <a:gd name="T53" fmla="*/ 458 h 464"/>
                <a:gd name="T54" fmla="*/ 422 w 642"/>
                <a:gd name="T55" fmla="*/ 442 h 464"/>
                <a:gd name="T56" fmla="*/ 403 w 642"/>
                <a:gd name="T57" fmla="*/ 421 h 464"/>
                <a:gd name="T58" fmla="*/ 358 w 642"/>
                <a:gd name="T59" fmla="*/ 413 h 464"/>
                <a:gd name="T60" fmla="*/ 342 w 642"/>
                <a:gd name="T61" fmla="*/ 394 h 464"/>
                <a:gd name="T62" fmla="*/ 304 w 642"/>
                <a:gd name="T63" fmla="*/ 381 h 464"/>
                <a:gd name="T64" fmla="*/ 269 w 642"/>
                <a:gd name="T65" fmla="*/ 405 h 464"/>
                <a:gd name="T66" fmla="*/ 242 w 642"/>
                <a:gd name="T67" fmla="*/ 415 h 464"/>
                <a:gd name="T68" fmla="*/ 181 w 642"/>
                <a:gd name="T69" fmla="*/ 412 h 464"/>
                <a:gd name="T70" fmla="*/ 127 w 642"/>
                <a:gd name="T71" fmla="*/ 385 h 464"/>
                <a:gd name="T72" fmla="*/ 110 w 642"/>
                <a:gd name="T73" fmla="*/ 370 h 464"/>
                <a:gd name="T74" fmla="*/ 92 w 642"/>
                <a:gd name="T75" fmla="*/ 356 h 464"/>
                <a:gd name="T76" fmla="*/ 61 w 642"/>
                <a:gd name="T77" fmla="*/ 362 h 464"/>
                <a:gd name="T78" fmla="*/ 7 w 642"/>
                <a:gd name="T79" fmla="*/ 341 h 464"/>
                <a:gd name="T80" fmla="*/ 8 w 642"/>
                <a:gd name="T81" fmla="*/ 323 h 464"/>
                <a:gd name="T82" fmla="*/ 27 w 642"/>
                <a:gd name="T83" fmla="*/ 321 h 464"/>
                <a:gd name="T84" fmla="*/ 51 w 642"/>
                <a:gd name="T85" fmla="*/ 314 h 464"/>
                <a:gd name="T86" fmla="*/ 78 w 642"/>
                <a:gd name="T87" fmla="*/ 297 h 464"/>
                <a:gd name="T88" fmla="*/ 105 w 642"/>
                <a:gd name="T89" fmla="*/ 280 h 464"/>
                <a:gd name="T90" fmla="*/ 125 w 642"/>
                <a:gd name="T91" fmla="*/ 271 h 464"/>
                <a:gd name="T92" fmla="*/ 149 w 642"/>
                <a:gd name="T93" fmla="*/ 275 h 464"/>
                <a:gd name="T94" fmla="*/ 180 w 642"/>
                <a:gd name="T95" fmla="*/ 267 h 464"/>
                <a:gd name="T96" fmla="*/ 207 w 642"/>
                <a:gd name="T97" fmla="*/ 251 h 464"/>
                <a:gd name="T98" fmla="*/ 203 w 642"/>
                <a:gd name="T99" fmla="*/ 231 h 464"/>
                <a:gd name="T100" fmla="*/ 210 w 642"/>
                <a:gd name="T101" fmla="*/ 214 h 464"/>
                <a:gd name="T102" fmla="*/ 211 w 642"/>
                <a:gd name="T103" fmla="*/ 194 h 464"/>
                <a:gd name="T104" fmla="*/ 222 w 642"/>
                <a:gd name="T105" fmla="*/ 172 h 464"/>
                <a:gd name="T106" fmla="*/ 223 w 642"/>
                <a:gd name="T107" fmla="*/ 147 h 464"/>
                <a:gd name="T108" fmla="*/ 210 w 642"/>
                <a:gd name="T109" fmla="*/ 134 h 464"/>
                <a:gd name="T110" fmla="*/ 216 w 642"/>
                <a:gd name="T111" fmla="*/ 99 h 464"/>
                <a:gd name="T112" fmla="*/ 233 w 642"/>
                <a:gd name="T113" fmla="*/ 87 h 464"/>
                <a:gd name="T114" fmla="*/ 240 w 642"/>
                <a:gd name="T115" fmla="*/ 78 h 464"/>
                <a:gd name="T116" fmla="*/ 251 w 642"/>
                <a:gd name="T117" fmla="*/ 73 h 464"/>
                <a:gd name="T118" fmla="*/ 256 w 642"/>
                <a:gd name="T119" fmla="*/ 58 h 464"/>
                <a:gd name="T120" fmla="*/ 250 w 642"/>
                <a:gd name="T121" fmla="*/ 37 h 464"/>
                <a:gd name="T122" fmla="*/ 266 w 642"/>
                <a:gd name="T123" fmla="*/ 17 h 464"/>
                <a:gd name="T124" fmla="*/ 297 w 642"/>
                <a:gd name="T125" fmla="*/ 17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42" h="464">
                  <a:moveTo>
                    <a:pt x="303" y="0"/>
                  </a:moveTo>
                  <a:lnTo>
                    <a:pt x="303" y="0"/>
                  </a:lnTo>
                  <a:lnTo>
                    <a:pt x="304" y="0"/>
                  </a:lnTo>
                  <a:lnTo>
                    <a:pt x="305" y="1"/>
                  </a:lnTo>
                  <a:lnTo>
                    <a:pt x="308" y="1"/>
                  </a:lnTo>
                  <a:lnTo>
                    <a:pt x="309" y="2"/>
                  </a:lnTo>
                  <a:lnTo>
                    <a:pt x="311" y="2"/>
                  </a:lnTo>
                  <a:lnTo>
                    <a:pt x="314" y="2"/>
                  </a:lnTo>
                  <a:lnTo>
                    <a:pt x="316" y="2"/>
                  </a:lnTo>
                  <a:lnTo>
                    <a:pt x="317" y="2"/>
                  </a:lnTo>
                  <a:lnTo>
                    <a:pt x="319" y="2"/>
                  </a:lnTo>
                  <a:lnTo>
                    <a:pt x="322" y="1"/>
                  </a:lnTo>
                  <a:lnTo>
                    <a:pt x="322" y="1"/>
                  </a:lnTo>
                  <a:lnTo>
                    <a:pt x="323" y="1"/>
                  </a:lnTo>
                  <a:lnTo>
                    <a:pt x="324" y="1"/>
                  </a:lnTo>
                  <a:lnTo>
                    <a:pt x="325" y="1"/>
                  </a:lnTo>
                  <a:lnTo>
                    <a:pt x="326" y="1"/>
                  </a:lnTo>
                  <a:lnTo>
                    <a:pt x="329" y="2"/>
                  </a:lnTo>
                  <a:lnTo>
                    <a:pt x="329" y="2"/>
                  </a:lnTo>
                  <a:lnTo>
                    <a:pt x="330" y="2"/>
                  </a:lnTo>
                  <a:lnTo>
                    <a:pt x="331" y="2"/>
                  </a:lnTo>
                  <a:lnTo>
                    <a:pt x="332" y="2"/>
                  </a:lnTo>
                  <a:lnTo>
                    <a:pt x="334" y="2"/>
                  </a:lnTo>
                  <a:lnTo>
                    <a:pt x="336" y="1"/>
                  </a:lnTo>
                  <a:lnTo>
                    <a:pt x="337" y="1"/>
                  </a:lnTo>
                  <a:lnTo>
                    <a:pt x="338" y="1"/>
                  </a:lnTo>
                  <a:lnTo>
                    <a:pt x="339" y="2"/>
                  </a:lnTo>
                  <a:lnTo>
                    <a:pt x="342" y="2"/>
                  </a:lnTo>
                  <a:lnTo>
                    <a:pt x="343" y="2"/>
                  </a:lnTo>
                  <a:lnTo>
                    <a:pt x="344" y="2"/>
                  </a:lnTo>
                  <a:lnTo>
                    <a:pt x="346" y="3"/>
                  </a:lnTo>
                  <a:lnTo>
                    <a:pt x="347" y="3"/>
                  </a:lnTo>
                  <a:lnTo>
                    <a:pt x="348" y="4"/>
                  </a:lnTo>
                  <a:lnTo>
                    <a:pt x="350" y="4"/>
                  </a:lnTo>
                  <a:lnTo>
                    <a:pt x="352" y="5"/>
                  </a:lnTo>
                  <a:lnTo>
                    <a:pt x="359" y="9"/>
                  </a:lnTo>
                  <a:lnTo>
                    <a:pt x="361" y="9"/>
                  </a:lnTo>
                  <a:lnTo>
                    <a:pt x="362" y="10"/>
                  </a:lnTo>
                  <a:lnTo>
                    <a:pt x="364" y="11"/>
                  </a:lnTo>
                  <a:lnTo>
                    <a:pt x="366" y="11"/>
                  </a:lnTo>
                  <a:lnTo>
                    <a:pt x="367" y="12"/>
                  </a:lnTo>
                  <a:lnTo>
                    <a:pt x="369" y="12"/>
                  </a:lnTo>
                  <a:lnTo>
                    <a:pt x="371" y="13"/>
                  </a:lnTo>
                  <a:lnTo>
                    <a:pt x="372" y="13"/>
                  </a:lnTo>
                  <a:lnTo>
                    <a:pt x="373" y="13"/>
                  </a:lnTo>
                  <a:lnTo>
                    <a:pt x="375" y="13"/>
                  </a:lnTo>
                  <a:lnTo>
                    <a:pt x="376" y="13"/>
                  </a:lnTo>
                  <a:lnTo>
                    <a:pt x="376" y="13"/>
                  </a:lnTo>
                  <a:lnTo>
                    <a:pt x="377" y="13"/>
                  </a:lnTo>
                  <a:lnTo>
                    <a:pt x="376" y="13"/>
                  </a:lnTo>
                  <a:lnTo>
                    <a:pt x="376" y="14"/>
                  </a:lnTo>
                  <a:lnTo>
                    <a:pt x="376" y="15"/>
                  </a:lnTo>
                  <a:lnTo>
                    <a:pt x="375" y="16"/>
                  </a:lnTo>
                  <a:lnTo>
                    <a:pt x="375" y="17"/>
                  </a:lnTo>
                  <a:lnTo>
                    <a:pt x="374" y="20"/>
                  </a:lnTo>
                  <a:lnTo>
                    <a:pt x="374" y="20"/>
                  </a:lnTo>
                  <a:lnTo>
                    <a:pt x="374" y="21"/>
                  </a:lnTo>
                  <a:lnTo>
                    <a:pt x="374" y="21"/>
                  </a:lnTo>
                  <a:lnTo>
                    <a:pt x="373" y="22"/>
                  </a:lnTo>
                  <a:lnTo>
                    <a:pt x="373" y="22"/>
                  </a:lnTo>
                  <a:lnTo>
                    <a:pt x="372" y="22"/>
                  </a:lnTo>
                  <a:lnTo>
                    <a:pt x="372" y="23"/>
                  </a:lnTo>
                  <a:lnTo>
                    <a:pt x="372" y="23"/>
                  </a:lnTo>
                  <a:lnTo>
                    <a:pt x="371" y="23"/>
                  </a:lnTo>
                  <a:lnTo>
                    <a:pt x="370" y="23"/>
                  </a:lnTo>
                  <a:lnTo>
                    <a:pt x="369" y="23"/>
                  </a:lnTo>
                  <a:lnTo>
                    <a:pt x="365" y="22"/>
                  </a:lnTo>
                  <a:lnTo>
                    <a:pt x="362" y="21"/>
                  </a:lnTo>
                  <a:lnTo>
                    <a:pt x="362" y="21"/>
                  </a:lnTo>
                  <a:lnTo>
                    <a:pt x="361" y="21"/>
                  </a:lnTo>
                  <a:lnTo>
                    <a:pt x="361" y="22"/>
                  </a:lnTo>
                  <a:lnTo>
                    <a:pt x="360" y="22"/>
                  </a:lnTo>
                  <a:lnTo>
                    <a:pt x="360" y="22"/>
                  </a:lnTo>
                  <a:lnTo>
                    <a:pt x="360" y="23"/>
                  </a:lnTo>
                  <a:lnTo>
                    <a:pt x="360" y="24"/>
                  </a:lnTo>
                  <a:lnTo>
                    <a:pt x="359" y="25"/>
                  </a:lnTo>
                  <a:lnTo>
                    <a:pt x="359" y="26"/>
                  </a:lnTo>
                  <a:lnTo>
                    <a:pt x="359" y="27"/>
                  </a:lnTo>
                  <a:lnTo>
                    <a:pt x="360" y="30"/>
                  </a:lnTo>
                  <a:lnTo>
                    <a:pt x="360" y="31"/>
                  </a:lnTo>
                  <a:lnTo>
                    <a:pt x="360" y="32"/>
                  </a:lnTo>
                  <a:lnTo>
                    <a:pt x="360" y="34"/>
                  </a:lnTo>
                  <a:lnTo>
                    <a:pt x="360" y="35"/>
                  </a:lnTo>
                  <a:lnTo>
                    <a:pt x="360" y="36"/>
                  </a:lnTo>
                  <a:lnTo>
                    <a:pt x="360" y="36"/>
                  </a:lnTo>
                  <a:lnTo>
                    <a:pt x="360" y="37"/>
                  </a:lnTo>
                  <a:lnTo>
                    <a:pt x="360" y="37"/>
                  </a:lnTo>
                  <a:lnTo>
                    <a:pt x="361" y="37"/>
                  </a:lnTo>
                  <a:lnTo>
                    <a:pt x="361" y="38"/>
                  </a:lnTo>
                  <a:lnTo>
                    <a:pt x="362" y="38"/>
                  </a:lnTo>
                  <a:lnTo>
                    <a:pt x="362" y="38"/>
                  </a:lnTo>
                  <a:lnTo>
                    <a:pt x="365" y="39"/>
                  </a:lnTo>
                  <a:lnTo>
                    <a:pt x="368" y="40"/>
                  </a:lnTo>
                  <a:lnTo>
                    <a:pt x="372" y="41"/>
                  </a:lnTo>
                  <a:lnTo>
                    <a:pt x="374" y="42"/>
                  </a:lnTo>
                  <a:lnTo>
                    <a:pt x="376" y="42"/>
                  </a:lnTo>
                  <a:lnTo>
                    <a:pt x="377" y="42"/>
                  </a:lnTo>
                  <a:lnTo>
                    <a:pt x="379" y="42"/>
                  </a:lnTo>
                  <a:lnTo>
                    <a:pt x="381" y="43"/>
                  </a:lnTo>
                  <a:lnTo>
                    <a:pt x="382" y="43"/>
                  </a:lnTo>
                  <a:lnTo>
                    <a:pt x="382" y="43"/>
                  </a:lnTo>
                  <a:lnTo>
                    <a:pt x="383" y="43"/>
                  </a:lnTo>
                  <a:lnTo>
                    <a:pt x="383" y="44"/>
                  </a:lnTo>
                  <a:lnTo>
                    <a:pt x="383" y="44"/>
                  </a:lnTo>
                  <a:lnTo>
                    <a:pt x="382" y="44"/>
                  </a:lnTo>
                  <a:lnTo>
                    <a:pt x="382" y="45"/>
                  </a:lnTo>
                  <a:lnTo>
                    <a:pt x="381" y="45"/>
                  </a:lnTo>
                  <a:lnTo>
                    <a:pt x="381" y="46"/>
                  </a:lnTo>
                  <a:lnTo>
                    <a:pt x="380" y="47"/>
                  </a:lnTo>
                  <a:lnTo>
                    <a:pt x="379" y="47"/>
                  </a:lnTo>
                  <a:lnTo>
                    <a:pt x="379" y="48"/>
                  </a:lnTo>
                  <a:lnTo>
                    <a:pt x="377" y="50"/>
                  </a:lnTo>
                  <a:lnTo>
                    <a:pt x="377" y="51"/>
                  </a:lnTo>
                  <a:lnTo>
                    <a:pt x="375" y="54"/>
                  </a:lnTo>
                  <a:lnTo>
                    <a:pt x="374" y="55"/>
                  </a:lnTo>
                  <a:lnTo>
                    <a:pt x="374" y="56"/>
                  </a:lnTo>
                  <a:lnTo>
                    <a:pt x="374" y="58"/>
                  </a:lnTo>
                  <a:lnTo>
                    <a:pt x="374" y="59"/>
                  </a:lnTo>
                  <a:lnTo>
                    <a:pt x="374" y="61"/>
                  </a:lnTo>
                  <a:lnTo>
                    <a:pt x="374" y="62"/>
                  </a:lnTo>
                  <a:lnTo>
                    <a:pt x="374" y="64"/>
                  </a:lnTo>
                  <a:lnTo>
                    <a:pt x="374" y="65"/>
                  </a:lnTo>
                  <a:lnTo>
                    <a:pt x="375" y="68"/>
                  </a:lnTo>
                  <a:lnTo>
                    <a:pt x="376" y="72"/>
                  </a:lnTo>
                  <a:lnTo>
                    <a:pt x="377" y="75"/>
                  </a:lnTo>
                  <a:lnTo>
                    <a:pt x="377" y="76"/>
                  </a:lnTo>
                  <a:lnTo>
                    <a:pt x="378" y="77"/>
                  </a:lnTo>
                  <a:lnTo>
                    <a:pt x="378" y="78"/>
                  </a:lnTo>
                  <a:lnTo>
                    <a:pt x="379" y="79"/>
                  </a:lnTo>
                  <a:lnTo>
                    <a:pt x="381" y="82"/>
                  </a:lnTo>
                  <a:lnTo>
                    <a:pt x="382" y="83"/>
                  </a:lnTo>
                  <a:lnTo>
                    <a:pt x="382" y="84"/>
                  </a:lnTo>
                  <a:lnTo>
                    <a:pt x="383" y="85"/>
                  </a:lnTo>
                  <a:lnTo>
                    <a:pt x="383" y="86"/>
                  </a:lnTo>
                  <a:lnTo>
                    <a:pt x="384" y="87"/>
                  </a:lnTo>
                  <a:lnTo>
                    <a:pt x="384" y="88"/>
                  </a:lnTo>
                  <a:lnTo>
                    <a:pt x="383" y="88"/>
                  </a:lnTo>
                  <a:lnTo>
                    <a:pt x="383" y="89"/>
                  </a:lnTo>
                  <a:lnTo>
                    <a:pt x="383" y="89"/>
                  </a:lnTo>
                  <a:lnTo>
                    <a:pt x="383" y="90"/>
                  </a:lnTo>
                  <a:lnTo>
                    <a:pt x="382" y="90"/>
                  </a:lnTo>
                  <a:lnTo>
                    <a:pt x="380" y="92"/>
                  </a:lnTo>
                  <a:lnTo>
                    <a:pt x="379" y="93"/>
                  </a:lnTo>
                  <a:lnTo>
                    <a:pt x="379" y="93"/>
                  </a:lnTo>
                  <a:lnTo>
                    <a:pt x="379" y="94"/>
                  </a:lnTo>
                  <a:lnTo>
                    <a:pt x="379" y="94"/>
                  </a:lnTo>
                  <a:lnTo>
                    <a:pt x="378" y="95"/>
                  </a:lnTo>
                  <a:lnTo>
                    <a:pt x="378" y="96"/>
                  </a:lnTo>
                  <a:lnTo>
                    <a:pt x="378" y="96"/>
                  </a:lnTo>
                  <a:lnTo>
                    <a:pt x="378" y="97"/>
                  </a:lnTo>
                  <a:lnTo>
                    <a:pt x="378" y="98"/>
                  </a:lnTo>
                  <a:lnTo>
                    <a:pt x="378" y="99"/>
                  </a:lnTo>
                  <a:lnTo>
                    <a:pt x="378" y="99"/>
                  </a:lnTo>
                  <a:lnTo>
                    <a:pt x="379" y="100"/>
                  </a:lnTo>
                  <a:lnTo>
                    <a:pt x="379" y="100"/>
                  </a:lnTo>
                  <a:lnTo>
                    <a:pt x="381" y="102"/>
                  </a:lnTo>
                  <a:lnTo>
                    <a:pt x="381" y="102"/>
                  </a:lnTo>
                  <a:lnTo>
                    <a:pt x="382" y="103"/>
                  </a:lnTo>
                  <a:lnTo>
                    <a:pt x="384" y="104"/>
                  </a:lnTo>
                  <a:lnTo>
                    <a:pt x="387" y="107"/>
                  </a:lnTo>
                  <a:lnTo>
                    <a:pt x="389" y="108"/>
                  </a:lnTo>
                  <a:lnTo>
                    <a:pt x="390" y="109"/>
                  </a:lnTo>
                  <a:lnTo>
                    <a:pt x="392" y="109"/>
                  </a:lnTo>
                  <a:lnTo>
                    <a:pt x="393" y="110"/>
                  </a:lnTo>
                  <a:lnTo>
                    <a:pt x="394" y="110"/>
                  </a:lnTo>
                  <a:lnTo>
                    <a:pt x="395" y="110"/>
                  </a:lnTo>
                  <a:lnTo>
                    <a:pt x="396" y="110"/>
                  </a:lnTo>
                  <a:lnTo>
                    <a:pt x="397" y="109"/>
                  </a:lnTo>
                  <a:lnTo>
                    <a:pt x="398" y="109"/>
                  </a:lnTo>
                  <a:lnTo>
                    <a:pt x="399" y="108"/>
                  </a:lnTo>
                  <a:lnTo>
                    <a:pt x="400" y="107"/>
                  </a:lnTo>
                  <a:lnTo>
                    <a:pt x="401" y="106"/>
                  </a:lnTo>
                  <a:lnTo>
                    <a:pt x="403" y="105"/>
                  </a:lnTo>
                  <a:lnTo>
                    <a:pt x="403" y="104"/>
                  </a:lnTo>
                  <a:lnTo>
                    <a:pt x="404" y="103"/>
                  </a:lnTo>
                  <a:lnTo>
                    <a:pt x="405" y="102"/>
                  </a:lnTo>
                  <a:lnTo>
                    <a:pt x="405" y="100"/>
                  </a:lnTo>
                  <a:lnTo>
                    <a:pt x="406" y="97"/>
                  </a:lnTo>
                  <a:lnTo>
                    <a:pt x="407" y="95"/>
                  </a:lnTo>
                  <a:lnTo>
                    <a:pt x="408" y="94"/>
                  </a:lnTo>
                  <a:lnTo>
                    <a:pt x="409" y="92"/>
                  </a:lnTo>
                  <a:lnTo>
                    <a:pt x="410" y="91"/>
                  </a:lnTo>
                  <a:lnTo>
                    <a:pt x="410" y="91"/>
                  </a:lnTo>
                  <a:lnTo>
                    <a:pt x="410" y="90"/>
                  </a:lnTo>
                  <a:lnTo>
                    <a:pt x="410" y="90"/>
                  </a:lnTo>
                  <a:lnTo>
                    <a:pt x="410" y="89"/>
                  </a:lnTo>
                  <a:lnTo>
                    <a:pt x="410" y="88"/>
                  </a:lnTo>
                  <a:lnTo>
                    <a:pt x="410" y="88"/>
                  </a:lnTo>
                  <a:lnTo>
                    <a:pt x="410" y="87"/>
                  </a:lnTo>
                  <a:lnTo>
                    <a:pt x="409" y="86"/>
                  </a:lnTo>
                  <a:lnTo>
                    <a:pt x="409" y="85"/>
                  </a:lnTo>
                  <a:lnTo>
                    <a:pt x="408" y="83"/>
                  </a:lnTo>
                  <a:lnTo>
                    <a:pt x="407" y="82"/>
                  </a:lnTo>
                  <a:lnTo>
                    <a:pt x="407" y="81"/>
                  </a:lnTo>
                  <a:lnTo>
                    <a:pt x="406" y="80"/>
                  </a:lnTo>
                  <a:lnTo>
                    <a:pt x="406" y="79"/>
                  </a:lnTo>
                  <a:lnTo>
                    <a:pt x="406" y="78"/>
                  </a:lnTo>
                  <a:lnTo>
                    <a:pt x="405" y="77"/>
                  </a:lnTo>
                  <a:lnTo>
                    <a:pt x="405" y="77"/>
                  </a:lnTo>
                  <a:lnTo>
                    <a:pt x="400" y="72"/>
                  </a:lnTo>
                  <a:lnTo>
                    <a:pt x="399" y="72"/>
                  </a:lnTo>
                  <a:lnTo>
                    <a:pt x="399" y="71"/>
                  </a:lnTo>
                  <a:lnTo>
                    <a:pt x="399" y="71"/>
                  </a:lnTo>
                  <a:lnTo>
                    <a:pt x="398" y="70"/>
                  </a:lnTo>
                  <a:lnTo>
                    <a:pt x="398" y="69"/>
                  </a:lnTo>
                  <a:lnTo>
                    <a:pt x="397" y="69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397" y="67"/>
                  </a:lnTo>
                  <a:lnTo>
                    <a:pt x="397" y="67"/>
                  </a:lnTo>
                  <a:lnTo>
                    <a:pt x="398" y="67"/>
                  </a:lnTo>
                  <a:lnTo>
                    <a:pt x="399" y="65"/>
                  </a:lnTo>
                  <a:lnTo>
                    <a:pt x="401" y="64"/>
                  </a:lnTo>
                  <a:lnTo>
                    <a:pt x="402" y="63"/>
                  </a:lnTo>
                  <a:lnTo>
                    <a:pt x="403" y="62"/>
                  </a:lnTo>
                  <a:lnTo>
                    <a:pt x="405" y="61"/>
                  </a:lnTo>
                  <a:lnTo>
                    <a:pt x="406" y="60"/>
                  </a:lnTo>
                  <a:lnTo>
                    <a:pt x="408" y="60"/>
                  </a:lnTo>
                  <a:lnTo>
                    <a:pt x="409" y="60"/>
                  </a:lnTo>
                  <a:lnTo>
                    <a:pt x="410" y="60"/>
                  </a:lnTo>
                  <a:lnTo>
                    <a:pt x="411" y="60"/>
                  </a:lnTo>
                  <a:lnTo>
                    <a:pt x="412" y="60"/>
                  </a:lnTo>
                  <a:lnTo>
                    <a:pt x="414" y="60"/>
                  </a:lnTo>
                  <a:lnTo>
                    <a:pt x="416" y="61"/>
                  </a:lnTo>
                  <a:lnTo>
                    <a:pt x="418" y="61"/>
                  </a:lnTo>
                  <a:lnTo>
                    <a:pt x="419" y="61"/>
                  </a:lnTo>
                  <a:lnTo>
                    <a:pt x="420" y="62"/>
                  </a:lnTo>
                  <a:lnTo>
                    <a:pt x="420" y="62"/>
                  </a:lnTo>
                  <a:lnTo>
                    <a:pt x="421" y="63"/>
                  </a:lnTo>
                  <a:lnTo>
                    <a:pt x="422" y="64"/>
                  </a:lnTo>
                  <a:lnTo>
                    <a:pt x="423" y="65"/>
                  </a:lnTo>
                  <a:lnTo>
                    <a:pt x="423" y="66"/>
                  </a:lnTo>
                  <a:lnTo>
                    <a:pt x="424" y="67"/>
                  </a:lnTo>
                  <a:lnTo>
                    <a:pt x="425" y="69"/>
                  </a:lnTo>
                  <a:lnTo>
                    <a:pt x="425" y="70"/>
                  </a:lnTo>
                  <a:lnTo>
                    <a:pt x="426" y="71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9" y="74"/>
                  </a:lnTo>
                  <a:lnTo>
                    <a:pt x="430" y="75"/>
                  </a:lnTo>
                  <a:lnTo>
                    <a:pt x="430" y="76"/>
                  </a:lnTo>
                  <a:lnTo>
                    <a:pt x="430" y="77"/>
                  </a:lnTo>
                  <a:lnTo>
                    <a:pt x="431" y="78"/>
                  </a:lnTo>
                  <a:lnTo>
                    <a:pt x="432" y="79"/>
                  </a:lnTo>
                  <a:lnTo>
                    <a:pt x="432" y="80"/>
                  </a:lnTo>
                  <a:lnTo>
                    <a:pt x="433" y="81"/>
                  </a:lnTo>
                  <a:lnTo>
                    <a:pt x="434" y="83"/>
                  </a:lnTo>
                  <a:lnTo>
                    <a:pt x="435" y="87"/>
                  </a:lnTo>
                  <a:lnTo>
                    <a:pt x="435" y="90"/>
                  </a:lnTo>
                  <a:lnTo>
                    <a:pt x="436" y="90"/>
                  </a:lnTo>
                  <a:lnTo>
                    <a:pt x="436" y="91"/>
                  </a:lnTo>
                  <a:lnTo>
                    <a:pt x="437" y="92"/>
                  </a:lnTo>
                  <a:lnTo>
                    <a:pt x="437" y="93"/>
                  </a:lnTo>
                  <a:lnTo>
                    <a:pt x="438" y="94"/>
                  </a:lnTo>
                  <a:lnTo>
                    <a:pt x="440" y="95"/>
                  </a:lnTo>
                  <a:lnTo>
                    <a:pt x="440" y="95"/>
                  </a:lnTo>
                  <a:lnTo>
                    <a:pt x="441" y="96"/>
                  </a:lnTo>
                  <a:lnTo>
                    <a:pt x="441" y="97"/>
                  </a:lnTo>
                  <a:lnTo>
                    <a:pt x="441" y="97"/>
                  </a:lnTo>
                  <a:lnTo>
                    <a:pt x="443" y="100"/>
                  </a:lnTo>
                  <a:lnTo>
                    <a:pt x="443" y="101"/>
                  </a:lnTo>
                  <a:lnTo>
                    <a:pt x="444" y="101"/>
                  </a:lnTo>
                  <a:lnTo>
                    <a:pt x="444" y="102"/>
                  </a:lnTo>
                  <a:lnTo>
                    <a:pt x="445" y="104"/>
                  </a:lnTo>
                  <a:lnTo>
                    <a:pt x="446" y="104"/>
                  </a:lnTo>
                  <a:lnTo>
                    <a:pt x="447" y="105"/>
                  </a:lnTo>
                  <a:lnTo>
                    <a:pt x="447" y="105"/>
                  </a:lnTo>
                  <a:lnTo>
                    <a:pt x="448" y="106"/>
                  </a:lnTo>
                  <a:lnTo>
                    <a:pt x="448" y="106"/>
                  </a:lnTo>
                  <a:lnTo>
                    <a:pt x="448" y="106"/>
                  </a:lnTo>
                  <a:lnTo>
                    <a:pt x="449" y="106"/>
                  </a:lnTo>
                  <a:lnTo>
                    <a:pt x="449" y="106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1" y="106"/>
                  </a:lnTo>
                  <a:lnTo>
                    <a:pt x="451" y="105"/>
                  </a:lnTo>
                  <a:lnTo>
                    <a:pt x="452" y="104"/>
                  </a:lnTo>
                  <a:lnTo>
                    <a:pt x="452" y="103"/>
                  </a:lnTo>
                  <a:lnTo>
                    <a:pt x="453" y="103"/>
                  </a:lnTo>
                  <a:lnTo>
                    <a:pt x="453" y="103"/>
                  </a:lnTo>
                  <a:lnTo>
                    <a:pt x="453" y="103"/>
                  </a:lnTo>
                  <a:lnTo>
                    <a:pt x="454" y="103"/>
                  </a:lnTo>
                  <a:lnTo>
                    <a:pt x="454" y="103"/>
                  </a:lnTo>
                  <a:lnTo>
                    <a:pt x="454" y="104"/>
                  </a:lnTo>
                  <a:lnTo>
                    <a:pt x="454" y="104"/>
                  </a:lnTo>
                  <a:lnTo>
                    <a:pt x="454" y="105"/>
                  </a:lnTo>
                  <a:lnTo>
                    <a:pt x="455" y="107"/>
                  </a:lnTo>
                  <a:lnTo>
                    <a:pt x="454" y="108"/>
                  </a:lnTo>
                  <a:lnTo>
                    <a:pt x="454" y="110"/>
                  </a:lnTo>
                  <a:lnTo>
                    <a:pt x="454" y="111"/>
                  </a:lnTo>
                  <a:lnTo>
                    <a:pt x="454" y="113"/>
                  </a:lnTo>
                  <a:lnTo>
                    <a:pt x="453" y="116"/>
                  </a:lnTo>
                  <a:lnTo>
                    <a:pt x="453" y="119"/>
                  </a:lnTo>
                  <a:lnTo>
                    <a:pt x="452" y="121"/>
                  </a:lnTo>
                  <a:lnTo>
                    <a:pt x="452" y="121"/>
                  </a:lnTo>
                  <a:lnTo>
                    <a:pt x="452" y="122"/>
                  </a:lnTo>
                  <a:lnTo>
                    <a:pt x="452" y="122"/>
                  </a:lnTo>
                  <a:lnTo>
                    <a:pt x="453" y="123"/>
                  </a:lnTo>
                  <a:lnTo>
                    <a:pt x="453" y="123"/>
                  </a:lnTo>
                  <a:lnTo>
                    <a:pt x="453" y="123"/>
                  </a:lnTo>
                  <a:lnTo>
                    <a:pt x="454" y="124"/>
                  </a:lnTo>
                  <a:lnTo>
                    <a:pt x="454" y="124"/>
                  </a:lnTo>
                  <a:lnTo>
                    <a:pt x="455" y="125"/>
                  </a:lnTo>
                  <a:lnTo>
                    <a:pt x="458" y="126"/>
                  </a:lnTo>
                  <a:lnTo>
                    <a:pt x="459" y="127"/>
                  </a:lnTo>
                  <a:lnTo>
                    <a:pt x="461" y="128"/>
                  </a:lnTo>
                  <a:lnTo>
                    <a:pt x="463" y="128"/>
                  </a:lnTo>
                  <a:lnTo>
                    <a:pt x="465" y="129"/>
                  </a:lnTo>
                  <a:lnTo>
                    <a:pt x="468" y="130"/>
                  </a:lnTo>
                  <a:lnTo>
                    <a:pt x="469" y="131"/>
                  </a:lnTo>
                  <a:lnTo>
                    <a:pt x="471" y="131"/>
                  </a:lnTo>
                  <a:lnTo>
                    <a:pt x="473" y="132"/>
                  </a:lnTo>
                  <a:lnTo>
                    <a:pt x="474" y="133"/>
                  </a:lnTo>
                  <a:lnTo>
                    <a:pt x="475" y="134"/>
                  </a:lnTo>
                  <a:lnTo>
                    <a:pt x="478" y="136"/>
                  </a:lnTo>
                  <a:lnTo>
                    <a:pt x="479" y="137"/>
                  </a:lnTo>
                  <a:lnTo>
                    <a:pt x="480" y="138"/>
                  </a:lnTo>
                  <a:lnTo>
                    <a:pt x="480" y="138"/>
                  </a:lnTo>
                  <a:lnTo>
                    <a:pt x="481" y="139"/>
                  </a:lnTo>
                  <a:lnTo>
                    <a:pt x="481" y="140"/>
                  </a:lnTo>
                  <a:lnTo>
                    <a:pt x="481" y="141"/>
                  </a:lnTo>
                  <a:lnTo>
                    <a:pt x="483" y="146"/>
                  </a:lnTo>
                  <a:lnTo>
                    <a:pt x="484" y="149"/>
                  </a:lnTo>
                  <a:lnTo>
                    <a:pt x="484" y="150"/>
                  </a:lnTo>
                  <a:lnTo>
                    <a:pt x="486" y="153"/>
                  </a:lnTo>
                  <a:lnTo>
                    <a:pt x="488" y="158"/>
                  </a:lnTo>
                  <a:lnTo>
                    <a:pt x="488" y="160"/>
                  </a:lnTo>
                  <a:lnTo>
                    <a:pt x="484" y="166"/>
                  </a:lnTo>
                  <a:lnTo>
                    <a:pt x="483" y="168"/>
                  </a:lnTo>
                  <a:lnTo>
                    <a:pt x="483" y="170"/>
                  </a:lnTo>
                  <a:lnTo>
                    <a:pt x="483" y="171"/>
                  </a:lnTo>
                  <a:lnTo>
                    <a:pt x="482" y="172"/>
                  </a:lnTo>
                  <a:lnTo>
                    <a:pt x="482" y="173"/>
                  </a:lnTo>
                  <a:lnTo>
                    <a:pt x="482" y="174"/>
                  </a:lnTo>
                  <a:lnTo>
                    <a:pt x="482" y="175"/>
                  </a:lnTo>
                  <a:lnTo>
                    <a:pt x="482" y="176"/>
                  </a:lnTo>
                  <a:lnTo>
                    <a:pt x="483" y="179"/>
                  </a:lnTo>
                  <a:lnTo>
                    <a:pt x="483" y="181"/>
                  </a:lnTo>
                  <a:lnTo>
                    <a:pt x="483" y="182"/>
                  </a:lnTo>
                  <a:lnTo>
                    <a:pt x="483" y="186"/>
                  </a:lnTo>
                  <a:lnTo>
                    <a:pt x="483" y="187"/>
                  </a:lnTo>
                  <a:lnTo>
                    <a:pt x="484" y="188"/>
                  </a:lnTo>
                  <a:lnTo>
                    <a:pt x="484" y="189"/>
                  </a:lnTo>
                  <a:lnTo>
                    <a:pt x="485" y="191"/>
                  </a:lnTo>
                  <a:lnTo>
                    <a:pt x="487" y="195"/>
                  </a:lnTo>
                  <a:lnTo>
                    <a:pt x="488" y="198"/>
                  </a:lnTo>
                  <a:lnTo>
                    <a:pt x="488" y="199"/>
                  </a:lnTo>
                  <a:lnTo>
                    <a:pt x="488" y="199"/>
                  </a:lnTo>
                  <a:lnTo>
                    <a:pt x="488" y="200"/>
                  </a:lnTo>
                  <a:lnTo>
                    <a:pt x="488" y="201"/>
                  </a:lnTo>
                  <a:lnTo>
                    <a:pt x="488" y="202"/>
                  </a:lnTo>
                  <a:lnTo>
                    <a:pt x="488" y="203"/>
                  </a:lnTo>
                  <a:lnTo>
                    <a:pt x="488" y="204"/>
                  </a:lnTo>
                  <a:lnTo>
                    <a:pt x="488" y="204"/>
                  </a:lnTo>
                  <a:lnTo>
                    <a:pt x="488" y="205"/>
                  </a:lnTo>
                  <a:lnTo>
                    <a:pt x="489" y="205"/>
                  </a:lnTo>
                  <a:lnTo>
                    <a:pt x="489" y="205"/>
                  </a:lnTo>
                  <a:lnTo>
                    <a:pt x="490" y="205"/>
                  </a:lnTo>
                  <a:lnTo>
                    <a:pt x="491" y="205"/>
                  </a:lnTo>
                  <a:lnTo>
                    <a:pt x="493" y="205"/>
                  </a:lnTo>
                  <a:lnTo>
                    <a:pt x="495" y="205"/>
                  </a:lnTo>
                  <a:lnTo>
                    <a:pt x="496" y="205"/>
                  </a:lnTo>
                  <a:lnTo>
                    <a:pt x="497" y="205"/>
                  </a:lnTo>
                  <a:lnTo>
                    <a:pt x="498" y="205"/>
                  </a:lnTo>
                  <a:lnTo>
                    <a:pt x="499" y="205"/>
                  </a:lnTo>
                  <a:lnTo>
                    <a:pt x="499" y="205"/>
                  </a:lnTo>
                  <a:lnTo>
                    <a:pt x="500" y="206"/>
                  </a:lnTo>
                  <a:lnTo>
                    <a:pt x="500" y="206"/>
                  </a:lnTo>
                  <a:lnTo>
                    <a:pt x="500" y="207"/>
                  </a:lnTo>
                  <a:lnTo>
                    <a:pt x="501" y="207"/>
                  </a:lnTo>
                  <a:lnTo>
                    <a:pt x="501" y="208"/>
                  </a:lnTo>
                  <a:lnTo>
                    <a:pt x="501" y="209"/>
                  </a:lnTo>
                  <a:lnTo>
                    <a:pt x="501" y="210"/>
                  </a:lnTo>
                  <a:lnTo>
                    <a:pt x="501" y="211"/>
                  </a:lnTo>
                  <a:lnTo>
                    <a:pt x="501" y="212"/>
                  </a:lnTo>
                  <a:lnTo>
                    <a:pt x="500" y="213"/>
                  </a:lnTo>
                  <a:lnTo>
                    <a:pt x="500" y="214"/>
                  </a:lnTo>
                  <a:lnTo>
                    <a:pt x="499" y="216"/>
                  </a:lnTo>
                  <a:lnTo>
                    <a:pt x="499" y="217"/>
                  </a:lnTo>
                  <a:lnTo>
                    <a:pt x="498" y="218"/>
                  </a:lnTo>
                  <a:lnTo>
                    <a:pt x="498" y="219"/>
                  </a:lnTo>
                  <a:lnTo>
                    <a:pt x="497" y="220"/>
                  </a:lnTo>
                  <a:lnTo>
                    <a:pt x="497" y="221"/>
                  </a:lnTo>
                  <a:lnTo>
                    <a:pt x="497" y="221"/>
                  </a:lnTo>
                  <a:lnTo>
                    <a:pt x="495" y="222"/>
                  </a:lnTo>
                  <a:lnTo>
                    <a:pt x="493" y="224"/>
                  </a:lnTo>
                  <a:lnTo>
                    <a:pt x="491" y="226"/>
                  </a:lnTo>
                  <a:lnTo>
                    <a:pt x="490" y="226"/>
                  </a:lnTo>
                  <a:lnTo>
                    <a:pt x="489" y="227"/>
                  </a:lnTo>
                  <a:lnTo>
                    <a:pt x="488" y="227"/>
                  </a:lnTo>
                  <a:lnTo>
                    <a:pt x="488" y="229"/>
                  </a:lnTo>
                  <a:lnTo>
                    <a:pt x="487" y="230"/>
                  </a:lnTo>
                  <a:lnTo>
                    <a:pt x="486" y="231"/>
                  </a:lnTo>
                  <a:lnTo>
                    <a:pt x="484" y="235"/>
                  </a:lnTo>
                  <a:lnTo>
                    <a:pt x="483" y="236"/>
                  </a:lnTo>
                  <a:lnTo>
                    <a:pt x="483" y="237"/>
                  </a:lnTo>
                  <a:lnTo>
                    <a:pt x="482" y="238"/>
                  </a:lnTo>
                  <a:lnTo>
                    <a:pt x="481" y="239"/>
                  </a:lnTo>
                  <a:lnTo>
                    <a:pt x="481" y="239"/>
                  </a:lnTo>
                  <a:lnTo>
                    <a:pt x="479" y="241"/>
                  </a:lnTo>
                  <a:lnTo>
                    <a:pt x="479" y="241"/>
                  </a:lnTo>
                  <a:lnTo>
                    <a:pt x="478" y="241"/>
                  </a:lnTo>
                  <a:lnTo>
                    <a:pt x="478" y="242"/>
                  </a:lnTo>
                  <a:lnTo>
                    <a:pt x="478" y="243"/>
                  </a:lnTo>
                  <a:lnTo>
                    <a:pt x="477" y="244"/>
                  </a:lnTo>
                  <a:lnTo>
                    <a:pt x="477" y="245"/>
                  </a:lnTo>
                  <a:lnTo>
                    <a:pt x="477" y="246"/>
                  </a:lnTo>
                  <a:lnTo>
                    <a:pt x="477" y="247"/>
                  </a:lnTo>
                  <a:lnTo>
                    <a:pt x="478" y="249"/>
                  </a:lnTo>
                  <a:lnTo>
                    <a:pt x="478" y="250"/>
                  </a:lnTo>
                  <a:lnTo>
                    <a:pt x="478" y="250"/>
                  </a:lnTo>
                  <a:lnTo>
                    <a:pt x="478" y="250"/>
                  </a:lnTo>
                  <a:lnTo>
                    <a:pt x="479" y="251"/>
                  </a:lnTo>
                  <a:lnTo>
                    <a:pt x="479" y="251"/>
                  </a:lnTo>
                  <a:lnTo>
                    <a:pt x="480" y="251"/>
                  </a:lnTo>
                  <a:lnTo>
                    <a:pt x="481" y="251"/>
                  </a:lnTo>
                  <a:lnTo>
                    <a:pt x="482" y="252"/>
                  </a:lnTo>
                  <a:lnTo>
                    <a:pt x="483" y="252"/>
                  </a:lnTo>
                  <a:lnTo>
                    <a:pt x="484" y="251"/>
                  </a:lnTo>
                  <a:lnTo>
                    <a:pt x="485" y="251"/>
                  </a:lnTo>
                  <a:lnTo>
                    <a:pt x="486" y="251"/>
                  </a:lnTo>
                  <a:lnTo>
                    <a:pt x="488" y="251"/>
                  </a:lnTo>
                  <a:lnTo>
                    <a:pt x="490" y="250"/>
                  </a:lnTo>
                  <a:lnTo>
                    <a:pt x="497" y="247"/>
                  </a:lnTo>
                  <a:lnTo>
                    <a:pt x="499" y="247"/>
                  </a:lnTo>
                  <a:lnTo>
                    <a:pt x="500" y="246"/>
                  </a:lnTo>
                  <a:lnTo>
                    <a:pt x="501" y="246"/>
                  </a:lnTo>
                  <a:lnTo>
                    <a:pt x="502" y="246"/>
                  </a:lnTo>
                  <a:lnTo>
                    <a:pt x="503" y="246"/>
                  </a:lnTo>
                  <a:lnTo>
                    <a:pt x="504" y="246"/>
                  </a:lnTo>
                  <a:lnTo>
                    <a:pt x="505" y="246"/>
                  </a:lnTo>
                  <a:lnTo>
                    <a:pt x="505" y="246"/>
                  </a:lnTo>
                  <a:lnTo>
                    <a:pt x="506" y="247"/>
                  </a:lnTo>
                  <a:lnTo>
                    <a:pt x="506" y="247"/>
                  </a:lnTo>
                  <a:lnTo>
                    <a:pt x="507" y="248"/>
                  </a:lnTo>
                  <a:lnTo>
                    <a:pt x="507" y="249"/>
                  </a:lnTo>
                  <a:lnTo>
                    <a:pt x="509" y="250"/>
                  </a:lnTo>
                  <a:lnTo>
                    <a:pt x="510" y="252"/>
                  </a:lnTo>
                  <a:lnTo>
                    <a:pt x="510" y="253"/>
                  </a:lnTo>
                  <a:lnTo>
                    <a:pt x="511" y="254"/>
                  </a:lnTo>
                  <a:lnTo>
                    <a:pt x="511" y="256"/>
                  </a:lnTo>
                  <a:lnTo>
                    <a:pt x="511" y="256"/>
                  </a:lnTo>
                  <a:lnTo>
                    <a:pt x="511" y="258"/>
                  </a:lnTo>
                  <a:lnTo>
                    <a:pt x="511" y="259"/>
                  </a:lnTo>
                  <a:lnTo>
                    <a:pt x="511" y="260"/>
                  </a:lnTo>
                  <a:lnTo>
                    <a:pt x="511" y="264"/>
                  </a:lnTo>
                  <a:lnTo>
                    <a:pt x="511" y="265"/>
                  </a:lnTo>
                  <a:lnTo>
                    <a:pt x="511" y="266"/>
                  </a:lnTo>
                  <a:lnTo>
                    <a:pt x="511" y="267"/>
                  </a:lnTo>
                  <a:lnTo>
                    <a:pt x="511" y="267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3" y="269"/>
                  </a:lnTo>
                  <a:lnTo>
                    <a:pt x="516" y="269"/>
                  </a:lnTo>
                  <a:lnTo>
                    <a:pt x="517" y="270"/>
                  </a:lnTo>
                  <a:lnTo>
                    <a:pt x="517" y="270"/>
                  </a:lnTo>
                  <a:lnTo>
                    <a:pt x="518" y="270"/>
                  </a:lnTo>
                  <a:lnTo>
                    <a:pt x="520" y="271"/>
                  </a:lnTo>
                  <a:lnTo>
                    <a:pt x="522" y="272"/>
                  </a:lnTo>
                  <a:lnTo>
                    <a:pt x="522" y="272"/>
                  </a:lnTo>
                  <a:lnTo>
                    <a:pt x="523" y="273"/>
                  </a:lnTo>
                  <a:lnTo>
                    <a:pt x="524" y="273"/>
                  </a:lnTo>
                  <a:lnTo>
                    <a:pt x="525" y="274"/>
                  </a:lnTo>
                  <a:lnTo>
                    <a:pt x="527" y="276"/>
                  </a:lnTo>
                  <a:lnTo>
                    <a:pt x="527" y="276"/>
                  </a:lnTo>
                  <a:lnTo>
                    <a:pt x="528" y="277"/>
                  </a:lnTo>
                  <a:lnTo>
                    <a:pt x="529" y="277"/>
                  </a:lnTo>
                  <a:lnTo>
                    <a:pt x="529" y="277"/>
                  </a:lnTo>
                  <a:lnTo>
                    <a:pt x="531" y="278"/>
                  </a:lnTo>
                  <a:lnTo>
                    <a:pt x="536" y="278"/>
                  </a:lnTo>
                  <a:lnTo>
                    <a:pt x="539" y="279"/>
                  </a:lnTo>
                  <a:lnTo>
                    <a:pt x="544" y="280"/>
                  </a:lnTo>
                  <a:lnTo>
                    <a:pt x="545" y="280"/>
                  </a:lnTo>
                  <a:lnTo>
                    <a:pt x="546" y="280"/>
                  </a:lnTo>
                  <a:lnTo>
                    <a:pt x="546" y="281"/>
                  </a:lnTo>
                  <a:lnTo>
                    <a:pt x="547" y="281"/>
                  </a:lnTo>
                  <a:lnTo>
                    <a:pt x="549" y="282"/>
                  </a:lnTo>
                  <a:lnTo>
                    <a:pt x="550" y="283"/>
                  </a:lnTo>
                  <a:lnTo>
                    <a:pt x="550" y="284"/>
                  </a:lnTo>
                  <a:lnTo>
                    <a:pt x="551" y="284"/>
                  </a:lnTo>
                  <a:lnTo>
                    <a:pt x="551" y="284"/>
                  </a:lnTo>
                  <a:lnTo>
                    <a:pt x="551" y="285"/>
                  </a:lnTo>
                  <a:lnTo>
                    <a:pt x="551" y="287"/>
                  </a:lnTo>
                  <a:lnTo>
                    <a:pt x="552" y="288"/>
                  </a:lnTo>
                  <a:lnTo>
                    <a:pt x="552" y="291"/>
                  </a:lnTo>
                  <a:lnTo>
                    <a:pt x="552" y="292"/>
                  </a:lnTo>
                  <a:lnTo>
                    <a:pt x="552" y="292"/>
                  </a:lnTo>
                  <a:lnTo>
                    <a:pt x="553" y="293"/>
                  </a:lnTo>
                  <a:lnTo>
                    <a:pt x="553" y="294"/>
                  </a:lnTo>
                  <a:lnTo>
                    <a:pt x="553" y="294"/>
                  </a:lnTo>
                  <a:lnTo>
                    <a:pt x="554" y="294"/>
                  </a:lnTo>
                  <a:lnTo>
                    <a:pt x="554" y="294"/>
                  </a:lnTo>
                  <a:lnTo>
                    <a:pt x="555" y="295"/>
                  </a:lnTo>
                  <a:lnTo>
                    <a:pt x="556" y="295"/>
                  </a:lnTo>
                  <a:lnTo>
                    <a:pt x="558" y="295"/>
                  </a:lnTo>
                  <a:lnTo>
                    <a:pt x="560" y="295"/>
                  </a:lnTo>
                  <a:lnTo>
                    <a:pt x="561" y="296"/>
                  </a:lnTo>
                  <a:lnTo>
                    <a:pt x="562" y="296"/>
                  </a:lnTo>
                  <a:lnTo>
                    <a:pt x="563" y="296"/>
                  </a:lnTo>
                  <a:lnTo>
                    <a:pt x="563" y="297"/>
                  </a:lnTo>
                  <a:lnTo>
                    <a:pt x="564" y="297"/>
                  </a:lnTo>
                  <a:lnTo>
                    <a:pt x="570" y="301"/>
                  </a:lnTo>
                  <a:lnTo>
                    <a:pt x="571" y="302"/>
                  </a:lnTo>
                  <a:lnTo>
                    <a:pt x="572" y="303"/>
                  </a:lnTo>
                  <a:lnTo>
                    <a:pt x="574" y="304"/>
                  </a:lnTo>
                  <a:lnTo>
                    <a:pt x="575" y="304"/>
                  </a:lnTo>
                  <a:lnTo>
                    <a:pt x="575" y="304"/>
                  </a:lnTo>
                  <a:lnTo>
                    <a:pt x="576" y="304"/>
                  </a:lnTo>
                  <a:lnTo>
                    <a:pt x="577" y="305"/>
                  </a:lnTo>
                  <a:lnTo>
                    <a:pt x="578" y="304"/>
                  </a:lnTo>
                  <a:lnTo>
                    <a:pt x="579" y="304"/>
                  </a:lnTo>
                  <a:lnTo>
                    <a:pt x="580" y="304"/>
                  </a:lnTo>
                  <a:lnTo>
                    <a:pt x="584" y="303"/>
                  </a:lnTo>
                  <a:lnTo>
                    <a:pt x="586" y="303"/>
                  </a:lnTo>
                  <a:lnTo>
                    <a:pt x="587" y="303"/>
                  </a:lnTo>
                  <a:lnTo>
                    <a:pt x="590" y="303"/>
                  </a:lnTo>
                  <a:lnTo>
                    <a:pt x="594" y="302"/>
                  </a:lnTo>
                  <a:lnTo>
                    <a:pt x="594" y="302"/>
                  </a:lnTo>
                  <a:lnTo>
                    <a:pt x="595" y="302"/>
                  </a:lnTo>
                  <a:lnTo>
                    <a:pt x="596" y="302"/>
                  </a:lnTo>
                  <a:lnTo>
                    <a:pt x="596" y="302"/>
                  </a:lnTo>
                  <a:lnTo>
                    <a:pt x="597" y="303"/>
                  </a:lnTo>
                  <a:lnTo>
                    <a:pt x="600" y="304"/>
                  </a:lnTo>
                  <a:lnTo>
                    <a:pt x="602" y="304"/>
                  </a:lnTo>
                  <a:lnTo>
                    <a:pt x="603" y="305"/>
                  </a:lnTo>
                  <a:lnTo>
                    <a:pt x="604" y="305"/>
                  </a:lnTo>
                  <a:lnTo>
                    <a:pt x="605" y="306"/>
                  </a:lnTo>
                  <a:lnTo>
                    <a:pt x="607" y="307"/>
                  </a:lnTo>
                  <a:lnTo>
                    <a:pt x="608" y="308"/>
                  </a:lnTo>
                  <a:lnTo>
                    <a:pt x="608" y="308"/>
                  </a:lnTo>
                  <a:lnTo>
                    <a:pt x="608" y="309"/>
                  </a:lnTo>
                  <a:lnTo>
                    <a:pt x="609" y="309"/>
                  </a:lnTo>
                  <a:lnTo>
                    <a:pt x="609" y="310"/>
                  </a:lnTo>
                  <a:lnTo>
                    <a:pt x="609" y="310"/>
                  </a:lnTo>
                  <a:lnTo>
                    <a:pt x="609" y="311"/>
                  </a:lnTo>
                  <a:lnTo>
                    <a:pt x="610" y="312"/>
                  </a:lnTo>
                  <a:lnTo>
                    <a:pt x="610" y="313"/>
                  </a:lnTo>
                  <a:lnTo>
                    <a:pt x="610" y="315"/>
                  </a:lnTo>
                  <a:lnTo>
                    <a:pt x="610" y="316"/>
                  </a:lnTo>
                  <a:lnTo>
                    <a:pt x="610" y="317"/>
                  </a:lnTo>
                  <a:lnTo>
                    <a:pt x="611" y="317"/>
                  </a:lnTo>
                  <a:lnTo>
                    <a:pt x="611" y="318"/>
                  </a:lnTo>
                  <a:lnTo>
                    <a:pt x="611" y="318"/>
                  </a:lnTo>
                  <a:lnTo>
                    <a:pt x="612" y="319"/>
                  </a:lnTo>
                  <a:lnTo>
                    <a:pt x="612" y="319"/>
                  </a:lnTo>
                  <a:lnTo>
                    <a:pt x="613" y="319"/>
                  </a:lnTo>
                  <a:lnTo>
                    <a:pt x="614" y="320"/>
                  </a:lnTo>
                  <a:lnTo>
                    <a:pt x="616" y="321"/>
                  </a:lnTo>
                  <a:lnTo>
                    <a:pt x="617" y="321"/>
                  </a:lnTo>
                  <a:lnTo>
                    <a:pt x="624" y="324"/>
                  </a:lnTo>
                  <a:lnTo>
                    <a:pt x="625" y="325"/>
                  </a:lnTo>
                  <a:lnTo>
                    <a:pt x="626" y="326"/>
                  </a:lnTo>
                  <a:lnTo>
                    <a:pt x="627" y="327"/>
                  </a:lnTo>
                  <a:lnTo>
                    <a:pt x="628" y="328"/>
                  </a:lnTo>
                  <a:lnTo>
                    <a:pt x="630" y="329"/>
                  </a:lnTo>
                  <a:lnTo>
                    <a:pt x="631" y="330"/>
                  </a:lnTo>
                  <a:lnTo>
                    <a:pt x="632" y="332"/>
                  </a:lnTo>
                  <a:lnTo>
                    <a:pt x="635" y="337"/>
                  </a:lnTo>
                  <a:lnTo>
                    <a:pt x="638" y="340"/>
                  </a:lnTo>
                  <a:lnTo>
                    <a:pt x="638" y="341"/>
                  </a:lnTo>
                  <a:lnTo>
                    <a:pt x="639" y="342"/>
                  </a:lnTo>
                  <a:lnTo>
                    <a:pt x="639" y="343"/>
                  </a:lnTo>
                  <a:lnTo>
                    <a:pt x="641" y="346"/>
                  </a:lnTo>
                  <a:lnTo>
                    <a:pt x="641" y="348"/>
                  </a:lnTo>
                  <a:lnTo>
                    <a:pt x="642" y="349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1" y="350"/>
                  </a:lnTo>
                  <a:lnTo>
                    <a:pt x="641" y="350"/>
                  </a:lnTo>
                  <a:lnTo>
                    <a:pt x="640" y="350"/>
                  </a:lnTo>
                  <a:lnTo>
                    <a:pt x="638" y="351"/>
                  </a:lnTo>
                  <a:lnTo>
                    <a:pt x="635" y="354"/>
                  </a:lnTo>
                  <a:lnTo>
                    <a:pt x="630" y="357"/>
                  </a:lnTo>
                  <a:lnTo>
                    <a:pt x="629" y="358"/>
                  </a:lnTo>
                  <a:lnTo>
                    <a:pt x="626" y="361"/>
                  </a:lnTo>
                  <a:lnTo>
                    <a:pt x="625" y="361"/>
                  </a:lnTo>
                  <a:lnTo>
                    <a:pt x="624" y="362"/>
                  </a:lnTo>
                  <a:lnTo>
                    <a:pt x="623" y="362"/>
                  </a:lnTo>
                  <a:lnTo>
                    <a:pt x="623" y="362"/>
                  </a:lnTo>
                  <a:lnTo>
                    <a:pt x="622" y="363"/>
                  </a:lnTo>
                  <a:lnTo>
                    <a:pt x="621" y="363"/>
                  </a:lnTo>
                  <a:lnTo>
                    <a:pt x="619" y="363"/>
                  </a:lnTo>
                  <a:lnTo>
                    <a:pt x="616" y="364"/>
                  </a:lnTo>
                  <a:lnTo>
                    <a:pt x="615" y="364"/>
                  </a:lnTo>
                  <a:lnTo>
                    <a:pt x="615" y="364"/>
                  </a:lnTo>
                  <a:lnTo>
                    <a:pt x="614" y="365"/>
                  </a:lnTo>
                  <a:lnTo>
                    <a:pt x="613" y="366"/>
                  </a:lnTo>
                  <a:lnTo>
                    <a:pt x="612" y="367"/>
                  </a:lnTo>
                  <a:lnTo>
                    <a:pt x="611" y="367"/>
                  </a:lnTo>
                  <a:lnTo>
                    <a:pt x="611" y="367"/>
                  </a:lnTo>
                  <a:lnTo>
                    <a:pt x="610" y="367"/>
                  </a:lnTo>
                  <a:lnTo>
                    <a:pt x="608" y="368"/>
                  </a:lnTo>
                  <a:lnTo>
                    <a:pt x="607" y="368"/>
                  </a:lnTo>
                  <a:lnTo>
                    <a:pt x="607" y="368"/>
                  </a:lnTo>
                  <a:lnTo>
                    <a:pt x="606" y="368"/>
                  </a:lnTo>
                  <a:lnTo>
                    <a:pt x="605" y="368"/>
                  </a:lnTo>
                  <a:lnTo>
                    <a:pt x="605" y="367"/>
                  </a:lnTo>
                  <a:lnTo>
                    <a:pt x="604" y="367"/>
                  </a:lnTo>
                  <a:lnTo>
                    <a:pt x="603" y="366"/>
                  </a:lnTo>
                  <a:lnTo>
                    <a:pt x="603" y="366"/>
                  </a:lnTo>
                  <a:lnTo>
                    <a:pt x="602" y="366"/>
                  </a:lnTo>
                  <a:lnTo>
                    <a:pt x="600" y="365"/>
                  </a:lnTo>
                  <a:lnTo>
                    <a:pt x="600" y="365"/>
                  </a:lnTo>
                  <a:lnTo>
                    <a:pt x="599" y="364"/>
                  </a:lnTo>
                  <a:lnTo>
                    <a:pt x="598" y="363"/>
                  </a:lnTo>
                  <a:lnTo>
                    <a:pt x="594" y="361"/>
                  </a:lnTo>
                  <a:lnTo>
                    <a:pt x="593" y="360"/>
                  </a:lnTo>
                  <a:lnTo>
                    <a:pt x="591" y="359"/>
                  </a:lnTo>
                  <a:lnTo>
                    <a:pt x="590" y="359"/>
                  </a:lnTo>
                  <a:lnTo>
                    <a:pt x="589" y="358"/>
                  </a:lnTo>
                  <a:lnTo>
                    <a:pt x="587" y="358"/>
                  </a:lnTo>
                  <a:lnTo>
                    <a:pt x="586" y="358"/>
                  </a:lnTo>
                  <a:lnTo>
                    <a:pt x="585" y="358"/>
                  </a:lnTo>
                  <a:lnTo>
                    <a:pt x="584" y="358"/>
                  </a:lnTo>
                  <a:lnTo>
                    <a:pt x="583" y="358"/>
                  </a:lnTo>
                  <a:lnTo>
                    <a:pt x="583" y="358"/>
                  </a:lnTo>
                  <a:lnTo>
                    <a:pt x="582" y="358"/>
                  </a:lnTo>
                  <a:lnTo>
                    <a:pt x="581" y="358"/>
                  </a:lnTo>
                  <a:lnTo>
                    <a:pt x="579" y="359"/>
                  </a:lnTo>
                  <a:lnTo>
                    <a:pt x="579" y="360"/>
                  </a:lnTo>
                  <a:lnTo>
                    <a:pt x="578" y="361"/>
                  </a:lnTo>
                  <a:lnTo>
                    <a:pt x="575" y="363"/>
                  </a:lnTo>
                  <a:lnTo>
                    <a:pt x="574" y="364"/>
                  </a:lnTo>
                  <a:lnTo>
                    <a:pt x="569" y="367"/>
                  </a:lnTo>
                  <a:lnTo>
                    <a:pt x="568" y="368"/>
                  </a:lnTo>
                  <a:lnTo>
                    <a:pt x="567" y="369"/>
                  </a:lnTo>
                  <a:lnTo>
                    <a:pt x="566" y="369"/>
                  </a:lnTo>
                  <a:lnTo>
                    <a:pt x="565" y="369"/>
                  </a:lnTo>
                  <a:lnTo>
                    <a:pt x="565" y="369"/>
                  </a:lnTo>
                  <a:lnTo>
                    <a:pt x="564" y="369"/>
                  </a:lnTo>
                  <a:lnTo>
                    <a:pt x="562" y="370"/>
                  </a:lnTo>
                  <a:lnTo>
                    <a:pt x="559" y="370"/>
                  </a:lnTo>
                  <a:lnTo>
                    <a:pt x="558" y="370"/>
                  </a:lnTo>
                  <a:lnTo>
                    <a:pt x="557" y="370"/>
                  </a:lnTo>
                  <a:lnTo>
                    <a:pt x="556" y="369"/>
                  </a:lnTo>
                  <a:lnTo>
                    <a:pt x="555" y="369"/>
                  </a:lnTo>
                  <a:lnTo>
                    <a:pt x="555" y="369"/>
                  </a:lnTo>
                  <a:lnTo>
                    <a:pt x="553" y="368"/>
                  </a:lnTo>
                  <a:lnTo>
                    <a:pt x="552" y="367"/>
                  </a:lnTo>
                  <a:lnTo>
                    <a:pt x="551" y="367"/>
                  </a:lnTo>
                  <a:lnTo>
                    <a:pt x="549" y="365"/>
                  </a:lnTo>
                  <a:lnTo>
                    <a:pt x="548" y="364"/>
                  </a:lnTo>
                  <a:lnTo>
                    <a:pt x="546" y="362"/>
                  </a:lnTo>
                  <a:lnTo>
                    <a:pt x="543" y="360"/>
                  </a:lnTo>
                  <a:lnTo>
                    <a:pt x="542" y="359"/>
                  </a:lnTo>
                  <a:lnTo>
                    <a:pt x="542" y="359"/>
                  </a:lnTo>
                  <a:lnTo>
                    <a:pt x="541" y="358"/>
                  </a:lnTo>
                  <a:lnTo>
                    <a:pt x="538" y="357"/>
                  </a:lnTo>
                  <a:lnTo>
                    <a:pt x="537" y="357"/>
                  </a:lnTo>
                  <a:lnTo>
                    <a:pt x="533" y="354"/>
                  </a:lnTo>
                  <a:lnTo>
                    <a:pt x="530" y="352"/>
                  </a:lnTo>
                  <a:lnTo>
                    <a:pt x="529" y="351"/>
                  </a:lnTo>
                  <a:lnTo>
                    <a:pt x="528" y="351"/>
                  </a:lnTo>
                  <a:lnTo>
                    <a:pt x="527" y="351"/>
                  </a:lnTo>
                  <a:lnTo>
                    <a:pt x="523" y="349"/>
                  </a:lnTo>
                  <a:lnTo>
                    <a:pt x="520" y="348"/>
                  </a:lnTo>
                  <a:lnTo>
                    <a:pt x="518" y="348"/>
                  </a:lnTo>
                  <a:lnTo>
                    <a:pt x="517" y="347"/>
                  </a:lnTo>
                  <a:lnTo>
                    <a:pt x="515" y="347"/>
                  </a:lnTo>
                  <a:lnTo>
                    <a:pt x="514" y="346"/>
                  </a:lnTo>
                  <a:lnTo>
                    <a:pt x="512" y="346"/>
                  </a:lnTo>
                  <a:lnTo>
                    <a:pt x="511" y="346"/>
                  </a:lnTo>
                  <a:lnTo>
                    <a:pt x="509" y="345"/>
                  </a:lnTo>
                  <a:lnTo>
                    <a:pt x="508" y="345"/>
                  </a:lnTo>
                  <a:lnTo>
                    <a:pt x="507" y="345"/>
                  </a:lnTo>
                  <a:lnTo>
                    <a:pt x="506" y="346"/>
                  </a:lnTo>
                  <a:lnTo>
                    <a:pt x="505" y="346"/>
                  </a:lnTo>
                  <a:lnTo>
                    <a:pt x="505" y="346"/>
                  </a:lnTo>
                  <a:lnTo>
                    <a:pt x="504" y="347"/>
                  </a:lnTo>
                  <a:lnTo>
                    <a:pt x="503" y="347"/>
                  </a:lnTo>
                  <a:lnTo>
                    <a:pt x="502" y="348"/>
                  </a:lnTo>
                  <a:lnTo>
                    <a:pt x="501" y="348"/>
                  </a:lnTo>
                  <a:lnTo>
                    <a:pt x="499" y="350"/>
                  </a:lnTo>
                  <a:lnTo>
                    <a:pt x="497" y="353"/>
                  </a:lnTo>
                  <a:lnTo>
                    <a:pt x="492" y="357"/>
                  </a:lnTo>
                  <a:lnTo>
                    <a:pt x="490" y="358"/>
                  </a:lnTo>
                  <a:lnTo>
                    <a:pt x="486" y="361"/>
                  </a:lnTo>
                  <a:lnTo>
                    <a:pt x="484" y="363"/>
                  </a:lnTo>
                  <a:lnTo>
                    <a:pt x="483" y="364"/>
                  </a:lnTo>
                  <a:lnTo>
                    <a:pt x="482" y="365"/>
                  </a:lnTo>
                  <a:lnTo>
                    <a:pt x="481" y="366"/>
                  </a:lnTo>
                  <a:lnTo>
                    <a:pt x="480" y="367"/>
                  </a:lnTo>
                  <a:lnTo>
                    <a:pt x="480" y="367"/>
                  </a:lnTo>
                  <a:lnTo>
                    <a:pt x="479" y="368"/>
                  </a:lnTo>
                  <a:lnTo>
                    <a:pt x="479" y="369"/>
                  </a:lnTo>
                  <a:lnTo>
                    <a:pt x="478" y="370"/>
                  </a:lnTo>
                  <a:lnTo>
                    <a:pt x="477" y="375"/>
                  </a:lnTo>
                  <a:lnTo>
                    <a:pt x="476" y="376"/>
                  </a:lnTo>
                  <a:lnTo>
                    <a:pt x="476" y="377"/>
                  </a:lnTo>
                  <a:lnTo>
                    <a:pt x="475" y="378"/>
                  </a:lnTo>
                  <a:lnTo>
                    <a:pt x="474" y="380"/>
                  </a:lnTo>
                  <a:lnTo>
                    <a:pt x="473" y="383"/>
                  </a:lnTo>
                  <a:lnTo>
                    <a:pt x="472" y="385"/>
                  </a:lnTo>
                  <a:lnTo>
                    <a:pt x="471" y="386"/>
                  </a:lnTo>
                  <a:lnTo>
                    <a:pt x="470" y="387"/>
                  </a:lnTo>
                  <a:lnTo>
                    <a:pt x="466" y="391"/>
                  </a:lnTo>
                  <a:lnTo>
                    <a:pt x="462" y="396"/>
                  </a:lnTo>
                  <a:lnTo>
                    <a:pt x="461" y="397"/>
                  </a:lnTo>
                  <a:lnTo>
                    <a:pt x="459" y="399"/>
                  </a:lnTo>
                  <a:lnTo>
                    <a:pt x="459" y="400"/>
                  </a:lnTo>
                  <a:lnTo>
                    <a:pt x="455" y="406"/>
                  </a:lnTo>
                  <a:lnTo>
                    <a:pt x="454" y="408"/>
                  </a:lnTo>
                  <a:lnTo>
                    <a:pt x="452" y="412"/>
                  </a:lnTo>
                  <a:lnTo>
                    <a:pt x="451" y="414"/>
                  </a:lnTo>
                  <a:lnTo>
                    <a:pt x="449" y="418"/>
                  </a:lnTo>
                  <a:lnTo>
                    <a:pt x="448" y="421"/>
                  </a:lnTo>
                  <a:lnTo>
                    <a:pt x="447" y="423"/>
                  </a:lnTo>
                  <a:lnTo>
                    <a:pt x="446" y="425"/>
                  </a:lnTo>
                  <a:lnTo>
                    <a:pt x="445" y="429"/>
                  </a:lnTo>
                  <a:lnTo>
                    <a:pt x="444" y="431"/>
                  </a:lnTo>
                  <a:lnTo>
                    <a:pt x="444" y="432"/>
                  </a:lnTo>
                  <a:lnTo>
                    <a:pt x="442" y="435"/>
                  </a:lnTo>
                  <a:lnTo>
                    <a:pt x="441" y="436"/>
                  </a:lnTo>
                  <a:lnTo>
                    <a:pt x="440" y="438"/>
                  </a:lnTo>
                  <a:lnTo>
                    <a:pt x="439" y="440"/>
                  </a:lnTo>
                  <a:lnTo>
                    <a:pt x="439" y="442"/>
                  </a:lnTo>
                  <a:lnTo>
                    <a:pt x="439" y="443"/>
                  </a:lnTo>
                  <a:lnTo>
                    <a:pt x="438" y="444"/>
                  </a:lnTo>
                  <a:lnTo>
                    <a:pt x="438" y="447"/>
                  </a:lnTo>
                  <a:lnTo>
                    <a:pt x="437" y="451"/>
                  </a:lnTo>
                  <a:lnTo>
                    <a:pt x="436" y="453"/>
                  </a:lnTo>
                  <a:lnTo>
                    <a:pt x="436" y="455"/>
                  </a:lnTo>
                  <a:lnTo>
                    <a:pt x="436" y="456"/>
                  </a:lnTo>
                  <a:lnTo>
                    <a:pt x="435" y="458"/>
                  </a:lnTo>
                  <a:lnTo>
                    <a:pt x="435" y="458"/>
                  </a:lnTo>
                  <a:lnTo>
                    <a:pt x="434" y="460"/>
                  </a:lnTo>
                  <a:lnTo>
                    <a:pt x="434" y="461"/>
                  </a:lnTo>
                  <a:lnTo>
                    <a:pt x="433" y="461"/>
                  </a:lnTo>
                  <a:lnTo>
                    <a:pt x="432" y="462"/>
                  </a:lnTo>
                  <a:lnTo>
                    <a:pt x="431" y="463"/>
                  </a:lnTo>
                  <a:lnTo>
                    <a:pt x="431" y="463"/>
                  </a:lnTo>
                  <a:lnTo>
                    <a:pt x="430" y="464"/>
                  </a:lnTo>
                  <a:lnTo>
                    <a:pt x="429" y="464"/>
                  </a:lnTo>
                  <a:lnTo>
                    <a:pt x="429" y="464"/>
                  </a:lnTo>
                  <a:lnTo>
                    <a:pt x="428" y="464"/>
                  </a:lnTo>
                  <a:lnTo>
                    <a:pt x="428" y="464"/>
                  </a:lnTo>
                  <a:lnTo>
                    <a:pt x="427" y="464"/>
                  </a:lnTo>
                  <a:lnTo>
                    <a:pt x="426" y="464"/>
                  </a:lnTo>
                  <a:lnTo>
                    <a:pt x="426" y="463"/>
                  </a:lnTo>
                  <a:lnTo>
                    <a:pt x="425" y="463"/>
                  </a:lnTo>
                  <a:lnTo>
                    <a:pt x="425" y="462"/>
                  </a:lnTo>
                  <a:lnTo>
                    <a:pt x="425" y="462"/>
                  </a:lnTo>
                  <a:lnTo>
                    <a:pt x="425" y="461"/>
                  </a:lnTo>
                  <a:lnTo>
                    <a:pt x="425" y="460"/>
                  </a:lnTo>
                  <a:lnTo>
                    <a:pt x="425" y="460"/>
                  </a:lnTo>
                  <a:lnTo>
                    <a:pt x="424" y="456"/>
                  </a:lnTo>
                  <a:lnTo>
                    <a:pt x="423" y="452"/>
                  </a:lnTo>
                  <a:lnTo>
                    <a:pt x="423" y="450"/>
                  </a:lnTo>
                  <a:lnTo>
                    <a:pt x="423" y="447"/>
                  </a:lnTo>
                  <a:lnTo>
                    <a:pt x="423" y="445"/>
                  </a:lnTo>
                  <a:lnTo>
                    <a:pt x="422" y="442"/>
                  </a:lnTo>
                  <a:lnTo>
                    <a:pt x="421" y="439"/>
                  </a:lnTo>
                  <a:lnTo>
                    <a:pt x="421" y="438"/>
                  </a:lnTo>
                  <a:lnTo>
                    <a:pt x="421" y="436"/>
                  </a:lnTo>
                  <a:lnTo>
                    <a:pt x="421" y="432"/>
                  </a:lnTo>
                  <a:lnTo>
                    <a:pt x="420" y="431"/>
                  </a:lnTo>
                  <a:lnTo>
                    <a:pt x="420" y="429"/>
                  </a:lnTo>
                  <a:lnTo>
                    <a:pt x="420" y="428"/>
                  </a:lnTo>
                  <a:lnTo>
                    <a:pt x="420" y="427"/>
                  </a:lnTo>
                  <a:lnTo>
                    <a:pt x="419" y="426"/>
                  </a:lnTo>
                  <a:lnTo>
                    <a:pt x="419" y="425"/>
                  </a:lnTo>
                  <a:lnTo>
                    <a:pt x="418" y="424"/>
                  </a:lnTo>
                  <a:lnTo>
                    <a:pt x="417" y="423"/>
                  </a:lnTo>
                  <a:lnTo>
                    <a:pt x="416" y="422"/>
                  </a:lnTo>
                  <a:lnTo>
                    <a:pt x="416" y="421"/>
                  </a:lnTo>
                  <a:lnTo>
                    <a:pt x="415" y="421"/>
                  </a:lnTo>
                  <a:lnTo>
                    <a:pt x="415" y="421"/>
                  </a:lnTo>
                  <a:lnTo>
                    <a:pt x="414" y="421"/>
                  </a:lnTo>
                  <a:lnTo>
                    <a:pt x="413" y="420"/>
                  </a:lnTo>
                  <a:lnTo>
                    <a:pt x="412" y="420"/>
                  </a:lnTo>
                  <a:lnTo>
                    <a:pt x="411" y="420"/>
                  </a:lnTo>
                  <a:lnTo>
                    <a:pt x="410" y="420"/>
                  </a:lnTo>
                  <a:lnTo>
                    <a:pt x="410" y="420"/>
                  </a:lnTo>
                  <a:lnTo>
                    <a:pt x="409" y="420"/>
                  </a:lnTo>
                  <a:lnTo>
                    <a:pt x="408" y="420"/>
                  </a:lnTo>
                  <a:lnTo>
                    <a:pt x="406" y="421"/>
                  </a:lnTo>
                  <a:lnTo>
                    <a:pt x="405" y="421"/>
                  </a:lnTo>
                  <a:lnTo>
                    <a:pt x="403" y="421"/>
                  </a:lnTo>
                  <a:lnTo>
                    <a:pt x="401" y="422"/>
                  </a:lnTo>
                  <a:lnTo>
                    <a:pt x="399" y="422"/>
                  </a:lnTo>
                  <a:lnTo>
                    <a:pt x="396" y="422"/>
                  </a:lnTo>
                  <a:lnTo>
                    <a:pt x="392" y="423"/>
                  </a:lnTo>
                  <a:lnTo>
                    <a:pt x="390" y="423"/>
                  </a:lnTo>
                  <a:lnTo>
                    <a:pt x="387" y="424"/>
                  </a:lnTo>
                  <a:lnTo>
                    <a:pt x="386" y="424"/>
                  </a:lnTo>
                  <a:lnTo>
                    <a:pt x="385" y="424"/>
                  </a:lnTo>
                  <a:lnTo>
                    <a:pt x="383" y="423"/>
                  </a:lnTo>
                  <a:lnTo>
                    <a:pt x="379" y="423"/>
                  </a:lnTo>
                  <a:lnTo>
                    <a:pt x="378" y="422"/>
                  </a:lnTo>
                  <a:lnTo>
                    <a:pt x="376" y="421"/>
                  </a:lnTo>
                  <a:lnTo>
                    <a:pt x="374" y="420"/>
                  </a:lnTo>
                  <a:lnTo>
                    <a:pt x="373" y="420"/>
                  </a:lnTo>
                  <a:lnTo>
                    <a:pt x="372" y="419"/>
                  </a:lnTo>
                  <a:lnTo>
                    <a:pt x="369" y="417"/>
                  </a:lnTo>
                  <a:lnTo>
                    <a:pt x="368" y="416"/>
                  </a:lnTo>
                  <a:lnTo>
                    <a:pt x="368" y="416"/>
                  </a:lnTo>
                  <a:lnTo>
                    <a:pt x="367" y="415"/>
                  </a:lnTo>
                  <a:lnTo>
                    <a:pt x="365" y="414"/>
                  </a:lnTo>
                  <a:lnTo>
                    <a:pt x="364" y="414"/>
                  </a:lnTo>
                  <a:lnTo>
                    <a:pt x="362" y="414"/>
                  </a:lnTo>
                  <a:lnTo>
                    <a:pt x="362" y="413"/>
                  </a:lnTo>
                  <a:lnTo>
                    <a:pt x="361" y="413"/>
                  </a:lnTo>
                  <a:lnTo>
                    <a:pt x="360" y="413"/>
                  </a:lnTo>
                  <a:lnTo>
                    <a:pt x="359" y="413"/>
                  </a:lnTo>
                  <a:lnTo>
                    <a:pt x="358" y="413"/>
                  </a:lnTo>
                  <a:lnTo>
                    <a:pt x="357" y="413"/>
                  </a:lnTo>
                  <a:lnTo>
                    <a:pt x="354" y="413"/>
                  </a:lnTo>
                  <a:lnTo>
                    <a:pt x="353" y="413"/>
                  </a:lnTo>
                  <a:lnTo>
                    <a:pt x="352" y="413"/>
                  </a:lnTo>
                  <a:lnTo>
                    <a:pt x="352" y="413"/>
                  </a:lnTo>
                  <a:lnTo>
                    <a:pt x="351" y="413"/>
                  </a:lnTo>
                  <a:lnTo>
                    <a:pt x="351" y="413"/>
                  </a:lnTo>
                  <a:lnTo>
                    <a:pt x="350" y="413"/>
                  </a:lnTo>
                  <a:lnTo>
                    <a:pt x="350" y="412"/>
                  </a:lnTo>
                  <a:lnTo>
                    <a:pt x="350" y="412"/>
                  </a:lnTo>
                  <a:lnTo>
                    <a:pt x="349" y="412"/>
                  </a:lnTo>
                  <a:lnTo>
                    <a:pt x="349" y="411"/>
                  </a:lnTo>
                  <a:lnTo>
                    <a:pt x="349" y="411"/>
                  </a:lnTo>
                  <a:lnTo>
                    <a:pt x="348" y="410"/>
                  </a:lnTo>
                  <a:lnTo>
                    <a:pt x="348" y="409"/>
                  </a:lnTo>
                  <a:lnTo>
                    <a:pt x="348" y="409"/>
                  </a:lnTo>
                  <a:lnTo>
                    <a:pt x="347" y="405"/>
                  </a:lnTo>
                  <a:lnTo>
                    <a:pt x="347" y="402"/>
                  </a:lnTo>
                  <a:lnTo>
                    <a:pt x="347" y="401"/>
                  </a:lnTo>
                  <a:lnTo>
                    <a:pt x="347" y="401"/>
                  </a:lnTo>
                  <a:lnTo>
                    <a:pt x="346" y="400"/>
                  </a:lnTo>
                  <a:lnTo>
                    <a:pt x="346" y="399"/>
                  </a:lnTo>
                  <a:lnTo>
                    <a:pt x="345" y="398"/>
                  </a:lnTo>
                  <a:lnTo>
                    <a:pt x="345" y="397"/>
                  </a:lnTo>
                  <a:lnTo>
                    <a:pt x="344" y="396"/>
                  </a:lnTo>
                  <a:lnTo>
                    <a:pt x="343" y="394"/>
                  </a:lnTo>
                  <a:lnTo>
                    <a:pt x="342" y="394"/>
                  </a:lnTo>
                  <a:lnTo>
                    <a:pt x="341" y="393"/>
                  </a:lnTo>
                  <a:lnTo>
                    <a:pt x="340" y="393"/>
                  </a:lnTo>
                  <a:lnTo>
                    <a:pt x="339" y="392"/>
                  </a:lnTo>
                  <a:lnTo>
                    <a:pt x="338" y="392"/>
                  </a:lnTo>
                  <a:lnTo>
                    <a:pt x="337" y="392"/>
                  </a:lnTo>
                  <a:lnTo>
                    <a:pt x="336" y="391"/>
                  </a:lnTo>
                  <a:lnTo>
                    <a:pt x="335" y="391"/>
                  </a:lnTo>
                  <a:lnTo>
                    <a:pt x="331" y="392"/>
                  </a:lnTo>
                  <a:lnTo>
                    <a:pt x="330" y="392"/>
                  </a:lnTo>
                  <a:lnTo>
                    <a:pt x="328" y="392"/>
                  </a:lnTo>
                  <a:lnTo>
                    <a:pt x="327" y="391"/>
                  </a:lnTo>
                  <a:lnTo>
                    <a:pt x="326" y="391"/>
                  </a:lnTo>
                  <a:lnTo>
                    <a:pt x="325" y="391"/>
                  </a:lnTo>
                  <a:lnTo>
                    <a:pt x="323" y="391"/>
                  </a:lnTo>
                  <a:lnTo>
                    <a:pt x="322" y="390"/>
                  </a:lnTo>
                  <a:lnTo>
                    <a:pt x="321" y="390"/>
                  </a:lnTo>
                  <a:lnTo>
                    <a:pt x="315" y="386"/>
                  </a:lnTo>
                  <a:lnTo>
                    <a:pt x="313" y="385"/>
                  </a:lnTo>
                  <a:lnTo>
                    <a:pt x="310" y="383"/>
                  </a:lnTo>
                  <a:lnTo>
                    <a:pt x="309" y="382"/>
                  </a:lnTo>
                  <a:lnTo>
                    <a:pt x="307" y="382"/>
                  </a:lnTo>
                  <a:lnTo>
                    <a:pt x="307" y="381"/>
                  </a:lnTo>
                  <a:lnTo>
                    <a:pt x="306" y="381"/>
                  </a:lnTo>
                  <a:lnTo>
                    <a:pt x="305" y="381"/>
                  </a:lnTo>
                  <a:lnTo>
                    <a:pt x="305" y="381"/>
                  </a:lnTo>
                  <a:lnTo>
                    <a:pt x="304" y="381"/>
                  </a:lnTo>
                  <a:lnTo>
                    <a:pt x="304" y="381"/>
                  </a:lnTo>
                  <a:lnTo>
                    <a:pt x="302" y="381"/>
                  </a:lnTo>
                  <a:lnTo>
                    <a:pt x="300" y="382"/>
                  </a:lnTo>
                  <a:lnTo>
                    <a:pt x="299" y="382"/>
                  </a:lnTo>
                  <a:lnTo>
                    <a:pt x="297" y="382"/>
                  </a:lnTo>
                  <a:lnTo>
                    <a:pt x="296" y="383"/>
                  </a:lnTo>
                  <a:lnTo>
                    <a:pt x="293" y="383"/>
                  </a:lnTo>
                  <a:lnTo>
                    <a:pt x="291" y="383"/>
                  </a:lnTo>
                  <a:lnTo>
                    <a:pt x="288" y="383"/>
                  </a:lnTo>
                  <a:lnTo>
                    <a:pt x="285" y="382"/>
                  </a:lnTo>
                  <a:lnTo>
                    <a:pt x="284" y="382"/>
                  </a:lnTo>
                  <a:lnTo>
                    <a:pt x="283" y="382"/>
                  </a:lnTo>
                  <a:lnTo>
                    <a:pt x="282" y="382"/>
                  </a:lnTo>
                  <a:lnTo>
                    <a:pt x="282" y="383"/>
                  </a:lnTo>
                  <a:lnTo>
                    <a:pt x="281" y="383"/>
                  </a:lnTo>
                  <a:lnTo>
                    <a:pt x="280" y="383"/>
                  </a:lnTo>
                  <a:lnTo>
                    <a:pt x="280" y="384"/>
                  </a:lnTo>
                  <a:lnTo>
                    <a:pt x="279" y="385"/>
                  </a:lnTo>
                  <a:lnTo>
                    <a:pt x="278" y="386"/>
                  </a:lnTo>
                  <a:lnTo>
                    <a:pt x="277" y="387"/>
                  </a:lnTo>
                  <a:lnTo>
                    <a:pt x="276" y="389"/>
                  </a:lnTo>
                  <a:lnTo>
                    <a:pt x="275" y="392"/>
                  </a:lnTo>
                  <a:lnTo>
                    <a:pt x="274" y="394"/>
                  </a:lnTo>
                  <a:lnTo>
                    <a:pt x="273" y="397"/>
                  </a:lnTo>
                  <a:lnTo>
                    <a:pt x="272" y="399"/>
                  </a:lnTo>
                  <a:lnTo>
                    <a:pt x="272" y="400"/>
                  </a:lnTo>
                  <a:lnTo>
                    <a:pt x="271" y="401"/>
                  </a:lnTo>
                  <a:lnTo>
                    <a:pt x="269" y="405"/>
                  </a:lnTo>
                  <a:lnTo>
                    <a:pt x="266" y="409"/>
                  </a:lnTo>
                  <a:lnTo>
                    <a:pt x="265" y="410"/>
                  </a:lnTo>
                  <a:lnTo>
                    <a:pt x="264" y="411"/>
                  </a:lnTo>
                  <a:lnTo>
                    <a:pt x="264" y="412"/>
                  </a:lnTo>
                  <a:lnTo>
                    <a:pt x="262" y="413"/>
                  </a:lnTo>
                  <a:lnTo>
                    <a:pt x="261" y="413"/>
                  </a:lnTo>
                  <a:lnTo>
                    <a:pt x="259" y="415"/>
                  </a:lnTo>
                  <a:lnTo>
                    <a:pt x="258" y="416"/>
                  </a:lnTo>
                  <a:lnTo>
                    <a:pt x="256" y="416"/>
                  </a:lnTo>
                  <a:lnTo>
                    <a:pt x="256" y="417"/>
                  </a:lnTo>
                  <a:lnTo>
                    <a:pt x="255" y="417"/>
                  </a:lnTo>
                  <a:lnTo>
                    <a:pt x="254" y="417"/>
                  </a:lnTo>
                  <a:lnTo>
                    <a:pt x="253" y="417"/>
                  </a:lnTo>
                  <a:lnTo>
                    <a:pt x="252" y="416"/>
                  </a:lnTo>
                  <a:lnTo>
                    <a:pt x="251" y="416"/>
                  </a:lnTo>
                  <a:lnTo>
                    <a:pt x="250" y="416"/>
                  </a:lnTo>
                  <a:lnTo>
                    <a:pt x="250" y="416"/>
                  </a:lnTo>
                  <a:lnTo>
                    <a:pt x="248" y="414"/>
                  </a:lnTo>
                  <a:lnTo>
                    <a:pt x="248" y="414"/>
                  </a:lnTo>
                  <a:lnTo>
                    <a:pt x="247" y="414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5" y="413"/>
                  </a:lnTo>
                  <a:lnTo>
                    <a:pt x="245" y="413"/>
                  </a:lnTo>
                  <a:lnTo>
                    <a:pt x="244" y="414"/>
                  </a:lnTo>
                  <a:lnTo>
                    <a:pt x="242" y="415"/>
                  </a:lnTo>
                  <a:lnTo>
                    <a:pt x="242" y="415"/>
                  </a:lnTo>
                  <a:lnTo>
                    <a:pt x="241" y="415"/>
                  </a:lnTo>
                  <a:lnTo>
                    <a:pt x="241" y="415"/>
                  </a:lnTo>
                  <a:lnTo>
                    <a:pt x="240" y="415"/>
                  </a:lnTo>
                  <a:lnTo>
                    <a:pt x="239" y="415"/>
                  </a:lnTo>
                  <a:lnTo>
                    <a:pt x="238" y="415"/>
                  </a:lnTo>
                  <a:lnTo>
                    <a:pt x="237" y="415"/>
                  </a:lnTo>
                  <a:lnTo>
                    <a:pt x="236" y="415"/>
                  </a:lnTo>
                  <a:lnTo>
                    <a:pt x="233" y="415"/>
                  </a:lnTo>
                  <a:lnTo>
                    <a:pt x="231" y="414"/>
                  </a:lnTo>
                  <a:lnTo>
                    <a:pt x="229" y="414"/>
                  </a:lnTo>
                  <a:lnTo>
                    <a:pt x="227" y="414"/>
                  </a:lnTo>
                  <a:lnTo>
                    <a:pt x="226" y="414"/>
                  </a:lnTo>
                  <a:lnTo>
                    <a:pt x="224" y="414"/>
                  </a:lnTo>
                  <a:lnTo>
                    <a:pt x="220" y="414"/>
                  </a:lnTo>
                  <a:lnTo>
                    <a:pt x="218" y="414"/>
                  </a:lnTo>
                  <a:lnTo>
                    <a:pt x="215" y="414"/>
                  </a:lnTo>
                  <a:lnTo>
                    <a:pt x="212" y="413"/>
                  </a:lnTo>
                  <a:lnTo>
                    <a:pt x="207" y="413"/>
                  </a:lnTo>
                  <a:lnTo>
                    <a:pt x="195" y="412"/>
                  </a:lnTo>
                  <a:lnTo>
                    <a:pt x="192" y="411"/>
                  </a:lnTo>
                  <a:lnTo>
                    <a:pt x="191" y="411"/>
                  </a:lnTo>
                  <a:lnTo>
                    <a:pt x="189" y="411"/>
                  </a:lnTo>
                  <a:lnTo>
                    <a:pt x="188" y="411"/>
                  </a:lnTo>
                  <a:lnTo>
                    <a:pt x="185" y="412"/>
                  </a:lnTo>
                  <a:lnTo>
                    <a:pt x="183" y="412"/>
                  </a:lnTo>
                  <a:lnTo>
                    <a:pt x="181" y="412"/>
                  </a:lnTo>
                  <a:lnTo>
                    <a:pt x="178" y="411"/>
                  </a:lnTo>
                  <a:lnTo>
                    <a:pt x="173" y="411"/>
                  </a:lnTo>
                  <a:lnTo>
                    <a:pt x="172" y="411"/>
                  </a:lnTo>
                  <a:lnTo>
                    <a:pt x="171" y="411"/>
                  </a:lnTo>
                  <a:lnTo>
                    <a:pt x="169" y="411"/>
                  </a:lnTo>
                  <a:lnTo>
                    <a:pt x="168" y="410"/>
                  </a:lnTo>
                  <a:lnTo>
                    <a:pt x="167" y="410"/>
                  </a:lnTo>
                  <a:lnTo>
                    <a:pt x="165" y="409"/>
                  </a:lnTo>
                  <a:lnTo>
                    <a:pt x="164" y="409"/>
                  </a:lnTo>
                  <a:lnTo>
                    <a:pt x="162" y="408"/>
                  </a:lnTo>
                  <a:lnTo>
                    <a:pt x="161" y="407"/>
                  </a:lnTo>
                  <a:lnTo>
                    <a:pt x="159" y="406"/>
                  </a:lnTo>
                  <a:lnTo>
                    <a:pt x="153" y="403"/>
                  </a:lnTo>
                  <a:lnTo>
                    <a:pt x="144" y="399"/>
                  </a:lnTo>
                  <a:lnTo>
                    <a:pt x="141" y="397"/>
                  </a:lnTo>
                  <a:lnTo>
                    <a:pt x="140" y="396"/>
                  </a:lnTo>
                  <a:lnTo>
                    <a:pt x="139" y="396"/>
                  </a:lnTo>
                  <a:lnTo>
                    <a:pt x="138" y="395"/>
                  </a:lnTo>
                  <a:lnTo>
                    <a:pt x="136" y="394"/>
                  </a:lnTo>
                  <a:lnTo>
                    <a:pt x="135" y="392"/>
                  </a:lnTo>
                  <a:lnTo>
                    <a:pt x="133" y="391"/>
                  </a:lnTo>
                  <a:lnTo>
                    <a:pt x="131" y="390"/>
                  </a:lnTo>
                  <a:lnTo>
                    <a:pt x="130" y="388"/>
                  </a:lnTo>
                  <a:lnTo>
                    <a:pt x="129" y="387"/>
                  </a:lnTo>
                  <a:lnTo>
                    <a:pt x="128" y="386"/>
                  </a:lnTo>
                  <a:lnTo>
                    <a:pt x="128" y="386"/>
                  </a:lnTo>
                  <a:lnTo>
                    <a:pt x="127" y="385"/>
                  </a:lnTo>
                  <a:lnTo>
                    <a:pt x="127" y="384"/>
                  </a:lnTo>
                  <a:lnTo>
                    <a:pt x="127" y="384"/>
                  </a:lnTo>
                  <a:lnTo>
                    <a:pt x="126" y="382"/>
                  </a:lnTo>
                  <a:lnTo>
                    <a:pt x="125" y="380"/>
                  </a:lnTo>
                  <a:lnTo>
                    <a:pt x="125" y="379"/>
                  </a:lnTo>
                  <a:lnTo>
                    <a:pt x="125" y="379"/>
                  </a:lnTo>
                  <a:lnTo>
                    <a:pt x="125" y="378"/>
                  </a:lnTo>
                  <a:lnTo>
                    <a:pt x="125" y="378"/>
                  </a:lnTo>
                  <a:lnTo>
                    <a:pt x="124" y="377"/>
                  </a:lnTo>
                  <a:lnTo>
                    <a:pt x="124" y="377"/>
                  </a:lnTo>
                  <a:lnTo>
                    <a:pt x="123" y="377"/>
                  </a:lnTo>
                  <a:lnTo>
                    <a:pt x="123" y="376"/>
                  </a:lnTo>
                  <a:lnTo>
                    <a:pt x="122" y="376"/>
                  </a:lnTo>
                  <a:lnTo>
                    <a:pt x="121" y="376"/>
                  </a:lnTo>
                  <a:lnTo>
                    <a:pt x="120" y="376"/>
                  </a:lnTo>
                  <a:lnTo>
                    <a:pt x="120" y="376"/>
                  </a:lnTo>
                  <a:lnTo>
                    <a:pt x="119" y="375"/>
                  </a:lnTo>
                  <a:lnTo>
                    <a:pt x="119" y="375"/>
                  </a:lnTo>
                  <a:lnTo>
                    <a:pt x="118" y="374"/>
                  </a:lnTo>
                  <a:lnTo>
                    <a:pt x="117" y="373"/>
                  </a:lnTo>
                  <a:lnTo>
                    <a:pt x="116" y="372"/>
                  </a:lnTo>
                  <a:lnTo>
                    <a:pt x="115" y="372"/>
                  </a:lnTo>
                  <a:lnTo>
                    <a:pt x="115" y="371"/>
                  </a:lnTo>
                  <a:lnTo>
                    <a:pt x="114" y="371"/>
                  </a:lnTo>
                  <a:lnTo>
                    <a:pt x="113" y="371"/>
                  </a:lnTo>
                  <a:lnTo>
                    <a:pt x="110" y="370"/>
                  </a:lnTo>
                  <a:lnTo>
                    <a:pt x="110" y="370"/>
                  </a:lnTo>
                  <a:lnTo>
                    <a:pt x="109" y="370"/>
                  </a:lnTo>
                  <a:lnTo>
                    <a:pt x="109" y="369"/>
                  </a:lnTo>
                  <a:lnTo>
                    <a:pt x="109" y="369"/>
                  </a:lnTo>
                  <a:lnTo>
                    <a:pt x="109" y="369"/>
                  </a:lnTo>
                  <a:lnTo>
                    <a:pt x="108" y="368"/>
                  </a:lnTo>
                  <a:lnTo>
                    <a:pt x="108" y="368"/>
                  </a:lnTo>
                  <a:lnTo>
                    <a:pt x="108" y="367"/>
                  </a:lnTo>
                  <a:lnTo>
                    <a:pt x="107" y="367"/>
                  </a:lnTo>
                  <a:lnTo>
                    <a:pt x="107" y="366"/>
                  </a:lnTo>
                  <a:lnTo>
                    <a:pt x="106" y="366"/>
                  </a:lnTo>
                  <a:lnTo>
                    <a:pt x="105" y="365"/>
                  </a:lnTo>
                  <a:lnTo>
                    <a:pt x="104" y="365"/>
                  </a:lnTo>
                  <a:lnTo>
                    <a:pt x="103" y="363"/>
                  </a:lnTo>
                  <a:lnTo>
                    <a:pt x="102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99" y="361"/>
                  </a:lnTo>
                  <a:lnTo>
                    <a:pt x="98" y="361"/>
                  </a:lnTo>
                  <a:lnTo>
                    <a:pt x="96" y="360"/>
                  </a:lnTo>
                  <a:lnTo>
                    <a:pt x="96" y="360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4" y="358"/>
                  </a:lnTo>
                  <a:lnTo>
                    <a:pt x="94" y="358"/>
                  </a:lnTo>
                  <a:lnTo>
                    <a:pt x="93" y="356"/>
                  </a:lnTo>
                  <a:lnTo>
                    <a:pt x="92" y="356"/>
                  </a:lnTo>
                  <a:lnTo>
                    <a:pt x="92" y="356"/>
                  </a:lnTo>
                  <a:lnTo>
                    <a:pt x="92" y="355"/>
                  </a:lnTo>
                  <a:lnTo>
                    <a:pt x="91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90" y="354"/>
                  </a:lnTo>
                  <a:lnTo>
                    <a:pt x="89" y="354"/>
                  </a:lnTo>
                  <a:lnTo>
                    <a:pt x="88" y="354"/>
                  </a:lnTo>
                  <a:lnTo>
                    <a:pt x="85" y="354"/>
                  </a:lnTo>
                  <a:lnTo>
                    <a:pt x="83" y="354"/>
                  </a:lnTo>
                  <a:lnTo>
                    <a:pt x="81" y="354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6" y="355"/>
                  </a:lnTo>
                  <a:lnTo>
                    <a:pt x="75" y="355"/>
                  </a:lnTo>
                  <a:lnTo>
                    <a:pt x="74" y="355"/>
                  </a:lnTo>
                  <a:lnTo>
                    <a:pt x="73" y="356"/>
                  </a:lnTo>
                  <a:lnTo>
                    <a:pt x="72" y="356"/>
                  </a:lnTo>
                  <a:lnTo>
                    <a:pt x="71" y="357"/>
                  </a:lnTo>
                  <a:lnTo>
                    <a:pt x="68" y="359"/>
                  </a:lnTo>
                  <a:lnTo>
                    <a:pt x="67" y="360"/>
                  </a:lnTo>
                  <a:lnTo>
                    <a:pt x="66" y="360"/>
                  </a:lnTo>
                  <a:lnTo>
                    <a:pt x="65" y="361"/>
                  </a:lnTo>
                  <a:lnTo>
                    <a:pt x="64" y="361"/>
                  </a:lnTo>
                  <a:lnTo>
                    <a:pt x="63" y="361"/>
                  </a:lnTo>
                  <a:lnTo>
                    <a:pt x="62" y="362"/>
                  </a:lnTo>
                  <a:lnTo>
                    <a:pt x="61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7" y="362"/>
                  </a:lnTo>
                  <a:lnTo>
                    <a:pt x="54" y="362"/>
                  </a:lnTo>
                  <a:lnTo>
                    <a:pt x="48" y="361"/>
                  </a:lnTo>
                  <a:lnTo>
                    <a:pt x="47" y="360"/>
                  </a:lnTo>
                  <a:lnTo>
                    <a:pt x="45" y="360"/>
                  </a:lnTo>
                  <a:lnTo>
                    <a:pt x="44" y="359"/>
                  </a:lnTo>
                  <a:lnTo>
                    <a:pt x="43" y="359"/>
                  </a:lnTo>
                  <a:lnTo>
                    <a:pt x="42" y="358"/>
                  </a:lnTo>
                  <a:lnTo>
                    <a:pt x="40" y="357"/>
                  </a:lnTo>
                  <a:lnTo>
                    <a:pt x="39" y="356"/>
                  </a:lnTo>
                  <a:lnTo>
                    <a:pt x="35" y="352"/>
                  </a:lnTo>
                  <a:lnTo>
                    <a:pt x="34" y="351"/>
                  </a:lnTo>
                  <a:lnTo>
                    <a:pt x="33" y="350"/>
                  </a:lnTo>
                  <a:lnTo>
                    <a:pt x="31" y="350"/>
                  </a:lnTo>
                  <a:lnTo>
                    <a:pt x="30" y="349"/>
                  </a:lnTo>
                  <a:lnTo>
                    <a:pt x="27" y="348"/>
                  </a:lnTo>
                  <a:lnTo>
                    <a:pt x="24" y="346"/>
                  </a:lnTo>
                  <a:lnTo>
                    <a:pt x="23" y="345"/>
                  </a:lnTo>
                  <a:lnTo>
                    <a:pt x="21" y="344"/>
                  </a:lnTo>
                  <a:lnTo>
                    <a:pt x="20" y="344"/>
                  </a:lnTo>
                  <a:lnTo>
                    <a:pt x="18" y="343"/>
                  </a:lnTo>
                  <a:lnTo>
                    <a:pt x="12" y="342"/>
                  </a:lnTo>
                  <a:lnTo>
                    <a:pt x="10" y="342"/>
                  </a:lnTo>
                  <a:lnTo>
                    <a:pt x="9" y="342"/>
                  </a:lnTo>
                  <a:lnTo>
                    <a:pt x="7" y="341"/>
                  </a:lnTo>
                  <a:lnTo>
                    <a:pt x="5" y="341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1" y="336"/>
                  </a:lnTo>
                  <a:lnTo>
                    <a:pt x="2" y="333"/>
                  </a:lnTo>
                  <a:lnTo>
                    <a:pt x="2" y="332"/>
                  </a:lnTo>
                  <a:lnTo>
                    <a:pt x="3" y="332"/>
                  </a:lnTo>
                  <a:lnTo>
                    <a:pt x="3" y="332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5" y="331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6" y="329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7" y="327"/>
                  </a:lnTo>
                  <a:lnTo>
                    <a:pt x="8" y="326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9" y="323"/>
                  </a:lnTo>
                  <a:lnTo>
                    <a:pt x="10" y="323"/>
                  </a:lnTo>
                  <a:lnTo>
                    <a:pt x="10" y="323"/>
                  </a:lnTo>
                  <a:lnTo>
                    <a:pt x="11" y="323"/>
                  </a:lnTo>
                  <a:lnTo>
                    <a:pt x="11" y="323"/>
                  </a:lnTo>
                  <a:lnTo>
                    <a:pt x="11" y="322"/>
                  </a:lnTo>
                  <a:lnTo>
                    <a:pt x="13" y="321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19"/>
                  </a:lnTo>
                  <a:lnTo>
                    <a:pt x="14" y="319"/>
                  </a:lnTo>
                  <a:lnTo>
                    <a:pt x="14" y="319"/>
                  </a:lnTo>
                  <a:lnTo>
                    <a:pt x="15" y="318"/>
                  </a:lnTo>
                  <a:lnTo>
                    <a:pt x="16" y="318"/>
                  </a:lnTo>
                  <a:lnTo>
                    <a:pt x="17" y="318"/>
                  </a:lnTo>
                  <a:lnTo>
                    <a:pt x="18" y="318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2" y="318"/>
                  </a:lnTo>
                  <a:lnTo>
                    <a:pt x="23" y="319"/>
                  </a:lnTo>
                  <a:lnTo>
                    <a:pt x="25" y="320"/>
                  </a:lnTo>
                  <a:lnTo>
                    <a:pt x="25" y="321"/>
                  </a:lnTo>
                  <a:lnTo>
                    <a:pt x="26" y="321"/>
                  </a:lnTo>
                  <a:lnTo>
                    <a:pt x="27" y="321"/>
                  </a:lnTo>
                  <a:lnTo>
                    <a:pt x="28" y="322"/>
                  </a:lnTo>
                  <a:lnTo>
                    <a:pt x="29" y="322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2" y="321"/>
                  </a:lnTo>
                  <a:lnTo>
                    <a:pt x="32" y="321"/>
                  </a:lnTo>
                  <a:lnTo>
                    <a:pt x="33" y="320"/>
                  </a:lnTo>
                  <a:lnTo>
                    <a:pt x="34" y="319"/>
                  </a:lnTo>
                  <a:lnTo>
                    <a:pt x="34" y="319"/>
                  </a:lnTo>
                  <a:lnTo>
                    <a:pt x="35" y="317"/>
                  </a:lnTo>
                  <a:lnTo>
                    <a:pt x="37" y="314"/>
                  </a:lnTo>
                  <a:lnTo>
                    <a:pt x="38" y="314"/>
                  </a:lnTo>
                  <a:lnTo>
                    <a:pt x="38" y="314"/>
                  </a:lnTo>
                  <a:lnTo>
                    <a:pt x="38" y="313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0" y="313"/>
                  </a:lnTo>
                  <a:lnTo>
                    <a:pt x="41" y="313"/>
                  </a:lnTo>
                  <a:lnTo>
                    <a:pt x="45" y="312"/>
                  </a:lnTo>
                  <a:lnTo>
                    <a:pt x="46" y="312"/>
                  </a:lnTo>
                  <a:lnTo>
                    <a:pt x="47" y="312"/>
                  </a:lnTo>
                  <a:lnTo>
                    <a:pt x="48" y="312"/>
                  </a:lnTo>
                  <a:lnTo>
                    <a:pt x="49" y="313"/>
                  </a:lnTo>
                  <a:lnTo>
                    <a:pt x="50" y="313"/>
                  </a:lnTo>
                  <a:lnTo>
                    <a:pt x="51" y="314"/>
                  </a:lnTo>
                  <a:lnTo>
                    <a:pt x="52" y="314"/>
                  </a:lnTo>
                  <a:lnTo>
                    <a:pt x="54" y="316"/>
                  </a:lnTo>
                  <a:lnTo>
                    <a:pt x="55" y="316"/>
                  </a:lnTo>
                  <a:lnTo>
                    <a:pt x="56" y="316"/>
                  </a:lnTo>
                  <a:lnTo>
                    <a:pt x="56" y="316"/>
                  </a:lnTo>
                  <a:lnTo>
                    <a:pt x="57" y="316"/>
                  </a:lnTo>
                  <a:lnTo>
                    <a:pt x="57" y="316"/>
                  </a:lnTo>
                  <a:lnTo>
                    <a:pt x="58" y="316"/>
                  </a:lnTo>
                  <a:lnTo>
                    <a:pt x="58" y="316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1" y="313"/>
                  </a:lnTo>
                  <a:lnTo>
                    <a:pt x="62" y="311"/>
                  </a:lnTo>
                  <a:lnTo>
                    <a:pt x="62" y="311"/>
                  </a:lnTo>
                  <a:lnTo>
                    <a:pt x="64" y="309"/>
                  </a:lnTo>
                  <a:lnTo>
                    <a:pt x="66" y="307"/>
                  </a:lnTo>
                  <a:lnTo>
                    <a:pt x="66" y="307"/>
                  </a:lnTo>
                  <a:lnTo>
                    <a:pt x="67" y="306"/>
                  </a:lnTo>
                  <a:lnTo>
                    <a:pt x="68" y="306"/>
                  </a:lnTo>
                  <a:lnTo>
                    <a:pt x="69" y="305"/>
                  </a:lnTo>
                  <a:lnTo>
                    <a:pt x="71" y="304"/>
                  </a:lnTo>
                  <a:lnTo>
                    <a:pt x="72" y="303"/>
                  </a:lnTo>
                  <a:lnTo>
                    <a:pt x="73" y="302"/>
                  </a:lnTo>
                  <a:lnTo>
                    <a:pt x="74" y="301"/>
                  </a:lnTo>
                  <a:lnTo>
                    <a:pt x="75" y="300"/>
                  </a:lnTo>
                  <a:lnTo>
                    <a:pt x="77" y="299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81" y="294"/>
                  </a:lnTo>
                  <a:lnTo>
                    <a:pt x="82" y="293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8" y="291"/>
                  </a:lnTo>
                  <a:lnTo>
                    <a:pt x="89" y="290"/>
                  </a:lnTo>
                  <a:lnTo>
                    <a:pt x="91" y="290"/>
                  </a:lnTo>
                  <a:lnTo>
                    <a:pt x="93" y="290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9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1" y="288"/>
                  </a:lnTo>
                  <a:lnTo>
                    <a:pt x="101" y="287"/>
                  </a:lnTo>
                  <a:lnTo>
                    <a:pt x="101" y="287"/>
                  </a:lnTo>
                  <a:lnTo>
                    <a:pt x="102" y="286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4" y="281"/>
                  </a:lnTo>
                  <a:lnTo>
                    <a:pt x="104" y="280"/>
                  </a:lnTo>
                  <a:lnTo>
                    <a:pt x="105" y="280"/>
                  </a:lnTo>
                  <a:lnTo>
                    <a:pt x="105" y="280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4" y="278"/>
                  </a:lnTo>
                  <a:lnTo>
                    <a:pt x="115" y="278"/>
                  </a:lnTo>
                  <a:lnTo>
                    <a:pt x="115" y="277"/>
                  </a:lnTo>
                  <a:lnTo>
                    <a:pt x="116" y="277"/>
                  </a:lnTo>
                  <a:lnTo>
                    <a:pt x="117" y="276"/>
                  </a:lnTo>
                  <a:lnTo>
                    <a:pt x="119" y="274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3"/>
                  </a:lnTo>
                  <a:lnTo>
                    <a:pt x="121" y="272"/>
                  </a:lnTo>
                  <a:lnTo>
                    <a:pt x="123" y="272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6" y="271"/>
                  </a:lnTo>
                  <a:lnTo>
                    <a:pt x="126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29" y="273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1" y="276"/>
                  </a:lnTo>
                  <a:lnTo>
                    <a:pt x="132" y="276"/>
                  </a:lnTo>
                  <a:lnTo>
                    <a:pt x="134" y="278"/>
                  </a:lnTo>
                  <a:lnTo>
                    <a:pt x="135" y="279"/>
                  </a:lnTo>
                  <a:lnTo>
                    <a:pt x="136" y="279"/>
                  </a:lnTo>
                  <a:lnTo>
                    <a:pt x="137" y="280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9" y="280"/>
                  </a:lnTo>
                  <a:lnTo>
                    <a:pt x="141" y="280"/>
                  </a:lnTo>
                  <a:lnTo>
                    <a:pt x="142" y="280"/>
                  </a:lnTo>
                  <a:lnTo>
                    <a:pt x="143" y="279"/>
                  </a:lnTo>
                  <a:lnTo>
                    <a:pt x="144" y="279"/>
                  </a:lnTo>
                  <a:lnTo>
                    <a:pt x="146" y="278"/>
                  </a:lnTo>
                  <a:lnTo>
                    <a:pt x="147" y="277"/>
                  </a:lnTo>
                  <a:lnTo>
                    <a:pt x="148" y="276"/>
                  </a:lnTo>
                  <a:lnTo>
                    <a:pt x="149" y="276"/>
                  </a:lnTo>
                  <a:lnTo>
                    <a:pt x="149" y="275"/>
                  </a:lnTo>
                  <a:lnTo>
                    <a:pt x="150" y="275"/>
                  </a:lnTo>
                  <a:lnTo>
                    <a:pt x="151" y="275"/>
                  </a:lnTo>
                  <a:lnTo>
                    <a:pt x="152" y="275"/>
                  </a:lnTo>
                  <a:lnTo>
                    <a:pt x="154" y="276"/>
                  </a:lnTo>
                  <a:lnTo>
                    <a:pt x="155" y="276"/>
                  </a:lnTo>
                  <a:lnTo>
                    <a:pt x="158" y="276"/>
                  </a:lnTo>
                  <a:lnTo>
                    <a:pt x="159" y="277"/>
                  </a:lnTo>
                  <a:lnTo>
                    <a:pt x="161" y="277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4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8" y="273"/>
                  </a:lnTo>
                  <a:lnTo>
                    <a:pt x="179" y="273"/>
                  </a:lnTo>
                  <a:lnTo>
                    <a:pt x="179" y="272"/>
                  </a:lnTo>
                  <a:lnTo>
                    <a:pt x="179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68"/>
                  </a:lnTo>
                  <a:lnTo>
                    <a:pt x="180" y="267"/>
                  </a:lnTo>
                  <a:lnTo>
                    <a:pt x="180" y="266"/>
                  </a:lnTo>
                  <a:lnTo>
                    <a:pt x="180" y="265"/>
                  </a:lnTo>
                  <a:lnTo>
                    <a:pt x="181" y="265"/>
                  </a:lnTo>
                  <a:lnTo>
                    <a:pt x="181" y="264"/>
                  </a:lnTo>
                  <a:lnTo>
                    <a:pt x="182" y="263"/>
                  </a:lnTo>
                  <a:lnTo>
                    <a:pt x="183" y="263"/>
                  </a:lnTo>
                  <a:lnTo>
                    <a:pt x="184" y="262"/>
                  </a:lnTo>
                  <a:lnTo>
                    <a:pt x="185" y="262"/>
                  </a:lnTo>
                  <a:lnTo>
                    <a:pt x="186" y="261"/>
                  </a:lnTo>
                  <a:lnTo>
                    <a:pt x="188" y="261"/>
                  </a:lnTo>
                  <a:lnTo>
                    <a:pt x="189" y="261"/>
                  </a:lnTo>
                  <a:lnTo>
                    <a:pt x="193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1" y="259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3" y="257"/>
                  </a:lnTo>
                  <a:lnTo>
                    <a:pt x="203" y="257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05" y="255"/>
                  </a:lnTo>
                  <a:lnTo>
                    <a:pt x="206" y="254"/>
                  </a:lnTo>
                  <a:lnTo>
                    <a:pt x="206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7" y="250"/>
                  </a:lnTo>
                  <a:lnTo>
                    <a:pt x="208" y="250"/>
                  </a:lnTo>
                  <a:lnTo>
                    <a:pt x="208" y="249"/>
                  </a:lnTo>
                  <a:lnTo>
                    <a:pt x="210" y="247"/>
                  </a:lnTo>
                  <a:lnTo>
                    <a:pt x="211" y="247"/>
                  </a:lnTo>
                  <a:lnTo>
                    <a:pt x="211" y="246"/>
                  </a:lnTo>
                  <a:lnTo>
                    <a:pt x="212" y="246"/>
                  </a:lnTo>
                  <a:lnTo>
                    <a:pt x="212" y="245"/>
                  </a:lnTo>
                  <a:lnTo>
                    <a:pt x="212" y="245"/>
                  </a:lnTo>
                  <a:lnTo>
                    <a:pt x="212" y="244"/>
                  </a:lnTo>
                  <a:lnTo>
                    <a:pt x="212" y="243"/>
                  </a:lnTo>
                  <a:lnTo>
                    <a:pt x="212" y="243"/>
                  </a:lnTo>
                  <a:lnTo>
                    <a:pt x="212" y="242"/>
                  </a:lnTo>
                  <a:lnTo>
                    <a:pt x="212" y="241"/>
                  </a:lnTo>
                  <a:lnTo>
                    <a:pt x="211" y="241"/>
                  </a:lnTo>
                  <a:lnTo>
                    <a:pt x="210" y="240"/>
                  </a:lnTo>
                  <a:lnTo>
                    <a:pt x="209" y="239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4" y="234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3" y="232"/>
                  </a:lnTo>
                  <a:lnTo>
                    <a:pt x="202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30"/>
                  </a:lnTo>
                  <a:lnTo>
                    <a:pt x="205" y="230"/>
                  </a:lnTo>
                  <a:lnTo>
                    <a:pt x="206" y="229"/>
                  </a:lnTo>
                  <a:lnTo>
                    <a:pt x="207" y="229"/>
                  </a:lnTo>
                  <a:lnTo>
                    <a:pt x="207" y="228"/>
                  </a:lnTo>
                  <a:lnTo>
                    <a:pt x="208" y="228"/>
                  </a:lnTo>
                  <a:lnTo>
                    <a:pt x="208" y="227"/>
                  </a:lnTo>
                  <a:lnTo>
                    <a:pt x="209" y="227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0" y="225"/>
                  </a:lnTo>
                  <a:lnTo>
                    <a:pt x="210" y="224"/>
                  </a:lnTo>
                  <a:lnTo>
                    <a:pt x="210" y="224"/>
                  </a:lnTo>
                  <a:lnTo>
                    <a:pt x="209" y="223"/>
                  </a:lnTo>
                  <a:lnTo>
                    <a:pt x="209" y="222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08" y="218"/>
                  </a:lnTo>
                  <a:lnTo>
                    <a:pt x="208" y="217"/>
                  </a:lnTo>
                  <a:lnTo>
                    <a:pt x="209" y="217"/>
                  </a:lnTo>
                  <a:lnTo>
                    <a:pt x="209" y="216"/>
                  </a:lnTo>
                  <a:lnTo>
                    <a:pt x="209" y="215"/>
                  </a:lnTo>
                  <a:lnTo>
                    <a:pt x="210" y="215"/>
                  </a:lnTo>
                  <a:lnTo>
                    <a:pt x="210" y="214"/>
                  </a:lnTo>
                  <a:lnTo>
                    <a:pt x="211" y="214"/>
                  </a:lnTo>
                  <a:lnTo>
                    <a:pt x="211" y="213"/>
                  </a:lnTo>
                  <a:lnTo>
                    <a:pt x="212" y="213"/>
                  </a:lnTo>
                  <a:lnTo>
                    <a:pt x="214" y="212"/>
                  </a:lnTo>
                  <a:lnTo>
                    <a:pt x="215" y="211"/>
                  </a:lnTo>
                  <a:lnTo>
                    <a:pt x="216" y="211"/>
                  </a:lnTo>
                  <a:lnTo>
                    <a:pt x="217" y="210"/>
                  </a:lnTo>
                  <a:lnTo>
                    <a:pt x="218" y="209"/>
                  </a:lnTo>
                  <a:lnTo>
                    <a:pt x="219" y="208"/>
                  </a:lnTo>
                  <a:lnTo>
                    <a:pt x="219" y="208"/>
                  </a:lnTo>
                  <a:lnTo>
                    <a:pt x="219" y="207"/>
                  </a:lnTo>
                  <a:lnTo>
                    <a:pt x="219" y="206"/>
                  </a:lnTo>
                  <a:lnTo>
                    <a:pt x="219" y="205"/>
                  </a:lnTo>
                  <a:lnTo>
                    <a:pt x="219" y="203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18" y="201"/>
                  </a:lnTo>
                  <a:lnTo>
                    <a:pt x="218" y="201"/>
                  </a:lnTo>
                  <a:lnTo>
                    <a:pt x="218" y="200"/>
                  </a:lnTo>
                  <a:lnTo>
                    <a:pt x="217" y="200"/>
                  </a:lnTo>
                  <a:lnTo>
                    <a:pt x="217" y="199"/>
                  </a:lnTo>
                  <a:lnTo>
                    <a:pt x="217" y="198"/>
                  </a:lnTo>
                  <a:lnTo>
                    <a:pt x="215" y="198"/>
                  </a:lnTo>
                  <a:lnTo>
                    <a:pt x="213" y="196"/>
                  </a:lnTo>
                  <a:lnTo>
                    <a:pt x="212" y="195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10" y="191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0" y="188"/>
                  </a:lnTo>
                  <a:lnTo>
                    <a:pt x="210" y="187"/>
                  </a:lnTo>
                  <a:lnTo>
                    <a:pt x="211" y="186"/>
                  </a:lnTo>
                  <a:lnTo>
                    <a:pt x="211" y="185"/>
                  </a:lnTo>
                  <a:lnTo>
                    <a:pt x="212" y="184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3" y="181"/>
                  </a:lnTo>
                  <a:lnTo>
                    <a:pt x="214" y="180"/>
                  </a:lnTo>
                  <a:lnTo>
                    <a:pt x="215" y="178"/>
                  </a:lnTo>
                  <a:lnTo>
                    <a:pt x="216" y="178"/>
                  </a:lnTo>
                  <a:lnTo>
                    <a:pt x="217" y="177"/>
                  </a:lnTo>
                  <a:lnTo>
                    <a:pt x="219" y="175"/>
                  </a:lnTo>
                  <a:lnTo>
                    <a:pt x="220" y="175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3"/>
                  </a:lnTo>
                  <a:lnTo>
                    <a:pt x="222" y="173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2" y="171"/>
                  </a:lnTo>
                  <a:lnTo>
                    <a:pt x="221" y="171"/>
                  </a:lnTo>
                  <a:lnTo>
                    <a:pt x="221" y="170"/>
                  </a:lnTo>
                  <a:lnTo>
                    <a:pt x="221" y="169"/>
                  </a:lnTo>
                  <a:lnTo>
                    <a:pt x="220" y="168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7" y="165"/>
                  </a:lnTo>
                  <a:lnTo>
                    <a:pt x="217" y="164"/>
                  </a:lnTo>
                  <a:lnTo>
                    <a:pt x="217" y="163"/>
                  </a:lnTo>
                  <a:lnTo>
                    <a:pt x="217" y="163"/>
                  </a:lnTo>
                  <a:lnTo>
                    <a:pt x="217" y="162"/>
                  </a:lnTo>
                  <a:lnTo>
                    <a:pt x="217" y="161"/>
                  </a:lnTo>
                  <a:lnTo>
                    <a:pt x="217" y="160"/>
                  </a:lnTo>
                  <a:lnTo>
                    <a:pt x="217" y="159"/>
                  </a:lnTo>
                  <a:lnTo>
                    <a:pt x="218" y="159"/>
                  </a:lnTo>
                  <a:lnTo>
                    <a:pt x="218" y="158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3" y="151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8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2" y="147"/>
                  </a:lnTo>
                  <a:lnTo>
                    <a:pt x="222" y="146"/>
                  </a:lnTo>
                  <a:lnTo>
                    <a:pt x="222" y="146"/>
                  </a:lnTo>
                  <a:lnTo>
                    <a:pt x="221" y="146"/>
                  </a:lnTo>
                  <a:lnTo>
                    <a:pt x="218" y="145"/>
                  </a:lnTo>
                  <a:lnTo>
                    <a:pt x="217" y="145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5" y="144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0"/>
                  </a:lnTo>
                  <a:lnTo>
                    <a:pt x="215" y="140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8"/>
                  </a:lnTo>
                  <a:lnTo>
                    <a:pt x="215" y="138"/>
                  </a:lnTo>
                  <a:lnTo>
                    <a:pt x="215" y="138"/>
                  </a:lnTo>
                  <a:lnTo>
                    <a:pt x="210" y="134"/>
                  </a:lnTo>
                  <a:lnTo>
                    <a:pt x="207" y="132"/>
                  </a:lnTo>
                  <a:lnTo>
                    <a:pt x="206" y="131"/>
                  </a:lnTo>
                  <a:lnTo>
                    <a:pt x="206" y="131"/>
                  </a:lnTo>
                  <a:lnTo>
                    <a:pt x="205" y="130"/>
                  </a:lnTo>
                  <a:lnTo>
                    <a:pt x="205" y="130"/>
                  </a:lnTo>
                  <a:lnTo>
                    <a:pt x="205" y="129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7"/>
                  </a:lnTo>
                  <a:lnTo>
                    <a:pt x="205" y="126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6" y="119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3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8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4"/>
                  </a:lnTo>
                  <a:lnTo>
                    <a:pt x="214" y="101"/>
                  </a:lnTo>
                  <a:lnTo>
                    <a:pt x="215" y="100"/>
                  </a:lnTo>
                  <a:lnTo>
                    <a:pt x="216" y="99"/>
                  </a:lnTo>
                  <a:lnTo>
                    <a:pt x="216" y="98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20" y="95"/>
                  </a:lnTo>
                  <a:lnTo>
                    <a:pt x="221" y="95"/>
                  </a:lnTo>
                  <a:lnTo>
                    <a:pt x="222" y="95"/>
                  </a:lnTo>
                  <a:lnTo>
                    <a:pt x="223" y="94"/>
                  </a:lnTo>
                  <a:lnTo>
                    <a:pt x="226" y="94"/>
                  </a:lnTo>
                  <a:lnTo>
                    <a:pt x="228" y="94"/>
                  </a:lnTo>
                  <a:lnTo>
                    <a:pt x="230" y="93"/>
                  </a:lnTo>
                  <a:lnTo>
                    <a:pt x="231" y="93"/>
                  </a:lnTo>
                  <a:lnTo>
                    <a:pt x="232" y="93"/>
                  </a:lnTo>
                  <a:lnTo>
                    <a:pt x="233" y="92"/>
                  </a:lnTo>
                  <a:lnTo>
                    <a:pt x="234" y="92"/>
                  </a:lnTo>
                  <a:lnTo>
                    <a:pt x="234" y="91"/>
                  </a:lnTo>
                  <a:lnTo>
                    <a:pt x="235" y="91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8"/>
                  </a:lnTo>
                  <a:lnTo>
                    <a:pt x="235" y="88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3" y="87"/>
                  </a:lnTo>
                  <a:lnTo>
                    <a:pt x="233" y="86"/>
                  </a:lnTo>
                  <a:lnTo>
                    <a:pt x="232" y="86"/>
                  </a:lnTo>
                  <a:lnTo>
                    <a:pt x="231" y="86"/>
                  </a:lnTo>
                  <a:lnTo>
                    <a:pt x="229" y="85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3"/>
                  </a:lnTo>
                  <a:lnTo>
                    <a:pt x="228" y="83"/>
                  </a:lnTo>
                  <a:lnTo>
                    <a:pt x="228" y="82"/>
                  </a:lnTo>
                  <a:lnTo>
                    <a:pt x="229" y="81"/>
                  </a:lnTo>
                  <a:lnTo>
                    <a:pt x="231" y="80"/>
                  </a:lnTo>
                  <a:lnTo>
                    <a:pt x="231" y="79"/>
                  </a:lnTo>
                  <a:lnTo>
                    <a:pt x="232" y="79"/>
                  </a:lnTo>
                  <a:lnTo>
                    <a:pt x="233" y="78"/>
                  </a:lnTo>
                  <a:lnTo>
                    <a:pt x="234" y="77"/>
                  </a:lnTo>
                  <a:lnTo>
                    <a:pt x="235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7" y="77"/>
                  </a:lnTo>
                  <a:lnTo>
                    <a:pt x="238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0" y="77"/>
                  </a:lnTo>
                  <a:lnTo>
                    <a:pt x="240" y="78"/>
                  </a:lnTo>
                  <a:lnTo>
                    <a:pt x="241" y="78"/>
                  </a:lnTo>
                  <a:lnTo>
                    <a:pt x="241" y="79"/>
                  </a:lnTo>
                  <a:lnTo>
                    <a:pt x="242" y="80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3" y="82"/>
                  </a:lnTo>
                  <a:lnTo>
                    <a:pt x="243" y="82"/>
                  </a:lnTo>
                  <a:lnTo>
                    <a:pt x="244" y="83"/>
                  </a:lnTo>
                  <a:lnTo>
                    <a:pt x="244" y="83"/>
                  </a:lnTo>
                  <a:lnTo>
                    <a:pt x="245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8" y="82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1"/>
                  </a:lnTo>
                  <a:lnTo>
                    <a:pt x="250" y="80"/>
                  </a:lnTo>
                  <a:lnTo>
                    <a:pt x="250" y="78"/>
                  </a:lnTo>
                  <a:lnTo>
                    <a:pt x="251" y="77"/>
                  </a:lnTo>
                  <a:lnTo>
                    <a:pt x="251" y="76"/>
                  </a:lnTo>
                  <a:lnTo>
                    <a:pt x="251" y="75"/>
                  </a:lnTo>
                  <a:lnTo>
                    <a:pt x="251" y="75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3"/>
                  </a:lnTo>
                  <a:lnTo>
                    <a:pt x="251" y="72"/>
                  </a:lnTo>
                  <a:lnTo>
                    <a:pt x="250" y="71"/>
                  </a:lnTo>
                  <a:lnTo>
                    <a:pt x="249" y="70"/>
                  </a:lnTo>
                  <a:lnTo>
                    <a:pt x="249" y="69"/>
                  </a:lnTo>
                  <a:lnTo>
                    <a:pt x="247" y="68"/>
                  </a:lnTo>
                  <a:lnTo>
                    <a:pt x="247" y="67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5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3"/>
                  </a:lnTo>
                  <a:lnTo>
                    <a:pt x="249" y="63"/>
                  </a:lnTo>
                  <a:lnTo>
                    <a:pt x="249" y="63"/>
                  </a:lnTo>
                  <a:lnTo>
                    <a:pt x="250" y="63"/>
                  </a:lnTo>
                  <a:lnTo>
                    <a:pt x="251" y="62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4" y="61"/>
                  </a:lnTo>
                  <a:lnTo>
                    <a:pt x="255" y="59"/>
                  </a:lnTo>
                  <a:lnTo>
                    <a:pt x="256" y="58"/>
                  </a:lnTo>
                  <a:lnTo>
                    <a:pt x="257" y="57"/>
                  </a:lnTo>
                  <a:lnTo>
                    <a:pt x="258" y="55"/>
                  </a:lnTo>
                  <a:lnTo>
                    <a:pt x="258" y="54"/>
                  </a:lnTo>
                  <a:lnTo>
                    <a:pt x="259" y="53"/>
                  </a:lnTo>
                  <a:lnTo>
                    <a:pt x="259" y="52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7" y="45"/>
                  </a:lnTo>
                  <a:lnTo>
                    <a:pt x="257" y="44"/>
                  </a:lnTo>
                  <a:lnTo>
                    <a:pt x="256" y="44"/>
                  </a:lnTo>
                  <a:lnTo>
                    <a:pt x="253" y="42"/>
                  </a:lnTo>
                  <a:lnTo>
                    <a:pt x="253" y="42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51" y="40"/>
                  </a:lnTo>
                  <a:lnTo>
                    <a:pt x="250" y="39"/>
                  </a:lnTo>
                  <a:lnTo>
                    <a:pt x="250" y="38"/>
                  </a:lnTo>
                  <a:lnTo>
                    <a:pt x="250" y="38"/>
                  </a:lnTo>
                  <a:lnTo>
                    <a:pt x="250" y="37"/>
                  </a:lnTo>
                  <a:lnTo>
                    <a:pt x="250" y="37"/>
                  </a:lnTo>
                  <a:lnTo>
                    <a:pt x="250" y="36"/>
                  </a:lnTo>
                  <a:lnTo>
                    <a:pt x="250" y="35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6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57" y="23"/>
                  </a:lnTo>
                  <a:lnTo>
                    <a:pt x="259" y="22"/>
                  </a:lnTo>
                  <a:lnTo>
                    <a:pt x="260" y="21"/>
                  </a:lnTo>
                  <a:lnTo>
                    <a:pt x="261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8"/>
                  </a:lnTo>
                  <a:lnTo>
                    <a:pt x="264" y="17"/>
                  </a:lnTo>
                  <a:lnTo>
                    <a:pt x="265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1" y="18"/>
                  </a:lnTo>
                  <a:lnTo>
                    <a:pt x="272" y="18"/>
                  </a:lnTo>
                  <a:lnTo>
                    <a:pt x="273" y="18"/>
                  </a:lnTo>
                  <a:lnTo>
                    <a:pt x="275" y="18"/>
                  </a:lnTo>
                  <a:lnTo>
                    <a:pt x="277" y="17"/>
                  </a:lnTo>
                  <a:lnTo>
                    <a:pt x="280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7" y="18"/>
                  </a:lnTo>
                  <a:lnTo>
                    <a:pt x="289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5" y="18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8" y="16"/>
                  </a:lnTo>
                  <a:lnTo>
                    <a:pt x="298" y="15"/>
                  </a:lnTo>
                  <a:lnTo>
                    <a:pt x="298" y="14"/>
                  </a:lnTo>
                  <a:lnTo>
                    <a:pt x="299" y="13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2" y="2"/>
                  </a:lnTo>
                  <a:lnTo>
                    <a:pt x="302" y="1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Freeform 32">
              <a:extLst>
                <a:ext uri="{FF2B5EF4-FFF2-40B4-BE49-F238E27FC236}">
                  <a16:creationId xmlns:a16="http://schemas.microsoft.com/office/drawing/2014/main" id="{99FC762D-3CFE-5973-4264-FF153F3FF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1" y="3521"/>
              <a:ext cx="548" cy="464"/>
            </a:xfrm>
            <a:custGeom>
              <a:avLst/>
              <a:gdLst>
                <a:gd name="T0" fmla="*/ 232 w 548"/>
                <a:gd name="T1" fmla="*/ 1 h 464"/>
                <a:gd name="T2" fmla="*/ 256 w 548"/>
                <a:gd name="T3" fmla="*/ 4 h 464"/>
                <a:gd name="T4" fmla="*/ 282 w 548"/>
                <a:gd name="T5" fmla="*/ 14 h 464"/>
                <a:gd name="T6" fmla="*/ 268 w 548"/>
                <a:gd name="T7" fmla="*/ 21 h 464"/>
                <a:gd name="T8" fmla="*/ 266 w 548"/>
                <a:gd name="T9" fmla="*/ 36 h 464"/>
                <a:gd name="T10" fmla="*/ 289 w 548"/>
                <a:gd name="T11" fmla="*/ 43 h 464"/>
                <a:gd name="T12" fmla="*/ 280 w 548"/>
                <a:gd name="T13" fmla="*/ 61 h 464"/>
                <a:gd name="T14" fmla="*/ 290 w 548"/>
                <a:gd name="T15" fmla="*/ 88 h 464"/>
                <a:gd name="T16" fmla="*/ 284 w 548"/>
                <a:gd name="T17" fmla="*/ 99 h 464"/>
                <a:gd name="T18" fmla="*/ 305 w 548"/>
                <a:gd name="T19" fmla="*/ 108 h 464"/>
                <a:gd name="T20" fmla="*/ 316 w 548"/>
                <a:gd name="T21" fmla="*/ 88 h 464"/>
                <a:gd name="T22" fmla="*/ 304 w 548"/>
                <a:gd name="T23" fmla="*/ 70 h 464"/>
                <a:gd name="T24" fmla="*/ 316 w 548"/>
                <a:gd name="T25" fmla="*/ 60 h 464"/>
                <a:gd name="T26" fmla="*/ 334 w 548"/>
                <a:gd name="T27" fmla="*/ 72 h 464"/>
                <a:gd name="T28" fmla="*/ 344 w 548"/>
                <a:gd name="T29" fmla="*/ 94 h 464"/>
                <a:gd name="T30" fmla="*/ 355 w 548"/>
                <a:gd name="T31" fmla="*/ 106 h 464"/>
                <a:gd name="T32" fmla="*/ 361 w 548"/>
                <a:gd name="T33" fmla="*/ 107 h 464"/>
                <a:gd name="T34" fmla="*/ 364 w 548"/>
                <a:gd name="T35" fmla="*/ 126 h 464"/>
                <a:gd name="T36" fmla="*/ 387 w 548"/>
                <a:gd name="T37" fmla="*/ 141 h 464"/>
                <a:gd name="T38" fmla="*/ 389 w 548"/>
                <a:gd name="T39" fmla="*/ 181 h 464"/>
                <a:gd name="T40" fmla="*/ 394 w 548"/>
                <a:gd name="T41" fmla="*/ 205 h 464"/>
                <a:gd name="T42" fmla="*/ 407 w 548"/>
                <a:gd name="T43" fmla="*/ 209 h 464"/>
                <a:gd name="T44" fmla="*/ 395 w 548"/>
                <a:gd name="T45" fmla="*/ 227 h 464"/>
                <a:gd name="T46" fmla="*/ 383 w 548"/>
                <a:gd name="T47" fmla="*/ 245 h 464"/>
                <a:gd name="T48" fmla="*/ 396 w 548"/>
                <a:gd name="T49" fmla="*/ 250 h 464"/>
                <a:gd name="T50" fmla="*/ 417 w 548"/>
                <a:gd name="T51" fmla="*/ 254 h 464"/>
                <a:gd name="T52" fmla="*/ 423 w 548"/>
                <a:gd name="T53" fmla="*/ 270 h 464"/>
                <a:gd name="T54" fmla="*/ 451 w 548"/>
                <a:gd name="T55" fmla="*/ 280 h 464"/>
                <a:gd name="T56" fmla="*/ 459 w 548"/>
                <a:gd name="T57" fmla="*/ 294 h 464"/>
                <a:gd name="T58" fmla="*/ 481 w 548"/>
                <a:gd name="T59" fmla="*/ 304 h 464"/>
                <a:gd name="T60" fmla="*/ 508 w 548"/>
                <a:gd name="T61" fmla="*/ 304 h 464"/>
                <a:gd name="T62" fmla="*/ 517 w 548"/>
                <a:gd name="T63" fmla="*/ 317 h 464"/>
                <a:gd name="T64" fmla="*/ 541 w 548"/>
                <a:gd name="T65" fmla="*/ 337 h 464"/>
                <a:gd name="T66" fmla="*/ 536 w 548"/>
                <a:gd name="T67" fmla="*/ 357 h 464"/>
                <a:gd name="T68" fmla="*/ 517 w 548"/>
                <a:gd name="T69" fmla="*/ 367 h 464"/>
                <a:gd name="T70" fmla="*/ 499 w 548"/>
                <a:gd name="T71" fmla="*/ 360 h 464"/>
                <a:gd name="T72" fmla="*/ 475 w 548"/>
                <a:gd name="T73" fmla="*/ 367 h 464"/>
                <a:gd name="T74" fmla="*/ 455 w 548"/>
                <a:gd name="T75" fmla="*/ 365 h 464"/>
                <a:gd name="T76" fmla="*/ 423 w 548"/>
                <a:gd name="T77" fmla="*/ 347 h 464"/>
                <a:gd name="T78" fmla="*/ 398 w 548"/>
                <a:gd name="T79" fmla="*/ 357 h 464"/>
                <a:gd name="T80" fmla="*/ 379 w 548"/>
                <a:gd name="T81" fmla="*/ 383 h 464"/>
                <a:gd name="T82" fmla="*/ 351 w 548"/>
                <a:gd name="T83" fmla="*/ 429 h 464"/>
                <a:gd name="T84" fmla="*/ 340 w 548"/>
                <a:gd name="T85" fmla="*/ 460 h 464"/>
                <a:gd name="T86" fmla="*/ 331 w 548"/>
                <a:gd name="T87" fmla="*/ 461 h 464"/>
                <a:gd name="T88" fmla="*/ 325 w 548"/>
                <a:gd name="T89" fmla="*/ 426 h 464"/>
                <a:gd name="T90" fmla="*/ 311 w 548"/>
                <a:gd name="T91" fmla="*/ 421 h 464"/>
                <a:gd name="T92" fmla="*/ 275 w 548"/>
                <a:gd name="T93" fmla="*/ 417 h 464"/>
                <a:gd name="T94" fmla="*/ 257 w 548"/>
                <a:gd name="T95" fmla="*/ 413 h 464"/>
                <a:gd name="T96" fmla="*/ 251 w 548"/>
                <a:gd name="T97" fmla="*/ 398 h 464"/>
                <a:gd name="T98" fmla="*/ 231 w 548"/>
                <a:gd name="T99" fmla="*/ 391 h 464"/>
                <a:gd name="T100" fmla="*/ 205 w 548"/>
                <a:gd name="T101" fmla="*/ 382 h 464"/>
                <a:gd name="T102" fmla="*/ 182 w 548"/>
                <a:gd name="T103" fmla="*/ 389 h 464"/>
                <a:gd name="T104" fmla="*/ 162 w 548"/>
                <a:gd name="T105" fmla="*/ 417 h 464"/>
                <a:gd name="T106" fmla="*/ 148 w 548"/>
                <a:gd name="T107" fmla="*/ 415 h 464"/>
                <a:gd name="T108" fmla="*/ 121 w 548"/>
                <a:gd name="T109" fmla="*/ 414 h 464"/>
                <a:gd name="T110" fmla="*/ 73 w 548"/>
                <a:gd name="T111" fmla="*/ 410 h 464"/>
                <a:gd name="T112" fmla="*/ 35 w 548"/>
                <a:gd name="T113" fmla="*/ 387 h 464"/>
                <a:gd name="T114" fmla="*/ 27 w 548"/>
                <a:gd name="T115" fmla="*/ 376 h 464"/>
                <a:gd name="T116" fmla="*/ 15 w 548"/>
                <a:gd name="T117" fmla="*/ 369 h 464"/>
                <a:gd name="T118" fmla="*/ 2 w 548"/>
                <a:gd name="T119" fmla="*/ 36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8" h="464">
                  <a:moveTo>
                    <a:pt x="209" y="0"/>
                  </a:moveTo>
                  <a:lnTo>
                    <a:pt x="209" y="0"/>
                  </a:lnTo>
                  <a:lnTo>
                    <a:pt x="210" y="0"/>
                  </a:lnTo>
                  <a:lnTo>
                    <a:pt x="211" y="1"/>
                  </a:lnTo>
                  <a:lnTo>
                    <a:pt x="214" y="1"/>
                  </a:lnTo>
                  <a:lnTo>
                    <a:pt x="215" y="2"/>
                  </a:lnTo>
                  <a:lnTo>
                    <a:pt x="217" y="2"/>
                  </a:lnTo>
                  <a:lnTo>
                    <a:pt x="220" y="2"/>
                  </a:lnTo>
                  <a:lnTo>
                    <a:pt x="222" y="2"/>
                  </a:lnTo>
                  <a:lnTo>
                    <a:pt x="223" y="2"/>
                  </a:lnTo>
                  <a:lnTo>
                    <a:pt x="225" y="2"/>
                  </a:lnTo>
                  <a:lnTo>
                    <a:pt x="228" y="1"/>
                  </a:lnTo>
                  <a:lnTo>
                    <a:pt x="228" y="1"/>
                  </a:lnTo>
                  <a:lnTo>
                    <a:pt x="229" y="1"/>
                  </a:lnTo>
                  <a:lnTo>
                    <a:pt x="230" y="1"/>
                  </a:lnTo>
                  <a:lnTo>
                    <a:pt x="231" y="1"/>
                  </a:lnTo>
                  <a:lnTo>
                    <a:pt x="232" y="1"/>
                  </a:lnTo>
                  <a:lnTo>
                    <a:pt x="235" y="2"/>
                  </a:lnTo>
                  <a:lnTo>
                    <a:pt x="235" y="2"/>
                  </a:lnTo>
                  <a:lnTo>
                    <a:pt x="236" y="2"/>
                  </a:lnTo>
                  <a:lnTo>
                    <a:pt x="237" y="2"/>
                  </a:lnTo>
                  <a:lnTo>
                    <a:pt x="238" y="2"/>
                  </a:lnTo>
                  <a:lnTo>
                    <a:pt x="240" y="2"/>
                  </a:lnTo>
                  <a:lnTo>
                    <a:pt x="242" y="1"/>
                  </a:lnTo>
                  <a:lnTo>
                    <a:pt x="243" y="1"/>
                  </a:lnTo>
                  <a:lnTo>
                    <a:pt x="244" y="1"/>
                  </a:lnTo>
                  <a:lnTo>
                    <a:pt x="245" y="2"/>
                  </a:lnTo>
                  <a:lnTo>
                    <a:pt x="248" y="2"/>
                  </a:lnTo>
                  <a:lnTo>
                    <a:pt x="249" y="2"/>
                  </a:lnTo>
                  <a:lnTo>
                    <a:pt x="250" y="2"/>
                  </a:lnTo>
                  <a:lnTo>
                    <a:pt x="252" y="3"/>
                  </a:lnTo>
                  <a:lnTo>
                    <a:pt x="253" y="3"/>
                  </a:lnTo>
                  <a:lnTo>
                    <a:pt x="254" y="4"/>
                  </a:lnTo>
                  <a:lnTo>
                    <a:pt x="256" y="4"/>
                  </a:lnTo>
                  <a:lnTo>
                    <a:pt x="258" y="5"/>
                  </a:lnTo>
                  <a:lnTo>
                    <a:pt x="265" y="9"/>
                  </a:lnTo>
                  <a:lnTo>
                    <a:pt x="267" y="9"/>
                  </a:lnTo>
                  <a:lnTo>
                    <a:pt x="268" y="10"/>
                  </a:lnTo>
                  <a:lnTo>
                    <a:pt x="270" y="11"/>
                  </a:lnTo>
                  <a:lnTo>
                    <a:pt x="272" y="11"/>
                  </a:lnTo>
                  <a:lnTo>
                    <a:pt x="273" y="12"/>
                  </a:lnTo>
                  <a:lnTo>
                    <a:pt x="275" y="12"/>
                  </a:lnTo>
                  <a:lnTo>
                    <a:pt x="277" y="13"/>
                  </a:lnTo>
                  <a:lnTo>
                    <a:pt x="278" y="13"/>
                  </a:lnTo>
                  <a:lnTo>
                    <a:pt x="279" y="13"/>
                  </a:lnTo>
                  <a:lnTo>
                    <a:pt x="281" y="13"/>
                  </a:lnTo>
                  <a:lnTo>
                    <a:pt x="282" y="13"/>
                  </a:lnTo>
                  <a:lnTo>
                    <a:pt x="282" y="13"/>
                  </a:lnTo>
                  <a:lnTo>
                    <a:pt x="283" y="13"/>
                  </a:lnTo>
                  <a:lnTo>
                    <a:pt x="282" y="13"/>
                  </a:lnTo>
                  <a:lnTo>
                    <a:pt x="282" y="14"/>
                  </a:lnTo>
                  <a:lnTo>
                    <a:pt x="282" y="15"/>
                  </a:lnTo>
                  <a:lnTo>
                    <a:pt x="281" y="16"/>
                  </a:lnTo>
                  <a:lnTo>
                    <a:pt x="281" y="17"/>
                  </a:lnTo>
                  <a:lnTo>
                    <a:pt x="280" y="20"/>
                  </a:lnTo>
                  <a:lnTo>
                    <a:pt x="280" y="20"/>
                  </a:lnTo>
                  <a:lnTo>
                    <a:pt x="280" y="21"/>
                  </a:lnTo>
                  <a:lnTo>
                    <a:pt x="280" y="21"/>
                  </a:lnTo>
                  <a:lnTo>
                    <a:pt x="279" y="22"/>
                  </a:lnTo>
                  <a:lnTo>
                    <a:pt x="279" y="22"/>
                  </a:lnTo>
                  <a:lnTo>
                    <a:pt x="278" y="22"/>
                  </a:lnTo>
                  <a:lnTo>
                    <a:pt x="278" y="23"/>
                  </a:lnTo>
                  <a:lnTo>
                    <a:pt x="278" y="23"/>
                  </a:lnTo>
                  <a:lnTo>
                    <a:pt x="277" y="23"/>
                  </a:lnTo>
                  <a:lnTo>
                    <a:pt x="276" y="23"/>
                  </a:lnTo>
                  <a:lnTo>
                    <a:pt x="275" y="23"/>
                  </a:lnTo>
                  <a:lnTo>
                    <a:pt x="271" y="22"/>
                  </a:lnTo>
                  <a:lnTo>
                    <a:pt x="268" y="21"/>
                  </a:lnTo>
                  <a:lnTo>
                    <a:pt x="268" y="21"/>
                  </a:lnTo>
                  <a:lnTo>
                    <a:pt x="267" y="21"/>
                  </a:lnTo>
                  <a:lnTo>
                    <a:pt x="267" y="22"/>
                  </a:lnTo>
                  <a:lnTo>
                    <a:pt x="266" y="22"/>
                  </a:lnTo>
                  <a:lnTo>
                    <a:pt x="266" y="22"/>
                  </a:lnTo>
                  <a:lnTo>
                    <a:pt x="266" y="23"/>
                  </a:lnTo>
                  <a:lnTo>
                    <a:pt x="266" y="24"/>
                  </a:lnTo>
                  <a:lnTo>
                    <a:pt x="265" y="25"/>
                  </a:lnTo>
                  <a:lnTo>
                    <a:pt x="265" y="26"/>
                  </a:lnTo>
                  <a:lnTo>
                    <a:pt x="265" y="27"/>
                  </a:lnTo>
                  <a:lnTo>
                    <a:pt x="266" y="30"/>
                  </a:lnTo>
                  <a:lnTo>
                    <a:pt x="266" y="31"/>
                  </a:lnTo>
                  <a:lnTo>
                    <a:pt x="266" y="32"/>
                  </a:lnTo>
                  <a:lnTo>
                    <a:pt x="266" y="34"/>
                  </a:lnTo>
                  <a:lnTo>
                    <a:pt x="266" y="35"/>
                  </a:lnTo>
                  <a:lnTo>
                    <a:pt x="266" y="36"/>
                  </a:lnTo>
                  <a:lnTo>
                    <a:pt x="266" y="36"/>
                  </a:lnTo>
                  <a:lnTo>
                    <a:pt x="266" y="37"/>
                  </a:lnTo>
                  <a:lnTo>
                    <a:pt x="266" y="37"/>
                  </a:lnTo>
                  <a:lnTo>
                    <a:pt x="267" y="37"/>
                  </a:lnTo>
                  <a:lnTo>
                    <a:pt x="267" y="38"/>
                  </a:lnTo>
                  <a:lnTo>
                    <a:pt x="268" y="38"/>
                  </a:lnTo>
                  <a:lnTo>
                    <a:pt x="268" y="38"/>
                  </a:lnTo>
                  <a:lnTo>
                    <a:pt x="271" y="39"/>
                  </a:lnTo>
                  <a:lnTo>
                    <a:pt x="274" y="40"/>
                  </a:lnTo>
                  <a:lnTo>
                    <a:pt x="278" y="41"/>
                  </a:lnTo>
                  <a:lnTo>
                    <a:pt x="280" y="42"/>
                  </a:lnTo>
                  <a:lnTo>
                    <a:pt x="282" y="42"/>
                  </a:lnTo>
                  <a:lnTo>
                    <a:pt x="283" y="42"/>
                  </a:lnTo>
                  <a:lnTo>
                    <a:pt x="285" y="42"/>
                  </a:lnTo>
                  <a:lnTo>
                    <a:pt x="287" y="43"/>
                  </a:lnTo>
                  <a:lnTo>
                    <a:pt x="288" y="43"/>
                  </a:lnTo>
                  <a:lnTo>
                    <a:pt x="288" y="43"/>
                  </a:lnTo>
                  <a:lnTo>
                    <a:pt x="289" y="43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8" y="44"/>
                  </a:lnTo>
                  <a:lnTo>
                    <a:pt x="288" y="45"/>
                  </a:lnTo>
                  <a:lnTo>
                    <a:pt x="287" y="45"/>
                  </a:lnTo>
                  <a:lnTo>
                    <a:pt x="287" y="46"/>
                  </a:lnTo>
                  <a:lnTo>
                    <a:pt x="286" y="47"/>
                  </a:lnTo>
                  <a:lnTo>
                    <a:pt x="285" y="47"/>
                  </a:lnTo>
                  <a:lnTo>
                    <a:pt x="285" y="48"/>
                  </a:lnTo>
                  <a:lnTo>
                    <a:pt x="283" y="50"/>
                  </a:lnTo>
                  <a:lnTo>
                    <a:pt x="283" y="51"/>
                  </a:lnTo>
                  <a:lnTo>
                    <a:pt x="281" y="54"/>
                  </a:lnTo>
                  <a:lnTo>
                    <a:pt x="280" y="55"/>
                  </a:lnTo>
                  <a:lnTo>
                    <a:pt x="280" y="56"/>
                  </a:lnTo>
                  <a:lnTo>
                    <a:pt x="280" y="58"/>
                  </a:lnTo>
                  <a:lnTo>
                    <a:pt x="280" y="59"/>
                  </a:lnTo>
                  <a:lnTo>
                    <a:pt x="280" y="61"/>
                  </a:lnTo>
                  <a:lnTo>
                    <a:pt x="280" y="62"/>
                  </a:lnTo>
                  <a:lnTo>
                    <a:pt x="280" y="64"/>
                  </a:lnTo>
                  <a:lnTo>
                    <a:pt x="280" y="65"/>
                  </a:lnTo>
                  <a:lnTo>
                    <a:pt x="281" y="68"/>
                  </a:lnTo>
                  <a:lnTo>
                    <a:pt x="282" y="72"/>
                  </a:lnTo>
                  <a:lnTo>
                    <a:pt x="283" y="75"/>
                  </a:lnTo>
                  <a:lnTo>
                    <a:pt x="283" y="76"/>
                  </a:lnTo>
                  <a:lnTo>
                    <a:pt x="284" y="77"/>
                  </a:lnTo>
                  <a:lnTo>
                    <a:pt x="284" y="78"/>
                  </a:lnTo>
                  <a:lnTo>
                    <a:pt x="285" y="79"/>
                  </a:lnTo>
                  <a:lnTo>
                    <a:pt x="287" y="82"/>
                  </a:lnTo>
                  <a:lnTo>
                    <a:pt x="288" y="83"/>
                  </a:lnTo>
                  <a:lnTo>
                    <a:pt x="288" y="84"/>
                  </a:lnTo>
                  <a:lnTo>
                    <a:pt x="289" y="85"/>
                  </a:lnTo>
                  <a:lnTo>
                    <a:pt x="289" y="86"/>
                  </a:lnTo>
                  <a:lnTo>
                    <a:pt x="290" y="87"/>
                  </a:lnTo>
                  <a:lnTo>
                    <a:pt x="290" y="88"/>
                  </a:lnTo>
                  <a:lnTo>
                    <a:pt x="289" y="88"/>
                  </a:lnTo>
                  <a:lnTo>
                    <a:pt x="289" y="89"/>
                  </a:lnTo>
                  <a:lnTo>
                    <a:pt x="289" y="89"/>
                  </a:lnTo>
                  <a:lnTo>
                    <a:pt x="289" y="90"/>
                  </a:lnTo>
                  <a:lnTo>
                    <a:pt x="288" y="90"/>
                  </a:lnTo>
                  <a:lnTo>
                    <a:pt x="286" y="92"/>
                  </a:lnTo>
                  <a:lnTo>
                    <a:pt x="285" y="93"/>
                  </a:lnTo>
                  <a:lnTo>
                    <a:pt x="285" y="93"/>
                  </a:lnTo>
                  <a:lnTo>
                    <a:pt x="285" y="94"/>
                  </a:lnTo>
                  <a:lnTo>
                    <a:pt x="285" y="94"/>
                  </a:lnTo>
                  <a:lnTo>
                    <a:pt x="284" y="95"/>
                  </a:lnTo>
                  <a:lnTo>
                    <a:pt x="284" y="96"/>
                  </a:lnTo>
                  <a:lnTo>
                    <a:pt x="284" y="96"/>
                  </a:lnTo>
                  <a:lnTo>
                    <a:pt x="284" y="97"/>
                  </a:lnTo>
                  <a:lnTo>
                    <a:pt x="284" y="98"/>
                  </a:lnTo>
                  <a:lnTo>
                    <a:pt x="284" y="99"/>
                  </a:lnTo>
                  <a:lnTo>
                    <a:pt x="284" y="99"/>
                  </a:lnTo>
                  <a:lnTo>
                    <a:pt x="285" y="100"/>
                  </a:lnTo>
                  <a:lnTo>
                    <a:pt x="285" y="100"/>
                  </a:lnTo>
                  <a:lnTo>
                    <a:pt x="287" y="102"/>
                  </a:lnTo>
                  <a:lnTo>
                    <a:pt x="287" y="102"/>
                  </a:lnTo>
                  <a:lnTo>
                    <a:pt x="288" y="103"/>
                  </a:lnTo>
                  <a:lnTo>
                    <a:pt x="290" y="104"/>
                  </a:lnTo>
                  <a:lnTo>
                    <a:pt x="293" y="107"/>
                  </a:lnTo>
                  <a:lnTo>
                    <a:pt x="295" y="108"/>
                  </a:lnTo>
                  <a:lnTo>
                    <a:pt x="296" y="109"/>
                  </a:lnTo>
                  <a:lnTo>
                    <a:pt x="298" y="109"/>
                  </a:lnTo>
                  <a:lnTo>
                    <a:pt x="299" y="110"/>
                  </a:lnTo>
                  <a:lnTo>
                    <a:pt x="300" y="110"/>
                  </a:lnTo>
                  <a:lnTo>
                    <a:pt x="301" y="110"/>
                  </a:lnTo>
                  <a:lnTo>
                    <a:pt x="302" y="110"/>
                  </a:lnTo>
                  <a:lnTo>
                    <a:pt x="303" y="109"/>
                  </a:lnTo>
                  <a:lnTo>
                    <a:pt x="304" y="109"/>
                  </a:lnTo>
                  <a:lnTo>
                    <a:pt x="305" y="108"/>
                  </a:lnTo>
                  <a:lnTo>
                    <a:pt x="306" y="107"/>
                  </a:lnTo>
                  <a:lnTo>
                    <a:pt x="307" y="106"/>
                  </a:lnTo>
                  <a:lnTo>
                    <a:pt x="309" y="105"/>
                  </a:lnTo>
                  <a:lnTo>
                    <a:pt x="309" y="104"/>
                  </a:lnTo>
                  <a:lnTo>
                    <a:pt x="310" y="103"/>
                  </a:lnTo>
                  <a:lnTo>
                    <a:pt x="311" y="102"/>
                  </a:lnTo>
                  <a:lnTo>
                    <a:pt x="311" y="100"/>
                  </a:lnTo>
                  <a:lnTo>
                    <a:pt x="312" y="97"/>
                  </a:lnTo>
                  <a:lnTo>
                    <a:pt x="313" y="95"/>
                  </a:lnTo>
                  <a:lnTo>
                    <a:pt x="314" y="94"/>
                  </a:lnTo>
                  <a:lnTo>
                    <a:pt x="315" y="92"/>
                  </a:lnTo>
                  <a:lnTo>
                    <a:pt x="316" y="91"/>
                  </a:lnTo>
                  <a:lnTo>
                    <a:pt x="316" y="91"/>
                  </a:lnTo>
                  <a:lnTo>
                    <a:pt x="316" y="90"/>
                  </a:lnTo>
                  <a:lnTo>
                    <a:pt x="316" y="90"/>
                  </a:lnTo>
                  <a:lnTo>
                    <a:pt x="316" y="89"/>
                  </a:lnTo>
                  <a:lnTo>
                    <a:pt x="316" y="88"/>
                  </a:lnTo>
                  <a:lnTo>
                    <a:pt x="316" y="88"/>
                  </a:lnTo>
                  <a:lnTo>
                    <a:pt x="316" y="87"/>
                  </a:lnTo>
                  <a:lnTo>
                    <a:pt x="315" y="86"/>
                  </a:lnTo>
                  <a:lnTo>
                    <a:pt x="315" y="85"/>
                  </a:lnTo>
                  <a:lnTo>
                    <a:pt x="314" y="83"/>
                  </a:lnTo>
                  <a:lnTo>
                    <a:pt x="313" y="82"/>
                  </a:lnTo>
                  <a:lnTo>
                    <a:pt x="313" y="81"/>
                  </a:lnTo>
                  <a:lnTo>
                    <a:pt x="312" y="80"/>
                  </a:lnTo>
                  <a:lnTo>
                    <a:pt x="312" y="79"/>
                  </a:lnTo>
                  <a:lnTo>
                    <a:pt x="312" y="78"/>
                  </a:lnTo>
                  <a:lnTo>
                    <a:pt x="311" y="77"/>
                  </a:lnTo>
                  <a:lnTo>
                    <a:pt x="311" y="77"/>
                  </a:lnTo>
                  <a:lnTo>
                    <a:pt x="306" y="72"/>
                  </a:lnTo>
                  <a:lnTo>
                    <a:pt x="305" y="72"/>
                  </a:lnTo>
                  <a:lnTo>
                    <a:pt x="305" y="71"/>
                  </a:lnTo>
                  <a:lnTo>
                    <a:pt x="305" y="71"/>
                  </a:lnTo>
                  <a:lnTo>
                    <a:pt x="304" y="70"/>
                  </a:lnTo>
                  <a:lnTo>
                    <a:pt x="304" y="69"/>
                  </a:lnTo>
                  <a:lnTo>
                    <a:pt x="303" y="69"/>
                  </a:lnTo>
                  <a:lnTo>
                    <a:pt x="303" y="68"/>
                  </a:lnTo>
                  <a:lnTo>
                    <a:pt x="303" y="68"/>
                  </a:lnTo>
                  <a:lnTo>
                    <a:pt x="303" y="68"/>
                  </a:lnTo>
                  <a:lnTo>
                    <a:pt x="303" y="67"/>
                  </a:lnTo>
                  <a:lnTo>
                    <a:pt x="303" y="67"/>
                  </a:lnTo>
                  <a:lnTo>
                    <a:pt x="304" y="67"/>
                  </a:lnTo>
                  <a:lnTo>
                    <a:pt x="305" y="65"/>
                  </a:lnTo>
                  <a:lnTo>
                    <a:pt x="307" y="64"/>
                  </a:lnTo>
                  <a:lnTo>
                    <a:pt x="308" y="63"/>
                  </a:lnTo>
                  <a:lnTo>
                    <a:pt x="309" y="62"/>
                  </a:lnTo>
                  <a:lnTo>
                    <a:pt x="311" y="61"/>
                  </a:lnTo>
                  <a:lnTo>
                    <a:pt x="312" y="60"/>
                  </a:lnTo>
                  <a:lnTo>
                    <a:pt x="314" y="60"/>
                  </a:lnTo>
                  <a:lnTo>
                    <a:pt x="315" y="60"/>
                  </a:lnTo>
                  <a:lnTo>
                    <a:pt x="316" y="60"/>
                  </a:lnTo>
                  <a:lnTo>
                    <a:pt x="317" y="60"/>
                  </a:lnTo>
                  <a:lnTo>
                    <a:pt x="318" y="60"/>
                  </a:lnTo>
                  <a:lnTo>
                    <a:pt x="320" y="60"/>
                  </a:lnTo>
                  <a:lnTo>
                    <a:pt x="322" y="61"/>
                  </a:lnTo>
                  <a:lnTo>
                    <a:pt x="324" y="61"/>
                  </a:lnTo>
                  <a:lnTo>
                    <a:pt x="325" y="61"/>
                  </a:lnTo>
                  <a:lnTo>
                    <a:pt x="326" y="62"/>
                  </a:lnTo>
                  <a:lnTo>
                    <a:pt x="326" y="62"/>
                  </a:lnTo>
                  <a:lnTo>
                    <a:pt x="327" y="63"/>
                  </a:lnTo>
                  <a:lnTo>
                    <a:pt x="328" y="64"/>
                  </a:lnTo>
                  <a:lnTo>
                    <a:pt x="329" y="65"/>
                  </a:lnTo>
                  <a:lnTo>
                    <a:pt x="329" y="66"/>
                  </a:lnTo>
                  <a:lnTo>
                    <a:pt x="330" y="67"/>
                  </a:lnTo>
                  <a:lnTo>
                    <a:pt x="331" y="69"/>
                  </a:lnTo>
                  <a:lnTo>
                    <a:pt x="331" y="70"/>
                  </a:lnTo>
                  <a:lnTo>
                    <a:pt x="332" y="71"/>
                  </a:lnTo>
                  <a:lnTo>
                    <a:pt x="334" y="72"/>
                  </a:lnTo>
                  <a:lnTo>
                    <a:pt x="334" y="73"/>
                  </a:lnTo>
                  <a:lnTo>
                    <a:pt x="335" y="74"/>
                  </a:lnTo>
                  <a:lnTo>
                    <a:pt x="336" y="75"/>
                  </a:lnTo>
                  <a:lnTo>
                    <a:pt x="336" y="76"/>
                  </a:lnTo>
                  <a:lnTo>
                    <a:pt x="336" y="77"/>
                  </a:lnTo>
                  <a:lnTo>
                    <a:pt x="337" y="78"/>
                  </a:lnTo>
                  <a:lnTo>
                    <a:pt x="338" y="79"/>
                  </a:lnTo>
                  <a:lnTo>
                    <a:pt x="338" y="80"/>
                  </a:lnTo>
                  <a:lnTo>
                    <a:pt x="339" y="81"/>
                  </a:lnTo>
                  <a:lnTo>
                    <a:pt x="340" y="83"/>
                  </a:lnTo>
                  <a:lnTo>
                    <a:pt x="341" y="87"/>
                  </a:lnTo>
                  <a:lnTo>
                    <a:pt x="341" y="90"/>
                  </a:lnTo>
                  <a:lnTo>
                    <a:pt x="342" y="90"/>
                  </a:lnTo>
                  <a:lnTo>
                    <a:pt x="342" y="91"/>
                  </a:lnTo>
                  <a:lnTo>
                    <a:pt x="343" y="92"/>
                  </a:lnTo>
                  <a:lnTo>
                    <a:pt x="343" y="93"/>
                  </a:lnTo>
                  <a:lnTo>
                    <a:pt x="344" y="94"/>
                  </a:lnTo>
                  <a:lnTo>
                    <a:pt x="346" y="95"/>
                  </a:lnTo>
                  <a:lnTo>
                    <a:pt x="346" y="95"/>
                  </a:lnTo>
                  <a:lnTo>
                    <a:pt x="347" y="96"/>
                  </a:lnTo>
                  <a:lnTo>
                    <a:pt x="347" y="97"/>
                  </a:lnTo>
                  <a:lnTo>
                    <a:pt x="347" y="97"/>
                  </a:lnTo>
                  <a:lnTo>
                    <a:pt x="349" y="100"/>
                  </a:lnTo>
                  <a:lnTo>
                    <a:pt x="349" y="101"/>
                  </a:lnTo>
                  <a:lnTo>
                    <a:pt x="350" y="101"/>
                  </a:lnTo>
                  <a:lnTo>
                    <a:pt x="350" y="102"/>
                  </a:lnTo>
                  <a:lnTo>
                    <a:pt x="351" y="104"/>
                  </a:lnTo>
                  <a:lnTo>
                    <a:pt x="352" y="104"/>
                  </a:lnTo>
                  <a:lnTo>
                    <a:pt x="353" y="105"/>
                  </a:lnTo>
                  <a:lnTo>
                    <a:pt x="353" y="105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5" y="106"/>
                  </a:lnTo>
                  <a:lnTo>
                    <a:pt x="355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7" y="106"/>
                  </a:lnTo>
                  <a:lnTo>
                    <a:pt x="357" y="105"/>
                  </a:lnTo>
                  <a:lnTo>
                    <a:pt x="358" y="104"/>
                  </a:lnTo>
                  <a:lnTo>
                    <a:pt x="358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60" y="103"/>
                  </a:lnTo>
                  <a:lnTo>
                    <a:pt x="360" y="103"/>
                  </a:lnTo>
                  <a:lnTo>
                    <a:pt x="360" y="104"/>
                  </a:lnTo>
                  <a:lnTo>
                    <a:pt x="360" y="104"/>
                  </a:lnTo>
                  <a:lnTo>
                    <a:pt x="360" y="105"/>
                  </a:lnTo>
                  <a:lnTo>
                    <a:pt x="361" y="107"/>
                  </a:lnTo>
                  <a:lnTo>
                    <a:pt x="360" y="108"/>
                  </a:lnTo>
                  <a:lnTo>
                    <a:pt x="360" y="110"/>
                  </a:lnTo>
                  <a:lnTo>
                    <a:pt x="360" y="111"/>
                  </a:lnTo>
                  <a:lnTo>
                    <a:pt x="360" y="113"/>
                  </a:lnTo>
                  <a:lnTo>
                    <a:pt x="359" y="116"/>
                  </a:lnTo>
                  <a:lnTo>
                    <a:pt x="359" y="119"/>
                  </a:lnTo>
                  <a:lnTo>
                    <a:pt x="358" y="121"/>
                  </a:lnTo>
                  <a:lnTo>
                    <a:pt x="358" y="121"/>
                  </a:lnTo>
                  <a:lnTo>
                    <a:pt x="358" y="122"/>
                  </a:lnTo>
                  <a:lnTo>
                    <a:pt x="358" y="122"/>
                  </a:lnTo>
                  <a:lnTo>
                    <a:pt x="359" y="123"/>
                  </a:lnTo>
                  <a:lnTo>
                    <a:pt x="359" y="123"/>
                  </a:lnTo>
                  <a:lnTo>
                    <a:pt x="359" y="123"/>
                  </a:lnTo>
                  <a:lnTo>
                    <a:pt x="360" y="124"/>
                  </a:lnTo>
                  <a:lnTo>
                    <a:pt x="360" y="124"/>
                  </a:lnTo>
                  <a:lnTo>
                    <a:pt x="361" y="125"/>
                  </a:lnTo>
                  <a:lnTo>
                    <a:pt x="364" y="126"/>
                  </a:lnTo>
                  <a:lnTo>
                    <a:pt x="365" y="127"/>
                  </a:lnTo>
                  <a:lnTo>
                    <a:pt x="367" y="128"/>
                  </a:lnTo>
                  <a:lnTo>
                    <a:pt x="369" y="128"/>
                  </a:lnTo>
                  <a:lnTo>
                    <a:pt x="371" y="129"/>
                  </a:lnTo>
                  <a:lnTo>
                    <a:pt x="374" y="130"/>
                  </a:lnTo>
                  <a:lnTo>
                    <a:pt x="375" y="131"/>
                  </a:lnTo>
                  <a:lnTo>
                    <a:pt x="377" y="131"/>
                  </a:lnTo>
                  <a:lnTo>
                    <a:pt x="379" y="132"/>
                  </a:lnTo>
                  <a:lnTo>
                    <a:pt x="380" y="133"/>
                  </a:lnTo>
                  <a:lnTo>
                    <a:pt x="381" y="134"/>
                  </a:lnTo>
                  <a:lnTo>
                    <a:pt x="384" y="136"/>
                  </a:lnTo>
                  <a:lnTo>
                    <a:pt x="385" y="137"/>
                  </a:lnTo>
                  <a:lnTo>
                    <a:pt x="386" y="138"/>
                  </a:lnTo>
                  <a:lnTo>
                    <a:pt x="386" y="138"/>
                  </a:lnTo>
                  <a:lnTo>
                    <a:pt x="387" y="139"/>
                  </a:lnTo>
                  <a:lnTo>
                    <a:pt x="387" y="140"/>
                  </a:lnTo>
                  <a:lnTo>
                    <a:pt x="387" y="141"/>
                  </a:lnTo>
                  <a:lnTo>
                    <a:pt x="389" y="146"/>
                  </a:lnTo>
                  <a:lnTo>
                    <a:pt x="390" y="149"/>
                  </a:lnTo>
                  <a:lnTo>
                    <a:pt x="390" y="150"/>
                  </a:lnTo>
                  <a:lnTo>
                    <a:pt x="392" y="153"/>
                  </a:lnTo>
                  <a:lnTo>
                    <a:pt x="394" y="158"/>
                  </a:lnTo>
                  <a:lnTo>
                    <a:pt x="394" y="160"/>
                  </a:lnTo>
                  <a:lnTo>
                    <a:pt x="390" y="166"/>
                  </a:lnTo>
                  <a:lnTo>
                    <a:pt x="389" y="168"/>
                  </a:lnTo>
                  <a:lnTo>
                    <a:pt x="389" y="170"/>
                  </a:lnTo>
                  <a:lnTo>
                    <a:pt x="389" y="171"/>
                  </a:lnTo>
                  <a:lnTo>
                    <a:pt x="388" y="172"/>
                  </a:lnTo>
                  <a:lnTo>
                    <a:pt x="388" y="173"/>
                  </a:lnTo>
                  <a:lnTo>
                    <a:pt x="388" y="174"/>
                  </a:lnTo>
                  <a:lnTo>
                    <a:pt x="388" y="175"/>
                  </a:lnTo>
                  <a:lnTo>
                    <a:pt x="388" y="176"/>
                  </a:lnTo>
                  <a:lnTo>
                    <a:pt x="389" y="179"/>
                  </a:lnTo>
                  <a:lnTo>
                    <a:pt x="389" y="181"/>
                  </a:lnTo>
                  <a:lnTo>
                    <a:pt x="389" y="182"/>
                  </a:lnTo>
                  <a:lnTo>
                    <a:pt x="389" y="186"/>
                  </a:lnTo>
                  <a:lnTo>
                    <a:pt x="389" y="187"/>
                  </a:lnTo>
                  <a:lnTo>
                    <a:pt x="390" y="188"/>
                  </a:lnTo>
                  <a:lnTo>
                    <a:pt x="390" y="189"/>
                  </a:lnTo>
                  <a:lnTo>
                    <a:pt x="391" y="191"/>
                  </a:lnTo>
                  <a:lnTo>
                    <a:pt x="393" y="195"/>
                  </a:lnTo>
                  <a:lnTo>
                    <a:pt x="394" y="198"/>
                  </a:lnTo>
                  <a:lnTo>
                    <a:pt x="394" y="199"/>
                  </a:lnTo>
                  <a:lnTo>
                    <a:pt x="394" y="199"/>
                  </a:lnTo>
                  <a:lnTo>
                    <a:pt x="394" y="200"/>
                  </a:lnTo>
                  <a:lnTo>
                    <a:pt x="394" y="201"/>
                  </a:lnTo>
                  <a:lnTo>
                    <a:pt x="394" y="202"/>
                  </a:lnTo>
                  <a:lnTo>
                    <a:pt x="394" y="203"/>
                  </a:lnTo>
                  <a:lnTo>
                    <a:pt x="394" y="204"/>
                  </a:lnTo>
                  <a:lnTo>
                    <a:pt x="394" y="204"/>
                  </a:lnTo>
                  <a:lnTo>
                    <a:pt x="394" y="205"/>
                  </a:lnTo>
                  <a:lnTo>
                    <a:pt x="395" y="205"/>
                  </a:lnTo>
                  <a:lnTo>
                    <a:pt x="395" y="205"/>
                  </a:lnTo>
                  <a:lnTo>
                    <a:pt x="396" y="205"/>
                  </a:lnTo>
                  <a:lnTo>
                    <a:pt x="397" y="205"/>
                  </a:lnTo>
                  <a:lnTo>
                    <a:pt x="399" y="205"/>
                  </a:lnTo>
                  <a:lnTo>
                    <a:pt x="401" y="205"/>
                  </a:lnTo>
                  <a:lnTo>
                    <a:pt x="402" y="205"/>
                  </a:lnTo>
                  <a:lnTo>
                    <a:pt x="403" y="205"/>
                  </a:lnTo>
                  <a:lnTo>
                    <a:pt x="404" y="205"/>
                  </a:lnTo>
                  <a:lnTo>
                    <a:pt x="405" y="205"/>
                  </a:lnTo>
                  <a:lnTo>
                    <a:pt x="405" y="205"/>
                  </a:lnTo>
                  <a:lnTo>
                    <a:pt x="406" y="206"/>
                  </a:lnTo>
                  <a:lnTo>
                    <a:pt x="406" y="206"/>
                  </a:lnTo>
                  <a:lnTo>
                    <a:pt x="406" y="207"/>
                  </a:lnTo>
                  <a:lnTo>
                    <a:pt x="407" y="207"/>
                  </a:lnTo>
                  <a:lnTo>
                    <a:pt x="407" y="208"/>
                  </a:lnTo>
                  <a:lnTo>
                    <a:pt x="407" y="209"/>
                  </a:lnTo>
                  <a:lnTo>
                    <a:pt x="407" y="210"/>
                  </a:lnTo>
                  <a:lnTo>
                    <a:pt x="407" y="211"/>
                  </a:lnTo>
                  <a:lnTo>
                    <a:pt x="407" y="212"/>
                  </a:lnTo>
                  <a:lnTo>
                    <a:pt x="406" y="213"/>
                  </a:lnTo>
                  <a:lnTo>
                    <a:pt x="406" y="214"/>
                  </a:lnTo>
                  <a:lnTo>
                    <a:pt x="405" y="216"/>
                  </a:lnTo>
                  <a:lnTo>
                    <a:pt x="405" y="217"/>
                  </a:lnTo>
                  <a:lnTo>
                    <a:pt x="404" y="218"/>
                  </a:lnTo>
                  <a:lnTo>
                    <a:pt x="404" y="219"/>
                  </a:lnTo>
                  <a:lnTo>
                    <a:pt x="403" y="220"/>
                  </a:lnTo>
                  <a:lnTo>
                    <a:pt x="403" y="221"/>
                  </a:lnTo>
                  <a:lnTo>
                    <a:pt x="403" y="221"/>
                  </a:lnTo>
                  <a:lnTo>
                    <a:pt x="401" y="222"/>
                  </a:lnTo>
                  <a:lnTo>
                    <a:pt x="399" y="224"/>
                  </a:lnTo>
                  <a:lnTo>
                    <a:pt x="397" y="226"/>
                  </a:lnTo>
                  <a:lnTo>
                    <a:pt x="396" y="226"/>
                  </a:lnTo>
                  <a:lnTo>
                    <a:pt x="395" y="227"/>
                  </a:lnTo>
                  <a:lnTo>
                    <a:pt x="394" y="227"/>
                  </a:lnTo>
                  <a:lnTo>
                    <a:pt x="394" y="229"/>
                  </a:lnTo>
                  <a:lnTo>
                    <a:pt x="393" y="230"/>
                  </a:lnTo>
                  <a:lnTo>
                    <a:pt x="392" y="231"/>
                  </a:lnTo>
                  <a:lnTo>
                    <a:pt x="390" y="235"/>
                  </a:lnTo>
                  <a:lnTo>
                    <a:pt x="389" y="236"/>
                  </a:lnTo>
                  <a:lnTo>
                    <a:pt x="389" y="237"/>
                  </a:lnTo>
                  <a:lnTo>
                    <a:pt x="388" y="238"/>
                  </a:lnTo>
                  <a:lnTo>
                    <a:pt x="387" y="239"/>
                  </a:lnTo>
                  <a:lnTo>
                    <a:pt x="387" y="239"/>
                  </a:lnTo>
                  <a:lnTo>
                    <a:pt x="385" y="241"/>
                  </a:lnTo>
                  <a:lnTo>
                    <a:pt x="385" y="241"/>
                  </a:lnTo>
                  <a:lnTo>
                    <a:pt x="384" y="241"/>
                  </a:lnTo>
                  <a:lnTo>
                    <a:pt x="384" y="242"/>
                  </a:lnTo>
                  <a:lnTo>
                    <a:pt x="384" y="243"/>
                  </a:lnTo>
                  <a:lnTo>
                    <a:pt x="383" y="244"/>
                  </a:lnTo>
                  <a:lnTo>
                    <a:pt x="383" y="245"/>
                  </a:lnTo>
                  <a:lnTo>
                    <a:pt x="383" y="246"/>
                  </a:lnTo>
                  <a:lnTo>
                    <a:pt x="383" y="247"/>
                  </a:lnTo>
                  <a:lnTo>
                    <a:pt x="384" y="249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5" y="251"/>
                  </a:lnTo>
                  <a:lnTo>
                    <a:pt x="385" y="251"/>
                  </a:lnTo>
                  <a:lnTo>
                    <a:pt x="386" y="251"/>
                  </a:lnTo>
                  <a:lnTo>
                    <a:pt x="387" y="251"/>
                  </a:lnTo>
                  <a:lnTo>
                    <a:pt x="388" y="252"/>
                  </a:lnTo>
                  <a:lnTo>
                    <a:pt x="389" y="252"/>
                  </a:lnTo>
                  <a:lnTo>
                    <a:pt x="390" y="251"/>
                  </a:lnTo>
                  <a:lnTo>
                    <a:pt x="391" y="251"/>
                  </a:lnTo>
                  <a:lnTo>
                    <a:pt x="392" y="251"/>
                  </a:lnTo>
                  <a:lnTo>
                    <a:pt x="394" y="251"/>
                  </a:lnTo>
                  <a:lnTo>
                    <a:pt x="396" y="250"/>
                  </a:lnTo>
                  <a:lnTo>
                    <a:pt x="403" y="247"/>
                  </a:lnTo>
                  <a:lnTo>
                    <a:pt x="405" y="247"/>
                  </a:lnTo>
                  <a:lnTo>
                    <a:pt x="406" y="246"/>
                  </a:lnTo>
                  <a:lnTo>
                    <a:pt x="407" y="246"/>
                  </a:lnTo>
                  <a:lnTo>
                    <a:pt x="408" y="246"/>
                  </a:lnTo>
                  <a:lnTo>
                    <a:pt x="409" y="246"/>
                  </a:lnTo>
                  <a:lnTo>
                    <a:pt x="410" y="246"/>
                  </a:lnTo>
                  <a:lnTo>
                    <a:pt x="411" y="246"/>
                  </a:lnTo>
                  <a:lnTo>
                    <a:pt x="411" y="246"/>
                  </a:lnTo>
                  <a:lnTo>
                    <a:pt x="412" y="247"/>
                  </a:lnTo>
                  <a:lnTo>
                    <a:pt x="412" y="247"/>
                  </a:lnTo>
                  <a:lnTo>
                    <a:pt x="413" y="248"/>
                  </a:lnTo>
                  <a:lnTo>
                    <a:pt x="413" y="249"/>
                  </a:lnTo>
                  <a:lnTo>
                    <a:pt x="415" y="250"/>
                  </a:lnTo>
                  <a:lnTo>
                    <a:pt x="416" y="252"/>
                  </a:lnTo>
                  <a:lnTo>
                    <a:pt x="416" y="253"/>
                  </a:lnTo>
                  <a:lnTo>
                    <a:pt x="417" y="254"/>
                  </a:lnTo>
                  <a:lnTo>
                    <a:pt x="417" y="256"/>
                  </a:lnTo>
                  <a:lnTo>
                    <a:pt x="417" y="256"/>
                  </a:lnTo>
                  <a:lnTo>
                    <a:pt x="417" y="258"/>
                  </a:lnTo>
                  <a:lnTo>
                    <a:pt x="417" y="259"/>
                  </a:lnTo>
                  <a:lnTo>
                    <a:pt x="417" y="260"/>
                  </a:lnTo>
                  <a:lnTo>
                    <a:pt x="417" y="264"/>
                  </a:lnTo>
                  <a:lnTo>
                    <a:pt x="417" y="265"/>
                  </a:lnTo>
                  <a:lnTo>
                    <a:pt x="417" y="266"/>
                  </a:lnTo>
                  <a:lnTo>
                    <a:pt x="417" y="267"/>
                  </a:lnTo>
                  <a:lnTo>
                    <a:pt x="417" y="267"/>
                  </a:lnTo>
                  <a:lnTo>
                    <a:pt x="418" y="268"/>
                  </a:lnTo>
                  <a:lnTo>
                    <a:pt x="418" y="268"/>
                  </a:lnTo>
                  <a:lnTo>
                    <a:pt x="418" y="268"/>
                  </a:lnTo>
                  <a:lnTo>
                    <a:pt x="419" y="269"/>
                  </a:lnTo>
                  <a:lnTo>
                    <a:pt x="422" y="269"/>
                  </a:lnTo>
                  <a:lnTo>
                    <a:pt x="423" y="270"/>
                  </a:lnTo>
                  <a:lnTo>
                    <a:pt x="423" y="270"/>
                  </a:lnTo>
                  <a:lnTo>
                    <a:pt x="424" y="270"/>
                  </a:lnTo>
                  <a:lnTo>
                    <a:pt x="426" y="271"/>
                  </a:lnTo>
                  <a:lnTo>
                    <a:pt x="428" y="272"/>
                  </a:lnTo>
                  <a:lnTo>
                    <a:pt x="428" y="272"/>
                  </a:lnTo>
                  <a:lnTo>
                    <a:pt x="429" y="273"/>
                  </a:lnTo>
                  <a:lnTo>
                    <a:pt x="430" y="273"/>
                  </a:lnTo>
                  <a:lnTo>
                    <a:pt x="431" y="274"/>
                  </a:lnTo>
                  <a:lnTo>
                    <a:pt x="433" y="276"/>
                  </a:lnTo>
                  <a:lnTo>
                    <a:pt x="433" y="276"/>
                  </a:lnTo>
                  <a:lnTo>
                    <a:pt x="434" y="277"/>
                  </a:lnTo>
                  <a:lnTo>
                    <a:pt x="435" y="277"/>
                  </a:lnTo>
                  <a:lnTo>
                    <a:pt x="435" y="277"/>
                  </a:lnTo>
                  <a:lnTo>
                    <a:pt x="437" y="278"/>
                  </a:lnTo>
                  <a:lnTo>
                    <a:pt x="442" y="278"/>
                  </a:lnTo>
                  <a:lnTo>
                    <a:pt x="445" y="279"/>
                  </a:lnTo>
                  <a:lnTo>
                    <a:pt x="450" y="280"/>
                  </a:lnTo>
                  <a:lnTo>
                    <a:pt x="451" y="280"/>
                  </a:lnTo>
                  <a:lnTo>
                    <a:pt x="452" y="280"/>
                  </a:lnTo>
                  <a:lnTo>
                    <a:pt x="452" y="281"/>
                  </a:lnTo>
                  <a:lnTo>
                    <a:pt x="453" y="281"/>
                  </a:lnTo>
                  <a:lnTo>
                    <a:pt x="455" y="282"/>
                  </a:lnTo>
                  <a:lnTo>
                    <a:pt x="456" y="283"/>
                  </a:lnTo>
                  <a:lnTo>
                    <a:pt x="456" y="284"/>
                  </a:lnTo>
                  <a:lnTo>
                    <a:pt x="457" y="284"/>
                  </a:lnTo>
                  <a:lnTo>
                    <a:pt x="457" y="284"/>
                  </a:lnTo>
                  <a:lnTo>
                    <a:pt x="457" y="285"/>
                  </a:lnTo>
                  <a:lnTo>
                    <a:pt x="457" y="287"/>
                  </a:lnTo>
                  <a:lnTo>
                    <a:pt x="458" y="288"/>
                  </a:lnTo>
                  <a:lnTo>
                    <a:pt x="458" y="291"/>
                  </a:lnTo>
                  <a:lnTo>
                    <a:pt x="458" y="292"/>
                  </a:lnTo>
                  <a:lnTo>
                    <a:pt x="458" y="292"/>
                  </a:lnTo>
                  <a:lnTo>
                    <a:pt x="459" y="293"/>
                  </a:lnTo>
                  <a:lnTo>
                    <a:pt x="459" y="294"/>
                  </a:lnTo>
                  <a:lnTo>
                    <a:pt x="459" y="294"/>
                  </a:lnTo>
                  <a:lnTo>
                    <a:pt x="460" y="294"/>
                  </a:lnTo>
                  <a:lnTo>
                    <a:pt x="460" y="294"/>
                  </a:lnTo>
                  <a:lnTo>
                    <a:pt x="461" y="295"/>
                  </a:lnTo>
                  <a:lnTo>
                    <a:pt x="462" y="295"/>
                  </a:lnTo>
                  <a:lnTo>
                    <a:pt x="464" y="295"/>
                  </a:lnTo>
                  <a:lnTo>
                    <a:pt x="466" y="295"/>
                  </a:lnTo>
                  <a:lnTo>
                    <a:pt x="467" y="296"/>
                  </a:lnTo>
                  <a:lnTo>
                    <a:pt x="468" y="296"/>
                  </a:lnTo>
                  <a:lnTo>
                    <a:pt x="469" y="296"/>
                  </a:lnTo>
                  <a:lnTo>
                    <a:pt x="469" y="297"/>
                  </a:lnTo>
                  <a:lnTo>
                    <a:pt x="470" y="297"/>
                  </a:lnTo>
                  <a:lnTo>
                    <a:pt x="476" y="301"/>
                  </a:lnTo>
                  <a:lnTo>
                    <a:pt x="477" y="302"/>
                  </a:lnTo>
                  <a:lnTo>
                    <a:pt x="478" y="303"/>
                  </a:lnTo>
                  <a:lnTo>
                    <a:pt x="480" y="304"/>
                  </a:lnTo>
                  <a:lnTo>
                    <a:pt x="481" y="304"/>
                  </a:lnTo>
                  <a:lnTo>
                    <a:pt x="481" y="304"/>
                  </a:lnTo>
                  <a:lnTo>
                    <a:pt x="482" y="304"/>
                  </a:lnTo>
                  <a:lnTo>
                    <a:pt x="483" y="305"/>
                  </a:lnTo>
                  <a:lnTo>
                    <a:pt x="484" y="304"/>
                  </a:lnTo>
                  <a:lnTo>
                    <a:pt x="485" y="304"/>
                  </a:lnTo>
                  <a:lnTo>
                    <a:pt x="486" y="304"/>
                  </a:lnTo>
                  <a:lnTo>
                    <a:pt x="490" y="303"/>
                  </a:lnTo>
                  <a:lnTo>
                    <a:pt x="492" y="303"/>
                  </a:lnTo>
                  <a:lnTo>
                    <a:pt x="493" y="303"/>
                  </a:lnTo>
                  <a:lnTo>
                    <a:pt x="496" y="303"/>
                  </a:lnTo>
                  <a:lnTo>
                    <a:pt x="500" y="302"/>
                  </a:lnTo>
                  <a:lnTo>
                    <a:pt x="500" y="302"/>
                  </a:lnTo>
                  <a:lnTo>
                    <a:pt x="501" y="302"/>
                  </a:lnTo>
                  <a:lnTo>
                    <a:pt x="502" y="302"/>
                  </a:lnTo>
                  <a:lnTo>
                    <a:pt x="502" y="302"/>
                  </a:lnTo>
                  <a:lnTo>
                    <a:pt x="503" y="303"/>
                  </a:lnTo>
                  <a:lnTo>
                    <a:pt x="506" y="304"/>
                  </a:lnTo>
                  <a:lnTo>
                    <a:pt x="508" y="304"/>
                  </a:lnTo>
                  <a:lnTo>
                    <a:pt x="509" y="305"/>
                  </a:lnTo>
                  <a:lnTo>
                    <a:pt x="510" y="305"/>
                  </a:lnTo>
                  <a:lnTo>
                    <a:pt x="511" y="306"/>
                  </a:lnTo>
                  <a:lnTo>
                    <a:pt x="513" y="307"/>
                  </a:lnTo>
                  <a:lnTo>
                    <a:pt x="514" y="308"/>
                  </a:lnTo>
                  <a:lnTo>
                    <a:pt x="514" y="308"/>
                  </a:lnTo>
                  <a:lnTo>
                    <a:pt x="514" y="309"/>
                  </a:lnTo>
                  <a:lnTo>
                    <a:pt x="515" y="309"/>
                  </a:lnTo>
                  <a:lnTo>
                    <a:pt x="515" y="310"/>
                  </a:lnTo>
                  <a:lnTo>
                    <a:pt x="515" y="310"/>
                  </a:lnTo>
                  <a:lnTo>
                    <a:pt x="515" y="311"/>
                  </a:lnTo>
                  <a:lnTo>
                    <a:pt x="516" y="312"/>
                  </a:lnTo>
                  <a:lnTo>
                    <a:pt x="516" y="313"/>
                  </a:lnTo>
                  <a:lnTo>
                    <a:pt x="516" y="315"/>
                  </a:lnTo>
                  <a:lnTo>
                    <a:pt x="516" y="316"/>
                  </a:lnTo>
                  <a:lnTo>
                    <a:pt x="516" y="317"/>
                  </a:lnTo>
                  <a:lnTo>
                    <a:pt x="517" y="317"/>
                  </a:lnTo>
                  <a:lnTo>
                    <a:pt x="517" y="318"/>
                  </a:lnTo>
                  <a:lnTo>
                    <a:pt x="517" y="318"/>
                  </a:lnTo>
                  <a:lnTo>
                    <a:pt x="518" y="319"/>
                  </a:lnTo>
                  <a:lnTo>
                    <a:pt x="518" y="319"/>
                  </a:lnTo>
                  <a:lnTo>
                    <a:pt x="519" y="319"/>
                  </a:lnTo>
                  <a:lnTo>
                    <a:pt x="520" y="320"/>
                  </a:lnTo>
                  <a:lnTo>
                    <a:pt x="522" y="321"/>
                  </a:lnTo>
                  <a:lnTo>
                    <a:pt x="523" y="321"/>
                  </a:lnTo>
                  <a:lnTo>
                    <a:pt x="530" y="324"/>
                  </a:lnTo>
                  <a:lnTo>
                    <a:pt x="531" y="325"/>
                  </a:lnTo>
                  <a:lnTo>
                    <a:pt x="532" y="326"/>
                  </a:lnTo>
                  <a:lnTo>
                    <a:pt x="533" y="327"/>
                  </a:lnTo>
                  <a:lnTo>
                    <a:pt x="534" y="328"/>
                  </a:lnTo>
                  <a:lnTo>
                    <a:pt x="536" y="329"/>
                  </a:lnTo>
                  <a:lnTo>
                    <a:pt x="537" y="330"/>
                  </a:lnTo>
                  <a:lnTo>
                    <a:pt x="538" y="332"/>
                  </a:lnTo>
                  <a:lnTo>
                    <a:pt x="541" y="337"/>
                  </a:lnTo>
                  <a:lnTo>
                    <a:pt x="544" y="340"/>
                  </a:lnTo>
                  <a:lnTo>
                    <a:pt x="544" y="341"/>
                  </a:lnTo>
                  <a:lnTo>
                    <a:pt x="545" y="342"/>
                  </a:lnTo>
                  <a:lnTo>
                    <a:pt x="545" y="343"/>
                  </a:lnTo>
                  <a:lnTo>
                    <a:pt x="547" y="346"/>
                  </a:lnTo>
                  <a:lnTo>
                    <a:pt x="547" y="348"/>
                  </a:lnTo>
                  <a:lnTo>
                    <a:pt x="548" y="349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7" y="350"/>
                  </a:lnTo>
                  <a:lnTo>
                    <a:pt x="547" y="350"/>
                  </a:lnTo>
                  <a:lnTo>
                    <a:pt x="546" y="350"/>
                  </a:lnTo>
                  <a:lnTo>
                    <a:pt x="544" y="351"/>
                  </a:lnTo>
                  <a:lnTo>
                    <a:pt x="541" y="354"/>
                  </a:lnTo>
                  <a:lnTo>
                    <a:pt x="536" y="357"/>
                  </a:lnTo>
                  <a:lnTo>
                    <a:pt x="535" y="358"/>
                  </a:lnTo>
                  <a:lnTo>
                    <a:pt x="532" y="361"/>
                  </a:lnTo>
                  <a:lnTo>
                    <a:pt x="531" y="361"/>
                  </a:lnTo>
                  <a:lnTo>
                    <a:pt x="530" y="362"/>
                  </a:lnTo>
                  <a:lnTo>
                    <a:pt x="529" y="362"/>
                  </a:lnTo>
                  <a:lnTo>
                    <a:pt x="529" y="362"/>
                  </a:lnTo>
                  <a:lnTo>
                    <a:pt x="528" y="363"/>
                  </a:lnTo>
                  <a:lnTo>
                    <a:pt x="527" y="363"/>
                  </a:lnTo>
                  <a:lnTo>
                    <a:pt x="525" y="363"/>
                  </a:lnTo>
                  <a:lnTo>
                    <a:pt x="522" y="364"/>
                  </a:lnTo>
                  <a:lnTo>
                    <a:pt x="521" y="364"/>
                  </a:lnTo>
                  <a:lnTo>
                    <a:pt x="521" y="364"/>
                  </a:lnTo>
                  <a:lnTo>
                    <a:pt x="520" y="365"/>
                  </a:lnTo>
                  <a:lnTo>
                    <a:pt x="519" y="366"/>
                  </a:lnTo>
                  <a:lnTo>
                    <a:pt x="518" y="367"/>
                  </a:lnTo>
                  <a:lnTo>
                    <a:pt x="517" y="367"/>
                  </a:lnTo>
                  <a:lnTo>
                    <a:pt x="517" y="367"/>
                  </a:lnTo>
                  <a:lnTo>
                    <a:pt x="516" y="367"/>
                  </a:lnTo>
                  <a:lnTo>
                    <a:pt x="514" y="368"/>
                  </a:lnTo>
                  <a:lnTo>
                    <a:pt x="513" y="368"/>
                  </a:lnTo>
                  <a:lnTo>
                    <a:pt x="513" y="368"/>
                  </a:lnTo>
                  <a:lnTo>
                    <a:pt x="512" y="368"/>
                  </a:lnTo>
                  <a:lnTo>
                    <a:pt x="511" y="368"/>
                  </a:lnTo>
                  <a:lnTo>
                    <a:pt x="511" y="367"/>
                  </a:lnTo>
                  <a:lnTo>
                    <a:pt x="510" y="367"/>
                  </a:lnTo>
                  <a:lnTo>
                    <a:pt x="509" y="366"/>
                  </a:lnTo>
                  <a:lnTo>
                    <a:pt x="509" y="366"/>
                  </a:lnTo>
                  <a:lnTo>
                    <a:pt x="508" y="366"/>
                  </a:lnTo>
                  <a:lnTo>
                    <a:pt x="506" y="365"/>
                  </a:lnTo>
                  <a:lnTo>
                    <a:pt x="506" y="365"/>
                  </a:lnTo>
                  <a:lnTo>
                    <a:pt x="505" y="364"/>
                  </a:lnTo>
                  <a:lnTo>
                    <a:pt x="504" y="363"/>
                  </a:lnTo>
                  <a:lnTo>
                    <a:pt x="500" y="361"/>
                  </a:lnTo>
                  <a:lnTo>
                    <a:pt x="499" y="360"/>
                  </a:lnTo>
                  <a:lnTo>
                    <a:pt x="497" y="359"/>
                  </a:lnTo>
                  <a:lnTo>
                    <a:pt x="496" y="359"/>
                  </a:lnTo>
                  <a:lnTo>
                    <a:pt x="495" y="358"/>
                  </a:lnTo>
                  <a:lnTo>
                    <a:pt x="493" y="358"/>
                  </a:lnTo>
                  <a:lnTo>
                    <a:pt x="492" y="358"/>
                  </a:lnTo>
                  <a:lnTo>
                    <a:pt x="491" y="358"/>
                  </a:lnTo>
                  <a:lnTo>
                    <a:pt x="490" y="358"/>
                  </a:lnTo>
                  <a:lnTo>
                    <a:pt x="489" y="358"/>
                  </a:lnTo>
                  <a:lnTo>
                    <a:pt x="489" y="358"/>
                  </a:lnTo>
                  <a:lnTo>
                    <a:pt x="488" y="358"/>
                  </a:lnTo>
                  <a:lnTo>
                    <a:pt x="487" y="358"/>
                  </a:lnTo>
                  <a:lnTo>
                    <a:pt x="485" y="359"/>
                  </a:lnTo>
                  <a:lnTo>
                    <a:pt x="485" y="360"/>
                  </a:lnTo>
                  <a:lnTo>
                    <a:pt x="484" y="361"/>
                  </a:lnTo>
                  <a:lnTo>
                    <a:pt x="481" y="363"/>
                  </a:lnTo>
                  <a:lnTo>
                    <a:pt x="480" y="364"/>
                  </a:lnTo>
                  <a:lnTo>
                    <a:pt x="475" y="367"/>
                  </a:lnTo>
                  <a:lnTo>
                    <a:pt x="474" y="368"/>
                  </a:lnTo>
                  <a:lnTo>
                    <a:pt x="473" y="369"/>
                  </a:lnTo>
                  <a:lnTo>
                    <a:pt x="472" y="369"/>
                  </a:lnTo>
                  <a:lnTo>
                    <a:pt x="471" y="369"/>
                  </a:lnTo>
                  <a:lnTo>
                    <a:pt x="471" y="369"/>
                  </a:lnTo>
                  <a:lnTo>
                    <a:pt x="470" y="369"/>
                  </a:lnTo>
                  <a:lnTo>
                    <a:pt x="468" y="370"/>
                  </a:lnTo>
                  <a:lnTo>
                    <a:pt x="465" y="370"/>
                  </a:lnTo>
                  <a:lnTo>
                    <a:pt x="464" y="370"/>
                  </a:lnTo>
                  <a:lnTo>
                    <a:pt x="463" y="370"/>
                  </a:lnTo>
                  <a:lnTo>
                    <a:pt x="462" y="369"/>
                  </a:lnTo>
                  <a:lnTo>
                    <a:pt x="461" y="369"/>
                  </a:lnTo>
                  <a:lnTo>
                    <a:pt x="461" y="369"/>
                  </a:lnTo>
                  <a:lnTo>
                    <a:pt x="459" y="368"/>
                  </a:lnTo>
                  <a:lnTo>
                    <a:pt x="458" y="367"/>
                  </a:lnTo>
                  <a:lnTo>
                    <a:pt x="457" y="367"/>
                  </a:lnTo>
                  <a:lnTo>
                    <a:pt x="455" y="365"/>
                  </a:lnTo>
                  <a:lnTo>
                    <a:pt x="454" y="364"/>
                  </a:lnTo>
                  <a:lnTo>
                    <a:pt x="452" y="362"/>
                  </a:lnTo>
                  <a:lnTo>
                    <a:pt x="449" y="360"/>
                  </a:lnTo>
                  <a:lnTo>
                    <a:pt x="448" y="359"/>
                  </a:lnTo>
                  <a:lnTo>
                    <a:pt x="448" y="359"/>
                  </a:lnTo>
                  <a:lnTo>
                    <a:pt x="447" y="358"/>
                  </a:lnTo>
                  <a:lnTo>
                    <a:pt x="444" y="357"/>
                  </a:lnTo>
                  <a:lnTo>
                    <a:pt x="443" y="357"/>
                  </a:lnTo>
                  <a:lnTo>
                    <a:pt x="439" y="354"/>
                  </a:lnTo>
                  <a:lnTo>
                    <a:pt x="436" y="352"/>
                  </a:lnTo>
                  <a:lnTo>
                    <a:pt x="435" y="351"/>
                  </a:lnTo>
                  <a:lnTo>
                    <a:pt x="434" y="351"/>
                  </a:lnTo>
                  <a:lnTo>
                    <a:pt x="433" y="351"/>
                  </a:lnTo>
                  <a:lnTo>
                    <a:pt x="429" y="349"/>
                  </a:lnTo>
                  <a:lnTo>
                    <a:pt x="426" y="348"/>
                  </a:lnTo>
                  <a:lnTo>
                    <a:pt x="424" y="348"/>
                  </a:lnTo>
                  <a:lnTo>
                    <a:pt x="423" y="347"/>
                  </a:lnTo>
                  <a:lnTo>
                    <a:pt x="421" y="347"/>
                  </a:lnTo>
                  <a:lnTo>
                    <a:pt x="420" y="346"/>
                  </a:lnTo>
                  <a:lnTo>
                    <a:pt x="418" y="346"/>
                  </a:lnTo>
                  <a:lnTo>
                    <a:pt x="417" y="346"/>
                  </a:lnTo>
                  <a:lnTo>
                    <a:pt x="415" y="345"/>
                  </a:lnTo>
                  <a:lnTo>
                    <a:pt x="414" y="345"/>
                  </a:lnTo>
                  <a:lnTo>
                    <a:pt x="413" y="345"/>
                  </a:lnTo>
                  <a:lnTo>
                    <a:pt x="412" y="346"/>
                  </a:lnTo>
                  <a:lnTo>
                    <a:pt x="411" y="346"/>
                  </a:lnTo>
                  <a:lnTo>
                    <a:pt x="411" y="346"/>
                  </a:lnTo>
                  <a:lnTo>
                    <a:pt x="410" y="347"/>
                  </a:lnTo>
                  <a:lnTo>
                    <a:pt x="409" y="347"/>
                  </a:lnTo>
                  <a:lnTo>
                    <a:pt x="408" y="348"/>
                  </a:lnTo>
                  <a:lnTo>
                    <a:pt x="407" y="348"/>
                  </a:lnTo>
                  <a:lnTo>
                    <a:pt x="405" y="350"/>
                  </a:lnTo>
                  <a:lnTo>
                    <a:pt x="403" y="353"/>
                  </a:lnTo>
                  <a:lnTo>
                    <a:pt x="398" y="357"/>
                  </a:lnTo>
                  <a:lnTo>
                    <a:pt x="396" y="358"/>
                  </a:lnTo>
                  <a:lnTo>
                    <a:pt x="392" y="361"/>
                  </a:lnTo>
                  <a:lnTo>
                    <a:pt x="390" y="363"/>
                  </a:lnTo>
                  <a:lnTo>
                    <a:pt x="389" y="364"/>
                  </a:lnTo>
                  <a:lnTo>
                    <a:pt x="388" y="365"/>
                  </a:lnTo>
                  <a:lnTo>
                    <a:pt x="387" y="366"/>
                  </a:lnTo>
                  <a:lnTo>
                    <a:pt x="386" y="367"/>
                  </a:lnTo>
                  <a:lnTo>
                    <a:pt x="386" y="367"/>
                  </a:lnTo>
                  <a:lnTo>
                    <a:pt x="385" y="368"/>
                  </a:lnTo>
                  <a:lnTo>
                    <a:pt x="385" y="369"/>
                  </a:lnTo>
                  <a:lnTo>
                    <a:pt x="384" y="370"/>
                  </a:lnTo>
                  <a:lnTo>
                    <a:pt x="383" y="375"/>
                  </a:lnTo>
                  <a:lnTo>
                    <a:pt x="382" y="376"/>
                  </a:lnTo>
                  <a:lnTo>
                    <a:pt x="382" y="377"/>
                  </a:lnTo>
                  <a:lnTo>
                    <a:pt x="381" y="378"/>
                  </a:lnTo>
                  <a:lnTo>
                    <a:pt x="380" y="380"/>
                  </a:lnTo>
                  <a:lnTo>
                    <a:pt x="379" y="383"/>
                  </a:lnTo>
                  <a:lnTo>
                    <a:pt x="378" y="385"/>
                  </a:lnTo>
                  <a:lnTo>
                    <a:pt x="377" y="386"/>
                  </a:lnTo>
                  <a:lnTo>
                    <a:pt x="376" y="387"/>
                  </a:lnTo>
                  <a:lnTo>
                    <a:pt x="372" y="391"/>
                  </a:lnTo>
                  <a:lnTo>
                    <a:pt x="368" y="396"/>
                  </a:lnTo>
                  <a:lnTo>
                    <a:pt x="367" y="397"/>
                  </a:lnTo>
                  <a:lnTo>
                    <a:pt x="365" y="399"/>
                  </a:lnTo>
                  <a:lnTo>
                    <a:pt x="365" y="400"/>
                  </a:lnTo>
                  <a:lnTo>
                    <a:pt x="361" y="406"/>
                  </a:lnTo>
                  <a:lnTo>
                    <a:pt x="360" y="408"/>
                  </a:lnTo>
                  <a:lnTo>
                    <a:pt x="358" y="412"/>
                  </a:lnTo>
                  <a:lnTo>
                    <a:pt x="357" y="414"/>
                  </a:lnTo>
                  <a:lnTo>
                    <a:pt x="355" y="418"/>
                  </a:lnTo>
                  <a:lnTo>
                    <a:pt x="354" y="421"/>
                  </a:lnTo>
                  <a:lnTo>
                    <a:pt x="353" y="423"/>
                  </a:lnTo>
                  <a:lnTo>
                    <a:pt x="352" y="425"/>
                  </a:lnTo>
                  <a:lnTo>
                    <a:pt x="351" y="429"/>
                  </a:lnTo>
                  <a:lnTo>
                    <a:pt x="350" y="431"/>
                  </a:lnTo>
                  <a:lnTo>
                    <a:pt x="350" y="432"/>
                  </a:lnTo>
                  <a:lnTo>
                    <a:pt x="348" y="435"/>
                  </a:lnTo>
                  <a:lnTo>
                    <a:pt x="347" y="436"/>
                  </a:lnTo>
                  <a:lnTo>
                    <a:pt x="346" y="438"/>
                  </a:lnTo>
                  <a:lnTo>
                    <a:pt x="345" y="440"/>
                  </a:lnTo>
                  <a:lnTo>
                    <a:pt x="345" y="442"/>
                  </a:lnTo>
                  <a:lnTo>
                    <a:pt x="345" y="443"/>
                  </a:lnTo>
                  <a:lnTo>
                    <a:pt x="344" y="444"/>
                  </a:lnTo>
                  <a:lnTo>
                    <a:pt x="344" y="447"/>
                  </a:lnTo>
                  <a:lnTo>
                    <a:pt x="343" y="451"/>
                  </a:lnTo>
                  <a:lnTo>
                    <a:pt x="342" y="453"/>
                  </a:lnTo>
                  <a:lnTo>
                    <a:pt x="342" y="455"/>
                  </a:lnTo>
                  <a:lnTo>
                    <a:pt x="342" y="456"/>
                  </a:lnTo>
                  <a:lnTo>
                    <a:pt x="341" y="458"/>
                  </a:lnTo>
                  <a:lnTo>
                    <a:pt x="341" y="458"/>
                  </a:lnTo>
                  <a:lnTo>
                    <a:pt x="340" y="460"/>
                  </a:lnTo>
                  <a:lnTo>
                    <a:pt x="340" y="461"/>
                  </a:lnTo>
                  <a:lnTo>
                    <a:pt x="339" y="461"/>
                  </a:lnTo>
                  <a:lnTo>
                    <a:pt x="338" y="462"/>
                  </a:lnTo>
                  <a:lnTo>
                    <a:pt x="337" y="463"/>
                  </a:lnTo>
                  <a:lnTo>
                    <a:pt x="337" y="463"/>
                  </a:lnTo>
                  <a:lnTo>
                    <a:pt x="336" y="464"/>
                  </a:lnTo>
                  <a:lnTo>
                    <a:pt x="335" y="464"/>
                  </a:lnTo>
                  <a:lnTo>
                    <a:pt x="335" y="464"/>
                  </a:lnTo>
                  <a:lnTo>
                    <a:pt x="334" y="464"/>
                  </a:lnTo>
                  <a:lnTo>
                    <a:pt x="334" y="464"/>
                  </a:lnTo>
                  <a:lnTo>
                    <a:pt x="333" y="464"/>
                  </a:lnTo>
                  <a:lnTo>
                    <a:pt x="332" y="464"/>
                  </a:lnTo>
                  <a:lnTo>
                    <a:pt x="332" y="463"/>
                  </a:lnTo>
                  <a:lnTo>
                    <a:pt x="331" y="463"/>
                  </a:lnTo>
                  <a:lnTo>
                    <a:pt x="331" y="462"/>
                  </a:lnTo>
                  <a:lnTo>
                    <a:pt x="331" y="462"/>
                  </a:lnTo>
                  <a:lnTo>
                    <a:pt x="331" y="461"/>
                  </a:lnTo>
                  <a:lnTo>
                    <a:pt x="331" y="460"/>
                  </a:lnTo>
                  <a:lnTo>
                    <a:pt x="331" y="460"/>
                  </a:lnTo>
                  <a:lnTo>
                    <a:pt x="330" y="456"/>
                  </a:lnTo>
                  <a:lnTo>
                    <a:pt x="329" y="452"/>
                  </a:lnTo>
                  <a:lnTo>
                    <a:pt x="329" y="450"/>
                  </a:lnTo>
                  <a:lnTo>
                    <a:pt x="329" y="447"/>
                  </a:lnTo>
                  <a:lnTo>
                    <a:pt x="329" y="445"/>
                  </a:lnTo>
                  <a:lnTo>
                    <a:pt x="328" y="442"/>
                  </a:lnTo>
                  <a:lnTo>
                    <a:pt x="327" y="439"/>
                  </a:lnTo>
                  <a:lnTo>
                    <a:pt x="327" y="438"/>
                  </a:lnTo>
                  <a:lnTo>
                    <a:pt x="327" y="436"/>
                  </a:lnTo>
                  <a:lnTo>
                    <a:pt x="327" y="432"/>
                  </a:lnTo>
                  <a:lnTo>
                    <a:pt x="326" y="431"/>
                  </a:lnTo>
                  <a:lnTo>
                    <a:pt x="326" y="429"/>
                  </a:lnTo>
                  <a:lnTo>
                    <a:pt x="326" y="428"/>
                  </a:lnTo>
                  <a:lnTo>
                    <a:pt x="326" y="427"/>
                  </a:lnTo>
                  <a:lnTo>
                    <a:pt x="325" y="426"/>
                  </a:lnTo>
                  <a:lnTo>
                    <a:pt x="325" y="425"/>
                  </a:lnTo>
                  <a:lnTo>
                    <a:pt x="324" y="424"/>
                  </a:lnTo>
                  <a:lnTo>
                    <a:pt x="323" y="423"/>
                  </a:lnTo>
                  <a:lnTo>
                    <a:pt x="322" y="422"/>
                  </a:lnTo>
                  <a:lnTo>
                    <a:pt x="322" y="421"/>
                  </a:lnTo>
                  <a:lnTo>
                    <a:pt x="321" y="421"/>
                  </a:lnTo>
                  <a:lnTo>
                    <a:pt x="321" y="421"/>
                  </a:lnTo>
                  <a:lnTo>
                    <a:pt x="320" y="421"/>
                  </a:lnTo>
                  <a:lnTo>
                    <a:pt x="319" y="420"/>
                  </a:lnTo>
                  <a:lnTo>
                    <a:pt x="318" y="420"/>
                  </a:lnTo>
                  <a:lnTo>
                    <a:pt x="317" y="420"/>
                  </a:lnTo>
                  <a:lnTo>
                    <a:pt x="316" y="420"/>
                  </a:lnTo>
                  <a:lnTo>
                    <a:pt x="316" y="420"/>
                  </a:lnTo>
                  <a:lnTo>
                    <a:pt x="315" y="420"/>
                  </a:lnTo>
                  <a:lnTo>
                    <a:pt x="314" y="420"/>
                  </a:lnTo>
                  <a:lnTo>
                    <a:pt x="312" y="421"/>
                  </a:lnTo>
                  <a:lnTo>
                    <a:pt x="311" y="421"/>
                  </a:lnTo>
                  <a:lnTo>
                    <a:pt x="309" y="421"/>
                  </a:lnTo>
                  <a:lnTo>
                    <a:pt x="307" y="422"/>
                  </a:lnTo>
                  <a:lnTo>
                    <a:pt x="305" y="422"/>
                  </a:lnTo>
                  <a:lnTo>
                    <a:pt x="302" y="422"/>
                  </a:lnTo>
                  <a:lnTo>
                    <a:pt x="298" y="423"/>
                  </a:lnTo>
                  <a:lnTo>
                    <a:pt x="296" y="423"/>
                  </a:lnTo>
                  <a:lnTo>
                    <a:pt x="293" y="424"/>
                  </a:lnTo>
                  <a:lnTo>
                    <a:pt x="292" y="424"/>
                  </a:lnTo>
                  <a:lnTo>
                    <a:pt x="291" y="424"/>
                  </a:lnTo>
                  <a:lnTo>
                    <a:pt x="289" y="423"/>
                  </a:lnTo>
                  <a:lnTo>
                    <a:pt x="285" y="423"/>
                  </a:lnTo>
                  <a:lnTo>
                    <a:pt x="284" y="422"/>
                  </a:lnTo>
                  <a:lnTo>
                    <a:pt x="282" y="421"/>
                  </a:lnTo>
                  <a:lnTo>
                    <a:pt x="280" y="420"/>
                  </a:lnTo>
                  <a:lnTo>
                    <a:pt x="279" y="420"/>
                  </a:lnTo>
                  <a:lnTo>
                    <a:pt x="278" y="419"/>
                  </a:lnTo>
                  <a:lnTo>
                    <a:pt x="275" y="417"/>
                  </a:lnTo>
                  <a:lnTo>
                    <a:pt x="274" y="416"/>
                  </a:lnTo>
                  <a:lnTo>
                    <a:pt x="274" y="416"/>
                  </a:lnTo>
                  <a:lnTo>
                    <a:pt x="273" y="415"/>
                  </a:lnTo>
                  <a:lnTo>
                    <a:pt x="271" y="414"/>
                  </a:lnTo>
                  <a:lnTo>
                    <a:pt x="270" y="414"/>
                  </a:lnTo>
                  <a:lnTo>
                    <a:pt x="268" y="414"/>
                  </a:lnTo>
                  <a:lnTo>
                    <a:pt x="268" y="413"/>
                  </a:lnTo>
                  <a:lnTo>
                    <a:pt x="267" y="413"/>
                  </a:lnTo>
                  <a:lnTo>
                    <a:pt x="266" y="413"/>
                  </a:lnTo>
                  <a:lnTo>
                    <a:pt x="265" y="413"/>
                  </a:lnTo>
                  <a:lnTo>
                    <a:pt x="264" y="413"/>
                  </a:lnTo>
                  <a:lnTo>
                    <a:pt x="263" y="413"/>
                  </a:lnTo>
                  <a:lnTo>
                    <a:pt x="260" y="413"/>
                  </a:lnTo>
                  <a:lnTo>
                    <a:pt x="259" y="413"/>
                  </a:lnTo>
                  <a:lnTo>
                    <a:pt x="258" y="413"/>
                  </a:lnTo>
                  <a:lnTo>
                    <a:pt x="258" y="413"/>
                  </a:lnTo>
                  <a:lnTo>
                    <a:pt x="257" y="413"/>
                  </a:lnTo>
                  <a:lnTo>
                    <a:pt x="257" y="413"/>
                  </a:lnTo>
                  <a:lnTo>
                    <a:pt x="256" y="413"/>
                  </a:lnTo>
                  <a:lnTo>
                    <a:pt x="256" y="412"/>
                  </a:lnTo>
                  <a:lnTo>
                    <a:pt x="256" y="412"/>
                  </a:lnTo>
                  <a:lnTo>
                    <a:pt x="255" y="412"/>
                  </a:lnTo>
                  <a:lnTo>
                    <a:pt x="255" y="411"/>
                  </a:lnTo>
                  <a:lnTo>
                    <a:pt x="255" y="411"/>
                  </a:lnTo>
                  <a:lnTo>
                    <a:pt x="254" y="410"/>
                  </a:lnTo>
                  <a:lnTo>
                    <a:pt x="254" y="409"/>
                  </a:lnTo>
                  <a:lnTo>
                    <a:pt x="254" y="409"/>
                  </a:lnTo>
                  <a:lnTo>
                    <a:pt x="253" y="405"/>
                  </a:lnTo>
                  <a:lnTo>
                    <a:pt x="253" y="402"/>
                  </a:lnTo>
                  <a:lnTo>
                    <a:pt x="253" y="401"/>
                  </a:lnTo>
                  <a:lnTo>
                    <a:pt x="253" y="401"/>
                  </a:lnTo>
                  <a:lnTo>
                    <a:pt x="252" y="400"/>
                  </a:lnTo>
                  <a:lnTo>
                    <a:pt x="252" y="399"/>
                  </a:lnTo>
                  <a:lnTo>
                    <a:pt x="251" y="398"/>
                  </a:lnTo>
                  <a:lnTo>
                    <a:pt x="251" y="397"/>
                  </a:lnTo>
                  <a:lnTo>
                    <a:pt x="250" y="396"/>
                  </a:lnTo>
                  <a:lnTo>
                    <a:pt x="249" y="394"/>
                  </a:lnTo>
                  <a:lnTo>
                    <a:pt x="248" y="394"/>
                  </a:lnTo>
                  <a:lnTo>
                    <a:pt x="247" y="393"/>
                  </a:lnTo>
                  <a:lnTo>
                    <a:pt x="246" y="393"/>
                  </a:lnTo>
                  <a:lnTo>
                    <a:pt x="245" y="392"/>
                  </a:lnTo>
                  <a:lnTo>
                    <a:pt x="244" y="392"/>
                  </a:lnTo>
                  <a:lnTo>
                    <a:pt x="243" y="392"/>
                  </a:lnTo>
                  <a:lnTo>
                    <a:pt x="242" y="391"/>
                  </a:lnTo>
                  <a:lnTo>
                    <a:pt x="241" y="391"/>
                  </a:lnTo>
                  <a:lnTo>
                    <a:pt x="237" y="392"/>
                  </a:lnTo>
                  <a:lnTo>
                    <a:pt x="236" y="392"/>
                  </a:lnTo>
                  <a:lnTo>
                    <a:pt x="234" y="392"/>
                  </a:lnTo>
                  <a:lnTo>
                    <a:pt x="233" y="391"/>
                  </a:lnTo>
                  <a:lnTo>
                    <a:pt x="232" y="391"/>
                  </a:lnTo>
                  <a:lnTo>
                    <a:pt x="231" y="391"/>
                  </a:lnTo>
                  <a:lnTo>
                    <a:pt x="229" y="391"/>
                  </a:lnTo>
                  <a:lnTo>
                    <a:pt x="228" y="390"/>
                  </a:lnTo>
                  <a:lnTo>
                    <a:pt x="227" y="390"/>
                  </a:lnTo>
                  <a:lnTo>
                    <a:pt x="221" y="386"/>
                  </a:lnTo>
                  <a:lnTo>
                    <a:pt x="219" y="385"/>
                  </a:lnTo>
                  <a:lnTo>
                    <a:pt x="216" y="383"/>
                  </a:lnTo>
                  <a:lnTo>
                    <a:pt x="215" y="382"/>
                  </a:lnTo>
                  <a:lnTo>
                    <a:pt x="213" y="382"/>
                  </a:lnTo>
                  <a:lnTo>
                    <a:pt x="213" y="381"/>
                  </a:lnTo>
                  <a:lnTo>
                    <a:pt x="212" y="381"/>
                  </a:lnTo>
                  <a:lnTo>
                    <a:pt x="211" y="381"/>
                  </a:lnTo>
                  <a:lnTo>
                    <a:pt x="211" y="381"/>
                  </a:lnTo>
                  <a:lnTo>
                    <a:pt x="210" y="381"/>
                  </a:lnTo>
                  <a:lnTo>
                    <a:pt x="210" y="381"/>
                  </a:lnTo>
                  <a:lnTo>
                    <a:pt x="208" y="381"/>
                  </a:lnTo>
                  <a:lnTo>
                    <a:pt x="206" y="382"/>
                  </a:lnTo>
                  <a:lnTo>
                    <a:pt x="205" y="382"/>
                  </a:lnTo>
                  <a:lnTo>
                    <a:pt x="203" y="382"/>
                  </a:lnTo>
                  <a:lnTo>
                    <a:pt x="202" y="383"/>
                  </a:lnTo>
                  <a:lnTo>
                    <a:pt x="199" y="383"/>
                  </a:lnTo>
                  <a:lnTo>
                    <a:pt x="197" y="383"/>
                  </a:lnTo>
                  <a:lnTo>
                    <a:pt x="194" y="383"/>
                  </a:lnTo>
                  <a:lnTo>
                    <a:pt x="191" y="382"/>
                  </a:lnTo>
                  <a:lnTo>
                    <a:pt x="190" y="382"/>
                  </a:lnTo>
                  <a:lnTo>
                    <a:pt x="189" y="382"/>
                  </a:lnTo>
                  <a:lnTo>
                    <a:pt x="188" y="382"/>
                  </a:lnTo>
                  <a:lnTo>
                    <a:pt x="188" y="383"/>
                  </a:lnTo>
                  <a:lnTo>
                    <a:pt x="187" y="383"/>
                  </a:lnTo>
                  <a:lnTo>
                    <a:pt x="186" y="383"/>
                  </a:lnTo>
                  <a:lnTo>
                    <a:pt x="186" y="384"/>
                  </a:lnTo>
                  <a:lnTo>
                    <a:pt x="185" y="385"/>
                  </a:lnTo>
                  <a:lnTo>
                    <a:pt x="184" y="386"/>
                  </a:lnTo>
                  <a:lnTo>
                    <a:pt x="183" y="387"/>
                  </a:lnTo>
                  <a:lnTo>
                    <a:pt x="182" y="389"/>
                  </a:lnTo>
                  <a:lnTo>
                    <a:pt x="181" y="392"/>
                  </a:lnTo>
                  <a:lnTo>
                    <a:pt x="180" y="394"/>
                  </a:lnTo>
                  <a:lnTo>
                    <a:pt x="179" y="397"/>
                  </a:lnTo>
                  <a:lnTo>
                    <a:pt x="178" y="399"/>
                  </a:lnTo>
                  <a:lnTo>
                    <a:pt x="178" y="400"/>
                  </a:lnTo>
                  <a:lnTo>
                    <a:pt x="177" y="401"/>
                  </a:lnTo>
                  <a:lnTo>
                    <a:pt x="175" y="405"/>
                  </a:lnTo>
                  <a:lnTo>
                    <a:pt x="172" y="409"/>
                  </a:lnTo>
                  <a:lnTo>
                    <a:pt x="171" y="410"/>
                  </a:lnTo>
                  <a:lnTo>
                    <a:pt x="170" y="411"/>
                  </a:lnTo>
                  <a:lnTo>
                    <a:pt x="170" y="412"/>
                  </a:lnTo>
                  <a:lnTo>
                    <a:pt x="168" y="413"/>
                  </a:lnTo>
                  <a:lnTo>
                    <a:pt x="167" y="413"/>
                  </a:lnTo>
                  <a:lnTo>
                    <a:pt x="165" y="415"/>
                  </a:lnTo>
                  <a:lnTo>
                    <a:pt x="164" y="416"/>
                  </a:lnTo>
                  <a:lnTo>
                    <a:pt x="162" y="416"/>
                  </a:lnTo>
                  <a:lnTo>
                    <a:pt x="162" y="417"/>
                  </a:lnTo>
                  <a:lnTo>
                    <a:pt x="161" y="417"/>
                  </a:lnTo>
                  <a:lnTo>
                    <a:pt x="160" y="417"/>
                  </a:lnTo>
                  <a:lnTo>
                    <a:pt x="159" y="417"/>
                  </a:lnTo>
                  <a:lnTo>
                    <a:pt x="158" y="416"/>
                  </a:lnTo>
                  <a:lnTo>
                    <a:pt x="157" y="416"/>
                  </a:lnTo>
                  <a:lnTo>
                    <a:pt x="156" y="416"/>
                  </a:lnTo>
                  <a:lnTo>
                    <a:pt x="156" y="416"/>
                  </a:lnTo>
                  <a:lnTo>
                    <a:pt x="154" y="414"/>
                  </a:lnTo>
                  <a:lnTo>
                    <a:pt x="154" y="414"/>
                  </a:lnTo>
                  <a:lnTo>
                    <a:pt x="153" y="414"/>
                  </a:lnTo>
                  <a:lnTo>
                    <a:pt x="152" y="413"/>
                  </a:lnTo>
                  <a:lnTo>
                    <a:pt x="152" y="413"/>
                  </a:lnTo>
                  <a:lnTo>
                    <a:pt x="152" y="413"/>
                  </a:lnTo>
                  <a:lnTo>
                    <a:pt x="151" y="413"/>
                  </a:lnTo>
                  <a:lnTo>
                    <a:pt x="151" y="413"/>
                  </a:lnTo>
                  <a:lnTo>
                    <a:pt x="150" y="414"/>
                  </a:lnTo>
                  <a:lnTo>
                    <a:pt x="148" y="415"/>
                  </a:lnTo>
                  <a:lnTo>
                    <a:pt x="148" y="415"/>
                  </a:lnTo>
                  <a:lnTo>
                    <a:pt x="147" y="415"/>
                  </a:lnTo>
                  <a:lnTo>
                    <a:pt x="147" y="415"/>
                  </a:lnTo>
                  <a:lnTo>
                    <a:pt x="146" y="415"/>
                  </a:lnTo>
                  <a:lnTo>
                    <a:pt x="145" y="415"/>
                  </a:lnTo>
                  <a:lnTo>
                    <a:pt x="144" y="415"/>
                  </a:lnTo>
                  <a:lnTo>
                    <a:pt x="143" y="415"/>
                  </a:lnTo>
                  <a:lnTo>
                    <a:pt x="142" y="415"/>
                  </a:lnTo>
                  <a:lnTo>
                    <a:pt x="139" y="415"/>
                  </a:lnTo>
                  <a:lnTo>
                    <a:pt x="137" y="414"/>
                  </a:lnTo>
                  <a:lnTo>
                    <a:pt x="135" y="414"/>
                  </a:lnTo>
                  <a:lnTo>
                    <a:pt x="133" y="414"/>
                  </a:lnTo>
                  <a:lnTo>
                    <a:pt x="132" y="414"/>
                  </a:lnTo>
                  <a:lnTo>
                    <a:pt x="130" y="414"/>
                  </a:lnTo>
                  <a:lnTo>
                    <a:pt x="126" y="414"/>
                  </a:lnTo>
                  <a:lnTo>
                    <a:pt x="124" y="414"/>
                  </a:lnTo>
                  <a:lnTo>
                    <a:pt x="121" y="414"/>
                  </a:lnTo>
                  <a:lnTo>
                    <a:pt x="118" y="413"/>
                  </a:lnTo>
                  <a:lnTo>
                    <a:pt x="113" y="413"/>
                  </a:lnTo>
                  <a:lnTo>
                    <a:pt x="101" y="412"/>
                  </a:lnTo>
                  <a:lnTo>
                    <a:pt x="98" y="411"/>
                  </a:lnTo>
                  <a:lnTo>
                    <a:pt x="97" y="411"/>
                  </a:lnTo>
                  <a:lnTo>
                    <a:pt x="95" y="411"/>
                  </a:lnTo>
                  <a:lnTo>
                    <a:pt x="94" y="411"/>
                  </a:lnTo>
                  <a:lnTo>
                    <a:pt x="91" y="412"/>
                  </a:lnTo>
                  <a:lnTo>
                    <a:pt x="89" y="412"/>
                  </a:lnTo>
                  <a:lnTo>
                    <a:pt x="87" y="412"/>
                  </a:lnTo>
                  <a:lnTo>
                    <a:pt x="84" y="411"/>
                  </a:lnTo>
                  <a:lnTo>
                    <a:pt x="79" y="411"/>
                  </a:lnTo>
                  <a:lnTo>
                    <a:pt x="78" y="411"/>
                  </a:lnTo>
                  <a:lnTo>
                    <a:pt x="77" y="411"/>
                  </a:lnTo>
                  <a:lnTo>
                    <a:pt x="75" y="411"/>
                  </a:lnTo>
                  <a:lnTo>
                    <a:pt x="74" y="410"/>
                  </a:lnTo>
                  <a:lnTo>
                    <a:pt x="73" y="410"/>
                  </a:lnTo>
                  <a:lnTo>
                    <a:pt x="71" y="409"/>
                  </a:lnTo>
                  <a:lnTo>
                    <a:pt x="70" y="409"/>
                  </a:lnTo>
                  <a:lnTo>
                    <a:pt x="68" y="408"/>
                  </a:lnTo>
                  <a:lnTo>
                    <a:pt x="67" y="407"/>
                  </a:lnTo>
                  <a:lnTo>
                    <a:pt x="65" y="406"/>
                  </a:lnTo>
                  <a:lnTo>
                    <a:pt x="59" y="403"/>
                  </a:lnTo>
                  <a:lnTo>
                    <a:pt x="50" y="399"/>
                  </a:lnTo>
                  <a:lnTo>
                    <a:pt x="47" y="397"/>
                  </a:lnTo>
                  <a:lnTo>
                    <a:pt x="46" y="396"/>
                  </a:lnTo>
                  <a:lnTo>
                    <a:pt x="45" y="396"/>
                  </a:lnTo>
                  <a:lnTo>
                    <a:pt x="44" y="395"/>
                  </a:lnTo>
                  <a:lnTo>
                    <a:pt x="42" y="394"/>
                  </a:lnTo>
                  <a:lnTo>
                    <a:pt x="41" y="392"/>
                  </a:lnTo>
                  <a:lnTo>
                    <a:pt x="39" y="391"/>
                  </a:lnTo>
                  <a:lnTo>
                    <a:pt x="37" y="390"/>
                  </a:lnTo>
                  <a:lnTo>
                    <a:pt x="36" y="388"/>
                  </a:lnTo>
                  <a:lnTo>
                    <a:pt x="35" y="387"/>
                  </a:lnTo>
                  <a:lnTo>
                    <a:pt x="34" y="386"/>
                  </a:lnTo>
                  <a:lnTo>
                    <a:pt x="34" y="386"/>
                  </a:lnTo>
                  <a:lnTo>
                    <a:pt x="33" y="385"/>
                  </a:lnTo>
                  <a:lnTo>
                    <a:pt x="33" y="384"/>
                  </a:lnTo>
                  <a:lnTo>
                    <a:pt x="33" y="384"/>
                  </a:lnTo>
                  <a:lnTo>
                    <a:pt x="32" y="382"/>
                  </a:lnTo>
                  <a:lnTo>
                    <a:pt x="31" y="380"/>
                  </a:lnTo>
                  <a:lnTo>
                    <a:pt x="31" y="379"/>
                  </a:lnTo>
                  <a:lnTo>
                    <a:pt x="31" y="379"/>
                  </a:lnTo>
                  <a:lnTo>
                    <a:pt x="31" y="378"/>
                  </a:lnTo>
                  <a:lnTo>
                    <a:pt x="31" y="378"/>
                  </a:lnTo>
                  <a:lnTo>
                    <a:pt x="30" y="377"/>
                  </a:lnTo>
                  <a:lnTo>
                    <a:pt x="30" y="377"/>
                  </a:lnTo>
                  <a:lnTo>
                    <a:pt x="29" y="377"/>
                  </a:lnTo>
                  <a:lnTo>
                    <a:pt x="29" y="376"/>
                  </a:lnTo>
                  <a:lnTo>
                    <a:pt x="28" y="376"/>
                  </a:lnTo>
                  <a:lnTo>
                    <a:pt x="27" y="376"/>
                  </a:lnTo>
                  <a:lnTo>
                    <a:pt x="26" y="376"/>
                  </a:lnTo>
                  <a:lnTo>
                    <a:pt x="26" y="376"/>
                  </a:lnTo>
                  <a:lnTo>
                    <a:pt x="25" y="375"/>
                  </a:lnTo>
                  <a:lnTo>
                    <a:pt x="25" y="375"/>
                  </a:lnTo>
                  <a:lnTo>
                    <a:pt x="24" y="374"/>
                  </a:lnTo>
                  <a:lnTo>
                    <a:pt x="23" y="373"/>
                  </a:lnTo>
                  <a:lnTo>
                    <a:pt x="22" y="372"/>
                  </a:lnTo>
                  <a:lnTo>
                    <a:pt x="21" y="372"/>
                  </a:lnTo>
                  <a:lnTo>
                    <a:pt x="21" y="371"/>
                  </a:lnTo>
                  <a:lnTo>
                    <a:pt x="20" y="371"/>
                  </a:lnTo>
                  <a:lnTo>
                    <a:pt x="19" y="371"/>
                  </a:lnTo>
                  <a:lnTo>
                    <a:pt x="16" y="370"/>
                  </a:lnTo>
                  <a:lnTo>
                    <a:pt x="16" y="370"/>
                  </a:lnTo>
                  <a:lnTo>
                    <a:pt x="15" y="370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14" y="368"/>
                  </a:lnTo>
                  <a:lnTo>
                    <a:pt x="14" y="368"/>
                  </a:lnTo>
                  <a:lnTo>
                    <a:pt x="14" y="367"/>
                  </a:lnTo>
                  <a:lnTo>
                    <a:pt x="13" y="367"/>
                  </a:lnTo>
                  <a:lnTo>
                    <a:pt x="13" y="366"/>
                  </a:lnTo>
                  <a:lnTo>
                    <a:pt x="12" y="366"/>
                  </a:lnTo>
                  <a:lnTo>
                    <a:pt x="11" y="365"/>
                  </a:lnTo>
                  <a:lnTo>
                    <a:pt x="10" y="365"/>
                  </a:lnTo>
                  <a:lnTo>
                    <a:pt x="9" y="363"/>
                  </a:lnTo>
                  <a:lnTo>
                    <a:pt x="8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5" y="361"/>
                  </a:lnTo>
                  <a:lnTo>
                    <a:pt x="4" y="361"/>
                  </a:lnTo>
                  <a:lnTo>
                    <a:pt x="2" y="360"/>
                  </a:lnTo>
                  <a:lnTo>
                    <a:pt x="2" y="360"/>
                  </a:lnTo>
                  <a:lnTo>
                    <a:pt x="1" y="359"/>
                  </a:lnTo>
                  <a:lnTo>
                    <a:pt x="1" y="359"/>
                  </a:lnTo>
                  <a:lnTo>
                    <a:pt x="0" y="358"/>
                  </a:lnTo>
                  <a:lnTo>
                    <a:pt x="0" y="358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Freeform 33">
              <a:extLst>
                <a:ext uri="{FF2B5EF4-FFF2-40B4-BE49-F238E27FC236}">
                  <a16:creationId xmlns:a16="http://schemas.microsoft.com/office/drawing/2014/main" id="{153C335B-6DA2-B20A-BE7A-301911AD1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21"/>
              <a:ext cx="303" cy="362"/>
            </a:xfrm>
            <a:custGeom>
              <a:avLst/>
              <a:gdLst>
                <a:gd name="T0" fmla="*/ 88 w 303"/>
                <a:gd name="T1" fmla="*/ 354 h 362"/>
                <a:gd name="T2" fmla="*/ 71 w 303"/>
                <a:gd name="T3" fmla="*/ 357 h 362"/>
                <a:gd name="T4" fmla="*/ 57 w 303"/>
                <a:gd name="T5" fmla="*/ 362 h 362"/>
                <a:gd name="T6" fmla="*/ 34 w 303"/>
                <a:gd name="T7" fmla="*/ 351 h 362"/>
                <a:gd name="T8" fmla="*/ 10 w 303"/>
                <a:gd name="T9" fmla="*/ 342 h 362"/>
                <a:gd name="T10" fmla="*/ 4 w 303"/>
                <a:gd name="T11" fmla="*/ 331 h 362"/>
                <a:gd name="T12" fmla="*/ 6 w 303"/>
                <a:gd name="T13" fmla="*/ 328 h 362"/>
                <a:gd name="T14" fmla="*/ 11 w 303"/>
                <a:gd name="T15" fmla="*/ 323 h 362"/>
                <a:gd name="T16" fmla="*/ 16 w 303"/>
                <a:gd name="T17" fmla="*/ 318 h 362"/>
                <a:gd name="T18" fmla="*/ 26 w 303"/>
                <a:gd name="T19" fmla="*/ 321 h 362"/>
                <a:gd name="T20" fmla="*/ 34 w 303"/>
                <a:gd name="T21" fmla="*/ 319 h 362"/>
                <a:gd name="T22" fmla="*/ 45 w 303"/>
                <a:gd name="T23" fmla="*/ 312 h 362"/>
                <a:gd name="T24" fmla="*/ 56 w 303"/>
                <a:gd name="T25" fmla="*/ 316 h 362"/>
                <a:gd name="T26" fmla="*/ 66 w 303"/>
                <a:gd name="T27" fmla="*/ 307 h 362"/>
                <a:gd name="T28" fmla="*/ 78 w 303"/>
                <a:gd name="T29" fmla="*/ 297 h 362"/>
                <a:gd name="T30" fmla="*/ 93 w 303"/>
                <a:gd name="T31" fmla="*/ 290 h 362"/>
                <a:gd name="T32" fmla="*/ 102 w 303"/>
                <a:gd name="T33" fmla="*/ 286 h 362"/>
                <a:gd name="T34" fmla="*/ 107 w 303"/>
                <a:gd name="T35" fmla="*/ 279 h 362"/>
                <a:gd name="T36" fmla="*/ 116 w 303"/>
                <a:gd name="T37" fmla="*/ 277 h 362"/>
                <a:gd name="T38" fmla="*/ 126 w 303"/>
                <a:gd name="T39" fmla="*/ 271 h 362"/>
                <a:gd name="T40" fmla="*/ 134 w 303"/>
                <a:gd name="T41" fmla="*/ 278 h 362"/>
                <a:gd name="T42" fmla="*/ 146 w 303"/>
                <a:gd name="T43" fmla="*/ 278 h 362"/>
                <a:gd name="T44" fmla="*/ 159 w 303"/>
                <a:gd name="T45" fmla="*/ 277 h 362"/>
                <a:gd name="T46" fmla="*/ 178 w 303"/>
                <a:gd name="T47" fmla="*/ 273 h 362"/>
                <a:gd name="T48" fmla="*/ 180 w 303"/>
                <a:gd name="T49" fmla="*/ 265 h 362"/>
                <a:gd name="T50" fmla="*/ 196 w 303"/>
                <a:gd name="T51" fmla="*/ 260 h 362"/>
                <a:gd name="T52" fmla="*/ 205 w 303"/>
                <a:gd name="T53" fmla="*/ 255 h 362"/>
                <a:gd name="T54" fmla="*/ 212 w 303"/>
                <a:gd name="T55" fmla="*/ 246 h 362"/>
                <a:gd name="T56" fmla="*/ 207 w 303"/>
                <a:gd name="T57" fmla="*/ 236 h 362"/>
                <a:gd name="T58" fmla="*/ 203 w 303"/>
                <a:gd name="T59" fmla="*/ 230 h 362"/>
                <a:gd name="T60" fmla="*/ 210 w 303"/>
                <a:gd name="T61" fmla="*/ 225 h 362"/>
                <a:gd name="T62" fmla="*/ 209 w 303"/>
                <a:gd name="T63" fmla="*/ 215 h 362"/>
                <a:gd name="T64" fmla="*/ 219 w 303"/>
                <a:gd name="T65" fmla="*/ 208 h 362"/>
                <a:gd name="T66" fmla="*/ 217 w 303"/>
                <a:gd name="T67" fmla="*/ 200 h 362"/>
                <a:gd name="T68" fmla="*/ 210 w 303"/>
                <a:gd name="T69" fmla="*/ 192 h 362"/>
                <a:gd name="T70" fmla="*/ 213 w 303"/>
                <a:gd name="T71" fmla="*/ 181 h 362"/>
                <a:gd name="T72" fmla="*/ 222 w 303"/>
                <a:gd name="T73" fmla="*/ 172 h 362"/>
                <a:gd name="T74" fmla="*/ 217 w 303"/>
                <a:gd name="T75" fmla="*/ 163 h 362"/>
                <a:gd name="T76" fmla="*/ 223 w 303"/>
                <a:gd name="T77" fmla="*/ 151 h 362"/>
                <a:gd name="T78" fmla="*/ 221 w 303"/>
                <a:gd name="T79" fmla="*/ 146 h 362"/>
                <a:gd name="T80" fmla="*/ 213 w 303"/>
                <a:gd name="T81" fmla="*/ 141 h 362"/>
                <a:gd name="T82" fmla="*/ 210 w 303"/>
                <a:gd name="T83" fmla="*/ 134 h 362"/>
                <a:gd name="T84" fmla="*/ 206 w 303"/>
                <a:gd name="T85" fmla="*/ 123 h 362"/>
                <a:gd name="T86" fmla="*/ 212 w 303"/>
                <a:gd name="T87" fmla="*/ 105 h 362"/>
                <a:gd name="T88" fmla="*/ 220 w 303"/>
                <a:gd name="T89" fmla="*/ 95 h 362"/>
                <a:gd name="T90" fmla="*/ 234 w 303"/>
                <a:gd name="T91" fmla="*/ 91 h 362"/>
                <a:gd name="T92" fmla="*/ 233 w 303"/>
                <a:gd name="T93" fmla="*/ 86 h 362"/>
                <a:gd name="T94" fmla="*/ 228 w 303"/>
                <a:gd name="T95" fmla="*/ 82 h 362"/>
                <a:gd name="T96" fmla="*/ 238 w 303"/>
                <a:gd name="T97" fmla="*/ 77 h 362"/>
                <a:gd name="T98" fmla="*/ 243 w 303"/>
                <a:gd name="T99" fmla="*/ 82 h 362"/>
                <a:gd name="T100" fmla="*/ 249 w 303"/>
                <a:gd name="T101" fmla="*/ 81 h 362"/>
                <a:gd name="T102" fmla="*/ 250 w 303"/>
                <a:gd name="T103" fmla="*/ 71 h 362"/>
                <a:gd name="T104" fmla="*/ 245 w 303"/>
                <a:gd name="T105" fmla="*/ 63 h 362"/>
                <a:gd name="T106" fmla="*/ 253 w 303"/>
                <a:gd name="T107" fmla="*/ 61 h 362"/>
                <a:gd name="T108" fmla="*/ 260 w 303"/>
                <a:gd name="T109" fmla="*/ 50 h 362"/>
                <a:gd name="T110" fmla="*/ 253 w 303"/>
                <a:gd name="T111" fmla="*/ 42 h 362"/>
                <a:gd name="T112" fmla="*/ 250 w 303"/>
                <a:gd name="T113" fmla="*/ 35 h 362"/>
                <a:gd name="T114" fmla="*/ 255 w 303"/>
                <a:gd name="T115" fmla="*/ 25 h 362"/>
                <a:gd name="T116" fmla="*/ 264 w 303"/>
                <a:gd name="T117" fmla="*/ 17 h 362"/>
                <a:gd name="T118" fmla="*/ 272 w 303"/>
                <a:gd name="T119" fmla="*/ 18 h 362"/>
                <a:gd name="T120" fmla="*/ 290 w 303"/>
                <a:gd name="T121" fmla="*/ 18 h 362"/>
                <a:gd name="T122" fmla="*/ 299 w 303"/>
                <a:gd name="T123" fmla="*/ 13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3" h="362">
                  <a:moveTo>
                    <a:pt x="94" y="358"/>
                  </a:moveTo>
                  <a:lnTo>
                    <a:pt x="93" y="356"/>
                  </a:lnTo>
                  <a:lnTo>
                    <a:pt x="92" y="356"/>
                  </a:lnTo>
                  <a:lnTo>
                    <a:pt x="92" y="356"/>
                  </a:lnTo>
                  <a:lnTo>
                    <a:pt x="92" y="355"/>
                  </a:lnTo>
                  <a:lnTo>
                    <a:pt x="91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90" y="354"/>
                  </a:lnTo>
                  <a:lnTo>
                    <a:pt x="89" y="354"/>
                  </a:lnTo>
                  <a:lnTo>
                    <a:pt x="88" y="354"/>
                  </a:lnTo>
                  <a:lnTo>
                    <a:pt x="85" y="354"/>
                  </a:lnTo>
                  <a:lnTo>
                    <a:pt x="83" y="354"/>
                  </a:lnTo>
                  <a:lnTo>
                    <a:pt x="81" y="354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6" y="355"/>
                  </a:lnTo>
                  <a:lnTo>
                    <a:pt x="75" y="355"/>
                  </a:lnTo>
                  <a:lnTo>
                    <a:pt x="74" y="355"/>
                  </a:lnTo>
                  <a:lnTo>
                    <a:pt x="73" y="356"/>
                  </a:lnTo>
                  <a:lnTo>
                    <a:pt x="72" y="356"/>
                  </a:lnTo>
                  <a:lnTo>
                    <a:pt x="71" y="357"/>
                  </a:lnTo>
                  <a:lnTo>
                    <a:pt x="68" y="359"/>
                  </a:lnTo>
                  <a:lnTo>
                    <a:pt x="67" y="360"/>
                  </a:lnTo>
                  <a:lnTo>
                    <a:pt x="66" y="360"/>
                  </a:lnTo>
                  <a:lnTo>
                    <a:pt x="65" y="361"/>
                  </a:lnTo>
                  <a:lnTo>
                    <a:pt x="64" y="361"/>
                  </a:lnTo>
                  <a:lnTo>
                    <a:pt x="63" y="361"/>
                  </a:lnTo>
                  <a:lnTo>
                    <a:pt x="62" y="362"/>
                  </a:lnTo>
                  <a:lnTo>
                    <a:pt x="61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7" y="362"/>
                  </a:lnTo>
                  <a:lnTo>
                    <a:pt x="54" y="362"/>
                  </a:lnTo>
                  <a:lnTo>
                    <a:pt x="48" y="361"/>
                  </a:lnTo>
                  <a:lnTo>
                    <a:pt x="47" y="360"/>
                  </a:lnTo>
                  <a:lnTo>
                    <a:pt x="45" y="360"/>
                  </a:lnTo>
                  <a:lnTo>
                    <a:pt x="44" y="359"/>
                  </a:lnTo>
                  <a:lnTo>
                    <a:pt x="43" y="359"/>
                  </a:lnTo>
                  <a:lnTo>
                    <a:pt x="42" y="358"/>
                  </a:lnTo>
                  <a:lnTo>
                    <a:pt x="40" y="357"/>
                  </a:lnTo>
                  <a:lnTo>
                    <a:pt x="39" y="356"/>
                  </a:lnTo>
                  <a:lnTo>
                    <a:pt x="35" y="352"/>
                  </a:lnTo>
                  <a:lnTo>
                    <a:pt x="34" y="351"/>
                  </a:lnTo>
                  <a:lnTo>
                    <a:pt x="33" y="350"/>
                  </a:lnTo>
                  <a:lnTo>
                    <a:pt x="31" y="350"/>
                  </a:lnTo>
                  <a:lnTo>
                    <a:pt x="30" y="349"/>
                  </a:lnTo>
                  <a:lnTo>
                    <a:pt x="27" y="348"/>
                  </a:lnTo>
                  <a:lnTo>
                    <a:pt x="24" y="346"/>
                  </a:lnTo>
                  <a:lnTo>
                    <a:pt x="23" y="345"/>
                  </a:lnTo>
                  <a:lnTo>
                    <a:pt x="21" y="344"/>
                  </a:lnTo>
                  <a:lnTo>
                    <a:pt x="20" y="344"/>
                  </a:lnTo>
                  <a:lnTo>
                    <a:pt x="18" y="343"/>
                  </a:lnTo>
                  <a:lnTo>
                    <a:pt x="12" y="342"/>
                  </a:lnTo>
                  <a:lnTo>
                    <a:pt x="10" y="342"/>
                  </a:lnTo>
                  <a:lnTo>
                    <a:pt x="9" y="342"/>
                  </a:lnTo>
                  <a:lnTo>
                    <a:pt x="7" y="341"/>
                  </a:lnTo>
                  <a:lnTo>
                    <a:pt x="5" y="341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1" y="336"/>
                  </a:lnTo>
                  <a:lnTo>
                    <a:pt x="2" y="333"/>
                  </a:lnTo>
                  <a:lnTo>
                    <a:pt x="2" y="332"/>
                  </a:lnTo>
                  <a:lnTo>
                    <a:pt x="3" y="332"/>
                  </a:lnTo>
                  <a:lnTo>
                    <a:pt x="3" y="332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5" y="331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6" y="329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7" y="327"/>
                  </a:lnTo>
                  <a:lnTo>
                    <a:pt x="8" y="326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9" y="323"/>
                  </a:lnTo>
                  <a:lnTo>
                    <a:pt x="10" y="323"/>
                  </a:lnTo>
                  <a:lnTo>
                    <a:pt x="10" y="323"/>
                  </a:lnTo>
                  <a:lnTo>
                    <a:pt x="11" y="323"/>
                  </a:lnTo>
                  <a:lnTo>
                    <a:pt x="11" y="323"/>
                  </a:lnTo>
                  <a:lnTo>
                    <a:pt x="11" y="322"/>
                  </a:lnTo>
                  <a:lnTo>
                    <a:pt x="13" y="321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19"/>
                  </a:lnTo>
                  <a:lnTo>
                    <a:pt x="14" y="319"/>
                  </a:lnTo>
                  <a:lnTo>
                    <a:pt x="14" y="319"/>
                  </a:lnTo>
                  <a:lnTo>
                    <a:pt x="15" y="318"/>
                  </a:lnTo>
                  <a:lnTo>
                    <a:pt x="16" y="318"/>
                  </a:lnTo>
                  <a:lnTo>
                    <a:pt x="17" y="318"/>
                  </a:lnTo>
                  <a:lnTo>
                    <a:pt x="18" y="318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2" y="318"/>
                  </a:lnTo>
                  <a:lnTo>
                    <a:pt x="23" y="319"/>
                  </a:lnTo>
                  <a:lnTo>
                    <a:pt x="25" y="320"/>
                  </a:lnTo>
                  <a:lnTo>
                    <a:pt x="25" y="321"/>
                  </a:lnTo>
                  <a:lnTo>
                    <a:pt x="26" y="321"/>
                  </a:lnTo>
                  <a:lnTo>
                    <a:pt x="27" y="321"/>
                  </a:lnTo>
                  <a:lnTo>
                    <a:pt x="28" y="322"/>
                  </a:lnTo>
                  <a:lnTo>
                    <a:pt x="29" y="322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2" y="321"/>
                  </a:lnTo>
                  <a:lnTo>
                    <a:pt x="32" y="321"/>
                  </a:lnTo>
                  <a:lnTo>
                    <a:pt x="33" y="320"/>
                  </a:lnTo>
                  <a:lnTo>
                    <a:pt x="34" y="319"/>
                  </a:lnTo>
                  <a:lnTo>
                    <a:pt x="34" y="319"/>
                  </a:lnTo>
                  <a:lnTo>
                    <a:pt x="35" y="317"/>
                  </a:lnTo>
                  <a:lnTo>
                    <a:pt x="37" y="314"/>
                  </a:lnTo>
                  <a:lnTo>
                    <a:pt x="38" y="314"/>
                  </a:lnTo>
                  <a:lnTo>
                    <a:pt x="38" y="314"/>
                  </a:lnTo>
                  <a:lnTo>
                    <a:pt x="38" y="313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0" y="313"/>
                  </a:lnTo>
                  <a:lnTo>
                    <a:pt x="41" y="313"/>
                  </a:lnTo>
                  <a:lnTo>
                    <a:pt x="45" y="312"/>
                  </a:lnTo>
                  <a:lnTo>
                    <a:pt x="46" y="312"/>
                  </a:lnTo>
                  <a:lnTo>
                    <a:pt x="47" y="312"/>
                  </a:lnTo>
                  <a:lnTo>
                    <a:pt x="48" y="312"/>
                  </a:lnTo>
                  <a:lnTo>
                    <a:pt x="49" y="313"/>
                  </a:lnTo>
                  <a:lnTo>
                    <a:pt x="50" y="313"/>
                  </a:lnTo>
                  <a:lnTo>
                    <a:pt x="51" y="314"/>
                  </a:lnTo>
                  <a:lnTo>
                    <a:pt x="52" y="314"/>
                  </a:lnTo>
                  <a:lnTo>
                    <a:pt x="54" y="316"/>
                  </a:lnTo>
                  <a:lnTo>
                    <a:pt x="55" y="316"/>
                  </a:lnTo>
                  <a:lnTo>
                    <a:pt x="56" y="316"/>
                  </a:lnTo>
                  <a:lnTo>
                    <a:pt x="56" y="316"/>
                  </a:lnTo>
                  <a:lnTo>
                    <a:pt x="57" y="316"/>
                  </a:lnTo>
                  <a:lnTo>
                    <a:pt x="57" y="316"/>
                  </a:lnTo>
                  <a:lnTo>
                    <a:pt x="58" y="316"/>
                  </a:lnTo>
                  <a:lnTo>
                    <a:pt x="58" y="316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1" y="313"/>
                  </a:lnTo>
                  <a:lnTo>
                    <a:pt x="62" y="311"/>
                  </a:lnTo>
                  <a:lnTo>
                    <a:pt x="62" y="311"/>
                  </a:lnTo>
                  <a:lnTo>
                    <a:pt x="64" y="309"/>
                  </a:lnTo>
                  <a:lnTo>
                    <a:pt x="66" y="307"/>
                  </a:lnTo>
                  <a:lnTo>
                    <a:pt x="66" y="307"/>
                  </a:lnTo>
                  <a:lnTo>
                    <a:pt x="67" y="306"/>
                  </a:lnTo>
                  <a:lnTo>
                    <a:pt x="68" y="306"/>
                  </a:lnTo>
                  <a:lnTo>
                    <a:pt x="69" y="305"/>
                  </a:lnTo>
                  <a:lnTo>
                    <a:pt x="71" y="304"/>
                  </a:lnTo>
                  <a:lnTo>
                    <a:pt x="72" y="303"/>
                  </a:lnTo>
                  <a:lnTo>
                    <a:pt x="73" y="302"/>
                  </a:lnTo>
                  <a:lnTo>
                    <a:pt x="74" y="301"/>
                  </a:lnTo>
                  <a:lnTo>
                    <a:pt x="75" y="300"/>
                  </a:lnTo>
                  <a:lnTo>
                    <a:pt x="77" y="299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81" y="294"/>
                  </a:lnTo>
                  <a:lnTo>
                    <a:pt x="82" y="293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8" y="291"/>
                  </a:lnTo>
                  <a:lnTo>
                    <a:pt x="89" y="290"/>
                  </a:lnTo>
                  <a:lnTo>
                    <a:pt x="91" y="290"/>
                  </a:lnTo>
                  <a:lnTo>
                    <a:pt x="93" y="290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9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1" y="288"/>
                  </a:lnTo>
                  <a:lnTo>
                    <a:pt x="101" y="287"/>
                  </a:lnTo>
                  <a:lnTo>
                    <a:pt x="101" y="287"/>
                  </a:lnTo>
                  <a:lnTo>
                    <a:pt x="102" y="286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4" y="281"/>
                  </a:lnTo>
                  <a:lnTo>
                    <a:pt x="104" y="280"/>
                  </a:lnTo>
                  <a:lnTo>
                    <a:pt x="105" y="280"/>
                  </a:lnTo>
                  <a:lnTo>
                    <a:pt x="105" y="280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4" y="278"/>
                  </a:lnTo>
                  <a:lnTo>
                    <a:pt x="115" y="278"/>
                  </a:lnTo>
                  <a:lnTo>
                    <a:pt x="115" y="277"/>
                  </a:lnTo>
                  <a:lnTo>
                    <a:pt x="116" y="277"/>
                  </a:lnTo>
                  <a:lnTo>
                    <a:pt x="117" y="276"/>
                  </a:lnTo>
                  <a:lnTo>
                    <a:pt x="119" y="274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3"/>
                  </a:lnTo>
                  <a:lnTo>
                    <a:pt x="121" y="272"/>
                  </a:lnTo>
                  <a:lnTo>
                    <a:pt x="123" y="272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6" y="271"/>
                  </a:lnTo>
                  <a:lnTo>
                    <a:pt x="126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29" y="273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1" y="276"/>
                  </a:lnTo>
                  <a:lnTo>
                    <a:pt x="132" y="276"/>
                  </a:lnTo>
                  <a:lnTo>
                    <a:pt x="134" y="278"/>
                  </a:lnTo>
                  <a:lnTo>
                    <a:pt x="135" y="279"/>
                  </a:lnTo>
                  <a:lnTo>
                    <a:pt x="136" y="279"/>
                  </a:lnTo>
                  <a:lnTo>
                    <a:pt x="137" y="280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9" y="280"/>
                  </a:lnTo>
                  <a:lnTo>
                    <a:pt x="141" y="280"/>
                  </a:lnTo>
                  <a:lnTo>
                    <a:pt x="142" y="280"/>
                  </a:lnTo>
                  <a:lnTo>
                    <a:pt x="143" y="279"/>
                  </a:lnTo>
                  <a:lnTo>
                    <a:pt x="144" y="279"/>
                  </a:lnTo>
                  <a:lnTo>
                    <a:pt x="146" y="278"/>
                  </a:lnTo>
                  <a:lnTo>
                    <a:pt x="147" y="277"/>
                  </a:lnTo>
                  <a:lnTo>
                    <a:pt x="148" y="276"/>
                  </a:lnTo>
                  <a:lnTo>
                    <a:pt x="149" y="276"/>
                  </a:lnTo>
                  <a:lnTo>
                    <a:pt x="149" y="275"/>
                  </a:lnTo>
                  <a:lnTo>
                    <a:pt x="150" y="275"/>
                  </a:lnTo>
                  <a:lnTo>
                    <a:pt x="151" y="275"/>
                  </a:lnTo>
                  <a:lnTo>
                    <a:pt x="152" y="275"/>
                  </a:lnTo>
                  <a:lnTo>
                    <a:pt x="154" y="276"/>
                  </a:lnTo>
                  <a:lnTo>
                    <a:pt x="155" y="276"/>
                  </a:lnTo>
                  <a:lnTo>
                    <a:pt x="158" y="276"/>
                  </a:lnTo>
                  <a:lnTo>
                    <a:pt x="159" y="277"/>
                  </a:lnTo>
                  <a:lnTo>
                    <a:pt x="161" y="277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4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8" y="273"/>
                  </a:lnTo>
                  <a:lnTo>
                    <a:pt x="179" y="273"/>
                  </a:lnTo>
                  <a:lnTo>
                    <a:pt x="179" y="272"/>
                  </a:lnTo>
                  <a:lnTo>
                    <a:pt x="179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68"/>
                  </a:lnTo>
                  <a:lnTo>
                    <a:pt x="180" y="267"/>
                  </a:lnTo>
                  <a:lnTo>
                    <a:pt x="180" y="266"/>
                  </a:lnTo>
                  <a:lnTo>
                    <a:pt x="180" y="265"/>
                  </a:lnTo>
                  <a:lnTo>
                    <a:pt x="181" y="265"/>
                  </a:lnTo>
                  <a:lnTo>
                    <a:pt x="181" y="264"/>
                  </a:lnTo>
                  <a:lnTo>
                    <a:pt x="182" y="263"/>
                  </a:lnTo>
                  <a:lnTo>
                    <a:pt x="183" y="263"/>
                  </a:lnTo>
                  <a:lnTo>
                    <a:pt x="184" y="262"/>
                  </a:lnTo>
                  <a:lnTo>
                    <a:pt x="185" y="262"/>
                  </a:lnTo>
                  <a:lnTo>
                    <a:pt x="186" y="261"/>
                  </a:lnTo>
                  <a:lnTo>
                    <a:pt x="188" y="261"/>
                  </a:lnTo>
                  <a:lnTo>
                    <a:pt x="189" y="261"/>
                  </a:lnTo>
                  <a:lnTo>
                    <a:pt x="193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1" y="259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3" y="257"/>
                  </a:lnTo>
                  <a:lnTo>
                    <a:pt x="203" y="257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05" y="255"/>
                  </a:lnTo>
                  <a:lnTo>
                    <a:pt x="206" y="254"/>
                  </a:lnTo>
                  <a:lnTo>
                    <a:pt x="206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7" y="250"/>
                  </a:lnTo>
                  <a:lnTo>
                    <a:pt x="208" y="250"/>
                  </a:lnTo>
                  <a:lnTo>
                    <a:pt x="208" y="249"/>
                  </a:lnTo>
                  <a:lnTo>
                    <a:pt x="210" y="247"/>
                  </a:lnTo>
                  <a:lnTo>
                    <a:pt x="211" y="247"/>
                  </a:lnTo>
                  <a:lnTo>
                    <a:pt x="211" y="246"/>
                  </a:lnTo>
                  <a:lnTo>
                    <a:pt x="212" y="246"/>
                  </a:lnTo>
                  <a:lnTo>
                    <a:pt x="212" y="245"/>
                  </a:lnTo>
                  <a:lnTo>
                    <a:pt x="212" y="245"/>
                  </a:lnTo>
                  <a:lnTo>
                    <a:pt x="212" y="244"/>
                  </a:lnTo>
                  <a:lnTo>
                    <a:pt x="212" y="243"/>
                  </a:lnTo>
                  <a:lnTo>
                    <a:pt x="212" y="243"/>
                  </a:lnTo>
                  <a:lnTo>
                    <a:pt x="212" y="242"/>
                  </a:lnTo>
                  <a:lnTo>
                    <a:pt x="212" y="241"/>
                  </a:lnTo>
                  <a:lnTo>
                    <a:pt x="211" y="241"/>
                  </a:lnTo>
                  <a:lnTo>
                    <a:pt x="210" y="240"/>
                  </a:lnTo>
                  <a:lnTo>
                    <a:pt x="209" y="239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4" y="234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3" y="232"/>
                  </a:lnTo>
                  <a:lnTo>
                    <a:pt x="202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30"/>
                  </a:lnTo>
                  <a:lnTo>
                    <a:pt x="205" y="230"/>
                  </a:lnTo>
                  <a:lnTo>
                    <a:pt x="206" y="229"/>
                  </a:lnTo>
                  <a:lnTo>
                    <a:pt x="207" y="229"/>
                  </a:lnTo>
                  <a:lnTo>
                    <a:pt x="207" y="228"/>
                  </a:lnTo>
                  <a:lnTo>
                    <a:pt x="208" y="228"/>
                  </a:lnTo>
                  <a:lnTo>
                    <a:pt x="208" y="227"/>
                  </a:lnTo>
                  <a:lnTo>
                    <a:pt x="209" y="227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0" y="225"/>
                  </a:lnTo>
                  <a:lnTo>
                    <a:pt x="210" y="224"/>
                  </a:lnTo>
                  <a:lnTo>
                    <a:pt x="210" y="224"/>
                  </a:lnTo>
                  <a:lnTo>
                    <a:pt x="209" y="223"/>
                  </a:lnTo>
                  <a:lnTo>
                    <a:pt x="209" y="222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08" y="218"/>
                  </a:lnTo>
                  <a:lnTo>
                    <a:pt x="208" y="217"/>
                  </a:lnTo>
                  <a:lnTo>
                    <a:pt x="209" y="217"/>
                  </a:lnTo>
                  <a:lnTo>
                    <a:pt x="209" y="216"/>
                  </a:lnTo>
                  <a:lnTo>
                    <a:pt x="209" y="215"/>
                  </a:lnTo>
                  <a:lnTo>
                    <a:pt x="210" y="215"/>
                  </a:lnTo>
                  <a:lnTo>
                    <a:pt x="210" y="214"/>
                  </a:lnTo>
                  <a:lnTo>
                    <a:pt x="211" y="214"/>
                  </a:lnTo>
                  <a:lnTo>
                    <a:pt x="211" y="213"/>
                  </a:lnTo>
                  <a:lnTo>
                    <a:pt x="212" y="213"/>
                  </a:lnTo>
                  <a:lnTo>
                    <a:pt x="214" y="212"/>
                  </a:lnTo>
                  <a:lnTo>
                    <a:pt x="215" y="211"/>
                  </a:lnTo>
                  <a:lnTo>
                    <a:pt x="216" y="211"/>
                  </a:lnTo>
                  <a:lnTo>
                    <a:pt x="217" y="210"/>
                  </a:lnTo>
                  <a:lnTo>
                    <a:pt x="218" y="209"/>
                  </a:lnTo>
                  <a:lnTo>
                    <a:pt x="219" y="208"/>
                  </a:lnTo>
                  <a:lnTo>
                    <a:pt x="219" y="208"/>
                  </a:lnTo>
                  <a:lnTo>
                    <a:pt x="219" y="207"/>
                  </a:lnTo>
                  <a:lnTo>
                    <a:pt x="219" y="206"/>
                  </a:lnTo>
                  <a:lnTo>
                    <a:pt x="219" y="205"/>
                  </a:lnTo>
                  <a:lnTo>
                    <a:pt x="219" y="203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18" y="201"/>
                  </a:lnTo>
                  <a:lnTo>
                    <a:pt x="218" y="201"/>
                  </a:lnTo>
                  <a:lnTo>
                    <a:pt x="218" y="200"/>
                  </a:lnTo>
                  <a:lnTo>
                    <a:pt x="217" y="200"/>
                  </a:lnTo>
                  <a:lnTo>
                    <a:pt x="217" y="199"/>
                  </a:lnTo>
                  <a:lnTo>
                    <a:pt x="217" y="198"/>
                  </a:lnTo>
                  <a:lnTo>
                    <a:pt x="215" y="198"/>
                  </a:lnTo>
                  <a:lnTo>
                    <a:pt x="213" y="196"/>
                  </a:lnTo>
                  <a:lnTo>
                    <a:pt x="212" y="195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10" y="191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0" y="188"/>
                  </a:lnTo>
                  <a:lnTo>
                    <a:pt x="210" y="187"/>
                  </a:lnTo>
                  <a:lnTo>
                    <a:pt x="211" y="186"/>
                  </a:lnTo>
                  <a:lnTo>
                    <a:pt x="211" y="185"/>
                  </a:lnTo>
                  <a:lnTo>
                    <a:pt x="212" y="184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3" y="181"/>
                  </a:lnTo>
                  <a:lnTo>
                    <a:pt x="214" y="180"/>
                  </a:lnTo>
                  <a:lnTo>
                    <a:pt x="215" y="178"/>
                  </a:lnTo>
                  <a:lnTo>
                    <a:pt x="216" y="178"/>
                  </a:lnTo>
                  <a:lnTo>
                    <a:pt x="217" y="177"/>
                  </a:lnTo>
                  <a:lnTo>
                    <a:pt x="219" y="175"/>
                  </a:lnTo>
                  <a:lnTo>
                    <a:pt x="220" y="175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3"/>
                  </a:lnTo>
                  <a:lnTo>
                    <a:pt x="222" y="173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2" y="171"/>
                  </a:lnTo>
                  <a:lnTo>
                    <a:pt x="221" y="171"/>
                  </a:lnTo>
                  <a:lnTo>
                    <a:pt x="221" y="170"/>
                  </a:lnTo>
                  <a:lnTo>
                    <a:pt x="221" y="169"/>
                  </a:lnTo>
                  <a:lnTo>
                    <a:pt x="220" y="168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7" y="165"/>
                  </a:lnTo>
                  <a:lnTo>
                    <a:pt x="217" y="164"/>
                  </a:lnTo>
                  <a:lnTo>
                    <a:pt x="217" y="163"/>
                  </a:lnTo>
                  <a:lnTo>
                    <a:pt x="217" y="163"/>
                  </a:lnTo>
                  <a:lnTo>
                    <a:pt x="217" y="162"/>
                  </a:lnTo>
                  <a:lnTo>
                    <a:pt x="217" y="161"/>
                  </a:lnTo>
                  <a:lnTo>
                    <a:pt x="217" y="160"/>
                  </a:lnTo>
                  <a:lnTo>
                    <a:pt x="217" y="159"/>
                  </a:lnTo>
                  <a:lnTo>
                    <a:pt x="218" y="159"/>
                  </a:lnTo>
                  <a:lnTo>
                    <a:pt x="218" y="158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3" y="151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8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2" y="147"/>
                  </a:lnTo>
                  <a:lnTo>
                    <a:pt x="222" y="146"/>
                  </a:lnTo>
                  <a:lnTo>
                    <a:pt x="222" y="146"/>
                  </a:lnTo>
                  <a:lnTo>
                    <a:pt x="221" y="146"/>
                  </a:lnTo>
                  <a:lnTo>
                    <a:pt x="218" y="145"/>
                  </a:lnTo>
                  <a:lnTo>
                    <a:pt x="217" y="145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5" y="144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0"/>
                  </a:lnTo>
                  <a:lnTo>
                    <a:pt x="215" y="140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8"/>
                  </a:lnTo>
                  <a:lnTo>
                    <a:pt x="215" y="138"/>
                  </a:lnTo>
                  <a:lnTo>
                    <a:pt x="215" y="138"/>
                  </a:lnTo>
                  <a:lnTo>
                    <a:pt x="210" y="134"/>
                  </a:lnTo>
                  <a:lnTo>
                    <a:pt x="207" y="132"/>
                  </a:lnTo>
                  <a:lnTo>
                    <a:pt x="206" y="131"/>
                  </a:lnTo>
                  <a:lnTo>
                    <a:pt x="206" y="131"/>
                  </a:lnTo>
                  <a:lnTo>
                    <a:pt x="205" y="130"/>
                  </a:lnTo>
                  <a:lnTo>
                    <a:pt x="205" y="130"/>
                  </a:lnTo>
                  <a:lnTo>
                    <a:pt x="205" y="129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7"/>
                  </a:lnTo>
                  <a:lnTo>
                    <a:pt x="205" y="126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6" y="119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3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8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4"/>
                  </a:lnTo>
                  <a:lnTo>
                    <a:pt x="214" y="101"/>
                  </a:lnTo>
                  <a:lnTo>
                    <a:pt x="215" y="100"/>
                  </a:lnTo>
                  <a:lnTo>
                    <a:pt x="216" y="99"/>
                  </a:lnTo>
                  <a:lnTo>
                    <a:pt x="216" y="98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20" y="95"/>
                  </a:lnTo>
                  <a:lnTo>
                    <a:pt x="221" y="95"/>
                  </a:lnTo>
                  <a:lnTo>
                    <a:pt x="222" y="95"/>
                  </a:lnTo>
                  <a:lnTo>
                    <a:pt x="223" y="94"/>
                  </a:lnTo>
                  <a:lnTo>
                    <a:pt x="226" y="94"/>
                  </a:lnTo>
                  <a:lnTo>
                    <a:pt x="228" y="94"/>
                  </a:lnTo>
                  <a:lnTo>
                    <a:pt x="230" y="93"/>
                  </a:lnTo>
                  <a:lnTo>
                    <a:pt x="231" y="93"/>
                  </a:lnTo>
                  <a:lnTo>
                    <a:pt x="232" y="93"/>
                  </a:lnTo>
                  <a:lnTo>
                    <a:pt x="233" y="92"/>
                  </a:lnTo>
                  <a:lnTo>
                    <a:pt x="234" y="92"/>
                  </a:lnTo>
                  <a:lnTo>
                    <a:pt x="234" y="91"/>
                  </a:lnTo>
                  <a:lnTo>
                    <a:pt x="235" y="91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8"/>
                  </a:lnTo>
                  <a:lnTo>
                    <a:pt x="235" y="88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3" y="87"/>
                  </a:lnTo>
                  <a:lnTo>
                    <a:pt x="233" y="86"/>
                  </a:lnTo>
                  <a:lnTo>
                    <a:pt x="232" y="86"/>
                  </a:lnTo>
                  <a:lnTo>
                    <a:pt x="231" y="86"/>
                  </a:lnTo>
                  <a:lnTo>
                    <a:pt x="229" y="85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3"/>
                  </a:lnTo>
                  <a:lnTo>
                    <a:pt x="228" y="83"/>
                  </a:lnTo>
                  <a:lnTo>
                    <a:pt x="228" y="82"/>
                  </a:lnTo>
                  <a:lnTo>
                    <a:pt x="229" y="81"/>
                  </a:lnTo>
                  <a:lnTo>
                    <a:pt x="231" y="80"/>
                  </a:lnTo>
                  <a:lnTo>
                    <a:pt x="231" y="79"/>
                  </a:lnTo>
                  <a:lnTo>
                    <a:pt x="232" y="79"/>
                  </a:lnTo>
                  <a:lnTo>
                    <a:pt x="233" y="78"/>
                  </a:lnTo>
                  <a:lnTo>
                    <a:pt x="234" y="77"/>
                  </a:lnTo>
                  <a:lnTo>
                    <a:pt x="235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7" y="77"/>
                  </a:lnTo>
                  <a:lnTo>
                    <a:pt x="238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0" y="77"/>
                  </a:lnTo>
                  <a:lnTo>
                    <a:pt x="240" y="78"/>
                  </a:lnTo>
                  <a:lnTo>
                    <a:pt x="241" y="78"/>
                  </a:lnTo>
                  <a:lnTo>
                    <a:pt x="241" y="79"/>
                  </a:lnTo>
                  <a:lnTo>
                    <a:pt x="242" y="80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3" y="82"/>
                  </a:lnTo>
                  <a:lnTo>
                    <a:pt x="243" y="82"/>
                  </a:lnTo>
                  <a:lnTo>
                    <a:pt x="244" y="83"/>
                  </a:lnTo>
                  <a:lnTo>
                    <a:pt x="244" y="83"/>
                  </a:lnTo>
                  <a:lnTo>
                    <a:pt x="245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8" y="82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1"/>
                  </a:lnTo>
                  <a:lnTo>
                    <a:pt x="250" y="80"/>
                  </a:lnTo>
                  <a:lnTo>
                    <a:pt x="250" y="78"/>
                  </a:lnTo>
                  <a:lnTo>
                    <a:pt x="251" y="77"/>
                  </a:lnTo>
                  <a:lnTo>
                    <a:pt x="251" y="76"/>
                  </a:lnTo>
                  <a:lnTo>
                    <a:pt x="251" y="75"/>
                  </a:lnTo>
                  <a:lnTo>
                    <a:pt x="251" y="75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3"/>
                  </a:lnTo>
                  <a:lnTo>
                    <a:pt x="251" y="72"/>
                  </a:lnTo>
                  <a:lnTo>
                    <a:pt x="250" y="71"/>
                  </a:lnTo>
                  <a:lnTo>
                    <a:pt x="249" y="70"/>
                  </a:lnTo>
                  <a:lnTo>
                    <a:pt x="249" y="69"/>
                  </a:lnTo>
                  <a:lnTo>
                    <a:pt x="247" y="68"/>
                  </a:lnTo>
                  <a:lnTo>
                    <a:pt x="247" y="67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5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3"/>
                  </a:lnTo>
                  <a:lnTo>
                    <a:pt x="249" y="63"/>
                  </a:lnTo>
                  <a:lnTo>
                    <a:pt x="249" y="63"/>
                  </a:lnTo>
                  <a:lnTo>
                    <a:pt x="250" y="63"/>
                  </a:lnTo>
                  <a:lnTo>
                    <a:pt x="251" y="62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4" y="61"/>
                  </a:lnTo>
                  <a:lnTo>
                    <a:pt x="255" y="59"/>
                  </a:lnTo>
                  <a:lnTo>
                    <a:pt x="256" y="58"/>
                  </a:lnTo>
                  <a:lnTo>
                    <a:pt x="257" y="57"/>
                  </a:lnTo>
                  <a:lnTo>
                    <a:pt x="258" y="55"/>
                  </a:lnTo>
                  <a:lnTo>
                    <a:pt x="258" y="54"/>
                  </a:lnTo>
                  <a:lnTo>
                    <a:pt x="259" y="53"/>
                  </a:lnTo>
                  <a:lnTo>
                    <a:pt x="259" y="52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7" y="45"/>
                  </a:lnTo>
                  <a:lnTo>
                    <a:pt x="257" y="44"/>
                  </a:lnTo>
                  <a:lnTo>
                    <a:pt x="256" y="44"/>
                  </a:lnTo>
                  <a:lnTo>
                    <a:pt x="253" y="42"/>
                  </a:lnTo>
                  <a:lnTo>
                    <a:pt x="253" y="42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51" y="40"/>
                  </a:lnTo>
                  <a:lnTo>
                    <a:pt x="250" y="39"/>
                  </a:lnTo>
                  <a:lnTo>
                    <a:pt x="250" y="38"/>
                  </a:lnTo>
                  <a:lnTo>
                    <a:pt x="250" y="38"/>
                  </a:lnTo>
                  <a:lnTo>
                    <a:pt x="250" y="37"/>
                  </a:lnTo>
                  <a:lnTo>
                    <a:pt x="250" y="37"/>
                  </a:lnTo>
                  <a:lnTo>
                    <a:pt x="250" y="36"/>
                  </a:lnTo>
                  <a:lnTo>
                    <a:pt x="250" y="35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6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57" y="23"/>
                  </a:lnTo>
                  <a:lnTo>
                    <a:pt x="259" y="22"/>
                  </a:lnTo>
                  <a:lnTo>
                    <a:pt x="260" y="21"/>
                  </a:lnTo>
                  <a:lnTo>
                    <a:pt x="261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8"/>
                  </a:lnTo>
                  <a:lnTo>
                    <a:pt x="264" y="17"/>
                  </a:lnTo>
                  <a:lnTo>
                    <a:pt x="265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1" y="18"/>
                  </a:lnTo>
                  <a:lnTo>
                    <a:pt x="272" y="18"/>
                  </a:lnTo>
                  <a:lnTo>
                    <a:pt x="273" y="18"/>
                  </a:lnTo>
                  <a:lnTo>
                    <a:pt x="275" y="18"/>
                  </a:lnTo>
                  <a:lnTo>
                    <a:pt x="277" y="17"/>
                  </a:lnTo>
                  <a:lnTo>
                    <a:pt x="280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7" y="18"/>
                  </a:lnTo>
                  <a:lnTo>
                    <a:pt x="289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5" y="18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8" y="16"/>
                  </a:lnTo>
                  <a:lnTo>
                    <a:pt x="298" y="15"/>
                  </a:lnTo>
                  <a:lnTo>
                    <a:pt x="298" y="14"/>
                  </a:lnTo>
                  <a:lnTo>
                    <a:pt x="299" y="13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2" y="2"/>
                  </a:lnTo>
                  <a:lnTo>
                    <a:pt x="302" y="1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Freeform 34">
              <a:extLst>
                <a:ext uri="{FF2B5EF4-FFF2-40B4-BE49-F238E27FC236}">
                  <a16:creationId xmlns:a16="http://schemas.microsoft.com/office/drawing/2014/main" id="{E105C7DB-F2D2-8B20-CF42-3528726D76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140"/>
              <a:ext cx="365" cy="541"/>
            </a:xfrm>
            <a:custGeom>
              <a:avLst/>
              <a:gdLst>
                <a:gd name="T0" fmla="*/ 183 w 365"/>
                <a:gd name="T1" fmla="*/ 74 h 541"/>
                <a:gd name="T2" fmla="*/ 199 w 365"/>
                <a:gd name="T3" fmla="*/ 75 h 541"/>
                <a:gd name="T4" fmla="*/ 205 w 365"/>
                <a:gd name="T5" fmla="*/ 104 h 541"/>
                <a:gd name="T6" fmla="*/ 178 w 365"/>
                <a:gd name="T7" fmla="*/ 117 h 541"/>
                <a:gd name="T8" fmla="*/ 153 w 365"/>
                <a:gd name="T9" fmla="*/ 151 h 541"/>
                <a:gd name="T10" fmla="*/ 137 w 365"/>
                <a:gd name="T11" fmla="*/ 197 h 541"/>
                <a:gd name="T12" fmla="*/ 143 w 365"/>
                <a:gd name="T13" fmla="*/ 226 h 541"/>
                <a:gd name="T14" fmla="*/ 133 w 365"/>
                <a:gd name="T15" fmla="*/ 253 h 541"/>
                <a:gd name="T16" fmla="*/ 143 w 365"/>
                <a:gd name="T17" fmla="*/ 275 h 541"/>
                <a:gd name="T18" fmla="*/ 152 w 365"/>
                <a:gd name="T19" fmla="*/ 287 h 541"/>
                <a:gd name="T20" fmla="*/ 184 w 365"/>
                <a:gd name="T21" fmla="*/ 270 h 541"/>
                <a:gd name="T22" fmla="*/ 195 w 365"/>
                <a:gd name="T23" fmla="*/ 287 h 541"/>
                <a:gd name="T24" fmla="*/ 208 w 365"/>
                <a:gd name="T25" fmla="*/ 288 h 541"/>
                <a:gd name="T26" fmla="*/ 222 w 365"/>
                <a:gd name="T27" fmla="*/ 279 h 541"/>
                <a:gd name="T28" fmla="*/ 229 w 365"/>
                <a:gd name="T29" fmla="*/ 270 h 541"/>
                <a:gd name="T30" fmla="*/ 240 w 365"/>
                <a:gd name="T31" fmla="*/ 299 h 541"/>
                <a:gd name="T32" fmla="*/ 269 w 365"/>
                <a:gd name="T33" fmla="*/ 317 h 541"/>
                <a:gd name="T34" fmla="*/ 294 w 365"/>
                <a:gd name="T35" fmla="*/ 318 h 541"/>
                <a:gd name="T36" fmla="*/ 297 w 365"/>
                <a:gd name="T37" fmla="*/ 350 h 541"/>
                <a:gd name="T38" fmla="*/ 314 w 365"/>
                <a:gd name="T39" fmla="*/ 355 h 541"/>
                <a:gd name="T40" fmla="*/ 347 w 365"/>
                <a:gd name="T41" fmla="*/ 394 h 541"/>
                <a:gd name="T42" fmla="*/ 355 w 365"/>
                <a:gd name="T43" fmla="*/ 401 h 541"/>
                <a:gd name="T44" fmla="*/ 361 w 365"/>
                <a:gd name="T45" fmla="*/ 419 h 541"/>
                <a:gd name="T46" fmla="*/ 341 w 365"/>
                <a:gd name="T47" fmla="*/ 426 h 541"/>
                <a:gd name="T48" fmla="*/ 324 w 365"/>
                <a:gd name="T49" fmla="*/ 456 h 541"/>
                <a:gd name="T50" fmla="*/ 299 w 365"/>
                <a:gd name="T51" fmla="*/ 451 h 541"/>
                <a:gd name="T52" fmla="*/ 282 w 365"/>
                <a:gd name="T53" fmla="*/ 457 h 541"/>
                <a:gd name="T54" fmla="*/ 282 w 365"/>
                <a:gd name="T55" fmla="*/ 476 h 541"/>
                <a:gd name="T56" fmla="*/ 256 w 365"/>
                <a:gd name="T57" fmla="*/ 477 h 541"/>
                <a:gd name="T58" fmla="*/ 239 w 365"/>
                <a:gd name="T59" fmla="*/ 496 h 541"/>
                <a:gd name="T60" fmla="*/ 208 w 365"/>
                <a:gd name="T61" fmla="*/ 488 h 541"/>
                <a:gd name="T62" fmla="*/ 198 w 365"/>
                <a:gd name="T63" fmla="*/ 479 h 541"/>
                <a:gd name="T64" fmla="*/ 196 w 365"/>
                <a:gd name="T65" fmla="*/ 508 h 541"/>
                <a:gd name="T66" fmla="*/ 165 w 365"/>
                <a:gd name="T67" fmla="*/ 530 h 541"/>
                <a:gd name="T68" fmla="*/ 141 w 365"/>
                <a:gd name="T69" fmla="*/ 541 h 541"/>
                <a:gd name="T70" fmla="*/ 111 w 365"/>
                <a:gd name="T71" fmla="*/ 507 h 541"/>
                <a:gd name="T72" fmla="*/ 106 w 365"/>
                <a:gd name="T73" fmla="*/ 484 h 541"/>
                <a:gd name="T74" fmla="*/ 94 w 365"/>
                <a:gd name="T75" fmla="*/ 477 h 541"/>
                <a:gd name="T76" fmla="*/ 77 w 365"/>
                <a:gd name="T77" fmla="*/ 448 h 541"/>
                <a:gd name="T78" fmla="*/ 50 w 365"/>
                <a:gd name="T79" fmla="*/ 448 h 541"/>
                <a:gd name="T80" fmla="*/ 63 w 365"/>
                <a:gd name="T81" fmla="*/ 470 h 541"/>
                <a:gd name="T82" fmla="*/ 43 w 365"/>
                <a:gd name="T83" fmla="*/ 490 h 541"/>
                <a:gd name="T84" fmla="*/ 36 w 365"/>
                <a:gd name="T85" fmla="*/ 470 h 541"/>
                <a:gd name="T86" fmla="*/ 28 w 365"/>
                <a:gd name="T87" fmla="*/ 435 h 541"/>
                <a:gd name="T88" fmla="*/ 15 w 365"/>
                <a:gd name="T89" fmla="*/ 419 h 541"/>
                <a:gd name="T90" fmla="*/ 22 w 365"/>
                <a:gd name="T91" fmla="*/ 404 h 541"/>
                <a:gd name="T92" fmla="*/ 32 w 365"/>
                <a:gd name="T93" fmla="*/ 384 h 541"/>
                <a:gd name="T94" fmla="*/ 40 w 365"/>
                <a:gd name="T95" fmla="*/ 353 h 541"/>
                <a:gd name="T96" fmla="*/ 27 w 365"/>
                <a:gd name="T97" fmla="*/ 333 h 541"/>
                <a:gd name="T98" fmla="*/ 18 w 365"/>
                <a:gd name="T99" fmla="*/ 306 h 541"/>
                <a:gd name="T100" fmla="*/ 9 w 365"/>
                <a:gd name="T101" fmla="*/ 274 h 541"/>
                <a:gd name="T102" fmla="*/ 4 w 365"/>
                <a:gd name="T103" fmla="*/ 225 h 541"/>
                <a:gd name="T104" fmla="*/ 12 w 365"/>
                <a:gd name="T105" fmla="*/ 206 h 541"/>
                <a:gd name="T106" fmla="*/ 25 w 365"/>
                <a:gd name="T107" fmla="*/ 176 h 541"/>
                <a:gd name="T108" fmla="*/ 39 w 365"/>
                <a:gd name="T109" fmla="*/ 128 h 541"/>
                <a:gd name="T110" fmla="*/ 53 w 365"/>
                <a:gd name="T111" fmla="*/ 105 h 541"/>
                <a:gd name="T112" fmla="*/ 80 w 365"/>
                <a:gd name="T113" fmla="*/ 103 h 541"/>
                <a:gd name="T114" fmla="*/ 85 w 365"/>
                <a:gd name="T115" fmla="*/ 78 h 541"/>
                <a:gd name="T116" fmla="*/ 57 w 365"/>
                <a:gd name="T117" fmla="*/ 44 h 541"/>
                <a:gd name="T118" fmla="*/ 40 w 365"/>
                <a:gd name="T119" fmla="*/ 14 h 541"/>
                <a:gd name="T120" fmla="*/ 69 w 365"/>
                <a:gd name="T121" fmla="*/ 10 h 541"/>
                <a:gd name="T122" fmla="*/ 113 w 365"/>
                <a:gd name="T123" fmla="*/ 22 h 541"/>
                <a:gd name="T124" fmla="*/ 143 w 365"/>
                <a:gd name="T125" fmla="*/ 4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5" h="541">
                  <a:moveTo>
                    <a:pt x="169" y="56"/>
                  </a:moveTo>
                  <a:lnTo>
                    <a:pt x="170" y="55"/>
                  </a:lnTo>
                  <a:lnTo>
                    <a:pt x="171" y="55"/>
                  </a:lnTo>
                  <a:lnTo>
                    <a:pt x="172" y="55"/>
                  </a:lnTo>
                  <a:lnTo>
                    <a:pt x="176" y="54"/>
                  </a:lnTo>
                  <a:lnTo>
                    <a:pt x="177" y="54"/>
                  </a:lnTo>
                  <a:lnTo>
                    <a:pt x="178" y="54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5"/>
                  </a:lnTo>
                  <a:lnTo>
                    <a:pt x="181" y="55"/>
                  </a:lnTo>
                  <a:lnTo>
                    <a:pt x="181" y="56"/>
                  </a:lnTo>
                  <a:lnTo>
                    <a:pt x="182" y="58"/>
                  </a:lnTo>
                  <a:lnTo>
                    <a:pt x="183" y="61"/>
                  </a:lnTo>
                  <a:lnTo>
                    <a:pt x="183" y="62"/>
                  </a:lnTo>
                  <a:lnTo>
                    <a:pt x="183" y="62"/>
                  </a:lnTo>
                  <a:lnTo>
                    <a:pt x="183" y="63"/>
                  </a:lnTo>
                  <a:lnTo>
                    <a:pt x="183" y="64"/>
                  </a:lnTo>
                  <a:lnTo>
                    <a:pt x="182" y="72"/>
                  </a:lnTo>
                  <a:lnTo>
                    <a:pt x="182" y="73"/>
                  </a:lnTo>
                  <a:lnTo>
                    <a:pt x="183" y="74"/>
                  </a:lnTo>
                  <a:lnTo>
                    <a:pt x="183" y="76"/>
                  </a:lnTo>
                  <a:lnTo>
                    <a:pt x="183" y="77"/>
                  </a:lnTo>
                  <a:lnTo>
                    <a:pt x="184" y="77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5" y="79"/>
                  </a:lnTo>
                  <a:lnTo>
                    <a:pt x="185" y="79"/>
                  </a:lnTo>
                  <a:lnTo>
                    <a:pt x="186" y="79"/>
                  </a:lnTo>
                  <a:lnTo>
                    <a:pt x="186" y="79"/>
                  </a:lnTo>
                  <a:lnTo>
                    <a:pt x="187" y="78"/>
                  </a:lnTo>
                  <a:lnTo>
                    <a:pt x="187" y="78"/>
                  </a:lnTo>
                  <a:lnTo>
                    <a:pt x="189" y="77"/>
                  </a:lnTo>
                  <a:lnTo>
                    <a:pt x="190" y="76"/>
                  </a:lnTo>
                  <a:lnTo>
                    <a:pt x="190" y="76"/>
                  </a:lnTo>
                  <a:lnTo>
                    <a:pt x="191" y="75"/>
                  </a:lnTo>
                  <a:lnTo>
                    <a:pt x="192" y="75"/>
                  </a:lnTo>
                  <a:lnTo>
                    <a:pt x="192" y="75"/>
                  </a:lnTo>
                  <a:lnTo>
                    <a:pt x="194" y="75"/>
                  </a:lnTo>
                  <a:lnTo>
                    <a:pt x="194" y="74"/>
                  </a:lnTo>
                  <a:lnTo>
                    <a:pt x="195" y="74"/>
                  </a:lnTo>
                  <a:lnTo>
                    <a:pt x="197" y="75"/>
                  </a:lnTo>
                  <a:lnTo>
                    <a:pt x="198" y="75"/>
                  </a:lnTo>
                  <a:lnTo>
                    <a:pt x="199" y="75"/>
                  </a:lnTo>
                  <a:lnTo>
                    <a:pt x="200" y="76"/>
                  </a:lnTo>
                  <a:lnTo>
                    <a:pt x="201" y="76"/>
                  </a:lnTo>
                  <a:lnTo>
                    <a:pt x="202" y="77"/>
                  </a:lnTo>
                  <a:lnTo>
                    <a:pt x="203" y="77"/>
                  </a:lnTo>
                  <a:lnTo>
                    <a:pt x="204" y="78"/>
                  </a:lnTo>
                  <a:lnTo>
                    <a:pt x="204" y="78"/>
                  </a:lnTo>
                  <a:lnTo>
                    <a:pt x="205" y="79"/>
                  </a:lnTo>
                  <a:lnTo>
                    <a:pt x="206" y="80"/>
                  </a:lnTo>
                  <a:lnTo>
                    <a:pt x="206" y="81"/>
                  </a:lnTo>
                  <a:lnTo>
                    <a:pt x="207" y="82"/>
                  </a:lnTo>
                  <a:lnTo>
                    <a:pt x="207" y="82"/>
                  </a:lnTo>
                  <a:lnTo>
                    <a:pt x="208" y="83"/>
                  </a:lnTo>
                  <a:lnTo>
                    <a:pt x="208" y="84"/>
                  </a:lnTo>
                  <a:lnTo>
                    <a:pt x="208" y="85"/>
                  </a:lnTo>
                  <a:lnTo>
                    <a:pt x="208" y="85"/>
                  </a:lnTo>
                  <a:lnTo>
                    <a:pt x="208" y="94"/>
                  </a:lnTo>
                  <a:lnTo>
                    <a:pt x="207" y="97"/>
                  </a:lnTo>
                  <a:lnTo>
                    <a:pt x="207" y="98"/>
                  </a:lnTo>
                  <a:lnTo>
                    <a:pt x="207" y="100"/>
                  </a:lnTo>
                  <a:lnTo>
                    <a:pt x="206" y="101"/>
                  </a:lnTo>
                  <a:lnTo>
                    <a:pt x="206" y="102"/>
                  </a:lnTo>
                  <a:lnTo>
                    <a:pt x="206" y="103"/>
                  </a:lnTo>
                  <a:lnTo>
                    <a:pt x="205" y="104"/>
                  </a:lnTo>
                  <a:lnTo>
                    <a:pt x="205" y="104"/>
                  </a:lnTo>
                  <a:lnTo>
                    <a:pt x="204" y="104"/>
                  </a:lnTo>
                  <a:lnTo>
                    <a:pt x="204" y="105"/>
                  </a:lnTo>
                  <a:lnTo>
                    <a:pt x="203" y="105"/>
                  </a:lnTo>
                  <a:lnTo>
                    <a:pt x="202" y="105"/>
                  </a:lnTo>
                  <a:lnTo>
                    <a:pt x="201" y="105"/>
                  </a:lnTo>
                  <a:lnTo>
                    <a:pt x="201" y="105"/>
                  </a:lnTo>
                  <a:lnTo>
                    <a:pt x="199" y="105"/>
                  </a:lnTo>
                  <a:lnTo>
                    <a:pt x="198" y="105"/>
                  </a:lnTo>
                  <a:lnTo>
                    <a:pt x="197" y="104"/>
                  </a:lnTo>
                  <a:lnTo>
                    <a:pt x="195" y="104"/>
                  </a:lnTo>
                  <a:lnTo>
                    <a:pt x="194" y="104"/>
                  </a:lnTo>
                  <a:lnTo>
                    <a:pt x="194" y="104"/>
                  </a:lnTo>
                  <a:lnTo>
                    <a:pt x="193" y="105"/>
                  </a:lnTo>
                  <a:lnTo>
                    <a:pt x="193" y="105"/>
                  </a:lnTo>
                  <a:lnTo>
                    <a:pt x="191" y="106"/>
                  </a:lnTo>
                  <a:lnTo>
                    <a:pt x="190" y="107"/>
                  </a:lnTo>
                  <a:lnTo>
                    <a:pt x="189" y="109"/>
                  </a:lnTo>
                  <a:lnTo>
                    <a:pt x="185" y="113"/>
                  </a:lnTo>
                  <a:lnTo>
                    <a:pt x="184" y="114"/>
                  </a:lnTo>
                  <a:lnTo>
                    <a:pt x="183" y="115"/>
                  </a:lnTo>
                  <a:lnTo>
                    <a:pt x="182" y="115"/>
                  </a:lnTo>
                  <a:lnTo>
                    <a:pt x="181" y="116"/>
                  </a:lnTo>
                  <a:lnTo>
                    <a:pt x="180" y="116"/>
                  </a:lnTo>
                  <a:lnTo>
                    <a:pt x="178" y="117"/>
                  </a:lnTo>
                  <a:lnTo>
                    <a:pt x="177" y="118"/>
                  </a:lnTo>
                  <a:lnTo>
                    <a:pt x="176" y="118"/>
                  </a:lnTo>
                  <a:lnTo>
                    <a:pt x="175" y="119"/>
                  </a:lnTo>
                  <a:lnTo>
                    <a:pt x="174" y="120"/>
                  </a:lnTo>
                  <a:lnTo>
                    <a:pt x="173" y="120"/>
                  </a:lnTo>
                  <a:lnTo>
                    <a:pt x="171" y="123"/>
                  </a:lnTo>
                  <a:lnTo>
                    <a:pt x="170" y="123"/>
                  </a:lnTo>
                  <a:lnTo>
                    <a:pt x="169" y="124"/>
                  </a:lnTo>
                  <a:lnTo>
                    <a:pt x="167" y="126"/>
                  </a:lnTo>
                  <a:lnTo>
                    <a:pt x="166" y="126"/>
                  </a:lnTo>
                  <a:lnTo>
                    <a:pt x="165" y="128"/>
                  </a:lnTo>
                  <a:lnTo>
                    <a:pt x="163" y="130"/>
                  </a:lnTo>
                  <a:lnTo>
                    <a:pt x="158" y="136"/>
                  </a:lnTo>
                  <a:lnTo>
                    <a:pt x="156" y="138"/>
                  </a:lnTo>
                  <a:lnTo>
                    <a:pt x="156" y="139"/>
                  </a:lnTo>
                  <a:lnTo>
                    <a:pt x="155" y="140"/>
                  </a:lnTo>
                  <a:lnTo>
                    <a:pt x="155" y="141"/>
                  </a:lnTo>
                  <a:lnTo>
                    <a:pt x="155" y="142"/>
                  </a:lnTo>
                  <a:lnTo>
                    <a:pt x="155" y="145"/>
                  </a:lnTo>
                  <a:lnTo>
                    <a:pt x="154" y="147"/>
                  </a:lnTo>
                  <a:lnTo>
                    <a:pt x="154" y="148"/>
                  </a:lnTo>
                  <a:lnTo>
                    <a:pt x="154" y="149"/>
                  </a:lnTo>
                  <a:lnTo>
                    <a:pt x="154" y="150"/>
                  </a:lnTo>
                  <a:lnTo>
                    <a:pt x="153" y="151"/>
                  </a:lnTo>
                  <a:lnTo>
                    <a:pt x="152" y="155"/>
                  </a:lnTo>
                  <a:lnTo>
                    <a:pt x="151" y="156"/>
                  </a:lnTo>
                  <a:lnTo>
                    <a:pt x="151" y="157"/>
                  </a:lnTo>
                  <a:lnTo>
                    <a:pt x="150" y="158"/>
                  </a:lnTo>
                  <a:lnTo>
                    <a:pt x="150" y="160"/>
                  </a:lnTo>
                  <a:lnTo>
                    <a:pt x="150" y="161"/>
                  </a:lnTo>
                  <a:lnTo>
                    <a:pt x="151" y="166"/>
                  </a:lnTo>
                  <a:lnTo>
                    <a:pt x="151" y="170"/>
                  </a:lnTo>
                  <a:lnTo>
                    <a:pt x="151" y="172"/>
                  </a:lnTo>
                  <a:lnTo>
                    <a:pt x="151" y="174"/>
                  </a:lnTo>
                  <a:lnTo>
                    <a:pt x="151" y="175"/>
                  </a:lnTo>
                  <a:lnTo>
                    <a:pt x="150" y="176"/>
                  </a:lnTo>
                  <a:lnTo>
                    <a:pt x="150" y="178"/>
                  </a:lnTo>
                  <a:lnTo>
                    <a:pt x="150" y="179"/>
                  </a:lnTo>
                  <a:lnTo>
                    <a:pt x="149" y="180"/>
                  </a:lnTo>
                  <a:lnTo>
                    <a:pt x="149" y="181"/>
                  </a:lnTo>
                  <a:lnTo>
                    <a:pt x="148" y="182"/>
                  </a:lnTo>
                  <a:lnTo>
                    <a:pt x="147" y="184"/>
                  </a:lnTo>
                  <a:lnTo>
                    <a:pt x="146" y="184"/>
                  </a:lnTo>
                  <a:lnTo>
                    <a:pt x="141" y="191"/>
                  </a:lnTo>
                  <a:lnTo>
                    <a:pt x="140" y="192"/>
                  </a:lnTo>
                  <a:lnTo>
                    <a:pt x="139" y="194"/>
                  </a:lnTo>
                  <a:lnTo>
                    <a:pt x="138" y="195"/>
                  </a:lnTo>
                  <a:lnTo>
                    <a:pt x="137" y="197"/>
                  </a:lnTo>
                  <a:lnTo>
                    <a:pt x="136" y="199"/>
                  </a:lnTo>
                  <a:lnTo>
                    <a:pt x="135" y="200"/>
                  </a:lnTo>
                  <a:lnTo>
                    <a:pt x="135" y="201"/>
                  </a:lnTo>
                  <a:lnTo>
                    <a:pt x="135" y="202"/>
                  </a:lnTo>
                  <a:lnTo>
                    <a:pt x="135" y="203"/>
                  </a:lnTo>
                  <a:lnTo>
                    <a:pt x="134" y="204"/>
                  </a:lnTo>
                  <a:lnTo>
                    <a:pt x="134" y="208"/>
                  </a:lnTo>
                  <a:lnTo>
                    <a:pt x="133" y="212"/>
                  </a:lnTo>
                  <a:lnTo>
                    <a:pt x="133" y="212"/>
                  </a:lnTo>
                  <a:lnTo>
                    <a:pt x="133" y="213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4" y="215"/>
                  </a:lnTo>
                  <a:lnTo>
                    <a:pt x="135" y="216"/>
                  </a:lnTo>
                  <a:lnTo>
                    <a:pt x="135" y="216"/>
                  </a:lnTo>
                  <a:lnTo>
                    <a:pt x="136" y="218"/>
                  </a:lnTo>
                  <a:lnTo>
                    <a:pt x="140" y="222"/>
                  </a:lnTo>
                  <a:lnTo>
                    <a:pt x="141" y="223"/>
                  </a:lnTo>
                  <a:lnTo>
                    <a:pt x="141" y="224"/>
                  </a:lnTo>
                  <a:lnTo>
                    <a:pt x="142" y="224"/>
                  </a:lnTo>
                  <a:lnTo>
                    <a:pt x="142" y="225"/>
                  </a:lnTo>
                  <a:lnTo>
                    <a:pt x="142" y="226"/>
                  </a:lnTo>
                  <a:lnTo>
                    <a:pt x="143" y="226"/>
                  </a:lnTo>
                  <a:lnTo>
                    <a:pt x="143" y="227"/>
                  </a:lnTo>
                  <a:lnTo>
                    <a:pt x="143" y="228"/>
                  </a:lnTo>
                  <a:lnTo>
                    <a:pt x="143" y="228"/>
                  </a:lnTo>
                  <a:lnTo>
                    <a:pt x="143" y="229"/>
                  </a:lnTo>
                  <a:lnTo>
                    <a:pt x="143" y="230"/>
                  </a:lnTo>
                  <a:lnTo>
                    <a:pt x="143" y="231"/>
                  </a:lnTo>
                  <a:lnTo>
                    <a:pt x="142" y="232"/>
                  </a:lnTo>
                  <a:lnTo>
                    <a:pt x="141" y="233"/>
                  </a:lnTo>
                  <a:lnTo>
                    <a:pt x="141" y="234"/>
                  </a:lnTo>
                  <a:lnTo>
                    <a:pt x="140" y="235"/>
                  </a:lnTo>
                  <a:lnTo>
                    <a:pt x="138" y="238"/>
                  </a:lnTo>
                  <a:lnTo>
                    <a:pt x="137" y="240"/>
                  </a:lnTo>
                  <a:lnTo>
                    <a:pt x="136" y="242"/>
                  </a:lnTo>
                  <a:lnTo>
                    <a:pt x="135" y="242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35" y="244"/>
                  </a:lnTo>
                  <a:lnTo>
                    <a:pt x="135" y="245"/>
                  </a:lnTo>
                  <a:lnTo>
                    <a:pt x="135" y="247"/>
                  </a:lnTo>
                  <a:lnTo>
                    <a:pt x="135" y="248"/>
                  </a:lnTo>
                  <a:lnTo>
                    <a:pt x="135" y="249"/>
                  </a:lnTo>
                  <a:lnTo>
                    <a:pt x="134" y="250"/>
                  </a:lnTo>
                  <a:lnTo>
                    <a:pt x="134" y="251"/>
                  </a:lnTo>
                  <a:lnTo>
                    <a:pt x="133" y="253"/>
                  </a:lnTo>
                  <a:lnTo>
                    <a:pt x="132" y="256"/>
                  </a:lnTo>
                  <a:lnTo>
                    <a:pt x="131" y="257"/>
                  </a:lnTo>
                  <a:lnTo>
                    <a:pt x="131" y="258"/>
                  </a:lnTo>
                  <a:lnTo>
                    <a:pt x="131" y="259"/>
                  </a:lnTo>
                  <a:lnTo>
                    <a:pt x="131" y="260"/>
                  </a:lnTo>
                  <a:lnTo>
                    <a:pt x="131" y="261"/>
                  </a:lnTo>
                  <a:lnTo>
                    <a:pt x="131" y="261"/>
                  </a:lnTo>
                  <a:lnTo>
                    <a:pt x="131" y="262"/>
                  </a:lnTo>
                  <a:lnTo>
                    <a:pt x="131" y="262"/>
                  </a:lnTo>
                  <a:lnTo>
                    <a:pt x="131" y="263"/>
                  </a:lnTo>
                  <a:lnTo>
                    <a:pt x="132" y="265"/>
                  </a:lnTo>
                  <a:lnTo>
                    <a:pt x="133" y="266"/>
                  </a:lnTo>
                  <a:lnTo>
                    <a:pt x="134" y="267"/>
                  </a:lnTo>
                  <a:lnTo>
                    <a:pt x="134" y="267"/>
                  </a:lnTo>
                  <a:lnTo>
                    <a:pt x="136" y="269"/>
                  </a:lnTo>
                  <a:lnTo>
                    <a:pt x="137" y="272"/>
                  </a:lnTo>
                  <a:lnTo>
                    <a:pt x="138" y="272"/>
                  </a:lnTo>
                  <a:lnTo>
                    <a:pt x="139" y="273"/>
                  </a:lnTo>
                  <a:lnTo>
                    <a:pt x="140" y="274"/>
                  </a:lnTo>
                  <a:lnTo>
                    <a:pt x="140" y="274"/>
                  </a:lnTo>
                  <a:lnTo>
                    <a:pt x="141" y="274"/>
                  </a:lnTo>
                  <a:lnTo>
                    <a:pt x="141" y="275"/>
                  </a:lnTo>
                  <a:lnTo>
                    <a:pt x="142" y="275"/>
                  </a:lnTo>
                  <a:lnTo>
                    <a:pt x="143" y="275"/>
                  </a:lnTo>
                  <a:lnTo>
                    <a:pt x="144" y="274"/>
                  </a:lnTo>
                  <a:lnTo>
                    <a:pt x="146" y="274"/>
                  </a:lnTo>
                  <a:lnTo>
                    <a:pt x="147" y="274"/>
                  </a:lnTo>
                  <a:lnTo>
                    <a:pt x="148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1" y="273"/>
                  </a:lnTo>
                  <a:lnTo>
                    <a:pt x="151" y="274"/>
                  </a:lnTo>
                  <a:lnTo>
                    <a:pt x="151" y="274"/>
                  </a:lnTo>
                  <a:lnTo>
                    <a:pt x="151" y="275"/>
                  </a:lnTo>
                  <a:lnTo>
                    <a:pt x="151" y="276"/>
                  </a:lnTo>
                  <a:lnTo>
                    <a:pt x="151" y="278"/>
                  </a:lnTo>
                  <a:lnTo>
                    <a:pt x="150" y="281"/>
                  </a:lnTo>
                  <a:lnTo>
                    <a:pt x="150" y="282"/>
                  </a:lnTo>
                  <a:lnTo>
                    <a:pt x="150" y="283"/>
                  </a:lnTo>
                  <a:lnTo>
                    <a:pt x="150" y="284"/>
                  </a:lnTo>
                  <a:lnTo>
                    <a:pt x="151" y="285"/>
                  </a:lnTo>
                  <a:lnTo>
                    <a:pt x="151" y="285"/>
                  </a:lnTo>
                  <a:lnTo>
                    <a:pt x="151" y="286"/>
                  </a:lnTo>
                  <a:lnTo>
                    <a:pt x="151" y="286"/>
                  </a:lnTo>
                  <a:lnTo>
                    <a:pt x="152" y="286"/>
                  </a:lnTo>
                  <a:lnTo>
                    <a:pt x="152" y="287"/>
                  </a:lnTo>
                  <a:lnTo>
                    <a:pt x="153" y="287"/>
                  </a:lnTo>
                  <a:lnTo>
                    <a:pt x="153" y="287"/>
                  </a:lnTo>
                  <a:lnTo>
                    <a:pt x="154" y="287"/>
                  </a:lnTo>
                  <a:lnTo>
                    <a:pt x="158" y="287"/>
                  </a:lnTo>
                  <a:lnTo>
                    <a:pt x="161" y="287"/>
                  </a:lnTo>
                  <a:lnTo>
                    <a:pt x="162" y="287"/>
                  </a:lnTo>
                  <a:lnTo>
                    <a:pt x="163" y="286"/>
                  </a:lnTo>
                  <a:lnTo>
                    <a:pt x="163" y="286"/>
                  </a:lnTo>
                  <a:lnTo>
                    <a:pt x="164" y="286"/>
                  </a:lnTo>
                  <a:lnTo>
                    <a:pt x="164" y="285"/>
                  </a:lnTo>
                  <a:lnTo>
                    <a:pt x="165" y="284"/>
                  </a:lnTo>
                  <a:lnTo>
                    <a:pt x="166" y="283"/>
                  </a:lnTo>
                  <a:lnTo>
                    <a:pt x="167" y="282"/>
                  </a:lnTo>
                  <a:lnTo>
                    <a:pt x="168" y="281"/>
                  </a:lnTo>
                  <a:lnTo>
                    <a:pt x="169" y="280"/>
                  </a:lnTo>
                  <a:lnTo>
                    <a:pt x="172" y="278"/>
                  </a:lnTo>
                  <a:lnTo>
                    <a:pt x="175" y="275"/>
                  </a:lnTo>
                  <a:lnTo>
                    <a:pt x="176" y="274"/>
                  </a:lnTo>
                  <a:lnTo>
                    <a:pt x="178" y="273"/>
                  </a:lnTo>
                  <a:lnTo>
                    <a:pt x="179" y="272"/>
                  </a:lnTo>
                  <a:lnTo>
                    <a:pt x="180" y="272"/>
                  </a:lnTo>
                  <a:lnTo>
                    <a:pt x="181" y="272"/>
                  </a:lnTo>
                  <a:lnTo>
                    <a:pt x="182" y="271"/>
                  </a:lnTo>
                  <a:lnTo>
                    <a:pt x="184" y="270"/>
                  </a:lnTo>
                  <a:lnTo>
                    <a:pt x="185" y="270"/>
                  </a:lnTo>
                  <a:lnTo>
                    <a:pt x="185" y="270"/>
                  </a:lnTo>
                  <a:lnTo>
                    <a:pt x="187" y="269"/>
                  </a:lnTo>
                  <a:lnTo>
                    <a:pt x="189" y="269"/>
                  </a:lnTo>
                  <a:lnTo>
                    <a:pt x="190" y="269"/>
                  </a:lnTo>
                  <a:lnTo>
                    <a:pt x="191" y="269"/>
                  </a:lnTo>
                  <a:lnTo>
                    <a:pt x="192" y="269"/>
                  </a:lnTo>
                  <a:lnTo>
                    <a:pt x="192" y="269"/>
                  </a:lnTo>
                  <a:lnTo>
                    <a:pt x="193" y="270"/>
                  </a:lnTo>
                  <a:lnTo>
                    <a:pt x="194" y="270"/>
                  </a:lnTo>
                  <a:lnTo>
                    <a:pt x="194" y="271"/>
                  </a:lnTo>
                  <a:lnTo>
                    <a:pt x="195" y="271"/>
                  </a:lnTo>
                  <a:lnTo>
                    <a:pt x="196" y="272"/>
                  </a:lnTo>
                  <a:lnTo>
                    <a:pt x="196" y="272"/>
                  </a:lnTo>
                  <a:lnTo>
                    <a:pt x="197" y="273"/>
                  </a:lnTo>
                  <a:lnTo>
                    <a:pt x="197" y="274"/>
                  </a:lnTo>
                  <a:lnTo>
                    <a:pt x="197" y="275"/>
                  </a:lnTo>
                  <a:lnTo>
                    <a:pt x="197" y="275"/>
                  </a:lnTo>
                  <a:lnTo>
                    <a:pt x="197" y="276"/>
                  </a:lnTo>
                  <a:lnTo>
                    <a:pt x="197" y="278"/>
                  </a:lnTo>
                  <a:lnTo>
                    <a:pt x="196" y="280"/>
                  </a:lnTo>
                  <a:lnTo>
                    <a:pt x="195" y="284"/>
                  </a:lnTo>
                  <a:lnTo>
                    <a:pt x="195" y="287"/>
                  </a:lnTo>
                  <a:lnTo>
                    <a:pt x="195" y="287"/>
                  </a:lnTo>
                  <a:lnTo>
                    <a:pt x="195" y="288"/>
                  </a:lnTo>
                  <a:lnTo>
                    <a:pt x="195" y="289"/>
                  </a:lnTo>
                  <a:lnTo>
                    <a:pt x="195" y="290"/>
                  </a:lnTo>
                  <a:lnTo>
                    <a:pt x="196" y="291"/>
                  </a:lnTo>
                  <a:lnTo>
                    <a:pt x="196" y="293"/>
                  </a:lnTo>
                  <a:lnTo>
                    <a:pt x="197" y="294"/>
                  </a:lnTo>
                  <a:lnTo>
                    <a:pt x="198" y="295"/>
                  </a:lnTo>
                  <a:lnTo>
                    <a:pt x="199" y="296"/>
                  </a:lnTo>
                  <a:lnTo>
                    <a:pt x="199" y="296"/>
                  </a:lnTo>
                  <a:lnTo>
                    <a:pt x="200" y="296"/>
                  </a:lnTo>
                  <a:lnTo>
                    <a:pt x="200" y="296"/>
                  </a:lnTo>
                  <a:lnTo>
                    <a:pt x="201" y="296"/>
                  </a:lnTo>
                  <a:lnTo>
                    <a:pt x="201" y="296"/>
                  </a:lnTo>
                  <a:lnTo>
                    <a:pt x="202" y="296"/>
                  </a:lnTo>
                  <a:lnTo>
                    <a:pt x="202" y="296"/>
                  </a:lnTo>
                  <a:lnTo>
                    <a:pt x="202" y="296"/>
                  </a:lnTo>
                  <a:lnTo>
                    <a:pt x="203" y="295"/>
                  </a:lnTo>
                  <a:lnTo>
                    <a:pt x="204" y="293"/>
                  </a:lnTo>
                  <a:lnTo>
                    <a:pt x="205" y="292"/>
                  </a:lnTo>
                  <a:lnTo>
                    <a:pt x="205" y="292"/>
                  </a:lnTo>
                  <a:lnTo>
                    <a:pt x="207" y="290"/>
                  </a:lnTo>
                  <a:lnTo>
                    <a:pt x="208" y="289"/>
                  </a:lnTo>
                  <a:lnTo>
                    <a:pt x="208" y="288"/>
                  </a:lnTo>
                  <a:lnTo>
                    <a:pt x="208" y="288"/>
                  </a:lnTo>
                  <a:lnTo>
                    <a:pt x="209" y="287"/>
                  </a:lnTo>
                  <a:lnTo>
                    <a:pt x="209" y="286"/>
                  </a:lnTo>
                  <a:lnTo>
                    <a:pt x="210" y="285"/>
                  </a:lnTo>
                  <a:lnTo>
                    <a:pt x="210" y="285"/>
                  </a:lnTo>
                  <a:lnTo>
                    <a:pt x="211" y="284"/>
                  </a:lnTo>
                  <a:lnTo>
                    <a:pt x="211" y="284"/>
                  </a:lnTo>
                  <a:lnTo>
                    <a:pt x="213" y="283"/>
                  </a:lnTo>
                  <a:lnTo>
                    <a:pt x="213" y="283"/>
                  </a:lnTo>
                  <a:lnTo>
                    <a:pt x="214" y="282"/>
                  </a:lnTo>
                  <a:lnTo>
                    <a:pt x="215" y="282"/>
                  </a:lnTo>
                  <a:lnTo>
                    <a:pt x="215" y="282"/>
                  </a:lnTo>
                  <a:lnTo>
                    <a:pt x="215" y="282"/>
                  </a:lnTo>
                  <a:lnTo>
                    <a:pt x="216" y="282"/>
                  </a:lnTo>
                  <a:lnTo>
                    <a:pt x="216" y="282"/>
                  </a:lnTo>
                  <a:lnTo>
                    <a:pt x="217" y="282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9" y="282"/>
                  </a:lnTo>
                  <a:lnTo>
                    <a:pt x="220" y="282"/>
                  </a:lnTo>
                  <a:lnTo>
                    <a:pt x="220" y="281"/>
                  </a:lnTo>
                  <a:lnTo>
                    <a:pt x="221" y="280"/>
                  </a:lnTo>
                  <a:lnTo>
                    <a:pt x="222" y="279"/>
                  </a:lnTo>
                  <a:lnTo>
                    <a:pt x="222" y="279"/>
                  </a:lnTo>
                  <a:lnTo>
                    <a:pt x="222" y="278"/>
                  </a:lnTo>
                  <a:lnTo>
                    <a:pt x="223" y="278"/>
                  </a:lnTo>
                  <a:lnTo>
                    <a:pt x="223" y="277"/>
                  </a:lnTo>
                  <a:lnTo>
                    <a:pt x="223" y="276"/>
                  </a:lnTo>
                  <a:lnTo>
                    <a:pt x="223" y="275"/>
                  </a:lnTo>
                  <a:lnTo>
                    <a:pt x="222" y="274"/>
                  </a:lnTo>
                  <a:lnTo>
                    <a:pt x="221" y="267"/>
                  </a:lnTo>
                  <a:lnTo>
                    <a:pt x="220" y="266"/>
                  </a:lnTo>
                  <a:lnTo>
                    <a:pt x="220" y="265"/>
                  </a:lnTo>
                  <a:lnTo>
                    <a:pt x="220" y="265"/>
                  </a:lnTo>
                  <a:lnTo>
                    <a:pt x="221" y="264"/>
                  </a:lnTo>
                  <a:lnTo>
                    <a:pt x="221" y="263"/>
                  </a:lnTo>
                  <a:lnTo>
                    <a:pt x="222" y="263"/>
                  </a:lnTo>
                  <a:lnTo>
                    <a:pt x="222" y="263"/>
                  </a:lnTo>
                  <a:lnTo>
                    <a:pt x="223" y="263"/>
                  </a:lnTo>
                  <a:lnTo>
                    <a:pt x="224" y="263"/>
                  </a:lnTo>
                  <a:lnTo>
                    <a:pt x="225" y="263"/>
                  </a:lnTo>
                  <a:lnTo>
                    <a:pt x="225" y="263"/>
                  </a:lnTo>
                  <a:lnTo>
                    <a:pt x="226" y="264"/>
                  </a:lnTo>
                  <a:lnTo>
                    <a:pt x="226" y="264"/>
                  </a:lnTo>
                  <a:lnTo>
                    <a:pt x="226" y="264"/>
                  </a:lnTo>
                  <a:lnTo>
                    <a:pt x="227" y="265"/>
                  </a:lnTo>
                  <a:lnTo>
                    <a:pt x="228" y="268"/>
                  </a:lnTo>
                  <a:lnTo>
                    <a:pt x="229" y="270"/>
                  </a:lnTo>
                  <a:lnTo>
                    <a:pt x="230" y="272"/>
                  </a:lnTo>
                  <a:lnTo>
                    <a:pt x="230" y="273"/>
                  </a:lnTo>
                  <a:lnTo>
                    <a:pt x="231" y="274"/>
                  </a:lnTo>
                  <a:lnTo>
                    <a:pt x="231" y="276"/>
                  </a:lnTo>
                  <a:lnTo>
                    <a:pt x="231" y="278"/>
                  </a:lnTo>
                  <a:lnTo>
                    <a:pt x="231" y="278"/>
                  </a:lnTo>
                  <a:lnTo>
                    <a:pt x="231" y="280"/>
                  </a:lnTo>
                  <a:lnTo>
                    <a:pt x="231" y="281"/>
                  </a:lnTo>
                  <a:lnTo>
                    <a:pt x="232" y="283"/>
                  </a:lnTo>
                  <a:lnTo>
                    <a:pt x="232" y="284"/>
                  </a:lnTo>
                  <a:lnTo>
                    <a:pt x="234" y="286"/>
                  </a:lnTo>
                  <a:lnTo>
                    <a:pt x="234" y="287"/>
                  </a:lnTo>
                  <a:lnTo>
                    <a:pt x="235" y="288"/>
                  </a:lnTo>
                  <a:lnTo>
                    <a:pt x="235" y="288"/>
                  </a:lnTo>
                  <a:lnTo>
                    <a:pt x="235" y="289"/>
                  </a:lnTo>
                  <a:lnTo>
                    <a:pt x="236" y="290"/>
                  </a:lnTo>
                  <a:lnTo>
                    <a:pt x="236" y="290"/>
                  </a:lnTo>
                  <a:lnTo>
                    <a:pt x="236" y="292"/>
                  </a:lnTo>
                  <a:lnTo>
                    <a:pt x="236" y="293"/>
                  </a:lnTo>
                  <a:lnTo>
                    <a:pt x="236" y="294"/>
                  </a:lnTo>
                  <a:lnTo>
                    <a:pt x="237" y="295"/>
                  </a:lnTo>
                  <a:lnTo>
                    <a:pt x="237" y="296"/>
                  </a:lnTo>
                  <a:lnTo>
                    <a:pt x="237" y="296"/>
                  </a:lnTo>
                  <a:lnTo>
                    <a:pt x="240" y="299"/>
                  </a:lnTo>
                  <a:lnTo>
                    <a:pt x="241" y="300"/>
                  </a:lnTo>
                  <a:lnTo>
                    <a:pt x="242" y="301"/>
                  </a:lnTo>
                  <a:lnTo>
                    <a:pt x="243" y="303"/>
                  </a:lnTo>
                  <a:lnTo>
                    <a:pt x="243" y="304"/>
                  </a:lnTo>
                  <a:lnTo>
                    <a:pt x="244" y="305"/>
                  </a:lnTo>
                  <a:lnTo>
                    <a:pt x="245" y="306"/>
                  </a:lnTo>
                  <a:lnTo>
                    <a:pt x="245" y="306"/>
                  </a:lnTo>
                  <a:lnTo>
                    <a:pt x="246" y="307"/>
                  </a:lnTo>
                  <a:lnTo>
                    <a:pt x="247" y="307"/>
                  </a:lnTo>
                  <a:lnTo>
                    <a:pt x="249" y="308"/>
                  </a:lnTo>
                  <a:lnTo>
                    <a:pt x="250" y="309"/>
                  </a:lnTo>
                  <a:lnTo>
                    <a:pt x="251" y="309"/>
                  </a:lnTo>
                  <a:lnTo>
                    <a:pt x="252" y="310"/>
                  </a:lnTo>
                  <a:lnTo>
                    <a:pt x="253" y="311"/>
                  </a:lnTo>
                  <a:lnTo>
                    <a:pt x="254" y="312"/>
                  </a:lnTo>
                  <a:lnTo>
                    <a:pt x="255" y="313"/>
                  </a:lnTo>
                  <a:lnTo>
                    <a:pt x="256" y="313"/>
                  </a:lnTo>
                  <a:lnTo>
                    <a:pt x="260" y="315"/>
                  </a:lnTo>
                  <a:lnTo>
                    <a:pt x="262" y="316"/>
                  </a:lnTo>
                  <a:lnTo>
                    <a:pt x="263" y="316"/>
                  </a:lnTo>
                  <a:lnTo>
                    <a:pt x="264" y="316"/>
                  </a:lnTo>
                  <a:lnTo>
                    <a:pt x="267" y="317"/>
                  </a:lnTo>
                  <a:lnTo>
                    <a:pt x="268" y="317"/>
                  </a:lnTo>
                  <a:lnTo>
                    <a:pt x="269" y="317"/>
                  </a:lnTo>
                  <a:lnTo>
                    <a:pt x="269" y="317"/>
                  </a:lnTo>
                  <a:lnTo>
                    <a:pt x="270" y="317"/>
                  </a:lnTo>
                  <a:lnTo>
                    <a:pt x="271" y="317"/>
                  </a:lnTo>
                  <a:lnTo>
                    <a:pt x="273" y="316"/>
                  </a:lnTo>
                  <a:lnTo>
                    <a:pt x="275" y="315"/>
                  </a:lnTo>
                  <a:lnTo>
                    <a:pt x="277" y="314"/>
                  </a:lnTo>
                  <a:lnTo>
                    <a:pt x="278" y="314"/>
                  </a:lnTo>
                  <a:lnTo>
                    <a:pt x="283" y="312"/>
                  </a:lnTo>
                  <a:lnTo>
                    <a:pt x="284" y="312"/>
                  </a:lnTo>
                  <a:lnTo>
                    <a:pt x="287" y="311"/>
                  </a:lnTo>
                  <a:lnTo>
                    <a:pt x="287" y="311"/>
                  </a:lnTo>
                  <a:lnTo>
                    <a:pt x="288" y="311"/>
                  </a:lnTo>
                  <a:lnTo>
                    <a:pt x="289" y="311"/>
                  </a:lnTo>
                  <a:lnTo>
                    <a:pt x="289" y="311"/>
                  </a:lnTo>
                  <a:lnTo>
                    <a:pt x="290" y="311"/>
                  </a:lnTo>
                  <a:lnTo>
                    <a:pt x="290" y="311"/>
                  </a:lnTo>
                  <a:lnTo>
                    <a:pt x="291" y="312"/>
                  </a:lnTo>
                  <a:lnTo>
                    <a:pt x="291" y="312"/>
                  </a:lnTo>
                  <a:lnTo>
                    <a:pt x="292" y="313"/>
                  </a:lnTo>
                  <a:lnTo>
                    <a:pt x="292" y="314"/>
                  </a:lnTo>
                  <a:lnTo>
                    <a:pt x="293" y="315"/>
                  </a:lnTo>
                  <a:lnTo>
                    <a:pt x="293" y="316"/>
                  </a:lnTo>
                  <a:lnTo>
                    <a:pt x="294" y="317"/>
                  </a:lnTo>
                  <a:lnTo>
                    <a:pt x="294" y="318"/>
                  </a:lnTo>
                  <a:lnTo>
                    <a:pt x="295" y="320"/>
                  </a:lnTo>
                  <a:lnTo>
                    <a:pt x="295" y="321"/>
                  </a:lnTo>
                  <a:lnTo>
                    <a:pt x="295" y="323"/>
                  </a:lnTo>
                  <a:lnTo>
                    <a:pt x="295" y="324"/>
                  </a:lnTo>
                  <a:lnTo>
                    <a:pt x="295" y="325"/>
                  </a:lnTo>
                  <a:lnTo>
                    <a:pt x="295" y="326"/>
                  </a:lnTo>
                  <a:lnTo>
                    <a:pt x="295" y="327"/>
                  </a:lnTo>
                  <a:lnTo>
                    <a:pt x="295" y="328"/>
                  </a:lnTo>
                  <a:lnTo>
                    <a:pt x="294" y="332"/>
                  </a:lnTo>
                  <a:lnTo>
                    <a:pt x="293" y="334"/>
                  </a:lnTo>
                  <a:lnTo>
                    <a:pt x="293" y="335"/>
                  </a:lnTo>
                  <a:lnTo>
                    <a:pt x="293" y="336"/>
                  </a:lnTo>
                  <a:lnTo>
                    <a:pt x="293" y="337"/>
                  </a:lnTo>
                  <a:lnTo>
                    <a:pt x="293" y="338"/>
                  </a:lnTo>
                  <a:lnTo>
                    <a:pt x="293" y="340"/>
                  </a:lnTo>
                  <a:lnTo>
                    <a:pt x="293" y="341"/>
                  </a:lnTo>
                  <a:lnTo>
                    <a:pt x="294" y="343"/>
                  </a:lnTo>
                  <a:lnTo>
                    <a:pt x="294" y="345"/>
                  </a:lnTo>
                  <a:lnTo>
                    <a:pt x="294" y="346"/>
                  </a:lnTo>
                  <a:lnTo>
                    <a:pt x="295" y="347"/>
                  </a:lnTo>
                  <a:lnTo>
                    <a:pt x="295" y="348"/>
                  </a:lnTo>
                  <a:lnTo>
                    <a:pt x="296" y="349"/>
                  </a:lnTo>
                  <a:lnTo>
                    <a:pt x="296" y="349"/>
                  </a:lnTo>
                  <a:lnTo>
                    <a:pt x="297" y="350"/>
                  </a:lnTo>
                  <a:lnTo>
                    <a:pt x="298" y="351"/>
                  </a:lnTo>
                  <a:lnTo>
                    <a:pt x="299" y="351"/>
                  </a:lnTo>
                  <a:lnTo>
                    <a:pt x="300" y="352"/>
                  </a:lnTo>
                  <a:lnTo>
                    <a:pt x="301" y="353"/>
                  </a:lnTo>
                  <a:lnTo>
                    <a:pt x="302" y="353"/>
                  </a:lnTo>
                  <a:lnTo>
                    <a:pt x="303" y="354"/>
                  </a:lnTo>
                  <a:lnTo>
                    <a:pt x="304" y="354"/>
                  </a:lnTo>
                  <a:lnTo>
                    <a:pt x="304" y="354"/>
                  </a:lnTo>
                  <a:lnTo>
                    <a:pt x="305" y="354"/>
                  </a:lnTo>
                  <a:lnTo>
                    <a:pt x="306" y="353"/>
                  </a:lnTo>
                  <a:lnTo>
                    <a:pt x="306" y="353"/>
                  </a:lnTo>
                  <a:lnTo>
                    <a:pt x="307" y="353"/>
                  </a:lnTo>
                  <a:lnTo>
                    <a:pt x="308" y="352"/>
                  </a:lnTo>
                  <a:lnTo>
                    <a:pt x="309" y="352"/>
                  </a:lnTo>
                  <a:lnTo>
                    <a:pt x="309" y="351"/>
                  </a:lnTo>
                  <a:lnTo>
                    <a:pt x="310" y="351"/>
                  </a:lnTo>
                  <a:lnTo>
                    <a:pt x="310" y="351"/>
                  </a:lnTo>
                  <a:lnTo>
                    <a:pt x="310" y="351"/>
                  </a:lnTo>
                  <a:lnTo>
                    <a:pt x="311" y="351"/>
                  </a:lnTo>
                  <a:lnTo>
                    <a:pt x="311" y="352"/>
                  </a:lnTo>
                  <a:lnTo>
                    <a:pt x="312" y="352"/>
                  </a:lnTo>
                  <a:lnTo>
                    <a:pt x="313" y="353"/>
                  </a:lnTo>
                  <a:lnTo>
                    <a:pt x="313" y="354"/>
                  </a:lnTo>
                  <a:lnTo>
                    <a:pt x="314" y="355"/>
                  </a:lnTo>
                  <a:lnTo>
                    <a:pt x="316" y="356"/>
                  </a:lnTo>
                  <a:lnTo>
                    <a:pt x="317" y="358"/>
                  </a:lnTo>
                  <a:lnTo>
                    <a:pt x="317" y="359"/>
                  </a:lnTo>
                  <a:lnTo>
                    <a:pt x="318" y="360"/>
                  </a:lnTo>
                  <a:lnTo>
                    <a:pt x="319" y="362"/>
                  </a:lnTo>
                  <a:lnTo>
                    <a:pt x="320" y="363"/>
                  </a:lnTo>
                  <a:lnTo>
                    <a:pt x="321" y="365"/>
                  </a:lnTo>
                  <a:lnTo>
                    <a:pt x="322" y="366"/>
                  </a:lnTo>
                  <a:lnTo>
                    <a:pt x="322" y="367"/>
                  </a:lnTo>
                  <a:lnTo>
                    <a:pt x="323" y="367"/>
                  </a:lnTo>
                  <a:lnTo>
                    <a:pt x="324" y="368"/>
                  </a:lnTo>
                  <a:lnTo>
                    <a:pt x="331" y="374"/>
                  </a:lnTo>
                  <a:lnTo>
                    <a:pt x="333" y="374"/>
                  </a:lnTo>
                  <a:lnTo>
                    <a:pt x="334" y="376"/>
                  </a:lnTo>
                  <a:lnTo>
                    <a:pt x="337" y="379"/>
                  </a:lnTo>
                  <a:lnTo>
                    <a:pt x="339" y="381"/>
                  </a:lnTo>
                  <a:lnTo>
                    <a:pt x="340" y="382"/>
                  </a:lnTo>
                  <a:lnTo>
                    <a:pt x="342" y="384"/>
                  </a:lnTo>
                  <a:lnTo>
                    <a:pt x="343" y="386"/>
                  </a:lnTo>
                  <a:lnTo>
                    <a:pt x="345" y="389"/>
                  </a:lnTo>
                  <a:lnTo>
                    <a:pt x="346" y="392"/>
                  </a:lnTo>
                  <a:lnTo>
                    <a:pt x="347" y="393"/>
                  </a:lnTo>
                  <a:lnTo>
                    <a:pt x="347" y="393"/>
                  </a:lnTo>
                  <a:lnTo>
                    <a:pt x="347" y="394"/>
                  </a:lnTo>
                  <a:lnTo>
                    <a:pt x="347" y="395"/>
                  </a:lnTo>
                  <a:lnTo>
                    <a:pt x="347" y="395"/>
                  </a:lnTo>
                  <a:lnTo>
                    <a:pt x="347" y="396"/>
                  </a:lnTo>
                  <a:lnTo>
                    <a:pt x="347" y="397"/>
                  </a:lnTo>
                  <a:lnTo>
                    <a:pt x="346" y="398"/>
                  </a:lnTo>
                  <a:lnTo>
                    <a:pt x="346" y="399"/>
                  </a:lnTo>
                  <a:lnTo>
                    <a:pt x="345" y="400"/>
                  </a:lnTo>
                  <a:lnTo>
                    <a:pt x="345" y="401"/>
                  </a:lnTo>
                  <a:lnTo>
                    <a:pt x="345" y="401"/>
                  </a:lnTo>
                  <a:lnTo>
                    <a:pt x="345" y="402"/>
                  </a:lnTo>
                  <a:lnTo>
                    <a:pt x="346" y="403"/>
                  </a:lnTo>
                  <a:lnTo>
                    <a:pt x="346" y="404"/>
                  </a:lnTo>
                  <a:lnTo>
                    <a:pt x="347" y="404"/>
                  </a:lnTo>
                  <a:lnTo>
                    <a:pt x="347" y="405"/>
                  </a:lnTo>
                  <a:lnTo>
                    <a:pt x="347" y="405"/>
                  </a:lnTo>
                  <a:lnTo>
                    <a:pt x="348" y="405"/>
                  </a:lnTo>
                  <a:lnTo>
                    <a:pt x="349" y="405"/>
                  </a:lnTo>
                  <a:lnTo>
                    <a:pt x="349" y="405"/>
                  </a:lnTo>
                  <a:lnTo>
                    <a:pt x="349" y="405"/>
                  </a:lnTo>
                  <a:lnTo>
                    <a:pt x="350" y="405"/>
                  </a:lnTo>
                  <a:lnTo>
                    <a:pt x="352" y="403"/>
                  </a:lnTo>
                  <a:lnTo>
                    <a:pt x="353" y="402"/>
                  </a:lnTo>
                  <a:lnTo>
                    <a:pt x="354" y="401"/>
                  </a:lnTo>
                  <a:lnTo>
                    <a:pt x="355" y="401"/>
                  </a:lnTo>
                  <a:lnTo>
                    <a:pt x="356" y="401"/>
                  </a:lnTo>
                  <a:lnTo>
                    <a:pt x="357" y="400"/>
                  </a:lnTo>
                  <a:lnTo>
                    <a:pt x="357" y="400"/>
                  </a:lnTo>
                  <a:lnTo>
                    <a:pt x="358" y="400"/>
                  </a:lnTo>
                  <a:lnTo>
                    <a:pt x="358" y="401"/>
                  </a:lnTo>
                  <a:lnTo>
                    <a:pt x="359" y="401"/>
                  </a:lnTo>
                  <a:lnTo>
                    <a:pt x="359" y="401"/>
                  </a:lnTo>
                  <a:lnTo>
                    <a:pt x="359" y="401"/>
                  </a:lnTo>
                  <a:lnTo>
                    <a:pt x="360" y="402"/>
                  </a:lnTo>
                  <a:lnTo>
                    <a:pt x="361" y="403"/>
                  </a:lnTo>
                  <a:lnTo>
                    <a:pt x="362" y="404"/>
                  </a:lnTo>
                  <a:lnTo>
                    <a:pt x="362" y="405"/>
                  </a:lnTo>
                  <a:lnTo>
                    <a:pt x="364" y="408"/>
                  </a:lnTo>
                  <a:lnTo>
                    <a:pt x="365" y="411"/>
                  </a:lnTo>
                  <a:lnTo>
                    <a:pt x="365" y="411"/>
                  </a:lnTo>
                  <a:lnTo>
                    <a:pt x="365" y="412"/>
                  </a:lnTo>
                  <a:lnTo>
                    <a:pt x="365" y="412"/>
                  </a:lnTo>
                  <a:lnTo>
                    <a:pt x="365" y="413"/>
                  </a:lnTo>
                  <a:lnTo>
                    <a:pt x="365" y="413"/>
                  </a:lnTo>
                  <a:lnTo>
                    <a:pt x="364" y="414"/>
                  </a:lnTo>
                  <a:lnTo>
                    <a:pt x="364" y="415"/>
                  </a:lnTo>
                  <a:lnTo>
                    <a:pt x="363" y="416"/>
                  </a:lnTo>
                  <a:lnTo>
                    <a:pt x="362" y="418"/>
                  </a:lnTo>
                  <a:lnTo>
                    <a:pt x="361" y="419"/>
                  </a:lnTo>
                  <a:lnTo>
                    <a:pt x="361" y="420"/>
                  </a:lnTo>
                  <a:lnTo>
                    <a:pt x="360" y="421"/>
                  </a:lnTo>
                  <a:lnTo>
                    <a:pt x="360" y="421"/>
                  </a:lnTo>
                  <a:lnTo>
                    <a:pt x="359" y="422"/>
                  </a:lnTo>
                  <a:lnTo>
                    <a:pt x="358" y="422"/>
                  </a:lnTo>
                  <a:lnTo>
                    <a:pt x="358" y="422"/>
                  </a:lnTo>
                  <a:lnTo>
                    <a:pt x="357" y="423"/>
                  </a:lnTo>
                  <a:lnTo>
                    <a:pt x="357" y="423"/>
                  </a:lnTo>
                  <a:lnTo>
                    <a:pt x="356" y="423"/>
                  </a:lnTo>
                  <a:lnTo>
                    <a:pt x="355" y="423"/>
                  </a:lnTo>
                  <a:lnTo>
                    <a:pt x="355" y="423"/>
                  </a:lnTo>
                  <a:lnTo>
                    <a:pt x="354" y="423"/>
                  </a:lnTo>
                  <a:lnTo>
                    <a:pt x="353" y="423"/>
                  </a:lnTo>
                  <a:lnTo>
                    <a:pt x="351" y="422"/>
                  </a:lnTo>
                  <a:lnTo>
                    <a:pt x="348" y="422"/>
                  </a:lnTo>
                  <a:lnTo>
                    <a:pt x="347" y="421"/>
                  </a:lnTo>
                  <a:lnTo>
                    <a:pt x="346" y="421"/>
                  </a:lnTo>
                  <a:lnTo>
                    <a:pt x="345" y="421"/>
                  </a:lnTo>
                  <a:lnTo>
                    <a:pt x="344" y="421"/>
                  </a:lnTo>
                  <a:lnTo>
                    <a:pt x="344" y="421"/>
                  </a:lnTo>
                  <a:lnTo>
                    <a:pt x="344" y="422"/>
                  </a:lnTo>
                  <a:lnTo>
                    <a:pt x="343" y="423"/>
                  </a:lnTo>
                  <a:lnTo>
                    <a:pt x="342" y="424"/>
                  </a:lnTo>
                  <a:lnTo>
                    <a:pt x="341" y="426"/>
                  </a:lnTo>
                  <a:lnTo>
                    <a:pt x="341" y="426"/>
                  </a:lnTo>
                  <a:lnTo>
                    <a:pt x="340" y="427"/>
                  </a:lnTo>
                  <a:lnTo>
                    <a:pt x="340" y="428"/>
                  </a:lnTo>
                  <a:lnTo>
                    <a:pt x="339" y="428"/>
                  </a:lnTo>
                  <a:lnTo>
                    <a:pt x="338" y="429"/>
                  </a:lnTo>
                  <a:lnTo>
                    <a:pt x="336" y="430"/>
                  </a:lnTo>
                  <a:lnTo>
                    <a:pt x="335" y="431"/>
                  </a:lnTo>
                  <a:lnTo>
                    <a:pt x="334" y="432"/>
                  </a:lnTo>
                  <a:lnTo>
                    <a:pt x="333" y="434"/>
                  </a:lnTo>
                  <a:lnTo>
                    <a:pt x="331" y="436"/>
                  </a:lnTo>
                  <a:lnTo>
                    <a:pt x="330" y="436"/>
                  </a:lnTo>
                  <a:lnTo>
                    <a:pt x="330" y="437"/>
                  </a:lnTo>
                  <a:lnTo>
                    <a:pt x="330" y="438"/>
                  </a:lnTo>
                  <a:lnTo>
                    <a:pt x="330" y="438"/>
                  </a:lnTo>
                  <a:lnTo>
                    <a:pt x="329" y="439"/>
                  </a:lnTo>
                  <a:lnTo>
                    <a:pt x="329" y="442"/>
                  </a:lnTo>
                  <a:lnTo>
                    <a:pt x="329" y="443"/>
                  </a:lnTo>
                  <a:lnTo>
                    <a:pt x="329" y="444"/>
                  </a:lnTo>
                  <a:lnTo>
                    <a:pt x="329" y="446"/>
                  </a:lnTo>
                  <a:lnTo>
                    <a:pt x="328" y="447"/>
                  </a:lnTo>
                  <a:lnTo>
                    <a:pt x="327" y="450"/>
                  </a:lnTo>
                  <a:lnTo>
                    <a:pt x="326" y="453"/>
                  </a:lnTo>
                  <a:lnTo>
                    <a:pt x="325" y="456"/>
                  </a:lnTo>
                  <a:lnTo>
                    <a:pt x="324" y="456"/>
                  </a:lnTo>
                  <a:lnTo>
                    <a:pt x="324" y="457"/>
                  </a:lnTo>
                  <a:lnTo>
                    <a:pt x="323" y="457"/>
                  </a:lnTo>
                  <a:lnTo>
                    <a:pt x="323" y="458"/>
                  </a:lnTo>
                  <a:lnTo>
                    <a:pt x="322" y="458"/>
                  </a:lnTo>
                  <a:lnTo>
                    <a:pt x="322" y="458"/>
                  </a:lnTo>
                  <a:lnTo>
                    <a:pt x="321" y="459"/>
                  </a:lnTo>
                  <a:lnTo>
                    <a:pt x="318" y="460"/>
                  </a:lnTo>
                  <a:lnTo>
                    <a:pt x="316" y="460"/>
                  </a:lnTo>
                  <a:lnTo>
                    <a:pt x="315" y="460"/>
                  </a:lnTo>
                  <a:lnTo>
                    <a:pt x="314" y="460"/>
                  </a:lnTo>
                  <a:lnTo>
                    <a:pt x="312" y="460"/>
                  </a:lnTo>
                  <a:lnTo>
                    <a:pt x="311" y="460"/>
                  </a:lnTo>
                  <a:lnTo>
                    <a:pt x="310" y="459"/>
                  </a:lnTo>
                  <a:lnTo>
                    <a:pt x="309" y="459"/>
                  </a:lnTo>
                  <a:lnTo>
                    <a:pt x="308" y="458"/>
                  </a:lnTo>
                  <a:lnTo>
                    <a:pt x="307" y="458"/>
                  </a:lnTo>
                  <a:lnTo>
                    <a:pt x="306" y="457"/>
                  </a:lnTo>
                  <a:lnTo>
                    <a:pt x="306" y="457"/>
                  </a:lnTo>
                  <a:lnTo>
                    <a:pt x="304" y="455"/>
                  </a:lnTo>
                  <a:lnTo>
                    <a:pt x="303" y="454"/>
                  </a:lnTo>
                  <a:lnTo>
                    <a:pt x="302" y="453"/>
                  </a:lnTo>
                  <a:lnTo>
                    <a:pt x="301" y="452"/>
                  </a:lnTo>
                  <a:lnTo>
                    <a:pt x="300" y="452"/>
                  </a:lnTo>
                  <a:lnTo>
                    <a:pt x="299" y="451"/>
                  </a:lnTo>
                  <a:lnTo>
                    <a:pt x="298" y="451"/>
                  </a:lnTo>
                  <a:lnTo>
                    <a:pt x="297" y="451"/>
                  </a:lnTo>
                  <a:lnTo>
                    <a:pt x="296" y="451"/>
                  </a:lnTo>
                  <a:lnTo>
                    <a:pt x="296" y="451"/>
                  </a:lnTo>
                  <a:lnTo>
                    <a:pt x="295" y="452"/>
                  </a:lnTo>
                  <a:lnTo>
                    <a:pt x="294" y="452"/>
                  </a:lnTo>
                  <a:lnTo>
                    <a:pt x="294" y="452"/>
                  </a:lnTo>
                  <a:lnTo>
                    <a:pt x="293" y="453"/>
                  </a:lnTo>
                  <a:lnTo>
                    <a:pt x="292" y="456"/>
                  </a:lnTo>
                  <a:lnTo>
                    <a:pt x="291" y="456"/>
                  </a:lnTo>
                  <a:lnTo>
                    <a:pt x="291" y="456"/>
                  </a:lnTo>
                  <a:lnTo>
                    <a:pt x="291" y="457"/>
                  </a:lnTo>
                  <a:lnTo>
                    <a:pt x="290" y="457"/>
                  </a:lnTo>
                  <a:lnTo>
                    <a:pt x="290" y="457"/>
                  </a:lnTo>
                  <a:lnTo>
                    <a:pt x="290" y="457"/>
                  </a:lnTo>
                  <a:lnTo>
                    <a:pt x="289" y="457"/>
                  </a:lnTo>
                  <a:lnTo>
                    <a:pt x="288" y="457"/>
                  </a:lnTo>
                  <a:lnTo>
                    <a:pt x="287" y="457"/>
                  </a:lnTo>
                  <a:lnTo>
                    <a:pt x="286" y="457"/>
                  </a:lnTo>
                  <a:lnTo>
                    <a:pt x="285" y="456"/>
                  </a:lnTo>
                  <a:lnTo>
                    <a:pt x="285" y="456"/>
                  </a:lnTo>
                  <a:lnTo>
                    <a:pt x="284" y="456"/>
                  </a:lnTo>
                  <a:lnTo>
                    <a:pt x="283" y="457"/>
                  </a:lnTo>
                  <a:lnTo>
                    <a:pt x="282" y="457"/>
                  </a:lnTo>
                  <a:lnTo>
                    <a:pt x="282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8"/>
                  </a:lnTo>
                  <a:lnTo>
                    <a:pt x="281" y="458"/>
                  </a:lnTo>
                  <a:lnTo>
                    <a:pt x="281" y="458"/>
                  </a:lnTo>
                  <a:lnTo>
                    <a:pt x="281" y="459"/>
                  </a:lnTo>
                  <a:lnTo>
                    <a:pt x="281" y="459"/>
                  </a:lnTo>
                  <a:lnTo>
                    <a:pt x="281" y="460"/>
                  </a:lnTo>
                  <a:lnTo>
                    <a:pt x="281" y="461"/>
                  </a:lnTo>
                  <a:lnTo>
                    <a:pt x="283" y="465"/>
                  </a:lnTo>
                  <a:lnTo>
                    <a:pt x="284" y="467"/>
                  </a:lnTo>
                  <a:lnTo>
                    <a:pt x="284" y="468"/>
                  </a:lnTo>
                  <a:lnTo>
                    <a:pt x="285" y="469"/>
                  </a:lnTo>
                  <a:lnTo>
                    <a:pt x="285" y="470"/>
                  </a:lnTo>
                  <a:lnTo>
                    <a:pt x="285" y="471"/>
                  </a:lnTo>
                  <a:lnTo>
                    <a:pt x="285" y="471"/>
                  </a:lnTo>
                  <a:lnTo>
                    <a:pt x="284" y="472"/>
                  </a:lnTo>
                  <a:lnTo>
                    <a:pt x="284" y="473"/>
                  </a:lnTo>
                  <a:lnTo>
                    <a:pt x="284" y="474"/>
                  </a:lnTo>
                  <a:lnTo>
                    <a:pt x="283" y="475"/>
                  </a:lnTo>
                  <a:lnTo>
                    <a:pt x="282" y="476"/>
                  </a:lnTo>
                  <a:lnTo>
                    <a:pt x="282" y="476"/>
                  </a:lnTo>
                  <a:lnTo>
                    <a:pt x="281" y="477"/>
                  </a:lnTo>
                  <a:lnTo>
                    <a:pt x="280" y="478"/>
                  </a:lnTo>
                  <a:lnTo>
                    <a:pt x="280" y="478"/>
                  </a:lnTo>
                  <a:lnTo>
                    <a:pt x="279" y="478"/>
                  </a:lnTo>
                  <a:lnTo>
                    <a:pt x="278" y="479"/>
                  </a:lnTo>
                  <a:lnTo>
                    <a:pt x="277" y="479"/>
                  </a:lnTo>
                  <a:lnTo>
                    <a:pt x="276" y="479"/>
                  </a:lnTo>
                  <a:lnTo>
                    <a:pt x="275" y="479"/>
                  </a:lnTo>
                  <a:lnTo>
                    <a:pt x="274" y="479"/>
                  </a:lnTo>
                  <a:lnTo>
                    <a:pt x="273" y="479"/>
                  </a:lnTo>
                  <a:lnTo>
                    <a:pt x="273" y="479"/>
                  </a:lnTo>
                  <a:lnTo>
                    <a:pt x="272" y="479"/>
                  </a:lnTo>
                  <a:lnTo>
                    <a:pt x="271" y="479"/>
                  </a:lnTo>
                  <a:lnTo>
                    <a:pt x="270" y="478"/>
                  </a:lnTo>
                  <a:lnTo>
                    <a:pt x="268" y="478"/>
                  </a:lnTo>
                  <a:lnTo>
                    <a:pt x="268" y="477"/>
                  </a:lnTo>
                  <a:lnTo>
                    <a:pt x="267" y="477"/>
                  </a:lnTo>
                  <a:lnTo>
                    <a:pt x="266" y="477"/>
                  </a:lnTo>
                  <a:lnTo>
                    <a:pt x="265" y="477"/>
                  </a:lnTo>
                  <a:lnTo>
                    <a:pt x="263" y="477"/>
                  </a:lnTo>
                  <a:lnTo>
                    <a:pt x="262" y="477"/>
                  </a:lnTo>
                  <a:lnTo>
                    <a:pt x="260" y="477"/>
                  </a:lnTo>
                  <a:lnTo>
                    <a:pt x="258" y="477"/>
                  </a:lnTo>
                  <a:lnTo>
                    <a:pt x="256" y="477"/>
                  </a:lnTo>
                  <a:lnTo>
                    <a:pt x="255" y="478"/>
                  </a:lnTo>
                  <a:lnTo>
                    <a:pt x="253" y="478"/>
                  </a:lnTo>
                  <a:lnTo>
                    <a:pt x="251" y="479"/>
                  </a:lnTo>
                  <a:lnTo>
                    <a:pt x="248" y="480"/>
                  </a:lnTo>
                  <a:lnTo>
                    <a:pt x="247" y="480"/>
                  </a:lnTo>
                  <a:lnTo>
                    <a:pt x="247" y="480"/>
                  </a:lnTo>
                  <a:lnTo>
                    <a:pt x="247" y="480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2"/>
                  </a:lnTo>
                  <a:lnTo>
                    <a:pt x="246" y="483"/>
                  </a:lnTo>
                  <a:lnTo>
                    <a:pt x="245" y="485"/>
                  </a:lnTo>
                  <a:lnTo>
                    <a:pt x="245" y="487"/>
                  </a:lnTo>
                  <a:lnTo>
                    <a:pt x="245" y="488"/>
                  </a:lnTo>
                  <a:lnTo>
                    <a:pt x="244" y="488"/>
                  </a:lnTo>
                  <a:lnTo>
                    <a:pt x="244" y="489"/>
                  </a:lnTo>
                  <a:lnTo>
                    <a:pt x="243" y="490"/>
                  </a:lnTo>
                  <a:lnTo>
                    <a:pt x="242" y="492"/>
                  </a:lnTo>
                  <a:lnTo>
                    <a:pt x="242" y="493"/>
                  </a:lnTo>
                  <a:lnTo>
                    <a:pt x="241" y="494"/>
                  </a:lnTo>
                  <a:lnTo>
                    <a:pt x="240" y="495"/>
                  </a:lnTo>
                  <a:lnTo>
                    <a:pt x="240" y="495"/>
                  </a:lnTo>
                  <a:lnTo>
                    <a:pt x="239" y="496"/>
                  </a:lnTo>
                  <a:lnTo>
                    <a:pt x="238" y="497"/>
                  </a:lnTo>
                  <a:lnTo>
                    <a:pt x="237" y="497"/>
                  </a:lnTo>
                  <a:lnTo>
                    <a:pt x="236" y="497"/>
                  </a:lnTo>
                  <a:lnTo>
                    <a:pt x="236" y="497"/>
                  </a:lnTo>
                  <a:lnTo>
                    <a:pt x="235" y="497"/>
                  </a:lnTo>
                  <a:lnTo>
                    <a:pt x="234" y="497"/>
                  </a:lnTo>
                  <a:lnTo>
                    <a:pt x="233" y="496"/>
                  </a:lnTo>
                  <a:lnTo>
                    <a:pt x="230" y="494"/>
                  </a:lnTo>
                  <a:lnTo>
                    <a:pt x="229" y="493"/>
                  </a:lnTo>
                  <a:lnTo>
                    <a:pt x="228" y="492"/>
                  </a:lnTo>
                  <a:lnTo>
                    <a:pt x="227" y="492"/>
                  </a:lnTo>
                  <a:lnTo>
                    <a:pt x="227" y="491"/>
                  </a:lnTo>
                  <a:lnTo>
                    <a:pt x="226" y="491"/>
                  </a:lnTo>
                  <a:lnTo>
                    <a:pt x="225" y="491"/>
                  </a:lnTo>
                  <a:lnTo>
                    <a:pt x="224" y="491"/>
                  </a:lnTo>
                  <a:lnTo>
                    <a:pt x="223" y="491"/>
                  </a:lnTo>
                  <a:lnTo>
                    <a:pt x="221" y="491"/>
                  </a:lnTo>
                  <a:lnTo>
                    <a:pt x="219" y="490"/>
                  </a:lnTo>
                  <a:lnTo>
                    <a:pt x="217" y="490"/>
                  </a:lnTo>
                  <a:lnTo>
                    <a:pt x="215" y="489"/>
                  </a:lnTo>
                  <a:lnTo>
                    <a:pt x="213" y="489"/>
                  </a:lnTo>
                  <a:lnTo>
                    <a:pt x="212" y="488"/>
                  </a:lnTo>
                  <a:lnTo>
                    <a:pt x="211" y="488"/>
                  </a:lnTo>
                  <a:lnTo>
                    <a:pt x="208" y="488"/>
                  </a:lnTo>
                  <a:lnTo>
                    <a:pt x="208" y="488"/>
                  </a:lnTo>
                  <a:lnTo>
                    <a:pt x="207" y="488"/>
                  </a:lnTo>
                  <a:lnTo>
                    <a:pt x="207" y="487"/>
                  </a:lnTo>
                  <a:lnTo>
                    <a:pt x="206" y="487"/>
                  </a:lnTo>
                  <a:lnTo>
                    <a:pt x="206" y="486"/>
                  </a:lnTo>
                  <a:lnTo>
                    <a:pt x="206" y="486"/>
                  </a:lnTo>
                  <a:lnTo>
                    <a:pt x="205" y="485"/>
                  </a:lnTo>
                  <a:lnTo>
                    <a:pt x="205" y="484"/>
                  </a:lnTo>
                  <a:lnTo>
                    <a:pt x="205" y="481"/>
                  </a:lnTo>
                  <a:lnTo>
                    <a:pt x="205" y="480"/>
                  </a:lnTo>
                  <a:lnTo>
                    <a:pt x="204" y="480"/>
                  </a:lnTo>
                  <a:lnTo>
                    <a:pt x="204" y="479"/>
                  </a:lnTo>
                  <a:lnTo>
                    <a:pt x="204" y="478"/>
                  </a:lnTo>
                  <a:lnTo>
                    <a:pt x="203" y="478"/>
                  </a:lnTo>
                  <a:lnTo>
                    <a:pt x="203" y="477"/>
                  </a:lnTo>
                  <a:lnTo>
                    <a:pt x="202" y="477"/>
                  </a:lnTo>
                  <a:lnTo>
                    <a:pt x="202" y="477"/>
                  </a:lnTo>
                  <a:lnTo>
                    <a:pt x="201" y="477"/>
                  </a:lnTo>
                  <a:lnTo>
                    <a:pt x="201" y="477"/>
                  </a:lnTo>
                  <a:lnTo>
                    <a:pt x="200" y="477"/>
                  </a:lnTo>
                  <a:lnTo>
                    <a:pt x="199" y="478"/>
                  </a:lnTo>
                  <a:lnTo>
                    <a:pt x="199" y="478"/>
                  </a:lnTo>
                  <a:lnTo>
                    <a:pt x="199" y="478"/>
                  </a:lnTo>
                  <a:lnTo>
                    <a:pt x="198" y="479"/>
                  </a:lnTo>
                  <a:lnTo>
                    <a:pt x="198" y="479"/>
                  </a:lnTo>
                  <a:lnTo>
                    <a:pt x="197" y="480"/>
                  </a:lnTo>
                  <a:lnTo>
                    <a:pt x="195" y="484"/>
                  </a:lnTo>
                  <a:lnTo>
                    <a:pt x="194" y="486"/>
                  </a:lnTo>
                  <a:lnTo>
                    <a:pt x="194" y="487"/>
                  </a:lnTo>
                  <a:lnTo>
                    <a:pt x="193" y="488"/>
                  </a:lnTo>
                  <a:lnTo>
                    <a:pt x="193" y="489"/>
                  </a:lnTo>
                  <a:lnTo>
                    <a:pt x="193" y="490"/>
                  </a:lnTo>
                  <a:lnTo>
                    <a:pt x="193" y="491"/>
                  </a:lnTo>
                  <a:lnTo>
                    <a:pt x="193" y="493"/>
                  </a:lnTo>
                  <a:lnTo>
                    <a:pt x="194" y="494"/>
                  </a:lnTo>
                  <a:lnTo>
                    <a:pt x="194" y="496"/>
                  </a:lnTo>
                  <a:lnTo>
                    <a:pt x="195" y="497"/>
                  </a:lnTo>
                  <a:lnTo>
                    <a:pt x="196" y="499"/>
                  </a:lnTo>
                  <a:lnTo>
                    <a:pt x="197" y="501"/>
                  </a:lnTo>
                  <a:lnTo>
                    <a:pt x="197" y="502"/>
                  </a:lnTo>
                  <a:lnTo>
                    <a:pt x="197" y="503"/>
                  </a:lnTo>
                  <a:lnTo>
                    <a:pt x="197" y="504"/>
                  </a:lnTo>
                  <a:lnTo>
                    <a:pt x="197" y="505"/>
                  </a:lnTo>
                  <a:lnTo>
                    <a:pt x="197" y="506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6" y="508"/>
                  </a:lnTo>
                  <a:lnTo>
                    <a:pt x="195" y="509"/>
                  </a:lnTo>
                  <a:lnTo>
                    <a:pt x="193" y="511"/>
                  </a:lnTo>
                  <a:lnTo>
                    <a:pt x="191" y="513"/>
                  </a:lnTo>
                  <a:lnTo>
                    <a:pt x="190" y="514"/>
                  </a:lnTo>
                  <a:lnTo>
                    <a:pt x="189" y="514"/>
                  </a:lnTo>
                  <a:lnTo>
                    <a:pt x="189" y="515"/>
                  </a:lnTo>
                  <a:lnTo>
                    <a:pt x="188" y="516"/>
                  </a:lnTo>
                  <a:lnTo>
                    <a:pt x="186" y="519"/>
                  </a:lnTo>
                  <a:lnTo>
                    <a:pt x="184" y="521"/>
                  </a:lnTo>
                  <a:lnTo>
                    <a:pt x="182" y="524"/>
                  </a:lnTo>
                  <a:lnTo>
                    <a:pt x="181" y="525"/>
                  </a:lnTo>
                  <a:lnTo>
                    <a:pt x="180" y="526"/>
                  </a:lnTo>
                  <a:lnTo>
                    <a:pt x="180" y="527"/>
                  </a:lnTo>
                  <a:lnTo>
                    <a:pt x="179" y="527"/>
                  </a:lnTo>
                  <a:lnTo>
                    <a:pt x="178" y="528"/>
                  </a:lnTo>
                  <a:lnTo>
                    <a:pt x="177" y="528"/>
                  </a:lnTo>
                  <a:lnTo>
                    <a:pt x="177" y="529"/>
                  </a:lnTo>
                  <a:lnTo>
                    <a:pt x="176" y="529"/>
                  </a:lnTo>
                  <a:lnTo>
                    <a:pt x="175" y="529"/>
                  </a:lnTo>
                  <a:lnTo>
                    <a:pt x="174" y="529"/>
                  </a:lnTo>
                  <a:lnTo>
                    <a:pt x="174" y="529"/>
                  </a:lnTo>
                  <a:lnTo>
                    <a:pt x="170" y="529"/>
                  </a:lnTo>
                  <a:lnTo>
                    <a:pt x="169" y="530"/>
                  </a:lnTo>
                  <a:lnTo>
                    <a:pt x="165" y="530"/>
                  </a:lnTo>
                  <a:lnTo>
                    <a:pt x="163" y="530"/>
                  </a:lnTo>
                  <a:lnTo>
                    <a:pt x="162" y="531"/>
                  </a:lnTo>
                  <a:lnTo>
                    <a:pt x="156" y="532"/>
                  </a:lnTo>
                  <a:lnTo>
                    <a:pt x="155" y="532"/>
                  </a:lnTo>
                  <a:lnTo>
                    <a:pt x="153" y="532"/>
                  </a:lnTo>
                  <a:lnTo>
                    <a:pt x="152" y="532"/>
                  </a:lnTo>
                  <a:lnTo>
                    <a:pt x="151" y="533"/>
                  </a:lnTo>
                  <a:lnTo>
                    <a:pt x="151" y="533"/>
                  </a:lnTo>
                  <a:lnTo>
                    <a:pt x="150" y="533"/>
                  </a:lnTo>
                  <a:lnTo>
                    <a:pt x="149" y="534"/>
                  </a:lnTo>
                  <a:lnTo>
                    <a:pt x="148" y="535"/>
                  </a:lnTo>
                  <a:lnTo>
                    <a:pt x="148" y="536"/>
                  </a:lnTo>
                  <a:lnTo>
                    <a:pt x="147" y="536"/>
                  </a:lnTo>
                  <a:lnTo>
                    <a:pt x="146" y="539"/>
                  </a:lnTo>
                  <a:lnTo>
                    <a:pt x="145" y="539"/>
                  </a:lnTo>
                  <a:lnTo>
                    <a:pt x="145" y="540"/>
                  </a:lnTo>
                  <a:lnTo>
                    <a:pt x="144" y="541"/>
                  </a:lnTo>
                  <a:lnTo>
                    <a:pt x="144" y="541"/>
                  </a:lnTo>
                  <a:lnTo>
                    <a:pt x="143" y="541"/>
                  </a:lnTo>
                  <a:lnTo>
                    <a:pt x="143" y="541"/>
                  </a:lnTo>
                  <a:lnTo>
                    <a:pt x="142" y="541"/>
                  </a:lnTo>
                  <a:lnTo>
                    <a:pt x="142" y="541"/>
                  </a:lnTo>
                  <a:lnTo>
                    <a:pt x="141" y="541"/>
                  </a:lnTo>
                  <a:lnTo>
                    <a:pt x="141" y="541"/>
                  </a:lnTo>
                  <a:lnTo>
                    <a:pt x="141" y="541"/>
                  </a:lnTo>
                  <a:lnTo>
                    <a:pt x="141" y="539"/>
                  </a:lnTo>
                  <a:lnTo>
                    <a:pt x="139" y="534"/>
                  </a:lnTo>
                  <a:lnTo>
                    <a:pt x="137" y="531"/>
                  </a:lnTo>
                  <a:lnTo>
                    <a:pt x="137" y="530"/>
                  </a:lnTo>
                  <a:lnTo>
                    <a:pt x="136" y="527"/>
                  </a:lnTo>
                  <a:lnTo>
                    <a:pt x="134" y="522"/>
                  </a:lnTo>
                  <a:lnTo>
                    <a:pt x="134" y="521"/>
                  </a:lnTo>
                  <a:lnTo>
                    <a:pt x="134" y="520"/>
                  </a:lnTo>
                  <a:lnTo>
                    <a:pt x="133" y="519"/>
                  </a:lnTo>
                  <a:lnTo>
                    <a:pt x="133" y="519"/>
                  </a:lnTo>
                  <a:lnTo>
                    <a:pt x="132" y="518"/>
                  </a:lnTo>
                  <a:lnTo>
                    <a:pt x="131" y="517"/>
                  </a:lnTo>
                  <a:lnTo>
                    <a:pt x="128" y="515"/>
                  </a:lnTo>
                  <a:lnTo>
                    <a:pt x="127" y="514"/>
                  </a:lnTo>
                  <a:lnTo>
                    <a:pt x="126" y="513"/>
                  </a:lnTo>
                  <a:lnTo>
                    <a:pt x="124" y="512"/>
                  </a:lnTo>
                  <a:lnTo>
                    <a:pt x="122" y="512"/>
                  </a:lnTo>
                  <a:lnTo>
                    <a:pt x="121" y="511"/>
                  </a:lnTo>
                  <a:lnTo>
                    <a:pt x="118" y="510"/>
                  </a:lnTo>
                  <a:lnTo>
                    <a:pt x="116" y="509"/>
                  </a:lnTo>
                  <a:lnTo>
                    <a:pt x="114" y="509"/>
                  </a:lnTo>
                  <a:lnTo>
                    <a:pt x="112" y="508"/>
                  </a:lnTo>
                  <a:lnTo>
                    <a:pt x="111" y="507"/>
                  </a:lnTo>
                  <a:lnTo>
                    <a:pt x="108" y="506"/>
                  </a:lnTo>
                  <a:lnTo>
                    <a:pt x="107" y="505"/>
                  </a:lnTo>
                  <a:lnTo>
                    <a:pt x="107" y="505"/>
                  </a:lnTo>
                  <a:lnTo>
                    <a:pt x="106" y="504"/>
                  </a:lnTo>
                  <a:lnTo>
                    <a:pt x="106" y="504"/>
                  </a:lnTo>
                  <a:lnTo>
                    <a:pt x="106" y="504"/>
                  </a:lnTo>
                  <a:lnTo>
                    <a:pt x="105" y="503"/>
                  </a:lnTo>
                  <a:lnTo>
                    <a:pt x="105" y="503"/>
                  </a:lnTo>
                  <a:lnTo>
                    <a:pt x="105" y="502"/>
                  </a:lnTo>
                  <a:lnTo>
                    <a:pt x="105" y="502"/>
                  </a:lnTo>
                  <a:lnTo>
                    <a:pt x="106" y="500"/>
                  </a:lnTo>
                  <a:lnTo>
                    <a:pt x="106" y="497"/>
                  </a:lnTo>
                  <a:lnTo>
                    <a:pt x="107" y="494"/>
                  </a:lnTo>
                  <a:lnTo>
                    <a:pt x="107" y="492"/>
                  </a:lnTo>
                  <a:lnTo>
                    <a:pt x="107" y="491"/>
                  </a:lnTo>
                  <a:lnTo>
                    <a:pt x="107" y="489"/>
                  </a:lnTo>
                  <a:lnTo>
                    <a:pt x="108" y="488"/>
                  </a:lnTo>
                  <a:lnTo>
                    <a:pt x="107" y="486"/>
                  </a:lnTo>
                  <a:lnTo>
                    <a:pt x="107" y="485"/>
                  </a:lnTo>
                  <a:lnTo>
                    <a:pt x="107" y="485"/>
                  </a:lnTo>
                  <a:lnTo>
                    <a:pt x="107" y="484"/>
                  </a:lnTo>
                  <a:lnTo>
                    <a:pt x="107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5" y="484"/>
                  </a:lnTo>
                  <a:lnTo>
                    <a:pt x="105" y="485"/>
                  </a:lnTo>
                  <a:lnTo>
                    <a:pt x="104" y="486"/>
                  </a:lnTo>
                  <a:lnTo>
                    <a:pt x="104" y="487"/>
                  </a:lnTo>
                  <a:lnTo>
                    <a:pt x="103" y="487"/>
                  </a:lnTo>
                  <a:lnTo>
                    <a:pt x="103" y="487"/>
                  </a:lnTo>
                  <a:lnTo>
                    <a:pt x="103" y="487"/>
                  </a:lnTo>
                  <a:lnTo>
                    <a:pt x="102" y="487"/>
                  </a:lnTo>
                  <a:lnTo>
                    <a:pt x="102" y="487"/>
                  </a:lnTo>
                  <a:lnTo>
                    <a:pt x="101" y="487"/>
                  </a:lnTo>
                  <a:lnTo>
                    <a:pt x="101" y="487"/>
                  </a:lnTo>
                  <a:lnTo>
                    <a:pt x="101" y="487"/>
                  </a:lnTo>
                  <a:lnTo>
                    <a:pt x="100" y="486"/>
                  </a:lnTo>
                  <a:lnTo>
                    <a:pt x="100" y="486"/>
                  </a:lnTo>
                  <a:lnTo>
                    <a:pt x="99" y="485"/>
                  </a:lnTo>
                  <a:lnTo>
                    <a:pt x="98" y="485"/>
                  </a:lnTo>
                  <a:lnTo>
                    <a:pt x="97" y="483"/>
                  </a:lnTo>
                  <a:lnTo>
                    <a:pt x="97" y="482"/>
                  </a:lnTo>
                  <a:lnTo>
                    <a:pt x="96" y="482"/>
                  </a:lnTo>
                  <a:lnTo>
                    <a:pt x="96" y="481"/>
                  </a:lnTo>
                  <a:lnTo>
                    <a:pt x="94" y="478"/>
                  </a:lnTo>
                  <a:lnTo>
                    <a:pt x="94" y="478"/>
                  </a:lnTo>
                  <a:lnTo>
                    <a:pt x="94" y="477"/>
                  </a:lnTo>
                  <a:lnTo>
                    <a:pt x="93" y="476"/>
                  </a:lnTo>
                  <a:lnTo>
                    <a:pt x="93" y="476"/>
                  </a:lnTo>
                  <a:lnTo>
                    <a:pt x="91" y="475"/>
                  </a:lnTo>
                  <a:lnTo>
                    <a:pt x="90" y="474"/>
                  </a:lnTo>
                  <a:lnTo>
                    <a:pt x="90" y="473"/>
                  </a:lnTo>
                  <a:lnTo>
                    <a:pt x="89" y="472"/>
                  </a:lnTo>
                  <a:lnTo>
                    <a:pt x="89" y="471"/>
                  </a:lnTo>
                  <a:lnTo>
                    <a:pt x="88" y="471"/>
                  </a:lnTo>
                  <a:lnTo>
                    <a:pt x="88" y="468"/>
                  </a:lnTo>
                  <a:lnTo>
                    <a:pt x="87" y="464"/>
                  </a:lnTo>
                  <a:lnTo>
                    <a:pt x="86" y="462"/>
                  </a:lnTo>
                  <a:lnTo>
                    <a:pt x="85" y="461"/>
                  </a:lnTo>
                  <a:lnTo>
                    <a:pt x="85" y="460"/>
                  </a:lnTo>
                  <a:lnTo>
                    <a:pt x="84" y="459"/>
                  </a:lnTo>
                  <a:lnTo>
                    <a:pt x="83" y="458"/>
                  </a:lnTo>
                  <a:lnTo>
                    <a:pt x="83" y="457"/>
                  </a:lnTo>
                  <a:lnTo>
                    <a:pt x="83" y="456"/>
                  </a:lnTo>
                  <a:lnTo>
                    <a:pt x="82" y="455"/>
                  </a:lnTo>
                  <a:lnTo>
                    <a:pt x="81" y="454"/>
                  </a:lnTo>
                  <a:lnTo>
                    <a:pt x="81" y="453"/>
                  </a:lnTo>
                  <a:lnTo>
                    <a:pt x="79" y="452"/>
                  </a:lnTo>
                  <a:lnTo>
                    <a:pt x="78" y="451"/>
                  </a:lnTo>
                  <a:lnTo>
                    <a:pt x="78" y="450"/>
                  </a:lnTo>
                  <a:lnTo>
                    <a:pt x="77" y="448"/>
                  </a:lnTo>
                  <a:lnTo>
                    <a:pt x="76" y="447"/>
                  </a:lnTo>
                  <a:lnTo>
                    <a:pt x="76" y="446"/>
                  </a:lnTo>
                  <a:lnTo>
                    <a:pt x="75" y="445"/>
                  </a:lnTo>
                  <a:lnTo>
                    <a:pt x="74" y="444"/>
                  </a:lnTo>
                  <a:lnTo>
                    <a:pt x="73" y="443"/>
                  </a:lnTo>
                  <a:lnTo>
                    <a:pt x="73" y="443"/>
                  </a:lnTo>
                  <a:lnTo>
                    <a:pt x="72" y="442"/>
                  </a:lnTo>
                  <a:lnTo>
                    <a:pt x="71" y="442"/>
                  </a:lnTo>
                  <a:lnTo>
                    <a:pt x="69" y="442"/>
                  </a:lnTo>
                  <a:lnTo>
                    <a:pt x="67" y="441"/>
                  </a:lnTo>
                  <a:lnTo>
                    <a:pt x="65" y="441"/>
                  </a:lnTo>
                  <a:lnTo>
                    <a:pt x="64" y="441"/>
                  </a:lnTo>
                  <a:lnTo>
                    <a:pt x="63" y="441"/>
                  </a:lnTo>
                  <a:lnTo>
                    <a:pt x="62" y="441"/>
                  </a:lnTo>
                  <a:lnTo>
                    <a:pt x="61" y="441"/>
                  </a:lnTo>
                  <a:lnTo>
                    <a:pt x="59" y="441"/>
                  </a:lnTo>
                  <a:lnTo>
                    <a:pt x="58" y="442"/>
                  </a:lnTo>
                  <a:lnTo>
                    <a:pt x="56" y="443"/>
                  </a:lnTo>
                  <a:lnTo>
                    <a:pt x="55" y="444"/>
                  </a:lnTo>
                  <a:lnTo>
                    <a:pt x="54" y="445"/>
                  </a:lnTo>
                  <a:lnTo>
                    <a:pt x="52" y="446"/>
                  </a:lnTo>
                  <a:lnTo>
                    <a:pt x="51" y="448"/>
                  </a:lnTo>
                  <a:lnTo>
                    <a:pt x="50" y="448"/>
                  </a:lnTo>
                  <a:lnTo>
                    <a:pt x="50" y="448"/>
                  </a:lnTo>
                  <a:lnTo>
                    <a:pt x="50" y="449"/>
                  </a:lnTo>
                  <a:lnTo>
                    <a:pt x="50" y="449"/>
                  </a:lnTo>
                  <a:lnTo>
                    <a:pt x="50" y="449"/>
                  </a:lnTo>
                  <a:lnTo>
                    <a:pt x="50" y="450"/>
                  </a:lnTo>
                  <a:lnTo>
                    <a:pt x="51" y="450"/>
                  </a:lnTo>
                  <a:lnTo>
                    <a:pt x="51" y="451"/>
                  </a:lnTo>
                  <a:lnTo>
                    <a:pt x="52" y="452"/>
                  </a:lnTo>
                  <a:lnTo>
                    <a:pt x="52" y="452"/>
                  </a:lnTo>
                  <a:lnTo>
                    <a:pt x="52" y="453"/>
                  </a:lnTo>
                  <a:lnTo>
                    <a:pt x="53" y="453"/>
                  </a:lnTo>
                  <a:lnTo>
                    <a:pt x="58" y="458"/>
                  </a:lnTo>
                  <a:lnTo>
                    <a:pt x="58" y="458"/>
                  </a:lnTo>
                  <a:lnTo>
                    <a:pt x="59" y="459"/>
                  </a:lnTo>
                  <a:lnTo>
                    <a:pt x="59" y="460"/>
                  </a:lnTo>
                  <a:lnTo>
                    <a:pt x="59" y="461"/>
                  </a:lnTo>
                  <a:lnTo>
                    <a:pt x="60" y="462"/>
                  </a:lnTo>
                  <a:lnTo>
                    <a:pt x="60" y="463"/>
                  </a:lnTo>
                  <a:lnTo>
                    <a:pt x="61" y="464"/>
                  </a:lnTo>
                  <a:lnTo>
                    <a:pt x="62" y="466"/>
                  </a:lnTo>
                  <a:lnTo>
                    <a:pt x="62" y="467"/>
                  </a:lnTo>
                  <a:lnTo>
                    <a:pt x="63" y="468"/>
                  </a:lnTo>
                  <a:lnTo>
                    <a:pt x="63" y="469"/>
                  </a:lnTo>
                  <a:lnTo>
                    <a:pt x="63" y="469"/>
                  </a:lnTo>
                  <a:lnTo>
                    <a:pt x="63" y="470"/>
                  </a:lnTo>
                  <a:lnTo>
                    <a:pt x="63" y="471"/>
                  </a:lnTo>
                  <a:lnTo>
                    <a:pt x="63" y="471"/>
                  </a:lnTo>
                  <a:lnTo>
                    <a:pt x="63" y="472"/>
                  </a:lnTo>
                  <a:lnTo>
                    <a:pt x="63" y="472"/>
                  </a:lnTo>
                  <a:lnTo>
                    <a:pt x="62" y="473"/>
                  </a:lnTo>
                  <a:lnTo>
                    <a:pt x="61" y="475"/>
                  </a:lnTo>
                  <a:lnTo>
                    <a:pt x="60" y="476"/>
                  </a:lnTo>
                  <a:lnTo>
                    <a:pt x="59" y="478"/>
                  </a:lnTo>
                  <a:lnTo>
                    <a:pt x="58" y="481"/>
                  </a:lnTo>
                  <a:lnTo>
                    <a:pt x="58" y="483"/>
                  </a:lnTo>
                  <a:lnTo>
                    <a:pt x="57" y="484"/>
                  </a:lnTo>
                  <a:lnTo>
                    <a:pt x="56" y="485"/>
                  </a:lnTo>
                  <a:lnTo>
                    <a:pt x="56" y="486"/>
                  </a:lnTo>
                  <a:lnTo>
                    <a:pt x="54" y="487"/>
                  </a:lnTo>
                  <a:lnTo>
                    <a:pt x="53" y="488"/>
                  </a:lnTo>
                  <a:lnTo>
                    <a:pt x="52" y="489"/>
                  </a:lnTo>
                  <a:lnTo>
                    <a:pt x="51" y="490"/>
                  </a:lnTo>
                  <a:lnTo>
                    <a:pt x="50" y="490"/>
                  </a:lnTo>
                  <a:lnTo>
                    <a:pt x="49" y="491"/>
                  </a:lnTo>
                  <a:lnTo>
                    <a:pt x="48" y="491"/>
                  </a:lnTo>
                  <a:lnTo>
                    <a:pt x="47" y="491"/>
                  </a:lnTo>
                  <a:lnTo>
                    <a:pt x="46" y="491"/>
                  </a:lnTo>
                  <a:lnTo>
                    <a:pt x="45" y="490"/>
                  </a:lnTo>
                  <a:lnTo>
                    <a:pt x="43" y="490"/>
                  </a:lnTo>
                  <a:lnTo>
                    <a:pt x="42" y="489"/>
                  </a:lnTo>
                  <a:lnTo>
                    <a:pt x="40" y="488"/>
                  </a:lnTo>
                  <a:lnTo>
                    <a:pt x="37" y="485"/>
                  </a:lnTo>
                  <a:lnTo>
                    <a:pt x="35" y="484"/>
                  </a:lnTo>
                  <a:lnTo>
                    <a:pt x="34" y="483"/>
                  </a:lnTo>
                  <a:lnTo>
                    <a:pt x="34" y="483"/>
                  </a:lnTo>
                  <a:lnTo>
                    <a:pt x="32" y="481"/>
                  </a:lnTo>
                  <a:lnTo>
                    <a:pt x="32" y="481"/>
                  </a:lnTo>
                  <a:lnTo>
                    <a:pt x="31" y="480"/>
                  </a:lnTo>
                  <a:lnTo>
                    <a:pt x="31" y="480"/>
                  </a:lnTo>
                  <a:lnTo>
                    <a:pt x="31" y="479"/>
                  </a:lnTo>
                  <a:lnTo>
                    <a:pt x="31" y="478"/>
                  </a:lnTo>
                  <a:lnTo>
                    <a:pt x="31" y="477"/>
                  </a:lnTo>
                  <a:lnTo>
                    <a:pt x="31" y="477"/>
                  </a:lnTo>
                  <a:lnTo>
                    <a:pt x="31" y="476"/>
                  </a:lnTo>
                  <a:lnTo>
                    <a:pt x="32" y="475"/>
                  </a:lnTo>
                  <a:lnTo>
                    <a:pt x="32" y="475"/>
                  </a:lnTo>
                  <a:lnTo>
                    <a:pt x="32" y="474"/>
                  </a:lnTo>
                  <a:lnTo>
                    <a:pt x="32" y="474"/>
                  </a:lnTo>
                  <a:lnTo>
                    <a:pt x="33" y="473"/>
                  </a:lnTo>
                  <a:lnTo>
                    <a:pt x="35" y="471"/>
                  </a:lnTo>
                  <a:lnTo>
                    <a:pt x="36" y="471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9"/>
                  </a:lnTo>
                  <a:lnTo>
                    <a:pt x="37" y="469"/>
                  </a:lnTo>
                  <a:lnTo>
                    <a:pt x="37" y="468"/>
                  </a:lnTo>
                  <a:lnTo>
                    <a:pt x="36" y="467"/>
                  </a:lnTo>
                  <a:lnTo>
                    <a:pt x="36" y="466"/>
                  </a:lnTo>
                  <a:lnTo>
                    <a:pt x="35" y="465"/>
                  </a:lnTo>
                  <a:lnTo>
                    <a:pt x="35" y="464"/>
                  </a:lnTo>
                  <a:lnTo>
                    <a:pt x="34" y="463"/>
                  </a:lnTo>
                  <a:lnTo>
                    <a:pt x="32" y="460"/>
                  </a:lnTo>
                  <a:lnTo>
                    <a:pt x="31" y="459"/>
                  </a:lnTo>
                  <a:lnTo>
                    <a:pt x="31" y="458"/>
                  </a:lnTo>
                  <a:lnTo>
                    <a:pt x="30" y="457"/>
                  </a:lnTo>
                  <a:lnTo>
                    <a:pt x="30" y="456"/>
                  </a:lnTo>
                  <a:lnTo>
                    <a:pt x="29" y="453"/>
                  </a:lnTo>
                  <a:lnTo>
                    <a:pt x="28" y="449"/>
                  </a:lnTo>
                  <a:lnTo>
                    <a:pt x="27" y="446"/>
                  </a:lnTo>
                  <a:lnTo>
                    <a:pt x="27" y="445"/>
                  </a:lnTo>
                  <a:lnTo>
                    <a:pt x="27" y="443"/>
                  </a:lnTo>
                  <a:lnTo>
                    <a:pt x="27" y="442"/>
                  </a:lnTo>
                  <a:lnTo>
                    <a:pt x="27" y="440"/>
                  </a:lnTo>
                  <a:lnTo>
                    <a:pt x="27" y="439"/>
                  </a:lnTo>
                  <a:lnTo>
                    <a:pt x="27" y="437"/>
                  </a:lnTo>
                  <a:lnTo>
                    <a:pt x="27" y="436"/>
                  </a:lnTo>
                  <a:lnTo>
                    <a:pt x="28" y="435"/>
                  </a:lnTo>
                  <a:lnTo>
                    <a:pt x="30" y="432"/>
                  </a:lnTo>
                  <a:lnTo>
                    <a:pt x="30" y="431"/>
                  </a:lnTo>
                  <a:lnTo>
                    <a:pt x="32" y="429"/>
                  </a:lnTo>
                  <a:lnTo>
                    <a:pt x="32" y="428"/>
                  </a:lnTo>
                  <a:lnTo>
                    <a:pt x="33" y="428"/>
                  </a:lnTo>
                  <a:lnTo>
                    <a:pt x="34" y="427"/>
                  </a:lnTo>
                  <a:lnTo>
                    <a:pt x="34" y="426"/>
                  </a:lnTo>
                  <a:lnTo>
                    <a:pt x="35" y="426"/>
                  </a:lnTo>
                  <a:lnTo>
                    <a:pt x="35" y="425"/>
                  </a:lnTo>
                  <a:lnTo>
                    <a:pt x="36" y="425"/>
                  </a:lnTo>
                  <a:lnTo>
                    <a:pt x="36" y="425"/>
                  </a:lnTo>
                  <a:lnTo>
                    <a:pt x="36" y="424"/>
                  </a:lnTo>
                  <a:lnTo>
                    <a:pt x="35" y="424"/>
                  </a:lnTo>
                  <a:lnTo>
                    <a:pt x="35" y="424"/>
                  </a:lnTo>
                  <a:lnTo>
                    <a:pt x="34" y="424"/>
                  </a:lnTo>
                  <a:lnTo>
                    <a:pt x="32" y="423"/>
                  </a:lnTo>
                  <a:lnTo>
                    <a:pt x="30" y="423"/>
                  </a:lnTo>
                  <a:lnTo>
                    <a:pt x="29" y="423"/>
                  </a:lnTo>
                  <a:lnTo>
                    <a:pt x="27" y="423"/>
                  </a:lnTo>
                  <a:lnTo>
                    <a:pt x="25" y="422"/>
                  </a:lnTo>
                  <a:lnTo>
                    <a:pt x="21" y="421"/>
                  </a:lnTo>
                  <a:lnTo>
                    <a:pt x="18" y="420"/>
                  </a:lnTo>
                  <a:lnTo>
                    <a:pt x="15" y="419"/>
                  </a:lnTo>
                  <a:lnTo>
                    <a:pt x="15" y="419"/>
                  </a:lnTo>
                  <a:lnTo>
                    <a:pt x="14" y="419"/>
                  </a:lnTo>
                  <a:lnTo>
                    <a:pt x="14" y="418"/>
                  </a:lnTo>
                  <a:lnTo>
                    <a:pt x="13" y="418"/>
                  </a:lnTo>
                  <a:lnTo>
                    <a:pt x="13" y="418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3" y="416"/>
                  </a:lnTo>
                  <a:lnTo>
                    <a:pt x="13" y="415"/>
                  </a:lnTo>
                  <a:lnTo>
                    <a:pt x="13" y="413"/>
                  </a:lnTo>
                  <a:lnTo>
                    <a:pt x="13" y="412"/>
                  </a:lnTo>
                  <a:lnTo>
                    <a:pt x="13" y="411"/>
                  </a:lnTo>
                  <a:lnTo>
                    <a:pt x="12" y="408"/>
                  </a:lnTo>
                  <a:lnTo>
                    <a:pt x="12" y="407"/>
                  </a:lnTo>
                  <a:lnTo>
                    <a:pt x="12" y="406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4" y="403"/>
                  </a:lnTo>
                  <a:lnTo>
                    <a:pt x="14" y="402"/>
                  </a:lnTo>
                  <a:lnTo>
                    <a:pt x="15" y="402"/>
                  </a:lnTo>
                  <a:lnTo>
                    <a:pt x="15" y="402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3" y="404"/>
                  </a:lnTo>
                  <a:lnTo>
                    <a:pt x="24" y="404"/>
                  </a:lnTo>
                  <a:lnTo>
                    <a:pt x="25" y="404"/>
                  </a:lnTo>
                  <a:lnTo>
                    <a:pt x="25" y="404"/>
                  </a:lnTo>
                  <a:lnTo>
                    <a:pt x="25" y="403"/>
                  </a:lnTo>
                  <a:lnTo>
                    <a:pt x="26" y="403"/>
                  </a:lnTo>
                  <a:lnTo>
                    <a:pt x="26" y="403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8" y="397"/>
                  </a:lnTo>
                  <a:lnTo>
                    <a:pt x="29" y="396"/>
                  </a:lnTo>
                  <a:lnTo>
                    <a:pt x="29" y="395"/>
                  </a:lnTo>
                  <a:lnTo>
                    <a:pt x="29" y="394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0" y="389"/>
                  </a:lnTo>
                  <a:lnTo>
                    <a:pt x="31" y="386"/>
                  </a:lnTo>
                  <a:lnTo>
                    <a:pt x="32" y="384"/>
                  </a:lnTo>
                  <a:lnTo>
                    <a:pt x="32" y="382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80"/>
                  </a:lnTo>
                  <a:lnTo>
                    <a:pt x="31" y="377"/>
                  </a:lnTo>
                  <a:lnTo>
                    <a:pt x="30" y="375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3"/>
                  </a:lnTo>
                  <a:lnTo>
                    <a:pt x="30" y="371"/>
                  </a:lnTo>
                  <a:lnTo>
                    <a:pt x="30" y="370"/>
                  </a:lnTo>
                  <a:lnTo>
                    <a:pt x="30" y="369"/>
                  </a:lnTo>
                  <a:lnTo>
                    <a:pt x="31" y="368"/>
                  </a:lnTo>
                  <a:lnTo>
                    <a:pt x="31" y="367"/>
                  </a:lnTo>
                  <a:lnTo>
                    <a:pt x="32" y="366"/>
                  </a:lnTo>
                  <a:lnTo>
                    <a:pt x="33" y="365"/>
                  </a:lnTo>
                  <a:lnTo>
                    <a:pt x="33" y="364"/>
                  </a:lnTo>
                  <a:lnTo>
                    <a:pt x="36" y="361"/>
                  </a:lnTo>
                  <a:lnTo>
                    <a:pt x="38" y="358"/>
                  </a:lnTo>
                  <a:lnTo>
                    <a:pt x="39" y="357"/>
                  </a:lnTo>
                  <a:lnTo>
                    <a:pt x="39" y="356"/>
                  </a:lnTo>
                  <a:lnTo>
                    <a:pt x="39" y="356"/>
                  </a:lnTo>
                  <a:lnTo>
                    <a:pt x="40" y="355"/>
                  </a:lnTo>
                  <a:lnTo>
                    <a:pt x="40" y="353"/>
                  </a:lnTo>
                  <a:lnTo>
                    <a:pt x="41" y="352"/>
                  </a:lnTo>
                  <a:lnTo>
                    <a:pt x="41" y="350"/>
                  </a:lnTo>
                  <a:lnTo>
                    <a:pt x="41" y="348"/>
                  </a:lnTo>
                  <a:lnTo>
                    <a:pt x="41" y="347"/>
                  </a:lnTo>
                  <a:lnTo>
                    <a:pt x="41" y="346"/>
                  </a:lnTo>
                  <a:lnTo>
                    <a:pt x="40" y="342"/>
                  </a:lnTo>
                  <a:lnTo>
                    <a:pt x="40" y="341"/>
                  </a:lnTo>
                  <a:lnTo>
                    <a:pt x="40" y="340"/>
                  </a:lnTo>
                  <a:lnTo>
                    <a:pt x="40" y="339"/>
                  </a:lnTo>
                  <a:lnTo>
                    <a:pt x="39" y="338"/>
                  </a:lnTo>
                  <a:lnTo>
                    <a:pt x="39" y="338"/>
                  </a:lnTo>
                  <a:lnTo>
                    <a:pt x="38" y="337"/>
                  </a:lnTo>
                  <a:lnTo>
                    <a:pt x="38" y="336"/>
                  </a:lnTo>
                  <a:lnTo>
                    <a:pt x="37" y="336"/>
                  </a:lnTo>
                  <a:lnTo>
                    <a:pt x="36" y="335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4" y="334"/>
                  </a:lnTo>
                  <a:lnTo>
                    <a:pt x="31" y="334"/>
                  </a:lnTo>
                  <a:lnTo>
                    <a:pt x="30" y="333"/>
                  </a:lnTo>
                  <a:lnTo>
                    <a:pt x="29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7" y="333"/>
                  </a:lnTo>
                  <a:lnTo>
                    <a:pt x="27" y="333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1"/>
                  </a:lnTo>
                  <a:lnTo>
                    <a:pt x="27" y="330"/>
                  </a:lnTo>
                  <a:lnTo>
                    <a:pt x="28" y="328"/>
                  </a:lnTo>
                  <a:lnTo>
                    <a:pt x="28" y="327"/>
                  </a:lnTo>
                  <a:lnTo>
                    <a:pt x="28" y="326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8" y="324"/>
                  </a:lnTo>
                  <a:lnTo>
                    <a:pt x="27" y="321"/>
                  </a:lnTo>
                  <a:lnTo>
                    <a:pt x="26" y="321"/>
                  </a:lnTo>
                  <a:lnTo>
                    <a:pt x="26" y="320"/>
                  </a:lnTo>
                  <a:lnTo>
                    <a:pt x="26" y="317"/>
                  </a:lnTo>
                  <a:lnTo>
                    <a:pt x="26" y="316"/>
                  </a:lnTo>
                  <a:lnTo>
                    <a:pt x="25" y="315"/>
                  </a:lnTo>
                  <a:lnTo>
                    <a:pt x="25" y="314"/>
                  </a:lnTo>
                  <a:lnTo>
                    <a:pt x="24" y="314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7" y="305"/>
                  </a:lnTo>
                  <a:lnTo>
                    <a:pt x="16" y="304"/>
                  </a:lnTo>
                  <a:lnTo>
                    <a:pt x="15" y="302"/>
                  </a:lnTo>
                  <a:lnTo>
                    <a:pt x="15" y="300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12" y="294"/>
                  </a:lnTo>
                  <a:lnTo>
                    <a:pt x="12" y="293"/>
                  </a:lnTo>
                  <a:lnTo>
                    <a:pt x="12" y="292"/>
                  </a:lnTo>
                  <a:lnTo>
                    <a:pt x="11" y="291"/>
                  </a:lnTo>
                  <a:lnTo>
                    <a:pt x="9" y="288"/>
                  </a:lnTo>
                  <a:lnTo>
                    <a:pt x="8" y="287"/>
                  </a:lnTo>
                  <a:lnTo>
                    <a:pt x="8" y="286"/>
                  </a:lnTo>
                  <a:lnTo>
                    <a:pt x="8" y="285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6"/>
                  </a:lnTo>
                  <a:lnTo>
                    <a:pt x="9" y="275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2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8"/>
                  </a:lnTo>
                  <a:lnTo>
                    <a:pt x="13" y="267"/>
                  </a:lnTo>
                  <a:lnTo>
                    <a:pt x="13" y="266"/>
                  </a:lnTo>
                  <a:lnTo>
                    <a:pt x="13" y="266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2" y="260"/>
                  </a:lnTo>
                  <a:lnTo>
                    <a:pt x="12" y="258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7"/>
                  </a:lnTo>
                  <a:lnTo>
                    <a:pt x="10" y="246"/>
                  </a:lnTo>
                  <a:lnTo>
                    <a:pt x="9" y="241"/>
                  </a:lnTo>
                  <a:lnTo>
                    <a:pt x="7" y="236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5" y="230"/>
                  </a:lnTo>
                  <a:lnTo>
                    <a:pt x="4" y="225"/>
                  </a:lnTo>
                  <a:lnTo>
                    <a:pt x="4" y="223"/>
                  </a:lnTo>
                  <a:lnTo>
                    <a:pt x="3" y="220"/>
                  </a:lnTo>
                  <a:lnTo>
                    <a:pt x="1" y="216"/>
                  </a:lnTo>
                  <a:lnTo>
                    <a:pt x="1" y="215"/>
                  </a:lnTo>
                  <a:lnTo>
                    <a:pt x="1" y="214"/>
                  </a:lnTo>
                  <a:lnTo>
                    <a:pt x="0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1" y="210"/>
                  </a:lnTo>
                  <a:lnTo>
                    <a:pt x="1" y="210"/>
                  </a:lnTo>
                  <a:lnTo>
                    <a:pt x="2" y="210"/>
                  </a:lnTo>
                  <a:lnTo>
                    <a:pt x="2" y="210"/>
                  </a:lnTo>
                  <a:lnTo>
                    <a:pt x="3" y="209"/>
                  </a:lnTo>
                  <a:lnTo>
                    <a:pt x="4" y="209"/>
                  </a:lnTo>
                  <a:lnTo>
                    <a:pt x="5" y="209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0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3" y="205"/>
                  </a:lnTo>
                  <a:lnTo>
                    <a:pt x="14" y="204"/>
                  </a:lnTo>
                  <a:lnTo>
                    <a:pt x="15" y="203"/>
                  </a:lnTo>
                  <a:lnTo>
                    <a:pt x="15" y="202"/>
                  </a:lnTo>
                  <a:lnTo>
                    <a:pt x="18" y="199"/>
                  </a:lnTo>
                  <a:lnTo>
                    <a:pt x="19" y="198"/>
                  </a:lnTo>
                  <a:lnTo>
                    <a:pt x="22" y="196"/>
                  </a:lnTo>
                  <a:lnTo>
                    <a:pt x="23" y="194"/>
                  </a:lnTo>
                  <a:lnTo>
                    <a:pt x="24" y="194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2"/>
                  </a:lnTo>
                  <a:lnTo>
                    <a:pt x="26" y="191"/>
                  </a:lnTo>
                  <a:lnTo>
                    <a:pt x="26" y="190"/>
                  </a:lnTo>
                  <a:lnTo>
                    <a:pt x="27" y="189"/>
                  </a:lnTo>
                  <a:lnTo>
                    <a:pt x="27" y="188"/>
                  </a:lnTo>
                  <a:lnTo>
                    <a:pt x="27" y="187"/>
                  </a:lnTo>
                  <a:lnTo>
                    <a:pt x="27" y="185"/>
                  </a:lnTo>
                  <a:lnTo>
                    <a:pt x="26" y="182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0"/>
                  </a:lnTo>
                  <a:lnTo>
                    <a:pt x="27" y="169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6"/>
                  </a:lnTo>
                  <a:lnTo>
                    <a:pt x="27" y="162"/>
                  </a:lnTo>
                  <a:lnTo>
                    <a:pt x="27" y="161"/>
                  </a:lnTo>
                  <a:lnTo>
                    <a:pt x="27" y="160"/>
                  </a:lnTo>
                  <a:lnTo>
                    <a:pt x="27" y="159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30" y="150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4" y="143"/>
                  </a:lnTo>
                  <a:lnTo>
                    <a:pt x="36" y="135"/>
                  </a:lnTo>
                  <a:lnTo>
                    <a:pt x="38" y="132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40" y="125"/>
                  </a:lnTo>
                  <a:lnTo>
                    <a:pt x="40" y="123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4" y="114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9" y="108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5" y="105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3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1"/>
                  </a:lnTo>
                  <a:lnTo>
                    <a:pt x="69" y="100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6" y="99"/>
                  </a:lnTo>
                  <a:lnTo>
                    <a:pt x="79" y="102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1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3"/>
                  </a:lnTo>
                  <a:lnTo>
                    <a:pt x="85" y="103"/>
                  </a:lnTo>
                  <a:lnTo>
                    <a:pt x="85" y="102"/>
                  </a:lnTo>
                  <a:lnTo>
                    <a:pt x="86" y="102"/>
                  </a:lnTo>
                  <a:lnTo>
                    <a:pt x="86" y="101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6" y="97"/>
                  </a:lnTo>
                  <a:lnTo>
                    <a:pt x="85" y="94"/>
                  </a:lnTo>
                  <a:lnTo>
                    <a:pt x="85" y="92"/>
                  </a:lnTo>
                  <a:lnTo>
                    <a:pt x="84" y="91"/>
                  </a:lnTo>
                  <a:lnTo>
                    <a:pt x="84" y="89"/>
                  </a:lnTo>
                  <a:lnTo>
                    <a:pt x="84" y="88"/>
                  </a:lnTo>
                  <a:lnTo>
                    <a:pt x="84" y="87"/>
                  </a:lnTo>
                  <a:lnTo>
                    <a:pt x="85" y="83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5" y="78"/>
                  </a:lnTo>
                  <a:lnTo>
                    <a:pt x="84" y="77"/>
                  </a:lnTo>
                  <a:lnTo>
                    <a:pt x="84" y="75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79" y="68"/>
                  </a:lnTo>
                  <a:lnTo>
                    <a:pt x="78" y="67"/>
                  </a:lnTo>
                  <a:lnTo>
                    <a:pt x="77" y="66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68" y="62"/>
                  </a:lnTo>
                  <a:lnTo>
                    <a:pt x="67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1" y="54"/>
                  </a:lnTo>
                  <a:lnTo>
                    <a:pt x="59" y="49"/>
                  </a:lnTo>
                  <a:lnTo>
                    <a:pt x="57" y="44"/>
                  </a:lnTo>
                  <a:lnTo>
                    <a:pt x="56" y="42"/>
                  </a:lnTo>
                  <a:lnTo>
                    <a:pt x="55" y="40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3" y="32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8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4" y="6"/>
                  </a:lnTo>
                  <a:lnTo>
                    <a:pt x="45" y="5"/>
                  </a:lnTo>
                  <a:lnTo>
                    <a:pt x="46" y="4"/>
                  </a:lnTo>
                  <a:lnTo>
                    <a:pt x="47" y="3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9" y="5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0" y="12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6" y="14"/>
                  </a:lnTo>
                  <a:lnTo>
                    <a:pt x="92" y="16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8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3" y="22"/>
                  </a:lnTo>
                  <a:lnTo>
                    <a:pt x="113" y="23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5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8" y="31"/>
                  </a:lnTo>
                  <a:lnTo>
                    <a:pt x="140" y="35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3" y="40"/>
                  </a:lnTo>
                  <a:lnTo>
                    <a:pt x="144" y="41"/>
                  </a:lnTo>
                  <a:lnTo>
                    <a:pt x="145" y="43"/>
                  </a:lnTo>
                  <a:lnTo>
                    <a:pt x="146" y="44"/>
                  </a:lnTo>
                  <a:lnTo>
                    <a:pt x="147" y="45"/>
                  </a:lnTo>
                  <a:lnTo>
                    <a:pt x="148" y="46"/>
                  </a:lnTo>
                  <a:lnTo>
                    <a:pt x="149" y="47"/>
                  </a:lnTo>
                  <a:lnTo>
                    <a:pt x="151" y="49"/>
                  </a:lnTo>
                  <a:lnTo>
                    <a:pt x="153" y="50"/>
                  </a:lnTo>
                  <a:lnTo>
                    <a:pt x="154" y="51"/>
                  </a:lnTo>
                  <a:lnTo>
                    <a:pt x="155" y="52"/>
                  </a:lnTo>
                  <a:lnTo>
                    <a:pt x="156" y="52"/>
                  </a:lnTo>
                  <a:lnTo>
                    <a:pt x="158" y="53"/>
                  </a:lnTo>
                  <a:lnTo>
                    <a:pt x="160" y="54"/>
                  </a:lnTo>
                  <a:lnTo>
                    <a:pt x="161" y="54"/>
                  </a:lnTo>
                  <a:lnTo>
                    <a:pt x="162" y="55"/>
                  </a:lnTo>
                  <a:lnTo>
                    <a:pt x="163" y="55"/>
                  </a:lnTo>
                  <a:lnTo>
                    <a:pt x="164" y="55"/>
                  </a:lnTo>
                  <a:lnTo>
                    <a:pt x="165" y="55"/>
                  </a:lnTo>
                  <a:lnTo>
                    <a:pt x="166" y="56"/>
                  </a:lnTo>
                  <a:lnTo>
                    <a:pt x="167" y="56"/>
                  </a:lnTo>
                  <a:lnTo>
                    <a:pt x="169" y="56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Freeform 35">
              <a:extLst>
                <a:ext uri="{FF2B5EF4-FFF2-40B4-BE49-F238E27FC236}">
                  <a16:creationId xmlns:a16="http://schemas.microsoft.com/office/drawing/2014/main" id="{0F49A5AF-1099-8F89-CCF8-DEFA5AC8B8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5" y="3194"/>
              <a:ext cx="334" cy="487"/>
            </a:xfrm>
            <a:custGeom>
              <a:avLst/>
              <a:gdLst>
                <a:gd name="T0" fmla="*/ 152 w 334"/>
                <a:gd name="T1" fmla="*/ 7 h 487"/>
                <a:gd name="T2" fmla="*/ 155 w 334"/>
                <a:gd name="T3" fmla="*/ 25 h 487"/>
                <a:gd name="T4" fmla="*/ 171 w 334"/>
                <a:gd name="T5" fmla="*/ 23 h 487"/>
                <a:gd name="T6" fmla="*/ 175 w 334"/>
                <a:gd name="T7" fmla="*/ 47 h 487"/>
                <a:gd name="T8" fmla="*/ 162 w 334"/>
                <a:gd name="T9" fmla="*/ 51 h 487"/>
                <a:gd name="T10" fmla="*/ 140 w 334"/>
                <a:gd name="T11" fmla="*/ 69 h 487"/>
                <a:gd name="T12" fmla="*/ 123 w 334"/>
                <a:gd name="T13" fmla="*/ 96 h 487"/>
                <a:gd name="T14" fmla="*/ 118 w 334"/>
                <a:gd name="T15" fmla="*/ 127 h 487"/>
                <a:gd name="T16" fmla="*/ 102 w 334"/>
                <a:gd name="T17" fmla="*/ 158 h 487"/>
                <a:gd name="T18" fmla="*/ 112 w 334"/>
                <a:gd name="T19" fmla="*/ 174 h 487"/>
                <a:gd name="T20" fmla="*/ 104 w 334"/>
                <a:gd name="T21" fmla="*/ 193 h 487"/>
                <a:gd name="T22" fmla="*/ 102 w 334"/>
                <a:gd name="T23" fmla="*/ 212 h 487"/>
                <a:gd name="T24" fmla="*/ 119 w 334"/>
                <a:gd name="T25" fmla="*/ 219 h 487"/>
                <a:gd name="T26" fmla="*/ 120 w 334"/>
                <a:gd name="T27" fmla="*/ 232 h 487"/>
                <a:gd name="T28" fmla="*/ 138 w 334"/>
                <a:gd name="T29" fmla="*/ 226 h 487"/>
                <a:gd name="T30" fmla="*/ 161 w 334"/>
                <a:gd name="T31" fmla="*/ 215 h 487"/>
                <a:gd name="T32" fmla="*/ 164 w 334"/>
                <a:gd name="T33" fmla="*/ 234 h 487"/>
                <a:gd name="T34" fmla="*/ 173 w 334"/>
                <a:gd name="T35" fmla="*/ 239 h 487"/>
                <a:gd name="T36" fmla="*/ 184 w 334"/>
                <a:gd name="T37" fmla="*/ 228 h 487"/>
                <a:gd name="T38" fmla="*/ 192 w 334"/>
                <a:gd name="T39" fmla="*/ 222 h 487"/>
                <a:gd name="T40" fmla="*/ 195 w 334"/>
                <a:gd name="T41" fmla="*/ 210 h 487"/>
                <a:gd name="T42" fmla="*/ 204 w 334"/>
                <a:gd name="T43" fmla="*/ 234 h 487"/>
                <a:gd name="T44" fmla="*/ 214 w 334"/>
                <a:gd name="T45" fmla="*/ 252 h 487"/>
                <a:gd name="T46" fmla="*/ 238 w 334"/>
                <a:gd name="T47" fmla="*/ 263 h 487"/>
                <a:gd name="T48" fmla="*/ 260 w 334"/>
                <a:gd name="T49" fmla="*/ 258 h 487"/>
                <a:gd name="T50" fmla="*/ 262 w 334"/>
                <a:gd name="T51" fmla="*/ 280 h 487"/>
                <a:gd name="T52" fmla="*/ 269 w 334"/>
                <a:gd name="T53" fmla="*/ 298 h 487"/>
                <a:gd name="T54" fmla="*/ 280 w 334"/>
                <a:gd name="T55" fmla="*/ 298 h 487"/>
                <a:gd name="T56" fmla="*/ 302 w 334"/>
                <a:gd name="T57" fmla="*/ 320 h 487"/>
                <a:gd name="T58" fmla="*/ 315 w 334"/>
                <a:gd name="T59" fmla="*/ 345 h 487"/>
                <a:gd name="T60" fmla="*/ 323 w 334"/>
                <a:gd name="T61" fmla="*/ 347 h 487"/>
                <a:gd name="T62" fmla="*/ 334 w 334"/>
                <a:gd name="T63" fmla="*/ 358 h 487"/>
                <a:gd name="T64" fmla="*/ 325 w 334"/>
                <a:gd name="T65" fmla="*/ 369 h 487"/>
                <a:gd name="T66" fmla="*/ 309 w 334"/>
                <a:gd name="T67" fmla="*/ 373 h 487"/>
                <a:gd name="T68" fmla="*/ 298 w 334"/>
                <a:gd name="T69" fmla="*/ 392 h 487"/>
                <a:gd name="T70" fmla="*/ 280 w 334"/>
                <a:gd name="T71" fmla="*/ 406 h 487"/>
                <a:gd name="T72" fmla="*/ 264 w 334"/>
                <a:gd name="T73" fmla="*/ 398 h 487"/>
                <a:gd name="T74" fmla="*/ 253 w 334"/>
                <a:gd name="T75" fmla="*/ 402 h 487"/>
                <a:gd name="T76" fmla="*/ 254 w 334"/>
                <a:gd name="T77" fmla="*/ 415 h 487"/>
                <a:gd name="T78" fmla="*/ 244 w 334"/>
                <a:gd name="T79" fmla="*/ 425 h 487"/>
                <a:gd name="T80" fmla="*/ 224 w 334"/>
                <a:gd name="T81" fmla="*/ 424 h 487"/>
                <a:gd name="T82" fmla="*/ 212 w 334"/>
                <a:gd name="T83" fmla="*/ 436 h 487"/>
                <a:gd name="T84" fmla="*/ 196 w 334"/>
                <a:gd name="T85" fmla="*/ 438 h 487"/>
                <a:gd name="T86" fmla="*/ 175 w 334"/>
                <a:gd name="T87" fmla="*/ 433 h 487"/>
                <a:gd name="T88" fmla="*/ 168 w 334"/>
                <a:gd name="T89" fmla="*/ 424 h 487"/>
                <a:gd name="T90" fmla="*/ 165 w 334"/>
                <a:gd name="T91" fmla="*/ 445 h 487"/>
                <a:gd name="T92" fmla="*/ 157 w 334"/>
                <a:gd name="T93" fmla="*/ 462 h 487"/>
                <a:gd name="T94" fmla="*/ 134 w 334"/>
                <a:gd name="T95" fmla="*/ 476 h 487"/>
                <a:gd name="T96" fmla="*/ 113 w 334"/>
                <a:gd name="T97" fmla="*/ 487 h 487"/>
                <a:gd name="T98" fmla="*/ 102 w 334"/>
                <a:gd name="T99" fmla="*/ 465 h 487"/>
                <a:gd name="T100" fmla="*/ 76 w 334"/>
                <a:gd name="T101" fmla="*/ 451 h 487"/>
                <a:gd name="T102" fmla="*/ 76 w 334"/>
                <a:gd name="T103" fmla="*/ 431 h 487"/>
                <a:gd name="T104" fmla="*/ 70 w 334"/>
                <a:gd name="T105" fmla="*/ 433 h 487"/>
                <a:gd name="T106" fmla="*/ 58 w 334"/>
                <a:gd name="T107" fmla="*/ 418 h 487"/>
                <a:gd name="T108" fmla="*/ 47 w 334"/>
                <a:gd name="T109" fmla="*/ 396 h 487"/>
                <a:gd name="T110" fmla="*/ 28 w 334"/>
                <a:gd name="T111" fmla="*/ 387 h 487"/>
                <a:gd name="T112" fmla="*/ 21 w 334"/>
                <a:gd name="T113" fmla="*/ 399 h 487"/>
                <a:gd name="T114" fmla="*/ 32 w 334"/>
                <a:gd name="T115" fmla="*/ 417 h 487"/>
                <a:gd name="T116" fmla="*/ 18 w 334"/>
                <a:gd name="T117" fmla="*/ 437 h 487"/>
                <a:gd name="T118" fmla="*/ 0 w 334"/>
                <a:gd name="T119" fmla="*/ 424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4" h="487">
                  <a:moveTo>
                    <a:pt x="138" y="2"/>
                  </a:moveTo>
                  <a:lnTo>
                    <a:pt x="139" y="1"/>
                  </a:lnTo>
                  <a:lnTo>
                    <a:pt x="140" y="1"/>
                  </a:lnTo>
                  <a:lnTo>
                    <a:pt x="141" y="1"/>
                  </a:lnTo>
                  <a:lnTo>
                    <a:pt x="145" y="0"/>
                  </a:lnTo>
                  <a:lnTo>
                    <a:pt x="146" y="0"/>
                  </a:lnTo>
                  <a:lnTo>
                    <a:pt x="147" y="0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9" y="1"/>
                  </a:lnTo>
                  <a:lnTo>
                    <a:pt x="150" y="1"/>
                  </a:lnTo>
                  <a:lnTo>
                    <a:pt x="150" y="2"/>
                  </a:lnTo>
                  <a:lnTo>
                    <a:pt x="151" y="4"/>
                  </a:lnTo>
                  <a:lnTo>
                    <a:pt x="152" y="7"/>
                  </a:lnTo>
                  <a:lnTo>
                    <a:pt x="152" y="8"/>
                  </a:lnTo>
                  <a:lnTo>
                    <a:pt x="152" y="8"/>
                  </a:lnTo>
                  <a:lnTo>
                    <a:pt x="152" y="9"/>
                  </a:lnTo>
                  <a:lnTo>
                    <a:pt x="152" y="10"/>
                  </a:lnTo>
                  <a:lnTo>
                    <a:pt x="151" y="18"/>
                  </a:lnTo>
                  <a:lnTo>
                    <a:pt x="151" y="19"/>
                  </a:lnTo>
                  <a:lnTo>
                    <a:pt x="152" y="20"/>
                  </a:lnTo>
                  <a:lnTo>
                    <a:pt x="152" y="22"/>
                  </a:lnTo>
                  <a:lnTo>
                    <a:pt x="152" y="23"/>
                  </a:lnTo>
                  <a:lnTo>
                    <a:pt x="153" y="23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5"/>
                  </a:lnTo>
                  <a:lnTo>
                    <a:pt x="155" y="25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8" y="23"/>
                  </a:lnTo>
                  <a:lnTo>
                    <a:pt x="159" y="22"/>
                  </a:lnTo>
                  <a:lnTo>
                    <a:pt x="159" y="22"/>
                  </a:lnTo>
                  <a:lnTo>
                    <a:pt x="160" y="21"/>
                  </a:lnTo>
                  <a:lnTo>
                    <a:pt x="161" y="21"/>
                  </a:lnTo>
                  <a:lnTo>
                    <a:pt x="161" y="21"/>
                  </a:lnTo>
                  <a:lnTo>
                    <a:pt x="163" y="21"/>
                  </a:lnTo>
                  <a:lnTo>
                    <a:pt x="163" y="20"/>
                  </a:lnTo>
                  <a:lnTo>
                    <a:pt x="164" y="20"/>
                  </a:lnTo>
                  <a:lnTo>
                    <a:pt x="166" y="21"/>
                  </a:lnTo>
                  <a:lnTo>
                    <a:pt x="167" y="21"/>
                  </a:lnTo>
                  <a:lnTo>
                    <a:pt x="168" y="21"/>
                  </a:lnTo>
                  <a:lnTo>
                    <a:pt x="169" y="22"/>
                  </a:lnTo>
                  <a:lnTo>
                    <a:pt x="170" y="22"/>
                  </a:lnTo>
                  <a:lnTo>
                    <a:pt x="171" y="23"/>
                  </a:lnTo>
                  <a:lnTo>
                    <a:pt x="172" y="23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4" y="25"/>
                  </a:lnTo>
                  <a:lnTo>
                    <a:pt x="175" y="26"/>
                  </a:lnTo>
                  <a:lnTo>
                    <a:pt x="175" y="27"/>
                  </a:lnTo>
                  <a:lnTo>
                    <a:pt x="176" y="28"/>
                  </a:lnTo>
                  <a:lnTo>
                    <a:pt x="176" y="28"/>
                  </a:lnTo>
                  <a:lnTo>
                    <a:pt x="177" y="29"/>
                  </a:lnTo>
                  <a:lnTo>
                    <a:pt x="177" y="30"/>
                  </a:lnTo>
                  <a:lnTo>
                    <a:pt x="177" y="31"/>
                  </a:lnTo>
                  <a:lnTo>
                    <a:pt x="177" y="31"/>
                  </a:lnTo>
                  <a:lnTo>
                    <a:pt x="177" y="40"/>
                  </a:lnTo>
                  <a:lnTo>
                    <a:pt x="176" y="43"/>
                  </a:lnTo>
                  <a:lnTo>
                    <a:pt x="176" y="44"/>
                  </a:lnTo>
                  <a:lnTo>
                    <a:pt x="176" y="46"/>
                  </a:lnTo>
                  <a:lnTo>
                    <a:pt x="175" y="47"/>
                  </a:lnTo>
                  <a:lnTo>
                    <a:pt x="175" y="48"/>
                  </a:lnTo>
                  <a:lnTo>
                    <a:pt x="175" y="49"/>
                  </a:lnTo>
                  <a:lnTo>
                    <a:pt x="174" y="50"/>
                  </a:lnTo>
                  <a:lnTo>
                    <a:pt x="174" y="50"/>
                  </a:lnTo>
                  <a:lnTo>
                    <a:pt x="173" y="50"/>
                  </a:lnTo>
                  <a:lnTo>
                    <a:pt x="173" y="51"/>
                  </a:lnTo>
                  <a:lnTo>
                    <a:pt x="172" y="51"/>
                  </a:lnTo>
                  <a:lnTo>
                    <a:pt x="171" y="51"/>
                  </a:lnTo>
                  <a:lnTo>
                    <a:pt x="170" y="51"/>
                  </a:lnTo>
                  <a:lnTo>
                    <a:pt x="170" y="51"/>
                  </a:lnTo>
                  <a:lnTo>
                    <a:pt x="168" y="51"/>
                  </a:lnTo>
                  <a:lnTo>
                    <a:pt x="167" y="51"/>
                  </a:lnTo>
                  <a:lnTo>
                    <a:pt x="166" y="50"/>
                  </a:lnTo>
                  <a:lnTo>
                    <a:pt x="164" y="50"/>
                  </a:lnTo>
                  <a:lnTo>
                    <a:pt x="163" y="50"/>
                  </a:lnTo>
                  <a:lnTo>
                    <a:pt x="163" y="50"/>
                  </a:lnTo>
                  <a:lnTo>
                    <a:pt x="162" y="51"/>
                  </a:lnTo>
                  <a:lnTo>
                    <a:pt x="162" y="51"/>
                  </a:lnTo>
                  <a:lnTo>
                    <a:pt x="160" y="52"/>
                  </a:lnTo>
                  <a:lnTo>
                    <a:pt x="159" y="53"/>
                  </a:lnTo>
                  <a:lnTo>
                    <a:pt x="158" y="55"/>
                  </a:lnTo>
                  <a:lnTo>
                    <a:pt x="154" y="59"/>
                  </a:lnTo>
                  <a:lnTo>
                    <a:pt x="153" y="60"/>
                  </a:lnTo>
                  <a:lnTo>
                    <a:pt x="152" y="61"/>
                  </a:lnTo>
                  <a:lnTo>
                    <a:pt x="151" y="61"/>
                  </a:lnTo>
                  <a:lnTo>
                    <a:pt x="150" y="62"/>
                  </a:lnTo>
                  <a:lnTo>
                    <a:pt x="149" y="62"/>
                  </a:lnTo>
                  <a:lnTo>
                    <a:pt x="147" y="63"/>
                  </a:lnTo>
                  <a:lnTo>
                    <a:pt x="146" y="64"/>
                  </a:lnTo>
                  <a:lnTo>
                    <a:pt x="145" y="64"/>
                  </a:lnTo>
                  <a:lnTo>
                    <a:pt x="144" y="65"/>
                  </a:lnTo>
                  <a:lnTo>
                    <a:pt x="143" y="66"/>
                  </a:lnTo>
                  <a:lnTo>
                    <a:pt x="142" y="66"/>
                  </a:lnTo>
                  <a:lnTo>
                    <a:pt x="140" y="69"/>
                  </a:lnTo>
                  <a:lnTo>
                    <a:pt x="139" y="69"/>
                  </a:lnTo>
                  <a:lnTo>
                    <a:pt x="138" y="70"/>
                  </a:lnTo>
                  <a:lnTo>
                    <a:pt x="136" y="72"/>
                  </a:lnTo>
                  <a:lnTo>
                    <a:pt x="135" y="72"/>
                  </a:lnTo>
                  <a:lnTo>
                    <a:pt x="134" y="74"/>
                  </a:lnTo>
                  <a:lnTo>
                    <a:pt x="132" y="76"/>
                  </a:lnTo>
                  <a:lnTo>
                    <a:pt x="127" y="82"/>
                  </a:lnTo>
                  <a:lnTo>
                    <a:pt x="125" y="84"/>
                  </a:lnTo>
                  <a:lnTo>
                    <a:pt x="125" y="85"/>
                  </a:lnTo>
                  <a:lnTo>
                    <a:pt x="124" y="86"/>
                  </a:lnTo>
                  <a:lnTo>
                    <a:pt x="124" y="87"/>
                  </a:lnTo>
                  <a:lnTo>
                    <a:pt x="124" y="88"/>
                  </a:lnTo>
                  <a:lnTo>
                    <a:pt x="124" y="91"/>
                  </a:lnTo>
                  <a:lnTo>
                    <a:pt x="123" y="93"/>
                  </a:lnTo>
                  <a:lnTo>
                    <a:pt x="123" y="94"/>
                  </a:lnTo>
                  <a:lnTo>
                    <a:pt x="123" y="95"/>
                  </a:lnTo>
                  <a:lnTo>
                    <a:pt x="123" y="96"/>
                  </a:lnTo>
                  <a:lnTo>
                    <a:pt x="122" y="97"/>
                  </a:lnTo>
                  <a:lnTo>
                    <a:pt x="121" y="101"/>
                  </a:lnTo>
                  <a:lnTo>
                    <a:pt x="120" y="102"/>
                  </a:lnTo>
                  <a:lnTo>
                    <a:pt x="120" y="103"/>
                  </a:lnTo>
                  <a:lnTo>
                    <a:pt x="119" y="104"/>
                  </a:lnTo>
                  <a:lnTo>
                    <a:pt x="119" y="106"/>
                  </a:lnTo>
                  <a:lnTo>
                    <a:pt x="119" y="107"/>
                  </a:lnTo>
                  <a:lnTo>
                    <a:pt x="120" y="112"/>
                  </a:lnTo>
                  <a:lnTo>
                    <a:pt x="120" y="116"/>
                  </a:lnTo>
                  <a:lnTo>
                    <a:pt x="120" y="118"/>
                  </a:lnTo>
                  <a:lnTo>
                    <a:pt x="120" y="120"/>
                  </a:lnTo>
                  <a:lnTo>
                    <a:pt x="120" y="121"/>
                  </a:lnTo>
                  <a:lnTo>
                    <a:pt x="119" y="122"/>
                  </a:lnTo>
                  <a:lnTo>
                    <a:pt x="119" y="124"/>
                  </a:lnTo>
                  <a:lnTo>
                    <a:pt x="119" y="125"/>
                  </a:lnTo>
                  <a:lnTo>
                    <a:pt x="118" y="126"/>
                  </a:lnTo>
                  <a:lnTo>
                    <a:pt x="118" y="127"/>
                  </a:lnTo>
                  <a:lnTo>
                    <a:pt x="117" y="128"/>
                  </a:lnTo>
                  <a:lnTo>
                    <a:pt x="116" y="130"/>
                  </a:lnTo>
                  <a:lnTo>
                    <a:pt x="115" y="130"/>
                  </a:lnTo>
                  <a:lnTo>
                    <a:pt x="110" y="137"/>
                  </a:lnTo>
                  <a:lnTo>
                    <a:pt x="109" y="138"/>
                  </a:lnTo>
                  <a:lnTo>
                    <a:pt x="108" y="140"/>
                  </a:lnTo>
                  <a:lnTo>
                    <a:pt x="107" y="141"/>
                  </a:lnTo>
                  <a:lnTo>
                    <a:pt x="106" y="143"/>
                  </a:lnTo>
                  <a:lnTo>
                    <a:pt x="105" y="145"/>
                  </a:lnTo>
                  <a:lnTo>
                    <a:pt x="104" y="146"/>
                  </a:lnTo>
                  <a:lnTo>
                    <a:pt x="104" y="147"/>
                  </a:lnTo>
                  <a:lnTo>
                    <a:pt x="104" y="148"/>
                  </a:lnTo>
                  <a:lnTo>
                    <a:pt x="104" y="149"/>
                  </a:lnTo>
                  <a:lnTo>
                    <a:pt x="103" y="150"/>
                  </a:lnTo>
                  <a:lnTo>
                    <a:pt x="103" y="154"/>
                  </a:lnTo>
                  <a:lnTo>
                    <a:pt x="102" y="158"/>
                  </a:lnTo>
                  <a:lnTo>
                    <a:pt x="102" y="158"/>
                  </a:lnTo>
                  <a:lnTo>
                    <a:pt x="102" y="159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5" y="164"/>
                  </a:lnTo>
                  <a:lnTo>
                    <a:pt x="109" y="168"/>
                  </a:lnTo>
                  <a:lnTo>
                    <a:pt x="110" y="169"/>
                  </a:lnTo>
                  <a:lnTo>
                    <a:pt x="110" y="170"/>
                  </a:lnTo>
                  <a:lnTo>
                    <a:pt x="111" y="170"/>
                  </a:lnTo>
                  <a:lnTo>
                    <a:pt x="111" y="171"/>
                  </a:lnTo>
                  <a:lnTo>
                    <a:pt x="111" y="172"/>
                  </a:lnTo>
                  <a:lnTo>
                    <a:pt x="112" y="172"/>
                  </a:lnTo>
                  <a:lnTo>
                    <a:pt x="112" y="173"/>
                  </a:lnTo>
                  <a:lnTo>
                    <a:pt x="112" y="174"/>
                  </a:lnTo>
                  <a:lnTo>
                    <a:pt x="112" y="174"/>
                  </a:lnTo>
                  <a:lnTo>
                    <a:pt x="112" y="175"/>
                  </a:lnTo>
                  <a:lnTo>
                    <a:pt x="112" y="176"/>
                  </a:lnTo>
                  <a:lnTo>
                    <a:pt x="112" y="177"/>
                  </a:lnTo>
                  <a:lnTo>
                    <a:pt x="111" y="178"/>
                  </a:lnTo>
                  <a:lnTo>
                    <a:pt x="110" y="179"/>
                  </a:lnTo>
                  <a:lnTo>
                    <a:pt x="110" y="180"/>
                  </a:lnTo>
                  <a:lnTo>
                    <a:pt x="109" y="181"/>
                  </a:lnTo>
                  <a:lnTo>
                    <a:pt x="107" y="184"/>
                  </a:lnTo>
                  <a:lnTo>
                    <a:pt x="106" y="186"/>
                  </a:lnTo>
                  <a:lnTo>
                    <a:pt x="105" y="188"/>
                  </a:lnTo>
                  <a:lnTo>
                    <a:pt x="104" y="188"/>
                  </a:lnTo>
                  <a:lnTo>
                    <a:pt x="104" y="189"/>
                  </a:lnTo>
                  <a:lnTo>
                    <a:pt x="104" y="189"/>
                  </a:lnTo>
                  <a:lnTo>
                    <a:pt x="104" y="190"/>
                  </a:lnTo>
                  <a:lnTo>
                    <a:pt x="104" y="191"/>
                  </a:lnTo>
                  <a:lnTo>
                    <a:pt x="104" y="193"/>
                  </a:lnTo>
                  <a:lnTo>
                    <a:pt x="104" y="194"/>
                  </a:lnTo>
                  <a:lnTo>
                    <a:pt x="104" y="195"/>
                  </a:lnTo>
                  <a:lnTo>
                    <a:pt x="103" y="196"/>
                  </a:lnTo>
                  <a:lnTo>
                    <a:pt x="103" y="197"/>
                  </a:lnTo>
                  <a:lnTo>
                    <a:pt x="102" y="199"/>
                  </a:lnTo>
                  <a:lnTo>
                    <a:pt x="101" y="202"/>
                  </a:lnTo>
                  <a:lnTo>
                    <a:pt x="100" y="203"/>
                  </a:lnTo>
                  <a:lnTo>
                    <a:pt x="100" y="204"/>
                  </a:lnTo>
                  <a:lnTo>
                    <a:pt x="100" y="205"/>
                  </a:lnTo>
                  <a:lnTo>
                    <a:pt x="100" y="206"/>
                  </a:lnTo>
                  <a:lnTo>
                    <a:pt x="100" y="207"/>
                  </a:lnTo>
                  <a:lnTo>
                    <a:pt x="100" y="207"/>
                  </a:lnTo>
                  <a:lnTo>
                    <a:pt x="100" y="208"/>
                  </a:lnTo>
                  <a:lnTo>
                    <a:pt x="100" y="208"/>
                  </a:lnTo>
                  <a:lnTo>
                    <a:pt x="100" y="209"/>
                  </a:lnTo>
                  <a:lnTo>
                    <a:pt x="101" y="211"/>
                  </a:lnTo>
                  <a:lnTo>
                    <a:pt x="102" y="212"/>
                  </a:lnTo>
                  <a:lnTo>
                    <a:pt x="103" y="213"/>
                  </a:lnTo>
                  <a:lnTo>
                    <a:pt x="103" y="213"/>
                  </a:lnTo>
                  <a:lnTo>
                    <a:pt x="105" y="215"/>
                  </a:lnTo>
                  <a:lnTo>
                    <a:pt x="106" y="218"/>
                  </a:lnTo>
                  <a:lnTo>
                    <a:pt x="107" y="218"/>
                  </a:lnTo>
                  <a:lnTo>
                    <a:pt x="108" y="219"/>
                  </a:lnTo>
                  <a:lnTo>
                    <a:pt x="109" y="220"/>
                  </a:lnTo>
                  <a:lnTo>
                    <a:pt x="109" y="220"/>
                  </a:lnTo>
                  <a:lnTo>
                    <a:pt x="110" y="220"/>
                  </a:lnTo>
                  <a:lnTo>
                    <a:pt x="110" y="221"/>
                  </a:lnTo>
                  <a:lnTo>
                    <a:pt x="111" y="221"/>
                  </a:lnTo>
                  <a:lnTo>
                    <a:pt x="112" y="221"/>
                  </a:lnTo>
                  <a:lnTo>
                    <a:pt x="113" y="220"/>
                  </a:lnTo>
                  <a:lnTo>
                    <a:pt x="115" y="220"/>
                  </a:lnTo>
                  <a:lnTo>
                    <a:pt x="116" y="220"/>
                  </a:lnTo>
                  <a:lnTo>
                    <a:pt x="117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20" y="219"/>
                  </a:lnTo>
                  <a:lnTo>
                    <a:pt x="120" y="220"/>
                  </a:lnTo>
                  <a:lnTo>
                    <a:pt x="120" y="220"/>
                  </a:lnTo>
                  <a:lnTo>
                    <a:pt x="120" y="221"/>
                  </a:lnTo>
                  <a:lnTo>
                    <a:pt x="120" y="222"/>
                  </a:lnTo>
                  <a:lnTo>
                    <a:pt x="120" y="224"/>
                  </a:lnTo>
                  <a:lnTo>
                    <a:pt x="119" y="227"/>
                  </a:lnTo>
                  <a:lnTo>
                    <a:pt x="119" y="228"/>
                  </a:lnTo>
                  <a:lnTo>
                    <a:pt x="119" y="229"/>
                  </a:lnTo>
                  <a:lnTo>
                    <a:pt x="119" y="230"/>
                  </a:lnTo>
                  <a:lnTo>
                    <a:pt x="120" y="231"/>
                  </a:lnTo>
                  <a:lnTo>
                    <a:pt x="120" y="231"/>
                  </a:lnTo>
                  <a:lnTo>
                    <a:pt x="120" y="232"/>
                  </a:lnTo>
                  <a:lnTo>
                    <a:pt x="120" y="232"/>
                  </a:lnTo>
                  <a:lnTo>
                    <a:pt x="121" y="232"/>
                  </a:lnTo>
                  <a:lnTo>
                    <a:pt x="121" y="233"/>
                  </a:lnTo>
                  <a:lnTo>
                    <a:pt x="122" y="233"/>
                  </a:lnTo>
                  <a:lnTo>
                    <a:pt x="122" y="233"/>
                  </a:lnTo>
                  <a:lnTo>
                    <a:pt x="123" y="233"/>
                  </a:lnTo>
                  <a:lnTo>
                    <a:pt x="127" y="233"/>
                  </a:lnTo>
                  <a:lnTo>
                    <a:pt x="130" y="233"/>
                  </a:lnTo>
                  <a:lnTo>
                    <a:pt x="131" y="233"/>
                  </a:lnTo>
                  <a:lnTo>
                    <a:pt x="132" y="232"/>
                  </a:lnTo>
                  <a:lnTo>
                    <a:pt x="132" y="232"/>
                  </a:lnTo>
                  <a:lnTo>
                    <a:pt x="133" y="232"/>
                  </a:lnTo>
                  <a:lnTo>
                    <a:pt x="133" y="231"/>
                  </a:lnTo>
                  <a:lnTo>
                    <a:pt x="134" y="230"/>
                  </a:lnTo>
                  <a:lnTo>
                    <a:pt x="135" y="229"/>
                  </a:lnTo>
                  <a:lnTo>
                    <a:pt x="136" y="228"/>
                  </a:lnTo>
                  <a:lnTo>
                    <a:pt x="137" y="227"/>
                  </a:lnTo>
                  <a:lnTo>
                    <a:pt x="138" y="226"/>
                  </a:lnTo>
                  <a:lnTo>
                    <a:pt x="141" y="224"/>
                  </a:lnTo>
                  <a:lnTo>
                    <a:pt x="144" y="221"/>
                  </a:lnTo>
                  <a:lnTo>
                    <a:pt x="145" y="220"/>
                  </a:lnTo>
                  <a:lnTo>
                    <a:pt x="147" y="219"/>
                  </a:lnTo>
                  <a:lnTo>
                    <a:pt x="148" y="218"/>
                  </a:lnTo>
                  <a:lnTo>
                    <a:pt x="149" y="218"/>
                  </a:lnTo>
                  <a:lnTo>
                    <a:pt x="150" y="218"/>
                  </a:lnTo>
                  <a:lnTo>
                    <a:pt x="151" y="217"/>
                  </a:lnTo>
                  <a:lnTo>
                    <a:pt x="153" y="216"/>
                  </a:lnTo>
                  <a:lnTo>
                    <a:pt x="154" y="216"/>
                  </a:lnTo>
                  <a:lnTo>
                    <a:pt x="154" y="216"/>
                  </a:lnTo>
                  <a:lnTo>
                    <a:pt x="156" y="215"/>
                  </a:lnTo>
                  <a:lnTo>
                    <a:pt x="158" y="215"/>
                  </a:lnTo>
                  <a:lnTo>
                    <a:pt x="159" y="215"/>
                  </a:lnTo>
                  <a:lnTo>
                    <a:pt x="160" y="215"/>
                  </a:lnTo>
                  <a:lnTo>
                    <a:pt x="161" y="215"/>
                  </a:lnTo>
                  <a:lnTo>
                    <a:pt x="161" y="215"/>
                  </a:lnTo>
                  <a:lnTo>
                    <a:pt x="162" y="216"/>
                  </a:lnTo>
                  <a:lnTo>
                    <a:pt x="163" y="216"/>
                  </a:lnTo>
                  <a:lnTo>
                    <a:pt x="163" y="217"/>
                  </a:lnTo>
                  <a:lnTo>
                    <a:pt x="164" y="217"/>
                  </a:lnTo>
                  <a:lnTo>
                    <a:pt x="165" y="218"/>
                  </a:lnTo>
                  <a:lnTo>
                    <a:pt x="165" y="218"/>
                  </a:lnTo>
                  <a:lnTo>
                    <a:pt x="166" y="219"/>
                  </a:lnTo>
                  <a:lnTo>
                    <a:pt x="166" y="220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2"/>
                  </a:lnTo>
                  <a:lnTo>
                    <a:pt x="166" y="224"/>
                  </a:lnTo>
                  <a:lnTo>
                    <a:pt x="165" y="226"/>
                  </a:lnTo>
                  <a:lnTo>
                    <a:pt x="164" y="230"/>
                  </a:lnTo>
                  <a:lnTo>
                    <a:pt x="164" y="233"/>
                  </a:lnTo>
                  <a:lnTo>
                    <a:pt x="164" y="233"/>
                  </a:lnTo>
                  <a:lnTo>
                    <a:pt x="164" y="234"/>
                  </a:lnTo>
                  <a:lnTo>
                    <a:pt x="164" y="235"/>
                  </a:lnTo>
                  <a:lnTo>
                    <a:pt x="164" y="236"/>
                  </a:lnTo>
                  <a:lnTo>
                    <a:pt x="165" y="237"/>
                  </a:lnTo>
                  <a:lnTo>
                    <a:pt x="165" y="239"/>
                  </a:lnTo>
                  <a:lnTo>
                    <a:pt x="166" y="240"/>
                  </a:lnTo>
                  <a:lnTo>
                    <a:pt x="167" y="241"/>
                  </a:lnTo>
                  <a:lnTo>
                    <a:pt x="168" y="242"/>
                  </a:lnTo>
                  <a:lnTo>
                    <a:pt x="168" y="242"/>
                  </a:lnTo>
                  <a:lnTo>
                    <a:pt x="169" y="242"/>
                  </a:lnTo>
                  <a:lnTo>
                    <a:pt x="169" y="242"/>
                  </a:lnTo>
                  <a:lnTo>
                    <a:pt x="170" y="242"/>
                  </a:lnTo>
                  <a:lnTo>
                    <a:pt x="170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72" y="241"/>
                  </a:lnTo>
                  <a:lnTo>
                    <a:pt x="173" y="239"/>
                  </a:lnTo>
                  <a:lnTo>
                    <a:pt x="174" y="238"/>
                  </a:lnTo>
                  <a:lnTo>
                    <a:pt x="174" y="238"/>
                  </a:lnTo>
                  <a:lnTo>
                    <a:pt x="176" y="236"/>
                  </a:lnTo>
                  <a:lnTo>
                    <a:pt x="177" y="235"/>
                  </a:lnTo>
                  <a:lnTo>
                    <a:pt x="177" y="234"/>
                  </a:lnTo>
                  <a:lnTo>
                    <a:pt x="177" y="234"/>
                  </a:lnTo>
                  <a:lnTo>
                    <a:pt x="178" y="233"/>
                  </a:lnTo>
                  <a:lnTo>
                    <a:pt x="178" y="232"/>
                  </a:lnTo>
                  <a:lnTo>
                    <a:pt x="179" y="231"/>
                  </a:lnTo>
                  <a:lnTo>
                    <a:pt x="179" y="231"/>
                  </a:lnTo>
                  <a:lnTo>
                    <a:pt x="180" y="230"/>
                  </a:lnTo>
                  <a:lnTo>
                    <a:pt x="180" y="230"/>
                  </a:lnTo>
                  <a:lnTo>
                    <a:pt x="182" y="229"/>
                  </a:lnTo>
                  <a:lnTo>
                    <a:pt x="182" y="229"/>
                  </a:lnTo>
                  <a:lnTo>
                    <a:pt x="183" y="228"/>
                  </a:lnTo>
                  <a:lnTo>
                    <a:pt x="184" y="228"/>
                  </a:lnTo>
                  <a:lnTo>
                    <a:pt x="184" y="228"/>
                  </a:lnTo>
                  <a:lnTo>
                    <a:pt x="184" y="228"/>
                  </a:lnTo>
                  <a:lnTo>
                    <a:pt x="185" y="228"/>
                  </a:lnTo>
                  <a:lnTo>
                    <a:pt x="185" y="228"/>
                  </a:lnTo>
                  <a:lnTo>
                    <a:pt x="186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8" y="228"/>
                  </a:lnTo>
                  <a:lnTo>
                    <a:pt x="189" y="228"/>
                  </a:lnTo>
                  <a:lnTo>
                    <a:pt x="189" y="227"/>
                  </a:lnTo>
                  <a:lnTo>
                    <a:pt x="190" y="226"/>
                  </a:lnTo>
                  <a:lnTo>
                    <a:pt x="191" y="225"/>
                  </a:lnTo>
                  <a:lnTo>
                    <a:pt x="191" y="225"/>
                  </a:lnTo>
                  <a:lnTo>
                    <a:pt x="191" y="224"/>
                  </a:lnTo>
                  <a:lnTo>
                    <a:pt x="192" y="224"/>
                  </a:lnTo>
                  <a:lnTo>
                    <a:pt x="192" y="223"/>
                  </a:lnTo>
                  <a:lnTo>
                    <a:pt x="192" y="222"/>
                  </a:lnTo>
                  <a:lnTo>
                    <a:pt x="192" y="221"/>
                  </a:lnTo>
                  <a:lnTo>
                    <a:pt x="191" y="220"/>
                  </a:lnTo>
                  <a:lnTo>
                    <a:pt x="190" y="213"/>
                  </a:lnTo>
                  <a:lnTo>
                    <a:pt x="189" y="212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90" y="210"/>
                  </a:lnTo>
                  <a:lnTo>
                    <a:pt x="190" y="209"/>
                  </a:lnTo>
                  <a:lnTo>
                    <a:pt x="191" y="209"/>
                  </a:lnTo>
                  <a:lnTo>
                    <a:pt x="191" y="209"/>
                  </a:lnTo>
                  <a:lnTo>
                    <a:pt x="192" y="209"/>
                  </a:lnTo>
                  <a:lnTo>
                    <a:pt x="193" y="209"/>
                  </a:lnTo>
                  <a:lnTo>
                    <a:pt x="194" y="209"/>
                  </a:lnTo>
                  <a:lnTo>
                    <a:pt x="194" y="209"/>
                  </a:lnTo>
                  <a:lnTo>
                    <a:pt x="195" y="210"/>
                  </a:lnTo>
                  <a:lnTo>
                    <a:pt x="195" y="210"/>
                  </a:lnTo>
                  <a:lnTo>
                    <a:pt x="195" y="210"/>
                  </a:lnTo>
                  <a:lnTo>
                    <a:pt x="196" y="211"/>
                  </a:lnTo>
                  <a:lnTo>
                    <a:pt x="197" y="214"/>
                  </a:lnTo>
                  <a:lnTo>
                    <a:pt x="198" y="216"/>
                  </a:lnTo>
                  <a:lnTo>
                    <a:pt x="199" y="218"/>
                  </a:lnTo>
                  <a:lnTo>
                    <a:pt x="199" y="219"/>
                  </a:lnTo>
                  <a:lnTo>
                    <a:pt x="200" y="220"/>
                  </a:lnTo>
                  <a:lnTo>
                    <a:pt x="200" y="222"/>
                  </a:lnTo>
                  <a:lnTo>
                    <a:pt x="200" y="224"/>
                  </a:lnTo>
                  <a:lnTo>
                    <a:pt x="200" y="224"/>
                  </a:lnTo>
                  <a:lnTo>
                    <a:pt x="200" y="226"/>
                  </a:lnTo>
                  <a:lnTo>
                    <a:pt x="200" y="227"/>
                  </a:lnTo>
                  <a:lnTo>
                    <a:pt x="201" y="229"/>
                  </a:lnTo>
                  <a:lnTo>
                    <a:pt x="201" y="230"/>
                  </a:lnTo>
                  <a:lnTo>
                    <a:pt x="203" y="232"/>
                  </a:lnTo>
                  <a:lnTo>
                    <a:pt x="203" y="233"/>
                  </a:lnTo>
                  <a:lnTo>
                    <a:pt x="204" y="234"/>
                  </a:lnTo>
                  <a:lnTo>
                    <a:pt x="204" y="234"/>
                  </a:lnTo>
                  <a:lnTo>
                    <a:pt x="204" y="235"/>
                  </a:lnTo>
                  <a:lnTo>
                    <a:pt x="205" y="236"/>
                  </a:lnTo>
                  <a:lnTo>
                    <a:pt x="205" y="236"/>
                  </a:lnTo>
                  <a:lnTo>
                    <a:pt x="205" y="238"/>
                  </a:lnTo>
                  <a:lnTo>
                    <a:pt x="205" y="239"/>
                  </a:lnTo>
                  <a:lnTo>
                    <a:pt x="205" y="240"/>
                  </a:lnTo>
                  <a:lnTo>
                    <a:pt x="206" y="241"/>
                  </a:lnTo>
                  <a:lnTo>
                    <a:pt x="206" y="242"/>
                  </a:lnTo>
                  <a:lnTo>
                    <a:pt x="206" y="242"/>
                  </a:lnTo>
                  <a:lnTo>
                    <a:pt x="209" y="245"/>
                  </a:lnTo>
                  <a:lnTo>
                    <a:pt x="210" y="246"/>
                  </a:lnTo>
                  <a:lnTo>
                    <a:pt x="211" y="247"/>
                  </a:lnTo>
                  <a:lnTo>
                    <a:pt x="212" y="249"/>
                  </a:lnTo>
                  <a:lnTo>
                    <a:pt x="212" y="250"/>
                  </a:lnTo>
                  <a:lnTo>
                    <a:pt x="213" y="251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5" y="253"/>
                  </a:lnTo>
                  <a:lnTo>
                    <a:pt x="216" y="253"/>
                  </a:lnTo>
                  <a:lnTo>
                    <a:pt x="218" y="254"/>
                  </a:lnTo>
                  <a:lnTo>
                    <a:pt x="219" y="255"/>
                  </a:lnTo>
                  <a:lnTo>
                    <a:pt x="220" y="255"/>
                  </a:lnTo>
                  <a:lnTo>
                    <a:pt x="221" y="256"/>
                  </a:lnTo>
                  <a:lnTo>
                    <a:pt x="222" y="257"/>
                  </a:lnTo>
                  <a:lnTo>
                    <a:pt x="223" y="258"/>
                  </a:lnTo>
                  <a:lnTo>
                    <a:pt x="224" y="259"/>
                  </a:lnTo>
                  <a:lnTo>
                    <a:pt x="225" y="259"/>
                  </a:lnTo>
                  <a:lnTo>
                    <a:pt x="229" y="261"/>
                  </a:lnTo>
                  <a:lnTo>
                    <a:pt x="231" y="262"/>
                  </a:lnTo>
                  <a:lnTo>
                    <a:pt x="232" y="262"/>
                  </a:lnTo>
                  <a:lnTo>
                    <a:pt x="233" y="262"/>
                  </a:lnTo>
                  <a:lnTo>
                    <a:pt x="236" y="263"/>
                  </a:lnTo>
                  <a:lnTo>
                    <a:pt x="237" y="263"/>
                  </a:lnTo>
                  <a:lnTo>
                    <a:pt x="238" y="263"/>
                  </a:lnTo>
                  <a:lnTo>
                    <a:pt x="238" y="263"/>
                  </a:lnTo>
                  <a:lnTo>
                    <a:pt x="239" y="263"/>
                  </a:lnTo>
                  <a:lnTo>
                    <a:pt x="240" y="263"/>
                  </a:lnTo>
                  <a:lnTo>
                    <a:pt x="242" y="262"/>
                  </a:lnTo>
                  <a:lnTo>
                    <a:pt x="244" y="261"/>
                  </a:lnTo>
                  <a:lnTo>
                    <a:pt x="246" y="260"/>
                  </a:lnTo>
                  <a:lnTo>
                    <a:pt x="247" y="260"/>
                  </a:lnTo>
                  <a:lnTo>
                    <a:pt x="252" y="258"/>
                  </a:lnTo>
                  <a:lnTo>
                    <a:pt x="253" y="258"/>
                  </a:lnTo>
                  <a:lnTo>
                    <a:pt x="256" y="257"/>
                  </a:lnTo>
                  <a:lnTo>
                    <a:pt x="256" y="257"/>
                  </a:lnTo>
                  <a:lnTo>
                    <a:pt x="257" y="257"/>
                  </a:lnTo>
                  <a:lnTo>
                    <a:pt x="258" y="257"/>
                  </a:lnTo>
                  <a:lnTo>
                    <a:pt x="258" y="257"/>
                  </a:lnTo>
                  <a:lnTo>
                    <a:pt x="259" y="257"/>
                  </a:lnTo>
                  <a:lnTo>
                    <a:pt x="259" y="257"/>
                  </a:lnTo>
                  <a:lnTo>
                    <a:pt x="260" y="258"/>
                  </a:lnTo>
                  <a:lnTo>
                    <a:pt x="260" y="258"/>
                  </a:lnTo>
                  <a:lnTo>
                    <a:pt x="261" y="259"/>
                  </a:lnTo>
                  <a:lnTo>
                    <a:pt x="261" y="260"/>
                  </a:lnTo>
                  <a:lnTo>
                    <a:pt x="262" y="261"/>
                  </a:lnTo>
                  <a:lnTo>
                    <a:pt x="262" y="262"/>
                  </a:lnTo>
                  <a:lnTo>
                    <a:pt x="263" y="263"/>
                  </a:lnTo>
                  <a:lnTo>
                    <a:pt x="263" y="264"/>
                  </a:lnTo>
                  <a:lnTo>
                    <a:pt x="264" y="266"/>
                  </a:lnTo>
                  <a:lnTo>
                    <a:pt x="264" y="267"/>
                  </a:lnTo>
                  <a:lnTo>
                    <a:pt x="264" y="269"/>
                  </a:lnTo>
                  <a:lnTo>
                    <a:pt x="264" y="270"/>
                  </a:lnTo>
                  <a:lnTo>
                    <a:pt x="264" y="271"/>
                  </a:lnTo>
                  <a:lnTo>
                    <a:pt x="264" y="272"/>
                  </a:lnTo>
                  <a:lnTo>
                    <a:pt x="264" y="273"/>
                  </a:lnTo>
                  <a:lnTo>
                    <a:pt x="264" y="274"/>
                  </a:lnTo>
                  <a:lnTo>
                    <a:pt x="263" y="278"/>
                  </a:lnTo>
                  <a:lnTo>
                    <a:pt x="262" y="280"/>
                  </a:lnTo>
                  <a:lnTo>
                    <a:pt x="262" y="281"/>
                  </a:lnTo>
                  <a:lnTo>
                    <a:pt x="262" y="282"/>
                  </a:lnTo>
                  <a:lnTo>
                    <a:pt x="262" y="283"/>
                  </a:lnTo>
                  <a:lnTo>
                    <a:pt x="262" y="284"/>
                  </a:lnTo>
                  <a:lnTo>
                    <a:pt x="262" y="286"/>
                  </a:lnTo>
                  <a:lnTo>
                    <a:pt x="262" y="287"/>
                  </a:lnTo>
                  <a:lnTo>
                    <a:pt x="263" y="289"/>
                  </a:lnTo>
                  <a:lnTo>
                    <a:pt x="263" y="291"/>
                  </a:lnTo>
                  <a:lnTo>
                    <a:pt x="263" y="292"/>
                  </a:lnTo>
                  <a:lnTo>
                    <a:pt x="264" y="293"/>
                  </a:lnTo>
                  <a:lnTo>
                    <a:pt x="264" y="294"/>
                  </a:lnTo>
                  <a:lnTo>
                    <a:pt x="265" y="295"/>
                  </a:lnTo>
                  <a:lnTo>
                    <a:pt x="265" y="295"/>
                  </a:lnTo>
                  <a:lnTo>
                    <a:pt x="266" y="296"/>
                  </a:lnTo>
                  <a:lnTo>
                    <a:pt x="267" y="297"/>
                  </a:lnTo>
                  <a:lnTo>
                    <a:pt x="268" y="297"/>
                  </a:lnTo>
                  <a:lnTo>
                    <a:pt x="269" y="298"/>
                  </a:lnTo>
                  <a:lnTo>
                    <a:pt x="270" y="299"/>
                  </a:lnTo>
                  <a:lnTo>
                    <a:pt x="271" y="299"/>
                  </a:lnTo>
                  <a:lnTo>
                    <a:pt x="272" y="300"/>
                  </a:lnTo>
                  <a:lnTo>
                    <a:pt x="273" y="300"/>
                  </a:lnTo>
                  <a:lnTo>
                    <a:pt x="273" y="300"/>
                  </a:lnTo>
                  <a:lnTo>
                    <a:pt x="274" y="300"/>
                  </a:lnTo>
                  <a:lnTo>
                    <a:pt x="275" y="299"/>
                  </a:lnTo>
                  <a:lnTo>
                    <a:pt x="275" y="299"/>
                  </a:lnTo>
                  <a:lnTo>
                    <a:pt x="276" y="299"/>
                  </a:lnTo>
                  <a:lnTo>
                    <a:pt x="277" y="298"/>
                  </a:lnTo>
                  <a:lnTo>
                    <a:pt x="278" y="298"/>
                  </a:lnTo>
                  <a:lnTo>
                    <a:pt x="278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80" y="297"/>
                  </a:lnTo>
                  <a:lnTo>
                    <a:pt x="280" y="298"/>
                  </a:lnTo>
                  <a:lnTo>
                    <a:pt x="281" y="298"/>
                  </a:lnTo>
                  <a:lnTo>
                    <a:pt x="282" y="299"/>
                  </a:lnTo>
                  <a:lnTo>
                    <a:pt x="282" y="300"/>
                  </a:lnTo>
                  <a:lnTo>
                    <a:pt x="283" y="301"/>
                  </a:lnTo>
                  <a:lnTo>
                    <a:pt x="285" y="302"/>
                  </a:lnTo>
                  <a:lnTo>
                    <a:pt x="286" y="304"/>
                  </a:lnTo>
                  <a:lnTo>
                    <a:pt x="286" y="305"/>
                  </a:lnTo>
                  <a:lnTo>
                    <a:pt x="287" y="306"/>
                  </a:lnTo>
                  <a:lnTo>
                    <a:pt x="288" y="308"/>
                  </a:lnTo>
                  <a:lnTo>
                    <a:pt x="289" y="309"/>
                  </a:lnTo>
                  <a:lnTo>
                    <a:pt x="290" y="311"/>
                  </a:lnTo>
                  <a:lnTo>
                    <a:pt x="291" y="312"/>
                  </a:lnTo>
                  <a:lnTo>
                    <a:pt x="291" y="313"/>
                  </a:lnTo>
                  <a:lnTo>
                    <a:pt x="292" y="313"/>
                  </a:lnTo>
                  <a:lnTo>
                    <a:pt x="293" y="314"/>
                  </a:lnTo>
                  <a:lnTo>
                    <a:pt x="300" y="320"/>
                  </a:lnTo>
                  <a:lnTo>
                    <a:pt x="302" y="320"/>
                  </a:lnTo>
                  <a:lnTo>
                    <a:pt x="303" y="322"/>
                  </a:lnTo>
                  <a:lnTo>
                    <a:pt x="306" y="325"/>
                  </a:lnTo>
                  <a:lnTo>
                    <a:pt x="308" y="327"/>
                  </a:lnTo>
                  <a:lnTo>
                    <a:pt x="309" y="328"/>
                  </a:lnTo>
                  <a:lnTo>
                    <a:pt x="311" y="330"/>
                  </a:lnTo>
                  <a:lnTo>
                    <a:pt x="312" y="332"/>
                  </a:lnTo>
                  <a:lnTo>
                    <a:pt x="314" y="335"/>
                  </a:lnTo>
                  <a:lnTo>
                    <a:pt x="315" y="338"/>
                  </a:lnTo>
                  <a:lnTo>
                    <a:pt x="316" y="339"/>
                  </a:lnTo>
                  <a:lnTo>
                    <a:pt x="316" y="339"/>
                  </a:lnTo>
                  <a:lnTo>
                    <a:pt x="316" y="340"/>
                  </a:lnTo>
                  <a:lnTo>
                    <a:pt x="316" y="341"/>
                  </a:lnTo>
                  <a:lnTo>
                    <a:pt x="316" y="341"/>
                  </a:lnTo>
                  <a:lnTo>
                    <a:pt x="316" y="342"/>
                  </a:lnTo>
                  <a:lnTo>
                    <a:pt x="316" y="343"/>
                  </a:lnTo>
                  <a:lnTo>
                    <a:pt x="315" y="344"/>
                  </a:lnTo>
                  <a:lnTo>
                    <a:pt x="315" y="345"/>
                  </a:lnTo>
                  <a:lnTo>
                    <a:pt x="314" y="346"/>
                  </a:lnTo>
                  <a:lnTo>
                    <a:pt x="314" y="347"/>
                  </a:lnTo>
                  <a:lnTo>
                    <a:pt x="314" y="347"/>
                  </a:lnTo>
                  <a:lnTo>
                    <a:pt x="314" y="348"/>
                  </a:lnTo>
                  <a:lnTo>
                    <a:pt x="315" y="349"/>
                  </a:lnTo>
                  <a:lnTo>
                    <a:pt x="315" y="350"/>
                  </a:lnTo>
                  <a:lnTo>
                    <a:pt x="316" y="350"/>
                  </a:lnTo>
                  <a:lnTo>
                    <a:pt x="316" y="351"/>
                  </a:lnTo>
                  <a:lnTo>
                    <a:pt x="316" y="351"/>
                  </a:lnTo>
                  <a:lnTo>
                    <a:pt x="317" y="351"/>
                  </a:lnTo>
                  <a:lnTo>
                    <a:pt x="318" y="351"/>
                  </a:lnTo>
                  <a:lnTo>
                    <a:pt x="318" y="351"/>
                  </a:lnTo>
                  <a:lnTo>
                    <a:pt x="318" y="351"/>
                  </a:lnTo>
                  <a:lnTo>
                    <a:pt x="319" y="351"/>
                  </a:lnTo>
                  <a:lnTo>
                    <a:pt x="321" y="349"/>
                  </a:lnTo>
                  <a:lnTo>
                    <a:pt x="322" y="348"/>
                  </a:lnTo>
                  <a:lnTo>
                    <a:pt x="323" y="347"/>
                  </a:lnTo>
                  <a:lnTo>
                    <a:pt x="324" y="347"/>
                  </a:lnTo>
                  <a:lnTo>
                    <a:pt x="325" y="347"/>
                  </a:lnTo>
                  <a:lnTo>
                    <a:pt x="326" y="346"/>
                  </a:lnTo>
                  <a:lnTo>
                    <a:pt x="326" y="346"/>
                  </a:lnTo>
                  <a:lnTo>
                    <a:pt x="327" y="346"/>
                  </a:lnTo>
                  <a:lnTo>
                    <a:pt x="327" y="347"/>
                  </a:lnTo>
                  <a:lnTo>
                    <a:pt x="328" y="347"/>
                  </a:lnTo>
                  <a:lnTo>
                    <a:pt x="328" y="347"/>
                  </a:lnTo>
                  <a:lnTo>
                    <a:pt x="328" y="347"/>
                  </a:lnTo>
                  <a:lnTo>
                    <a:pt x="329" y="348"/>
                  </a:lnTo>
                  <a:lnTo>
                    <a:pt x="330" y="349"/>
                  </a:lnTo>
                  <a:lnTo>
                    <a:pt x="331" y="350"/>
                  </a:lnTo>
                  <a:lnTo>
                    <a:pt x="331" y="351"/>
                  </a:lnTo>
                  <a:lnTo>
                    <a:pt x="333" y="354"/>
                  </a:lnTo>
                  <a:lnTo>
                    <a:pt x="334" y="357"/>
                  </a:lnTo>
                  <a:lnTo>
                    <a:pt x="334" y="357"/>
                  </a:lnTo>
                  <a:lnTo>
                    <a:pt x="334" y="358"/>
                  </a:lnTo>
                  <a:lnTo>
                    <a:pt x="334" y="358"/>
                  </a:lnTo>
                  <a:lnTo>
                    <a:pt x="334" y="359"/>
                  </a:lnTo>
                  <a:lnTo>
                    <a:pt x="334" y="359"/>
                  </a:lnTo>
                  <a:lnTo>
                    <a:pt x="333" y="360"/>
                  </a:lnTo>
                  <a:lnTo>
                    <a:pt x="333" y="361"/>
                  </a:lnTo>
                  <a:lnTo>
                    <a:pt x="332" y="362"/>
                  </a:lnTo>
                  <a:lnTo>
                    <a:pt x="331" y="364"/>
                  </a:lnTo>
                  <a:lnTo>
                    <a:pt x="330" y="365"/>
                  </a:lnTo>
                  <a:lnTo>
                    <a:pt x="330" y="366"/>
                  </a:lnTo>
                  <a:lnTo>
                    <a:pt x="329" y="367"/>
                  </a:lnTo>
                  <a:lnTo>
                    <a:pt x="329" y="367"/>
                  </a:lnTo>
                  <a:lnTo>
                    <a:pt x="328" y="368"/>
                  </a:lnTo>
                  <a:lnTo>
                    <a:pt x="327" y="368"/>
                  </a:lnTo>
                  <a:lnTo>
                    <a:pt x="327" y="368"/>
                  </a:lnTo>
                  <a:lnTo>
                    <a:pt x="326" y="369"/>
                  </a:lnTo>
                  <a:lnTo>
                    <a:pt x="326" y="369"/>
                  </a:lnTo>
                  <a:lnTo>
                    <a:pt x="325" y="369"/>
                  </a:lnTo>
                  <a:lnTo>
                    <a:pt x="324" y="369"/>
                  </a:lnTo>
                  <a:lnTo>
                    <a:pt x="324" y="369"/>
                  </a:lnTo>
                  <a:lnTo>
                    <a:pt x="323" y="369"/>
                  </a:lnTo>
                  <a:lnTo>
                    <a:pt x="322" y="369"/>
                  </a:lnTo>
                  <a:lnTo>
                    <a:pt x="320" y="368"/>
                  </a:lnTo>
                  <a:lnTo>
                    <a:pt x="317" y="368"/>
                  </a:lnTo>
                  <a:lnTo>
                    <a:pt x="316" y="367"/>
                  </a:lnTo>
                  <a:lnTo>
                    <a:pt x="315" y="367"/>
                  </a:lnTo>
                  <a:lnTo>
                    <a:pt x="314" y="367"/>
                  </a:lnTo>
                  <a:lnTo>
                    <a:pt x="313" y="367"/>
                  </a:lnTo>
                  <a:lnTo>
                    <a:pt x="313" y="367"/>
                  </a:lnTo>
                  <a:lnTo>
                    <a:pt x="313" y="368"/>
                  </a:lnTo>
                  <a:lnTo>
                    <a:pt x="312" y="369"/>
                  </a:lnTo>
                  <a:lnTo>
                    <a:pt x="311" y="370"/>
                  </a:lnTo>
                  <a:lnTo>
                    <a:pt x="310" y="372"/>
                  </a:lnTo>
                  <a:lnTo>
                    <a:pt x="310" y="372"/>
                  </a:lnTo>
                  <a:lnTo>
                    <a:pt x="309" y="373"/>
                  </a:lnTo>
                  <a:lnTo>
                    <a:pt x="309" y="374"/>
                  </a:lnTo>
                  <a:lnTo>
                    <a:pt x="308" y="374"/>
                  </a:lnTo>
                  <a:lnTo>
                    <a:pt x="307" y="375"/>
                  </a:lnTo>
                  <a:lnTo>
                    <a:pt x="305" y="376"/>
                  </a:lnTo>
                  <a:lnTo>
                    <a:pt x="304" y="377"/>
                  </a:lnTo>
                  <a:lnTo>
                    <a:pt x="303" y="378"/>
                  </a:lnTo>
                  <a:lnTo>
                    <a:pt x="302" y="380"/>
                  </a:lnTo>
                  <a:lnTo>
                    <a:pt x="300" y="382"/>
                  </a:lnTo>
                  <a:lnTo>
                    <a:pt x="299" y="382"/>
                  </a:lnTo>
                  <a:lnTo>
                    <a:pt x="299" y="383"/>
                  </a:lnTo>
                  <a:lnTo>
                    <a:pt x="299" y="384"/>
                  </a:lnTo>
                  <a:lnTo>
                    <a:pt x="299" y="384"/>
                  </a:lnTo>
                  <a:lnTo>
                    <a:pt x="298" y="385"/>
                  </a:lnTo>
                  <a:lnTo>
                    <a:pt x="298" y="388"/>
                  </a:lnTo>
                  <a:lnTo>
                    <a:pt x="298" y="389"/>
                  </a:lnTo>
                  <a:lnTo>
                    <a:pt x="298" y="390"/>
                  </a:lnTo>
                  <a:lnTo>
                    <a:pt x="298" y="392"/>
                  </a:lnTo>
                  <a:lnTo>
                    <a:pt x="297" y="393"/>
                  </a:lnTo>
                  <a:lnTo>
                    <a:pt x="296" y="396"/>
                  </a:lnTo>
                  <a:lnTo>
                    <a:pt x="295" y="399"/>
                  </a:lnTo>
                  <a:lnTo>
                    <a:pt x="294" y="402"/>
                  </a:lnTo>
                  <a:lnTo>
                    <a:pt x="293" y="402"/>
                  </a:lnTo>
                  <a:lnTo>
                    <a:pt x="293" y="403"/>
                  </a:lnTo>
                  <a:lnTo>
                    <a:pt x="292" y="403"/>
                  </a:lnTo>
                  <a:lnTo>
                    <a:pt x="292" y="404"/>
                  </a:lnTo>
                  <a:lnTo>
                    <a:pt x="291" y="404"/>
                  </a:lnTo>
                  <a:lnTo>
                    <a:pt x="291" y="404"/>
                  </a:lnTo>
                  <a:lnTo>
                    <a:pt x="290" y="405"/>
                  </a:lnTo>
                  <a:lnTo>
                    <a:pt x="287" y="406"/>
                  </a:lnTo>
                  <a:lnTo>
                    <a:pt x="285" y="406"/>
                  </a:lnTo>
                  <a:lnTo>
                    <a:pt x="284" y="406"/>
                  </a:lnTo>
                  <a:lnTo>
                    <a:pt x="283" y="406"/>
                  </a:lnTo>
                  <a:lnTo>
                    <a:pt x="281" y="406"/>
                  </a:lnTo>
                  <a:lnTo>
                    <a:pt x="280" y="406"/>
                  </a:lnTo>
                  <a:lnTo>
                    <a:pt x="279" y="405"/>
                  </a:lnTo>
                  <a:lnTo>
                    <a:pt x="278" y="405"/>
                  </a:lnTo>
                  <a:lnTo>
                    <a:pt x="277" y="404"/>
                  </a:lnTo>
                  <a:lnTo>
                    <a:pt x="276" y="404"/>
                  </a:lnTo>
                  <a:lnTo>
                    <a:pt x="275" y="403"/>
                  </a:lnTo>
                  <a:lnTo>
                    <a:pt x="275" y="403"/>
                  </a:lnTo>
                  <a:lnTo>
                    <a:pt x="273" y="401"/>
                  </a:lnTo>
                  <a:lnTo>
                    <a:pt x="272" y="400"/>
                  </a:lnTo>
                  <a:lnTo>
                    <a:pt x="271" y="399"/>
                  </a:lnTo>
                  <a:lnTo>
                    <a:pt x="270" y="398"/>
                  </a:lnTo>
                  <a:lnTo>
                    <a:pt x="269" y="398"/>
                  </a:lnTo>
                  <a:lnTo>
                    <a:pt x="268" y="397"/>
                  </a:lnTo>
                  <a:lnTo>
                    <a:pt x="267" y="397"/>
                  </a:lnTo>
                  <a:lnTo>
                    <a:pt x="266" y="397"/>
                  </a:lnTo>
                  <a:lnTo>
                    <a:pt x="265" y="397"/>
                  </a:lnTo>
                  <a:lnTo>
                    <a:pt x="265" y="397"/>
                  </a:lnTo>
                  <a:lnTo>
                    <a:pt x="264" y="398"/>
                  </a:lnTo>
                  <a:lnTo>
                    <a:pt x="263" y="398"/>
                  </a:lnTo>
                  <a:lnTo>
                    <a:pt x="263" y="398"/>
                  </a:lnTo>
                  <a:lnTo>
                    <a:pt x="262" y="399"/>
                  </a:lnTo>
                  <a:lnTo>
                    <a:pt x="261" y="402"/>
                  </a:lnTo>
                  <a:lnTo>
                    <a:pt x="260" y="402"/>
                  </a:lnTo>
                  <a:lnTo>
                    <a:pt x="260" y="402"/>
                  </a:lnTo>
                  <a:lnTo>
                    <a:pt x="260" y="403"/>
                  </a:lnTo>
                  <a:lnTo>
                    <a:pt x="259" y="403"/>
                  </a:lnTo>
                  <a:lnTo>
                    <a:pt x="259" y="403"/>
                  </a:lnTo>
                  <a:lnTo>
                    <a:pt x="259" y="403"/>
                  </a:lnTo>
                  <a:lnTo>
                    <a:pt x="258" y="403"/>
                  </a:lnTo>
                  <a:lnTo>
                    <a:pt x="257" y="403"/>
                  </a:lnTo>
                  <a:lnTo>
                    <a:pt x="256" y="403"/>
                  </a:lnTo>
                  <a:lnTo>
                    <a:pt x="255" y="403"/>
                  </a:lnTo>
                  <a:lnTo>
                    <a:pt x="254" y="402"/>
                  </a:lnTo>
                  <a:lnTo>
                    <a:pt x="254" y="402"/>
                  </a:lnTo>
                  <a:lnTo>
                    <a:pt x="253" y="402"/>
                  </a:lnTo>
                  <a:lnTo>
                    <a:pt x="252" y="403"/>
                  </a:lnTo>
                  <a:lnTo>
                    <a:pt x="251" y="403"/>
                  </a:lnTo>
                  <a:lnTo>
                    <a:pt x="251" y="403"/>
                  </a:lnTo>
                  <a:lnTo>
                    <a:pt x="250" y="403"/>
                  </a:lnTo>
                  <a:lnTo>
                    <a:pt x="250" y="403"/>
                  </a:lnTo>
                  <a:lnTo>
                    <a:pt x="250" y="403"/>
                  </a:lnTo>
                  <a:lnTo>
                    <a:pt x="250" y="404"/>
                  </a:lnTo>
                  <a:lnTo>
                    <a:pt x="250" y="404"/>
                  </a:lnTo>
                  <a:lnTo>
                    <a:pt x="250" y="404"/>
                  </a:lnTo>
                  <a:lnTo>
                    <a:pt x="250" y="405"/>
                  </a:lnTo>
                  <a:lnTo>
                    <a:pt x="250" y="405"/>
                  </a:lnTo>
                  <a:lnTo>
                    <a:pt x="250" y="406"/>
                  </a:lnTo>
                  <a:lnTo>
                    <a:pt x="250" y="407"/>
                  </a:lnTo>
                  <a:lnTo>
                    <a:pt x="252" y="411"/>
                  </a:lnTo>
                  <a:lnTo>
                    <a:pt x="253" y="413"/>
                  </a:lnTo>
                  <a:lnTo>
                    <a:pt x="253" y="414"/>
                  </a:lnTo>
                  <a:lnTo>
                    <a:pt x="254" y="415"/>
                  </a:lnTo>
                  <a:lnTo>
                    <a:pt x="254" y="416"/>
                  </a:lnTo>
                  <a:lnTo>
                    <a:pt x="254" y="417"/>
                  </a:lnTo>
                  <a:lnTo>
                    <a:pt x="254" y="417"/>
                  </a:lnTo>
                  <a:lnTo>
                    <a:pt x="253" y="418"/>
                  </a:lnTo>
                  <a:lnTo>
                    <a:pt x="253" y="419"/>
                  </a:lnTo>
                  <a:lnTo>
                    <a:pt x="253" y="420"/>
                  </a:lnTo>
                  <a:lnTo>
                    <a:pt x="252" y="421"/>
                  </a:lnTo>
                  <a:lnTo>
                    <a:pt x="251" y="422"/>
                  </a:lnTo>
                  <a:lnTo>
                    <a:pt x="251" y="422"/>
                  </a:lnTo>
                  <a:lnTo>
                    <a:pt x="250" y="423"/>
                  </a:lnTo>
                  <a:lnTo>
                    <a:pt x="249" y="424"/>
                  </a:lnTo>
                  <a:lnTo>
                    <a:pt x="249" y="424"/>
                  </a:lnTo>
                  <a:lnTo>
                    <a:pt x="248" y="424"/>
                  </a:lnTo>
                  <a:lnTo>
                    <a:pt x="247" y="425"/>
                  </a:lnTo>
                  <a:lnTo>
                    <a:pt x="246" y="425"/>
                  </a:lnTo>
                  <a:lnTo>
                    <a:pt x="245" y="425"/>
                  </a:lnTo>
                  <a:lnTo>
                    <a:pt x="244" y="425"/>
                  </a:lnTo>
                  <a:lnTo>
                    <a:pt x="243" y="425"/>
                  </a:lnTo>
                  <a:lnTo>
                    <a:pt x="242" y="425"/>
                  </a:lnTo>
                  <a:lnTo>
                    <a:pt x="242" y="425"/>
                  </a:lnTo>
                  <a:lnTo>
                    <a:pt x="241" y="425"/>
                  </a:lnTo>
                  <a:lnTo>
                    <a:pt x="240" y="425"/>
                  </a:lnTo>
                  <a:lnTo>
                    <a:pt x="239" y="424"/>
                  </a:lnTo>
                  <a:lnTo>
                    <a:pt x="237" y="424"/>
                  </a:lnTo>
                  <a:lnTo>
                    <a:pt x="237" y="423"/>
                  </a:lnTo>
                  <a:lnTo>
                    <a:pt x="236" y="423"/>
                  </a:lnTo>
                  <a:lnTo>
                    <a:pt x="235" y="423"/>
                  </a:lnTo>
                  <a:lnTo>
                    <a:pt x="234" y="423"/>
                  </a:lnTo>
                  <a:lnTo>
                    <a:pt x="232" y="423"/>
                  </a:lnTo>
                  <a:lnTo>
                    <a:pt x="231" y="423"/>
                  </a:lnTo>
                  <a:lnTo>
                    <a:pt x="229" y="423"/>
                  </a:lnTo>
                  <a:lnTo>
                    <a:pt x="227" y="423"/>
                  </a:lnTo>
                  <a:lnTo>
                    <a:pt x="225" y="423"/>
                  </a:lnTo>
                  <a:lnTo>
                    <a:pt x="224" y="424"/>
                  </a:lnTo>
                  <a:lnTo>
                    <a:pt x="222" y="424"/>
                  </a:lnTo>
                  <a:lnTo>
                    <a:pt x="220" y="425"/>
                  </a:lnTo>
                  <a:lnTo>
                    <a:pt x="217" y="426"/>
                  </a:lnTo>
                  <a:lnTo>
                    <a:pt x="216" y="426"/>
                  </a:lnTo>
                  <a:lnTo>
                    <a:pt x="216" y="426"/>
                  </a:lnTo>
                  <a:lnTo>
                    <a:pt x="216" y="426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8"/>
                  </a:lnTo>
                  <a:lnTo>
                    <a:pt x="215" y="429"/>
                  </a:lnTo>
                  <a:lnTo>
                    <a:pt x="214" y="431"/>
                  </a:lnTo>
                  <a:lnTo>
                    <a:pt x="214" y="433"/>
                  </a:lnTo>
                  <a:lnTo>
                    <a:pt x="214" y="434"/>
                  </a:lnTo>
                  <a:lnTo>
                    <a:pt x="213" y="434"/>
                  </a:lnTo>
                  <a:lnTo>
                    <a:pt x="213" y="435"/>
                  </a:lnTo>
                  <a:lnTo>
                    <a:pt x="212" y="436"/>
                  </a:lnTo>
                  <a:lnTo>
                    <a:pt x="211" y="438"/>
                  </a:lnTo>
                  <a:lnTo>
                    <a:pt x="211" y="439"/>
                  </a:lnTo>
                  <a:lnTo>
                    <a:pt x="210" y="440"/>
                  </a:lnTo>
                  <a:lnTo>
                    <a:pt x="209" y="441"/>
                  </a:lnTo>
                  <a:lnTo>
                    <a:pt x="209" y="441"/>
                  </a:lnTo>
                  <a:lnTo>
                    <a:pt x="208" y="442"/>
                  </a:lnTo>
                  <a:lnTo>
                    <a:pt x="207" y="443"/>
                  </a:lnTo>
                  <a:lnTo>
                    <a:pt x="206" y="443"/>
                  </a:lnTo>
                  <a:lnTo>
                    <a:pt x="205" y="443"/>
                  </a:lnTo>
                  <a:lnTo>
                    <a:pt x="205" y="443"/>
                  </a:lnTo>
                  <a:lnTo>
                    <a:pt x="204" y="443"/>
                  </a:lnTo>
                  <a:lnTo>
                    <a:pt x="203" y="443"/>
                  </a:lnTo>
                  <a:lnTo>
                    <a:pt x="202" y="442"/>
                  </a:lnTo>
                  <a:lnTo>
                    <a:pt x="199" y="440"/>
                  </a:lnTo>
                  <a:lnTo>
                    <a:pt x="198" y="439"/>
                  </a:lnTo>
                  <a:lnTo>
                    <a:pt x="197" y="438"/>
                  </a:lnTo>
                  <a:lnTo>
                    <a:pt x="196" y="438"/>
                  </a:lnTo>
                  <a:lnTo>
                    <a:pt x="196" y="437"/>
                  </a:lnTo>
                  <a:lnTo>
                    <a:pt x="195" y="437"/>
                  </a:lnTo>
                  <a:lnTo>
                    <a:pt x="194" y="437"/>
                  </a:lnTo>
                  <a:lnTo>
                    <a:pt x="193" y="437"/>
                  </a:lnTo>
                  <a:lnTo>
                    <a:pt x="192" y="437"/>
                  </a:lnTo>
                  <a:lnTo>
                    <a:pt x="190" y="437"/>
                  </a:lnTo>
                  <a:lnTo>
                    <a:pt x="188" y="436"/>
                  </a:lnTo>
                  <a:lnTo>
                    <a:pt x="186" y="436"/>
                  </a:lnTo>
                  <a:lnTo>
                    <a:pt x="184" y="435"/>
                  </a:lnTo>
                  <a:lnTo>
                    <a:pt x="182" y="435"/>
                  </a:lnTo>
                  <a:lnTo>
                    <a:pt x="181" y="434"/>
                  </a:lnTo>
                  <a:lnTo>
                    <a:pt x="180" y="434"/>
                  </a:lnTo>
                  <a:lnTo>
                    <a:pt x="177" y="434"/>
                  </a:lnTo>
                  <a:lnTo>
                    <a:pt x="177" y="434"/>
                  </a:lnTo>
                  <a:lnTo>
                    <a:pt x="176" y="434"/>
                  </a:lnTo>
                  <a:lnTo>
                    <a:pt x="176" y="433"/>
                  </a:lnTo>
                  <a:lnTo>
                    <a:pt x="175" y="433"/>
                  </a:lnTo>
                  <a:lnTo>
                    <a:pt x="175" y="432"/>
                  </a:lnTo>
                  <a:lnTo>
                    <a:pt x="175" y="432"/>
                  </a:lnTo>
                  <a:lnTo>
                    <a:pt x="174" y="431"/>
                  </a:lnTo>
                  <a:lnTo>
                    <a:pt x="174" y="430"/>
                  </a:lnTo>
                  <a:lnTo>
                    <a:pt x="174" y="427"/>
                  </a:lnTo>
                  <a:lnTo>
                    <a:pt x="174" y="426"/>
                  </a:lnTo>
                  <a:lnTo>
                    <a:pt x="173" y="426"/>
                  </a:lnTo>
                  <a:lnTo>
                    <a:pt x="173" y="425"/>
                  </a:lnTo>
                  <a:lnTo>
                    <a:pt x="173" y="424"/>
                  </a:lnTo>
                  <a:lnTo>
                    <a:pt x="172" y="424"/>
                  </a:lnTo>
                  <a:lnTo>
                    <a:pt x="172" y="423"/>
                  </a:lnTo>
                  <a:lnTo>
                    <a:pt x="171" y="423"/>
                  </a:lnTo>
                  <a:lnTo>
                    <a:pt x="171" y="423"/>
                  </a:lnTo>
                  <a:lnTo>
                    <a:pt x="170" y="423"/>
                  </a:lnTo>
                  <a:lnTo>
                    <a:pt x="170" y="423"/>
                  </a:lnTo>
                  <a:lnTo>
                    <a:pt x="169" y="423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67" y="425"/>
                  </a:lnTo>
                  <a:lnTo>
                    <a:pt x="167" y="425"/>
                  </a:lnTo>
                  <a:lnTo>
                    <a:pt x="166" y="426"/>
                  </a:lnTo>
                  <a:lnTo>
                    <a:pt x="164" y="430"/>
                  </a:lnTo>
                  <a:lnTo>
                    <a:pt x="163" y="432"/>
                  </a:lnTo>
                  <a:lnTo>
                    <a:pt x="163" y="433"/>
                  </a:lnTo>
                  <a:lnTo>
                    <a:pt x="162" y="434"/>
                  </a:lnTo>
                  <a:lnTo>
                    <a:pt x="162" y="435"/>
                  </a:lnTo>
                  <a:lnTo>
                    <a:pt x="162" y="436"/>
                  </a:lnTo>
                  <a:lnTo>
                    <a:pt x="162" y="437"/>
                  </a:lnTo>
                  <a:lnTo>
                    <a:pt x="162" y="439"/>
                  </a:lnTo>
                  <a:lnTo>
                    <a:pt x="163" y="440"/>
                  </a:lnTo>
                  <a:lnTo>
                    <a:pt x="163" y="442"/>
                  </a:lnTo>
                  <a:lnTo>
                    <a:pt x="164" y="443"/>
                  </a:lnTo>
                  <a:lnTo>
                    <a:pt x="165" y="445"/>
                  </a:lnTo>
                  <a:lnTo>
                    <a:pt x="166" y="447"/>
                  </a:lnTo>
                  <a:lnTo>
                    <a:pt x="166" y="448"/>
                  </a:lnTo>
                  <a:lnTo>
                    <a:pt x="166" y="449"/>
                  </a:lnTo>
                  <a:lnTo>
                    <a:pt x="166" y="450"/>
                  </a:lnTo>
                  <a:lnTo>
                    <a:pt x="166" y="451"/>
                  </a:lnTo>
                  <a:lnTo>
                    <a:pt x="166" y="452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65" y="454"/>
                  </a:lnTo>
                  <a:lnTo>
                    <a:pt x="164" y="455"/>
                  </a:lnTo>
                  <a:lnTo>
                    <a:pt x="162" y="457"/>
                  </a:lnTo>
                  <a:lnTo>
                    <a:pt x="160" y="459"/>
                  </a:lnTo>
                  <a:lnTo>
                    <a:pt x="159" y="460"/>
                  </a:lnTo>
                  <a:lnTo>
                    <a:pt x="158" y="460"/>
                  </a:lnTo>
                  <a:lnTo>
                    <a:pt x="158" y="461"/>
                  </a:lnTo>
                  <a:lnTo>
                    <a:pt x="157" y="462"/>
                  </a:lnTo>
                  <a:lnTo>
                    <a:pt x="155" y="465"/>
                  </a:lnTo>
                  <a:lnTo>
                    <a:pt x="153" y="467"/>
                  </a:lnTo>
                  <a:lnTo>
                    <a:pt x="151" y="470"/>
                  </a:lnTo>
                  <a:lnTo>
                    <a:pt x="150" y="471"/>
                  </a:lnTo>
                  <a:lnTo>
                    <a:pt x="149" y="472"/>
                  </a:lnTo>
                  <a:lnTo>
                    <a:pt x="149" y="473"/>
                  </a:lnTo>
                  <a:lnTo>
                    <a:pt x="148" y="473"/>
                  </a:lnTo>
                  <a:lnTo>
                    <a:pt x="147" y="474"/>
                  </a:lnTo>
                  <a:lnTo>
                    <a:pt x="146" y="474"/>
                  </a:lnTo>
                  <a:lnTo>
                    <a:pt x="146" y="475"/>
                  </a:lnTo>
                  <a:lnTo>
                    <a:pt x="145" y="475"/>
                  </a:lnTo>
                  <a:lnTo>
                    <a:pt x="144" y="475"/>
                  </a:lnTo>
                  <a:lnTo>
                    <a:pt x="143" y="475"/>
                  </a:lnTo>
                  <a:lnTo>
                    <a:pt x="143" y="475"/>
                  </a:lnTo>
                  <a:lnTo>
                    <a:pt x="139" y="475"/>
                  </a:lnTo>
                  <a:lnTo>
                    <a:pt x="138" y="476"/>
                  </a:lnTo>
                  <a:lnTo>
                    <a:pt x="134" y="476"/>
                  </a:lnTo>
                  <a:lnTo>
                    <a:pt x="132" y="476"/>
                  </a:lnTo>
                  <a:lnTo>
                    <a:pt x="131" y="477"/>
                  </a:lnTo>
                  <a:lnTo>
                    <a:pt x="125" y="478"/>
                  </a:lnTo>
                  <a:lnTo>
                    <a:pt x="124" y="478"/>
                  </a:lnTo>
                  <a:lnTo>
                    <a:pt x="122" y="478"/>
                  </a:lnTo>
                  <a:lnTo>
                    <a:pt x="121" y="478"/>
                  </a:lnTo>
                  <a:lnTo>
                    <a:pt x="120" y="479"/>
                  </a:lnTo>
                  <a:lnTo>
                    <a:pt x="120" y="479"/>
                  </a:lnTo>
                  <a:lnTo>
                    <a:pt x="119" y="479"/>
                  </a:lnTo>
                  <a:lnTo>
                    <a:pt x="118" y="480"/>
                  </a:lnTo>
                  <a:lnTo>
                    <a:pt x="117" y="481"/>
                  </a:lnTo>
                  <a:lnTo>
                    <a:pt x="117" y="482"/>
                  </a:lnTo>
                  <a:lnTo>
                    <a:pt x="116" y="482"/>
                  </a:lnTo>
                  <a:lnTo>
                    <a:pt x="115" y="485"/>
                  </a:lnTo>
                  <a:lnTo>
                    <a:pt x="114" y="485"/>
                  </a:lnTo>
                  <a:lnTo>
                    <a:pt x="114" y="486"/>
                  </a:lnTo>
                  <a:lnTo>
                    <a:pt x="113" y="487"/>
                  </a:lnTo>
                  <a:lnTo>
                    <a:pt x="113" y="487"/>
                  </a:lnTo>
                  <a:lnTo>
                    <a:pt x="112" y="487"/>
                  </a:lnTo>
                  <a:lnTo>
                    <a:pt x="112" y="487"/>
                  </a:lnTo>
                  <a:lnTo>
                    <a:pt x="111" y="487"/>
                  </a:lnTo>
                  <a:lnTo>
                    <a:pt x="111" y="487"/>
                  </a:lnTo>
                  <a:lnTo>
                    <a:pt x="110" y="487"/>
                  </a:lnTo>
                  <a:lnTo>
                    <a:pt x="110" y="487"/>
                  </a:lnTo>
                  <a:lnTo>
                    <a:pt x="110" y="487"/>
                  </a:lnTo>
                  <a:lnTo>
                    <a:pt x="110" y="485"/>
                  </a:lnTo>
                  <a:lnTo>
                    <a:pt x="108" y="480"/>
                  </a:lnTo>
                  <a:lnTo>
                    <a:pt x="106" y="477"/>
                  </a:lnTo>
                  <a:lnTo>
                    <a:pt x="106" y="476"/>
                  </a:lnTo>
                  <a:lnTo>
                    <a:pt x="105" y="473"/>
                  </a:lnTo>
                  <a:lnTo>
                    <a:pt x="103" y="468"/>
                  </a:lnTo>
                  <a:lnTo>
                    <a:pt x="103" y="467"/>
                  </a:lnTo>
                  <a:lnTo>
                    <a:pt x="103" y="466"/>
                  </a:lnTo>
                  <a:lnTo>
                    <a:pt x="102" y="465"/>
                  </a:lnTo>
                  <a:lnTo>
                    <a:pt x="102" y="465"/>
                  </a:lnTo>
                  <a:lnTo>
                    <a:pt x="101" y="464"/>
                  </a:lnTo>
                  <a:lnTo>
                    <a:pt x="100" y="463"/>
                  </a:lnTo>
                  <a:lnTo>
                    <a:pt x="97" y="461"/>
                  </a:lnTo>
                  <a:lnTo>
                    <a:pt x="96" y="460"/>
                  </a:lnTo>
                  <a:lnTo>
                    <a:pt x="95" y="459"/>
                  </a:lnTo>
                  <a:lnTo>
                    <a:pt x="93" y="458"/>
                  </a:lnTo>
                  <a:lnTo>
                    <a:pt x="91" y="458"/>
                  </a:lnTo>
                  <a:lnTo>
                    <a:pt x="90" y="457"/>
                  </a:lnTo>
                  <a:lnTo>
                    <a:pt x="87" y="456"/>
                  </a:lnTo>
                  <a:lnTo>
                    <a:pt x="85" y="455"/>
                  </a:lnTo>
                  <a:lnTo>
                    <a:pt x="83" y="455"/>
                  </a:lnTo>
                  <a:lnTo>
                    <a:pt x="81" y="454"/>
                  </a:lnTo>
                  <a:lnTo>
                    <a:pt x="80" y="453"/>
                  </a:lnTo>
                  <a:lnTo>
                    <a:pt x="77" y="452"/>
                  </a:lnTo>
                  <a:lnTo>
                    <a:pt x="76" y="451"/>
                  </a:lnTo>
                  <a:lnTo>
                    <a:pt x="76" y="451"/>
                  </a:lnTo>
                  <a:lnTo>
                    <a:pt x="75" y="450"/>
                  </a:lnTo>
                  <a:lnTo>
                    <a:pt x="75" y="450"/>
                  </a:lnTo>
                  <a:lnTo>
                    <a:pt x="75" y="450"/>
                  </a:lnTo>
                  <a:lnTo>
                    <a:pt x="74" y="449"/>
                  </a:lnTo>
                  <a:lnTo>
                    <a:pt x="74" y="449"/>
                  </a:lnTo>
                  <a:lnTo>
                    <a:pt x="74" y="448"/>
                  </a:lnTo>
                  <a:lnTo>
                    <a:pt x="74" y="448"/>
                  </a:lnTo>
                  <a:lnTo>
                    <a:pt x="75" y="446"/>
                  </a:lnTo>
                  <a:lnTo>
                    <a:pt x="75" y="443"/>
                  </a:lnTo>
                  <a:lnTo>
                    <a:pt x="76" y="440"/>
                  </a:lnTo>
                  <a:lnTo>
                    <a:pt x="76" y="438"/>
                  </a:lnTo>
                  <a:lnTo>
                    <a:pt x="76" y="437"/>
                  </a:lnTo>
                  <a:lnTo>
                    <a:pt x="76" y="435"/>
                  </a:lnTo>
                  <a:lnTo>
                    <a:pt x="77" y="434"/>
                  </a:lnTo>
                  <a:lnTo>
                    <a:pt x="76" y="432"/>
                  </a:lnTo>
                  <a:lnTo>
                    <a:pt x="76" y="431"/>
                  </a:lnTo>
                  <a:lnTo>
                    <a:pt x="76" y="431"/>
                  </a:lnTo>
                  <a:lnTo>
                    <a:pt x="76" y="430"/>
                  </a:lnTo>
                  <a:lnTo>
                    <a:pt x="76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4" y="430"/>
                  </a:lnTo>
                  <a:lnTo>
                    <a:pt x="74" y="431"/>
                  </a:lnTo>
                  <a:lnTo>
                    <a:pt x="73" y="432"/>
                  </a:lnTo>
                  <a:lnTo>
                    <a:pt x="73" y="433"/>
                  </a:lnTo>
                  <a:lnTo>
                    <a:pt x="72" y="433"/>
                  </a:lnTo>
                  <a:lnTo>
                    <a:pt x="72" y="433"/>
                  </a:lnTo>
                  <a:lnTo>
                    <a:pt x="72" y="433"/>
                  </a:lnTo>
                  <a:lnTo>
                    <a:pt x="71" y="433"/>
                  </a:lnTo>
                  <a:lnTo>
                    <a:pt x="71" y="433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69" y="432"/>
                  </a:lnTo>
                  <a:lnTo>
                    <a:pt x="69" y="432"/>
                  </a:lnTo>
                  <a:lnTo>
                    <a:pt x="68" y="431"/>
                  </a:lnTo>
                  <a:lnTo>
                    <a:pt x="67" y="431"/>
                  </a:lnTo>
                  <a:lnTo>
                    <a:pt x="66" y="429"/>
                  </a:lnTo>
                  <a:lnTo>
                    <a:pt x="66" y="428"/>
                  </a:lnTo>
                  <a:lnTo>
                    <a:pt x="65" y="428"/>
                  </a:lnTo>
                  <a:lnTo>
                    <a:pt x="65" y="427"/>
                  </a:lnTo>
                  <a:lnTo>
                    <a:pt x="63" y="424"/>
                  </a:lnTo>
                  <a:lnTo>
                    <a:pt x="63" y="424"/>
                  </a:lnTo>
                  <a:lnTo>
                    <a:pt x="63" y="423"/>
                  </a:lnTo>
                  <a:lnTo>
                    <a:pt x="62" y="422"/>
                  </a:lnTo>
                  <a:lnTo>
                    <a:pt x="62" y="422"/>
                  </a:lnTo>
                  <a:lnTo>
                    <a:pt x="60" y="421"/>
                  </a:lnTo>
                  <a:lnTo>
                    <a:pt x="59" y="420"/>
                  </a:lnTo>
                  <a:lnTo>
                    <a:pt x="59" y="419"/>
                  </a:lnTo>
                  <a:lnTo>
                    <a:pt x="58" y="418"/>
                  </a:lnTo>
                  <a:lnTo>
                    <a:pt x="58" y="417"/>
                  </a:lnTo>
                  <a:lnTo>
                    <a:pt x="57" y="417"/>
                  </a:lnTo>
                  <a:lnTo>
                    <a:pt x="57" y="414"/>
                  </a:lnTo>
                  <a:lnTo>
                    <a:pt x="56" y="410"/>
                  </a:lnTo>
                  <a:lnTo>
                    <a:pt x="55" y="408"/>
                  </a:lnTo>
                  <a:lnTo>
                    <a:pt x="54" y="407"/>
                  </a:lnTo>
                  <a:lnTo>
                    <a:pt x="54" y="406"/>
                  </a:lnTo>
                  <a:lnTo>
                    <a:pt x="53" y="405"/>
                  </a:lnTo>
                  <a:lnTo>
                    <a:pt x="52" y="404"/>
                  </a:lnTo>
                  <a:lnTo>
                    <a:pt x="52" y="403"/>
                  </a:lnTo>
                  <a:lnTo>
                    <a:pt x="52" y="402"/>
                  </a:lnTo>
                  <a:lnTo>
                    <a:pt x="51" y="401"/>
                  </a:lnTo>
                  <a:lnTo>
                    <a:pt x="50" y="400"/>
                  </a:lnTo>
                  <a:lnTo>
                    <a:pt x="50" y="399"/>
                  </a:lnTo>
                  <a:lnTo>
                    <a:pt x="48" y="398"/>
                  </a:lnTo>
                  <a:lnTo>
                    <a:pt x="47" y="397"/>
                  </a:lnTo>
                  <a:lnTo>
                    <a:pt x="47" y="396"/>
                  </a:lnTo>
                  <a:lnTo>
                    <a:pt x="46" y="394"/>
                  </a:lnTo>
                  <a:lnTo>
                    <a:pt x="45" y="393"/>
                  </a:lnTo>
                  <a:lnTo>
                    <a:pt x="45" y="392"/>
                  </a:lnTo>
                  <a:lnTo>
                    <a:pt x="44" y="391"/>
                  </a:lnTo>
                  <a:lnTo>
                    <a:pt x="43" y="390"/>
                  </a:lnTo>
                  <a:lnTo>
                    <a:pt x="42" y="389"/>
                  </a:lnTo>
                  <a:lnTo>
                    <a:pt x="42" y="389"/>
                  </a:lnTo>
                  <a:lnTo>
                    <a:pt x="41" y="388"/>
                  </a:lnTo>
                  <a:lnTo>
                    <a:pt x="40" y="388"/>
                  </a:lnTo>
                  <a:lnTo>
                    <a:pt x="38" y="388"/>
                  </a:lnTo>
                  <a:lnTo>
                    <a:pt x="36" y="387"/>
                  </a:lnTo>
                  <a:lnTo>
                    <a:pt x="34" y="387"/>
                  </a:lnTo>
                  <a:lnTo>
                    <a:pt x="33" y="387"/>
                  </a:lnTo>
                  <a:lnTo>
                    <a:pt x="32" y="387"/>
                  </a:lnTo>
                  <a:lnTo>
                    <a:pt x="31" y="387"/>
                  </a:lnTo>
                  <a:lnTo>
                    <a:pt x="30" y="387"/>
                  </a:lnTo>
                  <a:lnTo>
                    <a:pt x="28" y="387"/>
                  </a:lnTo>
                  <a:lnTo>
                    <a:pt x="27" y="388"/>
                  </a:lnTo>
                  <a:lnTo>
                    <a:pt x="25" y="389"/>
                  </a:lnTo>
                  <a:lnTo>
                    <a:pt x="24" y="390"/>
                  </a:lnTo>
                  <a:lnTo>
                    <a:pt x="23" y="391"/>
                  </a:lnTo>
                  <a:lnTo>
                    <a:pt x="21" y="392"/>
                  </a:lnTo>
                  <a:lnTo>
                    <a:pt x="20" y="394"/>
                  </a:lnTo>
                  <a:lnTo>
                    <a:pt x="19" y="394"/>
                  </a:lnTo>
                  <a:lnTo>
                    <a:pt x="19" y="394"/>
                  </a:lnTo>
                  <a:lnTo>
                    <a:pt x="19" y="395"/>
                  </a:lnTo>
                  <a:lnTo>
                    <a:pt x="19" y="395"/>
                  </a:lnTo>
                  <a:lnTo>
                    <a:pt x="19" y="395"/>
                  </a:lnTo>
                  <a:lnTo>
                    <a:pt x="19" y="396"/>
                  </a:lnTo>
                  <a:lnTo>
                    <a:pt x="20" y="396"/>
                  </a:lnTo>
                  <a:lnTo>
                    <a:pt x="20" y="397"/>
                  </a:lnTo>
                  <a:lnTo>
                    <a:pt x="21" y="398"/>
                  </a:lnTo>
                  <a:lnTo>
                    <a:pt x="21" y="398"/>
                  </a:lnTo>
                  <a:lnTo>
                    <a:pt x="21" y="399"/>
                  </a:lnTo>
                  <a:lnTo>
                    <a:pt x="22" y="399"/>
                  </a:lnTo>
                  <a:lnTo>
                    <a:pt x="27" y="404"/>
                  </a:lnTo>
                  <a:lnTo>
                    <a:pt x="27" y="404"/>
                  </a:lnTo>
                  <a:lnTo>
                    <a:pt x="28" y="405"/>
                  </a:lnTo>
                  <a:lnTo>
                    <a:pt x="28" y="406"/>
                  </a:lnTo>
                  <a:lnTo>
                    <a:pt x="28" y="407"/>
                  </a:lnTo>
                  <a:lnTo>
                    <a:pt x="29" y="408"/>
                  </a:lnTo>
                  <a:lnTo>
                    <a:pt x="29" y="409"/>
                  </a:lnTo>
                  <a:lnTo>
                    <a:pt x="30" y="410"/>
                  </a:lnTo>
                  <a:lnTo>
                    <a:pt x="31" y="412"/>
                  </a:lnTo>
                  <a:lnTo>
                    <a:pt x="31" y="413"/>
                  </a:lnTo>
                  <a:lnTo>
                    <a:pt x="32" y="414"/>
                  </a:lnTo>
                  <a:lnTo>
                    <a:pt x="32" y="415"/>
                  </a:lnTo>
                  <a:lnTo>
                    <a:pt x="32" y="415"/>
                  </a:lnTo>
                  <a:lnTo>
                    <a:pt x="32" y="416"/>
                  </a:lnTo>
                  <a:lnTo>
                    <a:pt x="32" y="417"/>
                  </a:lnTo>
                  <a:lnTo>
                    <a:pt x="32" y="417"/>
                  </a:lnTo>
                  <a:lnTo>
                    <a:pt x="32" y="418"/>
                  </a:lnTo>
                  <a:lnTo>
                    <a:pt x="32" y="418"/>
                  </a:lnTo>
                  <a:lnTo>
                    <a:pt x="31" y="419"/>
                  </a:lnTo>
                  <a:lnTo>
                    <a:pt x="30" y="421"/>
                  </a:lnTo>
                  <a:lnTo>
                    <a:pt x="29" y="422"/>
                  </a:lnTo>
                  <a:lnTo>
                    <a:pt x="28" y="424"/>
                  </a:lnTo>
                  <a:lnTo>
                    <a:pt x="27" y="427"/>
                  </a:lnTo>
                  <a:lnTo>
                    <a:pt x="27" y="429"/>
                  </a:lnTo>
                  <a:lnTo>
                    <a:pt x="26" y="430"/>
                  </a:lnTo>
                  <a:lnTo>
                    <a:pt x="25" y="431"/>
                  </a:lnTo>
                  <a:lnTo>
                    <a:pt x="25" y="432"/>
                  </a:lnTo>
                  <a:lnTo>
                    <a:pt x="23" y="433"/>
                  </a:lnTo>
                  <a:lnTo>
                    <a:pt x="22" y="434"/>
                  </a:lnTo>
                  <a:lnTo>
                    <a:pt x="21" y="435"/>
                  </a:lnTo>
                  <a:lnTo>
                    <a:pt x="20" y="436"/>
                  </a:lnTo>
                  <a:lnTo>
                    <a:pt x="19" y="436"/>
                  </a:lnTo>
                  <a:lnTo>
                    <a:pt x="18" y="437"/>
                  </a:lnTo>
                  <a:lnTo>
                    <a:pt x="17" y="437"/>
                  </a:lnTo>
                  <a:lnTo>
                    <a:pt x="16" y="437"/>
                  </a:lnTo>
                  <a:lnTo>
                    <a:pt x="15" y="437"/>
                  </a:lnTo>
                  <a:lnTo>
                    <a:pt x="14" y="436"/>
                  </a:lnTo>
                  <a:lnTo>
                    <a:pt x="12" y="436"/>
                  </a:lnTo>
                  <a:lnTo>
                    <a:pt x="11" y="435"/>
                  </a:lnTo>
                  <a:lnTo>
                    <a:pt x="9" y="434"/>
                  </a:lnTo>
                  <a:lnTo>
                    <a:pt x="6" y="431"/>
                  </a:lnTo>
                  <a:lnTo>
                    <a:pt x="4" y="430"/>
                  </a:lnTo>
                  <a:lnTo>
                    <a:pt x="3" y="429"/>
                  </a:lnTo>
                  <a:lnTo>
                    <a:pt x="3" y="429"/>
                  </a:lnTo>
                  <a:lnTo>
                    <a:pt x="1" y="427"/>
                  </a:lnTo>
                  <a:lnTo>
                    <a:pt x="1" y="427"/>
                  </a:lnTo>
                  <a:lnTo>
                    <a:pt x="0" y="426"/>
                  </a:lnTo>
                  <a:lnTo>
                    <a:pt x="0" y="426"/>
                  </a:lnTo>
                  <a:lnTo>
                    <a:pt x="0" y="425"/>
                  </a:lnTo>
                  <a:lnTo>
                    <a:pt x="0" y="424"/>
                  </a:lnTo>
                  <a:lnTo>
                    <a:pt x="0" y="423"/>
                  </a:lnTo>
                  <a:lnTo>
                    <a:pt x="0" y="423"/>
                  </a:lnTo>
                  <a:lnTo>
                    <a:pt x="0" y="422"/>
                  </a:lnTo>
                  <a:lnTo>
                    <a:pt x="1" y="421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Freeform 36">
              <a:extLst>
                <a:ext uri="{FF2B5EF4-FFF2-40B4-BE49-F238E27FC236}">
                  <a16:creationId xmlns:a16="http://schemas.microsoft.com/office/drawing/2014/main" id="{45872B3A-B518-434C-86E6-ECD9EBB989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140"/>
              <a:ext cx="169" cy="475"/>
            </a:xfrm>
            <a:custGeom>
              <a:avLst/>
              <a:gdLst>
                <a:gd name="T0" fmla="*/ 36 w 169"/>
                <a:gd name="T1" fmla="*/ 470 h 475"/>
                <a:gd name="T2" fmla="*/ 35 w 169"/>
                <a:gd name="T3" fmla="*/ 464 h 475"/>
                <a:gd name="T4" fmla="*/ 28 w 169"/>
                <a:gd name="T5" fmla="*/ 449 h 475"/>
                <a:gd name="T6" fmla="*/ 27 w 169"/>
                <a:gd name="T7" fmla="*/ 436 h 475"/>
                <a:gd name="T8" fmla="*/ 34 w 169"/>
                <a:gd name="T9" fmla="*/ 426 h 475"/>
                <a:gd name="T10" fmla="*/ 34 w 169"/>
                <a:gd name="T11" fmla="*/ 424 h 475"/>
                <a:gd name="T12" fmla="*/ 15 w 169"/>
                <a:gd name="T13" fmla="*/ 419 h 475"/>
                <a:gd name="T14" fmla="*/ 13 w 169"/>
                <a:gd name="T15" fmla="*/ 416 h 475"/>
                <a:gd name="T16" fmla="*/ 13 w 169"/>
                <a:gd name="T17" fmla="*/ 405 h 475"/>
                <a:gd name="T18" fmla="*/ 18 w 169"/>
                <a:gd name="T19" fmla="*/ 403 h 475"/>
                <a:gd name="T20" fmla="*/ 26 w 169"/>
                <a:gd name="T21" fmla="*/ 403 h 475"/>
                <a:gd name="T22" fmla="*/ 29 w 169"/>
                <a:gd name="T23" fmla="*/ 395 h 475"/>
                <a:gd name="T24" fmla="*/ 31 w 169"/>
                <a:gd name="T25" fmla="*/ 386 h 475"/>
                <a:gd name="T26" fmla="*/ 30 w 169"/>
                <a:gd name="T27" fmla="*/ 374 h 475"/>
                <a:gd name="T28" fmla="*/ 32 w 169"/>
                <a:gd name="T29" fmla="*/ 366 h 475"/>
                <a:gd name="T30" fmla="*/ 40 w 169"/>
                <a:gd name="T31" fmla="*/ 355 h 475"/>
                <a:gd name="T32" fmla="*/ 40 w 169"/>
                <a:gd name="T33" fmla="*/ 341 h 475"/>
                <a:gd name="T34" fmla="*/ 36 w 169"/>
                <a:gd name="T35" fmla="*/ 335 h 475"/>
                <a:gd name="T36" fmla="*/ 28 w 169"/>
                <a:gd name="T37" fmla="*/ 333 h 475"/>
                <a:gd name="T38" fmla="*/ 28 w 169"/>
                <a:gd name="T39" fmla="*/ 328 h 475"/>
                <a:gd name="T40" fmla="*/ 26 w 169"/>
                <a:gd name="T41" fmla="*/ 320 h 475"/>
                <a:gd name="T42" fmla="*/ 20 w 169"/>
                <a:gd name="T43" fmla="*/ 308 h 475"/>
                <a:gd name="T44" fmla="*/ 12 w 169"/>
                <a:gd name="T45" fmla="*/ 294 h 475"/>
                <a:gd name="T46" fmla="*/ 7 w 169"/>
                <a:gd name="T47" fmla="*/ 284 h 475"/>
                <a:gd name="T48" fmla="*/ 9 w 169"/>
                <a:gd name="T49" fmla="*/ 275 h 475"/>
                <a:gd name="T50" fmla="*/ 13 w 169"/>
                <a:gd name="T51" fmla="*/ 266 h 475"/>
                <a:gd name="T52" fmla="*/ 11 w 169"/>
                <a:gd name="T53" fmla="*/ 250 h 475"/>
                <a:gd name="T54" fmla="*/ 5 w 169"/>
                <a:gd name="T55" fmla="*/ 230 h 475"/>
                <a:gd name="T56" fmla="*/ 1 w 169"/>
                <a:gd name="T57" fmla="*/ 212 h 475"/>
                <a:gd name="T58" fmla="*/ 3 w 169"/>
                <a:gd name="T59" fmla="*/ 209 h 475"/>
                <a:gd name="T60" fmla="*/ 11 w 169"/>
                <a:gd name="T61" fmla="*/ 206 h 475"/>
                <a:gd name="T62" fmla="*/ 22 w 169"/>
                <a:gd name="T63" fmla="*/ 196 h 475"/>
                <a:gd name="T64" fmla="*/ 27 w 169"/>
                <a:gd name="T65" fmla="*/ 189 h 475"/>
                <a:gd name="T66" fmla="*/ 25 w 169"/>
                <a:gd name="T67" fmla="*/ 177 h 475"/>
                <a:gd name="T68" fmla="*/ 27 w 169"/>
                <a:gd name="T69" fmla="*/ 167 h 475"/>
                <a:gd name="T70" fmla="*/ 28 w 169"/>
                <a:gd name="T71" fmla="*/ 157 h 475"/>
                <a:gd name="T72" fmla="*/ 38 w 169"/>
                <a:gd name="T73" fmla="*/ 132 h 475"/>
                <a:gd name="T74" fmla="*/ 41 w 169"/>
                <a:gd name="T75" fmla="*/ 118 h 475"/>
                <a:gd name="T76" fmla="*/ 43 w 169"/>
                <a:gd name="T77" fmla="*/ 115 h 475"/>
                <a:gd name="T78" fmla="*/ 53 w 169"/>
                <a:gd name="T79" fmla="*/ 106 h 475"/>
                <a:gd name="T80" fmla="*/ 64 w 169"/>
                <a:gd name="T81" fmla="*/ 103 h 475"/>
                <a:gd name="T82" fmla="*/ 72 w 169"/>
                <a:gd name="T83" fmla="*/ 98 h 475"/>
                <a:gd name="T84" fmla="*/ 80 w 169"/>
                <a:gd name="T85" fmla="*/ 103 h 475"/>
                <a:gd name="T86" fmla="*/ 85 w 169"/>
                <a:gd name="T87" fmla="*/ 103 h 475"/>
                <a:gd name="T88" fmla="*/ 85 w 169"/>
                <a:gd name="T89" fmla="*/ 94 h 475"/>
                <a:gd name="T90" fmla="*/ 85 w 169"/>
                <a:gd name="T91" fmla="*/ 80 h 475"/>
                <a:gd name="T92" fmla="*/ 80 w 169"/>
                <a:gd name="T93" fmla="*/ 69 h 475"/>
                <a:gd name="T94" fmla="*/ 66 w 169"/>
                <a:gd name="T95" fmla="*/ 60 h 475"/>
                <a:gd name="T96" fmla="*/ 59 w 169"/>
                <a:gd name="T97" fmla="*/ 49 h 475"/>
                <a:gd name="T98" fmla="*/ 52 w 169"/>
                <a:gd name="T99" fmla="*/ 30 h 475"/>
                <a:gd name="T100" fmla="*/ 42 w 169"/>
                <a:gd name="T101" fmla="*/ 21 h 475"/>
                <a:gd name="T102" fmla="*/ 39 w 169"/>
                <a:gd name="T103" fmla="*/ 15 h 475"/>
                <a:gd name="T104" fmla="*/ 45 w 169"/>
                <a:gd name="T105" fmla="*/ 5 h 475"/>
                <a:gd name="T106" fmla="*/ 51 w 169"/>
                <a:gd name="T107" fmla="*/ 0 h 475"/>
                <a:gd name="T108" fmla="*/ 68 w 169"/>
                <a:gd name="T109" fmla="*/ 10 h 475"/>
                <a:gd name="T110" fmla="*/ 79 w 169"/>
                <a:gd name="T111" fmla="*/ 11 h 475"/>
                <a:gd name="T112" fmla="*/ 98 w 169"/>
                <a:gd name="T113" fmla="*/ 18 h 475"/>
                <a:gd name="T114" fmla="*/ 111 w 169"/>
                <a:gd name="T115" fmla="*/ 21 h 475"/>
                <a:gd name="T116" fmla="*/ 124 w 169"/>
                <a:gd name="T117" fmla="*/ 28 h 475"/>
                <a:gd name="T118" fmla="*/ 136 w 169"/>
                <a:gd name="T119" fmla="*/ 28 h 475"/>
                <a:gd name="T120" fmla="*/ 141 w 169"/>
                <a:gd name="T121" fmla="*/ 38 h 475"/>
                <a:gd name="T122" fmla="*/ 151 w 169"/>
                <a:gd name="T123" fmla="*/ 49 h 475"/>
                <a:gd name="T124" fmla="*/ 162 w 169"/>
                <a:gd name="T125" fmla="*/ 55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9" h="475">
                  <a:moveTo>
                    <a:pt x="32" y="475"/>
                  </a:moveTo>
                  <a:lnTo>
                    <a:pt x="32" y="475"/>
                  </a:lnTo>
                  <a:lnTo>
                    <a:pt x="32" y="474"/>
                  </a:lnTo>
                  <a:lnTo>
                    <a:pt x="32" y="474"/>
                  </a:lnTo>
                  <a:lnTo>
                    <a:pt x="33" y="473"/>
                  </a:lnTo>
                  <a:lnTo>
                    <a:pt x="35" y="471"/>
                  </a:lnTo>
                  <a:lnTo>
                    <a:pt x="36" y="471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9"/>
                  </a:lnTo>
                  <a:lnTo>
                    <a:pt x="37" y="469"/>
                  </a:lnTo>
                  <a:lnTo>
                    <a:pt x="37" y="468"/>
                  </a:lnTo>
                  <a:lnTo>
                    <a:pt x="36" y="467"/>
                  </a:lnTo>
                  <a:lnTo>
                    <a:pt x="36" y="466"/>
                  </a:lnTo>
                  <a:lnTo>
                    <a:pt x="35" y="465"/>
                  </a:lnTo>
                  <a:lnTo>
                    <a:pt x="35" y="464"/>
                  </a:lnTo>
                  <a:lnTo>
                    <a:pt x="34" y="463"/>
                  </a:lnTo>
                  <a:lnTo>
                    <a:pt x="32" y="460"/>
                  </a:lnTo>
                  <a:lnTo>
                    <a:pt x="31" y="459"/>
                  </a:lnTo>
                  <a:lnTo>
                    <a:pt x="31" y="458"/>
                  </a:lnTo>
                  <a:lnTo>
                    <a:pt x="30" y="457"/>
                  </a:lnTo>
                  <a:lnTo>
                    <a:pt x="30" y="456"/>
                  </a:lnTo>
                  <a:lnTo>
                    <a:pt x="29" y="453"/>
                  </a:lnTo>
                  <a:lnTo>
                    <a:pt x="28" y="449"/>
                  </a:lnTo>
                  <a:lnTo>
                    <a:pt x="27" y="446"/>
                  </a:lnTo>
                  <a:lnTo>
                    <a:pt x="27" y="445"/>
                  </a:lnTo>
                  <a:lnTo>
                    <a:pt x="27" y="443"/>
                  </a:lnTo>
                  <a:lnTo>
                    <a:pt x="27" y="442"/>
                  </a:lnTo>
                  <a:lnTo>
                    <a:pt x="27" y="440"/>
                  </a:lnTo>
                  <a:lnTo>
                    <a:pt x="27" y="439"/>
                  </a:lnTo>
                  <a:lnTo>
                    <a:pt x="27" y="437"/>
                  </a:lnTo>
                  <a:lnTo>
                    <a:pt x="27" y="436"/>
                  </a:lnTo>
                  <a:lnTo>
                    <a:pt x="28" y="435"/>
                  </a:lnTo>
                  <a:lnTo>
                    <a:pt x="30" y="432"/>
                  </a:lnTo>
                  <a:lnTo>
                    <a:pt x="30" y="431"/>
                  </a:lnTo>
                  <a:lnTo>
                    <a:pt x="32" y="429"/>
                  </a:lnTo>
                  <a:lnTo>
                    <a:pt x="32" y="428"/>
                  </a:lnTo>
                  <a:lnTo>
                    <a:pt x="33" y="428"/>
                  </a:lnTo>
                  <a:lnTo>
                    <a:pt x="34" y="427"/>
                  </a:lnTo>
                  <a:lnTo>
                    <a:pt x="34" y="426"/>
                  </a:lnTo>
                  <a:lnTo>
                    <a:pt x="35" y="426"/>
                  </a:lnTo>
                  <a:lnTo>
                    <a:pt x="35" y="425"/>
                  </a:lnTo>
                  <a:lnTo>
                    <a:pt x="36" y="425"/>
                  </a:lnTo>
                  <a:lnTo>
                    <a:pt x="36" y="425"/>
                  </a:lnTo>
                  <a:lnTo>
                    <a:pt x="36" y="424"/>
                  </a:lnTo>
                  <a:lnTo>
                    <a:pt x="35" y="424"/>
                  </a:lnTo>
                  <a:lnTo>
                    <a:pt x="35" y="424"/>
                  </a:lnTo>
                  <a:lnTo>
                    <a:pt x="34" y="424"/>
                  </a:lnTo>
                  <a:lnTo>
                    <a:pt x="32" y="423"/>
                  </a:lnTo>
                  <a:lnTo>
                    <a:pt x="30" y="423"/>
                  </a:lnTo>
                  <a:lnTo>
                    <a:pt x="29" y="423"/>
                  </a:lnTo>
                  <a:lnTo>
                    <a:pt x="27" y="423"/>
                  </a:lnTo>
                  <a:lnTo>
                    <a:pt x="25" y="422"/>
                  </a:lnTo>
                  <a:lnTo>
                    <a:pt x="21" y="421"/>
                  </a:lnTo>
                  <a:lnTo>
                    <a:pt x="18" y="420"/>
                  </a:lnTo>
                  <a:lnTo>
                    <a:pt x="15" y="419"/>
                  </a:lnTo>
                  <a:lnTo>
                    <a:pt x="15" y="419"/>
                  </a:lnTo>
                  <a:lnTo>
                    <a:pt x="14" y="419"/>
                  </a:lnTo>
                  <a:lnTo>
                    <a:pt x="14" y="418"/>
                  </a:lnTo>
                  <a:lnTo>
                    <a:pt x="13" y="418"/>
                  </a:lnTo>
                  <a:lnTo>
                    <a:pt x="13" y="418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3" y="416"/>
                  </a:lnTo>
                  <a:lnTo>
                    <a:pt x="13" y="415"/>
                  </a:lnTo>
                  <a:lnTo>
                    <a:pt x="13" y="413"/>
                  </a:lnTo>
                  <a:lnTo>
                    <a:pt x="13" y="412"/>
                  </a:lnTo>
                  <a:lnTo>
                    <a:pt x="13" y="411"/>
                  </a:lnTo>
                  <a:lnTo>
                    <a:pt x="12" y="408"/>
                  </a:lnTo>
                  <a:lnTo>
                    <a:pt x="12" y="407"/>
                  </a:lnTo>
                  <a:lnTo>
                    <a:pt x="12" y="406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4" y="403"/>
                  </a:lnTo>
                  <a:lnTo>
                    <a:pt x="14" y="402"/>
                  </a:lnTo>
                  <a:lnTo>
                    <a:pt x="15" y="402"/>
                  </a:lnTo>
                  <a:lnTo>
                    <a:pt x="15" y="402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3" y="404"/>
                  </a:lnTo>
                  <a:lnTo>
                    <a:pt x="24" y="404"/>
                  </a:lnTo>
                  <a:lnTo>
                    <a:pt x="25" y="404"/>
                  </a:lnTo>
                  <a:lnTo>
                    <a:pt x="25" y="404"/>
                  </a:lnTo>
                  <a:lnTo>
                    <a:pt x="25" y="403"/>
                  </a:lnTo>
                  <a:lnTo>
                    <a:pt x="26" y="403"/>
                  </a:lnTo>
                  <a:lnTo>
                    <a:pt x="26" y="403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8" y="397"/>
                  </a:lnTo>
                  <a:lnTo>
                    <a:pt x="29" y="396"/>
                  </a:lnTo>
                  <a:lnTo>
                    <a:pt x="29" y="395"/>
                  </a:lnTo>
                  <a:lnTo>
                    <a:pt x="29" y="394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0" y="389"/>
                  </a:lnTo>
                  <a:lnTo>
                    <a:pt x="31" y="386"/>
                  </a:lnTo>
                  <a:lnTo>
                    <a:pt x="32" y="384"/>
                  </a:lnTo>
                  <a:lnTo>
                    <a:pt x="32" y="382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80"/>
                  </a:lnTo>
                  <a:lnTo>
                    <a:pt x="31" y="377"/>
                  </a:lnTo>
                  <a:lnTo>
                    <a:pt x="30" y="375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3"/>
                  </a:lnTo>
                  <a:lnTo>
                    <a:pt x="30" y="371"/>
                  </a:lnTo>
                  <a:lnTo>
                    <a:pt x="30" y="370"/>
                  </a:lnTo>
                  <a:lnTo>
                    <a:pt x="30" y="369"/>
                  </a:lnTo>
                  <a:lnTo>
                    <a:pt x="31" y="368"/>
                  </a:lnTo>
                  <a:lnTo>
                    <a:pt x="31" y="367"/>
                  </a:lnTo>
                  <a:lnTo>
                    <a:pt x="32" y="366"/>
                  </a:lnTo>
                  <a:lnTo>
                    <a:pt x="33" y="365"/>
                  </a:lnTo>
                  <a:lnTo>
                    <a:pt x="33" y="364"/>
                  </a:lnTo>
                  <a:lnTo>
                    <a:pt x="36" y="361"/>
                  </a:lnTo>
                  <a:lnTo>
                    <a:pt x="38" y="358"/>
                  </a:lnTo>
                  <a:lnTo>
                    <a:pt x="39" y="357"/>
                  </a:lnTo>
                  <a:lnTo>
                    <a:pt x="39" y="356"/>
                  </a:lnTo>
                  <a:lnTo>
                    <a:pt x="39" y="356"/>
                  </a:lnTo>
                  <a:lnTo>
                    <a:pt x="40" y="355"/>
                  </a:lnTo>
                  <a:lnTo>
                    <a:pt x="40" y="353"/>
                  </a:lnTo>
                  <a:lnTo>
                    <a:pt x="41" y="352"/>
                  </a:lnTo>
                  <a:lnTo>
                    <a:pt x="41" y="350"/>
                  </a:lnTo>
                  <a:lnTo>
                    <a:pt x="41" y="348"/>
                  </a:lnTo>
                  <a:lnTo>
                    <a:pt x="41" y="347"/>
                  </a:lnTo>
                  <a:lnTo>
                    <a:pt x="41" y="346"/>
                  </a:lnTo>
                  <a:lnTo>
                    <a:pt x="40" y="342"/>
                  </a:lnTo>
                  <a:lnTo>
                    <a:pt x="40" y="341"/>
                  </a:lnTo>
                  <a:lnTo>
                    <a:pt x="40" y="340"/>
                  </a:lnTo>
                  <a:lnTo>
                    <a:pt x="40" y="339"/>
                  </a:lnTo>
                  <a:lnTo>
                    <a:pt x="39" y="338"/>
                  </a:lnTo>
                  <a:lnTo>
                    <a:pt x="39" y="338"/>
                  </a:lnTo>
                  <a:lnTo>
                    <a:pt x="38" y="337"/>
                  </a:lnTo>
                  <a:lnTo>
                    <a:pt x="38" y="336"/>
                  </a:lnTo>
                  <a:lnTo>
                    <a:pt x="37" y="336"/>
                  </a:lnTo>
                  <a:lnTo>
                    <a:pt x="36" y="335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4" y="334"/>
                  </a:lnTo>
                  <a:lnTo>
                    <a:pt x="31" y="334"/>
                  </a:lnTo>
                  <a:lnTo>
                    <a:pt x="30" y="333"/>
                  </a:lnTo>
                  <a:lnTo>
                    <a:pt x="29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7" y="333"/>
                  </a:lnTo>
                  <a:lnTo>
                    <a:pt x="27" y="333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1"/>
                  </a:lnTo>
                  <a:lnTo>
                    <a:pt x="27" y="330"/>
                  </a:lnTo>
                  <a:lnTo>
                    <a:pt x="28" y="328"/>
                  </a:lnTo>
                  <a:lnTo>
                    <a:pt x="28" y="327"/>
                  </a:lnTo>
                  <a:lnTo>
                    <a:pt x="28" y="326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8" y="324"/>
                  </a:lnTo>
                  <a:lnTo>
                    <a:pt x="27" y="321"/>
                  </a:lnTo>
                  <a:lnTo>
                    <a:pt x="26" y="321"/>
                  </a:lnTo>
                  <a:lnTo>
                    <a:pt x="26" y="320"/>
                  </a:lnTo>
                  <a:lnTo>
                    <a:pt x="26" y="317"/>
                  </a:lnTo>
                  <a:lnTo>
                    <a:pt x="26" y="316"/>
                  </a:lnTo>
                  <a:lnTo>
                    <a:pt x="25" y="315"/>
                  </a:lnTo>
                  <a:lnTo>
                    <a:pt x="25" y="314"/>
                  </a:lnTo>
                  <a:lnTo>
                    <a:pt x="24" y="314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7" y="305"/>
                  </a:lnTo>
                  <a:lnTo>
                    <a:pt x="16" y="304"/>
                  </a:lnTo>
                  <a:lnTo>
                    <a:pt x="15" y="302"/>
                  </a:lnTo>
                  <a:lnTo>
                    <a:pt x="15" y="300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12" y="294"/>
                  </a:lnTo>
                  <a:lnTo>
                    <a:pt x="12" y="293"/>
                  </a:lnTo>
                  <a:lnTo>
                    <a:pt x="12" y="292"/>
                  </a:lnTo>
                  <a:lnTo>
                    <a:pt x="11" y="291"/>
                  </a:lnTo>
                  <a:lnTo>
                    <a:pt x="9" y="288"/>
                  </a:lnTo>
                  <a:lnTo>
                    <a:pt x="8" y="287"/>
                  </a:lnTo>
                  <a:lnTo>
                    <a:pt x="8" y="286"/>
                  </a:lnTo>
                  <a:lnTo>
                    <a:pt x="8" y="285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6"/>
                  </a:lnTo>
                  <a:lnTo>
                    <a:pt x="9" y="275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2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8"/>
                  </a:lnTo>
                  <a:lnTo>
                    <a:pt x="13" y="267"/>
                  </a:lnTo>
                  <a:lnTo>
                    <a:pt x="13" y="266"/>
                  </a:lnTo>
                  <a:lnTo>
                    <a:pt x="13" y="266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2" y="260"/>
                  </a:lnTo>
                  <a:lnTo>
                    <a:pt x="12" y="258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7"/>
                  </a:lnTo>
                  <a:lnTo>
                    <a:pt x="10" y="246"/>
                  </a:lnTo>
                  <a:lnTo>
                    <a:pt x="9" y="241"/>
                  </a:lnTo>
                  <a:lnTo>
                    <a:pt x="7" y="236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5" y="230"/>
                  </a:lnTo>
                  <a:lnTo>
                    <a:pt x="4" y="225"/>
                  </a:lnTo>
                  <a:lnTo>
                    <a:pt x="4" y="223"/>
                  </a:lnTo>
                  <a:lnTo>
                    <a:pt x="3" y="220"/>
                  </a:lnTo>
                  <a:lnTo>
                    <a:pt x="1" y="216"/>
                  </a:lnTo>
                  <a:lnTo>
                    <a:pt x="1" y="215"/>
                  </a:lnTo>
                  <a:lnTo>
                    <a:pt x="1" y="214"/>
                  </a:lnTo>
                  <a:lnTo>
                    <a:pt x="0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1" y="210"/>
                  </a:lnTo>
                  <a:lnTo>
                    <a:pt x="1" y="210"/>
                  </a:lnTo>
                  <a:lnTo>
                    <a:pt x="2" y="210"/>
                  </a:lnTo>
                  <a:lnTo>
                    <a:pt x="2" y="210"/>
                  </a:lnTo>
                  <a:lnTo>
                    <a:pt x="3" y="209"/>
                  </a:lnTo>
                  <a:lnTo>
                    <a:pt x="4" y="209"/>
                  </a:lnTo>
                  <a:lnTo>
                    <a:pt x="5" y="209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0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3" y="205"/>
                  </a:lnTo>
                  <a:lnTo>
                    <a:pt x="14" y="204"/>
                  </a:lnTo>
                  <a:lnTo>
                    <a:pt x="15" y="203"/>
                  </a:lnTo>
                  <a:lnTo>
                    <a:pt x="15" y="202"/>
                  </a:lnTo>
                  <a:lnTo>
                    <a:pt x="18" y="199"/>
                  </a:lnTo>
                  <a:lnTo>
                    <a:pt x="19" y="198"/>
                  </a:lnTo>
                  <a:lnTo>
                    <a:pt x="22" y="196"/>
                  </a:lnTo>
                  <a:lnTo>
                    <a:pt x="23" y="194"/>
                  </a:lnTo>
                  <a:lnTo>
                    <a:pt x="24" y="194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2"/>
                  </a:lnTo>
                  <a:lnTo>
                    <a:pt x="26" y="191"/>
                  </a:lnTo>
                  <a:lnTo>
                    <a:pt x="26" y="190"/>
                  </a:lnTo>
                  <a:lnTo>
                    <a:pt x="27" y="189"/>
                  </a:lnTo>
                  <a:lnTo>
                    <a:pt x="27" y="188"/>
                  </a:lnTo>
                  <a:lnTo>
                    <a:pt x="27" y="187"/>
                  </a:lnTo>
                  <a:lnTo>
                    <a:pt x="27" y="185"/>
                  </a:lnTo>
                  <a:lnTo>
                    <a:pt x="26" y="182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0"/>
                  </a:lnTo>
                  <a:lnTo>
                    <a:pt x="27" y="169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6"/>
                  </a:lnTo>
                  <a:lnTo>
                    <a:pt x="27" y="162"/>
                  </a:lnTo>
                  <a:lnTo>
                    <a:pt x="27" y="161"/>
                  </a:lnTo>
                  <a:lnTo>
                    <a:pt x="27" y="160"/>
                  </a:lnTo>
                  <a:lnTo>
                    <a:pt x="27" y="159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30" y="150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4" y="143"/>
                  </a:lnTo>
                  <a:lnTo>
                    <a:pt x="36" y="135"/>
                  </a:lnTo>
                  <a:lnTo>
                    <a:pt x="38" y="132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40" y="125"/>
                  </a:lnTo>
                  <a:lnTo>
                    <a:pt x="40" y="123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4" y="114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9" y="108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5" y="105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3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1"/>
                  </a:lnTo>
                  <a:lnTo>
                    <a:pt x="69" y="100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6" y="99"/>
                  </a:lnTo>
                  <a:lnTo>
                    <a:pt x="79" y="102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1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3"/>
                  </a:lnTo>
                  <a:lnTo>
                    <a:pt x="85" y="103"/>
                  </a:lnTo>
                  <a:lnTo>
                    <a:pt x="85" y="102"/>
                  </a:lnTo>
                  <a:lnTo>
                    <a:pt x="86" y="102"/>
                  </a:lnTo>
                  <a:lnTo>
                    <a:pt x="86" y="101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6" y="97"/>
                  </a:lnTo>
                  <a:lnTo>
                    <a:pt x="85" y="94"/>
                  </a:lnTo>
                  <a:lnTo>
                    <a:pt x="85" y="92"/>
                  </a:lnTo>
                  <a:lnTo>
                    <a:pt x="84" y="91"/>
                  </a:lnTo>
                  <a:lnTo>
                    <a:pt x="84" y="89"/>
                  </a:lnTo>
                  <a:lnTo>
                    <a:pt x="84" y="88"/>
                  </a:lnTo>
                  <a:lnTo>
                    <a:pt x="84" y="87"/>
                  </a:lnTo>
                  <a:lnTo>
                    <a:pt x="85" y="83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5" y="78"/>
                  </a:lnTo>
                  <a:lnTo>
                    <a:pt x="84" y="77"/>
                  </a:lnTo>
                  <a:lnTo>
                    <a:pt x="84" y="75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79" y="68"/>
                  </a:lnTo>
                  <a:lnTo>
                    <a:pt x="78" y="67"/>
                  </a:lnTo>
                  <a:lnTo>
                    <a:pt x="77" y="66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68" y="62"/>
                  </a:lnTo>
                  <a:lnTo>
                    <a:pt x="67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1" y="54"/>
                  </a:lnTo>
                  <a:lnTo>
                    <a:pt x="59" y="49"/>
                  </a:lnTo>
                  <a:lnTo>
                    <a:pt x="57" y="44"/>
                  </a:lnTo>
                  <a:lnTo>
                    <a:pt x="56" y="42"/>
                  </a:lnTo>
                  <a:lnTo>
                    <a:pt x="55" y="40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3" y="32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8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4" y="6"/>
                  </a:lnTo>
                  <a:lnTo>
                    <a:pt x="45" y="5"/>
                  </a:lnTo>
                  <a:lnTo>
                    <a:pt x="46" y="4"/>
                  </a:lnTo>
                  <a:lnTo>
                    <a:pt x="47" y="3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9" y="5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0" y="12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6" y="14"/>
                  </a:lnTo>
                  <a:lnTo>
                    <a:pt x="92" y="16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8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3" y="22"/>
                  </a:lnTo>
                  <a:lnTo>
                    <a:pt x="113" y="23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5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8" y="31"/>
                  </a:lnTo>
                  <a:lnTo>
                    <a:pt x="140" y="35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3" y="40"/>
                  </a:lnTo>
                  <a:lnTo>
                    <a:pt x="144" y="41"/>
                  </a:lnTo>
                  <a:lnTo>
                    <a:pt x="145" y="43"/>
                  </a:lnTo>
                  <a:lnTo>
                    <a:pt x="146" y="44"/>
                  </a:lnTo>
                  <a:lnTo>
                    <a:pt x="147" y="45"/>
                  </a:lnTo>
                  <a:lnTo>
                    <a:pt x="148" y="46"/>
                  </a:lnTo>
                  <a:lnTo>
                    <a:pt x="149" y="47"/>
                  </a:lnTo>
                  <a:lnTo>
                    <a:pt x="151" y="49"/>
                  </a:lnTo>
                  <a:lnTo>
                    <a:pt x="153" y="50"/>
                  </a:lnTo>
                  <a:lnTo>
                    <a:pt x="154" y="51"/>
                  </a:lnTo>
                  <a:lnTo>
                    <a:pt x="155" y="52"/>
                  </a:lnTo>
                  <a:lnTo>
                    <a:pt x="156" y="52"/>
                  </a:lnTo>
                  <a:lnTo>
                    <a:pt x="158" y="53"/>
                  </a:lnTo>
                  <a:lnTo>
                    <a:pt x="160" y="54"/>
                  </a:lnTo>
                  <a:lnTo>
                    <a:pt x="161" y="54"/>
                  </a:lnTo>
                  <a:lnTo>
                    <a:pt x="162" y="55"/>
                  </a:lnTo>
                  <a:lnTo>
                    <a:pt x="163" y="55"/>
                  </a:lnTo>
                  <a:lnTo>
                    <a:pt x="164" y="55"/>
                  </a:lnTo>
                  <a:lnTo>
                    <a:pt x="165" y="55"/>
                  </a:lnTo>
                  <a:lnTo>
                    <a:pt x="166" y="56"/>
                  </a:lnTo>
                  <a:lnTo>
                    <a:pt x="167" y="56"/>
                  </a:lnTo>
                  <a:lnTo>
                    <a:pt x="169" y="56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Freeform 37">
              <a:extLst>
                <a:ext uri="{FF2B5EF4-FFF2-40B4-BE49-F238E27FC236}">
                  <a16:creationId xmlns:a16="http://schemas.microsoft.com/office/drawing/2014/main" id="{8B8AA6C0-45B6-EDFD-B774-3704C03F3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4" y="3551"/>
              <a:ext cx="387" cy="320"/>
            </a:xfrm>
            <a:custGeom>
              <a:avLst/>
              <a:gdLst>
                <a:gd name="T0" fmla="*/ 257 w 387"/>
                <a:gd name="T1" fmla="*/ 7 h 320"/>
                <a:gd name="T2" fmla="*/ 275 w 387"/>
                <a:gd name="T3" fmla="*/ 11 h 320"/>
                <a:gd name="T4" fmla="*/ 308 w 387"/>
                <a:gd name="T5" fmla="*/ 10 h 320"/>
                <a:gd name="T6" fmla="*/ 331 w 387"/>
                <a:gd name="T7" fmla="*/ 19 h 320"/>
                <a:gd name="T8" fmla="*/ 349 w 387"/>
                <a:gd name="T9" fmla="*/ 20 h 320"/>
                <a:gd name="T10" fmla="*/ 366 w 387"/>
                <a:gd name="T11" fmla="*/ 38 h 320"/>
                <a:gd name="T12" fmla="*/ 377 w 387"/>
                <a:gd name="T13" fmla="*/ 55 h 320"/>
                <a:gd name="T14" fmla="*/ 387 w 387"/>
                <a:gd name="T15" fmla="*/ 65 h 320"/>
                <a:gd name="T16" fmla="*/ 379 w 387"/>
                <a:gd name="T17" fmla="*/ 89 h 320"/>
                <a:gd name="T18" fmla="*/ 340 w 387"/>
                <a:gd name="T19" fmla="*/ 108 h 320"/>
                <a:gd name="T20" fmla="*/ 319 w 387"/>
                <a:gd name="T21" fmla="*/ 121 h 320"/>
                <a:gd name="T22" fmla="*/ 312 w 387"/>
                <a:gd name="T23" fmla="*/ 144 h 320"/>
                <a:gd name="T24" fmla="*/ 306 w 387"/>
                <a:gd name="T25" fmla="*/ 171 h 320"/>
                <a:gd name="T26" fmla="*/ 303 w 387"/>
                <a:gd name="T27" fmla="*/ 192 h 320"/>
                <a:gd name="T28" fmla="*/ 296 w 387"/>
                <a:gd name="T29" fmla="*/ 221 h 320"/>
                <a:gd name="T30" fmla="*/ 276 w 387"/>
                <a:gd name="T31" fmla="*/ 237 h 320"/>
                <a:gd name="T32" fmla="*/ 250 w 387"/>
                <a:gd name="T33" fmla="*/ 240 h 320"/>
                <a:gd name="T34" fmla="*/ 242 w 387"/>
                <a:gd name="T35" fmla="*/ 258 h 320"/>
                <a:gd name="T36" fmla="*/ 234 w 387"/>
                <a:gd name="T37" fmla="*/ 282 h 320"/>
                <a:gd name="T38" fmla="*/ 210 w 387"/>
                <a:gd name="T39" fmla="*/ 286 h 320"/>
                <a:gd name="T40" fmla="*/ 192 w 387"/>
                <a:gd name="T41" fmla="*/ 305 h 320"/>
                <a:gd name="T42" fmla="*/ 165 w 387"/>
                <a:gd name="T43" fmla="*/ 320 h 320"/>
                <a:gd name="T44" fmla="*/ 149 w 387"/>
                <a:gd name="T45" fmla="*/ 296 h 320"/>
                <a:gd name="T46" fmla="*/ 133 w 387"/>
                <a:gd name="T47" fmla="*/ 285 h 320"/>
                <a:gd name="T48" fmla="*/ 125 w 387"/>
                <a:gd name="T49" fmla="*/ 274 h 320"/>
                <a:gd name="T50" fmla="*/ 101 w 387"/>
                <a:gd name="T51" fmla="*/ 274 h 320"/>
                <a:gd name="T52" fmla="*/ 83 w 387"/>
                <a:gd name="T53" fmla="*/ 265 h 320"/>
                <a:gd name="T54" fmla="*/ 74 w 387"/>
                <a:gd name="T55" fmla="*/ 255 h 320"/>
                <a:gd name="T56" fmla="*/ 52 w 387"/>
                <a:gd name="T57" fmla="*/ 247 h 320"/>
                <a:gd name="T58" fmla="*/ 39 w 387"/>
                <a:gd name="T59" fmla="*/ 239 h 320"/>
                <a:gd name="T60" fmla="*/ 34 w 387"/>
                <a:gd name="T61" fmla="*/ 226 h 320"/>
                <a:gd name="T62" fmla="*/ 24 w 387"/>
                <a:gd name="T63" fmla="*/ 216 h 320"/>
                <a:gd name="T64" fmla="*/ 2 w 387"/>
                <a:gd name="T65" fmla="*/ 221 h 320"/>
                <a:gd name="T66" fmla="*/ 4 w 387"/>
                <a:gd name="T67" fmla="*/ 209 h 320"/>
                <a:gd name="T68" fmla="*/ 18 w 387"/>
                <a:gd name="T69" fmla="*/ 192 h 320"/>
                <a:gd name="T70" fmla="*/ 24 w 387"/>
                <a:gd name="T71" fmla="*/ 178 h 320"/>
                <a:gd name="T72" fmla="*/ 12 w 387"/>
                <a:gd name="T73" fmla="*/ 175 h 320"/>
                <a:gd name="T74" fmla="*/ 7 w 387"/>
                <a:gd name="T75" fmla="*/ 159 h 320"/>
                <a:gd name="T76" fmla="*/ 6 w 387"/>
                <a:gd name="T77" fmla="*/ 138 h 320"/>
                <a:gd name="T78" fmla="*/ 17 w 387"/>
                <a:gd name="T79" fmla="*/ 125 h 320"/>
                <a:gd name="T80" fmla="*/ 39 w 387"/>
                <a:gd name="T81" fmla="*/ 119 h 320"/>
                <a:gd name="T82" fmla="*/ 54 w 387"/>
                <a:gd name="T83" fmla="*/ 110 h 320"/>
                <a:gd name="T84" fmla="*/ 67 w 387"/>
                <a:gd name="T85" fmla="*/ 94 h 320"/>
                <a:gd name="T86" fmla="*/ 64 w 387"/>
                <a:gd name="T87" fmla="*/ 76 h 320"/>
                <a:gd name="T88" fmla="*/ 73 w 387"/>
                <a:gd name="T89" fmla="*/ 66 h 320"/>
                <a:gd name="T90" fmla="*/ 78 w 387"/>
                <a:gd name="T91" fmla="*/ 77 h 320"/>
                <a:gd name="T92" fmla="*/ 97 w 387"/>
                <a:gd name="T93" fmla="*/ 81 h 320"/>
                <a:gd name="T94" fmla="*/ 111 w 387"/>
                <a:gd name="T95" fmla="*/ 83 h 320"/>
                <a:gd name="T96" fmla="*/ 117 w 387"/>
                <a:gd name="T97" fmla="*/ 69 h 320"/>
                <a:gd name="T98" fmla="*/ 137 w 387"/>
                <a:gd name="T99" fmla="*/ 66 h 320"/>
                <a:gd name="T100" fmla="*/ 150 w 387"/>
                <a:gd name="T101" fmla="*/ 67 h 320"/>
                <a:gd name="T102" fmla="*/ 154 w 387"/>
                <a:gd name="T103" fmla="*/ 56 h 320"/>
                <a:gd name="T104" fmla="*/ 153 w 387"/>
                <a:gd name="T105" fmla="*/ 46 h 320"/>
                <a:gd name="T106" fmla="*/ 162 w 387"/>
                <a:gd name="T107" fmla="*/ 45 h 320"/>
                <a:gd name="T108" fmla="*/ 174 w 387"/>
                <a:gd name="T109" fmla="*/ 44 h 320"/>
                <a:gd name="T110" fmla="*/ 192 w 387"/>
                <a:gd name="T111" fmla="*/ 47 h 320"/>
                <a:gd name="T112" fmla="*/ 199 w 387"/>
                <a:gd name="T113" fmla="*/ 28 h 320"/>
                <a:gd name="T114" fmla="*/ 211 w 387"/>
                <a:gd name="T115" fmla="*/ 15 h 320"/>
                <a:gd name="T116" fmla="*/ 225 w 387"/>
                <a:gd name="T117" fmla="*/ 12 h 320"/>
                <a:gd name="T118" fmla="*/ 234 w 387"/>
                <a:gd name="T119" fmla="*/ 4 h 320"/>
                <a:gd name="T120" fmla="*/ 240 w 387"/>
                <a:gd name="T121" fmla="*/ 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87" h="320">
                  <a:moveTo>
                    <a:pt x="241" y="0"/>
                  </a:moveTo>
                  <a:lnTo>
                    <a:pt x="243" y="0"/>
                  </a:lnTo>
                  <a:lnTo>
                    <a:pt x="244" y="0"/>
                  </a:lnTo>
                  <a:lnTo>
                    <a:pt x="246" y="0"/>
                  </a:lnTo>
                  <a:lnTo>
                    <a:pt x="248" y="1"/>
                  </a:lnTo>
                  <a:lnTo>
                    <a:pt x="249" y="1"/>
                  </a:lnTo>
                  <a:lnTo>
                    <a:pt x="250" y="2"/>
                  </a:lnTo>
                  <a:lnTo>
                    <a:pt x="251" y="2"/>
                  </a:lnTo>
                  <a:lnTo>
                    <a:pt x="253" y="3"/>
                  </a:lnTo>
                  <a:lnTo>
                    <a:pt x="254" y="4"/>
                  </a:lnTo>
                  <a:lnTo>
                    <a:pt x="255" y="5"/>
                  </a:lnTo>
                  <a:lnTo>
                    <a:pt x="256" y="6"/>
                  </a:lnTo>
                  <a:lnTo>
                    <a:pt x="256" y="7"/>
                  </a:lnTo>
                  <a:lnTo>
                    <a:pt x="257" y="7"/>
                  </a:lnTo>
                  <a:lnTo>
                    <a:pt x="258" y="10"/>
                  </a:lnTo>
                  <a:lnTo>
                    <a:pt x="259" y="11"/>
                  </a:lnTo>
                  <a:lnTo>
                    <a:pt x="259" y="12"/>
                  </a:lnTo>
                  <a:lnTo>
                    <a:pt x="260" y="12"/>
                  </a:lnTo>
                  <a:lnTo>
                    <a:pt x="260" y="12"/>
                  </a:lnTo>
                  <a:lnTo>
                    <a:pt x="261" y="13"/>
                  </a:lnTo>
                  <a:lnTo>
                    <a:pt x="262" y="13"/>
                  </a:lnTo>
                  <a:lnTo>
                    <a:pt x="262" y="13"/>
                  </a:lnTo>
                  <a:lnTo>
                    <a:pt x="263" y="14"/>
                  </a:lnTo>
                  <a:lnTo>
                    <a:pt x="264" y="13"/>
                  </a:lnTo>
                  <a:lnTo>
                    <a:pt x="265" y="13"/>
                  </a:lnTo>
                  <a:lnTo>
                    <a:pt x="267" y="13"/>
                  </a:lnTo>
                  <a:lnTo>
                    <a:pt x="268" y="13"/>
                  </a:lnTo>
                  <a:lnTo>
                    <a:pt x="275" y="11"/>
                  </a:lnTo>
                  <a:lnTo>
                    <a:pt x="279" y="10"/>
                  </a:lnTo>
                  <a:lnTo>
                    <a:pt x="282" y="9"/>
                  </a:lnTo>
                  <a:lnTo>
                    <a:pt x="286" y="8"/>
                  </a:lnTo>
                  <a:lnTo>
                    <a:pt x="288" y="8"/>
                  </a:lnTo>
                  <a:lnTo>
                    <a:pt x="291" y="8"/>
                  </a:lnTo>
                  <a:lnTo>
                    <a:pt x="294" y="8"/>
                  </a:lnTo>
                  <a:lnTo>
                    <a:pt x="296" y="8"/>
                  </a:lnTo>
                  <a:lnTo>
                    <a:pt x="297" y="8"/>
                  </a:lnTo>
                  <a:lnTo>
                    <a:pt x="298" y="8"/>
                  </a:lnTo>
                  <a:lnTo>
                    <a:pt x="302" y="9"/>
                  </a:lnTo>
                  <a:lnTo>
                    <a:pt x="303" y="9"/>
                  </a:lnTo>
                  <a:lnTo>
                    <a:pt x="304" y="9"/>
                  </a:lnTo>
                  <a:lnTo>
                    <a:pt x="307" y="9"/>
                  </a:lnTo>
                  <a:lnTo>
                    <a:pt x="308" y="10"/>
                  </a:lnTo>
                  <a:lnTo>
                    <a:pt x="309" y="10"/>
                  </a:lnTo>
                  <a:lnTo>
                    <a:pt x="310" y="10"/>
                  </a:lnTo>
                  <a:lnTo>
                    <a:pt x="311" y="11"/>
                  </a:lnTo>
                  <a:lnTo>
                    <a:pt x="312" y="11"/>
                  </a:lnTo>
                  <a:lnTo>
                    <a:pt x="313" y="12"/>
                  </a:lnTo>
                  <a:lnTo>
                    <a:pt x="317" y="15"/>
                  </a:lnTo>
                  <a:lnTo>
                    <a:pt x="319" y="16"/>
                  </a:lnTo>
                  <a:lnTo>
                    <a:pt x="320" y="16"/>
                  </a:lnTo>
                  <a:lnTo>
                    <a:pt x="320" y="17"/>
                  </a:lnTo>
                  <a:lnTo>
                    <a:pt x="322" y="17"/>
                  </a:lnTo>
                  <a:lnTo>
                    <a:pt x="323" y="18"/>
                  </a:lnTo>
                  <a:lnTo>
                    <a:pt x="324" y="18"/>
                  </a:lnTo>
                  <a:lnTo>
                    <a:pt x="330" y="19"/>
                  </a:lnTo>
                  <a:lnTo>
                    <a:pt x="331" y="19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7" y="20"/>
                  </a:lnTo>
                  <a:lnTo>
                    <a:pt x="338" y="20"/>
                  </a:lnTo>
                  <a:lnTo>
                    <a:pt x="339" y="19"/>
                  </a:lnTo>
                  <a:lnTo>
                    <a:pt x="342" y="19"/>
                  </a:lnTo>
                  <a:lnTo>
                    <a:pt x="344" y="18"/>
                  </a:lnTo>
                  <a:lnTo>
                    <a:pt x="344" y="18"/>
                  </a:lnTo>
                  <a:lnTo>
                    <a:pt x="345" y="18"/>
                  </a:lnTo>
                  <a:lnTo>
                    <a:pt x="346" y="18"/>
                  </a:lnTo>
                  <a:lnTo>
                    <a:pt x="347" y="19"/>
                  </a:lnTo>
                  <a:lnTo>
                    <a:pt x="348" y="19"/>
                  </a:lnTo>
                  <a:lnTo>
                    <a:pt x="349" y="20"/>
                  </a:lnTo>
                  <a:lnTo>
                    <a:pt x="350" y="20"/>
                  </a:lnTo>
                  <a:lnTo>
                    <a:pt x="351" y="21"/>
                  </a:lnTo>
                  <a:lnTo>
                    <a:pt x="352" y="21"/>
                  </a:lnTo>
                  <a:lnTo>
                    <a:pt x="352" y="22"/>
                  </a:lnTo>
                  <a:lnTo>
                    <a:pt x="353" y="23"/>
                  </a:lnTo>
                  <a:lnTo>
                    <a:pt x="355" y="27"/>
                  </a:lnTo>
                  <a:lnTo>
                    <a:pt x="356" y="29"/>
                  </a:lnTo>
                  <a:lnTo>
                    <a:pt x="357" y="30"/>
                  </a:lnTo>
                  <a:lnTo>
                    <a:pt x="358" y="31"/>
                  </a:lnTo>
                  <a:lnTo>
                    <a:pt x="358" y="32"/>
                  </a:lnTo>
                  <a:lnTo>
                    <a:pt x="359" y="33"/>
                  </a:lnTo>
                  <a:lnTo>
                    <a:pt x="360" y="34"/>
                  </a:lnTo>
                  <a:lnTo>
                    <a:pt x="361" y="35"/>
                  </a:lnTo>
                  <a:lnTo>
                    <a:pt x="366" y="38"/>
                  </a:lnTo>
                  <a:lnTo>
                    <a:pt x="367" y="39"/>
                  </a:lnTo>
                  <a:lnTo>
                    <a:pt x="368" y="40"/>
                  </a:lnTo>
                  <a:lnTo>
                    <a:pt x="369" y="40"/>
                  </a:lnTo>
                  <a:lnTo>
                    <a:pt x="370" y="41"/>
                  </a:lnTo>
                  <a:lnTo>
                    <a:pt x="372" y="44"/>
                  </a:lnTo>
                  <a:lnTo>
                    <a:pt x="372" y="45"/>
                  </a:lnTo>
                  <a:lnTo>
                    <a:pt x="373" y="46"/>
                  </a:lnTo>
                  <a:lnTo>
                    <a:pt x="373" y="46"/>
                  </a:lnTo>
                  <a:lnTo>
                    <a:pt x="373" y="47"/>
                  </a:lnTo>
                  <a:lnTo>
                    <a:pt x="375" y="51"/>
                  </a:lnTo>
                  <a:lnTo>
                    <a:pt x="376" y="53"/>
                  </a:lnTo>
                  <a:lnTo>
                    <a:pt x="376" y="53"/>
                  </a:lnTo>
                  <a:lnTo>
                    <a:pt x="377" y="54"/>
                  </a:lnTo>
                  <a:lnTo>
                    <a:pt x="377" y="55"/>
                  </a:lnTo>
                  <a:lnTo>
                    <a:pt x="378" y="55"/>
                  </a:lnTo>
                  <a:lnTo>
                    <a:pt x="378" y="56"/>
                  </a:lnTo>
                  <a:lnTo>
                    <a:pt x="379" y="57"/>
                  </a:lnTo>
                  <a:lnTo>
                    <a:pt x="380" y="57"/>
                  </a:lnTo>
                  <a:lnTo>
                    <a:pt x="381" y="58"/>
                  </a:lnTo>
                  <a:lnTo>
                    <a:pt x="382" y="59"/>
                  </a:lnTo>
                  <a:lnTo>
                    <a:pt x="383" y="59"/>
                  </a:lnTo>
                  <a:lnTo>
                    <a:pt x="384" y="60"/>
                  </a:lnTo>
                  <a:lnTo>
                    <a:pt x="384" y="60"/>
                  </a:lnTo>
                  <a:lnTo>
                    <a:pt x="385" y="60"/>
                  </a:lnTo>
                  <a:lnTo>
                    <a:pt x="385" y="60"/>
                  </a:lnTo>
                  <a:lnTo>
                    <a:pt x="385" y="61"/>
                  </a:lnTo>
                  <a:lnTo>
                    <a:pt x="386" y="63"/>
                  </a:lnTo>
                  <a:lnTo>
                    <a:pt x="387" y="65"/>
                  </a:lnTo>
                  <a:lnTo>
                    <a:pt x="387" y="67"/>
                  </a:lnTo>
                  <a:lnTo>
                    <a:pt x="387" y="68"/>
                  </a:lnTo>
                  <a:lnTo>
                    <a:pt x="387" y="70"/>
                  </a:lnTo>
                  <a:lnTo>
                    <a:pt x="387" y="71"/>
                  </a:lnTo>
                  <a:lnTo>
                    <a:pt x="387" y="73"/>
                  </a:lnTo>
                  <a:lnTo>
                    <a:pt x="387" y="75"/>
                  </a:lnTo>
                  <a:lnTo>
                    <a:pt x="386" y="76"/>
                  </a:lnTo>
                  <a:lnTo>
                    <a:pt x="386" y="78"/>
                  </a:lnTo>
                  <a:lnTo>
                    <a:pt x="385" y="80"/>
                  </a:lnTo>
                  <a:lnTo>
                    <a:pt x="384" y="81"/>
                  </a:lnTo>
                  <a:lnTo>
                    <a:pt x="383" y="82"/>
                  </a:lnTo>
                  <a:lnTo>
                    <a:pt x="383" y="84"/>
                  </a:lnTo>
                  <a:lnTo>
                    <a:pt x="380" y="87"/>
                  </a:lnTo>
                  <a:lnTo>
                    <a:pt x="379" y="89"/>
                  </a:lnTo>
                  <a:lnTo>
                    <a:pt x="378" y="90"/>
                  </a:lnTo>
                  <a:lnTo>
                    <a:pt x="376" y="91"/>
                  </a:lnTo>
                  <a:lnTo>
                    <a:pt x="375" y="92"/>
                  </a:lnTo>
                  <a:lnTo>
                    <a:pt x="374" y="93"/>
                  </a:lnTo>
                  <a:lnTo>
                    <a:pt x="372" y="94"/>
                  </a:lnTo>
                  <a:lnTo>
                    <a:pt x="370" y="95"/>
                  </a:lnTo>
                  <a:lnTo>
                    <a:pt x="364" y="98"/>
                  </a:lnTo>
                  <a:lnTo>
                    <a:pt x="358" y="101"/>
                  </a:lnTo>
                  <a:lnTo>
                    <a:pt x="355" y="102"/>
                  </a:lnTo>
                  <a:lnTo>
                    <a:pt x="353" y="103"/>
                  </a:lnTo>
                  <a:lnTo>
                    <a:pt x="351" y="104"/>
                  </a:lnTo>
                  <a:lnTo>
                    <a:pt x="345" y="106"/>
                  </a:lnTo>
                  <a:lnTo>
                    <a:pt x="342" y="107"/>
                  </a:lnTo>
                  <a:lnTo>
                    <a:pt x="340" y="108"/>
                  </a:lnTo>
                  <a:lnTo>
                    <a:pt x="339" y="108"/>
                  </a:lnTo>
                  <a:lnTo>
                    <a:pt x="332" y="109"/>
                  </a:lnTo>
                  <a:lnTo>
                    <a:pt x="330" y="110"/>
                  </a:lnTo>
                  <a:lnTo>
                    <a:pt x="328" y="111"/>
                  </a:lnTo>
                  <a:lnTo>
                    <a:pt x="327" y="111"/>
                  </a:lnTo>
                  <a:lnTo>
                    <a:pt x="326" y="112"/>
                  </a:lnTo>
                  <a:lnTo>
                    <a:pt x="325" y="112"/>
                  </a:lnTo>
                  <a:lnTo>
                    <a:pt x="324" y="113"/>
                  </a:lnTo>
                  <a:lnTo>
                    <a:pt x="323" y="114"/>
                  </a:lnTo>
                  <a:lnTo>
                    <a:pt x="323" y="114"/>
                  </a:lnTo>
                  <a:lnTo>
                    <a:pt x="322" y="115"/>
                  </a:lnTo>
                  <a:lnTo>
                    <a:pt x="321" y="117"/>
                  </a:lnTo>
                  <a:lnTo>
                    <a:pt x="320" y="120"/>
                  </a:lnTo>
                  <a:lnTo>
                    <a:pt x="319" y="121"/>
                  </a:lnTo>
                  <a:lnTo>
                    <a:pt x="318" y="123"/>
                  </a:lnTo>
                  <a:lnTo>
                    <a:pt x="315" y="126"/>
                  </a:lnTo>
                  <a:lnTo>
                    <a:pt x="314" y="128"/>
                  </a:lnTo>
                  <a:lnTo>
                    <a:pt x="313" y="130"/>
                  </a:lnTo>
                  <a:lnTo>
                    <a:pt x="312" y="131"/>
                  </a:lnTo>
                  <a:lnTo>
                    <a:pt x="312" y="133"/>
                  </a:lnTo>
                  <a:lnTo>
                    <a:pt x="311" y="134"/>
                  </a:lnTo>
                  <a:lnTo>
                    <a:pt x="311" y="135"/>
                  </a:lnTo>
                  <a:lnTo>
                    <a:pt x="311" y="137"/>
                  </a:lnTo>
                  <a:lnTo>
                    <a:pt x="311" y="138"/>
                  </a:lnTo>
                  <a:lnTo>
                    <a:pt x="311" y="139"/>
                  </a:lnTo>
                  <a:lnTo>
                    <a:pt x="312" y="142"/>
                  </a:lnTo>
                  <a:lnTo>
                    <a:pt x="312" y="143"/>
                  </a:lnTo>
                  <a:lnTo>
                    <a:pt x="312" y="144"/>
                  </a:lnTo>
                  <a:lnTo>
                    <a:pt x="312" y="145"/>
                  </a:lnTo>
                  <a:lnTo>
                    <a:pt x="311" y="146"/>
                  </a:lnTo>
                  <a:lnTo>
                    <a:pt x="311" y="149"/>
                  </a:lnTo>
                  <a:lnTo>
                    <a:pt x="311" y="151"/>
                  </a:lnTo>
                  <a:lnTo>
                    <a:pt x="310" y="152"/>
                  </a:lnTo>
                  <a:lnTo>
                    <a:pt x="310" y="154"/>
                  </a:lnTo>
                  <a:lnTo>
                    <a:pt x="308" y="158"/>
                  </a:lnTo>
                  <a:lnTo>
                    <a:pt x="308" y="160"/>
                  </a:lnTo>
                  <a:lnTo>
                    <a:pt x="308" y="161"/>
                  </a:lnTo>
                  <a:lnTo>
                    <a:pt x="307" y="162"/>
                  </a:lnTo>
                  <a:lnTo>
                    <a:pt x="307" y="164"/>
                  </a:lnTo>
                  <a:lnTo>
                    <a:pt x="307" y="166"/>
                  </a:lnTo>
                  <a:lnTo>
                    <a:pt x="306" y="170"/>
                  </a:lnTo>
                  <a:lnTo>
                    <a:pt x="306" y="171"/>
                  </a:lnTo>
                  <a:lnTo>
                    <a:pt x="306" y="172"/>
                  </a:lnTo>
                  <a:lnTo>
                    <a:pt x="306" y="173"/>
                  </a:lnTo>
                  <a:lnTo>
                    <a:pt x="306" y="174"/>
                  </a:lnTo>
                  <a:lnTo>
                    <a:pt x="304" y="177"/>
                  </a:lnTo>
                  <a:lnTo>
                    <a:pt x="304" y="178"/>
                  </a:lnTo>
                  <a:lnTo>
                    <a:pt x="303" y="182"/>
                  </a:lnTo>
                  <a:lnTo>
                    <a:pt x="302" y="183"/>
                  </a:lnTo>
                  <a:lnTo>
                    <a:pt x="302" y="184"/>
                  </a:lnTo>
                  <a:lnTo>
                    <a:pt x="302" y="185"/>
                  </a:lnTo>
                  <a:lnTo>
                    <a:pt x="302" y="186"/>
                  </a:lnTo>
                  <a:lnTo>
                    <a:pt x="302" y="187"/>
                  </a:lnTo>
                  <a:lnTo>
                    <a:pt x="303" y="190"/>
                  </a:lnTo>
                  <a:lnTo>
                    <a:pt x="303" y="191"/>
                  </a:lnTo>
                  <a:lnTo>
                    <a:pt x="303" y="192"/>
                  </a:lnTo>
                  <a:lnTo>
                    <a:pt x="303" y="192"/>
                  </a:lnTo>
                  <a:lnTo>
                    <a:pt x="303" y="196"/>
                  </a:lnTo>
                  <a:lnTo>
                    <a:pt x="303" y="201"/>
                  </a:lnTo>
                  <a:lnTo>
                    <a:pt x="302" y="202"/>
                  </a:lnTo>
                  <a:lnTo>
                    <a:pt x="302" y="204"/>
                  </a:lnTo>
                  <a:lnTo>
                    <a:pt x="302" y="206"/>
                  </a:lnTo>
                  <a:lnTo>
                    <a:pt x="302" y="206"/>
                  </a:lnTo>
                  <a:lnTo>
                    <a:pt x="301" y="208"/>
                  </a:lnTo>
                  <a:lnTo>
                    <a:pt x="301" y="209"/>
                  </a:lnTo>
                  <a:lnTo>
                    <a:pt x="301" y="211"/>
                  </a:lnTo>
                  <a:lnTo>
                    <a:pt x="299" y="213"/>
                  </a:lnTo>
                  <a:lnTo>
                    <a:pt x="298" y="217"/>
                  </a:lnTo>
                  <a:lnTo>
                    <a:pt x="297" y="220"/>
                  </a:lnTo>
                  <a:lnTo>
                    <a:pt x="296" y="221"/>
                  </a:lnTo>
                  <a:lnTo>
                    <a:pt x="296" y="222"/>
                  </a:lnTo>
                  <a:lnTo>
                    <a:pt x="294" y="225"/>
                  </a:lnTo>
                  <a:lnTo>
                    <a:pt x="293" y="227"/>
                  </a:lnTo>
                  <a:lnTo>
                    <a:pt x="292" y="228"/>
                  </a:lnTo>
                  <a:lnTo>
                    <a:pt x="291" y="230"/>
                  </a:lnTo>
                  <a:lnTo>
                    <a:pt x="289" y="231"/>
                  </a:lnTo>
                  <a:lnTo>
                    <a:pt x="287" y="232"/>
                  </a:lnTo>
                  <a:lnTo>
                    <a:pt x="286" y="233"/>
                  </a:lnTo>
                  <a:lnTo>
                    <a:pt x="285" y="234"/>
                  </a:lnTo>
                  <a:lnTo>
                    <a:pt x="282" y="235"/>
                  </a:lnTo>
                  <a:lnTo>
                    <a:pt x="281" y="235"/>
                  </a:lnTo>
                  <a:lnTo>
                    <a:pt x="278" y="236"/>
                  </a:lnTo>
                  <a:lnTo>
                    <a:pt x="277" y="237"/>
                  </a:lnTo>
                  <a:lnTo>
                    <a:pt x="276" y="237"/>
                  </a:lnTo>
                  <a:lnTo>
                    <a:pt x="275" y="237"/>
                  </a:lnTo>
                  <a:lnTo>
                    <a:pt x="274" y="237"/>
                  </a:lnTo>
                  <a:lnTo>
                    <a:pt x="272" y="237"/>
                  </a:lnTo>
                  <a:lnTo>
                    <a:pt x="268" y="237"/>
                  </a:lnTo>
                  <a:lnTo>
                    <a:pt x="266" y="237"/>
                  </a:lnTo>
                  <a:lnTo>
                    <a:pt x="265" y="237"/>
                  </a:lnTo>
                  <a:lnTo>
                    <a:pt x="259" y="237"/>
                  </a:lnTo>
                  <a:lnTo>
                    <a:pt x="257" y="238"/>
                  </a:lnTo>
                  <a:lnTo>
                    <a:pt x="256" y="238"/>
                  </a:lnTo>
                  <a:lnTo>
                    <a:pt x="254" y="238"/>
                  </a:lnTo>
                  <a:lnTo>
                    <a:pt x="253" y="239"/>
                  </a:lnTo>
                  <a:lnTo>
                    <a:pt x="252" y="239"/>
                  </a:lnTo>
                  <a:lnTo>
                    <a:pt x="251" y="239"/>
                  </a:lnTo>
                  <a:lnTo>
                    <a:pt x="250" y="240"/>
                  </a:lnTo>
                  <a:lnTo>
                    <a:pt x="250" y="240"/>
                  </a:lnTo>
                  <a:lnTo>
                    <a:pt x="249" y="240"/>
                  </a:lnTo>
                  <a:lnTo>
                    <a:pt x="248" y="241"/>
                  </a:lnTo>
                  <a:lnTo>
                    <a:pt x="248" y="242"/>
                  </a:lnTo>
                  <a:lnTo>
                    <a:pt x="247" y="242"/>
                  </a:lnTo>
                  <a:lnTo>
                    <a:pt x="246" y="243"/>
                  </a:lnTo>
                  <a:lnTo>
                    <a:pt x="246" y="244"/>
                  </a:lnTo>
                  <a:lnTo>
                    <a:pt x="245" y="245"/>
                  </a:lnTo>
                  <a:lnTo>
                    <a:pt x="245" y="246"/>
                  </a:lnTo>
                  <a:lnTo>
                    <a:pt x="244" y="247"/>
                  </a:lnTo>
                  <a:lnTo>
                    <a:pt x="244" y="249"/>
                  </a:lnTo>
                  <a:lnTo>
                    <a:pt x="243" y="252"/>
                  </a:lnTo>
                  <a:lnTo>
                    <a:pt x="242" y="256"/>
                  </a:lnTo>
                  <a:lnTo>
                    <a:pt x="242" y="258"/>
                  </a:lnTo>
                  <a:lnTo>
                    <a:pt x="241" y="259"/>
                  </a:lnTo>
                  <a:lnTo>
                    <a:pt x="241" y="261"/>
                  </a:lnTo>
                  <a:lnTo>
                    <a:pt x="240" y="266"/>
                  </a:lnTo>
                  <a:lnTo>
                    <a:pt x="240" y="267"/>
                  </a:lnTo>
                  <a:lnTo>
                    <a:pt x="240" y="269"/>
                  </a:lnTo>
                  <a:lnTo>
                    <a:pt x="239" y="271"/>
                  </a:lnTo>
                  <a:lnTo>
                    <a:pt x="239" y="273"/>
                  </a:lnTo>
                  <a:lnTo>
                    <a:pt x="238" y="275"/>
                  </a:lnTo>
                  <a:lnTo>
                    <a:pt x="238" y="277"/>
                  </a:lnTo>
                  <a:lnTo>
                    <a:pt x="237" y="278"/>
                  </a:lnTo>
                  <a:lnTo>
                    <a:pt x="236" y="279"/>
                  </a:lnTo>
                  <a:lnTo>
                    <a:pt x="236" y="280"/>
                  </a:lnTo>
                  <a:lnTo>
                    <a:pt x="235" y="281"/>
                  </a:lnTo>
                  <a:lnTo>
                    <a:pt x="234" y="282"/>
                  </a:lnTo>
                  <a:lnTo>
                    <a:pt x="234" y="282"/>
                  </a:lnTo>
                  <a:lnTo>
                    <a:pt x="233" y="282"/>
                  </a:lnTo>
                  <a:lnTo>
                    <a:pt x="233" y="283"/>
                  </a:lnTo>
                  <a:lnTo>
                    <a:pt x="232" y="283"/>
                  </a:lnTo>
                  <a:lnTo>
                    <a:pt x="231" y="284"/>
                  </a:lnTo>
                  <a:lnTo>
                    <a:pt x="230" y="284"/>
                  </a:lnTo>
                  <a:lnTo>
                    <a:pt x="229" y="284"/>
                  </a:lnTo>
                  <a:lnTo>
                    <a:pt x="228" y="284"/>
                  </a:lnTo>
                  <a:lnTo>
                    <a:pt x="219" y="284"/>
                  </a:lnTo>
                  <a:lnTo>
                    <a:pt x="217" y="285"/>
                  </a:lnTo>
                  <a:lnTo>
                    <a:pt x="216" y="285"/>
                  </a:lnTo>
                  <a:lnTo>
                    <a:pt x="213" y="285"/>
                  </a:lnTo>
                  <a:lnTo>
                    <a:pt x="211" y="286"/>
                  </a:lnTo>
                  <a:lnTo>
                    <a:pt x="210" y="286"/>
                  </a:lnTo>
                  <a:lnTo>
                    <a:pt x="209" y="286"/>
                  </a:lnTo>
                  <a:lnTo>
                    <a:pt x="208" y="287"/>
                  </a:lnTo>
                  <a:lnTo>
                    <a:pt x="208" y="287"/>
                  </a:lnTo>
                  <a:lnTo>
                    <a:pt x="207" y="287"/>
                  </a:lnTo>
                  <a:lnTo>
                    <a:pt x="206" y="288"/>
                  </a:lnTo>
                  <a:lnTo>
                    <a:pt x="205" y="289"/>
                  </a:lnTo>
                  <a:lnTo>
                    <a:pt x="202" y="292"/>
                  </a:lnTo>
                  <a:lnTo>
                    <a:pt x="200" y="294"/>
                  </a:lnTo>
                  <a:lnTo>
                    <a:pt x="199" y="295"/>
                  </a:lnTo>
                  <a:lnTo>
                    <a:pt x="197" y="297"/>
                  </a:lnTo>
                  <a:lnTo>
                    <a:pt x="196" y="298"/>
                  </a:lnTo>
                  <a:lnTo>
                    <a:pt x="195" y="301"/>
                  </a:lnTo>
                  <a:lnTo>
                    <a:pt x="193" y="304"/>
                  </a:lnTo>
                  <a:lnTo>
                    <a:pt x="192" y="305"/>
                  </a:lnTo>
                  <a:lnTo>
                    <a:pt x="191" y="306"/>
                  </a:lnTo>
                  <a:lnTo>
                    <a:pt x="190" y="308"/>
                  </a:lnTo>
                  <a:lnTo>
                    <a:pt x="187" y="311"/>
                  </a:lnTo>
                  <a:lnTo>
                    <a:pt x="185" y="312"/>
                  </a:lnTo>
                  <a:lnTo>
                    <a:pt x="184" y="313"/>
                  </a:lnTo>
                  <a:lnTo>
                    <a:pt x="183" y="314"/>
                  </a:lnTo>
                  <a:lnTo>
                    <a:pt x="181" y="315"/>
                  </a:lnTo>
                  <a:lnTo>
                    <a:pt x="179" y="316"/>
                  </a:lnTo>
                  <a:lnTo>
                    <a:pt x="177" y="317"/>
                  </a:lnTo>
                  <a:lnTo>
                    <a:pt x="173" y="318"/>
                  </a:lnTo>
                  <a:lnTo>
                    <a:pt x="170" y="319"/>
                  </a:lnTo>
                  <a:lnTo>
                    <a:pt x="168" y="319"/>
                  </a:lnTo>
                  <a:lnTo>
                    <a:pt x="165" y="320"/>
                  </a:lnTo>
                  <a:lnTo>
                    <a:pt x="165" y="320"/>
                  </a:lnTo>
                  <a:lnTo>
                    <a:pt x="165" y="319"/>
                  </a:lnTo>
                  <a:lnTo>
                    <a:pt x="164" y="318"/>
                  </a:lnTo>
                  <a:lnTo>
                    <a:pt x="164" y="316"/>
                  </a:lnTo>
                  <a:lnTo>
                    <a:pt x="162" y="313"/>
                  </a:lnTo>
                  <a:lnTo>
                    <a:pt x="162" y="312"/>
                  </a:lnTo>
                  <a:lnTo>
                    <a:pt x="161" y="311"/>
                  </a:lnTo>
                  <a:lnTo>
                    <a:pt x="161" y="310"/>
                  </a:lnTo>
                  <a:lnTo>
                    <a:pt x="158" y="307"/>
                  </a:lnTo>
                  <a:lnTo>
                    <a:pt x="155" y="302"/>
                  </a:lnTo>
                  <a:lnTo>
                    <a:pt x="154" y="300"/>
                  </a:lnTo>
                  <a:lnTo>
                    <a:pt x="153" y="299"/>
                  </a:lnTo>
                  <a:lnTo>
                    <a:pt x="151" y="298"/>
                  </a:lnTo>
                  <a:lnTo>
                    <a:pt x="150" y="297"/>
                  </a:lnTo>
                  <a:lnTo>
                    <a:pt x="149" y="296"/>
                  </a:lnTo>
                  <a:lnTo>
                    <a:pt x="148" y="295"/>
                  </a:lnTo>
                  <a:lnTo>
                    <a:pt x="147" y="294"/>
                  </a:lnTo>
                  <a:lnTo>
                    <a:pt x="140" y="291"/>
                  </a:lnTo>
                  <a:lnTo>
                    <a:pt x="139" y="291"/>
                  </a:lnTo>
                  <a:lnTo>
                    <a:pt x="137" y="290"/>
                  </a:lnTo>
                  <a:lnTo>
                    <a:pt x="136" y="289"/>
                  </a:lnTo>
                  <a:lnTo>
                    <a:pt x="135" y="289"/>
                  </a:lnTo>
                  <a:lnTo>
                    <a:pt x="135" y="289"/>
                  </a:lnTo>
                  <a:lnTo>
                    <a:pt x="134" y="288"/>
                  </a:lnTo>
                  <a:lnTo>
                    <a:pt x="134" y="288"/>
                  </a:lnTo>
                  <a:lnTo>
                    <a:pt x="134" y="287"/>
                  </a:lnTo>
                  <a:lnTo>
                    <a:pt x="133" y="287"/>
                  </a:lnTo>
                  <a:lnTo>
                    <a:pt x="133" y="286"/>
                  </a:lnTo>
                  <a:lnTo>
                    <a:pt x="133" y="285"/>
                  </a:lnTo>
                  <a:lnTo>
                    <a:pt x="133" y="283"/>
                  </a:lnTo>
                  <a:lnTo>
                    <a:pt x="133" y="282"/>
                  </a:lnTo>
                  <a:lnTo>
                    <a:pt x="132" y="281"/>
                  </a:lnTo>
                  <a:lnTo>
                    <a:pt x="132" y="280"/>
                  </a:lnTo>
                  <a:lnTo>
                    <a:pt x="132" y="280"/>
                  </a:lnTo>
                  <a:lnTo>
                    <a:pt x="132" y="279"/>
                  </a:lnTo>
                  <a:lnTo>
                    <a:pt x="131" y="279"/>
                  </a:lnTo>
                  <a:lnTo>
                    <a:pt x="131" y="278"/>
                  </a:lnTo>
                  <a:lnTo>
                    <a:pt x="131" y="278"/>
                  </a:lnTo>
                  <a:lnTo>
                    <a:pt x="130" y="277"/>
                  </a:lnTo>
                  <a:lnTo>
                    <a:pt x="128" y="276"/>
                  </a:lnTo>
                  <a:lnTo>
                    <a:pt x="127" y="275"/>
                  </a:lnTo>
                  <a:lnTo>
                    <a:pt x="126" y="275"/>
                  </a:lnTo>
                  <a:lnTo>
                    <a:pt x="125" y="274"/>
                  </a:lnTo>
                  <a:lnTo>
                    <a:pt x="123" y="274"/>
                  </a:lnTo>
                  <a:lnTo>
                    <a:pt x="120" y="273"/>
                  </a:lnTo>
                  <a:lnTo>
                    <a:pt x="119" y="272"/>
                  </a:lnTo>
                  <a:lnTo>
                    <a:pt x="119" y="272"/>
                  </a:lnTo>
                  <a:lnTo>
                    <a:pt x="118" y="272"/>
                  </a:lnTo>
                  <a:lnTo>
                    <a:pt x="117" y="272"/>
                  </a:lnTo>
                  <a:lnTo>
                    <a:pt x="117" y="272"/>
                  </a:lnTo>
                  <a:lnTo>
                    <a:pt x="113" y="273"/>
                  </a:lnTo>
                  <a:lnTo>
                    <a:pt x="110" y="273"/>
                  </a:lnTo>
                  <a:lnTo>
                    <a:pt x="109" y="273"/>
                  </a:lnTo>
                  <a:lnTo>
                    <a:pt x="107" y="273"/>
                  </a:lnTo>
                  <a:lnTo>
                    <a:pt x="103" y="274"/>
                  </a:lnTo>
                  <a:lnTo>
                    <a:pt x="102" y="274"/>
                  </a:lnTo>
                  <a:lnTo>
                    <a:pt x="101" y="274"/>
                  </a:lnTo>
                  <a:lnTo>
                    <a:pt x="100" y="275"/>
                  </a:lnTo>
                  <a:lnTo>
                    <a:pt x="99" y="274"/>
                  </a:lnTo>
                  <a:lnTo>
                    <a:pt x="98" y="274"/>
                  </a:lnTo>
                  <a:lnTo>
                    <a:pt x="98" y="274"/>
                  </a:lnTo>
                  <a:lnTo>
                    <a:pt x="97" y="274"/>
                  </a:lnTo>
                  <a:lnTo>
                    <a:pt x="95" y="273"/>
                  </a:lnTo>
                  <a:lnTo>
                    <a:pt x="94" y="272"/>
                  </a:lnTo>
                  <a:lnTo>
                    <a:pt x="93" y="271"/>
                  </a:lnTo>
                  <a:lnTo>
                    <a:pt x="87" y="267"/>
                  </a:lnTo>
                  <a:lnTo>
                    <a:pt x="86" y="267"/>
                  </a:lnTo>
                  <a:lnTo>
                    <a:pt x="86" y="266"/>
                  </a:lnTo>
                  <a:lnTo>
                    <a:pt x="85" y="266"/>
                  </a:lnTo>
                  <a:lnTo>
                    <a:pt x="84" y="266"/>
                  </a:lnTo>
                  <a:lnTo>
                    <a:pt x="83" y="265"/>
                  </a:lnTo>
                  <a:lnTo>
                    <a:pt x="81" y="265"/>
                  </a:lnTo>
                  <a:lnTo>
                    <a:pt x="79" y="265"/>
                  </a:lnTo>
                  <a:lnTo>
                    <a:pt x="78" y="265"/>
                  </a:lnTo>
                  <a:lnTo>
                    <a:pt x="77" y="264"/>
                  </a:lnTo>
                  <a:lnTo>
                    <a:pt x="77" y="264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6" y="263"/>
                  </a:lnTo>
                  <a:lnTo>
                    <a:pt x="75" y="262"/>
                  </a:lnTo>
                  <a:lnTo>
                    <a:pt x="75" y="262"/>
                  </a:lnTo>
                  <a:lnTo>
                    <a:pt x="75" y="261"/>
                  </a:lnTo>
                  <a:lnTo>
                    <a:pt x="75" y="258"/>
                  </a:lnTo>
                  <a:lnTo>
                    <a:pt x="74" y="257"/>
                  </a:lnTo>
                  <a:lnTo>
                    <a:pt x="74" y="255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3" y="253"/>
                  </a:lnTo>
                  <a:lnTo>
                    <a:pt x="72" y="252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69" y="250"/>
                  </a:lnTo>
                  <a:lnTo>
                    <a:pt x="68" y="250"/>
                  </a:lnTo>
                  <a:lnTo>
                    <a:pt x="67" y="250"/>
                  </a:lnTo>
                  <a:lnTo>
                    <a:pt x="62" y="249"/>
                  </a:lnTo>
                  <a:lnTo>
                    <a:pt x="59" y="248"/>
                  </a:lnTo>
                  <a:lnTo>
                    <a:pt x="54" y="248"/>
                  </a:lnTo>
                  <a:lnTo>
                    <a:pt x="52" y="247"/>
                  </a:lnTo>
                  <a:lnTo>
                    <a:pt x="52" y="247"/>
                  </a:lnTo>
                  <a:lnTo>
                    <a:pt x="51" y="247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48" y="244"/>
                  </a:lnTo>
                  <a:lnTo>
                    <a:pt x="47" y="243"/>
                  </a:lnTo>
                  <a:lnTo>
                    <a:pt x="46" y="243"/>
                  </a:lnTo>
                  <a:lnTo>
                    <a:pt x="45" y="242"/>
                  </a:lnTo>
                  <a:lnTo>
                    <a:pt x="45" y="242"/>
                  </a:lnTo>
                  <a:lnTo>
                    <a:pt x="43" y="241"/>
                  </a:lnTo>
                  <a:lnTo>
                    <a:pt x="41" y="240"/>
                  </a:lnTo>
                  <a:lnTo>
                    <a:pt x="40" y="240"/>
                  </a:lnTo>
                  <a:lnTo>
                    <a:pt x="40" y="240"/>
                  </a:lnTo>
                  <a:lnTo>
                    <a:pt x="39" y="239"/>
                  </a:lnTo>
                  <a:lnTo>
                    <a:pt x="36" y="239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4" y="237"/>
                  </a:lnTo>
                  <a:lnTo>
                    <a:pt x="34" y="237"/>
                  </a:lnTo>
                  <a:lnTo>
                    <a:pt x="34" y="236"/>
                  </a:lnTo>
                  <a:lnTo>
                    <a:pt x="34" y="235"/>
                  </a:lnTo>
                  <a:lnTo>
                    <a:pt x="34" y="234"/>
                  </a:lnTo>
                  <a:lnTo>
                    <a:pt x="34" y="230"/>
                  </a:lnTo>
                  <a:lnTo>
                    <a:pt x="34" y="229"/>
                  </a:lnTo>
                  <a:lnTo>
                    <a:pt x="34" y="228"/>
                  </a:lnTo>
                  <a:lnTo>
                    <a:pt x="34" y="226"/>
                  </a:lnTo>
                  <a:lnTo>
                    <a:pt x="34" y="226"/>
                  </a:lnTo>
                  <a:lnTo>
                    <a:pt x="34" y="224"/>
                  </a:lnTo>
                  <a:lnTo>
                    <a:pt x="33" y="223"/>
                  </a:lnTo>
                  <a:lnTo>
                    <a:pt x="33" y="222"/>
                  </a:lnTo>
                  <a:lnTo>
                    <a:pt x="32" y="220"/>
                  </a:lnTo>
                  <a:lnTo>
                    <a:pt x="30" y="219"/>
                  </a:lnTo>
                  <a:lnTo>
                    <a:pt x="30" y="218"/>
                  </a:lnTo>
                  <a:lnTo>
                    <a:pt x="29" y="217"/>
                  </a:lnTo>
                  <a:lnTo>
                    <a:pt x="29" y="217"/>
                  </a:lnTo>
                  <a:lnTo>
                    <a:pt x="28" y="216"/>
                  </a:lnTo>
                  <a:lnTo>
                    <a:pt x="28" y="216"/>
                  </a:lnTo>
                  <a:lnTo>
                    <a:pt x="27" y="216"/>
                  </a:lnTo>
                  <a:lnTo>
                    <a:pt x="26" y="216"/>
                  </a:lnTo>
                  <a:lnTo>
                    <a:pt x="25" y="216"/>
                  </a:lnTo>
                  <a:lnTo>
                    <a:pt x="24" y="216"/>
                  </a:lnTo>
                  <a:lnTo>
                    <a:pt x="23" y="216"/>
                  </a:lnTo>
                  <a:lnTo>
                    <a:pt x="22" y="217"/>
                  </a:lnTo>
                  <a:lnTo>
                    <a:pt x="20" y="217"/>
                  </a:lnTo>
                  <a:lnTo>
                    <a:pt x="13" y="220"/>
                  </a:lnTo>
                  <a:lnTo>
                    <a:pt x="11" y="221"/>
                  </a:lnTo>
                  <a:lnTo>
                    <a:pt x="9" y="221"/>
                  </a:lnTo>
                  <a:lnTo>
                    <a:pt x="8" y="221"/>
                  </a:lnTo>
                  <a:lnTo>
                    <a:pt x="7" y="221"/>
                  </a:lnTo>
                  <a:lnTo>
                    <a:pt x="6" y="222"/>
                  </a:lnTo>
                  <a:lnTo>
                    <a:pt x="5" y="222"/>
                  </a:lnTo>
                  <a:lnTo>
                    <a:pt x="4" y="221"/>
                  </a:lnTo>
                  <a:lnTo>
                    <a:pt x="3" y="221"/>
                  </a:lnTo>
                  <a:lnTo>
                    <a:pt x="2" y="221"/>
                  </a:lnTo>
                  <a:lnTo>
                    <a:pt x="2" y="221"/>
                  </a:lnTo>
                  <a:lnTo>
                    <a:pt x="1" y="220"/>
                  </a:lnTo>
                  <a:lnTo>
                    <a:pt x="1" y="220"/>
                  </a:lnTo>
                  <a:lnTo>
                    <a:pt x="1" y="220"/>
                  </a:lnTo>
                  <a:lnTo>
                    <a:pt x="1" y="219"/>
                  </a:lnTo>
                  <a:lnTo>
                    <a:pt x="0" y="217"/>
                  </a:lnTo>
                  <a:lnTo>
                    <a:pt x="0" y="216"/>
                  </a:lnTo>
                  <a:lnTo>
                    <a:pt x="0" y="215"/>
                  </a:lnTo>
                  <a:lnTo>
                    <a:pt x="0" y="214"/>
                  </a:lnTo>
                  <a:lnTo>
                    <a:pt x="1" y="213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2" y="211"/>
                  </a:lnTo>
                  <a:lnTo>
                    <a:pt x="2" y="211"/>
                  </a:lnTo>
                  <a:lnTo>
                    <a:pt x="4" y="209"/>
                  </a:lnTo>
                  <a:lnTo>
                    <a:pt x="4" y="209"/>
                  </a:lnTo>
                  <a:lnTo>
                    <a:pt x="5" y="208"/>
                  </a:lnTo>
                  <a:lnTo>
                    <a:pt x="6" y="207"/>
                  </a:lnTo>
                  <a:lnTo>
                    <a:pt x="6" y="206"/>
                  </a:lnTo>
                  <a:lnTo>
                    <a:pt x="7" y="205"/>
                  </a:lnTo>
                  <a:lnTo>
                    <a:pt x="9" y="201"/>
                  </a:lnTo>
                  <a:lnTo>
                    <a:pt x="10" y="200"/>
                  </a:lnTo>
                  <a:lnTo>
                    <a:pt x="11" y="199"/>
                  </a:lnTo>
                  <a:lnTo>
                    <a:pt x="11" y="197"/>
                  </a:lnTo>
                  <a:lnTo>
                    <a:pt x="12" y="197"/>
                  </a:lnTo>
                  <a:lnTo>
                    <a:pt x="13" y="196"/>
                  </a:lnTo>
                  <a:lnTo>
                    <a:pt x="14" y="196"/>
                  </a:lnTo>
                  <a:lnTo>
                    <a:pt x="16" y="194"/>
                  </a:lnTo>
                  <a:lnTo>
                    <a:pt x="18" y="192"/>
                  </a:lnTo>
                  <a:lnTo>
                    <a:pt x="20" y="191"/>
                  </a:lnTo>
                  <a:lnTo>
                    <a:pt x="20" y="191"/>
                  </a:lnTo>
                  <a:lnTo>
                    <a:pt x="20" y="190"/>
                  </a:lnTo>
                  <a:lnTo>
                    <a:pt x="21" y="189"/>
                  </a:lnTo>
                  <a:lnTo>
                    <a:pt x="21" y="188"/>
                  </a:lnTo>
                  <a:lnTo>
                    <a:pt x="22" y="187"/>
                  </a:lnTo>
                  <a:lnTo>
                    <a:pt x="22" y="186"/>
                  </a:lnTo>
                  <a:lnTo>
                    <a:pt x="23" y="184"/>
                  </a:lnTo>
                  <a:lnTo>
                    <a:pt x="23" y="183"/>
                  </a:lnTo>
                  <a:lnTo>
                    <a:pt x="24" y="182"/>
                  </a:lnTo>
                  <a:lnTo>
                    <a:pt x="24" y="181"/>
                  </a:lnTo>
                  <a:lnTo>
                    <a:pt x="24" y="180"/>
                  </a:lnTo>
                  <a:lnTo>
                    <a:pt x="24" y="179"/>
                  </a:lnTo>
                  <a:lnTo>
                    <a:pt x="24" y="178"/>
                  </a:lnTo>
                  <a:lnTo>
                    <a:pt x="24" y="177"/>
                  </a:lnTo>
                  <a:lnTo>
                    <a:pt x="23" y="177"/>
                  </a:lnTo>
                  <a:lnTo>
                    <a:pt x="23" y="176"/>
                  </a:lnTo>
                  <a:lnTo>
                    <a:pt x="23" y="176"/>
                  </a:lnTo>
                  <a:lnTo>
                    <a:pt x="22" y="175"/>
                  </a:lnTo>
                  <a:lnTo>
                    <a:pt x="22" y="175"/>
                  </a:lnTo>
                  <a:lnTo>
                    <a:pt x="21" y="175"/>
                  </a:lnTo>
                  <a:lnTo>
                    <a:pt x="20" y="175"/>
                  </a:lnTo>
                  <a:lnTo>
                    <a:pt x="19" y="175"/>
                  </a:lnTo>
                  <a:lnTo>
                    <a:pt x="18" y="175"/>
                  </a:lnTo>
                  <a:lnTo>
                    <a:pt x="16" y="175"/>
                  </a:lnTo>
                  <a:lnTo>
                    <a:pt x="14" y="175"/>
                  </a:lnTo>
                  <a:lnTo>
                    <a:pt x="13" y="175"/>
                  </a:lnTo>
                  <a:lnTo>
                    <a:pt x="12" y="175"/>
                  </a:lnTo>
                  <a:lnTo>
                    <a:pt x="12" y="175"/>
                  </a:lnTo>
                  <a:lnTo>
                    <a:pt x="11" y="175"/>
                  </a:lnTo>
                  <a:lnTo>
                    <a:pt x="11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1" y="170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1" y="168"/>
                  </a:lnTo>
                  <a:lnTo>
                    <a:pt x="10" y="165"/>
                  </a:lnTo>
                  <a:lnTo>
                    <a:pt x="8" y="161"/>
                  </a:lnTo>
                  <a:lnTo>
                    <a:pt x="7" y="159"/>
                  </a:lnTo>
                  <a:lnTo>
                    <a:pt x="7" y="158"/>
                  </a:lnTo>
                  <a:lnTo>
                    <a:pt x="6" y="157"/>
                  </a:lnTo>
                  <a:lnTo>
                    <a:pt x="6" y="156"/>
                  </a:lnTo>
                  <a:lnTo>
                    <a:pt x="6" y="152"/>
                  </a:lnTo>
                  <a:lnTo>
                    <a:pt x="6" y="151"/>
                  </a:lnTo>
                  <a:lnTo>
                    <a:pt x="6" y="149"/>
                  </a:lnTo>
                  <a:lnTo>
                    <a:pt x="5" y="146"/>
                  </a:lnTo>
                  <a:lnTo>
                    <a:pt x="5" y="145"/>
                  </a:lnTo>
                  <a:lnTo>
                    <a:pt x="5" y="144"/>
                  </a:lnTo>
                  <a:lnTo>
                    <a:pt x="5" y="143"/>
                  </a:lnTo>
                  <a:lnTo>
                    <a:pt x="5" y="142"/>
                  </a:lnTo>
                  <a:lnTo>
                    <a:pt x="6" y="141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7" y="136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5" y="129"/>
                  </a:lnTo>
                  <a:lnTo>
                    <a:pt x="15" y="128"/>
                  </a:lnTo>
                  <a:lnTo>
                    <a:pt x="16" y="128"/>
                  </a:lnTo>
                  <a:lnTo>
                    <a:pt x="17" y="125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19" y="123"/>
                  </a:lnTo>
                  <a:lnTo>
                    <a:pt x="20" y="122"/>
                  </a:lnTo>
                  <a:lnTo>
                    <a:pt x="21" y="122"/>
                  </a:lnTo>
                  <a:lnTo>
                    <a:pt x="21" y="122"/>
                  </a:lnTo>
                  <a:lnTo>
                    <a:pt x="22" y="121"/>
                  </a:lnTo>
                  <a:lnTo>
                    <a:pt x="23" y="121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32" y="120"/>
                  </a:lnTo>
                  <a:lnTo>
                    <a:pt x="33" y="119"/>
                  </a:lnTo>
                  <a:lnTo>
                    <a:pt x="35" y="119"/>
                  </a:lnTo>
                  <a:lnTo>
                    <a:pt x="39" y="119"/>
                  </a:lnTo>
                  <a:lnTo>
                    <a:pt x="40" y="118"/>
                  </a:lnTo>
                  <a:lnTo>
                    <a:pt x="44" y="118"/>
                  </a:lnTo>
                  <a:lnTo>
                    <a:pt x="44" y="118"/>
                  </a:lnTo>
                  <a:lnTo>
                    <a:pt x="45" y="118"/>
                  </a:lnTo>
                  <a:lnTo>
                    <a:pt x="46" y="118"/>
                  </a:lnTo>
                  <a:lnTo>
                    <a:pt x="47" y="118"/>
                  </a:lnTo>
                  <a:lnTo>
                    <a:pt x="47" y="117"/>
                  </a:lnTo>
                  <a:lnTo>
                    <a:pt x="48" y="117"/>
                  </a:lnTo>
                  <a:lnTo>
                    <a:pt x="49" y="116"/>
                  </a:lnTo>
                  <a:lnTo>
                    <a:pt x="50" y="116"/>
                  </a:lnTo>
                  <a:lnTo>
                    <a:pt x="50" y="115"/>
                  </a:lnTo>
                  <a:lnTo>
                    <a:pt x="51" y="114"/>
                  </a:lnTo>
                  <a:lnTo>
                    <a:pt x="52" y="113"/>
                  </a:lnTo>
                  <a:lnTo>
                    <a:pt x="54" y="110"/>
                  </a:lnTo>
                  <a:lnTo>
                    <a:pt x="56" y="108"/>
                  </a:lnTo>
                  <a:lnTo>
                    <a:pt x="58" y="105"/>
                  </a:lnTo>
                  <a:lnTo>
                    <a:pt x="59" y="104"/>
                  </a:lnTo>
                  <a:lnTo>
                    <a:pt x="59" y="103"/>
                  </a:lnTo>
                  <a:lnTo>
                    <a:pt x="60" y="103"/>
                  </a:lnTo>
                  <a:lnTo>
                    <a:pt x="61" y="102"/>
                  </a:lnTo>
                  <a:lnTo>
                    <a:pt x="63" y="100"/>
                  </a:lnTo>
                  <a:lnTo>
                    <a:pt x="65" y="98"/>
                  </a:lnTo>
                  <a:lnTo>
                    <a:pt x="66" y="97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5"/>
                  </a:lnTo>
                  <a:lnTo>
                    <a:pt x="67" y="94"/>
                  </a:lnTo>
                  <a:lnTo>
                    <a:pt x="67" y="93"/>
                  </a:lnTo>
                  <a:lnTo>
                    <a:pt x="67" y="92"/>
                  </a:lnTo>
                  <a:lnTo>
                    <a:pt x="67" y="91"/>
                  </a:lnTo>
                  <a:lnTo>
                    <a:pt x="67" y="90"/>
                  </a:lnTo>
                  <a:lnTo>
                    <a:pt x="66" y="88"/>
                  </a:lnTo>
                  <a:lnTo>
                    <a:pt x="65" y="86"/>
                  </a:lnTo>
                  <a:lnTo>
                    <a:pt x="64" y="85"/>
                  </a:lnTo>
                  <a:lnTo>
                    <a:pt x="64" y="83"/>
                  </a:lnTo>
                  <a:lnTo>
                    <a:pt x="63" y="82"/>
                  </a:lnTo>
                  <a:lnTo>
                    <a:pt x="63" y="80"/>
                  </a:lnTo>
                  <a:lnTo>
                    <a:pt x="63" y="79"/>
                  </a:lnTo>
                  <a:lnTo>
                    <a:pt x="63" y="78"/>
                  </a:lnTo>
                  <a:lnTo>
                    <a:pt x="63" y="77"/>
                  </a:lnTo>
                  <a:lnTo>
                    <a:pt x="64" y="76"/>
                  </a:lnTo>
                  <a:lnTo>
                    <a:pt x="64" y="75"/>
                  </a:lnTo>
                  <a:lnTo>
                    <a:pt x="65" y="73"/>
                  </a:lnTo>
                  <a:lnTo>
                    <a:pt x="67" y="69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70" y="66"/>
                  </a:lnTo>
                  <a:lnTo>
                    <a:pt x="71" y="66"/>
                  </a:lnTo>
                  <a:lnTo>
                    <a:pt x="71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3" y="66"/>
                  </a:lnTo>
                  <a:lnTo>
                    <a:pt x="73" y="67"/>
                  </a:lnTo>
                  <a:lnTo>
                    <a:pt x="74" y="67"/>
                  </a:lnTo>
                  <a:lnTo>
                    <a:pt x="74" y="68"/>
                  </a:lnTo>
                  <a:lnTo>
                    <a:pt x="74" y="69"/>
                  </a:lnTo>
                  <a:lnTo>
                    <a:pt x="75" y="69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4"/>
                  </a:lnTo>
                  <a:lnTo>
                    <a:pt x="76" y="75"/>
                  </a:lnTo>
                  <a:lnTo>
                    <a:pt x="76" y="75"/>
                  </a:lnTo>
                  <a:lnTo>
                    <a:pt x="76" y="76"/>
                  </a:lnTo>
                  <a:lnTo>
                    <a:pt x="77" y="76"/>
                  </a:lnTo>
                  <a:lnTo>
                    <a:pt x="77" y="77"/>
                  </a:lnTo>
                  <a:lnTo>
                    <a:pt x="78" y="77"/>
                  </a:lnTo>
                  <a:lnTo>
                    <a:pt x="78" y="77"/>
                  </a:lnTo>
                  <a:lnTo>
                    <a:pt x="81" y="77"/>
                  </a:lnTo>
                  <a:lnTo>
                    <a:pt x="82" y="77"/>
                  </a:lnTo>
                  <a:lnTo>
                    <a:pt x="83" y="78"/>
                  </a:lnTo>
                  <a:lnTo>
                    <a:pt x="85" y="78"/>
                  </a:lnTo>
                  <a:lnTo>
                    <a:pt x="87" y="79"/>
                  </a:lnTo>
                  <a:lnTo>
                    <a:pt x="89" y="79"/>
                  </a:lnTo>
                  <a:lnTo>
                    <a:pt x="91" y="80"/>
                  </a:lnTo>
                  <a:lnTo>
                    <a:pt x="93" y="80"/>
                  </a:lnTo>
                  <a:lnTo>
                    <a:pt x="94" y="80"/>
                  </a:lnTo>
                  <a:lnTo>
                    <a:pt x="95" y="80"/>
                  </a:lnTo>
                  <a:lnTo>
                    <a:pt x="96" y="80"/>
                  </a:lnTo>
                  <a:lnTo>
                    <a:pt x="97" y="80"/>
                  </a:lnTo>
                  <a:lnTo>
                    <a:pt x="97" y="81"/>
                  </a:lnTo>
                  <a:lnTo>
                    <a:pt x="98" y="81"/>
                  </a:lnTo>
                  <a:lnTo>
                    <a:pt x="99" y="82"/>
                  </a:lnTo>
                  <a:lnTo>
                    <a:pt x="100" y="83"/>
                  </a:lnTo>
                  <a:lnTo>
                    <a:pt x="103" y="85"/>
                  </a:lnTo>
                  <a:lnTo>
                    <a:pt x="104" y="86"/>
                  </a:lnTo>
                  <a:lnTo>
                    <a:pt x="105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7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11" y="83"/>
                  </a:lnTo>
                  <a:lnTo>
                    <a:pt x="112" y="82"/>
                  </a:lnTo>
                  <a:lnTo>
                    <a:pt x="112" y="81"/>
                  </a:lnTo>
                  <a:lnTo>
                    <a:pt x="113" y="79"/>
                  </a:lnTo>
                  <a:lnTo>
                    <a:pt x="114" y="78"/>
                  </a:lnTo>
                  <a:lnTo>
                    <a:pt x="114" y="77"/>
                  </a:lnTo>
                  <a:lnTo>
                    <a:pt x="115" y="77"/>
                  </a:lnTo>
                  <a:lnTo>
                    <a:pt x="115" y="76"/>
                  </a:lnTo>
                  <a:lnTo>
                    <a:pt x="115" y="74"/>
                  </a:lnTo>
                  <a:lnTo>
                    <a:pt x="116" y="72"/>
                  </a:lnTo>
                  <a:lnTo>
                    <a:pt x="116" y="71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8" y="69"/>
                  </a:lnTo>
                  <a:lnTo>
                    <a:pt x="121" y="68"/>
                  </a:lnTo>
                  <a:lnTo>
                    <a:pt x="123" y="67"/>
                  </a:lnTo>
                  <a:lnTo>
                    <a:pt x="125" y="67"/>
                  </a:lnTo>
                  <a:lnTo>
                    <a:pt x="126" y="66"/>
                  </a:lnTo>
                  <a:lnTo>
                    <a:pt x="128" y="66"/>
                  </a:lnTo>
                  <a:lnTo>
                    <a:pt x="130" y="66"/>
                  </a:lnTo>
                  <a:lnTo>
                    <a:pt x="132" y="66"/>
                  </a:lnTo>
                  <a:lnTo>
                    <a:pt x="133" y="66"/>
                  </a:lnTo>
                  <a:lnTo>
                    <a:pt x="135" y="66"/>
                  </a:lnTo>
                  <a:lnTo>
                    <a:pt x="136" y="66"/>
                  </a:lnTo>
                  <a:lnTo>
                    <a:pt x="137" y="66"/>
                  </a:lnTo>
                  <a:lnTo>
                    <a:pt x="138" y="66"/>
                  </a:lnTo>
                  <a:lnTo>
                    <a:pt x="138" y="67"/>
                  </a:lnTo>
                  <a:lnTo>
                    <a:pt x="140" y="67"/>
                  </a:lnTo>
                  <a:lnTo>
                    <a:pt x="141" y="68"/>
                  </a:lnTo>
                  <a:lnTo>
                    <a:pt x="142" y="68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44" y="68"/>
                  </a:lnTo>
                  <a:lnTo>
                    <a:pt x="145" y="68"/>
                  </a:lnTo>
                  <a:lnTo>
                    <a:pt x="146" y="68"/>
                  </a:lnTo>
                  <a:lnTo>
                    <a:pt x="147" y="68"/>
                  </a:lnTo>
                  <a:lnTo>
                    <a:pt x="148" y="68"/>
                  </a:lnTo>
                  <a:lnTo>
                    <a:pt x="149" y="67"/>
                  </a:lnTo>
                  <a:lnTo>
                    <a:pt x="150" y="67"/>
                  </a:lnTo>
                  <a:lnTo>
                    <a:pt x="150" y="67"/>
                  </a:lnTo>
                  <a:lnTo>
                    <a:pt x="151" y="66"/>
                  </a:lnTo>
                  <a:lnTo>
                    <a:pt x="152" y="65"/>
                  </a:lnTo>
                  <a:lnTo>
                    <a:pt x="152" y="65"/>
                  </a:lnTo>
                  <a:lnTo>
                    <a:pt x="153" y="64"/>
                  </a:lnTo>
                  <a:lnTo>
                    <a:pt x="154" y="63"/>
                  </a:lnTo>
                  <a:lnTo>
                    <a:pt x="154" y="62"/>
                  </a:lnTo>
                  <a:lnTo>
                    <a:pt x="154" y="61"/>
                  </a:lnTo>
                  <a:lnTo>
                    <a:pt x="155" y="60"/>
                  </a:lnTo>
                  <a:lnTo>
                    <a:pt x="155" y="60"/>
                  </a:lnTo>
                  <a:lnTo>
                    <a:pt x="155" y="59"/>
                  </a:lnTo>
                  <a:lnTo>
                    <a:pt x="155" y="58"/>
                  </a:lnTo>
                  <a:lnTo>
                    <a:pt x="154" y="57"/>
                  </a:lnTo>
                  <a:lnTo>
                    <a:pt x="154" y="56"/>
                  </a:lnTo>
                  <a:lnTo>
                    <a:pt x="153" y="54"/>
                  </a:lnTo>
                  <a:lnTo>
                    <a:pt x="151" y="50"/>
                  </a:lnTo>
                  <a:lnTo>
                    <a:pt x="151" y="49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52" y="46"/>
                  </a:lnTo>
                  <a:lnTo>
                    <a:pt x="152" y="46"/>
                  </a:lnTo>
                  <a:lnTo>
                    <a:pt x="153" y="46"/>
                  </a:lnTo>
                  <a:lnTo>
                    <a:pt x="154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6" y="46"/>
                  </a:lnTo>
                  <a:lnTo>
                    <a:pt x="157" y="46"/>
                  </a:lnTo>
                  <a:lnTo>
                    <a:pt x="158" y="46"/>
                  </a:lnTo>
                  <a:lnTo>
                    <a:pt x="159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1" y="46"/>
                  </a:lnTo>
                  <a:lnTo>
                    <a:pt x="161" y="45"/>
                  </a:lnTo>
                  <a:lnTo>
                    <a:pt x="161" y="45"/>
                  </a:lnTo>
                  <a:lnTo>
                    <a:pt x="162" y="45"/>
                  </a:lnTo>
                  <a:lnTo>
                    <a:pt x="163" y="42"/>
                  </a:lnTo>
                  <a:lnTo>
                    <a:pt x="164" y="41"/>
                  </a:lnTo>
                  <a:lnTo>
                    <a:pt x="164" y="41"/>
                  </a:lnTo>
                  <a:lnTo>
                    <a:pt x="165" y="41"/>
                  </a:lnTo>
                  <a:lnTo>
                    <a:pt x="166" y="40"/>
                  </a:lnTo>
                  <a:lnTo>
                    <a:pt x="166" y="40"/>
                  </a:lnTo>
                  <a:lnTo>
                    <a:pt x="167" y="40"/>
                  </a:lnTo>
                  <a:lnTo>
                    <a:pt x="168" y="40"/>
                  </a:lnTo>
                  <a:lnTo>
                    <a:pt x="169" y="40"/>
                  </a:lnTo>
                  <a:lnTo>
                    <a:pt x="170" y="41"/>
                  </a:lnTo>
                  <a:lnTo>
                    <a:pt x="171" y="41"/>
                  </a:lnTo>
                  <a:lnTo>
                    <a:pt x="172" y="42"/>
                  </a:lnTo>
                  <a:lnTo>
                    <a:pt x="173" y="43"/>
                  </a:lnTo>
                  <a:lnTo>
                    <a:pt x="174" y="44"/>
                  </a:lnTo>
                  <a:lnTo>
                    <a:pt x="176" y="46"/>
                  </a:lnTo>
                  <a:lnTo>
                    <a:pt x="176" y="46"/>
                  </a:lnTo>
                  <a:lnTo>
                    <a:pt x="177" y="47"/>
                  </a:lnTo>
                  <a:lnTo>
                    <a:pt x="178" y="47"/>
                  </a:lnTo>
                  <a:lnTo>
                    <a:pt x="179" y="48"/>
                  </a:lnTo>
                  <a:lnTo>
                    <a:pt x="180" y="48"/>
                  </a:lnTo>
                  <a:lnTo>
                    <a:pt x="181" y="49"/>
                  </a:lnTo>
                  <a:lnTo>
                    <a:pt x="182" y="49"/>
                  </a:lnTo>
                  <a:lnTo>
                    <a:pt x="184" y="49"/>
                  </a:lnTo>
                  <a:lnTo>
                    <a:pt x="185" y="49"/>
                  </a:lnTo>
                  <a:lnTo>
                    <a:pt x="186" y="49"/>
                  </a:lnTo>
                  <a:lnTo>
                    <a:pt x="188" y="49"/>
                  </a:lnTo>
                  <a:lnTo>
                    <a:pt x="191" y="48"/>
                  </a:lnTo>
                  <a:lnTo>
                    <a:pt x="192" y="47"/>
                  </a:lnTo>
                  <a:lnTo>
                    <a:pt x="192" y="47"/>
                  </a:lnTo>
                  <a:lnTo>
                    <a:pt x="193" y="47"/>
                  </a:lnTo>
                  <a:lnTo>
                    <a:pt x="193" y="46"/>
                  </a:lnTo>
                  <a:lnTo>
                    <a:pt x="194" y="46"/>
                  </a:lnTo>
                  <a:lnTo>
                    <a:pt x="194" y="45"/>
                  </a:lnTo>
                  <a:lnTo>
                    <a:pt x="195" y="45"/>
                  </a:lnTo>
                  <a:lnTo>
                    <a:pt x="196" y="42"/>
                  </a:lnTo>
                  <a:lnTo>
                    <a:pt x="197" y="39"/>
                  </a:lnTo>
                  <a:lnTo>
                    <a:pt x="198" y="36"/>
                  </a:lnTo>
                  <a:lnTo>
                    <a:pt x="199" y="35"/>
                  </a:lnTo>
                  <a:lnTo>
                    <a:pt x="199" y="33"/>
                  </a:lnTo>
                  <a:lnTo>
                    <a:pt x="199" y="32"/>
                  </a:lnTo>
                  <a:lnTo>
                    <a:pt x="199" y="31"/>
                  </a:lnTo>
                  <a:lnTo>
                    <a:pt x="199" y="28"/>
                  </a:lnTo>
                  <a:lnTo>
                    <a:pt x="200" y="27"/>
                  </a:lnTo>
                  <a:lnTo>
                    <a:pt x="200" y="27"/>
                  </a:lnTo>
                  <a:lnTo>
                    <a:pt x="200" y="26"/>
                  </a:lnTo>
                  <a:lnTo>
                    <a:pt x="200" y="25"/>
                  </a:lnTo>
                  <a:lnTo>
                    <a:pt x="201" y="25"/>
                  </a:lnTo>
                  <a:lnTo>
                    <a:pt x="203" y="23"/>
                  </a:lnTo>
                  <a:lnTo>
                    <a:pt x="204" y="21"/>
                  </a:lnTo>
                  <a:lnTo>
                    <a:pt x="205" y="20"/>
                  </a:lnTo>
                  <a:lnTo>
                    <a:pt x="206" y="19"/>
                  </a:lnTo>
                  <a:lnTo>
                    <a:pt x="208" y="18"/>
                  </a:lnTo>
                  <a:lnTo>
                    <a:pt x="209" y="17"/>
                  </a:lnTo>
                  <a:lnTo>
                    <a:pt x="210" y="17"/>
                  </a:lnTo>
                  <a:lnTo>
                    <a:pt x="210" y="16"/>
                  </a:lnTo>
                  <a:lnTo>
                    <a:pt x="211" y="15"/>
                  </a:lnTo>
                  <a:lnTo>
                    <a:pt x="211" y="15"/>
                  </a:lnTo>
                  <a:lnTo>
                    <a:pt x="212" y="13"/>
                  </a:lnTo>
                  <a:lnTo>
                    <a:pt x="213" y="12"/>
                  </a:lnTo>
                  <a:lnTo>
                    <a:pt x="214" y="11"/>
                  </a:lnTo>
                  <a:lnTo>
                    <a:pt x="214" y="10"/>
                  </a:lnTo>
                  <a:lnTo>
                    <a:pt x="214" y="10"/>
                  </a:lnTo>
                  <a:lnTo>
                    <a:pt x="215" y="10"/>
                  </a:lnTo>
                  <a:lnTo>
                    <a:pt x="216" y="10"/>
                  </a:lnTo>
                  <a:lnTo>
                    <a:pt x="217" y="10"/>
                  </a:lnTo>
                  <a:lnTo>
                    <a:pt x="218" y="11"/>
                  </a:lnTo>
                  <a:lnTo>
                    <a:pt x="221" y="11"/>
                  </a:lnTo>
                  <a:lnTo>
                    <a:pt x="223" y="12"/>
                  </a:lnTo>
                  <a:lnTo>
                    <a:pt x="224" y="12"/>
                  </a:lnTo>
                  <a:lnTo>
                    <a:pt x="225" y="12"/>
                  </a:lnTo>
                  <a:lnTo>
                    <a:pt x="225" y="12"/>
                  </a:lnTo>
                  <a:lnTo>
                    <a:pt x="226" y="12"/>
                  </a:lnTo>
                  <a:lnTo>
                    <a:pt x="227" y="12"/>
                  </a:lnTo>
                  <a:lnTo>
                    <a:pt x="227" y="12"/>
                  </a:lnTo>
                  <a:lnTo>
                    <a:pt x="228" y="11"/>
                  </a:lnTo>
                  <a:lnTo>
                    <a:pt x="228" y="11"/>
                  </a:lnTo>
                  <a:lnTo>
                    <a:pt x="229" y="11"/>
                  </a:lnTo>
                  <a:lnTo>
                    <a:pt x="230" y="10"/>
                  </a:lnTo>
                  <a:lnTo>
                    <a:pt x="230" y="10"/>
                  </a:lnTo>
                  <a:lnTo>
                    <a:pt x="231" y="9"/>
                  </a:lnTo>
                  <a:lnTo>
                    <a:pt x="231" y="8"/>
                  </a:lnTo>
                  <a:lnTo>
                    <a:pt x="232" y="7"/>
                  </a:lnTo>
                  <a:lnTo>
                    <a:pt x="233" y="5"/>
                  </a:lnTo>
                  <a:lnTo>
                    <a:pt x="234" y="4"/>
                  </a:lnTo>
                  <a:lnTo>
                    <a:pt x="234" y="3"/>
                  </a:lnTo>
                  <a:lnTo>
                    <a:pt x="235" y="2"/>
                  </a:lnTo>
                  <a:lnTo>
                    <a:pt x="235" y="2"/>
                  </a:lnTo>
                  <a:lnTo>
                    <a:pt x="235" y="1"/>
                  </a:lnTo>
                  <a:lnTo>
                    <a:pt x="235" y="1"/>
                  </a:lnTo>
                  <a:lnTo>
                    <a:pt x="235" y="0"/>
                  </a:lnTo>
                  <a:lnTo>
                    <a:pt x="236" y="1"/>
                  </a:lnTo>
                  <a:lnTo>
                    <a:pt x="236" y="1"/>
                  </a:lnTo>
                  <a:lnTo>
                    <a:pt x="238" y="0"/>
                  </a:lnTo>
                  <a:lnTo>
                    <a:pt x="238" y="0"/>
                  </a:lnTo>
                  <a:lnTo>
                    <a:pt x="239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1" y="0"/>
                  </a:lnTo>
                  <a:close/>
                </a:path>
              </a:pathLst>
            </a:custGeom>
            <a:solidFill>
              <a:srgbClr val="CCCCCC"/>
            </a:solidFill>
            <a:ln w="63500">
              <a:solidFill>
                <a:srgbClr val="CCCCC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9" name="Freeform 38">
              <a:extLst>
                <a:ext uri="{FF2B5EF4-FFF2-40B4-BE49-F238E27FC236}">
                  <a16:creationId xmlns:a16="http://schemas.microsoft.com/office/drawing/2014/main" id="{D9F55AFD-52CD-E032-4AEB-8C65A41A6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192"/>
              <a:ext cx="516" cy="419"/>
            </a:xfrm>
            <a:custGeom>
              <a:avLst/>
              <a:gdLst>
                <a:gd name="T0" fmla="*/ 169 w 516"/>
                <a:gd name="T1" fmla="*/ 9 h 419"/>
                <a:gd name="T2" fmla="*/ 172 w 516"/>
                <a:gd name="T3" fmla="*/ 35 h 419"/>
                <a:gd name="T4" fmla="*/ 169 w 516"/>
                <a:gd name="T5" fmla="*/ 53 h 419"/>
                <a:gd name="T6" fmla="*/ 134 w 516"/>
                <a:gd name="T7" fmla="*/ 70 h 419"/>
                <a:gd name="T8" fmla="*/ 139 w 516"/>
                <a:gd name="T9" fmla="*/ 88 h 419"/>
                <a:gd name="T10" fmla="*/ 161 w 516"/>
                <a:gd name="T11" fmla="*/ 97 h 419"/>
                <a:gd name="T12" fmla="*/ 182 w 516"/>
                <a:gd name="T13" fmla="*/ 131 h 419"/>
                <a:gd name="T14" fmla="*/ 204 w 516"/>
                <a:gd name="T15" fmla="*/ 152 h 419"/>
                <a:gd name="T16" fmla="*/ 235 w 516"/>
                <a:gd name="T17" fmla="*/ 147 h 419"/>
                <a:gd name="T18" fmla="*/ 263 w 516"/>
                <a:gd name="T19" fmla="*/ 138 h 419"/>
                <a:gd name="T20" fmla="*/ 254 w 516"/>
                <a:gd name="T21" fmla="*/ 127 h 419"/>
                <a:gd name="T22" fmla="*/ 262 w 516"/>
                <a:gd name="T23" fmla="*/ 116 h 419"/>
                <a:gd name="T24" fmla="*/ 284 w 516"/>
                <a:gd name="T25" fmla="*/ 143 h 419"/>
                <a:gd name="T26" fmla="*/ 305 w 516"/>
                <a:gd name="T27" fmla="*/ 144 h 419"/>
                <a:gd name="T28" fmla="*/ 326 w 516"/>
                <a:gd name="T29" fmla="*/ 157 h 419"/>
                <a:gd name="T30" fmla="*/ 343 w 516"/>
                <a:gd name="T31" fmla="*/ 176 h 419"/>
                <a:gd name="T32" fmla="*/ 354 w 516"/>
                <a:gd name="T33" fmla="*/ 167 h 419"/>
                <a:gd name="T34" fmla="*/ 388 w 516"/>
                <a:gd name="T35" fmla="*/ 175 h 419"/>
                <a:gd name="T36" fmla="*/ 413 w 516"/>
                <a:gd name="T37" fmla="*/ 181 h 419"/>
                <a:gd name="T38" fmla="*/ 423 w 516"/>
                <a:gd name="T39" fmla="*/ 178 h 419"/>
                <a:gd name="T40" fmla="*/ 430 w 516"/>
                <a:gd name="T41" fmla="*/ 200 h 419"/>
                <a:gd name="T42" fmla="*/ 429 w 516"/>
                <a:gd name="T43" fmla="*/ 225 h 419"/>
                <a:gd name="T44" fmla="*/ 449 w 516"/>
                <a:gd name="T45" fmla="*/ 269 h 419"/>
                <a:gd name="T46" fmla="*/ 479 w 516"/>
                <a:gd name="T47" fmla="*/ 282 h 419"/>
                <a:gd name="T48" fmla="*/ 499 w 516"/>
                <a:gd name="T49" fmla="*/ 288 h 419"/>
                <a:gd name="T50" fmla="*/ 516 w 516"/>
                <a:gd name="T51" fmla="*/ 341 h 419"/>
                <a:gd name="T52" fmla="*/ 499 w 516"/>
                <a:gd name="T53" fmla="*/ 362 h 419"/>
                <a:gd name="T54" fmla="*/ 463 w 516"/>
                <a:gd name="T55" fmla="*/ 366 h 419"/>
                <a:gd name="T56" fmla="*/ 431 w 516"/>
                <a:gd name="T57" fmla="*/ 366 h 419"/>
                <a:gd name="T58" fmla="*/ 422 w 516"/>
                <a:gd name="T59" fmla="*/ 385 h 419"/>
                <a:gd name="T60" fmla="*/ 395 w 516"/>
                <a:gd name="T61" fmla="*/ 418 h 419"/>
                <a:gd name="T62" fmla="*/ 376 w 516"/>
                <a:gd name="T63" fmla="*/ 413 h 419"/>
                <a:gd name="T64" fmla="*/ 354 w 516"/>
                <a:gd name="T65" fmla="*/ 386 h 419"/>
                <a:gd name="T66" fmla="*/ 329 w 516"/>
                <a:gd name="T67" fmla="*/ 378 h 419"/>
                <a:gd name="T68" fmla="*/ 293 w 516"/>
                <a:gd name="T69" fmla="*/ 367 h 419"/>
                <a:gd name="T70" fmla="*/ 255 w 516"/>
                <a:gd name="T71" fmla="*/ 366 h 419"/>
                <a:gd name="T72" fmla="*/ 234 w 516"/>
                <a:gd name="T73" fmla="*/ 359 h 419"/>
                <a:gd name="T74" fmla="*/ 218 w 516"/>
                <a:gd name="T75" fmla="*/ 353 h 419"/>
                <a:gd name="T76" fmla="*/ 215 w 516"/>
                <a:gd name="T77" fmla="*/ 340 h 419"/>
                <a:gd name="T78" fmla="*/ 183 w 516"/>
                <a:gd name="T79" fmla="*/ 303 h 419"/>
                <a:gd name="T80" fmla="*/ 169 w 516"/>
                <a:gd name="T81" fmla="*/ 300 h 419"/>
                <a:gd name="T82" fmla="*/ 164 w 516"/>
                <a:gd name="T83" fmla="*/ 274 h 419"/>
                <a:gd name="T84" fmla="*/ 153 w 516"/>
                <a:gd name="T85" fmla="*/ 260 h 419"/>
                <a:gd name="T86" fmla="*/ 120 w 516"/>
                <a:gd name="T87" fmla="*/ 257 h 419"/>
                <a:gd name="T88" fmla="*/ 104 w 516"/>
                <a:gd name="T89" fmla="*/ 237 h 419"/>
                <a:gd name="T90" fmla="*/ 94 w 516"/>
                <a:gd name="T91" fmla="*/ 211 h 419"/>
                <a:gd name="T92" fmla="*/ 89 w 516"/>
                <a:gd name="T93" fmla="*/ 229 h 419"/>
                <a:gd name="T94" fmla="*/ 77 w 516"/>
                <a:gd name="T95" fmla="*/ 236 h 419"/>
                <a:gd name="T96" fmla="*/ 64 w 516"/>
                <a:gd name="T97" fmla="*/ 238 h 419"/>
                <a:gd name="T98" fmla="*/ 60 w 516"/>
                <a:gd name="T99" fmla="*/ 217 h 419"/>
                <a:gd name="T100" fmla="*/ 33 w 516"/>
                <a:gd name="T101" fmla="*/ 234 h 419"/>
                <a:gd name="T102" fmla="*/ 20 w 516"/>
                <a:gd name="T103" fmla="*/ 223 h 419"/>
                <a:gd name="T104" fmla="*/ 5 w 516"/>
                <a:gd name="T105" fmla="*/ 217 h 419"/>
                <a:gd name="T106" fmla="*/ 4 w 516"/>
                <a:gd name="T107" fmla="*/ 193 h 419"/>
                <a:gd name="T108" fmla="*/ 11 w 516"/>
                <a:gd name="T109" fmla="*/ 172 h 419"/>
                <a:gd name="T110" fmla="*/ 6 w 516"/>
                <a:gd name="T111" fmla="*/ 145 h 419"/>
                <a:gd name="T112" fmla="*/ 20 w 516"/>
                <a:gd name="T113" fmla="*/ 105 h 419"/>
                <a:gd name="T114" fmla="*/ 40 w 516"/>
                <a:gd name="T115" fmla="*/ 71 h 419"/>
                <a:gd name="T116" fmla="*/ 66 w 516"/>
                <a:gd name="T117" fmla="*/ 52 h 419"/>
                <a:gd name="T118" fmla="*/ 77 w 516"/>
                <a:gd name="T119" fmla="*/ 34 h 419"/>
                <a:gd name="T120" fmla="*/ 113 w 516"/>
                <a:gd name="T121" fmla="*/ 24 h 419"/>
                <a:gd name="T122" fmla="*/ 142 w 516"/>
                <a:gd name="T123" fmla="*/ 1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16" h="419">
                  <a:moveTo>
                    <a:pt x="156" y="0"/>
                  </a:moveTo>
                  <a:lnTo>
                    <a:pt x="157" y="0"/>
                  </a:lnTo>
                  <a:lnTo>
                    <a:pt x="158" y="0"/>
                  </a:lnTo>
                  <a:lnTo>
                    <a:pt x="158" y="1"/>
                  </a:lnTo>
                  <a:lnTo>
                    <a:pt x="159" y="1"/>
                  </a:lnTo>
                  <a:lnTo>
                    <a:pt x="160" y="1"/>
                  </a:lnTo>
                  <a:lnTo>
                    <a:pt x="160" y="2"/>
                  </a:lnTo>
                  <a:lnTo>
                    <a:pt x="161" y="2"/>
                  </a:lnTo>
                  <a:lnTo>
                    <a:pt x="162" y="3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64" y="5"/>
                  </a:lnTo>
                  <a:lnTo>
                    <a:pt x="164" y="6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6" y="7"/>
                  </a:lnTo>
                  <a:lnTo>
                    <a:pt x="167" y="8"/>
                  </a:lnTo>
                  <a:lnTo>
                    <a:pt x="167" y="8"/>
                  </a:lnTo>
                  <a:lnTo>
                    <a:pt x="168" y="8"/>
                  </a:lnTo>
                  <a:lnTo>
                    <a:pt x="169" y="9"/>
                  </a:lnTo>
                  <a:lnTo>
                    <a:pt x="169" y="9"/>
                  </a:lnTo>
                  <a:lnTo>
                    <a:pt x="169" y="10"/>
                  </a:lnTo>
                  <a:lnTo>
                    <a:pt x="169" y="10"/>
                  </a:lnTo>
                  <a:lnTo>
                    <a:pt x="169" y="11"/>
                  </a:lnTo>
                  <a:lnTo>
                    <a:pt x="169" y="11"/>
                  </a:lnTo>
                  <a:lnTo>
                    <a:pt x="169" y="12"/>
                  </a:lnTo>
                  <a:lnTo>
                    <a:pt x="169" y="13"/>
                  </a:lnTo>
                  <a:lnTo>
                    <a:pt x="169" y="14"/>
                  </a:lnTo>
                  <a:lnTo>
                    <a:pt x="167" y="18"/>
                  </a:lnTo>
                  <a:lnTo>
                    <a:pt x="167" y="20"/>
                  </a:lnTo>
                  <a:lnTo>
                    <a:pt x="166" y="21"/>
                  </a:lnTo>
                  <a:lnTo>
                    <a:pt x="166" y="22"/>
                  </a:lnTo>
                  <a:lnTo>
                    <a:pt x="166" y="23"/>
                  </a:lnTo>
                  <a:lnTo>
                    <a:pt x="166" y="24"/>
                  </a:lnTo>
                  <a:lnTo>
                    <a:pt x="166" y="26"/>
                  </a:lnTo>
                  <a:lnTo>
                    <a:pt x="166" y="27"/>
                  </a:lnTo>
                  <a:lnTo>
                    <a:pt x="167" y="28"/>
                  </a:lnTo>
                  <a:lnTo>
                    <a:pt x="167" y="29"/>
                  </a:lnTo>
                  <a:lnTo>
                    <a:pt x="168" y="30"/>
                  </a:lnTo>
                  <a:lnTo>
                    <a:pt x="168" y="31"/>
                  </a:lnTo>
                  <a:lnTo>
                    <a:pt x="169" y="32"/>
                  </a:lnTo>
                  <a:lnTo>
                    <a:pt x="172" y="35"/>
                  </a:lnTo>
                  <a:lnTo>
                    <a:pt x="173" y="37"/>
                  </a:lnTo>
                  <a:lnTo>
                    <a:pt x="173" y="38"/>
                  </a:lnTo>
                  <a:lnTo>
                    <a:pt x="174" y="38"/>
                  </a:lnTo>
                  <a:lnTo>
                    <a:pt x="174" y="39"/>
                  </a:lnTo>
                  <a:lnTo>
                    <a:pt x="174" y="40"/>
                  </a:lnTo>
                  <a:lnTo>
                    <a:pt x="174" y="41"/>
                  </a:lnTo>
                  <a:lnTo>
                    <a:pt x="175" y="42"/>
                  </a:lnTo>
                  <a:lnTo>
                    <a:pt x="175" y="43"/>
                  </a:lnTo>
                  <a:lnTo>
                    <a:pt x="175" y="45"/>
                  </a:lnTo>
                  <a:lnTo>
                    <a:pt x="174" y="46"/>
                  </a:lnTo>
                  <a:lnTo>
                    <a:pt x="174" y="47"/>
                  </a:lnTo>
                  <a:lnTo>
                    <a:pt x="174" y="49"/>
                  </a:lnTo>
                  <a:lnTo>
                    <a:pt x="174" y="49"/>
                  </a:lnTo>
                  <a:lnTo>
                    <a:pt x="173" y="50"/>
                  </a:lnTo>
                  <a:lnTo>
                    <a:pt x="173" y="50"/>
                  </a:lnTo>
                  <a:lnTo>
                    <a:pt x="173" y="51"/>
                  </a:lnTo>
                  <a:lnTo>
                    <a:pt x="172" y="52"/>
                  </a:lnTo>
                  <a:lnTo>
                    <a:pt x="171" y="52"/>
                  </a:lnTo>
                  <a:lnTo>
                    <a:pt x="170" y="53"/>
                  </a:lnTo>
                  <a:lnTo>
                    <a:pt x="169" y="53"/>
                  </a:lnTo>
                  <a:lnTo>
                    <a:pt x="169" y="53"/>
                  </a:lnTo>
                  <a:lnTo>
                    <a:pt x="166" y="54"/>
                  </a:lnTo>
                  <a:lnTo>
                    <a:pt x="165" y="54"/>
                  </a:lnTo>
                  <a:lnTo>
                    <a:pt x="164" y="55"/>
                  </a:lnTo>
                  <a:lnTo>
                    <a:pt x="164" y="55"/>
                  </a:lnTo>
                  <a:lnTo>
                    <a:pt x="163" y="56"/>
                  </a:lnTo>
                  <a:lnTo>
                    <a:pt x="162" y="57"/>
                  </a:lnTo>
                  <a:lnTo>
                    <a:pt x="162" y="57"/>
                  </a:lnTo>
                  <a:lnTo>
                    <a:pt x="160" y="59"/>
                  </a:lnTo>
                  <a:lnTo>
                    <a:pt x="160" y="60"/>
                  </a:lnTo>
                  <a:lnTo>
                    <a:pt x="159" y="61"/>
                  </a:lnTo>
                  <a:lnTo>
                    <a:pt x="159" y="61"/>
                  </a:lnTo>
                  <a:lnTo>
                    <a:pt x="158" y="62"/>
                  </a:lnTo>
                  <a:lnTo>
                    <a:pt x="158" y="62"/>
                  </a:lnTo>
                  <a:lnTo>
                    <a:pt x="157" y="63"/>
                  </a:lnTo>
                  <a:lnTo>
                    <a:pt x="156" y="63"/>
                  </a:lnTo>
                  <a:lnTo>
                    <a:pt x="155" y="63"/>
                  </a:lnTo>
                  <a:lnTo>
                    <a:pt x="153" y="64"/>
                  </a:lnTo>
                  <a:lnTo>
                    <a:pt x="148" y="66"/>
                  </a:lnTo>
                  <a:lnTo>
                    <a:pt x="142" y="68"/>
                  </a:lnTo>
                  <a:lnTo>
                    <a:pt x="139" y="69"/>
                  </a:lnTo>
                  <a:lnTo>
                    <a:pt x="134" y="70"/>
                  </a:lnTo>
                  <a:lnTo>
                    <a:pt x="133" y="71"/>
                  </a:lnTo>
                  <a:lnTo>
                    <a:pt x="132" y="71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0" y="73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5"/>
                  </a:lnTo>
                  <a:lnTo>
                    <a:pt x="129" y="76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30" y="78"/>
                  </a:lnTo>
                  <a:lnTo>
                    <a:pt x="130" y="79"/>
                  </a:lnTo>
                  <a:lnTo>
                    <a:pt x="131" y="80"/>
                  </a:lnTo>
                  <a:lnTo>
                    <a:pt x="131" y="81"/>
                  </a:lnTo>
                  <a:lnTo>
                    <a:pt x="132" y="82"/>
                  </a:lnTo>
                  <a:lnTo>
                    <a:pt x="132" y="82"/>
                  </a:lnTo>
                  <a:lnTo>
                    <a:pt x="133" y="83"/>
                  </a:lnTo>
                  <a:lnTo>
                    <a:pt x="134" y="84"/>
                  </a:lnTo>
                  <a:lnTo>
                    <a:pt x="135" y="85"/>
                  </a:lnTo>
                  <a:lnTo>
                    <a:pt x="139" y="88"/>
                  </a:lnTo>
                  <a:lnTo>
                    <a:pt x="140" y="89"/>
                  </a:lnTo>
                  <a:lnTo>
                    <a:pt x="141" y="91"/>
                  </a:lnTo>
                  <a:lnTo>
                    <a:pt x="143" y="93"/>
                  </a:lnTo>
                  <a:lnTo>
                    <a:pt x="144" y="94"/>
                  </a:lnTo>
                  <a:lnTo>
                    <a:pt x="145" y="95"/>
                  </a:lnTo>
                  <a:lnTo>
                    <a:pt x="146" y="96"/>
                  </a:lnTo>
                  <a:lnTo>
                    <a:pt x="147" y="97"/>
                  </a:lnTo>
                  <a:lnTo>
                    <a:pt x="149" y="97"/>
                  </a:lnTo>
                  <a:lnTo>
                    <a:pt x="150" y="98"/>
                  </a:lnTo>
                  <a:lnTo>
                    <a:pt x="151" y="98"/>
                  </a:lnTo>
                  <a:lnTo>
                    <a:pt x="152" y="98"/>
                  </a:lnTo>
                  <a:lnTo>
                    <a:pt x="152" y="98"/>
                  </a:lnTo>
                  <a:lnTo>
                    <a:pt x="153" y="97"/>
                  </a:lnTo>
                  <a:lnTo>
                    <a:pt x="155" y="97"/>
                  </a:lnTo>
                  <a:lnTo>
                    <a:pt x="156" y="97"/>
                  </a:lnTo>
                  <a:lnTo>
                    <a:pt x="157" y="97"/>
                  </a:lnTo>
                  <a:lnTo>
                    <a:pt x="158" y="97"/>
                  </a:lnTo>
                  <a:lnTo>
                    <a:pt x="159" y="97"/>
                  </a:lnTo>
                  <a:lnTo>
                    <a:pt x="159" y="97"/>
                  </a:lnTo>
                  <a:lnTo>
                    <a:pt x="160" y="97"/>
                  </a:lnTo>
                  <a:lnTo>
                    <a:pt x="161" y="97"/>
                  </a:lnTo>
                  <a:lnTo>
                    <a:pt x="161" y="98"/>
                  </a:lnTo>
                  <a:lnTo>
                    <a:pt x="163" y="98"/>
                  </a:lnTo>
                  <a:lnTo>
                    <a:pt x="163" y="99"/>
                  </a:lnTo>
                  <a:lnTo>
                    <a:pt x="164" y="99"/>
                  </a:lnTo>
                  <a:lnTo>
                    <a:pt x="165" y="100"/>
                  </a:lnTo>
                  <a:lnTo>
                    <a:pt x="166" y="101"/>
                  </a:lnTo>
                  <a:lnTo>
                    <a:pt x="167" y="102"/>
                  </a:lnTo>
                  <a:lnTo>
                    <a:pt x="168" y="103"/>
                  </a:lnTo>
                  <a:lnTo>
                    <a:pt x="170" y="106"/>
                  </a:lnTo>
                  <a:lnTo>
                    <a:pt x="171" y="108"/>
                  </a:lnTo>
                  <a:lnTo>
                    <a:pt x="174" y="112"/>
                  </a:lnTo>
                  <a:lnTo>
                    <a:pt x="175" y="113"/>
                  </a:lnTo>
                  <a:lnTo>
                    <a:pt x="176" y="115"/>
                  </a:lnTo>
                  <a:lnTo>
                    <a:pt x="177" y="116"/>
                  </a:lnTo>
                  <a:lnTo>
                    <a:pt x="177" y="117"/>
                  </a:lnTo>
                  <a:lnTo>
                    <a:pt x="178" y="119"/>
                  </a:lnTo>
                  <a:lnTo>
                    <a:pt x="178" y="120"/>
                  </a:lnTo>
                  <a:lnTo>
                    <a:pt x="180" y="124"/>
                  </a:lnTo>
                  <a:lnTo>
                    <a:pt x="181" y="126"/>
                  </a:lnTo>
                  <a:lnTo>
                    <a:pt x="181" y="127"/>
                  </a:lnTo>
                  <a:lnTo>
                    <a:pt x="182" y="131"/>
                  </a:lnTo>
                  <a:lnTo>
                    <a:pt x="184" y="134"/>
                  </a:lnTo>
                  <a:lnTo>
                    <a:pt x="184" y="135"/>
                  </a:lnTo>
                  <a:lnTo>
                    <a:pt x="185" y="136"/>
                  </a:lnTo>
                  <a:lnTo>
                    <a:pt x="185" y="137"/>
                  </a:lnTo>
                  <a:lnTo>
                    <a:pt x="186" y="137"/>
                  </a:lnTo>
                  <a:lnTo>
                    <a:pt x="187" y="138"/>
                  </a:lnTo>
                  <a:lnTo>
                    <a:pt x="188" y="138"/>
                  </a:lnTo>
                  <a:lnTo>
                    <a:pt x="190" y="140"/>
                  </a:lnTo>
                  <a:lnTo>
                    <a:pt x="192" y="141"/>
                  </a:lnTo>
                  <a:lnTo>
                    <a:pt x="195" y="142"/>
                  </a:lnTo>
                  <a:lnTo>
                    <a:pt x="196" y="142"/>
                  </a:lnTo>
                  <a:lnTo>
                    <a:pt x="197" y="143"/>
                  </a:lnTo>
                  <a:lnTo>
                    <a:pt x="198" y="144"/>
                  </a:lnTo>
                  <a:lnTo>
                    <a:pt x="198" y="145"/>
                  </a:lnTo>
                  <a:lnTo>
                    <a:pt x="199" y="146"/>
                  </a:lnTo>
                  <a:lnTo>
                    <a:pt x="200" y="147"/>
                  </a:lnTo>
                  <a:lnTo>
                    <a:pt x="201" y="148"/>
                  </a:lnTo>
                  <a:lnTo>
                    <a:pt x="201" y="149"/>
                  </a:lnTo>
                  <a:lnTo>
                    <a:pt x="202" y="150"/>
                  </a:lnTo>
                  <a:lnTo>
                    <a:pt x="202" y="151"/>
                  </a:lnTo>
                  <a:lnTo>
                    <a:pt x="204" y="152"/>
                  </a:lnTo>
                  <a:lnTo>
                    <a:pt x="205" y="153"/>
                  </a:lnTo>
                  <a:lnTo>
                    <a:pt x="207" y="154"/>
                  </a:lnTo>
                  <a:lnTo>
                    <a:pt x="208" y="155"/>
                  </a:lnTo>
                  <a:lnTo>
                    <a:pt x="209" y="156"/>
                  </a:lnTo>
                  <a:lnTo>
                    <a:pt x="211" y="156"/>
                  </a:lnTo>
                  <a:lnTo>
                    <a:pt x="212" y="157"/>
                  </a:lnTo>
                  <a:lnTo>
                    <a:pt x="213" y="157"/>
                  </a:lnTo>
                  <a:lnTo>
                    <a:pt x="213" y="157"/>
                  </a:lnTo>
                  <a:lnTo>
                    <a:pt x="214" y="157"/>
                  </a:lnTo>
                  <a:lnTo>
                    <a:pt x="215" y="157"/>
                  </a:lnTo>
                  <a:lnTo>
                    <a:pt x="216" y="157"/>
                  </a:lnTo>
                  <a:lnTo>
                    <a:pt x="220" y="156"/>
                  </a:lnTo>
                  <a:lnTo>
                    <a:pt x="222" y="156"/>
                  </a:lnTo>
                  <a:lnTo>
                    <a:pt x="223" y="156"/>
                  </a:lnTo>
                  <a:lnTo>
                    <a:pt x="224" y="155"/>
                  </a:lnTo>
                  <a:lnTo>
                    <a:pt x="225" y="155"/>
                  </a:lnTo>
                  <a:lnTo>
                    <a:pt x="227" y="154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0" y="152"/>
                  </a:lnTo>
                  <a:lnTo>
                    <a:pt x="235" y="147"/>
                  </a:lnTo>
                  <a:lnTo>
                    <a:pt x="236" y="146"/>
                  </a:lnTo>
                  <a:lnTo>
                    <a:pt x="237" y="145"/>
                  </a:lnTo>
                  <a:lnTo>
                    <a:pt x="238" y="145"/>
                  </a:lnTo>
                  <a:lnTo>
                    <a:pt x="239" y="144"/>
                  </a:lnTo>
                  <a:lnTo>
                    <a:pt x="241" y="143"/>
                  </a:lnTo>
                  <a:lnTo>
                    <a:pt x="242" y="142"/>
                  </a:lnTo>
                  <a:lnTo>
                    <a:pt x="245" y="141"/>
                  </a:lnTo>
                  <a:lnTo>
                    <a:pt x="247" y="140"/>
                  </a:lnTo>
                  <a:lnTo>
                    <a:pt x="248" y="140"/>
                  </a:lnTo>
                  <a:lnTo>
                    <a:pt x="249" y="139"/>
                  </a:lnTo>
                  <a:lnTo>
                    <a:pt x="251" y="139"/>
                  </a:lnTo>
                  <a:lnTo>
                    <a:pt x="252" y="139"/>
                  </a:lnTo>
                  <a:lnTo>
                    <a:pt x="252" y="139"/>
                  </a:lnTo>
                  <a:lnTo>
                    <a:pt x="257" y="139"/>
                  </a:lnTo>
                  <a:lnTo>
                    <a:pt x="259" y="139"/>
                  </a:lnTo>
                  <a:lnTo>
                    <a:pt x="260" y="139"/>
                  </a:lnTo>
                  <a:lnTo>
                    <a:pt x="261" y="139"/>
                  </a:lnTo>
                  <a:lnTo>
                    <a:pt x="262" y="139"/>
                  </a:lnTo>
                  <a:lnTo>
                    <a:pt x="262" y="139"/>
                  </a:lnTo>
                  <a:lnTo>
                    <a:pt x="263" y="139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7"/>
                  </a:lnTo>
                  <a:lnTo>
                    <a:pt x="264" y="136"/>
                  </a:lnTo>
                  <a:lnTo>
                    <a:pt x="264" y="135"/>
                  </a:lnTo>
                  <a:lnTo>
                    <a:pt x="263" y="134"/>
                  </a:lnTo>
                  <a:lnTo>
                    <a:pt x="263" y="133"/>
                  </a:lnTo>
                  <a:lnTo>
                    <a:pt x="263" y="132"/>
                  </a:lnTo>
                  <a:lnTo>
                    <a:pt x="263" y="132"/>
                  </a:lnTo>
                  <a:lnTo>
                    <a:pt x="262" y="131"/>
                  </a:lnTo>
                  <a:lnTo>
                    <a:pt x="262" y="130"/>
                  </a:lnTo>
                  <a:lnTo>
                    <a:pt x="261" y="130"/>
                  </a:lnTo>
                  <a:lnTo>
                    <a:pt x="261" y="129"/>
                  </a:lnTo>
                  <a:lnTo>
                    <a:pt x="260" y="129"/>
                  </a:lnTo>
                  <a:lnTo>
                    <a:pt x="259" y="129"/>
                  </a:lnTo>
                  <a:lnTo>
                    <a:pt x="258" y="128"/>
                  </a:lnTo>
                  <a:lnTo>
                    <a:pt x="256" y="128"/>
                  </a:lnTo>
                  <a:lnTo>
                    <a:pt x="256" y="128"/>
                  </a:lnTo>
                  <a:lnTo>
                    <a:pt x="255" y="128"/>
                  </a:lnTo>
                  <a:lnTo>
                    <a:pt x="255" y="127"/>
                  </a:lnTo>
                  <a:lnTo>
                    <a:pt x="254" y="127"/>
                  </a:lnTo>
                  <a:lnTo>
                    <a:pt x="254" y="127"/>
                  </a:lnTo>
                  <a:lnTo>
                    <a:pt x="254" y="126"/>
                  </a:lnTo>
                  <a:lnTo>
                    <a:pt x="253" y="126"/>
                  </a:lnTo>
                  <a:lnTo>
                    <a:pt x="253" y="125"/>
                  </a:lnTo>
                  <a:lnTo>
                    <a:pt x="253" y="124"/>
                  </a:lnTo>
                  <a:lnTo>
                    <a:pt x="253" y="124"/>
                  </a:lnTo>
                  <a:lnTo>
                    <a:pt x="253" y="123"/>
                  </a:lnTo>
                  <a:lnTo>
                    <a:pt x="253" y="122"/>
                  </a:lnTo>
                  <a:lnTo>
                    <a:pt x="253" y="121"/>
                  </a:lnTo>
                  <a:lnTo>
                    <a:pt x="254" y="121"/>
                  </a:lnTo>
                  <a:lnTo>
                    <a:pt x="254" y="120"/>
                  </a:lnTo>
                  <a:lnTo>
                    <a:pt x="255" y="119"/>
                  </a:lnTo>
                  <a:lnTo>
                    <a:pt x="255" y="118"/>
                  </a:lnTo>
                  <a:lnTo>
                    <a:pt x="256" y="118"/>
                  </a:lnTo>
                  <a:lnTo>
                    <a:pt x="257" y="117"/>
                  </a:lnTo>
                  <a:lnTo>
                    <a:pt x="257" y="117"/>
                  </a:lnTo>
                  <a:lnTo>
                    <a:pt x="258" y="117"/>
                  </a:lnTo>
                  <a:lnTo>
                    <a:pt x="259" y="116"/>
                  </a:lnTo>
                  <a:lnTo>
                    <a:pt x="260" y="116"/>
                  </a:lnTo>
                  <a:lnTo>
                    <a:pt x="261" y="116"/>
                  </a:lnTo>
                  <a:lnTo>
                    <a:pt x="261" y="116"/>
                  </a:lnTo>
                  <a:lnTo>
                    <a:pt x="262" y="116"/>
                  </a:lnTo>
                  <a:lnTo>
                    <a:pt x="263" y="117"/>
                  </a:lnTo>
                  <a:lnTo>
                    <a:pt x="265" y="117"/>
                  </a:lnTo>
                  <a:lnTo>
                    <a:pt x="266" y="118"/>
                  </a:lnTo>
                  <a:lnTo>
                    <a:pt x="267" y="118"/>
                  </a:lnTo>
                  <a:lnTo>
                    <a:pt x="268" y="119"/>
                  </a:lnTo>
                  <a:lnTo>
                    <a:pt x="269" y="120"/>
                  </a:lnTo>
                  <a:lnTo>
                    <a:pt x="272" y="122"/>
                  </a:lnTo>
                  <a:lnTo>
                    <a:pt x="273" y="123"/>
                  </a:lnTo>
                  <a:lnTo>
                    <a:pt x="274" y="124"/>
                  </a:lnTo>
                  <a:lnTo>
                    <a:pt x="275" y="125"/>
                  </a:lnTo>
                  <a:lnTo>
                    <a:pt x="276" y="126"/>
                  </a:lnTo>
                  <a:lnTo>
                    <a:pt x="278" y="132"/>
                  </a:lnTo>
                  <a:lnTo>
                    <a:pt x="279" y="133"/>
                  </a:lnTo>
                  <a:lnTo>
                    <a:pt x="279" y="134"/>
                  </a:lnTo>
                  <a:lnTo>
                    <a:pt x="280" y="137"/>
                  </a:lnTo>
                  <a:lnTo>
                    <a:pt x="281" y="138"/>
                  </a:lnTo>
                  <a:lnTo>
                    <a:pt x="281" y="139"/>
                  </a:lnTo>
                  <a:lnTo>
                    <a:pt x="282" y="140"/>
                  </a:lnTo>
                  <a:lnTo>
                    <a:pt x="282" y="142"/>
                  </a:lnTo>
                  <a:lnTo>
                    <a:pt x="283" y="142"/>
                  </a:lnTo>
                  <a:lnTo>
                    <a:pt x="284" y="143"/>
                  </a:lnTo>
                  <a:lnTo>
                    <a:pt x="285" y="143"/>
                  </a:lnTo>
                  <a:lnTo>
                    <a:pt x="285" y="144"/>
                  </a:lnTo>
                  <a:lnTo>
                    <a:pt x="286" y="144"/>
                  </a:lnTo>
                  <a:lnTo>
                    <a:pt x="287" y="145"/>
                  </a:lnTo>
                  <a:lnTo>
                    <a:pt x="287" y="145"/>
                  </a:lnTo>
                  <a:lnTo>
                    <a:pt x="290" y="146"/>
                  </a:lnTo>
                  <a:lnTo>
                    <a:pt x="295" y="148"/>
                  </a:lnTo>
                  <a:lnTo>
                    <a:pt x="296" y="148"/>
                  </a:lnTo>
                  <a:lnTo>
                    <a:pt x="297" y="148"/>
                  </a:lnTo>
                  <a:lnTo>
                    <a:pt x="297" y="148"/>
                  </a:lnTo>
                  <a:lnTo>
                    <a:pt x="298" y="148"/>
                  </a:lnTo>
                  <a:lnTo>
                    <a:pt x="299" y="148"/>
                  </a:lnTo>
                  <a:lnTo>
                    <a:pt x="299" y="147"/>
                  </a:lnTo>
                  <a:lnTo>
                    <a:pt x="300" y="147"/>
                  </a:lnTo>
                  <a:lnTo>
                    <a:pt x="300" y="147"/>
                  </a:lnTo>
                  <a:lnTo>
                    <a:pt x="302" y="146"/>
                  </a:lnTo>
                  <a:lnTo>
                    <a:pt x="303" y="145"/>
                  </a:lnTo>
                  <a:lnTo>
                    <a:pt x="304" y="145"/>
                  </a:lnTo>
                  <a:lnTo>
                    <a:pt x="304" y="145"/>
                  </a:lnTo>
                  <a:lnTo>
                    <a:pt x="305" y="144"/>
                  </a:lnTo>
                  <a:lnTo>
                    <a:pt x="305" y="144"/>
                  </a:lnTo>
                  <a:lnTo>
                    <a:pt x="306" y="144"/>
                  </a:lnTo>
                  <a:lnTo>
                    <a:pt x="307" y="144"/>
                  </a:lnTo>
                  <a:lnTo>
                    <a:pt x="308" y="144"/>
                  </a:lnTo>
                  <a:lnTo>
                    <a:pt x="309" y="145"/>
                  </a:lnTo>
                  <a:lnTo>
                    <a:pt x="310" y="145"/>
                  </a:lnTo>
                  <a:lnTo>
                    <a:pt x="310" y="145"/>
                  </a:lnTo>
                  <a:lnTo>
                    <a:pt x="311" y="146"/>
                  </a:lnTo>
                  <a:lnTo>
                    <a:pt x="311" y="146"/>
                  </a:lnTo>
                  <a:lnTo>
                    <a:pt x="312" y="146"/>
                  </a:lnTo>
                  <a:lnTo>
                    <a:pt x="313" y="147"/>
                  </a:lnTo>
                  <a:lnTo>
                    <a:pt x="313" y="148"/>
                  </a:lnTo>
                  <a:lnTo>
                    <a:pt x="314" y="149"/>
                  </a:lnTo>
                  <a:lnTo>
                    <a:pt x="315" y="151"/>
                  </a:lnTo>
                  <a:lnTo>
                    <a:pt x="316" y="152"/>
                  </a:lnTo>
                  <a:lnTo>
                    <a:pt x="317" y="153"/>
                  </a:lnTo>
                  <a:lnTo>
                    <a:pt x="318" y="153"/>
                  </a:lnTo>
                  <a:lnTo>
                    <a:pt x="318" y="154"/>
                  </a:lnTo>
                  <a:lnTo>
                    <a:pt x="319" y="154"/>
                  </a:lnTo>
                  <a:lnTo>
                    <a:pt x="320" y="155"/>
                  </a:lnTo>
                  <a:lnTo>
                    <a:pt x="321" y="155"/>
                  </a:lnTo>
                  <a:lnTo>
                    <a:pt x="326" y="157"/>
                  </a:lnTo>
                  <a:lnTo>
                    <a:pt x="327" y="157"/>
                  </a:lnTo>
                  <a:lnTo>
                    <a:pt x="328" y="157"/>
                  </a:lnTo>
                  <a:lnTo>
                    <a:pt x="329" y="158"/>
                  </a:lnTo>
                  <a:lnTo>
                    <a:pt x="330" y="159"/>
                  </a:lnTo>
                  <a:lnTo>
                    <a:pt x="331" y="159"/>
                  </a:lnTo>
                  <a:lnTo>
                    <a:pt x="332" y="160"/>
                  </a:lnTo>
                  <a:lnTo>
                    <a:pt x="332" y="160"/>
                  </a:lnTo>
                  <a:lnTo>
                    <a:pt x="333" y="161"/>
                  </a:lnTo>
                  <a:lnTo>
                    <a:pt x="334" y="162"/>
                  </a:lnTo>
                  <a:lnTo>
                    <a:pt x="334" y="163"/>
                  </a:lnTo>
                  <a:lnTo>
                    <a:pt x="335" y="164"/>
                  </a:lnTo>
                  <a:lnTo>
                    <a:pt x="336" y="168"/>
                  </a:lnTo>
                  <a:lnTo>
                    <a:pt x="337" y="169"/>
                  </a:lnTo>
                  <a:lnTo>
                    <a:pt x="337" y="170"/>
                  </a:lnTo>
                  <a:lnTo>
                    <a:pt x="338" y="171"/>
                  </a:lnTo>
                  <a:lnTo>
                    <a:pt x="339" y="172"/>
                  </a:lnTo>
                  <a:lnTo>
                    <a:pt x="339" y="173"/>
                  </a:lnTo>
                  <a:lnTo>
                    <a:pt x="340" y="173"/>
                  </a:lnTo>
                  <a:lnTo>
                    <a:pt x="341" y="174"/>
                  </a:lnTo>
                  <a:lnTo>
                    <a:pt x="342" y="175"/>
                  </a:lnTo>
                  <a:lnTo>
                    <a:pt x="343" y="176"/>
                  </a:lnTo>
                  <a:lnTo>
                    <a:pt x="343" y="176"/>
                  </a:lnTo>
                  <a:lnTo>
                    <a:pt x="344" y="176"/>
                  </a:lnTo>
                  <a:lnTo>
                    <a:pt x="345" y="177"/>
                  </a:lnTo>
                  <a:lnTo>
                    <a:pt x="346" y="177"/>
                  </a:lnTo>
                  <a:lnTo>
                    <a:pt x="347" y="177"/>
                  </a:lnTo>
                  <a:lnTo>
                    <a:pt x="348" y="177"/>
                  </a:lnTo>
                  <a:lnTo>
                    <a:pt x="348" y="177"/>
                  </a:lnTo>
                  <a:lnTo>
                    <a:pt x="349" y="177"/>
                  </a:lnTo>
                  <a:lnTo>
                    <a:pt x="350" y="176"/>
                  </a:lnTo>
                  <a:lnTo>
                    <a:pt x="351" y="175"/>
                  </a:lnTo>
                  <a:lnTo>
                    <a:pt x="353" y="174"/>
                  </a:lnTo>
                  <a:lnTo>
                    <a:pt x="353" y="174"/>
                  </a:lnTo>
                  <a:lnTo>
                    <a:pt x="354" y="173"/>
                  </a:lnTo>
                  <a:lnTo>
                    <a:pt x="354" y="172"/>
                  </a:lnTo>
                  <a:lnTo>
                    <a:pt x="354" y="172"/>
                  </a:lnTo>
                  <a:lnTo>
                    <a:pt x="354" y="171"/>
                  </a:lnTo>
                  <a:lnTo>
                    <a:pt x="354" y="170"/>
                  </a:lnTo>
                  <a:lnTo>
                    <a:pt x="354" y="169"/>
                  </a:lnTo>
                  <a:lnTo>
                    <a:pt x="354" y="168"/>
                  </a:lnTo>
                  <a:lnTo>
                    <a:pt x="354" y="168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5" y="167"/>
                  </a:lnTo>
                  <a:lnTo>
                    <a:pt x="356" y="167"/>
                  </a:lnTo>
                  <a:lnTo>
                    <a:pt x="357" y="167"/>
                  </a:lnTo>
                  <a:lnTo>
                    <a:pt x="358" y="167"/>
                  </a:lnTo>
                  <a:lnTo>
                    <a:pt x="362" y="168"/>
                  </a:lnTo>
                  <a:lnTo>
                    <a:pt x="364" y="169"/>
                  </a:lnTo>
                  <a:lnTo>
                    <a:pt x="365" y="169"/>
                  </a:lnTo>
                  <a:lnTo>
                    <a:pt x="367" y="169"/>
                  </a:lnTo>
                  <a:lnTo>
                    <a:pt x="369" y="169"/>
                  </a:lnTo>
                  <a:lnTo>
                    <a:pt x="374" y="169"/>
                  </a:lnTo>
                  <a:lnTo>
                    <a:pt x="375" y="169"/>
                  </a:lnTo>
                  <a:lnTo>
                    <a:pt x="377" y="170"/>
                  </a:lnTo>
                  <a:lnTo>
                    <a:pt x="378" y="170"/>
                  </a:lnTo>
                  <a:lnTo>
                    <a:pt x="379" y="170"/>
                  </a:lnTo>
                  <a:lnTo>
                    <a:pt x="379" y="170"/>
                  </a:lnTo>
                  <a:lnTo>
                    <a:pt x="380" y="171"/>
                  </a:lnTo>
                  <a:lnTo>
                    <a:pt x="385" y="173"/>
                  </a:lnTo>
                  <a:lnTo>
                    <a:pt x="388" y="175"/>
                  </a:lnTo>
                  <a:lnTo>
                    <a:pt x="390" y="176"/>
                  </a:lnTo>
                  <a:lnTo>
                    <a:pt x="391" y="176"/>
                  </a:lnTo>
                  <a:lnTo>
                    <a:pt x="397" y="181"/>
                  </a:lnTo>
                  <a:lnTo>
                    <a:pt x="398" y="181"/>
                  </a:lnTo>
                  <a:lnTo>
                    <a:pt x="398" y="181"/>
                  </a:lnTo>
                  <a:lnTo>
                    <a:pt x="400" y="182"/>
                  </a:lnTo>
                  <a:lnTo>
                    <a:pt x="401" y="183"/>
                  </a:lnTo>
                  <a:lnTo>
                    <a:pt x="403" y="183"/>
                  </a:lnTo>
                  <a:lnTo>
                    <a:pt x="404" y="183"/>
                  </a:lnTo>
                  <a:lnTo>
                    <a:pt x="406" y="183"/>
                  </a:lnTo>
                  <a:lnTo>
                    <a:pt x="407" y="184"/>
                  </a:lnTo>
                  <a:lnTo>
                    <a:pt x="408" y="184"/>
                  </a:lnTo>
                  <a:lnTo>
                    <a:pt x="409" y="183"/>
                  </a:lnTo>
                  <a:lnTo>
                    <a:pt x="410" y="183"/>
                  </a:lnTo>
                  <a:lnTo>
                    <a:pt x="410" y="183"/>
                  </a:lnTo>
                  <a:lnTo>
                    <a:pt x="411" y="183"/>
                  </a:lnTo>
                  <a:lnTo>
                    <a:pt x="411" y="182"/>
                  </a:lnTo>
                  <a:lnTo>
                    <a:pt x="412" y="182"/>
                  </a:lnTo>
                  <a:lnTo>
                    <a:pt x="412" y="181"/>
                  </a:lnTo>
                  <a:lnTo>
                    <a:pt x="413" y="181"/>
                  </a:lnTo>
                  <a:lnTo>
                    <a:pt x="413" y="181"/>
                  </a:lnTo>
                  <a:lnTo>
                    <a:pt x="413" y="180"/>
                  </a:lnTo>
                  <a:lnTo>
                    <a:pt x="414" y="179"/>
                  </a:lnTo>
                  <a:lnTo>
                    <a:pt x="414" y="177"/>
                  </a:lnTo>
                  <a:lnTo>
                    <a:pt x="415" y="176"/>
                  </a:lnTo>
                  <a:lnTo>
                    <a:pt x="415" y="176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7" y="174"/>
                  </a:lnTo>
                  <a:lnTo>
                    <a:pt x="417" y="174"/>
                  </a:lnTo>
                  <a:lnTo>
                    <a:pt x="418" y="174"/>
                  </a:lnTo>
                  <a:lnTo>
                    <a:pt x="419" y="175"/>
                  </a:lnTo>
                  <a:lnTo>
                    <a:pt x="420" y="175"/>
                  </a:lnTo>
                  <a:lnTo>
                    <a:pt x="420" y="175"/>
                  </a:lnTo>
                  <a:lnTo>
                    <a:pt x="421" y="175"/>
                  </a:lnTo>
                  <a:lnTo>
                    <a:pt x="421" y="176"/>
                  </a:lnTo>
                  <a:lnTo>
                    <a:pt x="422" y="176"/>
                  </a:lnTo>
                  <a:lnTo>
                    <a:pt x="422" y="176"/>
                  </a:lnTo>
                  <a:lnTo>
                    <a:pt x="423" y="177"/>
                  </a:lnTo>
                  <a:lnTo>
                    <a:pt x="423" y="178"/>
                  </a:lnTo>
                  <a:lnTo>
                    <a:pt x="423" y="178"/>
                  </a:lnTo>
                  <a:lnTo>
                    <a:pt x="424" y="179"/>
                  </a:lnTo>
                  <a:lnTo>
                    <a:pt x="424" y="181"/>
                  </a:lnTo>
                  <a:lnTo>
                    <a:pt x="424" y="182"/>
                  </a:lnTo>
                  <a:lnTo>
                    <a:pt x="424" y="183"/>
                  </a:lnTo>
                  <a:lnTo>
                    <a:pt x="424" y="187"/>
                  </a:lnTo>
                  <a:lnTo>
                    <a:pt x="424" y="189"/>
                  </a:lnTo>
                  <a:lnTo>
                    <a:pt x="424" y="191"/>
                  </a:lnTo>
                  <a:lnTo>
                    <a:pt x="424" y="191"/>
                  </a:lnTo>
                  <a:lnTo>
                    <a:pt x="424" y="192"/>
                  </a:lnTo>
                  <a:lnTo>
                    <a:pt x="424" y="192"/>
                  </a:lnTo>
                  <a:lnTo>
                    <a:pt x="425" y="193"/>
                  </a:lnTo>
                  <a:lnTo>
                    <a:pt x="425" y="194"/>
                  </a:lnTo>
                  <a:lnTo>
                    <a:pt x="425" y="195"/>
                  </a:lnTo>
                  <a:lnTo>
                    <a:pt x="426" y="195"/>
                  </a:lnTo>
                  <a:lnTo>
                    <a:pt x="426" y="196"/>
                  </a:lnTo>
                  <a:lnTo>
                    <a:pt x="427" y="196"/>
                  </a:lnTo>
                  <a:lnTo>
                    <a:pt x="427" y="197"/>
                  </a:lnTo>
                  <a:lnTo>
                    <a:pt x="428" y="198"/>
                  </a:lnTo>
                  <a:lnTo>
                    <a:pt x="429" y="199"/>
                  </a:lnTo>
                  <a:lnTo>
                    <a:pt x="430" y="200"/>
                  </a:lnTo>
                  <a:lnTo>
                    <a:pt x="431" y="200"/>
                  </a:lnTo>
                  <a:lnTo>
                    <a:pt x="431" y="201"/>
                  </a:lnTo>
                  <a:lnTo>
                    <a:pt x="431" y="201"/>
                  </a:lnTo>
                  <a:lnTo>
                    <a:pt x="431" y="201"/>
                  </a:lnTo>
                  <a:lnTo>
                    <a:pt x="431" y="202"/>
                  </a:lnTo>
                  <a:lnTo>
                    <a:pt x="431" y="202"/>
                  </a:lnTo>
                  <a:lnTo>
                    <a:pt x="431" y="203"/>
                  </a:lnTo>
                  <a:lnTo>
                    <a:pt x="431" y="204"/>
                  </a:lnTo>
                  <a:lnTo>
                    <a:pt x="429" y="206"/>
                  </a:lnTo>
                  <a:lnTo>
                    <a:pt x="428" y="209"/>
                  </a:lnTo>
                  <a:lnTo>
                    <a:pt x="427" y="212"/>
                  </a:lnTo>
                  <a:lnTo>
                    <a:pt x="427" y="213"/>
                  </a:lnTo>
                  <a:lnTo>
                    <a:pt x="427" y="214"/>
                  </a:lnTo>
                  <a:lnTo>
                    <a:pt x="426" y="215"/>
                  </a:lnTo>
                  <a:lnTo>
                    <a:pt x="426" y="216"/>
                  </a:lnTo>
                  <a:lnTo>
                    <a:pt x="426" y="217"/>
                  </a:lnTo>
                  <a:lnTo>
                    <a:pt x="427" y="219"/>
                  </a:lnTo>
                  <a:lnTo>
                    <a:pt x="427" y="220"/>
                  </a:lnTo>
                  <a:lnTo>
                    <a:pt x="428" y="223"/>
                  </a:lnTo>
                  <a:lnTo>
                    <a:pt x="429" y="224"/>
                  </a:lnTo>
                  <a:lnTo>
                    <a:pt x="429" y="225"/>
                  </a:lnTo>
                  <a:lnTo>
                    <a:pt x="430" y="227"/>
                  </a:lnTo>
                  <a:lnTo>
                    <a:pt x="431" y="230"/>
                  </a:lnTo>
                  <a:lnTo>
                    <a:pt x="433" y="233"/>
                  </a:lnTo>
                  <a:lnTo>
                    <a:pt x="434" y="237"/>
                  </a:lnTo>
                  <a:lnTo>
                    <a:pt x="437" y="243"/>
                  </a:lnTo>
                  <a:lnTo>
                    <a:pt x="440" y="249"/>
                  </a:lnTo>
                  <a:lnTo>
                    <a:pt x="441" y="253"/>
                  </a:lnTo>
                  <a:lnTo>
                    <a:pt x="442" y="254"/>
                  </a:lnTo>
                  <a:lnTo>
                    <a:pt x="442" y="255"/>
                  </a:lnTo>
                  <a:lnTo>
                    <a:pt x="443" y="256"/>
                  </a:lnTo>
                  <a:lnTo>
                    <a:pt x="444" y="261"/>
                  </a:lnTo>
                  <a:lnTo>
                    <a:pt x="444" y="262"/>
                  </a:lnTo>
                  <a:lnTo>
                    <a:pt x="445" y="263"/>
                  </a:lnTo>
                  <a:lnTo>
                    <a:pt x="445" y="264"/>
                  </a:lnTo>
                  <a:lnTo>
                    <a:pt x="445" y="265"/>
                  </a:lnTo>
                  <a:lnTo>
                    <a:pt x="446" y="265"/>
                  </a:lnTo>
                  <a:lnTo>
                    <a:pt x="446" y="266"/>
                  </a:lnTo>
                  <a:lnTo>
                    <a:pt x="447" y="267"/>
                  </a:lnTo>
                  <a:lnTo>
                    <a:pt x="448" y="267"/>
                  </a:lnTo>
                  <a:lnTo>
                    <a:pt x="449" y="268"/>
                  </a:lnTo>
                  <a:lnTo>
                    <a:pt x="449" y="269"/>
                  </a:lnTo>
                  <a:lnTo>
                    <a:pt x="450" y="269"/>
                  </a:lnTo>
                  <a:lnTo>
                    <a:pt x="451" y="269"/>
                  </a:lnTo>
                  <a:lnTo>
                    <a:pt x="452" y="270"/>
                  </a:lnTo>
                  <a:lnTo>
                    <a:pt x="453" y="270"/>
                  </a:lnTo>
                  <a:lnTo>
                    <a:pt x="457" y="272"/>
                  </a:lnTo>
                  <a:lnTo>
                    <a:pt x="459" y="272"/>
                  </a:lnTo>
                  <a:lnTo>
                    <a:pt x="463" y="273"/>
                  </a:lnTo>
                  <a:lnTo>
                    <a:pt x="464" y="273"/>
                  </a:lnTo>
                  <a:lnTo>
                    <a:pt x="465" y="273"/>
                  </a:lnTo>
                  <a:lnTo>
                    <a:pt x="465" y="273"/>
                  </a:lnTo>
                  <a:lnTo>
                    <a:pt x="467" y="274"/>
                  </a:lnTo>
                  <a:lnTo>
                    <a:pt x="468" y="274"/>
                  </a:lnTo>
                  <a:lnTo>
                    <a:pt x="469" y="275"/>
                  </a:lnTo>
                  <a:lnTo>
                    <a:pt x="470" y="277"/>
                  </a:lnTo>
                  <a:lnTo>
                    <a:pt x="472" y="279"/>
                  </a:lnTo>
                  <a:lnTo>
                    <a:pt x="473" y="279"/>
                  </a:lnTo>
                  <a:lnTo>
                    <a:pt x="474" y="280"/>
                  </a:lnTo>
                  <a:lnTo>
                    <a:pt x="474" y="280"/>
                  </a:lnTo>
                  <a:lnTo>
                    <a:pt x="476" y="281"/>
                  </a:lnTo>
                  <a:lnTo>
                    <a:pt x="477" y="282"/>
                  </a:lnTo>
                  <a:lnTo>
                    <a:pt x="479" y="282"/>
                  </a:lnTo>
                  <a:lnTo>
                    <a:pt x="479" y="282"/>
                  </a:lnTo>
                  <a:lnTo>
                    <a:pt x="481" y="282"/>
                  </a:lnTo>
                  <a:lnTo>
                    <a:pt x="481" y="282"/>
                  </a:lnTo>
                  <a:lnTo>
                    <a:pt x="482" y="282"/>
                  </a:lnTo>
                  <a:lnTo>
                    <a:pt x="483" y="282"/>
                  </a:lnTo>
                  <a:lnTo>
                    <a:pt x="486" y="282"/>
                  </a:lnTo>
                  <a:lnTo>
                    <a:pt x="488" y="282"/>
                  </a:lnTo>
                  <a:lnTo>
                    <a:pt x="489" y="282"/>
                  </a:lnTo>
                  <a:lnTo>
                    <a:pt x="490" y="282"/>
                  </a:lnTo>
                  <a:lnTo>
                    <a:pt x="491" y="282"/>
                  </a:lnTo>
                  <a:lnTo>
                    <a:pt x="492" y="282"/>
                  </a:lnTo>
                  <a:lnTo>
                    <a:pt x="493" y="282"/>
                  </a:lnTo>
                  <a:lnTo>
                    <a:pt x="494" y="283"/>
                  </a:lnTo>
                  <a:lnTo>
                    <a:pt x="495" y="283"/>
                  </a:lnTo>
                  <a:lnTo>
                    <a:pt x="496" y="284"/>
                  </a:lnTo>
                  <a:lnTo>
                    <a:pt x="496" y="284"/>
                  </a:lnTo>
                  <a:lnTo>
                    <a:pt x="497" y="285"/>
                  </a:lnTo>
                  <a:lnTo>
                    <a:pt x="498" y="285"/>
                  </a:lnTo>
                  <a:lnTo>
                    <a:pt x="498" y="286"/>
                  </a:lnTo>
                  <a:lnTo>
                    <a:pt x="498" y="287"/>
                  </a:lnTo>
                  <a:lnTo>
                    <a:pt x="499" y="288"/>
                  </a:lnTo>
                  <a:lnTo>
                    <a:pt x="499" y="290"/>
                  </a:lnTo>
                  <a:lnTo>
                    <a:pt x="500" y="292"/>
                  </a:lnTo>
                  <a:lnTo>
                    <a:pt x="501" y="296"/>
                  </a:lnTo>
                  <a:lnTo>
                    <a:pt x="502" y="301"/>
                  </a:lnTo>
                  <a:lnTo>
                    <a:pt x="504" y="310"/>
                  </a:lnTo>
                  <a:lnTo>
                    <a:pt x="506" y="315"/>
                  </a:lnTo>
                  <a:lnTo>
                    <a:pt x="506" y="317"/>
                  </a:lnTo>
                  <a:lnTo>
                    <a:pt x="507" y="318"/>
                  </a:lnTo>
                  <a:lnTo>
                    <a:pt x="507" y="319"/>
                  </a:lnTo>
                  <a:lnTo>
                    <a:pt x="508" y="321"/>
                  </a:lnTo>
                  <a:lnTo>
                    <a:pt x="509" y="322"/>
                  </a:lnTo>
                  <a:lnTo>
                    <a:pt x="509" y="324"/>
                  </a:lnTo>
                  <a:lnTo>
                    <a:pt x="510" y="328"/>
                  </a:lnTo>
                  <a:lnTo>
                    <a:pt x="510" y="329"/>
                  </a:lnTo>
                  <a:lnTo>
                    <a:pt x="510" y="331"/>
                  </a:lnTo>
                  <a:lnTo>
                    <a:pt x="511" y="333"/>
                  </a:lnTo>
                  <a:lnTo>
                    <a:pt x="512" y="335"/>
                  </a:lnTo>
                  <a:lnTo>
                    <a:pt x="513" y="336"/>
                  </a:lnTo>
                  <a:lnTo>
                    <a:pt x="514" y="338"/>
                  </a:lnTo>
                  <a:lnTo>
                    <a:pt x="515" y="340"/>
                  </a:lnTo>
                  <a:lnTo>
                    <a:pt x="516" y="341"/>
                  </a:lnTo>
                  <a:lnTo>
                    <a:pt x="516" y="343"/>
                  </a:lnTo>
                  <a:lnTo>
                    <a:pt x="516" y="344"/>
                  </a:lnTo>
                  <a:lnTo>
                    <a:pt x="516" y="345"/>
                  </a:lnTo>
                  <a:lnTo>
                    <a:pt x="516" y="346"/>
                  </a:lnTo>
                  <a:lnTo>
                    <a:pt x="516" y="346"/>
                  </a:lnTo>
                  <a:lnTo>
                    <a:pt x="515" y="348"/>
                  </a:lnTo>
                  <a:lnTo>
                    <a:pt x="515" y="350"/>
                  </a:lnTo>
                  <a:lnTo>
                    <a:pt x="514" y="352"/>
                  </a:lnTo>
                  <a:lnTo>
                    <a:pt x="513" y="355"/>
                  </a:lnTo>
                  <a:lnTo>
                    <a:pt x="513" y="355"/>
                  </a:lnTo>
                  <a:lnTo>
                    <a:pt x="513" y="356"/>
                  </a:lnTo>
                  <a:lnTo>
                    <a:pt x="513" y="356"/>
                  </a:lnTo>
                  <a:lnTo>
                    <a:pt x="512" y="356"/>
                  </a:lnTo>
                  <a:lnTo>
                    <a:pt x="511" y="357"/>
                  </a:lnTo>
                  <a:lnTo>
                    <a:pt x="511" y="357"/>
                  </a:lnTo>
                  <a:lnTo>
                    <a:pt x="510" y="357"/>
                  </a:lnTo>
                  <a:lnTo>
                    <a:pt x="507" y="358"/>
                  </a:lnTo>
                  <a:lnTo>
                    <a:pt x="505" y="359"/>
                  </a:lnTo>
                  <a:lnTo>
                    <a:pt x="504" y="359"/>
                  </a:lnTo>
                  <a:lnTo>
                    <a:pt x="503" y="360"/>
                  </a:lnTo>
                  <a:lnTo>
                    <a:pt x="499" y="362"/>
                  </a:lnTo>
                  <a:lnTo>
                    <a:pt x="497" y="363"/>
                  </a:lnTo>
                  <a:lnTo>
                    <a:pt x="495" y="364"/>
                  </a:lnTo>
                  <a:lnTo>
                    <a:pt x="491" y="367"/>
                  </a:lnTo>
                  <a:lnTo>
                    <a:pt x="490" y="368"/>
                  </a:lnTo>
                  <a:lnTo>
                    <a:pt x="489" y="368"/>
                  </a:lnTo>
                  <a:lnTo>
                    <a:pt x="487" y="369"/>
                  </a:lnTo>
                  <a:lnTo>
                    <a:pt x="486" y="369"/>
                  </a:lnTo>
                  <a:lnTo>
                    <a:pt x="485" y="369"/>
                  </a:lnTo>
                  <a:lnTo>
                    <a:pt x="484" y="369"/>
                  </a:lnTo>
                  <a:lnTo>
                    <a:pt x="484" y="369"/>
                  </a:lnTo>
                  <a:lnTo>
                    <a:pt x="483" y="369"/>
                  </a:lnTo>
                  <a:lnTo>
                    <a:pt x="482" y="369"/>
                  </a:lnTo>
                  <a:lnTo>
                    <a:pt x="480" y="369"/>
                  </a:lnTo>
                  <a:lnTo>
                    <a:pt x="476" y="367"/>
                  </a:lnTo>
                  <a:lnTo>
                    <a:pt x="475" y="367"/>
                  </a:lnTo>
                  <a:lnTo>
                    <a:pt x="474" y="367"/>
                  </a:lnTo>
                  <a:lnTo>
                    <a:pt x="472" y="367"/>
                  </a:lnTo>
                  <a:lnTo>
                    <a:pt x="469" y="366"/>
                  </a:lnTo>
                  <a:lnTo>
                    <a:pt x="466" y="366"/>
                  </a:lnTo>
                  <a:lnTo>
                    <a:pt x="464" y="366"/>
                  </a:lnTo>
                  <a:lnTo>
                    <a:pt x="463" y="366"/>
                  </a:lnTo>
                  <a:lnTo>
                    <a:pt x="461" y="366"/>
                  </a:lnTo>
                  <a:lnTo>
                    <a:pt x="458" y="366"/>
                  </a:lnTo>
                  <a:lnTo>
                    <a:pt x="452" y="368"/>
                  </a:lnTo>
                  <a:lnTo>
                    <a:pt x="450" y="368"/>
                  </a:lnTo>
                  <a:lnTo>
                    <a:pt x="448" y="368"/>
                  </a:lnTo>
                  <a:lnTo>
                    <a:pt x="447" y="368"/>
                  </a:lnTo>
                  <a:lnTo>
                    <a:pt x="446" y="368"/>
                  </a:lnTo>
                  <a:lnTo>
                    <a:pt x="445" y="368"/>
                  </a:lnTo>
                  <a:lnTo>
                    <a:pt x="444" y="368"/>
                  </a:lnTo>
                  <a:lnTo>
                    <a:pt x="443" y="368"/>
                  </a:lnTo>
                  <a:lnTo>
                    <a:pt x="442" y="367"/>
                  </a:lnTo>
                  <a:lnTo>
                    <a:pt x="440" y="366"/>
                  </a:lnTo>
                  <a:lnTo>
                    <a:pt x="439" y="366"/>
                  </a:lnTo>
                  <a:lnTo>
                    <a:pt x="438" y="366"/>
                  </a:lnTo>
                  <a:lnTo>
                    <a:pt x="437" y="366"/>
                  </a:lnTo>
                  <a:lnTo>
                    <a:pt x="436" y="366"/>
                  </a:lnTo>
                  <a:lnTo>
                    <a:pt x="435" y="366"/>
                  </a:lnTo>
                  <a:lnTo>
                    <a:pt x="434" y="366"/>
                  </a:lnTo>
                  <a:lnTo>
                    <a:pt x="433" y="366"/>
                  </a:lnTo>
                  <a:lnTo>
                    <a:pt x="432" y="366"/>
                  </a:lnTo>
                  <a:lnTo>
                    <a:pt x="431" y="366"/>
                  </a:lnTo>
                  <a:lnTo>
                    <a:pt x="430" y="366"/>
                  </a:lnTo>
                  <a:lnTo>
                    <a:pt x="430" y="367"/>
                  </a:lnTo>
                  <a:lnTo>
                    <a:pt x="429" y="367"/>
                  </a:lnTo>
                  <a:lnTo>
                    <a:pt x="428" y="368"/>
                  </a:lnTo>
                  <a:lnTo>
                    <a:pt x="427" y="369"/>
                  </a:lnTo>
                  <a:lnTo>
                    <a:pt x="426" y="370"/>
                  </a:lnTo>
                  <a:lnTo>
                    <a:pt x="425" y="370"/>
                  </a:lnTo>
                  <a:lnTo>
                    <a:pt x="425" y="371"/>
                  </a:lnTo>
                  <a:lnTo>
                    <a:pt x="424" y="372"/>
                  </a:lnTo>
                  <a:lnTo>
                    <a:pt x="424" y="373"/>
                  </a:lnTo>
                  <a:lnTo>
                    <a:pt x="424" y="374"/>
                  </a:lnTo>
                  <a:lnTo>
                    <a:pt x="423" y="374"/>
                  </a:lnTo>
                  <a:lnTo>
                    <a:pt x="423" y="375"/>
                  </a:lnTo>
                  <a:lnTo>
                    <a:pt x="423" y="376"/>
                  </a:lnTo>
                  <a:lnTo>
                    <a:pt x="423" y="377"/>
                  </a:lnTo>
                  <a:lnTo>
                    <a:pt x="423" y="380"/>
                  </a:lnTo>
                  <a:lnTo>
                    <a:pt x="423" y="381"/>
                  </a:lnTo>
                  <a:lnTo>
                    <a:pt x="423" y="382"/>
                  </a:lnTo>
                  <a:lnTo>
                    <a:pt x="423" y="383"/>
                  </a:lnTo>
                  <a:lnTo>
                    <a:pt x="423" y="384"/>
                  </a:lnTo>
                  <a:lnTo>
                    <a:pt x="422" y="385"/>
                  </a:lnTo>
                  <a:lnTo>
                    <a:pt x="422" y="386"/>
                  </a:lnTo>
                  <a:lnTo>
                    <a:pt x="421" y="387"/>
                  </a:lnTo>
                  <a:lnTo>
                    <a:pt x="420" y="389"/>
                  </a:lnTo>
                  <a:lnTo>
                    <a:pt x="418" y="392"/>
                  </a:lnTo>
                  <a:lnTo>
                    <a:pt x="417" y="393"/>
                  </a:lnTo>
                  <a:lnTo>
                    <a:pt x="414" y="397"/>
                  </a:lnTo>
                  <a:lnTo>
                    <a:pt x="411" y="400"/>
                  </a:lnTo>
                  <a:lnTo>
                    <a:pt x="410" y="401"/>
                  </a:lnTo>
                  <a:lnTo>
                    <a:pt x="409" y="403"/>
                  </a:lnTo>
                  <a:lnTo>
                    <a:pt x="407" y="406"/>
                  </a:lnTo>
                  <a:lnTo>
                    <a:pt x="405" y="410"/>
                  </a:lnTo>
                  <a:lnTo>
                    <a:pt x="404" y="411"/>
                  </a:lnTo>
                  <a:lnTo>
                    <a:pt x="403" y="412"/>
                  </a:lnTo>
                  <a:lnTo>
                    <a:pt x="402" y="413"/>
                  </a:lnTo>
                  <a:lnTo>
                    <a:pt x="401" y="414"/>
                  </a:lnTo>
                  <a:lnTo>
                    <a:pt x="400" y="415"/>
                  </a:lnTo>
                  <a:lnTo>
                    <a:pt x="399" y="416"/>
                  </a:lnTo>
                  <a:lnTo>
                    <a:pt x="398" y="416"/>
                  </a:lnTo>
                  <a:lnTo>
                    <a:pt x="397" y="417"/>
                  </a:lnTo>
                  <a:lnTo>
                    <a:pt x="396" y="418"/>
                  </a:lnTo>
                  <a:lnTo>
                    <a:pt x="395" y="418"/>
                  </a:lnTo>
                  <a:lnTo>
                    <a:pt x="394" y="418"/>
                  </a:lnTo>
                  <a:lnTo>
                    <a:pt x="392" y="419"/>
                  </a:lnTo>
                  <a:lnTo>
                    <a:pt x="391" y="419"/>
                  </a:lnTo>
                  <a:lnTo>
                    <a:pt x="390" y="419"/>
                  </a:lnTo>
                  <a:lnTo>
                    <a:pt x="389" y="419"/>
                  </a:lnTo>
                  <a:lnTo>
                    <a:pt x="388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3" y="419"/>
                  </a:lnTo>
                  <a:lnTo>
                    <a:pt x="383" y="419"/>
                  </a:lnTo>
                  <a:lnTo>
                    <a:pt x="382" y="418"/>
                  </a:lnTo>
                  <a:lnTo>
                    <a:pt x="381" y="418"/>
                  </a:lnTo>
                  <a:lnTo>
                    <a:pt x="380" y="417"/>
                  </a:lnTo>
                  <a:lnTo>
                    <a:pt x="379" y="416"/>
                  </a:lnTo>
                  <a:lnTo>
                    <a:pt x="378" y="416"/>
                  </a:lnTo>
                  <a:lnTo>
                    <a:pt x="377" y="415"/>
                  </a:lnTo>
                  <a:lnTo>
                    <a:pt x="377" y="414"/>
                  </a:lnTo>
                  <a:lnTo>
                    <a:pt x="376" y="414"/>
                  </a:lnTo>
                  <a:lnTo>
                    <a:pt x="376" y="413"/>
                  </a:lnTo>
                  <a:lnTo>
                    <a:pt x="375" y="412"/>
                  </a:lnTo>
                  <a:lnTo>
                    <a:pt x="375" y="412"/>
                  </a:lnTo>
                  <a:lnTo>
                    <a:pt x="374" y="410"/>
                  </a:lnTo>
                  <a:lnTo>
                    <a:pt x="372" y="406"/>
                  </a:lnTo>
                  <a:lnTo>
                    <a:pt x="372" y="405"/>
                  </a:lnTo>
                  <a:lnTo>
                    <a:pt x="372" y="405"/>
                  </a:lnTo>
                  <a:lnTo>
                    <a:pt x="371" y="404"/>
                  </a:lnTo>
                  <a:lnTo>
                    <a:pt x="371" y="403"/>
                  </a:lnTo>
                  <a:lnTo>
                    <a:pt x="369" y="400"/>
                  </a:lnTo>
                  <a:lnTo>
                    <a:pt x="368" y="399"/>
                  </a:lnTo>
                  <a:lnTo>
                    <a:pt x="367" y="399"/>
                  </a:lnTo>
                  <a:lnTo>
                    <a:pt x="366" y="398"/>
                  </a:lnTo>
                  <a:lnTo>
                    <a:pt x="365" y="397"/>
                  </a:lnTo>
                  <a:lnTo>
                    <a:pt x="360" y="394"/>
                  </a:lnTo>
                  <a:lnTo>
                    <a:pt x="359" y="393"/>
                  </a:lnTo>
                  <a:lnTo>
                    <a:pt x="358" y="392"/>
                  </a:lnTo>
                  <a:lnTo>
                    <a:pt x="357" y="391"/>
                  </a:lnTo>
                  <a:lnTo>
                    <a:pt x="357" y="390"/>
                  </a:lnTo>
                  <a:lnTo>
                    <a:pt x="356" y="389"/>
                  </a:lnTo>
                  <a:lnTo>
                    <a:pt x="355" y="388"/>
                  </a:lnTo>
                  <a:lnTo>
                    <a:pt x="354" y="386"/>
                  </a:lnTo>
                  <a:lnTo>
                    <a:pt x="352" y="382"/>
                  </a:lnTo>
                  <a:lnTo>
                    <a:pt x="351" y="381"/>
                  </a:lnTo>
                  <a:lnTo>
                    <a:pt x="351" y="380"/>
                  </a:lnTo>
                  <a:lnTo>
                    <a:pt x="350" y="380"/>
                  </a:lnTo>
                  <a:lnTo>
                    <a:pt x="349" y="379"/>
                  </a:lnTo>
                  <a:lnTo>
                    <a:pt x="348" y="379"/>
                  </a:lnTo>
                  <a:lnTo>
                    <a:pt x="347" y="378"/>
                  </a:lnTo>
                  <a:lnTo>
                    <a:pt x="346" y="378"/>
                  </a:lnTo>
                  <a:lnTo>
                    <a:pt x="345" y="377"/>
                  </a:lnTo>
                  <a:lnTo>
                    <a:pt x="344" y="377"/>
                  </a:lnTo>
                  <a:lnTo>
                    <a:pt x="343" y="377"/>
                  </a:lnTo>
                  <a:lnTo>
                    <a:pt x="343" y="377"/>
                  </a:lnTo>
                  <a:lnTo>
                    <a:pt x="341" y="378"/>
                  </a:lnTo>
                  <a:lnTo>
                    <a:pt x="338" y="378"/>
                  </a:lnTo>
                  <a:lnTo>
                    <a:pt x="337" y="379"/>
                  </a:lnTo>
                  <a:lnTo>
                    <a:pt x="336" y="379"/>
                  </a:lnTo>
                  <a:lnTo>
                    <a:pt x="335" y="379"/>
                  </a:lnTo>
                  <a:lnTo>
                    <a:pt x="334" y="379"/>
                  </a:lnTo>
                  <a:lnTo>
                    <a:pt x="333" y="379"/>
                  </a:lnTo>
                  <a:lnTo>
                    <a:pt x="330" y="378"/>
                  </a:lnTo>
                  <a:lnTo>
                    <a:pt x="329" y="378"/>
                  </a:lnTo>
                  <a:lnTo>
                    <a:pt x="323" y="377"/>
                  </a:lnTo>
                  <a:lnTo>
                    <a:pt x="322" y="377"/>
                  </a:lnTo>
                  <a:lnTo>
                    <a:pt x="321" y="376"/>
                  </a:lnTo>
                  <a:lnTo>
                    <a:pt x="319" y="376"/>
                  </a:lnTo>
                  <a:lnTo>
                    <a:pt x="319" y="375"/>
                  </a:lnTo>
                  <a:lnTo>
                    <a:pt x="318" y="375"/>
                  </a:lnTo>
                  <a:lnTo>
                    <a:pt x="316" y="374"/>
                  </a:lnTo>
                  <a:lnTo>
                    <a:pt x="312" y="371"/>
                  </a:lnTo>
                  <a:lnTo>
                    <a:pt x="311" y="370"/>
                  </a:lnTo>
                  <a:lnTo>
                    <a:pt x="310" y="370"/>
                  </a:lnTo>
                  <a:lnTo>
                    <a:pt x="309" y="369"/>
                  </a:lnTo>
                  <a:lnTo>
                    <a:pt x="308" y="369"/>
                  </a:lnTo>
                  <a:lnTo>
                    <a:pt x="307" y="369"/>
                  </a:lnTo>
                  <a:lnTo>
                    <a:pt x="306" y="368"/>
                  </a:lnTo>
                  <a:lnTo>
                    <a:pt x="303" y="368"/>
                  </a:lnTo>
                  <a:lnTo>
                    <a:pt x="302" y="368"/>
                  </a:lnTo>
                  <a:lnTo>
                    <a:pt x="301" y="368"/>
                  </a:lnTo>
                  <a:lnTo>
                    <a:pt x="297" y="367"/>
                  </a:lnTo>
                  <a:lnTo>
                    <a:pt x="296" y="367"/>
                  </a:lnTo>
                  <a:lnTo>
                    <a:pt x="295" y="367"/>
                  </a:lnTo>
                  <a:lnTo>
                    <a:pt x="293" y="367"/>
                  </a:lnTo>
                  <a:lnTo>
                    <a:pt x="290" y="367"/>
                  </a:lnTo>
                  <a:lnTo>
                    <a:pt x="287" y="367"/>
                  </a:lnTo>
                  <a:lnTo>
                    <a:pt x="285" y="367"/>
                  </a:lnTo>
                  <a:lnTo>
                    <a:pt x="281" y="368"/>
                  </a:lnTo>
                  <a:lnTo>
                    <a:pt x="278" y="369"/>
                  </a:lnTo>
                  <a:lnTo>
                    <a:pt x="274" y="370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2" y="373"/>
                  </a:lnTo>
                  <a:lnTo>
                    <a:pt x="261" y="372"/>
                  </a:lnTo>
                  <a:lnTo>
                    <a:pt x="261" y="372"/>
                  </a:lnTo>
                  <a:lnTo>
                    <a:pt x="260" y="372"/>
                  </a:lnTo>
                  <a:lnTo>
                    <a:pt x="259" y="371"/>
                  </a:lnTo>
                  <a:lnTo>
                    <a:pt x="259" y="371"/>
                  </a:lnTo>
                  <a:lnTo>
                    <a:pt x="258" y="371"/>
                  </a:lnTo>
                  <a:lnTo>
                    <a:pt x="258" y="370"/>
                  </a:lnTo>
                  <a:lnTo>
                    <a:pt x="257" y="369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5" y="365"/>
                  </a:lnTo>
                  <a:lnTo>
                    <a:pt x="254" y="364"/>
                  </a:lnTo>
                  <a:lnTo>
                    <a:pt x="253" y="363"/>
                  </a:lnTo>
                  <a:lnTo>
                    <a:pt x="252" y="362"/>
                  </a:lnTo>
                  <a:lnTo>
                    <a:pt x="250" y="361"/>
                  </a:lnTo>
                  <a:lnTo>
                    <a:pt x="249" y="361"/>
                  </a:lnTo>
                  <a:lnTo>
                    <a:pt x="248" y="360"/>
                  </a:lnTo>
                  <a:lnTo>
                    <a:pt x="247" y="360"/>
                  </a:lnTo>
                  <a:lnTo>
                    <a:pt x="245" y="359"/>
                  </a:lnTo>
                  <a:lnTo>
                    <a:pt x="243" y="359"/>
                  </a:lnTo>
                  <a:lnTo>
                    <a:pt x="242" y="359"/>
                  </a:lnTo>
                  <a:lnTo>
                    <a:pt x="240" y="359"/>
                  </a:lnTo>
                  <a:lnTo>
                    <a:pt x="239" y="359"/>
                  </a:lnTo>
                  <a:lnTo>
                    <a:pt x="239" y="359"/>
                  </a:lnTo>
                  <a:lnTo>
                    <a:pt x="239" y="359"/>
                  </a:lnTo>
                  <a:lnTo>
                    <a:pt x="238" y="359"/>
                  </a:lnTo>
                  <a:lnTo>
                    <a:pt x="237" y="359"/>
                  </a:lnTo>
                  <a:lnTo>
                    <a:pt x="237" y="359"/>
                  </a:lnTo>
                  <a:lnTo>
                    <a:pt x="235" y="360"/>
                  </a:lnTo>
                  <a:lnTo>
                    <a:pt x="235" y="360"/>
                  </a:lnTo>
                  <a:lnTo>
                    <a:pt x="234" y="359"/>
                  </a:lnTo>
                  <a:lnTo>
                    <a:pt x="234" y="359"/>
                  </a:lnTo>
                  <a:lnTo>
                    <a:pt x="233" y="356"/>
                  </a:lnTo>
                  <a:lnTo>
                    <a:pt x="231" y="353"/>
                  </a:lnTo>
                  <a:lnTo>
                    <a:pt x="231" y="352"/>
                  </a:lnTo>
                  <a:lnTo>
                    <a:pt x="230" y="351"/>
                  </a:lnTo>
                  <a:lnTo>
                    <a:pt x="229" y="350"/>
                  </a:lnTo>
                  <a:lnTo>
                    <a:pt x="228" y="349"/>
                  </a:lnTo>
                  <a:lnTo>
                    <a:pt x="228" y="349"/>
                  </a:lnTo>
                  <a:lnTo>
                    <a:pt x="228" y="349"/>
                  </a:lnTo>
                  <a:lnTo>
                    <a:pt x="227" y="349"/>
                  </a:lnTo>
                  <a:lnTo>
                    <a:pt x="227" y="348"/>
                  </a:lnTo>
                  <a:lnTo>
                    <a:pt x="226" y="348"/>
                  </a:lnTo>
                  <a:lnTo>
                    <a:pt x="226" y="348"/>
                  </a:lnTo>
                  <a:lnTo>
                    <a:pt x="225" y="349"/>
                  </a:lnTo>
                  <a:lnTo>
                    <a:pt x="224" y="349"/>
                  </a:lnTo>
                  <a:lnTo>
                    <a:pt x="223" y="349"/>
                  </a:lnTo>
                  <a:lnTo>
                    <a:pt x="222" y="350"/>
                  </a:lnTo>
                  <a:lnTo>
                    <a:pt x="221" y="351"/>
                  </a:lnTo>
                  <a:lnTo>
                    <a:pt x="219" y="353"/>
                  </a:lnTo>
                  <a:lnTo>
                    <a:pt x="218" y="353"/>
                  </a:lnTo>
                  <a:lnTo>
                    <a:pt x="218" y="353"/>
                  </a:lnTo>
                  <a:lnTo>
                    <a:pt x="218" y="353"/>
                  </a:lnTo>
                  <a:lnTo>
                    <a:pt x="217" y="353"/>
                  </a:lnTo>
                  <a:lnTo>
                    <a:pt x="216" y="353"/>
                  </a:lnTo>
                  <a:lnTo>
                    <a:pt x="216" y="353"/>
                  </a:lnTo>
                  <a:lnTo>
                    <a:pt x="216" y="352"/>
                  </a:lnTo>
                  <a:lnTo>
                    <a:pt x="215" y="352"/>
                  </a:lnTo>
                  <a:lnTo>
                    <a:pt x="215" y="351"/>
                  </a:lnTo>
                  <a:lnTo>
                    <a:pt x="214" y="350"/>
                  </a:lnTo>
                  <a:lnTo>
                    <a:pt x="214" y="349"/>
                  </a:lnTo>
                  <a:lnTo>
                    <a:pt x="214" y="349"/>
                  </a:lnTo>
                  <a:lnTo>
                    <a:pt x="214" y="348"/>
                  </a:lnTo>
                  <a:lnTo>
                    <a:pt x="215" y="347"/>
                  </a:lnTo>
                  <a:lnTo>
                    <a:pt x="215" y="346"/>
                  </a:lnTo>
                  <a:lnTo>
                    <a:pt x="216" y="345"/>
                  </a:lnTo>
                  <a:lnTo>
                    <a:pt x="216" y="344"/>
                  </a:lnTo>
                  <a:lnTo>
                    <a:pt x="216" y="343"/>
                  </a:lnTo>
                  <a:lnTo>
                    <a:pt x="216" y="343"/>
                  </a:lnTo>
                  <a:lnTo>
                    <a:pt x="216" y="342"/>
                  </a:lnTo>
                  <a:lnTo>
                    <a:pt x="216" y="341"/>
                  </a:lnTo>
                  <a:lnTo>
                    <a:pt x="216" y="341"/>
                  </a:lnTo>
                  <a:lnTo>
                    <a:pt x="215" y="340"/>
                  </a:lnTo>
                  <a:lnTo>
                    <a:pt x="214" y="337"/>
                  </a:lnTo>
                  <a:lnTo>
                    <a:pt x="212" y="334"/>
                  </a:lnTo>
                  <a:lnTo>
                    <a:pt x="211" y="332"/>
                  </a:lnTo>
                  <a:lnTo>
                    <a:pt x="209" y="330"/>
                  </a:lnTo>
                  <a:lnTo>
                    <a:pt x="208" y="329"/>
                  </a:lnTo>
                  <a:lnTo>
                    <a:pt x="206" y="327"/>
                  </a:lnTo>
                  <a:lnTo>
                    <a:pt x="203" y="324"/>
                  </a:lnTo>
                  <a:lnTo>
                    <a:pt x="202" y="322"/>
                  </a:lnTo>
                  <a:lnTo>
                    <a:pt x="200" y="322"/>
                  </a:lnTo>
                  <a:lnTo>
                    <a:pt x="193" y="316"/>
                  </a:lnTo>
                  <a:lnTo>
                    <a:pt x="192" y="315"/>
                  </a:lnTo>
                  <a:lnTo>
                    <a:pt x="191" y="315"/>
                  </a:lnTo>
                  <a:lnTo>
                    <a:pt x="191" y="314"/>
                  </a:lnTo>
                  <a:lnTo>
                    <a:pt x="190" y="313"/>
                  </a:lnTo>
                  <a:lnTo>
                    <a:pt x="189" y="311"/>
                  </a:lnTo>
                  <a:lnTo>
                    <a:pt x="188" y="310"/>
                  </a:lnTo>
                  <a:lnTo>
                    <a:pt x="187" y="308"/>
                  </a:lnTo>
                  <a:lnTo>
                    <a:pt x="186" y="307"/>
                  </a:lnTo>
                  <a:lnTo>
                    <a:pt x="186" y="306"/>
                  </a:lnTo>
                  <a:lnTo>
                    <a:pt x="185" y="304"/>
                  </a:lnTo>
                  <a:lnTo>
                    <a:pt x="183" y="303"/>
                  </a:lnTo>
                  <a:lnTo>
                    <a:pt x="182" y="302"/>
                  </a:lnTo>
                  <a:lnTo>
                    <a:pt x="182" y="301"/>
                  </a:lnTo>
                  <a:lnTo>
                    <a:pt x="181" y="300"/>
                  </a:lnTo>
                  <a:lnTo>
                    <a:pt x="180" y="300"/>
                  </a:lnTo>
                  <a:lnTo>
                    <a:pt x="180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78" y="299"/>
                  </a:lnTo>
                  <a:lnTo>
                    <a:pt x="178" y="300"/>
                  </a:lnTo>
                  <a:lnTo>
                    <a:pt x="177" y="300"/>
                  </a:lnTo>
                  <a:lnTo>
                    <a:pt x="176" y="301"/>
                  </a:lnTo>
                  <a:lnTo>
                    <a:pt x="175" y="301"/>
                  </a:lnTo>
                  <a:lnTo>
                    <a:pt x="175" y="301"/>
                  </a:lnTo>
                  <a:lnTo>
                    <a:pt x="174" y="302"/>
                  </a:lnTo>
                  <a:lnTo>
                    <a:pt x="173" y="302"/>
                  </a:lnTo>
                  <a:lnTo>
                    <a:pt x="173" y="302"/>
                  </a:lnTo>
                  <a:lnTo>
                    <a:pt x="172" y="302"/>
                  </a:lnTo>
                  <a:lnTo>
                    <a:pt x="171" y="301"/>
                  </a:lnTo>
                  <a:lnTo>
                    <a:pt x="170" y="301"/>
                  </a:lnTo>
                  <a:lnTo>
                    <a:pt x="169" y="300"/>
                  </a:lnTo>
                  <a:lnTo>
                    <a:pt x="168" y="299"/>
                  </a:lnTo>
                  <a:lnTo>
                    <a:pt x="167" y="299"/>
                  </a:lnTo>
                  <a:lnTo>
                    <a:pt x="166" y="298"/>
                  </a:lnTo>
                  <a:lnTo>
                    <a:pt x="165" y="297"/>
                  </a:lnTo>
                  <a:lnTo>
                    <a:pt x="165" y="297"/>
                  </a:lnTo>
                  <a:lnTo>
                    <a:pt x="164" y="296"/>
                  </a:lnTo>
                  <a:lnTo>
                    <a:pt x="164" y="295"/>
                  </a:lnTo>
                  <a:lnTo>
                    <a:pt x="163" y="294"/>
                  </a:lnTo>
                  <a:lnTo>
                    <a:pt x="163" y="293"/>
                  </a:lnTo>
                  <a:lnTo>
                    <a:pt x="163" y="291"/>
                  </a:lnTo>
                  <a:lnTo>
                    <a:pt x="162" y="289"/>
                  </a:lnTo>
                  <a:lnTo>
                    <a:pt x="162" y="288"/>
                  </a:lnTo>
                  <a:lnTo>
                    <a:pt x="162" y="286"/>
                  </a:lnTo>
                  <a:lnTo>
                    <a:pt x="162" y="285"/>
                  </a:lnTo>
                  <a:lnTo>
                    <a:pt x="162" y="284"/>
                  </a:lnTo>
                  <a:lnTo>
                    <a:pt x="162" y="283"/>
                  </a:lnTo>
                  <a:lnTo>
                    <a:pt x="162" y="282"/>
                  </a:lnTo>
                  <a:lnTo>
                    <a:pt x="163" y="280"/>
                  </a:lnTo>
                  <a:lnTo>
                    <a:pt x="164" y="276"/>
                  </a:lnTo>
                  <a:lnTo>
                    <a:pt x="164" y="275"/>
                  </a:lnTo>
                  <a:lnTo>
                    <a:pt x="164" y="274"/>
                  </a:lnTo>
                  <a:lnTo>
                    <a:pt x="164" y="273"/>
                  </a:lnTo>
                  <a:lnTo>
                    <a:pt x="164" y="272"/>
                  </a:lnTo>
                  <a:lnTo>
                    <a:pt x="164" y="271"/>
                  </a:lnTo>
                  <a:lnTo>
                    <a:pt x="164" y="269"/>
                  </a:lnTo>
                  <a:lnTo>
                    <a:pt x="164" y="268"/>
                  </a:lnTo>
                  <a:lnTo>
                    <a:pt x="163" y="266"/>
                  </a:lnTo>
                  <a:lnTo>
                    <a:pt x="163" y="265"/>
                  </a:lnTo>
                  <a:lnTo>
                    <a:pt x="162" y="264"/>
                  </a:lnTo>
                  <a:lnTo>
                    <a:pt x="162" y="263"/>
                  </a:lnTo>
                  <a:lnTo>
                    <a:pt x="161" y="262"/>
                  </a:lnTo>
                  <a:lnTo>
                    <a:pt x="161" y="261"/>
                  </a:lnTo>
                  <a:lnTo>
                    <a:pt x="160" y="260"/>
                  </a:lnTo>
                  <a:lnTo>
                    <a:pt x="160" y="260"/>
                  </a:lnTo>
                  <a:lnTo>
                    <a:pt x="159" y="259"/>
                  </a:lnTo>
                  <a:lnTo>
                    <a:pt x="159" y="259"/>
                  </a:lnTo>
                  <a:lnTo>
                    <a:pt x="158" y="259"/>
                  </a:lnTo>
                  <a:lnTo>
                    <a:pt x="158" y="259"/>
                  </a:lnTo>
                  <a:lnTo>
                    <a:pt x="157" y="259"/>
                  </a:lnTo>
                  <a:lnTo>
                    <a:pt x="156" y="259"/>
                  </a:lnTo>
                  <a:lnTo>
                    <a:pt x="156" y="259"/>
                  </a:lnTo>
                  <a:lnTo>
                    <a:pt x="153" y="260"/>
                  </a:lnTo>
                  <a:lnTo>
                    <a:pt x="152" y="260"/>
                  </a:lnTo>
                  <a:lnTo>
                    <a:pt x="147" y="262"/>
                  </a:lnTo>
                  <a:lnTo>
                    <a:pt x="146" y="262"/>
                  </a:lnTo>
                  <a:lnTo>
                    <a:pt x="144" y="263"/>
                  </a:lnTo>
                  <a:lnTo>
                    <a:pt x="142" y="264"/>
                  </a:lnTo>
                  <a:lnTo>
                    <a:pt x="140" y="265"/>
                  </a:lnTo>
                  <a:lnTo>
                    <a:pt x="139" y="265"/>
                  </a:lnTo>
                  <a:lnTo>
                    <a:pt x="138" y="265"/>
                  </a:lnTo>
                  <a:lnTo>
                    <a:pt x="138" y="265"/>
                  </a:lnTo>
                  <a:lnTo>
                    <a:pt x="137" y="265"/>
                  </a:lnTo>
                  <a:lnTo>
                    <a:pt x="136" y="265"/>
                  </a:lnTo>
                  <a:lnTo>
                    <a:pt x="133" y="264"/>
                  </a:lnTo>
                  <a:lnTo>
                    <a:pt x="132" y="264"/>
                  </a:lnTo>
                  <a:lnTo>
                    <a:pt x="131" y="264"/>
                  </a:lnTo>
                  <a:lnTo>
                    <a:pt x="129" y="263"/>
                  </a:lnTo>
                  <a:lnTo>
                    <a:pt x="125" y="261"/>
                  </a:lnTo>
                  <a:lnTo>
                    <a:pt x="124" y="261"/>
                  </a:lnTo>
                  <a:lnTo>
                    <a:pt x="123" y="260"/>
                  </a:lnTo>
                  <a:lnTo>
                    <a:pt x="122" y="259"/>
                  </a:lnTo>
                  <a:lnTo>
                    <a:pt x="121" y="258"/>
                  </a:lnTo>
                  <a:lnTo>
                    <a:pt x="120" y="257"/>
                  </a:lnTo>
                  <a:lnTo>
                    <a:pt x="119" y="257"/>
                  </a:lnTo>
                  <a:lnTo>
                    <a:pt x="118" y="256"/>
                  </a:lnTo>
                  <a:lnTo>
                    <a:pt x="116" y="255"/>
                  </a:lnTo>
                  <a:lnTo>
                    <a:pt x="115" y="255"/>
                  </a:lnTo>
                  <a:lnTo>
                    <a:pt x="114" y="254"/>
                  </a:lnTo>
                  <a:lnTo>
                    <a:pt x="114" y="254"/>
                  </a:lnTo>
                  <a:lnTo>
                    <a:pt x="113" y="253"/>
                  </a:lnTo>
                  <a:lnTo>
                    <a:pt x="112" y="252"/>
                  </a:lnTo>
                  <a:lnTo>
                    <a:pt x="112" y="251"/>
                  </a:lnTo>
                  <a:lnTo>
                    <a:pt x="111" y="249"/>
                  </a:lnTo>
                  <a:lnTo>
                    <a:pt x="110" y="248"/>
                  </a:lnTo>
                  <a:lnTo>
                    <a:pt x="109" y="247"/>
                  </a:lnTo>
                  <a:lnTo>
                    <a:pt x="106" y="244"/>
                  </a:lnTo>
                  <a:lnTo>
                    <a:pt x="106" y="244"/>
                  </a:lnTo>
                  <a:lnTo>
                    <a:pt x="106" y="243"/>
                  </a:lnTo>
                  <a:lnTo>
                    <a:pt x="105" y="242"/>
                  </a:lnTo>
                  <a:lnTo>
                    <a:pt x="105" y="241"/>
                  </a:lnTo>
                  <a:lnTo>
                    <a:pt x="105" y="240"/>
                  </a:lnTo>
                  <a:lnTo>
                    <a:pt x="105" y="238"/>
                  </a:lnTo>
                  <a:lnTo>
                    <a:pt x="105" y="238"/>
                  </a:lnTo>
                  <a:lnTo>
                    <a:pt x="104" y="237"/>
                  </a:lnTo>
                  <a:lnTo>
                    <a:pt x="104" y="236"/>
                  </a:lnTo>
                  <a:lnTo>
                    <a:pt x="104" y="236"/>
                  </a:lnTo>
                  <a:lnTo>
                    <a:pt x="103" y="235"/>
                  </a:lnTo>
                  <a:lnTo>
                    <a:pt x="103" y="234"/>
                  </a:lnTo>
                  <a:lnTo>
                    <a:pt x="101" y="232"/>
                  </a:lnTo>
                  <a:lnTo>
                    <a:pt x="101" y="231"/>
                  </a:lnTo>
                  <a:lnTo>
                    <a:pt x="100" y="229"/>
                  </a:lnTo>
                  <a:lnTo>
                    <a:pt x="100" y="228"/>
                  </a:lnTo>
                  <a:lnTo>
                    <a:pt x="100" y="226"/>
                  </a:lnTo>
                  <a:lnTo>
                    <a:pt x="100" y="226"/>
                  </a:lnTo>
                  <a:lnTo>
                    <a:pt x="100" y="224"/>
                  </a:lnTo>
                  <a:lnTo>
                    <a:pt x="100" y="222"/>
                  </a:lnTo>
                  <a:lnTo>
                    <a:pt x="99" y="221"/>
                  </a:lnTo>
                  <a:lnTo>
                    <a:pt x="99" y="220"/>
                  </a:lnTo>
                  <a:lnTo>
                    <a:pt x="98" y="218"/>
                  </a:lnTo>
                  <a:lnTo>
                    <a:pt x="97" y="216"/>
                  </a:lnTo>
                  <a:lnTo>
                    <a:pt x="96" y="213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4" y="211"/>
                  </a:lnTo>
                  <a:lnTo>
                    <a:pt x="94" y="211"/>
                  </a:lnTo>
                  <a:lnTo>
                    <a:pt x="93" y="211"/>
                  </a:lnTo>
                  <a:lnTo>
                    <a:pt x="92" y="211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0" y="211"/>
                  </a:lnTo>
                  <a:lnTo>
                    <a:pt x="90" y="212"/>
                  </a:lnTo>
                  <a:lnTo>
                    <a:pt x="89" y="213"/>
                  </a:lnTo>
                  <a:lnTo>
                    <a:pt x="89" y="213"/>
                  </a:lnTo>
                  <a:lnTo>
                    <a:pt x="89" y="214"/>
                  </a:lnTo>
                  <a:lnTo>
                    <a:pt x="90" y="215"/>
                  </a:lnTo>
                  <a:lnTo>
                    <a:pt x="91" y="222"/>
                  </a:lnTo>
                  <a:lnTo>
                    <a:pt x="92" y="223"/>
                  </a:lnTo>
                  <a:lnTo>
                    <a:pt x="92" y="224"/>
                  </a:lnTo>
                  <a:lnTo>
                    <a:pt x="92" y="225"/>
                  </a:lnTo>
                  <a:lnTo>
                    <a:pt x="92" y="226"/>
                  </a:lnTo>
                  <a:lnTo>
                    <a:pt x="91" y="226"/>
                  </a:lnTo>
                  <a:lnTo>
                    <a:pt x="91" y="227"/>
                  </a:lnTo>
                  <a:lnTo>
                    <a:pt x="91" y="227"/>
                  </a:lnTo>
                  <a:lnTo>
                    <a:pt x="90" y="228"/>
                  </a:lnTo>
                  <a:lnTo>
                    <a:pt x="89" y="229"/>
                  </a:lnTo>
                  <a:lnTo>
                    <a:pt x="89" y="230"/>
                  </a:lnTo>
                  <a:lnTo>
                    <a:pt x="88" y="230"/>
                  </a:lnTo>
                  <a:lnTo>
                    <a:pt x="87" y="230"/>
                  </a:lnTo>
                  <a:lnTo>
                    <a:pt x="87" y="230"/>
                  </a:lnTo>
                  <a:lnTo>
                    <a:pt x="87" y="230"/>
                  </a:lnTo>
                  <a:lnTo>
                    <a:pt x="86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3" y="230"/>
                  </a:lnTo>
                  <a:lnTo>
                    <a:pt x="82" y="231"/>
                  </a:lnTo>
                  <a:lnTo>
                    <a:pt x="82" y="231"/>
                  </a:lnTo>
                  <a:lnTo>
                    <a:pt x="80" y="232"/>
                  </a:lnTo>
                  <a:lnTo>
                    <a:pt x="80" y="232"/>
                  </a:lnTo>
                  <a:lnTo>
                    <a:pt x="79" y="233"/>
                  </a:lnTo>
                  <a:lnTo>
                    <a:pt x="79" y="233"/>
                  </a:lnTo>
                  <a:lnTo>
                    <a:pt x="78" y="234"/>
                  </a:lnTo>
                  <a:lnTo>
                    <a:pt x="78" y="235"/>
                  </a:lnTo>
                  <a:lnTo>
                    <a:pt x="77" y="236"/>
                  </a:lnTo>
                  <a:lnTo>
                    <a:pt x="77" y="236"/>
                  </a:lnTo>
                  <a:lnTo>
                    <a:pt x="77" y="237"/>
                  </a:lnTo>
                  <a:lnTo>
                    <a:pt x="76" y="238"/>
                  </a:lnTo>
                  <a:lnTo>
                    <a:pt x="74" y="240"/>
                  </a:lnTo>
                  <a:lnTo>
                    <a:pt x="74" y="240"/>
                  </a:lnTo>
                  <a:lnTo>
                    <a:pt x="73" y="241"/>
                  </a:lnTo>
                  <a:lnTo>
                    <a:pt x="72" y="243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0" y="244"/>
                  </a:lnTo>
                  <a:lnTo>
                    <a:pt x="70" y="244"/>
                  </a:lnTo>
                  <a:lnTo>
                    <a:pt x="69" y="244"/>
                  </a:lnTo>
                  <a:lnTo>
                    <a:pt x="69" y="244"/>
                  </a:lnTo>
                  <a:lnTo>
                    <a:pt x="68" y="244"/>
                  </a:lnTo>
                  <a:lnTo>
                    <a:pt x="68" y="244"/>
                  </a:lnTo>
                  <a:lnTo>
                    <a:pt x="67" y="243"/>
                  </a:lnTo>
                  <a:lnTo>
                    <a:pt x="66" y="242"/>
                  </a:lnTo>
                  <a:lnTo>
                    <a:pt x="65" y="241"/>
                  </a:lnTo>
                  <a:lnTo>
                    <a:pt x="65" y="239"/>
                  </a:lnTo>
                  <a:lnTo>
                    <a:pt x="64" y="238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2"/>
                  </a:lnTo>
                  <a:lnTo>
                    <a:pt x="65" y="228"/>
                  </a:lnTo>
                  <a:lnTo>
                    <a:pt x="66" y="226"/>
                  </a:lnTo>
                  <a:lnTo>
                    <a:pt x="66" y="224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2"/>
                  </a:lnTo>
                  <a:lnTo>
                    <a:pt x="66" y="221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8" y="217"/>
                  </a:lnTo>
                  <a:lnTo>
                    <a:pt x="56" y="217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3" y="218"/>
                  </a:lnTo>
                  <a:lnTo>
                    <a:pt x="51" y="219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8" y="220"/>
                  </a:lnTo>
                  <a:lnTo>
                    <a:pt x="47" y="221"/>
                  </a:lnTo>
                  <a:lnTo>
                    <a:pt x="45" y="222"/>
                  </a:lnTo>
                  <a:lnTo>
                    <a:pt x="44" y="223"/>
                  </a:lnTo>
                  <a:lnTo>
                    <a:pt x="41" y="226"/>
                  </a:lnTo>
                  <a:lnTo>
                    <a:pt x="38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5" y="231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3" y="234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1" y="235"/>
                  </a:lnTo>
                  <a:lnTo>
                    <a:pt x="30" y="235"/>
                  </a:lnTo>
                  <a:lnTo>
                    <a:pt x="27" y="235"/>
                  </a:lnTo>
                  <a:lnTo>
                    <a:pt x="23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1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19" y="232"/>
                  </a:lnTo>
                  <a:lnTo>
                    <a:pt x="19" y="231"/>
                  </a:lnTo>
                  <a:lnTo>
                    <a:pt x="19" y="230"/>
                  </a:lnTo>
                  <a:lnTo>
                    <a:pt x="19" y="229"/>
                  </a:lnTo>
                  <a:lnTo>
                    <a:pt x="20" y="226"/>
                  </a:lnTo>
                  <a:lnTo>
                    <a:pt x="20" y="224"/>
                  </a:lnTo>
                  <a:lnTo>
                    <a:pt x="20" y="223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0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6" y="222"/>
                  </a:lnTo>
                  <a:lnTo>
                    <a:pt x="15" y="222"/>
                  </a:lnTo>
                  <a:lnTo>
                    <a:pt x="13" y="222"/>
                  </a:lnTo>
                  <a:lnTo>
                    <a:pt x="12" y="223"/>
                  </a:lnTo>
                  <a:lnTo>
                    <a:pt x="11" y="223"/>
                  </a:lnTo>
                  <a:lnTo>
                    <a:pt x="10" y="223"/>
                  </a:lnTo>
                  <a:lnTo>
                    <a:pt x="10" y="222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8" y="221"/>
                  </a:lnTo>
                  <a:lnTo>
                    <a:pt x="7" y="220"/>
                  </a:lnTo>
                  <a:lnTo>
                    <a:pt x="6" y="220"/>
                  </a:lnTo>
                  <a:lnTo>
                    <a:pt x="5" y="217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0" y="206"/>
                  </a:lnTo>
                  <a:lnTo>
                    <a:pt x="0" y="205"/>
                  </a:lnTo>
                  <a:lnTo>
                    <a:pt x="1" y="204"/>
                  </a:lnTo>
                  <a:lnTo>
                    <a:pt x="2" y="201"/>
                  </a:lnTo>
                  <a:lnTo>
                    <a:pt x="3" y="199"/>
                  </a:lnTo>
                  <a:lnTo>
                    <a:pt x="3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4" y="193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6" y="188"/>
                  </a:lnTo>
                  <a:lnTo>
                    <a:pt x="7" y="186"/>
                  </a:lnTo>
                  <a:lnTo>
                    <a:pt x="9" y="183"/>
                  </a:lnTo>
                  <a:lnTo>
                    <a:pt x="10" y="182"/>
                  </a:lnTo>
                  <a:lnTo>
                    <a:pt x="10" y="181"/>
                  </a:lnTo>
                  <a:lnTo>
                    <a:pt x="11" y="180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7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5"/>
                  </a:lnTo>
                  <a:lnTo>
                    <a:pt x="12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0" y="172"/>
                  </a:lnTo>
                  <a:lnTo>
                    <a:pt x="10" y="171"/>
                  </a:lnTo>
                  <a:lnTo>
                    <a:pt x="9" y="170"/>
                  </a:lnTo>
                  <a:lnTo>
                    <a:pt x="5" y="166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3" y="156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7"/>
                  </a:lnTo>
                  <a:lnTo>
                    <a:pt x="6" y="145"/>
                  </a:lnTo>
                  <a:lnTo>
                    <a:pt x="7" y="143"/>
                  </a:lnTo>
                  <a:lnTo>
                    <a:pt x="8" y="142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18" y="129"/>
                  </a:lnTo>
                  <a:lnTo>
                    <a:pt x="18" y="128"/>
                  </a:lnTo>
                  <a:lnTo>
                    <a:pt x="19" y="127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20" y="123"/>
                  </a:lnTo>
                  <a:lnTo>
                    <a:pt x="20" y="122"/>
                  </a:lnTo>
                  <a:lnTo>
                    <a:pt x="20" y="120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9" y="106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3"/>
                  </a:lnTo>
                  <a:lnTo>
                    <a:pt x="22" y="99"/>
                  </a:lnTo>
                  <a:lnTo>
                    <a:pt x="23" y="98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7" y="84"/>
                  </a:lnTo>
                  <a:lnTo>
                    <a:pt x="32" y="78"/>
                  </a:lnTo>
                  <a:lnTo>
                    <a:pt x="34" y="76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8" y="72"/>
                  </a:lnTo>
                  <a:lnTo>
                    <a:pt x="39" y="71"/>
                  </a:lnTo>
                  <a:lnTo>
                    <a:pt x="40" y="71"/>
                  </a:lnTo>
                  <a:lnTo>
                    <a:pt x="42" y="68"/>
                  </a:lnTo>
                  <a:lnTo>
                    <a:pt x="43" y="68"/>
                  </a:lnTo>
                  <a:lnTo>
                    <a:pt x="44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8" y="57"/>
                  </a:lnTo>
                  <a:lnTo>
                    <a:pt x="59" y="55"/>
                  </a:lnTo>
                  <a:lnTo>
                    <a:pt x="60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49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5"/>
                  </a:lnTo>
                  <a:lnTo>
                    <a:pt x="77" y="42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8" y="27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7" y="23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8" y="24"/>
                  </a:lnTo>
                  <a:lnTo>
                    <a:pt x="129" y="24"/>
                  </a:lnTo>
                  <a:lnTo>
                    <a:pt x="131" y="24"/>
                  </a:lnTo>
                  <a:lnTo>
                    <a:pt x="132" y="24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6" y="23"/>
                  </a:lnTo>
                  <a:lnTo>
                    <a:pt x="137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2" y="19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9" y="12"/>
                  </a:lnTo>
                  <a:lnTo>
                    <a:pt x="150" y="11"/>
                  </a:lnTo>
                  <a:lnTo>
                    <a:pt x="151" y="10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7"/>
                  </a:lnTo>
                  <a:lnTo>
                    <a:pt x="153" y="2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0" name="Freeform 39">
              <a:extLst>
                <a:ext uri="{FF2B5EF4-FFF2-40B4-BE49-F238E27FC236}">
                  <a16:creationId xmlns:a16="http://schemas.microsoft.com/office/drawing/2014/main" id="{D70D6A38-9B50-3AFC-86A7-BA152A71E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3" y="3192"/>
              <a:ext cx="448" cy="419"/>
            </a:xfrm>
            <a:custGeom>
              <a:avLst/>
              <a:gdLst>
                <a:gd name="T0" fmla="*/ 99 w 448"/>
                <a:gd name="T1" fmla="*/ 8 h 419"/>
                <a:gd name="T2" fmla="*/ 98 w 448"/>
                <a:gd name="T3" fmla="*/ 24 h 419"/>
                <a:gd name="T4" fmla="*/ 107 w 448"/>
                <a:gd name="T5" fmla="*/ 45 h 419"/>
                <a:gd name="T6" fmla="*/ 95 w 448"/>
                <a:gd name="T7" fmla="*/ 56 h 419"/>
                <a:gd name="T8" fmla="*/ 65 w 448"/>
                <a:gd name="T9" fmla="*/ 71 h 419"/>
                <a:gd name="T10" fmla="*/ 65 w 448"/>
                <a:gd name="T11" fmla="*/ 83 h 419"/>
                <a:gd name="T12" fmla="*/ 87 w 448"/>
                <a:gd name="T13" fmla="*/ 97 h 419"/>
                <a:gd name="T14" fmla="*/ 103 w 448"/>
                <a:gd name="T15" fmla="*/ 108 h 419"/>
                <a:gd name="T16" fmla="*/ 119 w 448"/>
                <a:gd name="T17" fmla="*/ 138 h 419"/>
                <a:gd name="T18" fmla="*/ 139 w 448"/>
                <a:gd name="T19" fmla="*/ 154 h 419"/>
                <a:gd name="T20" fmla="*/ 161 w 448"/>
                <a:gd name="T21" fmla="*/ 153 h 419"/>
                <a:gd name="T22" fmla="*/ 191 w 448"/>
                <a:gd name="T23" fmla="*/ 139 h 419"/>
                <a:gd name="T24" fmla="*/ 193 w 448"/>
                <a:gd name="T25" fmla="*/ 130 h 419"/>
                <a:gd name="T26" fmla="*/ 185 w 448"/>
                <a:gd name="T27" fmla="*/ 122 h 419"/>
                <a:gd name="T28" fmla="*/ 198 w 448"/>
                <a:gd name="T29" fmla="*/ 118 h 419"/>
                <a:gd name="T30" fmla="*/ 215 w 448"/>
                <a:gd name="T31" fmla="*/ 142 h 419"/>
                <a:gd name="T32" fmla="*/ 234 w 448"/>
                <a:gd name="T33" fmla="*/ 146 h 419"/>
                <a:gd name="T34" fmla="*/ 246 w 448"/>
                <a:gd name="T35" fmla="*/ 149 h 419"/>
                <a:gd name="T36" fmla="*/ 265 w 448"/>
                <a:gd name="T37" fmla="*/ 161 h 419"/>
                <a:gd name="T38" fmla="*/ 278 w 448"/>
                <a:gd name="T39" fmla="*/ 177 h 419"/>
                <a:gd name="T40" fmla="*/ 286 w 448"/>
                <a:gd name="T41" fmla="*/ 167 h 419"/>
                <a:gd name="T42" fmla="*/ 311 w 448"/>
                <a:gd name="T43" fmla="*/ 170 h 419"/>
                <a:gd name="T44" fmla="*/ 341 w 448"/>
                <a:gd name="T45" fmla="*/ 183 h 419"/>
                <a:gd name="T46" fmla="*/ 348 w 448"/>
                <a:gd name="T47" fmla="*/ 175 h 419"/>
                <a:gd name="T48" fmla="*/ 356 w 448"/>
                <a:gd name="T49" fmla="*/ 183 h 419"/>
                <a:gd name="T50" fmla="*/ 363 w 448"/>
                <a:gd name="T51" fmla="*/ 200 h 419"/>
                <a:gd name="T52" fmla="*/ 359 w 448"/>
                <a:gd name="T53" fmla="*/ 220 h 419"/>
                <a:gd name="T54" fmla="*/ 377 w 448"/>
                <a:gd name="T55" fmla="*/ 264 h 419"/>
                <a:gd name="T56" fmla="*/ 397 w 448"/>
                <a:gd name="T57" fmla="*/ 273 h 419"/>
                <a:gd name="T58" fmla="*/ 418 w 448"/>
                <a:gd name="T59" fmla="*/ 282 h 419"/>
                <a:gd name="T60" fmla="*/ 432 w 448"/>
                <a:gd name="T61" fmla="*/ 292 h 419"/>
                <a:gd name="T62" fmla="*/ 446 w 448"/>
                <a:gd name="T63" fmla="*/ 338 h 419"/>
                <a:gd name="T64" fmla="*/ 443 w 448"/>
                <a:gd name="T65" fmla="*/ 357 h 419"/>
                <a:gd name="T66" fmla="*/ 415 w 448"/>
                <a:gd name="T67" fmla="*/ 369 h 419"/>
                <a:gd name="T68" fmla="*/ 378 w 448"/>
                <a:gd name="T69" fmla="*/ 368 h 419"/>
                <a:gd name="T70" fmla="*/ 361 w 448"/>
                <a:gd name="T71" fmla="*/ 367 h 419"/>
                <a:gd name="T72" fmla="*/ 355 w 448"/>
                <a:gd name="T73" fmla="*/ 384 h 419"/>
                <a:gd name="T74" fmla="*/ 332 w 448"/>
                <a:gd name="T75" fmla="*/ 415 h 419"/>
                <a:gd name="T76" fmla="*/ 315 w 448"/>
                <a:gd name="T77" fmla="*/ 419 h 419"/>
                <a:gd name="T78" fmla="*/ 303 w 448"/>
                <a:gd name="T79" fmla="*/ 403 h 419"/>
                <a:gd name="T80" fmla="*/ 282 w 448"/>
                <a:gd name="T81" fmla="*/ 380 h 419"/>
                <a:gd name="T82" fmla="*/ 261 w 448"/>
                <a:gd name="T83" fmla="*/ 378 h 419"/>
                <a:gd name="T84" fmla="*/ 233 w 448"/>
                <a:gd name="T85" fmla="*/ 368 h 419"/>
                <a:gd name="T86" fmla="*/ 193 w 448"/>
                <a:gd name="T87" fmla="*/ 372 h 419"/>
                <a:gd name="T88" fmla="*/ 177 w 448"/>
                <a:gd name="T89" fmla="*/ 359 h 419"/>
                <a:gd name="T90" fmla="*/ 162 w 448"/>
                <a:gd name="T91" fmla="*/ 351 h 419"/>
                <a:gd name="T92" fmla="*/ 150 w 448"/>
                <a:gd name="T93" fmla="*/ 353 h 419"/>
                <a:gd name="T94" fmla="*/ 148 w 448"/>
                <a:gd name="T95" fmla="*/ 342 h 419"/>
                <a:gd name="T96" fmla="*/ 122 w 448"/>
                <a:gd name="T97" fmla="*/ 313 h 419"/>
                <a:gd name="T98" fmla="*/ 110 w 448"/>
                <a:gd name="T99" fmla="*/ 300 h 419"/>
                <a:gd name="T100" fmla="*/ 96 w 448"/>
                <a:gd name="T101" fmla="*/ 296 h 419"/>
                <a:gd name="T102" fmla="*/ 96 w 448"/>
                <a:gd name="T103" fmla="*/ 272 h 419"/>
                <a:gd name="T104" fmla="*/ 88 w 448"/>
                <a:gd name="T105" fmla="*/ 259 h 419"/>
                <a:gd name="T106" fmla="*/ 61 w 448"/>
                <a:gd name="T107" fmla="*/ 263 h 419"/>
                <a:gd name="T108" fmla="*/ 42 w 448"/>
                <a:gd name="T109" fmla="*/ 248 h 419"/>
                <a:gd name="T110" fmla="*/ 32 w 448"/>
                <a:gd name="T111" fmla="*/ 229 h 419"/>
                <a:gd name="T112" fmla="*/ 24 w 448"/>
                <a:gd name="T113" fmla="*/ 211 h 419"/>
                <a:gd name="T114" fmla="*/ 22 w 448"/>
                <a:gd name="T115" fmla="*/ 228 h 419"/>
                <a:gd name="T116" fmla="*/ 12 w 448"/>
                <a:gd name="T117" fmla="*/ 232 h 419"/>
                <a:gd name="T118" fmla="*/ 2 w 448"/>
                <a:gd name="T119" fmla="*/ 244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8" h="419">
                  <a:moveTo>
                    <a:pt x="88" y="0"/>
                  </a:moveTo>
                  <a:lnTo>
                    <a:pt x="89" y="0"/>
                  </a:lnTo>
                  <a:lnTo>
                    <a:pt x="90" y="0"/>
                  </a:lnTo>
                  <a:lnTo>
                    <a:pt x="90" y="1"/>
                  </a:lnTo>
                  <a:lnTo>
                    <a:pt x="91" y="1"/>
                  </a:lnTo>
                  <a:lnTo>
                    <a:pt x="92" y="1"/>
                  </a:lnTo>
                  <a:lnTo>
                    <a:pt x="92" y="2"/>
                  </a:lnTo>
                  <a:lnTo>
                    <a:pt x="93" y="2"/>
                  </a:lnTo>
                  <a:lnTo>
                    <a:pt x="94" y="3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6" y="5"/>
                  </a:lnTo>
                  <a:lnTo>
                    <a:pt x="96" y="6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8" y="7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100" y="8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2"/>
                  </a:lnTo>
                  <a:lnTo>
                    <a:pt x="101" y="13"/>
                  </a:lnTo>
                  <a:lnTo>
                    <a:pt x="101" y="14"/>
                  </a:lnTo>
                  <a:lnTo>
                    <a:pt x="99" y="18"/>
                  </a:lnTo>
                  <a:lnTo>
                    <a:pt x="99" y="20"/>
                  </a:lnTo>
                  <a:lnTo>
                    <a:pt x="98" y="21"/>
                  </a:lnTo>
                  <a:lnTo>
                    <a:pt x="98" y="22"/>
                  </a:lnTo>
                  <a:lnTo>
                    <a:pt x="98" y="23"/>
                  </a:lnTo>
                  <a:lnTo>
                    <a:pt x="98" y="24"/>
                  </a:lnTo>
                  <a:lnTo>
                    <a:pt x="98" y="26"/>
                  </a:lnTo>
                  <a:lnTo>
                    <a:pt x="98" y="27"/>
                  </a:lnTo>
                  <a:lnTo>
                    <a:pt x="99" y="28"/>
                  </a:lnTo>
                  <a:lnTo>
                    <a:pt x="99" y="29"/>
                  </a:lnTo>
                  <a:lnTo>
                    <a:pt x="100" y="30"/>
                  </a:lnTo>
                  <a:lnTo>
                    <a:pt x="100" y="31"/>
                  </a:lnTo>
                  <a:lnTo>
                    <a:pt x="101" y="32"/>
                  </a:lnTo>
                  <a:lnTo>
                    <a:pt x="104" y="35"/>
                  </a:lnTo>
                  <a:lnTo>
                    <a:pt x="105" y="37"/>
                  </a:lnTo>
                  <a:lnTo>
                    <a:pt x="105" y="38"/>
                  </a:lnTo>
                  <a:lnTo>
                    <a:pt x="106" y="38"/>
                  </a:lnTo>
                  <a:lnTo>
                    <a:pt x="106" y="39"/>
                  </a:lnTo>
                  <a:lnTo>
                    <a:pt x="106" y="40"/>
                  </a:lnTo>
                  <a:lnTo>
                    <a:pt x="106" y="41"/>
                  </a:lnTo>
                  <a:lnTo>
                    <a:pt x="107" y="42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06" y="46"/>
                  </a:lnTo>
                  <a:lnTo>
                    <a:pt x="106" y="47"/>
                  </a:lnTo>
                  <a:lnTo>
                    <a:pt x="106" y="49"/>
                  </a:lnTo>
                  <a:lnTo>
                    <a:pt x="106" y="49"/>
                  </a:lnTo>
                  <a:lnTo>
                    <a:pt x="105" y="50"/>
                  </a:lnTo>
                  <a:lnTo>
                    <a:pt x="105" y="50"/>
                  </a:lnTo>
                  <a:lnTo>
                    <a:pt x="105" y="51"/>
                  </a:lnTo>
                  <a:lnTo>
                    <a:pt x="104" y="52"/>
                  </a:lnTo>
                  <a:lnTo>
                    <a:pt x="103" y="52"/>
                  </a:lnTo>
                  <a:lnTo>
                    <a:pt x="102" y="53"/>
                  </a:lnTo>
                  <a:lnTo>
                    <a:pt x="101" y="53"/>
                  </a:lnTo>
                  <a:lnTo>
                    <a:pt x="101" y="53"/>
                  </a:lnTo>
                  <a:lnTo>
                    <a:pt x="98" y="54"/>
                  </a:lnTo>
                  <a:lnTo>
                    <a:pt x="97" y="54"/>
                  </a:lnTo>
                  <a:lnTo>
                    <a:pt x="96" y="55"/>
                  </a:lnTo>
                  <a:lnTo>
                    <a:pt x="96" y="55"/>
                  </a:lnTo>
                  <a:lnTo>
                    <a:pt x="95" y="56"/>
                  </a:lnTo>
                  <a:lnTo>
                    <a:pt x="94" y="57"/>
                  </a:lnTo>
                  <a:lnTo>
                    <a:pt x="94" y="57"/>
                  </a:lnTo>
                  <a:lnTo>
                    <a:pt x="92" y="59"/>
                  </a:lnTo>
                  <a:lnTo>
                    <a:pt x="92" y="60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90" y="62"/>
                  </a:lnTo>
                  <a:lnTo>
                    <a:pt x="90" y="62"/>
                  </a:lnTo>
                  <a:lnTo>
                    <a:pt x="89" y="63"/>
                  </a:lnTo>
                  <a:lnTo>
                    <a:pt x="88" y="63"/>
                  </a:lnTo>
                  <a:lnTo>
                    <a:pt x="87" y="63"/>
                  </a:lnTo>
                  <a:lnTo>
                    <a:pt x="85" y="64"/>
                  </a:lnTo>
                  <a:lnTo>
                    <a:pt x="80" y="66"/>
                  </a:lnTo>
                  <a:lnTo>
                    <a:pt x="74" y="68"/>
                  </a:lnTo>
                  <a:lnTo>
                    <a:pt x="71" y="69"/>
                  </a:lnTo>
                  <a:lnTo>
                    <a:pt x="66" y="70"/>
                  </a:lnTo>
                  <a:lnTo>
                    <a:pt x="65" y="71"/>
                  </a:lnTo>
                  <a:lnTo>
                    <a:pt x="64" y="71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2" y="73"/>
                  </a:lnTo>
                  <a:lnTo>
                    <a:pt x="62" y="74"/>
                  </a:lnTo>
                  <a:lnTo>
                    <a:pt x="62" y="74"/>
                  </a:lnTo>
                  <a:lnTo>
                    <a:pt x="62" y="75"/>
                  </a:lnTo>
                  <a:lnTo>
                    <a:pt x="61" y="76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8"/>
                  </a:lnTo>
                  <a:lnTo>
                    <a:pt x="62" y="79"/>
                  </a:lnTo>
                  <a:lnTo>
                    <a:pt x="63" y="80"/>
                  </a:lnTo>
                  <a:lnTo>
                    <a:pt x="63" y="81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5" y="83"/>
                  </a:lnTo>
                  <a:lnTo>
                    <a:pt x="66" y="84"/>
                  </a:lnTo>
                  <a:lnTo>
                    <a:pt x="67" y="85"/>
                  </a:lnTo>
                  <a:lnTo>
                    <a:pt x="71" y="88"/>
                  </a:lnTo>
                  <a:lnTo>
                    <a:pt x="72" y="89"/>
                  </a:lnTo>
                  <a:lnTo>
                    <a:pt x="73" y="91"/>
                  </a:lnTo>
                  <a:lnTo>
                    <a:pt x="75" y="93"/>
                  </a:lnTo>
                  <a:lnTo>
                    <a:pt x="76" y="94"/>
                  </a:lnTo>
                  <a:lnTo>
                    <a:pt x="77" y="95"/>
                  </a:lnTo>
                  <a:lnTo>
                    <a:pt x="78" y="96"/>
                  </a:lnTo>
                  <a:lnTo>
                    <a:pt x="79" y="97"/>
                  </a:lnTo>
                  <a:lnTo>
                    <a:pt x="81" y="97"/>
                  </a:lnTo>
                  <a:lnTo>
                    <a:pt x="82" y="98"/>
                  </a:lnTo>
                  <a:lnTo>
                    <a:pt x="83" y="98"/>
                  </a:lnTo>
                  <a:lnTo>
                    <a:pt x="84" y="98"/>
                  </a:lnTo>
                  <a:lnTo>
                    <a:pt x="84" y="98"/>
                  </a:lnTo>
                  <a:lnTo>
                    <a:pt x="85" y="97"/>
                  </a:lnTo>
                  <a:lnTo>
                    <a:pt x="87" y="97"/>
                  </a:lnTo>
                  <a:lnTo>
                    <a:pt x="88" y="97"/>
                  </a:lnTo>
                  <a:lnTo>
                    <a:pt x="89" y="97"/>
                  </a:lnTo>
                  <a:lnTo>
                    <a:pt x="90" y="97"/>
                  </a:lnTo>
                  <a:lnTo>
                    <a:pt x="91" y="97"/>
                  </a:lnTo>
                  <a:lnTo>
                    <a:pt x="91" y="97"/>
                  </a:lnTo>
                  <a:lnTo>
                    <a:pt x="92" y="97"/>
                  </a:lnTo>
                  <a:lnTo>
                    <a:pt x="93" y="97"/>
                  </a:lnTo>
                  <a:lnTo>
                    <a:pt x="93" y="98"/>
                  </a:lnTo>
                  <a:lnTo>
                    <a:pt x="95" y="98"/>
                  </a:lnTo>
                  <a:lnTo>
                    <a:pt x="95" y="99"/>
                  </a:lnTo>
                  <a:lnTo>
                    <a:pt x="96" y="99"/>
                  </a:lnTo>
                  <a:lnTo>
                    <a:pt x="97" y="100"/>
                  </a:lnTo>
                  <a:lnTo>
                    <a:pt x="98" y="101"/>
                  </a:lnTo>
                  <a:lnTo>
                    <a:pt x="99" y="102"/>
                  </a:lnTo>
                  <a:lnTo>
                    <a:pt x="100" y="103"/>
                  </a:lnTo>
                  <a:lnTo>
                    <a:pt x="102" y="106"/>
                  </a:lnTo>
                  <a:lnTo>
                    <a:pt x="103" y="108"/>
                  </a:lnTo>
                  <a:lnTo>
                    <a:pt x="106" y="112"/>
                  </a:lnTo>
                  <a:lnTo>
                    <a:pt x="107" y="113"/>
                  </a:lnTo>
                  <a:lnTo>
                    <a:pt x="108" y="115"/>
                  </a:lnTo>
                  <a:lnTo>
                    <a:pt x="109" y="116"/>
                  </a:lnTo>
                  <a:lnTo>
                    <a:pt x="109" y="117"/>
                  </a:lnTo>
                  <a:lnTo>
                    <a:pt x="110" y="119"/>
                  </a:lnTo>
                  <a:lnTo>
                    <a:pt x="110" y="120"/>
                  </a:lnTo>
                  <a:lnTo>
                    <a:pt x="112" y="124"/>
                  </a:lnTo>
                  <a:lnTo>
                    <a:pt x="113" y="126"/>
                  </a:lnTo>
                  <a:lnTo>
                    <a:pt x="113" y="127"/>
                  </a:lnTo>
                  <a:lnTo>
                    <a:pt x="114" y="131"/>
                  </a:lnTo>
                  <a:lnTo>
                    <a:pt x="116" y="134"/>
                  </a:lnTo>
                  <a:lnTo>
                    <a:pt x="116" y="135"/>
                  </a:lnTo>
                  <a:lnTo>
                    <a:pt x="117" y="136"/>
                  </a:lnTo>
                  <a:lnTo>
                    <a:pt x="117" y="137"/>
                  </a:lnTo>
                  <a:lnTo>
                    <a:pt x="118" y="137"/>
                  </a:lnTo>
                  <a:lnTo>
                    <a:pt x="119" y="138"/>
                  </a:lnTo>
                  <a:lnTo>
                    <a:pt x="120" y="138"/>
                  </a:lnTo>
                  <a:lnTo>
                    <a:pt x="122" y="140"/>
                  </a:lnTo>
                  <a:lnTo>
                    <a:pt x="124" y="141"/>
                  </a:lnTo>
                  <a:lnTo>
                    <a:pt x="127" y="142"/>
                  </a:lnTo>
                  <a:lnTo>
                    <a:pt x="128" y="142"/>
                  </a:lnTo>
                  <a:lnTo>
                    <a:pt x="129" y="143"/>
                  </a:lnTo>
                  <a:lnTo>
                    <a:pt x="130" y="144"/>
                  </a:lnTo>
                  <a:lnTo>
                    <a:pt x="130" y="145"/>
                  </a:lnTo>
                  <a:lnTo>
                    <a:pt x="131" y="146"/>
                  </a:lnTo>
                  <a:lnTo>
                    <a:pt x="132" y="147"/>
                  </a:lnTo>
                  <a:lnTo>
                    <a:pt x="133" y="148"/>
                  </a:lnTo>
                  <a:lnTo>
                    <a:pt x="133" y="149"/>
                  </a:lnTo>
                  <a:lnTo>
                    <a:pt x="134" y="150"/>
                  </a:lnTo>
                  <a:lnTo>
                    <a:pt x="134" y="151"/>
                  </a:lnTo>
                  <a:lnTo>
                    <a:pt x="136" y="152"/>
                  </a:lnTo>
                  <a:lnTo>
                    <a:pt x="137" y="153"/>
                  </a:lnTo>
                  <a:lnTo>
                    <a:pt x="139" y="154"/>
                  </a:lnTo>
                  <a:lnTo>
                    <a:pt x="140" y="155"/>
                  </a:lnTo>
                  <a:lnTo>
                    <a:pt x="141" y="156"/>
                  </a:lnTo>
                  <a:lnTo>
                    <a:pt x="143" y="156"/>
                  </a:lnTo>
                  <a:lnTo>
                    <a:pt x="144" y="157"/>
                  </a:lnTo>
                  <a:lnTo>
                    <a:pt x="145" y="157"/>
                  </a:lnTo>
                  <a:lnTo>
                    <a:pt x="145" y="157"/>
                  </a:lnTo>
                  <a:lnTo>
                    <a:pt x="146" y="157"/>
                  </a:lnTo>
                  <a:lnTo>
                    <a:pt x="147" y="157"/>
                  </a:lnTo>
                  <a:lnTo>
                    <a:pt x="148" y="157"/>
                  </a:lnTo>
                  <a:lnTo>
                    <a:pt x="152" y="156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5"/>
                  </a:lnTo>
                  <a:lnTo>
                    <a:pt x="157" y="155"/>
                  </a:lnTo>
                  <a:lnTo>
                    <a:pt x="159" y="154"/>
                  </a:lnTo>
                  <a:lnTo>
                    <a:pt x="160" y="153"/>
                  </a:lnTo>
                  <a:lnTo>
                    <a:pt x="161" y="153"/>
                  </a:lnTo>
                  <a:lnTo>
                    <a:pt x="162" y="152"/>
                  </a:lnTo>
                  <a:lnTo>
                    <a:pt x="167" y="147"/>
                  </a:lnTo>
                  <a:lnTo>
                    <a:pt x="168" y="146"/>
                  </a:lnTo>
                  <a:lnTo>
                    <a:pt x="169" y="145"/>
                  </a:lnTo>
                  <a:lnTo>
                    <a:pt x="170" y="145"/>
                  </a:lnTo>
                  <a:lnTo>
                    <a:pt x="171" y="144"/>
                  </a:lnTo>
                  <a:lnTo>
                    <a:pt x="173" y="143"/>
                  </a:lnTo>
                  <a:lnTo>
                    <a:pt x="174" y="142"/>
                  </a:lnTo>
                  <a:lnTo>
                    <a:pt x="177" y="141"/>
                  </a:lnTo>
                  <a:lnTo>
                    <a:pt x="179" y="140"/>
                  </a:lnTo>
                  <a:lnTo>
                    <a:pt x="180" y="140"/>
                  </a:lnTo>
                  <a:lnTo>
                    <a:pt x="181" y="139"/>
                  </a:lnTo>
                  <a:lnTo>
                    <a:pt x="183" y="139"/>
                  </a:lnTo>
                  <a:lnTo>
                    <a:pt x="184" y="139"/>
                  </a:lnTo>
                  <a:lnTo>
                    <a:pt x="184" y="139"/>
                  </a:lnTo>
                  <a:lnTo>
                    <a:pt x="189" y="139"/>
                  </a:lnTo>
                  <a:lnTo>
                    <a:pt x="191" y="139"/>
                  </a:lnTo>
                  <a:lnTo>
                    <a:pt x="192" y="139"/>
                  </a:lnTo>
                  <a:lnTo>
                    <a:pt x="193" y="139"/>
                  </a:lnTo>
                  <a:lnTo>
                    <a:pt x="194" y="139"/>
                  </a:lnTo>
                  <a:lnTo>
                    <a:pt x="194" y="139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7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5" y="134"/>
                  </a:lnTo>
                  <a:lnTo>
                    <a:pt x="195" y="133"/>
                  </a:lnTo>
                  <a:lnTo>
                    <a:pt x="195" y="132"/>
                  </a:lnTo>
                  <a:lnTo>
                    <a:pt x="195" y="132"/>
                  </a:lnTo>
                  <a:lnTo>
                    <a:pt x="194" y="131"/>
                  </a:lnTo>
                  <a:lnTo>
                    <a:pt x="194" y="130"/>
                  </a:lnTo>
                  <a:lnTo>
                    <a:pt x="193" y="130"/>
                  </a:lnTo>
                  <a:lnTo>
                    <a:pt x="193" y="129"/>
                  </a:lnTo>
                  <a:lnTo>
                    <a:pt x="192" y="129"/>
                  </a:lnTo>
                  <a:lnTo>
                    <a:pt x="191" y="129"/>
                  </a:lnTo>
                  <a:lnTo>
                    <a:pt x="190" y="128"/>
                  </a:lnTo>
                  <a:lnTo>
                    <a:pt x="188" y="128"/>
                  </a:lnTo>
                  <a:lnTo>
                    <a:pt x="188" y="128"/>
                  </a:lnTo>
                  <a:lnTo>
                    <a:pt x="187" y="128"/>
                  </a:lnTo>
                  <a:lnTo>
                    <a:pt x="187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6"/>
                  </a:lnTo>
                  <a:lnTo>
                    <a:pt x="185" y="126"/>
                  </a:lnTo>
                  <a:lnTo>
                    <a:pt x="185" y="125"/>
                  </a:lnTo>
                  <a:lnTo>
                    <a:pt x="185" y="124"/>
                  </a:lnTo>
                  <a:lnTo>
                    <a:pt x="185" y="124"/>
                  </a:lnTo>
                  <a:lnTo>
                    <a:pt x="185" y="123"/>
                  </a:lnTo>
                  <a:lnTo>
                    <a:pt x="185" y="122"/>
                  </a:lnTo>
                  <a:lnTo>
                    <a:pt x="185" y="121"/>
                  </a:lnTo>
                  <a:lnTo>
                    <a:pt x="186" y="121"/>
                  </a:lnTo>
                  <a:lnTo>
                    <a:pt x="186" y="120"/>
                  </a:lnTo>
                  <a:lnTo>
                    <a:pt x="187" y="119"/>
                  </a:lnTo>
                  <a:lnTo>
                    <a:pt x="187" y="118"/>
                  </a:lnTo>
                  <a:lnTo>
                    <a:pt x="188" y="118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90" y="117"/>
                  </a:lnTo>
                  <a:lnTo>
                    <a:pt x="191" y="116"/>
                  </a:lnTo>
                  <a:lnTo>
                    <a:pt x="192" y="116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4" y="116"/>
                  </a:lnTo>
                  <a:lnTo>
                    <a:pt x="195" y="117"/>
                  </a:lnTo>
                  <a:lnTo>
                    <a:pt x="197" y="117"/>
                  </a:lnTo>
                  <a:lnTo>
                    <a:pt x="198" y="118"/>
                  </a:lnTo>
                  <a:lnTo>
                    <a:pt x="199" y="118"/>
                  </a:lnTo>
                  <a:lnTo>
                    <a:pt x="200" y="119"/>
                  </a:lnTo>
                  <a:lnTo>
                    <a:pt x="201" y="120"/>
                  </a:lnTo>
                  <a:lnTo>
                    <a:pt x="204" y="122"/>
                  </a:lnTo>
                  <a:lnTo>
                    <a:pt x="205" y="123"/>
                  </a:lnTo>
                  <a:lnTo>
                    <a:pt x="206" y="124"/>
                  </a:lnTo>
                  <a:lnTo>
                    <a:pt x="207" y="125"/>
                  </a:lnTo>
                  <a:lnTo>
                    <a:pt x="208" y="126"/>
                  </a:lnTo>
                  <a:lnTo>
                    <a:pt x="210" y="132"/>
                  </a:lnTo>
                  <a:lnTo>
                    <a:pt x="211" y="133"/>
                  </a:lnTo>
                  <a:lnTo>
                    <a:pt x="211" y="134"/>
                  </a:lnTo>
                  <a:lnTo>
                    <a:pt x="212" y="137"/>
                  </a:lnTo>
                  <a:lnTo>
                    <a:pt x="213" y="138"/>
                  </a:lnTo>
                  <a:lnTo>
                    <a:pt x="213" y="139"/>
                  </a:lnTo>
                  <a:lnTo>
                    <a:pt x="214" y="140"/>
                  </a:lnTo>
                  <a:lnTo>
                    <a:pt x="214" y="142"/>
                  </a:lnTo>
                  <a:lnTo>
                    <a:pt x="215" y="142"/>
                  </a:lnTo>
                  <a:lnTo>
                    <a:pt x="216" y="143"/>
                  </a:lnTo>
                  <a:lnTo>
                    <a:pt x="217" y="143"/>
                  </a:lnTo>
                  <a:lnTo>
                    <a:pt x="217" y="144"/>
                  </a:lnTo>
                  <a:lnTo>
                    <a:pt x="218" y="144"/>
                  </a:lnTo>
                  <a:lnTo>
                    <a:pt x="219" y="145"/>
                  </a:lnTo>
                  <a:lnTo>
                    <a:pt x="219" y="145"/>
                  </a:lnTo>
                  <a:lnTo>
                    <a:pt x="222" y="146"/>
                  </a:lnTo>
                  <a:lnTo>
                    <a:pt x="227" y="148"/>
                  </a:lnTo>
                  <a:lnTo>
                    <a:pt x="228" y="148"/>
                  </a:lnTo>
                  <a:lnTo>
                    <a:pt x="229" y="148"/>
                  </a:lnTo>
                  <a:lnTo>
                    <a:pt x="229" y="148"/>
                  </a:lnTo>
                  <a:lnTo>
                    <a:pt x="230" y="148"/>
                  </a:lnTo>
                  <a:lnTo>
                    <a:pt x="231" y="148"/>
                  </a:lnTo>
                  <a:lnTo>
                    <a:pt x="231" y="147"/>
                  </a:lnTo>
                  <a:lnTo>
                    <a:pt x="232" y="147"/>
                  </a:lnTo>
                  <a:lnTo>
                    <a:pt x="232" y="147"/>
                  </a:lnTo>
                  <a:lnTo>
                    <a:pt x="234" y="146"/>
                  </a:lnTo>
                  <a:lnTo>
                    <a:pt x="235" y="145"/>
                  </a:lnTo>
                  <a:lnTo>
                    <a:pt x="236" y="145"/>
                  </a:lnTo>
                  <a:lnTo>
                    <a:pt x="236" y="145"/>
                  </a:lnTo>
                  <a:lnTo>
                    <a:pt x="237" y="144"/>
                  </a:lnTo>
                  <a:lnTo>
                    <a:pt x="237" y="144"/>
                  </a:lnTo>
                  <a:lnTo>
                    <a:pt x="238" y="144"/>
                  </a:lnTo>
                  <a:lnTo>
                    <a:pt x="239" y="144"/>
                  </a:lnTo>
                  <a:lnTo>
                    <a:pt x="240" y="144"/>
                  </a:lnTo>
                  <a:lnTo>
                    <a:pt x="241" y="145"/>
                  </a:lnTo>
                  <a:lnTo>
                    <a:pt x="242" y="145"/>
                  </a:lnTo>
                  <a:lnTo>
                    <a:pt x="242" y="145"/>
                  </a:lnTo>
                  <a:lnTo>
                    <a:pt x="243" y="146"/>
                  </a:lnTo>
                  <a:lnTo>
                    <a:pt x="243" y="146"/>
                  </a:lnTo>
                  <a:lnTo>
                    <a:pt x="244" y="146"/>
                  </a:lnTo>
                  <a:lnTo>
                    <a:pt x="245" y="147"/>
                  </a:lnTo>
                  <a:lnTo>
                    <a:pt x="245" y="148"/>
                  </a:lnTo>
                  <a:lnTo>
                    <a:pt x="246" y="149"/>
                  </a:lnTo>
                  <a:lnTo>
                    <a:pt x="247" y="151"/>
                  </a:lnTo>
                  <a:lnTo>
                    <a:pt x="248" y="152"/>
                  </a:lnTo>
                  <a:lnTo>
                    <a:pt x="249" y="153"/>
                  </a:lnTo>
                  <a:lnTo>
                    <a:pt x="250" y="153"/>
                  </a:lnTo>
                  <a:lnTo>
                    <a:pt x="250" y="154"/>
                  </a:lnTo>
                  <a:lnTo>
                    <a:pt x="251" y="154"/>
                  </a:lnTo>
                  <a:lnTo>
                    <a:pt x="252" y="155"/>
                  </a:lnTo>
                  <a:lnTo>
                    <a:pt x="253" y="155"/>
                  </a:lnTo>
                  <a:lnTo>
                    <a:pt x="258" y="157"/>
                  </a:lnTo>
                  <a:lnTo>
                    <a:pt x="259" y="157"/>
                  </a:lnTo>
                  <a:lnTo>
                    <a:pt x="260" y="157"/>
                  </a:lnTo>
                  <a:lnTo>
                    <a:pt x="261" y="158"/>
                  </a:lnTo>
                  <a:lnTo>
                    <a:pt x="262" y="159"/>
                  </a:lnTo>
                  <a:lnTo>
                    <a:pt x="263" y="159"/>
                  </a:lnTo>
                  <a:lnTo>
                    <a:pt x="264" y="160"/>
                  </a:lnTo>
                  <a:lnTo>
                    <a:pt x="264" y="160"/>
                  </a:lnTo>
                  <a:lnTo>
                    <a:pt x="265" y="161"/>
                  </a:lnTo>
                  <a:lnTo>
                    <a:pt x="266" y="162"/>
                  </a:lnTo>
                  <a:lnTo>
                    <a:pt x="266" y="163"/>
                  </a:lnTo>
                  <a:lnTo>
                    <a:pt x="267" y="164"/>
                  </a:lnTo>
                  <a:lnTo>
                    <a:pt x="268" y="168"/>
                  </a:lnTo>
                  <a:lnTo>
                    <a:pt x="269" y="169"/>
                  </a:lnTo>
                  <a:lnTo>
                    <a:pt x="269" y="170"/>
                  </a:lnTo>
                  <a:lnTo>
                    <a:pt x="270" y="171"/>
                  </a:lnTo>
                  <a:lnTo>
                    <a:pt x="271" y="172"/>
                  </a:lnTo>
                  <a:lnTo>
                    <a:pt x="271" y="173"/>
                  </a:lnTo>
                  <a:lnTo>
                    <a:pt x="272" y="173"/>
                  </a:lnTo>
                  <a:lnTo>
                    <a:pt x="273" y="174"/>
                  </a:lnTo>
                  <a:lnTo>
                    <a:pt x="274" y="175"/>
                  </a:lnTo>
                  <a:lnTo>
                    <a:pt x="275" y="176"/>
                  </a:lnTo>
                  <a:lnTo>
                    <a:pt x="275" y="176"/>
                  </a:lnTo>
                  <a:lnTo>
                    <a:pt x="276" y="176"/>
                  </a:lnTo>
                  <a:lnTo>
                    <a:pt x="277" y="177"/>
                  </a:lnTo>
                  <a:lnTo>
                    <a:pt x="278" y="177"/>
                  </a:lnTo>
                  <a:lnTo>
                    <a:pt x="279" y="177"/>
                  </a:lnTo>
                  <a:lnTo>
                    <a:pt x="280" y="177"/>
                  </a:lnTo>
                  <a:lnTo>
                    <a:pt x="280" y="177"/>
                  </a:lnTo>
                  <a:lnTo>
                    <a:pt x="281" y="177"/>
                  </a:lnTo>
                  <a:lnTo>
                    <a:pt x="282" y="176"/>
                  </a:lnTo>
                  <a:lnTo>
                    <a:pt x="283" y="175"/>
                  </a:lnTo>
                  <a:lnTo>
                    <a:pt x="285" y="174"/>
                  </a:lnTo>
                  <a:lnTo>
                    <a:pt x="285" y="174"/>
                  </a:lnTo>
                  <a:lnTo>
                    <a:pt x="286" y="173"/>
                  </a:lnTo>
                  <a:lnTo>
                    <a:pt x="286" y="172"/>
                  </a:lnTo>
                  <a:lnTo>
                    <a:pt x="286" y="172"/>
                  </a:lnTo>
                  <a:lnTo>
                    <a:pt x="286" y="171"/>
                  </a:lnTo>
                  <a:lnTo>
                    <a:pt x="286" y="170"/>
                  </a:lnTo>
                  <a:lnTo>
                    <a:pt x="286" y="169"/>
                  </a:lnTo>
                  <a:lnTo>
                    <a:pt x="286" y="168"/>
                  </a:lnTo>
                  <a:lnTo>
                    <a:pt x="286" y="168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7" y="167"/>
                  </a:lnTo>
                  <a:lnTo>
                    <a:pt x="288" y="167"/>
                  </a:lnTo>
                  <a:lnTo>
                    <a:pt x="289" y="167"/>
                  </a:lnTo>
                  <a:lnTo>
                    <a:pt x="290" y="167"/>
                  </a:lnTo>
                  <a:lnTo>
                    <a:pt x="294" y="168"/>
                  </a:lnTo>
                  <a:lnTo>
                    <a:pt x="296" y="169"/>
                  </a:lnTo>
                  <a:lnTo>
                    <a:pt x="297" y="169"/>
                  </a:lnTo>
                  <a:lnTo>
                    <a:pt x="299" y="169"/>
                  </a:lnTo>
                  <a:lnTo>
                    <a:pt x="301" y="169"/>
                  </a:lnTo>
                  <a:lnTo>
                    <a:pt x="306" y="169"/>
                  </a:lnTo>
                  <a:lnTo>
                    <a:pt x="307" y="169"/>
                  </a:lnTo>
                  <a:lnTo>
                    <a:pt x="309" y="170"/>
                  </a:lnTo>
                  <a:lnTo>
                    <a:pt x="310" y="170"/>
                  </a:lnTo>
                  <a:lnTo>
                    <a:pt x="311" y="170"/>
                  </a:lnTo>
                  <a:lnTo>
                    <a:pt x="311" y="170"/>
                  </a:lnTo>
                  <a:lnTo>
                    <a:pt x="312" y="171"/>
                  </a:lnTo>
                  <a:lnTo>
                    <a:pt x="317" y="173"/>
                  </a:lnTo>
                  <a:lnTo>
                    <a:pt x="320" y="175"/>
                  </a:lnTo>
                  <a:lnTo>
                    <a:pt x="322" y="176"/>
                  </a:lnTo>
                  <a:lnTo>
                    <a:pt x="323" y="176"/>
                  </a:lnTo>
                  <a:lnTo>
                    <a:pt x="329" y="181"/>
                  </a:lnTo>
                  <a:lnTo>
                    <a:pt x="330" y="181"/>
                  </a:lnTo>
                  <a:lnTo>
                    <a:pt x="330" y="181"/>
                  </a:lnTo>
                  <a:lnTo>
                    <a:pt x="332" y="182"/>
                  </a:lnTo>
                  <a:lnTo>
                    <a:pt x="333" y="183"/>
                  </a:lnTo>
                  <a:lnTo>
                    <a:pt x="335" y="183"/>
                  </a:lnTo>
                  <a:lnTo>
                    <a:pt x="336" y="183"/>
                  </a:lnTo>
                  <a:lnTo>
                    <a:pt x="338" y="183"/>
                  </a:lnTo>
                  <a:lnTo>
                    <a:pt x="339" y="184"/>
                  </a:lnTo>
                  <a:lnTo>
                    <a:pt x="340" y="184"/>
                  </a:lnTo>
                  <a:lnTo>
                    <a:pt x="341" y="183"/>
                  </a:lnTo>
                  <a:lnTo>
                    <a:pt x="342" y="183"/>
                  </a:lnTo>
                  <a:lnTo>
                    <a:pt x="342" y="183"/>
                  </a:lnTo>
                  <a:lnTo>
                    <a:pt x="343" y="183"/>
                  </a:lnTo>
                  <a:lnTo>
                    <a:pt x="343" y="182"/>
                  </a:lnTo>
                  <a:lnTo>
                    <a:pt x="344" y="182"/>
                  </a:lnTo>
                  <a:lnTo>
                    <a:pt x="344" y="181"/>
                  </a:lnTo>
                  <a:lnTo>
                    <a:pt x="345" y="181"/>
                  </a:lnTo>
                  <a:lnTo>
                    <a:pt x="345" y="181"/>
                  </a:lnTo>
                  <a:lnTo>
                    <a:pt x="345" y="180"/>
                  </a:lnTo>
                  <a:lnTo>
                    <a:pt x="346" y="179"/>
                  </a:lnTo>
                  <a:lnTo>
                    <a:pt x="346" y="177"/>
                  </a:lnTo>
                  <a:lnTo>
                    <a:pt x="347" y="176"/>
                  </a:lnTo>
                  <a:lnTo>
                    <a:pt x="347" y="176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9" y="174"/>
                  </a:lnTo>
                  <a:lnTo>
                    <a:pt x="349" y="174"/>
                  </a:lnTo>
                  <a:lnTo>
                    <a:pt x="350" y="174"/>
                  </a:lnTo>
                  <a:lnTo>
                    <a:pt x="351" y="175"/>
                  </a:lnTo>
                  <a:lnTo>
                    <a:pt x="352" y="175"/>
                  </a:lnTo>
                  <a:lnTo>
                    <a:pt x="352" y="175"/>
                  </a:lnTo>
                  <a:lnTo>
                    <a:pt x="353" y="175"/>
                  </a:lnTo>
                  <a:lnTo>
                    <a:pt x="353" y="176"/>
                  </a:lnTo>
                  <a:lnTo>
                    <a:pt x="354" y="176"/>
                  </a:lnTo>
                  <a:lnTo>
                    <a:pt x="354" y="176"/>
                  </a:lnTo>
                  <a:lnTo>
                    <a:pt x="355" y="177"/>
                  </a:lnTo>
                  <a:lnTo>
                    <a:pt x="355" y="178"/>
                  </a:lnTo>
                  <a:lnTo>
                    <a:pt x="355" y="178"/>
                  </a:lnTo>
                  <a:lnTo>
                    <a:pt x="356" y="179"/>
                  </a:lnTo>
                  <a:lnTo>
                    <a:pt x="356" y="181"/>
                  </a:lnTo>
                  <a:lnTo>
                    <a:pt x="356" y="182"/>
                  </a:lnTo>
                  <a:lnTo>
                    <a:pt x="356" y="183"/>
                  </a:lnTo>
                  <a:lnTo>
                    <a:pt x="356" y="187"/>
                  </a:lnTo>
                  <a:lnTo>
                    <a:pt x="356" y="189"/>
                  </a:lnTo>
                  <a:lnTo>
                    <a:pt x="356" y="191"/>
                  </a:lnTo>
                  <a:lnTo>
                    <a:pt x="356" y="191"/>
                  </a:lnTo>
                  <a:lnTo>
                    <a:pt x="356" y="192"/>
                  </a:lnTo>
                  <a:lnTo>
                    <a:pt x="356" y="192"/>
                  </a:lnTo>
                  <a:lnTo>
                    <a:pt x="357" y="193"/>
                  </a:lnTo>
                  <a:lnTo>
                    <a:pt x="357" y="194"/>
                  </a:lnTo>
                  <a:lnTo>
                    <a:pt x="357" y="195"/>
                  </a:lnTo>
                  <a:lnTo>
                    <a:pt x="358" y="195"/>
                  </a:lnTo>
                  <a:lnTo>
                    <a:pt x="358" y="196"/>
                  </a:lnTo>
                  <a:lnTo>
                    <a:pt x="359" y="196"/>
                  </a:lnTo>
                  <a:lnTo>
                    <a:pt x="359" y="197"/>
                  </a:lnTo>
                  <a:lnTo>
                    <a:pt x="360" y="198"/>
                  </a:lnTo>
                  <a:lnTo>
                    <a:pt x="361" y="199"/>
                  </a:lnTo>
                  <a:lnTo>
                    <a:pt x="362" y="200"/>
                  </a:lnTo>
                  <a:lnTo>
                    <a:pt x="363" y="200"/>
                  </a:lnTo>
                  <a:lnTo>
                    <a:pt x="363" y="201"/>
                  </a:lnTo>
                  <a:lnTo>
                    <a:pt x="363" y="201"/>
                  </a:lnTo>
                  <a:lnTo>
                    <a:pt x="363" y="201"/>
                  </a:lnTo>
                  <a:lnTo>
                    <a:pt x="363" y="202"/>
                  </a:lnTo>
                  <a:lnTo>
                    <a:pt x="363" y="202"/>
                  </a:lnTo>
                  <a:lnTo>
                    <a:pt x="363" y="203"/>
                  </a:lnTo>
                  <a:lnTo>
                    <a:pt x="363" y="204"/>
                  </a:lnTo>
                  <a:lnTo>
                    <a:pt x="361" y="206"/>
                  </a:lnTo>
                  <a:lnTo>
                    <a:pt x="360" y="209"/>
                  </a:lnTo>
                  <a:lnTo>
                    <a:pt x="359" y="212"/>
                  </a:lnTo>
                  <a:lnTo>
                    <a:pt x="359" y="213"/>
                  </a:lnTo>
                  <a:lnTo>
                    <a:pt x="359" y="214"/>
                  </a:lnTo>
                  <a:lnTo>
                    <a:pt x="358" y="215"/>
                  </a:lnTo>
                  <a:lnTo>
                    <a:pt x="358" y="216"/>
                  </a:lnTo>
                  <a:lnTo>
                    <a:pt x="358" y="217"/>
                  </a:lnTo>
                  <a:lnTo>
                    <a:pt x="359" y="219"/>
                  </a:lnTo>
                  <a:lnTo>
                    <a:pt x="359" y="220"/>
                  </a:lnTo>
                  <a:lnTo>
                    <a:pt x="360" y="223"/>
                  </a:lnTo>
                  <a:lnTo>
                    <a:pt x="361" y="224"/>
                  </a:lnTo>
                  <a:lnTo>
                    <a:pt x="361" y="225"/>
                  </a:lnTo>
                  <a:lnTo>
                    <a:pt x="362" y="227"/>
                  </a:lnTo>
                  <a:lnTo>
                    <a:pt x="363" y="230"/>
                  </a:lnTo>
                  <a:lnTo>
                    <a:pt x="365" y="233"/>
                  </a:lnTo>
                  <a:lnTo>
                    <a:pt x="366" y="237"/>
                  </a:lnTo>
                  <a:lnTo>
                    <a:pt x="369" y="243"/>
                  </a:lnTo>
                  <a:lnTo>
                    <a:pt x="372" y="249"/>
                  </a:lnTo>
                  <a:lnTo>
                    <a:pt x="373" y="253"/>
                  </a:lnTo>
                  <a:lnTo>
                    <a:pt x="374" y="254"/>
                  </a:lnTo>
                  <a:lnTo>
                    <a:pt x="374" y="255"/>
                  </a:lnTo>
                  <a:lnTo>
                    <a:pt x="375" y="256"/>
                  </a:lnTo>
                  <a:lnTo>
                    <a:pt x="376" y="261"/>
                  </a:lnTo>
                  <a:lnTo>
                    <a:pt x="376" y="262"/>
                  </a:lnTo>
                  <a:lnTo>
                    <a:pt x="377" y="263"/>
                  </a:lnTo>
                  <a:lnTo>
                    <a:pt x="377" y="264"/>
                  </a:lnTo>
                  <a:lnTo>
                    <a:pt x="377" y="265"/>
                  </a:lnTo>
                  <a:lnTo>
                    <a:pt x="378" y="265"/>
                  </a:lnTo>
                  <a:lnTo>
                    <a:pt x="378" y="266"/>
                  </a:lnTo>
                  <a:lnTo>
                    <a:pt x="379" y="267"/>
                  </a:lnTo>
                  <a:lnTo>
                    <a:pt x="380" y="267"/>
                  </a:lnTo>
                  <a:lnTo>
                    <a:pt x="381" y="268"/>
                  </a:lnTo>
                  <a:lnTo>
                    <a:pt x="381" y="269"/>
                  </a:lnTo>
                  <a:lnTo>
                    <a:pt x="382" y="269"/>
                  </a:lnTo>
                  <a:lnTo>
                    <a:pt x="383" y="269"/>
                  </a:lnTo>
                  <a:lnTo>
                    <a:pt x="384" y="270"/>
                  </a:lnTo>
                  <a:lnTo>
                    <a:pt x="385" y="270"/>
                  </a:lnTo>
                  <a:lnTo>
                    <a:pt x="389" y="272"/>
                  </a:lnTo>
                  <a:lnTo>
                    <a:pt x="391" y="272"/>
                  </a:lnTo>
                  <a:lnTo>
                    <a:pt x="395" y="273"/>
                  </a:lnTo>
                  <a:lnTo>
                    <a:pt x="396" y="273"/>
                  </a:lnTo>
                  <a:lnTo>
                    <a:pt x="397" y="273"/>
                  </a:lnTo>
                  <a:lnTo>
                    <a:pt x="397" y="273"/>
                  </a:lnTo>
                  <a:lnTo>
                    <a:pt x="399" y="274"/>
                  </a:lnTo>
                  <a:lnTo>
                    <a:pt x="400" y="274"/>
                  </a:lnTo>
                  <a:lnTo>
                    <a:pt x="401" y="275"/>
                  </a:lnTo>
                  <a:lnTo>
                    <a:pt x="402" y="277"/>
                  </a:lnTo>
                  <a:lnTo>
                    <a:pt x="404" y="279"/>
                  </a:lnTo>
                  <a:lnTo>
                    <a:pt x="405" y="279"/>
                  </a:lnTo>
                  <a:lnTo>
                    <a:pt x="406" y="280"/>
                  </a:lnTo>
                  <a:lnTo>
                    <a:pt x="406" y="280"/>
                  </a:lnTo>
                  <a:lnTo>
                    <a:pt x="408" y="281"/>
                  </a:lnTo>
                  <a:lnTo>
                    <a:pt x="409" y="282"/>
                  </a:lnTo>
                  <a:lnTo>
                    <a:pt x="411" y="282"/>
                  </a:lnTo>
                  <a:lnTo>
                    <a:pt x="411" y="282"/>
                  </a:lnTo>
                  <a:lnTo>
                    <a:pt x="413" y="282"/>
                  </a:lnTo>
                  <a:lnTo>
                    <a:pt x="413" y="282"/>
                  </a:lnTo>
                  <a:lnTo>
                    <a:pt x="414" y="282"/>
                  </a:lnTo>
                  <a:lnTo>
                    <a:pt x="415" y="282"/>
                  </a:lnTo>
                  <a:lnTo>
                    <a:pt x="418" y="282"/>
                  </a:lnTo>
                  <a:lnTo>
                    <a:pt x="420" y="282"/>
                  </a:lnTo>
                  <a:lnTo>
                    <a:pt x="421" y="282"/>
                  </a:lnTo>
                  <a:lnTo>
                    <a:pt x="422" y="282"/>
                  </a:lnTo>
                  <a:lnTo>
                    <a:pt x="423" y="282"/>
                  </a:lnTo>
                  <a:lnTo>
                    <a:pt x="424" y="282"/>
                  </a:lnTo>
                  <a:lnTo>
                    <a:pt x="425" y="282"/>
                  </a:lnTo>
                  <a:lnTo>
                    <a:pt x="426" y="283"/>
                  </a:lnTo>
                  <a:lnTo>
                    <a:pt x="427" y="283"/>
                  </a:lnTo>
                  <a:lnTo>
                    <a:pt x="428" y="284"/>
                  </a:lnTo>
                  <a:lnTo>
                    <a:pt x="428" y="284"/>
                  </a:lnTo>
                  <a:lnTo>
                    <a:pt x="429" y="285"/>
                  </a:lnTo>
                  <a:lnTo>
                    <a:pt x="430" y="285"/>
                  </a:lnTo>
                  <a:lnTo>
                    <a:pt x="430" y="286"/>
                  </a:lnTo>
                  <a:lnTo>
                    <a:pt x="430" y="287"/>
                  </a:lnTo>
                  <a:lnTo>
                    <a:pt x="431" y="288"/>
                  </a:lnTo>
                  <a:lnTo>
                    <a:pt x="431" y="290"/>
                  </a:lnTo>
                  <a:lnTo>
                    <a:pt x="432" y="292"/>
                  </a:lnTo>
                  <a:lnTo>
                    <a:pt x="433" y="296"/>
                  </a:lnTo>
                  <a:lnTo>
                    <a:pt x="434" y="301"/>
                  </a:lnTo>
                  <a:lnTo>
                    <a:pt x="436" y="310"/>
                  </a:lnTo>
                  <a:lnTo>
                    <a:pt x="438" y="315"/>
                  </a:lnTo>
                  <a:lnTo>
                    <a:pt x="438" y="317"/>
                  </a:lnTo>
                  <a:lnTo>
                    <a:pt x="439" y="318"/>
                  </a:lnTo>
                  <a:lnTo>
                    <a:pt x="439" y="319"/>
                  </a:lnTo>
                  <a:lnTo>
                    <a:pt x="440" y="321"/>
                  </a:lnTo>
                  <a:lnTo>
                    <a:pt x="441" y="322"/>
                  </a:lnTo>
                  <a:lnTo>
                    <a:pt x="441" y="324"/>
                  </a:lnTo>
                  <a:lnTo>
                    <a:pt x="442" y="328"/>
                  </a:lnTo>
                  <a:lnTo>
                    <a:pt x="442" y="329"/>
                  </a:lnTo>
                  <a:lnTo>
                    <a:pt x="442" y="331"/>
                  </a:lnTo>
                  <a:lnTo>
                    <a:pt x="443" y="333"/>
                  </a:lnTo>
                  <a:lnTo>
                    <a:pt x="444" y="335"/>
                  </a:lnTo>
                  <a:lnTo>
                    <a:pt x="445" y="336"/>
                  </a:lnTo>
                  <a:lnTo>
                    <a:pt x="446" y="338"/>
                  </a:lnTo>
                  <a:lnTo>
                    <a:pt x="447" y="340"/>
                  </a:lnTo>
                  <a:lnTo>
                    <a:pt x="448" y="341"/>
                  </a:lnTo>
                  <a:lnTo>
                    <a:pt x="448" y="343"/>
                  </a:lnTo>
                  <a:lnTo>
                    <a:pt x="448" y="344"/>
                  </a:lnTo>
                  <a:lnTo>
                    <a:pt x="448" y="345"/>
                  </a:lnTo>
                  <a:lnTo>
                    <a:pt x="448" y="346"/>
                  </a:lnTo>
                  <a:lnTo>
                    <a:pt x="448" y="346"/>
                  </a:lnTo>
                  <a:lnTo>
                    <a:pt x="447" y="348"/>
                  </a:lnTo>
                  <a:lnTo>
                    <a:pt x="447" y="350"/>
                  </a:lnTo>
                  <a:lnTo>
                    <a:pt x="446" y="352"/>
                  </a:lnTo>
                  <a:lnTo>
                    <a:pt x="445" y="355"/>
                  </a:lnTo>
                  <a:lnTo>
                    <a:pt x="445" y="355"/>
                  </a:lnTo>
                  <a:lnTo>
                    <a:pt x="445" y="356"/>
                  </a:lnTo>
                  <a:lnTo>
                    <a:pt x="445" y="356"/>
                  </a:lnTo>
                  <a:lnTo>
                    <a:pt x="444" y="356"/>
                  </a:lnTo>
                  <a:lnTo>
                    <a:pt x="443" y="357"/>
                  </a:lnTo>
                  <a:lnTo>
                    <a:pt x="443" y="357"/>
                  </a:lnTo>
                  <a:lnTo>
                    <a:pt x="442" y="357"/>
                  </a:lnTo>
                  <a:lnTo>
                    <a:pt x="439" y="358"/>
                  </a:lnTo>
                  <a:lnTo>
                    <a:pt x="437" y="359"/>
                  </a:lnTo>
                  <a:lnTo>
                    <a:pt x="436" y="359"/>
                  </a:lnTo>
                  <a:lnTo>
                    <a:pt x="435" y="360"/>
                  </a:lnTo>
                  <a:lnTo>
                    <a:pt x="431" y="362"/>
                  </a:lnTo>
                  <a:lnTo>
                    <a:pt x="429" y="363"/>
                  </a:lnTo>
                  <a:lnTo>
                    <a:pt x="427" y="364"/>
                  </a:lnTo>
                  <a:lnTo>
                    <a:pt x="423" y="367"/>
                  </a:lnTo>
                  <a:lnTo>
                    <a:pt x="422" y="368"/>
                  </a:lnTo>
                  <a:lnTo>
                    <a:pt x="421" y="368"/>
                  </a:lnTo>
                  <a:lnTo>
                    <a:pt x="419" y="369"/>
                  </a:lnTo>
                  <a:lnTo>
                    <a:pt x="418" y="369"/>
                  </a:lnTo>
                  <a:lnTo>
                    <a:pt x="417" y="369"/>
                  </a:lnTo>
                  <a:lnTo>
                    <a:pt x="416" y="369"/>
                  </a:lnTo>
                  <a:lnTo>
                    <a:pt x="416" y="369"/>
                  </a:lnTo>
                  <a:lnTo>
                    <a:pt x="415" y="369"/>
                  </a:lnTo>
                  <a:lnTo>
                    <a:pt x="414" y="369"/>
                  </a:lnTo>
                  <a:lnTo>
                    <a:pt x="412" y="369"/>
                  </a:lnTo>
                  <a:lnTo>
                    <a:pt x="408" y="367"/>
                  </a:lnTo>
                  <a:lnTo>
                    <a:pt x="407" y="367"/>
                  </a:lnTo>
                  <a:lnTo>
                    <a:pt x="406" y="367"/>
                  </a:lnTo>
                  <a:lnTo>
                    <a:pt x="404" y="367"/>
                  </a:lnTo>
                  <a:lnTo>
                    <a:pt x="401" y="366"/>
                  </a:lnTo>
                  <a:lnTo>
                    <a:pt x="398" y="366"/>
                  </a:lnTo>
                  <a:lnTo>
                    <a:pt x="396" y="366"/>
                  </a:lnTo>
                  <a:lnTo>
                    <a:pt x="395" y="366"/>
                  </a:lnTo>
                  <a:lnTo>
                    <a:pt x="393" y="366"/>
                  </a:lnTo>
                  <a:lnTo>
                    <a:pt x="390" y="366"/>
                  </a:lnTo>
                  <a:lnTo>
                    <a:pt x="384" y="368"/>
                  </a:lnTo>
                  <a:lnTo>
                    <a:pt x="382" y="368"/>
                  </a:lnTo>
                  <a:lnTo>
                    <a:pt x="380" y="368"/>
                  </a:lnTo>
                  <a:lnTo>
                    <a:pt x="379" y="368"/>
                  </a:lnTo>
                  <a:lnTo>
                    <a:pt x="378" y="368"/>
                  </a:lnTo>
                  <a:lnTo>
                    <a:pt x="377" y="368"/>
                  </a:lnTo>
                  <a:lnTo>
                    <a:pt x="376" y="368"/>
                  </a:lnTo>
                  <a:lnTo>
                    <a:pt x="375" y="368"/>
                  </a:lnTo>
                  <a:lnTo>
                    <a:pt x="374" y="367"/>
                  </a:lnTo>
                  <a:lnTo>
                    <a:pt x="372" y="366"/>
                  </a:lnTo>
                  <a:lnTo>
                    <a:pt x="371" y="366"/>
                  </a:lnTo>
                  <a:lnTo>
                    <a:pt x="370" y="366"/>
                  </a:lnTo>
                  <a:lnTo>
                    <a:pt x="369" y="366"/>
                  </a:lnTo>
                  <a:lnTo>
                    <a:pt x="368" y="366"/>
                  </a:lnTo>
                  <a:lnTo>
                    <a:pt x="367" y="366"/>
                  </a:lnTo>
                  <a:lnTo>
                    <a:pt x="366" y="366"/>
                  </a:lnTo>
                  <a:lnTo>
                    <a:pt x="365" y="366"/>
                  </a:lnTo>
                  <a:lnTo>
                    <a:pt x="364" y="366"/>
                  </a:lnTo>
                  <a:lnTo>
                    <a:pt x="363" y="366"/>
                  </a:lnTo>
                  <a:lnTo>
                    <a:pt x="362" y="366"/>
                  </a:lnTo>
                  <a:lnTo>
                    <a:pt x="362" y="367"/>
                  </a:lnTo>
                  <a:lnTo>
                    <a:pt x="361" y="367"/>
                  </a:lnTo>
                  <a:lnTo>
                    <a:pt x="360" y="368"/>
                  </a:lnTo>
                  <a:lnTo>
                    <a:pt x="359" y="369"/>
                  </a:lnTo>
                  <a:lnTo>
                    <a:pt x="358" y="370"/>
                  </a:lnTo>
                  <a:lnTo>
                    <a:pt x="357" y="370"/>
                  </a:lnTo>
                  <a:lnTo>
                    <a:pt x="357" y="371"/>
                  </a:lnTo>
                  <a:lnTo>
                    <a:pt x="356" y="372"/>
                  </a:lnTo>
                  <a:lnTo>
                    <a:pt x="356" y="373"/>
                  </a:lnTo>
                  <a:lnTo>
                    <a:pt x="356" y="374"/>
                  </a:lnTo>
                  <a:lnTo>
                    <a:pt x="355" y="374"/>
                  </a:lnTo>
                  <a:lnTo>
                    <a:pt x="355" y="375"/>
                  </a:lnTo>
                  <a:lnTo>
                    <a:pt x="355" y="376"/>
                  </a:lnTo>
                  <a:lnTo>
                    <a:pt x="355" y="377"/>
                  </a:lnTo>
                  <a:lnTo>
                    <a:pt x="355" y="380"/>
                  </a:lnTo>
                  <a:lnTo>
                    <a:pt x="355" y="381"/>
                  </a:lnTo>
                  <a:lnTo>
                    <a:pt x="355" y="382"/>
                  </a:lnTo>
                  <a:lnTo>
                    <a:pt x="355" y="383"/>
                  </a:lnTo>
                  <a:lnTo>
                    <a:pt x="355" y="384"/>
                  </a:lnTo>
                  <a:lnTo>
                    <a:pt x="354" y="385"/>
                  </a:lnTo>
                  <a:lnTo>
                    <a:pt x="354" y="386"/>
                  </a:lnTo>
                  <a:lnTo>
                    <a:pt x="353" y="387"/>
                  </a:lnTo>
                  <a:lnTo>
                    <a:pt x="352" y="389"/>
                  </a:lnTo>
                  <a:lnTo>
                    <a:pt x="350" y="392"/>
                  </a:lnTo>
                  <a:lnTo>
                    <a:pt x="349" y="393"/>
                  </a:lnTo>
                  <a:lnTo>
                    <a:pt x="346" y="397"/>
                  </a:lnTo>
                  <a:lnTo>
                    <a:pt x="343" y="400"/>
                  </a:lnTo>
                  <a:lnTo>
                    <a:pt x="342" y="401"/>
                  </a:lnTo>
                  <a:lnTo>
                    <a:pt x="341" y="403"/>
                  </a:lnTo>
                  <a:lnTo>
                    <a:pt x="339" y="406"/>
                  </a:lnTo>
                  <a:lnTo>
                    <a:pt x="337" y="410"/>
                  </a:lnTo>
                  <a:lnTo>
                    <a:pt x="336" y="411"/>
                  </a:lnTo>
                  <a:lnTo>
                    <a:pt x="335" y="412"/>
                  </a:lnTo>
                  <a:lnTo>
                    <a:pt x="334" y="413"/>
                  </a:lnTo>
                  <a:lnTo>
                    <a:pt x="333" y="414"/>
                  </a:lnTo>
                  <a:lnTo>
                    <a:pt x="332" y="415"/>
                  </a:lnTo>
                  <a:lnTo>
                    <a:pt x="331" y="416"/>
                  </a:lnTo>
                  <a:lnTo>
                    <a:pt x="330" y="416"/>
                  </a:lnTo>
                  <a:lnTo>
                    <a:pt x="329" y="417"/>
                  </a:lnTo>
                  <a:lnTo>
                    <a:pt x="328" y="418"/>
                  </a:lnTo>
                  <a:lnTo>
                    <a:pt x="327" y="418"/>
                  </a:lnTo>
                  <a:lnTo>
                    <a:pt x="326" y="418"/>
                  </a:lnTo>
                  <a:lnTo>
                    <a:pt x="324" y="419"/>
                  </a:lnTo>
                  <a:lnTo>
                    <a:pt x="323" y="419"/>
                  </a:lnTo>
                  <a:lnTo>
                    <a:pt x="322" y="419"/>
                  </a:lnTo>
                  <a:lnTo>
                    <a:pt x="321" y="419"/>
                  </a:lnTo>
                  <a:lnTo>
                    <a:pt x="320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5" y="419"/>
                  </a:lnTo>
                  <a:lnTo>
                    <a:pt x="315" y="419"/>
                  </a:lnTo>
                  <a:lnTo>
                    <a:pt x="314" y="418"/>
                  </a:lnTo>
                  <a:lnTo>
                    <a:pt x="313" y="418"/>
                  </a:lnTo>
                  <a:lnTo>
                    <a:pt x="312" y="417"/>
                  </a:lnTo>
                  <a:lnTo>
                    <a:pt x="311" y="416"/>
                  </a:lnTo>
                  <a:lnTo>
                    <a:pt x="310" y="416"/>
                  </a:lnTo>
                  <a:lnTo>
                    <a:pt x="309" y="415"/>
                  </a:lnTo>
                  <a:lnTo>
                    <a:pt x="309" y="414"/>
                  </a:lnTo>
                  <a:lnTo>
                    <a:pt x="308" y="414"/>
                  </a:lnTo>
                  <a:lnTo>
                    <a:pt x="308" y="413"/>
                  </a:lnTo>
                  <a:lnTo>
                    <a:pt x="307" y="412"/>
                  </a:lnTo>
                  <a:lnTo>
                    <a:pt x="307" y="412"/>
                  </a:lnTo>
                  <a:lnTo>
                    <a:pt x="306" y="410"/>
                  </a:lnTo>
                  <a:lnTo>
                    <a:pt x="304" y="406"/>
                  </a:lnTo>
                  <a:lnTo>
                    <a:pt x="304" y="405"/>
                  </a:lnTo>
                  <a:lnTo>
                    <a:pt x="304" y="405"/>
                  </a:lnTo>
                  <a:lnTo>
                    <a:pt x="303" y="404"/>
                  </a:lnTo>
                  <a:lnTo>
                    <a:pt x="303" y="403"/>
                  </a:lnTo>
                  <a:lnTo>
                    <a:pt x="301" y="400"/>
                  </a:lnTo>
                  <a:lnTo>
                    <a:pt x="300" y="399"/>
                  </a:lnTo>
                  <a:lnTo>
                    <a:pt x="299" y="399"/>
                  </a:lnTo>
                  <a:lnTo>
                    <a:pt x="298" y="398"/>
                  </a:lnTo>
                  <a:lnTo>
                    <a:pt x="297" y="397"/>
                  </a:lnTo>
                  <a:lnTo>
                    <a:pt x="292" y="394"/>
                  </a:lnTo>
                  <a:lnTo>
                    <a:pt x="291" y="393"/>
                  </a:lnTo>
                  <a:lnTo>
                    <a:pt x="290" y="392"/>
                  </a:lnTo>
                  <a:lnTo>
                    <a:pt x="289" y="391"/>
                  </a:lnTo>
                  <a:lnTo>
                    <a:pt x="289" y="390"/>
                  </a:lnTo>
                  <a:lnTo>
                    <a:pt x="288" y="389"/>
                  </a:lnTo>
                  <a:lnTo>
                    <a:pt x="287" y="388"/>
                  </a:lnTo>
                  <a:lnTo>
                    <a:pt x="286" y="386"/>
                  </a:lnTo>
                  <a:lnTo>
                    <a:pt x="284" y="382"/>
                  </a:lnTo>
                  <a:lnTo>
                    <a:pt x="283" y="381"/>
                  </a:lnTo>
                  <a:lnTo>
                    <a:pt x="283" y="380"/>
                  </a:lnTo>
                  <a:lnTo>
                    <a:pt x="282" y="380"/>
                  </a:lnTo>
                  <a:lnTo>
                    <a:pt x="281" y="379"/>
                  </a:lnTo>
                  <a:lnTo>
                    <a:pt x="280" y="379"/>
                  </a:lnTo>
                  <a:lnTo>
                    <a:pt x="279" y="378"/>
                  </a:lnTo>
                  <a:lnTo>
                    <a:pt x="278" y="378"/>
                  </a:lnTo>
                  <a:lnTo>
                    <a:pt x="277" y="377"/>
                  </a:lnTo>
                  <a:lnTo>
                    <a:pt x="276" y="377"/>
                  </a:lnTo>
                  <a:lnTo>
                    <a:pt x="275" y="377"/>
                  </a:lnTo>
                  <a:lnTo>
                    <a:pt x="275" y="377"/>
                  </a:lnTo>
                  <a:lnTo>
                    <a:pt x="273" y="378"/>
                  </a:lnTo>
                  <a:lnTo>
                    <a:pt x="270" y="378"/>
                  </a:lnTo>
                  <a:lnTo>
                    <a:pt x="269" y="379"/>
                  </a:lnTo>
                  <a:lnTo>
                    <a:pt x="268" y="379"/>
                  </a:lnTo>
                  <a:lnTo>
                    <a:pt x="267" y="379"/>
                  </a:lnTo>
                  <a:lnTo>
                    <a:pt x="266" y="379"/>
                  </a:lnTo>
                  <a:lnTo>
                    <a:pt x="265" y="379"/>
                  </a:lnTo>
                  <a:lnTo>
                    <a:pt x="262" y="378"/>
                  </a:lnTo>
                  <a:lnTo>
                    <a:pt x="261" y="378"/>
                  </a:lnTo>
                  <a:lnTo>
                    <a:pt x="255" y="377"/>
                  </a:lnTo>
                  <a:lnTo>
                    <a:pt x="254" y="377"/>
                  </a:lnTo>
                  <a:lnTo>
                    <a:pt x="253" y="376"/>
                  </a:lnTo>
                  <a:lnTo>
                    <a:pt x="251" y="376"/>
                  </a:lnTo>
                  <a:lnTo>
                    <a:pt x="251" y="375"/>
                  </a:lnTo>
                  <a:lnTo>
                    <a:pt x="250" y="375"/>
                  </a:lnTo>
                  <a:lnTo>
                    <a:pt x="248" y="374"/>
                  </a:lnTo>
                  <a:lnTo>
                    <a:pt x="244" y="371"/>
                  </a:lnTo>
                  <a:lnTo>
                    <a:pt x="243" y="370"/>
                  </a:lnTo>
                  <a:lnTo>
                    <a:pt x="242" y="370"/>
                  </a:lnTo>
                  <a:lnTo>
                    <a:pt x="241" y="369"/>
                  </a:lnTo>
                  <a:lnTo>
                    <a:pt x="240" y="369"/>
                  </a:lnTo>
                  <a:lnTo>
                    <a:pt x="239" y="369"/>
                  </a:lnTo>
                  <a:lnTo>
                    <a:pt x="238" y="368"/>
                  </a:lnTo>
                  <a:lnTo>
                    <a:pt x="235" y="368"/>
                  </a:lnTo>
                  <a:lnTo>
                    <a:pt x="234" y="368"/>
                  </a:lnTo>
                  <a:lnTo>
                    <a:pt x="233" y="368"/>
                  </a:lnTo>
                  <a:lnTo>
                    <a:pt x="229" y="367"/>
                  </a:lnTo>
                  <a:lnTo>
                    <a:pt x="228" y="367"/>
                  </a:lnTo>
                  <a:lnTo>
                    <a:pt x="227" y="367"/>
                  </a:lnTo>
                  <a:lnTo>
                    <a:pt x="225" y="367"/>
                  </a:lnTo>
                  <a:lnTo>
                    <a:pt x="222" y="367"/>
                  </a:lnTo>
                  <a:lnTo>
                    <a:pt x="219" y="367"/>
                  </a:lnTo>
                  <a:lnTo>
                    <a:pt x="217" y="367"/>
                  </a:lnTo>
                  <a:lnTo>
                    <a:pt x="213" y="368"/>
                  </a:lnTo>
                  <a:lnTo>
                    <a:pt x="210" y="369"/>
                  </a:lnTo>
                  <a:lnTo>
                    <a:pt x="206" y="370"/>
                  </a:lnTo>
                  <a:lnTo>
                    <a:pt x="199" y="372"/>
                  </a:lnTo>
                  <a:lnTo>
                    <a:pt x="198" y="372"/>
                  </a:lnTo>
                  <a:lnTo>
                    <a:pt x="196" y="372"/>
                  </a:lnTo>
                  <a:lnTo>
                    <a:pt x="195" y="372"/>
                  </a:lnTo>
                  <a:lnTo>
                    <a:pt x="194" y="373"/>
                  </a:lnTo>
                  <a:lnTo>
                    <a:pt x="193" y="372"/>
                  </a:lnTo>
                  <a:lnTo>
                    <a:pt x="193" y="372"/>
                  </a:lnTo>
                  <a:lnTo>
                    <a:pt x="192" y="372"/>
                  </a:lnTo>
                  <a:lnTo>
                    <a:pt x="191" y="371"/>
                  </a:lnTo>
                  <a:lnTo>
                    <a:pt x="191" y="371"/>
                  </a:lnTo>
                  <a:lnTo>
                    <a:pt x="190" y="371"/>
                  </a:lnTo>
                  <a:lnTo>
                    <a:pt x="190" y="370"/>
                  </a:lnTo>
                  <a:lnTo>
                    <a:pt x="189" y="369"/>
                  </a:lnTo>
                  <a:lnTo>
                    <a:pt x="188" y="366"/>
                  </a:lnTo>
                  <a:lnTo>
                    <a:pt x="187" y="366"/>
                  </a:lnTo>
                  <a:lnTo>
                    <a:pt x="187" y="365"/>
                  </a:lnTo>
                  <a:lnTo>
                    <a:pt x="186" y="364"/>
                  </a:lnTo>
                  <a:lnTo>
                    <a:pt x="185" y="363"/>
                  </a:lnTo>
                  <a:lnTo>
                    <a:pt x="184" y="362"/>
                  </a:lnTo>
                  <a:lnTo>
                    <a:pt x="182" y="361"/>
                  </a:lnTo>
                  <a:lnTo>
                    <a:pt x="181" y="361"/>
                  </a:lnTo>
                  <a:lnTo>
                    <a:pt x="180" y="360"/>
                  </a:lnTo>
                  <a:lnTo>
                    <a:pt x="179" y="360"/>
                  </a:lnTo>
                  <a:lnTo>
                    <a:pt x="177" y="359"/>
                  </a:lnTo>
                  <a:lnTo>
                    <a:pt x="175" y="359"/>
                  </a:lnTo>
                  <a:lnTo>
                    <a:pt x="174" y="359"/>
                  </a:lnTo>
                  <a:lnTo>
                    <a:pt x="172" y="359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0" y="359"/>
                  </a:lnTo>
                  <a:lnTo>
                    <a:pt x="169" y="359"/>
                  </a:lnTo>
                  <a:lnTo>
                    <a:pt x="169" y="359"/>
                  </a:lnTo>
                  <a:lnTo>
                    <a:pt x="167" y="360"/>
                  </a:lnTo>
                  <a:lnTo>
                    <a:pt x="167" y="360"/>
                  </a:lnTo>
                  <a:lnTo>
                    <a:pt x="166" y="359"/>
                  </a:lnTo>
                  <a:lnTo>
                    <a:pt x="166" y="359"/>
                  </a:lnTo>
                  <a:lnTo>
                    <a:pt x="165" y="356"/>
                  </a:lnTo>
                  <a:lnTo>
                    <a:pt x="163" y="353"/>
                  </a:lnTo>
                  <a:lnTo>
                    <a:pt x="163" y="352"/>
                  </a:lnTo>
                  <a:lnTo>
                    <a:pt x="162" y="351"/>
                  </a:lnTo>
                  <a:lnTo>
                    <a:pt x="161" y="350"/>
                  </a:lnTo>
                  <a:lnTo>
                    <a:pt x="160" y="349"/>
                  </a:lnTo>
                  <a:lnTo>
                    <a:pt x="160" y="349"/>
                  </a:lnTo>
                  <a:lnTo>
                    <a:pt x="160" y="349"/>
                  </a:lnTo>
                  <a:lnTo>
                    <a:pt x="159" y="349"/>
                  </a:lnTo>
                  <a:lnTo>
                    <a:pt x="159" y="348"/>
                  </a:lnTo>
                  <a:lnTo>
                    <a:pt x="158" y="348"/>
                  </a:lnTo>
                  <a:lnTo>
                    <a:pt x="158" y="348"/>
                  </a:lnTo>
                  <a:lnTo>
                    <a:pt x="157" y="349"/>
                  </a:lnTo>
                  <a:lnTo>
                    <a:pt x="156" y="349"/>
                  </a:lnTo>
                  <a:lnTo>
                    <a:pt x="155" y="349"/>
                  </a:lnTo>
                  <a:lnTo>
                    <a:pt x="154" y="350"/>
                  </a:lnTo>
                  <a:lnTo>
                    <a:pt x="153" y="351"/>
                  </a:lnTo>
                  <a:lnTo>
                    <a:pt x="151" y="353"/>
                  </a:lnTo>
                  <a:lnTo>
                    <a:pt x="150" y="353"/>
                  </a:lnTo>
                  <a:lnTo>
                    <a:pt x="150" y="353"/>
                  </a:lnTo>
                  <a:lnTo>
                    <a:pt x="150" y="353"/>
                  </a:lnTo>
                  <a:lnTo>
                    <a:pt x="149" y="353"/>
                  </a:lnTo>
                  <a:lnTo>
                    <a:pt x="148" y="353"/>
                  </a:lnTo>
                  <a:lnTo>
                    <a:pt x="148" y="353"/>
                  </a:lnTo>
                  <a:lnTo>
                    <a:pt x="148" y="352"/>
                  </a:lnTo>
                  <a:lnTo>
                    <a:pt x="147" y="352"/>
                  </a:lnTo>
                  <a:lnTo>
                    <a:pt x="147" y="351"/>
                  </a:lnTo>
                  <a:lnTo>
                    <a:pt x="146" y="350"/>
                  </a:lnTo>
                  <a:lnTo>
                    <a:pt x="146" y="349"/>
                  </a:lnTo>
                  <a:lnTo>
                    <a:pt x="146" y="349"/>
                  </a:lnTo>
                  <a:lnTo>
                    <a:pt x="146" y="348"/>
                  </a:lnTo>
                  <a:lnTo>
                    <a:pt x="147" y="347"/>
                  </a:lnTo>
                  <a:lnTo>
                    <a:pt x="147" y="346"/>
                  </a:lnTo>
                  <a:lnTo>
                    <a:pt x="148" y="345"/>
                  </a:lnTo>
                  <a:lnTo>
                    <a:pt x="148" y="344"/>
                  </a:lnTo>
                  <a:lnTo>
                    <a:pt x="148" y="343"/>
                  </a:lnTo>
                  <a:lnTo>
                    <a:pt x="148" y="343"/>
                  </a:lnTo>
                  <a:lnTo>
                    <a:pt x="148" y="342"/>
                  </a:lnTo>
                  <a:lnTo>
                    <a:pt x="148" y="341"/>
                  </a:lnTo>
                  <a:lnTo>
                    <a:pt x="148" y="341"/>
                  </a:lnTo>
                  <a:lnTo>
                    <a:pt x="147" y="340"/>
                  </a:lnTo>
                  <a:lnTo>
                    <a:pt x="146" y="337"/>
                  </a:lnTo>
                  <a:lnTo>
                    <a:pt x="144" y="334"/>
                  </a:lnTo>
                  <a:lnTo>
                    <a:pt x="143" y="332"/>
                  </a:lnTo>
                  <a:lnTo>
                    <a:pt x="141" y="330"/>
                  </a:lnTo>
                  <a:lnTo>
                    <a:pt x="140" y="329"/>
                  </a:lnTo>
                  <a:lnTo>
                    <a:pt x="138" y="327"/>
                  </a:lnTo>
                  <a:lnTo>
                    <a:pt x="135" y="324"/>
                  </a:lnTo>
                  <a:lnTo>
                    <a:pt x="134" y="322"/>
                  </a:lnTo>
                  <a:lnTo>
                    <a:pt x="132" y="322"/>
                  </a:lnTo>
                  <a:lnTo>
                    <a:pt x="125" y="316"/>
                  </a:lnTo>
                  <a:lnTo>
                    <a:pt x="124" y="315"/>
                  </a:lnTo>
                  <a:lnTo>
                    <a:pt x="123" y="315"/>
                  </a:lnTo>
                  <a:lnTo>
                    <a:pt x="123" y="314"/>
                  </a:lnTo>
                  <a:lnTo>
                    <a:pt x="122" y="313"/>
                  </a:lnTo>
                  <a:lnTo>
                    <a:pt x="121" y="311"/>
                  </a:lnTo>
                  <a:lnTo>
                    <a:pt x="120" y="310"/>
                  </a:lnTo>
                  <a:lnTo>
                    <a:pt x="119" y="308"/>
                  </a:lnTo>
                  <a:lnTo>
                    <a:pt x="118" y="307"/>
                  </a:lnTo>
                  <a:lnTo>
                    <a:pt x="118" y="306"/>
                  </a:lnTo>
                  <a:lnTo>
                    <a:pt x="117" y="304"/>
                  </a:lnTo>
                  <a:lnTo>
                    <a:pt x="115" y="303"/>
                  </a:lnTo>
                  <a:lnTo>
                    <a:pt x="114" y="302"/>
                  </a:lnTo>
                  <a:lnTo>
                    <a:pt x="114" y="301"/>
                  </a:lnTo>
                  <a:lnTo>
                    <a:pt x="113" y="300"/>
                  </a:lnTo>
                  <a:lnTo>
                    <a:pt x="112" y="300"/>
                  </a:lnTo>
                  <a:lnTo>
                    <a:pt x="112" y="299"/>
                  </a:lnTo>
                  <a:lnTo>
                    <a:pt x="111" y="299"/>
                  </a:lnTo>
                  <a:lnTo>
                    <a:pt x="111" y="299"/>
                  </a:lnTo>
                  <a:lnTo>
                    <a:pt x="111" y="299"/>
                  </a:lnTo>
                  <a:lnTo>
                    <a:pt x="110" y="299"/>
                  </a:lnTo>
                  <a:lnTo>
                    <a:pt x="110" y="300"/>
                  </a:lnTo>
                  <a:lnTo>
                    <a:pt x="109" y="300"/>
                  </a:lnTo>
                  <a:lnTo>
                    <a:pt x="108" y="301"/>
                  </a:lnTo>
                  <a:lnTo>
                    <a:pt x="107" y="301"/>
                  </a:lnTo>
                  <a:lnTo>
                    <a:pt x="107" y="301"/>
                  </a:lnTo>
                  <a:lnTo>
                    <a:pt x="106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4" y="302"/>
                  </a:lnTo>
                  <a:lnTo>
                    <a:pt x="103" y="301"/>
                  </a:lnTo>
                  <a:lnTo>
                    <a:pt x="102" y="301"/>
                  </a:lnTo>
                  <a:lnTo>
                    <a:pt x="101" y="300"/>
                  </a:lnTo>
                  <a:lnTo>
                    <a:pt x="100" y="299"/>
                  </a:lnTo>
                  <a:lnTo>
                    <a:pt x="99" y="299"/>
                  </a:lnTo>
                  <a:lnTo>
                    <a:pt x="98" y="298"/>
                  </a:lnTo>
                  <a:lnTo>
                    <a:pt x="97" y="297"/>
                  </a:lnTo>
                  <a:lnTo>
                    <a:pt x="97" y="297"/>
                  </a:lnTo>
                  <a:lnTo>
                    <a:pt x="96" y="296"/>
                  </a:lnTo>
                  <a:lnTo>
                    <a:pt x="96" y="295"/>
                  </a:lnTo>
                  <a:lnTo>
                    <a:pt x="95" y="294"/>
                  </a:lnTo>
                  <a:lnTo>
                    <a:pt x="95" y="293"/>
                  </a:lnTo>
                  <a:lnTo>
                    <a:pt x="95" y="291"/>
                  </a:lnTo>
                  <a:lnTo>
                    <a:pt x="94" y="289"/>
                  </a:lnTo>
                  <a:lnTo>
                    <a:pt x="94" y="288"/>
                  </a:lnTo>
                  <a:lnTo>
                    <a:pt x="94" y="286"/>
                  </a:lnTo>
                  <a:lnTo>
                    <a:pt x="94" y="285"/>
                  </a:lnTo>
                  <a:lnTo>
                    <a:pt x="94" y="284"/>
                  </a:lnTo>
                  <a:lnTo>
                    <a:pt x="94" y="283"/>
                  </a:lnTo>
                  <a:lnTo>
                    <a:pt x="94" y="282"/>
                  </a:lnTo>
                  <a:lnTo>
                    <a:pt x="95" y="280"/>
                  </a:lnTo>
                  <a:lnTo>
                    <a:pt x="96" y="276"/>
                  </a:lnTo>
                  <a:lnTo>
                    <a:pt x="96" y="275"/>
                  </a:lnTo>
                  <a:lnTo>
                    <a:pt x="96" y="274"/>
                  </a:lnTo>
                  <a:lnTo>
                    <a:pt x="96" y="273"/>
                  </a:lnTo>
                  <a:lnTo>
                    <a:pt x="96" y="272"/>
                  </a:lnTo>
                  <a:lnTo>
                    <a:pt x="96" y="271"/>
                  </a:lnTo>
                  <a:lnTo>
                    <a:pt x="96" y="269"/>
                  </a:lnTo>
                  <a:lnTo>
                    <a:pt x="96" y="268"/>
                  </a:lnTo>
                  <a:lnTo>
                    <a:pt x="95" y="266"/>
                  </a:lnTo>
                  <a:lnTo>
                    <a:pt x="95" y="265"/>
                  </a:lnTo>
                  <a:lnTo>
                    <a:pt x="94" y="264"/>
                  </a:lnTo>
                  <a:lnTo>
                    <a:pt x="94" y="263"/>
                  </a:lnTo>
                  <a:lnTo>
                    <a:pt x="93" y="262"/>
                  </a:lnTo>
                  <a:lnTo>
                    <a:pt x="93" y="261"/>
                  </a:lnTo>
                  <a:lnTo>
                    <a:pt x="92" y="260"/>
                  </a:lnTo>
                  <a:lnTo>
                    <a:pt x="92" y="260"/>
                  </a:lnTo>
                  <a:lnTo>
                    <a:pt x="91" y="259"/>
                  </a:lnTo>
                  <a:lnTo>
                    <a:pt x="91" y="259"/>
                  </a:lnTo>
                  <a:lnTo>
                    <a:pt x="90" y="259"/>
                  </a:lnTo>
                  <a:lnTo>
                    <a:pt x="90" y="259"/>
                  </a:lnTo>
                  <a:lnTo>
                    <a:pt x="89" y="259"/>
                  </a:lnTo>
                  <a:lnTo>
                    <a:pt x="88" y="259"/>
                  </a:lnTo>
                  <a:lnTo>
                    <a:pt x="88" y="259"/>
                  </a:lnTo>
                  <a:lnTo>
                    <a:pt x="85" y="260"/>
                  </a:lnTo>
                  <a:lnTo>
                    <a:pt x="84" y="260"/>
                  </a:lnTo>
                  <a:lnTo>
                    <a:pt x="79" y="262"/>
                  </a:lnTo>
                  <a:lnTo>
                    <a:pt x="78" y="262"/>
                  </a:lnTo>
                  <a:lnTo>
                    <a:pt x="76" y="263"/>
                  </a:lnTo>
                  <a:lnTo>
                    <a:pt x="74" y="264"/>
                  </a:lnTo>
                  <a:lnTo>
                    <a:pt x="72" y="265"/>
                  </a:lnTo>
                  <a:lnTo>
                    <a:pt x="71" y="265"/>
                  </a:lnTo>
                  <a:lnTo>
                    <a:pt x="70" y="265"/>
                  </a:lnTo>
                  <a:lnTo>
                    <a:pt x="70" y="265"/>
                  </a:lnTo>
                  <a:lnTo>
                    <a:pt x="69" y="265"/>
                  </a:lnTo>
                  <a:lnTo>
                    <a:pt x="68" y="265"/>
                  </a:lnTo>
                  <a:lnTo>
                    <a:pt x="65" y="264"/>
                  </a:lnTo>
                  <a:lnTo>
                    <a:pt x="64" y="264"/>
                  </a:lnTo>
                  <a:lnTo>
                    <a:pt x="63" y="264"/>
                  </a:lnTo>
                  <a:lnTo>
                    <a:pt x="61" y="263"/>
                  </a:lnTo>
                  <a:lnTo>
                    <a:pt x="57" y="261"/>
                  </a:lnTo>
                  <a:lnTo>
                    <a:pt x="56" y="261"/>
                  </a:lnTo>
                  <a:lnTo>
                    <a:pt x="55" y="260"/>
                  </a:lnTo>
                  <a:lnTo>
                    <a:pt x="54" y="259"/>
                  </a:lnTo>
                  <a:lnTo>
                    <a:pt x="53" y="258"/>
                  </a:lnTo>
                  <a:lnTo>
                    <a:pt x="52" y="257"/>
                  </a:lnTo>
                  <a:lnTo>
                    <a:pt x="51" y="257"/>
                  </a:lnTo>
                  <a:lnTo>
                    <a:pt x="50" y="256"/>
                  </a:lnTo>
                  <a:lnTo>
                    <a:pt x="48" y="255"/>
                  </a:lnTo>
                  <a:lnTo>
                    <a:pt x="47" y="255"/>
                  </a:lnTo>
                  <a:lnTo>
                    <a:pt x="46" y="254"/>
                  </a:lnTo>
                  <a:lnTo>
                    <a:pt x="46" y="254"/>
                  </a:lnTo>
                  <a:lnTo>
                    <a:pt x="45" y="253"/>
                  </a:lnTo>
                  <a:lnTo>
                    <a:pt x="44" y="252"/>
                  </a:lnTo>
                  <a:lnTo>
                    <a:pt x="44" y="251"/>
                  </a:lnTo>
                  <a:lnTo>
                    <a:pt x="43" y="249"/>
                  </a:lnTo>
                  <a:lnTo>
                    <a:pt x="42" y="248"/>
                  </a:lnTo>
                  <a:lnTo>
                    <a:pt x="41" y="247"/>
                  </a:lnTo>
                  <a:lnTo>
                    <a:pt x="38" y="244"/>
                  </a:lnTo>
                  <a:lnTo>
                    <a:pt x="38" y="244"/>
                  </a:lnTo>
                  <a:lnTo>
                    <a:pt x="38" y="243"/>
                  </a:lnTo>
                  <a:lnTo>
                    <a:pt x="37" y="242"/>
                  </a:lnTo>
                  <a:lnTo>
                    <a:pt x="37" y="241"/>
                  </a:lnTo>
                  <a:lnTo>
                    <a:pt x="37" y="240"/>
                  </a:lnTo>
                  <a:lnTo>
                    <a:pt x="37" y="238"/>
                  </a:lnTo>
                  <a:lnTo>
                    <a:pt x="37" y="238"/>
                  </a:lnTo>
                  <a:lnTo>
                    <a:pt x="36" y="237"/>
                  </a:lnTo>
                  <a:lnTo>
                    <a:pt x="36" y="236"/>
                  </a:lnTo>
                  <a:lnTo>
                    <a:pt x="36" y="236"/>
                  </a:lnTo>
                  <a:lnTo>
                    <a:pt x="35" y="235"/>
                  </a:lnTo>
                  <a:lnTo>
                    <a:pt x="35" y="234"/>
                  </a:lnTo>
                  <a:lnTo>
                    <a:pt x="33" y="232"/>
                  </a:lnTo>
                  <a:lnTo>
                    <a:pt x="33" y="231"/>
                  </a:lnTo>
                  <a:lnTo>
                    <a:pt x="32" y="229"/>
                  </a:lnTo>
                  <a:lnTo>
                    <a:pt x="32" y="228"/>
                  </a:lnTo>
                  <a:lnTo>
                    <a:pt x="32" y="226"/>
                  </a:lnTo>
                  <a:lnTo>
                    <a:pt x="32" y="226"/>
                  </a:lnTo>
                  <a:lnTo>
                    <a:pt x="32" y="224"/>
                  </a:lnTo>
                  <a:lnTo>
                    <a:pt x="32" y="222"/>
                  </a:lnTo>
                  <a:lnTo>
                    <a:pt x="31" y="221"/>
                  </a:lnTo>
                  <a:lnTo>
                    <a:pt x="31" y="220"/>
                  </a:lnTo>
                  <a:lnTo>
                    <a:pt x="30" y="218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6" y="211"/>
                  </a:lnTo>
                  <a:lnTo>
                    <a:pt x="26" y="211"/>
                  </a:lnTo>
                  <a:lnTo>
                    <a:pt x="25" y="211"/>
                  </a:lnTo>
                  <a:lnTo>
                    <a:pt x="24" y="211"/>
                  </a:lnTo>
                  <a:lnTo>
                    <a:pt x="23" y="211"/>
                  </a:lnTo>
                  <a:lnTo>
                    <a:pt x="23" y="211"/>
                  </a:lnTo>
                  <a:lnTo>
                    <a:pt x="22" y="211"/>
                  </a:lnTo>
                  <a:lnTo>
                    <a:pt x="22" y="212"/>
                  </a:lnTo>
                  <a:lnTo>
                    <a:pt x="21" y="213"/>
                  </a:lnTo>
                  <a:lnTo>
                    <a:pt x="21" y="213"/>
                  </a:lnTo>
                  <a:lnTo>
                    <a:pt x="21" y="214"/>
                  </a:lnTo>
                  <a:lnTo>
                    <a:pt x="22" y="215"/>
                  </a:lnTo>
                  <a:lnTo>
                    <a:pt x="23" y="222"/>
                  </a:lnTo>
                  <a:lnTo>
                    <a:pt x="24" y="223"/>
                  </a:lnTo>
                  <a:lnTo>
                    <a:pt x="24" y="224"/>
                  </a:lnTo>
                  <a:lnTo>
                    <a:pt x="24" y="225"/>
                  </a:lnTo>
                  <a:lnTo>
                    <a:pt x="24" y="226"/>
                  </a:lnTo>
                  <a:lnTo>
                    <a:pt x="23" y="226"/>
                  </a:lnTo>
                  <a:lnTo>
                    <a:pt x="23" y="227"/>
                  </a:lnTo>
                  <a:lnTo>
                    <a:pt x="23" y="227"/>
                  </a:lnTo>
                  <a:lnTo>
                    <a:pt x="22" y="228"/>
                  </a:lnTo>
                  <a:lnTo>
                    <a:pt x="21" y="229"/>
                  </a:lnTo>
                  <a:lnTo>
                    <a:pt x="21" y="230"/>
                  </a:lnTo>
                  <a:lnTo>
                    <a:pt x="20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8" y="230"/>
                  </a:lnTo>
                  <a:lnTo>
                    <a:pt x="17" y="230"/>
                  </a:lnTo>
                  <a:lnTo>
                    <a:pt x="17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5" y="230"/>
                  </a:lnTo>
                  <a:lnTo>
                    <a:pt x="14" y="231"/>
                  </a:lnTo>
                  <a:lnTo>
                    <a:pt x="14" y="231"/>
                  </a:lnTo>
                  <a:lnTo>
                    <a:pt x="12" y="232"/>
                  </a:lnTo>
                  <a:lnTo>
                    <a:pt x="12" y="232"/>
                  </a:lnTo>
                  <a:lnTo>
                    <a:pt x="11" y="233"/>
                  </a:lnTo>
                  <a:lnTo>
                    <a:pt x="11" y="233"/>
                  </a:lnTo>
                  <a:lnTo>
                    <a:pt x="10" y="234"/>
                  </a:lnTo>
                  <a:lnTo>
                    <a:pt x="10" y="235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7"/>
                  </a:lnTo>
                  <a:lnTo>
                    <a:pt x="8" y="238"/>
                  </a:lnTo>
                  <a:lnTo>
                    <a:pt x="6" y="240"/>
                  </a:lnTo>
                  <a:lnTo>
                    <a:pt x="6" y="240"/>
                  </a:lnTo>
                  <a:lnTo>
                    <a:pt x="5" y="241"/>
                  </a:lnTo>
                  <a:lnTo>
                    <a:pt x="4" y="243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2" y="244"/>
                  </a:lnTo>
                  <a:lnTo>
                    <a:pt x="2" y="244"/>
                  </a:lnTo>
                  <a:lnTo>
                    <a:pt x="1" y="244"/>
                  </a:lnTo>
                  <a:lnTo>
                    <a:pt x="1" y="244"/>
                  </a:lnTo>
                  <a:lnTo>
                    <a:pt x="0" y="244"/>
                  </a:lnTo>
                  <a:lnTo>
                    <a:pt x="0" y="244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1" name="Freeform 40">
              <a:extLst>
                <a:ext uri="{FF2B5EF4-FFF2-40B4-BE49-F238E27FC236}">
                  <a16:creationId xmlns:a16="http://schemas.microsoft.com/office/drawing/2014/main" id="{95D70570-1CD6-5B92-D854-B78E8739CF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192"/>
              <a:ext cx="156" cy="244"/>
            </a:xfrm>
            <a:custGeom>
              <a:avLst/>
              <a:gdLst>
                <a:gd name="T0" fmla="*/ 65 w 156"/>
                <a:gd name="T1" fmla="*/ 239 h 244"/>
                <a:gd name="T2" fmla="*/ 64 w 156"/>
                <a:gd name="T3" fmla="*/ 235 h 244"/>
                <a:gd name="T4" fmla="*/ 66 w 156"/>
                <a:gd name="T5" fmla="*/ 223 h 244"/>
                <a:gd name="T6" fmla="*/ 65 w 156"/>
                <a:gd name="T7" fmla="*/ 220 h 244"/>
                <a:gd name="T8" fmla="*/ 61 w 156"/>
                <a:gd name="T9" fmla="*/ 217 h 244"/>
                <a:gd name="T10" fmla="*/ 56 w 156"/>
                <a:gd name="T11" fmla="*/ 217 h 244"/>
                <a:gd name="T12" fmla="*/ 50 w 156"/>
                <a:gd name="T13" fmla="*/ 220 h 244"/>
                <a:gd name="T14" fmla="*/ 44 w 156"/>
                <a:gd name="T15" fmla="*/ 223 h 244"/>
                <a:gd name="T16" fmla="*/ 35 w 156"/>
                <a:gd name="T17" fmla="*/ 231 h 244"/>
                <a:gd name="T18" fmla="*/ 32 w 156"/>
                <a:gd name="T19" fmla="*/ 234 h 244"/>
                <a:gd name="T20" fmla="*/ 22 w 156"/>
                <a:gd name="T21" fmla="*/ 235 h 244"/>
                <a:gd name="T22" fmla="*/ 20 w 156"/>
                <a:gd name="T23" fmla="*/ 234 h 244"/>
                <a:gd name="T24" fmla="*/ 19 w 156"/>
                <a:gd name="T25" fmla="*/ 230 h 244"/>
                <a:gd name="T26" fmla="*/ 20 w 156"/>
                <a:gd name="T27" fmla="*/ 222 h 244"/>
                <a:gd name="T28" fmla="*/ 19 w 156"/>
                <a:gd name="T29" fmla="*/ 221 h 244"/>
                <a:gd name="T30" fmla="*/ 13 w 156"/>
                <a:gd name="T31" fmla="*/ 222 h 244"/>
                <a:gd name="T32" fmla="*/ 9 w 156"/>
                <a:gd name="T33" fmla="*/ 222 h 244"/>
                <a:gd name="T34" fmla="*/ 5 w 156"/>
                <a:gd name="T35" fmla="*/ 217 h 244"/>
                <a:gd name="T36" fmla="*/ 0 w 156"/>
                <a:gd name="T37" fmla="*/ 211 h 244"/>
                <a:gd name="T38" fmla="*/ 0 w 156"/>
                <a:gd name="T39" fmla="*/ 208 h 244"/>
                <a:gd name="T40" fmla="*/ 2 w 156"/>
                <a:gd name="T41" fmla="*/ 201 h 244"/>
                <a:gd name="T42" fmla="*/ 4 w 156"/>
                <a:gd name="T43" fmla="*/ 195 h 244"/>
                <a:gd name="T44" fmla="*/ 4 w 156"/>
                <a:gd name="T45" fmla="*/ 190 h 244"/>
                <a:gd name="T46" fmla="*/ 10 w 156"/>
                <a:gd name="T47" fmla="*/ 182 h 244"/>
                <a:gd name="T48" fmla="*/ 12 w 156"/>
                <a:gd name="T49" fmla="*/ 177 h 244"/>
                <a:gd name="T50" fmla="*/ 11 w 156"/>
                <a:gd name="T51" fmla="*/ 174 h 244"/>
                <a:gd name="T52" fmla="*/ 9 w 156"/>
                <a:gd name="T53" fmla="*/ 170 h 244"/>
                <a:gd name="T54" fmla="*/ 3 w 156"/>
                <a:gd name="T55" fmla="*/ 162 h 244"/>
                <a:gd name="T56" fmla="*/ 2 w 156"/>
                <a:gd name="T57" fmla="*/ 160 h 244"/>
                <a:gd name="T58" fmla="*/ 4 w 156"/>
                <a:gd name="T59" fmla="*/ 149 h 244"/>
                <a:gd name="T60" fmla="*/ 8 w 156"/>
                <a:gd name="T61" fmla="*/ 142 h 244"/>
                <a:gd name="T62" fmla="*/ 17 w 156"/>
                <a:gd name="T63" fmla="*/ 130 h 244"/>
                <a:gd name="T64" fmla="*/ 19 w 156"/>
                <a:gd name="T65" fmla="*/ 124 h 244"/>
                <a:gd name="T66" fmla="*/ 20 w 156"/>
                <a:gd name="T67" fmla="*/ 114 h 244"/>
                <a:gd name="T68" fmla="*/ 20 w 156"/>
                <a:gd name="T69" fmla="*/ 104 h 244"/>
                <a:gd name="T70" fmla="*/ 23 w 156"/>
                <a:gd name="T71" fmla="*/ 96 h 244"/>
                <a:gd name="T72" fmla="*/ 24 w 156"/>
                <a:gd name="T73" fmla="*/ 88 h 244"/>
                <a:gd name="T74" fmla="*/ 34 w 156"/>
                <a:gd name="T75" fmla="*/ 76 h 244"/>
                <a:gd name="T76" fmla="*/ 40 w 156"/>
                <a:gd name="T77" fmla="*/ 71 h 244"/>
                <a:gd name="T78" fmla="*/ 46 w 156"/>
                <a:gd name="T79" fmla="*/ 66 h 244"/>
                <a:gd name="T80" fmla="*/ 52 w 156"/>
                <a:gd name="T81" fmla="*/ 63 h 244"/>
                <a:gd name="T82" fmla="*/ 60 w 156"/>
                <a:gd name="T83" fmla="*/ 54 h 244"/>
                <a:gd name="T84" fmla="*/ 64 w 156"/>
                <a:gd name="T85" fmla="*/ 52 h 244"/>
                <a:gd name="T86" fmla="*/ 70 w 156"/>
                <a:gd name="T87" fmla="*/ 53 h 244"/>
                <a:gd name="T88" fmla="*/ 74 w 156"/>
                <a:gd name="T89" fmla="*/ 52 h 244"/>
                <a:gd name="T90" fmla="*/ 76 w 156"/>
                <a:gd name="T91" fmla="*/ 48 h 244"/>
                <a:gd name="T92" fmla="*/ 77 w 156"/>
                <a:gd name="T93" fmla="*/ 34 h 244"/>
                <a:gd name="T94" fmla="*/ 79 w 156"/>
                <a:gd name="T95" fmla="*/ 33 h 244"/>
                <a:gd name="T96" fmla="*/ 86 w 156"/>
                <a:gd name="T97" fmla="*/ 28 h 244"/>
                <a:gd name="T98" fmla="*/ 96 w 156"/>
                <a:gd name="T99" fmla="*/ 24 h 244"/>
                <a:gd name="T100" fmla="*/ 104 w 156"/>
                <a:gd name="T101" fmla="*/ 24 h 244"/>
                <a:gd name="T102" fmla="*/ 116 w 156"/>
                <a:gd name="T103" fmla="*/ 24 h 244"/>
                <a:gd name="T104" fmla="*/ 124 w 156"/>
                <a:gd name="T105" fmla="*/ 22 h 244"/>
                <a:gd name="T106" fmla="*/ 129 w 156"/>
                <a:gd name="T107" fmla="*/ 24 h 244"/>
                <a:gd name="T108" fmla="*/ 136 w 156"/>
                <a:gd name="T109" fmla="*/ 23 h 244"/>
                <a:gd name="T110" fmla="*/ 144 w 156"/>
                <a:gd name="T111" fmla="*/ 18 h 244"/>
                <a:gd name="T112" fmla="*/ 150 w 156"/>
                <a:gd name="T113" fmla="*/ 11 h 244"/>
                <a:gd name="T114" fmla="*/ 153 w 156"/>
                <a:gd name="T115" fmla="*/ 2 h 244"/>
                <a:gd name="T116" fmla="*/ 155 w 156"/>
                <a:gd name="T117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6" h="244">
                  <a:moveTo>
                    <a:pt x="68" y="244"/>
                  </a:moveTo>
                  <a:lnTo>
                    <a:pt x="67" y="243"/>
                  </a:lnTo>
                  <a:lnTo>
                    <a:pt x="66" y="242"/>
                  </a:lnTo>
                  <a:lnTo>
                    <a:pt x="65" y="241"/>
                  </a:lnTo>
                  <a:lnTo>
                    <a:pt x="65" y="239"/>
                  </a:lnTo>
                  <a:lnTo>
                    <a:pt x="64" y="238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2"/>
                  </a:lnTo>
                  <a:lnTo>
                    <a:pt x="65" y="228"/>
                  </a:lnTo>
                  <a:lnTo>
                    <a:pt x="66" y="226"/>
                  </a:lnTo>
                  <a:lnTo>
                    <a:pt x="66" y="224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2"/>
                  </a:lnTo>
                  <a:lnTo>
                    <a:pt x="66" y="221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8" y="217"/>
                  </a:lnTo>
                  <a:lnTo>
                    <a:pt x="56" y="217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3" y="218"/>
                  </a:lnTo>
                  <a:lnTo>
                    <a:pt x="51" y="219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8" y="220"/>
                  </a:lnTo>
                  <a:lnTo>
                    <a:pt x="47" y="221"/>
                  </a:lnTo>
                  <a:lnTo>
                    <a:pt x="45" y="222"/>
                  </a:lnTo>
                  <a:lnTo>
                    <a:pt x="44" y="223"/>
                  </a:lnTo>
                  <a:lnTo>
                    <a:pt x="41" y="226"/>
                  </a:lnTo>
                  <a:lnTo>
                    <a:pt x="38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5" y="231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3" y="234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1" y="235"/>
                  </a:lnTo>
                  <a:lnTo>
                    <a:pt x="30" y="235"/>
                  </a:lnTo>
                  <a:lnTo>
                    <a:pt x="27" y="235"/>
                  </a:lnTo>
                  <a:lnTo>
                    <a:pt x="23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1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19" y="232"/>
                  </a:lnTo>
                  <a:lnTo>
                    <a:pt x="19" y="231"/>
                  </a:lnTo>
                  <a:lnTo>
                    <a:pt x="19" y="230"/>
                  </a:lnTo>
                  <a:lnTo>
                    <a:pt x="19" y="229"/>
                  </a:lnTo>
                  <a:lnTo>
                    <a:pt x="20" y="226"/>
                  </a:lnTo>
                  <a:lnTo>
                    <a:pt x="20" y="224"/>
                  </a:lnTo>
                  <a:lnTo>
                    <a:pt x="20" y="223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0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6" y="222"/>
                  </a:lnTo>
                  <a:lnTo>
                    <a:pt x="15" y="222"/>
                  </a:lnTo>
                  <a:lnTo>
                    <a:pt x="13" y="222"/>
                  </a:lnTo>
                  <a:lnTo>
                    <a:pt x="12" y="223"/>
                  </a:lnTo>
                  <a:lnTo>
                    <a:pt x="11" y="223"/>
                  </a:lnTo>
                  <a:lnTo>
                    <a:pt x="10" y="223"/>
                  </a:lnTo>
                  <a:lnTo>
                    <a:pt x="10" y="222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8" y="221"/>
                  </a:lnTo>
                  <a:lnTo>
                    <a:pt x="7" y="220"/>
                  </a:lnTo>
                  <a:lnTo>
                    <a:pt x="6" y="220"/>
                  </a:lnTo>
                  <a:lnTo>
                    <a:pt x="5" y="217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0" y="206"/>
                  </a:lnTo>
                  <a:lnTo>
                    <a:pt x="0" y="205"/>
                  </a:lnTo>
                  <a:lnTo>
                    <a:pt x="1" y="204"/>
                  </a:lnTo>
                  <a:lnTo>
                    <a:pt x="2" y="201"/>
                  </a:lnTo>
                  <a:lnTo>
                    <a:pt x="3" y="199"/>
                  </a:lnTo>
                  <a:lnTo>
                    <a:pt x="3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4" y="193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6" y="188"/>
                  </a:lnTo>
                  <a:lnTo>
                    <a:pt x="7" y="186"/>
                  </a:lnTo>
                  <a:lnTo>
                    <a:pt x="9" y="183"/>
                  </a:lnTo>
                  <a:lnTo>
                    <a:pt x="10" y="182"/>
                  </a:lnTo>
                  <a:lnTo>
                    <a:pt x="10" y="181"/>
                  </a:lnTo>
                  <a:lnTo>
                    <a:pt x="11" y="180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7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5"/>
                  </a:lnTo>
                  <a:lnTo>
                    <a:pt x="12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0" y="172"/>
                  </a:lnTo>
                  <a:lnTo>
                    <a:pt x="10" y="171"/>
                  </a:lnTo>
                  <a:lnTo>
                    <a:pt x="9" y="170"/>
                  </a:lnTo>
                  <a:lnTo>
                    <a:pt x="5" y="166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3" y="156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7"/>
                  </a:lnTo>
                  <a:lnTo>
                    <a:pt x="6" y="145"/>
                  </a:lnTo>
                  <a:lnTo>
                    <a:pt x="7" y="143"/>
                  </a:lnTo>
                  <a:lnTo>
                    <a:pt x="8" y="142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18" y="129"/>
                  </a:lnTo>
                  <a:lnTo>
                    <a:pt x="18" y="128"/>
                  </a:lnTo>
                  <a:lnTo>
                    <a:pt x="19" y="127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20" y="123"/>
                  </a:lnTo>
                  <a:lnTo>
                    <a:pt x="20" y="122"/>
                  </a:lnTo>
                  <a:lnTo>
                    <a:pt x="20" y="120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9" y="106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3"/>
                  </a:lnTo>
                  <a:lnTo>
                    <a:pt x="22" y="99"/>
                  </a:lnTo>
                  <a:lnTo>
                    <a:pt x="23" y="98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7" y="84"/>
                  </a:lnTo>
                  <a:lnTo>
                    <a:pt x="32" y="78"/>
                  </a:lnTo>
                  <a:lnTo>
                    <a:pt x="34" y="76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8" y="72"/>
                  </a:lnTo>
                  <a:lnTo>
                    <a:pt x="39" y="71"/>
                  </a:lnTo>
                  <a:lnTo>
                    <a:pt x="40" y="71"/>
                  </a:lnTo>
                  <a:lnTo>
                    <a:pt x="42" y="68"/>
                  </a:lnTo>
                  <a:lnTo>
                    <a:pt x="43" y="68"/>
                  </a:lnTo>
                  <a:lnTo>
                    <a:pt x="44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8" y="57"/>
                  </a:lnTo>
                  <a:lnTo>
                    <a:pt x="59" y="55"/>
                  </a:lnTo>
                  <a:lnTo>
                    <a:pt x="60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49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5"/>
                  </a:lnTo>
                  <a:lnTo>
                    <a:pt x="77" y="42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8" y="27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7" y="23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8" y="24"/>
                  </a:lnTo>
                  <a:lnTo>
                    <a:pt x="129" y="24"/>
                  </a:lnTo>
                  <a:lnTo>
                    <a:pt x="131" y="24"/>
                  </a:lnTo>
                  <a:lnTo>
                    <a:pt x="132" y="24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6" y="23"/>
                  </a:lnTo>
                  <a:lnTo>
                    <a:pt x="137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2" y="19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9" y="12"/>
                  </a:lnTo>
                  <a:lnTo>
                    <a:pt x="150" y="11"/>
                  </a:lnTo>
                  <a:lnTo>
                    <a:pt x="151" y="10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7"/>
                  </a:lnTo>
                  <a:lnTo>
                    <a:pt x="153" y="2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6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2" name="Freeform 42">
              <a:extLst>
                <a:ext uri="{FF2B5EF4-FFF2-40B4-BE49-F238E27FC236}">
                  <a16:creationId xmlns:a16="http://schemas.microsoft.com/office/drawing/2014/main" id="{5C6B5FE2-9D66-62CC-564F-6A138C6CBE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6" y="3069"/>
              <a:ext cx="633" cy="513"/>
            </a:xfrm>
            <a:custGeom>
              <a:avLst/>
              <a:gdLst>
                <a:gd name="T0" fmla="*/ 487 w 633"/>
                <a:gd name="T1" fmla="*/ 20 h 513"/>
                <a:gd name="T2" fmla="*/ 512 w 633"/>
                <a:gd name="T3" fmla="*/ 53 h 513"/>
                <a:gd name="T4" fmla="*/ 516 w 633"/>
                <a:gd name="T5" fmla="*/ 105 h 513"/>
                <a:gd name="T6" fmla="*/ 525 w 633"/>
                <a:gd name="T7" fmla="*/ 128 h 513"/>
                <a:gd name="T8" fmla="*/ 553 w 633"/>
                <a:gd name="T9" fmla="*/ 151 h 513"/>
                <a:gd name="T10" fmla="*/ 587 w 633"/>
                <a:gd name="T11" fmla="*/ 174 h 513"/>
                <a:gd name="T12" fmla="*/ 583 w 633"/>
                <a:gd name="T13" fmla="*/ 217 h 513"/>
                <a:gd name="T14" fmla="*/ 599 w 633"/>
                <a:gd name="T15" fmla="*/ 238 h 513"/>
                <a:gd name="T16" fmla="*/ 591 w 633"/>
                <a:gd name="T17" fmla="*/ 260 h 513"/>
                <a:gd name="T18" fmla="*/ 603 w 633"/>
                <a:gd name="T19" fmla="*/ 280 h 513"/>
                <a:gd name="T20" fmla="*/ 632 w 633"/>
                <a:gd name="T21" fmla="*/ 303 h 513"/>
                <a:gd name="T22" fmla="*/ 624 w 633"/>
                <a:gd name="T23" fmla="*/ 350 h 513"/>
                <a:gd name="T24" fmla="*/ 604 w 633"/>
                <a:gd name="T25" fmla="*/ 375 h 513"/>
                <a:gd name="T26" fmla="*/ 566 w 633"/>
                <a:gd name="T27" fmla="*/ 394 h 513"/>
                <a:gd name="T28" fmla="*/ 532 w 633"/>
                <a:gd name="T29" fmla="*/ 420 h 513"/>
                <a:gd name="T30" fmla="*/ 549 w 633"/>
                <a:gd name="T31" fmla="*/ 455 h 513"/>
                <a:gd name="T32" fmla="*/ 524 w 633"/>
                <a:gd name="T33" fmla="*/ 473 h 513"/>
                <a:gd name="T34" fmla="*/ 473 w 633"/>
                <a:gd name="T35" fmla="*/ 469 h 513"/>
                <a:gd name="T36" fmla="*/ 455 w 633"/>
                <a:gd name="T37" fmla="*/ 494 h 513"/>
                <a:gd name="T38" fmla="*/ 430 w 633"/>
                <a:gd name="T39" fmla="*/ 479 h 513"/>
                <a:gd name="T40" fmla="*/ 394 w 633"/>
                <a:gd name="T41" fmla="*/ 475 h 513"/>
                <a:gd name="T42" fmla="*/ 369 w 633"/>
                <a:gd name="T43" fmla="*/ 512 h 513"/>
                <a:gd name="T44" fmla="*/ 342 w 633"/>
                <a:gd name="T45" fmla="*/ 501 h 513"/>
                <a:gd name="T46" fmla="*/ 298 w 633"/>
                <a:gd name="T47" fmla="*/ 492 h 513"/>
                <a:gd name="T48" fmla="*/ 273 w 633"/>
                <a:gd name="T49" fmla="*/ 499 h 513"/>
                <a:gd name="T50" fmla="*/ 239 w 633"/>
                <a:gd name="T51" fmla="*/ 498 h 513"/>
                <a:gd name="T52" fmla="*/ 195 w 633"/>
                <a:gd name="T53" fmla="*/ 493 h 513"/>
                <a:gd name="T54" fmla="*/ 164 w 633"/>
                <a:gd name="T55" fmla="*/ 508 h 513"/>
                <a:gd name="T56" fmla="*/ 127 w 633"/>
                <a:gd name="T57" fmla="*/ 508 h 513"/>
                <a:gd name="T58" fmla="*/ 101 w 633"/>
                <a:gd name="T59" fmla="*/ 493 h 513"/>
                <a:gd name="T60" fmla="*/ 87 w 633"/>
                <a:gd name="T61" fmla="*/ 456 h 513"/>
                <a:gd name="T62" fmla="*/ 84 w 633"/>
                <a:gd name="T63" fmla="*/ 439 h 513"/>
                <a:gd name="T64" fmla="*/ 78 w 633"/>
                <a:gd name="T65" fmla="*/ 424 h 513"/>
                <a:gd name="T66" fmla="*/ 111 w 633"/>
                <a:gd name="T67" fmla="*/ 404 h 513"/>
                <a:gd name="T68" fmla="*/ 117 w 633"/>
                <a:gd name="T69" fmla="*/ 367 h 513"/>
                <a:gd name="T70" fmla="*/ 110 w 633"/>
                <a:gd name="T71" fmla="*/ 311 h 513"/>
                <a:gd name="T72" fmla="*/ 74 w 633"/>
                <a:gd name="T73" fmla="*/ 283 h 513"/>
                <a:gd name="T74" fmla="*/ 33 w 633"/>
                <a:gd name="T75" fmla="*/ 269 h 513"/>
                <a:gd name="T76" fmla="*/ 2 w 633"/>
                <a:gd name="T77" fmla="*/ 265 h 513"/>
                <a:gd name="T78" fmla="*/ 5 w 633"/>
                <a:gd name="T79" fmla="*/ 235 h 513"/>
                <a:gd name="T80" fmla="*/ 27 w 633"/>
                <a:gd name="T81" fmla="*/ 212 h 513"/>
                <a:gd name="T82" fmla="*/ 69 w 633"/>
                <a:gd name="T83" fmla="*/ 184 h 513"/>
                <a:gd name="T84" fmla="*/ 113 w 633"/>
                <a:gd name="T85" fmla="*/ 171 h 513"/>
                <a:gd name="T86" fmla="*/ 149 w 633"/>
                <a:gd name="T87" fmla="*/ 158 h 513"/>
                <a:gd name="T88" fmla="*/ 176 w 633"/>
                <a:gd name="T89" fmla="*/ 133 h 513"/>
                <a:gd name="T90" fmla="*/ 236 w 633"/>
                <a:gd name="T91" fmla="*/ 127 h 513"/>
                <a:gd name="T92" fmla="*/ 287 w 633"/>
                <a:gd name="T93" fmla="*/ 120 h 513"/>
                <a:gd name="T94" fmla="*/ 299 w 633"/>
                <a:gd name="T95" fmla="*/ 88 h 513"/>
                <a:gd name="T96" fmla="*/ 318 w 633"/>
                <a:gd name="T97" fmla="*/ 59 h 513"/>
                <a:gd name="T98" fmla="*/ 340 w 633"/>
                <a:gd name="T99" fmla="*/ 53 h 513"/>
                <a:gd name="T100" fmla="*/ 361 w 633"/>
                <a:gd name="T101" fmla="*/ 65 h 513"/>
                <a:gd name="T102" fmla="*/ 404 w 633"/>
                <a:gd name="T103" fmla="*/ 32 h 513"/>
                <a:gd name="T104" fmla="*/ 435 w 633"/>
                <a:gd name="T105" fmla="*/ 21 h 513"/>
                <a:gd name="T106" fmla="*/ 306 w 633"/>
                <a:gd name="T107" fmla="*/ 213 h 513"/>
                <a:gd name="T108" fmla="*/ 269 w 633"/>
                <a:gd name="T109" fmla="*/ 227 h 513"/>
                <a:gd name="T110" fmla="*/ 258 w 633"/>
                <a:gd name="T111" fmla="*/ 252 h 513"/>
                <a:gd name="T112" fmla="*/ 269 w 633"/>
                <a:gd name="T113" fmla="*/ 285 h 513"/>
                <a:gd name="T114" fmla="*/ 280 w 633"/>
                <a:gd name="T115" fmla="*/ 308 h 513"/>
                <a:gd name="T116" fmla="*/ 326 w 633"/>
                <a:gd name="T117" fmla="*/ 289 h 513"/>
                <a:gd name="T118" fmla="*/ 368 w 633"/>
                <a:gd name="T119" fmla="*/ 286 h 513"/>
                <a:gd name="T120" fmla="*/ 383 w 633"/>
                <a:gd name="T121" fmla="*/ 252 h 513"/>
                <a:gd name="T122" fmla="*/ 356 w 633"/>
                <a:gd name="T123" fmla="*/ 222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3" h="513">
                  <a:moveTo>
                    <a:pt x="451" y="0"/>
                  </a:moveTo>
                  <a:lnTo>
                    <a:pt x="451" y="0"/>
                  </a:lnTo>
                  <a:lnTo>
                    <a:pt x="452" y="0"/>
                  </a:lnTo>
                  <a:lnTo>
                    <a:pt x="452" y="1"/>
                  </a:lnTo>
                  <a:lnTo>
                    <a:pt x="453" y="1"/>
                  </a:lnTo>
                  <a:lnTo>
                    <a:pt x="455" y="3"/>
                  </a:lnTo>
                  <a:lnTo>
                    <a:pt x="456" y="4"/>
                  </a:lnTo>
                  <a:lnTo>
                    <a:pt x="457" y="5"/>
                  </a:lnTo>
                  <a:lnTo>
                    <a:pt x="459" y="6"/>
                  </a:lnTo>
                  <a:lnTo>
                    <a:pt x="460" y="7"/>
                  </a:lnTo>
                  <a:lnTo>
                    <a:pt x="460" y="7"/>
                  </a:lnTo>
                  <a:lnTo>
                    <a:pt x="461" y="8"/>
                  </a:lnTo>
                  <a:lnTo>
                    <a:pt x="461" y="9"/>
                  </a:lnTo>
                  <a:lnTo>
                    <a:pt x="462" y="9"/>
                  </a:lnTo>
                  <a:lnTo>
                    <a:pt x="463" y="9"/>
                  </a:lnTo>
                  <a:lnTo>
                    <a:pt x="463" y="10"/>
                  </a:lnTo>
                  <a:lnTo>
                    <a:pt x="464" y="10"/>
                  </a:lnTo>
                  <a:lnTo>
                    <a:pt x="465" y="10"/>
                  </a:lnTo>
                  <a:lnTo>
                    <a:pt x="465" y="10"/>
                  </a:lnTo>
                  <a:lnTo>
                    <a:pt x="465" y="9"/>
                  </a:lnTo>
                  <a:lnTo>
                    <a:pt x="466" y="9"/>
                  </a:lnTo>
                  <a:lnTo>
                    <a:pt x="467" y="8"/>
                  </a:lnTo>
                  <a:lnTo>
                    <a:pt x="468" y="8"/>
                  </a:lnTo>
                  <a:lnTo>
                    <a:pt x="468" y="8"/>
                  </a:lnTo>
                  <a:lnTo>
                    <a:pt x="469" y="7"/>
                  </a:lnTo>
                  <a:lnTo>
                    <a:pt x="470" y="7"/>
                  </a:lnTo>
                  <a:lnTo>
                    <a:pt x="471" y="7"/>
                  </a:lnTo>
                  <a:lnTo>
                    <a:pt x="471" y="7"/>
                  </a:lnTo>
                  <a:lnTo>
                    <a:pt x="474" y="8"/>
                  </a:lnTo>
                  <a:lnTo>
                    <a:pt x="475" y="8"/>
                  </a:lnTo>
                  <a:lnTo>
                    <a:pt x="476" y="8"/>
                  </a:lnTo>
                  <a:lnTo>
                    <a:pt x="476" y="8"/>
                  </a:lnTo>
                  <a:lnTo>
                    <a:pt x="476" y="9"/>
                  </a:lnTo>
                  <a:lnTo>
                    <a:pt x="477" y="9"/>
                  </a:lnTo>
                  <a:lnTo>
                    <a:pt x="479" y="10"/>
                  </a:lnTo>
                  <a:lnTo>
                    <a:pt x="481" y="14"/>
                  </a:lnTo>
                  <a:lnTo>
                    <a:pt x="485" y="18"/>
                  </a:lnTo>
                  <a:lnTo>
                    <a:pt x="487" y="20"/>
                  </a:lnTo>
                  <a:lnTo>
                    <a:pt x="488" y="21"/>
                  </a:lnTo>
                  <a:lnTo>
                    <a:pt x="488" y="21"/>
                  </a:lnTo>
                  <a:lnTo>
                    <a:pt x="489" y="22"/>
                  </a:lnTo>
                  <a:lnTo>
                    <a:pt x="490" y="22"/>
                  </a:lnTo>
                  <a:lnTo>
                    <a:pt x="491" y="22"/>
                  </a:lnTo>
                  <a:lnTo>
                    <a:pt x="493" y="23"/>
                  </a:lnTo>
                  <a:lnTo>
                    <a:pt x="494" y="24"/>
                  </a:lnTo>
                  <a:lnTo>
                    <a:pt x="495" y="24"/>
                  </a:lnTo>
                  <a:lnTo>
                    <a:pt x="496" y="25"/>
                  </a:lnTo>
                  <a:lnTo>
                    <a:pt x="497" y="26"/>
                  </a:lnTo>
                  <a:lnTo>
                    <a:pt x="499" y="27"/>
                  </a:lnTo>
                  <a:lnTo>
                    <a:pt x="500" y="28"/>
                  </a:lnTo>
                  <a:lnTo>
                    <a:pt x="501" y="29"/>
                  </a:lnTo>
                  <a:lnTo>
                    <a:pt x="501" y="30"/>
                  </a:lnTo>
                  <a:lnTo>
                    <a:pt x="502" y="31"/>
                  </a:lnTo>
                  <a:lnTo>
                    <a:pt x="503" y="32"/>
                  </a:lnTo>
                  <a:lnTo>
                    <a:pt x="505" y="35"/>
                  </a:lnTo>
                  <a:lnTo>
                    <a:pt x="505" y="36"/>
                  </a:lnTo>
                  <a:lnTo>
                    <a:pt x="505" y="37"/>
                  </a:lnTo>
                  <a:lnTo>
                    <a:pt x="506" y="37"/>
                  </a:lnTo>
                  <a:lnTo>
                    <a:pt x="507" y="38"/>
                  </a:lnTo>
                  <a:lnTo>
                    <a:pt x="508" y="38"/>
                  </a:lnTo>
                  <a:lnTo>
                    <a:pt x="508" y="39"/>
                  </a:lnTo>
                  <a:lnTo>
                    <a:pt x="509" y="39"/>
                  </a:lnTo>
                  <a:lnTo>
                    <a:pt x="511" y="40"/>
                  </a:lnTo>
                  <a:lnTo>
                    <a:pt x="512" y="41"/>
                  </a:lnTo>
                  <a:lnTo>
                    <a:pt x="517" y="43"/>
                  </a:lnTo>
                  <a:lnTo>
                    <a:pt x="518" y="43"/>
                  </a:lnTo>
                  <a:lnTo>
                    <a:pt x="519" y="44"/>
                  </a:lnTo>
                  <a:lnTo>
                    <a:pt x="518" y="45"/>
                  </a:lnTo>
                  <a:lnTo>
                    <a:pt x="517" y="46"/>
                  </a:lnTo>
                  <a:lnTo>
                    <a:pt x="515" y="48"/>
                  </a:lnTo>
                  <a:lnTo>
                    <a:pt x="514" y="49"/>
                  </a:lnTo>
                  <a:lnTo>
                    <a:pt x="513" y="50"/>
                  </a:lnTo>
                  <a:lnTo>
                    <a:pt x="512" y="51"/>
                  </a:lnTo>
                  <a:lnTo>
                    <a:pt x="512" y="52"/>
                  </a:lnTo>
                  <a:lnTo>
                    <a:pt x="512" y="52"/>
                  </a:lnTo>
                  <a:lnTo>
                    <a:pt x="512" y="53"/>
                  </a:lnTo>
                  <a:lnTo>
                    <a:pt x="512" y="54"/>
                  </a:lnTo>
                  <a:lnTo>
                    <a:pt x="512" y="54"/>
                  </a:lnTo>
                  <a:lnTo>
                    <a:pt x="512" y="55"/>
                  </a:lnTo>
                  <a:lnTo>
                    <a:pt x="512" y="56"/>
                  </a:lnTo>
                  <a:lnTo>
                    <a:pt x="513" y="58"/>
                  </a:lnTo>
                  <a:lnTo>
                    <a:pt x="514" y="60"/>
                  </a:lnTo>
                  <a:lnTo>
                    <a:pt x="514" y="61"/>
                  </a:lnTo>
                  <a:lnTo>
                    <a:pt x="515" y="63"/>
                  </a:lnTo>
                  <a:lnTo>
                    <a:pt x="516" y="65"/>
                  </a:lnTo>
                  <a:lnTo>
                    <a:pt x="516" y="66"/>
                  </a:lnTo>
                  <a:lnTo>
                    <a:pt x="516" y="66"/>
                  </a:lnTo>
                  <a:lnTo>
                    <a:pt x="516" y="67"/>
                  </a:lnTo>
                  <a:lnTo>
                    <a:pt x="516" y="69"/>
                  </a:lnTo>
                  <a:lnTo>
                    <a:pt x="516" y="74"/>
                  </a:lnTo>
                  <a:lnTo>
                    <a:pt x="516" y="75"/>
                  </a:lnTo>
                  <a:lnTo>
                    <a:pt x="516" y="76"/>
                  </a:lnTo>
                  <a:lnTo>
                    <a:pt x="517" y="77"/>
                  </a:lnTo>
                  <a:lnTo>
                    <a:pt x="517" y="78"/>
                  </a:lnTo>
                  <a:lnTo>
                    <a:pt x="517" y="78"/>
                  </a:lnTo>
                  <a:lnTo>
                    <a:pt x="518" y="80"/>
                  </a:lnTo>
                  <a:lnTo>
                    <a:pt x="519" y="81"/>
                  </a:lnTo>
                  <a:lnTo>
                    <a:pt x="519" y="82"/>
                  </a:lnTo>
                  <a:lnTo>
                    <a:pt x="520" y="83"/>
                  </a:lnTo>
                  <a:lnTo>
                    <a:pt x="520" y="84"/>
                  </a:lnTo>
                  <a:lnTo>
                    <a:pt x="521" y="87"/>
                  </a:lnTo>
                  <a:lnTo>
                    <a:pt x="522" y="89"/>
                  </a:lnTo>
                  <a:lnTo>
                    <a:pt x="522" y="90"/>
                  </a:lnTo>
                  <a:lnTo>
                    <a:pt x="522" y="91"/>
                  </a:lnTo>
                  <a:lnTo>
                    <a:pt x="522" y="93"/>
                  </a:lnTo>
                  <a:lnTo>
                    <a:pt x="521" y="94"/>
                  </a:lnTo>
                  <a:lnTo>
                    <a:pt x="521" y="95"/>
                  </a:lnTo>
                  <a:lnTo>
                    <a:pt x="520" y="96"/>
                  </a:lnTo>
                  <a:lnTo>
                    <a:pt x="520" y="97"/>
                  </a:lnTo>
                  <a:lnTo>
                    <a:pt x="518" y="99"/>
                  </a:lnTo>
                  <a:lnTo>
                    <a:pt x="518" y="100"/>
                  </a:lnTo>
                  <a:lnTo>
                    <a:pt x="517" y="101"/>
                  </a:lnTo>
                  <a:lnTo>
                    <a:pt x="516" y="104"/>
                  </a:lnTo>
                  <a:lnTo>
                    <a:pt x="516" y="105"/>
                  </a:lnTo>
                  <a:lnTo>
                    <a:pt x="516" y="105"/>
                  </a:lnTo>
                  <a:lnTo>
                    <a:pt x="515" y="105"/>
                  </a:lnTo>
                  <a:lnTo>
                    <a:pt x="515" y="106"/>
                  </a:lnTo>
                  <a:lnTo>
                    <a:pt x="514" y="106"/>
                  </a:lnTo>
                  <a:lnTo>
                    <a:pt x="512" y="108"/>
                  </a:lnTo>
                  <a:lnTo>
                    <a:pt x="511" y="108"/>
                  </a:lnTo>
                  <a:lnTo>
                    <a:pt x="511" y="108"/>
                  </a:lnTo>
                  <a:lnTo>
                    <a:pt x="510" y="109"/>
                  </a:lnTo>
                  <a:lnTo>
                    <a:pt x="510" y="110"/>
                  </a:lnTo>
                  <a:lnTo>
                    <a:pt x="510" y="110"/>
                  </a:lnTo>
                  <a:lnTo>
                    <a:pt x="509" y="111"/>
                  </a:lnTo>
                  <a:lnTo>
                    <a:pt x="509" y="111"/>
                  </a:lnTo>
                  <a:lnTo>
                    <a:pt x="509" y="112"/>
                  </a:lnTo>
                  <a:lnTo>
                    <a:pt x="509" y="113"/>
                  </a:lnTo>
                  <a:lnTo>
                    <a:pt x="510" y="114"/>
                  </a:lnTo>
                  <a:lnTo>
                    <a:pt x="510" y="114"/>
                  </a:lnTo>
                  <a:lnTo>
                    <a:pt x="510" y="115"/>
                  </a:lnTo>
                  <a:lnTo>
                    <a:pt x="511" y="117"/>
                  </a:lnTo>
                  <a:lnTo>
                    <a:pt x="512" y="118"/>
                  </a:lnTo>
                  <a:lnTo>
                    <a:pt x="512" y="119"/>
                  </a:lnTo>
                  <a:lnTo>
                    <a:pt x="513" y="120"/>
                  </a:lnTo>
                  <a:lnTo>
                    <a:pt x="513" y="121"/>
                  </a:lnTo>
                  <a:lnTo>
                    <a:pt x="513" y="122"/>
                  </a:lnTo>
                  <a:lnTo>
                    <a:pt x="514" y="123"/>
                  </a:lnTo>
                  <a:lnTo>
                    <a:pt x="514" y="124"/>
                  </a:lnTo>
                  <a:lnTo>
                    <a:pt x="515" y="124"/>
                  </a:lnTo>
                  <a:lnTo>
                    <a:pt x="515" y="125"/>
                  </a:lnTo>
                  <a:lnTo>
                    <a:pt x="516" y="125"/>
                  </a:lnTo>
                  <a:lnTo>
                    <a:pt x="517" y="126"/>
                  </a:lnTo>
                  <a:lnTo>
                    <a:pt x="518" y="126"/>
                  </a:lnTo>
                  <a:lnTo>
                    <a:pt x="518" y="126"/>
                  </a:lnTo>
                  <a:lnTo>
                    <a:pt x="519" y="127"/>
                  </a:lnTo>
                  <a:lnTo>
                    <a:pt x="519" y="127"/>
                  </a:lnTo>
                  <a:lnTo>
                    <a:pt x="520" y="127"/>
                  </a:lnTo>
                  <a:lnTo>
                    <a:pt x="521" y="127"/>
                  </a:lnTo>
                  <a:lnTo>
                    <a:pt x="524" y="127"/>
                  </a:lnTo>
                  <a:lnTo>
                    <a:pt x="525" y="128"/>
                  </a:lnTo>
                  <a:lnTo>
                    <a:pt x="525" y="128"/>
                  </a:lnTo>
                  <a:lnTo>
                    <a:pt x="527" y="128"/>
                  </a:lnTo>
                  <a:lnTo>
                    <a:pt x="528" y="129"/>
                  </a:lnTo>
                  <a:lnTo>
                    <a:pt x="529" y="129"/>
                  </a:lnTo>
                  <a:lnTo>
                    <a:pt x="529" y="130"/>
                  </a:lnTo>
                  <a:lnTo>
                    <a:pt x="530" y="130"/>
                  </a:lnTo>
                  <a:lnTo>
                    <a:pt x="531" y="132"/>
                  </a:lnTo>
                  <a:lnTo>
                    <a:pt x="531" y="132"/>
                  </a:lnTo>
                  <a:lnTo>
                    <a:pt x="532" y="133"/>
                  </a:lnTo>
                  <a:lnTo>
                    <a:pt x="533" y="134"/>
                  </a:lnTo>
                  <a:lnTo>
                    <a:pt x="534" y="135"/>
                  </a:lnTo>
                  <a:lnTo>
                    <a:pt x="536" y="137"/>
                  </a:lnTo>
                  <a:lnTo>
                    <a:pt x="536" y="137"/>
                  </a:lnTo>
                  <a:lnTo>
                    <a:pt x="537" y="138"/>
                  </a:lnTo>
                  <a:lnTo>
                    <a:pt x="537" y="139"/>
                  </a:lnTo>
                  <a:lnTo>
                    <a:pt x="538" y="139"/>
                  </a:lnTo>
                  <a:lnTo>
                    <a:pt x="538" y="140"/>
                  </a:lnTo>
                  <a:lnTo>
                    <a:pt x="538" y="142"/>
                  </a:lnTo>
                  <a:lnTo>
                    <a:pt x="538" y="144"/>
                  </a:lnTo>
                  <a:lnTo>
                    <a:pt x="538" y="144"/>
                  </a:lnTo>
                  <a:lnTo>
                    <a:pt x="538" y="145"/>
                  </a:lnTo>
                  <a:lnTo>
                    <a:pt x="538" y="146"/>
                  </a:lnTo>
                  <a:lnTo>
                    <a:pt x="539" y="147"/>
                  </a:lnTo>
                  <a:lnTo>
                    <a:pt x="539" y="148"/>
                  </a:lnTo>
                  <a:lnTo>
                    <a:pt x="539" y="148"/>
                  </a:lnTo>
                  <a:lnTo>
                    <a:pt x="540" y="149"/>
                  </a:lnTo>
                  <a:lnTo>
                    <a:pt x="540" y="149"/>
                  </a:lnTo>
                  <a:lnTo>
                    <a:pt x="541" y="150"/>
                  </a:lnTo>
                  <a:lnTo>
                    <a:pt x="542" y="150"/>
                  </a:lnTo>
                  <a:lnTo>
                    <a:pt x="542" y="151"/>
                  </a:lnTo>
                  <a:lnTo>
                    <a:pt x="543" y="151"/>
                  </a:lnTo>
                  <a:lnTo>
                    <a:pt x="544" y="151"/>
                  </a:lnTo>
                  <a:lnTo>
                    <a:pt x="545" y="152"/>
                  </a:lnTo>
                  <a:lnTo>
                    <a:pt x="545" y="152"/>
                  </a:lnTo>
                  <a:lnTo>
                    <a:pt x="546" y="152"/>
                  </a:lnTo>
                  <a:lnTo>
                    <a:pt x="547" y="152"/>
                  </a:lnTo>
                  <a:lnTo>
                    <a:pt x="548" y="152"/>
                  </a:lnTo>
                  <a:lnTo>
                    <a:pt x="552" y="151"/>
                  </a:lnTo>
                  <a:lnTo>
                    <a:pt x="553" y="151"/>
                  </a:lnTo>
                  <a:lnTo>
                    <a:pt x="554" y="151"/>
                  </a:lnTo>
                  <a:lnTo>
                    <a:pt x="558" y="152"/>
                  </a:lnTo>
                  <a:lnTo>
                    <a:pt x="561" y="152"/>
                  </a:lnTo>
                  <a:lnTo>
                    <a:pt x="564" y="153"/>
                  </a:lnTo>
                  <a:lnTo>
                    <a:pt x="565" y="153"/>
                  </a:lnTo>
                  <a:lnTo>
                    <a:pt x="566" y="153"/>
                  </a:lnTo>
                  <a:lnTo>
                    <a:pt x="567" y="153"/>
                  </a:lnTo>
                  <a:lnTo>
                    <a:pt x="568" y="152"/>
                  </a:lnTo>
                  <a:lnTo>
                    <a:pt x="572" y="151"/>
                  </a:lnTo>
                  <a:lnTo>
                    <a:pt x="574" y="150"/>
                  </a:lnTo>
                  <a:lnTo>
                    <a:pt x="575" y="150"/>
                  </a:lnTo>
                  <a:lnTo>
                    <a:pt x="577" y="149"/>
                  </a:lnTo>
                  <a:lnTo>
                    <a:pt x="577" y="149"/>
                  </a:lnTo>
                  <a:lnTo>
                    <a:pt x="578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80" y="149"/>
                  </a:lnTo>
                  <a:lnTo>
                    <a:pt x="581" y="149"/>
                  </a:lnTo>
                  <a:lnTo>
                    <a:pt x="581" y="150"/>
                  </a:lnTo>
                  <a:lnTo>
                    <a:pt x="582" y="151"/>
                  </a:lnTo>
                  <a:lnTo>
                    <a:pt x="584" y="152"/>
                  </a:lnTo>
                  <a:lnTo>
                    <a:pt x="584" y="153"/>
                  </a:lnTo>
                  <a:lnTo>
                    <a:pt x="585" y="153"/>
                  </a:lnTo>
                  <a:lnTo>
                    <a:pt x="586" y="154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7" y="156"/>
                  </a:lnTo>
                  <a:lnTo>
                    <a:pt x="587" y="158"/>
                  </a:lnTo>
                  <a:lnTo>
                    <a:pt x="587" y="158"/>
                  </a:lnTo>
                  <a:lnTo>
                    <a:pt x="587" y="160"/>
                  </a:lnTo>
                  <a:lnTo>
                    <a:pt x="587" y="162"/>
                  </a:lnTo>
                  <a:lnTo>
                    <a:pt x="588" y="165"/>
                  </a:lnTo>
                  <a:lnTo>
                    <a:pt x="588" y="167"/>
                  </a:lnTo>
                  <a:lnTo>
                    <a:pt x="587" y="168"/>
                  </a:lnTo>
                  <a:lnTo>
                    <a:pt x="587" y="171"/>
                  </a:lnTo>
                  <a:lnTo>
                    <a:pt x="587" y="172"/>
                  </a:lnTo>
                  <a:lnTo>
                    <a:pt x="587" y="173"/>
                  </a:lnTo>
                  <a:lnTo>
                    <a:pt x="587" y="174"/>
                  </a:lnTo>
                  <a:lnTo>
                    <a:pt x="587" y="176"/>
                  </a:lnTo>
                  <a:lnTo>
                    <a:pt x="587" y="178"/>
                  </a:lnTo>
                  <a:lnTo>
                    <a:pt x="587" y="179"/>
                  </a:lnTo>
                  <a:lnTo>
                    <a:pt x="587" y="179"/>
                  </a:lnTo>
                  <a:lnTo>
                    <a:pt x="587" y="180"/>
                  </a:lnTo>
                  <a:lnTo>
                    <a:pt x="588" y="182"/>
                  </a:lnTo>
                  <a:lnTo>
                    <a:pt x="589" y="183"/>
                  </a:lnTo>
                  <a:lnTo>
                    <a:pt x="591" y="185"/>
                  </a:lnTo>
                  <a:lnTo>
                    <a:pt x="591" y="186"/>
                  </a:lnTo>
                  <a:lnTo>
                    <a:pt x="592" y="188"/>
                  </a:lnTo>
                  <a:lnTo>
                    <a:pt x="592" y="189"/>
                  </a:lnTo>
                  <a:lnTo>
                    <a:pt x="593" y="191"/>
                  </a:lnTo>
                  <a:lnTo>
                    <a:pt x="593" y="191"/>
                  </a:lnTo>
                  <a:lnTo>
                    <a:pt x="593" y="192"/>
                  </a:lnTo>
                  <a:lnTo>
                    <a:pt x="593" y="192"/>
                  </a:lnTo>
                  <a:lnTo>
                    <a:pt x="593" y="193"/>
                  </a:lnTo>
                  <a:lnTo>
                    <a:pt x="593" y="194"/>
                  </a:lnTo>
                  <a:lnTo>
                    <a:pt x="592" y="195"/>
                  </a:lnTo>
                  <a:lnTo>
                    <a:pt x="592" y="196"/>
                  </a:lnTo>
                  <a:lnTo>
                    <a:pt x="591" y="198"/>
                  </a:lnTo>
                  <a:lnTo>
                    <a:pt x="591" y="199"/>
                  </a:lnTo>
                  <a:lnTo>
                    <a:pt x="590" y="200"/>
                  </a:lnTo>
                  <a:lnTo>
                    <a:pt x="589" y="202"/>
                  </a:lnTo>
                  <a:lnTo>
                    <a:pt x="588" y="203"/>
                  </a:lnTo>
                  <a:lnTo>
                    <a:pt x="587" y="204"/>
                  </a:lnTo>
                  <a:lnTo>
                    <a:pt x="586" y="206"/>
                  </a:lnTo>
                  <a:lnTo>
                    <a:pt x="585" y="207"/>
                  </a:lnTo>
                  <a:lnTo>
                    <a:pt x="584" y="208"/>
                  </a:lnTo>
                  <a:lnTo>
                    <a:pt x="584" y="209"/>
                  </a:lnTo>
                  <a:lnTo>
                    <a:pt x="583" y="210"/>
                  </a:lnTo>
                  <a:lnTo>
                    <a:pt x="583" y="210"/>
                  </a:lnTo>
                  <a:lnTo>
                    <a:pt x="583" y="211"/>
                  </a:lnTo>
                  <a:lnTo>
                    <a:pt x="584" y="212"/>
                  </a:lnTo>
                  <a:lnTo>
                    <a:pt x="584" y="213"/>
                  </a:lnTo>
                  <a:lnTo>
                    <a:pt x="584" y="214"/>
                  </a:lnTo>
                  <a:lnTo>
                    <a:pt x="584" y="214"/>
                  </a:lnTo>
                  <a:lnTo>
                    <a:pt x="583" y="217"/>
                  </a:lnTo>
                  <a:lnTo>
                    <a:pt x="583" y="217"/>
                  </a:lnTo>
                  <a:lnTo>
                    <a:pt x="583" y="217"/>
                  </a:lnTo>
                  <a:lnTo>
                    <a:pt x="583" y="218"/>
                  </a:lnTo>
                  <a:lnTo>
                    <a:pt x="583" y="218"/>
                  </a:lnTo>
                  <a:lnTo>
                    <a:pt x="584" y="218"/>
                  </a:lnTo>
                  <a:lnTo>
                    <a:pt x="585" y="219"/>
                  </a:lnTo>
                  <a:lnTo>
                    <a:pt x="588" y="220"/>
                  </a:lnTo>
                  <a:lnTo>
                    <a:pt x="592" y="221"/>
                  </a:lnTo>
                  <a:lnTo>
                    <a:pt x="593" y="221"/>
                  </a:lnTo>
                  <a:lnTo>
                    <a:pt x="594" y="221"/>
                  </a:lnTo>
                  <a:lnTo>
                    <a:pt x="596" y="222"/>
                  </a:lnTo>
                  <a:lnTo>
                    <a:pt x="597" y="222"/>
                  </a:lnTo>
                  <a:lnTo>
                    <a:pt x="598" y="222"/>
                  </a:lnTo>
                  <a:lnTo>
                    <a:pt x="599" y="223"/>
                  </a:lnTo>
                  <a:lnTo>
                    <a:pt x="600" y="223"/>
                  </a:lnTo>
                  <a:lnTo>
                    <a:pt x="602" y="225"/>
                  </a:lnTo>
                  <a:lnTo>
                    <a:pt x="603" y="226"/>
                  </a:lnTo>
                  <a:lnTo>
                    <a:pt x="605" y="226"/>
                  </a:lnTo>
                  <a:lnTo>
                    <a:pt x="605" y="227"/>
                  </a:lnTo>
                  <a:lnTo>
                    <a:pt x="605" y="227"/>
                  </a:lnTo>
                  <a:lnTo>
                    <a:pt x="606" y="228"/>
                  </a:lnTo>
                  <a:lnTo>
                    <a:pt x="606" y="228"/>
                  </a:lnTo>
                  <a:lnTo>
                    <a:pt x="606" y="229"/>
                  </a:lnTo>
                  <a:lnTo>
                    <a:pt x="606" y="229"/>
                  </a:lnTo>
                  <a:lnTo>
                    <a:pt x="606" y="230"/>
                  </a:lnTo>
                  <a:lnTo>
                    <a:pt x="606" y="231"/>
                  </a:lnTo>
                  <a:lnTo>
                    <a:pt x="606" y="231"/>
                  </a:lnTo>
                  <a:lnTo>
                    <a:pt x="606" y="233"/>
                  </a:lnTo>
                  <a:lnTo>
                    <a:pt x="606" y="234"/>
                  </a:lnTo>
                  <a:lnTo>
                    <a:pt x="606" y="235"/>
                  </a:lnTo>
                  <a:lnTo>
                    <a:pt x="605" y="235"/>
                  </a:lnTo>
                  <a:lnTo>
                    <a:pt x="605" y="236"/>
                  </a:lnTo>
                  <a:lnTo>
                    <a:pt x="605" y="236"/>
                  </a:lnTo>
                  <a:lnTo>
                    <a:pt x="604" y="236"/>
                  </a:lnTo>
                  <a:lnTo>
                    <a:pt x="603" y="236"/>
                  </a:lnTo>
                  <a:lnTo>
                    <a:pt x="603" y="237"/>
                  </a:lnTo>
                  <a:lnTo>
                    <a:pt x="602" y="237"/>
                  </a:lnTo>
                  <a:lnTo>
                    <a:pt x="600" y="237"/>
                  </a:lnTo>
                  <a:lnTo>
                    <a:pt x="599" y="238"/>
                  </a:lnTo>
                  <a:lnTo>
                    <a:pt x="599" y="238"/>
                  </a:lnTo>
                  <a:lnTo>
                    <a:pt x="598" y="238"/>
                  </a:lnTo>
                  <a:lnTo>
                    <a:pt x="598" y="239"/>
                  </a:lnTo>
                  <a:lnTo>
                    <a:pt x="597" y="239"/>
                  </a:lnTo>
                  <a:lnTo>
                    <a:pt x="597" y="239"/>
                  </a:lnTo>
                  <a:lnTo>
                    <a:pt x="597" y="240"/>
                  </a:lnTo>
                  <a:lnTo>
                    <a:pt x="597" y="240"/>
                  </a:lnTo>
                  <a:lnTo>
                    <a:pt x="597" y="241"/>
                  </a:lnTo>
                  <a:lnTo>
                    <a:pt x="597" y="241"/>
                  </a:lnTo>
                  <a:lnTo>
                    <a:pt x="597" y="241"/>
                  </a:lnTo>
                  <a:lnTo>
                    <a:pt x="598" y="242"/>
                  </a:lnTo>
                  <a:lnTo>
                    <a:pt x="599" y="243"/>
                  </a:lnTo>
                  <a:lnTo>
                    <a:pt x="599" y="243"/>
                  </a:lnTo>
                  <a:lnTo>
                    <a:pt x="599" y="244"/>
                  </a:lnTo>
                  <a:lnTo>
                    <a:pt x="599" y="244"/>
                  </a:lnTo>
                  <a:lnTo>
                    <a:pt x="599" y="245"/>
                  </a:lnTo>
                  <a:lnTo>
                    <a:pt x="599" y="245"/>
                  </a:lnTo>
                  <a:lnTo>
                    <a:pt x="598" y="246"/>
                  </a:lnTo>
                  <a:lnTo>
                    <a:pt x="598" y="247"/>
                  </a:lnTo>
                  <a:lnTo>
                    <a:pt x="598" y="247"/>
                  </a:lnTo>
                  <a:lnTo>
                    <a:pt x="598" y="249"/>
                  </a:lnTo>
                  <a:lnTo>
                    <a:pt x="597" y="251"/>
                  </a:lnTo>
                  <a:lnTo>
                    <a:pt x="597" y="252"/>
                  </a:lnTo>
                  <a:lnTo>
                    <a:pt x="597" y="253"/>
                  </a:lnTo>
                  <a:lnTo>
                    <a:pt x="597" y="254"/>
                  </a:lnTo>
                  <a:lnTo>
                    <a:pt x="596" y="254"/>
                  </a:lnTo>
                  <a:lnTo>
                    <a:pt x="596" y="255"/>
                  </a:lnTo>
                  <a:lnTo>
                    <a:pt x="596" y="255"/>
                  </a:lnTo>
                  <a:lnTo>
                    <a:pt x="595" y="256"/>
                  </a:lnTo>
                  <a:lnTo>
                    <a:pt x="594" y="256"/>
                  </a:lnTo>
                  <a:lnTo>
                    <a:pt x="592" y="258"/>
                  </a:lnTo>
                  <a:lnTo>
                    <a:pt x="591" y="259"/>
                  </a:lnTo>
                  <a:lnTo>
                    <a:pt x="591" y="259"/>
                  </a:lnTo>
                  <a:lnTo>
                    <a:pt x="591" y="259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1"/>
                  </a:lnTo>
                  <a:lnTo>
                    <a:pt x="592" y="262"/>
                  </a:lnTo>
                  <a:lnTo>
                    <a:pt x="592" y="262"/>
                  </a:lnTo>
                  <a:lnTo>
                    <a:pt x="593" y="263"/>
                  </a:lnTo>
                  <a:lnTo>
                    <a:pt x="593" y="263"/>
                  </a:lnTo>
                  <a:lnTo>
                    <a:pt x="592" y="263"/>
                  </a:lnTo>
                  <a:lnTo>
                    <a:pt x="592" y="263"/>
                  </a:lnTo>
                  <a:lnTo>
                    <a:pt x="592" y="264"/>
                  </a:lnTo>
                  <a:lnTo>
                    <a:pt x="591" y="264"/>
                  </a:lnTo>
                  <a:lnTo>
                    <a:pt x="589" y="265"/>
                  </a:lnTo>
                  <a:lnTo>
                    <a:pt x="589" y="265"/>
                  </a:lnTo>
                  <a:lnTo>
                    <a:pt x="588" y="265"/>
                  </a:lnTo>
                  <a:lnTo>
                    <a:pt x="588" y="266"/>
                  </a:lnTo>
                  <a:lnTo>
                    <a:pt x="587" y="266"/>
                  </a:lnTo>
                  <a:lnTo>
                    <a:pt x="587" y="267"/>
                  </a:lnTo>
                  <a:lnTo>
                    <a:pt x="587" y="267"/>
                  </a:lnTo>
                  <a:lnTo>
                    <a:pt x="587" y="267"/>
                  </a:lnTo>
                  <a:lnTo>
                    <a:pt x="587" y="268"/>
                  </a:lnTo>
                  <a:lnTo>
                    <a:pt x="587" y="269"/>
                  </a:lnTo>
                  <a:lnTo>
                    <a:pt x="587" y="269"/>
                  </a:lnTo>
                  <a:lnTo>
                    <a:pt x="587" y="270"/>
                  </a:lnTo>
                  <a:lnTo>
                    <a:pt x="588" y="271"/>
                  </a:lnTo>
                  <a:lnTo>
                    <a:pt x="588" y="272"/>
                  </a:lnTo>
                  <a:lnTo>
                    <a:pt x="589" y="272"/>
                  </a:lnTo>
                  <a:lnTo>
                    <a:pt x="590" y="273"/>
                  </a:lnTo>
                  <a:lnTo>
                    <a:pt x="591" y="274"/>
                  </a:lnTo>
                  <a:lnTo>
                    <a:pt x="592" y="274"/>
                  </a:lnTo>
                  <a:lnTo>
                    <a:pt x="593" y="275"/>
                  </a:lnTo>
                  <a:lnTo>
                    <a:pt x="594" y="275"/>
                  </a:lnTo>
                  <a:lnTo>
                    <a:pt x="595" y="276"/>
                  </a:lnTo>
                  <a:lnTo>
                    <a:pt x="598" y="276"/>
                  </a:lnTo>
                  <a:lnTo>
                    <a:pt x="598" y="277"/>
                  </a:lnTo>
                  <a:lnTo>
                    <a:pt x="599" y="277"/>
                  </a:lnTo>
                  <a:lnTo>
                    <a:pt x="601" y="278"/>
                  </a:lnTo>
                  <a:lnTo>
                    <a:pt x="601" y="278"/>
                  </a:lnTo>
                  <a:lnTo>
                    <a:pt x="602" y="279"/>
                  </a:lnTo>
                  <a:lnTo>
                    <a:pt x="603" y="279"/>
                  </a:lnTo>
                  <a:lnTo>
                    <a:pt x="603" y="280"/>
                  </a:lnTo>
                  <a:lnTo>
                    <a:pt x="604" y="280"/>
                  </a:lnTo>
                  <a:lnTo>
                    <a:pt x="604" y="280"/>
                  </a:lnTo>
                  <a:lnTo>
                    <a:pt x="605" y="281"/>
                  </a:lnTo>
                  <a:lnTo>
                    <a:pt x="607" y="281"/>
                  </a:lnTo>
                  <a:lnTo>
                    <a:pt x="608" y="282"/>
                  </a:lnTo>
                  <a:lnTo>
                    <a:pt x="610" y="282"/>
                  </a:lnTo>
                  <a:lnTo>
                    <a:pt x="610" y="282"/>
                  </a:lnTo>
                  <a:lnTo>
                    <a:pt x="611" y="282"/>
                  </a:lnTo>
                  <a:lnTo>
                    <a:pt x="611" y="282"/>
                  </a:lnTo>
                  <a:lnTo>
                    <a:pt x="611" y="283"/>
                  </a:lnTo>
                  <a:lnTo>
                    <a:pt x="612" y="284"/>
                  </a:lnTo>
                  <a:lnTo>
                    <a:pt x="613" y="284"/>
                  </a:lnTo>
                  <a:lnTo>
                    <a:pt x="613" y="284"/>
                  </a:lnTo>
                  <a:lnTo>
                    <a:pt x="614" y="285"/>
                  </a:lnTo>
                  <a:lnTo>
                    <a:pt x="615" y="285"/>
                  </a:lnTo>
                  <a:lnTo>
                    <a:pt x="615" y="285"/>
                  </a:lnTo>
                  <a:lnTo>
                    <a:pt x="615" y="285"/>
                  </a:lnTo>
                  <a:lnTo>
                    <a:pt x="615" y="286"/>
                  </a:lnTo>
                  <a:lnTo>
                    <a:pt x="616" y="286"/>
                  </a:lnTo>
                  <a:lnTo>
                    <a:pt x="616" y="287"/>
                  </a:lnTo>
                  <a:lnTo>
                    <a:pt x="616" y="290"/>
                  </a:lnTo>
                  <a:lnTo>
                    <a:pt x="616" y="290"/>
                  </a:lnTo>
                  <a:lnTo>
                    <a:pt x="616" y="291"/>
                  </a:lnTo>
                  <a:lnTo>
                    <a:pt x="616" y="291"/>
                  </a:lnTo>
                  <a:lnTo>
                    <a:pt x="616" y="292"/>
                  </a:lnTo>
                  <a:lnTo>
                    <a:pt x="617" y="293"/>
                  </a:lnTo>
                  <a:lnTo>
                    <a:pt x="617" y="293"/>
                  </a:lnTo>
                  <a:lnTo>
                    <a:pt x="618" y="294"/>
                  </a:lnTo>
                  <a:lnTo>
                    <a:pt x="620" y="295"/>
                  </a:lnTo>
                  <a:lnTo>
                    <a:pt x="621" y="296"/>
                  </a:lnTo>
                  <a:lnTo>
                    <a:pt x="622" y="297"/>
                  </a:lnTo>
                  <a:lnTo>
                    <a:pt x="624" y="298"/>
                  </a:lnTo>
                  <a:lnTo>
                    <a:pt x="625" y="299"/>
                  </a:lnTo>
                  <a:lnTo>
                    <a:pt x="628" y="300"/>
                  </a:lnTo>
                  <a:lnTo>
                    <a:pt x="629" y="301"/>
                  </a:lnTo>
                  <a:lnTo>
                    <a:pt x="630" y="301"/>
                  </a:lnTo>
                  <a:lnTo>
                    <a:pt x="631" y="302"/>
                  </a:lnTo>
                  <a:lnTo>
                    <a:pt x="632" y="303"/>
                  </a:lnTo>
                  <a:lnTo>
                    <a:pt x="632" y="304"/>
                  </a:lnTo>
                  <a:lnTo>
                    <a:pt x="633" y="304"/>
                  </a:lnTo>
                  <a:lnTo>
                    <a:pt x="633" y="305"/>
                  </a:lnTo>
                  <a:lnTo>
                    <a:pt x="633" y="306"/>
                  </a:lnTo>
                  <a:lnTo>
                    <a:pt x="633" y="307"/>
                  </a:lnTo>
                  <a:lnTo>
                    <a:pt x="633" y="307"/>
                  </a:lnTo>
                  <a:lnTo>
                    <a:pt x="633" y="309"/>
                  </a:lnTo>
                  <a:lnTo>
                    <a:pt x="632" y="311"/>
                  </a:lnTo>
                  <a:lnTo>
                    <a:pt x="632" y="312"/>
                  </a:lnTo>
                  <a:lnTo>
                    <a:pt x="632" y="312"/>
                  </a:lnTo>
                  <a:lnTo>
                    <a:pt x="632" y="313"/>
                  </a:lnTo>
                  <a:lnTo>
                    <a:pt x="632" y="314"/>
                  </a:lnTo>
                  <a:lnTo>
                    <a:pt x="632" y="314"/>
                  </a:lnTo>
                  <a:lnTo>
                    <a:pt x="633" y="317"/>
                  </a:lnTo>
                  <a:lnTo>
                    <a:pt x="633" y="318"/>
                  </a:lnTo>
                  <a:lnTo>
                    <a:pt x="633" y="319"/>
                  </a:lnTo>
                  <a:lnTo>
                    <a:pt x="633" y="320"/>
                  </a:lnTo>
                  <a:lnTo>
                    <a:pt x="633" y="321"/>
                  </a:lnTo>
                  <a:lnTo>
                    <a:pt x="633" y="322"/>
                  </a:lnTo>
                  <a:lnTo>
                    <a:pt x="632" y="324"/>
                  </a:lnTo>
                  <a:lnTo>
                    <a:pt x="631" y="325"/>
                  </a:lnTo>
                  <a:lnTo>
                    <a:pt x="630" y="329"/>
                  </a:lnTo>
                  <a:lnTo>
                    <a:pt x="629" y="330"/>
                  </a:lnTo>
                  <a:lnTo>
                    <a:pt x="629" y="331"/>
                  </a:lnTo>
                  <a:lnTo>
                    <a:pt x="627" y="333"/>
                  </a:lnTo>
                  <a:lnTo>
                    <a:pt x="627" y="333"/>
                  </a:lnTo>
                  <a:lnTo>
                    <a:pt x="626" y="334"/>
                  </a:lnTo>
                  <a:lnTo>
                    <a:pt x="626" y="335"/>
                  </a:lnTo>
                  <a:lnTo>
                    <a:pt x="626" y="336"/>
                  </a:lnTo>
                  <a:lnTo>
                    <a:pt x="626" y="336"/>
                  </a:lnTo>
                  <a:lnTo>
                    <a:pt x="626" y="340"/>
                  </a:lnTo>
                  <a:lnTo>
                    <a:pt x="625" y="343"/>
                  </a:lnTo>
                  <a:lnTo>
                    <a:pt x="625" y="347"/>
                  </a:lnTo>
                  <a:lnTo>
                    <a:pt x="624" y="349"/>
                  </a:lnTo>
                  <a:lnTo>
                    <a:pt x="624" y="349"/>
                  </a:lnTo>
                  <a:lnTo>
                    <a:pt x="624" y="350"/>
                  </a:lnTo>
                  <a:lnTo>
                    <a:pt x="624" y="349"/>
                  </a:lnTo>
                  <a:lnTo>
                    <a:pt x="624" y="350"/>
                  </a:lnTo>
                  <a:lnTo>
                    <a:pt x="624" y="350"/>
                  </a:lnTo>
                  <a:lnTo>
                    <a:pt x="624" y="351"/>
                  </a:lnTo>
                  <a:lnTo>
                    <a:pt x="623" y="351"/>
                  </a:lnTo>
                  <a:lnTo>
                    <a:pt x="623" y="352"/>
                  </a:lnTo>
                  <a:lnTo>
                    <a:pt x="622" y="353"/>
                  </a:lnTo>
                  <a:lnTo>
                    <a:pt x="619" y="354"/>
                  </a:lnTo>
                  <a:lnTo>
                    <a:pt x="617" y="356"/>
                  </a:lnTo>
                  <a:lnTo>
                    <a:pt x="616" y="357"/>
                  </a:lnTo>
                  <a:lnTo>
                    <a:pt x="616" y="357"/>
                  </a:lnTo>
                  <a:lnTo>
                    <a:pt x="616" y="357"/>
                  </a:lnTo>
                  <a:lnTo>
                    <a:pt x="615" y="358"/>
                  </a:lnTo>
                  <a:lnTo>
                    <a:pt x="614" y="358"/>
                  </a:lnTo>
                  <a:lnTo>
                    <a:pt x="613" y="358"/>
                  </a:lnTo>
                  <a:lnTo>
                    <a:pt x="611" y="358"/>
                  </a:lnTo>
                  <a:lnTo>
                    <a:pt x="610" y="358"/>
                  </a:lnTo>
                  <a:lnTo>
                    <a:pt x="609" y="359"/>
                  </a:lnTo>
                  <a:lnTo>
                    <a:pt x="608" y="359"/>
                  </a:lnTo>
                  <a:lnTo>
                    <a:pt x="607" y="359"/>
                  </a:lnTo>
                  <a:lnTo>
                    <a:pt x="607" y="360"/>
                  </a:lnTo>
                  <a:lnTo>
                    <a:pt x="606" y="360"/>
                  </a:lnTo>
                  <a:lnTo>
                    <a:pt x="606" y="361"/>
                  </a:lnTo>
                  <a:lnTo>
                    <a:pt x="604" y="362"/>
                  </a:lnTo>
                  <a:lnTo>
                    <a:pt x="603" y="363"/>
                  </a:lnTo>
                  <a:lnTo>
                    <a:pt x="603" y="364"/>
                  </a:lnTo>
                  <a:lnTo>
                    <a:pt x="603" y="364"/>
                  </a:lnTo>
                  <a:lnTo>
                    <a:pt x="602" y="365"/>
                  </a:lnTo>
                  <a:lnTo>
                    <a:pt x="602" y="365"/>
                  </a:lnTo>
                  <a:lnTo>
                    <a:pt x="602" y="366"/>
                  </a:lnTo>
                  <a:lnTo>
                    <a:pt x="602" y="367"/>
                  </a:lnTo>
                  <a:lnTo>
                    <a:pt x="602" y="367"/>
                  </a:lnTo>
                  <a:lnTo>
                    <a:pt x="602" y="368"/>
                  </a:lnTo>
                  <a:lnTo>
                    <a:pt x="602" y="369"/>
                  </a:lnTo>
                  <a:lnTo>
                    <a:pt x="602" y="369"/>
                  </a:lnTo>
                  <a:lnTo>
                    <a:pt x="603" y="372"/>
                  </a:lnTo>
                  <a:lnTo>
                    <a:pt x="604" y="373"/>
                  </a:lnTo>
                  <a:lnTo>
                    <a:pt x="604" y="374"/>
                  </a:lnTo>
                  <a:lnTo>
                    <a:pt x="604" y="375"/>
                  </a:lnTo>
                  <a:lnTo>
                    <a:pt x="604" y="375"/>
                  </a:lnTo>
                  <a:lnTo>
                    <a:pt x="604" y="376"/>
                  </a:lnTo>
                  <a:lnTo>
                    <a:pt x="604" y="377"/>
                  </a:lnTo>
                  <a:lnTo>
                    <a:pt x="604" y="377"/>
                  </a:lnTo>
                  <a:lnTo>
                    <a:pt x="604" y="377"/>
                  </a:lnTo>
                  <a:lnTo>
                    <a:pt x="604" y="378"/>
                  </a:lnTo>
                  <a:lnTo>
                    <a:pt x="604" y="378"/>
                  </a:lnTo>
                  <a:lnTo>
                    <a:pt x="603" y="379"/>
                  </a:lnTo>
                  <a:lnTo>
                    <a:pt x="603" y="379"/>
                  </a:lnTo>
                  <a:lnTo>
                    <a:pt x="602" y="379"/>
                  </a:lnTo>
                  <a:lnTo>
                    <a:pt x="602" y="380"/>
                  </a:lnTo>
                  <a:lnTo>
                    <a:pt x="601" y="380"/>
                  </a:lnTo>
                  <a:lnTo>
                    <a:pt x="600" y="380"/>
                  </a:lnTo>
                  <a:lnTo>
                    <a:pt x="599" y="380"/>
                  </a:lnTo>
                  <a:lnTo>
                    <a:pt x="598" y="380"/>
                  </a:lnTo>
                  <a:lnTo>
                    <a:pt x="597" y="380"/>
                  </a:lnTo>
                  <a:lnTo>
                    <a:pt x="594" y="380"/>
                  </a:lnTo>
                  <a:lnTo>
                    <a:pt x="592" y="380"/>
                  </a:lnTo>
                  <a:lnTo>
                    <a:pt x="592" y="380"/>
                  </a:lnTo>
                  <a:lnTo>
                    <a:pt x="591" y="380"/>
                  </a:lnTo>
                  <a:lnTo>
                    <a:pt x="590" y="381"/>
                  </a:lnTo>
                  <a:lnTo>
                    <a:pt x="590" y="381"/>
                  </a:lnTo>
                  <a:lnTo>
                    <a:pt x="589" y="382"/>
                  </a:lnTo>
                  <a:lnTo>
                    <a:pt x="588" y="382"/>
                  </a:lnTo>
                  <a:lnTo>
                    <a:pt x="587" y="383"/>
                  </a:lnTo>
                  <a:lnTo>
                    <a:pt x="586" y="386"/>
                  </a:lnTo>
                  <a:lnTo>
                    <a:pt x="585" y="387"/>
                  </a:lnTo>
                  <a:lnTo>
                    <a:pt x="584" y="387"/>
                  </a:lnTo>
                  <a:lnTo>
                    <a:pt x="584" y="388"/>
                  </a:lnTo>
                  <a:lnTo>
                    <a:pt x="582" y="389"/>
                  </a:lnTo>
                  <a:lnTo>
                    <a:pt x="581" y="390"/>
                  </a:lnTo>
                  <a:lnTo>
                    <a:pt x="580" y="390"/>
                  </a:lnTo>
                  <a:lnTo>
                    <a:pt x="578" y="391"/>
                  </a:lnTo>
                  <a:lnTo>
                    <a:pt x="576" y="391"/>
                  </a:lnTo>
                  <a:lnTo>
                    <a:pt x="575" y="391"/>
                  </a:lnTo>
                  <a:lnTo>
                    <a:pt x="573" y="392"/>
                  </a:lnTo>
                  <a:lnTo>
                    <a:pt x="570" y="393"/>
                  </a:lnTo>
                  <a:lnTo>
                    <a:pt x="568" y="393"/>
                  </a:lnTo>
                  <a:lnTo>
                    <a:pt x="566" y="394"/>
                  </a:lnTo>
                  <a:lnTo>
                    <a:pt x="565" y="394"/>
                  </a:lnTo>
                  <a:lnTo>
                    <a:pt x="563" y="395"/>
                  </a:lnTo>
                  <a:lnTo>
                    <a:pt x="562" y="396"/>
                  </a:lnTo>
                  <a:lnTo>
                    <a:pt x="559" y="397"/>
                  </a:lnTo>
                  <a:lnTo>
                    <a:pt x="558" y="398"/>
                  </a:lnTo>
                  <a:lnTo>
                    <a:pt x="557" y="398"/>
                  </a:lnTo>
                  <a:lnTo>
                    <a:pt x="556" y="399"/>
                  </a:lnTo>
                  <a:lnTo>
                    <a:pt x="555" y="399"/>
                  </a:lnTo>
                  <a:lnTo>
                    <a:pt x="555" y="399"/>
                  </a:lnTo>
                  <a:lnTo>
                    <a:pt x="554" y="399"/>
                  </a:lnTo>
                  <a:lnTo>
                    <a:pt x="553" y="399"/>
                  </a:lnTo>
                  <a:lnTo>
                    <a:pt x="553" y="398"/>
                  </a:lnTo>
                  <a:lnTo>
                    <a:pt x="552" y="398"/>
                  </a:lnTo>
                  <a:lnTo>
                    <a:pt x="552" y="398"/>
                  </a:lnTo>
                  <a:lnTo>
                    <a:pt x="551" y="398"/>
                  </a:lnTo>
                  <a:lnTo>
                    <a:pt x="550" y="397"/>
                  </a:lnTo>
                  <a:lnTo>
                    <a:pt x="549" y="397"/>
                  </a:lnTo>
                  <a:lnTo>
                    <a:pt x="549" y="397"/>
                  </a:lnTo>
                  <a:lnTo>
                    <a:pt x="548" y="397"/>
                  </a:lnTo>
                  <a:lnTo>
                    <a:pt x="547" y="398"/>
                  </a:lnTo>
                  <a:lnTo>
                    <a:pt x="546" y="398"/>
                  </a:lnTo>
                  <a:lnTo>
                    <a:pt x="546" y="398"/>
                  </a:lnTo>
                  <a:lnTo>
                    <a:pt x="545" y="399"/>
                  </a:lnTo>
                  <a:lnTo>
                    <a:pt x="544" y="399"/>
                  </a:lnTo>
                  <a:lnTo>
                    <a:pt x="544" y="400"/>
                  </a:lnTo>
                  <a:lnTo>
                    <a:pt x="543" y="400"/>
                  </a:lnTo>
                  <a:lnTo>
                    <a:pt x="543" y="401"/>
                  </a:lnTo>
                  <a:lnTo>
                    <a:pt x="543" y="401"/>
                  </a:lnTo>
                  <a:lnTo>
                    <a:pt x="543" y="402"/>
                  </a:lnTo>
                  <a:lnTo>
                    <a:pt x="542" y="404"/>
                  </a:lnTo>
                  <a:lnTo>
                    <a:pt x="542" y="405"/>
                  </a:lnTo>
                  <a:lnTo>
                    <a:pt x="541" y="407"/>
                  </a:lnTo>
                  <a:lnTo>
                    <a:pt x="539" y="410"/>
                  </a:lnTo>
                  <a:lnTo>
                    <a:pt x="539" y="411"/>
                  </a:lnTo>
                  <a:lnTo>
                    <a:pt x="539" y="412"/>
                  </a:lnTo>
                  <a:lnTo>
                    <a:pt x="538" y="412"/>
                  </a:lnTo>
                  <a:lnTo>
                    <a:pt x="532" y="419"/>
                  </a:lnTo>
                  <a:lnTo>
                    <a:pt x="532" y="420"/>
                  </a:lnTo>
                  <a:lnTo>
                    <a:pt x="531" y="421"/>
                  </a:lnTo>
                  <a:lnTo>
                    <a:pt x="531" y="422"/>
                  </a:lnTo>
                  <a:lnTo>
                    <a:pt x="530" y="423"/>
                  </a:lnTo>
                  <a:lnTo>
                    <a:pt x="530" y="424"/>
                  </a:lnTo>
                  <a:lnTo>
                    <a:pt x="530" y="425"/>
                  </a:lnTo>
                  <a:lnTo>
                    <a:pt x="530" y="426"/>
                  </a:lnTo>
                  <a:lnTo>
                    <a:pt x="529" y="427"/>
                  </a:lnTo>
                  <a:lnTo>
                    <a:pt x="529" y="428"/>
                  </a:lnTo>
                  <a:lnTo>
                    <a:pt x="529" y="429"/>
                  </a:lnTo>
                  <a:lnTo>
                    <a:pt x="529" y="430"/>
                  </a:lnTo>
                  <a:lnTo>
                    <a:pt x="530" y="432"/>
                  </a:lnTo>
                  <a:lnTo>
                    <a:pt x="530" y="433"/>
                  </a:lnTo>
                  <a:lnTo>
                    <a:pt x="530" y="434"/>
                  </a:lnTo>
                  <a:lnTo>
                    <a:pt x="531" y="435"/>
                  </a:lnTo>
                  <a:lnTo>
                    <a:pt x="531" y="436"/>
                  </a:lnTo>
                  <a:lnTo>
                    <a:pt x="531" y="436"/>
                  </a:lnTo>
                  <a:lnTo>
                    <a:pt x="532" y="437"/>
                  </a:lnTo>
                  <a:lnTo>
                    <a:pt x="533" y="437"/>
                  </a:lnTo>
                  <a:lnTo>
                    <a:pt x="533" y="438"/>
                  </a:lnTo>
                  <a:lnTo>
                    <a:pt x="537" y="440"/>
                  </a:lnTo>
                  <a:lnTo>
                    <a:pt x="539" y="440"/>
                  </a:lnTo>
                  <a:lnTo>
                    <a:pt x="541" y="441"/>
                  </a:lnTo>
                  <a:lnTo>
                    <a:pt x="542" y="442"/>
                  </a:lnTo>
                  <a:lnTo>
                    <a:pt x="543" y="442"/>
                  </a:lnTo>
                  <a:lnTo>
                    <a:pt x="544" y="443"/>
                  </a:lnTo>
                  <a:lnTo>
                    <a:pt x="544" y="443"/>
                  </a:lnTo>
                  <a:lnTo>
                    <a:pt x="545" y="444"/>
                  </a:lnTo>
                  <a:lnTo>
                    <a:pt x="545" y="444"/>
                  </a:lnTo>
                  <a:lnTo>
                    <a:pt x="546" y="445"/>
                  </a:lnTo>
                  <a:lnTo>
                    <a:pt x="547" y="446"/>
                  </a:lnTo>
                  <a:lnTo>
                    <a:pt x="548" y="448"/>
                  </a:lnTo>
                  <a:lnTo>
                    <a:pt x="548" y="449"/>
                  </a:lnTo>
                  <a:lnTo>
                    <a:pt x="549" y="450"/>
                  </a:lnTo>
                  <a:lnTo>
                    <a:pt x="549" y="451"/>
                  </a:lnTo>
                  <a:lnTo>
                    <a:pt x="549" y="451"/>
                  </a:lnTo>
                  <a:lnTo>
                    <a:pt x="549" y="452"/>
                  </a:lnTo>
                  <a:lnTo>
                    <a:pt x="549" y="454"/>
                  </a:lnTo>
                  <a:lnTo>
                    <a:pt x="549" y="455"/>
                  </a:lnTo>
                  <a:lnTo>
                    <a:pt x="549" y="456"/>
                  </a:lnTo>
                  <a:lnTo>
                    <a:pt x="549" y="457"/>
                  </a:lnTo>
                  <a:lnTo>
                    <a:pt x="549" y="457"/>
                  </a:lnTo>
                  <a:lnTo>
                    <a:pt x="548" y="458"/>
                  </a:lnTo>
                  <a:lnTo>
                    <a:pt x="548" y="459"/>
                  </a:lnTo>
                  <a:lnTo>
                    <a:pt x="548" y="460"/>
                  </a:lnTo>
                  <a:lnTo>
                    <a:pt x="547" y="460"/>
                  </a:lnTo>
                  <a:lnTo>
                    <a:pt x="547" y="461"/>
                  </a:lnTo>
                  <a:lnTo>
                    <a:pt x="546" y="461"/>
                  </a:lnTo>
                  <a:lnTo>
                    <a:pt x="544" y="463"/>
                  </a:lnTo>
                  <a:lnTo>
                    <a:pt x="543" y="463"/>
                  </a:lnTo>
                  <a:lnTo>
                    <a:pt x="543" y="464"/>
                  </a:lnTo>
                  <a:lnTo>
                    <a:pt x="542" y="464"/>
                  </a:lnTo>
                  <a:lnTo>
                    <a:pt x="541" y="464"/>
                  </a:lnTo>
                  <a:lnTo>
                    <a:pt x="540" y="464"/>
                  </a:lnTo>
                  <a:lnTo>
                    <a:pt x="539" y="464"/>
                  </a:lnTo>
                  <a:lnTo>
                    <a:pt x="537" y="464"/>
                  </a:lnTo>
                  <a:lnTo>
                    <a:pt x="536" y="464"/>
                  </a:lnTo>
                  <a:lnTo>
                    <a:pt x="534" y="464"/>
                  </a:lnTo>
                  <a:lnTo>
                    <a:pt x="533" y="464"/>
                  </a:lnTo>
                  <a:lnTo>
                    <a:pt x="532" y="464"/>
                  </a:lnTo>
                  <a:lnTo>
                    <a:pt x="532" y="464"/>
                  </a:lnTo>
                  <a:lnTo>
                    <a:pt x="531" y="464"/>
                  </a:lnTo>
                  <a:lnTo>
                    <a:pt x="531" y="464"/>
                  </a:lnTo>
                  <a:lnTo>
                    <a:pt x="530" y="464"/>
                  </a:lnTo>
                  <a:lnTo>
                    <a:pt x="529" y="466"/>
                  </a:lnTo>
                  <a:lnTo>
                    <a:pt x="528" y="466"/>
                  </a:lnTo>
                  <a:lnTo>
                    <a:pt x="528" y="466"/>
                  </a:lnTo>
                  <a:lnTo>
                    <a:pt x="528" y="467"/>
                  </a:lnTo>
                  <a:lnTo>
                    <a:pt x="527" y="467"/>
                  </a:lnTo>
                  <a:lnTo>
                    <a:pt x="526" y="469"/>
                  </a:lnTo>
                  <a:lnTo>
                    <a:pt x="526" y="470"/>
                  </a:lnTo>
                  <a:lnTo>
                    <a:pt x="525" y="471"/>
                  </a:lnTo>
                  <a:lnTo>
                    <a:pt x="525" y="472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3" y="473"/>
                  </a:lnTo>
                  <a:lnTo>
                    <a:pt x="523" y="473"/>
                  </a:lnTo>
                  <a:lnTo>
                    <a:pt x="522" y="473"/>
                  </a:lnTo>
                  <a:lnTo>
                    <a:pt x="521" y="473"/>
                  </a:lnTo>
                  <a:lnTo>
                    <a:pt x="519" y="471"/>
                  </a:lnTo>
                  <a:lnTo>
                    <a:pt x="519" y="471"/>
                  </a:lnTo>
                  <a:lnTo>
                    <a:pt x="518" y="470"/>
                  </a:lnTo>
                  <a:lnTo>
                    <a:pt x="517" y="470"/>
                  </a:lnTo>
                  <a:lnTo>
                    <a:pt x="515" y="470"/>
                  </a:lnTo>
                  <a:lnTo>
                    <a:pt x="514" y="469"/>
                  </a:lnTo>
                  <a:lnTo>
                    <a:pt x="512" y="469"/>
                  </a:lnTo>
                  <a:lnTo>
                    <a:pt x="510" y="468"/>
                  </a:lnTo>
                  <a:lnTo>
                    <a:pt x="510" y="468"/>
                  </a:lnTo>
                  <a:lnTo>
                    <a:pt x="509" y="468"/>
                  </a:lnTo>
                  <a:lnTo>
                    <a:pt x="509" y="468"/>
                  </a:lnTo>
                  <a:lnTo>
                    <a:pt x="508" y="468"/>
                  </a:lnTo>
                  <a:lnTo>
                    <a:pt x="507" y="468"/>
                  </a:lnTo>
                  <a:lnTo>
                    <a:pt x="505" y="469"/>
                  </a:lnTo>
                  <a:lnTo>
                    <a:pt x="502" y="470"/>
                  </a:lnTo>
                  <a:lnTo>
                    <a:pt x="500" y="471"/>
                  </a:lnTo>
                  <a:lnTo>
                    <a:pt x="500" y="471"/>
                  </a:lnTo>
                  <a:lnTo>
                    <a:pt x="498" y="471"/>
                  </a:lnTo>
                  <a:lnTo>
                    <a:pt x="496" y="472"/>
                  </a:lnTo>
                  <a:lnTo>
                    <a:pt x="495" y="472"/>
                  </a:lnTo>
                  <a:lnTo>
                    <a:pt x="494" y="472"/>
                  </a:lnTo>
                  <a:lnTo>
                    <a:pt x="492" y="472"/>
                  </a:lnTo>
                  <a:lnTo>
                    <a:pt x="491" y="472"/>
                  </a:lnTo>
                  <a:lnTo>
                    <a:pt x="487" y="471"/>
                  </a:lnTo>
                  <a:lnTo>
                    <a:pt x="486" y="471"/>
                  </a:lnTo>
                  <a:lnTo>
                    <a:pt x="483" y="471"/>
                  </a:lnTo>
                  <a:lnTo>
                    <a:pt x="482" y="471"/>
                  </a:lnTo>
                  <a:lnTo>
                    <a:pt x="481" y="470"/>
                  </a:lnTo>
                  <a:lnTo>
                    <a:pt x="480" y="470"/>
                  </a:lnTo>
                  <a:lnTo>
                    <a:pt x="476" y="469"/>
                  </a:lnTo>
                  <a:lnTo>
                    <a:pt x="475" y="469"/>
                  </a:lnTo>
                  <a:lnTo>
                    <a:pt x="474" y="469"/>
                  </a:lnTo>
                  <a:lnTo>
                    <a:pt x="474" y="469"/>
                  </a:lnTo>
                  <a:lnTo>
                    <a:pt x="473" y="469"/>
                  </a:lnTo>
                  <a:lnTo>
                    <a:pt x="472" y="469"/>
                  </a:lnTo>
                  <a:lnTo>
                    <a:pt x="471" y="469"/>
                  </a:lnTo>
                  <a:lnTo>
                    <a:pt x="471" y="470"/>
                  </a:lnTo>
                  <a:lnTo>
                    <a:pt x="470" y="470"/>
                  </a:lnTo>
                  <a:lnTo>
                    <a:pt x="470" y="471"/>
                  </a:lnTo>
                  <a:lnTo>
                    <a:pt x="470" y="471"/>
                  </a:lnTo>
                  <a:lnTo>
                    <a:pt x="469" y="472"/>
                  </a:lnTo>
                  <a:lnTo>
                    <a:pt x="469" y="472"/>
                  </a:lnTo>
                  <a:lnTo>
                    <a:pt x="469" y="473"/>
                  </a:lnTo>
                  <a:lnTo>
                    <a:pt x="469" y="473"/>
                  </a:lnTo>
                  <a:lnTo>
                    <a:pt x="469" y="474"/>
                  </a:lnTo>
                  <a:lnTo>
                    <a:pt x="470" y="476"/>
                  </a:lnTo>
                  <a:lnTo>
                    <a:pt x="470" y="477"/>
                  </a:lnTo>
                  <a:lnTo>
                    <a:pt x="470" y="477"/>
                  </a:lnTo>
                  <a:lnTo>
                    <a:pt x="470" y="478"/>
                  </a:lnTo>
                  <a:lnTo>
                    <a:pt x="470" y="478"/>
                  </a:lnTo>
                  <a:lnTo>
                    <a:pt x="470" y="478"/>
                  </a:lnTo>
                  <a:lnTo>
                    <a:pt x="469" y="479"/>
                  </a:lnTo>
                  <a:lnTo>
                    <a:pt x="469" y="479"/>
                  </a:lnTo>
                  <a:lnTo>
                    <a:pt x="468" y="479"/>
                  </a:lnTo>
                  <a:lnTo>
                    <a:pt x="468" y="480"/>
                  </a:lnTo>
                  <a:lnTo>
                    <a:pt x="467" y="480"/>
                  </a:lnTo>
                  <a:lnTo>
                    <a:pt x="466" y="480"/>
                  </a:lnTo>
                  <a:lnTo>
                    <a:pt x="461" y="482"/>
                  </a:lnTo>
                  <a:lnTo>
                    <a:pt x="460" y="482"/>
                  </a:lnTo>
                  <a:lnTo>
                    <a:pt x="460" y="482"/>
                  </a:lnTo>
                  <a:lnTo>
                    <a:pt x="459" y="482"/>
                  </a:lnTo>
                  <a:lnTo>
                    <a:pt x="459" y="483"/>
                  </a:lnTo>
                  <a:lnTo>
                    <a:pt x="459" y="483"/>
                  </a:lnTo>
                  <a:lnTo>
                    <a:pt x="458" y="484"/>
                  </a:lnTo>
                  <a:lnTo>
                    <a:pt x="458" y="484"/>
                  </a:lnTo>
                  <a:lnTo>
                    <a:pt x="458" y="485"/>
                  </a:lnTo>
                  <a:lnTo>
                    <a:pt x="457" y="486"/>
                  </a:lnTo>
                  <a:lnTo>
                    <a:pt x="457" y="487"/>
                  </a:lnTo>
                  <a:lnTo>
                    <a:pt x="457" y="490"/>
                  </a:lnTo>
                  <a:lnTo>
                    <a:pt x="456" y="491"/>
                  </a:lnTo>
                  <a:lnTo>
                    <a:pt x="456" y="492"/>
                  </a:lnTo>
                  <a:lnTo>
                    <a:pt x="455" y="494"/>
                  </a:lnTo>
                  <a:lnTo>
                    <a:pt x="455" y="494"/>
                  </a:lnTo>
                  <a:lnTo>
                    <a:pt x="455" y="494"/>
                  </a:lnTo>
                  <a:lnTo>
                    <a:pt x="454" y="495"/>
                  </a:lnTo>
                  <a:lnTo>
                    <a:pt x="453" y="495"/>
                  </a:lnTo>
                  <a:lnTo>
                    <a:pt x="453" y="495"/>
                  </a:lnTo>
                  <a:lnTo>
                    <a:pt x="452" y="495"/>
                  </a:lnTo>
                  <a:lnTo>
                    <a:pt x="451" y="495"/>
                  </a:lnTo>
                  <a:lnTo>
                    <a:pt x="451" y="495"/>
                  </a:lnTo>
                  <a:lnTo>
                    <a:pt x="450" y="495"/>
                  </a:lnTo>
                  <a:lnTo>
                    <a:pt x="449" y="495"/>
                  </a:lnTo>
                  <a:lnTo>
                    <a:pt x="449" y="495"/>
                  </a:lnTo>
                  <a:lnTo>
                    <a:pt x="447" y="494"/>
                  </a:lnTo>
                  <a:lnTo>
                    <a:pt x="447" y="494"/>
                  </a:lnTo>
                  <a:lnTo>
                    <a:pt x="446" y="494"/>
                  </a:lnTo>
                  <a:lnTo>
                    <a:pt x="445" y="493"/>
                  </a:lnTo>
                  <a:lnTo>
                    <a:pt x="445" y="492"/>
                  </a:lnTo>
                  <a:lnTo>
                    <a:pt x="444" y="492"/>
                  </a:lnTo>
                  <a:lnTo>
                    <a:pt x="443" y="491"/>
                  </a:lnTo>
                  <a:lnTo>
                    <a:pt x="442" y="489"/>
                  </a:lnTo>
                  <a:lnTo>
                    <a:pt x="441" y="487"/>
                  </a:lnTo>
                  <a:lnTo>
                    <a:pt x="440" y="484"/>
                  </a:lnTo>
                  <a:lnTo>
                    <a:pt x="439" y="482"/>
                  </a:lnTo>
                  <a:lnTo>
                    <a:pt x="438" y="481"/>
                  </a:lnTo>
                  <a:lnTo>
                    <a:pt x="438" y="479"/>
                  </a:lnTo>
                  <a:lnTo>
                    <a:pt x="437" y="478"/>
                  </a:lnTo>
                  <a:lnTo>
                    <a:pt x="437" y="478"/>
                  </a:lnTo>
                  <a:lnTo>
                    <a:pt x="437" y="477"/>
                  </a:lnTo>
                  <a:lnTo>
                    <a:pt x="437" y="477"/>
                  </a:lnTo>
                  <a:lnTo>
                    <a:pt x="436" y="477"/>
                  </a:lnTo>
                  <a:lnTo>
                    <a:pt x="436" y="477"/>
                  </a:lnTo>
                  <a:lnTo>
                    <a:pt x="435" y="477"/>
                  </a:lnTo>
                  <a:lnTo>
                    <a:pt x="435" y="477"/>
                  </a:lnTo>
                  <a:lnTo>
                    <a:pt x="434" y="477"/>
                  </a:lnTo>
                  <a:lnTo>
                    <a:pt x="433" y="478"/>
                  </a:lnTo>
                  <a:lnTo>
                    <a:pt x="432" y="478"/>
                  </a:lnTo>
                  <a:lnTo>
                    <a:pt x="431" y="479"/>
                  </a:lnTo>
                  <a:lnTo>
                    <a:pt x="430" y="479"/>
                  </a:lnTo>
                  <a:lnTo>
                    <a:pt x="430" y="479"/>
                  </a:lnTo>
                  <a:lnTo>
                    <a:pt x="429" y="479"/>
                  </a:lnTo>
                  <a:lnTo>
                    <a:pt x="429" y="479"/>
                  </a:lnTo>
                  <a:lnTo>
                    <a:pt x="428" y="479"/>
                  </a:lnTo>
                  <a:lnTo>
                    <a:pt x="428" y="479"/>
                  </a:lnTo>
                  <a:lnTo>
                    <a:pt x="427" y="478"/>
                  </a:lnTo>
                  <a:lnTo>
                    <a:pt x="426" y="477"/>
                  </a:lnTo>
                  <a:lnTo>
                    <a:pt x="425" y="477"/>
                  </a:lnTo>
                  <a:lnTo>
                    <a:pt x="423" y="475"/>
                  </a:lnTo>
                  <a:lnTo>
                    <a:pt x="420" y="473"/>
                  </a:lnTo>
                  <a:lnTo>
                    <a:pt x="419" y="472"/>
                  </a:lnTo>
                  <a:lnTo>
                    <a:pt x="418" y="471"/>
                  </a:lnTo>
                  <a:lnTo>
                    <a:pt x="417" y="471"/>
                  </a:lnTo>
                  <a:lnTo>
                    <a:pt x="416" y="470"/>
                  </a:lnTo>
                  <a:lnTo>
                    <a:pt x="412" y="468"/>
                  </a:lnTo>
                  <a:lnTo>
                    <a:pt x="411" y="467"/>
                  </a:lnTo>
                  <a:lnTo>
                    <a:pt x="410" y="467"/>
                  </a:lnTo>
                  <a:lnTo>
                    <a:pt x="408" y="465"/>
                  </a:lnTo>
                  <a:lnTo>
                    <a:pt x="407" y="465"/>
                  </a:lnTo>
                  <a:lnTo>
                    <a:pt x="406" y="464"/>
                  </a:lnTo>
                  <a:lnTo>
                    <a:pt x="405" y="464"/>
                  </a:lnTo>
                  <a:lnTo>
                    <a:pt x="405" y="464"/>
                  </a:lnTo>
                  <a:lnTo>
                    <a:pt x="405" y="464"/>
                  </a:lnTo>
                  <a:lnTo>
                    <a:pt x="404" y="465"/>
                  </a:lnTo>
                  <a:lnTo>
                    <a:pt x="404" y="465"/>
                  </a:lnTo>
                  <a:lnTo>
                    <a:pt x="402" y="466"/>
                  </a:lnTo>
                  <a:lnTo>
                    <a:pt x="400" y="467"/>
                  </a:lnTo>
                  <a:lnTo>
                    <a:pt x="399" y="468"/>
                  </a:lnTo>
                  <a:lnTo>
                    <a:pt x="399" y="469"/>
                  </a:lnTo>
                  <a:lnTo>
                    <a:pt x="398" y="469"/>
                  </a:lnTo>
                  <a:lnTo>
                    <a:pt x="398" y="471"/>
                  </a:lnTo>
                  <a:lnTo>
                    <a:pt x="397" y="471"/>
                  </a:lnTo>
                  <a:lnTo>
                    <a:pt x="397" y="472"/>
                  </a:lnTo>
                  <a:lnTo>
                    <a:pt x="396" y="473"/>
                  </a:lnTo>
                  <a:lnTo>
                    <a:pt x="395" y="473"/>
                  </a:lnTo>
                  <a:lnTo>
                    <a:pt x="395" y="474"/>
                  </a:lnTo>
                  <a:lnTo>
                    <a:pt x="394" y="474"/>
                  </a:lnTo>
                  <a:lnTo>
                    <a:pt x="394" y="475"/>
                  </a:lnTo>
                  <a:lnTo>
                    <a:pt x="394" y="475"/>
                  </a:lnTo>
                  <a:lnTo>
                    <a:pt x="394" y="477"/>
                  </a:lnTo>
                  <a:lnTo>
                    <a:pt x="394" y="478"/>
                  </a:lnTo>
                  <a:lnTo>
                    <a:pt x="394" y="479"/>
                  </a:lnTo>
                  <a:lnTo>
                    <a:pt x="393" y="481"/>
                  </a:lnTo>
                  <a:lnTo>
                    <a:pt x="393" y="482"/>
                  </a:lnTo>
                  <a:lnTo>
                    <a:pt x="393" y="484"/>
                  </a:lnTo>
                  <a:lnTo>
                    <a:pt x="393" y="484"/>
                  </a:lnTo>
                  <a:lnTo>
                    <a:pt x="393" y="485"/>
                  </a:lnTo>
                  <a:lnTo>
                    <a:pt x="394" y="487"/>
                  </a:lnTo>
                  <a:lnTo>
                    <a:pt x="394" y="489"/>
                  </a:lnTo>
                  <a:lnTo>
                    <a:pt x="395" y="491"/>
                  </a:lnTo>
                  <a:lnTo>
                    <a:pt x="395" y="492"/>
                  </a:lnTo>
                  <a:lnTo>
                    <a:pt x="395" y="492"/>
                  </a:lnTo>
                  <a:lnTo>
                    <a:pt x="395" y="493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3" y="495"/>
                  </a:lnTo>
                  <a:lnTo>
                    <a:pt x="393" y="495"/>
                  </a:lnTo>
                  <a:lnTo>
                    <a:pt x="391" y="496"/>
                  </a:lnTo>
                  <a:lnTo>
                    <a:pt x="390" y="496"/>
                  </a:lnTo>
                  <a:lnTo>
                    <a:pt x="389" y="497"/>
                  </a:lnTo>
                  <a:lnTo>
                    <a:pt x="386" y="498"/>
                  </a:lnTo>
                  <a:lnTo>
                    <a:pt x="385" y="498"/>
                  </a:lnTo>
                  <a:lnTo>
                    <a:pt x="384" y="498"/>
                  </a:lnTo>
                  <a:lnTo>
                    <a:pt x="383" y="499"/>
                  </a:lnTo>
                  <a:lnTo>
                    <a:pt x="381" y="500"/>
                  </a:lnTo>
                  <a:lnTo>
                    <a:pt x="379" y="502"/>
                  </a:lnTo>
                  <a:lnTo>
                    <a:pt x="376" y="504"/>
                  </a:lnTo>
                  <a:lnTo>
                    <a:pt x="375" y="505"/>
                  </a:lnTo>
                  <a:lnTo>
                    <a:pt x="374" y="507"/>
                  </a:lnTo>
                  <a:lnTo>
                    <a:pt x="373" y="508"/>
                  </a:lnTo>
                  <a:lnTo>
                    <a:pt x="372" y="509"/>
                  </a:lnTo>
                  <a:lnTo>
                    <a:pt x="371" y="511"/>
                  </a:lnTo>
                  <a:lnTo>
                    <a:pt x="370" y="511"/>
                  </a:lnTo>
                  <a:lnTo>
                    <a:pt x="370" y="512"/>
                  </a:lnTo>
                  <a:lnTo>
                    <a:pt x="369" y="512"/>
                  </a:lnTo>
                  <a:lnTo>
                    <a:pt x="369" y="512"/>
                  </a:lnTo>
                  <a:lnTo>
                    <a:pt x="369" y="512"/>
                  </a:lnTo>
                  <a:lnTo>
                    <a:pt x="368" y="512"/>
                  </a:lnTo>
                  <a:lnTo>
                    <a:pt x="368" y="512"/>
                  </a:lnTo>
                  <a:lnTo>
                    <a:pt x="368" y="512"/>
                  </a:lnTo>
                  <a:lnTo>
                    <a:pt x="367" y="512"/>
                  </a:lnTo>
                  <a:lnTo>
                    <a:pt x="367" y="512"/>
                  </a:lnTo>
                  <a:lnTo>
                    <a:pt x="365" y="510"/>
                  </a:lnTo>
                  <a:lnTo>
                    <a:pt x="364" y="510"/>
                  </a:lnTo>
                  <a:lnTo>
                    <a:pt x="363" y="509"/>
                  </a:lnTo>
                  <a:lnTo>
                    <a:pt x="361" y="509"/>
                  </a:lnTo>
                  <a:lnTo>
                    <a:pt x="360" y="508"/>
                  </a:lnTo>
                  <a:lnTo>
                    <a:pt x="358" y="508"/>
                  </a:lnTo>
                  <a:lnTo>
                    <a:pt x="357" y="508"/>
                  </a:lnTo>
                  <a:lnTo>
                    <a:pt x="355" y="507"/>
                  </a:lnTo>
                  <a:lnTo>
                    <a:pt x="353" y="507"/>
                  </a:lnTo>
                  <a:lnTo>
                    <a:pt x="353" y="507"/>
                  </a:lnTo>
                  <a:lnTo>
                    <a:pt x="352" y="507"/>
                  </a:lnTo>
                  <a:lnTo>
                    <a:pt x="352" y="506"/>
                  </a:lnTo>
                  <a:lnTo>
                    <a:pt x="351" y="506"/>
                  </a:lnTo>
                  <a:lnTo>
                    <a:pt x="351" y="506"/>
                  </a:lnTo>
                  <a:lnTo>
                    <a:pt x="350" y="505"/>
                  </a:lnTo>
                  <a:lnTo>
                    <a:pt x="350" y="505"/>
                  </a:lnTo>
                  <a:lnTo>
                    <a:pt x="350" y="505"/>
                  </a:lnTo>
                  <a:lnTo>
                    <a:pt x="350" y="504"/>
                  </a:lnTo>
                  <a:lnTo>
                    <a:pt x="350" y="504"/>
                  </a:lnTo>
                  <a:lnTo>
                    <a:pt x="351" y="501"/>
                  </a:lnTo>
                  <a:lnTo>
                    <a:pt x="351" y="500"/>
                  </a:lnTo>
                  <a:lnTo>
                    <a:pt x="351" y="500"/>
                  </a:lnTo>
                  <a:lnTo>
                    <a:pt x="351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48" y="500"/>
                  </a:lnTo>
                  <a:lnTo>
                    <a:pt x="346" y="500"/>
                  </a:lnTo>
                  <a:lnTo>
                    <a:pt x="345" y="500"/>
                  </a:lnTo>
                  <a:lnTo>
                    <a:pt x="343" y="501"/>
                  </a:lnTo>
                  <a:lnTo>
                    <a:pt x="342" y="501"/>
                  </a:lnTo>
                  <a:lnTo>
                    <a:pt x="341" y="501"/>
                  </a:lnTo>
                  <a:lnTo>
                    <a:pt x="339" y="501"/>
                  </a:lnTo>
                  <a:lnTo>
                    <a:pt x="338" y="501"/>
                  </a:lnTo>
                  <a:lnTo>
                    <a:pt x="334" y="500"/>
                  </a:lnTo>
                  <a:lnTo>
                    <a:pt x="332" y="500"/>
                  </a:lnTo>
                  <a:lnTo>
                    <a:pt x="331" y="500"/>
                  </a:lnTo>
                  <a:lnTo>
                    <a:pt x="330" y="499"/>
                  </a:lnTo>
                  <a:lnTo>
                    <a:pt x="329" y="499"/>
                  </a:lnTo>
                  <a:lnTo>
                    <a:pt x="327" y="498"/>
                  </a:lnTo>
                  <a:lnTo>
                    <a:pt x="327" y="498"/>
                  </a:lnTo>
                  <a:lnTo>
                    <a:pt x="326" y="498"/>
                  </a:lnTo>
                  <a:lnTo>
                    <a:pt x="325" y="498"/>
                  </a:lnTo>
                  <a:lnTo>
                    <a:pt x="324" y="497"/>
                  </a:lnTo>
                  <a:lnTo>
                    <a:pt x="322" y="497"/>
                  </a:lnTo>
                  <a:lnTo>
                    <a:pt x="321" y="497"/>
                  </a:lnTo>
                  <a:lnTo>
                    <a:pt x="320" y="497"/>
                  </a:lnTo>
                  <a:lnTo>
                    <a:pt x="320" y="497"/>
                  </a:lnTo>
                  <a:lnTo>
                    <a:pt x="319" y="498"/>
                  </a:lnTo>
                  <a:lnTo>
                    <a:pt x="318" y="498"/>
                  </a:lnTo>
                  <a:lnTo>
                    <a:pt x="317" y="499"/>
                  </a:lnTo>
                  <a:lnTo>
                    <a:pt x="316" y="500"/>
                  </a:lnTo>
                  <a:lnTo>
                    <a:pt x="315" y="500"/>
                  </a:lnTo>
                  <a:lnTo>
                    <a:pt x="315" y="500"/>
                  </a:lnTo>
                  <a:lnTo>
                    <a:pt x="314" y="500"/>
                  </a:lnTo>
                  <a:lnTo>
                    <a:pt x="314" y="500"/>
                  </a:lnTo>
                  <a:lnTo>
                    <a:pt x="313" y="500"/>
                  </a:lnTo>
                  <a:lnTo>
                    <a:pt x="312" y="499"/>
                  </a:lnTo>
                  <a:lnTo>
                    <a:pt x="311" y="499"/>
                  </a:lnTo>
                  <a:lnTo>
                    <a:pt x="308" y="496"/>
                  </a:lnTo>
                  <a:lnTo>
                    <a:pt x="307" y="496"/>
                  </a:lnTo>
                  <a:lnTo>
                    <a:pt x="306" y="495"/>
                  </a:lnTo>
                  <a:lnTo>
                    <a:pt x="304" y="495"/>
                  </a:lnTo>
                  <a:lnTo>
                    <a:pt x="303" y="494"/>
                  </a:lnTo>
                  <a:lnTo>
                    <a:pt x="302" y="494"/>
                  </a:lnTo>
                  <a:lnTo>
                    <a:pt x="300" y="492"/>
                  </a:lnTo>
                  <a:lnTo>
                    <a:pt x="299" y="492"/>
                  </a:lnTo>
                  <a:lnTo>
                    <a:pt x="298" y="492"/>
                  </a:lnTo>
                  <a:lnTo>
                    <a:pt x="298" y="492"/>
                  </a:lnTo>
                  <a:lnTo>
                    <a:pt x="297" y="492"/>
                  </a:lnTo>
                  <a:lnTo>
                    <a:pt x="297" y="492"/>
                  </a:lnTo>
                  <a:lnTo>
                    <a:pt x="297" y="493"/>
                  </a:lnTo>
                  <a:lnTo>
                    <a:pt x="297" y="493"/>
                  </a:lnTo>
                  <a:lnTo>
                    <a:pt x="297" y="493"/>
                  </a:lnTo>
                  <a:lnTo>
                    <a:pt x="297" y="494"/>
                  </a:lnTo>
                  <a:lnTo>
                    <a:pt x="297" y="496"/>
                  </a:lnTo>
                  <a:lnTo>
                    <a:pt x="297" y="497"/>
                  </a:lnTo>
                  <a:lnTo>
                    <a:pt x="297" y="497"/>
                  </a:lnTo>
                  <a:lnTo>
                    <a:pt x="297" y="498"/>
                  </a:lnTo>
                  <a:lnTo>
                    <a:pt x="297" y="498"/>
                  </a:lnTo>
                  <a:lnTo>
                    <a:pt x="296" y="498"/>
                  </a:lnTo>
                  <a:lnTo>
                    <a:pt x="296" y="498"/>
                  </a:lnTo>
                  <a:lnTo>
                    <a:pt x="296" y="498"/>
                  </a:lnTo>
                  <a:lnTo>
                    <a:pt x="294" y="498"/>
                  </a:lnTo>
                  <a:lnTo>
                    <a:pt x="293" y="498"/>
                  </a:lnTo>
                  <a:lnTo>
                    <a:pt x="292" y="498"/>
                  </a:lnTo>
                  <a:lnTo>
                    <a:pt x="291" y="498"/>
                  </a:lnTo>
                  <a:lnTo>
                    <a:pt x="290" y="499"/>
                  </a:lnTo>
                  <a:lnTo>
                    <a:pt x="289" y="499"/>
                  </a:lnTo>
                  <a:lnTo>
                    <a:pt x="288" y="500"/>
                  </a:lnTo>
                  <a:lnTo>
                    <a:pt x="285" y="502"/>
                  </a:lnTo>
                  <a:lnTo>
                    <a:pt x="285" y="502"/>
                  </a:lnTo>
                  <a:lnTo>
                    <a:pt x="284" y="502"/>
                  </a:lnTo>
                  <a:lnTo>
                    <a:pt x="284" y="503"/>
                  </a:lnTo>
                  <a:lnTo>
                    <a:pt x="282" y="503"/>
                  </a:lnTo>
                  <a:lnTo>
                    <a:pt x="281" y="503"/>
                  </a:lnTo>
                  <a:lnTo>
                    <a:pt x="280" y="503"/>
                  </a:lnTo>
                  <a:lnTo>
                    <a:pt x="279" y="503"/>
                  </a:lnTo>
                  <a:lnTo>
                    <a:pt x="277" y="503"/>
                  </a:lnTo>
                  <a:lnTo>
                    <a:pt x="276" y="503"/>
                  </a:lnTo>
                  <a:lnTo>
                    <a:pt x="275" y="502"/>
                  </a:lnTo>
                  <a:lnTo>
                    <a:pt x="275" y="502"/>
                  </a:lnTo>
                  <a:lnTo>
                    <a:pt x="275" y="502"/>
                  </a:lnTo>
                  <a:lnTo>
                    <a:pt x="274" y="502"/>
                  </a:lnTo>
                  <a:lnTo>
                    <a:pt x="274" y="501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3" y="498"/>
                  </a:lnTo>
                  <a:lnTo>
                    <a:pt x="272" y="497"/>
                  </a:lnTo>
                  <a:lnTo>
                    <a:pt x="271" y="497"/>
                  </a:lnTo>
                  <a:lnTo>
                    <a:pt x="270" y="496"/>
                  </a:lnTo>
                  <a:lnTo>
                    <a:pt x="270" y="496"/>
                  </a:lnTo>
                  <a:lnTo>
                    <a:pt x="268" y="495"/>
                  </a:lnTo>
                  <a:lnTo>
                    <a:pt x="267" y="494"/>
                  </a:lnTo>
                  <a:lnTo>
                    <a:pt x="265" y="494"/>
                  </a:lnTo>
                  <a:lnTo>
                    <a:pt x="265" y="494"/>
                  </a:lnTo>
                  <a:lnTo>
                    <a:pt x="264" y="493"/>
                  </a:lnTo>
                  <a:lnTo>
                    <a:pt x="264" y="493"/>
                  </a:lnTo>
                  <a:lnTo>
                    <a:pt x="263" y="492"/>
                  </a:lnTo>
                  <a:lnTo>
                    <a:pt x="263" y="492"/>
                  </a:lnTo>
                  <a:lnTo>
                    <a:pt x="262" y="490"/>
                  </a:lnTo>
                  <a:lnTo>
                    <a:pt x="261" y="489"/>
                  </a:lnTo>
                  <a:lnTo>
                    <a:pt x="260" y="489"/>
                  </a:lnTo>
                  <a:lnTo>
                    <a:pt x="259" y="488"/>
                  </a:lnTo>
                  <a:lnTo>
                    <a:pt x="258" y="487"/>
                  </a:lnTo>
                  <a:lnTo>
                    <a:pt x="257" y="487"/>
                  </a:lnTo>
                  <a:lnTo>
                    <a:pt x="255" y="486"/>
                  </a:lnTo>
                  <a:lnTo>
                    <a:pt x="254" y="486"/>
                  </a:lnTo>
                  <a:lnTo>
                    <a:pt x="254" y="486"/>
                  </a:lnTo>
                  <a:lnTo>
                    <a:pt x="253" y="486"/>
                  </a:lnTo>
                  <a:lnTo>
                    <a:pt x="252" y="486"/>
                  </a:lnTo>
                  <a:lnTo>
                    <a:pt x="251" y="486"/>
                  </a:lnTo>
                  <a:lnTo>
                    <a:pt x="249" y="487"/>
                  </a:lnTo>
                  <a:lnTo>
                    <a:pt x="246" y="488"/>
                  </a:lnTo>
                  <a:lnTo>
                    <a:pt x="245" y="488"/>
                  </a:lnTo>
                  <a:lnTo>
                    <a:pt x="244" y="488"/>
                  </a:lnTo>
                  <a:lnTo>
                    <a:pt x="244" y="489"/>
                  </a:lnTo>
                  <a:lnTo>
                    <a:pt x="243" y="490"/>
                  </a:lnTo>
                  <a:lnTo>
                    <a:pt x="243" y="490"/>
                  </a:lnTo>
                  <a:lnTo>
                    <a:pt x="242" y="492"/>
                  </a:lnTo>
                  <a:lnTo>
                    <a:pt x="241" y="494"/>
                  </a:lnTo>
                  <a:lnTo>
                    <a:pt x="240" y="495"/>
                  </a:lnTo>
                  <a:lnTo>
                    <a:pt x="239" y="496"/>
                  </a:lnTo>
                  <a:lnTo>
                    <a:pt x="239" y="498"/>
                  </a:lnTo>
                  <a:lnTo>
                    <a:pt x="238" y="499"/>
                  </a:lnTo>
                  <a:lnTo>
                    <a:pt x="238" y="499"/>
                  </a:lnTo>
                  <a:lnTo>
                    <a:pt x="237" y="499"/>
                  </a:lnTo>
                  <a:lnTo>
                    <a:pt x="237" y="499"/>
                  </a:lnTo>
                  <a:lnTo>
                    <a:pt x="236" y="499"/>
                  </a:lnTo>
                  <a:lnTo>
                    <a:pt x="236" y="499"/>
                  </a:lnTo>
                  <a:lnTo>
                    <a:pt x="234" y="499"/>
                  </a:lnTo>
                  <a:lnTo>
                    <a:pt x="233" y="499"/>
                  </a:lnTo>
                  <a:lnTo>
                    <a:pt x="231" y="499"/>
                  </a:lnTo>
                  <a:lnTo>
                    <a:pt x="228" y="500"/>
                  </a:lnTo>
                  <a:lnTo>
                    <a:pt x="220" y="500"/>
                  </a:lnTo>
                  <a:lnTo>
                    <a:pt x="219" y="500"/>
                  </a:lnTo>
                  <a:lnTo>
                    <a:pt x="215" y="500"/>
                  </a:lnTo>
                  <a:lnTo>
                    <a:pt x="214" y="500"/>
                  </a:lnTo>
                  <a:lnTo>
                    <a:pt x="213" y="500"/>
                  </a:lnTo>
                  <a:lnTo>
                    <a:pt x="211" y="501"/>
                  </a:lnTo>
                  <a:lnTo>
                    <a:pt x="210" y="501"/>
                  </a:lnTo>
                  <a:lnTo>
                    <a:pt x="208" y="501"/>
                  </a:lnTo>
                  <a:lnTo>
                    <a:pt x="206" y="501"/>
                  </a:lnTo>
                  <a:lnTo>
                    <a:pt x="206" y="501"/>
                  </a:lnTo>
                  <a:lnTo>
                    <a:pt x="205" y="501"/>
                  </a:lnTo>
                  <a:lnTo>
                    <a:pt x="204" y="501"/>
                  </a:lnTo>
                  <a:lnTo>
                    <a:pt x="203" y="501"/>
                  </a:lnTo>
                  <a:lnTo>
                    <a:pt x="202" y="502"/>
                  </a:lnTo>
                  <a:lnTo>
                    <a:pt x="200" y="501"/>
                  </a:lnTo>
                  <a:lnTo>
                    <a:pt x="200" y="501"/>
                  </a:lnTo>
                  <a:lnTo>
                    <a:pt x="199" y="501"/>
                  </a:lnTo>
                  <a:lnTo>
                    <a:pt x="198" y="501"/>
                  </a:lnTo>
                  <a:lnTo>
                    <a:pt x="197" y="500"/>
                  </a:lnTo>
                  <a:lnTo>
                    <a:pt x="197" y="500"/>
                  </a:lnTo>
                  <a:lnTo>
                    <a:pt x="196" y="499"/>
                  </a:lnTo>
                  <a:lnTo>
                    <a:pt x="196" y="499"/>
                  </a:lnTo>
                  <a:lnTo>
                    <a:pt x="195" y="498"/>
                  </a:lnTo>
                  <a:lnTo>
                    <a:pt x="195" y="498"/>
                  </a:lnTo>
                  <a:lnTo>
                    <a:pt x="195" y="497"/>
                  </a:lnTo>
                  <a:lnTo>
                    <a:pt x="195" y="496"/>
                  </a:lnTo>
                  <a:lnTo>
                    <a:pt x="195" y="495"/>
                  </a:lnTo>
                  <a:lnTo>
                    <a:pt x="195" y="493"/>
                  </a:lnTo>
                  <a:lnTo>
                    <a:pt x="195" y="489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2" y="487"/>
                  </a:lnTo>
                  <a:lnTo>
                    <a:pt x="190" y="488"/>
                  </a:lnTo>
                  <a:lnTo>
                    <a:pt x="189" y="488"/>
                  </a:lnTo>
                  <a:lnTo>
                    <a:pt x="188" y="489"/>
                  </a:lnTo>
                  <a:lnTo>
                    <a:pt x="185" y="490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80" y="493"/>
                  </a:lnTo>
                  <a:lnTo>
                    <a:pt x="180" y="493"/>
                  </a:lnTo>
                  <a:lnTo>
                    <a:pt x="179" y="494"/>
                  </a:lnTo>
                  <a:lnTo>
                    <a:pt x="179" y="494"/>
                  </a:lnTo>
                  <a:lnTo>
                    <a:pt x="179" y="495"/>
                  </a:lnTo>
                  <a:lnTo>
                    <a:pt x="178" y="497"/>
                  </a:lnTo>
                  <a:lnTo>
                    <a:pt x="177" y="499"/>
                  </a:lnTo>
                  <a:lnTo>
                    <a:pt x="176" y="500"/>
                  </a:lnTo>
                  <a:lnTo>
                    <a:pt x="176" y="501"/>
                  </a:lnTo>
                  <a:lnTo>
                    <a:pt x="175" y="502"/>
                  </a:lnTo>
                  <a:lnTo>
                    <a:pt x="175" y="503"/>
                  </a:lnTo>
                  <a:lnTo>
                    <a:pt x="174" y="503"/>
                  </a:lnTo>
                  <a:lnTo>
                    <a:pt x="174" y="504"/>
                  </a:lnTo>
                  <a:lnTo>
                    <a:pt x="173" y="504"/>
                  </a:lnTo>
                  <a:lnTo>
                    <a:pt x="173" y="504"/>
                  </a:lnTo>
                  <a:lnTo>
                    <a:pt x="171" y="505"/>
                  </a:lnTo>
                  <a:lnTo>
                    <a:pt x="171" y="505"/>
                  </a:lnTo>
                  <a:lnTo>
                    <a:pt x="170" y="505"/>
                  </a:lnTo>
                  <a:lnTo>
                    <a:pt x="168" y="507"/>
                  </a:lnTo>
                  <a:lnTo>
                    <a:pt x="167" y="507"/>
                  </a:lnTo>
                  <a:lnTo>
                    <a:pt x="166" y="508"/>
                  </a:lnTo>
                  <a:lnTo>
                    <a:pt x="166" y="508"/>
                  </a:lnTo>
                  <a:lnTo>
                    <a:pt x="165" y="508"/>
                  </a:lnTo>
                  <a:lnTo>
                    <a:pt x="164" y="508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59" y="509"/>
                  </a:lnTo>
                  <a:lnTo>
                    <a:pt x="158" y="510"/>
                  </a:lnTo>
                  <a:lnTo>
                    <a:pt x="157" y="510"/>
                  </a:lnTo>
                  <a:lnTo>
                    <a:pt x="155" y="511"/>
                  </a:lnTo>
                  <a:lnTo>
                    <a:pt x="155" y="512"/>
                  </a:lnTo>
                  <a:lnTo>
                    <a:pt x="154" y="512"/>
                  </a:lnTo>
                  <a:lnTo>
                    <a:pt x="153" y="513"/>
                  </a:lnTo>
                  <a:lnTo>
                    <a:pt x="152" y="513"/>
                  </a:lnTo>
                  <a:lnTo>
                    <a:pt x="151" y="513"/>
                  </a:lnTo>
                  <a:lnTo>
                    <a:pt x="150" y="513"/>
                  </a:lnTo>
                  <a:lnTo>
                    <a:pt x="149" y="513"/>
                  </a:lnTo>
                  <a:lnTo>
                    <a:pt x="148" y="512"/>
                  </a:lnTo>
                  <a:lnTo>
                    <a:pt x="147" y="512"/>
                  </a:lnTo>
                  <a:lnTo>
                    <a:pt x="147" y="512"/>
                  </a:lnTo>
                  <a:lnTo>
                    <a:pt x="145" y="511"/>
                  </a:lnTo>
                  <a:lnTo>
                    <a:pt x="144" y="511"/>
                  </a:lnTo>
                  <a:lnTo>
                    <a:pt x="144" y="510"/>
                  </a:lnTo>
                  <a:lnTo>
                    <a:pt x="143" y="510"/>
                  </a:lnTo>
                  <a:lnTo>
                    <a:pt x="143" y="509"/>
                  </a:lnTo>
                  <a:lnTo>
                    <a:pt x="142" y="509"/>
                  </a:lnTo>
                  <a:lnTo>
                    <a:pt x="142" y="509"/>
                  </a:lnTo>
                  <a:lnTo>
                    <a:pt x="140" y="508"/>
                  </a:lnTo>
                  <a:lnTo>
                    <a:pt x="140" y="507"/>
                  </a:lnTo>
                  <a:lnTo>
                    <a:pt x="137" y="506"/>
                  </a:lnTo>
                  <a:lnTo>
                    <a:pt x="137" y="505"/>
                  </a:lnTo>
                  <a:lnTo>
                    <a:pt x="136" y="505"/>
                  </a:lnTo>
                  <a:lnTo>
                    <a:pt x="136" y="505"/>
                  </a:lnTo>
                  <a:lnTo>
                    <a:pt x="135" y="505"/>
                  </a:lnTo>
                  <a:lnTo>
                    <a:pt x="134" y="505"/>
                  </a:lnTo>
                  <a:lnTo>
                    <a:pt x="133" y="505"/>
                  </a:lnTo>
                  <a:lnTo>
                    <a:pt x="132" y="505"/>
                  </a:lnTo>
                  <a:lnTo>
                    <a:pt x="130" y="507"/>
                  </a:lnTo>
                  <a:lnTo>
                    <a:pt x="129" y="507"/>
                  </a:lnTo>
                  <a:lnTo>
                    <a:pt x="128" y="507"/>
                  </a:lnTo>
                  <a:lnTo>
                    <a:pt x="128" y="508"/>
                  </a:lnTo>
                  <a:lnTo>
                    <a:pt x="127" y="508"/>
                  </a:lnTo>
                  <a:lnTo>
                    <a:pt x="127" y="508"/>
                  </a:lnTo>
                  <a:lnTo>
                    <a:pt x="126" y="507"/>
                  </a:lnTo>
                  <a:lnTo>
                    <a:pt x="125" y="507"/>
                  </a:lnTo>
                  <a:lnTo>
                    <a:pt x="125" y="507"/>
                  </a:lnTo>
                  <a:lnTo>
                    <a:pt x="124" y="507"/>
                  </a:lnTo>
                  <a:lnTo>
                    <a:pt x="122" y="505"/>
                  </a:lnTo>
                  <a:lnTo>
                    <a:pt x="122" y="504"/>
                  </a:lnTo>
                  <a:lnTo>
                    <a:pt x="121" y="504"/>
                  </a:lnTo>
                  <a:lnTo>
                    <a:pt x="121" y="504"/>
                  </a:lnTo>
                  <a:lnTo>
                    <a:pt x="120" y="504"/>
                  </a:lnTo>
                  <a:lnTo>
                    <a:pt x="120" y="504"/>
                  </a:lnTo>
                  <a:lnTo>
                    <a:pt x="119" y="504"/>
                  </a:lnTo>
                  <a:lnTo>
                    <a:pt x="119" y="504"/>
                  </a:lnTo>
                  <a:lnTo>
                    <a:pt x="117" y="505"/>
                  </a:lnTo>
                  <a:lnTo>
                    <a:pt x="115" y="506"/>
                  </a:lnTo>
                  <a:lnTo>
                    <a:pt x="112" y="507"/>
                  </a:lnTo>
                  <a:lnTo>
                    <a:pt x="109" y="508"/>
                  </a:lnTo>
                  <a:lnTo>
                    <a:pt x="108" y="508"/>
                  </a:lnTo>
                  <a:lnTo>
                    <a:pt x="106" y="508"/>
                  </a:lnTo>
                  <a:lnTo>
                    <a:pt x="105" y="508"/>
                  </a:lnTo>
                  <a:lnTo>
                    <a:pt x="105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7"/>
                  </a:lnTo>
                  <a:lnTo>
                    <a:pt x="104" y="506"/>
                  </a:lnTo>
                  <a:lnTo>
                    <a:pt x="104" y="505"/>
                  </a:lnTo>
                  <a:lnTo>
                    <a:pt x="104" y="503"/>
                  </a:lnTo>
                  <a:lnTo>
                    <a:pt x="104" y="502"/>
                  </a:lnTo>
                  <a:lnTo>
                    <a:pt x="104" y="501"/>
                  </a:lnTo>
                  <a:lnTo>
                    <a:pt x="104" y="500"/>
                  </a:lnTo>
                  <a:lnTo>
                    <a:pt x="104" y="499"/>
                  </a:lnTo>
                  <a:lnTo>
                    <a:pt x="103" y="497"/>
                  </a:lnTo>
                  <a:lnTo>
                    <a:pt x="103" y="496"/>
                  </a:lnTo>
                  <a:lnTo>
                    <a:pt x="103" y="495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1" y="493"/>
                  </a:lnTo>
                  <a:lnTo>
                    <a:pt x="100" y="492"/>
                  </a:lnTo>
                  <a:lnTo>
                    <a:pt x="99" y="492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7" y="490"/>
                  </a:lnTo>
                  <a:lnTo>
                    <a:pt x="97" y="490"/>
                  </a:lnTo>
                  <a:lnTo>
                    <a:pt x="97" y="489"/>
                  </a:lnTo>
                  <a:lnTo>
                    <a:pt x="97" y="489"/>
                  </a:lnTo>
                  <a:lnTo>
                    <a:pt x="97" y="485"/>
                  </a:lnTo>
                  <a:lnTo>
                    <a:pt x="97" y="484"/>
                  </a:lnTo>
                  <a:lnTo>
                    <a:pt x="97" y="481"/>
                  </a:lnTo>
                  <a:lnTo>
                    <a:pt x="98" y="478"/>
                  </a:lnTo>
                  <a:lnTo>
                    <a:pt x="98" y="476"/>
                  </a:lnTo>
                  <a:lnTo>
                    <a:pt x="98" y="474"/>
                  </a:lnTo>
                  <a:lnTo>
                    <a:pt x="99" y="471"/>
                  </a:lnTo>
                  <a:lnTo>
                    <a:pt x="99" y="469"/>
                  </a:lnTo>
                  <a:lnTo>
                    <a:pt x="99" y="468"/>
                  </a:lnTo>
                  <a:lnTo>
                    <a:pt x="99" y="466"/>
                  </a:lnTo>
                  <a:lnTo>
                    <a:pt x="99" y="464"/>
                  </a:lnTo>
                  <a:lnTo>
                    <a:pt x="99" y="462"/>
                  </a:lnTo>
                  <a:lnTo>
                    <a:pt x="99" y="461"/>
                  </a:lnTo>
                  <a:lnTo>
                    <a:pt x="99" y="460"/>
                  </a:lnTo>
                  <a:lnTo>
                    <a:pt x="99" y="460"/>
                  </a:lnTo>
                  <a:lnTo>
                    <a:pt x="98" y="459"/>
                  </a:lnTo>
                  <a:lnTo>
                    <a:pt x="98" y="459"/>
                  </a:lnTo>
                  <a:lnTo>
                    <a:pt x="98" y="458"/>
                  </a:lnTo>
                  <a:lnTo>
                    <a:pt x="97" y="458"/>
                  </a:lnTo>
                  <a:lnTo>
                    <a:pt x="96" y="457"/>
                  </a:lnTo>
                  <a:lnTo>
                    <a:pt x="95" y="457"/>
                  </a:lnTo>
                  <a:lnTo>
                    <a:pt x="94" y="456"/>
                  </a:lnTo>
                  <a:lnTo>
                    <a:pt x="93" y="456"/>
                  </a:lnTo>
                  <a:lnTo>
                    <a:pt x="92" y="456"/>
                  </a:lnTo>
                  <a:lnTo>
                    <a:pt x="91" y="456"/>
                  </a:lnTo>
                  <a:lnTo>
                    <a:pt x="89" y="456"/>
                  </a:lnTo>
                  <a:lnTo>
                    <a:pt x="88" y="456"/>
                  </a:lnTo>
                  <a:lnTo>
                    <a:pt x="87" y="456"/>
                  </a:lnTo>
                  <a:lnTo>
                    <a:pt x="87" y="456"/>
                  </a:lnTo>
                  <a:lnTo>
                    <a:pt x="87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4"/>
                  </a:lnTo>
                  <a:lnTo>
                    <a:pt x="86" y="453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1"/>
                  </a:lnTo>
                  <a:lnTo>
                    <a:pt x="86" y="451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49"/>
                  </a:lnTo>
                  <a:lnTo>
                    <a:pt x="82" y="449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7"/>
                  </a:lnTo>
                  <a:lnTo>
                    <a:pt x="84" y="447"/>
                  </a:lnTo>
                  <a:lnTo>
                    <a:pt x="85" y="447"/>
                  </a:lnTo>
                  <a:lnTo>
                    <a:pt x="86" y="447"/>
                  </a:lnTo>
                  <a:lnTo>
                    <a:pt x="86" y="447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8" y="445"/>
                  </a:lnTo>
                  <a:lnTo>
                    <a:pt x="88" y="445"/>
                  </a:lnTo>
                  <a:lnTo>
                    <a:pt x="88" y="444"/>
                  </a:lnTo>
                  <a:lnTo>
                    <a:pt x="87" y="443"/>
                  </a:lnTo>
                  <a:lnTo>
                    <a:pt x="87" y="443"/>
                  </a:lnTo>
                  <a:lnTo>
                    <a:pt x="86" y="442"/>
                  </a:lnTo>
                  <a:lnTo>
                    <a:pt x="86" y="441"/>
                  </a:lnTo>
                  <a:lnTo>
                    <a:pt x="84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4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5"/>
                  </a:lnTo>
                  <a:lnTo>
                    <a:pt x="88" y="434"/>
                  </a:lnTo>
                  <a:lnTo>
                    <a:pt x="89" y="433"/>
                  </a:lnTo>
                  <a:lnTo>
                    <a:pt x="90" y="433"/>
                  </a:lnTo>
                  <a:lnTo>
                    <a:pt x="90" y="432"/>
                  </a:lnTo>
                  <a:lnTo>
                    <a:pt x="90" y="432"/>
                  </a:lnTo>
                  <a:lnTo>
                    <a:pt x="91" y="431"/>
                  </a:lnTo>
                  <a:lnTo>
                    <a:pt x="90" y="431"/>
                  </a:lnTo>
                  <a:lnTo>
                    <a:pt x="90" y="431"/>
                  </a:lnTo>
                  <a:lnTo>
                    <a:pt x="90" y="430"/>
                  </a:lnTo>
                  <a:lnTo>
                    <a:pt x="90" y="430"/>
                  </a:lnTo>
                  <a:lnTo>
                    <a:pt x="89" y="430"/>
                  </a:lnTo>
                  <a:lnTo>
                    <a:pt x="89" y="430"/>
                  </a:lnTo>
                  <a:lnTo>
                    <a:pt x="88" y="429"/>
                  </a:lnTo>
                  <a:lnTo>
                    <a:pt x="86" y="429"/>
                  </a:lnTo>
                  <a:lnTo>
                    <a:pt x="85" y="429"/>
                  </a:lnTo>
                  <a:lnTo>
                    <a:pt x="84" y="429"/>
                  </a:lnTo>
                  <a:lnTo>
                    <a:pt x="83" y="429"/>
                  </a:lnTo>
                  <a:lnTo>
                    <a:pt x="81" y="430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8"/>
                  </a:lnTo>
                  <a:lnTo>
                    <a:pt x="78" y="428"/>
                  </a:lnTo>
                  <a:lnTo>
                    <a:pt x="78" y="427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8" y="425"/>
                  </a:lnTo>
                  <a:lnTo>
                    <a:pt x="78" y="424"/>
                  </a:lnTo>
                  <a:lnTo>
                    <a:pt x="79" y="423"/>
                  </a:lnTo>
                  <a:lnTo>
                    <a:pt x="79" y="422"/>
                  </a:lnTo>
                  <a:lnTo>
                    <a:pt x="79" y="421"/>
                  </a:lnTo>
                  <a:lnTo>
                    <a:pt x="80" y="420"/>
                  </a:lnTo>
                  <a:lnTo>
                    <a:pt x="83" y="417"/>
                  </a:lnTo>
                  <a:lnTo>
                    <a:pt x="84" y="415"/>
                  </a:lnTo>
                  <a:lnTo>
                    <a:pt x="84" y="414"/>
                  </a:lnTo>
                  <a:lnTo>
                    <a:pt x="85" y="414"/>
                  </a:lnTo>
                  <a:lnTo>
                    <a:pt x="86" y="413"/>
                  </a:lnTo>
                  <a:lnTo>
                    <a:pt x="87" y="412"/>
                  </a:lnTo>
                  <a:lnTo>
                    <a:pt x="88" y="411"/>
                  </a:lnTo>
                  <a:lnTo>
                    <a:pt x="89" y="411"/>
                  </a:lnTo>
                  <a:lnTo>
                    <a:pt x="90" y="410"/>
                  </a:lnTo>
                  <a:lnTo>
                    <a:pt x="92" y="409"/>
                  </a:lnTo>
                  <a:lnTo>
                    <a:pt x="93" y="409"/>
                  </a:lnTo>
                  <a:lnTo>
                    <a:pt x="94" y="408"/>
                  </a:lnTo>
                  <a:lnTo>
                    <a:pt x="95" y="408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7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101" y="410"/>
                  </a:lnTo>
                  <a:lnTo>
                    <a:pt x="102" y="410"/>
                  </a:lnTo>
                  <a:lnTo>
                    <a:pt x="103" y="411"/>
                  </a:lnTo>
                  <a:lnTo>
                    <a:pt x="103" y="411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7" y="409"/>
                  </a:lnTo>
                  <a:lnTo>
                    <a:pt x="108" y="408"/>
                  </a:lnTo>
                  <a:lnTo>
                    <a:pt x="109" y="406"/>
                  </a:lnTo>
                  <a:lnTo>
                    <a:pt x="110" y="405"/>
                  </a:lnTo>
                  <a:lnTo>
                    <a:pt x="111" y="404"/>
                  </a:lnTo>
                  <a:lnTo>
                    <a:pt x="112" y="403"/>
                  </a:lnTo>
                  <a:lnTo>
                    <a:pt x="115" y="400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17" y="398"/>
                  </a:lnTo>
                  <a:lnTo>
                    <a:pt x="117" y="398"/>
                  </a:lnTo>
                  <a:lnTo>
                    <a:pt x="118" y="397"/>
                  </a:lnTo>
                  <a:lnTo>
                    <a:pt x="118" y="397"/>
                  </a:lnTo>
                  <a:lnTo>
                    <a:pt x="118" y="396"/>
                  </a:lnTo>
                  <a:lnTo>
                    <a:pt x="118" y="395"/>
                  </a:lnTo>
                  <a:lnTo>
                    <a:pt x="117" y="395"/>
                  </a:lnTo>
                  <a:lnTo>
                    <a:pt x="117" y="394"/>
                  </a:lnTo>
                  <a:lnTo>
                    <a:pt x="116" y="394"/>
                  </a:lnTo>
                  <a:lnTo>
                    <a:pt x="116" y="393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3" y="392"/>
                  </a:lnTo>
                  <a:lnTo>
                    <a:pt x="113" y="391"/>
                  </a:lnTo>
                  <a:lnTo>
                    <a:pt x="113" y="390"/>
                  </a:lnTo>
                  <a:lnTo>
                    <a:pt x="114" y="388"/>
                  </a:lnTo>
                  <a:lnTo>
                    <a:pt x="114" y="387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5" y="384"/>
                  </a:lnTo>
                  <a:lnTo>
                    <a:pt x="115" y="383"/>
                  </a:lnTo>
                  <a:lnTo>
                    <a:pt x="115" y="380"/>
                  </a:lnTo>
                  <a:lnTo>
                    <a:pt x="115" y="379"/>
                  </a:lnTo>
                  <a:lnTo>
                    <a:pt x="115" y="378"/>
                  </a:lnTo>
                  <a:lnTo>
                    <a:pt x="115" y="377"/>
                  </a:lnTo>
                  <a:lnTo>
                    <a:pt x="115" y="376"/>
                  </a:lnTo>
                  <a:lnTo>
                    <a:pt x="115" y="376"/>
                  </a:lnTo>
                  <a:lnTo>
                    <a:pt x="116" y="373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7" y="369"/>
                  </a:lnTo>
                  <a:lnTo>
                    <a:pt x="117" y="368"/>
                  </a:lnTo>
                  <a:lnTo>
                    <a:pt x="117" y="367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7" y="361"/>
                  </a:lnTo>
                  <a:lnTo>
                    <a:pt x="118" y="356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9" y="351"/>
                  </a:lnTo>
                  <a:lnTo>
                    <a:pt x="120" y="349"/>
                  </a:lnTo>
                  <a:lnTo>
                    <a:pt x="120" y="348"/>
                  </a:lnTo>
                  <a:lnTo>
                    <a:pt x="121" y="347"/>
                  </a:lnTo>
                  <a:lnTo>
                    <a:pt x="121" y="346"/>
                  </a:lnTo>
                  <a:lnTo>
                    <a:pt x="122" y="346"/>
                  </a:lnTo>
                  <a:lnTo>
                    <a:pt x="122" y="345"/>
                  </a:lnTo>
                  <a:lnTo>
                    <a:pt x="124" y="344"/>
                  </a:lnTo>
                  <a:lnTo>
                    <a:pt x="124" y="343"/>
                  </a:lnTo>
                  <a:lnTo>
                    <a:pt x="125" y="343"/>
                  </a:lnTo>
                  <a:lnTo>
                    <a:pt x="125" y="342"/>
                  </a:lnTo>
                  <a:lnTo>
                    <a:pt x="125" y="341"/>
                  </a:lnTo>
                  <a:lnTo>
                    <a:pt x="125" y="341"/>
                  </a:lnTo>
                  <a:lnTo>
                    <a:pt x="125" y="340"/>
                  </a:lnTo>
                  <a:lnTo>
                    <a:pt x="125" y="339"/>
                  </a:lnTo>
                  <a:lnTo>
                    <a:pt x="125" y="335"/>
                  </a:lnTo>
                  <a:lnTo>
                    <a:pt x="125" y="333"/>
                  </a:lnTo>
                  <a:lnTo>
                    <a:pt x="125" y="329"/>
                  </a:lnTo>
                  <a:lnTo>
                    <a:pt x="124" y="326"/>
                  </a:lnTo>
                  <a:lnTo>
                    <a:pt x="124" y="324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8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7"/>
                  </a:lnTo>
                  <a:lnTo>
                    <a:pt x="122" y="317"/>
                  </a:lnTo>
                  <a:lnTo>
                    <a:pt x="116" y="313"/>
                  </a:lnTo>
                  <a:lnTo>
                    <a:pt x="113" y="312"/>
                  </a:lnTo>
                  <a:lnTo>
                    <a:pt x="112" y="311"/>
                  </a:lnTo>
                  <a:lnTo>
                    <a:pt x="110" y="311"/>
                  </a:lnTo>
                  <a:lnTo>
                    <a:pt x="107" y="310"/>
                  </a:lnTo>
                  <a:lnTo>
                    <a:pt x="104" y="309"/>
                  </a:lnTo>
                  <a:lnTo>
                    <a:pt x="104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2" y="308"/>
                  </a:lnTo>
                  <a:lnTo>
                    <a:pt x="102" y="307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1" y="303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0" y="301"/>
                  </a:lnTo>
                  <a:lnTo>
                    <a:pt x="100" y="301"/>
                  </a:lnTo>
                  <a:lnTo>
                    <a:pt x="99" y="300"/>
                  </a:lnTo>
                  <a:lnTo>
                    <a:pt x="98" y="300"/>
                  </a:lnTo>
                  <a:lnTo>
                    <a:pt x="98" y="299"/>
                  </a:lnTo>
                  <a:lnTo>
                    <a:pt x="97" y="299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2" y="298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6"/>
                  </a:lnTo>
                  <a:lnTo>
                    <a:pt x="85" y="294"/>
                  </a:lnTo>
                  <a:lnTo>
                    <a:pt x="83" y="292"/>
                  </a:lnTo>
                  <a:lnTo>
                    <a:pt x="82" y="291"/>
                  </a:lnTo>
                  <a:lnTo>
                    <a:pt x="80" y="289"/>
                  </a:lnTo>
                  <a:lnTo>
                    <a:pt x="78" y="286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0" y="283"/>
                  </a:lnTo>
                  <a:lnTo>
                    <a:pt x="69" y="283"/>
                  </a:lnTo>
                  <a:lnTo>
                    <a:pt x="68" y="283"/>
                  </a:lnTo>
                  <a:lnTo>
                    <a:pt x="65" y="284"/>
                  </a:lnTo>
                  <a:lnTo>
                    <a:pt x="64" y="284"/>
                  </a:lnTo>
                  <a:lnTo>
                    <a:pt x="63" y="285"/>
                  </a:lnTo>
                  <a:lnTo>
                    <a:pt x="61" y="285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7" y="285"/>
                  </a:lnTo>
                  <a:lnTo>
                    <a:pt x="56" y="285"/>
                  </a:lnTo>
                  <a:lnTo>
                    <a:pt x="55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1" y="284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48" y="282"/>
                  </a:lnTo>
                  <a:lnTo>
                    <a:pt x="47" y="281"/>
                  </a:lnTo>
                  <a:lnTo>
                    <a:pt x="44" y="279"/>
                  </a:lnTo>
                  <a:lnTo>
                    <a:pt x="42" y="277"/>
                  </a:lnTo>
                  <a:lnTo>
                    <a:pt x="40" y="276"/>
                  </a:lnTo>
                  <a:lnTo>
                    <a:pt x="37" y="275"/>
                  </a:lnTo>
                  <a:lnTo>
                    <a:pt x="36" y="274"/>
                  </a:lnTo>
                  <a:lnTo>
                    <a:pt x="35" y="273"/>
                  </a:lnTo>
                  <a:lnTo>
                    <a:pt x="34" y="273"/>
                  </a:lnTo>
                  <a:lnTo>
                    <a:pt x="33" y="272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2" y="271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6" y="267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5" y="265"/>
                  </a:lnTo>
                  <a:lnTo>
                    <a:pt x="34" y="264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0" y="263"/>
                  </a:lnTo>
                  <a:lnTo>
                    <a:pt x="19" y="263"/>
                  </a:lnTo>
                  <a:lnTo>
                    <a:pt x="17" y="263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4" y="264"/>
                  </a:lnTo>
                  <a:lnTo>
                    <a:pt x="12" y="264"/>
                  </a:lnTo>
                  <a:lnTo>
                    <a:pt x="10" y="265"/>
                  </a:lnTo>
                  <a:lnTo>
                    <a:pt x="9" y="266"/>
                  </a:lnTo>
                  <a:lnTo>
                    <a:pt x="8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5"/>
                  </a:lnTo>
                  <a:lnTo>
                    <a:pt x="2" y="265"/>
                  </a:lnTo>
                  <a:lnTo>
                    <a:pt x="1" y="265"/>
                  </a:lnTo>
                  <a:lnTo>
                    <a:pt x="1" y="265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1" y="260"/>
                  </a:lnTo>
                  <a:lnTo>
                    <a:pt x="1" y="259"/>
                  </a:lnTo>
                  <a:lnTo>
                    <a:pt x="2" y="257"/>
                  </a:lnTo>
                  <a:lnTo>
                    <a:pt x="3" y="255"/>
                  </a:lnTo>
                  <a:lnTo>
                    <a:pt x="4" y="254"/>
                  </a:lnTo>
                  <a:lnTo>
                    <a:pt x="5" y="252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0"/>
                  </a:lnTo>
                  <a:lnTo>
                    <a:pt x="6" y="249"/>
                  </a:lnTo>
                  <a:lnTo>
                    <a:pt x="6" y="248"/>
                  </a:lnTo>
                  <a:lnTo>
                    <a:pt x="6" y="247"/>
                  </a:lnTo>
                  <a:lnTo>
                    <a:pt x="6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4" y="243"/>
                  </a:lnTo>
                  <a:lnTo>
                    <a:pt x="3" y="242"/>
                  </a:lnTo>
                  <a:lnTo>
                    <a:pt x="2" y="241"/>
                  </a:lnTo>
                  <a:lnTo>
                    <a:pt x="2" y="240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8"/>
                  </a:lnTo>
                  <a:lnTo>
                    <a:pt x="2" y="237"/>
                  </a:lnTo>
                  <a:lnTo>
                    <a:pt x="3" y="237"/>
                  </a:lnTo>
                  <a:lnTo>
                    <a:pt x="4" y="236"/>
                  </a:lnTo>
                  <a:lnTo>
                    <a:pt x="5" y="235"/>
                  </a:lnTo>
                  <a:lnTo>
                    <a:pt x="6" y="234"/>
                  </a:lnTo>
                  <a:lnTo>
                    <a:pt x="7" y="233"/>
                  </a:lnTo>
                  <a:lnTo>
                    <a:pt x="8" y="233"/>
                  </a:lnTo>
                  <a:lnTo>
                    <a:pt x="9" y="232"/>
                  </a:lnTo>
                  <a:lnTo>
                    <a:pt x="10" y="232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3" y="231"/>
                  </a:lnTo>
                  <a:lnTo>
                    <a:pt x="14" y="231"/>
                  </a:lnTo>
                  <a:lnTo>
                    <a:pt x="15" y="231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7" y="231"/>
                  </a:lnTo>
                  <a:lnTo>
                    <a:pt x="17" y="230"/>
                  </a:lnTo>
                  <a:lnTo>
                    <a:pt x="18" y="230"/>
                  </a:lnTo>
                  <a:lnTo>
                    <a:pt x="19" y="228"/>
                  </a:lnTo>
                  <a:lnTo>
                    <a:pt x="19" y="227"/>
                  </a:lnTo>
                  <a:lnTo>
                    <a:pt x="20" y="226"/>
                  </a:lnTo>
                  <a:lnTo>
                    <a:pt x="21" y="224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2" y="223"/>
                  </a:lnTo>
                  <a:lnTo>
                    <a:pt x="22" y="222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6"/>
                  </a:lnTo>
                  <a:lnTo>
                    <a:pt x="26" y="215"/>
                  </a:lnTo>
                  <a:lnTo>
                    <a:pt x="26" y="215"/>
                  </a:lnTo>
                  <a:lnTo>
                    <a:pt x="26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6"/>
                  </a:lnTo>
                  <a:lnTo>
                    <a:pt x="29" y="206"/>
                  </a:lnTo>
                  <a:lnTo>
                    <a:pt x="29" y="205"/>
                  </a:lnTo>
                  <a:lnTo>
                    <a:pt x="31" y="203"/>
                  </a:lnTo>
                  <a:lnTo>
                    <a:pt x="33" y="202"/>
                  </a:lnTo>
                  <a:lnTo>
                    <a:pt x="34" y="201"/>
                  </a:lnTo>
                  <a:lnTo>
                    <a:pt x="36" y="200"/>
                  </a:lnTo>
                  <a:lnTo>
                    <a:pt x="36" y="199"/>
                  </a:lnTo>
                  <a:lnTo>
                    <a:pt x="38" y="198"/>
                  </a:lnTo>
                  <a:lnTo>
                    <a:pt x="40" y="197"/>
                  </a:lnTo>
                  <a:lnTo>
                    <a:pt x="41" y="196"/>
                  </a:lnTo>
                  <a:lnTo>
                    <a:pt x="42" y="195"/>
                  </a:lnTo>
                  <a:lnTo>
                    <a:pt x="43" y="195"/>
                  </a:lnTo>
                  <a:lnTo>
                    <a:pt x="44" y="194"/>
                  </a:lnTo>
                  <a:lnTo>
                    <a:pt x="45" y="194"/>
                  </a:lnTo>
                  <a:lnTo>
                    <a:pt x="47" y="194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51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4"/>
                  </a:lnTo>
                  <a:lnTo>
                    <a:pt x="57" y="193"/>
                  </a:lnTo>
                  <a:lnTo>
                    <a:pt x="59" y="193"/>
                  </a:lnTo>
                  <a:lnTo>
                    <a:pt x="60" y="192"/>
                  </a:lnTo>
                  <a:lnTo>
                    <a:pt x="61" y="192"/>
                  </a:lnTo>
                  <a:lnTo>
                    <a:pt x="62" y="191"/>
                  </a:lnTo>
                  <a:lnTo>
                    <a:pt x="63" y="190"/>
                  </a:lnTo>
                  <a:lnTo>
                    <a:pt x="64" y="190"/>
                  </a:lnTo>
                  <a:lnTo>
                    <a:pt x="65" y="188"/>
                  </a:lnTo>
                  <a:lnTo>
                    <a:pt x="66" y="18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9" y="184"/>
                  </a:lnTo>
                  <a:lnTo>
                    <a:pt x="72" y="182"/>
                  </a:lnTo>
                  <a:lnTo>
                    <a:pt x="76" y="178"/>
                  </a:lnTo>
                  <a:lnTo>
                    <a:pt x="77" y="177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2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4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7" y="178"/>
                  </a:lnTo>
                  <a:lnTo>
                    <a:pt x="99" y="178"/>
                  </a:lnTo>
                  <a:lnTo>
                    <a:pt x="100" y="178"/>
                  </a:lnTo>
                  <a:lnTo>
                    <a:pt x="101" y="178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1" y="173"/>
                  </a:lnTo>
                  <a:lnTo>
                    <a:pt x="111" y="173"/>
                  </a:lnTo>
                  <a:lnTo>
                    <a:pt x="113" y="172"/>
                  </a:lnTo>
                  <a:lnTo>
                    <a:pt x="113" y="171"/>
                  </a:lnTo>
                  <a:lnTo>
                    <a:pt x="115" y="170"/>
                  </a:lnTo>
                  <a:lnTo>
                    <a:pt x="118" y="167"/>
                  </a:lnTo>
                  <a:lnTo>
                    <a:pt x="119" y="166"/>
                  </a:lnTo>
                  <a:lnTo>
                    <a:pt x="120" y="165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3"/>
                  </a:lnTo>
                  <a:lnTo>
                    <a:pt x="123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7" y="164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69"/>
                  </a:lnTo>
                  <a:lnTo>
                    <a:pt x="136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8" y="167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2" y="162"/>
                  </a:lnTo>
                  <a:lnTo>
                    <a:pt x="143" y="161"/>
                  </a:lnTo>
                  <a:lnTo>
                    <a:pt x="144" y="161"/>
                  </a:lnTo>
                  <a:lnTo>
                    <a:pt x="145" y="160"/>
                  </a:lnTo>
                  <a:lnTo>
                    <a:pt x="146" y="159"/>
                  </a:lnTo>
                  <a:lnTo>
                    <a:pt x="147" y="159"/>
                  </a:lnTo>
                  <a:lnTo>
                    <a:pt x="147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1" y="157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6"/>
                  </a:lnTo>
                  <a:lnTo>
                    <a:pt x="157" y="155"/>
                  </a:lnTo>
                  <a:lnTo>
                    <a:pt x="158" y="154"/>
                  </a:lnTo>
                  <a:lnTo>
                    <a:pt x="160" y="153"/>
                  </a:lnTo>
                  <a:lnTo>
                    <a:pt x="160" y="153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4" y="150"/>
                  </a:lnTo>
                  <a:lnTo>
                    <a:pt x="164" y="149"/>
                  </a:lnTo>
                  <a:lnTo>
                    <a:pt x="165" y="148"/>
                  </a:lnTo>
                  <a:lnTo>
                    <a:pt x="165" y="147"/>
                  </a:lnTo>
                  <a:lnTo>
                    <a:pt x="166" y="146"/>
                  </a:lnTo>
                  <a:lnTo>
                    <a:pt x="166" y="145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68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4" y="143"/>
                  </a:lnTo>
                  <a:lnTo>
                    <a:pt x="174" y="142"/>
                  </a:lnTo>
                  <a:lnTo>
                    <a:pt x="175" y="142"/>
                  </a:lnTo>
                  <a:lnTo>
                    <a:pt x="175" y="142"/>
                  </a:lnTo>
                  <a:lnTo>
                    <a:pt x="175" y="141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39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6" y="134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1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7" y="129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9" y="127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4" y="125"/>
                  </a:lnTo>
                  <a:lnTo>
                    <a:pt x="185" y="125"/>
                  </a:lnTo>
                  <a:lnTo>
                    <a:pt x="186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4" y="126"/>
                  </a:lnTo>
                  <a:lnTo>
                    <a:pt x="198" y="127"/>
                  </a:lnTo>
                  <a:lnTo>
                    <a:pt x="202" y="128"/>
                  </a:lnTo>
                  <a:lnTo>
                    <a:pt x="205" y="129"/>
                  </a:lnTo>
                  <a:lnTo>
                    <a:pt x="207" y="129"/>
                  </a:lnTo>
                  <a:lnTo>
                    <a:pt x="209" y="129"/>
                  </a:lnTo>
                  <a:lnTo>
                    <a:pt x="215" y="130"/>
                  </a:lnTo>
                  <a:lnTo>
                    <a:pt x="217" y="130"/>
                  </a:lnTo>
                  <a:lnTo>
                    <a:pt x="219" y="130"/>
                  </a:lnTo>
                  <a:lnTo>
                    <a:pt x="222" y="130"/>
                  </a:lnTo>
                  <a:lnTo>
                    <a:pt x="224" y="130"/>
                  </a:lnTo>
                  <a:lnTo>
                    <a:pt x="226" y="130"/>
                  </a:lnTo>
                  <a:lnTo>
                    <a:pt x="228" y="129"/>
                  </a:lnTo>
                  <a:lnTo>
                    <a:pt x="230" y="129"/>
                  </a:lnTo>
                  <a:lnTo>
                    <a:pt x="232" y="129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5" y="127"/>
                  </a:lnTo>
                  <a:lnTo>
                    <a:pt x="236" y="127"/>
                  </a:lnTo>
                  <a:lnTo>
                    <a:pt x="236" y="127"/>
                  </a:lnTo>
                  <a:lnTo>
                    <a:pt x="237" y="127"/>
                  </a:lnTo>
                  <a:lnTo>
                    <a:pt x="239" y="128"/>
                  </a:lnTo>
                  <a:lnTo>
                    <a:pt x="241" y="128"/>
                  </a:lnTo>
                  <a:lnTo>
                    <a:pt x="245" y="129"/>
                  </a:lnTo>
                  <a:lnTo>
                    <a:pt x="248" y="130"/>
                  </a:lnTo>
                  <a:lnTo>
                    <a:pt x="250" y="130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6" y="128"/>
                  </a:lnTo>
                  <a:lnTo>
                    <a:pt x="257" y="127"/>
                  </a:lnTo>
                  <a:lnTo>
                    <a:pt x="259" y="125"/>
                  </a:lnTo>
                  <a:lnTo>
                    <a:pt x="260" y="124"/>
                  </a:lnTo>
                  <a:lnTo>
                    <a:pt x="260" y="124"/>
                  </a:lnTo>
                  <a:lnTo>
                    <a:pt x="261" y="124"/>
                  </a:lnTo>
                  <a:lnTo>
                    <a:pt x="262" y="123"/>
                  </a:lnTo>
                  <a:lnTo>
                    <a:pt x="263" y="123"/>
                  </a:lnTo>
                  <a:lnTo>
                    <a:pt x="264" y="123"/>
                  </a:lnTo>
                  <a:lnTo>
                    <a:pt x="270" y="122"/>
                  </a:lnTo>
                  <a:lnTo>
                    <a:pt x="272" y="121"/>
                  </a:lnTo>
                  <a:lnTo>
                    <a:pt x="276" y="121"/>
                  </a:lnTo>
                  <a:lnTo>
                    <a:pt x="277" y="121"/>
                  </a:lnTo>
                  <a:lnTo>
                    <a:pt x="279" y="121"/>
                  </a:lnTo>
                  <a:lnTo>
                    <a:pt x="280" y="121"/>
                  </a:lnTo>
                  <a:lnTo>
                    <a:pt x="282" y="122"/>
                  </a:lnTo>
                  <a:lnTo>
                    <a:pt x="284" y="122"/>
                  </a:lnTo>
                  <a:lnTo>
                    <a:pt x="284" y="122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0"/>
                  </a:lnTo>
                  <a:lnTo>
                    <a:pt x="288" y="120"/>
                  </a:lnTo>
                  <a:lnTo>
                    <a:pt x="288" y="119"/>
                  </a:lnTo>
                  <a:lnTo>
                    <a:pt x="289" y="118"/>
                  </a:lnTo>
                  <a:lnTo>
                    <a:pt x="289" y="117"/>
                  </a:lnTo>
                  <a:lnTo>
                    <a:pt x="289" y="116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91" y="109"/>
                  </a:lnTo>
                  <a:lnTo>
                    <a:pt x="291" y="108"/>
                  </a:lnTo>
                  <a:lnTo>
                    <a:pt x="291" y="106"/>
                  </a:lnTo>
                  <a:lnTo>
                    <a:pt x="291" y="105"/>
                  </a:lnTo>
                  <a:lnTo>
                    <a:pt x="291" y="104"/>
                  </a:lnTo>
                  <a:lnTo>
                    <a:pt x="291" y="103"/>
                  </a:lnTo>
                  <a:lnTo>
                    <a:pt x="290" y="102"/>
                  </a:lnTo>
                  <a:lnTo>
                    <a:pt x="290" y="99"/>
                  </a:lnTo>
                  <a:lnTo>
                    <a:pt x="289" y="98"/>
                  </a:lnTo>
                  <a:lnTo>
                    <a:pt x="289" y="97"/>
                  </a:lnTo>
                  <a:lnTo>
                    <a:pt x="289" y="96"/>
                  </a:lnTo>
                  <a:lnTo>
                    <a:pt x="289" y="95"/>
                  </a:lnTo>
                  <a:lnTo>
                    <a:pt x="289" y="94"/>
                  </a:lnTo>
                  <a:lnTo>
                    <a:pt x="289" y="93"/>
                  </a:lnTo>
                  <a:lnTo>
                    <a:pt x="289" y="91"/>
                  </a:lnTo>
                  <a:lnTo>
                    <a:pt x="289" y="89"/>
                  </a:lnTo>
                  <a:lnTo>
                    <a:pt x="289" y="88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90" y="86"/>
                  </a:lnTo>
                  <a:lnTo>
                    <a:pt x="291" y="86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7" y="88"/>
                  </a:lnTo>
                  <a:lnTo>
                    <a:pt x="298" y="88"/>
                  </a:lnTo>
                  <a:lnTo>
                    <a:pt x="299" y="88"/>
                  </a:lnTo>
                  <a:lnTo>
                    <a:pt x="300" y="88"/>
                  </a:lnTo>
                  <a:lnTo>
                    <a:pt x="301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3" y="88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3" y="86"/>
                  </a:lnTo>
                  <a:lnTo>
                    <a:pt x="303" y="85"/>
                  </a:lnTo>
                  <a:lnTo>
                    <a:pt x="305" y="83"/>
                  </a:lnTo>
                  <a:lnTo>
                    <a:pt x="306" y="80"/>
                  </a:lnTo>
                  <a:lnTo>
                    <a:pt x="306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8" y="78"/>
                  </a:lnTo>
                  <a:lnTo>
                    <a:pt x="311" y="78"/>
                  </a:lnTo>
                  <a:lnTo>
                    <a:pt x="314" y="77"/>
                  </a:lnTo>
                  <a:lnTo>
                    <a:pt x="316" y="76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7" y="75"/>
                  </a:lnTo>
                  <a:lnTo>
                    <a:pt x="318" y="75"/>
                  </a:lnTo>
                  <a:lnTo>
                    <a:pt x="318" y="75"/>
                  </a:lnTo>
                  <a:lnTo>
                    <a:pt x="318" y="74"/>
                  </a:lnTo>
                  <a:lnTo>
                    <a:pt x="319" y="74"/>
                  </a:lnTo>
                  <a:lnTo>
                    <a:pt x="319" y="73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1"/>
                  </a:lnTo>
                  <a:lnTo>
                    <a:pt x="319" y="70"/>
                  </a:lnTo>
                  <a:lnTo>
                    <a:pt x="319" y="67"/>
                  </a:lnTo>
                  <a:lnTo>
                    <a:pt x="319" y="66"/>
                  </a:lnTo>
                  <a:lnTo>
                    <a:pt x="319" y="64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8" y="58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19" y="55"/>
                  </a:lnTo>
                  <a:lnTo>
                    <a:pt x="319" y="54"/>
                  </a:lnTo>
                  <a:lnTo>
                    <a:pt x="320" y="53"/>
                  </a:lnTo>
                  <a:lnTo>
                    <a:pt x="321" y="53"/>
                  </a:lnTo>
                  <a:lnTo>
                    <a:pt x="321" y="52"/>
                  </a:lnTo>
                  <a:lnTo>
                    <a:pt x="322" y="52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5" y="53"/>
                  </a:lnTo>
                  <a:lnTo>
                    <a:pt x="325" y="53"/>
                  </a:lnTo>
                  <a:lnTo>
                    <a:pt x="326" y="53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7" y="54"/>
                  </a:lnTo>
                  <a:lnTo>
                    <a:pt x="328" y="54"/>
                  </a:lnTo>
                  <a:lnTo>
                    <a:pt x="328" y="53"/>
                  </a:lnTo>
                  <a:lnTo>
                    <a:pt x="329" y="53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2" y="51"/>
                  </a:lnTo>
                  <a:lnTo>
                    <a:pt x="333" y="51"/>
                  </a:lnTo>
                  <a:lnTo>
                    <a:pt x="334" y="51"/>
                  </a:lnTo>
                  <a:lnTo>
                    <a:pt x="335" y="51"/>
                  </a:lnTo>
                  <a:lnTo>
                    <a:pt x="335" y="52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0" y="53"/>
                  </a:lnTo>
                  <a:lnTo>
                    <a:pt x="340" y="53"/>
                  </a:lnTo>
                  <a:lnTo>
                    <a:pt x="341" y="53"/>
                  </a:lnTo>
                  <a:lnTo>
                    <a:pt x="341" y="53"/>
                  </a:lnTo>
                  <a:lnTo>
                    <a:pt x="342" y="53"/>
                  </a:lnTo>
                  <a:lnTo>
                    <a:pt x="343" y="53"/>
                  </a:lnTo>
                  <a:lnTo>
                    <a:pt x="344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7" y="51"/>
                  </a:lnTo>
                  <a:lnTo>
                    <a:pt x="348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49" y="51"/>
                  </a:lnTo>
                  <a:lnTo>
                    <a:pt x="350" y="51"/>
                  </a:lnTo>
                  <a:lnTo>
                    <a:pt x="350" y="52"/>
                  </a:lnTo>
                  <a:lnTo>
                    <a:pt x="350" y="52"/>
                  </a:lnTo>
                  <a:lnTo>
                    <a:pt x="350" y="53"/>
                  </a:lnTo>
                  <a:lnTo>
                    <a:pt x="351" y="54"/>
                  </a:lnTo>
                  <a:lnTo>
                    <a:pt x="351" y="55"/>
                  </a:lnTo>
                  <a:lnTo>
                    <a:pt x="352" y="57"/>
                  </a:lnTo>
                  <a:lnTo>
                    <a:pt x="352" y="59"/>
                  </a:lnTo>
                  <a:lnTo>
                    <a:pt x="352" y="60"/>
                  </a:lnTo>
                  <a:lnTo>
                    <a:pt x="353" y="61"/>
                  </a:lnTo>
                  <a:lnTo>
                    <a:pt x="353" y="62"/>
                  </a:lnTo>
                  <a:lnTo>
                    <a:pt x="353" y="62"/>
                  </a:lnTo>
                  <a:lnTo>
                    <a:pt x="354" y="63"/>
                  </a:lnTo>
                  <a:lnTo>
                    <a:pt x="354" y="63"/>
                  </a:lnTo>
                  <a:lnTo>
                    <a:pt x="355" y="64"/>
                  </a:lnTo>
                  <a:lnTo>
                    <a:pt x="355" y="64"/>
                  </a:lnTo>
                  <a:lnTo>
                    <a:pt x="356" y="64"/>
                  </a:lnTo>
                  <a:lnTo>
                    <a:pt x="356" y="65"/>
                  </a:lnTo>
                  <a:lnTo>
                    <a:pt x="357" y="65"/>
                  </a:lnTo>
                  <a:lnTo>
                    <a:pt x="358" y="65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7" y="63"/>
                  </a:lnTo>
                  <a:lnTo>
                    <a:pt x="368" y="62"/>
                  </a:lnTo>
                  <a:lnTo>
                    <a:pt x="369" y="62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81" y="61"/>
                  </a:lnTo>
                  <a:lnTo>
                    <a:pt x="382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6" y="58"/>
                  </a:lnTo>
                  <a:lnTo>
                    <a:pt x="389" y="56"/>
                  </a:lnTo>
                  <a:lnTo>
                    <a:pt x="391" y="55"/>
                  </a:lnTo>
                  <a:lnTo>
                    <a:pt x="391" y="54"/>
                  </a:lnTo>
                  <a:lnTo>
                    <a:pt x="392" y="53"/>
                  </a:lnTo>
                  <a:lnTo>
                    <a:pt x="393" y="52"/>
                  </a:lnTo>
                  <a:lnTo>
                    <a:pt x="395" y="49"/>
                  </a:lnTo>
                  <a:lnTo>
                    <a:pt x="395" y="49"/>
                  </a:lnTo>
                  <a:lnTo>
                    <a:pt x="396" y="48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9" y="46"/>
                  </a:lnTo>
                  <a:lnTo>
                    <a:pt x="400" y="45"/>
                  </a:lnTo>
                  <a:lnTo>
                    <a:pt x="400" y="44"/>
                  </a:lnTo>
                  <a:lnTo>
                    <a:pt x="401" y="44"/>
                  </a:lnTo>
                  <a:lnTo>
                    <a:pt x="401" y="43"/>
                  </a:lnTo>
                  <a:lnTo>
                    <a:pt x="402" y="42"/>
                  </a:lnTo>
                  <a:lnTo>
                    <a:pt x="402" y="41"/>
                  </a:lnTo>
                  <a:lnTo>
                    <a:pt x="402" y="40"/>
                  </a:lnTo>
                  <a:lnTo>
                    <a:pt x="403" y="39"/>
                  </a:lnTo>
                  <a:lnTo>
                    <a:pt x="403" y="35"/>
                  </a:lnTo>
                  <a:lnTo>
                    <a:pt x="403" y="34"/>
                  </a:lnTo>
                  <a:lnTo>
                    <a:pt x="403" y="33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1"/>
                  </a:lnTo>
                  <a:lnTo>
                    <a:pt x="406" y="31"/>
                  </a:lnTo>
                  <a:lnTo>
                    <a:pt x="407" y="30"/>
                  </a:lnTo>
                  <a:lnTo>
                    <a:pt x="407" y="30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1" y="30"/>
                  </a:lnTo>
                  <a:lnTo>
                    <a:pt x="413" y="31"/>
                  </a:lnTo>
                  <a:lnTo>
                    <a:pt x="415" y="31"/>
                  </a:lnTo>
                  <a:lnTo>
                    <a:pt x="417" y="32"/>
                  </a:lnTo>
                  <a:lnTo>
                    <a:pt x="420" y="33"/>
                  </a:lnTo>
                  <a:lnTo>
                    <a:pt x="422" y="33"/>
                  </a:lnTo>
                  <a:lnTo>
                    <a:pt x="423" y="33"/>
                  </a:lnTo>
                  <a:lnTo>
                    <a:pt x="423" y="33"/>
                  </a:lnTo>
                  <a:lnTo>
                    <a:pt x="424" y="33"/>
                  </a:lnTo>
                  <a:lnTo>
                    <a:pt x="425" y="33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29" y="31"/>
                  </a:lnTo>
                  <a:lnTo>
                    <a:pt x="430" y="31"/>
                  </a:lnTo>
                  <a:lnTo>
                    <a:pt x="430" y="30"/>
                  </a:lnTo>
                  <a:lnTo>
                    <a:pt x="431" y="29"/>
                  </a:lnTo>
                  <a:lnTo>
                    <a:pt x="431" y="29"/>
                  </a:lnTo>
                  <a:lnTo>
                    <a:pt x="432" y="28"/>
                  </a:lnTo>
                  <a:lnTo>
                    <a:pt x="432" y="28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3" y="24"/>
                  </a:lnTo>
                  <a:lnTo>
                    <a:pt x="433" y="23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4" y="22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7" y="20"/>
                  </a:lnTo>
                  <a:lnTo>
                    <a:pt x="437" y="19"/>
                  </a:lnTo>
                  <a:lnTo>
                    <a:pt x="439" y="18"/>
                  </a:lnTo>
                  <a:lnTo>
                    <a:pt x="443" y="16"/>
                  </a:lnTo>
                  <a:lnTo>
                    <a:pt x="444" y="16"/>
                  </a:lnTo>
                  <a:lnTo>
                    <a:pt x="445" y="15"/>
                  </a:lnTo>
                  <a:lnTo>
                    <a:pt x="445" y="15"/>
                  </a:lnTo>
                  <a:lnTo>
                    <a:pt x="446" y="14"/>
                  </a:lnTo>
                  <a:lnTo>
                    <a:pt x="446" y="14"/>
                  </a:lnTo>
                  <a:lnTo>
                    <a:pt x="447" y="13"/>
                  </a:lnTo>
                  <a:lnTo>
                    <a:pt x="447" y="12"/>
                  </a:lnTo>
                  <a:lnTo>
                    <a:pt x="447" y="11"/>
                  </a:lnTo>
                  <a:lnTo>
                    <a:pt x="447" y="9"/>
                  </a:lnTo>
                  <a:lnTo>
                    <a:pt x="447" y="8"/>
                  </a:lnTo>
                  <a:lnTo>
                    <a:pt x="448" y="6"/>
                  </a:lnTo>
                  <a:lnTo>
                    <a:pt x="449" y="4"/>
                  </a:lnTo>
                  <a:lnTo>
                    <a:pt x="450" y="3"/>
                  </a:lnTo>
                  <a:lnTo>
                    <a:pt x="45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1" y="0"/>
                  </a:lnTo>
                  <a:lnTo>
                    <a:pt x="451" y="0"/>
                  </a:lnTo>
                  <a:close/>
                  <a:moveTo>
                    <a:pt x="335" y="203"/>
                  </a:moveTo>
                  <a:lnTo>
                    <a:pt x="335" y="204"/>
                  </a:lnTo>
                  <a:lnTo>
                    <a:pt x="334" y="204"/>
                  </a:lnTo>
                  <a:lnTo>
                    <a:pt x="332" y="204"/>
                  </a:lnTo>
                  <a:lnTo>
                    <a:pt x="327" y="205"/>
                  </a:lnTo>
                  <a:lnTo>
                    <a:pt x="325" y="206"/>
                  </a:lnTo>
                  <a:lnTo>
                    <a:pt x="323" y="206"/>
                  </a:lnTo>
                  <a:lnTo>
                    <a:pt x="321" y="207"/>
                  </a:lnTo>
                  <a:lnTo>
                    <a:pt x="319" y="208"/>
                  </a:lnTo>
                  <a:lnTo>
                    <a:pt x="318" y="208"/>
                  </a:lnTo>
                  <a:lnTo>
                    <a:pt x="315" y="210"/>
                  </a:lnTo>
                  <a:lnTo>
                    <a:pt x="314" y="211"/>
                  </a:lnTo>
                  <a:lnTo>
                    <a:pt x="312" y="212"/>
                  </a:lnTo>
                  <a:lnTo>
                    <a:pt x="309" y="212"/>
                  </a:lnTo>
                  <a:lnTo>
                    <a:pt x="307" y="213"/>
                  </a:lnTo>
                  <a:lnTo>
                    <a:pt x="306" y="213"/>
                  </a:lnTo>
                  <a:lnTo>
                    <a:pt x="302" y="215"/>
                  </a:lnTo>
                  <a:lnTo>
                    <a:pt x="301" y="216"/>
                  </a:lnTo>
                  <a:lnTo>
                    <a:pt x="300" y="217"/>
                  </a:lnTo>
                  <a:lnTo>
                    <a:pt x="297" y="217"/>
                  </a:lnTo>
                  <a:lnTo>
                    <a:pt x="296" y="217"/>
                  </a:lnTo>
                  <a:lnTo>
                    <a:pt x="295" y="218"/>
                  </a:lnTo>
                  <a:lnTo>
                    <a:pt x="292" y="218"/>
                  </a:lnTo>
                  <a:lnTo>
                    <a:pt x="291" y="218"/>
                  </a:lnTo>
                  <a:lnTo>
                    <a:pt x="289" y="218"/>
                  </a:lnTo>
                  <a:lnTo>
                    <a:pt x="289" y="219"/>
                  </a:lnTo>
                  <a:lnTo>
                    <a:pt x="288" y="219"/>
                  </a:lnTo>
                  <a:lnTo>
                    <a:pt x="287" y="219"/>
                  </a:lnTo>
                  <a:lnTo>
                    <a:pt x="287" y="220"/>
                  </a:lnTo>
                  <a:lnTo>
                    <a:pt x="286" y="220"/>
                  </a:lnTo>
                  <a:lnTo>
                    <a:pt x="286" y="221"/>
                  </a:lnTo>
                  <a:lnTo>
                    <a:pt x="285" y="222"/>
                  </a:lnTo>
                  <a:lnTo>
                    <a:pt x="285" y="223"/>
                  </a:lnTo>
                  <a:lnTo>
                    <a:pt x="285" y="224"/>
                  </a:lnTo>
                  <a:lnTo>
                    <a:pt x="284" y="226"/>
                  </a:lnTo>
                  <a:lnTo>
                    <a:pt x="284" y="227"/>
                  </a:lnTo>
                  <a:lnTo>
                    <a:pt x="283" y="228"/>
                  </a:lnTo>
                  <a:lnTo>
                    <a:pt x="283" y="229"/>
                  </a:lnTo>
                  <a:lnTo>
                    <a:pt x="283" y="229"/>
                  </a:lnTo>
                  <a:lnTo>
                    <a:pt x="282" y="229"/>
                  </a:lnTo>
                  <a:lnTo>
                    <a:pt x="282" y="230"/>
                  </a:lnTo>
                  <a:lnTo>
                    <a:pt x="281" y="230"/>
                  </a:lnTo>
                  <a:lnTo>
                    <a:pt x="279" y="230"/>
                  </a:lnTo>
                  <a:lnTo>
                    <a:pt x="278" y="230"/>
                  </a:lnTo>
                  <a:lnTo>
                    <a:pt x="276" y="230"/>
                  </a:lnTo>
                  <a:lnTo>
                    <a:pt x="275" y="230"/>
                  </a:lnTo>
                  <a:lnTo>
                    <a:pt x="275" y="229"/>
                  </a:lnTo>
                  <a:lnTo>
                    <a:pt x="274" y="229"/>
                  </a:lnTo>
                  <a:lnTo>
                    <a:pt x="272" y="228"/>
                  </a:lnTo>
                  <a:lnTo>
                    <a:pt x="271" y="228"/>
                  </a:lnTo>
                  <a:lnTo>
                    <a:pt x="271" y="227"/>
                  </a:lnTo>
                  <a:lnTo>
                    <a:pt x="270" y="227"/>
                  </a:lnTo>
                  <a:lnTo>
                    <a:pt x="269" y="227"/>
                  </a:lnTo>
                  <a:lnTo>
                    <a:pt x="269" y="227"/>
                  </a:lnTo>
                  <a:lnTo>
                    <a:pt x="268" y="227"/>
                  </a:lnTo>
                  <a:lnTo>
                    <a:pt x="268" y="227"/>
                  </a:lnTo>
                  <a:lnTo>
                    <a:pt x="267" y="228"/>
                  </a:lnTo>
                  <a:lnTo>
                    <a:pt x="264" y="229"/>
                  </a:lnTo>
                  <a:lnTo>
                    <a:pt x="263" y="230"/>
                  </a:lnTo>
                  <a:lnTo>
                    <a:pt x="262" y="230"/>
                  </a:lnTo>
                  <a:lnTo>
                    <a:pt x="259" y="231"/>
                  </a:lnTo>
                  <a:lnTo>
                    <a:pt x="257" y="231"/>
                  </a:lnTo>
                  <a:lnTo>
                    <a:pt x="254" y="232"/>
                  </a:lnTo>
                  <a:lnTo>
                    <a:pt x="252" y="233"/>
                  </a:lnTo>
                  <a:lnTo>
                    <a:pt x="251" y="234"/>
                  </a:lnTo>
                  <a:lnTo>
                    <a:pt x="250" y="234"/>
                  </a:lnTo>
                  <a:lnTo>
                    <a:pt x="249" y="235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7"/>
                  </a:lnTo>
                  <a:lnTo>
                    <a:pt x="249" y="237"/>
                  </a:lnTo>
                  <a:lnTo>
                    <a:pt x="249" y="237"/>
                  </a:lnTo>
                  <a:lnTo>
                    <a:pt x="251" y="238"/>
                  </a:lnTo>
                  <a:lnTo>
                    <a:pt x="252" y="238"/>
                  </a:lnTo>
                  <a:lnTo>
                    <a:pt x="253" y="239"/>
                  </a:lnTo>
                  <a:lnTo>
                    <a:pt x="253" y="240"/>
                  </a:lnTo>
                  <a:lnTo>
                    <a:pt x="255" y="241"/>
                  </a:lnTo>
                  <a:lnTo>
                    <a:pt x="257" y="243"/>
                  </a:lnTo>
                  <a:lnTo>
                    <a:pt x="259" y="246"/>
                  </a:lnTo>
                  <a:lnTo>
                    <a:pt x="260" y="247"/>
                  </a:lnTo>
                  <a:lnTo>
                    <a:pt x="261" y="247"/>
                  </a:lnTo>
                  <a:lnTo>
                    <a:pt x="261" y="248"/>
                  </a:lnTo>
                  <a:lnTo>
                    <a:pt x="261" y="248"/>
                  </a:lnTo>
                  <a:lnTo>
                    <a:pt x="261" y="249"/>
                  </a:lnTo>
                  <a:lnTo>
                    <a:pt x="261" y="250"/>
                  </a:lnTo>
                  <a:lnTo>
                    <a:pt x="261" y="250"/>
                  </a:lnTo>
                  <a:lnTo>
                    <a:pt x="260" y="251"/>
                  </a:lnTo>
                  <a:lnTo>
                    <a:pt x="260" y="251"/>
                  </a:lnTo>
                  <a:lnTo>
                    <a:pt x="258" y="252"/>
                  </a:lnTo>
                  <a:lnTo>
                    <a:pt x="257" y="253"/>
                  </a:lnTo>
                  <a:lnTo>
                    <a:pt x="256" y="253"/>
                  </a:lnTo>
                  <a:lnTo>
                    <a:pt x="256" y="254"/>
                  </a:lnTo>
                  <a:lnTo>
                    <a:pt x="255" y="255"/>
                  </a:lnTo>
                  <a:lnTo>
                    <a:pt x="255" y="255"/>
                  </a:lnTo>
                  <a:lnTo>
                    <a:pt x="254" y="256"/>
                  </a:lnTo>
                  <a:lnTo>
                    <a:pt x="254" y="257"/>
                  </a:lnTo>
                  <a:lnTo>
                    <a:pt x="254" y="257"/>
                  </a:lnTo>
                  <a:lnTo>
                    <a:pt x="255" y="257"/>
                  </a:lnTo>
                  <a:lnTo>
                    <a:pt x="255" y="258"/>
                  </a:lnTo>
                  <a:lnTo>
                    <a:pt x="255" y="259"/>
                  </a:lnTo>
                  <a:lnTo>
                    <a:pt x="257" y="261"/>
                  </a:lnTo>
                  <a:lnTo>
                    <a:pt x="257" y="261"/>
                  </a:lnTo>
                  <a:lnTo>
                    <a:pt x="258" y="262"/>
                  </a:lnTo>
                  <a:lnTo>
                    <a:pt x="259" y="265"/>
                  </a:lnTo>
                  <a:lnTo>
                    <a:pt x="259" y="265"/>
                  </a:lnTo>
                  <a:lnTo>
                    <a:pt x="260" y="267"/>
                  </a:lnTo>
                  <a:lnTo>
                    <a:pt x="261" y="268"/>
                  </a:lnTo>
                  <a:lnTo>
                    <a:pt x="262" y="269"/>
                  </a:lnTo>
                  <a:lnTo>
                    <a:pt x="263" y="270"/>
                  </a:lnTo>
                  <a:lnTo>
                    <a:pt x="265" y="272"/>
                  </a:lnTo>
                  <a:lnTo>
                    <a:pt x="268" y="274"/>
                  </a:lnTo>
                  <a:lnTo>
                    <a:pt x="268" y="275"/>
                  </a:lnTo>
                  <a:lnTo>
                    <a:pt x="269" y="276"/>
                  </a:lnTo>
                  <a:lnTo>
                    <a:pt x="269" y="276"/>
                  </a:lnTo>
                  <a:lnTo>
                    <a:pt x="269" y="277"/>
                  </a:lnTo>
                  <a:lnTo>
                    <a:pt x="269" y="278"/>
                  </a:lnTo>
                  <a:lnTo>
                    <a:pt x="269" y="278"/>
                  </a:lnTo>
                  <a:lnTo>
                    <a:pt x="269" y="279"/>
                  </a:lnTo>
                  <a:lnTo>
                    <a:pt x="269" y="280"/>
                  </a:lnTo>
                  <a:lnTo>
                    <a:pt x="268" y="281"/>
                  </a:lnTo>
                  <a:lnTo>
                    <a:pt x="268" y="282"/>
                  </a:lnTo>
                  <a:lnTo>
                    <a:pt x="268" y="282"/>
                  </a:lnTo>
                  <a:lnTo>
                    <a:pt x="268" y="283"/>
                  </a:lnTo>
                  <a:lnTo>
                    <a:pt x="268" y="284"/>
                  </a:lnTo>
                  <a:lnTo>
                    <a:pt x="268" y="284"/>
                  </a:lnTo>
                  <a:lnTo>
                    <a:pt x="268" y="285"/>
                  </a:lnTo>
                  <a:lnTo>
                    <a:pt x="269" y="285"/>
                  </a:lnTo>
                  <a:lnTo>
                    <a:pt x="269" y="286"/>
                  </a:lnTo>
                  <a:lnTo>
                    <a:pt x="270" y="286"/>
                  </a:lnTo>
                  <a:lnTo>
                    <a:pt x="271" y="287"/>
                  </a:lnTo>
                  <a:lnTo>
                    <a:pt x="271" y="287"/>
                  </a:lnTo>
                  <a:lnTo>
                    <a:pt x="272" y="288"/>
                  </a:lnTo>
                  <a:lnTo>
                    <a:pt x="273" y="288"/>
                  </a:lnTo>
                  <a:lnTo>
                    <a:pt x="275" y="289"/>
                  </a:lnTo>
                  <a:lnTo>
                    <a:pt x="276" y="289"/>
                  </a:lnTo>
                  <a:lnTo>
                    <a:pt x="276" y="290"/>
                  </a:lnTo>
                  <a:lnTo>
                    <a:pt x="277" y="290"/>
                  </a:lnTo>
                  <a:lnTo>
                    <a:pt x="277" y="291"/>
                  </a:lnTo>
                  <a:lnTo>
                    <a:pt x="277" y="291"/>
                  </a:lnTo>
                  <a:lnTo>
                    <a:pt x="277" y="292"/>
                  </a:lnTo>
                  <a:lnTo>
                    <a:pt x="277" y="292"/>
                  </a:lnTo>
                  <a:lnTo>
                    <a:pt x="277" y="293"/>
                  </a:lnTo>
                  <a:lnTo>
                    <a:pt x="277" y="294"/>
                  </a:lnTo>
                  <a:lnTo>
                    <a:pt x="277" y="296"/>
                  </a:lnTo>
                  <a:lnTo>
                    <a:pt x="277" y="296"/>
                  </a:lnTo>
                  <a:lnTo>
                    <a:pt x="277" y="297"/>
                  </a:lnTo>
                  <a:lnTo>
                    <a:pt x="277" y="297"/>
                  </a:lnTo>
                  <a:lnTo>
                    <a:pt x="278" y="298"/>
                  </a:lnTo>
                  <a:lnTo>
                    <a:pt x="278" y="298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8" y="300"/>
                  </a:lnTo>
                  <a:lnTo>
                    <a:pt x="277" y="302"/>
                  </a:lnTo>
                  <a:lnTo>
                    <a:pt x="277" y="302"/>
                  </a:lnTo>
                  <a:lnTo>
                    <a:pt x="277" y="303"/>
                  </a:lnTo>
                  <a:lnTo>
                    <a:pt x="277" y="304"/>
                  </a:lnTo>
                  <a:lnTo>
                    <a:pt x="277" y="304"/>
                  </a:lnTo>
                  <a:lnTo>
                    <a:pt x="277" y="305"/>
                  </a:lnTo>
                  <a:lnTo>
                    <a:pt x="278" y="305"/>
                  </a:lnTo>
                  <a:lnTo>
                    <a:pt x="278" y="306"/>
                  </a:lnTo>
                  <a:lnTo>
                    <a:pt x="279" y="306"/>
                  </a:lnTo>
                  <a:lnTo>
                    <a:pt x="279" y="307"/>
                  </a:lnTo>
                  <a:lnTo>
                    <a:pt x="279" y="307"/>
                  </a:lnTo>
                  <a:lnTo>
                    <a:pt x="280" y="308"/>
                  </a:lnTo>
                  <a:lnTo>
                    <a:pt x="281" y="308"/>
                  </a:lnTo>
                  <a:lnTo>
                    <a:pt x="282" y="308"/>
                  </a:lnTo>
                  <a:lnTo>
                    <a:pt x="282" y="308"/>
                  </a:lnTo>
                  <a:lnTo>
                    <a:pt x="283" y="309"/>
                  </a:lnTo>
                  <a:lnTo>
                    <a:pt x="284" y="309"/>
                  </a:lnTo>
                  <a:lnTo>
                    <a:pt x="288" y="309"/>
                  </a:lnTo>
                  <a:lnTo>
                    <a:pt x="289" y="309"/>
                  </a:lnTo>
                  <a:lnTo>
                    <a:pt x="292" y="309"/>
                  </a:lnTo>
                  <a:lnTo>
                    <a:pt x="292" y="309"/>
                  </a:lnTo>
                  <a:lnTo>
                    <a:pt x="293" y="309"/>
                  </a:lnTo>
                  <a:lnTo>
                    <a:pt x="293" y="309"/>
                  </a:lnTo>
                  <a:lnTo>
                    <a:pt x="294" y="309"/>
                  </a:lnTo>
                  <a:lnTo>
                    <a:pt x="294" y="308"/>
                  </a:lnTo>
                  <a:lnTo>
                    <a:pt x="294" y="308"/>
                  </a:lnTo>
                  <a:lnTo>
                    <a:pt x="295" y="307"/>
                  </a:lnTo>
                  <a:lnTo>
                    <a:pt x="296" y="305"/>
                  </a:lnTo>
                  <a:lnTo>
                    <a:pt x="297" y="304"/>
                  </a:lnTo>
                  <a:lnTo>
                    <a:pt x="297" y="303"/>
                  </a:lnTo>
                  <a:lnTo>
                    <a:pt x="297" y="303"/>
                  </a:lnTo>
                  <a:lnTo>
                    <a:pt x="298" y="302"/>
                  </a:lnTo>
                  <a:lnTo>
                    <a:pt x="298" y="302"/>
                  </a:lnTo>
                  <a:lnTo>
                    <a:pt x="299" y="302"/>
                  </a:lnTo>
                  <a:lnTo>
                    <a:pt x="300" y="301"/>
                  </a:lnTo>
                  <a:lnTo>
                    <a:pt x="303" y="301"/>
                  </a:lnTo>
                  <a:lnTo>
                    <a:pt x="304" y="300"/>
                  </a:lnTo>
                  <a:lnTo>
                    <a:pt x="306" y="300"/>
                  </a:lnTo>
                  <a:lnTo>
                    <a:pt x="307" y="299"/>
                  </a:lnTo>
                  <a:lnTo>
                    <a:pt x="310" y="298"/>
                  </a:lnTo>
                  <a:lnTo>
                    <a:pt x="312" y="298"/>
                  </a:lnTo>
                  <a:lnTo>
                    <a:pt x="313" y="297"/>
                  </a:lnTo>
                  <a:lnTo>
                    <a:pt x="314" y="297"/>
                  </a:lnTo>
                  <a:lnTo>
                    <a:pt x="315" y="296"/>
                  </a:lnTo>
                  <a:lnTo>
                    <a:pt x="316" y="296"/>
                  </a:lnTo>
                  <a:lnTo>
                    <a:pt x="321" y="292"/>
                  </a:lnTo>
                  <a:lnTo>
                    <a:pt x="323" y="290"/>
                  </a:lnTo>
                  <a:lnTo>
                    <a:pt x="324" y="289"/>
                  </a:lnTo>
                  <a:lnTo>
                    <a:pt x="325" y="289"/>
                  </a:lnTo>
                  <a:lnTo>
                    <a:pt x="326" y="289"/>
                  </a:lnTo>
                  <a:lnTo>
                    <a:pt x="327" y="288"/>
                  </a:lnTo>
                  <a:lnTo>
                    <a:pt x="329" y="287"/>
                  </a:lnTo>
                  <a:lnTo>
                    <a:pt x="330" y="287"/>
                  </a:lnTo>
                  <a:lnTo>
                    <a:pt x="331" y="286"/>
                  </a:lnTo>
                  <a:lnTo>
                    <a:pt x="332" y="286"/>
                  </a:lnTo>
                  <a:lnTo>
                    <a:pt x="333" y="285"/>
                  </a:lnTo>
                  <a:lnTo>
                    <a:pt x="334" y="285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6" y="282"/>
                  </a:lnTo>
                  <a:lnTo>
                    <a:pt x="336" y="282"/>
                  </a:lnTo>
                  <a:lnTo>
                    <a:pt x="337" y="282"/>
                  </a:lnTo>
                  <a:lnTo>
                    <a:pt x="338" y="281"/>
                  </a:lnTo>
                  <a:lnTo>
                    <a:pt x="338" y="281"/>
                  </a:lnTo>
                  <a:lnTo>
                    <a:pt x="339" y="281"/>
                  </a:lnTo>
                  <a:lnTo>
                    <a:pt x="342" y="281"/>
                  </a:lnTo>
                  <a:lnTo>
                    <a:pt x="343" y="280"/>
                  </a:lnTo>
                  <a:lnTo>
                    <a:pt x="345" y="280"/>
                  </a:lnTo>
                  <a:lnTo>
                    <a:pt x="347" y="280"/>
                  </a:lnTo>
                  <a:lnTo>
                    <a:pt x="349" y="280"/>
                  </a:lnTo>
                  <a:lnTo>
                    <a:pt x="350" y="280"/>
                  </a:lnTo>
                  <a:lnTo>
                    <a:pt x="350" y="280"/>
                  </a:lnTo>
                  <a:lnTo>
                    <a:pt x="351" y="280"/>
                  </a:lnTo>
                  <a:lnTo>
                    <a:pt x="352" y="281"/>
                  </a:lnTo>
                  <a:lnTo>
                    <a:pt x="354" y="281"/>
                  </a:lnTo>
                  <a:lnTo>
                    <a:pt x="355" y="282"/>
                  </a:lnTo>
                  <a:lnTo>
                    <a:pt x="356" y="283"/>
                  </a:lnTo>
                  <a:lnTo>
                    <a:pt x="358" y="284"/>
                  </a:lnTo>
                  <a:lnTo>
                    <a:pt x="360" y="285"/>
                  </a:lnTo>
                  <a:lnTo>
                    <a:pt x="360" y="285"/>
                  </a:lnTo>
                  <a:lnTo>
                    <a:pt x="361" y="285"/>
                  </a:lnTo>
                  <a:lnTo>
                    <a:pt x="362" y="286"/>
                  </a:lnTo>
                  <a:lnTo>
                    <a:pt x="363" y="286"/>
                  </a:lnTo>
                  <a:lnTo>
                    <a:pt x="365" y="286"/>
                  </a:lnTo>
                  <a:lnTo>
                    <a:pt x="366" y="286"/>
                  </a:lnTo>
                  <a:lnTo>
                    <a:pt x="366" y="286"/>
                  </a:lnTo>
                  <a:lnTo>
                    <a:pt x="367" y="286"/>
                  </a:lnTo>
                  <a:lnTo>
                    <a:pt x="368" y="286"/>
                  </a:lnTo>
                  <a:lnTo>
                    <a:pt x="368" y="285"/>
                  </a:lnTo>
                  <a:lnTo>
                    <a:pt x="369" y="285"/>
                  </a:lnTo>
                  <a:lnTo>
                    <a:pt x="370" y="284"/>
                  </a:lnTo>
                  <a:lnTo>
                    <a:pt x="372" y="282"/>
                  </a:lnTo>
                  <a:lnTo>
                    <a:pt x="373" y="282"/>
                  </a:lnTo>
                  <a:lnTo>
                    <a:pt x="374" y="281"/>
                  </a:lnTo>
                  <a:lnTo>
                    <a:pt x="374" y="280"/>
                  </a:lnTo>
                  <a:lnTo>
                    <a:pt x="375" y="279"/>
                  </a:lnTo>
                  <a:lnTo>
                    <a:pt x="375" y="278"/>
                  </a:lnTo>
                  <a:lnTo>
                    <a:pt x="375" y="277"/>
                  </a:lnTo>
                  <a:lnTo>
                    <a:pt x="375" y="276"/>
                  </a:lnTo>
                  <a:lnTo>
                    <a:pt x="375" y="275"/>
                  </a:lnTo>
                  <a:lnTo>
                    <a:pt x="374" y="271"/>
                  </a:lnTo>
                  <a:lnTo>
                    <a:pt x="374" y="269"/>
                  </a:lnTo>
                  <a:lnTo>
                    <a:pt x="374" y="268"/>
                  </a:lnTo>
                  <a:lnTo>
                    <a:pt x="374" y="267"/>
                  </a:lnTo>
                  <a:lnTo>
                    <a:pt x="373" y="267"/>
                  </a:lnTo>
                  <a:lnTo>
                    <a:pt x="373" y="266"/>
                  </a:lnTo>
                  <a:lnTo>
                    <a:pt x="373" y="266"/>
                  </a:lnTo>
                  <a:lnTo>
                    <a:pt x="372" y="265"/>
                  </a:lnTo>
                  <a:lnTo>
                    <a:pt x="371" y="264"/>
                  </a:lnTo>
                  <a:lnTo>
                    <a:pt x="371" y="264"/>
                  </a:lnTo>
                  <a:lnTo>
                    <a:pt x="371" y="263"/>
                  </a:lnTo>
                  <a:lnTo>
                    <a:pt x="370" y="263"/>
                  </a:lnTo>
                  <a:lnTo>
                    <a:pt x="370" y="262"/>
                  </a:lnTo>
                  <a:lnTo>
                    <a:pt x="370" y="261"/>
                  </a:lnTo>
                  <a:lnTo>
                    <a:pt x="371" y="261"/>
                  </a:lnTo>
                  <a:lnTo>
                    <a:pt x="371" y="260"/>
                  </a:lnTo>
                  <a:lnTo>
                    <a:pt x="371" y="260"/>
                  </a:lnTo>
                  <a:lnTo>
                    <a:pt x="371" y="259"/>
                  </a:lnTo>
                  <a:lnTo>
                    <a:pt x="372" y="259"/>
                  </a:lnTo>
                  <a:lnTo>
                    <a:pt x="373" y="258"/>
                  </a:lnTo>
                  <a:lnTo>
                    <a:pt x="374" y="257"/>
                  </a:lnTo>
                  <a:lnTo>
                    <a:pt x="374" y="257"/>
                  </a:lnTo>
                  <a:lnTo>
                    <a:pt x="379" y="254"/>
                  </a:lnTo>
                  <a:lnTo>
                    <a:pt x="382" y="253"/>
                  </a:lnTo>
                  <a:lnTo>
                    <a:pt x="382" y="252"/>
                  </a:lnTo>
                  <a:lnTo>
                    <a:pt x="383" y="252"/>
                  </a:lnTo>
                  <a:lnTo>
                    <a:pt x="384" y="251"/>
                  </a:lnTo>
                  <a:lnTo>
                    <a:pt x="384" y="251"/>
                  </a:lnTo>
                  <a:lnTo>
                    <a:pt x="385" y="250"/>
                  </a:lnTo>
                  <a:lnTo>
                    <a:pt x="385" y="249"/>
                  </a:lnTo>
                  <a:lnTo>
                    <a:pt x="386" y="248"/>
                  </a:lnTo>
                  <a:lnTo>
                    <a:pt x="386" y="247"/>
                  </a:lnTo>
                  <a:lnTo>
                    <a:pt x="386" y="246"/>
                  </a:lnTo>
                  <a:lnTo>
                    <a:pt x="386" y="246"/>
                  </a:lnTo>
                  <a:lnTo>
                    <a:pt x="386" y="245"/>
                  </a:lnTo>
                  <a:lnTo>
                    <a:pt x="386" y="245"/>
                  </a:lnTo>
                  <a:lnTo>
                    <a:pt x="385" y="244"/>
                  </a:lnTo>
                  <a:lnTo>
                    <a:pt x="385" y="243"/>
                  </a:lnTo>
                  <a:lnTo>
                    <a:pt x="384" y="242"/>
                  </a:lnTo>
                  <a:lnTo>
                    <a:pt x="383" y="241"/>
                  </a:lnTo>
                  <a:lnTo>
                    <a:pt x="383" y="240"/>
                  </a:lnTo>
                  <a:lnTo>
                    <a:pt x="382" y="240"/>
                  </a:lnTo>
                  <a:lnTo>
                    <a:pt x="381" y="239"/>
                  </a:lnTo>
                  <a:lnTo>
                    <a:pt x="378" y="237"/>
                  </a:lnTo>
                  <a:lnTo>
                    <a:pt x="377" y="236"/>
                  </a:lnTo>
                  <a:lnTo>
                    <a:pt x="376" y="235"/>
                  </a:lnTo>
                  <a:lnTo>
                    <a:pt x="376" y="235"/>
                  </a:lnTo>
                  <a:lnTo>
                    <a:pt x="375" y="234"/>
                  </a:lnTo>
                  <a:lnTo>
                    <a:pt x="374" y="232"/>
                  </a:lnTo>
                  <a:lnTo>
                    <a:pt x="373" y="231"/>
                  </a:lnTo>
                  <a:lnTo>
                    <a:pt x="372" y="231"/>
                  </a:lnTo>
                  <a:lnTo>
                    <a:pt x="372" y="230"/>
                  </a:lnTo>
                  <a:lnTo>
                    <a:pt x="371" y="230"/>
                  </a:lnTo>
                  <a:lnTo>
                    <a:pt x="370" y="229"/>
                  </a:lnTo>
                  <a:lnTo>
                    <a:pt x="366" y="227"/>
                  </a:lnTo>
                  <a:lnTo>
                    <a:pt x="365" y="226"/>
                  </a:lnTo>
                  <a:lnTo>
                    <a:pt x="362" y="226"/>
                  </a:lnTo>
                  <a:lnTo>
                    <a:pt x="360" y="225"/>
                  </a:lnTo>
                  <a:lnTo>
                    <a:pt x="360" y="225"/>
                  </a:lnTo>
                  <a:lnTo>
                    <a:pt x="359" y="224"/>
                  </a:lnTo>
                  <a:lnTo>
                    <a:pt x="358" y="224"/>
                  </a:lnTo>
                  <a:lnTo>
                    <a:pt x="357" y="223"/>
                  </a:lnTo>
                  <a:lnTo>
                    <a:pt x="357" y="222"/>
                  </a:lnTo>
                  <a:lnTo>
                    <a:pt x="356" y="222"/>
                  </a:lnTo>
                  <a:lnTo>
                    <a:pt x="355" y="221"/>
                  </a:lnTo>
                  <a:lnTo>
                    <a:pt x="355" y="220"/>
                  </a:lnTo>
                  <a:lnTo>
                    <a:pt x="355" y="219"/>
                  </a:lnTo>
                  <a:lnTo>
                    <a:pt x="354" y="217"/>
                  </a:lnTo>
                  <a:lnTo>
                    <a:pt x="353" y="216"/>
                  </a:lnTo>
                  <a:lnTo>
                    <a:pt x="353" y="216"/>
                  </a:lnTo>
                  <a:lnTo>
                    <a:pt x="353" y="216"/>
                  </a:lnTo>
                  <a:lnTo>
                    <a:pt x="352" y="215"/>
                  </a:lnTo>
                  <a:lnTo>
                    <a:pt x="351" y="215"/>
                  </a:lnTo>
                  <a:lnTo>
                    <a:pt x="349" y="215"/>
                  </a:lnTo>
                  <a:lnTo>
                    <a:pt x="348" y="214"/>
                  </a:lnTo>
                  <a:lnTo>
                    <a:pt x="347" y="214"/>
                  </a:lnTo>
                  <a:lnTo>
                    <a:pt x="346" y="213"/>
                  </a:lnTo>
                  <a:lnTo>
                    <a:pt x="343" y="211"/>
                  </a:lnTo>
                  <a:lnTo>
                    <a:pt x="342" y="210"/>
                  </a:lnTo>
                  <a:lnTo>
                    <a:pt x="339" y="208"/>
                  </a:lnTo>
                  <a:lnTo>
                    <a:pt x="338" y="207"/>
                  </a:lnTo>
                  <a:lnTo>
                    <a:pt x="338" y="207"/>
                  </a:lnTo>
                  <a:lnTo>
                    <a:pt x="337" y="207"/>
                  </a:lnTo>
                  <a:lnTo>
                    <a:pt x="337" y="206"/>
                  </a:lnTo>
                  <a:lnTo>
                    <a:pt x="337" y="205"/>
                  </a:lnTo>
                  <a:lnTo>
                    <a:pt x="336" y="205"/>
                  </a:lnTo>
                  <a:lnTo>
                    <a:pt x="336" y="204"/>
                  </a:lnTo>
                  <a:lnTo>
                    <a:pt x="336" y="204"/>
                  </a:lnTo>
                  <a:lnTo>
                    <a:pt x="336" y="204"/>
                  </a:lnTo>
                  <a:lnTo>
                    <a:pt x="337" y="203"/>
                  </a:lnTo>
                  <a:lnTo>
                    <a:pt x="336" y="203"/>
                  </a:lnTo>
                  <a:lnTo>
                    <a:pt x="336" y="203"/>
                  </a:lnTo>
                  <a:lnTo>
                    <a:pt x="335" y="203"/>
                  </a:lnTo>
                  <a:close/>
                </a:path>
              </a:pathLst>
            </a:custGeom>
            <a:solidFill>
              <a:srgbClr val="FFCC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3" name="Freeform 43">
              <a:extLst>
                <a:ext uri="{FF2B5EF4-FFF2-40B4-BE49-F238E27FC236}">
                  <a16:creationId xmlns:a16="http://schemas.microsoft.com/office/drawing/2014/main" id="{D98DDA3C-3659-2AA1-83FE-462BD958B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1" y="3069"/>
              <a:ext cx="438" cy="512"/>
            </a:xfrm>
            <a:custGeom>
              <a:avLst/>
              <a:gdLst>
                <a:gd name="T0" fmla="*/ 269 w 438"/>
                <a:gd name="T1" fmla="*/ 10 h 512"/>
                <a:gd name="T2" fmla="*/ 282 w 438"/>
                <a:gd name="T3" fmla="*/ 9 h 512"/>
                <a:gd name="T4" fmla="*/ 306 w 438"/>
                <a:gd name="T5" fmla="*/ 29 h 512"/>
                <a:gd name="T6" fmla="*/ 323 w 438"/>
                <a:gd name="T7" fmla="*/ 45 h 512"/>
                <a:gd name="T8" fmla="*/ 321 w 438"/>
                <a:gd name="T9" fmla="*/ 65 h 512"/>
                <a:gd name="T10" fmla="*/ 327 w 438"/>
                <a:gd name="T11" fmla="*/ 89 h 512"/>
                <a:gd name="T12" fmla="*/ 317 w 438"/>
                <a:gd name="T13" fmla="*/ 108 h 512"/>
                <a:gd name="T14" fmla="*/ 318 w 438"/>
                <a:gd name="T15" fmla="*/ 121 h 512"/>
                <a:gd name="T16" fmla="*/ 332 w 438"/>
                <a:gd name="T17" fmla="*/ 128 h 512"/>
                <a:gd name="T18" fmla="*/ 343 w 438"/>
                <a:gd name="T19" fmla="*/ 144 h 512"/>
                <a:gd name="T20" fmla="*/ 352 w 438"/>
                <a:gd name="T21" fmla="*/ 152 h 512"/>
                <a:gd name="T22" fmla="*/ 383 w 438"/>
                <a:gd name="T23" fmla="*/ 149 h 512"/>
                <a:gd name="T24" fmla="*/ 392 w 438"/>
                <a:gd name="T25" fmla="*/ 162 h 512"/>
                <a:gd name="T26" fmla="*/ 397 w 438"/>
                <a:gd name="T27" fmla="*/ 188 h 512"/>
                <a:gd name="T28" fmla="*/ 390 w 438"/>
                <a:gd name="T29" fmla="*/ 207 h 512"/>
                <a:gd name="T30" fmla="*/ 393 w 438"/>
                <a:gd name="T31" fmla="*/ 220 h 512"/>
                <a:gd name="T32" fmla="*/ 411 w 438"/>
                <a:gd name="T33" fmla="*/ 229 h 512"/>
                <a:gd name="T34" fmla="*/ 403 w 438"/>
                <a:gd name="T35" fmla="*/ 238 h 512"/>
                <a:gd name="T36" fmla="*/ 403 w 438"/>
                <a:gd name="T37" fmla="*/ 247 h 512"/>
                <a:gd name="T38" fmla="*/ 396 w 438"/>
                <a:gd name="T39" fmla="*/ 260 h 512"/>
                <a:gd name="T40" fmla="*/ 392 w 438"/>
                <a:gd name="T41" fmla="*/ 267 h 512"/>
                <a:gd name="T42" fmla="*/ 403 w 438"/>
                <a:gd name="T43" fmla="*/ 277 h 512"/>
                <a:gd name="T44" fmla="*/ 417 w 438"/>
                <a:gd name="T45" fmla="*/ 284 h 512"/>
                <a:gd name="T46" fmla="*/ 423 w 438"/>
                <a:gd name="T47" fmla="*/ 294 h 512"/>
                <a:gd name="T48" fmla="*/ 438 w 438"/>
                <a:gd name="T49" fmla="*/ 309 h 512"/>
                <a:gd name="T50" fmla="*/ 434 w 438"/>
                <a:gd name="T51" fmla="*/ 331 h 512"/>
                <a:gd name="T52" fmla="*/ 428 w 438"/>
                <a:gd name="T53" fmla="*/ 351 h 512"/>
                <a:gd name="T54" fmla="*/ 411 w 438"/>
                <a:gd name="T55" fmla="*/ 360 h 512"/>
                <a:gd name="T56" fmla="*/ 409 w 438"/>
                <a:gd name="T57" fmla="*/ 375 h 512"/>
                <a:gd name="T58" fmla="*/ 399 w 438"/>
                <a:gd name="T59" fmla="*/ 380 h 512"/>
                <a:gd name="T60" fmla="*/ 381 w 438"/>
                <a:gd name="T61" fmla="*/ 391 h 512"/>
                <a:gd name="T62" fmla="*/ 358 w 438"/>
                <a:gd name="T63" fmla="*/ 398 h 512"/>
                <a:gd name="T64" fmla="*/ 348 w 438"/>
                <a:gd name="T65" fmla="*/ 402 h 512"/>
                <a:gd name="T66" fmla="*/ 334 w 438"/>
                <a:gd name="T67" fmla="*/ 428 h 512"/>
                <a:gd name="T68" fmla="*/ 349 w 438"/>
                <a:gd name="T69" fmla="*/ 443 h 512"/>
                <a:gd name="T70" fmla="*/ 353 w 438"/>
                <a:gd name="T71" fmla="*/ 458 h 512"/>
                <a:gd name="T72" fmla="*/ 337 w 438"/>
                <a:gd name="T73" fmla="*/ 464 h 512"/>
                <a:gd name="T74" fmla="*/ 329 w 438"/>
                <a:gd name="T75" fmla="*/ 473 h 512"/>
                <a:gd name="T76" fmla="*/ 312 w 438"/>
                <a:gd name="T77" fmla="*/ 468 h 512"/>
                <a:gd name="T78" fmla="*/ 281 w 438"/>
                <a:gd name="T79" fmla="*/ 469 h 512"/>
                <a:gd name="T80" fmla="*/ 275 w 438"/>
                <a:gd name="T81" fmla="*/ 477 h 512"/>
                <a:gd name="T82" fmla="*/ 263 w 438"/>
                <a:gd name="T83" fmla="*/ 484 h 512"/>
                <a:gd name="T84" fmla="*/ 255 w 438"/>
                <a:gd name="T85" fmla="*/ 495 h 512"/>
                <a:gd name="T86" fmla="*/ 242 w 438"/>
                <a:gd name="T87" fmla="*/ 478 h 512"/>
                <a:gd name="T88" fmla="*/ 232 w 438"/>
                <a:gd name="T89" fmla="*/ 478 h 512"/>
                <a:gd name="T90" fmla="*/ 210 w 438"/>
                <a:gd name="T91" fmla="*/ 464 h 512"/>
                <a:gd name="T92" fmla="*/ 199 w 438"/>
                <a:gd name="T93" fmla="*/ 477 h 512"/>
                <a:gd name="T94" fmla="*/ 198 w 438"/>
                <a:gd name="T95" fmla="*/ 495 h 512"/>
                <a:gd name="T96" fmla="*/ 175 w 438"/>
                <a:gd name="T97" fmla="*/ 511 h 512"/>
                <a:gd name="T98" fmla="*/ 160 w 438"/>
                <a:gd name="T99" fmla="*/ 507 h 512"/>
                <a:gd name="T100" fmla="*/ 155 w 438"/>
                <a:gd name="T101" fmla="*/ 499 h 512"/>
                <a:gd name="T102" fmla="*/ 132 w 438"/>
                <a:gd name="T103" fmla="*/ 498 h 512"/>
                <a:gd name="T104" fmla="*/ 117 w 438"/>
                <a:gd name="T105" fmla="*/ 499 h 512"/>
                <a:gd name="T106" fmla="*/ 102 w 438"/>
                <a:gd name="T107" fmla="*/ 494 h 512"/>
                <a:gd name="T108" fmla="*/ 90 w 438"/>
                <a:gd name="T109" fmla="*/ 502 h 512"/>
                <a:gd name="T110" fmla="*/ 78 w 438"/>
                <a:gd name="T111" fmla="*/ 498 h 512"/>
                <a:gd name="T112" fmla="*/ 63 w 438"/>
                <a:gd name="T113" fmla="*/ 487 h 512"/>
                <a:gd name="T114" fmla="*/ 45 w 438"/>
                <a:gd name="T115" fmla="*/ 495 h 512"/>
                <a:gd name="T116" fmla="*/ 18 w 438"/>
                <a:gd name="T117" fmla="*/ 500 h 512"/>
                <a:gd name="T118" fmla="*/ 1 w 438"/>
                <a:gd name="T119" fmla="*/ 499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8" h="512">
                  <a:moveTo>
                    <a:pt x="256" y="0"/>
                  </a:moveTo>
                  <a:lnTo>
                    <a:pt x="256" y="0"/>
                  </a:lnTo>
                  <a:lnTo>
                    <a:pt x="257" y="0"/>
                  </a:lnTo>
                  <a:lnTo>
                    <a:pt x="257" y="1"/>
                  </a:lnTo>
                  <a:lnTo>
                    <a:pt x="258" y="1"/>
                  </a:lnTo>
                  <a:lnTo>
                    <a:pt x="260" y="3"/>
                  </a:lnTo>
                  <a:lnTo>
                    <a:pt x="261" y="4"/>
                  </a:lnTo>
                  <a:lnTo>
                    <a:pt x="262" y="5"/>
                  </a:lnTo>
                  <a:lnTo>
                    <a:pt x="264" y="6"/>
                  </a:lnTo>
                  <a:lnTo>
                    <a:pt x="265" y="7"/>
                  </a:lnTo>
                  <a:lnTo>
                    <a:pt x="265" y="7"/>
                  </a:lnTo>
                  <a:lnTo>
                    <a:pt x="266" y="8"/>
                  </a:lnTo>
                  <a:lnTo>
                    <a:pt x="266" y="9"/>
                  </a:lnTo>
                  <a:lnTo>
                    <a:pt x="267" y="9"/>
                  </a:lnTo>
                  <a:lnTo>
                    <a:pt x="268" y="9"/>
                  </a:lnTo>
                  <a:lnTo>
                    <a:pt x="268" y="10"/>
                  </a:lnTo>
                  <a:lnTo>
                    <a:pt x="269" y="10"/>
                  </a:lnTo>
                  <a:lnTo>
                    <a:pt x="270" y="10"/>
                  </a:lnTo>
                  <a:lnTo>
                    <a:pt x="270" y="10"/>
                  </a:lnTo>
                  <a:lnTo>
                    <a:pt x="270" y="9"/>
                  </a:lnTo>
                  <a:lnTo>
                    <a:pt x="271" y="9"/>
                  </a:lnTo>
                  <a:lnTo>
                    <a:pt x="272" y="8"/>
                  </a:lnTo>
                  <a:lnTo>
                    <a:pt x="273" y="8"/>
                  </a:lnTo>
                  <a:lnTo>
                    <a:pt x="273" y="8"/>
                  </a:lnTo>
                  <a:lnTo>
                    <a:pt x="274" y="7"/>
                  </a:lnTo>
                  <a:lnTo>
                    <a:pt x="275" y="7"/>
                  </a:lnTo>
                  <a:lnTo>
                    <a:pt x="276" y="7"/>
                  </a:lnTo>
                  <a:lnTo>
                    <a:pt x="276" y="7"/>
                  </a:lnTo>
                  <a:lnTo>
                    <a:pt x="279" y="8"/>
                  </a:lnTo>
                  <a:lnTo>
                    <a:pt x="280" y="8"/>
                  </a:lnTo>
                  <a:lnTo>
                    <a:pt x="281" y="8"/>
                  </a:lnTo>
                  <a:lnTo>
                    <a:pt x="281" y="8"/>
                  </a:lnTo>
                  <a:lnTo>
                    <a:pt x="281" y="9"/>
                  </a:lnTo>
                  <a:lnTo>
                    <a:pt x="282" y="9"/>
                  </a:lnTo>
                  <a:lnTo>
                    <a:pt x="284" y="10"/>
                  </a:lnTo>
                  <a:lnTo>
                    <a:pt x="286" y="14"/>
                  </a:lnTo>
                  <a:lnTo>
                    <a:pt x="290" y="18"/>
                  </a:lnTo>
                  <a:lnTo>
                    <a:pt x="292" y="20"/>
                  </a:lnTo>
                  <a:lnTo>
                    <a:pt x="293" y="21"/>
                  </a:lnTo>
                  <a:lnTo>
                    <a:pt x="293" y="21"/>
                  </a:lnTo>
                  <a:lnTo>
                    <a:pt x="294" y="22"/>
                  </a:lnTo>
                  <a:lnTo>
                    <a:pt x="295" y="22"/>
                  </a:lnTo>
                  <a:lnTo>
                    <a:pt x="296" y="22"/>
                  </a:lnTo>
                  <a:lnTo>
                    <a:pt x="298" y="23"/>
                  </a:lnTo>
                  <a:lnTo>
                    <a:pt x="299" y="24"/>
                  </a:lnTo>
                  <a:lnTo>
                    <a:pt x="300" y="24"/>
                  </a:lnTo>
                  <a:lnTo>
                    <a:pt x="301" y="25"/>
                  </a:lnTo>
                  <a:lnTo>
                    <a:pt x="302" y="26"/>
                  </a:lnTo>
                  <a:lnTo>
                    <a:pt x="304" y="27"/>
                  </a:lnTo>
                  <a:lnTo>
                    <a:pt x="305" y="28"/>
                  </a:lnTo>
                  <a:lnTo>
                    <a:pt x="306" y="29"/>
                  </a:lnTo>
                  <a:lnTo>
                    <a:pt x="306" y="30"/>
                  </a:lnTo>
                  <a:lnTo>
                    <a:pt x="307" y="31"/>
                  </a:lnTo>
                  <a:lnTo>
                    <a:pt x="308" y="32"/>
                  </a:lnTo>
                  <a:lnTo>
                    <a:pt x="310" y="35"/>
                  </a:lnTo>
                  <a:lnTo>
                    <a:pt x="310" y="36"/>
                  </a:lnTo>
                  <a:lnTo>
                    <a:pt x="310" y="37"/>
                  </a:lnTo>
                  <a:lnTo>
                    <a:pt x="311" y="37"/>
                  </a:lnTo>
                  <a:lnTo>
                    <a:pt x="312" y="38"/>
                  </a:lnTo>
                  <a:lnTo>
                    <a:pt x="313" y="38"/>
                  </a:lnTo>
                  <a:lnTo>
                    <a:pt x="313" y="39"/>
                  </a:lnTo>
                  <a:lnTo>
                    <a:pt x="314" y="39"/>
                  </a:lnTo>
                  <a:lnTo>
                    <a:pt x="316" y="40"/>
                  </a:lnTo>
                  <a:lnTo>
                    <a:pt x="317" y="41"/>
                  </a:lnTo>
                  <a:lnTo>
                    <a:pt x="322" y="43"/>
                  </a:lnTo>
                  <a:lnTo>
                    <a:pt x="323" y="43"/>
                  </a:lnTo>
                  <a:lnTo>
                    <a:pt x="324" y="44"/>
                  </a:lnTo>
                  <a:lnTo>
                    <a:pt x="323" y="45"/>
                  </a:lnTo>
                  <a:lnTo>
                    <a:pt x="322" y="46"/>
                  </a:lnTo>
                  <a:lnTo>
                    <a:pt x="320" y="48"/>
                  </a:lnTo>
                  <a:lnTo>
                    <a:pt x="319" y="49"/>
                  </a:lnTo>
                  <a:lnTo>
                    <a:pt x="318" y="50"/>
                  </a:lnTo>
                  <a:lnTo>
                    <a:pt x="317" y="51"/>
                  </a:lnTo>
                  <a:lnTo>
                    <a:pt x="317" y="52"/>
                  </a:lnTo>
                  <a:lnTo>
                    <a:pt x="317" y="52"/>
                  </a:lnTo>
                  <a:lnTo>
                    <a:pt x="317" y="53"/>
                  </a:lnTo>
                  <a:lnTo>
                    <a:pt x="317" y="54"/>
                  </a:lnTo>
                  <a:lnTo>
                    <a:pt x="317" y="54"/>
                  </a:lnTo>
                  <a:lnTo>
                    <a:pt x="317" y="55"/>
                  </a:lnTo>
                  <a:lnTo>
                    <a:pt x="317" y="56"/>
                  </a:lnTo>
                  <a:lnTo>
                    <a:pt x="318" y="58"/>
                  </a:lnTo>
                  <a:lnTo>
                    <a:pt x="319" y="60"/>
                  </a:lnTo>
                  <a:lnTo>
                    <a:pt x="319" y="61"/>
                  </a:lnTo>
                  <a:lnTo>
                    <a:pt x="320" y="63"/>
                  </a:lnTo>
                  <a:lnTo>
                    <a:pt x="321" y="65"/>
                  </a:lnTo>
                  <a:lnTo>
                    <a:pt x="321" y="66"/>
                  </a:lnTo>
                  <a:lnTo>
                    <a:pt x="321" y="66"/>
                  </a:lnTo>
                  <a:lnTo>
                    <a:pt x="321" y="67"/>
                  </a:lnTo>
                  <a:lnTo>
                    <a:pt x="321" y="69"/>
                  </a:lnTo>
                  <a:lnTo>
                    <a:pt x="321" y="74"/>
                  </a:lnTo>
                  <a:lnTo>
                    <a:pt x="321" y="75"/>
                  </a:lnTo>
                  <a:lnTo>
                    <a:pt x="321" y="76"/>
                  </a:lnTo>
                  <a:lnTo>
                    <a:pt x="322" y="77"/>
                  </a:lnTo>
                  <a:lnTo>
                    <a:pt x="322" y="78"/>
                  </a:lnTo>
                  <a:lnTo>
                    <a:pt x="322" y="78"/>
                  </a:lnTo>
                  <a:lnTo>
                    <a:pt x="323" y="80"/>
                  </a:lnTo>
                  <a:lnTo>
                    <a:pt x="324" y="81"/>
                  </a:lnTo>
                  <a:lnTo>
                    <a:pt x="324" y="82"/>
                  </a:lnTo>
                  <a:lnTo>
                    <a:pt x="325" y="83"/>
                  </a:lnTo>
                  <a:lnTo>
                    <a:pt x="325" y="84"/>
                  </a:lnTo>
                  <a:lnTo>
                    <a:pt x="326" y="87"/>
                  </a:lnTo>
                  <a:lnTo>
                    <a:pt x="327" y="89"/>
                  </a:lnTo>
                  <a:lnTo>
                    <a:pt x="327" y="90"/>
                  </a:lnTo>
                  <a:lnTo>
                    <a:pt x="327" y="91"/>
                  </a:lnTo>
                  <a:lnTo>
                    <a:pt x="327" y="93"/>
                  </a:lnTo>
                  <a:lnTo>
                    <a:pt x="326" y="94"/>
                  </a:lnTo>
                  <a:lnTo>
                    <a:pt x="326" y="95"/>
                  </a:lnTo>
                  <a:lnTo>
                    <a:pt x="325" y="96"/>
                  </a:lnTo>
                  <a:lnTo>
                    <a:pt x="325" y="97"/>
                  </a:lnTo>
                  <a:lnTo>
                    <a:pt x="323" y="99"/>
                  </a:lnTo>
                  <a:lnTo>
                    <a:pt x="323" y="100"/>
                  </a:lnTo>
                  <a:lnTo>
                    <a:pt x="322" y="101"/>
                  </a:lnTo>
                  <a:lnTo>
                    <a:pt x="321" y="104"/>
                  </a:lnTo>
                  <a:lnTo>
                    <a:pt x="321" y="105"/>
                  </a:lnTo>
                  <a:lnTo>
                    <a:pt x="321" y="105"/>
                  </a:lnTo>
                  <a:lnTo>
                    <a:pt x="320" y="105"/>
                  </a:lnTo>
                  <a:lnTo>
                    <a:pt x="320" y="106"/>
                  </a:lnTo>
                  <a:lnTo>
                    <a:pt x="319" y="106"/>
                  </a:lnTo>
                  <a:lnTo>
                    <a:pt x="317" y="108"/>
                  </a:lnTo>
                  <a:lnTo>
                    <a:pt x="316" y="108"/>
                  </a:lnTo>
                  <a:lnTo>
                    <a:pt x="316" y="108"/>
                  </a:lnTo>
                  <a:lnTo>
                    <a:pt x="315" y="109"/>
                  </a:lnTo>
                  <a:lnTo>
                    <a:pt x="315" y="110"/>
                  </a:lnTo>
                  <a:lnTo>
                    <a:pt x="315" y="110"/>
                  </a:lnTo>
                  <a:lnTo>
                    <a:pt x="314" y="111"/>
                  </a:lnTo>
                  <a:lnTo>
                    <a:pt x="314" y="111"/>
                  </a:lnTo>
                  <a:lnTo>
                    <a:pt x="314" y="112"/>
                  </a:lnTo>
                  <a:lnTo>
                    <a:pt x="314" y="113"/>
                  </a:lnTo>
                  <a:lnTo>
                    <a:pt x="315" y="114"/>
                  </a:lnTo>
                  <a:lnTo>
                    <a:pt x="315" y="114"/>
                  </a:lnTo>
                  <a:lnTo>
                    <a:pt x="315" y="115"/>
                  </a:lnTo>
                  <a:lnTo>
                    <a:pt x="316" y="117"/>
                  </a:lnTo>
                  <a:lnTo>
                    <a:pt x="317" y="118"/>
                  </a:lnTo>
                  <a:lnTo>
                    <a:pt x="317" y="119"/>
                  </a:lnTo>
                  <a:lnTo>
                    <a:pt x="318" y="120"/>
                  </a:lnTo>
                  <a:lnTo>
                    <a:pt x="318" y="121"/>
                  </a:lnTo>
                  <a:lnTo>
                    <a:pt x="318" y="122"/>
                  </a:lnTo>
                  <a:lnTo>
                    <a:pt x="319" y="123"/>
                  </a:lnTo>
                  <a:lnTo>
                    <a:pt x="319" y="124"/>
                  </a:lnTo>
                  <a:lnTo>
                    <a:pt x="320" y="124"/>
                  </a:lnTo>
                  <a:lnTo>
                    <a:pt x="320" y="125"/>
                  </a:lnTo>
                  <a:lnTo>
                    <a:pt x="321" y="125"/>
                  </a:lnTo>
                  <a:lnTo>
                    <a:pt x="322" y="126"/>
                  </a:lnTo>
                  <a:lnTo>
                    <a:pt x="323" y="126"/>
                  </a:lnTo>
                  <a:lnTo>
                    <a:pt x="323" y="126"/>
                  </a:lnTo>
                  <a:lnTo>
                    <a:pt x="324" y="127"/>
                  </a:lnTo>
                  <a:lnTo>
                    <a:pt x="324" y="127"/>
                  </a:lnTo>
                  <a:lnTo>
                    <a:pt x="325" y="127"/>
                  </a:lnTo>
                  <a:lnTo>
                    <a:pt x="326" y="127"/>
                  </a:lnTo>
                  <a:lnTo>
                    <a:pt x="329" y="127"/>
                  </a:lnTo>
                  <a:lnTo>
                    <a:pt x="330" y="128"/>
                  </a:lnTo>
                  <a:lnTo>
                    <a:pt x="330" y="128"/>
                  </a:lnTo>
                  <a:lnTo>
                    <a:pt x="332" y="128"/>
                  </a:lnTo>
                  <a:lnTo>
                    <a:pt x="333" y="129"/>
                  </a:lnTo>
                  <a:lnTo>
                    <a:pt x="334" y="129"/>
                  </a:lnTo>
                  <a:lnTo>
                    <a:pt x="334" y="130"/>
                  </a:lnTo>
                  <a:lnTo>
                    <a:pt x="335" y="130"/>
                  </a:lnTo>
                  <a:lnTo>
                    <a:pt x="336" y="132"/>
                  </a:lnTo>
                  <a:lnTo>
                    <a:pt x="336" y="132"/>
                  </a:lnTo>
                  <a:lnTo>
                    <a:pt x="337" y="133"/>
                  </a:lnTo>
                  <a:lnTo>
                    <a:pt x="338" y="134"/>
                  </a:lnTo>
                  <a:lnTo>
                    <a:pt x="339" y="135"/>
                  </a:lnTo>
                  <a:lnTo>
                    <a:pt x="341" y="137"/>
                  </a:lnTo>
                  <a:lnTo>
                    <a:pt x="341" y="137"/>
                  </a:lnTo>
                  <a:lnTo>
                    <a:pt x="342" y="138"/>
                  </a:lnTo>
                  <a:lnTo>
                    <a:pt x="342" y="139"/>
                  </a:lnTo>
                  <a:lnTo>
                    <a:pt x="343" y="139"/>
                  </a:lnTo>
                  <a:lnTo>
                    <a:pt x="343" y="140"/>
                  </a:lnTo>
                  <a:lnTo>
                    <a:pt x="343" y="142"/>
                  </a:lnTo>
                  <a:lnTo>
                    <a:pt x="343" y="144"/>
                  </a:lnTo>
                  <a:lnTo>
                    <a:pt x="343" y="144"/>
                  </a:lnTo>
                  <a:lnTo>
                    <a:pt x="343" y="145"/>
                  </a:lnTo>
                  <a:lnTo>
                    <a:pt x="343" y="146"/>
                  </a:lnTo>
                  <a:lnTo>
                    <a:pt x="344" y="147"/>
                  </a:lnTo>
                  <a:lnTo>
                    <a:pt x="344" y="148"/>
                  </a:lnTo>
                  <a:lnTo>
                    <a:pt x="344" y="148"/>
                  </a:lnTo>
                  <a:lnTo>
                    <a:pt x="345" y="149"/>
                  </a:lnTo>
                  <a:lnTo>
                    <a:pt x="345" y="149"/>
                  </a:lnTo>
                  <a:lnTo>
                    <a:pt x="346" y="150"/>
                  </a:lnTo>
                  <a:lnTo>
                    <a:pt x="347" y="150"/>
                  </a:lnTo>
                  <a:lnTo>
                    <a:pt x="347" y="151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50" y="152"/>
                  </a:lnTo>
                  <a:lnTo>
                    <a:pt x="350" y="152"/>
                  </a:lnTo>
                  <a:lnTo>
                    <a:pt x="351" y="152"/>
                  </a:lnTo>
                  <a:lnTo>
                    <a:pt x="352" y="152"/>
                  </a:lnTo>
                  <a:lnTo>
                    <a:pt x="353" y="152"/>
                  </a:lnTo>
                  <a:lnTo>
                    <a:pt x="357" y="151"/>
                  </a:lnTo>
                  <a:lnTo>
                    <a:pt x="358" y="151"/>
                  </a:lnTo>
                  <a:lnTo>
                    <a:pt x="359" y="151"/>
                  </a:lnTo>
                  <a:lnTo>
                    <a:pt x="363" y="152"/>
                  </a:lnTo>
                  <a:lnTo>
                    <a:pt x="366" y="152"/>
                  </a:lnTo>
                  <a:lnTo>
                    <a:pt x="369" y="153"/>
                  </a:lnTo>
                  <a:lnTo>
                    <a:pt x="370" y="153"/>
                  </a:lnTo>
                  <a:lnTo>
                    <a:pt x="371" y="153"/>
                  </a:lnTo>
                  <a:lnTo>
                    <a:pt x="372" y="153"/>
                  </a:lnTo>
                  <a:lnTo>
                    <a:pt x="373" y="152"/>
                  </a:lnTo>
                  <a:lnTo>
                    <a:pt x="377" y="151"/>
                  </a:lnTo>
                  <a:lnTo>
                    <a:pt x="379" y="150"/>
                  </a:lnTo>
                  <a:lnTo>
                    <a:pt x="380" y="150"/>
                  </a:lnTo>
                  <a:lnTo>
                    <a:pt x="382" y="149"/>
                  </a:lnTo>
                  <a:lnTo>
                    <a:pt x="382" y="149"/>
                  </a:lnTo>
                  <a:lnTo>
                    <a:pt x="383" y="149"/>
                  </a:lnTo>
                  <a:lnTo>
                    <a:pt x="384" y="149"/>
                  </a:lnTo>
                  <a:lnTo>
                    <a:pt x="384" y="149"/>
                  </a:lnTo>
                  <a:lnTo>
                    <a:pt x="385" y="149"/>
                  </a:lnTo>
                  <a:lnTo>
                    <a:pt x="386" y="149"/>
                  </a:lnTo>
                  <a:lnTo>
                    <a:pt x="386" y="150"/>
                  </a:lnTo>
                  <a:lnTo>
                    <a:pt x="387" y="151"/>
                  </a:lnTo>
                  <a:lnTo>
                    <a:pt x="389" y="152"/>
                  </a:lnTo>
                  <a:lnTo>
                    <a:pt x="389" y="153"/>
                  </a:lnTo>
                  <a:lnTo>
                    <a:pt x="390" y="153"/>
                  </a:lnTo>
                  <a:lnTo>
                    <a:pt x="391" y="154"/>
                  </a:lnTo>
                  <a:lnTo>
                    <a:pt x="391" y="155"/>
                  </a:lnTo>
                  <a:lnTo>
                    <a:pt x="391" y="155"/>
                  </a:lnTo>
                  <a:lnTo>
                    <a:pt x="392" y="156"/>
                  </a:lnTo>
                  <a:lnTo>
                    <a:pt x="392" y="158"/>
                  </a:lnTo>
                  <a:lnTo>
                    <a:pt x="392" y="158"/>
                  </a:lnTo>
                  <a:lnTo>
                    <a:pt x="392" y="160"/>
                  </a:lnTo>
                  <a:lnTo>
                    <a:pt x="392" y="162"/>
                  </a:lnTo>
                  <a:lnTo>
                    <a:pt x="393" y="165"/>
                  </a:lnTo>
                  <a:lnTo>
                    <a:pt x="393" y="167"/>
                  </a:lnTo>
                  <a:lnTo>
                    <a:pt x="392" y="168"/>
                  </a:lnTo>
                  <a:lnTo>
                    <a:pt x="392" y="171"/>
                  </a:lnTo>
                  <a:lnTo>
                    <a:pt x="392" y="172"/>
                  </a:lnTo>
                  <a:lnTo>
                    <a:pt x="392" y="173"/>
                  </a:lnTo>
                  <a:lnTo>
                    <a:pt x="392" y="174"/>
                  </a:lnTo>
                  <a:lnTo>
                    <a:pt x="392" y="176"/>
                  </a:lnTo>
                  <a:lnTo>
                    <a:pt x="392" y="178"/>
                  </a:lnTo>
                  <a:lnTo>
                    <a:pt x="392" y="179"/>
                  </a:lnTo>
                  <a:lnTo>
                    <a:pt x="392" y="179"/>
                  </a:lnTo>
                  <a:lnTo>
                    <a:pt x="392" y="180"/>
                  </a:lnTo>
                  <a:lnTo>
                    <a:pt x="393" y="182"/>
                  </a:lnTo>
                  <a:lnTo>
                    <a:pt x="394" y="183"/>
                  </a:lnTo>
                  <a:lnTo>
                    <a:pt x="396" y="185"/>
                  </a:lnTo>
                  <a:lnTo>
                    <a:pt x="396" y="186"/>
                  </a:lnTo>
                  <a:lnTo>
                    <a:pt x="397" y="188"/>
                  </a:lnTo>
                  <a:lnTo>
                    <a:pt x="397" y="189"/>
                  </a:lnTo>
                  <a:lnTo>
                    <a:pt x="398" y="191"/>
                  </a:lnTo>
                  <a:lnTo>
                    <a:pt x="398" y="191"/>
                  </a:lnTo>
                  <a:lnTo>
                    <a:pt x="398" y="192"/>
                  </a:lnTo>
                  <a:lnTo>
                    <a:pt x="398" y="192"/>
                  </a:lnTo>
                  <a:lnTo>
                    <a:pt x="398" y="193"/>
                  </a:lnTo>
                  <a:lnTo>
                    <a:pt x="398" y="194"/>
                  </a:lnTo>
                  <a:lnTo>
                    <a:pt x="397" y="195"/>
                  </a:lnTo>
                  <a:lnTo>
                    <a:pt x="397" y="196"/>
                  </a:lnTo>
                  <a:lnTo>
                    <a:pt x="396" y="198"/>
                  </a:lnTo>
                  <a:lnTo>
                    <a:pt x="396" y="199"/>
                  </a:lnTo>
                  <a:lnTo>
                    <a:pt x="395" y="200"/>
                  </a:lnTo>
                  <a:lnTo>
                    <a:pt x="394" y="202"/>
                  </a:lnTo>
                  <a:lnTo>
                    <a:pt x="393" y="203"/>
                  </a:lnTo>
                  <a:lnTo>
                    <a:pt x="392" y="204"/>
                  </a:lnTo>
                  <a:lnTo>
                    <a:pt x="391" y="206"/>
                  </a:lnTo>
                  <a:lnTo>
                    <a:pt x="390" y="207"/>
                  </a:lnTo>
                  <a:lnTo>
                    <a:pt x="389" y="208"/>
                  </a:lnTo>
                  <a:lnTo>
                    <a:pt x="389" y="209"/>
                  </a:lnTo>
                  <a:lnTo>
                    <a:pt x="388" y="210"/>
                  </a:lnTo>
                  <a:lnTo>
                    <a:pt x="388" y="210"/>
                  </a:lnTo>
                  <a:lnTo>
                    <a:pt x="388" y="211"/>
                  </a:lnTo>
                  <a:lnTo>
                    <a:pt x="389" y="212"/>
                  </a:lnTo>
                  <a:lnTo>
                    <a:pt x="389" y="213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8" y="217"/>
                  </a:lnTo>
                  <a:lnTo>
                    <a:pt x="388" y="217"/>
                  </a:lnTo>
                  <a:lnTo>
                    <a:pt x="388" y="217"/>
                  </a:lnTo>
                  <a:lnTo>
                    <a:pt x="388" y="218"/>
                  </a:lnTo>
                  <a:lnTo>
                    <a:pt x="388" y="218"/>
                  </a:lnTo>
                  <a:lnTo>
                    <a:pt x="389" y="218"/>
                  </a:lnTo>
                  <a:lnTo>
                    <a:pt x="390" y="219"/>
                  </a:lnTo>
                  <a:lnTo>
                    <a:pt x="393" y="220"/>
                  </a:lnTo>
                  <a:lnTo>
                    <a:pt x="397" y="221"/>
                  </a:lnTo>
                  <a:lnTo>
                    <a:pt x="398" y="221"/>
                  </a:lnTo>
                  <a:lnTo>
                    <a:pt x="399" y="221"/>
                  </a:lnTo>
                  <a:lnTo>
                    <a:pt x="401" y="222"/>
                  </a:lnTo>
                  <a:lnTo>
                    <a:pt x="402" y="222"/>
                  </a:lnTo>
                  <a:lnTo>
                    <a:pt x="403" y="222"/>
                  </a:lnTo>
                  <a:lnTo>
                    <a:pt x="404" y="223"/>
                  </a:lnTo>
                  <a:lnTo>
                    <a:pt x="405" y="223"/>
                  </a:lnTo>
                  <a:lnTo>
                    <a:pt x="407" y="225"/>
                  </a:lnTo>
                  <a:lnTo>
                    <a:pt x="408" y="226"/>
                  </a:lnTo>
                  <a:lnTo>
                    <a:pt x="410" y="226"/>
                  </a:lnTo>
                  <a:lnTo>
                    <a:pt x="410" y="227"/>
                  </a:lnTo>
                  <a:lnTo>
                    <a:pt x="410" y="227"/>
                  </a:lnTo>
                  <a:lnTo>
                    <a:pt x="411" y="228"/>
                  </a:lnTo>
                  <a:lnTo>
                    <a:pt x="411" y="228"/>
                  </a:lnTo>
                  <a:lnTo>
                    <a:pt x="411" y="229"/>
                  </a:lnTo>
                  <a:lnTo>
                    <a:pt x="411" y="229"/>
                  </a:lnTo>
                  <a:lnTo>
                    <a:pt x="411" y="230"/>
                  </a:lnTo>
                  <a:lnTo>
                    <a:pt x="411" y="231"/>
                  </a:lnTo>
                  <a:lnTo>
                    <a:pt x="411" y="231"/>
                  </a:lnTo>
                  <a:lnTo>
                    <a:pt x="411" y="233"/>
                  </a:lnTo>
                  <a:lnTo>
                    <a:pt x="411" y="234"/>
                  </a:lnTo>
                  <a:lnTo>
                    <a:pt x="411" y="235"/>
                  </a:lnTo>
                  <a:lnTo>
                    <a:pt x="410" y="235"/>
                  </a:lnTo>
                  <a:lnTo>
                    <a:pt x="410" y="236"/>
                  </a:lnTo>
                  <a:lnTo>
                    <a:pt x="410" y="236"/>
                  </a:lnTo>
                  <a:lnTo>
                    <a:pt x="409" y="236"/>
                  </a:lnTo>
                  <a:lnTo>
                    <a:pt x="408" y="236"/>
                  </a:lnTo>
                  <a:lnTo>
                    <a:pt x="408" y="237"/>
                  </a:lnTo>
                  <a:lnTo>
                    <a:pt x="407" y="237"/>
                  </a:lnTo>
                  <a:lnTo>
                    <a:pt x="405" y="237"/>
                  </a:lnTo>
                  <a:lnTo>
                    <a:pt x="404" y="238"/>
                  </a:lnTo>
                  <a:lnTo>
                    <a:pt x="404" y="238"/>
                  </a:lnTo>
                  <a:lnTo>
                    <a:pt x="403" y="238"/>
                  </a:lnTo>
                  <a:lnTo>
                    <a:pt x="403" y="239"/>
                  </a:lnTo>
                  <a:lnTo>
                    <a:pt x="402" y="239"/>
                  </a:lnTo>
                  <a:lnTo>
                    <a:pt x="402" y="239"/>
                  </a:lnTo>
                  <a:lnTo>
                    <a:pt x="402" y="240"/>
                  </a:lnTo>
                  <a:lnTo>
                    <a:pt x="402" y="240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403" y="242"/>
                  </a:lnTo>
                  <a:lnTo>
                    <a:pt x="404" y="243"/>
                  </a:lnTo>
                  <a:lnTo>
                    <a:pt x="404" y="243"/>
                  </a:lnTo>
                  <a:lnTo>
                    <a:pt x="404" y="244"/>
                  </a:lnTo>
                  <a:lnTo>
                    <a:pt x="404" y="244"/>
                  </a:lnTo>
                  <a:lnTo>
                    <a:pt x="404" y="245"/>
                  </a:lnTo>
                  <a:lnTo>
                    <a:pt x="404" y="245"/>
                  </a:lnTo>
                  <a:lnTo>
                    <a:pt x="403" y="246"/>
                  </a:lnTo>
                  <a:lnTo>
                    <a:pt x="403" y="247"/>
                  </a:lnTo>
                  <a:lnTo>
                    <a:pt x="403" y="247"/>
                  </a:lnTo>
                  <a:lnTo>
                    <a:pt x="403" y="249"/>
                  </a:lnTo>
                  <a:lnTo>
                    <a:pt x="402" y="251"/>
                  </a:lnTo>
                  <a:lnTo>
                    <a:pt x="402" y="252"/>
                  </a:lnTo>
                  <a:lnTo>
                    <a:pt x="402" y="253"/>
                  </a:lnTo>
                  <a:lnTo>
                    <a:pt x="402" y="254"/>
                  </a:lnTo>
                  <a:lnTo>
                    <a:pt x="401" y="254"/>
                  </a:lnTo>
                  <a:lnTo>
                    <a:pt x="401" y="255"/>
                  </a:lnTo>
                  <a:lnTo>
                    <a:pt x="401" y="255"/>
                  </a:lnTo>
                  <a:lnTo>
                    <a:pt x="400" y="256"/>
                  </a:lnTo>
                  <a:lnTo>
                    <a:pt x="399" y="256"/>
                  </a:lnTo>
                  <a:lnTo>
                    <a:pt x="397" y="258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1"/>
                  </a:lnTo>
                  <a:lnTo>
                    <a:pt x="397" y="262"/>
                  </a:lnTo>
                  <a:lnTo>
                    <a:pt x="397" y="262"/>
                  </a:lnTo>
                  <a:lnTo>
                    <a:pt x="398" y="263"/>
                  </a:lnTo>
                  <a:lnTo>
                    <a:pt x="398" y="263"/>
                  </a:lnTo>
                  <a:lnTo>
                    <a:pt x="397" y="263"/>
                  </a:lnTo>
                  <a:lnTo>
                    <a:pt x="397" y="263"/>
                  </a:lnTo>
                  <a:lnTo>
                    <a:pt x="397" y="264"/>
                  </a:lnTo>
                  <a:lnTo>
                    <a:pt x="396" y="264"/>
                  </a:lnTo>
                  <a:lnTo>
                    <a:pt x="394" y="265"/>
                  </a:lnTo>
                  <a:lnTo>
                    <a:pt x="394" y="265"/>
                  </a:lnTo>
                  <a:lnTo>
                    <a:pt x="393" y="265"/>
                  </a:lnTo>
                  <a:lnTo>
                    <a:pt x="393" y="266"/>
                  </a:lnTo>
                  <a:lnTo>
                    <a:pt x="392" y="266"/>
                  </a:lnTo>
                  <a:lnTo>
                    <a:pt x="392" y="267"/>
                  </a:lnTo>
                  <a:lnTo>
                    <a:pt x="392" y="267"/>
                  </a:lnTo>
                  <a:lnTo>
                    <a:pt x="392" y="267"/>
                  </a:lnTo>
                  <a:lnTo>
                    <a:pt x="392" y="268"/>
                  </a:lnTo>
                  <a:lnTo>
                    <a:pt x="392" y="269"/>
                  </a:lnTo>
                  <a:lnTo>
                    <a:pt x="392" y="269"/>
                  </a:lnTo>
                  <a:lnTo>
                    <a:pt x="392" y="270"/>
                  </a:lnTo>
                  <a:lnTo>
                    <a:pt x="393" y="271"/>
                  </a:lnTo>
                  <a:lnTo>
                    <a:pt x="393" y="272"/>
                  </a:lnTo>
                  <a:lnTo>
                    <a:pt x="394" y="272"/>
                  </a:lnTo>
                  <a:lnTo>
                    <a:pt x="395" y="273"/>
                  </a:lnTo>
                  <a:lnTo>
                    <a:pt x="396" y="274"/>
                  </a:lnTo>
                  <a:lnTo>
                    <a:pt x="397" y="274"/>
                  </a:lnTo>
                  <a:lnTo>
                    <a:pt x="398" y="275"/>
                  </a:lnTo>
                  <a:lnTo>
                    <a:pt x="399" y="275"/>
                  </a:lnTo>
                  <a:lnTo>
                    <a:pt x="400" y="276"/>
                  </a:lnTo>
                  <a:lnTo>
                    <a:pt x="403" y="276"/>
                  </a:lnTo>
                  <a:lnTo>
                    <a:pt x="403" y="277"/>
                  </a:lnTo>
                  <a:lnTo>
                    <a:pt x="404" y="277"/>
                  </a:lnTo>
                  <a:lnTo>
                    <a:pt x="406" y="278"/>
                  </a:lnTo>
                  <a:lnTo>
                    <a:pt x="406" y="278"/>
                  </a:lnTo>
                  <a:lnTo>
                    <a:pt x="407" y="279"/>
                  </a:lnTo>
                  <a:lnTo>
                    <a:pt x="408" y="279"/>
                  </a:lnTo>
                  <a:lnTo>
                    <a:pt x="408" y="280"/>
                  </a:lnTo>
                  <a:lnTo>
                    <a:pt x="409" y="280"/>
                  </a:lnTo>
                  <a:lnTo>
                    <a:pt x="409" y="280"/>
                  </a:lnTo>
                  <a:lnTo>
                    <a:pt x="410" y="281"/>
                  </a:lnTo>
                  <a:lnTo>
                    <a:pt x="412" y="281"/>
                  </a:lnTo>
                  <a:lnTo>
                    <a:pt x="413" y="282"/>
                  </a:lnTo>
                  <a:lnTo>
                    <a:pt x="415" y="282"/>
                  </a:lnTo>
                  <a:lnTo>
                    <a:pt x="415" y="282"/>
                  </a:lnTo>
                  <a:lnTo>
                    <a:pt x="416" y="282"/>
                  </a:lnTo>
                  <a:lnTo>
                    <a:pt x="416" y="282"/>
                  </a:lnTo>
                  <a:lnTo>
                    <a:pt x="416" y="283"/>
                  </a:lnTo>
                  <a:lnTo>
                    <a:pt x="417" y="284"/>
                  </a:lnTo>
                  <a:lnTo>
                    <a:pt x="418" y="284"/>
                  </a:lnTo>
                  <a:lnTo>
                    <a:pt x="418" y="284"/>
                  </a:lnTo>
                  <a:lnTo>
                    <a:pt x="419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6"/>
                  </a:lnTo>
                  <a:lnTo>
                    <a:pt x="421" y="286"/>
                  </a:lnTo>
                  <a:lnTo>
                    <a:pt x="421" y="287"/>
                  </a:lnTo>
                  <a:lnTo>
                    <a:pt x="421" y="290"/>
                  </a:lnTo>
                  <a:lnTo>
                    <a:pt x="421" y="290"/>
                  </a:lnTo>
                  <a:lnTo>
                    <a:pt x="421" y="291"/>
                  </a:lnTo>
                  <a:lnTo>
                    <a:pt x="421" y="291"/>
                  </a:lnTo>
                  <a:lnTo>
                    <a:pt x="421" y="292"/>
                  </a:lnTo>
                  <a:lnTo>
                    <a:pt x="422" y="293"/>
                  </a:lnTo>
                  <a:lnTo>
                    <a:pt x="422" y="293"/>
                  </a:lnTo>
                  <a:lnTo>
                    <a:pt x="423" y="294"/>
                  </a:lnTo>
                  <a:lnTo>
                    <a:pt x="425" y="295"/>
                  </a:lnTo>
                  <a:lnTo>
                    <a:pt x="426" y="296"/>
                  </a:lnTo>
                  <a:lnTo>
                    <a:pt x="427" y="297"/>
                  </a:lnTo>
                  <a:lnTo>
                    <a:pt x="429" y="298"/>
                  </a:lnTo>
                  <a:lnTo>
                    <a:pt x="430" y="299"/>
                  </a:lnTo>
                  <a:lnTo>
                    <a:pt x="433" y="300"/>
                  </a:lnTo>
                  <a:lnTo>
                    <a:pt x="434" y="301"/>
                  </a:lnTo>
                  <a:lnTo>
                    <a:pt x="435" y="301"/>
                  </a:lnTo>
                  <a:lnTo>
                    <a:pt x="436" y="302"/>
                  </a:lnTo>
                  <a:lnTo>
                    <a:pt x="437" y="303"/>
                  </a:lnTo>
                  <a:lnTo>
                    <a:pt x="437" y="304"/>
                  </a:lnTo>
                  <a:lnTo>
                    <a:pt x="438" y="304"/>
                  </a:lnTo>
                  <a:lnTo>
                    <a:pt x="438" y="305"/>
                  </a:lnTo>
                  <a:lnTo>
                    <a:pt x="438" y="306"/>
                  </a:lnTo>
                  <a:lnTo>
                    <a:pt x="438" y="307"/>
                  </a:lnTo>
                  <a:lnTo>
                    <a:pt x="438" y="307"/>
                  </a:lnTo>
                  <a:lnTo>
                    <a:pt x="438" y="309"/>
                  </a:lnTo>
                  <a:lnTo>
                    <a:pt x="437" y="311"/>
                  </a:lnTo>
                  <a:lnTo>
                    <a:pt x="437" y="312"/>
                  </a:lnTo>
                  <a:lnTo>
                    <a:pt x="437" y="312"/>
                  </a:lnTo>
                  <a:lnTo>
                    <a:pt x="437" y="313"/>
                  </a:lnTo>
                  <a:lnTo>
                    <a:pt x="437" y="314"/>
                  </a:lnTo>
                  <a:lnTo>
                    <a:pt x="437" y="314"/>
                  </a:lnTo>
                  <a:lnTo>
                    <a:pt x="438" y="317"/>
                  </a:lnTo>
                  <a:lnTo>
                    <a:pt x="438" y="318"/>
                  </a:lnTo>
                  <a:lnTo>
                    <a:pt x="438" y="319"/>
                  </a:lnTo>
                  <a:lnTo>
                    <a:pt x="438" y="320"/>
                  </a:lnTo>
                  <a:lnTo>
                    <a:pt x="438" y="321"/>
                  </a:lnTo>
                  <a:lnTo>
                    <a:pt x="438" y="322"/>
                  </a:lnTo>
                  <a:lnTo>
                    <a:pt x="437" y="324"/>
                  </a:lnTo>
                  <a:lnTo>
                    <a:pt x="436" y="325"/>
                  </a:lnTo>
                  <a:lnTo>
                    <a:pt x="435" y="329"/>
                  </a:lnTo>
                  <a:lnTo>
                    <a:pt x="434" y="330"/>
                  </a:lnTo>
                  <a:lnTo>
                    <a:pt x="434" y="331"/>
                  </a:lnTo>
                  <a:lnTo>
                    <a:pt x="432" y="333"/>
                  </a:lnTo>
                  <a:lnTo>
                    <a:pt x="432" y="333"/>
                  </a:lnTo>
                  <a:lnTo>
                    <a:pt x="431" y="334"/>
                  </a:lnTo>
                  <a:lnTo>
                    <a:pt x="431" y="335"/>
                  </a:lnTo>
                  <a:lnTo>
                    <a:pt x="431" y="336"/>
                  </a:lnTo>
                  <a:lnTo>
                    <a:pt x="431" y="336"/>
                  </a:lnTo>
                  <a:lnTo>
                    <a:pt x="431" y="340"/>
                  </a:lnTo>
                  <a:lnTo>
                    <a:pt x="430" y="343"/>
                  </a:lnTo>
                  <a:lnTo>
                    <a:pt x="430" y="347"/>
                  </a:lnTo>
                  <a:lnTo>
                    <a:pt x="429" y="349"/>
                  </a:lnTo>
                  <a:lnTo>
                    <a:pt x="429" y="349"/>
                  </a:lnTo>
                  <a:lnTo>
                    <a:pt x="429" y="350"/>
                  </a:lnTo>
                  <a:lnTo>
                    <a:pt x="429" y="349"/>
                  </a:lnTo>
                  <a:lnTo>
                    <a:pt x="429" y="350"/>
                  </a:lnTo>
                  <a:lnTo>
                    <a:pt x="429" y="350"/>
                  </a:lnTo>
                  <a:lnTo>
                    <a:pt x="429" y="351"/>
                  </a:lnTo>
                  <a:lnTo>
                    <a:pt x="428" y="351"/>
                  </a:lnTo>
                  <a:lnTo>
                    <a:pt x="428" y="352"/>
                  </a:lnTo>
                  <a:lnTo>
                    <a:pt x="427" y="353"/>
                  </a:lnTo>
                  <a:lnTo>
                    <a:pt x="424" y="354"/>
                  </a:lnTo>
                  <a:lnTo>
                    <a:pt x="422" y="356"/>
                  </a:lnTo>
                  <a:lnTo>
                    <a:pt x="421" y="357"/>
                  </a:lnTo>
                  <a:lnTo>
                    <a:pt x="421" y="357"/>
                  </a:lnTo>
                  <a:lnTo>
                    <a:pt x="421" y="357"/>
                  </a:lnTo>
                  <a:lnTo>
                    <a:pt x="420" y="358"/>
                  </a:lnTo>
                  <a:lnTo>
                    <a:pt x="419" y="358"/>
                  </a:lnTo>
                  <a:lnTo>
                    <a:pt x="418" y="358"/>
                  </a:lnTo>
                  <a:lnTo>
                    <a:pt x="416" y="358"/>
                  </a:lnTo>
                  <a:lnTo>
                    <a:pt x="415" y="358"/>
                  </a:lnTo>
                  <a:lnTo>
                    <a:pt x="414" y="359"/>
                  </a:lnTo>
                  <a:lnTo>
                    <a:pt x="413" y="359"/>
                  </a:lnTo>
                  <a:lnTo>
                    <a:pt x="412" y="359"/>
                  </a:lnTo>
                  <a:lnTo>
                    <a:pt x="412" y="360"/>
                  </a:lnTo>
                  <a:lnTo>
                    <a:pt x="411" y="360"/>
                  </a:lnTo>
                  <a:lnTo>
                    <a:pt x="411" y="361"/>
                  </a:lnTo>
                  <a:lnTo>
                    <a:pt x="409" y="362"/>
                  </a:lnTo>
                  <a:lnTo>
                    <a:pt x="408" y="363"/>
                  </a:lnTo>
                  <a:lnTo>
                    <a:pt x="408" y="364"/>
                  </a:lnTo>
                  <a:lnTo>
                    <a:pt x="408" y="364"/>
                  </a:lnTo>
                  <a:lnTo>
                    <a:pt x="407" y="365"/>
                  </a:lnTo>
                  <a:lnTo>
                    <a:pt x="407" y="365"/>
                  </a:lnTo>
                  <a:lnTo>
                    <a:pt x="407" y="366"/>
                  </a:lnTo>
                  <a:lnTo>
                    <a:pt x="407" y="367"/>
                  </a:lnTo>
                  <a:lnTo>
                    <a:pt x="407" y="367"/>
                  </a:lnTo>
                  <a:lnTo>
                    <a:pt x="407" y="368"/>
                  </a:lnTo>
                  <a:lnTo>
                    <a:pt x="407" y="369"/>
                  </a:lnTo>
                  <a:lnTo>
                    <a:pt x="407" y="369"/>
                  </a:lnTo>
                  <a:lnTo>
                    <a:pt x="408" y="372"/>
                  </a:lnTo>
                  <a:lnTo>
                    <a:pt x="409" y="373"/>
                  </a:lnTo>
                  <a:lnTo>
                    <a:pt x="409" y="374"/>
                  </a:lnTo>
                  <a:lnTo>
                    <a:pt x="409" y="375"/>
                  </a:lnTo>
                  <a:lnTo>
                    <a:pt x="409" y="375"/>
                  </a:lnTo>
                  <a:lnTo>
                    <a:pt x="409" y="376"/>
                  </a:lnTo>
                  <a:lnTo>
                    <a:pt x="409" y="377"/>
                  </a:lnTo>
                  <a:lnTo>
                    <a:pt x="409" y="377"/>
                  </a:lnTo>
                  <a:lnTo>
                    <a:pt x="409" y="377"/>
                  </a:lnTo>
                  <a:lnTo>
                    <a:pt x="409" y="378"/>
                  </a:lnTo>
                  <a:lnTo>
                    <a:pt x="409" y="378"/>
                  </a:lnTo>
                  <a:lnTo>
                    <a:pt x="408" y="379"/>
                  </a:lnTo>
                  <a:lnTo>
                    <a:pt x="408" y="379"/>
                  </a:lnTo>
                  <a:lnTo>
                    <a:pt x="407" y="379"/>
                  </a:lnTo>
                  <a:lnTo>
                    <a:pt x="407" y="380"/>
                  </a:lnTo>
                  <a:lnTo>
                    <a:pt x="406" y="380"/>
                  </a:lnTo>
                  <a:lnTo>
                    <a:pt x="405" y="380"/>
                  </a:lnTo>
                  <a:lnTo>
                    <a:pt x="404" y="380"/>
                  </a:lnTo>
                  <a:lnTo>
                    <a:pt x="403" y="380"/>
                  </a:lnTo>
                  <a:lnTo>
                    <a:pt x="402" y="380"/>
                  </a:lnTo>
                  <a:lnTo>
                    <a:pt x="399" y="380"/>
                  </a:lnTo>
                  <a:lnTo>
                    <a:pt x="397" y="380"/>
                  </a:lnTo>
                  <a:lnTo>
                    <a:pt x="397" y="380"/>
                  </a:lnTo>
                  <a:lnTo>
                    <a:pt x="396" y="380"/>
                  </a:lnTo>
                  <a:lnTo>
                    <a:pt x="395" y="381"/>
                  </a:lnTo>
                  <a:lnTo>
                    <a:pt x="395" y="381"/>
                  </a:lnTo>
                  <a:lnTo>
                    <a:pt x="394" y="382"/>
                  </a:lnTo>
                  <a:lnTo>
                    <a:pt x="393" y="382"/>
                  </a:lnTo>
                  <a:lnTo>
                    <a:pt x="392" y="383"/>
                  </a:lnTo>
                  <a:lnTo>
                    <a:pt x="391" y="386"/>
                  </a:lnTo>
                  <a:lnTo>
                    <a:pt x="390" y="387"/>
                  </a:lnTo>
                  <a:lnTo>
                    <a:pt x="389" y="387"/>
                  </a:lnTo>
                  <a:lnTo>
                    <a:pt x="389" y="388"/>
                  </a:lnTo>
                  <a:lnTo>
                    <a:pt x="387" y="389"/>
                  </a:lnTo>
                  <a:lnTo>
                    <a:pt x="386" y="390"/>
                  </a:lnTo>
                  <a:lnTo>
                    <a:pt x="385" y="390"/>
                  </a:lnTo>
                  <a:lnTo>
                    <a:pt x="383" y="391"/>
                  </a:lnTo>
                  <a:lnTo>
                    <a:pt x="381" y="391"/>
                  </a:lnTo>
                  <a:lnTo>
                    <a:pt x="380" y="391"/>
                  </a:lnTo>
                  <a:lnTo>
                    <a:pt x="378" y="392"/>
                  </a:lnTo>
                  <a:lnTo>
                    <a:pt x="375" y="393"/>
                  </a:lnTo>
                  <a:lnTo>
                    <a:pt x="373" y="393"/>
                  </a:lnTo>
                  <a:lnTo>
                    <a:pt x="371" y="394"/>
                  </a:lnTo>
                  <a:lnTo>
                    <a:pt x="370" y="394"/>
                  </a:lnTo>
                  <a:lnTo>
                    <a:pt x="368" y="395"/>
                  </a:lnTo>
                  <a:lnTo>
                    <a:pt x="367" y="396"/>
                  </a:lnTo>
                  <a:lnTo>
                    <a:pt x="364" y="397"/>
                  </a:lnTo>
                  <a:lnTo>
                    <a:pt x="363" y="398"/>
                  </a:lnTo>
                  <a:lnTo>
                    <a:pt x="362" y="398"/>
                  </a:lnTo>
                  <a:lnTo>
                    <a:pt x="361" y="399"/>
                  </a:lnTo>
                  <a:lnTo>
                    <a:pt x="360" y="399"/>
                  </a:lnTo>
                  <a:lnTo>
                    <a:pt x="360" y="399"/>
                  </a:lnTo>
                  <a:lnTo>
                    <a:pt x="359" y="399"/>
                  </a:lnTo>
                  <a:lnTo>
                    <a:pt x="358" y="399"/>
                  </a:lnTo>
                  <a:lnTo>
                    <a:pt x="358" y="398"/>
                  </a:lnTo>
                  <a:lnTo>
                    <a:pt x="357" y="398"/>
                  </a:lnTo>
                  <a:lnTo>
                    <a:pt x="357" y="398"/>
                  </a:lnTo>
                  <a:lnTo>
                    <a:pt x="356" y="398"/>
                  </a:lnTo>
                  <a:lnTo>
                    <a:pt x="355" y="397"/>
                  </a:lnTo>
                  <a:lnTo>
                    <a:pt x="354" y="397"/>
                  </a:lnTo>
                  <a:lnTo>
                    <a:pt x="354" y="397"/>
                  </a:lnTo>
                  <a:lnTo>
                    <a:pt x="353" y="397"/>
                  </a:lnTo>
                  <a:lnTo>
                    <a:pt x="352" y="398"/>
                  </a:lnTo>
                  <a:lnTo>
                    <a:pt x="351" y="398"/>
                  </a:lnTo>
                  <a:lnTo>
                    <a:pt x="351" y="398"/>
                  </a:lnTo>
                  <a:lnTo>
                    <a:pt x="350" y="399"/>
                  </a:lnTo>
                  <a:lnTo>
                    <a:pt x="349" y="399"/>
                  </a:lnTo>
                  <a:lnTo>
                    <a:pt x="349" y="400"/>
                  </a:lnTo>
                  <a:lnTo>
                    <a:pt x="348" y="400"/>
                  </a:lnTo>
                  <a:lnTo>
                    <a:pt x="348" y="401"/>
                  </a:lnTo>
                  <a:lnTo>
                    <a:pt x="348" y="401"/>
                  </a:lnTo>
                  <a:lnTo>
                    <a:pt x="348" y="402"/>
                  </a:lnTo>
                  <a:lnTo>
                    <a:pt x="347" y="404"/>
                  </a:lnTo>
                  <a:lnTo>
                    <a:pt x="347" y="405"/>
                  </a:lnTo>
                  <a:lnTo>
                    <a:pt x="346" y="407"/>
                  </a:lnTo>
                  <a:lnTo>
                    <a:pt x="344" y="410"/>
                  </a:lnTo>
                  <a:lnTo>
                    <a:pt x="344" y="411"/>
                  </a:lnTo>
                  <a:lnTo>
                    <a:pt x="344" y="412"/>
                  </a:lnTo>
                  <a:lnTo>
                    <a:pt x="343" y="412"/>
                  </a:lnTo>
                  <a:lnTo>
                    <a:pt x="337" y="419"/>
                  </a:lnTo>
                  <a:lnTo>
                    <a:pt x="337" y="420"/>
                  </a:lnTo>
                  <a:lnTo>
                    <a:pt x="336" y="421"/>
                  </a:lnTo>
                  <a:lnTo>
                    <a:pt x="336" y="422"/>
                  </a:lnTo>
                  <a:lnTo>
                    <a:pt x="335" y="423"/>
                  </a:lnTo>
                  <a:lnTo>
                    <a:pt x="335" y="424"/>
                  </a:lnTo>
                  <a:lnTo>
                    <a:pt x="335" y="425"/>
                  </a:lnTo>
                  <a:lnTo>
                    <a:pt x="335" y="426"/>
                  </a:lnTo>
                  <a:lnTo>
                    <a:pt x="334" y="427"/>
                  </a:lnTo>
                  <a:lnTo>
                    <a:pt x="334" y="428"/>
                  </a:lnTo>
                  <a:lnTo>
                    <a:pt x="334" y="429"/>
                  </a:lnTo>
                  <a:lnTo>
                    <a:pt x="334" y="430"/>
                  </a:lnTo>
                  <a:lnTo>
                    <a:pt x="335" y="432"/>
                  </a:lnTo>
                  <a:lnTo>
                    <a:pt x="335" y="433"/>
                  </a:lnTo>
                  <a:lnTo>
                    <a:pt x="335" y="434"/>
                  </a:lnTo>
                  <a:lnTo>
                    <a:pt x="336" y="435"/>
                  </a:lnTo>
                  <a:lnTo>
                    <a:pt x="336" y="436"/>
                  </a:lnTo>
                  <a:lnTo>
                    <a:pt x="336" y="436"/>
                  </a:lnTo>
                  <a:lnTo>
                    <a:pt x="337" y="437"/>
                  </a:lnTo>
                  <a:lnTo>
                    <a:pt x="338" y="437"/>
                  </a:lnTo>
                  <a:lnTo>
                    <a:pt x="338" y="438"/>
                  </a:lnTo>
                  <a:lnTo>
                    <a:pt x="342" y="440"/>
                  </a:lnTo>
                  <a:lnTo>
                    <a:pt x="344" y="440"/>
                  </a:lnTo>
                  <a:lnTo>
                    <a:pt x="346" y="441"/>
                  </a:lnTo>
                  <a:lnTo>
                    <a:pt x="347" y="442"/>
                  </a:lnTo>
                  <a:lnTo>
                    <a:pt x="348" y="442"/>
                  </a:lnTo>
                  <a:lnTo>
                    <a:pt x="349" y="443"/>
                  </a:lnTo>
                  <a:lnTo>
                    <a:pt x="349" y="443"/>
                  </a:lnTo>
                  <a:lnTo>
                    <a:pt x="350" y="444"/>
                  </a:lnTo>
                  <a:lnTo>
                    <a:pt x="350" y="444"/>
                  </a:lnTo>
                  <a:lnTo>
                    <a:pt x="351" y="445"/>
                  </a:lnTo>
                  <a:lnTo>
                    <a:pt x="352" y="446"/>
                  </a:lnTo>
                  <a:lnTo>
                    <a:pt x="353" y="448"/>
                  </a:lnTo>
                  <a:lnTo>
                    <a:pt x="353" y="449"/>
                  </a:lnTo>
                  <a:lnTo>
                    <a:pt x="354" y="450"/>
                  </a:lnTo>
                  <a:lnTo>
                    <a:pt x="354" y="451"/>
                  </a:lnTo>
                  <a:lnTo>
                    <a:pt x="354" y="451"/>
                  </a:lnTo>
                  <a:lnTo>
                    <a:pt x="354" y="452"/>
                  </a:lnTo>
                  <a:lnTo>
                    <a:pt x="354" y="454"/>
                  </a:lnTo>
                  <a:lnTo>
                    <a:pt x="354" y="455"/>
                  </a:lnTo>
                  <a:lnTo>
                    <a:pt x="354" y="456"/>
                  </a:lnTo>
                  <a:lnTo>
                    <a:pt x="354" y="457"/>
                  </a:lnTo>
                  <a:lnTo>
                    <a:pt x="354" y="457"/>
                  </a:lnTo>
                  <a:lnTo>
                    <a:pt x="353" y="458"/>
                  </a:lnTo>
                  <a:lnTo>
                    <a:pt x="353" y="459"/>
                  </a:lnTo>
                  <a:lnTo>
                    <a:pt x="353" y="460"/>
                  </a:lnTo>
                  <a:lnTo>
                    <a:pt x="352" y="460"/>
                  </a:lnTo>
                  <a:lnTo>
                    <a:pt x="352" y="461"/>
                  </a:lnTo>
                  <a:lnTo>
                    <a:pt x="351" y="461"/>
                  </a:lnTo>
                  <a:lnTo>
                    <a:pt x="349" y="463"/>
                  </a:lnTo>
                  <a:lnTo>
                    <a:pt x="348" y="463"/>
                  </a:lnTo>
                  <a:lnTo>
                    <a:pt x="348" y="464"/>
                  </a:lnTo>
                  <a:lnTo>
                    <a:pt x="347" y="464"/>
                  </a:lnTo>
                  <a:lnTo>
                    <a:pt x="346" y="464"/>
                  </a:lnTo>
                  <a:lnTo>
                    <a:pt x="345" y="464"/>
                  </a:lnTo>
                  <a:lnTo>
                    <a:pt x="344" y="464"/>
                  </a:lnTo>
                  <a:lnTo>
                    <a:pt x="342" y="464"/>
                  </a:lnTo>
                  <a:lnTo>
                    <a:pt x="341" y="464"/>
                  </a:lnTo>
                  <a:lnTo>
                    <a:pt x="339" y="464"/>
                  </a:lnTo>
                  <a:lnTo>
                    <a:pt x="338" y="464"/>
                  </a:lnTo>
                  <a:lnTo>
                    <a:pt x="337" y="464"/>
                  </a:lnTo>
                  <a:lnTo>
                    <a:pt x="337" y="464"/>
                  </a:lnTo>
                  <a:lnTo>
                    <a:pt x="336" y="464"/>
                  </a:lnTo>
                  <a:lnTo>
                    <a:pt x="336" y="464"/>
                  </a:lnTo>
                  <a:lnTo>
                    <a:pt x="335" y="464"/>
                  </a:lnTo>
                  <a:lnTo>
                    <a:pt x="334" y="466"/>
                  </a:lnTo>
                  <a:lnTo>
                    <a:pt x="333" y="466"/>
                  </a:lnTo>
                  <a:lnTo>
                    <a:pt x="333" y="466"/>
                  </a:lnTo>
                  <a:lnTo>
                    <a:pt x="333" y="467"/>
                  </a:lnTo>
                  <a:lnTo>
                    <a:pt x="332" y="467"/>
                  </a:lnTo>
                  <a:lnTo>
                    <a:pt x="331" y="469"/>
                  </a:lnTo>
                  <a:lnTo>
                    <a:pt x="331" y="470"/>
                  </a:lnTo>
                  <a:lnTo>
                    <a:pt x="330" y="471"/>
                  </a:lnTo>
                  <a:lnTo>
                    <a:pt x="330" y="472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8" y="473"/>
                  </a:lnTo>
                  <a:lnTo>
                    <a:pt x="328" y="473"/>
                  </a:lnTo>
                  <a:lnTo>
                    <a:pt x="327" y="473"/>
                  </a:lnTo>
                  <a:lnTo>
                    <a:pt x="326" y="473"/>
                  </a:lnTo>
                  <a:lnTo>
                    <a:pt x="324" y="471"/>
                  </a:lnTo>
                  <a:lnTo>
                    <a:pt x="324" y="471"/>
                  </a:lnTo>
                  <a:lnTo>
                    <a:pt x="323" y="470"/>
                  </a:lnTo>
                  <a:lnTo>
                    <a:pt x="322" y="470"/>
                  </a:lnTo>
                  <a:lnTo>
                    <a:pt x="320" y="470"/>
                  </a:lnTo>
                  <a:lnTo>
                    <a:pt x="319" y="469"/>
                  </a:lnTo>
                  <a:lnTo>
                    <a:pt x="317" y="469"/>
                  </a:lnTo>
                  <a:lnTo>
                    <a:pt x="315" y="468"/>
                  </a:lnTo>
                  <a:lnTo>
                    <a:pt x="315" y="468"/>
                  </a:lnTo>
                  <a:lnTo>
                    <a:pt x="314" y="468"/>
                  </a:lnTo>
                  <a:lnTo>
                    <a:pt x="314" y="468"/>
                  </a:lnTo>
                  <a:lnTo>
                    <a:pt x="313" y="468"/>
                  </a:lnTo>
                  <a:lnTo>
                    <a:pt x="312" y="468"/>
                  </a:lnTo>
                  <a:lnTo>
                    <a:pt x="310" y="469"/>
                  </a:lnTo>
                  <a:lnTo>
                    <a:pt x="307" y="470"/>
                  </a:lnTo>
                  <a:lnTo>
                    <a:pt x="305" y="471"/>
                  </a:lnTo>
                  <a:lnTo>
                    <a:pt x="305" y="471"/>
                  </a:lnTo>
                  <a:lnTo>
                    <a:pt x="303" y="471"/>
                  </a:lnTo>
                  <a:lnTo>
                    <a:pt x="301" y="472"/>
                  </a:lnTo>
                  <a:lnTo>
                    <a:pt x="300" y="472"/>
                  </a:lnTo>
                  <a:lnTo>
                    <a:pt x="299" y="472"/>
                  </a:lnTo>
                  <a:lnTo>
                    <a:pt x="297" y="472"/>
                  </a:lnTo>
                  <a:lnTo>
                    <a:pt x="296" y="472"/>
                  </a:lnTo>
                  <a:lnTo>
                    <a:pt x="292" y="471"/>
                  </a:lnTo>
                  <a:lnTo>
                    <a:pt x="291" y="471"/>
                  </a:lnTo>
                  <a:lnTo>
                    <a:pt x="288" y="471"/>
                  </a:lnTo>
                  <a:lnTo>
                    <a:pt x="287" y="471"/>
                  </a:lnTo>
                  <a:lnTo>
                    <a:pt x="286" y="470"/>
                  </a:lnTo>
                  <a:lnTo>
                    <a:pt x="285" y="470"/>
                  </a:lnTo>
                  <a:lnTo>
                    <a:pt x="281" y="469"/>
                  </a:lnTo>
                  <a:lnTo>
                    <a:pt x="280" y="469"/>
                  </a:lnTo>
                  <a:lnTo>
                    <a:pt x="279" y="469"/>
                  </a:lnTo>
                  <a:lnTo>
                    <a:pt x="279" y="469"/>
                  </a:lnTo>
                  <a:lnTo>
                    <a:pt x="278" y="469"/>
                  </a:lnTo>
                  <a:lnTo>
                    <a:pt x="277" y="469"/>
                  </a:lnTo>
                  <a:lnTo>
                    <a:pt x="276" y="469"/>
                  </a:lnTo>
                  <a:lnTo>
                    <a:pt x="276" y="470"/>
                  </a:lnTo>
                  <a:lnTo>
                    <a:pt x="275" y="470"/>
                  </a:lnTo>
                  <a:lnTo>
                    <a:pt x="275" y="471"/>
                  </a:lnTo>
                  <a:lnTo>
                    <a:pt x="275" y="471"/>
                  </a:lnTo>
                  <a:lnTo>
                    <a:pt x="274" y="472"/>
                  </a:lnTo>
                  <a:lnTo>
                    <a:pt x="274" y="472"/>
                  </a:lnTo>
                  <a:lnTo>
                    <a:pt x="274" y="473"/>
                  </a:lnTo>
                  <a:lnTo>
                    <a:pt x="274" y="473"/>
                  </a:lnTo>
                  <a:lnTo>
                    <a:pt x="274" y="474"/>
                  </a:lnTo>
                  <a:lnTo>
                    <a:pt x="275" y="476"/>
                  </a:lnTo>
                  <a:lnTo>
                    <a:pt x="275" y="477"/>
                  </a:lnTo>
                  <a:lnTo>
                    <a:pt x="275" y="477"/>
                  </a:lnTo>
                  <a:lnTo>
                    <a:pt x="275" y="478"/>
                  </a:lnTo>
                  <a:lnTo>
                    <a:pt x="275" y="478"/>
                  </a:lnTo>
                  <a:lnTo>
                    <a:pt x="275" y="478"/>
                  </a:lnTo>
                  <a:lnTo>
                    <a:pt x="274" y="479"/>
                  </a:lnTo>
                  <a:lnTo>
                    <a:pt x="274" y="479"/>
                  </a:lnTo>
                  <a:lnTo>
                    <a:pt x="273" y="479"/>
                  </a:lnTo>
                  <a:lnTo>
                    <a:pt x="273" y="480"/>
                  </a:lnTo>
                  <a:lnTo>
                    <a:pt x="272" y="480"/>
                  </a:lnTo>
                  <a:lnTo>
                    <a:pt x="271" y="480"/>
                  </a:lnTo>
                  <a:lnTo>
                    <a:pt x="266" y="482"/>
                  </a:lnTo>
                  <a:lnTo>
                    <a:pt x="265" y="482"/>
                  </a:lnTo>
                  <a:lnTo>
                    <a:pt x="265" y="482"/>
                  </a:lnTo>
                  <a:lnTo>
                    <a:pt x="264" y="482"/>
                  </a:lnTo>
                  <a:lnTo>
                    <a:pt x="264" y="483"/>
                  </a:lnTo>
                  <a:lnTo>
                    <a:pt x="264" y="483"/>
                  </a:lnTo>
                  <a:lnTo>
                    <a:pt x="263" y="484"/>
                  </a:lnTo>
                  <a:lnTo>
                    <a:pt x="263" y="484"/>
                  </a:lnTo>
                  <a:lnTo>
                    <a:pt x="263" y="485"/>
                  </a:lnTo>
                  <a:lnTo>
                    <a:pt x="262" y="486"/>
                  </a:lnTo>
                  <a:lnTo>
                    <a:pt x="262" y="487"/>
                  </a:lnTo>
                  <a:lnTo>
                    <a:pt x="262" y="490"/>
                  </a:lnTo>
                  <a:lnTo>
                    <a:pt x="261" y="491"/>
                  </a:lnTo>
                  <a:lnTo>
                    <a:pt x="261" y="492"/>
                  </a:lnTo>
                  <a:lnTo>
                    <a:pt x="260" y="494"/>
                  </a:lnTo>
                  <a:lnTo>
                    <a:pt x="260" y="494"/>
                  </a:lnTo>
                  <a:lnTo>
                    <a:pt x="260" y="494"/>
                  </a:lnTo>
                  <a:lnTo>
                    <a:pt x="259" y="495"/>
                  </a:lnTo>
                  <a:lnTo>
                    <a:pt x="258" y="495"/>
                  </a:lnTo>
                  <a:lnTo>
                    <a:pt x="258" y="495"/>
                  </a:lnTo>
                  <a:lnTo>
                    <a:pt x="257" y="495"/>
                  </a:lnTo>
                  <a:lnTo>
                    <a:pt x="256" y="495"/>
                  </a:lnTo>
                  <a:lnTo>
                    <a:pt x="256" y="495"/>
                  </a:lnTo>
                  <a:lnTo>
                    <a:pt x="255" y="495"/>
                  </a:lnTo>
                  <a:lnTo>
                    <a:pt x="254" y="495"/>
                  </a:lnTo>
                  <a:lnTo>
                    <a:pt x="254" y="495"/>
                  </a:lnTo>
                  <a:lnTo>
                    <a:pt x="252" y="494"/>
                  </a:lnTo>
                  <a:lnTo>
                    <a:pt x="252" y="494"/>
                  </a:lnTo>
                  <a:lnTo>
                    <a:pt x="251" y="494"/>
                  </a:lnTo>
                  <a:lnTo>
                    <a:pt x="250" y="493"/>
                  </a:lnTo>
                  <a:lnTo>
                    <a:pt x="250" y="492"/>
                  </a:lnTo>
                  <a:lnTo>
                    <a:pt x="249" y="492"/>
                  </a:lnTo>
                  <a:lnTo>
                    <a:pt x="248" y="491"/>
                  </a:lnTo>
                  <a:lnTo>
                    <a:pt x="247" y="489"/>
                  </a:lnTo>
                  <a:lnTo>
                    <a:pt x="246" y="487"/>
                  </a:lnTo>
                  <a:lnTo>
                    <a:pt x="245" y="484"/>
                  </a:lnTo>
                  <a:lnTo>
                    <a:pt x="244" y="482"/>
                  </a:lnTo>
                  <a:lnTo>
                    <a:pt x="243" y="481"/>
                  </a:lnTo>
                  <a:lnTo>
                    <a:pt x="243" y="479"/>
                  </a:lnTo>
                  <a:lnTo>
                    <a:pt x="242" y="478"/>
                  </a:lnTo>
                  <a:lnTo>
                    <a:pt x="242" y="478"/>
                  </a:lnTo>
                  <a:lnTo>
                    <a:pt x="242" y="477"/>
                  </a:lnTo>
                  <a:lnTo>
                    <a:pt x="242" y="477"/>
                  </a:lnTo>
                  <a:lnTo>
                    <a:pt x="241" y="477"/>
                  </a:lnTo>
                  <a:lnTo>
                    <a:pt x="241" y="477"/>
                  </a:lnTo>
                  <a:lnTo>
                    <a:pt x="240" y="477"/>
                  </a:lnTo>
                  <a:lnTo>
                    <a:pt x="240" y="477"/>
                  </a:lnTo>
                  <a:lnTo>
                    <a:pt x="239" y="477"/>
                  </a:lnTo>
                  <a:lnTo>
                    <a:pt x="238" y="478"/>
                  </a:lnTo>
                  <a:lnTo>
                    <a:pt x="237" y="478"/>
                  </a:lnTo>
                  <a:lnTo>
                    <a:pt x="236" y="479"/>
                  </a:lnTo>
                  <a:lnTo>
                    <a:pt x="235" y="479"/>
                  </a:lnTo>
                  <a:lnTo>
                    <a:pt x="235" y="479"/>
                  </a:lnTo>
                  <a:lnTo>
                    <a:pt x="234" y="479"/>
                  </a:lnTo>
                  <a:lnTo>
                    <a:pt x="234" y="479"/>
                  </a:lnTo>
                  <a:lnTo>
                    <a:pt x="233" y="479"/>
                  </a:lnTo>
                  <a:lnTo>
                    <a:pt x="233" y="479"/>
                  </a:lnTo>
                  <a:lnTo>
                    <a:pt x="232" y="478"/>
                  </a:lnTo>
                  <a:lnTo>
                    <a:pt x="231" y="477"/>
                  </a:lnTo>
                  <a:lnTo>
                    <a:pt x="230" y="477"/>
                  </a:lnTo>
                  <a:lnTo>
                    <a:pt x="228" y="475"/>
                  </a:lnTo>
                  <a:lnTo>
                    <a:pt x="225" y="473"/>
                  </a:lnTo>
                  <a:lnTo>
                    <a:pt x="224" y="472"/>
                  </a:lnTo>
                  <a:lnTo>
                    <a:pt x="223" y="471"/>
                  </a:lnTo>
                  <a:lnTo>
                    <a:pt x="222" y="471"/>
                  </a:lnTo>
                  <a:lnTo>
                    <a:pt x="221" y="470"/>
                  </a:lnTo>
                  <a:lnTo>
                    <a:pt x="217" y="468"/>
                  </a:lnTo>
                  <a:lnTo>
                    <a:pt x="216" y="467"/>
                  </a:lnTo>
                  <a:lnTo>
                    <a:pt x="215" y="467"/>
                  </a:lnTo>
                  <a:lnTo>
                    <a:pt x="213" y="465"/>
                  </a:lnTo>
                  <a:lnTo>
                    <a:pt x="212" y="465"/>
                  </a:lnTo>
                  <a:lnTo>
                    <a:pt x="211" y="464"/>
                  </a:lnTo>
                  <a:lnTo>
                    <a:pt x="210" y="464"/>
                  </a:lnTo>
                  <a:lnTo>
                    <a:pt x="210" y="464"/>
                  </a:lnTo>
                  <a:lnTo>
                    <a:pt x="210" y="464"/>
                  </a:lnTo>
                  <a:lnTo>
                    <a:pt x="209" y="465"/>
                  </a:lnTo>
                  <a:lnTo>
                    <a:pt x="209" y="465"/>
                  </a:lnTo>
                  <a:lnTo>
                    <a:pt x="207" y="466"/>
                  </a:lnTo>
                  <a:lnTo>
                    <a:pt x="205" y="467"/>
                  </a:lnTo>
                  <a:lnTo>
                    <a:pt x="204" y="468"/>
                  </a:lnTo>
                  <a:lnTo>
                    <a:pt x="204" y="469"/>
                  </a:lnTo>
                  <a:lnTo>
                    <a:pt x="203" y="469"/>
                  </a:lnTo>
                  <a:lnTo>
                    <a:pt x="203" y="471"/>
                  </a:lnTo>
                  <a:lnTo>
                    <a:pt x="202" y="471"/>
                  </a:lnTo>
                  <a:lnTo>
                    <a:pt x="202" y="472"/>
                  </a:lnTo>
                  <a:lnTo>
                    <a:pt x="201" y="473"/>
                  </a:lnTo>
                  <a:lnTo>
                    <a:pt x="200" y="473"/>
                  </a:lnTo>
                  <a:lnTo>
                    <a:pt x="200" y="474"/>
                  </a:lnTo>
                  <a:lnTo>
                    <a:pt x="199" y="474"/>
                  </a:lnTo>
                  <a:lnTo>
                    <a:pt x="199" y="475"/>
                  </a:lnTo>
                  <a:lnTo>
                    <a:pt x="199" y="475"/>
                  </a:lnTo>
                  <a:lnTo>
                    <a:pt x="199" y="477"/>
                  </a:lnTo>
                  <a:lnTo>
                    <a:pt x="199" y="478"/>
                  </a:lnTo>
                  <a:lnTo>
                    <a:pt x="199" y="479"/>
                  </a:lnTo>
                  <a:lnTo>
                    <a:pt x="198" y="481"/>
                  </a:lnTo>
                  <a:lnTo>
                    <a:pt x="198" y="482"/>
                  </a:lnTo>
                  <a:lnTo>
                    <a:pt x="198" y="484"/>
                  </a:lnTo>
                  <a:lnTo>
                    <a:pt x="198" y="484"/>
                  </a:lnTo>
                  <a:lnTo>
                    <a:pt x="198" y="485"/>
                  </a:lnTo>
                  <a:lnTo>
                    <a:pt x="199" y="487"/>
                  </a:lnTo>
                  <a:lnTo>
                    <a:pt x="199" y="489"/>
                  </a:lnTo>
                  <a:lnTo>
                    <a:pt x="200" y="491"/>
                  </a:lnTo>
                  <a:lnTo>
                    <a:pt x="200" y="492"/>
                  </a:lnTo>
                  <a:lnTo>
                    <a:pt x="200" y="492"/>
                  </a:lnTo>
                  <a:lnTo>
                    <a:pt x="200" y="493"/>
                  </a:lnTo>
                  <a:lnTo>
                    <a:pt x="199" y="494"/>
                  </a:lnTo>
                  <a:lnTo>
                    <a:pt x="199" y="494"/>
                  </a:lnTo>
                  <a:lnTo>
                    <a:pt x="199" y="494"/>
                  </a:lnTo>
                  <a:lnTo>
                    <a:pt x="198" y="495"/>
                  </a:lnTo>
                  <a:lnTo>
                    <a:pt x="198" y="495"/>
                  </a:lnTo>
                  <a:lnTo>
                    <a:pt x="196" y="496"/>
                  </a:lnTo>
                  <a:lnTo>
                    <a:pt x="195" y="496"/>
                  </a:lnTo>
                  <a:lnTo>
                    <a:pt x="194" y="497"/>
                  </a:lnTo>
                  <a:lnTo>
                    <a:pt x="191" y="498"/>
                  </a:lnTo>
                  <a:lnTo>
                    <a:pt x="190" y="498"/>
                  </a:lnTo>
                  <a:lnTo>
                    <a:pt x="189" y="498"/>
                  </a:lnTo>
                  <a:lnTo>
                    <a:pt x="188" y="499"/>
                  </a:lnTo>
                  <a:lnTo>
                    <a:pt x="186" y="500"/>
                  </a:lnTo>
                  <a:lnTo>
                    <a:pt x="184" y="502"/>
                  </a:lnTo>
                  <a:lnTo>
                    <a:pt x="181" y="504"/>
                  </a:lnTo>
                  <a:lnTo>
                    <a:pt x="180" y="505"/>
                  </a:lnTo>
                  <a:lnTo>
                    <a:pt x="179" y="507"/>
                  </a:lnTo>
                  <a:lnTo>
                    <a:pt x="178" y="508"/>
                  </a:lnTo>
                  <a:lnTo>
                    <a:pt x="177" y="509"/>
                  </a:lnTo>
                  <a:lnTo>
                    <a:pt x="176" y="511"/>
                  </a:lnTo>
                  <a:lnTo>
                    <a:pt x="175" y="511"/>
                  </a:lnTo>
                  <a:lnTo>
                    <a:pt x="175" y="512"/>
                  </a:lnTo>
                  <a:lnTo>
                    <a:pt x="174" y="512"/>
                  </a:lnTo>
                  <a:lnTo>
                    <a:pt x="174" y="512"/>
                  </a:lnTo>
                  <a:lnTo>
                    <a:pt x="174" y="512"/>
                  </a:lnTo>
                  <a:lnTo>
                    <a:pt x="173" y="512"/>
                  </a:lnTo>
                  <a:lnTo>
                    <a:pt x="173" y="512"/>
                  </a:lnTo>
                  <a:lnTo>
                    <a:pt x="173" y="512"/>
                  </a:lnTo>
                  <a:lnTo>
                    <a:pt x="172" y="512"/>
                  </a:lnTo>
                  <a:lnTo>
                    <a:pt x="172" y="512"/>
                  </a:lnTo>
                  <a:lnTo>
                    <a:pt x="170" y="510"/>
                  </a:lnTo>
                  <a:lnTo>
                    <a:pt x="169" y="510"/>
                  </a:lnTo>
                  <a:lnTo>
                    <a:pt x="168" y="509"/>
                  </a:lnTo>
                  <a:lnTo>
                    <a:pt x="166" y="509"/>
                  </a:lnTo>
                  <a:lnTo>
                    <a:pt x="165" y="508"/>
                  </a:lnTo>
                  <a:lnTo>
                    <a:pt x="163" y="508"/>
                  </a:lnTo>
                  <a:lnTo>
                    <a:pt x="162" y="508"/>
                  </a:lnTo>
                  <a:lnTo>
                    <a:pt x="160" y="507"/>
                  </a:lnTo>
                  <a:lnTo>
                    <a:pt x="158" y="507"/>
                  </a:lnTo>
                  <a:lnTo>
                    <a:pt x="158" y="507"/>
                  </a:lnTo>
                  <a:lnTo>
                    <a:pt x="157" y="507"/>
                  </a:lnTo>
                  <a:lnTo>
                    <a:pt x="157" y="506"/>
                  </a:lnTo>
                  <a:lnTo>
                    <a:pt x="156" y="506"/>
                  </a:lnTo>
                  <a:lnTo>
                    <a:pt x="156" y="506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5" y="504"/>
                  </a:lnTo>
                  <a:lnTo>
                    <a:pt x="155" y="504"/>
                  </a:lnTo>
                  <a:lnTo>
                    <a:pt x="156" y="501"/>
                  </a:lnTo>
                  <a:lnTo>
                    <a:pt x="156" y="500"/>
                  </a:lnTo>
                  <a:lnTo>
                    <a:pt x="156" y="500"/>
                  </a:lnTo>
                  <a:lnTo>
                    <a:pt x="156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3" y="500"/>
                  </a:lnTo>
                  <a:lnTo>
                    <a:pt x="151" y="500"/>
                  </a:lnTo>
                  <a:lnTo>
                    <a:pt x="150" y="500"/>
                  </a:lnTo>
                  <a:lnTo>
                    <a:pt x="148" y="501"/>
                  </a:lnTo>
                  <a:lnTo>
                    <a:pt x="147" y="501"/>
                  </a:lnTo>
                  <a:lnTo>
                    <a:pt x="146" y="501"/>
                  </a:lnTo>
                  <a:lnTo>
                    <a:pt x="144" y="501"/>
                  </a:lnTo>
                  <a:lnTo>
                    <a:pt x="143" y="501"/>
                  </a:lnTo>
                  <a:lnTo>
                    <a:pt x="139" y="500"/>
                  </a:lnTo>
                  <a:lnTo>
                    <a:pt x="137" y="500"/>
                  </a:lnTo>
                  <a:lnTo>
                    <a:pt x="136" y="500"/>
                  </a:lnTo>
                  <a:lnTo>
                    <a:pt x="135" y="499"/>
                  </a:lnTo>
                  <a:lnTo>
                    <a:pt x="134" y="499"/>
                  </a:lnTo>
                  <a:lnTo>
                    <a:pt x="132" y="498"/>
                  </a:lnTo>
                  <a:lnTo>
                    <a:pt x="132" y="498"/>
                  </a:lnTo>
                  <a:lnTo>
                    <a:pt x="131" y="498"/>
                  </a:lnTo>
                  <a:lnTo>
                    <a:pt x="130" y="498"/>
                  </a:lnTo>
                  <a:lnTo>
                    <a:pt x="129" y="497"/>
                  </a:lnTo>
                  <a:lnTo>
                    <a:pt x="127" y="497"/>
                  </a:lnTo>
                  <a:lnTo>
                    <a:pt x="126" y="497"/>
                  </a:lnTo>
                  <a:lnTo>
                    <a:pt x="125" y="497"/>
                  </a:lnTo>
                  <a:lnTo>
                    <a:pt x="125" y="497"/>
                  </a:lnTo>
                  <a:lnTo>
                    <a:pt x="124" y="498"/>
                  </a:lnTo>
                  <a:lnTo>
                    <a:pt x="123" y="498"/>
                  </a:lnTo>
                  <a:lnTo>
                    <a:pt x="122" y="499"/>
                  </a:lnTo>
                  <a:lnTo>
                    <a:pt x="121" y="500"/>
                  </a:lnTo>
                  <a:lnTo>
                    <a:pt x="120" y="500"/>
                  </a:lnTo>
                  <a:lnTo>
                    <a:pt x="120" y="500"/>
                  </a:lnTo>
                  <a:lnTo>
                    <a:pt x="119" y="500"/>
                  </a:lnTo>
                  <a:lnTo>
                    <a:pt x="119" y="500"/>
                  </a:lnTo>
                  <a:lnTo>
                    <a:pt x="118" y="500"/>
                  </a:lnTo>
                  <a:lnTo>
                    <a:pt x="117" y="499"/>
                  </a:lnTo>
                  <a:lnTo>
                    <a:pt x="116" y="499"/>
                  </a:lnTo>
                  <a:lnTo>
                    <a:pt x="113" y="496"/>
                  </a:lnTo>
                  <a:lnTo>
                    <a:pt x="112" y="496"/>
                  </a:lnTo>
                  <a:lnTo>
                    <a:pt x="111" y="495"/>
                  </a:lnTo>
                  <a:lnTo>
                    <a:pt x="109" y="495"/>
                  </a:lnTo>
                  <a:lnTo>
                    <a:pt x="108" y="494"/>
                  </a:lnTo>
                  <a:lnTo>
                    <a:pt x="107" y="494"/>
                  </a:lnTo>
                  <a:lnTo>
                    <a:pt x="105" y="492"/>
                  </a:lnTo>
                  <a:lnTo>
                    <a:pt x="104" y="492"/>
                  </a:lnTo>
                  <a:lnTo>
                    <a:pt x="103" y="492"/>
                  </a:lnTo>
                  <a:lnTo>
                    <a:pt x="103" y="492"/>
                  </a:lnTo>
                  <a:lnTo>
                    <a:pt x="102" y="492"/>
                  </a:lnTo>
                  <a:lnTo>
                    <a:pt x="102" y="492"/>
                  </a:lnTo>
                  <a:lnTo>
                    <a:pt x="102" y="493"/>
                  </a:lnTo>
                  <a:lnTo>
                    <a:pt x="102" y="493"/>
                  </a:lnTo>
                  <a:lnTo>
                    <a:pt x="102" y="493"/>
                  </a:lnTo>
                  <a:lnTo>
                    <a:pt x="102" y="494"/>
                  </a:lnTo>
                  <a:lnTo>
                    <a:pt x="102" y="496"/>
                  </a:lnTo>
                  <a:lnTo>
                    <a:pt x="102" y="497"/>
                  </a:lnTo>
                  <a:lnTo>
                    <a:pt x="102" y="497"/>
                  </a:lnTo>
                  <a:lnTo>
                    <a:pt x="102" y="498"/>
                  </a:lnTo>
                  <a:lnTo>
                    <a:pt x="102" y="498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99" y="498"/>
                  </a:lnTo>
                  <a:lnTo>
                    <a:pt x="98" y="498"/>
                  </a:lnTo>
                  <a:lnTo>
                    <a:pt x="97" y="498"/>
                  </a:lnTo>
                  <a:lnTo>
                    <a:pt x="96" y="498"/>
                  </a:lnTo>
                  <a:lnTo>
                    <a:pt x="95" y="499"/>
                  </a:lnTo>
                  <a:lnTo>
                    <a:pt x="94" y="499"/>
                  </a:lnTo>
                  <a:lnTo>
                    <a:pt x="93" y="500"/>
                  </a:lnTo>
                  <a:lnTo>
                    <a:pt x="90" y="502"/>
                  </a:lnTo>
                  <a:lnTo>
                    <a:pt x="90" y="502"/>
                  </a:lnTo>
                  <a:lnTo>
                    <a:pt x="89" y="502"/>
                  </a:lnTo>
                  <a:lnTo>
                    <a:pt x="89" y="503"/>
                  </a:lnTo>
                  <a:lnTo>
                    <a:pt x="87" y="503"/>
                  </a:lnTo>
                  <a:lnTo>
                    <a:pt x="86" y="503"/>
                  </a:lnTo>
                  <a:lnTo>
                    <a:pt x="85" y="503"/>
                  </a:lnTo>
                  <a:lnTo>
                    <a:pt x="84" y="503"/>
                  </a:lnTo>
                  <a:lnTo>
                    <a:pt x="82" y="503"/>
                  </a:lnTo>
                  <a:lnTo>
                    <a:pt x="81" y="503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79" y="502"/>
                  </a:lnTo>
                  <a:lnTo>
                    <a:pt x="79" y="501"/>
                  </a:lnTo>
                  <a:lnTo>
                    <a:pt x="78" y="499"/>
                  </a:lnTo>
                  <a:lnTo>
                    <a:pt x="78" y="499"/>
                  </a:lnTo>
                  <a:lnTo>
                    <a:pt x="78" y="499"/>
                  </a:lnTo>
                  <a:lnTo>
                    <a:pt x="78" y="498"/>
                  </a:lnTo>
                  <a:lnTo>
                    <a:pt x="77" y="497"/>
                  </a:lnTo>
                  <a:lnTo>
                    <a:pt x="76" y="497"/>
                  </a:lnTo>
                  <a:lnTo>
                    <a:pt x="75" y="496"/>
                  </a:lnTo>
                  <a:lnTo>
                    <a:pt x="75" y="496"/>
                  </a:lnTo>
                  <a:lnTo>
                    <a:pt x="73" y="495"/>
                  </a:lnTo>
                  <a:lnTo>
                    <a:pt x="72" y="494"/>
                  </a:lnTo>
                  <a:lnTo>
                    <a:pt x="70" y="494"/>
                  </a:lnTo>
                  <a:lnTo>
                    <a:pt x="70" y="494"/>
                  </a:lnTo>
                  <a:lnTo>
                    <a:pt x="69" y="493"/>
                  </a:lnTo>
                  <a:lnTo>
                    <a:pt x="69" y="493"/>
                  </a:lnTo>
                  <a:lnTo>
                    <a:pt x="68" y="492"/>
                  </a:lnTo>
                  <a:lnTo>
                    <a:pt x="68" y="492"/>
                  </a:lnTo>
                  <a:lnTo>
                    <a:pt x="67" y="490"/>
                  </a:lnTo>
                  <a:lnTo>
                    <a:pt x="66" y="489"/>
                  </a:lnTo>
                  <a:lnTo>
                    <a:pt x="65" y="489"/>
                  </a:lnTo>
                  <a:lnTo>
                    <a:pt x="64" y="488"/>
                  </a:lnTo>
                  <a:lnTo>
                    <a:pt x="63" y="487"/>
                  </a:lnTo>
                  <a:lnTo>
                    <a:pt x="62" y="487"/>
                  </a:lnTo>
                  <a:lnTo>
                    <a:pt x="60" y="486"/>
                  </a:lnTo>
                  <a:lnTo>
                    <a:pt x="59" y="486"/>
                  </a:lnTo>
                  <a:lnTo>
                    <a:pt x="59" y="486"/>
                  </a:lnTo>
                  <a:lnTo>
                    <a:pt x="58" y="486"/>
                  </a:lnTo>
                  <a:lnTo>
                    <a:pt x="57" y="486"/>
                  </a:lnTo>
                  <a:lnTo>
                    <a:pt x="56" y="486"/>
                  </a:lnTo>
                  <a:lnTo>
                    <a:pt x="54" y="487"/>
                  </a:lnTo>
                  <a:lnTo>
                    <a:pt x="51" y="488"/>
                  </a:lnTo>
                  <a:lnTo>
                    <a:pt x="50" y="488"/>
                  </a:lnTo>
                  <a:lnTo>
                    <a:pt x="49" y="488"/>
                  </a:lnTo>
                  <a:lnTo>
                    <a:pt x="49" y="489"/>
                  </a:lnTo>
                  <a:lnTo>
                    <a:pt x="48" y="490"/>
                  </a:lnTo>
                  <a:lnTo>
                    <a:pt x="48" y="490"/>
                  </a:lnTo>
                  <a:lnTo>
                    <a:pt x="47" y="492"/>
                  </a:lnTo>
                  <a:lnTo>
                    <a:pt x="46" y="494"/>
                  </a:lnTo>
                  <a:lnTo>
                    <a:pt x="45" y="495"/>
                  </a:lnTo>
                  <a:lnTo>
                    <a:pt x="44" y="496"/>
                  </a:lnTo>
                  <a:lnTo>
                    <a:pt x="44" y="498"/>
                  </a:lnTo>
                  <a:lnTo>
                    <a:pt x="43" y="499"/>
                  </a:lnTo>
                  <a:lnTo>
                    <a:pt x="43" y="499"/>
                  </a:lnTo>
                  <a:lnTo>
                    <a:pt x="42" y="499"/>
                  </a:lnTo>
                  <a:lnTo>
                    <a:pt x="42" y="499"/>
                  </a:lnTo>
                  <a:lnTo>
                    <a:pt x="41" y="499"/>
                  </a:lnTo>
                  <a:lnTo>
                    <a:pt x="41" y="499"/>
                  </a:lnTo>
                  <a:lnTo>
                    <a:pt x="39" y="499"/>
                  </a:lnTo>
                  <a:lnTo>
                    <a:pt x="38" y="499"/>
                  </a:lnTo>
                  <a:lnTo>
                    <a:pt x="36" y="499"/>
                  </a:lnTo>
                  <a:lnTo>
                    <a:pt x="33" y="500"/>
                  </a:lnTo>
                  <a:lnTo>
                    <a:pt x="25" y="500"/>
                  </a:lnTo>
                  <a:lnTo>
                    <a:pt x="24" y="500"/>
                  </a:lnTo>
                  <a:lnTo>
                    <a:pt x="20" y="500"/>
                  </a:lnTo>
                  <a:lnTo>
                    <a:pt x="19" y="500"/>
                  </a:lnTo>
                  <a:lnTo>
                    <a:pt x="18" y="500"/>
                  </a:lnTo>
                  <a:lnTo>
                    <a:pt x="16" y="501"/>
                  </a:lnTo>
                  <a:lnTo>
                    <a:pt x="15" y="501"/>
                  </a:lnTo>
                  <a:lnTo>
                    <a:pt x="13" y="501"/>
                  </a:lnTo>
                  <a:lnTo>
                    <a:pt x="11" y="501"/>
                  </a:lnTo>
                  <a:lnTo>
                    <a:pt x="11" y="501"/>
                  </a:lnTo>
                  <a:lnTo>
                    <a:pt x="10" y="501"/>
                  </a:lnTo>
                  <a:lnTo>
                    <a:pt x="9" y="501"/>
                  </a:lnTo>
                  <a:lnTo>
                    <a:pt x="8" y="501"/>
                  </a:lnTo>
                  <a:lnTo>
                    <a:pt x="7" y="502"/>
                  </a:lnTo>
                  <a:lnTo>
                    <a:pt x="5" y="501"/>
                  </a:lnTo>
                  <a:lnTo>
                    <a:pt x="5" y="501"/>
                  </a:lnTo>
                  <a:lnTo>
                    <a:pt x="4" y="501"/>
                  </a:lnTo>
                  <a:lnTo>
                    <a:pt x="3" y="501"/>
                  </a:lnTo>
                  <a:lnTo>
                    <a:pt x="2" y="500"/>
                  </a:lnTo>
                  <a:lnTo>
                    <a:pt x="2" y="500"/>
                  </a:lnTo>
                  <a:lnTo>
                    <a:pt x="1" y="499"/>
                  </a:lnTo>
                  <a:lnTo>
                    <a:pt x="1" y="499"/>
                  </a:lnTo>
                  <a:lnTo>
                    <a:pt x="0" y="498"/>
                  </a:lnTo>
                  <a:lnTo>
                    <a:pt x="0" y="498"/>
                  </a:lnTo>
                  <a:lnTo>
                    <a:pt x="0" y="497"/>
                  </a:lnTo>
                  <a:lnTo>
                    <a:pt x="0" y="496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4" name="Freeform 44">
              <a:extLst>
                <a:ext uri="{FF2B5EF4-FFF2-40B4-BE49-F238E27FC236}">
                  <a16:creationId xmlns:a16="http://schemas.microsoft.com/office/drawing/2014/main" id="{7B0CF0D7-1495-E177-659D-4028C072EA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" y="3069"/>
              <a:ext cx="451" cy="513"/>
            </a:xfrm>
            <a:custGeom>
              <a:avLst/>
              <a:gdLst>
                <a:gd name="T0" fmla="*/ 182 w 451"/>
                <a:gd name="T1" fmla="*/ 492 h 513"/>
                <a:gd name="T2" fmla="*/ 173 w 451"/>
                <a:gd name="T3" fmla="*/ 504 h 513"/>
                <a:gd name="T4" fmla="*/ 155 w 451"/>
                <a:gd name="T5" fmla="*/ 512 h 513"/>
                <a:gd name="T6" fmla="*/ 142 w 451"/>
                <a:gd name="T7" fmla="*/ 509 h 513"/>
                <a:gd name="T8" fmla="*/ 127 w 451"/>
                <a:gd name="T9" fmla="*/ 508 h 513"/>
                <a:gd name="T10" fmla="*/ 109 w 451"/>
                <a:gd name="T11" fmla="*/ 508 h 513"/>
                <a:gd name="T12" fmla="*/ 103 w 451"/>
                <a:gd name="T13" fmla="*/ 497 h 513"/>
                <a:gd name="T14" fmla="*/ 97 w 451"/>
                <a:gd name="T15" fmla="*/ 484 h 513"/>
                <a:gd name="T16" fmla="*/ 98 w 451"/>
                <a:gd name="T17" fmla="*/ 458 h 513"/>
                <a:gd name="T18" fmla="*/ 86 w 451"/>
                <a:gd name="T19" fmla="*/ 455 h 513"/>
                <a:gd name="T20" fmla="*/ 83 w 451"/>
                <a:gd name="T21" fmla="*/ 447 h 513"/>
                <a:gd name="T22" fmla="*/ 84 w 451"/>
                <a:gd name="T23" fmla="*/ 439 h 513"/>
                <a:gd name="T24" fmla="*/ 90 w 451"/>
                <a:gd name="T25" fmla="*/ 431 h 513"/>
                <a:gd name="T26" fmla="*/ 79 w 451"/>
                <a:gd name="T27" fmla="*/ 429 h 513"/>
                <a:gd name="T28" fmla="*/ 86 w 451"/>
                <a:gd name="T29" fmla="*/ 413 h 513"/>
                <a:gd name="T30" fmla="*/ 102 w 451"/>
                <a:gd name="T31" fmla="*/ 410 h 513"/>
                <a:gd name="T32" fmla="*/ 116 w 451"/>
                <a:gd name="T33" fmla="*/ 399 h 513"/>
                <a:gd name="T34" fmla="*/ 113 w 451"/>
                <a:gd name="T35" fmla="*/ 391 h 513"/>
                <a:gd name="T36" fmla="*/ 117 w 451"/>
                <a:gd name="T37" fmla="*/ 370 h 513"/>
                <a:gd name="T38" fmla="*/ 122 w 451"/>
                <a:gd name="T39" fmla="*/ 346 h 513"/>
                <a:gd name="T40" fmla="*/ 124 w 451"/>
                <a:gd name="T41" fmla="*/ 319 h 513"/>
                <a:gd name="T42" fmla="*/ 103 w 451"/>
                <a:gd name="T43" fmla="*/ 308 h 513"/>
                <a:gd name="T44" fmla="*/ 92 w 451"/>
                <a:gd name="T45" fmla="*/ 298 h 513"/>
                <a:gd name="T46" fmla="*/ 72 w 451"/>
                <a:gd name="T47" fmla="*/ 283 h 513"/>
                <a:gd name="T48" fmla="*/ 51 w 451"/>
                <a:gd name="T49" fmla="*/ 284 h 513"/>
                <a:gd name="T50" fmla="*/ 32 w 451"/>
                <a:gd name="T51" fmla="*/ 270 h 513"/>
                <a:gd name="T52" fmla="*/ 35 w 451"/>
                <a:gd name="T53" fmla="*/ 265 h 513"/>
                <a:gd name="T54" fmla="*/ 15 w 451"/>
                <a:gd name="T55" fmla="*/ 264 h 513"/>
                <a:gd name="T56" fmla="*/ 0 w 451"/>
                <a:gd name="T57" fmla="*/ 264 h 513"/>
                <a:gd name="T58" fmla="*/ 6 w 451"/>
                <a:gd name="T59" fmla="*/ 249 h 513"/>
                <a:gd name="T60" fmla="*/ 4 w 451"/>
                <a:gd name="T61" fmla="*/ 236 h 513"/>
                <a:gd name="T62" fmla="*/ 18 w 451"/>
                <a:gd name="T63" fmla="*/ 230 h 513"/>
                <a:gd name="T64" fmla="*/ 26 w 451"/>
                <a:gd name="T65" fmla="*/ 218 h 513"/>
                <a:gd name="T66" fmla="*/ 33 w 451"/>
                <a:gd name="T67" fmla="*/ 202 h 513"/>
                <a:gd name="T68" fmla="*/ 54 w 451"/>
                <a:gd name="T69" fmla="*/ 194 h 513"/>
                <a:gd name="T70" fmla="*/ 77 w 451"/>
                <a:gd name="T71" fmla="*/ 177 h 513"/>
                <a:gd name="T72" fmla="*/ 90 w 451"/>
                <a:gd name="T73" fmla="*/ 179 h 513"/>
                <a:gd name="T74" fmla="*/ 111 w 451"/>
                <a:gd name="T75" fmla="*/ 173 h 513"/>
                <a:gd name="T76" fmla="*/ 128 w 451"/>
                <a:gd name="T77" fmla="*/ 165 h 513"/>
                <a:gd name="T78" fmla="*/ 139 w 451"/>
                <a:gd name="T79" fmla="*/ 166 h 513"/>
                <a:gd name="T80" fmla="*/ 158 w 451"/>
                <a:gd name="T81" fmla="*/ 154 h 513"/>
                <a:gd name="T82" fmla="*/ 170 w 451"/>
                <a:gd name="T83" fmla="*/ 143 h 513"/>
                <a:gd name="T84" fmla="*/ 176 w 451"/>
                <a:gd name="T85" fmla="*/ 132 h 513"/>
                <a:gd name="T86" fmla="*/ 186 w 451"/>
                <a:gd name="T87" fmla="*/ 125 h 513"/>
                <a:gd name="T88" fmla="*/ 230 w 451"/>
                <a:gd name="T89" fmla="*/ 129 h 513"/>
                <a:gd name="T90" fmla="*/ 253 w 451"/>
                <a:gd name="T91" fmla="*/ 130 h 513"/>
                <a:gd name="T92" fmla="*/ 277 w 451"/>
                <a:gd name="T93" fmla="*/ 121 h 513"/>
                <a:gd name="T94" fmla="*/ 289 w 451"/>
                <a:gd name="T95" fmla="*/ 116 h 513"/>
                <a:gd name="T96" fmla="*/ 289 w 451"/>
                <a:gd name="T97" fmla="*/ 93 h 513"/>
                <a:gd name="T98" fmla="*/ 298 w 451"/>
                <a:gd name="T99" fmla="*/ 88 h 513"/>
                <a:gd name="T100" fmla="*/ 307 w 451"/>
                <a:gd name="T101" fmla="*/ 79 h 513"/>
                <a:gd name="T102" fmla="*/ 319 w 451"/>
                <a:gd name="T103" fmla="*/ 71 h 513"/>
                <a:gd name="T104" fmla="*/ 321 w 451"/>
                <a:gd name="T105" fmla="*/ 53 h 513"/>
                <a:gd name="T106" fmla="*/ 327 w 451"/>
                <a:gd name="T107" fmla="*/ 54 h 513"/>
                <a:gd name="T108" fmla="*/ 341 w 451"/>
                <a:gd name="T109" fmla="*/ 53 h 513"/>
                <a:gd name="T110" fmla="*/ 351 w 451"/>
                <a:gd name="T111" fmla="*/ 55 h 513"/>
                <a:gd name="T112" fmla="*/ 360 w 451"/>
                <a:gd name="T113" fmla="*/ 65 h 513"/>
                <a:gd name="T114" fmla="*/ 383 w 451"/>
                <a:gd name="T115" fmla="*/ 61 h 513"/>
                <a:gd name="T116" fmla="*/ 401 w 451"/>
                <a:gd name="T117" fmla="*/ 44 h 513"/>
                <a:gd name="T118" fmla="*/ 409 w 451"/>
                <a:gd name="T119" fmla="*/ 30 h 513"/>
                <a:gd name="T120" fmla="*/ 429 w 451"/>
                <a:gd name="T121" fmla="*/ 31 h 513"/>
                <a:gd name="T122" fmla="*/ 437 w 451"/>
                <a:gd name="T123" fmla="*/ 20 h 513"/>
                <a:gd name="T124" fmla="*/ 450 w 451"/>
                <a:gd name="T125" fmla="*/ 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1" h="513">
                  <a:moveTo>
                    <a:pt x="195" y="496"/>
                  </a:moveTo>
                  <a:lnTo>
                    <a:pt x="195" y="495"/>
                  </a:lnTo>
                  <a:lnTo>
                    <a:pt x="195" y="493"/>
                  </a:lnTo>
                  <a:lnTo>
                    <a:pt x="195" y="489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2" y="487"/>
                  </a:lnTo>
                  <a:lnTo>
                    <a:pt x="190" y="488"/>
                  </a:lnTo>
                  <a:lnTo>
                    <a:pt x="189" y="488"/>
                  </a:lnTo>
                  <a:lnTo>
                    <a:pt x="188" y="489"/>
                  </a:lnTo>
                  <a:lnTo>
                    <a:pt x="185" y="490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80" y="493"/>
                  </a:lnTo>
                  <a:lnTo>
                    <a:pt x="180" y="493"/>
                  </a:lnTo>
                  <a:lnTo>
                    <a:pt x="179" y="494"/>
                  </a:lnTo>
                  <a:lnTo>
                    <a:pt x="179" y="494"/>
                  </a:lnTo>
                  <a:lnTo>
                    <a:pt x="179" y="495"/>
                  </a:lnTo>
                  <a:lnTo>
                    <a:pt x="178" y="497"/>
                  </a:lnTo>
                  <a:lnTo>
                    <a:pt x="177" y="499"/>
                  </a:lnTo>
                  <a:lnTo>
                    <a:pt x="176" y="500"/>
                  </a:lnTo>
                  <a:lnTo>
                    <a:pt x="176" y="501"/>
                  </a:lnTo>
                  <a:lnTo>
                    <a:pt x="175" y="502"/>
                  </a:lnTo>
                  <a:lnTo>
                    <a:pt x="175" y="503"/>
                  </a:lnTo>
                  <a:lnTo>
                    <a:pt x="174" y="503"/>
                  </a:lnTo>
                  <a:lnTo>
                    <a:pt x="174" y="504"/>
                  </a:lnTo>
                  <a:lnTo>
                    <a:pt x="173" y="504"/>
                  </a:lnTo>
                  <a:lnTo>
                    <a:pt x="173" y="504"/>
                  </a:lnTo>
                  <a:lnTo>
                    <a:pt x="171" y="505"/>
                  </a:lnTo>
                  <a:lnTo>
                    <a:pt x="171" y="505"/>
                  </a:lnTo>
                  <a:lnTo>
                    <a:pt x="170" y="505"/>
                  </a:lnTo>
                  <a:lnTo>
                    <a:pt x="168" y="507"/>
                  </a:lnTo>
                  <a:lnTo>
                    <a:pt x="167" y="507"/>
                  </a:lnTo>
                  <a:lnTo>
                    <a:pt x="166" y="508"/>
                  </a:lnTo>
                  <a:lnTo>
                    <a:pt x="166" y="508"/>
                  </a:lnTo>
                  <a:lnTo>
                    <a:pt x="165" y="508"/>
                  </a:lnTo>
                  <a:lnTo>
                    <a:pt x="164" y="508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59" y="509"/>
                  </a:lnTo>
                  <a:lnTo>
                    <a:pt x="158" y="510"/>
                  </a:lnTo>
                  <a:lnTo>
                    <a:pt x="157" y="510"/>
                  </a:lnTo>
                  <a:lnTo>
                    <a:pt x="155" y="511"/>
                  </a:lnTo>
                  <a:lnTo>
                    <a:pt x="155" y="512"/>
                  </a:lnTo>
                  <a:lnTo>
                    <a:pt x="154" y="512"/>
                  </a:lnTo>
                  <a:lnTo>
                    <a:pt x="153" y="513"/>
                  </a:lnTo>
                  <a:lnTo>
                    <a:pt x="152" y="513"/>
                  </a:lnTo>
                  <a:lnTo>
                    <a:pt x="151" y="513"/>
                  </a:lnTo>
                  <a:lnTo>
                    <a:pt x="150" y="513"/>
                  </a:lnTo>
                  <a:lnTo>
                    <a:pt x="149" y="513"/>
                  </a:lnTo>
                  <a:lnTo>
                    <a:pt x="148" y="512"/>
                  </a:lnTo>
                  <a:lnTo>
                    <a:pt x="147" y="512"/>
                  </a:lnTo>
                  <a:lnTo>
                    <a:pt x="147" y="512"/>
                  </a:lnTo>
                  <a:lnTo>
                    <a:pt x="145" y="511"/>
                  </a:lnTo>
                  <a:lnTo>
                    <a:pt x="144" y="511"/>
                  </a:lnTo>
                  <a:lnTo>
                    <a:pt x="144" y="510"/>
                  </a:lnTo>
                  <a:lnTo>
                    <a:pt x="143" y="510"/>
                  </a:lnTo>
                  <a:lnTo>
                    <a:pt x="143" y="509"/>
                  </a:lnTo>
                  <a:lnTo>
                    <a:pt x="142" y="509"/>
                  </a:lnTo>
                  <a:lnTo>
                    <a:pt x="142" y="509"/>
                  </a:lnTo>
                  <a:lnTo>
                    <a:pt x="140" y="508"/>
                  </a:lnTo>
                  <a:lnTo>
                    <a:pt x="140" y="507"/>
                  </a:lnTo>
                  <a:lnTo>
                    <a:pt x="137" y="506"/>
                  </a:lnTo>
                  <a:lnTo>
                    <a:pt x="137" y="505"/>
                  </a:lnTo>
                  <a:lnTo>
                    <a:pt x="136" y="505"/>
                  </a:lnTo>
                  <a:lnTo>
                    <a:pt x="136" y="505"/>
                  </a:lnTo>
                  <a:lnTo>
                    <a:pt x="135" y="505"/>
                  </a:lnTo>
                  <a:lnTo>
                    <a:pt x="134" y="505"/>
                  </a:lnTo>
                  <a:lnTo>
                    <a:pt x="133" y="505"/>
                  </a:lnTo>
                  <a:lnTo>
                    <a:pt x="132" y="505"/>
                  </a:lnTo>
                  <a:lnTo>
                    <a:pt x="130" y="507"/>
                  </a:lnTo>
                  <a:lnTo>
                    <a:pt x="129" y="507"/>
                  </a:lnTo>
                  <a:lnTo>
                    <a:pt x="128" y="507"/>
                  </a:lnTo>
                  <a:lnTo>
                    <a:pt x="128" y="508"/>
                  </a:lnTo>
                  <a:lnTo>
                    <a:pt x="127" y="508"/>
                  </a:lnTo>
                  <a:lnTo>
                    <a:pt x="127" y="508"/>
                  </a:lnTo>
                  <a:lnTo>
                    <a:pt x="126" y="507"/>
                  </a:lnTo>
                  <a:lnTo>
                    <a:pt x="125" y="507"/>
                  </a:lnTo>
                  <a:lnTo>
                    <a:pt x="125" y="507"/>
                  </a:lnTo>
                  <a:lnTo>
                    <a:pt x="124" y="507"/>
                  </a:lnTo>
                  <a:lnTo>
                    <a:pt x="122" y="505"/>
                  </a:lnTo>
                  <a:lnTo>
                    <a:pt x="122" y="504"/>
                  </a:lnTo>
                  <a:lnTo>
                    <a:pt x="121" y="504"/>
                  </a:lnTo>
                  <a:lnTo>
                    <a:pt x="121" y="504"/>
                  </a:lnTo>
                  <a:lnTo>
                    <a:pt x="120" y="504"/>
                  </a:lnTo>
                  <a:lnTo>
                    <a:pt x="120" y="504"/>
                  </a:lnTo>
                  <a:lnTo>
                    <a:pt x="119" y="504"/>
                  </a:lnTo>
                  <a:lnTo>
                    <a:pt x="119" y="504"/>
                  </a:lnTo>
                  <a:lnTo>
                    <a:pt x="117" y="505"/>
                  </a:lnTo>
                  <a:lnTo>
                    <a:pt x="115" y="506"/>
                  </a:lnTo>
                  <a:lnTo>
                    <a:pt x="112" y="507"/>
                  </a:lnTo>
                  <a:lnTo>
                    <a:pt x="109" y="508"/>
                  </a:lnTo>
                  <a:lnTo>
                    <a:pt x="108" y="508"/>
                  </a:lnTo>
                  <a:lnTo>
                    <a:pt x="106" y="508"/>
                  </a:lnTo>
                  <a:lnTo>
                    <a:pt x="105" y="508"/>
                  </a:lnTo>
                  <a:lnTo>
                    <a:pt x="105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7"/>
                  </a:lnTo>
                  <a:lnTo>
                    <a:pt x="104" y="506"/>
                  </a:lnTo>
                  <a:lnTo>
                    <a:pt x="104" y="505"/>
                  </a:lnTo>
                  <a:lnTo>
                    <a:pt x="104" y="503"/>
                  </a:lnTo>
                  <a:lnTo>
                    <a:pt x="104" y="502"/>
                  </a:lnTo>
                  <a:lnTo>
                    <a:pt x="104" y="501"/>
                  </a:lnTo>
                  <a:lnTo>
                    <a:pt x="104" y="500"/>
                  </a:lnTo>
                  <a:lnTo>
                    <a:pt x="104" y="499"/>
                  </a:lnTo>
                  <a:lnTo>
                    <a:pt x="103" y="497"/>
                  </a:lnTo>
                  <a:lnTo>
                    <a:pt x="103" y="496"/>
                  </a:lnTo>
                  <a:lnTo>
                    <a:pt x="103" y="495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1" y="493"/>
                  </a:lnTo>
                  <a:lnTo>
                    <a:pt x="100" y="492"/>
                  </a:lnTo>
                  <a:lnTo>
                    <a:pt x="99" y="492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7" y="490"/>
                  </a:lnTo>
                  <a:lnTo>
                    <a:pt x="97" y="490"/>
                  </a:lnTo>
                  <a:lnTo>
                    <a:pt x="97" y="489"/>
                  </a:lnTo>
                  <a:lnTo>
                    <a:pt x="97" y="489"/>
                  </a:lnTo>
                  <a:lnTo>
                    <a:pt x="97" y="485"/>
                  </a:lnTo>
                  <a:lnTo>
                    <a:pt x="97" y="484"/>
                  </a:lnTo>
                  <a:lnTo>
                    <a:pt x="97" y="481"/>
                  </a:lnTo>
                  <a:lnTo>
                    <a:pt x="98" y="478"/>
                  </a:lnTo>
                  <a:lnTo>
                    <a:pt x="98" y="476"/>
                  </a:lnTo>
                  <a:lnTo>
                    <a:pt x="98" y="474"/>
                  </a:lnTo>
                  <a:lnTo>
                    <a:pt x="99" y="471"/>
                  </a:lnTo>
                  <a:lnTo>
                    <a:pt x="99" y="469"/>
                  </a:lnTo>
                  <a:lnTo>
                    <a:pt x="99" y="468"/>
                  </a:lnTo>
                  <a:lnTo>
                    <a:pt x="99" y="466"/>
                  </a:lnTo>
                  <a:lnTo>
                    <a:pt x="99" y="464"/>
                  </a:lnTo>
                  <a:lnTo>
                    <a:pt x="99" y="462"/>
                  </a:lnTo>
                  <a:lnTo>
                    <a:pt x="99" y="461"/>
                  </a:lnTo>
                  <a:lnTo>
                    <a:pt x="99" y="460"/>
                  </a:lnTo>
                  <a:lnTo>
                    <a:pt x="99" y="460"/>
                  </a:lnTo>
                  <a:lnTo>
                    <a:pt x="98" y="459"/>
                  </a:lnTo>
                  <a:lnTo>
                    <a:pt x="98" y="459"/>
                  </a:lnTo>
                  <a:lnTo>
                    <a:pt x="98" y="458"/>
                  </a:lnTo>
                  <a:lnTo>
                    <a:pt x="97" y="458"/>
                  </a:lnTo>
                  <a:lnTo>
                    <a:pt x="96" y="457"/>
                  </a:lnTo>
                  <a:lnTo>
                    <a:pt x="95" y="457"/>
                  </a:lnTo>
                  <a:lnTo>
                    <a:pt x="94" y="456"/>
                  </a:lnTo>
                  <a:lnTo>
                    <a:pt x="93" y="456"/>
                  </a:lnTo>
                  <a:lnTo>
                    <a:pt x="92" y="456"/>
                  </a:lnTo>
                  <a:lnTo>
                    <a:pt x="91" y="456"/>
                  </a:lnTo>
                  <a:lnTo>
                    <a:pt x="89" y="456"/>
                  </a:lnTo>
                  <a:lnTo>
                    <a:pt x="88" y="456"/>
                  </a:lnTo>
                  <a:lnTo>
                    <a:pt x="87" y="456"/>
                  </a:lnTo>
                  <a:lnTo>
                    <a:pt x="87" y="456"/>
                  </a:lnTo>
                  <a:lnTo>
                    <a:pt x="87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4"/>
                  </a:lnTo>
                  <a:lnTo>
                    <a:pt x="86" y="453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1"/>
                  </a:lnTo>
                  <a:lnTo>
                    <a:pt x="86" y="451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49"/>
                  </a:lnTo>
                  <a:lnTo>
                    <a:pt x="82" y="449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7"/>
                  </a:lnTo>
                  <a:lnTo>
                    <a:pt x="84" y="447"/>
                  </a:lnTo>
                  <a:lnTo>
                    <a:pt x="85" y="447"/>
                  </a:lnTo>
                  <a:lnTo>
                    <a:pt x="86" y="447"/>
                  </a:lnTo>
                  <a:lnTo>
                    <a:pt x="86" y="447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8" y="445"/>
                  </a:lnTo>
                  <a:lnTo>
                    <a:pt x="88" y="445"/>
                  </a:lnTo>
                  <a:lnTo>
                    <a:pt x="88" y="444"/>
                  </a:lnTo>
                  <a:lnTo>
                    <a:pt x="87" y="443"/>
                  </a:lnTo>
                  <a:lnTo>
                    <a:pt x="87" y="443"/>
                  </a:lnTo>
                  <a:lnTo>
                    <a:pt x="86" y="442"/>
                  </a:lnTo>
                  <a:lnTo>
                    <a:pt x="86" y="441"/>
                  </a:lnTo>
                  <a:lnTo>
                    <a:pt x="84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4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5"/>
                  </a:lnTo>
                  <a:lnTo>
                    <a:pt x="88" y="434"/>
                  </a:lnTo>
                  <a:lnTo>
                    <a:pt x="89" y="433"/>
                  </a:lnTo>
                  <a:lnTo>
                    <a:pt x="90" y="433"/>
                  </a:lnTo>
                  <a:lnTo>
                    <a:pt x="90" y="432"/>
                  </a:lnTo>
                  <a:lnTo>
                    <a:pt x="90" y="432"/>
                  </a:lnTo>
                  <a:lnTo>
                    <a:pt x="91" y="431"/>
                  </a:lnTo>
                  <a:lnTo>
                    <a:pt x="90" y="431"/>
                  </a:lnTo>
                  <a:lnTo>
                    <a:pt x="90" y="431"/>
                  </a:lnTo>
                  <a:lnTo>
                    <a:pt x="90" y="430"/>
                  </a:lnTo>
                  <a:lnTo>
                    <a:pt x="90" y="430"/>
                  </a:lnTo>
                  <a:lnTo>
                    <a:pt x="89" y="430"/>
                  </a:lnTo>
                  <a:lnTo>
                    <a:pt x="89" y="430"/>
                  </a:lnTo>
                  <a:lnTo>
                    <a:pt x="88" y="429"/>
                  </a:lnTo>
                  <a:lnTo>
                    <a:pt x="86" y="429"/>
                  </a:lnTo>
                  <a:lnTo>
                    <a:pt x="85" y="429"/>
                  </a:lnTo>
                  <a:lnTo>
                    <a:pt x="84" y="429"/>
                  </a:lnTo>
                  <a:lnTo>
                    <a:pt x="83" y="429"/>
                  </a:lnTo>
                  <a:lnTo>
                    <a:pt x="81" y="430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8"/>
                  </a:lnTo>
                  <a:lnTo>
                    <a:pt x="78" y="428"/>
                  </a:lnTo>
                  <a:lnTo>
                    <a:pt x="78" y="427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8" y="425"/>
                  </a:lnTo>
                  <a:lnTo>
                    <a:pt x="78" y="424"/>
                  </a:lnTo>
                  <a:lnTo>
                    <a:pt x="79" y="423"/>
                  </a:lnTo>
                  <a:lnTo>
                    <a:pt x="79" y="422"/>
                  </a:lnTo>
                  <a:lnTo>
                    <a:pt x="79" y="421"/>
                  </a:lnTo>
                  <a:lnTo>
                    <a:pt x="80" y="420"/>
                  </a:lnTo>
                  <a:lnTo>
                    <a:pt x="83" y="417"/>
                  </a:lnTo>
                  <a:lnTo>
                    <a:pt x="84" y="415"/>
                  </a:lnTo>
                  <a:lnTo>
                    <a:pt x="84" y="414"/>
                  </a:lnTo>
                  <a:lnTo>
                    <a:pt x="85" y="414"/>
                  </a:lnTo>
                  <a:lnTo>
                    <a:pt x="86" y="413"/>
                  </a:lnTo>
                  <a:lnTo>
                    <a:pt x="87" y="412"/>
                  </a:lnTo>
                  <a:lnTo>
                    <a:pt x="88" y="411"/>
                  </a:lnTo>
                  <a:lnTo>
                    <a:pt x="89" y="411"/>
                  </a:lnTo>
                  <a:lnTo>
                    <a:pt x="90" y="410"/>
                  </a:lnTo>
                  <a:lnTo>
                    <a:pt x="92" y="409"/>
                  </a:lnTo>
                  <a:lnTo>
                    <a:pt x="93" y="409"/>
                  </a:lnTo>
                  <a:lnTo>
                    <a:pt x="94" y="408"/>
                  </a:lnTo>
                  <a:lnTo>
                    <a:pt x="95" y="408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7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101" y="410"/>
                  </a:lnTo>
                  <a:lnTo>
                    <a:pt x="102" y="410"/>
                  </a:lnTo>
                  <a:lnTo>
                    <a:pt x="103" y="411"/>
                  </a:lnTo>
                  <a:lnTo>
                    <a:pt x="103" y="411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7" y="409"/>
                  </a:lnTo>
                  <a:lnTo>
                    <a:pt x="108" y="408"/>
                  </a:lnTo>
                  <a:lnTo>
                    <a:pt x="109" y="406"/>
                  </a:lnTo>
                  <a:lnTo>
                    <a:pt x="110" y="405"/>
                  </a:lnTo>
                  <a:lnTo>
                    <a:pt x="111" y="404"/>
                  </a:lnTo>
                  <a:lnTo>
                    <a:pt x="112" y="403"/>
                  </a:lnTo>
                  <a:lnTo>
                    <a:pt x="115" y="400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17" y="398"/>
                  </a:lnTo>
                  <a:lnTo>
                    <a:pt x="117" y="398"/>
                  </a:lnTo>
                  <a:lnTo>
                    <a:pt x="118" y="397"/>
                  </a:lnTo>
                  <a:lnTo>
                    <a:pt x="118" y="397"/>
                  </a:lnTo>
                  <a:lnTo>
                    <a:pt x="118" y="396"/>
                  </a:lnTo>
                  <a:lnTo>
                    <a:pt x="118" y="395"/>
                  </a:lnTo>
                  <a:lnTo>
                    <a:pt x="117" y="395"/>
                  </a:lnTo>
                  <a:lnTo>
                    <a:pt x="117" y="394"/>
                  </a:lnTo>
                  <a:lnTo>
                    <a:pt x="116" y="394"/>
                  </a:lnTo>
                  <a:lnTo>
                    <a:pt x="116" y="393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3" y="392"/>
                  </a:lnTo>
                  <a:lnTo>
                    <a:pt x="113" y="391"/>
                  </a:lnTo>
                  <a:lnTo>
                    <a:pt x="113" y="390"/>
                  </a:lnTo>
                  <a:lnTo>
                    <a:pt x="114" y="388"/>
                  </a:lnTo>
                  <a:lnTo>
                    <a:pt x="114" y="387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5" y="384"/>
                  </a:lnTo>
                  <a:lnTo>
                    <a:pt x="115" y="383"/>
                  </a:lnTo>
                  <a:lnTo>
                    <a:pt x="115" y="380"/>
                  </a:lnTo>
                  <a:lnTo>
                    <a:pt x="115" y="379"/>
                  </a:lnTo>
                  <a:lnTo>
                    <a:pt x="115" y="378"/>
                  </a:lnTo>
                  <a:lnTo>
                    <a:pt x="115" y="377"/>
                  </a:lnTo>
                  <a:lnTo>
                    <a:pt x="115" y="376"/>
                  </a:lnTo>
                  <a:lnTo>
                    <a:pt x="115" y="376"/>
                  </a:lnTo>
                  <a:lnTo>
                    <a:pt x="116" y="373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7" y="369"/>
                  </a:lnTo>
                  <a:lnTo>
                    <a:pt x="117" y="368"/>
                  </a:lnTo>
                  <a:lnTo>
                    <a:pt x="117" y="367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7" y="361"/>
                  </a:lnTo>
                  <a:lnTo>
                    <a:pt x="118" y="356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9" y="351"/>
                  </a:lnTo>
                  <a:lnTo>
                    <a:pt x="120" y="349"/>
                  </a:lnTo>
                  <a:lnTo>
                    <a:pt x="120" y="348"/>
                  </a:lnTo>
                  <a:lnTo>
                    <a:pt x="121" y="347"/>
                  </a:lnTo>
                  <a:lnTo>
                    <a:pt x="121" y="346"/>
                  </a:lnTo>
                  <a:lnTo>
                    <a:pt x="122" y="346"/>
                  </a:lnTo>
                  <a:lnTo>
                    <a:pt x="122" y="345"/>
                  </a:lnTo>
                  <a:lnTo>
                    <a:pt x="124" y="344"/>
                  </a:lnTo>
                  <a:lnTo>
                    <a:pt x="124" y="343"/>
                  </a:lnTo>
                  <a:lnTo>
                    <a:pt x="125" y="343"/>
                  </a:lnTo>
                  <a:lnTo>
                    <a:pt x="125" y="342"/>
                  </a:lnTo>
                  <a:lnTo>
                    <a:pt x="125" y="341"/>
                  </a:lnTo>
                  <a:lnTo>
                    <a:pt x="125" y="341"/>
                  </a:lnTo>
                  <a:lnTo>
                    <a:pt x="125" y="340"/>
                  </a:lnTo>
                  <a:lnTo>
                    <a:pt x="125" y="339"/>
                  </a:lnTo>
                  <a:lnTo>
                    <a:pt x="125" y="335"/>
                  </a:lnTo>
                  <a:lnTo>
                    <a:pt x="125" y="333"/>
                  </a:lnTo>
                  <a:lnTo>
                    <a:pt x="125" y="329"/>
                  </a:lnTo>
                  <a:lnTo>
                    <a:pt x="124" y="326"/>
                  </a:lnTo>
                  <a:lnTo>
                    <a:pt x="124" y="324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8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7"/>
                  </a:lnTo>
                  <a:lnTo>
                    <a:pt x="122" y="317"/>
                  </a:lnTo>
                  <a:lnTo>
                    <a:pt x="116" y="313"/>
                  </a:lnTo>
                  <a:lnTo>
                    <a:pt x="113" y="312"/>
                  </a:lnTo>
                  <a:lnTo>
                    <a:pt x="112" y="311"/>
                  </a:lnTo>
                  <a:lnTo>
                    <a:pt x="110" y="311"/>
                  </a:lnTo>
                  <a:lnTo>
                    <a:pt x="107" y="310"/>
                  </a:lnTo>
                  <a:lnTo>
                    <a:pt x="104" y="309"/>
                  </a:lnTo>
                  <a:lnTo>
                    <a:pt x="104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2" y="308"/>
                  </a:lnTo>
                  <a:lnTo>
                    <a:pt x="102" y="307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1" y="303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0" y="301"/>
                  </a:lnTo>
                  <a:lnTo>
                    <a:pt x="100" y="301"/>
                  </a:lnTo>
                  <a:lnTo>
                    <a:pt x="99" y="300"/>
                  </a:lnTo>
                  <a:lnTo>
                    <a:pt x="98" y="300"/>
                  </a:lnTo>
                  <a:lnTo>
                    <a:pt x="98" y="299"/>
                  </a:lnTo>
                  <a:lnTo>
                    <a:pt x="97" y="299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2" y="298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6"/>
                  </a:lnTo>
                  <a:lnTo>
                    <a:pt x="85" y="294"/>
                  </a:lnTo>
                  <a:lnTo>
                    <a:pt x="83" y="292"/>
                  </a:lnTo>
                  <a:lnTo>
                    <a:pt x="82" y="291"/>
                  </a:lnTo>
                  <a:lnTo>
                    <a:pt x="80" y="289"/>
                  </a:lnTo>
                  <a:lnTo>
                    <a:pt x="78" y="286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0" y="283"/>
                  </a:lnTo>
                  <a:lnTo>
                    <a:pt x="69" y="283"/>
                  </a:lnTo>
                  <a:lnTo>
                    <a:pt x="68" y="283"/>
                  </a:lnTo>
                  <a:lnTo>
                    <a:pt x="65" y="284"/>
                  </a:lnTo>
                  <a:lnTo>
                    <a:pt x="64" y="284"/>
                  </a:lnTo>
                  <a:lnTo>
                    <a:pt x="63" y="285"/>
                  </a:lnTo>
                  <a:lnTo>
                    <a:pt x="61" y="285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7" y="285"/>
                  </a:lnTo>
                  <a:lnTo>
                    <a:pt x="56" y="285"/>
                  </a:lnTo>
                  <a:lnTo>
                    <a:pt x="55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1" y="284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48" y="282"/>
                  </a:lnTo>
                  <a:lnTo>
                    <a:pt x="47" y="281"/>
                  </a:lnTo>
                  <a:lnTo>
                    <a:pt x="44" y="279"/>
                  </a:lnTo>
                  <a:lnTo>
                    <a:pt x="42" y="277"/>
                  </a:lnTo>
                  <a:lnTo>
                    <a:pt x="40" y="276"/>
                  </a:lnTo>
                  <a:lnTo>
                    <a:pt x="37" y="275"/>
                  </a:lnTo>
                  <a:lnTo>
                    <a:pt x="36" y="274"/>
                  </a:lnTo>
                  <a:lnTo>
                    <a:pt x="35" y="273"/>
                  </a:lnTo>
                  <a:lnTo>
                    <a:pt x="34" y="273"/>
                  </a:lnTo>
                  <a:lnTo>
                    <a:pt x="33" y="272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2" y="271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6" y="267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5" y="265"/>
                  </a:lnTo>
                  <a:lnTo>
                    <a:pt x="34" y="264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0" y="263"/>
                  </a:lnTo>
                  <a:lnTo>
                    <a:pt x="19" y="263"/>
                  </a:lnTo>
                  <a:lnTo>
                    <a:pt x="17" y="263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4" y="264"/>
                  </a:lnTo>
                  <a:lnTo>
                    <a:pt x="12" y="264"/>
                  </a:lnTo>
                  <a:lnTo>
                    <a:pt x="10" y="265"/>
                  </a:lnTo>
                  <a:lnTo>
                    <a:pt x="9" y="266"/>
                  </a:lnTo>
                  <a:lnTo>
                    <a:pt x="8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5"/>
                  </a:lnTo>
                  <a:lnTo>
                    <a:pt x="2" y="265"/>
                  </a:lnTo>
                  <a:lnTo>
                    <a:pt x="1" y="265"/>
                  </a:lnTo>
                  <a:lnTo>
                    <a:pt x="1" y="265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1" y="260"/>
                  </a:lnTo>
                  <a:lnTo>
                    <a:pt x="1" y="259"/>
                  </a:lnTo>
                  <a:lnTo>
                    <a:pt x="2" y="257"/>
                  </a:lnTo>
                  <a:lnTo>
                    <a:pt x="3" y="255"/>
                  </a:lnTo>
                  <a:lnTo>
                    <a:pt x="4" y="254"/>
                  </a:lnTo>
                  <a:lnTo>
                    <a:pt x="5" y="252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0"/>
                  </a:lnTo>
                  <a:lnTo>
                    <a:pt x="6" y="249"/>
                  </a:lnTo>
                  <a:lnTo>
                    <a:pt x="6" y="248"/>
                  </a:lnTo>
                  <a:lnTo>
                    <a:pt x="6" y="247"/>
                  </a:lnTo>
                  <a:lnTo>
                    <a:pt x="6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4" y="243"/>
                  </a:lnTo>
                  <a:lnTo>
                    <a:pt x="3" y="242"/>
                  </a:lnTo>
                  <a:lnTo>
                    <a:pt x="2" y="241"/>
                  </a:lnTo>
                  <a:lnTo>
                    <a:pt x="2" y="240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8"/>
                  </a:lnTo>
                  <a:lnTo>
                    <a:pt x="2" y="237"/>
                  </a:lnTo>
                  <a:lnTo>
                    <a:pt x="3" y="237"/>
                  </a:lnTo>
                  <a:lnTo>
                    <a:pt x="4" y="236"/>
                  </a:lnTo>
                  <a:lnTo>
                    <a:pt x="5" y="235"/>
                  </a:lnTo>
                  <a:lnTo>
                    <a:pt x="6" y="234"/>
                  </a:lnTo>
                  <a:lnTo>
                    <a:pt x="7" y="233"/>
                  </a:lnTo>
                  <a:lnTo>
                    <a:pt x="8" y="233"/>
                  </a:lnTo>
                  <a:lnTo>
                    <a:pt x="9" y="232"/>
                  </a:lnTo>
                  <a:lnTo>
                    <a:pt x="10" y="232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3" y="231"/>
                  </a:lnTo>
                  <a:lnTo>
                    <a:pt x="14" y="231"/>
                  </a:lnTo>
                  <a:lnTo>
                    <a:pt x="15" y="231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7" y="231"/>
                  </a:lnTo>
                  <a:lnTo>
                    <a:pt x="17" y="230"/>
                  </a:lnTo>
                  <a:lnTo>
                    <a:pt x="18" y="230"/>
                  </a:lnTo>
                  <a:lnTo>
                    <a:pt x="19" y="228"/>
                  </a:lnTo>
                  <a:lnTo>
                    <a:pt x="19" y="227"/>
                  </a:lnTo>
                  <a:lnTo>
                    <a:pt x="20" y="226"/>
                  </a:lnTo>
                  <a:lnTo>
                    <a:pt x="21" y="224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2" y="223"/>
                  </a:lnTo>
                  <a:lnTo>
                    <a:pt x="22" y="222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6"/>
                  </a:lnTo>
                  <a:lnTo>
                    <a:pt x="26" y="215"/>
                  </a:lnTo>
                  <a:lnTo>
                    <a:pt x="26" y="215"/>
                  </a:lnTo>
                  <a:lnTo>
                    <a:pt x="26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6"/>
                  </a:lnTo>
                  <a:lnTo>
                    <a:pt x="29" y="206"/>
                  </a:lnTo>
                  <a:lnTo>
                    <a:pt x="29" y="205"/>
                  </a:lnTo>
                  <a:lnTo>
                    <a:pt x="31" y="203"/>
                  </a:lnTo>
                  <a:lnTo>
                    <a:pt x="33" y="202"/>
                  </a:lnTo>
                  <a:lnTo>
                    <a:pt x="34" y="201"/>
                  </a:lnTo>
                  <a:lnTo>
                    <a:pt x="36" y="200"/>
                  </a:lnTo>
                  <a:lnTo>
                    <a:pt x="36" y="199"/>
                  </a:lnTo>
                  <a:lnTo>
                    <a:pt x="38" y="198"/>
                  </a:lnTo>
                  <a:lnTo>
                    <a:pt x="40" y="197"/>
                  </a:lnTo>
                  <a:lnTo>
                    <a:pt x="41" y="196"/>
                  </a:lnTo>
                  <a:lnTo>
                    <a:pt x="42" y="195"/>
                  </a:lnTo>
                  <a:lnTo>
                    <a:pt x="43" y="195"/>
                  </a:lnTo>
                  <a:lnTo>
                    <a:pt x="44" y="194"/>
                  </a:lnTo>
                  <a:lnTo>
                    <a:pt x="45" y="194"/>
                  </a:lnTo>
                  <a:lnTo>
                    <a:pt x="47" y="194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51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4"/>
                  </a:lnTo>
                  <a:lnTo>
                    <a:pt x="57" y="193"/>
                  </a:lnTo>
                  <a:lnTo>
                    <a:pt x="59" y="193"/>
                  </a:lnTo>
                  <a:lnTo>
                    <a:pt x="60" y="192"/>
                  </a:lnTo>
                  <a:lnTo>
                    <a:pt x="61" y="192"/>
                  </a:lnTo>
                  <a:lnTo>
                    <a:pt x="62" y="191"/>
                  </a:lnTo>
                  <a:lnTo>
                    <a:pt x="63" y="190"/>
                  </a:lnTo>
                  <a:lnTo>
                    <a:pt x="64" y="190"/>
                  </a:lnTo>
                  <a:lnTo>
                    <a:pt x="65" y="188"/>
                  </a:lnTo>
                  <a:lnTo>
                    <a:pt x="66" y="18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9" y="184"/>
                  </a:lnTo>
                  <a:lnTo>
                    <a:pt x="72" y="182"/>
                  </a:lnTo>
                  <a:lnTo>
                    <a:pt x="76" y="178"/>
                  </a:lnTo>
                  <a:lnTo>
                    <a:pt x="77" y="177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2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4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7" y="178"/>
                  </a:lnTo>
                  <a:lnTo>
                    <a:pt x="99" y="178"/>
                  </a:lnTo>
                  <a:lnTo>
                    <a:pt x="100" y="178"/>
                  </a:lnTo>
                  <a:lnTo>
                    <a:pt x="101" y="178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1" y="173"/>
                  </a:lnTo>
                  <a:lnTo>
                    <a:pt x="111" y="173"/>
                  </a:lnTo>
                  <a:lnTo>
                    <a:pt x="113" y="172"/>
                  </a:lnTo>
                  <a:lnTo>
                    <a:pt x="113" y="171"/>
                  </a:lnTo>
                  <a:lnTo>
                    <a:pt x="115" y="170"/>
                  </a:lnTo>
                  <a:lnTo>
                    <a:pt x="118" y="167"/>
                  </a:lnTo>
                  <a:lnTo>
                    <a:pt x="119" y="166"/>
                  </a:lnTo>
                  <a:lnTo>
                    <a:pt x="120" y="165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3"/>
                  </a:lnTo>
                  <a:lnTo>
                    <a:pt x="123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7" y="164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69"/>
                  </a:lnTo>
                  <a:lnTo>
                    <a:pt x="136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8" y="167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2" y="162"/>
                  </a:lnTo>
                  <a:lnTo>
                    <a:pt x="143" y="161"/>
                  </a:lnTo>
                  <a:lnTo>
                    <a:pt x="144" y="161"/>
                  </a:lnTo>
                  <a:lnTo>
                    <a:pt x="145" y="160"/>
                  </a:lnTo>
                  <a:lnTo>
                    <a:pt x="146" y="159"/>
                  </a:lnTo>
                  <a:lnTo>
                    <a:pt x="147" y="159"/>
                  </a:lnTo>
                  <a:lnTo>
                    <a:pt x="147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1" y="157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6"/>
                  </a:lnTo>
                  <a:lnTo>
                    <a:pt x="157" y="155"/>
                  </a:lnTo>
                  <a:lnTo>
                    <a:pt x="158" y="154"/>
                  </a:lnTo>
                  <a:lnTo>
                    <a:pt x="160" y="153"/>
                  </a:lnTo>
                  <a:lnTo>
                    <a:pt x="160" y="153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4" y="150"/>
                  </a:lnTo>
                  <a:lnTo>
                    <a:pt x="164" y="149"/>
                  </a:lnTo>
                  <a:lnTo>
                    <a:pt x="165" y="148"/>
                  </a:lnTo>
                  <a:lnTo>
                    <a:pt x="165" y="147"/>
                  </a:lnTo>
                  <a:lnTo>
                    <a:pt x="166" y="146"/>
                  </a:lnTo>
                  <a:lnTo>
                    <a:pt x="166" y="145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68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4" y="143"/>
                  </a:lnTo>
                  <a:lnTo>
                    <a:pt x="174" y="142"/>
                  </a:lnTo>
                  <a:lnTo>
                    <a:pt x="175" y="142"/>
                  </a:lnTo>
                  <a:lnTo>
                    <a:pt x="175" y="142"/>
                  </a:lnTo>
                  <a:lnTo>
                    <a:pt x="175" y="141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39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6" y="134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1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7" y="129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9" y="127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4" y="125"/>
                  </a:lnTo>
                  <a:lnTo>
                    <a:pt x="185" y="125"/>
                  </a:lnTo>
                  <a:lnTo>
                    <a:pt x="186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4" y="126"/>
                  </a:lnTo>
                  <a:lnTo>
                    <a:pt x="198" y="127"/>
                  </a:lnTo>
                  <a:lnTo>
                    <a:pt x="202" y="128"/>
                  </a:lnTo>
                  <a:lnTo>
                    <a:pt x="205" y="129"/>
                  </a:lnTo>
                  <a:lnTo>
                    <a:pt x="207" y="129"/>
                  </a:lnTo>
                  <a:lnTo>
                    <a:pt x="209" y="129"/>
                  </a:lnTo>
                  <a:lnTo>
                    <a:pt x="215" y="130"/>
                  </a:lnTo>
                  <a:lnTo>
                    <a:pt x="217" y="130"/>
                  </a:lnTo>
                  <a:lnTo>
                    <a:pt x="219" y="130"/>
                  </a:lnTo>
                  <a:lnTo>
                    <a:pt x="222" y="130"/>
                  </a:lnTo>
                  <a:lnTo>
                    <a:pt x="224" y="130"/>
                  </a:lnTo>
                  <a:lnTo>
                    <a:pt x="226" y="130"/>
                  </a:lnTo>
                  <a:lnTo>
                    <a:pt x="228" y="129"/>
                  </a:lnTo>
                  <a:lnTo>
                    <a:pt x="230" y="129"/>
                  </a:lnTo>
                  <a:lnTo>
                    <a:pt x="232" y="129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5" y="127"/>
                  </a:lnTo>
                  <a:lnTo>
                    <a:pt x="236" y="127"/>
                  </a:lnTo>
                  <a:lnTo>
                    <a:pt x="236" y="127"/>
                  </a:lnTo>
                  <a:lnTo>
                    <a:pt x="237" y="127"/>
                  </a:lnTo>
                  <a:lnTo>
                    <a:pt x="239" y="128"/>
                  </a:lnTo>
                  <a:lnTo>
                    <a:pt x="241" y="128"/>
                  </a:lnTo>
                  <a:lnTo>
                    <a:pt x="245" y="129"/>
                  </a:lnTo>
                  <a:lnTo>
                    <a:pt x="248" y="130"/>
                  </a:lnTo>
                  <a:lnTo>
                    <a:pt x="250" y="130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6" y="128"/>
                  </a:lnTo>
                  <a:lnTo>
                    <a:pt x="257" y="127"/>
                  </a:lnTo>
                  <a:lnTo>
                    <a:pt x="259" y="125"/>
                  </a:lnTo>
                  <a:lnTo>
                    <a:pt x="260" y="124"/>
                  </a:lnTo>
                  <a:lnTo>
                    <a:pt x="260" y="124"/>
                  </a:lnTo>
                  <a:lnTo>
                    <a:pt x="261" y="124"/>
                  </a:lnTo>
                  <a:lnTo>
                    <a:pt x="262" y="123"/>
                  </a:lnTo>
                  <a:lnTo>
                    <a:pt x="263" y="123"/>
                  </a:lnTo>
                  <a:lnTo>
                    <a:pt x="264" y="123"/>
                  </a:lnTo>
                  <a:lnTo>
                    <a:pt x="270" y="122"/>
                  </a:lnTo>
                  <a:lnTo>
                    <a:pt x="272" y="121"/>
                  </a:lnTo>
                  <a:lnTo>
                    <a:pt x="276" y="121"/>
                  </a:lnTo>
                  <a:lnTo>
                    <a:pt x="277" y="121"/>
                  </a:lnTo>
                  <a:lnTo>
                    <a:pt x="279" y="121"/>
                  </a:lnTo>
                  <a:lnTo>
                    <a:pt x="280" y="121"/>
                  </a:lnTo>
                  <a:lnTo>
                    <a:pt x="282" y="122"/>
                  </a:lnTo>
                  <a:lnTo>
                    <a:pt x="284" y="122"/>
                  </a:lnTo>
                  <a:lnTo>
                    <a:pt x="284" y="122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0"/>
                  </a:lnTo>
                  <a:lnTo>
                    <a:pt x="288" y="120"/>
                  </a:lnTo>
                  <a:lnTo>
                    <a:pt x="288" y="119"/>
                  </a:lnTo>
                  <a:lnTo>
                    <a:pt x="289" y="118"/>
                  </a:lnTo>
                  <a:lnTo>
                    <a:pt x="289" y="117"/>
                  </a:lnTo>
                  <a:lnTo>
                    <a:pt x="289" y="116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91" y="109"/>
                  </a:lnTo>
                  <a:lnTo>
                    <a:pt x="291" y="108"/>
                  </a:lnTo>
                  <a:lnTo>
                    <a:pt x="291" y="106"/>
                  </a:lnTo>
                  <a:lnTo>
                    <a:pt x="291" y="105"/>
                  </a:lnTo>
                  <a:lnTo>
                    <a:pt x="291" y="104"/>
                  </a:lnTo>
                  <a:lnTo>
                    <a:pt x="291" y="103"/>
                  </a:lnTo>
                  <a:lnTo>
                    <a:pt x="290" y="102"/>
                  </a:lnTo>
                  <a:lnTo>
                    <a:pt x="290" y="99"/>
                  </a:lnTo>
                  <a:lnTo>
                    <a:pt x="289" y="98"/>
                  </a:lnTo>
                  <a:lnTo>
                    <a:pt x="289" y="97"/>
                  </a:lnTo>
                  <a:lnTo>
                    <a:pt x="289" y="96"/>
                  </a:lnTo>
                  <a:lnTo>
                    <a:pt x="289" y="95"/>
                  </a:lnTo>
                  <a:lnTo>
                    <a:pt x="289" y="94"/>
                  </a:lnTo>
                  <a:lnTo>
                    <a:pt x="289" y="93"/>
                  </a:lnTo>
                  <a:lnTo>
                    <a:pt x="289" y="91"/>
                  </a:lnTo>
                  <a:lnTo>
                    <a:pt x="289" y="89"/>
                  </a:lnTo>
                  <a:lnTo>
                    <a:pt x="289" y="88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90" y="86"/>
                  </a:lnTo>
                  <a:lnTo>
                    <a:pt x="291" y="86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7" y="88"/>
                  </a:lnTo>
                  <a:lnTo>
                    <a:pt x="298" y="88"/>
                  </a:lnTo>
                  <a:lnTo>
                    <a:pt x="299" y="88"/>
                  </a:lnTo>
                  <a:lnTo>
                    <a:pt x="300" y="88"/>
                  </a:lnTo>
                  <a:lnTo>
                    <a:pt x="301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3" y="88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3" y="86"/>
                  </a:lnTo>
                  <a:lnTo>
                    <a:pt x="303" y="85"/>
                  </a:lnTo>
                  <a:lnTo>
                    <a:pt x="305" y="83"/>
                  </a:lnTo>
                  <a:lnTo>
                    <a:pt x="306" y="80"/>
                  </a:lnTo>
                  <a:lnTo>
                    <a:pt x="306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8" y="78"/>
                  </a:lnTo>
                  <a:lnTo>
                    <a:pt x="311" y="78"/>
                  </a:lnTo>
                  <a:lnTo>
                    <a:pt x="314" y="77"/>
                  </a:lnTo>
                  <a:lnTo>
                    <a:pt x="316" y="76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7" y="75"/>
                  </a:lnTo>
                  <a:lnTo>
                    <a:pt x="318" y="75"/>
                  </a:lnTo>
                  <a:lnTo>
                    <a:pt x="318" y="75"/>
                  </a:lnTo>
                  <a:lnTo>
                    <a:pt x="318" y="74"/>
                  </a:lnTo>
                  <a:lnTo>
                    <a:pt x="319" y="74"/>
                  </a:lnTo>
                  <a:lnTo>
                    <a:pt x="319" y="73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1"/>
                  </a:lnTo>
                  <a:lnTo>
                    <a:pt x="319" y="70"/>
                  </a:lnTo>
                  <a:lnTo>
                    <a:pt x="319" y="67"/>
                  </a:lnTo>
                  <a:lnTo>
                    <a:pt x="319" y="66"/>
                  </a:lnTo>
                  <a:lnTo>
                    <a:pt x="319" y="64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8" y="58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19" y="55"/>
                  </a:lnTo>
                  <a:lnTo>
                    <a:pt x="319" y="54"/>
                  </a:lnTo>
                  <a:lnTo>
                    <a:pt x="320" y="53"/>
                  </a:lnTo>
                  <a:lnTo>
                    <a:pt x="321" y="53"/>
                  </a:lnTo>
                  <a:lnTo>
                    <a:pt x="321" y="52"/>
                  </a:lnTo>
                  <a:lnTo>
                    <a:pt x="322" y="52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5" y="53"/>
                  </a:lnTo>
                  <a:lnTo>
                    <a:pt x="325" y="53"/>
                  </a:lnTo>
                  <a:lnTo>
                    <a:pt x="326" y="53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7" y="54"/>
                  </a:lnTo>
                  <a:lnTo>
                    <a:pt x="328" y="54"/>
                  </a:lnTo>
                  <a:lnTo>
                    <a:pt x="328" y="53"/>
                  </a:lnTo>
                  <a:lnTo>
                    <a:pt x="329" y="53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2" y="51"/>
                  </a:lnTo>
                  <a:lnTo>
                    <a:pt x="333" y="51"/>
                  </a:lnTo>
                  <a:lnTo>
                    <a:pt x="334" y="51"/>
                  </a:lnTo>
                  <a:lnTo>
                    <a:pt x="335" y="51"/>
                  </a:lnTo>
                  <a:lnTo>
                    <a:pt x="335" y="52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0" y="53"/>
                  </a:lnTo>
                  <a:lnTo>
                    <a:pt x="340" y="53"/>
                  </a:lnTo>
                  <a:lnTo>
                    <a:pt x="341" y="53"/>
                  </a:lnTo>
                  <a:lnTo>
                    <a:pt x="341" y="53"/>
                  </a:lnTo>
                  <a:lnTo>
                    <a:pt x="342" y="53"/>
                  </a:lnTo>
                  <a:lnTo>
                    <a:pt x="343" y="53"/>
                  </a:lnTo>
                  <a:lnTo>
                    <a:pt x="344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7" y="51"/>
                  </a:lnTo>
                  <a:lnTo>
                    <a:pt x="348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49" y="51"/>
                  </a:lnTo>
                  <a:lnTo>
                    <a:pt x="350" y="51"/>
                  </a:lnTo>
                  <a:lnTo>
                    <a:pt x="350" y="52"/>
                  </a:lnTo>
                  <a:lnTo>
                    <a:pt x="350" y="52"/>
                  </a:lnTo>
                  <a:lnTo>
                    <a:pt x="350" y="53"/>
                  </a:lnTo>
                  <a:lnTo>
                    <a:pt x="351" y="54"/>
                  </a:lnTo>
                  <a:lnTo>
                    <a:pt x="351" y="55"/>
                  </a:lnTo>
                  <a:lnTo>
                    <a:pt x="352" y="57"/>
                  </a:lnTo>
                  <a:lnTo>
                    <a:pt x="352" y="59"/>
                  </a:lnTo>
                  <a:lnTo>
                    <a:pt x="352" y="60"/>
                  </a:lnTo>
                  <a:lnTo>
                    <a:pt x="353" y="61"/>
                  </a:lnTo>
                  <a:lnTo>
                    <a:pt x="353" y="62"/>
                  </a:lnTo>
                  <a:lnTo>
                    <a:pt x="353" y="62"/>
                  </a:lnTo>
                  <a:lnTo>
                    <a:pt x="354" y="63"/>
                  </a:lnTo>
                  <a:lnTo>
                    <a:pt x="354" y="63"/>
                  </a:lnTo>
                  <a:lnTo>
                    <a:pt x="355" y="64"/>
                  </a:lnTo>
                  <a:lnTo>
                    <a:pt x="355" y="64"/>
                  </a:lnTo>
                  <a:lnTo>
                    <a:pt x="356" y="64"/>
                  </a:lnTo>
                  <a:lnTo>
                    <a:pt x="356" y="65"/>
                  </a:lnTo>
                  <a:lnTo>
                    <a:pt x="357" y="65"/>
                  </a:lnTo>
                  <a:lnTo>
                    <a:pt x="358" y="65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7" y="63"/>
                  </a:lnTo>
                  <a:lnTo>
                    <a:pt x="368" y="62"/>
                  </a:lnTo>
                  <a:lnTo>
                    <a:pt x="369" y="62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81" y="61"/>
                  </a:lnTo>
                  <a:lnTo>
                    <a:pt x="382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6" y="58"/>
                  </a:lnTo>
                  <a:lnTo>
                    <a:pt x="389" y="56"/>
                  </a:lnTo>
                  <a:lnTo>
                    <a:pt x="391" y="55"/>
                  </a:lnTo>
                  <a:lnTo>
                    <a:pt x="391" y="54"/>
                  </a:lnTo>
                  <a:lnTo>
                    <a:pt x="392" y="53"/>
                  </a:lnTo>
                  <a:lnTo>
                    <a:pt x="393" y="52"/>
                  </a:lnTo>
                  <a:lnTo>
                    <a:pt x="395" y="49"/>
                  </a:lnTo>
                  <a:lnTo>
                    <a:pt x="395" y="49"/>
                  </a:lnTo>
                  <a:lnTo>
                    <a:pt x="396" y="48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9" y="46"/>
                  </a:lnTo>
                  <a:lnTo>
                    <a:pt x="400" y="45"/>
                  </a:lnTo>
                  <a:lnTo>
                    <a:pt x="400" y="44"/>
                  </a:lnTo>
                  <a:lnTo>
                    <a:pt x="401" y="44"/>
                  </a:lnTo>
                  <a:lnTo>
                    <a:pt x="401" y="43"/>
                  </a:lnTo>
                  <a:lnTo>
                    <a:pt x="402" y="42"/>
                  </a:lnTo>
                  <a:lnTo>
                    <a:pt x="402" y="41"/>
                  </a:lnTo>
                  <a:lnTo>
                    <a:pt x="402" y="40"/>
                  </a:lnTo>
                  <a:lnTo>
                    <a:pt x="403" y="39"/>
                  </a:lnTo>
                  <a:lnTo>
                    <a:pt x="403" y="35"/>
                  </a:lnTo>
                  <a:lnTo>
                    <a:pt x="403" y="34"/>
                  </a:lnTo>
                  <a:lnTo>
                    <a:pt x="403" y="33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1"/>
                  </a:lnTo>
                  <a:lnTo>
                    <a:pt x="406" y="31"/>
                  </a:lnTo>
                  <a:lnTo>
                    <a:pt x="407" y="30"/>
                  </a:lnTo>
                  <a:lnTo>
                    <a:pt x="407" y="30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1" y="30"/>
                  </a:lnTo>
                  <a:lnTo>
                    <a:pt x="413" y="31"/>
                  </a:lnTo>
                  <a:lnTo>
                    <a:pt x="415" y="31"/>
                  </a:lnTo>
                  <a:lnTo>
                    <a:pt x="417" y="32"/>
                  </a:lnTo>
                  <a:lnTo>
                    <a:pt x="420" y="33"/>
                  </a:lnTo>
                  <a:lnTo>
                    <a:pt x="422" y="33"/>
                  </a:lnTo>
                  <a:lnTo>
                    <a:pt x="423" y="33"/>
                  </a:lnTo>
                  <a:lnTo>
                    <a:pt x="423" y="33"/>
                  </a:lnTo>
                  <a:lnTo>
                    <a:pt x="424" y="33"/>
                  </a:lnTo>
                  <a:lnTo>
                    <a:pt x="425" y="33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29" y="31"/>
                  </a:lnTo>
                  <a:lnTo>
                    <a:pt x="430" y="31"/>
                  </a:lnTo>
                  <a:lnTo>
                    <a:pt x="430" y="30"/>
                  </a:lnTo>
                  <a:lnTo>
                    <a:pt x="431" y="29"/>
                  </a:lnTo>
                  <a:lnTo>
                    <a:pt x="431" y="29"/>
                  </a:lnTo>
                  <a:lnTo>
                    <a:pt x="432" y="28"/>
                  </a:lnTo>
                  <a:lnTo>
                    <a:pt x="432" y="28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3" y="24"/>
                  </a:lnTo>
                  <a:lnTo>
                    <a:pt x="433" y="23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4" y="22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7" y="20"/>
                  </a:lnTo>
                  <a:lnTo>
                    <a:pt x="437" y="19"/>
                  </a:lnTo>
                  <a:lnTo>
                    <a:pt x="439" y="18"/>
                  </a:lnTo>
                  <a:lnTo>
                    <a:pt x="443" y="16"/>
                  </a:lnTo>
                  <a:lnTo>
                    <a:pt x="444" y="16"/>
                  </a:lnTo>
                  <a:lnTo>
                    <a:pt x="445" y="15"/>
                  </a:lnTo>
                  <a:lnTo>
                    <a:pt x="445" y="15"/>
                  </a:lnTo>
                  <a:lnTo>
                    <a:pt x="446" y="14"/>
                  </a:lnTo>
                  <a:lnTo>
                    <a:pt x="446" y="14"/>
                  </a:lnTo>
                  <a:lnTo>
                    <a:pt x="447" y="13"/>
                  </a:lnTo>
                  <a:lnTo>
                    <a:pt x="447" y="12"/>
                  </a:lnTo>
                  <a:lnTo>
                    <a:pt x="447" y="11"/>
                  </a:lnTo>
                  <a:lnTo>
                    <a:pt x="447" y="9"/>
                  </a:lnTo>
                  <a:lnTo>
                    <a:pt x="447" y="8"/>
                  </a:lnTo>
                  <a:lnTo>
                    <a:pt x="448" y="6"/>
                  </a:lnTo>
                  <a:lnTo>
                    <a:pt x="449" y="4"/>
                  </a:lnTo>
                  <a:lnTo>
                    <a:pt x="450" y="3"/>
                  </a:lnTo>
                  <a:lnTo>
                    <a:pt x="45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1" y="0"/>
                  </a:lnTo>
                  <a:lnTo>
                    <a:pt x="451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5" name="Freeform 45">
              <a:extLst>
                <a:ext uri="{FF2B5EF4-FFF2-40B4-BE49-F238E27FC236}">
                  <a16:creationId xmlns:a16="http://schemas.microsoft.com/office/drawing/2014/main" id="{EDBD2ECE-D590-3256-1C9A-7CBB194C8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4" y="3272"/>
              <a:ext cx="138" cy="106"/>
            </a:xfrm>
            <a:custGeom>
              <a:avLst/>
              <a:gdLst>
                <a:gd name="T0" fmla="*/ 77 w 138"/>
                <a:gd name="T1" fmla="*/ 3 h 106"/>
                <a:gd name="T2" fmla="*/ 66 w 138"/>
                <a:gd name="T3" fmla="*/ 8 h 106"/>
                <a:gd name="T4" fmla="*/ 53 w 138"/>
                <a:gd name="T5" fmla="*/ 13 h 106"/>
                <a:gd name="T6" fmla="*/ 43 w 138"/>
                <a:gd name="T7" fmla="*/ 15 h 106"/>
                <a:gd name="T8" fmla="*/ 38 w 138"/>
                <a:gd name="T9" fmla="*/ 17 h 106"/>
                <a:gd name="T10" fmla="*/ 36 w 138"/>
                <a:gd name="T11" fmla="*/ 24 h 106"/>
                <a:gd name="T12" fmla="*/ 33 w 138"/>
                <a:gd name="T13" fmla="*/ 27 h 106"/>
                <a:gd name="T14" fmla="*/ 26 w 138"/>
                <a:gd name="T15" fmla="*/ 26 h 106"/>
                <a:gd name="T16" fmla="*/ 21 w 138"/>
                <a:gd name="T17" fmla="*/ 24 h 106"/>
                <a:gd name="T18" fmla="*/ 14 w 138"/>
                <a:gd name="T19" fmla="*/ 27 h 106"/>
                <a:gd name="T20" fmla="*/ 2 w 138"/>
                <a:gd name="T21" fmla="*/ 31 h 106"/>
                <a:gd name="T22" fmla="*/ 0 w 138"/>
                <a:gd name="T23" fmla="*/ 33 h 106"/>
                <a:gd name="T24" fmla="*/ 5 w 138"/>
                <a:gd name="T25" fmla="*/ 36 h 106"/>
                <a:gd name="T26" fmla="*/ 13 w 138"/>
                <a:gd name="T27" fmla="*/ 44 h 106"/>
                <a:gd name="T28" fmla="*/ 12 w 138"/>
                <a:gd name="T29" fmla="*/ 48 h 106"/>
                <a:gd name="T30" fmla="*/ 7 w 138"/>
                <a:gd name="T31" fmla="*/ 52 h 106"/>
                <a:gd name="T32" fmla="*/ 7 w 138"/>
                <a:gd name="T33" fmla="*/ 55 h 106"/>
                <a:gd name="T34" fmla="*/ 11 w 138"/>
                <a:gd name="T35" fmla="*/ 62 h 106"/>
                <a:gd name="T36" fmla="*/ 20 w 138"/>
                <a:gd name="T37" fmla="*/ 71 h 106"/>
                <a:gd name="T38" fmla="*/ 21 w 138"/>
                <a:gd name="T39" fmla="*/ 75 h 106"/>
                <a:gd name="T40" fmla="*/ 20 w 138"/>
                <a:gd name="T41" fmla="*/ 80 h 106"/>
                <a:gd name="T42" fmla="*/ 22 w 138"/>
                <a:gd name="T43" fmla="*/ 83 h 106"/>
                <a:gd name="T44" fmla="*/ 28 w 138"/>
                <a:gd name="T45" fmla="*/ 86 h 106"/>
                <a:gd name="T46" fmla="*/ 29 w 138"/>
                <a:gd name="T47" fmla="*/ 89 h 106"/>
                <a:gd name="T48" fmla="*/ 29 w 138"/>
                <a:gd name="T49" fmla="*/ 94 h 106"/>
                <a:gd name="T50" fmla="*/ 30 w 138"/>
                <a:gd name="T51" fmla="*/ 97 h 106"/>
                <a:gd name="T52" fmla="*/ 29 w 138"/>
                <a:gd name="T53" fmla="*/ 102 h 106"/>
                <a:gd name="T54" fmla="*/ 32 w 138"/>
                <a:gd name="T55" fmla="*/ 105 h 106"/>
                <a:gd name="T56" fmla="*/ 40 w 138"/>
                <a:gd name="T57" fmla="*/ 106 h 106"/>
                <a:gd name="T58" fmla="*/ 46 w 138"/>
                <a:gd name="T59" fmla="*/ 106 h 106"/>
                <a:gd name="T60" fmla="*/ 49 w 138"/>
                <a:gd name="T61" fmla="*/ 100 h 106"/>
                <a:gd name="T62" fmla="*/ 55 w 138"/>
                <a:gd name="T63" fmla="*/ 98 h 106"/>
                <a:gd name="T64" fmla="*/ 65 w 138"/>
                <a:gd name="T65" fmla="*/ 94 h 106"/>
                <a:gd name="T66" fmla="*/ 76 w 138"/>
                <a:gd name="T67" fmla="*/ 86 h 106"/>
                <a:gd name="T68" fmla="*/ 83 w 138"/>
                <a:gd name="T69" fmla="*/ 83 h 106"/>
                <a:gd name="T70" fmla="*/ 88 w 138"/>
                <a:gd name="T71" fmla="*/ 79 h 106"/>
                <a:gd name="T72" fmla="*/ 94 w 138"/>
                <a:gd name="T73" fmla="*/ 78 h 106"/>
                <a:gd name="T74" fmla="*/ 102 w 138"/>
                <a:gd name="T75" fmla="*/ 77 h 106"/>
                <a:gd name="T76" fmla="*/ 110 w 138"/>
                <a:gd name="T77" fmla="*/ 81 h 106"/>
                <a:gd name="T78" fmla="*/ 117 w 138"/>
                <a:gd name="T79" fmla="*/ 83 h 106"/>
                <a:gd name="T80" fmla="*/ 121 w 138"/>
                <a:gd name="T81" fmla="*/ 82 h 106"/>
                <a:gd name="T82" fmla="*/ 127 w 138"/>
                <a:gd name="T83" fmla="*/ 76 h 106"/>
                <a:gd name="T84" fmla="*/ 126 w 138"/>
                <a:gd name="T85" fmla="*/ 66 h 106"/>
                <a:gd name="T86" fmla="*/ 124 w 138"/>
                <a:gd name="T87" fmla="*/ 62 h 106"/>
                <a:gd name="T88" fmla="*/ 122 w 138"/>
                <a:gd name="T89" fmla="*/ 58 h 106"/>
                <a:gd name="T90" fmla="*/ 125 w 138"/>
                <a:gd name="T91" fmla="*/ 55 h 106"/>
                <a:gd name="T92" fmla="*/ 135 w 138"/>
                <a:gd name="T93" fmla="*/ 49 h 106"/>
                <a:gd name="T94" fmla="*/ 138 w 138"/>
                <a:gd name="T95" fmla="*/ 44 h 106"/>
                <a:gd name="T96" fmla="*/ 137 w 138"/>
                <a:gd name="T97" fmla="*/ 40 h 106"/>
                <a:gd name="T98" fmla="*/ 130 w 138"/>
                <a:gd name="T99" fmla="*/ 34 h 106"/>
                <a:gd name="T100" fmla="*/ 125 w 138"/>
                <a:gd name="T101" fmla="*/ 28 h 106"/>
                <a:gd name="T102" fmla="*/ 117 w 138"/>
                <a:gd name="T103" fmla="*/ 23 h 106"/>
                <a:gd name="T104" fmla="*/ 109 w 138"/>
                <a:gd name="T105" fmla="*/ 20 h 106"/>
                <a:gd name="T106" fmla="*/ 106 w 138"/>
                <a:gd name="T107" fmla="*/ 14 h 106"/>
                <a:gd name="T108" fmla="*/ 101 w 138"/>
                <a:gd name="T109" fmla="*/ 12 h 106"/>
                <a:gd name="T110" fmla="*/ 91 w 138"/>
                <a:gd name="T111" fmla="*/ 5 h 106"/>
                <a:gd name="T112" fmla="*/ 88 w 138"/>
                <a:gd name="T113" fmla="*/ 2 h 106"/>
                <a:gd name="T114" fmla="*/ 88 w 138"/>
                <a:gd name="T11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8" h="106">
                  <a:moveTo>
                    <a:pt x="87" y="0"/>
                  </a:moveTo>
                  <a:lnTo>
                    <a:pt x="87" y="1"/>
                  </a:lnTo>
                  <a:lnTo>
                    <a:pt x="86" y="1"/>
                  </a:lnTo>
                  <a:lnTo>
                    <a:pt x="84" y="1"/>
                  </a:lnTo>
                  <a:lnTo>
                    <a:pt x="79" y="2"/>
                  </a:lnTo>
                  <a:lnTo>
                    <a:pt x="77" y="3"/>
                  </a:lnTo>
                  <a:lnTo>
                    <a:pt x="75" y="3"/>
                  </a:lnTo>
                  <a:lnTo>
                    <a:pt x="73" y="4"/>
                  </a:lnTo>
                  <a:lnTo>
                    <a:pt x="71" y="5"/>
                  </a:lnTo>
                  <a:lnTo>
                    <a:pt x="70" y="5"/>
                  </a:lnTo>
                  <a:lnTo>
                    <a:pt x="67" y="7"/>
                  </a:lnTo>
                  <a:lnTo>
                    <a:pt x="66" y="8"/>
                  </a:lnTo>
                  <a:lnTo>
                    <a:pt x="64" y="9"/>
                  </a:lnTo>
                  <a:lnTo>
                    <a:pt x="61" y="9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4" y="12"/>
                  </a:lnTo>
                  <a:lnTo>
                    <a:pt x="53" y="13"/>
                  </a:lnTo>
                  <a:lnTo>
                    <a:pt x="52" y="14"/>
                  </a:lnTo>
                  <a:lnTo>
                    <a:pt x="49" y="14"/>
                  </a:lnTo>
                  <a:lnTo>
                    <a:pt x="48" y="14"/>
                  </a:lnTo>
                  <a:lnTo>
                    <a:pt x="47" y="15"/>
                  </a:lnTo>
                  <a:lnTo>
                    <a:pt x="44" y="15"/>
                  </a:lnTo>
                  <a:lnTo>
                    <a:pt x="43" y="15"/>
                  </a:lnTo>
                  <a:lnTo>
                    <a:pt x="41" y="15"/>
                  </a:lnTo>
                  <a:lnTo>
                    <a:pt x="41" y="16"/>
                  </a:lnTo>
                  <a:lnTo>
                    <a:pt x="40" y="16"/>
                  </a:lnTo>
                  <a:lnTo>
                    <a:pt x="39" y="16"/>
                  </a:lnTo>
                  <a:lnTo>
                    <a:pt x="39" y="17"/>
                  </a:lnTo>
                  <a:lnTo>
                    <a:pt x="38" y="17"/>
                  </a:lnTo>
                  <a:lnTo>
                    <a:pt x="38" y="18"/>
                  </a:lnTo>
                  <a:lnTo>
                    <a:pt x="37" y="19"/>
                  </a:lnTo>
                  <a:lnTo>
                    <a:pt x="37" y="20"/>
                  </a:lnTo>
                  <a:lnTo>
                    <a:pt x="37" y="21"/>
                  </a:lnTo>
                  <a:lnTo>
                    <a:pt x="36" y="23"/>
                  </a:lnTo>
                  <a:lnTo>
                    <a:pt x="36" y="24"/>
                  </a:lnTo>
                  <a:lnTo>
                    <a:pt x="35" y="25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4" y="26"/>
                  </a:lnTo>
                  <a:lnTo>
                    <a:pt x="34" y="27"/>
                  </a:lnTo>
                  <a:lnTo>
                    <a:pt x="33" y="27"/>
                  </a:lnTo>
                  <a:lnTo>
                    <a:pt x="31" y="27"/>
                  </a:lnTo>
                  <a:lnTo>
                    <a:pt x="30" y="27"/>
                  </a:lnTo>
                  <a:lnTo>
                    <a:pt x="28" y="27"/>
                  </a:lnTo>
                  <a:lnTo>
                    <a:pt x="27" y="27"/>
                  </a:lnTo>
                  <a:lnTo>
                    <a:pt x="27" y="26"/>
                  </a:lnTo>
                  <a:lnTo>
                    <a:pt x="26" y="26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3" y="24"/>
                  </a:lnTo>
                  <a:lnTo>
                    <a:pt x="22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9" y="25"/>
                  </a:lnTo>
                  <a:lnTo>
                    <a:pt x="16" y="26"/>
                  </a:lnTo>
                  <a:lnTo>
                    <a:pt x="15" y="27"/>
                  </a:lnTo>
                  <a:lnTo>
                    <a:pt x="14" y="27"/>
                  </a:lnTo>
                  <a:lnTo>
                    <a:pt x="11" y="28"/>
                  </a:lnTo>
                  <a:lnTo>
                    <a:pt x="9" y="28"/>
                  </a:lnTo>
                  <a:lnTo>
                    <a:pt x="6" y="29"/>
                  </a:lnTo>
                  <a:lnTo>
                    <a:pt x="4" y="30"/>
                  </a:lnTo>
                  <a:lnTo>
                    <a:pt x="3" y="31"/>
                  </a:lnTo>
                  <a:lnTo>
                    <a:pt x="2" y="31"/>
                  </a:lnTo>
                  <a:lnTo>
                    <a:pt x="1" y="32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4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3" y="35"/>
                  </a:lnTo>
                  <a:lnTo>
                    <a:pt x="4" y="35"/>
                  </a:lnTo>
                  <a:lnTo>
                    <a:pt x="5" y="36"/>
                  </a:lnTo>
                  <a:lnTo>
                    <a:pt x="5" y="37"/>
                  </a:lnTo>
                  <a:lnTo>
                    <a:pt x="7" y="38"/>
                  </a:lnTo>
                  <a:lnTo>
                    <a:pt x="9" y="40"/>
                  </a:lnTo>
                  <a:lnTo>
                    <a:pt x="11" y="43"/>
                  </a:lnTo>
                  <a:lnTo>
                    <a:pt x="12" y="44"/>
                  </a:lnTo>
                  <a:lnTo>
                    <a:pt x="13" y="44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6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0" y="49"/>
                  </a:lnTo>
                  <a:lnTo>
                    <a:pt x="9" y="50"/>
                  </a:lnTo>
                  <a:lnTo>
                    <a:pt x="8" y="50"/>
                  </a:lnTo>
                  <a:lnTo>
                    <a:pt x="8" y="51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6" y="53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7" y="54"/>
                  </a:lnTo>
                  <a:lnTo>
                    <a:pt x="7" y="55"/>
                  </a:lnTo>
                  <a:lnTo>
                    <a:pt x="7" y="56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10" y="59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2" y="64"/>
                  </a:lnTo>
                  <a:lnTo>
                    <a:pt x="13" y="65"/>
                  </a:lnTo>
                  <a:lnTo>
                    <a:pt x="14" y="66"/>
                  </a:lnTo>
                  <a:lnTo>
                    <a:pt x="15" y="67"/>
                  </a:lnTo>
                  <a:lnTo>
                    <a:pt x="17" y="69"/>
                  </a:lnTo>
                  <a:lnTo>
                    <a:pt x="20" y="71"/>
                  </a:lnTo>
                  <a:lnTo>
                    <a:pt x="20" y="72"/>
                  </a:lnTo>
                  <a:lnTo>
                    <a:pt x="21" y="73"/>
                  </a:lnTo>
                  <a:lnTo>
                    <a:pt x="21" y="73"/>
                  </a:lnTo>
                  <a:lnTo>
                    <a:pt x="21" y="74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6"/>
                  </a:lnTo>
                  <a:lnTo>
                    <a:pt x="21" y="77"/>
                  </a:lnTo>
                  <a:lnTo>
                    <a:pt x="20" y="78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80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2"/>
                  </a:lnTo>
                  <a:lnTo>
                    <a:pt x="21" y="82"/>
                  </a:lnTo>
                  <a:lnTo>
                    <a:pt x="21" y="83"/>
                  </a:lnTo>
                  <a:lnTo>
                    <a:pt x="22" y="83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4" y="85"/>
                  </a:lnTo>
                  <a:lnTo>
                    <a:pt x="25" y="85"/>
                  </a:lnTo>
                  <a:lnTo>
                    <a:pt x="27" y="86"/>
                  </a:lnTo>
                  <a:lnTo>
                    <a:pt x="28" y="86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29" y="90"/>
                  </a:lnTo>
                  <a:lnTo>
                    <a:pt x="29" y="91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7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29" y="100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102"/>
                  </a:lnTo>
                  <a:lnTo>
                    <a:pt x="30" y="102"/>
                  </a:lnTo>
                  <a:lnTo>
                    <a:pt x="30" y="103"/>
                  </a:lnTo>
                  <a:lnTo>
                    <a:pt x="31" y="103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2" y="105"/>
                  </a:lnTo>
                  <a:lnTo>
                    <a:pt x="33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5" y="106"/>
                  </a:lnTo>
                  <a:lnTo>
                    <a:pt x="36" y="106"/>
                  </a:lnTo>
                  <a:lnTo>
                    <a:pt x="40" y="106"/>
                  </a:lnTo>
                  <a:lnTo>
                    <a:pt x="41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6" y="106"/>
                  </a:lnTo>
                  <a:lnTo>
                    <a:pt x="46" y="105"/>
                  </a:lnTo>
                  <a:lnTo>
                    <a:pt x="46" y="105"/>
                  </a:lnTo>
                  <a:lnTo>
                    <a:pt x="47" y="104"/>
                  </a:lnTo>
                  <a:lnTo>
                    <a:pt x="48" y="102"/>
                  </a:lnTo>
                  <a:lnTo>
                    <a:pt x="49" y="101"/>
                  </a:lnTo>
                  <a:lnTo>
                    <a:pt x="49" y="100"/>
                  </a:lnTo>
                  <a:lnTo>
                    <a:pt x="49" y="100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1" y="99"/>
                  </a:lnTo>
                  <a:lnTo>
                    <a:pt x="52" y="98"/>
                  </a:lnTo>
                  <a:lnTo>
                    <a:pt x="55" y="98"/>
                  </a:lnTo>
                  <a:lnTo>
                    <a:pt x="56" y="97"/>
                  </a:lnTo>
                  <a:lnTo>
                    <a:pt x="58" y="97"/>
                  </a:lnTo>
                  <a:lnTo>
                    <a:pt x="59" y="96"/>
                  </a:lnTo>
                  <a:lnTo>
                    <a:pt x="62" y="95"/>
                  </a:lnTo>
                  <a:lnTo>
                    <a:pt x="64" y="95"/>
                  </a:lnTo>
                  <a:lnTo>
                    <a:pt x="65" y="94"/>
                  </a:lnTo>
                  <a:lnTo>
                    <a:pt x="66" y="94"/>
                  </a:lnTo>
                  <a:lnTo>
                    <a:pt x="67" y="93"/>
                  </a:lnTo>
                  <a:lnTo>
                    <a:pt x="68" y="93"/>
                  </a:lnTo>
                  <a:lnTo>
                    <a:pt x="73" y="89"/>
                  </a:lnTo>
                  <a:lnTo>
                    <a:pt x="75" y="87"/>
                  </a:lnTo>
                  <a:lnTo>
                    <a:pt x="76" y="86"/>
                  </a:lnTo>
                  <a:lnTo>
                    <a:pt x="77" y="86"/>
                  </a:lnTo>
                  <a:lnTo>
                    <a:pt x="78" y="86"/>
                  </a:lnTo>
                  <a:lnTo>
                    <a:pt x="79" y="85"/>
                  </a:lnTo>
                  <a:lnTo>
                    <a:pt x="81" y="84"/>
                  </a:lnTo>
                  <a:lnTo>
                    <a:pt x="82" y="84"/>
                  </a:lnTo>
                  <a:lnTo>
                    <a:pt x="83" y="83"/>
                  </a:lnTo>
                  <a:lnTo>
                    <a:pt x="84" y="83"/>
                  </a:lnTo>
                  <a:lnTo>
                    <a:pt x="85" y="82"/>
                  </a:lnTo>
                  <a:lnTo>
                    <a:pt x="86" y="82"/>
                  </a:lnTo>
                  <a:lnTo>
                    <a:pt x="87" y="80"/>
                  </a:lnTo>
                  <a:lnTo>
                    <a:pt x="87" y="80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9" y="79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91" y="78"/>
                  </a:lnTo>
                  <a:lnTo>
                    <a:pt x="94" y="78"/>
                  </a:lnTo>
                  <a:lnTo>
                    <a:pt x="95" y="77"/>
                  </a:lnTo>
                  <a:lnTo>
                    <a:pt x="97" y="77"/>
                  </a:lnTo>
                  <a:lnTo>
                    <a:pt x="99" y="77"/>
                  </a:lnTo>
                  <a:lnTo>
                    <a:pt x="101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3" y="77"/>
                  </a:lnTo>
                  <a:lnTo>
                    <a:pt x="104" y="78"/>
                  </a:lnTo>
                  <a:lnTo>
                    <a:pt x="106" y="78"/>
                  </a:lnTo>
                  <a:lnTo>
                    <a:pt x="107" y="79"/>
                  </a:lnTo>
                  <a:lnTo>
                    <a:pt x="108" y="80"/>
                  </a:lnTo>
                  <a:lnTo>
                    <a:pt x="110" y="81"/>
                  </a:lnTo>
                  <a:lnTo>
                    <a:pt x="112" y="82"/>
                  </a:lnTo>
                  <a:lnTo>
                    <a:pt x="112" y="82"/>
                  </a:lnTo>
                  <a:lnTo>
                    <a:pt x="113" y="82"/>
                  </a:lnTo>
                  <a:lnTo>
                    <a:pt x="114" y="83"/>
                  </a:lnTo>
                  <a:lnTo>
                    <a:pt x="115" y="83"/>
                  </a:lnTo>
                  <a:lnTo>
                    <a:pt x="117" y="83"/>
                  </a:lnTo>
                  <a:lnTo>
                    <a:pt x="118" y="83"/>
                  </a:lnTo>
                  <a:lnTo>
                    <a:pt x="118" y="83"/>
                  </a:lnTo>
                  <a:lnTo>
                    <a:pt x="119" y="83"/>
                  </a:lnTo>
                  <a:lnTo>
                    <a:pt x="120" y="83"/>
                  </a:lnTo>
                  <a:lnTo>
                    <a:pt x="120" y="82"/>
                  </a:lnTo>
                  <a:lnTo>
                    <a:pt x="121" y="82"/>
                  </a:lnTo>
                  <a:lnTo>
                    <a:pt x="122" y="81"/>
                  </a:lnTo>
                  <a:lnTo>
                    <a:pt x="124" y="79"/>
                  </a:lnTo>
                  <a:lnTo>
                    <a:pt x="125" y="79"/>
                  </a:lnTo>
                  <a:lnTo>
                    <a:pt x="126" y="78"/>
                  </a:lnTo>
                  <a:lnTo>
                    <a:pt x="126" y="77"/>
                  </a:lnTo>
                  <a:lnTo>
                    <a:pt x="127" y="76"/>
                  </a:lnTo>
                  <a:lnTo>
                    <a:pt x="127" y="75"/>
                  </a:lnTo>
                  <a:lnTo>
                    <a:pt x="127" y="74"/>
                  </a:lnTo>
                  <a:lnTo>
                    <a:pt x="127" y="73"/>
                  </a:lnTo>
                  <a:lnTo>
                    <a:pt x="127" y="72"/>
                  </a:lnTo>
                  <a:lnTo>
                    <a:pt x="126" y="68"/>
                  </a:lnTo>
                  <a:lnTo>
                    <a:pt x="126" y="66"/>
                  </a:lnTo>
                  <a:lnTo>
                    <a:pt x="126" y="65"/>
                  </a:lnTo>
                  <a:lnTo>
                    <a:pt x="126" y="64"/>
                  </a:lnTo>
                  <a:lnTo>
                    <a:pt x="125" y="64"/>
                  </a:lnTo>
                  <a:lnTo>
                    <a:pt x="125" y="63"/>
                  </a:lnTo>
                  <a:lnTo>
                    <a:pt x="125" y="63"/>
                  </a:lnTo>
                  <a:lnTo>
                    <a:pt x="124" y="62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3" y="60"/>
                  </a:lnTo>
                  <a:lnTo>
                    <a:pt x="122" y="60"/>
                  </a:lnTo>
                  <a:lnTo>
                    <a:pt x="122" y="59"/>
                  </a:lnTo>
                  <a:lnTo>
                    <a:pt x="122" y="58"/>
                  </a:lnTo>
                  <a:lnTo>
                    <a:pt x="123" y="58"/>
                  </a:lnTo>
                  <a:lnTo>
                    <a:pt x="123" y="57"/>
                  </a:lnTo>
                  <a:lnTo>
                    <a:pt x="123" y="57"/>
                  </a:lnTo>
                  <a:lnTo>
                    <a:pt x="123" y="56"/>
                  </a:lnTo>
                  <a:lnTo>
                    <a:pt x="124" y="56"/>
                  </a:lnTo>
                  <a:lnTo>
                    <a:pt x="125" y="55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31" y="51"/>
                  </a:lnTo>
                  <a:lnTo>
                    <a:pt x="134" y="50"/>
                  </a:lnTo>
                  <a:lnTo>
                    <a:pt x="134" y="49"/>
                  </a:lnTo>
                  <a:lnTo>
                    <a:pt x="135" y="49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7" y="47"/>
                  </a:lnTo>
                  <a:lnTo>
                    <a:pt x="137" y="46"/>
                  </a:lnTo>
                  <a:lnTo>
                    <a:pt x="138" y="45"/>
                  </a:lnTo>
                  <a:lnTo>
                    <a:pt x="138" y="44"/>
                  </a:lnTo>
                  <a:lnTo>
                    <a:pt x="138" y="43"/>
                  </a:lnTo>
                  <a:lnTo>
                    <a:pt x="138" y="43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37" y="41"/>
                  </a:lnTo>
                  <a:lnTo>
                    <a:pt x="137" y="40"/>
                  </a:lnTo>
                  <a:lnTo>
                    <a:pt x="136" y="39"/>
                  </a:lnTo>
                  <a:lnTo>
                    <a:pt x="135" y="38"/>
                  </a:lnTo>
                  <a:lnTo>
                    <a:pt x="135" y="37"/>
                  </a:lnTo>
                  <a:lnTo>
                    <a:pt x="134" y="37"/>
                  </a:lnTo>
                  <a:lnTo>
                    <a:pt x="133" y="36"/>
                  </a:lnTo>
                  <a:lnTo>
                    <a:pt x="130" y="34"/>
                  </a:lnTo>
                  <a:lnTo>
                    <a:pt x="129" y="33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7" y="31"/>
                  </a:lnTo>
                  <a:lnTo>
                    <a:pt x="126" y="29"/>
                  </a:lnTo>
                  <a:lnTo>
                    <a:pt x="125" y="28"/>
                  </a:lnTo>
                  <a:lnTo>
                    <a:pt x="124" y="28"/>
                  </a:lnTo>
                  <a:lnTo>
                    <a:pt x="124" y="27"/>
                  </a:lnTo>
                  <a:lnTo>
                    <a:pt x="123" y="27"/>
                  </a:lnTo>
                  <a:lnTo>
                    <a:pt x="122" y="26"/>
                  </a:lnTo>
                  <a:lnTo>
                    <a:pt x="118" y="24"/>
                  </a:lnTo>
                  <a:lnTo>
                    <a:pt x="117" y="23"/>
                  </a:lnTo>
                  <a:lnTo>
                    <a:pt x="114" y="23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1" y="21"/>
                  </a:lnTo>
                  <a:lnTo>
                    <a:pt x="110" y="21"/>
                  </a:lnTo>
                  <a:lnTo>
                    <a:pt x="109" y="20"/>
                  </a:lnTo>
                  <a:lnTo>
                    <a:pt x="109" y="19"/>
                  </a:lnTo>
                  <a:lnTo>
                    <a:pt x="108" y="19"/>
                  </a:lnTo>
                  <a:lnTo>
                    <a:pt x="107" y="18"/>
                  </a:lnTo>
                  <a:lnTo>
                    <a:pt x="107" y="17"/>
                  </a:lnTo>
                  <a:lnTo>
                    <a:pt x="107" y="16"/>
                  </a:lnTo>
                  <a:lnTo>
                    <a:pt x="106" y="14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4" y="12"/>
                  </a:lnTo>
                  <a:lnTo>
                    <a:pt x="103" y="12"/>
                  </a:lnTo>
                  <a:lnTo>
                    <a:pt x="101" y="12"/>
                  </a:lnTo>
                  <a:lnTo>
                    <a:pt x="100" y="11"/>
                  </a:lnTo>
                  <a:lnTo>
                    <a:pt x="99" y="11"/>
                  </a:lnTo>
                  <a:lnTo>
                    <a:pt x="98" y="10"/>
                  </a:lnTo>
                  <a:lnTo>
                    <a:pt x="95" y="8"/>
                  </a:lnTo>
                  <a:lnTo>
                    <a:pt x="94" y="7"/>
                  </a:lnTo>
                  <a:lnTo>
                    <a:pt x="91" y="5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89" y="4"/>
                  </a:lnTo>
                  <a:lnTo>
                    <a:pt x="89" y="3"/>
                  </a:lnTo>
                  <a:lnTo>
                    <a:pt x="89" y="2"/>
                  </a:lnTo>
                  <a:lnTo>
                    <a:pt x="88" y="2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9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7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Freeform 46">
              <a:extLst>
                <a:ext uri="{FF2B5EF4-FFF2-40B4-BE49-F238E27FC236}">
                  <a16:creationId xmlns:a16="http://schemas.microsoft.com/office/drawing/2014/main" id="{DAAD85D5-8A92-16E5-E71A-A034DB26D2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3533"/>
              <a:ext cx="624" cy="488"/>
            </a:xfrm>
            <a:custGeom>
              <a:avLst/>
              <a:gdLst>
                <a:gd name="T0" fmla="*/ 178 w 624"/>
                <a:gd name="T1" fmla="*/ 37 h 488"/>
                <a:gd name="T2" fmla="*/ 217 w 624"/>
                <a:gd name="T3" fmla="*/ 23 h 488"/>
                <a:gd name="T4" fmla="*/ 241 w 624"/>
                <a:gd name="T5" fmla="*/ 35 h 488"/>
                <a:gd name="T6" fmla="*/ 265 w 624"/>
                <a:gd name="T7" fmla="*/ 33 h 488"/>
                <a:gd name="T8" fmla="*/ 286 w 624"/>
                <a:gd name="T9" fmla="*/ 34 h 488"/>
                <a:gd name="T10" fmla="*/ 319 w 624"/>
                <a:gd name="T11" fmla="*/ 35 h 488"/>
                <a:gd name="T12" fmla="*/ 337 w 624"/>
                <a:gd name="T13" fmla="*/ 48 h 488"/>
                <a:gd name="T14" fmla="*/ 363 w 624"/>
                <a:gd name="T15" fmla="*/ 27 h 488"/>
                <a:gd name="T16" fmla="*/ 373 w 624"/>
                <a:gd name="T17" fmla="*/ 0 h 488"/>
                <a:gd name="T18" fmla="*/ 403 w 624"/>
                <a:gd name="T19" fmla="*/ 13 h 488"/>
                <a:gd name="T20" fmla="*/ 422 w 624"/>
                <a:gd name="T21" fmla="*/ 31 h 488"/>
                <a:gd name="T22" fmla="*/ 417 w 624"/>
                <a:gd name="T23" fmla="*/ 47 h 488"/>
                <a:gd name="T24" fmla="*/ 415 w 624"/>
                <a:gd name="T25" fmla="*/ 88 h 488"/>
                <a:gd name="T26" fmla="*/ 421 w 624"/>
                <a:gd name="T27" fmla="*/ 120 h 488"/>
                <a:gd name="T28" fmla="*/ 435 w 624"/>
                <a:gd name="T29" fmla="*/ 153 h 488"/>
                <a:gd name="T30" fmla="*/ 468 w 624"/>
                <a:gd name="T31" fmla="*/ 159 h 488"/>
                <a:gd name="T32" fmla="*/ 473 w 624"/>
                <a:gd name="T33" fmla="*/ 171 h 488"/>
                <a:gd name="T34" fmla="*/ 502 w 624"/>
                <a:gd name="T35" fmla="*/ 178 h 488"/>
                <a:gd name="T36" fmla="*/ 542 w 624"/>
                <a:gd name="T37" fmla="*/ 184 h 488"/>
                <a:gd name="T38" fmla="*/ 551 w 624"/>
                <a:gd name="T39" fmla="*/ 212 h 488"/>
                <a:gd name="T40" fmla="*/ 591 w 624"/>
                <a:gd name="T41" fmla="*/ 227 h 488"/>
                <a:gd name="T42" fmla="*/ 614 w 624"/>
                <a:gd name="T43" fmla="*/ 228 h 488"/>
                <a:gd name="T44" fmla="*/ 621 w 624"/>
                <a:gd name="T45" fmla="*/ 249 h 488"/>
                <a:gd name="T46" fmla="*/ 600 w 624"/>
                <a:gd name="T47" fmla="*/ 276 h 488"/>
                <a:gd name="T48" fmla="*/ 605 w 624"/>
                <a:gd name="T49" fmla="*/ 293 h 488"/>
                <a:gd name="T50" fmla="*/ 617 w 624"/>
                <a:gd name="T51" fmla="*/ 312 h 488"/>
                <a:gd name="T52" fmla="*/ 606 w 624"/>
                <a:gd name="T53" fmla="*/ 325 h 488"/>
                <a:gd name="T54" fmla="*/ 560 w 624"/>
                <a:gd name="T55" fmla="*/ 297 h 488"/>
                <a:gd name="T56" fmla="*/ 529 w 624"/>
                <a:gd name="T57" fmla="*/ 291 h 488"/>
                <a:gd name="T58" fmla="*/ 496 w 624"/>
                <a:gd name="T59" fmla="*/ 309 h 488"/>
                <a:gd name="T60" fmla="*/ 484 w 624"/>
                <a:gd name="T61" fmla="*/ 286 h 488"/>
                <a:gd name="T62" fmla="*/ 448 w 624"/>
                <a:gd name="T63" fmla="*/ 277 h 488"/>
                <a:gd name="T64" fmla="*/ 438 w 624"/>
                <a:gd name="T65" fmla="*/ 313 h 488"/>
                <a:gd name="T66" fmla="*/ 432 w 624"/>
                <a:gd name="T67" fmla="*/ 370 h 488"/>
                <a:gd name="T68" fmla="*/ 425 w 624"/>
                <a:gd name="T69" fmla="*/ 394 h 488"/>
                <a:gd name="T70" fmla="*/ 386 w 624"/>
                <a:gd name="T71" fmla="*/ 391 h 488"/>
                <a:gd name="T72" fmla="*/ 358 w 624"/>
                <a:gd name="T73" fmla="*/ 437 h 488"/>
                <a:gd name="T74" fmla="*/ 350 w 624"/>
                <a:gd name="T75" fmla="*/ 476 h 488"/>
                <a:gd name="T76" fmla="*/ 326 w 624"/>
                <a:gd name="T77" fmla="*/ 461 h 488"/>
                <a:gd name="T78" fmla="*/ 291 w 624"/>
                <a:gd name="T79" fmla="*/ 458 h 488"/>
                <a:gd name="T80" fmla="*/ 273 w 624"/>
                <a:gd name="T81" fmla="*/ 465 h 488"/>
                <a:gd name="T82" fmla="*/ 253 w 624"/>
                <a:gd name="T83" fmla="*/ 481 h 488"/>
                <a:gd name="T84" fmla="*/ 211 w 624"/>
                <a:gd name="T85" fmla="*/ 477 h 488"/>
                <a:gd name="T86" fmla="*/ 158 w 624"/>
                <a:gd name="T87" fmla="*/ 467 h 488"/>
                <a:gd name="T88" fmla="*/ 145 w 624"/>
                <a:gd name="T89" fmla="*/ 446 h 488"/>
                <a:gd name="T90" fmla="*/ 142 w 624"/>
                <a:gd name="T91" fmla="*/ 422 h 488"/>
                <a:gd name="T92" fmla="*/ 101 w 624"/>
                <a:gd name="T93" fmla="*/ 392 h 488"/>
                <a:gd name="T94" fmla="*/ 73 w 624"/>
                <a:gd name="T95" fmla="*/ 361 h 488"/>
                <a:gd name="T96" fmla="*/ 46 w 624"/>
                <a:gd name="T97" fmla="*/ 336 h 488"/>
                <a:gd name="T98" fmla="*/ 20 w 624"/>
                <a:gd name="T99" fmla="*/ 306 h 488"/>
                <a:gd name="T100" fmla="*/ 0 w 624"/>
                <a:gd name="T101" fmla="*/ 286 h 488"/>
                <a:gd name="T102" fmla="*/ 17 w 624"/>
                <a:gd name="T103" fmla="*/ 255 h 488"/>
                <a:gd name="T104" fmla="*/ 18 w 624"/>
                <a:gd name="T105" fmla="*/ 214 h 488"/>
                <a:gd name="T106" fmla="*/ 47 w 624"/>
                <a:gd name="T107" fmla="*/ 201 h 488"/>
                <a:gd name="T108" fmla="*/ 49 w 624"/>
                <a:gd name="T109" fmla="*/ 174 h 488"/>
                <a:gd name="T110" fmla="*/ 52 w 624"/>
                <a:gd name="T111" fmla="*/ 157 h 488"/>
                <a:gd name="T112" fmla="*/ 59 w 624"/>
                <a:gd name="T113" fmla="*/ 140 h 488"/>
                <a:gd name="T114" fmla="*/ 74 w 624"/>
                <a:gd name="T115" fmla="*/ 107 h 488"/>
                <a:gd name="T116" fmla="*/ 71 w 624"/>
                <a:gd name="T117" fmla="*/ 67 h 488"/>
                <a:gd name="T118" fmla="*/ 73 w 624"/>
                <a:gd name="T119" fmla="*/ 44 h 488"/>
                <a:gd name="T120" fmla="*/ 102 w 624"/>
                <a:gd name="T121" fmla="*/ 41 h 488"/>
                <a:gd name="T122" fmla="*/ 127 w 624"/>
                <a:gd name="T123" fmla="*/ 45 h 488"/>
                <a:gd name="T124" fmla="*/ 150 w 624"/>
                <a:gd name="T125" fmla="*/ 28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24" h="488">
                  <a:moveTo>
                    <a:pt x="162" y="23"/>
                  </a:moveTo>
                  <a:lnTo>
                    <a:pt x="162" y="23"/>
                  </a:lnTo>
                  <a:lnTo>
                    <a:pt x="162" y="23"/>
                  </a:lnTo>
                  <a:lnTo>
                    <a:pt x="163" y="24"/>
                  </a:lnTo>
                  <a:lnTo>
                    <a:pt x="163" y="24"/>
                  </a:lnTo>
                  <a:lnTo>
                    <a:pt x="163" y="25"/>
                  </a:lnTo>
                  <a:lnTo>
                    <a:pt x="163" y="29"/>
                  </a:lnTo>
                  <a:lnTo>
                    <a:pt x="163" y="31"/>
                  </a:lnTo>
                  <a:lnTo>
                    <a:pt x="163" y="32"/>
                  </a:lnTo>
                  <a:lnTo>
                    <a:pt x="163" y="33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4" y="35"/>
                  </a:lnTo>
                  <a:lnTo>
                    <a:pt x="164" y="35"/>
                  </a:lnTo>
                  <a:lnTo>
                    <a:pt x="165" y="36"/>
                  </a:lnTo>
                  <a:lnTo>
                    <a:pt x="165" y="36"/>
                  </a:lnTo>
                  <a:lnTo>
                    <a:pt x="166" y="37"/>
                  </a:lnTo>
                  <a:lnTo>
                    <a:pt x="167" y="37"/>
                  </a:lnTo>
                  <a:lnTo>
                    <a:pt x="168" y="37"/>
                  </a:lnTo>
                  <a:lnTo>
                    <a:pt x="168" y="37"/>
                  </a:lnTo>
                  <a:lnTo>
                    <a:pt x="170" y="38"/>
                  </a:lnTo>
                  <a:lnTo>
                    <a:pt x="171" y="37"/>
                  </a:lnTo>
                  <a:lnTo>
                    <a:pt x="172" y="37"/>
                  </a:lnTo>
                  <a:lnTo>
                    <a:pt x="173" y="37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6" y="37"/>
                  </a:lnTo>
                  <a:lnTo>
                    <a:pt x="178" y="37"/>
                  </a:lnTo>
                  <a:lnTo>
                    <a:pt x="179" y="37"/>
                  </a:lnTo>
                  <a:lnTo>
                    <a:pt x="181" y="36"/>
                  </a:lnTo>
                  <a:lnTo>
                    <a:pt x="182" y="36"/>
                  </a:lnTo>
                  <a:lnTo>
                    <a:pt x="183" y="36"/>
                  </a:lnTo>
                  <a:lnTo>
                    <a:pt x="187" y="36"/>
                  </a:lnTo>
                  <a:lnTo>
                    <a:pt x="188" y="36"/>
                  </a:lnTo>
                  <a:lnTo>
                    <a:pt x="196" y="36"/>
                  </a:lnTo>
                  <a:lnTo>
                    <a:pt x="199" y="35"/>
                  </a:lnTo>
                  <a:lnTo>
                    <a:pt x="201" y="35"/>
                  </a:lnTo>
                  <a:lnTo>
                    <a:pt x="202" y="35"/>
                  </a:lnTo>
                  <a:lnTo>
                    <a:pt x="204" y="35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6" y="35"/>
                  </a:lnTo>
                  <a:lnTo>
                    <a:pt x="206" y="35"/>
                  </a:lnTo>
                  <a:lnTo>
                    <a:pt x="207" y="34"/>
                  </a:lnTo>
                  <a:lnTo>
                    <a:pt x="207" y="32"/>
                  </a:lnTo>
                  <a:lnTo>
                    <a:pt x="208" y="31"/>
                  </a:lnTo>
                  <a:lnTo>
                    <a:pt x="209" y="30"/>
                  </a:lnTo>
                  <a:lnTo>
                    <a:pt x="210" y="28"/>
                  </a:lnTo>
                  <a:lnTo>
                    <a:pt x="211" y="26"/>
                  </a:lnTo>
                  <a:lnTo>
                    <a:pt x="211" y="26"/>
                  </a:lnTo>
                  <a:lnTo>
                    <a:pt x="212" y="25"/>
                  </a:lnTo>
                  <a:lnTo>
                    <a:pt x="212" y="24"/>
                  </a:lnTo>
                  <a:lnTo>
                    <a:pt x="213" y="24"/>
                  </a:lnTo>
                  <a:lnTo>
                    <a:pt x="214" y="24"/>
                  </a:lnTo>
                  <a:lnTo>
                    <a:pt x="217" y="23"/>
                  </a:lnTo>
                  <a:lnTo>
                    <a:pt x="219" y="22"/>
                  </a:lnTo>
                  <a:lnTo>
                    <a:pt x="220" y="22"/>
                  </a:lnTo>
                  <a:lnTo>
                    <a:pt x="221" y="22"/>
                  </a:lnTo>
                  <a:lnTo>
                    <a:pt x="222" y="22"/>
                  </a:lnTo>
                  <a:lnTo>
                    <a:pt x="222" y="22"/>
                  </a:lnTo>
                  <a:lnTo>
                    <a:pt x="223" y="22"/>
                  </a:lnTo>
                  <a:lnTo>
                    <a:pt x="225" y="23"/>
                  </a:lnTo>
                  <a:lnTo>
                    <a:pt x="226" y="23"/>
                  </a:lnTo>
                  <a:lnTo>
                    <a:pt x="227" y="24"/>
                  </a:lnTo>
                  <a:lnTo>
                    <a:pt x="228" y="25"/>
                  </a:lnTo>
                  <a:lnTo>
                    <a:pt x="229" y="25"/>
                  </a:lnTo>
                  <a:lnTo>
                    <a:pt x="230" y="26"/>
                  </a:lnTo>
                  <a:lnTo>
                    <a:pt x="231" y="28"/>
                  </a:lnTo>
                  <a:lnTo>
                    <a:pt x="231" y="28"/>
                  </a:lnTo>
                  <a:lnTo>
                    <a:pt x="232" y="29"/>
                  </a:lnTo>
                  <a:lnTo>
                    <a:pt x="232" y="29"/>
                  </a:lnTo>
                  <a:lnTo>
                    <a:pt x="233" y="30"/>
                  </a:lnTo>
                  <a:lnTo>
                    <a:pt x="233" y="30"/>
                  </a:lnTo>
                  <a:lnTo>
                    <a:pt x="235" y="30"/>
                  </a:lnTo>
                  <a:lnTo>
                    <a:pt x="236" y="31"/>
                  </a:lnTo>
                  <a:lnTo>
                    <a:pt x="238" y="32"/>
                  </a:lnTo>
                  <a:lnTo>
                    <a:pt x="238" y="32"/>
                  </a:lnTo>
                  <a:lnTo>
                    <a:pt x="239" y="33"/>
                  </a:lnTo>
                  <a:lnTo>
                    <a:pt x="240" y="33"/>
                  </a:lnTo>
                  <a:lnTo>
                    <a:pt x="241" y="34"/>
                  </a:lnTo>
                  <a:lnTo>
                    <a:pt x="241" y="35"/>
                  </a:lnTo>
                  <a:lnTo>
                    <a:pt x="241" y="35"/>
                  </a:lnTo>
                  <a:lnTo>
                    <a:pt x="241" y="35"/>
                  </a:lnTo>
                  <a:lnTo>
                    <a:pt x="242" y="37"/>
                  </a:lnTo>
                  <a:lnTo>
                    <a:pt x="242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4" y="39"/>
                  </a:lnTo>
                  <a:lnTo>
                    <a:pt x="245" y="39"/>
                  </a:lnTo>
                  <a:lnTo>
                    <a:pt x="247" y="39"/>
                  </a:lnTo>
                  <a:lnTo>
                    <a:pt x="248" y="39"/>
                  </a:lnTo>
                  <a:lnTo>
                    <a:pt x="249" y="39"/>
                  </a:lnTo>
                  <a:lnTo>
                    <a:pt x="250" y="39"/>
                  </a:lnTo>
                  <a:lnTo>
                    <a:pt x="252" y="39"/>
                  </a:lnTo>
                  <a:lnTo>
                    <a:pt x="252" y="38"/>
                  </a:lnTo>
                  <a:lnTo>
                    <a:pt x="253" y="38"/>
                  </a:lnTo>
                  <a:lnTo>
                    <a:pt x="253" y="38"/>
                  </a:lnTo>
                  <a:lnTo>
                    <a:pt x="256" y="36"/>
                  </a:lnTo>
                  <a:lnTo>
                    <a:pt x="257" y="35"/>
                  </a:lnTo>
                  <a:lnTo>
                    <a:pt x="258" y="35"/>
                  </a:lnTo>
                  <a:lnTo>
                    <a:pt x="259" y="34"/>
                  </a:lnTo>
                  <a:lnTo>
                    <a:pt x="260" y="34"/>
                  </a:lnTo>
                  <a:lnTo>
                    <a:pt x="261" y="34"/>
                  </a:lnTo>
                  <a:lnTo>
                    <a:pt x="262" y="34"/>
                  </a:lnTo>
                  <a:lnTo>
                    <a:pt x="264" y="34"/>
                  </a:lnTo>
                  <a:lnTo>
                    <a:pt x="264" y="34"/>
                  </a:lnTo>
                  <a:lnTo>
                    <a:pt x="264" y="34"/>
                  </a:lnTo>
                  <a:lnTo>
                    <a:pt x="265" y="34"/>
                  </a:lnTo>
                  <a:lnTo>
                    <a:pt x="265" y="34"/>
                  </a:lnTo>
                  <a:lnTo>
                    <a:pt x="265" y="33"/>
                  </a:lnTo>
                  <a:lnTo>
                    <a:pt x="265" y="33"/>
                  </a:lnTo>
                  <a:lnTo>
                    <a:pt x="265" y="32"/>
                  </a:lnTo>
                  <a:lnTo>
                    <a:pt x="265" y="30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8"/>
                  </a:lnTo>
                  <a:lnTo>
                    <a:pt x="265" y="28"/>
                  </a:lnTo>
                  <a:lnTo>
                    <a:pt x="266" y="28"/>
                  </a:lnTo>
                  <a:lnTo>
                    <a:pt x="266" y="28"/>
                  </a:lnTo>
                  <a:lnTo>
                    <a:pt x="267" y="28"/>
                  </a:lnTo>
                  <a:lnTo>
                    <a:pt x="268" y="28"/>
                  </a:lnTo>
                  <a:lnTo>
                    <a:pt x="270" y="30"/>
                  </a:lnTo>
                  <a:lnTo>
                    <a:pt x="271" y="30"/>
                  </a:lnTo>
                  <a:lnTo>
                    <a:pt x="272" y="31"/>
                  </a:lnTo>
                  <a:lnTo>
                    <a:pt x="274" y="31"/>
                  </a:lnTo>
                  <a:lnTo>
                    <a:pt x="275" y="32"/>
                  </a:lnTo>
                  <a:lnTo>
                    <a:pt x="276" y="32"/>
                  </a:lnTo>
                  <a:lnTo>
                    <a:pt x="279" y="35"/>
                  </a:lnTo>
                  <a:lnTo>
                    <a:pt x="280" y="35"/>
                  </a:lnTo>
                  <a:lnTo>
                    <a:pt x="281" y="36"/>
                  </a:lnTo>
                  <a:lnTo>
                    <a:pt x="282" y="36"/>
                  </a:lnTo>
                  <a:lnTo>
                    <a:pt x="282" y="36"/>
                  </a:lnTo>
                  <a:lnTo>
                    <a:pt x="283" y="36"/>
                  </a:lnTo>
                  <a:lnTo>
                    <a:pt x="283" y="36"/>
                  </a:lnTo>
                  <a:lnTo>
                    <a:pt x="284" y="36"/>
                  </a:lnTo>
                  <a:lnTo>
                    <a:pt x="285" y="35"/>
                  </a:lnTo>
                  <a:lnTo>
                    <a:pt x="286" y="34"/>
                  </a:lnTo>
                  <a:lnTo>
                    <a:pt x="287" y="34"/>
                  </a:lnTo>
                  <a:lnTo>
                    <a:pt x="288" y="33"/>
                  </a:lnTo>
                  <a:lnTo>
                    <a:pt x="288" y="33"/>
                  </a:lnTo>
                  <a:lnTo>
                    <a:pt x="289" y="33"/>
                  </a:lnTo>
                  <a:lnTo>
                    <a:pt x="290" y="33"/>
                  </a:lnTo>
                  <a:lnTo>
                    <a:pt x="292" y="33"/>
                  </a:lnTo>
                  <a:lnTo>
                    <a:pt x="293" y="34"/>
                  </a:lnTo>
                  <a:lnTo>
                    <a:pt x="294" y="34"/>
                  </a:lnTo>
                  <a:lnTo>
                    <a:pt x="295" y="34"/>
                  </a:lnTo>
                  <a:lnTo>
                    <a:pt x="295" y="34"/>
                  </a:lnTo>
                  <a:lnTo>
                    <a:pt x="297" y="35"/>
                  </a:lnTo>
                  <a:lnTo>
                    <a:pt x="298" y="35"/>
                  </a:lnTo>
                  <a:lnTo>
                    <a:pt x="299" y="36"/>
                  </a:lnTo>
                  <a:lnTo>
                    <a:pt x="300" y="36"/>
                  </a:lnTo>
                  <a:lnTo>
                    <a:pt x="302" y="36"/>
                  </a:lnTo>
                  <a:lnTo>
                    <a:pt x="306" y="37"/>
                  </a:lnTo>
                  <a:lnTo>
                    <a:pt x="307" y="37"/>
                  </a:lnTo>
                  <a:lnTo>
                    <a:pt x="309" y="37"/>
                  </a:lnTo>
                  <a:lnTo>
                    <a:pt x="310" y="37"/>
                  </a:lnTo>
                  <a:lnTo>
                    <a:pt x="311" y="37"/>
                  </a:lnTo>
                  <a:lnTo>
                    <a:pt x="313" y="36"/>
                  </a:lnTo>
                  <a:lnTo>
                    <a:pt x="314" y="36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9" y="35"/>
                  </a:lnTo>
                  <a:lnTo>
                    <a:pt x="319" y="36"/>
                  </a:lnTo>
                  <a:lnTo>
                    <a:pt x="319" y="36"/>
                  </a:lnTo>
                  <a:lnTo>
                    <a:pt x="319" y="37"/>
                  </a:lnTo>
                  <a:lnTo>
                    <a:pt x="318" y="40"/>
                  </a:lnTo>
                  <a:lnTo>
                    <a:pt x="318" y="40"/>
                  </a:lnTo>
                  <a:lnTo>
                    <a:pt x="318" y="41"/>
                  </a:lnTo>
                  <a:lnTo>
                    <a:pt x="318" y="41"/>
                  </a:lnTo>
                  <a:lnTo>
                    <a:pt x="318" y="41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20" y="42"/>
                  </a:lnTo>
                  <a:lnTo>
                    <a:pt x="320" y="43"/>
                  </a:lnTo>
                  <a:lnTo>
                    <a:pt x="321" y="43"/>
                  </a:lnTo>
                  <a:lnTo>
                    <a:pt x="321" y="43"/>
                  </a:lnTo>
                  <a:lnTo>
                    <a:pt x="323" y="43"/>
                  </a:lnTo>
                  <a:lnTo>
                    <a:pt x="325" y="44"/>
                  </a:lnTo>
                  <a:lnTo>
                    <a:pt x="326" y="44"/>
                  </a:lnTo>
                  <a:lnTo>
                    <a:pt x="328" y="44"/>
                  </a:lnTo>
                  <a:lnTo>
                    <a:pt x="329" y="45"/>
                  </a:lnTo>
                  <a:lnTo>
                    <a:pt x="331" y="45"/>
                  </a:lnTo>
                  <a:lnTo>
                    <a:pt x="332" y="46"/>
                  </a:lnTo>
                  <a:lnTo>
                    <a:pt x="333" y="46"/>
                  </a:lnTo>
                  <a:lnTo>
                    <a:pt x="335" y="48"/>
                  </a:lnTo>
                  <a:lnTo>
                    <a:pt x="335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8" y="48"/>
                  </a:lnTo>
                  <a:lnTo>
                    <a:pt x="338" y="47"/>
                  </a:lnTo>
                  <a:lnTo>
                    <a:pt x="339" y="47"/>
                  </a:lnTo>
                  <a:lnTo>
                    <a:pt x="340" y="45"/>
                  </a:lnTo>
                  <a:lnTo>
                    <a:pt x="341" y="44"/>
                  </a:lnTo>
                  <a:lnTo>
                    <a:pt x="342" y="43"/>
                  </a:lnTo>
                  <a:lnTo>
                    <a:pt x="343" y="41"/>
                  </a:lnTo>
                  <a:lnTo>
                    <a:pt x="344" y="40"/>
                  </a:lnTo>
                  <a:lnTo>
                    <a:pt x="347" y="38"/>
                  </a:lnTo>
                  <a:lnTo>
                    <a:pt x="349" y="36"/>
                  </a:lnTo>
                  <a:lnTo>
                    <a:pt x="351" y="35"/>
                  </a:lnTo>
                  <a:lnTo>
                    <a:pt x="352" y="34"/>
                  </a:lnTo>
                  <a:lnTo>
                    <a:pt x="353" y="34"/>
                  </a:lnTo>
                  <a:lnTo>
                    <a:pt x="354" y="34"/>
                  </a:lnTo>
                  <a:lnTo>
                    <a:pt x="357" y="33"/>
                  </a:lnTo>
                  <a:lnTo>
                    <a:pt x="358" y="32"/>
                  </a:lnTo>
                  <a:lnTo>
                    <a:pt x="359" y="32"/>
                  </a:lnTo>
                  <a:lnTo>
                    <a:pt x="361" y="31"/>
                  </a:lnTo>
                  <a:lnTo>
                    <a:pt x="361" y="31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3" y="29"/>
                  </a:lnTo>
                  <a:lnTo>
                    <a:pt x="363" y="28"/>
                  </a:lnTo>
                  <a:lnTo>
                    <a:pt x="363" y="28"/>
                  </a:lnTo>
                  <a:lnTo>
                    <a:pt x="363" y="27"/>
                  </a:lnTo>
                  <a:lnTo>
                    <a:pt x="362" y="25"/>
                  </a:lnTo>
                  <a:lnTo>
                    <a:pt x="362" y="23"/>
                  </a:lnTo>
                  <a:lnTo>
                    <a:pt x="361" y="21"/>
                  </a:lnTo>
                  <a:lnTo>
                    <a:pt x="361" y="20"/>
                  </a:lnTo>
                  <a:lnTo>
                    <a:pt x="361" y="20"/>
                  </a:lnTo>
                  <a:lnTo>
                    <a:pt x="361" y="18"/>
                  </a:lnTo>
                  <a:lnTo>
                    <a:pt x="361" y="17"/>
                  </a:lnTo>
                  <a:lnTo>
                    <a:pt x="362" y="15"/>
                  </a:lnTo>
                  <a:lnTo>
                    <a:pt x="362" y="14"/>
                  </a:lnTo>
                  <a:lnTo>
                    <a:pt x="362" y="13"/>
                  </a:lnTo>
                  <a:lnTo>
                    <a:pt x="362" y="11"/>
                  </a:lnTo>
                  <a:lnTo>
                    <a:pt x="362" y="11"/>
                  </a:lnTo>
                  <a:lnTo>
                    <a:pt x="362" y="10"/>
                  </a:lnTo>
                  <a:lnTo>
                    <a:pt x="363" y="10"/>
                  </a:lnTo>
                  <a:lnTo>
                    <a:pt x="363" y="9"/>
                  </a:lnTo>
                  <a:lnTo>
                    <a:pt x="364" y="9"/>
                  </a:lnTo>
                  <a:lnTo>
                    <a:pt x="365" y="8"/>
                  </a:lnTo>
                  <a:lnTo>
                    <a:pt x="365" y="7"/>
                  </a:lnTo>
                  <a:lnTo>
                    <a:pt x="366" y="7"/>
                  </a:lnTo>
                  <a:lnTo>
                    <a:pt x="366" y="5"/>
                  </a:lnTo>
                  <a:lnTo>
                    <a:pt x="367" y="5"/>
                  </a:lnTo>
                  <a:lnTo>
                    <a:pt x="367" y="4"/>
                  </a:lnTo>
                  <a:lnTo>
                    <a:pt x="368" y="3"/>
                  </a:lnTo>
                  <a:lnTo>
                    <a:pt x="370" y="2"/>
                  </a:lnTo>
                  <a:lnTo>
                    <a:pt x="372" y="1"/>
                  </a:lnTo>
                  <a:lnTo>
                    <a:pt x="372" y="1"/>
                  </a:lnTo>
                  <a:lnTo>
                    <a:pt x="373" y="0"/>
                  </a:lnTo>
                  <a:lnTo>
                    <a:pt x="373" y="0"/>
                  </a:lnTo>
                  <a:lnTo>
                    <a:pt x="373" y="0"/>
                  </a:lnTo>
                  <a:lnTo>
                    <a:pt x="374" y="0"/>
                  </a:lnTo>
                  <a:lnTo>
                    <a:pt x="375" y="1"/>
                  </a:lnTo>
                  <a:lnTo>
                    <a:pt x="376" y="1"/>
                  </a:lnTo>
                  <a:lnTo>
                    <a:pt x="378" y="3"/>
                  </a:lnTo>
                  <a:lnTo>
                    <a:pt x="379" y="3"/>
                  </a:lnTo>
                  <a:lnTo>
                    <a:pt x="380" y="4"/>
                  </a:lnTo>
                  <a:lnTo>
                    <a:pt x="384" y="6"/>
                  </a:lnTo>
                  <a:lnTo>
                    <a:pt x="385" y="7"/>
                  </a:lnTo>
                  <a:lnTo>
                    <a:pt x="386" y="7"/>
                  </a:lnTo>
                  <a:lnTo>
                    <a:pt x="387" y="8"/>
                  </a:lnTo>
                  <a:lnTo>
                    <a:pt x="388" y="9"/>
                  </a:lnTo>
                  <a:lnTo>
                    <a:pt x="391" y="11"/>
                  </a:lnTo>
                  <a:lnTo>
                    <a:pt x="393" y="13"/>
                  </a:lnTo>
                  <a:lnTo>
                    <a:pt x="394" y="13"/>
                  </a:lnTo>
                  <a:lnTo>
                    <a:pt x="395" y="14"/>
                  </a:lnTo>
                  <a:lnTo>
                    <a:pt x="396" y="15"/>
                  </a:lnTo>
                  <a:lnTo>
                    <a:pt x="396" y="15"/>
                  </a:lnTo>
                  <a:lnTo>
                    <a:pt x="397" y="15"/>
                  </a:lnTo>
                  <a:lnTo>
                    <a:pt x="397" y="15"/>
                  </a:lnTo>
                  <a:lnTo>
                    <a:pt x="398" y="15"/>
                  </a:lnTo>
                  <a:lnTo>
                    <a:pt x="398" y="15"/>
                  </a:lnTo>
                  <a:lnTo>
                    <a:pt x="399" y="15"/>
                  </a:lnTo>
                  <a:lnTo>
                    <a:pt x="400" y="14"/>
                  </a:lnTo>
                  <a:lnTo>
                    <a:pt x="401" y="14"/>
                  </a:lnTo>
                  <a:lnTo>
                    <a:pt x="402" y="13"/>
                  </a:lnTo>
                  <a:lnTo>
                    <a:pt x="403" y="13"/>
                  </a:lnTo>
                  <a:lnTo>
                    <a:pt x="403" y="13"/>
                  </a:lnTo>
                  <a:lnTo>
                    <a:pt x="404" y="13"/>
                  </a:lnTo>
                  <a:lnTo>
                    <a:pt x="404" y="13"/>
                  </a:lnTo>
                  <a:lnTo>
                    <a:pt x="405" y="13"/>
                  </a:lnTo>
                  <a:lnTo>
                    <a:pt x="405" y="13"/>
                  </a:lnTo>
                  <a:lnTo>
                    <a:pt x="405" y="14"/>
                  </a:lnTo>
                  <a:lnTo>
                    <a:pt x="405" y="14"/>
                  </a:lnTo>
                  <a:lnTo>
                    <a:pt x="406" y="15"/>
                  </a:lnTo>
                  <a:lnTo>
                    <a:pt x="406" y="17"/>
                  </a:lnTo>
                  <a:lnTo>
                    <a:pt x="407" y="18"/>
                  </a:lnTo>
                  <a:lnTo>
                    <a:pt x="408" y="20"/>
                  </a:lnTo>
                  <a:lnTo>
                    <a:pt x="409" y="23"/>
                  </a:lnTo>
                  <a:lnTo>
                    <a:pt x="410" y="25"/>
                  </a:lnTo>
                  <a:lnTo>
                    <a:pt x="411" y="27"/>
                  </a:lnTo>
                  <a:lnTo>
                    <a:pt x="412" y="28"/>
                  </a:lnTo>
                  <a:lnTo>
                    <a:pt x="413" y="28"/>
                  </a:lnTo>
                  <a:lnTo>
                    <a:pt x="413" y="29"/>
                  </a:lnTo>
                  <a:lnTo>
                    <a:pt x="414" y="30"/>
                  </a:lnTo>
                  <a:lnTo>
                    <a:pt x="415" y="30"/>
                  </a:lnTo>
                  <a:lnTo>
                    <a:pt x="415" y="30"/>
                  </a:lnTo>
                  <a:lnTo>
                    <a:pt x="417" y="31"/>
                  </a:lnTo>
                  <a:lnTo>
                    <a:pt x="417" y="31"/>
                  </a:lnTo>
                  <a:lnTo>
                    <a:pt x="418" y="31"/>
                  </a:lnTo>
                  <a:lnTo>
                    <a:pt x="419" y="31"/>
                  </a:lnTo>
                  <a:lnTo>
                    <a:pt x="419" y="31"/>
                  </a:lnTo>
                  <a:lnTo>
                    <a:pt x="420" y="31"/>
                  </a:lnTo>
                  <a:lnTo>
                    <a:pt x="421" y="31"/>
                  </a:lnTo>
                  <a:lnTo>
                    <a:pt x="421" y="31"/>
                  </a:lnTo>
                  <a:lnTo>
                    <a:pt x="422" y="31"/>
                  </a:lnTo>
                  <a:lnTo>
                    <a:pt x="423" y="30"/>
                  </a:lnTo>
                  <a:lnTo>
                    <a:pt x="423" y="30"/>
                  </a:lnTo>
                  <a:lnTo>
                    <a:pt x="423" y="30"/>
                  </a:lnTo>
                  <a:lnTo>
                    <a:pt x="423" y="31"/>
                  </a:lnTo>
                  <a:lnTo>
                    <a:pt x="424" y="35"/>
                  </a:lnTo>
                  <a:lnTo>
                    <a:pt x="424" y="36"/>
                  </a:lnTo>
                  <a:lnTo>
                    <a:pt x="424" y="37"/>
                  </a:lnTo>
                  <a:lnTo>
                    <a:pt x="424" y="38"/>
                  </a:lnTo>
                  <a:lnTo>
                    <a:pt x="424" y="39"/>
                  </a:lnTo>
                  <a:lnTo>
                    <a:pt x="424" y="39"/>
                  </a:lnTo>
                  <a:lnTo>
                    <a:pt x="424" y="40"/>
                  </a:lnTo>
                  <a:lnTo>
                    <a:pt x="423" y="40"/>
                  </a:lnTo>
                  <a:lnTo>
                    <a:pt x="423" y="41"/>
                  </a:lnTo>
                  <a:lnTo>
                    <a:pt x="422" y="41"/>
                  </a:lnTo>
                  <a:lnTo>
                    <a:pt x="422" y="42"/>
                  </a:lnTo>
                  <a:lnTo>
                    <a:pt x="421" y="42"/>
                  </a:lnTo>
                  <a:lnTo>
                    <a:pt x="420" y="43"/>
                  </a:lnTo>
                  <a:lnTo>
                    <a:pt x="419" y="43"/>
                  </a:lnTo>
                  <a:lnTo>
                    <a:pt x="418" y="43"/>
                  </a:lnTo>
                  <a:lnTo>
                    <a:pt x="418" y="44"/>
                  </a:lnTo>
                  <a:lnTo>
                    <a:pt x="417" y="44"/>
                  </a:lnTo>
                  <a:lnTo>
                    <a:pt x="417" y="44"/>
                  </a:lnTo>
                  <a:lnTo>
                    <a:pt x="417" y="45"/>
                  </a:lnTo>
                  <a:lnTo>
                    <a:pt x="417" y="45"/>
                  </a:lnTo>
                  <a:lnTo>
                    <a:pt x="417" y="46"/>
                  </a:lnTo>
                  <a:lnTo>
                    <a:pt x="417" y="46"/>
                  </a:lnTo>
                  <a:lnTo>
                    <a:pt x="417" y="47"/>
                  </a:lnTo>
                  <a:lnTo>
                    <a:pt x="417" y="47"/>
                  </a:lnTo>
                  <a:lnTo>
                    <a:pt x="417" y="48"/>
                  </a:lnTo>
                  <a:lnTo>
                    <a:pt x="419" y="51"/>
                  </a:lnTo>
                  <a:lnTo>
                    <a:pt x="420" y="52"/>
                  </a:lnTo>
                  <a:lnTo>
                    <a:pt x="420" y="53"/>
                  </a:lnTo>
                  <a:lnTo>
                    <a:pt x="420" y="54"/>
                  </a:lnTo>
                  <a:lnTo>
                    <a:pt x="421" y="55"/>
                  </a:lnTo>
                  <a:lnTo>
                    <a:pt x="421" y="56"/>
                  </a:lnTo>
                  <a:lnTo>
                    <a:pt x="421" y="57"/>
                  </a:lnTo>
                  <a:lnTo>
                    <a:pt x="421" y="59"/>
                  </a:lnTo>
                  <a:lnTo>
                    <a:pt x="421" y="60"/>
                  </a:lnTo>
                  <a:lnTo>
                    <a:pt x="421" y="61"/>
                  </a:lnTo>
                  <a:lnTo>
                    <a:pt x="421" y="64"/>
                  </a:lnTo>
                  <a:lnTo>
                    <a:pt x="421" y="65"/>
                  </a:lnTo>
                  <a:lnTo>
                    <a:pt x="421" y="66"/>
                  </a:lnTo>
                  <a:lnTo>
                    <a:pt x="421" y="68"/>
                  </a:lnTo>
                  <a:lnTo>
                    <a:pt x="421" y="69"/>
                  </a:lnTo>
                  <a:lnTo>
                    <a:pt x="421" y="71"/>
                  </a:lnTo>
                  <a:lnTo>
                    <a:pt x="420" y="72"/>
                  </a:lnTo>
                  <a:lnTo>
                    <a:pt x="420" y="73"/>
                  </a:lnTo>
                  <a:lnTo>
                    <a:pt x="420" y="75"/>
                  </a:lnTo>
                  <a:lnTo>
                    <a:pt x="419" y="77"/>
                  </a:lnTo>
                  <a:lnTo>
                    <a:pt x="418" y="80"/>
                  </a:lnTo>
                  <a:lnTo>
                    <a:pt x="417" y="83"/>
                  </a:lnTo>
                  <a:lnTo>
                    <a:pt x="416" y="85"/>
                  </a:lnTo>
                  <a:lnTo>
                    <a:pt x="415" y="86"/>
                  </a:lnTo>
                  <a:lnTo>
                    <a:pt x="415" y="87"/>
                  </a:lnTo>
                  <a:lnTo>
                    <a:pt x="415" y="88"/>
                  </a:lnTo>
                  <a:lnTo>
                    <a:pt x="415" y="88"/>
                  </a:lnTo>
                  <a:lnTo>
                    <a:pt x="416" y="89"/>
                  </a:lnTo>
                  <a:lnTo>
                    <a:pt x="416" y="89"/>
                  </a:lnTo>
                  <a:lnTo>
                    <a:pt x="416" y="90"/>
                  </a:lnTo>
                  <a:lnTo>
                    <a:pt x="416" y="90"/>
                  </a:lnTo>
                  <a:lnTo>
                    <a:pt x="415" y="94"/>
                  </a:lnTo>
                  <a:lnTo>
                    <a:pt x="414" y="97"/>
                  </a:lnTo>
                  <a:lnTo>
                    <a:pt x="414" y="98"/>
                  </a:lnTo>
                  <a:lnTo>
                    <a:pt x="413" y="100"/>
                  </a:lnTo>
                  <a:lnTo>
                    <a:pt x="412" y="102"/>
                  </a:lnTo>
                  <a:lnTo>
                    <a:pt x="412" y="103"/>
                  </a:lnTo>
                  <a:lnTo>
                    <a:pt x="412" y="105"/>
                  </a:lnTo>
                  <a:lnTo>
                    <a:pt x="412" y="106"/>
                  </a:lnTo>
                  <a:lnTo>
                    <a:pt x="412" y="106"/>
                  </a:lnTo>
                  <a:lnTo>
                    <a:pt x="412" y="107"/>
                  </a:lnTo>
                  <a:lnTo>
                    <a:pt x="412" y="108"/>
                  </a:lnTo>
                  <a:lnTo>
                    <a:pt x="412" y="109"/>
                  </a:lnTo>
                  <a:lnTo>
                    <a:pt x="412" y="110"/>
                  </a:lnTo>
                  <a:lnTo>
                    <a:pt x="413" y="111"/>
                  </a:lnTo>
                  <a:lnTo>
                    <a:pt x="414" y="112"/>
                  </a:lnTo>
                  <a:lnTo>
                    <a:pt x="415" y="113"/>
                  </a:lnTo>
                  <a:lnTo>
                    <a:pt x="416" y="113"/>
                  </a:lnTo>
                  <a:lnTo>
                    <a:pt x="418" y="115"/>
                  </a:lnTo>
                  <a:lnTo>
                    <a:pt x="419" y="116"/>
                  </a:lnTo>
                  <a:lnTo>
                    <a:pt x="419" y="117"/>
                  </a:lnTo>
                  <a:lnTo>
                    <a:pt x="420" y="117"/>
                  </a:lnTo>
                  <a:lnTo>
                    <a:pt x="420" y="118"/>
                  </a:lnTo>
                  <a:lnTo>
                    <a:pt x="421" y="119"/>
                  </a:lnTo>
                  <a:lnTo>
                    <a:pt x="421" y="120"/>
                  </a:lnTo>
                  <a:lnTo>
                    <a:pt x="421" y="120"/>
                  </a:lnTo>
                  <a:lnTo>
                    <a:pt x="421" y="121"/>
                  </a:lnTo>
                  <a:lnTo>
                    <a:pt x="421" y="121"/>
                  </a:lnTo>
                  <a:lnTo>
                    <a:pt x="421" y="122"/>
                  </a:lnTo>
                  <a:lnTo>
                    <a:pt x="421" y="122"/>
                  </a:lnTo>
                  <a:lnTo>
                    <a:pt x="420" y="124"/>
                  </a:lnTo>
                  <a:lnTo>
                    <a:pt x="419" y="125"/>
                  </a:lnTo>
                  <a:lnTo>
                    <a:pt x="418" y="126"/>
                  </a:lnTo>
                  <a:lnTo>
                    <a:pt x="417" y="127"/>
                  </a:lnTo>
                  <a:lnTo>
                    <a:pt x="417" y="128"/>
                  </a:lnTo>
                  <a:lnTo>
                    <a:pt x="417" y="129"/>
                  </a:lnTo>
                  <a:lnTo>
                    <a:pt x="417" y="129"/>
                  </a:lnTo>
                  <a:lnTo>
                    <a:pt x="417" y="130"/>
                  </a:lnTo>
                  <a:lnTo>
                    <a:pt x="417" y="131"/>
                  </a:lnTo>
                  <a:lnTo>
                    <a:pt x="417" y="131"/>
                  </a:lnTo>
                  <a:lnTo>
                    <a:pt x="417" y="132"/>
                  </a:lnTo>
                  <a:lnTo>
                    <a:pt x="417" y="133"/>
                  </a:lnTo>
                  <a:lnTo>
                    <a:pt x="418" y="134"/>
                  </a:lnTo>
                  <a:lnTo>
                    <a:pt x="420" y="137"/>
                  </a:lnTo>
                  <a:lnTo>
                    <a:pt x="422" y="140"/>
                  </a:lnTo>
                  <a:lnTo>
                    <a:pt x="423" y="140"/>
                  </a:lnTo>
                  <a:lnTo>
                    <a:pt x="423" y="141"/>
                  </a:lnTo>
                  <a:lnTo>
                    <a:pt x="427" y="144"/>
                  </a:lnTo>
                  <a:lnTo>
                    <a:pt x="427" y="145"/>
                  </a:lnTo>
                  <a:lnTo>
                    <a:pt x="429" y="147"/>
                  </a:lnTo>
                  <a:lnTo>
                    <a:pt x="430" y="149"/>
                  </a:lnTo>
                  <a:lnTo>
                    <a:pt x="433" y="151"/>
                  </a:lnTo>
                  <a:lnTo>
                    <a:pt x="435" y="153"/>
                  </a:lnTo>
                  <a:lnTo>
                    <a:pt x="436" y="154"/>
                  </a:lnTo>
                  <a:lnTo>
                    <a:pt x="437" y="154"/>
                  </a:lnTo>
                  <a:lnTo>
                    <a:pt x="437" y="154"/>
                  </a:lnTo>
                  <a:lnTo>
                    <a:pt x="438" y="154"/>
                  </a:lnTo>
                  <a:lnTo>
                    <a:pt x="439" y="155"/>
                  </a:lnTo>
                  <a:lnTo>
                    <a:pt x="440" y="155"/>
                  </a:lnTo>
                  <a:lnTo>
                    <a:pt x="441" y="154"/>
                  </a:lnTo>
                  <a:lnTo>
                    <a:pt x="442" y="154"/>
                  </a:lnTo>
                  <a:lnTo>
                    <a:pt x="443" y="154"/>
                  </a:lnTo>
                  <a:lnTo>
                    <a:pt x="447" y="152"/>
                  </a:lnTo>
                  <a:lnTo>
                    <a:pt x="448" y="151"/>
                  </a:lnTo>
                  <a:lnTo>
                    <a:pt x="449" y="151"/>
                  </a:lnTo>
                  <a:lnTo>
                    <a:pt x="450" y="150"/>
                  </a:lnTo>
                  <a:lnTo>
                    <a:pt x="451" y="150"/>
                  </a:lnTo>
                  <a:lnTo>
                    <a:pt x="452" y="150"/>
                  </a:lnTo>
                  <a:lnTo>
                    <a:pt x="453" y="150"/>
                  </a:lnTo>
                  <a:lnTo>
                    <a:pt x="453" y="150"/>
                  </a:lnTo>
                  <a:lnTo>
                    <a:pt x="454" y="151"/>
                  </a:lnTo>
                  <a:lnTo>
                    <a:pt x="455" y="151"/>
                  </a:lnTo>
                  <a:lnTo>
                    <a:pt x="456" y="151"/>
                  </a:lnTo>
                  <a:lnTo>
                    <a:pt x="456" y="152"/>
                  </a:lnTo>
                  <a:lnTo>
                    <a:pt x="458" y="154"/>
                  </a:lnTo>
                  <a:lnTo>
                    <a:pt x="460" y="155"/>
                  </a:lnTo>
                  <a:lnTo>
                    <a:pt x="461" y="156"/>
                  </a:lnTo>
                  <a:lnTo>
                    <a:pt x="463" y="156"/>
                  </a:lnTo>
                  <a:lnTo>
                    <a:pt x="463" y="157"/>
                  </a:lnTo>
                  <a:lnTo>
                    <a:pt x="464" y="157"/>
                  </a:lnTo>
                  <a:lnTo>
                    <a:pt x="468" y="159"/>
                  </a:lnTo>
                  <a:lnTo>
                    <a:pt x="469" y="159"/>
                  </a:lnTo>
                  <a:lnTo>
                    <a:pt x="471" y="160"/>
                  </a:lnTo>
                  <a:lnTo>
                    <a:pt x="472" y="160"/>
                  </a:lnTo>
                  <a:lnTo>
                    <a:pt x="472" y="160"/>
                  </a:lnTo>
                  <a:lnTo>
                    <a:pt x="473" y="161"/>
                  </a:lnTo>
                  <a:lnTo>
                    <a:pt x="473" y="161"/>
                  </a:lnTo>
                  <a:lnTo>
                    <a:pt x="473" y="162"/>
                  </a:lnTo>
                  <a:lnTo>
                    <a:pt x="473" y="162"/>
                  </a:lnTo>
                  <a:lnTo>
                    <a:pt x="473" y="163"/>
                  </a:lnTo>
                  <a:lnTo>
                    <a:pt x="473" y="163"/>
                  </a:lnTo>
                  <a:lnTo>
                    <a:pt x="473" y="164"/>
                  </a:lnTo>
                  <a:lnTo>
                    <a:pt x="473" y="165"/>
                  </a:lnTo>
                  <a:lnTo>
                    <a:pt x="473" y="166"/>
                  </a:lnTo>
                  <a:lnTo>
                    <a:pt x="473" y="166"/>
                  </a:lnTo>
                  <a:lnTo>
                    <a:pt x="473" y="167"/>
                  </a:lnTo>
                  <a:lnTo>
                    <a:pt x="472" y="167"/>
                  </a:lnTo>
                  <a:lnTo>
                    <a:pt x="472" y="167"/>
                  </a:lnTo>
                  <a:lnTo>
                    <a:pt x="471" y="168"/>
                  </a:lnTo>
                  <a:lnTo>
                    <a:pt x="470" y="168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70"/>
                  </a:lnTo>
                  <a:lnTo>
                    <a:pt x="471" y="170"/>
                  </a:lnTo>
                  <a:lnTo>
                    <a:pt x="472" y="170"/>
                  </a:lnTo>
                  <a:lnTo>
                    <a:pt x="473" y="171"/>
                  </a:lnTo>
                  <a:lnTo>
                    <a:pt x="473" y="171"/>
                  </a:lnTo>
                  <a:lnTo>
                    <a:pt x="474" y="171"/>
                  </a:lnTo>
                  <a:lnTo>
                    <a:pt x="477" y="171"/>
                  </a:lnTo>
                  <a:lnTo>
                    <a:pt x="478" y="171"/>
                  </a:lnTo>
                  <a:lnTo>
                    <a:pt x="478" y="172"/>
                  </a:lnTo>
                  <a:lnTo>
                    <a:pt x="479" y="172"/>
                  </a:lnTo>
                  <a:lnTo>
                    <a:pt x="480" y="172"/>
                  </a:lnTo>
                  <a:lnTo>
                    <a:pt x="480" y="172"/>
                  </a:lnTo>
                  <a:lnTo>
                    <a:pt x="481" y="173"/>
                  </a:lnTo>
                  <a:lnTo>
                    <a:pt x="482" y="173"/>
                  </a:lnTo>
                  <a:lnTo>
                    <a:pt x="483" y="175"/>
                  </a:lnTo>
                  <a:lnTo>
                    <a:pt x="484" y="176"/>
                  </a:lnTo>
                  <a:lnTo>
                    <a:pt x="486" y="178"/>
                  </a:lnTo>
                  <a:lnTo>
                    <a:pt x="487" y="179"/>
                  </a:lnTo>
                  <a:lnTo>
                    <a:pt x="487" y="180"/>
                  </a:lnTo>
                  <a:lnTo>
                    <a:pt x="487" y="180"/>
                  </a:lnTo>
                  <a:lnTo>
                    <a:pt x="488" y="180"/>
                  </a:lnTo>
                  <a:lnTo>
                    <a:pt x="489" y="181"/>
                  </a:lnTo>
                  <a:lnTo>
                    <a:pt x="490" y="181"/>
                  </a:lnTo>
                  <a:lnTo>
                    <a:pt x="491" y="181"/>
                  </a:lnTo>
                  <a:lnTo>
                    <a:pt x="492" y="182"/>
                  </a:lnTo>
                  <a:lnTo>
                    <a:pt x="493" y="182"/>
                  </a:lnTo>
                  <a:lnTo>
                    <a:pt x="494" y="181"/>
                  </a:lnTo>
                  <a:lnTo>
                    <a:pt x="495" y="181"/>
                  </a:lnTo>
                  <a:lnTo>
                    <a:pt x="496" y="181"/>
                  </a:lnTo>
                  <a:lnTo>
                    <a:pt x="497" y="180"/>
                  </a:lnTo>
                  <a:lnTo>
                    <a:pt x="500" y="179"/>
                  </a:lnTo>
                  <a:lnTo>
                    <a:pt x="501" y="179"/>
                  </a:lnTo>
                  <a:lnTo>
                    <a:pt x="502" y="178"/>
                  </a:lnTo>
                  <a:lnTo>
                    <a:pt x="502" y="178"/>
                  </a:lnTo>
                  <a:lnTo>
                    <a:pt x="503" y="178"/>
                  </a:lnTo>
                  <a:lnTo>
                    <a:pt x="503" y="178"/>
                  </a:lnTo>
                  <a:lnTo>
                    <a:pt x="504" y="178"/>
                  </a:lnTo>
                  <a:lnTo>
                    <a:pt x="505" y="178"/>
                  </a:lnTo>
                  <a:lnTo>
                    <a:pt x="510" y="180"/>
                  </a:lnTo>
                  <a:lnTo>
                    <a:pt x="513" y="181"/>
                  </a:lnTo>
                  <a:lnTo>
                    <a:pt x="516" y="182"/>
                  </a:lnTo>
                  <a:lnTo>
                    <a:pt x="517" y="182"/>
                  </a:lnTo>
                  <a:lnTo>
                    <a:pt x="518" y="183"/>
                  </a:lnTo>
                  <a:lnTo>
                    <a:pt x="519" y="184"/>
                  </a:lnTo>
                  <a:lnTo>
                    <a:pt x="519" y="184"/>
                  </a:lnTo>
                  <a:lnTo>
                    <a:pt x="521" y="185"/>
                  </a:lnTo>
                  <a:lnTo>
                    <a:pt x="521" y="186"/>
                  </a:lnTo>
                  <a:lnTo>
                    <a:pt x="521" y="186"/>
                  </a:lnTo>
                  <a:lnTo>
                    <a:pt x="522" y="186"/>
                  </a:lnTo>
                  <a:lnTo>
                    <a:pt x="523" y="186"/>
                  </a:lnTo>
                  <a:lnTo>
                    <a:pt x="523" y="186"/>
                  </a:lnTo>
                  <a:lnTo>
                    <a:pt x="527" y="186"/>
                  </a:lnTo>
                  <a:lnTo>
                    <a:pt x="528" y="185"/>
                  </a:lnTo>
                  <a:lnTo>
                    <a:pt x="531" y="185"/>
                  </a:lnTo>
                  <a:lnTo>
                    <a:pt x="532" y="185"/>
                  </a:lnTo>
                  <a:lnTo>
                    <a:pt x="533" y="185"/>
                  </a:lnTo>
                  <a:lnTo>
                    <a:pt x="536" y="184"/>
                  </a:lnTo>
                  <a:lnTo>
                    <a:pt x="539" y="184"/>
                  </a:lnTo>
                  <a:lnTo>
                    <a:pt x="540" y="184"/>
                  </a:lnTo>
                  <a:lnTo>
                    <a:pt x="541" y="184"/>
                  </a:lnTo>
                  <a:lnTo>
                    <a:pt x="542" y="184"/>
                  </a:lnTo>
                  <a:lnTo>
                    <a:pt x="543" y="184"/>
                  </a:lnTo>
                  <a:lnTo>
                    <a:pt x="544" y="184"/>
                  </a:lnTo>
                  <a:lnTo>
                    <a:pt x="544" y="185"/>
                  </a:lnTo>
                  <a:lnTo>
                    <a:pt x="545" y="185"/>
                  </a:lnTo>
                  <a:lnTo>
                    <a:pt x="545" y="185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7" y="187"/>
                  </a:lnTo>
                  <a:lnTo>
                    <a:pt x="547" y="188"/>
                  </a:lnTo>
                  <a:lnTo>
                    <a:pt x="548" y="189"/>
                  </a:lnTo>
                  <a:lnTo>
                    <a:pt x="548" y="190"/>
                  </a:lnTo>
                  <a:lnTo>
                    <a:pt x="548" y="192"/>
                  </a:lnTo>
                  <a:lnTo>
                    <a:pt x="548" y="193"/>
                  </a:lnTo>
                  <a:lnTo>
                    <a:pt x="549" y="194"/>
                  </a:lnTo>
                  <a:lnTo>
                    <a:pt x="549" y="195"/>
                  </a:lnTo>
                  <a:lnTo>
                    <a:pt x="549" y="196"/>
                  </a:lnTo>
                  <a:lnTo>
                    <a:pt x="548" y="198"/>
                  </a:lnTo>
                  <a:lnTo>
                    <a:pt x="548" y="201"/>
                  </a:lnTo>
                  <a:lnTo>
                    <a:pt x="548" y="202"/>
                  </a:lnTo>
                  <a:lnTo>
                    <a:pt x="548" y="204"/>
                  </a:lnTo>
                  <a:lnTo>
                    <a:pt x="548" y="205"/>
                  </a:lnTo>
                  <a:lnTo>
                    <a:pt x="548" y="206"/>
                  </a:lnTo>
                  <a:lnTo>
                    <a:pt x="548" y="208"/>
                  </a:lnTo>
                  <a:lnTo>
                    <a:pt x="549" y="209"/>
                  </a:lnTo>
                  <a:lnTo>
                    <a:pt x="550" y="210"/>
                  </a:lnTo>
                  <a:lnTo>
                    <a:pt x="550" y="211"/>
                  </a:lnTo>
                  <a:lnTo>
                    <a:pt x="551" y="212"/>
                  </a:lnTo>
                  <a:lnTo>
                    <a:pt x="551" y="212"/>
                  </a:lnTo>
                  <a:lnTo>
                    <a:pt x="553" y="214"/>
                  </a:lnTo>
                  <a:lnTo>
                    <a:pt x="554" y="215"/>
                  </a:lnTo>
                  <a:lnTo>
                    <a:pt x="557" y="217"/>
                  </a:lnTo>
                  <a:lnTo>
                    <a:pt x="560" y="219"/>
                  </a:lnTo>
                  <a:lnTo>
                    <a:pt x="560" y="220"/>
                  </a:lnTo>
                  <a:lnTo>
                    <a:pt x="562" y="221"/>
                  </a:lnTo>
                  <a:lnTo>
                    <a:pt x="564" y="222"/>
                  </a:lnTo>
                  <a:lnTo>
                    <a:pt x="568" y="225"/>
                  </a:lnTo>
                  <a:lnTo>
                    <a:pt x="571" y="226"/>
                  </a:lnTo>
                  <a:lnTo>
                    <a:pt x="571" y="227"/>
                  </a:lnTo>
                  <a:lnTo>
                    <a:pt x="572" y="227"/>
                  </a:lnTo>
                  <a:lnTo>
                    <a:pt x="572" y="227"/>
                  </a:lnTo>
                  <a:lnTo>
                    <a:pt x="573" y="227"/>
                  </a:lnTo>
                  <a:lnTo>
                    <a:pt x="573" y="227"/>
                  </a:lnTo>
                  <a:lnTo>
                    <a:pt x="573" y="226"/>
                  </a:lnTo>
                  <a:lnTo>
                    <a:pt x="575" y="226"/>
                  </a:lnTo>
                  <a:lnTo>
                    <a:pt x="576" y="226"/>
                  </a:lnTo>
                  <a:lnTo>
                    <a:pt x="577" y="225"/>
                  </a:lnTo>
                  <a:lnTo>
                    <a:pt x="578" y="225"/>
                  </a:lnTo>
                  <a:lnTo>
                    <a:pt x="578" y="225"/>
                  </a:lnTo>
                  <a:lnTo>
                    <a:pt x="579" y="226"/>
                  </a:lnTo>
                  <a:lnTo>
                    <a:pt x="580" y="226"/>
                  </a:lnTo>
                  <a:lnTo>
                    <a:pt x="583" y="227"/>
                  </a:lnTo>
                  <a:lnTo>
                    <a:pt x="584" y="227"/>
                  </a:lnTo>
                  <a:lnTo>
                    <a:pt x="585" y="227"/>
                  </a:lnTo>
                  <a:lnTo>
                    <a:pt x="587" y="227"/>
                  </a:lnTo>
                  <a:lnTo>
                    <a:pt x="589" y="227"/>
                  </a:lnTo>
                  <a:lnTo>
                    <a:pt x="591" y="227"/>
                  </a:lnTo>
                  <a:lnTo>
                    <a:pt x="593" y="227"/>
                  </a:lnTo>
                  <a:lnTo>
                    <a:pt x="594" y="227"/>
                  </a:lnTo>
                  <a:lnTo>
                    <a:pt x="595" y="227"/>
                  </a:lnTo>
                  <a:lnTo>
                    <a:pt x="596" y="226"/>
                  </a:lnTo>
                  <a:lnTo>
                    <a:pt x="599" y="225"/>
                  </a:lnTo>
                  <a:lnTo>
                    <a:pt x="600" y="225"/>
                  </a:lnTo>
                  <a:lnTo>
                    <a:pt x="602" y="225"/>
                  </a:lnTo>
                  <a:lnTo>
                    <a:pt x="604" y="224"/>
                  </a:lnTo>
                  <a:lnTo>
                    <a:pt x="605" y="224"/>
                  </a:lnTo>
                  <a:lnTo>
                    <a:pt x="605" y="224"/>
                  </a:lnTo>
                  <a:lnTo>
                    <a:pt x="607" y="223"/>
                  </a:lnTo>
                  <a:lnTo>
                    <a:pt x="607" y="223"/>
                  </a:lnTo>
                  <a:lnTo>
                    <a:pt x="608" y="223"/>
                  </a:lnTo>
                  <a:lnTo>
                    <a:pt x="608" y="223"/>
                  </a:lnTo>
                  <a:lnTo>
                    <a:pt x="609" y="223"/>
                  </a:lnTo>
                  <a:lnTo>
                    <a:pt x="609" y="223"/>
                  </a:lnTo>
                  <a:lnTo>
                    <a:pt x="610" y="223"/>
                  </a:lnTo>
                  <a:lnTo>
                    <a:pt x="610" y="223"/>
                  </a:lnTo>
                  <a:lnTo>
                    <a:pt x="611" y="224"/>
                  </a:lnTo>
                  <a:lnTo>
                    <a:pt x="612" y="224"/>
                  </a:lnTo>
                  <a:lnTo>
                    <a:pt x="613" y="225"/>
                  </a:lnTo>
                  <a:lnTo>
                    <a:pt x="613" y="225"/>
                  </a:lnTo>
                  <a:lnTo>
                    <a:pt x="614" y="225"/>
                  </a:lnTo>
                  <a:lnTo>
                    <a:pt x="614" y="226"/>
                  </a:lnTo>
                  <a:lnTo>
                    <a:pt x="614" y="227"/>
                  </a:lnTo>
                  <a:lnTo>
                    <a:pt x="614" y="227"/>
                  </a:lnTo>
                  <a:lnTo>
                    <a:pt x="615" y="228"/>
                  </a:lnTo>
                  <a:lnTo>
                    <a:pt x="614" y="228"/>
                  </a:lnTo>
                  <a:lnTo>
                    <a:pt x="614" y="229"/>
                  </a:lnTo>
                  <a:lnTo>
                    <a:pt x="614" y="230"/>
                  </a:lnTo>
                  <a:lnTo>
                    <a:pt x="614" y="230"/>
                  </a:lnTo>
                  <a:lnTo>
                    <a:pt x="614" y="231"/>
                  </a:lnTo>
                  <a:lnTo>
                    <a:pt x="614" y="231"/>
                  </a:lnTo>
                  <a:lnTo>
                    <a:pt x="615" y="232"/>
                  </a:lnTo>
                  <a:lnTo>
                    <a:pt x="615" y="232"/>
                  </a:lnTo>
                  <a:lnTo>
                    <a:pt x="616" y="233"/>
                  </a:lnTo>
                  <a:lnTo>
                    <a:pt x="616" y="234"/>
                  </a:lnTo>
                  <a:lnTo>
                    <a:pt x="618" y="234"/>
                  </a:lnTo>
                  <a:lnTo>
                    <a:pt x="619" y="236"/>
                  </a:lnTo>
                  <a:lnTo>
                    <a:pt x="620" y="236"/>
                  </a:lnTo>
                  <a:lnTo>
                    <a:pt x="621" y="237"/>
                  </a:lnTo>
                  <a:lnTo>
                    <a:pt x="621" y="237"/>
                  </a:lnTo>
                  <a:lnTo>
                    <a:pt x="623" y="240"/>
                  </a:lnTo>
                  <a:lnTo>
                    <a:pt x="624" y="241"/>
                  </a:lnTo>
                  <a:lnTo>
                    <a:pt x="624" y="242"/>
                  </a:lnTo>
                  <a:lnTo>
                    <a:pt x="624" y="243"/>
                  </a:lnTo>
                  <a:lnTo>
                    <a:pt x="624" y="243"/>
                  </a:lnTo>
                  <a:lnTo>
                    <a:pt x="624" y="244"/>
                  </a:lnTo>
                  <a:lnTo>
                    <a:pt x="624" y="245"/>
                  </a:lnTo>
                  <a:lnTo>
                    <a:pt x="624" y="246"/>
                  </a:lnTo>
                  <a:lnTo>
                    <a:pt x="623" y="247"/>
                  </a:lnTo>
                  <a:lnTo>
                    <a:pt x="623" y="247"/>
                  </a:lnTo>
                  <a:lnTo>
                    <a:pt x="623" y="248"/>
                  </a:lnTo>
                  <a:lnTo>
                    <a:pt x="622" y="248"/>
                  </a:lnTo>
                  <a:lnTo>
                    <a:pt x="622" y="248"/>
                  </a:lnTo>
                  <a:lnTo>
                    <a:pt x="621" y="249"/>
                  </a:lnTo>
                  <a:lnTo>
                    <a:pt x="620" y="249"/>
                  </a:lnTo>
                  <a:lnTo>
                    <a:pt x="618" y="250"/>
                  </a:lnTo>
                  <a:lnTo>
                    <a:pt x="615" y="250"/>
                  </a:lnTo>
                  <a:lnTo>
                    <a:pt x="614" y="250"/>
                  </a:lnTo>
                  <a:lnTo>
                    <a:pt x="614" y="251"/>
                  </a:lnTo>
                  <a:lnTo>
                    <a:pt x="614" y="251"/>
                  </a:lnTo>
                  <a:lnTo>
                    <a:pt x="613" y="251"/>
                  </a:lnTo>
                  <a:lnTo>
                    <a:pt x="613" y="252"/>
                  </a:lnTo>
                  <a:lnTo>
                    <a:pt x="612" y="253"/>
                  </a:lnTo>
                  <a:lnTo>
                    <a:pt x="611" y="254"/>
                  </a:lnTo>
                  <a:lnTo>
                    <a:pt x="610" y="256"/>
                  </a:lnTo>
                  <a:lnTo>
                    <a:pt x="610" y="257"/>
                  </a:lnTo>
                  <a:lnTo>
                    <a:pt x="609" y="258"/>
                  </a:lnTo>
                  <a:lnTo>
                    <a:pt x="609" y="259"/>
                  </a:lnTo>
                  <a:lnTo>
                    <a:pt x="609" y="261"/>
                  </a:lnTo>
                  <a:lnTo>
                    <a:pt x="608" y="262"/>
                  </a:lnTo>
                  <a:lnTo>
                    <a:pt x="608" y="262"/>
                  </a:lnTo>
                  <a:lnTo>
                    <a:pt x="608" y="263"/>
                  </a:lnTo>
                  <a:lnTo>
                    <a:pt x="608" y="264"/>
                  </a:lnTo>
                  <a:lnTo>
                    <a:pt x="606" y="266"/>
                  </a:lnTo>
                  <a:lnTo>
                    <a:pt x="605" y="267"/>
                  </a:lnTo>
                  <a:lnTo>
                    <a:pt x="605" y="268"/>
                  </a:lnTo>
                  <a:lnTo>
                    <a:pt x="604" y="270"/>
                  </a:lnTo>
                  <a:lnTo>
                    <a:pt x="604" y="271"/>
                  </a:lnTo>
                  <a:lnTo>
                    <a:pt x="603" y="272"/>
                  </a:lnTo>
                  <a:lnTo>
                    <a:pt x="603" y="273"/>
                  </a:lnTo>
                  <a:lnTo>
                    <a:pt x="602" y="273"/>
                  </a:lnTo>
                  <a:lnTo>
                    <a:pt x="600" y="276"/>
                  </a:lnTo>
                  <a:lnTo>
                    <a:pt x="599" y="277"/>
                  </a:lnTo>
                  <a:lnTo>
                    <a:pt x="598" y="278"/>
                  </a:lnTo>
                  <a:lnTo>
                    <a:pt x="597" y="279"/>
                  </a:lnTo>
                  <a:lnTo>
                    <a:pt x="596" y="281"/>
                  </a:lnTo>
                  <a:lnTo>
                    <a:pt x="595" y="282"/>
                  </a:lnTo>
                  <a:lnTo>
                    <a:pt x="594" y="283"/>
                  </a:lnTo>
                  <a:lnTo>
                    <a:pt x="594" y="283"/>
                  </a:lnTo>
                  <a:lnTo>
                    <a:pt x="594" y="284"/>
                  </a:lnTo>
                  <a:lnTo>
                    <a:pt x="594" y="284"/>
                  </a:lnTo>
                  <a:lnTo>
                    <a:pt x="594" y="285"/>
                  </a:lnTo>
                  <a:lnTo>
                    <a:pt x="594" y="285"/>
                  </a:lnTo>
                  <a:lnTo>
                    <a:pt x="594" y="286"/>
                  </a:lnTo>
                  <a:lnTo>
                    <a:pt x="595" y="286"/>
                  </a:lnTo>
                  <a:lnTo>
                    <a:pt x="595" y="286"/>
                  </a:lnTo>
                  <a:lnTo>
                    <a:pt x="595" y="286"/>
                  </a:lnTo>
                  <a:lnTo>
                    <a:pt x="596" y="286"/>
                  </a:lnTo>
                  <a:lnTo>
                    <a:pt x="598" y="287"/>
                  </a:lnTo>
                  <a:lnTo>
                    <a:pt x="599" y="287"/>
                  </a:lnTo>
                  <a:lnTo>
                    <a:pt x="599" y="287"/>
                  </a:lnTo>
                  <a:lnTo>
                    <a:pt x="600" y="287"/>
                  </a:lnTo>
                  <a:lnTo>
                    <a:pt x="601" y="287"/>
                  </a:lnTo>
                  <a:lnTo>
                    <a:pt x="601" y="287"/>
                  </a:lnTo>
                  <a:lnTo>
                    <a:pt x="602" y="288"/>
                  </a:lnTo>
                  <a:lnTo>
                    <a:pt x="602" y="289"/>
                  </a:lnTo>
                  <a:lnTo>
                    <a:pt x="603" y="289"/>
                  </a:lnTo>
                  <a:lnTo>
                    <a:pt x="604" y="292"/>
                  </a:lnTo>
                  <a:lnTo>
                    <a:pt x="604" y="292"/>
                  </a:lnTo>
                  <a:lnTo>
                    <a:pt x="605" y="293"/>
                  </a:lnTo>
                  <a:lnTo>
                    <a:pt x="606" y="294"/>
                  </a:lnTo>
                  <a:lnTo>
                    <a:pt x="607" y="295"/>
                  </a:lnTo>
                  <a:lnTo>
                    <a:pt x="608" y="295"/>
                  </a:lnTo>
                  <a:lnTo>
                    <a:pt x="609" y="296"/>
                  </a:lnTo>
                  <a:lnTo>
                    <a:pt x="611" y="297"/>
                  </a:lnTo>
                  <a:lnTo>
                    <a:pt x="613" y="297"/>
                  </a:lnTo>
                  <a:lnTo>
                    <a:pt x="614" y="298"/>
                  </a:lnTo>
                  <a:lnTo>
                    <a:pt x="615" y="299"/>
                  </a:lnTo>
                  <a:lnTo>
                    <a:pt x="617" y="300"/>
                  </a:lnTo>
                  <a:lnTo>
                    <a:pt x="618" y="301"/>
                  </a:lnTo>
                  <a:lnTo>
                    <a:pt x="618" y="301"/>
                  </a:lnTo>
                  <a:lnTo>
                    <a:pt x="619" y="302"/>
                  </a:lnTo>
                  <a:lnTo>
                    <a:pt x="619" y="303"/>
                  </a:lnTo>
                  <a:lnTo>
                    <a:pt x="620" y="303"/>
                  </a:lnTo>
                  <a:lnTo>
                    <a:pt x="620" y="304"/>
                  </a:lnTo>
                  <a:lnTo>
                    <a:pt x="621" y="306"/>
                  </a:lnTo>
                  <a:lnTo>
                    <a:pt x="622" y="307"/>
                  </a:lnTo>
                  <a:lnTo>
                    <a:pt x="622" y="308"/>
                  </a:lnTo>
                  <a:lnTo>
                    <a:pt x="622" y="308"/>
                  </a:lnTo>
                  <a:lnTo>
                    <a:pt x="622" y="309"/>
                  </a:lnTo>
                  <a:lnTo>
                    <a:pt x="620" y="310"/>
                  </a:lnTo>
                  <a:lnTo>
                    <a:pt x="620" y="311"/>
                  </a:lnTo>
                  <a:lnTo>
                    <a:pt x="620" y="311"/>
                  </a:lnTo>
                  <a:lnTo>
                    <a:pt x="619" y="311"/>
                  </a:lnTo>
                  <a:lnTo>
                    <a:pt x="619" y="311"/>
                  </a:lnTo>
                  <a:lnTo>
                    <a:pt x="618" y="311"/>
                  </a:lnTo>
                  <a:lnTo>
                    <a:pt x="617" y="311"/>
                  </a:lnTo>
                  <a:lnTo>
                    <a:pt x="617" y="312"/>
                  </a:lnTo>
                  <a:lnTo>
                    <a:pt x="617" y="312"/>
                  </a:lnTo>
                  <a:lnTo>
                    <a:pt x="617" y="313"/>
                  </a:lnTo>
                  <a:lnTo>
                    <a:pt x="617" y="313"/>
                  </a:lnTo>
                  <a:lnTo>
                    <a:pt x="617" y="314"/>
                  </a:lnTo>
                  <a:lnTo>
                    <a:pt x="616" y="315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7"/>
                  </a:lnTo>
                  <a:lnTo>
                    <a:pt x="616" y="317"/>
                  </a:lnTo>
                  <a:lnTo>
                    <a:pt x="616" y="317"/>
                  </a:lnTo>
                  <a:lnTo>
                    <a:pt x="615" y="317"/>
                  </a:lnTo>
                  <a:lnTo>
                    <a:pt x="615" y="318"/>
                  </a:lnTo>
                  <a:lnTo>
                    <a:pt x="614" y="319"/>
                  </a:lnTo>
                  <a:lnTo>
                    <a:pt x="613" y="319"/>
                  </a:lnTo>
                  <a:lnTo>
                    <a:pt x="613" y="319"/>
                  </a:lnTo>
                  <a:lnTo>
                    <a:pt x="612" y="320"/>
                  </a:lnTo>
                  <a:lnTo>
                    <a:pt x="612" y="320"/>
                  </a:lnTo>
                  <a:lnTo>
                    <a:pt x="611" y="320"/>
                  </a:lnTo>
                  <a:lnTo>
                    <a:pt x="611" y="321"/>
                  </a:lnTo>
                  <a:lnTo>
                    <a:pt x="610" y="324"/>
                  </a:lnTo>
                  <a:lnTo>
                    <a:pt x="609" y="326"/>
                  </a:lnTo>
                  <a:lnTo>
                    <a:pt x="609" y="326"/>
                  </a:lnTo>
                  <a:lnTo>
                    <a:pt x="608" y="326"/>
                  </a:lnTo>
                  <a:lnTo>
                    <a:pt x="608" y="326"/>
                  </a:lnTo>
                  <a:lnTo>
                    <a:pt x="607" y="326"/>
                  </a:lnTo>
                  <a:lnTo>
                    <a:pt x="606" y="325"/>
                  </a:lnTo>
                  <a:lnTo>
                    <a:pt x="604" y="324"/>
                  </a:lnTo>
                  <a:lnTo>
                    <a:pt x="603" y="323"/>
                  </a:lnTo>
                  <a:lnTo>
                    <a:pt x="601" y="321"/>
                  </a:lnTo>
                  <a:lnTo>
                    <a:pt x="600" y="320"/>
                  </a:lnTo>
                  <a:lnTo>
                    <a:pt x="599" y="319"/>
                  </a:lnTo>
                  <a:lnTo>
                    <a:pt x="596" y="315"/>
                  </a:lnTo>
                  <a:lnTo>
                    <a:pt x="595" y="314"/>
                  </a:lnTo>
                  <a:lnTo>
                    <a:pt x="594" y="313"/>
                  </a:lnTo>
                  <a:lnTo>
                    <a:pt x="593" y="312"/>
                  </a:lnTo>
                  <a:lnTo>
                    <a:pt x="592" y="311"/>
                  </a:lnTo>
                  <a:lnTo>
                    <a:pt x="590" y="310"/>
                  </a:lnTo>
                  <a:lnTo>
                    <a:pt x="589" y="310"/>
                  </a:lnTo>
                  <a:lnTo>
                    <a:pt x="588" y="309"/>
                  </a:lnTo>
                  <a:lnTo>
                    <a:pt x="587" y="309"/>
                  </a:lnTo>
                  <a:lnTo>
                    <a:pt x="586" y="308"/>
                  </a:lnTo>
                  <a:lnTo>
                    <a:pt x="585" y="308"/>
                  </a:lnTo>
                  <a:lnTo>
                    <a:pt x="583" y="308"/>
                  </a:lnTo>
                  <a:lnTo>
                    <a:pt x="582" y="307"/>
                  </a:lnTo>
                  <a:lnTo>
                    <a:pt x="577" y="307"/>
                  </a:lnTo>
                  <a:lnTo>
                    <a:pt x="576" y="306"/>
                  </a:lnTo>
                  <a:lnTo>
                    <a:pt x="575" y="306"/>
                  </a:lnTo>
                  <a:lnTo>
                    <a:pt x="574" y="305"/>
                  </a:lnTo>
                  <a:lnTo>
                    <a:pt x="573" y="305"/>
                  </a:lnTo>
                  <a:lnTo>
                    <a:pt x="572" y="304"/>
                  </a:lnTo>
                  <a:lnTo>
                    <a:pt x="571" y="304"/>
                  </a:lnTo>
                  <a:lnTo>
                    <a:pt x="569" y="302"/>
                  </a:lnTo>
                  <a:lnTo>
                    <a:pt x="564" y="300"/>
                  </a:lnTo>
                  <a:lnTo>
                    <a:pt x="560" y="297"/>
                  </a:lnTo>
                  <a:lnTo>
                    <a:pt x="559" y="296"/>
                  </a:lnTo>
                  <a:lnTo>
                    <a:pt x="558" y="295"/>
                  </a:lnTo>
                  <a:lnTo>
                    <a:pt x="556" y="294"/>
                  </a:lnTo>
                  <a:lnTo>
                    <a:pt x="554" y="293"/>
                  </a:lnTo>
                  <a:lnTo>
                    <a:pt x="552" y="293"/>
                  </a:lnTo>
                  <a:lnTo>
                    <a:pt x="551" y="293"/>
                  </a:lnTo>
                  <a:lnTo>
                    <a:pt x="550" y="292"/>
                  </a:lnTo>
                  <a:lnTo>
                    <a:pt x="549" y="292"/>
                  </a:lnTo>
                  <a:lnTo>
                    <a:pt x="547" y="292"/>
                  </a:lnTo>
                  <a:lnTo>
                    <a:pt x="545" y="292"/>
                  </a:lnTo>
                  <a:lnTo>
                    <a:pt x="542" y="293"/>
                  </a:lnTo>
                  <a:lnTo>
                    <a:pt x="541" y="293"/>
                  </a:lnTo>
                  <a:lnTo>
                    <a:pt x="540" y="293"/>
                  </a:lnTo>
                  <a:lnTo>
                    <a:pt x="539" y="292"/>
                  </a:lnTo>
                  <a:lnTo>
                    <a:pt x="537" y="292"/>
                  </a:lnTo>
                  <a:lnTo>
                    <a:pt x="536" y="292"/>
                  </a:lnTo>
                  <a:lnTo>
                    <a:pt x="536" y="292"/>
                  </a:lnTo>
                  <a:lnTo>
                    <a:pt x="534" y="291"/>
                  </a:lnTo>
                  <a:lnTo>
                    <a:pt x="532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0" y="290"/>
                  </a:lnTo>
                  <a:lnTo>
                    <a:pt x="530" y="290"/>
                  </a:lnTo>
                  <a:lnTo>
                    <a:pt x="529" y="290"/>
                  </a:lnTo>
                  <a:lnTo>
                    <a:pt x="529" y="291"/>
                  </a:lnTo>
                  <a:lnTo>
                    <a:pt x="529" y="291"/>
                  </a:lnTo>
                  <a:lnTo>
                    <a:pt x="528" y="292"/>
                  </a:lnTo>
                  <a:lnTo>
                    <a:pt x="528" y="295"/>
                  </a:lnTo>
                  <a:lnTo>
                    <a:pt x="527" y="296"/>
                  </a:lnTo>
                  <a:lnTo>
                    <a:pt x="526" y="298"/>
                  </a:lnTo>
                  <a:lnTo>
                    <a:pt x="525" y="300"/>
                  </a:lnTo>
                  <a:lnTo>
                    <a:pt x="524" y="301"/>
                  </a:lnTo>
                  <a:lnTo>
                    <a:pt x="524" y="302"/>
                  </a:lnTo>
                  <a:lnTo>
                    <a:pt x="523" y="302"/>
                  </a:lnTo>
                  <a:lnTo>
                    <a:pt x="522" y="303"/>
                  </a:lnTo>
                  <a:lnTo>
                    <a:pt x="522" y="303"/>
                  </a:lnTo>
                  <a:lnTo>
                    <a:pt x="521" y="303"/>
                  </a:lnTo>
                  <a:lnTo>
                    <a:pt x="521" y="304"/>
                  </a:lnTo>
                  <a:lnTo>
                    <a:pt x="519" y="304"/>
                  </a:lnTo>
                  <a:lnTo>
                    <a:pt x="517" y="304"/>
                  </a:lnTo>
                  <a:lnTo>
                    <a:pt x="514" y="304"/>
                  </a:lnTo>
                  <a:lnTo>
                    <a:pt x="513" y="304"/>
                  </a:lnTo>
                  <a:lnTo>
                    <a:pt x="511" y="305"/>
                  </a:lnTo>
                  <a:lnTo>
                    <a:pt x="510" y="305"/>
                  </a:lnTo>
                  <a:lnTo>
                    <a:pt x="508" y="306"/>
                  </a:lnTo>
                  <a:lnTo>
                    <a:pt x="506" y="307"/>
                  </a:lnTo>
                  <a:lnTo>
                    <a:pt x="503" y="308"/>
                  </a:lnTo>
                  <a:lnTo>
                    <a:pt x="502" y="309"/>
                  </a:lnTo>
                  <a:lnTo>
                    <a:pt x="501" y="309"/>
                  </a:lnTo>
                  <a:lnTo>
                    <a:pt x="500" y="309"/>
                  </a:lnTo>
                  <a:lnTo>
                    <a:pt x="499" y="309"/>
                  </a:lnTo>
                  <a:lnTo>
                    <a:pt x="497" y="309"/>
                  </a:lnTo>
                  <a:lnTo>
                    <a:pt x="496" y="309"/>
                  </a:lnTo>
                  <a:lnTo>
                    <a:pt x="496" y="309"/>
                  </a:lnTo>
                  <a:lnTo>
                    <a:pt x="495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4" y="308"/>
                  </a:lnTo>
                  <a:lnTo>
                    <a:pt x="493" y="308"/>
                  </a:lnTo>
                  <a:lnTo>
                    <a:pt x="493" y="308"/>
                  </a:lnTo>
                  <a:lnTo>
                    <a:pt x="493" y="307"/>
                  </a:lnTo>
                  <a:lnTo>
                    <a:pt x="493" y="307"/>
                  </a:lnTo>
                  <a:lnTo>
                    <a:pt x="493" y="306"/>
                  </a:lnTo>
                  <a:lnTo>
                    <a:pt x="493" y="302"/>
                  </a:lnTo>
                  <a:lnTo>
                    <a:pt x="493" y="302"/>
                  </a:lnTo>
                  <a:lnTo>
                    <a:pt x="493" y="301"/>
                  </a:lnTo>
                  <a:lnTo>
                    <a:pt x="493" y="300"/>
                  </a:lnTo>
                  <a:lnTo>
                    <a:pt x="493" y="299"/>
                  </a:lnTo>
                  <a:lnTo>
                    <a:pt x="492" y="297"/>
                  </a:lnTo>
                  <a:lnTo>
                    <a:pt x="492" y="296"/>
                  </a:lnTo>
                  <a:lnTo>
                    <a:pt x="491" y="293"/>
                  </a:lnTo>
                  <a:lnTo>
                    <a:pt x="491" y="291"/>
                  </a:lnTo>
                  <a:lnTo>
                    <a:pt x="490" y="290"/>
                  </a:lnTo>
                  <a:lnTo>
                    <a:pt x="490" y="290"/>
                  </a:lnTo>
                  <a:lnTo>
                    <a:pt x="490" y="289"/>
                  </a:lnTo>
                  <a:lnTo>
                    <a:pt x="489" y="288"/>
                  </a:lnTo>
                  <a:lnTo>
                    <a:pt x="488" y="288"/>
                  </a:lnTo>
                  <a:lnTo>
                    <a:pt x="487" y="287"/>
                  </a:lnTo>
                  <a:lnTo>
                    <a:pt x="487" y="287"/>
                  </a:lnTo>
                  <a:lnTo>
                    <a:pt x="485" y="286"/>
                  </a:lnTo>
                  <a:lnTo>
                    <a:pt x="484" y="286"/>
                  </a:lnTo>
                  <a:lnTo>
                    <a:pt x="483" y="286"/>
                  </a:lnTo>
                  <a:lnTo>
                    <a:pt x="481" y="285"/>
                  </a:lnTo>
                  <a:lnTo>
                    <a:pt x="479" y="285"/>
                  </a:lnTo>
                  <a:lnTo>
                    <a:pt x="478" y="285"/>
                  </a:lnTo>
                  <a:lnTo>
                    <a:pt x="475" y="285"/>
                  </a:lnTo>
                  <a:lnTo>
                    <a:pt x="473" y="285"/>
                  </a:lnTo>
                  <a:lnTo>
                    <a:pt x="472" y="285"/>
                  </a:lnTo>
                  <a:lnTo>
                    <a:pt x="471" y="285"/>
                  </a:lnTo>
                  <a:lnTo>
                    <a:pt x="470" y="284"/>
                  </a:lnTo>
                  <a:lnTo>
                    <a:pt x="468" y="284"/>
                  </a:lnTo>
                  <a:lnTo>
                    <a:pt x="468" y="284"/>
                  </a:lnTo>
                  <a:lnTo>
                    <a:pt x="467" y="283"/>
                  </a:lnTo>
                  <a:lnTo>
                    <a:pt x="466" y="283"/>
                  </a:lnTo>
                  <a:lnTo>
                    <a:pt x="465" y="283"/>
                  </a:lnTo>
                  <a:lnTo>
                    <a:pt x="464" y="282"/>
                  </a:lnTo>
                  <a:lnTo>
                    <a:pt x="462" y="280"/>
                  </a:lnTo>
                  <a:lnTo>
                    <a:pt x="462" y="280"/>
                  </a:lnTo>
                  <a:lnTo>
                    <a:pt x="461" y="279"/>
                  </a:lnTo>
                  <a:lnTo>
                    <a:pt x="461" y="279"/>
                  </a:lnTo>
                  <a:lnTo>
                    <a:pt x="460" y="279"/>
                  </a:lnTo>
                  <a:lnTo>
                    <a:pt x="459" y="278"/>
                  </a:lnTo>
                  <a:lnTo>
                    <a:pt x="459" y="278"/>
                  </a:lnTo>
                  <a:lnTo>
                    <a:pt x="455" y="278"/>
                  </a:lnTo>
                  <a:lnTo>
                    <a:pt x="452" y="277"/>
                  </a:lnTo>
                  <a:lnTo>
                    <a:pt x="451" y="277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8" y="277"/>
                  </a:lnTo>
                  <a:lnTo>
                    <a:pt x="447" y="277"/>
                  </a:lnTo>
                  <a:lnTo>
                    <a:pt x="446" y="278"/>
                  </a:lnTo>
                  <a:lnTo>
                    <a:pt x="445" y="278"/>
                  </a:lnTo>
                  <a:lnTo>
                    <a:pt x="444" y="279"/>
                  </a:lnTo>
                  <a:lnTo>
                    <a:pt x="444" y="279"/>
                  </a:lnTo>
                  <a:lnTo>
                    <a:pt x="443" y="280"/>
                  </a:lnTo>
                  <a:lnTo>
                    <a:pt x="443" y="280"/>
                  </a:lnTo>
                  <a:lnTo>
                    <a:pt x="443" y="280"/>
                  </a:lnTo>
                  <a:lnTo>
                    <a:pt x="443" y="281"/>
                  </a:lnTo>
                  <a:lnTo>
                    <a:pt x="442" y="283"/>
                  </a:lnTo>
                  <a:lnTo>
                    <a:pt x="442" y="284"/>
                  </a:lnTo>
                  <a:lnTo>
                    <a:pt x="442" y="286"/>
                  </a:lnTo>
                  <a:lnTo>
                    <a:pt x="441" y="287"/>
                  </a:lnTo>
                  <a:lnTo>
                    <a:pt x="440" y="288"/>
                  </a:lnTo>
                  <a:lnTo>
                    <a:pt x="439" y="290"/>
                  </a:lnTo>
                  <a:lnTo>
                    <a:pt x="439" y="292"/>
                  </a:lnTo>
                  <a:lnTo>
                    <a:pt x="439" y="292"/>
                  </a:lnTo>
                  <a:lnTo>
                    <a:pt x="438" y="294"/>
                  </a:lnTo>
                  <a:lnTo>
                    <a:pt x="438" y="295"/>
                  </a:lnTo>
                  <a:lnTo>
                    <a:pt x="437" y="296"/>
                  </a:lnTo>
                  <a:lnTo>
                    <a:pt x="437" y="297"/>
                  </a:lnTo>
                  <a:lnTo>
                    <a:pt x="437" y="298"/>
                  </a:lnTo>
                  <a:lnTo>
                    <a:pt x="437" y="300"/>
                  </a:lnTo>
                  <a:lnTo>
                    <a:pt x="437" y="302"/>
                  </a:lnTo>
                  <a:lnTo>
                    <a:pt x="437" y="304"/>
                  </a:lnTo>
                  <a:lnTo>
                    <a:pt x="437" y="305"/>
                  </a:lnTo>
                  <a:lnTo>
                    <a:pt x="438" y="308"/>
                  </a:lnTo>
                  <a:lnTo>
                    <a:pt x="438" y="313"/>
                  </a:lnTo>
                  <a:lnTo>
                    <a:pt x="439" y="316"/>
                  </a:lnTo>
                  <a:lnTo>
                    <a:pt x="439" y="318"/>
                  </a:lnTo>
                  <a:lnTo>
                    <a:pt x="440" y="323"/>
                  </a:lnTo>
                  <a:lnTo>
                    <a:pt x="440" y="325"/>
                  </a:lnTo>
                  <a:lnTo>
                    <a:pt x="440" y="326"/>
                  </a:lnTo>
                  <a:lnTo>
                    <a:pt x="440" y="328"/>
                  </a:lnTo>
                  <a:lnTo>
                    <a:pt x="440" y="329"/>
                  </a:lnTo>
                  <a:lnTo>
                    <a:pt x="440" y="330"/>
                  </a:lnTo>
                  <a:lnTo>
                    <a:pt x="440" y="332"/>
                  </a:lnTo>
                  <a:lnTo>
                    <a:pt x="439" y="334"/>
                  </a:lnTo>
                  <a:lnTo>
                    <a:pt x="438" y="340"/>
                  </a:lnTo>
                  <a:lnTo>
                    <a:pt x="438" y="341"/>
                  </a:lnTo>
                  <a:lnTo>
                    <a:pt x="437" y="343"/>
                  </a:lnTo>
                  <a:lnTo>
                    <a:pt x="437" y="344"/>
                  </a:lnTo>
                  <a:lnTo>
                    <a:pt x="436" y="346"/>
                  </a:lnTo>
                  <a:lnTo>
                    <a:pt x="436" y="347"/>
                  </a:lnTo>
                  <a:lnTo>
                    <a:pt x="436" y="349"/>
                  </a:lnTo>
                  <a:lnTo>
                    <a:pt x="436" y="350"/>
                  </a:lnTo>
                  <a:lnTo>
                    <a:pt x="436" y="354"/>
                  </a:lnTo>
                  <a:lnTo>
                    <a:pt x="436" y="355"/>
                  </a:lnTo>
                  <a:lnTo>
                    <a:pt x="436" y="356"/>
                  </a:lnTo>
                  <a:lnTo>
                    <a:pt x="436" y="357"/>
                  </a:lnTo>
                  <a:lnTo>
                    <a:pt x="436" y="357"/>
                  </a:lnTo>
                  <a:lnTo>
                    <a:pt x="435" y="360"/>
                  </a:lnTo>
                  <a:lnTo>
                    <a:pt x="434" y="361"/>
                  </a:lnTo>
                  <a:lnTo>
                    <a:pt x="433" y="366"/>
                  </a:lnTo>
                  <a:lnTo>
                    <a:pt x="432" y="369"/>
                  </a:lnTo>
                  <a:lnTo>
                    <a:pt x="432" y="370"/>
                  </a:lnTo>
                  <a:lnTo>
                    <a:pt x="431" y="372"/>
                  </a:lnTo>
                  <a:lnTo>
                    <a:pt x="431" y="374"/>
                  </a:lnTo>
                  <a:lnTo>
                    <a:pt x="431" y="376"/>
                  </a:lnTo>
                  <a:lnTo>
                    <a:pt x="431" y="377"/>
                  </a:lnTo>
                  <a:lnTo>
                    <a:pt x="431" y="378"/>
                  </a:lnTo>
                  <a:lnTo>
                    <a:pt x="431" y="379"/>
                  </a:lnTo>
                  <a:lnTo>
                    <a:pt x="431" y="380"/>
                  </a:lnTo>
                  <a:lnTo>
                    <a:pt x="431" y="381"/>
                  </a:lnTo>
                  <a:lnTo>
                    <a:pt x="432" y="382"/>
                  </a:lnTo>
                  <a:lnTo>
                    <a:pt x="432" y="383"/>
                  </a:lnTo>
                  <a:lnTo>
                    <a:pt x="434" y="385"/>
                  </a:lnTo>
                  <a:lnTo>
                    <a:pt x="434" y="386"/>
                  </a:lnTo>
                  <a:lnTo>
                    <a:pt x="434" y="386"/>
                  </a:lnTo>
                  <a:lnTo>
                    <a:pt x="435" y="387"/>
                  </a:lnTo>
                  <a:lnTo>
                    <a:pt x="435" y="388"/>
                  </a:lnTo>
                  <a:lnTo>
                    <a:pt x="435" y="389"/>
                  </a:lnTo>
                  <a:lnTo>
                    <a:pt x="435" y="390"/>
                  </a:lnTo>
                  <a:lnTo>
                    <a:pt x="434" y="390"/>
                  </a:lnTo>
                  <a:lnTo>
                    <a:pt x="434" y="391"/>
                  </a:lnTo>
                  <a:lnTo>
                    <a:pt x="433" y="392"/>
                  </a:lnTo>
                  <a:lnTo>
                    <a:pt x="433" y="393"/>
                  </a:lnTo>
                  <a:lnTo>
                    <a:pt x="432" y="393"/>
                  </a:lnTo>
                  <a:lnTo>
                    <a:pt x="431" y="394"/>
                  </a:lnTo>
                  <a:lnTo>
                    <a:pt x="430" y="394"/>
                  </a:lnTo>
                  <a:lnTo>
                    <a:pt x="429" y="394"/>
                  </a:lnTo>
                  <a:lnTo>
                    <a:pt x="428" y="394"/>
                  </a:lnTo>
                  <a:lnTo>
                    <a:pt x="426" y="394"/>
                  </a:lnTo>
                  <a:lnTo>
                    <a:pt x="425" y="394"/>
                  </a:lnTo>
                  <a:lnTo>
                    <a:pt x="420" y="392"/>
                  </a:lnTo>
                  <a:lnTo>
                    <a:pt x="417" y="391"/>
                  </a:lnTo>
                  <a:lnTo>
                    <a:pt x="415" y="391"/>
                  </a:lnTo>
                  <a:lnTo>
                    <a:pt x="414" y="391"/>
                  </a:lnTo>
                  <a:lnTo>
                    <a:pt x="410" y="389"/>
                  </a:lnTo>
                  <a:lnTo>
                    <a:pt x="409" y="389"/>
                  </a:lnTo>
                  <a:lnTo>
                    <a:pt x="407" y="388"/>
                  </a:lnTo>
                  <a:lnTo>
                    <a:pt x="406" y="388"/>
                  </a:lnTo>
                  <a:lnTo>
                    <a:pt x="405" y="387"/>
                  </a:lnTo>
                  <a:lnTo>
                    <a:pt x="404" y="387"/>
                  </a:lnTo>
                  <a:lnTo>
                    <a:pt x="400" y="386"/>
                  </a:lnTo>
                  <a:lnTo>
                    <a:pt x="397" y="386"/>
                  </a:lnTo>
                  <a:lnTo>
                    <a:pt x="395" y="385"/>
                  </a:lnTo>
                  <a:lnTo>
                    <a:pt x="394" y="385"/>
                  </a:lnTo>
                  <a:lnTo>
                    <a:pt x="393" y="385"/>
                  </a:lnTo>
                  <a:lnTo>
                    <a:pt x="392" y="385"/>
                  </a:lnTo>
                  <a:lnTo>
                    <a:pt x="391" y="386"/>
                  </a:lnTo>
                  <a:lnTo>
                    <a:pt x="391" y="386"/>
                  </a:lnTo>
                  <a:lnTo>
                    <a:pt x="390" y="386"/>
                  </a:lnTo>
                  <a:lnTo>
                    <a:pt x="389" y="386"/>
                  </a:lnTo>
                  <a:lnTo>
                    <a:pt x="389" y="387"/>
                  </a:lnTo>
                  <a:lnTo>
                    <a:pt x="388" y="387"/>
                  </a:lnTo>
                  <a:lnTo>
                    <a:pt x="387" y="388"/>
                  </a:lnTo>
                  <a:lnTo>
                    <a:pt x="387" y="388"/>
                  </a:lnTo>
                  <a:lnTo>
                    <a:pt x="386" y="389"/>
                  </a:lnTo>
                  <a:lnTo>
                    <a:pt x="386" y="389"/>
                  </a:lnTo>
                  <a:lnTo>
                    <a:pt x="386" y="390"/>
                  </a:lnTo>
                  <a:lnTo>
                    <a:pt x="386" y="391"/>
                  </a:lnTo>
                  <a:lnTo>
                    <a:pt x="385" y="394"/>
                  </a:lnTo>
                  <a:lnTo>
                    <a:pt x="384" y="399"/>
                  </a:lnTo>
                  <a:lnTo>
                    <a:pt x="384" y="401"/>
                  </a:lnTo>
                  <a:lnTo>
                    <a:pt x="383" y="404"/>
                  </a:lnTo>
                  <a:lnTo>
                    <a:pt x="383" y="405"/>
                  </a:lnTo>
                  <a:lnTo>
                    <a:pt x="383" y="406"/>
                  </a:lnTo>
                  <a:lnTo>
                    <a:pt x="382" y="407"/>
                  </a:lnTo>
                  <a:lnTo>
                    <a:pt x="382" y="408"/>
                  </a:lnTo>
                  <a:lnTo>
                    <a:pt x="381" y="409"/>
                  </a:lnTo>
                  <a:lnTo>
                    <a:pt x="380" y="410"/>
                  </a:lnTo>
                  <a:lnTo>
                    <a:pt x="379" y="412"/>
                  </a:lnTo>
                  <a:lnTo>
                    <a:pt x="377" y="414"/>
                  </a:lnTo>
                  <a:lnTo>
                    <a:pt x="376" y="415"/>
                  </a:lnTo>
                  <a:lnTo>
                    <a:pt x="375" y="416"/>
                  </a:lnTo>
                  <a:lnTo>
                    <a:pt x="374" y="416"/>
                  </a:lnTo>
                  <a:lnTo>
                    <a:pt x="373" y="417"/>
                  </a:lnTo>
                  <a:lnTo>
                    <a:pt x="370" y="419"/>
                  </a:lnTo>
                  <a:lnTo>
                    <a:pt x="367" y="422"/>
                  </a:lnTo>
                  <a:lnTo>
                    <a:pt x="365" y="423"/>
                  </a:lnTo>
                  <a:lnTo>
                    <a:pt x="364" y="424"/>
                  </a:lnTo>
                  <a:lnTo>
                    <a:pt x="364" y="425"/>
                  </a:lnTo>
                  <a:lnTo>
                    <a:pt x="363" y="426"/>
                  </a:lnTo>
                  <a:lnTo>
                    <a:pt x="362" y="427"/>
                  </a:lnTo>
                  <a:lnTo>
                    <a:pt x="361" y="429"/>
                  </a:lnTo>
                  <a:lnTo>
                    <a:pt x="360" y="431"/>
                  </a:lnTo>
                  <a:lnTo>
                    <a:pt x="360" y="432"/>
                  </a:lnTo>
                  <a:lnTo>
                    <a:pt x="359" y="434"/>
                  </a:lnTo>
                  <a:lnTo>
                    <a:pt x="358" y="437"/>
                  </a:lnTo>
                  <a:lnTo>
                    <a:pt x="358" y="438"/>
                  </a:lnTo>
                  <a:lnTo>
                    <a:pt x="357" y="440"/>
                  </a:lnTo>
                  <a:lnTo>
                    <a:pt x="357" y="441"/>
                  </a:lnTo>
                  <a:lnTo>
                    <a:pt x="357" y="443"/>
                  </a:lnTo>
                  <a:lnTo>
                    <a:pt x="357" y="444"/>
                  </a:lnTo>
                  <a:lnTo>
                    <a:pt x="357" y="445"/>
                  </a:lnTo>
                  <a:lnTo>
                    <a:pt x="357" y="451"/>
                  </a:lnTo>
                  <a:lnTo>
                    <a:pt x="357" y="453"/>
                  </a:lnTo>
                  <a:lnTo>
                    <a:pt x="357" y="454"/>
                  </a:lnTo>
                  <a:lnTo>
                    <a:pt x="357" y="456"/>
                  </a:lnTo>
                  <a:lnTo>
                    <a:pt x="357" y="461"/>
                  </a:lnTo>
                  <a:lnTo>
                    <a:pt x="357" y="464"/>
                  </a:lnTo>
                  <a:lnTo>
                    <a:pt x="357" y="465"/>
                  </a:lnTo>
                  <a:lnTo>
                    <a:pt x="356" y="467"/>
                  </a:lnTo>
                  <a:lnTo>
                    <a:pt x="356" y="468"/>
                  </a:lnTo>
                  <a:lnTo>
                    <a:pt x="356" y="469"/>
                  </a:lnTo>
                  <a:lnTo>
                    <a:pt x="356" y="469"/>
                  </a:lnTo>
                  <a:lnTo>
                    <a:pt x="355" y="471"/>
                  </a:lnTo>
                  <a:lnTo>
                    <a:pt x="355" y="472"/>
                  </a:lnTo>
                  <a:lnTo>
                    <a:pt x="354" y="473"/>
                  </a:lnTo>
                  <a:lnTo>
                    <a:pt x="353" y="473"/>
                  </a:lnTo>
                  <a:lnTo>
                    <a:pt x="353" y="474"/>
                  </a:lnTo>
                  <a:lnTo>
                    <a:pt x="352" y="475"/>
                  </a:lnTo>
                  <a:lnTo>
                    <a:pt x="352" y="475"/>
                  </a:lnTo>
                  <a:lnTo>
                    <a:pt x="351" y="475"/>
                  </a:lnTo>
                  <a:lnTo>
                    <a:pt x="351" y="476"/>
                  </a:lnTo>
                  <a:lnTo>
                    <a:pt x="350" y="476"/>
                  </a:lnTo>
                  <a:lnTo>
                    <a:pt x="350" y="476"/>
                  </a:lnTo>
                  <a:lnTo>
                    <a:pt x="349" y="476"/>
                  </a:lnTo>
                  <a:lnTo>
                    <a:pt x="348" y="476"/>
                  </a:lnTo>
                  <a:lnTo>
                    <a:pt x="347" y="476"/>
                  </a:lnTo>
                  <a:lnTo>
                    <a:pt x="346" y="476"/>
                  </a:lnTo>
                  <a:lnTo>
                    <a:pt x="345" y="476"/>
                  </a:lnTo>
                  <a:lnTo>
                    <a:pt x="344" y="476"/>
                  </a:lnTo>
                  <a:lnTo>
                    <a:pt x="344" y="476"/>
                  </a:lnTo>
                  <a:lnTo>
                    <a:pt x="343" y="476"/>
                  </a:lnTo>
                  <a:lnTo>
                    <a:pt x="342" y="475"/>
                  </a:lnTo>
                  <a:lnTo>
                    <a:pt x="342" y="475"/>
                  </a:lnTo>
                  <a:lnTo>
                    <a:pt x="342" y="475"/>
                  </a:lnTo>
                  <a:lnTo>
                    <a:pt x="341" y="474"/>
                  </a:lnTo>
                  <a:lnTo>
                    <a:pt x="340" y="474"/>
                  </a:lnTo>
                  <a:lnTo>
                    <a:pt x="340" y="473"/>
                  </a:lnTo>
                  <a:lnTo>
                    <a:pt x="337" y="470"/>
                  </a:lnTo>
                  <a:lnTo>
                    <a:pt x="337" y="469"/>
                  </a:lnTo>
                  <a:lnTo>
                    <a:pt x="336" y="468"/>
                  </a:lnTo>
                  <a:lnTo>
                    <a:pt x="335" y="467"/>
                  </a:lnTo>
                  <a:lnTo>
                    <a:pt x="334" y="467"/>
                  </a:lnTo>
                  <a:lnTo>
                    <a:pt x="333" y="467"/>
                  </a:lnTo>
                  <a:lnTo>
                    <a:pt x="332" y="466"/>
                  </a:lnTo>
                  <a:lnTo>
                    <a:pt x="331" y="466"/>
                  </a:lnTo>
                  <a:lnTo>
                    <a:pt x="330" y="465"/>
                  </a:lnTo>
                  <a:lnTo>
                    <a:pt x="330" y="465"/>
                  </a:lnTo>
                  <a:lnTo>
                    <a:pt x="329" y="464"/>
                  </a:lnTo>
                  <a:lnTo>
                    <a:pt x="328" y="463"/>
                  </a:lnTo>
                  <a:lnTo>
                    <a:pt x="328" y="463"/>
                  </a:lnTo>
                  <a:lnTo>
                    <a:pt x="326" y="461"/>
                  </a:lnTo>
                  <a:lnTo>
                    <a:pt x="326" y="459"/>
                  </a:lnTo>
                  <a:lnTo>
                    <a:pt x="325" y="459"/>
                  </a:lnTo>
                  <a:lnTo>
                    <a:pt x="324" y="458"/>
                  </a:lnTo>
                  <a:lnTo>
                    <a:pt x="324" y="458"/>
                  </a:lnTo>
                  <a:lnTo>
                    <a:pt x="323" y="458"/>
                  </a:lnTo>
                  <a:lnTo>
                    <a:pt x="323" y="458"/>
                  </a:lnTo>
                  <a:lnTo>
                    <a:pt x="322" y="458"/>
                  </a:lnTo>
                  <a:lnTo>
                    <a:pt x="322" y="458"/>
                  </a:lnTo>
                  <a:lnTo>
                    <a:pt x="321" y="458"/>
                  </a:lnTo>
                  <a:lnTo>
                    <a:pt x="320" y="459"/>
                  </a:lnTo>
                  <a:lnTo>
                    <a:pt x="314" y="462"/>
                  </a:lnTo>
                  <a:lnTo>
                    <a:pt x="313" y="463"/>
                  </a:lnTo>
                  <a:lnTo>
                    <a:pt x="312" y="464"/>
                  </a:lnTo>
                  <a:lnTo>
                    <a:pt x="311" y="464"/>
                  </a:lnTo>
                  <a:lnTo>
                    <a:pt x="310" y="464"/>
                  </a:lnTo>
                  <a:lnTo>
                    <a:pt x="309" y="465"/>
                  </a:lnTo>
                  <a:lnTo>
                    <a:pt x="308" y="465"/>
                  </a:lnTo>
                  <a:lnTo>
                    <a:pt x="308" y="465"/>
                  </a:lnTo>
                  <a:lnTo>
                    <a:pt x="307" y="465"/>
                  </a:lnTo>
                  <a:lnTo>
                    <a:pt x="307" y="464"/>
                  </a:lnTo>
                  <a:lnTo>
                    <a:pt x="306" y="464"/>
                  </a:lnTo>
                  <a:lnTo>
                    <a:pt x="303" y="463"/>
                  </a:lnTo>
                  <a:lnTo>
                    <a:pt x="299" y="462"/>
                  </a:lnTo>
                  <a:lnTo>
                    <a:pt x="297" y="461"/>
                  </a:lnTo>
                  <a:lnTo>
                    <a:pt x="294" y="460"/>
                  </a:lnTo>
                  <a:lnTo>
                    <a:pt x="293" y="459"/>
                  </a:lnTo>
                  <a:lnTo>
                    <a:pt x="292" y="459"/>
                  </a:lnTo>
                  <a:lnTo>
                    <a:pt x="291" y="458"/>
                  </a:lnTo>
                  <a:lnTo>
                    <a:pt x="290" y="457"/>
                  </a:lnTo>
                  <a:lnTo>
                    <a:pt x="289" y="457"/>
                  </a:lnTo>
                  <a:lnTo>
                    <a:pt x="288" y="455"/>
                  </a:lnTo>
                  <a:lnTo>
                    <a:pt x="287" y="454"/>
                  </a:lnTo>
                  <a:lnTo>
                    <a:pt x="284" y="451"/>
                  </a:lnTo>
                  <a:lnTo>
                    <a:pt x="283" y="450"/>
                  </a:lnTo>
                  <a:lnTo>
                    <a:pt x="282" y="449"/>
                  </a:lnTo>
                  <a:lnTo>
                    <a:pt x="281" y="449"/>
                  </a:lnTo>
                  <a:lnTo>
                    <a:pt x="280" y="448"/>
                  </a:lnTo>
                  <a:lnTo>
                    <a:pt x="280" y="448"/>
                  </a:lnTo>
                  <a:lnTo>
                    <a:pt x="279" y="448"/>
                  </a:lnTo>
                  <a:lnTo>
                    <a:pt x="279" y="449"/>
                  </a:lnTo>
                  <a:lnTo>
                    <a:pt x="278" y="449"/>
                  </a:lnTo>
                  <a:lnTo>
                    <a:pt x="278" y="449"/>
                  </a:lnTo>
                  <a:lnTo>
                    <a:pt x="277" y="449"/>
                  </a:lnTo>
                  <a:lnTo>
                    <a:pt x="277" y="450"/>
                  </a:lnTo>
                  <a:lnTo>
                    <a:pt x="276" y="450"/>
                  </a:lnTo>
                  <a:lnTo>
                    <a:pt x="276" y="450"/>
                  </a:lnTo>
                  <a:lnTo>
                    <a:pt x="276" y="451"/>
                  </a:lnTo>
                  <a:lnTo>
                    <a:pt x="275" y="451"/>
                  </a:lnTo>
                  <a:lnTo>
                    <a:pt x="275" y="452"/>
                  </a:lnTo>
                  <a:lnTo>
                    <a:pt x="275" y="456"/>
                  </a:lnTo>
                  <a:lnTo>
                    <a:pt x="275" y="457"/>
                  </a:lnTo>
                  <a:lnTo>
                    <a:pt x="275" y="458"/>
                  </a:lnTo>
                  <a:lnTo>
                    <a:pt x="274" y="460"/>
                  </a:lnTo>
                  <a:lnTo>
                    <a:pt x="274" y="463"/>
                  </a:lnTo>
                  <a:lnTo>
                    <a:pt x="273" y="464"/>
                  </a:lnTo>
                  <a:lnTo>
                    <a:pt x="273" y="465"/>
                  </a:lnTo>
                  <a:lnTo>
                    <a:pt x="272" y="466"/>
                  </a:lnTo>
                  <a:lnTo>
                    <a:pt x="272" y="467"/>
                  </a:lnTo>
                  <a:lnTo>
                    <a:pt x="271" y="468"/>
                  </a:lnTo>
                  <a:lnTo>
                    <a:pt x="270" y="469"/>
                  </a:lnTo>
                  <a:lnTo>
                    <a:pt x="270" y="470"/>
                  </a:lnTo>
                  <a:lnTo>
                    <a:pt x="269" y="470"/>
                  </a:lnTo>
                  <a:lnTo>
                    <a:pt x="269" y="471"/>
                  </a:lnTo>
                  <a:lnTo>
                    <a:pt x="268" y="472"/>
                  </a:lnTo>
                  <a:lnTo>
                    <a:pt x="267" y="472"/>
                  </a:lnTo>
                  <a:lnTo>
                    <a:pt x="267" y="472"/>
                  </a:lnTo>
                  <a:lnTo>
                    <a:pt x="266" y="472"/>
                  </a:lnTo>
                  <a:lnTo>
                    <a:pt x="265" y="472"/>
                  </a:lnTo>
                  <a:lnTo>
                    <a:pt x="262" y="472"/>
                  </a:lnTo>
                  <a:lnTo>
                    <a:pt x="260" y="473"/>
                  </a:lnTo>
                  <a:lnTo>
                    <a:pt x="259" y="473"/>
                  </a:lnTo>
                  <a:lnTo>
                    <a:pt x="259" y="473"/>
                  </a:lnTo>
                  <a:lnTo>
                    <a:pt x="258" y="473"/>
                  </a:lnTo>
                  <a:lnTo>
                    <a:pt x="257" y="474"/>
                  </a:lnTo>
                  <a:lnTo>
                    <a:pt x="257" y="474"/>
                  </a:lnTo>
                  <a:lnTo>
                    <a:pt x="257" y="475"/>
                  </a:lnTo>
                  <a:lnTo>
                    <a:pt x="256" y="476"/>
                  </a:lnTo>
                  <a:lnTo>
                    <a:pt x="256" y="477"/>
                  </a:lnTo>
                  <a:lnTo>
                    <a:pt x="255" y="478"/>
                  </a:lnTo>
                  <a:lnTo>
                    <a:pt x="255" y="479"/>
                  </a:lnTo>
                  <a:lnTo>
                    <a:pt x="255" y="479"/>
                  </a:lnTo>
                  <a:lnTo>
                    <a:pt x="254" y="480"/>
                  </a:lnTo>
                  <a:lnTo>
                    <a:pt x="254" y="480"/>
                  </a:lnTo>
                  <a:lnTo>
                    <a:pt x="253" y="481"/>
                  </a:lnTo>
                  <a:lnTo>
                    <a:pt x="252" y="481"/>
                  </a:lnTo>
                  <a:lnTo>
                    <a:pt x="251" y="482"/>
                  </a:lnTo>
                  <a:lnTo>
                    <a:pt x="249" y="482"/>
                  </a:lnTo>
                  <a:lnTo>
                    <a:pt x="248" y="482"/>
                  </a:lnTo>
                  <a:lnTo>
                    <a:pt x="248" y="482"/>
                  </a:lnTo>
                  <a:lnTo>
                    <a:pt x="247" y="483"/>
                  </a:lnTo>
                  <a:lnTo>
                    <a:pt x="246" y="483"/>
                  </a:lnTo>
                  <a:lnTo>
                    <a:pt x="245" y="484"/>
                  </a:lnTo>
                  <a:lnTo>
                    <a:pt x="244" y="486"/>
                  </a:lnTo>
                  <a:lnTo>
                    <a:pt x="243" y="487"/>
                  </a:lnTo>
                  <a:lnTo>
                    <a:pt x="242" y="487"/>
                  </a:lnTo>
                  <a:lnTo>
                    <a:pt x="241" y="487"/>
                  </a:lnTo>
                  <a:lnTo>
                    <a:pt x="241" y="488"/>
                  </a:lnTo>
                  <a:lnTo>
                    <a:pt x="240" y="488"/>
                  </a:lnTo>
                  <a:lnTo>
                    <a:pt x="239" y="488"/>
                  </a:lnTo>
                  <a:lnTo>
                    <a:pt x="239" y="488"/>
                  </a:lnTo>
                  <a:lnTo>
                    <a:pt x="238" y="488"/>
                  </a:lnTo>
                  <a:lnTo>
                    <a:pt x="237" y="487"/>
                  </a:lnTo>
                  <a:lnTo>
                    <a:pt x="235" y="486"/>
                  </a:lnTo>
                  <a:lnTo>
                    <a:pt x="231" y="485"/>
                  </a:lnTo>
                  <a:lnTo>
                    <a:pt x="228" y="483"/>
                  </a:lnTo>
                  <a:lnTo>
                    <a:pt x="221" y="479"/>
                  </a:lnTo>
                  <a:lnTo>
                    <a:pt x="219" y="478"/>
                  </a:lnTo>
                  <a:lnTo>
                    <a:pt x="218" y="478"/>
                  </a:lnTo>
                  <a:lnTo>
                    <a:pt x="217" y="478"/>
                  </a:lnTo>
                  <a:lnTo>
                    <a:pt x="216" y="477"/>
                  </a:lnTo>
                  <a:lnTo>
                    <a:pt x="212" y="477"/>
                  </a:lnTo>
                  <a:lnTo>
                    <a:pt x="211" y="477"/>
                  </a:lnTo>
                  <a:lnTo>
                    <a:pt x="209" y="476"/>
                  </a:lnTo>
                  <a:lnTo>
                    <a:pt x="205" y="475"/>
                  </a:lnTo>
                  <a:lnTo>
                    <a:pt x="200" y="473"/>
                  </a:lnTo>
                  <a:lnTo>
                    <a:pt x="197" y="472"/>
                  </a:lnTo>
                  <a:lnTo>
                    <a:pt x="196" y="472"/>
                  </a:lnTo>
                  <a:lnTo>
                    <a:pt x="195" y="472"/>
                  </a:lnTo>
                  <a:lnTo>
                    <a:pt x="193" y="472"/>
                  </a:lnTo>
                  <a:lnTo>
                    <a:pt x="190" y="472"/>
                  </a:lnTo>
                  <a:lnTo>
                    <a:pt x="188" y="472"/>
                  </a:lnTo>
                  <a:lnTo>
                    <a:pt x="187" y="471"/>
                  </a:lnTo>
                  <a:lnTo>
                    <a:pt x="183" y="471"/>
                  </a:lnTo>
                  <a:lnTo>
                    <a:pt x="181" y="471"/>
                  </a:lnTo>
                  <a:lnTo>
                    <a:pt x="179" y="470"/>
                  </a:lnTo>
                  <a:lnTo>
                    <a:pt x="178" y="470"/>
                  </a:lnTo>
                  <a:lnTo>
                    <a:pt x="177" y="470"/>
                  </a:lnTo>
                  <a:lnTo>
                    <a:pt x="173" y="471"/>
                  </a:lnTo>
                  <a:lnTo>
                    <a:pt x="172" y="471"/>
                  </a:lnTo>
                  <a:lnTo>
                    <a:pt x="171" y="471"/>
                  </a:lnTo>
                  <a:lnTo>
                    <a:pt x="170" y="471"/>
                  </a:lnTo>
                  <a:lnTo>
                    <a:pt x="169" y="471"/>
                  </a:lnTo>
                  <a:lnTo>
                    <a:pt x="168" y="471"/>
                  </a:lnTo>
                  <a:lnTo>
                    <a:pt x="168" y="471"/>
                  </a:lnTo>
                  <a:lnTo>
                    <a:pt x="165" y="470"/>
                  </a:lnTo>
                  <a:lnTo>
                    <a:pt x="164" y="469"/>
                  </a:lnTo>
                  <a:lnTo>
                    <a:pt x="163" y="469"/>
                  </a:lnTo>
                  <a:lnTo>
                    <a:pt x="160" y="468"/>
                  </a:lnTo>
                  <a:lnTo>
                    <a:pt x="159" y="468"/>
                  </a:lnTo>
                  <a:lnTo>
                    <a:pt x="158" y="467"/>
                  </a:lnTo>
                  <a:lnTo>
                    <a:pt x="158" y="467"/>
                  </a:lnTo>
                  <a:lnTo>
                    <a:pt x="156" y="466"/>
                  </a:lnTo>
                  <a:lnTo>
                    <a:pt x="154" y="464"/>
                  </a:lnTo>
                  <a:lnTo>
                    <a:pt x="154" y="464"/>
                  </a:lnTo>
                  <a:lnTo>
                    <a:pt x="153" y="463"/>
                  </a:lnTo>
                  <a:lnTo>
                    <a:pt x="152" y="462"/>
                  </a:lnTo>
                  <a:lnTo>
                    <a:pt x="152" y="461"/>
                  </a:lnTo>
                  <a:lnTo>
                    <a:pt x="151" y="461"/>
                  </a:lnTo>
                  <a:lnTo>
                    <a:pt x="151" y="460"/>
                  </a:lnTo>
                  <a:lnTo>
                    <a:pt x="150" y="457"/>
                  </a:lnTo>
                  <a:lnTo>
                    <a:pt x="149" y="457"/>
                  </a:lnTo>
                  <a:lnTo>
                    <a:pt x="149" y="456"/>
                  </a:lnTo>
                  <a:lnTo>
                    <a:pt x="149" y="456"/>
                  </a:lnTo>
                  <a:lnTo>
                    <a:pt x="148" y="455"/>
                  </a:lnTo>
                  <a:lnTo>
                    <a:pt x="147" y="454"/>
                  </a:lnTo>
                  <a:lnTo>
                    <a:pt x="146" y="454"/>
                  </a:lnTo>
                  <a:lnTo>
                    <a:pt x="145" y="453"/>
                  </a:lnTo>
                  <a:lnTo>
                    <a:pt x="145" y="452"/>
                  </a:lnTo>
                  <a:lnTo>
                    <a:pt x="144" y="451"/>
                  </a:lnTo>
                  <a:lnTo>
                    <a:pt x="144" y="451"/>
                  </a:lnTo>
                  <a:lnTo>
                    <a:pt x="144" y="450"/>
                  </a:lnTo>
                  <a:lnTo>
                    <a:pt x="144" y="449"/>
                  </a:lnTo>
                  <a:lnTo>
                    <a:pt x="144" y="449"/>
                  </a:lnTo>
                  <a:lnTo>
                    <a:pt x="144" y="448"/>
                  </a:lnTo>
                  <a:lnTo>
                    <a:pt x="144" y="448"/>
                  </a:lnTo>
                  <a:lnTo>
                    <a:pt x="144" y="447"/>
                  </a:lnTo>
                  <a:lnTo>
                    <a:pt x="144" y="447"/>
                  </a:lnTo>
                  <a:lnTo>
                    <a:pt x="145" y="446"/>
                  </a:lnTo>
                  <a:lnTo>
                    <a:pt x="145" y="445"/>
                  </a:lnTo>
                  <a:lnTo>
                    <a:pt x="146" y="445"/>
                  </a:lnTo>
                  <a:lnTo>
                    <a:pt x="147" y="444"/>
                  </a:lnTo>
                  <a:lnTo>
                    <a:pt x="148" y="443"/>
                  </a:lnTo>
                  <a:lnTo>
                    <a:pt x="149" y="443"/>
                  </a:lnTo>
                  <a:lnTo>
                    <a:pt x="151" y="442"/>
                  </a:lnTo>
                  <a:lnTo>
                    <a:pt x="152" y="442"/>
                  </a:lnTo>
                  <a:lnTo>
                    <a:pt x="152" y="441"/>
                  </a:lnTo>
                  <a:lnTo>
                    <a:pt x="153" y="441"/>
                  </a:lnTo>
                  <a:lnTo>
                    <a:pt x="153" y="440"/>
                  </a:lnTo>
                  <a:lnTo>
                    <a:pt x="153" y="440"/>
                  </a:lnTo>
                  <a:lnTo>
                    <a:pt x="154" y="439"/>
                  </a:lnTo>
                  <a:lnTo>
                    <a:pt x="154" y="438"/>
                  </a:lnTo>
                  <a:lnTo>
                    <a:pt x="154" y="438"/>
                  </a:lnTo>
                  <a:lnTo>
                    <a:pt x="154" y="437"/>
                  </a:lnTo>
                  <a:lnTo>
                    <a:pt x="154" y="436"/>
                  </a:lnTo>
                  <a:lnTo>
                    <a:pt x="154" y="435"/>
                  </a:lnTo>
                  <a:lnTo>
                    <a:pt x="153" y="434"/>
                  </a:lnTo>
                  <a:lnTo>
                    <a:pt x="153" y="434"/>
                  </a:lnTo>
                  <a:lnTo>
                    <a:pt x="152" y="433"/>
                  </a:lnTo>
                  <a:lnTo>
                    <a:pt x="152" y="433"/>
                  </a:lnTo>
                  <a:lnTo>
                    <a:pt x="149" y="431"/>
                  </a:lnTo>
                  <a:lnTo>
                    <a:pt x="148" y="430"/>
                  </a:lnTo>
                  <a:lnTo>
                    <a:pt x="147" y="429"/>
                  </a:lnTo>
                  <a:lnTo>
                    <a:pt x="146" y="428"/>
                  </a:lnTo>
                  <a:lnTo>
                    <a:pt x="144" y="425"/>
                  </a:lnTo>
                  <a:lnTo>
                    <a:pt x="143" y="424"/>
                  </a:lnTo>
                  <a:lnTo>
                    <a:pt x="142" y="422"/>
                  </a:lnTo>
                  <a:lnTo>
                    <a:pt x="140" y="421"/>
                  </a:lnTo>
                  <a:lnTo>
                    <a:pt x="139" y="420"/>
                  </a:lnTo>
                  <a:lnTo>
                    <a:pt x="139" y="419"/>
                  </a:lnTo>
                  <a:lnTo>
                    <a:pt x="138" y="419"/>
                  </a:lnTo>
                  <a:lnTo>
                    <a:pt x="137" y="418"/>
                  </a:lnTo>
                  <a:lnTo>
                    <a:pt x="136" y="418"/>
                  </a:lnTo>
                  <a:lnTo>
                    <a:pt x="136" y="418"/>
                  </a:lnTo>
                  <a:lnTo>
                    <a:pt x="134" y="417"/>
                  </a:lnTo>
                  <a:lnTo>
                    <a:pt x="131" y="416"/>
                  </a:lnTo>
                  <a:lnTo>
                    <a:pt x="129" y="415"/>
                  </a:lnTo>
                  <a:lnTo>
                    <a:pt x="128" y="414"/>
                  </a:lnTo>
                  <a:lnTo>
                    <a:pt x="126" y="414"/>
                  </a:lnTo>
                  <a:lnTo>
                    <a:pt x="125" y="414"/>
                  </a:lnTo>
                  <a:lnTo>
                    <a:pt x="125" y="413"/>
                  </a:lnTo>
                  <a:lnTo>
                    <a:pt x="121" y="410"/>
                  </a:lnTo>
                  <a:lnTo>
                    <a:pt x="120" y="410"/>
                  </a:lnTo>
                  <a:lnTo>
                    <a:pt x="119" y="409"/>
                  </a:lnTo>
                  <a:lnTo>
                    <a:pt x="118" y="408"/>
                  </a:lnTo>
                  <a:lnTo>
                    <a:pt x="117" y="407"/>
                  </a:lnTo>
                  <a:lnTo>
                    <a:pt x="116" y="405"/>
                  </a:lnTo>
                  <a:lnTo>
                    <a:pt x="111" y="401"/>
                  </a:lnTo>
                  <a:lnTo>
                    <a:pt x="110" y="399"/>
                  </a:lnTo>
                  <a:lnTo>
                    <a:pt x="108" y="398"/>
                  </a:lnTo>
                  <a:lnTo>
                    <a:pt x="107" y="396"/>
                  </a:lnTo>
                  <a:lnTo>
                    <a:pt x="105" y="395"/>
                  </a:lnTo>
                  <a:lnTo>
                    <a:pt x="104" y="394"/>
                  </a:lnTo>
                  <a:lnTo>
                    <a:pt x="103" y="393"/>
                  </a:lnTo>
                  <a:lnTo>
                    <a:pt x="101" y="392"/>
                  </a:lnTo>
                  <a:lnTo>
                    <a:pt x="100" y="391"/>
                  </a:lnTo>
                  <a:lnTo>
                    <a:pt x="99" y="390"/>
                  </a:lnTo>
                  <a:lnTo>
                    <a:pt x="97" y="390"/>
                  </a:lnTo>
                  <a:lnTo>
                    <a:pt x="96" y="389"/>
                  </a:lnTo>
                  <a:lnTo>
                    <a:pt x="94" y="389"/>
                  </a:lnTo>
                  <a:lnTo>
                    <a:pt x="88" y="387"/>
                  </a:lnTo>
                  <a:lnTo>
                    <a:pt x="86" y="386"/>
                  </a:lnTo>
                  <a:lnTo>
                    <a:pt x="85" y="386"/>
                  </a:lnTo>
                  <a:lnTo>
                    <a:pt x="84" y="385"/>
                  </a:lnTo>
                  <a:lnTo>
                    <a:pt x="83" y="385"/>
                  </a:lnTo>
                  <a:lnTo>
                    <a:pt x="82" y="384"/>
                  </a:lnTo>
                  <a:lnTo>
                    <a:pt x="82" y="384"/>
                  </a:lnTo>
                  <a:lnTo>
                    <a:pt x="81" y="383"/>
                  </a:lnTo>
                  <a:lnTo>
                    <a:pt x="81" y="383"/>
                  </a:lnTo>
                  <a:lnTo>
                    <a:pt x="81" y="382"/>
                  </a:lnTo>
                  <a:lnTo>
                    <a:pt x="80" y="380"/>
                  </a:lnTo>
                  <a:lnTo>
                    <a:pt x="80" y="379"/>
                  </a:lnTo>
                  <a:lnTo>
                    <a:pt x="80" y="376"/>
                  </a:lnTo>
                  <a:lnTo>
                    <a:pt x="79" y="375"/>
                  </a:lnTo>
                  <a:lnTo>
                    <a:pt x="79" y="374"/>
                  </a:lnTo>
                  <a:lnTo>
                    <a:pt x="79" y="373"/>
                  </a:lnTo>
                  <a:lnTo>
                    <a:pt x="78" y="371"/>
                  </a:lnTo>
                  <a:lnTo>
                    <a:pt x="76" y="366"/>
                  </a:lnTo>
                  <a:lnTo>
                    <a:pt x="75" y="365"/>
                  </a:lnTo>
                  <a:lnTo>
                    <a:pt x="75" y="364"/>
                  </a:lnTo>
                  <a:lnTo>
                    <a:pt x="74" y="362"/>
                  </a:lnTo>
                  <a:lnTo>
                    <a:pt x="73" y="362"/>
                  </a:lnTo>
                  <a:lnTo>
                    <a:pt x="73" y="361"/>
                  </a:lnTo>
                  <a:lnTo>
                    <a:pt x="72" y="361"/>
                  </a:lnTo>
                  <a:lnTo>
                    <a:pt x="72" y="360"/>
                  </a:lnTo>
                  <a:lnTo>
                    <a:pt x="70" y="359"/>
                  </a:lnTo>
                  <a:lnTo>
                    <a:pt x="69" y="358"/>
                  </a:lnTo>
                  <a:lnTo>
                    <a:pt x="68" y="357"/>
                  </a:lnTo>
                  <a:lnTo>
                    <a:pt x="68" y="357"/>
                  </a:lnTo>
                  <a:lnTo>
                    <a:pt x="67" y="356"/>
                  </a:lnTo>
                  <a:lnTo>
                    <a:pt x="67" y="355"/>
                  </a:lnTo>
                  <a:lnTo>
                    <a:pt x="66" y="355"/>
                  </a:lnTo>
                  <a:lnTo>
                    <a:pt x="66" y="353"/>
                  </a:lnTo>
                  <a:lnTo>
                    <a:pt x="65" y="352"/>
                  </a:lnTo>
                  <a:lnTo>
                    <a:pt x="65" y="351"/>
                  </a:lnTo>
                  <a:lnTo>
                    <a:pt x="63" y="347"/>
                  </a:lnTo>
                  <a:lnTo>
                    <a:pt x="62" y="343"/>
                  </a:lnTo>
                  <a:lnTo>
                    <a:pt x="61" y="341"/>
                  </a:lnTo>
                  <a:lnTo>
                    <a:pt x="60" y="340"/>
                  </a:lnTo>
                  <a:lnTo>
                    <a:pt x="60" y="339"/>
                  </a:lnTo>
                  <a:lnTo>
                    <a:pt x="59" y="338"/>
                  </a:lnTo>
                  <a:lnTo>
                    <a:pt x="58" y="337"/>
                  </a:lnTo>
                  <a:lnTo>
                    <a:pt x="58" y="336"/>
                  </a:lnTo>
                  <a:lnTo>
                    <a:pt x="57" y="336"/>
                  </a:lnTo>
                  <a:lnTo>
                    <a:pt x="57" y="336"/>
                  </a:lnTo>
                  <a:lnTo>
                    <a:pt x="56" y="336"/>
                  </a:lnTo>
                  <a:lnTo>
                    <a:pt x="55" y="336"/>
                  </a:lnTo>
                  <a:lnTo>
                    <a:pt x="52" y="336"/>
                  </a:lnTo>
                  <a:lnTo>
                    <a:pt x="51" y="336"/>
                  </a:lnTo>
                  <a:lnTo>
                    <a:pt x="49" y="336"/>
                  </a:lnTo>
                  <a:lnTo>
                    <a:pt x="46" y="336"/>
                  </a:lnTo>
                  <a:lnTo>
                    <a:pt x="45" y="336"/>
                  </a:lnTo>
                  <a:lnTo>
                    <a:pt x="44" y="336"/>
                  </a:lnTo>
                  <a:lnTo>
                    <a:pt x="43" y="336"/>
                  </a:lnTo>
                  <a:lnTo>
                    <a:pt x="42" y="335"/>
                  </a:lnTo>
                  <a:lnTo>
                    <a:pt x="41" y="335"/>
                  </a:lnTo>
                  <a:lnTo>
                    <a:pt x="40" y="335"/>
                  </a:lnTo>
                  <a:lnTo>
                    <a:pt x="40" y="334"/>
                  </a:lnTo>
                  <a:lnTo>
                    <a:pt x="39" y="334"/>
                  </a:lnTo>
                  <a:lnTo>
                    <a:pt x="38" y="333"/>
                  </a:lnTo>
                  <a:lnTo>
                    <a:pt x="35" y="330"/>
                  </a:lnTo>
                  <a:lnTo>
                    <a:pt x="34" y="329"/>
                  </a:lnTo>
                  <a:lnTo>
                    <a:pt x="34" y="328"/>
                  </a:lnTo>
                  <a:lnTo>
                    <a:pt x="33" y="326"/>
                  </a:lnTo>
                  <a:lnTo>
                    <a:pt x="32" y="324"/>
                  </a:lnTo>
                  <a:lnTo>
                    <a:pt x="30" y="321"/>
                  </a:lnTo>
                  <a:lnTo>
                    <a:pt x="29" y="318"/>
                  </a:lnTo>
                  <a:lnTo>
                    <a:pt x="28" y="315"/>
                  </a:lnTo>
                  <a:lnTo>
                    <a:pt x="26" y="311"/>
                  </a:lnTo>
                  <a:lnTo>
                    <a:pt x="25" y="308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2" y="306"/>
                  </a:lnTo>
                  <a:lnTo>
                    <a:pt x="20" y="306"/>
                  </a:lnTo>
                  <a:lnTo>
                    <a:pt x="20" y="306"/>
                  </a:lnTo>
                  <a:lnTo>
                    <a:pt x="19" y="305"/>
                  </a:lnTo>
                  <a:lnTo>
                    <a:pt x="18" y="305"/>
                  </a:lnTo>
                  <a:lnTo>
                    <a:pt x="17" y="304"/>
                  </a:lnTo>
                  <a:lnTo>
                    <a:pt x="16" y="303"/>
                  </a:lnTo>
                  <a:lnTo>
                    <a:pt x="16" y="302"/>
                  </a:lnTo>
                  <a:lnTo>
                    <a:pt x="14" y="300"/>
                  </a:lnTo>
                  <a:lnTo>
                    <a:pt x="13" y="299"/>
                  </a:lnTo>
                  <a:lnTo>
                    <a:pt x="13" y="299"/>
                  </a:lnTo>
                  <a:lnTo>
                    <a:pt x="12" y="298"/>
                  </a:lnTo>
                  <a:lnTo>
                    <a:pt x="12" y="297"/>
                  </a:lnTo>
                  <a:lnTo>
                    <a:pt x="11" y="297"/>
                  </a:lnTo>
                  <a:lnTo>
                    <a:pt x="10" y="296"/>
                  </a:lnTo>
                  <a:lnTo>
                    <a:pt x="9" y="296"/>
                  </a:lnTo>
                  <a:lnTo>
                    <a:pt x="9" y="296"/>
                  </a:lnTo>
                  <a:lnTo>
                    <a:pt x="8" y="296"/>
                  </a:lnTo>
                  <a:lnTo>
                    <a:pt x="7" y="295"/>
                  </a:lnTo>
                  <a:lnTo>
                    <a:pt x="5" y="295"/>
                  </a:lnTo>
                  <a:lnTo>
                    <a:pt x="4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2" y="295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1" y="290"/>
                  </a:lnTo>
                  <a:lnTo>
                    <a:pt x="0" y="289"/>
                  </a:lnTo>
                  <a:lnTo>
                    <a:pt x="0" y="288"/>
                  </a:lnTo>
                  <a:lnTo>
                    <a:pt x="0" y="287"/>
                  </a:lnTo>
                  <a:lnTo>
                    <a:pt x="0" y="286"/>
                  </a:lnTo>
                  <a:lnTo>
                    <a:pt x="0" y="285"/>
                  </a:lnTo>
                  <a:lnTo>
                    <a:pt x="0" y="284"/>
                  </a:lnTo>
                  <a:lnTo>
                    <a:pt x="0" y="282"/>
                  </a:lnTo>
                  <a:lnTo>
                    <a:pt x="0" y="281"/>
                  </a:lnTo>
                  <a:lnTo>
                    <a:pt x="0" y="279"/>
                  </a:lnTo>
                  <a:lnTo>
                    <a:pt x="0" y="278"/>
                  </a:lnTo>
                  <a:lnTo>
                    <a:pt x="1" y="276"/>
                  </a:lnTo>
                  <a:lnTo>
                    <a:pt x="1" y="274"/>
                  </a:lnTo>
                  <a:lnTo>
                    <a:pt x="2" y="272"/>
                  </a:lnTo>
                  <a:lnTo>
                    <a:pt x="2" y="271"/>
                  </a:lnTo>
                  <a:lnTo>
                    <a:pt x="2" y="270"/>
                  </a:lnTo>
                  <a:lnTo>
                    <a:pt x="3" y="269"/>
                  </a:lnTo>
                  <a:lnTo>
                    <a:pt x="4" y="266"/>
                  </a:lnTo>
                  <a:lnTo>
                    <a:pt x="5" y="264"/>
                  </a:lnTo>
                  <a:lnTo>
                    <a:pt x="6" y="263"/>
                  </a:lnTo>
                  <a:lnTo>
                    <a:pt x="7" y="262"/>
                  </a:lnTo>
                  <a:lnTo>
                    <a:pt x="8" y="261"/>
                  </a:lnTo>
                  <a:lnTo>
                    <a:pt x="8" y="261"/>
                  </a:lnTo>
                  <a:lnTo>
                    <a:pt x="9" y="260"/>
                  </a:lnTo>
                  <a:lnTo>
                    <a:pt x="9" y="260"/>
                  </a:lnTo>
                  <a:lnTo>
                    <a:pt x="10" y="259"/>
                  </a:lnTo>
                  <a:lnTo>
                    <a:pt x="11" y="259"/>
                  </a:lnTo>
                  <a:lnTo>
                    <a:pt x="13" y="258"/>
                  </a:lnTo>
                  <a:lnTo>
                    <a:pt x="14" y="258"/>
                  </a:lnTo>
                  <a:lnTo>
                    <a:pt x="14" y="257"/>
                  </a:lnTo>
                  <a:lnTo>
                    <a:pt x="15" y="256"/>
                  </a:lnTo>
                  <a:lnTo>
                    <a:pt x="16" y="256"/>
                  </a:lnTo>
                  <a:lnTo>
                    <a:pt x="17" y="255"/>
                  </a:lnTo>
                  <a:lnTo>
                    <a:pt x="17" y="255"/>
                  </a:lnTo>
                  <a:lnTo>
                    <a:pt x="17" y="254"/>
                  </a:lnTo>
                  <a:lnTo>
                    <a:pt x="18" y="253"/>
                  </a:lnTo>
                  <a:lnTo>
                    <a:pt x="18" y="253"/>
                  </a:lnTo>
                  <a:lnTo>
                    <a:pt x="18" y="252"/>
                  </a:lnTo>
                  <a:lnTo>
                    <a:pt x="18" y="251"/>
                  </a:lnTo>
                  <a:lnTo>
                    <a:pt x="18" y="250"/>
                  </a:lnTo>
                  <a:lnTo>
                    <a:pt x="18" y="249"/>
                  </a:lnTo>
                  <a:lnTo>
                    <a:pt x="18" y="248"/>
                  </a:lnTo>
                  <a:lnTo>
                    <a:pt x="18" y="246"/>
                  </a:lnTo>
                  <a:lnTo>
                    <a:pt x="17" y="242"/>
                  </a:lnTo>
                  <a:lnTo>
                    <a:pt x="17" y="241"/>
                  </a:lnTo>
                  <a:lnTo>
                    <a:pt x="17" y="239"/>
                  </a:lnTo>
                  <a:lnTo>
                    <a:pt x="15" y="237"/>
                  </a:lnTo>
                  <a:lnTo>
                    <a:pt x="15" y="235"/>
                  </a:lnTo>
                  <a:lnTo>
                    <a:pt x="15" y="234"/>
                  </a:lnTo>
                  <a:lnTo>
                    <a:pt x="15" y="233"/>
                  </a:lnTo>
                  <a:lnTo>
                    <a:pt x="15" y="233"/>
                  </a:lnTo>
                  <a:lnTo>
                    <a:pt x="15" y="232"/>
                  </a:lnTo>
                  <a:lnTo>
                    <a:pt x="16" y="229"/>
                  </a:lnTo>
                  <a:lnTo>
                    <a:pt x="16" y="228"/>
                  </a:lnTo>
                  <a:lnTo>
                    <a:pt x="16" y="226"/>
                  </a:lnTo>
                  <a:lnTo>
                    <a:pt x="16" y="223"/>
                  </a:lnTo>
                  <a:lnTo>
                    <a:pt x="17" y="221"/>
                  </a:lnTo>
                  <a:lnTo>
                    <a:pt x="17" y="219"/>
                  </a:lnTo>
                  <a:lnTo>
                    <a:pt x="18" y="215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9" y="214"/>
                  </a:lnTo>
                  <a:lnTo>
                    <a:pt x="19" y="214"/>
                  </a:lnTo>
                  <a:lnTo>
                    <a:pt x="20" y="214"/>
                  </a:lnTo>
                  <a:lnTo>
                    <a:pt x="21" y="214"/>
                  </a:lnTo>
                  <a:lnTo>
                    <a:pt x="24" y="214"/>
                  </a:lnTo>
                  <a:lnTo>
                    <a:pt x="25" y="215"/>
                  </a:lnTo>
                  <a:lnTo>
                    <a:pt x="26" y="215"/>
                  </a:lnTo>
                  <a:lnTo>
                    <a:pt x="27" y="215"/>
                  </a:lnTo>
                  <a:lnTo>
                    <a:pt x="28" y="215"/>
                  </a:lnTo>
                  <a:lnTo>
                    <a:pt x="29" y="214"/>
                  </a:lnTo>
                  <a:lnTo>
                    <a:pt x="29" y="214"/>
                  </a:lnTo>
                  <a:lnTo>
                    <a:pt x="30" y="214"/>
                  </a:lnTo>
                  <a:lnTo>
                    <a:pt x="31" y="214"/>
                  </a:lnTo>
                  <a:lnTo>
                    <a:pt x="32" y="213"/>
                  </a:lnTo>
                  <a:lnTo>
                    <a:pt x="33" y="212"/>
                  </a:lnTo>
                  <a:lnTo>
                    <a:pt x="35" y="211"/>
                  </a:lnTo>
                  <a:lnTo>
                    <a:pt x="38" y="209"/>
                  </a:lnTo>
                  <a:lnTo>
                    <a:pt x="38" y="208"/>
                  </a:lnTo>
                  <a:lnTo>
                    <a:pt x="40" y="208"/>
                  </a:lnTo>
                  <a:lnTo>
                    <a:pt x="41" y="207"/>
                  </a:lnTo>
                  <a:lnTo>
                    <a:pt x="44" y="206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6" y="205"/>
                  </a:lnTo>
                  <a:lnTo>
                    <a:pt x="46" y="204"/>
                  </a:lnTo>
                  <a:lnTo>
                    <a:pt x="47" y="201"/>
                  </a:lnTo>
                  <a:lnTo>
                    <a:pt x="48" y="198"/>
                  </a:lnTo>
                  <a:lnTo>
                    <a:pt x="48" y="197"/>
                  </a:lnTo>
                  <a:lnTo>
                    <a:pt x="49" y="196"/>
                  </a:lnTo>
                  <a:lnTo>
                    <a:pt x="49" y="195"/>
                  </a:lnTo>
                  <a:lnTo>
                    <a:pt x="50" y="194"/>
                  </a:lnTo>
                  <a:lnTo>
                    <a:pt x="51" y="193"/>
                  </a:lnTo>
                  <a:lnTo>
                    <a:pt x="52" y="192"/>
                  </a:lnTo>
                  <a:lnTo>
                    <a:pt x="53" y="191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3" y="189"/>
                  </a:lnTo>
                  <a:lnTo>
                    <a:pt x="53" y="188"/>
                  </a:lnTo>
                  <a:lnTo>
                    <a:pt x="53" y="187"/>
                  </a:lnTo>
                  <a:lnTo>
                    <a:pt x="53" y="186"/>
                  </a:lnTo>
                  <a:lnTo>
                    <a:pt x="52" y="185"/>
                  </a:lnTo>
                  <a:lnTo>
                    <a:pt x="52" y="185"/>
                  </a:lnTo>
                  <a:lnTo>
                    <a:pt x="52" y="184"/>
                  </a:lnTo>
                  <a:lnTo>
                    <a:pt x="50" y="182"/>
                  </a:lnTo>
                  <a:lnTo>
                    <a:pt x="50" y="181"/>
                  </a:lnTo>
                  <a:lnTo>
                    <a:pt x="49" y="179"/>
                  </a:lnTo>
                  <a:lnTo>
                    <a:pt x="48" y="178"/>
                  </a:lnTo>
                  <a:lnTo>
                    <a:pt x="48" y="177"/>
                  </a:lnTo>
                  <a:lnTo>
                    <a:pt x="48" y="176"/>
                  </a:lnTo>
                  <a:lnTo>
                    <a:pt x="48" y="176"/>
                  </a:lnTo>
                  <a:lnTo>
                    <a:pt x="48" y="175"/>
                  </a:lnTo>
                  <a:lnTo>
                    <a:pt x="48" y="174"/>
                  </a:lnTo>
                  <a:lnTo>
                    <a:pt x="49" y="174"/>
                  </a:lnTo>
                  <a:lnTo>
                    <a:pt x="49" y="173"/>
                  </a:lnTo>
                  <a:lnTo>
                    <a:pt x="49" y="172"/>
                  </a:lnTo>
                  <a:lnTo>
                    <a:pt x="50" y="172"/>
                  </a:lnTo>
                  <a:lnTo>
                    <a:pt x="51" y="171"/>
                  </a:lnTo>
                  <a:lnTo>
                    <a:pt x="52" y="169"/>
                  </a:lnTo>
                  <a:lnTo>
                    <a:pt x="53" y="169"/>
                  </a:lnTo>
                  <a:lnTo>
                    <a:pt x="53" y="168"/>
                  </a:lnTo>
                  <a:lnTo>
                    <a:pt x="55" y="168"/>
                  </a:lnTo>
                  <a:lnTo>
                    <a:pt x="55" y="167"/>
                  </a:lnTo>
                  <a:lnTo>
                    <a:pt x="56" y="167"/>
                  </a:lnTo>
                  <a:lnTo>
                    <a:pt x="56" y="167"/>
                  </a:lnTo>
                  <a:lnTo>
                    <a:pt x="56" y="166"/>
                  </a:lnTo>
                  <a:lnTo>
                    <a:pt x="57" y="166"/>
                  </a:lnTo>
                  <a:lnTo>
                    <a:pt x="57" y="165"/>
                  </a:lnTo>
                  <a:lnTo>
                    <a:pt x="57" y="164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2"/>
                  </a:lnTo>
                  <a:lnTo>
                    <a:pt x="55" y="161"/>
                  </a:lnTo>
                  <a:lnTo>
                    <a:pt x="54" y="161"/>
                  </a:lnTo>
                  <a:lnTo>
                    <a:pt x="54" y="160"/>
                  </a:lnTo>
                  <a:lnTo>
                    <a:pt x="53" y="159"/>
                  </a:lnTo>
                  <a:lnTo>
                    <a:pt x="53" y="159"/>
                  </a:lnTo>
                  <a:lnTo>
                    <a:pt x="53" y="158"/>
                  </a:lnTo>
                  <a:lnTo>
                    <a:pt x="52" y="158"/>
                  </a:lnTo>
                  <a:lnTo>
                    <a:pt x="52" y="157"/>
                  </a:lnTo>
                  <a:lnTo>
                    <a:pt x="52" y="156"/>
                  </a:lnTo>
                  <a:lnTo>
                    <a:pt x="52" y="156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2" y="154"/>
                  </a:lnTo>
                  <a:lnTo>
                    <a:pt x="52" y="154"/>
                  </a:lnTo>
                  <a:lnTo>
                    <a:pt x="53" y="154"/>
                  </a:lnTo>
                  <a:lnTo>
                    <a:pt x="53" y="153"/>
                  </a:lnTo>
                  <a:lnTo>
                    <a:pt x="53" y="153"/>
                  </a:lnTo>
                  <a:lnTo>
                    <a:pt x="54" y="153"/>
                  </a:lnTo>
                  <a:lnTo>
                    <a:pt x="56" y="152"/>
                  </a:lnTo>
                  <a:lnTo>
                    <a:pt x="56" y="151"/>
                  </a:lnTo>
                  <a:lnTo>
                    <a:pt x="57" y="151"/>
                  </a:lnTo>
                  <a:lnTo>
                    <a:pt x="57" y="151"/>
                  </a:lnTo>
                  <a:lnTo>
                    <a:pt x="57" y="150"/>
                  </a:lnTo>
                  <a:lnTo>
                    <a:pt x="58" y="150"/>
                  </a:lnTo>
                  <a:lnTo>
                    <a:pt x="58" y="149"/>
                  </a:lnTo>
                  <a:lnTo>
                    <a:pt x="58" y="149"/>
                  </a:lnTo>
                  <a:lnTo>
                    <a:pt x="59" y="148"/>
                  </a:lnTo>
                  <a:lnTo>
                    <a:pt x="59" y="147"/>
                  </a:lnTo>
                  <a:lnTo>
                    <a:pt x="59" y="147"/>
                  </a:lnTo>
                  <a:lnTo>
                    <a:pt x="59" y="146"/>
                  </a:lnTo>
                  <a:lnTo>
                    <a:pt x="58" y="145"/>
                  </a:lnTo>
                  <a:lnTo>
                    <a:pt x="58" y="144"/>
                  </a:lnTo>
                  <a:lnTo>
                    <a:pt x="58" y="143"/>
                  </a:lnTo>
                  <a:lnTo>
                    <a:pt x="58" y="142"/>
                  </a:lnTo>
                  <a:lnTo>
                    <a:pt x="59" y="141"/>
                  </a:lnTo>
                  <a:lnTo>
                    <a:pt x="59" y="140"/>
                  </a:lnTo>
                  <a:lnTo>
                    <a:pt x="59" y="139"/>
                  </a:lnTo>
                  <a:lnTo>
                    <a:pt x="59" y="139"/>
                  </a:lnTo>
                  <a:lnTo>
                    <a:pt x="60" y="138"/>
                  </a:lnTo>
                  <a:lnTo>
                    <a:pt x="62" y="136"/>
                  </a:lnTo>
                  <a:lnTo>
                    <a:pt x="62" y="135"/>
                  </a:lnTo>
                  <a:lnTo>
                    <a:pt x="64" y="135"/>
                  </a:lnTo>
                  <a:lnTo>
                    <a:pt x="66" y="133"/>
                  </a:lnTo>
                  <a:lnTo>
                    <a:pt x="69" y="131"/>
                  </a:lnTo>
                  <a:lnTo>
                    <a:pt x="69" y="130"/>
                  </a:lnTo>
                  <a:lnTo>
                    <a:pt x="70" y="130"/>
                  </a:lnTo>
                  <a:lnTo>
                    <a:pt x="70" y="129"/>
                  </a:lnTo>
                  <a:lnTo>
                    <a:pt x="71" y="128"/>
                  </a:lnTo>
                  <a:lnTo>
                    <a:pt x="71" y="126"/>
                  </a:lnTo>
                  <a:lnTo>
                    <a:pt x="72" y="124"/>
                  </a:lnTo>
                  <a:lnTo>
                    <a:pt x="73" y="122"/>
                  </a:lnTo>
                  <a:lnTo>
                    <a:pt x="74" y="121"/>
                  </a:lnTo>
                  <a:lnTo>
                    <a:pt x="75" y="119"/>
                  </a:lnTo>
                  <a:lnTo>
                    <a:pt x="76" y="118"/>
                  </a:lnTo>
                  <a:lnTo>
                    <a:pt x="76" y="117"/>
                  </a:lnTo>
                  <a:lnTo>
                    <a:pt x="76" y="116"/>
                  </a:lnTo>
                  <a:lnTo>
                    <a:pt x="77" y="114"/>
                  </a:lnTo>
                  <a:lnTo>
                    <a:pt x="77" y="113"/>
                  </a:lnTo>
                  <a:lnTo>
                    <a:pt x="77" y="112"/>
                  </a:lnTo>
                  <a:lnTo>
                    <a:pt x="77" y="111"/>
                  </a:lnTo>
                  <a:lnTo>
                    <a:pt x="77" y="110"/>
                  </a:lnTo>
                  <a:lnTo>
                    <a:pt x="76" y="110"/>
                  </a:lnTo>
                  <a:lnTo>
                    <a:pt x="76" y="109"/>
                  </a:lnTo>
                  <a:lnTo>
                    <a:pt x="74" y="107"/>
                  </a:lnTo>
                  <a:lnTo>
                    <a:pt x="74" y="106"/>
                  </a:lnTo>
                  <a:lnTo>
                    <a:pt x="73" y="105"/>
                  </a:lnTo>
                  <a:lnTo>
                    <a:pt x="71" y="102"/>
                  </a:lnTo>
                  <a:lnTo>
                    <a:pt x="71" y="101"/>
                  </a:lnTo>
                  <a:lnTo>
                    <a:pt x="71" y="99"/>
                  </a:lnTo>
                  <a:lnTo>
                    <a:pt x="70" y="98"/>
                  </a:lnTo>
                  <a:lnTo>
                    <a:pt x="70" y="96"/>
                  </a:lnTo>
                  <a:lnTo>
                    <a:pt x="70" y="95"/>
                  </a:lnTo>
                  <a:lnTo>
                    <a:pt x="70" y="93"/>
                  </a:lnTo>
                  <a:lnTo>
                    <a:pt x="71" y="90"/>
                  </a:lnTo>
                  <a:lnTo>
                    <a:pt x="71" y="89"/>
                  </a:lnTo>
                  <a:lnTo>
                    <a:pt x="71" y="88"/>
                  </a:lnTo>
                  <a:lnTo>
                    <a:pt x="72" y="87"/>
                  </a:lnTo>
                  <a:lnTo>
                    <a:pt x="72" y="86"/>
                  </a:lnTo>
                  <a:lnTo>
                    <a:pt x="73" y="84"/>
                  </a:lnTo>
                  <a:lnTo>
                    <a:pt x="75" y="81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5" y="79"/>
                  </a:lnTo>
                  <a:lnTo>
                    <a:pt x="75" y="78"/>
                  </a:lnTo>
                  <a:lnTo>
                    <a:pt x="75" y="77"/>
                  </a:lnTo>
                  <a:lnTo>
                    <a:pt x="74" y="75"/>
                  </a:lnTo>
                  <a:lnTo>
                    <a:pt x="73" y="73"/>
                  </a:lnTo>
                  <a:lnTo>
                    <a:pt x="72" y="72"/>
                  </a:lnTo>
                  <a:lnTo>
                    <a:pt x="72" y="71"/>
                  </a:lnTo>
                  <a:lnTo>
                    <a:pt x="71" y="68"/>
                  </a:lnTo>
                  <a:lnTo>
                    <a:pt x="71" y="67"/>
                  </a:lnTo>
                  <a:lnTo>
                    <a:pt x="71" y="63"/>
                  </a:lnTo>
                  <a:lnTo>
                    <a:pt x="71" y="62"/>
                  </a:lnTo>
                  <a:lnTo>
                    <a:pt x="71" y="61"/>
                  </a:lnTo>
                  <a:lnTo>
                    <a:pt x="71" y="59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69" y="57"/>
                  </a:lnTo>
                  <a:lnTo>
                    <a:pt x="68" y="56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4"/>
                  </a:lnTo>
                  <a:lnTo>
                    <a:pt x="68" y="54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68" y="52"/>
                  </a:lnTo>
                  <a:lnTo>
                    <a:pt x="69" y="47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70" y="45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4" y="44"/>
                  </a:lnTo>
                  <a:lnTo>
                    <a:pt x="76" y="44"/>
                  </a:lnTo>
                  <a:lnTo>
                    <a:pt x="77" y="44"/>
                  </a:lnTo>
                  <a:lnTo>
                    <a:pt x="80" y="43"/>
                  </a:lnTo>
                  <a:lnTo>
                    <a:pt x="83" y="42"/>
                  </a:lnTo>
                  <a:lnTo>
                    <a:pt x="85" y="41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90" y="40"/>
                  </a:lnTo>
                  <a:lnTo>
                    <a:pt x="90" y="41"/>
                  </a:lnTo>
                  <a:lnTo>
                    <a:pt x="92" y="43"/>
                  </a:lnTo>
                  <a:lnTo>
                    <a:pt x="93" y="43"/>
                  </a:lnTo>
                  <a:lnTo>
                    <a:pt x="93" y="43"/>
                  </a:lnTo>
                  <a:lnTo>
                    <a:pt x="94" y="43"/>
                  </a:lnTo>
                  <a:lnTo>
                    <a:pt x="95" y="44"/>
                  </a:lnTo>
                  <a:lnTo>
                    <a:pt x="95" y="44"/>
                  </a:lnTo>
                  <a:lnTo>
                    <a:pt x="96" y="44"/>
                  </a:lnTo>
                  <a:lnTo>
                    <a:pt x="96" y="43"/>
                  </a:lnTo>
                  <a:lnTo>
                    <a:pt x="97" y="43"/>
                  </a:lnTo>
                  <a:lnTo>
                    <a:pt x="98" y="43"/>
                  </a:lnTo>
                  <a:lnTo>
                    <a:pt x="100" y="41"/>
                  </a:lnTo>
                  <a:lnTo>
                    <a:pt x="101" y="41"/>
                  </a:lnTo>
                  <a:lnTo>
                    <a:pt x="102" y="41"/>
                  </a:lnTo>
                  <a:lnTo>
                    <a:pt x="103" y="41"/>
                  </a:lnTo>
                  <a:lnTo>
                    <a:pt x="104" y="41"/>
                  </a:lnTo>
                  <a:lnTo>
                    <a:pt x="104" y="41"/>
                  </a:lnTo>
                  <a:lnTo>
                    <a:pt x="105" y="41"/>
                  </a:lnTo>
                  <a:lnTo>
                    <a:pt x="105" y="42"/>
                  </a:lnTo>
                  <a:lnTo>
                    <a:pt x="108" y="43"/>
                  </a:lnTo>
                  <a:lnTo>
                    <a:pt x="108" y="44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1" y="45"/>
                  </a:lnTo>
                  <a:lnTo>
                    <a:pt x="111" y="46"/>
                  </a:lnTo>
                  <a:lnTo>
                    <a:pt x="112" y="46"/>
                  </a:lnTo>
                  <a:lnTo>
                    <a:pt x="112" y="47"/>
                  </a:lnTo>
                  <a:lnTo>
                    <a:pt x="113" y="47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6" y="48"/>
                  </a:lnTo>
                  <a:lnTo>
                    <a:pt x="117" y="49"/>
                  </a:lnTo>
                  <a:lnTo>
                    <a:pt x="118" y="49"/>
                  </a:lnTo>
                  <a:lnTo>
                    <a:pt x="119" y="49"/>
                  </a:lnTo>
                  <a:lnTo>
                    <a:pt x="120" y="49"/>
                  </a:lnTo>
                  <a:lnTo>
                    <a:pt x="121" y="49"/>
                  </a:lnTo>
                  <a:lnTo>
                    <a:pt x="122" y="48"/>
                  </a:lnTo>
                  <a:lnTo>
                    <a:pt x="123" y="48"/>
                  </a:lnTo>
                  <a:lnTo>
                    <a:pt x="123" y="47"/>
                  </a:lnTo>
                  <a:lnTo>
                    <a:pt x="125" y="46"/>
                  </a:lnTo>
                  <a:lnTo>
                    <a:pt x="126" y="46"/>
                  </a:lnTo>
                  <a:lnTo>
                    <a:pt x="127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32" y="44"/>
                  </a:lnTo>
                  <a:lnTo>
                    <a:pt x="133" y="44"/>
                  </a:lnTo>
                  <a:lnTo>
                    <a:pt x="134" y="44"/>
                  </a:lnTo>
                  <a:lnTo>
                    <a:pt x="134" y="44"/>
                  </a:lnTo>
                  <a:lnTo>
                    <a:pt x="135" y="43"/>
                  </a:lnTo>
                  <a:lnTo>
                    <a:pt x="136" y="43"/>
                  </a:lnTo>
                  <a:lnTo>
                    <a:pt x="138" y="41"/>
                  </a:lnTo>
                  <a:lnTo>
                    <a:pt x="139" y="41"/>
                  </a:lnTo>
                  <a:lnTo>
                    <a:pt x="139" y="41"/>
                  </a:lnTo>
                  <a:lnTo>
                    <a:pt x="141" y="40"/>
                  </a:lnTo>
                  <a:lnTo>
                    <a:pt x="141" y="40"/>
                  </a:lnTo>
                  <a:lnTo>
                    <a:pt x="142" y="40"/>
                  </a:lnTo>
                  <a:lnTo>
                    <a:pt x="142" y="39"/>
                  </a:lnTo>
                  <a:lnTo>
                    <a:pt x="143" y="39"/>
                  </a:lnTo>
                  <a:lnTo>
                    <a:pt x="143" y="38"/>
                  </a:lnTo>
                  <a:lnTo>
                    <a:pt x="144" y="37"/>
                  </a:lnTo>
                  <a:lnTo>
                    <a:pt x="144" y="36"/>
                  </a:lnTo>
                  <a:lnTo>
                    <a:pt x="145" y="35"/>
                  </a:lnTo>
                  <a:lnTo>
                    <a:pt x="146" y="33"/>
                  </a:lnTo>
                  <a:lnTo>
                    <a:pt x="147" y="31"/>
                  </a:lnTo>
                  <a:lnTo>
                    <a:pt x="147" y="30"/>
                  </a:lnTo>
                  <a:lnTo>
                    <a:pt x="147" y="30"/>
                  </a:lnTo>
                  <a:lnTo>
                    <a:pt x="148" y="29"/>
                  </a:lnTo>
                  <a:lnTo>
                    <a:pt x="148" y="29"/>
                  </a:lnTo>
                  <a:lnTo>
                    <a:pt x="149" y="28"/>
                  </a:lnTo>
                  <a:lnTo>
                    <a:pt x="150" y="28"/>
                  </a:lnTo>
                  <a:lnTo>
                    <a:pt x="153" y="26"/>
                  </a:lnTo>
                  <a:lnTo>
                    <a:pt x="156" y="25"/>
                  </a:lnTo>
                  <a:lnTo>
                    <a:pt x="157" y="24"/>
                  </a:lnTo>
                  <a:lnTo>
                    <a:pt x="158" y="24"/>
                  </a:lnTo>
                  <a:lnTo>
                    <a:pt x="160" y="23"/>
                  </a:lnTo>
                  <a:lnTo>
                    <a:pt x="162" y="23"/>
                  </a:lnTo>
                  <a:lnTo>
                    <a:pt x="162" y="23"/>
                  </a:lnTo>
                  <a:close/>
                </a:path>
              </a:pathLst>
            </a:custGeom>
            <a:solidFill>
              <a:srgbClr val="FFCC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Freeform 47">
              <a:extLst>
                <a:ext uri="{FF2B5EF4-FFF2-40B4-BE49-F238E27FC236}">
                  <a16:creationId xmlns:a16="http://schemas.microsoft.com/office/drawing/2014/main" id="{14C94EAA-88AD-D5CB-1403-69C1DDF9F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0" y="3533"/>
              <a:ext cx="462" cy="417"/>
            </a:xfrm>
            <a:custGeom>
              <a:avLst/>
              <a:gdLst>
                <a:gd name="T0" fmla="*/ 4 w 462"/>
                <a:gd name="T1" fmla="*/ 37 h 417"/>
                <a:gd name="T2" fmla="*/ 26 w 462"/>
                <a:gd name="T3" fmla="*/ 36 h 417"/>
                <a:gd name="T4" fmla="*/ 49 w 462"/>
                <a:gd name="T5" fmla="*/ 26 h 417"/>
                <a:gd name="T6" fmla="*/ 68 w 462"/>
                <a:gd name="T7" fmla="*/ 26 h 417"/>
                <a:gd name="T8" fmla="*/ 80 w 462"/>
                <a:gd name="T9" fmla="*/ 37 h 417"/>
                <a:gd name="T10" fmla="*/ 96 w 462"/>
                <a:gd name="T11" fmla="*/ 35 h 417"/>
                <a:gd name="T12" fmla="*/ 103 w 462"/>
                <a:gd name="T13" fmla="*/ 28 h 417"/>
                <a:gd name="T14" fmla="*/ 121 w 462"/>
                <a:gd name="T15" fmla="*/ 36 h 417"/>
                <a:gd name="T16" fmla="*/ 137 w 462"/>
                <a:gd name="T17" fmla="*/ 36 h 417"/>
                <a:gd name="T18" fmla="*/ 157 w 462"/>
                <a:gd name="T19" fmla="*/ 36 h 417"/>
                <a:gd name="T20" fmla="*/ 167 w 462"/>
                <a:gd name="T21" fmla="*/ 45 h 417"/>
                <a:gd name="T22" fmla="*/ 180 w 462"/>
                <a:gd name="T23" fmla="*/ 43 h 417"/>
                <a:gd name="T24" fmla="*/ 201 w 462"/>
                <a:gd name="T25" fmla="*/ 29 h 417"/>
                <a:gd name="T26" fmla="*/ 201 w 462"/>
                <a:gd name="T27" fmla="*/ 10 h 417"/>
                <a:gd name="T28" fmla="*/ 213 w 462"/>
                <a:gd name="T29" fmla="*/ 1 h 417"/>
                <a:gd name="T30" fmla="*/ 235 w 462"/>
                <a:gd name="T31" fmla="*/ 15 h 417"/>
                <a:gd name="T32" fmla="*/ 245 w 462"/>
                <a:gd name="T33" fmla="*/ 18 h 417"/>
                <a:gd name="T34" fmla="*/ 259 w 462"/>
                <a:gd name="T35" fmla="*/ 31 h 417"/>
                <a:gd name="T36" fmla="*/ 260 w 462"/>
                <a:gd name="T37" fmla="*/ 42 h 417"/>
                <a:gd name="T38" fmla="*/ 258 w 462"/>
                <a:gd name="T39" fmla="*/ 53 h 417"/>
                <a:gd name="T40" fmla="*/ 257 w 462"/>
                <a:gd name="T41" fmla="*/ 77 h 417"/>
                <a:gd name="T42" fmla="*/ 250 w 462"/>
                <a:gd name="T43" fmla="*/ 103 h 417"/>
                <a:gd name="T44" fmla="*/ 259 w 462"/>
                <a:gd name="T45" fmla="*/ 119 h 417"/>
                <a:gd name="T46" fmla="*/ 255 w 462"/>
                <a:gd name="T47" fmla="*/ 132 h 417"/>
                <a:gd name="T48" fmla="*/ 277 w 462"/>
                <a:gd name="T49" fmla="*/ 155 h 417"/>
                <a:gd name="T50" fmla="*/ 296 w 462"/>
                <a:gd name="T51" fmla="*/ 154 h 417"/>
                <a:gd name="T52" fmla="*/ 311 w 462"/>
                <a:gd name="T53" fmla="*/ 164 h 417"/>
                <a:gd name="T54" fmla="*/ 311 w 462"/>
                <a:gd name="T55" fmla="*/ 171 h 417"/>
                <a:gd name="T56" fmla="*/ 327 w 462"/>
                <a:gd name="T57" fmla="*/ 181 h 417"/>
                <a:gd name="T58" fmla="*/ 348 w 462"/>
                <a:gd name="T59" fmla="*/ 180 h 417"/>
                <a:gd name="T60" fmla="*/ 371 w 462"/>
                <a:gd name="T61" fmla="*/ 185 h 417"/>
                <a:gd name="T62" fmla="*/ 386 w 462"/>
                <a:gd name="T63" fmla="*/ 192 h 417"/>
                <a:gd name="T64" fmla="*/ 391 w 462"/>
                <a:gd name="T65" fmla="*/ 214 h 417"/>
                <a:gd name="T66" fmla="*/ 415 w 462"/>
                <a:gd name="T67" fmla="*/ 225 h 417"/>
                <a:gd name="T68" fmla="*/ 440 w 462"/>
                <a:gd name="T69" fmla="*/ 225 h 417"/>
                <a:gd name="T70" fmla="*/ 452 w 462"/>
                <a:gd name="T71" fmla="*/ 226 h 417"/>
                <a:gd name="T72" fmla="*/ 459 w 462"/>
                <a:gd name="T73" fmla="*/ 237 h 417"/>
                <a:gd name="T74" fmla="*/ 456 w 462"/>
                <a:gd name="T75" fmla="*/ 250 h 417"/>
                <a:gd name="T76" fmla="*/ 446 w 462"/>
                <a:gd name="T77" fmla="*/ 264 h 417"/>
                <a:gd name="T78" fmla="*/ 432 w 462"/>
                <a:gd name="T79" fmla="*/ 284 h 417"/>
                <a:gd name="T80" fmla="*/ 441 w 462"/>
                <a:gd name="T81" fmla="*/ 289 h 417"/>
                <a:gd name="T82" fmla="*/ 458 w 462"/>
                <a:gd name="T83" fmla="*/ 303 h 417"/>
                <a:gd name="T84" fmla="*/ 455 w 462"/>
                <a:gd name="T85" fmla="*/ 313 h 417"/>
                <a:gd name="T86" fmla="*/ 449 w 462"/>
                <a:gd name="T87" fmla="*/ 320 h 417"/>
                <a:gd name="T88" fmla="*/ 431 w 462"/>
                <a:gd name="T89" fmla="*/ 312 h 417"/>
                <a:gd name="T90" fmla="*/ 407 w 462"/>
                <a:gd name="T91" fmla="*/ 302 h 417"/>
                <a:gd name="T92" fmla="*/ 375 w 462"/>
                <a:gd name="T93" fmla="*/ 292 h 417"/>
                <a:gd name="T94" fmla="*/ 364 w 462"/>
                <a:gd name="T95" fmla="*/ 298 h 417"/>
                <a:gd name="T96" fmla="*/ 341 w 462"/>
                <a:gd name="T97" fmla="*/ 308 h 417"/>
                <a:gd name="T98" fmla="*/ 331 w 462"/>
                <a:gd name="T99" fmla="*/ 306 h 417"/>
                <a:gd name="T100" fmla="*/ 323 w 462"/>
                <a:gd name="T101" fmla="*/ 286 h 417"/>
                <a:gd name="T102" fmla="*/ 300 w 462"/>
                <a:gd name="T103" fmla="*/ 280 h 417"/>
                <a:gd name="T104" fmla="*/ 282 w 462"/>
                <a:gd name="T105" fmla="*/ 279 h 417"/>
                <a:gd name="T106" fmla="*/ 275 w 462"/>
                <a:gd name="T107" fmla="*/ 298 h 417"/>
                <a:gd name="T108" fmla="*/ 276 w 462"/>
                <a:gd name="T109" fmla="*/ 340 h 417"/>
                <a:gd name="T110" fmla="*/ 270 w 462"/>
                <a:gd name="T111" fmla="*/ 370 h 417"/>
                <a:gd name="T112" fmla="*/ 273 w 462"/>
                <a:gd name="T113" fmla="*/ 390 h 417"/>
                <a:gd name="T114" fmla="*/ 247 w 462"/>
                <a:gd name="T115" fmla="*/ 389 h 417"/>
                <a:gd name="T116" fmla="*/ 225 w 462"/>
                <a:gd name="T117" fmla="*/ 388 h 417"/>
                <a:gd name="T118" fmla="*/ 215 w 462"/>
                <a:gd name="T119" fmla="*/ 414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62" h="417">
                  <a:moveTo>
                    <a:pt x="0" y="23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5"/>
                  </a:lnTo>
                  <a:lnTo>
                    <a:pt x="1" y="29"/>
                  </a:lnTo>
                  <a:lnTo>
                    <a:pt x="1" y="31"/>
                  </a:lnTo>
                  <a:lnTo>
                    <a:pt x="1" y="32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4" y="37"/>
                  </a:lnTo>
                  <a:lnTo>
                    <a:pt x="5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8" y="38"/>
                  </a:lnTo>
                  <a:lnTo>
                    <a:pt x="9" y="37"/>
                  </a:lnTo>
                  <a:lnTo>
                    <a:pt x="10" y="37"/>
                  </a:lnTo>
                  <a:lnTo>
                    <a:pt x="11" y="37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4" y="37"/>
                  </a:lnTo>
                  <a:lnTo>
                    <a:pt x="16" y="37"/>
                  </a:lnTo>
                  <a:lnTo>
                    <a:pt x="17" y="37"/>
                  </a:lnTo>
                  <a:lnTo>
                    <a:pt x="19" y="36"/>
                  </a:lnTo>
                  <a:lnTo>
                    <a:pt x="20" y="36"/>
                  </a:lnTo>
                  <a:lnTo>
                    <a:pt x="21" y="36"/>
                  </a:lnTo>
                  <a:lnTo>
                    <a:pt x="25" y="36"/>
                  </a:lnTo>
                  <a:lnTo>
                    <a:pt x="26" y="36"/>
                  </a:lnTo>
                  <a:lnTo>
                    <a:pt x="34" y="36"/>
                  </a:lnTo>
                  <a:lnTo>
                    <a:pt x="37" y="35"/>
                  </a:lnTo>
                  <a:lnTo>
                    <a:pt x="39" y="35"/>
                  </a:lnTo>
                  <a:lnTo>
                    <a:pt x="40" y="35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5" y="34"/>
                  </a:lnTo>
                  <a:lnTo>
                    <a:pt x="45" y="32"/>
                  </a:lnTo>
                  <a:lnTo>
                    <a:pt x="46" y="31"/>
                  </a:lnTo>
                  <a:lnTo>
                    <a:pt x="47" y="30"/>
                  </a:lnTo>
                  <a:lnTo>
                    <a:pt x="48" y="28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50" y="25"/>
                  </a:lnTo>
                  <a:lnTo>
                    <a:pt x="50" y="24"/>
                  </a:lnTo>
                  <a:lnTo>
                    <a:pt x="51" y="24"/>
                  </a:lnTo>
                  <a:lnTo>
                    <a:pt x="52" y="24"/>
                  </a:lnTo>
                  <a:lnTo>
                    <a:pt x="55" y="23"/>
                  </a:lnTo>
                  <a:lnTo>
                    <a:pt x="57" y="22"/>
                  </a:lnTo>
                  <a:lnTo>
                    <a:pt x="58" y="22"/>
                  </a:lnTo>
                  <a:lnTo>
                    <a:pt x="59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1" y="22"/>
                  </a:lnTo>
                  <a:lnTo>
                    <a:pt x="63" y="23"/>
                  </a:lnTo>
                  <a:lnTo>
                    <a:pt x="64" y="23"/>
                  </a:lnTo>
                  <a:lnTo>
                    <a:pt x="65" y="24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8" y="26"/>
                  </a:lnTo>
                  <a:lnTo>
                    <a:pt x="69" y="28"/>
                  </a:lnTo>
                  <a:lnTo>
                    <a:pt x="69" y="28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3" y="30"/>
                  </a:lnTo>
                  <a:lnTo>
                    <a:pt x="74" y="31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7" y="33"/>
                  </a:lnTo>
                  <a:lnTo>
                    <a:pt x="78" y="33"/>
                  </a:lnTo>
                  <a:lnTo>
                    <a:pt x="79" y="34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80" y="37"/>
                  </a:lnTo>
                  <a:lnTo>
                    <a:pt x="80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2" y="39"/>
                  </a:lnTo>
                  <a:lnTo>
                    <a:pt x="83" y="39"/>
                  </a:lnTo>
                  <a:lnTo>
                    <a:pt x="85" y="39"/>
                  </a:lnTo>
                  <a:lnTo>
                    <a:pt x="86" y="39"/>
                  </a:lnTo>
                  <a:lnTo>
                    <a:pt x="87" y="39"/>
                  </a:lnTo>
                  <a:lnTo>
                    <a:pt x="88" y="39"/>
                  </a:lnTo>
                  <a:lnTo>
                    <a:pt x="90" y="39"/>
                  </a:lnTo>
                  <a:lnTo>
                    <a:pt x="90" y="38"/>
                  </a:lnTo>
                  <a:lnTo>
                    <a:pt x="91" y="38"/>
                  </a:lnTo>
                  <a:lnTo>
                    <a:pt x="91" y="38"/>
                  </a:lnTo>
                  <a:lnTo>
                    <a:pt x="94" y="36"/>
                  </a:lnTo>
                  <a:lnTo>
                    <a:pt x="95" y="35"/>
                  </a:lnTo>
                  <a:lnTo>
                    <a:pt x="96" y="35"/>
                  </a:lnTo>
                  <a:lnTo>
                    <a:pt x="97" y="34"/>
                  </a:lnTo>
                  <a:lnTo>
                    <a:pt x="98" y="34"/>
                  </a:lnTo>
                  <a:lnTo>
                    <a:pt x="99" y="34"/>
                  </a:lnTo>
                  <a:lnTo>
                    <a:pt x="100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3"/>
                  </a:lnTo>
                  <a:lnTo>
                    <a:pt x="103" y="33"/>
                  </a:lnTo>
                  <a:lnTo>
                    <a:pt x="103" y="32"/>
                  </a:lnTo>
                  <a:lnTo>
                    <a:pt x="103" y="30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5" y="28"/>
                  </a:lnTo>
                  <a:lnTo>
                    <a:pt x="106" y="28"/>
                  </a:lnTo>
                  <a:lnTo>
                    <a:pt x="108" y="30"/>
                  </a:lnTo>
                  <a:lnTo>
                    <a:pt x="109" y="30"/>
                  </a:lnTo>
                  <a:lnTo>
                    <a:pt x="110" y="31"/>
                  </a:lnTo>
                  <a:lnTo>
                    <a:pt x="112" y="31"/>
                  </a:lnTo>
                  <a:lnTo>
                    <a:pt x="113" y="32"/>
                  </a:lnTo>
                  <a:lnTo>
                    <a:pt x="114" y="32"/>
                  </a:lnTo>
                  <a:lnTo>
                    <a:pt x="117" y="35"/>
                  </a:lnTo>
                  <a:lnTo>
                    <a:pt x="118" y="35"/>
                  </a:lnTo>
                  <a:lnTo>
                    <a:pt x="119" y="36"/>
                  </a:lnTo>
                  <a:lnTo>
                    <a:pt x="120" y="36"/>
                  </a:lnTo>
                  <a:lnTo>
                    <a:pt x="120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2" y="36"/>
                  </a:lnTo>
                  <a:lnTo>
                    <a:pt x="123" y="35"/>
                  </a:lnTo>
                  <a:lnTo>
                    <a:pt x="124" y="34"/>
                  </a:lnTo>
                  <a:lnTo>
                    <a:pt x="125" y="34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7" y="33"/>
                  </a:lnTo>
                  <a:lnTo>
                    <a:pt x="128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2" y="34"/>
                  </a:lnTo>
                  <a:lnTo>
                    <a:pt x="133" y="34"/>
                  </a:lnTo>
                  <a:lnTo>
                    <a:pt x="133" y="34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7" y="36"/>
                  </a:lnTo>
                  <a:lnTo>
                    <a:pt x="138" y="36"/>
                  </a:lnTo>
                  <a:lnTo>
                    <a:pt x="140" y="36"/>
                  </a:lnTo>
                  <a:lnTo>
                    <a:pt x="144" y="37"/>
                  </a:lnTo>
                  <a:lnTo>
                    <a:pt x="145" y="37"/>
                  </a:lnTo>
                  <a:lnTo>
                    <a:pt x="147" y="37"/>
                  </a:lnTo>
                  <a:lnTo>
                    <a:pt x="148" y="37"/>
                  </a:lnTo>
                  <a:lnTo>
                    <a:pt x="149" y="37"/>
                  </a:lnTo>
                  <a:lnTo>
                    <a:pt x="151" y="36"/>
                  </a:lnTo>
                  <a:lnTo>
                    <a:pt x="152" y="36"/>
                  </a:lnTo>
                  <a:lnTo>
                    <a:pt x="154" y="36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7" y="35"/>
                  </a:lnTo>
                  <a:lnTo>
                    <a:pt x="157" y="36"/>
                  </a:lnTo>
                  <a:lnTo>
                    <a:pt x="157" y="36"/>
                  </a:lnTo>
                  <a:lnTo>
                    <a:pt x="157" y="37"/>
                  </a:lnTo>
                  <a:lnTo>
                    <a:pt x="156" y="40"/>
                  </a:lnTo>
                  <a:lnTo>
                    <a:pt x="156" y="40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7" y="42"/>
                  </a:lnTo>
                  <a:lnTo>
                    <a:pt x="157" y="42"/>
                  </a:lnTo>
                  <a:lnTo>
                    <a:pt x="158" y="42"/>
                  </a:lnTo>
                  <a:lnTo>
                    <a:pt x="158" y="43"/>
                  </a:lnTo>
                  <a:lnTo>
                    <a:pt x="159" y="43"/>
                  </a:lnTo>
                  <a:lnTo>
                    <a:pt x="159" y="43"/>
                  </a:lnTo>
                  <a:lnTo>
                    <a:pt x="161" y="43"/>
                  </a:lnTo>
                  <a:lnTo>
                    <a:pt x="163" y="44"/>
                  </a:lnTo>
                  <a:lnTo>
                    <a:pt x="164" y="44"/>
                  </a:lnTo>
                  <a:lnTo>
                    <a:pt x="166" y="44"/>
                  </a:lnTo>
                  <a:lnTo>
                    <a:pt x="167" y="45"/>
                  </a:lnTo>
                  <a:lnTo>
                    <a:pt x="169" y="45"/>
                  </a:lnTo>
                  <a:lnTo>
                    <a:pt x="170" y="46"/>
                  </a:lnTo>
                  <a:lnTo>
                    <a:pt x="171" y="46"/>
                  </a:lnTo>
                  <a:lnTo>
                    <a:pt x="173" y="48"/>
                  </a:lnTo>
                  <a:lnTo>
                    <a:pt x="173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6" y="48"/>
                  </a:lnTo>
                  <a:lnTo>
                    <a:pt x="176" y="47"/>
                  </a:lnTo>
                  <a:lnTo>
                    <a:pt x="177" y="47"/>
                  </a:lnTo>
                  <a:lnTo>
                    <a:pt x="178" y="45"/>
                  </a:lnTo>
                  <a:lnTo>
                    <a:pt x="179" y="44"/>
                  </a:lnTo>
                  <a:lnTo>
                    <a:pt x="180" y="43"/>
                  </a:lnTo>
                  <a:lnTo>
                    <a:pt x="181" y="41"/>
                  </a:lnTo>
                  <a:lnTo>
                    <a:pt x="182" y="40"/>
                  </a:lnTo>
                  <a:lnTo>
                    <a:pt x="185" y="38"/>
                  </a:lnTo>
                  <a:lnTo>
                    <a:pt x="187" y="36"/>
                  </a:lnTo>
                  <a:lnTo>
                    <a:pt x="189" y="35"/>
                  </a:lnTo>
                  <a:lnTo>
                    <a:pt x="190" y="34"/>
                  </a:lnTo>
                  <a:lnTo>
                    <a:pt x="191" y="34"/>
                  </a:lnTo>
                  <a:lnTo>
                    <a:pt x="192" y="34"/>
                  </a:lnTo>
                  <a:lnTo>
                    <a:pt x="195" y="33"/>
                  </a:lnTo>
                  <a:lnTo>
                    <a:pt x="196" y="32"/>
                  </a:lnTo>
                  <a:lnTo>
                    <a:pt x="197" y="32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1" y="29"/>
                  </a:lnTo>
                  <a:lnTo>
                    <a:pt x="201" y="28"/>
                  </a:lnTo>
                  <a:lnTo>
                    <a:pt x="201" y="28"/>
                  </a:lnTo>
                  <a:lnTo>
                    <a:pt x="201" y="27"/>
                  </a:lnTo>
                  <a:lnTo>
                    <a:pt x="200" y="25"/>
                  </a:lnTo>
                  <a:lnTo>
                    <a:pt x="200" y="23"/>
                  </a:lnTo>
                  <a:lnTo>
                    <a:pt x="199" y="21"/>
                  </a:lnTo>
                  <a:lnTo>
                    <a:pt x="199" y="20"/>
                  </a:lnTo>
                  <a:lnTo>
                    <a:pt x="199" y="20"/>
                  </a:lnTo>
                  <a:lnTo>
                    <a:pt x="199" y="18"/>
                  </a:lnTo>
                  <a:lnTo>
                    <a:pt x="199" y="17"/>
                  </a:lnTo>
                  <a:lnTo>
                    <a:pt x="200" y="15"/>
                  </a:lnTo>
                  <a:lnTo>
                    <a:pt x="200" y="14"/>
                  </a:lnTo>
                  <a:lnTo>
                    <a:pt x="200" y="13"/>
                  </a:lnTo>
                  <a:lnTo>
                    <a:pt x="200" y="11"/>
                  </a:lnTo>
                  <a:lnTo>
                    <a:pt x="200" y="11"/>
                  </a:lnTo>
                  <a:lnTo>
                    <a:pt x="200" y="10"/>
                  </a:lnTo>
                  <a:lnTo>
                    <a:pt x="201" y="10"/>
                  </a:lnTo>
                  <a:lnTo>
                    <a:pt x="201" y="9"/>
                  </a:lnTo>
                  <a:lnTo>
                    <a:pt x="202" y="9"/>
                  </a:lnTo>
                  <a:lnTo>
                    <a:pt x="203" y="8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4" y="5"/>
                  </a:lnTo>
                  <a:lnTo>
                    <a:pt x="205" y="5"/>
                  </a:lnTo>
                  <a:lnTo>
                    <a:pt x="205" y="4"/>
                  </a:lnTo>
                  <a:lnTo>
                    <a:pt x="206" y="3"/>
                  </a:lnTo>
                  <a:lnTo>
                    <a:pt x="208" y="2"/>
                  </a:lnTo>
                  <a:lnTo>
                    <a:pt x="210" y="1"/>
                  </a:lnTo>
                  <a:lnTo>
                    <a:pt x="210" y="1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2" y="0"/>
                  </a:lnTo>
                  <a:lnTo>
                    <a:pt x="213" y="1"/>
                  </a:lnTo>
                  <a:lnTo>
                    <a:pt x="214" y="1"/>
                  </a:lnTo>
                  <a:lnTo>
                    <a:pt x="216" y="3"/>
                  </a:lnTo>
                  <a:lnTo>
                    <a:pt x="217" y="3"/>
                  </a:lnTo>
                  <a:lnTo>
                    <a:pt x="218" y="4"/>
                  </a:lnTo>
                  <a:lnTo>
                    <a:pt x="222" y="6"/>
                  </a:lnTo>
                  <a:lnTo>
                    <a:pt x="223" y="7"/>
                  </a:lnTo>
                  <a:lnTo>
                    <a:pt x="224" y="7"/>
                  </a:lnTo>
                  <a:lnTo>
                    <a:pt x="225" y="8"/>
                  </a:lnTo>
                  <a:lnTo>
                    <a:pt x="226" y="9"/>
                  </a:lnTo>
                  <a:lnTo>
                    <a:pt x="229" y="11"/>
                  </a:lnTo>
                  <a:lnTo>
                    <a:pt x="231" y="13"/>
                  </a:lnTo>
                  <a:lnTo>
                    <a:pt x="232" y="13"/>
                  </a:lnTo>
                  <a:lnTo>
                    <a:pt x="233" y="14"/>
                  </a:lnTo>
                  <a:lnTo>
                    <a:pt x="234" y="15"/>
                  </a:lnTo>
                  <a:lnTo>
                    <a:pt x="234" y="15"/>
                  </a:lnTo>
                  <a:lnTo>
                    <a:pt x="235" y="15"/>
                  </a:lnTo>
                  <a:lnTo>
                    <a:pt x="235" y="15"/>
                  </a:lnTo>
                  <a:lnTo>
                    <a:pt x="236" y="15"/>
                  </a:lnTo>
                  <a:lnTo>
                    <a:pt x="236" y="15"/>
                  </a:lnTo>
                  <a:lnTo>
                    <a:pt x="237" y="15"/>
                  </a:lnTo>
                  <a:lnTo>
                    <a:pt x="238" y="14"/>
                  </a:lnTo>
                  <a:lnTo>
                    <a:pt x="239" y="14"/>
                  </a:lnTo>
                  <a:lnTo>
                    <a:pt x="240" y="13"/>
                  </a:lnTo>
                  <a:lnTo>
                    <a:pt x="241" y="13"/>
                  </a:lnTo>
                  <a:lnTo>
                    <a:pt x="241" y="13"/>
                  </a:lnTo>
                  <a:lnTo>
                    <a:pt x="242" y="13"/>
                  </a:lnTo>
                  <a:lnTo>
                    <a:pt x="242" y="13"/>
                  </a:lnTo>
                  <a:lnTo>
                    <a:pt x="243" y="13"/>
                  </a:lnTo>
                  <a:lnTo>
                    <a:pt x="243" y="13"/>
                  </a:lnTo>
                  <a:lnTo>
                    <a:pt x="243" y="14"/>
                  </a:lnTo>
                  <a:lnTo>
                    <a:pt x="243" y="14"/>
                  </a:lnTo>
                  <a:lnTo>
                    <a:pt x="244" y="15"/>
                  </a:lnTo>
                  <a:lnTo>
                    <a:pt x="244" y="17"/>
                  </a:lnTo>
                  <a:lnTo>
                    <a:pt x="245" y="18"/>
                  </a:lnTo>
                  <a:lnTo>
                    <a:pt x="246" y="20"/>
                  </a:lnTo>
                  <a:lnTo>
                    <a:pt x="247" y="23"/>
                  </a:lnTo>
                  <a:lnTo>
                    <a:pt x="248" y="25"/>
                  </a:lnTo>
                  <a:lnTo>
                    <a:pt x="249" y="27"/>
                  </a:lnTo>
                  <a:lnTo>
                    <a:pt x="250" y="28"/>
                  </a:lnTo>
                  <a:lnTo>
                    <a:pt x="251" y="28"/>
                  </a:lnTo>
                  <a:lnTo>
                    <a:pt x="251" y="29"/>
                  </a:lnTo>
                  <a:lnTo>
                    <a:pt x="252" y="30"/>
                  </a:lnTo>
                  <a:lnTo>
                    <a:pt x="253" y="30"/>
                  </a:lnTo>
                  <a:lnTo>
                    <a:pt x="253" y="30"/>
                  </a:lnTo>
                  <a:lnTo>
                    <a:pt x="255" y="31"/>
                  </a:lnTo>
                  <a:lnTo>
                    <a:pt x="255" y="31"/>
                  </a:lnTo>
                  <a:lnTo>
                    <a:pt x="256" y="31"/>
                  </a:lnTo>
                  <a:lnTo>
                    <a:pt x="257" y="31"/>
                  </a:lnTo>
                  <a:lnTo>
                    <a:pt x="257" y="31"/>
                  </a:lnTo>
                  <a:lnTo>
                    <a:pt x="258" y="31"/>
                  </a:lnTo>
                  <a:lnTo>
                    <a:pt x="259" y="31"/>
                  </a:lnTo>
                  <a:lnTo>
                    <a:pt x="259" y="31"/>
                  </a:lnTo>
                  <a:lnTo>
                    <a:pt x="260" y="31"/>
                  </a:lnTo>
                  <a:lnTo>
                    <a:pt x="261" y="30"/>
                  </a:lnTo>
                  <a:lnTo>
                    <a:pt x="261" y="30"/>
                  </a:lnTo>
                  <a:lnTo>
                    <a:pt x="261" y="30"/>
                  </a:lnTo>
                  <a:lnTo>
                    <a:pt x="261" y="31"/>
                  </a:lnTo>
                  <a:lnTo>
                    <a:pt x="262" y="35"/>
                  </a:lnTo>
                  <a:lnTo>
                    <a:pt x="262" y="36"/>
                  </a:lnTo>
                  <a:lnTo>
                    <a:pt x="262" y="37"/>
                  </a:lnTo>
                  <a:lnTo>
                    <a:pt x="262" y="38"/>
                  </a:lnTo>
                  <a:lnTo>
                    <a:pt x="262" y="39"/>
                  </a:lnTo>
                  <a:lnTo>
                    <a:pt x="262" y="39"/>
                  </a:lnTo>
                  <a:lnTo>
                    <a:pt x="262" y="40"/>
                  </a:lnTo>
                  <a:lnTo>
                    <a:pt x="261" y="40"/>
                  </a:lnTo>
                  <a:lnTo>
                    <a:pt x="261" y="41"/>
                  </a:lnTo>
                  <a:lnTo>
                    <a:pt x="260" y="41"/>
                  </a:lnTo>
                  <a:lnTo>
                    <a:pt x="260" y="42"/>
                  </a:lnTo>
                  <a:lnTo>
                    <a:pt x="259" y="42"/>
                  </a:lnTo>
                  <a:lnTo>
                    <a:pt x="258" y="43"/>
                  </a:lnTo>
                  <a:lnTo>
                    <a:pt x="257" y="43"/>
                  </a:lnTo>
                  <a:lnTo>
                    <a:pt x="256" y="43"/>
                  </a:lnTo>
                  <a:lnTo>
                    <a:pt x="256" y="44"/>
                  </a:lnTo>
                  <a:lnTo>
                    <a:pt x="255" y="44"/>
                  </a:lnTo>
                  <a:lnTo>
                    <a:pt x="255" y="44"/>
                  </a:lnTo>
                  <a:lnTo>
                    <a:pt x="255" y="45"/>
                  </a:lnTo>
                  <a:lnTo>
                    <a:pt x="255" y="45"/>
                  </a:lnTo>
                  <a:lnTo>
                    <a:pt x="255" y="46"/>
                  </a:lnTo>
                  <a:lnTo>
                    <a:pt x="255" y="46"/>
                  </a:lnTo>
                  <a:lnTo>
                    <a:pt x="255" y="47"/>
                  </a:lnTo>
                  <a:lnTo>
                    <a:pt x="255" y="47"/>
                  </a:lnTo>
                  <a:lnTo>
                    <a:pt x="255" y="48"/>
                  </a:lnTo>
                  <a:lnTo>
                    <a:pt x="257" y="51"/>
                  </a:lnTo>
                  <a:lnTo>
                    <a:pt x="258" y="52"/>
                  </a:lnTo>
                  <a:lnTo>
                    <a:pt x="258" y="53"/>
                  </a:lnTo>
                  <a:lnTo>
                    <a:pt x="258" y="54"/>
                  </a:lnTo>
                  <a:lnTo>
                    <a:pt x="259" y="55"/>
                  </a:lnTo>
                  <a:lnTo>
                    <a:pt x="259" y="56"/>
                  </a:lnTo>
                  <a:lnTo>
                    <a:pt x="259" y="57"/>
                  </a:lnTo>
                  <a:lnTo>
                    <a:pt x="259" y="59"/>
                  </a:lnTo>
                  <a:lnTo>
                    <a:pt x="259" y="60"/>
                  </a:lnTo>
                  <a:lnTo>
                    <a:pt x="259" y="61"/>
                  </a:lnTo>
                  <a:lnTo>
                    <a:pt x="259" y="64"/>
                  </a:lnTo>
                  <a:lnTo>
                    <a:pt x="259" y="65"/>
                  </a:lnTo>
                  <a:lnTo>
                    <a:pt x="259" y="66"/>
                  </a:lnTo>
                  <a:lnTo>
                    <a:pt x="259" y="68"/>
                  </a:lnTo>
                  <a:lnTo>
                    <a:pt x="259" y="69"/>
                  </a:lnTo>
                  <a:lnTo>
                    <a:pt x="259" y="71"/>
                  </a:lnTo>
                  <a:lnTo>
                    <a:pt x="258" y="72"/>
                  </a:lnTo>
                  <a:lnTo>
                    <a:pt x="258" y="73"/>
                  </a:lnTo>
                  <a:lnTo>
                    <a:pt x="258" y="75"/>
                  </a:lnTo>
                  <a:lnTo>
                    <a:pt x="257" y="77"/>
                  </a:lnTo>
                  <a:lnTo>
                    <a:pt x="256" y="80"/>
                  </a:lnTo>
                  <a:lnTo>
                    <a:pt x="255" y="83"/>
                  </a:lnTo>
                  <a:lnTo>
                    <a:pt x="254" y="85"/>
                  </a:lnTo>
                  <a:lnTo>
                    <a:pt x="253" y="86"/>
                  </a:lnTo>
                  <a:lnTo>
                    <a:pt x="253" y="87"/>
                  </a:lnTo>
                  <a:lnTo>
                    <a:pt x="253" y="88"/>
                  </a:lnTo>
                  <a:lnTo>
                    <a:pt x="253" y="88"/>
                  </a:lnTo>
                  <a:lnTo>
                    <a:pt x="254" y="89"/>
                  </a:lnTo>
                  <a:lnTo>
                    <a:pt x="254" y="89"/>
                  </a:lnTo>
                  <a:lnTo>
                    <a:pt x="254" y="90"/>
                  </a:lnTo>
                  <a:lnTo>
                    <a:pt x="254" y="90"/>
                  </a:lnTo>
                  <a:lnTo>
                    <a:pt x="253" y="94"/>
                  </a:lnTo>
                  <a:lnTo>
                    <a:pt x="252" y="97"/>
                  </a:lnTo>
                  <a:lnTo>
                    <a:pt x="252" y="98"/>
                  </a:lnTo>
                  <a:lnTo>
                    <a:pt x="251" y="100"/>
                  </a:lnTo>
                  <a:lnTo>
                    <a:pt x="250" y="102"/>
                  </a:lnTo>
                  <a:lnTo>
                    <a:pt x="250" y="103"/>
                  </a:lnTo>
                  <a:lnTo>
                    <a:pt x="250" y="105"/>
                  </a:lnTo>
                  <a:lnTo>
                    <a:pt x="250" y="106"/>
                  </a:lnTo>
                  <a:lnTo>
                    <a:pt x="250" y="106"/>
                  </a:lnTo>
                  <a:lnTo>
                    <a:pt x="250" y="107"/>
                  </a:lnTo>
                  <a:lnTo>
                    <a:pt x="250" y="108"/>
                  </a:lnTo>
                  <a:lnTo>
                    <a:pt x="250" y="109"/>
                  </a:lnTo>
                  <a:lnTo>
                    <a:pt x="250" y="110"/>
                  </a:lnTo>
                  <a:lnTo>
                    <a:pt x="251" y="111"/>
                  </a:lnTo>
                  <a:lnTo>
                    <a:pt x="252" y="112"/>
                  </a:lnTo>
                  <a:lnTo>
                    <a:pt x="253" y="113"/>
                  </a:lnTo>
                  <a:lnTo>
                    <a:pt x="254" y="113"/>
                  </a:lnTo>
                  <a:lnTo>
                    <a:pt x="256" y="115"/>
                  </a:lnTo>
                  <a:lnTo>
                    <a:pt x="257" y="116"/>
                  </a:lnTo>
                  <a:lnTo>
                    <a:pt x="257" y="117"/>
                  </a:lnTo>
                  <a:lnTo>
                    <a:pt x="258" y="117"/>
                  </a:lnTo>
                  <a:lnTo>
                    <a:pt x="258" y="118"/>
                  </a:lnTo>
                  <a:lnTo>
                    <a:pt x="259" y="119"/>
                  </a:lnTo>
                  <a:lnTo>
                    <a:pt x="259" y="120"/>
                  </a:lnTo>
                  <a:lnTo>
                    <a:pt x="259" y="120"/>
                  </a:lnTo>
                  <a:lnTo>
                    <a:pt x="259" y="121"/>
                  </a:lnTo>
                  <a:lnTo>
                    <a:pt x="259" y="121"/>
                  </a:lnTo>
                  <a:lnTo>
                    <a:pt x="259" y="122"/>
                  </a:lnTo>
                  <a:lnTo>
                    <a:pt x="259" y="122"/>
                  </a:lnTo>
                  <a:lnTo>
                    <a:pt x="258" y="124"/>
                  </a:lnTo>
                  <a:lnTo>
                    <a:pt x="257" y="125"/>
                  </a:lnTo>
                  <a:lnTo>
                    <a:pt x="256" y="126"/>
                  </a:lnTo>
                  <a:lnTo>
                    <a:pt x="255" y="127"/>
                  </a:lnTo>
                  <a:lnTo>
                    <a:pt x="255" y="128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5" y="130"/>
                  </a:lnTo>
                  <a:lnTo>
                    <a:pt x="255" y="131"/>
                  </a:lnTo>
                  <a:lnTo>
                    <a:pt x="255" y="131"/>
                  </a:lnTo>
                  <a:lnTo>
                    <a:pt x="255" y="132"/>
                  </a:lnTo>
                  <a:lnTo>
                    <a:pt x="255" y="133"/>
                  </a:lnTo>
                  <a:lnTo>
                    <a:pt x="256" y="134"/>
                  </a:lnTo>
                  <a:lnTo>
                    <a:pt x="258" y="137"/>
                  </a:lnTo>
                  <a:lnTo>
                    <a:pt x="260" y="140"/>
                  </a:lnTo>
                  <a:lnTo>
                    <a:pt x="261" y="140"/>
                  </a:lnTo>
                  <a:lnTo>
                    <a:pt x="261" y="141"/>
                  </a:lnTo>
                  <a:lnTo>
                    <a:pt x="265" y="144"/>
                  </a:lnTo>
                  <a:lnTo>
                    <a:pt x="265" y="145"/>
                  </a:lnTo>
                  <a:lnTo>
                    <a:pt x="267" y="147"/>
                  </a:lnTo>
                  <a:lnTo>
                    <a:pt x="268" y="149"/>
                  </a:lnTo>
                  <a:lnTo>
                    <a:pt x="271" y="151"/>
                  </a:lnTo>
                  <a:lnTo>
                    <a:pt x="273" y="153"/>
                  </a:lnTo>
                  <a:lnTo>
                    <a:pt x="274" y="154"/>
                  </a:lnTo>
                  <a:lnTo>
                    <a:pt x="275" y="154"/>
                  </a:lnTo>
                  <a:lnTo>
                    <a:pt x="275" y="154"/>
                  </a:lnTo>
                  <a:lnTo>
                    <a:pt x="276" y="154"/>
                  </a:lnTo>
                  <a:lnTo>
                    <a:pt x="277" y="155"/>
                  </a:lnTo>
                  <a:lnTo>
                    <a:pt x="278" y="155"/>
                  </a:lnTo>
                  <a:lnTo>
                    <a:pt x="279" y="154"/>
                  </a:lnTo>
                  <a:lnTo>
                    <a:pt x="280" y="154"/>
                  </a:lnTo>
                  <a:lnTo>
                    <a:pt x="281" y="154"/>
                  </a:lnTo>
                  <a:lnTo>
                    <a:pt x="285" y="152"/>
                  </a:lnTo>
                  <a:lnTo>
                    <a:pt x="286" y="151"/>
                  </a:lnTo>
                  <a:lnTo>
                    <a:pt x="287" y="151"/>
                  </a:lnTo>
                  <a:lnTo>
                    <a:pt x="288" y="150"/>
                  </a:lnTo>
                  <a:lnTo>
                    <a:pt x="289" y="150"/>
                  </a:lnTo>
                  <a:lnTo>
                    <a:pt x="290" y="150"/>
                  </a:lnTo>
                  <a:lnTo>
                    <a:pt x="291" y="150"/>
                  </a:lnTo>
                  <a:lnTo>
                    <a:pt x="291" y="150"/>
                  </a:lnTo>
                  <a:lnTo>
                    <a:pt x="292" y="151"/>
                  </a:lnTo>
                  <a:lnTo>
                    <a:pt x="293" y="151"/>
                  </a:lnTo>
                  <a:lnTo>
                    <a:pt x="294" y="151"/>
                  </a:lnTo>
                  <a:lnTo>
                    <a:pt x="294" y="152"/>
                  </a:lnTo>
                  <a:lnTo>
                    <a:pt x="296" y="154"/>
                  </a:lnTo>
                  <a:lnTo>
                    <a:pt x="298" y="155"/>
                  </a:lnTo>
                  <a:lnTo>
                    <a:pt x="299" y="156"/>
                  </a:lnTo>
                  <a:lnTo>
                    <a:pt x="301" y="156"/>
                  </a:lnTo>
                  <a:lnTo>
                    <a:pt x="301" y="157"/>
                  </a:lnTo>
                  <a:lnTo>
                    <a:pt x="302" y="157"/>
                  </a:lnTo>
                  <a:lnTo>
                    <a:pt x="306" y="159"/>
                  </a:lnTo>
                  <a:lnTo>
                    <a:pt x="307" y="159"/>
                  </a:lnTo>
                  <a:lnTo>
                    <a:pt x="309" y="160"/>
                  </a:lnTo>
                  <a:lnTo>
                    <a:pt x="310" y="160"/>
                  </a:lnTo>
                  <a:lnTo>
                    <a:pt x="310" y="160"/>
                  </a:lnTo>
                  <a:lnTo>
                    <a:pt x="311" y="161"/>
                  </a:lnTo>
                  <a:lnTo>
                    <a:pt x="311" y="161"/>
                  </a:lnTo>
                  <a:lnTo>
                    <a:pt x="311" y="162"/>
                  </a:lnTo>
                  <a:lnTo>
                    <a:pt x="311" y="162"/>
                  </a:lnTo>
                  <a:lnTo>
                    <a:pt x="311" y="163"/>
                  </a:lnTo>
                  <a:lnTo>
                    <a:pt x="311" y="163"/>
                  </a:lnTo>
                  <a:lnTo>
                    <a:pt x="311" y="164"/>
                  </a:lnTo>
                  <a:lnTo>
                    <a:pt x="311" y="165"/>
                  </a:lnTo>
                  <a:lnTo>
                    <a:pt x="311" y="166"/>
                  </a:lnTo>
                  <a:lnTo>
                    <a:pt x="311" y="166"/>
                  </a:lnTo>
                  <a:lnTo>
                    <a:pt x="311" y="167"/>
                  </a:lnTo>
                  <a:lnTo>
                    <a:pt x="310" y="167"/>
                  </a:lnTo>
                  <a:lnTo>
                    <a:pt x="310" y="167"/>
                  </a:lnTo>
                  <a:lnTo>
                    <a:pt x="309" y="168"/>
                  </a:lnTo>
                  <a:lnTo>
                    <a:pt x="308" y="168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70"/>
                  </a:lnTo>
                  <a:lnTo>
                    <a:pt x="309" y="170"/>
                  </a:lnTo>
                  <a:lnTo>
                    <a:pt x="310" y="170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2" y="171"/>
                  </a:lnTo>
                  <a:lnTo>
                    <a:pt x="315" y="171"/>
                  </a:lnTo>
                  <a:lnTo>
                    <a:pt x="316" y="171"/>
                  </a:lnTo>
                  <a:lnTo>
                    <a:pt x="316" y="172"/>
                  </a:lnTo>
                  <a:lnTo>
                    <a:pt x="317" y="172"/>
                  </a:lnTo>
                  <a:lnTo>
                    <a:pt x="318" y="172"/>
                  </a:lnTo>
                  <a:lnTo>
                    <a:pt x="318" y="172"/>
                  </a:lnTo>
                  <a:lnTo>
                    <a:pt x="319" y="173"/>
                  </a:lnTo>
                  <a:lnTo>
                    <a:pt x="320" y="173"/>
                  </a:lnTo>
                  <a:lnTo>
                    <a:pt x="321" y="175"/>
                  </a:lnTo>
                  <a:lnTo>
                    <a:pt x="322" y="176"/>
                  </a:lnTo>
                  <a:lnTo>
                    <a:pt x="324" y="178"/>
                  </a:lnTo>
                  <a:lnTo>
                    <a:pt x="325" y="179"/>
                  </a:lnTo>
                  <a:lnTo>
                    <a:pt x="325" y="180"/>
                  </a:lnTo>
                  <a:lnTo>
                    <a:pt x="325" y="180"/>
                  </a:lnTo>
                  <a:lnTo>
                    <a:pt x="326" y="180"/>
                  </a:lnTo>
                  <a:lnTo>
                    <a:pt x="327" y="181"/>
                  </a:lnTo>
                  <a:lnTo>
                    <a:pt x="328" y="181"/>
                  </a:lnTo>
                  <a:lnTo>
                    <a:pt x="329" y="181"/>
                  </a:lnTo>
                  <a:lnTo>
                    <a:pt x="330" y="182"/>
                  </a:lnTo>
                  <a:lnTo>
                    <a:pt x="331" y="182"/>
                  </a:lnTo>
                  <a:lnTo>
                    <a:pt x="332" y="181"/>
                  </a:lnTo>
                  <a:lnTo>
                    <a:pt x="333" y="181"/>
                  </a:lnTo>
                  <a:lnTo>
                    <a:pt x="334" y="181"/>
                  </a:lnTo>
                  <a:lnTo>
                    <a:pt x="335" y="180"/>
                  </a:lnTo>
                  <a:lnTo>
                    <a:pt x="338" y="179"/>
                  </a:lnTo>
                  <a:lnTo>
                    <a:pt x="339" y="179"/>
                  </a:lnTo>
                  <a:lnTo>
                    <a:pt x="340" y="178"/>
                  </a:lnTo>
                  <a:lnTo>
                    <a:pt x="340" y="178"/>
                  </a:lnTo>
                  <a:lnTo>
                    <a:pt x="341" y="178"/>
                  </a:lnTo>
                  <a:lnTo>
                    <a:pt x="341" y="178"/>
                  </a:lnTo>
                  <a:lnTo>
                    <a:pt x="342" y="178"/>
                  </a:lnTo>
                  <a:lnTo>
                    <a:pt x="343" y="178"/>
                  </a:lnTo>
                  <a:lnTo>
                    <a:pt x="348" y="180"/>
                  </a:lnTo>
                  <a:lnTo>
                    <a:pt x="351" y="181"/>
                  </a:lnTo>
                  <a:lnTo>
                    <a:pt x="354" y="182"/>
                  </a:lnTo>
                  <a:lnTo>
                    <a:pt x="355" y="182"/>
                  </a:lnTo>
                  <a:lnTo>
                    <a:pt x="356" y="183"/>
                  </a:lnTo>
                  <a:lnTo>
                    <a:pt x="357" y="184"/>
                  </a:lnTo>
                  <a:lnTo>
                    <a:pt x="357" y="184"/>
                  </a:lnTo>
                  <a:lnTo>
                    <a:pt x="359" y="185"/>
                  </a:lnTo>
                  <a:lnTo>
                    <a:pt x="359" y="186"/>
                  </a:lnTo>
                  <a:lnTo>
                    <a:pt x="359" y="186"/>
                  </a:lnTo>
                  <a:lnTo>
                    <a:pt x="360" y="186"/>
                  </a:lnTo>
                  <a:lnTo>
                    <a:pt x="361" y="186"/>
                  </a:lnTo>
                  <a:lnTo>
                    <a:pt x="361" y="186"/>
                  </a:lnTo>
                  <a:lnTo>
                    <a:pt x="365" y="186"/>
                  </a:lnTo>
                  <a:lnTo>
                    <a:pt x="366" y="185"/>
                  </a:lnTo>
                  <a:lnTo>
                    <a:pt x="369" y="185"/>
                  </a:lnTo>
                  <a:lnTo>
                    <a:pt x="370" y="185"/>
                  </a:lnTo>
                  <a:lnTo>
                    <a:pt x="371" y="185"/>
                  </a:lnTo>
                  <a:lnTo>
                    <a:pt x="374" y="184"/>
                  </a:lnTo>
                  <a:lnTo>
                    <a:pt x="377" y="184"/>
                  </a:lnTo>
                  <a:lnTo>
                    <a:pt x="378" y="184"/>
                  </a:lnTo>
                  <a:lnTo>
                    <a:pt x="379" y="184"/>
                  </a:lnTo>
                  <a:lnTo>
                    <a:pt x="380" y="184"/>
                  </a:lnTo>
                  <a:lnTo>
                    <a:pt x="381" y="184"/>
                  </a:lnTo>
                  <a:lnTo>
                    <a:pt x="382" y="184"/>
                  </a:lnTo>
                  <a:lnTo>
                    <a:pt x="382" y="185"/>
                  </a:lnTo>
                  <a:lnTo>
                    <a:pt x="383" y="185"/>
                  </a:lnTo>
                  <a:lnTo>
                    <a:pt x="383" y="185"/>
                  </a:lnTo>
                  <a:lnTo>
                    <a:pt x="384" y="186"/>
                  </a:lnTo>
                  <a:lnTo>
                    <a:pt x="384" y="186"/>
                  </a:lnTo>
                  <a:lnTo>
                    <a:pt x="385" y="187"/>
                  </a:lnTo>
                  <a:lnTo>
                    <a:pt x="385" y="188"/>
                  </a:lnTo>
                  <a:lnTo>
                    <a:pt x="386" y="189"/>
                  </a:lnTo>
                  <a:lnTo>
                    <a:pt x="386" y="190"/>
                  </a:lnTo>
                  <a:lnTo>
                    <a:pt x="386" y="192"/>
                  </a:lnTo>
                  <a:lnTo>
                    <a:pt x="386" y="193"/>
                  </a:lnTo>
                  <a:lnTo>
                    <a:pt x="387" y="194"/>
                  </a:lnTo>
                  <a:lnTo>
                    <a:pt x="387" y="195"/>
                  </a:lnTo>
                  <a:lnTo>
                    <a:pt x="387" y="196"/>
                  </a:lnTo>
                  <a:lnTo>
                    <a:pt x="386" y="198"/>
                  </a:lnTo>
                  <a:lnTo>
                    <a:pt x="386" y="201"/>
                  </a:lnTo>
                  <a:lnTo>
                    <a:pt x="386" y="202"/>
                  </a:lnTo>
                  <a:lnTo>
                    <a:pt x="386" y="204"/>
                  </a:lnTo>
                  <a:lnTo>
                    <a:pt x="386" y="205"/>
                  </a:lnTo>
                  <a:lnTo>
                    <a:pt x="386" y="206"/>
                  </a:lnTo>
                  <a:lnTo>
                    <a:pt x="386" y="208"/>
                  </a:lnTo>
                  <a:lnTo>
                    <a:pt x="387" y="209"/>
                  </a:lnTo>
                  <a:lnTo>
                    <a:pt x="388" y="210"/>
                  </a:lnTo>
                  <a:lnTo>
                    <a:pt x="388" y="211"/>
                  </a:lnTo>
                  <a:lnTo>
                    <a:pt x="389" y="212"/>
                  </a:lnTo>
                  <a:lnTo>
                    <a:pt x="389" y="212"/>
                  </a:lnTo>
                  <a:lnTo>
                    <a:pt x="391" y="214"/>
                  </a:lnTo>
                  <a:lnTo>
                    <a:pt x="392" y="215"/>
                  </a:lnTo>
                  <a:lnTo>
                    <a:pt x="395" y="217"/>
                  </a:lnTo>
                  <a:lnTo>
                    <a:pt x="398" y="219"/>
                  </a:lnTo>
                  <a:lnTo>
                    <a:pt x="398" y="220"/>
                  </a:lnTo>
                  <a:lnTo>
                    <a:pt x="400" y="221"/>
                  </a:lnTo>
                  <a:lnTo>
                    <a:pt x="402" y="222"/>
                  </a:lnTo>
                  <a:lnTo>
                    <a:pt x="406" y="225"/>
                  </a:lnTo>
                  <a:lnTo>
                    <a:pt x="409" y="226"/>
                  </a:lnTo>
                  <a:lnTo>
                    <a:pt x="409" y="227"/>
                  </a:lnTo>
                  <a:lnTo>
                    <a:pt x="410" y="227"/>
                  </a:lnTo>
                  <a:lnTo>
                    <a:pt x="410" y="227"/>
                  </a:lnTo>
                  <a:lnTo>
                    <a:pt x="411" y="227"/>
                  </a:lnTo>
                  <a:lnTo>
                    <a:pt x="411" y="227"/>
                  </a:lnTo>
                  <a:lnTo>
                    <a:pt x="411" y="226"/>
                  </a:lnTo>
                  <a:lnTo>
                    <a:pt x="413" y="226"/>
                  </a:lnTo>
                  <a:lnTo>
                    <a:pt x="414" y="226"/>
                  </a:lnTo>
                  <a:lnTo>
                    <a:pt x="415" y="225"/>
                  </a:lnTo>
                  <a:lnTo>
                    <a:pt x="416" y="225"/>
                  </a:lnTo>
                  <a:lnTo>
                    <a:pt x="416" y="225"/>
                  </a:lnTo>
                  <a:lnTo>
                    <a:pt x="417" y="226"/>
                  </a:lnTo>
                  <a:lnTo>
                    <a:pt x="418" y="226"/>
                  </a:lnTo>
                  <a:lnTo>
                    <a:pt x="421" y="227"/>
                  </a:lnTo>
                  <a:lnTo>
                    <a:pt x="422" y="227"/>
                  </a:lnTo>
                  <a:lnTo>
                    <a:pt x="423" y="227"/>
                  </a:lnTo>
                  <a:lnTo>
                    <a:pt x="425" y="227"/>
                  </a:lnTo>
                  <a:lnTo>
                    <a:pt x="427" y="227"/>
                  </a:lnTo>
                  <a:lnTo>
                    <a:pt x="429" y="227"/>
                  </a:lnTo>
                  <a:lnTo>
                    <a:pt x="431" y="227"/>
                  </a:lnTo>
                  <a:lnTo>
                    <a:pt x="432" y="227"/>
                  </a:lnTo>
                  <a:lnTo>
                    <a:pt x="433" y="227"/>
                  </a:lnTo>
                  <a:lnTo>
                    <a:pt x="434" y="226"/>
                  </a:lnTo>
                  <a:lnTo>
                    <a:pt x="437" y="225"/>
                  </a:lnTo>
                  <a:lnTo>
                    <a:pt x="438" y="225"/>
                  </a:lnTo>
                  <a:lnTo>
                    <a:pt x="440" y="225"/>
                  </a:lnTo>
                  <a:lnTo>
                    <a:pt x="442" y="224"/>
                  </a:lnTo>
                  <a:lnTo>
                    <a:pt x="443" y="224"/>
                  </a:lnTo>
                  <a:lnTo>
                    <a:pt x="443" y="224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6" y="223"/>
                  </a:lnTo>
                  <a:lnTo>
                    <a:pt x="446" y="223"/>
                  </a:lnTo>
                  <a:lnTo>
                    <a:pt x="447" y="223"/>
                  </a:lnTo>
                  <a:lnTo>
                    <a:pt x="447" y="223"/>
                  </a:lnTo>
                  <a:lnTo>
                    <a:pt x="448" y="223"/>
                  </a:lnTo>
                  <a:lnTo>
                    <a:pt x="448" y="223"/>
                  </a:lnTo>
                  <a:lnTo>
                    <a:pt x="449" y="224"/>
                  </a:lnTo>
                  <a:lnTo>
                    <a:pt x="450" y="224"/>
                  </a:lnTo>
                  <a:lnTo>
                    <a:pt x="451" y="225"/>
                  </a:lnTo>
                  <a:lnTo>
                    <a:pt x="451" y="225"/>
                  </a:lnTo>
                  <a:lnTo>
                    <a:pt x="452" y="225"/>
                  </a:lnTo>
                  <a:lnTo>
                    <a:pt x="452" y="226"/>
                  </a:lnTo>
                  <a:lnTo>
                    <a:pt x="452" y="227"/>
                  </a:lnTo>
                  <a:lnTo>
                    <a:pt x="452" y="227"/>
                  </a:lnTo>
                  <a:lnTo>
                    <a:pt x="453" y="228"/>
                  </a:lnTo>
                  <a:lnTo>
                    <a:pt x="452" y="228"/>
                  </a:lnTo>
                  <a:lnTo>
                    <a:pt x="452" y="229"/>
                  </a:lnTo>
                  <a:lnTo>
                    <a:pt x="452" y="230"/>
                  </a:lnTo>
                  <a:lnTo>
                    <a:pt x="452" y="230"/>
                  </a:lnTo>
                  <a:lnTo>
                    <a:pt x="452" y="231"/>
                  </a:lnTo>
                  <a:lnTo>
                    <a:pt x="452" y="231"/>
                  </a:lnTo>
                  <a:lnTo>
                    <a:pt x="453" y="232"/>
                  </a:lnTo>
                  <a:lnTo>
                    <a:pt x="453" y="232"/>
                  </a:lnTo>
                  <a:lnTo>
                    <a:pt x="454" y="233"/>
                  </a:lnTo>
                  <a:lnTo>
                    <a:pt x="454" y="234"/>
                  </a:lnTo>
                  <a:lnTo>
                    <a:pt x="456" y="234"/>
                  </a:lnTo>
                  <a:lnTo>
                    <a:pt x="457" y="236"/>
                  </a:lnTo>
                  <a:lnTo>
                    <a:pt x="458" y="236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61" y="240"/>
                  </a:lnTo>
                  <a:lnTo>
                    <a:pt x="462" y="241"/>
                  </a:lnTo>
                  <a:lnTo>
                    <a:pt x="462" y="242"/>
                  </a:lnTo>
                  <a:lnTo>
                    <a:pt x="462" y="243"/>
                  </a:lnTo>
                  <a:lnTo>
                    <a:pt x="462" y="243"/>
                  </a:lnTo>
                  <a:lnTo>
                    <a:pt x="462" y="244"/>
                  </a:lnTo>
                  <a:lnTo>
                    <a:pt x="462" y="245"/>
                  </a:lnTo>
                  <a:lnTo>
                    <a:pt x="462" y="246"/>
                  </a:lnTo>
                  <a:lnTo>
                    <a:pt x="461" y="247"/>
                  </a:lnTo>
                  <a:lnTo>
                    <a:pt x="461" y="247"/>
                  </a:lnTo>
                  <a:lnTo>
                    <a:pt x="461" y="248"/>
                  </a:lnTo>
                  <a:lnTo>
                    <a:pt x="460" y="248"/>
                  </a:lnTo>
                  <a:lnTo>
                    <a:pt x="460" y="248"/>
                  </a:lnTo>
                  <a:lnTo>
                    <a:pt x="459" y="249"/>
                  </a:lnTo>
                  <a:lnTo>
                    <a:pt x="458" y="249"/>
                  </a:lnTo>
                  <a:lnTo>
                    <a:pt x="456" y="250"/>
                  </a:lnTo>
                  <a:lnTo>
                    <a:pt x="453" y="250"/>
                  </a:lnTo>
                  <a:lnTo>
                    <a:pt x="452" y="250"/>
                  </a:lnTo>
                  <a:lnTo>
                    <a:pt x="452" y="251"/>
                  </a:lnTo>
                  <a:lnTo>
                    <a:pt x="452" y="251"/>
                  </a:lnTo>
                  <a:lnTo>
                    <a:pt x="451" y="251"/>
                  </a:lnTo>
                  <a:lnTo>
                    <a:pt x="451" y="252"/>
                  </a:lnTo>
                  <a:lnTo>
                    <a:pt x="450" y="253"/>
                  </a:lnTo>
                  <a:lnTo>
                    <a:pt x="449" y="254"/>
                  </a:lnTo>
                  <a:lnTo>
                    <a:pt x="448" y="256"/>
                  </a:lnTo>
                  <a:lnTo>
                    <a:pt x="448" y="257"/>
                  </a:lnTo>
                  <a:lnTo>
                    <a:pt x="447" y="258"/>
                  </a:lnTo>
                  <a:lnTo>
                    <a:pt x="447" y="259"/>
                  </a:lnTo>
                  <a:lnTo>
                    <a:pt x="447" y="261"/>
                  </a:lnTo>
                  <a:lnTo>
                    <a:pt x="446" y="262"/>
                  </a:lnTo>
                  <a:lnTo>
                    <a:pt x="446" y="262"/>
                  </a:lnTo>
                  <a:lnTo>
                    <a:pt x="446" y="263"/>
                  </a:lnTo>
                  <a:lnTo>
                    <a:pt x="446" y="264"/>
                  </a:lnTo>
                  <a:lnTo>
                    <a:pt x="444" y="266"/>
                  </a:lnTo>
                  <a:lnTo>
                    <a:pt x="443" y="267"/>
                  </a:lnTo>
                  <a:lnTo>
                    <a:pt x="443" y="268"/>
                  </a:lnTo>
                  <a:lnTo>
                    <a:pt x="442" y="270"/>
                  </a:lnTo>
                  <a:lnTo>
                    <a:pt x="442" y="271"/>
                  </a:lnTo>
                  <a:lnTo>
                    <a:pt x="441" y="272"/>
                  </a:lnTo>
                  <a:lnTo>
                    <a:pt x="441" y="273"/>
                  </a:lnTo>
                  <a:lnTo>
                    <a:pt x="440" y="273"/>
                  </a:lnTo>
                  <a:lnTo>
                    <a:pt x="438" y="276"/>
                  </a:lnTo>
                  <a:lnTo>
                    <a:pt x="437" y="277"/>
                  </a:lnTo>
                  <a:lnTo>
                    <a:pt x="436" y="278"/>
                  </a:lnTo>
                  <a:lnTo>
                    <a:pt x="435" y="279"/>
                  </a:lnTo>
                  <a:lnTo>
                    <a:pt x="434" y="281"/>
                  </a:lnTo>
                  <a:lnTo>
                    <a:pt x="433" y="282"/>
                  </a:lnTo>
                  <a:lnTo>
                    <a:pt x="432" y="283"/>
                  </a:lnTo>
                  <a:lnTo>
                    <a:pt x="432" y="283"/>
                  </a:lnTo>
                  <a:lnTo>
                    <a:pt x="432" y="284"/>
                  </a:lnTo>
                  <a:lnTo>
                    <a:pt x="432" y="284"/>
                  </a:lnTo>
                  <a:lnTo>
                    <a:pt x="432" y="285"/>
                  </a:lnTo>
                  <a:lnTo>
                    <a:pt x="432" y="285"/>
                  </a:lnTo>
                  <a:lnTo>
                    <a:pt x="432" y="286"/>
                  </a:lnTo>
                  <a:lnTo>
                    <a:pt x="433" y="286"/>
                  </a:lnTo>
                  <a:lnTo>
                    <a:pt x="433" y="286"/>
                  </a:lnTo>
                  <a:lnTo>
                    <a:pt x="433" y="286"/>
                  </a:lnTo>
                  <a:lnTo>
                    <a:pt x="434" y="286"/>
                  </a:lnTo>
                  <a:lnTo>
                    <a:pt x="436" y="287"/>
                  </a:lnTo>
                  <a:lnTo>
                    <a:pt x="437" y="287"/>
                  </a:lnTo>
                  <a:lnTo>
                    <a:pt x="437" y="287"/>
                  </a:lnTo>
                  <a:lnTo>
                    <a:pt x="438" y="287"/>
                  </a:lnTo>
                  <a:lnTo>
                    <a:pt x="439" y="287"/>
                  </a:lnTo>
                  <a:lnTo>
                    <a:pt x="439" y="287"/>
                  </a:lnTo>
                  <a:lnTo>
                    <a:pt x="440" y="288"/>
                  </a:lnTo>
                  <a:lnTo>
                    <a:pt x="440" y="289"/>
                  </a:lnTo>
                  <a:lnTo>
                    <a:pt x="441" y="289"/>
                  </a:lnTo>
                  <a:lnTo>
                    <a:pt x="442" y="292"/>
                  </a:lnTo>
                  <a:lnTo>
                    <a:pt x="442" y="292"/>
                  </a:lnTo>
                  <a:lnTo>
                    <a:pt x="443" y="293"/>
                  </a:lnTo>
                  <a:lnTo>
                    <a:pt x="444" y="294"/>
                  </a:lnTo>
                  <a:lnTo>
                    <a:pt x="445" y="295"/>
                  </a:lnTo>
                  <a:lnTo>
                    <a:pt x="446" y="295"/>
                  </a:lnTo>
                  <a:lnTo>
                    <a:pt x="447" y="296"/>
                  </a:lnTo>
                  <a:lnTo>
                    <a:pt x="449" y="297"/>
                  </a:lnTo>
                  <a:lnTo>
                    <a:pt x="451" y="297"/>
                  </a:lnTo>
                  <a:lnTo>
                    <a:pt x="452" y="298"/>
                  </a:lnTo>
                  <a:lnTo>
                    <a:pt x="453" y="299"/>
                  </a:lnTo>
                  <a:lnTo>
                    <a:pt x="455" y="300"/>
                  </a:lnTo>
                  <a:lnTo>
                    <a:pt x="456" y="301"/>
                  </a:lnTo>
                  <a:lnTo>
                    <a:pt x="456" y="301"/>
                  </a:lnTo>
                  <a:lnTo>
                    <a:pt x="457" y="302"/>
                  </a:lnTo>
                  <a:lnTo>
                    <a:pt x="457" y="303"/>
                  </a:lnTo>
                  <a:lnTo>
                    <a:pt x="458" y="303"/>
                  </a:lnTo>
                  <a:lnTo>
                    <a:pt x="458" y="304"/>
                  </a:lnTo>
                  <a:lnTo>
                    <a:pt x="459" y="306"/>
                  </a:lnTo>
                  <a:lnTo>
                    <a:pt x="460" y="307"/>
                  </a:lnTo>
                  <a:lnTo>
                    <a:pt x="460" y="308"/>
                  </a:lnTo>
                  <a:lnTo>
                    <a:pt x="460" y="308"/>
                  </a:lnTo>
                  <a:lnTo>
                    <a:pt x="460" y="309"/>
                  </a:lnTo>
                  <a:lnTo>
                    <a:pt x="458" y="310"/>
                  </a:lnTo>
                  <a:lnTo>
                    <a:pt x="458" y="311"/>
                  </a:lnTo>
                  <a:lnTo>
                    <a:pt x="458" y="311"/>
                  </a:lnTo>
                  <a:lnTo>
                    <a:pt x="457" y="311"/>
                  </a:lnTo>
                  <a:lnTo>
                    <a:pt x="457" y="311"/>
                  </a:lnTo>
                  <a:lnTo>
                    <a:pt x="456" y="311"/>
                  </a:lnTo>
                  <a:lnTo>
                    <a:pt x="455" y="311"/>
                  </a:lnTo>
                  <a:lnTo>
                    <a:pt x="455" y="312"/>
                  </a:lnTo>
                  <a:lnTo>
                    <a:pt x="455" y="312"/>
                  </a:lnTo>
                  <a:lnTo>
                    <a:pt x="455" y="313"/>
                  </a:lnTo>
                  <a:lnTo>
                    <a:pt x="455" y="313"/>
                  </a:lnTo>
                  <a:lnTo>
                    <a:pt x="455" y="314"/>
                  </a:lnTo>
                  <a:lnTo>
                    <a:pt x="454" y="315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7"/>
                  </a:lnTo>
                  <a:lnTo>
                    <a:pt x="454" y="317"/>
                  </a:lnTo>
                  <a:lnTo>
                    <a:pt x="454" y="317"/>
                  </a:lnTo>
                  <a:lnTo>
                    <a:pt x="453" y="317"/>
                  </a:lnTo>
                  <a:lnTo>
                    <a:pt x="453" y="318"/>
                  </a:lnTo>
                  <a:lnTo>
                    <a:pt x="452" y="319"/>
                  </a:lnTo>
                  <a:lnTo>
                    <a:pt x="451" y="319"/>
                  </a:lnTo>
                  <a:lnTo>
                    <a:pt x="451" y="319"/>
                  </a:lnTo>
                  <a:lnTo>
                    <a:pt x="450" y="320"/>
                  </a:lnTo>
                  <a:lnTo>
                    <a:pt x="450" y="320"/>
                  </a:lnTo>
                  <a:lnTo>
                    <a:pt x="449" y="320"/>
                  </a:lnTo>
                  <a:lnTo>
                    <a:pt x="449" y="321"/>
                  </a:lnTo>
                  <a:lnTo>
                    <a:pt x="448" y="324"/>
                  </a:lnTo>
                  <a:lnTo>
                    <a:pt x="447" y="326"/>
                  </a:lnTo>
                  <a:lnTo>
                    <a:pt x="447" y="326"/>
                  </a:lnTo>
                  <a:lnTo>
                    <a:pt x="446" y="326"/>
                  </a:lnTo>
                  <a:lnTo>
                    <a:pt x="446" y="326"/>
                  </a:lnTo>
                  <a:lnTo>
                    <a:pt x="445" y="326"/>
                  </a:lnTo>
                  <a:lnTo>
                    <a:pt x="444" y="325"/>
                  </a:lnTo>
                  <a:lnTo>
                    <a:pt x="442" y="324"/>
                  </a:lnTo>
                  <a:lnTo>
                    <a:pt x="441" y="323"/>
                  </a:lnTo>
                  <a:lnTo>
                    <a:pt x="439" y="321"/>
                  </a:lnTo>
                  <a:lnTo>
                    <a:pt x="438" y="320"/>
                  </a:lnTo>
                  <a:lnTo>
                    <a:pt x="437" y="319"/>
                  </a:lnTo>
                  <a:lnTo>
                    <a:pt x="434" y="315"/>
                  </a:lnTo>
                  <a:lnTo>
                    <a:pt x="433" y="314"/>
                  </a:lnTo>
                  <a:lnTo>
                    <a:pt x="432" y="313"/>
                  </a:lnTo>
                  <a:lnTo>
                    <a:pt x="431" y="312"/>
                  </a:lnTo>
                  <a:lnTo>
                    <a:pt x="430" y="311"/>
                  </a:lnTo>
                  <a:lnTo>
                    <a:pt x="428" y="310"/>
                  </a:lnTo>
                  <a:lnTo>
                    <a:pt x="427" y="310"/>
                  </a:lnTo>
                  <a:lnTo>
                    <a:pt x="426" y="309"/>
                  </a:lnTo>
                  <a:lnTo>
                    <a:pt x="425" y="309"/>
                  </a:lnTo>
                  <a:lnTo>
                    <a:pt x="424" y="308"/>
                  </a:lnTo>
                  <a:lnTo>
                    <a:pt x="423" y="308"/>
                  </a:lnTo>
                  <a:lnTo>
                    <a:pt x="421" y="308"/>
                  </a:lnTo>
                  <a:lnTo>
                    <a:pt x="420" y="307"/>
                  </a:lnTo>
                  <a:lnTo>
                    <a:pt x="415" y="307"/>
                  </a:lnTo>
                  <a:lnTo>
                    <a:pt x="414" y="306"/>
                  </a:lnTo>
                  <a:lnTo>
                    <a:pt x="413" y="306"/>
                  </a:lnTo>
                  <a:lnTo>
                    <a:pt x="412" y="305"/>
                  </a:lnTo>
                  <a:lnTo>
                    <a:pt x="411" y="305"/>
                  </a:lnTo>
                  <a:lnTo>
                    <a:pt x="410" y="304"/>
                  </a:lnTo>
                  <a:lnTo>
                    <a:pt x="409" y="304"/>
                  </a:lnTo>
                  <a:lnTo>
                    <a:pt x="407" y="302"/>
                  </a:lnTo>
                  <a:lnTo>
                    <a:pt x="402" y="300"/>
                  </a:lnTo>
                  <a:lnTo>
                    <a:pt x="398" y="297"/>
                  </a:lnTo>
                  <a:lnTo>
                    <a:pt x="397" y="296"/>
                  </a:lnTo>
                  <a:lnTo>
                    <a:pt x="396" y="295"/>
                  </a:lnTo>
                  <a:lnTo>
                    <a:pt x="394" y="294"/>
                  </a:lnTo>
                  <a:lnTo>
                    <a:pt x="392" y="293"/>
                  </a:lnTo>
                  <a:lnTo>
                    <a:pt x="390" y="293"/>
                  </a:lnTo>
                  <a:lnTo>
                    <a:pt x="389" y="293"/>
                  </a:lnTo>
                  <a:lnTo>
                    <a:pt x="388" y="292"/>
                  </a:lnTo>
                  <a:lnTo>
                    <a:pt x="387" y="292"/>
                  </a:lnTo>
                  <a:lnTo>
                    <a:pt x="385" y="292"/>
                  </a:lnTo>
                  <a:lnTo>
                    <a:pt x="383" y="292"/>
                  </a:lnTo>
                  <a:lnTo>
                    <a:pt x="380" y="293"/>
                  </a:lnTo>
                  <a:lnTo>
                    <a:pt x="379" y="293"/>
                  </a:lnTo>
                  <a:lnTo>
                    <a:pt x="378" y="293"/>
                  </a:lnTo>
                  <a:lnTo>
                    <a:pt x="377" y="292"/>
                  </a:lnTo>
                  <a:lnTo>
                    <a:pt x="375" y="292"/>
                  </a:lnTo>
                  <a:lnTo>
                    <a:pt x="374" y="292"/>
                  </a:lnTo>
                  <a:lnTo>
                    <a:pt x="374" y="292"/>
                  </a:lnTo>
                  <a:lnTo>
                    <a:pt x="372" y="291"/>
                  </a:lnTo>
                  <a:lnTo>
                    <a:pt x="370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8" y="290"/>
                  </a:lnTo>
                  <a:lnTo>
                    <a:pt x="368" y="290"/>
                  </a:lnTo>
                  <a:lnTo>
                    <a:pt x="367" y="290"/>
                  </a:lnTo>
                  <a:lnTo>
                    <a:pt x="367" y="291"/>
                  </a:lnTo>
                  <a:lnTo>
                    <a:pt x="367" y="291"/>
                  </a:lnTo>
                  <a:lnTo>
                    <a:pt x="366" y="292"/>
                  </a:lnTo>
                  <a:lnTo>
                    <a:pt x="366" y="295"/>
                  </a:lnTo>
                  <a:lnTo>
                    <a:pt x="365" y="296"/>
                  </a:lnTo>
                  <a:lnTo>
                    <a:pt x="364" y="298"/>
                  </a:lnTo>
                  <a:lnTo>
                    <a:pt x="363" y="300"/>
                  </a:lnTo>
                  <a:lnTo>
                    <a:pt x="362" y="301"/>
                  </a:lnTo>
                  <a:lnTo>
                    <a:pt x="362" y="302"/>
                  </a:lnTo>
                  <a:lnTo>
                    <a:pt x="361" y="302"/>
                  </a:lnTo>
                  <a:lnTo>
                    <a:pt x="360" y="303"/>
                  </a:lnTo>
                  <a:lnTo>
                    <a:pt x="360" y="303"/>
                  </a:lnTo>
                  <a:lnTo>
                    <a:pt x="359" y="303"/>
                  </a:lnTo>
                  <a:lnTo>
                    <a:pt x="359" y="304"/>
                  </a:lnTo>
                  <a:lnTo>
                    <a:pt x="357" y="304"/>
                  </a:lnTo>
                  <a:lnTo>
                    <a:pt x="355" y="304"/>
                  </a:lnTo>
                  <a:lnTo>
                    <a:pt x="352" y="304"/>
                  </a:lnTo>
                  <a:lnTo>
                    <a:pt x="351" y="304"/>
                  </a:lnTo>
                  <a:lnTo>
                    <a:pt x="349" y="305"/>
                  </a:lnTo>
                  <a:lnTo>
                    <a:pt x="348" y="305"/>
                  </a:lnTo>
                  <a:lnTo>
                    <a:pt x="346" y="306"/>
                  </a:lnTo>
                  <a:lnTo>
                    <a:pt x="344" y="307"/>
                  </a:lnTo>
                  <a:lnTo>
                    <a:pt x="341" y="308"/>
                  </a:lnTo>
                  <a:lnTo>
                    <a:pt x="340" y="309"/>
                  </a:lnTo>
                  <a:lnTo>
                    <a:pt x="339" y="309"/>
                  </a:lnTo>
                  <a:lnTo>
                    <a:pt x="338" y="309"/>
                  </a:lnTo>
                  <a:lnTo>
                    <a:pt x="337" y="309"/>
                  </a:lnTo>
                  <a:lnTo>
                    <a:pt x="335" y="309"/>
                  </a:lnTo>
                  <a:lnTo>
                    <a:pt x="334" y="309"/>
                  </a:lnTo>
                  <a:lnTo>
                    <a:pt x="334" y="309"/>
                  </a:lnTo>
                  <a:lnTo>
                    <a:pt x="333" y="309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2" y="308"/>
                  </a:lnTo>
                  <a:lnTo>
                    <a:pt x="331" y="308"/>
                  </a:lnTo>
                  <a:lnTo>
                    <a:pt x="331" y="308"/>
                  </a:lnTo>
                  <a:lnTo>
                    <a:pt x="331" y="307"/>
                  </a:lnTo>
                  <a:lnTo>
                    <a:pt x="331" y="307"/>
                  </a:lnTo>
                  <a:lnTo>
                    <a:pt x="331" y="306"/>
                  </a:lnTo>
                  <a:lnTo>
                    <a:pt x="331" y="302"/>
                  </a:lnTo>
                  <a:lnTo>
                    <a:pt x="331" y="302"/>
                  </a:lnTo>
                  <a:lnTo>
                    <a:pt x="331" y="301"/>
                  </a:lnTo>
                  <a:lnTo>
                    <a:pt x="331" y="300"/>
                  </a:lnTo>
                  <a:lnTo>
                    <a:pt x="331" y="299"/>
                  </a:lnTo>
                  <a:lnTo>
                    <a:pt x="330" y="297"/>
                  </a:lnTo>
                  <a:lnTo>
                    <a:pt x="330" y="296"/>
                  </a:lnTo>
                  <a:lnTo>
                    <a:pt x="329" y="293"/>
                  </a:lnTo>
                  <a:lnTo>
                    <a:pt x="329" y="291"/>
                  </a:lnTo>
                  <a:lnTo>
                    <a:pt x="328" y="290"/>
                  </a:lnTo>
                  <a:lnTo>
                    <a:pt x="328" y="290"/>
                  </a:lnTo>
                  <a:lnTo>
                    <a:pt x="328" y="289"/>
                  </a:lnTo>
                  <a:lnTo>
                    <a:pt x="327" y="288"/>
                  </a:lnTo>
                  <a:lnTo>
                    <a:pt x="326" y="288"/>
                  </a:lnTo>
                  <a:lnTo>
                    <a:pt x="325" y="287"/>
                  </a:lnTo>
                  <a:lnTo>
                    <a:pt x="325" y="287"/>
                  </a:lnTo>
                  <a:lnTo>
                    <a:pt x="323" y="286"/>
                  </a:lnTo>
                  <a:lnTo>
                    <a:pt x="322" y="286"/>
                  </a:lnTo>
                  <a:lnTo>
                    <a:pt x="321" y="286"/>
                  </a:lnTo>
                  <a:lnTo>
                    <a:pt x="319" y="285"/>
                  </a:lnTo>
                  <a:lnTo>
                    <a:pt x="317" y="285"/>
                  </a:lnTo>
                  <a:lnTo>
                    <a:pt x="316" y="285"/>
                  </a:lnTo>
                  <a:lnTo>
                    <a:pt x="313" y="285"/>
                  </a:lnTo>
                  <a:lnTo>
                    <a:pt x="311" y="285"/>
                  </a:lnTo>
                  <a:lnTo>
                    <a:pt x="310" y="285"/>
                  </a:lnTo>
                  <a:lnTo>
                    <a:pt x="309" y="285"/>
                  </a:lnTo>
                  <a:lnTo>
                    <a:pt x="308" y="284"/>
                  </a:lnTo>
                  <a:lnTo>
                    <a:pt x="306" y="284"/>
                  </a:lnTo>
                  <a:lnTo>
                    <a:pt x="306" y="284"/>
                  </a:lnTo>
                  <a:lnTo>
                    <a:pt x="305" y="283"/>
                  </a:lnTo>
                  <a:lnTo>
                    <a:pt x="304" y="283"/>
                  </a:lnTo>
                  <a:lnTo>
                    <a:pt x="303" y="283"/>
                  </a:lnTo>
                  <a:lnTo>
                    <a:pt x="302" y="282"/>
                  </a:lnTo>
                  <a:lnTo>
                    <a:pt x="300" y="280"/>
                  </a:lnTo>
                  <a:lnTo>
                    <a:pt x="300" y="280"/>
                  </a:lnTo>
                  <a:lnTo>
                    <a:pt x="299" y="279"/>
                  </a:lnTo>
                  <a:lnTo>
                    <a:pt x="299" y="279"/>
                  </a:lnTo>
                  <a:lnTo>
                    <a:pt x="298" y="279"/>
                  </a:lnTo>
                  <a:lnTo>
                    <a:pt x="297" y="278"/>
                  </a:lnTo>
                  <a:lnTo>
                    <a:pt x="297" y="278"/>
                  </a:lnTo>
                  <a:lnTo>
                    <a:pt x="293" y="278"/>
                  </a:lnTo>
                  <a:lnTo>
                    <a:pt x="290" y="277"/>
                  </a:lnTo>
                  <a:lnTo>
                    <a:pt x="289" y="277"/>
                  </a:lnTo>
                  <a:lnTo>
                    <a:pt x="288" y="277"/>
                  </a:lnTo>
                  <a:lnTo>
                    <a:pt x="287" y="277"/>
                  </a:lnTo>
                  <a:lnTo>
                    <a:pt x="286" y="277"/>
                  </a:lnTo>
                  <a:lnTo>
                    <a:pt x="285" y="277"/>
                  </a:lnTo>
                  <a:lnTo>
                    <a:pt x="284" y="278"/>
                  </a:lnTo>
                  <a:lnTo>
                    <a:pt x="283" y="278"/>
                  </a:lnTo>
                  <a:lnTo>
                    <a:pt x="282" y="279"/>
                  </a:lnTo>
                  <a:lnTo>
                    <a:pt x="282" y="279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1"/>
                  </a:lnTo>
                  <a:lnTo>
                    <a:pt x="280" y="283"/>
                  </a:lnTo>
                  <a:lnTo>
                    <a:pt x="280" y="284"/>
                  </a:lnTo>
                  <a:lnTo>
                    <a:pt x="280" y="286"/>
                  </a:lnTo>
                  <a:lnTo>
                    <a:pt x="279" y="287"/>
                  </a:lnTo>
                  <a:lnTo>
                    <a:pt x="278" y="288"/>
                  </a:lnTo>
                  <a:lnTo>
                    <a:pt x="277" y="290"/>
                  </a:lnTo>
                  <a:lnTo>
                    <a:pt x="277" y="292"/>
                  </a:lnTo>
                  <a:lnTo>
                    <a:pt x="277" y="292"/>
                  </a:lnTo>
                  <a:lnTo>
                    <a:pt x="276" y="294"/>
                  </a:lnTo>
                  <a:lnTo>
                    <a:pt x="276" y="295"/>
                  </a:lnTo>
                  <a:lnTo>
                    <a:pt x="275" y="296"/>
                  </a:lnTo>
                  <a:lnTo>
                    <a:pt x="275" y="297"/>
                  </a:lnTo>
                  <a:lnTo>
                    <a:pt x="275" y="298"/>
                  </a:lnTo>
                  <a:lnTo>
                    <a:pt x="275" y="300"/>
                  </a:lnTo>
                  <a:lnTo>
                    <a:pt x="275" y="302"/>
                  </a:lnTo>
                  <a:lnTo>
                    <a:pt x="275" y="304"/>
                  </a:lnTo>
                  <a:lnTo>
                    <a:pt x="275" y="305"/>
                  </a:lnTo>
                  <a:lnTo>
                    <a:pt x="276" y="308"/>
                  </a:lnTo>
                  <a:lnTo>
                    <a:pt x="276" y="313"/>
                  </a:lnTo>
                  <a:lnTo>
                    <a:pt x="277" y="316"/>
                  </a:lnTo>
                  <a:lnTo>
                    <a:pt x="277" y="318"/>
                  </a:lnTo>
                  <a:lnTo>
                    <a:pt x="278" y="323"/>
                  </a:lnTo>
                  <a:lnTo>
                    <a:pt x="278" y="325"/>
                  </a:lnTo>
                  <a:lnTo>
                    <a:pt x="278" y="326"/>
                  </a:lnTo>
                  <a:lnTo>
                    <a:pt x="278" y="328"/>
                  </a:lnTo>
                  <a:lnTo>
                    <a:pt x="278" y="329"/>
                  </a:lnTo>
                  <a:lnTo>
                    <a:pt x="278" y="330"/>
                  </a:lnTo>
                  <a:lnTo>
                    <a:pt x="278" y="332"/>
                  </a:lnTo>
                  <a:lnTo>
                    <a:pt x="277" y="334"/>
                  </a:lnTo>
                  <a:lnTo>
                    <a:pt x="276" y="340"/>
                  </a:lnTo>
                  <a:lnTo>
                    <a:pt x="276" y="341"/>
                  </a:lnTo>
                  <a:lnTo>
                    <a:pt x="275" y="343"/>
                  </a:lnTo>
                  <a:lnTo>
                    <a:pt x="275" y="344"/>
                  </a:lnTo>
                  <a:lnTo>
                    <a:pt x="274" y="346"/>
                  </a:lnTo>
                  <a:lnTo>
                    <a:pt x="274" y="347"/>
                  </a:lnTo>
                  <a:lnTo>
                    <a:pt x="274" y="349"/>
                  </a:lnTo>
                  <a:lnTo>
                    <a:pt x="274" y="350"/>
                  </a:lnTo>
                  <a:lnTo>
                    <a:pt x="274" y="354"/>
                  </a:lnTo>
                  <a:lnTo>
                    <a:pt x="274" y="355"/>
                  </a:lnTo>
                  <a:lnTo>
                    <a:pt x="274" y="356"/>
                  </a:lnTo>
                  <a:lnTo>
                    <a:pt x="274" y="357"/>
                  </a:lnTo>
                  <a:lnTo>
                    <a:pt x="274" y="357"/>
                  </a:lnTo>
                  <a:lnTo>
                    <a:pt x="273" y="360"/>
                  </a:lnTo>
                  <a:lnTo>
                    <a:pt x="272" y="361"/>
                  </a:lnTo>
                  <a:lnTo>
                    <a:pt x="271" y="366"/>
                  </a:lnTo>
                  <a:lnTo>
                    <a:pt x="270" y="369"/>
                  </a:lnTo>
                  <a:lnTo>
                    <a:pt x="270" y="370"/>
                  </a:lnTo>
                  <a:lnTo>
                    <a:pt x="269" y="372"/>
                  </a:lnTo>
                  <a:lnTo>
                    <a:pt x="269" y="374"/>
                  </a:lnTo>
                  <a:lnTo>
                    <a:pt x="269" y="376"/>
                  </a:lnTo>
                  <a:lnTo>
                    <a:pt x="269" y="377"/>
                  </a:lnTo>
                  <a:lnTo>
                    <a:pt x="269" y="378"/>
                  </a:lnTo>
                  <a:lnTo>
                    <a:pt x="269" y="379"/>
                  </a:lnTo>
                  <a:lnTo>
                    <a:pt x="269" y="380"/>
                  </a:lnTo>
                  <a:lnTo>
                    <a:pt x="269" y="381"/>
                  </a:lnTo>
                  <a:lnTo>
                    <a:pt x="270" y="382"/>
                  </a:lnTo>
                  <a:lnTo>
                    <a:pt x="270" y="383"/>
                  </a:lnTo>
                  <a:lnTo>
                    <a:pt x="272" y="385"/>
                  </a:lnTo>
                  <a:lnTo>
                    <a:pt x="272" y="386"/>
                  </a:lnTo>
                  <a:lnTo>
                    <a:pt x="272" y="386"/>
                  </a:lnTo>
                  <a:lnTo>
                    <a:pt x="273" y="387"/>
                  </a:lnTo>
                  <a:lnTo>
                    <a:pt x="273" y="388"/>
                  </a:lnTo>
                  <a:lnTo>
                    <a:pt x="273" y="389"/>
                  </a:lnTo>
                  <a:lnTo>
                    <a:pt x="273" y="390"/>
                  </a:lnTo>
                  <a:lnTo>
                    <a:pt x="272" y="390"/>
                  </a:lnTo>
                  <a:lnTo>
                    <a:pt x="272" y="391"/>
                  </a:lnTo>
                  <a:lnTo>
                    <a:pt x="271" y="392"/>
                  </a:lnTo>
                  <a:lnTo>
                    <a:pt x="271" y="393"/>
                  </a:lnTo>
                  <a:lnTo>
                    <a:pt x="270" y="393"/>
                  </a:lnTo>
                  <a:lnTo>
                    <a:pt x="269" y="394"/>
                  </a:lnTo>
                  <a:lnTo>
                    <a:pt x="268" y="394"/>
                  </a:lnTo>
                  <a:lnTo>
                    <a:pt x="267" y="394"/>
                  </a:lnTo>
                  <a:lnTo>
                    <a:pt x="266" y="394"/>
                  </a:lnTo>
                  <a:lnTo>
                    <a:pt x="264" y="394"/>
                  </a:lnTo>
                  <a:lnTo>
                    <a:pt x="263" y="394"/>
                  </a:lnTo>
                  <a:lnTo>
                    <a:pt x="258" y="392"/>
                  </a:lnTo>
                  <a:lnTo>
                    <a:pt x="255" y="391"/>
                  </a:lnTo>
                  <a:lnTo>
                    <a:pt x="253" y="391"/>
                  </a:lnTo>
                  <a:lnTo>
                    <a:pt x="252" y="391"/>
                  </a:lnTo>
                  <a:lnTo>
                    <a:pt x="248" y="389"/>
                  </a:lnTo>
                  <a:lnTo>
                    <a:pt x="247" y="389"/>
                  </a:lnTo>
                  <a:lnTo>
                    <a:pt x="245" y="388"/>
                  </a:lnTo>
                  <a:lnTo>
                    <a:pt x="244" y="388"/>
                  </a:lnTo>
                  <a:lnTo>
                    <a:pt x="243" y="387"/>
                  </a:lnTo>
                  <a:lnTo>
                    <a:pt x="242" y="387"/>
                  </a:lnTo>
                  <a:lnTo>
                    <a:pt x="238" y="386"/>
                  </a:lnTo>
                  <a:lnTo>
                    <a:pt x="235" y="386"/>
                  </a:lnTo>
                  <a:lnTo>
                    <a:pt x="233" y="385"/>
                  </a:lnTo>
                  <a:lnTo>
                    <a:pt x="232" y="385"/>
                  </a:lnTo>
                  <a:lnTo>
                    <a:pt x="231" y="385"/>
                  </a:lnTo>
                  <a:lnTo>
                    <a:pt x="230" y="385"/>
                  </a:lnTo>
                  <a:lnTo>
                    <a:pt x="229" y="386"/>
                  </a:lnTo>
                  <a:lnTo>
                    <a:pt x="229" y="386"/>
                  </a:lnTo>
                  <a:lnTo>
                    <a:pt x="228" y="386"/>
                  </a:lnTo>
                  <a:lnTo>
                    <a:pt x="227" y="386"/>
                  </a:lnTo>
                  <a:lnTo>
                    <a:pt x="227" y="387"/>
                  </a:lnTo>
                  <a:lnTo>
                    <a:pt x="226" y="387"/>
                  </a:lnTo>
                  <a:lnTo>
                    <a:pt x="225" y="388"/>
                  </a:lnTo>
                  <a:lnTo>
                    <a:pt x="225" y="388"/>
                  </a:lnTo>
                  <a:lnTo>
                    <a:pt x="224" y="389"/>
                  </a:lnTo>
                  <a:lnTo>
                    <a:pt x="224" y="389"/>
                  </a:lnTo>
                  <a:lnTo>
                    <a:pt x="224" y="390"/>
                  </a:lnTo>
                  <a:lnTo>
                    <a:pt x="224" y="391"/>
                  </a:lnTo>
                  <a:lnTo>
                    <a:pt x="223" y="394"/>
                  </a:lnTo>
                  <a:lnTo>
                    <a:pt x="222" y="399"/>
                  </a:lnTo>
                  <a:lnTo>
                    <a:pt x="222" y="401"/>
                  </a:lnTo>
                  <a:lnTo>
                    <a:pt x="221" y="404"/>
                  </a:lnTo>
                  <a:lnTo>
                    <a:pt x="221" y="405"/>
                  </a:lnTo>
                  <a:lnTo>
                    <a:pt x="221" y="406"/>
                  </a:lnTo>
                  <a:lnTo>
                    <a:pt x="220" y="407"/>
                  </a:lnTo>
                  <a:lnTo>
                    <a:pt x="220" y="408"/>
                  </a:lnTo>
                  <a:lnTo>
                    <a:pt x="219" y="409"/>
                  </a:lnTo>
                  <a:lnTo>
                    <a:pt x="218" y="410"/>
                  </a:lnTo>
                  <a:lnTo>
                    <a:pt x="217" y="412"/>
                  </a:lnTo>
                  <a:lnTo>
                    <a:pt x="215" y="414"/>
                  </a:lnTo>
                  <a:lnTo>
                    <a:pt x="214" y="415"/>
                  </a:lnTo>
                  <a:lnTo>
                    <a:pt x="213" y="416"/>
                  </a:lnTo>
                  <a:lnTo>
                    <a:pt x="212" y="416"/>
                  </a:lnTo>
                  <a:lnTo>
                    <a:pt x="211" y="417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Freeform 48">
              <a:extLst>
                <a:ext uri="{FF2B5EF4-FFF2-40B4-BE49-F238E27FC236}">
                  <a16:creationId xmlns:a16="http://schemas.microsoft.com/office/drawing/2014/main" id="{4E08A60D-CA27-873A-4BFD-453579634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3556"/>
              <a:ext cx="373" cy="465"/>
            </a:xfrm>
            <a:custGeom>
              <a:avLst/>
              <a:gdLst>
                <a:gd name="T0" fmla="*/ 359 w 373"/>
                <a:gd name="T1" fmla="*/ 411 h 465"/>
                <a:gd name="T2" fmla="*/ 357 w 373"/>
                <a:gd name="T3" fmla="*/ 438 h 465"/>
                <a:gd name="T4" fmla="*/ 352 w 373"/>
                <a:gd name="T5" fmla="*/ 452 h 465"/>
                <a:gd name="T6" fmla="*/ 344 w 373"/>
                <a:gd name="T7" fmla="*/ 453 h 465"/>
                <a:gd name="T8" fmla="*/ 334 w 373"/>
                <a:gd name="T9" fmla="*/ 444 h 465"/>
                <a:gd name="T10" fmla="*/ 324 w 373"/>
                <a:gd name="T11" fmla="*/ 435 h 465"/>
                <a:gd name="T12" fmla="*/ 310 w 373"/>
                <a:gd name="T13" fmla="*/ 441 h 465"/>
                <a:gd name="T14" fmla="*/ 292 w 373"/>
                <a:gd name="T15" fmla="*/ 436 h 465"/>
                <a:gd name="T16" fmla="*/ 279 w 373"/>
                <a:gd name="T17" fmla="*/ 425 h 465"/>
                <a:gd name="T18" fmla="*/ 275 w 373"/>
                <a:gd name="T19" fmla="*/ 434 h 465"/>
                <a:gd name="T20" fmla="*/ 269 w 373"/>
                <a:gd name="T21" fmla="*/ 448 h 465"/>
                <a:gd name="T22" fmla="*/ 257 w 373"/>
                <a:gd name="T23" fmla="*/ 451 h 465"/>
                <a:gd name="T24" fmla="*/ 249 w 373"/>
                <a:gd name="T25" fmla="*/ 459 h 465"/>
                <a:gd name="T26" fmla="*/ 239 w 373"/>
                <a:gd name="T27" fmla="*/ 465 h 465"/>
                <a:gd name="T28" fmla="*/ 212 w 373"/>
                <a:gd name="T29" fmla="*/ 454 h 465"/>
                <a:gd name="T30" fmla="*/ 183 w 373"/>
                <a:gd name="T31" fmla="*/ 448 h 465"/>
                <a:gd name="T32" fmla="*/ 165 w 373"/>
                <a:gd name="T33" fmla="*/ 447 h 465"/>
                <a:gd name="T34" fmla="*/ 152 w 373"/>
                <a:gd name="T35" fmla="*/ 438 h 465"/>
                <a:gd name="T36" fmla="*/ 144 w 373"/>
                <a:gd name="T37" fmla="*/ 428 h 465"/>
                <a:gd name="T38" fmla="*/ 147 w 373"/>
                <a:gd name="T39" fmla="*/ 421 h 465"/>
                <a:gd name="T40" fmla="*/ 154 w 373"/>
                <a:gd name="T41" fmla="*/ 414 h 465"/>
                <a:gd name="T42" fmla="*/ 143 w 373"/>
                <a:gd name="T43" fmla="*/ 401 h 465"/>
                <a:gd name="T44" fmla="*/ 128 w 373"/>
                <a:gd name="T45" fmla="*/ 391 h 465"/>
                <a:gd name="T46" fmla="*/ 108 w 373"/>
                <a:gd name="T47" fmla="*/ 375 h 465"/>
                <a:gd name="T48" fmla="*/ 86 w 373"/>
                <a:gd name="T49" fmla="*/ 363 h 465"/>
                <a:gd name="T50" fmla="*/ 79 w 373"/>
                <a:gd name="T51" fmla="*/ 352 h 465"/>
                <a:gd name="T52" fmla="*/ 70 w 373"/>
                <a:gd name="T53" fmla="*/ 336 h 465"/>
                <a:gd name="T54" fmla="*/ 61 w 373"/>
                <a:gd name="T55" fmla="*/ 318 h 465"/>
                <a:gd name="T56" fmla="*/ 49 w 373"/>
                <a:gd name="T57" fmla="*/ 313 h 465"/>
                <a:gd name="T58" fmla="*/ 34 w 373"/>
                <a:gd name="T59" fmla="*/ 306 h 465"/>
                <a:gd name="T60" fmla="*/ 23 w 373"/>
                <a:gd name="T61" fmla="*/ 283 h 465"/>
                <a:gd name="T62" fmla="*/ 13 w 373"/>
                <a:gd name="T63" fmla="*/ 276 h 465"/>
                <a:gd name="T64" fmla="*/ 3 w 373"/>
                <a:gd name="T65" fmla="*/ 272 h 465"/>
                <a:gd name="T66" fmla="*/ 0 w 373"/>
                <a:gd name="T67" fmla="*/ 259 h 465"/>
                <a:gd name="T68" fmla="*/ 6 w 373"/>
                <a:gd name="T69" fmla="*/ 240 h 465"/>
                <a:gd name="T70" fmla="*/ 16 w 373"/>
                <a:gd name="T71" fmla="*/ 233 h 465"/>
                <a:gd name="T72" fmla="*/ 17 w 373"/>
                <a:gd name="T73" fmla="*/ 219 h 465"/>
                <a:gd name="T74" fmla="*/ 16 w 373"/>
                <a:gd name="T75" fmla="*/ 200 h 465"/>
                <a:gd name="T76" fmla="*/ 25 w 373"/>
                <a:gd name="T77" fmla="*/ 192 h 465"/>
                <a:gd name="T78" fmla="*/ 38 w 373"/>
                <a:gd name="T79" fmla="*/ 185 h 465"/>
                <a:gd name="T80" fmla="*/ 49 w 373"/>
                <a:gd name="T81" fmla="*/ 173 h 465"/>
                <a:gd name="T82" fmla="*/ 53 w 373"/>
                <a:gd name="T83" fmla="*/ 163 h 465"/>
                <a:gd name="T84" fmla="*/ 48 w 373"/>
                <a:gd name="T85" fmla="*/ 151 h 465"/>
                <a:gd name="T86" fmla="*/ 56 w 373"/>
                <a:gd name="T87" fmla="*/ 144 h 465"/>
                <a:gd name="T88" fmla="*/ 54 w 373"/>
                <a:gd name="T89" fmla="*/ 137 h 465"/>
                <a:gd name="T90" fmla="*/ 53 w 373"/>
                <a:gd name="T91" fmla="*/ 131 h 465"/>
                <a:gd name="T92" fmla="*/ 59 w 373"/>
                <a:gd name="T93" fmla="*/ 125 h 465"/>
                <a:gd name="T94" fmla="*/ 60 w 373"/>
                <a:gd name="T95" fmla="*/ 115 h 465"/>
                <a:gd name="T96" fmla="*/ 73 w 373"/>
                <a:gd name="T97" fmla="*/ 99 h 465"/>
                <a:gd name="T98" fmla="*/ 76 w 373"/>
                <a:gd name="T99" fmla="*/ 86 h 465"/>
                <a:gd name="T100" fmla="*/ 71 w 373"/>
                <a:gd name="T101" fmla="*/ 66 h 465"/>
                <a:gd name="T102" fmla="*/ 74 w 373"/>
                <a:gd name="T103" fmla="*/ 52 h 465"/>
                <a:gd name="T104" fmla="*/ 70 w 373"/>
                <a:gd name="T105" fmla="*/ 35 h 465"/>
                <a:gd name="T106" fmla="*/ 70 w 373"/>
                <a:gd name="T107" fmla="*/ 23 h 465"/>
                <a:gd name="T108" fmla="*/ 76 w 373"/>
                <a:gd name="T109" fmla="*/ 21 h 465"/>
                <a:gd name="T110" fmla="*/ 90 w 373"/>
                <a:gd name="T111" fmla="*/ 18 h 465"/>
                <a:gd name="T112" fmla="*/ 101 w 373"/>
                <a:gd name="T113" fmla="*/ 18 h 465"/>
                <a:gd name="T114" fmla="*/ 111 w 373"/>
                <a:gd name="T115" fmla="*/ 23 h 465"/>
                <a:gd name="T116" fmla="*/ 122 w 373"/>
                <a:gd name="T117" fmla="*/ 25 h 465"/>
                <a:gd name="T118" fmla="*/ 135 w 373"/>
                <a:gd name="T119" fmla="*/ 20 h 465"/>
                <a:gd name="T120" fmla="*/ 144 w 373"/>
                <a:gd name="T121" fmla="*/ 13 h 465"/>
                <a:gd name="T122" fmla="*/ 157 w 373"/>
                <a:gd name="T123" fmla="*/ 1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" h="465">
                  <a:moveTo>
                    <a:pt x="373" y="394"/>
                  </a:moveTo>
                  <a:lnTo>
                    <a:pt x="370" y="396"/>
                  </a:lnTo>
                  <a:lnTo>
                    <a:pt x="367" y="399"/>
                  </a:lnTo>
                  <a:lnTo>
                    <a:pt x="365" y="400"/>
                  </a:lnTo>
                  <a:lnTo>
                    <a:pt x="364" y="401"/>
                  </a:lnTo>
                  <a:lnTo>
                    <a:pt x="364" y="402"/>
                  </a:lnTo>
                  <a:lnTo>
                    <a:pt x="363" y="403"/>
                  </a:lnTo>
                  <a:lnTo>
                    <a:pt x="362" y="404"/>
                  </a:lnTo>
                  <a:lnTo>
                    <a:pt x="361" y="406"/>
                  </a:lnTo>
                  <a:lnTo>
                    <a:pt x="360" y="408"/>
                  </a:lnTo>
                  <a:lnTo>
                    <a:pt x="360" y="409"/>
                  </a:lnTo>
                  <a:lnTo>
                    <a:pt x="359" y="411"/>
                  </a:lnTo>
                  <a:lnTo>
                    <a:pt x="358" y="414"/>
                  </a:lnTo>
                  <a:lnTo>
                    <a:pt x="358" y="415"/>
                  </a:lnTo>
                  <a:lnTo>
                    <a:pt x="357" y="417"/>
                  </a:lnTo>
                  <a:lnTo>
                    <a:pt x="357" y="418"/>
                  </a:lnTo>
                  <a:lnTo>
                    <a:pt x="357" y="420"/>
                  </a:lnTo>
                  <a:lnTo>
                    <a:pt x="357" y="421"/>
                  </a:lnTo>
                  <a:lnTo>
                    <a:pt x="357" y="422"/>
                  </a:lnTo>
                  <a:lnTo>
                    <a:pt x="357" y="428"/>
                  </a:lnTo>
                  <a:lnTo>
                    <a:pt x="357" y="430"/>
                  </a:lnTo>
                  <a:lnTo>
                    <a:pt x="357" y="431"/>
                  </a:lnTo>
                  <a:lnTo>
                    <a:pt x="357" y="433"/>
                  </a:lnTo>
                  <a:lnTo>
                    <a:pt x="357" y="438"/>
                  </a:lnTo>
                  <a:lnTo>
                    <a:pt x="357" y="441"/>
                  </a:lnTo>
                  <a:lnTo>
                    <a:pt x="357" y="442"/>
                  </a:lnTo>
                  <a:lnTo>
                    <a:pt x="356" y="444"/>
                  </a:lnTo>
                  <a:lnTo>
                    <a:pt x="356" y="445"/>
                  </a:lnTo>
                  <a:lnTo>
                    <a:pt x="356" y="446"/>
                  </a:lnTo>
                  <a:lnTo>
                    <a:pt x="356" y="446"/>
                  </a:lnTo>
                  <a:lnTo>
                    <a:pt x="355" y="448"/>
                  </a:lnTo>
                  <a:lnTo>
                    <a:pt x="355" y="449"/>
                  </a:lnTo>
                  <a:lnTo>
                    <a:pt x="354" y="450"/>
                  </a:lnTo>
                  <a:lnTo>
                    <a:pt x="353" y="450"/>
                  </a:lnTo>
                  <a:lnTo>
                    <a:pt x="353" y="451"/>
                  </a:lnTo>
                  <a:lnTo>
                    <a:pt x="352" y="452"/>
                  </a:lnTo>
                  <a:lnTo>
                    <a:pt x="352" y="452"/>
                  </a:lnTo>
                  <a:lnTo>
                    <a:pt x="351" y="452"/>
                  </a:lnTo>
                  <a:lnTo>
                    <a:pt x="351" y="453"/>
                  </a:lnTo>
                  <a:lnTo>
                    <a:pt x="350" y="453"/>
                  </a:lnTo>
                  <a:lnTo>
                    <a:pt x="350" y="453"/>
                  </a:lnTo>
                  <a:lnTo>
                    <a:pt x="349" y="453"/>
                  </a:lnTo>
                  <a:lnTo>
                    <a:pt x="348" y="453"/>
                  </a:lnTo>
                  <a:lnTo>
                    <a:pt x="347" y="453"/>
                  </a:lnTo>
                  <a:lnTo>
                    <a:pt x="346" y="453"/>
                  </a:lnTo>
                  <a:lnTo>
                    <a:pt x="345" y="453"/>
                  </a:lnTo>
                  <a:lnTo>
                    <a:pt x="344" y="453"/>
                  </a:lnTo>
                  <a:lnTo>
                    <a:pt x="344" y="453"/>
                  </a:lnTo>
                  <a:lnTo>
                    <a:pt x="343" y="453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1" y="451"/>
                  </a:lnTo>
                  <a:lnTo>
                    <a:pt x="340" y="451"/>
                  </a:lnTo>
                  <a:lnTo>
                    <a:pt x="340" y="450"/>
                  </a:lnTo>
                  <a:lnTo>
                    <a:pt x="337" y="447"/>
                  </a:lnTo>
                  <a:lnTo>
                    <a:pt x="337" y="446"/>
                  </a:lnTo>
                  <a:lnTo>
                    <a:pt x="336" y="445"/>
                  </a:lnTo>
                  <a:lnTo>
                    <a:pt x="335" y="444"/>
                  </a:lnTo>
                  <a:lnTo>
                    <a:pt x="334" y="444"/>
                  </a:lnTo>
                  <a:lnTo>
                    <a:pt x="333" y="444"/>
                  </a:lnTo>
                  <a:lnTo>
                    <a:pt x="332" y="443"/>
                  </a:lnTo>
                  <a:lnTo>
                    <a:pt x="331" y="443"/>
                  </a:lnTo>
                  <a:lnTo>
                    <a:pt x="330" y="442"/>
                  </a:lnTo>
                  <a:lnTo>
                    <a:pt x="330" y="442"/>
                  </a:lnTo>
                  <a:lnTo>
                    <a:pt x="329" y="441"/>
                  </a:lnTo>
                  <a:lnTo>
                    <a:pt x="328" y="440"/>
                  </a:lnTo>
                  <a:lnTo>
                    <a:pt x="328" y="440"/>
                  </a:lnTo>
                  <a:lnTo>
                    <a:pt x="326" y="438"/>
                  </a:lnTo>
                  <a:lnTo>
                    <a:pt x="326" y="436"/>
                  </a:lnTo>
                  <a:lnTo>
                    <a:pt x="325" y="436"/>
                  </a:lnTo>
                  <a:lnTo>
                    <a:pt x="324" y="435"/>
                  </a:lnTo>
                  <a:lnTo>
                    <a:pt x="324" y="435"/>
                  </a:lnTo>
                  <a:lnTo>
                    <a:pt x="323" y="435"/>
                  </a:lnTo>
                  <a:lnTo>
                    <a:pt x="323" y="435"/>
                  </a:lnTo>
                  <a:lnTo>
                    <a:pt x="322" y="435"/>
                  </a:lnTo>
                  <a:lnTo>
                    <a:pt x="322" y="435"/>
                  </a:lnTo>
                  <a:lnTo>
                    <a:pt x="321" y="435"/>
                  </a:lnTo>
                  <a:lnTo>
                    <a:pt x="320" y="436"/>
                  </a:lnTo>
                  <a:lnTo>
                    <a:pt x="314" y="439"/>
                  </a:lnTo>
                  <a:lnTo>
                    <a:pt x="313" y="440"/>
                  </a:lnTo>
                  <a:lnTo>
                    <a:pt x="312" y="441"/>
                  </a:lnTo>
                  <a:lnTo>
                    <a:pt x="311" y="441"/>
                  </a:lnTo>
                  <a:lnTo>
                    <a:pt x="310" y="441"/>
                  </a:lnTo>
                  <a:lnTo>
                    <a:pt x="309" y="442"/>
                  </a:lnTo>
                  <a:lnTo>
                    <a:pt x="308" y="442"/>
                  </a:lnTo>
                  <a:lnTo>
                    <a:pt x="308" y="442"/>
                  </a:lnTo>
                  <a:lnTo>
                    <a:pt x="307" y="442"/>
                  </a:lnTo>
                  <a:lnTo>
                    <a:pt x="307" y="441"/>
                  </a:lnTo>
                  <a:lnTo>
                    <a:pt x="306" y="441"/>
                  </a:lnTo>
                  <a:lnTo>
                    <a:pt x="303" y="440"/>
                  </a:lnTo>
                  <a:lnTo>
                    <a:pt x="299" y="439"/>
                  </a:lnTo>
                  <a:lnTo>
                    <a:pt x="297" y="438"/>
                  </a:lnTo>
                  <a:lnTo>
                    <a:pt x="294" y="437"/>
                  </a:lnTo>
                  <a:lnTo>
                    <a:pt x="293" y="436"/>
                  </a:lnTo>
                  <a:lnTo>
                    <a:pt x="292" y="436"/>
                  </a:lnTo>
                  <a:lnTo>
                    <a:pt x="291" y="435"/>
                  </a:lnTo>
                  <a:lnTo>
                    <a:pt x="290" y="434"/>
                  </a:lnTo>
                  <a:lnTo>
                    <a:pt x="289" y="434"/>
                  </a:lnTo>
                  <a:lnTo>
                    <a:pt x="288" y="432"/>
                  </a:lnTo>
                  <a:lnTo>
                    <a:pt x="287" y="431"/>
                  </a:lnTo>
                  <a:lnTo>
                    <a:pt x="284" y="428"/>
                  </a:lnTo>
                  <a:lnTo>
                    <a:pt x="283" y="427"/>
                  </a:lnTo>
                  <a:lnTo>
                    <a:pt x="282" y="426"/>
                  </a:lnTo>
                  <a:lnTo>
                    <a:pt x="281" y="426"/>
                  </a:lnTo>
                  <a:lnTo>
                    <a:pt x="280" y="425"/>
                  </a:lnTo>
                  <a:lnTo>
                    <a:pt x="280" y="425"/>
                  </a:lnTo>
                  <a:lnTo>
                    <a:pt x="279" y="425"/>
                  </a:lnTo>
                  <a:lnTo>
                    <a:pt x="279" y="426"/>
                  </a:lnTo>
                  <a:lnTo>
                    <a:pt x="278" y="426"/>
                  </a:lnTo>
                  <a:lnTo>
                    <a:pt x="278" y="426"/>
                  </a:lnTo>
                  <a:lnTo>
                    <a:pt x="277" y="426"/>
                  </a:lnTo>
                  <a:lnTo>
                    <a:pt x="277" y="427"/>
                  </a:lnTo>
                  <a:lnTo>
                    <a:pt x="276" y="427"/>
                  </a:lnTo>
                  <a:lnTo>
                    <a:pt x="276" y="427"/>
                  </a:lnTo>
                  <a:lnTo>
                    <a:pt x="276" y="428"/>
                  </a:lnTo>
                  <a:lnTo>
                    <a:pt x="275" y="428"/>
                  </a:lnTo>
                  <a:lnTo>
                    <a:pt x="275" y="429"/>
                  </a:lnTo>
                  <a:lnTo>
                    <a:pt x="275" y="433"/>
                  </a:lnTo>
                  <a:lnTo>
                    <a:pt x="275" y="434"/>
                  </a:lnTo>
                  <a:lnTo>
                    <a:pt x="275" y="435"/>
                  </a:lnTo>
                  <a:lnTo>
                    <a:pt x="274" y="437"/>
                  </a:lnTo>
                  <a:lnTo>
                    <a:pt x="274" y="440"/>
                  </a:lnTo>
                  <a:lnTo>
                    <a:pt x="273" y="441"/>
                  </a:lnTo>
                  <a:lnTo>
                    <a:pt x="273" y="442"/>
                  </a:lnTo>
                  <a:lnTo>
                    <a:pt x="272" y="443"/>
                  </a:lnTo>
                  <a:lnTo>
                    <a:pt x="272" y="444"/>
                  </a:lnTo>
                  <a:lnTo>
                    <a:pt x="271" y="445"/>
                  </a:lnTo>
                  <a:lnTo>
                    <a:pt x="270" y="446"/>
                  </a:lnTo>
                  <a:lnTo>
                    <a:pt x="270" y="447"/>
                  </a:lnTo>
                  <a:lnTo>
                    <a:pt x="269" y="447"/>
                  </a:lnTo>
                  <a:lnTo>
                    <a:pt x="269" y="448"/>
                  </a:lnTo>
                  <a:lnTo>
                    <a:pt x="268" y="449"/>
                  </a:lnTo>
                  <a:lnTo>
                    <a:pt x="267" y="449"/>
                  </a:lnTo>
                  <a:lnTo>
                    <a:pt x="267" y="449"/>
                  </a:lnTo>
                  <a:lnTo>
                    <a:pt x="266" y="449"/>
                  </a:lnTo>
                  <a:lnTo>
                    <a:pt x="265" y="449"/>
                  </a:lnTo>
                  <a:lnTo>
                    <a:pt x="262" y="449"/>
                  </a:lnTo>
                  <a:lnTo>
                    <a:pt x="260" y="450"/>
                  </a:lnTo>
                  <a:lnTo>
                    <a:pt x="259" y="450"/>
                  </a:lnTo>
                  <a:lnTo>
                    <a:pt x="259" y="450"/>
                  </a:lnTo>
                  <a:lnTo>
                    <a:pt x="258" y="450"/>
                  </a:lnTo>
                  <a:lnTo>
                    <a:pt x="257" y="451"/>
                  </a:lnTo>
                  <a:lnTo>
                    <a:pt x="257" y="451"/>
                  </a:lnTo>
                  <a:lnTo>
                    <a:pt x="257" y="452"/>
                  </a:lnTo>
                  <a:lnTo>
                    <a:pt x="256" y="453"/>
                  </a:lnTo>
                  <a:lnTo>
                    <a:pt x="256" y="454"/>
                  </a:lnTo>
                  <a:lnTo>
                    <a:pt x="255" y="455"/>
                  </a:lnTo>
                  <a:lnTo>
                    <a:pt x="255" y="456"/>
                  </a:lnTo>
                  <a:lnTo>
                    <a:pt x="255" y="456"/>
                  </a:lnTo>
                  <a:lnTo>
                    <a:pt x="254" y="457"/>
                  </a:lnTo>
                  <a:lnTo>
                    <a:pt x="254" y="457"/>
                  </a:lnTo>
                  <a:lnTo>
                    <a:pt x="253" y="458"/>
                  </a:lnTo>
                  <a:lnTo>
                    <a:pt x="252" y="458"/>
                  </a:lnTo>
                  <a:lnTo>
                    <a:pt x="251" y="459"/>
                  </a:lnTo>
                  <a:lnTo>
                    <a:pt x="249" y="459"/>
                  </a:lnTo>
                  <a:lnTo>
                    <a:pt x="248" y="459"/>
                  </a:lnTo>
                  <a:lnTo>
                    <a:pt x="248" y="459"/>
                  </a:lnTo>
                  <a:lnTo>
                    <a:pt x="247" y="460"/>
                  </a:lnTo>
                  <a:lnTo>
                    <a:pt x="246" y="460"/>
                  </a:lnTo>
                  <a:lnTo>
                    <a:pt x="245" y="461"/>
                  </a:lnTo>
                  <a:lnTo>
                    <a:pt x="244" y="463"/>
                  </a:lnTo>
                  <a:lnTo>
                    <a:pt x="243" y="464"/>
                  </a:lnTo>
                  <a:lnTo>
                    <a:pt x="242" y="464"/>
                  </a:lnTo>
                  <a:lnTo>
                    <a:pt x="241" y="464"/>
                  </a:lnTo>
                  <a:lnTo>
                    <a:pt x="241" y="465"/>
                  </a:lnTo>
                  <a:lnTo>
                    <a:pt x="240" y="465"/>
                  </a:lnTo>
                  <a:lnTo>
                    <a:pt x="239" y="465"/>
                  </a:lnTo>
                  <a:lnTo>
                    <a:pt x="239" y="465"/>
                  </a:lnTo>
                  <a:lnTo>
                    <a:pt x="238" y="465"/>
                  </a:lnTo>
                  <a:lnTo>
                    <a:pt x="237" y="464"/>
                  </a:lnTo>
                  <a:lnTo>
                    <a:pt x="235" y="463"/>
                  </a:lnTo>
                  <a:lnTo>
                    <a:pt x="231" y="462"/>
                  </a:lnTo>
                  <a:lnTo>
                    <a:pt x="228" y="460"/>
                  </a:lnTo>
                  <a:lnTo>
                    <a:pt x="221" y="456"/>
                  </a:lnTo>
                  <a:lnTo>
                    <a:pt x="219" y="455"/>
                  </a:lnTo>
                  <a:lnTo>
                    <a:pt x="218" y="455"/>
                  </a:lnTo>
                  <a:lnTo>
                    <a:pt x="217" y="455"/>
                  </a:lnTo>
                  <a:lnTo>
                    <a:pt x="216" y="454"/>
                  </a:lnTo>
                  <a:lnTo>
                    <a:pt x="212" y="454"/>
                  </a:lnTo>
                  <a:lnTo>
                    <a:pt x="211" y="454"/>
                  </a:lnTo>
                  <a:lnTo>
                    <a:pt x="209" y="453"/>
                  </a:lnTo>
                  <a:lnTo>
                    <a:pt x="205" y="452"/>
                  </a:lnTo>
                  <a:lnTo>
                    <a:pt x="200" y="450"/>
                  </a:lnTo>
                  <a:lnTo>
                    <a:pt x="197" y="449"/>
                  </a:lnTo>
                  <a:lnTo>
                    <a:pt x="196" y="449"/>
                  </a:lnTo>
                  <a:lnTo>
                    <a:pt x="195" y="449"/>
                  </a:lnTo>
                  <a:lnTo>
                    <a:pt x="193" y="449"/>
                  </a:lnTo>
                  <a:lnTo>
                    <a:pt x="190" y="449"/>
                  </a:lnTo>
                  <a:lnTo>
                    <a:pt x="188" y="449"/>
                  </a:lnTo>
                  <a:lnTo>
                    <a:pt x="187" y="448"/>
                  </a:lnTo>
                  <a:lnTo>
                    <a:pt x="183" y="448"/>
                  </a:lnTo>
                  <a:lnTo>
                    <a:pt x="181" y="448"/>
                  </a:lnTo>
                  <a:lnTo>
                    <a:pt x="179" y="447"/>
                  </a:lnTo>
                  <a:lnTo>
                    <a:pt x="178" y="447"/>
                  </a:lnTo>
                  <a:lnTo>
                    <a:pt x="177" y="447"/>
                  </a:lnTo>
                  <a:lnTo>
                    <a:pt x="173" y="448"/>
                  </a:lnTo>
                  <a:lnTo>
                    <a:pt x="172" y="448"/>
                  </a:lnTo>
                  <a:lnTo>
                    <a:pt x="171" y="448"/>
                  </a:lnTo>
                  <a:lnTo>
                    <a:pt x="170" y="448"/>
                  </a:lnTo>
                  <a:lnTo>
                    <a:pt x="169" y="448"/>
                  </a:lnTo>
                  <a:lnTo>
                    <a:pt x="168" y="448"/>
                  </a:lnTo>
                  <a:lnTo>
                    <a:pt x="168" y="448"/>
                  </a:lnTo>
                  <a:lnTo>
                    <a:pt x="165" y="447"/>
                  </a:lnTo>
                  <a:lnTo>
                    <a:pt x="164" y="446"/>
                  </a:lnTo>
                  <a:lnTo>
                    <a:pt x="163" y="446"/>
                  </a:lnTo>
                  <a:lnTo>
                    <a:pt x="160" y="445"/>
                  </a:lnTo>
                  <a:lnTo>
                    <a:pt x="159" y="445"/>
                  </a:lnTo>
                  <a:lnTo>
                    <a:pt x="158" y="444"/>
                  </a:lnTo>
                  <a:lnTo>
                    <a:pt x="158" y="444"/>
                  </a:lnTo>
                  <a:lnTo>
                    <a:pt x="156" y="443"/>
                  </a:lnTo>
                  <a:lnTo>
                    <a:pt x="154" y="441"/>
                  </a:lnTo>
                  <a:lnTo>
                    <a:pt x="154" y="441"/>
                  </a:lnTo>
                  <a:lnTo>
                    <a:pt x="153" y="440"/>
                  </a:lnTo>
                  <a:lnTo>
                    <a:pt x="152" y="439"/>
                  </a:lnTo>
                  <a:lnTo>
                    <a:pt x="152" y="438"/>
                  </a:lnTo>
                  <a:lnTo>
                    <a:pt x="151" y="438"/>
                  </a:lnTo>
                  <a:lnTo>
                    <a:pt x="151" y="437"/>
                  </a:lnTo>
                  <a:lnTo>
                    <a:pt x="150" y="434"/>
                  </a:lnTo>
                  <a:lnTo>
                    <a:pt x="149" y="434"/>
                  </a:lnTo>
                  <a:lnTo>
                    <a:pt x="149" y="433"/>
                  </a:lnTo>
                  <a:lnTo>
                    <a:pt x="149" y="433"/>
                  </a:lnTo>
                  <a:lnTo>
                    <a:pt x="148" y="432"/>
                  </a:lnTo>
                  <a:lnTo>
                    <a:pt x="147" y="431"/>
                  </a:lnTo>
                  <a:lnTo>
                    <a:pt x="146" y="431"/>
                  </a:lnTo>
                  <a:lnTo>
                    <a:pt x="145" y="430"/>
                  </a:lnTo>
                  <a:lnTo>
                    <a:pt x="145" y="429"/>
                  </a:lnTo>
                  <a:lnTo>
                    <a:pt x="144" y="428"/>
                  </a:lnTo>
                  <a:lnTo>
                    <a:pt x="144" y="428"/>
                  </a:lnTo>
                  <a:lnTo>
                    <a:pt x="144" y="427"/>
                  </a:lnTo>
                  <a:lnTo>
                    <a:pt x="144" y="426"/>
                  </a:lnTo>
                  <a:lnTo>
                    <a:pt x="144" y="426"/>
                  </a:lnTo>
                  <a:lnTo>
                    <a:pt x="144" y="425"/>
                  </a:lnTo>
                  <a:lnTo>
                    <a:pt x="144" y="425"/>
                  </a:lnTo>
                  <a:lnTo>
                    <a:pt x="144" y="424"/>
                  </a:lnTo>
                  <a:lnTo>
                    <a:pt x="144" y="424"/>
                  </a:lnTo>
                  <a:lnTo>
                    <a:pt x="145" y="423"/>
                  </a:lnTo>
                  <a:lnTo>
                    <a:pt x="145" y="422"/>
                  </a:lnTo>
                  <a:lnTo>
                    <a:pt x="146" y="422"/>
                  </a:lnTo>
                  <a:lnTo>
                    <a:pt x="147" y="421"/>
                  </a:lnTo>
                  <a:lnTo>
                    <a:pt x="148" y="420"/>
                  </a:lnTo>
                  <a:lnTo>
                    <a:pt x="149" y="420"/>
                  </a:lnTo>
                  <a:lnTo>
                    <a:pt x="151" y="419"/>
                  </a:lnTo>
                  <a:lnTo>
                    <a:pt x="152" y="419"/>
                  </a:lnTo>
                  <a:lnTo>
                    <a:pt x="152" y="418"/>
                  </a:lnTo>
                  <a:lnTo>
                    <a:pt x="153" y="418"/>
                  </a:lnTo>
                  <a:lnTo>
                    <a:pt x="153" y="417"/>
                  </a:lnTo>
                  <a:lnTo>
                    <a:pt x="153" y="417"/>
                  </a:lnTo>
                  <a:lnTo>
                    <a:pt x="154" y="416"/>
                  </a:lnTo>
                  <a:lnTo>
                    <a:pt x="154" y="415"/>
                  </a:lnTo>
                  <a:lnTo>
                    <a:pt x="154" y="415"/>
                  </a:lnTo>
                  <a:lnTo>
                    <a:pt x="154" y="414"/>
                  </a:lnTo>
                  <a:lnTo>
                    <a:pt x="154" y="413"/>
                  </a:lnTo>
                  <a:lnTo>
                    <a:pt x="154" y="412"/>
                  </a:lnTo>
                  <a:lnTo>
                    <a:pt x="153" y="411"/>
                  </a:lnTo>
                  <a:lnTo>
                    <a:pt x="153" y="411"/>
                  </a:lnTo>
                  <a:lnTo>
                    <a:pt x="152" y="410"/>
                  </a:lnTo>
                  <a:lnTo>
                    <a:pt x="152" y="410"/>
                  </a:lnTo>
                  <a:lnTo>
                    <a:pt x="149" y="408"/>
                  </a:lnTo>
                  <a:lnTo>
                    <a:pt x="148" y="407"/>
                  </a:lnTo>
                  <a:lnTo>
                    <a:pt x="147" y="406"/>
                  </a:lnTo>
                  <a:lnTo>
                    <a:pt x="146" y="405"/>
                  </a:lnTo>
                  <a:lnTo>
                    <a:pt x="144" y="402"/>
                  </a:lnTo>
                  <a:lnTo>
                    <a:pt x="143" y="401"/>
                  </a:lnTo>
                  <a:lnTo>
                    <a:pt x="142" y="399"/>
                  </a:lnTo>
                  <a:lnTo>
                    <a:pt x="140" y="398"/>
                  </a:lnTo>
                  <a:lnTo>
                    <a:pt x="139" y="397"/>
                  </a:lnTo>
                  <a:lnTo>
                    <a:pt x="139" y="396"/>
                  </a:lnTo>
                  <a:lnTo>
                    <a:pt x="138" y="396"/>
                  </a:lnTo>
                  <a:lnTo>
                    <a:pt x="137" y="395"/>
                  </a:lnTo>
                  <a:lnTo>
                    <a:pt x="136" y="395"/>
                  </a:lnTo>
                  <a:lnTo>
                    <a:pt x="136" y="395"/>
                  </a:lnTo>
                  <a:lnTo>
                    <a:pt x="134" y="394"/>
                  </a:lnTo>
                  <a:lnTo>
                    <a:pt x="131" y="393"/>
                  </a:lnTo>
                  <a:lnTo>
                    <a:pt x="129" y="392"/>
                  </a:lnTo>
                  <a:lnTo>
                    <a:pt x="128" y="391"/>
                  </a:lnTo>
                  <a:lnTo>
                    <a:pt x="126" y="391"/>
                  </a:lnTo>
                  <a:lnTo>
                    <a:pt x="125" y="391"/>
                  </a:lnTo>
                  <a:lnTo>
                    <a:pt x="125" y="390"/>
                  </a:lnTo>
                  <a:lnTo>
                    <a:pt x="121" y="387"/>
                  </a:lnTo>
                  <a:lnTo>
                    <a:pt x="120" y="387"/>
                  </a:lnTo>
                  <a:lnTo>
                    <a:pt x="119" y="386"/>
                  </a:lnTo>
                  <a:lnTo>
                    <a:pt x="118" y="385"/>
                  </a:lnTo>
                  <a:lnTo>
                    <a:pt x="117" y="384"/>
                  </a:lnTo>
                  <a:lnTo>
                    <a:pt x="116" y="382"/>
                  </a:lnTo>
                  <a:lnTo>
                    <a:pt x="111" y="378"/>
                  </a:lnTo>
                  <a:lnTo>
                    <a:pt x="110" y="376"/>
                  </a:lnTo>
                  <a:lnTo>
                    <a:pt x="108" y="375"/>
                  </a:lnTo>
                  <a:lnTo>
                    <a:pt x="107" y="373"/>
                  </a:lnTo>
                  <a:lnTo>
                    <a:pt x="105" y="372"/>
                  </a:lnTo>
                  <a:lnTo>
                    <a:pt x="104" y="371"/>
                  </a:lnTo>
                  <a:lnTo>
                    <a:pt x="103" y="370"/>
                  </a:lnTo>
                  <a:lnTo>
                    <a:pt x="101" y="369"/>
                  </a:lnTo>
                  <a:lnTo>
                    <a:pt x="100" y="368"/>
                  </a:lnTo>
                  <a:lnTo>
                    <a:pt x="99" y="367"/>
                  </a:lnTo>
                  <a:lnTo>
                    <a:pt x="97" y="367"/>
                  </a:lnTo>
                  <a:lnTo>
                    <a:pt x="96" y="366"/>
                  </a:lnTo>
                  <a:lnTo>
                    <a:pt x="94" y="366"/>
                  </a:lnTo>
                  <a:lnTo>
                    <a:pt x="88" y="364"/>
                  </a:lnTo>
                  <a:lnTo>
                    <a:pt x="86" y="363"/>
                  </a:lnTo>
                  <a:lnTo>
                    <a:pt x="85" y="363"/>
                  </a:lnTo>
                  <a:lnTo>
                    <a:pt x="84" y="362"/>
                  </a:lnTo>
                  <a:lnTo>
                    <a:pt x="83" y="362"/>
                  </a:lnTo>
                  <a:lnTo>
                    <a:pt x="82" y="361"/>
                  </a:lnTo>
                  <a:lnTo>
                    <a:pt x="82" y="361"/>
                  </a:lnTo>
                  <a:lnTo>
                    <a:pt x="81" y="360"/>
                  </a:lnTo>
                  <a:lnTo>
                    <a:pt x="81" y="360"/>
                  </a:lnTo>
                  <a:lnTo>
                    <a:pt x="81" y="359"/>
                  </a:lnTo>
                  <a:lnTo>
                    <a:pt x="80" y="357"/>
                  </a:lnTo>
                  <a:lnTo>
                    <a:pt x="80" y="356"/>
                  </a:lnTo>
                  <a:lnTo>
                    <a:pt x="80" y="353"/>
                  </a:lnTo>
                  <a:lnTo>
                    <a:pt x="79" y="352"/>
                  </a:lnTo>
                  <a:lnTo>
                    <a:pt x="79" y="351"/>
                  </a:lnTo>
                  <a:lnTo>
                    <a:pt x="79" y="350"/>
                  </a:lnTo>
                  <a:lnTo>
                    <a:pt x="78" y="348"/>
                  </a:lnTo>
                  <a:lnTo>
                    <a:pt x="76" y="343"/>
                  </a:lnTo>
                  <a:lnTo>
                    <a:pt x="75" y="342"/>
                  </a:lnTo>
                  <a:lnTo>
                    <a:pt x="75" y="341"/>
                  </a:lnTo>
                  <a:lnTo>
                    <a:pt x="74" y="339"/>
                  </a:lnTo>
                  <a:lnTo>
                    <a:pt x="73" y="339"/>
                  </a:lnTo>
                  <a:lnTo>
                    <a:pt x="73" y="338"/>
                  </a:lnTo>
                  <a:lnTo>
                    <a:pt x="72" y="338"/>
                  </a:lnTo>
                  <a:lnTo>
                    <a:pt x="72" y="337"/>
                  </a:lnTo>
                  <a:lnTo>
                    <a:pt x="70" y="336"/>
                  </a:lnTo>
                  <a:lnTo>
                    <a:pt x="69" y="335"/>
                  </a:lnTo>
                  <a:lnTo>
                    <a:pt x="68" y="334"/>
                  </a:lnTo>
                  <a:lnTo>
                    <a:pt x="68" y="334"/>
                  </a:lnTo>
                  <a:lnTo>
                    <a:pt x="67" y="333"/>
                  </a:lnTo>
                  <a:lnTo>
                    <a:pt x="67" y="332"/>
                  </a:lnTo>
                  <a:lnTo>
                    <a:pt x="66" y="332"/>
                  </a:lnTo>
                  <a:lnTo>
                    <a:pt x="66" y="330"/>
                  </a:lnTo>
                  <a:lnTo>
                    <a:pt x="65" y="329"/>
                  </a:lnTo>
                  <a:lnTo>
                    <a:pt x="65" y="328"/>
                  </a:lnTo>
                  <a:lnTo>
                    <a:pt x="63" y="324"/>
                  </a:lnTo>
                  <a:lnTo>
                    <a:pt x="62" y="320"/>
                  </a:lnTo>
                  <a:lnTo>
                    <a:pt x="61" y="318"/>
                  </a:lnTo>
                  <a:lnTo>
                    <a:pt x="60" y="317"/>
                  </a:lnTo>
                  <a:lnTo>
                    <a:pt x="60" y="316"/>
                  </a:lnTo>
                  <a:lnTo>
                    <a:pt x="59" y="315"/>
                  </a:lnTo>
                  <a:lnTo>
                    <a:pt x="58" y="314"/>
                  </a:lnTo>
                  <a:lnTo>
                    <a:pt x="58" y="313"/>
                  </a:lnTo>
                  <a:lnTo>
                    <a:pt x="57" y="313"/>
                  </a:lnTo>
                  <a:lnTo>
                    <a:pt x="57" y="313"/>
                  </a:lnTo>
                  <a:lnTo>
                    <a:pt x="56" y="313"/>
                  </a:lnTo>
                  <a:lnTo>
                    <a:pt x="55" y="313"/>
                  </a:lnTo>
                  <a:lnTo>
                    <a:pt x="52" y="313"/>
                  </a:lnTo>
                  <a:lnTo>
                    <a:pt x="51" y="313"/>
                  </a:lnTo>
                  <a:lnTo>
                    <a:pt x="49" y="313"/>
                  </a:lnTo>
                  <a:lnTo>
                    <a:pt x="46" y="313"/>
                  </a:lnTo>
                  <a:lnTo>
                    <a:pt x="45" y="313"/>
                  </a:lnTo>
                  <a:lnTo>
                    <a:pt x="44" y="313"/>
                  </a:lnTo>
                  <a:lnTo>
                    <a:pt x="43" y="313"/>
                  </a:lnTo>
                  <a:lnTo>
                    <a:pt x="42" y="312"/>
                  </a:lnTo>
                  <a:lnTo>
                    <a:pt x="41" y="312"/>
                  </a:lnTo>
                  <a:lnTo>
                    <a:pt x="40" y="312"/>
                  </a:lnTo>
                  <a:lnTo>
                    <a:pt x="40" y="311"/>
                  </a:lnTo>
                  <a:lnTo>
                    <a:pt x="39" y="311"/>
                  </a:lnTo>
                  <a:lnTo>
                    <a:pt x="38" y="310"/>
                  </a:lnTo>
                  <a:lnTo>
                    <a:pt x="35" y="307"/>
                  </a:lnTo>
                  <a:lnTo>
                    <a:pt x="34" y="306"/>
                  </a:lnTo>
                  <a:lnTo>
                    <a:pt x="34" y="305"/>
                  </a:lnTo>
                  <a:lnTo>
                    <a:pt x="33" y="303"/>
                  </a:lnTo>
                  <a:lnTo>
                    <a:pt x="32" y="301"/>
                  </a:lnTo>
                  <a:lnTo>
                    <a:pt x="30" y="298"/>
                  </a:lnTo>
                  <a:lnTo>
                    <a:pt x="29" y="295"/>
                  </a:lnTo>
                  <a:lnTo>
                    <a:pt x="28" y="292"/>
                  </a:lnTo>
                  <a:lnTo>
                    <a:pt x="26" y="288"/>
                  </a:lnTo>
                  <a:lnTo>
                    <a:pt x="25" y="285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2" y="283"/>
                  </a:lnTo>
                  <a:lnTo>
                    <a:pt x="20" y="283"/>
                  </a:lnTo>
                  <a:lnTo>
                    <a:pt x="20" y="283"/>
                  </a:lnTo>
                  <a:lnTo>
                    <a:pt x="19" y="282"/>
                  </a:lnTo>
                  <a:lnTo>
                    <a:pt x="18" y="282"/>
                  </a:lnTo>
                  <a:lnTo>
                    <a:pt x="17" y="281"/>
                  </a:lnTo>
                  <a:lnTo>
                    <a:pt x="16" y="280"/>
                  </a:lnTo>
                  <a:lnTo>
                    <a:pt x="16" y="279"/>
                  </a:lnTo>
                  <a:lnTo>
                    <a:pt x="14" y="277"/>
                  </a:lnTo>
                  <a:lnTo>
                    <a:pt x="13" y="276"/>
                  </a:lnTo>
                  <a:lnTo>
                    <a:pt x="13" y="276"/>
                  </a:lnTo>
                  <a:lnTo>
                    <a:pt x="12" y="275"/>
                  </a:lnTo>
                  <a:lnTo>
                    <a:pt x="12" y="274"/>
                  </a:lnTo>
                  <a:lnTo>
                    <a:pt x="11" y="274"/>
                  </a:lnTo>
                  <a:lnTo>
                    <a:pt x="10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8" y="273"/>
                  </a:lnTo>
                  <a:lnTo>
                    <a:pt x="7" y="272"/>
                  </a:lnTo>
                  <a:lnTo>
                    <a:pt x="5" y="272"/>
                  </a:lnTo>
                  <a:lnTo>
                    <a:pt x="4" y="272"/>
                  </a:lnTo>
                  <a:lnTo>
                    <a:pt x="3" y="272"/>
                  </a:lnTo>
                  <a:lnTo>
                    <a:pt x="3" y="272"/>
                  </a:lnTo>
                  <a:lnTo>
                    <a:pt x="2" y="272"/>
                  </a:lnTo>
                  <a:lnTo>
                    <a:pt x="2" y="272"/>
                  </a:lnTo>
                  <a:lnTo>
                    <a:pt x="2" y="271"/>
                  </a:lnTo>
                  <a:lnTo>
                    <a:pt x="1" y="267"/>
                  </a:lnTo>
                  <a:lnTo>
                    <a:pt x="0" y="266"/>
                  </a:lnTo>
                  <a:lnTo>
                    <a:pt x="0" y="265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59"/>
                  </a:lnTo>
                  <a:lnTo>
                    <a:pt x="0" y="258"/>
                  </a:lnTo>
                  <a:lnTo>
                    <a:pt x="0" y="256"/>
                  </a:lnTo>
                  <a:lnTo>
                    <a:pt x="0" y="255"/>
                  </a:lnTo>
                  <a:lnTo>
                    <a:pt x="1" y="253"/>
                  </a:lnTo>
                  <a:lnTo>
                    <a:pt x="1" y="251"/>
                  </a:lnTo>
                  <a:lnTo>
                    <a:pt x="2" y="249"/>
                  </a:lnTo>
                  <a:lnTo>
                    <a:pt x="2" y="248"/>
                  </a:lnTo>
                  <a:lnTo>
                    <a:pt x="2" y="247"/>
                  </a:lnTo>
                  <a:lnTo>
                    <a:pt x="3" y="246"/>
                  </a:lnTo>
                  <a:lnTo>
                    <a:pt x="4" y="243"/>
                  </a:lnTo>
                  <a:lnTo>
                    <a:pt x="5" y="241"/>
                  </a:lnTo>
                  <a:lnTo>
                    <a:pt x="6" y="240"/>
                  </a:lnTo>
                  <a:lnTo>
                    <a:pt x="7" y="239"/>
                  </a:lnTo>
                  <a:lnTo>
                    <a:pt x="8" y="238"/>
                  </a:lnTo>
                  <a:lnTo>
                    <a:pt x="8" y="238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10" y="236"/>
                  </a:lnTo>
                  <a:lnTo>
                    <a:pt x="11" y="236"/>
                  </a:lnTo>
                  <a:lnTo>
                    <a:pt x="13" y="235"/>
                  </a:lnTo>
                  <a:lnTo>
                    <a:pt x="14" y="235"/>
                  </a:lnTo>
                  <a:lnTo>
                    <a:pt x="14" y="234"/>
                  </a:lnTo>
                  <a:lnTo>
                    <a:pt x="15" y="233"/>
                  </a:lnTo>
                  <a:lnTo>
                    <a:pt x="16" y="233"/>
                  </a:lnTo>
                  <a:lnTo>
                    <a:pt x="17" y="232"/>
                  </a:lnTo>
                  <a:lnTo>
                    <a:pt x="17" y="232"/>
                  </a:lnTo>
                  <a:lnTo>
                    <a:pt x="17" y="231"/>
                  </a:lnTo>
                  <a:lnTo>
                    <a:pt x="18" y="230"/>
                  </a:lnTo>
                  <a:lnTo>
                    <a:pt x="18" y="230"/>
                  </a:lnTo>
                  <a:lnTo>
                    <a:pt x="18" y="229"/>
                  </a:lnTo>
                  <a:lnTo>
                    <a:pt x="18" y="228"/>
                  </a:lnTo>
                  <a:lnTo>
                    <a:pt x="18" y="227"/>
                  </a:lnTo>
                  <a:lnTo>
                    <a:pt x="18" y="226"/>
                  </a:lnTo>
                  <a:lnTo>
                    <a:pt x="18" y="225"/>
                  </a:lnTo>
                  <a:lnTo>
                    <a:pt x="18" y="223"/>
                  </a:lnTo>
                  <a:lnTo>
                    <a:pt x="17" y="219"/>
                  </a:lnTo>
                  <a:lnTo>
                    <a:pt x="17" y="218"/>
                  </a:lnTo>
                  <a:lnTo>
                    <a:pt x="17" y="216"/>
                  </a:lnTo>
                  <a:lnTo>
                    <a:pt x="15" y="214"/>
                  </a:lnTo>
                  <a:lnTo>
                    <a:pt x="15" y="212"/>
                  </a:lnTo>
                  <a:lnTo>
                    <a:pt x="15" y="211"/>
                  </a:lnTo>
                  <a:lnTo>
                    <a:pt x="15" y="210"/>
                  </a:lnTo>
                  <a:lnTo>
                    <a:pt x="15" y="210"/>
                  </a:lnTo>
                  <a:lnTo>
                    <a:pt x="15" y="209"/>
                  </a:lnTo>
                  <a:lnTo>
                    <a:pt x="16" y="206"/>
                  </a:lnTo>
                  <a:lnTo>
                    <a:pt x="16" y="205"/>
                  </a:lnTo>
                  <a:lnTo>
                    <a:pt x="16" y="203"/>
                  </a:lnTo>
                  <a:lnTo>
                    <a:pt x="16" y="200"/>
                  </a:lnTo>
                  <a:lnTo>
                    <a:pt x="17" y="198"/>
                  </a:lnTo>
                  <a:lnTo>
                    <a:pt x="17" y="196"/>
                  </a:lnTo>
                  <a:lnTo>
                    <a:pt x="18" y="192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9" y="191"/>
                  </a:lnTo>
                  <a:lnTo>
                    <a:pt x="19" y="191"/>
                  </a:lnTo>
                  <a:lnTo>
                    <a:pt x="20" y="191"/>
                  </a:lnTo>
                  <a:lnTo>
                    <a:pt x="21" y="191"/>
                  </a:lnTo>
                  <a:lnTo>
                    <a:pt x="24" y="191"/>
                  </a:lnTo>
                  <a:lnTo>
                    <a:pt x="25" y="192"/>
                  </a:lnTo>
                  <a:lnTo>
                    <a:pt x="26" y="192"/>
                  </a:lnTo>
                  <a:lnTo>
                    <a:pt x="27" y="192"/>
                  </a:lnTo>
                  <a:lnTo>
                    <a:pt x="28" y="192"/>
                  </a:lnTo>
                  <a:lnTo>
                    <a:pt x="29" y="191"/>
                  </a:lnTo>
                  <a:lnTo>
                    <a:pt x="29" y="191"/>
                  </a:lnTo>
                  <a:lnTo>
                    <a:pt x="30" y="191"/>
                  </a:lnTo>
                  <a:lnTo>
                    <a:pt x="31" y="191"/>
                  </a:lnTo>
                  <a:lnTo>
                    <a:pt x="32" y="190"/>
                  </a:lnTo>
                  <a:lnTo>
                    <a:pt x="33" y="189"/>
                  </a:lnTo>
                  <a:lnTo>
                    <a:pt x="35" y="188"/>
                  </a:lnTo>
                  <a:lnTo>
                    <a:pt x="38" y="186"/>
                  </a:lnTo>
                  <a:lnTo>
                    <a:pt x="38" y="185"/>
                  </a:lnTo>
                  <a:lnTo>
                    <a:pt x="40" y="185"/>
                  </a:lnTo>
                  <a:lnTo>
                    <a:pt x="41" y="184"/>
                  </a:lnTo>
                  <a:lnTo>
                    <a:pt x="44" y="183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6" y="182"/>
                  </a:lnTo>
                  <a:lnTo>
                    <a:pt x="46" y="181"/>
                  </a:lnTo>
                  <a:lnTo>
                    <a:pt x="47" y="178"/>
                  </a:lnTo>
                  <a:lnTo>
                    <a:pt x="48" y="175"/>
                  </a:lnTo>
                  <a:lnTo>
                    <a:pt x="48" y="174"/>
                  </a:lnTo>
                  <a:lnTo>
                    <a:pt x="49" y="173"/>
                  </a:lnTo>
                  <a:lnTo>
                    <a:pt x="49" y="172"/>
                  </a:lnTo>
                  <a:lnTo>
                    <a:pt x="50" y="171"/>
                  </a:lnTo>
                  <a:lnTo>
                    <a:pt x="51" y="170"/>
                  </a:lnTo>
                  <a:lnTo>
                    <a:pt x="52" y="169"/>
                  </a:lnTo>
                  <a:lnTo>
                    <a:pt x="53" y="168"/>
                  </a:lnTo>
                  <a:lnTo>
                    <a:pt x="53" y="167"/>
                  </a:lnTo>
                  <a:lnTo>
                    <a:pt x="53" y="167"/>
                  </a:lnTo>
                  <a:lnTo>
                    <a:pt x="53" y="167"/>
                  </a:lnTo>
                  <a:lnTo>
                    <a:pt x="53" y="166"/>
                  </a:lnTo>
                  <a:lnTo>
                    <a:pt x="53" y="165"/>
                  </a:lnTo>
                  <a:lnTo>
                    <a:pt x="53" y="164"/>
                  </a:lnTo>
                  <a:lnTo>
                    <a:pt x="53" y="163"/>
                  </a:lnTo>
                  <a:lnTo>
                    <a:pt x="52" y="162"/>
                  </a:lnTo>
                  <a:lnTo>
                    <a:pt x="52" y="162"/>
                  </a:lnTo>
                  <a:lnTo>
                    <a:pt x="52" y="161"/>
                  </a:lnTo>
                  <a:lnTo>
                    <a:pt x="50" y="159"/>
                  </a:lnTo>
                  <a:lnTo>
                    <a:pt x="50" y="158"/>
                  </a:lnTo>
                  <a:lnTo>
                    <a:pt x="49" y="156"/>
                  </a:lnTo>
                  <a:lnTo>
                    <a:pt x="48" y="155"/>
                  </a:lnTo>
                  <a:lnTo>
                    <a:pt x="48" y="154"/>
                  </a:lnTo>
                  <a:lnTo>
                    <a:pt x="48" y="153"/>
                  </a:lnTo>
                  <a:lnTo>
                    <a:pt x="48" y="153"/>
                  </a:lnTo>
                  <a:lnTo>
                    <a:pt x="48" y="152"/>
                  </a:lnTo>
                  <a:lnTo>
                    <a:pt x="48" y="151"/>
                  </a:lnTo>
                  <a:lnTo>
                    <a:pt x="49" y="151"/>
                  </a:lnTo>
                  <a:lnTo>
                    <a:pt x="49" y="150"/>
                  </a:lnTo>
                  <a:lnTo>
                    <a:pt x="49" y="149"/>
                  </a:lnTo>
                  <a:lnTo>
                    <a:pt x="50" y="149"/>
                  </a:lnTo>
                  <a:lnTo>
                    <a:pt x="51" y="148"/>
                  </a:lnTo>
                  <a:lnTo>
                    <a:pt x="52" y="146"/>
                  </a:lnTo>
                  <a:lnTo>
                    <a:pt x="53" y="146"/>
                  </a:lnTo>
                  <a:lnTo>
                    <a:pt x="53" y="145"/>
                  </a:lnTo>
                  <a:lnTo>
                    <a:pt x="55" y="145"/>
                  </a:lnTo>
                  <a:lnTo>
                    <a:pt x="55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3"/>
                  </a:lnTo>
                  <a:lnTo>
                    <a:pt x="57" y="143"/>
                  </a:lnTo>
                  <a:lnTo>
                    <a:pt x="57" y="142"/>
                  </a:lnTo>
                  <a:lnTo>
                    <a:pt x="57" y="141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39"/>
                  </a:lnTo>
                  <a:lnTo>
                    <a:pt x="55" y="138"/>
                  </a:lnTo>
                  <a:lnTo>
                    <a:pt x="54" y="138"/>
                  </a:lnTo>
                  <a:lnTo>
                    <a:pt x="54" y="137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5"/>
                  </a:lnTo>
                  <a:lnTo>
                    <a:pt x="52" y="135"/>
                  </a:lnTo>
                  <a:lnTo>
                    <a:pt x="52" y="134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3" y="131"/>
                  </a:lnTo>
                  <a:lnTo>
                    <a:pt x="53" y="130"/>
                  </a:lnTo>
                  <a:lnTo>
                    <a:pt x="53" y="130"/>
                  </a:lnTo>
                  <a:lnTo>
                    <a:pt x="54" y="130"/>
                  </a:lnTo>
                  <a:lnTo>
                    <a:pt x="56" y="129"/>
                  </a:lnTo>
                  <a:lnTo>
                    <a:pt x="56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7"/>
                  </a:lnTo>
                  <a:lnTo>
                    <a:pt x="58" y="127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5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3"/>
                  </a:lnTo>
                  <a:lnTo>
                    <a:pt x="58" y="122"/>
                  </a:lnTo>
                  <a:lnTo>
                    <a:pt x="58" y="121"/>
                  </a:lnTo>
                  <a:lnTo>
                    <a:pt x="58" y="120"/>
                  </a:lnTo>
                  <a:lnTo>
                    <a:pt x="58" y="119"/>
                  </a:lnTo>
                  <a:lnTo>
                    <a:pt x="59" y="118"/>
                  </a:lnTo>
                  <a:lnTo>
                    <a:pt x="59" y="117"/>
                  </a:lnTo>
                  <a:lnTo>
                    <a:pt x="59" y="116"/>
                  </a:lnTo>
                  <a:lnTo>
                    <a:pt x="59" y="116"/>
                  </a:lnTo>
                  <a:lnTo>
                    <a:pt x="60" y="115"/>
                  </a:lnTo>
                  <a:lnTo>
                    <a:pt x="62" y="113"/>
                  </a:lnTo>
                  <a:lnTo>
                    <a:pt x="62" y="112"/>
                  </a:lnTo>
                  <a:lnTo>
                    <a:pt x="64" y="112"/>
                  </a:lnTo>
                  <a:lnTo>
                    <a:pt x="66" y="110"/>
                  </a:lnTo>
                  <a:lnTo>
                    <a:pt x="69" y="108"/>
                  </a:lnTo>
                  <a:lnTo>
                    <a:pt x="69" y="107"/>
                  </a:lnTo>
                  <a:lnTo>
                    <a:pt x="70" y="107"/>
                  </a:lnTo>
                  <a:lnTo>
                    <a:pt x="70" y="106"/>
                  </a:lnTo>
                  <a:lnTo>
                    <a:pt x="71" y="105"/>
                  </a:lnTo>
                  <a:lnTo>
                    <a:pt x="71" y="103"/>
                  </a:lnTo>
                  <a:lnTo>
                    <a:pt x="72" y="101"/>
                  </a:lnTo>
                  <a:lnTo>
                    <a:pt x="73" y="99"/>
                  </a:lnTo>
                  <a:lnTo>
                    <a:pt x="74" y="98"/>
                  </a:lnTo>
                  <a:lnTo>
                    <a:pt x="75" y="96"/>
                  </a:lnTo>
                  <a:lnTo>
                    <a:pt x="76" y="95"/>
                  </a:lnTo>
                  <a:lnTo>
                    <a:pt x="76" y="94"/>
                  </a:lnTo>
                  <a:lnTo>
                    <a:pt x="76" y="93"/>
                  </a:lnTo>
                  <a:lnTo>
                    <a:pt x="77" y="91"/>
                  </a:lnTo>
                  <a:lnTo>
                    <a:pt x="77" y="90"/>
                  </a:lnTo>
                  <a:lnTo>
                    <a:pt x="77" y="89"/>
                  </a:lnTo>
                  <a:lnTo>
                    <a:pt x="77" y="88"/>
                  </a:lnTo>
                  <a:lnTo>
                    <a:pt x="77" y="87"/>
                  </a:lnTo>
                  <a:lnTo>
                    <a:pt x="76" y="87"/>
                  </a:lnTo>
                  <a:lnTo>
                    <a:pt x="76" y="86"/>
                  </a:lnTo>
                  <a:lnTo>
                    <a:pt x="74" y="84"/>
                  </a:lnTo>
                  <a:lnTo>
                    <a:pt x="74" y="83"/>
                  </a:lnTo>
                  <a:lnTo>
                    <a:pt x="73" y="82"/>
                  </a:lnTo>
                  <a:lnTo>
                    <a:pt x="71" y="79"/>
                  </a:lnTo>
                  <a:lnTo>
                    <a:pt x="71" y="78"/>
                  </a:lnTo>
                  <a:lnTo>
                    <a:pt x="71" y="76"/>
                  </a:lnTo>
                  <a:lnTo>
                    <a:pt x="70" y="75"/>
                  </a:lnTo>
                  <a:lnTo>
                    <a:pt x="70" y="73"/>
                  </a:lnTo>
                  <a:lnTo>
                    <a:pt x="70" y="72"/>
                  </a:lnTo>
                  <a:lnTo>
                    <a:pt x="70" y="70"/>
                  </a:lnTo>
                  <a:lnTo>
                    <a:pt x="71" y="67"/>
                  </a:lnTo>
                  <a:lnTo>
                    <a:pt x="71" y="66"/>
                  </a:lnTo>
                  <a:lnTo>
                    <a:pt x="71" y="65"/>
                  </a:lnTo>
                  <a:lnTo>
                    <a:pt x="72" y="64"/>
                  </a:lnTo>
                  <a:lnTo>
                    <a:pt x="72" y="63"/>
                  </a:lnTo>
                  <a:lnTo>
                    <a:pt x="73" y="61"/>
                  </a:lnTo>
                  <a:lnTo>
                    <a:pt x="75" y="58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5" y="56"/>
                  </a:lnTo>
                  <a:lnTo>
                    <a:pt x="75" y="55"/>
                  </a:lnTo>
                  <a:lnTo>
                    <a:pt x="75" y="54"/>
                  </a:lnTo>
                  <a:lnTo>
                    <a:pt x="74" y="52"/>
                  </a:lnTo>
                  <a:lnTo>
                    <a:pt x="73" y="50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1" y="45"/>
                  </a:lnTo>
                  <a:lnTo>
                    <a:pt x="71" y="44"/>
                  </a:lnTo>
                  <a:lnTo>
                    <a:pt x="71" y="40"/>
                  </a:lnTo>
                  <a:lnTo>
                    <a:pt x="71" y="39"/>
                  </a:lnTo>
                  <a:lnTo>
                    <a:pt x="71" y="38"/>
                  </a:lnTo>
                  <a:lnTo>
                    <a:pt x="71" y="36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69" y="34"/>
                  </a:lnTo>
                  <a:lnTo>
                    <a:pt x="68" y="33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8" y="29"/>
                  </a:lnTo>
                  <a:lnTo>
                    <a:pt x="69" y="24"/>
                  </a:lnTo>
                  <a:lnTo>
                    <a:pt x="70" y="23"/>
                  </a:lnTo>
                  <a:lnTo>
                    <a:pt x="70" y="23"/>
                  </a:lnTo>
                  <a:lnTo>
                    <a:pt x="70" y="22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3" y="21"/>
                  </a:lnTo>
                  <a:lnTo>
                    <a:pt x="73" y="21"/>
                  </a:lnTo>
                  <a:lnTo>
                    <a:pt x="74" y="21"/>
                  </a:lnTo>
                  <a:lnTo>
                    <a:pt x="76" y="21"/>
                  </a:lnTo>
                  <a:lnTo>
                    <a:pt x="77" y="21"/>
                  </a:lnTo>
                  <a:lnTo>
                    <a:pt x="80" y="20"/>
                  </a:lnTo>
                  <a:lnTo>
                    <a:pt x="83" y="19"/>
                  </a:lnTo>
                  <a:lnTo>
                    <a:pt x="85" y="18"/>
                  </a:lnTo>
                  <a:lnTo>
                    <a:pt x="87" y="17"/>
                  </a:lnTo>
                  <a:lnTo>
                    <a:pt x="87" y="17"/>
                  </a:lnTo>
                  <a:lnTo>
                    <a:pt x="88" y="17"/>
                  </a:lnTo>
                  <a:lnTo>
                    <a:pt x="88" y="17"/>
                  </a:lnTo>
                  <a:lnTo>
                    <a:pt x="89" y="17"/>
                  </a:lnTo>
                  <a:lnTo>
                    <a:pt x="89" y="17"/>
                  </a:lnTo>
                  <a:lnTo>
                    <a:pt x="90" y="17"/>
                  </a:lnTo>
                  <a:lnTo>
                    <a:pt x="90" y="18"/>
                  </a:lnTo>
                  <a:lnTo>
                    <a:pt x="92" y="20"/>
                  </a:lnTo>
                  <a:lnTo>
                    <a:pt x="93" y="20"/>
                  </a:lnTo>
                  <a:lnTo>
                    <a:pt x="93" y="20"/>
                  </a:lnTo>
                  <a:lnTo>
                    <a:pt x="94" y="20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6" y="21"/>
                  </a:lnTo>
                  <a:lnTo>
                    <a:pt x="96" y="20"/>
                  </a:lnTo>
                  <a:lnTo>
                    <a:pt x="97" y="20"/>
                  </a:lnTo>
                  <a:lnTo>
                    <a:pt x="98" y="20"/>
                  </a:lnTo>
                  <a:lnTo>
                    <a:pt x="100" y="18"/>
                  </a:lnTo>
                  <a:lnTo>
                    <a:pt x="101" y="18"/>
                  </a:lnTo>
                  <a:lnTo>
                    <a:pt x="102" y="18"/>
                  </a:lnTo>
                  <a:lnTo>
                    <a:pt x="103" y="18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5" y="18"/>
                  </a:lnTo>
                  <a:lnTo>
                    <a:pt x="105" y="19"/>
                  </a:lnTo>
                  <a:lnTo>
                    <a:pt x="108" y="20"/>
                  </a:lnTo>
                  <a:lnTo>
                    <a:pt x="108" y="21"/>
                  </a:lnTo>
                  <a:lnTo>
                    <a:pt x="110" y="22"/>
                  </a:lnTo>
                  <a:lnTo>
                    <a:pt x="110" y="22"/>
                  </a:lnTo>
                  <a:lnTo>
                    <a:pt x="111" y="22"/>
                  </a:lnTo>
                  <a:lnTo>
                    <a:pt x="111" y="23"/>
                  </a:lnTo>
                  <a:lnTo>
                    <a:pt x="112" y="23"/>
                  </a:lnTo>
                  <a:lnTo>
                    <a:pt x="112" y="24"/>
                  </a:lnTo>
                  <a:lnTo>
                    <a:pt x="113" y="24"/>
                  </a:lnTo>
                  <a:lnTo>
                    <a:pt x="115" y="25"/>
                  </a:lnTo>
                  <a:lnTo>
                    <a:pt x="115" y="25"/>
                  </a:lnTo>
                  <a:lnTo>
                    <a:pt x="116" y="25"/>
                  </a:lnTo>
                  <a:lnTo>
                    <a:pt x="117" y="26"/>
                  </a:lnTo>
                  <a:lnTo>
                    <a:pt x="118" y="26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6"/>
                  </a:lnTo>
                  <a:lnTo>
                    <a:pt x="122" y="25"/>
                  </a:lnTo>
                  <a:lnTo>
                    <a:pt x="123" y="25"/>
                  </a:lnTo>
                  <a:lnTo>
                    <a:pt x="123" y="24"/>
                  </a:lnTo>
                  <a:lnTo>
                    <a:pt x="125" y="23"/>
                  </a:lnTo>
                  <a:lnTo>
                    <a:pt x="126" y="23"/>
                  </a:lnTo>
                  <a:lnTo>
                    <a:pt x="127" y="22"/>
                  </a:lnTo>
                  <a:lnTo>
                    <a:pt x="128" y="22"/>
                  </a:lnTo>
                  <a:lnTo>
                    <a:pt x="128" y="22"/>
                  </a:lnTo>
                  <a:lnTo>
                    <a:pt x="132" y="21"/>
                  </a:lnTo>
                  <a:lnTo>
                    <a:pt x="133" y="21"/>
                  </a:lnTo>
                  <a:lnTo>
                    <a:pt x="134" y="21"/>
                  </a:lnTo>
                  <a:lnTo>
                    <a:pt x="134" y="21"/>
                  </a:lnTo>
                  <a:lnTo>
                    <a:pt x="135" y="20"/>
                  </a:lnTo>
                  <a:lnTo>
                    <a:pt x="136" y="20"/>
                  </a:lnTo>
                  <a:lnTo>
                    <a:pt x="138" y="18"/>
                  </a:lnTo>
                  <a:lnTo>
                    <a:pt x="139" y="18"/>
                  </a:lnTo>
                  <a:lnTo>
                    <a:pt x="139" y="18"/>
                  </a:lnTo>
                  <a:lnTo>
                    <a:pt x="141" y="17"/>
                  </a:lnTo>
                  <a:lnTo>
                    <a:pt x="141" y="17"/>
                  </a:lnTo>
                  <a:lnTo>
                    <a:pt x="142" y="17"/>
                  </a:lnTo>
                  <a:lnTo>
                    <a:pt x="142" y="16"/>
                  </a:lnTo>
                  <a:lnTo>
                    <a:pt x="143" y="16"/>
                  </a:lnTo>
                  <a:lnTo>
                    <a:pt x="143" y="15"/>
                  </a:lnTo>
                  <a:lnTo>
                    <a:pt x="144" y="14"/>
                  </a:lnTo>
                  <a:lnTo>
                    <a:pt x="144" y="13"/>
                  </a:lnTo>
                  <a:lnTo>
                    <a:pt x="145" y="12"/>
                  </a:lnTo>
                  <a:lnTo>
                    <a:pt x="146" y="10"/>
                  </a:lnTo>
                  <a:lnTo>
                    <a:pt x="147" y="8"/>
                  </a:lnTo>
                  <a:lnTo>
                    <a:pt x="147" y="7"/>
                  </a:lnTo>
                  <a:lnTo>
                    <a:pt x="147" y="7"/>
                  </a:lnTo>
                  <a:lnTo>
                    <a:pt x="148" y="6"/>
                  </a:lnTo>
                  <a:lnTo>
                    <a:pt x="148" y="6"/>
                  </a:lnTo>
                  <a:lnTo>
                    <a:pt x="149" y="5"/>
                  </a:lnTo>
                  <a:lnTo>
                    <a:pt x="150" y="5"/>
                  </a:lnTo>
                  <a:lnTo>
                    <a:pt x="153" y="3"/>
                  </a:lnTo>
                  <a:lnTo>
                    <a:pt x="156" y="2"/>
                  </a:lnTo>
                  <a:lnTo>
                    <a:pt x="157" y="1"/>
                  </a:lnTo>
                  <a:lnTo>
                    <a:pt x="158" y="1"/>
                  </a:lnTo>
                  <a:lnTo>
                    <a:pt x="160" y="0"/>
                  </a:lnTo>
                  <a:lnTo>
                    <a:pt x="162" y="0"/>
                  </a:lnTo>
                  <a:lnTo>
                    <a:pt x="162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Freeform 49">
              <a:extLst>
                <a:ext uri="{FF2B5EF4-FFF2-40B4-BE49-F238E27FC236}">
                  <a16:creationId xmlns:a16="http://schemas.microsoft.com/office/drawing/2014/main" id="{14B658D5-6B2A-D1C0-87D7-1E6F5529B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301"/>
              <a:ext cx="427" cy="537"/>
            </a:xfrm>
            <a:custGeom>
              <a:avLst/>
              <a:gdLst>
                <a:gd name="T0" fmla="*/ 287 w 427"/>
                <a:gd name="T1" fmla="*/ 2 h 537"/>
                <a:gd name="T2" fmla="*/ 301 w 427"/>
                <a:gd name="T3" fmla="*/ 10 h 537"/>
                <a:gd name="T4" fmla="*/ 305 w 427"/>
                <a:gd name="T5" fmla="*/ 23 h 537"/>
                <a:gd name="T6" fmla="*/ 311 w 427"/>
                <a:gd name="T7" fmla="*/ 34 h 537"/>
                <a:gd name="T8" fmla="*/ 338 w 427"/>
                <a:gd name="T9" fmla="*/ 34 h 537"/>
                <a:gd name="T10" fmla="*/ 337 w 427"/>
                <a:gd name="T11" fmla="*/ 41 h 537"/>
                <a:gd name="T12" fmla="*/ 367 w 427"/>
                <a:gd name="T13" fmla="*/ 52 h 537"/>
                <a:gd name="T14" fmla="*/ 394 w 427"/>
                <a:gd name="T15" fmla="*/ 66 h 537"/>
                <a:gd name="T16" fmla="*/ 406 w 427"/>
                <a:gd name="T17" fmla="*/ 77 h 537"/>
                <a:gd name="T18" fmla="*/ 427 w 427"/>
                <a:gd name="T19" fmla="*/ 109 h 537"/>
                <a:gd name="T20" fmla="*/ 419 w 427"/>
                <a:gd name="T21" fmla="*/ 137 h 537"/>
                <a:gd name="T22" fmla="*/ 416 w 427"/>
                <a:gd name="T23" fmla="*/ 160 h 537"/>
                <a:gd name="T24" fmla="*/ 408 w 427"/>
                <a:gd name="T25" fmla="*/ 178 h 537"/>
                <a:gd name="T26" fmla="*/ 390 w 427"/>
                <a:gd name="T27" fmla="*/ 179 h 537"/>
                <a:gd name="T28" fmla="*/ 382 w 427"/>
                <a:gd name="T29" fmla="*/ 198 h 537"/>
                <a:gd name="T30" fmla="*/ 386 w 427"/>
                <a:gd name="T31" fmla="*/ 204 h 537"/>
                <a:gd name="T32" fmla="*/ 388 w 427"/>
                <a:gd name="T33" fmla="*/ 215 h 537"/>
                <a:gd name="T34" fmla="*/ 388 w 427"/>
                <a:gd name="T35" fmla="*/ 223 h 537"/>
                <a:gd name="T36" fmla="*/ 401 w 427"/>
                <a:gd name="T37" fmla="*/ 232 h 537"/>
                <a:gd name="T38" fmla="*/ 404 w 427"/>
                <a:gd name="T39" fmla="*/ 262 h 537"/>
                <a:gd name="T40" fmla="*/ 403 w 427"/>
                <a:gd name="T41" fmla="*/ 279 h 537"/>
                <a:gd name="T42" fmla="*/ 407 w 427"/>
                <a:gd name="T43" fmla="*/ 305 h 537"/>
                <a:gd name="T44" fmla="*/ 405 w 427"/>
                <a:gd name="T45" fmla="*/ 334 h 537"/>
                <a:gd name="T46" fmla="*/ 404 w 427"/>
                <a:gd name="T47" fmla="*/ 362 h 537"/>
                <a:gd name="T48" fmla="*/ 392 w 427"/>
                <a:gd name="T49" fmla="*/ 381 h 537"/>
                <a:gd name="T50" fmla="*/ 387 w 427"/>
                <a:gd name="T51" fmla="*/ 391 h 537"/>
                <a:gd name="T52" fmla="*/ 384 w 427"/>
                <a:gd name="T53" fmla="*/ 404 h 537"/>
                <a:gd name="T54" fmla="*/ 387 w 427"/>
                <a:gd name="T55" fmla="*/ 422 h 537"/>
                <a:gd name="T56" fmla="*/ 369 w 427"/>
                <a:gd name="T57" fmla="*/ 443 h 537"/>
                <a:gd name="T58" fmla="*/ 351 w 427"/>
                <a:gd name="T59" fmla="*/ 453 h 537"/>
                <a:gd name="T60" fmla="*/ 352 w 427"/>
                <a:gd name="T61" fmla="*/ 485 h 537"/>
                <a:gd name="T62" fmla="*/ 336 w 427"/>
                <a:gd name="T63" fmla="*/ 503 h 537"/>
                <a:gd name="T64" fmla="*/ 334 w 427"/>
                <a:gd name="T65" fmla="*/ 526 h 537"/>
                <a:gd name="T66" fmla="*/ 318 w 427"/>
                <a:gd name="T67" fmla="*/ 537 h 537"/>
                <a:gd name="T68" fmla="*/ 292 w 427"/>
                <a:gd name="T69" fmla="*/ 509 h 537"/>
                <a:gd name="T70" fmla="*/ 269 w 427"/>
                <a:gd name="T71" fmla="*/ 465 h 537"/>
                <a:gd name="T72" fmla="*/ 236 w 427"/>
                <a:gd name="T73" fmla="*/ 454 h 537"/>
                <a:gd name="T74" fmla="*/ 220 w 427"/>
                <a:gd name="T75" fmla="*/ 429 h 537"/>
                <a:gd name="T76" fmla="*/ 191 w 427"/>
                <a:gd name="T77" fmla="*/ 392 h 537"/>
                <a:gd name="T78" fmla="*/ 176 w 427"/>
                <a:gd name="T79" fmla="*/ 366 h 537"/>
                <a:gd name="T80" fmla="*/ 141 w 427"/>
                <a:gd name="T81" fmla="*/ 347 h 537"/>
                <a:gd name="T82" fmla="*/ 117 w 427"/>
                <a:gd name="T83" fmla="*/ 349 h 537"/>
                <a:gd name="T84" fmla="*/ 98 w 427"/>
                <a:gd name="T85" fmla="*/ 322 h 537"/>
                <a:gd name="T86" fmla="*/ 71 w 427"/>
                <a:gd name="T87" fmla="*/ 300 h 537"/>
                <a:gd name="T88" fmla="*/ 66 w 427"/>
                <a:gd name="T89" fmla="*/ 263 h 537"/>
                <a:gd name="T90" fmla="*/ 48 w 427"/>
                <a:gd name="T91" fmla="*/ 242 h 537"/>
                <a:gd name="T92" fmla="*/ 35 w 427"/>
                <a:gd name="T93" fmla="*/ 213 h 537"/>
                <a:gd name="T94" fmla="*/ 32 w 427"/>
                <a:gd name="T95" fmla="*/ 188 h 537"/>
                <a:gd name="T96" fmla="*/ 1 w 427"/>
                <a:gd name="T97" fmla="*/ 160 h 537"/>
                <a:gd name="T98" fmla="*/ 18 w 427"/>
                <a:gd name="T99" fmla="*/ 138 h 537"/>
                <a:gd name="T100" fmla="*/ 35 w 427"/>
                <a:gd name="T101" fmla="*/ 103 h 537"/>
                <a:gd name="T102" fmla="*/ 63 w 427"/>
                <a:gd name="T103" fmla="*/ 87 h 537"/>
                <a:gd name="T104" fmla="*/ 83 w 427"/>
                <a:gd name="T105" fmla="*/ 91 h 537"/>
                <a:gd name="T106" fmla="*/ 95 w 427"/>
                <a:gd name="T107" fmla="*/ 79 h 537"/>
                <a:gd name="T108" fmla="*/ 124 w 427"/>
                <a:gd name="T109" fmla="*/ 74 h 537"/>
                <a:gd name="T110" fmla="*/ 156 w 427"/>
                <a:gd name="T111" fmla="*/ 80 h 537"/>
                <a:gd name="T112" fmla="*/ 170 w 427"/>
                <a:gd name="T113" fmla="*/ 60 h 537"/>
                <a:gd name="T114" fmla="*/ 200 w 427"/>
                <a:gd name="T115" fmla="*/ 41 h 537"/>
                <a:gd name="T116" fmla="*/ 229 w 427"/>
                <a:gd name="T117" fmla="*/ 36 h 537"/>
                <a:gd name="T118" fmla="*/ 250 w 427"/>
                <a:gd name="T119" fmla="*/ 46 h 537"/>
                <a:gd name="T120" fmla="*/ 259 w 427"/>
                <a:gd name="T121" fmla="*/ 24 h 537"/>
                <a:gd name="T122" fmla="*/ 267 w 427"/>
                <a:gd name="T123" fmla="*/ 11 h 537"/>
                <a:gd name="T124" fmla="*/ 278 w 427"/>
                <a:gd name="T125" fmla="*/ 1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537">
                  <a:moveTo>
                    <a:pt x="279" y="1"/>
                  </a:moveTo>
                  <a:lnTo>
                    <a:pt x="279" y="1"/>
                  </a:lnTo>
                  <a:lnTo>
                    <a:pt x="279" y="1"/>
                  </a:lnTo>
                  <a:lnTo>
                    <a:pt x="279" y="2"/>
                  </a:lnTo>
                  <a:lnTo>
                    <a:pt x="279" y="4"/>
                  </a:lnTo>
                  <a:lnTo>
                    <a:pt x="279" y="4"/>
                  </a:lnTo>
                  <a:lnTo>
                    <a:pt x="280" y="5"/>
                  </a:lnTo>
                  <a:lnTo>
                    <a:pt x="280" y="5"/>
                  </a:lnTo>
                  <a:lnTo>
                    <a:pt x="280" y="6"/>
                  </a:lnTo>
                  <a:lnTo>
                    <a:pt x="281" y="6"/>
                  </a:lnTo>
                  <a:lnTo>
                    <a:pt x="281" y="6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83" y="5"/>
                  </a:lnTo>
                  <a:lnTo>
                    <a:pt x="283" y="5"/>
                  </a:lnTo>
                  <a:lnTo>
                    <a:pt x="285" y="3"/>
                  </a:lnTo>
                  <a:lnTo>
                    <a:pt x="285" y="3"/>
                  </a:lnTo>
                  <a:lnTo>
                    <a:pt x="286" y="2"/>
                  </a:lnTo>
                  <a:lnTo>
                    <a:pt x="286" y="2"/>
                  </a:lnTo>
                  <a:lnTo>
                    <a:pt x="287" y="2"/>
                  </a:lnTo>
                  <a:lnTo>
                    <a:pt x="288" y="1"/>
                  </a:lnTo>
                  <a:lnTo>
                    <a:pt x="288" y="2"/>
                  </a:lnTo>
                  <a:lnTo>
                    <a:pt x="288" y="2"/>
                  </a:lnTo>
                  <a:lnTo>
                    <a:pt x="289" y="3"/>
                  </a:lnTo>
                  <a:lnTo>
                    <a:pt x="289" y="4"/>
                  </a:lnTo>
                  <a:lnTo>
                    <a:pt x="291" y="6"/>
                  </a:lnTo>
                  <a:lnTo>
                    <a:pt x="292" y="7"/>
                  </a:lnTo>
                  <a:lnTo>
                    <a:pt x="292" y="8"/>
                  </a:lnTo>
                  <a:lnTo>
                    <a:pt x="293" y="10"/>
                  </a:lnTo>
                  <a:lnTo>
                    <a:pt x="293" y="11"/>
                  </a:lnTo>
                  <a:lnTo>
                    <a:pt x="293" y="11"/>
                  </a:lnTo>
                  <a:lnTo>
                    <a:pt x="294" y="11"/>
                  </a:lnTo>
                  <a:lnTo>
                    <a:pt x="294" y="12"/>
                  </a:lnTo>
                  <a:lnTo>
                    <a:pt x="294" y="12"/>
                  </a:lnTo>
                  <a:lnTo>
                    <a:pt x="295" y="12"/>
                  </a:lnTo>
                  <a:lnTo>
                    <a:pt x="295" y="12"/>
                  </a:lnTo>
                  <a:lnTo>
                    <a:pt x="296" y="12"/>
                  </a:lnTo>
                  <a:lnTo>
                    <a:pt x="299" y="11"/>
                  </a:lnTo>
                  <a:lnTo>
                    <a:pt x="299" y="11"/>
                  </a:lnTo>
                  <a:lnTo>
                    <a:pt x="299" y="11"/>
                  </a:lnTo>
                  <a:lnTo>
                    <a:pt x="301" y="10"/>
                  </a:lnTo>
                  <a:lnTo>
                    <a:pt x="302" y="9"/>
                  </a:lnTo>
                  <a:lnTo>
                    <a:pt x="302" y="9"/>
                  </a:lnTo>
                  <a:lnTo>
                    <a:pt x="303" y="8"/>
                  </a:lnTo>
                  <a:lnTo>
                    <a:pt x="304" y="7"/>
                  </a:lnTo>
                  <a:lnTo>
                    <a:pt x="304" y="8"/>
                  </a:lnTo>
                  <a:lnTo>
                    <a:pt x="304" y="9"/>
                  </a:lnTo>
                  <a:lnTo>
                    <a:pt x="305" y="10"/>
                  </a:lnTo>
                  <a:lnTo>
                    <a:pt x="306" y="11"/>
                  </a:lnTo>
                  <a:lnTo>
                    <a:pt x="307" y="13"/>
                  </a:lnTo>
                  <a:lnTo>
                    <a:pt x="307" y="14"/>
                  </a:lnTo>
                  <a:lnTo>
                    <a:pt x="308" y="14"/>
                  </a:lnTo>
                  <a:lnTo>
                    <a:pt x="308" y="15"/>
                  </a:lnTo>
                  <a:lnTo>
                    <a:pt x="308" y="16"/>
                  </a:lnTo>
                  <a:lnTo>
                    <a:pt x="308" y="17"/>
                  </a:lnTo>
                  <a:lnTo>
                    <a:pt x="308" y="18"/>
                  </a:lnTo>
                  <a:lnTo>
                    <a:pt x="308" y="19"/>
                  </a:lnTo>
                  <a:lnTo>
                    <a:pt x="308" y="19"/>
                  </a:lnTo>
                  <a:lnTo>
                    <a:pt x="308" y="19"/>
                  </a:lnTo>
                  <a:lnTo>
                    <a:pt x="307" y="20"/>
                  </a:lnTo>
                  <a:lnTo>
                    <a:pt x="306" y="22"/>
                  </a:lnTo>
                  <a:lnTo>
                    <a:pt x="305" y="23"/>
                  </a:lnTo>
                  <a:lnTo>
                    <a:pt x="304" y="25"/>
                  </a:lnTo>
                  <a:lnTo>
                    <a:pt x="303" y="27"/>
                  </a:lnTo>
                  <a:lnTo>
                    <a:pt x="303" y="28"/>
                  </a:lnTo>
                  <a:lnTo>
                    <a:pt x="302" y="28"/>
                  </a:lnTo>
                  <a:lnTo>
                    <a:pt x="302" y="29"/>
                  </a:lnTo>
                  <a:lnTo>
                    <a:pt x="302" y="30"/>
                  </a:lnTo>
                  <a:lnTo>
                    <a:pt x="302" y="30"/>
                  </a:lnTo>
                  <a:lnTo>
                    <a:pt x="302" y="31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3" y="33"/>
                  </a:lnTo>
                  <a:lnTo>
                    <a:pt x="303" y="33"/>
                  </a:lnTo>
                  <a:lnTo>
                    <a:pt x="304" y="33"/>
                  </a:lnTo>
                  <a:lnTo>
                    <a:pt x="305" y="33"/>
                  </a:lnTo>
                  <a:lnTo>
                    <a:pt x="308" y="34"/>
                  </a:lnTo>
                  <a:lnTo>
                    <a:pt x="308" y="34"/>
                  </a:lnTo>
                  <a:lnTo>
                    <a:pt x="309" y="34"/>
                  </a:lnTo>
                  <a:lnTo>
                    <a:pt x="309" y="34"/>
                  </a:lnTo>
                  <a:lnTo>
                    <a:pt x="310" y="34"/>
                  </a:lnTo>
                  <a:lnTo>
                    <a:pt x="311" y="34"/>
                  </a:lnTo>
                  <a:lnTo>
                    <a:pt x="312" y="33"/>
                  </a:lnTo>
                  <a:lnTo>
                    <a:pt x="314" y="32"/>
                  </a:lnTo>
                  <a:lnTo>
                    <a:pt x="316" y="32"/>
                  </a:lnTo>
                  <a:lnTo>
                    <a:pt x="317" y="32"/>
                  </a:lnTo>
                  <a:lnTo>
                    <a:pt x="317" y="31"/>
                  </a:lnTo>
                  <a:lnTo>
                    <a:pt x="319" y="31"/>
                  </a:lnTo>
                  <a:lnTo>
                    <a:pt x="321" y="31"/>
                  </a:lnTo>
                  <a:lnTo>
                    <a:pt x="322" y="31"/>
                  </a:lnTo>
                  <a:lnTo>
                    <a:pt x="323" y="32"/>
                  </a:lnTo>
                  <a:lnTo>
                    <a:pt x="326" y="32"/>
                  </a:lnTo>
                  <a:lnTo>
                    <a:pt x="327" y="32"/>
                  </a:lnTo>
                  <a:lnTo>
                    <a:pt x="328" y="32"/>
                  </a:lnTo>
                  <a:lnTo>
                    <a:pt x="328" y="32"/>
                  </a:lnTo>
                  <a:lnTo>
                    <a:pt x="331" y="32"/>
                  </a:lnTo>
                  <a:lnTo>
                    <a:pt x="333" y="32"/>
                  </a:lnTo>
                  <a:lnTo>
                    <a:pt x="334" y="32"/>
                  </a:lnTo>
                  <a:lnTo>
                    <a:pt x="334" y="32"/>
                  </a:lnTo>
                  <a:lnTo>
                    <a:pt x="335" y="32"/>
                  </a:lnTo>
                  <a:lnTo>
                    <a:pt x="336" y="32"/>
                  </a:lnTo>
                  <a:lnTo>
                    <a:pt x="337" y="33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9" y="34"/>
                  </a:lnTo>
                  <a:lnTo>
                    <a:pt x="338" y="35"/>
                  </a:lnTo>
                  <a:lnTo>
                    <a:pt x="338" y="35"/>
                  </a:lnTo>
                  <a:lnTo>
                    <a:pt x="336" y="36"/>
                  </a:lnTo>
                  <a:lnTo>
                    <a:pt x="336" y="36"/>
                  </a:lnTo>
                  <a:lnTo>
                    <a:pt x="335" y="37"/>
                  </a:lnTo>
                  <a:lnTo>
                    <a:pt x="335" y="37"/>
                  </a:lnTo>
                  <a:lnTo>
                    <a:pt x="334" y="37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9"/>
                  </a:lnTo>
                  <a:lnTo>
                    <a:pt x="335" y="39"/>
                  </a:lnTo>
                  <a:lnTo>
                    <a:pt x="335" y="39"/>
                  </a:lnTo>
                  <a:lnTo>
                    <a:pt x="335" y="40"/>
                  </a:lnTo>
                  <a:lnTo>
                    <a:pt x="336" y="41"/>
                  </a:lnTo>
                  <a:lnTo>
                    <a:pt x="337" y="41"/>
                  </a:lnTo>
                  <a:lnTo>
                    <a:pt x="338" y="42"/>
                  </a:lnTo>
                  <a:lnTo>
                    <a:pt x="339" y="43"/>
                  </a:lnTo>
                  <a:lnTo>
                    <a:pt x="342" y="44"/>
                  </a:lnTo>
                  <a:lnTo>
                    <a:pt x="344" y="45"/>
                  </a:lnTo>
                  <a:lnTo>
                    <a:pt x="346" y="47"/>
                  </a:lnTo>
                  <a:lnTo>
                    <a:pt x="349" y="49"/>
                  </a:lnTo>
                  <a:lnTo>
                    <a:pt x="350" y="50"/>
                  </a:lnTo>
                  <a:lnTo>
                    <a:pt x="352" y="51"/>
                  </a:lnTo>
                  <a:lnTo>
                    <a:pt x="352" y="51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6" y="52"/>
                  </a:lnTo>
                  <a:lnTo>
                    <a:pt x="357" y="52"/>
                  </a:lnTo>
                  <a:lnTo>
                    <a:pt x="358" y="53"/>
                  </a:lnTo>
                  <a:lnTo>
                    <a:pt x="359" y="53"/>
                  </a:lnTo>
                  <a:lnTo>
                    <a:pt x="361" y="53"/>
                  </a:lnTo>
                  <a:lnTo>
                    <a:pt x="362" y="53"/>
                  </a:lnTo>
                  <a:lnTo>
                    <a:pt x="363" y="53"/>
                  </a:lnTo>
                  <a:lnTo>
                    <a:pt x="365" y="53"/>
                  </a:lnTo>
                  <a:lnTo>
                    <a:pt x="366" y="52"/>
                  </a:lnTo>
                  <a:lnTo>
                    <a:pt x="367" y="52"/>
                  </a:lnTo>
                  <a:lnTo>
                    <a:pt x="370" y="51"/>
                  </a:lnTo>
                  <a:lnTo>
                    <a:pt x="371" y="51"/>
                  </a:lnTo>
                  <a:lnTo>
                    <a:pt x="372" y="51"/>
                  </a:lnTo>
                  <a:lnTo>
                    <a:pt x="374" y="51"/>
                  </a:lnTo>
                  <a:lnTo>
                    <a:pt x="374" y="51"/>
                  </a:lnTo>
                  <a:lnTo>
                    <a:pt x="376" y="51"/>
                  </a:lnTo>
                  <a:lnTo>
                    <a:pt x="376" y="52"/>
                  </a:lnTo>
                  <a:lnTo>
                    <a:pt x="377" y="52"/>
                  </a:lnTo>
                  <a:lnTo>
                    <a:pt x="378" y="52"/>
                  </a:lnTo>
                  <a:lnTo>
                    <a:pt x="378" y="53"/>
                  </a:lnTo>
                  <a:lnTo>
                    <a:pt x="379" y="53"/>
                  </a:lnTo>
                  <a:lnTo>
                    <a:pt x="380" y="54"/>
                  </a:lnTo>
                  <a:lnTo>
                    <a:pt x="382" y="57"/>
                  </a:lnTo>
                  <a:lnTo>
                    <a:pt x="384" y="59"/>
                  </a:lnTo>
                  <a:lnTo>
                    <a:pt x="385" y="60"/>
                  </a:lnTo>
                  <a:lnTo>
                    <a:pt x="387" y="62"/>
                  </a:lnTo>
                  <a:lnTo>
                    <a:pt x="390" y="64"/>
                  </a:lnTo>
                  <a:lnTo>
                    <a:pt x="391" y="65"/>
                  </a:lnTo>
                  <a:lnTo>
                    <a:pt x="392" y="66"/>
                  </a:lnTo>
                  <a:lnTo>
                    <a:pt x="393" y="66"/>
                  </a:lnTo>
                  <a:lnTo>
                    <a:pt x="394" y="66"/>
                  </a:lnTo>
                  <a:lnTo>
                    <a:pt x="397" y="67"/>
                  </a:lnTo>
                  <a:lnTo>
                    <a:pt x="398" y="67"/>
                  </a:lnTo>
                  <a:lnTo>
                    <a:pt x="399" y="67"/>
                  </a:lnTo>
                  <a:lnTo>
                    <a:pt x="400" y="67"/>
                  </a:lnTo>
                  <a:lnTo>
                    <a:pt x="400" y="68"/>
                  </a:lnTo>
                  <a:lnTo>
                    <a:pt x="401" y="68"/>
                  </a:lnTo>
                  <a:lnTo>
                    <a:pt x="402" y="69"/>
                  </a:lnTo>
                  <a:lnTo>
                    <a:pt x="402" y="69"/>
                  </a:lnTo>
                  <a:lnTo>
                    <a:pt x="403" y="70"/>
                  </a:lnTo>
                  <a:lnTo>
                    <a:pt x="403" y="70"/>
                  </a:lnTo>
                  <a:lnTo>
                    <a:pt x="403" y="71"/>
                  </a:lnTo>
                  <a:lnTo>
                    <a:pt x="404" y="72"/>
                  </a:lnTo>
                  <a:lnTo>
                    <a:pt x="404" y="72"/>
                  </a:lnTo>
                  <a:lnTo>
                    <a:pt x="404" y="75"/>
                  </a:lnTo>
                  <a:lnTo>
                    <a:pt x="404" y="76"/>
                  </a:lnTo>
                  <a:lnTo>
                    <a:pt x="405" y="76"/>
                  </a:lnTo>
                  <a:lnTo>
                    <a:pt x="405" y="76"/>
                  </a:lnTo>
                  <a:lnTo>
                    <a:pt x="405" y="77"/>
                  </a:lnTo>
                  <a:lnTo>
                    <a:pt x="405" y="77"/>
                  </a:lnTo>
                  <a:lnTo>
                    <a:pt x="406" y="77"/>
                  </a:lnTo>
                  <a:lnTo>
                    <a:pt x="406" y="77"/>
                  </a:lnTo>
                  <a:lnTo>
                    <a:pt x="409" y="78"/>
                  </a:lnTo>
                  <a:lnTo>
                    <a:pt x="412" y="79"/>
                  </a:lnTo>
                  <a:lnTo>
                    <a:pt x="414" y="79"/>
                  </a:lnTo>
                  <a:lnTo>
                    <a:pt x="415" y="80"/>
                  </a:lnTo>
                  <a:lnTo>
                    <a:pt x="418" y="81"/>
                  </a:lnTo>
                  <a:lnTo>
                    <a:pt x="424" y="85"/>
                  </a:lnTo>
                  <a:lnTo>
                    <a:pt x="425" y="85"/>
                  </a:lnTo>
                  <a:lnTo>
                    <a:pt x="425" y="86"/>
                  </a:lnTo>
                  <a:lnTo>
                    <a:pt x="425" y="86"/>
                  </a:lnTo>
                  <a:lnTo>
                    <a:pt x="426" y="86"/>
                  </a:lnTo>
                  <a:lnTo>
                    <a:pt x="426" y="87"/>
                  </a:lnTo>
                  <a:lnTo>
                    <a:pt x="426" y="87"/>
                  </a:lnTo>
                  <a:lnTo>
                    <a:pt x="426" y="92"/>
                  </a:lnTo>
                  <a:lnTo>
                    <a:pt x="426" y="94"/>
                  </a:lnTo>
                  <a:lnTo>
                    <a:pt x="427" y="97"/>
                  </a:lnTo>
                  <a:lnTo>
                    <a:pt x="427" y="101"/>
                  </a:lnTo>
                  <a:lnTo>
                    <a:pt x="427" y="103"/>
                  </a:lnTo>
                  <a:lnTo>
                    <a:pt x="427" y="107"/>
                  </a:lnTo>
                  <a:lnTo>
                    <a:pt x="427" y="108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7" y="110"/>
                  </a:lnTo>
                  <a:lnTo>
                    <a:pt x="427" y="111"/>
                  </a:lnTo>
                  <a:lnTo>
                    <a:pt x="426" y="111"/>
                  </a:lnTo>
                  <a:lnTo>
                    <a:pt x="426" y="112"/>
                  </a:lnTo>
                  <a:lnTo>
                    <a:pt x="424" y="113"/>
                  </a:lnTo>
                  <a:lnTo>
                    <a:pt x="424" y="114"/>
                  </a:lnTo>
                  <a:lnTo>
                    <a:pt x="423" y="114"/>
                  </a:lnTo>
                  <a:lnTo>
                    <a:pt x="423" y="115"/>
                  </a:lnTo>
                  <a:lnTo>
                    <a:pt x="422" y="116"/>
                  </a:lnTo>
                  <a:lnTo>
                    <a:pt x="422" y="117"/>
                  </a:lnTo>
                  <a:lnTo>
                    <a:pt x="421" y="119"/>
                  </a:lnTo>
                  <a:lnTo>
                    <a:pt x="420" y="122"/>
                  </a:lnTo>
                  <a:lnTo>
                    <a:pt x="420" y="123"/>
                  </a:lnTo>
                  <a:lnTo>
                    <a:pt x="420" y="124"/>
                  </a:lnTo>
                  <a:lnTo>
                    <a:pt x="419" y="129"/>
                  </a:lnTo>
                  <a:lnTo>
                    <a:pt x="419" y="130"/>
                  </a:lnTo>
                  <a:lnTo>
                    <a:pt x="419" y="131"/>
                  </a:lnTo>
                  <a:lnTo>
                    <a:pt x="419" y="134"/>
                  </a:lnTo>
                  <a:lnTo>
                    <a:pt x="419" y="135"/>
                  </a:lnTo>
                  <a:lnTo>
                    <a:pt x="419" y="136"/>
                  </a:lnTo>
                  <a:lnTo>
                    <a:pt x="419" y="137"/>
                  </a:lnTo>
                  <a:lnTo>
                    <a:pt x="419" y="138"/>
                  </a:lnTo>
                  <a:lnTo>
                    <a:pt x="419" y="139"/>
                  </a:lnTo>
                  <a:lnTo>
                    <a:pt x="418" y="141"/>
                  </a:lnTo>
                  <a:lnTo>
                    <a:pt x="417" y="144"/>
                  </a:lnTo>
                  <a:lnTo>
                    <a:pt x="417" y="144"/>
                  </a:lnTo>
                  <a:lnTo>
                    <a:pt x="417" y="145"/>
                  </a:lnTo>
                  <a:lnTo>
                    <a:pt x="417" y="146"/>
                  </a:lnTo>
                  <a:lnTo>
                    <a:pt x="417" y="147"/>
                  </a:lnTo>
                  <a:lnTo>
                    <a:pt x="417" y="148"/>
                  </a:lnTo>
                  <a:lnTo>
                    <a:pt x="417" y="151"/>
                  </a:lnTo>
                  <a:lnTo>
                    <a:pt x="417" y="152"/>
                  </a:lnTo>
                  <a:lnTo>
                    <a:pt x="416" y="153"/>
                  </a:lnTo>
                  <a:lnTo>
                    <a:pt x="416" y="154"/>
                  </a:lnTo>
                  <a:lnTo>
                    <a:pt x="416" y="155"/>
                  </a:lnTo>
                  <a:lnTo>
                    <a:pt x="416" y="156"/>
                  </a:lnTo>
                  <a:lnTo>
                    <a:pt x="415" y="158"/>
                  </a:lnTo>
                  <a:lnTo>
                    <a:pt x="415" y="159"/>
                  </a:lnTo>
                  <a:lnTo>
                    <a:pt x="415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8" y="161"/>
                  </a:lnTo>
                  <a:lnTo>
                    <a:pt x="418" y="162"/>
                  </a:lnTo>
                  <a:lnTo>
                    <a:pt x="419" y="162"/>
                  </a:lnTo>
                  <a:lnTo>
                    <a:pt x="419" y="163"/>
                  </a:lnTo>
                  <a:lnTo>
                    <a:pt x="420" y="163"/>
                  </a:lnTo>
                  <a:lnTo>
                    <a:pt x="420" y="164"/>
                  </a:lnTo>
                  <a:lnTo>
                    <a:pt x="420" y="165"/>
                  </a:lnTo>
                  <a:lnTo>
                    <a:pt x="420" y="165"/>
                  </a:lnTo>
                  <a:lnTo>
                    <a:pt x="419" y="166"/>
                  </a:lnTo>
                  <a:lnTo>
                    <a:pt x="419" y="166"/>
                  </a:lnTo>
                  <a:lnTo>
                    <a:pt x="419" y="167"/>
                  </a:lnTo>
                  <a:lnTo>
                    <a:pt x="418" y="167"/>
                  </a:lnTo>
                  <a:lnTo>
                    <a:pt x="417" y="168"/>
                  </a:lnTo>
                  <a:lnTo>
                    <a:pt x="414" y="171"/>
                  </a:lnTo>
                  <a:lnTo>
                    <a:pt x="413" y="172"/>
                  </a:lnTo>
                  <a:lnTo>
                    <a:pt x="412" y="173"/>
                  </a:lnTo>
                  <a:lnTo>
                    <a:pt x="411" y="174"/>
                  </a:lnTo>
                  <a:lnTo>
                    <a:pt x="410" y="176"/>
                  </a:lnTo>
                  <a:lnTo>
                    <a:pt x="409" y="177"/>
                  </a:lnTo>
                  <a:lnTo>
                    <a:pt x="408" y="177"/>
                  </a:lnTo>
                  <a:lnTo>
                    <a:pt x="408" y="178"/>
                  </a:lnTo>
                  <a:lnTo>
                    <a:pt x="407" y="178"/>
                  </a:lnTo>
                  <a:lnTo>
                    <a:pt x="407" y="178"/>
                  </a:lnTo>
                  <a:lnTo>
                    <a:pt x="406" y="179"/>
                  </a:lnTo>
                  <a:lnTo>
                    <a:pt x="406" y="179"/>
                  </a:lnTo>
                  <a:lnTo>
                    <a:pt x="405" y="179"/>
                  </a:lnTo>
                  <a:lnTo>
                    <a:pt x="405" y="179"/>
                  </a:lnTo>
                  <a:lnTo>
                    <a:pt x="404" y="178"/>
                  </a:lnTo>
                  <a:lnTo>
                    <a:pt x="403" y="178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399" y="176"/>
                  </a:lnTo>
                  <a:lnTo>
                    <a:pt x="398" y="176"/>
                  </a:lnTo>
                  <a:lnTo>
                    <a:pt x="397" y="176"/>
                  </a:lnTo>
                  <a:lnTo>
                    <a:pt x="397" y="176"/>
                  </a:lnTo>
                  <a:lnTo>
                    <a:pt x="396" y="176"/>
                  </a:lnTo>
                  <a:lnTo>
                    <a:pt x="395" y="177"/>
                  </a:lnTo>
                  <a:lnTo>
                    <a:pt x="394" y="177"/>
                  </a:lnTo>
                  <a:lnTo>
                    <a:pt x="392" y="178"/>
                  </a:lnTo>
                  <a:lnTo>
                    <a:pt x="391" y="179"/>
                  </a:lnTo>
                  <a:lnTo>
                    <a:pt x="390" y="179"/>
                  </a:lnTo>
                  <a:lnTo>
                    <a:pt x="389" y="180"/>
                  </a:lnTo>
                  <a:lnTo>
                    <a:pt x="388" y="181"/>
                  </a:lnTo>
                  <a:lnTo>
                    <a:pt x="387" y="182"/>
                  </a:lnTo>
                  <a:lnTo>
                    <a:pt x="386" y="182"/>
                  </a:lnTo>
                  <a:lnTo>
                    <a:pt x="386" y="183"/>
                  </a:lnTo>
                  <a:lnTo>
                    <a:pt x="385" y="185"/>
                  </a:lnTo>
                  <a:lnTo>
                    <a:pt x="382" y="188"/>
                  </a:lnTo>
                  <a:lnTo>
                    <a:pt x="381" y="189"/>
                  </a:lnTo>
                  <a:lnTo>
                    <a:pt x="381" y="190"/>
                  </a:lnTo>
                  <a:lnTo>
                    <a:pt x="381" y="191"/>
                  </a:lnTo>
                  <a:lnTo>
                    <a:pt x="380" y="192"/>
                  </a:lnTo>
                  <a:lnTo>
                    <a:pt x="380" y="193"/>
                  </a:lnTo>
                  <a:lnTo>
                    <a:pt x="380" y="194"/>
                  </a:lnTo>
                  <a:lnTo>
                    <a:pt x="380" y="195"/>
                  </a:lnTo>
                  <a:lnTo>
                    <a:pt x="380" y="195"/>
                  </a:lnTo>
                  <a:lnTo>
                    <a:pt x="380" y="196"/>
                  </a:lnTo>
                  <a:lnTo>
                    <a:pt x="381" y="196"/>
                  </a:lnTo>
                  <a:lnTo>
                    <a:pt x="381" y="197"/>
                  </a:lnTo>
                  <a:lnTo>
                    <a:pt x="381" y="197"/>
                  </a:lnTo>
                  <a:lnTo>
                    <a:pt x="381" y="197"/>
                  </a:lnTo>
                  <a:lnTo>
                    <a:pt x="382" y="198"/>
                  </a:lnTo>
                  <a:lnTo>
                    <a:pt x="382" y="198"/>
                  </a:lnTo>
                  <a:lnTo>
                    <a:pt x="383" y="198"/>
                  </a:lnTo>
                  <a:lnTo>
                    <a:pt x="385" y="197"/>
                  </a:lnTo>
                  <a:lnTo>
                    <a:pt x="386" y="197"/>
                  </a:lnTo>
                  <a:lnTo>
                    <a:pt x="387" y="197"/>
                  </a:lnTo>
                  <a:lnTo>
                    <a:pt x="388" y="197"/>
                  </a:lnTo>
                  <a:lnTo>
                    <a:pt x="390" y="197"/>
                  </a:lnTo>
                  <a:lnTo>
                    <a:pt x="391" y="198"/>
                  </a:lnTo>
                  <a:lnTo>
                    <a:pt x="391" y="198"/>
                  </a:lnTo>
                  <a:lnTo>
                    <a:pt x="392" y="198"/>
                  </a:lnTo>
                  <a:lnTo>
                    <a:pt x="392" y="198"/>
                  </a:lnTo>
                  <a:lnTo>
                    <a:pt x="392" y="199"/>
                  </a:lnTo>
                  <a:lnTo>
                    <a:pt x="392" y="199"/>
                  </a:lnTo>
                  <a:lnTo>
                    <a:pt x="393" y="199"/>
                  </a:lnTo>
                  <a:lnTo>
                    <a:pt x="392" y="200"/>
                  </a:lnTo>
                  <a:lnTo>
                    <a:pt x="392" y="200"/>
                  </a:lnTo>
                  <a:lnTo>
                    <a:pt x="392" y="201"/>
                  </a:lnTo>
                  <a:lnTo>
                    <a:pt x="391" y="201"/>
                  </a:lnTo>
                  <a:lnTo>
                    <a:pt x="390" y="202"/>
                  </a:lnTo>
                  <a:lnTo>
                    <a:pt x="386" y="203"/>
                  </a:lnTo>
                  <a:lnTo>
                    <a:pt x="386" y="204"/>
                  </a:lnTo>
                  <a:lnTo>
                    <a:pt x="386" y="204"/>
                  </a:lnTo>
                  <a:lnTo>
                    <a:pt x="386" y="204"/>
                  </a:lnTo>
                  <a:lnTo>
                    <a:pt x="385" y="204"/>
                  </a:lnTo>
                  <a:lnTo>
                    <a:pt x="385" y="205"/>
                  </a:lnTo>
                  <a:lnTo>
                    <a:pt x="385" y="206"/>
                  </a:lnTo>
                  <a:lnTo>
                    <a:pt x="386" y="206"/>
                  </a:lnTo>
                  <a:lnTo>
                    <a:pt x="386" y="207"/>
                  </a:lnTo>
                  <a:lnTo>
                    <a:pt x="386" y="207"/>
                  </a:lnTo>
                  <a:lnTo>
                    <a:pt x="386" y="208"/>
                  </a:lnTo>
                  <a:lnTo>
                    <a:pt x="388" y="209"/>
                  </a:lnTo>
                  <a:lnTo>
                    <a:pt x="388" y="210"/>
                  </a:lnTo>
                  <a:lnTo>
                    <a:pt x="389" y="211"/>
                  </a:lnTo>
                  <a:lnTo>
                    <a:pt x="389" y="211"/>
                  </a:lnTo>
                  <a:lnTo>
                    <a:pt x="390" y="212"/>
                  </a:lnTo>
                  <a:lnTo>
                    <a:pt x="390" y="213"/>
                  </a:lnTo>
                  <a:lnTo>
                    <a:pt x="390" y="213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8" y="215"/>
                  </a:lnTo>
                  <a:lnTo>
                    <a:pt x="388" y="215"/>
                  </a:lnTo>
                  <a:lnTo>
                    <a:pt x="387" y="215"/>
                  </a:lnTo>
                  <a:lnTo>
                    <a:pt x="386" y="215"/>
                  </a:lnTo>
                  <a:lnTo>
                    <a:pt x="385" y="215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7"/>
                  </a:lnTo>
                  <a:lnTo>
                    <a:pt x="385" y="217"/>
                  </a:lnTo>
                  <a:lnTo>
                    <a:pt x="386" y="218"/>
                  </a:lnTo>
                  <a:lnTo>
                    <a:pt x="387" y="219"/>
                  </a:lnTo>
                  <a:lnTo>
                    <a:pt x="388" y="219"/>
                  </a:lnTo>
                  <a:lnTo>
                    <a:pt x="388" y="219"/>
                  </a:lnTo>
                  <a:lnTo>
                    <a:pt x="388" y="220"/>
                  </a:lnTo>
                  <a:lnTo>
                    <a:pt x="388" y="220"/>
                  </a:lnTo>
                  <a:lnTo>
                    <a:pt x="388" y="221"/>
                  </a:lnTo>
                  <a:lnTo>
                    <a:pt x="388" y="222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9" y="223"/>
                  </a:lnTo>
                  <a:lnTo>
                    <a:pt x="389" y="224"/>
                  </a:lnTo>
                  <a:lnTo>
                    <a:pt x="389" y="224"/>
                  </a:lnTo>
                  <a:lnTo>
                    <a:pt x="390" y="224"/>
                  </a:lnTo>
                  <a:lnTo>
                    <a:pt x="391" y="224"/>
                  </a:lnTo>
                  <a:lnTo>
                    <a:pt x="393" y="224"/>
                  </a:lnTo>
                  <a:lnTo>
                    <a:pt x="394" y="224"/>
                  </a:lnTo>
                  <a:lnTo>
                    <a:pt x="395" y="224"/>
                  </a:lnTo>
                  <a:lnTo>
                    <a:pt x="396" y="224"/>
                  </a:lnTo>
                  <a:lnTo>
                    <a:pt x="397" y="225"/>
                  </a:lnTo>
                  <a:lnTo>
                    <a:pt x="398" y="225"/>
                  </a:lnTo>
                  <a:lnTo>
                    <a:pt x="399" y="226"/>
                  </a:lnTo>
                  <a:lnTo>
                    <a:pt x="400" y="226"/>
                  </a:lnTo>
                  <a:lnTo>
                    <a:pt x="400" y="227"/>
                  </a:lnTo>
                  <a:lnTo>
                    <a:pt x="400" y="227"/>
                  </a:lnTo>
                  <a:lnTo>
                    <a:pt x="401" y="228"/>
                  </a:lnTo>
                  <a:lnTo>
                    <a:pt x="401" y="228"/>
                  </a:lnTo>
                  <a:lnTo>
                    <a:pt x="401" y="229"/>
                  </a:lnTo>
                  <a:lnTo>
                    <a:pt x="401" y="230"/>
                  </a:lnTo>
                  <a:lnTo>
                    <a:pt x="401" y="232"/>
                  </a:lnTo>
                  <a:lnTo>
                    <a:pt x="401" y="234"/>
                  </a:lnTo>
                  <a:lnTo>
                    <a:pt x="401" y="236"/>
                  </a:lnTo>
                  <a:lnTo>
                    <a:pt x="401" y="237"/>
                  </a:lnTo>
                  <a:lnTo>
                    <a:pt x="401" y="239"/>
                  </a:lnTo>
                  <a:lnTo>
                    <a:pt x="400" y="242"/>
                  </a:lnTo>
                  <a:lnTo>
                    <a:pt x="400" y="244"/>
                  </a:lnTo>
                  <a:lnTo>
                    <a:pt x="400" y="246"/>
                  </a:lnTo>
                  <a:lnTo>
                    <a:pt x="399" y="249"/>
                  </a:lnTo>
                  <a:lnTo>
                    <a:pt x="399" y="252"/>
                  </a:lnTo>
                  <a:lnTo>
                    <a:pt x="399" y="253"/>
                  </a:lnTo>
                  <a:lnTo>
                    <a:pt x="399" y="257"/>
                  </a:lnTo>
                  <a:lnTo>
                    <a:pt x="399" y="257"/>
                  </a:lnTo>
                  <a:lnTo>
                    <a:pt x="399" y="258"/>
                  </a:lnTo>
                  <a:lnTo>
                    <a:pt x="399" y="258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1" y="260"/>
                  </a:lnTo>
                  <a:lnTo>
                    <a:pt x="402" y="260"/>
                  </a:lnTo>
                  <a:lnTo>
                    <a:pt x="403" y="261"/>
                  </a:lnTo>
                  <a:lnTo>
                    <a:pt x="404" y="262"/>
                  </a:lnTo>
                  <a:lnTo>
                    <a:pt x="404" y="262"/>
                  </a:lnTo>
                  <a:lnTo>
                    <a:pt x="405" y="263"/>
                  </a:lnTo>
                  <a:lnTo>
                    <a:pt x="405" y="264"/>
                  </a:lnTo>
                  <a:lnTo>
                    <a:pt x="405" y="265"/>
                  </a:lnTo>
                  <a:lnTo>
                    <a:pt x="406" y="267"/>
                  </a:lnTo>
                  <a:lnTo>
                    <a:pt x="406" y="268"/>
                  </a:lnTo>
                  <a:lnTo>
                    <a:pt x="406" y="269"/>
                  </a:lnTo>
                  <a:lnTo>
                    <a:pt x="406" y="270"/>
                  </a:lnTo>
                  <a:lnTo>
                    <a:pt x="406" y="271"/>
                  </a:lnTo>
                  <a:lnTo>
                    <a:pt x="406" y="273"/>
                  </a:lnTo>
                  <a:lnTo>
                    <a:pt x="406" y="274"/>
                  </a:lnTo>
                  <a:lnTo>
                    <a:pt x="406" y="275"/>
                  </a:lnTo>
                  <a:lnTo>
                    <a:pt x="406" y="276"/>
                  </a:lnTo>
                  <a:lnTo>
                    <a:pt x="406" y="276"/>
                  </a:lnTo>
                  <a:lnTo>
                    <a:pt x="405" y="276"/>
                  </a:lnTo>
                  <a:lnTo>
                    <a:pt x="405" y="276"/>
                  </a:lnTo>
                  <a:lnTo>
                    <a:pt x="405" y="276"/>
                  </a:lnTo>
                  <a:lnTo>
                    <a:pt x="404" y="277"/>
                  </a:lnTo>
                  <a:lnTo>
                    <a:pt x="404" y="278"/>
                  </a:lnTo>
                  <a:lnTo>
                    <a:pt x="404" y="278"/>
                  </a:lnTo>
                  <a:lnTo>
                    <a:pt x="403" y="279"/>
                  </a:lnTo>
                  <a:lnTo>
                    <a:pt x="402" y="284"/>
                  </a:lnTo>
                  <a:lnTo>
                    <a:pt x="402" y="285"/>
                  </a:lnTo>
                  <a:lnTo>
                    <a:pt x="402" y="285"/>
                  </a:lnTo>
                  <a:lnTo>
                    <a:pt x="402" y="286"/>
                  </a:lnTo>
                  <a:lnTo>
                    <a:pt x="402" y="286"/>
                  </a:lnTo>
                  <a:lnTo>
                    <a:pt x="402" y="287"/>
                  </a:lnTo>
                  <a:lnTo>
                    <a:pt x="402" y="287"/>
                  </a:lnTo>
                  <a:lnTo>
                    <a:pt x="402" y="288"/>
                  </a:lnTo>
                  <a:lnTo>
                    <a:pt x="403" y="289"/>
                  </a:lnTo>
                  <a:lnTo>
                    <a:pt x="404" y="290"/>
                  </a:lnTo>
                  <a:lnTo>
                    <a:pt x="404" y="290"/>
                  </a:lnTo>
                  <a:lnTo>
                    <a:pt x="404" y="290"/>
                  </a:lnTo>
                  <a:lnTo>
                    <a:pt x="405" y="291"/>
                  </a:lnTo>
                  <a:lnTo>
                    <a:pt x="405" y="293"/>
                  </a:lnTo>
                  <a:lnTo>
                    <a:pt x="405" y="294"/>
                  </a:lnTo>
                  <a:lnTo>
                    <a:pt x="405" y="295"/>
                  </a:lnTo>
                  <a:lnTo>
                    <a:pt x="405" y="299"/>
                  </a:lnTo>
                  <a:lnTo>
                    <a:pt x="405" y="300"/>
                  </a:lnTo>
                  <a:lnTo>
                    <a:pt x="406" y="303"/>
                  </a:lnTo>
                  <a:lnTo>
                    <a:pt x="406" y="304"/>
                  </a:lnTo>
                  <a:lnTo>
                    <a:pt x="407" y="305"/>
                  </a:lnTo>
                  <a:lnTo>
                    <a:pt x="408" y="307"/>
                  </a:lnTo>
                  <a:lnTo>
                    <a:pt x="409" y="309"/>
                  </a:lnTo>
                  <a:lnTo>
                    <a:pt x="409" y="310"/>
                  </a:lnTo>
                  <a:lnTo>
                    <a:pt x="409" y="311"/>
                  </a:lnTo>
                  <a:lnTo>
                    <a:pt x="410" y="312"/>
                  </a:lnTo>
                  <a:lnTo>
                    <a:pt x="410" y="312"/>
                  </a:lnTo>
                  <a:lnTo>
                    <a:pt x="410" y="312"/>
                  </a:lnTo>
                  <a:lnTo>
                    <a:pt x="409" y="313"/>
                  </a:lnTo>
                  <a:lnTo>
                    <a:pt x="407" y="316"/>
                  </a:lnTo>
                  <a:lnTo>
                    <a:pt x="406" y="318"/>
                  </a:lnTo>
                  <a:lnTo>
                    <a:pt x="406" y="319"/>
                  </a:lnTo>
                  <a:lnTo>
                    <a:pt x="405" y="320"/>
                  </a:lnTo>
                  <a:lnTo>
                    <a:pt x="405" y="321"/>
                  </a:lnTo>
                  <a:lnTo>
                    <a:pt x="405" y="322"/>
                  </a:lnTo>
                  <a:lnTo>
                    <a:pt x="404" y="325"/>
                  </a:lnTo>
                  <a:lnTo>
                    <a:pt x="404" y="327"/>
                  </a:lnTo>
                  <a:lnTo>
                    <a:pt x="404" y="328"/>
                  </a:lnTo>
                  <a:lnTo>
                    <a:pt x="404" y="330"/>
                  </a:lnTo>
                  <a:lnTo>
                    <a:pt x="405" y="331"/>
                  </a:lnTo>
                  <a:lnTo>
                    <a:pt x="405" y="333"/>
                  </a:lnTo>
                  <a:lnTo>
                    <a:pt x="405" y="334"/>
                  </a:lnTo>
                  <a:lnTo>
                    <a:pt x="407" y="337"/>
                  </a:lnTo>
                  <a:lnTo>
                    <a:pt x="408" y="338"/>
                  </a:lnTo>
                  <a:lnTo>
                    <a:pt x="408" y="339"/>
                  </a:lnTo>
                  <a:lnTo>
                    <a:pt x="410" y="341"/>
                  </a:lnTo>
                  <a:lnTo>
                    <a:pt x="410" y="342"/>
                  </a:lnTo>
                  <a:lnTo>
                    <a:pt x="411" y="342"/>
                  </a:lnTo>
                  <a:lnTo>
                    <a:pt x="411" y="343"/>
                  </a:lnTo>
                  <a:lnTo>
                    <a:pt x="411" y="344"/>
                  </a:lnTo>
                  <a:lnTo>
                    <a:pt x="411" y="345"/>
                  </a:lnTo>
                  <a:lnTo>
                    <a:pt x="411" y="346"/>
                  </a:lnTo>
                  <a:lnTo>
                    <a:pt x="410" y="348"/>
                  </a:lnTo>
                  <a:lnTo>
                    <a:pt x="410" y="349"/>
                  </a:lnTo>
                  <a:lnTo>
                    <a:pt x="410" y="350"/>
                  </a:lnTo>
                  <a:lnTo>
                    <a:pt x="409" y="351"/>
                  </a:lnTo>
                  <a:lnTo>
                    <a:pt x="408" y="353"/>
                  </a:lnTo>
                  <a:lnTo>
                    <a:pt x="407" y="354"/>
                  </a:lnTo>
                  <a:lnTo>
                    <a:pt x="406" y="356"/>
                  </a:lnTo>
                  <a:lnTo>
                    <a:pt x="405" y="358"/>
                  </a:lnTo>
                  <a:lnTo>
                    <a:pt x="405" y="360"/>
                  </a:lnTo>
                  <a:lnTo>
                    <a:pt x="404" y="361"/>
                  </a:lnTo>
                  <a:lnTo>
                    <a:pt x="404" y="362"/>
                  </a:lnTo>
                  <a:lnTo>
                    <a:pt x="403" y="362"/>
                  </a:lnTo>
                  <a:lnTo>
                    <a:pt x="403" y="363"/>
                  </a:lnTo>
                  <a:lnTo>
                    <a:pt x="400" y="365"/>
                  </a:lnTo>
                  <a:lnTo>
                    <a:pt x="398" y="367"/>
                  </a:lnTo>
                  <a:lnTo>
                    <a:pt x="396" y="367"/>
                  </a:lnTo>
                  <a:lnTo>
                    <a:pt x="396" y="368"/>
                  </a:lnTo>
                  <a:lnTo>
                    <a:pt x="394" y="370"/>
                  </a:lnTo>
                  <a:lnTo>
                    <a:pt x="393" y="371"/>
                  </a:lnTo>
                  <a:lnTo>
                    <a:pt x="393" y="371"/>
                  </a:lnTo>
                  <a:lnTo>
                    <a:pt x="393" y="372"/>
                  </a:lnTo>
                  <a:lnTo>
                    <a:pt x="393" y="373"/>
                  </a:lnTo>
                  <a:lnTo>
                    <a:pt x="392" y="374"/>
                  </a:lnTo>
                  <a:lnTo>
                    <a:pt x="392" y="375"/>
                  </a:lnTo>
                  <a:lnTo>
                    <a:pt x="392" y="376"/>
                  </a:lnTo>
                  <a:lnTo>
                    <a:pt x="392" y="377"/>
                  </a:lnTo>
                  <a:lnTo>
                    <a:pt x="393" y="378"/>
                  </a:lnTo>
                  <a:lnTo>
                    <a:pt x="393" y="379"/>
                  </a:lnTo>
                  <a:lnTo>
                    <a:pt x="393" y="379"/>
                  </a:lnTo>
                  <a:lnTo>
                    <a:pt x="393" y="380"/>
                  </a:lnTo>
                  <a:lnTo>
                    <a:pt x="392" y="381"/>
                  </a:lnTo>
                  <a:lnTo>
                    <a:pt x="392" y="381"/>
                  </a:lnTo>
                  <a:lnTo>
                    <a:pt x="392" y="382"/>
                  </a:lnTo>
                  <a:lnTo>
                    <a:pt x="391" y="382"/>
                  </a:lnTo>
                  <a:lnTo>
                    <a:pt x="391" y="383"/>
                  </a:lnTo>
                  <a:lnTo>
                    <a:pt x="391" y="383"/>
                  </a:lnTo>
                  <a:lnTo>
                    <a:pt x="390" y="383"/>
                  </a:lnTo>
                  <a:lnTo>
                    <a:pt x="390" y="384"/>
                  </a:lnTo>
                  <a:lnTo>
                    <a:pt x="388" y="385"/>
                  </a:lnTo>
                  <a:lnTo>
                    <a:pt x="387" y="385"/>
                  </a:lnTo>
                  <a:lnTo>
                    <a:pt x="387" y="385"/>
                  </a:lnTo>
                  <a:lnTo>
                    <a:pt x="387" y="386"/>
                  </a:lnTo>
                  <a:lnTo>
                    <a:pt x="386" y="386"/>
                  </a:lnTo>
                  <a:lnTo>
                    <a:pt x="386" y="386"/>
                  </a:lnTo>
                  <a:lnTo>
                    <a:pt x="386" y="387"/>
                  </a:lnTo>
                  <a:lnTo>
                    <a:pt x="386" y="387"/>
                  </a:lnTo>
                  <a:lnTo>
                    <a:pt x="386" y="388"/>
                  </a:lnTo>
                  <a:lnTo>
                    <a:pt x="386" y="388"/>
                  </a:lnTo>
                  <a:lnTo>
                    <a:pt x="386" y="389"/>
                  </a:lnTo>
                  <a:lnTo>
                    <a:pt x="386" y="390"/>
                  </a:lnTo>
                  <a:lnTo>
                    <a:pt x="387" y="390"/>
                  </a:lnTo>
                  <a:lnTo>
                    <a:pt x="387" y="391"/>
                  </a:lnTo>
                  <a:lnTo>
                    <a:pt x="387" y="391"/>
                  </a:lnTo>
                  <a:lnTo>
                    <a:pt x="388" y="392"/>
                  </a:lnTo>
                  <a:lnTo>
                    <a:pt x="388" y="393"/>
                  </a:lnTo>
                  <a:lnTo>
                    <a:pt x="389" y="393"/>
                  </a:lnTo>
                  <a:lnTo>
                    <a:pt x="391" y="394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6"/>
                  </a:lnTo>
                  <a:lnTo>
                    <a:pt x="391" y="397"/>
                  </a:lnTo>
                  <a:lnTo>
                    <a:pt x="391" y="398"/>
                  </a:lnTo>
                  <a:lnTo>
                    <a:pt x="390" y="398"/>
                  </a:lnTo>
                  <a:lnTo>
                    <a:pt x="390" y="399"/>
                  </a:lnTo>
                  <a:lnTo>
                    <a:pt x="390" y="399"/>
                  </a:lnTo>
                  <a:lnTo>
                    <a:pt x="389" y="399"/>
                  </a:lnTo>
                  <a:lnTo>
                    <a:pt x="389" y="400"/>
                  </a:lnTo>
                  <a:lnTo>
                    <a:pt x="387" y="400"/>
                  </a:lnTo>
                  <a:lnTo>
                    <a:pt x="387" y="401"/>
                  </a:lnTo>
                  <a:lnTo>
                    <a:pt x="386" y="401"/>
                  </a:lnTo>
                  <a:lnTo>
                    <a:pt x="385" y="403"/>
                  </a:lnTo>
                  <a:lnTo>
                    <a:pt x="384" y="404"/>
                  </a:lnTo>
                  <a:lnTo>
                    <a:pt x="383" y="404"/>
                  </a:lnTo>
                  <a:lnTo>
                    <a:pt x="383" y="405"/>
                  </a:lnTo>
                  <a:lnTo>
                    <a:pt x="383" y="406"/>
                  </a:lnTo>
                  <a:lnTo>
                    <a:pt x="382" y="406"/>
                  </a:lnTo>
                  <a:lnTo>
                    <a:pt x="382" y="407"/>
                  </a:lnTo>
                  <a:lnTo>
                    <a:pt x="382" y="408"/>
                  </a:lnTo>
                  <a:lnTo>
                    <a:pt x="382" y="408"/>
                  </a:lnTo>
                  <a:lnTo>
                    <a:pt x="382" y="409"/>
                  </a:lnTo>
                  <a:lnTo>
                    <a:pt x="382" y="410"/>
                  </a:lnTo>
                  <a:lnTo>
                    <a:pt x="383" y="411"/>
                  </a:lnTo>
                  <a:lnTo>
                    <a:pt x="384" y="413"/>
                  </a:lnTo>
                  <a:lnTo>
                    <a:pt x="384" y="414"/>
                  </a:lnTo>
                  <a:lnTo>
                    <a:pt x="386" y="416"/>
                  </a:lnTo>
                  <a:lnTo>
                    <a:pt x="386" y="417"/>
                  </a:lnTo>
                  <a:lnTo>
                    <a:pt x="386" y="417"/>
                  </a:lnTo>
                  <a:lnTo>
                    <a:pt x="387" y="418"/>
                  </a:lnTo>
                  <a:lnTo>
                    <a:pt x="387" y="419"/>
                  </a:lnTo>
                  <a:lnTo>
                    <a:pt x="387" y="420"/>
                  </a:lnTo>
                  <a:lnTo>
                    <a:pt x="387" y="421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3"/>
                  </a:lnTo>
                  <a:lnTo>
                    <a:pt x="386" y="424"/>
                  </a:lnTo>
                  <a:lnTo>
                    <a:pt x="385" y="425"/>
                  </a:lnTo>
                  <a:lnTo>
                    <a:pt x="384" y="426"/>
                  </a:lnTo>
                  <a:lnTo>
                    <a:pt x="383" y="427"/>
                  </a:lnTo>
                  <a:lnTo>
                    <a:pt x="383" y="428"/>
                  </a:lnTo>
                  <a:lnTo>
                    <a:pt x="382" y="429"/>
                  </a:lnTo>
                  <a:lnTo>
                    <a:pt x="382" y="430"/>
                  </a:lnTo>
                  <a:lnTo>
                    <a:pt x="381" y="433"/>
                  </a:lnTo>
                  <a:lnTo>
                    <a:pt x="380" y="436"/>
                  </a:lnTo>
                  <a:lnTo>
                    <a:pt x="380" y="437"/>
                  </a:lnTo>
                  <a:lnTo>
                    <a:pt x="379" y="437"/>
                  </a:lnTo>
                  <a:lnTo>
                    <a:pt x="379" y="437"/>
                  </a:lnTo>
                  <a:lnTo>
                    <a:pt x="379" y="437"/>
                  </a:lnTo>
                  <a:lnTo>
                    <a:pt x="378" y="438"/>
                  </a:lnTo>
                  <a:lnTo>
                    <a:pt x="375" y="439"/>
                  </a:lnTo>
                  <a:lnTo>
                    <a:pt x="374" y="440"/>
                  </a:lnTo>
                  <a:lnTo>
                    <a:pt x="372" y="440"/>
                  </a:lnTo>
                  <a:lnTo>
                    <a:pt x="372" y="441"/>
                  </a:lnTo>
                  <a:lnTo>
                    <a:pt x="369" y="443"/>
                  </a:lnTo>
                  <a:lnTo>
                    <a:pt x="367" y="444"/>
                  </a:lnTo>
                  <a:lnTo>
                    <a:pt x="366" y="445"/>
                  </a:lnTo>
                  <a:lnTo>
                    <a:pt x="365" y="446"/>
                  </a:lnTo>
                  <a:lnTo>
                    <a:pt x="364" y="446"/>
                  </a:lnTo>
                  <a:lnTo>
                    <a:pt x="363" y="446"/>
                  </a:lnTo>
                  <a:lnTo>
                    <a:pt x="363" y="446"/>
                  </a:lnTo>
                  <a:lnTo>
                    <a:pt x="362" y="447"/>
                  </a:lnTo>
                  <a:lnTo>
                    <a:pt x="361" y="447"/>
                  </a:lnTo>
                  <a:lnTo>
                    <a:pt x="360" y="447"/>
                  </a:lnTo>
                  <a:lnTo>
                    <a:pt x="359" y="447"/>
                  </a:lnTo>
                  <a:lnTo>
                    <a:pt x="358" y="446"/>
                  </a:lnTo>
                  <a:lnTo>
                    <a:pt x="355" y="446"/>
                  </a:lnTo>
                  <a:lnTo>
                    <a:pt x="354" y="446"/>
                  </a:lnTo>
                  <a:lnTo>
                    <a:pt x="353" y="446"/>
                  </a:lnTo>
                  <a:lnTo>
                    <a:pt x="353" y="446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2" y="447"/>
                  </a:lnTo>
                  <a:lnTo>
                    <a:pt x="351" y="451"/>
                  </a:lnTo>
                  <a:lnTo>
                    <a:pt x="351" y="453"/>
                  </a:lnTo>
                  <a:lnTo>
                    <a:pt x="350" y="455"/>
                  </a:lnTo>
                  <a:lnTo>
                    <a:pt x="350" y="458"/>
                  </a:lnTo>
                  <a:lnTo>
                    <a:pt x="350" y="460"/>
                  </a:lnTo>
                  <a:lnTo>
                    <a:pt x="350" y="461"/>
                  </a:lnTo>
                  <a:lnTo>
                    <a:pt x="349" y="464"/>
                  </a:lnTo>
                  <a:lnTo>
                    <a:pt x="349" y="465"/>
                  </a:lnTo>
                  <a:lnTo>
                    <a:pt x="349" y="465"/>
                  </a:lnTo>
                  <a:lnTo>
                    <a:pt x="349" y="466"/>
                  </a:lnTo>
                  <a:lnTo>
                    <a:pt x="349" y="467"/>
                  </a:lnTo>
                  <a:lnTo>
                    <a:pt x="349" y="469"/>
                  </a:lnTo>
                  <a:lnTo>
                    <a:pt x="351" y="471"/>
                  </a:lnTo>
                  <a:lnTo>
                    <a:pt x="351" y="473"/>
                  </a:lnTo>
                  <a:lnTo>
                    <a:pt x="351" y="474"/>
                  </a:lnTo>
                  <a:lnTo>
                    <a:pt x="352" y="478"/>
                  </a:lnTo>
                  <a:lnTo>
                    <a:pt x="352" y="480"/>
                  </a:lnTo>
                  <a:lnTo>
                    <a:pt x="352" y="481"/>
                  </a:lnTo>
                  <a:lnTo>
                    <a:pt x="352" y="482"/>
                  </a:lnTo>
                  <a:lnTo>
                    <a:pt x="352" y="483"/>
                  </a:lnTo>
                  <a:lnTo>
                    <a:pt x="352" y="484"/>
                  </a:lnTo>
                  <a:lnTo>
                    <a:pt x="352" y="485"/>
                  </a:lnTo>
                  <a:lnTo>
                    <a:pt x="352" y="485"/>
                  </a:lnTo>
                  <a:lnTo>
                    <a:pt x="351" y="486"/>
                  </a:lnTo>
                  <a:lnTo>
                    <a:pt x="351" y="487"/>
                  </a:lnTo>
                  <a:lnTo>
                    <a:pt x="351" y="487"/>
                  </a:lnTo>
                  <a:lnTo>
                    <a:pt x="350" y="488"/>
                  </a:lnTo>
                  <a:lnTo>
                    <a:pt x="349" y="488"/>
                  </a:lnTo>
                  <a:lnTo>
                    <a:pt x="348" y="489"/>
                  </a:lnTo>
                  <a:lnTo>
                    <a:pt x="348" y="490"/>
                  </a:lnTo>
                  <a:lnTo>
                    <a:pt x="347" y="490"/>
                  </a:lnTo>
                  <a:lnTo>
                    <a:pt x="345" y="491"/>
                  </a:lnTo>
                  <a:lnTo>
                    <a:pt x="344" y="491"/>
                  </a:lnTo>
                  <a:lnTo>
                    <a:pt x="343" y="492"/>
                  </a:lnTo>
                  <a:lnTo>
                    <a:pt x="343" y="492"/>
                  </a:lnTo>
                  <a:lnTo>
                    <a:pt x="342" y="493"/>
                  </a:lnTo>
                  <a:lnTo>
                    <a:pt x="342" y="493"/>
                  </a:lnTo>
                  <a:lnTo>
                    <a:pt x="341" y="494"/>
                  </a:lnTo>
                  <a:lnTo>
                    <a:pt x="340" y="495"/>
                  </a:lnTo>
                  <a:lnTo>
                    <a:pt x="339" y="496"/>
                  </a:lnTo>
                  <a:lnTo>
                    <a:pt x="338" y="498"/>
                  </a:lnTo>
                  <a:lnTo>
                    <a:pt x="337" y="501"/>
                  </a:lnTo>
                  <a:lnTo>
                    <a:pt x="336" y="502"/>
                  </a:lnTo>
                  <a:lnTo>
                    <a:pt x="336" y="503"/>
                  </a:lnTo>
                  <a:lnTo>
                    <a:pt x="336" y="504"/>
                  </a:lnTo>
                  <a:lnTo>
                    <a:pt x="335" y="506"/>
                  </a:lnTo>
                  <a:lnTo>
                    <a:pt x="335" y="508"/>
                  </a:lnTo>
                  <a:lnTo>
                    <a:pt x="334" y="510"/>
                  </a:lnTo>
                  <a:lnTo>
                    <a:pt x="334" y="511"/>
                  </a:lnTo>
                  <a:lnTo>
                    <a:pt x="334" y="513"/>
                  </a:lnTo>
                  <a:lnTo>
                    <a:pt x="334" y="514"/>
                  </a:lnTo>
                  <a:lnTo>
                    <a:pt x="334" y="516"/>
                  </a:lnTo>
                  <a:lnTo>
                    <a:pt x="334" y="517"/>
                  </a:lnTo>
                  <a:lnTo>
                    <a:pt x="334" y="518"/>
                  </a:lnTo>
                  <a:lnTo>
                    <a:pt x="334" y="519"/>
                  </a:lnTo>
                  <a:lnTo>
                    <a:pt x="334" y="520"/>
                  </a:lnTo>
                  <a:lnTo>
                    <a:pt x="334" y="521"/>
                  </a:lnTo>
                  <a:lnTo>
                    <a:pt x="335" y="522"/>
                  </a:lnTo>
                  <a:lnTo>
                    <a:pt x="336" y="526"/>
                  </a:lnTo>
                  <a:lnTo>
                    <a:pt x="336" y="527"/>
                  </a:lnTo>
                  <a:lnTo>
                    <a:pt x="336" y="527"/>
                  </a:lnTo>
                  <a:lnTo>
                    <a:pt x="336" y="527"/>
                  </a:lnTo>
                  <a:lnTo>
                    <a:pt x="335" y="527"/>
                  </a:lnTo>
                  <a:lnTo>
                    <a:pt x="334" y="526"/>
                  </a:lnTo>
                  <a:lnTo>
                    <a:pt x="334" y="526"/>
                  </a:lnTo>
                  <a:lnTo>
                    <a:pt x="333" y="526"/>
                  </a:lnTo>
                  <a:lnTo>
                    <a:pt x="331" y="527"/>
                  </a:lnTo>
                  <a:lnTo>
                    <a:pt x="331" y="527"/>
                  </a:lnTo>
                  <a:lnTo>
                    <a:pt x="329" y="527"/>
                  </a:lnTo>
                  <a:lnTo>
                    <a:pt x="328" y="528"/>
                  </a:lnTo>
                  <a:lnTo>
                    <a:pt x="328" y="528"/>
                  </a:lnTo>
                  <a:lnTo>
                    <a:pt x="327" y="529"/>
                  </a:lnTo>
                  <a:lnTo>
                    <a:pt x="326" y="529"/>
                  </a:lnTo>
                  <a:lnTo>
                    <a:pt x="325" y="530"/>
                  </a:lnTo>
                  <a:lnTo>
                    <a:pt x="325" y="531"/>
                  </a:lnTo>
                  <a:lnTo>
                    <a:pt x="324" y="531"/>
                  </a:lnTo>
                  <a:lnTo>
                    <a:pt x="324" y="532"/>
                  </a:lnTo>
                  <a:lnTo>
                    <a:pt x="322" y="535"/>
                  </a:lnTo>
                  <a:lnTo>
                    <a:pt x="322" y="535"/>
                  </a:lnTo>
                  <a:lnTo>
                    <a:pt x="322" y="536"/>
                  </a:lnTo>
                  <a:lnTo>
                    <a:pt x="321" y="536"/>
                  </a:lnTo>
                  <a:lnTo>
                    <a:pt x="321" y="536"/>
                  </a:lnTo>
                  <a:lnTo>
                    <a:pt x="321" y="536"/>
                  </a:lnTo>
                  <a:lnTo>
                    <a:pt x="320" y="537"/>
                  </a:lnTo>
                  <a:lnTo>
                    <a:pt x="319" y="537"/>
                  </a:lnTo>
                  <a:lnTo>
                    <a:pt x="318" y="537"/>
                  </a:lnTo>
                  <a:lnTo>
                    <a:pt x="318" y="536"/>
                  </a:lnTo>
                  <a:lnTo>
                    <a:pt x="317" y="536"/>
                  </a:lnTo>
                  <a:lnTo>
                    <a:pt x="317" y="536"/>
                  </a:lnTo>
                  <a:lnTo>
                    <a:pt x="315" y="535"/>
                  </a:lnTo>
                  <a:lnTo>
                    <a:pt x="312" y="533"/>
                  </a:lnTo>
                  <a:lnTo>
                    <a:pt x="311" y="532"/>
                  </a:lnTo>
                  <a:lnTo>
                    <a:pt x="308" y="530"/>
                  </a:lnTo>
                  <a:lnTo>
                    <a:pt x="304" y="527"/>
                  </a:lnTo>
                  <a:lnTo>
                    <a:pt x="302" y="526"/>
                  </a:lnTo>
                  <a:lnTo>
                    <a:pt x="300" y="524"/>
                  </a:lnTo>
                  <a:lnTo>
                    <a:pt x="299" y="523"/>
                  </a:lnTo>
                  <a:lnTo>
                    <a:pt x="298" y="522"/>
                  </a:lnTo>
                  <a:lnTo>
                    <a:pt x="296" y="521"/>
                  </a:lnTo>
                  <a:lnTo>
                    <a:pt x="295" y="520"/>
                  </a:lnTo>
                  <a:lnTo>
                    <a:pt x="295" y="519"/>
                  </a:lnTo>
                  <a:lnTo>
                    <a:pt x="294" y="518"/>
                  </a:lnTo>
                  <a:lnTo>
                    <a:pt x="294" y="517"/>
                  </a:lnTo>
                  <a:lnTo>
                    <a:pt x="293" y="516"/>
                  </a:lnTo>
                  <a:lnTo>
                    <a:pt x="293" y="514"/>
                  </a:lnTo>
                  <a:lnTo>
                    <a:pt x="293" y="513"/>
                  </a:lnTo>
                  <a:lnTo>
                    <a:pt x="292" y="509"/>
                  </a:lnTo>
                  <a:lnTo>
                    <a:pt x="292" y="505"/>
                  </a:lnTo>
                  <a:lnTo>
                    <a:pt x="292" y="501"/>
                  </a:lnTo>
                  <a:lnTo>
                    <a:pt x="291" y="500"/>
                  </a:lnTo>
                  <a:lnTo>
                    <a:pt x="291" y="497"/>
                  </a:lnTo>
                  <a:lnTo>
                    <a:pt x="291" y="496"/>
                  </a:lnTo>
                  <a:lnTo>
                    <a:pt x="290" y="494"/>
                  </a:lnTo>
                  <a:lnTo>
                    <a:pt x="289" y="491"/>
                  </a:lnTo>
                  <a:lnTo>
                    <a:pt x="289" y="489"/>
                  </a:lnTo>
                  <a:lnTo>
                    <a:pt x="289" y="488"/>
                  </a:lnTo>
                  <a:lnTo>
                    <a:pt x="288" y="488"/>
                  </a:lnTo>
                  <a:lnTo>
                    <a:pt x="288" y="487"/>
                  </a:lnTo>
                  <a:lnTo>
                    <a:pt x="287" y="486"/>
                  </a:lnTo>
                  <a:lnTo>
                    <a:pt x="284" y="483"/>
                  </a:lnTo>
                  <a:lnTo>
                    <a:pt x="282" y="480"/>
                  </a:lnTo>
                  <a:lnTo>
                    <a:pt x="279" y="476"/>
                  </a:lnTo>
                  <a:lnTo>
                    <a:pt x="275" y="471"/>
                  </a:lnTo>
                  <a:lnTo>
                    <a:pt x="274" y="470"/>
                  </a:lnTo>
                  <a:lnTo>
                    <a:pt x="272" y="468"/>
                  </a:lnTo>
                  <a:lnTo>
                    <a:pt x="271" y="467"/>
                  </a:lnTo>
                  <a:lnTo>
                    <a:pt x="270" y="466"/>
                  </a:lnTo>
                  <a:lnTo>
                    <a:pt x="269" y="465"/>
                  </a:lnTo>
                  <a:lnTo>
                    <a:pt x="267" y="463"/>
                  </a:lnTo>
                  <a:lnTo>
                    <a:pt x="266" y="462"/>
                  </a:lnTo>
                  <a:lnTo>
                    <a:pt x="265" y="461"/>
                  </a:lnTo>
                  <a:lnTo>
                    <a:pt x="263" y="460"/>
                  </a:lnTo>
                  <a:lnTo>
                    <a:pt x="262" y="459"/>
                  </a:lnTo>
                  <a:lnTo>
                    <a:pt x="260" y="458"/>
                  </a:lnTo>
                  <a:lnTo>
                    <a:pt x="258" y="457"/>
                  </a:lnTo>
                  <a:lnTo>
                    <a:pt x="258" y="457"/>
                  </a:lnTo>
                  <a:lnTo>
                    <a:pt x="256" y="457"/>
                  </a:lnTo>
                  <a:lnTo>
                    <a:pt x="255" y="456"/>
                  </a:lnTo>
                  <a:lnTo>
                    <a:pt x="253" y="456"/>
                  </a:lnTo>
                  <a:lnTo>
                    <a:pt x="252" y="456"/>
                  </a:lnTo>
                  <a:lnTo>
                    <a:pt x="250" y="456"/>
                  </a:lnTo>
                  <a:lnTo>
                    <a:pt x="246" y="456"/>
                  </a:lnTo>
                  <a:lnTo>
                    <a:pt x="243" y="456"/>
                  </a:lnTo>
                  <a:lnTo>
                    <a:pt x="242" y="456"/>
                  </a:lnTo>
                  <a:lnTo>
                    <a:pt x="241" y="456"/>
                  </a:lnTo>
                  <a:lnTo>
                    <a:pt x="240" y="455"/>
                  </a:lnTo>
                  <a:lnTo>
                    <a:pt x="239" y="455"/>
                  </a:lnTo>
                  <a:lnTo>
                    <a:pt x="237" y="454"/>
                  </a:lnTo>
                  <a:lnTo>
                    <a:pt x="236" y="454"/>
                  </a:lnTo>
                  <a:lnTo>
                    <a:pt x="235" y="453"/>
                  </a:lnTo>
                  <a:lnTo>
                    <a:pt x="233" y="452"/>
                  </a:lnTo>
                  <a:lnTo>
                    <a:pt x="231" y="451"/>
                  </a:lnTo>
                  <a:lnTo>
                    <a:pt x="231" y="451"/>
                  </a:lnTo>
                  <a:lnTo>
                    <a:pt x="229" y="449"/>
                  </a:lnTo>
                  <a:lnTo>
                    <a:pt x="228" y="448"/>
                  </a:lnTo>
                  <a:lnTo>
                    <a:pt x="227" y="447"/>
                  </a:lnTo>
                  <a:lnTo>
                    <a:pt x="226" y="446"/>
                  </a:lnTo>
                  <a:lnTo>
                    <a:pt x="226" y="446"/>
                  </a:lnTo>
                  <a:lnTo>
                    <a:pt x="225" y="444"/>
                  </a:lnTo>
                  <a:lnTo>
                    <a:pt x="225" y="443"/>
                  </a:lnTo>
                  <a:lnTo>
                    <a:pt x="224" y="442"/>
                  </a:lnTo>
                  <a:lnTo>
                    <a:pt x="224" y="441"/>
                  </a:lnTo>
                  <a:lnTo>
                    <a:pt x="223" y="436"/>
                  </a:lnTo>
                  <a:lnTo>
                    <a:pt x="223" y="434"/>
                  </a:lnTo>
                  <a:lnTo>
                    <a:pt x="222" y="433"/>
                  </a:lnTo>
                  <a:lnTo>
                    <a:pt x="222" y="432"/>
                  </a:lnTo>
                  <a:lnTo>
                    <a:pt x="222" y="431"/>
                  </a:lnTo>
                  <a:lnTo>
                    <a:pt x="221" y="430"/>
                  </a:lnTo>
                  <a:lnTo>
                    <a:pt x="221" y="430"/>
                  </a:lnTo>
                  <a:lnTo>
                    <a:pt x="220" y="429"/>
                  </a:lnTo>
                  <a:lnTo>
                    <a:pt x="217" y="426"/>
                  </a:lnTo>
                  <a:lnTo>
                    <a:pt x="214" y="422"/>
                  </a:lnTo>
                  <a:lnTo>
                    <a:pt x="209" y="417"/>
                  </a:lnTo>
                  <a:lnTo>
                    <a:pt x="208" y="416"/>
                  </a:lnTo>
                  <a:lnTo>
                    <a:pt x="208" y="416"/>
                  </a:lnTo>
                  <a:lnTo>
                    <a:pt x="207" y="415"/>
                  </a:lnTo>
                  <a:lnTo>
                    <a:pt x="207" y="414"/>
                  </a:lnTo>
                  <a:lnTo>
                    <a:pt x="206" y="413"/>
                  </a:lnTo>
                  <a:lnTo>
                    <a:pt x="205" y="410"/>
                  </a:lnTo>
                  <a:lnTo>
                    <a:pt x="204" y="409"/>
                  </a:lnTo>
                  <a:lnTo>
                    <a:pt x="203" y="407"/>
                  </a:lnTo>
                  <a:lnTo>
                    <a:pt x="201" y="404"/>
                  </a:lnTo>
                  <a:lnTo>
                    <a:pt x="200" y="403"/>
                  </a:lnTo>
                  <a:lnTo>
                    <a:pt x="199" y="402"/>
                  </a:lnTo>
                  <a:lnTo>
                    <a:pt x="197" y="399"/>
                  </a:lnTo>
                  <a:lnTo>
                    <a:pt x="197" y="398"/>
                  </a:lnTo>
                  <a:lnTo>
                    <a:pt x="196" y="397"/>
                  </a:lnTo>
                  <a:lnTo>
                    <a:pt x="196" y="396"/>
                  </a:lnTo>
                  <a:lnTo>
                    <a:pt x="195" y="396"/>
                  </a:lnTo>
                  <a:lnTo>
                    <a:pt x="192" y="393"/>
                  </a:lnTo>
                  <a:lnTo>
                    <a:pt x="191" y="392"/>
                  </a:lnTo>
                  <a:lnTo>
                    <a:pt x="190" y="391"/>
                  </a:lnTo>
                  <a:lnTo>
                    <a:pt x="189" y="389"/>
                  </a:lnTo>
                  <a:lnTo>
                    <a:pt x="188" y="388"/>
                  </a:lnTo>
                  <a:lnTo>
                    <a:pt x="187" y="388"/>
                  </a:lnTo>
                  <a:lnTo>
                    <a:pt x="185" y="385"/>
                  </a:lnTo>
                  <a:lnTo>
                    <a:pt x="184" y="385"/>
                  </a:lnTo>
                  <a:lnTo>
                    <a:pt x="184" y="384"/>
                  </a:lnTo>
                  <a:lnTo>
                    <a:pt x="183" y="383"/>
                  </a:lnTo>
                  <a:lnTo>
                    <a:pt x="183" y="382"/>
                  </a:lnTo>
                  <a:lnTo>
                    <a:pt x="182" y="381"/>
                  </a:lnTo>
                  <a:lnTo>
                    <a:pt x="182" y="380"/>
                  </a:lnTo>
                  <a:lnTo>
                    <a:pt x="182" y="379"/>
                  </a:lnTo>
                  <a:lnTo>
                    <a:pt x="181" y="375"/>
                  </a:lnTo>
                  <a:lnTo>
                    <a:pt x="181" y="373"/>
                  </a:lnTo>
                  <a:lnTo>
                    <a:pt x="181" y="372"/>
                  </a:lnTo>
                  <a:lnTo>
                    <a:pt x="180" y="371"/>
                  </a:lnTo>
                  <a:lnTo>
                    <a:pt x="180" y="370"/>
                  </a:lnTo>
                  <a:lnTo>
                    <a:pt x="179" y="370"/>
                  </a:lnTo>
                  <a:lnTo>
                    <a:pt x="179" y="369"/>
                  </a:lnTo>
                  <a:lnTo>
                    <a:pt x="178" y="368"/>
                  </a:lnTo>
                  <a:lnTo>
                    <a:pt x="176" y="366"/>
                  </a:lnTo>
                  <a:lnTo>
                    <a:pt x="173" y="363"/>
                  </a:lnTo>
                  <a:lnTo>
                    <a:pt x="170" y="359"/>
                  </a:lnTo>
                  <a:lnTo>
                    <a:pt x="168" y="358"/>
                  </a:lnTo>
                  <a:lnTo>
                    <a:pt x="167" y="356"/>
                  </a:lnTo>
                  <a:lnTo>
                    <a:pt x="166" y="355"/>
                  </a:lnTo>
                  <a:lnTo>
                    <a:pt x="164" y="354"/>
                  </a:lnTo>
                  <a:lnTo>
                    <a:pt x="163" y="354"/>
                  </a:lnTo>
                  <a:lnTo>
                    <a:pt x="163" y="353"/>
                  </a:lnTo>
                  <a:lnTo>
                    <a:pt x="161" y="352"/>
                  </a:lnTo>
                  <a:lnTo>
                    <a:pt x="159" y="351"/>
                  </a:lnTo>
                  <a:lnTo>
                    <a:pt x="158" y="351"/>
                  </a:lnTo>
                  <a:lnTo>
                    <a:pt x="157" y="350"/>
                  </a:lnTo>
                  <a:lnTo>
                    <a:pt x="156" y="350"/>
                  </a:lnTo>
                  <a:lnTo>
                    <a:pt x="153" y="349"/>
                  </a:lnTo>
                  <a:lnTo>
                    <a:pt x="151" y="348"/>
                  </a:lnTo>
                  <a:lnTo>
                    <a:pt x="146" y="347"/>
                  </a:lnTo>
                  <a:lnTo>
                    <a:pt x="144" y="347"/>
                  </a:lnTo>
                  <a:lnTo>
                    <a:pt x="142" y="347"/>
                  </a:lnTo>
                  <a:lnTo>
                    <a:pt x="142" y="347"/>
                  </a:lnTo>
                  <a:lnTo>
                    <a:pt x="141" y="347"/>
                  </a:lnTo>
                  <a:lnTo>
                    <a:pt x="141" y="347"/>
                  </a:lnTo>
                  <a:lnTo>
                    <a:pt x="140" y="347"/>
                  </a:lnTo>
                  <a:lnTo>
                    <a:pt x="139" y="348"/>
                  </a:lnTo>
                  <a:lnTo>
                    <a:pt x="139" y="348"/>
                  </a:lnTo>
                  <a:lnTo>
                    <a:pt x="139" y="349"/>
                  </a:lnTo>
                  <a:lnTo>
                    <a:pt x="138" y="350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36" y="351"/>
                  </a:lnTo>
                  <a:lnTo>
                    <a:pt x="135" y="352"/>
                  </a:lnTo>
                  <a:lnTo>
                    <a:pt x="135" y="352"/>
                  </a:lnTo>
                  <a:lnTo>
                    <a:pt x="134" y="351"/>
                  </a:lnTo>
                  <a:lnTo>
                    <a:pt x="133" y="351"/>
                  </a:lnTo>
                  <a:lnTo>
                    <a:pt x="130" y="351"/>
                  </a:lnTo>
                  <a:lnTo>
                    <a:pt x="128" y="350"/>
                  </a:lnTo>
                  <a:lnTo>
                    <a:pt x="126" y="350"/>
                  </a:lnTo>
                  <a:lnTo>
                    <a:pt x="125" y="349"/>
                  </a:lnTo>
                  <a:lnTo>
                    <a:pt x="122" y="349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7" y="349"/>
                  </a:lnTo>
                  <a:lnTo>
                    <a:pt x="115" y="348"/>
                  </a:lnTo>
                  <a:lnTo>
                    <a:pt x="114" y="348"/>
                  </a:lnTo>
                  <a:lnTo>
                    <a:pt x="113" y="347"/>
                  </a:lnTo>
                  <a:lnTo>
                    <a:pt x="111" y="347"/>
                  </a:lnTo>
                  <a:lnTo>
                    <a:pt x="110" y="346"/>
                  </a:lnTo>
                  <a:lnTo>
                    <a:pt x="110" y="346"/>
                  </a:lnTo>
                  <a:lnTo>
                    <a:pt x="109" y="345"/>
                  </a:lnTo>
                  <a:lnTo>
                    <a:pt x="108" y="344"/>
                  </a:lnTo>
                  <a:lnTo>
                    <a:pt x="108" y="343"/>
                  </a:lnTo>
                  <a:lnTo>
                    <a:pt x="107" y="343"/>
                  </a:lnTo>
                  <a:lnTo>
                    <a:pt x="106" y="340"/>
                  </a:lnTo>
                  <a:lnTo>
                    <a:pt x="104" y="336"/>
                  </a:lnTo>
                  <a:lnTo>
                    <a:pt x="103" y="335"/>
                  </a:lnTo>
                  <a:lnTo>
                    <a:pt x="102" y="333"/>
                  </a:lnTo>
                  <a:lnTo>
                    <a:pt x="102" y="332"/>
                  </a:lnTo>
                  <a:lnTo>
                    <a:pt x="101" y="329"/>
                  </a:lnTo>
                  <a:lnTo>
                    <a:pt x="100" y="327"/>
                  </a:lnTo>
                  <a:lnTo>
                    <a:pt x="100" y="326"/>
                  </a:lnTo>
                  <a:lnTo>
                    <a:pt x="99" y="325"/>
                  </a:lnTo>
                  <a:lnTo>
                    <a:pt x="99" y="324"/>
                  </a:lnTo>
                  <a:lnTo>
                    <a:pt x="98" y="322"/>
                  </a:lnTo>
                  <a:lnTo>
                    <a:pt x="97" y="321"/>
                  </a:lnTo>
                  <a:lnTo>
                    <a:pt x="96" y="320"/>
                  </a:lnTo>
                  <a:lnTo>
                    <a:pt x="94" y="318"/>
                  </a:lnTo>
                  <a:lnTo>
                    <a:pt x="93" y="317"/>
                  </a:lnTo>
                  <a:lnTo>
                    <a:pt x="87" y="313"/>
                  </a:lnTo>
                  <a:lnTo>
                    <a:pt x="86" y="312"/>
                  </a:lnTo>
                  <a:lnTo>
                    <a:pt x="85" y="311"/>
                  </a:lnTo>
                  <a:lnTo>
                    <a:pt x="84" y="310"/>
                  </a:lnTo>
                  <a:lnTo>
                    <a:pt x="82" y="310"/>
                  </a:lnTo>
                  <a:lnTo>
                    <a:pt x="79" y="308"/>
                  </a:lnTo>
                  <a:lnTo>
                    <a:pt x="77" y="307"/>
                  </a:lnTo>
                  <a:lnTo>
                    <a:pt x="76" y="307"/>
                  </a:lnTo>
                  <a:lnTo>
                    <a:pt x="75" y="306"/>
                  </a:lnTo>
                  <a:lnTo>
                    <a:pt x="74" y="305"/>
                  </a:lnTo>
                  <a:lnTo>
                    <a:pt x="73" y="304"/>
                  </a:lnTo>
                  <a:lnTo>
                    <a:pt x="73" y="304"/>
                  </a:lnTo>
                  <a:lnTo>
                    <a:pt x="73" y="303"/>
                  </a:lnTo>
                  <a:lnTo>
                    <a:pt x="72" y="303"/>
                  </a:lnTo>
                  <a:lnTo>
                    <a:pt x="72" y="302"/>
                  </a:lnTo>
                  <a:lnTo>
                    <a:pt x="72" y="301"/>
                  </a:lnTo>
                  <a:lnTo>
                    <a:pt x="71" y="300"/>
                  </a:lnTo>
                  <a:lnTo>
                    <a:pt x="71" y="299"/>
                  </a:lnTo>
                  <a:lnTo>
                    <a:pt x="70" y="295"/>
                  </a:lnTo>
                  <a:lnTo>
                    <a:pt x="69" y="293"/>
                  </a:lnTo>
                  <a:lnTo>
                    <a:pt x="68" y="291"/>
                  </a:lnTo>
                  <a:lnTo>
                    <a:pt x="67" y="287"/>
                  </a:lnTo>
                  <a:lnTo>
                    <a:pt x="67" y="286"/>
                  </a:lnTo>
                  <a:lnTo>
                    <a:pt x="67" y="285"/>
                  </a:lnTo>
                  <a:lnTo>
                    <a:pt x="67" y="284"/>
                  </a:lnTo>
                  <a:lnTo>
                    <a:pt x="67" y="283"/>
                  </a:lnTo>
                  <a:lnTo>
                    <a:pt x="67" y="282"/>
                  </a:lnTo>
                  <a:lnTo>
                    <a:pt x="67" y="280"/>
                  </a:lnTo>
                  <a:lnTo>
                    <a:pt x="67" y="278"/>
                  </a:lnTo>
                  <a:lnTo>
                    <a:pt x="67" y="276"/>
                  </a:lnTo>
                  <a:lnTo>
                    <a:pt x="67" y="273"/>
                  </a:lnTo>
                  <a:lnTo>
                    <a:pt x="67" y="270"/>
                  </a:lnTo>
                  <a:lnTo>
                    <a:pt x="67" y="268"/>
                  </a:lnTo>
                  <a:lnTo>
                    <a:pt x="67" y="267"/>
                  </a:lnTo>
                  <a:lnTo>
                    <a:pt x="67" y="266"/>
                  </a:lnTo>
                  <a:lnTo>
                    <a:pt x="67" y="265"/>
                  </a:lnTo>
                  <a:lnTo>
                    <a:pt x="66" y="264"/>
                  </a:lnTo>
                  <a:lnTo>
                    <a:pt x="66" y="263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4" y="261"/>
                  </a:lnTo>
                  <a:lnTo>
                    <a:pt x="62" y="260"/>
                  </a:lnTo>
                  <a:lnTo>
                    <a:pt x="60" y="260"/>
                  </a:lnTo>
                  <a:lnTo>
                    <a:pt x="58" y="259"/>
                  </a:lnTo>
                  <a:lnTo>
                    <a:pt x="57" y="258"/>
                  </a:lnTo>
                  <a:lnTo>
                    <a:pt x="57" y="258"/>
                  </a:lnTo>
                  <a:lnTo>
                    <a:pt x="56" y="257"/>
                  </a:lnTo>
                  <a:lnTo>
                    <a:pt x="55" y="257"/>
                  </a:lnTo>
                  <a:lnTo>
                    <a:pt x="55" y="256"/>
                  </a:lnTo>
                  <a:lnTo>
                    <a:pt x="54" y="255"/>
                  </a:lnTo>
                  <a:lnTo>
                    <a:pt x="53" y="254"/>
                  </a:lnTo>
                  <a:lnTo>
                    <a:pt x="52" y="252"/>
                  </a:lnTo>
                  <a:lnTo>
                    <a:pt x="51" y="250"/>
                  </a:lnTo>
                  <a:lnTo>
                    <a:pt x="50" y="249"/>
                  </a:lnTo>
                  <a:lnTo>
                    <a:pt x="50" y="247"/>
                  </a:lnTo>
                  <a:lnTo>
                    <a:pt x="49" y="246"/>
                  </a:lnTo>
                  <a:lnTo>
                    <a:pt x="49" y="245"/>
                  </a:lnTo>
                  <a:lnTo>
                    <a:pt x="48" y="243"/>
                  </a:lnTo>
                  <a:lnTo>
                    <a:pt x="48" y="242"/>
                  </a:lnTo>
                  <a:lnTo>
                    <a:pt x="48" y="241"/>
                  </a:lnTo>
                  <a:lnTo>
                    <a:pt x="47" y="235"/>
                  </a:lnTo>
                  <a:lnTo>
                    <a:pt x="47" y="234"/>
                  </a:lnTo>
                  <a:lnTo>
                    <a:pt x="47" y="232"/>
                  </a:lnTo>
                  <a:lnTo>
                    <a:pt x="47" y="230"/>
                  </a:lnTo>
                  <a:lnTo>
                    <a:pt x="45" y="226"/>
                  </a:lnTo>
                  <a:lnTo>
                    <a:pt x="45" y="224"/>
                  </a:lnTo>
                  <a:lnTo>
                    <a:pt x="44" y="223"/>
                  </a:lnTo>
                  <a:lnTo>
                    <a:pt x="43" y="222"/>
                  </a:lnTo>
                  <a:lnTo>
                    <a:pt x="43" y="221"/>
                  </a:lnTo>
                  <a:lnTo>
                    <a:pt x="42" y="220"/>
                  </a:lnTo>
                  <a:lnTo>
                    <a:pt x="42" y="219"/>
                  </a:lnTo>
                  <a:lnTo>
                    <a:pt x="41" y="219"/>
                  </a:lnTo>
                  <a:lnTo>
                    <a:pt x="40" y="218"/>
                  </a:lnTo>
                  <a:lnTo>
                    <a:pt x="38" y="217"/>
                  </a:lnTo>
                  <a:lnTo>
                    <a:pt x="38" y="217"/>
                  </a:lnTo>
                  <a:lnTo>
                    <a:pt x="37" y="217"/>
                  </a:lnTo>
                  <a:lnTo>
                    <a:pt x="37" y="216"/>
                  </a:lnTo>
                  <a:lnTo>
                    <a:pt x="36" y="215"/>
                  </a:lnTo>
                  <a:lnTo>
                    <a:pt x="35" y="214"/>
                  </a:lnTo>
                  <a:lnTo>
                    <a:pt x="35" y="213"/>
                  </a:lnTo>
                  <a:lnTo>
                    <a:pt x="34" y="212"/>
                  </a:lnTo>
                  <a:lnTo>
                    <a:pt x="34" y="211"/>
                  </a:lnTo>
                  <a:lnTo>
                    <a:pt x="34" y="209"/>
                  </a:lnTo>
                  <a:lnTo>
                    <a:pt x="34" y="208"/>
                  </a:lnTo>
                  <a:lnTo>
                    <a:pt x="33" y="206"/>
                  </a:lnTo>
                  <a:lnTo>
                    <a:pt x="33" y="206"/>
                  </a:lnTo>
                  <a:lnTo>
                    <a:pt x="33" y="205"/>
                  </a:lnTo>
                  <a:lnTo>
                    <a:pt x="34" y="204"/>
                  </a:lnTo>
                  <a:lnTo>
                    <a:pt x="34" y="202"/>
                  </a:lnTo>
                  <a:lnTo>
                    <a:pt x="34" y="199"/>
                  </a:lnTo>
                  <a:lnTo>
                    <a:pt x="35" y="197"/>
                  </a:lnTo>
                  <a:lnTo>
                    <a:pt x="35" y="196"/>
                  </a:lnTo>
                  <a:lnTo>
                    <a:pt x="35" y="195"/>
                  </a:lnTo>
                  <a:lnTo>
                    <a:pt x="35" y="194"/>
                  </a:lnTo>
                  <a:lnTo>
                    <a:pt x="35" y="193"/>
                  </a:lnTo>
                  <a:lnTo>
                    <a:pt x="34" y="192"/>
                  </a:lnTo>
                  <a:lnTo>
                    <a:pt x="34" y="190"/>
                  </a:lnTo>
                  <a:lnTo>
                    <a:pt x="33" y="189"/>
                  </a:lnTo>
                  <a:lnTo>
                    <a:pt x="33" y="189"/>
                  </a:lnTo>
                  <a:lnTo>
                    <a:pt x="32" y="188"/>
                  </a:lnTo>
                  <a:lnTo>
                    <a:pt x="32" y="188"/>
                  </a:lnTo>
                  <a:lnTo>
                    <a:pt x="31" y="187"/>
                  </a:lnTo>
                  <a:lnTo>
                    <a:pt x="30" y="187"/>
                  </a:lnTo>
                  <a:lnTo>
                    <a:pt x="26" y="185"/>
                  </a:lnTo>
                  <a:lnTo>
                    <a:pt x="25" y="185"/>
                  </a:lnTo>
                  <a:lnTo>
                    <a:pt x="24" y="184"/>
                  </a:lnTo>
                  <a:lnTo>
                    <a:pt x="21" y="183"/>
                  </a:lnTo>
                  <a:lnTo>
                    <a:pt x="17" y="180"/>
                  </a:lnTo>
                  <a:lnTo>
                    <a:pt x="14" y="179"/>
                  </a:lnTo>
                  <a:lnTo>
                    <a:pt x="14" y="178"/>
                  </a:lnTo>
                  <a:lnTo>
                    <a:pt x="13" y="177"/>
                  </a:lnTo>
                  <a:lnTo>
                    <a:pt x="12" y="177"/>
                  </a:lnTo>
                  <a:lnTo>
                    <a:pt x="11" y="176"/>
                  </a:lnTo>
                  <a:lnTo>
                    <a:pt x="10" y="175"/>
                  </a:lnTo>
                  <a:lnTo>
                    <a:pt x="10" y="174"/>
                  </a:lnTo>
                  <a:lnTo>
                    <a:pt x="9" y="174"/>
                  </a:lnTo>
                  <a:lnTo>
                    <a:pt x="8" y="173"/>
                  </a:lnTo>
                  <a:lnTo>
                    <a:pt x="7" y="170"/>
                  </a:lnTo>
                  <a:lnTo>
                    <a:pt x="5" y="167"/>
                  </a:lnTo>
                  <a:lnTo>
                    <a:pt x="3" y="163"/>
                  </a:lnTo>
                  <a:lnTo>
                    <a:pt x="2" y="162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6"/>
                  </a:lnTo>
                  <a:lnTo>
                    <a:pt x="0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6" y="147"/>
                  </a:lnTo>
                  <a:lnTo>
                    <a:pt x="9" y="146"/>
                  </a:lnTo>
                  <a:lnTo>
                    <a:pt x="14" y="143"/>
                  </a:lnTo>
                  <a:lnTo>
                    <a:pt x="15" y="142"/>
                  </a:lnTo>
                  <a:lnTo>
                    <a:pt x="16" y="141"/>
                  </a:lnTo>
                  <a:lnTo>
                    <a:pt x="17" y="140"/>
                  </a:lnTo>
                  <a:lnTo>
                    <a:pt x="18" y="140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9" y="138"/>
                  </a:lnTo>
                  <a:lnTo>
                    <a:pt x="19" y="137"/>
                  </a:lnTo>
                  <a:lnTo>
                    <a:pt x="19" y="136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21" y="128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3" y="119"/>
                  </a:lnTo>
                  <a:lnTo>
                    <a:pt x="24" y="118"/>
                  </a:lnTo>
                  <a:lnTo>
                    <a:pt x="25" y="117"/>
                  </a:lnTo>
                  <a:lnTo>
                    <a:pt x="26" y="116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9" y="112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3" y="106"/>
                  </a:lnTo>
                  <a:lnTo>
                    <a:pt x="34" y="105"/>
                  </a:lnTo>
                  <a:lnTo>
                    <a:pt x="35" y="103"/>
                  </a:lnTo>
                  <a:lnTo>
                    <a:pt x="37" y="98"/>
                  </a:lnTo>
                  <a:lnTo>
                    <a:pt x="38" y="96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2"/>
                  </a:lnTo>
                  <a:lnTo>
                    <a:pt x="44" y="88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2" y="87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89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5" y="86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8" y="84"/>
                  </a:lnTo>
                  <a:lnTo>
                    <a:pt x="69" y="84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8" y="85"/>
                  </a:lnTo>
                  <a:lnTo>
                    <a:pt x="79" y="86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1" y="89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89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7"/>
                  </a:lnTo>
                  <a:lnTo>
                    <a:pt x="86" y="86"/>
                  </a:lnTo>
                  <a:lnTo>
                    <a:pt x="87" y="86"/>
                  </a:lnTo>
                  <a:lnTo>
                    <a:pt x="88" y="85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1" y="77"/>
                  </a:lnTo>
                  <a:lnTo>
                    <a:pt x="103" y="77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9" y="75"/>
                  </a:lnTo>
                  <a:lnTo>
                    <a:pt x="110" y="75"/>
                  </a:lnTo>
                  <a:lnTo>
                    <a:pt x="112" y="75"/>
                  </a:lnTo>
                  <a:lnTo>
                    <a:pt x="113" y="75"/>
                  </a:lnTo>
                  <a:lnTo>
                    <a:pt x="114" y="75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0" y="73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7" y="75"/>
                  </a:lnTo>
                  <a:lnTo>
                    <a:pt x="132" y="76"/>
                  </a:lnTo>
                  <a:lnTo>
                    <a:pt x="133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8"/>
                  </a:lnTo>
                  <a:lnTo>
                    <a:pt x="142" y="78"/>
                  </a:lnTo>
                  <a:lnTo>
                    <a:pt x="144" y="78"/>
                  </a:lnTo>
                  <a:lnTo>
                    <a:pt x="146" y="78"/>
                  </a:lnTo>
                  <a:lnTo>
                    <a:pt x="147" y="78"/>
                  </a:lnTo>
                  <a:lnTo>
                    <a:pt x="148" y="77"/>
                  </a:lnTo>
                  <a:lnTo>
                    <a:pt x="149" y="77"/>
                  </a:lnTo>
                  <a:lnTo>
                    <a:pt x="150" y="78"/>
                  </a:lnTo>
                  <a:lnTo>
                    <a:pt x="151" y="78"/>
                  </a:lnTo>
                  <a:lnTo>
                    <a:pt x="152" y="78"/>
                  </a:lnTo>
                  <a:lnTo>
                    <a:pt x="155" y="79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7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7" y="74"/>
                  </a:lnTo>
                  <a:lnTo>
                    <a:pt x="168" y="73"/>
                  </a:lnTo>
                  <a:lnTo>
                    <a:pt x="168" y="72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70" y="66"/>
                  </a:lnTo>
                  <a:lnTo>
                    <a:pt x="170" y="65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1" y="59"/>
                  </a:lnTo>
                  <a:lnTo>
                    <a:pt x="171" y="58"/>
                  </a:lnTo>
                  <a:lnTo>
                    <a:pt x="172" y="58"/>
                  </a:lnTo>
                  <a:lnTo>
                    <a:pt x="172" y="57"/>
                  </a:lnTo>
                  <a:lnTo>
                    <a:pt x="173" y="57"/>
                  </a:lnTo>
                  <a:lnTo>
                    <a:pt x="174" y="57"/>
                  </a:lnTo>
                  <a:lnTo>
                    <a:pt x="176" y="56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92" y="47"/>
                  </a:lnTo>
                  <a:lnTo>
                    <a:pt x="194" y="45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0" y="42"/>
                  </a:lnTo>
                  <a:lnTo>
                    <a:pt x="200" y="41"/>
                  </a:lnTo>
                  <a:lnTo>
                    <a:pt x="202" y="40"/>
                  </a:lnTo>
                  <a:lnTo>
                    <a:pt x="203" y="38"/>
                  </a:lnTo>
                  <a:lnTo>
                    <a:pt x="205" y="37"/>
                  </a:lnTo>
                  <a:lnTo>
                    <a:pt x="207" y="35"/>
                  </a:lnTo>
                  <a:lnTo>
                    <a:pt x="207" y="34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7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6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2" y="38"/>
                  </a:lnTo>
                  <a:lnTo>
                    <a:pt x="233" y="39"/>
                  </a:lnTo>
                  <a:lnTo>
                    <a:pt x="235" y="41"/>
                  </a:lnTo>
                  <a:lnTo>
                    <a:pt x="236" y="41"/>
                  </a:lnTo>
                  <a:lnTo>
                    <a:pt x="237" y="42"/>
                  </a:lnTo>
                  <a:lnTo>
                    <a:pt x="240" y="44"/>
                  </a:lnTo>
                  <a:lnTo>
                    <a:pt x="241" y="45"/>
                  </a:lnTo>
                  <a:lnTo>
                    <a:pt x="242" y="46"/>
                  </a:lnTo>
                  <a:lnTo>
                    <a:pt x="243" y="46"/>
                  </a:lnTo>
                  <a:lnTo>
                    <a:pt x="244" y="47"/>
                  </a:lnTo>
                  <a:lnTo>
                    <a:pt x="245" y="47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7"/>
                  </a:lnTo>
                  <a:lnTo>
                    <a:pt x="249" y="47"/>
                  </a:lnTo>
                  <a:lnTo>
                    <a:pt x="249" y="46"/>
                  </a:lnTo>
                  <a:lnTo>
                    <a:pt x="250" y="46"/>
                  </a:lnTo>
                  <a:lnTo>
                    <a:pt x="250" y="45"/>
                  </a:lnTo>
                  <a:lnTo>
                    <a:pt x="250" y="44"/>
                  </a:lnTo>
                  <a:lnTo>
                    <a:pt x="250" y="43"/>
                  </a:lnTo>
                  <a:lnTo>
                    <a:pt x="252" y="37"/>
                  </a:lnTo>
                  <a:lnTo>
                    <a:pt x="252" y="36"/>
                  </a:lnTo>
                  <a:lnTo>
                    <a:pt x="252" y="35"/>
                  </a:lnTo>
                  <a:lnTo>
                    <a:pt x="252" y="34"/>
                  </a:lnTo>
                  <a:lnTo>
                    <a:pt x="252" y="32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2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3" y="26"/>
                  </a:lnTo>
                  <a:lnTo>
                    <a:pt x="254" y="26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7" y="25"/>
                  </a:lnTo>
                  <a:lnTo>
                    <a:pt x="259" y="24"/>
                  </a:lnTo>
                  <a:lnTo>
                    <a:pt x="262" y="23"/>
                  </a:lnTo>
                  <a:lnTo>
                    <a:pt x="263" y="23"/>
                  </a:lnTo>
                  <a:lnTo>
                    <a:pt x="264" y="22"/>
                  </a:lnTo>
                  <a:lnTo>
                    <a:pt x="265" y="21"/>
                  </a:lnTo>
                  <a:lnTo>
                    <a:pt x="266" y="21"/>
                  </a:lnTo>
                  <a:lnTo>
                    <a:pt x="267" y="20"/>
                  </a:lnTo>
                  <a:lnTo>
                    <a:pt x="268" y="20"/>
                  </a:lnTo>
                  <a:lnTo>
                    <a:pt x="268" y="19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7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4"/>
                  </a:lnTo>
                  <a:lnTo>
                    <a:pt x="268" y="14"/>
                  </a:lnTo>
                  <a:lnTo>
                    <a:pt x="268" y="12"/>
                  </a:lnTo>
                  <a:lnTo>
                    <a:pt x="267" y="12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0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8" y="7"/>
                  </a:lnTo>
                  <a:lnTo>
                    <a:pt x="268" y="6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70" y="3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6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79" y="0"/>
                  </a:lnTo>
                  <a:lnTo>
                    <a:pt x="279" y="1"/>
                  </a:lnTo>
                  <a:close/>
                </a:path>
              </a:pathLst>
            </a:custGeom>
            <a:solidFill>
              <a:srgbClr val="E6A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Freeform 50">
              <a:extLst>
                <a:ext uri="{FF2B5EF4-FFF2-40B4-BE49-F238E27FC236}">
                  <a16:creationId xmlns:a16="http://schemas.microsoft.com/office/drawing/2014/main" id="{2BE2C606-BF98-D2FD-124B-C22F52B0E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" y="3302"/>
              <a:ext cx="419" cy="536"/>
            </a:xfrm>
            <a:custGeom>
              <a:avLst/>
              <a:gdLst>
                <a:gd name="T0" fmla="*/ 277 w 419"/>
                <a:gd name="T1" fmla="*/ 2 h 536"/>
                <a:gd name="T2" fmla="*/ 286 w 419"/>
                <a:gd name="T3" fmla="*/ 11 h 536"/>
                <a:gd name="T4" fmla="*/ 299 w 419"/>
                <a:gd name="T5" fmla="*/ 12 h 536"/>
                <a:gd name="T6" fmla="*/ 294 w 419"/>
                <a:gd name="T7" fmla="*/ 28 h 536"/>
                <a:gd name="T8" fmla="*/ 304 w 419"/>
                <a:gd name="T9" fmla="*/ 32 h 536"/>
                <a:gd name="T10" fmla="*/ 327 w 419"/>
                <a:gd name="T11" fmla="*/ 31 h 536"/>
                <a:gd name="T12" fmla="*/ 326 w 419"/>
                <a:gd name="T13" fmla="*/ 37 h 536"/>
                <a:gd name="T14" fmla="*/ 345 w 419"/>
                <a:gd name="T15" fmla="*/ 51 h 536"/>
                <a:gd name="T16" fmla="*/ 368 w 419"/>
                <a:gd name="T17" fmla="*/ 50 h 536"/>
                <a:gd name="T18" fmla="*/ 390 w 419"/>
                <a:gd name="T19" fmla="*/ 66 h 536"/>
                <a:gd name="T20" fmla="*/ 397 w 419"/>
                <a:gd name="T21" fmla="*/ 76 h 536"/>
                <a:gd name="T22" fmla="*/ 419 w 419"/>
                <a:gd name="T23" fmla="*/ 96 h 536"/>
                <a:gd name="T24" fmla="*/ 413 w 419"/>
                <a:gd name="T25" fmla="*/ 118 h 536"/>
                <a:gd name="T26" fmla="*/ 409 w 419"/>
                <a:gd name="T27" fmla="*/ 145 h 536"/>
                <a:gd name="T28" fmla="*/ 411 w 419"/>
                <a:gd name="T29" fmla="*/ 161 h 536"/>
                <a:gd name="T30" fmla="*/ 400 w 419"/>
                <a:gd name="T31" fmla="*/ 176 h 536"/>
                <a:gd name="T32" fmla="*/ 388 w 419"/>
                <a:gd name="T33" fmla="*/ 175 h 536"/>
                <a:gd name="T34" fmla="*/ 372 w 419"/>
                <a:gd name="T35" fmla="*/ 192 h 536"/>
                <a:gd name="T36" fmla="*/ 383 w 419"/>
                <a:gd name="T37" fmla="*/ 197 h 536"/>
                <a:gd name="T38" fmla="*/ 377 w 419"/>
                <a:gd name="T39" fmla="*/ 204 h 536"/>
                <a:gd name="T40" fmla="*/ 380 w 419"/>
                <a:gd name="T41" fmla="*/ 214 h 536"/>
                <a:gd name="T42" fmla="*/ 380 w 419"/>
                <a:gd name="T43" fmla="*/ 220 h 536"/>
                <a:gd name="T44" fmla="*/ 391 w 419"/>
                <a:gd name="T45" fmla="*/ 225 h 536"/>
                <a:gd name="T46" fmla="*/ 391 w 419"/>
                <a:gd name="T47" fmla="*/ 251 h 536"/>
                <a:gd name="T48" fmla="*/ 398 w 419"/>
                <a:gd name="T49" fmla="*/ 266 h 536"/>
                <a:gd name="T50" fmla="*/ 394 w 419"/>
                <a:gd name="T51" fmla="*/ 283 h 536"/>
                <a:gd name="T52" fmla="*/ 397 w 419"/>
                <a:gd name="T53" fmla="*/ 299 h 536"/>
                <a:gd name="T54" fmla="*/ 397 w 419"/>
                <a:gd name="T55" fmla="*/ 321 h 536"/>
                <a:gd name="T56" fmla="*/ 403 w 419"/>
                <a:gd name="T57" fmla="*/ 345 h 536"/>
                <a:gd name="T58" fmla="*/ 388 w 419"/>
                <a:gd name="T59" fmla="*/ 367 h 536"/>
                <a:gd name="T60" fmla="*/ 383 w 419"/>
                <a:gd name="T61" fmla="*/ 381 h 536"/>
                <a:gd name="T62" fmla="*/ 379 w 419"/>
                <a:gd name="T63" fmla="*/ 389 h 536"/>
                <a:gd name="T64" fmla="*/ 381 w 419"/>
                <a:gd name="T65" fmla="*/ 398 h 536"/>
                <a:gd name="T66" fmla="*/ 376 w 419"/>
                <a:gd name="T67" fmla="*/ 412 h 536"/>
                <a:gd name="T68" fmla="*/ 375 w 419"/>
                <a:gd name="T69" fmla="*/ 427 h 536"/>
                <a:gd name="T70" fmla="*/ 357 w 419"/>
                <a:gd name="T71" fmla="*/ 445 h 536"/>
                <a:gd name="T72" fmla="*/ 343 w 419"/>
                <a:gd name="T73" fmla="*/ 450 h 536"/>
                <a:gd name="T74" fmla="*/ 344 w 419"/>
                <a:gd name="T75" fmla="*/ 480 h 536"/>
                <a:gd name="T76" fmla="*/ 335 w 419"/>
                <a:gd name="T77" fmla="*/ 491 h 536"/>
                <a:gd name="T78" fmla="*/ 326 w 419"/>
                <a:gd name="T79" fmla="*/ 515 h 536"/>
                <a:gd name="T80" fmla="*/ 321 w 419"/>
                <a:gd name="T81" fmla="*/ 526 h 536"/>
                <a:gd name="T82" fmla="*/ 310 w 419"/>
                <a:gd name="T83" fmla="*/ 536 h 536"/>
                <a:gd name="T84" fmla="*/ 286 w 419"/>
                <a:gd name="T85" fmla="*/ 516 h 536"/>
                <a:gd name="T86" fmla="*/ 276 w 419"/>
                <a:gd name="T87" fmla="*/ 482 h 536"/>
                <a:gd name="T88" fmla="*/ 248 w 419"/>
                <a:gd name="T89" fmla="*/ 456 h 536"/>
                <a:gd name="T90" fmla="*/ 221 w 419"/>
                <a:gd name="T91" fmla="*/ 448 h 536"/>
                <a:gd name="T92" fmla="*/ 209 w 419"/>
                <a:gd name="T93" fmla="*/ 425 h 536"/>
                <a:gd name="T94" fmla="*/ 188 w 419"/>
                <a:gd name="T95" fmla="*/ 395 h 536"/>
                <a:gd name="T96" fmla="*/ 173 w 419"/>
                <a:gd name="T97" fmla="*/ 372 h 536"/>
                <a:gd name="T98" fmla="*/ 151 w 419"/>
                <a:gd name="T99" fmla="*/ 350 h 536"/>
                <a:gd name="T100" fmla="*/ 129 w 419"/>
                <a:gd name="T101" fmla="*/ 350 h 536"/>
                <a:gd name="T102" fmla="*/ 106 w 419"/>
                <a:gd name="T103" fmla="*/ 347 h 536"/>
                <a:gd name="T104" fmla="*/ 91 w 419"/>
                <a:gd name="T105" fmla="*/ 324 h 536"/>
                <a:gd name="T106" fmla="*/ 65 w 419"/>
                <a:gd name="T107" fmla="*/ 303 h 536"/>
                <a:gd name="T108" fmla="*/ 59 w 419"/>
                <a:gd name="T109" fmla="*/ 279 h 536"/>
                <a:gd name="T110" fmla="*/ 49 w 419"/>
                <a:gd name="T111" fmla="*/ 257 h 536"/>
                <a:gd name="T112" fmla="*/ 39 w 419"/>
                <a:gd name="T113" fmla="*/ 233 h 536"/>
                <a:gd name="T114" fmla="*/ 27 w 419"/>
                <a:gd name="T115" fmla="*/ 213 h 536"/>
                <a:gd name="T116" fmla="*/ 26 w 419"/>
                <a:gd name="T117" fmla="*/ 191 h 536"/>
                <a:gd name="T118" fmla="*/ 3 w 419"/>
                <a:gd name="T119" fmla="*/ 175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9" h="536">
                  <a:moveTo>
                    <a:pt x="271" y="0"/>
                  </a:moveTo>
                  <a:lnTo>
                    <a:pt x="271" y="0"/>
                  </a:lnTo>
                  <a:lnTo>
                    <a:pt x="271" y="0"/>
                  </a:lnTo>
                  <a:lnTo>
                    <a:pt x="271" y="1"/>
                  </a:lnTo>
                  <a:lnTo>
                    <a:pt x="271" y="3"/>
                  </a:lnTo>
                  <a:lnTo>
                    <a:pt x="271" y="3"/>
                  </a:lnTo>
                  <a:lnTo>
                    <a:pt x="272" y="4"/>
                  </a:lnTo>
                  <a:lnTo>
                    <a:pt x="272" y="4"/>
                  </a:lnTo>
                  <a:lnTo>
                    <a:pt x="272" y="5"/>
                  </a:lnTo>
                  <a:lnTo>
                    <a:pt x="273" y="5"/>
                  </a:lnTo>
                  <a:lnTo>
                    <a:pt x="273" y="5"/>
                  </a:lnTo>
                  <a:lnTo>
                    <a:pt x="274" y="5"/>
                  </a:lnTo>
                  <a:lnTo>
                    <a:pt x="274" y="5"/>
                  </a:lnTo>
                  <a:lnTo>
                    <a:pt x="274" y="5"/>
                  </a:lnTo>
                  <a:lnTo>
                    <a:pt x="275" y="4"/>
                  </a:lnTo>
                  <a:lnTo>
                    <a:pt x="275" y="4"/>
                  </a:lnTo>
                  <a:lnTo>
                    <a:pt x="277" y="2"/>
                  </a:lnTo>
                  <a:lnTo>
                    <a:pt x="277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80" y="0"/>
                  </a:lnTo>
                  <a:lnTo>
                    <a:pt x="280" y="1"/>
                  </a:lnTo>
                  <a:lnTo>
                    <a:pt x="280" y="1"/>
                  </a:lnTo>
                  <a:lnTo>
                    <a:pt x="281" y="2"/>
                  </a:lnTo>
                  <a:lnTo>
                    <a:pt x="281" y="3"/>
                  </a:lnTo>
                  <a:lnTo>
                    <a:pt x="283" y="5"/>
                  </a:lnTo>
                  <a:lnTo>
                    <a:pt x="284" y="6"/>
                  </a:lnTo>
                  <a:lnTo>
                    <a:pt x="284" y="7"/>
                  </a:lnTo>
                  <a:lnTo>
                    <a:pt x="285" y="9"/>
                  </a:lnTo>
                  <a:lnTo>
                    <a:pt x="285" y="10"/>
                  </a:lnTo>
                  <a:lnTo>
                    <a:pt x="285" y="10"/>
                  </a:lnTo>
                  <a:lnTo>
                    <a:pt x="286" y="10"/>
                  </a:lnTo>
                  <a:lnTo>
                    <a:pt x="286" y="11"/>
                  </a:lnTo>
                  <a:lnTo>
                    <a:pt x="286" y="11"/>
                  </a:lnTo>
                  <a:lnTo>
                    <a:pt x="287" y="11"/>
                  </a:lnTo>
                  <a:lnTo>
                    <a:pt x="287" y="11"/>
                  </a:lnTo>
                  <a:lnTo>
                    <a:pt x="288" y="11"/>
                  </a:lnTo>
                  <a:lnTo>
                    <a:pt x="291" y="10"/>
                  </a:lnTo>
                  <a:lnTo>
                    <a:pt x="291" y="10"/>
                  </a:lnTo>
                  <a:lnTo>
                    <a:pt x="291" y="10"/>
                  </a:lnTo>
                  <a:lnTo>
                    <a:pt x="293" y="9"/>
                  </a:lnTo>
                  <a:lnTo>
                    <a:pt x="294" y="8"/>
                  </a:lnTo>
                  <a:lnTo>
                    <a:pt x="294" y="8"/>
                  </a:lnTo>
                  <a:lnTo>
                    <a:pt x="295" y="7"/>
                  </a:lnTo>
                  <a:lnTo>
                    <a:pt x="296" y="6"/>
                  </a:lnTo>
                  <a:lnTo>
                    <a:pt x="296" y="7"/>
                  </a:lnTo>
                  <a:lnTo>
                    <a:pt x="296" y="8"/>
                  </a:lnTo>
                  <a:lnTo>
                    <a:pt x="297" y="9"/>
                  </a:lnTo>
                  <a:lnTo>
                    <a:pt x="298" y="10"/>
                  </a:lnTo>
                  <a:lnTo>
                    <a:pt x="299" y="12"/>
                  </a:lnTo>
                  <a:lnTo>
                    <a:pt x="299" y="13"/>
                  </a:lnTo>
                  <a:lnTo>
                    <a:pt x="300" y="13"/>
                  </a:lnTo>
                  <a:lnTo>
                    <a:pt x="300" y="14"/>
                  </a:lnTo>
                  <a:lnTo>
                    <a:pt x="300" y="15"/>
                  </a:lnTo>
                  <a:lnTo>
                    <a:pt x="300" y="16"/>
                  </a:lnTo>
                  <a:lnTo>
                    <a:pt x="300" y="17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299" y="19"/>
                  </a:lnTo>
                  <a:lnTo>
                    <a:pt x="298" y="21"/>
                  </a:lnTo>
                  <a:lnTo>
                    <a:pt x="297" y="22"/>
                  </a:lnTo>
                  <a:lnTo>
                    <a:pt x="296" y="24"/>
                  </a:lnTo>
                  <a:lnTo>
                    <a:pt x="295" y="26"/>
                  </a:lnTo>
                  <a:lnTo>
                    <a:pt x="295" y="27"/>
                  </a:lnTo>
                  <a:lnTo>
                    <a:pt x="294" y="27"/>
                  </a:lnTo>
                  <a:lnTo>
                    <a:pt x="294" y="28"/>
                  </a:lnTo>
                  <a:lnTo>
                    <a:pt x="294" y="29"/>
                  </a:lnTo>
                  <a:lnTo>
                    <a:pt x="294" y="29"/>
                  </a:lnTo>
                  <a:lnTo>
                    <a:pt x="294" y="30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5" y="32"/>
                  </a:lnTo>
                  <a:lnTo>
                    <a:pt x="295" y="32"/>
                  </a:lnTo>
                  <a:lnTo>
                    <a:pt x="296" y="32"/>
                  </a:lnTo>
                  <a:lnTo>
                    <a:pt x="297" y="32"/>
                  </a:lnTo>
                  <a:lnTo>
                    <a:pt x="300" y="33"/>
                  </a:lnTo>
                  <a:lnTo>
                    <a:pt x="300" y="33"/>
                  </a:lnTo>
                  <a:lnTo>
                    <a:pt x="301" y="33"/>
                  </a:lnTo>
                  <a:lnTo>
                    <a:pt x="301" y="33"/>
                  </a:lnTo>
                  <a:lnTo>
                    <a:pt x="302" y="33"/>
                  </a:lnTo>
                  <a:lnTo>
                    <a:pt x="303" y="33"/>
                  </a:lnTo>
                  <a:lnTo>
                    <a:pt x="304" y="32"/>
                  </a:lnTo>
                  <a:lnTo>
                    <a:pt x="306" y="31"/>
                  </a:lnTo>
                  <a:lnTo>
                    <a:pt x="308" y="31"/>
                  </a:lnTo>
                  <a:lnTo>
                    <a:pt x="309" y="31"/>
                  </a:lnTo>
                  <a:lnTo>
                    <a:pt x="309" y="30"/>
                  </a:lnTo>
                  <a:lnTo>
                    <a:pt x="311" y="30"/>
                  </a:lnTo>
                  <a:lnTo>
                    <a:pt x="313" y="30"/>
                  </a:lnTo>
                  <a:lnTo>
                    <a:pt x="314" y="30"/>
                  </a:lnTo>
                  <a:lnTo>
                    <a:pt x="315" y="31"/>
                  </a:lnTo>
                  <a:lnTo>
                    <a:pt x="318" y="31"/>
                  </a:lnTo>
                  <a:lnTo>
                    <a:pt x="319" y="31"/>
                  </a:lnTo>
                  <a:lnTo>
                    <a:pt x="320" y="31"/>
                  </a:lnTo>
                  <a:lnTo>
                    <a:pt x="320" y="31"/>
                  </a:lnTo>
                  <a:lnTo>
                    <a:pt x="323" y="31"/>
                  </a:lnTo>
                  <a:lnTo>
                    <a:pt x="325" y="31"/>
                  </a:lnTo>
                  <a:lnTo>
                    <a:pt x="326" y="31"/>
                  </a:lnTo>
                  <a:lnTo>
                    <a:pt x="326" y="31"/>
                  </a:lnTo>
                  <a:lnTo>
                    <a:pt x="327" y="31"/>
                  </a:lnTo>
                  <a:lnTo>
                    <a:pt x="328" y="31"/>
                  </a:lnTo>
                  <a:lnTo>
                    <a:pt x="329" y="32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1" y="33"/>
                  </a:lnTo>
                  <a:lnTo>
                    <a:pt x="330" y="34"/>
                  </a:lnTo>
                  <a:lnTo>
                    <a:pt x="330" y="34"/>
                  </a:lnTo>
                  <a:lnTo>
                    <a:pt x="328" y="35"/>
                  </a:lnTo>
                  <a:lnTo>
                    <a:pt x="328" y="35"/>
                  </a:lnTo>
                  <a:lnTo>
                    <a:pt x="327" y="36"/>
                  </a:lnTo>
                  <a:lnTo>
                    <a:pt x="327" y="36"/>
                  </a:lnTo>
                  <a:lnTo>
                    <a:pt x="326" y="36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8"/>
                  </a:lnTo>
                  <a:lnTo>
                    <a:pt x="327" y="38"/>
                  </a:lnTo>
                  <a:lnTo>
                    <a:pt x="327" y="38"/>
                  </a:lnTo>
                  <a:lnTo>
                    <a:pt x="327" y="39"/>
                  </a:lnTo>
                  <a:lnTo>
                    <a:pt x="328" y="40"/>
                  </a:lnTo>
                  <a:lnTo>
                    <a:pt x="329" y="40"/>
                  </a:lnTo>
                  <a:lnTo>
                    <a:pt x="330" y="41"/>
                  </a:lnTo>
                  <a:lnTo>
                    <a:pt x="331" y="42"/>
                  </a:lnTo>
                  <a:lnTo>
                    <a:pt x="334" y="43"/>
                  </a:lnTo>
                  <a:lnTo>
                    <a:pt x="336" y="44"/>
                  </a:lnTo>
                  <a:lnTo>
                    <a:pt x="338" y="46"/>
                  </a:lnTo>
                  <a:lnTo>
                    <a:pt x="341" y="48"/>
                  </a:lnTo>
                  <a:lnTo>
                    <a:pt x="342" y="49"/>
                  </a:lnTo>
                  <a:lnTo>
                    <a:pt x="344" y="50"/>
                  </a:lnTo>
                  <a:lnTo>
                    <a:pt x="344" y="50"/>
                  </a:lnTo>
                  <a:lnTo>
                    <a:pt x="345" y="51"/>
                  </a:lnTo>
                  <a:lnTo>
                    <a:pt x="346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50" y="52"/>
                  </a:lnTo>
                  <a:lnTo>
                    <a:pt x="351" y="52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5" y="52"/>
                  </a:lnTo>
                  <a:lnTo>
                    <a:pt x="357" y="52"/>
                  </a:lnTo>
                  <a:lnTo>
                    <a:pt x="358" y="51"/>
                  </a:lnTo>
                  <a:lnTo>
                    <a:pt x="359" y="51"/>
                  </a:lnTo>
                  <a:lnTo>
                    <a:pt x="362" y="50"/>
                  </a:lnTo>
                  <a:lnTo>
                    <a:pt x="363" y="50"/>
                  </a:lnTo>
                  <a:lnTo>
                    <a:pt x="364" y="50"/>
                  </a:lnTo>
                  <a:lnTo>
                    <a:pt x="366" y="50"/>
                  </a:lnTo>
                  <a:lnTo>
                    <a:pt x="366" y="50"/>
                  </a:lnTo>
                  <a:lnTo>
                    <a:pt x="368" y="50"/>
                  </a:lnTo>
                  <a:lnTo>
                    <a:pt x="368" y="51"/>
                  </a:lnTo>
                  <a:lnTo>
                    <a:pt x="369" y="51"/>
                  </a:lnTo>
                  <a:lnTo>
                    <a:pt x="370" y="51"/>
                  </a:lnTo>
                  <a:lnTo>
                    <a:pt x="370" y="52"/>
                  </a:lnTo>
                  <a:lnTo>
                    <a:pt x="371" y="52"/>
                  </a:lnTo>
                  <a:lnTo>
                    <a:pt x="372" y="53"/>
                  </a:lnTo>
                  <a:lnTo>
                    <a:pt x="374" y="56"/>
                  </a:lnTo>
                  <a:lnTo>
                    <a:pt x="376" y="58"/>
                  </a:lnTo>
                  <a:lnTo>
                    <a:pt x="377" y="59"/>
                  </a:lnTo>
                  <a:lnTo>
                    <a:pt x="379" y="61"/>
                  </a:lnTo>
                  <a:lnTo>
                    <a:pt x="382" y="63"/>
                  </a:lnTo>
                  <a:lnTo>
                    <a:pt x="383" y="64"/>
                  </a:lnTo>
                  <a:lnTo>
                    <a:pt x="384" y="65"/>
                  </a:lnTo>
                  <a:lnTo>
                    <a:pt x="385" y="65"/>
                  </a:lnTo>
                  <a:lnTo>
                    <a:pt x="386" y="65"/>
                  </a:lnTo>
                  <a:lnTo>
                    <a:pt x="389" y="66"/>
                  </a:lnTo>
                  <a:lnTo>
                    <a:pt x="390" y="66"/>
                  </a:lnTo>
                  <a:lnTo>
                    <a:pt x="391" y="66"/>
                  </a:lnTo>
                  <a:lnTo>
                    <a:pt x="392" y="66"/>
                  </a:lnTo>
                  <a:lnTo>
                    <a:pt x="392" y="67"/>
                  </a:lnTo>
                  <a:lnTo>
                    <a:pt x="393" y="67"/>
                  </a:lnTo>
                  <a:lnTo>
                    <a:pt x="394" y="68"/>
                  </a:lnTo>
                  <a:lnTo>
                    <a:pt x="394" y="68"/>
                  </a:lnTo>
                  <a:lnTo>
                    <a:pt x="395" y="69"/>
                  </a:lnTo>
                  <a:lnTo>
                    <a:pt x="395" y="69"/>
                  </a:lnTo>
                  <a:lnTo>
                    <a:pt x="395" y="70"/>
                  </a:lnTo>
                  <a:lnTo>
                    <a:pt x="396" y="71"/>
                  </a:lnTo>
                  <a:lnTo>
                    <a:pt x="396" y="71"/>
                  </a:lnTo>
                  <a:lnTo>
                    <a:pt x="396" y="74"/>
                  </a:lnTo>
                  <a:lnTo>
                    <a:pt x="396" y="75"/>
                  </a:lnTo>
                  <a:lnTo>
                    <a:pt x="397" y="75"/>
                  </a:lnTo>
                  <a:lnTo>
                    <a:pt x="397" y="75"/>
                  </a:lnTo>
                  <a:lnTo>
                    <a:pt x="397" y="76"/>
                  </a:lnTo>
                  <a:lnTo>
                    <a:pt x="397" y="76"/>
                  </a:lnTo>
                  <a:lnTo>
                    <a:pt x="398" y="76"/>
                  </a:lnTo>
                  <a:lnTo>
                    <a:pt x="398" y="76"/>
                  </a:lnTo>
                  <a:lnTo>
                    <a:pt x="401" y="77"/>
                  </a:lnTo>
                  <a:lnTo>
                    <a:pt x="404" y="78"/>
                  </a:lnTo>
                  <a:lnTo>
                    <a:pt x="406" y="78"/>
                  </a:lnTo>
                  <a:lnTo>
                    <a:pt x="407" y="79"/>
                  </a:lnTo>
                  <a:lnTo>
                    <a:pt x="410" y="80"/>
                  </a:lnTo>
                  <a:lnTo>
                    <a:pt x="416" y="84"/>
                  </a:lnTo>
                  <a:lnTo>
                    <a:pt x="417" y="84"/>
                  </a:lnTo>
                  <a:lnTo>
                    <a:pt x="417" y="85"/>
                  </a:lnTo>
                  <a:lnTo>
                    <a:pt x="417" y="85"/>
                  </a:lnTo>
                  <a:lnTo>
                    <a:pt x="418" y="85"/>
                  </a:lnTo>
                  <a:lnTo>
                    <a:pt x="418" y="86"/>
                  </a:lnTo>
                  <a:lnTo>
                    <a:pt x="418" y="86"/>
                  </a:lnTo>
                  <a:lnTo>
                    <a:pt x="418" y="91"/>
                  </a:lnTo>
                  <a:lnTo>
                    <a:pt x="418" y="93"/>
                  </a:lnTo>
                  <a:lnTo>
                    <a:pt x="419" y="96"/>
                  </a:lnTo>
                  <a:lnTo>
                    <a:pt x="419" y="100"/>
                  </a:lnTo>
                  <a:lnTo>
                    <a:pt x="419" y="102"/>
                  </a:lnTo>
                  <a:lnTo>
                    <a:pt x="419" y="106"/>
                  </a:lnTo>
                  <a:lnTo>
                    <a:pt x="419" y="107"/>
                  </a:lnTo>
                  <a:lnTo>
                    <a:pt x="419" y="108"/>
                  </a:lnTo>
                  <a:lnTo>
                    <a:pt x="419" y="108"/>
                  </a:lnTo>
                  <a:lnTo>
                    <a:pt x="419" y="109"/>
                  </a:lnTo>
                  <a:lnTo>
                    <a:pt x="419" y="110"/>
                  </a:lnTo>
                  <a:lnTo>
                    <a:pt x="418" y="110"/>
                  </a:lnTo>
                  <a:lnTo>
                    <a:pt x="418" y="111"/>
                  </a:lnTo>
                  <a:lnTo>
                    <a:pt x="416" y="112"/>
                  </a:lnTo>
                  <a:lnTo>
                    <a:pt x="416" y="113"/>
                  </a:lnTo>
                  <a:lnTo>
                    <a:pt x="415" y="113"/>
                  </a:lnTo>
                  <a:lnTo>
                    <a:pt x="415" y="114"/>
                  </a:lnTo>
                  <a:lnTo>
                    <a:pt x="414" y="115"/>
                  </a:lnTo>
                  <a:lnTo>
                    <a:pt x="414" y="116"/>
                  </a:lnTo>
                  <a:lnTo>
                    <a:pt x="413" y="118"/>
                  </a:lnTo>
                  <a:lnTo>
                    <a:pt x="412" y="121"/>
                  </a:lnTo>
                  <a:lnTo>
                    <a:pt x="412" y="122"/>
                  </a:lnTo>
                  <a:lnTo>
                    <a:pt x="412" y="123"/>
                  </a:lnTo>
                  <a:lnTo>
                    <a:pt x="411" y="128"/>
                  </a:lnTo>
                  <a:lnTo>
                    <a:pt x="411" y="129"/>
                  </a:lnTo>
                  <a:lnTo>
                    <a:pt x="411" y="130"/>
                  </a:lnTo>
                  <a:lnTo>
                    <a:pt x="411" y="133"/>
                  </a:lnTo>
                  <a:lnTo>
                    <a:pt x="411" y="134"/>
                  </a:lnTo>
                  <a:lnTo>
                    <a:pt x="411" y="135"/>
                  </a:lnTo>
                  <a:lnTo>
                    <a:pt x="411" y="136"/>
                  </a:lnTo>
                  <a:lnTo>
                    <a:pt x="411" y="137"/>
                  </a:lnTo>
                  <a:lnTo>
                    <a:pt x="411" y="138"/>
                  </a:lnTo>
                  <a:lnTo>
                    <a:pt x="410" y="140"/>
                  </a:lnTo>
                  <a:lnTo>
                    <a:pt x="409" y="143"/>
                  </a:lnTo>
                  <a:lnTo>
                    <a:pt x="409" y="143"/>
                  </a:lnTo>
                  <a:lnTo>
                    <a:pt x="409" y="144"/>
                  </a:lnTo>
                  <a:lnTo>
                    <a:pt x="409" y="145"/>
                  </a:lnTo>
                  <a:lnTo>
                    <a:pt x="409" y="146"/>
                  </a:lnTo>
                  <a:lnTo>
                    <a:pt x="409" y="147"/>
                  </a:lnTo>
                  <a:lnTo>
                    <a:pt x="409" y="150"/>
                  </a:lnTo>
                  <a:lnTo>
                    <a:pt x="409" y="151"/>
                  </a:lnTo>
                  <a:lnTo>
                    <a:pt x="408" y="152"/>
                  </a:lnTo>
                  <a:lnTo>
                    <a:pt x="408" y="153"/>
                  </a:lnTo>
                  <a:lnTo>
                    <a:pt x="408" y="154"/>
                  </a:lnTo>
                  <a:lnTo>
                    <a:pt x="408" y="155"/>
                  </a:lnTo>
                  <a:lnTo>
                    <a:pt x="407" y="157"/>
                  </a:lnTo>
                  <a:lnTo>
                    <a:pt x="407" y="158"/>
                  </a:lnTo>
                  <a:lnTo>
                    <a:pt x="407" y="159"/>
                  </a:lnTo>
                  <a:lnTo>
                    <a:pt x="408" y="159"/>
                  </a:lnTo>
                  <a:lnTo>
                    <a:pt x="408" y="159"/>
                  </a:lnTo>
                  <a:lnTo>
                    <a:pt x="408" y="159"/>
                  </a:lnTo>
                  <a:lnTo>
                    <a:pt x="410" y="160"/>
                  </a:lnTo>
                  <a:lnTo>
                    <a:pt x="410" y="161"/>
                  </a:lnTo>
                  <a:lnTo>
                    <a:pt x="411" y="161"/>
                  </a:lnTo>
                  <a:lnTo>
                    <a:pt x="411" y="162"/>
                  </a:lnTo>
                  <a:lnTo>
                    <a:pt x="412" y="162"/>
                  </a:lnTo>
                  <a:lnTo>
                    <a:pt x="412" y="163"/>
                  </a:lnTo>
                  <a:lnTo>
                    <a:pt x="412" y="164"/>
                  </a:lnTo>
                  <a:lnTo>
                    <a:pt x="412" y="164"/>
                  </a:lnTo>
                  <a:lnTo>
                    <a:pt x="411" y="165"/>
                  </a:lnTo>
                  <a:lnTo>
                    <a:pt x="411" y="165"/>
                  </a:lnTo>
                  <a:lnTo>
                    <a:pt x="411" y="166"/>
                  </a:lnTo>
                  <a:lnTo>
                    <a:pt x="410" y="166"/>
                  </a:lnTo>
                  <a:lnTo>
                    <a:pt x="409" y="167"/>
                  </a:lnTo>
                  <a:lnTo>
                    <a:pt x="406" y="170"/>
                  </a:lnTo>
                  <a:lnTo>
                    <a:pt x="405" y="171"/>
                  </a:lnTo>
                  <a:lnTo>
                    <a:pt x="404" y="172"/>
                  </a:lnTo>
                  <a:lnTo>
                    <a:pt x="403" y="173"/>
                  </a:lnTo>
                  <a:lnTo>
                    <a:pt x="402" y="175"/>
                  </a:lnTo>
                  <a:lnTo>
                    <a:pt x="401" y="176"/>
                  </a:lnTo>
                  <a:lnTo>
                    <a:pt x="400" y="176"/>
                  </a:lnTo>
                  <a:lnTo>
                    <a:pt x="400" y="177"/>
                  </a:lnTo>
                  <a:lnTo>
                    <a:pt x="399" y="177"/>
                  </a:lnTo>
                  <a:lnTo>
                    <a:pt x="399" y="177"/>
                  </a:lnTo>
                  <a:lnTo>
                    <a:pt x="398" y="178"/>
                  </a:lnTo>
                  <a:lnTo>
                    <a:pt x="398" y="178"/>
                  </a:lnTo>
                  <a:lnTo>
                    <a:pt x="397" y="178"/>
                  </a:lnTo>
                  <a:lnTo>
                    <a:pt x="397" y="178"/>
                  </a:lnTo>
                  <a:lnTo>
                    <a:pt x="396" y="177"/>
                  </a:lnTo>
                  <a:lnTo>
                    <a:pt x="395" y="177"/>
                  </a:lnTo>
                  <a:lnTo>
                    <a:pt x="392" y="175"/>
                  </a:lnTo>
                  <a:lnTo>
                    <a:pt x="392" y="175"/>
                  </a:lnTo>
                  <a:lnTo>
                    <a:pt x="392" y="175"/>
                  </a:lnTo>
                  <a:lnTo>
                    <a:pt x="391" y="175"/>
                  </a:lnTo>
                  <a:lnTo>
                    <a:pt x="390" y="175"/>
                  </a:lnTo>
                  <a:lnTo>
                    <a:pt x="389" y="175"/>
                  </a:lnTo>
                  <a:lnTo>
                    <a:pt x="389" y="175"/>
                  </a:lnTo>
                  <a:lnTo>
                    <a:pt x="388" y="175"/>
                  </a:lnTo>
                  <a:lnTo>
                    <a:pt x="387" y="176"/>
                  </a:lnTo>
                  <a:lnTo>
                    <a:pt x="386" y="176"/>
                  </a:lnTo>
                  <a:lnTo>
                    <a:pt x="384" y="177"/>
                  </a:lnTo>
                  <a:lnTo>
                    <a:pt x="383" y="178"/>
                  </a:lnTo>
                  <a:lnTo>
                    <a:pt x="382" y="178"/>
                  </a:lnTo>
                  <a:lnTo>
                    <a:pt x="381" y="179"/>
                  </a:lnTo>
                  <a:lnTo>
                    <a:pt x="380" y="180"/>
                  </a:lnTo>
                  <a:lnTo>
                    <a:pt x="379" y="181"/>
                  </a:lnTo>
                  <a:lnTo>
                    <a:pt x="378" y="181"/>
                  </a:lnTo>
                  <a:lnTo>
                    <a:pt x="378" y="182"/>
                  </a:lnTo>
                  <a:lnTo>
                    <a:pt x="377" y="184"/>
                  </a:lnTo>
                  <a:lnTo>
                    <a:pt x="374" y="187"/>
                  </a:lnTo>
                  <a:lnTo>
                    <a:pt x="373" y="188"/>
                  </a:lnTo>
                  <a:lnTo>
                    <a:pt x="373" y="189"/>
                  </a:lnTo>
                  <a:lnTo>
                    <a:pt x="373" y="190"/>
                  </a:lnTo>
                  <a:lnTo>
                    <a:pt x="372" y="191"/>
                  </a:lnTo>
                  <a:lnTo>
                    <a:pt x="372" y="192"/>
                  </a:lnTo>
                  <a:lnTo>
                    <a:pt x="372" y="193"/>
                  </a:lnTo>
                  <a:lnTo>
                    <a:pt x="372" y="194"/>
                  </a:lnTo>
                  <a:lnTo>
                    <a:pt x="372" y="194"/>
                  </a:lnTo>
                  <a:lnTo>
                    <a:pt x="372" y="195"/>
                  </a:lnTo>
                  <a:lnTo>
                    <a:pt x="373" y="195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4" y="197"/>
                  </a:lnTo>
                  <a:lnTo>
                    <a:pt x="374" y="197"/>
                  </a:lnTo>
                  <a:lnTo>
                    <a:pt x="375" y="197"/>
                  </a:lnTo>
                  <a:lnTo>
                    <a:pt x="377" y="196"/>
                  </a:lnTo>
                  <a:lnTo>
                    <a:pt x="378" y="196"/>
                  </a:lnTo>
                  <a:lnTo>
                    <a:pt x="379" y="196"/>
                  </a:lnTo>
                  <a:lnTo>
                    <a:pt x="380" y="196"/>
                  </a:lnTo>
                  <a:lnTo>
                    <a:pt x="382" y="196"/>
                  </a:lnTo>
                  <a:lnTo>
                    <a:pt x="383" y="197"/>
                  </a:lnTo>
                  <a:lnTo>
                    <a:pt x="383" y="197"/>
                  </a:lnTo>
                  <a:lnTo>
                    <a:pt x="384" y="197"/>
                  </a:lnTo>
                  <a:lnTo>
                    <a:pt x="384" y="197"/>
                  </a:lnTo>
                  <a:lnTo>
                    <a:pt x="384" y="198"/>
                  </a:lnTo>
                  <a:lnTo>
                    <a:pt x="384" y="198"/>
                  </a:lnTo>
                  <a:lnTo>
                    <a:pt x="385" y="198"/>
                  </a:lnTo>
                  <a:lnTo>
                    <a:pt x="384" y="199"/>
                  </a:lnTo>
                  <a:lnTo>
                    <a:pt x="384" y="199"/>
                  </a:lnTo>
                  <a:lnTo>
                    <a:pt x="384" y="200"/>
                  </a:lnTo>
                  <a:lnTo>
                    <a:pt x="383" y="200"/>
                  </a:lnTo>
                  <a:lnTo>
                    <a:pt x="382" y="201"/>
                  </a:lnTo>
                  <a:lnTo>
                    <a:pt x="378" y="202"/>
                  </a:lnTo>
                  <a:lnTo>
                    <a:pt x="378" y="203"/>
                  </a:lnTo>
                  <a:lnTo>
                    <a:pt x="378" y="203"/>
                  </a:lnTo>
                  <a:lnTo>
                    <a:pt x="378" y="203"/>
                  </a:lnTo>
                  <a:lnTo>
                    <a:pt x="377" y="203"/>
                  </a:lnTo>
                  <a:lnTo>
                    <a:pt x="377" y="204"/>
                  </a:lnTo>
                  <a:lnTo>
                    <a:pt x="377" y="205"/>
                  </a:lnTo>
                  <a:lnTo>
                    <a:pt x="378" y="205"/>
                  </a:lnTo>
                  <a:lnTo>
                    <a:pt x="378" y="206"/>
                  </a:lnTo>
                  <a:lnTo>
                    <a:pt x="378" y="206"/>
                  </a:lnTo>
                  <a:lnTo>
                    <a:pt x="378" y="207"/>
                  </a:lnTo>
                  <a:lnTo>
                    <a:pt x="380" y="208"/>
                  </a:lnTo>
                  <a:lnTo>
                    <a:pt x="380" y="209"/>
                  </a:lnTo>
                  <a:lnTo>
                    <a:pt x="381" y="210"/>
                  </a:lnTo>
                  <a:lnTo>
                    <a:pt x="381" y="210"/>
                  </a:lnTo>
                  <a:lnTo>
                    <a:pt x="382" y="211"/>
                  </a:lnTo>
                  <a:lnTo>
                    <a:pt x="382" y="212"/>
                  </a:lnTo>
                  <a:lnTo>
                    <a:pt x="382" y="212"/>
                  </a:lnTo>
                  <a:lnTo>
                    <a:pt x="381" y="213"/>
                  </a:lnTo>
                  <a:lnTo>
                    <a:pt x="381" y="213"/>
                  </a:lnTo>
                  <a:lnTo>
                    <a:pt x="381" y="213"/>
                  </a:lnTo>
                  <a:lnTo>
                    <a:pt x="380" y="214"/>
                  </a:lnTo>
                  <a:lnTo>
                    <a:pt x="380" y="214"/>
                  </a:lnTo>
                  <a:lnTo>
                    <a:pt x="379" y="214"/>
                  </a:lnTo>
                  <a:lnTo>
                    <a:pt x="378" y="214"/>
                  </a:lnTo>
                  <a:lnTo>
                    <a:pt x="377" y="214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6"/>
                  </a:lnTo>
                  <a:lnTo>
                    <a:pt x="377" y="216"/>
                  </a:lnTo>
                  <a:lnTo>
                    <a:pt x="378" y="217"/>
                  </a:lnTo>
                  <a:lnTo>
                    <a:pt x="379" y="218"/>
                  </a:lnTo>
                  <a:lnTo>
                    <a:pt x="380" y="218"/>
                  </a:lnTo>
                  <a:lnTo>
                    <a:pt x="380" y="218"/>
                  </a:lnTo>
                  <a:lnTo>
                    <a:pt x="380" y="219"/>
                  </a:lnTo>
                  <a:lnTo>
                    <a:pt x="380" y="219"/>
                  </a:lnTo>
                  <a:lnTo>
                    <a:pt x="380" y="220"/>
                  </a:lnTo>
                  <a:lnTo>
                    <a:pt x="380" y="221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1" y="222"/>
                  </a:lnTo>
                  <a:lnTo>
                    <a:pt x="381" y="223"/>
                  </a:lnTo>
                  <a:lnTo>
                    <a:pt x="381" y="223"/>
                  </a:lnTo>
                  <a:lnTo>
                    <a:pt x="382" y="223"/>
                  </a:lnTo>
                  <a:lnTo>
                    <a:pt x="383" y="223"/>
                  </a:lnTo>
                  <a:lnTo>
                    <a:pt x="385" y="223"/>
                  </a:lnTo>
                  <a:lnTo>
                    <a:pt x="386" y="223"/>
                  </a:lnTo>
                  <a:lnTo>
                    <a:pt x="387" y="223"/>
                  </a:lnTo>
                  <a:lnTo>
                    <a:pt x="388" y="223"/>
                  </a:lnTo>
                  <a:lnTo>
                    <a:pt x="389" y="224"/>
                  </a:lnTo>
                  <a:lnTo>
                    <a:pt x="390" y="224"/>
                  </a:lnTo>
                  <a:lnTo>
                    <a:pt x="391" y="225"/>
                  </a:lnTo>
                  <a:lnTo>
                    <a:pt x="392" y="225"/>
                  </a:lnTo>
                  <a:lnTo>
                    <a:pt x="392" y="226"/>
                  </a:lnTo>
                  <a:lnTo>
                    <a:pt x="392" y="226"/>
                  </a:lnTo>
                  <a:lnTo>
                    <a:pt x="393" y="227"/>
                  </a:lnTo>
                  <a:lnTo>
                    <a:pt x="393" y="227"/>
                  </a:lnTo>
                  <a:lnTo>
                    <a:pt x="393" y="228"/>
                  </a:lnTo>
                  <a:lnTo>
                    <a:pt x="393" y="229"/>
                  </a:lnTo>
                  <a:lnTo>
                    <a:pt x="393" y="231"/>
                  </a:lnTo>
                  <a:lnTo>
                    <a:pt x="393" y="233"/>
                  </a:lnTo>
                  <a:lnTo>
                    <a:pt x="393" y="235"/>
                  </a:lnTo>
                  <a:lnTo>
                    <a:pt x="393" y="236"/>
                  </a:lnTo>
                  <a:lnTo>
                    <a:pt x="393" y="238"/>
                  </a:lnTo>
                  <a:lnTo>
                    <a:pt x="392" y="241"/>
                  </a:lnTo>
                  <a:lnTo>
                    <a:pt x="392" y="243"/>
                  </a:lnTo>
                  <a:lnTo>
                    <a:pt x="392" y="245"/>
                  </a:lnTo>
                  <a:lnTo>
                    <a:pt x="391" y="248"/>
                  </a:lnTo>
                  <a:lnTo>
                    <a:pt x="391" y="251"/>
                  </a:lnTo>
                  <a:lnTo>
                    <a:pt x="391" y="252"/>
                  </a:lnTo>
                  <a:lnTo>
                    <a:pt x="391" y="256"/>
                  </a:lnTo>
                  <a:lnTo>
                    <a:pt x="391" y="256"/>
                  </a:lnTo>
                  <a:lnTo>
                    <a:pt x="391" y="257"/>
                  </a:lnTo>
                  <a:lnTo>
                    <a:pt x="391" y="257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3" y="259"/>
                  </a:lnTo>
                  <a:lnTo>
                    <a:pt x="394" y="259"/>
                  </a:lnTo>
                  <a:lnTo>
                    <a:pt x="395" y="260"/>
                  </a:lnTo>
                  <a:lnTo>
                    <a:pt x="396" y="261"/>
                  </a:lnTo>
                  <a:lnTo>
                    <a:pt x="396" y="261"/>
                  </a:lnTo>
                  <a:lnTo>
                    <a:pt x="397" y="262"/>
                  </a:lnTo>
                  <a:lnTo>
                    <a:pt x="397" y="263"/>
                  </a:lnTo>
                  <a:lnTo>
                    <a:pt x="397" y="264"/>
                  </a:lnTo>
                  <a:lnTo>
                    <a:pt x="398" y="266"/>
                  </a:lnTo>
                  <a:lnTo>
                    <a:pt x="398" y="267"/>
                  </a:lnTo>
                  <a:lnTo>
                    <a:pt x="398" y="268"/>
                  </a:lnTo>
                  <a:lnTo>
                    <a:pt x="398" y="269"/>
                  </a:lnTo>
                  <a:lnTo>
                    <a:pt x="398" y="270"/>
                  </a:lnTo>
                  <a:lnTo>
                    <a:pt x="398" y="272"/>
                  </a:lnTo>
                  <a:lnTo>
                    <a:pt x="398" y="273"/>
                  </a:lnTo>
                  <a:lnTo>
                    <a:pt x="398" y="274"/>
                  </a:lnTo>
                  <a:lnTo>
                    <a:pt x="398" y="275"/>
                  </a:lnTo>
                  <a:lnTo>
                    <a:pt x="398" y="275"/>
                  </a:lnTo>
                  <a:lnTo>
                    <a:pt x="397" y="275"/>
                  </a:lnTo>
                  <a:lnTo>
                    <a:pt x="397" y="275"/>
                  </a:lnTo>
                  <a:lnTo>
                    <a:pt x="397" y="275"/>
                  </a:lnTo>
                  <a:lnTo>
                    <a:pt x="396" y="276"/>
                  </a:lnTo>
                  <a:lnTo>
                    <a:pt x="396" y="277"/>
                  </a:lnTo>
                  <a:lnTo>
                    <a:pt x="396" y="277"/>
                  </a:lnTo>
                  <a:lnTo>
                    <a:pt x="395" y="278"/>
                  </a:lnTo>
                  <a:lnTo>
                    <a:pt x="394" y="283"/>
                  </a:lnTo>
                  <a:lnTo>
                    <a:pt x="394" y="284"/>
                  </a:lnTo>
                  <a:lnTo>
                    <a:pt x="394" y="284"/>
                  </a:lnTo>
                  <a:lnTo>
                    <a:pt x="394" y="285"/>
                  </a:lnTo>
                  <a:lnTo>
                    <a:pt x="394" y="285"/>
                  </a:lnTo>
                  <a:lnTo>
                    <a:pt x="394" y="286"/>
                  </a:lnTo>
                  <a:lnTo>
                    <a:pt x="394" y="286"/>
                  </a:lnTo>
                  <a:lnTo>
                    <a:pt x="394" y="287"/>
                  </a:lnTo>
                  <a:lnTo>
                    <a:pt x="395" y="288"/>
                  </a:lnTo>
                  <a:lnTo>
                    <a:pt x="396" y="289"/>
                  </a:lnTo>
                  <a:lnTo>
                    <a:pt x="396" y="289"/>
                  </a:lnTo>
                  <a:lnTo>
                    <a:pt x="396" y="289"/>
                  </a:lnTo>
                  <a:lnTo>
                    <a:pt x="397" y="290"/>
                  </a:lnTo>
                  <a:lnTo>
                    <a:pt x="397" y="292"/>
                  </a:lnTo>
                  <a:lnTo>
                    <a:pt x="397" y="293"/>
                  </a:lnTo>
                  <a:lnTo>
                    <a:pt x="397" y="294"/>
                  </a:lnTo>
                  <a:lnTo>
                    <a:pt x="397" y="298"/>
                  </a:lnTo>
                  <a:lnTo>
                    <a:pt x="397" y="299"/>
                  </a:lnTo>
                  <a:lnTo>
                    <a:pt x="398" y="302"/>
                  </a:lnTo>
                  <a:lnTo>
                    <a:pt x="398" y="303"/>
                  </a:lnTo>
                  <a:lnTo>
                    <a:pt x="399" y="304"/>
                  </a:lnTo>
                  <a:lnTo>
                    <a:pt x="400" y="306"/>
                  </a:lnTo>
                  <a:lnTo>
                    <a:pt x="401" y="308"/>
                  </a:lnTo>
                  <a:lnTo>
                    <a:pt x="401" y="309"/>
                  </a:lnTo>
                  <a:lnTo>
                    <a:pt x="401" y="310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1" y="312"/>
                  </a:lnTo>
                  <a:lnTo>
                    <a:pt x="399" y="315"/>
                  </a:lnTo>
                  <a:lnTo>
                    <a:pt x="398" y="317"/>
                  </a:lnTo>
                  <a:lnTo>
                    <a:pt x="398" y="318"/>
                  </a:lnTo>
                  <a:lnTo>
                    <a:pt x="397" y="319"/>
                  </a:lnTo>
                  <a:lnTo>
                    <a:pt x="397" y="320"/>
                  </a:lnTo>
                  <a:lnTo>
                    <a:pt x="397" y="321"/>
                  </a:lnTo>
                  <a:lnTo>
                    <a:pt x="396" y="324"/>
                  </a:lnTo>
                  <a:lnTo>
                    <a:pt x="396" y="326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7" y="330"/>
                  </a:lnTo>
                  <a:lnTo>
                    <a:pt x="397" y="332"/>
                  </a:lnTo>
                  <a:lnTo>
                    <a:pt x="397" y="333"/>
                  </a:lnTo>
                  <a:lnTo>
                    <a:pt x="399" y="336"/>
                  </a:lnTo>
                  <a:lnTo>
                    <a:pt x="400" y="337"/>
                  </a:lnTo>
                  <a:lnTo>
                    <a:pt x="400" y="338"/>
                  </a:lnTo>
                  <a:lnTo>
                    <a:pt x="402" y="340"/>
                  </a:lnTo>
                  <a:lnTo>
                    <a:pt x="402" y="341"/>
                  </a:lnTo>
                  <a:lnTo>
                    <a:pt x="403" y="341"/>
                  </a:lnTo>
                  <a:lnTo>
                    <a:pt x="403" y="342"/>
                  </a:lnTo>
                  <a:lnTo>
                    <a:pt x="403" y="343"/>
                  </a:lnTo>
                  <a:lnTo>
                    <a:pt x="403" y="344"/>
                  </a:lnTo>
                  <a:lnTo>
                    <a:pt x="403" y="345"/>
                  </a:lnTo>
                  <a:lnTo>
                    <a:pt x="402" y="347"/>
                  </a:lnTo>
                  <a:lnTo>
                    <a:pt x="402" y="348"/>
                  </a:lnTo>
                  <a:lnTo>
                    <a:pt x="402" y="349"/>
                  </a:lnTo>
                  <a:lnTo>
                    <a:pt x="401" y="350"/>
                  </a:lnTo>
                  <a:lnTo>
                    <a:pt x="400" y="352"/>
                  </a:lnTo>
                  <a:lnTo>
                    <a:pt x="399" y="353"/>
                  </a:lnTo>
                  <a:lnTo>
                    <a:pt x="398" y="355"/>
                  </a:lnTo>
                  <a:lnTo>
                    <a:pt x="397" y="357"/>
                  </a:lnTo>
                  <a:lnTo>
                    <a:pt x="397" y="359"/>
                  </a:lnTo>
                  <a:lnTo>
                    <a:pt x="396" y="360"/>
                  </a:lnTo>
                  <a:lnTo>
                    <a:pt x="396" y="361"/>
                  </a:lnTo>
                  <a:lnTo>
                    <a:pt x="395" y="361"/>
                  </a:lnTo>
                  <a:lnTo>
                    <a:pt x="395" y="362"/>
                  </a:lnTo>
                  <a:lnTo>
                    <a:pt x="392" y="364"/>
                  </a:lnTo>
                  <a:lnTo>
                    <a:pt x="390" y="366"/>
                  </a:lnTo>
                  <a:lnTo>
                    <a:pt x="388" y="366"/>
                  </a:lnTo>
                  <a:lnTo>
                    <a:pt x="388" y="367"/>
                  </a:lnTo>
                  <a:lnTo>
                    <a:pt x="386" y="369"/>
                  </a:lnTo>
                  <a:lnTo>
                    <a:pt x="385" y="370"/>
                  </a:lnTo>
                  <a:lnTo>
                    <a:pt x="385" y="370"/>
                  </a:lnTo>
                  <a:lnTo>
                    <a:pt x="385" y="371"/>
                  </a:lnTo>
                  <a:lnTo>
                    <a:pt x="385" y="372"/>
                  </a:lnTo>
                  <a:lnTo>
                    <a:pt x="384" y="373"/>
                  </a:lnTo>
                  <a:lnTo>
                    <a:pt x="384" y="374"/>
                  </a:lnTo>
                  <a:lnTo>
                    <a:pt x="384" y="375"/>
                  </a:lnTo>
                  <a:lnTo>
                    <a:pt x="384" y="376"/>
                  </a:lnTo>
                  <a:lnTo>
                    <a:pt x="385" y="377"/>
                  </a:lnTo>
                  <a:lnTo>
                    <a:pt x="385" y="378"/>
                  </a:lnTo>
                  <a:lnTo>
                    <a:pt x="385" y="378"/>
                  </a:lnTo>
                  <a:lnTo>
                    <a:pt x="385" y="379"/>
                  </a:lnTo>
                  <a:lnTo>
                    <a:pt x="384" y="380"/>
                  </a:lnTo>
                  <a:lnTo>
                    <a:pt x="384" y="380"/>
                  </a:lnTo>
                  <a:lnTo>
                    <a:pt x="384" y="381"/>
                  </a:lnTo>
                  <a:lnTo>
                    <a:pt x="383" y="381"/>
                  </a:lnTo>
                  <a:lnTo>
                    <a:pt x="383" y="382"/>
                  </a:lnTo>
                  <a:lnTo>
                    <a:pt x="383" y="382"/>
                  </a:lnTo>
                  <a:lnTo>
                    <a:pt x="382" y="382"/>
                  </a:lnTo>
                  <a:lnTo>
                    <a:pt x="382" y="383"/>
                  </a:lnTo>
                  <a:lnTo>
                    <a:pt x="380" y="384"/>
                  </a:lnTo>
                  <a:lnTo>
                    <a:pt x="379" y="384"/>
                  </a:lnTo>
                  <a:lnTo>
                    <a:pt x="379" y="384"/>
                  </a:lnTo>
                  <a:lnTo>
                    <a:pt x="379" y="385"/>
                  </a:lnTo>
                  <a:lnTo>
                    <a:pt x="378" y="385"/>
                  </a:lnTo>
                  <a:lnTo>
                    <a:pt x="378" y="385"/>
                  </a:lnTo>
                  <a:lnTo>
                    <a:pt x="378" y="386"/>
                  </a:lnTo>
                  <a:lnTo>
                    <a:pt x="378" y="386"/>
                  </a:lnTo>
                  <a:lnTo>
                    <a:pt x="378" y="387"/>
                  </a:lnTo>
                  <a:lnTo>
                    <a:pt x="378" y="387"/>
                  </a:lnTo>
                  <a:lnTo>
                    <a:pt x="378" y="388"/>
                  </a:lnTo>
                  <a:lnTo>
                    <a:pt x="378" y="389"/>
                  </a:lnTo>
                  <a:lnTo>
                    <a:pt x="379" y="389"/>
                  </a:lnTo>
                  <a:lnTo>
                    <a:pt x="379" y="390"/>
                  </a:lnTo>
                  <a:lnTo>
                    <a:pt x="379" y="390"/>
                  </a:lnTo>
                  <a:lnTo>
                    <a:pt x="380" y="391"/>
                  </a:lnTo>
                  <a:lnTo>
                    <a:pt x="380" y="392"/>
                  </a:lnTo>
                  <a:lnTo>
                    <a:pt x="381" y="392"/>
                  </a:lnTo>
                  <a:lnTo>
                    <a:pt x="383" y="393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5"/>
                  </a:lnTo>
                  <a:lnTo>
                    <a:pt x="383" y="396"/>
                  </a:lnTo>
                  <a:lnTo>
                    <a:pt x="383" y="397"/>
                  </a:lnTo>
                  <a:lnTo>
                    <a:pt x="382" y="397"/>
                  </a:lnTo>
                  <a:lnTo>
                    <a:pt x="382" y="398"/>
                  </a:lnTo>
                  <a:lnTo>
                    <a:pt x="382" y="398"/>
                  </a:lnTo>
                  <a:lnTo>
                    <a:pt x="381" y="398"/>
                  </a:lnTo>
                  <a:lnTo>
                    <a:pt x="381" y="399"/>
                  </a:lnTo>
                  <a:lnTo>
                    <a:pt x="379" y="399"/>
                  </a:lnTo>
                  <a:lnTo>
                    <a:pt x="379" y="400"/>
                  </a:lnTo>
                  <a:lnTo>
                    <a:pt x="378" y="400"/>
                  </a:lnTo>
                  <a:lnTo>
                    <a:pt x="377" y="402"/>
                  </a:lnTo>
                  <a:lnTo>
                    <a:pt x="376" y="403"/>
                  </a:lnTo>
                  <a:lnTo>
                    <a:pt x="375" y="403"/>
                  </a:lnTo>
                  <a:lnTo>
                    <a:pt x="375" y="404"/>
                  </a:lnTo>
                  <a:lnTo>
                    <a:pt x="375" y="405"/>
                  </a:lnTo>
                  <a:lnTo>
                    <a:pt x="374" y="405"/>
                  </a:lnTo>
                  <a:lnTo>
                    <a:pt x="374" y="406"/>
                  </a:lnTo>
                  <a:lnTo>
                    <a:pt x="374" y="407"/>
                  </a:lnTo>
                  <a:lnTo>
                    <a:pt x="374" y="407"/>
                  </a:lnTo>
                  <a:lnTo>
                    <a:pt x="374" y="408"/>
                  </a:lnTo>
                  <a:lnTo>
                    <a:pt x="374" y="409"/>
                  </a:lnTo>
                  <a:lnTo>
                    <a:pt x="375" y="410"/>
                  </a:lnTo>
                  <a:lnTo>
                    <a:pt x="376" y="412"/>
                  </a:lnTo>
                  <a:lnTo>
                    <a:pt x="376" y="413"/>
                  </a:lnTo>
                  <a:lnTo>
                    <a:pt x="378" y="415"/>
                  </a:lnTo>
                  <a:lnTo>
                    <a:pt x="378" y="416"/>
                  </a:lnTo>
                  <a:lnTo>
                    <a:pt x="378" y="416"/>
                  </a:lnTo>
                  <a:lnTo>
                    <a:pt x="379" y="417"/>
                  </a:lnTo>
                  <a:lnTo>
                    <a:pt x="379" y="418"/>
                  </a:lnTo>
                  <a:lnTo>
                    <a:pt x="379" y="419"/>
                  </a:lnTo>
                  <a:lnTo>
                    <a:pt x="379" y="420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2"/>
                  </a:lnTo>
                  <a:lnTo>
                    <a:pt x="378" y="423"/>
                  </a:lnTo>
                  <a:lnTo>
                    <a:pt x="377" y="424"/>
                  </a:lnTo>
                  <a:lnTo>
                    <a:pt x="376" y="425"/>
                  </a:lnTo>
                  <a:lnTo>
                    <a:pt x="375" y="426"/>
                  </a:lnTo>
                  <a:lnTo>
                    <a:pt x="375" y="427"/>
                  </a:lnTo>
                  <a:lnTo>
                    <a:pt x="374" y="428"/>
                  </a:lnTo>
                  <a:lnTo>
                    <a:pt x="374" y="429"/>
                  </a:lnTo>
                  <a:lnTo>
                    <a:pt x="373" y="432"/>
                  </a:lnTo>
                  <a:lnTo>
                    <a:pt x="372" y="435"/>
                  </a:lnTo>
                  <a:lnTo>
                    <a:pt x="372" y="436"/>
                  </a:lnTo>
                  <a:lnTo>
                    <a:pt x="371" y="436"/>
                  </a:lnTo>
                  <a:lnTo>
                    <a:pt x="371" y="436"/>
                  </a:lnTo>
                  <a:lnTo>
                    <a:pt x="371" y="436"/>
                  </a:lnTo>
                  <a:lnTo>
                    <a:pt x="370" y="437"/>
                  </a:lnTo>
                  <a:lnTo>
                    <a:pt x="367" y="438"/>
                  </a:lnTo>
                  <a:lnTo>
                    <a:pt x="366" y="439"/>
                  </a:lnTo>
                  <a:lnTo>
                    <a:pt x="364" y="439"/>
                  </a:lnTo>
                  <a:lnTo>
                    <a:pt x="364" y="440"/>
                  </a:lnTo>
                  <a:lnTo>
                    <a:pt x="361" y="442"/>
                  </a:lnTo>
                  <a:lnTo>
                    <a:pt x="359" y="443"/>
                  </a:lnTo>
                  <a:lnTo>
                    <a:pt x="358" y="444"/>
                  </a:lnTo>
                  <a:lnTo>
                    <a:pt x="357" y="445"/>
                  </a:lnTo>
                  <a:lnTo>
                    <a:pt x="356" y="445"/>
                  </a:lnTo>
                  <a:lnTo>
                    <a:pt x="355" y="445"/>
                  </a:lnTo>
                  <a:lnTo>
                    <a:pt x="355" y="445"/>
                  </a:lnTo>
                  <a:lnTo>
                    <a:pt x="354" y="446"/>
                  </a:lnTo>
                  <a:lnTo>
                    <a:pt x="353" y="446"/>
                  </a:lnTo>
                  <a:lnTo>
                    <a:pt x="352" y="446"/>
                  </a:lnTo>
                  <a:lnTo>
                    <a:pt x="351" y="446"/>
                  </a:lnTo>
                  <a:lnTo>
                    <a:pt x="350" y="445"/>
                  </a:lnTo>
                  <a:lnTo>
                    <a:pt x="347" y="445"/>
                  </a:lnTo>
                  <a:lnTo>
                    <a:pt x="346" y="445"/>
                  </a:lnTo>
                  <a:lnTo>
                    <a:pt x="345" y="445"/>
                  </a:lnTo>
                  <a:lnTo>
                    <a:pt x="345" y="445"/>
                  </a:lnTo>
                  <a:lnTo>
                    <a:pt x="344" y="445"/>
                  </a:lnTo>
                  <a:lnTo>
                    <a:pt x="344" y="445"/>
                  </a:lnTo>
                  <a:lnTo>
                    <a:pt x="344" y="445"/>
                  </a:lnTo>
                  <a:lnTo>
                    <a:pt x="344" y="446"/>
                  </a:lnTo>
                  <a:lnTo>
                    <a:pt x="343" y="450"/>
                  </a:lnTo>
                  <a:lnTo>
                    <a:pt x="343" y="452"/>
                  </a:lnTo>
                  <a:lnTo>
                    <a:pt x="342" y="454"/>
                  </a:lnTo>
                  <a:lnTo>
                    <a:pt x="342" y="457"/>
                  </a:lnTo>
                  <a:lnTo>
                    <a:pt x="342" y="459"/>
                  </a:lnTo>
                  <a:lnTo>
                    <a:pt x="342" y="460"/>
                  </a:lnTo>
                  <a:lnTo>
                    <a:pt x="341" y="463"/>
                  </a:lnTo>
                  <a:lnTo>
                    <a:pt x="341" y="464"/>
                  </a:lnTo>
                  <a:lnTo>
                    <a:pt x="341" y="464"/>
                  </a:lnTo>
                  <a:lnTo>
                    <a:pt x="341" y="465"/>
                  </a:lnTo>
                  <a:lnTo>
                    <a:pt x="341" y="466"/>
                  </a:lnTo>
                  <a:lnTo>
                    <a:pt x="341" y="468"/>
                  </a:lnTo>
                  <a:lnTo>
                    <a:pt x="343" y="470"/>
                  </a:lnTo>
                  <a:lnTo>
                    <a:pt x="343" y="472"/>
                  </a:lnTo>
                  <a:lnTo>
                    <a:pt x="343" y="473"/>
                  </a:lnTo>
                  <a:lnTo>
                    <a:pt x="344" y="477"/>
                  </a:lnTo>
                  <a:lnTo>
                    <a:pt x="344" y="479"/>
                  </a:lnTo>
                  <a:lnTo>
                    <a:pt x="344" y="480"/>
                  </a:lnTo>
                  <a:lnTo>
                    <a:pt x="344" y="481"/>
                  </a:lnTo>
                  <a:lnTo>
                    <a:pt x="344" y="482"/>
                  </a:lnTo>
                  <a:lnTo>
                    <a:pt x="344" y="483"/>
                  </a:lnTo>
                  <a:lnTo>
                    <a:pt x="344" y="484"/>
                  </a:lnTo>
                  <a:lnTo>
                    <a:pt x="344" y="484"/>
                  </a:lnTo>
                  <a:lnTo>
                    <a:pt x="343" y="485"/>
                  </a:lnTo>
                  <a:lnTo>
                    <a:pt x="343" y="486"/>
                  </a:lnTo>
                  <a:lnTo>
                    <a:pt x="343" y="486"/>
                  </a:lnTo>
                  <a:lnTo>
                    <a:pt x="342" y="487"/>
                  </a:lnTo>
                  <a:lnTo>
                    <a:pt x="341" y="487"/>
                  </a:lnTo>
                  <a:lnTo>
                    <a:pt x="340" y="488"/>
                  </a:lnTo>
                  <a:lnTo>
                    <a:pt x="340" y="489"/>
                  </a:lnTo>
                  <a:lnTo>
                    <a:pt x="339" y="489"/>
                  </a:lnTo>
                  <a:lnTo>
                    <a:pt x="337" y="490"/>
                  </a:lnTo>
                  <a:lnTo>
                    <a:pt x="336" y="490"/>
                  </a:lnTo>
                  <a:lnTo>
                    <a:pt x="335" y="491"/>
                  </a:lnTo>
                  <a:lnTo>
                    <a:pt x="335" y="491"/>
                  </a:lnTo>
                  <a:lnTo>
                    <a:pt x="334" y="492"/>
                  </a:lnTo>
                  <a:lnTo>
                    <a:pt x="334" y="492"/>
                  </a:lnTo>
                  <a:lnTo>
                    <a:pt x="333" y="493"/>
                  </a:lnTo>
                  <a:lnTo>
                    <a:pt x="332" y="494"/>
                  </a:lnTo>
                  <a:lnTo>
                    <a:pt x="331" y="495"/>
                  </a:lnTo>
                  <a:lnTo>
                    <a:pt x="330" y="497"/>
                  </a:lnTo>
                  <a:lnTo>
                    <a:pt x="329" y="500"/>
                  </a:lnTo>
                  <a:lnTo>
                    <a:pt x="328" y="501"/>
                  </a:lnTo>
                  <a:lnTo>
                    <a:pt x="328" y="502"/>
                  </a:lnTo>
                  <a:lnTo>
                    <a:pt x="328" y="503"/>
                  </a:lnTo>
                  <a:lnTo>
                    <a:pt x="327" y="505"/>
                  </a:lnTo>
                  <a:lnTo>
                    <a:pt x="327" y="507"/>
                  </a:lnTo>
                  <a:lnTo>
                    <a:pt x="326" y="509"/>
                  </a:lnTo>
                  <a:lnTo>
                    <a:pt x="326" y="510"/>
                  </a:lnTo>
                  <a:lnTo>
                    <a:pt x="326" y="512"/>
                  </a:lnTo>
                  <a:lnTo>
                    <a:pt x="326" y="513"/>
                  </a:lnTo>
                  <a:lnTo>
                    <a:pt x="326" y="515"/>
                  </a:lnTo>
                  <a:lnTo>
                    <a:pt x="326" y="516"/>
                  </a:lnTo>
                  <a:lnTo>
                    <a:pt x="326" y="517"/>
                  </a:lnTo>
                  <a:lnTo>
                    <a:pt x="326" y="518"/>
                  </a:lnTo>
                  <a:lnTo>
                    <a:pt x="326" y="519"/>
                  </a:lnTo>
                  <a:lnTo>
                    <a:pt x="326" y="520"/>
                  </a:lnTo>
                  <a:lnTo>
                    <a:pt x="327" y="521"/>
                  </a:lnTo>
                  <a:lnTo>
                    <a:pt x="328" y="525"/>
                  </a:lnTo>
                  <a:lnTo>
                    <a:pt x="328" y="526"/>
                  </a:lnTo>
                  <a:lnTo>
                    <a:pt x="328" y="526"/>
                  </a:lnTo>
                  <a:lnTo>
                    <a:pt x="328" y="526"/>
                  </a:lnTo>
                  <a:lnTo>
                    <a:pt x="327" y="526"/>
                  </a:lnTo>
                  <a:lnTo>
                    <a:pt x="326" y="525"/>
                  </a:lnTo>
                  <a:lnTo>
                    <a:pt x="326" y="525"/>
                  </a:lnTo>
                  <a:lnTo>
                    <a:pt x="325" y="525"/>
                  </a:lnTo>
                  <a:lnTo>
                    <a:pt x="323" y="526"/>
                  </a:lnTo>
                  <a:lnTo>
                    <a:pt x="323" y="526"/>
                  </a:lnTo>
                  <a:lnTo>
                    <a:pt x="321" y="526"/>
                  </a:lnTo>
                  <a:lnTo>
                    <a:pt x="320" y="527"/>
                  </a:lnTo>
                  <a:lnTo>
                    <a:pt x="320" y="527"/>
                  </a:lnTo>
                  <a:lnTo>
                    <a:pt x="319" y="528"/>
                  </a:lnTo>
                  <a:lnTo>
                    <a:pt x="318" y="528"/>
                  </a:lnTo>
                  <a:lnTo>
                    <a:pt x="317" y="529"/>
                  </a:lnTo>
                  <a:lnTo>
                    <a:pt x="317" y="530"/>
                  </a:lnTo>
                  <a:lnTo>
                    <a:pt x="316" y="530"/>
                  </a:lnTo>
                  <a:lnTo>
                    <a:pt x="316" y="531"/>
                  </a:lnTo>
                  <a:lnTo>
                    <a:pt x="314" y="534"/>
                  </a:lnTo>
                  <a:lnTo>
                    <a:pt x="314" y="534"/>
                  </a:lnTo>
                  <a:lnTo>
                    <a:pt x="314" y="535"/>
                  </a:lnTo>
                  <a:lnTo>
                    <a:pt x="313" y="535"/>
                  </a:lnTo>
                  <a:lnTo>
                    <a:pt x="313" y="535"/>
                  </a:lnTo>
                  <a:lnTo>
                    <a:pt x="313" y="535"/>
                  </a:lnTo>
                  <a:lnTo>
                    <a:pt x="312" y="536"/>
                  </a:lnTo>
                  <a:lnTo>
                    <a:pt x="311" y="536"/>
                  </a:lnTo>
                  <a:lnTo>
                    <a:pt x="310" y="536"/>
                  </a:lnTo>
                  <a:lnTo>
                    <a:pt x="310" y="535"/>
                  </a:lnTo>
                  <a:lnTo>
                    <a:pt x="309" y="535"/>
                  </a:lnTo>
                  <a:lnTo>
                    <a:pt x="309" y="535"/>
                  </a:lnTo>
                  <a:lnTo>
                    <a:pt x="307" y="534"/>
                  </a:lnTo>
                  <a:lnTo>
                    <a:pt x="304" y="532"/>
                  </a:lnTo>
                  <a:lnTo>
                    <a:pt x="303" y="531"/>
                  </a:lnTo>
                  <a:lnTo>
                    <a:pt x="300" y="529"/>
                  </a:lnTo>
                  <a:lnTo>
                    <a:pt x="296" y="526"/>
                  </a:lnTo>
                  <a:lnTo>
                    <a:pt x="294" y="525"/>
                  </a:lnTo>
                  <a:lnTo>
                    <a:pt x="292" y="523"/>
                  </a:lnTo>
                  <a:lnTo>
                    <a:pt x="291" y="522"/>
                  </a:lnTo>
                  <a:lnTo>
                    <a:pt x="290" y="521"/>
                  </a:lnTo>
                  <a:lnTo>
                    <a:pt x="288" y="520"/>
                  </a:lnTo>
                  <a:lnTo>
                    <a:pt x="287" y="519"/>
                  </a:lnTo>
                  <a:lnTo>
                    <a:pt x="287" y="518"/>
                  </a:lnTo>
                  <a:lnTo>
                    <a:pt x="286" y="517"/>
                  </a:lnTo>
                  <a:lnTo>
                    <a:pt x="286" y="516"/>
                  </a:lnTo>
                  <a:lnTo>
                    <a:pt x="285" y="515"/>
                  </a:lnTo>
                  <a:lnTo>
                    <a:pt x="285" y="513"/>
                  </a:lnTo>
                  <a:lnTo>
                    <a:pt x="285" y="512"/>
                  </a:lnTo>
                  <a:lnTo>
                    <a:pt x="284" y="508"/>
                  </a:lnTo>
                  <a:lnTo>
                    <a:pt x="284" y="504"/>
                  </a:lnTo>
                  <a:lnTo>
                    <a:pt x="284" y="500"/>
                  </a:lnTo>
                  <a:lnTo>
                    <a:pt x="283" y="499"/>
                  </a:lnTo>
                  <a:lnTo>
                    <a:pt x="283" y="496"/>
                  </a:lnTo>
                  <a:lnTo>
                    <a:pt x="283" y="495"/>
                  </a:lnTo>
                  <a:lnTo>
                    <a:pt x="282" y="493"/>
                  </a:lnTo>
                  <a:lnTo>
                    <a:pt x="281" y="490"/>
                  </a:lnTo>
                  <a:lnTo>
                    <a:pt x="281" y="488"/>
                  </a:lnTo>
                  <a:lnTo>
                    <a:pt x="281" y="487"/>
                  </a:lnTo>
                  <a:lnTo>
                    <a:pt x="280" y="487"/>
                  </a:lnTo>
                  <a:lnTo>
                    <a:pt x="280" y="486"/>
                  </a:lnTo>
                  <a:lnTo>
                    <a:pt x="279" y="485"/>
                  </a:lnTo>
                  <a:lnTo>
                    <a:pt x="276" y="482"/>
                  </a:lnTo>
                  <a:lnTo>
                    <a:pt x="274" y="479"/>
                  </a:lnTo>
                  <a:lnTo>
                    <a:pt x="271" y="475"/>
                  </a:lnTo>
                  <a:lnTo>
                    <a:pt x="267" y="470"/>
                  </a:lnTo>
                  <a:lnTo>
                    <a:pt x="266" y="469"/>
                  </a:lnTo>
                  <a:lnTo>
                    <a:pt x="264" y="467"/>
                  </a:lnTo>
                  <a:lnTo>
                    <a:pt x="263" y="466"/>
                  </a:lnTo>
                  <a:lnTo>
                    <a:pt x="262" y="465"/>
                  </a:lnTo>
                  <a:lnTo>
                    <a:pt x="261" y="464"/>
                  </a:lnTo>
                  <a:lnTo>
                    <a:pt x="259" y="462"/>
                  </a:lnTo>
                  <a:lnTo>
                    <a:pt x="258" y="461"/>
                  </a:lnTo>
                  <a:lnTo>
                    <a:pt x="257" y="460"/>
                  </a:lnTo>
                  <a:lnTo>
                    <a:pt x="255" y="459"/>
                  </a:lnTo>
                  <a:lnTo>
                    <a:pt x="254" y="458"/>
                  </a:lnTo>
                  <a:lnTo>
                    <a:pt x="252" y="457"/>
                  </a:lnTo>
                  <a:lnTo>
                    <a:pt x="250" y="456"/>
                  </a:lnTo>
                  <a:lnTo>
                    <a:pt x="250" y="456"/>
                  </a:lnTo>
                  <a:lnTo>
                    <a:pt x="248" y="456"/>
                  </a:lnTo>
                  <a:lnTo>
                    <a:pt x="247" y="455"/>
                  </a:lnTo>
                  <a:lnTo>
                    <a:pt x="245" y="455"/>
                  </a:lnTo>
                  <a:lnTo>
                    <a:pt x="244" y="455"/>
                  </a:lnTo>
                  <a:lnTo>
                    <a:pt x="242" y="455"/>
                  </a:lnTo>
                  <a:lnTo>
                    <a:pt x="238" y="455"/>
                  </a:lnTo>
                  <a:lnTo>
                    <a:pt x="235" y="455"/>
                  </a:lnTo>
                  <a:lnTo>
                    <a:pt x="234" y="455"/>
                  </a:lnTo>
                  <a:lnTo>
                    <a:pt x="233" y="455"/>
                  </a:lnTo>
                  <a:lnTo>
                    <a:pt x="232" y="454"/>
                  </a:lnTo>
                  <a:lnTo>
                    <a:pt x="231" y="454"/>
                  </a:lnTo>
                  <a:lnTo>
                    <a:pt x="229" y="453"/>
                  </a:lnTo>
                  <a:lnTo>
                    <a:pt x="228" y="453"/>
                  </a:lnTo>
                  <a:lnTo>
                    <a:pt x="227" y="452"/>
                  </a:lnTo>
                  <a:lnTo>
                    <a:pt x="225" y="451"/>
                  </a:lnTo>
                  <a:lnTo>
                    <a:pt x="223" y="450"/>
                  </a:lnTo>
                  <a:lnTo>
                    <a:pt x="223" y="450"/>
                  </a:lnTo>
                  <a:lnTo>
                    <a:pt x="221" y="448"/>
                  </a:lnTo>
                  <a:lnTo>
                    <a:pt x="220" y="447"/>
                  </a:lnTo>
                  <a:lnTo>
                    <a:pt x="219" y="446"/>
                  </a:lnTo>
                  <a:lnTo>
                    <a:pt x="218" y="445"/>
                  </a:lnTo>
                  <a:lnTo>
                    <a:pt x="218" y="445"/>
                  </a:lnTo>
                  <a:lnTo>
                    <a:pt x="217" y="443"/>
                  </a:lnTo>
                  <a:lnTo>
                    <a:pt x="217" y="442"/>
                  </a:lnTo>
                  <a:lnTo>
                    <a:pt x="216" y="441"/>
                  </a:lnTo>
                  <a:lnTo>
                    <a:pt x="216" y="440"/>
                  </a:lnTo>
                  <a:lnTo>
                    <a:pt x="215" y="435"/>
                  </a:lnTo>
                  <a:lnTo>
                    <a:pt x="215" y="433"/>
                  </a:lnTo>
                  <a:lnTo>
                    <a:pt x="214" y="432"/>
                  </a:lnTo>
                  <a:lnTo>
                    <a:pt x="214" y="431"/>
                  </a:lnTo>
                  <a:lnTo>
                    <a:pt x="214" y="430"/>
                  </a:lnTo>
                  <a:lnTo>
                    <a:pt x="213" y="429"/>
                  </a:lnTo>
                  <a:lnTo>
                    <a:pt x="213" y="429"/>
                  </a:lnTo>
                  <a:lnTo>
                    <a:pt x="212" y="428"/>
                  </a:lnTo>
                  <a:lnTo>
                    <a:pt x="209" y="425"/>
                  </a:lnTo>
                  <a:lnTo>
                    <a:pt x="206" y="421"/>
                  </a:lnTo>
                  <a:lnTo>
                    <a:pt x="201" y="416"/>
                  </a:lnTo>
                  <a:lnTo>
                    <a:pt x="200" y="415"/>
                  </a:lnTo>
                  <a:lnTo>
                    <a:pt x="200" y="415"/>
                  </a:lnTo>
                  <a:lnTo>
                    <a:pt x="199" y="414"/>
                  </a:lnTo>
                  <a:lnTo>
                    <a:pt x="199" y="413"/>
                  </a:lnTo>
                  <a:lnTo>
                    <a:pt x="198" y="412"/>
                  </a:lnTo>
                  <a:lnTo>
                    <a:pt x="197" y="409"/>
                  </a:lnTo>
                  <a:lnTo>
                    <a:pt x="196" y="408"/>
                  </a:lnTo>
                  <a:lnTo>
                    <a:pt x="195" y="406"/>
                  </a:lnTo>
                  <a:lnTo>
                    <a:pt x="193" y="403"/>
                  </a:lnTo>
                  <a:lnTo>
                    <a:pt x="192" y="402"/>
                  </a:lnTo>
                  <a:lnTo>
                    <a:pt x="191" y="401"/>
                  </a:lnTo>
                  <a:lnTo>
                    <a:pt x="189" y="398"/>
                  </a:lnTo>
                  <a:lnTo>
                    <a:pt x="189" y="397"/>
                  </a:lnTo>
                  <a:lnTo>
                    <a:pt x="188" y="396"/>
                  </a:lnTo>
                  <a:lnTo>
                    <a:pt x="188" y="395"/>
                  </a:lnTo>
                  <a:lnTo>
                    <a:pt x="187" y="395"/>
                  </a:lnTo>
                  <a:lnTo>
                    <a:pt x="184" y="392"/>
                  </a:lnTo>
                  <a:lnTo>
                    <a:pt x="183" y="391"/>
                  </a:lnTo>
                  <a:lnTo>
                    <a:pt x="182" y="390"/>
                  </a:lnTo>
                  <a:lnTo>
                    <a:pt x="181" y="388"/>
                  </a:lnTo>
                  <a:lnTo>
                    <a:pt x="180" y="387"/>
                  </a:lnTo>
                  <a:lnTo>
                    <a:pt x="179" y="387"/>
                  </a:lnTo>
                  <a:lnTo>
                    <a:pt x="177" y="384"/>
                  </a:lnTo>
                  <a:lnTo>
                    <a:pt x="176" y="384"/>
                  </a:lnTo>
                  <a:lnTo>
                    <a:pt x="176" y="383"/>
                  </a:lnTo>
                  <a:lnTo>
                    <a:pt x="175" y="382"/>
                  </a:lnTo>
                  <a:lnTo>
                    <a:pt x="175" y="381"/>
                  </a:lnTo>
                  <a:lnTo>
                    <a:pt x="174" y="380"/>
                  </a:lnTo>
                  <a:lnTo>
                    <a:pt x="174" y="379"/>
                  </a:lnTo>
                  <a:lnTo>
                    <a:pt x="174" y="378"/>
                  </a:lnTo>
                  <a:lnTo>
                    <a:pt x="173" y="374"/>
                  </a:lnTo>
                  <a:lnTo>
                    <a:pt x="173" y="372"/>
                  </a:lnTo>
                  <a:lnTo>
                    <a:pt x="173" y="371"/>
                  </a:lnTo>
                  <a:lnTo>
                    <a:pt x="172" y="370"/>
                  </a:lnTo>
                  <a:lnTo>
                    <a:pt x="172" y="369"/>
                  </a:lnTo>
                  <a:lnTo>
                    <a:pt x="171" y="369"/>
                  </a:lnTo>
                  <a:lnTo>
                    <a:pt x="171" y="368"/>
                  </a:lnTo>
                  <a:lnTo>
                    <a:pt x="170" y="367"/>
                  </a:lnTo>
                  <a:lnTo>
                    <a:pt x="168" y="365"/>
                  </a:lnTo>
                  <a:lnTo>
                    <a:pt x="165" y="362"/>
                  </a:lnTo>
                  <a:lnTo>
                    <a:pt x="162" y="358"/>
                  </a:lnTo>
                  <a:lnTo>
                    <a:pt x="160" y="357"/>
                  </a:lnTo>
                  <a:lnTo>
                    <a:pt x="159" y="355"/>
                  </a:lnTo>
                  <a:lnTo>
                    <a:pt x="158" y="354"/>
                  </a:lnTo>
                  <a:lnTo>
                    <a:pt x="156" y="353"/>
                  </a:lnTo>
                  <a:lnTo>
                    <a:pt x="155" y="353"/>
                  </a:lnTo>
                  <a:lnTo>
                    <a:pt x="155" y="352"/>
                  </a:lnTo>
                  <a:lnTo>
                    <a:pt x="153" y="351"/>
                  </a:lnTo>
                  <a:lnTo>
                    <a:pt x="151" y="350"/>
                  </a:lnTo>
                  <a:lnTo>
                    <a:pt x="150" y="350"/>
                  </a:lnTo>
                  <a:lnTo>
                    <a:pt x="149" y="349"/>
                  </a:lnTo>
                  <a:lnTo>
                    <a:pt x="148" y="349"/>
                  </a:lnTo>
                  <a:lnTo>
                    <a:pt x="145" y="348"/>
                  </a:lnTo>
                  <a:lnTo>
                    <a:pt x="143" y="347"/>
                  </a:lnTo>
                  <a:lnTo>
                    <a:pt x="138" y="346"/>
                  </a:lnTo>
                  <a:lnTo>
                    <a:pt x="136" y="346"/>
                  </a:lnTo>
                  <a:lnTo>
                    <a:pt x="134" y="346"/>
                  </a:lnTo>
                  <a:lnTo>
                    <a:pt x="134" y="346"/>
                  </a:lnTo>
                  <a:lnTo>
                    <a:pt x="133" y="346"/>
                  </a:lnTo>
                  <a:lnTo>
                    <a:pt x="133" y="346"/>
                  </a:lnTo>
                  <a:lnTo>
                    <a:pt x="132" y="346"/>
                  </a:lnTo>
                  <a:lnTo>
                    <a:pt x="131" y="347"/>
                  </a:lnTo>
                  <a:lnTo>
                    <a:pt x="131" y="347"/>
                  </a:lnTo>
                  <a:lnTo>
                    <a:pt x="131" y="348"/>
                  </a:lnTo>
                  <a:lnTo>
                    <a:pt x="130" y="349"/>
                  </a:lnTo>
                  <a:lnTo>
                    <a:pt x="129" y="350"/>
                  </a:lnTo>
                  <a:lnTo>
                    <a:pt x="129" y="350"/>
                  </a:lnTo>
                  <a:lnTo>
                    <a:pt x="129" y="350"/>
                  </a:lnTo>
                  <a:lnTo>
                    <a:pt x="128" y="350"/>
                  </a:lnTo>
                  <a:lnTo>
                    <a:pt x="127" y="351"/>
                  </a:lnTo>
                  <a:lnTo>
                    <a:pt x="127" y="351"/>
                  </a:lnTo>
                  <a:lnTo>
                    <a:pt x="126" y="350"/>
                  </a:lnTo>
                  <a:lnTo>
                    <a:pt x="125" y="350"/>
                  </a:lnTo>
                  <a:lnTo>
                    <a:pt x="122" y="350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7" y="348"/>
                  </a:lnTo>
                  <a:lnTo>
                    <a:pt x="114" y="348"/>
                  </a:lnTo>
                  <a:lnTo>
                    <a:pt x="112" y="348"/>
                  </a:lnTo>
                  <a:lnTo>
                    <a:pt x="110" y="348"/>
                  </a:lnTo>
                  <a:lnTo>
                    <a:pt x="109" y="348"/>
                  </a:lnTo>
                  <a:lnTo>
                    <a:pt x="107" y="347"/>
                  </a:lnTo>
                  <a:lnTo>
                    <a:pt x="106" y="347"/>
                  </a:lnTo>
                  <a:lnTo>
                    <a:pt x="105" y="346"/>
                  </a:lnTo>
                  <a:lnTo>
                    <a:pt x="103" y="346"/>
                  </a:lnTo>
                  <a:lnTo>
                    <a:pt x="102" y="345"/>
                  </a:lnTo>
                  <a:lnTo>
                    <a:pt x="102" y="345"/>
                  </a:lnTo>
                  <a:lnTo>
                    <a:pt x="101" y="344"/>
                  </a:lnTo>
                  <a:lnTo>
                    <a:pt x="100" y="343"/>
                  </a:lnTo>
                  <a:lnTo>
                    <a:pt x="100" y="342"/>
                  </a:lnTo>
                  <a:lnTo>
                    <a:pt x="99" y="342"/>
                  </a:lnTo>
                  <a:lnTo>
                    <a:pt x="98" y="339"/>
                  </a:lnTo>
                  <a:lnTo>
                    <a:pt x="96" y="335"/>
                  </a:lnTo>
                  <a:lnTo>
                    <a:pt x="95" y="334"/>
                  </a:lnTo>
                  <a:lnTo>
                    <a:pt x="94" y="332"/>
                  </a:lnTo>
                  <a:lnTo>
                    <a:pt x="94" y="331"/>
                  </a:lnTo>
                  <a:lnTo>
                    <a:pt x="93" y="328"/>
                  </a:lnTo>
                  <a:lnTo>
                    <a:pt x="92" y="326"/>
                  </a:lnTo>
                  <a:lnTo>
                    <a:pt x="92" y="325"/>
                  </a:lnTo>
                  <a:lnTo>
                    <a:pt x="91" y="324"/>
                  </a:lnTo>
                  <a:lnTo>
                    <a:pt x="91" y="323"/>
                  </a:lnTo>
                  <a:lnTo>
                    <a:pt x="90" y="321"/>
                  </a:lnTo>
                  <a:lnTo>
                    <a:pt x="89" y="320"/>
                  </a:lnTo>
                  <a:lnTo>
                    <a:pt x="88" y="319"/>
                  </a:lnTo>
                  <a:lnTo>
                    <a:pt x="86" y="317"/>
                  </a:lnTo>
                  <a:lnTo>
                    <a:pt x="85" y="316"/>
                  </a:lnTo>
                  <a:lnTo>
                    <a:pt x="79" y="312"/>
                  </a:lnTo>
                  <a:lnTo>
                    <a:pt x="78" y="311"/>
                  </a:lnTo>
                  <a:lnTo>
                    <a:pt x="77" y="310"/>
                  </a:lnTo>
                  <a:lnTo>
                    <a:pt x="76" y="309"/>
                  </a:lnTo>
                  <a:lnTo>
                    <a:pt x="74" y="309"/>
                  </a:lnTo>
                  <a:lnTo>
                    <a:pt x="71" y="307"/>
                  </a:lnTo>
                  <a:lnTo>
                    <a:pt x="69" y="306"/>
                  </a:lnTo>
                  <a:lnTo>
                    <a:pt x="68" y="306"/>
                  </a:lnTo>
                  <a:lnTo>
                    <a:pt x="67" y="305"/>
                  </a:lnTo>
                  <a:lnTo>
                    <a:pt x="66" y="304"/>
                  </a:lnTo>
                  <a:lnTo>
                    <a:pt x="65" y="303"/>
                  </a:lnTo>
                  <a:lnTo>
                    <a:pt x="65" y="303"/>
                  </a:lnTo>
                  <a:lnTo>
                    <a:pt x="65" y="302"/>
                  </a:lnTo>
                  <a:lnTo>
                    <a:pt x="64" y="302"/>
                  </a:lnTo>
                  <a:lnTo>
                    <a:pt x="64" y="301"/>
                  </a:lnTo>
                  <a:lnTo>
                    <a:pt x="64" y="300"/>
                  </a:lnTo>
                  <a:lnTo>
                    <a:pt x="63" y="299"/>
                  </a:lnTo>
                  <a:lnTo>
                    <a:pt x="63" y="298"/>
                  </a:lnTo>
                  <a:lnTo>
                    <a:pt x="62" y="294"/>
                  </a:lnTo>
                  <a:lnTo>
                    <a:pt x="61" y="292"/>
                  </a:lnTo>
                  <a:lnTo>
                    <a:pt x="60" y="290"/>
                  </a:lnTo>
                  <a:lnTo>
                    <a:pt x="59" y="286"/>
                  </a:lnTo>
                  <a:lnTo>
                    <a:pt x="59" y="285"/>
                  </a:lnTo>
                  <a:lnTo>
                    <a:pt x="59" y="284"/>
                  </a:lnTo>
                  <a:lnTo>
                    <a:pt x="59" y="283"/>
                  </a:lnTo>
                  <a:lnTo>
                    <a:pt x="59" y="282"/>
                  </a:lnTo>
                  <a:lnTo>
                    <a:pt x="59" y="281"/>
                  </a:lnTo>
                  <a:lnTo>
                    <a:pt x="59" y="279"/>
                  </a:lnTo>
                  <a:lnTo>
                    <a:pt x="59" y="277"/>
                  </a:lnTo>
                  <a:lnTo>
                    <a:pt x="59" y="275"/>
                  </a:lnTo>
                  <a:lnTo>
                    <a:pt x="59" y="272"/>
                  </a:lnTo>
                  <a:lnTo>
                    <a:pt x="59" y="269"/>
                  </a:lnTo>
                  <a:lnTo>
                    <a:pt x="59" y="267"/>
                  </a:lnTo>
                  <a:lnTo>
                    <a:pt x="59" y="266"/>
                  </a:lnTo>
                  <a:lnTo>
                    <a:pt x="59" y="265"/>
                  </a:lnTo>
                  <a:lnTo>
                    <a:pt x="59" y="264"/>
                  </a:lnTo>
                  <a:lnTo>
                    <a:pt x="58" y="263"/>
                  </a:lnTo>
                  <a:lnTo>
                    <a:pt x="58" y="262"/>
                  </a:lnTo>
                  <a:lnTo>
                    <a:pt x="57" y="261"/>
                  </a:lnTo>
                  <a:lnTo>
                    <a:pt x="57" y="261"/>
                  </a:lnTo>
                  <a:lnTo>
                    <a:pt x="56" y="260"/>
                  </a:lnTo>
                  <a:lnTo>
                    <a:pt x="54" y="259"/>
                  </a:lnTo>
                  <a:lnTo>
                    <a:pt x="52" y="259"/>
                  </a:lnTo>
                  <a:lnTo>
                    <a:pt x="50" y="258"/>
                  </a:lnTo>
                  <a:lnTo>
                    <a:pt x="49" y="257"/>
                  </a:lnTo>
                  <a:lnTo>
                    <a:pt x="49" y="257"/>
                  </a:lnTo>
                  <a:lnTo>
                    <a:pt x="48" y="256"/>
                  </a:lnTo>
                  <a:lnTo>
                    <a:pt x="47" y="256"/>
                  </a:lnTo>
                  <a:lnTo>
                    <a:pt x="47" y="255"/>
                  </a:lnTo>
                  <a:lnTo>
                    <a:pt x="46" y="254"/>
                  </a:lnTo>
                  <a:lnTo>
                    <a:pt x="45" y="253"/>
                  </a:lnTo>
                  <a:lnTo>
                    <a:pt x="44" y="251"/>
                  </a:lnTo>
                  <a:lnTo>
                    <a:pt x="43" y="249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1" y="245"/>
                  </a:lnTo>
                  <a:lnTo>
                    <a:pt x="41" y="244"/>
                  </a:lnTo>
                  <a:lnTo>
                    <a:pt x="40" y="242"/>
                  </a:lnTo>
                  <a:lnTo>
                    <a:pt x="40" y="241"/>
                  </a:lnTo>
                  <a:lnTo>
                    <a:pt x="40" y="240"/>
                  </a:lnTo>
                  <a:lnTo>
                    <a:pt x="39" y="234"/>
                  </a:lnTo>
                  <a:lnTo>
                    <a:pt x="39" y="233"/>
                  </a:lnTo>
                  <a:lnTo>
                    <a:pt x="39" y="231"/>
                  </a:lnTo>
                  <a:lnTo>
                    <a:pt x="39" y="229"/>
                  </a:lnTo>
                  <a:lnTo>
                    <a:pt x="37" y="225"/>
                  </a:lnTo>
                  <a:lnTo>
                    <a:pt x="37" y="223"/>
                  </a:lnTo>
                  <a:lnTo>
                    <a:pt x="36" y="222"/>
                  </a:lnTo>
                  <a:lnTo>
                    <a:pt x="35" y="221"/>
                  </a:lnTo>
                  <a:lnTo>
                    <a:pt x="35" y="220"/>
                  </a:lnTo>
                  <a:lnTo>
                    <a:pt x="34" y="219"/>
                  </a:lnTo>
                  <a:lnTo>
                    <a:pt x="34" y="218"/>
                  </a:lnTo>
                  <a:lnTo>
                    <a:pt x="33" y="218"/>
                  </a:lnTo>
                  <a:lnTo>
                    <a:pt x="32" y="217"/>
                  </a:lnTo>
                  <a:lnTo>
                    <a:pt x="30" y="216"/>
                  </a:lnTo>
                  <a:lnTo>
                    <a:pt x="30" y="216"/>
                  </a:lnTo>
                  <a:lnTo>
                    <a:pt x="29" y="216"/>
                  </a:lnTo>
                  <a:lnTo>
                    <a:pt x="29" y="215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27" y="212"/>
                  </a:lnTo>
                  <a:lnTo>
                    <a:pt x="26" y="211"/>
                  </a:lnTo>
                  <a:lnTo>
                    <a:pt x="26" y="210"/>
                  </a:lnTo>
                  <a:lnTo>
                    <a:pt x="26" y="208"/>
                  </a:lnTo>
                  <a:lnTo>
                    <a:pt x="26" y="207"/>
                  </a:lnTo>
                  <a:lnTo>
                    <a:pt x="25" y="205"/>
                  </a:lnTo>
                  <a:lnTo>
                    <a:pt x="25" y="205"/>
                  </a:lnTo>
                  <a:lnTo>
                    <a:pt x="25" y="204"/>
                  </a:lnTo>
                  <a:lnTo>
                    <a:pt x="26" y="203"/>
                  </a:lnTo>
                  <a:lnTo>
                    <a:pt x="26" y="201"/>
                  </a:lnTo>
                  <a:lnTo>
                    <a:pt x="26" y="198"/>
                  </a:lnTo>
                  <a:lnTo>
                    <a:pt x="27" y="196"/>
                  </a:lnTo>
                  <a:lnTo>
                    <a:pt x="27" y="195"/>
                  </a:lnTo>
                  <a:lnTo>
                    <a:pt x="27" y="194"/>
                  </a:lnTo>
                  <a:lnTo>
                    <a:pt x="27" y="193"/>
                  </a:lnTo>
                  <a:lnTo>
                    <a:pt x="27" y="192"/>
                  </a:lnTo>
                  <a:lnTo>
                    <a:pt x="26" y="191"/>
                  </a:lnTo>
                  <a:lnTo>
                    <a:pt x="26" y="189"/>
                  </a:lnTo>
                  <a:lnTo>
                    <a:pt x="25" y="188"/>
                  </a:lnTo>
                  <a:lnTo>
                    <a:pt x="25" y="188"/>
                  </a:lnTo>
                  <a:lnTo>
                    <a:pt x="24" y="187"/>
                  </a:lnTo>
                  <a:lnTo>
                    <a:pt x="24" y="187"/>
                  </a:lnTo>
                  <a:lnTo>
                    <a:pt x="23" y="186"/>
                  </a:lnTo>
                  <a:lnTo>
                    <a:pt x="22" y="186"/>
                  </a:lnTo>
                  <a:lnTo>
                    <a:pt x="18" y="184"/>
                  </a:lnTo>
                  <a:lnTo>
                    <a:pt x="17" y="184"/>
                  </a:lnTo>
                  <a:lnTo>
                    <a:pt x="16" y="183"/>
                  </a:lnTo>
                  <a:lnTo>
                    <a:pt x="13" y="182"/>
                  </a:lnTo>
                  <a:lnTo>
                    <a:pt x="9" y="179"/>
                  </a:lnTo>
                  <a:lnTo>
                    <a:pt x="6" y="178"/>
                  </a:lnTo>
                  <a:lnTo>
                    <a:pt x="6" y="177"/>
                  </a:lnTo>
                  <a:lnTo>
                    <a:pt x="5" y="176"/>
                  </a:lnTo>
                  <a:lnTo>
                    <a:pt x="4" y="176"/>
                  </a:lnTo>
                  <a:lnTo>
                    <a:pt x="3" y="175"/>
                  </a:lnTo>
                  <a:lnTo>
                    <a:pt x="2" y="174"/>
                  </a:lnTo>
                  <a:lnTo>
                    <a:pt x="2" y="173"/>
                  </a:lnTo>
                  <a:lnTo>
                    <a:pt x="1" y="173"/>
                  </a:lnTo>
                  <a:lnTo>
                    <a:pt x="0" y="172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Freeform 51">
              <a:extLst>
                <a:ext uri="{FF2B5EF4-FFF2-40B4-BE49-F238E27FC236}">
                  <a16:creationId xmlns:a16="http://schemas.microsoft.com/office/drawing/2014/main" id="{343B9CDF-61A9-C498-702F-B63C3E317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301"/>
              <a:ext cx="279" cy="173"/>
            </a:xfrm>
            <a:custGeom>
              <a:avLst/>
              <a:gdLst>
                <a:gd name="T0" fmla="*/ 2 w 279"/>
                <a:gd name="T1" fmla="*/ 162 h 173"/>
                <a:gd name="T2" fmla="*/ 0 w 279"/>
                <a:gd name="T3" fmla="*/ 155 h 173"/>
                <a:gd name="T4" fmla="*/ 2 w 279"/>
                <a:gd name="T5" fmla="*/ 151 h 173"/>
                <a:gd name="T6" fmla="*/ 9 w 279"/>
                <a:gd name="T7" fmla="*/ 146 h 173"/>
                <a:gd name="T8" fmla="*/ 18 w 279"/>
                <a:gd name="T9" fmla="*/ 140 h 173"/>
                <a:gd name="T10" fmla="*/ 19 w 279"/>
                <a:gd name="T11" fmla="*/ 136 h 173"/>
                <a:gd name="T12" fmla="*/ 23 w 279"/>
                <a:gd name="T13" fmla="*/ 120 h 173"/>
                <a:gd name="T14" fmla="*/ 27 w 279"/>
                <a:gd name="T15" fmla="*/ 114 h 173"/>
                <a:gd name="T16" fmla="*/ 31 w 279"/>
                <a:gd name="T17" fmla="*/ 108 h 173"/>
                <a:gd name="T18" fmla="*/ 38 w 279"/>
                <a:gd name="T19" fmla="*/ 96 h 173"/>
                <a:gd name="T20" fmla="*/ 45 w 279"/>
                <a:gd name="T21" fmla="*/ 87 h 173"/>
                <a:gd name="T22" fmla="*/ 52 w 279"/>
                <a:gd name="T23" fmla="*/ 87 h 173"/>
                <a:gd name="T24" fmla="*/ 60 w 279"/>
                <a:gd name="T25" fmla="*/ 89 h 173"/>
                <a:gd name="T26" fmla="*/ 65 w 279"/>
                <a:gd name="T27" fmla="*/ 86 h 173"/>
                <a:gd name="T28" fmla="*/ 71 w 279"/>
                <a:gd name="T29" fmla="*/ 83 h 173"/>
                <a:gd name="T30" fmla="*/ 76 w 279"/>
                <a:gd name="T31" fmla="*/ 84 h 173"/>
                <a:gd name="T32" fmla="*/ 80 w 279"/>
                <a:gd name="T33" fmla="*/ 87 h 173"/>
                <a:gd name="T34" fmla="*/ 83 w 279"/>
                <a:gd name="T35" fmla="*/ 91 h 173"/>
                <a:gd name="T36" fmla="*/ 84 w 279"/>
                <a:gd name="T37" fmla="*/ 90 h 173"/>
                <a:gd name="T38" fmla="*/ 86 w 279"/>
                <a:gd name="T39" fmla="*/ 86 h 173"/>
                <a:gd name="T40" fmla="*/ 91 w 279"/>
                <a:gd name="T41" fmla="*/ 83 h 173"/>
                <a:gd name="T42" fmla="*/ 94 w 279"/>
                <a:gd name="T43" fmla="*/ 80 h 173"/>
                <a:gd name="T44" fmla="*/ 101 w 279"/>
                <a:gd name="T45" fmla="*/ 77 h 173"/>
                <a:gd name="T46" fmla="*/ 110 w 279"/>
                <a:gd name="T47" fmla="*/ 75 h 173"/>
                <a:gd name="T48" fmla="*/ 118 w 279"/>
                <a:gd name="T49" fmla="*/ 73 h 173"/>
                <a:gd name="T50" fmla="*/ 123 w 279"/>
                <a:gd name="T51" fmla="*/ 73 h 173"/>
                <a:gd name="T52" fmla="*/ 132 w 279"/>
                <a:gd name="T53" fmla="*/ 76 h 173"/>
                <a:gd name="T54" fmla="*/ 139 w 279"/>
                <a:gd name="T55" fmla="*/ 78 h 173"/>
                <a:gd name="T56" fmla="*/ 146 w 279"/>
                <a:gd name="T57" fmla="*/ 78 h 173"/>
                <a:gd name="T58" fmla="*/ 151 w 279"/>
                <a:gd name="T59" fmla="*/ 78 h 173"/>
                <a:gd name="T60" fmla="*/ 157 w 279"/>
                <a:gd name="T61" fmla="*/ 80 h 173"/>
                <a:gd name="T62" fmla="*/ 162 w 279"/>
                <a:gd name="T63" fmla="*/ 78 h 173"/>
                <a:gd name="T64" fmla="*/ 168 w 279"/>
                <a:gd name="T65" fmla="*/ 73 h 173"/>
                <a:gd name="T66" fmla="*/ 170 w 279"/>
                <a:gd name="T67" fmla="*/ 65 h 173"/>
                <a:gd name="T68" fmla="*/ 170 w 279"/>
                <a:gd name="T69" fmla="*/ 60 h 173"/>
                <a:gd name="T70" fmla="*/ 173 w 279"/>
                <a:gd name="T71" fmla="*/ 57 h 173"/>
                <a:gd name="T72" fmla="*/ 182 w 279"/>
                <a:gd name="T73" fmla="*/ 53 h 173"/>
                <a:gd name="T74" fmla="*/ 192 w 279"/>
                <a:gd name="T75" fmla="*/ 47 h 173"/>
                <a:gd name="T76" fmla="*/ 200 w 279"/>
                <a:gd name="T77" fmla="*/ 41 h 173"/>
                <a:gd name="T78" fmla="*/ 207 w 279"/>
                <a:gd name="T79" fmla="*/ 34 h 173"/>
                <a:gd name="T80" fmla="*/ 210 w 279"/>
                <a:gd name="T81" fmla="*/ 33 h 173"/>
                <a:gd name="T82" fmla="*/ 217 w 279"/>
                <a:gd name="T83" fmla="*/ 35 h 173"/>
                <a:gd name="T84" fmla="*/ 228 w 279"/>
                <a:gd name="T85" fmla="*/ 36 h 173"/>
                <a:gd name="T86" fmla="*/ 233 w 279"/>
                <a:gd name="T87" fmla="*/ 39 h 173"/>
                <a:gd name="T88" fmla="*/ 241 w 279"/>
                <a:gd name="T89" fmla="*/ 45 h 173"/>
                <a:gd name="T90" fmla="*/ 245 w 279"/>
                <a:gd name="T91" fmla="*/ 47 h 173"/>
                <a:gd name="T92" fmla="*/ 249 w 279"/>
                <a:gd name="T93" fmla="*/ 47 h 173"/>
                <a:gd name="T94" fmla="*/ 250 w 279"/>
                <a:gd name="T95" fmla="*/ 43 h 173"/>
                <a:gd name="T96" fmla="*/ 252 w 279"/>
                <a:gd name="T97" fmla="*/ 32 h 173"/>
                <a:gd name="T98" fmla="*/ 252 w 279"/>
                <a:gd name="T99" fmla="*/ 27 h 173"/>
                <a:gd name="T100" fmla="*/ 255 w 279"/>
                <a:gd name="T101" fmla="*/ 25 h 173"/>
                <a:gd name="T102" fmla="*/ 263 w 279"/>
                <a:gd name="T103" fmla="*/ 23 h 173"/>
                <a:gd name="T104" fmla="*/ 268 w 279"/>
                <a:gd name="T105" fmla="*/ 20 h 173"/>
                <a:gd name="T106" fmla="*/ 269 w 279"/>
                <a:gd name="T107" fmla="*/ 16 h 173"/>
                <a:gd name="T108" fmla="*/ 268 w 279"/>
                <a:gd name="T109" fmla="*/ 14 h 173"/>
                <a:gd name="T110" fmla="*/ 267 w 279"/>
                <a:gd name="T111" fmla="*/ 10 h 173"/>
                <a:gd name="T112" fmla="*/ 269 w 279"/>
                <a:gd name="T113" fmla="*/ 4 h 173"/>
                <a:gd name="T114" fmla="*/ 271 w 279"/>
                <a:gd name="T115" fmla="*/ 2 h 173"/>
                <a:gd name="T116" fmla="*/ 274 w 279"/>
                <a:gd name="T117" fmla="*/ 2 h 173"/>
                <a:gd name="T118" fmla="*/ 278 w 279"/>
                <a:gd name="T119" fmla="*/ 1 h 173"/>
                <a:gd name="T120" fmla="*/ 279 w 279"/>
                <a:gd name="T121" fmla="*/ 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9" h="173">
                  <a:moveTo>
                    <a:pt x="8" y="173"/>
                  </a:moveTo>
                  <a:lnTo>
                    <a:pt x="7" y="170"/>
                  </a:lnTo>
                  <a:lnTo>
                    <a:pt x="5" y="167"/>
                  </a:lnTo>
                  <a:lnTo>
                    <a:pt x="3" y="163"/>
                  </a:lnTo>
                  <a:lnTo>
                    <a:pt x="2" y="162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6"/>
                  </a:lnTo>
                  <a:lnTo>
                    <a:pt x="0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6" y="147"/>
                  </a:lnTo>
                  <a:lnTo>
                    <a:pt x="9" y="146"/>
                  </a:lnTo>
                  <a:lnTo>
                    <a:pt x="14" y="143"/>
                  </a:lnTo>
                  <a:lnTo>
                    <a:pt x="15" y="142"/>
                  </a:lnTo>
                  <a:lnTo>
                    <a:pt x="16" y="141"/>
                  </a:lnTo>
                  <a:lnTo>
                    <a:pt x="17" y="140"/>
                  </a:lnTo>
                  <a:lnTo>
                    <a:pt x="18" y="140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9" y="138"/>
                  </a:lnTo>
                  <a:lnTo>
                    <a:pt x="19" y="137"/>
                  </a:lnTo>
                  <a:lnTo>
                    <a:pt x="19" y="136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21" y="128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3" y="119"/>
                  </a:lnTo>
                  <a:lnTo>
                    <a:pt x="24" y="118"/>
                  </a:lnTo>
                  <a:lnTo>
                    <a:pt x="25" y="117"/>
                  </a:lnTo>
                  <a:lnTo>
                    <a:pt x="26" y="116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9" y="112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3" y="106"/>
                  </a:lnTo>
                  <a:lnTo>
                    <a:pt x="34" y="105"/>
                  </a:lnTo>
                  <a:lnTo>
                    <a:pt x="35" y="103"/>
                  </a:lnTo>
                  <a:lnTo>
                    <a:pt x="37" y="98"/>
                  </a:lnTo>
                  <a:lnTo>
                    <a:pt x="38" y="96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2"/>
                  </a:lnTo>
                  <a:lnTo>
                    <a:pt x="44" y="88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2" y="87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89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5" y="86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8" y="84"/>
                  </a:lnTo>
                  <a:lnTo>
                    <a:pt x="69" y="84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8" y="85"/>
                  </a:lnTo>
                  <a:lnTo>
                    <a:pt x="79" y="86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1" y="89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89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7"/>
                  </a:lnTo>
                  <a:lnTo>
                    <a:pt x="86" y="86"/>
                  </a:lnTo>
                  <a:lnTo>
                    <a:pt x="87" y="86"/>
                  </a:lnTo>
                  <a:lnTo>
                    <a:pt x="88" y="85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1" y="77"/>
                  </a:lnTo>
                  <a:lnTo>
                    <a:pt x="103" y="77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9" y="75"/>
                  </a:lnTo>
                  <a:lnTo>
                    <a:pt x="110" y="75"/>
                  </a:lnTo>
                  <a:lnTo>
                    <a:pt x="112" y="75"/>
                  </a:lnTo>
                  <a:lnTo>
                    <a:pt x="113" y="75"/>
                  </a:lnTo>
                  <a:lnTo>
                    <a:pt x="114" y="75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0" y="73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7" y="75"/>
                  </a:lnTo>
                  <a:lnTo>
                    <a:pt x="132" y="76"/>
                  </a:lnTo>
                  <a:lnTo>
                    <a:pt x="133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8"/>
                  </a:lnTo>
                  <a:lnTo>
                    <a:pt x="142" y="78"/>
                  </a:lnTo>
                  <a:lnTo>
                    <a:pt x="144" y="78"/>
                  </a:lnTo>
                  <a:lnTo>
                    <a:pt x="146" y="78"/>
                  </a:lnTo>
                  <a:lnTo>
                    <a:pt x="147" y="78"/>
                  </a:lnTo>
                  <a:lnTo>
                    <a:pt x="148" y="77"/>
                  </a:lnTo>
                  <a:lnTo>
                    <a:pt x="149" y="77"/>
                  </a:lnTo>
                  <a:lnTo>
                    <a:pt x="150" y="78"/>
                  </a:lnTo>
                  <a:lnTo>
                    <a:pt x="151" y="78"/>
                  </a:lnTo>
                  <a:lnTo>
                    <a:pt x="152" y="78"/>
                  </a:lnTo>
                  <a:lnTo>
                    <a:pt x="155" y="79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7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7" y="74"/>
                  </a:lnTo>
                  <a:lnTo>
                    <a:pt x="168" y="73"/>
                  </a:lnTo>
                  <a:lnTo>
                    <a:pt x="168" y="72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70" y="66"/>
                  </a:lnTo>
                  <a:lnTo>
                    <a:pt x="170" y="65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1" y="59"/>
                  </a:lnTo>
                  <a:lnTo>
                    <a:pt x="171" y="58"/>
                  </a:lnTo>
                  <a:lnTo>
                    <a:pt x="172" y="58"/>
                  </a:lnTo>
                  <a:lnTo>
                    <a:pt x="172" y="57"/>
                  </a:lnTo>
                  <a:lnTo>
                    <a:pt x="173" y="57"/>
                  </a:lnTo>
                  <a:lnTo>
                    <a:pt x="174" y="57"/>
                  </a:lnTo>
                  <a:lnTo>
                    <a:pt x="176" y="56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92" y="47"/>
                  </a:lnTo>
                  <a:lnTo>
                    <a:pt x="194" y="45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0" y="42"/>
                  </a:lnTo>
                  <a:lnTo>
                    <a:pt x="200" y="41"/>
                  </a:lnTo>
                  <a:lnTo>
                    <a:pt x="202" y="40"/>
                  </a:lnTo>
                  <a:lnTo>
                    <a:pt x="203" y="38"/>
                  </a:lnTo>
                  <a:lnTo>
                    <a:pt x="205" y="37"/>
                  </a:lnTo>
                  <a:lnTo>
                    <a:pt x="207" y="35"/>
                  </a:lnTo>
                  <a:lnTo>
                    <a:pt x="207" y="34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7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6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2" y="38"/>
                  </a:lnTo>
                  <a:lnTo>
                    <a:pt x="233" y="39"/>
                  </a:lnTo>
                  <a:lnTo>
                    <a:pt x="235" y="41"/>
                  </a:lnTo>
                  <a:lnTo>
                    <a:pt x="236" y="41"/>
                  </a:lnTo>
                  <a:lnTo>
                    <a:pt x="237" y="42"/>
                  </a:lnTo>
                  <a:lnTo>
                    <a:pt x="240" y="44"/>
                  </a:lnTo>
                  <a:lnTo>
                    <a:pt x="241" y="45"/>
                  </a:lnTo>
                  <a:lnTo>
                    <a:pt x="242" y="46"/>
                  </a:lnTo>
                  <a:lnTo>
                    <a:pt x="243" y="46"/>
                  </a:lnTo>
                  <a:lnTo>
                    <a:pt x="244" y="47"/>
                  </a:lnTo>
                  <a:lnTo>
                    <a:pt x="245" y="47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7"/>
                  </a:lnTo>
                  <a:lnTo>
                    <a:pt x="249" y="47"/>
                  </a:lnTo>
                  <a:lnTo>
                    <a:pt x="249" y="46"/>
                  </a:lnTo>
                  <a:lnTo>
                    <a:pt x="250" y="46"/>
                  </a:lnTo>
                  <a:lnTo>
                    <a:pt x="250" y="45"/>
                  </a:lnTo>
                  <a:lnTo>
                    <a:pt x="250" y="44"/>
                  </a:lnTo>
                  <a:lnTo>
                    <a:pt x="250" y="43"/>
                  </a:lnTo>
                  <a:lnTo>
                    <a:pt x="252" y="37"/>
                  </a:lnTo>
                  <a:lnTo>
                    <a:pt x="252" y="36"/>
                  </a:lnTo>
                  <a:lnTo>
                    <a:pt x="252" y="35"/>
                  </a:lnTo>
                  <a:lnTo>
                    <a:pt x="252" y="34"/>
                  </a:lnTo>
                  <a:lnTo>
                    <a:pt x="252" y="32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2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3" y="26"/>
                  </a:lnTo>
                  <a:lnTo>
                    <a:pt x="254" y="26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7" y="25"/>
                  </a:lnTo>
                  <a:lnTo>
                    <a:pt x="259" y="24"/>
                  </a:lnTo>
                  <a:lnTo>
                    <a:pt x="262" y="23"/>
                  </a:lnTo>
                  <a:lnTo>
                    <a:pt x="263" y="23"/>
                  </a:lnTo>
                  <a:lnTo>
                    <a:pt x="264" y="22"/>
                  </a:lnTo>
                  <a:lnTo>
                    <a:pt x="265" y="21"/>
                  </a:lnTo>
                  <a:lnTo>
                    <a:pt x="266" y="21"/>
                  </a:lnTo>
                  <a:lnTo>
                    <a:pt x="267" y="20"/>
                  </a:lnTo>
                  <a:lnTo>
                    <a:pt x="268" y="20"/>
                  </a:lnTo>
                  <a:lnTo>
                    <a:pt x="268" y="19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7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4"/>
                  </a:lnTo>
                  <a:lnTo>
                    <a:pt x="268" y="14"/>
                  </a:lnTo>
                  <a:lnTo>
                    <a:pt x="268" y="12"/>
                  </a:lnTo>
                  <a:lnTo>
                    <a:pt x="267" y="12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0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8" y="7"/>
                  </a:lnTo>
                  <a:lnTo>
                    <a:pt x="268" y="6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70" y="3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6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79" y="0"/>
                  </a:lnTo>
                  <a:lnTo>
                    <a:pt x="279" y="1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Freeform 52">
              <a:extLst>
                <a:ext uri="{FF2B5EF4-FFF2-40B4-BE49-F238E27FC236}">
                  <a16:creationId xmlns:a16="http://schemas.microsoft.com/office/drawing/2014/main" id="{C60A51FF-F85E-C2E6-70A6-042AD6995B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" y="3133"/>
              <a:ext cx="354" cy="259"/>
            </a:xfrm>
            <a:custGeom>
              <a:avLst/>
              <a:gdLst>
                <a:gd name="T0" fmla="*/ 244 w 354"/>
                <a:gd name="T1" fmla="*/ 19 h 259"/>
                <a:gd name="T2" fmla="*/ 262 w 354"/>
                <a:gd name="T3" fmla="*/ 31 h 259"/>
                <a:gd name="T4" fmla="*/ 289 w 354"/>
                <a:gd name="T5" fmla="*/ 36 h 259"/>
                <a:gd name="T6" fmla="*/ 298 w 354"/>
                <a:gd name="T7" fmla="*/ 48 h 259"/>
                <a:gd name="T8" fmla="*/ 305 w 354"/>
                <a:gd name="T9" fmla="*/ 51 h 259"/>
                <a:gd name="T10" fmla="*/ 329 w 354"/>
                <a:gd name="T11" fmla="*/ 51 h 259"/>
                <a:gd name="T12" fmla="*/ 336 w 354"/>
                <a:gd name="T13" fmla="*/ 63 h 259"/>
                <a:gd name="T14" fmla="*/ 333 w 354"/>
                <a:gd name="T15" fmla="*/ 85 h 259"/>
                <a:gd name="T16" fmla="*/ 335 w 354"/>
                <a:gd name="T17" fmla="*/ 104 h 259"/>
                <a:gd name="T18" fmla="*/ 340 w 354"/>
                <a:gd name="T19" fmla="*/ 118 h 259"/>
                <a:gd name="T20" fmla="*/ 349 w 354"/>
                <a:gd name="T21" fmla="*/ 141 h 259"/>
                <a:gd name="T22" fmla="*/ 347 w 354"/>
                <a:gd name="T23" fmla="*/ 150 h 259"/>
                <a:gd name="T24" fmla="*/ 336 w 354"/>
                <a:gd name="T25" fmla="*/ 152 h 259"/>
                <a:gd name="T26" fmla="*/ 345 w 354"/>
                <a:gd name="T27" fmla="*/ 158 h 259"/>
                <a:gd name="T28" fmla="*/ 352 w 354"/>
                <a:gd name="T29" fmla="*/ 171 h 259"/>
                <a:gd name="T30" fmla="*/ 351 w 354"/>
                <a:gd name="T31" fmla="*/ 182 h 259"/>
                <a:gd name="T32" fmla="*/ 344 w 354"/>
                <a:gd name="T33" fmla="*/ 191 h 259"/>
                <a:gd name="T34" fmla="*/ 334 w 354"/>
                <a:gd name="T35" fmla="*/ 202 h 259"/>
                <a:gd name="T36" fmla="*/ 327 w 354"/>
                <a:gd name="T37" fmla="*/ 215 h 259"/>
                <a:gd name="T38" fmla="*/ 308 w 354"/>
                <a:gd name="T39" fmla="*/ 204 h 259"/>
                <a:gd name="T40" fmla="*/ 289 w 354"/>
                <a:gd name="T41" fmla="*/ 203 h 259"/>
                <a:gd name="T42" fmla="*/ 262 w 354"/>
                <a:gd name="T43" fmla="*/ 222 h 259"/>
                <a:gd name="T44" fmla="*/ 252 w 354"/>
                <a:gd name="T45" fmla="*/ 234 h 259"/>
                <a:gd name="T46" fmla="*/ 238 w 354"/>
                <a:gd name="T47" fmla="*/ 248 h 259"/>
                <a:gd name="T48" fmla="*/ 220 w 354"/>
                <a:gd name="T49" fmla="*/ 246 h 259"/>
                <a:gd name="T50" fmla="*/ 199 w 354"/>
                <a:gd name="T51" fmla="*/ 242 h 259"/>
                <a:gd name="T52" fmla="*/ 176 w 354"/>
                <a:gd name="T53" fmla="*/ 248 h 259"/>
                <a:gd name="T54" fmla="*/ 166 w 354"/>
                <a:gd name="T55" fmla="*/ 258 h 259"/>
                <a:gd name="T56" fmla="*/ 157 w 354"/>
                <a:gd name="T57" fmla="*/ 251 h 259"/>
                <a:gd name="T58" fmla="*/ 141 w 354"/>
                <a:gd name="T59" fmla="*/ 257 h 259"/>
                <a:gd name="T60" fmla="*/ 124 w 354"/>
                <a:gd name="T61" fmla="*/ 247 h 259"/>
                <a:gd name="T62" fmla="*/ 107 w 354"/>
                <a:gd name="T63" fmla="*/ 233 h 259"/>
                <a:gd name="T64" fmla="*/ 110 w 354"/>
                <a:gd name="T65" fmla="*/ 220 h 259"/>
                <a:gd name="T66" fmla="*/ 95 w 354"/>
                <a:gd name="T67" fmla="*/ 213 h 259"/>
                <a:gd name="T68" fmla="*/ 80 w 354"/>
                <a:gd name="T69" fmla="*/ 201 h 259"/>
                <a:gd name="T70" fmla="*/ 61 w 354"/>
                <a:gd name="T71" fmla="*/ 187 h 259"/>
                <a:gd name="T72" fmla="*/ 46 w 354"/>
                <a:gd name="T73" fmla="*/ 177 h 259"/>
                <a:gd name="T74" fmla="*/ 39 w 354"/>
                <a:gd name="T75" fmla="*/ 163 h 259"/>
                <a:gd name="T76" fmla="*/ 27 w 354"/>
                <a:gd name="T77" fmla="*/ 150 h 259"/>
                <a:gd name="T78" fmla="*/ 30 w 354"/>
                <a:gd name="T79" fmla="*/ 125 h 259"/>
                <a:gd name="T80" fmla="*/ 18 w 354"/>
                <a:gd name="T81" fmla="*/ 106 h 259"/>
                <a:gd name="T82" fmla="*/ 3 w 354"/>
                <a:gd name="T83" fmla="*/ 94 h 259"/>
                <a:gd name="T84" fmla="*/ 2 w 354"/>
                <a:gd name="T85" fmla="*/ 84 h 259"/>
                <a:gd name="T86" fmla="*/ 9 w 354"/>
                <a:gd name="T87" fmla="*/ 73 h 259"/>
                <a:gd name="T88" fmla="*/ 4 w 354"/>
                <a:gd name="T89" fmla="*/ 58 h 259"/>
                <a:gd name="T90" fmla="*/ 23 w 354"/>
                <a:gd name="T91" fmla="*/ 58 h 259"/>
                <a:gd name="T92" fmla="*/ 32 w 354"/>
                <a:gd name="T93" fmla="*/ 77 h 259"/>
                <a:gd name="T94" fmla="*/ 47 w 354"/>
                <a:gd name="T95" fmla="*/ 87 h 259"/>
                <a:gd name="T96" fmla="*/ 45 w 354"/>
                <a:gd name="T97" fmla="*/ 94 h 259"/>
                <a:gd name="T98" fmla="*/ 54 w 354"/>
                <a:gd name="T99" fmla="*/ 112 h 259"/>
                <a:gd name="T100" fmla="*/ 58 w 354"/>
                <a:gd name="T101" fmla="*/ 126 h 259"/>
                <a:gd name="T102" fmla="*/ 67 w 354"/>
                <a:gd name="T103" fmla="*/ 121 h 259"/>
                <a:gd name="T104" fmla="*/ 69 w 354"/>
                <a:gd name="T105" fmla="*/ 99 h 259"/>
                <a:gd name="T106" fmla="*/ 75 w 354"/>
                <a:gd name="T107" fmla="*/ 90 h 259"/>
                <a:gd name="T108" fmla="*/ 88 w 354"/>
                <a:gd name="T109" fmla="*/ 69 h 259"/>
                <a:gd name="T110" fmla="*/ 100 w 354"/>
                <a:gd name="T111" fmla="*/ 55 h 259"/>
                <a:gd name="T112" fmla="*/ 116 w 354"/>
                <a:gd name="T113" fmla="*/ 43 h 259"/>
                <a:gd name="T114" fmla="*/ 128 w 354"/>
                <a:gd name="T115" fmla="*/ 26 h 259"/>
                <a:gd name="T116" fmla="*/ 171 w 354"/>
                <a:gd name="T117" fmla="*/ 21 h 259"/>
                <a:gd name="T118" fmla="*/ 191 w 354"/>
                <a:gd name="T119" fmla="*/ 14 h 259"/>
                <a:gd name="T120" fmla="*/ 208 w 354"/>
                <a:gd name="T121" fmla="*/ 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4" h="259">
                  <a:moveTo>
                    <a:pt x="217" y="0"/>
                  </a:moveTo>
                  <a:lnTo>
                    <a:pt x="218" y="1"/>
                  </a:lnTo>
                  <a:lnTo>
                    <a:pt x="220" y="2"/>
                  </a:lnTo>
                  <a:lnTo>
                    <a:pt x="221" y="3"/>
                  </a:lnTo>
                  <a:lnTo>
                    <a:pt x="226" y="6"/>
                  </a:lnTo>
                  <a:lnTo>
                    <a:pt x="231" y="10"/>
                  </a:lnTo>
                  <a:lnTo>
                    <a:pt x="233" y="12"/>
                  </a:lnTo>
                  <a:lnTo>
                    <a:pt x="235" y="12"/>
                  </a:lnTo>
                  <a:lnTo>
                    <a:pt x="237" y="14"/>
                  </a:lnTo>
                  <a:lnTo>
                    <a:pt x="239" y="16"/>
                  </a:lnTo>
                  <a:lnTo>
                    <a:pt x="240" y="16"/>
                  </a:lnTo>
                  <a:lnTo>
                    <a:pt x="241" y="17"/>
                  </a:lnTo>
                  <a:lnTo>
                    <a:pt x="242" y="18"/>
                  </a:lnTo>
                  <a:lnTo>
                    <a:pt x="243" y="18"/>
                  </a:lnTo>
                  <a:lnTo>
                    <a:pt x="244" y="19"/>
                  </a:lnTo>
                  <a:lnTo>
                    <a:pt x="246" y="20"/>
                  </a:lnTo>
                  <a:lnTo>
                    <a:pt x="248" y="22"/>
                  </a:lnTo>
                  <a:lnTo>
                    <a:pt x="249" y="23"/>
                  </a:lnTo>
                  <a:lnTo>
                    <a:pt x="251" y="25"/>
                  </a:lnTo>
                  <a:lnTo>
                    <a:pt x="251" y="26"/>
                  </a:lnTo>
                  <a:lnTo>
                    <a:pt x="252" y="26"/>
                  </a:lnTo>
                  <a:lnTo>
                    <a:pt x="252" y="26"/>
                  </a:lnTo>
                  <a:lnTo>
                    <a:pt x="253" y="26"/>
                  </a:lnTo>
                  <a:lnTo>
                    <a:pt x="253" y="26"/>
                  </a:lnTo>
                  <a:lnTo>
                    <a:pt x="253" y="26"/>
                  </a:lnTo>
                  <a:lnTo>
                    <a:pt x="257" y="29"/>
                  </a:lnTo>
                  <a:lnTo>
                    <a:pt x="259" y="30"/>
                  </a:lnTo>
                  <a:lnTo>
                    <a:pt x="260" y="30"/>
                  </a:lnTo>
                  <a:lnTo>
                    <a:pt x="260" y="31"/>
                  </a:lnTo>
                  <a:lnTo>
                    <a:pt x="262" y="31"/>
                  </a:lnTo>
                  <a:lnTo>
                    <a:pt x="265" y="32"/>
                  </a:lnTo>
                  <a:lnTo>
                    <a:pt x="267" y="32"/>
                  </a:lnTo>
                  <a:lnTo>
                    <a:pt x="269" y="32"/>
                  </a:lnTo>
                  <a:lnTo>
                    <a:pt x="272" y="32"/>
                  </a:lnTo>
                  <a:lnTo>
                    <a:pt x="273" y="33"/>
                  </a:lnTo>
                  <a:lnTo>
                    <a:pt x="275" y="33"/>
                  </a:lnTo>
                  <a:lnTo>
                    <a:pt x="278" y="34"/>
                  </a:lnTo>
                  <a:lnTo>
                    <a:pt x="280" y="35"/>
                  </a:lnTo>
                  <a:lnTo>
                    <a:pt x="281" y="35"/>
                  </a:lnTo>
                  <a:lnTo>
                    <a:pt x="283" y="35"/>
                  </a:lnTo>
                  <a:lnTo>
                    <a:pt x="285" y="35"/>
                  </a:lnTo>
                  <a:lnTo>
                    <a:pt x="287" y="35"/>
                  </a:lnTo>
                  <a:lnTo>
                    <a:pt x="288" y="36"/>
                  </a:lnTo>
                  <a:lnTo>
                    <a:pt x="289" y="36"/>
                  </a:lnTo>
                  <a:lnTo>
                    <a:pt x="289" y="36"/>
                  </a:lnTo>
                  <a:lnTo>
                    <a:pt x="291" y="37"/>
                  </a:lnTo>
                  <a:lnTo>
                    <a:pt x="294" y="38"/>
                  </a:lnTo>
                  <a:lnTo>
                    <a:pt x="295" y="39"/>
                  </a:lnTo>
                  <a:lnTo>
                    <a:pt x="295" y="39"/>
                  </a:lnTo>
                  <a:lnTo>
                    <a:pt x="296" y="40"/>
                  </a:lnTo>
                  <a:lnTo>
                    <a:pt x="296" y="40"/>
                  </a:lnTo>
                  <a:lnTo>
                    <a:pt x="296" y="41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7" y="42"/>
                  </a:lnTo>
                  <a:lnTo>
                    <a:pt x="297" y="43"/>
                  </a:lnTo>
                  <a:lnTo>
                    <a:pt x="298" y="44"/>
                  </a:lnTo>
                  <a:lnTo>
                    <a:pt x="298" y="46"/>
                  </a:lnTo>
                  <a:lnTo>
                    <a:pt x="298" y="47"/>
                  </a:lnTo>
                  <a:lnTo>
                    <a:pt x="298" y="48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9" y="50"/>
                  </a:lnTo>
                  <a:lnTo>
                    <a:pt x="299" y="50"/>
                  </a:lnTo>
                  <a:lnTo>
                    <a:pt x="299" y="51"/>
                  </a:lnTo>
                  <a:lnTo>
                    <a:pt x="300" y="51"/>
                  </a:lnTo>
                  <a:lnTo>
                    <a:pt x="300" y="51"/>
                  </a:lnTo>
                  <a:lnTo>
                    <a:pt x="301" y="51"/>
                  </a:lnTo>
                  <a:lnTo>
                    <a:pt x="301" y="51"/>
                  </a:lnTo>
                  <a:lnTo>
                    <a:pt x="302" y="51"/>
                  </a:lnTo>
                  <a:lnTo>
                    <a:pt x="302" y="51"/>
                  </a:lnTo>
                  <a:lnTo>
                    <a:pt x="303" y="51"/>
                  </a:lnTo>
                  <a:lnTo>
                    <a:pt x="304" y="51"/>
                  </a:lnTo>
                  <a:lnTo>
                    <a:pt x="305" y="51"/>
                  </a:lnTo>
                  <a:lnTo>
                    <a:pt x="307" y="51"/>
                  </a:lnTo>
                  <a:lnTo>
                    <a:pt x="308" y="50"/>
                  </a:lnTo>
                  <a:lnTo>
                    <a:pt x="308" y="50"/>
                  </a:lnTo>
                  <a:lnTo>
                    <a:pt x="310" y="50"/>
                  </a:lnTo>
                  <a:lnTo>
                    <a:pt x="311" y="51"/>
                  </a:lnTo>
                  <a:lnTo>
                    <a:pt x="315" y="51"/>
                  </a:lnTo>
                  <a:lnTo>
                    <a:pt x="317" y="51"/>
                  </a:lnTo>
                  <a:lnTo>
                    <a:pt x="318" y="51"/>
                  </a:lnTo>
                  <a:lnTo>
                    <a:pt x="321" y="51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7" y="51"/>
                  </a:lnTo>
                  <a:lnTo>
                    <a:pt x="328" y="51"/>
                  </a:lnTo>
                  <a:lnTo>
                    <a:pt x="328" y="51"/>
                  </a:lnTo>
                  <a:lnTo>
                    <a:pt x="329" y="51"/>
                  </a:lnTo>
                  <a:lnTo>
                    <a:pt x="329" y="51"/>
                  </a:lnTo>
                  <a:lnTo>
                    <a:pt x="330" y="51"/>
                  </a:lnTo>
                  <a:lnTo>
                    <a:pt x="331" y="52"/>
                  </a:lnTo>
                  <a:lnTo>
                    <a:pt x="332" y="52"/>
                  </a:lnTo>
                  <a:lnTo>
                    <a:pt x="332" y="53"/>
                  </a:lnTo>
                  <a:lnTo>
                    <a:pt x="333" y="54"/>
                  </a:lnTo>
                  <a:lnTo>
                    <a:pt x="333" y="54"/>
                  </a:lnTo>
                  <a:lnTo>
                    <a:pt x="334" y="55"/>
                  </a:lnTo>
                  <a:lnTo>
                    <a:pt x="334" y="56"/>
                  </a:lnTo>
                  <a:lnTo>
                    <a:pt x="335" y="58"/>
                  </a:lnTo>
                  <a:lnTo>
                    <a:pt x="336" y="59"/>
                  </a:lnTo>
                  <a:lnTo>
                    <a:pt x="336" y="60"/>
                  </a:lnTo>
                  <a:lnTo>
                    <a:pt x="336" y="61"/>
                  </a:lnTo>
                  <a:lnTo>
                    <a:pt x="336" y="62"/>
                  </a:lnTo>
                  <a:lnTo>
                    <a:pt x="336" y="63"/>
                  </a:lnTo>
                  <a:lnTo>
                    <a:pt x="336" y="64"/>
                  </a:lnTo>
                  <a:lnTo>
                    <a:pt x="336" y="66"/>
                  </a:lnTo>
                  <a:lnTo>
                    <a:pt x="336" y="67"/>
                  </a:lnTo>
                  <a:lnTo>
                    <a:pt x="335" y="69"/>
                  </a:lnTo>
                  <a:lnTo>
                    <a:pt x="335" y="70"/>
                  </a:lnTo>
                  <a:lnTo>
                    <a:pt x="335" y="71"/>
                  </a:lnTo>
                  <a:lnTo>
                    <a:pt x="335" y="72"/>
                  </a:lnTo>
                  <a:lnTo>
                    <a:pt x="335" y="73"/>
                  </a:lnTo>
                  <a:lnTo>
                    <a:pt x="335" y="76"/>
                  </a:lnTo>
                  <a:lnTo>
                    <a:pt x="335" y="76"/>
                  </a:lnTo>
                  <a:lnTo>
                    <a:pt x="335" y="77"/>
                  </a:lnTo>
                  <a:lnTo>
                    <a:pt x="334" y="78"/>
                  </a:lnTo>
                  <a:lnTo>
                    <a:pt x="334" y="80"/>
                  </a:lnTo>
                  <a:lnTo>
                    <a:pt x="333" y="84"/>
                  </a:lnTo>
                  <a:lnTo>
                    <a:pt x="333" y="85"/>
                  </a:lnTo>
                  <a:lnTo>
                    <a:pt x="333" y="86"/>
                  </a:lnTo>
                  <a:lnTo>
                    <a:pt x="333" y="87"/>
                  </a:lnTo>
                  <a:lnTo>
                    <a:pt x="333" y="88"/>
                  </a:lnTo>
                  <a:lnTo>
                    <a:pt x="333" y="89"/>
                  </a:lnTo>
                  <a:lnTo>
                    <a:pt x="334" y="91"/>
                  </a:lnTo>
                  <a:lnTo>
                    <a:pt x="334" y="92"/>
                  </a:lnTo>
                  <a:lnTo>
                    <a:pt x="335" y="94"/>
                  </a:lnTo>
                  <a:lnTo>
                    <a:pt x="335" y="96"/>
                  </a:lnTo>
                  <a:lnTo>
                    <a:pt x="335" y="98"/>
                  </a:lnTo>
                  <a:lnTo>
                    <a:pt x="335" y="99"/>
                  </a:lnTo>
                  <a:lnTo>
                    <a:pt x="335" y="100"/>
                  </a:lnTo>
                  <a:lnTo>
                    <a:pt x="335" y="102"/>
                  </a:lnTo>
                  <a:lnTo>
                    <a:pt x="335" y="103"/>
                  </a:lnTo>
                  <a:lnTo>
                    <a:pt x="334" y="103"/>
                  </a:lnTo>
                  <a:lnTo>
                    <a:pt x="335" y="104"/>
                  </a:lnTo>
                  <a:lnTo>
                    <a:pt x="335" y="105"/>
                  </a:lnTo>
                  <a:lnTo>
                    <a:pt x="335" y="105"/>
                  </a:lnTo>
                  <a:lnTo>
                    <a:pt x="335" y="106"/>
                  </a:lnTo>
                  <a:lnTo>
                    <a:pt x="336" y="106"/>
                  </a:lnTo>
                  <a:lnTo>
                    <a:pt x="336" y="107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9" y="110"/>
                  </a:lnTo>
                  <a:lnTo>
                    <a:pt x="339" y="111"/>
                  </a:lnTo>
                  <a:lnTo>
                    <a:pt x="339" y="111"/>
                  </a:lnTo>
                  <a:lnTo>
                    <a:pt x="340" y="113"/>
                  </a:lnTo>
                  <a:lnTo>
                    <a:pt x="340" y="114"/>
                  </a:lnTo>
                  <a:lnTo>
                    <a:pt x="340" y="117"/>
                  </a:lnTo>
                  <a:lnTo>
                    <a:pt x="340" y="118"/>
                  </a:lnTo>
                  <a:lnTo>
                    <a:pt x="340" y="118"/>
                  </a:lnTo>
                  <a:lnTo>
                    <a:pt x="340" y="119"/>
                  </a:lnTo>
                  <a:lnTo>
                    <a:pt x="340" y="119"/>
                  </a:lnTo>
                  <a:lnTo>
                    <a:pt x="342" y="122"/>
                  </a:lnTo>
                  <a:lnTo>
                    <a:pt x="343" y="123"/>
                  </a:lnTo>
                  <a:lnTo>
                    <a:pt x="344" y="125"/>
                  </a:lnTo>
                  <a:lnTo>
                    <a:pt x="345" y="127"/>
                  </a:lnTo>
                  <a:lnTo>
                    <a:pt x="347" y="131"/>
                  </a:lnTo>
                  <a:lnTo>
                    <a:pt x="347" y="133"/>
                  </a:lnTo>
                  <a:lnTo>
                    <a:pt x="348" y="134"/>
                  </a:lnTo>
                  <a:lnTo>
                    <a:pt x="348" y="137"/>
                  </a:lnTo>
                  <a:lnTo>
                    <a:pt x="349" y="138"/>
                  </a:lnTo>
                  <a:lnTo>
                    <a:pt x="349" y="139"/>
                  </a:lnTo>
                  <a:lnTo>
                    <a:pt x="349" y="139"/>
                  </a:lnTo>
                  <a:lnTo>
                    <a:pt x="349" y="140"/>
                  </a:lnTo>
                  <a:lnTo>
                    <a:pt x="349" y="141"/>
                  </a:lnTo>
                  <a:lnTo>
                    <a:pt x="348" y="141"/>
                  </a:lnTo>
                  <a:lnTo>
                    <a:pt x="348" y="142"/>
                  </a:lnTo>
                  <a:lnTo>
                    <a:pt x="348" y="142"/>
                  </a:lnTo>
                  <a:lnTo>
                    <a:pt x="347" y="143"/>
                  </a:lnTo>
                  <a:lnTo>
                    <a:pt x="347" y="144"/>
                  </a:lnTo>
                  <a:lnTo>
                    <a:pt x="347" y="144"/>
                  </a:lnTo>
                  <a:lnTo>
                    <a:pt x="347" y="145"/>
                  </a:lnTo>
                  <a:lnTo>
                    <a:pt x="347" y="146"/>
                  </a:lnTo>
                  <a:lnTo>
                    <a:pt x="347" y="148"/>
                  </a:lnTo>
                  <a:lnTo>
                    <a:pt x="348" y="149"/>
                  </a:lnTo>
                  <a:lnTo>
                    <a:pt x="348" y="149"/>
                  </a:lnTo>
                  <a:lnTo>
                    <a:pt x="348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1"/>
                  </a:lnTo>
                  <a:lnTo>
                    <a:pt x="346" y="151"/>
                  </a:lnTo>
                  <a:lnTo>
                    <a:pt x="346" y="151"/>
                  </a:lnTo>
                  <a:lnTo>
                    <a:pt x="343" y="150"/>
                  </a:lnTo>
                  <a:lnTo>
                    <a:pt x="342" y="150"/>
                  </a:lnTo>
                  <a:lnTo>
                    <a:pt x="341" y="150"/>
                  </a:lnTo>
                  <a:lnTo>
                    <a:pt x="340" y="150"/>
                  </a:lnTo>
                  <a:lnTo>
                    <a:pt x="340" y="150"/>
                  </a:lnTo>
                  <a:lnTo>
                    <a:pt x="339" y="150"/>
                  </a:lnTo>
                  <a:lnTo>
                    <a:pt x="338" y="151"/>
                  </a:lnTo>
                  <a:lnTo>
                    <a:pt x="337" y="151"/>
                  </a:lnTo>
                  <a:lnTo>
                    <a:pt x="337" y="151"/>
                  </a:lnTo>
                  <a:lnTo>
                    <a:pt x="337" y="152"/>
                  </a:lnTo>
                  <a:lnTo>
                    <a:pt x="336" y="152"/>
                  </a:lnTo>
                  <a:lnTo>
                    <a:pt x="336" y="153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7" y="156"/>
                  </a:lnTo>
                  <a:lnTo>
                    <a:pt x="338" y="156"/>
                  </a:lnTo>
                  <a:lnTo>
                    <a:pt x="338" y="157"/>
                  </a:lnTo>
                  <a:lnTo>
                    <a:pt x="339" y="157"/>
                  </a:lnTo>
                  <a:lnTo>
                    <a:pt x="343" y="157"/>
                  </a:lnTo>
                  <a:lnTo>
                    <a:pt x="344" y="158"/>
                  </a:lnTo>
                  <a:lnTo>
                    <a:pt x="344" y="158"/>
                  </a:lnTo>
                  <a:lnTo>
                    <a:pt x="345" y="158"/>
                  </a:lnTo>
                  <a:lnTo>
                    <a:pt x="346" y="159"/>
                  </a:lnTo>
                  <a:lnTo>
                    <a:pt x="347" y="159"/>
                  </a:lnTo>
                  <a:lnTo>
                    <a:pt x="348" y="160"/>
                  </a:lnTo>
                  <a:lnTo>
                    <a:pt x="348" y="161"/>
                  </a:lnTo>
                  <a:lnTo>
                    <a:pt x="349" y="162"/>
                  </a:lnTo>
                  <a:lnTo>
                    <a:pt x="351" y="164"/>
                  </a:lnTo>
                  <a:lnTo>
                    <a:pt x="352" y="165"/>
                  </a:lnTo>
                  <a:lnTo>
                    <a:pt x="352" y="166"/>
                  </a:lnTo>
                  <a:lnTo>
                    <a:pt x="353" y="167"/>
                  </a:lnTo>
                  <a:lnTo>
                    <a:pt x="353" y="168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3" y="170"/>
                  </a:lnTo>
                  <a:lnTo>
                    <a:pt x="352" y="171"/>
                  </a:lnTo>
                  <a:lnTo>
                    <a:pt x="352" y="171"/>
                  </a:lnTo>
                  <a:lnTo>
                    <a:pt x="351" y="172"/>
                  </a:lnTo>
                  <a:lnTo>
                    <a:pt x="351" y="172"/>
                  </a:lnTo>
                  <a:lnTo>
                    <a:pt x="351" y="172"/>
                  </a:lnTo>
                  <a:lnTo>
                    <a:pt x="350" y="174"/>
                  </a:lnTo>
                  <a:lnTo>
                    <a:pt x="350" y="175"/>
                  </a:lnTo>
                  <a:lnTo>
                    <a:pt x="349" y="177"/>
                  </a:lnTo>
                  <a:lnTo>
                    <a:pt x="349" y="177"/>
                  </a:lnTo>
                  <a:lnTo>
                    <a:pt x="349" y="178"/>
                  </a:lnTo>
                  <a:lnTo>
                    <a:pt x="349" y="179"/>
                  </a:lnTo>
                  <a:lnTo>
                    <a:pt x="349" y="179"/>
                  </a:lnTo>
                  <a:lnTo>
                    <a:pt x="349" y="180"/>
                  </a:lnTo>
                  <a:lnTo>
                    <a:pt x="350" y="180"/>
                  </a:lnTo>
                  <a:lnTo>
                    <a:pt x="350" y="182"/>
                  </a:lnTo>
                  <a:lnTo>
                    <a:pt x="351" y="182"/>
                  </a:lnTo>
                  <a:lnTo>
                    <a:pt x="351" y="183"/>
                  </a:lnTo>
                  <a:lnTo>
                    <a:pt x="351" y="183"/>
                  </a:lnTo>
                  <a:lnTo>
                    <a:pt x="351" y="184"/>
                  </a:lnTo>
                  <a:lnTo>
                    <a:pt x="351" y="184"/>
                  </a:lnTo>
                  <a:lnTo>
                    <a:pt x="351" y="185"/>
                  </a:lnTo>
                  <a:lnTo>
                    <a:pt x="351" y="186"/>
                  </a:lnTo>
                  <a:lnTo>
                    <a:pt x="351" y="186"/>
                  </a:lnTo>
                  <a:lnTo>
                    <a:pt x="350" y="187"/>
                  </a:lnTo>
                  <a:lnTo>
                    <a:pt x="350" y="188"/>
                  </a:lnTo>
                  <a:lnTo>
                    <a:pt x="349" y="188"/>
                  </a:lnTo>
                  <a:lnTo>
                    <a:pt x="348" y="189"/>
                  </a:lnTo>
                  <a:lnTo>
                    <a:pt x="347" y="189"/>
                  </a:lnTo>
                  <a:lnTo>
                    <a:pt x="346" y="190"/>
                  </a:lnTo>
                  <a:lnTo>
                    <a:pt x="345" y="191"/>
                  </a:lnTo>
                  <a:lnTo>
                    <a:pt x="344" y="191"/>
                  </a:lnTo>
                  <a:lnTo>
                    <a:pt x="341" y="192"/>
                  </a:lnTo>
                  <a:lnTo>
                    <a:pt x="339" y="193"/>
                  </a:lnTo>
                  <a:lnTo>
                    <a:pt x="339" y="193"/>
                  </a:lnTo>
                  <a:lnTo>
                    <a:pt x="337" y="193"/>
                  </a:lnTo>
                  <a:lnTo>
                    <a:pt x="336" y="194"/>
                  </a:lnTo>
                  <a:lnTo>
                    <a:pt x="335" y="194"/>
                  </a:lnTo>
                  <a:lnTo>
                    <a:pt x="335" y="195"/>
                  </a:lnTo>
                  <a:lnTo>
                    <a:pt x="335" y="195"/>
                  </a:lnTo>
                  <a:lnTo>
                    <a:pt x="334" y="195"/>
                  </a:lnTo>
                  <a:lnTo>
                    <a:pt x="334" y="196"/>
                  </a:lnTo>
                  <a:lnTo>
                    <a:pt x="334" y="196"/>
                  </a:lnTo>
                  <a:lnTo>
                    <a:pt x="334" y="197"/>
                  </a:lnTo>
                  <a:lnTo>
                    <a:pt x="334" y="199"/>
                  </a:lnTo>
                  <a:lnTo>
                    <a:pt x="334" y="200"/>
                  </a:lnTo>
                  <a:lnTo>
                    <a:pt x="334" y="202"/>
                  </a:lnTo>
                  <a:lnTo>
                    <a:pt x="334" y="203"/>
                  </a:lnTo>
                  <a:lnTo>
                    <a:pt x="334" y="204"/>
                  </a:lnTo>
                  <a:lnTo>
                    <a:pt x="334" y="205"/>
                  </a:lnTo>
                  <a:lnTo>
                    <a:pt x="332" y="211"/>
                  </a:lnTo>
                  <a:lnTo>
                    <a:pt x="332" y="212"/>
                  </a:lnTo>
                  <a:lnTo>
                    <a:pt x="332" y="213"/>
                  </a:lnTo>
                  <a:lnTo>
                    <a:pt x="332" y="214"/>
                  </a:lnTo>
                  <a:lnTo>
                    <a:pt x="331" y="214"/>
                  </a:lnTo>
                  <a:lnTo>
                    <a:pt x="331" y="215"/>
                  </a:lnTo>
                  <a:lnTo>
                    <a:pt x="330" y="215"/>
                  </a:lnTo>
                  <a:lnTo>
                    <a:pt x="329" y="215"/>
                  </a:lnTo>
                  <a:lnTo>
                    <a:pt x="329" y="215"/>
                  </a:lnTo>
                  <a:lnTo>
                    <a:pt x="328" y="215"/>
                  </a:lnTo>
                  <a:lnTo>
                    <a:pt x="327" y="215"/>
                  </a:lnTo>
                  <a:lnTo>
                    <a:pt x="327" y="215"/>
                  </a:lnTo>
                  <a:lnTo>
                    <a:pt x="326" y="215"/>
                  </a:lnTo>
                  <a:lnTo>
                    <a:pt x="325" y="214"/>
                  </a:lnTo>
                  <a:lnTo>
                    <a:pt x="324" y="214"/>
                  </a:lnTo>
                  <a:lnTo>
                    <a:pt x="323" y="213"/>
                  </a:lnTo>
                  <a:lnTo>
                    <a:pt x="322" y="212"/>
                  </a:lnTo>
                  <a:lnTo>
                    <a:pt x="319" y="210"/>
                  </a:lnTo>
                  <a:lnTo>
                    <a:pt x="318" y="209"/>
                  </a:lnTo>
                  <a:lnTo>
                    <a:pt x="317" y="209"/>
                  </a:lnTo>
                  <a:lnTo>
                    <a:pt x="315" y="207"/>
                  </a:lnTo>
                  <a:lnTo>
                    <a:pt x="314" y="206"/>
                  </a:lnTo>
                  <a:lnTo>
                    <a:pt x="313" y="205"/>
                  </a:lnTo>
                  <a:lnTo>
                    <a:pt x="312" y="205"/>
                  </a:lnTo>
                  <a:lnTo>
                    <a:pt x="311" y="204"/>
                  </a:lnTo>
                  <a:lnTo>
                    <a:pt x="310" y="204"/>
                  </a:lnTo>
                  <a:lnTo>
                    <a:pt x="308" y="204"/>
                  </a:lnTo>
                  <a:lnTo>
                    <a:pt x="307" y="203"/>
                  </a:lnTo>
                  <a:lnTo>
                    <a:pt x="306" y="203"/>
                  </a:lnTo>
                  <a:lnTo>
                    <a:pt x="303" y="203"/>
                  </a:lnTo>
                  <a:lnTo>
                    <a:pt x="299" y="203"/>
                  </a:lnTo>
                  <a:lnTo>
                    <a:pt x="299" y="202"/>
                  </a:lnTo>
                  <a:lnTo>
                    <a:pt x="296" y="202"/>
                  </a:lnTo>
                  <a:lnTo>
                    <a:pt x="294" y="201"/>
                  </a:lnTo>
                  <a:lnTo>
                    <a:pt x="293" y="201"/>
                  </a:lnTo>
                  <a:lnTo>
                    <a:pt x="292" y="201"/>
                  </a:lnTo>
                  <a:lnTo>
                    <a:pt x="292" y="201"/>
                  </a:lnTo>
                  <a:lnTo>
                    <a:pt x="291" y="201"/>
                  </a:lnTo>
                  <a:lnTo>
                    <a:pt x="291" y="202"/>
                  </a:lnTo>
                  <a:lnTo>
                    <a:pt x="290" y="202"/>
                  </a:lnTo>
                  <a:lnTo>
                    <a:pt x="289" y="202"/>
                  </a:lnTo>
                  <a:lnTo>
                    <a:pt x="289" y="203"/>
                  </a:lnTo>
                  <a:lnTo>
                    <a:pt x="287" y="205"/>
                  </a:lnTo>
                  <a:lnTo>
                    <a:pt x="285" y="206"/>
                  </a:lnTo>
                  <a:lnTo>
                    <a:pt x="284" y="208"/>
                  </a:lnTo>
                  <a:lnTo>
                    <a:pt x="282" y="209"/>
                  </a:lnTo>
                  <a:lnTo>
                    <a:pt x="282" y="210"/>
                  </a:lnTo>
                  <a:lnTo>
                    <a:pt x="279" y="211"/>
                  </a:lnTo>
                  <a:lnTo>
                    <a:pt x="277" y="212"/>
                  </a:lnTo>
                  <a:lnTo>
                    <a:pt x="276" y="213"/>
                  </a:lnTo>
                  <a:lnTo>
                    <a:pt x="274" y="215"/>
                  </a:lnTo>
                  <a:lnTo>
                    <a:pt x="269" y="218"/>
                  </a:lnTo>
                  <a:lnTo>
                    <a:pt x="268" y="218"/>
                  </a:lnTo>
                  <a:lnTo>
                    <a:pt x="266" y="219"/>
                  </a:lnTo>
                  <a:lnTo>
                    <a:pt x="265" y="220"/>
                  </a:lnTo>
                  <a:lnTo>
                    <a:pt x="264" y="221"/>
                  </a:lnTo>
                  <a:lnTo>
                    <a:pt x="262" y="222"/>
                  </a:lnTo>
                  <a:lnTo>
                    <a:pt x="262" y="222"/>
                  </a:lnTo>
                  <a:lnTo>
                    <a:pt x="258" y="224"/>
                  </a:lnTo>
                  <a:lnTo>
                    <a:pt x="256" y="225"/>
                  </a:lnTo>
                  <a:lnTo>
                    <a:pt x="255" y="225"/>
                  </a:lnTo>
                  <a:lnTo>
                    <a:pt x="254" y="225"/>
                  </a:lnTo>
                  <a:lnTo>
                    <a:pt x="254" y="226"/>
                  </a:lnTo>
                  <a:lnTo>
                    <a:pt x="253" y="226"/>
                  </a:lnTo>
                  <a:lnTo>
                    <a:pt x="253" y="227"/>
                  </a:lnTo>
                  <a:lnTo>
                    <a:pt x="252" y="228"/>
                  </a:lnTo>
                  <a:lnTo>
                    <a:pt x="252" y="228"/>
                  </a:lnTo>
                  <a:lnTo>
                    <a:pt x="252" y="229"/>
                  </a:lnTo>
                  <a:lnTo>
                    <a:pt x="252" y="229"/>
                  </a:lnTo>
                  <a:lnTo>
                    <a:pt x="252" y="232"/>
                  </a:lnTo>
                  <a:lnTo>
                    <a:pt x="252" y="233"/>
                  </a:lnTo>
                  <a:lnTo>
                    <a:pt x="252" y="234"/>
                  </a:lnTo>
                  <a:lnTo>
                    <a:pt x="251" y="239"/>
                  </a:lnTo>
                  <a:lnTo>
                    <a:pt x="251" y="239"/>
                  </a:lnTo>
                  <a:lnTo>
                    <a:pt x="250" y="240"/>
                  </a:lnTo>
                  <a:lnTo>
                    <a:pt x="250" y="241"/>
                  </a:lnTo>
                  <a:lnTo>
                    <a:pt x="249" y="242"/>
                  </a:lnTo>
                  <a:lnTo>
                    <a:pt x="248" y="243"/>
                  </a:lnTo>
                  <a:lnTo>
                    <a:pt x="247" y="244"/>
                  </a:lnTo>
                  <a:lnTo>
                    <a:pt x="245" y="245"/>
                  </a:lnTo>
                  <a:lnTo>
                    <a:pt x="244" y="246"/>
                  </a:lnTo>
                  <a:lnTo>
                    <a:pt x="243" y="247"/>
                  </a:lnTo>
                  <a:lnTo>
                    <a:pt x="242" y="247"/>
                  </a:lnTo>
                  <a:lnTo>
                    <a:pt x="241" y="248"/>
                  </a:lnTo>
                  <a:lnTo>
                    <a:pt x="240" y="248"/>
                  </a:lnTo>
                  <a:lnTo>
                    <a:pt x="239" y="248"/>
                  </a:lnTo>
                  <a:lnTo>
                    <a:pt x="238" y="248"/>
                  </a:lnTo>
                  <a:lnTo>
                    <a:pt x="238" y="248"/>
                  </a:lnTo>
                  <a:lnTo>
                    <a:pt x="237" y="247"/>
                  </a:lnTo>
                  <a:lnTo>
                    <a:pt x="234" y="246"/>
                  </a:lnTo>
                  <a:lnTo>
                    <a:pt x="233" y="246"/>
                  </a:lnTo>
                  <a:lnTo>
                    <a:pt x="232" y="246"/>
                  </a:lnTo>
                  <a:lnTo>
                    <a:pt x="231" y="245"/>
                  </a:lnTo>
                  <a:lnTo>
                    <a:pt x="230" y="245"/>
                  </a:lnTo>
                  <a:lnTo>
                    <a:pt x="229" y="246"/>
                  </a:lnTo>
                  <a:lnTo>
                    <a:pt x="228" y="246"/>
                  </a:lnTo>
                  <a:lnTo>
                    <a:pt x="226" y="246"/>
                  </a:lnTo>
                  <a:lnTo>
                    <a:pt x="224" y="246"/>
                  </a:lnTo>
                  <a:lnTo>
                    <a:pt x="223" y="246"/>
                  </a:lnTo>
                  <a:lnTo>
                    <a:pt x="222" y="246"/>
                  </a:lnTo>
                  <a:lnTo>
                    <a:pt x="221" y="246"/>
                  </a:lnTo>
                  <a:lnTo>
                    <a:pt x="220" y="246"/>
                  </a:lnTo>
                  <a:lnTo>
                    <a:pt x="219" y="246"/>
                  </a:lnTo>
                  <a:lnTo>
                    <a:pt x="218" y="246"/>
                  </a:lnTo>
                  <a:lnTo>
                    <a:pt x="215" y="245"/>
                  </a:lnTo>
                  <a:lnTo>
                    <a:pt x="214" y="244"/>
                  </a:lnTo>
                  <a:lnTo>
                    <a:pt x="209" y="243"/>
                  </a:lnTo>
                  <a:lnTo>
                    <a:pt x="208" y="242"/>
                  </a:lnTo>
                  <a:lnTo>
                    <a:pt x="206" y="242"/>
                  </a:lnTo>
                  <a:lnTo>
                    <a:pt x="205" y="241"/>
                  </a:lnTo>
                  <a:lnTo>
                    <a:pt x="205" y="241"/>
                  </a:lnTo>
                  <a:lnTo>
                    <a:pt x="203" y="241"/>
                  </a:lnTo>
                  <a:lnTo>
                    <a:pt x="202" y="241"/>
                  </a:lnTo>
                  <a:lnTo>
                    <a:pt x="201" y="241"/>
                  </a:lnTo>
                  <a:lnTo>
                    <a:pt x="201" y="241"/>
                  </a:lnTo>
                  <a:lnTo>
                    <a:pt x="200" y="241"/>
                  </a:lnTo>
                  <a:lnTo>
                    <a:pt x="199" y="242"/>
                  </a:lnTo>
                  <a:lnTo>
                    <a:pt x="196" y="243"/>
                  </a:lnTo>
                  <a:lnTo>
                    <a:pt x="195" y="243"/>
                  </a:lnTo>
                  <a:lnTo>
                    <a:pt x="194" y="243"/>
                  </a:lnTo>
                  <a:lnTo>
                    <a:pt x="192" y="243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6" y="244"/>
                  </a:lnTo>
                  <a:lnTo>
                    <a:pt x="185" y="245"/>
                  </a:lnTo>
                  <a:lnTo>
                    <a:pt x="183" y="245"/>
                  </a:lnTo>
                  <a:lnTo>
                    <a:pt x="182" y="246"/>
                  </a:lnTo>
                  <a:lnTo>
                    <a:pt x="180" y="246"/>
                  </a:lnTo>
                  <a:lnTo>
                    <a:pt x="178" y="247"/>
                  </a:lnTo>
                  <a:lnTo>
                    <a:pt x="177" y="247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4" y="250"/>
                  </a:lnTo>
                  <a:lnTo>
                    <a:pt x="174" y="250"/>
                  </a:lnTo>
                  <a:lnTo>
                    <a:pt x="173" y="251"/>
                  </a:lnTo>
                  <a:lnTo>
                    <a:pt x="173" y="251"/>
                  </a:lnTo>
                  <a:lnTo>
                    <a:pt x="171" y="253"/>
                  </a:lnTo>
                  <a:lnTo>
                    <a:pt x="170" y="253"/>
                  </a:lnTo>
                  <a:lnTo>
                    <a:pt x="169" y="254"/>
                  </a:lnTo>
                  <a:lnTo>
                    <a:pt x="168" y="254"/>
                  </a:lnTo>
                  <a:lnTo>
                    <a:pt x="168" y="255"/>
                  </a:lnTo>
                  <a:lnTo>
                    <a:pt x="167" y="255"/>
                  </a:lnTo>
                  <a:lnTo>
                    <a:pt x="167" y="256"/>
                  </a:lnTo>
                  <a:lnTo>
                    <a:pt x="167" y="257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5" y="259"/>
                  </a:lnTo>
                  <a:lnTo>
                    <a:pt x="165" y="259"/>
                  </a:lnTo>
                  <a:lnTo>
                    <a:pt x="165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3" y="257"/>
                  </a:lnTo>
                  <a:lnTo>
                    <a:pt x="162" y="255"/>
                  </a:lnTo>
                  <a:lnTo>
                    <a:pt x="162" y="255"/>
                  </a:lnTo>
                  <a:lnTo>
                    <a:pt x="161" y="254"/>
                  </a:lnTo>
                  <a:lnTo>
                    <a:pt x="160" y="253"/>
                  </a:lnTo>
                  <a:lnTo>
                    <a:pt x="159" y="252"/>
                  </a:lnTo>
                  <a:lnTo>
                    <a:pt x="158" y="252"/>
                  </a:lnTo>
                  <a:lnTo>
                    <a:pt x="157" y="251"/>
                  </a:lnTo>
                  <a:lnTo>
                    <a:pt x="155" y="251"/>
                  </a:lnTo>
                  <a:lnTo>
                    <a:pt x="155" y="251"/>
                  </a:lnTo>
                  <a:lnTo>
                    <a:pt x="154" y="251"/>
                  </a:lnTo>
                  <a:lnTo>
                    <a:pt x="153" y="251"/>
                  </a:lnTo>
                  <a:lnTo>
                    <a:pt x="151" y="252"/>
                  </a:lnTo>
                  <a:lnTo>
                    <a:pt x="150" y="252"/>
                  </a:lnTo>
                  <a:lnTo>
                    <a:pt x="149" y="253"/>
                  </a:lnTo>
                  <a:lnTo>
                    <a:pt x="148" y="253"/>
                  </a:lnTo>
                  <a:lnTo>
                    <a:pt x="147" y="254"/>
                  </a:lnTo>
                  <a:lnTo>
                    <a:pt x="145" y="255"/>
                  </a:lnTo>
                  <a:lnTo>
                    <a:pt x="144" y="256"/>
                  </a:lnTo>
                  <a:lnTo>
                    <a:pt x="144" y="256"/>
                  </a:lnTo>
                  <a:lnTo>
                    <a:pt x="143" y="257"/>
                  </a:lnTo>
                  <a:lnTo>
                    <a:pt x="142" y="257"/>
                  </a:lnTo>
                  <a:lnTo>
                    <a:pt x="141" y="257"/>
                  </a:lnTo>
                  <a:lnTo>
                    <a:pt x="140" y="257"/>
                  </a:lnTo>
                  <a:lnTo>
                    <a:pt x="140" y="257"/>
                  </a:lnTo>
                  <a:lnTo>
                    <a:pt x="139" y="257"/>
                  </a:lnTo>
                  <a:lnTo>
                    <a:pt x="134" y="255"/>
                  </a:lnTo>
                  <a:lnTo>
                    <a:pt x="130" y="254"/>
                  </a:lnTo>
                  <a:lnTo>
                    <a:pt x="128" y="254"/>
                  </a:lnTo>
                  <a:lnTo>
                    <a:pt x="128" y="253"/>
                  </a:lnTo>
                  <a:lnTo>
                    <a:pt x="128" y="253"/>
                  </a:lnTo>
                  <a:lnTo>
                    <a:pt x="128" y="252"/>
                  </a:lnTo>
                  <a:lnTo>
                    <a:pt x="127" y="251"/>
                  </a:lnTo>
                  <a:lnTo>
                    <a:pt x="127" y="250"/>
                  </a:lnTo>
                  <a:lnTo>
                    <a:pt x="126" y="250"/>
                  </a:lnTo>
                  <a:lnTo>
                    <a:pt x="125" y="249"/>
                  </a:lnTo>
                  <a:lnTo>
                    <a:pt x="125" y="248"/>
                  </a:lnTo>
                  <a:lnTo>
                    <a:pt x="124" y="247"/>
                  </a:lnTo>
                  <a:lnTo>
                    <a:pt x="123" y="246"/>
                  </a:lnTo>
                  <a:lnTo>
                    <a:pt x="120" y="245"/>
                  </a:lnTo>
                  <a:lnTo>
                    <a:pt x="119" y="244"/>
                  </a:lnTo>
                  <a:lnTo>
                    <a:pt x="114" y="241"/>
                  </a:lnTo>
                  <a:lnTo>
                    <a:pt x="112" y="240"/>
                  </a:lnTo>
                  <a:lnTo>
                    <a:pt x="110" y="239"/>
                  </a:lnTo>
                  <a:lnTo>
                    <a:pt x="109" y="238"/>
                  </a:lnTo>
                  <a:lnTo>
                    <a:pt x="108" y="237"/>
                  </a:lnTo>
                  <a:lnTo>
                    <a:pt x="108" y="237"/>
                  </a:lnTo>
                  <a:lnTo>
                    <a:pt x="108" y="236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4"/>
                  </a:lnTo>
                  <a:lnTo>
                    <a:pt x="107" y="233"/>
                  </a:lnTo>
                  <a:lnTo>
                    <a:pt x="107" y="232"/>
                  </a:lnTo>
                  <a:lnTo>
                    <a:pt x="108" y="231"/>
                  </a:lnTo>
                  <a:lnTo>
                    <a:pt x="108" y="230"/>
                  </a:lnTo>
                  <a:lnTo>
                    <a:pt x="108" y="230"/>
                  </a:lnTo>
                  <a:lnTo>
                    <a:pt x="110" y="227"/>
                  </a:lnTo>
                  <a:lnTo>
                    <a:pt x="110" y="226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1" y="224"/>
                  </a:lnTo>
                  <a:lnTo>
                    <a:pt x="111" y="223"/>
                  </a:lnTo>
                  <a:lnTo>
                    <a:pt x="111" y="222"/>
                  </a:lnTo>
                  <a:lnTo>
                    <a:pt x="111" y="222"/>
                  </a:lnTo>
                  <a:lnTo>
                    <a:pt x="110" y="221"/>
                  </a:lnTo>
                  <a:lnTo>
                    <a:pt x="110" y="220"/>
                  </a:lnTo>
                  <a:lnTo>
                    <a:pt x="110" y="220"/>
                  </a:lnTo>
                  <a:lnTo>
                    <a:pt x="110" y="219"/>
                  </a:lnTo>
                  <a:lnTo>
                    <a:pt x="109" y="219"/>
                  </a:lnTo>
                  <a:lnTo>
                    <a:pt x="109" y="218"/>
                  </a:lnTo>
                  <a:lnTo>
                    <a:pt x="107" y="216"/>
                  </a:lnTo>
                  <a:lnTo>
                    <a:pt x="105" y="215"/>
                  </a:lnTo>
                  <a:lnTo>
                    <a:pt x="104" y="215"/>
                  </a:lnTo>
                  <a:lnTo>
                    <a:pt x="104" y="214"/>
                  </a:lnTo>
                  <a:lnTo>
                    <a:pt x="103" y="214"/>
                  </a:lnTo>
                  <a:lnTo>
                    <a:pt x="102" y="214"/>
                  </a:lnTo>
                  <a:lnTo>
                    <a:pt x="101" y="213"/>
                  </a:lnTo>
                  <a:lnTo>
                    <a:pt x="100" y="213"/>
                  </a:lnTo>
                  <a:lnTo>
                    <a:pt x="98" y="213"/>
                  </a:lnTo>
                  <a:lnTo>
                    <a:pt x="97" y="213"/>
                  </a:lnTo>
                  <a:lnTo>
                    <a:pt x="96" y="213"/>
                  </a:lnTo>
                  <a:lnTo>
                    <a:pt x="95" y="213"/>
                  </a:lnTo>
                  <a:lnTo>
                    <a:pt x="95" y="212"/>
                  </a:lnTo>
                  <a:lnTo>
                    <a:pt x="94" y="212"/>
                  </a:lnTo>
                  <a:lnTo>
                    <a:pt x="94" y="212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2" y="209"/>
                  </a:lnTo>
                  <a:lnTo>
                    <a:pt x="91" y="208"/>
                  </a:lnTo>
                  <a:lnTo>
                    <a:pt x="90" y="207"/>
                  </a:lnTo>
                  <a:lnTo>
                    <a:pt x="87" y="205"/>
                  </a:lnTo>
                  <a:lnTo>
                    <a:pt x="85" y="204"/>
                  </a:lnTo>
                  <a:lnTo>
                    <a:pt x="84" y="203"/>
                  </a:lnTo>
                  <a:lnTo>
                    <a:pt x="83" y="203"/>
                  </a:lnTo>
                  <a:lnTo>
                    <a:pt x="83" y="202"/>
                  </a:lnTo>
                  <a:lnTo>
                    <a:pt x="81" y="201"/>
                  </a:lnTo>
                  <a:lnTo>
                    <a:pt x="80" y="201"/>
                  </a:lnTo>
                  <a:lnTo>
                    <a:pt x="79" y="200"/>
                  </a:lnTo>
                  <a:lnTo>
                    <a:pt x="76" y="199"/>
                  </a:lnTo>
                  <a:lnTo>
                    <a:pt x="75" y="198"/>
                  </a:lnTo>
                  <a:lnTo>
                    <a:pt x="73" y="196"/>
                  </a:lnTo>
                  <a:lnTo>
                    <a:pt x="70" y="193"/>
                  </a:lnTo>
                  <a:lnTo>
                    <a:pt x="69" y="192"/>
                  </a:lnTo>
                  <a:lnTo>
                    <a:pt x="68" y="192"/>
                  </a:lnTo>
                  <a:lnTo>
                    <a:pt x="68" y="192"/>
                  </a:lnTo>
                  <a:lnTo>
                    <a:pt x="67" y="191"/>
                  </a:lnTo>
                  <a:lnTo>
                    <a:pt x="65" y="190"/>
                  </a:lnTo>
                  <a:lnTo>
                    <a:pt x="64" y="190"/>
                  </a:lnTo>
                  <a:lnTo>
                    <a:pt x="64" y="190"/>
                  </a:lnTo>
                  <a:lnTo>
                    <a:pt x="63" y="189"/>
                  </a:lnTo>
                  <a:lnTo>
                    <a:pt x="62" y="188"/>
                  </a:lnTo>
                  <a:lnTo>
                    <a:pt x="61" y="187"/>
                  </a:lnTo>
                  <a:lnTo>
                    <a:pt x="60" y="185"/>
                  </a:lnTo>
                  <a:lnTo>
                    <a:pt x="59" y="185"/>
                  </a:lnTo>
                  <a:lnTo>
                    <a:pt x="59" y="184"/>
                  </a:lnTo>
                  <a:lnTo>
                    <a:pt x="58" y="183"/>
                  </a:lnTo>
                  <a:lnTo>
                    <a:pt x="57" y="182"/>
                  </a:lnTo>
                  <a:lnTo>
                    <a:pt x="55" y="182"/>
                  </a:lnTo>
                  <a:lnTo>
                    <a:pt x="54" y="181"/>
                  </a:lnTo>
                  <a:lnTo>
                    <a:pt x="51" y="180"/>
                  </a:lnTo>
                  <a:lnTo>
                    <a:pt x="50" y="180"/>
                  </a:lnTo>
                  <a:lnTo>
                    <a:pt x="48" y="179"/>
                  </a:lnTo>
                  <a:lnTo>
                    <a:pt x="47" y="179"/>
                  </a:lnTo>
                  <a:lnTo>
                    <a:pt x="47" y="178"/>
                  </a:lnTo>
                  <a:lnTo>
                    <a:pt x="47" y="178"/>
                  </a:lnTo>
                  <a:lnTo>
                    <a:pt x="46" y="178"/>
                  </a:lnTo>
                  <a:lnTo>
                    <a:pt x="46" y="177"/>
                  </a:lnTo>
                  <a:lnTo>
                    <a:pt x="46" y="177"/>
                  </a:lnTo>
                  <a:lnTo>
                    <a:pt x="46" y="176"/>
                  </a:lnTo>
                  <a:lnTo>
                    <a:pt x="46" y="176"/>
                  </a:lnTo>
                  <a:lnTo>
                    <a:pt x="46" y="174"/>
                  </a:lnTo>
                  <a:lnTo>
                    <a:pt x="46" y="173"/>
                  </a:lnTo>
                  <a:lnTo>
                    <a:pt x="46" y="172"/>
                  </a:lnTo>
                  <a:lnTo>
                    <a:pt x="46" y="171"/>
                  </a:lnTo>
                  <a:lnTo>
                    <a:pt x="45" y="170"/>
                  </a:lnTo>
                  <a:lnTo>
                    <a:pt x="44" y="169"/>
                  </a:lnTo>
                  <a:lnTo>
                    <a:pt x="43" y="167"/>
                  </a:lnTo>
                  <a:lnTo>
                    <a:pt x="42" y="166"/>
                  </a:lnTo>
                  <a:lnTo>
                    <a:pt x="41" y="165"/>
                  </a:lnTo>
                  <a:lnTo>
                    <a:pt x="40" y="164"/>
                  </a:lnTo>
                  <a:lnTo>
                    <a:pt x="40" y="163"/>
                  </a:lnTo>
                  <a:lnTo>
                    <a:pt x="39" y="163"/>
                  </a:lnTo>
                  <a:lnTo>
                    <a:pt x="38" y="162"/>
                  </a:lnTo>
                  <a:lnTo>
                    <a:pt x="37" y="162"/>
                  </a:lnTo>
                  <a:lnTo>
                    <a:pt x="36" y="161"/>
                  </a:lnTo>
                  <a:lnTo>
                    <a:pt x="35" y="161"/>
                  </a:lnTo>
                  <a:lnTo>
                    <a:pt x="34" y="160"/>
                  </a:lnTo>
                  <a:lnTo>
                    <a:pt x="32" y="158"/>
                  </a:lnTo>
                  <a:lnTo>
                    <a:pt x="31" y="158"/>
                  </a:lnTo>
                  <a:lnTo>
                    <a:pt x="30" y="157"/>
                  </a:lnTo>
                  <a:lnTo>
                    <a:pt x="30" y="157"/>
                  </a:lnTo>
                  <a:lnTo>
                    <a:pt x="29" y="156"/>
                  </a:lnTo>
                  <a:lnTo>
                    <a:pt x="29" y="155"/>
                  </a:lnTo>
                  <a:lnTo>
                    <a:pt x="28" y="154"/>
                  </a:lnTo>
                  <a:lnTo>
                    <a:pt x="28" y="153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7" y="149"/>
                  </a:lnTo>
                  <a:lnTo>
                    <a:pt x="27" y="148"/>
                  </a:lnTo>
                  <a:lnTo>
                    <a:pt x="27" y="146"/>
                  </a:lnTo>
                  <a:lnTo>
                    <a:pt x="27" y="145"/>
                  </a:lnTo>
                  <a:lnTo>
                    <a:pt x="27" y="143"/>
                  </a:lnTo>
                  <a:lnTo>
                    <a:pt x="27" y="142"/>
                  </a:lnTo>
                  <a:lnTo>
                    <a:pt x="27" y="141"/>
                  </a:lnTo>
                  <a:lnTo>
                    <a:pt x="28" y="136"/>
                  </a:lnTo>
                  <a:lnTo>
                    <a:pt x="30" y="133"/>
                  </a:lnTo>
                  <a:lnTo>
                    <a:pt x="30" y="131"/>
                  </a:lnTo>
                  <a:lnTo>
                    <a:pt x="30" y="130"/>
                  </a:lnTo>
                  <a:lnTo>
                    <a:pt x="30" y="129"/>
                  </a:lnTo>
                  <a:lnTo>
                    <a:pt x="30" y="128"/>
                  </a:lnTo>
                  <a:lnTo>
                    <a:pt x="30" y="127"/>
                  </a:lnTo>
                  <a:lnTo>
                    <a:pt x="30" y="125"/>
                  </a:lnTo>
                  <a:lnTo>
                    <a:pt x="29" y="124"/>
                  </a:lnTo>
                  <a:lnTo>
                    <a:pt x="29" y="122"/>
                  </a:lnTo>
                  <a:lnTo>
                    <a:pt x="28" y="121"/>
                  </a:lnTo>
                  <a:lnTo>
                    <a:pt x="28" y="120"/>
                  </a:lnTo>
                  <a:lnTo>
                    <a:pt x="27" y="117"/>
                  </a:lnTo>
                  <a:lnTo>
                    <a:pt x="26" y="115"/>
                  </a:lnTo>
                  <a:lnTo>
                    <a:pt x="26" y="115"/>
                  </a:lnTo>
                  <a:lnTo>
                    <a:pt x="25" y="114"/>
                  </a:lnTo>
                  <a:lnTo>
                    <a:pt x="24" y="113"/>
                  </a:lnTo>
                  <a:lnTo>
                    <a:pt x="23" y="111"/>
                  </a:lnTo>
                  <a:lnTo>
                    <a:pt x="21" y="109"/>
                  </a:lnTo>
                  <a:lnTo>
                    <a:pt x="21" y="109"/>
                  </a:lnTo>
                  <a:lnTo>
                    <a:pt x="19" y="107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7" y="103"/>
                  </a:lnTo>
                  <a:lnTo>
                    <a:pt x="16" y="102"/>
                  </a:lnTo>
                  <a:lnTo>
                    <a:pt x="15" y="101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2" y="98"/>
                  </a:lnTo>
                  <a:lnTo>
                    <a:pt x="11" y="98"/>
                  </a:lnTo>
                  <a:lnTo>
                    <a:pt x="9" y="97"/>
                  </a:lnTo>
                  <a:lnTo>
                    <a:pt x="8" y="97"/>
                  </a:lnTo>
                  <a:lnTo>
                    <a:pt x="7" y="96"/>
                  </a:lnTo>
                  <a:lnTo>
                    <a:pt x="6" y="96"/>
                  </a:lnTo>
                  <a:lnTo>
                    <a:pt x="5" y="95"/>
                  </a:lnTo>
                  <a:lnTo>
                    <a:pt x="4" y="95"/>
                  </a:lnTo>
                  <a:lnTo>
                    <a:pt x="4" y="94"/>
                  </a:lnTo>
                  <a:lnTo>
                    <a:pt x="3" y="94"/>
                  </a:lnTo>
                  <a:lnTo>
                    <a:pt x="2" y="93"/>
                  </a:lnTo>
                  <a:lnTo>
                    <a:pt x="1" y="92"/>
                  </a:lnTo>
                  <a:lnTo>
                    <a:pt x="1" y="91"/>
                  </a:lnTo>
                  <a:lnTo>
                    <a:pt x="0" y="91"/>
                  </a:lnTo>
                  <a:lnTo>
                    <a:pt x="0" y="90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8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6"/>
                  </a:lnTo>
                  <a:lnTo>
                    <a:pt x="1" y="85"/>
                  </a:lnTo>
                  <a:lnTo>
                    <a:pt x="1" y="85"/>
                  </a:lnTo>
                  <a:lnTo>
                    <a:pt x="2" y="84"/>
                  </a:lnTo>
                  <a:lnTo>
                    <a:pt x="3" y="83"/>
                  </a:lnTo>
                  <a:lnTo>
                    <a:pt x="4" y="82"/>
                  </a:lnTo>
                  <a:lnTo>
                    <a:pt x="5" y="81"/>
                  </a:lnTo>
                  <a:lnTo>
                    <a:pt x="6" y="80"/>
                  </a:lnTo>
                  <a:lnTo>
                    <a:pt x="7" y="80"/>
                  </a:lnTo>
                  <a:lnTo>
                    <a:pt x="8" y="79"/>
                  </a:lnTo>
                  <a:lnTo>
                    <a:pt x="8" y="78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9" y="76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3"/>
                  </a:lnTo>
                  <a:lnTo>
                    <a:pt x="8" y="70"/>
                  </a:lnTo>
                  <a:lnTo>
                    <a:pt x="8" y="69"/>
                  </a:lnTo>
                  <a:lnTo>
                    <a:pt x="7" y="67"/>
                  </a:lnTo>
                  <a:lnTo>
                    <a:pt x="7" y="65"/>
                  </a:lnTo>
                  <a:lnTo>
                    <a:pt x="7" y="64"/>
                  </a:lnTo>
                  <a:lnTo>
                    <a:pt x="6" y="63"/>
                  </a:lnTo>
                  <a:lnTo>
                    <a:pt x="6" y="62"/>
                  </a:lnTo>
                  <a:lnTo>
                    <a:pt x="5" y="61"/>
                  </a:lnTo>
                  <a:lnTo>
                    <a:pt x="4" y="60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5" y="58"/>
                  </a:lnTo>
                  <a:lnTo>
                    <a:pt x="6" y="58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12" y="57"/>
                  </a:lnTo>
                  <a:lnTo>
                    <a:pt x="14" y="57"/>
                  </a:lnTo>
                  <a:lnTo>
                    <a:pt x="16" y="57"/>
                  </a:lnTo>
                  <a:lnTo>
                    <a:pt x="18" y="57"/>
                  </a:lnTo>
                  <a:lnTo>
                    <a:pt x="19" y="57"/>
                  </a:lnTo>
                  <a:lnTo>
                    <a:pt x="21" y="57"/>
                  </a:lnTo>
                  <a:lnTo>
                    <a:pt x="22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4" y="59"/>
                  </a:lnTo>
                  <a:lnTo>
                    <a:pt x="25" y="59"/>
                  </a:lnTo>
                  <a:lnTo>
                    <a:pt x="26" y="60"/>
                  </a:lnTo>
                  <a:lnTo>
                    <a:pt x="27" y="61"/>
                  </a:lnTo>
                  <a:lnTo>
                    <a:pt x="28" y="63"/>
                  </a:lnTo>
                  <a:lnTo>
                    <a:pt x="28" y="64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6"/>
                  </a:lnTo>
                  <a:lnTo>
                    <a:pt x="30" y="70"/>
                  </a:lnTo>
                  <a:lnTo>
                    <a:pt x="30" y="71"/>
                  </a:lnTo>
                  <a:lnTo>
                    <a:pt x="31" y="74"/>
                  </a:lnTo>
                  <a:lnTo>
                    <a:pt x="31" y="75"/>
                  </a:lnTo>
                  <a:lnTo>
                    <a:pt x="32" y="76"/>
                  </a:lnTo>
                  <a:lnTo>
                    <a:pt x="32" y="77"/>
                  </a:lnTo>
                  <a:lnTo>
                    <a:pt x="33" y="78"/>
                  </a:lnTo>
                  <a:lnTo>
                    <a:pt x="33" y="79"/>
                  </a:lnTo>
                  <a:lnTo>
                    <a:pt x="34" y="79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6" y="80"/>
                  </a:lnTo>
                  <a:lnTo>
                    <a:pt x="37" y="81"/>
                  </a:lnTo>
                  <a:lnTo>
                    <a:pt x="42" y="83"/>
                  </a:lnTo>
                  <a:lnTo>
                    <a:pt x="43" y="83"/>
                  </a:lnTo>
                  <a:lnTo>
                    <a:pt x="44" y="83"/>
                  </a:lnTo>
                  <a:lnTo>
                    <a:pt x="45" y="84"/>
                  </a:lnTo>
                  <a:lnTo>
                    <a:pt x="45" y="85"/>
                  </a:lnTo>
                  <a:lnTo>
                    <a:pt x="46" y="85"/>
                  </a:lnTo>
                  <a:lnTo>
                    <a:pt x="46" y="86"/>
                  </a:lnTo>
                  <a:lnTo>
                    <a:pt x="47" y="87"/>
                  </a:lnTo>
                  <a:lnTo>
                    <a:pt x="47" y="87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7" y="89"/>
                  </a:lnTo>
                  <a:lnTo>
                    <a:pt x="46" y="89"/>
                  </a:lnTo>
                  <a:lnTo>
                    <a:pt x="46" y="89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4" y="90"/>
                  </a:lnTo>
                  <a:lnTo>
                    <a:pt x="44" y="91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3"/>
                  </a:lnTo>
                  <a:lnTo>
                    <a:pt x="44" y="94"/>
                  </a:lnTo>
                  <a:lnTo>
                    <a:pt x="45" y="94"/>
                  </a:lnTo>
                  <a:lnTo>
                    <a:pt x="45" y="95"/>
                  </a:lnTo>
                  <a:lnTo>
                    <a:pt x="46" y="96"/>
                  </a:lnTo>
                  <a:lnTo>
                    <a:pt x="47" y="97"/>
                  </a:lnTo>
                  <a:lnTo>
                    <a:pt x="48" y="98"/>
                  </a:lnTo>
                  <a:lnTo>
                    <a:pt x="51" y="100"/>
                  </a:lnTo>
                  <a:lnTo>
                    <a:pt x="51" y="101"/>
                  </a:lnTo>
                  <a:lnTo>
                    <a:pt x="52" y="102"/>
                  </a:lnTo>
                  <a:lnTo>
                    <a:pt x="53" y="103"/>
                  </a:lnTo>
                  <a:lnTo>
                    <a:pt x="54" y="104"/>
                  </a:lnTo>
                  <a:lnTo>
                    <a:pt x="54" y="105"/>
                  </a:lnTo>
                  <a:lnTo>
                    <a:pt x="54" y="105"/>
                  </a:lnTo>
                  <a:lnTo>
                    <a:pt x="54" y="106"/>
                  </a:lnTo>
                  <a:lnTo>
                    <a:pt x="54" y="107"/>
                  </a:lnTo>
                  <a:lnTo>
                    <a:pt x="54" y="109"/>
                  </a:lnTo>
                  <a:lnTo>
                    <a:pt x="54" y="112"/>
                  </a:lnTo>
                  <a:lnTo>
                    <a:pt x="53" y="113"/>
                  </a:lnTo>
                  <a:lnTo>
                    <a:pt x="53" y="115"/>
                  </a:lnTo>
                  <a:lnTo>
                    <a:pt x="53" y="116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8"/>
                  </a:lnTo>
                  <a:lnTo>
                    <a:pt x="53" y="119"/>
                  </a:lnTo>
                  <a:lnTo>
                    <a:pt x="54" y="121"/>
                  </a:lnTo>
                  <a:lnTo>
                    <a:pt x="55" y="122"/>
                  </a:lnTo>
                  <a:lnTo>
                    <a:pt x="56" y="123"/>
                  </a:lnTo>
                  <a:lnTo>
                    <a:pt x="56" y="124"/>
                  </a:lnTo>
                  <a:lnTo>
                    <a:pt x="57" y="125"/>
                  </a:lnTo>
                  <a:lnTo>
                    <a:pt x="57" y="125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6"/>
                  </a:lnTo>
                  <a:lnTo>
                    <a:pt x="60" y="127"/>
                  </a:lnTo>
                  <a:lnTo>
                    <a:pt x="61" y="127"/>
                  </a:lnTo>
                  <a:lnTo>
                    <a:pt x="62" y="127"/>
                  </a:lnTo>
                  <a:lnTo>
                    <a:pt x="63" y="127"/>
                  </a:lnTo>
                  <a:lnTo>
                    <a:pt x="64" y="128"/>
                  </a:lnTo>
                  <a:lnTo>
                    <a:pt x="64" y="127"/>
                  </a:lnTo>
                  <a:lnTo>
                    <a:pt x="65" y="127"/>
                  </a:lnTo>
                  <a:lnTo>
                    <a:pt x="65" y="127"/>
                  </a:lnTo>
                  <a:lnTo>
                    <a:pt x="66" y="127"/>
                  </a:lnTo>
                  <a:lnTo>
                    <a:pt x="66" y="127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7" y="123"/>
                  </a:lnTo>
                  <a:lnTo>
                    <a:pt x="67" y="121"/>
                  </a:lnTo>
                  <a:lnTo>
                    <a:pt x="67" y="120"/>
                  </a:lnTo>
                  <a:lnTo>
                    <a:pt x="67" y="119"/>
                  </a:lnTo>
                  <a:lnTo>
                    <a:pt x="67" y="118"/>
                  </a:lnTo>
                  <a:lnTo>
                    <a:pt x="67" y="116"/>
                  </a:lnTo>
                  <a:lnTo>
                    <a:pt x="67" y="114"/>
                  </a:lnTo>
                  <a:lnTo>
                    <a:pt x="67" y="113"/>
                  </a:lnTo>
                  <a:lnTo>
                    <a:pt x="67" y="112"/>
                  </a:lnTo>
                  <a:lnTo>
                    <a:pt x="67" y="110"/>
                  </a:lnTo>
                  <a:lnTo>
                    <a:pt x="67" y="109"/>
                  </a:lnTo>
                  <a:lnTo>
                    <a:pt x="67" y="105"/>
                  </a:lnTo>
                  <a:lnTo>
                    <a:pt x="68" y="102"/>
                  </a:lnTo>
                  <a:lnTo>
                    <a:pt x="68" y="101"/>
                  </a:lnTo>
                  <a:lnTo>
                    <a:pt x="68" y="100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8"/>
                  </a:lnTo>
                  <a:lnTo>
                    <a:pt x="70" y="98"/>
                  </a:lnTo>
                  <a:lnTo>
                    <a:pt x="70" y="98"/>
                  </a:lnTo>
                  <a:lnTo>
                    <a:pt x="70" y="97"/>
                  </a:lnTo>
                  <a:lnTo>
                    <a:pt x="72" y="97"/>
                  </a:lnTo>
                  <a:lnTo>
                    <a:pt x="73" y="97"/>
                  </a:lnTo>
                  <a:lnTo>
                    <a:pt x="73" y="96"/>
                  </a:lnTo>
                  <a:lnTo>
                    <a:pt x="73" y="96"/>
                  </a:lnTo>
                  <a:lnTo>
                    <a:pt x="74" y="96"/>
                  </a:lnTo>
                  <a:lnTo>
                    <a:pt x="74" y="95"/>
                  </a:lnTo>
                  <a:lnTo>
                    <a:pt x="74" y="94"/>
                  </a:lnTo>
                  <a:lnTo>
                    <a:pt x="74" y="94"/>
                  </a:lnTo>
                  <a:lnTo>
                    <a:pt x="75" y="93"/>
                  </a:lnTo>
                  <a:lnTo>
                    <a:pt x="75" y="91"/>
                  </a:lnTo>
                  <a:lnTo>
                    <a:pt x="75" y="90"/>
                  </a:lnTo>
                  <a:lnTo>
                    <a:pt x="75" y="89"/>
                  </a:lnTo>
                  <a:lnTo>
                    <a:pt x="76" y="87"/>
                  </a:lnTo>
                  <a:lnTo>
                    <a:pt x="76" y="86"/>
                  </a:lnTo>
                  <a:lnTo>
                    <a:pt x="77" y="84"/>
                  </a:lnTo>
                  <a:lnTo>
                    <a:pt x="78" y="82"/>
                  </a:lnTo>
                  <a:lnTo>
                    <a:pt x="78" y="81"/>
                  </a:lnTo>
                  <a:lnTo>
                    <a:pt x="79" y="80"/>
                  </a:lnTo>
                  <a:lnTo>
                    <a:pt x="80" y="79"/>
                  </a:lnTo>
                  <a:lnTo>
                    <a:pt x="81" y="78"/>
                  </a:lnTo>
                  <a:lnTo>
                    <a:pt x="82" y="76"/>
                  </a:lnTo>
                  <a:lnTo>
                    <a:pt x="86" y="73"/>
                  </a:lnTo>
                  <a:lnTo>
                    <a:pt x="86" y="72"/>
                  </a:lnTo>
                  <a:lnTo>
                    <a:pt x="87" y="71"/>
                  </a:lnTo>
                  <a:lnTo>
                    <a:pt x="88" y="70"/>
                  </a:lnTo>
                  <a:lnTo>
                    <a:pt x="88" y="69"/>
                  </a:lnTo>
                  <a:lnTo>
                    <a:pt x="89" y="68"/>
                  </a:lnTo>
                  <a:lnTo>
                    <a:pt x="90" y="65"/>
                  </a:lnTo>
                  <a:lnTo>
                    <a:pt x="91" y="63"/>
                  </a:lnTo>
                  <a:lnTo>
                    <a:pt x="91" y="62"/>
                  </a:lnTo>
                  <a:lnTo>
                    <a:pt x="91" y="62"/>
                  </a:lnTo>
                  <a:lnTo>
                    <a:pt x="91" y="61"/>
                  </a:lnTo>
                  <a:lnTo>
                    <a:pt x="92" y="61"/>
                  </a:lnTo>
                  <a:lnTo>
                    <a:pt x="93" y="60"/>
                  </a:lnTo>
                  <a:lnTo>
                    <a:pt x="94" y="60"/>
                  </a:lnTo>
                  <a:lnTo>
                    <a:pt x="94" y="59"/>
                  </a:lnTo>
                  <a:lnTo>
                    <a:pt x="97" y="58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9" y="56"/>
                  </a:lnTo>
                  <a:lnTo>
                    <a:pt x="100" y="55"/>
                  </a:lnTo>
                  <a:lnTo>
                    <a:pt x="102" y="53"/>
                  </a:lnTo>
                  <a:lnTo>
                    <a:pt x="103" y="51"/>
                  </a:lnTo>
                  <a:lnTo>
                    <a:pt x="105" y="50"/>
                  </a:lnTo>
                  <a:lnTo>
                    <a:pt x="106" y="49"/>
                  </a:lnTo>
                  <a:lnTo>
                    <a:pt x="108" y="48"/>
                  </a:lnTo>
                  <a:lnTo>
                    <a:pt x="109" y="47"/>
                  </a:lnTo>
                  <a:lnTo>
                    <a:pt x="110" y="47"/>
                  </a:lnTo>
                  <a:lnTo>
                    <a:pt x="112" y="46"/>
                  </a:lnTo>
                  <a:lnTo>
                    <a:pt x="113" y="46"/>
                  </a:lnTo>
                  <a:lnTo>
                    <a:pt x="114" y="46"/>
                  </a:lnTo>
                  <a:lnTo>
                    <a:pt x="114" y="46"/>
                  </a:lnTo>
                  <a:lnTo>
                    <a:pt x="115" y="45"/>
                  </a:lnTo>
                  <a:lnTo>
                    <a:pt x="115" y="45"/>
                  </a:lnTo>
                  <a:lnTo>
                    <a:pt x="115" y="44"/>
                  </a:lnTo>
                  <a:lnTo>
                    <a:pt x="116" y="43"/>
                  </a:lnTo>
                  <a:lnTo>
                    <a:pt x="116" y="42"/>
                  </a:lnTo>
                  <a:lnTo>
                    <a:pt x="117" y="39"/>
                  </a:lnTo>
                  <a:lnTo>
                    <a:pt x="118" y="38"/>
                  </a:lnTo>
                  <a:lnTo>
                    <a:pt x="118" y="37"/>
                  </a:lnTo>
                  <a:lnTo>
                    <a:pt x="119" y="35"/>
                  </a:lnTo>
                  <a:lnTo>
                    <a:pt x="120" y="33"/>
                  </a:lnTo>
                  <a:lnTo>
                    <a:pt x="121" y="31"/>
                  </a:lnTo>
                  <a:lnTo>
                    <a:pt x="122" y="31"/>
                  </a:lnTo>
                  <a:lnTo>
                    <a:pt x="123" y="30"/>
                  </a:lnTo>
                  <a:lnTo>
                    <a:pt x="123" y="29"/>
                  </a:lnTo>
                  <a:lnTo>
                    <a:pt x="124" y="29"/>
                  </a:lnTo>
                  <a:lnTo>
                    <a:pt x="125" y="28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8" y="26"/>
                  </a:lnTo>
                  <a:lnTo>
                    <a:pt x="130" y="26"/>
                  </a:lnTo>
                  <a:lnTo>
                    <a:pt x="133" y="25"/>
                  </a:lnTo>
                  <a:lnTo>
                    <a:pt x="137" y="24"/>
                  </a:lnTo>
                  <a:lnTo>
                    <a:pt x="139" y="24"/>
                  </a:lnTo>
                  <a:lnTo>
                    <a:pt x="145" y="22"/>
                  </a:lnTo>
                  <a:lnTo>
                    <a:pt x="150" y="21"/>
                  </a:lnTo>
                  <a:lnTo>
                    <a:pt x="154" y="20"/>
                  </a:lnTo>
                  <a:lnTo>
                    <a:pt x="155" y="20"/>
                  </a:lnTo>
                  <a:lnTo>
                    <a:pt x="156" y="20"/>
                  </a:lnTo>
                  <a:lnTo>
                    <a:pt x="157" y="20"/>
                  </a:lnTo>
                  <a:lnTo>
                    <a:pt x="159" y="20"/>
                  </a:lnTo>
                  <a:lnTo>
                    <a:pt x="160" y="20"/>
                  </a:lnTo>
                  <a:lnTo>
                    <a:pt x="164" y="20"/>
                  </a:lnTo>
                  <a:lnTo>
                    <a:pt x="169" y="20"/>
                  </a:lnTo>
                  <a:lnTo>
                    <a:pt x="171" y="21"/>
                  </a:lnTo>
                  <a:lnTo>
                    <a:pt x="172" y="21"/>
                  </a:lnTo>
                  <a:lnTo>
                    <a:pt x="173" y="21"/>
                  </a:lnTo>
                  <a:lnTo>
                    <a:pt x="174" y="22"/>
                  </a:lnTo>
                  <a:lnTo>
                    <a:pt x="177" y="23"/>
                  </a:lnTo>
                  <a:lnTo>
                    <a:pt x="178" y="24"/>
                  </a:lnTo>
                  <a:lnTo>
                    <a:pt x="179" y="24"/>
                  </a:lnTo>
                  <a:lnTo>
                    <a:pt x="179" y="24"/>
                  </a:lnTo>
                  <a:lnTo>
                    <a:pt x="180" y="24"/>
                  </a:lnTo>
                  <a:lnTo>
                    <a:pt x="181" y="24"/>
                  </a:lnTo>
                  <a:lnTo>
                    <a:pt x="181" y="24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90" y="15"/>
                  </a:lnTo>
                  <a:lnTo>
                    <a:pt x="191" y="14"/>
                  </a:lnTo>
                  <a:lnTo>
                    <a:pt x="192" y="13"/>
                  </a:lnTo>
                  <a:lnTo>
                    <a:pt x="192" y="12"/>
                  </a:lnTo>
                  <a:lnTo>
                    <a:pt x="194" y="12"/>
                  </a:lnTo>
                  <a:lnTo>
                    <a:pt x="195" y="11"/>
                  </a:lnTo>
                  <a:lnTo>
                    <a:pt x="197" y="10"/>
                  </a:lnTo>
                  <a:lnTo>
                    <a:pt x="199" y="9"/>
                  </a:lnTo>
                  <a:lnTo>
                    <a:pt x="201" y="8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5" y="7"/>
                  </a:lnTo>
                  <a:lnTo>
                    <a:pt x="206" y="7"/>
                  </a:lnTo>
                  <a:lnTo>
                    <a:pt x="207" y="7"/>
                  </a:lnTo>
                  <a:lnTo>
                    <a:pt x="207" y="7"/>
                  </a:lnTo>
                  <a:lnTo>
                    <a:pt x="207" y="7"/>
                  </a:lnTo>
                  <a:lnTo>
                    <a:pt x="208" y="7"/>
                  </a:lnTo>
                  <a:lnTo>
                    <a:pt x="210" y="8"/>
                  </a:lnTo>
                  <a:lnTo>
                    <a:pt x="211" y="8"/>
                  </a:lnTo>
                  <a:lnTo>
                    <a:pt x="211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3" y="7"/>
                  </a:lnTo>
                  <a:lnTo>
                    <a:pt x="213" y="7"/>
                  </a:lnTo>
                  <a:lnTo>
                    <a:pt x="213" y="7"/>
                  </a:lnTo>
                  <a:lnTo>
                    <a:pt x="215" y="3"/>
                  </a:lnTo>
                  <a:lnTo>
                    <a:pt x="216" y="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FFE389"/>
            </a:solidFill>
            <a:ln w="20638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Freeform 53">
              <a:extLst>
                <a:ext uri="{FF2B5EF4-FFF2-40B4-BE49-F238E27FC236}">
                  <a16:creationId xmlns:a16="http://schemas.microsoft.com/office/drawing/2014/main" id="{65148A5F-12BD-2020-E251-20C3F46B25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2866"/>
              <a:ext cx="504" cy="447"/>
            </a:xfrm>
            <a:custGeom>
              <a:avLst/>
              <a:gdLst>
                <a:gd name="T0" fmla="*/ 434 w 504"/>
                <a:gd name="T1" fmla="*/ 15 h 447"/>
                <a:gd name="T2" fmla="*/ 459 w 504"/>
                <a:gd name="T3" fmla="*/ 8 h 447"/>
                <a:gd name="T4" fmla="*/ 472 w 504"/>
                <a:gd name="T5" fmla="*/ 21 h 447"/>
                <a:gd name="T6" fmla="*/ 486 w 504"/>
                <a:gd name="T7" fmla="*/ 47 h 447"/>
                <a:gd name="T8" fmla="*/ 489 w 504"/>
                <a:gd name="T9" fmla="*/ 63 h 447"/>
                <a:gd name="T10" fmla="*/ 497 w 504"/>
                <a:gd name="T11" fmla="*/ 84 h 447"/>
                <a:gd name="T12" fmla="*/ 479 w 504"/>
                <a:gd name="T13" fmla="*/ 108 h 447"/>
                <a:gd name="T14" fmla="*/ 458 w 504"/>
                <a:gd name="T15" fmla="*/ 114 h 447"/>
                <a:gd name="T16" fmla="*/ 445 w 504"/>
                <a:gd name="T17" fmla="*/ 127 h 447"/>
                <a:gd name="T18" fmla="*/ 436 w 504"/>
                <a:gd name="T19" fmla="*/ 148 h 447"/>
                <a:gd name="T20" fmla="*/ 417 w 504"/>
                <a:gd name="T21" fmla="*/ 176 h 447"/>
                <a:gd name="T22" fmla="*/ 425 w 504"/>
                <a:gd name="T23" fmla="*/ 209 h 447"/>
                <a:gd name="T24" fmla="*/ 450 w 504"/>
                <a:gd name="T25" fmla="*/ 247 h 447"/>
                <a:gd name="T26" fmla="*/ 449 w 504"/>
                <a:gd name="T27" fmla="*/ 259 h 447"/>
                <a:gd name="T28" fmla="*/ 445 w 504"/>
                <a:gd name="T29" fmla="*/ 280 h 447"/>
                <a:gd name="T30" fmla="*/ 423 w 504"/>
                <a:gd name="T31" fmla="*/ 289 h 447"/>
                <a:gd name="T32" fmla="*/ 422 w 504"/>
                <a:gd name="T33" fmla="*/ 308 h 447"/>
                <a:gd name="T34" fmla="*/ 407 w 504"/>
                <a:gd name="T35" fmla="*/ 324 h 447"/>
                <a:gd name="T36" fmla="*/ 370 w 504"/>
                <a:gd name="T37" fmla="*/ 331 h 447"/>
                <a:gd name="T38" fmla="*/ 322 w 504"/>
                <a:gd name="T39" fmla="*/ 328 h 447"/>
                <a:gd name="T40" fmla="*/ 307 w 504"/>
                <a:gd name="T41" fmla="*/ 343 h 447"/>
                <a:gd name="T42" fmla="*/ 292 w 504"/>
                <a:gd name="T43" fmla="*/ 355 h 447"/>
                <a:gd name="T44" fmla="*/ 267 w 504"/>
                <a:gd name="T45" fmla="*/ 371 h 447"/>
                <a:gd name="T46" fmla="*/ 249 w 504"/>
                <a:gd name="T47" fmla="*/ 370 h 447"/>
                <a:gd name="T48" fmla="*/ 218 w 504"/>
                <a:gd name="T49" fmla="*/ 381 h 447"/>
                <a:gd name="T50" fmla="*/ 194 w 504"/>
                <a:gd name="T51" fmla="*/ 393 h 447"/>
                <a:gd name="T52" fmla="*/ 164 w 504"/>
                <a:gd name="T53" fmla="*/ 405 h 447"/>
                <a:gd name="T54" fmla="*/ 155 w 504"/>
                <a:gd name="T55" fmla="*/ 424 h 447"/>
                <a:gd name="T56" fmla="*/ 137 w 504"/>
                <a:gd name="T57" fmla="*/ 437 h 447"/>
                <a:gd name="T58" fmla="*/ 122 w 504"/>
                <a:gd name="T59" fmla="*/ 446 h 447"/>
                <a:gd name="T60" fmla="*/ 109 w 504"/>
                <a:gd name="T61" fmla="*/ 440 h 447"/>
                <a:gd name="T62" fmla="*/ 101 w 504"/>
                <a:gd name="T63" fmla="*/ 437 h 447"/>
                <a:gd name="T64" fmla="*/ 83 w 504"/>
                <a:gd name="T65" fmla="*/ 421 h 447"/>
                <a:gd name="T66" fmla="*/ 95 w 504"/>
                <a:gd name="T67" fmla="*/ 416 h 447"/>
                <a:gd name="T68" fmla="*/ 87 w 504"/>
                <a:gd name="T69" fmla="*/ 386 h 447"/>
                <a:gd name="T70" fmla="*/ 82 w 504"/>
                <a:gd name="T71" fmla="*/ 365 h 447"/>
                <a:gd name="T72" fmla="*/ 83 w 504"/>
                <a:gd name="T73" fmla="*/ 331 h 447"/>
                <a:gd name="T74" fmla="*/ 65 w 504"/>
                <a:gd name="T75" fmla="*/ 318 h 447"/>
                <a:gd name="T76" fmla="*/ 45 w 504"/>
                <a:gd name="T77" fmla="*/ 315 h 447"/>
                <a:gd name="T78" fmla="*/ 25 w 504"/>
                <a:gd name="T79" fmla="*/ 301 h 447"/>
                <a:gd name="T80" fmla="*/ 8 w 504"/>
                <a:gd name="T81" fmla="*/ 287 h 447"/>
                <a:gd name="T82" fmla="*/ 26 w 504"/>
                <a:gd name="T83" fmla="*/ 249 h 447"/>
                <a:gd name="T84" fmla="*/ 54 w 504"/>
                <a:gd name="T85" fmla="*/ 245 h 447"/>
                <a:gd name="T86" fmla="*/ 78 w 504"/>
                <a:gd name="T87" fmla="*/ 240 h 447"/>
                <a:gd name="T88" fmla="*/ 94 w 504"/>
                <a:gd name="T89" fmla="*/ 210 h 447"/>
                <a:gd name="T90" fmla="*/ 111 w 504"/>
                <a:gd name="T91" fmla="*/ 211 h 447"/>
                <a:gd name="T92" fmla="*/ 129 w 504"/>
                <a:gd name="T93" fmla="*/ 186 h 447"/>
                <a:gd name="T94" fmla="*/ 151 w 504"/>
                <a:gd name="T95" fmla="*/ 203 h 447"/>
                <a:gd name="T96" fmla="*/ 171 w 504"/>
                <a:gd name="T97" fmla="*/ 182 h 447"/>
                <a:gd name="T98" fmla="*/ 178 w 504"/>
                <a:gd name="T99" fmla="*/ 158 h 447"/>
                <a:gd name="T100" fmla="*/ 209 w 504"/>
                <a:gd name="T101" fmla="*/ 149 h 447"/>
                <a:gd name="T102" fmla="*/ 232 w 504"/>
                <a:gd name="T103" fmla="*/ 149 h 447"/>
                <a:gd name="T104" fmla="*/ 270 w 504"/>
                <a:gd name="T105" fmla="*/ 148 h 447"/>
                <a:gd name="T106" fmla="*/ 283 w 504"/>
                <a:gd name="T107" fmla="*/ 126 h 447"/>
                <a:gd name="T108" fmla="*/ 308 w 504"/>
                <a:gd name="T109" fmla="*/ 110 h 447"/>
                <a:gd name="T110" fmla="*/ 345 w 504"/>
                <a:gd name="T111" fmla="*/ 104 h 447"/>
                <a:gd name="T112" fmla="*/ 388 w 504"/>
                <a:gd name="T113" fmla="*/ 77 h 447"/>
                <a:gd name="T114" fmla="*/ 423 w 504"/>
                <a:gd name="T115" fmla="*/ 72 h 447"/>
                <a:gd name="T116" fmla="*/ 426 w 504"/>
                <a:gd name="T117" fmla="*/ 54 h 447"/>
                <a:gd name="T118" fmla="*/ 408 w 504"/>
                <a:gd name="T119" fmla="*/ 37 h 447"/>
                <a:gd name="T120" fmla="*/ 393 w 504"/>
                <a:gd name="T121" fmla="*/ 30 h 447"/>
                <a:gd name="T122" fmla="*/ 402 w 504"/>
                <a:gd name="T123" fmla="*/ 1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4" h="447">
                  <a:moveTo>
                    <a:pt x="404" y="0"/>
                  </a:moveTo>
                  <a:lnTo>
                    <a:pt x="405" y="0"/>
                  </a:lnTo>
                  <a:lnTo>
                    <a:pt x="405" y="0"/>
                  </a:lnTo>
                  <a:lnTo>
                    <a:pt x="406" y="1"/>
                  </a:lnTo>
                  <a:lnTo>
                    <a:pt x="410" y="3"/>
                  </a:lnTo>
                  <a:lnTo>
                    <a:pt x="411" y="4"/>
                  </a:lnTo>
                  <a:lnTo>
                    <a:pt x="413" y="5"/>
                  </a:lnTo>
                  <a:lnTo>
                    <a:pt x="414" y="5"/>
                  </a:lnTo>
                  <a:lnTo>
                    <a:pt x="415" y="5"/>
                  </a:lnTo>
                  <a:lnTo>
                    <a:pt x="419" y="6"/>
                  </a:lnTo>
                  <a:lnTo>
                    <a:pt x="420" y="6"/>
                  </a:lnTo>
                  <a:lnTo>
                    <a:pt x="421" y="7"/>
                  </a:lnTo>
                  <a:lnTo>
                    <a:pt x="422" y="7"/>
                  </a:lnTo>
                  <a:lnTo>
                    <a:pt x="423" y="8"/>
                  </a:lnTo>
                  <a:lnTo>
                    <a:pt x="425" y="9"/>
                  </a:lnTo>
                  <a:lnTo>
                    <a:pt x="426" y="10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0" y="13"/>
                  </a:lnTo>
                  <a:lnTo>
                    <a:pt x="431" y="14"/>
                  </a:lnTo>
                  <a:lnTo>
                    <a:pt x="432" y="14"/>
                  </a:lnTo>
                  <a:lnTo>
                    <a:pt x="433" y="15"/>
                  </a:lnTo>
                  <a:lnTo>
                    <a:pt x="434" y="15"/>
                  </a:lnTo>
                  <a:lnTo>
                    <a:pt x="435" y="15"/>
                  </a:lnTo>
                  <a:lnTo>
                    <a:pt x="436" y="15"/>
                  </a:lnTo>
                  <a:lnTo>
                    <a:pt x="437" y="15"/>
                  </a:lnTo>
                  <a:lnTo>
                    <a:pt x="438" y="14"/>
                  </a:lnTo>
                  <a:lnTo>
                    <a:pt x="439" y="14"/>
                  </a:lnTo>
                  <a:lnTo>
                    <a:pt x="440" y="14"/>
                  </a:lnTo>
                  <a:lnTo>
                    <a:pt x="444" y="12"/>
                  </a:lnTo>
                  <a:lnTo>
                    <a:pt x="445" y="12"/>
                  </a:lnTo>
                  <a:lnTo>
                    <a:pt x="447" y="11"/>
                  </a:lnTo>
                  <a:lnTo>
                    <a:pt x="448" y="11"/>
                  </a:lnTo>
                  <a:lnTo>
                    <a:pt x="449" y="11"/>
                  </a:lnTo>
                  <a:lnTo>
                    <a:pt x="450" y="11"/>
                  </a:lnTo>
                  <a:lnTo>
                    <a:pt x="451" y="11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5" y="12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8" y="10"/>
                  </a:lnTo>
                  <a:lnTo>
                    <a:pt x="459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2" y="9"/>
                  </a:lnTo>
                  <a:lnTo>
                    <a:pt x="462" y="9"/>
                  </a:lnTo>
                  <a:lnTo>
                    <a:pt x="462" y="11"/>
                  </a:lnTo>
                  <a:lnTo>
                    <a:pt x="462" y="12"/>
                  </a:lnTo>
                  <a:lnTo>
                    <a:pt x="462" y="12"/>
                  </a:lnTo>
                  <a:lnTo>
                    <a:pt x="463" y="13"/>
                  </a:lnTo>
                  <a:lnTo>
                    <a:pt x="463" y="14"/>
                  </a:lnTo>
                  <a:lnTo>
                    <a:pt x="464" y="14"/>
                  </a:lnTo>
                  <a:lnTo>
                    <a:pt x="464" y="15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9" y="18"/>
                  </a:lnTo>
                  <a:lnTo>
                    <a:pt x="470" y="19"/>
                  </a:lnTo>
                  <a:lnTo>
                    <a:pt x="471" y="21"/>
                  </a:lnTo>
                  <a:lnTo>
                    <a:pt x="472" y="21"/>
                  </a:lnTo>
                  <a:lnTo>
                    <a:pt x="473" y="22"/>
                  </a:lnTo>
                  <a:lnTo>
                    <a:pt x="474" y="22"/>
                  </a:lnTo>
                  <a:lnTo>
                    <a:pt x="475" y="22"/>
                  </a:lnTo>
                  <a:lnTo>
                    <a:pt x="478" y="23"/>
                  </a:lnTo>
                  <a:lnTo>
                    <a:pt x="478" y="23"/>
                  </a:lnTo>
                  <a:lnTo>
                    <a:pt x="479" y="24"/>
                  </a:lnTo>
                  <a:lnTo>
                    <a:pt x="480" y="24"/>
                  </a:lnTo>
                  <a:lnTo>
                    <a:pt x="481" y="25"/>
                  </a:lnTo>
                  <a:lnTo>
                    <a:pt x="482" y="26"/>
                  </a:lnTo>
                  <a:lnTo>
                    <a:pt x="483" y="26"/>
                  </a:lnTo>
                  <a:lnTo>
                    <a:pt x="484" y="28"/>
                  </a:lnTo>
                  <a:lnTo>
                    <a:pt x="486" y="30"/>
                  </a:lnTo>
                  <a:lnTo>
                    <a:pt x="487" y="31"/>
                  </a:lnTo>
                  <a:lnTo>
                    <a:pt x="487" y="32"/>
                  </a:lnTo>
                  <a:lnTo>
                    <a:pt x="488" y="34"/>
                  </a:lnTo>
                  <a:lnTo>
                    <a:pt x="488" y="35"/>
                  </a:lnTo>
                  <a:lnTo>
                    <a:pt x="488" y="36"/>
                  </a:lnTo>
                  <a:lnTo>
                    <a:pt x="488" y="38"/>
                  </a:lnTo>
                  <a:lnTo>
                    <a:pt x="488" y="39"/>
                  </a:lnTo>
                  <a:lnTo>
                    <a:pt x="488" y="41"/>
                  </a:lnTo>
                  <a:lnTo>
                    <a:pt x="487" y="43"/>
                  </a:lnTo>
                  <a:lnTo>
                    <a:pt x="487" y="45"/>
                  </a:lnTo>
                  <a:lnTo>
                    <a:pt x="486" y="47"/>
                  </a:lnTo>
                  <a:lnTo>
                    <a:pt x="485" y="50"/>
                  </a:lnTo>
                  <a:lnTo>
                    <a:pt x="484" y="51"/>
                  </a:lnTo>
                  <a:lnTo>
                    <a:pt x="482" y="55"/>
                  </a:lnTo>
                  <a:lnTo>
                    <a:pt x="482" y="56"/>
                  </a:lnTo>
                  <a:lnTo>
                    <a:pt x="481" y="57"/>
                  </a:lnTo>
                  <a:lnTo>
                    <a:pt x="481" y="57"/>
                  </a:lnTo>
                  <a:lnTo>
                    <a:pt x="481" y="59"/>
                  </a:lnTo>
                  <a:lnTo>
                    <a:pt x="481" y="59"/>
                  </a:lnTo>
                  <a:lnTo>
                    <a:pt x="481" y="60"/>
                  </a:lnTo>
                  <a:lnTo>
                    <a:pt x="481" y="60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4" y="63"/>
                  </a:lnTo>
                  <a:lnTo>
                    <a:pt x="485" y="64"/>
                  </a:lnTo>
                  <a:lnTo>
                    <a:pt x="485" y="64"/>
                  </a:lnTo>
                  <a:lnTo>
                    <a:pt x="486" y="64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2"/>
                  </a:lnTo>
                  <a:lnTo>
                    <a:pt x="495" y="61"/>
                  </a:lnTo>
                  <a:lnTo>
                    <a:pt x="497" y="61"/>
                  </a:lnTo>
                  <a:lnTo>
                    <a:pt x="498" y="60"/>
                  </a:lnTo>
                  <a:lnTo>
                    <a:pt x="499" y="60"/>
                  </a:lnTo>
                  <a:lnTo>
                    <a:pt x="500" y="60"/>
                  </a:lnTo>
                  <a:lnTo>
                    <a:pt x="501" y="60"/>
                  </a:lnTo>
                  <a:lnTo>
                    <a:pt x="501" y="60"/>
                  </a:lnTo>
                  <a:lnTo>
                    <a:pt x="502" y="60"/>
                  </a:lnTo>
                  <a:lnTo>
                    <a:pt x="502" y="61"/>
                  </a:lnTo>
                  <a:lnTo>
                    <a:pt x="503" y="61"/>
                  </a:lnTo>
                  <a:lnTo>
                    <a:pt x="503" y="62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4"/>
                  </a:lnTo>
                  <a:lnTo>
                    <a:pt x="504" y="65"/>
                  </a:lnTo>
                  <a:lnTo>
                    <a:pt x="504" y="66"/>
                  </a:lnTo>
                  <a:lnTo>
                    <a:pt x="504" y="68"/>
                  </a:lnTo>
                  <a:lnTo>
                    <a:pt x="504" y="69"/>
                  </a:lnTo>
                  <a:lnTo>
                    <a:pt x="503" y="70"/>
                  </a:lnTo>
                  <a:lnTo>
                    <a:pt x="502" y="73"/>
                  </a:lnTo>
                  <a:lnTo>
                    <a:pt x="501" y="75"/>
                  </a:lnTo>
                  <a:lnTo>
                    <a:pt x="497" y="84"/>
                  </a:lnTo>
                  <a:lnTo>
                    <a:pt x="495" y="90"/>
                  </a:lnTo>
                  <a:lnTo>
                    <a:pt x="495" y="91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4" y="93"/>
                  </a:lnTo>
                  <a:lnTo>
                    <a:pt x="494" y="93"/>
                  </a:lnTo>
                  <a:lnTo>
                    <a:pt x="493" y="95"/>
                  </a:lnTo>
                  <a:lnTo>
                    <a:pt x="491" y="96"/>
                  </a:lnTo>
                  <a:lnTo>
                    <a:pt x="490" y="97"/>
                  </a:lnTo>
                  <a:lnTo>
                    <a:pt x="489" y="98"/>
                  </a:lnTo>
                  <a:lnTo>
                    <a:pt x="487" y="99"/>
                  </a:lnTo>
                  <a:lnTo>
                    <a:pt x="485" y="100"/>
                  </a:lnTo>
                  <a:lnTo>
                    <a:pt x="484" y="101"/>
                  </a:lnTo>
                  <a:lnTo>
                    <a:pt x="482" y="102"/>
                  </a:lnTo>
                  <a:lnTo>
                    <a:pt x="482" y="102"/>
                  </a:lnTo>
                  <a:lnTo>
                    <a:pt x="482" y="103"/>
                  </a:lnTo>
                  <a:lnTo>
                    <a:pt x="481" y="104"/>
                  </a:lnTo>
                  <a:lnTo>
                    <a:pt x="481" y="104"/>
                  </a:lnTo>
                  <a:lnTo>
                    <a:pt x="480" y="105"/>
                  </a:lnTo>
                  <a:lnTo>
                    <a:pt x="480" y="107"/>
                  </a:lnTo>
                  <a:lnTo>
                    <a:pt x="479" y="108"/>
                  </a:lnTo>
                  <a:lnTo>
                    <a:pt x="478" y="114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6" y="116"/>
                  </a:lnTo>
                  <a:lnTo>
                    <a:pt x="476" y="117"/>
                  </a:lnTo>
                  <a:lnTo>
                    <a:pt x="476" y="117"/>
                  </a:lnTo>
                  <a:lnTo>
                    <a:pt x="475" y="118"/>
                  </a:lnTo>
                  <a:lnTo>
                    <a:pt x="475" y="118"/>
                  </a:lnTo>
                  <a:lnTo>
                    <a:pt x="474" y="118"/>
                  </a:lnTo>
                  <a:lnTo>
                    <a:pt x="474" y="119"/>
                  </a:lnTo>
                  <a:lnTo>
                    <a:pt x="473" y="119"/>
                  </a:lnTo>
                  <a:lnTo>
                    <a:pt x="472" y="119"/>
                  </a:lnTo>
                  <a:lnTo>
                    <a:pt x="471" y="119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69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6" y="118"/>
                  </a:lnTo>
                  <a:lnTo>
                    <a:pt x="464" y="118"/>
                  </a:lnTo>
                  <a:lnTo>
                    <a:pt x="463" y="117"/>
                  </a:lnTo>
                  <a:lnTo>
                    <a:pt x="460" y="115"/>
                  </a:lnTo>
                  <a:lnTo>
                    <a:pt x="458" y="114"/>
                  </a:lnTo>
                  <a:lnTo>
                    <a:pt x="457" y="114"/>
                  </a:lnTo>
                  <a:lnTo>
                    <a:pt x="455" y="113"/>
                  </a:lnTo>
                  <a:lnTo>
                    <a:pt x="454" y="112"/>
                  </a:lnTo>
                  <a:lnTo>
                    <a:pt x="453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1" y="112"/>
                  </a:lnTo>
                  <a:lnTo>
                    <a:pt x="450" y="112"/>
                  </a:lnTo>
                  <a:lnTo>
                    <a:pt x="448" y="113"/>
                  </a:lnTo>
                  <a:lnTo>
                    <a:pt x="447" y="113"/>
                  </a:lnTo>
                  <a:lnTo>
                    <a:pt x="447" y="113"/>
                  </a:lnTo>
                  <a:lnTo>
                    <a:pt x="446" y="113"/>
                  </a:lnTo>
                  <a:lnTo>
                    <a:pt x="446" y="113"/>
                  </a:lnTo>
                  <a:lnTo>
                    <a:pt x="446" y="114"/>
                  </a:lnTo>
                  <a:lnTo>
                    <a:pt x="446" y="114"/>
                  </a:lnTo>
                  <a:lnTo>
                    <a:pt x="446" y="115"/>
                  </a:lnTo>
                  <a:lnTo>
                    <a:pt x="446" y="116"/>
                  </a:lnTo>
                  <a:lnTo>
                    <a:pt x="446" y="119"/>
                  </a:lnTo>
                  <a:lnTo>
                    <a:pt x="446" y="121"/>
                  </a:lnTo>
                  <a:lnTo>
                    <a:pt x="446" y="122"/>
                  </a:lnTo>
                  <a:lnTo>
                    <a:pt x="446" y="123"/>
                  </a:lnTo>
                  <a:lnTo>
                    <a:pt x="446" y="126"/>
                  </a:lnTo>
                  <a:lnTo>
                    <a:pt x="445" y="127"/>
                  </a:lnTo>
                  <a:lnTo>
                    <a:pt x="445" y="128"/>
                  </a:lnTo>
                  <a:lnTo>
                    <a:pt x="445" y="128"/>
                  </a:lnTo>
                  <a:lnTo>
                    <a:pt x="444" y="129"/>
                  </a:lnTo>
                  <a:lnTo>
                    <a:pt x="444" y="130"/>
                  </a:lnTo>
                  <a:lnTo>
                    <a:pt x="442" y="132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0" y="134"/>
                  </a:lnTo>
                  <a:lnTo>
                    <a:pt x="440" y="135"/>
                  </a:lnTo>
                  <a:lnTo>
                    <a:pt x="439" y="136"/>
                  </a:lnTo>
                  <a:lnTo>
                    <a:pt x="439" y="137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7" y="141"/>
                  </a:lnTo>
                  <a:lnTo>
                    <a:pt x="437" y="142"/>
                  </a:lnTo>
                  <a:lnTo>
                    <a:pt x="437" y="143"/>
                  </a:lnTo>
                  <a:lnTo>
                    <a:pt x="437" y="144"/>
                  </a:lnTo>
                  <a:lnTo>
                    <a:pt x="437" y="146"/>
                  </a:lnTo>
                  <a:lnTo>
                    <a:pt x="437" y="146"/>
                  </a:lnTo>
                  <a:lnTo>
                    <a:pt x="437" y="147"/>
                  </a:lnTo>
                  <a:lnTo>
                    <a:pt x="436" y="147"/>
                  </a:lnTo>
                  <a:lnTo>
                    <a:pt x="436" y="147"/>
                  </a:lnTo>
                  <a:lnTo>
                    <a:pt x="436" y="148"/>
                  </a:lnTo>
                  <a:lnTo>
                    <a:pt x="435" y="148"/>
                  </a:lnTo>
                  <a:lnTo>
                    <a:pt x="434" y="149"/>
                  </a:lnTo>
                  <a:lnTo>
                    <a:pt x="433" y="149"/>
                  </a:lnTo>
                  <a:lnTo>
                    <a:pt x="433" y="149"/>
                  </a:lnTo>
                  <a:lnTo>
                    <a:pt x="430" y="152"/>
                  </a:lnTo>
                  <a:lnTo>
                    <a:pt x="427" y="154"/>
                  </a:lnTo>
                  <a:lnTo>
                    <a:pt x="426" y="155"/>
                  </a:lnTo>
                  <a:lnTo>
                    <a:pt x="425" y="156"/>
                  </a:lnTo>
                  <a:lnTo>
                    <a:pt x="425" y="156"/>
                  </a:lnTo>
                  <a:lnTo>
                    <a:pt x="424" y="157"/>
                  </a:lnTo>
                  <a:lnTo>
                    <a:pt x="424" y="158"/>
                  </a:lnTo>
                  <a:lnTo>
                    <a:pt x="423" y="159"/>
                  </a:lnTo>
                  <a:lnTo>
                    <a:pt x="423" y="160"/>
                  </a:lnTo>
                  <a:lnTo>
                    <a:pt x="422" y="162"/>
                  </a:lnTo>
                  <a:lnTo>
                    <a:pt x="422" y="163"/>
                  </a:lnTo>
                  <a:lnTo>
                    <a:pt x="422" y="164"/>
                  </a:lnTo>
                  <a:lnTo>
                    <a:pt x="421" y="167"/>
                  </a:lnTo>
                  <a:lnTo>
                    <a:pt x="421" y="168"/>
                  </a:lnTo>
                  <a:lnTo>
                    <a:pt x="421" y="169"/>
                  </a:lnTo>
                  <a:lnTo>
                    <a:pt x="420" y="170"/>
                  </a:lnTo>
                  <a:lnTo>
                    <a:pt x="420" y="171"/>
                  </a:lnTo>
                  <a:lnTo>
                    <a:pt x="418" y="174"/>
                  </a:lnTo>
                  <a:lnTo>
                    <a:pt x="417" y="176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8"/>
                  </a:lnTo>
                  <a:lnTo>
                    <a:pt x="415" y="178"/>
                  </a:lnTo>
                  <a:lnTo>
                    <a:pt x="415" y="179"/>
                  </a:lnTo>
                  <a:lnTo>
                    <a:pt x="415" y="180"/>
                  </a:lnTo>
                  <a:lnTo>
                    <a:pt x="415" y="181"/>
                  </a:lnTo>
                  <a:lnTo>
                    <a:pt x="415" y="182"/>
                  </a:lnTo>
                  <a:lnTo>
                    <a:pt x="416" y="182"/>
                  </a:lnTo>
                  <a:lnTo>
                    <a:pt x="416" y="183"/>
                  </a:lnTo>
                  <a:lnTo>
                    <a:pt x="417" y="185"/>
                  </a:lnTo>
                  <a:lnTo>
                    <a:pt x="417" y="186"/>
                  </a:lnTo>
                  <a:lnTo>
                    <a:pt x="418" y="187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19" y="193"/>
                  </a:lnTo>
                  <a:lnTo>
                    <a:pt x="419" y="196"/>
                  </a:lnTo>
                  <a:lnTo>
                    <a:pt x="420" y="196"/>
                  </a:lnTo>
                  <a:lnTo>
                    <a:pt x="420" y="198"/>
                  </a:lnTo>
                  <a:lnTo>
                    <a:pt x="421" y="199"/>
                  </a:lnTo>
                  <a:lnTo>
                    <a:pt x="422" y="201"/>
                  </a:lnTo>
                  <a:lnTo>
                    <a:pt x="423" y="205"/>
                  </a:lnTo>
                  <a:lnTo>
                    <a:pt x="425" y="209"/>
                  </a:lnTo>
                  <a:lnTo>
                    <a:pt x="426" y="210"/>
                  </a:lnTo>
                  <a:lnTo>
                    <a:pt x="427" y="211"/>
                  </a:lnTo>
                  <a:lnTo>
                    <a:pt x="428" y="213"/>
                  </a:lnTo>
                  <a:lnTo>
                    <a:pt x="428" y="214"/>
                  </a:lnTo>
                  <a:lnTo>
                    <a:pt x="430" y="216"/>
                  </a:lnTo>
                  <a:lnTo>
                    <a:pt x="430" y="217"/>
                  </a:lnTo>
                  <a:lnTo>
                    <a:pt x="431" y="218"/>
                  </a:lnTo>
                  <a:lnTo>
                    <a:pt x="432" y="220"/>
                  </a:lnTo>
                  <a:lnTo>
                    <a:pt x="433" y="222"/>
                  </a:lnTo>
                  <a:lnTo>
                    <a:pt x="433" y="223"/>
                  </a:lnTo>
                  <a:lnTo>
                    <a:pt x="436" y="230"/>
                  </a:lnTo>
                  <a:lnTo>
                    <a:pt x="436" y="230"/>
                  </a:lnTo>
                  <a:lnTo>
                    <a:pt x="437" y="231"/>
                  </a:lnTo>
                  <a:lnTo>
                    <a:pt x="439" y="236"/>
                  </a:lnTo>
                  <a:lnTo>
                    <a:pt x="441" y="240"/>
                  </a:lnTo>
                  <a:lnTo>
                    <a:pt x="442" y="240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44" y="243"/>
                  </a:lnTo>
                  <a:lnTo>
                    <a:pt x="445" y="243"/>
                  </a:lnTo>
                  <a:lnTo>
                    <a:pt x="447" y="245"/>
                  </a:lnTo>
                  <a:lnTo>
                    <a:pt x="448" y="246"/>
                  </a:lnTo>
                  <a:lnTo>
                    <a:pt x="450" y="247"/>
                  </a:lnTo>
                  <a:lnTo>
                    <a:pt x="451" y="248"/>
                  </a:lnTo>
                  <a:lnTo>
                    <a:pt x="451" y="249"/>
                  </a:lnTo>
                  <a:lnTo>
                    <a:pt x="452" y="249"/>
                  </a:lnTo>
                  <a:lnTo>
                    <a:pt x="453" y="250"/>
                  </a:lnTo>
                  <a:lnTo>
                    <a:pt x="453" y="251"/>
                  </a:lnTo>
                  <a:lnTo>
                    <a:pt x="454" y="252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5"/>
                  </a:lnTo>
                  <a:lnTo>
                    <a:pt x="455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3" y="254"/>
                  </a:lnTo>
                  <a:lnTo>
                    <a:pt x="453" y="255"/>
                  </a:lnTo>
                  <a:lnTo>
                    <a:pt x="452" y="255"/>
                  </a:lnTo>
                  <a:lnTo>
                    <a:pt x="452" y="256"/>
                  </a:lnTo>
                  <a:lnTo>
                    <a:pt x="451" y="256"/>
                  </a:lnTo>
                  <a:lnTo>
                    <a:pt x="450" y="257"/>
                  </a:lnTo>
                  <a:lnTo>
                    <a:pt x="450" y="258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60"/>
                  </a:lnTo>
                  <a:lnTo>
                    <a:pt x="449" y="260"/>
                  </a:lnTo>
                  <a:lnTo>
                    <a:pt x="449" y="261"/>
                  </a:lnTo>
                  <a:lnTo>
                    <a:pt x="449" y="262"/>
                  </a:lnTo>
                  <a:lnTo>
                    <a:pt x="449" y="262"/>
                  </a:lnTo>
                  <a:lnTo>
                    <a:pt x="449" y="264"/>
                  </a:lnTo>
                  <a:lnTo>
                    <a:pt x="450" y="267"/>
                  </a:lnTo>
                  <a:lnTo>
                    <a:pt x="450" y="269"/>
                  </a:lnTo>
                  <a:lnTo>
                    <a:pt x="450" y="270"/>
                  </a:lnTo>
                  <a:lnTo>
                    <a:pt x="450" y="273"/>
                  </a:lnTo>
                  <a:lnTo>
                    <a:pt x="450" y="274"/>
                  </a:lnTo>
                  <a:lnTo>
                    <a:pt x="450" y="275"/>
                  </a:lnTo>
                  <a:lnTo>
                    <a:pt x="450" y="275"/>
                  </a:lnTo>
                  <a:lnTo>
                    <a:pt x="450" y="276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7" y="279"/>
                  </a:lnTo>
                  <a:lnTo>
                    <a:pt x="445" y="280"/>
                  </a:lnTo>
                  <a:lnTo>
                    <a:pt x="442" y="281"/>
                  </a:lnTo>
                  <a:lnTo>
                    <a:pt x="439" y="281"/>
                  </a:lnTo>
                  <a:lnTo>
                    <a:pt x="438" y="282"/>
                  </a:lnTo>
                  <a:lnTo>
                    <a:pt x="438" y="282"/>
                  </a:lnTo>
                  <a:lnTo>
                    <a:pt x="437" y="282"/>
                  </a:lnTo>
                  <a:lnTo>
                    <a:pt x="437" y="283"/>
                  </a:lnTo>
                  <a:lnTo>
                    <a:pt x="436" y="286"/>
                  </a:lnTo>
                  <a:lnTo>
                    <a:pt x="434" y="288"/>
                  </a:lnTo>
                  <a:lnTo>
                    <a:pt x="434" y="289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2" y="291"/>
                  </a:lnTo>
                  <a:lnTo>
                    <a:pt x="431" y="291"/>
                  </a:lnTo>
                  <a:lnTo>
                    <a:pt x="430" y="291"/>
                  </a:lnTo>
                  <a:lnTo>
                    <a:pt x="429" y="291"/>
                  </a:lnTo>
                  <a:lnTo>
                    <a:pt x="428" y="291"/>
                  </a:lnTo>
                  <a:lnTo>
                    <a:pt x="424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2" y="289"/>
                  </a:lnTo>
                  <a:lnTo>
                    <a:pt x="422" y="289"/>
                  </a:lnTo>
                  <a:lnTo>
                    <a:pt x="421" y="289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1"/>
                  </a:lnTo>
                  <a:lnTo>
                    <a:pt x="420" y="292"/>
                  </a:lnTo>
                  <a:lnTo>
                    <a:pt x="420" y="294"/>
                  </a:lnTo>
                  <a:lnTo>
                    <a:pt x="420" y="296"/>
                  </a:lnTo>
                  <a:lnTo>
                    <a:pt x="420" y="297"/>
                  </a:lnTo>
                  <a:lnTo>
                    <a:pt x="420" y="298"/>
                  </a:lnTo>
                  <a:lnTo>
                    <a:pt x="420" y="299"/>
                  </a:lnTo>
                  <a:lnTo>
                    <a:pt x="420" y="300"/>
                  </a:lnTo>
                  <a:lnTo>
                    <a:pt x="420" y="301"/>
                  </a:lnTo>
                  <a:lnTo>
                    <a:pt x="421" y="302"/>
                  </a:lnTo>
                  <a:lnTo>
                    <a:pt x="421" y="305"/>
                  </a:lnTo>
                  <a:lnTo>
                    <a:pt x="422" y="306"/>
                  </a:lnTo>
                  <a:lnTo>
                    <a:pt x="422" y="307"/>
                  </a:lnTo>
                  <a:lnTo>
                    <a:pt x="422" y="308"/>
                  </a:lnTo>
                  <a:lnTo>
                    <a:pt x="422" y="309"/>
                  </a:lnTo>
                  <a:lnTo>
                    <a:pt x="422" y="311"/>
                  </a:lnTo>
                  <a:lnTo>
                    <a:pt x="422" y="312"/>
                  </a:lnTo>
                  <a:lnTo>
                    <a:pt x="421" y="313"/>
                  </a:lnTo>
                  <a:lnTo>
                    <a:pt x="421" y="315"/>
                  </a:lnTo>
                  <a:lnTo>
                    <a:pt x="420" y="319"/>
                  </a:lnTo>
                  <a:lnTo>
                    <a:pt x="420" y="320"/>
                  </a:lnTo>
                  <a:lnTo>
                    <a:pt x="420" y="321"/>
                  </a:lnTo>
                  <a:lnTo>
                    <a:pt x="419" y="322"/>
                  </a:lnTo>
                  <a:lnTo>
                    <a:pt x="419" y="323"/>
                  </a:lnTo>
                  <a:lnTo>
                    <a:pt x="418" y="323"/>
                  </a:lnTo>
                  <a:lnTo>
                    <a:pt x="418" y="324"/>
                  </a:lnTo>
                  <a:lnTo>
                    <a:pt x="418" y="324"/>
                  </a:lnTo>
                  <a:lnTo>
                    <a:pt x="417" y="324"/>
                  </a:lnTo>
                  <a:lnTo>
                    <a:pt x="417" y="325"/>
                  </a:lnTo>
                  <a:lnTo>
                    <a:pt x="416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3" y="325"/>
                  </a:lnTo>
                  <a:lnTo>
                    <a:pt x="411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4"/>
                  </a:lnTo>
                  <a:lnTo>
                    <a:pt x="401" y="325"/>
                  </a:lnTo>
                  <a:lnTo>
                    <a:pt x="395" y="326"/>
                  </a:lnTo>
                  <a:lnTo>
                    <a:pt x="394" y="326"/>
                  </a:lnTo>
                  <a:lnTo>
                    <a:pt x="393" y="326"/>
                  </a:lnTo>
                  <a:lnTo>
                    <a:pt x="392" y="327"/>
                  </a:lnTo>
                  <a:lnTo>
                    <a:pt x="391" y="327"/>
                  </a:lnTo>
                  <a:lnTo>
                    <a:pt x="391" y="327"/>
                  </a:lnTo>
                  <a:lnTo>
                    <a:pt x="390" y="328"/>
                  </a:lnTo>
                  <a:lnTo>
                    <a:pt x="388" y="330"/>
                  </a:lnTo>
                  <a:lnTo>
                    <a:pt x="387" y="331"/>
                  </a:lnTo>
                  <a:lnTo>
                    <a:pt x="386" y="332"/>
                  </a:lnTo>
                  <a:lnTo>
                    <a:pt x="385" y="332"/>
                  </a:lnTo>
                  <a:lnTo>
                    <a:pt x="384" y="333"/>
                  </a:lnTo>
                  <a:lnTo>
                    <a:pt x="384" y="333"/>
                  </a:lnTo>
                  <a:lnTo>
                    <a:pt x="383" y="333"/>
                  </a:lnTo>
                  <a:lnTo>
                    <a:pt x="383" y="333"/>
                  </a:lnTo>
                  <a:lnTo>
                    <a:pt x="382" y="333"/>
                  </a:lnTo>
                  <a:lnTo>
                    <a:pt x="381" y="333"/>
                  </a:lnTo>
                  <a:lnTo>
                    <a:pt x="379" y="333"/>
                  </a:lnTo>
                  <a:lnTo>
                    <a:pt x="376" y="332"/>
                  </a:lnTo>
                  <a:lnTo>
                    <a:pt x="372" y="331"/>
                  </a:lnTo>
                  <a:lnTo>
                    <a:pt x="370" y="331"/>
                  </a:lnTo>
                  <a:lnTo>
                    <a:pt x="368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6" y="330"/>
                  </a:lnTo>
                  <a:lnTo>
                    <a:pt x="365" y="330"/>
                  </a:lnTo>
                  <a:lnTo>
                    <a:pt x="365" y="331"/>
                  </a:lnTo>
                  <a:lnTo>
                    <a:pt x="363" y="332"/>
                  </a:lnTo>
                  <a:lnTo>
                    <a:pt x="361" y="332"/>
                  </a:lnTo>
                  <a:lnTo>
                    <a:pt x="359" y="332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3" y="333"/>
                  </a:lnTo>
                  <a:lnTo>
                    <a:pt x="350" y="333"/>
                  </a:lnTo>
                  <a:lnTo>
                    <a:pt x="348" y="333"/>
                  </a:lnTo>
                  <a:lnTo>
                    <a:pt x="346" y="333"/>
                  </a:lnTo>
                  <a:lnTo>
                    <a:pt x="340" y="332"/>
                  </a:lnTo>
                  <a:lnTo>
                    <a:pt x="338" y="332"/>
                  </a:lnTo>
                  <a:lnTo>
                    <a:pt x="336" y="332"/>
                  </a:lnTo>
                  <a:lnTo>
                    <a:pt x="333" y="331"/>
                  </a:lnTo>
                  <a:lnTo>
                    <a:pt x="329" y="330"/>
                  </a:lnTo>
                  <a:lnTo>
                    <a:pt x="325" y="329"/>
                  </a:lnTo>
                  <a:lnTo>
                    <a:pt x="323" y="328"/>
                  </a:lnTo>
                  <a:lnTo>
                    <a:pt x="322" y="328"/>
                  </a:lnTo>
                  <a:lnTo>
                    <a:pt x="317" y="328"/>
                  </a:lnTo>
                  <a:lnTo>
                    <a:pt x="316" y="328"/>
                  </a:lnTo>
                  <a:lnTo>
                    <a:pt x="315" y="328"/>
                  </a:lnTo>
                  <a:lnTo>
                    <a:pt x="314" y="328"/>
                  </a:lnTo>
                  <a:lnTo>
                    <a:pt x="313" y="328"/>
                  </a:lnTo>
                  <a:lnTo>
                    <a:pt x="313" y="328"/>
                  </a:lnTo>
                  <a:lnTo>
                    <a:pt x="312" y="329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09" y="331"/>
                  </a:lnTo>
                  <a:lnTo>
                    <a:pt x="309" y="331"/>
                  </a:lnTo>
                  <a:lnTo>
                    <a:pt x="308" y="332"/>
                  </a:lnTo>
                  <a:lnTo>
                    <a:pt x="307" y="333"/>
                  </a:lnTo>
                  <a:lnTo>
                    <a:pt x="307" y="333"/>
                  </a:lnTo>
                  <a:lnTo>
                    <a:pt x="307" y="334"/>
                  </a:lnTo>
                  <a:lnTo>
                    <a:pt x="307" y="335"/>
                  </a:lnTo>
                  <a:lnTo>
                    <a:pt x="307" y="335"/>
                  </a:lnTo>
                  <a:lnTo>
                    <a:pt x="307" y="336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4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4" y="346"/>
                  </a:lnTo>
                  <a:lnTo>
                    <a:pt x="304" y="346"/>
                  </a:lnTo>
                  <a:lnTo>
                    <a:pt x="302" y="346"/>
                  </a:lnTo>
                  <a:lnTo>
                    <a:pt x="301" y="346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298" y="347"/>
                  </a:lnTo>
                  <a:lnTo>
                    <a:pt x="298" y="347"/>
                  </a:lnTo>
                  <a:lnTo>
                    <a:pt x="297" y="347"/>
                  </a:lnTo>
                  <a:lnTo>
                    <a:pt x="297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2"/>
                  </a:lnTo>
                  <a:lnTo>
                    <a:pt x="295" y="353"/>
                  </a:lnTo>
                  <a:lnTo>
                    <a:pt x="294" y="353"/>
                  </a:lnTo>
                  <a:lnTo>
                    <a:pt x="292" y="355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89" y="357"/>
                  </a:lnTo>
                  <a:lnTo>
                    <a:pt x="288" y="358"/>
                  </a:lnTo>
                  <a:lnTo>
                    <a:pt x="287" y="359"/>
                  </a:lnTo>
                  <a:lnTo>
                    <a:pt x="286" y="359"/>
                  </a:lnTo>
                  <a:lnTo>
                    <a:pt x="285" y="359"/>
                  </a:lnTo>
                  <a:lnTo>
                    <a:pt x="282" y="360"/>
                  </a:lnTo>
                  <a:lnTo>
                    <a:pt x="281" y="361"/>
                  </a:lnTo>
                  <a:lnTo>
                    <a:pt x="280" y="361"/>
                  </a:lnTo>
                  <a:lnTo>
                    <a:pt x="278" y="361"/>
                  </a:lnTo>
                  <a:lnTo>
                    <a:pt x="278" y="362"/>
                  </a:lnTo>
                  <a:lnTo>
                    <a:pt x="277" y="362"/>
                  </a:lnTo>
                  <a:lnTo>
                    <a:pt x="276" y="363"/>
                  </a:lnTo>
                  <a:lnTo>
                    <a:pt x="275" y="364"/>
                  </a:lnTo>
                  <a:lnTo>
                    <a:pt x="274" y="364"/>
                  </a:lnTo>
                  <a:lnTo>
                    <a:pt x="273" y="365"/>
                  </a:lnTo>
                  <a:lnTo>
                    <a:pt x="272" y="367"/>
                  </a:lnTo>
                  <a:lnTo>
                    <a:pt x="270" y="369"/>
                  </a:lnTo>
                  <a:lnTo>
                    <a:pt x="269" y="370"/>
                  </a:lnTo>
                  <a:lnTo>
                    <a:pt x="268" y="371"/>
                  </a:lnTo>
                  <a:lnTo>
                    <a:pt x="268" y="371"/>
                  </a:lnTo>
                  <a:lnTo>
                    <a:pt x="267" y="371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5" y="372"/>
                  </a:lnTo>
                  <a:lnTo>
                    <a:pt x="265" y="372"/>
                  </a:lnTo>
                  <a:lnTo>
                    <a:pt x="264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3" y="371"/>
                  </a:lnTo>
                  <a:lnTo>
                    <a:pt x="262" y="371"/>
                  </a:lnTo>
                  <a:lnTo>
                    <a:pt x="261" y="370"/>
                  </a:lnTo>
                  <a:lnTo>
                    <a:pt x="259" y="368"/>
                  </a:lnTo>
                  <a:lnTo>
                    <a:pt x="259" y="368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4" y="366"/>
                  </a:lnTo>
                  <a:lnTo>
                    <a:pt x="253" y="366"/>
                  </a:lnTo>
                  <a:lnTo>
                    <a:pt x="253" y="367"/>
                  </a:lnTo>
                  <a:lnTo>
                    <a:pt x="252" y="367"/>
                  </a:lnTo>
                  <a:lnTo>
                    <a:pt x="251" y="368"/>
                  </a:lnTo>
                  <a:lnTo>
                    <a:pt x="250" y="369"/>
                  </a:lnTo>
                  <a:lnTo>
                    <a:pt x="249" y="370"/>
                  </a:lnTo>
                  <a:lnTo>
                    <a:pt x="246" y="373"/>
                  </a:lnTo>
                  <a:lnTo>
                    <a:pt x="244" y="374"/>
                  </a:lnTo>
                  <a:lnTo>
                    <a:pt x="244" y="375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8" y="378"/>
                  </a:lnTo>
                  <a:lnTo>
                    <a:pt x="236" y="380"/>
                  </a:lnTo>
                  <a:lnTo>
                    <a:pt x="235" y="380"/>
                  </a:lnTo>
                  <a:lnTo>
                    <a:pt x="234" y="381"/>
                  </a:lnTo>
                  <a:lnTo>
                    <a:pt x="233" y="381"/>
                  </a:lnTo>
                  <a:lnTo>
                    <a:pt x="232" y="381"/>
                  </a:lnTo>
                  <a:lnTo>
                    <a:pt x="231" y="381"/>
                  </a:lnTo>
                  <a:lnTo>
                    <a:pt x="230" y="381"/>
                  </a:lnTo>
                  <a:lnTo>
                    <a:pt x="228" y="381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2"/>
                  </a:lnTo>
                  <a:lnTo>
                    <a:pt x="220" y="382"/>
                  </a:lnTo>
                  <a:lnTo>
                    <a:pt x="218" y="381"/>
                  </a:lnTo>
                  <a:lnTo>
                    <a:pt x="217" y="381"/>
                  </a:lnTo>
                  <a:lnTo>
                    <a:pt x="215" y="381"/>
                  </a:lnTo>
                  <a:lnTo>
                    <a:pt x="214" y="380"/>
                  </a:lnTo>
                  <a:lnTo>
                    <a:pt x="214" y="380"/>
                  </a:lnTo>
                  <a:lnTo>
                    <a:pt x="213" y="380"/>
                  </a:lnTo>
                  <a:lnTo>
                    <a:pt x="212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09" y="379"/>
                  </a:lnTo>
                  <a:lnTo>
                    <a:pt x="208" y="380"/>
                  </a:lnTo>
                  <a:lnTo>
                    <a:pt x="207" y="381"/>
                  </a:lnTo>
                  <a:lnTo>
                    <a:pt x="203" y="385"/>
                  </a:lnTo>
                  <a:lnTo>
                    <a:pt x="200" y="387"/>
                  </a:lnTo>
                  <a:lnTo>
                    <a:pt x="198" y="389"/>
                  </a:lnTo>
                  <a:lnTo>
                    <a:pt x="198" y="389"/>
                  </a:lnTo>
                  <a:lnTo>
                    <a:pt x="197" y="390"/>
                  </a:lnTo>
                  <a:lnTo>
                    <a:pt x="196" y="391"/>
                  </a:lnTo>
                  <a:lnTo>
                    <a:pt x="195" y="393"/>
                  </a:lnTo>
                  <a:lnTo>
                    <a:pt x="194" y="393"/>
                  </a:lnTo>
                  <a:lnTo>
                    <a:pt x="193" y="394"/>
                  </a:lnTo>
                  <a:lnTo>
                    <a:pt x="192" y="395"/>
                  </a:lnTo>
                  <a:lnTo>
                    <a:pt x="191" y="395"/>
                  </a:lnTo>
                  <a:lnTo>
                    <a:pt x="190" y="396"/>
                  </a:lnTo>
                  <a:lnTo>
                    <a:pt x="188" y="396"/>
                  </a:lnTo>
                  <a:lnTo>
                    <a:pt x="186" y="397"/>
                  </a:lnTo>
                  <a:lnTo>
                    <a:pt x="185" y="397"/>
                  </a:lnTo>
                  <a:lnTo>
                    <a:pt x="183" y="397"/>
                  </a:lnTo>
                  <a:lnTo>
                    <a:pt x="182" y="397"/>
                  </a:lnTo>
                  <a:lnTo>
                    <a:pt x="181" y="397"/>
                  </a:lnTo>
                  <a:lnTo>
                    <a:pt x="179" y="397"/>
                  </a:lnTo>
                  <a:lnTo>
                    <a:pt x="178" y="397"/>
                  </a:lnTo>
                  <a:lnTo>
                    <a:pt x="176" y="397"/>
                  </a:lnTo>
                  <a:lnTo>
                    <a:pt x="175" y="397"/>
                  </a:lnTo>
                  <a:lnTo>
                    <a:pt x="174" y="398"/>
                  </a:lnTo>
                  <a:lnTo>
                    <a:pt x="173" y="398"/>
                  </a:lnTo>
                  <a:lnTo>
                    <a:pt x="172" y="399"/>
                  </a:lnTo>
                  <a:lnTo>
                    <a:pt x="171" y="400"/>
                  </a:lnTo>
                  <a:lnTo>
                    <a:pt x="169" y="401"/>
                  </a:lnTo>
                  <a:lnTo>
                    <a:pt x="167" y="402"/>
                  </a:lnTo>
                  <a:lnTo>
                    <a:pt x="167" y="403"/>
                  </a:lnTo>
                  <a:lnTo>
                    <a:pt x="165" y="404"/>
                  </a:lnTo>
                  <a:lnTo>
                    <a:pt x="164" y="405"/>
                  </a:lnTo>
                  <a:lnTo>
                    <a:pt x="162" y="406"/>
                  </a:lnTo>
                  <a:lnTo>
                    <a:pt x="160" y="408"/>
                  </a:lnTo>
                  <a:lnTo>
                    <a:pt x="160" y="409"/>
                  </a:lnTo>
                  <a:lnTo>
                    <a:pt x="159" y="409"/>
                  </a:lnTo>
                  <a:lnTo>
                    <a:pt x="159" y="410"/>
                  </a:lnTo>
                  <a:lnTo>
                    <a:pt x="159" y="410"/>
                  </a:lnTo>
                  <a:lnTo>
                    <a:pt x="158" y="411"/>
                  </a:lnTo>
                  <a:lnTo>
                    <a:pt x="158" y="412"/>
                  </a:lnTo>
                  <a:lnTo>
                    <a:pt x="158" y="415"/>
                  </a:lnTo>
                  <a:lnTo>
                    <a:pt x="158" y="415"/>
                  </a:lnTo>
                  <a:lnTo>
                    <a:pt x="157" y="416"/>
                  </a:lnTo>
                  <a:lnTo>
                    <a:pt x="157" y="418"/>
                  </a:lnTo>
                  <a:lnTo>
                    <a:pt x="157" y="418"/>
                  </a:lnTo>
                  <a:lnTo>
                    <a:pt x="157" y="419"/>
                  </a:lnTo>
                  <a:lnTo>
                    <a:pt x="157" y="420"/>
                  </a:lnTo>
                  <a:lnTo>
                    <a:pt x="157" y="421"/>
                  </a:lnTo>
                  <a:lnTo>
                    <a:pt x="157" y="422"/>
                  </a:lnTo>
                  <a:lnTo>
                    <a:pt x="156" y="423"/>
                  </a:lnTo>
                  <a:lnTo>
                    <a:pt x="156" y="423"/>
                  </a:lnTo>
                  <a:lnTo>
                    <a:pt x="156" y="424"/>
                  </a:lnTo>
                  <a:lnTo>
                    <a:pt x="156" y="424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3" y="425"/>
                  </a:lnTo>
                  <a:lnTo>
                    <a:pt x="153" y="426"/>
                  </a:lnTo>
                  <a:lnTo>
                    <a:pt x="152" y="426"/>
                  </a:lnTo>
                  <a:lnTo>
                    <a:pt x="152" y="426"/>
                  </a:lnTo>
                  <a:lnTo>
                    <a:pt x="152" y="427"/>
                  </a:lnTo>
                  <a:lnTo>
                    <a:pt x="151" y="429"/>
                  </a:lnTo>
                  <a:lnTo>
                    <a:pt x="150" y="430"/>
                  </a:lnTo>
                  <a:lnTo>
                    <a:pt x="150" y="431"/>
                  </a:lnTo>
                  <a:lnTo>
                    <a:pt x="149" y="433"/>
                  </a:lnTo>
                  <a:lnTo>
                    <a:pt x="148" y="433"/>
                  </a:lnTo>
                  <a:lnTo>
                    <a:pt x="148" y="434"/>
                  </a:lnTo>
                  <a:lnTo>
                    <a:pt x="147" y="434"/>
                  </a:lnTo>
                  <a:lnTo>
                    <a:pt x="147" y="434"/>
                  </a:lnTo>
                  <a:lnTo>
                    <a:pt x="146" y="434"/>
                  </a:lnTo>
                  <a:lnTo>
                    <a:pt x="145" y="434"/>
                  </a:lnTo>
                  <a:lnTo>
                    <a:pt x="144" y="434"/>
                  </a:lnTo>
                  <a:lnTo>
                    <a:pt x="143" y="434"/>
                  </a:lnTo>
                  <a:lnTo>
                    <a:pt x="142" y="435"/>
                  </a:lnTo>
                  <a:lnTo>
                    <a:pt x="141" y="435"/>
                  </a:lnTo>
                  <a:lnTo>
                    <a:pt x="140" y="435"/>
                  </a:lnTo>
                  <a:lnTo>
                    <a:pt x="139" y="436"/>
                  </a:lnTo>
                  <a:lnTo>
                    <a:pt x="138" y="436"/>
                  </a:lnTo>
                  <a:lnTo>
                    <a:pt x="137" y="437"/>
                  </a:lnTo>
                  <a:lnTo>
                    <a:pt x="136" y="438"/>
                  </a:lnTo>
                  <a:lnTo>
                    <a:pt x="135" y="439"/>
                  </a:lnTo>
                  <a:lnTo>
                    <a:pt x="134" y="440"/>
                  </a:lnTo>
                  <a:lnTo>
                    <a:pt x="133" y="440"/>
                  </a:lnTo>
                  <a:lnTo>
                    <a:pt x="133" y="441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2" y="443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0" y="445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5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3" y="447"/>
                  </a:lnTo>
                  <a:lnTo>
                    <a:pt x="123" y="447"/>
                  </a:lnTo>
                  <a:lnTo>
                    <a:pt x="123" y="446"/>
                  </a:lnTo>
                  <a:lnTo>
                    <a:pt x="122" y="446"/>
                  </a:lnTo>
                  <a:lnTo>
                    <a:pt x="122" y="446"/>
                  </a:lnTo>
                  <a:lnTo>
                    <a:pt x="122" y="445"/>
                  </a:lnTo>
                  <a:lnTo>
                    <a:pt x="121" y="443"/>
                  </a:lnTo>
                  <a:lnTo>
                    <a:pt x="121" y="442"/>
                  </a:lnTo>
                  <a:lnTo>
                    <a:pt x="120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7" y="436"/>
                  </a:lnTo>
                  <a:lnTo>
                    <a:pt x="116" y="437"/>
                  </a:lnTo>
                  <a:lnTo>
                    <a:pt x="115" y="437"/>
                  </a:lnTo>
                  <a:lnTo>
                    <a:pt x="115" y="437"/>
                  </a:lnTo>
                  <a:lnTo>
                    <a:pt x="114" y="438"/>
                  </a:lnTo>
                  <a:lnTo>
                    <a:pt x="114" y="438"/>
                  </a:lnTo>
                  <a:lnTo>
                    <a:pt x="112" y="440"/>
                  </a:lnTo>
                  <a:lnTo>
                    <a:pt x="112" y="440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0" y="441"/>
                  </a:lnTo>
                  <a:lnTo>
                    <a:pt x="110" y="441"/>
                  </a:lnTo>
                  <a:lnTo>
                    <a:pt x="109" y="441"/>
                  </a:lnTo>
                  <a:lnTo>
                    <a:pt x="109" y="440"/>
                  </a:lnTo>
                  <a:lnTo>
                    <a:pt x="109" y="440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8" y="437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5"/>
                  </a:lnTo>
                  <a:lnTo>
                    <a:pt x="108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5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0" y="435"/>
                  </a:lnTo>
                  <a:lnTo>
                    <a:pt x="100" y="434"/>
                  </a:lnTo>
                  <a:lnTo>
                    <a:pt x="99" y="433"/>
                  </a:lnTo>
                  <a:lnTo>
                    <a:pt x="99" y="432"/>
                  </a:lnTo>
                  <a:lnTo>
                    <a:pt x="98" y="431"/>
                  </a:lnTo>
                  <a:lnTo>
                    <a:pt x="96" y="429"/>
                  </a:lnTo>
                  <a:lnTo>
                    <a:pt x="95" y="428"/>
                  </a:lnTo>
                  <a:lnTo>
                    <a:pt x="95" y="427"/>
                  </a:lnTo>
                  <a:lnTo>
                    <a:pt x="94" y="426"/>
                  </a:lnTo>
                  <a:lnTo>
                    <a:pt x="93" y="426"/>
                  </a:lnTo>
                  <a:lnTo>
                    <a:pt x="92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0" y="424"/>
                  </a:lnTo>
                  <a:lnTo>
                    <a:pt x="86" y="424"/>
                  </a:lnTo>
                  <a:lnTo>
                    <a:pt x="85" y="424"/>
                  </a:lnTo>
                  <a:lnTo>
                    <a:pt x="85" y="423"/>
                  </a:lnTo>
                  <a:lnTo>
                    <a:pt x="84" y="423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4" y="419"/>
                  </a:lnTo>
                  <a:lnTo>
                    <a:pt x="84" y="418"/>
                  </a:lnTo>
                  <a:lnTo>
                    <a:pt x="84" y="418"/>
                  </a:lnTo>
                  <a:lnTo>
                    <a:pt x="85" y="418"/>
                  </a:lnTo>
                  <a:lnTo>
                    <a:pt x="86" y="417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8" y="417"/>
                  </a:lnTo>
                  <a:lnTo>
                    <a:pt x="89" y="417"/>
                  </a:lnTo>
                  <a:lnTo>
                    <a:pt x="90" y="417"/>
                  </a:lnTo>
                  <a:lnTo>
                    <a:pt x="93" y="418"/>
                  </a:lnTo>
                  <a:lnTo>
                    <a:pt x="93" y="418"/>
                  </a:lnTo>
                  <a:lnTo>
                    <a:pt x="94" y="418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5" y="417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4" y="415"/>
                  </a:lnTo>
                  <a:lnTo>
                    <a:pt x="94" y="413"/>
                  </a:lnTo>
                  <a:lnTo>
                    <a:pt x="94" y="412"/>
                  </a:lnTo>
                  <a:lnTo>
                    <a:pt x="94" y="411"/>
                  </a:lnTo>
                  <a:lnTo>
                    <a:pt x="94" y="411"/>
                  </a:lnTo>
                  <a:lnTo>
                    <a:pt x="94" y="410"/>
                  </a:lnTo>
                  <a:lnTo>
                    <a:pt x="95" y="409"/>
                  </a:lnTo>
                  <a:lnTo>
                    <a:pt x="95" y="409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6" y="407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6" y="405"/>
                  </a:lnTo>
                  <a:lnTo>
                    <a:pt x="95" y="404"/>
                  </a:lnTo>
                  <a:lnTo>
                    <a:pt x="95" y="401"/>
                  </a:lnTo>
                  <a:lnTo>
                    <a:pt x="94" y="400"/>
                  </a:lnTo>
                  <a:lnTo>
                    <a:pt x="94" y="398"/>
                  </a:lnTo>
                  <a:lnTo>
                    <a:pt x="92" y="394"/>
                  </a:lnTo>
                  <a:lnTo>
                    <a:pt x="91" y="392"/>
                  </a:lnTo>
                  <a:lnTo>
                    <a:pt x="90" y="390"/>
                  </a:lnTo>
                  <a:lnTo>
                    <a:pt x="89" y="389"/>
                  </a:lnTo>
                  <a:lnTo>
                    <a:pt x="87" y="386"/>
                  </a:lnTo>
                  <a:lnTo>
                    <a:pt x="87" y="386"/>
                  </a:lnTo>
                  <a:lnTo>
                    <a:pt x="87" y="385"/>
                  </a:lnTo>
                  <a:lnTo>
                    <a:pt x="87" y="385"/>
                  </a:lnTo>
                  <a:lnTo>
                    <a:pt x="87" y="384"/>
                  </a:lnTo>
                  <a:lnTo>
                    <a:pt x="87" y="381"/>
                  </a:lnTo>
                  <a:lnTo>
                    <a:pt x="87" y="380"/>
                  </a:lnTo>
                  <a:lnTo>
                    <a:pt x="86" y="378"/>
                  </a:lnTo>
                  <a:lnTo>
                    <a:pt x="86" y="378"/>
                  </a:lnTo>
                  <a:lnTo>
                    <a:pt x="86" y="377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3" y="374"/>
                  </a:lnTo>
                  <a:lnTo>
                    <a:pt x="83" y="373"/>
                  </a:lnTo>
                  <a:lnTo>
                    <a:pt x="82" y="373"/>
                  </a:lnTo>
                  <a:lnTo>
                    <a:pt x="82" y="372"/>
                  </a:lnTo>
                  <a:lnTo>
                    <a:pt x="82" y="372"/>
                  </a:lnTo>
                  <a:lnTo>
                    <a:pt x="82" y="371"/>
                  </a:lnTo>
                  <a:lnTo>
                    <a:pt x="81" y="370"/>
                  </a:lnTo>
                  <a:lnTo>
                    <a:pt x="82" y="370"/>
                  </a:lnTo>
                  <a:lnTo>
                    <a:pt x="82" y="369"/>
                  </a:lnTo>
                  <a:lnTo>
                    <a:pt x="82" y="367"/>
                  </a:lnTo>
                  <a:lnTo>
                    <a:pt x="82" y="366"/>
                  </a:lnTo>
                  <a:lnTo>
                    <a:pt x="82" y="365"/>
                  </a:lnTo>
                  <a:lnTo>
                    <a:pt x="82" y="363"/>
                  </a:lnTo>
                  <a:lnTo>
                    <a:pt x="82" y="361"/>
                  </a:lnTo>
                  <a:lnTo>
                    <a:pt x="81" y="359"/>
                  </a:lnTo>
                  <a:lnTo>
                    <a:pt x="81" y="358"/>
                  </a:lnTo>
                  <a:lnTo>
                    <a:pt x="80" y="356"/>
                  </a:lnTo>
                  <a:lnTo>
                    <a:pt x="80" y="355"/>
                  </a:lnTo>
                  <a:lnTo>
                    <a:pt x="80" y="354"/>
                  </a:lnTo>
                  <a:lnTo>
                    <a:pt x="80" y="353"/>
                  </a:lnTo>
                  <a:lnTo>
                    <a:pt x="80" y="352"/>
                  </a:lnTo>
                  <a:lnTo>
                    <a:pt x="80" y="351"/>
                  </a:lnTo>
                  <a:lnTo>
                    <a:pt x="81" y="347"/>
                  </a:lnTo>
                  <a:lnTo>
                    <a:pt x="81" y="345"/>
                  </a:lnTo>
                  <a:lnTo>
                    <a:pt x="82" y="344"/>
                  </a:lnTo>
                  <a:lnTo>
                    <a:pt x="82" y="343"/>
                  </a:lnTo>
                  <a:lnTo>
                    <a:pt x="82" y="343"/>
                  </a:lnTo>
                  <a:lnTo>
                    <a:pt x="82" y="340"/>
                  </a:lnTo>
                  <a:lnTo>
                    <a:pt x="82" y="339"/>
                  </a:lnTo>
                  <a:lnTo>
                    <a:pt x="82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3" y="334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0"/>
                  </a:lnTo>
                  <a:lnTo>
                    <a:pt x="83" y="329"/>
                  </a:lnTo>
                  <a:lnTo>
                    <a:pt x="83" y="328"/>
                  </a:lnTo>
                  <a:lnTo>
                    <a:pt x="83" y="327"/>
                  </a:lnTo>
                  <a:lnTo>
                    <a:pt x="83" y="326"/>
                  </a:lnTo>
                  <a:lnTo>
                    <a:pt x="82" y="325"/>
                  </a:lnTo>
                  <a:lnTo>
                    <a:pt x="81" y="323"/>
                  </a:lnTo>
                  <a:lnTo>
                    <a:pt x="81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9" y="319"/>
                  </a:lnTo>
                  <a:lnTo>
                    <a:pt x="78" y="319"/>
                  </a:lnTo>
                  <a:lnTo>
                    <a:pt x="77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4" y="318"/>
                  </a:lnTo>
                  <a:lnTo>
                    <a:pt x="70" y="318"/>
                  </a:lnTo>
                  <a:lnTo>
                    <a:pt x="69" y="318"/>
                  </a:lnTo>
                  <a:lnTo>
                    <a:pt x="68" y="318"/>
                  </a:lnTo>
                  <a:lnTo>
                    <a:pt x="65" y="318"/>
                  </a:lnTo>
                  <a:lnTo>
                    <a:pt x="64" y="318"/>
                  </a:lnTo>
                  <a:lnTo>
                    <a:pt x="62" y="318"/>
                  </a:lnTo>
                  <a:lnTo>
                    <a:pt x="58" y="318"/>
                  </a:lnTo>
                  <a:lnTo>
                    <a:pt x="57" y="317"/>
                  </a:lnTo>
                  <a:lnTo>
                    <a:pt x="55" y="317"/>
                  </a:lnTo>
                  <a:lnTo>
                    <a:pt x="55" y="317"/>
                  </a:lnTo>
                  <a:lnTo>
                    <a:pt x="54" y="318"/>
                  </a:lnTo>
                  <a:lnTo>
                    <a:pt x="52" y="318"/>
                  </a:lnTo>
                  <a:lnTo>
                    <a:pt x="51" y="318"/>
                  </a:lnTo>
                  <a:lnTo>
                    <a:pt x="50" y="318"/>
                  </a:lnTo>
                  <a:lnTo>
                    <a:pt x="49" y="318"/>
                  </a:lnTo>
                  <a:lnTo>
                    <a:pt x="49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6" y="318"/>
                  </a:lnTo>
                  <a:lnTo>
                    <a:pt x="46" y="317"/>
                  </a:lnTo>
                  <a:lnTo>
                    <a:pt x="46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5"/>
                  </a:lnTo>
                  <a:lnTo>
                    <a:pt x="45" y="314"/>
                  </a:lnTo>
                  <a:lnTo>
                    <a:pt x="45" y="313"/>
                  </a:lnTo>
                  <a:lnTo>
                    <a:pt x="45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4" y="309"/>
                  </a:lnTo>
                  <a:lnTo>
                    <a:pt x="44" y="308"/>
                  </a:lnTo>
                  <a:lnTo>
                    <a:pt x="43" y="308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1" y="305"/>
                  </a:lnTo>
                  <a:lnTo>
                    <a:pt x="38" y="304"/>
                  </a:lnTo>
                  <a:lnTo>
                    <a:pt x="36" y="303"/>
                  </a:lnTo>
                  <a:lnTo>
                    <a:pt x="36" y="303"/>
                  </a:lnTo>
                  <a:lnTo>
                    <a:pt x="35" y="303"/>
                  </a:lnTo>
                  <a:lnTo>
                    <a:pt x="34" y="302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5" y="301"/>
                  </a:lnTo>
                  <a:lnTo>
                    <a:pt x="22" y="300"/>
                  </a:lnTo>
                  <a:lnTo>
                    <a:pt x="20" y="300"/>
                  </a:lnTo>
                  <a:lnTo>
                    <a:pt x="19" y="299"/>
                  </a:lnTo>
                  <a:lnTo>
                    <a:pt x="16" y="299"/>
                  </a:lnTo>
                  <a:lnTo>
                    <a:pt x="14" y="299"/>
                  </a:lnTo>
                  <a:lnTo>
                    <a:pt x="12" y="299"/>
                  </a:lnTo>
                  <a:lnTo>
                    <a:pt x="9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6" y="297"/>
                  </a:lnTo>
                  <a:lnTo>
                    <a:pt x="4" y="296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1" y="291"/>
                  </a:lnTo>
                  <a:lnTo>
                    <a:pt x="1" y="291"/>
                  </a:lnTo>
                  <a:lnTo>
                    <a:pt x="2" y="290"/>
                  </a:lnTo>
                  <a:lnTo>
                    <a:pt x="6" y="288"/>
                  </a:lnTo>
                  <a:lnTo>
                    <a:pt x="8" y="287"/>
                  </a:lnTo>
                  <a:lnTo>
                    <a:pt x="10" y="286"/>
                  </a:lnTo>
                  <a:lnTo>
                    <a:pt x="11" y="285"/>
                  </a:lnTo>
                  <a:lnTo>
                    <a:pt x="12" y="284"/>
                  </a:lnTo>
                  <a:lnTo>
                    <a:pt x="13" y="283"/>
                  </a:lnTo>
                  <a:lnTo>
                    <a:pt x="18" y="278"/>
                  </a:lnTo>
                  <a:lnTo>
                    <a:pt x="19" y="276"/>
                  </a:lnTo>
                  <a:lnTo>
                    <a:pt x="20" y="275"/>
                  </a:lnTo>
                  <a:lnTo>
                    <a:pt x="21" y="274"/>
                  </a:lnTo>
                  <a:lnTo>
                    <a:pt x="21" y="273"/>
                  </a:lnTo>
                  <a:lnTo>
                    <a:pt x="21" y="272"/>
                  </a:lnTo>
                  <a:lnTo>
                    <a:pt x="22" y="271"/>
                  </a:lnTo>
                  <a:lnTo>
                    <a:pt x="22" y="269"/>
                  </a:lnTo>
                  <a:lnTo>
                    <a:pt x="22" y="264"/>
                  </a:lnTo>
                  <a:lnTo>
                    <a:pt x="22" y="261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4" y="254"/>
                  </a:lnTo>
                  <a:lnTo>
                    <a:pt x="24" y="253"/>
                  </a:lnTo>
                  <a:lnTo>
                    <a:pt x="25" y="252"/>
                  </a:lnTo>
                  <a:lnTo>
                    <a:pt x="25" y="251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8" y="248"/>
                  </a:lnTo>
                  <a:lnTo>
                    <a:pt x="28" y="248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8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7" y="247"/>
                  </a:lnTo>
                  <a:lnTo>
                    <a:pt x="51" y="246"/>
                  </a:lnTo>
                  <a:lnTo>
                    <a:pt x="52" y="245"/>
                  </a:lnTo>
                  <a:lnTo>
                    <a:pt x="53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5" y="245"/>
                  </a:lnTo>
                  <a:lnTo>
                    <a:pt x="56" y="245"/>
                  </a:lnTo>
                  <a:lnTo>
                    <a:pt x="57" y="246"/>
                  </a:lnTo>
                  <a:lnTo>
                    <a:pt x="59" y="246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4" y="246"/>
                  </a:lnTo>
                  <a:lnTo>
                    <a:pt x="75" y="245"/>
                  </a:lnTo>
                  <a:lnTo>
                    <a:pt x="77" y="241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81" y="235"/>
                  </a:lnTo>
                  <a:lnTo>
                    <a:pt x="81" y="233"/>
                  </a:lnTo>
                  <a:lnTo>
                    <a:pt x="82" y="232"/>
                  </a:lnTo>
                  <a:lnTo>
                    <a:pt x="83" y="230"/>
                  </a:lnTo>
                  <a:lnTo>
                    <a:pt x="83" y="228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4" y="222"/>
                  </a:lnTo>
                  <a:lnTo>
                    <a:pt x="85" y="221"/>
                  </a:lnTo>
                  <a:lnTo>
                    <a:pt x="87" y="216"/>
                  </a:lnTo>
                  <a:lnTo>
                    <a:pt x="87" y="215"/>
                  </a:lnTo>
                  <a:lnTo>
                    <a:pt x="88" y="215"/>
                  </a:lnTo>
                  <a:lnTo>
                    <a:pt x="88" y="214"/>
                  </a:lnTo>
                  <a:lnTo>
                    <a:pt x="89" y="213"/>
                  </a:lnTo>
                  <a:lnTo>
                    <a:pt x="89" y="212"/>
                  </a:lnTo>
                  <a:lnTo>
                    <a:pt x="90" y="212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2" y="210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4" y="210"/>
                  </a:lnTo>
                  <a:lnTo>
                    <a:pt x="95" y="210"/>
                  </a:lnTo>
                  <a:lnTo>
                    <a:pt x="95" y="210"/>
                  </a:lnTo>
                  <a:lnTo>
                    <a:pt x="96" y="210"/>
                  </a:lnTo>
                  <a:lnTo>
                    <a:pt x="98" y="210"/>
                  </a:lnTo>
                  <a:lnTo>
                    <a:pt x="99" y="211"/>
                  </a:lnTo>
                  <a:lnTo>
                    <a:pt x="99" y="211"/>
                  </a:lnTo>
                  <a:lnTo>
                    <a:pt x="100" y="211"/>
                  </a:lnTo>
                  <a:lnTo>
                    <a:pt x="102" y="213"/>
                  </a:lnTo>
                  <a:lnTo>
                    <a:pt x="103" y="213"/>
                  </a:lnTo>
                  <a:lnTo>
                    <a:pt x="104" y="214"/>
                  </a:lnTo>
                  <a:lnTo>
                    <a:pt x="104" y="214"/>
                  </a:lnTo>
                  <a:lnTo>
                    <a:pt x="105" y="214"/>
                  </a:lnTo>
                  <a:lnTo>
                    <a:pt x="106" y="214"/>
                  </a:lnTo>
                  <a:lnTo>
                    <a:pt x="107" y="214"/>
                  </a:lnTo>
                  <a:lnTo>
                    <a:pt x="107" y="214"/>
                  </a:lnTo>
                  <a:lnTo>
                    <a:pt x="108" y="214"/>
                  </a:lnTo>
                  <a:lnTo>
                    <a:pt x="109" y="214"/>
                  </a:lnTo>
                  <a:lnTo>
                    <a:pt x="109" y="213"/>
                  </a:lnTo>
                  <a:lnTo>
                    <a:pt x="110" y="213"/>
                  </a:lnTo>
                  <a:lnTo>
                    <a:pt x="110" y="213"/>
                  </a:lnTo>
                  <a:lnTo>
                    <a:pt x="111" y="212"/>
                  </a:lnTo>
                  <a:lnTo>
                    <a:pt x="111" y="212"/>
                  </a:lnTo>
                  <a:lnTo>
                    <a:pt x="111" y="211"/>
                  </a:lnTo>
                  <a:lnTo>
                    <a:pt x="112" y="210"/>
                  </a:lnTo>
                  <a:lnTo>
                    <a:pt x="113" y="207"/>
                  </a:lnTo>
                  <a:lnTo>
                    <a:pt x="113" y="206"/>
                  </a:lnTo>
                  <a:lnTo>
                    <a:pt x="114" y="205"/>
                  </a:lnTo>
                  <a:lnTo>
                    <a:pt x="115" y="204"/>
                  </a:lnTo>
                  <a:lnTo>
                    <a:pt x="115" y="204"/>
                  </a:lnTo>
                  <a:lnTo>
                    <a:pt x="116" y="202"/>
                  </a:lnTo>
                  <a:lnTo>
                    <a:pt x="118" y="201"/>
                  </a:lnTo>
                  <a:lnTo>
                    <a:pt x="119" y="200"/>
                  </a:lnTo>
                  <a:lnTo>
                    <a:pt x="122" y="198"/>
                  </a:lnTo>
                  <a:lnTo>
                    <a:pt x="123" y="197"/>
                  </a:lnTo>
                  <a:lnTo>
                    <a:pt x="124" y="196"/>
                  </a:lnTo>
                  <a:lnTo>
                    <a:pt x="125" y="196"/>
                  </a:lnTo>
                  <a:lnTo>
                    <a:pt x="125" y="195"/>
                  </a:lnTo>
                  <a:lnTo>
                    <a:pt x="126" y="195"/>
                  </a:lnTo>
                  <a:lnTo>
                    <a:pt x="127" y="193"/>
                  </a:lnTo>
                  <a:lnTo>
                    <a:pt x="127" y="192"/>
                  </a:lnTo>
                  <a:lnTo>
                    <a:pt x="128" y="191"/>
                  </a:lnTo>
                  <a:lnTo>
                    <a:pt x="128" y="188"/>
                  </a:lnTo>
                  <a:lnTo>
                    <a:pt x="129" y="187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1" y="185"/>
                  </a:lnTo>
                  <a:lnTo>
                    <a:pt x="132" y="186"/>
                  </a:lnTo>
                  <a:lnTo>
                    <a:pt x="132" y="186"/>
                  </a:lnTo>
                  <a:lnTo>
                    <a:pt x="133" y="186"/>
                  </a:lnTo>
                  <a:lnTo>
                    <a:pt x="133" y="186"/>
                  </a:lnTo>
                  <a:lnTo>
                    <a:pt x="133" y="187"/>
                  </a:lnTo>
                  <a:lnTo>
                    <a:pt x="135" y="188"/>
                  </a:lnTo>
                  <a:lnTo>
                    <a:pt x="136" y="190"/>
                  </a:lnTo>
                  <a:lnTo>
                    <a:pt x="137" y="191"/>
                  </a:lnTo>
                  <a:lnTo>
                    <a:pt x="139" y="195"/>
                  </a:lnTo>
                  <a:lnTo>
                    <a:pt x="140" y="196"/>
                  </a:lnTo>
                  <a:lnTo>
                    <a:pt x="141" y="197"/>
                  </a:lnTo>
                  <a:lnTo>
                    <a:pt x="142" y="198"/>
                  </a:lnTo>
                  <a:lnTo>
                    <a:pt x="142" y="199"/>
                  </a:lnTo>
                  <a:lnTo>
                    <a:pt x="144" y="200"/>
                  </a:lnTo>
                  <a:lnTo>
                    <a:pt x="145" y="201"/>
                  </a:lnTo>
                  <a:lnTo>
                    <a:pt x="146" y="201"/>
                  </a:lnTo>
                  <a:lnTo>
                    <a:pt x="147" y="201"/>
                  </a:lnTo>
                  <a:lnTo>
                    <a:pt x="149" y="202"/>
                  </a:lnTo>
                  <a:lnTo>
                    <a:pt x="151" y="203"/>
                  </a:lnTo>
                  <a:lnTo>
                    <a:pt x="152" y="203"/>
                  </a:lnTo>
                  <a:lnTo>
                    <a:pt x="152" y="203"/>
                  </a:lnTo>
                  <a:lnTo>
                    <a:pt x="153" y="203"/>
                  </a:lnTo>
                  <a:lnTo>
                    <a:pt x="153" y="203"/>
                  </a:lnTo>
                  <a:lnTo>
                    <a:pt x="154" y="203"/>
                  </a:lnTo>
                  <a:lnTo>
                    <a:pt x="154" y="203"/>
                  </a:lnTo>
                  <a:lnTo>
                    <a:pt x="155" y="203"/>
                  </a:lnTo>
                  <a:lnTo>
                    <a:pt x="156" y="202"/>
                  </a:lnTo>
                  <a:lnTo>
                    <a:pt x="156" y="202"/>
                  </a:lnTo>
                  <a:lnTo>
                    <a:pt x="157" y="201"/>
                  </a:lnTo>
                  <a:lnTo>
                    <a:pt x="158" y="201"/>
                  </a:lnTo>
                  <a:lnTo>
                    <a:pt x="159" y="199"/>
                  </a:lnTo>
                  <a:lnTo>
                    <a:pt x="163" y="196"/>
                  </a:lnTo>
                  <a:lnTo>
                    <a:pt x="166" y="193"/>
                  </a:lnTo>
                  <a:lnTo>
                    <a:pt x="169" y="190"/>
                  </a:lnTo>
                  <a:lnTo>
                    <a:pt x="170" y="189"/>
                  </a:lnTo>
                  <a:lnTo>
                    <a:pt x="170" y="188"/>
                  </a:lnTo>
                  <a:lnTo>
                    <a:pt x="171" y="188"/>
                  </a:lnTo>
                  <a:lnTo>
                    <a:pt x="171" y="187"/>
                  </a:lnTo>
                  <a:lnTo>
                    <a:pt x="171" y="186"/>
                  </a:lnTo>
                  <a:lnTo>
                    <a:pt x="171" y="185"/>
                  </a:lnTo>
                  <a:lnTo>
                    <a:pt x="171" y="183"/>
                  </a:lnTo>
                  <a:lnTo>
                    <a:pt x="171" y="182"/>
                  </a:lnTo>
                  <a:lnTo>
                    <a:pt x="172" y="181"/>
                  </a:lnTo>
                  <a:lnTo>
                    <a:pt x="172" y="181"/>
                  </a:lnTo>
                  <a:lnTo>
                    <a:pt x="172" y="180"/>
                  </a:lnTo>
                  <a:lnTo>
                    <a:pt x="173" y="179"/>
                  </a:lnTo>
                  <a:lnTo>
                    <a:pt x="174" y="177"/>
                  </a:lnTo>
                  <a:lnTo>
                    <a:pt x="175" y="175"/>
                  </a:lnTo>
                  <a:lnTo>
                    <a:pt x="176" y="174"/>
                  </a:lnTo>
                  <a:lnTo>
                    <a:pt x="176" y="174"/>
                  </a:lnTo>
                  <a:lnTo>
                    <a:pt x="176" y="173"/>
                  </a:lnTo>
                  <a:lnTo>
                    <a:pt x="176" y="172"/>
                  </a:lnTo>
                  <a:lnTo>
                    <a:pt x="177" y="171"/>
                  </a:lnTo>
                  <a:lnTo>
                    <a:pt x="177" y="170"/>
                  </a:lnTo>
                  <a:lnTo>
                    <a:pt x="177" y="170"/>
                  </a:lnTo>
                  <a:lnTo>
                    <a:pt x="177" y="168"/>
                  </a:lnTo>
                  <a:lnTo>
                    <a:pt x="177" y="166"/>
                  </a:lnTo>
                  <a:lnTo>
                    <a:pt x="176" y="163"/>
                  </a:lnTo>
                  <a:lnTo>
                    <a:pt x="176" y="162"/>
                  </a:lnTo>
                  <a:lnTo>
                    <a:pt x="176" y="161"/>
                  </a:lnTo>
                  <a:lnTo>
                    <a:pt x="176" y="160"/>
                  </a:lnTo>
                  <a:lnTo>
                    <a:pt x="176" y="160"/>
                  </a:lnTo>
                  <a:lnTo>
                    <a:pt x="177" y="159"/>
                  </a:lnTo>
                  <a:lnTo>
                    <a:pt x="177" y="159"/>
                  </a:lnTo>
                  <a:lnTo>
                    <a:pt x="178" y="158"/>
                  </a:lnTo>
                  <a:lnTo>
                    <a:pt x="178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80" y="156"/>
                  </a:lnTo>
                  <a:lnTo>
                    <a:pt x="181" y="156"/>
                  </a:lnTo>
                  <a:lnTo>
                    <a:pt x="182" y="156"/>
                  </a:lnTo>
                  <a:lnTo>
                    <a:pt x="183" y="155"/>
                  </a:lnTo>
                  <a:lnTo>
                    <a:pt x="184" y="155"/>
                  </a:lnTo>
                  <a:lnTo>
                    <a:pt x="185" y="155"/>
                  </a:lnTo>
                  <a:lnTo>
                    <a:pt x="187" y="155"/>
                  </a:lnTo>
                  <a:lnTo>
                    <a:pt x="192" y="155"/>
                  </a:lnTo>
                  <a:lnTo>
                    <a:pt x="194" y="155"/>
                  </a:lnTo>
                  <a:lnTo>
                    <a:pt x="196" y="155"/>
                  </a:lnTo>
                  <a:lnTo>
                    <a:pt x="197" y="154"/>
                  </a:lnTo>
                  <a:lnTo>
                    <a:pt x="199" y="154"/>
                  </a:lnTo>
                  <a:lnTo>
                    <a:pt x="200" y="153"/>
                  </a:lnTo>
                  <a:lnTo>
                    <a:pt x="201" y="153"/>
                  </a:lnTo>
                  <a:lnTo>
                    <a:pt x="202" y="152"/>
                  </a:lnTo>
                  <a:lnTo>
                    <a:pt x="204" y="151"/>
                  </a:lnTo>
                  <a:lnTo>
                    <a:pt x="205" y="151"/>
                  </a:lnTo>
                  <a:lnTo>
                    <a:pt x="206" y="150"/>
                  </a:lnTo>
                  <a:lnTo>
                    <a:pt x="208" y="149"/>
                  </a:lnTo>
                  <a:lnTo>
                    <a:pt x="209" y="149"/>
                  </a:lnTo>
                  <a:lnTo>
                    <a:pt x="210" y="148"/>
                  </a:lnTo>
                  <a:lnTo>
                    <a:pt x="211" y="148"/>
                  </a:lnTo>
                  <a:lnTo>
                    <a:pt x="212" y="148"/>
                  </a:lnTo>
                  <a:lnTo>
                    <a:pt x="213" y="148"/>
                  </a:lnTo>
                  <a:lnTo>
                    <a:pt x="214" y="148"/>
                  </a:lnTo>
                  <a:lnTo>
                    <a:pt x="215" y="148"/>
                  </a:lnTo>
                  <a:lnTo>
                    <a:pt x="215" y="148"/>
                  </a:lnTo>
                  <a:lnTo>
                    <a:pt x="216" y="149"/>
                  </a:lnTo>
                  <a:lnTo>
                    <a:pt x="217" y="149"/>
                  </a:lnTo>
                  <a:lnTo>
                    <a:pt x="220" y="151"/>
                  </a:lnTo>
                  <a:lnTo>
                    <a:pt x="222" y="151"/>
                  </a:lnTo>
                  <a:lnTo>
                    <a:pt x="223" y="151"/>
                  </a:lnTo>
                  <a:lnTo>
                    <a:pt x="223" y="152"/>
                  </a:lnTo>
                  <a:lnTo>
                    <a:pt x="224" y="152"/>
                  </a:lnTo>
                  <a:lnTo>
                    <a:pt x="225" y="152"/>
                  </a:lnTo>
                  <a:lnTo>
                    <a:pt x="225" y="152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7" y="151"/>
                  </a:lnTo>
                  <a:lnTo>
                    <a:pt x="228" y="151"/>
                  </a:lnTo>
                  <a:lnTo>
                    <a:pt x="229" y="150"/>
                  </a:lnTo>
                  <a:lnTo>
                    <a:pt x="231" y="149"/>
                  </a:lnTo>
                  <a:lnTo>
                    <a:pt x="232" y="149"/>
                  </a:lnTo>
                  <a:lnTo>
                    <a:pt x="233" y="148"/>
                  </a:lnTo>
                  <a:lnTo>
                    <a:pt x="234" y="148"/>
                  </a:lnTo>
                  <a:lnTo>
                    <a:pt x="238" y="148"/>
                  </a:lnTo>
                  <a:lnTo>
                    <a:pt x="242" y="147"/>
                  </a:lnTo>
                  <a:lnTo>
                    <a:pt x="243" y="147"/>
                  </a:lnTo>
                  <a:lnTo>
                    <a:pt x="244" y="147"/>
                  </a:lnTo>
                  <a:lnTo>
                    <a:pt x="247" y="147"/>
                  </a:lnTo>
                  <a:lnTo>
                    <a:pt x="248" y="147"/>
                  </a:lnTo>
                  <a:lnTo>
                    <a:pt x="250" y="147"/>
                  </a:lnTo>
                  <a:lnTo>
                    <a:pt x="252" y="147"/>
                  </a:lnTo>
                  <a:lnTo>
                    <a:pt x="254" y="147"/>
                  </a:lnTo>
                  <a:lnTo>
                    <a:pt x="255" y="147"/>
                  </a:lnTo>
                  <a:lnTo>
                    <a:pt x="256" y="148"/>
                  </a:lnTo>
                  <a:lnTo>
                    <a:pt x="259" y="149"/>
                  </a:lnTo>
                  <a:lnTo>
                    <a:pt x="260" y="149"/>
                  </a:lnTo>
                  <a:lnTo>
                    <a:pt x="261" y="149"/>
                  </a:lnTo>
                  <a:lnTo>
                    <a:pt x="263" y="150"/>
                  </a:lnTo>
                  <a:lnTo>
                    <a:pt x="264" y="150"/>
                  </a:lnTo>
                  <a:lnTo>
                    <a:pt x="266" y="150"/>
                  </a:lnTo>
                  <a:lnTo>
                    <a:pt x="267" y="149"/>
                  </a:lnTo>
                  <a:lnTo>
                    <a:pt x="268" y="149"/>
                  </a:lnTo>
                  <a:lnTo>
                    <a:pt x="269" y="149"/>
                  </a:lnTo>
                  <a:lnTo>
                    <a:pt x="270" y="148"/>
                  </a:lnTo>
                  <a:lnTo>
                    <a:pt x="271" y="147"/>
                  </a:lnTo>
                  <a:lnTo>
                    <a:pt x="273" y="146"/>
                  </a:lnTo>
                  <a:lnTo>
                    <a:pt x="274" y="145"/>
                  </a:lnTo>
                  <a:lnTo>
                    <a:pt x="275" y="145"/>
                  </a:lnTo>
                  <a:lnTo>
                    <a:pt x="278" y="144"/>
                  </a:lnTo>
                  <a:lnTo>
                    <a:pt x="278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80" y="142"/>
                  </a:lnTo>
                  <a:lnTo>
                    <a:pt x="281" y="142"/>
                  </a:lnTo>
                  <a:lnTo>
                    <a:pt x="281" y="141"/>
                  </a:lnTo>
                  <a:lnTo>
                    <a:pt x="282" y="140"/>
                  </a:lnTo>
                  <a:lnTo>
                    <a:pt x="282" y="139"/>
                  </a:lnTo>
                  <a:lnTo>
                    <a:pt x="282" y="138"/>
                  </a:lnTo>
                  <a:lnTo>
                    <a:pt x="282" y="138"/>
                  </a:lnTo>
                  <a:lnTo>
                    <a:pt x="282" y="136"/>
                  </a:lnTo>
                  <a:lnTo>
                    <a:pt x="282" y="133"/>
                  </a:lnTo>
                  <a:lnTo>
                    <a:pt x="282" y="132"/>
                  </a:lnTo>
                  <a:lnTo>
                    <a:pt x="282" y="130"/>
                  </a:lnTo>
                  <a:lnTo>
                    <a:pt x="282" y="129"/>
                  </a:lnTo>
                  <a:lnTo>
                    <a:pt x="282" y="128"/>
                  </a:lnTo>
                  <a:lnTo>
                    <a:pt x="283" y="127"/>
                  </a:lnTo>
                  <a:lnTo>
                    <a:pt x="283" y="126"/>
                  </a:lnTo>
                  <a:lnTo>
                    <a:pt x="283" y="125"/>
                  </a:lnTo>
                  <a:lnTo>
                    <a:pt x="284" y="124"/>
                  </a:lnTo>
                  <a:lnTo>
                    <a:pt x="284" y="124"/>
                  </a:lnTo>
                  <a:lnTo>
                    <a:pt x="284" y="123"/>
                  </a:lnTo>
                  <a:lnTo>
                    <a:pt x="285" y="123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2"/>
                  </a:lnTo>
                  <a:lnTo>
                    <a:pt x="287" y="121"/>
                  </a:lnTo>
                  <a:lnTo>
                    <a:pt x="288" y="121"/>
                  </a:lnTo>
                  <a:lnTo>
                    <a:pt x="291" y="120"/>
                  </a:lnTo>
                  <a:lnTo>
                    <a:pt x="292" y="120"/>
                  </a:lnTo>
                  <a:lnTo>
                    <a:pt x="294" y="119"/>
                  </a:lnTo>
                  <a:lnTo>
                    <a:pt x="295" y="119"/>
                  </a:lnTo>
                  <a:lnTo>
                    <a:pt x="297" y="118"/>
                  </a:lnTo>
                  <a:lnTo>
                    <a:pt x="298" y="117"/>
                  </a:lnTo>
                  <a:lnTo>
                    <a:pt x="299" y="116"/>
                  </a:lnTo>
                  <a:lnTo>
                    <a:pt x="301" y="114"/>
                  </a:lnTo>
                  <a:lnTo>
                    <a:pt x="302" y="113"/>
                  </a:lnTo>
                  <a:lnTo>
                    <a:pt x="303" y="113"/>
                  </a:lnTo>
                  <a:lnTo>
                    <a:pt x="305" y="112"/>
                  </a:lnTo>
                  <a:lnTo>
                    <a:pt x="306" y="111"/>
                  </a:lnTo>
                  <a:lnTo>
                    <a:pt x="308" y="110"/>
                  </a:lnTo>
                  <a:lnTo>
                    <a:pt x="309" y="110"/>
                  </a:lnTo>
                  <a:lnTo>
                    <a:pt x="310" y="110"/>
                  </a:lnTo>
                  <a:lnTo>
                    <a:pt x="311" y="110"/>
                  </a:lnTo>
                  <a:lnTo>
                    <a:pt x="312" y="110"/>
                  </a:lnTo>
                  <a:lnTo>
                    <a:pt x="313" y="110"/>
                  </a:lnTo>
                  <a:lnTo>
                    <a:pt x="314" y="110"/>
                  </a:lnTo>
                  <a:lnTo>
                    <a:pt x="316" y="111"/>
                  </a:lnTo>
                  <a:lnTo>
                    <a:pt x="319" y="112"/>
                  </a:lnTo>
                  <a:lnTo>
                    <a:pt x="321" y="113"/>
                  </a:lnTo>
                  <a:lnTo>
                    <a:pt x="322" y="113"/>
                  </a:lnTo>
                  <a:lnTo>
                    <a:pt x="323" y="113"/>
                  </a:lnTo>
                  <a:lnTo>
                    <a:pt x="324" y="113"/>
                  </a:lnTo>
                  <a:lnTo>
                    <a:pt x="327" y="112"/>
                  </a:lnTo>
                  <a:lnTo>
                    <a:pt x="331" y="112"/>
                  </a:lnTo>
                  <a:lnTo>
                    <a:pt x="331" y="111"/>
                  </a:lnTo>
                  <a:lnTo>
                    <a:pt x="332" y="111"/>
                  </a:lnTo>
                  <a:lnTo>
                    <a:pt x="334" y="111"/>
                  </a:lnTo>
                  <a:lnTo>
                    <a:pt x="335" y="110"/>
                  </a:lnTo>
                  <a:lnTo>
                    <a:pt x="336" y="109"/>
                  </a:lnTo>
                  <a:lnTo>
                    <a:pt x="339" y="107"/>
                  </a:lnTo>
                  <a:lnTo>
                    <a:pt x="340" y="106"/>
                  </a:lnTo>
                  <a:lnTo>
                    <a:pt x="342" y="105"/>
                  </a:lnTo>
                  <a:lnTo>
                    <a:pt x="345" y="104"/>
                  </a:lnTo>
                  <a:lnTo>
                    <a:pt x="352" y="101"/>
                  </a:lnTo>
                  <a:lnTo>
                    <a:pt x="357" y="98"/>
                  </a:lnTo>
                  <a:lnTo>
                    <a:pt x="360" y="97"/>
                  </a:lnTo>
                  <a:lnTo>
                    <a:pt x="362" y="96"/>
                  </a:lnTo>
                  <a:lnTo>
                    <a:pt x="368" y="94"/>
                  </a:lnTo>
                  <a:lnTo>
                    <a:pt x="370" y="94"/>
                  </a:lnTo>
                  <a:lnTo>
                    <a:pt x="372" y="93"/>
                  </a:lnTo>
                  <a:lnTo>
                    <a:pt x="373" y="92"/>
                  </a:lnTo>
                  <a:lnTo>
                    <a:pt x="374" y="92"/>
                  </a:lnTo>
                  <a:lnTo>
                    <a:pt x="375" y="91"/>
                  </a:lnTo>
                  <a:lnTo>
                    <a:pt x="377" y="89"/>
                  </a:lnTo>
                  <a:lnTo>
                    <a:pt x="378" y="88"/>
                  </a:lnTo>
                  <a:lnTo>
                    <a:pt x="379" y="87"/>
                  </a:lnTo>
                  <a:lnTo>
                    <a:pt x="380" y="86"/>
                  </a:lnTo>
                  <a:lnTo>
                    <a:pt x="381" y="85"/>
                  </a:lnTo>
                  <a:lnTo>
                    <a:pt x="382" y="84"/>
                  </a:lnTo>
                  <a:lnTo>
                    <a:pt x="384" y="81"/>
                  </a:lnTo>
                  <a:lnTo>
                    <a:pt x="384" y="80"/>
                  </a:lnTo>
                  <a:lnTo>
                    <a:pt x="384" y="79"/>
                  </a:lnTo>
                  <a:lnTo>
                    <a:pt x="385" y="79"/>
                  </a:lnTo>
                  <a:lnTo>
                    <a:pt x="386" y="78"/>
                  </a:lnTo>
                  <a:lnTo>
                    <a:pt x="387" y="78"/>
                  </a:lnTo>
                  <a:lnTo>
                    <a:pt x="388" y="77"/>
                  </a:lnTo>
                  <a:lnTo>
                    <a:pt x="389" y="76"/>
                  </a:lnTo>
                  <a:lnTo>
                    <a:pt x="391" y="76"/>
                  </a:lnTo>
                  <a:lnTo>
                    <a:pt x="392" y="76"/>
                  </a:lnTo>
                  <a:lnTo>
                    <a:pt x="393" y="76"/>
                  </a:lnTo>
                  <a:lnTo>
                    <a:pt x="394" y="76"/>
                  </a:lnTo>
                  <a:lnTo>
                    <a:pt x="395" y="76"/>
                  </a:lnTo>
                  <a:lnTo>
                    <a:pt x="397" y="76"/>
                  </a:lnTo>
                  <a:lnTo>
                    <a:pt x="399" y="77"/>
                  </a:lnTo>
                  <a:lnTo>
                    <a:pt x="401" y="77"/>
                  </a:lnTo>
                  <a:lnTo>
                    <a:pt x="402" y="77"/>
                  </a:lnTo>
                  <a:lnTo>
                    <a:pt x="403" y="77"/>
                  </a:lnTo>
                  <a:lnTo>
                    <a:pt x="404" y="77"/>
                  </a:lnTo>
                  <a:lnTo>
                    <a:pt x="405" y="77"/>
                  </a:lnTo>
                  <a:lnTo>
                    <a:pt x="407" y="77"/>
                  </a:lnTo>
                  <a:lnTo>
                    <a:pt x="410" y="76"/>
                  </a:lnTo>
                  <a:lnTo>
                    <a:pt x="411" y="76"/>
                  </a:lnTo>
                  <a:lnTo>
                    <a:pt x="412" y="75"/>
                  </a:lnTo>
                  <a:lnTo>
                    <a:pt x="414" y="75"/>
                  </a:lnTo>
                  <a:lnTo>
                    <a:pt x="417" y="74"/>
                  </a:lnTo>
                  <a:lnTo>
                    <a:pt x="418" y="73"/>
                  </a:lnTo>
                  <a:lnTo>
                    <a:pt x="419" y="73"/>
                  </a:lnTo>
                  <a:lnTo>
                    <a:pt x="422" y="72"/>
                  </a:lnTo>
                  <a:lnTo>
                    <a:pt x="423" y="72"/>
                  </a:lnTo>
                  <a:lnTo>
                    <a:pt x="424" y="72"/>
                  </a:lnTo>
                  <a:lnTo>
                    <a:pt x="425" y="71"/>
                  </a:lnTo>
                  <a:lnTo>
                    <a:pt x="425" y="71"/>
                  </a:lnTo>
                  <a:lnTo>
                    <a:pt x="426" y="70"/>
                  </a:lnTo>
                  <a:lnTo>
                    <a:pt x="426" y="70"/>
                  </a:lnTo>
                  <a:lnTo>
                    <a:pt x="427" y="69"/>
                  </a:lnTo>
                  <a:lnTo>
                    <a:pt x="427" y="69"/>
                  </a:lnTo>
                  <a:lnTo>
                    <a:pt x="428" y="68"/>
                  </a:lnTo>
                  <a:lnTo>
                    <a:pt x="428" y="65"/>
                  </a:lnTo>
                  <a:lnTo>
                    <a:pt x="429" y="63"/>
                  </a:lnTo>
                  <a:lnTo>
                    <a:pt x="430" y="61"/>
                  </a:lnTo>
                  <a:lnTo>
                    <a:pt x="430" y="60"/>
                  </a:lnTo>
                  <a:lnTo>
                    <a:pt x="430" y="60"/>
                  </a:lnTo>
                  <a:lnTo>
                    <a:pt x="430" y="59"/>
                  </a:lnTo>
                  <a:lnTo>
                    <a:pt x="430" y="58"/>
                  </a:lnTo>
                  <a:lnTo>
                    <a:pt x="430" y="58"/>
                  </a:lnTo>
                  <a:lnTo>
                    <a:pt x="430" y="57"/>
                  </a:lnTo>
                  <a:lnTo>
                    <a:pt x="429" y="57"/>
                  </a:lnTo>
                  <a:lnTo>
                    <a:pt x="429" y="56"/>
                  </a:lnTo>
                  <a:lnTo>
                    <a:pt x="428" y="55"/>
                  </a:lnTo>
                  <a:lnTo>
                    <a:pt x="428" y="55"/>
                  </a:lnTo>
                  <a:lnTo>
                    <a:pt x="427" y="55"/>
                  </a:lnTo>
                  <a:lnTo>
                    <a:pt x="426" y="54"/>
                  </a:lnTo>
                  <a:lnTo>
                    <a:pt x="425" y="54"/>
                  </a:lnTo>
                  <a:lnTo>
                    <a:pt x="423" y="53"/>
                  </a:lnTo>
                  <a:lnTo>
                    <a:pt x="419" y="51"/>
                  </a:lnTo>
                  <a:lnTo>
                    <a:pt x="417" y="50"/>
                  </a:lnTo>
                  <a:lnTo>
                    <a:pt x="412" y="49"/>
                  </a:lnTo>
                  <a:lnTo>
                    <a:pt x="411" y="48"/>
                  </a:lnTo>
                  <a:lnTo>
                    <a:pt x="410" y="48"/>
                  </a:lnTo>
                  <a:lnTo>
                    <a:pt x="409" y="47"/>
                  </a:lnTo>
                  <a:lnTo>
                    <a:pt x="409" y="47"/>
                  </a:lnTo>
                  <a:lnTo>
                    <a:pt x="408" y="46"/>
                  </a:lnTo>
                  <a:lnTo>
                    <a:pt x="408" y="46"/>
                  </a:lnTo>
                  <a:lnTo>
                    <a:pt x="408" y="45"/>
                  </a:lnTo>
                  <a:lnTo>
                    <a:pt x="407" y="45"/>
                  </a:lnTo>
                  <a:lnTo>
                    <a:pt x="407" y="44"/>
                  </a:lnTo>
                  <a:lnTo>
                    <a:pt x="406" y="43"/>
                  </a:lnTo>
                  <a:lnTo>
                    <a:pt x="406" y="42"/>
                  </a:lnTo>
                  <a:lnTo>
                    <a:pt x="406" y="42"/>
                  </a:lnTo>
                  <a:lnTo>
                    <a:pt x="406" y="41"/>
                  </a:lnTo>
                  <a:lnTo>
                    <a:pt x="406" y="41"/>
                  </a:lnTo>
                  <a:lnTo>
                    <a:pt x="406" y="40"/>
                  </a:lnTo>
                  <a:lnTo>
                    <a:pt x="406" y="40"/>
                  </a:lnTo>
                  <a:lnTo>
                    <a:pt x="407" y="39"/>
                  </a:lnTo>
                  <a:lnTo>
                    <a:pt x="408" y="37"/>
                  </a:lnTo>
                  <a:lnTo>
                    <a:pt x="408" y="37"/>
                  </a:lnTo>
                  <a:lnTo>
                    <a:pt x="408" y="37"/>
                  </a:lnTo>
                  <a:lnTo>
                    <a:pt x="408" y="36"/>
                  </a:lnTo>
                  <a:lnTo>
                    <a:pt x="408" y="36"/>
                  </a:lnTo>
                  <a:lnTo>
                    <a:pt x="408" y="35"/>
                  </a:lnTo>
                  <a:lnTo>
                    <a:pt x="407" y="35"/>
                  </a:lnTo>
                  <a:lnTo>
                    <a:pt x="407" y="35"/>
                  </a:lnTo>
                  <a:lnTo>
                    <a:pt x="407" y="34"/>
                  </a:lnTo>
                  <a:lnTo>
                    <a:pt x="406" y="34"/>
                  </a:lnTo>
                  <a:lnTo>
                    <a:pt x="405" y="34"/>
                  </a:lnTo>
                  <a:lnTo>
                    <a:pt x="404" y="34"/>
                  </a:lnTo>
                  <a:lnTo>
                    <a:pt x="401" y="34"/>
                  </a:lnTo>
                  <a:lnTo>
                    <a:pt x="400" y="34"/>
                  </a:lnTo>
                  <a:lnTo>
                    <a:pt x="399" y="34"/>
                  </a:lnTo>
                  <a:lnTo>
                    <a:pt x="398" y="34"/>
                  </a:lnTo>
                  <a:lnTo>
                    <a:pt x="397" y="33"/>
                  </a:lnTo>
                  <a:lnTo>
                    <a:pt x="396" y="33"/>
                  </a:lnTo>
                  <a:lnTo>
                    <a:pt x="395" y="32"/>
                  </a:lnTo>
                  <a:lnTo>
                    <a:pt x="394" y="32"/>
                  </a:lnTo>
                  <a:lnTo>
                    <a:pt x="394" y="31"/>
                  </a:lnTo>
                  <a:lnTo>
                    <a:pt x="393" y="31"/>
                  </a:lnTo>
                  <a:lnTo>
                    <a:pt x="393" y="30"/>
                  </a:lnTo>
                  <a:lnTo>
                    <a:pt x="393" y="30"/>
                  </a:lnTo>
                  <a:lnTo>
                    <a:pt x="392" y="29"/>
                  </a:lnTo>
                  <a:lnTo>
                    <a:pt x="392" y="28"/>
                  </a:lnTo>
                  <a:lnTo>
                    <a:pt x="392" y="28"/>
                  </a:lnTo>
                  <a:lnTo>
                    <a:pt x="392" y="27"/>
                  </a:lnTo>
                  <a:lnTo>
                    <a:pt x="392" y="24"/>
                  </a:lnTo>
                  <a:lnTo>
                    <a:pt x="392" y="24"/>
                  </a:lnTo>
                  <a:lnTo>
                    <a:pt x="392" y="23"/>
                  </a:lnTo>
                  <a:lnTo>
                    <a:pt x="393" y="22"/>
                  </a:lnTo>
                  <a:lnTo>
                    <a:pt x="393" y="21"/>
                  </a:lnTo>
                  <a:lnTo>
                    <a:pt x="394" y="19"/>
                  </a:lnTo>
                  <a:lnTo>
                    <a:pt x="395" y="18"/>
                  </a:lnTo>
                  <a:lnTo>
                    <a:pt x="395" y="17"/>
                  </a:lnTo>
                  <a:lnTo>
                    <a:pt x="396" y="16"/>
                  </a:lnTo>
                  <a:lnTo>
                    <a:pt x="396" y="14"/>
                  </a:lnTo>
                  <a:lnTo>
                    <a:pt x="396" y="13"/>
                  </a:lnTo>
                  <a:lnTo>
                    <a:pt x="397" y="12"/>
                  </a:lnTo>
                  <a:lnTo>
                    <a:pt x="397" y="9"/>
                  </a:lnTo>
                  <a:lnTo>
                    <a:pt x="398" y="8"/>
                  </a:lnTo>
                  <a:lnTo>
                    <a:pt x="398" y="8"/>
                  </a:lnTo>
                  <a:lnTo>
                    <a:pt x="398" y="7"/>
                  </a:lnTo>
                  <a:lnTo>
                    <a:pt x="398" y="6"/>
                  </a:lnTo>
                  <a:lnTo>
                    <a:pt x="399" y="5"/>
                  </a:lnTo>
                  <a:lnTo>
                    <a:pt x="402" y="1"/>
                  </a:lnTo>
                  <a:lnTo>
                    <a:pt x="403" y="0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04" y="0"/>
                  </a:lnTo>
                  <a:close/>
                </a:path>
              </a:pathLst>
            </a:custGeom>
            <a:solidFill>
              <a:srgbClr val="FFCC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 54">
              <a:extLst>
                <a:ext uri="{FF2B5EF4-FFF2-40B4-BE49-F238E27FC236}">
                  <a16:creationId xmlns:a16="http://schemas.microsoft.com/office/drawing/2014/main" id="{919F6BC6-43AA-6AA3-EEB4-16AE0A3E0E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2866"/>
              <a:ext cx="504" cy="447"/>
            </a:xfrm>
            <a:custGeom>
              <a:avLst/>
              <a:gdLst>
                <a:gd name="T0" fmla="*/ 428 w 504"/>
                <a:gd name="T1" fmla="*/ 12 h 447"/>
                <a:gd name="T2" fmla="*/ 449 w 504"/>
                <a:gd name="T3" fmla="*/ 11 h 447"/>
                <a:gd name="T4" fmla="*/ 461 w 504"/>
                <a:gd name="T5" fmla="*/ 8 h 447"/>
                <a:gd name="T6" fmla="*/ 471 w 504"/>
                <a:gd name="T7" fmla="*/ 21 h 447"/>
                <a:gd name="T8" fmla="*/ 488 w 504"/>
                <a:gd name="T9" fmla="*/ 35 h 447"/>
                <a:gd name="T10" fmla="*/ 481 w 504"/>
                <a:gd name="T11" fmla="*/ 60 h 447"/>
                <a:gd name="T12" fmla="*/ 498 w 504"/>
                <a:gd name="T13" fmla="*/ 60 h 447"/>
                <a:gd name="T14" fmla="*/ 502 w 504"/>
                <a:gd name="T15" fmla="*/ 73 h 447"/>
                <a:gd name="T16" fmla="*/ 484 w 504"/>
                <a:gd name="T17" fmla="*/ 101 h 447"/>
                <a:gd name="T18" fmla="*/ 474 w 504"/>
                <a:gd name="T19" fmla="*/ 118 h 447"/>
                <a:gd name="T20" fmla="*/ 454 w 504"/>
                <a:gd name="T21" fmla="*/ 112 h 447"/>
                <a:gd name="T22" fmla="*/ 446 w 504"/>
                <a:gd name="T23" fmla="*/ 122 h 447"/>
                <a:gd name="T24" fmla="*/ 437 w 504"/>
                <a:gd name="T25" fmla="*/ 141 h 447"/>
                <a:gd name="T26" fmla="*/ 425 w 504"/>
                <a:gd name="T27" fmla="*/ 156 h 447"/>
                <a:gd name="T28" fmla="*/ 416 w 504"/>
                <a:gd name="T29" fmla="*/ 177 h 447"/>
                <a:gd name="T30" fmla="*/ 420 w 504"/>
                <a:gd name="T31" fmla="*/ 198 h 447"/>
                <a:gd name="T32" fmla="*/ 437 w 504"/>
                <a:gd name="T33" fmla="*/ 231 h 447"/>
                <a:gd name="T34" fmla="*/ 455 w 504"/>
                <a:gd name="T35" fmla="*/ 254 h 447"/>
                <a:gd name="T36" fmla="*/ 449 w 504"/>
                <a:gd name="T37" fmla="*/ 260 h 447"/>
                <a:gd name="T38" fmla="*/ 449 w 504"/>
                <a:gd name="T39" fmla="*/ 278 h 447"/>
                <a:gd name="T40" fmla="*/ 434 w 504"/>
                <a:gd name="T41" fmla="*/ 291 h 447"/>
                <a:gd name="T42" fmla="*/ 420 w 504"/>
                <a:gd name="T43" fmla="*/ 290 h 447"/>
                <a:gd name="T44" fmla="*/ 422 w 504"/>
                <a:gd name="T45" fmla="*/ 308 h 447"/>
                <a:gd name="T46" fmla="*/ 415 w 504"/>
                <a:gd name="T47" fmla="*/ 325 h 447"/>
                <a:gd name="T48" fmla="*/ 387 w 504"/>
                <a:gd name="T49" fmla="*/ 331 h 447"/>
                <a:gd name="T50" fmla="*/ 365 w 504"/>
                <a:gd name="T51" fmla="*/ 330 h 447"/>
                <a:gd name="T52" fmla="*/ 323 w 504"/>
                <a:gd name="T53" fmla="*/ 328 h 447"/>
                <a:gd name="T54" fmla="*/ 307 w 504"/>
                <a:gd name="T55" fmla="*/ 335 h 447"/>
                <a:gd name="T56" fmla="*/ 301 w 504"/>
                <a:gd name="T57" fmla="*/ 346 h 447"/>
                <a:gd name="T58" fmla="*/ 288 w 504"/>
                <a:gd name="T59" fmla="*/ 358 h 447"/>
                <a:gd name="T60" fmla="*/ 268 w 504"/>
                <a:gd name="T61" fmla="*/ 371 h 447"/>
                <a:gd name="T62" fmla="*/ 256 w 504"/>
                <a:gd name="T63" fmla="*/ 366 h 447"/>
                <a:gd name="T64" fmla="*/ 239 w 504"/>
                <a:gd name="T65" fmla="*/ 377 h 447"/>
                <a:gd name="T66" fmla="*/ 214 w 504"/>
                <a:gd name="T67" fmla="*/ 380 h 447"/>
                <a:gd name="T68" fmla="*/ 197 w 504"/>
                <a:gd name="T69" fmla="*/ 390 h 447"/>
                <a:gd name="T70" fmla="*/ 175 w 504"/>
                <a:gd name="T71" fmla="*/ 397 h 447"/>
                <a:gd name="T72" fmla="*/ 158 w 504"/>
                <a:gd name="T73" fmla="*/ 412 h 447"/>
                <a:gd name="T74" fmla="*/ 153 w 504"/>
                <a:gd name="T75" fmla="*/ 426 h 447"/>
                <a:gd name="T76" fmla="*/ 141 w 504"/>
                <a:gd name="T77" fmla="*/ 435 h 447"/>
                <a:gd name="T78" fmla="*/ 128 w 504"/>
                <a:gd name="T79" fmla="*/ 446 h 447"/>
                <a:gd name="T80" fmla="*/ 117 w 504"/>
                <a:gd name="T81" fmla="*/ 437 h 447"/>
                <a:gd name="T82" fmla="*/ 109 w 504"/>
                <a:gd name="T83" fmla="*/ 440 h 447"/>
                <a:gd name="T84" fmla="*/ 102 w 504"/>
                <a:gd name="T85" fmla="*/ 437 h 447"/>
                <a:gd name="T86" fmla="*/ 91 w 504"/>
                <a:gd name="T87" fmla="*/ 425 h 447"/>
                <a:gd name="T88" fmla="*/ 84 w 504"/>
                <a:gd name="T89" fmla="*/ 418 h 447"/>
                <a:gd name="T90" fmla="*/ 95 w 504"/>
                <a:gd name="T91" fmla="*/ 416 h 447"/>
                <a:gd name="T92" fmla="*/ 94 w 504"/>
                <a:gd name="T93" fmla="*/ 400 h 447"/>
                <a:gd name="T94" fmla="*/ 85 w 504"/>
                <a:gd name="T95" fmla="*/ 376 h 447"/>
                <a:gd name="T96" fmla="*/ 80 w 504"/>
                <a:gd name="T97" fmla="*/ 356 h 447"/>
                <a:gd name="T98" fmla="*/ 83 w 504"/>
                <a:gd name="T99" fmla="*/ 333 h 447"/>
                <a:gd name="T100" fmla="*/ 76 w 504"/>
                <a:gd name="T101" fmla="*/ 318 h 447"/>
                <a:gd name="T102" fmla="*/ 50 w 504"/>
                <a:gd name="T103" fmla="*/ 318 h 447"/>
                <a:gd name="T104" fmla="*/ 44 w 504"/>
                <a:gd name="T105" fmla="*/ 310 h 447"/>
                <a:gd name="T106" fmla="*/ 28 w 504"/>
                <a:gd name="T107" fmla="*/ 302 h 447"/>
                <a:gd name="T108" fmla="*/ 0 w 504"/>
                <a:gd name="T109" fmla="*/ 293 h 447"/>
                <a:gd name="T110" fmla="*/ 21 w 504"/>
                <a:gd name="T111" fmla="*/ 273 h 447"/>
                <a:gd name="T112" fmla="*/ 28 w 504"/>
                <a:gd name="T113" fmla="*/ 248 h 447"/>
                <a:gd name="T114" fmla="*/ 52 w 504"/>
                <a:gd name="T115" fmla="*/ 245 h 447"/>
                <a:gd name="T116" fmla="*/ 72 w 504"/>
                <a:gd name="T117" fmla="*/ 248 h 447"/>
                <a:gd name="T118" fmla="*/ 84 w 504"/>
                <a:gd name="T119" fmla="*/ 223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4" h="447">
                  <a:moveTo>
                    <a:pt x="404" y="0"/>
                  </a:moveTo>
                  <a:lnTo>
                    <a:pt x="405" y="0"/>
                  </a:lnTo>
                  <a:lnTo>
                    <a:pt x="405" y="0"/>
                  </a:lnTo>
                  <a:lnTo>
                    <a:pt x="406" y="1"/>
                  </a:lnTo>
                  <a:lnTo>
                    <a:pt x="410" y="3"/>
                  </a:lnTo>
                  <a:lnTo>
                    <a:pt x="411" y="4"/>
                  </a:lnTo>
                  <a:lnTo>
                    <a:pt x="413" y="5"/>
                  </a:lnTo>
                  <a:lnTo>
                    <a:pt x="414" y="5"/>
                  </a:lnTo>
                  <a:lnTo>
                    <a:pt x="415" y="5"/>
                  </a:lnTo>
                  <a:lnTo>
                    <a:pt x="419" y="6"/>
                  </a:lnTo>
                  <a:lnTo>
                    <a:pt x="420" y="6"/>
                  </a:lnTo>
                  <a:lnTo>
                    <a:pt x="421" y="7"/>
                  </a:lnTo>
                  <a:lnTo>
                    <a:pt x="422" y="7"/>
                  </a:lnTo>
                  <a:lnTo>
                    <a:pt x="423" y="8"/>
                  </a:lnTo>
                  <a:lnTo>
                    <a:pt x="425" y="9"/>
                  </a:lnTo>
                  <a:lnTo>
                    <a:pt x="426" y="10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0" y="13"/>
                  </a:lnTo>
                  <a:lnTo>
                    <a:pt x="431" y="14"/>
                  </a:lnTo>
                  <a:lnTo>
                    <a:pt x="432" y="14"/>
                  </a:lnTo>
                  <a:lnTo>
                    <a:pt x="433" y="15"/>
                  </a:lnTo>
                  <a:lnTo>
                    <a:pt x="434" y="15"/>
                  </a:lnTo>
                  <a:lnTo>
                    <a:pt x="435" y="15"/>
                  </a:lnTo>
                  <a:lnTo>
                    <a:pt x="436" y="15"/>
                  </a:lnTo>
                  <a:lnTo>
                    <a:pt x="437" y="15"/>
                  </a:lnTo>
                  <a:lnTo>
                    <a:pt x="438" y="14"/>
                  </a:lnTo>
                  <a:lnTo>
                    <a:pt x="439" y="14"/>
                  </a:lnTo>
                  <a:lnTo>
                    <a:pt x="440" y="14"/>
                  </a:lnTo>
                  <a:lnTo>
                    <a:pt x="444" y="12"/>
                  </a:lnTo>
                  <a:lnTo>
                    <a:pt x="445" y="12"/>
                  </a:lnTo>
                  <a:lnTo>
                    <a:pt x="447" y="11"/>
                  </a:lnTo>
                  <a:lnTo>
                    <a:pt x="448" y="11"/>
                  </a:lnTo>
                  <a:lnTo>
                    <a:pt x="449" y="11"/>
                  </a:lnTo>
                  <a:lnTo>
                    <a:pt x="450" y="11"/>
                  </a:lnTo>
                  <a:lnTo>
                    <a:pt x="451" y="11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5" y="12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8" y="10"/>
                  </a:lnTo>
                  <a:lnTo>
                    <a:pt x="459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2" y="9"/>
                  </a:lnTo>
                  <a:lnTo>
                    <a:pt x="462" y="9"/>
                  </a:lnTo>
                  <a:lnTo>
                    <a:pt x="462" y="11"/>
                  </a:lnTo>
                  <a:lnTo>
                    <a:pt x="462" y="12"/>
                  </a:lnTo>
                  <a:lnTo>
                    <a:pt x="462" y="12"/>
                  </a:lnTo>
                  <a:lnTo>
                    <a:pt x="463" y="13"/>
                  </a:lnTo>
                  <a:lnTo>
                    <a:pt x="463" y="14"/>
                  </a:lnTo>
                  <a:lnTo>
                    <a:pt x="464" y="14"/>
                  </a:lnTo>
                  <a:lnTo>
                    <a:pt x="464" y="15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9" y="18"/>
                  </a:lnTo>
                  <a:lnTo>
                    <a:pt x="470" y="19"/>
                  </a:lnTo>
                  <a:lnTo>
                    <a:pt x="471" y="21"/>
                  </a:lnTo>
                  <a:lnTo>
                    <a:pt x="472" y="21"/>
                  </a:lnTo>
                  <a:lnTo>
                    <a:pt x="473" y="22"/>
                  </a:lnTo>
                  <a:lnTo>
                    <a:pt x="474" y="22"/>
                  </a:lnTo>
                  <a:lnTo>
                    <a:pt x="475" y="22"/>
                  </a:lnTo>
                  <a:lnTo>
                    <a:pt x="478" y="23"/>
                  </a:lnTo>
                  <a:lnTo>
                    <a:pt x="478" y="23"/>
                  </a:lnTo>
                  <a:lnTo>
                    <a:pt x="479" y="24"/>
                  </a:lnTo>
                  <a:lnTo>
                    <a:pt x="480" y="24"/>
                  </a:lnTo>
                  <a:lnTo>
                    <a:pt x="481" y="25"/>
                  </a:lnTo>
                  <a:lnTo>
                    <a:pt x="482" y="26"/>
                  </a:lnTo>
                  <a:lnTo>
                    <a:pt x="483" y="26"/>
                  </a:lnTo>
                  <a:lnTo>
                    <a:pt x="484" y="28"/>
                  </a:lnTo>
                  <a:lnTo>
                    <a:pt x="486" y="30"/>
                  </a:lnTo>
                  <a:lnTo>
                    <a:pt x="487" y="31"/>
                  </a:lnTo>
                  <a:lnTo>
                    <a:pt x="487" y="32"/>
                  </a:lnTo>
                  <a:lnTo>
                    <a:pt x="488" y="34"/>
                  </a:lnTo>
                  <a:lnTo>
                    <a:pt x="488" y="35"/>
                  </a:lnTo>
                  <a:lnTo>
                    <a:pt x="488" y="36"/>
                  </a:lnTo>
                  <a:lnTo>
                    <a:pt x="488" y="38"/>
                  </a:lnTo>
                  <a:lnTo>
                    <a:pt x="488" y="39"/>
                  </a:lnTo>
                  <a:lnTo>
                    <a:pt x="488" y="41"/>
                  </a:lnTo>
                  <a:lnTo>
                    <a:pt x="487" y="43"/>
                  </a:lnTo>
                  <a:lnTo>
                    <a:pt x="487" y="45"/>
                  </a:lnTo>
                  <a:lnTo>
                    <a:pt x="486" y="47"/>
                  </a:lnTo>
                  <a:lnTo>
                    <a:pt x="485" y="50"/>
                  </a:lnTo>
                  <a:lnTo>
                    <a:pt x="484" y="51"/>
                  </a:lnTo>
                  <a:lnTo>
                    <a:pt x="482" y="55"/>
                  </a:lnTo>
                  <a:lnTo>
                    <a:pt x="482" y="56"/>
                  </a:lnTo>
                  <a:lnTo>
                    <a:pt x="481" y="57"/>
                  </a:lnTo>
                  <a:lnTo>
                    <a:pt x="481" y="57"/>
                  </a:lnTo>
                  <a:lnTo>
                    <a:pt x="481" y="59"/>
                  </a:lnTo>
                  <a:lnTo>
                    <a:pt x="481" y="59"/>
                  </a:lnTo>
                  <a:lnTo>
                    <a:pt x="481" y="60"/>
                  </a:lnTo>
                  <a:lnTo>
                    <a:pt x="481" y="60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4" y="63"/>
                  </a:lnTo>
                  <a:lnTo>
                    <a:pt x="485" y="64"/>
                  </a:lnTo>
                  <a:lnTo>
                    <a:pt x="485" y="64"/>
                  </a:lnTo>
                  <a:lnTo>
                    <a:pt x="486" y="64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2"/>
                  </a:lnTo>
                  <a:lnTo>
                    <a:pt x="495" y="61"/>
                  </a:lnTo>
                  <a:lnTo>
                    <a:pt x="497" y="61"/>
                  </a:lnTo>
                  <a:lnTo>
                    <a:pt x="498" y="60"/>
                  </a:lnTo>
                  <a:lnTo>
                    <a:pt x="499" y="60"/>
                  </a:lnTo>
                  <a:lnTo>
                    <a:pt x="500" y="60"/>
                  </a:lnTo>
                  <a:lnTo>
                    <a:pt x="501" y="60"/>
                  </a:lnTo>
                  <a:lnTo>
                    <a:pt x="501" y="60"/>
                  </a:lnTo>
                  <a:lnTo>
                    <a:pt x="502" y="60"/>
                  </a:lnTo>
                  <a:lnTo>
                    <a:pt x="502" y="61"/>
                  </a:lnTo>
                  <a:lnTo>
                    <a:pt x="503" y="61"/>
                  </a:lnTo>
                  <a:lnTo>
                    <a:pt x="503" y="62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4"/>
                  </a:lnTo>
                  <a:lnTo>
                    <a:pt x="504" y="65"/>
                  </a:lnTo>
                  <a:lnTo>
                    <a:pt x="504" y="66"/>
                  </a:lnTo>
                  <a:lnTo>
                    <a:pt x="504" y="68"/>
                  </a:lnTo>
                  <a:lnTo>
                    <a:pt x="504" y="69"/>
                  </a:lnTo>
                  <a:lnTo>
                    <a:pt x="503" y="70"/>
                  </a:lnTo>
                  <a:lnTo>
                    <a:pt x="502" y="73"/>
                  </a:lnTo>
                  <a:lnTo>
                    <a:pt x="501" y="75"/>
                  </a:lnTo>
                  <a:lnTo>
                    <a:pt x="497" y="84"/>
                  </a:lnTo>
                  <a:lnTo>
                    <a:pt x="495" y="90"/>
                  </a:lnTo>
                  <a:lnTo>
                    <a:pt x="495" y="91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4" y="93"/>
                  </a:lnTo>
                  <a:lnTo>
                    <a:pt x="494" y="93"/>
                  </a:lnTo>
                  <a:lnTo>
                    <a:pt x="493" y="95"/>
                  </a:lnTo>
                  <a:lnTo>
                    <a:pt x="491" y="96"/>
                  </a:lnTo>
                  <a:lnTo>
                    <a:pt x="490" y="97"/>
                  </a:lnTo>
                  <a:lnTo>
                    <a:pt x="489" y="98"/>
                  </a:lnTo>
                  <a:lnTo>
                    <a:pt x="487" y="99"/>
                  </a:lnTo>
                  <a:lnTo>
                    <a:pt x="485" y="100"/>
                  </a:lnTo>
                  <a:lnTo>
                    <a:pt x="484" y="101"/>
                  </a:lnTo>
                  <a:lnTo>
                    <a:pt x="482" y="102"/>
                  </a:lnTo>
                  <a:lnTo>
                    <a:pt x="482" y="102"/>
                  </a:lnTo>
                  <a:lnTo>
                    <a:pt x="482" y="103"/>
                  </a:lnTo>
                  <a:lnTo>
                    <a:pt x="481" y="104"/>
                  </a:lnTo>
                  <a:lnTo>
                    <a:pt x="481" y="104"/>
                  </a:lnTo>
                  <a:lnTo>
                    <a:pt x="480" y="105"/>
                  </a:lnTo>
                  <a:lnTo>
                    <a:pt x="480" y="107"/>
                  </a:lnTo>
                  <a:lnTo>
                    <a:pt x="479" y="108"/>
                  </a:lnTo>
                  <a:lnTo>
                    <a:pt x="478" y="114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6" y="116"/>
                  </a:lnTo>
                  <a:lnTo>
                    <a:pt x="476" y="117"/>
                  </a:lnTo>
                  <a:lnTo>
                    <a:pt x="476" y="117"/>
                  </a:lnTo>
                  <a:lnTo>
                    <a:pt x="475" y="118"/>
                  </a:lnTo>
                  <a:lnTo>
                    <a:pt x="475" y="118"/>
                  </a:lnTo>
                  <a:lnTo>
                    <a:pt x="474" y="118"/>
                  </a:lnTo>
                  <a:lnTo>
                    <a:pt x="474" y="119"/>
                  </a:lnTo>
                  <a:lnTo>
                    <a:pt x="473" y="119"/>
                  </a:lnTo>
                  <a:lnTo>
                    <a:pt x="472" y="119"/>
                  </a:lnTo>
                  <a:lnTo>
                    <a:pt x="471" y="119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69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6" y="118"/>
                  </a:lnTo>
                  <a:lnTo>
                    <a:pt x="464" y="118"/>
                  </a:lnTo>
                  <a:lnTo>
                    <a:pt x="463" y="117"/>
                  </a:lnTo>
                  <a:lnTo>
                    <a:pt x="460" y="115"/>
                  </a:lnTo>
                  <a:lnTo>
                    <a:pt x="458" y="114"/>
                  </a:lnTo>
                  <a:lnTo>
                    <a:pt x="457" y="114"/>
                  </a:lnTo>
                  <a:lnTo>
                    <a:pt x="455" y="113"/>
                  </a:lnTo>
                  <a:lnTo>
                    <a:pt x="454" y="112"/>
                  </a:lnTo>
                  <a:lnTo>
                    <a:pt x="453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1" y="112"/>
                  </a:lnTo>
                  <a:lnTo>
                    <a:pt x="450" y="112"/>
                  </a:lnTo>
                  <a:lnTo>
                    <a:pt x="448" y="113"/>
                  </a:lnTo>
                  <a:lnTo>
                    <a:pt x="447" y="113"/>
                  </a:lnTo>
                  <a:lnTo>
                    <a:pt x="447" y="113"/>
                  </a:lnTo>
                  <a:lnTo>
                    <a:pt x="446" y="113"/>
                  </a:lnTo>
                  <a:lnTo>
                    <a:pt x="446" y="113"/>
                  </a:lnTo>
                  <a:lnTo>
                    <a:pt x="446" y="114"/>
                  </a:lnTo>
                  <a:lnTo>
                    <a:pt x="446" y="114"/>
                  </a:lnTo>
                  <a:lnTo>
                    <a:pt x="446" y="115"/>
                  </a:lnTo>
                  <a:lnTo>
                    <a:pt x="446" y="116"/>
                  </a:lnTo>
                  <a:lnTo>
                    <a:pt x="446" y="119"/>
                  </a:lnTo>
                  <a:lnTo>
                    <a:pt x="446" y="121"/>
                  </a:lnTo>
                  <a:lnTo>
                    <a:pt x="446" y="122"/>
                  </a:lnTo>
                  <a:lnTo>
                    <a:pt x="446" y="123"/>
                  </a:lnTo>
                  <a:lnTo>
                    <a:pt x="446" y="126"/>
                  </a:lnTo>
                  <a:lnTo>
                    <a:pt x="445" y="127"/>
                  </a:lnTo>
                  <a:lnTo>
                    <a:pt x="445" y="128"/>
                  </a:lnTo>
                  <a:lnTo>
                    <a:pt x="445" y="128"/>
                  </a:lnTo>
                  <a:lnTo>
                    <a:pt x="444" y="129"/>
                  </a:lnTo>
                  <a:lnTo>
                    <a:pt x="444" y="130"/>
                  </a:lnTo>
                  <a:lnTo>
                    <a:pt x="442" y="132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0" y="134"/>
                  </a:lnTo>
                  <a:lnTo>
                    <a:pt x="440" y="135"/>
                  </a:lnTo>
                  <a:lnTo>
                    <a:pt x="439" y="136"/>
                  </a:lnTo>
                  <a:lnTo>
                    <a:pt x="439" y="137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7" y="141"/>
                  </a:lnTo>
                  <a:lnTo>
                    <a:pt x="437" y="142"/>
                  </a:lnTo>
                  <a:lnTo>
                    <a:pt x="437" y="143"/>
                  </a:lnTo>
                  <a:lnTo>
                    <a:pt x="437" y="144"/>
                  </a:lnTo>
                  <a:lnTo>
                    <a:pt x="437" y="146"/>
                  </a:lnTo>
                  <a:lnTo>
                    <a:pt x="437" y="146"/>
                  </a:lnTo>
                  <a:lnTo>
                    <a:pt x="437" y="147"/>
                  </a:lnTo>
                  <a:lnTo>
                    <a:pt x="436" y="147"/>
                  </a:lnTo>
                  <a:lnTo>
                    <a:pt x="436" y="147"/>
                  </a:lnTo>
                  <a:lnTo>
                    <a:pt x="436" y="148"/>
                  </a:lnTo>
                  <a:lnTo>
                    <a:pt x="435" y="148"/>
                  </a:lnTo>
                  <a:lnTo>
                    <a:pt x="434" y="149"/>
                  </a:lnTo>
                  <a:lnTo>
                    <a:pt x="433" y="149"/>
                  </a:lnTo>
                  <a:lnTo>
                    <a:pt x="433" y="149"/>
                  </a:lnTo>
                  <a:lnTo>
                    <a:pt x="430" y="152"/>
                  </a:lnTo>
                  <a:lnTo>
                    <a:pt x="427" y="154"/>
                  </a:lnTo>
                  <a:lnTo>
                    <a:pt x="426" y="155"/>
                  </a:lnTo>
                  <a:lnTo>
                    <a:pt x="425" y="156"/>
                  </a:lnTo>
                  <a:lnTo>
                    <a:pt x="425" y="156"/>
                  </a:lnTo>
                  <a:lnTo>
                    <a:pt x="424" y="157"/>
                  </a:lnTo>
                  <a:lnTo>
                    <a:pt x="424" y="158"/>
                  </a:lnTo>
                  <a:lnTo>
                    <a:pt x="423" y="159"/>
                  </a:lnTo>
                  <a:lnTo>
                    <a:pt x="423" y="160"/>
                  </a:lnTo>
                  <a:lnTo>
                    <a:pt x="422" y="162"/>
                  </a:lnTo>
                  <a:lnTo>
                    <a:pt x="422" y="163"/>
                  </a:lnTo>
                  <a:lnTo>
                    <a:pt x="422" y="164"/>
                  </a:lnTo>
                  <a:lnTo>
                    <a:pt x="421" y="167"/>
                  </a:lnTo>
                  <a:lnTo>
                    <a:pt x="421" y="168"/>
                  </a:lnTo>
                  <a:lnTo>
                    <a:pt x="421" y="169"/>
                  </a:lnTo>
                  <a:lnTo>
                    <a:pt x="420" y="170"/>
                  </a:lnTo>
                  <a:lnTo>
                    <a:pt x="420" y="171"/>
                  </a:lnTo>
                  <a:lnTo>
                    <a:pt x="418" y="174"/>
                  </a:lnTo>
                  <a:lnTo>
                    <a:pt x="417" y="176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8"/>
                  </a:lnTo>
                  <a:lnTo>
                    <a:pt x="415" y="178"/>
                  </a:lnTo>
                  <a:lnTo>
                    <a:pt x="415" y="179"/>
                  </a:lnTo>
                  <a:lnTo>
                    <a:pt x="415" y="180"/>
                  </a:lnTo>
                  <a:lnTo>
                    <a:pt x="415" y="181"/>
                  </a:lnTo>
                  <a:lnTo>
                    <a:pt x="415" y="182"/>
                  </a:lnTo>
                  <a:lnTo>
                    <a:pt x="416" y="182"/>
                  </a:lnTo>
                  <a:lnTo>
                    <a:pt x="416" y="183"/>
                  </a:lnTo>
                  <a:lnTo>
                    <a:pt x="417" y="185"/>
                  </a:lnTo>
                  <a:lnTo>
                    <a:pt x="417" y="186"/>
                  </a:lnTo>
                  <a:lnTo>
                    <a:pt x="418" y="187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19" y="193"/>
                  </a:lnTo>
                  <a:lnTo>
                    <a:pt x="419" y="196"/>
                  </a:lnTo>
                  <a:lnTo>
                    <a:pt x="420" y="196"/>
                  </a:lnTo>
                  <a:lnTo>
                    <a:pt x="420" y="198"/>
                  </a:lnTo>
                  <a:lnTo>
                    <a:pt x="421" y="199"/>
                  </a:lnTo>
                  <a:lnTo>
                    <a:pt x="422" y="201"/>
                  </a:lnTo>
                  <a:lnTo>
                    <a:pt x="423" y="205"/>
                  </a:lnTo>
                  <a:lnTo>
                    <a:pt x="425" y="209"/>
                  </a:lnTo>
                  <a:lnTo>
                    <a:pt x="426" y="210"/>
                  </a:lnTo>
                  <a:lnTo>
                    <a:pt x="427" y="211"/>
                  </a:lnTo>
                  <a:lnTo>
                    <a:pt x="428" y="213"/>
                  </a:lnTo>
                  <a:lnTo>
                    <a:pt x="428" y="214"/>
                  </a:lnTo>
                  <a:lnTo>
                    <a:pt x="430" y="216"/>
                  </a:lnTo>
                  <a:lnTo>
                    <a:pt x="430" y="217"/>
                  </a:lnTo>
                  <a:lnTo>
                    <a:pt x="431" y="218"/>
                  </a:lnTo>
                  <a:lnTo>
                    <a:pt x="432" y="220"/>
                  </a:lnTo>
                  <a:lnTo>
                    <a:pt x="433" y="222"/>
                  </a:lnTo>
                  <a:lnTo>
                    <a:pt x="433" y="223"/>
                  </a:lnTo>
                  <a:lnTo>
                    <a:pt x="436" y="230"/>
                  </a:lnTo>
                  <a:lnTo>
                    <a:pt x="436" y="230"/>
                  </a:lnTo>
                  <a:lnTo>
                    <a:pt x="437" y="231"/>
                  </a:lnTo>
                  <a:lnTo>
                    <a:pt x="439" y="236"/>
                  </a:lnTo>
                  <a:lnTo>
                    <a:pt x="441" y="240"/>
                  </a:lnTo>
                  <a:lnTo>
                    <a:pt x="442" y="240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44" y="243"/>
                  </a:lnTo>
                  <a:lnTo>
                    <a:pt x="445" y="243"/>
                  </a:lnTo>
                  <a:lnTo>
                    <a:pt x="447" y="245"/>
                  </a:lnTo>
                  <a:lnTo>
                    <a:pt x="448" y="246"/>
                  </a:lnTo>
                  <a:lnTo>
                    <a:pt x="450" y="247"/>
                  </a:lnTo>
                  <a:lnTo>
                    <a:pt x="451" y="248"/>
                  </a:lnTo>
                  <a:lnTo>
                    <a:pt x="451" y="249"/>
                  </a:lnTo>
                  <a:lnTo>
                    <a:pt x="452" y="249"/>
                  </a:lnTo>
                  <a:lnTo>
                    <a:pt x="453" y="250"/>
                  </a:lnTo>
                  <a:lnTo>
                    <a:pt x="453" y="251"/>
                  </a:lnTo>
                  <a:lnTo>
                    <a:pt x="454" y="252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5"/>
                  </a:lnTo>
                  <a:lnTo>
                    <a:pt x="455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3" y="254"/>
                  </a:lnTo>
                  <a:lnTo>
                    <a:pt x="453" y="255"/>
                  </a:lnTo>
                  <a:lnTo>
                    <a:pt x="452" y="255"/>
                  </a:lnTo>
                  <a:lnTo>
                    <a:pt x="452" y="256"/>
                  </a:lnTo>
                  <a:lnTo>
                    <a:pt x="451" y="256"/>
                  </a:lnTo>
                  <a:lnTo>
                    <a:pt x="450" y="257"/>
                  </a:lnTo>
                  <a:lnTo>
                    <a:pt x="450" y="258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60"/>
                  </a:lnTo>
                  <a:lnTo>
                    <a:pt x="449" y="260"/>
                  </a:lnTo>
                  <a:lnTo>
                    <a:pt x="449" y="261"/>
                  </a:lnTo>
                  <a:lnTo>
                    <a:pt x="449" y="262"/>
                  </a:lnTo>
                  <a:lnTo>
                    <a:pt x="449" y="262"/>
                  </a:lnTo>
                  <a:lnTo>
                    <a:pt x="449" y="264"/>
                  </a:lnTo>
                  <a:lnTo>
                    <a:pt x="450" y="267"/>
                  </a:lnTo>
                  <a:lnTo>
                    <a:pt x="450" y="269"/>
                  </a:lnTo>
                  <a:lnTo>
                    <a:pt x="450" y="270"/>
                  </a:lnTo>
                  <a:lnTo>
                    <a:pt x="450" y="273"/>
                  </a:lnTo>
                  <a:lnTo>
                    <a:pt x="450" y="274"/>
                  </a:lnTo>
                  <a:lnTo>
                    <a:pt x="450" y="275"/>
                  </a:lnTo>
                  <a:lnTo>
                    <a:pt x="450" y="275"/>
                  </a:lnTo>
                  <a:lnTo>
                    <a:pt x="450" y="276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7" y="279"/>
                  </a:lnTo>
                  <a:lnTo>
                    <a:pt x="445" y="280"/>
                  </a:lnTo>
                  <a:lnTo>
                    <a:pt x="442" y="281"/>
                  </a:lnTo>
                  <a:lnTo>
                    <a:pt x="439" y="281"/>
                  </a:lnTo>
                  <a:lnTo>
                    <a:pt x="438" y="282"/>
                  </a:lnTo>
                  <a:lnTo>
                    <a:pt x="438" y="282"/>
                  </a:lnTo>
                  <a:lnTo>
                    <a:pt x="437" y="282"/>
                  </a:lnTo>
                  <a:lnTo>
                    <a:pt x="437" y="283"/>
                  </a:lnTo>
                  <a:lnTo>
                    <a:pt x="436" y="286"/>
                  </a:lnTo>
                  <a:lnTo>
                    <a:pt x="434" y="288"/>
                  </a:lnTo>
                  <a:lnTo>
                    <a:pt x="434" y="289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2" y="291"/>
                  </a:lnTo>
                  <a:lnTo>
                    <a:pt x="431" y="291"/>
                  </a:lnTo>
                  <a:lnTo>
                    <a:pt x="430" y="291"/>
                  </a:lnTo>
                  <a:lnTo>
                    <a:pt x="429" y="291"/>
                  </a:lnTo>
                  <a:lnTo>
                    <a:pt x="428" y="291"/>
                  </a:lnTo>
                  <a:lnTo>
                    <a:pt x="424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2" y="289"/>
                  </a:lnTo>
                  <a:lnTo>
                    <a:pt x="422" y="289"/>
                  </a:lnTo>
                  <a:lnTo>
                    <a:pt x="421" y="289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1"/>
                  </a:lnTo>
                  <a:lnTo>
                    <a:pt x="420" y="292"/>
                  </a:lnTo>
                  <a:lnTo>
                    <a:pt x="420" y="294"/>
                  </a:lnTo>
                  <a:lnTo>
                    <a:pt x="420" y="296"/>
                  </a:lnTo>
                  <a:lnTo>
                    <a:pt x="420" y="297"/>
                  </a:lnTo>
                  <a:lnTo>
                    <a:pt x="420" y="298"/>
                  </a:lnTo>
                  <a:lnTo>
                    <a:pt x="420" y="299"/>
                  </a:lnTo>
                  <a:lnTo>
                    <a:pt x="420" y="300"/>
                  </a:lnTo>
                  <a:lnTo>
                    <a:pt x="420" y="301"/>
                  </a:lnTo>
                  <a:lnTo>
                    <a:pt x="421" y="302"/>
                  </a:lnTo>
                  <a:lnTo>
                    <a:pt x="421" y="305"/>
                  </a:lnTo>
                  <a:lnTo>
                    <a:pt x="422" y="306"/>
                  </a:lnTo>
                  <a:lnTo>
                    <a:pt x="422" y="307"/>
                  </a:lnTo>
                  <a:lnTo>
                    <a:pt x="422" y="308"/>
                  </a:lnTo>
                  <a:lnTo>
                    <a:pt x="422" y="309"/>
                  </a:lnTo>
                  <a:lnTo>
                    <a:pt x="422" y="311"/>
                  </a:lnTo>
                  <a:lnTo>
                    <a:pt x="422" y="312"/>
                  </a:lnTo>
                  <a:lnTo>
                    <a:pt x="421" y="313"/>
                  </a:lnTo>
                  <a:lnTo>
                    <a:pt x="421" y="315"/>
                  </a:lnTo>
                  <a:lnTo>
                    <a:pt x="420" y="319"/>
                  </a:lnTo>
                  <a:lnTo>
                    <a:pt x="420" y="320"/>
                  </a:lnTo>
                  <a:lnTo>
                    <a:pt x="420" y="321"/>
                  </a:lnTo>
                  <a:lnTo>
                    <a:pt x="419" y="322"/>
                  </a:lnTo>
                  <a:lnTo>
                    <a:pt x="419" y="323"/>
                  </a:lnTo>
                  <a:lnTo>
                    <a:pt x="418" y="323"/>
                  </a:lnTo>
                  <a:lnTo>
                    <a:pt x="418" y="324"/>
                  </a:lnTo>
                  <a:lnTo>
                    <a:pt x="418" y="324"/>
                  </a:lnTo>
                  <a:lnTo>
                    <a:pt x="417" y="324"/>
                  </a:lnTo>
                  <a:lnTo>
                    <a:pt x="417" y="325"/>
                  </a:lnTo>
                  <a:lnTo>
                    <a:pt x="416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3" y="325"/>
                  </a:lnTo>
                  <a:lnTo>
                    <a:pt x="411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4"/>
                  </a:lnTo>
                  <a:lnTo>
                    <a:pt x="401" y="325"/>
                  </a:lnTo>
                  <a:lnTo>
                    <a:pt x="395" y="326"/>
                  </a:lnTo>
                  <a:lnTo>
                    <a:pt x="394" y="326"/>
                  </a:lnTo>
                  <a:lnTo>
                    <a:pt x="393" y="326"/>
                  </a:lnTo>
                  <a:lnTo>
                    <a:pt x="392" y="327"/>
                  </a:lnTo>
                  <a:lnTo>
                    <a:pt x="391" y="327"/>
                  </a:lnTo>
                  <a:lnTo>
                    <a:pt x="391" y="327"/>
                  </a:lnTo>
                  <a:lnTo>
                    <a:pt x="390" y="328"/>
                  </a:lnTo>
                  <a:lnTo>
                    <a:pt x="388" y="330"/>
                  </a:lnTo>
                  <a:lnTo>
                    <a:pt x="387" y="331"/>
                  </a:lnTo>
                  <a:lnTo>
                    <a:pt x="386" y="332"/>
                  </a:lnTo>
                  <a:lnTo>
                    <a:pt x="385" y="332"/>
                  </a:lnTo>
                  <a:lnTo>
                    <a:pt x="384" y="333"/>
                  </a:lnTo>
                  <a:lnTo>
                    <a:pt x="384" y="333"/>
                  </a:lnTo>
                  <a:lnTo>
                    <a:pt x="383" y="333"/>
                  </a:lnTo>
                  <a:lnTo>
                    <a:pt x="383" y="333"/>
                  </a:lnTo>
                  <a:lnTo>
                    <a:pt x="382" y="333"/>
                  </a:lnTo>
                  <a:lnTo>
                    <a:pt x="381" y="333"/>
                  </a:lnTo>
                  <a:lnTo>
                    <a:pt x="379" y="333"/>
                  </a:lnTo>
                  <a:lnTo>
                    <a:pt x="376" y="332"/>
                  </a:lnTo>
                  <a:lnTo>
                    <a:pt x="372" y="331"/>
                  </a:lnTo>
                  <a:lnTo>
                    <a:pt x="370" y="331"/>
                  </a:lnTo>
                  <a:lnTo>
                    <a:pt x="368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6" y="330"/>
                  </a:lnTo>
                  <a:lnTo>
                    <a:pt x="365" y="330"/>
                  </a:lnTo>
                  <a:lnTo>
                    <a:pt x="365" y="331"/>
                  </a:lnTo>
                  <a:lnTo>
                    <a:pt x="363" y="332"/>
                  </a:lnTo>
                  <a:lnTo>
                    <a:pt x="361" y="332"/>
                  </a:lnTo>
                  <a:lnTo>
                    <a:pt x="359" y="332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3" y="333"/>
                  </a:lnTo>
                  <a:lnTo>
                    <a:pt x="350" y="333"/>
                  </a:lnTo>
                  <a:lnTo>
                    <a:pt x="348" y="333"/>
                  </a:lnTo>
                  <a:lnTo>
                    <a:pt x="346" y="333"/>
                  </a:lnTo>
                  <a:lnTo>
                    <a:pt x="340" y="332"/>
                  </a:lnTo>
                  <a:lnTo>
                    <a:pt x="338" y="332"/>
                  </a:lnTo>
                  <a:lnTo>
                    <a:pt x="336" y="332"/>
                  </a:lnTo>
                  <a:lnTo>
                    <a:pt x="333" y="331"/>
                  </a:lnTo>
                  <a:lnTo>
                    <a:pt x="329" y="330"/>
                  </a:lnTo>
                  <a:lnTo>
                    <a:pt x="325" y="329"/>
                  </a:lnTo>
                  <a:lnTo>
                    <a:pt x="323" y="328"/>
                  </a:lnTo>
                  <a:lnTo>
                    <a:pt x="322" y="328"/>
                  </a:lnTo>
                  <a:lnTo>
                    <a:pt x="317" y="328"/>
                  </a:lnTo>
                  <a:lnTo>
                    <a:pt x="316" y="328"/>
                  </a:lnTo>
                  <a:lnTo>
                    <a:pt x="315" y="328"/>
                  </a:lnTo>
                  <a:lnTo>
                    <a:pt x="314" y="328"/>
                  </a:lnTo>
                  <a:lnTo>
                    <a:pt x="313" y="328"/>
                  </a:lnTo>
                  <a:lnTo>
                    <a:pt x="313" y="328"/>
                  </a:lnTo>
                  <a:lnTo>
                    <a:pt x="312" y="329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09" y="331"/>
                  </a:lnTo>
                  <a:lnTo>
                    <a:pt x="309" y="331"/>
                  </a:lnTo>
                  <a:lnTo>
                    <a:pt x="308" y="332"/>
                  </a:lnTo>
                  <a:lnTo>
                    <a:pt x="307" y="333"/>
                  </a:lnTo>
                  <a:lnTo>
                    <a:pt x="307" y="333"/>
                  </a:lnTo>
                  <a:lnTo>
                    <a:pt x="307" y="334"/>
                  </a:lnTo>
                  <a:lnTo>
                    <a:pt x="307" y="335"/>
                  </a:lnTo>
                  <a:lnTo>
                    <a:pt x="307" y="335"/>
                  </a:lnTo>
                  <a:lnTo>
                    <a:pt x="307" y="336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4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4" y="346"/>
                  </a:lnTo>
                  <a:lnTo>
                    <a:pt x="304" y="346"/>
                  </a:lnTo>
                  <a:lnTo>
                    <a:pt x="302" y="346"/>
                  </a:lnTo>
                  <a:lnTo>
                    <a:pt x="301" y="346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298" y="347"/>
                  </a:lnTo>
                  <a:lnTo>
                    <a:pt x="298" y="347"/>
                  </a:lnTo>
                  <a:lnTo>
                    <a:pt x="297" y="347"/>
                  </a:lnTo>
                  <a:lnTo>
                    <a:pt x="297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2"/>
                  </a:lnTo>
                  <a:lnTo>
                    <a:pt x="295" y="353"/>
                  </a:lnTo>
                  <a:lnTo>
                    <a:pt x="294" y="353"/>
                  </a:lnTo>
                  <a:lnTo>
                    <a:pt x="292" y="355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89" y="357"/>
                  </a:lnTo>
                  <a:lnTo>
                    <a:pt x="288" y="358"/>
                  </a:lnTo>
                  <a:lnTo>
                    <a:pt x="287" y="359"/>
                  </a:lnTo>
                  <a:lnTo>
                    <a:pt x="286" y="359"/>
                  </a:lnTo>
                  <a:lnTo>
                    <a:pt x="285" y="359"/>
                  </a:lnTo>
                  <a:lnTo>
                    <a:pt x="282" y="360"/>
                  </a:lnTo>
                  <a:lnTo>
                    <a:pt x="281" y="361"/>
                  </a:lnTo>
                  <a:lnTo>
                    <a:pt x="280" y="361"/>
                  </a:lnTo>
                  <a:lnTo>
                    <a:pt x="278" y="361"/>
                  </a:lnTo>
                  <a:lnTo>
                    <a:pt x="278" y="362"/>
                  </a:lnTo>
                  <a:lnTo>
                    <a:pt x="277" y="362"/>
                  </a:lnTo>
                  <a:lnTo>
                    <a:pt x="276" y="363"/>
                  </a:lnTo>
                  <a:lnTo>
                    <a:pt x="275" y="364"/>
                  </a:lnTo>
                  <a:lnTo>
                    <a:pt x="274" y="364"/>
                  </a:lnTo>
                  <a:lnTo>
                    <a:pt x="273" y="365"/>
                  </a:lnTo>
                  <a:lnTo>
                    <a:pt x="272" y="367"/>
                  </a:lnTo>
                  <a:lnTo>
                    <a:pt x="270" y="369"/>
                  </a:lnTo>
                  <a:lnTo>
                    <a:pt x="269" y="370"/>
                  </a:lnTo>
                  <a:lnTo>
                    <a:pt x="268" y="371"/>
                  </a:lnTo>
                  <a:lnTo>
                    <a:pt x="268" y="371"/>
                  </a:lnTo>
                  <a:lnTo>
                    <a:pt x="267" y="371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5" y="372"/>
                  </a:lnTo>
                  <a:lnTo>
                    <a:pt x="265" y="372"/>
                  </a:lnTo>
                  <a:lnTo>
                    <a:pt x="264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3" y="371"/>
                  </a:lnTo>
                  <a:lnTo>
                    <a:pt x="262" y="371"/>
                  </a:lnTo>
                  <a:lnTo>
                    <a:pt x="261" y="370"/>
                  </a:lnTo>
                  <a:lnTo>
                    <a:pt x="259" y="368"/>
                  </a:lnTo>
                  <a:lnTo>
                    <a:pt x="259" y="368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4" y="366"/>
                  </a:lnTo>
                  <a:lnTo>
                    <a:pt x="253" y="366"/>
                  </a:lnTo>
                  <a:lnTo>
                    <a:pt x="253" y="367"/>
                  </a:lnTo>
                  <a:lnTo>
                    <a:pt x="252" y="367"/>
                  </a:lnTo>
                  <a:lnTo>
                    <a:pt x="251" y="368"/>
                  </a:lnTo>
                  <a:lnTo>
                    <a:pt x="250" y="369"/>
                  </a:lnTo>
                  <a:lnTo>
                    <a:pt x="249" y="370"/>
                  </a:lnTo>
                  <a:lnTo>
                    <a:pt x="246" y="373"/>
                  </a:lnTo>
                  <a:lnTo>
                    <a:pt x="244" y="374"/>
                  </a:lnTo>
                  <a:lnTo>
                    <a:pt x="244" y="375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8" y="378"/>
                  </a:lnTo>
                  <a:lnTo>
                    <a:pt x="236" y="380"/>
                  </a:lnTo>
                  <a:lnTo>
                    <a:pt x="235" y="380"/>
                  </a:lnTo>
                  <a:lnTo>
                    <a:pt x="234" y="381"/>
                  </a:lnTo>
                  <a:lnTo>
                    <a:pt x="233" y="381"/>
                  </a:lnTo>
                  <a:lnTo>
                    <a:pt x="232" y="381"/>
                  </a:lnTo>
                  <a:lnTo>
                    <a:pt x="231" y="381"/>
                  </a:lnTo>
                  <a:lnTo>
                    <a:pt x="230" y="381"/>
                  </a:lnTo>
                  <a:lnTo>
                    <a:pt x="228" y="381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2"/>
                  </a:lnTo>
                  <a:lnTo>
                    <a:pt x="220" y="382"/>
                  </a:lnTo>
                  <a:lnTo>
                    <a:pt x="218" y="381"/>
                  </a:lnTo>
                  <a:lnTo>
                    <a:pt x="217" y="381"/>
                  </a:lnTo>
                  <a:lnTo>
                    <a:pt x="215" y="381"/>
                  </a:lnTo>
                  <a:lnTo>
                    <a:pt x="214" y="380"/>
                  </a:lnTo>
                  <a:lnTo>
                    <a:pt x="214" y="380"/>
                  </a:lnTo>
                  <a:lnTo>
                    <a:pt x="213" y="380"/>
                  </a:lnTo>
                  <a:lnTo>
                    <a:pt x="212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09" y="379"/>
                  </a:lnTo>
                  <a:lnTo>
                    <a:pt x="208" y="380"/>
                  </a:lnTo>
                  <a:lnTo>
                    <a:pt x="207" y="381"/>
                  </a:lnTo>
                  <a:lnTo>
                    <a:pt x="203" y="385"/>
                  </a:lnTo>
                  <a:lnTo>
                    <a:pt x="200" y="387"/>
                  </a:lnTo>
                  <a:lnTo>
                    <a:pt x="198" y="389"/>
                  </a:lnTo>
                  <a:lnTo>
                    <a:pt x="198" y="389"/>
                  </a:lnTo>
                  <a:lnTo>
                    <a:pt x="197" y="390"/>
                  </a:lnTo>
                  <a:lnTo>
                    <a:pt x="196" y="391"/>
                  </a:lnTo>
                  <a:lnTo>
                    <a:pt x="195" y="393"/>
                  </a:lnTo>
                  <a:lnTo>
                    <a:pt x="194" y="393"/>
                  </a:lnTo>
                  <a:lnTo>
                    <a:pt x="193" y="394"/>
                  </a:lnTo>
                  <a:lnTo>
                    <a:pt x="192" y="395"/>
                  </a:lnTo>
                  <a:lnTo>
                    <a:pt x="191" y="395"/>
                  </a:lnTo>
                  <a:lnTo>
                    <a:pt x="190" y="396"/>
                  </a:lnTo>
                  <a:lnTo>
                    <a:pt x="188" y="396"/>
                  </a:lnTo>
                  <a:lnTo>
                    <a:pt x="186" y="397"/>
                  </a:lnTo>
                  <a:lnTo>
                    <a:pt x="185" y="397"/>
                  </a:lnTo>
                  <a:lnTo>
                    <a:pt x="183" y="397"/>
                  </a:lnTo>
                  <a:lnTo>
                    <a:pt x="182" y="397"/>
                  </a:lnTo>
                  <a:lnTo>
                    <a:pt x="181" y="397"/>
                  </a:lnTo>
                  <a:lnTo>
                    <a:pt x="179" y="397"/>
                  </a:lnTo>
                  <a:lnTo>
                    <a:pt x="178" y="397"/>
                  </a:lnTo>
                  <a:lnTo>
                    <a:pt x="176" y="397"/>
                  </a:lnTo>
                  <a:lnTo>
                    <a:pt x="175" y="397"/>
                  </a:lnTo>
                  <a:lnTo>
                    <a:pt x="174" y="398"/>
                  </a:lnTo>
                  <a:lnTo>
                    <a:pt x="173" y="398"/>
                  </a:lnTo>
                  <a:lnTo>
                    <a:pt x="172" y="399"/>
                  </a:lnTo>
                  <a:lnTo>
                    <a:pt x="171" y="400"/>
                  </a:lnTo>
                  <a:lnTo>
                    <a:pt x="169" y="401"/>
                  </a:lnTo>
                  <a:lnTo>
                    <a:pt x="167" y="402"/>
                  </a:lnTo>
                  <a:lnTo>
                    <a:pt x="167" y="403"/>
                  </a:lnTo>
                  <a:lnTo>
                    <a:pt x="165" y="404"/>
                  </a:lnTo>
                  <a:lnTo>
                    <a:pt x="164" y="405"/>
                  </a:lnTo>
                  <a:lnTo>
                    <a:pt x="162" y="406"/>
                  </a:lnTo>
                  <a:lnTo>
                    <a:pt x="160" y="408"/>
                  </a:lnTo>
                  <a:lnTo>
                    <a:pt x="160" y="409"/>
                  </a:lnTo>
                  <a:lnTo>
                    <a:pt x="159" y="409"/>
                  </a:lnTo>
                  <a:lnTo>
                    <a:pt x="159" y="410"/>
                  </a:lnTo>
                  <a:lnTo>
                    <a:pt x="159" y="410"/>
                  </a:lnTo>
                  <a:lnTo>
                    <a:pt x="158" y="411"/>
                  </a:lnTo>
                  <a:lnTo>
                    <a:pt x="158" y="412"/>
                  </a:lnTo>
                  <a:lnTo>
                    <a:pt x="158" y="415"/>
                  </a:lnTo>
                  <a:lnTo>
                    <a:pt x="158" y="415"/>
                  </a:lnTo>
                  <a:lnTo>
                    <a:pt x="157" y="416"/>
                  </a:lnTo>
                  <a:lnTo>
                    <a:pt x="157" y="418"/>
                  </a:lnTo>
                  <a:lnTo>
                    <a:pt x="157" y="418"/>
                  </a:lnTo>
                  <a:lnTo>
                    <a:pt x="157" y="419"/>
                  </a:lnTo>
                  <a:lnTo>
                    <a:pt x="157" y="420"/>
                  </a:lnTo>
                  <a:lnTo>
                    <a:pt x="157" y="421"/>
                  </a:lnTo>
                  <a:lnTo>
                    <a:pt x="157" y="422"/>
                  </a:lnTo>
                  <a:lnTo>
                    <a:pt x="156" y="423"/>
                  </a:lnTo>
                  <a:lnTo>
                    <a:pt x="156" y="423"/>
                  </a:lnTo>
                  <a:lnTo>
                    <a:pt x="156" y="424"/>
                  </a:lnTo>
                  <a:lnTo>
                    <a:pt x="156" y="424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3" y="425"/>
                  </a:lnTo>
                  <a:lnTo>
                    <a:pt x="153" y="426"/>
                  </a:lnTo>
                  <a:lnTo>
                    <a:pt x="152" y="426"/>
                  </a:lnTo>
                  <a:lnTo>
                    <a:pt x="152" y="426"/>
                  </a:lnTo>
                  <a:lnTo>
                    <a:pt x="152" y="427"/>
                  </a:lnTo>
                  <a:lnTo>
                    <a:pt x="151" y="429"/>
                  </a:lnTo>
                  <a:lnTo>
                    <a:pt x="150" y="430"/>
                  </a:lnTo>
                  <a:lnTo>
                    <a:pt x="150" y="431"/>
                  </a:lnTo>
                  <a:lnTo>
                    <a:pt x="149" y="433"/>
                  </a:lnTo>
                  <a:lnTo>
                    <a:pt x="148" y="433"/>
                  </a:lnTo>
                  <a:lnTo>
                    <a:pt x="148" y="434"/>
                  </a:lnTo>
                  <a:lnTo>
                    <a:pt x="147" y="434"/>
                  </a:lnTo>
                  <a:lnTo>
                    <a:pt x="147" y="434"/>
                  </a:lnTo>
                  <a:lnTo>
                    <a:pt x="146" y="434"/>
                  </a:lnTo>
                  <a:lnTo>
                    <a:pt x="145" y="434"/>
                  </a:lnTo>
                  <a:lnTo>
                    <a:pt x="144" y="434"/>
                  </a:lnTo>
                  <a:lnTo>
                    <a:pt x="143" y="434"/>
                  </a:lnTo>
                  <a:lnTo>
                    <a:pt x="142" y="435"/>
                  </a:lnTo>
                  <a:lnTo>
                    <a:pt x="141" y="435"/>
                  </a:lnTo>
                  <a:lnTo>
                    <a:pt x="140" y="435"/>
                  </a:lnTo>
                  <a:lnTo>
                    <a:pt x="139" y="436"/>
                  </a:lnTo>
                  <a:lnTo>
                    <a:pt x="138" y="436"/>
                  </a:lnTo>
                  <a:lnTo>
                    <a:pt x="137" y="437"/>
                  </a:lnTo>
                  <a:lnTo>
                    <a:pt x="136" y="438"/>
                  </a:lnTo>
                  <a:lnTo>
                    <a:pt x="135" y="439"/>
                  </a:lnTo>
                  <a:lnTo>
                    <a:pt x="134" y="440"/>
                  </a:lnTo>
                  <a:lnTo>
                    <a:pt x="133" y="440"/>
                  </a:lnTo>
                  <a:lnTo>
                    <a:pt x="133" y="441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2" y="443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0" y="445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5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3" y="447"/>
                  </a:lnTo>
                  <a:lnTo>
                    <a:pt x="123" y="447"/>
                  </a:lnTo>
                  <a:lnTo>
                    <a:pt x="123" y="446"/>
                  </a:lnTo>
                  <a:lnTo>
                    <a:pt x="122" y="446"/>
                  </a:lnTo>
                  <a:lnTo>
                    <a:pt x="122" y="446"/>
                  </a:lnTo>
                  <a:lnTo>
                    <a:pt x="122" y="445"/>
                  </a:lnTo>
                  <a:lnTo>
                    <a:pt x="121" y="443"/>
                  </a:lnTo>
                  <a:lnTo>
                    <a:pt x="121" y="442"/>
                  </a:lnTo>
                  <a:lnTo>
                    <a:pt x="120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7" y="436"/>
                  </a:lnTo>
                  <a:lnTo>
                    <a:pt x="116" y="437"/>
                  </a:lnTo>
                  <a:lnTo>
                    <a:pt x="115" y="437"/>
                  </a:lnTo>
                  <a:lnTo>
                    <a:pt x="115" y="437"/>
                  </a:lnTo>
                  <a:lnTo>
                    <a:pt x="114" y="438"/>
                  </a:lnTo>
                  <a:lnTo>
                    <a:pt x="114" y="438"/>
                  </a:lnTo>
                  <a:lnTo>
                    <a:pt x="112" y="440"/>
                  </a:lnTo>
                  <a:lnTo>
                    <a:pt x="112" y="440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0" y="441"/>
                  </a:lnTo>
                  <a:lnTo>
                    <a:pt x="110" y="441"/>
                  </a:lnTo>
                  <a:lnTo>
                    <a:pt x="109" y="441"/>
                  </a:lnTo>
                  <a:lnTo>
                    <a:pt x="109" y="440"/>
                  </a:lnTo>
                  <a:lnTo>
                    <a:pt x="109" y="440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8" y="437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5"/>
                  </a:lnTo>
                  <a:lnTo>
                    <a:pt x="108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5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0" y="435"/>
                  </a:lnTo>
                  <a:lnTo>
                    <a:pt x="100" y="434"/>
                  </a:lnTo>
                  <a:lnTo>
                    <a:pt x="99" y="433"/>
                  </a:lnTo>
                  <a:lnTo>
                    <a:pt x="99" y="432"/>
                  </a:lnTo>
                  <a:lnTo>
                    <a:pt x="98" y="431"/>
                  </a:lnTo>
                  <a:lnTo>
                    <a:pt x="96" y="429"/>
                  </a:lnTo>
                  <a:lnTo>
                    <a:pt x="95" y="428"/>
                  </a:lnTo>
                  <a:lnTo>
                    <a:pt x="95" y="427"/>
                  </a:lnTo>
                  <a:lnTo>
                    <a:pt x="94" y="426"/>
                  </a:lnTo>
                  <a:lnTo>
                    <a:pt x="93" y="426"/>
                  </a:lnTo>
                  <a:lnTo>
                    <a:pt x="92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0" y="424"/>
                  </a:lnTo>
                  <a:lnTo>
                    <a:pt x="86" y="424"/>
                  </a:lnTo>
                  <a:lnTo>
                    <a:pt x="85" y="424"/>
                  </a:lnTo>
                  <a:lnTo>
                    <a:pt x="85" y="423"/>
                  </a:lnTo>
                  <a:lnTo>
                    <a:pt x="84" y="423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4" y="419"/>
                  </a:lnTo>
                  <a:lnTo>
                    <a:pt x="84" y="418"/>
                  </a:lnTo>
                  <a:lnTo>
                    <a:pt x="84" y="418"/>
                  </a:lnTo>
                  <a:lnTo>
                    <a:pt x="85" y="418"/>
                  </a:lnTo>
                  <a:lnTo>
                    <a:pt x="86" y="417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8" y="417"/>
                  </a:lnTo>
                  <a:lnTo>
                    <a:pt x="89" y="417"/>
                  </a:lnTo>
                  <a:lnTo>
                    <a:pt x="90" y="417"/>
                  </a:lnTo>
                  <a:lnTo>
                    <a:pt x="93" y="418"/>
                  </a:lnTo>
                  <a:lnTo>
                    <a:pt x="93" y="418"/>
                  </a:lnTo>
                  <a:lnTo>
                    <a:pt x="94" y="418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5" y="417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4" y="415"/>
                  </a:lnTo>
                  <a:lnTo>
                    <a:pt x="94" y="413"/>
                  </a:lnTo>
                  <a:lnTo>
                    <a:pt x="94" y="412"/>
                  </a:lnTo>
                  <a:lnTo>
                    <a:pt x="94" y="411"/>
                  </a:lnTo>
                  <a:lnTo>
                    <a:pt x="94" y="411"/>
                  </a:lnTo>
                  <a:lnTo>
                    <a:pt x="94" y="410"/>
                  </a:lnTo>
                  <a:lnTo>
                    <a:pt x="95" y="409"/>
                  </a:lnTo>
                  <a:lnTo>
                    <a:pt x="95" y="409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6" y="407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6" y="405"/>
                  </a:lnTo>
                  <a:lnTo>
                    <a:pt x="95" y="404"/>
                  </a:lnTo>
                  <a:lnTo>
                    <a:pt x="95" y="401"/>
                  </a:lnTo>
                  <a:lnTo>
                    <a:pt x="94" y="400"/>
                  </a:lnTo>
                  <a:lnTo>
                    <a:pt x="94" y="398"/>
                  </a:lnTo>
                  <a:lnTo>
                    <a:pt x="92" y="394"/>
                  </a:lnTo>
                  <a:lnTo>
                    <a:pt x="91" y="392"/>
                  </a:lnTo>
                  <a:lnTo>
                    <a:pt x="90" y="390"/>
                  </a:lnTo>
                  <a:lnTo>
                    <a:pt x="89" y="389"/>
                  </a:lnTo>
                  <a:lnTo>
                    <a:pt x="87" y="386"/>
                  </a:lnTo>
                  <a:lnTo>
                    <a:pt x="87" y="386"/>
                  </a:lnTo>
                  <a:lnTo>
                    <a:pt x="87" y="385"/>
                  </a:lnTo>
                  <a:lnTo>
                    <a:pt x="87" y="385"/>
                  </a:lnTo>
                  <a:lnTo>
                    <a:pt x="87" y="384"/>
                  </a:lnTo>
                  <a:lnTo>
                    <a:pt x="87" y="381"/>
                  </a:lnTo>
                  <a:lnTo>
                    <a:pt x="87" y="380"/>
                  </a:lnTo>
                  <a:lnTo>
                    <a:pt x="86" y="378"/>
                  </a:lnTo>
                  <a:lnTo>
                    <a:pt x="86" y="378"/>
                  </a:lnTo>
                  <a:lnTo>
                    <a:pt x="86" y="377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3" y="374"/>
                  </a:lnTo>
                  <a:lnTo>
                    <a:pt x="83" y="373"/>
                  </a:lnTo>
                  <a:lnTo>
                    <a:pt x="82" y="373"/>
                  </a:lnTo>
                  <a:lnTo>
                    <a:pt x="82" y="372"/>
                  </a:lnTo>
                  <a:lnTo>
                    <a:pt x="82" y="372"/>
                  </a:lnTo>
                  <a:lnTo>
                    <a:pt x="82" y="371"/>
                  </a:lnTo>
                  <a:lnTo>
                    <a:pt x="81" y="370"/>
                  </a:lnTo>
                  <a:lnTo>
                    <a:pt x="82" y="370"/>
                  </a:lnTo>
                  <a:lnTo>
                    <a:pt x="82" y="369"/>
                  </a:lnTo>
                  <a:lnTo>
                    <a:pt x="82" y="367"/>
                  </a:lnTo>
                  <a:lnTo>
                    <a:pt x="82" y="366"/>
                  </a:lnTo>
                  <a:lnTo>
                    <a:pt x="82" y="365"/>
                  </a:lnTo>
                  <a:lnTo>
                    <a:pt x="82" y="363"/>
                  </a:lnTo>
                  <a:lnTo>
                    <a:pt x="82" y="361"/>
                  </a:lnTo>
                  <a:lnTo>
                    <a:pt x="81" y="359"/>
                  </a:lnTo>
                  <a:lnTo>
                    <a:pt x="81" y="358"/>
                  </a:lnTo>
                  <a:lnTo>
                    <a:pt x="80" y="356"/>
                  </a:lnTo>
                  <a:lnTo>
                    <a:pt x="80" y="355"/>
                  </a:lnTo>
                  <a:lnTo>
                    <a:pt x="80" y="354"/>
                  </a:lnTo>
                  <a:lnTo>
                    <a:pt x="80" y="353"/>
                  </a:lnTo>
                  <a:lnTo>
                    <a:pt x="80" y="352"/>
                  </a:lnTo>
                  <a:lnTo>
                    <a:pt x="80" y="351"/>
                  </a:lnTo>
                  <a:lnTo>
                    <a:pt x="81" y="347"/>
                  </a:lnTo>
                  <a:lnTo>
                    <a:pt x="81" y="345"/>
                  </a:lnTo>
                  <a:lnTo>
                    <a:pt x="82" y="344"/>
                  </a:lnTo>
                  <a:lnTo>
                    <a:pt x="82" y="343"/>
                  </a:lnTo>
                  <a:lnTo>
                    <a:pt x="82" y="343"/>
                  </a:lnTo>
                  <a:lnTo>
                    <a:pt x="82" y="340"/>
                  </a:lnTo>
                  <a:lnTo>
                    <a:pt x="82" y="339"/>
                  </a:lnTo>
                  <a:lnTo>
                    <a:pt x="82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3" y="334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0"/>
                  </a:lnTo>
                  <a:lnTo>
                    <a:pt x="83" y="329"/>
                  </a:lnTo>
                  <a:lnTo>
                    <a:pt x="83" y="328"/>
                  </a:lnTo>
                  <a:lnTo>
                    <a:pt x="83" y="327"/>
                  </a:lnTo>
                  <a:lnTo>
                    <a:pt x="83" y="326"/>
                  </a:lnTo>
                  <a:lnTo>
                    <a:pt x="82" y="325"/>
                  </a:lnTo>
                  <a:lnTo>
                    <a:pt x="81" y="323"/>
                  </a:lnTo>
                  <a:lnTo>
                    <a:pt x="81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9" y="319"/>
                  </a:lnTo>
                  <a:lnTo>
                    <a:pt x="78" y="319"/>
                  </a:lnTo>
                  <a:lnTo>
                    <a:pt x="77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4" y="318"/>
                  </a:lnTo>
                  <a:lnTo>
                    <a:pt x="70" y="318"/>
                  </a:lnTo>
                  <a:lnTo>
                    <a:pt x="69" y="318"/>
                  </a:lnTo>
                  <a:lnTo>
                    <a:pt x="68" y="318"/>
                  </a:lnTo>
                  <a:lnTo>
                    <a:pt x="65" y="318"/>
                  </a:lnTo>
                  <a:lnTo>
                    <a:pt x="64" y="318"/>
                  </a:lnTo>
                  <a:lnTo>
                    <a:pt x="62" y="318"/>
                  </a:lnTo>
                  <a:lnTo>
                    <a:pt x="58" y="318"/>
                  </a:lnTo>
                  <a:lnTo>
                    <a:pt x="57" y="317"/>
                  </a:lnTo>
                  <a:lnTo>
                    <a:pt x="55" y="317"/>
                  </a:lnTo>
                  <a:lnTo>
                    <a:pt x="55" y="317"/>
                  </a:lnTo>
                  <a:lnTo>
                    <a:pt x="54" y="318"/>
                  </a:lnTo>
                  <a:lnTo>
                    <a:pt x="52" y="318"/>
                  </a:lnTo>
                  <a:lnTo>
                    <a:pt x="51" y="318"/>
                  </a:lnTo>
                  <a:lnTo>
                    <a:pt x="50" y="318"/>
                  </a:lnTo>
                  <a:lnTo>
                    <a:pt x="49" y="318"/>
                  </a:lnTo>
                  <a:lnTo>
                    <a:pt x="49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6" y="318"/>
                  </a:lnTo>
                  <a:lnTo>
                    <a:pt x="46" y="317"/>
                  </a:lnTo>
                  <a:lnTo>
                    <a:pt x="46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5"/>
                  </a:lnTo>
                  <a:lnTo>
                    <a:pt x="45" y="314"/>
                  </a:lnTo>
                  <a:lnTo>
                    <a:pt x="45" y="313"/>
                  </a:lnTo>
                  <a:lnTo>
                    <a:pt x="45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4" y="309"/>
                  </a:lnTo>
                  <a:lnTo>
                    <a:pt x="44" y="308"/>
                  </a:lnTo>
                  <a:lnTo>
                    <a:pt x="43" y="308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1" y="305"/>
                  </a:lnTo>
                  <a:lnTo>
                    <a:pt x="38" y="304"/>
                  </a:lnTo>
                  <a:lnTo>
                    <a:pt x="36" y="303"/>
                  </a:lnTo>
                  <a:lnTo>
                    <a:pt x="36" y="303"/>
                  </a:lnTo>
                  <a:lnTo>
                    <a:pt x="35" y="303"/>
                  </a:lnTo>
                  <a:lnTo>
                    <a:pt x="34" y="302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5" y="301"/>
                  </a:lnTo>
                  <a:lnTo>
                    <a:pt x="22" y="300"/>
                  </a:lnTo>
                  <a:lnTo>
                    <a:pt x="20" y="300"/>
                  </a:lnTo>
                  <a:lnTo>
                    <a:pt x="19" y="299"/>
                  </a:lnTo>
                  <a:lnTo>
                    <a:pt x="16" y="299"/>
                  </a:lnTo>
                  <a:lnTo>
                    <a:pt x="14" y="299"/>
                  </a:lnTo>
                  <a:lnTo>
                    <a:pt x="12" y="299"/>
                  </a:lnTo>
                  <a:lnTo>
                    <a:pt x="9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6" y="297"/>
                  </a:lnTo>
                  <a:lnTo>
                    <a:pt x="4" y="296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1" y="291"/>
                  </a:lnTo>
                  <a:lnTo>
                    <a:pt x="1" y="291"/>
                  </a:lnTo>
                  <a:lnTo>
                    <a:pt x="2" y="290"/>
                  </a:lnTo>
                  <a:lnTo>
                    <a:pt x="6" y="288"/>
                  </a:lnTo>
                  <a:lnTo>
                    <a:pt x="8" y="287"/>
                  </a:lnTo>
                  <a:lnTo>
                    <a:pt x="10" y="286"/>
                  </a:lnTo>
                  <a:lnTo>
                    <a:pt x="11" y="285"/>
                  </a:lnTo>
                  <a:lnTo>
                    <a:pt x="12" y="284"/>
                  </a:lnTo>
                  <a:lnTo>
                    <a:pt x="13" y="283"/>
                  </a:lnTo>
                  <a:lnTo>
                    <a:pt x="18" y="278"/>
                  </a:lnTo>
                  <a:lnTo>
                    <a:pt x="19" y="276"/>
                  </a:lnTo>
                  <a:lnTo>
                    <a:pt x="20" y="275"/>
                  </a:lnTo>
                  <a:lnTo>
                    <a:pt x="21" y="274"/>
                  </a:lnTo>
                  <a:lnTo>
                    <a:pt x="21" y="273"/>
                  </a:lnTo>
                  <a:lnTo>
                    <a:pt x="21" y="272"/>
                  </a:lnTo>
                  <a:lnTo>
                    <a:pt x="22" y="271"/>
                  </a:lnTo>
                  <a:lnTo>
                    <a:pt x="22" y="269"/>
                  </a:lnTo>
                  <a:lnTo>
                    <a:pt x="22" y="264"/>
                  </a:lnTo>
                  <a:lnTo>
                    <a:pt x="22" y="261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4" y="254"/>
                  </a:lnTo>
                  <a:lnTo>
                    <a:pt x="24" y="253"/>
                  </a:lnTo>
                  <a:lnTo>
                    <a:pt x="25" y="252"/>
                  </a:lnTo>
                  <a:lnTo>
                    <a:pt x="25" y="251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8" y="248"/>
                  </a:lnTo>
                  <a:lnTo>
                    <a:pt x="28" y="248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8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7" y="247"/>
                  </a:lnTo>
                  <a:lnTo>
                    <a:pt x="51" y="246"/>
                  </a:lnTo>
                  <a:lnTo>
                    <a:pt x="52" y="245"/>
                  </a:lnTo>
                  <a:lnTo>
                    <a:pt x="53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5" y="245"/>
                  </a:lnTo>
                  <a:lnTo>
                    <a:pt x="56" y="245"/>
                  </a:lnTo>
                  <a:lnTo>
                    <a:pt x="57" y="246"/>
                  </a:lnTo>
                  <a:lnTo>
                    <a:pt x="59" y="246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4" y="246"/>
                  </a:lnTo>
                  <a:lnTo>
                    <a:pt x="75" y="245"/>
                  </a:lnTo>
                  <a:lnTo>
                    <a:pt x="77" y="241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81" y="235"/>
                  </a:lnTo>
                  <a:lnTo>
                    <a:pt x="81" y="233"/>
                  </a:lnTo>
                  <a:lnTo>
                    <a:pt x="82" y="232"/>
                  </a:lnTo>
                  <a:lnTo>
                    <a:pt x="83" y="230"/>
                  </a:lnTo>
                  <a:lnTo>
                    <a:pt x="83" y="228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4" y="222"/>
                  </a:lnTo>
                  <a:lnTo>
                    <a:pt x="85" y="221"/>
                  </a:lnTo>
                  <a:lnTo>
                    <a:pt x="87" y="216"/>
                  </a:lnTo>
                  <a:lnTo>
                    <a:pt x="87" y="215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Freeform 55">
              <a:extLst>
                <a:ext uri="{FF2B5EF4-FFF2-40B4-BE49-F238E27FC236}">
                  <a16:creationId xmlns:a16="http://schemas.microsoft.com/office/drawing/2014/main" id="{022E9A53-72B3-1826-BF41-CD5BB3C12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" y="2866"/>
              <a:ext cx="343" cy="215"/>
            </a:xfrm>
            <a:custGeom>
              <a:avLst/>
              <a:gdLst>
                <a:gd name="T0" fmla="*/ 4 w 343"/>
                <a:gd name="T1" fmla="*/ 211 h 215"/>
                <a:gd name="T2" fmla="*/ 8 w 343"/>
                <a:gd name="T3" fmla="*/ 210 h 215"/>
                <a:gd name="T4" fmla="*/ 16 w 343"/>
                <a:gd name="T5" fmla="*/ 213 h 215"/>
                <a:gd name="T6" fmla="*/ 21 w 343"/>
                <a:gd name="T7" fmla="*/ 214 h 215"/>
                <a:gd name="T8" fmla="*/ 24 w 343"/>
                <a:gd name="T9" fmla="*/ 211 h 215"/>
                <a:gd name="T10" fmla="*/ 29 w 343"/>
                <a:gd name="T11" fmla="*/ 202 h 215"/>
                <a:gd name="T12" fmla="*/ 38 w 343"/>
                <a:gd name="T13" fmla="*/ 195 h 215"/>
                <a:gd name="T14" fmla="*/ 42 w 343"/>
                <a:gd name="T15" fmla="*/ 186 h 215"/>
                <a:gd name="T16" fmla="*/ 45 w 343"/>
                <a:gd name="T17" fmla="*/ 186 h 215"/>
                <a:gd name="T18" fmla="*/ 50 w 343"/>
                <a:gd name="T19" fmla="*/ 191 h 215"/>
                <a:gd name="T20" fmla="*/ 58 w 343"/>
                <a:gd name="T21" fmla="*/ 201 h 215"/>
                <a:gd name="T22" fmla="*/ 66 w 343"/>
                <a:gd name="T23" fmla="*/ 203 h 215"/>
                <a:gd name="T24" fmla="*/ 70 w 343"/>
                <a:gd name="T25" fmla="*/ 201 h 215"/>
                <a:gd name="T26" fmla="*/ 83 w 343"/>
                <a:gd name="T27" fmla="*/ 188 h 215"/>
                <a:gd name="T28" fmla="*/ 85 w 343"/>
                <a:gd name="T29" fmla="*/ 181 h 215"/>
                <a:gd name="T30" fmla="*/ 89 w 343"/>
                <a:gd name="T31" fmla="*/ 174 h 215"/>
                <a:gd name="T32" fmla="*/ 90 w 343"/>
                <a:gd name="T33" fmla="*/ 166 h 215"/>
                <a:gd name="T34" fmla="*/ 90 w 343"/>
                <a:gd name="T35" fmla="*/ 159 h 215"/>
                <a:gd name="T36" fmla="*/ 95 w 343"/>
                <a:gd name="T37" fmla="*/ 156 h 215"/>
                <a:gd name="T38" fmla="*/ 109 w 343"/>
                <a:gd name="T39" fmla="*/ 155 h 215"/>
                <a:gd name="T40" fmla="*/ 118 w 343"/>
                <a:gd name="T41" fmla="*/ 151 h 215"/>
                <a:gd name="T42" fmla="*/ 126 w 343"/>
                <a:gd name="T43" fmla="*/ 148 h 215"/>
                <a:gd name="T44" fmla="*/ 135 w 343"/>
                <a:gd name="T45" fmla="*/ 151 h 215"/>
                <a:gd name="T46" fmla="*/ 139 w 343"/>
                <a:gd name="T47" fmla="*/ 152 h 215"/>
                <a:gd name="T48" fmla="*/ 147 w 343"/>
                <a:gd name="T49" fmla="*/ 148 h 215"/>
                <a:gd name="T50" fmla="*/ 163 w 343"/>
                <a:gd name="T51" fmla="*/ 147 h 215"/>
                <a:gd name="T52" fmla="*/ 174 w 343"/>
                <a:gd name="T53" fmla="*/ 149 h 215"/>
                <a:gd name="T54" fmla="*/ 183 w 343"/>
                <a:gd name="T55" fmla="*/ 148 h 215"/>
                <a:gd name="T56" fmla="*/ 192 w 343"/>
                <a:gd name="T57" fmla="*/ 143 h 215"/>
                <a:gd name="T58" fmla="*/ 195 w 343"/>
                <a:gd name="T59" fmla="*/ 138 h 215"/>
                <a:gd name="T60" fmla="*/ 195 w 343"/>
                <a:gd name="T61" fmla="*/ 128 h 215"/>
                <a:gd name="T62" fmla="*/ 198 w 343"/>
                <a:gd name="T63" fmla="*/ 123 h 215"/>
                <a:gd name="T64" fmla="*/ 205 w 343"/>
                <a:gd name="T65" fmla="*/ 120 h 215"/>
                <a:gd name="T66" fmla="*/ 215 w 343"/>
                <a:gd name="T67" fmla="*/ 113 h 215"/>
                <a:gd name="T68" fmla="*/ 224 w 343"/>
                <a:gd name="T69" fmla="*/ 110 h 215"/>
                <a:gd name="T70" fmla="*/ 235 w 343"/>
                <a:gd name="T71" fmla="*/ 113 h 215"/>
                <a:gd name="T72" fmla="*/ 247 w 343"/>
                <a:gd name="T73" fmla="*/ 111 h 215"/>
                <a:gd name="T74" fmla="*/ 265 w 343"/>
                <a:gd name="T75" fmla="*/ 101 h 215"/>
                <a:gd name="T76" fmla="*/ 286 w 343"/>
                <a:gd name="T77" fmla="*/ 92 h 215"/>
                <a:gd name="T78" fmla="*/ 294 w 343"/>
                <a:gd name="T79" fmla="*/ 85 h 215"/>
                <a:gd name="T80" fmla="*/ 300 w 343"/>
                <a:gd name="T81" fmla="*/ 78 h 215"/>
                <a:gd name="T82" fmla="*/ 308 w 343"/>
                <a:gd name="T83" fmla="*/ 76 h 215"/>
                <a:gd name="T84" fmla="*/ 318 w 343"/>
                <a:gd name="T85" fmla="*/ 77 h 215"/>
                <a:gd name="T86" fmla="*/ 331 w 343"/>
                <a:gd name="T87" fmla="*/ 73 h 215"/>
                <a:gd name="T88" fmla="*/ 339 w 343"/>
                <a:gd name="T89" fmla="*/ 70 h 215"/>
                <a:gd name="T90" fmla="*/ 343 w 343"/>
                <a:gd name="T91" fmla="*/ 61 h 215"/>
                <a:gd name="T92" fmla="*/ 342 w 343"/>
                <a:gd name="T93" fmla="*/ 57 h 215"/>
                <a:gd name="T94" fmla="*/ 336 w 343"/>
                <a:gd name="T95" fmla="*/ 53 h 215"/>
                <a:gd name="T96" fmla="*/ 322 w 343"/>
                <a:gd name="T97" fmla="*/ 47 h 215"/>
                <a:gd name="T98" fmla="*/ 319 w 343"/>
                <a:gd name="T99" fmla="*/ 42 h 215"/>
                <a:gd name="T100" fmla="*/ 321 w 343"/>
                <a:gd name="T101" fmla="*/ 37 h 215"/>
                <a:gd name="T102" fmla="*/ 320 w 343"/>
                <a:gd name="T103" fmla="*/ 35 h 215"/>
                <a:gd name="T104" fmla="*/ 312 w 343"/>
                <a:gd name="T105" fmla="*/ 34 h 215"/>
                <a:gd name="T106" fmla="*/ 306 w 343"/>
                <a:gd name="T107" fmla="*/ 31 h 215"/>
                <a:gd name="T108" fmla="*/ 305 w 343"/>
                <a:gd name="T109" fmla="*/ 24 h 215"/>
                <a:gd name="T110" fmla="*/ 308 w 343"/>
                <a:gd name="T111" fmla="*/ 17 h 215"/>
                <a:gd name="T112" fmla="*/ 311 w 343"/>
                <a:gd name="T113" fmla="*/ 8 h 215"/>
                <a:gd name="T114" fmla="*/ 317 w 343"/>
                <a:gd name="T115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43" h="215">
                  <a:moveTo>
                    <a:pt x="0" y="215"/>
                  </a:moveTo>
                  <a:lnTo>
                    <a:pt x="1" y="215"/>
                  </a:lnTo>
                  <a:lnTo>
                    <a:pt x="1" y="214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12"/>
                  </a:lnTo>
                  <a:lnTo>
                    <a:pt x="4" y="211"/>
                  </a:lnTo>
                  <a:lnTo>
                    <a:pt x="4" y="211"/>
                  </a:lnTo>
                  <a:lnTo>
                    <a:pt x="5" y="210"/>
                  </a:lnTo>
                  <a:lnTo>
                    <a:pt x="6" y="210"/>
                  </a:lnTo>
                  <a:lnTo>
                    <a:pt x="6" y="210"/>
                  </a:lnTo>
                  <a:lnTo>
                    <a:pt x="7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9" y="210"/>
                  </a:lnTo>
                  <a:lnTo>
                    <a:pt x="11" y="210"/>
                  </a:lnTo>
                  <a:lnTo>
                    <a:pt x="12" y="211"/>
                  </a:lnTo>
                  <a:lnTo>
                    <a:pt x="12" y="211"/>
                  </a:lnTo>
                  <a:lnTo>
                    <a:pt x="13" y="211"/>
                  </a:lnTo>
                  <a:lnTo>
                    <a:pt x="15" y="213"/>
                  </a:lnTo>
                  <a:lnTo>
                    <a:pt x="16" y="213"/>
                  </a:lnTo>
                  <a:lnTo>
                    <a:pt x="17" y="214"/>
                  </a:lnTo>
                  <a:lnTo>
                    <a:pt x="17" y="214"/>
                  </a:lnTo>
                  <a:lnTo>
                    <a:pt x="18" y="214"/>
                  </a:lnTo>
                  <a:lnTo>
                    <a:pt x="19" y="214"/>
                  </a:lnTo>
                  <a:lnTo>
                    <a:pt x="20" y="214"/>
                  </a:lnTo>
                  <a:lnTo>
                    <a:pt x="20" y="214"/>
                  </a:lnTo>
                  <a:lnTo>
                    <a:pt x="21" y="214"/>
                  </a:lnTo>
                  <a:lnTo>
                    <a:pt x="22" y="214"/>
                  </a:lnTo>
                  <a:lnTo>
                    <a:pt x="22" y="213"/>
                  </a:lnTo>
                  <a:lnTo>
                    <a:pt x="23" y="213"/>
                  </a:lnTo>
                  <a:lnTo>
                    <a:pt x="23" y="213"/>
                  </a:lnTo>
                  <a:lnTo>
                    <a:pt x="24" y="212"/>
                  </a:lnTo>
                  <a:lnTo>
                    <a:pt x="24" y="212"/>
                  </a:lnTo>
                  <a:lnTo>
                    <a:pt x="24" y="211"/>
                  </a:lnTo>
                  <a:lnTo>
                    <a:pt x="25" y="210"/>
                  </a:lnTo>
                  <a:lnTo>
                    <a:pt x="26" y="207"/>
                  </a:lnTo>
                  <a:lnTo>
                    <a:pt x="26" y="206"/>
                  </a:lnTo>
                  <a:lnTo>
                    <a:pt x="27" y="205"/>
                  </a:lnTo>
                  <a:lnTo>
                    <a:pt x="28" y="204"/>
                  </a:lnTo>
                  <a:lnTo>
                    <a:pt x="28" y="204"/>
                  </a:lnTo>
                  <a:lnTo>
                    <a:pt x="29" y="202"/>
                  </a:lnTo>
                  <a:lnTo>
                    <a:pt x="31" y="201"/>
                  </a:lnTo>
                  <a:lnTo>
                    <a:pt x="32" y="200"/>
                  </a:lnTo>
                  <a:lnTo>
                    <a:pt x="35" y="198"/>
                  </a:lnTo>
                  <a:lnTo>
                    <a:pt x="36" y="197"/>
                  </a:lnTo>
                  <a:lnTo>
                    <a:pt x="37" y="196"/>
                  </a:lnTo>
                  <a:lnTo>
                    <a:pt x="38" y="196"/>
                  </a:lnTo>
                  <a:lnTo>
                    <a:pt x="38" y="195"/>
                  </a:lnTo>
                  <a:lnTo>
                    <a:pt x="39" y="195"/>
                  </a:lnTo>
                  <a:lnTo>
                    <a:pt x="40" y="193"/>
                  </a:lnTo>
                  <a:lnTo>
                    <a:pt x="40" y="192"/>
                  </a:lnTo>
                  <a:lnTo>
                    <a:pt x="41" y="191"/>
                  </a:lnTo>
                  <a:lnTo>
                    <a:pt x="41" y="188"/>
                  </a:lnTo>
                  <a:lnTo>
                    <a:pt x="42" y="187"/>
                  </a:lnTo>
                  <a:lnTo>
                    <a:pt x="42" y="186"/>
                  </a:lnTo>
                  <a:lnTo>
                    <a:pt x="42" y="186"/>
                  </a:lnTo>
                  <a:lnTo>
                    <a:pt x="42" y="186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4" y="185"/>
                  </a:lnTo>
                  <a:lnTo>
                    <a:pt x="45" y="186"/>
                  </a:lnTo>
                  <a:lnTo>
                    <a:pt x="45" y="186"/>
                  </a:lnTo>
                  <a:lnTo>
                    <a:pt x="46" y="186"/>
                  </a:lnTo>
                  <a:lnTo>
                    <a:pt x="46" y="186"/>
                  </a:lnTo>
                  <a:lnTo>
                    <a:pt x="46" y="187"/>
                  </a:lnTo>
                  <a:lnTo>
                    <a:pt x="48" y="188"/>
                  </a:lnTo>
                  <a:lnTo>
                    <a:pt x="49" y="190"/>
                  </a:lnTo>
                  <a:lnTo>
                    <a:pt x="50" y="191"/>
                  </a:lnTo>
                  <a:lnTo>
                    <a:pt x="52" y="195"/>
                  </a:lnTo>
                  <a:lnTo>
                    <a:pt x="53" y="196"/>
                  </a:lnTo>
                  <a:lnTo>
                    <a:pt x="54" y="197"/>
                  </a:lnTo>
                  <a:lnTo>
                    <a:pt x="55" y="198"/>
                  </a:lnTo>
                  <a:lnTo>
                    <a:pt x="55" y="199"/>
                  </a:lnTo>
                  <a:lnTo>
                    <a:pt x="57" y="200"/>
                  </a:lnTo>
                  <a:lnTo>
                    <a:pt x="58" y="201"/>
                  </a:lnTo>
                  <a:lnTo>
                    <a:pt x="59" y="201"/>
                  </a:lnTo>
                  <a:lnTo>
                    <a:pt x="60" y="201"/>
                  </a:lnTo>
                  <a:lnTo>
                    <a:pt x="62" y="202"/>
                  </a:lnTo>
                  <a:lnTo>
                    <a:pt x="64" y="203"/>
                  </a:lnTo>
                  <a:lnTo>
                    <a:pt x="65" y="203"/>
                  </a:lnTo>
                  <a:lnTo>
                    <a:pt x="65" y="203"/>
                  </a:lnTo>
                  <a:lnTo>
                    <a:pt x="66" y="203"/>
                  </a:lnTo>
                  <a:lnTo>
                    <a:pt x="66" y="203"/>
                  </a:lnTo>
                  <a:lnTo>
                    <a:pt x="67" y="203"/>
                  </a:lnTo>
                  <a:lnTo>
                    <a:pt x="67" y="203"/>
                  </a:lnTo>
                  <a:lnTo>
                    <a:pt x="68" y="203"/>
                  </a:lnTo>
                  <a:lnTo>
                    <a:pt x="69" y="202"/>
                  </a:lnTo>
                  <a:lnTo>
                    <a:pt x="69" y="202"/>
                  </a:lnTo>
                  <a:lnTo>
                    <a:pt x="70" y="201"/>
                  </a:lnTo>
                  <a:lnTo>
                    <a:pt x="71" y="201"/>
                  </a:lnTo>
                  <a:lnTo>
                    <a:pt x="72" y="199"/>
                  </a:lnTo>
                  <a:lnTo>
                    <a:pt x="76" y="196"/>
                  </a:lnTo>
                  <a:lnTo>
                    <a:pt x="79" y="193"/>
                  </a:lnTo>
                  <a:lnTo>
                    <a:pt x="82" y="190"/>
                  </a:lnTo>
                  <a:lnTo>
                    <a:pt x="83" y="189"/>
                  </a:lnTo>
                  <a:lnTo>
                    <a:pt x="83" y="188"/>
                  </a:lnTo>
                  <a:lnTo>
                    <a:pt x="84" y="188"/>
                  </a:lnTo>
                  <a:lnTo>
                    <a:pt x="84" y="187"/>
                  </a:lnTo>
                  <a:lnTo>
                    <a:pt x="84" y="186"/>
                  </a:lnTo>
                  <a:lnTo>
                    <a:pt x="84" y="185"/>
                  </a:lnTo>
                  <a:lnTo>
                    <a:pt x="84" y="183"/>
                  </a:lnTo>
                  <a:lnTo>
                    <a:pt x="84" y="182"/>
                  </a:lnTo>
                  <a:lnTo>
                    <a:pt x="85" y="181"/>
                  </a:lnTo>
                  <a:lnTo>
                    <a:pt x="85" y="181"/>
                  </a:lnTo>
                  <a:lnTo>
                    <a:pt x="85" y="180"/>
                  </a:lnTo>
                  <a:lnTo>
                    <a:pt x="86" y="179"/>
                  </a:lnTo>
                  <a:lnTo>
                    <a:pt x="87" y="177"/>
                  </a:lnTo>
                  <a:lnTo>
                    <a:pt x="88" y="175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3"/>
                  </a:lnTo>
                  <a:lnTo>
                    <a:pt x="89" y="172"/>
                  </a:lnTo>
                  <a:lnTo>
                    <a:pt x="90" y="171"/>
                  </a:lnTo>
                  <a:lnTo>
                    <a:pt x="90" y="170"/>
                  </a:lnTo>
                  <a:lnTo>
                    <a:pt x="90" y="170"/>
                  </a:lnTo>
                  <a:lnTo>
                    <a:pt x="90" y="168"/>
                  </a:lnTo>
                  <a:lnTo>
                    <a:pt x="90" y="166"/>
                  </a:lnTo>
                  <a:lnTo>
                    <a:pt x="89" y="163"/>
                  </a:lnTo>
                  <a:lnTo>
                    <a:pt x="89" y="162"/>
                  </a:lnTo>
                  <a:lnTo>
                    <a:pt x="89" y="161"/>
                  </a:lnTo>
                  <a:lnTo>
                    <a:pt x="89" y="160"/>
                  </a:lnTo>
                  <a:lnTo>
                    <a:pt x="89" y="160"/>
                  </a:lnTo>
                  <a:lnTo>
                    <a:pt x="90" y="159"/>
                  </a:lnTo>
                  <a:lnTo>
                    <a:pt x="90" y="159"/>
                  </a:lnTo>
                  <a:lnTo>
                    <a:pt x="91" y="158"/>
                  </a:lnTo>
                  <a:lnTo>
                    <a:pt x="91" y="157"/>
                  </a:lnTo>
                  <a:lnTo>
                    <a:pt x="92" y="157"/>
                  </a:lnTo>
                  <a:lnTo>
                    <a:pt x="92" y="157"/>
                  </a:lnTo>
                  <a:lnTo>
                    <a:pt x="93" y="156"/>
                  </a:lnTo>
                  <a:lnTo>
                    <a:pt x="94" y="156"/>
                  </a:lnTo>
                  <a:lnTo>
                    <a:pt x="95" y="156"/>
                  </a:lnTo>
                  <a:lnTo>
                    <a:pt x="96" y="155"/>
                  </a:lnTo>
                  <a:lnTo>
                    <a:pt x="97" y="155"/>
                  </a:lnTo>
                  <a:lnTo>
                    <a:pt x="98" y="155"/>
                  </a:lnTo>
                  <a:lnTo>
                    <a:pt x="100" y="155"/>
                  </a:lnTo>
                  <a:lnTo>
                    <a:pt x="105" y="155"/>
                  </a:lnTo>
                  <a:lnTo>
                    <a:pt x="107" y="155"/>
                  </a:lnTo>
                  <a:lnTo>
                    <a:pt x="109" y="155"/>
                  </a:lnTo>
                  <a:lnTo>
                    <a:pt x="110" y="154"/>
                  </a:lnTo>
                  <a:lnTo>
                    <a:pt x="112" y="154"/>
                  </a:lnTo>
                  <a:lnTo>
                    <a:pt x="113" y="153"/>
                  </a:lnTo>
                  <a:lnTo>
                    <a:pt x="114" y="153"/>
                  </a:lnTo>
                  <a:lnTo>
                    <a:pt x="115" y="152"/>
                  </a:lnTo>
                  <a:lnTo>
                    <a:pt x="117" y="151"/>
                  </a:lnTo>
                  <a:lnTo>
                    <a:pt x="118" y="151"/>
                  </a:lnTo>
                  <a:lnTo>
                    <a:pt x="119" y="150"/>
                  </a:lnTo>
                  <a:lnTo>
                    <a:pt x="121" y="149"/>
                  </a:lnTo>
                  <a:lnTo>
                    <a:pt x="122" y="149"/>
                  </a:lnTo>
                  <a:lnTo>
                    <a:pt x="123" y="148"/>
                  </a:lnTo>
                  <a:lnTo>
                    <a:pt x="124" y="148"/>
                  </a:lnTo>
                  <a:lnTo>
                    <a:pt x="125" y="148"/>
                  </a:lnTo>
                  <a:lnTo>
                    <a:pt x="126" y="148"/>
                  </a:lnTo>
                  <a:lnTo>
                    <a:pt x="127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9" y="149"/>
                  </a:lnTo>
                  <a:lnTo>
                    <a:pt x="130" y="149"/>
                  </a:lnTo>
                  <a:lnTo>
                    <a:pt x="133" y="151"/>
                  </a:lnTo>
                  <a:lnTo>
                    <a:pt x="135" y="151"/>
                  </a:lnTo>
                  <a:lnTo>
                    <a:pt x="136" y="151"/>
                  </a:lnTo>
                  <a:lnTo>
                    <a:pt x="136" y="152"/>
                  </a:lnTo>
                  <a:lnTo>
                    <a:pt x="137" y="152"/>
                  </a:lnTo>
                  <a:lnTo>
                    <a:pt x="138" y="152"/>
                  </a:lnTo>
                  <a:lnTo>
                    <a:pt x="138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40" y="151"/>
                  </a:lnTo>
                  <a:lnTo>
                    <a:pt x="141" y="151"/>
                  </a:lnTo>
                  <a:lnTo>
                    <a:pt x="142" y="150"/>
                  </a:lnTo>
                  <a:lnTo>
                    <a:pt x="144" y="149"/>
                  </a:lnTo>
                  <a:lnTo>
                    <a:pt x="145" y="149"/>
                  </a:lnTo>
                  <a:lnTo>
                    <a:pt x="146" y="148"/>
                  </a:lnTo>
                  <a:lnTo>
                    <a:pt x="147" y="148"/>
                  </a:lnTo>
                  <a:lnTo>
                    <a:pt x="151" y="148"/>
                  </a:lnTo>
                  <a:lnTo>
                    <a:pt x="155" y="147"/>
                  </a:lnTo>
                  <a:lnTo>
                    <a:pt x="156" y="147"/>
                  </a:lnTo>
                  <a:lnTo>
                    <a:pt x="157" y="147"/>
                  </a:lnTo>
                  <a:lnTo>
                    <a:pt x="160" y="147"/>
                  </a:lnTo>
                  <a:lnTo>
                    <a:pt x="161" y="147"/>
                  </a:lnTo>
                  <a:lnTo>
                    <a:pt x="163" y="147"/>
                  </a:lnTo>
                  <a:lnTo>
                    <a:pt x="165" y="147"/>
                  </a:lnTo>
                  <a:lnTo>
                    <a:pt x="167" y="147"/>
                  </a:lnTo>
                  <a:lnTo>
                    <a:pt x="168" y="147"/>
                  </a:lnTo>
                  <a:lnTo>
                    <a:pt x="169" y="148"/>
                  </a:lnTo>
                  <a:lnTo>
                    <a:pt x="172" y="149"/>
                  </a:lnTo>
                  <a:lnTo>
                    <a:pt x="173" y="149"/>
                  </a:lnTo>
                  <a:lnTo>
                    <a:pt x="174" y="149"/>
                  </a:lnTo>
                  <a:lnTo>
                    <a:pt x="176" y="150"/>
                  </a:lnTo>
                  <a:lnTo>
                    <a:pt x="177" y="150"/>
                  </a:lnTo>
                  <a:lnTo>
                    <a:pt x="179" y="150"/>
                  </a:lnTo>
                  <a:lnTo>
                    <a:pt x="180" y="149"/>
                  </a:lnTo>
                  <a:lnTo>
                    <a:pt x="181" y="149"/>
                  </a:lnTo>
                  <a:lnTo>
                    <a:pt x="182" y="149"/>
                  </a:lnTo>
                  <a:lnTo>
                    <a:pt x="183" y="148"/>
                  </a:lnTo>
                  <a:lnTo>
                    <a:pt x="184" y="147"/>
                  </a:lnTo>
                  <a:lnTo>
                    <a:pt x="186" y="146"/>
                  </a:lnTo>
                  <a:lnTo>
                    <a:pt x="187" y="145"/>
                  </a:lnTo>
                  <a:lnTo>
                    <a:pt x="188" y="145"/>
                  </a:lnTo>
                  <a:lnTo>
                    <a:pt x="191" y="144"/>
                  </a:lnTo>
                  <a:lnTo>
                    <a:pt x="191" y="143"/>
                  </a:lnTo>
                  <a:lnTo>
                    <a:pt x="192" y="143"/>
                  </a:lnTo>
                  <a:lnTo>
                    <a:pt x="192" y="143"/>
                  </a:lnTo>
                  <a:lnTo>
                    <a:pt x="193" y="142"/>
                  </a:lnTo>
                  <a:lnTo>
                    <a:pt x="194" y="142"/>
                  </a:lnTo>
                  <a:lnTo>
                    <a:pt x="194" y="141"/>
                  </a:lnTo>
                  <a:lnTo>
                    <a:pt x="195" y="140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6"/>
                  </a:lnTo>
                  <a:lnTo>
                    <a:pt x="195" y="133"/>
                  </a:lnTo>
                  <a:lnTo>
                    <a:pt x="195" y="132"/>
                  </a:lnTo>
                  <a:lnTo>
                    <a:pt x="195" y="130"/>
                  </a:lnTo>
                  <a:lnTo>
                    <a:pt x="195" y="129"/>
                  </a:lnTo>
                  <a:lnTo>
                    <a:pt x="195" y="128"/>
                  </a:lnTo>
                  <a:lnTo>
                    <a:pt x="196" y="127"/>
                  </a:lnTo>
                  <a:lnTo>
                    <a:pt x="196" y="126"/>
                  </a:lnTo>
                  <a:lnTo>
                    <a:pt x="196" y="125"/>
                  </a:lnTo>
                  <a:lnTo>
                    <a:pt x="197" y="124"/>
                  </a:lnTo>
                  <a:lnTo>
                    <a:pt x="197" y="124"/>
                  </a:lnTo>
                  <a:lnTo>
                    <a:pt x="197" y="123"/>
                  </a:lnTo>
                  <a:lnTo>
                    <a:pt x="198" y="123"/>
                  </a:lnTo>
                  <a:lnTo>
                    <a:pt x="198" y="122"/>
                  </a:lnTo>
                  <a:lnTo>
                    <a:pt x="199" y="122"/>
                  </a:lnTo>
                  <a:lnTo>
                    <a:pt x="199" y="122"/>
                  </a:lnTo>
                  <a:lnTo>
                    <a:pt x="200" y="121"/>
                  </a:lnTo>
                  <a:lnTo>
                    <a:pt x="201" y="121"/>
                  </a:lnTo>
                  <a:lnTo>
                    <a:pt x="204" y="120"/>
                  </a:lnTo>
                  <a:lnTo>
                    <a:pt x="205" y="120"/>
                  </a:lnTo>
                  <a:lnTo>
                    <a:pt x="207" y="119"/>
                  </a:lnTo>
                  <a:lnTo>
                    <a:pt x="208" y="119"/>
                  </a:lnTo>
                  <a:lnTo>
                    <a:pt x="210" y="118"/>
                  </a:lnTo>
                  <a:lnTo>
                    <a:pt x="211" y="117"/>
                  </a:lnTo>
                  <a:lnTo>
                    <a:pt x="212" y="116"/>
                  </a:lnTo>
                  <a:lnTo>
                    <a:pt x="214" y="114"/>
                  </a:lnTo>
                  <a:lnTo>
                    <a:pt x="215" y="113"/>
                  </a:lnTo>
                  <a:lnTo>
                    <a:pt x="216" y="113"/>
                  </a:lnTo>
                  <a:lnTo>
                    <a:pt x="218" y="112"/>
                  </a:lnTo>
                  <a:lnTo>
                    <a:pt x="219" y="111"/>
                  </a:lnTo>
                  <a:lnTo>
                    <a:pt x="221" y="110"/>
                  </a:lnTo>
                  <a:lnTo>
                    <a:pt x="222" y="110"/>
                  </a:lnTo>
                  <a:lnTo>
                    <a:pt x="223" y="110"/>
                  </a:lnTo>
                  <a:lnTo>
                    <a:pt x="224" y="110"/>
                  </a:lnTo>
                  <a:lnTo>
                    <a:pt x="225" y="110"/>
                  </a:lnTo>
                  <a:lnTo>
                    <a:pt x="226" y="110"/>
                  </a:lnTo>
                  <a:lnTo>
                    <a:pt x="227" y="110"/>
                  </a:lnTo>
                  <a:lnTo>
                    <a:pt x="229" y="111"/>
                  </a:lnTo>
                  <a:lnTo>
                    <a:pt x="232" y="112"/>
                  </a:lnTo>
                  <a:lnTo>
                    <a:pt x="234" y="113"/>
                  </a:lnTo>
                  <a:lnTo>
                    <a:pt x="235" y="113"/>
                  </a:lnTo>
                  <a:lnTo>
                    <a:pt x="236" y="113"/>
                  </a:lnTo>
                  <a:lnTo>
                    <a:pt x="237" y="113"/>
                  </a:lnTo>
                  <a:lnTo>
                    <a:pt x="240" y="112"/>
                  </a:lnTo>
                  <a:lnTo>
                    <a:pt x="244" y="112"/>
                  </a:lnTo>
                  <a:lnTo>
                    <a:pt x="244" y="111"/>
                  </a:lnTo>
                  <a:lnTo>
                    <a:pt x="245" y="111"/>
                  </a:lnTo>
                  <a:lnTo>
                    <a:pt x="247" y="111"/>
                  </a:lnTo>
                  <a:lnTo>
                    <a:pt x="248" y="110"/>
                  </a:lnTo>
                  <a:lnTo>
                    <a:pt x="249" y="109"/>
                  </a:lnTo>
                  <a:lnTo>
                    <a:pt x="252" y="107"/>
                  </a:lnTo>
                  <a:lnTo>
                    <a:pt x="253" y="106"/>
                  </a:lnTo>
                  <a:lnTo>
                    <a:pt x="255" y="105"/>
                  </a:lnTo>
                  <a:lnTo>
                    <a:pt x="258" y="104"/>
                  </a:lnTo>
                  <a:lnTo>
                    <a:pt x="265" y="101"/>
                  </a:lnTo>
                  <a:lnTo>
                    <a:pt x="270" y="98"/>
                  </a:lnTo>
                  <a:lnTo>
                    <a:pt x="273" y="97"/>
                  </a:lnTo>
                  <a:lnTo>
                    <a:pt x="275" y="96"/>
                  </a:lnTo>
                  <a:lnTo>
                    <a:pt x="281" y="94"/>
                  </a:lnTo>
                  <a:lnTo>
                    <a:pt x="283" y="94"/>
                  </a:lnTo>
                  <a:lnTo>
                    <a:pt x="285" y="93"/>
                  </a:lnTo>
                  <a:lnTo>
                    <a:pt x="286" y="92"/>
                  </a:lnTo>
                  <a:lnTo>
                    <a:pt x="287" y="92"/>
                  </a:lnTo>
                  <a:lnTo>
                    <a:pt x="288" y="91"/>
                  </a:lnTo>
                  <a:lnTo>
                    <a:pt x="290" y="89"/>
                  </a:lnTo>
                  <a:lnTo>
                    <a:pt x="291" y="88"/>
                  </a:lnTo>
                  <a:lnTo>
                    <a:pt x="292" y="87"/>
                  </a:lnTo>
                  <a:lnTo>
                    <a:pt x="293" y="86"/>
                  </a:lnTo>
                  <a:lnTo>
                    <a:pt x="294" y="85"/>
                  </a:lnTo>
                  <a:lnTo>
                    <a:pt x="295" y="84"/>
                  </a:lnTo>
                  <a:lnTo>
                    <a:pt x="297" y="81"/>
                  </a:lnTo>
                  <a:lnTo>
                    <a:pt x="297" y="80"/>
                  </a:lnTo>
                  <a:lnTo>
                    <a:pt x="297" y="79"/>
                  </a:lnTo>
                  <a:lnTo>
                    <a:pt x="298" y="79"/>
                  </a:lnTo>
                  <a:lnTo>
                    <a:pt x="299" y="78"/>
                  </a:lnTo>
                  <a:lnTo>
                    <a:pt x="300" y="78"/>
                  </a:lnTo>
                  <a:lnTo>
                    <a:pt x="301" y="77"/>
                  </a:lnTo>
                  <a:lnTo>
                    <a:pt x="302" y="76"/>
                  </a:lnTo>
                  <a:lnTo>
                    <a:pt x="304" y="76"/>
                  </a:lnTo>
                  <a:lnTo>
                    <a:pt x="305" y="76"/>
                  </a:lnTo>
                  <a:lnTo>
                    <a:pt x="306" y="76"/>
                  </a:lnTo>
                  <a:lnTo>
                    <a:pt x="307" y="76"/>
                  </a:lnTo>
                  <a:lnTo>
                    <a:pt x="308" y="76"/>
                  </a:lnTo>
                  <a:lnTo>
                    <a:pt x="310" y="76"/>
                  </a:lnTo>
                  <a:lnTo>
                    <a:pt x="312" y="77"/>
                  </a:lnTo>
                  <a:lnTo>
                    <a:pt x="314" y="77"/>
                  </a:lnTo>
                  <a:lnTo>
                    <a:pt x="315" y="77"/>
                  </a:lnTo>
                  <a:lnTo>
                    <a:pt x="316" y="77"/>
                  </a:lnTo>
                  <a:lnTo>
                    <a:pt x="317" y="77"/>
                  </a:lnTo>
                  <a:lnTo>
                    <a:pt x="318" y="77"/>
                  </a:lnTo>
                  <a:lnTo>
                    <a:pt x="320" y="77"/>
                  </a:lnTo>
                  <a:lnTo>
                    <a:pt x="323" y="76"/>
                  </a:lnTo>
                  <a:lnTo>
                    <a:pt x="324" y="76"/>
                  </a:lnTo>
                  <a:lnTo>
                    <a:pt x="325" y="75"/>
                  </a:lnTo>
                  <a:lnTo>
                    <a:pt x="327" y="75"/>
                  </a:lnTo>
                  <a:lnTo>
                    <a:pt x="330" y="74"/>
                  </a:lnTo>
                  <a:lnTo>
                    <a:pt x="331" y="73"/>
                  </a:lnTo>
                  <a:lnTo>
                    <a:pt x="332" y="73"/>
                  </a:lnTo>
                  <a:lnTo>
                    <a:pt x="335" y="72"/>
                  </a:lnTo>
                  <a:lnTo>
                    <a:pt x="336" y="72"/>
                  </a:lnTo>
                  <a:lnTo>
                    <a:pt x="337" y="72"/>
                  </a:lnTo>
                  <a:lnTo>
                    <a:pt x="338" y="71"/>
                  </a:lnTo>
                  <a:lnTo>
                    <a:pt x="338" y="71"/>
                  </a:lnTo>
                  <a:lnTo>
                    <a:pt x="339" y="70"/>
                  </a:lnTo>
                  <a:lnTo>
                    <a:pt x="339" y="70"/>
                  </a:lnTo>
                  <a:lnTo>
                    <a:pt x="340" y="69"/>
                  </a:lnTo>
                  <a:lnTo>
                    <a:pt x="340" y="69"/>
                  </a:lnTo>
                  <a:lnTo>
                    <a:pt x="341" y="68"/>
                  </a:lnTo>
                  <a:lnTo>
                    <a:pt x="341" y="65"/>
                  </a:lnTo>
                  <a:lnTo>
                    <a:pt x="342" y="63"/>
                  </a:lnTo>
                  <a:lnTo>
                    <a:pt x="343" y="61"/>
                  </a:lnTo>
                  <a:lnTo>
                    <a:pt x="343" y="60"/>
                  </a:lnTo>
                  <a:lnTo>
                    <a:pt x="343" y="60"/>
                  </a:lnTo>
                  <a:lnTo>
                    <a:pt x="343" y="59"/>
                  </a:lnTo>
                  <a:lnTo>
                    <a:pt x="343" y="58"/>
                  </a:lnTo>
                  <a:lnTo>
                    <a:pt x="343" y="58"/>
                  </a:lnTo>
                  <a:lnTo>
                    <a:pt x="343" y="57"/>
                  </a:lnTo>
                  <a:lnTo>
                    <a:pt x="342" y="57"/>
                  </a:lnTo>
                  <a:lnTo>
                    <a:pt x="342" y="56"/>
                  </a:lnTo>
                  <a:lnTo>
                    <a:pt x="341" y="55"/>
                  </a:lnTo>
                  <a:lnTo>
                    <a:pt x="341" y="55"/>
                  </a:lnTo>
                  <a:lnTo>
                    <a:pt x="340" y="55"/>
                  </a:lnTo>
                  <a:lnTo>
                    <a:pt x="339" y="54"/>
                  </a:lnTo>
                  <a:lnTo>
                    <a:pt x="338" y="54"/>
                  </a:lnTo>
                  <a:lnTo>
                    <a:pt x="336" y="53"/>
                  </a:lnTo>
                  <a:lnTo>
                    <a:pt x="332" y="51"/>
                  </a:lnTo>
                  <a:lnTo>
                    <a:pt x="330" y="50"/>
                  </a:lnTo>
                  <a:lnTo>
                    <a:pt x="325" y="49"/>
                  </a:lnTo>
                  <a:lnTo>
                    <a:pt x="324" y="48"/>
                  </a:lnTo>
                  <a:lnTo>
                    <a:pt x="323" y="48"/>
                  </a:lnTo>
                  <a:lnTo>
                    <a:pt x="322" y="47"/>
                  </a:lnTo>
                  <a:lnTo>
                    <a:pt x="322" y="47"/>
                  </a:lnTo>
                  <a:lnTo>
                    <a:pt x="321" y="46"/>
                  </a:lnTo>
                  <a:lnTo>
                    <a:pt x="321" y="46"/>
                  </a:lnTo>
                  <a:lnTo>
                    <a:pt x="321" y="45"/>
                  </a:lnTo>
                  <a:lnTo>
                    <a:pt x="320" y="45"/>
                  </a:lnTo>
                  <a:lnTo>
                    <a:pt x="320" y="44"/>
                  </a:lnTo>
                  <a:lnTo>
                    <a:pt x="319" y="43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19" y="41"/>
                  </a:lnTo>
                  <a:lnTo>
                    <a:pt x="319" y="41"/>
                  </a:lnTo>
                  <a:lnTo>
                    <a:pt x="319" y="40"/>
                  </a:lnTo>
                  <a:lnTo>
                    <a:pt x="319" y="40"/>
                  </a:lnTo>
                  <a:lnTo>
                    <a:pt x="320" y="39"/>
                  </a:lnTo>
                  <a:lnTo>
                    <a:pt x="321" y="37"/>
                  </a:lnTo>
                  <a:lnTo>
                    <a:pt x="321" y="37"/>
                  </a:lnTo>
                  <a:lnTo>
                    <a:pt x="321" y="37"/>
                  </a:lnTo>
                  <a:lnTo>
                    <a:pt x="321" y="36"/>
                  </a:lnTo>
                  <a:lnTo>
                    <a:pt x="321" y="36"/>
                  </a:lnTo>
                  <a:lnTo>
                    <a:pt x="321" y="35"/>
                  </a:lnTo>
                  <a:lnTo>
                    <a:pt x="320" y="35"/>
                  </a:lnTo>
                  <a:lnTo>
                    <a:pt x="320" y="35"/>
                  </a:lnTo>
                  <a:lnTo>
                    <a:pt x="320" y="34"/>
                  </a:lnTo>
                  <a:lnTo>
                    <a:pt x="319" y="34"/>
                  </a:lnTo>
                  <a:lnTo>
                    <a:pt x="318" y="34"/>
                  </a:lnTo>
                  <a:lnTo>
                    <a:pt x="317" y="34"/>
                  </a:lnTo>
                  <a:lnTo>
                    <a:pt x="314" y="34"/>
                  </a:lnTo>
                  <a:lnTo>
                    <a:pt x="313" y="34"/>
                  </a:lnTo>
                  <a:lnTo>
                    <a:pt x="312" y="34"/>
                  </a:lnTo>
                  <a:lnTo>
                    <a:pt x="311" y="34"/>
                  </a:lnTo>
                  <a:lnTo>
                    <a:pt x="310" y="33"/>
                  </a:lnTo>
                  <a:lnTo>
                    <a:pt x="309" y="33"/>
                  </a:lnTo>
                  <a:lnTo>
                    <a:pt x="308" y="32"/>
                  </a:lnTo>
                  <a:lnTo>
                    <a:pt x="307" y="32"/>
                  </a:lnTo>
                  <a:lnTo>
                    <a:pt x="307" y="31"/>
                  </a:lnTo>
                  <a:lnTo>
                    <a:pt x="306" y="31"/>
                  </a:lnTo>
                  <a:lnTo>
                    <a:pt x="306" y="30"/>
                  </a:lnTo>
                  <a:lnTo>
                    <a:pt x="306" y="30"/>
                  </a:lnTo>
                  <a:lnTo>
                    <a:pt x="305" y="29"/>
                  </a:lnTo>
                  <a:lnTo>
                    <a:pt x="305" y="28"/>
                  </a:lnTo>
                  <a:lnTo>
                    <a:pt x="305" y="28"/>
                  </a:lnTo>
                  <a:lnTo>
                    <a:pt x="305" y="27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3"/>
                  </a:lnTo>
                  <a:lnTo>
                    <a:pt x="306" y="22"/>
                  </a:lnTo>
                  <a:lnTo>
                    <a:pt x="306" y="21"/>
                  </a:lnTo>
                  <a:lnTo>
                    <a:pt x="307" y="19"/>
                  </a:lnTo>
                  <a:lnTo>
                    <a:pt x="308" y="18"/>
                  </a:lnTo>
                  <a:lnTo>
                    <a:pt x="308" y="17"/>
                  </a:lnTo>
                  <a:lnTo>
                    <a:pt x="309" y="16"/>
                  </a:lnTo>
                  <a:lnTo>
                    <a:pt x="309" y="14"/>
                  </a:lnTo>
                  <a:lnTo>
                    <a:pt x="309" y="13"/>
                  </a:lnTo>
                  <a:lnTo>
                    <a:pt x="310" y="12"/>
                  </a:lnTo>
                  <a:lnTo>
                    <a:pt x="310" y="9"/>
                  </a:lnTo>
                  <a:lnTo>
                    <a:pt x="311" y="8"/>
                  </a:lnTo>
                  <a:lnTo>
                    <a:pt x="311" y="8"/>
                  </a:lnTo>
                  <a:lnTo>
                    <a:pt x="311" y="7"/>
                  </a:lnTo>
                  <a:lnTo>
                    <a:pt x="311" y="6"/>
                  </a:lnTo>
                  <a:lnTo>
                    <a:pt x="312" y="5"/>
                  </a:lnTo>
                  <a:lnTo>
                    <a:pt x="315" y="1"/>
                  </a:lnTo>
                  <a:lnTo>
                    <a:pt x="316" y="0"/>
                  </a:lnTo>
                  <a:lnTo>
                    <a:pt x="317" y="0"/>
                  </a:lnTo>
                  <a:lnTo>
                    <a:pt x="317" y="0"/>
                  </a:lnTo>
                  <a:lnTo>
                    <a:pt x="317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Freeform 56">
              <a:extLst>
                <a:ext uri="{FF2B5EF4-FFF2-40B4-BE49-F238E27FC236}">
                  <a16:creationId xmlns:a16="http://schemas.microsoft.com/office/drawing/2014/main" id="{EB6469A9-CFCB-F88B-71EE-0611DAD71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0" y="2882"/>
              <a:ext cx="376" cy="252"/>
            </a:xfrm>
            <a:custGeom>
              <a:avLst/>
              <a:gdLst>
                <a:gd name="T0" fmla="*/ 210 w 376"/>
                <a:gd name="T1" fmla="*/ 2 h 252"/>
                <a:gd name="T2" fmla="*/ 222 w 376"/>
                <a:gd name="T3" fmla="*/ 11 h 252"/>
                <a:gd name="T4" fmla="*/ 231 w 376"/>
                <a:gd name="T5" fmla="*/ 11 h 252"/>
                <a:gd name="T6" fmla="*/ 240 w 376"/>
                <a:gd name="T7" fmla="*/ 5 h 252"/>
                <a:gd name="T8" fmla="*/ 247 w 376"/>
                <a:gd name="T9" fmla="*/ 16 h 252"/>
                <a:gd name="T10" fmla="*/ 261 w 376"/>
                <a:gd name="T11" fmla="*/ 14 h 252"/>
                <a:gd name="T12" fmla="*/ 274 w 376"/>
                <a:gd name="T13" fmla="*/ 32 h 252"/>
                <a:gd name="T14" fmla="*/ 272 w 376"/>
                <a:gd name="T15" fmla="*/ 55 h 252"/>
                <a:gd name="T16" fmla="*/ 285 w 376"/>
                <a:gd name="T17" fmla="*/ 74 h 252"/>
                <a:gd name="T18" fmla="*/ 300 w 376"/>
                <a:gd name="T19" fmla="*/ 94 h 252"/>
                <a:gd name="T20" fmla="*/ 305 w 376"/>
                <a:gd name="T21" fmla="*/ 111 h 252"/>
                <a:gd name="T22" fmla="*/ 318 w 376"/>
                <a:gd name="T23" fmla="*/ 101 h 252"/>
                <a:gd name="T24" fmla="*/ 342 w 376"/>
                <a:gd name="T25" fmla="*/ 109 h 252"/>
                <a:gd name="T26" fmla="*/ 353 w 376"/>
                <a:gd name="T27" fmla="*/ 122 h 252"/>
                <a:gd name="T28" fmla="*/ 358 w 376"/>
                <a:gd name="T29" fmla="*/ 156 h 252"/>
                <a:gd name="T30" fmla="*/ 363 w 376"/>
                <a:gd name="T31" fmla="*/ 183 h 252"/>
                <a:gd name="T32" fmla="*/ 363 w 376"/>
                <a:gd name="T33" fmla="*/ 202 h 252"/>
                <a:gd name="T34" fmla="*/ 376 w 376"/>
                <a:gd name="T35" fmla="*/ 226 h 252"/>
                <a:gd name="T36" fmla="*/ 365 w 376"/>
                <a:gd name="T37" fmla="*/ 232 h 252"/>
                <a:gd name="T38" fmla="*/ 348 w 376"/>
                <a:gd name="T39" fmla="*/ 233 h 252"/>
                <a:gd name="T40" fmla="*/ 334 w 376"/>
                <a:gd name="T41" fmla="*/ 222 h 252"/>
                <a:gd name="T42" fmla="*/ 322 w 376"/>
                <a:gd name="T43" fmla="*/ 233 h 252"/>
                <a:gd name="T44" fmla="*/ 318 w 376"/>
                <a:gd name="T45" fmla="*/ 247 h 252"/>
                <a:gd name="T46" fmla="*/ 306 w 376"/>
                <a:gd name="T47" fmla="*/ 247 h 252"/>
                <a:gd name="T48" fmla="*/ 299 w 376"/>
                <a:gd name="T49" fmla="*/ 241 h 252"/>
                <a:gd name="T50" fmla="*/ 278 w 376"/>
                <a:gd name="T51" fmla="*/ 232 h 252"/>
                <a:gd name="T52" fmla="*/ 265 w 376"/>
                <a:gd name="T53" fmla="*/ 236 h 252"/>
                <a:gd name="T54" fmla="*/ 250 w 376"/>
                <a:gd name="T55" fmla="*/ 240 h 252"/>
                <a:gd name="T56" fmla="*/ 227 w 376"/>
                <a:gd name="T57" fmla="*/ 227 h 252"/>
                <a:gd name="T58" fmla="*/ 213 w 376"/>
                <a:gd name="T59" fmla="*/ 213 h 252"/>
                <a:gd name="T60" fmla="*/ 192 w 376"/>
                <a:gd name="T61" fmla="*/ 196 h 252"/>
                <a:gd name="T62" fmla="*/ 181 w 376"/>
                <a:gd name="T63" fmla="*/ 197 h 252"/>
                <a:gd name="T64" fmla="*/ 168 w 376"/>
                <a:gd name="T65" fmla="*/ 187 h 252"/>
                <a:gd name="T66" fmla="*/ 162 w 376"/>
                <a:gd name="T67" fmla="*/ 201 h 252"/>
                <a:gd name="T68" fmla="*/ 149 w 376"/>
                <a:gd name="T69" fmla="*/ 211 h 252"/>
                <a:gd name="T70" fmla="*/ 141 w 376"/>
                <a:gd name="T71" fmla="*/ 220 h 252"/>
                <a:gd name="T72" fmla="*/ 121 w 376"/>
                <a:gd name="T73" fmla="*/ 218 h 252"/>
                <a:gd name="T74" fmla="*/ 113 w 376"/>
                <a:gd name="T75" fmla="*/ 234 h 252"/>
                <a:gd name="T76" fmla="*/ 97 w 376"/>
                <a:gd name="T77" fmla="*/ 248 h 252"/>
                <a:gd name="T78" fmla="*/ 74 w 376"/>
                <a:gd name="T79" fmla="*/ 252 h 252"/>
                <a:gd name="T80" fmla="*/ 67 w 376"/>
                <a:gd name="T81" fmla="*/ 241 h 252"/>
                <a:gd name="T82" fmla="*/ 57 w 376"/>
                <a:gd name="T83" fmla="*/ 240 h 252"/>
                <a:gd name="T84" fmla="*/ 44 w 376"/>
                <a:gd name="T85" fmla="*/ 241 h 252"/>
                <a:gd name="T86" fmla="*/ 38 w 376"/>
                <a:gd name="T87" fmla="*/ 234 h 252"/>
                <a:gd name="T88" fmla="*/ 21 w 376"/>
                <a:gd name="T89" fmla="*/ 214 h 252"/>
                <a:gd name="T90" fmla="*/ 6 w 376"/>
                <a:gd name="T91" fmla="*/ 183 h 252"/>
                <a:gd name="T92" fmla="*/ 0 w 376"/>
                <a:gd name="T93" fmla="*/ 163 h 252"/>
                <a:gd name="T94" fmla="*/ 8 w 376"/>
                <a:gd name="T95" fmla="*/ 144 h 252"/>
                <a:gd name="T96" fmla="*/ 21 w 376"/>
                <a:gd name="T97" fmla="*/ 131 h 252"/>
                <a:gd name="T98" fmla="*/ 26 w 376"/>
                <a:gd name="T99" fmla="*/ 117 h 252"/>
                <a:gd name="T100" fmla="*/ 31 w 376"/>
                <a:gd name="T101" fmla="*/ 98 h 252"/>
                <a:gd name="T102" fmla="*/ 45 w 376"/>
                <a:gd name="T103" fmla="*/ 99 h 252"/>
                <a:gd name="T104" fmla="*/ 60 w 376"/>
                <a:gd name="T105" fmla="*/ 102 h 252"/>
                <a:gd name="T106" fmla="*/ 69 w 376"/>
                <a:gd name="T107" fmla="*/ 85 h 252"/>
                <a:gd name="T108" fmla="*/ 92 w 376"/>
                <a:gd name="T109" fmla="*/ 80 h 252"/>
                <a:gd name="T110" fmla="*/ 117 w 376"/>
                <a:gd name="T111" fmla="*/ 91 h 252"/>
                <a:gd name="T112" fmla="*/ 134 w 376"/>
                <a:gd name="T113" fmla="*/ 86 h 252"/>
                <a:gd name="T114" fmla="*/ 153 w 376"/>
                <a:gd name="T115" fmla="*/ 69 h 252"/>
                <a:gd name="T116" fmla="*/ 179 w 376"/>
                <a:gd name="T117" fmla="*/ 72 h 252"/>
                <a:gd name="T118" fmla="*/ 191 w 376"/>
                <a:gd name="T119" fmla="*/ 67 h 252"/>
                <a:gd name="T120" fmla="*/ 194 w 376"/>
                <a:gd name="T121" fmla="*/ 37 h 252"/>
                <a:gd name="T122" fmla="*/ 193 w 376"/>
                <a:gd name="T123" fmla="*/ 19 h 252"/>
                <a:gd name="T124" fmla="*/ 185 w 376"/>
                <a:gd name="T125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6" h="252">
                  <a:moveTo>
                    <a:pt x="198" y="0"/>
                  </a:moveTo>
                  <a:lnTo>
                    <a:pt x="198" y="0"/>
                  </a:lnTo>
                  <a:lnTo>
                    <a:pt x="201" y="1"/>
                  </a:lnTo>
                  <a:lnTo>
                    <a:pt x="201" y="2"/>
                  </a:lnTo>
                  <a:lnTo>
                    <a:pt x="202" y="2"/>
                  </a:lnTo>
                  <a:lnTo>
                    <a:pt x="203" y="2"/>
                  </a:lnTo>
                  <a:lnTo>
                    <a:pt x="204" y="3"/>
                  </a:lnTo>
                  <a:lnTo>
                    <a:pt x="205" y="3"/>
                  </a:lnTo>
                  <a:lnTo>
                    <a:pt x="205" y="3"/>
                  </a:lnTo>
                  <a:lnTo>
                    <a:pt x="206" y="3"/>
                  </a:lnTo>
                  <a:lnTo>
                    <a:pt x="206" y="3"/>
                  </a:lnTo>
                  <a:lnTo>
                    <a:pt x="207" y="2"/>
                  </a:lnTo>
                  <a:lnTo>
                    <a:pt x="209" y="2"/>
                  </a:lnTo>
                  <a:lnTo>
                    <a:pt x="209" y="2"/>
                  </a:lnTo>
                  <a:lnTo>
                    <a:pt x="210" y="2"/>
                  </a:lnTo>
                  <a:lnTo>
                    <a:pt x="211" y="2"/>
                  </a:lnTo>
                  <a:lnTo>
                    <a:pt x="212" y="2"/>
                  </a:lnTo>
                  <a:lnTo>
                    <a:pt x="213" y="2"/>
                  </a:lnTo>
                  <a:lnTo>
                    <a:pt x="217" y="4"/>
                  </a:lnTo>
                  <a:lnTo>
                    <a:pt x="219" y="5"/>
                  </a:lnTo>
                  <a:lnTo>
                    <a:pt x="220" y="5"/>
                  </a:lnTo>
                  <a:lnTo>
                    <a:pt x="220" y="5"/>
                  </a:lnTo>
                  <a:lnTo>
                    <a:pt x="221" y="6"/>
                  </a:lnTo>
                  <a:lnTo>
                    <a:pt x="221" y="6"/>
                  </a:lnTo>
                  <a:lnTo>
                    <a:pt x="221" y="7"/>
                  </a:lnTo>
                  <a:lnTo>
                    <a:pt x="221" y="7"/>
                  </a:lnTo>
                  <a:lnTo>
                    <a:pt x="221" y="9"/>
                  </a:lnTo>
                  <a:lnTo>
                    <a:pt x="221" y="10"/>
                  </a:lnTo>
                  <a:lnTo>
                    <a:pt x="222" y="11"/>
                  </a:lnTo>
                  <a:lnTo>
                    <a:pt x="222" y="11"/>
                  </a:lnTo>
                  <a:lnTo>
                    <a:pt x="223" y="12"/>
                  </a:lnTo>
                  <a:lnTo>
                    <a:pt x="223" y="13"/>
                  </a:lnTo>
                  <a:lnTo>
                    <a:pt x="224" y="13"/>
                  </a:lnTo>
                  <a:lnTo>
                    <a:pt x="225" y="13"/>
                  </a:lnTo>
                  <a:lnTo>
                    <a:pt x="226" y="13"/>
                  </a:lnTo>
                  <a:lnTo>
                    <a:pt x="226" y="14"/>
                  </a:lnTo>
                  <a:lnTo>
                    <a:pt x="227" y="14"/>
                  </a:lnTo>
                  <a:lnTo>
                    <a:pt x="228" y="14"/>
                  </a:lnTo>
                  <a:lnTo>
                    <a:pt x="229" y="13"/>
                  </a:lnTo>
                  <a:lnTo>
                    <a:pt x="229" y="13"/>
                  </a:lnTo>
                  <a:lnTo>
                    <a:pt x="230" y="13"/>
                  </a:lnTo>
                  <a:lnTo>
                    <a:pt x="230" y="13"/>
                  </a:lnTo>
                  <a:lnTo>
                    <a:pt x="230" y="12"/>
                  </a:lnTo>
                  <a:lnTo>
                    <a:pt x="231" y="12"/>
                  </a:lnTo>
                  <a:lnTo>
                    <a:pt x="231" y="11"/>
                  </a:lnTo>
                  <a:lnTo>
                    <a:pt x="232" y="10"/>
                  </a:lnTo>
                  <a:lnTo>
                    <a:pt x="233" y="8"/>
                  </a:lnTo>
                  <a:lnTo>
                    <a:pt x="234" y="7"/>
                  </a:lnTo>
                  <a:lnTo>
                    <a:pt x="235" y="6"/>
                  </a:lnTo>
                  <a:lnTo>
                    <a:pt x="235" y="6"/>
                  </a:lnTo>
                  <a:lnTo>
                    <a:pt x="235" y="5"/>
                  </a:lnTo>
                  <a:lnTo>
                    <a:pt x="236" y="5"/>
                  </a:lnTo>
                  <a:lnTo>
                    <a:pt x="237" y="5"/>
                  </a:lnTo>
                  <a:lnTo>
                    <a:pt x="237" y="5"/>
                  </a:lnTo>
                  <a:lnTo>
                    <a:pt x="238" y="5"/>
                  </a:lnTo>
                  <a:lnTo>
                    <a:pt x="238" y="4"/>
                  </a:lnTo>
                  <a:lnTo>
                    <a:pt x="239" y="4"/>
                  </a:lnTo>
                  <a:lnTo>
                    <a:pt x="239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1" y="6"/>
                  </a:lnTo>
                  <a:lnTo>
                    <a:pt x="241" y="6"/>
                  </a:lnTo>
                  <a:lnTo>
                    <a:pt x="242" y="8"/>
                  </a:lnTo>
                  <a:lnTo>
                    <a:pt x="242" y="9"/>
                  </a:lnTo>
                  <a:lnTo>
                    <a:pt x="243" y="12"/>
                  </a:lnTo>
                  <a:lnTo>
                    <a:pt x="243" y="13"/>
                  </a:lnTo>
                  <a:lnTo>
                    <a:pt x="244" y="14"/>
                  </a:lnTo>
                  <a:lnTo>
                    <a:pt x="244" y="15"/>
                  </a:lnTo>
                  <a:lnTo>
                    <a:pt x="245" y="15"/>
                  </a:lnTo>
                  <a:lnTo>
                    <a:pt x="245" y="16"/>
                  </a:lnTo>
                  <a:lnTo>
                    <a:pt x="246" y="16"/>
                  </a:lnTo>
                  <a:lnTo>
                    <a:pt x="247" y="16"/>
                  </a:lnTo>
                  <a:lnTo>
                    <a:pt x="247" y="16"/>
                  </a:lnTo>
                  <a:lnTo>
                    <a:pt x="248" y="16"/>
                  </a:lnTo>
                  <a:lnTo>
                    <a:pt x="248" y="16"/>
                  </a:lnTo>
                  <a:lnTo>
                    <a:pt x="249" y="16"/>
                  </a:lnTo>
                  <a:lnTo>
                    <a:pt x="251" y="15"/>
                  </a:lnTo>
                  <a:lnTo>
                    <a:pt x="253" y="14"/>
                  </a:lnTo>
                  <a:lnTo>
                    <a:pt x="255" y="13"/>
                  </a:lnTo>
                  <a:lnTo>
                    <a:pt x="256" y="13"/>
                  </a:lnTo>
                  <a:lnTo>
                    <a:pt x="257" y="13"/>
                  </a:lnTo>
                  <a:lnTo>
                    <a:pt x="258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60" y="13"/>
                  </a:lnTo>
                  <a:lnTo>
                    <a:pt x="260" y="13"/>
                  </a:lnTo>
                  <a:lnTo>
                    <a:pt x="261" y="14"/>
                  </a:lnTo>
                  <a:lnTo>
                    <a:pt x="261" y="14"/>
                  </a:lnTo>
                  <a:lnTo>
                    <a:pt x="263" y="16"/>
                  </a:lnTo>
                  <a:lnTo>
                    <a:pt x="264" y="17"/>
                  </a:lnTo>
                  <a:lnTo>
                    <a:pt x="265" y="18"/>
                  </a:lnTo>
                  <a:lnTo>
                    <a:pt x="268" y="19"/>
                  </a:lnTo>
                  <a:lnTo>
                    <a:pt x="269" y="20"/>
                  </a:lnTo>
                  <a:lnTo>
                    <a:pt x="269" y="21"/>
                  </a:lnTo>
                  <a:lnTo>
                    <a:pt x="270" y="21"/>
                  </a:lnTo>
                  <a:lnTo>
                    <a:pt x="271" y="22"/>
                  </a:lnTo>
                  <a:lnTo>
                    <a:pt x="271" y="23"/>
                  </a:lnTo>
                  <a:lnTo>
                    <a:pt x="272" y="24"/>
                  </a:lnTo>
                  <a:lnTo>
                    <a:pt x="274" y="28"/>
                  </a:lnTo>
                  <a:lnTo>
                    <a:pt x="274" y="29"/>
                  </a:lnTo>
                  <a:lnTo>
                    <a:pt x="274" y="31"/>
                  </a:lnTo>
                  <a:lnTo>
                    <a:pt x="274" y="32"/>
                  </a:lnTo>
                  <a:lnTo>
                    <a:pt x="274" y="33"/>
                  </a:lnTo>
                  <a:lnTo>
                    <a:pt x="274" y="34"/>
                  </a:lnTo>
                  <a:lnTo>
                    <a:pt x="274" y="34"/>
                  </a:lnTo>
                  <a:lnTo>
                    <a:pt x="274" y="35"/>
                  </a:lnTo>
                  <a:lnTo>
                    <a:pt x="272" y="40"/>
                  </a:lnTo>
                  <a:lnTo>
                    <a:pt x="271" y="41"/>
                  </a:lnTo>
                  <a:lnTo>
                    <a:pt x="271" y="43"/>
                  </a:lnTo>
                  <a:lnTo>
                    <a:pt x="271" y="44"/>
                  </a:lnTo>
                  <a:lnTo>
                    <a:pt x="271" y="45"/>
                  </a:lnTo>
                  <a:lnTo>
                    <a:pt x="271" y="47"/>
                  </a:lnTo>
                  <a:lnTo>
                    <a:pt x="271" y="48"/>
                  </a:lnTo>
                  <a:lnTo>
                    <a:pt x="271" y="50"/>
                  </a:lnTo>
                  <a:lnTo>
                    <a:pt x="271" y="52"/>
                  </a:lnTo>
                  <a:lnTo>
                    <a:pt x="272" y="53"/>
                  </a:lnTo>
                  <a:lnTo>
                    <a:pt x="272" y="55"/>
                  </a:lnTo>
                  <a:lnTo>
                    <a:pt x="273" y="57"/>
                  </a:lnTo>
                  <a:lnTo>
                    <a:pt x="273" y="59"/>
                  </a:lnTo>
                  <a:lnTo>
                    <a:pt x="274" y="60"/>
                  </a:lnTo>
                  <a:lnTo>
                    <a:pt x="274" y="62"/>
                  </a:lnTo>
                  <a:lnTo>
                    <a:pt x="275" y="64"/>
                  </a:lnTo>
                  <a:lnTo>
                    <a:pt x="277" y="66"/>
                  </a:lnTo>
                  <a:lnTo>
                    <a:pt x="278" y="67"/>
                  </a:lnTo>
                  <a:lnTo>
                    <a:pt x="279" y="69"/>
                  </a:lnTo>
                  <a:lnTo>
                    <a:pt x="280" y="70"/>
                  </a:lnTo>
                  <a:lnTo>
                    <a:pt x="281" y="71"/>
                  </a:lnTo>
                  <a:lnTo>
                    <a:pt x="282" y="72"/>
                  </a:lnTo>
                  <a:lnTo>
                    <a:pt x="282" y="73"/>
                  </a:lnTo>
                  <a:lnTo>
                    <a:pt x="283" y="73"/>
                  </a:lnTo>
                  <a:lnTo>
                    <a:pt x="284" y="74"/>
                  </a:lnTo>
                  <a:lnTo>
                    <a:pt x="285" y="74"/>
                  </a:lnTo>
                  <a:lnTo>
                    <a:pt x="286" y="75"/>
                  </a:lnTo>
                  <a:lnTo>
                    <a:pt x="287" y="76"/>
                  </a:lnTo>
                  <a:lnTo>
                    <a:pt x="291" y="77"/>
                  </a:lnTo>
                  <a:lnTo>
                    <a:pt x="292" y="78"/>
                  </a:lnTo>
                  <a:lnTo>
                    <a:pt x="293" y="78"/>
                  </a:lnTo>
                  <a:lnTo>
                    <a:pt x="294" y="79"/>
                  </a:lnTo>
                  <a:lnTo>
                    <a:pt x="295" y="80"/>
                  </a:lnTo>
                  <a:lnTo>
                    <a:pt x="296" y="81"/>
                  </a:lnTo>
                  <a:lnTo>
                    <a:pt x="297" y="83"/>
                  </a:lnTo>
                  <a:lnTo>
                    <a:pt x="298" y="85"/>
                  </a:lnTo>
                  <a:lnTo>
                    <a:pt x="299" y="86"/>
                  </a:lnTo>
                  <a:lnTo>
                    <a:pt x="299" y="88"/>
                  </a:lnTo>
                  <a:lnTo>
                    <a:pt x="300" y="90"/>
                  </a:lnTo>
                  <a:lnTo>
                    <a:pt x="300" y="92"/>
                  </a:lnTo>
                  <a:lnTo>
                    <a:pt x="300" y="94"/>
                  </a:lnTo>
                  <a:lnTo>
                    <a:pt x="300" y="97"/>
                  </a:lnTo>
                  <a:lnTo>
                    <a:pt x="300" y="102"/>
                  </a:lnTo>
                  <a:lnTo>
                    <a:pt x="300" y="102"/>
                  </a:lnTo>
                  <a:lnTo>
                    <a:pt x="300" y="104"/>
                  </a:lnTo>
                  <a:lnTo>
                    <a:pt x="301" y="106"/>
                  </a:lnTo>
                  <a:lnTo>
                    <a:pt x="301" y="107"/>
                  </a:lnTo>
                  <a:lnTo>
                    <a:pt x="301" y="108"/>
                  </a:lnTo>
                  <a:lnTo>
                    <a:pt x="302" y="109"/>
                  </a:lnTo>
                  <a:lnTo>
                    <a:pt x="302" y="109"/>
                  </a:lnTo>
                  <a:lnTo>
                    <a:pt x="302" y="110"/>
                  </a:lnTo>
                  <a:lnTo>
                    <a:pt x="302" y="110"/>
                  </a:lnTo>
                  <a:lnTo>
                    <a:pt x="303" y="110"/>
                  </a:lnTo>
                  <a:lnTo>
                    <a:pt x="303" y="111"/>
                  </a:lnTo>
                  <a:lnTo>
                    <a:pt x="304" y="111"/>
                  </a:lnTo>
                  <a:lnTo>
                    <a:pt x="305" y="111"/>
                  </a:lnTo>
                  <a:lnTo>
                    <a:pt x="305" y="111"/>
                  </a:lnTo>
                  <a:lnTo>
                    <a:pt x="306" y="111"/>
                  </a:lnTo>
                  <a:lnTo>
                    <a:pt x="307" y="111"/>
                  </a:lnTo>
                  <a:lnTo>
                    <a:pt x="307" y="111"/>
                  </a:lnTo>
                  <a:lnTo>
                    <a:pt x="308" y="110"/>
                  </a:lnTo>
                  <a:lnTo>
                    <a:pt x="308" y="110"/>
                  </a:lnTo>
                  <a:lnTo>
                    <a:pt x="309" y="109"/>
                  </a:lnTo>
                  <a:lnTo>
                    <a:pt x="310" y="109"/>
                  </a:lnTo>
                  <a:lnTo>
                    <a:pt x="311" y="107"/>
                  </a:lnTo>
                  <a:lnTo>
                    <a:pt x="314" y="104"/>
                  </a:lnTo>
                  <a:lnTo>
                    <a:pt x="316" y="103"/>
                  </a:lnTo>
                  <a:lnTo>
                    <a:pt x="317" y="102"/>
                  </a:lnTo>
                  <a:lnTo>
                    <a:pt x="317" y="102"/>
                  </a:lnTo>
                  <a:lnTo>
                    <a:pt x="318" y="101"/>
                  </a:lnTo>
                  <a:lnTo>
                    <a:pt x="318" y="101"/>
                  </a:lnTo>
                  <a:lnTo>
                    <a:pt x="319" y="101"/>
                  </a:lnTo>
                  <a:lnTo>
                    <a:pt x="320" y="101"/>
                  </a:lnTo>
                  <a:lnTo>
                    <a:pt x="320" y="101"/>
                  </a:lnTo>
                  <a:lnTo>
                    <a:pt x="321" y="101"/>
                  </a:lnTo>
                  <a:lnTo>
                    <a:pt x="322" y="101"/>
                  </a:lnTo>
                  <a:lnTo>
                    <a:pt x="322" y="101"/>
                  </a:lnTo>
                  <a:lnTo>
                    <a:pt x="324" y="101"/>
                  </a:lnTo>
                  <a:lnTo>
                    <a:pt x="326" y="102"/>
                  </a:lnTo>
                  <a:lnTo>
                    <a:pt x="327" y="102"/>
                  </a:lnTo>
                  <a:lnTo>
                    <a:pt x="329" y="103"/>
                  </a:lnTo>
                  <a:lnTo>
                    <a:pt x="332" y="105"/>
                  </a:lnTo>
                  <a:lnTo>
                    <a:pt x="334" y="106"/>
                  </a:lnTo>
                  <a:lnTo>
                    <a:pt x="337" y="107"/>
                  </a:lnTo>
                  <a:lnTo>
                    <a:pt x="341" y="108"/>
                  </a:lnTo>
                  <a:lnTo>
                    <a:pt x="342" y="109"/>
                  </a:lnTo>
                  <a:lnTo>
                    <a:pt x="344" y="110"/>
                  </a:lnTo>
                  <a:lnTo>
                    <a:pt x="347" y="111"/>
                  </a:lnTo>
                  <a:lnTo>
                    <a:pt x="347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3"/>
                  </a:lnTo>
                  <a:lnTo>
                    <a:pt x="349" y="114"/>
                  </a:lnTo>
                  <a:lnTo>
                    <a:pt x="349" y="115"/>
                  </a:lnTo>
                  <a:lnTo>
                    <a:pt x="349" y="116"/>
                  </a:lnTo>
                  <a:lnTo>
                    <a:pt x="350" y="117"/>
                  </a:lnTo>
                  <a:lnTo>
                    <a:pt x="351" y="119"/>
                  </a:lnTo>
                  <a:lnTo>
                    <a:pt x="352" y="121"/>
                  </a:lnTo>
                  <a:lnTo>
                    <a:pt x="353" y="122"/>
                  </a:lnTo>
                  <a:lnTo>
                    <a:pt x="355" y="126"/>
                  </a:lnTo>
                  <a:lnTo>
                    <a:pt x="356" y="127"/>
                  </a:lnTo>
                  <a:lnTo>
                    <a:pt x="357" y="129"/>
                  </a:lnTo>
                  <a:lnTo>
                    <a:pt x="357" y="130"/>
                  </a:lnTo>
                  <a:lnTo>
                    <a:pt x="357" y="131"/>
                  </a:lnTo>
                  <a:lnTo>
                    <a:pt x="358" y="131"/>
                  </a:lnTo>
                  <a:lnTo>
                    <a:pt x="358" y="133"/>
                  </a:lnTo>
                  <a:lnTo>
                    <a:pt x="358" y="134"/>
                  </a:lnTo>
                  <a:lnTo>
                    <a:pt x="358" y="136"/>
                  </a:lnTo>
                  <a:lnTo>
                    <a:pt x="357" y="140"/>
                  </a:lnTo>
                  <a:lnTo>
                    <a:pt x="357" y="141"/>
                  </a:lnTo>
                  <a:lnTo>
                    <a:pt x="357" y="142"/>
                  </a:lnTo>
                  <a:lnTo>
                    <a:pt x="357" y="147"/>
                  </a:lnTo>
                  <a:lnTo>
                    <a:pt x="357" y="154"/>
                  </a:lnTo>
                  <a:lnTo>
                    <a:pt x="358" y="156"/>
                  </a:lnTo>
                  <a:lnTo>
                    <a:pt x="358" y="157"/>
                  </a:lnTo>
                  <a:lnTo>
                    <a:pt x="358" y="159"/>
                  </a:lnTo>
                  <a:lnTo>
                    <a:pt x="359" y="162"/>
                  </a:lnTo>
                  <a:lnTo>
                    <a:pt x="359" y="165"/>
                  </a:lnTo>
                  <a:lnTo>
                    <a:pt x="360" y="168"/>
                  </a:lnTo>
                  <a:lnTo>
                    <a:pt x="361" y="170"/>
                  </a:lnTo>
                  <a:lnTo>
                    <a:pt x="361" y="170"/>
                  </a:lnTo>
                  <a:lnTo>
                    <a:pt x="361" y="171"/>
                  </a:lnTo>
                  <a:lnTo>
                    <a:pt x="361" y="174"/>
                  </a:lnTo>
                  <a:lnTo>
                    <a:pt x="361" y="175"/>
                  </a:lnTo>
                  <a:lnTo>
                    <a:pt x="361" y="176"/>
                  </a:lnTo>
                  <a:lnTo>
                    <a:pt x="361" y="177"/>
                  </a:lnTo>
                  <a:lnTo>
                    <a:pt x="361" y="178"/>
                  </a:lnTo>
                  <a:lnTo>
                    <a:pt x="361" y="178"/>
                  </a:lnTo>
                  <a:lnTo>
                    <a:pt x="363" y="183"/>
                  </a:lnTo>
                  <a:lnTo>
                    <a:pt x="365" y="185"/>
                  </a:lnTo>
                  <a:lnTo>
                    <a:pt x="365" y="186"/>
                  </a:lnTo>
                  <a:lnTo>
                    <a:pt x="365" y="187"/>
                  </a:lnTo>
                  <a:lnTo>
                    <a:pt x="365" y="187"/>
                  </a:lnTo>
                  <a:lnTo>
                    <a:pt x="366" y="188"/>
                  </a:lnTo>
                  <a:lnTo>
                    <a:pt x="366" y="189"/>
                  </a:lnTo>
                  <a:lnTo>
                    <a:pt x="366" y="189"/>
                  </a:lnTo>
                  <a:lnTo>
                    <a:pt x="365" y="190"/>
                  </a:lnTo>
                  <a:lnTo>
                    <a:pt x="365" y="191"/>
                  </a:lnTo>
                  <a:lnTo>
                    <a:pt x="364" y="195"/>
                  </a:lnTo>
                  <a:lnTo>
                    <a:pt x="363" y="197"/>
                  </a:lnTo>
                  <a:lnTo>
                    <a:pt x="363" y="199"/>
                  </a:lnTo>
                  <a:lnTo>
                    <a:pt x="363" y="200"/>
                  </a:lnTo>
                  <a:lnTo>
                    <a:pt x="362" y="201"/>
                  </a:lnTo>
                  <a:lnTo>
                    <a:pt x="363" y="202"/>
                  </a:lnTo>
                  <a:lnTo>
                    <a:pt x="363" y="203"/>
                  </a:lnTo>
                  <a:lnTo>
                    <a:pt x="363" y="204"/>
                  </a:lnTo>
                  <a:lnTo>
                    <a:pt x="363" y="204"/>
                  </a:lnTo>
                  <a:lnTo>
                    <a:pt x="365" y="207"/>
                  </a:lnTo>
                  <a:lnTo>
                    <a:pt x="366" y="210"/>
                  </a:lnTo>
                  <a:lnTo>
                    <a:pt x="368" y="214"/>
                  </a:lnTo>
                  <a:lnTo>
                    <a:pt x="368" y="214"/>
                  </a:lnTo>
                  <a:lnTo>
                    <a:pt x="370" y="216"/>
                  </a:lnTo>
                  <a:lnTo>
                    <a:pt x="372" y="220"/>
                  </a:lnTo>
                  <a:lnTo>
                    <a:pt x="374" y="222"/>
                  </a:lnTo>
                  <a:lnTo>
                    <a:pt x="374" y="223"/>
                  </a:lnTo>
                  <a:lnTo>
                    <a:pt x="375" y="224"/>
                  </a:lnTo>
                  <a:lnTo>
                    <a:pt x="375" y="224"/>
                  </a:lnTo>
                  <a:lnTo>
                    <a:pt x="375" y="225"/>
                  </a:lnTo>
                  <a:lnTo>
                    <a:pt x="376" y="226"/>
                  </a:lnTo>
                  <a:lnTo>
                    <a:pt x="376" y="227"/>
                  </a:lnTo>
                  <a:lnTo>
                    <a:pt x="376" y="228"/>
                  </a:lnTo>
                  <a:lnTo>
                    <a:pt x="375" y="228"/>
                  </a:lnTo>
                  <a:lnTo>
                    <a:pt x="375" y="229"/>
                  </a:lnTo>
                  <a:lnTo>
                    <a:pt x="375" y="229"/>
                  </a:lnTo>
                  <a:lnTo>
                    <a:pt x="374" y="229"/>
                  </a:lnTo>
                  <a:lnTo>
                    <a:pt x="374" y="230"/>
                  </a:lnTo>
                  <a:lnTo>
                    <a:pt x="373" y="230"/>
                  </a:lnTo>
                  <a:lnTo>
                    <a:pt x="372" y="231"/>
                  </a:lnTo>
                  <a:lnTo>
                    <a:pt x="371" y="231"/>
                  </a:lnTo>
                  <a:lnTo>
                    <a:pt x="369" y="232"/>
                  </a:lnTo>
                  <a:lnTo>
                    <a:pt x="368" y="232"/>
                  </a:lnTo>
                  <a:lnTo>
                    <a:pt x="367" y="232"/>
                  </a:lnTo>
                  <a:lnTo>
                    <a:pt x="365" y="232"/>
                  </a:lnTo>
                  <a:lnTo>
                    <a:pt x="365" y="232"/>
                  </a:lnTo>
                  <a:lnTo>
                    <a:pt x="364" y="232"/>
                  </a:lnTo>
                  <a:lnTo>
                    <a:pt x="364" y="232"/>
                  </a:lnTo>
                  <a:lnTo>
                    <a:pt x="362" y="232"/>
                  </a:lnTo>
                  <a:lnTo>
                    <a:pt x="361" y="231"/>
                  </a:lnTo>
                  <a:lnTo>
                    <a:pt x="359" y="231"/>
                  </a:lnTo>
                  <a:lnTo>
                    <a:pt x="358" y="231"/>
                  </a:lnTo>
                  <a:lnTo>
                    <a:pt x="357" y="231"/>
                  </a:lnTo>
                  <a:lnTo>
                    <a:pt x="356" y="231"/>
                  </a:lnTo>
                  <a:lnTo>
                    <a:pt x="355" y="232"/>
                  </a:lnTo>
                  <a:lnTo>
                    <a:pt x="352" y="232"/>
                  </a:lnTo>
                  <a:lnTo>
                    <a:pt x="351" y="233"/>
                  </a:lnTo>
                  <a:lnTo>
                    <a:pt x="350" y="233"/>
                  </a:lnTo>
                  <a:lnTo>
                    <a:pt x="350" y="233"/>
                  </a:lnTo>
                  <a:lnTo>
                    <a:pt x="349" y="233"/>
                  </a:lnTo>
                  <a:lnTo>
                    <a:pt x="348" y="233"/>
                  </a:lnTo>
                  <a:lnTo>
                    <a:pt x="347" y="232"/>
                  </a:lnTo>
                  <a:lnTo>
                    <a:pt x="346" y="232"/>
                  </a:lnTo>
                  <a:lnTo>
                    <a:pt x="345" y="231"/>
                  </a:lnTo>
                  <a:lnTo>
                    <a:pt x="343" y="231"/>
                  </a:lnTo>
                  <a:lnTo>
                    <a:pt x="343" y="230"/>
                  </a:lnTo>
                  <a:lnTo>
                    <a:pt x="342" y="229"/>
                  </a:lnTo>
                  <a:lnTo>
                    <a:pt x="341" y="229"/>
                  </a:lnTo>
                  <a:lnTo>
                    <a:pt x="340" y="228"/>
                  </a:lnTo>
                  <a:lnTo>
                    <a:pt x="339" y="226"/>
                  </a:lnTo>
                  <a:lnTo>
                    <a:pt x="337" y="224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6" y="222"/>
                  </a:lnTo>
                  <a:lnTo>
                    <a:pt x="335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3" y="222"/>
                  </a:lnTo>
                  <a:lnTo>
                    <a:pt x="333" y="222"/>
                  </a:lnTo>
                  <a:lnTo>
                    <a:pt x="332" y="223"/>
                  </a:lnTo>
                  <a:lnTo>
                    <a:pt x="332" y="224"/>
                  </a:lnTo>
                  <a:lnTo>
                    <a:pt x="331" y="224"/>
                  </a:lnTo>
                  <a:lnTo>
                    <a:pt x="329" y="226"/>
                  </a:lnTo>
                  <a:lnTo>
                    <a:pt x="327" y="228"/>
                  </a:lnTo>
                  <a:lnTo>
                    <a:pt x="325" y="230"/>
                  </a:lnTo>
                  <a:lnTo>
                    <a:pt x="324" y="230"/>
                  </a:lnTo>
                  <a:lnTo>
                    <a:pt x="323" y="231"/>
                  </a:lnTo>
                  <a:lnTo>
                    <a:pt x="323" y="232"/>
                  </a:lnTo>
                  <a:lnTo>
                    <a:pt x="322" y="233"/>
                  </a:lnTo>
                  <a:lnTo>
                    <a:pt x="322" y="233"/>
                  </a:lnTo>
                  <a:lnTo>
                    <a:pt x="322" y="234"/>
                  </a:lnTo>
                  <a:lnTo>
                    <a:pt x="322" y="235"/>
                  </a:lnTo>
                  <a:lnTo>
                    <a:pt x="322" y="236"/>
                  </a:lnTo>
                  <a:lnTo>
                    <a:pt x="322" y="237"/>
                  </a:lnTo>
                  <a:lnTo>
                    <a:pt x="323" y="240"/>
                  </a:lnTo>
                  <a:lnTo>
                    <a:pt x="323" y="241"/>
                  </a:lnTo>
                  <a:lnTo>
                    <a:pt x="323" y="241"/>
                  </a:lnTo>
                  <a:lnTo>
                    <a:pt x="323" y="242"/>
                  </a:lnTo>
                  <a:lnTo>
                    <a:pt x="322" y="243"/>
                  </a:lnTo>
                  <a:lnTo>
                    <a:pt x="322" y="244"/>
                  </a:lnTo>
                  <a:lnTo>
                    <a:pt x="321" y="245"/>
                  </a:lnTo>
                  <a:lnTo>
                    <a:pt x="321" y="245"/>
                  </a:lnTo>
                  <a:lnTo>
                    <a:pt x="321" y="246"/>
                  </a:lnTo>
                  <a:lnTo>
                    <a:pt x="318" y="247"/>
                  </a:lnTo>
                  <a:lnTo>
                    <a:pt x="318" y="247"/>
                  </a:lnTo>
                  <a:lnTo>
                    <a:pt x="317" y="248"/>
                  </a:lnTo>
                  <a:lnTo>
                    <a:pt x="316" y="248"/>
                  </a:lnTo>
                  <a:lnTo>
                    <a:pt x="315" y="249"/>
                  </a:lnTo>
                  <a:lnTo>
                    <a:pt x="314" y="249"/>
                  </a:lnTo>
                  <a:lnTo>
                    <a:pt x="313" y="249"/>
                  </a:lnTo>
                  <a:lnTo>
                    <a:pt x="312" y="249"/>
                  </a:lnTo>
                  <a:lnTo>
                    <a:pt x="311" y="249"/>
                  </a:lnTo>
                  <a:lnTo>
                    <a:pt x="310" y="249"/>
                  </a:lnTo>
                  <a:lnTo>
                    <a:pt x="310" y="249"/>
                  </a:lnTo>
                  <a:lnTo>
                    <a:pt x="309" y="249"/>
                  </a:lnTo>
                  <a:lnTo>
                    <a:pt x="308" y="249"/>
                  </a:lnTo>
                  <a:lnTo>
                    <a:pt x="308" y="248"/>
                  </a:lnTo>
                  <a:lnTo>
                    <a:pt x="308" y="248"/>
                  </a:lnTo>
                  <a:lnTo>
                    <a:pt x="307" y="248"/>
                  </a:lnTo>
                  <a:lnTo>
                    <a:pt x="306" y="247"/>
                  </a:lnTo>
                  <a:lnTo>
                    <a:pt x="306" y="246"/>
                  </a:lnTo>
                  <a:lnTo>
                    <a:pt x="306" y="246"/>
                  </a:lnTo>
                  <a:lnTo>
                    <a:pt x="305" y="245"/>
                  </a:lnTo>
                  <a:lnTo>
                    <a:pt x="305" y="244"/>
                  </a:lnTo>
                  <a:lnTo>
                    <a:pt x="305" y="243"/>
                  </a:lnTo>
                  <a:lnTo>
                    <a:pt x="304" y="242"/>
                  </a:lnTo>
                  <a:lnTo>
                    <a:pt x="304" y="242"/>
                  </a:lnTo>
                  <a:lnTo>
                    <a:pt x="304" y="241"/>
                  </a:lnTo>
                  <a:lnTo>
                    <a:pt x="303" y="241"/>
                  </a:lnTo>
                  <a:lnTo>
                    <a:pt x="303" y="241"/>
                  </a:lnTo>
                  <a:lnTo>
                    <a:pt x="303" y="240"/>
                  </a:lnTo>
                  <a:lnTo>
                    <a:pt x="302" y="240"/>
                  </a:lnTo>
                  <a:lnTo>
                    <a:pt x="300" y="241"/>
                  </a:lnTo>
                  <a:lnTo>
                    <a:pt x="299" y="241"/>
                  </a:lnTo>
                  <a:lnTo>
                    <a:pt x="299" y="241"/>
                  </a:lnTo>
                  <a:lnTo>
                    <a:pt x="298" y="240"/>
                  </a:lnTo>
                  <a:lnTo>
                    <a:pt x="296" y="240"/>
                  </a:lnTo>
                  <a:lnTo>
                    <a:pt x="294" y="239"/>
                  </a:lnTo>
                  <a:lnTo>
                    <a:pt x="293" y="238"/>
                  </a:lnTo>
                  <a:lnTo>
                    <a:pt x="291" y="237"/>
                  </a:lnTo>
                  <a:lnTo>
                    <a:pt x="290" y="236"/>
                  </a:lnTo>
                  <a:lnTo>
                    <a:pt x="289" y="236"/>
                  </a:lnTo>
                  <a:lnTo>
                    <a:pt x="288" y="236"/>
                  </a:lnTo>
                  <a:lnTo>
                    <a:pt x="287" y="235"/>
                  </a:lnTo>
                  <a:lnTo>
                    <a:pt x="286" y="235"/>
                  </a:lnTo>
                  <a:lnTo>
                    <a:pt x="284" y="235"/>
                  </a:lnTo>
                  <a:lnTo>
                    <a:pt x="283" y="234"/>
                  </a:lnTo>
                  <a:lnTo>
                    <a:pt x="281" y="234"/>
                  </a:lnTo>
                  <a:lnTo>
                    <a:pt x="279" y="233"/>
                  </a:lnTo>
                  <a:lnTo>
                    <a:pt x="278" y="232"/>
                  </a:lnTo>
                  <a:lnTo>
                    <a:pt x="277" y="232"/>
                  </a:lnTo>
                  <a:lnTo>
                    <a:pt x="276" y="231"/>
                  </a:lnTo>
                  <a:lnTo>
                    <a:pt x="275" y="231"/>
                  </a:lnTo>
                  <a:lnTo>
                    <a:pt x="274" y="231"/>
                  </a:lnTo>
                  <a:lnTo>
                    <a:pt x="273" y="231"/>
                  </a:lnTo>
                  <a:lnTo>
                    <a:pt x="272" y="231"/>
                  </a:lnTo>
                  <a:lnTo>
                    <a:pt x="271" y="231"/>
                  </a:lnTo>
                  <a:lnTo>
                    <a:pt x="271" y="231"/>
                  </a:lnTo>
                  <a:lnTo>
                    <a:pt x="270" y="232"/>
                  </a:lnTo>
                  <a:lnTo>
                    <a:pt x="270" y="232"/>
                  </a:lnTo>
                  <a:lnTo>
                    <a:pt x="269" y="232"/>
                  </a:lnTo>
                  <a:lnTo>
                    <a:pt x="269" y="233"/>
                  </a:lnTo>
                  <a:lnTo>
                    <a:pt x="268" y="233"/>
                  </a:lnTo>
                  <a:lnTo>
                    <a:pt x="267" y="234"/>
                  </a:lnTo>
                  <a:lnTo>
                    <a:pt x="265" y="236"/>
                  </a:lnTo>
                  <a:lnTo>
                    <a:pt x="263" y="239"/>
                  </a:lnTo>
                  <a:lnTo>
                    <a:pt x="262" y="240"/>
                  </a:lnTo>
                  <a:lnTo>
                    <a:pt x="261" y="241"/>
                  </a:lnTo>
                  <a:lnTo>
                    <a:pt x="261" y="241"/>
                  </a:lnTo>
                  <a:lnTo>
                    <a:pt x="260" y="242"/>
                  </a:lnTo>
                  <a:lnTo>
                    <a:pt x="259" y="242"/>
                  </a:lnTo>
                  <a:lnTo>
                    <a:pt x="259" y="242"/>
                  </a:lnTo>
                  <a:lnTo>
                    <a:pt x="258" y="242"/>
                  </a:lnTo>
                  <a:lnTo>
                    <a:pt x="257" y="242"/>
                  </a:lnTo>
                  <a:lnTo>
                    <a:pt x="256" y="242"/>
                  </a:lnTo>
                  <a:lnTo>
                    <a:pt x="255" y="242"/>
                  </a:lnTo>
                  <a:lnTo>
                    <a:pt x="255" y="242"/>
                  </a:lnTo>
                  <a:lnTo>
                    <a:pt x="253" y="241"/>
                  </a:lnTo>
                  <a:lnTo>
                    <a:pt x="252" y="241"/>
                  </a:lnTo>
                  <a:lnTo>
                    <a:pt x="250" y="240"/>
                  </a:lnTo>
                  <a:lnTo>
                    <a:pt x="249" y="239"/>
                  </a:lnTo>
                  <a:lnTo>
                    <a:pt x="247" y="239"/>
                  </a:lnTo>
                  <a:lnTo>
                    <a:pt x="246" y="238"/>
                  </a:lnTo>
                  <a:lnTo>
                    <a:pt x="242" y="236"/>
                  </a:lnTo>
                  <a:lnTo>
                    <a:pt x="240" y="235"/>
                  </a:lnTo>
                  <a:lnTo>
                    <a:pt x="238" y="233"/>
                  </a:lnTo>
                  <a:lnTo>
                    <a:pt x="236" y="233"/>
                  </a:lnTo>
                  <a:lnTo>
                    <a:pt x="235" y="232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4" y="230"/>
                  </a:lnTo>
                  <a:lnTo>
                    <a:pt x="233" y="230"/>
                  </a:lnTo>
                  <a:lnTo>
                    <a:pt x="228" y="228"/>
                  </a:lnTo>
                  <a:lnTo>
                    <a:pt x="227" y="227"/>
                  </a:lnTo>
                  <a:lnTo>
                    <a:pt x="225" y="226"/>
                  </a:lnTo>
                  <a:lnTo>
                    <a:pt x="224" y="226"/>
                  </a:lnTo>
                  <a:lnTo>
                    <a:pt x="224" y="225"/>
                  </a:lnTo>
                  <a:lnTo>
                    <a:pt x="223" y="225"/>
                  </a:lnTo>
                  <a:lnTo>
                    <a:pt x="222" y="224"/>
                  </a:lnTo>
                  <a:lnTo>
                    <a:pt x="221" y="224"/>
                  </a:lnTo>
                  <a:lnTo>
                    <a:pt x="221" y="223"/>
                  </a:lnTo>
                  <a:lnTo>
                    <a:pt x="221" y="222"/>
                  </a:lnTo>
                  <a:lnTo>
                    <a:pt x="219" y="219"/>
                  </a:lnTo>
                  <a:lnTo>
                    <a:pt x="218" y="218"/>
                  </a:lnTo>
                  <a:lnTo>
                    <a:pt x="217" y="217"/>
                  </a:lnTo>
                  <a:lnTo>
                    <a:pt x="217" y="216"/>
                  </a:lnTo>
                  <a:lnTo>
                    <a:pt x="216" y="215"/>
                  </a:lnTo>
                  <a:lnTo>
                    <a:pt x="215" y="214"/>
                  </a:lnTo>
                  <a:lnTo>
                    <a:pt x="213" y="213"/>
                  </a:lnTo>
                  <a:lnTo>
                    <a:pt x="212" y="212"/>
                  </a:lnTo>
                  <a:lnTo>
                    <a:pt x="211" y="211"/>
                  </a:lnTo>
                  <a:lnTo>
                    <a:pt x="210" y="211"/>
                  </a:lnTo>
                  <a:lnTo>
                    <a:pt x="209" y="210"/>
                  </a:lnTo>
                  <a:lnTo>
                    <a:pt x="207" y="209"/>
                  </a:lnTo>
                  <a:lnTo>
                    <a:pt x="206" y="209"/>
                  </a:lnTo>
                  <a:lnTo>
                    <a:pt x="205" y="209"/>
                  </a:lnTo>
                  <a:lnTo>
                    <a:pt x="204" y="208"/>
                  </a:lnTo>
                  <a:lnTo>
                    <a:pt x="204" y="208"/>
                  </a:lnTo>
                  <a:lnTo>
                    <a:pt x="203" y="207"/>
                  </a:lnTo>
                  <a:lnTo>
                    <a:pt x="201" y="205"/>
                  </a:lnTo>
                  <a:lnTo>
                    <a:pt x="197" y="201"/>
                  </a:lnTo>
                  <a:lnTo>
                    <a:pt x="195" y="197"/>
                  </a:lnTo>
                  <a:lnTo>
                    <a:pt x="193" y="196"/>
                  </a:lnTo>
                  <a:lnTo>
                    <a:pt x="192" y="196"/>
                  </a:lnTo>
                  <a:lnTo>
                    <a:pt x="192" y="195"/>
                  </a:lnTo>
                  <a:lnTo>
                    <a:pt x="192" y="195"/>
                  </a:lnTo>
                  <a:lnTo>
                    <a:pt x="191" y="195"/>
                  </a:lnTo>
                  <a:lnTo>
                    <a:pt x="190" y="195"/>
                  </a:lnTo>
                  <a:lnTo>
                    <a:pt x="187" y="194"/>
                  </a:lnTo>
                  <a:lnTo>
                    <a:pt x="187" y="194"/>
                  </a:lnTo>
                  <a:lnTo>
                    <a:pt x="186" y="194"/>
                  </a:lnTo>
                  <a:lnTo>
                    <a:pt x="185" y="194"/>
                  </a:lnTo>
                  <a:lnTo>
                    <a:pt x="184" y="195"/>
                  </a:lnTo>
                  <a:lnTo>
                    <a:pt x="184" y="195"/>
                  </a:lnTo>
                  <a:lnTo>
                    <a:pt x="183" y="195"/>
                  </a:lnTo>
                  <a:lnTo>
                    <a:pt x="182" y="196"/>
                  </a:lnTo>
                  <a:lnTo>
                    <a:pt x="181" y="196"/>
                  </a:lnTo>
                  <a:lnTo>
                    <a:pt x="181" y="197"/>
                  </a:lnTo>
                  <a:lnTo>
                    <a:pt x="181" y="197"/>
                  </a:lnTo>
                  <a:lnTo>
                    <a:pt x="180" y="197"/>
                  </a:lnTo>
                  <a:lnTo>
                    <a:pt x="179" y="197"/>
                  </a:lnTo>
                  <a:lnTo>
                    <a:pt x="179" y="196"/>
                  </a:lnTo>
                  <a:lnTo>
                    <a:pt x="178" y="196"/>
                  </a:lnTo>
                  <a:lnTo>
                    <a:pt x="177" y="196"/>
                  </a:lnTo>
                  <a:lnTo>
                    <a:pt x="177" y="195"/>
                  </a:lnTo>
                  <a:lnTo>
                    <a:pt x="176" y="194"/>
                  </a:lnTo>
                  <a:lnTo>
                    <a:pt x="176" y="194"/>
                  </a:lnTo>
                  <a:lnTo>
                    <a:pt x="175" y="193"/>
                  </a:lnTo>
                  <a:lnTo>
                    <a:pt x="173" y="192"/>
                  </a:lnTo>
                  <a:lnTo>
                    <a:pt x="172" y="191"/>
                  </a:lnTo>
                  <a:lnTo>
                    <a:pt x="171" y="190"/>
                  </a:lnTo>
                  <a:lnTo>
                    <a:pt x="169" y="188"/>
                  </a:lnTo>
                  <a:lnTo>
                    <a:pt x="168" y="188"/>
                  </a:lnTo>
                  <a:lnTo>
                    <a:pt x="168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6" y="187"/>
                  </a:lnTo>
                  <a:lnTo>
                    <a:pt x="166" y="187"/>
                  </a:lnTo>
                  <a:lnTo>
                    <a:pt x="166" y="189"/>
                  </a:lnTo>
                  <a:lnTo>
                    <a:pt x="166" y="190"/>
                  </a:lnTo>
                  <a:lnTo>
                    <a:pt x="165" y="191"/>
                  </a:lnTo>
                  <a:lnTo>
                    <a:pt x="164" y="193"/>
                  </a:lnTo>
                  <a:lnTo>
                    <a:pt x="163" y="195"/>
                  </a:lnTo>
                  <a:lnTo>
                    <a:pt x="163" y="196"/>
                  </a:lnTo>
                  <a:lnTo>
                    <a:pt x="163" y="198"/>
                  </a:lnTo>
                  <a:lnTo>
                    <a:pt x="163" y="199"/>
                  </a:lnTo>
                  <a:lnTo>
                    <a:pt x="163" y="200"/>
                  </a:lnTo>
                  <a:lnTo>
                    <a:pt x="162" y="201"/>
                  </a:lnTo>
                  <a:lnTo>
                    <a:pt x="162" y="201"/>
                  </a:lnTo>
                  <a:lnTo>
                    <a:pt x="161" y="202"/>
                  </a:lnTo>
                  <a:lnTo>
                    <a:pt x="161" y="202"/>
                  </a:lnTo>
                  <a:lnTo>
                    <a:pt x="160" y="203"/>
                  </a:lnTo>
                  <a:lnTo>
                    <a:pt x="159" y="203"/>
                  </a:lnTo>
                  <a:lnTo>
                    <a:pt x="155" y="205"/>
                  </a:lnTo>
                  <a:lnTo>
                    <a:pt x="153" y="206"/>
                  </a:lnTo>
                  <a:lnTo>
                    <a:pt x="153" y="207"/>
                  </a:lnTo>
                  <a:lnTo>
                    <a:pt x="151" y="208"/>
                  </a:lnTo>
                  <a:lnTo>
                    <a:pt x="151" y="208"/>
                  </a:lnTo>
                  <a:lnTo>
                    <a:pt x="150" y="209"/>
                  </a:lnTo>
                  <a:lnTo>
                    <a:pt x="149" y="209"/>
                  </a:lnTo>
                  <a:lnTo>
                    <a:pt x="149" y="209"/>
                  </a:lnTo>
                  <a:lnTo>
                    <a:pt x="149" y="210"/>
                  </a:lnTo>
                  <a:lnTo>
                    <a:pt x="149" y="211"/>
                  </a:lnTo>
                  <a:lnTo>
                    <a:pt x="148" y="212"/>
                  </a:lnTo>
                  <a:lnTo>
                    <a:pt x="148" y="214"/>
                  </a:lnTo>
                  <a:lnTo>
                    <a:pt x="148" y="215"/>
                  </a:lnTo>
                  <a:lnTo>
                    <a:pt x="148" y="215"/>
                  </a:lnTo>
                  <a:lnTo>
                    <a:pt x="147" y="216"/>
                  </a:lnTo>
                  <a:lnTo>
                    <a:pt x="147" y="216"/>
                  </a:lnTo>
                  <a:lnTo>
                    <a:pt x="146" y="217"/>
                  </a:lnTo>
                  <a:lnTo>
                    <a:pt x="146" y="218"/>
                  </a:lnTo>
                  <a:lnTo>
                    <a:pt x="145" y="218"/>
                  </a:lnTo>
                  <a:lnTo>
                    <a:pt x="144" y="219"/>
                  </a:lnTo>
                  <a:lnTo>
                    <a:pt x="143" y="219"/>
                  </a:lnTo>
                  <a:lnTo>
                    <a:pt x="143" y="219"/>
                  </a:lnTo>
                  <a:lnTo>
                    <a:pt x="142" y="220"/>
                  </a:lnTo>
                  <a:lnTo>
                    <a:pt x="141" y="220"/>
                  </a:lnTo>
                  <a:lnTo>
                    <a:pt x="141" y="220"/>
                  </a:lnTo>
                  <a:lnTo>
                    <a:pt x="140" y="220"/>
                  </a:lnTo>
                  <a:lnTo>
                    <a:pt x="139" y="220"/>
                  </a:lnTo>
                  <a:lnTo>
                    <a:pt x="139" y="220"/>
                  </a:lnTo>
                  <a:lnTo>
                    <a:pt x="138" y="220"/>
                  </a:lnTo>
                  <a:lnTo>
                    <a:pt x="136" y="220"/>
                  </a:lnTo>
                  <a:lnTo>
                    <a:pt x="133" y="219"/>
                  </a:lnTo>
                  <a:lnTo>
                    <a:pt x="131" y="218"/>
                  </a:lnTo>
                  <a:lnTo>
                    <a:pt x="129" y="218"/>
                  </a:lnTo>
                  <a:lnTo>
                    <a:pt x="127" y="217"/>
                  </a:lnTo>
                  <a:lnTo>
                    <a:pt x="125" y="217"/>
                  </a:lnTo>
                  <a:lnTo>
                    <a:pt x="124" y="217"/>
                  </a:lnTo>
                  <a:lnTo>
                    <a:pt x="123" y="217"/>
                  </a:lnTo>
                  <a:lnTo>
                    <a:pt x="123" y="217"/>
                  </a:lnTo>
                  <a:lnTo>
                    <a:pt x="122" y="218"/>
                  </a:lnTo>
                  <a:lnTo>
                    <a:pt x="121" y="218"/>
                  </a:lnTo>
                  <a:lnTo>
                    <a:pt x="120" y="219"/>
                  </a:lnTo>
                  <a:lnTo>
                    <a:pt x="120" y="219"/>
                  </a:lnTo>
                  <a:lnTo>
                    <a:pt x="119" y="220"/>
                  </a:lnTo>
                  <a:lnTo>
                    <a:pt x="119" y="221"/>
                  </a:lnTo>
                  <a:lnTo>
                    <a:pt x="119" y="222"/>
                  </a:lnTo>
                  <a:lnTo>
                    <a:pt x="119" y="226"/>
                  </a:lnTo>
                  <a:lnTo>
                    <a:pt x="118" y="227"/>
                  </a:lnTo>
                  <a:lnTo>
                    <a:pt x="118" y="228"/>
                  </a:lnTo>
                  <a:lnTo>
                    <a:pt x="118" y="229"/>
                  </a:lnTo>
                  <a:lnTo>
                    <a:pt x="117" y="230"/>
                  </a:lnTo>
                  <a:lnTo>
                    <a:pt x="117" y="231"/>
                  </a:lnTo>
                  <a:lnTo>
                    <a:pt x="116" y="231"/>
                  </a:lnTo>
                  <a:lnTo>
                    <a:pt x="116" y="232"/>
                  </a:lnTo>
                  <a:lnTo>
                    <a:pt x="115" y="233"/>
                  </a:lnTo>
                  <a:lnTo>
                    <a:pt x="113" y="234"/>
                  </a:lnTo>
                  <a:lnTo>
                    <a:pt x="112" y="234"/>
                  </a:lnTo>
                  <a:lnTo>
                    <a:pt x="112" y="235"/>
                  </a:lnTo>
                  <a:lnTo>
                    <a:pt x="111" y="236"/>
                  </a:lnTo>
                  <a:lnTo>
                    <a:pt x="111" y="236"/>
                  </a:lnTo>
                  <a:lnTo>
                    <a:pt x="109" y="239"/>
                  </a:lnTo>
                  <a:lnTo>
                    <a:pt x="108" y="240"/>
                  </a:lnTo>
                  <a:lnTo>
                    <a:pt x="107" y="241"/>
                  </a:lnTo>
                  <a:lnTo>
                    <a:pt x="107" y="242"/>
                  </a:lnTo>
                  <a:lnTo>
                    <a:pt x="105" y="243"/>
                  </a:lnTo>
                  <a:lnTo>
                    <a:pt x="102" y="245"/>
                  </a:lnTo>
                  <a:lnTo>
                    <a:pt x="100" y="248"/>
                  </a:lnTo>
                  <a:lnTo>
                    <a:pt x="99" y="248"/>
                  </a:lnTo>
                  <a:lnTo>
                    <a:pt x="99" y="248"/>
                  </a:lnTo>
                  <a:lnTo>
                    <a:pt x="98" y="248"/>
                  </a:lnTo>
                  <a:lnTo>
                    <a:pt x="97" y="248"/>
                  </a:lnTo>
                  <a:lnTo>
                    <a:pt x="91" y="249"/>
                  </a:lnTo>
                  <a:lnTo>
                    <a:pt x="90" y="249"/>
                  </a:lnTo>
                  <a:lnTo>
                    <a:pt x="88" y="249"/>
                  </a:lnTo>
                  <a:lnTo>
                    <a:pt x="87" y="249"/>
                  </a:lnTo>
                  <a:lnTo>
                    <a:pt x="85" y="249"/>
                  </a:lnTo>
                  <a:lnTo>
                    <a:pt x="84" y="249"/>
                  </a:lnTo>
                  <a:lnTo>
                    <a:pt x="83" y="250"/>
                  </a:lnTo>
                  <a:lnTo>
                    <a:pt x="79" y="251"/>
                  </a:lnTo>
                  <a:lnTo>
                    <a:pt x="78" y="251"/>
                  </a:lnTo>
                  <a:lnTo>
                    <a:pt x="77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5" y="252"/>
                  </a:lnTo>
                  <a:lnTo>
                    <a:pt x="74" y="252"/>
                  </a:lnTo>
                  <a:lnTo>
                    <a:pt x="73" y="252"/>
                  </a:lnTo>
                  <a:lnTo>
                    <a:pt x="72" y="252"/>
                  </a:lnTo>
                  <a:lnTo>
                    <a:pt x="72" y="251"/>
                  </a:lnTo>
                  <a:lnTo>
                    <a:pt x="71" y="251"/>
                  </a:lnTo>
                  <a:lnTo>
                    <a:pt x="71" y="251"/>
                  </a:lnTo>
                  <a:lnTo>
                    <a:pt x="70" y="250"/>
                  </a:lnTo>
                  <a:lnTo>
                    <a:pt x="70" y="250"/>
                  </a:lnTo>
                  <a:lnTo>
                    <a:pt x="69" y="249"/>
                  </a:lnTo>
                  <a:lnTo>
                    <a:pt x="69" y="249"/>
                  </a:lnTo>
                  <a:lnTo>
                    <a:pt x="69" y="248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8" y="244"/>
                  </a:lnTo>
                  <a:lnTo>
                    <a:pt x="67" y="242"/>
                  </a:lnTo>
                  <a:lnTo>
                    <a:pt x="67" y="241"/>
                  </a:lnTo>
                  <a:lnTo>
                    <a:pt x="66" y="240"/>
                  </a:lnTo>
                  <a:lnTo>
                    <a:pt x="66" y="239"/>
                  </a:lnTo>
                  <a:lnTo>
                    <a:pt x="66" y="239"/>
                  </a:lnTo>
                  <a:lnTo>
                    <a:pt x="66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4" y="238"/>
                  </a:lnTo>
                  <a:lnTo>
                    <a:pt x="63" y="238"/>
                  </a:lnTo>
                  <a:lnTo>
                    <a:pt x="62" y="239"/>
                  </a:lnTo>
                  <a:lnTo>
                    <a:pt x="61" y="239"/>
                  </a:lnTo>
                  <a:lnTo>
                    <a:pt x="60" y="239"/>
                  </a:lnTo>
                  <a:lnTo>
                    <a:pt x="59" y="240"/>
                  </a:lnTo>
                  <a:lnTo>
                    <a:pt x="58" y="240"/>
                  </a:lnTo>
                  <a:lnTo>
                    <a:pt x="57" y="240"/>
                  </a:lnTo>
                  <a:lnTo>
                    <a:pt x="57" y="240"/>
                  </a:lnTo>
                  <a:lnTo>
                    <a:pt x="56" y="240"/>
                  </a:lnTo>
                  <a:lnTo>
                    <a:pt x="56" y="240"/>
                  </a:lnTo>
                  <a:lnTo>
                    <a:pt x="55" y="240"/>
                  </a:lnTo>
                  <a:lnTo>
                    <a:pt x="54" y="240"/>
                  </a:lnTo>
                  <a:lnTo>
                    <a:pt x="51" y="239"/>
                  </a:lnTo>
                  <a:lnTo>
                    <a:pt x="51" y="238"/>
                  </a:lnTo>
                  <a:lnTo>
                    <a:pt x="50" y="238"/>
                  </a:lnTo>
                  <a:lnTo>
                    <a:pt x="49" y="238"/>
                  </a:lnTo>
                  <a:lnTo>
                    <a:pt x="48" y="238"/>
                  </a:lnTo>
                  <a:lnTo>
                    <a:pt x="47" y="239"/>
                  </a:lnTo>
                  <a:lnTo>
                    <a:pt x="47" y="239"/>
                  </a:lnTo>
                  <a:lnTo>
                    <a:pt x="45" y="240"/>
                  </a:lnTo>
                  <a:lnTo>
                    <a:pt x="44" y="240"/>
                  </a:lnTo>
                  <a:lnTo>
                    <a:pt x="44" y="241"/>
                  </a:lnTo>
                  <a:lnTo>
                    <a:pt x="43" y="241"/>
                  </a:lnTo>
                  <a:lnTo>
                    <a:pt x="42" y="241"/>
                  </a:lnTo>
                  <a:lnTo>
                    <a:pt x="42" y="241"/>
                  </a:lnTo>
                  <a:lnTo>
                    <a:pt x="42" y="240"/>
                  </a:lnTo>
                  <a:lnTo>
                    <a:pt x="41" y="240"/>
                  </a:lnTo>
                  <a:lnTo>
                    <a:pt x="41" y="240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39" y="236"/>
                  </a:lnTo>
                  <a:lnTo>
                    <a:pt x="38" y="235"/>
                  </a:lnTo>
                  <a:lnTo>
                    <a:pt x="38" y="234"/>
                  </a:lnTo>
                  <a:lnTo>
                    <a:pt x="37" y="233"/>
                  </a:lnTo>
                  <a:lnTo>
                    <a:pt x="36" y="233"/>
                  </a:lnTo>
                  <a:lnTo>
                    <a:pt x="36" y="232"/>
                  </a:lnTo>
                  <a:lnTo>
                    <a:pt x="35" y="231"/>
                  </a:lnTo>
                  <a:lnTo>
                    <a:pt x="33" y="230"/>
                  </a:lnTo>
                  <a:lnTo>
                    <a:pt x="32" y="229"/>
                  </a:lnTo>
                  <a:lnTo>
                    <a:pt x="30" y="227"/>
                  </a:lnTo>
                  <a:lnTo>
                    <a:pt x="29" y="227"/>
                  </a:lnTo>
                  <a:lnTo>
                    <a:pt x="28" y="226"/>
                  </a:lnTo>
                  <a:lnTo>
                    <a:pt x="27" y="225"/>
                  </a:lnTo>
                  <a:lnTo>
                    <a:pt x="27" y="224"/>
                  </a:lnTo>
                  <a:lnTo>
                    <a:pt x="26" y="224"/>
                  </a:lnTo>
                  <a:lnTo>
                    <a:pt x="24" y="220"/>
                  </a:lnTo>
                  <a:lnTo>
                    <a:pt x="22" y="215"/>
                  </a:lnTo>
                  <a:lnTo>
                    <a:pt x="21" y="214"/>
                  </a:lnTo>
                  <a:lnTo>
                    <a:pt x="21" y="214"/>
                  </a:lnTo>
                  <a:lnTo>
                    <a:pt x="18" y="207"/>
                  </a:lnTo>
                  <a:lnTo>
                    <a:pt x="18" y="206"/>
                  </a:lnTo>
                  <a:lnTo>
                    <a:pt x="17" y="204"/>
                  </a:lnTo>
                  <a:lnTo>
                    <a:pt x="16" y="202"/>
                  </a:lnTo>
                  <a:lnTo>
                    <a:pt x="15" y="201"/>
                  </a:lnTo>
                  <a:lnTo>
                    <a:pt x="15" y="200"/>
                  </a:lnTo>
                  <a:lnTo>
                    <a:pt x="13" y="198"/>
                  </a:lnTo>
                  <a:lnTo>
                    <a:pt x="13" y="197"/>
                  </a:lnTo>
                  <a:lnTo>
                    <a:pt x="12" y="195"/>
                  </a:lnTo>
                  <a:lnTo>
                    <a:pt x="11" y="194"/>
                  </a:lnTo>
                  <a:lnTo>
                    <a:pt x="10" y="193"/>
                  </a:lnTo>
                  <a:lnTo>
                    <a:pt x="8" y="189"/>
                  </a:lnTo>
                  <a:lnTo>
                    <a:pt x="7" y="185"/>
                  </a:lnTo>
                  <a:lnTo>
                    <a:pt x="6" y="183"/>
                  </a:lnTo>
                  <a:lnTo>
                    <a:pt x="5" y="182"/>
                  </a:lnTo>
                  <a:lnTo>
                    <a:pt x="5" y="180"/>
                  </a:lnTo>
                  <a:lnTo>
                    <a:pt x="4" y="180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3" y="174"/>
                  </a:lnTo>
                  <a:lnTo>
                    <a:pt x="3" y="171"/>
                  </a:lnTo>
                  <a:lnTo>
                    <a:pt x="2" y="170"/>
                  </a:lnTo>
                  <a:lnTo>
                    <a:pt x="2" y="169"/>
                  </a:lnTo>
                  <a:lnTo>
                    <a:pt x="1" y="167"/>
                  </a:lnTo>
                  <a:lnTo>
                    <a:pt x="1" y="166"/>
                  </a:lnTo>
                  <a:lnTo>
                    <a:pt x="0" y="166"/>
                  </a:lnTo>
                  <a:lnTo>
                    <a:pt x="0" y="165"/>
                  </a:lnTo>
                  <a:lnTo>
                    <a:pt x="0" y="164"/>
                  </a:lnTo>
                  <a:lnTo>
                    <a:pt x="0" y="163"/>
                  </a:lnTo>
                  <a:lnTo>
                    <a:pt x="0" y="162"/>
                  </a:lnTo>
                  <a:lnTo>
                    <a:pt x="1" y="162"/>
                  </a:lnTo>
                  <a:lnTo>
                    <a:pt x="1" y="161"/>
                  </a:lnTo>
                  <a:lnTo>
                    <a:pt x="1" y="161"/>
                  </a:lnTo>
                  <a:lnTo>
                    <a:pt x="2" y="160"/>
                  </a:lnTo>
                  <a:lnTo>
                    <a:pt x="3" y="158"/>
                  </a:lnTo>
                  <a:lnTo>
                    <a:pt x="5" y="155"/>
                  </a:lnTo>
                  <a:lnTo>
                    <a:pt x="5" y="154"/>
                  </a:lnTo>
                  <a:lnTo>
                    <a:pt x="6" y="153"/>
                  </a:lnTo>
                  <a:lnTo>
                    <a:pt x="6" y="152"/>
                  </a:lnTo>
                  <a:lnTo>
                    <a:pt x="6" y="151"/>
                  </a:lnTo>
                  <a:lnTo>
                    <a:pt x="7" y="148"/>
                  </a:lnTo>
                  <a:lnTo>
                    <a:pt x="7" y="147"/>
                  </a:lnTo>
                  <a:lnTo>
                    <a:pt x="7" y="146"/>
                  </a:lnTo>
                  <a:lnTo>
                    <a:pt x="8" y="144"/>
                  </a:lnTo>
                  <a:lnTo>
                    <a:pt x="8" y="143"/>
                  </a:lnTo>
                  <a:lnTo>
                    <a:pt x="9" y="142"/>
                  </a:lnTo>
                  <a:lnTo>
                    <a:pt x="9" y="141"/>
                  </a:lnTo>
                  <a:lnTo>
                    <a:pt x="10" y="140"/>
                  </a:lnTo>
                  <a:lnTo>
                    <a:pt x="10" y="140"/>
                  </a:lnTo>
                  <a:lnTo>
                    <a:pt x="11" y="139"/>
                  </a:lnTo>
                  <a:lnTo>
                    <a:pt x="12" y="138"/>
                  </a:lnTo>
                  <a:lnTo>
                    <a:pt x="15" y="136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9" y="133"/>
                  </a:lnTo>
                  <a:lnTo>
                    <a:pt x="20" y="132"/>
                  </a:lnTo>
                  <a:lnTo>
                    <a:pt x="21" y="132"/>
                  </a:lnTo>
                  <a:lnTo>
                    <a:pt x="21" y="131"/>
                  </a:lnTo>
                  <a:lnTo>
                    <a:pt x="21" y="131"/>
                  </a:lnTo>
                  <a:lnTo>
                    <a:pt x="22" y="131"/>
                  </a:lnTo>
                  <a:lnTo>
                    <a:pt x="22" y="130"/>
                  </a:lnTo>
                  <a:lnTo>
                    <a:pt x="22" y="130"/>
                  </a:lnTo>
                  <a:lnTo>
                    <a:pt x="22" y="128"/>
                  </a:lnTo>
                  <a:lnTo>
                    <a:pt x="22" y="127"/>
                  </a:lnTo>
                  <a:lnTo>
                    <a:pt x="22" y="126"/>
                  </a:lnTo>
                  <a:lnTo>
                    <a:pt x="22" y="125"/>
                  </a:lnTo>
                  <a:lnTo>
                    <a:pt x="23" y="124"/>
                  </a:lnTo>
                  <a:lnTo>
                    <a:pt x="23" y="122"/>
                  </a:lnTo>
                  <a:lnTo>
                    <a:pt x="24" y="121"/>
                  </a:lnTo>
                  <a:lnTo>
                    <a:pt x="24" y="120"/>
                  </a:lnTo>
                  <a:lnTo>
                    <a:pt x="25" y="119"/>
                  </a:lnTo>
                  <a:lnTo>
                    <a:pt x="25" y="118"/>
                  </a:lnTo>
                  <a:lnTo>
                    <a:pt x="26" y="117"/>
                  </a:lnTo>
                  <a:lnTo>
                    <a:pt x="26" y="117"/>
                  </a:lnTo>
                  <a:lnTo>
                    <a:pt x="27" y="116"/>
                  </a:lnTo>
                  <a:lnTo>
                    <a:pt x="29" y="114"/>
                  </a:lnTo>
                  <a:lnTo>
                    <a:pt x="29" y="113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0" y="111"/>
                  </a:lnTo>
                  <a:lnTo>
                    <a:pt x="31" y="110"/>
                  </a:lnTo>
                  <a:lnTo>
                    <a:pt x="31" y="107"/>
                  </a:lnTo>
                  <a:lnTo>
                    <a:pt x="31" y="106"/>
                  </a:lnTo>
                  <a:lnTo>
                    <a:pt x="31" y="105"/>
                  </a:lnTo>
                  <a:lnTo>
                    <a:pt x="31" y="103"/>
                  </a:lnTo>
                  <a:lnTo>
                    <a:pt x="31" y="100"/>
                  </a:lnTo>
                  <a:lnTo>
                    <a:pt x="31" y="99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3" y="97"/>
                  </a:lnTo>
                  <a:lnTo>
                    <a:pt x="35" y="96"/>
                  </a:lnTo>
                  <a:lnTo>
                    <a:pt x="36" y="96"/>
                  </a:lnTo>
                  <a:lnTo>
                    <a:pt x="37" y="96"/>
                  </a:lnTo>
                  <a:lnTo>
                    <a:pt x="37" y="96"/>
                  </a:lnTo>
                  <a:lnTo>
                    <a:pt x="38" y="96"/>
                  </a:lnTo>
                  <a:lnTo>
                    <a:pt x="39" y="96"/>
                  </a:lnTo>
                  <a:lnTo>
                    <a:pt x="40" y="97"/>
                  </a:lnTo>
                  <a:lnTo>
                    <a:pt x="42" y="98"/>
                  </a:lnTo>
                  <a:lnTo>
                    <a:pt x="43" y="98"/>
                  </a:lnTo>
                  <a:lnTo>
                    <a:pt x="45" y="99"/>
                  </a:lnTo>
                  <a:lnTo>
                    <a:pt x="48" y="101"/>
                  </a:lnTo>
                  <a:lnTo>
                    <a:pt x="49" y="102"/>
                  </a:lnTo>
                  <a:lnTo>
                    <a:pt x="51" y="102"/>
                  </a:lnTo>
                  <a:lnTo>
                    <a:pt x="52" y="103"/>
                  </a:lnTo>
                  <a:lnTo>
                    <a:pt x="53" y="103"/>
                  </a:lnTo>
                  <a:lnTo>
                    <a:pt x="54" y="103"/>
                  </a:lnTo>
                  <a:lnTo>
                    <a:pt x="55" y="103"/>
                  </a:lnTo>
                  <a:lnTo>
                    <a:pt x="56" y="103"/>
                  </a:lnTo>
                  <a:lnTo>
                    <a:pt x="56" y="103"/>
                  </a:lnTo>
                  <a:lnTo>
                    <a:pt x="57" y="103"/>
                  </a:lnTo>
                  <a:lnTo>
                    <a:pt x="58" y="103"/>
                  </a:lnTo>
                  <a:lnTo>
                    <a:pt x="59" y="103"/>
                  </a:lnTo>
                  <a:lnTo>
                    <a:pt x="59" y="102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1" y="101"/>
                  </a:lnTo>
                  <a:lnTo>
                    <a:pt x="61" y="101"/>
                  </a:lnTo>
                  <a:lnTo>
                    <a:pt x="61" y="100"/>
                  </a:lnTo>
                  <a:lnTo>
                    <a:pt x="62" y="99"/>
                  </a:lnTo>
                  <a:lnTo>
                    <a:pt x="62" y="99"/>
                  </a:lnTo>
                  <a:lnTo>
                    <a:pt x="63" y="98"/>
                  </a:lnTo>
                  <a:lnTo>
                    <a:pt x="64" y="92"/>
                  </a:lnTo>
                  <a:lnTo>
                    <a:pt x="65" y="91"/>
                  </a:lnTo>
                  <a:lnTo>
                    <a:pt x="65" y="89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7" y="87"/>
                  </a:lnTo>
                  <a:lnTo>
                    <a:pt x="67" y="86"/>
                  </a:lnTo>
                  <a:lnTo>
                    <a:pt x="67" y="86"/>
                  </a:lnTo>
                  <a:lnTo>
                    <a:pt x="69" y="85"/>
                  </a:lnTo>
                  <a:lnTo>
                    <a:pt x="70" y="84"/>
                  </a:lnTo>
                  <a:lnTo>
                    <a:pt x="72" y="83"/>
                  </a:lnTo>
                  <a:lnTo>
                    <a:pt x="74" y="82"/>
                  </a:lnTo>
                  <a:lnTo>
                    <a:pt x="75" y="81"/>
                  </a:lnTo>
                  <a:lnTo>
                    <a:pt x="76" y="80"/>
                  </a:lnTo>
                  <a:lnTo>
                    <a:pt x="78" y="79"/>
                  </a:lnTo>
                  <a:lnTo>
                    <a:pt x="79" y="77"/>
                  </a:lnTo>
                  <a:lnTo>
                    <a:pt x="79" y="77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1" y="76"/>
                  </a:lnTo>
                  <a:lnTo>
                    <a:pt x="86" y="78"/>
                  </a:lnTo>
                  <a:lnTo>
                    <a:pt x="90" y="80"/>
                  </a:lnTo>
                  <a:lnTo>
                    <a:pt x="92" y="80"/>
                  </a:lnTo>
                  <a:lnTo>
                    <a:pt x="95" y="81"/>
                  </a:lnTo>
                  <a:lnTo>
                    <a:pt x="100" y="84"/>
                  </a:lnTo>
                  <a:lnTo>
                    <a:pt x="103" y="85"/>
                  </a:lnTo>
                  <a:lnTo>
                    <a:pt x="104" y="85"/>
                  </a:lnTo>
                  <a:lnTo>
                    <a:pt x="105" y="86"/>
                  </a:lnTo>
                  <a:lnTo>
                    <a:pt x="106" y="87"/>
                  </a:lnTo>
                  <a:lnTo>
                    <a:pt x="108" y="88"/>
                  </a:lnTo>
                  <a:lnTo>
                    <a:pt x="109" y="89"/>
                  </a:lnTo>
                  <a:lnTo>
                    <a:pt x="110" y="89"/>
                  </a:lnTo>
                  <a:lnTo>
                    <a:pt x="110" y="90"/>
                  </a:lnTo>
                  <a:lnTo>
                    <a:pt x="111" y="90"/>
                  </a:lnTo>
                  <a:lnTo>
                    <a:pt x="112" y="90"/>
                  </a:lnTo>
                  <a:lnTo>
                    <a:pt x="113" y="91"/>
                  </a:lnTo>
                  <a:lnTo>
                    <a:pt x="116" y="91"/>
                  </a:lnTo>
                  <a:lnTo>
                    <a:pt x="117" y="91"/>
                  </a:lnTo>
                  <a:lnTo>
                    <a:pt x="121" y="92"/>
                  </a:lnTo>
                  <a:lnTo>
                    <a:pt x="123" y="92"/>
                  </a:lnTo>
                  <a:lnTo>
                    <a:pt x="124" y="92"/>
                  </a:lnTo>
                  <a:lnTo>
                    <a:pt x="125" y="92"/>
                  </a:lnTo>
                  <a:lnTo>
                    <a:pt x="126" y="92"/>
                  </a:lnTo>
                  <a:lnTo>
                    <a:pt x="128" y="92"/>
                  </a:lnTo>
                  <a:lnTo>
                    <a:pt x="129" y="92"/>
                  </a:lnTo>
                  <a:lnTo>
                    <a:pt x="129" y="92"/>
                  </a:lnTo>
                  <a:lnTo>
                    <a:pt x="130" y="91"/>
                  </a:lnTo>
                  <a:lnTo>
                    <a:pt x="131" y="91"/>
                  </a:lnTo>
                  <a:lnTo>
                    <a:pt x="131" y="90"/>
                  </a:lnTo>
                  <a:lnTo>
                    <a:pt x="132" y="90"/>
                  </a:lnTo>
                  <a:lnTo>
                    <a:pt x="133" y="89"/>
                  </a:lnTo>
                  <a:lnTo>
                    <a:pt x="133" y="88"/>
                  </a:lnTo>
                  <a:lnTo>
                    <a:pt x="134" y="86"/>
                  </a:lnTo>
                  <a:lnTo>
                    <a:pt x="136" y="81"/>
                  </a:lnTo>
                  <a:lnTo>
                    <a:pt x="137" y="79"/>
                  </a:lnTo>
                  <a:lnTo>
                    <a:pt x="138" y="77"/>
                  </a:lnTo>
                  <a:lnTo>
                    <a:pt x="139" y="75"/>
                  </a:lnTo>
                  <a:lnTo>
                    <a:pt x="140" y="73"/>
                  </a:lnTo>
                  <a:lnTo>
                    <a:pt x="141" y="73"/>
                  </a:lnTo>
                  <a:lnTo>
                    <a:pt x="141" y="72"/>
                  </a:lnTo>
                  <a:lnTo>
                    <a:pt x="142" y="72"/>
                  </a:lnTo>
                  <a:lnTo>
                    <a:pt x="142" y="71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44" y="70"/>
                  </a:lnTo>
                  <a:lnTo>
                    <a:pt x="145" y="70"/>
                  </a:lnTo>
                  <a:lnTo>
                    <a:pt x="149" y="69"/>
                  </a:lnTo>
                  <a:lnTo>
                    <a:pt x="153" y="69"/>
                  </a:lnTo>
                  <a:lnTo>
                    <a:pt x="154" y="68"/>
                  </a:lnTo>
                  <a:lnTo>
                    <a:pt x="155" y="68"/>
                  </a:lnTo>
                  <a:lnTo>
                    <a:pt x="157" y="69"/>
                  </a:lnTo>
                  <a:lnTo>
                    <a:pt x="159" y="69"/>
                  </a:lnTo>
                  <a:lnTo>
                    <a:pt x="160" y="69"/>
                  </a:lnTo>
                  <a:lnTo>
                    <a:pt x="161" y="69"/>
                  </a:lnTo>
                  <a:lnTo>
                    <a:pt x="164" y="69"/>
                  </a:lnTo>
                  <a:lnTo>
                    <a:pt x="165" y="69"/>
                  </a:lnTo>
                  <a:lnTo>
                    <a:pt x="166" y="69"/>
                  </a:lnTo>
                  <a:lnTo>
                    <a:pt x="167" y="70"/>
                  </a:lnTo>
                  <a:lnTo>
                    <a:pt x="169" y="70"/>
                  </a:lnTo>
                  <a:lnTo>
                    <a:pt x="175" y="72"/>
                  </a:lnTo>
                  <a:lnTo>
                    <a:pt x="177" y="72"/>
                  </a:lnTo>
                  <a:lnTo>
                    <a:pt x="178" y="72"/>
                  </a:lnTo>
                  <a:lnTo>
                    <a:pt x="179" y="72"/>
                  </a:lnTo>
                  <a:lnTo>
                    <a:pt x="180" y="72"/>
                  </a:lnTo>
                  <a:lnTo>
                    <a:pt x="181" y="72"/>
                  </a:lnTo>
                  <a:lnTo>
                    <a:pt x="182" y="72"/>
                  </a:lnTo>
                  <a:lnTo>
                    <a:pt x="183" y="72"/>
                  </a:lnTo>
                  <a:lnTo>
                    <a:pt x="184" y="72"/>
                  </a:lnTo>
                  <a:lnTo>
                    <a:pt x="186" y="71"/>
                  </a:lnTo>
                  <a:lnTo>
                    <a:pt x="187" y="71"/>
                  </a:lnTo>
                  <a:lnTo>
                    <a:pt x="187" y="70"/>
                  </a:lnTo>
                  <a:lnTo>
                    <a:pt x="188" y="70"/>
                  </a:lnTo>
                  <a:lnTo>
                    <a:pt x="189" y="70"/>
                  </a:lnTo>
                  <a:lnTo>
                    <a:pt x="189" y="69"/>
                  </a:lnTo>
                  <a:lnTo>
                    <a:pt x="190" y="69"/>
                  </a:lnTo>
                  <a:lnTo>
                    <a:pt x="190" y="68"/>
                  </a:lnTo>
                  <a:lnTo>
                    <a:pt x="190" y="68"/>
                  </a:lnTo>
                  <a:lnTo>
                    <a:pt x="191" y="67"/>
                  </a:lnTo>
                  <a:lnTo>
                    <a:pt x="191" y="67"/>
                  </a:lnTo>
                  <a:lnTo>
                    <a:pt x="191" y="66"/>
                  </a:lnTo>
                  <a:lnTo>
                    <a:pt x="191" y="65"/>
                  </a:lnTo>
                  <a:lnTo>
                    <a:pt x="191" y="63"/>
                  </a:lnTo>
                  <a:lnTo>
                    <a:pt x="191" y="59"/>
                  </a:lnTo>
                  <a:lnTo>
                    <a:pt x="192" y="54"/>
                  </a:lnTo>
                  <a:lnTo>
                    <a:pt x="192" y="54"/>
                  </a:lnTo>
                  <a:lnTo>
                    <a:pt x="191" y="51"/>
                  </a:lnTo>
                  <a:lnTo>
                    <a:pt x="191" y="49"/>
                  </a:lnTo>
                  <a:lnTo>
                    <a:pt x="191" y="48"/>
                  </a:lnTo>
                  <a:lnTo>
                    <a:pt x="191" y="47"/>
                  </a:lnTo>
                  <a:lnTo>
                    <a:pt x="191" y="46"/>
                  </a:lnTo>
                  <a:lnTo>
                    <a:pt x="192" y="44"/>
                  </a:lnTo>
                  <a:lnTo>
                    <a:pt x="194" y="39"/>
                  </a:lnTo>
                  <a:lnTo>
                    <a:pt x="194" y="37"/>
                  </a:lnTo>
                  <a:lnTo>
                    <a:pt x="195" y="36"/>
                  </a:lnTo>
                  <a:lnTo>
                    <a:pt x="195" y="34"/>
                  </a:lnTo>
                  <a:lnTo>
                    <a:pt x="195" y="32"/>
                  </a:lnTo>
                  <a:lnTo>
                    <a:pt x="196" y="27"/>
                  </a:lnTo>
                  <a:lnTo>
                    <a:pt x="196" y="25"/>
                  </a:lnTo>
                  <a:lnTo>
                    <a:pt x="196" y="24"/>
                  </a:lnTo>
                  <a:lnTo>
                    <a:pt x="196" y="24"/>
                  </a:lnTo>
                  <a:lnTo>
                    <a:pt x="195" y="23"/>
                  </a:lnTo>
                  <a:lnTo>
                    <a:pt x="195" y="22"/>
                  </a:lnTo>
                  <a:lnTo>
                    <a:pt x="195" y="22"/>
                  </a:lnTo>
                  <a:lnTo>
                    <a:pt x="194" y="21"/>
                  </a:lnTo>
                  <a:lnTo>
                    <a:pt x="194" y="20"/>
                  </a:lnTo>
                  <a:lnTo>
                    <a:pt x="194" y="20"/>
                  </a:lnTo>
                  <a:lnTo>
                    <a:pt x="193" y="20"/>
                  </a:lnTo>
                  <a:lnTo>
                    <a:pt x="193" y="19"/>
                  </a:lnTo>
                  <a:lnTo>
                    <a:pt x="192" y="19"/>
                  </a:lnTo>
                  <a:lnTo>
                    <a:pt x="191" y="18"/>
                  </a:lnTo>
                  <a:lnTo>
                    <a:pt x="189" y="18"/>
                  </a:lnTo>
                  <a:lnTo>
                    <a:pt x="188" y="18"/>
                  </a:lnTo>
                  <a:lnTo>
                    <a:pt x="188" y="17"/>
                  </a:lnTo>
                  <a:lnTo>
                    <a:pt x="187" y="17"/>
                  </a:lnTo>
                  <a:lnTo>
                    <a:pt x="186" y="16"/>
                  </a:lnTo>
                  <a:lnTo>
                    <a:pt x="186" y="15"/>
                  </a:lnTo>
                  <a:lnTo>
                    <a:pt x="186" y="15"/>
                  </a:lnTo>
                  <a:lnTo>
                    <a:pt x="185" y="15"/>
                  </a:lnTo>
                  <a:lnTo>
                    <a:pt x="185" y="14"/>
                  </a:lnTo>
                  <a:lnTo>
                    <a:pt x="185" y="13"/>
                  </a:lnTo>
                  <a:lnTo>
                    <a:pt x="185" y="13"/>
                  </a:lnTo>
                  <a:lnTo>
                    <a:pt x="185" y="12"/>
                  </a:lnTo>
                  <a:lnTo>
                    <a:pt x="185" y="12"/>
                  </a:lnTo>
                  <a:lnTo>
                    <a:pt x="186" y="11"/>
                  </a:lnTo>
                  <a:lnTo>
                    <a:pt x="186" y="10"/>
                  </a:lnTo>
                  <a:lnTo>
                    <a:pt x="186" y="9"/>
                  </a:lnTo>
                  <a:lnTo>
                    <a:pt x="187" y="8"/>
                  </a:lnTo>
                  <a:lnTo>
                    <a:pt x="187" y="8"/>
                  </a:lnTo>
                  <a:lnTo>
                    <a:pt x="188" y="7"/>
                  </a:lnTo>
                  <a:lnTo>
                    <a:pt x="189" y="6"/>
                  </a:lnTo>
                  <a:lnTo>
                    <a:pt x="190" y="5"/>
                  </a:lnTo>
                  <a:lnTo>
                    <a:pt x="195" y="2"/>
                  </a:lnTo>
                  <a:lnTo>
                    <a:pt x="196" y="1"/>
                  </a:lnTo>
                  <a:lnTo>
                    <a:pt x="197" y="0"/>
                  </a:lnTo>
                  <a:lnTo>
                    <a:pt x="197" y="0"/>
                  </a:lnTo>
                  <a:lnTo>
                    <a:pt x="198" y="0"/>
                  </a:lnTo>
                  <a:close/>
                </a:path>
              </a:pathLst>
            </a:custGeom>
            <a:solidFill>
              <a:srgbClr val="FFCC29"/>
            </a:solidFill>
            <a:ln w="20638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Freeform 57">
              <a:extLst>
                <a:ext uri="{FF2B5EF4-FFF2-40B4-BE49-F238E27FC236}">
                  <a16:creationId xmlns:a16="http://schemas.microsoft.com/office/drawing/2014/main" id="{CA38D769-7915-E9BE-92CA-A2A2EEEDB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993"/>
              <a:ext cx="436" cy="339"/>
            </a:xfrm>
            <a:custGeom>
              <a:avLst/>
              <a:gdLst>
                <a:gd name="T0" fmla="*/ 170 w 436"/>
                <a:gd name="T1" fmla="*/ 16 h 339"/>
                <a:gd name="T2" fmla="*/ 204 w 436"/>
                <a:gd name="T3" fmla="*/ 13 h 339"/>
                <a:gd name="T4" fmla="*/ 221 w 436"/>
                <a:gd name="T5" fmla="*/ 46 h 339"/>
                <a:gd name="T6" fmla="*/ 247 w 436"/>
                <a:gd name="T7" fmla="*/ 42 h 339"/>
                <a:gd name="T8" fmla="*/ 262 w 436"/>
                <a:gd name="T9" fmla="*/ 61 h 339"/>
                <a:gd name="T10" fmla="*/ 264 w 436"/>
                <a:gd name="T11" fmla="*/ 79 h 339"/>
                <a:gd name="T12" fmla="*/ 283 w 436"/>
                <a:gd name="T13" fmla="*/ 62 h 339"/>
                <a:gd name="T14" fmla="*/ 310 w 436"/>
                <a:gd name="T15" fmla="*/ 62 h 339"/>
                <a:gd name="T16" fmla="*/ 325 w 436"/>
                <a:gd name="T17" fmla="*/ 61 h 339"/>
                <a:gd name="T18" fmla="*/ 345 w 436"/>
                <a:gd name="T19" fmla="*/ 51 h 339"/>
                <a:gd name="T20" fmla="*/ 376 w 436"/>
                <a:gd name="T21" fmla="*/ 69 h 339"/>
                <a:gd name="T22" fmla="*/ 384 w 436"/>
                <a:gd name="T23" fmla="*/ 96 h 339"/>
                <a:gd name="T24" fmla="*/ 367 w 436"/>
                <a:gd name="T25" fmla="*/ 125 h 339"/>
                <a:gd name="T26" fmla="*/ 348 w 436"/>
                <a:gd name="T27" fmla="*/ 134 h 339"/>
                <a:gd name="T28" fmla="*/ 329 w 436"/>
                <a:gd name="T29" fmla="*/ 147 h 339"/>
                <a:gd name="T30" fmla="*/ 322 w 436"/>
                <a:gd name="T31" fmla="*/ 157 h 339"/>
                <a:gd name="T32" fmla="*/ 335 w 436"/>
                <a:gd name="T33" fmla="*/ 173 h 339"/>
                <a:gd name="T34" fmla="*/ 353 w 436"/>
                <a:gd name="T35" fmla="*/ 183 h 339"/>
                <a:gd name="T36" fmla="*/ 372 w 436"/>
                <a:gd name="T37" fmla="*/ 196 h 339"/>
                <a:gd name="T38" fmla="*/ 392 w 436"/>
                <a:gd name="T39" fmla="*/ 212 h 339"/>
                <a:gd name="T40" fmla="*/ 424 w 436"/>
                <a:gd name="T41" fmla="*/ 250 h 339"/>
                <a:gd name="T42" fmla="*/ 436 w 436"/>
                <a:gd name="T43" fmla="*/ 287 h 339"/>
                <a:gd name="T44" fmla="*/ 417 w 436"/>
                <a:gd name="T45" fmla="*/ 283 h 339"/>
                <a:gd name="T46" fmla="*/ 403 w 436"/>
                <a:gd name="T47" fmla="*/ 293 h 339"/>
                <a:gd name="T48" fmla="*/ 372 w 436"/>
                <a:gd name="T49" fmla="*/ 312 h 339"/>
                <a:gd name="T50" fmla="*/ 361 w 436"/>
                <a:gd name="T51" fmla="*/ 328 h 339"/>
                <a:gd name="T52" fmla="*/ 355 w 436"/>
                <a:gd name="T53" fmla="*/ 337 h 339"/>
                <a:gd name="T54" fmla="*/ 332 w 436"/>
                <a:gd name="T55" fmla="*/ 338 h 339"/>
                <a:gd name="T56" fmla="*/ 303 w 436"/>
                <a:gd name="T57" fmla="*/ 327 h 339"/>
                <a:gd name="T58" fmla="*/ 278 w 436"/>
                <a:gd name="T59" fmla="*/ 308 h 339"/>
                <a:gd name="T60" fmla="*/ 261 w 436"/>
                <a:gd name="T61" fmla="*/ 289 h 339"/>
                <a:gd name="T62" fmla="*/ 229 w 436"/>
                <a:gd name="T63" fmla="*/ 290 h 339"/>
                <a:gd name="T64" fmla="*/ 209 w 436"/>
                <a:gd name="T65" fmla="*/ 296 h 339"/>
                <a:gd name="T66" fmla="*/ 198 w 436"/>
                <a:gd name="T67" fmla="*/ 280 h 339"/>
                <a:gd name="T68" fmla="*/ 181 w 436"/>
                <a:gd name="T69" fmla="*/ 297 h 339"/>
                <a:gd name="T70" fmla="*/ 155 w 436"/>
                <a:gd name="T71" fmla="*/ 298 h 339"/>
                <a:gd name="T72" fmla="*/ 136 w 436"/>
                <a:gd name="T73" fmla="*/ 294 h 339"/>
                <a:gd name="T74" fmla="*/ 117 w 436"/>
                <a:gd name="T75" fmla="*/ 308 h 339"/>
                <a:gd name="T76" fmla="*/ 98 w 436"/>
                <a:gd name="T77" fmla="*/ 312 h 339"/>
                <a:gd name="T78" fmla="*/ 90 w 436"/>
                <a:gd name="T79" fmla="*/ 299 h 339"/>
                <a:gd name="T80" fmla="*/ 74 w 436"/>
                <a:gd name="T81" fmla="*/ 286 h 339"/>
                <a:gd name="T82" fmla="*/ 83 w 436"/>
                <a:gd name="T83" fmla="*/ 265 h 339"/>
                <a:gd name="T84" fmla="*/ 78 w 436"/>
                <a:gd name="T85" fmla="*/ 234 h 339"/>
                <a:gd name="T86" fmla="*/ 63 w 436"/>
                <a:gd name="T87" fmla="*/ 227 h 339"/>
                <a:gd name="T88" fmla="*/ 32 w 436"/>
                <a:gd name="T89" fmla="*/ 226 h 339"/>
                <a:gd name="T90" fmla="*/ 22 w 436"/>
                <a:gd name="T91" fmla="*/ 208 h 339"/>
                <a:gd name="T92" fmla="*/ 5 w 436"/>
                <a:gd name="T93" fmla="*/ 200 h 339"/>
                <a:gd name="T94" fmla="*/ 3 w 436"/>
                <a:gd name="T95" fmla="*/ 184 h 339"/>
                <a:gd name="T96" fmla="*/ 11 w 436"/>
                <a:gd name="T97" fmla="*/ 159 h 339"/>
                <a:gd name="T98" fmla="*/ 3 w 436"/>
                <a:gd name="T99" fmla="*/ 131 h 339"/>
                <a:gd name="T100" fmla="*/ 21 w 436"/>
                <a:gd name="T101" fmla="*/ 127 h 339"/>
                <a:gd name="T102" fmla="*/ 43 w 436"/>
                <a:gd name="T103" fmla="*/ 122 h 339"/>
                <a:gd name="T104" fmla="*/ 63 w 436"/>
                <a:gd name="T105" fmla="*/ 125 h 339"/>
                <a:gd name="T106" fmla="*/ 80 w 436"/>
                <a:gd name="T107" fmla="*/ 134 h 339"/>
                <a:gd name="T108" fmla="*/ 96 w 436"/>
                <a:gd name="T109" fmla="*/ 135 h 339"/>
                <a:gd name="T110" fmla="*/ 104 w 436"/>
                <a:gd name="T111" fmla="*/ 115 h 339"/>
                <a:gd name="T112" fmla="*/ 120 w 436"/>
                <a:gd name="T113" fmla="*/ 120 h 339"/>
                <a:gd name="T114" fmla="*/ 142 w 436"/>
                <a:gd name="T115" fmla="*/ 121 h 339"/>
                <a:gd name="T116" fmla="*/ 145 w 436"/>
                <a:gd name="T117" fmla="*/ 105 h 339"/>
                <a:gd name="T118" fmla="*/ 140 w 436"/>
                <a:gd name="T119" fmla="*/ 76 h 339"/>
                <a:gd name="T120" fmla="*/ 132 w 436"/>
                <a:gd name="T121" fmla="*/ 36 h 339"/>
                <a:gd name="T122" fmla="*/ 123 w 436"/>
                <a:gd name="T123" fmla="*/ 2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36" h="339">
                  <a:moveTo>
                    <a:pt x="127" y="1"/>
                  </a:moveTo>
                  <a:lnTo>
                    <a:pt x="129" y="1"/>
                  </a:lnTo>
                  <a:lnTo>
                    <a:pt x="135" y="1"/>
                  </a:lnTo>
                  <a:lnTo>
                    <a:pt x="137" y="2"/>
                  </a:lnTo>
                  <a:lnTo>
                    <a:pt x="139" y="2"/>
                  </a:lnTo>
                  <a:lnTo>
                    <a:pt x="141" y="2"/>
                  </a:lnTo>
                  <a:lnTo>
                    <a:pt x="143" y="3"/>
                  </a:lnTo>
                  <a:lnTo>
                    <a:pt x="144" y="3"/>
                  </a:lnTo>
                  <a:lnTo>
                    <a:pt x="145" y="4"/>
                  </a:lnTo>
                  <a:lnTo>
                    <a:pt x="146" y="4"/>
                  </a:lnTo>
                  <a:lnTo>
                    <a:pt x="150" y="6"/>
                  </a:lnTo>
                  <a:lnTo>
                    <a:pt x="152" y="7"/>
                  </a:lnTo>
                  <a:lnTo>
                    <a:pt x="155" y="9"/>
                  </a:lnTo>
                  <a:lnTo>
                    <a:pt x="160" y="10"/>
                  </a:lnTo>
                  <a:lnTo>
                    <a:pt x="161" y="11"/>
                  </a:lnTo>
                  <a:lnTo>
                    <a:pt x="163" y="12"/>
                  </a:lnTo>
                  <a:lnTo>
                    <a:pt x="164" y="12"/>
                  </a:lnTo>
                  <a:lnTo>
                    <a:pt x="165" y="13"/>
                  </a:lnTo>
                  <a:lnTo>
                    <a:pt x="166" y="14"/>
                  </a:lnTo>
                  <a:lnTo>
                    <a:pt x="170" y="16"/>
                  </a:lnTo>
                  <a:lnTo>
                    <a:pt x="170" y="17"/>
                  </a:lnTo>
                  <a:lnTo>
                    <a:pt x="171" y="17"/>
                  </a:lnTo>
                  <a:lnTo>
                    <a:pt x="173" y="18"/>
                  </a:lnTo>
                  <a:lnTo>
                    <a:pt x="174" y="18"/>
                  </a:lnTo>
                  <a:lnTo>
                    <a:pt x="175" y="18"/>
                  </a:lnTo>
                  <a:lnTo>
                    <a:pt x="175" y="19"/>
                  </a:lnTo>
                  <a:lnTo>
                    <a:pt x="176" y="19"/>
                  </a:lnTo>
                  <a:lnTo>
                    <a:pt x="178" y="19"/>
                  </a:lnTo>
                  <a:lnTo>
                    <a:pt x="181" y="19"/>
                  </a:lnTo>
                  <a:lnTo>
                    <a:pt x="183" y="19"/>
                  </a:lnTo>
                  <a:lnTo>
                    <a:pt x="184" y="19"/>
                  </a:lnTo>
                  <a:lnTo>
                    <a:pt x="184" y="19"/>
                  </a:lnTo>
                  <a:lnTo>
                    <a:pt x="187" y="18"/>
                  </a:lnTo>
                  <a:lnTo>
                    <a:pt x="194" y="16"/>
                  </a:lnTo>
                  <a:lnTo>
                    <a:pt x="196" y="16"/>
                  </a:lnTo>
                  <a:lnTo>
                    <a:pt x="199" y="14"/>
                  </a:lnTo>
                  <a:lnTo>
                    <a:pt x="200" y="14"/>
                  </a:lnTo>
                  <a:lnTo>
                    <a:pt x="201" y="14"/>
                  </a:lnTo>
                  <a:lnTo>
                    <a:pt x="203" y="13"/>
                  </a:lnTo>
                  <a:lnTo>
                    <a:pt x="204" y="13"/>
                  </a:lnTo>
                  <a:lnTo>
                    <a:pt x="204" y="14"/>
                  </a:lnTo>
                  <a:lnTo>
                    <a:pt x="205" y="14"/>
                  </a:lnTo>
                  <a:lnTo>
                    <a:pt x="206" y="14"/>
                  </a:lnTo>
                  <a:lnTo>
                    <a:pt x="206" y="15"/>
                  </a:lnTo>
                  <a:lnTo>
                    <a:pt x="207" y="15"/>
                  </a:lnTo>
                  <a:lnTo>
                    <a:pt x="208" y="16"/>
                  </a:lnTo>
                  <a:lnTo>
                    <a:pt x="209" y="17"/>
                  </a:lnTo>
                  <a:lnTo>
                    <a:pt x="209" y="18"/>
                  </a:lnTo>
                  <a:lnTo>
                    <a:pt x="210" y="19"/>
                  </a:lnTo>
                  <a:lnTo>
                    <a:pt x="210" y="20"/>
                  </a:lnTo>
                  <a:lnTo>
                    <a:pt x="211" y="24"/>
                  </a:lnTo>
                  <a:lnTo>
                    <a:pt x="212" y="26"/>
                  </a:lnTo>
                  <a:lnTo>
                    <a:pt x="213" y="28"/>
                  </a:lnTo>
                  <a:lnTo>
                    <a:pt x="216" y="34"/>
                  </a:lnTo>
                  <a:lnTo>
                    <a:pt x="217" y="38"/>
                  </a:lnTo>
                  <a:lnTo>
                    <a:pt x="219" y="41"/>
                  </a:lnTo>
                  <a:lnTo>
                    <a:pt x="219" y="43"/>
                  </a:lnTo>
                  <a:lnTo>
                    <a:pt x="220" y="44"/>
                  </a:lnTo>
                  <a:lnTo>
                    <a:pt x="221" y="45"/>
                  </a:lnTo>
                  <a:lnTo>
                    <a:pt x="221" y="46"/>
                  </a:lnTo>
                  <a:lnTo>
                    <a:pt x="222" y="46"/>
                  </a:lnTo>
                  <a:lnTo>
                    <a:pt x="222" y="46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4" y="48"/>
                  </a:lnTo>
                  <a:lnTo>
                    <a:pt x="225" y="48"/>
                  </a:lnTo>
                  <a:lnTo>
                    <a:pt x="225" y="48"/>
                  </a:lnTo>
                  <a:lnTo>
                    <a:pt x="226" y="48"/>
                  </a:lnTo>
                  <a:lnTo>
                    <a:pt x="227" y="48"/>
                  </a:lnTo>
                  <a:lnTo>
                    <a:pt x="228" y="47"/>
                  </a:lnTo>
                  <a:lnTo>
                    <a:pt x="229" y="47"/>
                  </a:lnTo>
                  <a:lnTo>
                    <a:pt x="231" y="46"/>
                  </a:lnTo>
                  <a:lnTo>
                    <a:pt x="236" y="45"/>
                  </a:lnTo>
                  <a:lnTo>
                    <a:pt x="238" y="44"/>
                  </a:lnTo>
                  <a:lnTo>
                    <a:pt x="241" y="43"/>
                  </a:lnTo>
                  <a:lnTo>
                    <a:pt x="242" y="43"/>
                  </a:lnTo>
                  <a:lnTo>
                    <a:pt x="244" y="42"/>
                  </a:lnTo>
                  <a:lnTo>
                    <a:pt x="245" y="42"/>
                  </a:lnTo>
                  <a:lnTo>
                    <a:pt x="247" y="42"/>
                  </a:lnTo>
                  <a:lnTo>
                    <a:pt x="247" y="41"/>
                  </a:lnTo>
                  <a:lnTo>
                    <a:pt x="249" y="41"/>
                  </a:lnTo>
                  <a:lnTo>
                    <a:pt x="250" y="41"/>
                  </a:lnTo>
                  <a:lnTo>
                    <a:pt x="251" y="42"/>
                  </a:lnTo>
                  <a:lnTo>
                    <a:pt x="252" y="42"/>
                  </a:lnTo>
                  <a:lnTo>
                    <a:pt x="253" y="43"/>
                  </a:lnTo>
                  <a:lnTo>
                    <a:pt x="254" y="43"/>
                  </a:lnTo>
                  <a:lnTo>
                    <a:pt x="255" y="44"/>
                  </a:lnTo>
                  <a:lnTo>
                    <a:pt x="256" y="45"/>
                  </a:lnTo>
                  <a:lnTo>
                    <a:pt x="257" y="45"/>
                  </a:lnTo>
                  <a:lnTo>
                    <a:pt x="257" y="46"/>
                  </a:lnTo>
                  <a:lnTo>
                    <a:pt x="258" y="47"/>
                  </a:lnTo>
                  <a:lnTo>
                    <a:pt x="259" y="49"/>
                  </a:lnTo>
                  <a:lnTo>
                    <a:pt x="259" y="49"/>
                  </a:lnTo>
                  <a:lnTo>
                    <a:pt x="260" y="50"/>
                  </a:lnTo>
                  <a:lnTo>
                    <a:pt x="260" y="52"/>
                  </a:lnTo>
                  <a:lnTo>
                    <a:pt x="261" y="54"/>
                  </a:lnTo>
                  <a:lnTo>
                    <a:pt x="262" y="56"/>
                  </a:lnTo>
                  <a:lnTo>
                    <a:pt x="262" y="58"/>
                  </a:lnTo>
                  <a:lnTo>
                    <a:pt x="262" y="61"/>
                  </a:lnTo>
                  <a:lnTo>
                    <a:pt x="263" y="65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3" y="68"/>
                  </a:lnTo>
                  <a:lnTo>
                    <a:pt x="263" y="68"/>
                  </a:lnTo>
                  <a:lnTo>
                    <a:pt x="263" y="69"/>
                  </a:lnTo>
                  <a:lnTo>
                    <a:pt x="263" y="69"/>
                  </a:lnTo>
                  <a:lnTo>
                    <a:pt x="263" y="70"/>
                  </a:lnTo>
                  <a:lnTo>
                    <a:pt x="261" y="73"/>
                  </a:lnTo>
                  <a:lnTo>
                    <a:pt x="261" y="74"/>
                  </a:lnTo>
                  <a:lnTo>
                    <a:pt x="261" y="74"/>
                  </a:lnTo>
                  <a:lnTo>
                    <a:pt x="260" y="75"/>
                  </a:lnTo>
                  <a:lnTo>
                    <a:pt x="260" y="76"/>
                  </a:lnTo>
                  <a:lnTo>
                    <a:pt x="261" y="76"/>
                  </a:lnTo>
                  <a:lnTo>
                    <a:pt x="261" y="77"/>
                  </a:lnTo>
                  <a:lnTo>
                    <a:pt x="261" y="77"/>
                  </a:lnTo>
                  <a:lnTo>
                    <a:pt x="262" y="78"/>
                  </a:lnTo>
                  <a:lnTo>
                    <a:pt x="262" y="79"/>
                  </a:lnTo>
                  <a:lnTo>
                    <a:pt x="263" y="79"/>
                  </a:lnTo>
                  <a:lnTo>
                    <a:pt x="264" y="79"/>
                  </a:lnTo>
                  <a:lnTo>
                    <a:pt x="265" y="80"/>
                  </a:lnTo>
                  <a:lnTo>
                    <a:pt x="266" y="80"/>
                  </a:lnTo>
                  <a:lnTo>
                    <a:pt x="267" y="80"/>
                  </a:lnTo>
                  <a:lnTo>
                    <a:pt x="267" y="80"/>
                  </a:lnTo>
                  <a:lnTo>
                    <a:pt x="268" y="80"/>
                  </a:lnTo>
                  <a:lnTo>
                    <a:pt x="269" y="79"/>
                  </a:lnTo>
                  <a:lnTo>
                    <a:pt x="270" y="79"/>
                  </a:lnTo>
                  <a:lnTo>
                    <a:pt x="272" y="78"/>
                  </a:lnTo>
                  <a:lnTo>
                    <a:pt x="274" y="76"/>
                  </a:lnTo>
                  <a:lnTo>
                    <a:pt x="275" y="76"/>
                  </a:lnTo>
                  <a:lnTo>
                    <a:pt x="276" y="75"/>
                  </a:lnTo>
                  <a:lnTo>
                    <a:pt x="276" y="75"/>
                  </a:lnTo>
                  <a:lnTo>
                    <a:pt x="276" y="74"/>
                  </a:lnTo>
                  <a:lnTo>
                    <a:pt x="277" y="74"/>
                  </a:lnTo>
                  <a:lnTo>
                    <a:pt x="277" y="73"/>
                  </a:lnTo>
                  <a:lnTo>
                    <a:pt x="278" y="72"/>
                  </a:lnTo>
                  <a:lnTo>
                    <a:pt x="280" y="68"/>
                  </a:lnTo>
                  <a:lnTo>
                    <a:pt x="281" y="65"/>
                  </a:lnTo>
                  <a:lnTo>
                    <a:pt x="282" y="64"/>
                  </a:lnTo>
                  <a:lnTo>
                    <a:pt x="283" y="62"/>
                  </a:lnTo>
                  <a:lnTo>
                    <a:pt x="285" y="61"/>
                  </a:lnTo>
                  <a:lnTo>
                    <a:pt x="286" y="59"/>
                  </a:lnTo>
                  <a:lnTo>
                    <a:pt x="287" y="58"/>
                  </a:lnTo>
                  <a:lnTo>
                    <a:pt x="289" y="57"/>
                  </a:lnTo>
                  <a:lnTo>
                    <a:pt x="290" y="56"/>
                  </a:lnTo>
                  <a:lnTo>
                    <a:pt x="291" y="55"/>
                  </a:lnTo>
                  <a:lnTo>
                    <a:pt x="291" y="55"/>
                  </a:lnTo>
                  <a:lnTo>
                    <a:pt x="292" y="55"/>
                  </a:lnTo>
                  <a:lnTo>
                    <a:pt x="293" y="54"/>
                  </a:lnTo>
                  <a:lnTo>
                    <a:pt x="295" y="54"/>
                  </a:lnTo>
                  <a:lnTo>
                    <a:pt x="296" y="55"/>
                  </a:lnTo>
                  <a:lnTo>
                    <a:pt x="297" y="55"/>
                  </a:lnTo>
                  <a:lnTo>
                    <a:pt x="298" y="55"/>
                  </a:lnTo>
                  <a:lnTo>
                    <a:pt x="299" y="56"/>
                  </a:lnTo>
                  <a:lnTo>
                    <a:pt x="304" y="58"/>
                  </a:lnTo>
                  <a:lnTo>
                    <a:pt x="305" y="58"/>
                  </a:lnTo>
                  <a:lnTo>
                    <a:pt x="306" y="59"/>
                  </a:lnTo>
                  <a:lnTo>
                    <a:pt x="307" y="60"/>
                  </a:lnTo>
                  <a:lnTo>
                    <a:pt x="309" y="61"/>
                  </a:lnTo>
                  <a:lnTo>
                    <a:pt x="310" y="62"/>
                  </a:lnTo>
                  <a:lnTo>
                    <a:pt x="313" y="65"/>
                  </a:lnTo>
                  <a:lnTo>
                    <a:pt x="314" y="65"/>
                  </a:lnTo>
                  <a:lnTo>
                    <a:pt x="315" y="66"/>
                  </a:lnTo>
                  <a:lnTo>
                    <a:pt x="315" y="66"/>
                  </a:lnTo>
                  <a:lnTo>
                    <a:pt x="316" y="66"/>
                  </a:lnTo>
                  <a:lnTo>
                    <a:pt x="316" y="66"/>
                  </a:lnTo>
                  <a:lnTo>
                    <a:pt x="317" y="66"/>
                  </a:lnTo>
                  <a:lnTo>
                    <a:pt x="318" y="66"/>
                  </a:lnTo>
                  <a:lnTo>
                    <a:pt x="319" y="66"/>
                  </a:lnTo>
                  <a:lnTo>
                    <a:pt x="319" y="66"/>
                  </a:lnTo>
                  <a:lnTo>
                    <a:pt x="320" y="66"/>
                  </a:lnTo>
                  <a:lnTo>
                    <a:pt x="321" y="66"/>
                  </a:lnTo>
                  <a:lnTo>
                    <a:pt x="322" y="65"/>
                  </a:lnTo>
                  <a:lnTo>
                    <a:pt x="322" y="65"/>
                  </a:lnTo>
                  <a:lnTo>
                    <a:pt x="323" y="64"/>
                  </a:lnTo>
                  <a:lnTo>
                    <a:pt x="323" y="64"/>
                  </a:lnTo>
                  <a:lnTo>
                    <a:pt x="324" y="63"/>
                  </a:lnTo>
                  <a:lnTo>
                    <a:pt x="324" y="63"/>
                  </a:lnTo>
                  <a:lnTo>
                    <a:pt x="325" y="62"/>
                  </a:lnTo>
                  <a:lnTo>
                    <a:pt x="325" y="61"/>
                  </a:lnTo>
                  <a:lnTo>
                    <a:pt x="326" y="57"/>
                  </a:lnTo>
                  <a:lnTo>
                    <a:pt x="327" y="55"/>
                  </a:lnTo>
                  <a:lnTo>
                    <a:pt x="328" y="54"/>
                  </a:lnTo>
                  <a:lnTo>
                    <a:pt x="329" y="53"/>
                  </a:lnTo>
                  <a:lnTo>
                    <a:pt x="329" y="53"/>
                  </a:lnTo>
                  <a:lnTo>
                    <a:pt x="330" y="52"/>
                  </a:lnTo>
                  <a:lnTo>
                    <a:pt x="330" y="52"/>
                  </a:lnTo>
                  <a:lnTo>
                    <a:pt x="330" y="51"/>
                  </a:lnTo>
                  <a:lnTo>
                    <a:pt x="331" y="51"/>
                  </a:lnTo>
                  <a:lnTo>
                    <a:pt x="332" y="50"/>
                  </a:lnTo>
                  <a:lnTo>
                    <a:pt x="332" y="50"/>
                  </a:lnTo>
                  <a:lnTo>
                    <a:pt x="333" y="50"/>
                  </a:lnTo>
                  <a:lnTo>
                    <a:pt x="334" y="50"/>
                  </a:lnTo>
                  <a:lnTo>
                    <a:pt x="335" y="50"/>
                  </a:lnTo>
                  <a:lnTo>
                    <a:pt x="336" y="50"/>
                  </a:lnTo>
                  <a:lnTo>
                    <a:pt x="338" y="50"/>
                  </a:lnTo>
                  <a:lnTo>
                    <a:pt x="339" y="50"/>
                  </a:lnTo>
                  <a:lnTo>
                    <a:pt x="340" y="50"/>
                  </a:lnTo>
                  <a:lnTo>
                    <a:pt x="341" y="50"/>
                  </a:lnTo>
                  <a:lnTo>
                    <a:pt x="345" y="51"/>
                  </a:lnTo>
                  <a:lnTo>
                    <a:pt x="346" y="51"/>
                  </a:lnTo>
                  <a:lnTo>
                    <a:pt x="347" y="51"/>
                  </a:lnTo>
                  <a:lnTo>
                    <a:pt x="348" y="52"/>
                  </a:lnTo>
                  <a:lnTo>
                    <a:pt x="350" y="52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6" y="52"/>
                  </a:lnTo>
                  <a:lnTo>
                    <a:pt x="357" y="52"/>
                  </a:lnTo>
                  <a:lnTo>
                    <a:pt x="358" y="52"/>
                  </a:lnTo>
                  <a:lnTo>
                    <a:pt x="359" y="53"/>
                  </a:lnTo>
                  <a:lnTo>
                    <a:pt x="360" y="53"/>
                  </a:lnTo>
                  <a:lnTo>
                    <a:pt x="361" y="54"/>
                  </a:lnTo>
                  <a:lnTo>
                    <a:pt x="362" y="55"/>
                  </a:lnTo>
                  <a:lnTo>
                    <a:pt x="365" y="57"/>
                  </a:lnTo>
                  <a:lnTo>
                    <a:pt x="367" y="59"/>
                  </a:lnTo>
                  <a:lnTo>
                    <a:pt x="367" y="59"/>
                  </a:lnTo>
                  <a:lnTo>
                    <a:pt x="369" y="61"/>
                  </a:lnTo>
                  <a:lnTo>
                    <a:pt x="371" y="64"/>
                  </a:lnTo>
                  <a:lnTo>
                    <a:pt x="374" y="67"/>
                  </a:lnTo>
                  <a:lnTo>
                    <a:pt x="376" y="69"/>
                  </a:lnTo>
                  <a:lnTo>
                    <a:pt x="378" y="71"/>
                  </a:lnTo>
                  <a:lnTo>
                    <a:pt x="381" y="74"/>
                  </a:lnTo>
                  <a:lnTo>
                    <a:pt x="383" y="76"/>
                  </a:lnTo>
                  <a:lnTo>
                    <a:pt x="385" y="78"/>
                  </a:lnTo>
                  <a:lnTo>
                    <a:pt x="386" y="80"/>
                  </a:lnTo>
                  <a:lnTo>
                    <a:pt x="388" y="81"/>
                  </a:lnTo>
                  <a:lnTo>
                    <a:pt x="388" y="83"/>
                  </a:lnTo>
                  <a:lnTo>
                    <a:pt x="389" y="84"/>
                  </a:lnTo>
                  <a:lnTo>
                    <a:pt x="389" y="85"/>
                  </a:lnTo>
                  <a:lnTo>
                    <a:pt x="389" y="86"/>
                  </a:lnTo>
                  <a:lnTo>
                    <a:pt x="389" y="87"/>
                  </a:lnTo>
                  <a:lnTo>
                    <a:pt x="389" y="88"/>
                  </a:lnTo>
                  <a:lnTo>
                    <a:pt x="389" y="89"/>
                  </a:lnTo>
                  <a:lnTo>
                    <a:pt x="389" y="90"/>
                  </a:lnTo>
                  <a:lnTo>
                    <a:pt x="389" y="90"/>
                  </a:lnTo>
                  <a:lnTo>
                    <a:pt x="388" y="91"/>
                  </a:lnTo>
                  <a:lnTo>
                    <a:pt x="388" y="92"/>
                  </a:lnTo>
                  <a:lnTo>
                    <a:pt x="386" y="93"/>
                  </a:lnTo>
                  <a:lnTo>
                    <a:pt x="384" y="95"/>
                  </a:lnTo>
                  <a:lnTo>
                    <a:pt x="384" y="96"/>
                  </a:lnTo>
                  <a:lnTo>
                    <a:pt x="383" y="96"/>
                  </a:lnTo>
                  <a:lnTo>
                    <a:pt x="383" y="97"/>
                  </a:lnTo>
                  <a:lnTo>
                    <a:pt x="382" y="98"/>
                  </a:lnTo>
                  <a:lnTo>
                    <a:pt x="381" y="101"/>
                  </a:lnTo>
                  <a:lnTo>
                    <a:pt x="381" y="103"/>
                  </a:lnTo>
                  <a:lnTo>
                    <a:pt x="380" y="104"/>
                  </a:lnTo>
                  <a:lnTo>
                    <a:pt x="379" y="107"/>
                  </a:lnTo>
                  <a:lnTo>
                    <a:pt x="378" y="108"/>
                  </a:lnTo>
                  <a:lnTo>
                    <a:pt x="378" y="109"/>
                  </a:lnTo>
                  <a:lnTo>
                    <a:pt x="378" y="111"/>
                  </a:lnTo>
                  <a:lnTo>
                    <a:pt x="378" y="112"/>
                  </a:lnTo>
                  <a:lnTo>
                    <a:pt x="377" y="113"/>
                  </a:lnTo>
                  <a:lnTo>
                    <a:pt x="377" y="114"/>
                  </a:lnTo>
                  <a:lnTo>
                    <a:pt x="376" y="116"/>
                  </a:lnTo>
                  <a:lnTo>
                    <a:pt x="375" y="117"/>
                  </a:lnTo>
                  <a:lnTo>
                    <a:pt x="373" y="118"/>
                  </a:lnTo>
                  <a:lnTo>
                    <a:pt x="370" y="122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7" y="125"/>
                  </a:lnTo>
                  <a:lnTo>
                    <a:pt x="366" y="125"/>
                  </a:lnTo>
                  <a:lnTo>
                    <a:pt x="366" y="126"/>
                  </a:lnTo>
                  <a:lnTo>
                    <a:pt x="365" y="126"/>
                  </a:lnTo>
                  <a:lnTo>
                    <a:pt x="364" y="126"/>
                  </a:lnTo>
                  <a:lnTo>
                    <a:pt x="363" y="127"/>
                  </a:lnTo>
                  <a:lnTo>
                    <a:pt x="362" y="127"/>
                  </a:lnTo>
                  <a:lnTo>
                    <a:pt x="361" y="127"/>
                  </a:lnTo>
                  <a:lnTo>
                    <a:pt x="359" y="126"/>
                  </a:lnTo>
                  <a:lnTo>
                    <a:pt x="357" y="126"/>
                  </a:lnTo>
                  <a:lnTo>
                    <a:pt x="357" y="126"/>
                  </a:lnTo>
                  <a:lnTo>
                    <a:pt x="356" y="126"/>
                  </a:lnTo>
                  <a:lnTo>
                    <a:pt x="356" y="127"/>
                  </a:lnTo>
                  <a:lnTo>
                    <a:pt x="355" y="127"/>
                  </a:lnTo>
                  <a:lnTo>
                    <a:pt x="355" y="127"/>
                  </a:lnTo>
                  <a:lnTo>
                    <a:pt x="354" y="128"/>
                  </a:lnTo>
                  <a:lnTo>
                    <a:pt x="354" y="128"/>
                  </a:lnTo>
                  <a:lnTo>
                    <a:pt x="352" y="130"/>
                  </a:lnTo>
                  <a:lnTo>
                    <a:pt x="350" y="132"/>
                  </a:lnTo>
                  <a:lnTo>
                    <a:pt x="349" y="133"/>
                  </a:lnTo>
                  <a:lnTo>
                    <a:pt x="348" y="134"/>
                  </a:lnTo>
                  <a:lnTo>
                    <a:pt x="347" y="135"/>
                  </a:lnTo>
                  <a:lnTo>
                    <a:pt x="346" y="135"/>
                  </a:lnTo>
                  <a:lnTo>
                    <a:pt x="345" y="135"/>
                  </a:lnTo>
                  <a:lnTo>
                    <a:pt x="343" y="136"/>
                  </a:lnTo>
                  <a:lnTo>
                    <a:pt x="343" y="136"/>
                  </a:lnTo>
                  <a:lnTo>
                    <a:pt x="342" y="136"/>
                  </a:lnTo>
                  <a:lnTo>
                    <a:pt x="341" y="137"/>
                  </a:lnTo>
                  <a:lnTo>
                    <a:pt x="339" y="138"/>
                  </a:lnTo>
                  <a:lnTo>
                    <a:pt x="338" y="139"/>
                  </a:lnTo>
                  <a:lnTo>
                    <a:pt x="337" y="139"/>
                  </a:lnTo>
                  <a:lnTo>
                    <a:pt x="337" y="140"/>
                  </a:lnTo>
                  <a:lnTo>
                    <a:pt x="335" y="141"/>
                  </a:lnTo>
                  <a:lnTo>
                    <a:pt x="335" y="142"/>
                  </a:lnTo>
                  <a:lnTo>
                    <a:pt x="334" y="143"/>
                  </a:lnTo>
                  <a:lnTo>
                    <a:pt x="332" y="144"/>
                  </a:lnTo>
                  <a:lnTo>
                    <a:pt x="332" y="144"/>
                  </a:lnTo>
                  <a:lnTo>
                    <a:pt x="331" y="145"/>
                  </a:lnTo>
                  <a:lnTo>
                    <a:pt x="330" y="146"/>
                  </a:lnTo>
                  <a:lnTo>
                    <a:pt x="330" y="147"/>
                  </a:lnTo>
                  <a:lnTo>
                    <a:pt x="329" y="147"/>
                  </a:lnTo>
                  <a:lnTo>
                    <a:pt x="329" y="148"/>
                  </a:lnTo>
                  <a:lnTo>
                    <a:pt x="329" y="149"/>
                  </a:lnTo>
                  <a:lnTo>
                    <a:pt x="329" y="150"/>
                  </a:lnTo>
                  <a:lnTo>
                    <a:pt x="329" y="151"/>
                  </a:lnTo>
                  <a:lnTo>
                    <a:pt x="328" y="151"/>
                  </a:lnTo>
                  <a:lnTo>
                    <a:pt x="328" y="152"/>
                  </a:lnTo>
                  <a:lnTo>
                    <a:pt x="327" y="152"/>
                  </a:lnTo>
                  <a:lnTo>
                    <a:pt x="327" y="152"/>
                  </a:lnTo>
                  <a:lnTo>
                    <a:pt x="326" y="152"/>
                  </a:lnTo>
                  <a:lnTo>
                    <a:pt x="325" y="152"/>
                  </a:lnTo>
                  <a:lnTo>
                    <a:pt x="325" y="152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3" y="154"/>
                  </a:lnTo>
                  <a:lnTo>
                    <a:pt x="323" y="154"/>
                  </a:lnTo>
                  <a:lnTo>
                    <a:pt x="322" y="155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9"/>
                  </a:lnTo>
                  <a:lnTo>
                    <a:pt x="322" y="160"/>
                  </a:lnTo>
                  <a:lnTo>
                    <a:pt x="322" y="160"/>
                  </a:lnTo>
                  <a:lnTo>
                    <a:pt x="323" y="161"/>
                  </a:lnTo>
                  <a:lnTo>
                    <a:pt x="324" y="164"/>
                  </a:lnTo>
                  <a:lnTo>
                    <a:pt x="325" y="166"/>
                  </a:lnTo>
                  <a:lnTo>
                    <a:pt x="326" y="167"/>
                  </a:lnTo>
                  <a:lnTo>
                    <a:pt x="326" y="167"/>
                  </a:lnTo>
                  <a:lnTo>
                    <a:pt x="327" y="168"/>
                  </a:lnTo>
                  <a:lnTo>
                    <a:pt x="327" y="168"/>
                  </a:lnTo>
                  <a:lnTo>
                    <a:pt x="328" y="168"/>
                  </a:lnTo>
                  <a:lnTo>
                    <a:pt x="329" y="169"/>
                  </a:lnTo>
                  <a:lnTo>
                    <a:pt x="331" y="169"/>
                  </a:lnTo>
                  <a:lnTo>
                    <a:pt x="331" y="169"/>
                  </a:lnTo>
                  <a:lnTo>
                    <a:pt x="332" y="170"/>
                  </a:lnTo>
                  <a:lnTo>
                    <a:pt x="333" y="171"/>
                  </a:lnTo>
                  <a:lnTo>
                    <a:pt x="334" y="171"/>
                  </a:lnTo>
                  <a:lnTo>
                    <a:pt x="335" y="172"/>
                  </a:lnTo>
                  <a:lnTo>
                    <a:pt x="335" y="173"/>
                  </a:lnTo>
                  <a:lnTo>
                    <a:pt x="337" y="176"/>
                  </a:lnTo>
                  <a:lnTo>
                    <a:pt x="338" y="176"/>
                  </a:lnTo>
                  <a:lnTo>
                    <a:pt x="339" y="178"/>
                  </a:lnTo>
                  <a:lnTo>
                    <a:pt x="339" y="178"/>
                  </a:lnTo>
                  <a:lnTo>
                    <a:pt x="340" y="180"/>
                  </a:lnTo>
                  <a:lnTo>
                    <a:pt x="342" y="181"/>
                  </a:lnTo>
                  <a:lnTo>
                    <a:pt x="342" y="182"/>
                  </a:lnTo>
                  <a:lnTo>
                    <a:pt x="343" y="183"/>
                  </a:lnTo>
                  <a:lnTo>
                    <a:pt x="344" y="184"/>
                  </a:lnTo>
                  <a:lnTo>
                    <a:pt x="344" y="185"/>
                  </a:lnTo>
                  <a:lnTo>
                    <a:pt x="345" y="185"/>
                  </a:lnTo>
                  <a:lnTo>
                    <a:pt x="346" y="186"/>
                  </a:lnTo>
                  <a:lnTo>
                    <a:pt x="346" y="186"/>
                  </a:lnTo>
                  <a:lnTo>
                    <a:pt x="347" y="186"/>
                  </a:lnTo>
                  <a:lnTo>
                    <a:pt x="348" y="186"/>
                  </a:lnTo>
                  <a:lnTo>
                    <a:pt x="348" y="186"/>
                  </a:lnTo>
                  <a:lnTo>
                    <a:pt x="349" y="185"/>
                  </a:lnTo>
                  <a:lnTo>
                    <a:pt x="352" y="184"/>
                  </a:lnTo>
                  <a:lnTo>
                    <a:pt x="353" y="183"/>
                  </a:lnTo>
                  <a:lnTo>
                    <a:pt x="353" y="183"/>
                  </a:lnTo>
                  <a:lnTo>
                    <a:pt x="354" y="183"/>
                  </a:lnTo>
                  <a:lnTo>
                    <a:pt x="355" y="183"/>
                  </a:lnTo>
                  <a:lnTo>
                    <a:pt x="356" y="183"/>
                  </a:lnTo>
                  <a:lnTo>
                    <a:pt x="358" y="183"/>
                  </a:lnTo>
                  <a:lnTo>
                    <a:pt x="359" y="183"/>
                  </a:lnTo>
                  <a:lnTo>
                    <a:pt x="361" y="183"/>
                  </a:lnTo>
                  <a:lnTo>
                    <a:pt x="362" y="183"/>
                  </a:lnTo>
                  <a:lnTo>
                    <a:pt x="363" y="183"/>
                  </a:lnTo>
                  <a:lnTo>
                    <a:pt x="365" y="183"/>
                  </a:lnTo>
                  <a:lnTo>
                    <a:pt x="365" y="184"/>
                  </a:lnTo>
                  <a:lnTo>
                    <a:pt x="366" y="184"/>
                  </a:lnTo>
                  <a:lnTo>
                    <a:pt x="367" y="185"/>
                  </a:lnTo>
                  <a:lnTo>
                    <a:pt x="368" y="185"/>
                  </a:lnTo>
                  <a:lnTo>
                    <a:pt x="368" y="185"/>
                  </a:lnTo>
                  <a:lnTo>
                    <a:pt x="368" y="186"/>
                  </a:lnTo>
                  <a:lnTo>
                    <a:pt x="369" y="187"/>
                  </a:lnTo>
                  <a:lnTo>
                    <a:pt x="370" y="189"/>
                  </a:lnTo>
                  <a:lnTo>
                    <a:pt x="370" y="190"/>
                  </a:lnTo>
                  <a:lnTo>
                    <a:pt x="371" y="194"/>
                  </a:lnTo>
                  <a:lnTo>
                    <a:pt x="372" y="196"/>
                  </a:lnTo>
                  <a:lnTo>
                    <a:pt x="372" y="197"/>
                  </a:lnTo>
                  <a:lnTo>
                    <a:pt x="373" y="198"/>
                  </a:lnTo>
                  <a:lnTo>
                    <a:pt x="373" y="200"/>
                  </a:lnTo>
                  <a:lnTo>
                    <a:pt x="374" y="201"/>
                  </a:lnTo>
                  <a:lnTo>
                    <a:pt x="375" y="203"/>
                  </a:lnTo>
                  <a:lnTo>
                    <a:pt x="376" y="203"/>
                  </a:lnTo>
                  <a:lnTo>
                    <a:pt x="377" y="205"/>
                  </a:lnTo>
                  <a:lnTo>
                    <a:pt x="378" y="205"/>
                  </a:lnTo>
                  <a:lnTo>
                    <a:pt x="379" y="206"/>
                  </a:lnTo>
                  <a:lnTo>
                    <a:pt x="380" y="207"/>
                  </a:lnTo>
                  <a:lnTo>
                    <a:pt x="381" y="208"/>
                  </a:lnTo>
                  <a:lnTo>
                    <a:pt x="382" y="208"/>
                  </a:lnTo>
                  <a:lnTo>
                    <a:pt x="383" y="208"/>
                  </a:lnTo>
                  <a:lnTo>
                    <a:pt x="386" y="208"/>
                  </a:lnTo>
                  <a:lnTo>
                    <a:pt x="387" y="209"/>
                  </a:lnTo>
                  <a:lnTo>
                    <a:pt x="388" y="209"/>
                  </a:lnTo>
                  <a:lnTo>
                    <a:pt x="389" y="210"/>
                  </a:lnTo>
                  <a:lnTo>
                    <a:pt x="390" y="210"/>
                  </a:lnTo>
                  <a:lnTo>
                    <a:pt x="391" y="211"/>
                  </a:lnTo>
                  <a:lnTo>
                    <a:pt x="392" y="212"/>
                  </a:lnTo>
                  <a:lnTo>
                    <a:pt x="394" y="213"/>
                  </a:lnTo>
                  <a:lnTo>
                    <a:pt x="395" y="215"/>
                  </a:lnTo>
                  <a:lnTo>
                    <a:pt x="397" y="218"/>
                  </a:lnTo>
                  <a:lnTo>
                    <a:pt x="399" y="220"/>
                  </a:lnTo>
                  <a:lnTo>
                    <a:pt x="400" y="222"/>
                  </a:lnTo>
                  <a:lnTo>
                    <a:pt x="402" y="225"/>
                  </a:lnTo>
                  <a:lnTo>
                    <a:pt x="404" y="229"/>
                  </a:lnTo>
                  <a:lnTo>
                    <a:pt x="406" y="231"/>
                  </a:lnTo>
                  <a:lnTo>
                    <a:pt x="408" y="234"/>
                  </a:lnTo>
                  <a:lnTo>
                    <a:pt x="409" y="234"/>
                  </a:lnTo>
                  <a:lnTo>
                    <a:pt x="410" y="235"/>
                  </a:lnTo>
                  <a:lnTo>
                    <a:pt x="413" y="238"/>
                  </a:lnTo>
                  <a:lnTo>
                    <a:pt x="416" y="243"/>
                  </a:lnTo>
                  <a:lnTo>
                    <a:pt x="417" y="244"/>
                  </a:lnTo>
                  <a:lnTo>
                    <a:pt x="418" y="245"/>
                  </a:lnTo>
                  <a:lnTo>
                    <a:pt x="419" y="246"/>
                  </a:lnTo>
                  <a:lnTo>
                    <a:pt x="422" y="248"/>
                  </a:lnTo>
                  <a:lnTo>
                    <a:pt x="423" y="249"/>
                  </a:lnTo>
                  <a:lnTo>
                    <a:pt x="423" y="249"/>
                  </a:lnTo>
                  <a:lnTo>
                    <a:pt x="424" y="250"/>
                  </a:lnTo>
                  <a:lnTo>
                    <a:pt x="425" y="252"/>
                  </a:lnTo>
                  <a:lnTo>
                    <a:pt x="426" y="253"/>
                  </a:lnTo>
                  <a:lnTo>
                    <a:pt x="426" y="254"/>
                  </a:lnTo>
                  <a:lnTo>
                    <a:pt x="427" y="255"/>
                  </a:lnTo>
                  <a:lnTo>
                    <a:pt x="428" y="256"/>
                  </a:lnTo>
                  <a:lnTo>
                    <a:pt x="428" y="259"/>
                  </a:lnTo>
                  <a:lnTo>
                    <a:pt x="429" y="260"/>
                  </a:lnTo>
                  <a:lnTo>
                    <a:pt x="429" y="262"/>
                  </a:lnTo>
                  <a:lnTo>
                    <a:pt x="429" y="266"/>
                  </a:lnTo>
                  <a:lnTo>
                    <a:pt x="429" y="269"/>
                  </a:lnTo>
                  <a:lnTo>
                    <a:pt x="430" y="271"/>
                  </a:lnTo>
                  <a:lnTo>
                    <a:pt x="430" y="273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2" y="281"/>
                  </a:lnTo>
                  <a:lnTo>
                    <a:pt x="433" y="283"/>
                  </a:lnTo>
                  <a:lnTo>
                    <a:pt x="435" y="286"/>
                  </a:lnTo>
                  <a:lnTo>
                    <a:pt x="436" y="287"/>
                  </a:lnTo>
                  <a:lnTo>
                    <a:pt x="436" y="288"/>
                  </a:lnTo>
                  <a:lnTo>
                    <a:pt x="436" y="289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5" y="291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1" y="290"/>
                  </a:lnTo>
                  <a:lnTo>
                    <a:pt x="430" y="290"/>
                  </a:lnTo>
                  <a:lnTo>
                    <a:pt x="425" y="288"/>
                  </a:lnTo>
                  <a:lnTo>
                    <a:pt x="423" y="287"/>
                  </a:lnTo>
                  <a:lnTo>
                    <a:pt x="421" y="286"/>
                  </a:lnTo>
                  <a:lnTo>
                    <a:pt x="420" y="285"/>
                  </a:lnTo>
                  <a:lnTo>
                    <a:pt x="417" y="284"/>
                  </a:lnTo>
                  <a:lnTo>
                    <a:pt x="417" y="283"/>
                  </a:lnTo>
                  <a:lnTo>
                    <a:pt x="416" y="283"/>
                  </a:lnTo>
                  <a:lnTo>
                    <a:pt x="414" y="282"/>
                  </a:lnTo>
                  <a:lnTo>
                    <a:pt x="414" y="282"/>
                  </a:lnTo>
                  <a:lnTo>
                    <a:pt x="413" y="282"/>
                  </a:lnTo>
                  <a:lnTo>
                    <a:pt x="412" y="282"/>
                  </a:lnTo>
                  <a:lnTo>
                    <a:pt x="412" y="282"/>
                  </a:lnTo>
                  <a:lnTo>
                    <a:pt x="411" y="282"/>
                  </a:lnTo>
                  <a:lnTo>
                    <a:pt x="411" y="282"/>
                  </a:lnTo>
                  <a:lnTo>
                    <a:pt x="410" y="282"/>
                  </a:lnTo>
                  <a:lnTo>
                    <a:pt x="410" y="282"/>
                  </a:lnTo>
                  <a:lnTo>
                    <a:pt x="409" y="283"/>
                  </a:lnTo>
                  <a:lnTo>
                    <a:pt x="408" y="283"/>
                  </a:lnTo>
                  <a:lnTo>
                    <a:pt x="408" y="283"/>
                  </a:lnTo>
                  <a:lnTo>
                    <a:pt x="407" y="284"/>
                  </a:lnTo>
                  <a:lnTo>
                    <a:pt x="407" y="285"/>
                  </a:lnTo>
                  <a:lnTo>
                    <a:pt x="407" y="286"/>
                  </a:lnTo>
                  <a:lnTo>
                    <a:pt x="405" y="289"/>
                  </a:lnTo>
                  <a:lnTo>
                    <a:pt x="404" y="291"/>
                  </a:lnTo>
                  <a:lnTo>
                    <a:pt x="404" y="292"/>
                  </a:lnTo>
                  <a:lnTo>
                    <a:pt x="403" y="293"/>
                  </a:lnTo>
                  <a:lnTo>
                    <a:pt x="402" y="293"/>
                  </a:lnTo>
                  <a:lnTo>
                    <a:pt x="401" y="294"/>
                  </a:lnTo>
                  <a:lnTo>
                    <a:pt x="400" y="295"/>
                  </a:lnTo>
                  <a:lnTo>
                    <a:pt x="399" y="296"/>
                  </a:lnTo>
                  <a:lnTo>
                    <a:pt x="398" y="297"/>
                  </a:lnTo>
                  <a:lnTo>
                    <a:pt x="396" y="297"/>
                  </a:lnTo>
                  <a:lnTo>
                    <a:pt x="394" y="298"/>
                  </a:lnTo>
                  <a:lnTo>
                    <a:pt x="392" y="300"/>
                  </a:lnTo>
                  <a:lnTo>
                    <a:pt x="392" y="300"/>
                  </a:lnTo>
                  <a:lnTo>
                    <a:pt x="390" y="301"/>
                  </a:lnTo>
                  <a:lnTo>
                    <a:pt x="390" y="301"/>
                  </a:lnTo>
                  <a:lnTo>
                    <a:pt x="387" y="303"/>
                  </a:lnTo>
                  <a:lnTo>
                    <a:pt x="384" y="304"/>
                  </a:lnTo>
                  <a:lnTo>
                    <a:pt x="382" y="305"/>
                  </a:lnTo>
                  <a:lnTo>
                    <a:pt x="381" y="305"/>
                  </a:lnTo>
                  <a:lnTo>
                    <a:pt x="380" y="306"/>
                  </a:lnTo>
                  <a:lnTo>
                    <a:pt x="378" y="308"/>
                  </a:lnTo>
                  <a:lnTo>
                    <a:pt x="376" y="309"/>
                  </a:lnTo>
                  <a:lnTo>
                    <a:pt x="374" y="310"/>
                  </a:lnTo>
                  <a:lnTo>
                    <a:pt x="372" y="312"/>
                  </a:lnTo>
                  <a:lnTo>
                    <a:pt x="371" y="312"/>
                  </a:lnTo>
                  <a:lnTo>
                    <a:pt x="370" y="313"/>
                  </a:lnTo>
                  <a:lnTo>
                    <a:pt x="369" y="314"/>
                  </a:lnTo>
                  <a:lnTo>
                    <a:pt x="368" y="315"/>
                  </a:lnTo>
                  <a:lnTo>
                    <a:pt x="368" y="316"/>
                  </a:lnTo>
                  <a:lnTo>
                    <a:pt x="368" y="316"/>
                  </a:lnTo>
                  <a:lnTo>
                    <a:pt x="367" y="317"/>
                  </a:lnTo>
                  <a:lnTo>
                    <a:pt x="367" y="318"/>
                  </a:lnTo>
                  <a:lnTo>
                    <a:pt x="367" y="318"/>
                  </a:lnTo>
                  <a:lnTo>
                    <a:pt x="367" y="321"/>
                  </a:lnTo>
                  <a:lnTo>
                    <a:pt x="367" y="321"/>
                  </a:lnTo>
                  <a:lnTo>
                    <a:pt x="367" y="322"/>
                  </a:lnTo>
                  <a:lnTo>
                    <a:pt x="366" y="323"/>
                  </a:lnTo>
                  <a:lnTo>
                    <a:pt x="366" y="323"/>
                  </a:lnTo>
                  <a:lnTo>
                    <a:pt x="366" y="324"/>
                  </a:lnTo>
                  <a:lnTo>
                    <a:pt x="365" y="325"/>
                  </a:lnTo>
                  <a:lnTo>
                    <a:pt x="364" y="326"/>
                  </a:lnTo>
                  <a:lnTo>
                    <a:pt x="362" y="327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60" y="329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1"/>
                  </a:lnTo>
                  <a:lnTo>
                    <a:pt x="360" y="331"/>
                  </a:lnTo>
                  <a:lnTo>
                    <a:pt x="360" y="332"/>
                  </a:lnTo>
                  <a:lnTo>
                    <a:pt x="361" y="335"/>
                  </a:lnTo>
                  <a:lnTo>
                    <a:pt x="361" y="335"/>
                  </a:lnTo>
                  <a:lnTo>
                    <a:pt x="361" y="336"/>
                  </a:lnTo>
                  <a:lnTo>
                    <a:pt x="361" y="336"/>
                  </a:lnTo>
                  <a:lnTo>
                    <a:pt x="361" y="337"/>
                  </a:lnTo>
                  <a:lnTo>
                    <a:pt x="360" y="337"/>
                  </a:lnTo>
                  <a:lnTo>
                    <a:pt x="360" y="337"/>
                  </a:lnTo>
                  <a:lnTo>
                    <a:pt x="359" y="337"/>
                  </a:lnTo>
                  <a:lnTo>
                    <a:pt x="359" y="338"/>
                  </a:lnTo>
                  <a:lnTo>
                    <a:pt x="358" y="338"/>
                  </a:lnTo>
                  <a:lnTo>
                    <a:pt x="357" y="338"/>
                  </a:lnTo>
                  <a:lnTo>
                    <a:pt x="356" y="338"/>
                  </a:lnTo>
                  <a:lnTo>
                    <a:pt x="355" y="337"/>
                  </a:lnTo>
                  <a:lnTo>
                    <a:pt x="353" y="337"/>
                  </a:lnTo>
                  <a:lnTo>
                    <a:pt x="352" y="336"/>
                  </a:lnTo>
                  <a:lnTo>
                    <a:pt x="351" y="336"/>
                  </a:lnTo>
                  <a:lnTo>
                    <a:pt x="350" y="336"/>
                  </a:lnTo>
                  <a:lnTo>
                    <a:pt x="349" y="336"/>
                  </a:lnTo>
                  <a:lnTo>
                    <a:pt x="347" y="337"/>
                  </a:lnTo>
                  <a:lnTo>
                    <a:pt x="344" y="337"/>
                  </a:lnTo>
                  <a:lnTo>
                    <a:pt x="343" y="337"/>
                  </a:lnTo>
                  <a:lnTo>
                    <a:pt x="341" y="337"/>
                  </a:lnTo>
                  <a:lnTo>
                    <a:pt x="341" y="337"/>
                  </a:lnTo>
                  <a:lnTo>
                    <a:pt x="340" y="337"/>
                  </a:lnTo>
                  <a:lnTo>
                    <a:pt x="339" y="336"/>
                  </a:lnTo>
                  <a:lnTo>
                    <a:pt x="338" y="336"/>
                  </a:lnTo>
                  <a:lnTo>
                    <a:pt x="338" y="336"/>
                  </a:lnTo>
                  <a:lnTo>
                    <a:pt x="337" y="336"/>
                  </a:lnTo>
                  <a:lnTo>
                    <a:pt x="337" y="336"/>
                  </a:lnTo>
                  <a:lnTo>
                    <a:pt x="336" y="336"/>
                  </a:lnTo>
                  <a:lnTo>
                    <a:pt x="334" y="337"/>
                  </a:lnTo>
                  <a:lnTo>
                    <a:pt x="333" y="337"/>
                  </a:lnTo>
                  <a:lnTo>
                    <a:pt x="332" y="338"/>
                  </a:lnTo>
                  <a:lnTo>
                    <a:pt x="329" y="338"/>
                  </a:lnTo>
                  <a:lnTo>
                    <a:pt x="327" y="339"/>
                  </a:lnTo>
                  <a:lnTo>
                    <a:pt x="326" y="339"/>
                  </a:lnTo>
                  <a:lnTo>
                    <a:pt x="325" y="339"/>
                  </a:lnTo>
                  <a:lnTo>
                    <a:pt x="324" y="339"/>
                  </a:lnTo>
                  <a:lnTo>
                    <a:pt x="324" y="339"/>
                  </a:lnTo>
                  <a:lnTo>
                    <a:pt x="323" y="338"/>
                  </a:lnTo>
                  <a:lnTo>
                    <a:pt x="322" y="338"/>
                  </a:lnTo>
                  <a:lnTo>
                    <a:pt x="321" y="337"/>
                  </a:lnTo>
                  <a:lnTo>
                    <a:pt x="320" y="337"/>
                  </a:lnTo>
                  <a:lnTo>
                    <a:pt x="316" y="334"/>
                  </a:lnTo>
                  <a:lnTo>
                    <a:pt x="315" y="333"/>
                  </a:lnTo>
                  <a:lnTo>
                    <a:pt x="314" y="332"/>
                  </a:lnTo>
                  <a:lnTo>
                    <a:pt x="313" y="331"/>
                  </a:lnTo>
                  <a:lnTo>
                    <a:pt x="311" y="331"/>
                  </a:lnTo>
                  <a:lnTo>
                    <a:pt x="309" y="330"/>
                  </a:lnTo>
                  <a:lnTo>
                    <a:pt x="306" y="329"/>
                  </a:lnTo>
                  <a:lnTo>
                    <a:pt x="305" y="328"/>
                  </a:lnTo>
                  <a:lnTo>
                    <a:pt x="305" y="328"/>
                  </a:lnTo>
                  <a:lnTo>
                    <a:pt x="303" y="327"/>
                  </a:lnTo>
                  <a:lnTo>
                    <a:pt x="302" y="326"/>
                  </a:lnTo>
                  <a:lnTo>
                    <a:pt x="300" y="324"/>
                  </a:lnTo>
                  <a:lnTo>
                    <a:pt x="299" y="323"/>
                  </a:lnTo>
                  <a:lnTo>
                    <a:pt x="298" y="323"/>
                  </a:lnTo>
                  <a:lnTo>
                    <a:pt x="297" y="322"/>
                  </a:lnTo>
                  <a:lnTo>
                    <a:pt x="296" y="322"/>
                  </a:lnTo>
                  <a:lnTo>
                    <a:pt x="293" y="320"/>
                  </a:lnTo>
                  <a:lnTo>
                    <a:pt x="291" y="320"/>
                  </a:lnTo>
                  <a:lnTo>
                    <a:pt x="290" y="319"/>
                  </a:lnTo>
                  <a:lnTo>
                    <a:pt x="289" y="318"/>
                  </a:lnTo>
                  <a:lnTo>
                    <a:pt x="288" y="317"/>
                  </a:lnTo>
                  <a:lnTo>
                    <a:pt x="287" y="316"/>
                  </a:lnTo>
                  <a:lnTo>
                    <a:pt x="286" y="315"/>
                  </a:lnTo>
                  <a:lnTo>
                    <a:pt x="284" y="312"/>
                  </a:lnTo>
                  <a:lnTo>
                    <a:pt x="282" y="311"/>
                  </a:lnTo>
                  <a:lnTo>
                    <a:pt x="281" y="310"/>
                  </a:lnTo>
                  <a:lnTo>
                    <a:pt x="281" y="310"/>
                  </a:lnTo>
                  <a:lnTo>
                    <a:pt x="281" y="310"/>
                  </a:lnTo>
                  <a:lnTo>
                    <a:pt x="279" y="309"/>
                  </a:lnTo>
                  <a:lnTo>
                    <a:pt x="278" y="308"/>
                  </a:lnTo>
                  <a:lnTo>
                    <a:pt x="277" y="308"/>
                  </a:lnTo>
                  <a:lnTo>
                    <a:pt x="274" y="307"/>
                  </a:lnTo>
                  <a:lnTo>
                    <a:pt x="272" y="307"/>
                  </a:lnTo>
                  <a:lnTo>
                    <a:pt x="271" y="306"/>
                  </a:lnTo>
                  <a:lnTo>
                    <a:pt x="270" y="306"/>
                  </a:lnTo>
                  <a:lnTo>
                    <a:pt x="270" y="305"/>
                  </a:lnTo>
                  <a:lnTo>
                    <a:pt x="269" y="305"/>
                  </a:lnTo>
                  <a:lnTo>
                    <a:pt x="269" y="304"/>
                  </a:lnTo>
                  <a:lnTo>
                    <a:pt x="268" y="303"/>
                  </a:lnTo>
                  <a:lnTo>
                    <a:pt x="268" y="302"/>
                  </a:lnTo>
                  <a:lnTo>
                    <a:pt x="267" y="301"/>
                  </a:lnTo>
                  <a:lnTo>
                    <a:pt x="266" y="297"/>
                  </a:lnTo>
                  <a:lnTo>
                    <a:pt x="266" y="296"/>
                  </a:lnTo>
                  <a:lnTo>
                    <a:pt x="265" y="295"/>
                  </a:lnTo>
                  <a:lnTo>
                    <a:pt x="265" y="294"/>
                  </a:lnTo>
                  <a:lnTo>
                    <a:pt x="264" y="294"/>
                  </a:lnTo>
                  <a:lnTo>
                    <a:pt x="264" y="293"/>
                  </a:lnTo>
                  <a:lnTo>
                    <a:pt x="263" y="293"/>
                  </a:lnTo>
                  <a:lnTo>
                    <a:pt x="261" y="290"/>
                  </a:lnTo>
                  <a:lnTo>
                    <a:pt x="261" y="289"/>
                  </a:lnTo>
                  <a:lnTo>
                    <a:pt x="260" y="289"/>
                  </a:lnTo>
                  <a:lnTo>
                    <a:pt x="259" y="288"/>
                  </a:lnTo>
                  <a:lnTo>
                    <a:pt x="258" y="288"/>
                  </a:lnTo>
                  <a:lnTo>
                    <a:pt x="257" y="287"/>
                  </a:lnTo>
                  <a:lnTo>
                    <a:pt x="255" y="287"/>
                  </a:lnTo>
                  <a:lnTo>
                    <a:pt x="252" y="286"/>
                  </a:lnTo>
                  <a:lnTo>
                    <a:pt x="248" y="285"/>
                  </a:lnTo>
                  <a:lnTo>
                    <a:pt x="246" y="284"/>
                  </a:lnTo>
                  <a:lnTo>
                    <a:pt x="243" y="284"/>
                  </a:lnTo>
                  <a:lnTo>
                    <a:pt x="242" y="283"/>
                  </a:lnTo>
                  <a:lnTo>
                    <a:pt x="241" y="283"/>
                  </a:lnTo>
                  <a:lnTo>
                    <a:pt x="240" y="283"/>
                  </a:lnTo>
                  <a:lnTo>
                    <a:pt x="239" y="283"/>
                  </a:lnTo>
                  <a:lnTo>
                    <a:pt x="238" y="284"/>
                  </a:lnTo>
                  <a:lnTo>
                    <a:pt x="236" y="285"/>
                  </a:lnTo>
                  <a:lnTo>
                    <a:pt x="234" y="285"/>
                  </a:lnTo>
                  <a:lnTo>
                    <a:pt x="233" y="286"/>
                  </a:lnTo>
                  <a:lnTo>
                    <a:pt x="232" y="287"/>
                  </a:lnTo>
                  <a:lnTo>
                    <a:pt x="232" y="287"/>
                  </a:lnTo>
                  <a:lnTo>
                    <a:pt x="229" y="290"/>
                  </a:lnTo>
                  <a:lnTo>
                    <a:pt x="228" y="290"/>
                  </a:lnTo>
                  <a:lnTo>
                    <a:pt x="228" y="291"/>
                  </a:lnTo>
                  <a:lnTo>
                    <a:pt x="227" y="291"/>
                  </a:lnTo>
                  <a:lnTo>
                    <a:pt x="226" y="292"/>
                  </a:lnTo>
                  <a:lnTo>
                    <a:pt x="223" y="293"/>
                  </a:lnTo>
                  <a:lnTo>
                    <a:pt x="222" y="294"/>
                  </a:lnTo>
                  <a:lnTo>
                    <a:pt x="221" y="294"/>
                  </a:lnTo>
                  <a:lnTo>
                    <a:pt x="218" y="296"/>
                  </a:lnTo>
                  <a:lnTo>
                    <a:pt x="217" y="297"/>
                  </a:lnTo>
                  <a:lnTo>
                    <a:pt x="216" y="297"/>
                  </a:lnTo>
                  <a:lnTo>
                    <a:pt x="215" y="297"/>
                  </a:lnTo>
                  <a:lnTo>
                    <a:pt x="215" y="297"/>
                  </a:lnTo>
                  <a:lnTo>
                    <a:pt x="214" y="297"/>
                  </a:lnTo>
                  <a:lnTo>
                    <a:pt x="214" y="297"/>
                  </a:lnTo>
                  <a:lnTo>
                    <a:pt x="213" y="297"/>
                  </a:lnTo>
                  <a:lnTo>
                    <a:pt x="212" y="297"/>
                  </a:lnTo>
                  <a:lnTo>
                    <a:pt x="211" y="297"/>
                  </a:lnTo>
                  <a:lnTo>
                    <a:pt x="210" y="297"/>
                  </a:lnTo>
                  <a:lnTo>
                    <a:pt x="210" y="297"/>
                  </a:lnTo>
                  <a:lnTo>
                    <a:pt x="209" y="296"/>
                  </a:lnTo>
                  <a:lnTo>
                    <a:pt x="209" y="296"/>
                  </a:lnTo>
                  <a:lnTo>
                    <a:pt x="208" y="295"/>
                  </a:lnTo>
                  <a:lnTo>
                    <a:pt x="207" y="295"/>
                  </a:lnTo>
                  <a:lnTo>
                    <a:pt x="207" y="294"/>
                  </a:lnTo>
                  <a:lnTo>
                    <a:pt x="206" y="293"/>
                  </a:lnTo>
                  <a:lnTo>
                    <a:pt x="206" y="292"/>
                  </a:lnTo>
                  <a:lnTo>
                    <a:pt x="205" y="289"/>
                  </a:lnTo>
                  <a:lnTo>
                    <a:pt x="204" y="287"/>
                  </a:lnTo>
                  <a:lnTo>
                    <a:pt x="204" y="286"/>
                  </a:lnTo>
                  <a:lnTo>
                    <a:pt x="203" y="284"/>
                  </a:lnTo>
                  <a:lnTo>
                    <a:pt x="202" y="283"/>
                  </a:lnTo>
                  <a:lnTo>
                    <a:pt x="201" y="283"/>
                  </a:lnTo>
                  <a:lnTo>
                    <a:pt x="201" y="282"/>
                  </a:lnTo>
                  <a:lnTo>
                    <a:pt x="200" y="282"/>
                  </a:lnTo>
                  <a:lnTo>
                    <a:pt x="200" y="281"/>
                  </a:lnTo>
                  <a:lnTo>
                    <a:pt x="199" y="280"/>
                  </a:lnTo>
                  <a:lnTo>
                    <a:pt x="199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6" y="281"/>
                  </a:lnTo>
                  <a:lnTo>
                    <a:pt x="194" y="282"/>
                  </a:lnTo>
                  <a:lnTo>
                    <a:pt x="193" y="283"/>
                  </a:lnTo>
                  <a:lnTo>
                    <a:pt x="192" y="284"/>
                  </a:lnTo>
                  <a:lnTo>
                    <a:pt x="191" y="285"/>
                  </a:lnTo>
                  <a:lnTo>
                    <a:pt x="190" y="286"/>
                  </a:lnTo>
                  <a:lnTo>
                    <a:pt x="189" y="286"/>
                  </a:lnTo>
                  <a:lnTo>
                    <a:pt x="189" y="287"/>
                  </a:lnTo>
                  <a:lnTo>
                    <a:pt x="188" y="288"/>
                  </a:lnTo>
                  <a:lnTo>
                    <a:pt x="188" y="288"/>
                  </a:lnTo>
                  <a:lnTo>
                    <a:pt x="187" y="289"/>
                  </a:lnTo>
                  <a:lnTo>
                    <a:pt x="186" y="292"/>
                  </a:lnTo>
                  <a:lnTo>
                    <a:pt x="186" y="293"/>
                  </a:lnTo>
                  <a:lnTo>
                    <a:pt x="185" y="293"/>
                  </a:lnTo>
                  <a:lnTo>
                    <a:pt x="185" y="294"/>
                  </a:lnTo>
                  <a:lnTo>
                    <a:pt x="184" y="295"/>
                  </a:lnTo>
                  <a:lnTo>
                    <a:pt x="184" y="295"/>
                  </a:lnTo>
                  <a:lnTo>
                    <a:pt x="183" y="296"/>
                  </a:lnTo>
                  <a:lnTo>
                    <a:pt x="182" y="297"/>
                  </a:lnTo>
                  <a:lnTo>
                    <a:pt x="181" y="297"/>
                  </a:lnTo>
                  <a:lnTo>
                    <a:pt x="180" y="297"/>
                  </a:lnTo>
                  <a:lnTo>
                    <a:pt x="178" y="298"/>
                  </a:lnTo>
                  <a:lnTo>
                    <a:pt x="176" y="298"/>
                  </a:lnTo>
                  <a:lnTo>
                    <a:pt x="175" y="299"/>
                  </a:lnTo>
                  <a:lnTo>
                    <a:pt x="172" y="300"/>
                  </a:lnTo>
                  <a:lnTo>
                    <a:pt x="171" y="301"/>
                  </a:lnTo>
                  <a:lnTo>
                    <a:pt x="170" y="301"/>
                  </a:lnTo>
                  <a:lnTo>
                    <a:pt x="170" y="301"/>
                  </a:lnTo>
                  <a:lnTo>
                    <a:pt x="168" y="301"/>
                  </a:lnTo>
                  <a:lnTo>
                    <a:pt x="167" y="301"/>
                  </a:lnTo>
                  <a:lnTo>
                    <a:pt x="167" y="301"/>
                  </a:lnTo>
                  <a:lnTo>
                    <a:pt x="165" y="300"/>
                  </a:lnTo>
                  <a:lnTo>
                    <a:pt x="163" y="299"/>
                  </a:lnTo>
                  <a:lnTo>
                    <a:pt x="161" y="299"/>
                  </a:lnTo>
                  <a:lnTo>
                    <a:pt x="161" y="298"/>
                  </a:lnTo>
                  <a:lnTo>
                    <a:pt x="160" y="298"/>
                  </a:lnTo>
                  <a:lnTo>
                    <a:pt x="159" y="298"/>
                  </a:lnTo>
                  <a:lnTo>
                    <a:pt x="158" y="298"/>
                  </a:lnTo>
                  <a:lnTo>
                    <a:pt x="156" y="298"/>
                  </a:lnTo>
                  <a:lnTo>
                    <a:pt x="155" y="298"/>
                  </a:lnTo>
                  <a:lnTo>
                    <a:pt x="153" y="298"/>
                  </a:lnTo>
                  <a:lnTo>
                    <a:pt x="152" y="298"/>
                  </a:lnTo>
                  <a:lnTo>
                    <a:pt x="151" y="298"/>
                  </a:lnTo>
                  <a:lnTo>
                    <a:pt x="148" y="298"/>
                  </a:lnTo>
                  <a:lnTo>
                    <a:pt x="147" y="298"/>
                  </a:lnTo>
                  <a:lnTo>
                    <a:pt x="146" y="298"/>
                  </a:lnTo>
                  <a:lnTo>
                    <a:pt x="144" y="298"/>
                  </a:lnTo>
                  <a:lnTo>
                    <a:pt x="144" y="298"/>
                  </a:lnTo>
                  <a:lnTo>
                    <a:pt x="143" y="298"/>
                  </a:lnTo>
                  <a:lnTo>
                    <a:pt x="142" y="297"/>
                  </a:lnTo>
                  <a:lnTo>
                    <a:pt x="141" y="297"/>
                  </a:lnTo>
                  <a:lnTo>
                    <a:pt x="140" y="297"/>
                  </a:lnTo>
                  <a:lnTo>
                    <a:pt x="139" y="295"/>
                  </a:lnTo>
                  <a:lnTo>
                    <a:pt x="138" y="295"/>
                  </a:lnTo>
                  <a:lnTo>
                    <a:pt x="138" y="295"/>
                  </a:lnTo>
                  <a:lnTo>
                    <a:pt x="137" y="294"/>
                  </a:lnTo>
                  <a:lnTo>
                    <a:pt x="137" y="294"/>
                  </a:lnTo>
                  <a:lnTo>
                    <a:pt x="136" y="294"/>
                  </a:lnTo>
                  <a:lnTo>
                    <a:pt x="136" y="294"/>
                  </a:lnTo>
                  <a:lnTo>
                    <a:pt x="136" y="294"/>
                  </a:lnTo>
                  <a:lnTo>
                    <a:pt x="135" y="294"/>
                  </a:lnTo>
                  <a:lnTo>
                    <a:pt x="132" y="296"/>
                  </a:lnTo>
                  <a:lnTo>
                    <a:pt x="131" y="297"/>
                  </a:lnTo>
                  <a:lnTo>
                    <a:pt x="130" y="297"/>
                  </a:lnTo>
                  <a:lnTo>
                    <a:pt x="128" y="297"/>
                  </a:lnTo>
                  <a:lnTo>
                    <a:pt x="127" y="297"/>
                  </a:lnTo>
                  <a:lnTo>
                    <a:pt x="126" y="298"/>
                  </a:lnTo>
                  <a:lnTo>
                    <a:pt x="125" y="298"/>
                  </a:lnTo>
                  <a:lnTo>
                    <a:pt x="125" y="299"/>
                  </a:lnTo>
                  <a:lnTo>
                    <a:pt x="124" y="299"/>
                  </a:lnTo>
                  <a:lnTo>
                    <a:pt x="123" y="300"/>
                  </a:lnTo>
                  <a:lnTo>
                    <a:pt x="123" y="301"/>
                  </a:lnTo>
                  <a:lnTo>
                    <a:pt x="122" y="301"/>
                  </a:lnTo>
                  <a:lnTo>
                    <a:pt x="122" y="302"/>
                  </a:lnTo>
                  <a:lnTo>
                    <a:pt x="121" y="304"/>
                  </a:lnTo>
                  <a:lnTo>
                    <a:pt x="121" y="304"/>
                  </a:lnTo>
                  <a:lnTo>
                    <a:pt x="120" y="305"/>
                  </a:lnTo>
                  <a:lnTo>
                    <a:pt x="120" y="306"/>
                  </a:lnTo>
                  <a:lnTo>
                    <a:pt x="118" y="307"/>
                  </a:lnTo>
                  <a:lnTo>
                    <a:pt x="117" y="308"/>
                  </a:lnTo>
                  <a:lnTo>
                    <a:pt x="116" y="308"/>
                  </a:lnTo>
                  <a:lnTo>
                    <a:pt x="115" y="309"/>
                  </a:lnTo>
                  <a:lnTo>
                    <a:pt x="114" y="309"/>
                  </a:lnTo>
                  <a:lnTo>
                    <a:pt x="112" y="311"/>
                  </a:lnTo>
                  <a:lnTo>
                    <a:pt x="111" y="311"/>
                  </a:lnTo>
                  <a:lnTo>
                    <a:pt x="110" y="312"/>
                  </a:lnTo>
                  <a:lnTo>
                    <a:pt x="109" y="312"/>
                  </a:lnTo>
                  <a:lnTo>
                    <a:pt x="108" y="313"/>
                  </a:lnTo>
                  <a:lnTo>
                    <a:pt x="107" y="313"/>
                  </a:lnTo>
                  <a:lnTo>
                    <a:pt x="106" y="313"/>
                  </a:lnTo>
                  <a:lnTo>
                    <a:pt x="105" y="313"/>
                  </a:lnTo>
                  <a:lnTo>
                    <a:pt x="104" y="314"/>
                  </a:lnTo>
                  <a:lnTo>
                    <a:pt x="103" y="314"/>
                  </a:lnTo>
                  <a:lnTo>
                    <a:pt x="102" y="314"/>
                  </a:lnTo>
                  <a:lnTo>
                    <a:pt x="102" y="314"/>
                  </a:lnTo>
                  <a:lnTo>
                    <a:pt x="101" y="313"/>
                  </a:lnTo>
                  <a:lnTo>
                    <a:pt x="100" y="313"/>
                  </a:lnTo>
                  <a:lnTo>
                    <a:pt x="99" y="313"/>
                  </a:lnTo>
                  <a:lnTo>
                    <a:pt x="98" y="312"/>
                  </a:lnTo>
                  <a:lnTo>
                    <a:pt x="98" y="312"/>
                  </a:lnTo>
                  <a:lnTo>
                    <a:pt x="97" y="312"/>
                  </a:lnTo>
                  <a:lnTo>
                    <a:pt x="97" y="311"/>
                  </a:lnTo>
                  <a:lnTo>
                    <a:pt x="97" y="311"/>
                  </a:lnTo>
                  <a:lnTo>
                    <a:pt x="97" y="311"/>
                  </a:lnTo>
                  <a:lnTo>
                    <a:pt x="97" y="310"/>
                  </a:lnTo>
                  <a:lnTo>
                    <a:pt x="97" y="309"/>
                  </a:lnTo>
                  <a:lnTo>
                    <a:pt x="97" y="307"/>
                  </a:lnTo>
                  <a:lnTo>
                    <a:pt x="97" y="307"/>
                  </a:lnTo>
                  <a:lnTo>
                    <a:pt x="97" y="306"/>
                  </a:lnTo>
                  <a:lnTo>
                    <a:pt x="97" y="305"/>
                  </a:lnTo>
                  <a:lnTo>
                    <a:pt x="97" y="305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6" y="303"/>
                  </a:lnTo>
                  <a:lnTo>
                    <a:pt x="96" y="303"/>
                  </a:lnTo>
                  <a:lnTo>
                    <a:pt x="96" y="302"/>
                  </a:lnTo>
                  <a:lnTo>
                    <a:pt x="94" y="302"/>
                  </a:lnTo>
                  <a:lnTo>
                    <a:pt x="93" y="301"/>
                  </a:lnTo>
                  <a:lnTo>
                    <a:pt x="91" y="299"/>
                  </a:lnTo>
                  <a:lnTo>
                    <a:pt x="90" y="299"/>
                  </a:lnTo>
                  <a:lnTo>
                    <a:pt x="89" y="298"/>
                  </a:lnTo>
                  <a:lnTo>
                    <a:pt x="88" y="298"/>
                  </a:lnTo>
                  <a:lnTo>
                    <a:pt x="87" y="298"/>
                  </a:lnTo>
                  <a:lnTo>
                    <a:pt x="85" y="297"/>
                  </a:lnTo>
                  <a:lnTo>
                    <a:pt x="84" y="297"/>
                  </a:lnTo>
                  <a:lnTo>
                    <a:pt x="83" y="297"/>
                  </a:lnTo>
                  <a:lnTo>
                    <a:pt x="79" y="296"/>
                  </a:lnTo>
                  <a:lnTo>
                    <a:pt x="76" y="295"/>
                  </a:lnTo>
                  <a:lnTo>
                    <a:pt x="75" y="294"/>
                  </a:lnTo>
                  <a:lnTo>
                    <a:pt x="74" y="294"/>
                  </a:lnTo>
                  <a:lnTo>
                    <a:pt x="74" y="294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5" y="290"/>
                  </a:lnTo>
                  <a:lnTo>
                    <a:pt x="75" y="290"/>
                  </a:lnTo>
                  <a:lnTo>
                    <a:pt x="75" y="289"/>
                  </a:lnTo>
                  <a:lnTo>
                    <a:pt x="75" y="288"/>
                  </a:lnTo>
                  <a:lnTo>
                    <a:pt x="74" y="287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5" y="285"/>
                  </a:lnTo>
                  <a:lnTo>
                    <a:pt x="75" y="284"/>
                  </a:lnTo>
                  <a:lnTo>
                    <a:pt x="76" y="283"/>
                  </a:lnTo>
                  <a:lnTo>
                    <a:pt x="77" y="282"/>
                  </a:lnTo>
                  <a:lnTo>
                    <a:pt x="78" y="280"/>
                  </a:lnTo>
                  <a:lnTo>
                    <a:pt x="79" y="279"/>
                  </a:lnTo>
                  <a:lnTo>
                    <a:pt x="80" y="278"/>
                  </a:lnTo>
                  <a:lnTo>
                    <a:pt x="81" y="276"/>
                  </a:lnTo>
                  <a:lnTo>
                    <a:pt x="82" y="275"/>
                  </a:lnTo>
                  <a:lnTo>
                    <a:pt x="82" y="274"/>
                  </a:lnTo>
                  <a:lnTo>
                    <a:pt x="83" y="272"/>
                  </a:lnTo>
                  <a:lnTo>
                    <a:pt x="83" y="271"/>
                  </a:lnTo>
                  <a:lnTo>
                    <a:pt x="84" y="270"/>
                  </a:lnTo>
                  <a:lnTo>
                    <a:pt x="84" y="269"/>
                  </a:lnTo>
                  <a:lnTo>
                    <a:pt x="84" y="268"/>
                  </a:lnTo>
                  <a:lnTo>
                    <a:pt x="84" y="268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3" y="265"/>
                  </a:lnTo>
                  <a:lnTo>
                    <a:pt x="83" y="264"/>
                  </a:lnTo>
                  <a:lnTo>
                    <a:pt x="82" y="262"/>
                  </a:lnTo>
                  <a:lnTo>
                    <a:pt x="82" y="261"/>
                  </a:lnTo>
                  <a:lnTo>
                    <a:pt x="80" y="259"/>
                  </a:lnTo>
                  <a:lnTo>
                    <a:pt x="79" y="258"/>
                  </a:lnTo>
                  <a:lnTo>
                    <a:pt x="78" y="256"/>
                  </a:lnTo>
                  <a:lnTo>
                    <a:pt x="78" y="255"/>
                  </a:lnTo>
                  <a:lnTo>
                    <a:pt x="78" y="255"/>
                  </a:lnTo>
                  <a:lnTo>
                    <a:pt x="78" y="254"/>
                  </a:lnTo>
                  <a:lnTo>
                    <a:pt x="78" y="252"/>
                  </a:lnTo>
                  <a:lnTo>
                    <a:pt x="78" y="250"/>
                  </a:lnTo>
                  <a:lnTo>
                    <a:pt x="78" y="249"/>
                  </a:lnTo>
                  <a:lnTo>
                    <a:pt x="78" y="248"/>
                  </a:lnTo>
                  <a:lnTo>
                    <a:pt x="78" y="247"/>
                  </a:lnTo>
                  <a:lnTo>
                    <a:pt x="78" y="244"/>
                  </a:lnTo>
                  <a:lnTo>
                    <a:pt x="79" y="243"/>
                  </a:lnTo>
                  <a:lnTo>
                    <a:pt x="79" y="241"/>
                  </a:lnTo>
                  <a:lnTo>
                    <a:pt x="78" y="238"/>
                  </a:lnTo>
                  <a:lnTo>
                    <a:pt x="78" y="236"/>
                  </a:lnTo>
                  <a:lnTo>
                    <a:pt x="78" y="234"/>
                  </a:lnTo>
                  <a:lnTo>
                    <a:pt x="78" y="234"/>
                  </a:lnTo>
                  <a:lnTo>
                    <a:pt x="78" y="232"/>
                  </a:lnTo>
                  <a:lnTo>
                    <a:pt x="77" y="231"/>
                  </a:lnTo>
                  <a:lnTo>
                    <a:pt x="77" y="231"/>
                  </a:lnTo>
                  <a:lnTo>
                    <a:pt x="77" y="230"/>
                  </a:lnTo>
                  <a:lnTo>
                    <a:pt x="76" y="229"/>
                  </a:lnTo>
                  <a:lnTo>
                    <a:pt x="75" y="229"/>
                  </a:lnTo>
                  <a:lnTo>
                    <a:pt x="75" y="228"/>
                  </a:lnTo>
                  <a:lnTo>
                    <a:pt x="73" y="227"/>
                  </a:lnTo>
                  <a:lnTo>
                    <a:pt x="72" y="226"/>
                  </a:lnTo>
                  <a:lnTo>
                    <a:pt x="72" y="225"/>
                  </a:lnTo>
                  <a:lnTo>
                    <a:pt x="71" y="225"/>
                  </a:lnTo>
                  <a:lnTo>
                    <a:pt x="70" y="225"/>
                  </a:lnTo>
                  <a:lnTo>
                    <a:pt x="70" y="225"/>
                  </a:lnTo>
                  <a:lnTo>
                    <a:pt x="69" y="225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66" y="226"/>
                  </a:lnTo>
                  <a:lnTo>
                    <a:pt x="65" y="226"/>
                  </a:lnTo>
                  <a:lnTo>
                    <a:pt x="63" y="227"/>
                  </a:lnTo>
                  <a:lnTo>
                    <a:pt x="59" y="228"/>
                  </a:lnTo>
                  <a:lnTo>
                    <a:pt x="58" y="229"/>
                  </a:lnTo>
                  <a:lnTo>
                    <a:pt x="57" y="229"/>
                  </a:lnTo>
                  <a:lnTo>
                    <a:pt x="56" y="229"/>
                  </a:lnTo>
                  <a:lnTo>
                    <a:pt x="55" y="229"/>
                  </a:lnTo>
                  <a:lnTo>
                    <a:pt x="52" y="228"/>
                  </a:lnTo>
                  <a:lnTo>
                    <a:pt x="49" y="228"/>
                  </a:lnTo>
                  <a:lnTo>
                    <a:pt x="45" y="227"/>
                  </a:lnTo>
                  <a:lnTo>
                    <a:pt x="44" y="227"/>
                  </a:lnTo>
                  <a:lnTo>
                    <a:pt x="43" y="227"/>
                  </a:lnTo>
                  <a:lnTo>
                    <a:pt x="39" y="228"/>
                  </a:lnTo>
                  <a:lnTo>
                    <a:pt x="38" y="228"/>
                  </a:lnTo>
                  <a:lnTo>
                    <a:pt x="37" y="228"/>
                  </a:lnTo>
                  <a:lnTo>
                    <a:pt x="36" y="228"/>
                  </a:lnTo>
                  <a:lnTo>
                    <a:pt x="36" y="228"/>
                  </a:lnTo>
                  <a:lnTo>
                    <a:pt x="35" y="227"/>
                  </a:lnTo>
                  <a:lnTo>
                    <a:pt x="34" y="227"/>
                  </a:lnTo>
                  <a:lnTo>
                    <a:pt x="33" y="227"/>
                  </a:lnTo>
                  <a:lnTo>
                    <a:pt x="33" y="226"/>
                  </a:lnTo>
                  <a:lnTo>
                    <a:pt x="32" y="226"/>
                  </a:lnTo>
                  <a:lnTo>
                    <a:pt x="31" y="225"/>
                  </a:lnTo>
                  <a:lnTo>
                    <a:pt x="31" y="225"/>
                  </a:lnTo>
                  <a:lnTo>
                    <a:pt x="30" y="224"/>
                  </a:lnTo>
                  <a:lnTo>
                    <a:pt x="30" y="224"/>
                  </a:lnTo>
                  <a:lnTo>
                    <a:pt x="30" y="223"/>
                  </a:lnTo>
                  <a:lnTo>
                    <a:pt x="29" y="222"/>
                  </a:lnTo>
                  <a:lnTo>
                    <a:pt x="29" y="221"/>
                  </a:lnTo>
                  <a:lnTo>
                    <a:pt x="29" y="220"/>
                  </a:lnTo>
                  <a:lnTo>
                    <a:pt x="29" y="220"/>
                  </a:lnTo>
                  <a:lnTo>
                    <a:pt x="29" y="218"/>
                  </a:lnTo>
                  <a:lnTo>
                    <a:pt x="29" y="216"/>
                  </a:lnTo>
                  <a:lnTo>
                    <a:pt x="29" y="215"/>
                  </a:lnTo>
                  <a:lnTo>
                    <a:pt x="28" y="215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27" y="213"/>
                  </a:lnTo>
                  <a:lnTo>
                    <a:pt x="25" y="211"/>
                  </a:lnTo>
                  <a:lnTo>
                    <a:pt x="24" y="210"/>
                  </a:lnTo>
                  <a:lnTo>
                    <a:pt x="23" y="209"/>
                  </a:lnTo>
                  <a:lnTo>
                    <a:pt x="22" y="208"/>
                  </a:lnTo>
                  <a:lnTo>
                    <a:pt x="22" y="208"/>
                  </a:lnTo>
                  <a:lnTo>
                    <a:pt x="21" y="206"/>
                  </a:lnTo>
                  <a:lnTo>
                    <a:pt x="20" y="206"/>
                  </a:lnTo>
                  <a:lnTo>
                    <a:pt x="20" y="205"/>
                  </a:lnTo>
                  <a:lnTo>
                    <a:pt x="19" y="205"/>
                  </a:lnTo>
                  <a:lnTo>
                    <a:pt x="18" y="204"/>
                  </a:lnTo>
                  <a:lnTo>
                    <a:pt x="16" y="204"/>
                  </a:lnTo>
                  <a:lnTo>
                    <a:pt x="16" y="204"/>
                  </a:lnTo>
                  <a:lnTo>
                    <a:pt x="15" y="203"/>
                  </a:lnTo>
                  <a:lnTo>
                    <a:pt x="12" y="203"/>
                  </a:lnTo>
                  <a:lnTo>
                    <a:pt x="11" y="203"/>
                  </a:lnTo>
                  <a:lnTo>
                    <a:pt x="10" y="203"/>
                  </a:lnTo>
                  <a:lnTo>
                    <a:pt x="10" y="203"/>
                  </a:lnTo>
                  <a:lnTo>
                    <a:pt x="9" y="202"/>
                  </a:lnTo>
                  <a:lnTo>
                    <a:pt x="9" y="202"/>
                  </a:lnTo>
                  <a:lnTo>
                    <a:pt x="8" y="202"/>
                  </a:lnTo>
                  <a:lnTo>
                    <a:pt x="7" y="201"/>
                  </a:lnTo>
                  <a:lnTo>
                    <a:pt x="6" y="201"/>
                  </a:lnTo>
                  <a:lnTo>
                    <a:pt x="6" y="200"/>
                  </a:lnTo>
                  <a:lnTo>
                    <a:pt x="5" y="200"/>
                  </a:lnTo>
                  <a:lnTo>
                    <a:pt x="5" y="199"/>
                  </a:lnTo>
                  <a:lnTo>
                    <a:pt x="4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3" y="195"/>
                  </a:lnTo>
                  <a:lnTo>
                    <a:pt x="3" y="194"/>
                  </a:lnTo>
                  <a:lnTo>
                    <a:pt x="2" y="193"/>
                  </a:lnTo>
                  <a:lnTo>
                    <a:pt x="1" y="191"/>
                  </a:lnTo>
                  <a:lnTo>
                    <a:pt x="1" y="190"/>
                  </a:lnTo>
                  <a:lnTo>
                    <a:pt x="1" y="190"/>
                  </a:lnTo>
                  <a:lnTo>
                    <a:pt x="0" y="189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0" y="187"/>
                  </a:lnTo>
                  <a:lnTo>
                    <a:pt x="1" y="186"/>
                  </a:lnTo>
                  <a:lnTo>
                    <a:pt x="1" y="186"/>
                  </a:lnTo>
                  <a:lnTo>
                    <a:pt x="1" y="185"/>
                  </a:lnTo>
                  <a:lnTo>
                    <a:pt x="2" y="184"/>
                  </a:lnTo>
                  <a:lnTo>
                    <a:pt x="2" y="184"/>
                  </a:lnTo>
                  <a:lnTo>
                    <a:pt x="3" y="184"/>
                  </a:lnTo>
                  <a:lnTo>
                    <a:pt x="5" y="182"/>
                  </a:lnTo>
                  <a:lnTo>
                    <a:pt x="6" y="182"/>
                  </a:lnTo>
                  <a:lnTo>
                    <a:pt x="6" y="181"/>
                  </a:lnTo>
                  <a:lnTo>
                    <a:pt x="7" y="181"/>
                  </a:lnTo>
                  <a:lnTo>
                    <a:pt x="7" y="181"/>
                  </a:lnTo>
                  <a:lnTo>
                    <a:pt x="7" y="180"/>
                  </a:lnTo>
                  <a:lnTo>
                    <a:pt x="8" y="177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2" y="171"/>
                  </a:lnTo>
                  <a:lnTo>
                    <a:pt x="12" y="170"/>
                  </a:lnTo>
                  <a:lnTo>
                    <a:pt x="13" y="169"/>
                  </a:lnTo>
                  <a:lnTo>
                    <a:pt x="13" y="167"/>
                  </a:lnTo>
                  <a:lnTo>
                    <a:pt x="13" y="166"/>
                  </a:lnTo>
                  <a:lnTo>
                    <a:pt x="13" y="165"/>
                  </a:lnTo>
                  <a:lnTo>
                    <a:pt x="12" y="163"/>
                  </a:lnTo>
                  <a:lnTo>
                    <a:pt x="11" y="160"/>
                  </a:lnTo>
                  <a:lnTo>
                    <a:pt x="11" y="159"/>
                  </a:lnTo>
                  <a:lnTo>
                    <a:pt x="10" y="158"/>
                  </a:lnTo>
                  <a:lnTo>
                    <a:pt x="10" y="157"/>
                  </a:lnTo>
                  <a:lnTo>
                    <a:pt x="9" y="156"/>
                  </a:lnTo>
                  <a:lnTo>
                    <a:pt x="8" y="154"/>
                  </a:lnTo>
                  <a:lnTo>
                    <a:pt x="8" y="154"/>
                  </a:lnTo>
                  <a:lnTo>
                    <a:pt x="8" y="153"/>
                  </a:lnTo>
                  <a:lnTo>
                    <a:pt x="7" y="152"/>
                  </a:lnTo>
                  <a:lnTo>
                    <a:pt x="7" y="151"/>
                  </a:lnTo>
                  <a:lnTo>
                    <a:pt x="7" y="150"/>
                  </a:lnTo>
                  <a:lnTo>
                    <a:pt x="7" y="145"/>
                  </a:lnTo>
                  <a:lnTo>
                    <a:pt x="7" y="143"/>
                  </a:lnTo>
                  <a:lnTo>
                    <a:pt x="7" y="142"/>
                  </a:lnTo>
                  <a:lnTo>
                    <a:pt x="7" y="142"/>
                  </a:lnTo>
                  <a:lnTo>
                    <a:pt x="7" y="141"/>
                  </a:lnTo>
                  <a:lnTo>
                    <a:pt x="6" y="139"/>
                  </a:lnTo>
                  <a:lnTo>
                    <a:pt x="5" y="137"/>
                  </a:lnTo>
                  <a:lnTo>
                    <a:pt x="5" y="136"/>
                  </a:lnTo>
                  <a:lnTo>
                    <a:pt x="4" y="134"/>
                  </a:lnTo>
                  <a:lnTo>
                    <a:pt x="3" y="132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4" y="126"/>
                  </a:lnTo>
                  <a:lnTo>
                    <a:pt x="5" y="125"/>
                  </a:lnTo>
                  <a:lnTo>
                    <a:pt x="6" y="124"/>
                  </a:lnTo>
                  <a:lnTo>
                    <a:pt x="8" y="122"/>
                  </a:lnTo>
                  <a:lnTo>
                    <a:pt x="9" y="121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0" y="121"/>
                  </a:lnTo>
                  <a:lnTo>
                    <a:pt x="11" y="122"/>
                  </a:lnTo>
                  <a:lnTo>
                    <a:pt x="13" y="122"/>
                  </a:lnTo>
                  <a:lnTo>
                    <a:pt x="15" y="124"/>
                  </a:lnTo>
                  <a:lnTo>
                    <a:pt x="17" y="125"/>
                  </a:lnTo>
                  <a:lnTo>
                    <a:pt x="21" y="127"/>
                  </a:lnTo>
                  <a:lnTo>
                    <a:pt x="22" y="128"/>
                  </a:lnTo>
                  <a:lnTo>
                    <a:pt x="24" y="128"/>
                  </a:lnTo>
                  <a:lnTo>
                    <a:pt x="25" y="129"/>
                  </a:lnTo>
                  <a:lnTo>
                    <a:pt x="27" y="130"/>
                  </a:lnTo>
                  <a:lnTo>
                    <a:pt x="28" y="130"/>
                  </a:lnTo>
                  <a:lnTo>
                    <a:pt x="30" y="131"/>
                  </a:lnTo>
                  <a:lnTo>
                    <a:pt x="30" y="131"/>
                  </a:lnTo>
                  <a:lnTo>
                    <a:pt x="31" y="131"/>
                  </a:lnTo>
                  <a:lnTo>
                    <a:pt x="32" y="131"/>
                  </a:lnTo>
                  <a:lnTo>
                    <a:pt x="33" y="131"/>
                  </a:lnTo>
                  <a:lnTo>
                    <a:pt x="34" y="131"/>
                  </a:lnTo>
                  <a:lnTo>
                    <a:pt x="34" y="131"/>
                  </a:lnTo>
                  <a:lnTo>
                    <a:pt x="35" y="131"/>
                  </a:lnTo>
                  <a:lnTo>
                    <a:pt x="36" y="130"/>
                  </a:lnTo>
                  <a:lnTo>
                    <a:pt x="36" y="130"/>
                  </a:lnTo>
                  <a:lnTo>
                    <a:pt x="37" y="129"/>
                  </a:lnTo>
                  <a:lnTo>
                    <a:pt x="38" y="128"/>
                  </a:lnTo>
                  <a:lnTo>
                    <a:pt x="40" y="125"/>
                  </a:lnTo>
                  <a:lnTo>
                    <a:pt x="42" y="123"/>
                  </a:lnTo>
                  <a:lnTo>
                    <a:pt x="43" y="122"/>
                  </a:lnTo>
                  <a:lnTo>
                    <a:pt x="44" y="122"/>
                  </a:lnTo>
                  <a:lnTo>
                    <a:pt x="44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6" y="120"/>
                  </a:lnTo>
                  <a:lnTo>
                    <a:pt x="46" y="120"/>
                  </a:lnTo>
                  <a:lnTo>
                    <a:pt x="47" y="120"/>
                  </a:lnTo>
                  <a:lnTo>
                    <a:pt x="48" y="120"/>
                  </a:lnTo>
                  <a:lnTo>
                    <a:pt x="49" y="120"/>
                  </a:lnTo>
                  <a:lnTo>
                    <a:pt x="50" y="120"/>
                  </a:lnTo>
                  <a:lnTo>
                    <a:pt x="51" y="120"/>
                  </a:lnTo>
                  <a:lnTo>
                    <a:pt x="52" y="121"/>
                  </a:lnTo>
                  <a:lnTo>
                    <a:pt x="53" y="121"/>
                  </a:lnTo>
                  <a:lnTo>
                    <a:pt x="54" y="122"/>
                  </a:lnTo>
                  <a:lnTo>
                    <a:pt x="56" y="123"/>
                  </a:lnTo>
                  <a:lnTo>
                    <a:pt x="58" y="123"/>
                  </a:lnTo>
                  <a:lnTo>
                    <a:pt x="59" y="124"/>
                  </a:lnTo>
                  <a:lnTo>
                    <a:pt x="61" y="124"/>
                  </a:lnTo>
                  <a:lnTo>
                    <a:pt x="62" y="124"/>
                  </a:lnTo>
                  <a:lnTo>
                    <a:pt x="63" y="125"/>
                  </a:lnTo>
                  <a:lnTo>
                    <a:pt x="64" y="125"/>
                  </a:lnTo>
                  <a:lnTo>
                    <a:pt x="65" y="125"/>
                  </a:lnTo>
                  <a:lnTo>
                    <a:pt x="66" y="126"/>
                  </a:lnTo>
                  <a:lnTo>
                    <a:pt x="68" y="127"/>
                  </a:lnTo>
                  <a:lnTo>
                    <a:pt x="69" y="128"/>
                  </a:lnTo>
                  <a:lnTo>
                    <a:pt x="71" y="129"/>
                  </a:lnTo>
                  <a:lnTo>
                    <a:pt x="73" y="129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5" y="130"/>
                  </a:lnTo>
                  <a:lnTo>
                    <a:pt x="77" y="129"/>
                  </a:lnTo>
                  <a:lnTo>
                    <a:pt x="78" y="129"/>
                  </a:lnTo>
                  <a:lnTo>
                    <a:pt x="78" y="130"/>
                  </a:lnTo>
                  <a:lnTo>
                    <a:pt x="78" y="130"/>
                  </a:lnTo>
                  <a:lnTo>
                    <a:pt x="79" y="130"/>
                  </a:lnTo>
                  <a:lnTo>
                    <a:pt x="79" y="131"/>
                  </a:lnTo>
                  <a:lnTo>
                    <a:pt x="79" y="131"/>
                  </a:lnTo>
                  <a:lnTo>
                    <a:pt x="80" y="132"/>
                  </a:lnTo>
                  <a:lnTo>
                    <a:pt x="80" y="133"/>
                  </a:lnTo>
                  <a:lnTo>
                    <a:pt x="80" y="134"/>
                  </a:lnTo>
                  <a:lnTo>
                    <a:pt x="81" y="135"/>
                  </a:lnTo>
                  <a:lnTo>
                    <a:pt x="81" y="135"/>
                  </a:lnTo>
                  <a:lnTo>
                    <a:pt x="81" y="136"/>
                  </a:lnTo>
                  <a:lnTo>
                    <a:pt x="82" y="137"/>
                  </a:lnTo>
                  <a:lnTo>
                    <a:pt x="83" y="137"/>
                  </a:lnTo>
                  <a:lnTo>
                    <a:pt x="83" y="137"/>
                  </a:lnTo>
                  <a:lnTo>
                    <a:pt x="83" y="138"/>
                  </a:lnTo>
                  <a:lnTo>
                    <a:pt x="84" y="138"/>
                  </a:lnTo>
                  <a:lnTo>
                    <a:pt x="85" y="138"/>
                  </a:lnTo>
                  <a:lnTo>
                    <a:pt x="85" y="138"/>
                  </a:lnTo>
                  <a:lnTo>
                    <a:pt x="86" y="138"/>
                  </a:lnTo>
                  <a:lnTo>
                    <a:pt x="87" y="138"/>
                  </a:lnTo>
                  <a:lnTo>
                    <a:pt x="88" y="138"/>
                  </a:lnTo>
                  <a:lnTo>
                    <a:pt x="89" y="138"/>
                  </a:lnTo>
                  <a:lnTo>
                    <a:pt x="90" y="138"/>
                  </a:lnTo>
                  <a:lnTo>
                    <a:pt x="91" y="137"/>
                  </a:lnTo>
                  <a:lnTo>
                    <a:pt x="92" y="137"/>
                  </a:lnTo>
                  <a:lnTo>
                    <a:pt x="93" y="136"/>
                  </a:lnTo>
                  <a:lnTo>
                    <a:pt x="93" y="136"/>
                  </a:lnTo>
                  <a:lnTo>
                    <a:pt x="96" y="135"/>
                  </a:lnTo>
                  <a:lnTo>
                    <a:pt x="96" y="134"/>
                  </a:lnTo>
                  <a:lnTo>
                    <a:pt x="96" y="134"/>
                  </a:lnTo>
                  <a:lnTo>
                    <a:pt x="97" y="133"/>
                  </a:lnTo>
                  <a:lnTo>
                    <a:pt x="97" y="132"/>
                  </a:lnTo>
                  <a:lnTo>
                    <a:pt x="98" y="131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98" y="129"/>
                  </a:lnTo>
                  <a:lnTo>
                    <a:pt x="97" y="126"/>
                  </a:lnTo>
                  <a:lnTo>
                    <a:pt x="97" y="125"/>
                  </a:lnTo>
                  <a:lnTo>
                    <a:pt x="97" y="124"/>
                  </a:lnTo>
                  <a:lnTo>
                    <a:pt x="97" y="123"/>
                  </a:lnTo>
                  <a:lnTo>
                    <a:pt x="97" y="122"/>
                  </a:lnTo>
                  <a:lnTo>
                    <a:pt x="97" y="122"/>
                  </a:lnTo>
                  <a:lnTo>
                    <a:pt x="98" y="121"/>
                  </a:lnTo>
                  <a:lnTo>
                    <a:pt x="98" y="120"/>
                  </a:lnTo>
                  <a:lnTo>
                    <a:pt x="99" y="119"/>
                  </a:lnTo>
                  <a:lnTo>
                    <a:pt x="100" y="119"/>
                  </a:lnTo>
                  <a:lnTo>
                    <a:pt x="102" y="117"/>
                  </a:lnTo>
                  <a:lnTo>
                    <a:pt x="104" y="115"/>
                  </a:lnTo>
                  <a:lnTo>
                    <a:pt x="106" y="113"/>
                  </a:lnTo>
                  <a:lnTo>
                    <a:pt x="107" y="113"/>
                  </a:lnTo>
                  <a:lnTo>
                    <a:pt x="107" y="112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10" y="111"/>
                  </a:lnTo>
                  <a:lnTo>
                    <a:pt x="111" y="111"/>
                  </a:lnTo>
                  <a:lnTo>
                    <a:pt x="112" y="112"/>
                  </a:lnTo>
                  <a:lnTo>
                    <a:pt x="112" y="112"/>
                  </a:lnTo>
                  <a:lnTo>
                    <a:pt x="112" y="113"/>
                  </a:lnTo>
                  <a:lnTo>
                    <a:pt x="114" y="115"/>
                  </a:lnTo>
                  <a:lnTo>
                    <a:pt x="115" y="117"/>
                  </a:lnTo>
                  <a:lnTo>
                    <a:pt x="116" y="118"/>
                  </a:lnTo>
                  <a:lnTo>
                    <a:pt x="117" y="118"/>
                  </a:lnTo>
                  <a:lnTo>
                    <a:pt x="118" y="119"/>
                  </a:lnTo>
                  <a:lnTo>
                    <a:pt x="118" y="120"/>
                  </a:lnTo>
                  <a:lnTo>
                    <a:pt x="120" y="120"/>
                  </a:lnTo>
                  <a:lnTo>
                    <a:pt x="121" y="121"/>
                  </a:lnTo>
                  <a:lnTo>
                    <a:pt x="122" y="121"/>
                  </a:lnTo>
                  <a:lnTo>
                    <a:pt x="123" y="122"/>
                  </a:lnTo>
                  <a:lnTo>
                    <a:pt x="124" y="122"/>
                  </a:lnTo>
                  <a:lnTo>
                    <a:pt x="125" y="122"/>
                  </a:lnTo>
                  <a:lnTo>
                    <a:pt x="125" y="122"/>
                  </a:lnTo>
                  <a:lnTo>
                    <a:pt x="126" y="122"/>
                  </a:lnTo>
                  <a:lnTo>
                    <a:pt x="127" y="121"/>
                  </a:lnTo>
                  <a:lnTo>
                    <a:pt x="130" y="121"/>
                  </a:lnTo>
                  <a:lnTo>
                    <a:pt x="131" y="120"/>
                  </a:lnTo>
                  <a:lnTo>
                    <a:pt x="132" y="120"/>
                  </a:lnTo>
                  <a:lnTo>
                    <a:pt x="133" y="120"/>
                  </a:lnTo>
                  <a:lnTo>
                    <a:pt x="134" y="120"/>
                  </a:lnTo>
                  <a:lnTo>
                    <a:pt x="136" y="120"/>
                  </a:lnTo>
                  <a:lnTo>
                    <a:pt x="137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40" y="121"/>
                  </a:lnTo>
                  <a:lnTo>
                    <a:pt x="140" y="121"/>
                  </a:lnTo>
                  <a:lnTo>
                    <a:pt x="142" y="121"/>
                  </a:lnTo>
                  <a:lnTo>
                    <a:pt x="143" y="121"/>
                  </a:lnTo>
                  <a:lnTo>
                    <a:pt x="144" y="121"/>
                  </a:lnTo>
                  <a:lnTo>
                    <a:pt x="146" y="120"/>
                  </a:lnTo>
                  <a:lnTo>
                    <a:pt x="147" y="120"/>
                  </a:lnTo>
                  <a:lnTo>
                    <a:pt x="148" y="119"/>
                  </a:lnTo>
                  <a:lnTo>
                    <a:pt x="149" y="119"/>
                  </a:lnTo>
                  <a:lnTo>
                    <a:pt x="149" y="118"/>
                  </a:lnTo>
                  <a:lnTo>
                    <a:pt x="150" y="118"/>
                  </a:lnTo>
                  <a:lnTo>
                    <a:pt x="150" y="118"/>
                  </a:lnTo>
                  <a:lnTo>
                    <a:pt x="150" y="117"/>
                  </a:lnTo>
                  <a:lnTo>
                    <a:pt x="151" y="117"/>
                  </a:lnTo>
                  <a:lnTo>
                    <a:pt x="151" y="116"/>
                  </a:lnTo>
                  <a:lnTo>
                    <a:pt x="151" y="115"/>
                  </a:lnTo>
                  <a:lnTo>
                    <a:pt x="150" y="114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49" y="112"/>
                  </a:lnTo>
                  <a:lnTo>
                    <a:pt x="149" y="111"/>
                  </a:lnTo>
                  <a:lnTo>
                    <a:pt x="147" y="109"/>
                  </a:lnTo>
                  <a:lnTo>
                    <a:pt x="145" y="105"/>
                  </a:lnTo>
                  <a:lnTo>
                    <a:pt x="143" y="103"/>
                  </a:lnTo>
                  <a:lnTo>
                    <a:pt x="143" y="103"/>
                  </a:lnTo>
                  <a:lnTo>
                    <a:pt x="141" y="99"/>
                  </a:lnTo>
                  <a:lnTo>
                    <a:pt x="140" y="96"/>
                  </a:lnTo>
                  <a:lnTo>
                    <a:pt x="138" y="93"/>
                  </a:lnTo>
                  <a:lnTo>
                    <a:pt x="138" y="93"/>
                  </a:lnTo>
                  <a:lnTo>
                    <a:pt x="138" y="92"/>
                  </a:lnTo>
                  <a:lnTo>
                    <a:pt x="138" y="91"/>
                  </a:lnTo>
                  <a:lnTo>
                    <a:pt x="137" y="90"/>
                  </a:lnTo>
                  <a:lnTo>
                    <a:pt x="138" y="89"/>
                  </a:lnTo>
                  <a:lnTo>
                    <a:pt x="138" y="88"/>
                  </a:lnTo>
                  <a:lnTo>
                    <a:pt x="138" y="86"/>
                  </a:lnTo>
                  <a:lnTo>
                    <a:pt x="139" y="84"/>
                  </a:lnTo>
                  <a:lnTo>
                    <a:pt x="140" y="80"/>
                  </a:lnTo>
                  <a:lnTo>
                    <a:pt x="140" y="79"/>
                  </a:lnTo>
                  <a:lnTo>
                    <a:pt x="141" y="78"/>
                  </a:lnTo>
                  <a:lnTo>
                    <a:pt x="141" y="78"/>
                  </a:lnTo>
                  <a:lnTo>
                    <a:pt x="141" y="77"/>
                  </a:lnTo>
                  <a:lnTo>
                    <a:pt x="140" y="76"/>
                  </a:lnTo>
                  <a:lnTo>
                    <a:pt x="140" y="76"/>
                  </a:lnTo>
                  <a:lnTo>
                    <a:pt x="140" y="75"/>
                  </a:lnTo>
                  <a:lnTo>
                    <a:pt x="140" y="74"/>
                  </a:lnTo>
                  <a:lnTo>
                    <a:pt x="138" y="72"/>
                  </a:lnTo>
                  <a:lnTo>
                    <a:pt x="136" y="67"/>
                  </a:lnTo>
                  <a:lnTo>
                    <a:pt x="136" y="67"/>
                  </a:lnTo>
                  <a:lnTo>
                    <a:pt x="136" y="66"/>
                  </a:lnTo>
                  <a:lnTo>
                    <a:pt x="136" y="65"/>
                  </a:lnTo>
                  <a:lnTo>
                    <a:pt x="136" y="64"/>
                  </a:lnTo>
                  <a:lnTo>
                    <a:pt x="136" y="63"/>
                  </a:lnTo>
                  <a:lnTo>
                    <a:pt x="136" y="60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5" y="57"/>
                  </a:lnTo>
                  <a:lnTo>
                    <a:pt x="134" y="54"/>
                  </a:lnTo>
                  <a:lnTo>
                    <a:pt x="134" y="51"/>
                  </a:lnTo>
                  <a:lnTo>
                    <a:pt x="133" y="48"/>
                  </a:lnTo>
                  <a:lnTo>
                    <a:pt x="133" y="46"/>
                  </a:lnTo>
                  <a:lnTo>
                    <a:pt x="133" y="45"/>
                  </a:lnTo>
                  <a:lnTo>
                    <a:pt x="132" y="43"/>
                  </a:lnTo>
                  <a:lnTo>
                    <a:pt x="132" y="36"/>
                  </a:lnTo>
                  <a:lnTo>
                    <a:pt x="132" y="31"/>
                  </a:lnTo>
                  <a:lnTo>
                    <a:pt x="132" y="30"/>
                  </a:lnTo>
                  <a:lnTo>
                    <a:pt x="132" y="29"/>
                  </a:lnTo>
                  <a:lnTo>
                    <a:pt x="133" y="25"/>
                  </a:lnTo>
                  <a:lnTo>
                    <a:pt x="133" y="23"/>
                  </a:lnTo>
                  <a:lnTo>
                    <a:pt x="133" y="22"/>
                  </a:lnTo>
                  <a:lnTo>
                    <a:pt x="133" y="20"/>
                  </a:lnTo>
                  <a:lnTo>
                    <a:pt x="132" y="20"/>
                  </a:lnTo>
                  <a:lnTo>
                    <a:pt x="132" y="19"/>
                  </a:lnTo>
                  <a:lnTo>
                    <a:pt x="132" y="18"/>
                  </a:lnTo>
                  <a:lnTo>
                    <a:pt x="131" y="16"/>
                  </a:lnTo>
                  <a:lnTo>
                    <a:pt x="130" y="15"/>
                  </a:lnTo>
                  <a:lnTo>
                    <a:pt x="128" y="11"/>
                  </a:lnTo>
                  <a:lnTo>
                    <a:pt x="127" y="10"/>
                  </a:lnTo>
                  <a:lnTo>
                    <a:pt x="126" y="8"/>
                  </a:lnTo>
                  <a:lnTo>
                    <a:pt x="125" y="6"/>
                  </a:lnTo>
                  <a:lnTo>
                    <a:pt x="124" y="5"/>
                  </a:lnTo>
                  <a:lnTo>
                    <a:pt x="124" y="4"/>
                  </a:lnTo>
                  <a:lnTo>
                    <a:pt x="124" y="3"/>
                  </a:lnTo>
                  <a:lnTo>
                    <a:pt x="123" y="2"/>
                  </a:lnTo>
                  <a:lnTo>
                    <a:pt x="123" y="1"/>
                  </a:lnTo>
                  <a:lnTo>
                    <a:pt x="123" y="1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27" y="1"/>
                  </a:lnTo>
                  <a:close/>
                </a:path>
              </a:pathLst>
            </a:custGeom>
            <a:solidFill>
              <a:srgbClr val="BC8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 58">
              <a:extLst>
                <a:ext uri="{FF2B5EF4-FFF2-40B4-BE49-F238E27FC236}">
                  <a16:creationId xmlns:a16="http://schemas.microsoft.com/office/drawing/2014/main" id="{C2148246-71C8-16CA-44C2-3C29F3CD6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994"/>
              <a:ext cx="436" cy="338"/>
            </a:xfrm>
            <a:custGeom>
              <a:avLst/>
              <a:gdLst>
                <a:gd name="T0" fmla="*/ 164 w 436"/>
                <a:gd name="T1" fmla="*/ 11 h 338"/>
                <a:gd name="T2" fmla="*/ 194 w 436"/>
                <a:gd name="T3" fmla="*/ 15 h 338"/>
                <a:gd name="T4" fmla="*/ 211 w 436"/>
                <a:gd name="T5" fmla="*/ 23 h 338"/>
                <a:gd name="T6" fmla="*/ 225 w 436"/>
                <a:gd name="T7" fmla="*/ 47 h 338"/>
                <a:gd name="T8" fmla="*/ 252 w 436"/>
                <a:gd name="T9" fmla="*/ 41 h 338"/>
                <a:gd name="T10" fmla="*/ 263 w 436"/>
                <a:gd name="T11" fmla="*/ 65 h 338"/>
                <a:gd name="T12" fmla="*/ 263 w 436"/>
                <a:gd name="T13" fmla="*/ 78 h 338"/>
                <a:gd name="T14" fmla="*/ 278 w 436"/>
                <a:gd name="T15" fmla="*/ 71 h 338"/>
                <a:gd name="T16" fmla="*/ 298 w 436"/>
                <a:gd name="T17" fmla="*/ 54 h 338"/>
                <a:gd name="T18" fmla="*/ 319 w 436"/>
                <a:gd name="T19" fmla="*/ 65 h 338"/>
                <a:gd name="T20" fmla="*/ 330 w 436"/>
                <a:gd name="T21" fmla="*/ 51 h 338"/>
                <a:gd name="T22" fmla="*/ 350 w 436"/>
                <a:gd name="T23" fmla="*/ 51 h 338"/>
                <a:gd name="T24" fmla="*/ 378 w 436"/>
                <a:gd name="T25" fmla="*/ 70 h 338"/>
                <a:gd name="T26" fmla="*/ 386 w 436"/>
                <a:gd name="T27" fmla="*/ 92 h 338"/>
                <a:gd name="T28" fmla="*/ 375 w 436"/>
                <a:gd name="T29" fmla="*/ 116 h 338"/>
                <a:gd name="T30" fmla="*/ 356 w 436"/>
                <a:gd name="T31" fmla="*/ 126 h 338"/>
                <a:gd name="T32" fmla="*/ 338 w 436"/>
                <a:gd name="T33" fmla="*/ 138 h 338"/>
                <a:gd name="T34" fmla="*/ 328 w 436"/>
                <a:gd name="T35" fmla="*/ 151 h 338"/>
                <a:gd name="T36" fmla="*/ 322 w 436"/>
                <a:gd name="T37" fmla="*/ 159 h 338"/>
                <a:gd name="T38" fmla="*/ 335 w 436"/>
                <a:gd name="T39" fmla="*/ 172 h 338"/>
                <a:gd name="T40" fmla="*/ 349 w 436"/>
                <a:gd name="T41" fmla="*/ 184 h 338"/>
                <a:gd name="T42" fmla="*/ 368 w 436"/>
                <a:gd name="T43" fmla="*/ 184 h 338"/>
                <a:gd name="T44" fmla="*/ 381 w 436"/>
                <a:gd name="T45" fmla="*/ 207 h 338"/>
                <a:gd name="T46" fmla="*/ 406 w 436"/>
                <a:gd name="T47" fmla="*/ 230 h 338"/>
                <a:gd name="T48" fmla="*/ 428 w 436"/>
                <a:gd name="T49" fmla="*/ 255 h 338"/>
                <a:gd name="T50" fmla="*/ 436 w 436"/>
                <a:gd name="T51" fmla="*/ 288 h 338"/>
                <a:gd name="T52" fmla="*/ 417 w 436"/>
                <a:gd name="T53" fmla="*/ 283 h 338"/>
                <a:gd name="T54" fmla="*/ 407 w 436"/>
                <a:gd name="T55" fmla="*/ 285 h 338"/>
                <a:gd name="T56" fmla="*/ 384 w 436"/>
                <a:gd name="T57" fmla="*/ 303 h 338"/>
                <a:gd name="T58" fmla="*/ 367 w 436"/>
                <a:gd name="T59" fmla="*/ 320 h 338"/>
                <a:gd name="T60" fmla="*/ 360 w 436"/>
                <a:gd name="T61" fmla="*/ 331 h 338"/>
                <a:gd name="T62" fmla="*/ 350 w 436"/>
                <a:gd name="T63" fmla="*/ 335 h 338"/>
                <a:gd name="T64" fmla="*/ 329 w 436"/>
                <a:gd name="T65" fmla="*/ 337 h 338"/>
                <a:gd name="T66" fmla="*/ 305 w 436"/>
                <a:gd name="T67" fmla="*/ 327 h 338"/>
                <a:gd name="T68" fmla="*/ 282 w 436"/>
                <a:gd name="T69" fmla="*/ 310 h 338"/>
                <a:gd name="T70" fmla="*/ 266 w 436"/>
                <a:gd name="T71" fmla="*/ 296 h 338"/>
                <a:gd name="T72" fmla="*/ 243 w 436"/>
                <a:gd name="T73" fmla="*/ 283 h 338"/>
                <a:gd name="T74" fmla="*/ 222 w 436"/>
                <a:gd name="T75" fmla="*/ 293 h 338"/>
                <a:gd name="T76" fmla="*/ 207 w 436"/>
                <a:gd name="T77" fmla="*/ 294 h 338"/>
                <a:gd name="T78" fmla="*/ 198 w 436"/>
                <a:gd name="T79" fmla="*/ 279 h 338"/>
                <a:gd name="T80" fmla="*/ 184 w 436"/>
                <a:gd name="T81" fmla="*/ 294 h 338"/>
                <a:gd name="T82" fmla="*/ 161 w 436"/>
                <a:gd name="T83" fmla="*/ 298 h 338"/>
                <a:gd name="T84" fmla="*/ 141 w 436"/>
                <a:gd name="T85" fmla="*/ 296 h 338"/>
                <a:gd name="T86" fmla="*/ 125 w 436"/>
                <a:gd name="T87" fmla="*/ 297 h 338"/>
                <a:gd name="T88" fmla="*/ 111 w 436"/>
                <a:gd name="T89" fmla="*/ 310 h 338"/>
                <a:gd name="T90" fmla="*/ 97 w 436"/>
                <a:gd name="T91" fmla="*/ 310 h 338"/>
                <a:gd name="T92" fmla="*/ 91 w 436"/>
                <a:gd name="T93" fmla="*/ 298 h 338"/>
                <a:gd name="T94" fmla="*/ 75 w 436"/>
                <a:gd name="T95" fmla="*/ 289 h 338"/>
                <a:gd name="T96" fmla="*/ 83 w 436"/>
                <a:gd name="T97" fmla="*/ 270 h 338"/>
                <a:gd name="T98" fmla="*/ 78 w 436"/>
                <a:gd name="T99" fmla="*/ 251 h 338"/>
                <a:gd name="T100" fmla="*/ 75 w 436"/>
                <a:gd name="T101" fmla="*/ 228 h 338"/>
                <a:gd name="T102" fmla="*/ 56 w 436"/>
                <a:gd name="T103" fmla="*/ 228 h 338"/>
                <a:gd name="T104" fmla="*/ 31 w 436"/>
                <a:gd name="T105" fmla="*/ 224 h 338"/>
                <a:gd name="T106" fmla="*/ 24 w 436"/>
                <a:gd name="T107" fmla="*/ 209 h 338"/>
                <a:gd name="T108" fmla="*/ 9 w 436"/>
                <a:gd name="T109" fmla="*/ 201 h 338"/>
                <a:gd name="T110" fmla="*/ 0 w 436"/>
                <a:gd name="T111" fmla="*/ 187 h 338"/>
                <a:gd name="T112" fmla="*/ 9 w 436"/>
                <a:gd name="T113" fmla="*/ 174 h 338"/>
                <a:gd name="T114" fmla="*/ 8 w 436"/>
                <a:gd name="T115" fmla="*/ 152 h 338"/>
                <a:gd name="T116" fmla="*/ 3 w 436"/>
                <a:gd name="T117" fmla="*/ 128 h 338"/>
                <a:gd name="T118" fmla="*/ 21 w 436"/>
                <a:gd name="T119" fmla="*/ 126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6" h="338">
                  <a:moveTo>
                    <a:pt x="127" y="0"/>
                  </a:moveTo>
                  <a:lnTo>
                    <a:pt x="129" y="0"/>
                  </a:lnTo>
                  <a:lnTo>
                    <a:pt x="135" y="0"/>
                  </a:lnTo>
                  <a:lnTo>
                    <a:pt x="137" y="1"/>
                  </a:lnTo>
                  <a:lnTo>
                    <a:pt x="139" y="1"/>
                  </a:lnTo>
                  <a:lnTo>
                    <a:pt x="141" y="1"/>
                  </a:lnTo>
                  <a:lnTo>
                    <a:pt x="143" y="2"/>
                  </a:lnTo>
                  <a:lnTo>
                    <a:pt x="144" y="2"/>
                  </a:lnTo>
                  <a:lnTo>
                    <a:pt x="145" y="3"/>
                  </a:lnTo>
                  <a:lnTo>
                    <a:pt x="146" y="3"/>
                  </a:lnTo>
                  <a:lnTo>
                    <a:pt x="150" y="5"/>
                  </a:lnTo>
                  <a:lnTo>
                    <a:pt x="152" y="6"/>
                  </a:lnTo>
                  <a:lnTo>
                    <a:pt x="155" y="8"/>
                  </a:lnTo>
                  <a:lnTo>
                    <a:pt x="160" y="9"/>
                  </a:lnTo>
                  <a:lnTo>
                    <a:pt x="161" y="10"/>
                  </a:lnTo>
                  <a:lnTo>
                    <a:pt x="163" y="11"/>
                  </a:lnTo>
                  <a:lnTo>
                    <a:pt x="164" y="11"/>
                  </a:lnTo>
                  <a:lnTo>
                    <a:pt x="165" y="12"/>
                  </a:lnTo>
                  <a:lnTo>
                    <a:pt x="166" y="13"/>
                  </a:lnTo>
                  <a:lnTo>
                    <a:pt x="170" y="15"/>
                  </a:lnTo>
                  <a:lnTo>
                    <a:pt x="170" y="16"/>
                  </a:lnTo>
                  <a:lnTo>
                    <a:pt x="171" y="16"/>
                  </a:lnTo>
                  <a:lnTo>
                    <a:pt x="173" y="17"/>
                  </a:lnTo>
                  <a:lnTo>
                    <a:pt x="174" y="17"/>
                  </a:lnTo>
                  <a:lnTo>
                    <a:pt x="175" y="17"/>
                  </a:lnTo>
                  <a:lnTo>
                    <a:pt x="175" y="18"/>
                  </a:lnTo>
                  <a:lnTo>
                    <a:pt x="176" y="18"/>
                  </a:lnTo>
                  <a:lnTo>
                    <a:pt x="178" y="18"/>
                  </a:lnTo>
                  <a:lnTo>
                    <a:pt x="181" y="18"/>
                  </a:lnTo>
                  <a:lnTo>
                    <a:pt x="183" y="18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87" y="17"/>
                  </a:lnTo>
                  <a:lnTo>
                    <a:pt x="194" y="15"/>
                  </a:lnTo>
                  <a:lnTo>
                    <a:pt x="196" y="15"/>
                  </a:lnTo>
                  <a:lnTo>
                    <a:pt x="199" y="13"/>
                  </a:lnTo>
                  <a:lnTo>
                    <a:pt x="200" y="13"/>
                  </a:lnTo>
                  <a:lnTo>
                    <a:pt x="201" y="13"/>
                  </a:lnTo>
                  <a:lnTo>
                    <a:pt x="203" y="12"/>
                  </a:lnTo>
                  <a:lnTo>
                    <a:pt x="204" y="12"/>
                  </a:lnTo>
                  <a:lnTo>
                    <a:pt x="204" y="13"/>
                  </a:lnTo>
                  <a:lnTo>
                    <a:pt x="205" y="13"/>
                  </a:lnTo>
                  <a:lnTo>
                    <a:pt x="206" y="13"/>
                  </a:lnTo>
                  <a:lnTo>
                    <a:pt x="206" y="14"/>
                  </a:lnTo>
                  <a:lnTo>
                    <a:pt x="207" y="14"/>
                  </a:lnTo>
                  <a:lnTo>
                    <a:pt x="208" y="15"/>
                  </a:lnTo>
                  <a:lnTo>
                    <a:pt x="209" y="16"/>
                  </a:lnTo>
                  <a:lnTo>
                    <a:pt x="209" y="17"/>
                  </a:lnTo>
                  <a:lnTo>
                    <a:pt x="210" y="18"/>
                  </a:lnTo>
                  <a:lnTo>
                    <a:pt x="210" y="19"/>
                  </a:lnTo>
                  <a:lnTo>
                    <a:pt x="211" y="23"/>
                  </a:lnTo>
                  <a:lnTo>
                    <a:pt x="212" y="25"/>
                  </a:lnTo>
                  <a:lnTo>
                    <a:pt x="213" y="27"/>
                  </a:lnTo>
                  <a:lnTo>
                    <a:pt x="216" y="33"/>
                  </a:lnTo>
                  <a:lnTo>
                    <a:pt x="217" y="37"/>
                  </a:lnTo>
                  <a:lnTo>
                    <a:pt x="219" y="40"/>
                  </a:lnTo>
                  <a:lnTo>
                    <a:pt x="219" y="42"/>
                  </a:lnTo>
                  <a:lnTo>
                    <a:pt x="220" y="43"/>
                  </a:lnTo>
                  <a:lnTo>
                    <a:pt x="221" y="44"/>
                  </a:lnTo>
                  <a:lnTo>
                    <a:pt x="221" y="45"/>
                  </a:lnTo>
                  <a:lnTo>
                    <a:pt x="222" y="45"/>
                  </a:lnTo>
                  <a:lnTo>
                    <a:pt x="222" y="45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4" y="47"/>
                  </a:lnTo>
                  <a:lnTo>
                    <a:pt x="225" y="47"/>
                  </a:lnTo>
                  <a:lnTo>
                    <a:pt x="225" y="47"/>
                  </a:lnTo>
                  <a:lnTo>
                    <a:pt x="226" y="47"/>
                  </a:lnTo>
                  <a:lnTo>
                    <a:pt x="227" y="47"/>
                  </a:lnTo>
                  <a:lnTo>
                    <a:pt x="228" y="46"/>
                  </a:lnTo>
                  <a:lnTo>
                    <a:pt x="229" y="46"/>
                  </a:lnTo>
                  <a:lnTo>
                    <a:pt x="231" y="45"/>
                  </a:lnTo>
                  <a:lnTo>
                    <a:pt x="236" y="44"/>
                  </a:lnTo>
                  <a:lnTo>
                    <a:pt x="238" y="43"/>
                  </a:lnTo>
                  <a:lnTo>
                    <a:pt x="241" y="42"/>
                  </a:lnTo>
                  <a:lnTo>
                    <a:pt x="242" y="42"/>
                  </a:lnTo>
                  <a:lnTo>
                    <a:pt x="244" y="41"/>
                  </a:lnTo>
                  <a:lnTo>
                    <a:pt x="245" y="41"/>
                  </a:lnTo>
                  <a:lnTo>
                    <a:pt x="247" y="41"/>
                  </a:lnTo>
                  <a:lnTo>
                    <a:pt x="247" y="40"/>
                  </a:lnTo>
                  <a:lnTo>
                    <a:pt x="249" y="40"/>
                  </a:lnTo>
                  <a:lnTo>
                    <a:pt x="250" y="40"/>
                  </a:lnTo>
                  <a:lnTo>
                    <a:pt x="251" y="41"/>
                  </a:lnTo>
                  <a:lnTo>
                    <a:pt x="252" y="41"/>
                  </a:lnTo>
                  <a:lnTo>
                    <a:pt x="253" y="42"/>
                  </a:lnTo>
                  <a:lnTo>
                    <a:pt x="254" y="42"/>
                  </a:lnTo>
                  <a:lnTo>
                    <a:pt x="255" y="43"/>
                  </a:lnTo>
                  <a:lnTo>
                    <a:pt x="256" y="44"/>
                  </a:lnTo>
                  <a:lnTo>
                    <a:pt x="257" y="44"/>
                  </a:lnTo>
                  <a:lnTo>
                    <a:pt x="257" y="45"/>
                  </a:lnTo>
                  <a:lnTo>
                    <a:pt x="258" y="46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60" y="49"/>
                  </a:lnTo>
                  <a:lnTo>
                    <a:pt x="260" y="51"/>
                  </a:lnTo>
                  <a:lnTo>
                    <a:pt x="261" y="53"/>
                  </a:lnTo>
                  <a:lnTo>
                    <a:pt x="262" y="55"/>
                  </a:lnTo>
                  <a:lnTo>
                    <a:pt x="262" y="57"/>
                  </a:lnTo>
                  <a:lnTo>
                    <a:pt x="262" y="60"/>
                  </a:lnTo>
                  <a:lnTo>
                    <a:pt x="263" y="64"/>
                  </a:lnTo>
                  <a:lnTo>
                    <a:pt x="263" y="65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3" y="67"/>
                  </a:lnTo>
                  <a:lnTo>
                    <a:pt x="263" y="68"/>
                  </a:lnTo>
                  <a:lnTo>
                    <a:pt x="263" y="68"/>
                  </a:lnTo>
                  <a:lnTo>
                    <a:pt x="263" y="69"/>
                  </a:lnTo>
                  <a:lnTo>
                    <a:pt x="261" y="72"/>
                  </a:lnTo>
                  <a:lnTo>
                    <a:pt x="261" y="73"/>
                  </a:lnTo>
                  <a:lnTo>
                    <a:pt x="261" y="73"/>
                  </a:lnTo>
                  <a:lnTo>
                    <a:pt x="260" y="74"/>
                  </a:lnTo>
                  <a:lnTo>
                    <a:pt x="260" y="75"/>
                  </a:lnTo>
                  <a:lnTo>
                    <a:pt x="261" y="75"/>
                  </a:lnTo>
                  <a:lnTo>
                    <a:pt x="261" y="76"/>
                  </a:lnTo>
                  <a:lnTo>
                    <a:pt x="261" y="76"/>
                  </a:lnTo>
                  <a:lnTo>
                    <a:pt x="262" y="77"/>
                  </a:lnTo>
                  <a:lnTo>
                    <a:pt x="262" y="78"/>
                  </a:lnTo>
                  <a:lnTo>
                    <a:pt x="263" y="78"/>
                  </a:lnTo>
                  <a:lnTo>
                    <a:pt x="264" y="78"/>
                  </a:lnTo>
                  <a:lnTo>
                    <a:pt x="265" y="79"/>
                  </a:lnTo>
                  <a:lnTo>
                    <a:pt x="266" y="79"/>
                  </a:lnTo>
                  <a:lnTo>
                    <a:pt x="267" y="79"/>
                  </a:lnTo>
                  <a:lnTo>
                    <a:pt x="267" y="79"/>
                  </a:lnTo>
                  <a:lnTo>
                    <a:pt x="268" y="79"/>
                  </a:lnTo>
                  <a:lnTo>
                    <a:pt x="269" y="78"/>
                  </a:lnTo>
                  <a:lnTo>
                    <a:pt x="270" y="78"/>
                  </a:lnTo>
                  <a:lnTo>
                    <a:pt x="272" y="77"/>
                  </a:lnTo>
                  <a:lnTo>
                    <a:pt x="274" y="75"/>
                  </a:lnTo>
                  <a:lnTo>
                    <a:pt x="275" y="75"/>
                  </a:lnTo>
                  <a:lnTo>
                    <a:pt x="276" y="74"/>
                  </a:lnTo>
                  <a:lnTo>
                    <a:pt x="276" y="74"/>
                  </a:lnTo>
                  <a:lnTo>
                    <a:pt x="276" y="73"/>
                  </a:lnTo>
                  <a:lnTo>
                    <a:pt x="277" y="73"/>
                  </a:lnTo>
                  <a:lnTo>
                    <a:pt x="277" y="72"/>
                  </a:lnTo>
                  <a:lnTo>
                    <a:pt x="278" y="71"/>
                  </a:lnTo>
                  <a:lnTo>
                    <a:pt x="280" y="67"/>
                  </a:lnTo>
                  <a:lnTo>
                    <a:pt x="281" y="64"/>
                  </a:lnTo>
                  <a:lnTo>
                    <a:pt x="282" y="63"/>
                  </a:lnTo>
                  <a:lnTo>
                    <a:pt x="283" y="61"/>
                  </a:lnTo>
                  <a:lnTo>
                    <a:pt x="285" y="60"/>
                  </a:lnTo>
                  <a:lnTo>
                    <a:pt x="286" y="58"/>
                  </a:lnTo>
                  <a:lnTo>
                    <a:pt x="287" y="57"/>
                  </a:lnTo>
                  <a:lnTo>
                    <a:pt x="289" y="56"/>
                  </a:lnTo>
                  <a:lnTo>
                    <a:pt x="290" y="55"/>
                  </a:lnTo>
                  <a:lnTo>
                    <a:pt x="291" y="54"/>
                  </a:lnTo>
                  <a:lnTo>
                    <a:pt x="291" y="54"/>
                  </a:lnTo>
                  <a:lnTo>
                    <a:pt x="292" y="54"/>
                  </a:lnTo>
                  <a:lnTo>
                    <a:pt x="293" y="53"/>
                  </a:lnTo>
                  <a:lnTo>
                    <a:pt x="295" y="53"/>
                  </a:lnTo>
                  <a:lnTo>
                    <a:pt x="296" y="54"/>
                  </a:lnTo>
                  <a:lnTo>
                    <a:pt x="297" y="54"/>
                  </a:lnTo>
                  <a:lnTo>
                    <a:pt x="298" y="54"/>
                  </a:lnTo>
                  <a:lnTo>
                    <a:pt x="299" y="55"/>
                  </a:lnTo>
                  <a:lnTo>
                    <a:pt x="304" y="57"/>
                  </a:lnTo>
                  <a:lnTo>
                    <a:pt x="305" y="57"/>
                  </a:lnTo>
                  <a:lnTo>
                    <a:pt x="306" y="58"/>
                  </a:lnTo>
                  <a:lnTo>
                    <a:pt x="307" y="59"/>
                  </a:lnTo>
                  <a:lnTo>
                    <a:pt x="309" y="60"/>
                  </a:lnTo>
                  <a:lnTo>
                    <a:pt x="310" y="61"/>
                  </a:lnTo>
                  <a:lnTo>
                    <a:pt x="313" y="64"/>
                  </a:lnTo>
                  <a:lnTo>
                    <a:pt x="314" y="64"/>
                  </a:lnTo>
                  <a:lnTo>
                    <a:pt x="315" y="65"/>
                  </a:lnTo>
                  <a:lnTo>
                    <a:pt x="315" y="65"/>
                  </a:lnTo>
                  <a:lnTo>
                    <a:pt x="316" y="65"/>
                  </a:lnTo>
                  <a:lnTo>
                    <a:pt x="316" y="65"/>
                  </a:lnTo>
                  <a:lnTo>
                    <a:pt x="317" y="65"/>
                  </a:lnTo>
                  <a:lnTo>
                    <a:pt x="318" y="65"/>
                  </a:lnTo>
                  <a:lnTo>
                    <a:pt x="319" y="65"/>
                  </a:lnTo>
                  <a:lnTo>
                    <a:pt x="319" y="65"/>
                  </a:lnTo>
                  <a:lnTo>
                    <a:pt x="320" y="65"/>
                  </a:lnTo>
                  <a:lnTo>
                    <a:pt x="321" y="65"/>
                  </a:lnTo>
                  <a:lnTo>
                    <a:pt x="322" y="64"/>
                  </a:lnTo>
                  <a:lnTo>
                    <a:pt x="322" y="64"/>
                  </a:lnTo>
                  <a:lnTo>
                    <a:pt x="323" y="63"/>
                  </a:lnTo>
                  <a:lnTo>
                    <a:pt x="323" y="63"/>
                  </a:lnTo>
                  <a:lnTo>
                    <a:pt x="324" y="62"/>
                  </a:lnTo>
                  <a:lnTo>
                    <a:pt x="324" y="62"/>
                  </a:lnTo>
                  <a:lnTo>
                    <a:pt x="325" y="61"/>
                  </a:lnTo>
                  <a:lnTo>
                    <a:pt x="325" y="60"/>
                  </a:lnTo>
                  <a:lnTo>
                    <a:pt x="326" y="56"/>
                  </a:lnTo>
                  <a:lnTo>
                    <a:pt x="327" y="54"/>
                  </a:lnTo>
                  <a:lnTo>
                    <a:pt x="328" y="53"/>
                  </a:lnTo>
                  <a:lnTo>
                    <a:pt x="329" y="52"/>
                  </a:lnTo>
                  <a:lnTo>
                    <a:pt x="329" y="52"/>
                  </a:lnTo>
                  <a:lnTo>
                    <a:pt x="330" y="51"/>
                  </a:lnTo>
                  <a:lnTo>
                    <a:pt x="330" y="51"/>
                  </a:lnTo>
                  <a:lnTo>
                    <a:pt x="330" y="50"/>
                  </a:lnTo>
                  <a:lnTo>
                    <a:pt x="331" y="50"/>
                  </a:lnTo>
                  <a:lnTo>
                    <a:pt x="332" y="49"/>
                  </a:lnTo>
                  <a:lnTo>
                    <a:pt x="332" y="49"/>
                  </a:lnTo>
                  <a:lnTo>
                    <a:pt x="333" y="49"/>
                  </a:lnTo>
                  <a:lnTo>
                    <a:pt x="334" y="49"/>
                  </a:lnTo>
                  <a:lnTo>
                    <a:pt x="335" y="49"/>
                  </a:lnTo>
                  <a:lnTo>
                    <a:pt x="336" y="49"/>
                  </a:lnTo>
                  <a:lnTo>
                    <a:pt x="338" y="49"/>
                  </a:lnTo>
                  <a:lnTo>
                    <a:pt x="339" y="49"/>
                  </a:lnTo>
                  <a:lnTo>
                    <a:pt x="340" y="49"/>
                  </a:lnTo>
                  <a:lnTo>
                    <a:pt x="341" y="49"/>
                  </a:lnTo>
                  <a:lnTo>
                    <a:pt x="345" y="50"/>
                  </a:lnTo>
                  <a:lnTo>
                    <a:pt x="346" y="50"/>
                  </a:lnTo>
                  <a:lnTo>
                    <a:pt x="347" y="50"/>
                  </a:lnTo>
                  <a:lnTo>
                    <a:pt x="348" y="51"/>
                  </a:lnTo>
                  <a:lnTo>
                    <a:pt x="350" y="51"/>
                  </a:lnTo>
                  <a:lnTo>
                    <a:pt x="353" y="51"/>
                  </a:lnTo>
                  <a:lnTo>
                    <a:pt x="354" y="51"/>
                  </a:lnTo>
                  <a:lnTo>
                    <a:pt x="356" y="51"/>
                  </a:lnTo>
                  <a:lnTo>
                    <a:pt x="357" y="51"/>
                  </a:lnTo>
                  <a:lnTo>
                    <a:pt x="358" y="51"/>
                  </a:lnTo>
                  <a:lnTo>
                    <a:pt x="359" y="52"/>
                  </a:lnTo>
                  <a:lnTo>
                    <a:pt x="360" y="52"/>
                  </a:lnTo>
                  <a:lnTo>
                    <a:pt x="361" y="53"/>
                  </a:lnTo>
                  <a:lnTo>
                    <a:pt x="362" y="54"/>
                  </a:lnTo>
                  <a:lnTo>
                    <a:pt x="365" y="56"/>
                  </a:lnTo>
                  <a:lnTo>
                    <a:pt x="367" y="58"/>
                  </a:lnTo>
                  <a:lnTo>
                    <a:pt x="367" y="58"/>
                  </a:lnTo>
                  <a:lnTo>
                    <a:pt x="369" y="60"/>
                  </a:lnTo>
                  <a:lnTo>
                    <a:pt x="371" y="63"/>
                  </a:lnTo>
                  <a:lnTo>
                    <a:pt x="374" y="66"/>
                  </a:lnTo>
                  <a:lnTo>
                    <a:pt x="376" y="68"/>
                  </a:lnTo>
                  <a:lnTo>
                    <a:pt x="378" y="70"/>
                  </a:lnTo>
                  <a:lnTo>
                    <a:pt x="381" y="73"/>
                  </a:lnTo>
                  <a:lnTo>
                    <a:pt x="383" y="75"/>
                  </a:lnTo>
                  <a:lnTo>
                    <a:pt x="385" y="77"/>
                  </a:lnTo>
                  <a:lnTo>
                    <a:pt x="386" y="79"/>
                  </a:lnTo>
                  <a:lnTo>
                    <a:pt x="388" y="80"/>
                  </a:lnTo>
                  <a:lnTo>
                    <a:pt x="388" y="82"/>
                  </a:lnTo>
                  <a:lnTo>
                    <a:pt x="389" y="83"/>
                  </a:lnTo>
                  <a:lnTo>
                    <a:pt x="389" y="84"/>
                  </a:lnTo>
                  <a:lnTo>
                    <a:pt x="389" y="85"/>
                  </a:lnTo>
                  <a:lnTo>
                    <a:pt x="389" y="86"/>
                  </a:lnTo>
                  <a:lnTo>
                    <a:pt x="389" y="87"/>
                  </a:lnTo>
                  <a:lnTo>
                    <a:pt x="389" y="88"/>
                  </a:lnTo>
                  <a:lnTo>
                    <a:pt x="389" y="89"/>
                  </a:lnTo>
                  <a:lnTo>
                    <a:pt x="389" y="89"/>
                  </a:lnTo>
                  <a:lnTo>
                    <a:pt x="388" y="90"/>
                  </a:lnTo>
                  <a:lnTo>
                    <a:pt x="388" y="91"/>
                  </a:lnTo>
                  <a:lnTo>
                    <a:pt x="386" y="92"/>
                  </a:lnTo>
                  <a:lnTo>
                    <a:pt x="384" y="94"/>
                  </a:lnTo>
                  <a:lnTo>
                    <a:pt x="384" y="95"/>
                  </a:lnTo>
                  <a:lnTo>
                    <a:pt x="383" y="95"/>
                  </a:lnTo>
                  <a:lnTo>
                    <a:pt x="383" y="96"/>
                  </a:lnTo>
                  <a:lnTo>
                    <a:pt x="382" y="97"/>
                  </a:lnTo>
                  <a:lnTo>
                    <a:pt x="381" y="100"/>
                  </a:lnTo>
                  <a:lnTo>
                    <a:pt x="381" y="102"/>
                  </a:lnTo>
                  <a:lnTo>
                    <a:pt x="380" y="103"/>
                  </a:lnTo>
                  <a:lnTo>
                    <a:pt x="379" y="106"/>
                  </a:lnTo>
                  <a:lnTo>
                    <a:pt x="378" y="107"/>
                  </a:lnTo>
                  <a:lnTo>
                    <a:pt x="378" y="108"/>
                  </a:lnTo>
                  <a:lnTo>
                    <a:pt x="378" y="110"/>
                  </a:lnTo>
                  <a:lnTo>
                    <a:pt x="378" y="111"/>
                  </a:lnTo>
                  <a:lnTo>
                    <a:pt x="377" y="112"/>
                  </a:lnTo>
                  <a:lnTo>
                    <a:pt x="377" y="113"/>
                  </a:lnTo>
                  <a:lnTo>
                    <a:pt x="376" y="115"/>
                  </a:lnTo>
                  <a:lnTo>
                    <a:pt x="375" y="116"/>
                  </a:lnTo>
                  <a:lnTo>
                    <a:pt x="373" y="117"/>
                  </a:lnTo>
                  <a:lnTo>
                    <a:pt x="370" y="121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7" y="124"/>
                  </a:lnTo>
                  <a:lnTo>
                    <a:pt x="366" y="124"/>
                  </a:lnTo>
                  <a:lnTo>
                    <a:pt x="366" y="125"/>
                  </a:lnTo>
                  <a:lnTo>
                    <a:pt x="365" y="125"/>
                  </a:lnTo>
                  <a:lnTo>
                    <a:pt x="364" y="125"/>
                  </a:lnTo>
                  <a:lnTo>
                    <a:pt x="363" y="126"/>
                  </a:lnTo>
                  <a:lnTo>
                    <a:pt x="362" y="126"/>
                  </a:lnTo>
                  <a:lnTo>
                    <a:pt x="361" y="126"/>
                  </a:lnTo>
                  <a:lnTo>
                    <a:pt x="359" y="125"/>
                  </a:lnTo>
                  <a:lnTo>
                    <a:pt x="357" y="125"/>
                  </a:lnTo>
                  <a:lnTo>
                    <a:pt x="357" y="125"/>
                  </a:lnTo>
                  <a:lnTo>
                    <a:pt x="356" y="125"/>
                  </a:lnTo>
                  <a:lnTo>
                    <a:pt x="356" y="126"/>
                  </a:lnTo>
                  <a:lnTo>
                    <a:pt x="355" y="126"/>
                  </a:lnTo>
                  <a:lnTo>
                    <a:pt x="355" y="126"/>
                  </a:lnTo>
                  <a:lnTo>
                    <a:pt x="354" y="127"/>
                  </a:lnTo>
                  <a:lnTo>
                    <a:pt x="354" y="127"/>
                  </a:lnTo>
                  <a:lnTo>
                    <a:pt x="352" y="129"/>
                  </a:lnTo>
                  <a:lnTo>
                    <a:pt x="350" y="131"/>
                  </a:lnTo>
                  <a:lnTo>
                    <a:pt x="349" y="132"/>
                  </a:lnTo>
                  <a:lnTo>
                    <a:pt x="348" y="133"/>
                  </a:lnTo>
                  <a:lnTo>
                    <a:pt x="347" y="134"/>
                  </a:lnTo>
                  <a:lnTo>
                    <a:pt x="346" y="134"/>
                  </a:lnTo>
                  <a:lnTo>
                    <a:pt x="345" y="134"/>
                  </a:lnTo>
                  <a:lnTo>
                    <a:pt x="343" y="135"/>
                  </a:lnTo>
                  <a:lnTo>
                    <a:pt x="343" y="135"/>
                  </a:lnTo>
                  <a:lnTo>
                    <a:pt x="342" y="135"/>
                  </a:lnTo>
                  <a:lnTo>
                    <a:pt x="341" y="136"/>
                  </a:lnTo>
                  <a:lnTo>
                    <a:pt x="339" y="137"/>
                  </a:lnTo>
                  <a:lnTo>
                    <a:pt x="338" y="138"/>
                  </a:lnTo>
                  <a:lnTo>
                    <a:pt x="337" y="138"/>
                  </a:lnTo>
                  <a:lnTo>
                    <a:pt x="337" y="139"/>
                  </a:lnTo>
                  <a:lnTo>
                    <a:pt x="335" y="140"/>
                  </a:lnTo>
                  <a:lnTo>
                    <a:pt x="335" y="141"/>
                  </a:lnTo>
                  <a:lnTo>
                    <a:pt x="334" y="142"/>
                  </a:lnTo>
                  <a:lnTo>
                    <a:pt x="332" y="143"/>
                  </a:lnTo>
                  <a:lnTo>
                    <a:pt x="332" y="143"/>
                  </a:lnTo>
                  <a:lnTo>
                    <a:pt x="331" y="144"/>
                  </a:lnTo>
                  <a:lnTo>
                    <a:pt x="330" y="145"/>
                  </a:lnTo>
                  <a:lnTo>
                    <a:pt x="330" y="146"/>
                  </a:lnTo>
                  <a:lnTo>
                    <a:pt x="329" y="146"/>
                  </a:lnTo>
                  <a:lnTo>
                    <a:pt x="329" y="147"/>
                  </a:lnTo>
                  <a:lnTo>
                    <a:pt x="329" y="148"/>
                  </a:lnTo>
                  <a:lnTo>
                    <a:pt x="329" y="149"/>
                  </a:lnTo>
                  <a:lnTo>
                    <a:pt x="329" y="150"/>
                  </a:lnTo>
                  <a:lnTo>
                    <a:pt x="328" y="150"/>
                  </a:lnTo>
                  <a:lnTo>
                    <a:pt x="328" y="151"/>
                  </a:lnTo>
                  <a:lnTo>
                    <a:pt x="327" y="151"/>
                  </a:lnTo>
                  <a:lnTo>
                    <a:pt x="327" y="151"/>
                  </a:lnTo>
                  <a:lnTo>
                    <a:pt x="326" y="151"/>
                  </a:lnTo>
                  <a:lnTo>
                    <a:pt x="325" y="151"/>
                  </a:lnTo>
                  <a:lnTo>
                    <a:pt x="325" y="151"/>
                  </a:lnTo>
                  <a:lnTo>
                    <a:pt x="324" y="152"/>
                  </a:lnTo>
                  <a:lnTo>
                    <a:pt x="324" y="152"/>
                  </a:lnTo>
                  <a:lnTo>
                    <a:pt x="324" y="152"/>
                  </a:lnTo>
                  <a:lnTo>
                    <a:pt x="323" y="153"/>
                  </a:lnTo>
                  <a:lnTo>
                    <a:pt x="323" y="153"/>
                  </a:lnTo>
                  <a:lnTo>
                    <a:pt x="322" y="154"/>
                  </a:lnTo>
                  <a:lnTo>
                    <a:pt x="322" y="155"/>
                  </a:lnTo>
                  <a:lnTo>
                    <a:pt x="322" y="155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9"/>
                  </a:lnTo>
                  <a:lnTo>
                    <a:pt x="322" y="159"/>
                  </a:lnTo>
                  <a:lnTo>
                    <a:pt x="323" y="160"/>
                  </a:lnTo>
                  <a:lnTo>
                    <a:pt x="324" y="163"/>
                  </a:lnTo>
                  <a:lnTo>
                    <a:pt x="325" y="165"/>
                  </a:lnTo>
                  <a:lnTo>
                    <a:pt x="326" y="166"/>
                  </a:lnTo>
                  <a:lnTo>
                    <a:pt x="326" y="166"/>
                  </a:lnTo>
                  <a:lnTo>
                    <a:pt x="327" y="167"/>
                  </a:lnTo>
                  <a:lnTo>
                    <a:pt x="327" y="167"/>
                  </a:lnTo>
                  <a:lnTo>
                    <a:pt x="328" y="167"/>
                  </a:lnTo>
                  <a:lnTo>
                    <a:pt x="329" y="168"/>
                  </a:lnTo>
                  <a:lnTo>
                    <a:pt x="331" y="168"/>
                  </a:lnTo>
                  <a:lnTo>
                    <a:pt x="331" y="168"/>
                  </a:lnTo>
                  <a:lnTo>
                    <a:pt x="332" y="169"/>
                  </a:lnTo>
                  <a:lnTo>
                    <a:pt x="333" y="170"/>
                  </a:lnTo>
                  <a:lnTo>
                    <a:pt x="334" y="170"/>
                  </a:lnTo>
                  <a:lnTo>
                    <a:pt x="335" y="171"/>
                  </a:lnTo>
                  <a:lnTo>
                    <a:pt x="335" y="172"/>
                  </a:lnTo>
                  <a:lnTo>
                    <a:pt x="337" y="175"/>
                  </a:lnTo>
                  <a:lnTo>
                    <a:pt x="338" y="175"/>
                  </a:lnTo>
                  <a:lnTo>
                    <a:pt x="339" y="177"/>
                  </a:lnTo>
                  <a:lnTo>
                    <a:pt x="339" y="177"/>
                  </a:lnTo>
                  <a:lnTo>
                    <a:pt x="340" y="179"/>
                  </a:lnTo>
                  <a:lnTo>
                    <a:pt x="342" y="180"/>
                  </a:lnTo>
                  <a:lnTo>
                    <a:pt x="342" y="181"/>
                  </a:lnTo>
                  <a:lnTo>
                    <a:pt x="343" y="182"/>
                  </a:lnTo>
                  <a:lnTo>
                    <a:pt x="344" y="183"/>
                  </a:lnTo>
                  <a:lnTo>
                    <a:pt x="344" y="184"/>
                  </a:lnTo>
                  <a:lnTo>
                    <a:pt x="345" y="184"/>
                  </a:lnTo>
                  <a:lnTo>
                    <a:pt x="346" y="185"/>
                  </a:lnTo>
                  <a:lnTo>
                    <a:pt x="346" y="185"/>
                  </a:lnTo>
                  <a:lnTo>
                    <a:pt x="347" y="185"/>
                  </a:lnTo>
                  <a:lnTo>
                    <a:pt x="348" y="185"/>
                  </a:lnTo>
                  <a:lnTo>
                    <a:pt x="348" y="185"/>
                  </a:lnTo>
                  <a:lnTo>
                    <a:pt x="349" y="184"/>
                  </a:lnTo>
                  <a:lnTo>
                    <a:pt x="352" y="183"/>
                  </a:lnTo>
                  <a:lnTo>
                    <a:pt x="353" y="182"/>
                  </a:lnTo>
                  <a:lnTo>
                    <a:pt x="353" y="182"/>
                  </a:lnTo>
                  <a:lnTo>
                    <a:pt x="354" y="182"/>
                  </a:lnTo>
                  <a:lnTo>
                    <a:pt x="355" y="182"/>
                  </a:lnTo>
                  <a:lnTo>
                    <a:pt x="356" y="182"/>
                  </a:lnTo>
                  <a:lnTo>
                    <a:pt x="358" y="182"/>
                  </a:lnTo>
                  <a:lnTo>
                    <a:pt x="359" y="182"/>
                  </a:lnTo>
                  <a:lnTo>
                    <a:pt x="361" y="182"/>
                  </a:lnTo>
                  <a:lnTo>
                    <a:pt x="362" y="182"/>
                  </a:lnTo>
                  <a:lnTo>
                    <a:pt x="363" y="182"/>
                  </a:lnTo>
                  <a:lnTo>
                    <a:pt x="365" y="182"/>
                  </a:lnTo>
                  <a:lnTo>
                    <a:pt x="365" y="183"/>
                  </a:lnTo>
                  <a:lnTo>
                    <a:pt x="366" y="183"/>
                  </a:lnTo>
                  <a:lnTo>
                    <a:pt x="367" y="184"/>
                  </a:lnTo>
                  <a:lnTo>
                    <a:pt x="368" y="184"/>
                  </a:lnTo>
                  <a:lnTo>
                    <a:pt x="368" y="184"/>
                  </a:lnTo>
                  <a:lnTo>
                    <a:pt x="368" y="185"/>
                  </a:lnTo>
                  <a:lnTo>
                    <a:pt x="369" y="186"/>
                  </a:lnTo>
                  <a:lnTo>
                    <a:pt x="370" y="188"/>
                  </a:lnTo>
                  <a:lnTo>
                    <a:pt x="370" y="189"/>
                  </a:lnTo>
                  <a:lnTo>
                    <a:pt x="371" y="193"/>
                  </a:lnTo>
                  <a:lnTo>
                    <a:pt x="372" y="195"/>
                  </a:lnTo>
                  <a:lnTo>
                    <a:pt x="372" y="196"/>
                  </a:lnTo>
                  <a:lnTo>
                    <a:pt x="373" y="197"/>
                  </a:lnTo>
                  <a:lnTo>
                    <a:pt x="373" y="199"/>
                  </a:lnTo>
                  <a:lnTo>
                    <a:pt x="374" y="200"/>
                  </a:lnTo>
                  <a:lnTo>
                    <a:pt x="375" y="202"/>
                  </a:lnTo>
                  <a:lnTo>
                    <a:pt x="376" y="202"/>
                  </a:lnTo>
                  <a:lnTo>
                    <a:pt x="377" y="204"/>
                  </a:lnTo>
                  <a:lnTo>
                    <a:pt x="378" y="204"/>
                  </a:lnTo>
                  <a:lnTo>
                    <a:pt x="379" y="205"/>
                  </a:lnTo>
                  <a:lnTo>
                    <a:pt x="380" y="206"/>
                  </a:lnTo>
                  <a:lnTo>
                    <a:pt x="381" y="207"/>
                  </a:lnTo>
                  <a:lnTo>
                    <a:pt x="382" y="207"/>
                  </a:lnTo>
                  <a:lnTo>
                    <a:pt x="383" y="207"/>
                  </a:lnTo>
                  <a:lnTo>
                    <a:pt x="386" y="207"/>
                  </a:lnTo>
                  <a:lnTo>
                    <a:pt x="387" y="208"/>
                  </a:lnTo>
                  <a:lnTo>
                    <a:pt x="388" y="208"/>
                  </a:lnTo>
                  <a:lnTo>
                    <a:pt x="389" y="209"/>
                  </a:lnTo>
                  <a:lnTo>
                    <a:pt x="390" y="209"/>
                  </a:lnTo>
                  <a:lnTo>
                    <a:pt x="391" y="210"/>
                  </a:lnTo>
                  <a:lnTo>
                    <a:pt x="392" y="211"/>
                  </a:lnTo>
                  <a:lnTo>
                    <a:pt x="394" y="212"/>
                  </a:lnTo>
                  <a:lnTo>
                    <a:pt x="395" y="214"/>
                  </a:lnTo>
                  <a:lnTo>
                    <a:pt x="397" y="217"/>
                  </a:lnTo>
                  <a:lnTo>
                    <a:pt x="399" y="219"/>
                  </a:lnTo>
                  <a:lnTo>
                    <a:pt x="400" y="221"/>
                  </a:lnTo>
                  <a:lnTo>
                    <a:pt x="402" y="224"/>
                  </a:lnTo>
                  <a:lnTo>
                    <a:pt x="404" y="228"/>
                  </a:lnTo>
                  <a:lnTo>
                    <a:pt x="406" y="230"/>
                  </a:lnTo>
                  <a:lnTo>
                    <a:pt x="408" y="233"/>
                  </a:lnTo>
                  <a:lnTo>
                    <a:pt x="409" y="233"/>
                  </a:lnTo>
                  <a:lnTo>
                    <a:pt x="410" y="234"/>
                  </a:lnTo>
                  <a:lnTo>
                    <a:pt x="413" y="237"/>
                  </a:lnTo>
                  <a:lnTo>
                    <a:pt x="416" y="242"/>
                  </a:lnTo>
                  <a:lnTo>
                    <a:pt x="417" y="243"/>
                  </a:lnTo>
                  <a:lnTo>
                    <a:pt x="418" y="244"/>
                  </a:lnTo>
                  <a:lnTo>
                    <a:pt x="419" y="245"/>
                  </a:lnTo>
                  <a:lnTo>
                    <a:pt x="422" y="247"/>
                  </a:lnTo>
                  <a:lnTo>
                    <a:pt x="423" y="248"/>
                  </a:lnTo>
                  <a:lnTo>
                    <a:pt x="423" y="248"/>
                  </a:lnTo>
                  <a:lnTo>
                    <a:pt x="424" y="249"/>
                  </a:lnTo>
                  <a:lnTo>
                    <a:pt x="425" y="251"/>
                  </a:lnTo>
                  <a:lnTo>
                    <a:pt x="426" y="252"/>
                  </a:lnTo>
                  <a:lnTo>
                    <a:pt x="426" y="253"/>
                  </a:lnTo>
                  <a:lnTo>
                    <a:pt x="427" y="254"/>
                  </a:lnTo>
                  <a:lnTo>
                    <a:pt x="428" y="255"/>
                  </a:lnTo>
                  <a:lnTo>
                    <a:pt x="428" y="258"/>
                  </a:lnTo>
                  <a:lnTo>
                    <a:pt x="429" y="259"/>
                  </a:lnTo>
                  <a:lnTo>
                    <a:pt x="429" y="261"/>
                  </a:lnTo>
                  <a:lnTo>
                    <a:pt x="429" y="265"/>
                  </a:lnTo>
                  <a:lnTo>
                    <a:pt x="429" y="268"/>
                  </a:lnTo>
                  <a:lnTo>
                    <a:pt x="430" y="270"/>
                  </a:lnTo>
                  <a:lnTo>
                    <a:pt x="430" y="272"/>
                  </a:lnTo>
                  <a:lnTo>
                    <a:pt x="431" y="275"/>
                  </a:lnTo>
                  <a:lnTo>
                    <a:pt x="431" y="277"/>
                  </a:lnTo>
                  <a:lnTo>
                    <a:pt x="431" y="277"/>
                  </a:lnTo>
                  <a:lnTo>
                    <a:pt x="431" y="278"/>
                  </a:lnTo>
                  <a:lnTo>
                    <a:pt x="432" y="280"/>
                  </a:lnTo>
                  <a:lnTo>
                    <a:pt x="433" y="282"/>
                  </a:lnTo>
                  <a:lnTo>
                    <a:pt x="435" y="285"/>
                  </a:lnTo>
                  <a:lnTo>
                    <a:pt x="436" y="286"/>
                  </a:lnTo>
                  <a:lnTo>
                    <a:pt x="436" y="287"/>
                  </a:lnTo>
                  <a:lnTo>
                    <a:pt x="436" y="288"/>
                  </a:lnTo>
                  <a:lnTo>
                    <a:pt x="436" y="289"/>
                  </a:lnTo>
                  <a:lnTo>
                    <a:pt x="436" y="289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5" y="290"/>
                  </a:lnTo>
                  <a:lnTo>
                    <a:pt x="434" y="290"/>
                  </a:lnTo>
                  <a:lnTo>
                    <a:pt x="433" y="290"/>
                  </a:lnTo>
                  <a:lnTo>
                    <a:pt x="431" y="289"/>
                  </a:lnTo>
                  <a:lnTo>
                    <a:pt x="430" y="289"/>
                  </a:lnTo>
                  <a:lnTo>
                    <a:pt x="425" y="287"/>
                  </a:lnTo>
                  <a:lnTo>
                    <a:pt x="423" y="286"/>
                  </a:lnTo>
                  <a:lnTo>
                    <a:pt x="421" y="285"/>
                  </a:lnTo>
                  <a:lnTo>
                    <a:pt x="420" y="284"/>
                  </a:lnTo>
                  <a:lnTo>
                    <a:pt x="417" y="283"/>
                  </a:lnTo>
                  <a:lnTo>
                    <a:pt x="417" y="282"/>
                  </a:lnTo>
                  <a:lnTo>
                    <a:pt x="416" y="282"/>
                  </a:lnTo>
                  <a:lnTo>
                    <a:pt x="414" y="281"/>
                  </a:lnTo>
                  <a:lnTo>
                    <a:pt x="414" y="281"/>
                  </a:lnTo>
                  <a:lnTo>
                    <a:pt x="413" y="281"/>
                  </a:lnTo>
                  <a:lnTo>
                    <a:pt x="412" y="281"/>
                  </a:lnTo>
                  <a:lnTo>
                    <a:pt x="412" y="281"/>
                  </a:lnTo>
                  <a:lnTo>
                    <a:pt x="411" y="281"/>
                  </a:lnTo>
                  <a:lnTo>
                    <a:pt x="411" y="281"/>
                  </a:lnTo>
                  <a:lnTo>
                    <a:pt x="410" y="281"/>
                  </a:lnTo>
                  <a:lnTo>
                    <a:pt x="410" y="281"/>
                  </a:lnTo>
                  <a:lnTo>
                    <a:pt x="409" y="282"/>
                  </a:lnTo>
                  <a:lnTo>
                    <a:pt x="408" y="282"/>
                  </a:lnTo>
                  <a:lnTo>
                    <a:pt x="408" y="282"/>
                  </a:lnTo>
                  <a:lnTo>
                    <a:pt x="407" y="283"/>
                  </a:lnTo>
                  <a:lnTo>
                    <a:pt x="407" y="284"/>
                  </a:lnTo>
                  <a:lnTo>
                    <a:pt x="407" y="285"/>
                  </a:lnTo>
                  <a:lnTo>
                    <a:pt x="405" y="288"/>
                  </a:lnTo>
                  <a:lnTo>
                    <a:pt x="404" y="290"/>
                  </a:lnTo>
                  <a:lnTo>
                    <a:pt x="404" y="291"/>
                  </a:lnTo>
                  <a:lnTo>
                    <a:pt x="403" y="292"/>
                  </a:lnTo>
                  <a:lnTo>
                    <a:pt x="402" y="292"/>
                  </a:lnTo>
                  <a:lnTo>
                    <a:pt x="401" y="293"/>
                  </a:lnTo>
                  <a:lnTo>
                    <a:pt x="400" y="294"/>
                  </a:lnTo>
                  <a:lnTo>
                    <a:pt x="399" y="295"/>
                  </a:lnTo>
                  <a:lnTo>
                    <a:pt x="398" y="296"/>
                  </a:lnTo>
                  <a:lnTo>
                    <a:pt x="396" y="296"/>
                  </a:lnTo>
                  <a:lnTo>
                    <a:pt x="394" y="297"/>
                  </a:lnTo>
                  <a:lnTo>
                    <a:pt x="392" y="299"/>
                  </a:lnTo>
                  <a:lnTo>
                    <a:pt x="392" y="299"/>
                  </a:lnTo>
                  <a:lnTo>
                    <a:pt x="390" y="300"/>
                  </a:lnTo>
                  <a:lnTo>
                    <a:pt x="390" y="300"/>
                  </a:lnTo>
                  <a:lnTo>
                    <a:pt x="387" y="302"/>
                  </a:lnTo>
                  <a:lnTo>
                    <a:pt x="384" y="303"/>
                  </a:lnTo>
                  <a:lnTo>
                    <a:pt x="382" y="304"/>
                  </a:lnTo>
                  <a:lnTo>
                    <a:pt x="381" y="304"/>
                  </a:lnTo>
                  <a:lnTo>
                    <a:pt x="380" y="305"/>
                  </a:lnTo>
                  <a:lnTo>
                    <a:pt x="378" y="307"/>
                  </a:lnTo>
                  <a:lnTo>
                    <a:pt x="376" y="308"/>
                  </a:lnTo>
                  <a:lnTo>
                    <a:pt x="374" y="309"/>
                  </a:lnTo>
                  <a:lnTo>
                    <a:pt x="372" y="311"/>
                  </a:lnTo>
                  <a:lnTo>
                    <a:pt x="371" y="311"/>
                  </a:lnTo>
                  <a:lnTo>
                    <a:pt x="370" y="312"/>
                  </a:lnTo>
                  <a:lnTo>
                    <a:pt x="369" y="313"/>
                  </a:lnTo>
                  <a:lnTo>
                    <a:pt x="368" y="314"/>
                  </a:lnTo>
                  <a:lnTo>
                    <a:pt x="368" y="315"/>
                  </a:lnTo>
                  <a:lnTo>
                    <a:pt x="368" y="315"/>
                  </a:lnTo>
                  <a:lnTo>
                    <a:pt x="367" y="316"/>
                  </a:lnTo>
                  <a:lnTo>
                    <a:pt x="367" y="317"/>
                  </a:lnTo>
                  <a:lnTo>
                    <a:pt x="367" y="317"/>
                  </a:lnTo>
                  <a:lnTo>
                    <a:pt x="367" y="320"/>
                  </a:lnTo>
                  <a:lnTo>
                    <a:pt x="367" y="320"/>
                  </a:lnTo>
                  <a:lnTo>
                    <a:pt x="367" y="321"/>
                  </a:lnTo>
                  <a:lnTo>
                    <a:pt x="366" y="322"/>
                  </a:lnTo>
                  <a:lnTo>
                    <a:pt x="366" y="322"/>
                  </a:lnTo>
                  <a:lnTo>
                    <a:pt x="366" y="323"/>
                  </a:lnTo>
                  <a:lnTo>
                    <a:pt x="365" y="324"/>
                  </a:lnTo>
                  <a:lnTo>
                    <a:pt x="364" y="325"/>
                  </a:lnTo>
                  <a:lnTo>
                    <a:pt x="362" y="326"/>
                  </a:lnTo>
                  <a:lnTo>
                    <a:pt x="361" y="327"/>
                  </a:lnTo>
                  <a:lnTo>
                    <a:pt x="361" y="327"/>
                  </a:lnTo>
                  <a:lnTo>
                    <a:pt x="361" y="327"/>
                  </a:lnTo>
                  <a:lnTo>
                    <a:pt x="360" y="328"/>
                  </a:lnTo>
                  <a:lnTo>
                    <a:pt x="360" y="329"/>
                  </a:lnTo>
                  <a:lnTo>
                    <a:pt x="360" y="329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1"/>
                  </a:lnTo>
                  <a:lnTo>
                    <a:pt x="361" y="334"/>
                  </a:lnTo>
                  <a:lnTo>
                    <a:pt x="361" y="334"/>
                  </a:lnTo>
                  <a:lnTo>
                    <a:pt x="361" y="335"/>
                  </a:lnTo>
                  <a:lnTo>
                    <a:pt x="361" y="335"/>
                  </a:lnTo>
                  <a:lnTo>
                    <a:pt x="361" y="336"/>
                  </a:lnTo>
                  <a:lnTo>
                    <a:pt x="360" y="336"/>
                  </a:lnTo>
                  <a:lnTo>
                    <a:pt x="360" y="336"/>
                  </a:lnTo>
                  <a:lnTo>
                    <a:pt x="359" y="336"/>
                  </a:lnTo>
                  <a:lnTo>
                    <a:pt x="359" y="337"/>
                  </a:lnTo>
                  <a:lnTo>
                    <a:pt x="358" y="337"/>
                  </a:lnTo>
                  <a:lnTo>
                    <a:pt x="357" y="337"/>
                  </a:lnTo>
                  <a:lnTo>
                    <a:pt x="356" y="337"/>
                  </a:lnTo>
                  <a:lnTo>
                    <a:pt x="355" y="336"/>
                  </a:lnTo>
                  <a:lnTo>
                    <a:pt x="353" y="336"/>
                  </a:lnTo>
                  <a:lnTo>
                    <a:pt x="352" y="335"/>
                  </a:lnTo>
                  <a:lnTo>
                    <a:pt x="351" y="335"/>
                  </a:lnTo>
                  <a:lnTo>
                    <a:pt x="350" y="335"/>
                  </a:lnTo>
                  <a:lnTo>
                    <a:pt x="349" y="335"/>
                  </a:lnTo>
                  <a:lnTo>
                    <a:pt x="347" y="336"/>
                  </a:lnTo>
                  <a:lnTo>
                    <a:pt x="344" y="336"/>
                  </a:lnTo>
                  <a:lnTo>
                    <a:pt x="343" y="336"/>
                  </a:lnTo>
                  <a:lnTo>
                    <a:pt x="341" y="336"/>
                  </a:lnTo>
                  <a:lnTo>
                    <a:pt x="341" y="336"/>
                  </a:lnTo>
                  <a:lnTo>
                    <a:pt x="340" y="336"/>
                  </a:lnTo>
                  <a:lnTo>
                    <a:pt x="339" y="335"/>
                  </a:lnTo>
                  <a:lnTo>
                    <a:pt x="338" y="335"/>
                  </a:lnTo>
                  <a:lnTo>
                    <a:pt x="338" y="335"/>
                  </a:lnTo>
                  <a:lnTo>
                    <a:pt x="337" y="335"/>
                  </a:lnTo>
                  <a:lnTo>
                    <a:pt x="337" y="335"/>
                  </a:lnTo>
                  <a:lnTo>
                    <a:pt x="336" y="335"/>
                  </a:lnTo>
                  <a:lnTo>
                    <a:pt x="334" y="336"/>
                  </a:lnTo>
                  <a:lnTo>
                    <a:pt x="333" y="336"/>
                  </a:lnTo>
                  <a:lnTo>
                    <a:pt x="332" y="337"/>
                  </a:lnTo>
                  <a:lnTo>
                    <a:pt x="329" y="337"/>
                  </a:lnTo>
                  <a:lnTo>
                    <a:pt x="327" y="338"/>
                  </a:lnTo>
                  <a:lnTo>
                    <a:pt x="326" y="338"/>
                  </a:lnTo>
                  <a:lnTo>
                    <a:pt x="325" y="338"/>
                  </a:lnTo>
                  <a:lnTo>
                    <a:pt x="324" y="338"/>
                  </a:lnTo>
                  <a:lnTo>
                    <a:pt x="324" y="338"/>
                  </a:lnTo>
                  <a:lnTo>
                    <a:pt x="323" y="337"/>
                  </a:lnTo>
                  <a:lnTo>
                    <a:pt x="322" y="337"/>
                  </a:lnTo>
                  <a:lnTo>
                    <a:pt x="321" y="336"/>
                  </a:lnTo>
                  <a:lnTo>
                    <a:pt x="320" y="336"/>
                  </a:lnTo>
                  <a:lnTo>
                    <a:pt x="316" y="333"/>
                  </a:lnTo>
                  <a:lnTo>
                    <a:pt x="315" y="332"/>
                  </a:lnTo>
                  <a:lnTo>
                    <a:pt x="314" y="331"/>
                  </a:lnTo>
                  <a:lnTo>
                    <a:pt x="313" y="330"/>
                  </a:lnTo>
                  <a:lnTo>
                    <a:pt x="311" y="330"/>
                  </a:lnTo>
                  <a:lnTo>
                    <a:pt x="309" y="329"/>
                  </a:lnTo>
                  <a:lnTo>
                    <a:pt x="306" y="328"/>
                  </a:lnTo>
                  <a:lnTo>
                    <a:pt x="305" y="327"/>
                  </a:lnTo>
                  <a:lnTo>
                    <a:pt x="305" y="327"/>
                  </a:lnTo>
                  <a:lnTo>
                    <a:pt x="303" y="326"/>
                  </a:lnTo>
                  <a:lnTo>
                    <a:pt x="302" y="325"/>
                  </a:lnTo>
                  <a:lnTo>
                    <a:pt x="300" y="323"/>
                  </a:lnTo>
                  <a:lnTo>
                    <a:pt x="299" y="322"/>
                  </a:lnTo>
                  <a:lnTo>
                    <a:pt x="298" y="322"/>
                  </a:lnTo>
                  <a:lnTo>
                    <a:pt x="297" y="321"/>
                  </a:lnTo>
                  <a:lnTo>
                    <a:pt x="296" y="321"/>
                  </a:lnTo>
                  <a:lnTo>
                    <a:pt x="293" y="319"/>
                  </a:lnTo>
                  <a:lnTo>
                    <a:pt x="291" y="319"/>
                  </a:lnTo>
                  <a:lnTo>
                    <a:pt x="290" y="318"/>
                  </a:lnTo>
                  <a:lnTo>
                    <a:pt x="289" y="317"/>
                  </a:lnTo>
                  <a:lnTo>
                    <a:pt x="288" y="316"/>
                  </a:lnTo>
                  <a:lnTo>
                    <a:pt x="287" y="315"/>
                  </a:lnTo>
                  <a:lnTo>
                    <a:pt x="286" y="314"/>
                  </a:lnTo>
                  <a:lnTo>
                    <a:pt x="284" y="311"/>
                  </a:lnTo>
                  <a:lnTo>
                    <a:pt x="282" y="310"/>
                  </a:lnTo>
                  <a:lnTo>
                    <a:pt x="281" y="309"/>
                  </a:lnTo>
                  <a:lnTo>
                    <a:pt x="281" y="309"/>
                  </a:lnTo>
                  <a:lnTo>
                    <a:pt x="281" y="309"/>
                  </a:lnTo>
                  <a:lnTo>
                    <a:pt x="279" y="308"/>
                  </a:lnTo>
                  <a:lnTo>
                    <a:pt x="278" y="307"/>
                  </a:lnTo>
                  <a:lnTo>
                    <a:pt x="277" y="307"/>
                  </a:lnTo>
                  <a:lnTo>
                    <a:pt x="274" y="306"/>
                  </a:lnTo>
                  <a:lnTo>
                    <a:pt x="272" y="306"/>
                  </a:lnTo>
                  <a:lnTo>
                    <a:pt x="271" y="305"/>
                  </a:lnTo>
                  <a:lnTo>
                    <a:pt x="270" y="305"/>
                  </a:lnTo>
                  <a:lnTo>
                    <a:pt x="270" y="304"/>
                  </a:lnTo>
                  <a:lnTo>
                    <a:pt x="269" y="304"/>
                  </a:lnTo>
                  <a:lnTo>
                    <a:pt x="269" y="303"/>
                  </a:lnTo>
                  <a:lnTo>
                    <a:pt x="268" y="302"/>
                  </a:lnTo>
                  <a:lnTo>
                    <a:pt x="268" y="301"/>
                  </a:lnTo>
                  <a:lnTo>
                    <a:pt x="267" y="300"/>
                  </a:lnTo>
                  <a:lnTo>
                    <a:pt x="266" y="296"/>
                  </a:lnTo>
                  <a:lnTo>
                    <a:pt x="266" y="295"/>
                  </a:lnTo>
                  <a:lnTo>
                    <a:pt x="265" y="294"/>
                  </a:lnTo>
                  <a:lnTo>
                    <a:pt x="265" y="293"/>
                  </a:lnTo>
                  <a:lnTo>
                    <a:pt x="264" y="293"/>
                  </a:lnTo>
                  <a:lnTo>
                    <a:pt x="264" y="292"/>
                  </a:lnTo>
                  <a:lnTo>
                    <a:pt x="263" y="292"/>
                  </a:lnTo>
                  <a:lnTo>
                    <a:pt x="261" y="289"/>
                  </a:lnTo>
                  <a:lnTo>
                    <a:pt x="261" y="288"/>
                  </a:lnTo>
                  <a:lnTo>
                    <a:pt x="260" y="288"/>
                  </a:lnTo>
                  <a:lnTo>
                    <a:pt x="259" y="287"/>
                  </a:lnTo>
                  <a:lnTo>
                    <a:pt x="258" y="287"/>
                  </a:lnTo>
                  <a:lnTo>
                    <a:pt x="257" y="286"/>
                  </a:lnTo>
                  <a:lnTo>
                    <a:pt x="255" y="286"/>
                  </a:lnTo>
                  <a:lnTo>
                    <a:pt x="252" y="285"/>
                  </a:lnTo>
                  <a:lnTo>
                    <a:pt x="248" y="284"/>
                  </a:lnTo>
                  <a:lnTo>
                    <a:pt x="246" y="283"/>
                  </a:lnTo>
                  <a:lnTo>
                    <a:pt x="243" y="283"/>
                  </a:lnTo>
                  <a:lnTo>
                    <a:pt x="242" y="282"/>
                  </a:lnTo>
                  <a:lnTo>
                    <a:pt x="241" y="282"/>
                  </a:lnTo>
                  <a:lnTo>
                    <a:pt x="240" y="282"/>
                  </a:lnTo>
                  <a:lnTo>
                    <a:pt x="239" y="282"/>
                  </a:lnTo>
                  <a:lnTo>
                    <a:pt x="238" y="283"/>
                  </a:lnTo>
                  <a:lnTo>
                    <a:pt x="236" y="284"/>
                  </a:lnTo>
                  <a:lnTo>
                    <a:pt x="234" y="284"/>
                  </a:lnTo>
                  <a:lnTo>
                    <a:pt x="233" y="285"/>
                  </a:lnTo>
                  <a:lnTo>
                    <a:pt x="232" y="286"/>
                  </a:lnTo>
                  <a:lnTo>
                    <a:pt x="232" y="286"/>
                  </a:lnTo>
                  <a:lnTo>
                    <a:pt x="229" y="289"/>
                  </a:lnTo>
                  <a:lnTo>
                    <a:pt x="228" y="289"/>
                  </a:lnTo>
                  <a:lnTo>
                    <a:pt x="228" y="290"/>
                  </a:lnTo>
                  <a:lnTo>
                    <a:pt x="227" y="290"/>
                  </a:lnTo>
                  <a:lnTo>
                    <a:pt x="226" y="291"/>
                  </a:lnTo>
                  <a:lnTo>
                    <a:pt x="223" y="292"/>
                  </a:lnTo>
                  <a:lnTo>
                    <a:pt x="222" y="293"/>
                  </a:lnTo>
                  <a:lnTo>
                    <a:pt x="221" y="293"/>
                  </a:lnTo>
                  <a:lnTo>
                    <a:pt x="218" y="295"/>
                  </a:lnTo>
                  <a:lnTo>
                    <a:pt x="217" y="296"/>
                  </a:lnTo>
                  <a:lnTo>
                    <a:pt x="216" y="296"/>
                  </a:lnTo>
                  <a:lnTo>
                    <a:pt x="215" y="296"/>
                  </a:lnTo>
                  <a:lnTo>
                    <a:pt x="215" y="296"/>
                  </a:lnTo>
                  <a:lnTo>
                    <a:pt x="214" y="296"/>
                  </a:lnTo>
                  <a:lnTo>
                    <a:pt x="214" y="296"/>
                  </a:lnTo>
                  <a:lnTo>
                    <a:pt x="213" y="296"/>
                  </a:lnTo>
                  <a:lnTo>
                    <a:pt x="212" y="296"/>
                  </a:lnTo>
                  <a:lnTo>
                    <a:pt x="211" y="296"/>
                  </a:lnTo>
                  <a:lnTo>
                    <a:pt x="210" y="296"/>
                  </a:lnTo>
                  <a:lnTo>
                    <a:pt x="210" y="296"/>
                  </a:lnTo>
                  <a:lnTo>
                    <a:pt x="209" y="295"/>
                  </a:lnTo>
                  <a:lnTo>
                    <a:pt x="209" y="295"/>
                  </a:lnTo>
                  <a:lnTo>
                    <a:pt x="208" y="294"/>
                  </a:lnTo>
                  <a:lnTo>
                    <a:pt x="207" y="294"/>
                  </a:lnTo>
                  <a:lnTo>
                    <a:pt x="207" y="293"/>
                  </a:lnTo>
                  <a:lnTo>
                    <a:pt x="206" y="292"/>
                  </a:lnTo>
                  <a:lnTo>
                    <a:pt x="206" y="291"/>
                  </a:lnTo>
                  <a:lnTo>
                    <a:pt x="205" y="288"/>
                  </a:lnTo>
                  <a:lnTo>
                    <a:pt x="204" y="286"/>
                  </a:lnTo>
                  <a:lnTo>
                    <a:pt x="204" y="285"/>
                  </a:lnTo>
                  <a:lnTo>
                    <a:pt x="203" y="283"/>
                  </a:lnTo>
                  <a:lnTo>
                    <a:pt x="202" y="282"/>
                  </a:lnTo>
                  <a:lnTo>
                    <a:pt x="201" y="282"/>
                  </a:lnTo>
                  <a:lnTo>
                    <a:pt x="201" y="281"/>
                  </a:lnTo>
                  <a:lnTo>
                    <a:pt x="200" y="281"/>
                  </a:lnTo>
                  <a:lnTo>
                    <a:pt x="200" y="280"/>
                  </a:lnTo>
                  <a:lnTo>
                    <a:pt x="199" y="279"/>
                  </a:lnTo>
                  <a:lnTo>
                    <a:pt x="199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6" y="280"/>
                  </a:lnTo>
                  <a:lnTo>
                    <a:pt x="194" y="281"/>
                  </a:lnTo>
                  <a:lnTo>
                    <a:pt x="193" y="282"/>
                  </a:lnTo>
                  <a:lnTo>
                    <a:pt x="192" y="283"/>
                  </a:lnTo>
                  <a:lnTo>
                    <a:pt x="191" y="284"/>
                  </a:lnTo>
                  <a:lnTo>
                    <a:pt x="190" y="285"/>
                  </a:lnTo>
                  <a:lnTo>
                    <a:pt x="189" y="285"/>
                  </a:lnTo>
                  <a:lnTo>
                    <a:pt x="189" y="286"/>
                  </a:lnTo>
                  <a:lnTo>
                    <a:pt x="188" y="287"/>
                  </a:lnTo>
                  <a:lnTo>
                    <a:pt x="188" y="287"/>
                  </a:lnTo>
                  <a:lnTo>
                    <a:pt x="187" y="288"/>
                  </a:lnTo>
                  <a:lnTo>
                    <a:pt x="186" y="291"/>
                  </a:lnTo>
                  <a:lnTo>
                    <a:pt x="186" y="292"/>
                  </a:lnTo>
                  <a:lnTo>
                    <a:pt x="185" y="292"/>
                  </a:lnTo>
                  <a:lnTo>
                    <a:pt x="185" y="293"/>
                  </a:lnTo>
                  <a:lnTo>
                    <a:pt x="184" y="294"/>
                  </a:lnTo>
                  <a:lnTo>
                    <a:pt x="184" y="294"/>
                  </a:lnTo>
                  <a:lnTo>
                    <a:pt x="183" y="295"/>
                  </a:lnTo>
                  <a:lnTo>
                    <a:pt x="182" y="296"/>
                  </a:lnTo>
                  <a:lnTo>
                    <a:pt x="181" y="296"/>
                  </a:lnTo>
                  <a:lnTo>
                    <a:pt x="180" y="296"/>
                  </a:lnTo>
                  <a:lnTo>
                    <a:pt x="178" y="297"/>
                  </a:lnTo>
                  <a:lnTo>
                    <a:pt x="176" y="297"/>
                  </a:lnTo>
                  <a:lnTo>
                    <a:pt x="175" y="298"/>
                  </a:lnTo>
                  <a:lnTo>
                    <a:pt x="172" y="299"/>
                  </a:lnTo>
                  <a:lnTo>
                    <a:pt x="171" y="300"/>
                  </a:lnTo>
                  <a:lnTo>
                    <a:pt x="170" y="300"/>
                  </a:lnTo>
                  <a:lnTo>
                    <a:pt x="170" y="300"/>
                  </a:lnTo>
                  <a:lnTo>
                    <a:pt x="168" y="300"/>
                  </a:lnTo>
                  <a:lnTo>
                    <a:pt x="167" y="300"/>
                  </a:lnTo>
                  <a:lnTo>
                    <a:pt x="167" y="300"/>
                  </a:lnTo>
                  <a:lnTo>
                    <a:pt x="165" y="299"/>
                  </a:lnTo>
                  <a:lnTo>
                    <a:pt x="163" y="298"/>
                  </a:lnTo>
                  <a:lnTo>
                    <a:pt x="161" y="298"/>
                  </a:lnTo>
                  <a:lnTo>
                    <a:pt x="161" y="297"/>
                  </a:lnTo>
                  <a:lnTo>
                    <a:pt x="160" y="297"/>
                  </a:lnTo>
                  <a:lnTo>
                    <a:pt x="159" y="297"/>
                  </a:lnTo>
                  <a:lnTo>
                    <a:pt x="158" y="297"/>
                  </a:lnTo>
                  <a:lnTo>
                    <a:pt x="156" y="297"/>
                  </a:lnTo>
                  <a:lnTo>
                    <a:pt x="155" y="297"/>
                  </a:lnTo>
                  <a:lnTo>
                    <a:pt x="153" y="297"/>
                  </a:lnTo>
                  <a:lnTo>
                    <a:pt x="152" y="297"/>
                  </a:lnTo>
                  <a:lnTo>
                    <a:pt x="151" y="297"/>
                  </a:lnTo>
                  <a:lnTo>
                    <a:pt x="148" y="297"/>
                  </a:lnTo>
                  <a:lnTo>
                    <a:pt x="147" y="297"/>
                  </a:lnTo>
                  <a:lnTo>
                    <a:pt x="146" y="297"/>
                  </a:lnTo>
                  <a:lnTo>
                    <a:pt x="144" y="297"/>
                  </a:lnTo>
                  <a:lnTo>
                    <a:pt x="144" y="297"/>
                  </a:lnTo>
                  <a:lnTo>
                    <a:pt x="143" y="297"/>
                  </a:lnTo>
                  <a:lnTo>
                    <a:pt x="142" y="296"/>
                  </a:lnTo>
                  <a:lnTo>
                    <a:pt x="141" y="296"/>
                  </a:lnTo>
                  <a:lnTo>
                    <a:pt x="140" y="296"/>
                  </a:lnTo>
                  <a:lnTo>
                    <a:pt x="139" y="294"/>
                  </a:lnTo>
                  <a:lnTo>
                    <a:pt x="138" y="294"/>
                  </a:lnTo>
                  <a:lnTo>
                    <a:pt x="138" y="294"/>
                  </a:lnTo>
                  <a:lnTo>
                    <a:pt x="137" y="293"/>
                  </a:lnTo>
                  <a:lnTo>
                    <a:pt x="137" y="293"/>
                  </a:lnTo>
                  <a:lnTo>
                    <a:pt x="136" y="293"/>
                  </a:lnTo>
                  <a:lnTo>
                    <a:pt x="136" y="293"/>
                  </a:lnTo>
                  <a:lnTo>
                    <a:pt x="136" y="293"/>
                  </a:lnTo>
                  <a:lnTo>
                    <a:pt x="135" y="293"/>
                  </a:lnTo>
                  <a:lnTo>
                    <a:pt x="132" y="295"/>
                  </a:lnTo>
                  <a:lnTo>
                    <a:pt x="131" y="296"/>
                  </a:lnTo>
                  <a:lnTo>
                    <a:pt x="130" y="296"/>
                  </a:lnTo>
                  <a:lnTo>
                    <a:pt x="128" y="296"/>
                  </a:lnTo>
                  <a:lnTo>
                    <a:pt x="127" y="296"/>
                  </a:lnTo>
                  <a:lnTo>
                    <a:pt x="126" y="297"/>
                  </a:lnTo>
                  <a:lnTo>
                    <a:pt x="125" y="297"/>
                  </a:lnTo>
                  <a:lnTo>
                    <a:pt x="125" y="298"/>
                  </a:lnTo>
                  <a:lnTo>
                    <a:pt x="124" y="298"/>
                  </a:lnTo>
                  <a:lnTo>
                    <a:pt x="123" y="299"/>
                  </a:lnTo>
                  <a:lnTo>
                    <a:pt x="123" y="300"/>
                  </a:lnTo>
                  <a:lnTo>
                    <a:pt x="122" y="300"/>
                  </a:lnTo>
                  <a:lnTo>
                    <a:pt x="122" y="301"/>
                  </a:lnTo>
                  <a:lnTo>
                    <a:pt x="121" y="303"/>
                  </a:lnTo>
                  <a:lnTo>
                    <a:pt x="121" y="303"/>
                  </a:lnTo>
                  <a:lnTo>
                    <a:pt x="120" y="304"/>
                  </a:lnTo>
                  <a:lnTo>
                    <a:pt x="120" y="305"/>
                  </a:lnTo>
                  <a:lnTo>
                    <a:pt x="118" y="306"/>
                  </a:lnTo>
                  <a:lnTo>
                    <a:pt x="117" y="307"/>
                  </a:lnTo>
                  <a:lnTo>
                    <a:pt x="116" y="307"/>
                  </a:lnTo>
                  <a:lnTo>
                    <a:pt x="115" y="308"/>
                  </a:lnTo>
                  <a:lnTo>
                    <a:pt x="114" y="308"/>
                  </a:lnTo>
                  <a:lnTo>
                    <a:pt x="112" y="310"/>
                  </a:lnTo>
                  <a:lnTo>
                    <a:pt x="111" y="310"/>
                  </a:lnTo>
                  <a:lnTo>
                    <a:pt x="110" y="311"/>
                  </a:lnTo>
                  <a:lnTo>
                    <a:pt x="109" y="311"/>
                  </a:lnTo>
                  <a:lnTo>
                    <a:pt x="108" y="312"/>
                  </a:lnTo>
                  <a:lnTo>
                    <a:pt x="107" y="312"/>
                  </a:lnTo>
                  <a:lnTo>
                    <a:pt x="106" y="312"/>
                  </a:lnTo>
                  <a:lnTo>
                    <a:pt x="105" y="312"/>
                  </a:lnTo>
                  <a:lnTo>
                    <a:pt x="104" y="313"/>
                  </a:lnTo>
                  <a:lnTo>
                    <a:pt x="103" y="313"/>
                  </a:lnTo>
                  <a:lnTo>
                    <a:pt x="102" y="313"/>
                  </a:lnTo>
                  <a:lnTo>
                    <a:pt x="102" y="313"/>
                  </a:lnTo>
                  <a:lnTo>
                    <a:pt x="101" y="312"/>
                  </a:lnTo>
                  <a:lnTo>
                    <a:pt x="100" y="312"/>
                  </a:lnTo>
                  <a:lnTo>
                    <a:pt x="99" y="312"/>
                  </a:lnTo>
                  <a:lnTo>
                    <a:pt x="98" y="311"/>
                  </a:lnTo>
                  <a:lnTo>
                    <a:pt x="98" y="311"/>
                  </a:lnTo>
                  <a:lnTo>
                    <a:pt x="97" y="311"/>
                  </a:lnTo>
                  <a:lnTo>
                    <a:pt x="97" y="310"/>
                  </a:lnTo>
                  <a:lnTo>
                    <a:pt x="97" y="310"/>
                  </a:lnTo>
                  <a:lnTo>
                    <a:pt x="97" y="310"/>
                  </a:lnTo>
                  <a:lnTo>
                    <a:pt x="97" y="309"/>
                  </a:lnTo>
                  <a:lnTo>
                    <a:pt x="97" y="308"/>
                  </a:lnTo>
                  <a:lnTo>
                    <a:pt x="97" y="306"/>
                  </a:lnTo>
                  <a:lnTo>
                    <a:pt x="97" y="306"/>
                  </a:lnTo>
                  <a:lnTo>
                    <a:pt x="97" y="305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7" y="303"/>
                  </a:lnTo>
                  <a:lnTo>
                    <a:pt x="97" y="303"/>
                  </a:lnTo>
                  <a:lnTo>
                    <a:pt x="96" y="302"/>
                  </a:lnTo>
                  <a:lnTo>
                    <a:pt x="96" y="302"/>
                  </a:lnTo>
                  <a:lnTo>
                    <a:pt x="96" y="301"/>
                  </a:lnTo>
                  <a:lnTo>
                    <a:pt x="94" y="301"/>
                  </a:lnTo>
                  <a:lnTo>
                    <a:pt x="93" y="300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7"/>
                  </a:lnTo>
                  <a:lnTo>
                    <a:pt x="87" y="297"/>
                  </a:lnTo>
                  <a:lnTo>
                    <a:pt x="85" y="296"/>
                  </a:lnTo>
                  <a:lnTo>
                    <a:pt x="84" y="296"/>
                  </a:lnTo>
                  <a:lnTo>
                    <a:pt x="83" y="296"/>
                  </a:lnTo>
                  <a:lnTo>
                    <a:pt x="79" y="295"/>
                  </a:lnTo>
                  <a:lnTo>
                    <a:pt x="76" y="294"/>
                  </a:lnTo>
                  <a:lnTo>
                    <a:pt x="75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2"/>
                  </a:lnTo>
                  <a:lnTo>
                    <a:pt x="74" y="292"/>
                  </a:lnTo>
                  <a:lnTo>
                    <a:pt x="74" y="292"/>
                  </a:lnTo>
                  <a:lnTo>
                    <a:pt x="75" y="289"/>
                  </a:lnTo>
                  <a:lnTo>
                    <a:pt x="75" y="289"/>
                  </a:lnTo>
                  <a:lnTo>
                    <a:pt x="75" y="288"/>
                  </a:lnTo>
                  <a:lnTo>
                    <a:pt x="75" y="287"/>
                  </a:lnTo>
                  <a:lnTo>
                    <a:pt x="74" y="286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5" y="284"/>
                  </a:lnTo>
                  <a:lnTo>
                    <a:pt x="75" y="283"/>
                  </a:lnTo>
                  <a:lnTo>
                    <a:pt x="76" y="282"/>
                  </a:lnTo>
                  <a:lnTo>
                    <a:pt x="77" y="281"/>
                  </a:lnTo>
                  <a:lnTo>
                    <a:pt x="78" y="279"/>
                  </a:lnTo>
                  <a:lnTo>
                    <a:pt x="79" y="278"/>
                  </a:lnTo>
                  <a:lnTo>
                    <a:pt x="80" y="277"/>
                  </a:lnTo>
                  <a:lnTo>
                    <a:pt x="81" y="275"/>
                  </a:lnTo>
                  <a:lnTo>
                    <a:pt x="82" y="274"/>
                  </a:lnTo>
                  <a:lnTo>
                    <a:pt x="82" y="273"/>
                  </a:lnTo>
                  <a:lnTo>
                    <a:pt x="83" y="271"/>
                  </a:lnTo>
                  <a:lnTo>
                    <a:pt x="83" y="270"/>
                  </a:lnTo>
                  <a:lnTo>
                    <a:pt x="84" y="269"/>
                  </a:lnTo>
                  <a:lnTo>
                    <a:pt x="84" y="268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66"/>
                  </a:lnTo>
                  <a:lnTo>
                    <a:pt x="84" y="266"/>
                  </a:lnTo>
                  <a:lnTo>
                    <a:pt x="83" y="264"/>
                  </a:lnTo>
                  <a:lnTo>
                    <a:pt x="83" y="263"/>
                  </a:lnTo>
                  <a:lnTo>
                    <a:pt x="82" y="261"/>
                  </a:lnTo>
                  <a:lnTo>
                    <a:pt x="82" y="260"/>
                  </a:lnTo>
                  <a:lnTo>
                    <a:pt x="80" y="258"/>
                  </a:lnTo>
                  <a:lnTo>
                    <a:pt x="79" y="257"/>
                  </a:lnTo>
                  <a:lnTo>
                    <a:pt x="78" y="255"/>
                  </a:lnTo>
                  <a:lnTo>
                    <a:pt x="78" y="254"/>
                  </a:lnTo>
                  <a:lnTo>
                    <a:pt x="78" y="254"/>
                  </a:lnTo>
                  <a:lnTo>
                    <a:pt x="78" y="253"/>
                  </a:lnTo>
                  <a:lnTo>
                    <a:pt x="78" y="251"/>
                  </a:lnTo>
                  <a:lnTo>
                    <a:pt x="78" y="249"/>
                  </a:lnTo>
                  <a:lnTo>
                    <a:pt x="78" y="248"/>
                  </a:lnTo>
                  <a:lnTo>
                    <a:pt x="78" y="247"/>
                  </a:lnTo>
                  <a:lnTo>
                    <a:pt x="78" y="246"/>
                  </a:lnTo>
                  <a:lnTo>
                    <a:pt x="78" y="243"/>
                  </a:lnTo>
                  <a:lnTo>
                    <a:pt x="79" y="242"/>
                  </a:lnTo>
                  <a:lnTo>
                    <a:pt x="79" y="240"/>
                  </a:lnTo>
                  <a:lnTo>
                    <a:pt x="78" y="237"/>
                  </a:lnTo>
                  <a:lnTo>
                    <a:pt x="78" y="235"/>
                  </a:lnTo>
                  <a:lnTo>
                    <a:pt x="78" y="233"/>
                  </a:lnTo>
                  <a:lnTo>
                    <a:pt x="78" y="233"/>
                  </a:lnTo>
                  <a:lnTo>
                    <a:pt x="78" y="231"/>
                  </a:lnTo>
                  <a:lnTo>
                    <a:pt x="77" y="230"/>
                  </a:lnTo>
                  <a:lnTo>
                    <a:pt x="77" y="230"/>
                  </a:lnTo>
                  <a:lnTo>
                    <a:pt x="77" y="229"/>
                  </a:lnTo>
                  <a:lnTo>
                    <a:pt x="76" y="228"/>
                  </a:lnTo>
                  <a:lnTo>
                    <a:pt x="75" y="228"/>
                  </a:lnTo>
                  <a:lnTo>
                    <a:pt x="75" y="227"/>
                  </a:lnTo>
                  <a:lnTo>
                    <a:pt x="73" y="226"/>
                  </a:lnTo>
                  <a:lnTo>
                    <a:pt x="72" y="225"/>
                  </a:lnTo>
                  <a:lnTo>
                    <a:pt x="72" y="224"/>
                  </a:lnTo>
                  <a:lnTo>
                    <a:pt x="71" y="224"/>
                  </a:lnTo>
                  <a:lnTo>
                    <a:pt x="70" y="224"/>
                  </a:lnTo>
                  <a:lnTo>
                    <a:pt x="70" y="224"/>
                  </a:lnTo>
                  <a:lnTo>
                    <a:pt x="69" y="224"/>
                  </a:lnTo>
                  <a:lnTo>
                    <a:pt x="68" y="224"/>
                  </a:lnTo>
                  <a:lnTo>
                    <a:pt x="68" y="224"/>
                  </a:lnTo>
                  <a:lnTo>
                    <a:pt x="66" y="225"/>
                  </a:lnTo>
                  <a:lnTo>
                    <a:pt x="65" y="225"/>
                  </a:lnTo>
                  <a:lnTo>
                    <a:pt x="63" y="226"/>
                  </a:lnTo>
                  <a:lnTo>
                    <a:pt x="59" y="227"/>
                  </a:lnTo>
                  <a:lnTo>
                    <a:pt x="58" y="228"/>
                  </a:lnTo>
                  <a:lnTo>
                    <a:pt x="57" y="228"/>
                  </a:lnTo>
                  <a:lnTo>
                    <a:pt x="56" y="228"/>
                  </a:lnTo>
                  <a:lnTo>
                    <a:pt x="55" y="228"/>
                  </a:lnTo>
                  <a:lnTo>
                    <a:pt x="52" y="227"/>
                  </a:lnTo>
                  <a:lnTo>
                    <a:pt x="49" y="227"/>
                  </a:lnTo>
                  <a:lnTo>
                    <a:pt x="45" y="226"/>
                  </a:lnTo>
                  <a:lnTo>
                    <a:pt x="44" y="226"/>
                  </a:lnTo>
                  <a:lnTo>
                    <a:pt x="43" y="226"/>
                  </a:lnTo>
                  <a:lnTo>
                    <a:pt x="39" y="227"/>
                  </a:lnTo>
                  <a:lnTo>
                    <a:pt x="38" y="227"/>
                  </a:lnTo>
                  <a:lnTo>
                    <a:pt x="37" y="227"/>
                  </a:lnTo>
                  <a:lnTo>
                    <a:pt x="36" y="227"/>
                  </a:lnTo>
                  <a:lnTo>
                    <a:pt x="36" y="227"/>
                  </a:lnTo>
                  <a:lnTo>
                    <a:pt x="35" y="226"/>
                  </a:lnTo>
                  <a:lnTo>
                    <a:pt x="34" y="226"/>
                  </a:lnTo>
                  <a:lnTo>
                    <a:pt x="33" y="226"/>
                  </a:lnTo>
                  <a:lnTo>
                    <a:pt x="33" y="225"/>
                  </a:lnTo>
                  <a:lnTo>
                    <a:pt x="32" y="225"/>
                  </a:lnTo>
                  <a:lnTo>
                    <a:pt x="31" y="224"/>
                  </a:lnTo>
                  <a:lnTo>
                    <a:pt x="31" y="224"/>
                  </a:lnTo>
                  <a:lnTo>
                    <a:pt x="30" y="223"/>
                  </a:lnTo>
                  <a:lnTo>
                    <a:pt x="30" y="223"/>
                  </a:lnTo>
                  <a:lnTo>
                    <a:pt x="30" y="222"/>
                  </a:lnTo>
                  <a:lnTo>
                    <a:pt x="29" y="221"/>
                  </a:lnTo>
                  <a:lnTo>
                    <a:pt x="29" y="220"/>
                  </a:lnTo>
                  <a:lnTo>
                    <a:pt x="29" y="219"/>
                  </a:lnTo>
                  <a:lnTo>
                    <a:pt x="29" y="219"/>
                  </a:lnTo>
                  <a:lnTo>
                    <a:pt x="29" y="217"/>
                  </a:lnTo>
                  <a:lnTo>
                    <a:pt x="29" y="215"/>
                  </a:lnTo>
                  <a:lnTo>
                    <a:pt x="29" y="214"/>
                  </a:lnTo>
                  <a:lnTo>
                    <a:pt x="28" y="214"/>
                  </a:lnTo>
                  <a:lnTo>
                    <a:pt x="28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5" y="210"/>
                  </a:lnTo>
                  <a:lnTo>
                    <a:pt x="24" y="209"/>
                  </a:lnTo>
                  <a:lnTo>
                    <a:pt x="23" y="208"/>
                  </a:lnTo>
                  <a:lnTo>
                    <a:pt x="22" y="207"/>
                  </a:lnTo>
                  <a:lnTo>
                    <a:pt x="22" y="207"/>
                  </a:lnTo>
                  <a:lnTo>
                    <a:pt x="21" y="205"/>
                  </a:lnTo>
                  <a:lnTo>
                    <a:pt x="20" y="205"/>
                  </a:lnTo>
                  <a:lnTo>
                    <a:pt x="20" y="204"/>
                  </a:lnTo>
                  <a:lnTo>
                    <a:pt x="19" y="204"/>
                  </a:lnTo>
                  <a:lnTo>
                    <a:pt x="18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5" y="202"/>
                  </a:lnTo>
                  <a:lnTo>
                    <a:pt x="12" y="202"/>
                  </a:lnTo>
                  <a:lnTo>
                    <a:pt x="11" y="202"/>
                  </a:lnTo>
                  <a:lnTo>
                    <a:pt x="10" y="202"/>
                  </a:lnTo>
                  <a:lnTo>
                    <a:pt x="10" y="202"/>
                  </a:lnTo>
                  <a:lnTo>
                    <a:pt x="9" y="201"/>
                  </a:lnTo>
                  <a:lnTo>
                    <a:pt x="9" y="201"/>
                  </a:lnTo>
                  <a:lnTo>
                    <a:pt x="8" y="201"/>
                  </a:lnTo>
                  <a:lnTo>
                    <a:pt x="7" y="200"/>
                  </a:lnTo>
                  <a:lnTo>
                    <a:pt x="6" y="200"/>
                  </a:lnTo>
                  <a:lnTo>
                    <a:pt x="6" y="199"/>
                  </a:lnTo>
                  <a:lnTo>
                    <a:pt x="5" y="199"/>
                  </a:lnTo>
                  <a:lnTo>
                    <a:pt x="5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3" y="194"/>
                  </a:lnTo>
                  <a:lnTo>
                    <a:pt x="3" y="193"/>
                  </a:lnTo>
                  <a:lnTo>
                    <a:pt x="2" y="192"/>
                  </a:lnTo>
                  <a:lnTo>
                    <a:pt x="1" y="190"/>
                  </a:lnTo>
                  <a:lnTo>
                    <a:pt x="1" y="189"/>
                  </a:lnTo>
                  <a:lnTo>
                    <a:pt x="1" y="189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1" y="185"/>
                  </a:lnTo>
                  <a:lnTo>
                    <a:pt x="1" y="185"/>
                  </a:lnTo>
                  <a:lnTo>
                    <a:pt x="1" y="184"/>
                  </a:lnTo>
                  <a:lnTo>
                    <a:pt x="2" y="183"/>
                  </a:lnTo>
                  <a:lnTo>
                    <a:pt x="2" y="183"/>
                  </a:lnTo>
                  <a:lnTo>
                    <a:pt x="3" y="183"/>
                  </a:lnTo>
                  <a:lnTo>
                    <a:pt x="5" y="181"/>
                  </a:lnTo>
                  <a:lnTo>
                    <a:pt x="6" y="181"/>
                  </a:lnTo>
                  <a:lnTo>
                    <a:pt x="6" y="180"/>
                  </a:lnTo>
                  <a:lnTo>
                    <a:pt x="7" y="180"/>
                  </a:lnTo>
                  <a:lnTo>
                    <a:pt x="7" y="180"/>
                  </a:lnTo>
                  <a:lnTo>
                    <a:pt x="7" y="179"/>
                  </a:lnTo>
                  <a:lnTo>
                    <a:pt x="8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2" y="170"/>
                  </a:lnTo>
                  <a:lnTo>
                    <a:pt x="12" y="169"/>
                  </a:lnTo>
                  <a:lnTo>
                    <a:pt x="13" y="168"/>
                  </a:lnTo>
                  <a:lnTo>
                    <a:pt x="13" y="166"/>
                  </a:lnTo>
                  <a:lnTo>
                    <a:pt x="13" y="165"/>
                  </a:lnTo>
                  <a:lnTo>
                    <a:pt x="13" y="164"/>
                  </a:lnTo>
                  <a:lnTo>
                    <a:pt x="12" y="162"/>
                  </a:lnTo>
                  <a:lnTo>
                    <a:pt x="11" y="159"/>
                  </a:lnTo>
                  <a:lnTo>
                    <a:pt x="11" y="158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9" y="155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2"/>
                  </a:lnTo>
                  <a:lnTo>
                    <a:pt x="7" y="151"/>
                  </a:lnTo>
                  <a:lnTo>
                    <a:pt x="7" y="150"/>
                  </a:lnTo>
                  <a:lnTo>
                    <a:pt x="7" y="149"/>
                  </a:lnTo>
                  <a:lnTo>
                    <a:pt x="7" y="144"/>
                  </a:lnTo>
                  <a:lnTo>
                    <a:pt x="7" y="142"/>
                  </a:lnTo>
                  <a:lnTo>
                    <a:pt x="7" y="141"/>
                  </a:lnTo>
                  <a:lnTo>
                    <a:pt x="7" y="141"/>
                  </a:lnTo>
                  <a:lnTo>
                    <a:pt x="7" y="140"/>
                  </a:lnTo>
                  <a:lnTo>
                    <a:pt x="6" y="138"/>
                  </a:lnTo>
                  <a:lnTo>
                    <a:pt x="5" y="136"/>
                  </a:lnTo>
                  <a:lnTo>
                    <a:pt x="5" y="135"/>
                  </a:lnTo>
                  <a:lnTo>
                    <a:pt x="4" y="133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3" y="127"/>
                  </a:lnTo>
                  <a:lnTo>
                    <a:pt x="3" y="126"/>
                  </a:lnTo>
                  <a:lnTo>
                    <a:pt x="4" y="125"/>
                  </a:lnTo>
                  <a:lnTo>
                    <a:pt x="5" y="124"/>
                  </a:lnTo>
                  <a:lnTo>
                    <a:pt x="6" y="123"/>
                  </a:lnTo>
                  <a:lnTo>
                    <a:pt x="8" y="121"/>
                  </a:lnTo>
                  <a:lnTo>
                    <a:pt x="9" y="120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20"/>
                  </a:lnTo>
                  <a:lnTo>
                    <a:pt x="11" y="121"/>
                  </a:lnTo>
                  <a:lnTo>
                    <a:pt x="13" y="121"/>
                  </a:lnTo>
                  <a:lnTo>
                    <a:pt x="15" y="123"/>
                  </a:lnTo>
                  <a:lnTo>
                    <a:pt x="17" y="124"/>
                  </a:lnTo>
                  <a:lnTo>
                    <a:pt x="21" y="126"/>
                  </a:lnTo>
                  <a:lnTo>
                    <a:pt x="22" y="127"/>
                  </a:lnTo>
                  <a:lnTo>
                    <a:pt x="24" y="127"/>
                  </a:lnTo>
                  <a:lnTo>
                    <a:pt x="25" y="128"/>
                  </a:lnTo>
                  <a:lnTo>
                    <a:pt x="27" y="129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 59">
              <a:extLst>
                <a:ext uri="{FF2B5EF4-FFF2-40B4-BE49-F238E27FC236}">
                  <a16:creationId xmlns:a16="http://schemas.microsoft.com/office/drawing/2014/main" id="{FBEC1A1C-D6CE-B2DD-30F8-6DED8A6D10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2" y="2993"/>
              <a:ext cx="124" cy="138"/>
            </a:xfrm>
            <a:custGeom>
              <a:avLst/>
              <a:gdLst>
                <a:gd name="T0" fmla="*/ 3 w 124"/>
                <a:gd name="T1" fmla="*/ 131 h 138"/>
                <a:gd name="T2" fmla="*/ 7 w 124"/>
                <a:gd name="T3" fmla="*/ 131 h 138"/>
                <a:gd name="T4" fmla="*/ 9 w 124"/>
                <a:gd name="T5" fmla="*/ 130 h 138"/>
                <a:gd name="T6" fmla="*/ 15 w 124"/>
                <a:gd name="T7" fmla="*/ 123 h 138"/>
                <a:gd name="T8" fmla="*/ 18 w 124"/>
                <a:gd name="T9" fmla="*/ 121 h 138"/>
                <a:gd name="T10" fmla="*/ 20 w 124"/>
                <a:gd name="T11" fmla="*/ 120 h 138"/>
                <a:gd name="T12" fmla="*/ 24 w 124"/>
                <a:gd name="T13" fmla="*/ 120 h 138"/>
                <a:gd name="T14" fmla="*/ 29 w 124"/>
                <a:gd name="T15" fmla="*/ 123 h 138"/>
                <a:gd name="T16" fmla="*/ 35 w 124"/>
                <a:gd name="T17" fmla="*/ 124 h 138"/>
                <a:gd name="T18" fmla="*/ 39 w 124"/>
                <a:gd name="T19" fmla="*/ 126 h 138"/>
                <a:gd name="T20" fmla="*/ 46 w 124"/>
                <a:gd name="T21" fmla="*/ 129 h 138"/>
                <a:gd name="T22" fmla="*/ 50 w 124"/>
                <a:gd name="T23" fmla="*/ 129 h 138"/>
                <a:gd name="T24" fmla="*/ 52 w 124"/>
                <a:gd name="T25" fmla="*/ 130 h 138"/>
                <a:gd name="T26" fmla="*/ 53 w 124"/>
                <a:gd name="T27" fmla="*/ 133 h 138"/>
                <a:gd name="T28" fmla="*/ 54 w 124"/>
                <a:gd name="T29" fmla="*/ 136 h 138"/>
                <a:gd name="T30" fmla="*/ 56 w 124"/>
                <a:gd name="T31" fmla="*/ 138 h 138"/>
                <a:gd name="T32" fmla="*/ 59 w 124"/>
                <a:gd name="T33" fmla="*/ 138 h 138"/>
                <a:gd name="T34" fmla="*/ 63 w 124"/>
                <a:gd name="T35" fmla="*/ 138 h 138"/>
                <a:gd name="T36" fmla="*/ 66 w 124"/>
                <a:gd name="T37" fmla="*/ 136 h 138"/>
                <a:gd name="T38" fmla="*/ 70 w 124"/>
                <a:gd name="T39" fmla="*/ 133 h 138"/>
                <a:gd name="T40" fmla="*/ 71 w 124"/>
                <a:gd name="T41" fmla="*/ 130 h 138"/>
                <a:gd name="T42" fmla="*/ 70 w 124"/>
                <a:gd name="T43" fmla="*/ 124 h 138"/>
                <a:gd name="T44" fmla="*/ 71 w 124"/>
                <a:gd name="T45" fmla="*/ 121 h 138"/>
                <a:gd name="T46" fmla="*/ 75 w 124"/>
                <a:gd name="T47" fmla="*/ 117 h 138"/>
                <a:gd name="T48" fmla="*/ 80 w 124"/>
                <a:gd name="T49" fmla="*/ 112 h 138"/>
                <a:gd name="T50" fmla="*/ 82 w 124"/>
                <a:gd name="T51" fmla="*/ 111 h 138"/>
                <a:gd name="T52" fmla="*/ 85 w 124"/>
                <a:gd name="T53" fmla="*/ 112 h 138"/>
                <a:gd name="T54" fmla="*/ 88 w 124"/>
                <a:gd name="T55" fmla="*/ 117 h 138"/>
                <a:gd name="T56" fmla="*/ 91 w 124"/>
                <a:gd name="T57" fmla="*/ 120 h 138"/>
                <a:gd name="T58" fmla="*/ 96 w 124"/>
                <a:gd name="T59" fmla="*/ 122 h 138"/>
                <a:gd name="T60" fmla="*/ 99 w 124"/>
                <a:gd name="T61" fmla="*/ 122 h 138"/>
                <a:gd name="T62" fmla="*/ 105 w 124"/>
                <a:gd name="T63" fmla="*/ 120 h 138"/>
                <a:gd name="T64" fmla="*/ 110 w 124"/>
                <a:gd name="T65" fmla="*/ 121 h 138"/>
                <a:gd name="T66" fmla="*/ 113 w 124"/>
                <a:gd name="T67" fmla="*/ 121 h 138"/>
                <a:gd name="T68" fmla="*/ 119 w 124"/>
                <a:gd name="T69" fmla="*/ 120 h 138"/>
                <a:gd name="T70" fmla="*/ 122 w 124"/>
                <a:gd name="T71" fmla="*/ 118 h 138"/>
                <a:gd name="T72" fmla="*/ 124 w 124"/>
                <a:gd name="T73" fmla="*/ 117 h 138"/>
                <a:gd name="T74" fmla="*/ 123 w 124"/>
                <a:gd name="T75" fmla="*/ 113 h 138"/>
                <a:gd name="T76" fmla="*/ 120 w 124"/>
                <a:gd name="T77" fmla="*/ 109 h 138"/>
                <a:gd name="T78" fmla="*/ 114 w 124"/>
                <a:gd name="T79" fmla="*/ 99 h 138"/>
                <a:gd name="T80" fmla="*/ 111 w 124"/>
                <a:gd name="T81" fmla="*/ 92 h 138"/>
                <a:gd name="T82" fmla="*/ 111 w 124"/>
                <a:gd name="T83" fmla="*/ 88 h 138"/>
                <a:gd name="T84" fmla="*/ 113 w 124"/>
                <a:gd name="T85" fmla="*/ 79 h 138"/>
                <a:gd name="T86" fmla="*/ 113 w 124"/>
                <a:gd name="T87" fmla="*/ 76 h 138"/>
                <a:gd name="T88" fmla="*/ 111 w 124"/>
                <a:gd name="T89" fmla="*/ 72 h 138"/>
                <a:gd name="T90" fmla="*/ 109 w 124"/>
                <a:gd name="T91" fmla="*/ 65 h 138"/>
                <a:gd name="T92" fmla="*/ 109 w 124"/>
                <a:gd name="T93" fmla="*/ 59 h 138"/>
                <a:gd name="T94" fmla="*/ 107 w 124"/>
                <a:gd name="T95" fmla="*/ 51 h 138"/>
                <a:gd name="T96" fmla="*/ 105 w 124"/>
                <a:gd name="T97" fmla="*/ 43 h 138"/>
                <a:gd name="T98" fmla="*/ 105 w 124"/>
                <a:gd name="T99" fmla="*/ 29 h 138"/>
                <a:gd name="T100" fmla="*/ 106 w 124"/>
                <a:gd name="T101" fmla="*/ 20 h 138"/>
                <a:gd name="T102" fmla="*/ 104 w 124"/>
                <a:gd name="T103" fmla="*/ 16 h 138"/>
                <a:gd name="T104" fmla="*/ 99 w 124"/>
                <a:gd name="T105" fmla="*/ 8 h 138"/>
                <a:gd name="T106" fmla="*/ 97 w 124"/>
                <a:gd name="T107" fmla="*/ 3 h 138"/>
                <a:gd name="T108" fmla="*/ 98 w 124"/>
                <a:gd name="T10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4" h="138">
                  <a:moveTo>
                    <a:pt x="0" y="130"/>
                  </a:moveTo>
                  <a:lnTo>
                    <a:pt x="1" y="130"/>
                  </a:lnTo>
                  <a:lnTo>
                    <a:pt x="3" y="131"/>
                  </a:lnTo>
                  <a:lnTo>
                    <a:pt x="3" y="131"/>
                  </a:lnTo>
                  <a:lnTo>
                    <a:pt x="4" y="131"/>
                  </a:lnTo>
                  <a:lnTo>
                    <a:pt x="5" y="131"/>
                  </a:lnTo>
                  <a:lnTo>
                    <a:pt x="6" y="131"/>
                  </a:lnTo>
                  <a:lnTo>
                    <a:pt x="7" y="131"/>
                  </a:lnTo>
                  <a:lnTo>
                    <a:pt x="7" y="131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9" y="130"/>
                  </a:lnTo>
                  <a:lnTo>
                    <a:pt x="10" y="129"/>
                  </a:lnTo>
                  <a:lnTo>
                    <a:pt x="11" y="128"/>
                  </a:lnTo>
                  <a:lnTo>
                    <a:pt x="13" y="125"/>
                  </a:lnTo>
                  <a:lnTo>
                    <a:pt x="15" y="123"/>
                  </a:lnTo>
                  <a:lnTo>
                    <a:pt x="16" y="122"/>
                  </a:lnTo>
                  <a:lnTo>
                    <a:pt x="17" y="122"/>
                  </a:lnTo>
                  <a:lnTo>
                    <a:pt x="17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9" y="120"/>
                  </a:lnTo>
                  <a:lnTo>
                    <a:pt x="19" y="120"/>
                  </a:lnTo>
                  <a:lnTo>
                    <a:pt x="20" y="120"/>
                  </a:lnTo>
                  <a:lnTo>
                    <a:pt x="21" y="120"/>
                  </a:lnTo>
                  <a:lnTo>
                    <a:pt x="22" y="120"/>
                  </a:lnTo>
                  <a:lnTo>
                    <a:pt x="23" y="120"/>
                  </a:lnTo>
                  <a:lnTo>
                    <a:pt x="24" y="120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27" y="122"/>
                  </a:lnTo>
                  <a:lnTo>
                    <a:pt x="29" y="123"/>
                  </a:lnTo>
                  <a:lnTo>
                    <a:pt x="31" y="123"/>
                  </a:lnTo>
                  <a:lnTo>
                    <a:pt x="32" y="124"/>
                  </a:lnTo>
                  <a:lnTo>
                    <a:pt x="34" y="124"/>
                  </a:lnTo>
                  <a:lnTo>
                    <a:pt x="35" y="124"/>
                  </a:lnTo>
                  <a:lnTo>
                    <a:pt x="36" y="125"/>
                  </a:lnTo>
                  <a:lnTo>
                    <a:pt x="37" y="125"/>
                  </a:lnTo>
                  <a:lnTo>
                    <a:pt x="38" y="125"/>
                  </a:lnTo>
                  <a:lnTo>
                    <a:pt x="39" y="126"/>
                  </a:lnTo>
                  <a:lnTo>
                    <a:pt x="41" y="127"/>
                  </a:lnTo>
                  <a:lnTo>
                    <a:pt x="42" y="128"/>
                  </a:lnTo>
                  <a:lnTo>
                    <a:pt x="44" y="129"/>
                  </a:lnTo>
                  <a:lnTo>
                    <a:pt x="46" y="129"/>
                  </a:lnTo>
                  <a:lnTo>
                    <a:pt x="47" y="130"/>
                  </a:lnTo>
                  <a:lnTo>
                    <a:pt x="47" y="130"/>
                  </a:lnTo>
                  <a:lnTo>
                    <a:pt x="48" y="130"/>
                  </a:lnTo>
                  <a:lnTo>
                    <a:pt x="50" y="129"/>
                  </a:lnTo>
                  <a:lnTo>
                    <a:pt x="51" y="129"/>
                  </a:lnTo>
                  <a:lnTo>
                    <a:pt x="51" y="130"/>
                  </a:lnTo>
                  <a:lnTo>
                    <a:pt x="51" y="130"/>
                  </a:lnTo>
                  <a:lnTo>
                    <a:pt x="52" y="130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3" y="132"/>
                  </a:lnTo>
                  <a:lnTo>
                    <a:pt x="53" y="133"/>
                  </a:lnTo>
                  <a:lnTo>
                    <a:pt x="53" y="134"/>
                  </a:lnTo>
                  <a:lnTo>
                    <a:pt x="54" y="135"/>
                  </a:lnTo>
                  <a:lnTo>
                    <a:pt x="54" y="135"/>
                  </a:lnTo>
                  <a:lnTo>
                    <a:pt x="54" y="136"/>
                  </a:lnTo>
                  <a:lnTo>
                    <a:pt x="55" y="137"/>
                  </a:lnTo>
                  <a:lnTo>
                    <a:pt x="56" y="137"/>
                  </a:lnTo>
                  <a:lnTo>
                    <a:pt x="56" y="137"/>
                  </a:lnTo>
                  <a:lnTo>
                    <a:pt x="56" y="138"/>
                  </a:lnTo>
                  <a:lnTo>
                    <a:pt x="57" y="138"/>
                  </a:lnTo>
                  <a:lnTo>
                    <a:pt x="58" y="138"/>
                  </a:lnTo>
                  <a:lnTo>
                    <a:pt x="58" y="138"/>
                  </a:lnTo>
                  <a:lnTo>
                    <a:pt x="59" y="138"/>
                  </a:lnTo>
                  <a:lnTo>
                    <a:pt x="60" y="138"/>
                  </a:lnTo>
                  <a:lnTo>
                    <a:pt x="61" y="138"/>
                  </a:lnTo>
                  <a:lnTo>
                    <a:pt x="62" y="138"/>
                  </a:lnTo>
                  <a:lnTo>
                    <a:pt x="63" y="138"/>
                  </a:lnTo>
                  <a:lnTo>
                    <a:pt x="64" y="137"/>
                  </a:lnTo>
                  <a:lnTo>
                    <a:pt x="65" y="137"/>
                  </a:lnTo>
                  <a:lnTo>
                    <a:pt x="66" y="136"/>
                  </a:lnTo>
                  <a:lnTo>
                    <a:pt x="66" y="136"/>
                  </a:lnTo>
                  <a:lnTo>
                    <a:pt x="69" y="135"/>
                  </a:lnTo>
                  <a:lnTo>
                    <a:pt x="69" y="134"/>
                  </a:lnTo>
                  <a:lnTo>
                    <a:pt x="69" y="134"/>
                  </a:lnTo>
                  <a:lnTo>
                    <a:pt x="70" y="133"/>
                  </a:lnTo>
                  <a:lnTo>
                    <a:pt x="70" y="132"/>
                  </a:lnTo>
                  <a:lnTo>
                    <a:pt x="71" y="131"/>
                  </a:lnTo>
                  <a:lnTo>
                    <a:pt x="71" y="130"/>
                  </a:lnTo>
                  <a:lnTo>
                    <a:pt x="71" y="130"/>
                  </a:lnTo>
                  <a:lnTo>
                    <a:pt x="71" y="129"/>
                  </a:lnTo>
                  <a:lnTo>
                    <a:pt x="70" y="126"/>
                  </a:lnTo>
                  <a:lnTo>
                    <a:pt x="70" y="125"/>
                  </a:lnTo>
                  <a:lnTo>
                    <a:pt x="70" y="124"/>
                  </a:lnTo>
                  <a:lnTo>
                    <a:pt x="70" y="123"/>
                  </a:lnTo>
                  <a:lnTo>
                    <a:pt x="70" y="122"/>
                  </a:lnTo>
                  <a:lnTo>
                    <a:pt x="70" y="122"/>
                  </a:lnTo>
                  <a:lnTo>
                    <a:pt x="71" y="121"/>
                  </a:lnTo>
                  <a:lnTo>
                    <a:pt x="71" y="120"/>
                  </a:lnTo>
                  <a:lnTo>
                    <a:pt x="72" y="119"/>
                  </a:lnTo>
                  <a:lnTo>
                    <a:pt x="73" y="119"/>
                  </a:lnTo>
                  <a:lnTo>
                    <a:pt x="75" y="117"/>
                  </a:lnTo>
                  <a:lnTo>
                    <a:pt x="77" y="115"/>
                  </a:lnTo>
                  <a:lnTo>
                    <a:pt x="79" y="113"/>
                  </a:lnTo>
                  <a:lnTo>
                    <a:pt x="80" y="113"/>
                  </a:lnTo>
                  <a:lnTo>
                    <a:pt x="80" y="112"/>
                  </a:lnTo>
                  <a:lnTo>
                    <a:pt x="81" y="111"/>
                  </a:lnTo>
                  <a:lnTo>
                    <a:pt x="81" y="111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3" y="111"/>
                  </a:lnTo>
                  <a:lnTo>
                    <a:pt x="84" y="111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5" y="113"/>
                  </a:lnTo>
                  <a:lnTo>
                    <a:pt x="87" y="115"/>
                  </a:lnTo>
                  <a:lnTo>
                    <a:pt x="88" y="117"/>
                  </a:lnTo>
                  <a:lnTo>
                    <a:pt x="89" y="118"/>
                  </a:lnTo>
                  <a:lnTo>
                    <a:pt x="90" y="118"/>
                  </a:lnTo>
                  <a:lnTo>
                    <a:pt x="91" y="119"/>
                  </a:lnTo>
                  <a:lnTo>
                    <a:pt x="91" y="120"/>
                  </a:lnTo>
                  <a:lnTo>
                    <a:pt x="93" y="120"/>
                  </a:lnTo>
                  <a:lnTo>
                    <a:pt x="94" y="121"/>
                  </a:lnTo>
                  <a:lnTo>
                    <a:pt x="95" y="121"/>
                  </a:lnTo>
                  <a:lnTo>
                    <a:pt x="96" y="122"/>
                  </a:lnTo>
                  <a:lnTo>
                    <a:pt x="97" y="122"/>
                  </a:lnTo>
                  <a:lnTo>
                    <a:pt x="98" y="122"/>
                  </a:lnTo>
                  <a:lnTo>
                    <a:pt x="98" y="122"/>
                  </a:lnTo>
                  <a:lnTo>
                    <a:pt x="99" y="122"/>
                  </a:lnTo>
                  <a:lnTo>
                    <a:pt x="100" y="121"/>
                  </a:lnTo>
                  <a:lnTo>
                    <a:pt x="103" y="121"/>
                  </a:lnTo>
                  <a:lnTo>
                    <a:pt x="104" y="120"/>
                  </a:lnTo>
                  <a:lnTo>
                    <a:pt x="105" y="120"/>
                  </a:lnTo>
                  <a:lnTo>
                    <a:pt x="106" y="120"/>
                  </a:lnTo>
                  <a:lnTo>
                    <a:pt x="107" y="120"/>
                  </a:lnTo>
                  <a:lnTo>
                    <a:pt x="109" y="120"/>
                  </a:lnTo>
                  <a:lnTo>
                    <a:pt x="110" y="121"/>
                  </a:lnTo>
                  <a:lnTo>
                    <a:pt x="112" y="121"/>
                  </a:lnTo>
                  <a:lnTo>
                    <a:pt x="112" y="121"/>
                  </a:lnTo>
                  <a:lnTo>
                    <a:pt x="113" y="121"/>
                  </a:lnTo>
                  <a:lnTo>
                    <a:pt x="113" y="121"/>
                  </a:lnTo>
                  <a:lnTo>
                    <a:pt x="115" y="121"/>
                  </a:lnTo>
                  <a:lnTo>
                    <a:pt x="116" y="121"/>
                  </a:lnTo>
                  <a:lnTo>
                    <a:pt x="117" y="121"/>
                  </a:lnTo>
                  <a:lnTo>
                    <a:pt x="119" y="120"/>
                  </a:lnTo>
                  <a:lnTo>
                    <a:pt x="120" y="120"/>
                  </a:lnTo>
                  <a:lnTo>
                    <a:pt x="121" y="119"/>
                  </a:lnTo>
                  <a:lnTo>
                    <a:pt x="122" y="119"/>
                  </a:lnTo>
                  <a:lnTo>
                    <a:pt x="122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3" y="117"/>
                  </a:lnTo>
                  <a:lnTo>
                    <a:pt x="124" y="117"/>
                  </a:lnTo>
                  <a:lnTo>
                    <a:pt x="124" y="116"/>
                  </a:lnTo>
                  <a:lnTo>
                    <a:pt x="124" y="115"/>
                  </a:lnTo>
                  <a:lnTo>
                    <a:pt x="123" y="114"/>
                  </a:lnTo>
                  <a:lnTo>
                    <a:pt x="123" y="113"/>
                  </a:lnTo>
                  <a:lnTo>
                    <a:pt x="123" y="113"/>
                  </a:lnTo>
                  <a:lnTo>
                    <a:pt x="122" y="112"/>
                  </a:lnTo>
                  <a:lnTo>
                    <a:pt x="122" y="111"/>
                  </a:lnTo>
                  <a:lnTo>
                    <a:pt x="120" y="109"/>
                  </a:lnTo>
                  <a:lnTo>
                    <a:pt x="118" y="105"/>
                  </a:lnTo>
                  <a:lnTo>
                    <a:pt x="116" y="103"/>
                  </a:lnTo>
                  <a:lnTo>
                    <a:pt x="116" y="103"/>
                  </a:lnTo>
                  <a:lnTo>
                    <a:pt x="114" y="99"/>
                  </a:lnTo>
                  <a:lnTo>
                    <a:pt x="113" y="96"/>
                  </a:lnTo>
                  <a:lnTo>
                    <a:pt x="111" y="93"/>
                  </a:lnTo>
                  <a:lnTo>
                    <a:pt x="111" y="93"/>
                  </a:lnTo>
                  <a:lnTo>
                    <a:pt x="111" y="92"/>
                  </a:lnTo>
                  <a:lnTo>
                    <a:pt x="111" y="91"/>
                  </a:lnTo>
                  <a:lnTo>
                    <a:pt x="110" y="90"/>
                  </a:lnTo>
                  <a:lnTo>
                    <a:pt x="111" y="89"/>
                  </a:lnTo>
                  <a:lnTo>
                    <a:pt x="111" y="88"/>
                  </a:lnTo>
                  <a:lnTo>
                    <a:pt x="111" y="86"/>
                  </a:lnTo>
                  <a:lnTo>
                    <a:pt x="112" y="84"/>
                  </a:lnTo>
                  <a:lnTo>
                    <a:pt x="113" y="80"/>
                  </a:lnTo>
                  <a:lnTo>
                    <a:pt x="113" y="79"/>
                  </a:lnTo>
                  <a:lnTo>
                    <a:pt x="114" y="78"/>
                  </a:lnTo>
                  <a:lnTo>
                    <a:pt x="114" y="78"/>
                  </a:lnTo>
                  <a:lnTo>
                    <a:pt x="114" y="77"/>
                  </a:lnTo>
                  <a:lnTo>
                    <a:pt x="113" y="76"/>
                  </a:lnTo>
                  <a:lnTo>
                    <a:pt x="113" y="76"/>
                  </a:lnTo>
                  <a:lnTo>
                    <a:pt x="113" y="75"/>
                  </a:lnTo>
                  <a:lnTo>
                    <a:pt x="113" y="74"/>
                  </a:lnTo>
                  <a:lnTo>
                    <a:pt x="111" y="72"/>
                  </a:lnTo>
                  <a:lnTo>
                    <a:pt x="109" y="67"/>
                  </a:lnTo>
                  <a:lnTo>
                    <a:pt x="109" y="67"/>
                  </a:lnTo>
                  <a:lnTo>
                    <a:pt x="109" y="66"/>
                  </a:lnTo>
                  <a:lnTo>
                    <a:pt x="109" y="65"/>
                  </a:lnTo>
                  <a:lnTo>
                    <a:pt x="109" y="64"/>
                  </a:lnTo>
                  <a:lnTo>
                    <a:pt x="109" y="63"/>
                  </a:lnTo>
                  <a:lnTo>
                    <a:pt x="109" y="60"/>
                  </a:lnTo>
                  <a:lnTo>
                    <a:pt x="109" y="59"/>
                  </a:lnTo>
                  <a:lnTo>
                    <a:pt x="109" y="59"/>
                  </a:lnTo>
                  <a:lnTo>
                    <a:pt x="108" y="57"/>
                  </a:lnTo>
                  <a:lnTo>
                    <a:pt x="107" y="54"/>
                  </a:lnTo>
                  <a:lnTo>
                    <a:pt x="107" y="51"/>
                  </a:lnTo>
                  <a:lnTo>
                    <a:pt x="106" y="48"/>
                  </a:lnTo>
                  <a:lnTo>
                    <a:pt x="106" y="46"/>
                  </a:lnTo>
                  <a:lnTo>
                    <a:pt x="106" y="45"/>
                  </a:lnTo>
                  <a:lnTo>
                    <a:pt x="105" y="43"/>
                  </a:lnTo>
                  <a:lnTo>
                    <a:pt x="105" y="36"/>
                  </a:lnTo>
                  <a:lnTo>
                    <a:pt x="105" y="31"/>
                  </a:lnTo>
                  <a:lnTo>
                    <a:pt x="105" y="30"/>
                  </a:lnTo>
                  <a:lnTo>
                    <a:pt x="105" y="29"/>
                  </a:lnTo>
                  <a:lnTo>
                    <a:pt x="106" y="25"/>
                  </a:lnTo>
                  <a:lnTo>
                    <a:pt x="106" y="23"/>
                  </a:lnTo>
                  <a:lnTo>
                    <a:pt x="106" y="22"/>
                  </a:lnTo>
                  <a:lnTo>
                    <a:pt x="106" y="20"/>
                  </a:lnTo>
                  <a:lnTo>
                    <a:pt x="105" y="20"/>
                  </a:lnTo>
                  <a:lnTo>
                    <a:pt x="105" y="19"/>
                  </a:lnTo>
                  <a:lnTo>
                    <a:pt x="105" y="18"/>
                  </a:lnTo>
                  <a:lnTo>
                    <a:pt x="104" y="16"/>
                  </a:lnTo>
                  <a:lnTo>
                    <a:pt x="103" y="15"/>
                  </a:lnTo>
                  <a:lnTo>
                    <a:pt x="101" y="11"/>
                  </a:lnTo>
                  <a:lnTo>
                    <a:pt x="100" y="10"/>
                  </a:lnTo>
                  <a:lnTo>
                    <a:pt x="99" y="8"/>
                  </a:lnTo>
                  <a:lnTo>
                    <a:pt x="98" y="6"/>
                  </a:lnTo>
                  <a:lnTo>
                    <a:pt x="97" y="5"/>
                  </a:lnTo>
                  <a:lnTo>
                    <a:pt x="97" y="4"/>
                  </a:lnTo>
                  <a:lnTo>
                    <a:pt x="97" y="3"/>
                  </a:lnTo>
                  <a:lnTo>
                    <a:pt x="96" y="2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100" y="1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 60">
              <a:extLst>
                <a:ext uri="{FF2B5EF4-FFF2-40B4-BE49-F238E27FC236}">
                  <a16:creationId xmlns:a16="http://schemas.microsoft.com/office/drawing/2014/main" id="{1336E8A5-3392-18FE-30D2-143BC88FB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" y="3255"/>
              <a:ext cx="442" cy="291"/>
            </a:xfrm>
            <a:custGeom>
              <a:avLst/>
              <a:gdLst>
                <a:gd name="T0" fmla="*/ 131 w 442"/>
                <a:gd name="T1" fmla="*/ 34 h 291"/>
                <a:gd name="T2" fmla="*/ 150 w 442"/>
                <a:gd name="T3" fmla="*/ 29 h 291"/>
                <a:gd name="T4" fmla="*/ 179 w 442"/>
                <a:gd name="T5" fmla="*/ 25 h 291"/>
                <a:gd name="T6" fmla="*/ 192 w 442"/>
                <a:gd name="T7" fmla="*/ 43 h 291"/>
                <a:gd name="T8" fmla="*/ 213 w 442"/>
                <a:gd name="T9" fmla="*/ 58 h 291"/>
                <a:gd name="T10" fmla="*/ 242 w 442"/>
                <a:gd name="T11" fmla="*/ 75 h 291"/>
                <a:gd name="T12" fmla="*/ 261 w 442"/>
                <a:gd name="T13" fmla="*/ 74 h 291"/>
                <a:gd name="T14" fmla="*/ 282 w 442"/>
                <a:gd name="T15" fmla="*/ 75 h 291"/>
                <a:gd name="T16" fmla="*/ 287 w 442"/>
                <a:gd name="T17" fmla="*/ 63 h 291"/>
                <a:gd name="T18" fmla="*/ 298 w 442"/>
                <a:gd name="T19" fmla="*/ 47 h 291"/>
                <a:gd name="T20" fmla="*/ 325 w 442"/>
                <a:gd name="T21" fmla="*/ 31 h 291"/>
                <a:gd name="T22" fmla="*/ 336 w 442"/>
                <a:gd name="T23" fmla="*/ 20 h 291"/>
                <a:gd name="T24" fmla="*/ 359 w 442"/>
                <a:gd name="T25" fmla="*/ 29 h 291"/>
                <a:gd name="T26" fmla="*/ 389 w 442"/>
                <a:gd name="T27" fmla="*/ 47 h 291"/>
                <a:gd name="T28" fmla="*/ 408 w 442"/>
                <a:gd name="T29" fmla="*/ 34 h 291"/>
                <a:gd name="T30" fmla="*/ 427 w 442"/>
                <a:gd name="T31" fmla="*/ 6 h 291"/>
                <a:gd name="T32" fmla="*/ 441 w 442"/>
                <a:gd name="T33" fmla="*/ 1 h 291"/>
                <a:gd name="T34" fmla="*/ 430 w 442"/>
                <a:gd name="T35" fmla="*/ 40 h 291"/>
                <a:gd name="T36" fmla="*/ 426 w 442"/>
                <a:gd name="T37" fmla="*/ 62 h 291"/>
                <a:gd name="T38" fmla="*/ 416 w 442"/>
                <a:gd name="T39" fmla="*/ 87 h 291"/>
                <a:gd name="T40" fmla="*/ 402 w 442"/>
                <a:gd name="T41" fmla="*/ 96 h 291"/>
                <a:gd name="T42" fmla="*/ 412 w 442"/>
                <a:gd name="T43" fmla="*/ 133 h 291"/>
                <a:gd name="T44" fmla="*/ 409 w 442"/>
                <a:gd name="T45" fmla="*/ 161 h 291"/>
                <a:gd name="T46" fmla="*/ 416 w 442"/>
                <a:gd name="T47" fmla="*/ 185 h 291"/>
                <a:gd name="T48" fmla="*/ 429 w 442"/>
                <a:gd name="T49" fmla="*/ 210 h 291"/>
                <a:gd name="T50" fmla="*/ 436 w 442"/>
                <a:gd name="T51" fmla="*/ 220 h 291"/>
                <a:gd name="T52" fmla="*/ 440 w 442"/>
                <a:gd name="T53" fmla="*/ 241 h 291"/>
                <a:gd name="T54" fmla="*/ 433 w 442"/>
                <a:gd name="T55" fmla="*/ 265 h 291"/>
                <a:gd name="T56" fmla="*/ 423 w 442"/>
                <a:gd name="T57" fmla="*/ 278 h 291"/>
                <a:gd name="T58" fmla="*/ 390 w 442"/>
                <a:gd name="T59" fmla="*/ 267 h 291"/>
                <a:gd name="T60" fmla="*/ 363 w 442"/>
                <a:gd name="T61" fmla="*/ 268 h 291"/>
                <a:gd name="T62" fmla="*/ 351 w 442"/>
                <a:gd name="T63" fmla="*/ 283 h 291"/>
                <a:gd name="T64" fmla="*/ 325 w 442"/>
                <a:gd name="T65" fmla="*/ 284 h 291"/>
                <a:gd name="T66" fmla="*/ 311 w 442"/>
                <a:gd name="T67" fmla="*/ 290 h 291"/>
                <a:gd name="T68" fmla="*/ 290 w 442"/>
                <a:gd name="T69" fmla="*/ 275 h 291"/>
                <a:gd name="T70" fmla="*/ 261 w 442"/>
                <a:gd name="T71" fmla="*/ 255 h 291"/>
                <a:gd name="T72" fmla="*/ 224 w 442"/>
                <a:gd name="T73" fmla="*/ 242 h 291"/>
                <a:gd name="T74" fmla="*/ 207 w 442"/>
                <a:gd name="T75" fmla="*/ 230 h 291"/>
                <a:gd name="T76" fmla="*/ 188 w 442"/>
                <a:gd name="T77" fmla="*/ 221 h 291"/>
                <a:gd name="T78" fmla="*/ 173 w 442"/>
                <a:gd name="T79" fmla="*/ 241 h 291"/>
                <a:gd name="T80" fmla="*/ 148 w 442"/>
                <a:gd name="T81" fmla="*/ 233 h 291"/>
                <a:gd name="T82" fmla="*/ 143 w 442"/>
                <a:gd name="T83" fmla="*/ 218 h 291"/>
                <a:gd name="T84" fmla="*/ 123 w 442"/>
                <a:gd name="T85" fmla="*/ 209 h 291"/>
                <a:gd name="T86" fmla="*/ 109 w 442"/>
                <a:gd name="T87" fmla="*/ 199 h 291"/>
                <a:gd name="T88" fmla="*/ 89 w 442"/>
                <a:gd name="T89" fmla="*/ 186 h 291"/>
                <a:gd name="T90" fmla="*/ 68 w 442"/>
                <a:gd name="T91" fmla="*/ 186 h 291"/>
                <a:gd name="T92" fmla="*/ 38 w 442"/>
                <a:gd name="T93" fmla="*/ 157 h 291"/>
                <a:gd name="T94" fmla="*/ 46 w 442"/>
                <a:gd name="T95" fmla="*/ 131 h 291"/>
                <a:gd name="T96" fmla="*/ 41 w 442"/>
                <a:gd name="T97" fmla="*/ 114 h 291"/>
                <a:gd name="T98" fmla="*/ 28 w 442"/>
                <a:gd name="T99" fmla="*/ 99 h 291"/>
                <a:gd name="T100" fmla="*/ 15 w 442"/>
                <a:gd name="T101" fmla="*/ 93 h 291"/>
                <a:gd name="T102" fmla="*/ 0 w 442"/>
                <a:gd name="T103" fmla="*/ 82 h 291"/>
                <a:gd name="T104" fmla="*/ 4 w 442"/>
                <a:gd name="T105" fmla="*/ 74 h 291"/>
                <a:gd name="T106" fmla="*/ 11 w 442"/>
                <a:gd name="T107" fmla="*/ 61 h 291"/>
                <a:gd name="T108" fmla="*/ 11 w 442"/>
                <a:gd name="T109" fmla="*/ 52 h 291"/>
                <a:gd name="T110" fmla="*/ 22 w 442"/>
                <a:gd name="T111" fmla="*/ 51 h 291"/>
                <a:gd name="T112" fmla="*/ 40 w 442"/>
                <a:gd name="T113" fmla="*/ 45 h 291"/>
                <a:gd name="T114" fmla="*/ 57 w 442"/>
                <a:gd name="T115" fmla="*/ 32 h 291"/>
                <a:gd name="T116" fmla="*/ 73 w 442"/>
                <a:gd name="T117" fmla="*/ 36 h 291"/>
                <a:gd name="T118" fmla="*/ 94 w 442"/>
                <a:gd name="T119" fmla="*/ 38 h 291"/>
                <a:gd name="T120" fmla="*/ 111 w 442"/>
                <a:gd name="T121" fmla="*/ 24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2" h="291">
                  <a:moveTo>
                    <a:pt x="121" y="18"/>
                  </a:moveTo>
                  <a:lnTo>
                    <a:pt x="121" y="18"/>
                  </a:lnTo>
                  <a:lnTo>
                    <a:pt x="122" y="19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5" y="22"/>
                  </a:lnTo>
                  <a:lnTo>
                    <a:pt x="126" y="24"/>
                  </a:lnTo>
                  <a:lnTo>
                    <a:pt x="126" y="25"/>
                  </a:lnTo>
                  <a:lnTo>
                    <a:pt x="127" y="27"/>
                  </a:lnTo>
                  <a:lnTo>
                    <a:pt x="128" y="30"/>
                  </a:lnTo>
                  <a:lnTo>
                    <a:pt x="128" y="31"/>
                  </a:lnTo>
                  <a:lnTo>
                    <a:pt x="129" y="32"/>
                  </a:lnTo>
                  <a:lnTo>
                    <a:pt x="129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8" y="35"/>
                  </a:lnTo>
                  <a:lnTo>
                    <a:pt x="139" y="35"/>
                  </a:lnTo>
                  <a:lnTo>
                    <a:pt x="140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5" y="31"/>
                  </a:lnTo>
                  <a:lnTo>
                    <a:pt x="148" y="30"/>
                  </a:lnTo>
                  <a:lnTo>
                    <a:pt x="149" y="29"/>
                  </a:lnTo>
                  <a:lnTo>
                    <a:pt x="150" y="29"/>
                  </a:lnTo>
                  <a:lnTo>
                    <a:pt x="150" y="28"/>
                  </a:lnTo>
                  <a:lnTo>
                    <a:pt x="151" y="28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4"/>
                  </a:lnTo>
                  <a:lnTo>
                    <a:pt x="156" y="23"/>
                  </a:lnTo>
                  <a:lnTo>
                    <a:pt x="158" y="23"/>
                  </a:lnTo>
                  <a:lnTo>
                    <a:pt x="160" y="22"/>
                  </a:lnTo>
                  <a:lnTo>
                    <a:pt x="161" y="21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70" y="23"/>
                  </a:lnTo>
                  <a:lnTo>
                    <a:pt x="174" y="24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0" y="26"/>
                  </a:lnTo>
                  <a:lnTo>
                    <a:pt x="181" y="26"/>
                  </a:lnTo>
                  <a:lnTo>
                    <a:pt x="182" y="27"/>
                  </a:lnTo>
                  <a:lnTo>
                    <a:pt x="183" y="27"/>
                  </a:lnTo>
                  <a:lnTo>
                    <a:pt x="183" y="28"/>
                  </a:lnTo>
                  <a:lnTo>
                    <a:pt x="185" y="31"/>
                  </a:lnTo>
                  <a:lnTo>
                    <a:pt x="186" y="31"/>
                  </a:lnTo>
                  <a:lnTo>
                    <a:pt x="186" y="32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88" y="35"/>
                  </a:lnTo>
                  <a:lnTo>
                    <a:pt x="189" y="39"/>
                  </a:lnTo>
                  <a:lnTo>
                    <a:pt x="190" y="40"/>
                  </a:lnTo>
                  <a:lnTo>
                    <a:pt x="190" y="41"/>
                  </a:lnTo>
                  <a:lnTo>
                    <a:pt x="191" y="42"/>
                  </a:lnTo>
                  <a:lnTo>
                    <a:pt x="191" y="43"/>
                  </a:lnTo>
                  <a:lnTo>
                    <a:pt x="192" y="43"/>
                  </a:lnTo>
                  <a:lnTo>
                    <a:pt x="192" y="44"/>
                  </a:lnTo>
                  <a:lnTo>
                    <a:pt x="193" y="44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6"/>
                  </a:lnTo>
                  <a:lnTo>
                    <a:pt x="200" y="46"/>
                  </a:lnTo>
                  <a:lnTo>
                    <a:pt x="201" y="47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4" y="49"/>
                  </a:lnTo>
                  <a:lnTo>
                    <a:pt x="206" y="50"/>
                  </a:lnTo>
                  <a:lnTo>
                    <a:pt x="208" y="53"/>
                  </a:lnTo>
                  <a:lnTo>
                    <a:pt x="209" y="54"/>
                  </a:lnTo>
                  <a:lnTo>
                    <a:pt x="210" y="55"/>
                  </a:lnTo>
                  <a:lnTo>
                    <a:pt x="211" y="56"/>
                  </a:lnTo>
                  <a:lnTo>
                    <a:pt x="212" y="57"/>
                  </a:lnTo>
                  <a:lnTo>
                    <a:pt x="213" y="58"/>
                  </a:lnTo>
                  <a:lnTo>
                    <a:pt x="215" y="58"/>
                  </a:lnTo>
                  <a:lnTo>
                    <a:pt x="218" y="60"/>
                  </a:lnTo>
                  <a:lnTo>
                    <a:pt x="219" y="60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2"/>
                  </a:lnTo>
                  <a:lnTo>
                    <a:pt x="224" y="64"/>
                  </a:lnTo>
                  <a:lnTo>
                    <a:pt x="225" y="65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8" y="67"/>
                  </a:lnTo>
                  <a:lnTo>
                    <a:pt x="231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6" y="70"/>
                  </a:lnTo>
                  <a:lnTo>
                    <a:pt x="237" y="71"/>
                  </a:lnTo>
                  <a:lnTo>
                    <a:pt x="238" y="72"/>
                  </a:lnTo>
                  <a:lnTo>
                    <a:pt x="242" y="75"/>
                  </a:lnTo>
                  <a:lnTo>
                    <a:pt x="243" y="75"/>
                  </a:lnTo>
                  <a:lnTo>
                    <a:pt x="244" y="76"/>
                  </a:lnTo>
                  <a:lnTo>
                    <a:pt x="245" y="76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7" y="77"/>
                  </a:lnTo>
                  <a:lnTo>
                    <a:pt x="248" y="77"/>
                  </a:lnTo>
                  <a:lnTo>
                    <a:pt x="249" y="77"/>
                  </a:lnTo>
                  <a:lnTo>
                    <a:pt x="251" y="76"/>
                  </a:lnTo>
                  <a:lnTo>
                    <a:pt x="254" y="76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1" y="74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6" y="75"/>
                  </a:lnTo>
                  <a:lnTo>
                    <a:pt x="269" y="75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4" y="74"/>
                  </a:lnTo>
                  <a:lnTo>
                    <a:pt x="275" y="75"/>
                  </a:lnTo>
                  <a:lnTo>
                    <a:pt x="277" y="75"/>
                  </a:lnTo>
                  <a:lnTo>
                    <a:pt x="278" y="76"/>
                  </a:lnTo>
                  <a:lnTo>
                    <a:pt x="279" y="76"/>
                  </a:lnTo>
                  <a:lnTo>
                    <a:pt x="280" y="76"/>
                  </a:lnTo>
                  <a:lnTo>
                    <a:pt x="281" y="76"/>
                  </a:lnTo>
                  <a:lnTo>
                    <a:pt x="281" y="75"/>
                  </a:lnTo>
                  <a:lnTo>
                    <a:pt x="282" y="75"/>
                  </a:lnTo>
                  <a:lnTo>
                    <a:pt x="282" y="75"/>
                  </a:lnTo>
                  <a:lnTo>
                    <a:pt x="283" y="75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2" y="70"/>
                  </a:lnTo>
                  <a:lnTo>
                    <a:pt x="282" y="69"/>
                  </a:lnTo>
                  <a:lnTo>
                    <a:pt x="282" y="69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7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4" y="65"/>
                  </a:lnTo>
                  <a:lnTo>
                    <a:pt x="286" y="64"/>
                  </a:lnTo>
                  <a:lnTo>
                    <a:pt x="287" y="63"/>
                  </a:lnTo>
                  <a:lnTo>
                    <a:pt x="288" y="62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0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5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1" y="52"/>
                  </a:lnTo>
                  <a:lnTo>
                    <a:pt x="292" y="51"/>
                  </a:lnTo>
                  <a:lnTo>
                    <a:pt x="293" y="50"/>
                  </a:lnTo>
                  <a:lnTo>
                    <a:pt x="294" y="50"/>
                  </a:lnTo>
                  <a:lnTo>
                    <a:pt x="296" y="48"/>
                  </a:lnTo>
                  <a:lnTo>
                    <a:pt x="298" y="47"/>
                  </a:lnTo>
                  <a:lnTo>
                    <a:pt x="300" y="46"/>
                  </a:lnTo>
                  <a:lnTo>
                    <a:pt x="302" y="44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6" y="42"/>
                  </a:lnTo>
                  <a:lnTo>
                    <a:pt x="309" y="41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20" y="35"/>
                  </a:lnTo>
                  <a:lnTo>
                    <a:pt x="321" y="34"/>
                  </a:lnTo>
                  <a:lnTo>
                    <a:pt x="322" y="33"/>
                  </a:lnTo>
                  <a:lnTo>
                    <a:pt x="323" y="32"/>
                  </a:lnTo>
                  <a:lnTo>
                    <a:pt x="324" y="31"/>
                  </a:lnTo>
                  <a:lnTo>
                    <a:pt x="325" y="31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7" y="27"/>
                  </a:lnTo>
                  <a:lnTo>
                    <a:pt x="329" y="24"/>
                  </a:lnTo>
                  <a:lnTo>
                    <a:pt x="329" y="23"/>
                  </a:lnTo>
                  <a:lnTo>
                    <a:pt x="329" y="22"/>
                  </a:lnTo>
                  <a:lnTo>
                    <a:pt x="330" y="21"/>
                  </a:lnTo>
                  <a:lnTo>
                    <a:pt x="330" y="21"/>
                  </a:lnTo>
                  <a:lnTo>
                    <a:pt x="331" y="21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39" y="22"/>
                  </a:lnTo>
                  <a:lnTo>
                    <a:pt x="342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7" y="26"/>
                  </a:lnTo>
                  <a:lnTo>
                    <a:pt x="352" y="28"/>
                  </a:lnTo>
                  <a:lnTo>
                    <a:pt x="353" y="28"/>
                  </a:lnTo>
                  <a:lnTo>
                    <a:pt x="355" y="29"/>
                  </a:lnTo>
                  <a:lnTo>
                    <a:pt x="356" y="29"/>
                  </a:lnTo>
                  <a:lnTo>
                    <a:pt x="357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9" y="29"/>
                  </a:lnTo>
                  <a:lnTo>
                    <a:pt x="359" y="29"/>
                  </a:lnTo>
                  <a:lnTo>
                    <a:pt x="360" y="30"/>
                  </a:lnTo>
                  <a:lnTo>
                    <a:pt x="362" y="31"/>
                  </a:lnTo>
                  <a:lnTo>
                    <a:pt x="363" y="32"/>
                  </a:lnTo>
                  <a:lnTo>
                    <a:pt x="365" y="33"/>
                  </a:lnTo>
                  <a:lnTo>
                    <a:pt x="366" y="34"/>
                  </a:lnTo>
                  <a:lnTo>
                    <a:pt x="367" y="35"/>
                  </a:lnTo>
                  <a:lnTo>
                    <a:pt x="370" y="38"/>
                  </a:lnTo>
                  <a:lnTo>
                    <a:pt x="371" y="39"/>
                  </a:lnTo>
                  <a:lnTo>
                    <a:pt x="373" y="40"/>
                  </a:lnTo>
                  <a:lnTo>
                    <a:pt x="374" y="41"/>
                  </a:lnTo>
                  <a:lnTo>
                    <a:pt x="375" y="41"/>
                  </a:lnTo>
                  <a:lnTo>
                    <a:pt x="376" y="42"/>
                  </a:lnTo>
                  <a:lnTo>
                    <a:pt x="377" y="43"/>
                  </a:lnTo>
                  <a:lnTo>
                    <a:pt x="378" y="43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9" y="47"/>
                  </a:lnTo>
                  <a:lnTo>
                    <a:pt x="390" y="47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3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5" y="47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8" y="46"/>
                  </a:lnTo>
                  <a:lnTo>
                    <a:pt x="399" y="45"/>
                  </a:lnTo>
                  <a:lnTo>
                    <a:pt x="400" y="45"/>
                  </a:lnTo>
                  <a:lnTo>
                    <a:pt x="401" y="44"/>
                  </a:lnTo>
                  <a:lnTo>
                    <a:pt x="402" y="42"/>
                  </a:lnTo>
                  <a:lnTo>
                    <a:pt x="406" y="37"/>
                  </a:lnTo>
                  <a:lnTo>
                    <a:pt x="407" y="35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9" y="33"/>
                  </a:lnTo>
                  <a:lnTo>
                    <a:pt x="412" y="30"/>
                  </a:lnTo>
                  <a:lnTo>
                    <a:pt x="414" y="28"/>
                  </a:lnTo>
                  <a:lnTo>
                    <a:pt x="416" y="27"/>
                  </a:lnTo>
                  <a:lnTo>
                    <a:pt x="417" y="26"/>
                  </a:lnTo>
                  <a:lnTo>
                    <a:pt x="418" y="24"/>
                  </a:lnTo>
                  <a:lnTo>
                    <a:pt x="419" y="22"/>
                  </a:lnTo>
                  <a:lnTo>
                    <a:pt x="420" y="21"/>
                  </a:lnTo>
                  <a:lnTo>
                    <a:pt x="421" y="20"/>
                  </a:lnTo>
                  <a:lnTo>
                    <a:pt x="421" y="18"/>
                  </a:lnTo>
                  <a:lnTo>
                    <a:pt x="422" y="17"/>
                  </a:lnTo>
                  <a:lnTo>
                    <a:pt x="424" y="12"/>
                  </a:lnTo>
                  <a:lnTo>
                    <a:pt x="424" y="11"/>
                  </a:lnTo>
                  <a:lnTo>
                    <a:pt x="425" y="10"/>
                  </a:lnTo>
                  <a:lnTo>
                    <a:pt x="426" y="9"/>
                  </a:lnTo>
                  <a:lnTo>
                    <a:pt x="426" y="7"/>
                  </a:lnTo>
                  <a:lnTo>
                    <a:pt x="427" y="6"/>
                  </a:lnTo>
                  <a:lnTo>
                    <a:pt x="428" y="6"/>
                  </a:lnTo>
                  <a:lnTo>
                    <a:pt x="429" y="5"/>
                  </a:lnTo>
                  <a:lnTo>
                    <a:pt x="430" y="4"/>
                  </a:lnTo>
                  <a:lnTo>
                    <a:pt x="431" y="3"/>
                  </a:lnTo>
                  <a:lnTo>
                    <a:pt x="432" y="2"/>
                  </a:lnTo>
                  <a:lnTo>
                    <a:pt x="433" y="2"/>
                  </a:lnTo>
                  <a:lnTo>
                    <a:pt x="434" y="1"/>
                  </a:lnTo>
                  <a:lnTo>
                    <a:pt x="435" y="1"/>
                  </a:lnTo>
                  <a:lnTo>
                    <a:pt x="436" y="0"/>
                  </a:lnTo>
                  <a:lnTo>
                    <a:pt x="437" y="0"/>
                  </a:lnTo>
                  <a:lnTo>
                    <a:pt x="438" y="0"/>
                  </a:lnTo>
                  <a:lnTo>
                    <a:pt x="439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2" y="1"/>
                  </a:lnTo>
                  <a:lnTo>
                    <a:pt x="442" y="1"/>
                  </a:lnTo>
                  <a:lnTo>
                    <a:pt x="442" y="3"/>
                  </a:lnTo>
                  <a:lnTo>
                    <a:pt x="442" y="4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0" y="11"/>
                  </a:lnTo>
                  <a:lnTo>
                    <a:pt x="440" y="13"/>
                  </a:lnTo>
                  <a:lnTo>
                    <a:pt x="439" y="17"/>
                  </a:lnTo>
                  <a:lnTo>
                    <a:pt x="437" y="20"/>
                  </a:lnTo>
                  <a:lnTo>
                    <a:pt x="435" y="28"/>
                  </a:lnTo>
                  <a:lnTo>
                    <a:pt x="433" y="32"/>
                  </a:lnTo>
                  <a:lnTo>
                    <a:pt x="433" y="33"/>
                  </a:lnTo>
                  <a:lnTo>
                    <a:pt x="431" y="35"/>
                  </a:lnTo>
                  <a:lnTo>
                    <a:pt x="430" y="39"/>
                  </a:lnTo>
                  <a:lnTo>
                    <a:pt x="430" y="40"/>
                  </a:lnTo>
                  <a:lnTo>
                    <a:pt x="429" y="42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6"/>
                  </a:lnTo>
                  <a:lnTo>
                    <a:pt x="428" y="47"/>
                  </a:lnTo>
                  <a:lnTo>
                    <a:pt x="428" y="51"/>
                  </a:lnTo>
                  <a:lnTo>
                    <a:pt x="428" y="52"/>
                  </a:lnTo>
                  <a:lnTo>
                    <a:pt x="428" y="53"/>
                  </a:lnTo>
                  <a:lnTo>
                    <a:pt x="428" y="54"/>
                  </a:lnTo>
                  <a:lnTo>
                    <a:pt x="428" y="55"/>
                  </a:lnTo>
                  <a:lnTo>
                    <a:pt x="427" y="58"/>
                  </a:lnTo>
                  <a:lnTo>
                    <a:pt x="427" y="59"/>
                  </a:lnTo>
                  <a:lnTo>
                    <a:pt x="426" y="60"/>
                  </a:lnTo>
                  <a:lnTo>
                    <a:pt x="426" y="61"/>
                  </a:lnTo>
                  <a:lnTo>
                    <a:pt x="426" y="62"/>
                  </a:lnTo>
                  <a:lnTo>
                    <a:pt x="426" y="62"/>
                  </a:lnTo>
                  <a:lnTo>
                    <a:pt x="427" y="63"/>
                  </a:lnTo>
                  <a:lnTo>
                    <a:pt x="427" y="66"/>
                  </a:lnTo>
                  <a:lnTo>
                    <a:pt x="427" y="67"/>
                  </a:lnTo>
                  <a:lnTo>
                    <a:pt x="428" y="70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8" y="74"/>
                  </a:lnTo>
                  <a:lnTo>
                    <a:pt x="427" y="75"/>
                  </a:lnTo>
                  <a:lnTo>
                    <a:pt x="427" y="76"/>
                  </a:lnTo>
                  <a:lnTo>
                    <a:pt x="426" y="77"/>
                  </a:lnTo>
                  <a:lnTo>
                    <a:pt x="426" y="78"/>
                  </a:lnTo>
                  <a:lnTo>
                    <a:pt x="426" y="78"/>
                  </a:lnTo>
                  <a:lnTo>
                    <a:pt x="425" y="79"/>
                  </a:lnTo>
                  <a:lnTo>
                    <a:pt x="424" y="79"/>
                  </a:lnTo>
                  <a:lnTo>
                    <a:pt x="423" y="81"/>
                  </a:lnTo>
                  <a:lnTo>
                    <a:pt x="420" y="83"/>
                  </a:lnTo>
                  <a:lnTo>
                    <a:pt x="419" y="84"/>
                  </a:lnTo>
                  <a:lnTo>
                    <a:pt x="416" y="87"/>
                  </a:lnTo>
                  <a:lnTo>
                    <a:pt x="416" y="88"/>
                  </a:lnTo>
                  <a:lnTo>
                    <a:pt x="415" y="89"/>
                  </a:lnTo>
                  <a:lnTo>
                    <a:pt x="414" y="90"/>
                  </a:lnTo>
                  <a:lnTo>
                    <a:pt x="413" y="91"/>
                  </a:lnTo>
                  <a:lnTo>
                    <a:pt x="412" y="91"/>
                  </a:lnTo>
                  <a:lnTo>
                    <a:pt x="412" y="92"/>
                  </a:lnTo>
                  <a:lnTo>
                    <a:pt x="411" y="92"/>
                  </a:lnTo>
                  <a:lnTo>
                    <a:pt x="410" y="93"/>
                  </a:lnTo>
                  <a:lnTo>
                    <a:pt x="410" y="93"/>
                  </a:lnTo>
                  <a:lnTo>
                    <a:pt x="409" y="93"/>
                  </a:lnTo>
                  <a:lnTo>
                    <a:pt x="406" y="94"/>
                  </a:lnTo>
                  <a:lnTo>
                    <a:pt x="405" y="94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2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2" y="97"/>
                  </a:lnTo>
                  <a:lnTo>
                    <a:pt x="401" y="98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2" y="101"/>
                  </a:lnTo>
                  <a:lnTo>
                    <a:pt x="404" y="105"/>
                  </a:lnTo>
                  <a:lnTo>
                    <a:pt x="405" y="108"/>
                  </a:lnTo>
                  <a:lnTo>
                    <a:pt x="405" y="110"/>
                  </a:lnTo>
                  <a:lnTo>
                    <a:pt x="406" y="115"/>
                  </a:lnTo>
                  <a:lnTo>
                    <a:pt x="407" y="117"/>
                  </a:lnTo>
                  <a:lnTo>
                    <a:pt x="407" y="119"/>
                  </a:lnTo>
                  <a:lnTo>
                    <a:pt x="408" y="121"/>
                  </a:lnTo>
                  <a:lnTo>
                    <a:pt x="410" y="126"/>
                  </a:lnTo>
                  <a:lnTo>
                    <a:pt x="411" y="131"/>
                  </a:lnTo>
                  <a:lnTo>
                    <a:pt x="412" y="132"/>
                  </a:lnTo>
                  <a:lnTo>
                    <a:pt x="412" y="133"/>
                  </a:lnTo>
                  <a:lnTo>
                    <a:pt x="412" y="135"/>
                  </a:lnTo>
                  <a:lnTo>
                    <a:pt x="413" y="139"/>
                  </a:lnTo>
                  <a:lnTo>
                    <a:pt x="413" y="142"/>
                  </a:lnTo>
                  <a:lnTo>
                    <a:pt x="413" y="143"/>
                  </a:lnTo>
                  <a:lnTo>
                    <a:pt x="413" y="145"/>
                  </a:lnTo>
                  <a:lnTo>
                    <a:pt x="414" y="148"/>
                  </a:lnTo>
                  <a:lnTo>
                    <a:pt x="414" y="150"/>
                  </a:lnTo>
                  <a:lnTo>
                    <a:pt x="414" y="151"/>
                  </a:lnTo>
                  <a:lnTo>
                    <a:pt x="414" y="151"/>
                  </a:lnTo>
                  <a:lnTo>
                    <a:pt x="414" y="152"/>
                  </a:lnTo>
                  <a:lnTo>
                    <a:pt x="414" y="153"/>
                  </a:lnTo>
                  <a:lnTo>
                    <a:pt x="413" y="154"/>
                  </a:lnTo>
                  <a:lnTo>
                    <a:pt x="413" y="154"/>
                  </a:lnTo>
                  <a:lnTo>
                    <a:pt x="411" y="157"/>
                  </a:lnTo>
                  <a:lnTo>
                    <a:pt x="410" y="158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09" y="161"/>
                  </a:lnTo>
                  <a:lnTo>
                    <a:pt x="409" y="162"/>
                  </a:lnTo>
                  <a:lnTo>
                    <a:pt x="409" y="163"/>
                  </a:lnTo>
                  <a:lnTo>
                    <a:pt x="408" y="164"/>
                  </a:lnTo>
                  <a:lnTo>
                    <a:pt x="408" y="165"/>
                  </a:lnTo>
                  <a:lnTo>
                    <a:pt x="408" y="166"/>
                  </a:lnTo>
                  <a:lnTo>
                    <a:pt x="408" y="167"/>
                  </a:lnTo>
                  <a:lnTo>
                    <a:pt x="408" y="169"/>
                  </a:lnTo>
                  <a:lnTo>
                    <a:pt x="409" y="170"/>
                  </a:lnTo>
                  <a:lnTo>
                    <a:pt x="409" y="171"/>
                  </a:lnTo>
                  <a:lnTo>
                    <a:pt x="409" y="172"/>
                  </a:lnTo>
                  <a:lnTo>
                    <a:pt x="410" y="173"/>
                  </a:lnTo>
                  <a:lnTo>
                    <a:pt x="412" y="176"/>
                  </a:lnTo>
                  <a:lnTo>
                    <a:pt x="413" y="177"/>
                  </a:lnTo>
                  <a:lnTo>
                    <a:pt x="413" y="178"/>
                  </a:lnTo>
                  <a:lnTo>
                    <a:pt x="413" y="179"/>
                  </a:lnTo>
                  <a:lnTo>
                    <a:pt x="414" y="180"/>
                  </a:lnTo>
                  <a:lnTo>
                    <a:pt x="415" y="183"/>
                  </a:lnTo>
                  <a:lnTo>
                    <a:pt x="416" y="185"/>
                  </a:lnTo>
                  <a:lnTo>
                    <a:pt x="416" y="187"/>
                  </a:lnTo>
                  <a:lnTo>
                    <a:pt x="417" y="189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21" y="193"/>
                  </a:lnTo>
                  <a:lnTo>
                    <a:pt x="422" y="195"/>
                  </a:lnTo>
                  <a:lnTo>
                    <a:pt x="425" y="198"/>
                  </a:lnTo>
                  <a:lnTo>
                    <a:pt x="425" y="199"/>
                  </a:lnTo>
                  <a:lnTo>
                    <a:pt x="426" y="199"/>
                  </a:lnTo>
                  <a:lnTo>
                    <a:pt x="426" y="200"/>
                  </a:lnTo>
                  <a:lnTo>
                    <a:pt x="427" y="201"/>
                  </a:lnTo>
                  <a:lnTo>
                    <a:pt x="427" y="202"/>
                  </a:lnTo>
                  <a:lnTo>
                    <a:pt x="427" y="205"/>
                  </a:lnTo>
                  <a:lnTo>
                    <a:pt x="427" y="206"/>
                  </a:lnTo>
                  <a:lnTo>
                    <a:pt x="428" y="206"/>
                  </a:lnTo>
                  <a:lnTo>
                    <a:pt x="429" y="209"/>
                  </a:lnTo>
                  <a:lnTo>
                    <a:pt x="429" y="210"/>
                  </a:lnTo>
                  <a:lnTo>
                    <a:pt x="429" y="210"/>
                  </a:lnTo>
                  <a:lnTo>
                    <a:pt x="429" y="211"/>
                  </a:lnTo>
                  <a:lnTo>
                    <a:pt x="429" y="212"/>
                  </a:lnTo>
                  <a:lnTo>
                    <a:pt x="429" y="213"/>
                  </a:lnTo>
                  <a:lnTo>
                    <a:pt x="428" y="215"/>
                  </a:lnTo>
                  <a:lnTo>
                    <a:pt x="428" y="216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8"/>
                  </a:lnTo>
                  <a:lnTo>
                    <a:pt x="428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0" y="218"/>
                  </a:lnTo>
                  <a:lnTo>
                    <a:pt x="431" y="218"/>
                  </a:lnTo>
                  <a:lnTo>
                    <a:pt x="432" y="219"/>
                  </a:lnTo>
                  <a:lnTo>
                    <a:pt x="435" y="219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7" y="220"/>
                  </a:lnTo>
                  <a:lnTo>
                    <a:pt x="438" y="221"/>
                  </a:lnTo>
                  <a:lnTo>
                    <a:pt x="439" y="221"/>
                  </a:lnTo>
                  <a:lnTo>
                    <a:pt x="439" y="222"/>
                  </a:lnTo>
                  <a:lnTo>
                    <a:pt x="440" y="223"/>
                  </a:lnTo>
                  <a:lnTo>
                    <a:pt x="440" y="223"/>
                  </a:lnTo>
                  <a:lnTo>
                    <a:pt x="441" y="224"/>
                  </a:lnTo>
                  <a:lnTo>
                    <a:pt x="441" y="225"/>
                  </a:lnTo>
                  <a:lnTo>
                    <a:pt x="441" y="226"/>
                  </a:lnTo>
                  <a:lnTo>
                    <a:pt x="441" y="227"/>
                  </a:lnTo>
                  <a:lnTo>
                    <a:pt x="442" y="231"/>
                  </a:lnTo>
                  <a:lnTo>
                    <a:pt x="442" y="232"/>
                  </a:lnTo>
                  <a:lnTo>
                    <a:pt x="442" y="233"/>
                  </a:lnTo>
                  <a:lnTo>
                    <a:pt x="442" y="235"/>
                  </a:lnTo>
                  <a:lnTo>
                    <a:pt x="442" y="237"/>
                  </a:lnTo>
                  <a:lnTo>
                    <a:pt x="441" y="238"/>
                  </a:lnTo>
                  <a:lnTo>
                    <a:pt x="441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0" y="242"/>
                  </a:lnTo>
                  <a:lnTo>
                    <a:pt x="439" y="243"/>
                  </a:lnTo>
                  <a:lnTo>
                    <a:pt x="437" y="246"/>
                  </a:lnTo>
                  <a:lnTo>
                    <a:pt x="434" y="249"/>
                  </a:lnTo>
                  <a:lnTo>
                    <a:pt x="434" y="250"/>
                  </a:lnTo>
                  <a:lnTo>
                    <a:pt x="433" y="251"/>
                  </a:lnTo>
                  <a:lnTo>
                    <a:pt x="432" y="252"/>
                  </a:lnTo>
                  <a:lnTo>
                    <a:pt x="432" y="253"/>
                  </a:lnTo>
                  <a:lnTo>
                    <a:pt x="431" y="254"/>
                  </a:lnTo>
                  <a:lnTo>
                    <a:pt x="431" y="255"/>
                  </a:lnTo>
                  <a:lnTo>
                    <a:pt x="431" y="256"/>
                  </a:lnTo>
                  <a:lnTo>
                    <a:pt x="431" y="258"/>
                  </a:lnTo>
                  <a:lnTo>
                    <a:pt x="431" y="259"/>
                  </a:lnTo>
                  <a:lnTo>
                    <a:pt x="431" y="259"/>
                  </a:lnTo>
                  <a:lnTo>
                    <a:pt x="431" y="260"/>
                  </a:lnTo>
                  <a:lnTo>
                    <a:pt x="432" y="262"/>
                  </a:lnTo>
                  <a:lnTo>
                    <a:pt x="433" y="265"/>
                  </a:lnTo>
                  <a:lnTo>
                    <a:pt x="433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9"/>
                  </a:lnTo>
                  <a:lnTo>
                    <a:pt x="432" y="271"/>
                  </a:lnTo>
                  <a:lnTo>
                    <a:pt x="431" y="274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1" y="279"/>
                  </a:lnTo>
                  <a:lnTo>
                    <a:pt x="430" y="279"/>
                  </a:lnTo>
                  <a:lnTo>
                    <a:pt x="430" y="279"/>
                  </a:lnTo>
                  <a:lnTo>
                    <a:pt x="429" y="279"/>
                  </a:lnTo>
                  <a:lnTo>
                    <a:pt x="427" y="279"/>
                  </a:lnTo>
                  <a:lnTo>
                    <a:pt x="426" y="279"/>
                  </a:lnTo>
                  <a:lnTo>
                    <a:pt x="425" y="279"/>
                  </a:lnTo>
                  <a:lnTo>
                    <a:pt x="423" y="278"/>
                  </a:lnTo>
                  <a:lnTo>
                    <a:pt x="421" y="278"/>
                  </a:lnTo>
                  <a:lnTo>
                    <a:pt x="420" y="277"/>
                  </a:lnTo>
                  <a:lnTo>
                    <a:pt x="418" y="277"/>
                  </a:lnTo>
                  <a:lnTo>
                    <a:pt x="416" y="276"/>
                  </a:lnTo>
                  <a:lnTo>
                    <a:pt x="415" y="275"/>
                  </a:lnTo>
                  <a:lnTo>
                    <a:pt x="413" y="275"/>
                  </a:lnTo>
                  <a:lnTo>
                    <a:pt x="406" y="271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9"/>
                  </a:lnTo>
                  <a:lnTo>
                    <a:pt x="400" y="269"/>
                  </a:lnTo>
                  <a:lnTo>
                    <a:pt x="398" y="268"/>
                  </a:lnTo>
                  <a:lnTo>
                    <a:pt x="397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2" y="267"/>
                  </a:lnTo>
                  <a:lnTo>
                    <a:pt x="391" y="267"/>
                  </a:lnTo>
                  <a:lnTo>
                    <a:pt x="390" y="267"/>
                  </a:lnTo>
                  <a:lnTo>
                    <a:pt x="388" y="268"/>
                  </a:lnTo>
                  <a:lnTo>
                    <a:pt x="386" y="268"/>
                  </a:lnTo>
                  <a:lnTo>
                    <a:pt x="385" y="268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3" y="268"/>
                  </a:lnTo>
                  <a:lnTo>
                    <a:pt x="380" y="267"/>
                  </a:lnTo>
                  <a:lnTo>
                    <a:pt x="379" y="267"/>
                  </a:lnTo>
                  <a:lnTo>
                    <a:pt x="378" y="267"/>
                  </a:lnTo>
                  <a:lnTo>
                    <a:pt x="377" y="267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70" y="268"/>
                  </a:lnTo>
                  <a:lnTo>
                    <a:pt x="368" y="268"/>
                  </a:lnTo>
                  <a:lnTo>
                    <a:pt x="365" y="268"/>
                  </a:lnTo>
                  <a:lnTo>
                    <a:pt x="363" y="268"/>
                  </a:lnTo>
                  <a:lnTo>
                    <a:pt x="362" y="267"/>
                  </a:lnTo>
                  <a:lnTo>
                    <a:pt x="359" y="267"/>
                  </a:lnTo>
                  <a:lnTo>
                    <a:pt x="358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6" y="267"/>
                  </a:lnTo>
                  <a:lnTo>
                    <a:pt x="356" y="268"/>
                  </a:lnTo>
                  <a:lnTo>
                    <a:pt x="355" y="269"/>
                  </a:lnTo>
                  <a:lnTo>
                    <a:pt x="355" y="271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2" y="281"/>
                  </a:lnTo>
                  <a:lnTo>
                    <a:pt x="352" y="282"/>
                  </a:lnTo>
                  <a:lnTo>
                    <a:pt x="351" y="283"/>
                  </a:lnTo>
                  <a:lnTo>
                    <a:pt x="351" y="283"/>
                  </a:lnTo>
                  <a:lnTo>
                    <a:pt x="350" y="283"/>
                  </a:lnTo>
                  <a:lnTo>
                    <a:pt x="350" y="283"/>
                  </a:lnTo>
                  <a:lnTo>
                    <a:pt x="349" y="284"/>
                  </a:lnTo>
                  <a:lnTo>
                    <a:pt x="348" y="284"/>
                  </a:lnTo>
                  <a:lnTo>
                    <a:pt x="346" y="284"/>
                  </a:lnTo>
                  <a:lnTo>
                    <a:pt x="344" y="284"/>
                  </a:lnTo>
                  <a:lnTo>
                    <a:pt x="343" y="284"/>
                  </a:lnTo>
                  <a:lnTo>
                    <a:pt x="341" y="284"/>
                  </a:lnTo>
                  <a:lnTo>
                    <a:pt x="337" y="283"/>
                  </a:lnTo>
                  <a:lnTo>
                    <a:pt x="336" y="283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4" y="283"/>
                  </a:lnTo>
                  <a:lnTo>
                    <a:pt x="331" y="283"/>
                  </a:lnTo>
                  <a:lnTo>
                    <a:pt x="329" y="284"/>
                  </a:lnTo>
                  <a:lnTo>
                    <a:pt x="327" y="284"/>
                  </a:lnTo>
                  <a:lnTo>
                    <a:pt x="326" y="284"/>
                  </a:lnTo>
                  <a:lnTo>
                    <a:pt x="325" y="284"/>
                  </a:lnTo>
                  <a:lnTo>
                    <a:pt x="324" y="284"/>
                  </a:lnTo>
                  <a:lnTo>
                    <a:pt x="324" y="284"/>
                  </a:lnTo>
                  <a:lnTo>
                    <a:pt x="323" y="283"/>
                  </a:lnTo>
                  <a:lnTo>
                    <a:pt x="322" y="283"/>
                  </a:lnTo>
                  <a:lnTo>
                    <a:pt x="322" y="283"/>
                  </a:lnTo>
                  <a:lnTo>
                    <a:pt x="321" y="283"/>
                  </a:lnTo>
                  <a:lnTo>
                    <a:pt x="321" y="283"/>
                  </a:lnTo>
                  <a:lnTo>
                    <a:pt x="320" y="283"/>
                  </a:lnTo>
                  <a:lnTo>
                    <a:pt x="319" y="283"/>
                  </a:lnTo>
                  <a:lnTo>
                    <a:pt x="318" y="283"/>
                  </a:lnTo>
                  <a:lnTo>
                    <a:pt x="317" y="284"/>
                  </a:lnTo>
                  <a:lnTo>
                    <a:pt x="316" y="284"/>
                  </a:lnTo>
                  <a:lnTo>
                    <a:pt x="316" y="285"/>
                  </a:lnTo>
                  <a:lnTo>
                    <a:pt x="315" y="285"/>
                  </a:lnTo>
                  <a:lnTo>
                    <a:pt x="314" y="287"/>
                  </a:lnTo>
                  <a:lnTo>
                    <a:pt x="313" y="288"/>
                  </a:lnTo>
                  <a:lnTo>
                    <a:pt x="311" y="289"/>
                  </a:lnTo>
                  <a:lnTo>
                    <a:pt x="311" y="290"/>
                  </a:lnTo>
                  <a:lnTo>
                    <a:pt x="310" y="290"/>
                  </a:lnTo>
                  <a:lnTo>
                    <a:pt x="310" y="291"/>
                  </a:lnTo>
                  <a:lnTo>
                    <a:pt x="309" y="291"/>
                  </a:lnTo>
                  <a:lnTo>
                    <a:pt x="309" y="291"/>
                  </a:lnTo>
                  <a:lnTo>
                    <a:pt x="308" y="291"/>
                  </a:lnTo>
                  <a:lnTo>
                    <a:pt x="308" y="291"/>
                  </a:lnTo>
                  <a:lnTo>
                    <a:pt x="307" y="291"/>
                  </a:lnTo>
                  <a:lnTo>
                    <a:pt x="307" y="290"/>
                  </a:lnTo>
                  <a:lnTo>
                    <a:pt x="307" y="290"/>
                  </a:lnTo>
                  <a:lnTo>
                    <a:pt x="303" y="284"/>
                  </a:lnTo>
                  <a:lnTo>
                    <a:pt x="302" y="283"/>
                  </a:lnTo>
                  <a:lnTo>
                    <a:pt x="301" y="282"/>
                  </a:lnTo>
                  <a:lnTo>
                    <a:pt x="300" y="281"/>
                  </a:lnTo>
                  <a:lnTo>
                    <a:pt x="299" y="281"/>
                  </a:lnTo>
                  <a:lnTo>
                    <a:pt x="296" y="279"/>
                  </a:lnTo>
                  <a:lnTo>
                    <a:pt x="293" y="277"/>
                  </a:lnTo>
                  <a:lnTo>
                    <a:pt x="292" y="276"/>
                  </a:lnTo>
                  <a:lnTo>
                    <a:pt x="290" y="275"/>
                  </a:lnTo>
                  <a:lnTo>
                    <a:pt x="289" y="275"/>
                  </a:lnTo>
                  <a:lnTo>
                    <a:pt x="285" y="274"/>
                  </a:lnTo>
                  <a:lnTo>
                    <a:pt x="281" y="272"/>
                  </a:lnTo>
                  <a:lnTo>
                    <a:pt x="280" y="272"/>
                  </a:lnTo>
                  <a:lnTo>
                    <a:pt x="278" y="272"/>
                  </a:lnTo>
                  <a:lnTo>
                    <a:pt x="277" y="271"/>
                  </a:lnTo>
                  <a:lnTo>
                    <a:pt x="276" y="271"/>
                  </a:lnTo>
                  <a:lnTo>
                    <a:pt x="276" y="271"/>
                  </a:lnTo>
                  <a:lnTo>
                    <a:pt x="275" y="270"/>
                  </a:lnTo>
                  <a:lnTo>
                    <a:pt x="273" y="269"/>
                  </a:lnTo>
                  <a:lnTo>
                    <a:pt x="272" y="267"/>
                  </a:lnTo>
                  <a:lnTo>
                    <a:pt x="271" y="266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2"/>
                  </a:lnTo>
                  <a:lnTo>
                    <a:pt x="264" y="258"/>
                  </a:lnTo>
                  <a:lnTo>
                    <a:pt x="262" y="256"/>
                  </a:lnTo>
                  <a:lnTo>
                    <a:pt x="261" y="255"/>
                  </a:lnTo>
                  <a:lnTo>
                    <a:pt x="260" y="254"/>
                  </a:lnTo>
                  <a:lnTo>
                    <a:pt x="258" y="254"/>
                  </a:lnTo>
                  <a:lnTo>
                    <a:pt x="257" y="253"/>
                  </a:lnTo>
                  <a:lnTo>
                    <a:pt x="256" y="252"/>
                  </a:lnTo>
                  <a:lnTo>
                    <a:pt x="252" y="250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6" y="247"/>
                  </a:lnTo>
                  <a:lnTo>
                    <a:pt x="243" y="246"/>
                  </a:lnTo>
                  <a:lnTo>
                    <a:pt x="239" y="245"/>
                  </a:lnTo>
                  <a:lnTo>
                    <a:pt x="235" y="244"/>
                  </a:lnTo>
                  <a:lnTo>
                    <a:pt x="234" y="244"/>
                  </a:lnTo>
                  <a:lnTo>
                    <a:pt x="232" y="243"/>
                  </a:lnTo>
                  <a:lnTo>
                    <a:pt x="231" y="243"/>
                  </a:lnTo>
                  <a:lnTo>
                    <a:pt x="230" y="242"/>
                  </a:lnTo>
                  <a:lnTo>
                    <a:pt x="229" y="242"/>
                  </a:lnTo>
                  <a:lnTo>
                    <a:pt x="228" y="242"/>
                  </a:lnTo>
                  <a:lnTo>
                    <a:pt x="224" y="242"/>
                  </a:lnTo>
                  <a:lnTo>
                    <a:pt x="222" y="242"/>
                  </a:lnTo>
                  <a:lnTo>
                    <a:pt x="221" y="242"/>
                  </a:lnTo>
                  <a:lnTo>
                    <a:pt x="221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19" y="241"/>
                  </a:lnTo>
                  <a:lnTo>
                    <a:pt x="219" y="240"/>
                  </a:lnTo>
                  <a:lnTo>
                    <a:pt x="218" y="240"/>
                  </a:lnTo>
                  <a:lnTo>
                    <a:pt x="216" y="238"/>
                  </a:lnTo>
                  <a:lnTo>
                    <a:pt x="214" y="236"/>
                  </a:lnTo>
                  <a:lnTo>
                    <a:pt x="213" y="235"/>
                  </a:lnTo>
                  <a:lnTo>
                    <a:pt x="212" y="233"/>
                  </a:lnTo>
                  <a:lnTo>
                    <a:pt x="211" y="233"/>
                  </a:lnTo>
                  <a:lnTo>
                    <a:pt x="210" y="232"/>
                  </a:lnTo>
                  <a:lnTo>
                    <a:pt x="209" y="232"/>
                  </a:lnTo>
                  <a:lnTo>
                    <a:pt x="209" y="231"/>
                  </a:lnTo>
                  <a:lnTo>
                    <a:pt x="208" y="231"/>
                  </a:lnTo>
                  <a:lnTo>
                    <a:pt x="207" y="230"/>
                  </a:lnTo>
                  <a:lnTo>
                    <a:pt x="205" y="230"/>
                  </a:lnTo>
                  <a:lnTo>
                    <a:pt x="202" y="230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6" y="227"/>
                  </a:lnTo>
                  <a:lnTo>
                    <a:pt x="195" y="227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3" y="225"/>
                  </a:lnTo>
                  <a:lnTo>
                    <a:pt x="192" y="224"/>
                  </a:lnTo>
                  <a:lnTo>
                    <a:pt x="191" y="223"/>
                  </a:lnTo>
                  <a:lnTo>
                    <a:pt x="190" y="222"/>
                  </a:lnTo>
                  <a:lnTo>
                    <a:pt x="190" y="221"/>
                  </a:lnTo>
                  <a:lnTo>
                    <a:pt x="189" y="221"/>
                  </a:lnTo>
                  <a:lnTo>
                    <a:pt x="189" y="221"/>
                  </a:lnTo>
                  <a:lnTo>
                    <a:pt x="188" y="221"/>
                  </a:lnTo>
                  <a:lnTo>
                    <a:pt x="188" y="221"/>
                  </a:lnTo>
                  <a:lnTo>
                    <a:pt x="187" y="221"/>
                  </a:lnTo>
                  <a:lnTo>
                    <a:pt x="186" y="222"/>
                  </a:lnTo>
                  <a:lnTo>
                    <a:pt x="185" y="223"/>
                  </a:lnTo>
                  <a:lnTo>
                    <a:pt x="184" y="224"/>
                  </a:lnTo>
                  <a:lnTo>
                    <a:pt x="183" y="225"/>
                  </a:lnTo>
                  <a:lnTo>
                    <a:pt x="182" y="226"/>
                  </a:lnTo>
                  <a:lnTo>
                    <a:pt x="181" y="228"/>
                  </a:lnTo>
                  <a:lnTo>
                    <a:pt x="180" y="230"/>
                  </a:lnTo>
                  <a:lnTo>
                    <a:pt x="179" y="233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8" y="235"/>
                  </a:lnTo>
                  <a:lnTo>
                    <a:pt x="176" y="237"/>
                  </a:lnTo>
                  <a:lnTo>
                    <a:pt x="175" y="240"/>
                  </a:lnTo>
                  <a:lnTo>
                    <a:pt x="174" y="240"/>
                  </a:lnTo>
                  <a:lnTo>
                    <a:pt x="174" y="241"/>
                  </a:lnTo>
                  <a:lnTo>
                    <a:pt x="173" y="241"/>
                  </a:lnTo>
                  <a:lnTo>
                    <a:pt x="173" y="241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6" y="242"/>
                  </a:lnTo>
                  <a:lnTo>
                    <a:pt x="165" y="242"/>
                  </a:lnTo>
                  <a:lnTo>
                    <a:pt x="164" y="242"/>
                  </a:lnTo>
                  <a:lnTo>
                    <a:pt x="164" y="241"/>
                  </a:lnTo>
                  <a:lnTo>
                    <a:pt x="163" y="241"/>
                  </a:lnTo>
                  <a:lnTo>
                    <a:pt x="161" y="240"/>
                  </a:lnTo>
                  <a:lnTo>
                    <a:pt x="158" y="239"/>
                  </a:lnTo>
                  <a:lnTo>
                    <a:pt x="152" y="236"/>
                  </a:lnTo>
                  <a:lnTo>
                    <a:pt x="150" y="235"/>
                  </a:lnTo>
                  <a:lnTo>
                    <a:pt x="150" y="234"/>
                  </a:lnTo>
                  <a:lnTo>
                    <a:pt x="149" y="234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6" y="231"/>
                  </a:lnTo>
                  <a:lnTo>
                    <a:pt x="146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5" y="227"/>
                  </a:lnTo>
                  <a:lnTo>
                    <a:pt x="146" y="226"/>
                  </a:lnTo>
                  <a:lnTo>
                    <a:pt x="146" y="225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5" y="219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7"/>
                  </a:lnTo>
                  <a:lnTo>
                    <a:pt x="140" y="217"/>
                  </a:lnTo>
                  <a:lnTo>
                    <a:pt x="139" y="216"/>
                  </a:lnTo>
                  <a:lnTo>
                    <a:pt x="138" y="216"/>
                  </a:lnTo>
                  <a:lnTo>
                    <a:pt x="137" y="215"/>
                  </a:lnTo>
                  <a:lnTo>
                    <a:pt x="135" y="214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1" y="212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7" y="211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3" y="210"/>
                  </a:lnTo>
                  <a:lnTo>
                    <a:pt x="123" y="209"/>
                  </a:lnTo>
                  <a:lnTo>
                    <a:pt x="122" y="209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3"/>
                  </a:lnTo>
                  <a:lnTo>
                    <a:pt x="120" y="203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19" y="202"/>
                  </a:lnTo>
                  <a:lnTo>
                    <a:pt x="119" y="201"/>
                  </a:lnTo>
                  <a:lnTo>
                    <a:pt x="118" y="201"/>
                  </a:lnTo>
                  <a:lnTo>
                    <a:pt x="115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9" y="199"/>
                  </a:lnTo>
                  <a:lnTo>
                    <a:pt x="108" y="198"/>
                  </a:lnTo>
                  <a:lnTo>
                    <a:pt x="107" y="198"/>
                  </a:lnTo>
                  <a:lnTo>
                    <a:pt x="106" y="197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4" y="195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0" y="191"/>
                  </a:lnTo>
                  <a:lnTo>
                    <a:pt x="99" y="191"/>
                  </a:lnTo>
                  <a:lnTo>
                    <a:pt x="98" y="190"/>
                  </a:lnTo>
                  <a:lnTo>
                    <a:pt x="95" y="189"/>
                  </a:lnTo>
                  <a:lnTo>
                    <a:pt x="94" y="189"/>
                  </a:lnTo>
                  <a:lnTo>
                    <a:pt x="93" y="188"/>
                  </a:lnTo>
                  <a:lnTo>
                    <a:pt x="93" y="187"/>
                  </a:lnTo>
                  <a:lnTo>
                    <a:pt x="92" y="187"/>
                  </a:lnTo>
                  <a:lnTo>
                    <a:pt x="91" y="187"/>
                  </a:lnTo>
                  <a:lnTo>
                    <a:pt x="89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7" y="186"/>
                  </a:lnTo>
                  <a:lnTo>
                    <a:pt x="73" y="186"/>
                  </a:lnTo>
                  <a:lnTo>
                    <a:pt x="72" y="186"/>
                  </a:lnTo>
                  <a:lnTo>
                    <a:pt x="71" y="186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7" y="186"/>
                  </a:lnTo>
                  <a:lnTo>
                    <a:pt x="66" y="186"/>
                  </a:lnTo>
                  <a:lnTo>
                    <a:pt x="66" y="185"/>
                  </a:lnTo>
                  <a:lnTo>
                    <a:pt x="64" y="184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0"/>
                  </a:lnTo>
                  <a:lnTo>
                    <a:pt x="59" y="179"/>
                  </a:lnTo>
                  <a:lnTo>
                    <a:pt x="52" y="174"/>
                  </a:lnTo>
                  <a:lnTo>
                    <a:pt x="49" y="172"/>
                  </a:lnTo>
                  <a:lnTo>
                    <a:pt x="47" y="171"/>
                  </a:lnTo>
                  <a:lnTo>
                    <a:pt x="42" y="167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8" y="161"/>
                  </a:lnTo>
                  <a:lnTo>
                    <a:pt x="38" y="157"/>
                  </a:lnTo>
                  <a:lnTo>
                    <a:pt x="39" y="154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9" y="148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4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6" y="131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19"/>
                  </a:lnTo>
                  <a:lnTo>
                    <a:pt x="46" y="118"/>
                  </a:lnTo>
                  <a:lnTo>
                    <a:pt x="45" y="118"/>
                  </a:lnTo>
                  <a:lnTo>
                    <a:pt x="45" y="117"/>
                  </a:lnTo>
                  <a:lnTo>
                    <a:pt x="44" y="116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1" y="114"/>
                  </a:lnTo>
                  <a:lnTo>
                    <a:pt x="38" y="113"/>
                  </a:lnTo>
                  <a:lnTo>
                    <a:pt x="37" y="112"/>
                  </a:lnTo>
                  <a:lnTo>
                    <a:pt x="35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29" y="106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5" y="98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3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8"/>
                  </a:lnTo>
                  <a:lnTo>
                    <a:pt x="5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2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3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8" y="46"/>
                  </a:lnTo>
                  <a:lnTo>
                    <a:pt x="39" y="46"/>
                  </a:lnTo>
                  <a:lnTo>
                    <a:pt x="40" y="45"/>
                  </a:lnTo>
                  <a:lnTo>
                    <a:pt x="42" y="44"/>
                  </a:lnTo>
                  <a:lnTo>
                    <a:pt x="42" y="43"/>
                  </a:lnTo>
                  <a:lnTo>
                    <a:pt x="43" y="42"/>
                  </a:lnTo>
                  <a:lnTo>
                    <a:pt x="43" y="42"/>
                  </a:lnTo>
                  <a:lnTo>
                    <a:pt x="44" y="40"/>
                  </a:lnTo>
                  <a:lnTo>
                    <a:pt x="44" y="39"/>
                  </a:lnTo>
                  <a:lnTo>
                    <a:pt x="45" y="39"/>
                  </a:lnTo>
                  <a:lnTo>
                    <a:pt x="45" y="38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47" y="36"/>
                  </a:lnTo>
                  <a:lnTo>
                    <a:pt x="48" y="36"/>
                  </a:lnTo>
                  <a:lnTo>
                    <a:pt x="49" y="35"/>
                  </a:lnTo>
                  <a:lnTo>
                    <a:pt x="50" y="35"/>
                  </a:lnTo>
                  <a:lnTo>
                    <a:pt x="52" y="35"/>
                  </a:lnTo>
                  <a:lnTo>
                    <a:pt x="53" y="35"/>
                  </a:lnTo>
                  <a:lnTo>
                    <a:pt x="54" y="34"/>
                  </a:lnTo>
                  <a:lnTo>
                    <a:pt x="57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9" y="32"/>
                  </a:lnTo>
                  <a:lnTo>
                    <a:pt x="59" y="32"/>
                  </a:lnTo>
                  <a:lnTo>
                    <a:pt x="60" y="33"/>
                  </a:lnTo>
                  <a:lnTo>
                    <a:pt x="60" y="33"/>
                  </a:lnTo>
                  <a:lnTo>
                    <a:pt x="61" y="33"/>
                  </a:lnTo>
                  <a:lnTo>
                    <a:pt x="62" y="35"/>
                  </a:lnTo>
                  <a:lnTo>
                    <a:pt x="63" y="35"/>
                  </a:lnTo>
                  <a:lnTo>
                    <a:pt x="64" y="35"/>
                  </a:lnTo>
                  <a:lnTo>
                    <a:pt x="65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8" y="36"/>
                  </a:lnTo>
                  <a:lnTo>
                    <a:pt x="69" y="36"/>
                  </a:lnTo>
                  <a:lnTo>
                    <a:pt x="70" y="36"/>
                  </a:lnTo>
                  <a:lnTo>
                    <a:pt x="73" y="36"/>
                  </a:lnTo>
                  <a:lnTo>
                    <a:pt x="74" y="36"/>
                  </a:lnTo>
                  <a:lnTo>
                    <a:pt x="75" y="36"/>
                  </a:lnTo>
                  <a:lnTo>
                    <a:pt x="77" y="36"/>
                  </a:lnTo>
                  <a:lnTo>
                    <a:pt x="78" y="36"/>
                  </a:lnTo>
                  <a:lnTo>
                    <a:pt x="80" y="36"/>
                  </a:lnTo>
                  <a:lnTo>
                    <a:pt x="81" y="36"/>
                  </a:lnTo>
                  <a:lnTo>
                    <a:pt x="82" y="36"/>
                  </a:lnTo>
                  <a:lnTo>
                    <a:pt x="83" y="36"/>
                  </a:lnTo>
                  <a:lnTo>
                    <a:pt x="83" y="37"/>
                  </a:lnTo>
                  <a:lnTo>
                    <a:pt x="85" y="37"/>
                  </a:lnTo>
                  <a:lnTo>
                    <a:pt x="87" y="38"/>
                  </a:lnTo>
                  <a:lnTo>
                    <a:pt x="89" y="39"/>
                  </a:lnTo>
                  <a:lnTo>
                    <a:pt x="89" y="39"/>
                  </a:lnTo>
                  <a:lnTo>
                    <a:pt x="90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3" y="39"/>
                  </a:lnTo>
                  <a:lnTo>
                    <a:pt x="94" y="38"/>
                  </a:lnTo>
                  <a:lnTo>
                    <a:pt x="97" y="37"/>
                  </a:lnTo>
                  <a:lnTo>
                    <a:pt x="98" y="36"/>
                  </a:lnTo>
                  <a:lnTo>
                    <a:pt x="100" y="36"/>
                  </a:lnTo>
                  <a:lnTo>
                    <a:pt x="102" y="35"/>
                  </a:lnTo>
                  <a:lnTo>
                    <a:pt x="103" y="35"/>
                  </a:lnTo>
                  <a:lnTo>
                    <a:pt x="104" y="35"/>
                  </a:lnTo>
                  <a:lnTo>
                    <a:pt x="105" y="34"/>
                  </a:lnTo>
                  <a:lnTo>
                    <a:pt x="106" y="33"/>
                  </a:lnTo>
                  <a:lnTo>
                    <a:pt x="106" y="33"/>
                  </a:lnTo>
                  <a:lnTo>
                    <a:pt x="107" y="32"/>
                  </a:lnTo>
                  <a:lnTo>
                    <a:pt x="107" y="31"/>
                  </a:lnTo>
                  <a:lnTo>
                    <a:pt x="108" y="31"/>
                  </a:lnTo>
                  <a:lnTo>
                    <a:pt x="108" y="30"/>
                  </a:lnTo>
                  <a:lnTo>
                    <a:pt x="109" y="27"/>
                  </a:lnTo>
                  <a:lnTo>
                    <a:pt x="110" y="26"/>
                  </a:lnTo>
                  <a:lnTo>
                    <a:pt x="110" y="26"/>
                  </a:lnTo>
                  <a:lnTo>
                    <a:pt x="111" y="25"/>
                  </a:lnTo>
                  <a:lnTo>
                    <a:pt x="111" y="24"/>
                  </a:lnTo>
                  <a:lnTo>
                    <a:pt x="112" y="24"/>
                  </a:lnTo>
                  <a:lnTo>
                    <a:pt x="113" y="23"/>
                  </a:lnTo>
                  <a:lnTo>
                    <a:pt x="114" y="22"/>
                  </a:lnTo>
                  <a:lnTo>
                    <a:pt x="115" y="21"/>
                  </a:lnTo>
                  <a:lnTo>
                    <a:pt x="116" y="20"/>
                  </a:lnTo>
                  <a:lnTo>
                    <a:pt x="118" y="19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1" y="18"/>
                  </a:lnTo>
                  <a:close/>
                </a:path>
              </a:pathLst>
            </a:custGeom>
            <a:solidFill>
              <a:srgbClr val="FFCC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reeform 61">
              <a:extLst>
                <a:ext uri="{FF2B5EF4-FFF2-40B4-BE49-F238E27FC236}">
                  <a16:creationId xmlns:a16="http://schemas.microsoft.com/office/drawing/2014/main" id="{8329A828-A62B-C6EA-612B-2339D152E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" y="3255"/>
              <a:ext cx="442" cy="291"/>
            </a:xfrm>
            <a:custGeom>
              <a:avLst/>
              <a:gdLst>
                <a:gd name="T0" fmla="*/ 131 w 442"/>
                <a:gd name="T1" fmla="*/ 34 h 291"/>
                <a:gd name="T2" fmla="*/ 148 w 442"/>
                <a:gd name="T3" fmla="*/ 30 h 291"/>
                <a:gd name="T4" fmla="*/ 170 w 442"/>
                <a:gd name="T5" fmla="*/ 23 h 291"/>
                <a:gd name="T6" fmla="*/ 190 w 442"/>
                <a:gd name="T7" fmla="*/ 40 h 291"/>
                <a:gd name="T8" fmla="*/ 208 w 442"/>
                <a:gd name="T9" fmla="*/ 53 h 291"/>
                <a:gd name="T10" fmla="*/ 231 w 442"/>
                <a:gd name="T11" fmla="*/ 68 h 291"/>
                <a:gd name="T12" fmla="*/ 255 w 442"/>
                <a:gd name="T13" fmla="*/ 75 h 291"/>
                <a:gd name="T14" fmla="*/ 274 w 442"/>
                <a:gd name="T15" fmla="*/ 74 h 291"/>
                <a:gd name="T16" fmla="*/ 282 w 442"/>
                <a:gd name="T17" fmla="*/ 69 h 291"/>
                <a:gd name="T18" fmla="*/ 289 w 442"/>
                <a:gd name="T19" fmla="*/ 56 h 291"/>
                <a:gd name="T20" fmla="*/ 312 w 442"/>
                <a:gd name="T21" fmla="*/ 39 h 291"/>
                <a:gd name="T22" fmla="*/ 329 w 442"/>
                <a:gd name="T23" fmla="*/ 22 h 291"/>
                <a:gd name="T24" fmla="*/ 343 w 442"/>
                <a:gd name="T25" fmla="*/ 24 h 291"/>
                <a:gd name="T26" fmla="*/ 365 w 442"/>
                <a:gd name="T27" fmla="*/ 33 h 291"/>
                <a:gd name="T28" fmla="*/ 392 w 442"/>
                <a:gd name="T29" fmla="*/ 48 h 291"/>
                <a:gd name="T30" fmla="*/ 409 w 442"/>
                <a:gd name="T31" fmla="*/ 33 h 291"/>
                <a:gd name="T32" fmla="*/ 428 w 442"/>
                <a:gd name="T33" fmla="*/ 6 h 291"/>
                <a:gd name="T34" fmla="*/ 441 w 442"/>
                <a:gd name="T35" fmla="*/ 1 h 291"/>
                <a:gd name="T36" fmla="*/ 430 w 442"/>
                <a:gd name="T37" fmla="*/ 39 h 291"/>
                <a:gd name="T38" fmla="*/ 426 w 442"/>
                <a:gd name="T39" fmla="*/ 61 h 291"/>
                <a:gd name="T40" fmla="*/ 423 w 442"/>
                <a:gd name="T41" fmla="*/ 81 h 291"/>
                <a:gd name="T42" fmla="*/ 403 w 442"/>
                <a:gd name="T43" fmla="*/ 95 h 291"/>
                <a:gd name="T44" fmla="*/ 407 w 442"/>
                <a:gd name="T45" fmla="*/ 119 h 291"/>
                <a:gd name="T46" fmla="*/ 413 w 442"/>
                <a:gd name="T47" fmla="*/ 154 h 291"/>
                <a:gd name="T48" fmla="*/ 410 w 442"/>
                <a:gd name="T49" fmla="*/ 173 h 291"/>
                <a:gd name="T50" fmla="*/ 426 w 442"/>
                <a:gd name="T51" fmla="*/ 200 h 291"/>
                <a:gd name="T52" fmla="*/ 428 w 442"/>
                <a:gd name="T53" fmla="*/ 218 h 291"/>
                <a:gd name="T54" fmla="*/ 441 w 442"/>
                <a:gd name="T55" fmla="*/ 225 h 291"/>
                <a:gd name="T56" fmla="*/ 433 w 442"/>
                <a:gd name="T57" fmla="*/ 251 h 291"/>
                <a:gd name="T58" fmla="*/ 431 w 442"/>
                <a:gd name="T59" fmla="*/ 274 h 291"/>
                <a:gd name="T60" fmla="*/ 415 w 442"/>
                <a:gd name="T61" fmla="*/ 275 h 291"/>
                <a:gd name="T62" fmla="*/ 384 w 442"/>
                <a:gd name="T63" fmla="*/ 268 h 291"/>
                <a:gd name="T64" fmla="*/ 358 w 442"/>
                <a:gd name="T65" fmla="*/ 266 h 291"/>
                <a:gd name="T66" fmla="*/ 350 w 442"/>
                <a:gd name="T67" fmla="*/ 283 h 291"/>
                <a:gd name="T68" fmla="*/ 324 w 442"/>
                <a:gd name="T69" fmla="*/ 284 h 291"/>
                <a:gd name="T70" fmla="*/ 311 w 442"/>
                <a:gd name="T71" fmla="*/ 290 h 291"/>
                <a:gd name="T72" fmla="*/ 292 w 442"/>
                <a:gd name="T73" fmla="*/ 276 h 291"/>
                <a:gd name="T74" fmla="*/ 264 w 442"/>
                <a:gd name="T75" fmla="*/ 258 h 291"/>
                <a:gd name="T76" fmla="*/ 230 w 442"/>
                <a:gd name="T77" fmla="*/ 242 h 291"/>
                <a:gd name="T78" fmla="*/ 210 w 442"/>
                <a:gd name="T79" fmla="*/ 232 h 291"/>
                <a:gd name="T80" fmla="*/ 191 w 442"/>
                <a:gd name="T81" fmla="*/ 223 h 291"/>
                <a:gd name="T82" fmla="*/ 179 w 442"/>
                <a:gd name="T83" fmla="*/ 234 h 291"/>
                <a:gd name="T84" fmla="*/ 163 w 442"/>
                <a:gd name="T85" fmla="*/ 241 h 291"/>
                <a:gd name="T86" fmla="*/ 147 w 442"/>
                <a:gd name="T87" fmla="*/ 222 h 291"/>
                <a:gd name="T88" fmla="*/ 132 w 442"/>
                <a:gd name="T89" fmla="*/ 213 h 291"/>
                <a:gd name="T90" fmla="*/ 120 w 442"/>
                <a:gd name="T91" fmla="*/ 203 h 291"/>
                <a:gd name="T92" fmla="*/ 101 w 442"/>
                <a:gd name="T93" fmla="*/ 192 h 291"/>
                <a:gd name="T94" fmla="*/ 84 w 442"/>
                <a:gd name="T95" fmla="*/ 187 h 291"/>
                <a:gd name="T96" fmla="*/ 64 w 442"/>
                <a:gd name="T97" fmla="*/ 184 h 291"/>
                <a:gd name="T98" fmla="*/ 39 w 442"/>
                <a:gd name="T99" fmla="*/ 149 h 291"/>
                <a:gd name="T100" fmla="*/ 45 w 442"/>
                <a:gd name="T101" fmla="*/ 127 h 291"/>
                <a:gd name="T102" fmla="*/ 37 w 442"/>
                <a:gd name="T103" fmla="*/ 112 h 291"/>
                <a:gd name="T104" fmla="*/ 28 w 442"/>
                <a:gd name="T105" fmla="*/ 99 h 291"/>
                <a:gd name="T106" fmla="*/ 15 w 442"/>
                <a:gd name="T107" fmla="*/ 93 h 291"/>
                <a:gd name="T108" fmla="*/ 0 w 442"/>
                <a:gd name="T109" fmla="*/ 83 h 291"/>
                <a:gd name="T110" fmla="*/ 5 w 442"/>
                <a:gd name="T111" fmla="*/ 76 h 291"/>
                <a:gd name="T112" fmla="*/ 10 w 442"/>
                <a:gd name="T113" fmla="*/ 66 h 291"/>
                <a:gd name="T114" fmla="*/ 10 w 442"/>
                <a:gd name="T115" fmla="*/ 54 h 291"/>
                <a:gd name="T116" fmla="*/ 19 w 442"/>
                <a:gd name="T117" fmla="*/ 49 h 291"/>
                <a:gd name="T118" fmla="*/ 33 w 442"/>
                <a:gd name="T119" fmla="*/ 49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2" h="291">
                  <a:moveTo>
                    <a:pt x="121" y="18"/>
                  </a:moveTo>
                  <a:lnTo>
                    <a:pt x="121" y="18"/>
                  </a:lnTo>
                  <a:lnTo>
                    <a:pt x="122" y="19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5" y="22"/>
                  </a:lnTo>
                  <a:lnTo>
                    <a:pt x="126" y="24"/>
                  </a:lnTo>
                  <a:lnTo>
                    <a:pt x="126" y="25"/>
                  </a:lnTo>
                  <a:lnTo>
                    <a:pt x="127" y="27"/>
                  </a:lnTo>
                  <a:lnTo>
                    <a:pt x="128" y="30"/>
                  </a:lnTo>
                  <a:lnTo>
                    <a:pt x="128" y="31"/>
                  </a:lnTo>
                  <a:lnTo>
                    <a:pt x="129" y="32"/>
                  </a:lnTo>
                  <a:lnTo>
                    <a:pt x="129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8" y="35"/>
                  </a:lnTo>
                  <a:lnTo>
                    <a:pt x="139" y="35"/>
                  </a:lnTo>
                  <a:lnTo>
                    <a:pt x="140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5" y="31"/>
                  </a:lnTo>
                  <a:lnTo>
                    <a:pt x="148" y="30"/>
                  </a:lnTo>
                  <a:lnTo>
                    <a:pt x="149" y="29"/>
                  </a:lnTo>
                  <a:lnTo>
                    <a:pt x="150" y="29"/>
                  </a:lnTo>
                  <a:lnTo>
                    <a:pt x="150" y="28"/>
                  </a:lnTo>
                  <a:lnTo>
                    <a:pt x="151" y="28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4"/>
                  </a:lnTo>
                  <a:lnTo>
                    <a:pt x="156" y="23"/>
                  </a:lnTo>
                  <a:lnTo>
                    <a:pt x="158" y="23"/>
                  </a:lnTo>
                  <a:lnTo>
                    <a:pt x="160" y="22"/>
                  </a:lnTo>
                  <a:lnTo>
                    <a:pt x="161" y="21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70" y="23"/>
                  </a:lnTo>
                  <a:lnTo>
                    <a:pt x="174" y="24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0" y="26"/>
                  </a:lnTo>
                  <a:lnTo>
                    <a:pt x="181" y="26"/>
                  </a:lnTo>
                  <a:lnTo>
                    <a:pt x="182" y="27"/>
                  </a:lnTo>
                  <a:lnTo>
                    <a:pt x="183" y="27"/>
                  </a:lnTo>
                  <a:lnTo>
                    <a:pt x="183" y="28"/>
                  </a:lnTo>
                  <a:lnTo>
                    <a:pt x="185" y="31"/>
                  </a:lnTo>
                  <a:lnTo>
                    <a:pt x="186" y="31"/>
                  </a:lnTo>
                  <a:lnTo>
                    <a:pt x="186" y="32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88" y="35"/>
                  </a:lnTo>
                  <a:lnTo>
                    <a:pt x="189" y="39"/>
                  </a:lnTo>
                  <a:lnTo>
                    <a:pt x="190" y="40"/>
                  </a:lnTo>
                  <a:lnTo>
                    <a:pt x="190" y="41"/>
                  </a:lnTo>
                  <a:lnTo>
                    <a:pt x="191" y="42"/>
                  </a:lnTo>
                  <a:lnTo>
                    <a:pt x="191" y="43"/>
                  </a:lnTo>
                  <a:lnTo>
                    <a:pt x="192" y="43"/>
                  </a:lnTo>
                  <a:lnTo>
                    <a:pt x="192" y="44"/>
                  </a:lnTo>
                  <a:lnTo>
                    <a:pt x="193" y="44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6"/>
                  </a:lnTo>
                  <a:lnTo>
                    <a:pt x="200" y="46"/>
                  </a:lnTo>
                  <a:lnTo>
                    <a:pt x="201" y="47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4" y="49"/>
                  </a:lnTo>
                  <a:lnTo>
                    <a:pt x="206" y="50"/>
                  </a:lnTo>
                  <a:lnTo>
                    <a:pt x="208" y="53"/>
                  </a:lnTo>
                  <a:lnTo>
                    <a:pt x="209" y="54"/>
                  </a:lnTo>
                  <a:lnTo>
                    <a:pt x="210" y="55"/>
                  </a:lnTo>
                  <a:lnTo>
                    <a:pt x="211" y="56"/>
                  </a:lnTo>
                  <a:lnTo>
                    <a:pt x="212" y="57"/>
                  </a:lnTo>
                  <a:lnTo>
                    <a:pt x="213" y="58"/>
                  </a:lnTo>
                  <a:lnTo>
                    <a:pt x="215" y="58"/>
                  </a:lnTo>
                  <a:lnTo>
                    <a:pt x="218" y="60"/>
                  </a:lnTo>
                  <a:lnTo>
                    <a:pt x="219" y="60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2"/>
                  </a:lnTo>
                  <a:lnTo>
                    <a:pt x="224" y="64"/>
                  </a:lnTo>
                  <a:lnTo>
                    <a:pt x="225" y="65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8" y="67"/>
                  </a:lnTo>
                  <a:lnTo>
                    <a:pt x="231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6" y="70"/>
                  </a:lnTo>
                  <a:lnTo>
                    <a:pt x="237" y="71"/>
                  </a:lnTo>
                  <a:lnTo>
                    <a:pt x="238" y="72"/>
                  </a:lnTo>
                  <a:lnTo>
                    <a:pt x="242" y="75"/>
                  </a:lnTo>
                  <a:lnTo>
                    <a:pt x="243" y="75"/>
                  </a:lnTo>
                  <a:lnTo>
                    <a:pt x="244" y="76"/>
                  </a:lnTo>
                  <a:lnTo>
                    <a:pt x="245" y="76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7" y="77"/>
                  </a:lnTo>
                  <a:lnTo>
                    <a:pt x="248" y="77"/>
                  </a:lnTo>
                  <a:lnTo>
                    <a:pt x="249" y="77"/>
                  </a:lnTo>
                  <a:lnTo>
                    <a:pt x="251" y="76"/>
                  </a:lnTo>
                  <a:lnTo>
                    <a:pt x="254" y="76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1" y="74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6" y="75"/>
                  </a:lnTo>
                  <a:lnTo>
                    <a:pt x="269" y="75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4" y="74"/>
                  </a:lnTo>
                  <a:lnTo>
                    <a:pt x="275" y="75"/>
                  </a:lnTo>
                  <a:lnTo>
                    <a:pt x="277" y="75"/>
                  </a:lnTo>
                  <a:lnTo>
                    <a:pt x="278" y="76"/>
                  </a:lnTo>
                  <a:lnTo>
                    <a:pt x="279" y="76"/>
                  </a:lnTo>
                  <a:lnTo>
                    <a:pt x="280" y="76"/>
                  </a:lnTo>
                  <a:lnTo>
                    <a:pt x="281" y="76"/>
                  </a:lnTo>
                  <a:lnTo>
                    <a:pt x="281" y="75"/>
                  </a:lnTo>
                  <a:lnTo>
                    <a:pt x="282" y="75"/>
                  </a:lnTo>
                  <a:lnTo>
                    <a:pt x="282" y="75"/>
                  </a:lnTo>
                  <a:lnTo>
                    <a:pt x="283" y="75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2" y="70"/>
                  </a:lnTo>
                  <a:lnTo>
                    <a:pt x="282" y="69"/>
                  </a:lnTo>
                  <a:lnTo>
                    <a:pt x="282" y="69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7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4" y="65"/>
                  </a:lnTo>
                  <a:lnTo>
                    <a:pt x="286" y="64"/>
                  </a:lnTo>
                  <a:lnTo>
                    <a:pt x="287" y="63"/>
                  </a:lnTo>
                  <a:lnTo>
                    <a:pt x="288" y="62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0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5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1" y="52"/>
                  </a:lnTo>
                  <a:lnTo>
                    <a:pt x="292" y="51"/>
                  </a:lnTo>
                  <a:lnTo>
                    <a:pt x="293" y="50"/>
                  </a:lnTo>
                  <a:lnTo>
                    <a:pt x="294" y="50"/>
                  </a:lnTo>
                  <a:lnTo>
                    <a:pt x="296" y="48"/>
                  </a:lnTo>
                  <a:lnTo>
                    <a:pt x="298" y="47"/>
                  </a:lnTo>
                  <a:lnTo>
                    <a:pt x="300" y="46"/>
                  </a:lnTo>
                  <a:lnTo>
                    <a:pt x="302" y="44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6" y="42"/>
                  </a:lnTo>
                  <a:lnTo>
                    <a:pt x="309" y="41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20" y="35"/>
                  </a:lnTo>
                  <a:lnTo>
                    <a:pt x="321" y="34"/>
                  </a:lnTo>
                  <a:lnTo>
                    <a:pt x="322" y="33"/>
                  </a:lnTo>
                  <a:lnTo>
                    <a:pt x="323" y="32"/>
                  </a:lnTo>
                  <a:lnTo>
                    <a:pt x="324" y="31"/>
                  </a:lnTo>
                  <a:lnTo>
                    <a:pt x="325" y="31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7" y="27"/>
                  </a:lnTo>
                  <a:lnTo>
                    <a:pt x="329" y="24"/>
                  </a:lnTo>
                  <a:lnTo>
                    <a:pt x="329" y="23"/>
                  </a:lnTo>
                  <a:lnTo>
                    <a:pt x="329" y="22"/>
                  </a:lnTo>
                  <a:lnTo>
                    <a:pt x="330" y="21"/>
                  </a:lnTo>
                  <a:lnTo>
                    <a:pt x="330" y="21"/>
                  </a:lnTo>
                  <a:lnTo>
                    <a:pt x="331" y="21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39" y="22"/>
                  </a:lnTo>
                  <a:lnTo>
                    <a:pt x="342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7" y="26"/>
                  </a:lnTo>
                  <a:lnTo>
                    <a:pt x="352" y="28"/>
                  </a:lnTo>
                  <a:lnTo>
                    <a:pt x="353" y="28"/>
                  </a:lnTo>
                  <a:lnTo>
                    <a:pt x="355" y="29"/>
                  </a:lnTo>
                  <a:lnTo>
                    <a:pt x="356" y="29"/>
                  </a:lnTo>
                  <a:lnTo>
                    <a:pt x="357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9" y="29"/>
                  </a:lnTo>
                  <a:lnTo>
                    <a:pt x="359" y="29"/>
                  </a:lnTo>
                  <a:lnTo>
                    <a:pt x="360" y="30"/>
                  </a:lnTo>
                  <a:lnTo>
                    <a:pt x="362" y="31"/>
                  </a:lnTo>
                  <a:lnTo>
                    <a:pt x="363" y="32"/>
                  </a:lnTo>
                  <a:lnTo>
                    <a:pt x="365" y="33"/>
                  </a:lnTo>
                  <a:lnTo>
                    <a:pt x="366" y="34"/>
                  </a:lnTo>
                  <a:lnTo>
                    <a:pt x="367" y="35"/>
                  </a:lnTo>
                  <a:lnTo>
                    <a:pt x="370" y="38"/>
                  </a:lnTo>
                  <a:lnTo>
                    <a:pt x="371" y="39"/>
                  </a:lnTo>
                  <a:lnTo>
                    <a:pt x="373" y="40"/>
                  </a:lnTo>
                  <a:lnTo>
                    <a:pt x="374" y="41"/>
                  </a:lnTo>
                  <a:lnTo>
                    <a:pt x="375" y="41"/>
                  </a:lnTo>
                  <a:lnTo>
                    <a:pt x="376" y="42"/>
                  </a:lnTo>
                  <a:lnTo>
                    <a:pt x="377" y="43"/>
                  </a:lnTo>
                  <a:lnTo>
                    <a:pt x="378" y="43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9" y="47"/>
                  </a:lnTo>
                  <a:lnTo>
                    <a:pt x="390" y="47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3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5" y="47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8" y="46"/>
                  </a:lnTo>
                  <a:lnTo>
                    <a:pt x="399" y="45"/>
                  </a:lnTo>
                  <a:lnTo>
                    <a:pt x="400" y="45"/>
                  </a:lnTo>
                  <a:lnTo>
                    <a:pt x="401" y="44"/>
                  </a:lnTo>
                  <a:lnTo>
                    <a:pt x="402" y="42"/>
                  </a:lnTo>
                  <a:lnTo>
                    <a:pt x="406" y="37"/>
                  </a:lnTo>
                  <a:lnTo>
                    <a:pt x="407" y="35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9" y="33"/>
                  </a:lnTo>
                  <a:lnTo>
                    <a:pt x="412" y="30"/>
                  </a:lnTo>
                  <a:lnTo>
                    <a:pt x="414" y="28"/>
                  </a:lnTo>
                  <a:lnTo>
                    <a:pt x="416" y="27"/>
                  </a:lnTo>
                  <a:lnTo>
                    <a:pt x="417" y="26"/>
                  </a:lnTo>
                  <a:lnTo>
                    <a:pt x="418" y="24"/>
                  </a:lnTo>
                  <a:lnTo>
                    <a:pt x="419" y="22"/>
                  </a:lnTo>
                  <a:lnTo>
                    <a:pt x="420" y="21"/>
                  </a:lnTo>
                  <a:lnTo>
                    <a:pt x="421" y="20"/>
                  </a:lnTo>
                  <a:lnTo>
                    <a:pt x="421" y="18"/>
                  </a:lnTo>
                  <a:lnTo>
                    <a:pt x="422" y="17"/>
                  </a:lnTo>
                  <a:lnTo>
                    <a:pt x="424" y="12"/>
                  </a:lnTo>
                  <a:lnTo>
                    <a:pt x="424" y="11"/>
                  </a:lnTo>
                  <a:lnTo>
                    <a:pt x="425" y="10"/>
                  </a:lnTo>
                  <a:lnTo>
                    <a:pt x="426" y="9"/>
                  </a:lnTo>
                  <a:lnTo>
                    <a:pt x="426" y="7"/>
                  </a:lnTo>
                  <a:lnTo>
                    <a:pt x="427" y="6"/>
                  </a:lnTo>
                  <a:lnTo>
                    <a:pt x="428" y="6"/>
                  </a:lnTo>
                  <a:lnTo>
                    <a:pt x="429" y="5"/>
                  </a:lnTo>
                  <a:lnTo>
                    <a:pt x="430" y="4"/>
                  </a:lnTo>
                  <a:lnTo>
                    <a:pt x="431" y="3"/>
                  </a:lnTo>
                  <a:lnTo>
                    <a:pt x="432" y="2"/>
                  </a:lnTo>
                  <a:lnTo>
                    <a:pt x="433" y="2"/>
                  </a:lnTo>
                  <a:lnTo>
                    <a:pt x="434" y="1"/>
                  </a:lnTo>
                  <a:lnTo>
                    <a:pt x="435" y="1"/>
                  </a:lnTo>
                  <a:lnTo>
                    <a:pt x="436" y="0"/>
                  </a:lnTo>
                  <a:lnTo>
                    <a:pt x="437" y="0"/>
                  </a:lnTo>
                  <a:lnTo>
                    <a:pt x="438" y="0"/>
                  </a:lnTo>
                  <a:lnTo>
                    <a:pt x="439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2" y="1"/>
                  </a:lnTo>
                  <a:lnTo>
                    <a:pt x="442" y="1"/>
                  </a:lnTo>
                  <a:lnTo>
                    <a:pt x="442" y="3"/>
                  </a:lnTo>
                  <a:lnTo>
                    <a:pt x="442" y="4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0" y="11"/>
                  </a:lnTo>
                  <a:lnTo>
                    <a:pt x="440" y="13"/>
                  </a:lnTo>
                  <a:lnTo>
                    <a:pt x="439" y="17"/>
                  </a:lnTo>
                  <a:lnTo>
                    <a:pt x="437" y="20"/>
                  </a:lnTo>
                  <a:lnTo>
                    <a:pt x="435" y="28"/>
                  </a:lnTo>
                  <a:lnTo>
                    <a:pt x="433" y="32"/>
                  </a:lnTo>
                  <a:lnTo>
                    <a:pt x="433" y="33"/>
                  </a:lnTo>
                  <a:lnTo>
                    <a:pt x="431" y="35"/>
                  </a:lnTo>
                  <a:lnTo>
                    <a:pt x="430" y="39"/>
                  </a:lnTo>
                  <a:lnTo>
                    <a:pt x="430" y="40"/>
                  </a:lnTo>
                  <a:lnTo>
                    <a:pt x="429" y="42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6"/>
                  </a:lnTo>
                  <a:lnTo>
                    <a:pt x="428" y="47"/>
                  </a:lnTo>
                  <a:lnTo>
                    <a:pt x="428" y="51"/>
                  </a:lnTo>
                  <a:lnTo>
                    <a:pt x="428" y="52"/>
                  </a:lnTo>
                  <a:lnTo>
                    <a:pt x="428" y="53"/>
                  </a:lnTo>
                  <a:lnTo>
                    <a:pt x="428" y="54"/>
                  </a:lnTo>
                  <a:lnTo>
                    <a:pt x="428" y="55"/>
                  </a:lnTo>
                  <a:lnTo>
                    <a:pt x="427" y="58"/>
                  </a:lnTo>
                  <a:lnTo>
                    <a:pt x="427" y="59"/>
                  </a:lnTo>
                  <a:lnTo>
                    <a:pt x="426" y="60"/>
                  </a:lnTo>
                  <a:lnTo>
                    <a:pt x="426" y="61"/>
                  </a:lnTo>
                  <a:lnTo>
                    <a:pt x="426" y="62"/>
                  </a:lnTo>
                  <a:lnTo>
                    <a:pt x="426" y="62"/>
                  </a:lnTo>
                  <a:lnTo>
                    <a:pt x="427" y="63"/>
                  </a:lnTo>
                  <a:lnTo>
                    <a:pt x="427" y="66"/>
                  </a:lnTo>
                  <a:lnTo>
                    <a:pt x="427" y="67"/>
                  </a:lnTo>
                  <a:lnTo>
                    <a:pt x="428" y="70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8" y="74"/>
                  </a:lnTo>
                  <a:lnTo>
                    <a:pt x="427" y="75"/>
                  </a:lnTo>
                  <a:lnTo>
                    <a:pt x="427" y="76"/>
                  </a:lnTo>
                  <a:lnTo>
                    <a:pt x="426" y="77"/>
                  </a:lnTo>
                  <a:lnTo>
                    <a:pt x="426" y="78"/>
                  </a:lnTo>
                  <a:lnTo>
                    <a:pt x="426" y="78"/>
                  </a:lnTo>
                  <a:lnTo>
                    <a:pt x="425" y="79"/>
                  </a:lnTo>
                  <a:lnTo>
                    <a:pt x="424" y="79"/>
                  </a:lnTo>
                  <a:lnTo>
                    <a:pt x="423" y="81"/>
                  </a:lnTo>
                  <a:lnTo>
                    <a:pt x="420" y="83"/>
                  </a:lnTo>
                  <a:lnTo>
                    <a:pt x="419" y="84"/>
                  </a:lnTo>
                  <a:lnTo>
                    <a:pt x="416" y="87"/>
                  </a:lnTo>
                  <a:lnTo>
                    <a:pt x="416" y="88"/>
                  </a:lnTo>
                  <a:lnTo>
                    <a:pt x="415" y="89"/>
                  </a:lnTo>
                  <a:lnTo>
                    <a:pt x="414" y="90"/>
                  </a:lnTo>
                  <a:lnTo>
                    <a:pt x="413" y="91"/>
                  </a:lnTo>
                  <a:lnTo>
                    <a:pt x="412" y="91"/>
                  </a:lnTo>
                  <a:lnTo>
                    <a:pt x="412" y="92"/>
                  </a:lnTo>
                  <a:lnTo>
                    <a:pt x="411" y="92"/>
                  </a:lnTo>
                  <a:lnTo>
                    <a:pt x="410" y="93"/>
                  </a:lnTo>
                  <a:lnTo>
                    <a:pt x="410" y="93"/>
                  </a:lnTo>
                  <a:lnTo>
                    <a:pt x="409" y="93"/>
                  </a:lnTo>
                  <a:lnTo>
                    <a:pt x="406" y="94"/>
                  </a:lnTo>
                  <a:lnTo>
                    <a:pt x="405" y="94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2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2" y="97"/>
                  </a:lnTo>
                  <a:lnTo>
                    <a:pt x="401" y="98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2" y="101"/>
                  </a:lnTo>
                  <a:lnTo>
                    <a:pt x="404" y="105"/>
                  </a:lnTo>
                  <a:lnTo>
                    <a:pt x="405" y="108"/>
                  </a:lnTo>
                  <a:lnTo>
                    <a:pt x="405" y="110"/>
                  </a:lnTo>
                  <a:lnTo>
                    <a:pt x="406" y="115"/>
                  </a:lnTo>
                  <a:lnTo>
                    <a:pt x="407" y="117"/>
                  </a:lnTo>
                  <a:lnTo>
                    <a:pt x="407" y="119"/>
                  </a:lnTo>
                  <a:lnTo>
                    <a:pt x="408" y="121"/>
                  </a:lnTo>
                  <a:lnTo>
                    <a:pt x="410" y="126"/>
                  </a:lnTo>
                  <a:lnTo>
                    <a:pt x="411" y="131"/>
                  </a:lnTo>
                  <a:lnTo>
                    <a:pt x="412" y="132"/>
                  </a:lnTo>
                  <a:lnTo>
                    <a:pt x="412" y="133"/>
                  </a:lnTo>
                  <a:lnTo>
                    <a:pt x="412" y="135"/>
                  </a:lnTo>
                  <a:lnTo>
                    <a:pt x="413" y="139"/>
                  </a:lnTo>
                  <a:lnTo>
                    <a:pt x="413" y="142"/>
                  </a:lnTo>
                  <a:lnTo>
                    <a:pt x="413" y="143"/>
                  </a:lnTo>
                  <a:lnTo>
                    <a:pt x="413" y="145"/>
                  </a:lnTo>
                  <a:lnTo>
                    <a:pt x="414" y="148"/>
                  </a:lnTo>
                  <a:lnTo>
                    <a:pt x="414" y="150"/>
                  </a:lnTo>
                  <a:lnTo>
                    <a:pt x="414" y="151"/>
                  </a:lnTo>
                  <a:lnTo>
                    <a:pt x="414" y="151"/>
                  </a:lnTo>
                  <a:lnTo>
                    <a:pt x="414" y="152"/>
                  </a:lnTo>
                  <a:lnTo>
                    <a:pt x="414" y="153"/>
                  </a:lnTo>
                  <a:lnTo>
                    <a:pt x="413" y="154"/>
                  </a:lnTo>
                  <a:lnTo>
                    <a:pt x="413" y="154"/>
                  </a:lnTo>
                  <a:lnTo>
                    <a:pt x="411" y="157"/>
                  </a:lnTo>
                  <a:lnTo>
                    <a:pt x="410" y="158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09" y="161"/>
                  </a:lnTo>
                  <a:lnTo>
                    <a:pt x="409" y="162"/>
                  </a:lnTo>
                  <a:lnTo>
                    <a:pt x="409" y="163"/>
                  </a:lnTo>
                  <a:lnTo>
                    <a:pt x="408" y="164"/>
                  </a:lnTo>
                  <a:lnTo>
                    <a:pt x="408" y="165"/>
                  </a:lnTo>
                  <a:lnTo>
                    <a:pt x="408" y="166"/>
                  </a:lnTo>
                  <a:lnTo>
                    <a:pt x="408" y="167"/>
                  </a:lnTo>
                  <a:lnTo>
                    <a:pt x="408" y="169"/>
                  </a:lnTo>
                  <a:lnTo>
                    <a:pt x="409" y="170"/>
                  </a:lnTo>
                  <a:lnTo>
                    <a:pt x="409" y="171"/>
                  </a:lnTo>
                  <a:lnTo>
                    <a:pt x="409" y="172"/>
                  </a:lnTo>
                  <a:lnTo>
                    <a:pt x="410" y="173"/>
                  </a:lnTo>
                  <a:lnTo>
                    <a:pt x="412" y="176"/>
                  </a:lnTo>
                  <a:lnTo>
                    <a:pt x="413" y="177"/>
                  </a:lnTo>
                  <a:lnTo>
                    <a:pt x="413" y="178"/>
                  </a:lnTo>
                  <a:lnTo>
                    <a:pt x="413" y="179"/>
                  </a:lnTo>
                  <a:lnTo>
                    <a:pt x="414" y="180"/>
                  </a:lnTo>
                  <a:lnTo>
                    <a:pt x="415" y="183"/>
                  </a:lnTo>
                  <a:lnTo>
                    <a:pt x="416" y="185"/>
                  </a:lnTo>
                  <a:lnTo>
                    <a:pt x="416" y="187"/>
                  </a:lnTo>
                  <a:lnTo>
                    <a:pt x="417" y="189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21" y="193"/>
                  </a:lnTo>
                  <a:lnTo>
                    <a:pt x="422" y="195"/>
                  </a:lnTo>
                  <a:lnTo>
                    <a:pt x="425" y="198"/>
                  </a:lnTo>
                  <a:lnTo>
                    <a:pt x="425" y="199"/>
                  </a:lnTo>
                  <a:lnTo>
                    <a:pt x="426" y="199"/>
                  </a:lnTo>
                  <a:lnTo>
                    <a:pt x="426" y="200"/>
                  </a:lnTo>
                  <a:lnTo>
                    <a:pt x="427" y="201"/>
                  </a:lnTo>
                  <a:lnTo>
                    <a:pt x="427" y="202"/>
                  </a:lnTo>
                  <a:lnTo>
                    <a:pt x="427" y="205"/>
                  </a:lnTo>
                  <a:lnTo>
                    <a:pt x="427" y="206"/>
                  </a:lnTo>
                  <a:lnTo>
                    <a:pt x="428" y="206"/>
                  </a:lnTo>
                  <a:lnTo>
                    <a:pt x="429" y="209"/>
                  </a:lnTo>
                  <a:lnTo>
                    <a:pt x="429" y="210"/>
                  </a:lnTo>
                  <a:lnTo>
                    <a:pt x="429" y="210"/>
                  </a:lnTo>
                  <a:lnTo>
                    <a:pt x="429" y="211"/>
                  </a:lnTo>
                  <a:lnTo>
                    <a:pt x="429" y="212"/>
                  </a:lnTo>
                  <a:lnTo>
                    <a:pt x="429" y="213"/>
                  </a:lnTo>
                  <a:lnTo>
                    <a:pt x="428" y="215"/>
                  </a:lnTo>
                  <a:lnTo>
                    <a:pt x="428" y="216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8"/>
                  </a:lnTo>
                  <a:lnTo>
                    <a:pt x="428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0" y="218"/>
                  </a:lnTo>
                  <a:lnTo>
                    <a:pt x="431" y="218"/>
                  </a:lnTo>
                  <a:lnTo>
                    <a:pt x="432" y="219"/>
                  </a:lnTo>
                  <a:lnTo>
                    <a:pt x="435" y="219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7" y="220"/>
                  </a:lnTo>
                  <a:lnTo>
                    <a:pt x="438" y="221"/>
                  </a:lnTo>
                  <a:lnTo>
                    <a:pt x="439" y="221"/>
                  </a:lnTo>
                  <a:lnTo>
                    <a:pt x="439" y="222"/>
                  </a:lnTo>
                  <a:lnTo>
                    <a:pt x="440" y="223"/>
                  </a:lnTo>
                  <a:lnTo>
                    <a:pt x="440" y="223"/>
                  </a:lnTo>
                  <a:lnTo>
                    <a:pt x="441" y="224"/>
                  </a:lnTo>
                  <a:lnTo>
                    <a:pt x="441" y="225"/>
                  </a:lnTo>
                  <a:lnTo>
                    <a:pt x="441" y="226"/>
                  </a:lnTo>
                  <a:lnTo>
                    <a:pt x="441" y="227"/>
                  </a:lnTo>
                  <a:lnTo>
                    <a:pt x="442" y="231"/>
                  </a:lnTo>
                  <a:lnTo>
                    <a:pt x="442" y="232"/>
                  </a:lnTo>
                  <a:lnTo>
                    <a:pt x="442" y="233"/>
                  </a:lnTo>
                  <a:lnTo>
                    <a:pt x="442" y="235"/>
                  </a:lnTo>
                  <a:lnTo>
                    <a:pt x="442" y="237"/>
                  </a:lnTo>
                  <a:lnTo>
                    <a:pt x="441" y="238"/>
                  </a:lnTo>
                  <a:lnTo>
                    <a:pt x="441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0" y="242"/>
                  </a:lnTo>
                  <a:lnTo>
                    <a:pt x="439" y="243"/>
                  </a:lnTo>
                  <a:lnTo>
                    <a:pt x="437" y="246"/>
                  </a:lnTo>
                  <a:lnTo>
                    <a:pt x="434" y="249"/>
                  </a:lnTo>
                  <a:lnTo>
                    <a:pt x="434" y="250"/>
                  </a:lnTo>
                  <a:lnTo>
                    <a:pt x="433" y="251"/>
                  </a:lnTo>
                  <a:lnTo>
                    <a:pt x="432" y="252"/>
                  </a:lnTo>
                  <a:lnTo>
                    <a:pt x="432" y="253"/>
                  </a:lnTo>
                  <a:lnTo>
                    <a:pt x="431" y="254"/>
                  </a:lnTo>
                  <a:lnTo>
                    <a:pt x="431" y="255"/>
                  </a:lnTo>
                  <a:lnTo>
                    <a:pt x="431" y="256"/>
                  </a:lnTo>
                  <a:lnTo>
                    <a:pt x="431" y="258"/>
                  </a:lnTo>
                  <a:lnTo>
                    <a:pt x="431" y="259"/>
                  </a:lnTo>
                  <a:lnTo>
                    <a:pt x="431" y="259"/>
                  </a:lnTo>
                  <a:lnTo>
                    <a:pt x="431" y="260"/>
                  </a:lnTo>
                  <a:lnTo>
                    <a:pt x="432" y="262"/>
                  </a:lnTo>
                  <a:lnTo>
                    <a:pt x="433" y="265"/>
                  </a:lnTo>
                  <a:lnTo>
                    <a:pt x="433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9"/>
                  </a:lnTo>
                  <a:lnTo>
                    <a:pt x="432" y="271"/>
                  </a:lnTo>
                  <a:lnTo>
                    <a:pt x="431" y="274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1" y="279"/>
                  </a:lnTo>
                  <a:lnTo>
                    <a:pt x="430" y="279"/>
                  </a:lnTo>
                  <a:lnTo>
                    <a:pt x="430" y="279"/>
                  </a:lnTo>
                  <a:lnTo>
                    <a:pt x="429" y="279"/>
                  </a:lnTo>
                  <a:lnTo>
                    <a:pt x="427" y="279"/>
                  </a:lnTo>
                  <a:lnTo>
                    <a:pt x="426" y="279"/>
                  </a:lnTo>
                  <a:lnTo>
                    <a:pt x="425" y="279"/>
                  </a:lnTo>
                  <a:lnTo>
                    <a:pt x="423" y="278"/>
                  </a:lnTo>
                  <a:lnTo>
                    <a:pt x="421" y="278"/>
                  </a:lnTo>
                  <a:lnTo>
                    <a:pt x="420" y="277"/>
                  </a:lnTo>
                  <a:lnTo>
                    <a:pt x="418" y="277"/>
                  </a:lnTo>
                  <a:lnTo>
                    <a:pt x="416" y="276"/>
                  </a:lnTo>
                  <a:lnTo>
                    <a:pt x="415" y="275"/>
                  </a:lnTo>
                  <a:lnTo>
                    <a:pt x="413" y="275"/>
                  </a:lnTo>
                  <a:lnTo>
                    <a:pt x="406" y="271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9"/>
                  </a:lnTo>
                  <a:lnTo>
                    <a:pt x="400" y="269"/>
                  </a:lnTo>
                  <a:lnTo>
                    <a:pt x="398" y="268"/>
                  </a:lnTo>
                  <a:lnTo>
                    <a:pt x="397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2" y="267"/>
                  </a:lnTo>
                  <a:lnTo>
                    <a:pt x="391" y="267"/>
                  </a:lnTo>
                  <a:lnTo>
                    <a:pt x="390" y="267"/>
                  </a:lnTo>
                  <a:lnTo>
                    <a:pt x="388" y="268"/>
                  </a:lnTo>
                  <a:lnTo>
                    <a:pt x="386" y="268"/>
                  </a:lnTo>
                  <a:lnTo>
                    <a:pt x="385" y="268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3" y="268"/>
                  </a:lnTo>
                  <a:lnTo>
                    <a:pt x="380" y="267"/>
                  </a:lnTo>
                  <a:lnTo>
                    <a:pt x="379" y="267"/>
                  </a:lnTo>
                  <a:lnTo>
                    <a:pt x="378" y="267"/>
                  </a:lnTo>
                  <a:lnTo>
                    <a:pt x="377" y="267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70" y="268"/>
                  </a:lnTo>
                  <a:lnTo>
                    <a:pt x="368" y="268"/>
                  </a:lnTo>
                  <a:lnTo>
                    <a:pt x="365" y="268"/>
                  </a:lnTo>
                  <a:lnTo>
                    <a:pt x="363" y="268"/>
                  </a:lnTo>
                  <a:lnTo>
                    <a:pt x="362" y="267"/>
                  </a:lnTo>
                  <a:lnTo>
                    <a:pt x="359" y="267"/>
                  </a:lnTo>
                  <a:lnTo>
                    <a:pt x="358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6" y="267"/>
                  </a:lnTo>
                  <a:lnTo>
                    <a:pt x="356" y="268"/>
                  </a:lnTo>
                  <a:lnTo>
                    <a:pt x="355" y="269"/>
                  </a:lnTo>
                  <a:lnTo>
                    <a:pt x="355" y="271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2" y="281"/>
                  </a:lnTo>
                  <a:lnTo>
                    <a:pt x="352" y="282"/>
                  </a:lnTo>
                  <a:lnTo>
                    <a:pt x="351" y="283"/>
                  </a:lnTo>
                  <a:lnTo>
                    <a:pt x="351" y="283"/>
                  </a:lnTo>
                  <a:lnTo>
                    <a:pt x="350" y="283"/>
                  </a:lnTo>
                  <a:lnTo>
                    <a:pt x="350" y="283"/>
                  </a:lnTo>
                  <a:lnTo>
                    <a:pt x="349" y="284"/>
                  </a:lnTo>
                  <a:lnTo>
                    <a:pt x="348" y="284"/>
                  </a:lnTo>
                  <a:lnTo>
                    <a:pt x="346" y="284"/>
                  </a:lnTo>
                  <a:lnTo>
                    <a:pt x="344" y="284"/>
                  </a:lnTo>
                  <a:lnTo>
                    <a:pt x="343" y="284"/>
                  </a:lnTo>
                  <a:lnTo>
                    <a:pt x="341" y="284"/>
                  </a:lnTo>
                  <a:lnTo>
                    <a:pt x="337" y="283"/>
                  </a:lnTo>
                  <a:lnTo>
                    <a:pt x="336" y="283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4" y="283"/>
                  </a:lnTo>
                  <a:lnTo>
                    <a:pt x="331" y="283"/>
                  </a:lnTo>
                  <a:lnTo>
                    <a:pt x="329" y="284"/>
                  </a:lnTo>
                  <a:lnTo>
                    <a:pt x="327" y="284"/>
                  </a:lnTo>
                  <a:lnTo>
                    <a:pt x="326" y="284"/>
                  </a:lnTo>
                  <a:lnTo>
                    <a:pt x="325" y="284"/>
                  </a:lnTo>
                  <a:lnTo>
                    <a:pt x="324" y="284"/>
                  </a:lnTo>
                  <a:lnTo>
                    <a:pt x="324" y="284"/>
                  </a:lnTo>
                  <a:lnTo>
                    <a:pt x="323" y="283"/>
                  </a:lnTo>
                  <a:lnTo>
                    <a:pt x="322" y="283"/>
                  </a:lnTo>
                  <a:lnTo>
                    <a:pt x="322" y="283"/>
                  </a:lnTo>
                  <a:lnTo>
                    <a:pt x="321" y="283"/>
                  </a:lnTo>
                  <a:lnTo>
                    <a:pt x="321" y="283"/>
                  </a:lnTo>
                  <a:lnTo>
                    <a:pt x="320" y="283"/>
                  </a:lnTo>
                  <a:lnTo>
                    <a:pt x="319" y="283"/>
                  </a:lnTo>
                  <a:lnTo>
                    <a:pt x="318" y="283"/>
                  </a:lnTo>
                  <a:lnTo>
                    <a:pt x="317" y="284"/>
                  </a:lnTo>
                  <a:lnTo>
                    <a:pt x="316" y="284"/>
                  </a:lnTo>
                  <a:lnTo>
                    <a:pt x="316" y="285"/>
                  </a:lnTo>
                  <a:lnTo>
                    <a:pt x="315" y="285"/>
                  </a:lnTo>
                  <a:lnTo>
                    <a:pt x="314" y="287"/>
                  </a:lnTo>
                  <a:lnTo>
                    <a:pt x="313" y="288"/>
                  </a:lnTo>
                  <a:lnTo>
                    <a:pt x="311" y="289"/>
                  </a:lnTo>
                  <a:lnTo>
                    <a:pt x="311" y="290"/>
                  </a:lnTo>
                  <a:lnTo>
                    <a:pt x="310" y="290"/>
                  </a:lnTo>
                  <a:lnTo>
                    <a:pt x="310" y="291"/>
                  </a:lnTo>
                  <a:lnTo>
                    <a:pt x="309" y="291"/>
                  </a:lnTo>
                  <a:lnTo>
                    <a:pt x="309" y="291"/>
                  </a:lnTo>
                  <a:lnTo>
                    <a:pt x="308" y="291"/>
                  </a:lnTo>
                  <a:lnTo>
                    <a:pt x="308" y="291"/>
                  </a:lnTo>
                  <a:lnTo>
                    <a:pt x="307" y="291"/>
                  </a:lnTo>
                  <a:lnTo>
                    <a:pt x="307" y="290"/>
                  </a:lnTo>
                  <a:lnTo>
                    <a:pt x="307" y="290"/>
                  </a:lnTo>
                  <a:lnTo>
                    <a:pt x="303" y="284"/>
                  </a:lnTo>
                  <a:lnTo>
                    <a:pt x="302" y="283"/>
                  </a:lnTo>
                  <a:lnTo>
                    <a:pt x="301" y="282"/>
                  </a:lnTo>
                  <a:lnTo>
                    <a:pt x="300" y="281"/>
                  </a:lnTo>
                  <a:lnTo>
                    <a:pt x="299" y="281"/>
                  </a:lnTo>
                  <a:lnTo>
                    <a:pt x="296" y="279"/>
                  </a:lnTo>
                  <a:lnTo>
                    <a:pt x="293" y="277"/>
                  </a:lnTo>
                  <a:lnTo>
                    <a:pt x="292" y="276"/>
                  </a:lnTo>
                  <a:lnTo>
                    <a:pt x="290" y="275"/>
                  </a:lnTo>
                  <a:lnTo>
                    <a:pt x="289" y="275"/>
                  </a:lnTo>
                  <a:lnTo>
                    <a:pt x="285" y="274"/>
                  </a:lnTo>
                  <a:lnTo>
                    <a:pt x="281" y="272"/>
                  </a:lnTo>
                  <a:lnTo>
                    <a:pt x="280" y="272"/>
                  </a:lnTo>
                  <a:lnTo>
                    <a:pt x="278" y="272"/>
                  </a:lnTo>
                  <a:lnTo>
                    <a:pt x="277" y="271"/>
                  </a:lnTo>
                  <a:lnTo>
                    <a:pt x="276" y="271"/>
                  </a:lnTo>
                  <a:lnTo>
                    <a:pt x="276" y="271"/>
                  </a:lnTo>
                  <a:lnTo>
                    <a:pt x="275" y="270"/>
                  </a:lnTo>
                  <a:lnTo>
                    <a:pt x="273" y="269"/>
                  </a:lnTo>
                  <a:lnTo>
                    <a:pt x="272" y="267"/>
                  </a:lnTo>
                  <a:lnTo>
                    <a:pt x="271" y="266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2"/>
                  </a:lnTo>
                  <a:lnTo>
                    <a:pt x="264" y="258"/>
                  </a:lnTo>
                  <a:lnTo>
                    <a:pt x="262" y="256"/>
                  </a:lnTo>
                  <a:lnTo>
                    <a:pt x="261" y="255"/>
                  </a:lnTo>
                  <a:lnTo>
                    <a:pt x="260" y="254"/>
                  </a:lnTo>
                  <a:lnTo>
                    <a:pt x="258" y="254"/>
                  </a:lnTo>
                  <a:lnTo>
                    <a:pt x="257" y="253"/>
                  </a:lnTo>
                  <a:lnTo>
                    <a:pt x="256" y="252"/>
                  </a:lnTo>
                  <a:lnTo>
                    <a:pt x="252" y="250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6" y="247"/>
                  </a:lnTo>
                  <a:lnTo>
                    <a:pt x="243" y="246"/>
                  </a:lnTo>
                  <a:lnTo>
                    <a:pt x="239" y="245"/>
                  </a:lnTo>
                  <a:lnTo>
                    <a:pt x="235" y="244"/>
                  </a:lnTo>
                  <a:lnTo>
                    <a:pt x="234" y="244"/>
                  </a:lnTo>
                  <a:lnTo>
                    <a:pt x="232" y="243"/>
                  </a:lnTo>
                  <a:lnTo>
                    <a:pt x="231" y="243"/>
                  </a:lnTo>
                  <a:lnTo>
                    <a:pt x="230" y="242"/>
                  </a:lnTo>
                  <a:lnTo>
                    <a:pt x="229" y="242"/>
                  </a:lnTo>
                  <a:lnTo>
                    <a:pt x="228" y="242"/>
                  </a:lnTo>
                  <a:lnTo>
                    <a:pt x="224" y="242"/>
                  </a:lnTo>
                  <a:lnTo>
                    <a:pt x="222" y="242"/>
                  </a:lnTo>
                  <a:lnTo>
                    <a:pt x="221" y="242"/>
                  </a:lnTo>
                  <a:lnTo>
                    <a:pt x="221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19" y="241"/>
                  </a:lnTo>
                  <a:lnTo>
                    <a:pt x="219" y="240"/>
                  </a:lnTo>
                  <a:lnTo>
                    <a:pt x="218" y="240"/>
                  </a:lnTo>
                  <a:lnTo>
                    <a:pt x="216" y="238"/>
                  </a:lnTo>
                  <a:lnTo>
                    <a:pt x="214" y="236"/>
                  </a:lnTo>
                  <a:lnTo>
                    <a:pt x="213" y="235"/>
                  </a:lnTo>
                  <a:lnTo>
                    <a:pt x="212" y="233"/>
                  </a:lnTo>
                  <a:lnTo>
                    <a:pt x="211" y="233"/>
                  </a:lnTo>
                  <a:lnTo>
                    <a:pt x="210" y="232"/>
                  </a:lnTo>
                  <a:lnTo>
                    <a:pt x="209" y="232"/>
                  </a:lnTo>
                  <a:lnTo>
                    <a:pt x="209" y="231"/>
                  </a:lnTo>
                  <a:lnTo>
                    <a:pt x="208" y="231"/>
                  </a:lnTo>
                  <a:lnTo>
                    <a:pt x="207" y="230"/>
                  </a:lnTo>
                  <a:lnTo>
                    <a:pt x="205" y="230"/>
                  </a:lnTo>
                  <a:lnTo>
                    <a:pt x="202" y="230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6" y="227"/>
                  </a:lnTo>
                  <a:lnTo>
                    <a:pt x="195" y="227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3" y="225"/>
                  </a:lnTo>
                  <a:lnTo>
                    <a:pt x="192" y="224"/>
                  </a:lnTo>
                  <a:lnTo>
                    <a:pt x="191" y="223"/>
                  </a:lnTo>
                  <a:lnTo>
                    <a:pt x="190" y="222"/>
                  </a:lnTo>
                  <a:lnTo>
                    <a:pt x="190" y="221"/>
                  </a:lnTo>
                  <a:lnTo>
                    <a:pt x="189" y="221"/>
                  </a:lnTo>
                  <a:lnTo>
                    <a:pt x="189" y="221"/>
                  </a:lnTo>
                  <a:lnTo>
                    <a:pt x="188" y="221"/>
                  </a:lnTo>
                  <a:lnTo>
                    <a:pt x="188" y="221"/>
                  </a:lnTo>
                  <a:lnTo>
                    <a:pt x="187" y="221"/>
                  </a:lnTo>
                  <a:lnTo>
                    <a:pt x="186" y="222"/>
                  </a:lnTo>
                  <a:lnTo>
                    <a:pt x="185" y="223"/>
                  </a:lnTo>
                  <a:lnTo>
                    <a:pt x="184" y="224"/>
                  </a:lnTo>
                  <a:lnTo>
                    <a:pt x="183" y="225"/>
                  </a:lnTo>
                  <a:lnTo>
                    <a:pt x="182" y="226"/>
                  </a:lnTo>
                  <a:lnTo>
                    <a:pt x="181" y="228"/>
                  </a:lnTo>
                  <a:lnTo>
                    <a:pt x="180" y="230"/>
                  </a:lnTo>
                  <a:lnTo>
                    <a:pt x="179" y="233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8" y="235"/>
                  </a:lnTo>
                  <a:lnTo>
                    <a:pt x="176" y="237"/>
                  </a:lnTo>
                  <a:lnTo>
                    <a:pt x="175" y="240"/>
                  </a:lnTo>
                  <a:lnTo>
                    <a:pt x="174" y="240"/>
                  </a:lnTo>
                  <a:lnTo>
                    <a:pt x="174" y="241"/>
                  </a:lnTo>
                  <a:lnTo>
                    <a:pt x="173" y="241"/>
                  </a:lnTo>
                  <a:lnTo>
                    <a:pt x="173" y="241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6" y="242"/>
                  </a:lnTo>
                  <a:lnTo>
                    <a:pt x="165" y="242"/>
                  </a:lnTo>
                  <a:lnTo>
                    <a:pt x="164" y="242"/>
                  </a:lnTo>
                  <a:lnTo>
                    <a:pt x="164" y="241"/>
                  </a:lnTo>
                  <a:lnTo>
                    <a:pt x="163" y="241"/>
                  </a:lnTo>
                  <a:lnTo>
                    <a:pt x="161" y="240"/>
                  </a:lnTo>
                  <a:lnTo>
                    <a:pt x="158" y="239"/>
                  </a:lnTo>
                  <a:lnTo>
                    <a:pt x="152" y="236"/>
                  </a:lnTo>
                  <a:lnTo>
                    <a:pt x="150" y="235"/>
                  </a:lnTo>
                  <a:lnTo>
                    <a:pt x="150" y="234"/>
                  </a:lnTo>
                  <a:lnTo>
                    <a:pt x="149" y="234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6" y="231"/>
                  </a:lnTo>
                  <a:lnTo>
                    <a:pt x="146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5" y="227"/>
                  </a:lnTo>
                  <a:lnTo>
                    <a:pt x="146" y="226"/>
                  </a:lnTo>
                  <a:lnTo>
                    <a:pt x="146" y="225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5" y="219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7"/>
                  </a:lnTo>
                  <a:lnTo>
                    <a:pt x="140" y="217"/>
                  </a:lnTo>
                  <a:lnTo>
                    <a:pt x="139" y="216"/>
                  </a:lnTo>
                  <a:lnTo>
                    <a:pt x="138" y="216"/>
                  </a:lnTo>
                  <a:lnTo>
                    <a:pt x="137" y="215"/>
                  </a:lnTo>
                  <a:lnTo>
                    <a:pt x="135" y="214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1" y="212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7" y="211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3" y="210"/>
                  </a:lnTo>
                  <a:lnTo>
                    <a:pt x="123" y="209"/>
                  </a:lnTo>
                  <a:lnTo>
                    <a:pt x="122" y="209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3"/>
                  </a:lnTo>
                  <a:lnTo>
                    <a:pt x="120" y="203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19" y="202"/>
                  </a:lnTo>
                  <a:lnTo>
                    <a:pt x="119" y="201"/>
                  </a:lnTo>
                  <a:lnTo>
                    <a:pt x="118" y="201"/>
                  </a:lnTo>
                  <a:lnTo>
                    <a:pt x="115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9" y="199"/>
                  </a:lnTo>
                  <a:lnTo>
                    <a:pt x="108" y="198"/>
                  </a:lnTo>
                  <a:lnTo>
                    <a:pt x="107" y="198"/>
                  </a:lnTo>
                  <a:lnTo>
                    <a:pt x="106" y="197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4" y="195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0" y="191"/>
                  </a:lnTo>
                  <a:lnTo>
                    <a:pt x="99" y="191"/>
                  </a:lnTo>
                  <a:lnTo>
                    <a:pt x="98" y="190"/>
                  </a:lnTo>
                  <a:lnTo>
                    <a:pt x="95" y="189"/>
                  </a:lnTo>
                  <a:lnTo>
                    <a:pt x="94" y="189"/>
                  </a:lnTo>
                  <a:lnTo>
                    <a:pt x="93" y="188"/>
                  </a:lnTo>
                  <a:lnTo>
                    <a:pt x="93" y="187"/>
                  </a:lnTo>
                  <a:lnTo>
                    <a:pt x="92" y="187"/>
                  </a:lnTo>
                  <a:lnTo>
                    <a:pt x="91" y="187"/>
                  </a:lnTo>
                  <a:lnTo>
                    <a:pt x="89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7" y="186"/>
                  </a:lnTo>
                  <a:lnTo>
                    <a:pt x="73" y="186"/>
                  </a:lnTo>
                  <a:lnTo>
                    <a:pt x="72" y="186"/>
                  </a:lnTo>
                  <a:lnTo>
                    <a:pt x="71" y="186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7" y="186"/>
                  </a:lnTo>
                  <a:lnTo>
                    <a:pt x="66" y="186"/>
                  </a:lnTo>
                  <a:lnTo>
                    <a:pt x="66" y="185"/>
                  </a:lnTo>
                  <a:lnTo>
                    <a:pt x="64" y="184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0"/>
                  </a:lnTo>
                  <a:lnTo>
                    <a:pt x="59" y="179"/>
                  </a:lnTo>
                  <a:lnTo>
                    <a:pt x="52" y="174"/>
                  </a:lnTo>
                  <a:lnTo>
                    <a:pt x="49" y="172"/>
                  </a:lnTo>
                  <a:lnTo>
                    <a:pt x="47" y="171"/>
                  </a:lnTo>
                  <a:lnTo>
                    <a:pt x="42" y="167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8" y="161"/>
                  </a:lnTo>
                  <a:lnTo>
                    <a:pt x="38" y="157"/>
                  </a:lnTo>
                  <a:lnTo>
                    <a:pt x="39" y="154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9" y="148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4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6" y="131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19"/>
                  </a:lnTo>
                  <a:lnTo>
                    <a:pt x="46" y="118"/>
                  </a:lnTo>
                  <a:lnTo>
                    <a:pt x="45" y="118"/>
                  </a:lnTo>
                  <a:lnTo>
                    <a:pt x="45" y="117"/>
                  </a:lnTo>
                  <a:lnTo>
                    <a:pt x="44" y="116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1" y="114"/>
                  </a:lnTo>
                  <a:lnTo>
                    <a:pt x="38" y="113"/>
                  </a:lnTo>
                  <a:lnTo>
                    <a:pt x="37" y="112"/>
                  </a:lnTo>
                  <a:lnTo>
                    <a:pt x="35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29" y="106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5" y="98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3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8"/>
                  </a:lnTo>
                  <a:lnTo>
                    <a:pt x="5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2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3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8" y="46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62">
              <a:extLst>
                <a:ext uri="{FF2B5EF4-FFF2-40B4-BE49-F238E27FC236}">
                  <a16:creationId xmlns:a16="http://schemas.microsoft.com/office/drawing/2014/main" id="{E3E7B398-844C-20AC-7E7B-1C3226E359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" y="3273"/>
              <a:ext cx="83" cy="28"/>
            </a:xfrm>
            <a:custGeom>
              <a:avLst/>
              <a:gdLst>
                <a:gd name="T0" fmla="*/ 1 w 83"/>
                <a:gd name="T1" fmla="*/ 28 h 28"/>
                <a:gd name="T2" fmla="*/ 4 w 83"/>
                <a:gd name="T3" fmla="*/ 26 h 28"/>
                <a:gd name="T4" fmla="*/ 5 w 83"/>
                <a:gd name="T5" fmla="*/ 24 h 28"/>
                <a:gd name="T6" fmla="*/ 6 w 83"/>
                <a:gd name="T7" fmla="*/ 22 h 28"/>
                <a:gd name="T8" fmla="*/ 7 w 83"/>
                <a:gd name="T9" fmla="*/ 21 h 28"/>
                <a:gd name="T10" fmla="*/ 8 w 83"/>
                <a:gd name="T11" fmla="*/ 19 h 28"/>
                <a:gd name="T12" fmla="*/ 9 w 83"/>
                <a:gd name="T13" fmla="*/ 18 h 28"/>
                <a:gd name="T14" fmla="*/ 11 w 83"/>
                <a:gd name="T15" fmla="*/ 17 h 28"/>
                <a:gd name="T16" fmla="*/ 14 w 83"/>
                <a:gd name="T17" fmla="*/ 17 h 28"/>
                <a:gd name="T18" fmla="*/ 16 w 83"/>
                <a:gd name="T19" fmla="*/ 16 h 28"/>
                <a:gd name="T20" fmla="*/ 20 w 83"/>
                <a:gd name="T21" fmla="*/ 14 h 28"/>
                <a:gd name="T22" fmla="*/ 20 w 83"/>
                <a:gd name="T23" fmla="*/ 14 h 28"/>
                <a:gd name="T24" fmla="*/ 21 w 83"/>
                <a:gd name="T25" fmla="*/ 14 h 28"/>
                <a:gd name="T26" fmla="*/ 22 w 83"/>
                <a:gd name="T27" fmla="*/ 15 h 28"/>
                <a:gd name="T28" fmla="*/ 24 w 83"/>
                <a:gd name="T29" fmla="*/ 17 h 28"/>
                <a:gd name="T30" fmla="*/ 26 w 83"/>
                <a:gd name="T31" fmla="*/ 17 h 28"/>
                <a:gd name="T32" fmla="*/ 28 w 83"/>
                <a:gd name="T33" fmla="*/ 18 h 28"/>
                <a:gd name="T34" fmla="*/ 30 w 83"/>
                <a:gd name="T35" fmla="*/ 18 h 28"/>
                <a:gd name="T36" fmla="*/ 32 w 83"/>
                <a:gd name="T37" fmla="*/ 18 h 28"/>
                <a:gd name="T38" fmla="*/ 36 w 83"/>
                <a:gd name="T39" fmla="*/ 18 h 28"/>
                <a:gd name="T40" fmla="*/ 39 w 83"/>
                <a:gd name="T41" fmla="*/ 18 h 28"/>
                <a:gd name="T42" fmla="*/ 42 w 83"/>
                <a:gd name="T43" fmla="*/ 18 h 28"/>
                <a:gd name="T44" fmla="*/ 44 w 83"/>
                <a:gd name="T45" fmla="*/ 18 h 28"/>
                <a:gd name="T46" fmla="*/ 45 w 83"/>
                <a:gd name="T47" fmla="*/ 19 h 28"/>
                <a:gd name="T48" fmla="*/ 49 w 83"/>
                <a:gd name="T49" fmla="*/ 20 h 28"/>
                <a:gd name="T50" fmla="*/ 51 w 83"/>
                <a:gd name="T51" fmla="*/ 21 h 28"/>
                <a:gd name="T52" fmla="*/ 54 w 83"/>
                <a:gd name="T53" fmla="*/ 21 h 28"/>
                <a:gd name="T54" fmla="*/ 55 w 83"/>
                <a:gd name="T55" fmla="*/ 21 h 28"/>
                <a:gd name="T56" fmla="*/ 59 w 83"/>
                <a:gd name="T57" fmla="*/ 19 h 28"/>
                <a:gd name="T58" fmla="*/ 62 w 83"/>
                <a:gd name="T59" fmla="*/ 18 h 28"/>
                <a:gd name="T60" fmla="*/ 65 w 83"/>
                <a:gd name="T61" fmla="*/ 17 h 28"/>
                <a:gd name="T62" fmla="*/ 67 w 83"/>
                <a:gd name="T63" fmla="*/ 16 h 28"/>
                <a:gd name="T64" fmla="*/ 68 w 83"/>
                <a:gd name="T65" fmla="*/ 15 h 28"/>
                <a:gd name="T66" fmla="*/ 69 w 83"/>
                <a:gd name="T67" fmla="*/ 13 h 28"/>
                <a:gd name="T68" fmla="*/ 70 w 83"/>
                <a:gd name="T69" fmla="*/ 12 h 28"/>
                <a:gd name="T70" fmla="*/ 72 w 83"/>
                <a:gd name="T71" fmla="*/ 8 h 28"/>
                <a:gd name="T72" fmla="*/ 73 w 83"/>
                <a:gd name="T73" fmla="*/ 7 h 28"/>
                <a:gd name="T74" fmla="*/ 74 w 83"/>
                <a:gd name="T75" fmla="*/ 6 h 28"/>
                <a:gd name="T76" fmla="*/ 76 w 83"/>
                <a:gd name="T77" fmla="*/ 4 h 28"/>
                <a:gd name="T78" fmla="*/ 78 w 83"/>
                <a:gd name="T79" fmla="*/ 2 h 28"/>
                <a:gd name="T80" fmla="*/ 82 w 83"/>
                <a:gd name="T81" fmla="*/ 0 h 28"/>
                <a:gd name="T82" fmla="*/ 82 w 83"/>
                <a:gd name="T8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3" h="28">
                  <a:moveTo>
                    <a:pt x="0" y="28"/>
                  </a:moveTo>
                  <a:lnTo>
                    <a:pt x="1" y="28"/>
                  </a:lnTo>
                  <a:lnTo>
                    <a:pt x="2" y="27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6" y="22"/>
                  </a:lnTo>
                  <a:lnTo>
                    <a:pt x="6" y="21"/>
                  </a:lnTo>
                  <a:lnTo>
                    <a:pt x="7" y="21"/>
                  </a:lnTo>
                  <a:lnTo>
                    <a:pt x="7" y="20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10" y="18"/>
                  </a:lnTo>
                  <a:lnTo>
                    <a:pt x="11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5" y="17"/>
                  </a:lnTo>
                  <a:lnTo>
                    <a:pt x="16" y="16"/>
                  </a:lnTo>
                  <a:lnTo>
                    <a:pt x="19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4" y="17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30" y="18"/>
                  </a:lnTo>
                  <a:lnTo>
                    <a:pt x="31" y="18"/>
                  </a:lnTo>
                  <a:lnTo>
                    <a:pt x="32" y="18"/>
                  </a:lnTo>
                  <a:lnTo>
                    <a:pt x="35" y="18"/>
                  </a:lnTo>
                  <a:lnTo>
                    <a:pt x="36" y="18"/>
                  </a:lnTo>
                  <a:lnTo>
                    <a:pt x="37" y="18"/>
                  </a:lnTo>
                  <a:lnTo>
                    <a:pt x="39" y="18"/>
                  </a:lnTo>
                  <a:lnTo>
                    <a:pt x="40" y="18"/>
                  </a:lnTo>
                  <a:lnTo>
                    <a:pt x="42" y="18"/>
                  </a:lnTo>
                  <a:lnTo>
                    <a:pt x="43" y="18"/>
                  </a:lnTo>
                  <a:lnTo>
                    <a:pt x="44" y="18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7" y="19"/>
                  </a:lnTo>
                  <a:lnTo>
                    <a:pt x="49" y="20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52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5" y="21"/>
                  </a:lnTo>
                  <a:lnTo>
                    <a:pt x="56" y="20"/>
                  </a:lnTo>
                  <a:lnTo>
                    <a:pt x="59" y="19"/>
                  </a:lnTo>
                  <a:lnTo>
                    <a:pt x="60" y="18"/>
                  </a:lnTo>
                  <a:lnTo>
                    <a:pt x="62" y="18"/>
                  </a:lnTo>
                  <a:lnTo>
                    <a:pt x="64" y="17"/>
                  </a:lnTo>
                  <a:lnTo>
                    <a:pt x="65" y="17"/>
                  </a:lnTo>
                  <a:lnTo>
                    <a:pt x="66" y="17"/>
                  </a:lnTo>
                  <a:lnTo>
                    <a:pt x="67" y="16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9" y="14"/>
                  </a:lnTo>
                  <a:lnTo>
                    <a:pt x="69" y="13"/>
                  </a:lnTo>
                  <a:lnTo>
                    <a:pt x="70" y="13"/>
                  </a:lnTo>
                  <a:lnTo>
                    <a:pt x="70" y="12"/>
                  </a:lnTo>
                  <a:lnTo>
                    <a:pt x="71" y="9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3" y="7"/>
                  </a:lnTo>
                  <a:lnTo>
                    <a:pt x="73" y="6"/>
                  </a:lnTo>
                  <a:lnTo>
                    <a:pt x="74" y="6"/>
                  </a:lnTo>
                  <a:lnTo>
                    <a:pt x="75" y="5"/>
                  </a:lnTo>
                  <a:lnTo>
                    <a:pt x="76" y="4"/>
                  </a:lnTo>
                  <a:lnTo>
                    <a:pt x="77" y="3"/>
                  </a:lnTo>
                  <a:lnTo>
                    <a:pt x="78" y="2"/>
                  </a:lnTo>
                  <a:lnTo>
                    <a:pt x="80" y="1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3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Freeform 63">
              <a:extLst>
                <a:ext uri="{FF2B5EF4-FFF2-40B4-BE49-F238E27FC236}">
                  <a16:creationId xmlns:a16="http://schemas.microsoft.com/office/drawing/2014/main" id="{1414E6A3-7514-7172-83FE-38A3ABDE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" y="3418"/>
              <a:ext cx="457" cy="425"/>
            </a:xfrm>
            <a:custGeom>
              <a:avLst/>
              <a:gdLst>
                <a:gd name="T0" fmla="*/ 224 w 457"/>
                <a:gd name="T1" fmla="*/ 24 h 425"/>
                <a:gd name="T2" fmla="*/ 248 w 457"/>
                <a:gd name="T3" fmla="*/ 33 h 425"/>
                <a:gd name="T4" fmla="*/ 266 w 457"/>
                <a:gd name="T5" fmla="*/ 47 h 425"/>
                <a:gd name="T6" fmla="*/ 290 w 457"/>
                <a:gd name="T7" fmla="*/ 57 h 425"/>
                <a:gd name="T8" fmla="*/ 309 w 457"/>
                <a:gd name="T9" fmla="*/ 79 h 425"/>
                <a:gd name="T10" fmla="*/ 330 w 457"/>
                <a:gd name="T11" fmla="*/ 58 h 425"/>
                <a:gd name="T12" fmla="*/ 352 w 457"/>
                <a:gd name="T13" fmla="*/ 69 h 425"/>
                <a:gd name="T14" fmla="*/ 382 w 457"/>
                <a:gd name="T15" fmla="*/ 82 h 425"/>
                <a:gd name="T16" fmla="*/ 421 w 457"/>
                <a:gd name="T17" fmla="*/ 109 h 425"/>
                <a:gd name="T18" fmla="*/ 447 w 457"/>
                <a:gd name="T19" fmla="*/ 140 h 425"/>
                <a:gd name="T20" fmla="*/ 456 w 457"/>
                <a:gd name="T21" fmla="*/ 155 h 425"/>
                <a:gd name="T22" fmla="*/ 443 w 457"/>
                <a:gd name="T23" fmla="*/ 168 h 425"/>
                <a:gd name="T24" fmla="*/ 444 w 457"/>
                <a:gd name="T25" fmla="*/ 186 h 425"/>
                <a:gd name="T26" fmla="*/ 430 w 457"/>
                <a:gd name="T27" fmla="*/ 181 h 425"/>
                <a:gd name="T28" fmla="*/ 432 w 457"/>
                <a:gd name="T29" fmla="*/ 192 h 425"/>
                <a:gd name="T30" fmla="*/ 411 w 457"/>
                <a:gd name="T31" fmla="*/ 204 h 425"/>
                <a:gd name="T32" fmla="*/ 403 w 457"/>
                <a:gd name="T33" fmla="*/ 234 h 425"/>
                <a:gd name="T34" fmla="*/ 415 w 457"/>
                <a:gd name="T35" fmla="*/ 248 h 425"/>
                <a:gd name="T36" fmla="*/ 414 w 457"/>
                <a:gd name="T37" fmla="*/ 266 h 425"/>
                <a:gd name="T38" fmla="*/ 409 w 457"/>
                <a:gd name="T39" fmla="*/ 285 h 425"/>
                <a:gd name="T40" fmla="*/ 415 w 457"/>
                <a:gd name="T41" fmla="*/ 304 h 425"/>
                <a:gd name="T42" fmla="*/ 405 w 457"/>
                <a:gd name="T43" fmla="*/ 320 h 425"/>
                <a:gd name="T44" fmla="*/ 400 w 457"/>
                <a:gd name="T45" fmla="*/ 334 h 425"/>
                <a:gd name="T46" fmla="*/ 405 w 457"/>
                <a:gd name="T47" fmla="*/ 353 h 425"/>
                <a:gd name="T48" fmla="*/ 381 w 457"/>
                <a:gd name="T49" fmla="*/ 365 h 425"/>
                <a:gd name="T50" fmla="*/ 362 w 457"/>
                <a:gd name="T51" fmla="*/ 380 h 425"/>
                <a:gd name="T52" fmla="*/ 334 w 457"/>
                <a:gd name="T53" fmla="*/ 383 h 425"/>
                <a:gd name="T54" fmla="*/ 316 w 457"/>
                <a:gd name="T55" fmla="*/ 377 h 425"/>
                <a:gd name="T56" fmla="*/ 300 w 457"/>
                <a:gd name="T57" fmla="*/ 386 h 425"/>
                <a:gd name="T58" fmla="*/ 275 w 457"/>
                <a:gd name="T59" fmla="*/ 400 h 425"/>
                <a:gd name="T60" fmla="*/ 253 w 457"/>
                <a:gd name="T61" fmla="*/ 419 h 425"/>
                <a:gd name="T62" fmla="*/ 229 w 457"/>
                <a:gd name="T63" fmla="*/ 424 h 425"/>
                <a:gd name="T64" fmla="*/ 211 w 457"/>
                <a:gd name="T65" fmla="*/ 422 h 425"/>
                <a:gd name="T66" fmla="*/ 193 w 457"/>
                <a:gd name="T67" fmla="*/ 408 h 425"/>
                <a:gd name="T68" fmla="*/ 183 w 457"/>
                <a:gd name="T69" fmla="*/ 397 h 425"/>
                <a:gd name="T70" fmla="*/ 199 w 457"/>
                <a:gd name="T71" fmla="*/ 369 h 425"/>
                <a:gd name="T72" fmla="*/ 211 w 457"/>
                <a:gd name="T73" fmla="*/ 355 h 425"/>
                <a:gd name="T74" fmla="*/ 200 w 457"/>
                <a:gd name="T75" fmla="*/ 339 h 425"/>
                <a:gd name="T76" fmla="*/ 173 w 457"/>
                <a:gd name="T77" fmla="*/ 342 h 425"/>
                <a:gd name="T78" fmla="*/ 142 w 457"/>
                <a:gd name="T79" fmla="*/ 330 h 425"/>
                <a:gd name="T80" fmla="*/ 134 w 457"/>
                <a:gd name="T81" fmla="*/ 301 h 425"/>
                <a:gd name="T82" fmla="*/ 107 w 457"/>
                <a:gd name="T83" fmla="*/ 299 h 425"/>
                <a:gd name="T84" fmla="*/ 77 w 457"/>
                <a:gd name="T85" fmla="*/ 296 h 425"/>
                <a:gd name="T86" fmla="*/ 58 w 457"/>
                <a:gd name="T87" fmla="*/ 284 h 425"/>
                <a:gd name="T88" fmla="*/ 52 w 457"/>
                <a:gd name="T89" fmla="*/ 272 h 425"/>
                <a:gd name="T90" fmla="*/ 26 w 457"/>
                <a:gd name="T91" fmla="*/ 269 h 425"/>
                <a:gd name="T92" fmla="*/ 5 w 457"/>
                <a:gd name="T93" fmla="*/ 242 h 425"/>
                <a:gd name="T94" fmla="*/ 0 w 457"/>
                <a:gd name="T95" fmla="*/ 222 h 425"/>
                <a:gd name="T96" fmla="*/ 8 w 457"/>
                <a:gd name="T97" fmla="*/ 188 h 425"/>
                <a:gd name="T98" fmla="*/ 5 w 457"/>
                <a:gd name="T99" fmla="*/ 160 h 425"/>
                <a:gd name="T100" fmla="*/ 11 w 457"/>
                <a:gd name="T101" fmla="*/ 145 h 425"/>
                <a:gd name="T102" fmla="*/ 26 w 457"/>
                <a:gd name="T103" fmla="*/ 129 h 425"/>
                <a:gd name="T104" fmla="*/ 39 w 457"/>
                <a:gd name="T105" fmla="*/ 122 h 425"/>
                <a:gd name="T106" fmla="*/ 74 w 457"/>
                <a:gd name="T107" fmla="*/ 121 h 425"/>
                <a:gd name="T108" fmla="*/ 88 w 457"/>
                <a:gd name="T109" fmla="*/ 115 h 425"/>
                <a:gd name="T110" fmla="*/ 105 w 457"/>
                <a:gd name="T111" fmla="*/ 105 h 425"/>
                <a:gd name="T112" fmla="*/ 87 w 457"/>
                <a:gd name="T113" fmla="*/ 86 h 425"/>
                <a:gd name="T114" fmla="*/ 99 w 457"/>
                <a:gd name="T115" fmla="*/ 53 h 425"/>
                <a:gd name="T116" fmla="*/ 113 w 457"/>
                <a:gd name="T117" fmla="*/ 49 h 425"/>
                <a:gd name="T118" fmla="*/ 146 w 457"/>
                <a:gd name="T119" fmla="*/ 32 h 425"/>
                <a:gd name="T120" fmla="*/ 160 w 457"/>
                <a:gd name="T121" fmla="*/ 25 h 425"/>
                <a:gd name="T122" fmla="*/ 169 w 457"/>
                <a:gd name="T123" fmla="*/ 9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7" h="425">
                  <a:moveTo>
                    <a:pt x="185" y="4"/>
                  </a:moveTo>
                  <a:lnTo>
                    <a:pt x="190" y="8"/>
                  </a:lnTo>
                  <a:lnTo>
                    <a:pt x="192" y="9"/>
                  </a:lnTo>
                  <a:lnTo>
                    <a:pt x="195" y="11"/>
                  </a:lnTo>
                  <a:lnTo>
                    <a:pt x="202" y="16"/>
                  </a:lnTo>
                  <a:lnTo>
                    <a:pt x="203" y="17"/>
                  </a:lnTo>
                  <a:lnTo>
                    <a:pt x="205" y="19"/>
                  </a:lnTo>
                  <a:lnTo>
                    <a:pt x="206" y="19"/>
                  </a:lnTo>
                  <a:lnTo>
                    <a:pt x="207" y="21"/>
                  </a:lnTo>
                  <a:lnTo>
                    <a:pt x="209" y="22"/>
                  </a:lnTo>
                  <a:lnTo>
                    <a:pt x="209" y="23"/>
                  </a:lnTo>
                  <a:lnTo>
                    <a:pt x="210" y="23"/>
                  </a:lnTo>
                  <a:lnTo>
                    <a:pt x="211" y="23"/>
                  </a:lnTo>
                  <a:lnTo>
                    <a:pt x="211" y="23"/>
                  </a:lnTo>
                  <a:lnTo>
                    <a:pt x="212" y="23"/>
                  </a:lnTo>
                  <a:lnTo>
                    <a:pt x="214" y="23"/>
                  </a:lnTo>
                  <a:lnTo>
                    <a:pt x="215" y="23"/>
                  </a:lnTo>
                  <a:lnTo>
                    <a:pt x="216" y="23"/>
                  </a:lnTo>
                  <a:lnTo>
                    <a:pt x="220" y="23"/>
                  </a:lnTo>
                  <a:lnTo>
                    <a:pt x="221" y="23"/>
                  </a:lnTo>
                  <a:lnTo>
                    <a:pt x="221" y="23"/>
                  </a:lnTo>
                  <a:lnTo>
                    <a:pt x="222" y="23"/>
                  </a:lnTo>
                  <a:lnTo>
                    <a:pt x="224" y="24"/>
                  </a:lnTo>
                  <a:lnTo>
                    <a:pt x="225" y="24"/>
                  </a:lnTo>
                  <a:lnTo>
                    <a:pt x="226" y="24"/>
                  </a:lnTo>
                  <a:lnTo>
                    <a:pt x="227" y="24"/>
                  </a:lnTo>
                  <a:lnTo>
                    <a:pt x="227" y="23"/>
                  </a:lnTo>
                  <a:lnTo>
                    <a:pt x="229" y="23"/>
                  </a:lnTo>
                  <a:lnTo>
                    <a:pt x="230" y="23"/>
                  </a:lnTo>
                  <a:lnTo>
                    <a:pt x="230" y="23"/>
                  </a:lnTo>
                  <a:lnTo>
                    <a:pt x="231" y="23"/>
                  </a:lnTo>
                  <a:lnTo>
                    <a:pt x="232" y="23"/>
                  </a:lnTo>
                  <a:lnTo>
                    <a:pt x="234" y="24"/>
                  </a:lnTo>
                  <a:lnTo>
                    <a:pt x="235" y="24"/>
                  </a:lnTo>
                  <a:lnTo>
                    <a:pt x="236" y="24"/>
                  </a:lnTo>
                  <a:lnTo>
                    <a:pt x="236" y="25"/>
                  </a:lnTo>
                  <a:lnTo>
                    <a:pt x="237" y="26"/>
                  </a:lnTo>
                  <a:lnTo>
                    <a:pt x="238" y="26"/>
                  </a:lnTo>
                  <a:lnTo>
                    <a:pt x="241" y="27"/>
                  </a:lnTo>
                  <a:lnTo>
                    <a:pt x="242" y="28"/>
                  </a:lnTo>
                  <a:lnTo>
                    <a:pt x="243" y="28"/>
                  </a:lnTo>
                  <a:lnTo>
                    <a:pt x="244" y="29"/>
                  </a:lnTo>
                  <a:lnTo>
                    <a:pt x="244" y="29"/>
                  </a:lnTo>
                  <a:lnTo>
                    <a:pt x="247" y="32"/>
                  </a:lnTo>
                  <a:lnTo>
                    <a:pt x="248" y="33"/>
                  </a:lnTo>
                  <a:lnTo>
                    <a:pt x="248" y="33"/>
                  </a:lnTo>
                  <a:lnTo>
                    <a:pt x="249" y="34"/>
                  </a:lnTo>
                  <a:lnTo>
                    <a:pt x="250" y="35"/>
                  </a:lnTo>
                  <a:lnTo>
                    <a:pt x="251" y="35"/>
                  </a:lnTo>
                  <a:lnTo>
                    <a:pt x="252" y="36"/>
                  </a:lnTo>
                  <a:lnTo>
                    <a:pt x="254" y="36"/>
                  </a:lnTo>
                  <a:lnTo>
                    <a:pt x="254" y="36"/>
                  </a:lnTo>
                  <a:lnTo>
                    <a:pt x="257" y="37"/>
                  </a:lnTo>
                  <a:lnTo>
                    <a:pt x="258" y="37"/>
                  </a:lnTo>
                  <a:lnTo>
                    <a:pt x="261" y="38"/>
                  </a:lnTo>
                  <a:lnTo>
                    <a:pt x="262" y="38"/>
                  </a:lnTo>
                  <a:lnTo>
                    <a:pt x="262" y="39"/>
                  </a:lnTo>
                  <a:lnTo>
                    <a:pt x="263" y="39"/>
                  </a:lnTo>
                  <a:lnTo>
                    <a:pt x="263" y="39"/>
                  </a:lnTo>
                  <a:lnTo>
                    <a:pt x="263" y="40"/>
                  </a:lnTo>
                  <a:lnTo>
                    <a:pt x="264" y="40"/>
                  </a:lnTo>
                  <a:lnTo>
                    <a:pt x="264" y="41"/>
                  </a:lnTo>
                  <a:lnTo>
                    <a:pt x="264" y="41"/>
                  </a:lnTo>
                  <a:lnTo>
                    <a:pt x="264" y="43"/>
                  </a:lnTo>
                  <a:lnTo>
                    <a:pt x="265" y="45"/>
                  </a:lnTo>
                  <a:lnTo>
                    <a:pt x="265" y="45"/>
                  </a:lnTo>
                  <a:lnTo>
                    <a:pt x="265" y="46"/>
                  </a:lnTo>
                  <a:lnTo>
                    <a:pt x="266" y="46"/>
                  </a:lnTo>
                  <a:lnTo>
                    <a:pt x="266" y="47"/>
                  </a:lnTo>
                  <a:lnTo>
                    <a:pt x="267" y="47"/>
                  </a:lnTo>
                  <a:lnTo>
                    <a:pt x="268" y="47"/>
                  </a:lnTo>
                  <a:lnTo>
                    <a:pt x="268" y="47"/>
                  </a:lnTo>
                  <a:lnTo>
                    <a:pt x="270" y="48"/>
                  </a:lnTo>
                  <a:lnTo>
                    <a:pt x="271" y="48"/>
                  </a:lnTo>
                  <a:lnTo>
                    <a:pt x="273" y="48"/>
                  </a:lnTo>
                  <a:lnTo>
                    <a:pt x="274" y="49"/>
                  </a:lnTo>
                  <a:lnTo>
                    <a:pt x="275" y="50"/>
                  </a:lnTo>
                  <a:lnTo>
                    <a:pt x="277" y="50"/>
                  </a:lnTo>
                  <a:lnTo>
                    <a:pt x="278" y="51"/>
                  </a:lnTo>
                  <a:lnTo>
                    <a:pt x="280" y="52"/>
                  </a:lnTo>
                  <a:lnTo>
                    <a:pt x="281" y="53"/>
                  </a:lnTo>
                  <a:lnTo>
                    <a:pt x="282" y="53"/>
                  </a:lnTo>
                  <a:lnTo>
                    <a:pt x="283" y="54"/>
                  </a:lnTo>
                  <a:lnTo>
                    <a:pt x="284" y="54"/>
                  </a:lnTo>
                  <a:lnTo>
                    <a:pt x="286" y="55"/>
                  </a:lnTo>
                  <a:lnTo>
                    <a:pt x="286" y="55"/>
                  </a:lnTo>
                  <a:lnTo>
                    <a:pt x="288" y="56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90" y="58"/>
                  </a:lnTo>
                  <a:lnTo>
                    <a:pt x="290" y="59"/>
                  </a:lnTo>
                  <a:lnTo>
                    <a:pt x="290" y="59"/>
                  </a:lnTo>
                  <a:lnTo>
                    <a:pt x="289" y="62"/>
                  </a:lnTo>
                  <a:lnTo>
                    <a:pt x="289" y="63"/>
                  </a:lnTo>
                  <a:lnTo>
                    <a:pt x="288" y="64"/>
                  </a:lnTo>
                  <a:lnTo>
                    <a:pt x="288" y="65"/>
                  </a:lnTo>
                  <a:lnTo>
                    <a:pt x="289" y="66"/>
                  </a:lnTo>
                  <a:lnTo>
                    <a:pt x="289" y="67"/>
                  </a:lnTo>
                  <a:lnTo>
                    <a:pt x="289" y="68"/>
                  </a:lnTo>
                  <a:lnTo>
                    <a:pt x="290" y="69"/>
                  </a:lnTo>
                  <a:lnTo>
                    <a:pt x="291" y="70"/>
                  </a:lnTo>
                  <a:lnTo>
                    <a:pt x="292" y="71"/>
                  </a:lnTo>
                  <a:lnTo>
                    <a:pt x="293" y="71"/>
                  </a:lnTo>
                  <a:lnTo>
                    <a:pt x="293" y="72"/>
                  </a:lnTo>
                  <a:lnTo>
                    <a:pt x="295" y="73"/>
                  </a:lnTo>
                  <a:lnTo>
                    <a:pt x="301" y="76"/>
                  </a:lnTo>
                  <a:lnTo>
                    <a:pt x="304" y="77"/>
                  </a:lnTo>
                  <a:lnTo>
                    <a:pt x="306" y="78"/>
                  </a:lnTo>
                  <a:lnTo>
                    <a:pt x="307" y="78"/>
                  </a:lnTo>
                  <a:lnTo>
                    <a:pt x="307" y="79"/>
                  </a:lnTo>
                  <a:lnTo>
                    <a:pt x="308" y="79"/>
                  </a:lnTo>
                  <a:lnTo>
                    <a:pt x="309" y="79"/>
                  </a:lnTo>
                  <a:lnTo>
                    <a:pt x="310" y="79"/>
                  </a:lnTo>
                  <a:lnTo>
                    <a:pt x="312" y="79"/>
                  </a:lnTo>
                  <a:lnTo>
                    <a:pt x="313" y="79"/>
                  </a:lnTo>
                  <a:lnTo>
                    <a:pt x="314" y="79"/>
                  </a:lnTo>
                  <a:lnTo>
                    <a:pt x="315" y="79"/>
                  </a:lnTo>
                  <a:lnTo>
                    <a:pt x="316" y="78"/>
                  </a:lnTo>
                  <a:lnTo>
                    <a:pt x="316" y="78"/>
                  </a:lnTo>
                  <a:lnTo>
                    <a:pt x="317" y="78"/>
                  </a:lnTo>
                  <a:lnTo>
                    <a:pt x="317" y="77"/>
                  </a:lnTo>
                  <a:lnTo>
                    <a:pt x="318" y="77"/>
                  </a:lnTo>
                  <a:lnTo>
                    <a:pt x="319" y="74"/>
                  </a:lnTo>
                  <a:lnTo>
                    <a:pt x="321" y="72"/>
                  </a:lnTo>
                  <a:lnTo>
                    <a:pt x="322" y="71"/>
                  </a:lnTo>
                  <a:lnTo>
                    <a:pt x="322" y="71"/>
                  </a:lnTo>
                  <a:lnTo>
                    <a:pt x="322" y="70"/>
                  </a:lnTo>
                  <a:lnTo>
                    <a:pt x="323" y="67"/>
                  </a:lnTo>
                  <a:lnTo>
                    <a:pt x="324" y="65"/>
                  </a:lnTo>
                  <a:lnTo>
                    <a:pt x="325" y="63"/>
                  </a:lnTo>
                  <a:lnTo>
                    <a:pt x="326" y="62"/>
                  </a:lnTo>
                  <a:lnTo>
                    <a:pt x="327" y="61"/>
                  </a:lnTo>
                  <a:lnTo>
                    <a:pt x="328" y="60"/>
                  </a:lnTo>
                  <a:lnTo>
                    <a:pt x="329" y="59"/>
                  </a:lnTo>
                  <a:lnTo>
                    <a:pt x="330" y="58"/>
                  </a:lnTo>
                  <a:lnTo>
                    <a:pt x="331" y="58"/>
                  </a:lnTo>
                  <a:lnTo>
                    <a:pt x="331" y="58"/>
                  </a:lnTo>
                  <a:lnTo>
                    <a:pt x="332" y="58"/>
                  </a:lnTo>
                  <a:lnTo>
                    <a:pt x="332" y="58"/>
                  </a:lnTo>
                  <a:lnTo>
                    <a:pt x="333" y="58"/>
                  </a:lnTo>
                  <a:lnTo>
                    <a:pt x="333" y="59"/>
                  </a:lnTo>
                  <a:lnTo>
                    <a:pt x="334" y="60"/>
                  </a:lnTo>
                  <a:lnTo>
                    <a:pt x="335" y="61"/>
                  </a:lnTo>
                  <a:lnTo>
                    <a:pt x="336" y="62"/>
                  </a:lnTo>
                  <a:lnTo>
                    <a:pt x="337" y="63"/>
                  </a:lnTo>
                  <a:lnTo>
                    <a:pt x="337" y="63"/>
                  </a:lnTo>
                  <a:lnTo>
                    <a:pt x="338" y="64"/>
                  </a:lnTo>
                  <a:lnTo>
                    <a:pt x="339" y="64"/>
                  </a:lnTo>
                  <a:lnTo>
                    <a:pt x="340" y="65"/>
                  </a:lnTo>
                  <a:lnTo>
                    <a:pt x="341" y="65"/>
                  </a:lnTo>
                  <a:lnTo>
                    <a:pt x="342" y="66"/>
                  </a:lnTo>
                  <a:lnTo>
                    <a:pt x="343" y="66"/>
                  </a:lnTo>
                  <a:lnTo>
                    <a:pt x="345" y="67"/>
                  </a:lnTo>
                  <a:lnTo>
                    <a:pt x="348" y="67"/>
                  </a:lnTo>
                  <a:lnTo>
                    <a:pt x="350" y="67"/>
                  </a:lnTo>
                  <a:lnTo>
                    <a:pt x="351" y="68"/>
                  </a:lnTo>
                  <a:lnTo>
                    <a:pt x="352" y="68"/>
                  </a:lnTo>
                  <a:lnTo>
                    <a:pt x="352" y="69"/>
                  </a:lnTo>
                  <a:lnTo>
                    <a:pt x="353" y="69"/>
                  </a:lnTo>
                  <a:lnTo>
                    <a:pt x="354" y="70"/>
                  </a:lnTo>
                  <a:lnTo>
                    <a:pt x="355" y="70"/>
                  </a:lnTo>
                  <a:lnTo>
                    <a:pt x="356" y="72"/>
                  </a:lnTo>
                  <a:lnTo>
                    <a:pt x="357" y="73"/>
                  </a:lnTo>
                  <a:lnTo>
                    <a:pt x="359" y="75"/>
                  </a:lnTo>
                  <a:lnTo>
                    <a:pt x="361" y="77"/>
                  </a:lnTo>
                  <a:lnTo>
                    <a:pt x="362" y="77"/>
                  </a:lnTo>
                  <a:lnTo>
                    <a:pt x="362" y="78"/>
                  </a:lnTo>
                  <a:lnTo>
                    <a:pt x="363" y="78"/>
                  </a:lnTo>
                  <a:lnTo>
                    <a:pt x="363" y="78"/>
                  </a:lnTo>
                  <a:lnTo>
                    <a:pt x="364" y="78"/>
                  </a:lnTo>
                  <a:lnTo>
                    <a:pt x="364" y="79"/>
                  </a:lnTo>
                  <a:lnTo>
                    <a:pt x="365" y="79"/>
                  </a:lnTo>
                  <a:lnTo>
                    <a:pt x="367" y="79"/>
                  </a:lnTo>
                  <a:lnTo>
                    <a:pt x="371" y="79"/>
                  </a:lnTo>
                  <a:lnTo>
                    <a:pt x="372" y="79"/>
                  </a:lnTo>
                  <a:lnTo>
                    <a:pt x="373" y="79"/>
                  </a:lnTo>
                  <a:lnTo>
                    <a:pt x="374" y="80"/>
                  </a:lnTo>
                  <a:lnTo>
                    <a:pt x="375" y="80"/>
                  </a:lnTo>
                  <a:lnTo>
                    <a:pt x="377" y="81"/>
                  </a:lnTo>
                  <a:lnTo>
                    <a:pt x="378" y="81"/>
                  </a:lnTo>
                  <a:lnTo>
                    <a:pt x="382" y="82"/>
                  </a:lnTo>
                  <a:lnTo>
                    <a:pt x="386" y="83"/>
                  </a:lnTo>
                  <a:lnTo>
                    <a:pt x="389" y="84"/>
                  </a:lnTo>
                  <a:lnTo>
                    <a:pt x="390" y="85"/>
                  </a:lnTo>
                  <a:lnTo>
                    <a:pt x="390" y="85"/>
                  </a:lnTo>
                  <a:lnTo>
                    <a:pt x="395" y="87"/>
                  </a:lnTo>
                  <a:lnTo>
                    <a:pt x="399" y="89"/>
                  </a:lnTo>
                  <a:lnTo>
                    <a:pt x="400" y="90"/>
                  </a:lnTo>
                  <a:lnTo>
                    <a:pt x="401" y="91"/>
                  </a:lnTo>
                  <a:lnTo>
                    <a:pt x="403" y="91"/>
                  </a:lnTo>
                  <a:lnTo>
                    <a:pt x="404" y="92"/>
                  </a:lnTo>
                  <a:lnTo>
                    <a:pt x="405" y="93"/>
                  </a:lnTo>
                  <a:lnTo>
                    <a:pt x="407" y="95"/>
                  </a:lnTo>
                  <a:lnTo>
                    <a:pt x="410" y="99"/>
                  </a:lnTo>
                  <a:lnTo>
                    <a:pt x="412" y="100"/>
                  </a:lnTo>
                  <a:lnTo>
                    <a:pt x="413" y="101"/>
                  </a:lnTo>
                  <a:lnTo>
                    <a:pt x="414" y="103"/>
                  </a:lnTo>
                  <a:lnTo>
                    <a:pt x="415" y="104"/>
                  </a:lnTo>
                  <a:lnTo>
                    <a:pt x="416" y="106"/>
                  </a:lnTo>
                  <a:lnTo>
                    <a:pt x="418" y="107"/>
                  </a:lnTo>
                  <a:lnTo>
                    <a:pt x="419" y="108"/>
                  </a:lnTo>
                  <a:lnTo>
                    <a:pt x="419" y="108"/>
                  </a:lnTo>
                  <a:lnTo>
                    <a:pt x="420" y="108"/>
                  </a:lnTo>
                  <a:lnTo>
                    <a:pt x="421" y="109"/>
                  </a:lnTo>
                  <a:lnTo>
                    <a:pt x="423" y="109"/>
                  </a:lnTo>
                  <a:lnTo>
                    <a:pt x="424" y="109"/>
                  </a:lnTo>
                  <a:lnTo>
                    <a:pt x="428" y="111"/>
                  </a:lnTo>
                  <a:lnTo>
                    <a:pt x="432" y="112"/>
                  </a:lnTo>
                  <a:lnTo>
                    <a:pt x="433" y="112"/>
                  </a:lnTo>
                  <a:lnTo>
                    <a:pt x="435" y="113"/>
                  </a:lnTo>
                  <a:lnTo>
                    <a:pt x="436" y="114"/>
                  </a:lnTo>
                  <a:lnTo>
                    <a:pt x="439" y="116"/>
                  </a:lnTo>
                  <a:lnTo>
                    <a:pt x="442" y="118"/>
                  </a:lnTo>
                  <a:lnTo>
                    <a:pt x="443" y="118"/>
                  </a:lnTo>
                  <a:lnTo>
                    <a:pt x="444" y="119"/>
                  </a:lnTo>
                  <a:lnTo>
                    <a:pt x="445" y="120"/>
                  </a:lnTo>
                  <a:lnTo>
                    <a:pt x="446" y="121"/>
                  </a:lnTo>
                  <a:lnTo>
                    <a:pt x="450" y="127"/>
                  </a:lnTo>
                  <a:lnTo>
                    <a:pt x="450" y="127"/>
                  </a:lnTo>
                  <a:lnTo>
                    <a:pt x="450" y="128"/>
                  </a:lnTo>
                  <a:lnTo>
                    <a:pt x="450" y="129"/>
                  </a:lnTo>
                  <a:lnTo>
                    <a:pt x="450" y="131"/>
                  </a:lnTo>
                  <a:lnTo>
                    <a:pt x="449" y="132"/>
                  </a:lnTo>
                  <a:lnTo>
                    <a:pt x="449" y="134"/>
                  </a:lnTo>
                  <a:lnTo>
                    <a:pt x="447" y="138"/>
                  </a:lnTo>
                  <a:lnTo>
                    <a:pt x="447" y="139"/>
                  </a:lnTo>
                  <a:lnTo>
                    <a:pt x="447" y="140"/>
                  </a:lnTo>
                  <a:lnTo>
                    <a:pt x="447" y="140"/>
                  </a:lnTo>
                  <a:lnTo>
                    <a:pt x="447" y="141"/>
                  </a:lnTo>
                  <a:lnTo>
                    <a:pt x="447" y="141"/>
                  </a:lnTo>
                  <a:lnTo>
                    <a:pt x="447" y="142"/>
                  </a:lnTo>
                  <a:lnTo>
                    <a:pt x="448" y="143"/>
                  </a:lnTo>
                  <a:lnTo>
                    <a:pt x="448" y="144"/>
                  </a:lnTo>
                  <a:lnTo>
                    <a:pt x="449" y="144"/>
                  </a:lnTo>
                  <a:lnTo>
                    <a:pt x="450" y="145"/>
                  </a:lnTo>
                  <a:lnTo>
                    <a:pt x="450" y="145"/>
                  </a:lnTo>
                  <a:lnTo>
                    <a:pt x="453" y="147"/>
                  </a:lnTo>
                  <a:lnTo>
                    <a:pt x="454" y="147"/>
                  </a:lnTo>
                  <a:lnTo>
                    <a:pt x="454" y="148"/>
                  </a:lnTo>
                  <a:lnTo>
                    <a:pt x="455" y="149"/>
                  </a:lnTo>
                  <a:lnTo>
                    <a:pt x="455" y="149"/>
                  </a:lnTo>
                  <a:lnTo>
                    <a:pt x="456" y="150"/>
                  </a:lnTo>
                  <a:lnTo>
                    <a:pt x="456" y="150"/>
                  </a:lnTo>
                  <a:lnTo>
                    <a:pt x="456" y="151"/>
                  </a:lnTo>
                  <a:lnTo>
                    <a:pt x="456" y="151"/>
                  </a:lnTo>
                  <a:lnTo>
                    <a:pt x="457" y="152"/>
                  </a:lnTo>
                  <a:lnTo>
                    <a:pt x="457" y="153"/>
                  </a:lnTo>
                  <a:lnTo>
                    <a:pt x="457" y="154"/>
                  </a:lnTo>
                  <a:lnTo>
                    <a:pt x="456" y="154"/>
                  </a:lnTo>
                  <a:lnTo>
                    <a:pt x="456" y="155"/>
                  </a:lnTo>
                  <a:lnTo>
                    <a:pt x="456" y="156"/>
                  </a:lnTo>
                  <a:lnTo>
                    <a:pt x="455" y="157"/>
                  </a:lnTo>
                  <a:lnTo>
                    <a:pt x="455" y="158"/>
                  </a:lnTo>
                  <a:lnTo>
                    <a:pt x="454" y="160"/>
                  </a:lnTo>
                  <a:lnTo>
                    <a:pt x="453" y="161"/>
                  </a:lnTo>
                  <a:lnTo>
                    <a:pt x="452" y="162"/>
                  </a:lnTo>
                  <a:lnTo>
                    <a:pt x="451" y="164"/>
                  </a:lnTo>
                  <a:lnTo>
                    <a:pt x="450" y="164"/>
                  </a:lnTo>
                  <a:lnTo>
                    <a:pt x="449" y="165"/>
                  </a:lnTo>
                  <a:lnTo>
                    <a:pt x="448" y="165"/>
                  </a:lnTo>
                  <a:lnTo>
                    <a:pt x="447" y="166"/>
                  </a:lnTo>
                  <a:lnTo>
                    <a:pt x="446" y="166"/>
                  </a:lnTo>
                  <a:lnTo>
                    <a:pt x="446" y="166"/>
                  </a:lnTo>
                  <a:lnTo>
                    <a:pt x="445" y="166"/>
                  </a:lnTo>
                  <a:lnTo>
                    <a:pt x="443" y="166"/>
                  </a:lnTo>
                  <a:lnTo>
                    <a:pt x="443" y="166"/>
                  </a:lnTo>
                  <a:lnTo>
                    <a:pt x="443" y="166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2" y="167"/>
                  </a:lnTo>
                  <a:lnTo>
                    <a:pt x="442" y="167"/>
                  </a:lnTo>
                  <a:lnTo>
                    <a:pt x="443" y="168"/>
                  </a:lnTo>
                  <a:lnTo>
                    <a:pt x="443" y="169"/>
                  </a:lnTo>
                  <a:lnTo>
                    <a:pt x="443" y="169"/>
                  </a:lnTo>
                  <a:lnTo>
                    <a:pt x="444" y="170"/>
                  </a:lnTo>
                  <a:lnTo>
                    <a:pt x="444" y="171"/>
                  </a:lnTo>
                  <a:lnTo>
                    <a:pt x="446" y="172"/>
                  </a:lnTo>
                  <a:lnTo>
                    <a:pt x="446" y="173"/>
                  </a:lnTo>
                  <a:lnTo>
                    <a:pt x="447" y="174"/>
                  </a:lnTo>
                  <a:lnTo>
                    <a:pt x="448" y="175"/>
                  </a:lnTo>
                  <a:lnTo>
                    <a:pt x="448" y="176"/>
                  </a:lnTo>
                  <a:lnTo>
                    <a:pt x="448" y="177"/>
                  </a:lnTo>
                  <a:lnTo>
                    <a:pt x="448" y="177"/>
                  </a:lnTo>
                  <a:lnTo>
                    <a:pt x="448" y="178"/>
                  </a:lnTo>
                  <a:lnTo>
                    <a:pt x="448" y="178"/>
                  </a:lnTo>
                  <a:lnTo>
                    <a:pt x="448" y="179"/>
                  </a:lnTo>
                  <a:lnTo>
                    <a:pt x="448" y="180"/>
                  </a:lnTo>
                  <a:lnTo>
                    <a:pt x="447" y="181"/>
                  </a:lnTo>
                  <a:lnTo>
                    <a:pt x="447" y="183"/>
                  </a:lnTo>
                  <a:lnTo>
                    <a:pt x="446" y="184"/>
                  </a:lnTo>
                  <a:lnTo>
                    <a:pt x="446" y="185"/>
                  </a:lnTo>
                  <a:lnTo>
                    <a:pt x="446" y="185"/>
                  </a:lnTo>
                  <a:lnTo>
                    <a:pt x="445" y="185"/>
                  </a:lnTo>
                  <a:lnTo>
                    <a:pt x="444" y="186"/>
                  </a:lnTo>
                  <a:lnTo>
                    <a:pt x="444" y="186"/>
                  </a:lnTo>
                  <a:lnTo>
                    <a:pt x="443" y="186"/>
                  </a:lnTo>
                  <a:lnTo>
                    <a:pt x="443" y="186"/>
                  </a:lnTo>
                  <a:lnTo>
                    <a:pt x="442" y="186"/>
                  </a:lnTo>
                  <a:lnTo>
                    <a:pt x="441" y="186"/>
                  </a:lnTo>
                  <a:lnTo>
                    <a:pt x="441" y="186"/>
                  </a:lnTo>
                  <a:lnTo>
                    <a:pt x="440" y="185"/>
                  </a:lnTo>
                  <a:lnTo>
                    <a:pt x="440" y="185"/>
                  </a:lnTo>
                  <a:lnTo>
                    <a:pt x="439" y="184"/>
                  </a:lnTo>
                  <a:lnTo>
                    <a:pt x="439" y="184"/>
                  </a:lnTo>
                  <a:lnTo>
                    <a:pt x="439" y="183"/>
                  </a:lnTo>
                  <a:lnTo>
                    <a:pt x="438" y="182"/>
                  </a:lnTo>
                  <a:lnTo>
                    <a:pt x="438" y="181"/>
                  </a:lnTo>
                  <a:lnTo>
                    <a:pt x="437" y="181"/>
                  </a:lnTo>
                  <a:lnTo>
                    <a:pt x="437" y="180"/>
                  </a:lnTo>
                  <a:lnTo>
                    <a:pt x="436" y="180"/>
                  </a:lnTo>
                  <a:lnTo>
                    <a:pt x="436" y="180"/>
                  </a:lnTo>
                  <a:lnTo>
                    <a:pt x="435" y="180"/>
                  </a:lnTo>
                  <a:lnTo>
                    <a:pt x="434" y="180"/>
                  </a:lnTo>
                  <a:lnTo>
                    <a:pt x="433" y="180"/>
                  </a:lnTo>
                  <a:lnTo>
                    <a:pt x="433" y="180"/>
                  </a:lnTo>
                  <a:lnTo>
                    <a:pt x="432" y="180"/>
                  </a:lnTo>
                  <a:lnTo>
                    <a:pt x="431" y="180"/>
                  </a:lnTo>
                  <a:lnTo>
                    <a:pt x="430" y="181"/>
                  </a:lnTo>
                  <a:lnTo>
                    <a:pt x="429" y="182"/>
                  </a:lnTo>
                  <a:lnTo>
                    <a:pt x="428" y="182"/>
                  </a:lnTo>
                  <a:lnTo>
                    <a:pt x="428" y="183"/>
                  </a:lnTo>
                  <a:lnTo>
                    <a:pt x="426" y="184"/>
                  </a:lnTo>
                  <a:lnTo>
                    <a:pt x="425" y="185"/>
                  </a:lnTo>
                  <a:lnTo>
                    <a:pt x="425" y="186"/>
                  </a:lnTo>
                  <a:lnTo>
                    <a:pt x="424" y="186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25" y="188"/>
                  </a:lnTo>
                  <a:lnTo>
                    <a:pt x="425" y="188"/>
                  </a:lnTo>
                  <a:lnTo>
                    <a:pt x="426" y="188"/>
                  </a:lnTo>
                  <a:lnTo>
                    <a:pt x="428" y="189"/>
                  </a:lnTo>
                  <a:lnTo>
                    <a:pt x="429" y="189"/>
                  </a:lnTo>
                  <a:lnTo>
                    <a:pt x="430" y="189"/>
                  </a:lnTo>
                  <a:lnTo>
                    <a:pt x="430" y="190"/>
                  </a:lnTo>
                  <a:lnTo>
                    <a:pt x="431" y="190"/>
                  </a:lnTo>
                  <a:lnTo>
                    <a:pt x="431" y="190"/>
                  </a:lnTo>
                  <a:lnTo>
                    <a:pt x="432" y="191"/>
                  </a:lnTo>
                  <a:lnTo>
                    <a:pt x="432" y="191"/>
                  </a:lnTo>
                  <a:lnTo>
                    <a:pt x="432" y="192"/>
                  </a:lnTo>
                  <a:lnTo>
                    <a:pt x="432" y="192"/>
                  </a:lnTo>
                  <a:lnTo>
                    <a:pt x="432" y="193"/>
                  </a:lnTo>
                  <a:lnTo>
                    <a:pt x="432" y="193"/>
                  </a:lnTo>
                  <a:lnTo>
                    <a:pt x="432" y="194"/>
                  </a:lnTo>
                  <a:lnTo>
                    <a:pt x="431" y="194"/>
                  </a:lnTo>
                  <a:lnTo>
                    <a:pt x="431" y="195"/>
                  </a:lnTo>
                  <a:lnTo>
                    <a:pt x="430" y="195"/>
                  </a:lnTo>
                  <a:lnTo>
                    <a:pt x="429" y="196"/>
                  </a:lnTo>
                  <a:lnTo>
                    <a:pt x="428" y="196"/>
                  </a:lnTo>
                  <a:lnTo>
                    <a:pt x="427" y="196"/>
                  </a:lnTo>
                  <a:lnTo>
                    <a:pt x="425" y="197"/>
                  </a:lnTo>
                  <a:lnTo>
                    <a:pt x="423" y="197"/>
                  </a:lnTo>
                  <a:lnTo>
                    <a:pt x="420" y="197"/>
                  </a:lnTo>
                  <a:lnTo>
                    <a:pt x="419" y="198"/>
                  </a:lnTo>
                  <a:lnTo>
                    <a:pt x="418" y="198"/>
                  </a:lnTo>
                  <a:lnTo>
                    <a:pt x="417" y="198"/>
                  </a:lnTo>
                  <a:lnTo>
                    <a:pt x="415" y="199"/>
                  </a:lnTo>
                  <a:lnTo>
                    <a:pt x="415" y="199"/>
                  </a:lnTo>
                  <a:lnTo>
                    <a:pt x="414" y="200"/>
                  </a:lnTo>
                  <a:lnTo>
                    <a:pt x="414" y="200"/>
                  </a:lnTo>
                  <a:lnTo>
                    <a:pt x="413" y="201"/>
                  </a:lnTo>
                  <a:lnTo>
                    <a:pt x="413" y="202"/>
                  </a:lnTo>
                  <a:lnTo>
                    <a:pt x="412" y="203"/>
                  </a:lnTo>
                  <a:lnTo>
                    <a:pt x="411" y="204"/>
                  </a:lnTo>
                  <a:lnTo>
                    <a:pt x="410" y="207"/>
                  </a:lnTo>
                  <a:lnTo>
                    <a:pt x="409" y="208"/>
                  </a:lnTo>
                  <a:lnTo>
                    <a:pt x="409" y="208"/>
                  </a:lnTo>
                  <a:lnTo>
                    <a:pt x="407" y="211"/>
                  </a:lnTo>
                  <a:lnTo>
                    <a:pt x="406" y="212"/>
                  </a:lnTo>
                  <a:lnTo>
                    <a:pt x="405" y="213"/>
                  </a:lnTo>
                  <a:lnTo>
                    <a:pt x="404" y="214"/>
                  </a:lnTo>
                  <a:lnTo>
                    <a:pt x="404" y="215"/>
                  </a:lnTo>
                  <a:lnTo>
                    <a:pt x="404" y="216"/>
                  </a:lnTo>
                  <a:lnTo>
                    <a:pt x="404" y="217"/>
                  </a:lnTo>
                  <a:lnTo>
                    <a:pt x="404" y="220"/>
                  </a:lnTo>
                  <a:lnTo>
                    <a:pt x="403" y="222"/>
                  </a:lnTo>
                  <a:lnTo>
                    <a:pt x="403" y="224"/>
                  </a:lnTo>
                  <a:lnTo>
                    <a:pt x="403" y="226"/>
                  </a:lnTo>
                  <a:lnTo>
                    <a:pt x="402" y="229"/>
                  </a:lnTo>
                  <a:lnTo>
                    <a:pt x="402" y="230"/>
                  </a:lnTo>
                  <a:lnTo>
                    <a:pt x="402" y="231"/>
                  </a:lnTo>
                  <a:lnTo>
                    <a:pt x="402" y="232"/>
                  </a:lnTo>
                  <a:lnTo>
                    <a:pt x="402" y="232"/>
                  </a:lnTo>
                  <a:lnTo>
                    <a:pt x="402" y="233"/>
                  </a:lnTo>
                  <a:lnTo>
                    <a:pt x="402" y="233"/>
                  </a:lnTo>
                  <a:lnTo>
                    <a:pt x="403" y="234"/>
                  </a:lnTo>
                  <a:lnTo>
                    <a:pt x="403" y="234"/>
                  </a:lnTo>
                  <a:lnTo>
                    <a:pt x="404" y="235"/>
                  </a:lnTo>
                  <a:lnTo>
                    <a:pt x="407" y="237"/>
                  </a:lnTo>
                  <a:lnTo>
                    <a:pt x="412" y="241"/>
                  </a:lnTo>
                  <a:lnTo>
                    <a:pt x="412" y="241"/>
                  </a:lnTo>
                  <a:lnTo>
                    <a:pt x="413" y="241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2" y="243"/>
                  </a:lnTo>
                  <a:lnTo>
                    <a:pt x="411" y="243"/>
                  </a:lnTo>
                  <a:lnTo>
                    <a:pt x="411" y="244"/>
                  </a:lnTo>
                  <a:lnTo>
                    <a:pt x="411" y="244"/>
                  </a:lnTo>
                  <a:lnTo>
                    <a:pt x="410" y="244"/>
                  </a:lnTo>
                  <a:lnTo>
                    <a:pt x="410" y="245"/>
                  </a:lnTo>
                  <a:lnTo>
                    <a:pt x="410" y="245"/>
                  </a:lnTo>
                  <a:lnTo>
                    <a:pt x="410" y="245"/>
                  </a:lnTo>
                  <a:lnTo>
                    <a:pt x="411" y="246"/>
                  </a:lnTo>
                  <a:lnTo>
                    <a:pt x="411" y="246"/>
                  </a:lnTo>
                  <a:lnTo>
                    <a:pt x="412" y="247"/>
                  </a:lnTo>
                  <a:lnTo>
                    <a:pt x="413" y="247"/>
                  </a:lnTo>
                  <a:lnTo>
                    <a:pt x="413" y="247"/>
                  </a:lnTo>
                  <a:lnTo>
                    <a:pt x="414" y="248"/>
                  </a:lnTo>
                  <a:lnTo>
                    <a:pt x="415" y="248"/>
                  </a:lnTo>
                  <a:lnTo>
                    <a:pt x="418" y="249"/>
                  </a:lnTo>
                  <a:lnTo>
                    <a:pt x="419" y="249"/>
                  </a:lnTo>
                  <a:lnTo>
                    <a:pt x="419" y="249"/>
                  </a:lnTo>
                  <a:lnTo>
                    <a:pt x="419" y="250"/>
                  </a:lnTo>
                  <a:lnTo>
                    <a:pt x="420" y="250"/>
                  </a:lnTo>
                  <a:lnTo>
                    <a:pt x="420" y="250"/>
                  </a:lnTo>
                  <a:lnTo>
                    <a:pt x="420" y="251"/>
                  </a:lnTo>
                  <a:lnTo>
                    <a:pt x="420" y="252"/>
                  </a:lnTo>
                  <a:lnTo>
                    <a:pt x="420" y="252"/>
                  </a:lnTo>
                  <a:lnTo>
                    <a:pt x="420" y="253"/>
                  </a:lnTo>
                  <a:lnTo>
                    <a:pt x="420" y="253"/>
                  </a:lnTo>
                  <a:lnTo>
                    <a:pt x="420" y="254"/>
                  </a:lnTo>
                  <a:lnTo>
                    <a:pt x="419" y="255"/>
                  </a:lnTo>
                  <a:lnTo>
                    <a:pt x="419" y="256"/>
                  </a:lnTo>
                  <a:lnTo>
                    <a:pt x="418" y="258"/>
                  </a:lnTo>
                  <a:lnTo>
                    <a:pt x="415" y="261"/>
                  </a:lnTo>
                  <a:lnTo>
                    <a:pt x="415" y="262"/>
                  </a:lnTo>
                  <a:lnTo>
                    <a:pt x="414" y="262"/>
                  </a:lnTo>
                  <a:lnTo>
                    <a:pt x="414" y="263"/>
                  </a:lnTo>
                  <a:lnTo>
                    <a:pt x="414" y="264"/>
                  </a:lnTo>
                  <a:lnTo>
                    <a:pt x="414" y="265"/>
                  </a:lnTo>
                  <a:lnTo>
                    <a:pt x="414" y="266"/>
                  </a:lnTo>
                  <a:lnTo>
                    <a:pt x="414" y="266"/>
                  </a:lnTo>
                  <a:lnTo>
                    <a:pt x="414" y="267"/>
                  </a:lnTo>
                  <a:lnTo>
                    <a:pt x="414" y="268"/>
                  </a:lnTo>
                  <a:lnTo>
                    <a:pt x="415" y="269"/>
                  </a:lnTo>
                  <a:lnTo>
                    <a:pt x="415" y="269"/>
                  </a:lnTo>
                  <a:lnTo>
                    <a:pt x="417" y="271"/>
                  </a:lnTo>
                  <a:lnTo>
                    <a:pt x="418" y="272"/>
                  </a:lnTo>
                  <a:lnTo>
                    <a:pt x="418" y="273"/>
                  </a:lnTo>
                  <a:lnTo>
                    <a:pt x="418" y="274"/>
                  </a:lnTo>
                  <a:lnTo>
                    <a:pt x="419" y="274"/>
                  </a:lnTo>
                  <a:lnTo>
                    <a:pt x="419" y="275"/>
                  </a:lnTo>
                  <a:lnTo>
                    <a:pt x="419" y="275"/>
                  </a:lnTo>
                  <a:lnTo>
                    <a:pt x="419" y="276"/>
                  </a:lnTo>
                  <a:lnTo>
                    <a:pt x="418" y="276"/>
                  </a:lnTo>
                  <a:lnTo>
                    <a:pt x="418" y="277"/>
                  </a:lnTo>
                  <a:lnTo>
                    <a:pt x="418" y="277"/>
                  </a:lnTo>
                  <a:lnTo>
                    <a:pt x="417" y="278"/>
                  </a:lnTo>
                  <a:lnTo>
                    <a:pt x="416" y="278"/>
                  </a:lnTo>
                  <a:lnTo>
                    <a:pt x="414" y="280"/>
                  </a:lnTo>
                  <a:lnTo>
                    <a:pt x="413" y="281"/>
                  </a:lnTo>
                  <a:lnTo>
                    <a:pt x="412" y="281"/>
                  </a:lnTo>
                  <a:lnTo>
                    <a:pt x="411" y="283"/>
                  </a:lnTo>
                  <a:lnTo>
                    <a:pt x="410" y="284"/>
                  </a:lnTo>
                  <a:lnTo>
                    <a:pt x="409" y="285"/>
                  </a:lnTo>
                  <a:lnTo>
                    <a:pt x="409" y="286"/>
                  </a:lnTo>
                  <a:lnTo>
                    <a:pt x="409" y="287"/>
                  </a:lnTo>
                  <a:lnTo>
                    <a:pt x="408" y="288"/>
                  </a:lnTo>
                  <a:lnTo>
                    <a:pt x="408" y="289"/>
                  </a:lnTo>
                  <a:lnTo>
                    <a:pt x="407" y="290"/>
                  </a:lnTo>
                  <a:lnTo>
                    <a:pt x="407" y="291"/>
                  </a:lnTo>
                  <a:lnTo>
                    <a:pt x="407" y="292"/>
                  </a:lnTo>
                  <a:lnTo>
                    <a:pt x="407" y="293"/>
                  </a:lnTo>
                  <a:lnTo>
                    <a:pt x="407" y="294"/>
                  </a:lnTo>
                  <a:lnTo>
                    <a:pt x="407" y="295"/>
                  </a:lnTo>
                  <a:lnTo>
                    <a:pt x="407" y="295"/>
                  </a:lnTo>
                  <a:lnTo>
                    <a:pt x="407" y="296"/>
                  </a:lnTo>
                  <a:lnTo>
                    <a:pt x="407" y="296"/>
                  </a:lnTo>
                  <a:lnTo>
                    <a:pt x="408" y="297"/>
                  </a:lnTo>
                  <a:lnTo>
                    <a:pt x="408" y="297"/>
                  </a:lnTo>
                  <a:lnTo>
                    <a:pt x="409" y="298"/>
                  </a:lnTo>
                  <a:lnTo>
                    <a:pt x="410" y="299"/>
                  </a:lnTo>
                  <a:lnTo>
                    <a:pt x="412" y="301"/>
                  </a:lnTo>
                  <a:lnTo>
                    <a:pt x="414" y="301"/>
                  </a:lnTo>
                  <a:lnTo>
                    <a:pt x="414" y="302"/>
                  </a:lnTo>
                  <a:lnTo>
                    <a:pt x="414" y="303"/>
                  </a:lnTo>
                  <a:lnTo>
                    <a:pt x="415" y="303"/>
                  </a:lnTo>
                  <a:lnTo>
                    <a:pt x="415" y="304"/>
                  </a:lnTo>
                  <a:lnTo>
                    <a:pt x="415" y="304"/>
                  </a:lnTo>
                  <a:lnTo>
                    <a:pt x="416" y="305"/>
                  </a:lnTo>
                  <a:lnTo>
                    <a:pt x="416" y="305"/>
                  </a:lnTo>
                  <a:lnTo>
                    <a:pt x="416" y="306"/>
                  </a:lnTo>
                  <a:lnTo>
                    <a:pt x="416" y="308"/>
                  </a:lnTo>
                  <a:lnTo>
                    <a:pt x="416" y="309"/>
                  </a:lnTo>
                  <a:lnTo>
                    <a:pt x="416" y="310"/>
                  </a:lnTo>
                  <a:lnTo>
                    <a:pt x="416" y="311"/>
                  </a:lnTo>
                  <a:lnTo>
                    <a:pt x="416" y="311"/>
                  </a:lnTo>
                  <a:lnTo>
                    <a:pt x="415" y="312"/>
                  </a:lnTo>
                  <a:lnTo>
                    <a:pt x="414" y="313"/>
                  </a:lnTo>
                  <a:lnTo>
                    <a:pt x="413" y="314"/>
                  </a:lnTo>
                  <a:lnTo>
                    <a:pt x="412" y="314"/>
                  </a:lnTo>
                  <a:lnTo>
                    <a:pt x="411" y="315"/>
                  </a:lnTo>
                  <a:lnTo>
                    <a:pt x="409" y="316"/>
                  </a:lnTo>
                  <a:lnTo>
                    <a:pt x="408" y="316"/>
                  </a:lnTo>
                  <a:lnTo>
                    <a:pt x="408" y="317"/>
                  </a:lnTo>
                  <a:lnTo>
                    <a:pt x="407" y="317"/>
                  </a:lnTo>
                  <a:lnTo>
                    <a:pt x="407" y="318"/>
                  </a:lnTo>
                  <a:lnTo>
                    <a:pt x="406" y="318"/>
                  </a:lnTo>
                  <a:lnTo>
                    <a:pt x="406" y="319"/>
                  </a:lnTo>
                  <a:lnTo>
                    <a:pt x="406" y="320"/>
                  </a:lnTo>
                  <a:lnTo>
                    <a:pt x="405" y="320"/>
                  </a:lnTo>
                  <a:lnTo>
                    <a:pt x="405" y="321"/>
                  </a:lnTo>
                  <a:lnTo>
                    <a:pt x="405" y="322"/>
                  </a:lnTo>
                  <a:lnTo>
                    <a:pt x="405" y="322"/>
                  </a:lnTo>
                  <a:lnTo>
                    <a:pt x="406" y="325"/>
                  </a:lnTo>
                  <a:lnTo>
                    <a:pt x="406" y="326"/>
                  </a:lnTo>
                  <a:lnTo>
                    <a:pt x="407" y="327"/>
                  </a:lnTo>
                  <a:lnTo>
                    <a:pt x="407" y="327"/>
                  </a:lnTo>
                  <a:lnTo>
                    <a:pt x="407" y="328"/>
                  </a:lnTo>
                  <a:lnTo>
                    <a:pt x="406" y="329"/>
                  </a:lnTo>
                  <a:lnTo>
                    <a:pt x="406" y="329"/>
                  </a:lnTo>
                  <a:lnTo>
                    <a:pt x="406" y="330"/>
                  </a:lnTo>
                  <a:lnTo>
                    <a:pt x="405" y="330"/>
                  </a:lnTo>
                  <a:lnTo>
                    <a:pt x="405" y="331"/>
                  </a:lnTo>
                  <a:lnTo>
                    <a:pt x="404" y="331"/>
                  </a:lnTo>
                  <a:lnTo>
                    <a:pt x="404" y="332"/>
                  </a:lnTo>
                  <a:lnTo>
                    <a:pt x="403" y="332"/>
                  </a:lnTo>
                  <a:lnTo>
                    <a:pt x="402" y="333"/>
                  </a:lnTo>
                  <a:lnTo>
                    <a:pt x="401" y="333"/>
                  </a:lnTo>
                  <a:lnTo>
                    <a:pt x="400" y="333"/>
                  </a:lnTo>
                  <a:lnTo>
                    <a:pt x="400" y="333"/>
                  </a:lnTo>
                  <a:lnTo>
                    <a:pt x="400" y="334"/>
                  </a:lnTo>
                  <a:lnTo>
                    <a:pt x="400" y="334"/>
                  </a:lnTo>
                  <a:lnTo>
                    <a:pt x="400" y="334"/>
                  </a:lnTo>
                  <a:lnTo>
                    <a:pt x="399" y="334"/>
                  </a:lnTo>
                  <a:lnTo>
                    <a:pt x="400" y="335"/>
                  </a:lnTo>
                  <a:lnTo>
                    <a:pt x="400" y="336"/>
                  </a:lnTo>
                  <a:lnTo>
                    <a:pt x="400" y="336"/>
                  </a:lnTo>
                  <a:lnTo>
                    <a:pt x="401" y="337"/>
                  </a:lnTo>
                  <a:lnTo>
                    <a:pt x="402" y="339"/>
                  </a:lnTo>
                  <a:lnTo>
                    <a:pt x="404" y="339"/>
                  </a:lnTo>
                  <a:lnTo>
                    <a:pt x="406" y="342"/>
                  </a:lnTo>
                  <a:lnTo>
                    <a:pt x="407" y="343"/>
                  </a:lnTo>
                  <a:lnTo>
                    <a:pt x="408" y="344"/>
                  </a:lnTo>
                  <a:lnTo>
                    <a:pt x="409" y="344"/>
                  </a:lnTo>
                  <a:lnTo>
                    <a:pt x="409" y="345"/>
                  </a:lnTo>
                  <a:lnTo>
                    <a:pt x="409" y="346"/>
                  </a:lnTo>
                  <a:lnTo>
                    <a:pt x="409" y="346"/>
                  </a:lnTo>
                  <a:lnTo>
                    <a:pt x="409" y="347"/>
                  </a:lnTo>
                  <a:lnTo>
                    <a:pt x="409" y="348"/>
                  </a:lnTo>
                  <a:lnTo>
                    <a:pt x="409" y="348"/>
                  </a:lnTo>
                  <a:lnTo>
                    <a:pt x="409" y="349"/>
                  </a:lnTo>
                  <a:lnTo>
                    <a:pt x="408" y="349"/>
                  </a:lnTo>
                  <a:lnTo>
                    <a:pt x="408" y="350"/>
                  </a:lnTo>
                  <a:lnTo>
                    <a:pt x="407" y="350"/>
                  </a:lnTo>
                  <a:lnTo>
                    <a:pt x="405" y="352"/>
                  </a:lnTo>
                  <a:lnTo>
                    <a:pt x="405" y="353"/>
                  </a:lnTo>
                  <a:lnTo>
                    <a:pt x="404" y="353"/>
                  </a:lnTo>
                  <a:lnTo>
                    <a:pt x="404" y="354"/>
                  </a:lnTo>
                  <a:lnTo>
                    <a:pt x="404" y="354"/>
                  </a:lnTo>
                  <a:lnTo>
                    <a:pt x="403" y="356"/>
                  </a:lnTo>
                  <a:lnTo>
                    <a:pt x="403" y="357"/>
                  </a:lnTo>
                  <a:lnTo>
                    <a:pt x="402" y="358"/>
                  </a:lnTo>
                  <a:lnTo>
                    <a:pt x="401" y="359"/>
                  </a:lnTo>
                  <a:lnTo>
                    <a:pt x="401" y="359"/>
                  </a:lnTo>
                  <a:lnTo>
                    <a:pt x="400" y="360"/>
                  </a:lnTo>
                  <a:lnTo>
                    <a:pt x="400" y="360"/>
                  </a:lnTo>
                  <a:lnTo>
                    <a:pt x="399" y="361"/>
                  </a:lnTo>
                  <a:lnTo>
                    <a:pt x="399" y="361"/>
                  </a:lnTo>
                  <a:lnTo>
                    <a:pt x="398" y="362"/>
                  </a:lnTo>
                  <a:lnTo>
                    <a:pt x="397" y="362"/>
                  </a:lnTo>
                  <a:lnTo>
                    <a:pt x="397" y="362"/>
                  </a:lnTo>
                  <a:lnTo>
                    <a:pt x="395" y="363"/>
                  </a:lnTo>
                  <a:lnTo>
                    <a:pt x="393" y="363"/>
                  </a:lnTo>
                  <a:lnTo>
                    <a:pt x="390" y="363"/>
                  </a:lnTo>
                  <a:lnTo>
                    <a:pt x="386" y="364"/>
                  </a:lnTo>
                  <a:lnTo>
                    <a:pt x="385" y="364"/>
                  </a:lnTo>
                  <a:lnTo>
                    <a:pt x="383" y="364"/>
                  </a:lnTo>
                  <a:lnTo>
                    <a:pt x="382" y="365"/>
                  </a:lnTo>
                  <a:lnTo>
                    <a:pt x="381" y="365"/>
                  </a:lnTo>
                  <a:lnTo>
                    <a:pt x="380" y="366"/>
                  </a:lnTo>
                  <a:lnTo>
                    <a:pt x="379" y="366"/>
                  </a:lnTo>
                  <a:lnTo>
                    <a:pt x="378" y="367"/>
                  </a:lnTo>
                  <a:lnTo>
                    <a:pt x="378" y="368"/>
                  </a:lnTo>
                  <a:lnTo>
                    <a:pt x="377" y="368"/>
                  </a:lnTo>
                  <a:lnTo>
                    <a:pt x="377" y="369"/>
                  </a:lnTo>
                  <a:lnTo>
                    <a:pt x="377" y="370"/>
                  </a:lnTo>
                  <a:lnTo>
                    <a:pt x="377" y="371"/>
                  </a:lnTo>
                  <a:lnTo>
                    <a:pt x="377" y="373"/>
                  </a:lnTo>
                  <a:lnTo>
                    <a:pt x="377" y="373"/>
                  </a:lnTo>
                  <a:lnTo>
                    <a:pt x="377" y="374"/>
                  </a:lnTo>
                  <a:lnTo>
                    <a:pt x="377" y="374"/>
                  </a:lnTo>
                  <a:lnTo>
                    <a:pt x="376" y="375"/>
                  </a:lnTo>
                  <a:lnTo>
                    <a:pt x="376" y="375"/>
                  </a:lnTo>
                  <a:lnTo>
                    <a:pt x="376" y="376"/>
                  </a:lnTo>
                  <a:lnTo>
                    <a:pt x="375" y="376"/>
                  </a:lnTo>
                  <a:lnTo>
                    <a:pt x="372" y="378"/>
                  </a:lnTo>
                  <a:lnTo>
                    <a:pt x="372" y="378"/>
                  </a:lnTo>
                  <a:lnTo>
                    <a:pt x="371" y="378"/>
                  </a:lnTo>
                  <a:lnTo>
                    <a:pt x="370" y="379"/>
                  </a:lnTo>
                  <a:lnTo>
                    <a:pt x="368" y="379"/>
                  </a:lnTo>
                  <a:lnTo>
                    <a:pt x="364" y="380"/>
                  </a:lnTo>
                  <a:lnTo>
                    <a:pt x="362" y="380"/>
                  </a:lnTo>
                  <a:lnTo>
                    <a:pt x="361" y="380"/>
                  </a:lnTo>
                  <a:lnTo>
                    <a:pt x="360" y="380"/>
                  </a:lnTo>
                  <a:lnTo>
                    <a:pt x="358" y="380"/>
                  </a:lnTo>
                  <a:lnTo>
                    <a:pt x="356" y="380"/>
                  </a:lnTo>
                  <a:lnTo>
                    <a:pt x="355" y="379"/>
                  </a:lnTo>
                  <a:lnTo>
                    <a:pt x="352" y="379"/>
                  </a:lnTo>
                  <a:lnTo>
                    <a:pt x="351" y="379"/>
                  </a:lnTo>
                  <a:lnTo>
                    <a:pt x="349" y="378"/>
                  </a:lnTo>
                  <a:lnTo>
                    <a:pt x="348" y="378"/>
                  </a:lnTo>
                  <a:lnTo>
                    <a:pt x="347" y="378"/>
                  </a:lnTo>
                  <a:lnTo>
                    <a:pt x="346" y="378"/>
                  </a:lnTo>
                  <a:lnTo>
                    <a:pt x="346" y="379"/>
                  </a:lnTo>
                  <a:lnTo>
                    <a:pt x="345" y="379"/>
                  </a:lnTo>
                  <a:lnTo>
                    <a:pt x="344" y="380"/>
                  </a:lnTo>
                  <a:lnTo>
                    <a:pt x="343" y="381"/>
                  </a:lnTo>
                  <a:lnTo>
                    <a:pt x="341" y="382"/>
                  </a:lnTo>
                  <a:lnTo>
                    <a:pt x="340" y="382"/>
                  </a:lnTo>
                  <a:lnTo>
                    <a:pt x="339" y="383"/>
                  </a:lnTo>
                  <a:lnTo>
                    <a:pt x="338" y="383"/>
                  </a:lnTo>
                  <a:lnTo>
                    <a:pt x="336" y="383"/>
                  </a:lnTo>
                  <a:lnTo>
                    <a:pt x="335" y="383"/>
                  </a:lnTo>
                  <a:lnTo>
                    <a:pt x="335" y="383"/>
                  </a:lnTo>
                  <a:lnTo>
                    <a:pt x="334" y="383"/>
                  </a:lnTo>
                  <a:lnTo>
                    <a:pt x="333" y="382"/>
                  </a:lnTo>
                  <a:lnTo>
                    <a:pt x="332" y="382"/>
                  </a:lnTo>
                  <a:lnTo>
                    <a:pt x="331" y="381"/>
                  </a:lnTo>
                  <a:lnTo>
                    <a:pt x="329" y="379"/>
                  </a:lnTo>
                  <a:lnTo>
                    <a:pt x="328" y="379"/>
                  </a:lnTo>
                  <a:lnTo>
                    <a:pt x="327" y="378"/>
                  </a:lnTo>
                  <a:lnTo>
                    <a:pt x="327" y="378"/>
                  </a:lnTo>
                  <a:lnTo>
                    <a:pt x="326" y="376"/>
                  </a:lnTo>
                  <a:lnTo>
                    <a:pt x="325" y="375"/>
                  </a:lnTo>
                  <a:lnTo>
                    <a:pt x="325" y="375"/>
                  </a:lnTo>
                  <a:lnTo>
                    <a:pt x="324" y="374"/>
                  </a:lnTo>
                  <a:lnTo>
                    <a:pt x="324" y="374"/>
                  </a:lnTo>
                  <a:lnTo>
                    <a:pt x="323" y="374"/>
                  </a:lnTo>
                  <a:lnTo>
                    <a:pt x="323" y="374"/>
                  </a:lnTo>
                  <a:lnTo>
                    <a:pt x="322" y="374"/>
                  </a:lnTo>
                  <a:lnTo>
                    <a:pt x="322" y="374"/>
                  </a:lnTo>
                  <a:lnTo>
                    <a:pt x="320" y="374"/>
                  </a:lnTo>
                  <a:lnTo>
                    <a:pt x="320" y="375"/>
                  </a:lnTo>
                  <a:lnTo>
                    <a:pt x="318" y="375"/>
                  </a:lnTo>
                  <a:lnTo>
                    <a:pt x="317" y="376"/>
                  </a:lnTo>
                  <a:lnTo>
                    <a:pt x="317" y="376"/>
                  </a:lnTo>
                  <a:lnTo>
                    <a:pt x="316" y="376"/>
                  </a:lnTo>
                  <a:lnTo>
                    <a:pt x="316" y="377"/>
                  </a:lnTo>
                  <a:lnTo>
                    <a:pt x="314" y="379"/>
                  </a:lnTo>
                  <a:lnTo>
                    <a:pt x="313" y="380"/>
                  </a:lnTo>
                  <a:lnTo>
                    <a:pt x="312" y="380"/>
                  </a:lnTo>
                  <a:lnTo>
                    <a:pt x="312" y="381"/>
                  </a:lnTo>
                  <a:lnTo>
                    <a:pt x="311" y="381"/>
                  </a:lnTo>
                  <a:lnTo>
                    <a:pt x="310" y="382"/>
                  </a:lnTo>
                  <a:lnTo>
                    <a:pt x="310" y="382"/>
                  </a:lnTo>
                  <a:lnTo>
                    <a:pt x="309" y="382"/>
                  </a:lnTo>
                  <a:lnTo>
                    <a:pt x="309" y="382"/>
                  </a:lnTo>
                  <a:lnTo>
                    <a:pt x="308" y="382"/>
                  </a:lnTo>
                  <a:lnTo>
                    <a:pt x="307" y="382"/>
                  </a:lnTo>
                  <a:lnTo>
                    <a:pt x="305" y="382"/>
                  </a:lnTo>
                  <a:lnTo>
                    <a:pt x="304" y="382"/>
                  </a:lnTo>
                  <a:lnTo>
                    <a:pt x="304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2" y="383"/>
                  </a:lnTo>
                  <a:lnTo>
                    <a:pt x="302" y="383"/>
                  </a:lnTo>
                  <a:lnTo>
                    <a:pt x="301" y="383"/>
                  </a:lnTo>
                  <a:lnTo>
                    <a:pt x="301" y="384"/>
                  </a:lnTo>
                  <a:lnTo>
                    <a:pt x="300" y="385"/>
                  </a:lnTo>
                  <a:lnTo>
                    <a:pt x="300" y="386"/>
                  </a:lnTo>
                  <a:lnTo>
                    <a:pt x="299" y="389"/>
                  </a:lnTo>
                  <a:lnTo>
                    <a:pt x="298" y="390"/>
                  </a:lnTo>
                  <a:lnTo>
                    <a:pt x="298" y="390"/>
                  </a:lnTo>
                  <a:lnTo>
                    <a:pt x="298" y="391"/>
                  </a:lnTo>
                  <a:lnTo>
                    <a:pt x="297" y="392"/>
                  </a:lnTo>
                  <a:lnTo>
                    <a:pt x="297" y="392"/>
                  </a:lnTo>
                  <a:lnTo>
                    <a:pt x="296" y="392"/>
                  </a:lnTo>
                  <a:lnTo>
                    <a:pt x="295" y="393"/>
                  </a:lnTo>
                  <a:lnTo>
                    <a:pt x="295" y="393"/>
                  </a:lnTo>
                  <a:lnTo>
                    <a:pt x="293" y="393"/>
                  </a:lnTo>
                  <a:lnTo>
                    <a:pt x="291" y="393"/>
                  </a:lnTo>
                  <a:lnTo>
                    <a:pt x="290" y="393"/>
                  </a:lnTo>
                  <a:lnTo>
                    <a:pt x="288" y="393"/>
                  </a:lnTo>
                  <a:lnTo>
                    <a:pt x="286" y="393"/>
                  </a:lnTo>
                  <a:lnTo>
                    <a:pt x="285" y="394"/>
                  </a:lnTo>
                  <a:lnTo>
                    <a:pt x="282" y="395"/>
                  </a:lnTo>
                  <a:lnTo>
                    <a:pt x="281" y="395"/>
                  </a:lnTo>
                  <a:lnTo>
                    <a:pt x="279" y="396"/>
                  </a:lnTo>
                  <a:lnTo>
                    <a:pt x="278" y="397"/>
                  </a:lnTo>
                  <a:lnTo>
                    <a:pt x="277" y="397"/>
                  </a:lnTo>
                  <a:lnTo>
                    <a:pt x="277" y="398"/>
                  </a:lnTo>
                  <a:lnTo>
                    <a:pt x="276" y="399"/>
                  </a:lnTo>
                  <a:lnTo>
                    <a:pt x="275" y="400"/>
                  </a:lnTo>
                  <a:lnTo>
                    <a:pt x="274" y="402"/>
                  </a:lnTo>
                  <a:lnTo>
                    <a:pt x="272" y="403"/>
                  </a:lnTo>
                  <a:lnTo>
                    <a:pt x="271" y="404"/>
                  </a:lnTo>
                  <a:lnTo>
                    <a:pt x="270" y="405"/>
                  </a:lnTo>
                  <a:lnTo>
                    <a:pt x="269" y="406"/>
                  </a:lnTo>
                  <a:lnTo>
                    <a:pt x="268" y="407"/>
                  </a:lnTo>
                  <a:lnTo>
                    <a:pt x="266" y="408"/>
                  </a:lnTo>
                  <a:lnTo>
                    <a:pt x="265" y="409"/>
                  </a:lnTo>
                  <a:lnTo>
                    <a:pt x="264" y="409"/>
                  </a:lnTo>
                  <a:lnTo>
                    <a:pt x="263" y="410"/>
                  </a:lnTo>
                  <a:lnTo>
                    <a:pt x="263" y="410"/>
                  </a:lnTo>
                  <a:lnTo>
                    <a:pt x="261" y="412"/>
                  </a:lnTo>
                  <a:lnTo>
                    <a:pt x="259" y="414"/>
                  </a:lnTo>
                  <a:lnTo>
                    <a:pt x="259" y="414"/>
                  </a:lnTo>
                  <a:lnTo>
                    <a:pt x="258" y="416"/>
                  </a:lnTo>
                  <a:lnTo>
                    <a:pt x="256" y="418"/>
                  </a:lnTo>
                  <a:lnTo>
                    <a:pt x="256" y="418"/>
                  </a:lnTo>
                  <a:lnTo>
                    <a:pt x="255" y="419"/>
                  </a:lnTo>
                  <a:lnTo>
                    <a:pt x="255" y="419"/>
                  </a:lnTo>
                  <a:lnTo>
                    <a:pt x="254" y="419"/>
                  </a:lnTo>
                  <a:lnTo>
                    <a:pt x="254" y="419"/>
                  </a:lnTo>
                  <a:lnTo>
                    <a:pt x="253" y="419"/>
                  </a:lnTo>
                  <a:lnTo>
                    <a:pt x="253" y="419"/>
                  </a:lnTo>
                  <a:lnTo>
                    <a:pt x="252" y="419"/>
                  </a:lnTo>
                  <a:lnTo>
                    <a:pt x="251" y="419"/>
                  </a:lnTo>
                  <a:lnTo>
                    <a:pt x="249" y="417"/>
                  </a:lnTo>
                  <a:lnTo>
                    <a:pt x="248" y="417"/>
                  </a:lnTo>
                  <a:lnTo>
                    <a:pt x="247" y="416"/>
                  </a:lnTo>
                  <a:lnTo>
                    <a:pt x="246" y="416"/>
                  </a:lnTo>
                  <a:lnTo>
                    <a:pt x="245" y="415"/>
                  </a:lnTo>
                  <a:lnTo>
                    <a:pt x="244" y="415"/>
                  </a:lnTo>
                  <a:lnTo>
                    <a:pt x="243" y="415"/>
                  </a:lnTo>
                  <a:lnTo>
                    <a:pt x="242" y="415"/>
                  </a:lnTo>
                  <a:lnTo>
                    <a:pt x="238" y="416"/>
                  </a:lnTo>
                  <a:lnTo>
                    <a:pt x="237" y="416"/>
                  </a:lnTo>
                  <a:lnTo>
                    <a:pt x="236" y="416"/>
                  </a:lnTo>
                  <a:lnTo>
                    <a:pt x="236" y="416"/>
                  </a:lnTo>
                  <a:lnTo>
                    <a:pt x="235" y="416"/>
                  </a:lnTo>
                  <a:lnTo>
                    <a:pt x="235" y="417"/>
                  </a:lnTo>
                  <a:lnTo>
                    <a:pt x="235" y="417"/>
                  </a:lnTo>
                  <a:lnTo>
                    <a:pt x="234" y="417"/>
                  </a:lnTo>
                  <a:lnTo>
                    <a:pt x="232" y="420"/>
                  </a:lnTo>
                  <a:lnTo>
                    <a:pt x="231" y="422"/>
                  </a:lnTo>
                  <a:lnTo>
                    <a:pt x="231" y="422"/>
                  </a:lnTo>
                  <a:lnTo>
                    <a:pt x="230" y="423"/>
                  </a:lnTo>
                  <a:lnTo>
                    <a:pt x="229" y="424"/>
                  </a:lnTo>
                  <a:lnTo>
                    <a:pt x="229" y="424"/>
                  </a:lnTo>
                  <a:lnTo>
                    <a:pt x="228" y="425"/>
                  </a:lnTo>
                  <a:lnTo>
                    <a:pt x="228" y="425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26" y="425"/>
                  </a:lnTo>
                  <a:lnTo>
                    <a:pt x="225" y="425"/>
                  </a:lnTo>
                  <a:lnTo>
                    <a:pt x="224" y="424"/>
                  </a:lnTo>
                  <a:lnTo>
                    <a:pt x="223" y="424"/>
                  </a:lnTo>
                  <a:lnTo>
                    <a:pt x="222" y="424"/>
                  </a:lnTo>
                  <a:lnTo>
                    <a:pt x="222" y="423"/>
                  </a:lnTo>
                  <a:lnTo>
                    <a:pt x="220" y="422"/>
                  </a:lnTo>
                  <a:lnTo>
                    <a:pt x="219" y="421"/>
                  </a:lnTo>
                  <a:lnTo>
                    <a:pt x="218" y="421"/>
                  </a:lnTo>
                  <a:lnTo>
                    <a:pt x="217" y="421"/>
                  </a:lnTo>
                  <a:lnTo>
                    <a:pt x="217" y="421"/>
                  </a:lnTo>
                  <a:lnTo>
                    <a:pt x="216" y="421"/>
                  </a:lnTo>
                  <a:lnTo>
                    <a:pt x="215" y="421"/>
                  </a:lnTo>
                  <a:lnTo>
                    <a:pt x="214" y="421"/>
                  </a:lnTo>
                  <a:lnTo>
                    <a:pt x="213" y="421"/>
                  </a:lnTo>
                  <a:lnTo>
                    <a:pt x="212" y="421"/>
                  </a:lnTo>
                  <a:lnTo>
                    <a:pt x="211" y="422"/>
                  </a:lnTo>
                  <a:lnTo>
                    <a:pt x="211" y="422"/>
                  </a:lnTo>
                  <a:lnTo>
                    <a:pt x="210" y="422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2"/>
                  </a:lnTo>
                  <a:lnTo>
                    <a:pt x="209" y="421"/>
                  </a:lnTo>
                  <a:lnTo>
                    <a:pt x="208" y="419"/>
                  </a:lnTo>
                  <a:lnTo>
                    <a:pt x="208" y="418"/>
                  </a:lnTo>
                  <a:lnTo>
                    <a:pt x="207" y="418"/>
                  </a:lnTo>
                  <a:lnTo>
                    <a:pt x="207" y="417"/>
                  </a:lnTo>
                  <a:lnTo>
                    <a:pt x="206" y="416"/>
                  </a:lnTo>
                  <a:lnTo>
                    <a:pt x="206" y="416"/>
                  </a:lnTo>
                  <a:lnTo>
                    <a:pt x="205" y="415"/>
                  </a:lnTo>
                  <a:lnTo>
                    <a:pt x="203" y="414"/>
                  </a:lnTo>
                  <a:lnTo>
                    <a:pt x="202" y="413"/>
                  </a:lnTo>
                  <a:lnTo>
                    <a:pt x="201" y="412"/>
                  </a:lnTo>
                  <a:lnTo>
                    <a:pt x="199" y="412"/>
                  </a:lnTo>
                  <a:lnTo>
                    <a:pt x="197" y="411"/>
                  </a:lnTo>
                  <a:lnTo>
                    <a:pt x="196" y="410"/>
                  </a:lnTo>
                  <a:lnTo>
                    <a:pt x="195" y="410"/>
                  </a:lnTo>
                  <a:lnTo>
                    <a:pt x="194" y="409"/>
                  </a:lnTo>
                  <a:lnTo>
                    <a:pt x="193" y="408"/>
                  </a:lnTo>
                  <a:lnTo>
                    <a:pt x="192" y="407"/>
                  </a:lnTo>
                  <a:lnTo>
                    <a:pt x="192" y="407"/>
                  </a:lnTo>
                  <a:lnTo>
                    <a:pt x="191" y="404"/>
                  </a:lnTo>
                  <a:lnTo>
                    <a:pt x="190" y="404"/>
                  </a:lnTo>
                  <a:lnTo>
                    <a:pt x="190" y="403"/>
                  </a:lnTo>
                  <a:lnTo>
                    <a:pt x="189" y="402"/>
                  </a:lnTo>
                  <a:lnTo>
                    <a:pt x="189" y="402"/>
                  </a:lnTo>
                  <a:lnTo>
                    <a:pt x="188" y="402"/>
                  </a:lnTo>
                  <a:lnTo>
                    <a:pt x="187" y="402"/>
                  </a:lnTo>
                  <a:lnTo>
                    <a:pt x="187" y="402"/>
                  </a:lnTo>
                  <a:lnTo>
                    <a:pt x="186" y="402"/>
                  </a:lnTo>
                  <a:lnTo>
                    <a:pt x="184" y="401"/>
                  </a:lnTo>
                  <a:lnTo>
                    <a:pt x="183" y="401"/>
                  </a:lnTo>
                  <a:lnTo>
                    <a:pt x="183" y="401"/>
                  </a:lnTo>
                  <a:lnTo>
                    <a:pt x="183" y="401"/>
                  </a:lnTo>
                  <a:lnTo>
                    <a:pt x="182" y="401"/>
                  </a:lnTo>
                  <a:lnTo>
                    <a:pt x="182" y="400"/>
                  </a:lnTo>
                  <a:lnTo>
                    <a:pt x="182" y="400"/>
                  </a:lnTo>
                  <a:lnTo>
                    <a:pt x="182" y="399"/>
                  </a:lnTo>
                  <a:lnTo>
                    <a:pt x="182" y="399"/>
                  </a:lnTo>
                  <a:lnTo>
                    <a:pt x="182" y="398"/>
                  </a:lnTo>
                  <a:lnTo>
                    <a:pt x="182" y="398"/>
                  </a:lnTo>
                  <a:lnTo>
                    <a:pt x="183" y="397"/>
                  </a:lnTo>
                  <a:lnTo>
                    <a:pt x="184" y="396"/>
                  </a:lnTo>
                  <a:lnTo>
                    <a:pt x="185" y="394"/>
                  </a:lnTo>
                  <a:lnTo>
                    <a:pt x="186" y="393"/>
                  </a:lnTo>
                  <a:lnTo>
                    <a:pt x="187" y="392"/>
                  </a:lnTo>
                  <a:lnTo>
                    <a:pt x="188" y="391"/>
                  </a:lnTo>
                  <a:lnTo>
                    <a:pt x="190" y="388"/>
                  </a:lnTo>
                  <a:lnTo>
                    <a:pt x="191" y="388"/>
                  </a:lnTo>
                  <a:lnTo>
                    <a:pt x="191" y="387"/>
                  </a:lnTo>
                  <a:lnTo>
                    <a:pt x="192" y="386"/>
                  </a:lnTo>
                  <a:lnTo>
                    <a:pt x="192" y="385"/>
                  </a:lnTo>
                  <a:lnTo>
                    <a:pt x="193" y="383"/>
                  </a:lnTo>
                  <a:lnTo>
                    <a:pt x="193" y="382"/>
                  </a:lnTo>
                  <a:lnTo>
                    <a:pt x="194" y="381"/>
                  </a:lnTo>
                  <a:lnTo>
                    <a:pt x="196" y="379"/>
                  </a:lnTo>
                  <a:lnTo>
                    <a:pt x="196" y="378"/>
                  </a:lnTo>
                  <a:lnTo>
                    <a:pt x="196" y="377"/>
                  </a:lnTo>
                  <a:lnTo>
                    <a:pt x="196" y="377"/>
                  </a:lnTo>
                  <a:lnTo>
                    <a:pt x="197" y="376"/>
                  </a:lnTo>
                  <a:lnTo>
                    <a:pt x="197" y="374"/>
                  </a:lnTo>
                  <a:lnTo>
                    <a:pt x="197" y="373"/>
                  </a:lnTo>
                  <a:lnTo>
                    <a:pt x="198" y="372"/>
                  </a:lnTo>
                  <a:lnTo>
                    <a:pt x="198" y="371"/>
                  </a:lnTo>
                  <a:lnTo>
                    <a:pt x="199" y="369"/>
                  </a:lnTo>
                  <a:lnTo>
                    <a:pt x="200" y="368"/>
                  </a:lnTo>
                  <a:lnTo>
                    <a:pt x="201" y="367"/>
                  </a:lnTo>
                  <a:lnTo>
                    <a:pt x="201" y="366"/>
                  </a:lnTo>
                  <a:lnTo>
                    <a:pt x="202" y="366"/>
                  </a:lnTo>
                  <a:lnTo>
                    <a:pt x="202" y="366"/>
                  </a:lnTo>
                  <a:lnTo>
                    <a:pt x="202" y="365"/>
                  </a:lnTo>
                  <a:lnTo>
                    <a:pt x="203" y="365"/>
                  </a:lnTo>
                  <a:lnTo>
                    <a:pt x="206" y="365"/>
                  </a:lnTo>
                  <a:lnTo>
                    <a:pt x="208" y="364"/>
                  </a:lnTo>
                  <a:lnTo>
                    <a:pt x="209" y="364"/>
                  </a:lnTo>
                  <a:lnTo>
                    <a:pt x="210" y="363"/>
                  </a:lnTo>
                  <a:lnTo>
                    <a:pt x="210" y="363"/>
                  </a:lnTo>
                  <a:lnTo>
                    <a:pt x="211" y="363"/>
                  </a:lnTo>
                  <a:lnTo>
                    <a:pt x="211" y="362"/>
                  </a:lnTo>
                  <a:lnTo>
                    <a:pt x="211" y="362"/>
                  </a:lnTo>
                  <a:lnTo>
                    <a:pt x="212" y="361"/>
                  </a:lnTo>
                  <a:lnTo>
                    <a:pt x="212" y="360"/>
                  </a:lnTo>
                  <a:lnTo>
                    <a:pt x="212" y="359"/>
                  </a:lnTo>
                  <a:lnTo>
                    <a:pt x="212" y="358"/>
                  </a:lnTo>
                  <a:lnTo>
                    <a:pt x="212" y="358"/>
                  </a:lnTo>
                  <a:lnTo>
                    <a:pt x="212" y="357"/>
                  </a:lnTo>
                  <a:lnTo>
                    <a:pt x="212" y="356"/>
                  </a:lnTo>
                  <a:lnTo>
                    <a:pt x="211" y="355"/>
                  </a:lnTo>
                  <a:lnTo>
                    <a:pt x="209" y="352"/>
                  </a:lnTo>
                  <a:lnTo>
                    <a:pt x="209" y="352"/>
                  </a:lnTo>
                  <a:lnTo>
                    <a:pt x="208" y="351"/>
                  </a:lnTo>
                  <a:lnTo>
                    <a:pt x="207" y="351"/>
                  </a:lnTo>
                  <a:lnTo>
                    <a:pt x="206" y="349"/>
                  </a:lnTo>
                  <a:lnTo>
                    <a:pt x="204" y="349"/>
                  </a:lnTo>
                  <a:lnTo>
                    <a:pt x="204" y="348"/>
                  </a:lnTo>
                  <a:lnTo>
                    <a:pt x="203" y="347"/>
                  </a:lnTo>
                  <a:lnTo>
                    <a:pt x="203" y="347"/>
                  </a:lnTo>
                  <a:lnTo>
                    <a:pt x="202" y="346"/>
                  </a:lnTo>
                  <a:lnTo>
                    <a:pt x="202" y="346"/>
                  </a:lnTo>
                  <a:lnTo>
                    <a:pt x="202" y="345"/>
                  </a:lnTo>
                  <a:lnTo>
                    <a:pt x="202" y="345"/>
                  </a:lnTo>
                  <a:lnTo>
                    <a:pt x="202" y="344"/>
                  </a:lnTo>
                  <a:lnTo>
                    <a:pt x="202" y="343"/>
                  </a:lnTo>
                  <a:lnTo>
                    <a:pt x="203" y="343"/>
                  </a:lnTo>
                  <a:lnTo>
                    <a:pt x="202" y="342"/>
                  </a:lnTo>
                  <a:lnTo>
                    <a:pt x="202" y="342"/>
                  </a:lnTo>
                  <a:lnTo>
                    <a:pt x="202" y="341"/>
                  </a:lnTo>
                  <a:lnTo>
                    <a:pt x="202" y="340"/>
                  </a:lnTo>
                  <a:lnTo>
                    <a:pt x="201" y="340"/>
                  </a:lnTo>
                  <a:lnTo>
                    <a:pt x="201" y="340"/>
                  </a:lnTo>
                  <a:lnTo>
                    <a:pt x="200" y="339"/>
                  </a:lnTo>
                  <a:lnTo>
                    <a:pt x="199" y="339"/>
                  </a:lnTo>
                  <a:lnTo>
                    <a:pt x="198" y="338"/>
                  </a:lnTo>
                  <a:lnTo>
                    <a:pt x="198" y="338"/>
                  </a:lnTo>
                  <a:lnTo>
                    <a:pt x="197" y="338"/>
                  </a:lnTo>
                  <a:lnTo>
                    <a:pt x="197" y="338"/>
                  </a:lnTo>
                  <a:lnTo>
                    <a:pt x="196" y="338"/>
                  </a:lnTo>
                  <a:lnTo>
                    <a:pt x="196" y="338"/>
                  </a:lnTo>
                  <a:lnTo>
                    <a:pt x="195" y="338"/>
                  </a:lnTo>
                  <a:lnTo>
                    <a:pt x="195" y="338"/>
                  </a:lnTo>
                  <a:lnTo>
                    <a:pt x="193" y="339"/>
                  </a:lnTo>
                  <a:lnTo>
                    <a:pt x="193" y="339"/>
                  </a:lnTo>
                  <a:lnTo>
                    <a:pt x="192" y="339"/>
                  </a:lnTo>
                  <a:lnTo>
                    <a:pt x="190" y="340"/>
                  </a:lnTo>
                  <a:lnTo>
                    <a:pt x="188" y="340"/>
                  </a:lnTo>
                  <a:lnTo>
                    <a:pt x="187" y="340"/>
                  </a:lnTo>
                  <a:lnTo>
                    <a:pt x="184" y="341"/>
                  </a:lnTo>
                  <a:lnTo>
                    <a:pt x="183" y="342"/>
                  </a:lnTo>
                  <a:lnTo>
                    <a:pt x="182" y="342"/>
                  </a:lnTo>
                  <a:lnTo>
                    <a:pt x="181" y="342"/>
                  </a:lnTo>
                  <a:lnTo>
                    <a:pt x="179" y="342"/>
                  </a:lnTo>
                  <a:lnTo>
                    <a:pt x="177" y="342"/>
                  </a:lnTo>
                  <a:lnTo>
                    <a:pt x="175" y="342"/>
                  </a:lnTo>
                  <a:lnTo>
                    <a:pt x="173" y="342"/>
                  </a:lnTo>
                  <a:lnTo>
                    <a:pt x="172" y="342"/>
                  </a:lnTo>
                  <a:lnTo>
                    <a:pt x="171" y="342"/>
                  </a:lnTo>
                  <a:lnTo>
                    <a:pt x="168" y="341"/>
                  </a:lnTo>
                  <a:lnTo>
                    <a:pt x="167" y="341"/>
                  </a:lnTo>
                  <a:lnTo>
                    <a:pt x="166" y="340"/>
                  </a:lnTo>
                  <a:lnTo>
                    <a:pt x="166" y="340"/>
                  </a:lnTo>
                  <a:lnTo>
                    <a:pt x="165" y="340"/>
                  </a:lnTo>
                  <a:lnTo>
                    <a:pt x="164" y="341"/>
                  </a:lnTo>
                  <a:lnTo>
                    <a:pt x="163" y="341"/>
                  </a:lnTo>
                  <a:lnTo>
                    <a:pt x="161" y="341"/>
                  </a:lnTo>
                  <a:lnTo>
                    <a:pt x="161" y="342"/>
                  </a:lnTo>
                  <a:lnTo>
                    <a:pt x="161" y="342"/>
                  </a:lnTo>
                  <a:lnTo>
                    <a:pt x="160" y="342"/>
                  </a:lnTo>
                  <a:lnTo>
                    <a:pt x="160" y="342"/>
                  </a:lnTo>
                  <a:lnTo>
                    <a:pt x="159" y="342"/>
                  </a:lnTo>
                  <a:lnTo>
                    <a:pt x="159" y="341"/>
                  </a:lnTo>
                  <a:lnTo>
                    <a:pt x="156" y="340"/>
                  </a:lnTo>
                  <a:lnTo>
                    <a:pt x="152" y="337"/>
                  </a:lnTo>
                  <a:lnTo>
                    <a:pt x="150" y="336"/>
                  </a:lnTo>
                  <a:lnTo>
                    <a:pt x="148" y="335"/>
                  </a:lnTo>
                  <a:lnTo>
                    <a:pt x="148" y="334"/>
                  </a:lnTo>
                  <a:lnTo>
                    <a:pt x="145" y="332"/>
                  </a:lnTo>
                  <a:lnTo>
                    <a:pt x="142" y="330"/>
                  </a:lnTo>
                  <a:lnTo>
                    <a:pt x="141" y="329"/>
                  </a:lnTo>
                  <a:lnTo>
                    <a:pt x="139" y="327"/>
                  </a:lnTo>
                  <a:lnTo>
                    <a:pt x="139" y="327"/>
                  </a:lnTo>
                  <a:lnTo>
                    <a:pt x="138" y="326"/>
                  </a:lnTo>
                  <a:lnTo>
                    <a:pt x="138" y="325"/>
                  </a:lnTo>
                  <a:lnTo>
                    <a:pt x="137" y="324"/>
                  </a:lnTo>
                  <a:lnTo>
                    <a:pt x="136" y="323"/>
                  </a:lnTo>
                  <a:lnTo>
                    <a:pt x="136" y="321"/>
                  </a:lnTo>
                  <a:lnTo>
                    <a:pt x="136" y="320"/>
                  </a:lnTo>
                  <a:lnTo>
                    <a:pt x="136" y="319"/>
                  </a:lnTo>
                  <a:lnTo>
                    <a:pt x="136" y="317"/>
                  </a:lnTo>
                  <a:lnTo>
                    <a:pt x="136" y="316"/>
                  </a:lnTo>
                  <a:lnTo>
                    <a:pt x="136" y="313"/>
                  </a:lnTo>
                  <a:lnTo>
                    <a:pt x="137" y="311"/>
                  </a:lnTo>
                  <a:lnTo>
                    <a:pt x="137" y="310"/>
                  </a:lnTo>
                  <a:lnTo>
                    <a:pt x="137" y="309"/>
                  </a:lnTo>
                  <a:lnTo>
                    <a:pt x="136" y="308"/>
                  </a:lnTo>
                  <a:lnTo>
                    <a:pt x="136" y="307"/>
                  </a:lnTo>
                  <a:lnTo>
                    <a:pt x="136" y="305"/>
                  </a:lnTo>
                  <a:lnTo>
                    <a:pt x="136" y="304"/>
                  </a:lnTo>
                  <a:lnTo>
                    <a:pt x="135" y="303"/>
                  </a:lnTo>
                  <a:lnTo>
                    <a:pt x="135" y="302"/>
                  </a:lnTo>
                  <a:lnTo>
                    <a:pt x="134" y="301"/>
                  </a:lnTo>
                  <a:lnTo>
                    <a:pt x="134" y="301"/>
                  </a:lnTo>
                  <a:lnTo>
                    <a:pt x="133" y="300"/>
                  </a:lnTo>
                  <a:lnTo>
                    <a:pt x="133" y="300"/>
                  </a:lnTo>
                  <a:lnTo>
                    <a:pt x="132" y="300"/>
                  </a:lnTo>
                  <a:lnTo>
                    <a:pt x="132" y="299"/>
                  </a:lnTo>
                  <a:lnTo>
                    <a:pt x="131" y="299"/>
                  </a:lnTo>
                  <a:lnTo>
                    <a:pt x="130" y="299"/>
                  </a:lnTo>
                  <a:lnTo>
                    <a:pt x="129" y="299"/>
                  </a:lnTo>
                  <a:lnTo>
                    <a:pt x="128" y="299"/>
                  </a:lnTo>
                  <a:lnTo>
                    <a:pt x="127" y="299"/>
                  </a:lnTo>
                  <a:lnTo>
                    <a:pt x="124" y="299"/>
                  </a:lnTo>
                  <a:lnTo>
                    <a:pt x="121" y="300"/>
                  </a:lnTo>
                  <a:lnTo>
                    <a:pt x="120" y="300"/>
                  </a:lnTo>
                  <a:lnTo>
                    <a:pt x="119" y="300"/>
                  </a:lnTo>
                  <a:lnTo>
                    <a:pt x="116" y="300"/>
                  </a:lnTo>
                  <a:lnTo>
                    <a:pt x="115" y="301"/>
                  </a:lnTo>
                  <a:lnTo>
                    <a:pt x="111" y="301"/>
                  </a:lnTo>
                  <a:lnTo>
                    <a:pt x="111" y="301"/>
                  </a:lnTo>
                  <a:lnTo>
                    <a:pt x="110" y="301"/>
                  </a:lnTo>
                  <a:lnTo>
                    <a:pt x="109" y="301"/>
                  </a:lnTo>
                  <a:lnTo>
                    <a:pt x="109" y="301"/>
                  </a:lnTo>
                  <a:lnTo>
                    <a:pt x="109" y="300"/>
                  </a:lnTo>
                  <a:lnTo>
                    <a:pt x="107" y="299"/>
                  </a:lnTo>
                  <a:lnTo>
                    <a:pt x="107" y="299"/>
                  </a:lnTo>
                  <a:lnTo>
                    <a:pt x="106" y="298"/>
                  </a:lnTo>
                  <a:lnTo>
                    <a:pt x="105" y="297"/>
                  </a:lnTo>
                  <a:lnTo>
                    <a:pt x="104" y="297"/>
                  </a:lnTo>
                  <a:lnTo>
                    <a:pt x="101" y="296"/>
                  </a:lnTo>
                  <a:lnTo>
                    <a:pt x="98" y="295"/>
                  </a:lnTo>
                  <a:lnTo>
                    <a:pt x="93" y="293"/>
                  </a:lnTo>
                  <a:lnTo>
                    <a:pt x="92" y="293"/>
                  </a:lnTo>
                  <a:lnTo>
                    <a:pt x="91" y="293"/>
                  </a:lnTo>
                  <a:lnTo>
                    <a:pt x="91" y="293"/>
                  </a:lnTo>
                  <a:lnTo>
                    <a:pt x="90" y="293"/>
                  </a:lnTo>
                  <a:lnTo>
                    <a:pt x="90" y="293"/>
                  </a:lnTo>
                  <a:lnTo>
                    <a:pt x="89" y="294"/>
                  </a:lnTo>
                  <a:lnTo>
                    <a:pt x="88" y="294"/>
                  </a:lnTo>
                  <a:lnTo>
                    <a:pt x="85" y="295"/>
                  </a:lnTo>
                  <a:lnTo>
                    <a:pt x="84" y="296"/>
                  </a:lnTo>
                  <a:lnTo>
                    <a:pt x="83" y="296"/>
                  </a:lnTo>
                  <a:lnTo>
                    <a:pt x="82" y="296"/>
                  </a:lnTo>
                  <a:lnTo>
                    <a:pt x="81" y="297"/>
                  </a:lnTo>
                  <a:lnTo>
                    <a:pt x="80" y="297"/>
                  </a:lnTo>
                  <a:lnTo>
                    <a:pt x="79" y="296"/>
                  </a:lnTo>
                  <a:lnTo>
                    <a:pt x="78" y="296"/>
                  </a:lnTo>
                  <a:lnTo>
                    <a:pt x="77" y="296"/>
                  </a:lnTo>
                  <a:lnTo>
                    <a:pt x="76" y="295"/>
                  </a:lnTo>
                  <a:lnTo>
                    <a:pt x="75" y="295"/>
                  </a:lnTo>
                  <a:lnTo>
                    <a:pt x="75" y="295"/>
                  </a:lnTo>
                  <a:lnTo>
                    <a:pt x="75" y="294"/>
                  </a:lnTo>
                  <a:lnTo>
                    <a:pt x="74" y="293"/>
                  </a:lnTo>
                  <a:lnTo>
                    <a:pt x="72" y="291"/>
                  </a:lnTo>
                  <a:lnTo>
                    <a:pt x="71" y="290"/>
                  </a:lnTo>
                  <a:lnTo>
                    <a:pt x="70" y="288"/>
                  </a:lnTo>
                  <a:lnTo>
                    <a:pt x="69" y="288"/>
                  </a:lnTo>
                  <a:lnTo>
                    <a:pt x="68" y="287"/>
                  </a:lnTo>
                  <a:lnTo>
                    <a:pt x="68" y="287"/>
                  </a:lnTo>
                  <a:lnTo>
                    <a:pt x="67" y="287"/>
                  </a:lnTo>
                  <a:lnTo>
                    <a:pt x="66" y="287"/>
                  </a:lnTo>
                  <a:lnTo>
                    <a:pt x="66" y="286"/>
                  </a:lnTo>
                  <a:lnTo>
                    <a:pt x="65" y="286"/>
                  </a:lnTo>
                  <a:lnTo>
                    <a:pt x="62" y="286"/>
                  </a:lnTo>
                  <a:lnTo>
                    <a:pt x="61" y="286"/>
                  </a:lnTo>
                  <a:lnTo>
                    <a:pt x="61" y="286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8" y="285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3"/>
                  </a:lnTo>
                  <a:lnTo>
                    <a:pt x="59" y="283"/>
                  </a:lnTo>
                  <a:lnTo>
                    <a:pt x="60" y="282"/>
                  </a:lnTo>
                  <a:lnTo>
                    <a:pt x="60" y="282"/>
                  </a:lnTo>
                  <a:lnTo>
                    <a:pt x="61" y="282"/>
                  </a:lnTo>
                  <a:lnTo>
                    <a:pt x="61" y="281"/>
                  </a:lnTo>
                  <a:lnTo>
                    <a:pt x="61" y="281"/>
                  </a:lnTo>
                  <a:lnTo>
                    <a:pt x="61" y="280"/>
                  </a:lnTo>
                  <a:lnTo>
                    <a:pt x="61" y="279"/>
                  </a:lnTo>
                  <a:lnTo>
                    <a:pt x="61" y="278"/>
                  </a:lnTo>
                  <a:lnTo>
                    <a:pt x="61" y="278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9" y="275"/>
                  </a:lnTo>
                  <a:lnTo>
                    <a:pt x="57" y="274"/>
                  </a:lnTo>
                  <a:lnTo>
                    <a:pt x="56" y="274"/>
                  </a:lnTo>
                  <a:lnTo>
                    <a:pt x="52" y="272"/>
                  </a:lnTo>
                  <a:lnTo>
                    <a:pt x="51" y="272"/>
                  </a:lnTo>
                  <a:lnTo>
                    <a:pt x="51" y="271"/>
                  </a:lnTo>
                  <a:lnTo>
                    <a:pt x="49" y="271"/>
                  </a:lnTo>
                  <a:lnTo>
                    <a:pt x="48" y="270"/>
                  </a:lnTo>
                  <a:lnTo>
                    <a:pt x="46" y="269"/>
                  </a:lnTo>
                  <a:lnTo>
                    <a:pt x="44" y="267"/>
                  </a:lnTo>
                  <a:lnTo>
                    <a:pt x="44" y="266"/>
                  </a:lnTo>
                  <a:lnTo>
                    <a:pt x="43" y="266"/>
                  </a:lnTo>
                  <a:lnTo>
                    <a:pt x="42" y="266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30" y="269"/>
                  </a:lnTo>
                  <a:lnTo>
                    <a:pt x="29" y="269"/>
                  </a:lnTo>
                  <a:lnTo>
                    <a:pt x="28" y="270"/>
                  </a:lnTo>
                  <a:lnTo>
                    <a:pt x="27" y="270"/>
                  </a:lnTo>
                  <a:lnTo>
                    <a:pt x="26" y="269"/>
                  </a:lnTo>
                  <a:lnTo>
                    <a:pt x="25" y="269"/>
                  </a:lnTo>
                  <a:lnTo>
                    <a:pt x="25" y="269"/>
                  </a:lnTo>
                  <a:lnTo>
                    <a:pt x="24" y="269"/>
                  </a:lnTo>
                  <a:lnTo>
                    <a:pt x="23" y="268"/>
                  </a:lnTo>
                  <a:lnTo>
                    <a:pt x="21" y="266"/>
                  </a:lnTo>
                  <a:lnTo>
                    <a:pt x="18" y="264"/>
                  </a:lnTo>
                  <a:lnTo>
                    <a:pt x="17" y="262"/>
                  </a:lnTo>
                  <a:lnTo>
                    <a:pt x="15" y="260"/>
                  </a:lnTo>
                  <a:lnTo>
                    <a:pt x="15" y="259"/>
                  </a:lnTo>
                  <a:lnTo>
                    <a:pt x="11" y="256"/>
                  </a:lnTo>
                  <a:lnTo>
                    <a:pt x="11" y="255"/>
                  </a:lnTo>
                  <a:lnTo>
                    <a:pt x="10" y="255"/>
                  </a:lnTo>
                  <a:lnTo>
                    <a:pt x="8" y="252"/>
                  </a:lnTo>
                  <a:lnTo>
                    <a:pt x="6" y="249"/>
                  </a:lnTo>
                  <a:lnTo>
                    <a:pt x="5" y="248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5" y="243"/>
                  </a:lnTo>
                  <a:lnTo>
                    <a:pt x="5" y="242"/>
                  </a:lnTo>
                  <a:lnTo>
                    <a:pt x="6" y="241"/>
                  </a:lnTo>
                  <a:lnTo>
                    <a:pt x="7" y="240"/>
                  </a:lnTo>
                  <a:lnTo>
                    <a:pt x="8" y="239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4"/>
                  </a:lnTo>
                  <a:lnTo>
                    <a:pt x="8" y="233"/>
                  </a:lnTo>
                  <a:lnTo>
                    <a:pt x="8" y="232"/>
                  </a:lnTo>
                  <a:lnTo>
                    <a:pt x="7" y="232"/>
                  </a:lnTo>
                  <a:lnTo>
                    <a:pt x="7" y="231"/>
                  </a:lnTo>
                  <a:lnTo>
                    <a:pt x="6" y="230"/>
                  </a:lnTo>
                  <a:lnTo>
                    <a:pt x="4" y="228"/>
                  </a:lnTo>
                  <a:lnTo>
                    <a:pt x="3" y="228"/>
                  </a:lnTo>
                  <a:lnTo>
                    <a:pt x="2" y="227"/>
                  </a:lnTo>
                  <a:lnTo>
                    <a:pt x="1" y="226"/>
                  </a:lnTo>
                  <a:lnTo>
                    <a:pt x="0" y="225"/>
                  </a:lnTo>
                  <a:lnTo>
                    <a:pt x="0" y="224"/>
                  </a:lnTo>
                  <a:lnTo>
                    <a:pt x="0" y="223"/>
                  </a:lnTo>
                  <a:lnTo>
                    <a:pt x="0" y="222"/>
                  </a:lnTo>
                  <a:lnTo>
                    <a:pt x="0" y="221"/>
                  </a:lnTo>
                  <a:lnTo>
                    <a:pt x="0" y="221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1" y="215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09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1"/>
                  </a:lnTo>
                  <a:lnTo>
                    <a:pt x="4" y="200"/>
                  </a:lnTo>
                  <a:lnTo>
                    <a:pt x="5" y="198"/>
                  </a:lnTo>
                  <a:lnTo>
                    <a:pt x="6" y="195"/>
                  </a:lnTo>
                  <a:lnTo>
                    <a:pt x="7" y="192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7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9" y="180"/>
                  </a:lnTo>
                  <a:lnTo>
                    <a:pt x="9" y="179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9" y="172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8" y="169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7" y="166"/>
                  </a:lnTo>
                  <a:lnTo>
                    <a:pt x="5" y="163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9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1" y="156"/>
                  </a:lnTo>
                  <a:lnTo>
                    <a:pt x="11" y="155"/>
                  </a:lnTo>
                  <a:lnTo>
                    <a:pt x="12" y="155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1" y="146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3" y="141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7" y="133"/>
                  </a:lnTo>
                  <a:lnTo>
                    <a:pt x="22" y="131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9" y="120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0"/>
                  </a:lnTo>
                  <a:lnTo>
                    <a:pt x="32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22"/>
                  </a:lnTo>
                  <a:lnTo>
                    <a:pt x="43" y="122"/>
                  </a:lnTo>
                  <a:lnTo>
                    <a:pt x="47" y="123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8" y="121"/>
                  </a:lnTo>
                  <a:lnTo>
                    <a:pt x="61" y="120"/>
                  </a:lnTo>
                  <a:lnTo>
                    <a:pt x="63" y="119"/>
                  </a:lnTo>
                  <a:lnTo>
                    <a:pt x="64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20"/>
                  </a:lnTo>
                  <a:lnTo>
                    <a:pt x="70" y="120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7" y="124"/>
                  </a:lnTo>
                  <a:lnTo>
                    <a:pt x="78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1" y="123"/>
                  </a:lnTo>
                  <a:lnTo>
                    <a:pt x="81" y="122"/>
                  </a:lnTo>
                  <a:lnTo>
                    <a:pt x="82" y="121"/>
                  </a:lnTo>
                  <a:lnTo>
                    <a:pt x="82" y="120"/>
                  </a:lnTo>
                  <a:lnTo>
                    <a:pt x="83" y="118"/>
                  </a:lnTo>
                  <a:lnTo>
                    <a:pt x="84" y="118"/>
                  </a:lnTo>
                  <a:lnTo>
                    <a:pt x="84" y="117"/>
                  </a:lnTo>
                  <a:lnTo>
                    <a:pt x="84" y="117"/>
                  </a:lnTo>
                  <a:lnTo>
                    <a:pt x="85" y="117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9" y="115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5" y="115"/>
                  </a:lnTo>
                  <a:lnTo>
                    <a:pt x="96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100" y="114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4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5" y="101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3" y="97"/>
                  </a:lnTo>
                  <a:lnTo>
                    <a:pt x="102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3"/>
                  </a:lnTo>
                  <a:lnTo>
                    <a:pt x="98" y="93"/>
                  </a:lnTo>
                  <a:lnTo>
                    <a:pt x="97" y="92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6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3"/>
                  </a:lnTo>
                  <a:lnTo>
                    <a:pt x="85" y="81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5" y="78"/>
                  </a:lnTo>
                  <a:lnTo>
                    <a:pt x="86" y="77"/>
                  </a:lnTo>
                  <a:lnTo>
                    <a:pt x="86" y="76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8" y="71"/>
                  </a:lnTo>
                  <a:lnTo>
                    <a:pt x="88" y="70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7" y="58"/>
                  </a:lnTo>
                  <a:lnTo>
                    <a:pt x="98" y="56"/>
                  </a:lnTo>
                  <a:lnTo>
                    <a:pt x="98" y="55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3" y="49"/>
                  </a:lnTo>
                  <a:lnTo>
                    <a:pt x="104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6" y="48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4" y="49"/>
                  </a:lnTo>
                  <a:lnTo>
                    <a:pt x="115" y="48"/>
                  </a:lnTo>
                  <a:lnTo>
                    <a:pt x="118" y="47"/>
                  </a:lnTo>
                  <a:lnTo>
                    <a:pt x="119" y="46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4" y="44"/>
                  </a:lnTo>
                  <a:lnTo>
                    <a:pt x="126" y="44"/>
                  </a:lnTo>
                  <a:lnTo>
                    <a:pt x="129" y="43"/>
                  </a:lnTo>
                  <a:lnTo>
                    <a:pt x="131" y="42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6" y="41"/>
                  </a:lnTo>
                  <a:lnTo>
                    <a:pt x="137" y="41"/>
                  </a:lnTo>
                  <a:lnTo>
                    <a:pt x="138" y="40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41" y="38"/>
                  </a:lnTo>
                  <a:lnTo>
                    <a:pt x="142" y="37"/>
                  </a:lnTo>
                  <a:lnTo>
                    <a:pt x="143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7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4" y="31"/>
                  </a:lnTo>
                  <a:lnTo>
                    <a:pt x="155" y="31"/>
                  </a:lnTo>
                  <a:lnTo>
                    <a:pt x="156" y="31"/>
                  </a:lnTo>
                  <a:lnTo>
                    <a:pt x="157" y="31"/>
                  </a:lnTo>
                  <a:lnTo>
                    <a:pt x="158" y="31"/>
                  </a:lnTo>
                  <a:lnTo>
                    <a:pt x="158" y="30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7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5"/>
                  </a:lnTo>
                  <a:lnTo>
                    <a:pt x="160" y="24"/>
                  </a:lnTo>
                  <a:lnTo>
                    <a:pt x="159" y="23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7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4"/>
                  </a:lnTo>
                  <a:lnTo>
                    <a:pt x="160" y="13"/>
                  </a:lnTo>
                  <a:lnTo>
                    <a:pt x="162" y="12"/>
                  </a:lnTo>
                  <a:lnTo>
                    <a:pt x="162" y="11"/>
                  </a:lnTo>
                  <a:lnTo>
                    <a:pt x="163" y="11"/>
                  </a:lnTo>
                  <a:lnTo>
                    <a:pt x="163" y="10"/>
                  </a:lnTo>
                  <a:lnTo>
                    <a:pt x="164" y="10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9"/>
                  </a:lnTo>
                  <a:lnTo>
                    <a:pt x="170" y="9"/>
                  </a:lnTo>
                  <a:lnTo>
                    <a:pt x="171" y="9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8" y="4"/>
                  </a:lnTo>
                  <a:lnTo>
                    <a:pt x="179" y="3"/>
                  </a:lnTo>
                  <a:lnTo>
                    <a:pt x="179" y="2"/>
                  </a:lnTo>
                  <a:lnTo>
                    <a:pt x="180" y="2"/>
                  </a:lnTo>
                  <a:lnTo>
                    <a:pt x="180" y="1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80" y="1"/>
                  </a:lnTo>
                  <a:lnTo>
                    <a:pt x="185" y="4"/>
                  </a:lnTo>
                  <a:close/>
                </a:path>
              </a:pathLst>
            </a:custGeom>
            <a:solidFill>
              <a:srgbClr val="FFCC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 64">
              <a:extLst>
                <a:ext uri="{FF2B5EF4-FFF2-40B4-BE49-F238E27FC236}">
                  <a16:creationId xmlns:a16="http://schemas.microsoft.com/office/drawing/2014/main" id="{2D4EB088-F2C8-AE2A-8CDC-F81DC77D7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8" y="3422"/>
              <a:ext cx="399" cy="421"/>
            </a:xfrm>
            <a:custGeom>
              <a:avLst/>
              <a:gdLst>
                <a:gd name="T0" fmla="*/ 157 w 399"/>
                <a:gd name="T1" fmla="*/ 19 h 421"/>
                <a:gd name="T2" fmla="*/ 177 w 399"/>
                <a:gd name="T3" fmla="*/ 20 h 421"/>
                <a:gd name="T4" fmla="*/ 196 w 399"/>
                <a:gd name="T5" fmla="*/ 32 h 421"/>
                <a:gd name="T6" fmla="*/ 208 w 399"/>
                <a:gd name="T7" fmla="*/ 42 h 421"/>
                <a:gd name="T8" fmla="*/ 228 w 399"/>
                <a:gd name="T9" fmla="*/ 51 h 421"/>
                <a:gd name="T10" fmla="*/ 231 w 399"/>
                <a:gd name="T11" fmla="*/ 64 h 421"/>
                <a:gd name="T12" fmla="*/ 256 w 399"/>
                <a:gd name="T13" fmla="*/ 75 h 421"/>
                <a:gd name="T14" fmla="*/ 270 w 399"/>
                <a:gd name="T15" fmla="*/ 56 h 421"/>
                <a:gd name="T16" fmla="*/ 283 w 399"/>
                <a:gd name="T17" fmla="*/ 61 h 421"/>
                <a:gd name="T18" fmla="*/ 304 w 399"/>
                <a:gd name="T19" fmla="*/ 74 h 421"/>
                <a:gd name="T20" fmla="*/ 332 w 399"/>
                <a:gd name="T21" fmla="*/ 81 h 421"/>
                <a:gd name="T22" fmla="*/ 361 w 399"/>
                <a:gd name="T23" fmla="*/ 104 h 421"/>
                <a:gd name="T24" fmla="*/ 392 w 399"/>
                <a:gd name="T25" fmla="*/ 123 h 421"/>
                <a:gd name="T26" fmla="*/ 392 w 399"/>
                <a:gd name="T27" fmla="*/ 141 h 421"/>
                <a:gd name="T28" fmla="*/ 397 w 399"/>
                <a:gd name="T29" fmla="*/ 153 h 421"/>
                <a:gd name="T30" fmla="*/ 384 w 399"/>
                <a:gd name="T31" fmla="*/ 162 h 421"/>
                <a:gd name="T32" fmla="*/ 390 w 399"/>
                <a:gd name="T33" fmla="*/ 174 h 421"/>
                <a:gd name="T34" fmla="*/ 382 w 399"/>
                <a:gd name="T35" fmla="*/ 181 h 421"/>
                <a:gd name="T36" fmla="*/ 371 w 399"/>
                <a:gd name="T37" fmla="*/ 178 h 421"/>
                <a:gd name="T38" fmla="*/ 373 w 399"/>
                <a:gd name="T39" fmla="*/ 186 h 421"/>
                <a:gd name="T40" fmla="*/ 362 w 399"/>
                <a:gd name="T41" fmla="*/ 193 h 421"/>
                <a:gd name="T42" fmla="*/ 347 w 399"/>
                <a:gd name="T43" fmla="*/ 209 h 421"/>
                <a:gd name="T44" fmla="*/ 345 w 399"/>
                <a:gd name="T45" fmla="*/ 230 h 421"/>
                <a:gd name="T46" fmla="*/ 353 w 399"/>
                <a:gd name="T47" fmla="*/ 242 h 421"/>
                <a:gd name="T48" fmla="*/ 362 w 399"/>
                <a:gd name="T49" fmla="*/ 249 h 421"/>
                <a:gd name="T50" fmla="*/ 359 w 399"/>
                <a:gd name="T51" fmla="*/ 267 h 421"/>
                <a:gd name="T52" fmla="*/ 352 w 399"/>
                <a:gd name="T53" fmla="*/ 280 h 421"/>
                <a:gd name="T54" fmla="*/ 351 w 399"/>
                <a:gd name="T55" fmla="*/ 294 h 421"/>
                <a:gd name="T56" fmla="*/ 357 w 399"/>
                <a:gd name="T57" fmla="*/ 308 h 421"/>
                <a:gd name="T58" fmla="*/ 348 w 399"/>
                <a:gd name="T59" fmla="*/ 321 h 421"/>
                <a:gd name="T60" fmla="*/ 342 w 399"/>
                <a:gd name="T61" fmla="*/ 330 h 421"/>
                <a:gd name="T62" fmla="*/ 351 w 399"/>
                <a:gd name="T63" fmla="*/ 343 h 421"/>
                <a:gd name="T64" fmla="*/ 342 w 399"/>
                <a:gd name="T65" fmla="*/ 356 h 421"/>
                <a:gd name="T66" fmla="*/ 320 w 399"/>
                <a:gd name="T67" fmla="*/ 363 h 421"/>
                <a:gd name="T68" fmla="*/ 312 w 399"/>
                <a:gd name="T69" fmla="*/ 375 h 421"/>
                <a:gd name="T70" fmla="*/ 286 w 399"/>
                <a:gd name="T71" fmla="*/ 376 h 421"/>
                <a:gd name="T72" fmla="*/ 268 w 399"/>
                <a:gd name="T73" fmla="*/ 372 h 421"/>
                <a:gd name="T74" fmla="*/ 255 w 399"/>
                <a:gd name="T75" fmla="*/ 376 h 421"/>
                <a:gd name="T76" fmla="*/ 244 w 399"/>
                <a:gd name="T77" fmla="*/ 379 h 421"/>
                <a:gd name="T78" fmla="*/ 230 w 399"/>
                <a:gd name="T79" fmla="*/ 389 h 421"/>
                <a:gd name="T80" fmla="*/ 208 w 399"/>
                <a:gd name="T81" fmla="*/ 404 h 421"/>
                <a:gd name="T82" fmla="*/ 194 w 399"/>
                <a:gd name="T83" fmla="*/ 415 h 421"/>
                <a:gd name="T84" fmla="*/ 176 w 399"/>
                <a:gd name="T85" fmla="*/ 413 h 421"/>
                <a:gd name="T86" fmla="*/ 162 w 399"/>
                <a:gd name="T87" fmla="*/ 418 h 421"/>
                <a:gd name="T88" fmla="*/ 152 w 399"/>
                <a:gd name="T89" fmla="*/ 418 h 421"/>
                <a:gd name="T90" fmla="*/ 135 w 399"/>
                <a:gd name="T91" fmla="*/ 404 h 421"/>
                <a:gd name="T92" fmla="*/ 124 w 399"/>
                <a:gd name="T93" fmla="*/ 396 h 421"/>
                <a:gd name="T94" fmla="*/ 135 w 399"/>
                <a:gd name="T95" fmla="*/ 379 h 421"/>
                <a:gd name="T96" fmla="*/ 144 w 399"/>
                <a:gd name="T97" fmla="*/ 362 h 421"/>
                <a:gd name="T98" fmla="*/ 154 w 399"/>
                <a:gd name="T99" fmla="*/ 352 h 421"/>
                <a:gd name="T100" fmla="*/ 145 w 399"/>
                <a:gd name="T101" fmla="*/ 339 h 421"/>
                <a:gd name="T102" fmla="*/ 135 w 399"/>
                <a:gd name="T103" fmla="*/ 335 h 421"/>
                <a:gd name="T104" fmla="*/ 109 w 399"/>
                <a:gd name="T105" fmla="*/ 337 h 421"/>
                <a:gd name="T106" fmla="*/ 90 w 399"/>
                <a:gd name="T107" fmla="*/ 330 h 421"/>
                <a:gd name="T108" fmla="*/ 79 w 399"/>
                <a:gd name="T109" fmla="*/ 306 h 421"/>
                <a:gd name="T110" fmla="*/ 70 w 399"/>
                <a:gd name="T111" fmla="*/ 295 h 421"/>
                <a:gd name="T112" fmla="*/ 47 w 399"/>
                <a:gd name="T113" fmla="*/ 293 h 421"/>
                <a:gd name="T114" fmla="*/ 22 w 399"/>
                <a:gd name="T115" fmla="*/ 293 h 421"/>
                <a:gd name="T116" fmla="*/ 8 w 399"/>
                <a:gd name="T117" fmla="*/ 282 h 421"/>
                <a:gd name="T118" fmla="*/ 3 w 399"/>
                <a:gd name="T119" fmla="*/ 277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9" h="421">
                  <a:moveTo>
                    <a:pt x="127" y="0"/>
                  </a:moveTo>
                  <a:lnTo>
                    <a:pt x="132" y="4"/>
                  </a:lnTo>
                  <a:lnTo>
                    <a:pt x="134" y="5"/>
                  </a:lnTo>
                  <a:lnTo>
                    <a:pt x="137" y="7"/>
                  </a:lnTo>
                  <a:lnTo>
                    <a:pt x="144" y="12"/>
                  </a:lnTo>
                  <a:lnTo>
                    <a:pt x="145" y="13"/>
                  </a:lnTo>
                  <a:lnTo>
                    <a:pt x="147" y="15"/>
                  </a:lnTo>
                  <a:lnTo>
                    <a:pt x="148" y="15"/>
                  </a:lnTo>
                  <a:lnTo>
                    <a:pt x="149" y="17"/>
                  </a:lnTo>
                  <a:lnTo>
                    <a:pt x="151" y="18"/>
                  </a:lnTo>
                  <a:lnTo>
                    <a:pt x="151" y="19"/>
                  </a:lnTo>
                  <a:lnTo>
                    <a:pt x="152" y="1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54" y="19"/>
                  </a:lnTo>
                  <a:lnTo>
                    <a:pt x="156" y="19"/>
                  </a:lnTo>
                  <a:lnTo>
                    <a:pt x="157" y="19"/>
                  </a:lnTo>
                  <a:lnTo>
                    <a:pt x="158" y="19"/>
                  </a:lnTo>
                  <a:lnTo>
                    <a:pt x="162" y="19"/>
                  </a:lnTo>
                  <a:lnTo>
                    <a:pt x="163" y="19"/>
                  </a:lnTo>
                  <a:lnTo>
                    <a:pt x="163" y="19"/>
                  </a:lnTo>
                  <a:lnTo>
                    <a:pt x="164" y="19"/>
                  </a:lnTo>
                  <a:lnTo>
                    <a:pt x="166" y="20"/>
                  </a:lnTo>
                  <a:lnTo>
                    <a:pt x="167" y="20"/>
                  </a:lnTo>
                  <a:lnTo>
                    <a:pt x="168" y="20"/>
                  </a:lnTo>
                  <a:lnTo>
                    <a:pt x="169" y="20"/>
                  </a:lnTo>
                  <a:lnTo>
                    <a:pt x="169" y="19"/>
                  </a:lnTo>
                  <a:lnTo>
                    <a:pt x="171" y="19"/>
                  </a:lnTo>
                  <a:lnTo>
                    <a:pt x="172" y="19"/>
                  </a:lnTo>
                  <a:lnTo>
                    <a:pt x="172" y="19"/>
                  </a:lnTo>
                  <a:lnTo>
                    <a:pt x="173" y="19"/>
                  </a:lnTo>
                  <a:lnTo>
                    <a:pt x="174" y="19"/>
                  </a:lnTo>
                  <a:lnTo>
                    <a:pt x="176" y="20"/>
                  </a:lnTo>
                  <a:lnTo>
                    <a:pt x="177" y="20"/>
                  </a:lnTo>
                  <a:lnTo>
                    <a:pt x="178" y="20"/>
                  </a:lnTo>
                  <a:lnTo>
                    <a:pt x="178" y="21"/>
                  </a:lnTo>
                  <a:lnTo>
                    <a:pt x="179" y="22"/>
                  </a:lnTo>
                  <a:lnTo>
                    <a:pt x="180" y="22"/>
                  </a:lnTo>
                  <a:lnTo>
                    <a:pt x="183" y="23"/>
                  </a:lnTo>
                  <a:lnTo>
                    <a:pt x="184" y="24"/>
                  </a:lnTo>
                  <a:lnTo>
                    <a:pt x="185" y="24"/>
                  </a:lnTo>
                  <a:lnTo>
                    <a:pt x="186" y="25"/>
                  </a:lnTo>
                  <a:lnTo>
                    <a:pt x="186" y="25"/>
                  </a:lnTo>
                  <a:lnTo>
                    <a:pt x="189" y="28"/>
                  </a:lnTo>
                  <a:lnTo>
                    <a:pt x="190" y="29"/>
                  </a:lnTo>
                  <a:lnTo>
                    <a:pt x="190" y="29"/>
                  </a:lnTo>
                  <a:lnTo>
                    <a:pt x="191" y="30"/>
                  </a:lnTo>
                  <a:lnTo>
                    <a:pt x="192" y="31"/>
                  </a:lnTo>
                  <a:lnTo>
                    <a:pt x="193" y="31"/>
                  </a:lnTo>
                  <a:lnTo>
                    <a:pt x="194" y="32"/>
                  </a:lnTo>
                  <a:lnTo>
                    <a:pt x="196" y="32"/>
                  </a:lnTo>
                  <a:lnTo>
                    <a:pt x="196" y="32"/>
                  </a:lnTo>
                  <a:lnTo>
                    <a:pt x="199" y="33"/>
                  </a:lnTo>
                  <a:lnTo>
                    <a:pt x="200" y="33"/>
                  </a:lnTo>
                  <a:lnTo>
                    <a:pt x="203" y="34"/>
                  </a:lnTo>
                  <a:lnTo>
                    <a:pt x="204" y="34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5" y="36"/>
                  </a:lnTo>
                  <a:lnTo>
                    <a:pt x="206" y="36"/>
                  </a:lnTo>
                  <a:lnTo>
                    <a:pt x="206" y="37"/>
                  </a:lnTo>
                  <a:lnTo>
                    <a:pt x="206" y="37"/>
                  </a:lnTo>
                  <a:lnTo>
                    <a:pt x="206" y="39"/>
                  </a:lnTo>
                  <a:lnTo>
                    <a:pt x="207" y="41"/>
                  </a:lnTo>
                  <a:lnTo>
                    <a:pt x="207" y="41"/>
                  </a:lnTo>
                  <a:lnTo>
                    <a:pt x="207" y="42"/>
                  </a:lnTo>
                  <a:lnTo>
                    <a:pt x="208" y="42"/>
                  </a:lnTo>
                  <a:lnTo>
                    <a:pt x="208" y="43"/>
                  </a:lnTo>
                  <a:lnTo>
                    <a:pt x="209" y="43"/>
                  </a:lnTo>
                  <a:lnTo>
                    <a:pt x="210" y="43"/>
                  </a:lnTo>
                  <a:lnTo>
                    <a:pt x="210" y="43"/>
                  </a:lnTo>
                  <a:lnTo>
                    <a:pt x="212" y="44"/>
                  </a:lnTo>
                  <a:lnTo>
                    <a:pt x="213" y="44"/>
                  </a:lnTo>
                  <a:lnTo>
                    <a:pt x="215" y="44"/>
                  </a:lnTo>
                  <a:lnTo>
                    <a:pt x="216" y="45"/>
                  </a:lnTo>
                  <a:lnTo>
                    <a:pt x="217" y="46"/>
                  </a:lnTo>
                  <a:lnTo>
                    <a:pt x="219" y="46"/>
                  </a:lnTo>
                  <a:lnTo>
                    <a:pt x="220" y="47"/>
                  </a:lnTo>
                  <a:lnTo>
                    <a:pt x="222" y="48"/>
                  </a:lnTo>
                  <a:lnTo>
                    <a:pt x="223" y="49"/>
                  </a:lnTo>
                  <a:lnTo>
                    <a:pt x="224" y="49"/>
                  </a:lnTo>
                  <a:lnTo>
                    <a:pt x="225" y="50"/>
                  </a:lnTo>
                  <a:lnTo>
                    <a:pt x="226" y="50"/>
                  </a:lnTo>
                  <a:lnTo>
                    <a:pt x="228" y="51"/>
                  </a:lnTo>
                  <a:lnTo>
                    <a:pt x="228" y="51"/>
                  </a:lnTo>
                  <a:lnTo>
                    <a:pt x="230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2" y="53"/>
                  </a:lnTo>
                  <a:lnTo>
                    <a:pt x="232" y="53"/>
                  </a:lnTo>
                  <a:lnTo>
                    <a:pt x="232" y="54"/>
                  </a:lnTo>
                  <a:lnTo>
                    <a:pt x="232" y="55"/>
                  </a:lnTo>
                  <a:lnTo>
                    <a:pt x="232" y="55"/>
                  </a:lnTo>
                  <a:lnTo>
                    <a:pt x="231" y="58"/>
                  </a:lnTo>
                  <a:lnTo>
                    <a:pt x="231" y="59"/>
                  </a:lnTo>
                  <a:lnTo>
                    <a:pt x="230" y="60"/>
                  </a:lnTo>
                  <a:lnTo>
                    <a:pt x="230" y="61"/>
                  </a:lnTo>
                  <a:lnTo>
                    <a:pt x="231" y="62"/>
                  </a:lnTo>
                  <a:lnTo>
                    <a:pt x="231" y="63"/>
                  </a:lnTo>
                  <a:lnTo>
                    <a:pt x="231" y="64"/>
                  </a:lnTo>
                  <a:lnTo>
                    <a:pt x="232" y="65"/>
                  </a:lnTo>
                  <a:lnTo>
                    <a:pt x="233" y="66"/>
                  </a:lnTo>
                  <a:lnTo>
                    <a:pt x="234" y="67"/>
                  </a:lnTo>
                  <a:lnTo>
                    <a:pt x="235" y="67"/>
                  </a:lnTo>
                  <a:lnTo>
                    <a:pt x="235" y="68"/>
                  </a:lnTo>
                  <a:lnTo>
                    <a:pt x="237" y="69"/>
                  </a:lnTo>
                  <a:lnTo>
                    <a:pt x="243" y="72"/>
                  </a:lnTo>
                  <a:lnTo>
                    <a:pt x="246" y="73"/>
                  </a:lnTo>
                  <a:lnTo>
                    <a:pt x="248" y="74"/>
                  </a:lnTo>
                  <a:lnTo>
                    <a:pt x="249" y="74"/>
                  </a:lnTo>
                  <a:lnTo>
                    <a:pt x="249" y="75"/>
                  </a:lnTo>
                  <a:lnTo>
                    <a:pt x="250" y="75"/>
                  </a:lnTo>
                  <a:lnTo>
                    <a:pt x="251" y="75"/>
                  </a:lnTo>
                  <a:lnTo>
                    <a:pt x="252" y="75"/>
                  </a:lnTo>
                  <a:lnTo>
                    <a:pt x="254" y="75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7" y="75"/>
                  </a:lnTo>
                  <a:lnTo>
                    <a:pt x="258" y="74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3"/>
                  </a:lnTo>
                  <a:lnTo>
                    <a:pt x="260" y="73"/>
                  </a:lnTo>
                  <a:lnTo>
                    <a:pt x="261" y="70"/>
                  </a:lnTo>
                  <a:lnTo>
                    <a:pt x="263" y="68"/>
                  </a:lnTo>
                  <a:lnTo>
                    <a:pt x="264" y="67"/>
                  </a:lnTo>
                  <a:lnTo>
                    <a:pt x="264" y="67"/>
                  </a:lnTo>
                  <a:lnTo>
                    <a:pt x="264" y="66"/>
                  </a:lnTo>
                  <a:lnTo>
                    <a:pt x="265" y="63"/>
                  </a:lnTo>
                  <a:lnTo>
                    <a:pt x="266" y="61"/>
                  </a:lnTo>
                  <a:lnTo>
                    <a:pt x="267" y="59"/>
                  </a:lnTo>
                  <a:lnTo>
                    <a:pt x="268" y="58"/>
                  </a:lnTo>
                  <a:lnTo>
                    <a:pt x="269" y="57"/>
                  </a:lnTo>
                  <a:lnTo>
                    <a:pt x="270" y="56"/>
                  </a:lnTo>
                  <a:lnTo>
                    <a:pt x="271" y="55"/>
                  </a:lnTo>
                  <a:lnTo>
                    <a:pt x="272" y="54"/>
                  </a:lnTo>
                  <a:lnTo>
                    <a:pt x="273" y="54"/>
                  </a:lnTo>
                  <a:lnTo>
                    <a:pt x="273" y="54"/>
                  </a:lnTo>
                  <a:lnTo>
                    <a:pt x="274" y="54"/>
                  </a:lnTo>
                  <a:lnTo>
                    <a:pt x="274" y="54"/>
                  </a:lnTo>
                  <a:lnTo>
                    <a:pt x="275" y="54"/>
                  </a:lnTo>
                  <a:lnTo>
                    <a:pt x="275" y="55"/>
                  </a:lnTo>
                  <a:lnTo>
                    <a:pt x="276" y="56"/>
                  </a:lnTo>
                  <a:lnTo>
                    <a:pt x="277" y="57"/>
                  </a:lnTo>
                  <a:lnTo>
                    <a:pt x="278" y="58"/>
                  </a:lnTo>
                  <a:lnTo>
                    <a:pt x="279" y="59"/>
                  </a:lnTo>
                  <a:lnTo>
                    <a:pt x="279" y="59"/>
                  </a:lnTo>
                  <a:lnTo>
                    <a:pt x="280" y="60"/>
                  </a:lnTo>
                  <a:lnTo>
                    <a:pt x="281" y="60"/>
                  </a:lnTo>
                  <a:lnTo>
                    <a:pt x="282" y="61"/>
                  </a:lnTo>
                  <a:lnTo>
                    <a:pt x="283" y="61"/>
                  </a:lnTo>
                  <a:lnTo>
                    <a:pt x="284" y="62"/>
                  </a:lnTo>
                  <a:lnTo>
                    <a:pt x="285" y="62"/>
                  </a:lnTo>
                  <a:lnTo>
                    <a:pt x="287" y="63"/>
                  </a:lnTo>
                  <a:lnTo>
                    <a:pt x="290" y="63"/>
                  </a:lnTo>
                  <a:lnTo>
                    <a:pt x="292" y="63"/>
                  </a:lnTo>
                  <a:lnTo>
                    <a:pt x="293" y="64"/>
                  </a:lnTo>
                  <a:lnTo>
                    <a:pt x="294" y="64"/>
                  </a:lnTo>
                  <a:lnTo>
                    <a:pt x="294" y="65"/>
                  </a:lnTo>
                  <a:lnTo>
                    <a:pt x="295" y="65"/>
                  </a:lnTo>
                  <a:lnTo>
                    <a:pt x="296" y="66"/>
                  </a:lnTo>
                  <a:lnTo>
                    <a:pt x="297" y="66"/>
                  </a:lnTo>
                  <a:lnTo>
                    <a:pt x="298" y="68"/>
                  </a:lnTo>
                  <a:lnTo>
                    <a:pt x="299" y="69"/>
                  </a:lnTo>
                  <a:lnTo>
                    <a:pt x="301" y="71"/>
                  </a:lnTo>
                  <a:lnTo>
                    <a:pt x="303" y="73"/>
                  </a:lnTo>
                  <a:lnTo>
                    <a:pt x="304" y="73"/>
                  </a:lnTo>
                  <a:lnTo>
                    <a:pt x="304" y="74"/>
                  </a:lnTo>
                  <a:lnTo>
                    <a:pt x="305" y="74"/>
                  </a:lnTo>
                  <a:lnTo>
                    <a:pt x="305" y="74"/>
                  </a:lnTo>
                  <a:lnTo>
                    <a:pt x="306" y="74"/>
                  </a:lnTo>
                  <a:lnTo>
                    <a:pt x="306" y="75"/>
                  </a:lnTo>
                  <a:lnTo>
                    <a:pt x="307" y="75"/>
                  </a:lnTo>
                  <a:lnTo>
                    <a:pt x="309" y="75"/>
                  </a:lnTo>
                  <a:lnTo>
                    <a:pt x="313" y="75"/>
                  </a:lnTo>
                  <a:lnTo>
                    <a:pt x="314" y="75"/>
                  </a:lnTo>
                  <a:lnTo>
                    <a:pt x="315" y="75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9" y="77"/>
                  </a:lnTo>
                  <a:lnTo>
                    <a:pt x="320" y="77"/>
                  </a:lnTo>
                  <a:lnTo>
                    <a:pt x="324" y="78"/>
                  </a:lnTo>
                  <a:lnTo>
                    <a:pt x="328" y="79"/>
                  </a:lnTo>
                  <a:lnTo>
                    <a:pt x="331" y="80"/>
                  </a:lnTo>
                  <a:lnTo>
                    <a:pt x="332" y="81"/>
                  </a:lnTo>
                  <a:lnTo>
                    <a:pt x="332" y="81"/>
                  </a:lnTo>
                  <a:lnTo>
                    <a:pt x="337" y="83"/>
                  </a:lnTo>
                  <a:lnTo>
                    <a:pt x="341" y="85"/>
                  </a:lnTo>
                  <a:lnTo>
                    <a:pt x="342" y="86"/>
                  </a:lnTo>
                  <a:lnTo>
                    <a:pt x="343" y="87"/>
                  </a:lnTo>
                  <a:lnTo>
                    <a:pt x="345" y="87"/>
                  </a:lnTo>
                  <a:lnTo>
                    <a:pt x="346" y="88"/>
                  </a:lnTo>
                  <a:lnTo>
                    <a:pt x="347" y="89"/>
                  </a:lnTo>
                  <a:lnTo>
                    <a:pt x="349" y="91"/>
                  </a:lnTo>
                  <a:lnTo>
                    <a:pt x="352" y="95"/>
                  </a:lnTo>
                  <a:lnTo>
                    <a:pt x="354" y="96"/>
                  </a:lnTo>
                  <a:lnTo>
                    <a:pt x="355" y="97"/>
                  </a:lnTo>
                  <a:lnTo>
                    <a:pt x="356" y="99"/>
                  </a:lnTo>
                  <a:lnTo>
                    <a:pt x="357" y="100"/>
                  </a:lnTo>
                  <a:lnTo>
                    <a:pt x="358" y="102"/>
                  </a:lnTo>
                  <a:lnTo>
                    <a:pt x="360" y="103"/>
                  </a:lnTo>
                  <a:lnTo>
                    <a:pt x="361" y="104"/>
                  </a:lnTo>
                  <a:lnTo>
                    <a:pt x="361" y="104"/>
                  </a:lnTo>
                  <a:lnTo>
                    <a:pt x="362" y="104"/>
                  </a:lnTo>
                  <a:lnTo>
                    <a:pt x="363" y="105"/>
                  </a:lnTo>
                  <a:lnTo>
                    <a:pt x="365" y="105"/>
                  </a:lnTo>
                  <a:lnTo>
                    <a:pt x="366" y="105"/>
                  </a:lnTo>
                  <a:lnTo>
                    <a:pt x="370" y="107"/>
                  </a:lnTo>
                  <a:lnTo>
                    <a:pt x="374" y="108"/>
                  </a:lnTo>
                  <a:lnTo>
                    <a:pt x="375" y="108"/>
                  </a:lnTo>
                  <a:lnTo>
                    <a:pt x="377" y="109"/>
                  </a:lnTo>
                  <a:lnTo>
                    <a:pt x="378" y="110"/>
                  </a:lnTo>
                  <a:lnTo>
                    <a:pt x="381" y="112"/>
                  </a:lnTo>
                  <a:lnTo>
                    <a:pt x="384" y="114"/>
                  </a:lnTo>
                  <a:lnTo>
                    <a:pt x="385" y="114"/>
                  </a:lnTo>
                  <a:lnTo>
                    <a:pt x="386" y="115"/>
                  </a:lnTo>
                  <a:lnTo>
                    <a:pt x="387" y="116"/>
                  </a:lnTo>
                  <a:lnTo>
                    <a:pt x="388" y="117"/>
                  </a:lnTo>
                  <a:lnTo>
                    <a:pt x="392" y="123"/>
                  </a:lnTo>
                  <a:lnTo>
                    <a:pt x="392" y="123"/>
                  </a:lnTo>
                  <a:lnTo>
                    <a:pt x="392" y="124"/>
                  </a:lnTo>
                  <a:lnTo>
                    <a:pt x="392" y="125"/>
                  </a:lnTo>
                  <a:lnTo>
                    <a:pt x="392" y="127"/>
                  </a:lnTo>
                  <a:lnTo>
                    <a:pt x="391" y="128"/>
                  </a:lnTo>
                  <a:lnTo>
                    <a:pt x="391" y="130"/>
                  </a:lnTo>
                  <a:lnTo>
                    <a:pt x="389" y="134"/>
                  </a:lnTo>
                  <a:lnTo>
                    <a:pt x="389" y="135"/>
                  </a:lnTo>
                  <a:lnTo>
                    <a:pt x="389" y="136"/>
                  </a:lnTo>
                  <a:lnTo>
                    <a:pt x="389" y="136"/>
                  </a:lnTo>
                  <a:lnTo>
                    <a:pt x="389" y="137"/>
                  </a:lnTo>
                  <a:lnTo>
                    <a:pt x="389" y="137"/>
                  </a:lnTo>
                  <a:lnTo>
                    <a:pt x="389" y="138"/>
                  </a:lnTo>
                  <a:lnTo>
                    <a:pt x="390" y="139"/>
                  </a:lnTo>
                  <a:lnTo>
                    <a:pt x="390" y="140"/>
                  </a:lnTo>
                  <a:lnTo>
                    <a:pt x="391" y="140"/>
                  </a:lnTo>
                  <a:lnTo>
                    <a:pt x="392" y="141"/>
                  </a:lnTo>
                  <a:lnTo>
                    <a:pt x="392" y="141"/>
                  </a:lnTo>
                  <a:lnTo>
                    <a:pt x="395" y="143"/>
                  </a:lnTo>
                  <a:lnTo>
                    <a:pt x="396" y="143"/>
                  </a:lnTo>
                  <a:lnTo>
                    <a:pt x="396" y="144"/>
                  </a:lnTo>
                  <a:lnTo>
                    <a:pt x="397" y="145"/>
                  </a:lnTo>
                  <a:lnTo>
                    <a:pt x="397" y="145"/>
                  </a:lnTo>
                  <a:lnTo>
                    <a:pt x="398" y="146"/>
                  </a:lnTo>
                  <a:lnTo>
                    <a:pt x="398" y="146"/>
                  </a:lnTo>
                  <a:lnTo>
                    <a:pt x="398" y="147"/>
                  </a:lnTo>
                  <a:lnTo>
                    <a:pt x="398" y="147"/>
                  </a:lnTo>
                  <a:lnTo>
                    <a:pt x="399" y="148"/>
                  </a:lnTo>
                  <a:lnTo>
                    <a:pt x="399" y="149"/>
                  </a:lnTo>
                  <a:lnTo>
                    <a:pt x="399" y="150"/>
                  </a:lnTo>
                  <a:lnTo>
                    <a:pt x="398" y="150"/>
                  </a:lnTo>
                  <a:lnTo>
                    <a:pt x="398" y="151"/>
                  </a:lnTo>
                  <a:lnTo>
                    <a:pt x="398" y="152"/>
                  </a:lnTo>
                  <a:lnTo>
                    <a:pt x="397" y="153"/>
                  </a:lnTo>
                  <a:lnTo>
                    <a:pt x="397" y="154"/>
                  </a:lnTo>
                  <a:lnTo>
                    <a:pt x="396" y="156"/>
                  </a:lnTo>
                  <a:lnTo>
                    <a:pt x="395" y="157"/>
                  </a:lnTo>
                  <a:lnTo>
                    <a:pt x="394" y="158"/>
                  </a:lnTo>
                  <a:lnTo>
                    <a:pt x="393" y="160"/>
                  </a:lnTo>
                  <a:lnTo>
                    <a:pt x="392" y="160"/>
                  </a:lnTo>
                  <a:lnTo>
                    <a:pt x="391" y="161"/>
                  </a:lnTo>
                  <a:lnTo>
                    <a:pt x="390" y="161"/>
                  </a:lnTo>
                  <a:lnTo>
                    <a:pt x="389" y="162"/>
                  </a:lnTo>
                  <a:lnTo>
                    <a:pt x="388" y="162"/>
                  </a:lnTo>
                  <a:lnTo>
                    <a:pt x="388" y="162"/>
                  </a:lnTo>
                  <a:lnTo>
                    <a:pt x="387" y="162"/>
                  </a:lnTo>
                  <a:lnTo>
                    <a:pt x="385" y="162"/>
                  </a:lnTo>
                  <a:lnTo>
                    <a:pt x="385" y="162"/>
                  </a:lnTo>
                  <a:lnTo>
                    <a:pt x="385" y="162"/>
                  </a:lnTo>
                  <a:lnTo>
                    <a:pt x="384" y="162"/>
                  </a:lnTo>
                  <a:lnTo>
                    <a:pt x="384" y="162"/>
                  </a:lnTo>
                  <a:lnTo>
                    <a:pt x="384" y="162"/>
                  </a:lnTo>
                  <a:lnTo>
                    <a:pt x="384" y="163"/>
                  </a:lnTo>
                  <a:lnTo>
                    <a:pt x="384" y="163"/>
                  </a:lnTo>
                  <a:lnTo>
                    <a:pt x="385" y="164"/>
                  </a:lnTo>
                  <a:lnTo>
                    <a:pt x="385" y="165"/>
                  </a:lnTo>
                  <a:lnTo>
                    <a:pt x="385" y="165"/>
                  </a:lnTo>
                  <a:lnTo>
                    <a:pt x="386" y="166"/>
                  </a:lnTo>
                  <a:lnTo>
                    <a:pt x="386" y="167"/>
                  </a:lnTo>
                  <a:lnTo>
                    <a:pt x="388" y="168"/>
                  </a:lnTo>
                  <a:lnTo>
                    <a:pt x="388" y="169"/>
                  </a:lnTo>
                  <a:lnTo>
                    <a:pt x="389" y="170"/>
                  </a:lnTo>
                  <a:lnTo>
                    <a:pt x="390" y="171"/>
                  </a:lnTo>
                  <a:lnTo>
                    <a:pt x="390" y="172"/>
                  </a:lnTo>
                  <a:lnTo>
                    <a:pt x="390" y="173"/>
                  </a:lnTo>
                  <a:lnTo>
                    <a:pt x="390" y="173"/>
                  </a:lnTo>
                  <a:lnTo>
                    <a:pt x="390" y="174"/>
                  </a:lnTo>
                  <a:lnTo>
                    <a:pt x="390" y="174"/>
                  </a:lnTo>
                  <a:lnTo>
                    <a:pt x="390" y="175"/>
                  </a:lnTo>
                  <a:lnTo>
                    <a:pt x="390" y="176"/>
                  </a:lnTo>
                  <a:lnTo>
                    <a:pt x="389" y="177"/>
                  </a:lnTo>
                  <a:lnTo>
                    <a:pt x="389" y="179"/>
                  </a:lnTo>
                  <a:lnTo>
                    <a:pt x="388" y="180"/>
                  </a:lnTo>
                  <a:lnTo>
                    <a:pt x="388" y="181"/>
                  </a:lnTo>
                  <a:lnTo>
                    <a:pt x="388" y="181"/>
                  </a:lnTo>
                  <a:lnTo>
                    <a:pt x="387" y="181"/>
                  </a:lnTo>
                  <a:lnTo>
                    <a:pt x="386" y="182"/>
                  </a:lnTo>
                  <a:lnTo>
                    <a:pt x="386" y="182"/>
                  </a:lnTo>
                  <a:lnTo>
                    <a:pt x="385" y="182"/>
                  </a:lnTo>
                  <a:lnTo>
                    <a:pt x="385" y="182"/>
                  </a:lnTo>
                  <a:lnTo>
                    <a:pt x="384" y="182"/>
                  </a:lnTo>
                  <a:lnTo>
                    <a:pt x="383" y="182"/>
                  </a:lnTo>
                  <a:lnTo>
                    <a:pt x="383" y="182"/>
                  </a:lnTo>
                  <a:lnTo>
                    <a:pt x="382" y="181"/>
                  </a:lnTo>
                  <a:lnTo>
                    <a:pt x="382" y="181"/>
                  </a:lnTo>
                  <a:lnTo>
                    <a:pt x="381" y="180"/>
                  </a:lnTo>
                  <a:lnTo>
                    <a:pt x="381" y="180"/>
                  </a:lnTo>
                  <a:lnTo>
                    <a:pt x="381" y="179"/>
                  </a:lnTo>
                  <a:lnTo>
                    <a:pt x="380" y="178"/>
                  </a:lnTo>
                  <a:lnTo>
                    <a:pt x="380" y="177"/>
                  </a:lnTo>
                  <a:lnTo>
                    <a:pt x="379" y="177"/>
                  </a:lnTo>
                  <a:lnTo>
                    <a:pt x="379" y="176"/>
                  </a:lnTo>
                  <a:lnTo>
                    <a:pt x="378" y="176"/>
                  </a:lnTo>
                  <a:lnTo>
                    <a:pt x="378" y="176"/>
                  </a:lnTo>
                  <a:lnTo>
                    <a:pt x="377" y="176"/>
                  </a:lnTo>
                  <a:lnTo>
                    <a:pt x="376" y="176"/>
                  </a:lnTo>
                  <a:lnTo>
                    <a:pt x="375" y="176"/>
                  </a:lnTo>
                  <a:lnTo>
                    <a:pt x="375" y="176"/>
                  </a:lnTo>
                  <a:lnTo>
                    <a:pt x="374" y="176"/>
                  </a:lnTo>
                  <a:lnTo>
                    <a:pt x="373" y="176"/>
                  </a:lnTo>
                  <a:lnTo>
                    <a:pt x="372" y="177"/>
                  </a:lnTo>
                  <a:lnTo>
                    <a:pt x="371" y="178"/>
                  </a:lnTo>
                  <a:lnTo>
                    <a:pt x="370" y="178"/>
                  </a:lnTo>
                  <a:lnTo>
                    <a:pt x="370" y="179"/>
                  </a:lnTo>
                  <a:lnTo>
                    <a:pt x="368" y="180"/>
                  </a:lnTo>
                  <a:lnTo>
                    <a:pt x="367" y="181"/>
                  </a:lnTo>
                  <a:lnTo>
                    <a:pt x="367" y="182"/>
                  </a:lnTo>
                  <a:lnTo>
                    <a:pt x="366" y="182"/>
                  </a:lnTo>
                  <a:lnTo>
                    <a:pt x="366" y="183"/>
                  </a:lnTo>
                  <a:lnTo>
                    <a:pt x="366" y="183"/>
                  </a:lnTo>
                  <a:lnTo>
                    <a:pt x="366" y="183"/>
                  </a:lnTo>
                  <a:lnTo>
                    <a:pt x="367" y="184"/>
                  </a:lnTo>
                  <a:lnTo>
                    <a:pt x="367" y="184"/>
                  </a:lnTo>
                  <a:lnTo>
                    <a:pt x="368" y="184"/>
                  </a:lnTo>
                  <a:lnTo>
                    <a:pt x="370" y="185"/>
                  </a:lnTo>
                  <a:lnTo>
                    <a:pt x="371" y="185"/>
                  </a:lnTo>
                  <a:lnTo>
                    <a:pt x="372" y="185"/>
                  </a:lnTo>
                  <a:lnTo>
                    <a:pt x="372" y="186"/>
                  </a:lnTo>
                  <a:lnTo>
                    <a:pt x="373" y="186"/>
                  </a:lnTo>
                  <a:lnTo>
                    <a:pt x="373" y="186"/>
                  </a:lnTo>
                  <a:lnTo>
                    <a:pt x="374" y="187"/>
                  </a:lnTo>
                  <a:lnTo>
                    <a:pt x="374" y="187"/>
                  </a:lnTo>
                  <a:lnTo>
                    <a:pt x="374" y="188"/>
                  </a:lnTo>
                  <a:lnTo>
                    <a:pt x="374" y="188"/>
                  </a:lnTo>
                  <a:lnTo>
                    <a:pt x="374" y="189"/>
                  </a:lnTo>
                  <a:lnTo>
                    <a:pt x="374" y="189"/>
                  </a:lnTo>
                  <a:lnTo>
                    <a:pt x="374" y="190"/>
                  </a:lnTo>
                  <a:lnTo>
                    <a:pt x="373" y="190"/>
                  </a:lnTo>
                  <a:lnTo>
                    <a:pt x="373" y="191"/>
                  </a:lnTo>
                  <a:lnTo>
                    <a:pt x="372" y="191"/>
                  </a:lnTo>
                  <a:lnTo>
                    <a:pt x="371" y="192"/>
                  </a:lnTo>
                  <a:lnTo>
                    <a:pt x="370" y="192"/>
                  </a:lnTo>
                  <a:lnTo>
                    <a:pt x="369" y="192"/>
                  </a:lnTo>
                  <a:lnTo>
                    <a:pt x="367" y="193"/>
                  </a:lnTo>
                  <a:lnTo>
                    <a:pt x="365" y="193"/>
                  </a:lnTo>
                  <a:lnTo>
                    <a:pt x="362" y="193"/>
                  </a:lnTo>
                  <a:lnTo>
                    <a:pt x="361" y="194"/>
                  </a:lnTo>
                  <a:lnTo>
                    <a:pt x="360" y="194"/>
                  </a:lnTo>
                  <a:lnTo>
                    <a:pt x="359" y="194"/>
                  </a:lnTo>
                  <a:lnTo>
                    <a:pt x="357" y="195"/>
                  </a:lnTo>
                  <a:lnTo>
                    <a:pt x="357" y="195"/>
                  </a:lnTo>
                  <a:lnTo>
                    <a:pt x="356" y="196"/>
                  </a:lnTo>
                  <a:lnTo>
                    <a:pt x="356" y="196"/>
                  </a:lnTo>
                  <a:lnTo>
                    <a:pt x="355" y="197"/>
                  </a:lnTo>
                  <a:lnTo>
                    <a:pt x="355" y="198"/>
                  </a:lnTo>
                  <a:lnTo>
                    <a:pt x="354" y="199"/>
                  </a:lnTo>
                  <a:lnTo>
                    <a:pt x="353" y="200"/>
                  </a:lnTo>
                  <a:lnTo>
                    <a:pt x="352" y="203"/>
                  </a:lnTo>
                  <a:lnTo>
                    <a:pt x="351" y="204"/>
                  </a:lnTo>
                  <a:lnTo>
                    <a:pt x="351" y="204"/>
                  </a:lnTo>
                  <a:lnTo>
                    <a:pt x="349" y="207"/>
                  </a:lnTo>
                  <a:lnTo>
                    <a:pt x="348" y="208"/>
                  </a:lnTo>
                  <a:lnTo>
                    <a:pt x="347" y="209"/>
                  </a:lnTo>
                  <a:lnTo>
                    <a:pt x="346" y="210"/>
                  </a:lnTo>
                  <a:lnTo>
                    <a:pt x="346" y="211"/>
                  </a:lnTo>
                  <a:lnTo>
                    <a:pt x="346" y="212"/>
                  </a:lnTo>
                  <a:lnTo>
                    <a:pt x="346" y="213"/>
                  </a:lnTo>
                  <a:lnTo>
                    <a:pt x="346" y="216"/>
                  </a:lnTo>
                  <a:lnTo>
                    <a:pt x="345" y="218"/>
                  </a:lnTo>
                  <a:lnTo>
                    <a:pt x="345" y="220"/>
                  </a:lnTo>
                  <a:lnTo>
                    <a:pt x="345" y="222"/>
                  </a:lnTo>
                  <a:lnTo>
                    <a:pt x="344" y="225"/>
                  </a:lnTo>
                  <a:lnTo>
                    <a:pt x="344" y="226"/>
                  </a:lnTo>
                  <a:lnTo>
                    <a:pt x="344" y="227"/>
                  </a:lnTo>
                  <a:lnTo>
                    <a:pt x="344" y="228"/>
                  </a:lnTo>
                  <a:lnTo>
                    <a:pt x="344" y="228"/>
                  </a:lnTo>
                  <a:lnTo>
                    <a:pt x="344" y="229"/>
                  </a:lnTo>
                  <a:lnTo>
                    <a:pt x="344" y="229"/>
                  </a:lnTo>
                  <a:lnTo>
                    <a:pt x="345" y="230"/>
                  </a:lnTo>
                  <a:lnTo>
                    <a:pt x="345" y="230"/>
                  </a:lnTo>
                  <a:lnTo>
                    <a:pt x="346" y="231"/>
                  </a:lnTo>
                  <a:lnTo>
                    <a:pt x="349" y="233"/>
                  </a:lnTo>
                  <a:lnTo>
                    <a:pt x="354" y="237"/>
                  </a:lnTo>
                  <a:lnTo>
                    <a:pt x="354" y="237"/>
                  </a:lnTo>
                  <a:lnTo>
                    <a:pt x="355" y="237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4" y="239"/>
                  </a:lnTo>
                  <a:lnTo>
                    <a:pt x="353" y="239"/>
                  </a:lnTo>
                  <a:lnTo>
                    <a:pt x="353" y="240"/>
                  </a:lnTo>
                  <a:lnTo>
                    <a:pt x="353" y="240"/>
                  </a:lnTo>
                  <a:lnTo>
                    <a:pt x="352" y="240"/>
                  </a:lnTo>
                  <a:lnTo>
                    <a:pt x="352" y="241"/>
                  </a:lnTo>
                  <a:lnTo>
                    <a:pt x="352" y="241"/>
                  </a:lnTo>
                  <a:lnTo>
                    <a:pt x="352" y="241"/>
                  </a:lnTo>
                  <a:lnTo>
                    <a:pt x="353" y="242"/>
                  </a:lnTo>
                  <a:lnTo>
                    <a:pt x="353" y="242"/>
                  </a:lnTo>
                  <a:lnTo>
                    <a:pt x="354" y="243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6" y="244"/>
                  </a:lnTo>
                  <a:lnTo>
                    <a:pt x="357" y="244"/>
                  </a:lnTo>
                  <a:lnTo>
                    <a:pt x="360" y="245"/>
                  </a:lnTo>
                  <a:lnTo>
                    <a:pt x="361" y="245"/>
                  </a:lnTo>
                  <a:lnTo>
                    <a:pt x="361" y="245"/>
                  </a:lnTo>
                  <a:lnTo>
                    <a:pt x="361" y="246"/>
                  </a:lnTo>
                  <a:lnTo>
                    <a:pt x="362" y="246"/>
                  </a:lnTo>
                  <a:lnTo>
                    <a:pt x="362" y="246"/>
                  </a:lnTo>
                  <a:lnTo>
                    <a:pt x="362" y="247"/>
                  </a:lnTo>
                  <a:lnTo>
                    <a:pt x="362" y="248"/>
                  </a:lnTo>
                  <a:lnTo>
                    <a:pt x="362" y="248"/>
                  </a:lnTo>
                  <a:lnTo>
                    <a:pt x="362" y="249"/>
                  </a:lnTo>
                  <a:lnTo>
                    <a:pt x="362" y="249"/>
                  </a:lnTo>
                  <a:lnTo>
                    <a:pt x="362" y="250"/>
                  </a:lnTo>
                  <a:lnTo>
                    <a:pt x="361" y="251"/>
                  </a:lnTo>
                  <a:lnTo>
                    <a:pt x="361" y="252"/>
                  </a:lnTo>
                  <a:lnTo>
                    <a:pt x="360" y="254"/>
                  </a:lnTo>
                  <a:lnTo>
                    <a:pt x="357" y="257"/>
                  </a:lnTo>
                  <a:lnTo>
                    <a:pt x="357" y="258"/>
                  </a:lnTo>
                  <a:lnTo>
                    <a:pt x="356" y="258"/>
                  </a:lnTo>
                  <a:lnTo>
                    <a:pt x="356" y="259"/>
                  </a:lnTo>
                  <a:lnTo>
                    <a:pt x="356" y="260"/>
                  </a:lnTo>
                  <a:lnTo>
                    <a:pt x="356" y="261"/>
                  </a:lnTo>
                  <a:lnTo>
                    <a:pt x="356" y="262"/>
                  </a:lnTo>
                  <a:lnTo>
                    <a:pt x="356" y="262"/>
                  </a:lnTo>
                  <a:lnTo>
                    <a:pt x="356" y="263"/>
                  </a:lnTo>
                  <a:lnTo>
                    <a:pt x="356" y="264"/>
                  </a:lnTo>
                  <a:lnTo>
                    <a:pt x="357" y="265"/>
                  </a:lnTo>
                  <a:lnTo>
                    <a:pt x="357" y="265"/>
                  </a:lnTo>
                  <a:lnTo>
                    <a:pt x="359" y="267"/>
                  </a:lnTo>
                  <a:lnTo>
                    <a:pt x="360" y="268"/>
                  </a:lnTo>
                  <a:lnTo>
                    <a:pt x="360" y="269"/>
                  </a:lnTo>
                  <a:lnTo>
                    <a:pt x="360" y="270"/>
                  </a:lnTo>
                  <a:lnTo>
                    <a:pt x="361" y="270"/>
                  </a:lnTo>
                  <a:lnTo>
                    <a:pt x="361" y="271"/>
                  </a:lnTo>
                  <a:lnTo>
                    <a:pt x="361" y="271"/>
                  </a:lnTo>
                  <a:lnTo>
                    <a:pt x="361" y="272"/>
                  </a:lnTo>
                  <a:lnTo>
                    <a:pt x="360" y="272"/>
                  </a:lnTo>
                  <a:lnTo>
                    <a:pt x="360" y="273"/>
                  </a:lnTo>
                  <a:lnTo>
                    <a:pt x="360" y="273"/>
                  </a:lnTo>
                  <a:lnTo>
                    <a:pt x="359" y="274"/>
                  </a:lnTo>
                  <a:lnTo>
                    <a:pt x="358" y="274"/>
                  </a:lnTo>
                  <a:lnTo>
                    <a:pt x="356" y="276"/>
                  </a:lnTo>
                  <a:lnTo>
                    <a:pt x="355" y="277"/>
                  </a:lnTo>
                  <a:lnTo>
                    <a:pt x="354" y="277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1" y="281"/>
                  </a:lnTo>
                  <a:lnTo>
                    <a:pt x="351" y="282"/>
                  </a:lnTo>
                  <a:lnTo>
                    <a:pt x="351" y="283"/>
                  </a:lnTo>
                  <a:lnTo>
                    <a:pt x="350" y="284"/>
                  </a:lnTo>
                  <a:lnTo>
                    <a:pt x="350" y="285"/>
                  </a:lnTo>
                  <a:lnTo>
                    <a:pt x="349" y="286"/>
                  </a:lnTo>
                  <a:lnTo>
                    <a:pt x="349" y="287"/>
                  </a:lnTo>
                  <a:lnTo>
                    <a:pt x="349" y="288"/>
                  </a:lnTo>
                  <a:lnTo>
                    <a:pt x="349" y="289"/>
                  </a:lnTo>
                  <a:lnTo>
                    <a:pt x="349" y="290"/>
                  </a:lnTo>
                  <a:lnTo>
                    <a:pt x="349" y="291"/>
                  </a:lnTo>
                  <a:lnTo>
                    <a:pt x="349" y="291"/>
                  </a:lnTo>
                  <a:lnTo>
                    <a:pt x="349" y="292"/>
                  </a:lnTo>
                  <a:lnTo>
                    <a:pt x="349" y="292"/>
                  </a:lnTo>
                  <a:lnTo>
                    <a:pt x="350" y="293"/>
                  </a:lnTo>
                  <a:lnTo>
                    <a:pt x="350" y="293"/>
                  </a:lnTo>
                  <a:lnTo>
                    <a:pt x="351" y="294"/>
                  </a:lnTo>
                  <a:lnTo>
                    <a:pt x="352" y="295"/>
                  </a:lnTo>
                  <a:lnTo>
                    <a:pt x="354" y="297"/>
                  </a:lnTo>
                  <a:lnTo>
                    <a:pt x="356" y="297"/>
                  </a:lnTo>
                  <a:lnTo>
                    <a:pt x="356" y="298"/>
                  </a:lnTo>
                  <a:lnTo>
                    <a:pt x="356" y="299"/>
                  </a:lnTo>
                  <a:lnTo>
                    <a:pt x="357" y="299"/>
                  </a:lnTo>
                  <a:lnTo>
                    <a:pt x="357" y="300"/>
                  </a:lnTo>
                  <a:lnTo>
                    <a:pt x="357" y="300"/>
                  </a:lnTo>
                  <a:lnTo>
                    <a:pt x="358" y="301"/>
                  </a:lnTo>
                  <a:lnTo>
                    <a:pt x="358" y="301"/>
                  </a:lnTo>
                  <a:lnTo>
                    <a:pt x="358" y="302"/>
                  </a:lnTo>
                  <a:lnTo>
                    <a:pt x="358" y="304"/>
                  </a:lnTo>
                  <a:lnTo>
                    <a:pt x="358" y="305"/>
                  </a:lnTo>
                  <a:lnTo>
                    <a:pt x="358" y="306"/>
                  </a:lnTo>
                  <a:lnTo>
                    <a:pt x="358" y="307"/>
                  </a:lnTo>
                  <a:lnTo>
                    <a:pt x="358" y="307"/>
                  </a:lnTo>
                  <a:lnTo>
                    <a:pt x="357" y="308"/>
                  </a:lnTo>
                  <a:lnTo>
                    <a:pt x="356" y="309"/>
                  </a:lnTo>
                  <a:lnTo>
                    <a:pt x="355" y="310"/>
                  </a:lnTo>
                  <a:lnTo>
                    <a:pt x="354" y="310"/>
                  </a:lnTo>
                  <a:lnTo>
                    <a:pt x="353" y="311"/>
                  </a:lnTo>
                  <a:lnTo>
                    <a:pt x="351" y="312"/>
                  </a:lnTo>
                  <a:lnTo>
                    <a:pt x="350" y="312"/>
                  </a:lnTo>
                  <a:lnTo>
                    <a:pt x="350" y="313"/>
                  </a:lnTo>
                  <a:lnTo>
                    <a:pt x="349" y="313"/>
                  </a:lnTo>
                  <a:lnTo>
                    <a:pt x="349" y="314"/>
                  </a:lnTo>
                  <a:lnTo>
                    <a:pt x="348" y="314"/>
                  </a:lnTo>
                  <a:lnTo>
                    <a:pt x="348" y="315"/>
                  </a:lnTo>
                  <a:lnTo>
                    <a:pt x="348" y="316"/>
                  </a:lnTo>
                  <a:lnTo>
                    <a:pt x="347" y="316"/>
                  </a:lnTo>
                  <a:lnTo>
                    <a:pt x="347" y="317"/>
                  </a:lnTo>
                  <a:lnTo>
                    <a:pt x="347" y="318"/>
                  </a:lnTo>
                  <a:lnTo>
                    <a:pt x="347" y="318"/>
                  </a:lnTo>
                  <a:lnTo>
                    <a:pt x="348" y="321"/>
                  </a:lnTo>
                  <a:lnTo>
                    <a:pt x="348" y="322"/>
                  </a:lnTo>
                  <a:lnTo>
                    <a:pt x="349" y="323"/>
                  </a:lnTo>
                  <a:lnTo>
                    <a:pt x="349" y="323"/>
                  </a:lnTo>
                  <a:lnTo>
                    <a:pt x="349" y="324"/>
                  </a:lnTo>
                  <a:lnTo>
                    <a:pt x="348" y="325"/>
                  </a:lnTo>
                  <a:lnTo>
                    <a:pt x="348" y="325"/>
                  </a:lnTo>
                  <a:lnTo>
                    <a:pt x="348" y="326"/>
                  </a:lnTo>
                  <a:lnTo>
                    <a:pt x="347" y="326"/>
                  </a:lnTo>
                  <a:lnTo>
                    <a:pt x="347" y="327"/>
                  </a:lnTo>
                  <a:lnTo>
                    <a:pt x="346" y="327"/>
                  </a:lnTo>
                  <a:lnTo>
                    <a:pt x="346" y="328"/>
                  </a:lnTo>
                  <a:lnTo>
                    <a:pt x="345" y="328"/>
                  </a:lnTo>
                  <a:lnTo>
                    <a:pt x="344" y="329"/>
                  </a:lnTo>
                  <a:lnTo>
                    <a:pt x="343" y="329"/>
                  </a:lnTo>
                  <a:lnTo>
                    <a:pt x="342" y="329"/>
                  </a:lnTo>
                  <a:lnTo>
                    <a:pt x="342" y="329"/>
                  </a:lnTo>
                  <a:lnTo>
                    <a:pt x="342" y="330"/>
                  </a:lnTo>
                  <a:lnTo>
                    <a:pt x="342" y="330"/>
                  </a:lnTo>
                  <a:lnTo>
                    <a:pt x="342" y="330"/>
                  </a:lnTo>
                  <a:lnTo>
                    <a:pt x="341" y="330"/>
                  </a:lnTo>
                  <a:lnTo>
                    <a:pt x="342" y="331"/>
                  </a:lnTo>
                  <a:lnTo>
                    <a:pt x="342" y="332"/>
                  </a:lnTo>
                  <a:lnTo>
                    <a:pt x="342" y="332"/>
                  </a:lnTo>
                  <a:lnTo>
                    <a:pt x="343" y="333"/>
                  </a:lnTo>
                  <a:lnTo>
                    <a:pt x="344" y="335"/>
                  </a:lnTo>
                  <a:lnTo>
                    <a:pt x="346" y="335"/>
                  </a:lnTo>
                  <a:lnTo>
                    <a:pt x="348" y="338"/>
                  </a:lnTo>
                  <a:lnTo>
                    <a:pt x="349" y="339"/>
                  </a:lnTo>
                  <a:lnTo>
                    <a:pt x="350" y="340"/>
                  </a:lnTo>
                  <a:lnTo>
                    <a:pt x="351" y="340"/>
                  </a:lnTo>
                  <a:lnTo>
                    <a:pt x="351" y="341"/>
                  </a:lnTo>
                  <a:lnTo>
                    <a:pt x="351" y="342"/>
                  </a:lnTo>
                  <a:lnTo>
                    <a:pt x="351" y="342"/>
                  </a:lnTo>
                  <a:lnTo>
                    <a:pt x="351" y="343"/>
                  </a:lnTo>
                  <a:lnTo>
                    <a:pt x="351" y="344"/>
                  </a:lnTo>
                  <a:lnTo>
                    <a:pt x="351" y="344"/>
                  </a:lnTo>
                  <a:lnTo>
                    <a:pt x="351" y="345"/>
                  </a:lnTo>
                  <a:lnTo>
                    <a:pt x="350" y="345"/>
                  </a:lnTo>
                  <a:lnTo>
                    <a:pt x="350" y="346"/>
                  </a:lnTo>
                  <a:lnTo>
                    <a:pt x="349" y="346"/>
                  </a:lnTo>
                  <a:lnTo>
                    <a:pt x="347" y="348"/>
                  </a:lnTo>
                  <a:lnTo>
                    <a:pt x="347" y="349"/>
                  </a:lnTo>
                  <a:lnTo>
                    <a:pt x="346" y="349"/>
                  </a:lnTo>
                  <a:lnTo>
                    <a:pt x="346" y="350"/>
                  </a:lnTo>
                  <a:lnTo>
                    <a:pt x="346" y="350"/>
                  </a:lnTo>
                  <a:lnTo>
                    <a:pt x="345" y="352"/>
                  </a:lnTo>
                  <a:lnTo>
                    <a:pt x="345" y="353"/>
                  </a:lnTo>
                  <a:lnTo>
                    <a:pt x="344" y="354"/>
                  </a:lnTo>
                  <a:lnTo>
                    <a:pt x="343" y="355"/>
                  </a:lnTo>
                  <a:lnTo>
                    <a:pt x="343" y="355"/>
                  </a:lnTo>
                  <a:lnTo>
                    <a:pt x="342" y="356"/>
                  </a:lnTo>
                  <a:lnTo>
                    <a:pt x="342" y="356"/>
                  </a:lnTo>
                  <a:lnTo>
                    <a:pt x="341" y="357"/>
                  </a:lnTo>
                  <a:lnTo>
                    <a:pt x="341" y="357"/>
                  </a:lnTo>
                  <a:lnTo>
                    <a:pt x="340" y="358"/>
                  </a:lnTo>
                  <a:lnTo>
                    <a:pt x="339" y="358"/>
                  </a:lnTo>
                  <a:lnTo>
                    <a:pt x="339" y="358"/>
                  </a:lnTo>
                  <a:lnTo>
                    <a:pt x="337" y="359"/>
                  </a:lnTo>
                  <a:lnTo>
                    <a:pt x="335" y="359"/>
                  </a:lnTo>
                  <a:lnTo>
                    <a:pt x="332" y="359"/>
                  </a:lnTo>
                  <a:lnTo>
                    <a:pt x="328" y="360"/>
                  </a:lnTo>
                  <a:lnTo>
                    <a:pt x="327" y="360"/>
                  </a:lnTo>
                  <a:lnTo>
                    <a:pt x="325" y="360"/>
                  </a:lnTo>
                  <a:lnTo>
                    <a:pt x="324" y="361"/>
                  </a:lnTo>
                  <a:lnTo>
                    <a:pt x="323" y="361"/>
                  </a:lnTo>
                  <a:lnTo>
                    <a:pt x="322" y="362"/>
                  </a:lnTo>
                  <a:lnTo>
                    <a:pt x="321" y="362"/>
                  </a:lnTo>
                  <a:lnTo>
                    <a:pt x="320" y="363"/>
                  </a:lnTo>
                  <a:lnTo>
                    <a:pt x="320" y="364"/>
                  </a:lnTo>
                  <a:lnTo>
                    <a:pt x="319" y="364"/>
                  </a:lnTo>
                  <a:lnTo>
                    <a:pt x="319" y="365"/>
                  </a:lnTo>
                  <a:lnTo>
                    <a:pt x="319" y="366"/>
                  </a:lnTo>
                  <a:lnTo>
                    <a:pt x="319" y="367"/>
                  </a:lnTo>
                  <a:lnTo>
                    <a:pt x="319" y="369"/>
                  </a:lnTo>
                  <a:lnTo>
                    <a:pt x="319" y="369"/>
                  </a:lnTo>
                  <a:lnTo>
                    <a:pt x="319" y="370"/>
                  </a:lnTo>
                  <a:lnTo>
                    <a:pt x="319" y="370"/>
                  </a:lnTo>
                  <a:lnTo>
                    <a:pt x="318" y="371"/>
                  </a:lnTo>
                  <a:lnTo>
                    <a:pt x="318" y="371"/>
                  </a:lnTo>
                  <a:lnTo>
                    <a:pt x="318" y="372"/>
                  </a:lnTo>
                  <a:lnTo>
                    <a:pt x="317" y="372"/>
                  </a:lnTo>
                  <a:lnTo>
                    <a:pt x="314" y="374"/>
                  </a:lnTo>
                  <a:lnTo>
                    <a:pt x="314" y="374"/>
                  </a:lnTo>
                  <a:lnTo>
                    <a:pt x="313" y="374"/>
                  </a:lnTo>
                  <a:lnTo>
                    <a:pt x="312" y="375"/>
                  </a:lnTo>
                  <a:lnTo>
                    <a:pt x="310" y="375"/>
                  </a:lnTo>
                  <a:lnTo>
                    <a:pt x="306" y="376"/>
                  </a:lnTo>
                  <a:lnTo>
                    <a:pt x="304" y="376"/>
                  </a:lnTo>
                  <a:lnTo>
                    <a:pt x="303" y="376"/>
                  </a:lnTo>
                  <a:lnTo>
                    <a:pt x="302" y="376"/>
                  </a:lnTo>
                  <a:lnTo>
                    <a:pt x="300" y="376"/>
                  </a:lnTo>
                  <a:lnTo>
                    <a:pt x="298" y="376"/>
                  </a:lnTo>
                  <a:lnTo>
                    <a:pt x="297" y="375"/>
                  </a:lnTo>
                  <a:lnTo>
                    <a:pt x="294" y="375"/>
                  </a:lnTo>
                  <a:lnTo>
                    <a:pt x="293" y="375"/>
                  </a:lnTo>
                  <a:lnTo>
                    <a:pt x="291" y="374"/>
                  </a:lnTo>
                  <a:lnTo>
                    <a:pt x="290" y="374"/>
                  </a:lnTo>
                  <a:lnTo>
                    <a:pt x="289" y="374"/>
                  </a:lnTo>
                  <a:lnTo>
                    <a:pt x="288" y="374"/>
                  </a:lnTo>
                  <a:lnTo>
                    <a:pt x="288" y="375"/>
                  </a:lnTo>
                  <a:lnTo>
                    <a:pt x="287" y="375"/>
                  </a:lnTo>
                  <a:lnTo>
                    <a:pt x="286" y="376"/>
                  </a:lnTo>
                  <a:lnTo>
                    <a:pt x="285" y="377"/>
                  </a:lnTo>
                  <a:lnTo>
                    <a:pt x="283" y="378"/>
                  </a:lnTo>
                  <a:lnTo>
                    <a:pt x="282" y="378"/>
                  </a:lnTo>
                  <a:lnTo>
                    <a:pt x="281" y="379"/>
                  </a:lnTo>
                  <a:lnTo>
                    <a:pt x="280" y="379"/>
                  </a:lnTo>
                  <a:lnTo>
                    <a:pt x="278" y="379"/>
                  </a:lnTo>
                  <a:lnTo>
                    <a:pt x="277" y="379"/>
                  </a:lnTo>
                  <a:lnTo>
                    <a:pt x="277" y="379"/>
                  </a:lnTo>
                  <a:lnTo>
                    <a:pt x="276" y="379"/>
                  </a:lnTo>
                  <a:lnTo>
                    <a:pt x="275" y="378"/>
                  </a:lnTo>
                  <a:lnTo>
                    <a:pt x="274" y="378"/>
                  </a:lnTo>
                  <a:lnTo>
                    <a:pt x="273" y="377"/>
                  </a:lnTo>
                  <a:lnTo>
                    <a:pt x="271" y="375"/>
                  </a:lnTo>
                  <a:lnTo>
                    <a:pt x="270" y="375"/>
                  </a:lnTo>
                  <a:lnTo>
                    <a:pt x="269" y="374"/>
                  </a:lnTo>
                  <a:lnTo>
                    <a:pt x="269" y="374"/>
                  </a:lnTo>
                  <a:lnTo>
                    <a:pt x="268" y="372"/>
                  </a:lnTo>
                  <a:lnTo>
                    <a:pt x="267" y="371"/>
                  </a:lnTo>
                  <a:lnTo>
                    <a:pt x="267" y="371"/>
                  </a:lnTo>
                  <a:lnTo>
                    <a:pt x="266" y="370"/>
                  </a:lnTo>
                  <a:lnTo>
                    <a:pt x="266" y="370"/>
                  </a:lnTo>
                  <a:lnTo>
                    <a:pt x="265" y="370"/>
                  </a:lnTo>
                  <a:lnTo>
                    <a:pt x="265" y="370"/>
                  </a:lnTo>
                  <a:lnTo>
                    <a:pt x="264" y="370"/>
                  </a:lnTo>
                  <a:lnTo>
                    <a:pt x="264" y="370"/>
                  </a:lnTo>
                  <a:lnTo>
                    <a:pt x="262" y="370"/>
                  </a:lnTo>
                  <a:lnTo>
                    <a:pt x="262" y="371"/>
                  </a:lnTo>
                  <a:lnTo>
                    <a:pt x="260" y="371"/>
                  </a:lnTo>
                  <a:lnTo>
                    <a:pt x="259" y="372"/>
                  </a:lnTo>
                  <a:lnTo>
                    <a:pt x="259" y="372"/>
                  </a:lnTo>
                  <a:lnTo>
                    <a:pt x="258" y="372"/>
                  </a:lnTo>
                  <a:lnTo>
                    <a:pt x="258" y="373"/>
                  </a:lnTo>
                  <a:lnTo>
                    <a:pt x="256" y="375"/>
                  </a:lnTo>
                  <a:lnTo>
                    <a:pt x="255" y="376"/>
                  </a:lnTo>
                  <a:lnTo>
                    <a:pt x="254" y="376"/>
                  </a:lnTo>
                  <a:lnTo>
                    <a:pt x="254" y="377"/>
                  </a:lnTo>
                  <a:lnTo>
                    <a:pt x="253" y="377"/>
                  </a:lnTo>
                  <a:lnTo>
                    <a:pt x="252" y="378"/>
                  </a:lnTo>
                  <a:lnTo>
                    <a:pt x="252" y="378"/>
                  </a:lnTo>
                  <a:lnTo>
                    <a:pt x="251" y="378"/>
                  </a:lnTo>
                  <a:lnTo>
                    <a:pt x="251" y="378"/>
                  </a:lnTo>
                  <a:lnTo>
                    <a:pt x="250" y="378"/>
                  </a:lnTo>
                  <a:lnTo>
                    <a:pt x="249" y="378"/>
                  </a:lnTo>
                  <a:lnTo>
                    <a:pt x="247" y="378"/>
                  </a:lnTo>
                  <a:lnTo>
                    <a:pt x="246" y="378"/>
                  </a:lnTo>
                  <a:lnTo>
                    <a:pt x="246" y="378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4" y="379"/>
                  </a:lnTo>
                  <a:lnTo>
                    <a:pt x="244" y="379"/>
                  </a:lnTo>
                  <a:lnTo>
                    <a:pt x="243" y="379"/>
                  </a:lnTo>
                  <a:lnTo>
                    <a:pt x="243" y="380"/>
                  </a:lnTo>
                  <a:lnTo>
                    <a:pt x="242" y="381"/>
                  </a:lnTo>
                  <a:lnTo>
                    <a:pt x="242" y="382"/>
                  </a:lnTo>
                  <a:lnTo>
                    <a:pt x="241" y="385"/>
                  </a:lnTo>
                  <a:lnTo>
                    <a:pt x="240" y="386"/>
                  </a:lnTo>
                  <a:lnTo>
                    <a:pt x="240" y="386"/>
                  </a:lnTo>
                  <a:lnTo>
                    <a:pt x="240" y="387"/>
                  </a:lnTo>
                  <a:lnTo>
                    <a:pt x="239" y="388"/>
                  </a:lnTo>
                  <a:lnTo>
                    <a:pt x="239" y="388"/>
                  </a:lnTo>
                  <a:lnTo>
                    <a:pt x="238" y="388"/>
                  </a:lnTo>
                  <a:lnTo>
                    <a:pt x="237" y="389"/>
                  </a:lnTo>
                  <a:lnTo>
                    <a:pt x="237" y="389"/>
                  </a:lnTo>
                  <a:lnTo>
                    <a:pt x="235" y="389"/>
                  </a:lnTo>
                  <a:lnTo>
                    <a:pt x="233" y="389"/>
                  </a:lnTo>
                  <a:lnTo>
                    <a:pt x="232" y="389"/>
                  </a:lnTo>
                  <a:lnTo>
                    <a:pt x="230" y="389"/>
                  </a:lnTo>
                  <a:lnTo>
                    <a:pt x="228" y="389"/>
                  </a:lnTo>
                  <a:lnTo>
                    <a:pt x="227" y="390"/>
                  </a:lnTo>
                  <a:lnTo>
                    <a:pt x="224" y="391"/>
                  </a:lnTo>
                  <a:lnTo>
                    <a:pt x="223" y="391"/>
                  </a:lnTo>
                  <a:lnTo>
                    <a:pt x="221" y="392"/>
                  </a:lnTo>
                  <a:lnTo>
                    <a:pt x="220" y="393"/>
                  </a:lnTo>
                  <a:lnTo>
                    <a:pt x="219" y="393"/>
                  </a:lnTo>
                  <a:lnTo>
                    <a:pt x="219" y="394"/>
                  </a:lnTo>
                  <a:lnTo>
                    <a:pt x="218" y="395"/>
                  </a:lnTo>
                  <a:lnTo>
                    <a:pt x="217" y="396"/>
                  </a:lnTo>
                  <a:lnTo>
                    <a:pt x="216" y="398"/>
                  </a:lnTo>
                  <a:lnTo>
                    <a:pt x="214" y="399"/>
                  </a:lnTo>
                  <a:lnTo>
                    <a:pt x="213" y="400"/>
                  </a:lnTo>
                  <a:lnTo>
                    <a:pt x="212" y="401"/>
                  </a:lnTo>
                  <a:lnTo>
                    <a:pt x="211" y="402"/>
                  </a:lnTo>
                  <a:lnTo>
                    <a:pt x="210" y="403"/>
                  </a:lnTo>
                  <a:lnTo>
                    <a:pt x="208" y="404"/>
                  </a:lnTo>
                  <a:lnTo>
                    <a:pt x="207" y="405"/>
                  </a:lnTo>
                  <a:lnTo>
                    <a:pt x="206" y="405"/>
                  </a:lnTo>
                  <a:lnTo>
                    <a:pt x="205" y="406"/>
                  </a:lnTo>
                  <a:lnTo>
                    <a:pt x="205" y="406"/>
                  </a:lnTo>
                  <a:lnTo>
                    <a:pt x="203" y="408"/>
                  </a:lnTo>
                  <a:lnTo>
                    <a:pt x="201" y="410"/>
                  </a:lnTo>
                  <a:lnTo>
                    <a:pt x="201" y="410"/>
                  </a:lnTo>
                  <a:lnTo>
                    <a:pt x="200" y="412"/>
                  </a:lnTo>
                  <a:lnTo>
                    <a:pt x="198" y="414"/>
                  </a:lnTo>
                  <a:lnTo>
                    <a:pt x="198" y="414"/>
                  </a:lnTo>
                  <a:lnTo>
                    <a:pt x="197" y="415"/>
                  </a:lnTo>
                  <a:lnTo>
                    <a:pt x="197" y="415"/>
                  </a:lnTo>
                  <a:lnTo>
                    <a:pt x="196" y="415"/>
                  </a:lnTo>
                  <a:lnTo>
                    <a:pt x="196" y="415"/>
                  </a:lnTo>
                  <a:lnTo>
                    <a:pt x="195" y="415"/>
                  </a:lnTo>
                  <a:lnTo>
                    <a:pt x="195" y="415"/>
                  </a:lnTo>
                  <a:lnTo>
                    <a:pt x="194" y="415"/>
                  </a:lnTo>
                  <a:lnTo>
                    <a:pt x="193" y="415"/>
                  </a:lnTo>
                  <a:lnTo>
                    <a:pt x="191" y="413"/>
                  </a:lnTo>
                  <a:lnTo>
                    <a:pt x="190" y="413"/>
                  </a:lnTo>
                  <a:lnTo>
                    <a:pt x="189" y="412"/>
                  </a:lnTo>
                  <a:lnTo>
                    <a:pt x="188" y="412"/>
                  </a:lnTo>
                  <a:lnTo>
                    <a:pt x="187" y="411"/>
                  </a:lnTo>
                  <a:lnTo>
                    <a:pt x="186" y="411"/>
                  </a:lnTo>
                  <a:lnTo>
                    <a:pt x="185" y="411"/>
                  </a:lnTo>
                  <a:lnTo>
                    <a:pt x="184" y="411"/>
                  </a:lnTo>
                  <a:lnTo>
                    <a:pt x="180" y="412"/>
                  </a:lnTo>
                  <a:lnTo>
                    <a:pt x="179" y="412"/>
                  </a:lnTo>
                  <a:lnTo>
                    <a:pt x="178" y="412"/>
                  </a:lnTo>
                  <a:lnTo>
                    <a:pt x="178" y="412"/>
                  </a:lnTo>
                  <a:lnTo>
                    <a:pt x="177" y="412"/>
                  </a:lnTo>
                  <a:lnTo>
                    <a:pt x="177" y="413"/>
                  </a:lnTo>
                  <a:lnTo>
                    <a:pt x="177" y="413"/>
                  </a:lnTo>
                  <a:lnTo>
                    <a:pt x="176" y="413"/>
                  </a:lnTo>
                  <a:lnTo>
                    <a:pt x="174" y="416"/>
                  </a:lnTo>
                  <a:lnTo>
                    <a:pt x="173" y="418"/>
                  </a:lnTo>
                  <a:lnTo>
                    <a:pt x="173" y="418"/>
                  </a:lnTo>
                  <a:lnTo>
                    <a:pt x="172" y="419"/>
                  </a:lnTo>
                  <a:lnTo>
                    <a:pt x="171" y="420"/>
                  </a:lnTo>
                  <a:lnTo>
                    <a:pt x="171" y="420"/>
                  </a:lnTo>
                  <a:lnTo>
                    <a:pt x="170" y="421"/>
                  </a:lnTo>
                  <a:lnTo>
                    <a:pt x="170" y="421"/>
                  </a:lnTo>
                  <a:lnTo>
                    <a:pt x="169" y="421"/>
                  </a:lnTo>
                  <a:lnTo>
                    <a:pt x="169" y="421"/>
                  </a:lnTo>
                  <a:lnTo>
                    <a:pt x="168" y="421"/>
                  </a:lnTo>
                  <a:lnTo>
                    <a:pt x="167" y="421"/>
                  </a:lnTo>
                  <a:lnTo>
                    <a:pt x="166" y="420"/>
                  </a:lnTo>
                  <a:lnTo>
                    <a:pt x="165" y="420"/>
                  </a:lnTo>
                  <a:lnTo>
                    <a:pt x="164" y="420"/>
                  </a:lnTo>
                  <a:lnTo>
                    <a:pt x="164" y="419"/>
                  </a:lnTo>
                  <a:lnTo>
                    <a:pt x="162" y="418"/>
                  </a:lnTo>
                  <a:lnTo>
                    <a:pt x="161" y="417"/>
                  </a:lnTo>
                  <a:lnTo>
                    <a:pt x="160" y="417"/>
                  </a:lnTo>
                  <a:lnTo>
                    <a:pt x="159" y="417"/>
                  </a:lnTo>
                  <a:lnTo>
                    <a:pt x="159" y="417"/>
                  </a:lnTo>
                  <a:lnTo>
                    <a:pt x="158" y="417"/>
                  </a:lnTo>
                  <a:lnTo>
                    <a:pt x="157" y="417"/>
                  </a:lnTo>
                  <a:lnTo>
                    <a:pt x="156" y="417"/>
                  </a:lnTo>
                  <a:lnTo>
                    <a:pt x="155" y="417"/>
                  </a:lnTo>
                  <a:lnTo>
                    <a:pt x="154" y="417"/>
                  </a:lnTo>
                  <a:lnTo>
                    <a:pt x="153" y="418"/>
                  </a:lnTo>
                  <a:lnTo>
                    <a:pt x="153" y="418"/>
                  </a:lnTo>
                  <a:lnTo>
                    <a:pt x="152" y="418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8"/>
                  </a:lnTo>
                  <a:lnTo>
                    <a:pt x="151" y="417"/>
                  </a:lnTo>
                  <a:lnTo>
                    <a:pt x="150" y="415"/>
                  </a:lnTo>
                  <a:lnTo>
                    <a:pt x="150" y="414"/>
                  </a:lnTo>
                  <a:lnTo>
                    <a:pt x="149" y="414"/>
                  </a:lnTo>
                  <a:lnTo>
                    <a:pt x="149" y="413"/>
                  </a:lnTo>
                  <a:lnTo>
                    <a:pt x="148" y="412"/>
                  </a:lnTo>
                  <a:lnTo>
                    <a:pt x="148" y="412"/>
                  </a:lnTo>
                  <a:lnTo>
                    <a:pt x="147" y="411"/>
                  </a:lnTo>
                  <a:lnTo>
                    <a:pt x="145" y="410"/>
                  </a:lnTo>
                  <a:lnTo>
                    <a:pt x="144" y="409"/>
                  </a:lnTo>
                  <a:lnTo>
                    <a:pt x="143" y="408"/>
                  </a:lnTo>
                  <a:lnTo>
                    <a:pt x="141" y="408"/>
                  </a:lnTo>
                  <a:lnTo>
                    <a:pt x="139" y="407"/>
                  </a:lnTo>
                  <a:lnTo>
                    <a:pt x="138" y="406"/>
                  </a:lnTo>
                  <a:lnTo>
                    <a:pt x="137" y="406"/>
                  </a:lnTo>
                  <a:lnTo>
                    <a:pt x="136" y="405"/>
                  </a:lnTo>
                  <a:lnTo>
                    <a:pt x="135" y="404"/>
                  </a:lnTo>
                  <a:lnTo>
                    <a:pt x="134" y="403"/>
                  </a:lnTo>
                  <a:lnTo>
                    <a:pt x="134" y="403"/>
                  </a:lnTo>
                  <a:lnTo>
                    <a:pt x="133" y="400"/>
                  </a:lnTo>
                  <a:lnTo>
                    <a:pt x="132" y="400"/>
                  </a:lnTo>
                  <a:lnTo>
                    <a:pt x="132" y="399"/>
                  </a:lnTo>
                  <a:lnTo>
                    <a:pt x="131" y="398"/>
                  </a:lnTo>
                  <a:lnTo>
                    <a:pt x="131" y="398"/>
                  </a:lnTo>
                  <a:lnTo>
                    <a:pt x="130" y="398"/>
                  </a:lnTo>
                  <a:lnTo>
                    <a:pt x="129" y="398"/>
                  </a:lnTo>
                  <a:lnTo>
                    <a:pt x="129" y="398"/>
                  </a:lnTo>
                  <a:lnTo>
                    <a:pt x="128" y="398"/>
                  </a:lnTo>
                  <a:lnTo>
                    <a:pt x="126" y="397"/>
                  </a:lnTo>
                  <a:lnTo>
                    <a:pt x="125" y="397"/>
                  </a:lnTo>
                  <a:lnTo>
                    <a:pt x="125" y="397"/>
                  </a:lnTo>
                  <a:lnTo>
                    <a:pt x="125" y="397"/>
                  </a:lnTo>
                  <a:lnTo>
                    <a:pt x="124" y="397"/>
                  </a:lnTo>
                  <a:lnTo>
                    <a:pt x="124" y="396"/>
                  </a:lnTo>
                  <a:lnTo>
                    <a:pt x="124" y="396"/>
                  </a:lnTo>
                  <a:lnTo>
                    <a:pt x="124" y="395"/>
                  </a:lnTo>
                  <a:lnTo>
                    <a:pt x="124" y="395"/>
                  </a:lnTo>
                  <a:lnTo>
                    <a:pt x="124" y="394"/>
                  </a:lnTo>
                  <a:lnTo>
                    <a:pt x="124" y="394"/>
                  </a:lnTo>
                  <a:lnTo>
                    <a:pt x="125" y="393"/>
                  </a:lnTo>
                  <a:lnTo>
                    <a:pt x="126" y="392"/>
                  </a:lnTo>
                  <a:lnTo>
                    <a:pt x="127" y="390"/>
                  </a:lnTo>
                  <a:lnTo>
                    <a:pt x="128" y="389"/>
                  </a:lnTo>
                  <a:lnTo>
                    <a:pt x="129" y="388"/>
                  </a:lnTo>
                  <a:lnTo>
                    <a:pt x="130" y="387"/>
                  </a:lnTo>
                  <a:lnTo>
                    <a:pt x="132" y="384"/>
                  </a:lnTo>
                  <a:lnTo>
                    <a:pt x="133" y="384"/>
                  </a:lnTo>
                  <a:lnTo>
                    <a:pt x="133" y="383"/>
                  </a:lnTo>
                  <a:lnTo>
                    <a:pt x="134" y="382"/>
                  </a:lnTo>
                  <a:lnTo>
                    <a:pt x="134" y="381"/>
                  </a:lnTo>
                  <a:lnTo>
                    <a:pt x="135" y="379"/>
                  </a:lnTo>
                  <a:lnTo>
                    <a:pt x="135" y="378"/>
                  </a:lnTo>
                  <a:lnTo>
                    <a:pt x="136" y="377"/>
                  </a:lnTo>
                  <a:lnTo>
                    <a:pt x="138" y="375"/>
                  </a:lnTo>
                  <a:lnTo>
                    <a:pt x="138" y="374"/>
                  </a:lnTo>
                  <a:lnTo>
                    <a:pt x="138" y="373"/>
                  </a:lnTo>
                  <a:lnTo>
                    <a:pt x="138" y="373"/>
                  </a:lnTo>
                  <a:lnTo>
                    <a:pt x="139" y="372"/>
                  </a:lnTo>
                  <a:lnTo>
                    <a:pt x="139" y="370"/>
                  </a:lnTo>
                  <a:lnTo>
                    <a:pt x="139" y="369"/>
                  </a:lnTo>
                  <a:lnTo>
                    <a:pt x="140" y="368"/>
                  </a:lnTo>
                  <a:lnTo>
                    <a:pt x="140" y="367"/>
                  </a:lnTo>
                  <a:lnTo>
                    <a:pt x="141" y="365"/>
                  </a:lnTo>
                  <a:lnTo>
                    <a:pt x="142" y="364"/>
                  </a:lnTo>
                  <a:lnTo>
                    <a:pt x="143" y="363"/>
                  </a:lnTo>
                  <a:lnTo>
                    <a:pt x="143" y="362"/>
                  </a:lnTo>
                  <a:lnTo>
                    <a:pt x="144" y="362"/>
                  </a:lnTo>
                  <a:lnTo>
                    <a:pt x="144" y="362"/>
                  </a:lnTo>
                  <a:lnTo>
                    <a:pt x="144" y="361"/>
                  </a:lnTo>
                  <a:lnTo>
                    <a:pt x="145" y="361"/>
                  </a:lnTo>
                  <a:lnTo>
                    <a:pt x="148" y="361"/>
                  </a:lnTo>
                  <a:lnTo>
                    <a:pt x="150" y="360"/>
                  </a:lnTo>
                  <a:lnTo>
                    <a:pt x="151" y="360"/>
                  </a:lnTo>
                  <a:lnTo>
                    <a:pt x="152" y="359"/>
                  </a:lnTo>
                  <a:lnTo>
                    <a:pt x="152" y="359"/>
                  </a:lnTo>
                  <a:lnTo>
                    <a:pt x="153" y="359"/>
                  </a:lnTo>
                  <a:lnTo>
                    <a:pt x="153" y="358"/>
                  </a:lnTo>
                  <a:lnTo>
                    <a:pt x="153" y="358"/>
                  </a:lnTo>
                  <a:lnTo>
                    <a:pt x="154" y="357"/>
                  </a:lnTo>
                  <a:lnTo>
                    <a:pt x="154" y="356"/>
                  </a:lnTo>
                  <a:lnTo>
                    <a:pt x="154" y="355"/>
                  </a:lnTo>
                  <a:lnTo>
                    <a:pt x="154" y="354"/>
                  </a:lnTo>
                  <a:lnTo>
                    <a:pt x="154" y="354"/>
                  </a:lnTo>
                  <a:lnTo>
                    <a:pt x="154" y="353"/>
                  </a:lnTo>
                  <a:lnTo>
                    <a:pt x="154" y="352"/>
                  </a:lnTo>
                  <a:lnTo>
                    <a:pt x="153" y="351"/>
                  </a:lnTo>
                  <a:lnTo>
                    <a:pt x="151" y="348"/>
                  </a:lnTo>
                  <a:lnTo>
                    <a:pt x="151" y="348"/>
                  </a:lnTo>
                  <a:lnTo>
                    <a:pt x="150" y="347"/>
                  </a:lnTo>
                  <a:lnTo>
                    <a:pt x="149" y="347"/>
                  </a:lnTo>
                  <a:lnTo>
                    <a:pt x="148" y="345"/>
                  </a:lnTo>
                  <a:lnTo>
                    <a:pt x="146" y="345"/>
                  </a:lnTo>
                  <a:lnTo>
                    <a:pt x="146" y="344"/>
                  </a:lnTo>
                  <a:lnTo>
                    <a:pt x="145" y="343"/>
                  </a:lnTo>
                  <a:lnTo>
                    <a:pt x="145" y="343"/>
                  </a:lnTo>
                  <a:lnTo>
                    <a:pt x="144" y="342"/>
                  </a:lnTo>
                  <a:lnTo>
                    <a:pt x="144" y="342"/>
                  </a:lnTo>
                  <a:lnTo>
                    <a:pt x="144" y="341"/>
                  </a:lnTo>
                  <a:lnTo>
                    <a:pt x="144" y="341"/>
                  </a:lnTo>
                  <a:lnTo>
                    <a:pt x="144" y="340"/>
                  </a:lnTo>
                  <a:lnTo>
                    <a:pt x="144" y="339"/>
                  </a:lnTo>
                  <a:lnTo>
                    <a:pt x="145" y="339"/>
                  </a:lnTo>
                  <a:lnTo>
                    <a:pt x="144" y="338"/>
                  </a:lnTo>
                  <a:lnTo>
                    <a:pt x="144" y="338"/>
                  </a:lnTo>
                  <a:lnTo>
                    <a:pt x="144" y="337"/>
                  </a:lnTo>
                  <a:lnTo>
                    <a:pt x="144" y="336"/>
                  </a:lnTo>
                  <a:lnTo>
                    <a:pt x="143" y="336"/>
                  </a:lnTo>
                  <a:lnTo>
                    <a:pt x="143" y="336"/>
                  </a:lnTo>
                  <a:lnTo>
                    <a:pt x="142" y="335"/>
                  </a:lnTo>
                  <a:lnTo>
                    <a:pt x="141" y="335"/>
                  </a:lnTo>
                  <a:lnTo>
                    <a:pt x="140" y="334"/>
                  </a:lnTo>
                  <a:lnTo>
                    <a:pt x="140" y="334"/>
                  </a:lnTo>
                  <a:lnTo>
                    <a:pt x="139" y="334"/>
                  </a:lnTo>
                  <a:lnTo>
                    <a:pt x="139" y="334"/>
                  </a:lnTo>
                  <a:lnTo>
                    <a:pt x="138" y="334"/>
                  </a:lnTo>
                  <a:lnTo>
                    <a:pt x="138" y="334"/>
                  </a:lnTo>
                  <a:lnTo>
                    <a:pt x="137" y="334"/>
                  </a:lnTo>
                  <a:lnTo>
                    <a:pt x="137" y="334"/>
                  </a:lnTo>
                  <a:lnTo>
                    <a:pt x="135" y="335"/>
                  </a:lnTo>
                  <a:lnTo>
                    <a:pt x="135" y="335"/>
                  </a:lnTo>
                  <a:lnTo>
                    <a:pt x="134" y="335"/>
                  </a:lnTo>
                  <a:lnTo>
                    <a:pt x="132" y="336"/>
                  </a:lnTo>
                  <a:lnTo>
                    <a:pt x="130" y="336"/>
                  </a:lnTo>
                  <a:lnTo>
                    <a:pt x="129" y="336"/>
                  </a:lnTo>
                  <a:lnTo>
                    <a:pt x="126" y="337"/>
                  </a:lnTo>
                  <a:lnTo>
                    <a:pt x="125" y="338"/>
                  </a:lnTo>
                  <a:lnTo>
                    <a:pt x="124" y="338"/>
                  </a:lnTo>
                  <a:lnTo>
                    <a:pt x="123" y="338"/>
                  </a:lnTo>
                  <a:lnTo>
                    <a:pt x="121" y="338"/>
                  </a:lnTo>
                  <a:lnTo>
                    <a:pt x="119" y="338"/>
                  </a:lnTo>
                  <a:lnTo>
                    <a:pt x="117" y="338"/>
                  </a:lnTo>
                  <a:lnTo>
                    <a:pt x="115" y="338"/>
                  </a:lnTo>
                  <a:lnTo>
                    <a:pt x="114" y="338"/>
                  </a:lnTo>
                  <a:lnTo>
                    <a:pt x="113" y="338"/>
                  </a:lnTo>
                  <a:lnTo>
                    <a:pt x="110" y="337"/>
                  </a:lnTo>
                  <a:lnTo>
                    <a:pt x="109" y="337"/>
                  </a:lnTo>
                  <a:lnTo>
                    <a:pt x="108" y="336"/>
                  </a:lnTo>
                  <a:lnTo>
                    <a:pt x="108" y="336"/>
                  </a:lnTo>
                  <a:lnTo>
                    <a:pt x="107" y="336"/>
                  </a:lnTo>
                  <a:lnTo>
                    <a:pt x="106" y="337"/>
                  </a:lnTo>
                  <a:lnTo>
                    <a:pt x="105" y="337"/>
                  </a:lnTo>
                  <a:lnTo>
                    <a:pt x="103" y="337"/>
                  </a:lnTo>
                  <a:lnTo>
                    <a:pt x="103" y="338"/>
                  </a:lnTo>
                  <a:lnTo>
                    <a:pt x="103" y="338"/>
                  </a:lnTo>
                  <a:lnTo>
                    <a:pt x="102" y="338"/>
                  </a:lnTo>
                  <a:lnTo>
                    <a:pt x="102" y="338"/>
                  </a:lnTo>
                  <a:lnTo>
                    <a:pt x="101" y="338"/>
                  </a:lnTo>
                  <a:lnTo>
                    <a:pt x="101" y="337"/>
                  </a:lnTo>
                  <a:lnTo>
                    <a:pt x="98" y="336"/>
                  </a:lnTo>
                  <a:lnTo>
                    <a:pt x="94" y="333"/>
                  </a:lnTo>
                  <a:lnTo>
                    <a:pt x="92" y="332"/>
                  </a:lnTo>
                  <a:lnTo>
                    <a:pt x="90" y="331"/>
                  </a:lnTo>
                  <a:lnTo>
                    <a:pt x="90" y="330"/>
                  </a:lnTo>
                  <a:lnTo>
                    <a:pt x="87" y="328"/>
                  </a:lnTo>
                  <a:lnTo>
                    <a:pt x="84" y="326"/>
                  </a:lnTo>
                  <a:lnTo>
                    <a:pt x="83" y="325"/>
                  </a:lnTo>
                  <a:lnTo>
                    <a:pt x="81" y="323"/>
                  </a:lnTo>
                  <a:lnTo>
                    <a:pt x="81" y="323"/>
                  </a:lnTo>
                  <a:lnTo>
                    <a:pt x="80" y="322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8" y="319"/>
                  </a:lnTo>
                  <a:lnTo>
                    <a:pt x="78" y="317"/>
                  </a:lnTo>
                  <a:lnTo>
                    <a:pt x="78" y="316"/>
                  </a:lnTo>
                  <a:lnTo>
                    <a:pt x="78" y="315"/>
                  </a:lnTo>
                  <a:lnTo>
                    <a:pt x="78" y="313"/>
                  </a:lnTo>
                  <a:lnTo>
                    <a:pt x="78" y="312"/>
                  </a:lnTo>
                  <a:lnTo>
                    <a:pt x="78" y="309"/>
                  </a:lnTo>
                  <a:lnTo>
                    <a:pt x="79" y="307"/>
                  </a:lnTo>
                  <a:lnTo>
                    <a:pt x="79" y="306"/>
                  </a:lnTo>
                  <a:lnTo>
                    <a:pt x="79" y="305"/>
                  </a:lnTo>
                  <a:lnTo>
                    <a:pt x="78" y="304"/>
                  </a:lnTo>
                  <a:lnTo>
                    <a:pt x="78" y="303"/>
                  </a:lnTo>
                  <a:lnTo>
                    <a:pt x="78" y="301"/>
                  </a:lnTo>
                  <a:lnTo>
                    <a:pt x="78" y="300"/>
                  </a:lnTo>
                  <a:lnTo>
                    <a:pt x="77" y="299"/>
                  </a:lnTo>
                  <a:lnTo>
                    <a:pt x="77" y="298"/>
                  </a:lnTo>
                  <a:lnTo>
                    <a:pt x="76" y="297"/>
                  </a:lnTo>
                  <a:lnTo>
                    <a:pt x="76" y="297"/>
                  </a:lnTo>
                  <a:lnTo>
                    <a:pt x="75" y="296"/>
                  </a:lnTo>
                  <a:lnTo>
                    <a:pt x="75" y="296"/>
                  </a:lnTo>
                  <a:lnTo>
                    <a:pt x="74" y="296"/>
                  </a:lnTo>
                  <a:lnTo>
                    <a:pt x="74" y="295"/>
                  </a:lnTo>
                  <a:lnTo>
                    <a:pt x="73" y="295"/>
                  </a:lnTo>
                  <a:lnTo>
                    <a:pt x="72" y="295"/>
                  </a:lnTo>
                  <a:lnTo>
                    <a:pt x="71" y="295"/>
                  </a:lnTo>
                  <a:lnTo>
                    <a:pt x="70" y="295"/>
                  </a:lnTo>
                  <a:lnTo>
                    <a:pt x="69" y="295"/>
                  </a:lnTo>
                  <a:lnTo>
                    <a:pt x="66" y="295"/>
                  </a:lnTo>
                  <a:lnTo>
                    <a:pt x="63" y="296"/>
                  </a:lnTo>
                  <a:lnTo>
                    <a:pt x="62" y="296"/>
                  </a:lnTo>
                  <a:lnTo>
                    <a:pt x="61" y="296"/>
                  </a:lnTo>
                  <a:lnTo>
                    <a:pt x="58" y="296"/>
                  </a:lnTo>
                  <a:lnTo>
                    <a:pt x="57" y="297"/>
                  </a:lnTo>
                  <a:lnTo>
                    <a:pt x="53" y="297"/>
                  </a:lnTo>
                  <a:lnTo>
                    <a:pt x="53" y="297"/>
                  </a:lnTo>
                  <a:lnTo>
                    <a:pt x="52" y="297"/>
                  </a:lnTo>
                  <a:lnTo>
                    <a:pt x="51" y="297"/>
                  </a:lnTo>
                  <a:lnTo>
                    <a:pt x="51" y="297"/>
                  </a:lnTo>
                  <a:lnTo>
                    <a:pt x="51" y="296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8" y="294"/>
                  </a:lnTo>
                  <a:lnTo>
                    <a:pt x="47" y="293"/>
                  </a:lnTo>
                  <a:lnTo>
                    <a:pt x="46" y="293"/>
                  </a:lnTo>
                  <a:lnTo>
                    <a:pt x="43" y="292"/>
                  </a:lnTo>
                  <a:lnTo>
                    <a:pt x="40" y="291"/>
                  </a:lnTo>
                  <a:lnTo>
                    <a:pt x="35" y="289"/>
                  </a:lnTo>
                  <a:lnTo>
                    <a:pt x="34" y="289"/>
                  </a:lnTo>
                  <a:lnTo>
                    <a:pt x="33" y="289"/>
                  </a:lnTo>
                  <a:lnTo>
                    <a:pt x="33" y="289"/>
                  </a:lnTo>
                  <a:lnTo>
                    <a:pt x="32" y="289"/>
                  </a:lnTo>
                  <a:lnTo>
                    <a:pt x="32" y="289"/>
                  </a:lnTo>
                  <a:lnTo>
                    <a:pt x="31" y="290"/>
                  </a:lnTo>
                  <a:lnTo>
                    <a:pt x="30" y="290"/>
                  </a:lnTo>
                  <a:lnTo>
                    <a:pt x="27" y="291"/>
                  </a:lnTo>
                  <a:lnTo>
                    <a:pt x="26" y="292"/>
                  </a:lnTo>
                  <a:lnTo>
                    <a:pt x="25" y="292"/>
                  </a:lnTo>
                  <a:lnTo>
                    <a:pt x="24" y="292"/>
                  </a:lnTo>
                  <a:lnTo>
                    <a:pt x="23" y="293"/>
                  </a:lnTo>
                  <a:lnTo>
                    <a:pt x="22" y="293"/>
                  </a:lnTo>
                  <a:lnTo>
                    <a:pt x="21" y="292"/>
                  </a:lnTo>
                  <a:lnTo>
                    <a:pt x="20" y="292"/>
                  </a:lnTo>
                  <a:lnTo>
                    <a:pt x="19" y="292"/>
                  </a:lnTo>
                  <a:lnTo>
                    <a:pt x="18" y="291"/>
                  </a:lnTo>
                  <a:lnTo>
                    <a:pt x="17" y="291"/>
                  </a:lnTo>
                  <a:lnTo>
                    <a:pt x="17" y="291"/>
                  </a:lnTo>
                  <a:lnTo>
                    <a:pt x="17" y="290"/>
                  </a:lnTo>
                  <a:lnTo>
                    <a:pt x="16" y="289"/>
                  </a:lnTo>
                  <a:lnTo>
                    <a:pt x="14" y="287"/>
                  </a:lnTo>
                  <a:lnTo>
                    <a:pt x="13" y="286"/>
                  </a:lnTo>
                  <a:lnTo>
                    <a:pt x="12" y="284"/>
                  </a:lnTo>
                  <a:lnTo>
                    <a:pt x="11" y="284"/>
                  </a:lnTo>
                  <a:lnTo>
                    <a:pt x="10" y="283"/>
                  </a:lnTo>
                  <a:lnTo>
                    <a:pt x="10" y="283"/>
                  </a:lnTo>
                  <a:lnTo>
                    <a:pt x="9" y="283"/>
                  </a:lnTo>
                  <a:lnTo>
                    <a:pt x="8" y="283"/>
                  </a:lnTo>
                  <a:lnTo>
                    <a:pt x="8" y="282"/>
                  </a:lnTo>
                  <a:lnTo>
                    <a:pt x="7" y="282"/>
                  </a:lnTo>
                  <a:lnTo>
                    <a:pt x="4" y="282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2" y="281"/>
                  </a:lnTo>
                  <a:lnTo>
                    <a:pt x="1" y="281"/>
                  </a:lnTo>
                  <a:lnTo>
                    <a:pt x="0" y="281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79"/>
                  </a:lnTo>
                  <a:lnTo>
                    <a:pt x="1" y="279"/>
                  </a:lnTo>
                  <a:lnTo>
                    <a:pt x="2" y="278"/>
                  </a:lnTo>
                  <a:lnTo>
                    <a:pt x="2" y="278"/>
                  </a:lnTo>
                  <a:lnTo>
                    <a:pt x="3" y="278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6"/>
                  </a:lnTo>
                  <a:lnTo>
                    <a:pt x="3" y="275"/>
                  </a:lnTo>
                  <a:lnTo>
                    <a:pt x="3" y="274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Freeform 65">
              <a:extLst>
                <a:ext uri="{FF2B5EF4-FFF2-40B4-BE49-F238E27FC236}">
                  <a16:creationId xmlns:a16="http://schemas.microsoft.com/office/drawing/2014/main" id="{1166AD9F-E91B-BA62-DDF0-38FD49ED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" y="3418"/>
              <a:ext cx="185" cy="278"/>
            </a:xfrm>
            <a:custGeom>
              <a:avLst/>
              <a:gdLst>
                <a:gd name="T0" fmla="*/ 60 w 185"/>
                <a:gd name="T1" fmla="*/ 275 h 278"/>
                <a:gd name="T2" fmla="*/ 51 w 185"/>
                <a:gd name="T3" fmla="*/ 271 h 278"/>
                <a:gd name="T4" fmla="*/ 42 w 185"/>
                <a:gd name="T5" fmla="*/ 266 h 278"/>
                <a:gd name="T6" fmla="*/ 36 w 185"/>
                <a:gd name="T7" fmla="*/ 266 h 278"/>
                <a:gd name="T8" fmla="*/ 26 w 185"/>
                <a:gd name="T9" fmla="*/ 269 h 278"/>
                <a:gd name="T10" fmla="*/ 17 w 185"/>
                <a:gd name="T11" fmla="*/ 262 h 278"/>
                <a:gd name="T12" fmla="*/ 6 w 185"/>
                <a:gd name="T13" fmla="*/ 249 h 278"/>
                <a:gd name="T14" fmla="*/ 5 w 185"/>
                <a:gd name="T15" fmla="*/ 244 h 278"/>
                <a:gd name="T16" fmla="*/ 9 w 185"/>
                <a:gd name="T17" fmla="*/ 237 h 278"/>
                <a:gd name="T18" fmla="*/ 8 w 185"/>
                <a:gd name="T19" fmla="*/ 232 h 278"/>
                <a:gd name="T20" fmla="*/ 1 w 185"/>
                <a:gd name="T21" fmla="*/ 226 h 278"/>
                <a:gd name="T22" fmla="*/ 0 w 185"/>
                <a:gd name="T23" fmla="*/ 220 h 278"/>
                <a:gd name="T24" fmla="*/ 4 w 185"/>
                <a:gd name="T25" fmla="*/ 205 h 278"/>
                <a:gd name="T26" fmla="*/ 3 w 185"/>
                <a:gd name="T27" fmla="*/ 201 h 278"/>
                <a:gd name="T28" fmla="*/ 8 w 185"/>
                <a:gd name="T29" fmla="*/ 187 h 278"/>
                <a:gd name="T30" fmla="*/ 9 w 185"/>
                <a:gd name="T31" fmla="*/ 176 h 278"/>
                <a:gd name="T32" fmla="*/ 8 w 185"/>
                <a:gd name="T33" fmla="*/ 168 h 278"/>
                <a:gd name="T34" fmla="*/ 5 w 185"/>
                <a:gd name="T35" fmla="*/ 161 h 278"/>
                <a:gd name="T36" fmla="*/ 7 w 185"/>
                <a:gd name="T37" fmla="*/ 158 h 278"/>
                <a:gd name="T38" fmla="*/ 12 w 185"/>
                <a:gd name="T39" fmla="*/ 155 h 278"/>
                <a:gd name="T40" fmla="*/ 11 w 185"/>
                <a:gd name="T41" fmla="*/ 146 h 278"/>
                <a:gd name="T42" fmla="*/ 13 w 185"/>
                <a:gd name="T43" fmla="*/ 138 h 278"/>
                <a:gd name="T44" fmla="*/ 15 w 185"/>
                <a:gd name="T45" fmla="*/ 133 h 278"/>
                <a:gd name="T46" fmla="*/ 24 w 185"/>
                <a:gd name="T47" fmla="*/ 130 h 278"/>
                <a:gd name="T48" fmla="*/ 26 w 185"/>
                <a:gd name="T49" fmla="*/ 128 h 278"/>
                <a:gd name="T50" fmla="*/ 26 w 185"/>
                <a:gd name="T51" fmla="*/ 122 h 278"/>
                <a:gd name="T52" fmla="*/ 30 w 185"/>
                <a:gd name="T53" fmla="*/ 120 h 278"/>
                <a:gd name="T54" fmla="*/ 39 w 185"/>
                <a:gd name="T55" fmla="*/ 122 h 278"/>
                <a:gd name="T56" fmla="*/ 52 w 185"/>
                <a:gd name="T57" fmla="*/ 123 h 278"/>
                <a:gd name="T58" fmla="*/ 64 w 185"/>
                <a:gd name="T59" fmla="*/ 119 h 278"/>
                <a:gd name="T60" fmla="*/ 71 w 185"/>
                <a:gd name="T61" fmla="*/ 121 h 278"/>
                <a:gd name="T62" fmla="*/ 79 w 185"/>
                <a:gd name="T63" fmla="*/ 124 h 278"/>
                <a:gd name="T64" fmla="*/ 81 w 185"/>
                <a:gd name="T65" fmla="*/ 122 h 278"/>
                <a:gd name="T66" fmla="*/ 85 w 185"/>
                <a:gd name="T67" fmla="*/ 117 h 278"/>
                <a:gd name="T68" fmla="*/ 90 w 185"/>
                <a:gd name="T69" fmla="*/ 115 h 278"/>
                <a:gd name="T70" fmla="*/ 99 w 185"/>
                <a:gd name="T71" fmla="*/ 115 h 278"/>
                <a:gd name="T72" fmla="*/ 104 w 185"/>
                <a:gd name="T73" fmla="*/ 110 h 278"/>
                <a:gd name="T74" fmla="*/ 105 w 185"/>
                <a:gd name="T75" fmla="*/ 103 h 278"/>
                <a:gd name="T76" fmla="*/ 102 w 185"/>
                <a:gd name="T77" fmla="*/ 96 h 278"/>
                <a:gd name="T78" fmla="*/ 97 w 185"/>
                <a:gd name="T79" fmla="*/ 92 h 278"/>
                <a:gd name="T80" fmla="*/ 87 w 185"/>
                <a:gd name="T81" fmla="*/ 87 h 278"/>
                <a:gd name="T82" fmla="*/ 85 w 185"/>
                <a:gd name="T83" fmla="*/ 79 h 278"/>
                <a:gd name="T84" fmla="*/ 87 w 185"/>
                <a:gd name="T85" fmla="*/ 72 h 278"/>
                <a:gd name="T86" fmla="*/ 97 w 185"/>
                <a:gd name="T87" fmla="*/ 58 h 278"/>
                <a:gd name="T88" fmla="*/ 100 w 185"/>
                <a:gd name="T89" fmla="*/ 51 h 278"/>
                <a:gd name="T90" fmla="*/ 105 w 185"/>
                <a:gd name="T91" fmla="*/ 48 h 278"/>
                <a:gd name="T92" fmla="*/ 109 w 185"/>
                <a:gd name="T93" fmla="*/ 50 h 278"/>
                <a:gd name="T94" fmla="*/ 115 w 185"/>
                <a:gd name="T95" fmla="*/ 48 h 278"/>
                <a:gd name="T96" fmla="*/ 129 w 185"/>
                <a:gd name="T97" fmla="*/ 43 h 278"/>
                <a:gd name="T98" fmla="*/ 140 w 185"/>
                <a:gd name="T99" fmla="*/ 39 h 278"/>
                <a:gd name="T100" fmla="*/ 146 w 185"/>
                <a:gd name="T101" fmla="*/ 32 h 278"/>
                <a:gd name="T102" fmla="*/ 154 w 185"/>
                <a:gd name="T103" fmla="*/ 31 h 278"/>
                <a:gd name="T104" fmla="*/ 159 w 185"/>
                <a:gd name="T105" fmla="*/ 30 h 278"/>
                <a:gd name="T106" fmla="*/ 160 w 185"/>
                <a:gd name="T107" fmla="*/ 26 h 278"/>
                <a:gd name="T108" fmla="*/ 158 w 185"/>
                <a:gd name="T109" fmla="*/ 19 h 278"/>
                <a:gd name="T110" fmla="*/ 159 w 185"/>
                <a:gd name="T111" fmla="*/ 15 h 278"/>
                <a:gd name="T112" fmla="*/ 164 w 185"/>
                <a:gd name="T113" fmla="*/ 10 h 278"/>
                <a:gd name="T114" fmla="*/ 172 w 185"/>
                <a:gd name="T115" fmla="*/ 8 h 278"/>
                <a:gd name="T116" fmla="*/ 179 w 185"/>
                <a:gd name="T117" fmla="*/ 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5" h="278">
                  <a:moveTo>
                    <a:pt x="61" y="278"/>
                  </a:moveTo>
                  <a:lnTo>
                    <a:pt x="61" y="278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9" y="275"/>
                  </a:lnTo>
                  <a:lnTo>
                    <a:pt x="57" y="274"/>
                  </a:lnTo>
                  <a:lnTo>
                    <a:pt x="56" y="274"/>
                  </a:lnTo>
                  <a:lnTo>
                    <a:pt x="52" y="272"/>
                  </a:lnTo>
                  <a:lnTo>
                    <a:pt x="51" y="272"/>
                  </a:lnTo>
                  <a:lnTo>
                    <a:pt x="51" y="271"/>
                  </a:lnTo>
                  <a:lnTo>
                    <a:pt x="49" y="271"/>
                  </a:lnTo>
                  <a:lnTo>
                    <a:pt x="48" y="270"/>
                  </a:lnTo>
                  <a:lnTo>
                    <a:pt x="46" y="269"/>
                  </a:lnTo>
                  <a:lnTo>
                    <a:pt x="44" y="267"/>
                  </a:lnTo>
                  <a:lnTo>
                    <a:pt x="44" y="266"/>
                  </a:lnTo>
                  <a:lnTo>
                    <a:pt x="43" y="266"/>
                  </a:lnTo>
                  <a:lnTo>
                    <a:pt x="42" y="266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30" y="269"/>
                  </a:lnTo>
                  <a:lnTo>
                    <a:pt x="29" y="269"/>
                  </a:lnTo>
                  <a:lnTo>
                    <a:pt x="28" y="270"/>
                  </a:lnTo>
                  <a:lnTo>
                    <a:pt x="27" y="270"/>
                  </a:lnTo>
                  <a:lnTo>
                    <a:pt x="26" y="269"/>
                  </a:lnTo>
                  <a:lnTo>
                    <a:pt x="25" y="269"/>
                  </a:lnTo>
                  <a:lnTo>
                    <a:pt x="25" y="269"/>
                  </a:lnTo>
                  <a:lnTo>
                    <a:pt x="24" y="269"/>
                  </a:lnTo>
                  <a:lnTo>
                    <a:pt x="23" y="268"/>
                  </a:lnTo>
                  <a:lnTo>
                    <a:pt x="21" y="266"/>
                  </a:lnTo>
                  <a:lnTo>
                    <a:pt x="18" y="264"/>
                  </a:lnTo>
                  <a:lnTo>
                    <a:pt x="17" y="262"/>
                  </a:lnTo>
                  <a:lnTo>
                    <a:pt x="15" y="260"/>
                  </a:lnTo>
                  <a:lnTo>
                    <a:pt x="15" y="259"/>
                  </a:lnTo>
                  <a:lnTo>
                    <a:pt x="11" y="256"/>
                  </a:lnTo>
                  <a:lnTo>
                    <a:pt x="11" y="255"/>
                  </a:lnTo>
                  <a:lnTo>
                    <a:pt x="10" y="255"/>
                  </a:lnTo>
                  <a:lnTo>
                    <a:pt x="8" y="252"/>
                  </a:lnTo>
                  <a:lnTo>
                    <a:pt x="6" y="249"/>
                  </a:lnTo>
                  <a:lnTo>
                    <a:pt x="5" y="248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5" y="243"/>
                  </a:lnTo>
                  <a:lnTo>
                    <a:pt x="5" y="242"/>
                  </a:lnTo>
                  <a:lnTo>
                    <a:pt x="6" y="241"/>
                  </a:lnTo>
                  <a:lnTo>
                    <a:pt x="7" y="240"/>
                  </a:lnTo>
                  <a:lnTo>
                    <a:pt x="8" y="239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4"/>
                  </a:lnTo>
                  <a:lnTo>
                    <a:pt x="8" y="233"/>
                  </a:lnTo>
                  <a:lnTo>
                    <a:pt x="8" y="232"/>
                  </a:lnTo>
                  <a:lnTo>
                    <a:pt x="7" y="232"/>
                  </a:lnTo>
                  <a:lnTo>
                    <a:pt x="7" y="231"/>
                  </a:lnTo>
                  <a:lnTo>
                    <a:pt x="6" y="230"/>
                  </a:lnTo>
                  <a:lnTo>
                    <a:pt x="4" y="228"/>
                  </a:lnTo>
                  <a:lnTo>
                    <a:pt x="3" y="228"/>
                  </a:lnTo>
                  <a:lnTo>
                    <a:pt x="2" y="227"/>
                  </a:lnTo>
                  <a:lnTo>
                    <a:pt x="1" y="226"/>
                  </a:lnTo>
                  <a:lnTo>
                    <a:pt x="0" y="225"/>
                  </a:lnTo>
                  <a:lnTo>
                    <a:pt x="0" y="224"/>
                  </a:lnTo>
                  <a:lnTo>
                    <a:pt x="0" y="223"/>
                  </a:lnTo>
                  <a:lnTo>
                    <a:pt x="0" y="222"/>
                  </a:lnTo>
                  <a:lnTo>
                    <a:pt x="0" y="221"/>
                  </a:lnTo>
                  <a:lnTo>
                    <a:pt x="0" y="221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1" y="215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09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1"/>
                  </a:lnTo>
                  <a:lnTo>
                    <a:pt x="4" y="200"/>
                  </a:lnTo>
                  <a:lnTo>
                    <a:pt x="5" y="198"/>
                  </a:lnTo>
                  <a:lnTo>
                    <a:pt x="6" y="195"/>
                  </a:lnTo>
                  <a:lnTo>
                    <a:pt x="7" y="192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7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9" y="180"/>
                  </a:lnTo>
                  <a:lnTo>
                    <a:pt x="9" y="179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9" y="172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8" y="169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7" y="166"/>
                  </a:lnTo>
                  <a:lnTo>
                    <a:pt x="5" y="163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9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1" y="156"/>
                  </a:lnTo>
                  <a:lnTo>
                    <a:pt x="11" y="155"/>
                  </a:lnTo>
                  <a:lnTo>
                    <a:pt x="12" y="155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1" y="146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3" y="141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7" y="133"/>
                  </a:lnTo>
                  <a:lnTo>
                    <a:pt x="22" y="131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9" y="120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0"/>
                  </a:lnTo>
                  <a:lnTo>
                    <a:pt x="32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22"/>
                  </a:lnTo>
                  <a:lnTo>
                    <a:pt x="43" y="122"/>
                  </a:lnTo>
                  <a:lnTo>
                    <a:pt x="47" y="123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8" y="121"/>
                  </a:lnTo>
                  <a:lnTo>
                    <a:pt x="61" y="120"/>
                  </a:lnTo>
                  <a:lnTo>
                    <a:pt x="63" y="119"/>
                  </a:lnTo>
                  <a:lnTo>
                    <a:pt x="64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20"/>
                  </a:lnTo>
                  <a:lnTo>
                    <a:pt x="70" y="120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7" y="124"/>
                  </a:lnTo>
                  <a:lnTo>
                    <a:pt x="78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1" y="123"/>
                  </a:lnTo>
                  <a:lnTo>
                    <a:pt x="81" y="122"/>
                  </a:lnTo>
                  <a:lnTo>
                    <a:pt x="82" y="121"/>
                  </a:lnTo>
                  <a:lnTo>
                    <a:pt x="82" y="120"/>
                  </a:lnTo>
                  <a:lnTo>
                    <a:pt x="83" y="118"/>
                  </a:lnTo>
                  <a:lnTo>
                    <a:pt x="84" y="118"/>
                  </a:lnTo>
                  <a:lnTo>
                    <a:pt x="84" y="117"/>
                  </a:lnTo>
                  <a:lnTo>
                    <a:pt x="84" y="117"/>
                  </a:lnTo>
                  <a:lnTo>
                    <a:pt x="85" y="117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9" y="115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5" y="115"/>
                  </a:lnTo>
                  <a:lnTo>
                    <a:pt x="96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100" y="114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4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5" y="101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3" y="97"/>
                  </a:lnTo>
                  <a:lnTo>
                    <a:pt x="102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3"/>
                  </a:lnTo>
                  <a:lnTo>
                    <a:pt x="98" y="93"/>
                  </a:lnTo>
                  <a:lnTo>
                    <a:pt x="97" y="92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6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3"/>
                  </a:lnTo>
                  <a:lnTo>
                    <a:pt x="85" y="81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5" y="78"/>
                  </a:lnTo>
                  <a:lnTo>
                    <a:pt x="86" y="77"/>
                  </a:lnTo>
                  <a:lnTo>
                    <a:pt x="86" y="76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8" y="71"/>
                  </a:lnTo>
                  <a:lnTo>
                    <a:pt x="88" y="70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7" y="58"/>
                  </a:lnTo>
                  <a:lnTo>
                    <a:pt x="98" y="56"/>
                  </a:lnTo>
                  <a:lnTo>
                    <a:pt x="98" y="55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3" y="49"/>
                  </a:lnTo>
                  <a:lnTo>
                    <a:pt x="104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6" y="48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4" y="49"/>
                  </a:lnTo>
                  <a:lnTo>
                    <a:pt x="115" y="48"/>
                  </a:lnTo>
                  <a:lnTo>
                    <a:pt x="118" y="47"/>
                  </a:lnTo>
                  <a:lnTo>
                    <a:pt x="119" y="46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4" y="44"/>
                  </a:lnTo>
                  <a:lnTo>
                    <a:pt x="126" y="44"/>
                  </a:lnTo>
                  <a:lnTo>
                    <a:pt x="129" y="43"/>
                  </a:lnTo>
                  <a:lnTo>
                    <a:pt x="131" y="42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6" y="41"/>
                  </a:lnTo>
                  <a:lnTo>
                    <a:pt x="137" y="41"/>
                  </a:lnTo>
                  <a:lnTo>
                    <a:pt x="138" y="40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41" y="38"/>
                  </a:lnTo>
                  <a:lnTo>
                    <a:pt x="142" y="37"/>
                  </a:lnTo>
                  <a:lnTo>
                    <a:pt x="143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7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4" y="31"/>
                  </a:lnTo>
                  <a:lnTo>
                    <a:pt x="155" y="31"/>
                  </a:lnTo>
                  <a:lnTo>
                    <a:pt x="156" y="31"/>
                  </a:lnTo>
                  <a:lnTo>
                    <a:pt x="157" y="31"/>
                  </a:lnTo>
                  <a:lnTo>
                    <a:pt x="158" y="31"/>
                  </a:lnTo>
                  <a:lnTo>
                    <a:pt x="158" y="30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7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5"/>
                  </a:lnTo>
                  <a:lnTo>
                    <a:pt x="160" y="24"/>
                  </a:lnTo>
                  <a:lnTo>
                    <a:pt x="159" y="23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7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4"/>
                  </a:lnTo>
                  <a:lnTo>
                    <a:pt x="160" y="13"/>
                  </a:lnTo>
                  <a:lnTo>
                    <a:pt x="162" y="12"/>
                  </a:lnTo>
                  <a:lnTo>
                    <a:pt x="162" y="11"/>
                  </a:lnTo>
                  <a:lnTo>
                    <a:pt x="163" y="11"/>
                  </a:lnTo>
                  <a:lnTo>
                    <a:pt x="163" y="10"/>
                  </a:lnTo>
                  <a:lnTo>
                    <a:pt x="164" y="10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9"/>
                  </a:lnTo>
                  <a:lnTo>
                    <a:pt x="170" y="9"/>
                  </a:lnTo>
                  <a:lnTo>
                    <a:pt x="171" y="9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8" y="4"/>
                  </a:lnTo>
                  <a:lnTo>
                    <a:pt x="179" y="3"/>
                  </a:lnTo>
                  <a:lnTo>
                    <a:pt x="179" y="2"/>
                  </a:lnTo>
                  <a:lnTo>
                    <a:pt x="180" y="2"/>
                  </a:lnTo>
                  <a:lnTo>
                    <a:pt x="180" y="1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80" y="1"/>
                  </a:lnTo>
                  <a:lnTo>
                    <a:pt x="185" y="4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Freeform 66">
              <a:extLst>
                <a:ext uri="{FF2B5EF4-FFF2-40B4-BE49-F238E27FC236}">
                  <a16:creationId xmlns:a16="http://schemas.microsoft.com/office/drawing/2014/main" id="{BFF3E21E-E0AD-D96A-A165-73C98A358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21"/>
              <a:ext cx="642" cy="464"/>
            </a:xfrm>
            <a:custGeom>
              <a:avLst/>
              <a:gdLst>
                <a:gd name="T0" fmla="*/ 339 w 642"/>
                <a:gd name="T1" fmla="*/ 2 h 464"/>
                <a:gd name="T2" fmla="*/ 375 w 642"/>
                <a:gd name="T3" fmla="*/ 17 h 464"/>
                <a:gd name="T4" fmla="*/ 360 w 642"/>
                <a:gd name="T5" fmla="*/ 32 h 464"/>
                <a:gd name="T6" fmla="*/ 381 w 642"/>
                <a:gd name="T7" fmla="*/ 46 h 464"/>
                <a:gd name="T8" fmla="*/ 384 w 642"/>
                <a:gd name="T9" fmla="*/ 87 h 464"/>
                <a:gd name="T10" fmla="*/ 390 w 642"/>
                <a:gd name="T11" fmla="*/ 109 h 464"/>
                <a:gd name="T12" fmla="*/ 410 w 642"/>
                <a:gd name="T13" fmla="*/ 87 h 464"/>
                <a:gd name="T14" fmla="*/ 403 w 642"/>
                <a:gd name="T15" fmla="*/ 62 h 464"/>
                <a:gd name="T16" fmla="*/ 430 w 642"/>
                <a:gd name="T17" fmla="*/ 77 h 464"/>
                <a:gd name="T18" fmla="*/ 448 w 642"/>
                <a:gd name="T19" fmla="*/ 106 h 464"/>
                <a:gd name="T20" fmla="*/ 452 w 642"/>
                <a:gd name="T21" fmla="*/ 121 h 464"/>
                <a:gd name="T22" fmla="*/ 483 w 642"/>
                <a:gd name="T23" fmla="*/ 146 h 464"/>
                <a:gd name="T24" fmla="*/ 488 w 642"/>
                <a:gd name="T25" fmla="*/ 200 h 464"/>
                <a:gd name="T26" fmla="*/ 500 w 642"/>
                <a:gd name="T27" fmla="*/ 213 h 464"/>
                <a:gd name="T28" fmla="*/ 478 w 642"/>
                <a:gd name="T29" fmla="*/ 242 h 464"/>
                <a:gd name="T30" fmla="*/ 504 w 642"/>
                <a:gd name="T31" fmla="*/ 246 h 464"/>
                <a:gd name="T32" fmla="*/ 517 w 642"/>
                <a:gd name="T33" fmla="*/ 270 h 464"/>
                <a:gd name="T34" fmla="*/ 551 w 642"/>
                <a:gd name="T35" fmla="*/ 287 h 464"/>
                <a:gd name="T36" fmla="*/ 578 w 642"/>
                <a:gd name="T37" fmla="*/ 304 h 464"/>
                <a:gd name="T38" fmla="*/ 610 w 642"/>
                <a:gd name="T39" fmla="*/ 313 h 464"/>
                <a:gd name="T40" fmla="*/ 641 w 642"/>
                <a:gd name="T41" fmla="*/ 348 h 464"/>
                <a:gd name="T42" fmla="*/ 611 w 642"/>
                <a:gd name="T43" fmla="*/ 367 h 464"/>
                <a:gd name="T44" fmla="*/ 583 w 642"/>
                <a:gd name="T45" fmla="*/ 358 h 464"/>
                <a:gd name="T46" fmla="*/ 546 w 642"/>
                <a:gd name="T47" fmla="*/ 362 h 464"/>
                <a:gd name="T48" fmla="*/ 503 w 642"/>
                <a:gd name="T49" fmla="*/ 347 h 464"/>
                <a:gd name="T50" fmla="*/ 462 w 642"/>
                <a:gd name="T51" fmla="*/ 396 h 464"/>
                <a:gd name="T52" fmla="*/ 435 w 642"/>
                <a:gd name="T53" fmla="*/ 458 h 464"/>
                <a:gd name="T54" fmla="*/ 422 w 642"/>
                <a:gd name="T55" fmla="*/ 442 h 464"/>
                <a:gd name="T56" fmla="*/ 403 w 642"/>
                <a:gd name="T57" fmla="*/ 421 h 464"/>
                <a:gd name="T58" fmla="*/ 358 w 642"/>
                <a:gd name="T59" fmla="*/ 413 h 464"/>
                <a:gd name="T60" fmla="*/ 342 w 642"/>
                <a:gd name="T61" fmla="*/ 394 h 464"/>
                <a:gd name="T62" fmla="*/ 304 w 642"/>
                <a:gd name="T63" fmla="*/ 381 h 464"/>
                <a:gd name="T64" fmla="*/ 269 w 642"/>
                <a:gd name="T65" fmla="*/ 405 h 464"/>
                <a:gd name="T66" fmla="*/ 242 w 642"/>
                <a:gd name="T67" fmla="*/ 415 h 464"/>
                <a:gd name="T68" fmla="*/ 181 w 642"/>
                <a:gd name="T69" fmla="*/ 412 h 464"/>
                <a:gd name="T70" fmla="*/ 127 w 642"/>
                <a:gd name="T71" fmla="*/ 385 h 464"/>
                <a:gd name="T72" fmla="*/ 110 w 642"/>
                <a:gd name="T73" fmla="*/ 370 h 464"/>
                <a:gd name="T74" fmla="*/ 92 w 642"/>
                <a:gd name="T75" fmla="*/ 356 h 464"/>
                <a:gd name="T76" fmla="*/ 61 w 642"/>
                <a:gd name="T77" fmla="*/ 362 h 464"/>
                <a:gd name="T78" fmla="*/ 7 w 642"/>
                <a:gd name="T79" fmla="*/ 341 h 464"/>
                <a:gd name="T80" fmla="*/ 8 w 642"/>
                <a:gd name="T81" fmla="*/ 323 h 464"/>
                <a:gd name="T82" fmla="*/ 27 w 642"/>
                <a:gd name="T83" fmla="*/ 321 h 464"/>
                <a:gd name="T84" fmla="*/ 51 w 642"/>
                <a:gd name="T85" fmla="*/ 314 h 464"/>
                <a:gd name="T86" fmla="*/ 78 w 642"/>
                <a:gd name="T87" fmla="*/ 297 h 464"/>
                <a:gd name="T88" fmla="*/ 105 w 642"/>
                <a:gd name="T89" fmla="*/ 280 h 464"/>
                <a:gd name="T90" fmla="*/ 125 w 642"/>
                <a:gd name="T91" fmla="*/ 271 h 464"/>
                <a:gd name="T92" fmla="*/ 149 w 642"/>
                <a:gd name="T93" fmla="*/ 275 h 464"/>
                <a:gd name="T94" fmla="*/ 180 w 642"/>
                <a:gd name="T95" fmla="*/ 267 h 464"/>
                <a:gd name="T96" fmla="*/ 207 w 642"/>
                <a:gd name="T97" fmla="*/ 251 h 464"/>
                <a:gd name="T98" fmla="*/ 203 w 642"/>
                <a:gd name="T99" fmla="*/ 231 h 464"/>
                <a:gd name="T100" fmla="*/ 210 w 642"/>
                <a:gd name="T101" fmla="*/ 214 h 464"/>
                <a:gd name="T102" fmla="*/ 211 w 642"/>
                <a:gd name="T103" fmla="*/ 194 h 464"/>
                <a:gd name="T104" fmla="*/ 222 w 642"/>
                <a:gd name="T105" fmla="*/ 172 h 464"/>
                <a:gd name="T106" fmla="*/ 223 w 642"/>
                <a:gd name="T107" fmla="*/ 147 h 464"/>
                <a:gd name="T108" fmla="*/ 210 w 642"/>
                <a:gd name="T109" fmla="*/ 134 h 464"/>
                <a:gd name="T110" fmla="*/ 216 w 642"/>
                <a:gd name="T111" fmla="*/ 99 h 464"/>
                <a:gd name="T112" fmla="*/ 233 w 642"/>
                <a:gd name="T113" fmla="*/ 87 h 464"/>
                <a:gd name="T114" fmla="*/ 240 w 642"/>
                <a:gd name="T115" fmla="*/ 78 h 464"/>
                <a:gd name="T116" fmla="*/ 251 w 642"/>
                <a:gd name="T117" fmla="*/ 73 h 464"/>
                <a:gd name="T118" fmla="*/ 256 w 642"/>
                <a:gd name="T119" fmla="*/ 58 h 464"/>
                <a:gd name="T120" fmla="*/ 250 w 642"/>
                <a:gd name="T121" fmla="*/ 37 h 464"/>
                <a:gd name="T122" fmla="*/ 266 w 642"/>
                <a:gd name="T123" fmla="*/ 17 h 464"/>
                <a:gd name="T124" fmla="*/ 297 w 642"/>
                <a:gd name="T125" fmla="*/ 17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42" h="464">
                  <a:moveTo>
                    <a:pt x="303" y="0"/>
                  </a:moveTo>
                  <a:lnTo>
                    <a:pt x="303" y="0"/>
                  </a:lnTo>
                  <a:lnTo>
                    <a:pt x="304" y="0"/>
                  </a:lnTo>
                  <a:lnTo>
                    <a:pt x="305" y="1"/>
                  </a:lnTo>
                  <a:lnTo>
                    <a:pt x="308" y="1"/>
                  </a:lnTo>
                  <a:lnTo>
                    <a:pt x="309" y="2"/>
                  </a:lnTo>
                  <a:lnTo>
                    <a:pt x="311" y="2"/>
                  </a:lnTo>
                  <a:lnTo>
                    <a:pt x="314" y="2"/>
                  </a:lnTo>
                  <a:lnTo>
                    <a:pt x="316" y="2"/>
                  </a:lnTo>
                  <a:lnTo>
                    <a:pt x="317" y="2"/>
                  </a:lnTo>
                  <a:lnTo>
                    <a:pt x="319" y="2"/>
                  </a:lnTo>
                  <a:lnTo>
                    <a:pt x="322" y="1"/>
                  </a:lnTo>
                  <a:lnTo>
                    <a:pt x="322" y="1"/>
                  </a:lnTo>
                  <a:lnTo>
                    <a:pt x="323" y="1"/>
                  </a:lnTo>
                  <a:lnTo>
                    <a:pt x="324" y="1"/>
                  </a:lnTo>
                  <a:lnTo>
                    <a:pt x="325" y="1"/>
                  </a:lnTo>
                  <a:lnTo>
                    <a:pt x="326" y="1"/>
                  </a:lnTo>
                  <a:lnTo>
                    <a:pt x="329" y="2"/>
                  </a:lnTo>
                  <a:lnTo>
                    <a:pt x="329" y="2"/>
                  </a:lnTo>
                  <a:lnTo>
                    <a:pt x="330" y="2"/>
                  </a:lnTo>
                  <a:lnTo>
                    <a:pt x="331" y="2"/>
                  </a:lnTo>
                  <a:lnTo>
                    <a:pt x="332" y="2"/>
                  </a:lnTo>
                  <a:lnTo>
                    <a:pt x="334" y="2"/>
                  </a:lnTo>
                  <a:lnTo>
                    <a:pt x="336" y="1"/>
                  </a:lnTo>
                  <a:lnTo>
                    <a:pt x="337" y="1"/>
                  </a:lnTo>
                  <a:lnTo>
                    <a:pt x="338" y="1"/>
                  </a:lnTo>
                  <a:lnTo>
                    <a:pt x="339" y="2"/>
                  </a:lnTo>
                  <a:lnTo>
                    <a:pt x="342" y="2"/>
                  </a:lnTo>
                  <a:lnTo>
                    <a:pt x="343" y="2"/>
                  </a:lnTo>
                  <a:lnTo>
                    <a:pt x="344" y="2"/>
                  </a:lnTo>
                  <a:lnTo>
                    <a:pt x="346" y="3"/>
                  </a:lnTo>
                  <a:lnTo>
                    <a:pt x="347" y="3"/>
                  </a:lnTo>
                  <a:lnTo>
                    <a:pt x="348" y="4"/>
                  </a:lnTo>
                  <a:lnTo>
                    <a:pt x="350" y="4"/>
                  </a:lnTo>
                  <a:lnTo>
                    <a:pt x="352" y="5"/>
                  </a:lnTo>
                  <a:lnTo>
                    <a:pt x="359" y="9"/>
                  </a:lnTo>
                  <a:lnTo>
                    <a:pt x="361" y="9"/>
                  </a:lnTo>
                  <a:lnTo>
                    <a:pt x="362" y="10"/>
                  </a:lnTo>
                  <a:lnTo>
                    <a:pt x="364" y="11"/>
                  </a:lnTo>
                  <a:lnTo>
                    <a:pt x="366" y="11"/>
                  </a:lnTo>
                  <a:lnTo>
                    <a:pt x="367" y="12"/>
                  </a:lnTo>
                  <a:lnTo>
                    <a:pt x="369" y="12"/>
                  </a:lnTo>
                  <a:lnTo>
                    <a:pt x="371" y="13"/>
                  </a:lnTo>
                  <a:lnTo>
                    <a:pt x="372" y="13"/>
                  </a:lnTo>
                  <a:lnTo>
                    <a:pt x="373" y="13"/>
                  </a:lnTo>
                  <a:lnTo>
                    <a:pt x="375" y="13"/>
                  </a:lnTo>
                  <a:lnTo>
                    <a:pt x="376" y="13"/>
                  </a:lnTo>
                  <a:lnTo>
                    <a:pt x="376" y="13"/>
                  </a:lnTo>
                  <a:lnTo>
                    <a:pt x="377" y="13"/>
                  </a:lnTo>
                  <a:lnTo>
                    <a:pt x="376" y="13"/>
                  </a:lnTo>
                  <a:lnTo>
                    <a:pt x="376" y="14"/>
                  </a:lnTo>
                  <a:lnTo>
                    <a:pt x="376" y="15"/>
                  </a:lnTo>
                  <a:lnTo>
                    <a:pt x="375" y="16"/>
                  </a:lnTo>
                  <a:lnTo>
                    <a:pt x="375" y="17"/>
                  </a:lnTo>
                  <a:lnTo>
                    <a:pt x="374" y="20"/>
                  </a:lnTo>
                  <a:lnTo>
                    <a:pt x="374" y="20"/>
                  </a:lnTo>
                  <a:lnTo>
                    <a:pt x="374" y="21"/>
                  </a:lnTo>
                  <a:lnTo>
                    <a:pt x="374" y="21"/>
                  </a:lnTo>
                  <a:lnTo>
                    <a:pt x="373" y="22"/>
                  </a:lnTo>
                  <a:lnTo>
                    <a:pt x="373" y="22"/>
                  </a:lnTo>
                  <a:lnTo>
                    <a:pt x="372" y="22"/>
                  </a:lnTo>
                  <a:lnTo>
                    <a:pt x="372" y="23"/>
                  </a:lnTo>
                  <a:lnTo>
                    <a:pt x="372" y="23"/>
                  </a:lnTo>
                  <a:lnTo>
                    <a:pt x="371" y="23"/>
                  </a:lnTo>
                  <a:lnTo>
                    <a:pt x="370" y="23"/>
                  </a:lnTo>
                  <a:lnTo>
                    <a:pt x="369" y="23"/>
                  </a:lnTo>
                  <a:lnTo>
                    <a:pt x="365" y="22"/>
                  </a:lnTo>
                  <a:lnTo>
                    <a:pt x="362" y="21"/>
                  </a:lnTo>
                  <a:lnTo>
                    <a:pt x="362" y="21"/>
                  </a:lnTo>
                  <a:lnTo>
                    <a:pt x="361" y="21"/>
                  </a:lnTo>
                  <a:lnTo>
                    <a:pt x="361" y="22"/>
                  </a:lnTo>
                  <a:lnTo>
                    <a:pt x="360" y="22"/>
                  </a:lnTo>
                  <a:lnTo>
                    <a:pt x="360" y="22"/>
                  </a:lnTo>
                  <a:lnTo>
                    <a:pt x="360" y="23"/>
                  </a:lnTo>
                  <a:lnTo>
                    <a:pt x="360" y="24"/>
                  </a:lnTo>
                  <a:lnTo>
                    <a:pt x="359" y="25"/>
                  </a:lnTo>
                  <a:lnTo>
                    <a:pt x="359" y="26"/>
                  </a:lnTo>
                  <a:lnTo>
                    <a:pt x="359" y="27"/>
                  </a:lnTo>
                  <a:lnTo>
                    <a:pt x="360" y="30"/>
                  </a:lnTo>
                  <a:lnTo>
                    <a:pt x="360" y="31"/>
                  </a:lnTo>
                  <a:lnTo>
                    <a:pt x="360" y="32"/>
                  </a:lnTo>
                  <a:lnTo>
                    <a:pt x="360" y="34"/>
                  </a:lnTo>
                  <a:lnTo>
                    <a:pt x="360" y="35"/>
                  </a:lnTo>
                  <a:lnTo>
                    <a:pt x="360" y="36"/>
                  </a:lnTo>
                  <a:lnTo>
                    <a:pt x="360" y="36"/>
                  </a:lnTo>
                  <a:lnTo>
                    <a:pt x="360" y="37"/>
                  </a:lnTo>
                  <a:lnTo>
                    <a:pt x="360" y="37"/>
                  </a:lnTo>
                  <a:lnTo>
                    <a:pt x="361" y="37"/>
                  </a:lnTo>
                  <a:lnTo>
                    <a:pt x="361" y="38"/>
                  </a:lnTo>
                  <a:lnTo>
                    <a:pt x="362" y="38"/>
                  </a:lnTo>
                  <a:lnTo>
                    <a:pt x="362" y="38"/>
                  </a:lnTo>
                  <a:lnTo>
                    <a:pt x="365" y="39"/>
                  </a:lnTo>
                  <a:lnTo>
                    <a:pt x="368" y="40"/>
                  </a:lnTo>
                  <a:lnTo>
                    <a:pt x="372" y="41"/>
                  </a:lnTo>
                  <a:lnTo>
                    <a:pt x="374" y="42"/>
                  </a:lnTo>
                  <a:lnTo>
                    <a:pt x="376" y="42"/>
                  </a:lnTo>
                  <a:lnTo>
                    <a:pt x="377" y="42"/>
                  </a:lnTo>
                  <a:lnTo>
                    <a:pt x="379" y="42"/>
                  </a:lnTo>
                  <a:lnTo>
                    <a:pt x="381" y="43"/>
                  </a:lnTo>
                  <a:lnTo>
                    <a:pt x="382" y="43"/>
                  </a:lnTo>
                  <a:lnTo>
                    <a:pt x="382" y="43"/>
                  </a:lnTo>
                  <a:lnTo>
                    <a:pt x="383" y="43"/>
                  </a:lnTo>
                  <a:lnTo>
                    <a:pt x="383" y="44"/>
                  </a:lnTo>
                  <a:lnTo>
                    <a:pt x="383" y="44"/>
                  </a:lnTo>
                  <a:lnTo>
                    <a:pt x="382" y="44"/>
                  </a:lnTo>
                  <a:lnTo>
                    <a:pt x="382" y="45"/>
                  </a:lnTo>
                  <a:lnTo>
                    <a:pt x="381" y="45"/>
                  </a:lnTo>
                  <a:lnTo>
                    <a:pt x="381" y="46"/>
                  </a:lnTo>
                  <a:lnTo>
                    <a:pt x="380" y="47"/>
                  </a:lnTo>
                  <a:lnTo>
                    <a:pt x="379" y="47"/>
                  </a:lnTo>
                  <a:lnTo>
                    <a:pt x="379" y="48"/>
                  </a:lnTo>
                  <a:lnTo>
                    <a:pt x="377" y="50"/>
                  </a:lnTo>
                  <a:lnTo>
                    <a:pt x="377" y="51"/>
                  </a:lnTo>
                  <a:lnTo>
                    <a:pt x="375" y="54"/>
                  </a:lnTo>
                  <a:lnTo>
                    <a:pt x="374" y="55"/>
                  </a:lnTo>
                  <a:lnTo>
                    <a:pt x="374" y="56"/>
                  </a:lnTo>
                  <a:lnTo>
                    <a:pt x="374" y="58"/>
                  </a:lnTo>
                  <a:lnTo>
                    <a:pt x="374" y="59"/>
                  </a:lnTo>
                  <a:lnTo>
                    <a:pt x="374" y="61"/>
                  </a:lnTo>
                  <a:lnTo>
                    <a:pt x="374" y="62"/>
                  </a:lnTo>
                  <a:lnTo>
                    <a:pt x="374" y="64"/>
                  </a:lnTo>
                  <a:lnTo>
                    <a:pt x="374" y="65"/>
                  </a:lnTo>
                  <a:lnTo>
                    <a:pt x="375" y="68"/>
                  </a:lnTo>
                  <a:lnTo>
                    <a:pt x="376" y="72"/>
                  </a:lnTo>
                  <a:lnTo>
                    <a:pt x="377" y="75"/>
                  </a:lnTo>
                  <a:lnTo>
                    <a:pt x="377" y="76"/>
                  </a:lnTo>
                  <a:lnTo>
                    <a:pt x="378" y="77"/>
                  </a:lnTo>
                  <a:lnTo>
                    <a:pt x="378" y="78"/>
                  </a:lnTo>
                  <a:lnTo>
                    <a:pt x="379" y="79"/>
                  </a:lnTo>
                  <a:lnTo>
                    <a:pt x="381" y="82"/>
                  </a:lnTo>
                  <a:lnTo>
                    <a:pt x="382" y="83"/>
                  </a:lnTo>
                  <a:lnTo>
                    <a:pt x="382" y="84"/>
                  </a:lnTo>
                  <a:lnTo>
                    <a:pt x="383" y="85"/>
                  </a:lnTo>
                  <a:lnTo>
                    <a:pt x="383" y="86"/>
                  </a:lnTo>
                  <a:lnTo>
                    <a:pt x="384" y="87"/>
                  </a:lnTo>
                  <a:lnTo>
                    <a:pt x="384" y="88"/>
                  </a:lnTo>
                  <a:lnTo>
                    <a:pt x="383" y="88"/>
                  </a:lnTo>
                  <a:lnTo>
                    <a:pt x="383" y="89"/>
                  </a:lnTo>
                  <a:lnTo>
                    <a:pt x="383" y="89"/>
                  </a:lnTo>
                  <a:lnTo>
                    <a:pt x="383" y="90"/>
                  </a:lnTo>
                  <a:lnTo>
                    <a:pt x="382" y="90"/>
                  </a:lnTo>
                  <a:lnTo>
                    <a:pt x="380" y="92"/>
                  </a:lnTo>
                  <a:lnTo>
                    <a:pt x="379" y="93"/>
                  </a:lnTo>
                  <a:lnTo>
                    <a:pt x="379" y="93"/>
                  </a:lnTo>
                  <a:lnTo>
                    <a:pt x="379" y="94"/>
                  </a:lnTo>
                  <a:lnTo>
                    <a:pt x="379" y="94"/>
                  </a:lnTo>
                  <a:lnTo>
                    <a:pt x="378" y="95"/>
                  </a:lnTo>
                  <a:lnTo>
                    <a:pt x="378" y="96"/>
                  </a:lnTo>
                  <a:lnTo>
                    <a:pt x="378" y="96"/>
                  </a:lnTo>
                  <a:lnTo>
                    <a:pt x="378" y="97"/>
                  </a:lnTo>
                  <a:lnTo>
                    <a:pt x="378" y="98"/>
                  </a:lnTo>
                  <a:lnTo>
                    <a:pt x="378" y="99"/>
                  </a:lnTo>
                  <a:lnTo>
                    <a:pt x="378" y="99"/>
                  </a:lnTo>
                  <a:lnTo>
                    <a:pt x="379" y="100"/>
                  </a:lnTo>
                  <a:lnTo>
                    <a:pt x="379" y="100"/>
                  </a:lnTo>
                  <a:lnTo>
                    <a:pt x="381" y="102"/>
                  </a:lnTo>
                  <a:lnTo>
                    <a:pt x="381" y="102"/>
                  </a:lnTo>
                  <a:lnTo>
                    <a:pt x="382" y="103"/>
                  </a:lnTo>
                  <a:lnTo>
                    <a:pt x="384" y="104"/>
                  </a:lnTo>
                  <a:lnTo>
                    <a:pt x="387" y="107"/>
                  </a:lnTo>
                  <a:lnTo>
                    <a:pt x="389" y="108"/>
                  </a:lnTo>
                  <a:lnTo>
                    <a:pt x="390" y="109"/>
                  </a:lnTo>
                  <a:lnTo>
                    <a:pt x="392" y="109"/>
                  </a:lnTo>
                  <a:lnTo>
                    <a:pt x="393" y="110"/>
                  </a:lnTo>
                  <a:lnTo>
                    <a:pt x="394" y="110"/>
                  </a:lnTo>
                  <a:lnTo>
                    <a:pt x="395" y="110"/>
                  </a:lnTo>
                  <a:lnTo>
                    <a:pt x="396" y="110"/>
                  </a:lnTo>
                  <a:lnTo>
                    <a:pt x="397" y="109"/>
                  </a:lnTo>
                  <a:lnTo>
                    <a:pt x="398" y="109"/>
                  </a:lnTo>
                  <a:lnTo>
                    <a:pt x="399" y="108"/>
                  </a:lnTo>
                  <a:lnTo>
                    <a:pt x="400" y="107"/>
                  </a:lnTo>
                  <a:lnTo>
                    <a:pt x="401" y="106"/>
                  </a:lnTo>
                  <a:lnTo>
                    <a:pt x="403" y="105"/>
                  </a:lnTo>
                  <a:lnTo>
                    <a:pt x="403" y="104"/>
                  </a:lnTo>
                  <a:lnTo>
                    <a:pt x="404" y="103"/>
                  </a:lnTo>
                  <a:lnTo>
                    <a:pt x="405" y="102"/>
                  </a:lnTo>
                  <a:lnTo>
                    <a:pt x="405" y="100"/>
                  </a:lnTo>
                  <a:lnTo>
                    <a:pt x="406" y="97"/>
                  </a:lnTo>
                  <a:lnTo>
                    <a:pt x="407" y="95"/>
                  </a:lnTo>
                  <a:lnTo>
                    <a:pt x="408" y="94"/>
                  </a:lnTo>
                  <a:lnTo>
                    <a:pt x="409" y="92"/>
                  </a:lnTo>
                  <a:lnTo>
                    <a:pt x="410" y="91"/>
                  </a:lnTo>
                  <a:lnTo>
                    <a:pt x="410" y="91"/>
                  </a:lnTo>
                  <a:lnTo>
                    <a:pt x="410" y="90"/>
                  </a:lnTo>
                  <a:lnTo>
                    <a:pt x="410" y="90"/>
                  </a:lnTo>
                  <a:lnTo>
                    <a:pt x="410" y="89"/>
                  </a:lnTo>
                  <a:lnTo>
                    <a:pt x="410" y="88"/>
                  </a:lnTo>
                  <a:lnTo>
                    <a:pt x="410" y="88"/>
                  </a:lnTo>
                  <a:lnTo>
                    <a:pt x="410" y="87"/>
                  </a:lnTo>
                  <a:lnTo>
                    <a:pt x="409" y="86"/>
                  </a:lnTo>
                  <a:lnTo>
                    <a:pt x="409" y="85"/>
                  </a:lnTo>
                  <a:lnTo>
                    <a:pt x="408" y="83"/>
                  </a:lnTo>
                  <a:lnTo>
                    <a:pt x="407" y="82"/>
                  </a:lnTo>
                  <a:lnTo>
                    <a:pt x="407" y="81"/>
                  </a:lnTo>
                  <a:lnTo>
                    <a:pt x="406" y="80"/>
                  </a:lnTo>
                  <a:lnTo>
                    <a:pt x="406" y="79"/>
                  </a:lnTo>
                  <a:lnTo>
                    <a:pt x="406" y="78"/>
                  </a:lnTo>
                  <a:lnTo>
                    <a:pt x="405" y="77"/>
                  </a:lnTo>
                  <a:lnTo>
                    <a:pt x="405" y="77"/>
                  </a:lnTo>
                  <a:lnTo>
                    <a:pt x="400" y="72"/>
                  </a:lnTo>
                  <a:lnTo>
                    <a:pt x="399" y="72"/>
                  </a:lnTo>
                  <a:lnTo>
                    <a:pt x="399" y="71"/>
                  </a:lnTo>
                  <a:lnTo>
                    <a:pt x="399" y="71"/>
                  </a:lnTo>
                  <a:lnTo>
                    <a:pt x="398" y="70"/>
                  </a:lnTo>
                  <a:lnTo>
                    <a:pt x="398" y="69"/>
                  </a:lnTo>
                  <a:lnTo>
                    <a:pt x="397" y="69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397" y="67"/>
                  </a:lnTo>
                  <a:lnTo>
                    <a:pt x="397" y="67"/>
                  </a:lnTo>
                  <a:lnTo>
                    <a:pt x="398" y="67"/>
                  </a:lnTo>
                  <a:lnTo>
                    <a:pt x="399" y="65"/>
                  </a:lnTo>
                  <a:lnTo>
                    <a:pt x="401" y="64"/>
                  </a:lnTo>
                  <a:lnTo>
                    <a:pt x="402" y="63"/>
                  </a:lnTo>
                  <a:lnTo>
                    <a:pt x="403" y="62"/>
                  </a:lnTo>
                  <a:lnTo>
                    <a:pt x="405" y="61"/>
                  </a:lnTo>
                  <a:lnTo>
                    <a:pt x="406" y="60"/>
                  </a:lnTo>
                  <a:lnTo>
                    <a:pt x="408" y="60"/>
                  </a:lnTo>
                  <a:lnTo>
                    <a:pt x="409" y="60"/>
                  </a:lnTo>
                  <a:lnTo>
                    <a:pt x="410" y="60"/>
                  </a:lnTo>
                  <a:lnTo>
                    <a:pt x="411" y="60"/>
                  </a:lnTo>
                  <a:lnTo>
                    <a:pt x="412" y="60"/>
                  </a:lnTo>
                  <a:lnTo>
                    <a:pt x="414" y="60"/>
                  </a:lnTo>
                  <a:lnTo>
                    <a:pt x="416" y="61"/>
                  </a:lnTo>
                  <a:lnTo>
                    <a:pt x="418" y="61"/>
                  </a:lnTo>
                  <a:lnTo>
                    <a:pt x="419" y="61"/>
                  </a:lnTo>
                  <a:lnTo>
                    <a:pt x="420" y="62"/>
                  </a:lnTo>
                  <a:lnTo>
                    <a:pt x="420" y="62"/>
                  </a:lnTo>
                  <a:lnTo>
                    <a:pt x="421" y="63"/>
                  </a:lnTo>
                  <a:lnTo>
                    <a:pt x="422" y="64"/>
                  </a:lnTo>
                  <a:lnTo>
                    <a:pt x="423" y="65"/>
                  </a:lnTo>
                  <a:lnTo>
                    <a:pt x="423" y="66"/>
                  </a:lnTo>
                  <a:lnTo>
                    <a:pt x="424" y="67"/>
                  </a:lnTo>
                  <a:lnTo>
                    <a:pt x="425" y="69"/>
                  </a:lnTo>
                  <a:lnTo>
                    <a:pt x="425" y="70"/>
                  </a:lnTo>
                  <a:lnTo>
                    <a:pt x="426" y="71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9" y="74"/>
                  </a:lnTo>
                  <a:lnTo>
                    <a:pt x="430" y="75"/>
                  </a:lnTo>
                  <a:lnTo>
                    <a:pt x="430" y="76"/>
                  </a:lnTo>
                  <a:lnTo>
                    <a:pt x="430" y="77"/>
                  </a:lnTo>
                  <a:lnTo>
                    <a:pt x="431" y="78"/>
                  </a:lnTo>
                  <a:lnTo>
                    <a:pt x="432" y="79"/>
                  </a:lnTo>
                  <a:lnTo>
                    <a:pt x="432" y="80"/>
                  </a:lnTo>
                  <a:lnTo>
                    <a:pt x="433" y="81"/>
                  </a:lnTo>
                  <a:lnTo>
                    <a:pt x="434" y="83"/>
                  </a:lnTo>
                  <a:lnTo>
                    <a:pt x="435" y="87"/>
                  </a:lnTo>
                  <a:lnTo>
                    <a:pt x="435" y="90"/>
                  </a:lnTo>
                  <a:lnTo>
                    <a:pt x="436" y="90"/>
                  </a:lnTo>
                  <a:lnTo>
                    <a:pt x="436" y="91"/>
                  </a:lnTo>
                  <a:lnTo>
                    <a:pt x="437" y="92"/>
                  </a:lnTo>
                  <a:lnTo>
                    <a:pt x="437" y="93"/>
                  </a:lnTo>
                  <a:lnTo>
                    <a:pt x="438" y="94"/>
                  </a:lnTo>
                  <a:lnTo>
                    <a:pt x="440" y="95"/>
                  </a:lnTo>
                  <a:lnTo>
                    <a:pt x="440" y="95"/>
                  </a:lnTo>
                  <a:lnTo>
                    <a:pt x="441" y="96"/>
                  </a:lnTo>
                  <a:lnTo>
                    <a:pt x="441" y="97"/>
                  </a:lnTo>
                  <a:lnTo>
                    <a:pt x="441" y="97"/>
                  </a:lnTo>
                  <a:lnTo>
                    <a:pt x="443" y="100"/>
                  </a:lnTo>
                  <a:lnTo>
                    <a:pt x="443" y="101"/>
                  </a:lnTo>
                  <a:lnTo>
                    <a:pt x="444" y="101"/>
                  </a:lnTo>
                  <a:lnTo>
                    <a:pt x="444" y="102"/>
                  </a:lnTo>
                  <a:lnTo>
                    <a:pt x="445" y="104"/>
                  </a:lnTo>
                  <a:lnTo>
                    <a:pt x="446" y="104"/>
                  </a:lnTo>
                  <a:lnTo>
                    <a:pt x="447" y="105"/>
                  </a:lnTo>
                  <a:lnTo>
                    <a:pt x="447" y="105"/>
                  </a:lnTo>
                  <a:lnTo>
                    <a:pt x="448" y="106"/>
                  </a:lnTo>
                  <a:lnTo>
                    <a:pt x="448" y="106"/>
                  </a:lnTo>
                  <a:lnTo>
                    <a:pt x="448" y="106"/>
                  </a:lnTo>
                  <a:lnTo>
                    <a:pt x="449" y="106"/>
                  </a:lnTo>
                  <a:lnTo>
                    <a:pt x="449" y="106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1" y="106"/>
                  </a:lnTo>
                  <a:lnTo>
                    <a:pt x="451" y="105"/>
                  </a:lnTo>
                  <a:lnTo>
                    <a:pt x="452" y="104"/>
                  </a:lnTo>
                  <a:lnTo>
                    <a:pt x="452" y="103"/>
                  </a:lnTo>
                  <a:lnTo>
                    <a:pt x="453" y="103"/>
                  </a:lnTo>
                  <a:lnTo>
                    <a:pt x="453" y="103"/>
                  </a:lnTo>
                  <a:lnTo>
                    <a:pt x="453" y="103"/>
                  </a:lnTo>
                  <a:lnTo>
                    <a:pt x="454" y="103"/>
                  </a:lnTo>
                  <a:lnTo>
                    <a:pt x="454" y="103"/>
                  </a:lnTo>
                  <a:lnTo>
                    <a:pt x="454" y="104"/>
                  </a:lnTo>
                  <a:lnTo>
                    <a:pt x="454" y="104"/>
                  </a:lnTo>
                  <a:lnTo>
                    <a:pt x="454" y="105"/>
                  </a:lnTo>
                  <a:lnTo>
                    <a:pt x="455" y="107"/>
                  </a:lnTo>
                  <a:lnTo>
                    <a:pt x="454" y="108"/>
                  </a:lnTo>
                  <a:lnTo>
                    <a:pt x="454" y="110"/>
                  </a:lnTo>
                  <a:lnTo>
                    <a:pt x="454" y="111"/>
                  </a:lnTo>
                  <a:lnTo>
                    <a:pt x="454" y="113"/>
                  </a:lnTo>
                  <a:lnTo>
                    <a:pt x="453" y="116"/>
                  </a:lnTo>
                  <a:lnTo>
                    <a:pt x="453" y="119"/>
                  </a:lnTo>
                  <a:lnTo>
                    <a:pt x="452" y="121"/>
                  </a:lnTo>
                  <a:lnTo>
                    <a:pt x="452" y="121"/>
                  </a:lnTo>
                  <a:lnTo>
                    <a:pt x="452" y="122"/>
                  </a:lnTo>
                  <a:lnTo>
                    <a:pt x="452" y="122"/>
                  </a:lnTo>
                  <a:lnTo>
                    <a:pt x="453" y="123"/>
                  </a:lnTo>
                  <a:lnTo>
                    <a:pt x="453" y="123"/>
                  </a:lnTo>
                  <a:lnTo>
                    <a:pt x="453" y="123"/>
                  </a:lnTo>
                  <a:lnTo>
                    <a:pt x="454" y="124"/>
                  </a:lnTo>
                  <a:lnTo>
                    <a:pt x="454" y="124"/>
                  </a:lnTo>
                  <a:lnTo>
                    <a:pt x="455" y="125"/>
                  </a:lnTo>
                  <a:lnTo>
                    <a:pt x="458" y="126"/>
                  </a:lnTo>
                  <a:lnTo>
                    <a:pt x="459" y="127"/>
                  </a:lnTo>
                  <a:lnTo>
                    <a:pt x="461" y="128"/>
                  </a:lnTo>
                  <a:lnTo>
                    <a:pt x="463" y="128"/>
                  </a:lnTo>
                  <a:lnTo>
                    <a:pt x="465" y="129"/>
                  </a:lnTo>
                  <a:lnTo>
                    <a:pt x="468" y="130"/>
                  </a:lnTo>
                  <a:lnTo>
                    <a:pt x="469" y="131"/>
                  </a:lnTo>
                  <a:lnTo>
                    <a:pt x="471" y="131"/>
                  </a:lnTo>
                  <a:lnTo>
                    <a:pt x="473" y="132"/>
                  </a:lnTo>
                  <a:lnTo>
                    <a:pt x="474" y="133"/>
                  </a:lnTo>
                  <a:lnTo>
                    <a:pt x="475" y="134"/>
                  </a:lnTo>
                  <a:lnTo>
                    <a:pt x="478" y="136"/>
                  </a:lnTo>
                  <a:lnTo>
                    <a:pt x="479" y="137"/>
                  </a:lnTo>
                  <a:lnTo>
                    <a:pt x="480" y="138"/>
                  </a:lnTo>
                  <a:lnTo>
                    <a:pt x="480" y="138"/>
                  </a:lnTo>
                  <a:lnTo>
                    <a:pt x="481" y="139"/>
                  </a:lnTo>
                  <a:lnTo>
                    <a:pt x="481" y="140"/>
                  </a:lnTo>
                  <a:lnTo>
                    <a:pt x="481" y="141"/>
                  </a:lnTo>
                  <a:lnTo>
                    <a:pt x="483" y="146"/>
                  </a:lnTo>
                  <a:lnTo>
                    <a:pt x="484" y="149"/>
                  </a:lnTo>
                  <a:lnTo>
                    <a:pt x="484" y="150"/>
                  </a:lnTo>
                  <a:lnTo>
                    <a:pt x="486" y="153"/>
                  </a:lnTo>
                  <a:lnTo>
                    <a:pt x="488" y="158"/>
                  </a:lnTo>
                  <a:lnTo>
                    <a:pt x="488" y="160"/>
                  </a:lnTo>
                  <a:lnTo>
                    <a:pt x="484" y="166"/>
                  </a:lnTo>
                  <a:lnTo>
                    <a:pt x="483" y="168"/>
                  </a:lnTo>
                  <a:lnTo>
                    <a:pt x="483" y="170"/>
                  </a:lnTo>
                  <a:lnTo>
                    <a:pt x="483" y="171"/>
                  </a:lnTo>
                  <a:lnTo>
                    <a:pt x="482" y="172"/>
                  </a:lnTo>
                  <a:lnTo>
                    <a:pt x="482" y="173"/>
                  </a:lnTo>
                  <a:lnTo>
                    <a:pt x="482" y="174"/>
                  </a:lnTo>
                  <a:lnTo>
                    <a:pt x="482" y="175"/>
                  </a:lnTo>
                  <a:lnTo>
                    <a:pt x="482" y="176"/>
                  </a:lnTo>
                  <a:lnTo>
                    <a:pt x="483" y="179"/>
                  </a:lnTo>
                  <a:lnTo>
                    <a:pt x="483" y="181"/>
                  </a:lnTo>
                  <a:lnTo>
                    <a:pt x="483" y="182"/>
                  </a:lnTo>
                  <a:lnTo>
                    <a:pt x="483" y="186"/>
                  </a:lnTo>
                  <a:lnTo>
                    <a:pt x="483" y="187"/>
                  </a:lnTo>
                  <a:lnTo>
                    <a:pt x="484" y="188"/>
                  </a:lnTo>
                  <a:lnTo>
                    <a:pt x="484" y="189"/>
                  </a:lnTo>
                  <a:lnTo>
                    <a:pt x="485" y="191"/>
                  </a:lnTo>
                  <a:lnTo>
                    <a:pt x="487" y="195"/>
                  </a:lnTo>
                  <a:lnTo>
                    <a:pt x="488" y="198"/>
                  </a:lnTo>
                  <a:lnTo>
                    <a:pt x="488" y="199"/>
                  </a:lnTo>
                  <a:lnTo>
                    <a:pt x="488" y="199"/>
                  </a:lnTo>
                  <a:lnTo>
                    <a:pt x="488" y="200"/>
                  </a:lnTo>
                  <a:lnTo>
                    <a:pt x="488" y="201"/>
                  </a:lnTo>
                  <a:lnTo>
                    <a:pt x="488" y="202"/>
                  </a:lnTo>
                  <a:lnTo>
                    <a:pt x="488" y="203"/>
                  </a:lnTo>
                  <a:lnTo>
                    <a:pt x="488" y="204"/>
                  </a:lnTo>
                  <a:lnTo>
                    <a:pt x="488" y="204"/>
                  </a:lnTo>
                  <a:lnTo>
                    <a:pt x="488" y="205"/>
                  </a:lnTo>
                  <a:lnTo>
                    <a:pt x="489" y="205"/>
                  </a:lnTo>
                  <a:lnTo>
                    <a:pt x="489" y="205"/>
                  </a:lnTo>
                  <a:lnTo>
                    <a:pt x="490" y="205"/>
                  </a:lnTo>
                  <a:lnTo>
                    <a:pt x="491" y="205"/>
                  </a:lnTo>
                  <a:lnTo>
                    <a:pt x="493" y="205"/>
                  </a:lnTo>
                  <a:lnTo>
                    <a:pt x="495" y="205"/>
                  </a:lnTo>
                  <a:lnTo>
                    <a:pt x="496" y="205"/>
                  </a:lnTo>
                  <a:lnTo>
                    <a:pt x="497" y="205"/>
                  </a:lnTo>
                  <a:lnTo>
                    <a:pt x="498" y="205"/>
                  </a:lnTo>
                  <a:lnTo>
                    <a:pt x="499" y="205"/>
                  </a:lnTo>
                  <a:lnTo>
                    <a:pt x="499" y="205"/>
                  </a:lnTo>
                  <a:lnTo>
                    <a:pt x="500" y="206"/>
                  </a:lnTo>
                  <a:lnTo>
                    <a:pt x="500" y="206"/>
                  </a:lnTo>
                  <a:lnTo>
                    <a:pt x="500" y="207"/>
                  </a:lnTo>
                  <a:lnTo>
                    <a:pt x="501" y="207"/>
                  </a:lnTo>
                  <a:lnTo>
                    <a:pt x="501" y="208"/>
                  </a:lnTo>
                  <a:lnTo>
                    <a:pt x="501" y="209"/>
                  </a:lnTo>
                  <a:lnTo>
                    <a:pt x="501" y="210"/>
                  </a:lnTo>
                  <a:lnTo>
                    <a:pt x="501" y="211"/>
                  </a:lnTo>
                  <a:lnTo>
                    <a:pt x="501" y="212"/>
                  </a:lnTo>
                  <a:lnTo>
                    <a:pt x="500" y="213"/>
                  </a:lnTo>
                  <a:lnTo>
                    <a:pt x="500" y="214"/>
                  </a:lnTo>
                  <a:lnTo>
                    <a:pt x="499" y="216"/>
                  </a:lnTo>
                  <a:lnTo>
                    <a:pt x="499" y="217"/>
                  </a:lnTo>
                  <a:lnTo>
                    <a:pt x="498" y="218"/>
                  </a:lnTo>
                  <a:lnTo>
                    <a:pt x="498" y="219"/>
                  </a:lnTo>
                  <a:lnTo>
                    <a:pt x="497" y="220"/>
                  </a:lnTo>
                  <a:lnTo>
                    <a:pt x="497" y="221"/>
                  </a:lnTo>
                  <a:lnTo>
                    <a:pt x="497" y="221"/>
                  </a:lnTo>
                  <a:lnTo>
                    <a:pt x="495" y="222"/>
                  </a:lnTo>
                  <a:lnTo>
                    <a:pt x="493" y="224"/>
                  </a:lnTo>
                  <a:lnTo>
                    <a:pt x="491" y="226"/>
                  </a:lnTo>
                  <a:lnTo>
                    <a:pt x="490" y="226"/>
                  </a:lnTo>
                  <a:lnTo>
                    <a:pt x="489" y="227"/>
                  </a:lnTo>
                  <a:lnTo>
                    <a:pt x="488" y="227"/>
                  </a:lnTo>
                  <a:lnTo>
                    <a:pt x="488" y="229"/>
                  </a:lnTo>
                  <a:lnTo>
                    <a:pt x="487" y="230"/>
                  </a:lnTo>
                  <a:lnTo>
                    <a:pt x="486" y="231"/>
                  </a:lnTo>
                  <a:lnTo>
                    <a:pt x="484" y="235"/>
                  </a:lnTo>
                  <a:lnTo>
                    <a:pt x="483" y="236"/>
                  </a:lnTo>
                  <a:lnTo>
                    <a:pt x="483" y="237"/>
                  </a:lnTo>
                  <a:lnTo>
                    <a:pt x="482" y="238"/>
                  </a:lnTo>
                  <a:lnTo>
                    <a:pt x="481" y="239"/>
                  </a:lnTo>
                  <a:lnTo>
                    <a:pt x="481" y="239"/>
                  </a:lnTo>
                  <a:lnTo>
                    <a:pt x="479" y="241"/>
                  </a:lnTo>
                  <a:lnTo>
                    <a:pt x="479" y="241"/>
                  </a:lnTo>
                  <a:lnTo>
                    <a:pt x="478" y="241"/>
                  </a:lnTo>
                  <a:lnTo>
                    <a:pt x="478" y="242"/>
                  </a:lnTo>
                  <a:lnTo>
                    <a:pt x="478" y="243"/>
                  </a:lnTo>
                  <a:lnTo>
                    <a:pt x="477" y="244"/>
                  </a:lnTo>
                  <a:lnTo>
                    <a:pt x="477" y="245"/>
                  </a:lnTo>
                  <a:lnTo>
                    <a:pt x="477" y="246"/>
                  </a:lnTo>
                  <a:lnTo>
                    <a:pt x="477" y="247"/>
                  </a:lnTo>
                  <a:lnTo>
                    <a:pt x="478" y="249"/>
                  </a:lnTo>
                  <a:lnTo>
                    <a:pt x="478" y="250"/>
                  </a:lnTo>
                  <a:lnTo>
                    <a:pt x="478" y="250"/>
                  </a:lnTo>
                  <a:lnTo>
                    <a:pt x="478" y="250"/>
                  </a:lnTo>
                  <a:lnTo>
                    <a:pt x="479" y="251"/>
                  </a:lnTo>
                  <a:lnTo>
                    <a:pt x="479" y="251"/>
                  </a:lnTo>
                  <a:lnTo>
                    <a:pt x="480" y="251"/>
                  </a:lnTo>
                  <a:lnTo>
                    <a:pt x="481" y="251"/>
                  </a:lnTo>
                  <a:lnTo>
                    <a:pt x="482" y="252"/>
                  </a:lnTo>
                  <a:lnTo>
                    <a:pt x="483" y="252"/>
                  </a:lnTo>
                  <a:lnTo>
                    <a:pt x="484" y="251"/>
                  </a:lnTo>
                  <a:lnTo>
                    <a:pt x="485" y="251"/>
                  </a:lnTo>
                  <a:lnTo>
                    <a:pt x="486" y="251"/>
                  </a:lnTo>
                  <a:lnTo>
                    <a:pt x="488" y="251"/>
                  </a:lnTo>
                  <a:lnTo>
                    <a:pt x="490" y="250"/>
                  </a:lnTo>
                  <a:lnTo>
                    <a:pt x="497" y="247"/>
                  </a:lnTo>
                  <a:lnTo>
                    <a:pt x="499" y="247"/>
                  </a:lnTo>
                  <a:lnTo>
                    <a:pt x="500" y="246"/>
                  </a:lnTo>
                  <a:lnTo>
                    <a:pt x="501" y="246"/>
                  </a:lnTo>
                  <a:lnTo>
                    <a:pt x="502" y="246"/>
                  </a:lnTo>
                  <a:lnTo>
                    <a:pt x="503" y="246"/>
                  </a:lnTo>
                  <a:lnTo>
                    <a:pt x="504" y="246"/>
                  </a:lnTo>
                  <a:lnTo>
                    <a:pt x="505" y="246"/>
                  </a:lnTo>
                  <a:lnTo>
                    <a:pt x="505" y="246"/>
                  </a:lnTo>
                  <a:lnTo>
                    <a:pt x="506" y="247"/>
                  </a:lnTo>
                  <a:lnTo>
                    <a:pt x="506" y="247"/>
                  </a:lnTo>
                  <a:lnTo>
                    <a:pt x="507" y="248"/>
                  </a:lnTo>
                  <a:lnTo>
                    <a:pt x="507" y="249"/>
                  </a:lnTo>
                  <a:lnTo>
                    <a:pt x="509" y="250"/>
                  </a:lnTo>
                  <a:lnTo>
                    <a:pt x="510" y="252"/>
                  </a:lnTo>
                  <a:lnTo>
                    <a:pt x="510" y="253"/>
                  </a:lnTo>
                  <a:lnTo>
                    <a:pt x="511" y="254"/>
                  </a:lnTo>
                  <a:lnTo>
                    <a:pt x="511" y="256"/>
                  </a:lnTo>
                  <a:lnTo>
                    <a:pt x="511" y="256"/>
                  </a:lnTo>
                  <a:lnTo>
                    <a:pt x="511" y="258"/>
                  </a:lnTo>
                  <a:lnTo>
                    <a:pt x="511" y="259"/>
                  </a:lnTo>
                  <a:lnTo>
                    <a:pt x="511" y="260"/>
                  </a:lnTo>
                  <a:lnTo>
                    <a:pt x="511" y="264"/>
                  </a:lnTo>
                  <a:lnTo>
                    <a:pt x="511" y="265"/>
                  </a:lnTo>
                  <a:lnTo>
                    <a:pt x="511" y="266"/>
                  </a:lnTo>
                  <a:lnTo>
                    <a:pt x="511" y="267"/>
                  </a:lnTo>
                  <a:lnTo>
                    <a:pt x="511" y="267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3" y="269"/>
                  </a:lnTo>
                  <a:lnTo>
                    <a:pt x="516" y="269"/>
                  </a:lnTo>
                  <a:lnTo>
                    <a:pt x="517" y="270"/>
                  </a:lnTo>
                  <a:lnTo>
                    <a:pt x="517" y="270"/>
                  </a:lnTo>
                  <a:lnTo>
                    <a:pt x="518" y="270"/>
                  </a:lnTo>
                  <a:lnTo>
                    <a:pt x="520" y="271"/>
                  </a:lnTo>
                  <a:lnTo>
                    <a:pt x="522" y="272"/>
                  </a:lnTo>
                  <a:lnTo>
                    <a:pt x="522" y="272"/>
                  </a:lnTo>
                  <a:lnTo>
                    <a:pt x="523" y="273"/>
                  </a:lnTo>
                  <a:lnTo>
                    <a:pt x="524" y="273"/>
                  </a:lnTo>
                  <a:lnTo>
                    <a:pt x="525" y="274"/>
                  </a:lnTo>
                  <a:lnTo>
                    <a:pt x="527" y="276"/>
                  </a:lnTo>
                  <a:lnTo>
                    <a:pt x="527" y="276"/>
                  </a:lnTo>
                  <a:lnTo>
                    <a:pt x="528" y="277"/>
                  </a:lnTo>
                  <a:lnTo>
                    <a:pt x="529" y="277"/>
                  </a:lnTo>
                  <a:lnTo>
                    <a:pt x="529" y="277"/>
                  </a:lnTo>
                  <a:lnTo>
                    <a:pt x="531" y="278"/>
                  </a:lnTo>
                  <a:lnTo>
                    <a:pt x="536" y="278"/>
                  </a:lnTo>
                  <a:lnTo>
                    <a:pt x="539" y="279"/>
                  </a:lnTo>
                  <a:lnTo>
                    <a:pt x="544" y="280"/>
                  </a:lnTo>
                  <a:lnTo>
                    <a:pt x="545" y="280"/>
                  </a:lnTo>
                  <a:lnTo>
                    <a:pt x="546" y="280"/>
                  </a:lnTo>
                  <a:lnTo>
                    <a:pt x="546" y="281"/>
                  </a:lnTo>
                  <a:lnTo>
                    <a:pt x="547" y="281"/>
                  </a:lnTo>
                  <a:lnTo>
                    <a:pt x="549" y="282"/>
                  </a:lnTo>
                  <a:lnTo>
                    <a:pt x="550" y="283"/>
                  </a:lnTo>
                  <a:lnTo>
                    <a:pt x="550" y="284"/>
                  </a:lnTo>
                  <a:lnTo>
                    <a:pt x="551" y="284"/>
                  </a:lnTo>
                  <a:lnTo>
                    <a:pt x="551" y="284"/>
                  </a:lnTo>
                  <a:lnTo>
                    <a:pt x="551" y="285"/>
                  </a:lnTo>
                  <a:lnTo>
                    <a:pt x="551" y="287"/>
                  </a:lnTo>
                  <a:lnTo>
                    <a:pt x="552" y="288"/>
                  </a:lnTo>
                  <a:lnTo>
                    <a:pt x="552" y="291"/>
                  </a:lnTo>
                  <a:lnTo>
                    <a:pt x="552" y="292"/>
                  </a:lnTo>
                  <a:lnTo>
                    <a:pt x="552" y="292"/>
                  </a:lnTo>
                  <a:lnTo>
                    <a:pt x="553" y="293"/>
                  </a:lnTo>
                  <a:lnTo>
                    <a:pt x="553" y="294"/>
                  </a:lnTo>
                  <a:lnTo>
                    <a:pt x="553" y="294"/>
                  </a:lnTo>
                  <a:lnTo>
                    <a:pt x="554" y="294"/>
                  </a:lnTo>
                  <a:lnTo>
                    <a:pt x="554" y="294"/>
                  </a:lnTo>
                  <a:lnTo>
                    <a:pt x="555" y="295"/>
                  </a:lnTo>
                  <a:lnTo>
                    <a:pt x="556" y="295"/>
                  </a:lnTo>
                  <a:lnTo>
                    <a:pt x="558" y="295"/>
                  </a:lnTo>
                  <a:lnTo>
                    <a:pt x="560" y="295"/>
                  </a:lnTo>
                  <a:lnTo>
                    <a:pt x="561" y="296"/>
                  </a:lnTo>
                  <a:lnTo>
                    <a:pt x="562" y="296"/>
                  </a:lnTo>
                  <a:lnTo>
                    <a:pt x="563" y="296"/>
                  </a:lnTo>
                  <a:lnTo>
                    <a:pt x="563" y="297"/>
                  </a:lnTo>
                  <a:lnTo>
                    <a:pt x="564" y="297"/>
                  </a:lnTo>
                  <a:lnTo>
                    <a:pt x="570" y="301"/>
                  </a:lnTo>
                  <a:lnTo>
                    <a:pt x="571" y="302"/>
                  </a:lnTo>
                  <a:lnTo>
                    <a:pt x="572" y="303"/>
                  </a:lnTo>
                  <a:lnTo>
                    <a:pt x="574" y="304"/>
                  </a:lnTo>
                  <a:lnTo>
                    <a:pt x="575" y="304"/>
                  </a:lnTo>
                  <a:lnTo>
                    <a:pt x="575" y="304"/>
                  </a:lnTo>
                  <a:lnTo>
                    <a:pt x="576" y="304"/>
                  </a:lnTo>
                  <a:lnTo>
                    <a:pt x="577" y="305"/>
                  </a:lnTo>
                  <a:lnTo>
                    <a:pt x="578" y="304"/>
                  </a:lnTo>
                  <a:lnTo>
                    <a:pt x="579" y="304"/>
                  </a:lnTo>
                  <a:lnTo>
                    <a:pt x="580" y="304"/>
                  </a:lnTo>
                  <a:lnTo>
                    <a:pt x="584" y="303"/>
                  </a:lnTo>
                  <a:lnTo>
                    <a:pt x="586" y="303"/>
                  </a:lnTo>
                  <a:lnTo>
                    <a:pt x="587" y="303"/>
                  </a:lnTo>
                  <a:lnTo>
                    <a:pt x="590" y="303"/>
                  </a:lnTo>
                  <a:lnTo>
                    <a:pt x="594" y="302"/>
                  </a:lnTo>
                  <a:lnTo>
                    <a:pt x="594" y="302"/>
                  </a:lnTo>
                  <a:lnTo>
                    <a:pt x="595" y="302"/>
                  </a:lnTo>
                  <a:lnTo>
                    <a:pt x="596" y="302"/>
                  </a:lnTo>
                  <a:lnTo>
                    <a:pt x="596" y="302"/>
                  </a:lnTo>
                  <a:lnTo>
                    <a:pt x="597" y="303"/>
                  </a:lnTo>
                  <a:lnTo>
                    <a:pt x="600" y="304"/>
                  </a:lnTo>
                  <a:lnTo>
                    <a:pt x="602" y="304"/>
                  </a:lnTo>
                  <a:lnTo>
                    <a:pt x="603" y="305"/>
                  </a:lnTo>
                  <a:lnTo>
                    <a:pt x="604" y="305"/>
                  </a:lnTo>
                  <a:lnTo>
                    <a:pt x="605" y="306"/>
                  </a:lnTo>
                  <a:lnTo>
                    <a:pt x="607" y="307"/>
                  </a:lnTo>
                  <a:lnTo>
                    <a:pt x="608" y="308"/>
                  </a:lnTo>
                  <a:lnTo>
                    <a:pt x="608" y="308"/>
                  </a:lnTo>
                  <a:lnTo>
                    <a:pt x="608" y="309"/>
                  </a:lnTo>
                  <a:lnTo>
                    <a:pt x="609" y="309"/>
                  </a:lnTo>
                  <a:lnTo>
                    <a:pt x="609" y="310"/>
                  </a:lnTo>
                  <a:lnTo>
                    <a:pt x="609" y="310"/>
                  </a:lnTo>
                  <a:lnTo>
                    <a:pt x="609" y="311"/>
                  </a:lnTo>
                  <a:lnTo>
                    <a:pt x="610" y="312"/>
                  </a:lnTo>
                  <a:lnTo>
                    <a:pt x="610" y="313"/>
                  </a:lnTo>
                  <a:lnTo>
                    <a:pt x="610" y="315"/>
                  </a:lnTo>
                  <a:lnTo>
                    <a:pt x="610" y="316"/>
                  </a:lnTo>
                  <a:lnTo>
                    <a:pt x="610" y="317"/>
                  </a:lnTo>
                  <a:lnTo>
                    <a:pt x="611" y="317"/>
                  </a:lnTo>
                  <a:lnTo>
                    <a:pt x="611" y="318"/>
                  </a:lnTo>
                  <a:lnTo>
                    <a:pt x="611" y="318"/>
                  </a:lnTo>
                  <a:lnTo>
                    <a:pt x="612" y="319"/>
                  </a:lnTo>
                  <a:lnTo>
                    <a:pt x="612" y="319"/>
                  </a:lnTo>
                  <a:lnTo>
                    <a:pt x="613" y="319"/>
                  </a:lnTo>
                  <a:lnTo>
                    <a:pt x="614" y="320"/>
                  </a:lnTo>
                  <a:lnTo>
                    <a:pt x="616" y="321"/>
                  </a:lnTo>
                  <a:lnTo>
                    <a:pt x="617" y="321"/>
                  </a:lnTo>
                  <a:lnTo>
                    <a:pt x="624" y="324"/>
                  </a:lnTo>
                  <a:lnTo>
                    <a:pt x="625" y="325"/>
                  </a:lnTo>
                  <a:lnTo>
                    <a:pt x="626" y="326"/>
                  </a:lnTo>
                  <a:lnTo>
                    <a:pt x="627" y="327"/>
                  </a:lnTo>
                  <a:lnTo>
                    <a:pt x="628" y="328"/>
                  </a:lnTo>
                  <a:lnTo>
                    <a:pt x="630" y="329"/>
                  </a:lnTo>
                  <a:lnTo>
                    <a:pt x="631" y="330"/>
                  </a:lnTo>
                  <a:lnTo>
                    <a:pt x="632" y="332"/>
                  </a:lnTo>
                  <a:lnTo>
                    <a:pt x="635" y="337"/>
                  </a:lnTo>
                  <a:lnTo>
                    <a:pt x="638" y="340"/>
                  </a:lnTo>
                  <a:lnTo>
                    <a:pt x="638" y="341"/>
                  </a:lnTo>
                  <a:lnTo>
                    <a:pt x="639" y="342"/>
                  </a:lnTo>
                  <a:lnTo>
                    <a:pt x="639" y="343"/>
                  </a:lnTo>
                  <a:lnTo>
                    <a:pt x="641" y="346"/>
                  </a:lnTo>
                  <a:lnTo>
                    <a:pt x="641" y="348"/>
                  </a:lnTo>
                  <a:lnTo>
                    <a:pt x="642" y="349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1" y="350"/>
                  </a:lnTo>
                  <a:lnTo>
                    <a:pt x="641" y="350"/>
                  </a:lnTo>
                  <a:lnTo>
                    <a:pt x="640" y="350"/>
                  </a:lnTo>
                  <a:lnTo>
                    <a:pt x="638" y="351"/>
                  </a:lnTo>
                  <a:lnTo>
                    <a:pt x="635" y="354"/>
                  </a:lnTo>
                  <a:lnTo>
                    <a:pt x="630" y="357"/>
                  </a:lnTo>
                  <a:lnTo>
                    <a:pt x="629" y="358"/>
                  </a:lnTo>
                  <a:lnTo>
                    <a:pt x="626" y="361"/>
                  </a:lnTo>
                  <a:lnTo>
                    <a:pt x="625" y="361"/>
                  </a:lnTo>
                  <a:lnTo>
                    <a:pt x="624" y="362"/>
                  </a:lnTo>
                  <a:lnTo>
                    <a:pt x="623" y="362"/>
                  </a:lnTo>
                  <a:lnTo>
                    <a:pt x="623" y="362"/>
                  </a:lnTo>
                  <a:lnTo>
                    <a:pt x="622" y="363"/>
                  </a:lnTo>
                  <a:lnTo>
                    <a:pt x="621" y="363"/>
                  </a:lnTo>
                  <a:lnTo>
                    <a:pt x="619" y="363"/>
                  </a:lnTo>
                  <a:lnTo>
                    <a:pt x="616" y="364"/>
                  </a:lnTo>
                  <a:lnTo>
                    <a:pt x="615" y="364"/>
                  </a:lnTo>
                  <a:lnTo>
                    <a:pt x="615" y="364"/>
                  </a:lnTo>
                  <a:lnTo>
                    <a:pt x="614" y="365"/>
                  </a:lnTo>
                  <a:lnTo>
                    <a:pt x="613" y="366"/>
                  </a:lnTo>
                  <a:lnTo>
                    <a:pt x="612" y="367"/>
                  </a:lnTo>
                  <a:lnTo>
                    <a:pt x="611" y="367"/>
                  </a:lnTo>
                  <a:lnTo>
                    <a:pt x="611" y="367"/>
                  </a:lnTo>
                  <a:lnTo>
                    <a:pt x="610" y="367"/>
                  </a:lnTo>
                  <a:lnTo>
                    <a:pt x="608" y="368"/>
                  </a:lnTo>
                  <a:lnTo>
                    <a:pt x="607" y="368"/>
                  </a:lnTo>
                  <a:lnTo>
                    <a:pt x="607" y="368"/>
                  </a:lnTo>
                  <a:lnTo>
                    <a:pt x="606" y="368"/>
                  </a:lnTo>
                  <a:lnTo>
                    <a:pt x="605" y="368"/>
                  </a:lnTo>
                  <a:lnTo>
                    <a:pt x="605" y="367"/>
                  </a:lnTo>
                  <a:lnTo>
                    <a:pt x="604" y="367"/>
                  </a:lnTo>
                  <a:lnTo>
                    <a:pt x="603" y="366"/>
                  </a:lnTo>
                  <a:lnTo>
                    <a:pt x="603" y="366"/>
                  </a:lnTo>
                  <a:lnTo>
                    <a:pt x="602" y="366"/>
                  </a:lnTo>
                  <a:lnTo>
                    <a:pt x="600" y="365"/>
                  </a:lnTo>
                  <a:lnTo>
                    <a:pt x="600" y="365"/>
                  </a:lnTo>
                  <a:lnTo>
                    <a:pt x="599" y="364"/>
                  </a:lnTo>
                  <a:lnTo>
                    <a:pt x="598" y="363"/>
                  </a:lnTo>
                  <a:lnTo>
                    <a:pt x="594" y="361"/>
                  </a:lnTo>
                  <a:lnTo>
                    <a:pt x="593" y="360"/>
                  </a:lnTo>
                  <a:lnTo>
                    <a:pt x="591" y="359"/>
                  </a:lnTo>
                  <a:lnTo>
                    <a:pt x="590" y="359"/>
                  </a:lnTo>
                  <a:lnTo>
                    <a:pt x="589" y="358"/>
                  </a:lnTo>
                  <a:lnTo>
                    <a:pt x="587" y="358"/>
                  </a:lnTo>
                  <a:lnTo>
                    <a:pt x="586" y="358"/>
                  </a:lnTo>
                  <a:lnTo>
                    <a:pt x="585" y="358"/>
                  </a:lnTo>
                  <a:lnTo>
                    <a:pt x="584" y="358"/>
                  </a:lnTo>
                  <a:lnTo>
                    <a:pt x="583" y="358"/>
                  </a:lnTo>
                  <a:lnTo>
                    <a:pt x="583" y="358"/>
                  </a:lnTo>
                  <a:lnTo>
                    <a:pt x="582" y="358"/>
                  </a:lnTo>
                  <a:lnTo>
                    <a:pt x="581" y="358"/>
                  </a:lnTo>
                  <a:lnTo>
                    <a:pt x="579" y="359"/>
                  </a:lnTo>
                  <a:lnTo>
                    <a:pt x="579" y="360"/>
                  </a:lnTo>
                  <a:lnTo>
                    <a:pt x="578" y="361"/>
                  </a:lnTo>
                  <a:lnTo>
                    <a:pt x="575" y="363"/>
                  </a:lnTo>
                  <a:lnTo>
                    <a:pt x="574" y="364"/>
                  </a:lnTo>
                  <a:lnTo>
                    <a:pt x="569" y="367"/>
                  </a:lnTo>
                  <a:lnTo>
                    <a:pt x="568" y="368"/>
                  </a:lnTo>
                  <a:lnTo>
                    <a:pt x="567" y="369"/>
                  </a:lnTo>
                  <a:lnTo>
                    <a:pt x="566" y="369"/>
                  </a:lnTo>
                  <a:lnTo>
                    <a:pt x="565" y="369"/>
                  </a:lnTo>
                  <a:lnTo>
                    <a:pt x="565" y="369"/>
                  </a:lnTo>
                  <a:lnTo>
                    <a:pt x="564" y="369"/>
                  </a:lnTo>
                  <a:lnTo>
                    <a:pt x="562" y="370"/>
                  </a:lnTo>
                  <a:lnTo>
                    <a:pt x="559" y="370"/>
                  </a:lnTo>
                  <a:lnTo>
                    <a:pt x="558" y="370"/>
                  </a:lnTo>
                  <a:lnTo>
                    <a:pt x="557" y="370"/>
                  </a:lnTo>
                  <a:lnTo>
                    <a:pt x="556" y="369"/>
                  </a:lnTo>
                  <a:lnTo>
                    <a:pt x="555" y="369"/>
                  </a:lnTo>
                  <a:lnTo>
                    <a:pt x="555" y="369"/>
                  </a:lnTo>
                  <a:lnTo>
                    <a:pt x="553" y="368"/>
                  </a:lnTo>
                  <a:lnTo>
                    <a:pt x="552" y="367"/>
                  </a:lnTo>
                  <a:lnTo>
                    <a:pt x="551" y="367"/>
                  </a:lnTo>
                  <a:lnTo>
                    <a:pt x="549" y="365"/>
                  </a:lnTo>
                  <a:lnTo>
                    <a:pt x="548" y="364"/>
                  </a:lnTo>
                  <a:lnTo>
                    <a:pt x="546" y="362"/>
                  </a:lnTo>
                  <a:lnTo>
                    <a:pt x="543" y="360"/>
                  </a:lnTo>
                  <a:lnTo>
                    <a:pt x="542" y="359"/>
                  </a:lnTo>
                  <a:lnTo>
                    <a:pt x="542" y="359"/>
                  </a:lnTo>
                  <a:lnTo>
                    <a:pt x="541" y="358"/>
                  </a:lnTo>
                  <a:lnTo>
                    <a:pt x="538" y="357"/>
                  </a:lnTo>
                  <a:lnTo>
                    <a:pt x="537" y="357"/>
                  </a:lnTo>
                  <a:lnTo>
                    <a:pt x="533" y="354"/>
                  </a:lnTo>
                  <a:lnTo>
                    <a:pt x="530" y="352"/>
                  </a:lnTo>
                  <a:lnTo>
                    <a:pt x="529" y="351"/>
                  </a:lnTo>
                  <a:lnTo>
                    <a:pt x="528" y="351"/>
                  </a:lnTo>
                  <a:lnTo>
                    <a:pt x="527" y="351"/>
                  </a:lnTo>
                  <a:lnTo>
                    <a:pt x="523" y="349"/>
                  </a:lnTo>
                  <a:lnTo>
                    <a:pt x="520" y="348"/>
                  </a:lnTo>
                  <a:lnTo>
                    <a:pt x="518" y="348"/>
                  </a:lnTo>
                  <a:lnTo>
                    <a:pt x="517" y="347"/>
                  </a:lnTo>
                  <a:lnTo>
                    <a:pt x="515" y="347"/>
                  </a:lnTo>
                  <a:lnTo>
                    <a:pt x="514" y="346"/>
                  </a:lnTo>
                  <a:lnTo>
                    <a:pt x="512" y="346"/>
                  </a:lnTo>
                  <a:lnTo>
                    <a:pt x="511" y="346"/>
                  </a:lnTo>
                  <a:lnTo>
                    <a:pt x="509" y="345"/>
                  </a:lnTo>
                  <a:lnTo>
                    <a:pt x="508" y="345"/>
                  </a:lnTo>
                  <a:lnTo>
                    <a:pt x="507" y="345"/>
                  </a:lnTo>
                  <a:lnTo>
                    <a:pt x="506" y="346"/>
                  </a:lnTo>
                  <a:lnTo>
                    <a:pt x="505" y="346"/>
                  </a:lnTo>
                  <a:lnTo>
                    <a:pt x="505" y="346"/>
                  </a:lnTo>
                  <a:lnTo>
                    <a:pt x="504" y="347"/>
                  </a:lnTo>
                  <a:lnTo>
                    <a:pt x="503" y="347"/>
                  </a:lnTo>
                  <a:lnTo>
                    <a:pt x="502" y="348"/>
                  </a:lnTo>
                  <a:lnTo>
                    <a:pt x="501" y="348"/>
                  </a:lnTo>
                  <a:lnTo>
                    <a:pt x="499" y="350"/>
                  </a:lnTo>
                  <a:lnTo>
                    <a:pt x="497" y="353"/>
                  </a:lnTo>
                  <a:lnTo>
                    <a:pt x="492" y="357"/>
                  </a:lnTo>
                  <a:lnTo>
                    <a:pt x="490" y="358"/>
                  </a:lnTo>
                  <a:lnTo>
                    <a:pt x="486" y="361"/>
                  </a:lnTo>
                  <a:lnTo>
                    <a:pt x="484" y="363"/>
                  </a:lnTo>
                  <a:lnTo>
                    <a:pt x="483" y="364"/>
                  </a:lnTo>
                  <a:lnTo>
                    <a:pt x="482" y="365"/>
                  </a:lnTo>
                  <a:lnTo>
                    <a:pt x="481" y="366"/>
                  </a:lnTo>
                  <a:lnTo>
                    <a:pt x="480" y="367"/>
                  </a:lnTo>
                  <a:lnTo>
                    <a:pt x="480" y="367"/>
                  </a:lnTo>
                  <a:lnTo>
                    <a:pt x="479" y="368"/>
                  </a:lnTo>
                  <a:lnTo>
                    <a:pt x="479" y="369"/>
                  </a:lnTo>
                  <a:lnTo>
                    <a:pt x="478" y="370"/>
                  </a:lnTo>
                  <a:lnTo>
                    <a:pt x="477" y="375"/>
                  </a:lnTo>
                  <a:lnTo>
                    <a:pt x="476" y="376"/>
                  </a:lnTo>
                  <a:lnTo>
                    <a:pt x="476" y="377"/>
                  </a:lnTo>
                  <a:lnTo>
                    <a:pt x="475" y="378"/>
                  </a:lnTo>
                  <a:lnTo>
                    <a:pt x="474" y="380"/>
                  </a:lnTo>
                  <a:lnTo>
                    <a:pt x="473" y="383"/>
                  </a:lnTo>
                  <a:lnTo>
                    <a:pt x="472" y="385"/>
                  </a:lnTo>
                  <a:lnTo>
                    <a:pt x="471" y="386"/>
                  </a:lnTo>
                  <a:lnTo>
                    <a:pt x="470" y="387"/>
                  </a:lnTo>
                  <a:lnTo>
                    <a:pt x="466" y="391"/>
                  </a:lnTo>
                  <a:lnTo>
                    <a:pt x="462" y="396"/>
                  </a:lnTo>
                  <a:lnTo>
                    <a:pt x="461" y="397"/>
                  </a:lnTo>
                  <a:lnTo>
                    <a:pt x="459" y="399"/>
                  </a:lnTo>
                  <a:lnTo>
                    <a:pt x="459" y="400"/>
                  </a:lnTo>
                  <a:lnTo>
                    <a:pt x="455" y="406"/>
                  </a:lnTo>
                  <a:lnTo>
                    <a:pt x="454" y="408"/>
                  </a:lnTo>
                  <a:lnTo>
                    <a:pt x="452" y="412"/>
                  </a:lnTo>
                  <a:lnTo>
                    <a:pt x="451" y="414"/>
                  </a:lnTo>
                  <a:lnTo>
                    <a:pt x="449" y="418"/>
                  </a:lnTo>
                  <a:lnTo>
                    <a:pt x="448" y="421"/>
                  </a:lnTo>
                  <a:lnTo>
                    <a:pt x="447" y="423"/>
                  </a:lnTo>
                  <a:lnTo>
                    <a:pt x="446" y="425"/>
                  </a:lnTo>
                  <a:lnTo>
                    <a:pt x="445" y="429"/>
                  </a:lnTo>
                  <a:lnTo>
                    <a:pt x="444" y="431"/>
                  </a:lnTo>
                  <a:lnTo>
                    <a:pt x="444" y="432"/>
                  </a:lnTo>
                  <a:lnTo>
                    <a:pt x="442" y="435"/>
                  </a:lnTo>
                  <a:lnTo>
                    <a:pt x="441" y="436"/>
                  </a:lnTo>
                  <a:lnTo>
                    <a:pt x="440" y="438"/>
                  </a:lnTo>
                  <a:lnTo>
                    <a:pt x="439" y="440"/>
                  </a:lnTo>
                  <a:lnTo>
                    <a:pt x="439" y="442"/>
                  </a:lnTo>
                  <a:lnTo>
                    <a:pt x="439" y="443"/>
                  </a:lnTo>
                  <a:lnTo>
                    <a:pt x="438" y="444"/>
                  </a:lnTo>
                  <a:lnTo>
                    <a:pt x="438" y="447"/>
                  </a:lnTo>
                  <a:lnTo>
                    <a:pt x="437" y="451"/>
                  </a:lnTo>
                  <a:lnTo>
                    <a:pt x="436" y="453"/>
                  </a:lnTo>
                  <a:lnTo>
                    <a:pt x="436" y="455"/>
                  </a:lnTo>
                  <a:lnTo>
                    <a:pt x="436" y="456"/>
                  </a:lnTo>
                  <a:lnTo>
                    <a:pt x="435" y="458"/>
                  </a:lnTo>
                  <a:lnTo>
                    <a:pt x="435" y="458"/>
                  </a:lnTo>
                  <a:lnTo>
                    <a:pt x="434" y="460"/>
                  </a:lnTo>
                  <a:lnTo>
                    <a:pt x="434" y="461"/>
                  </a:lnTo>
                  <a:lnTo>
                    <a:pt x="433" y="461"/>
                  </a:lnTo>
                  <a:lnTo>
                    <a:pt x="432" y="462"/>
                  </a:lnTo>
                  <a:lnTo>
                    <a:pt x="431" y="463"/>
                  </a:lnTo>
                  <a:lnTo>
                    <a:pt x="431" y="463"/>
                  </a:lnTo>
                  <a:lnTo>
                    <a:pt x="430" y="464"/>
                  </a:lnTo>
                  <a:lnTo>
                    <a:pt x="429" y="464"/>
                  </a:lnTo>
                  <a:lnTo>
                    <a:pt x="429" y="464"/>
                  </a:lnTo>
                  <a:lnTo>
                    <a:pt x="428" y="464"/>
                  </a:lnTo>
                  <a:lnTo>
                    <a:pt x="428" y="464"/>
                  </a:lnTo>
                  <a:lnTo>
                    <a:pt x="427" y="464"/>
                  </a:lnTo>
                  <a:lnTo>
                    <a:pt x="426" y="464"/>
                  </a:lnTo>
                  <a:lnTo>
                    <a:pt x="426" y="463"/>
                  </a:lnTo>
                  <a:lnTo>
                    <a:pt x="425" y="463"/>
                  </a:lnTo>
                  <a:lnTo>
                    <a:pt x="425" y="462"/>
                  </a:lnTo>
                  <a:lnTo>
                    <a:pt x="425" y="462"/>
                  </a:lnTo>
                  <a:lnTo>
                    <a:pt x="425" y="461"/>
                  </a:lnTo>
                  <a:lnTo>
                    <a:pt x="425" y="460"/>
                  </a:lnTo>
                  <a:lnTo>
                    <a:pt x="425" y="460"/>
                  </a:lnTo>
                  <a:lnTo>
                    <a:pt x="424" y="456"/>
                  </a:lnTo>
                  <a:lnTo>
                    <a:pt x="423" y="452"/>
                  </a:lnTo>
                  <a:lnTo>
                    <a:pt x="423" y="450"/>
                  </a:lnTo>
                  <a:lnTo>
                    <a:pt x="423" y="447"/>
                  </a:lnTo>
                  <a:lnTo>
                    <a:pt x="423" y="445"/>
                  </a:lnTo>
                  <a:lnTo>
                    <a:pt x="422" y="442"/>
                  </a:lnTo>
                  <a:lnTo>
                    <a:pt x="421" y="439"/>
                  </a:lnTo>
                  <a:lnTo>
                    <a:pt x="421" y="438"/>
                  </a:lnTo>
                  <a:lnTo>
                    <a:pt x="421" y="436"/>
                  </a:lnTo>
                  <a:lnTo>
                    <a:pt x="421" y="432"/>
                  </a:lnTo>
                  <a:lnTo>
                    <a:pt x="420" y="431"/>
                  </a:lnTo>
                  <a:lnTo>
                    <a:pt x="420" y="429"/>
                  </a:lnTo>
                  <a:lnTo>
                    <a:pt x="420" y="428"/>
                  </a:lnTo>
                  <a:lnTo>
                    <a:pt x="420" y="427"/>
                  </a:lnTo>
                  <a:lnTo>
                    <a:pt x="419" y="426"/>
                  </a:lnTo>
                  <a:lnTo>
                    <a:pt x="419" y="425"/>
                  </a:lnTo>
                  <a:lnTo>
                    <a:pt x="418" y="424"/>
                  </a:lnTo>
                  <a:lnTo>
                    <a:pt x="417" y="423"/>
                  </a:lnTo>
                  <a:lnTo>
                    <a:pt x="416" y="422"/>
                  </a:lnTo>
                  <a:lnTo>
                    <a:pt x="416" y="421"/>
                  </a:lnTo>
                  <a:lnTo>
                    <a:pt x="415" y="421"/>
                  </a:lnTo>
                  <a:lnTo>
                    <a:pt x="415" y="421"/>
                  </a:lnTo>
                  <a:lnTo>
                    <a:pt x="414" y="421"/>
                  </a:lnTo>
                  <a:lnTo>
                    <a:pt x="413" y="420"/>
                  </a:lnTo>
                  <a:lnTo>
                    <a:pt x="412" y="420"/>
                  </a:lnTo>
                  <a:lnTo>
                    <a:pt x="411" y="420"/>
                  </a:lnTo>
                  <a:lnTo>
                    <a:pt x="410" y="420"/>
                  </a:lnTo>
                  <a:lnTo>
                    <a:pt x="410" y="420"/>
                  </a:lnTo>
                  <a:lnTo>
                    <a:pt x="409" y="420"/>
                  </a:lnTo>
                  <a:lnTo>
                    <a:pt x="408" y="420"/>
                  </a:lnTo>
                  <a:lnTo>
                    <a:pt x="406" y="421"/>
                  </a:lnTo>
                  <a:lnTo>
                    <a:pt x="405" y="421"/>
                  </a:lnTo>
                  <a:lnTo>
                    <a:pt x="403" y="421"/>
                  </a:lnTo>
                  <a:lnTo>
                    <a:pt x="401" y="422"/>
                  </a:lnTo>
                  <a:lnTo>
                    <a:pt x="399" y="422"/>
                  </a:lnTo>
                  <a:lnTo>
                    <a:pt x="396" y="422"/>
                  </a:lnTo>
                  <a:lnTo>
                    <a:pt x="392" y="423"/>
                  </a:lnTo>
                  <a:lnTo>
                    <a:pt x="390" y="423"/>
                  </a:lnTo>
                  <a:lnTo>
                    <a:pt x="387" y="424"/>
                  </a:lnTo>
                  <a:lnTo>
                    <a:pt x="386" y="424"/>
                  </a:lnTo>
                  <a:lnTo>
                    <a:pt x="385" y="424"/>
                  </a:lnTo>
                  <a:lnTo>
                    <a:pt x="383" y="423"/>
                  </a:lnTo>
                  <a:lnTo>
                    <a:pt x="379" y="423"/>
                  </a:lnTo>
                  <a:lnTo>
                    <a:pt x="378" y="422"/>
                  </a:lnTo>
                  <a:lnTo>
                    <a:pt x="376" y="421"/>
                  </a:lnTo>
                  <a:lnTo>
                    <a:pt x="374" y="420"/>
                  </a:lnTo>
                  <a:lnTo>
                    <a:pt x="373" y="420"/>
                  </a:lnTo>
                  <a:lnTo>
                    <a:pt x="372" y="419"/>
                  </a:lnTo>
                  <a:lnTo>
                    <a:pt x="369" y="417"/>
                  </a:lnTo>
                  <a:lnTo>
                    <a:pt x="368" y="416"/>
                  </a:lnTo>
                  <a:lnTo>
                    <a:pt x="368" y="416"/>
                  </a:lnTo>
                  <a:lnTo>
                    <a:pt x="367" y="415"/>
                  </a:lnTo>
                  <a:lnTo>
                    <a:pt x="365" y="414"/>
                  </a:lnTo>
                  <a:lnTo>
                    <a:pt x="364" y="414"/>
                  </a:lnTo>
                  <a:lnTo>
                    <a:pt x="362" y="414"/>
                  </a:lnTo>
                  <a:lnTo>
                    <a:pt x="362" y="413"/>
                  </a:lnTo>
                  <a:lnTo>
                    <a:pt x="361" y="413"/>
                  </a:lnTo>
                  <a:lnTo>
                    <a:pt x="360" y="413"/>
                  </a:lnTo>
                  <a:lnTo>
                    <a:pt x="359" y="413"/>
                  </a:lnTo>
                  <a:lnTo>
                    <a:pt x="358" y="413"/>
                  </a:lnTo>
                  <a:lnTo>
                    <a:pt x="357" y="413"/>
                  </a:lnTo>
                  <a:lnTo>
                    <a:pt x="354" y="413"/>
                  </a:lnTo>
                  <a:lnTo>
                    <a:pt x="353" y="413"/>
                  </a:lnTo>
                  <a:lnTo>
                    <a:pt x="352" y="413"/>
                  </a:lnTo>
                  <a:lnTo>
                    <a:pt x="352" y="413"/>
                  </a:lnTo>
                  <a:lnTo>
                    <a:pt x="351" y="413"/>
                  </a:lnTo>
                  <a:lnTo>
                    <a:pt x="351" y="413"/>
                  </a:lnTo>
                  <a:lnTo>
                    <a:pt x="350" y="413"/>
                  </a:lnTo>
                  <a:lnTo>
                    <a:pt x="350" y="412"/>
                  </a:lnTo>
                  <a:lnTo>
                    <a:pt x="350" y="412"/>
                  </a:lnTo>
                  <a:lnTo>
                    <a:pt x="349" y="412"/>
                  </a:lnTo>
                  <a:lnTo>
                    <a:pt x="349" y="411"/>
                  </a:lnTo>
                  <a:lnTo>
                    <a:pt x="349" y="411"/>
                  </a:lnTo>
                  <a:lnTo>
                    <a:pt x="348" y="410"/>
                  </a:lnTo>
                  <a:lnTo>
                    <a:pt x="348" y="409"/>
                  </a:lnTo>
                  <a:lnTo>
                    <a:pt x="348" y="409"/>
                  </a:lnTo>
                  <a:lnTo>
                    <a:pt x="347" y="405"/>
                  </a:lnTo>
                  <a:lnTo>
                    <a:pt x="347" y="402"/>
                  </a:lnTo>
                  <a:lnTo>
                    <a:pt x="347" y="401"/>
                  </a:lnTo>
                  <a:lnTo>
                    <a:pt x="347" y="401"/>
                  </a:lnTo>
                  <a:lnTo>
                    <a:pt x="346" y="400"/>
                  </a:lnTo>
                  <a:lnTo>
                    <a:pt x="346" y="399"/>
                  </a:lnTo>
                  <a:lnTo>
                    <a:pt x="345" y="398"/>
                  </a:lnTo>
                  <a:lnTo>
                    <a:pt x="345" y="397"/>
                  </a:lnTo>
                  <a:lnTo>
                    <a:pt x="344" y="396"/>
                  </a:lnTo>
                  <a:lnTo>
                    <a:pt x="343" y="394"/>
                  </a:lnTo>
                  <a:lnTo>
                    <a:pt x="342" y="394"/>
                  </a:lnTo>
                  <a:lnTo>
                    <a:pt x="341" y="393"/>
                  </a:lnTo>
                  <a:lnTo>
                    <a:pt x="340" y="393"/>
                  </a:lnTo>
                  <a:lnTo>
                    <a:pt x="339" y="392"/>
                  </a:lnTo>
                  <a:lnTo>
                    <a:pt x="338" y="392"/>
                  </a:lnTo>
                  <a:lnTo>
                    <a:pt x="337" y="392"/>
                  </a:lnTo>
                  <a:lnTo>
                    <a:pt x="336" y="391"/>
                  </a:lnTo>
                  <a:lnTo>
                    <a:pt x="335" y="391"/>
                  </a:lnTo>
                  <a:lnTo>
                    <a:pt x="331" y="392"/>
                  </a:lnTo>
                  <a:lnTo>
                    <a:pt x="330" y="392"/>
                  </a:lnTo>
                  <a:lnTo>
                    <a:pt x="328" y="392"/>
                  </a:lnTo>
                  <a:lnTo>
                    <a:pt x="327" y="391"/>
                  </a:lnTo>
                  <a:lnTo>
                    <a:pt x="326" y="391"/>
                  </a:lnTo>
                  <a:lnTo>
                    <a:pt x="325" y="391"/>
                  </a:lnTo>
                  <a:lnTo>
                    <a:pt x="323" y="391"/>
                  </a:lnTo>
                  <a:lnTo>
                    <a:pt x="322" y="390"/>
                  </a:lnTo>
                  <a:lnTo>
                    <a:pt x="321" y="390"/>
                  </a:lnTo>
                  <a:lnTo>
                    <a:pt x="315" y="386"/>
                  </a:lnTo>
                  <a:lnTo>
                    <a:pt x="313" y="385"/>
                  </a:lnTo>
                  <a:lnTo>
                    <a:pt x="310" y="383"/>
                  </a:lnTo>
                  <a:lnTo>
                    <a:pt x="309" y="382"/>
                  </a:lnTo>
                  <a:lnTo>
                    <a:pt x="307" y="382"/>
                  </a:lnTo>
                  <a:lnTo>
                    <a:pt x="307" y="381"/>
                  </a:lnTo>
                  <a:lnTo>
                    <a:pt x="306" y="381"/>
                  </a:lnTo>
                  <a:lnTo>
                    <a:pt x="305" y="381"/>
                  </a:lnTo>
                  <a:lnTo>
                    <a:pt x="305" y="381"/>
                  </a:lnTo>
                  <a:lnTo>
                    <a:pt x="304" y="381"/>
                  </a:lnTo>
                  <a:lnTo>
                    <a:pt x="304" y="381"/>
                  </a:lnTo>
                  <a:lnTo>
                    <a:pt x="302" y="381"/>
                  </a:lnTo>
                  <a:lnTo>
                    <a:pt x="300" y="382"/>
                  </a:lnTo>
                  <a:lnTo>
                    <a:pt x="299" y="382"/>
                  </a:lnTo>
                  <a:lnTo>
                    <a:pt x="297" y="382"/>
                  </a:lnTo>
                  <a:lnTo>
                    <a:pt x="296" y="383"/>
                  </a:lnTo>
                  <a:lnTo>
                    <a:pt x="293" y="383"/>
                  </a:lnTo>
                  <a:lnTo>
                    <a:pt x="291" y="383"/>
                  </a:lnTo>
                  <a:lnTo>
                    <a:pt x="288" y="383"/>
                  </a:lnTo>
                  <a:lnTo>
                    <a:pt x="285" y="382"/>
                  </a:lnTo>
                  <a:lnTo>
                    <a:pt x="284" y="382"/>
                  </a:lnTo>
                  <a:lnTo>
                    <a:pt x="283" y="382"/>
                  </a:lnTo>
                  <a:lnTo>
                    <a:pt x="282" y="382"/>
                  </a:lnTo>
                  <a:lnTo>
                    <a:pt x="282" y="383"/>
                  </a:lnTo>
                  <a:lnTo>
                    <a:pt x="281" y="383"/>
                  </a:lnTo>
                  <a:lnTo>
                    <a:pt x="280" y="383"/>
                  </a:lnTo>
                  <a:lnTo>
                    <a:pt x="280" y="384"/>
                  </a:lnTo>
                  <a:lnTo>
                    <a:pt x="279" y="385"/>
                  </a:lnTo>
                  <a:lnTo>
                    <a:pt x="278" y="386"/>
                  </a:lnTo>
                  <a:lnTo>
                    <a:pt x="277" y="387"/>
                  </a:lnTo>
                  <a:lnTo>
                    <a:pt x="276" y="389"/>
                  </a:lnTo>
                  <a:lnTo>
                    <a:pt x="275" y="392"/>
                  </a:lnTo>
                  <a:lnTo>
                    <a:pt x="274" y="394"/>
                  </a:lnTo>
                  <a:lnTo>
                    <a:pt x="273" y="397"/>
                  </a:lnTo>
                  <a:lnTo>
                    <a:pt x="272" y="399"/>
                  </a:lnTo>
                  <a:lnTo>
                    <a:pt x="272" y="400"/>
                  </a:lnTo>
                  <a:lnTo>
                    <a:pt x="271" y="401"/>
                  </a:lnTo>
                  <a:lnTo>
                    <a:pt x="269" y="405"/>
                  </a:lnTo>
                  <a:lnTo>
                    <a:pt x="266" y="409"/>
                  </a:lnTo>
                  <a:lnTo>
                    <a:pt x="265" y="410"/>
                  </a:lnTo>
                  <a:lnTo>
                    <a:pt x="264" y="411"/>
                  </a:lnTo>
                  <a:lnTo>
                    <a:pt x="264" y="412"/>
                  </a:lnTo>
                  <a:lnTo>
                    <a:pt x="262" y="413"/>
                  </a:lnTo>
                  <a:lnTo>
                    <a:pt x="261" y="413"/>
                  </a:lnTo>
                  <a:lnTo>
                    <a:pt x="259" y="415"/>
                  </a:lnTo>
                  <a:lnTo>
                    <a:pt x="258" y="416"/>
                  </a:lnTo>
                  <a:lnTo>
                    <a:pt x="256" y="416"/>
                  </a:lnTo>
                  <a:lnTo>
                    <a:pt x="256" y="417"/>
                  </a:lnTo>
                  <a:lnTo>
                    <a:pt x="255" y="417"/>
                  </a:lnTo>
                  <a:lnTo>
                    <a:pt x="254" y="417"/>
                  </a:lnTo>
                  <a:lnTo>
                    <a:pt x="253" y="417"/>
                  </a:lnTo>
                  <a:lnTo>
                    <a:pt x="252" y="416"/>
                  </a:lnTo>
                  <a:lnTo>
                    <a:pt x="251" y="416"/>
                  </a:lnTo>
                  <a:lnTo>
                    <a:pt x="250" y="416"/>
                  </a:lnTo>
                  <a:lnTo>
                    <a:pt x="250" y="416"/>
                  </a:lnTo>
                  <a:lnTo>
                    <a:pt x="248" y="414"/>
                  </a:lnTo>
                  <a:lnTo>
                    <a:pt x="248" y="414"/>
                  </a:lnTo>
                  <a:lnTo>
                    <a:pt x="247" y="414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5" y="413"/>
                  </a:lnTo>
                  <a:lnTo>
                    <a:pt x="245" y="413"/>
                  </a:lnTo>
                  <a:lnTo>
                    <a:pt x="244" y="414"/>
                  </a:lnTo>
                  <a:lnTo>
                    <a:pt x="242" y="415"/>
                  </a:lnTo>
                  <a:lnTo>
                    <a:pt x="242" y="415"/>
                  </a:lnTo>
                  <a:lnTo>
                    <a:pt x="241" y="415"/>
                  </a:lnTo>
                  <a:lnTo>
                    <a:pt x="241" y="415"/>
                  </a:lnTo>
                  <a:lnTo>
                    <a:pt x="240" y="415"/>
                  </a:lnTo>
                  <a:lnTo>
                    <a:pt x="239" y="415"/>
                  </a:lnTo>
                  <a:lnTo>
                    <a:pt x="238" y="415"/>
                  </a:lnTo>
                  <a:lnTo>
                    <a:pt x="237" y="415"/>
                  </a:lnTo>
                  <a:lnTo>
                    <a:pt x="236" y="415"/>
                  </a:lnTo>
                  <a:lnTo>
                    <a:pt x="233" y="415"/>
                  </a:lnTo>
                  <a:lnTo>
                    <a:pt x="231" y="414"/>
                  </a:lnTo>
                  <a:lnTo>
                    <a:pt x="229" y="414"/>
                  </a:lnTo>
                  <a:lnTo>
                    <a:pt x="227" y="414"/>
                  </a:lnTo>
                  <a:lnTo>
                    <a:pt x="226" y="414"/>
                  </a:lnTo>
                  <a:lnTo>
                    <a:pt x="224" y="414"/>
                  </a:lnTo>
                  <a:lnTo>
                    <a:pt x="220" y="414"/>
                  </a:lnTo>
                  <a:lnTo>
                    <a:pt x="218" y="414"/>
                  </a:lnTo>
                  <a:lnTo>
                    <a:pt x="215" y="414"/>
                  </a:lnTo>
                  <a:lnTo>
                    <a:pt x="212" y="413"/>
                  </a:lnTo>
                  <a:lnTo>
                    <a:pt x="207" y="413"/>
                  </a:lnTo>
                  <a:lnTo>
                    <a:pt x="195" y="412"/>
                  </a:lnTo>
                  <a:lnTo>
                    <a:pt x="192" y="411"/>
                  </a:lnTo>
                  <a:lnTo>
                    <a:pt x="191" y="411"/>
                  </a:lnTo>
                  <a:lnTo>
                    <a:pt x="189" y="411"/>
                  </a:lnTo>
                  <a:lnTo>
                    <a:pt x="188" y="411"/>
                  </a:lnTo>
                  <a:lnTo>
                    <a:pt x="185" y="412"/>
                  </a:lnTo>
                  <a:lnTo>
                    <a:pt x="183" y="412"/>
                  </a:lnTo>
                  <a:lnTo>
                    <a:pt x="181" y="412"/>
                  </a:lnTo>
                  <a:lnTo>
                    <a:pt x="178" y="411"/>
                  </a:lnTo>
                  <a:lnTo>
                    <a:pt x="173" y="411"/>
                  </a:lnTo>
                  <a:lnTo>
                    <a:pt x="172" y="411"/>
                  </a:lnTo>
                  <a:lnTo>
                    <a:pt x="171" y="411"/>
                  </a:lnTo>
                  <a:lnTo>
                    <a:pt x="169" y="411"/>
                  </a:lnTo>
                  <a:lnTo>
                    <a:pt x="168" y="410"/>
                  </a:lnTo>
                  <a:lnTo>
                    <a:pt x="167" y="410"/>
                  </a:lnTo>
                  <a:lnTo>
                    <a:pt x="165" y="409"/>
                  </a:lnTo>
                  <a:lnTo>
                    <a:pt x="164" y="409"/>
                  </a:lnTo>
                  <a:lnTo>
                    <a:pt x="162" y="408"/>
                  </a:lnTo>
                  <a:lnTo>
                    <a:pt x="161" y="407"/>
                  </a:lnTo>
                  <a:lnTo>
                    <a:pt x="159" y="406"/>
                  </a:lnTo>
                  <a:lnTo>
                    <a:pt x="153" y="403"/>
                  </a:lnTo>
                  <a:lnTo>
                    <a:pt x="144" y="399"/>
                  </a:lnTo>
                  <a:lnTo>
                    <a:pt x="141" y="397"/>
                  </a:lnTo>
                  <a:lnTo>
                    <a:pt x="140" y="396"/>
                  </a:lnTo>
                  <a:lnTo>
                    <a:pt x="139" y="396"/>
                  </a:lnTo>
                  <a:lnTo>
                    <a:pt x="138" y="395"/>
                  </a:lnTo>
                  <a:lnTo>
                    <a:pt x="136" y="394"/>
                  </a:lnTo>
                  <a:lnTo>
                    <a:pt x="135" y="392"/>
                  </a:lnTo>
                  <a:lnTo>
                    <a:pt x="133" y="391"/>
                  </a:lnTo>
                  <a:lnTo>
                    <a:pt x="131" y="390"/>
                  </a:lnTo>
                  <a:lnTo>
                    <a:pt x="130" y="388"/>
                  </a:lnTo>
                  <a:lnTo>
                    <a:pt x="129" y="387"/>
                  </a:lnTo>
                  <a:lnTo>
                    <a:pt x="128" y="386"/>
                  </a:lnTo>
                  <a:lnTo>
                    <a:pt x="128" y="386"/>
                  </a:lnTo>
                  <a:lnTo>
                    <a:pt x="127" y="385"/>
                  </a:lnTo>
                  <a:lnTo>
                    <a:pt x="127" y="384"/>
                  </a:lnTo>
                  <a:lnTo>
                    <a:pt x="127" y="384"/>
                  </a:lnTo>
                  <a:lnTo>
                    <a:pt x="126" y="382"/>
                  </a:lnTo>
                  <a:lnTo>
                    <a:pt x="125" y="380"/>
                  </a:lnTo>
                  <a:lnTo>
                    <a:pt x="125" y="379"/>
                  </a:lnTo>
                  <a:lnTo>
                    <a:pt x="125" y="379"/>
                  </a:lnTo>
                  <a:lnTo>
                    <a:pt x="125" y="378"/>
                  </a:lnTo>
                  <a:lnTo>
                    <a:pt x="125" y="378"/>
                  </a:lnTo>
                  <a:lnTo>
                    <a:pt x="124" y="377"/>
                  </a:lnTo>
                  <a:lnTo>
                    <a:pt x="124" y="377"/>
                  </a:lnTo>
                  <a:lnTo>
                    <a:pt x="123" y="377"/>
                  </a:lnTo>
                  <a:lnTo>
                    <a:pt x="123" y="376"/>
                  </a:lnTo>
                  <a:lnTo>
                    <a:pt x="122" y="376"/>
                  </a:lnTo>
                  <a:lnTo>
                    <a:pt x="121" y="376"/>
                  </a:lnTo>
                  <a:lnTo>
                    <a:pt x="120" y="376"/>
                  </a:lnTo>
                  <a:lnTo>
                    <a:pt x="120" y="376"/>
                  </a:lnTo>
                  <a:lnTo>
                    <a:pt x="119" y="375"/>
                  </a:lnTo>
                  <a:lnTo>
                    <a:pt x="119" y="375"/>
                  </a:lnTo>
                  <a:lnTo>
                    <a:pt x="118" y="374"/>
                  </a:lnTo>
                  <a:lnTo>
                    <a:pt x="117" y="373"/>
                  </a:lnTo>
                  <a:lnTo>
                    <a:pt x="116" y="372"/>
                  </a:lnTo>
                  <a:lnTo>
                    <a:pt x="115" y="372"/>
                  </a:lnTo>
                  <a:lnTo>
                    <a:pt x="115" y="371"/>
                  </a:lnTo>
                  <a:lnTo>
                    <a:pt x="114" y="371"/>
                  </a:lnTo>
                  <a:lnTo>
                    <a:pt x="113" y="371"/>
                  </a:lnTo>
                  <a:lnTo>
                    <a:pt x="110" y="370"/>
                  </a:lnTo>
                  <a:lnTo>
                    <a:pt x="110" y="370"/>
                  </a:lnTo>
                  <a:lnTo>
                    <a:pt x="109" y="370"/>
                  </a:lnTo>
                  <a:lnTo>
                    <a:pt x="109" y="369"/>
                  </a:lnTo>
                  <a:lnTo>
                    <a:pt x="109" y="369"/>
                  </a:lnTo>
                  <a:lnTo>
                    <a:pt x="109" y="369"/>
                  </a:lnTo>
                  <a:lnTo>
                    <a:pt x="108" y="368"/>
                  </a:lnTo>
                  <a:lnTo>
                    <a:pt x="108" y="368"/>
                  </a:lnTo>
                  <a:lnTo>
                    <a:pt x="108" y="367"/>
                  </a:lnTo>
                  <a:lnTo>
                    <a:pt x="107" y="367"/>
                  </a:lnTo>
                  <a:lnTo>
                    <a:pt x="107" y="366"/>
                  </a:lnTo>
                  <a:lnTo>
                    <a:pt x="106" y="366"/>
                  </a:lnTo>
                  <a:lnTo>
                    <a:pt x="105" y="365"/>
                  </a:lnTo>
                  <a:lnTo>
                    <a:pt x="104" y="365"/>
                  </a:lnTo>
                  <a:lnTo>
                    <a:pt x="103" y="363"/>
                  </a:lnTo>
                  <a:lnTo>
                    <a:pt x="102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99" y="361"/>
                  </a:lnTo>
                  <a:lnTo>
                    <a:pt x="98" y="361"/>
                  </a:lnTo>
                  <a:lnTo>
                    <a:pt x="96" y="360"/>
                  </a:lnTo>
                  <a:lnTo>
                    <a:pt x="96" y="360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4" y="358"/>
                  </a:lnTo>
                  <a:lnTo>
                    <a:pt x="94" y="358"/>
                  </a:lnTo>
                  <a:lnTo>
                    <a:pt x="93" y="356"/>
                  </a:lnTo>
                  <a:lnTo>
                    <a:pt x="92" y="356"/>
                  </a:lnTo>
                  <a:lnTo>
                    <a:pt x="92" y="356"/>
                  </a:lnTo>
                  <a:lnTo>
                    <a:pt x="92" y="355"/>
                  </a:lnTo>
                  <a:lnTo>
                    <a:pt x="91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90" y="354"/>
                  </a:lnTo>
                  <a:lnTo>
                    <a:pt x="89" y="354"/>
                  </a:lnTo>
                  <a:lnTo>
                    <a:pt x="88" y="354"/>
                  </a:lnTo>
                  <a:lnTo>
                    <a:pt x="85" y="354"/>
                  </a:lnTo>
                  <a:lnTo>
                    <a:pt x="83" y="354"/>
                  </a:lnTo>
                  <a:lnTo>
                    <a:pt x="81" y="354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6" y="355"/>
                  </a:lnTo>
                  <a:lnTo>
                    <a:pt x="75" y="355"/>
                  </a:lnTo>
                  <a:lnTo>
                    <a:pt x="74" y="355"/>
                  </a:lnTo>
                  <a:lnTo>
                    <a:pt x="73" y="356"/>
                  </a:lnTo>
                  <a:lnTo>
                    <a:pt x="72" y="356"/>
                  </a:lnTo>
                  <a:lnTo>
                    <a:pt x="71" y="357"/>
                  </a:lnTo>
                  <a:lnTo>
                    <a:pt x="68" y="359"/>
                  </a:lnTo>
                  <a:lnTo>
                    <a:pt x="67" y="360"/>
                  </a:lnTo>
                  <a:lnTo>
                    <a:pt x="66" y="360"/>
                  </a:lnTo>
                  <a:lnTo>
                    <a:pt x="65" y="361"/>
                  </a:lnTo>
                  <a:lnTo>
                    <a:pt x="64" y="361"/>
                  </a:lnTo>
                  <a:lnTo>
                    <a:pt x="63" y="361"/>
                  </a:lnTo>
                  <a:lnTo>
                    <a:pt x="62" y="362"/>
                  </a:lnTo>
                  <a:lnTo>
                    <a:pt x="61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7" y="362"/>
                  </a:lnTo>
                  <a:lnTo>
                    <a:pt x="54" y="362"/>
                  </a:lnTo>
                  <a:lnTo>
                    <a:pt x="48" y="361"/>
                  </a:lnTo>
                  <a:lnTo>
                    <a:pt x="47" y="360"/>
                  </a:lnTo>
                  <a:lnTo>
                    <a:pt x="45" y="360"/>
                  </a:lnTo>
                  <a:lnTo>
                    <a:pt x="44" y="359"/>
                  </a:lnTo>
                  <a:lnTo>
                    <a:pt x="43" y="359"/>
                  </a:lnTo>
                  <a:lnTo>
                    <a:pt x="42" y="358"/>
                  </a:lnTo>
                  <a:lnTo>
                    <a:pt x="40" y="357"/>
                  </a:lnTo>
                  <a:lnTo>
                    <a:pt x="39" y="356"/>
                  </a:lnTo>
                  <a:lnTo>
                    <a:pt x="35" y="352"/>
                  </a:lnTo>
                  <a:lnTo>
                    <a:pt x="34" y="351"/>
                  </a:lnTo>
                  <a:lnTo>
                    <a:pt x="33" y="350"/>
                  </a:lnTo>
                  <a:lnTo>
                    <a:pt x="31" y="350"/>
                  </a:lnTo>
                  <a:lnTo>
                    <a:pt x="30" y="349"/>
                  </a:lnTo>
                  <a:lnTo>
                    <a:pt x="27" y="348"/>
                  </a:lnTo>
                  <a:lnTo>
                    <a:pt x="24" y="346"/>
                  </a:lnTo>
                  <a:lnTo>
                    <a:pt x="23" y="345"/>
                  </a:lnTo>
                  <a:lnTo>
                    <a:pt x="21" y="344"/>
                  </a:lnTo>
                  <a:lnTo>
                    <a:pt x="20" y="344"/>
                  </a:lnTo>
                  <a:lnTo>
                    <a:pt x="18" y="343"/>
                  </a:lnTo>
                  <a:lnTo>
                    <a:pt x="12" y="342"/>
                  </a:lnTo>
                  <a:lnTo>
                    <a:pt x="10" y="342"/>
                  </a:lnTo>
                  <a:lnTo>
                    <a:pt x="9" y="342"/>
                  </a:lnTo>
                  <a:lnTo>
                    <a:pt x="7" y="341"/>
                  </a:lnTo>
                  <a:lnTo>
                    <a:pt x="5" y="341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1" y="336"/>
                  </a:lnTo>
                  <a:lnTo>
                    <a:pt x="2" y="333"/>
                  </a:lnTo>
                  <a:lnTo>
                    <a:pt x="2" y="332"/>
                  </a:lnTo>
                  <a:lnTo>
                    <a:pt x="3" y="332"/>
                  </a:lnTo>
                  <a:lnTo>
                    <a:pt x="3" y="332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5" y="331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6" y="329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7" y="327"/>
                  </a:lnTo>
                  <a:lnTo>
                    <a:pt x="8" y="326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9" y="323"/>
                  </a:lnTo>
                  <a:lnTo>
                    <a:pt x="10" y="323"/>
                  </a:lnTo>
                  <a:lnTo>
                    <a:pt x="10" y="323"/>
                  </a:lnTo>
                  <a:lnTo>
                    <a:pt x="11" y="323"/>
                  </a:lnTo>
                  <a:lnTo>
                    <a:pt x="11" y="323"/>
                  </a:lnTo>
                  <a:lnTo>
                    <a:pt x="11" y="322"/>
                  </a:lnTo>
                  <a:lnTo>
                    <a:pt x="13" y="321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19"/>
                  </a:lnTo>
                  <a:lnTo>
                    <a:pt x="14" y="319"/>
                  </a:lnTo>
                  <a:lnTo>
                    <a:pt x="14" y="319"/>
                  </a:lnTo>
                  <a:lnTo>
                    <a:pt x="15" y="318"/>
                  </a:lnTo>
                  <a:lnTo>
                    <a:pt x="16" y="318"/>
                  </a:lnTo>
                  <a:lnTo>
                    <a:pt x="17" y="318"/>
                  </a:lnTo>
                  <a:lnTo>
                    <a:pt x="18" y="318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2" y="318"/>
                  </a:lnTo>
                  <a:lnTo>
                    <a:pt x="23" y="319"/>
                  </a:lnTo>
                  <a:lnTo>
                    <a:pt x="25" y="320"/>
                  </a:lnTo>
                  <a:lnTo>
                    <a:pt x="25" y="321"/>
                  </a:lnTo>
                  <a:lnTo>
                    <a:pt x="26" y="321"/>
                  </a:lnTo>
                  <a:lnTo>
                    <a:pt x="27" y="321"/>
                  </a:lnTo>
                  <a:lnTo>
                    <a:pt x="28" y="322"/>
                  </a:lnTo>
                  <a:lnTo>
                    <a:pt x="29" y="322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2" y="321"/>
                  </a:lnTo>
                  <a:lnTo>
                    <a:pt x="32" y="321"/>
                  </a:lnTo>
                  <a:lnTo>
                    <a:pt x="33" y="320"/>
                  </a:lnTo>
                  <a:lnTo>
                    <a:pt x="34" y="319"/>
                  </a:lnTo>
                  <a:lnTo>
                    <a:pt x="34" y="319"/>
                  </a:lnTo>
                  <a:lnTo>
                    <a:pt x="35" y="317"/>
                  </a:lnTo>
                  <a:lnTo>
                    <a:pt x="37" y="314"/>
                  </a:lnTo>
                  <a:lnTo>
                    <a:pt x="38" y="314"/>
                  </a:lnTo>
                  <a:lnTo>
                    <a:pt x="38" y="314"/>
                  </a:lnTo>
                  <a:lnTo>
                    <a:pt x="38" y="313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0" y="313"/>
                  </a:lnTo>
                  <a:lnTo>
                    <a:pt x="41" y="313"/>
                  </a:lnTo>
                  <a:lnTo>
                    <a:pt x="45" y="312"/>
                  </a:lnTo>
                  <a:lnTo>
                    <a:pt x="46" y="312"/>
                  </a:lnTo>
                  <a:lnTo>
                    <a:pt x="47" y="312"/>
                  </a:lnTo>
                  <a:lnTo>
                    <a:pt x="48" y="312"/>
                  </a:lnTo>
                  <a:lnTo>
                    <a:pt x="49" y="313"/>
                  </a:lnTo>
                  <a:lnTo>
                    <a:pt x="50" y="313"/>
                  </a:lnTo>
                  <a:lnTo>
                    <a:pt x="51" y="314"/>
                  </a:lnTo>
                  <a:lnTo>
                    <a:pt x="52" y="314"/>
                  </a:lnTo>
                  <a:lnTo>
                    <a:pt x="54" y="316"/>
                  </a:lnTo>
                  <a:lnTo>
                    <a:pt x="55" y="316"/>
                  </a:lnTo>
                  <a:lnTo>
                    <a:pt x="56" y="316"/>
                  </a:lnTo>
                  <a:lnTo>
                    <a:pt x="56" y="316"/>
                  </a:lnTo>
                  <a:lnTo>
                    <a:pt x="57" y="316"/>
                  </a:lnTo>
                  <a:lnTo>
                    <a:pt x="57" y="316"/>
                  </a:lnTo>
                  <a:lnTo>
                    <a:pt x="58" y="316"/>
                  </a:lnTo>
                  <a:lnTo>
                    <a:pt x="58" y="316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1" y="313"/>
                  </a:lnTo>
                  <a:lnTo>
                    <a:pt x="62" y="311"/>
                  </a:lnTo>
                  <a:lnTo>
                    <a:pt x="62" y="311"/>
                  </a:lnTo>
                  <a:lnTo>
                    <a:pt x="64" y="309"/>
                  </a:lnTo>
                  <a:lnTo>
                    <a:pt x="66" y="307"/>
                  </a:lnTo>
                  <a:lnTo>
                    <a:pt x="66" y="307"/>
                  </a:lnTo>
                  <a:lnTo>
                    <a:pt x="67" y="306"/>
                  </a:lnTo>
                  <a:lnTo>
                    <a:pt x="68" y="306"/>
                  </a:lnTo>
                  <a:lnTo>
                    <a:pt x="69" y="305"/>
                  </a:lnTo>
                  <a:lnTo>
                    <a:pt x="71" y="304"/>
                  </a:lnTo>
                  <a:lnTo>
                    <a:pt x="72" y="303"/>
                  </a:lnTo>
                  <a:lnTo>
                    <a:pt x="73" y="302"/>
                  </a:lnTo>
                  <a:lnTo>
                    <a:pt x="74" y="301"/>
                  </a:lnTo>
                  <a:lnTo>
                    <a:pt x="75" y="300"/>
                  </a:lnTo>
                  <a:lnTo>
                    <a:pt x="77" y="299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81" y="294"/>
                  </a:lnTo>
                  <a:lnTo>
                    <a:pt x="82" y="293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8" y="291"/>
                  </a:lnTo>
                  <a:lnTo>
                    <a:pt x="89" y="290"/>
                  </a:lnTo>
                  <a:lnTo>
                    <a:pt x="91" y="290"/>
                  </a:lnTo>
                  <a:lnTo>
                    <a:pt x="93" y="290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9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1" y="288"/>
                  </a:lnTo>
                  <a:lnTo>
                    <a:pt x="101" y="287"/>
                  </a:lnTo>
                  <a:lnTo>
                    <a:pt x="101" y="287"/>
                  </a:lnTo>
                  <a:lnTo>
                    <a:pt x="102" y="286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4" y="281"/>
                  </a:lnTo>
                  <a:lnTo>
                    <a:pt x="104" y="280"/>
                  </a:lnTo>
                  <a:lnTo>
                    <a:pt x="105" y="280"/>
                  </a:lnTo>
                  <a:lnTo>
                    <a:pt x="105" y="280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4" y="278"/>
                  </a:lnTo>
                  <a:lnTo>
                    <a:pt x="115" y="278"/>
                  </a:lnTo>
                  <a:lnTo>
                    <a:pt x="115" y="277"/>
                  </a:lnTo>
                  <a:lnTo>
                    <a:pt x="116" y="277"/>
                  </a:lnTo>
                  <a:lnTo>
                    <a:pt x="117" y="276"/>
                  </a:lnTo>
                  <a:lnTo>
                    <a:pt x="119" y="274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3"/>
                  </a:lnTo>
                  <a:lnTo>
                    <a:pt x="121" y="272"/>
                  </a:lnTo>
                  <a:lnTo>
                    <a:pt x="123" y="272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6" y="271"/>
                  </a:lnTo>
                  <a:lnTo>
                    <a:pt x="126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29" y="273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1" y="276"/>
                  </a:lnTo>
                  <a:lnTo>
                    <a:pt x="132" y="276"/>
                  </a:lnTo>
                  <a:lnTo>
                    <a:pt x="134" y="278"/>
                  </a:lnTo>
                  <a:lnTo>
                    <a:pt x="135" y="279"/>
                  </a:lnTo>
                  <a:lnTo>
                    <a:pt x="136" y="279"/>
                  </a:lnTo>
                  <a:lnTo>
                    <a:pt x="137" y="280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9" y="280"/>
                  </a:lnTo>
                  <a:lnTo>
                    <a:pt x="141" y="280"/>
                  </a:lnTo>
                  <a:lnTo>
                    <a:pt x="142" y="280"/>
                  </a:lnTo>
                  <a:lnTo>
                    <a:pt x="143" y="279"/>
                  </a:lnTo>
                  <a:lnTo>
                    <a:pt x="144" y="279"/>
                  </a:lnTo>
                  <a:lnTo>
                    <a:pt x="146" y="278"/>
                  </a:lnTo>
                  <a:lnTo>
                    <a:pt x="147" y="277"/>
                  </a:lnTo>
                  <a:lnTo>
                    <a:pt x="148" y="276"/>
                  </a:lnTo>
                  <a:lnTo>
                    <a:pt x="149" y="276"/>
                  </a:lnTo>
                  <a:lnTo>
                    <a:pt x="149" y="275"/>
                  </a:lnTo>
                  <a:lnTo>
                    <a:pt x="150" y="275"/>
                  </a:lnTo>
                  <a:lnTo>
                    <a:pt x="151" y="275"/>
                  </a:lnTo>
                  <a:lnTo>
                    <a:pt x="152" y="275"/>
                  </a:lnTo>
                  <a:lnTo>
                    <a:pt x="154" y="276"/>
                  </a:lnTo>
                  <a:lnTo>
                    <a:pt x="155" y="276"/>
                  </a:lnTo>
                  <a:lnTo>
                    <a:pt x="158" y="276"/>
                  </a:lnTo>
                  <a:lnTo>
                    <a:pt x="159" y="277"/>
                  </a:lnTo>
                  <a:lnTo>
                    <a:pt x="161" y="277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4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8" y="273"/>
                  </a:lnTo>
                  <a:lnTo>
                    <a:pt x="179" y="273"/>
                  </a:lnTo>
                  <a:lnTo>
                    <a:pt x="179" y="272"/>
                  </a:lnTo>
                  <a:lnTo>
                    <a:pt x="179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68"/>
                  </a:lnTo>
                  <a:lnTo>
                    <a:pt x="180" y="267"/>
                  </a:lnTo>
                  <a:lnTo>
                    <a:pt x="180" y="266"/>
                  </a:lnTo>
                  <a:lnTo>
                    <a:pt x="180" y="265"/>
                  </a:lnTo>
                  <a:lnTo>
                    <a:pt x="181" y="265"/>
                  </a:lnTo>
                  <a:lnTo>
                    <a:pt x="181" y="264"/>
                  </a:lnTo>
                  <a:lnTo>
                    <a:pt x="182" y="263"/>
                  </a:lnTo>
                  <a:lnTo>
                    <a:pt x="183" y="263"/>
                  </a:lnTo>
                  <a:lnTo>
                    <a:pt x="184" y="262"/>
                  </a:lnTo>
                  <a:lnTo>
                    <a:pt x="185" y="262"/>
                  </a:lnTo>
                  <a:lnTo>
                    <a:pt x="186" y="261"/>
                  </a:lnTo>
                  <a:lnTo>
                    <a:pt x="188" y="261"/>
                  </a:lnTo>
                  <a:lnTo>
                    <a:pt x="189" y="261"/>
                  </a:lnTo>
                  <a:lnTo>
                    <a:pt x="193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1" y="259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3" y="257"/>
                  </a:lnTo>
                  <a:lnTo>
                    <a:pt x="203" y="257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05" y="255"/>
                  </a:lnTo>
                  <a:lnTo>
                    <a:pt x="206" y="254"/>
                  </a:lnTo>
                  <a:lnTo>
                    <a:pt x="206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7" y="250"/>
                  </a:lnTo>
                  <a:lnTo>
                    <a:pt x="208" y="250"/>
                  </a:lnTo>
                  <a:lnTo>
                    <a:pt x="208" y="249"/>
                  </a:lnTo>
                  <a:lnTo>
                    <a:pt x="210" y="247"/>
                  </a:lnTo>
                  <a:lnTo>
                    <a:pt x="211" y="247"/>
                  </a:lnTo>
                  <a:lnTo>
                    <a:pt x="211" y="246"/>
                  </a:lnTo>
                  <a:lnTo>
                    <a:pt x="212" y="246"/>
                  </a:lnTo>
                  <a:lnTo>
                    <a:pt x="212" y="245"/>
                  </a:lnTo>
                  <a:lnTo>
                    <a:pt x="212" y="245"/>
                  </a:lnTo>
                  <a:lnTo>
                    <a:pt x="212" y="244"/>
                  </a:lnTo>
                  <a:lnTo>
                    <a:pt x="212" y="243"/>
                  </a:lnTo>
                  <a:lnTo>
                    <a:pt x="212" y="243"/>
                  </a:lnTo>
                  <a:lnTo>
                    <a:pt x="212" y="242"/>
                  </a:lnTo>
                  <a:lnTo>
                    <a:pt x="212" y="241"/>
                  </a:lnTo>
                  <a:lnTo>
                    <a:pt x="211" y="241"/>
                  </a:lnTo>
                  <a:lnTo>
                    <a:pt x="210" y="240"/>
                  </a:lnTo>
                  <a:lnTo>
                    <a:pt x="209" y="239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4" y="234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3" y="232"/>
                  </a:lnTo>
                  <a:lnTo>
                    <a:pt x="202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30"/>
                  </a:lnTo>
                  <a:lnTo>
                    <a:pt x="205" y="230"/>
                  </a:lnTo>
                  <a:lnTo>
                    <a:pt x="206" y="229"/>
                  </a:lnTo>
                  <a:lnTo>
                    <a:pt x="207" y="229"/>
                  </a:lnTo>
                  <a:lnTo>
                    <a:pt x="207" y="228"/>
                  </a:lnTo>
                  <a:lnTo>
                    <a:pt x="208" y="228"/>
                  </a:lnTo>
                  <a:lnTo>
                    <a:pt x="208" y="227"/>
                  </a:lnTo>
                  <a:lnTo>
                    <a:pt x="209" y="227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0" y="225"/>
                  </a:lnTo>
                  <a:lnTo>
                    <a:pt x="210" y="224"/>
                  </a:lnTo>
                  <a:lnTo>
                    <a:pt x="210" y="224"/>
                  </a:lnTo>
                  <a:lnTo>
                    <a:pt x="209" y="223"/>
                  </a:lnTo>
                  <a:lnTo>
                    <a:pt x="209" y="222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08" y="218"/>
                  </a:lnTo>
                  <a:lnTo>
                    <a:pt x="208" y="217"/>
                  </a:lnTo>
                  <a:lnTo>
                    <a:pt x="209" y="217"/>
                  </a:lnTo>
                  <a:lnTo>
                    <a:pt x="209" y="216"/>
                  </a:lnTo>
                  <a:lnTo>
                    <a:pt x="209" y="215"/>
                  </a:lnTo>
                  <a:lnTo>
                    <a:pt x="210" y="215"/>
                  </a:lnTo>
                  <a:lnTo>
                    <a:pt x="210" y="214"/>
                  </a:lnTo>
                  <a:lnTo>
                    <a:pt x="211" y="214"/>
                  </a:lnTo>
                  <a:lnTo>
                    <a:pt x="211" y="213"/>
                  </a:lnTo>
                  <a:lnTo>
                    <a:pt x="212" y="213"/>
                  </a:lnTo>
                  <a:lnTo>
                    <a:pt x="214" y="212"/>
                  </a:lnTo>
                  <a:lnTo>
                    <a:pt x="215" y="211"/>
                  </a:lnTo>
                  <a:lnTo>
                    <a:pt x="216" y="211"/>
                  </a:lnTo>
                  <a:lnTo>
                    <a:pt x="217" y="210"/>
                  </a:lnTo>
                  <a:lnTo>
                    <a:pt x="218" y="209"/>
                  </a:lnTo>
                  <a:lnTo>
                    <a:pt x="219" y="208"/>
                  </a:lnTo>
                  <a:lnTo>
                    <a:pt x="219" y="208"/>
                  </a:lnTo>
                  <a:lnTo>
                    <a:pt x="219" y="207"/>
                  </a:lnTo>
                  <a:lnTo>
                    <a:pt x="219" y="206"/>
                  </a:lnTo>
                  <a:lnTo>
                    <a:pt x="219" y="205"/>
                  </a:lnTo>
                  <a:lnTo>
                    <a:pt x="219" y="203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18" y="201"/>
                  </a:lnTo>
                  <a:lnTo>
                    <a:pt x="218" y="201"/>
                  </a:lnTo>
                  <a:lnTo>
                    <a:pt x="218" y="200"/>
                  </a:lnTo>
                  <a:lnTo>
                    <a:pt x="217" y="200"/>
                  </a:lnTo>
                  <a:lnTo>
                    <a:pt x="217" y="199"/>
                  </a:lnTo>
                  <a:lnTo>
                    <a:pt x="217" y="198"/>
                  </a:lnTo>
                  <a:lnTo>
                    <a:pt x="215" y="198"/>
                  </a:lnTo>
                  <a:lnTo>
                    <a:pt x="213" y="196"/>
                  </a:lnTo>
                  <a:lnTo>
                    <a:pt x="212" y="195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10" y="191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0" y="188"/>
                  </a:lnTo>
                  <a:lnTo>
                    <a:pt x="210" y="187"/>
                  </a:lnTo>
                  <a:lnTo>
                    <a:pt x="211" y="186"/>
                  </a:lnTo>
                  <a:lnTo>
                    <a:pt x="211" y="185"/>
                  </a:lnTo>
                  <a:lnTo>
                    <a:pt x="212" y="184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3" y="181"/>
                  </a:lnTo>
                  <a:lnTo>
                    <a:pt x="214" y="180"/>
                  </a:lnTo>
                  <a:lnTo>
                    <a:pt x="215" y="178"/>
                  </a:lnTo>
                  <a:lnTo>
                    <a:pt x="216" y="178"/>
                  </a:lnTo>
                  <a:lnTo>
                    <a:pt x="217" y="177"/>
                  </a:lnTo>
                  <a:lnTo>
                    <a:pt x="219" y="175"/>
                  </a:lnTo>
                  <a:lnTo>
                    <a:pt x="220" y="175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3"/>
                  </a:lnTo>
                  <a:lnTo>
                    <a:pt x="222" y="173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2" y="171"/>
                  </a:lnTo>
                  <a:lnTo>
                    <a:pt x="221" y="171"/>
                  </a:lnTo>
                  <a:lnTo>
                    <a:pt x="221" y="170"/>
                  </a:lnTo>
                  <a:lnTo>
                    <a:pt x="221" y="169"/>
                  </a:lnTo>
                  <a:lnTo>
                    <a:pt x="220" y="168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7" y="165"/>
                  </a:lnTo>
                  <a:lnTo>
                    <a:pt x="217" y="164"/>
                  </a:lnTo>
                  <a:lnTo>
                    <a:pt x="217" y="163"/>
                  </a:lnTo>
                  <a:lnTo>
                    <a:pt x="217" y="163"/>
                  </a:lnTo>
                  <a:lnTo>
                    <a:pt x="217" y="162"/>
                  </a:lnTo>
                  <a:lnTo>
                    <a:pt x="217" y="161"/>
                  </a:lnTo>
                  <a:lnTo>
                    <a:pt x="217" y="160"/>
                  </a:lnTo>
                  <a:lnTo>
                    <a:pt x="217" y="159"/>
                  </a:lnTo>
                  <a:lnTo>
                    <a:pt x="218" y="159"/>
                  </a:lnTo>
                  <a:lnTo>
                    <a:pt x="218" y="158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3" y="151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8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2" y="147"/>
                  </a:lnTo>
                  <a:lnTo>
                    <a:pt x="222" y="146"/>
                  </a:lnTo>
                  <a:lnTo>
                    <a:pt x="222" y="146"/>
                  </a:lnTo>
                  <a:lnTo>
                    <a:pt x="221" y="146"/>
                  </a:lnTo>
                  <a:lnTo>
                    <a:pt x="218" y="145"/>
                  </a:lnTo>
                  <a:lnTo>
                    <a:pt x="217" y="145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5" y="144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0"/>
                  </a:lnTo>
                  <a:lnTo>
                    <a:pt x="215" y="140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8"/>
                  </a:lnTo>
                  <a:lnTo>
                    <a:pt x="215" y="138"/>
                  </a:lnTo>
                  <a:lnTo>
                    <a:pt x="215" y="138"/>
                  </a:lnTo>
                  <a:lnTo>
                    <a:pt x="210" y="134"/>
                  </a:lnTo>
                  <a:lnTo>
                    <a:pt x="207" y="132"/>
                  </a:lnTo>
                  <a:lnTo>
                    <a:pt x="206" y="131"/>
                  </a:lnTo>
                  <a:lnTo>
                    <a:pt x="206" y="131"/>
                  </a:lnTo>
                  <a:lnTo>
                    <a:pt x="205" y="130"/>
                  </a:lnTo>
                  <a:lnTo>
                    <a:pt x="205" y="130"/>
                  </a:lnTo>
                  <a:lnTo>
                    <a:pt x="205" y="129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7"/>
                  </a:lnTo>
                  <a:lnTo>
                    <a:pt x="205" y="126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6" y="119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3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8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4"/>
                  </a:lnTo>
                  <a:lnTo>
                    <a:pt x="214" y="101"/>
                  </a:lnTo>
                  <a:lnTo>
                    <a:pt x="215" y="100"/>
                  </a:lnTo>
                  <a:lnTo>
                    <a:pt x="216" y="99"/>
                  </a:lnTo>
                  <a:lnTo>
                    <a:pt x="216" y="98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20" y="95"/>
                  </a:lnTo>
                  <a:lnTo>
                    <a:pt x="221" y="95"/>
                  </a:lnTo>
                  <a:lnTo>
                    <a:pt x="222" y="95"/>
                  </a:lnTo>
                  <a:lnTo>
                    <a:pt x="223" y="94"/>
                  </a:lnTo>
                  <a:lnTo>
                    <a:pt x="226" y="94"/>
                  </a:lnTo>
                  <a:lnTo>
                    <a:pt x="228" y="94"/>
                  </a:lnTo>
                  <a:lnTo>
                    <a:pt x="230" y="93"/>
                  </a:lnTo>
                  <a:lnTo>
                    <a:pt x="231" y="93"/>
                  </a:lnTo>
                  <a:lnTo>
                    <a:pt x="232" y="93"/>
                  </a:lnTo>
                  <a:lnTo>
                    <a:pt x="233" y="92"/>
                  </a:lnTo>
                  <a:lnTo>
                    <a:pt x="234" y="92"/>
                  </a:lnTo>
                  <a:lnTo>
                    <a:pt x="234" y="91"/>
                  </a:lnTo>
                  <a:lnTo>
                    <a:pt x="235" y="91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8"/>
                  </a:lnTo>
                  <a:lnTo>
                    <a:pt x="235" y="88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3" y="87"/>
                  </a:lnTo>
                  <a:lnTo>
                    <a:pt x="233" y="86"/>
                  </a:lnTo>
                  <a:lnTo>
                    <a:pt x="232" y="86"/>
                  </a:lnTo>
                  <a:lnTo>
                    <a:pt x="231" y="86"/>
                  </a:lnTo>
                  <a:lnTo>
                    <a:pt x="229" y="85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3"/>
                  </a:lnTo>
                  <a:lnTo>
                    <a:pt x="228" y="83"/>
                  </a:lnTo>
                  <a:lnTo>
                    <a:pt x="228" y="82"/>
                  </a:lnTo>
                  <a:lnTo>
                    <a:pt x="229" y="81"/>
                  </a:lnTo>
                  <a:lnTo>
                    <a:pt x="231" y="80"/>
                  </a:lnTo>
                  <a:lnTo>
                    <a:pt x="231" y="79"/>
                  </a:lnTo>
                  <a:lnTo>
                    <a:pt x="232" y="79"/>
                  </a:lnTo>
                  <a:lnTo>
                    <a:pt x="233" y="78"/>
                  </a:lnTo>
                  <a:lnTo>
                    <a:pt x="234" y="77"/>
                  </a:lnTo>
                  <a:lnTo>
                    <a:pt x="235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7" y="77"/>
                  </a:lnTo>
                  <a:lnTo>
                    <a:pt x="238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0" y="77"/>
                  </a:lnTo>
                  <a:lnTo>
                    <a:pt x="240" y="78"/>
                  </a:lnTo>
                  <a:lnTo>
                    <a:pt x="241" y="78"/>
                  </a:lnTo>
                  <a:lnTo>
                    <a:pt x="241" y="79"/>
                  </a:lnTo>
                  <a:lnTo>
                    <a:pt x="242" y="80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3" y="82"/>
                  </a:lnTo>
                  <a:lnTo>
                    <a:pt x="243" y="82"/>
                  </a:lnTo>
                  <a:lnTo>
                    <a:pt x="244" y="83"/>
                  </a:lnTo>
                  <a:lnTo>
                    <a:pt x="244" y="83"/>
                  </a:lnTo>
                  <a:lnTo>
                    <a:pt x="245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8" y="82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1"/>
                  </a:lnTo>
                  <a:lnTo>
                    <a:pt x="250" y="80"/>
                  </a:lnTo>
                  <a:lnTo>
                    <a:pt x="250" y="78"/>
                  </a:lnTo>
                  <a:lnTo>
                    <a:pt x="251" y="77"/>
                  </a:lnTo>
                  <a:lnTo>
                    <a:pt x="251" y="76"/>
                  </a:lnTo>
                  <a:lnTo>
                    <a:pt x="251" y="75"/>
                  </a:lnTo>
                  <a:lnTo>
                    <a:pt x="251" y="75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3"/>
                  </a:lnTo>
                  <a:lnTo>
                    <a:pt x="251" y="72"/>
                  </a:lnTo>
                  <a:lnTo>
                    <a:pt x="250" y="71"/>
                  </a:lnTo>
                  <a:lnTo>
                    <a:pt x="249" y="70"/>
                  </a:lnTo>
                  <a:lnTo>
                    <a:pt x="249" y="69"/>
                  </a:lnTo>
                  <a:lnTo>
                    <a:pt x="247" y="68"/>
                  </a:lnTo>
                  <a:lnTo>
                    <a:pt x="247" y="67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5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3"/>
                  </a:lnTo>
                  <a:lnTo>
                    <a:pt x="249" y="63"/>
                  </a:lnTo>
                  <a:lnTo>
                    <a:pt x="249" y="63"/>
                  </a:lnTo>
                  <a:lnTo>
                    <a:pt x="250" y="63"/>
                  </a:lnTo>
                  <a:lnTo>
                    <a:pt x="251" y="62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4" y="61"/>
                  </a:lnTo>
                  <a:lnTo>
                    <a:pt x="255" y="59"/>
                  </a:lnTo>
                  <a:lnTo>
                    <a:pt x="256" y="58"/>
                  </a:lnTo>
                  <a:lnTo>
                    <a:pt x="257" y="57"/>
                  </a:lnTo>
                  <a:lnTo>
                    <a:pt x="258" y="55"/>
                  </a:lnTo>
                  <a:lnTo>
                    <a:pt x="258" y="54"/>
                  </a:lnTo>
                  <a:lnTo>
                    <a:pt x="259" y="53"/>
                  </a:lnTo>
                  <a:lnTo>
                    <a:pt x="259" y="52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7" y="45"/>
                  </a:lnTo>
                  <a:lnTo>
                    <a:pt x="257" y="44"/>
                  </a:lnTo>
                  <a:lnTo>
                    <a:pt x="256" y="44"/>
                  </a:lnTo>
                  <a:lnTo>
                    <a:pt x="253" y="42"/>
                  </a:lnTo>
                  <a:lnTo>
                    <a:pt x="253" y="42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51" y="40"/>
                  </a:lnTo>
                  <a:lnTo>
                    <a:pt x="250" y="39"/>
                  </a:lnTo>
                  <a:lnTo>
                    <a:pt x="250" y="38"/>
                  </a:lnTo>
                  <a:lnTo>
                    <a:pt x="250" y="38"/>
                  </a:lnTo>
                  <a:lnTo>
                    <a:pt x="250" y="37"/>
                  </a:lnTo>
                  <a:lnTo>
                    <a:pt x="250" y="37"/>
                  </a:lnTo>
                  <a:lnTo>
                    <a:pt x="250" y="36"/>
                  </a:lnTo>
                  <a:lnTo>
                    <a:pt x="250" y="35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6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57" y="23"/>
                  </a:lnTo>
                  <a:lnTo>
                    <a:pt x="259" y="22"/>
                  </a:lnTo>
                  <a:lnTo>
                    <a:pt x="260" y="21"/>
                  </a:lnTo>
                  <a:lnTo>
                    <a:pt x="261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8"/>
                  </a:lnTo>
                  <a:lnTo>
                    <a:pt x="264" y="17"/>
                  </a:lnTo>
                  <a:lnTo>
                    <a:pt x="265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1" y="18"/>
                  </a:lnTo>
                  <a:lnTo>
                    <a:pt x="272" y="18"/>
                  </a:lnTo>
                  <a:lnTo>
                    <a:pt x="273" y="18"/>
                  </a:lnTo>
                  <a:lnTo>
                    <a:pt x="275" y="18"/>
                  </a:lnTo>
                  <a:lnTo>
                    <a:pt x="277" y="17"/>
                  </a:lnTo>
                  <a:lnTo>
                    <a:pt x="280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7" y="18"/>
                  </a:lnTo>
                  <a:lnTo>
                    <a:pt x="289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5" y="18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8" y="16"/>
                  </a:lnTo>
                  <a:lnTo>
                    <a:pt x="298" y="15"/>
                  </a:lnTo>
                  <a:lnTo>
                    <a:pt x="298" y="14"/>
                  </a:lnTo>
                  <a:lnTo>
                    <a:pt x="299" y="13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2" y="2"/>
                  </a:lnTo>
                  <a:lnTo>
                    <a:pt x="302" y="1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close/>
                </a:path>
              </a:pathLst>
            </a:custGeom>
            <a:solidFill>
              <a:srgbClr val="BC8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Freeform 67">
              <a:extLst>
                <a:ext uri="{FF2B5EF4-FFF2-40B4-BE49-F238E27FC236}">
                  <a16:creationId xmlns:a16="http://schemas.microsoft.com/office/drawing/2014/main" id="{D3CF1198-EB94-D448-4112-B93F9C123A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1" y="3521"/>
              <a:ext cx="548" cy="464"/>
            </a:xfrm>
            <a:custGeom>
              <a:avLst/>
              <a:gdLst>
                <a:gd name="T0" fmla="*/ 232 w 548"/>
                <a:gd name="T1" fmla="*/ 1 h 464"/>
                <a:gd name="T2" fmla="*/ 256 w 548"/>
                <a:gd name="T3" fmla="*/ 4 h 464"/>
                <a:gd name="T4" fmla="*/ 282 w 548"/>
                <a:gd name="T5" fmla="*/ 14 h 464"/>
                <a:gd name="T6" fmla="*/ 268 w 548"/>
                <a:gd name="T7" fmla="*/ 21 h 464"/>
                <a:gd name="T8" fmla="*/ 266 w 548"/>
                <a:gd name="T9" fmla="*/ 36 h 464"/>
                <a:gd name="T10" fmla="*/ 289 w 548"/>
                <a:gd name="T11" fmla="*/ 43 h 464"/>
                <a:gd name="T12" fmla="*/ 280 w 548"/>
                <a:gd name="T13" fmla="*/ 61 h 464"/>
                <a:gd name="T14" fmla="*/ 290 w 548"/>
                <a:gd name="T15" fmla="*/ 88 h 464"/>
                <a:gd name="T16" fmla="*/ 284 w 548"/>
                <a:gd name="T17" fmla="*/ 99 h 464"/>
                <a:gd name="T18" fmla="*/ 305 w 548"/>
                <a:gd name="T19" fmla="*/ 108 h 464"/>
                <a:gd name="T20" fmla="*/ 316 w 548"/>
                <a:gd name="T21" fmla="*/ 88 h 464"/>
                <a:gd name="T22" fmla="*/ 304 w 548"/>
                <a:gd name="T23" fmla="*/ 70 h 464"/>
                <a:gd name="T24" fmla="*/ 316 w 548"/>
                <a:gd name="T25" fmla="*/ 60 h 464"/>
                <a:gd name="T26" fmla="*/ 334 w 548"/>
                <a:gd name="T27" fmla="*/ 72 h 464"/>
                <a:gd name="T28" fmla="*/ 344 w 548"/>
                <a:gd name="T29" fmla="*/ 94 h 464"/>
                <a:gd name="T30" fmla="*/ 355 w 548"/>
                <a:gd name="T31" fmla="*/ 106 h 464"/>
                <a:gd name="T32" fmla="*/ 361 w 548"/>
                <a:gd name="T33" fmla="*/ 107 h 464"/>
                <a:gd name="T34" fmla="*/ 364 w 548"/>
                <a:gd name="T35" fmla="*/ 126 h 464"/>
                <a:gd name="T36" fmla="*/ 387 w 548"/>
                <a:gd name="T37" fmla="*/ 141 h 464"/>
                <a:gd name="T38" fmla="*/ 389 w 548"/>
                <a:gd name="T39" fmla="*/ 181 h 464"/>
                <a:gd name="T40" fmla="*/ 394 w 548"/>
                <a:gd name="T41" fmla="*/ 205 h 464"/>
                <a:gd name="T42" fmla="*/ 407 w 548"/>
                <a:gd name="T43" fmla="*/ 209 h 464"/>
                <a:gd name="T44" fmla="*/ 395 w 548"/>
                <a:gd name="T45" fmla="*/ 227 h 464"/>
                <a:gd name="T46" fmla="*/ 383 w 548"/>
                <a:gd name="T47" fmla="*/ 245 h 464"/>
                <a:gd name="T48" fmla="*/ 396 w 548"/>
                <a:gd name="T49" fmla="*/ 250 h 464"/>
                <a:gd name="T50" fmla="*/ 417 w 548"/>
                <a:gd name="T51" fmla="*/ 254 h 464"/>
                <a:gd name="T52" fmla="*/ 423 w 548"/>
                <a:gd name="T53" fmla="*/ 270 h 464"/>
                <a:gd name="T54" fmla="*/ 451 w 548"/>
                <a:gd name="T55" fmla="*/ 280 h 464"/>
                <a:gd name="T56" fmla="*/ 459 w 548"/>
                <a:gd name="T57" fmla="*/ 294 h 464"/>
                <a:gd name="T58" fmla="*/ 481 w 548"/>
                <a:gd name="T59" fmla="*/ 304 h 464"/>
                <a:gd name="T60" fmla="*/ 508 w 548"/>
                <a:gd name="T61" fmla="*/ 304 h 464"/>
                <a:gd name="T62" fmla="*/ 517 w 548"/>
                <a:gd name="T63" fmla="*/ 317 h 464"/>
                <a:gd name="T64" fmla="*/ 541 w 548"/>
                <a:gd name="T65" fmla="*/ 337 h 464"/>
                <a:gd name="T66" fmla="*/ 536 w 548"/>
                <a:gd name="T67" fmla="*/ 357 h 464"/>
                <a:gd name="T68" fmla="*/ 517 w 548"/>
                <a:gd name="T69" fmla="*/ 367 h 464"/>
                <a:gd name="T70" fmla="*/ 499 w 548"/>
                <a:gd name="T71" fmla="*/ 360 h 464"/>
                <a:gd name="T72" fmla="*/ 475 w 548"/>
                <a:gd name="T73" fmla="*/ 367 h 464"/>
                <a:gd name="T74" fmla="*/ 455 w 548"/>
                <a:gd name="T75" fmla="*/ 365 h 464"/>
                <a:gd name="T76" fmla="*/ 423 w 548"/>
                <a:gd name="T77" fmla="*/ 347 h 464"/>
                <a:gd name="T78" fmla="*/ 398 w 548"/>
                <a:gd name="T79" fmla="*/ 357 h 464"/>
                <a:gd name="T80" fmla="*/ 379 w 548"/>
                <a:gd name="T81" fmla="*/ 383 h 464"/>
                <a:gd name="T82" fmla="*/ 351 w 548"/>
                <a:gd name="T83" fmla="*/ 429 h 464"/>
                <a:gd name="T84" fmla="*/ 340 w 548"/>
                <a:gd name="T85" fmla="*/ 460 h 464"/>
                <a:gd name="T86" fmla="*/ 331 w 548"/>
                <a:gd name="T87" fmla="*/ 461 h 464"/>
                <a:gd name="T88" fmla="*/ 325 w 548"/>
                <a:gd name="T89" fmla="*/ 426 h 464"/>
                <a:gd name="T90" fmla="*/ 311 w 548"/>
                <a:gd name="T91" fmla="*/ 421 h 464"/>
                <a:gd name="T92" fmla="*/ 275 w 548"/>
                <a:gd name="T93" fmla="*/ 417 h 464"/>
                <a:gd name="T94" fmla="*/ 257 w 548"/>
                <a:gd name="T95" fmla="*/ 413 h 464"/>
                <a:gd name="T96" fmla="*/ 251 w 548"/>
                <a:gd name="T97" fmla="*/ 398 h 464"/>
                <a:gd name="T98" fmla="*/ 231 w 548"/>
                <a:gd name="T99" fmla="*/ 391 h 464"/>
                <a:gd name="T100" fmla="*/ 205 w 548"/>
                <a:gd name="T101" fmla="*/ 382 h 464"/>
                <a:gd name="T102" fmla="*/ 182 w 548"/>
                <a:gd name="T103" fmla="*/ 389 h 464"/>
                <a:gd name="T104" fmla="*/ 162 w 548"/>
                <a:gd name="T105" fmla="*/ 417 h 464"/>
                <a:gd name="T106" fmla="*/ 148 w 548"/>
                <a:gd name="T107" fmla="*/ 415 h 464"/>
                <a:gd name="T108" fmla="*/ 121 w 548"/>
                <a:gd name="T109" fmla="*/ 414 h 464"/>
                <a:gd name="T110" fmla="*/ 73 w 548"/>
                <a:gd name="T111" fmla="*/ 410 h 464"/>
                <a:gd name="T112" fmla="*/ 35 w 548"/>
                <a:gd name="T113" fmla="*/ 387 h 464"/>
                <a:gd name="T114" fmla="*/ 27 w 548"/>
                <a:gd name="T115" fmla="*/ 376 h 464"/>
                <a:gd name="T116" fmla="*/ 15 w 548"/>
                <a:gd name="T117" fmla="*/ 369 h 464"/>
                <a:gd name="T118" fmla="*/ 2 w 548"/>
                <a:gd name="T119" fmla="*/ 36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8" h="464">
                  <a:moveTo>
                    <a:pt x="209" y="0"/>
                  </a:moveTo>
                  <a:lnTo>
                    <a:pt x="209" y="0"/>
                  </a:lnTo>
                  <a:lnTo>
                    <a:pt x="210" y="0"/>
                  </a:lnTo>
                  <a:lnTo>
                    <a:pt x="211" y="1"/>
                  </a:lnTo>
                  <a:lnTo>
                    <a:pt x="214" y="1"/>
                  </a:lnTo>
                  <a:lnTo>
                    <a:pt x="215" y="2"/>
                  </a:lnTo>
                  <a:lnTo>
                    <a:pt x="217" y="2"/>
                  </a:lnTo>
                  <a:lnTo>
                    <a:pt x="220" y="2"/>
                  </a:lnTo>
                  <a:lnTo>
                    <a:pt x="222" y="2"/>
                  </a:lnTo>
                  <a:lnTo>
                    <a:pt x="223" y="2"/>
                  </a:lnTo>
                  <a:lnTo>
                    <a:pt x="225" y="2"/>
                  </a:lnTo>
                  <a:lnTo>
                    <a:pt x="228" y="1"/>
                  </a:lnTo>
                  <a:lnTo>
                    <a:pt x="228" y="1"/>
                  </a:lnTo>
                  <a:lnTo>
                    <a:pt x="229" y="1"/>
                  </a:lnTo>
                  <a:lnTo>
                    <a:pt x="230" y="1"/>
                  </a:lnTo>
                  <a:lnTo>
                    <a:pt x="231" y="1"/>
                  </a:lnTo>
                  <a:lnTo>
                    <a:pt x="232" y="1"/>
                  </a:lnTo>
                  <a:lnTo>
                    <a:pt x="235" y="2"/>
                  </a:lnTo>
                  <a:lnTo>
                    <a:pt x="235" y="2"/>
                  </a:lnTo>
                  <a:lnTo>
                    <a:pt x="236" y="2"/>
                  </a:lnTo>
                  <a:lnTo>
                    <a:pt x="237" y="2"/>
                  </a:lnTo>
                  <a:lnTo>
                    <a:pt x="238" y="2"/>
                  </a:lnTo>
                  <a:lnTo>
                    <a:pt x="240" y="2"/>
                  </a:lnTo>
                  <a:lnTo>
                    <a:pt x="242" y="1"/>
                  </a:lnTo>
                  <a:lnTo>
                    <a:pt x="243" y="1"/>
                  </a:lnTo>
                  <a:lnTo>
                    <a:pt x="244" y="1"/>
                  </a:lnTo>
                  <a:lnTo>
                    <a:pt x="245" y="2"/>
                  </a:lnTo>
                  <a:lnTo>
                    <a:pt x="248" y="2"/>
                  </a:lnTo>
                  <a:lnTo>
                    <a:pt x="249" y="2"/>
                  </a:lnTo>
                  <a:lnTo>
                    <a:pt x="250" y="2"/>
                  </a:lnTo>
                  <a:lnTo>
                    <a:pt x="252" y="3"/>
                  </a:lnTo>
                  <a:lnTo>
                    <a:pt x="253" y="3"/>
                  </a:lnTo>
                  <a:lnTo>
                    <a:pt x="254" y="4"/>
                  </a:lnTo>
                  <a:lnTo>
                    <a:pt x="256" y="4"/>
                  </a:lnTo>
                  <a:lnTo>
                    <a:pt x="258" y="5"/>
                  </a:lnTo>
                  <a:lnTo>
                    <a:pt x="265" y="9"/>
                  </a:lnTo>
                  <a:lnTo>
                    <a:pt x="267" y="9"/>
                  </a:lnTo>
                  <a:lnTo>
                    <a:pt x="268" y="10"/>
                  </a:lnTo>
                  <a:lnTo>
                    <a:pt x="270" y="11"/>
                  </a:lnTo>
                  <a:lnTo>
                    <a:pt x="272" y="11"/>
                  </a:lnTo>
                  <a:lnTo>
                    <a:pt x="273" y="12"/>
                  </a:lnTo>
                  <a:lnTo>
                    <a:pt x="275" y="12"/>
                  </a:lnTo>
                  <a:lnTo>
                    <a:pt x="277" y="13"/>
                  </a:lnTo>
                  <a:lnTo>
                    <a:pt x="278" y="13"/>
                  </a:lnTo>
                  <a:lnTo>
                    <a:pt x="279" y="13"/>
                  </a:lnTo>
                  <a:lnTo>
                    <a:pt x="281" y="13"/>
                  </a:lnTo>
                  <a:lnTo>
                    <a:pt x="282" y="13"/>
                  </a:lnTo>
                  <a:lnTo>
                    <a:pt x="282" y="13"/>
                  </a:lnTo>
                  <a:lnTo>
                    <a:pt x="283" y="13"/>
                  </a:lnTo>
                  <a:lnTo>
                    <a:pt x="282" y="13"/>
                  </a:lnTo>
                  <a:lnTo>
                    <a:pt x="282" y="14"/>
                  </a:lnTo>
                  <a:lnTo>
                    <a:pt x="282" y="15"/>
                  </a:lnTo>
                  <a:lnTo>
                    <a:pt x="281" y="16"/>
                  </a:lnTo>
                  <a:lnTo>
                    <a:pt x="281" y="17"/>
                  </a:lnTo>
                  <a:lnTo>
                    <a:pt x="280" y="20"/>
                  </a:lnTo>
                  <a:lnTo>
                    <a:pt x="280" y="20"/>
                  </a:lnTo>
                  <a:lnTo>
                    <a:pt x="280" y="21"/>
                  </a:lnTo>
                  <a:lnTo>
                    <a:pt x="280" y="21"/>
                  </a:lnTo>
                  <a:lnTo>
                    <a:pt x="279" y="22"/>
                  </a:lnTo>
                  <a:lnTo>
                    <a:pt x="279" y="22"/>
                  </a:lnTo>
                  <a:lnTo>
                    <a:pt x="278" y="22"/>
                  </a:lnTo>
                  <a:lnTo>
                    <a:pt x="278" y="23"/>
                  </a:lnTo>
                  <a:lnTo>
                    <a:pt x="278" y="23"/>
                  </a:lnTo>
                  <a:lnTo>
                    <a:pt x="277" y="23"/>
                  </a:lnTo>
                  <a:lnTo>
                    <a:pt x="276" y="23"/>
                  </a:lnTo>
                  <a:lnTo>
                    <a:pt x="275" y="23"/>
                  </a:lnTo>
                  <a:lnTo>
                    <a:pt x="271" y="22"/>
                  </a:lnTo>
                  <a:lnTo>
                    <a:pt x="268" y="21"/>
                  </a:lnTo>
                  <a:lnTo>
                    <a:pt x="268" y="21"/>
                  </a:lnTo>
                  <a:lnTo>
                    <a:pt x="267" y="21"/>
                  </a:lnTo>
                  <a:lnTo>
                    <a:pt x="267" y="22"/>
                  </a:lnTo>
                  <a:lnTo>
                    <a:pt x="266" y="22"/>
                  </a:lnTo>
                  <a:lnTo>
                    <a:pt x="266" y="22"/>
                  </a:lnTo>
                  <a:lnTo>
                    <a:pt x="266" y="23"/>
                  </a:lnTo>
                  <a:lnTo>
                    <a:pt x="266" y="24"/>
                  </a:lnTo>
                  <a:lnTo>
                    <a:pt x="265" y="25"/>
                  </a:lnTo>
                  <a:lnTo>
                    <a:pt x="265" y="26"/>
                  </a:lnTo>
                  <a:lnTo>
                    <a:pt x="265" y="27"/>
                  </a:lnTo>
                  <a:lnTo>
                    <a:pt x="266" y="30"/>
                  </a:lnTo>
                  <a:lnTo>
                    <a:pt x="266" y="31"/>
                  </a:lnTo>
                  <a:lnTo>
                    <a:pt x="266" y="32"/>
                  </a:lnTo>
                  <a:lnTo>
                    <a:pt x="266" y="34"/>
                  </a:lnTo>
                  <a:lnTo>
                    <a:pt x="266" y="35"/>
                  </a:lnTo>
                  <a:lnTo>
                    <a:pt x="266" y="36"/>
                  </a:lnTo>
                  <a:lnTo>
                    <a:pt x="266" y="36"/>
                  </a:lnTo>
                  <a:lnTo>
                    <a:pt x="266" y="37"/>
                  </a:lnTo>
                  <a:lnTo>
                    <a:pt x="266" y="37"/>
                  </a:lnTo>
                  <a:lnTo>
                    <a:pt x="267" y="37"/>
                  </a:lnTo>
                  <a:lnTo>
                    <a:pt x="267" y="38"/>
                  </a:lnTo>
                  <a:lnTo>
                    <a:pt x="268" y="38"/>
                  </a:lnTo>
                  <a:lnTo>
                    <a:pt x="268" y="38"/>
                  </a:lnTo>
                  <a:lnTo>
                    <a:pt x="271" y="39"/>
                  </a:lnTo>
                  <a:lnTo>
                    <a:pt x="274" y="40"/>
                  </a:lnTo>
                  <a:lnTo>
                    <a:pt x="278" y="41"/>
                  </a:lnTo>
                  <a:lnTo>
                    <a:pt x="280" y="42"/>
                  </a:lnTo>
                  <a:lnTo>
                    <a:pt x="282" y="42"/>
                  </a:lnTo>
                  <a:lnTo>
                    <a:pt x="283" y="42"/>
                  </a:lnTo>
                  <a:lnTo>
                    <a:pt x="285" y="42"/>
                  </a:lnTo>
                  <a:lnTo>
                    <a:pt x="287" y="43"/>
                  </a:lnTo>
                  <a:lnTo>
                    <a:pt x="288" y="43"/>
                  </a:lnTo>
                  <a:lnTo>
                    <a:pt x="288" y="43"/>
                  </a:lnTo>
                  <a:lnTo>
                    <a:pt x="289" y="43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8" y="44"/>
                  </a:lnTo>
                  <a:lnTo>
                    <a:pt x="288" y="45"/>
                  </a:lnTo>
                  <a:lnTo>
                    <a:pt x="287" y="45"/>
                  </a:lnTo>
                  <a:lnTo>
                    <a:pt x="287" y="46"/>
                  </a:lnTo>
                  <a:lnTo>
                    <a:pt x="286" y="47"/>
                  </a:lnTo>
                  <a:lnTo>
                    <a:pt x="285" y="47"/>
                  </a:lnTo>
                  <a:lnTo>
                    <a:pt x="285" y="48"/>
                  </a:lnTo>
                  <a:lnTo>
                    <a:pt x="283" y="50"/>
                  </a:lnTo>
                  <a:lnTo>
                    <a:pt x="283" y="51"/>
                  </a:lnTo>
                  <a:lnTo>
                    <a:pt x="281" y="54"/>
                  </a:lnTo>
                  <a:lnTo>
                    <a:pt x="280" y="55"/>
                  </a:lnTo>
                  <a:lnTo>
                    <a:pt x="280" y="56"/>
                  </a:lnTo>
                  <a:lnTo>
                    <a:pt x="280" y="58"/>
                  </a:lnTo>
                  <a:lnTo>
                    <a:pt x="280" y="59"/>
                  </a:lnTo>
                  <a:lnTo>
                    <a:pt x="280" y="61"/>
                  </a:lnTo>
                  <a:lnTo>
                    <a:pt x="280" y="62"/>
                  </a:lnTo>
                  <a:lnTo>
                    <a:pt x="280" y="64"/>
                  </a:lnTo>
                  <a:lnTo>
                    <a:pt x="280" y="65"/>
                  </a:lnTo>
                  <a:lnTo>
                    <a:pt x="281" y="68"/>
                  </a:lnTo>
                  <a:lnTo>
                    <a:pt x="282" y="72"/>
                  </a:lnTo>
                  <a:lnTo>
                    <a:pt x="283" y="75"/>
                  </a:lnTo>
                  <a:lnTo>
                    <a:pt x="283" y="76"/>
                  </a:lnTo>
                  <a:lnTo>
                    <a:pt x="284" y="77"/>
                  </a:lnTo>
                  <a:lnTo>
                    <a:pt x="284" y="78"/>
                  </a:lnTo>
                  <a:lnTo>
                    <a:pt x="285" y="79"/>
                  </a:lnTo>
                  <a:lnTo>
                    <a:pt x="287" y="82"/>
                  </a:lnTo>
                  <a:lnTo>
                    <a:pt x="288" y="83"/>
                  </a:lnTo>
                  <a:lnTo>
                    <a:pt x="288" y="84"/>
                  </a:lnTo>
                  <a:lnTo>
                    <a:pt x="289" y="85"/>
                  </a:lnTo>
                  <a:lnTo>
                    <a:pt x="289" y="86"/>
                  </a:lnTo>
                  <a:lnTo>
                    <a:pt x="290" y="87"/>
                  </a:lnTo>
                  <a:lnTo>
                    <a:pt x="290" y="88"/>
                  </a:lnTo>
                  <a:lnTo>
                    <a:pt x="289" y="88"/>
                  </a:lnTo>
                  <a:lnTo>
                    <a:pt x="289" y="89"/>
                  </a:lnTo>
                  <a:lnTo>
                    <a:pt x="289" y="89"/>
                  </a:lnTo>
                  <a:lnTo>
                    <a:pt x="289" y="90"/>
                  </a:lnTo>
                  <a:lnTo>
                    <a:pt x="288" y="90"/>
                  </a:lnTo>
                  <a:lnTo>
                    <a:pt x="286" y="92"/>
                  </a:lnTo>
                  <a:lnTo>
                    <a:pt x="285" y="93"/>
                  </a:lnTo>
                  <a:lnTo>
                    <a:pt x="285" y="93"/>
                  </a:lnTo>
                  <a:lnTo>
                    <a:pt x="285" y="94"/>
                  </a:lnTo>
                  <a:lnTo>
                    <a:pt x="285" y="94"/>
                  </a:lnTo>
                  <a:lnTo>
                    <a:pt x="284" y="95"/>
                  </a:lnTo>
                  <a:lnTo>
                    <a:pt x="284" y="96"/>
                  </a:lnTo>
                  <a:lnTo>
                    <a:pt x="284" y="96"/>
                  </a:lnTo>
                  <a:lnTo>
                    <a:pt x="284" y="97"/>
                  </a:lnTo>
                  <a:lnTo>
                    <a:pt x="284" y="98"/>
                  </a:lnTo>
                  <a:lnTo>
                    <a:pt x="284" y="99"/>
                  </a:lnTo>
                  <a:lnTo>
                    <a:pt x="284" y="99"/>
                  </a:lnTo>
                  <a:lnTo>
                    <a:pt x="285" y="100"/>
                  </a:lnTo>
                  <a:lnTo>
                    <a:pt x="285" y="100"/>
                  </a:lnTo>
                  <a:lnTo>
                    <a:pt x="287" y="102"/>
                  </a:lnTo>
                  <a:lnTo>
                    <a:pt x="287" y="102"/>
                  </a:lnTo>
                  <a:lnTo>
                    <a:pt x="288" y="103"/>
                  </a:lnTo>
                  <a:lnTo>
                    <a:pt x="290" y="104"/>
                  </a:lnTo>
                  <a:lnTo>
                    <a:pt x="293" y="107"/>
                  </a:lnTo>
                  <a:lnTo>
                    <a:pt x="295" y="108"/>
                  </a:lnTo>
                  <a:lnTo>
                    <a:pt x="296" y="109"/>
                  </a:lnTo>
                  <a:lnTo>
                    <a:pt x="298" y="109"/>
                  </a:lnTo>
                  <a:lnTo>
                    <a:pt x="299" y="110"/>
                  </a:lnTo>
                  <a:lnTo>
                    <a:pt x="300" y="110"/>
                  </a:lnTo>
                  <a:lnTo>
                    <a:pt x="301" y="110"/>
                  </a:lnTo>
                  <a:lnTo>
                    <a:pt x="302" y="110"/>
                  </a:lnTo>
                  <a:lnTo>
                    <a:pt x="303" y="109"/>
                  </a:lnTo>
                  <a:lnTo>
                    <a:pt x="304" y="109"/>
                  </a:lnTo>
                  <a:lnTo>
                    <a:pt x="305" y="108"/>
                  </a:lnTo>
                  <a:lnTo>
                    <a:pt x="306" y="107"/>
                  </a:lnTo>
                  <a:lnTo>
                    <a:pt x="307" y="106"/>
                  </a:lnTo>
                  <a:lnTo>
                    <a:pt x="309" y="105"/>
                  </a:lnTo>
                  <a:lnTo>
                    <a:pt x="309" y="104"/>
                  </a:lnTo>
                  <a:lnTo>
                    <a:pt x="310" y="103"/>
                  </a:lnTo>
                  <a:lnTo>
                    <a:pt x="311" y="102"/>
                  </a:lnTo>
                  <a:lnTo>
                    <a:pt x="311" y="100"/>
                  </a:lnTo>
                  <a:lnTo>
                    <a:pt x="312" y="97"/>
                  </a:lnTo>
                  <a:lnTo>
                    <a:pt x="313" y="95"/>
                  </a:lnTo>
                  <a:lnTo>
                    <a:pt x="314" y="94"/>
                  </a:lnTo>
                  <a:lnTo>
                    <a:pt x="315" y="92"/>
                  </a:lnTo>
                  <a:lnTo>
                    <a:pt x="316" y="91"/>
                  </a:lnTo>
                  <a:lnTo>
                    <a:pt x="316" y="91"/>
                  </a:lnTo>
                  <a:lnTo>
                    <a:pt x="316" y="90"/>
                  </a:lnTo>
                  <a:lnTo>
                    <a:pt x="316" y="90"/>
                  </a:lnTo>
                  <a:lnTo>
                    <a:pt x="316" y="89"/>
                  </a:lnTo>
                  <a:lnTo>
                    <a:pt x="316" y="88"/>
                  </a:lnTo>
                  <a:lnTo>
                    <a:pt x="316" y="88"/>
                  </a:lnTo>
                  <a:lnTo>
                    <a:pt x="316" y="87"/>
                  </a:lnTo>
                  <a:lnTo>
                    <a:pt x="315" y="86"/>
                  </a:lnTo>
                  <a:lnTo>
                    <a:pt x="315" y="85"/>
                  </a:lnTo>
                  <a:lnTo>
                    <a:pt x="314" y="83"/>
                  </a:lnTo>
                  <a:lnTo>
                    <a:pt x="313" y="82"/>
                  </a:lnTo>
                  <a:lnTo>
                    <a:pt x="313" y="81"/>
                  </a:lnTo>
                  <a:lnTo>
                    <a:pt x="312" y="80"/>
                  </a:lnTo>
                  <a:lnTo>
                    <a:pt x="312" y="79"/>
                  </a:lnTo>
                  <a:lnTo>
                    <a:pt x="312" y="78"/>
                  </a:lnTo>
                  <a:lnTo>
                    <a:pt x="311" y="77"/>
                  </a:lnTo>
                  <a:lnTo>
                    <a:pt x="311" y="77"/>
                  </a:lnTo>
                  <a:lnTo>
                    <a:pt x="306" y="72"/>
                  </a:lnTo>
                  <a:lnTo>
                    <a:pt x="305" y="72"/>
                  </a:lnTo>
                  <a:lnTo>
                    <a:pt x="305" y="71"/>
                  </a:lnTo>
                  <a:lnTo>
                    <a:pt x="305" y="71"/>
                  </a:lnTo>
                  <a:lnTo>
                    <a:pt x="304" y="70"/>
                  </a:lnTo>
                  <a:lnTo>
                    <a:pt x="304" y="69"/>
                  </a:lnTo>
                  <a:lnTo>
                    <a:pt x="303" y="69"/>
                  </a:lnTo>
                  <a:lnTo>
                    <a:pt x="303" y="68"/>
                  </a:lnTo>
                  <a:lnTo>
                    <a:pt x="303" y="68"/>
                  </a:lnTo>
                  <a:lnTo>
                    <a:pt x="303" y="68"/>
                  </a:lnTo>
                  <a:lnTo>
                    <a:pt x="303" y="67"/>
                  </a:lnTo>
                  <a:lnTo>
                    <a:pt x="303" y="67"/>
                  </a:lnTo>
                  <a:lnTo>
                    <a:pt x="304" y="67"/>
                  </a:lnTo>
                  <a:lnTo>
                    <a:pt x="305" y="65"/>
                  </a:lnTo>
                  <a:lnTo>
                    <a:pt x="307" y="64"/>
                  </a:lnTo>
                  <a:lnTo>
                    <a:pt x="308" y="63"/>
                  </a:lnTo>
                  <a:lnTo>
                    <a:pt x="309" y="62"/>
                  </a:lnTo>
                  <a:lnTo>
                    <a:pt x="311" y="61"/>
                  </a:lnTo>
                  <a:lnTo>
                    <a:pt x="312" y="60"/>
                  </a:lnTo>
                  <a:lnTo>
                    <a:pt x="314" y="60"/>
                  </a:lnTo>
                  <a:lnTo>
                    <a:pt x="315" y="60"/>
                  </a:lnTo>
                  <a:lnTo>
                    <a:pt x="316" y="60"/>
                  </a:lnTo>
                  <a:lnTo>
                    <a:pt x="317" y="60"/>
                  </a:lnTo>
                  <a:lnTo>
                    <a:pt x="318" y="60"/>
                  </a:lnTo>
                  <a:lnTo>
                    <a:pt x="320" y="60"/>
                  </a:lnTo>
                  <a:lnTo>
                    <a:pt x="322" y="61"/>
                  </a:lnTo>
                  <a:lnTo>
                    <a:pt x="324" y="61"/>
                  </a:lnTo>
                  <a:lnTo>
                    <a:pt x="325" y="61"/>
                  </a:lnTo>
                  <a:lnTo>
                    <a:pt x="326" y="62"/>
                  </a:lnTo>
                  <a:lnTo>
                    <a:pt x="326" y="62"/>
                  </a:lnTo>
                  <a:lnTo>
                    <a:pt x="327" y="63"/>
                  </a:lnTo>
                  <a:lnTo>
                    <a:pt x="328" y="64"/>
                  </a:lnTo>
                  <a:lnTo>
                    <a:pt x="329" y="65"/>
                  </a:lnTo>
                  <a:lnTo>
                    <a:pt x="329" y="66"/>
                  </a:lnTo>
                  <a:lnTo>
                    <a:pt x="330" y="67"/>
                  </a:lnTo>
                  <a:lnTo>
                    <a:pt x="331" y="69"/>
                  </a:lnTo>
                  <a:lnTo>
                    <a:pt x="331" y="70"/>
                  </a:lnTo>
                  <a:lnTo>
                    <a:pt x="332" y="71"/>
                  </a:lnTo>
                  <a:lnTo>
                    <a:pt x="334" y="72"/>
                  </a:lnTo>
                  <a:lnTo>
                    <a:pt x="334" y="73"/>
                  </a:lnTo>
                  <a:lnTo>
                    <a:pt x="335" y="74"/>
                  </a:lnTo>
                  <a:lnTo>
                    <a:pt x="336" y="75"/>
                  </a:lnTo>
                  <a:lnTo>
                    <a:pt x="336" y="76"/>
                  </a:lnTo>
                  <a:lnTo>
                    <a:pt x="336" y="77"/>
                  </a:lnTo>
                  <a:lnTo>
                    <a:pt x="337" y="78"/>
                  </a:lnTo>
                  <a:lnTo>
                    <a:pt x="338" y="79"/>
                  </a:lnTo>
                  <a:lnTo>
                    <a:pt x="338" y="80"/>
                  </a:lnTo>
                  <a:lnTo>
                    <a:pt x="339" y="81"/>
                  </a:lnTo>
                  <a:lnTo>
                    <a:pt x="340" y="83"/>
                  </a:lnTo>
                  <a:lnTo>
                    <a:pt x="341" y="87"/>
                  </a:lnTo>
                  <a:lnTo>
                    <a:pt x="341" y="90"/>
                  </a:lnTo>
                  <a:lnTo>
                    <a:pt x="342" y="90"/>
                  </a:lnTo>
                  <a:lnTo>
                    <a:pt x="342" y="91"/>
                  </a:lnTo>
                  <a:lnTo>
                    <a:pt x="343" y="92"/>
                  </a:lnTo>
                  <a:lnTo>
                    <a:pt x="343" y="93"/>
                  </a:lnTo>
                  <a:lnTo>
                    <a:pt x="344" y="94"/>
                  </a:lnTo>
                  <a:lnTo>
                    <a:pt x="346" y="95"/>
                  </a:lnTo>
                  <a:lnTo>
                    <a:pt x="346" y="95"/>
                  </a:lnTo>
                  <a:lnTo>
                    <a:pt x="347" y="96"/>
                  </a:lnTo>
                  <a:lnTo>
                    <a:pt x="347" y="97"/>
                  </a:lnTo>
                  <a:lnTo>
                    <a:pt x="347" y="97"/>
                  </a:lnTo>
                  <a:lnTo>
                    <a:pt x="349" y="100"/>
                  </a:lnTo>
                  <a:lnTo>
                    <a:pt x="349" y="101"/>
                  </a:lnTo>
                  <a:lnTo>
                    <a:pt x="350" y="101"/>
                  </a:lnTo>
                  <a:lnTo>
                    <a:pt x="350" y="102"/>
                  </a:lnTo>
                  <a:lnTo>
                    <a:pt x="351" y="104"/>
                  </a:lnTo>
                  <a:lnTo>
                    <a:pt x="352" y="104"/>
                  </a:lnTo>
                  <a:lnTo>
                    <a:pt x="353" y="105"/>
                  </a:lnTo>
                  <a:lnTo>
                    <a:pt x="353" y="105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5" y="106"/>
                  </a:lnTo>
                  <a:lnTo>
                    <a:pt x="355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7" y="106"/>
                  </a:lnTo>
                  <a:lnTo>
                    <a:pt x="357" y="105"/>
                  </a:lnTo>
                  <a:lnTo>
                    <a:pt x="358" y="104"/>
                  </a:lnTo>
                  <a:lnTo>
                    <a:pt x="358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60" y="103"/>
                  </a:lnTo>
                  <a:lnTo>
                    <a:pt x="360" y="103"/>
                  </a:lnTo>
                  <a:lnTo>
                    <a:pt x="360" y="104"/>
                  </a:lnTo>
                  <a:lnTo>
                    <a:pt x="360" y="104"/>
                  </a:lnTo>
                  <a:lnTo>
                    <a:pt x="360" y="105"/>
                  </a:lnTo>
                  <a:lnTo>
                    <a:pt x="361" y="107"/>
                  </a:lnTo>
                  <a:lnTo>
                    <a:pt x="360" y="108"/>
                  </a:lnTo>
                  <a:lnTo>
                    <a:pt x="360" y="110"/>
                  </a:lnTo>
                  <a:lnTo>
                    <a:pt x="360" y="111"/>
                  </a:lnTo>
                  <a:lnTo>
                    <a:pt x="360" y="113"/>
                  </a:lnTo>
                  <a:lnTo>
                    <a:pt x="359" y="116"/>
                  </a:lnTo>
                  <a:lnTo>
                    <a:pt x="359" y="119"/>
                  </a:lnTo>
                  <a:lnTo>
                    <a:pt x="358" y="121"/>
                  </a:lnTo>
                  <a:lnTo>
                    <a:pt x="358" y="121"/>
                  </a:lnTo>
                  <a:lnTo>
                    <a:pt x="358" y="122"/>
                  </a:lnTo>
                  <a:lnTo>
                    <a:pt x="358" y="122"/>
                  </a:lnTo>
                  <a:lnTo>
                    <a:pt x="359" y="123"/>
                  </a:lnTo>
                  <a:lnTo>
                    <a:pt x="359" y="123"/>
                  </a:lnTo>
                  <a:lnTo>
                    <a:pt x="359" y="123"/>
                  </a:lnTo>
                  <a:lnTo>
                    <a:pt x="360" y="124"/>
                  </a:lnTo>
                  <a:lnTo>
                    <a:pt x="360" y="124"/>
                  </a:lnTo>
                  <a:lnTo>
                    <a:pt x="361" y="125"/>
                  </a:lnTo>
                  <a:lnTo>
                    <a:pt x="364" y="126"/>
                  </a:lnTo>
                  <a:lnTo>
                    <a:pt x="365" y="127"/>
                  </a:lnTo>
                  <a:lnTo>
                    <a:pt x="367" y="128"/>
                  </a:lnTo>
                  <a:lnTo>
                    <a:pt x="369" y="128"/>
                  </a:lnTo>
                  <a:lnTo>
                    <a:pt x="371" y="129"/>
                  </a:lnTo>
                  <a:lnTo>
                    <a:pt x="374" y="130"/>
                  </a:lnTo>
                  <a:lnTo>
                    <a:pt x="375" y="131"/>
                  </a:lnTo>
                  <a:lnTo>
                    <a:pt x="377" y="131"/>
                  </a:lnTo>
                  <a:lnTo>
                    <a:pt x="379" y="132"/>
                  </a:lnTo>
                  <a:lnTo>
                    <a:pt x="380" y="133"/>
                  </a:lnTo>
                  <a:lnTo>
                    <a:pt x="381" y="134"/>
                  </a:lnTo>
                  <a:lnTo>
                    <a:pt x="384" y="136"/>
                  </a:lnTo>
                  <a:lnTo>
                    <a:pt x="385" y="137"/>
                  </a:lnTo>
                  <a:lnTo>
                    <a:pt x="386" y="138"/>
                  </a:lnTo>
                  <a:lnTo>
                    <a:pt x="386" y="138"/>
                  </a:lnTo>
                  <a:lnTo>
                    <a:pt x="387" y="139"/>
                  </a:lnTo>
                  <a:lnTo>
                    <a:pt x="387" y="140"/>
                  </a:lnTo>
                  <a:lnTo>
                    <a:pt x="387" y="141"/>
                  </a:lnTo>
                  <a:lnTo>
                    <a:pt x="389" y="146"/>
                  </a:lnTo>
                  <a:lnTo>
                    <a:pt x="390" y="149"/>
                  </a:lnTo>
                  <a:lnTo>
                    <a:pt x="390" y="150"/>
                  </a:lnTo>
                  <a:lnTo>
                    <a:pt x="392" y="153"/>
                  </a:lnTo>
                  <a:lnTo>
                    <a:pt x="394" y="158"/>
                  </a:lnTo>
                  <a:lnTo>
                    <a:pt x="394" y="160"/>
                  </a:lnTo>
                  <a:lnTo>
                    <a:pt x="390" y="166"/>
                  </a:lnTo>
                  <a:lnTo>
                    <a:pt x="389" y="168"/>
                  </a:lnTo>
                  <a:lnTo>
                    <a:pt x="389" y="170"/>
                  </a:lnTo>
                  <a:lnTo>
                    <a:pt x="389" y="171"/>
                  </a:lnTo>
                  <a:lnTo>
                    <a:pt x="388" y="172"/>
                  </a:lnTo>
                  <a:lnTo>
                    <a:pt x="388" y="173"/>
                  </a:lnTo>
                  <a:lnTo>
                    <a:pt x="388" y="174"/>
                  </a:lnTo>
                  <a:lnTo>
                    <a:pt x="388" y="175"/>
                  </a:lnTo>
                  <a:lnTo>
                    <a:pt x="388" y="176"/>
                  </a:lnTo>
                  <a:lnTo>
                    <a:pt x="389" y="179"/>
                  </a:lnTo>
                  <a:lnTo>
                    <a:pt x="389" y="181"/>
                  </a:lnTo>
                  <a:lnTo>
                    <a:pt x="389" y="182"/>
                  </a:lnTo>
                  <a:lnTo>
                    <a:pt x="389" y="186"/>
                  </a:lnTo>
                  <a:lnTo>
                    <a:pt x="389" y="187"/>
                  </a:lnTo>
                  <a:lnTo>
                    <a:pt x="390" y="188"/>
                  </a:lnTo>
                  <a:lnTo>
                    <a:pt x="390" y="189"/>
                  </a:lnTo>
                  <a:lnTo>
                    <a:pt x="391" y="191"/>
                  </a:lnTo>
                  <a:lnTo>
                    <a:pt x="393" y="195"/>
                  </a:lnTo>
                  <a:lnTo>
                    <a:pt x="394" y="198"/>
                  </a:lnTo>
                  <a:lnTo>
                    <a:pt x="394" y="199"/>
                  </a:lnTo>
                  <a:lnTo>
                    <a:pt x="394" y="199"/>
                  </a:lnTo>
                  <a:lnTo>
                    <a:pt x="394" y="200"/>
                  </a:lnTo>
                  <a:lnTo>
                    <a:pt x="394" y="201"/>
                  </a:lnTo>
                  <a:lnTo>
                    <a:pt x="394" y="202"/>
                  </a:lnTo>
                  <a:lnTo>
                    <a:pt x="394" y="203"/>
                  </a:lnTo>
                  <a:lnTo>
                    <a:pt x="394" y="204"/>
                  </a:lnTo>
                  <a:lnTo>
                    <a:pt x="394" y="204"/>
                  </a:lnTo>
                  <a:lnTo>
                    <a:pt x="394" y="205"/>
                  </a:lnTo>
                  <a:lnTo>
                    <a:pt x="395" y="205"/>
                  </a:lnTo>
                  <a:lnTo>
                    <a:pt x="395" y="205"/>
                  </a:lnTo>
                  <a:lnTo>
                    <a:pt x="396" y="205"/>
                  </a:lnTo>
                  <a:lnTo>
                    <a:pt x="397" y="205"/>
                  </a:lnTo>
                  <a:lnTo>
                    <a:pt x="399" y="205"/>
                  </a:lnTo>
                  <a:lnTo>
                    <a:pt x="401" y="205"/>
                  </a:lnTo>
                  <a:lnTo>
                    <a:pt x="402" y="205"/>
                  </a:lnTo>
                  <a:lnTo>
                    <a:pt x="403" y="205"/>
                  </a:lnTo>
                  <a:lnTo>
                    <a:pt x="404" y="205"/>
                  </a:lnTo>
                  <a:lnTo>
                    <a:pt x="405" y="205"/>
                  </a:lnTo>
                  <a:lnTo>
                    <a:pt x="405" y="205"/>
                  </a:lnTo>
                  <a:lnTo>
                    <a:pt x="406" y="206"/>
                  </a:lnTo>
                  <a:lnTo>
                    <a:pt x="406" y="206"/>
                  </a:lnTo>
                  <a:lnTo>
                    <a:pt x="406" y="207"/>
                  </a:lnTo>
                  <a:lnTo>
                    <a:pt x="407" y="207"/>
                  </a:lnTo>
                  <a:lnTo>
                    <a:pt x="407" y="208"/>
                  </a:lnTo>
                  <a:lnTo>
                    <a:pt x="407" y="209"/>
                  </a:lnTo>
                  <a:lnTo>
                    <a:pt x="407" y="210"/>
                  </a:lnTo>
                  <a:lnTo>
                    <a:pt x="407" y="211"/>
                  </a:lnTo>
                  <a:lnTo>
                    <a:pt x="407" y="212"/>
                  </a:lnTo>
                  <a:lnTo>
                    <a:pt x="406" y="213"/>
                  </a:lnTo>
                  <a:lnTo>
                    <a:pt x="406" y="214"/>
                  </a:lnTo>
                  <a:lnTo>
                    <a:pt x="405" y="216"/>
                  </a:lnTo>
                  <a:lnTo>
                    <a:pt x="405" y="217"/>
                  </a:lnTo>
                  <a:lnTo>
                    <a:pt x="404" y="218"/>
                  </a:lnTo>
                  <a:lnTo>
                    <a:pt x="404" y="219"/>
                  </a:lnTo>
                  <a:lnTo>
                    <a:pt x="403" y="220"/>
                  </a:lnTo>
                  <a:lnTo>
                    <a:pt x="403" y="221"/>
                  </a:lnTo>
                  <a:lnTo>
                    <a:pt x="403" y="221"/>
                  </a:lnTo>
                  <a:lnTo>
                    <a:pt x="401" y="222"/>
                  </a:lnTo>
                  <a:lnTo>
                    <a:pt x="399" y="224"/>
                  </a:lnTo>
                  <a:lnTo>
                    <a:pt x="397" y="226"/>
                  </a:lnTo>
                  <a:lnTo>
                    <a:pt x="396" y="226"/>
                  </a:lnTo>
                  <a:lnTo>
                    <a:pt x="395" y="227"/>
                  </a:lnTo>
                  <a:lnTo>
                    <a:pt x="394" y="227"/>
                  </a:lnTo>
                  <a:lnTo>
                    <a:pt x="394" y="229"/>
                  </a:lnTo>
                  <a:lnTo>
                    <a:pt x="393" y="230"/>
                  </a:lnTo>
                  <a:lnTo>
                    <a:pt x="392" y="231"/>
                  </a:lnTo>
                  <a:lnTo>
                    <a:pt x="390" y="235"/>
                  </a:lnTo>
                  <a:lnTo>
                    <a:pt x="389" y="236"/>
                  </a:lnTo>
                  <a:lnTo>
                    <a:pt x="389" y="237"/>
                  </a:lnTo>
                  <a:lnTo>
                    <a:pt x="388" y="238"/>
                  </a:lnTo>
                  <a:lnTo>
                    <a:pt x="387" y="239"/>
                  </a:lnTo>
                  <a:lnTo>
                    <a:pt x="387" y="239"/>
                  </a:lnTo>
                  <a:lnTo>
                    <a:pt x="385" y="241"/>
                  </a:lnTo>
                  <a:lnTo>
                    <a:pt x="385" y="241"/>
                  </a:lnTo>
                  <a:lnTo>
                    <a:pt x="384" y="241"/>
                  </a:lnTo>
                  <a:lnTo>
                    <a:pt x="384" y="242"/>
                  </a:lnTo>
                  <a:lnTo>
                    <a:pt x="384" y="243"/>
                  </a:lnTo>
                  <a:lnTo>
                    <a:pt x="383" y="244"/>
                  </a:lnTo>
                  <a:lnTo>
                    <a:pt x="383" y="245"/>
                  </a:lnTo>
                  <a:lnTo>
                    <a:pt x="383" y="246"/>
                  </a:lnTo>
                  <a:lnTo>
                    <a:pt x="383" y="247"/>
                  </a:lnTo>
                  <a:lnTo>
                    <a:pt x="384" y="249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5" y="251"/>
                  </a:lnTo>
                  <a:lnTo>
                    <a:pt x="385" y="251"/>
                  </a:lnTo>
                  <a:lnTo>
                    <a:pt x="386" y="251"/>
                  </a:lnTo>
                  <a:lnTo>
                    <a:pt x="387" y="251"/>
                  </a:lnTo>
                  <a:lnTo>
                    <a:pt x="388" y="252"/>
                  </a:lnTo>
                  <a:lnTo>
                    <a:pt x="389" y="252"/>
                  </a:lnTo>
                  <a:lnTo>
                    <a:pt x="390" y="251"/>
                  </a:lnTo>
                  <a:lnTo>
                    <a:pt x="391" y="251"/>
                  </a:lnTo>
                  <a:lnTo>
                    <a:pt x="392" y="251"/>
                  </a:lnTo>
                  <a:lnTo>
                    <a:pt x="394" y="251"/>
                  </a:lnTo>
                  <a:lnTo>
                    <a:pt x="396" y="250"/>
                  </a:lnTo>
                  <a:lnTo>
                    <a:pt x="403" y="247"/>
                  </a:lnTo>
                  <a:lnTo>
                    <a:pt x="405" y="247"/>
                  </a:lnTo>
                  <a:lnTo>
                    <a:pt x="406" y="246"/>
                  </a:lnTo>
                  <a:lnTo>
                    <a:pt x="407" y="246"/>
                  </a:lnTo>
                  <a:lnTo>
                    <a:pt x="408" y="246"/>
                  </a:lnTo>
                  <a:lnTo>
                    <a:pt x="409" y="246"/>
                  </a:lnTo>
                  <a:lnTo>
                    <a:pt x="410" y="246"/>
                  </a:lnTo>
                  <a:lnTo>
                    <a:pt x="411" y="246"/>
                  </a:lnTo>
                  <a:lnTo>
                    <a:pt x="411" y="246"/>
                  </a:lnTo>
                  <a:lnTo>
                    <a:pt x="412" y="247"/>
                  </a:lnTo>
                  <a:lnTo>
                    <a:pt x="412" y="247"/>
                  </a:lnTo>
                  <a:lnTo>
                    <a:pt x="413" y="248"/>
                  </a:lnTo>
                  <a:lnTo>
                    <a:pt x="413" y="249"/>
                  </a:lnTo>
                  <a:lnTo>
                    <a:pt x="415" y="250"/>
                  </a:lnTo>
                  <a:lnTo>
                    <a:pt x="416" y="252"/>
                  </a:lnTo>
                  <a:lnTo>
                    <a:pt x="416" y="253"/>
                  </a:lnTo>
                  <a:lnTo>
                    <a:pt x="417" y="254"/>
                  </a:lnTo>
                  <a:lnTo>
                    <a:pt x="417" y="256"/>
                  </a:lnTo>
                  <a:lnTo>
                    <a:pt x="417" y="256"/>
                  </a:lnTo>
                  <a:lnTo>
                    <a:pt x="417" y="258"/>
                  </a:lnTo>
                  <a:lnTo>
                    <a:pt x="417" y="259"/>
                  </a:lnTo>
                  <a:lnTo>
                    <a:pt x="417" y="260"/>
                  </a:lnTo>
                  <a:lnTo>
                    <a:pt x="417" y="264"/>
                  </a:lnTo>
                  <a:lnTo>
                    <a:pt x="417" y="265"/>
                  </a:lnTo>
                  <a:lnTo>
                    <a:pt x="417" y="266"/>
                  </a:lnTo>
                  <a:lnTo>
                    <a:pt x="417" y="267"/>
                  </a:lnTo>
                  <a:lnTo>
                    <a:pt x="417" y="267"/>
                  </a:lnTo>
                  <a:lnTo>
                    <a:pt x="418" y="268"/>
                  </a:lnTo>
                  <a:lnTo>
                    <a:pt x="418" y="268"/>
                  </a:lnTo>
                  <a:lnTo>
                    <a:pt x="418" y="268"/>
                  </a:lnTo>
                  <a:lnTo>
                    <a:pt x="419" y="269"/>
                  </a:lnTo>
                  <a:lnTo>
                    <a:pt x="422" y="269"/>
                  </a:lnTo>
                  <a:lnTo>
                    <a:pt x="423" y="270"/>
                  </a:lnTo>
                  <a:lnTo>
                    <a:pt x="423" y="270"/>
                  </a:lnTo>
                  <a:lnTo>
                    <a:pt x="424" y="270"/>
                  </a:lnTo>
                  <a:lnTo>
                    <a:pt x="426" y="271"/>
                  </a:lnTo>
                  <a:lnTo>
                    <a:pt x="428" y="272"/>
                  </a:lnTo>
                  <a:lnTo>
                    <a:pt x="428" y="272"/>
                  </a:lnTo>
                  <a:lnTo>
                    <a:pt x="429" y="273"/>
                  </a:lnTo>
                  <a:lnTo>
                    <a:pt x="430" y="273"/>
                  </a:lnTo>
                  <a:lnTo>
                    <a:pt x="431" y="274"/>
                  </a:lnTo>
                  <a:lnTo>
                    <a:pt x="433" y="276"/>
                  </a:lnTo>
                  <a:lnTo>
                    <a:pt x="433" y="276"/>
                  </a:lnTo>
                  <a:lnTo>
                    <a:pt x="434" y="277"/>
                  </a:lnTo>
                  <a:lnTo>
                    <a:pt x="435" y="277"/>
                  </a:lnTo>
                  <a:lnTo>
                    <a:pt x="435" y="277"/>
                  </a:lnTo>
                  <a:lnTo>
                    <a:pt x="437" y="278"/>
                  </a:lnTo>
                  <a:lnTo>
                    <a:pt x="442" y="278"/>
                  </a:lnTo>
                  <a:lnTo>
                    <a:pt x="445" y="279"/>
                  </a:lnTo>
                  <a:lnTo>
                    <a:pt x="450" y="280"/>
                  </a:lnTo>
                  <a:lnTo>
                    <a:pt x="451" y="280"/>
                  </a:lnTo>
                  <a:lnTo>
                    <a:pt x="452" y="280"/>
                  </a:lnTo>
                  <a:lnTo>
                    <a:pt x="452" y="281"/>
                  </a:lnTo>
                  <a:lnTo>
                    <a:pt x="453" y="281"/>
                  </a:lnTo>
                  <a:lnTo>
                    <a:pt x="455" y="282"/>
                  </a:lnTo>
                  <a:lnTo>
                    <a:pt x="456" y="283"/>
                  </a:lnTo>
                  <a:lnTo>
                    <a:pt x="456" y="284"/>
                  </a:lnTo>
                  <a:lnTo>
                    <a:pt x="457" y="284"/>
                  </a:lnTo>
                  <a:lnTo>
                    <a:pt x="457" y="284"/>
                  </a:lnTo>
                  <a:lnTo>
                    <a:pt x="457" y="285"/>
                  </a:lnTo>
                  <a:lnTo>
                    <a:pt x="457" y="287"/>
                  </a:lnTo>
                  <a:lnTo>
                    <a:pt x="458" y="288"/>
                  </a:lnTo>
                  <a:lnTo>
                    <a:pt x="458" y="291"/>
                  </a:lnTo>
                  <a:lnTo>
                    <a:pt x="458" y="292"/>
                  </a:lnTo>
                  <a:lnTo>
                    <a:pt x="458" y="292"/>
                  </a:lnTo>
                  <a:lnTo>
                    <a:pt x="459" y="293"/>
                  </a:lnTo>
                  <a:lnTo>
                    <a:pt x="459" y="294"/>
                  </a:lnTo>
                  <a:lnTo>
                    <a:pt x="459" y="294"/>
                  </a:lnTo>
                  <a:lnTo>
                    <a:pt x="460" y="294"/>
                  </a:lnTo>
                  <a:lnTo>
                    <a:pt x="460" y="294"/>
                  </a:lnTo>
                  <a:lnTo>
                    <a:pt x="461" y="295"/>
                  </a:lnTo>
                  <a:lnTo>
                    <a:pt x="462" y="295"/>
                  </a:lnTo>
                  <a:lnTo>
                    <a:pt x="464" y="295"/>
                  </a:lnTo>
                  <a:lnTo>
                    <a:pt x="466" y="295"/>
                  </a:lnTo>
                  <a:lnTo>
                    <a:pt x="467" y="296"/>
                  </a:lnTo>
                  <a:lnTo>
                    <a:pt x="468" y="296"/>
                  </a:lnTo>
                  <a:lnTo>
                    <a:pt x="469" y="296"/>
                  </a:lnTo>
                  <a:lnTo>
                    <a:pt x="469" y="297"/>
                  </a:lnTo>
                  <a:lnTo>
                    <a:pt x="470" y="297"/>
                  </a:lnTo>
                  <a:lnTo>
                    <a:pt x="476" y="301"/>
                  </a:lnTo>
                  <a:lnTo>
                    <a:pt x="477" y="302"/>
                  </a:lnTo>
                  <a:lnTo>
                    <a:pt x="478" y="303"/>
                  </a:lnTo>
                  <a:lnTo>
                    <a:pt x="480" y="304"/>
                  </a:lnTo>
                  <a:lnTo>
                    <a:pt x="481" y="304"/>
                  </a:lnTo>
                  <a:lnTo>
                    <a:pt x="481" y="304"/>
                  </a:lnTo>
                  <a:lnTo>
                    <a:pt x="482" y="304"/>
                  </a:lnTo>
                  <a:lnTo>
                    <a:pt x="483" y="305"/>
                  </a:lnTo>
                  <a:lnTo>
                    <a:pt x="484" y="304"/>
                  </a:lnTo>
                  <a:lnTo>
                    <a:pt x="485" y="304"/>
                  </a:lnTo>
                  <a:lnTo>
                    <a:pt x="486" y="304"/>
                  </a:lnTo>
                  <a:lnTo>
                    <a:pt x="490" y="303"/>
                  </a:lnTo>
                  <a:lnTo>
                    <a:pt x="492" y="303"/>
                  </a:lnTo>
                  <a:lnTo>
                    <a:pt x="493" y="303"/>
                  </a:lnTo>
                  <a:lnTo>
                    <a:pt x="496" y="303"/>
                  </a:lnTo>
                  <a:lnTo>
                    <a:pt x="500" y="302"/>
                  </a:lnTo>
                  <a:lnTo>
                    <a:pt x="500" y="302"/>
                  </a:lnTo>
                  <a:lnTo>
                    <a:pt x="501" y="302"/>
                  </a:lnTo>
                  <a:lnTo>
                    <a:pt x="502" y="302"/>
                  </a:lnTo>
                  <a:lnTo>
                    <a:pt x="502" y="302"/>
                  </a:lnTo>
                  <a:lnTo>
                    <a:pt x="503" y="303"/>
                  </a:lnTo>
                  <a:lnTo>
                    <a:pt x="506" y="304"/>
                  </a:lnTo>
                  <a:lnTo>
                    <a:pt x="508" y="304"/>
                  </a:lnTo>
                  <a:lnTo>
                    <a:pt x="509" y="305"/>
                  </a:lnTo>
                  <a:lnTo>
                    <a:pt x="510" y="305"/>
                  </a:lnTo>
                  <a:lnTo>
                    <a:pt x="511" y="306"/>
                  </a:lnTo>
                  <a:lnTo>
                    <a:pt x="513" y="307"/>
                  </a:lnTo>
                  <a:lnTo>
                    <a:pt x="514" y="308"/>
                  </a:lnTo>
                  <a:lnTo>
                    <a:pt x="514" y="308"/>
                  </a:lnTo>
                  <a:lnTo>
                    <a:pt x="514" y="309"/>
                  </a:lnTo>
                  <a:lnTo>
                    <a:pt x="515" y="309"/>
                  </a:lnTo>
                  <a:lnTo>
                    <a:pt x="515" y="310"/>
                  </a:lnTo>
                  <a:lnTo>
                    <a:pt x="515" y="310"/>
                  </a:lnTo>
                  <a:lnTo>
                    <a:pt x="515" y="311"/>
                  </a:lnTo>
                  <a:lnTo>
                    <a:pt x="516" y="312"/>
                  </a:lnTo>
                  <a:lnTo>
                    <a:pt x="516" y="313"/>
                  </a:lnTo>
                  <a:lnTo>
                    <a:pt x="516" y="315"/>
                  </a:lnTo>
                  <a:lnTo>
                    <a:pt x="516" y="316"/>
                  </a:lnTo>
                  <a:lnTo>
                    <a:pt x="516" y="317"/>
                  </a:lnTo>
                  <a:lnTo>
                    <a:pt x="517" y="317"/>
                  </a:lnTo>
                  <a:lnTo>
                    <a:pt x="517" y="318"/>
                  </a:lnTo>
                  <a:lnTo>
                    <a:pt x="517" y="318"/>
                  </a:lnTo>
                  <a:lnTo>
                    <a:pt x="518" y="319"/>
                  </a:lnTo>
                  <a:lnTo>
                    <a:pt x="518" y="319"/>
                  </a:lnTo>
                  <a:lnTo>
                    <a:pt x="519" y="319"/>
                  </a:lnTo>
                  <a:lnTo>
                    <a:pt x="520" y="320"/>
                  </a:lnTo>
                  <a:lnTo>
                    <a:pt x="522" y="321"/>
                  </a:lnTo>
                  <a:lnTo>
                    <a:pt x="523" y="321"/>
                  </a:lnTo>
                  <a:lnTo>
                    <a:pt x="530" y="324"/>
                  </a:lnTo>
                  <a:lnTo>
                    <a:pt x="531" y="325"/>
                  </a:lnTo>
                  <a:lnTo>
                    <a:pt x="532" y="326"/>
                  </a:lnTo>
                  <a:lnTo>
                    <a:pt x="533" y="327"/>
                  </a:lnTo>
                  <a:lnTo>
                    <a:pt x="534" y="328"/>
                  </a:lnTo>
                  <a:lnTo>
                    <a:pt x="536" y="329"/>
                  </a:lnTo>
                  <a:lnTo>
                    <a:pt x="537" y="330"/>
                  </a:lnTo>
                  <a:lnTo>
                    <a:pt x="538" y="332"/>
                  </a:lnTo>
                  <a:lnTo>
                    <a:pt x="541" y="337"/>
                  </a:lnTo>
                  <a:lnTo>
                    <a:pt x="544" y="340"/>
                  </a:lnTo>
                  <a:lnTo>
                    <a:pt x="544" y="341"/>
                  </a:lnTo>
                  <a:lnTo>
                    <a:pt x="545" y="342"/>
                  </a:lnTo>
                  <a:lnTo>
                    <a:pt x="545" y="343"/>
                  </a:lnTo>
                  <a:lnTo>
                    <a:pt x="547" y="346"/>
                  </a:lnTo>
                  <a:lnTo>
                    <a:pt x="547" y="348"/>
                  </a:lnTo>
                  <a:lnTo>
                    <a:pt x="548" y="349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7" y="350"/>
                  </a:lnTo>
                  <a:lnTo>
                    <a:pt x="547" y="350"/>
                  </a:lnTo>
                  <a:lnTo>
                    <a:pt x="546" y="350"/>
                  </a:lnTo>
                  <a:lnTo>
                    <a:pt x="544" y="351"/>
                  </a:lnTo>
                  <a:lnTo>
                    <a:pt x="541" y="354"/>
                  </a:lnTo>
                  <a:lnTo>
                    <a:pt x="536" y="357"/>
                  </a:lnTo>
                  <a:lnTo>
                    <a:pt x="535" y="358"/>
                  </a:lnTo>
                  <a:lnTo>
                    <a:pt x="532" y="361"/>
                  </a:lnTo>
                  <a:lnTo>
                    <a:pt x="531" y="361"/>
                  </a:lnTo>
                  <a:lnTo>
                    <a:pt x="530" y="362"/>
                  </a:lnTo>
                  <a:lnTo>
                    <a:pt x="529" y="362"/>
                  </a:lnTo>
                  <a:lnTo>
                    <a:pt x="529" y="362"/>
                  </a:lnTo>
                  <a:lnTo>
                    <a:pt x="528" y="363"/>
                  </a:lnTo>
                  <a:lnTo>
                    <a:pt x="527" y="363"/>
                  </a:lnTo>
                  <a:lnTo>
                    <a:pt x="525" y="363"/>
                  </a:lnTo>
                  <a:lnTo>
                    <a:pt x="522" y="364"/>
                  </a:lnTo>
                  <a:lnTo>
                    <a:pt x="521" y="364"/>
                  </a:lnTo>
                  <a:lnTo>
                    <a:pt x="521" y="364"/>
                  </a:lnTo>
                  <a:lnTo>
                    <a:pt x="520" y="365"/>
                  </a:lnTo>
                  <a:lnTo>
                    <a:pt x="519" y="366"/>
                  </a:lnTo>
                  <a:lnTo>
                    <a:pt x="518" y="367"/>
                  </a:lnTo>
                  <a:lnTo>
                    <a:pt x="517" y="367"/>
                  </a:lnTo>
                  <a:lnTo>
                    <a:pt x="517" y="367"/>
                  </a:lnTo>
                  <a:lnTo>
                    <a:pt x="516" y="367"/>
                  </a:lnTo>
                  <a:lnTo>
                    <a:pt x="514" y="368"/>
                  </a:lnTo>
                  <a:lnTo>
                    <a:pt x="513" y="368"/>
                  </a:lnTo>
                  <a:lnTo>
                    <a:pt x="513" y="368"/>
                  </a:lnTo>
                  <a:lnTo>
                    <a:pt x="512" y="368"/>
                  </a:lnTo>
                  <a:lnTo>
                    <a:pt x="511" y="368"/>
                  </a:lnTo>
                  <a:lnTo>
                    <a:pt x="511" y="367"/>
                  </a:lnTo>
                  <a:lnTo>
                    <a:pt x="510" y="367"/>
                  </a:lnTo>
                  <a:lnTo>
                    <a:pt x="509" y="366"/>
                  </a:lnTo>
                  <a:lnTo>
                    <a:pt x="509" y="366"/>
                  </a:lnTo>
                  <a:lnTo>
                    <a:pt x="508" y="366"/>
                  </a:lnTo>
                  <a:lnTo>
                    <a:pt x="506" y="365"/>
                  </a:lnTo>
                  <a:lnTo>
                    <a:pt x="506" y="365"/>
                  </a:lnTo>
                  <a:lnTo>
                    <a:pt x="505" y="364"/>
                  </a:lnTo>
                  <a:lnTo>
                    <a:pt x="504" y="363"/>
                  </a:lnTo>
                  <a:lnTo>
                    <a:pt x="500" y="361"/>
                  </a:lnTo>
                  <a:lnTo>
                    <a:pt x="499" y="360"/>
                  </a:lnTo>
                  <a:lnTo>
                    <a:pt x="497" y="359"/>
                  </a:lnTo>
                  <a:lnTo>
                    <a:pt x="496" y="359"/>
                  </a:lnTo>
                  <a:lnTo>
                    <a:pt x="495" y="358"/>
                  </a:lnTo>
                  <a:lnTo>
                    <a:pt x="493" y="358"/>
                  </a:lnTo>
                  <a:lnTo>
                    <a:pt x="492" y="358"/>
                  </a:lnTo>
                  <a:lnTo>
                    <a:pt x="491" y="358"/>
                  </a:lnTo>
                  <a:lnTo>
                    <a:pt x="490" y="358"/>
                  </a:lnTo>
                  <a:lnTo>
                    <a:pt x="489" y="358"/>
                  </a:lnTo>
                  <a:lnTo>
                    <a:pt x="489" y="358"/>
                  </a:lnTo>
                  <a:lnTo>
                    <a:pt x="488" y="358"/>
                  </a:lnTo>
                  <a:lnTo>
                    <a:pt x="487" y="358"/>
                  </a:lnTo>
                  <a:lnTo>
                    <a:pt x="485" y="359"/>
                  </a:lnTo>
                  <a:lnTo>
                    <a:pt x="485" y="360"/>
                  </a:lnTo>
                  <a:lnTo>
                    <a:pt x="484" y="361"/>
                  </a:lnTo>
                  <a:lnTo>
                    <a:pt x="481" y="363"/>
                  </a:lnTo>
                  <a:lnTo>
                    <a:pt x="480" y="364"/>
                  </a:lnTo>
                  <a:lnTo>
                    <a:pt x="475" y="367"/>
                  </a:lnTo>
                  <a:lnTo>
                    <a:pt x="474" y="368"/>
                  </a:lnTo>
                  <a:lnTo>
                    <a:pt x="473" y="369"/>
                  </a:lnTo>
                  <a:lnTo>
                    <a:pt x="472" y="369"/>
                  </a:lnTo>
                  <a:lnTo>
                    <a:pt x="471" y="369"/>
                  </a:lnTo>
                  <a:lnTo>
                    <a:pt x="471" y="369"/>
                  </a:lnTo>
                  <a:lnTo>
                    <a:pt x="470" y="369"/>
                  </a:lnTo>
                  <a:lnTo>
                    <a:pt x="468" y="370"/>
                  </a:lnTo>
                  <a:lnTo>
                    <a:pt x="465" y="370"/>
                  </a:lnTo>
                  <a:lnTo>
                    <a:pt x="464" y="370"/>
                  </a:lnTo>
                  <a:lnTo>
                    <a:pt x="463" y="370"/>
                  </a:lnTo>
                  <a:lnTo>
                    <a:pt x="462" y="369"/>
                  </a:lnTo>
                  <a:lnTo>
                    <a:pt x="461" y="369"/>
                  </a:lnTo>
                  <a:lnTo>
                    <a:pt x="461" y="369"/>
                  </a:lnTo>
                  <a:lnTo>
                    <a:pt x="459" y="368"/>
                  </a:lnTo>
                  <a:lnTo>
                    <a:pt x="458" y="367"/>
                  </a:lnTo>
                  <a:lnTo>
                    <a:pt x="457" y="367"/>
                  </a:lnTo>
                  <a:lnTo>
                    <a:pt x="455" y="365"/>
                  </a:lnTo>
                  <a:lnTo>
                    <a:pt x="454" y="364"/>
                  </a:lnTo>
                  <a:lnTo>
                    <a:pt x="452" y="362"/>
                  </a:lnTo>
                  <a:lnTo>
                    <a:pt x="449" y="360"/>
                  </a:lnTo>
                  <a:lnTo>
                    <a:pt x="448" y="359"/>
                  </a:lnTo>
                  <a:lnTo>
                    <a:pt x="448" y="359"/>
                  </a:lnTo>
                  <a:lnTo>
                    <a:pt x="447" y="358"/>
                  </a:lnTo>
                  <a:lnTo>
                    <a:pt x="444" y="357"/>
                  </a:lnTo>
                  <a:lnTo>
                    <a:pt x="443" y="357"/>
                  </a:lnTo>
                  <a:lnTo>
                    <a:pt x="439" y="354"/>
                  </a:lnTo>
                  <a:lnTo>
                    <a:pt x="436" y="352"/>
                  </a:lnTo>
                  <a:lnTo>
                    <a:pt x="435" y="351"/>
                  </a:lnTo>
                  <a:lnTo>
                    <a:pt x="434" y="351"/>
                  </a:lnTo>
                  <a:lnTo>
                    <a:pt x="433" y="351"/>
                  </a:lnTo>
                  <a:lnTo>
                    <a:pt x="429" y="349"/>
                  </a:lnTo>
                  <a:lnTo>
                    <a:pt x="426" y="348"/>
                  </a:lnTo>
                  <a:lnTo>
                    <a:pt x="424" y="348"/>
                  </a:lnTo>
                  <a:lnTo>
                    <a:pt x="423" y="347"/>
                  </a:lnTo>
                  <a:lnTo>
                    <a:pt x="421" y="347"/>
                  </a:lnTo>
                  <a:lnTo>
                    <a:pt x="420" y="346"/>
                  </a:lnTo>
                  <a:lnTo>
                    <a:pt x="418" y="346"/>
                  </a:lnTo>
                  <a:lnTo>
                    <a:pt x="417" y="346"/>
                  </a:lnTo>
                  <a:lnTo>
                    <a:pt x="415" y="345"/>
                  </a:lnTo>
                  <a:lnTo>
                    <a:pt x="414" y="345"/>
                  </a:lnTo>
                  <a:lnTo>
                    <a:pt x="413" y="345"/>
                  </a:lnTo>
                  <a:lnTo>
                    <a:pt x="412" y="346"/>
                  </a:lnTo>
                  <a:lnTo>
                    <a:pt x="411" y="346"/>
                  </a:lnTo>
                  <a:lnTo>
                    <a:pt x="411" y="346"/>
                  </a:lnTo>
                  <a:lnTo>
                    <a:pt x="410" y="347"/>
                  </a:lnTo>
                  <a:lnTo>
                    <a:pt x="409" y="347"/>
                  </a:lnTo>
                  <a:lnTo>
                    <a:pt x="408" y="348"/>
                  </a:lnTo>
                  <a:lnTo>
                    <a:pt x="407" y="348"/>
                  </a:lnTo>
                  <a:lnTo>
                    <a:pt x="405" y="350"/>
                  </a:lnTo>
                  <a:lnTo>
                    <a:pt x="403" y="353"/>
                  </a:lnTo>
                  <a:lnTo>
                    <a:pt x="398" y="357"/>
                  </a:lnTo>
                  <a:lnTo>
                    <a:pt x="396" y="358"/>
                  </a:lnTo>
                  <a:lnTo>
                    <a:pt x="392" y="361"/>
                  </a:lnTo>
                  <a:lnTo>
                    <a:pt x="390" y="363"/>
                  </a:lnTo>
                  <a:lnTo>
                    <a:pt x="389" y="364"/>
                  </a:lnTo>
                  <a:lnTo>
                    <a:pt x="388" y="365"/>
                  </a:lnTo>
                  <a:lnTo>
                    <a:pt x="387" y="366"/>
                  </a:lnTo>
                  <a:lnTo>
                    <a:pt x="386" y="367"/>
                  </a:lnTo>
                  <a:lnTo>
                    <a:pt x="386" y="367"/>
                  </a:lnTo>
                  <a:lnTo>
                    <a:pt x="385" y="368"/>
                  </a:lnTo>
                  <a:lnTo>
                    <a:pt x="385" y="369"/>
                  </a:lnTo>
                  <a:lnTo>
                    <a:pt x="384" y="370"/>
                  </a:lnTo>
                  <a:lnTo>
                    <a:pt x="383" y="375"/>
                  </a:lnTo>
                  <a:lnTo>
                    <a:pt x="382" y="376"/>
                  </a:lnTo>
                  <a:lnTo>
                    <a:pt x="382" y="377"/>
                  </a:lnTo>
                  <a:lnTo>
                    <a:pt x="381" y="378"/>
                  </a:lnTo>
                  <a:lnTo>
                    <a:pt x="380" y="380"/>
                  </a:lnTo>
                  <a:lnTo>
                    <a:pt x="379" y="383"/>
                  </a:lnTo>
                  <a:lnTo>
                    <a:pt x="378" y="385"/>
                  </a:lnTo>
                  <a:lnTo>
                    <a:pt x="377" y="386"/>
                  </a:lnTo>
                  <a:lnTo>
                    <a:pt x="376" y="387"/>
                  </a:lnTo>
                  <a:lnTo>
                    <a:pt x="372" y="391"/>
                  </a:lnTo>
                  <a:lnTo>
                    <a:pt x="368" y="396"/>
                  </a:lnTo>
                  <a:lnTo>
                    <a:pt x="367" y="397"/>
                  </a:lnTo>
                  <a:lnTo>
                    <a:pt x="365" y="399"/>
                  </a:lnTo>
                  <a:lnTo>
                    <a:pt x="365" y="400"/>
                  </a:lnTo>
                  <a:lnTo>
                    <a:pt x="361" y="406"/>
                  </a:lnTo>
                  <a:lnTo>
                    <a:pt x="360" y="408"/>
                  </a:lnTo>
                  <a:lnTo>
                    <a:pt x="358" y="412"/>
                  </a:lnTo>
                  <a:lnTo>
                    <a:pt x="357" y="414"/>
                  </a:lnTo>
                  <a:lnTo>
                    <a:pt x="355" y="418"/>
                  </a:lnTo>
                  <a:lnTo>
                    <a:pt x="354" y="421"/>
                  </a:lnTo>
                  <a:lnTo>
                    <a:pt x="353" y="423"/>
                  </a:lnTo>
                  <a:lnTo>
                    <a:pt x="352" y="425"/>
                  </a:lnTo>
                  <a:lnTo>
                    <a:pt x="351" y="429"/>
                  </a:lnTo>
                  <a:lnTo>
                    <a:pt x="350" y="431"/>
                  </a:lnTo>
                  <a:lnTo>
                    <a:pt x="350" y="432"/>
                  </a:lnTo>
                  <a:lnTo>
                    <a:pt x="348" y="435"/>
                  </a:lnTo>
                  <a:lnTo>
                    <a:pt x="347" y="436"/>
                  </a:lnTo>
                  <a:lnTo>
                    <a:pt x="346" y="438"/>
                  </a:lnTo>
                  <a:lnTo>
                    <a:pt x="345" y="440"/>
                  </a:lnTo>
                  <a:lnTo>
                    <a:pt x="345" y="442"/>
                  </a:lnTo>
                  <a:lnTo>
                    <a:pt x="345" y="443"/>
                  </a:lnTo>
                  <a:lnTo>
                    <a:pt x="344" y="444"/>
                  </a:lnTo>
                  <a:lnTo>
                    <a:pt x="344" y="447"/>
                  </a:lnTo>
                  <a:lnTo>
                    <a:pt x="343" y="451"/>
                  </a:lnTo>
                  <a:lnTo>
                    <a:pt x="342" y="453"/>
                  </a:lnTo>
                  <a:lnTo>
                    <a:pt x="342" y="455"/>
                  </a:lnTo>
                  <a:lnTo>
                    <a:pt x="342" y="456"/>
                  </a:lnTo>
                  <a:lnTo>
                    <a:pt x="341" y="458"/>
                  </a:lnTo>
                  <a:lnTo>
                    <a:pt x="341" y="458"/>
                  </a:lnTo>
                  <a:lnTo>
                    <a:pt x="340" y="460"/>
                  </a:lnTo>
                  <a:lnTo>
                    <a:pt x="340" y="461"/>
                  </a:lnTo>
                  <a:lnTo>
                    <a:pt x="339" y="461"/>
                  </a:lnTo>
                  <a:lnTo>
                    <a:pt x="338" y="462"/>
                  </a:lnTo>
                  <a:lnTo>
                    <a:pt x="337" y="463"/>
                  </a:lnTo>
                  <a:lnTo>
                    <a:pt x="337" y="463"/>
                  </a:lnTo>
                  <a:lnTo>
                    <a:pt x="336" y="464"/>
                  </a:lnTo>
                  <a:lnTo>
                    <a:pt x="335" y="464"/>
                  </a:lnTo>
                  <a:lnTo>
                    <a:pt x="335" y="464"/>
                  </a:lnTo>
                  <a:lnTo>
                    <a:pt x="334" y="464"/>
                  </a:lnTo>
                  <a:lnTo>
                    <a:pt x="334" y="464"/>
                  </a:lnTo>
                  <a:lnTo>
                    <a:pt x="333" y="464"/>
                  </a:lnTo>
                  <a:lnTo>
                    <a:pt x="332" y="464"/>
                  </a:lnTo>
                  <a:lnTo>
                    <a:pt x="332" y="463"/>
                  </a:lnTo>
                  <a:lnTo>
                    <a:pt x="331" y="463"/>
                  </a:lnTo>
                  <a:lnTo>
                    <a:pt x="331" y="462"/>
                  </a:lnTo>
                  <a:lnTo>
                    <a:pt x="331" y="462"/>
                  </a:lnTo>
                  <a:lnTo>
                    <a:pt x="331" y="461"/>
                  </a:lnTo>
                  <a:lnTo>
                    <a:pt x="331" y="460"/>
                  </a:lnTo>
                  <a:lnTo>
                    <a:pt x="331" y="460"/>
                  </a:lnTo>
                  <a:lnTo>
                    <a:pt x="330" y="456"/>
                  </a:lnTo>
                  <a:lnTo>
                    <a:pt x="329" y="452"/>
                  </a:lnTo>
                  <a:lnTo>
                    <a:pt x="329" y="450"/>
                  </a:lnTo>
                  <a:lnTo>
                    <a:pt x="329" y="447"/>
                  </a:lnTo>
                  <a:lnTo>
                    <a:pt x="329" y="445"/>
                  </a:lnTo>
                  <a:lnTo>
                    <a:pt x="328" y="442"/>
                  </a:lnTo>
                  <a:lnTo>
                    <a:pt x="327" y="439"/>
                  </a:lnTo>
                  <a:lnTo>
                    <a:pt x="327" y="438"/>
                  </a:lnTo>
                  <a:lnTo>
                    <a:pt x="327" y="436"/>
                  </a:lnTo>
                  <a:lnTo>
                    <a:pt x="327" y="432"/>
                  </a:lnTo>
                  <a:lnTo>
                    <a:pt x="326" y="431"/>
                  </a:lnTo>
                  <a:lnTo>
                    <a:pt x="326" y="429"/>
                  </a:lnTo>
                  <a:lnTo>
                    <a:pt x="326" y="428"/>
                  </a:lnTo>
                  <a:lnTo>
                    <a:pt x="326" y="427"/>
                  </a:lnTo>
                  <a:lnTo>
                    <a:pt x="325" y="426"/>
                  </a:lnTo>
                  <a:lnTo>
                    <a:pt x="325" y="425"/>
                  </a:lnTo>
                  <a:lnTo>
                    <a:pt x="324" y="424"/>
                  </a:lnTo>
                  <a:lnTo>
                    <a:pt x="323" y="423"/>
                  </a:lnTo>
                  <a:lnTo>
                    <a:pt x="322" y="422"/>
                  </a:lnTo>
                  <a:lnTo>
                    <a:pt x="322" y="421"/>
                  </a:lnTo>
                  <a:lnTo>
                    <a:pt x="321" y="421"/>
                  </a:lnTo>
                  <a:lnTo>
                    <a:pt x="321" y="421"/>
                  </a:lnTo>
                  <a:lnTo>
                    <a:pt x="320" y="421"/>
                  </a:lnTo>
                  <a:lnTo>
                    <a:pt x="319" y="420"/>
                  </a:lnTo>
                  <a:lnTo>
                    <a:pt x="318" y="420"/>
                  </a:lnTo>
                  <a:lnTo>
                    <a:pt x="317" y="420"/>
                  </a:lnTo>
                  <a:lnTo>
                    <a:pt x="316" y="420"/>
                  </a:lnTo>
                  <a:lnTo>
                    <a:pt x="316" y="420"/>
                  </a:lnTo>
                  <a:lnTo>
                    <a:pt x="315" y="420"/>
                  </a:lnTo>
                  <a:lnTo>
                    <a:pt x="314" y="420"/>
                  </a:lnTo>
                  <a:lnTo>
                    <a:pt x="312" y="421"/>
                  </a:lnTo>
                  <a:lnTo>
                    <a:pt x="311" y="421"/>
                  </a:lnTo>
                  <a:lnTo>
                    <a:pt x="309" y="421"/>
                  </a:lnTo>
                  <a:lnTo>
                    <a:pt x="307" y="422"/>
                  </a:lnTo>
                  <a:lnTo>
                    <a:pt x="305" y="422"/>
                  </a:lnTo>
                  <a:lnTo>
                    <a:pt x="302" y="422"/>
                  </a:lnTo>
                  <a:lnTo>
                    <a:pt x="298" y="423"/>
                  </a:lnTo>
                  <a:lnTo>
                    <a:pt x="296" y="423"/>
                  </a:lnTo>
                  <a:lnTo>
                    <a:pt x="293" y="424"/>
                  </a:lnTo>
                  <a:lnTo>
                    <a:pt x="292" y="424"/>
                  </a:lnTo>
                  <a:lnTo>
                    <a:pt x="291" y="424"/>
                  </a:lnTo>
                  <a:lnTo>
                    <a:pt x="289" y="423"/>
                  </a:lnTo>
                  <a:lnTo>
                    <a:pt x="285" y="423"/>
                  </a:lnTo>
                  <a:lnTo>
                    <a:pt x="284" y="422"/>
                  </a:lnTo>
                  <a:lnTo>
                    <a:pt x="282" y="421"/>
                  </a:lnTo>
                  <a:lnTo>
                    <a:pt x="280" y="420"/>
                  </a:lnTo>
                  <a:lnTo>
                    <a:pt x="279" y="420"/>
                  </a:lnTo>
                  <a:lnTo>
                    <a:pt x="278" y="419"/>
                  </a:lnTo>
                  <a:lnTo>
                    <a:pt x="275" y="417"/>
                  </a:lnTo>
                  <a:lnTo>
                    <a:pt x="274" y="416"/>
                  </a:lnTo>
                  <a:lnTo>
                    <a:pt x="274" y="416"/>
                  </a:lnTo>
                  <a:lnTo>
                    <a:pt x="273" y="415"/>
                  </a:lnTo>
                  <a:lnTo>
                    <a:pt x="271" y="414"/>
                  </a:lnTo>
                  <a:lnTo>
                    <a:pt x="270" y="414"/>
                  </a:lnTo>
                  <a:lnTo>
                    <a:pt x="268" y="414"/>
                  </a:lnTo>
                  <a:lnTo>
                    <a:pt x="268" y="413"/>
                  </a:lnTo>
                  <a:lnTo>
                    <a:pt x="267" y="413"/>
                  </a:lnTo>
                  <a:lnTo>
                    <a:pt x="266" y="413"/>
                  </a:lnTo>
                  <a:lnTo>
                    <a:pt x="265" y="413"/>
                  </a:lnTo>
                  <a:lnTo>
                    <a:pt x="264" y="413"/>
                  </a:lnTo>
                  <a:lnTo>
                    <a:pt x="263" y="413"/>
                  </a:lnTo>
                  <a:lnTo>
                    <a:pt x="260" y="413"/>
                  </a:lnTo>
                  <a:lnTo>
                    <a:pt x="259" y="413"/>
                  </a:lnTo>
                  <a:lnTo>
                    <a:pt x="258" y="413"/>
                  </a:lnTo>
                  <a:lnTo>
                    <a:pt x="258" y="413"/>
                  </a:lnTo>
                  <a:lnTo>
                    <a:pt x="257" y="413"/>
                  </a:lnTo>
                  <a:lnTo>
                    <a:pt x="257" y="413"/>
                  </a:lnTo>
                  <a:lnTo>
                    <a:pt x="256" y="413"/>
                  </a:lnTo>
                  <a:lnTo>
                    <a:pt x="256" y="412"/>
                  </a:lnTo>
                  <a:lnTo>
                    <a:pt x="256" y="412"/>
                  </a:lnTo>
                  <a:lnTo>
                    <a:pt x="255" y="412"/>
                  </a:lnTo>
                  <a:lnTo>
                    <a:pt x="255" y="411"/>
                  </a:lnTo>
                  <a:lnTo>
                    <a:pt x="255" y="411"/>
                  </a:lnTo>
                  <a:lnTo>
                    <a:pt x="254" y="410"/>
                  </a:lnTo>
                  <a:lnTo>
                    <a:pt x="254" y="409"/>
                  </a:lnTo>
                  <a:lnTo>
                    <a:pt x="254" y="409"/>
                  </a:lnTo>
                  <a:lnTo>
                    <a:pt x="253" y="405"/>
                  </a:lnTo>
                  <a:lnTo>
                    <a:pt x="253" y="402"/>
                  </a:lnTo>
                  <a:lnTo>
                    <a:pt x="253" y="401"/>
                  </a:lnTo>
                  <a:lnTo>
                    <a:pt x="253" y="401"/>
                  </a:lnTo>
                  <a:lnTo>
                    <a:pt x="252" y="400"/>
                  </a:lnTo>
                  <a:lnTo>
                    <a:pt x="252" y="399"/>
                  </a:lnTo>
                  <a:lnTo>
                    <a:pt x="251" y="398"/>
                  </a:lnTo>
                  <a:lnTo>
                    <a:pt x="251" y="397"/>
                  </a:lnTo>
                  <a:lnTo>
                    <a:pt x="250" y="396"/>
                  </a:lnTo>
                  <a:lnTo>
                    <a:pt x="249" y="394"/>
                  </a:lnTo>
                  <a:lnTo>
                    <a:pt x="248" y="394"/>
                  </a:lnTo>
                  <a:lnTo>
                    <a:pt x="247" y="393"/>
                  </a:lnTo>
                  <a:lnTo>
                    <a:pt x="246" y="393"/>
                  </a:lnTo>
                  <a:lnTo>
                    <a:pt x="245" y="392"/>
                  </a:lnTo>
                  <a:lnTo>
                    <a:pt x="244" y="392"/>
                  </a:lnTo>
                  <a:lnTo>
                    <a:pt x="243" y="392"/>
                  </a:lnTo>
                  <a:lnTo>
                    <a:pt x="242" y="391"/>
                  </a:lnTo>
                  <a:lnTo>
                    <a:pt x="241" y="391"/>
                  </a:lnTo>
                  <a:lnTo>
                    <a:pt x="237" y="392"/>
                  </a:lnTo>
                  <a:lnTo>
                    <a:pt x="236" y="392"/>
                  </a:lnTo>
                  <a:lnTo>
                    <a:pt x="234" y="392"/>
                  </a:lnTo>
                  <a:lnTo>
                    <a:pt x="233" y="391"/>
                  </a:lnTo>
                  <a:lnTo>
                    <a:pt x="232" y="391"/>
                  </a:lnTo>
                  <a:lnTo>
                    <a:pt x="231" y="391"/>
                  </a:lnTo>
                  <a:lnTo>
                    <a:pt x="229" y="391"/>
                  </a:lnTo>
                  <a:lnTo>
                    <a:pt x="228" y="390"/>
                  </a:lnTo>
                  <a:lnTo>
                    <a:pt x="227" y="390"/>
                  </a:lnTo>
                  <a:lnTo>
                    <a:pt x="221" y="386"/>
                  </a:lnTo>
                  <a:lnTo>
                    <a:pt x="219" y="385"/>
                  </a:lnTo>
                  <a:lnTo>
                    <a:pt x="216" y="383"/>
                  </a:lnTo>
                  <a:lnTo>
                    <a:pt x="215" y="382"/>
                  </a:lnTo>
                  <a:lnTo>
                    <a:pt x="213" y="382"/>
                  </a:lnTo>
                  <a:lnTo>
                    <a:pt x="213" y="381"/>
                  </a:lnTo>
                  <a:lnTo>
                    <a:pt x="212" y="381"/>
                  </a:lnTo>
                  <a:lnTo>
                    <a:pt x="211" y="381"/>
                  </a:lnTo>
                  <a:lnTo>
                    <a:pt x="211" y="381"/>
                  </a:lnTo>
                  <a:lnTo>
                    <a:pt x="210" y="381"/>
                  </a:lnTo>
                  <a:lnTo>
                    <a:pt x="210" y="381"/>
                  </a:lnTo>
                  <a:lnTo>
                    <a:pt x="208" y="381"/>
                  </a:lnTo>
                  <a:lnTo>
                    <a:pt x="206" y="382"/>
                  </a:lnTo>
                  <a:lnTo>
                    <a:pt x="205" y="382"/>
                  </a:lnTo>
                  <a:lnTo>
                    <a:pt x="203" y="382"/>
                  </a:lnTo>
                  <a:lnTo>
                    <a:pt x="202" y="383"/>
                  </a:lnTo>
                  <a:lnTo>
                    <a:pt x="199" y="383"/>
                  </a:lnTo>
                  <a:lnTo>
                    <a:pt x="197" y="383"/>
                  </a:lnTo>
                  <a:lnTo>
                    <a:pt x="194" y="383"/>
                  </a:lnTo>
                  <a:lnTo>
                    <a:pt x="191" y="382"/>
                  </a:lnTo>
                  <a:lnTo>
                    <a:pt x="190" y="382"/>
                  </a:lnTo>
                  <a:lnTo>
                    <a:pt x="189" y="382"/>
                  </a:lnTo>
                  <a:lnTo>
                    <a:pt x="188" y="382"/>
                  </a:lnTo>
                  <a:lnTo>
                    <a:pt x="188" y="383"/>
                  </a:lnTo>
                  <a:lnTo>
                    <a:pt x="187" y="383"/>
                  </a:lnTo>
                  <a:lnTo>
                    <a:pt x="186" y="383"/>
                  </a:lnTo>
                  <a:lnTo>
                    <a:pt x="186" y="384"/>
                  </a:lnTo>
                  <a:lnTo>
                    <a:pt x="185" y="385"/>
                  </a:lnTo>
                  <a:lnTo>
                    <a:pt x="184" y="386"/>
                  </a:lnTo>
                  <a:lnTo>
                    <a:pt x="183" y="387"/>
                  </a:lnTo>
                  <a:lnTo>
                    <a:pt x="182" y="389"/>
                  </a:lnTo>
                  <a:lnTo>
                    <a:pt x="181" y="392"/>
                  </a:lnTo>
                  <a:lnTo>
                    <a:pt x="180" y="394"/>
                  </a:lnTo>
                  <a:lnTo>
                    <a:pt x="179" y="397"/>
                  </a:lnTo>
                  <a:lnTo>
                    <a:pt x="178" y="399"/>
                  </a:lnTo>
                  <a:lnTo>
                    <a:pt x="178" y="400"/>
                  </a:lnTo>
                  <a:lnTo>
                    <a:pt x="177" y="401"/>
                  </a:lnTo>
                  <a:lnTo>
                    <a:pt x="175" y="405"/>
                  </a:lnTo>
                  <a:lnTo>
                    <a:pt x="172" y="409"/>
                  </a:lnTo>
                  <a:lnTo>
                    <a:pt x="171" y="410"/>
                  </a:lnTo>
                  <a:lnTo>
                    <a:pt x="170" y="411"/>
                  </a:lnTo>
                  <a:lnTo>
                    <a:pt x="170" y="412"/>
                  </a:lnTo>
                  <a:lnTo>
                    <a:pt x="168" y="413"/>
                  </a:lnTo>
                  <a:lnTo>
                    <a:pt x="167" y="413"/>
                  </a:lnTo>
                  <a:lnTo>
                    <a:pt x="165" y="415"/>
                  </a:lnTo>
                  <a:lnTo>
                    <a:pt x="164" y="416"/>
                  </a:lnTo>
                  <a:lnTo>
                    <a:pt x="162" y="416"/>
                  </a:lnTo>
                  <a:lnTo>
                    <a:pt x="162" y="417"/>
                  </a:lnTo>
                  <a:lnTo>
                    <a:pt x="161" y="417"/>
                  </a:lnTo>
                  <a:lnTo>
                    <a:pt x="160" y="417"/>
                  </a:lnTo>
                  <a:lnTo>
                    <a:pt x="159" y="417"/>
                  </a:lnTo>
                  <a:lnTo>
                    <a:pt x="158" y="416"/>
                  </a:lnTo>
                  <a:lnTo>
                    <a:pt x="157" y="416"/>
                  </a:lnTo>
                  <a:lnTo>
                    <a:pt x="156" y="416"/>
                  </a:lnTo>
                  <a:lnTo>
                    <a:pt x="156" y="416"/>
                  </a:lnTo>
                  <a:lnTo>
                    <a:pt x="154" y="414"/>
                  </a:lnTo>
                  <a:lnTo>
                    <a:pt x="154" y="414"/>
                  </a:lnTo>
                  <a:lnTo>
                    <a:pt x="153" y="414"/>
                  </a:lnTo>
                  <a:lnTo>
                    <a:pt x="152" y="413"/>
                  </a:lnTo>
                  <a:lnTo>
                    <a:pt x="152" y="413"/>
                  </a:lnTo>
                  <a:lnTo>
                    <a:pt x="152" y="413"/>
                  </a:lnTo>
                  <a:lnTo>
                    <a:pt x="151" y="413"/>
                  </a:lnTo>
                  <a:lnTo>
                    <a:pt x="151" y="413"/>
                  </a:lnTo>
                  <a:lnTo>
                    <a:pt x="150" y="414"/>
                  </a:lnTo>
                  <a:lnTo>
                    <a:pt x="148" y="415"/>
                  </a:lnTo>
                  <a:lnTo>
                    <a:pt x="148" y="415"/>
                  </a:lnTo>
                  <a:lnTo>
                    <a:pt x="147" y="415"/>
                  </a:lnTo>
                  <a:lnTo>
                    <a:pt x="147" y="415"/>
                  </a:lnTo>
                  <a:lnTo>
                    <a:pt x="146" y="415"/>
                  </a:lnTo>
                  <a:lnTo>
                    <a:pt x="145" y="415"/>
                  </a:lnTo>
                  <a:lnTo>
                    <a:pt x="144" y="415"/>
                  </a:lnTo>
                  <a:lnTo>
                    <a:pt x="143" y="415"/>
                  </a:lnTo>
                  <a:lnTo>
                    <a:pt x="142" y="415"/>
                  </a:lnTo>
                  <a:lnTo>
                    <a:pt x="139" y="415"/>
                  </a:lnTo>
                  <a:lnTo>
                    <a:pt x="137" y="414"/>
                  </a:lnTo>
                  <a:lnTo>
                    <a:pt x="135" y="414"/>
                  </a:lnTo>
                  <a:lnTo>
                    <a:pt x="133" y="414"/>
                  </a:lnTo>
                  <a:lnTo>
                    <a:pt x="132" y="414"/>
                  </a:lnTo>
                  <a:lnTo>
                    <a:pt x="130" y="414"/>
                  </a:lnTo>
                  <a:lnTo>
                    <a:pt x="126" y="414"/>
                  </a:lnTo>
                  <a:lnTo>
                    <a:pt x="124" y="414"/>
                  </a:lnTo>
                  <a:lnTo>
                    <a:pt x="121" y="414"/>
                  </a:lnTo>
                  <a:lnTo>
                    <a:pt x="118" y="413"/>
                  </a:lnTo>
                  <a:lnTo>
                    <a:pt x="113" y="413"/>
                  </a:lnTo>
                  <a:lnTo>
                    <a:pt x="101" y="412"/>
                  </a:lnTo>
                  <a:lnTo>
                    <a:pt x="98" y="411"/>
                  </a:lnTo>
                  <a:lnTo>
                    <a:pt x="97" y="411"/>
                  </a:lnTo>
                  <a:lnTo>
                    <a:pt x="95" y="411"/>
                  </a:lnTo>
                  <a:lnTo>
                    <a:pt x="94" y="411"/>
                  </a:lnTo>
                  <a:lnTo>
                    <a:pt x="91" y="412"/>
                  </a:lnTo>
                  <a:lnTo>
                    <a:pt x="89" y="412"/>
                  </a:lnTo>
                  <a:lnTo>
                    <a:pt x="87" y="412"/>
                  </a:lnTo>
                  <a:lnTo>
                    <a:pt x="84" y="411"/>
                  </a:lnTo>
                  <a:lnTo>
                    <a:pt x="79" y="411"/>
                  </a:lnTo>
                  <a:lnTo>
                    <a:pt x="78" y="411"/>
                  </a:lnTo>
                  <a:lnTo>
                    <a:pt x="77" y="411"/>
                  </a:lnTo>
                  <a:lnTo>
                    <a:pt x="75" y="411"/>
                  </a:lnTo>
                  <a:lnTo>
                    <a:pt x="74" y="410"/>
                  </a:lnTo>
                  <a:lnTo>
                    <a:pt x="73" y="410"/>
                  </a:lnTo>
                  <a:lnTo>
                    <a:pt x="71" y="409"/>
                  </a:lnTo>
                  <a:lnTo>
                    <a:pt x="70" y="409"/>
                  </a:lnTo>
                  <a:lnTo>
                    <a:pt x="68" y="408"/>
                  </a:lnTo>
                  <a:lnTo>
                    <a:pt x="67" y="407"/>
                  </a:lnTo>
                  <a:lnTo>
                    <a:pt x="65" y="406"/>
                  </a:lnTo>
                  <a:lnTo>
                    <a:pt x="59" y="403"/>
                  </a:lnTo>
                  <a:lnTo>
                    <a:pt x="50" y="399"/>
                  </a:lnTo>
                  <a:lnTo>
                    <a:pt x="47" y="397"/>
                  </a:lnTo>
                  <a:lnTo>
                    <a:pt x="46" y="396"/>
                  </a:lnTo>
                  <a:lnTo>
                    <a:pt x="45" y="396"/>
                  </a:lnTo>
                  <a:lnTo>
                    <a:pt x="44" y="395"/>
                  </a:lnTo>
                  <a:lnTo>
                    <a:pt x="42" y="394"/>
                  </a:lnTo>
                  <a:lnTo>
                    <a:pt x="41" y="392"/>
                  </a:lnTo>
                  <a:lnTo>
                    <a:pt x="39" y="391"/>
                  </a:lnTo>
                  <a:lnTo>
                    <a:pt x="37" y="390"/>
                  </a:lnTo>
                  <a:lnTo>
                    <a:pt x="36" y="388"/>
                  </a:lnTo>
                  <a:lnTo>
                    <a:pt x="35" y="387"/>
                  </a:lnTo>
                  <a:lnTo>
                    <a:pt x="34" y="386"/>
                  </a:lnTo>
                  <a:lnTo>
                    <a:pt x="34" y="386"/>
                  </a:lnTo>
                  <a:lnTo>
                    <a:pt x="33" y="385"/>
                  </a:lnTo>
                  <a:lnTo>
                    <a:pt x="33" y="384"/>
                  </a:lnTo>
                  <a:lnTo>
                    <a:pt x="33" y="384"/>
                  </a:lnTo>
                  <a:lnTo>
                    <a:pt x="32" y="382"/>
                  </a:lnTo>
                  <a:lnTo>
                    <a:pt x="31" y="380"/>
                  </a:lnTo>
                  <a:lnTo>
                    <a:pt x="31" y="379"/>
                  </a:lnTo>
                  <a:lnTo>
                    <a:pt x="31" y="379"/>
                  </a:lnTo>
                  <a:lnTo>
                    <a:pt x="31" y="378"/>
                  </a:lnTo>
                  <a:lnTo>
                    <a:pt x="31" y="378"/>
                  </a:lnTo>
                  <a:lnTo>
                    <a:pt x="30" y="377"/>
                  </a:lnTo>
                  <a:lnTo>
                    <a:pt x="30" y="377"/>
                  </a:lnTo>
                  <a:lnTo>
                    <a:pt x="29" y="377"/>
                  </a:lnTo>
                  <a:lnTo>
                    <a:pt x="29" y="376"/>
                  </a:lnTo>
                  <a:lnTo>
                    <a:pt x="28" y="376"/>
                  </a:lnTo>
                  <a:lnTo>
                    <a:pt x="27" y="376"/>
                  </a:lnTo>
                  <a:lnTo>
                    <a:pt x="26" y="376"/>
                  </a:lnTo>
                  <a:lnTo>
                    <a:pt x="26" y="376"/>
                  </a:lnTo>
                  <a:lnTo>
                    <a:pt x="25" y="375"/>
                  </a:lnTo>
                  <a:lnTo>
                    <a:pt x="25" y="375"/>
                  </a:lnTo>
                  <a:lnTo>
                    <a:pt x="24" y="374"/>
                  </a:lnTo>
                  <a:lnTo>
                    <a:pt x="23" y="373"/>
                  </a:lnTo>
                  <a:lnTo>
                    <a:pt x="22" y="372"/>
                  </a:lnTo>
                  <a:lnTo>
                    <a:pt x="21" y="372"/>
                  </a:lnTo>
                  <a:lnTo>
                    <a:pt x="21" y="371"/>
                  </a:lnTo>
                  <a:lnTo>
                    <a:pt x="20" y="371"/>
                  </a:lnTo>
                  <a:lnTo>
                    <a:pt x="19" y="371"/>
                  </a:lnTo>
                  <a:lnTo>
                    <a:pt x="16" y="370"/>
                  </a:lnTo>
                  <a:lnTo>
                    <a:pt x="16" y="370"/>
                  </a:lnTo>
                  <a:lnTo>
                    <a:pt x="15" y="370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14" y="368"/>
                  </a:lnTo>
                  <a:lnTo>
                    <a:pt x="14" y="368"/>
                  </a:lnTo>
                  <a:lnTo>
                    <a:pt x="14" y="367"/>
                  </a:lnTo>
                  <a:lnTo>
                    <a:pt x="13" y="367"/>
                  </a:lnTo>
                  <a:lnTo>
                    <a:pt x="13" y="366"/>
                  </a:lnTo>
                  <a:lnTo>
                    <a:pt x="12" y="366"/>
                  </a:lnTo>
                  <a:lnTo>
                    <a:pt x="11" y="365"/>
                  </a:lnTo>
                  <a:lnTo>
                    <a:pt x="10" y="365"/>
                  </a:lnTo>
                  <a:lnTo>
                    <a:pt x="9" y="363"/>
                  </a:lnTo>
                  <a:lnTo>
                    <a:pt x="8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5" y="361"/>
                  </a:lnTo>
                  <a:lnTo>
                    <a:pt x="4" y="361"/>
                  </a:lnTo>
                  <a:lnTo>
                    <a:pt x="2" y="360"/>
                  </a:lnTo>
                  <a:lnTo>
                    <a:pt x="2" y="360"/>
                  </a:lnTo>
                  <a:lnTo>
                    <a:pt x="1" y="359"/>
                  </a:lnTo>
                  <a:lnTo>
                    <a:pt x="1" y="359"/>
                  </a:lnTo>
                  <a:lnTo>
                    <a:pt x="0" y="358"/>
                  </a:lnTo>
                  <a:lnTo>
                    <a:pt x="0" y="358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Freeform 68">
              <a:extLst>
                <a:ext uri="{FF2B5EF4-FFF2-40B4-BE49-F238E27FC236}">
                  <a16:creationId xmlns:a16="http://schemas.microsoft.com/office/drawing/2014/main" id="{A40D30B3-1588-40AE-E7A5-FDDD159C76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21"/>
              <a:ext cx="303" cy="362"/>
            </a:xfrm>
            <a:custGeom>
              <a:avLst/>
              <a:gdLst>
                <a:gd name="T0" fmla="*/ 88 w 303"/>
                <a:gd name="T1" fmla="*/ 354 h 362"/>
                <a:gd name="T2" fmla="*/ 71 w 303"/>
                <a:gd name="T3" fmla="*/ 357 h 362"/>
                <a:gd name="T4" fmla="*/ 57 w 303"/>
                <a:gd name="T5" fmla="*/ 362 h 362"/>
                <a:gd name="T6" fmla="*/ 34 w 303"/>
                <a:gd name="T7" fmla="*/ 351 h 362"/>
                <a:gd name="T8" fmla="*/ 10 w 303"/>
                <a:gd name="T9" fmla="*/ 342 h 362"/>
                <a:gd name="T10" fmla="*/ 4 w 303"/>
                <a:gd name="T11" fmla="*/ 331 h 362"/>
                <a:gd name="T12" fmla="*/ 6 w 303"/>
                <a:gd name="T13" fmla="*/ 328 h 362"/>
                <a:gd name="T14" fmla="*/ 11 w 303"/>
                <a:gd name="T15" fmla="*/ 323 h 362"/>
                <a:gd name="T16" fmla="*/ 16 w 303"/>
                <a:gd name="T17" fmla="*/ 318 h 362"/>
                <a:gd name="T18" fmla="*/ 26 w 303"/>
                <a:gd name="T19" fmla="*/ 321 h 362"/>
                <a:gd name="T20" fmla="*/ 34 w 303"/>
                <a:gd name="T21" fmla="*/ 319 h 362"/>
                <a:gd name="T22" fmla="*/ 45 w 303"/>
                <a:gd name="T23" fmla="*/ 312 h 362"/>
                <a:gd name="T24" fmla="*/ 56 w 303"/>
                <a:gd name="T25" fmla="*/ 316 h 362"/>
                <a:gd name="T26" fmla="*/ 66 w 303"/>
                <a:gd name="T27" fmla="*/ 307 h 362"/>
                <a:gd name="T28" fmla="*/ 78 w 303"/>
                <a:gd name="T29" fmla="*/ 297 h 362"/>
                <a:gd name="T30" fmla="*/ 93 w 303"/>
                <a:gd name="T31" fmla="*/ 290 h 362"/>
                <a:gd name="T32" fmla="*/ 102 w 303"/>
                <a:gd name="T33" fmla="*/ 286 h 362"/>
                <a:gd name="T34" fmla="*/ 107 w 303"/>
                <a:gd name="T35" fmla="*/ 279 h 362"/>
                <a:gd name="T36" fmla="*/ 116 w 303"/>
                <a:gd name="T37" fmla="*/ 277 h 362"/>
                <a:gd name="T38" fmla="*/ 126 w 303"/>
                <a:gd name="T39" fmla="*/ 271 h 362"/>
                <a:gd name="T40" fmla="*/ 134 w 303"/>
                <a:gd name="T41" fmla="*/ 278 h 362"/>
                <a:gd name="T42" fmla="*/ 146 w 303"/>
                <a:gd name="T43" fmla="*/ 278 h 362"/>
                <a:gd name="T44" fmla="*/ 159 w 303"/>
                <a:gd name="T45" fmla="*/ 277 h 362"/>
                <a:gd name="T46" fmla="*/ 178 w 303"/>
                <a:gd name="T47" fmla="*/ 273 h 362"/>
                <a:gd name="T48" fmla="*/ 180 w 303"/>
                <a:gd name="T49" fmla="*/ 265 h 362"/>
                <a:gd name="T50" fmla="*/ 196 w 303"/>
                <a:gd name="T51" fmla="*/ 260 h 362"/>
                <a:gd name="T52" fmla="*/ 205 w 303"/>
                <a:gd name="T53" fmla="*/ 255 h 362"/>
                <a:gd name="T54" fmla="*/ 212 w 303"/>
                <a:gd name="T55" fmla="*/ 246 h 362"/>
                <a:gd name="T56" fmla="*/ 207 w 303"/>
                <a:gd name="T57" fmla="*/ 236 h 362"/>
                <a:gd name="T58" fmla="*/ 203 w 303"/>
                <a:gd name="T59" fmla="*/ 230 h 362"/>
                <a:gd name="T60" fmla="*/ 210 w 303"/>
                <a:gd name="T61" fmla="*/ 225 h 362"/>
                <a:gd name="T62" fmla="*/ 209 w 303"/>
                <a:gd name="T63" fmla="*/ 215 h 362"/>
                <a:gd name="T64" fmla="*/ 219 w 303"/>
                <a:gd name="T65" fmla="*/ 208 h 362"/>
                <a:gd name="T66" fmla="*/ 217 w 303"/>
                <a:gd name="T67" fmla="*/ 200 h 362"/>
                <a:gd name="T68" fmla="*/ 210 w 303"/>
                <a:gd name="T69" fmla="*/ 192 h 362"/>
                <a:gd name="T70" fmla="*/ 213 w 303"/>
                <a:gd name="T71" fmla="*/ 181 h 362"/>
                <a:gd name="T72" fmla="*/ 222 w 303"/>
                <a:gd name="T73" fmla="*/ 172 h 362"/>
                <a:gd name="T74" fmla="*/ 217 w 303"/>
                <a:gd name="T75" fmla="*/ 163 h 362"/>
                <a:gd name="T76" fmla="*/ 223 w 303"/>
                <a:gd name="T77" fmla="*/ 151 h 362"/>
                <a:gd name="T78" fmla="*/ 221 w 303"/>
                <a:gd name="T79" fmla="*/ 146 h 362"/>
                <a:gd name="T80" fmla="*/ 213 w 303"/>
                <a:gd name="T81" fmla="*/ 141 h 362"/>
                <a:gd name="T82" fmla="*/ 210 w 303"/>
                <a:gd name="T83" fmla="*/ 134 h 362"/>
                <a:gd name="T84" fmla="*/ 206 w 303"/>
                <a:gd name="T85" fmla="*/ 123 h 362"/>
                <a:gd name="T86" fmla="*/ 212 w 303"/>
                <a:gd name="T87" fmla="*/ 105 h 362"/>
                <a:gd name="T88" fmla="*/ 220 w 303"/>
                <a:gd name="T89" fmla="*/ 95 h 362"/>
                <a:gd name="T90" fmla="*/ 234 w 303"/>
                <a:gd name="T91" fmla="*/ 91 h 362"/>
                <a:gd name="T92" fmla="*/ 233 w 303"/>
                <a:gd name="T93" fmla="*/ 86 h 362"/>
                <a:gd name="T94" fmla="*/ 228 w 303"/>
                <a:gd name="T95" fmla="*/ 82 h 362"/>
                <a:gd name="T96" fmla="*/ 238 w 303"/>
                <a:gd name="T97" fmla="*/ 77 h 362"/>
                <a:gd name="T98" fmla="*/ 243 w 303"/>
                <a:gd name="T99" fmla="*/ 82 h 362"/>
                <a:gd name="T100" fmla="*/ 249 w 303"/>
                <a:gd name="T101" fmla="*/ 81 h 362"/>
                <a:gd name="T102" fmla="*/ 250 w 303"/>
                <a:gd name="T103" fmla="*/ 71 h 362"/>
                <a:gd name="T104" fmla="*/ 245 w 303"/>
                <a:gd name="T105" fmla="*/ 63 h 362"/>
                <a:gd name="T106" fmla="*/ 253 w 303"/>
                <a:gd name="T107" fmla="*/ 61 h 362"/>
                <a:gd name="T108" fmla="*/ 260 w 303"/>
                <a:gd name="T109" fmla="*/ 50 h 362"/>
                <a:gd name="T110" fmla="*/ 253 w 303"/>
                <a:gd name="T111" fmla="*/ 42 h 362"/>
                <a:gd name="T112" fmla="*/ 250 w 303"/>
                <a:gd name="T113" fmla="*/ 35 h 362"/>
                <a:gd name="T114" fmla="*/ 255 w 303"/>
                <a:gd name="T115" fmla="*/ 25 h 362"/>
                <a:gd name="T116" fmla="*/ 264 w 303"/>
                <a:gd name="T117" fmla="*/ 17 h 362"/>
                <a:gd name="T118" fmla="*/ 272 w 303"/>
                <a:gd name="T119" fmla="*/ 18 h 362"/>
                <a:gd name="T120" fmla="*/ 290 w 303"/>
                <a:gd name="T121" fmla="*/ 18 h 362"/>
                <a:gd name="T122" fmla="*/ 299 w 303"/>
                <a:gd name="T123" fmla="*/ 13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3" h="362">
                  <a:moveTo>
                    <a:pt x="94" y="358"/>
                  </a:moveTo>
                  <a:lnTo>
                    <a:pt x="93" y="356"/>
                  </a:lnTo>
                  <a:lnTo>
                    <a:pt x="92" y="356"/>
                  </a:lnTo>
                  <a:lnTo>
                    <a:pt x="92" y="356"/>
                  </a:lnTo>
                  <a:lnTo>
                    <a:pt x="92" y="355"/>
                  </a:lnTo>
                  <a:lnTo>
                    <a:pt x="91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90" y="354"/>
                  </a:lnTo>
                  <a:lnTo>
                    <a:pt x="89" y="354"/>
                  </a:lnTo>
                  <a:lnTo>
                    <a:pt x="88" y="354"/>
                  </a:lnTo>
                  <a:lnTo>
                    <a:pt x="85" y="354"/>
                  </a:lnTo>
                  <a:lnTo>
                    <a:pt x="83" y="354"/>
                  </a:lnTo>
                  <a:lnTo>
                    <a:pt x="81" y="354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6" y="355"/>
                  </a:lnTo>
                  <a:lnTo>
                    <a:pt x="75" y="355"/>
                  </a:lnTo>
                  <a:lnTo>
                    <a:pt x="74" y="355"/>
                  </a:lnTo>
                  <a:lnTo>
                    <a:pt x="73" y="356"/>
                  </a:lnTo>
                  <a:lnTo>
                    <a:pt x="72" y="356"/>
                  </a:lnTo>
                  <a:lnTo>
                    <a:pt x="71" y="357"/>
                  </a:lnTo>
                  <a:lnTo>
                    <a:pt x="68" y="359"/>
                  </a:lnTo>
                  <a:lnTo>
                    <a:pt x="67" y="360"/>
                  </a:lnTo>
                  <a:lnTo>
                    <a:pt x="66" y="360"/>
                  </a:lnTo>
                  <a:lnTo>
                    <a:pt x="65" y="361"/>
                  </a:lnTo>
                  <a:lnTo>
                    <a:pt x="64" y="361"/>
                  </a:lnTo>
                  <a:lnTo>
                    <a:pt x="63" y="361"/>
                  </a:lnTo>
                  <a:lnTo>
                    <a:pt x="62" y="362"/>
                  </a:lnTo>
                  <a:lnTo>
                    <a:pt x="61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7" y="362"/>
                  </a:lnTo>
                  <a:lnTo>
                    <a:pt x="54" y="362"/>
                  </a:lnTo>
                  <a:lnTo>
                    <a:pt x="48" y="361"/>
                  </a:lnTo>
                  <a:lnTo>
                    <a:pt x="47" y="360"/>
                  </a:lnTo>
                  <a:lnTo>
                    <a:pt x="45" y="360"/>
                  </a:lnTo>
                  <a:lnTo>
                    <a:pt x="44" y="359"/>
                  </a:lnTo>
                  <a:lnTo>
                    <a:pt x="43" y="359"/>
                  </a:lnTo>
                  <a:lnTo>
                    <a:pt x="42" y="358"/>
                  </a:lnTo>
                  <a:lnTo>
                    <a:pt x="40" y="357"/>
                  </a:lnTo>
                  <a:lnTo>
                    <a:pt x="39" y="356"/>
                  </a:lnTo>
                  <a:lnTo>
                    <a:pt x="35" y="352"/>
                  </a:lnTo>
                  <a:lnTo>
                    <a:pt x="34" y="351"/>
                  </a:lnTo>
                  <a:lnTo>
                    <a:pt x="33" y="350"/>
                  </a:lnTo>
                  <a:lnTo>
                    <a:pt x="31" y="350"/>
                  </a:lnTo>
                  <a:lnTo>
                    <a:pt x="30" y="349"/>
                  </a:lnTo>
                  <a:lnTo>
                    <a:pt x="27" y="348"/>
                  </a:lnTo>
                  <a:lnTo>
                    <a:pt x="24" y="346"/>
                  </a:lnTo>
                  <a:lnTo>
                    <a:pt x="23" y="345"/>
                  </a:lnTo>
                  <a:lnTo>
                    <a:pt x="21" y="344"/>
                  </a:lnTo>
                  <a:lnTo>
                    <a:pt x="20" y="344"/>
                  </a:lnTo>
                  <a:lnTo>
                    <a:pt x="18" y="343"/>
                  </a:lnTo>
                  <a:lnTo>
                    <a:pt x="12" y="342"/>
                  </a:lnTo>
                  <a:lnTo>
                    <a:pt x="10" y="342"/>
                  </a:lnTo>
                  <a:lnTo>
                    <a:pt x="9" y="342"/>
                  </a:lnTo>
                  <a:lnTo>
                    <a:pt x="7" y="341"/>
                  </a:lnTo>
                  <a:lnTo>
                    <a:pt x="5" y="341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1" y="336"/>
                  </a:lnTo>
                  <a:lnTo>
                    <a:pt x="2" y="333"/>
                  </a:lnTo>
                  <a:lnTo>
                    <a:pt x="2" y="332"/>
                  </a:lnTo>
                  <a:lnTo>
                    <a:pt x="3" y="332"/>
                  </a:lnTo>
                  <a:lnTo>
                    <a:pt x="3" y="332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5" y="331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6" y="329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7" y="327"/>
                  </a:lnTo>
                  <a:lnTo>
                    <a:pt x="8" y="326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9" y="323"/>
                  </a:lnTo>
                  <a:lnTo>
                    <a:pt x="10" y="323"/>
                  </a:lnTo>
                  <a:lnTo>
                    <a:pt x="10" y="323"/>
                  </a:lnTo>
                  <a:lnTo>
                    <a:pt x="11" y="323"/>
                  </a:lnTo>
                  <a:lnTo>
                    <a:pt x="11" y="323"/>
                  </a:lnTo>
                  <a:lnTo>
                    <a:pt x="11" y="322"/>
                  </a:lnTo>
                  <a:lnTo>
                    <a:pt x="13" y="321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19"/>
                  </a:lnTo>
                  <a:lnTo>
                    <a:pt x="14" y="319"/>
                  </a:lnTo>
                  <a:lnTo>
                    <a:pt x="14" y="319"/>
                  </a:lnTo>
                  <a:lnTo>
                    <a:pt x="15" y="318"/>
                  </a:lnTo>
                  <a:lnTo>
                    <a:pt x="16" y="318"/>
                  </a:lnTo>
                  <a:lnTo>
                    <a:pt x="17" y="318"/>
                  </a:lnTo>
                  <a:lnTo>
                    <a:pt x="18" y="318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2" y="318"/>
                  </a:lnTo>
                  <a:lnTo>
                    <a:pt x="23" y="319"/>
                  </a:lnTo>
                  <a:lnTo>
                    <a:pt x="25" y="320"/>
                  </a:lnTo>
                  <a:lnTo>
                    <a:pt x="25" y="321"/>
                  </a:lnTo>
                  <a:lnTo>
                    <a:pt x="26" y="321"/>
                  </a:lnTo>
                  <a:lnTo>
                    <a:pt x="27" y="321"/>
                  </a:lnTo>
                  <a:lnTo>
                    <a:pt x="28" y="322"/>
                  </a:lnTo>
                  <a:lnTo>
                    <a:pt x="29" y="322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2" y="321"/>
                  </a:lnTo>
                  <a:lnTo>
                    <a:pt x="32" y="321"/>
                  </a:lnTo>
                  <a:lnTo>
                    <a:pt x="33" y="320"/>
                  </a:lnTo>
                  <a:lnTo>
                    <a:pt x="34" y="319"/>
                  </a:lnTo>
                  <a:lnTo>
                    <a:pt x="34" y="319"/>
                  </a:lnTo>
                  <a:lnTo>
                    <a:pt x="35" y="317"/>
                  </a:lnTo>
                  <a:lnTo>
                    <a:pt x="37" y="314"/>
                  </a:lnTo>
                  <a:lnTo>
                    <a:pt x="38" y="314"/>
                  </a:lnTo>
                  <a:lnTo>
                    <a:pt x="38" y="314"/>
                  </a:lnTo>
                  <a:lnTo>
                    <a:pt x="38" y="313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0" y="313"/>
                  </a:lnTo>
                  <a:lnTo>
                    <a:pt x="41" y="313"/>
                  </a:lnTo>
                  <a:lnTo>
                    <a:pt x="45" y="312"/>
                  </a:lnTo>
                  <a:lnTo>
                    <a:pt x="46" y="312"/>
                  </a:lnTo>
                  <a:lnTo>
                    <a:pt x="47" y="312"/>
                  </a:lnTo>
                  <a:lnTo>
                    <a:pt x="48" y="312"/>
                  </a:lnTo>
                  <a:lnTo>
                    <a:pt x="49" y="313"/>
                  </a:lnTo>
                  <a:lnTo>
                    <a:pt x="50" y="313"/>
                  </a:lnTo>
                  <a:lnTo>
                    <a:pt x="51" y="314"/>
                  </a:lnTo>
                  <a:lnTo>
                    <a:pt x="52" y="314"/>
                  </a:lnTo>
                  <a:lnTo>
                    <a:pt x="54" y="316"/>
                  </a:lnTo>
                  <a:lnTo>
                    <a:pt x="55" y="316"/>
                  </a:lnTo>
                  <a:lnTo>
                    <a:pt x="56" y="316"/>
                  </a:lnTo>
                  <a:lnTo>
                    <a:pt x="56" y="316"/>
                  </a:lnTo>
                  <a:lnTo>
                    <a:pt x="57" y="316"/>
                  </a:lnTo>
                  <a:lnTo>
                    <a:pt x="57" y="316"/>
                  </a:lnTo>
                  <a:lnTo>
                    <a:pt x="58" y="316"/>
                  </a:lnTo>
                  <a:lnTo>
                    <a:pt x="58" y="316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1" y="313"/>
                  </a:lnTo>
                  <a:lnTo>
                    <a:pt x="62" y="311"/>
                  </a:lnTo>
                  <a:lnTo>
                    <a:pt x="62" y="311"/>
                  </a:lnTo>
                  <a:lnTo>
                    <a:pt x="64" y="309"/>
                  </a:lnTo>
                  <a:lnTo>
                    <a:pt x="66" y="307"/>
                  </a:lnTo>
                  <a:lnTo>
                    <a:pt x="66" y="307"/>
                  </a:lnTo>
                  <a:lnTo>
                    <a:pt x="67" y="306"/>
                  </a:lnTo>
                  <a:lnTo>
                    <a:pt x="68" y="306"/>
                  </a:lnTo>
                  <a:lnTo>
                    <a:pt x="69" y="305"/>
                  </a:lnTo>
                  <a:lnTo>
                    <a:pt x="71" y="304"/>
                  </a:lnTo>
                  <a:lnTo>
                    <a:pt x="72" y="303"/>
                  </a:lnTo>
                  <a:lnTo>
                    <a:pt x="73" y="302"/>
                  </a:lnTo>
                  <a:lnTo>
                    <a:pt x="74" y="301"/>
                  </a:lnTo>
                  <a:lnTo>
                    <a:pt x="75" y="300"/>
                  </a:lnTo>
                  <a:lnTo>
                    <a:pt x="77" y="299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81" y="294"/>
                  </a:lnTo>
                  <a:lnTo>
                    <a:pt x="82" y="293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8" y="291"/>
                  </a:lnTo>
                  <a:lnTo>
                    <a:pt x="89" y="290"/>
                  </a:lnTo>
                  <a:lnTo>
                    <a:pt x="91" y="290"/>
                  </a:lnTo>
                  <a:lnTo>
                    <a:pt x="93" y="290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9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1" y="288"/>
                  </a:lnTo>
                  <a:lnTo>
                    <a:pt x="101" y="287"/>
                  </a:lnTo>
                  <a:lnTo>
                    <a:pt x="101" y="287"/>
                  </a:lnTo>
                  <a:lnTo>
                    <a:pt x="102" y="286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4" y="281"/>
                  </a:lnTo>
                  <a:lnTo>
                    <a:pt x="104" y="280"/>
                  </a:lnTo>
                  <a:lnTo>
                    <a:pt x="105" y="280"/>
                  </a:lnTo>
                  <a:lnTo>
                    <a:pt x="105" y="280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4" y="278"/>
                  </a:lnTo>
                  <a:lnTo>
                    <a:pt x="115" y="278"/>
                  </a:lnTo>
                  <a:lnTo>
                    <a:pt x="115" y="277"/>
                  </a:lnTo>
                  <a:lnTo>
                    <a:pt x="116" y="277"/>
                  </a:lnTo>
                  <a:lnTo>
                    <a:pt x="117" y="276"/>
                  </a:lnTo>
                  <a:lnTo>
                    <a:pt x="119" y="274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3"/>
                  </a:lnTo>
                  <a:lnTo>
                    <a:pt x="121" y="272"/>
                  </a:lnTo>
                  <a:lnTo>
                    <a:pt x="123" y="272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6" y="271"/>
                  </a:lnTo>
                  <a:lnTo>
                    <a:pt x="126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29" y="273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1" y="276"/>
                  </a:lnTo>
                  <a:lnTo>
                    <a:pt x="132" y="276"/>
                  </a:lnTo>
                  <a:lnTo>
                    <a:pt x="134" y="278"/>
                  </a:lnTo>
                  <a:lnTo>
                    <a:pt x="135" y="279"/>
                  </a:lnTo>
                  <a:lnTo>
                    <a:pt x="136" y="279"/>
                  </a:lnTo>
                  <a:lnTo>
                    <a:pt x="137" y="280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9" y="280"/>
                  </a:lnTo>
                  <a:lnTo>
                    <a:pt x="141" y="280"/>
                  </a:lnTo>
                  <a:lnTo>
                    <a:pt x="142" y="280"/>
                  </a:lnTo>
                  <a:lnTo>
                    <a:pt x="143" y="279"/>
                  </a:lnTo>
                  <a:lnTo>
                    <a:pt x="144" y="279"/>
                  </a:lnTo>
                  <a:lnTo>
                    <a:pt x="146" y="278"/>
                  </a:lnTo>
                  <a:lnTo>
                    <a:pt x="147" y="277"/>
                  </a:lnTo>
                  <a:lnTo>
                    <a:pt x="148" y="276"/>
                  </a:lnTo>
                  <a:lnTo>
                    <a:pt x="149" y="276"/>
                  </a:lnTo>
                  <a:lnTo>
                    <a:pt x="149" y="275"/>
                  </a:lnTo>
                  <a:lnTo>
                    <a:pt x="150" y="275"/>
                  </a:lnTo>
                  <a:lnTo>
                    <a:pt x="151" y="275"/>
                  </a:lnTo>
                  <a:lnTo>
                    <a:pt x="152" y="275"/>
                  </a:lnTo>
                  <a:lnTo>
                    <a:pt x="154" y="276"/>
                  </a:lnTo>
                  <a:lnTo>
                    <a:pt x="155" y="276"/>
                  </a:lnTo>
                  <a:lnTo>
                    <a:pt x="158" y="276"/>
                  </a:lnTo>
                  <a:lnTo>
                    <a:pt x="159" y="277"/>
                  </a:lnTo>
                  <a:lnTo>
                    <a:pt x="161" y="277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4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8" y="273"/>
                  </a:lnTo>
                  <a:lnTo>
                    <a:pt x="179" y="273"/>
                  </a:lnTo>
                  <a:lnTo>
                    <a:pt x="179" y="272"/>
                  </a:lnTo>
                  <a:lnTo>
                    <a:pt x="179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68"/>
                  </a:lnTo>
                  <a:lnTo>
                    <a:pt x="180" y="267"/>
                  </a:lnTo>
                  <a:lnTo>
                    <a:pt x="180" y="266"/>
                  </a:lnTo>
                  <a:lnTo>
                    <a:pt x="180" y="265"/>
                  </a:lnTo>
                  <a:lnTo>
                    <a:pt x="181" y="265"/>
                  </a:lnTo>
                  <a:lnTo>
                    <a:pt x="181" y="264"/>
                  </a:lnTo>
                  <a:lnTo>
                    <a:pt x="182" y="263"/>
                  </a:lnTo>
                  <a:lnTo>
                    <a:pt x="183" y="263"/>
                  </a:lnTo>
                  <a:lnTo>
                    <a:pt x="184" y="262"/>
                  </a:lnTo>
                  <a:lnTo>
                    <a:pt x="185" y="262"/>
                  </a:lnTo>
                  <a:lnTo>
                    <a:pt x="186" y="261"/>
                  </a:lnTo>
                  <a:lnTo>
                    <a:pt x="188" y="261"/>
                  </a:lnTo>
                  <a:lnTo>
                    <a:pt x="189" y="261"/>
                  </a:lnTo>
                  <a:lnTo>
                    <a:pt x="193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1" y="259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3" y="257"/>
                  </a:lnTo>
                  <a:lnTo>
                    <a:pt x="203" y="257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05" y="255"/>
                  </a:lnTo>
                  <a:lnTo>
                    <a:pt x="206" y="254"/>
                  </a:lnTo>
                  <a:lnTo>
                    <a:pt x="206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7" y="250"/>
                  </a:lnTo>
                  <a:lnTo>
                    <a:pt x="208" y="250"/>
                  </a:lnTo>
                  <a:lnTo>
                    <a:pt x="208" y="249"/>
                  </a:lnTo>
                  <a:lnTo>
                    <a:pt x="210" y="247"/>
                  </a:lnTo>
                  <a:lnTo>
                    <a:pt x="211" y="247"/>
                  </a:lnTo>
                  <a:lnTo>
                    <a:pt x="211" y="246"/>
                  </a:lnTo>
                  <a:lnTo>
                    <a:pt x="212" y="246"/>
                  </a:lnTo>
                  <a:lnTo>
                    <a:pt x="212" y="245"/>
                  </a:lnTo>
                  <a:lnTo>
                    <a:pt x="212" y="245"/>
                  </a:lnTo>
                  <a:lnTo>
                    <a:pt x="212" y="244"/>
                  </a:lnTo>
                  <a:lnTo>
                    <a:pt x="212" y="243"/>
                  </a:lnTo>
                  <a:lnTo>
                    <a:pt x="212" y="243"/>
                  </a:lnTo>
                  <a:lnTo>
                    <a:pt x="212" y="242"/>
                  </a:lnTo>
                  <a:lnTo>
                    <a:pt x="212" y="241"/>
                  </a:lnTo>
                  <a:lnTo>
                    <a:pt x="211" y="241"/>
                  </a:lnTo>
                  <a:lnTo>
                    <a:pt x="210" y="240"/>
                  </a:lnTo>
                  <a:lnTo>
                    <a:pt x="209" y="239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4" y="234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3" y="232"/>
                  </a:lnTo>
                  <a:lnTo>
                    <a:pt x="202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30"/>
                  </a:lnTo>
                  <a:lnTo>
                    <a:pt x="205" y="230"/>
                  </a:lnTo>
                  <a:lnTo>
                    <a:pt x="206" y="229"/>
                  </a:lnTo>
                  <a:lnTo>
                    <a:pt x="207" y="229"/>
                  </a:lnTo>
                  <a:lnTo>
                    <a:pt x="207" y="228"/>
                  </a:lnTo>
                  <a:lnTo>
                    <a:pt x="208" y="228"/>
                  </a:lnTo>
                  <a:lnTo>
                    <a:pt x="208" y="227"/>
                  </a:lnTo>
                  <a:lnTo>
                    <a:pt x="209" y="227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0" y="225"/>
                  </a:lnTo>
                  <a:lnTo>
                    <a:pt x="210" y="224"/>
                  </a:lnTo>
                  <a:lnTo>
                    <a:pt x="210" y="224"/>
                  </a:lnTo>
                  <a:lnTo>
                    <a:pt x="209" y="223"/>
                  </a:lnTo>
                  <a:lnTo>
                    <a:pt x="209" y="222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08" y="218"/>
                  </a:lnTo>
                  <a:lnTo>
                    <a:pt x="208" y="217"/>
                  </a:lnTo>
                  <a:lnTo>
                    <a:pt x="209" y="217"/>
                  </a:lnTo>
                  <a:lnTo>
                    <a:pt x="209" y="216"/>
                  </a:lnTo>
                  <a:lnTo>
                    <a:pt x="209" y="215"/>
                  </a:lnTo>
                  <a:lnTo>
                    <a:pt x="210" y="215"/>
                  </a:lnTo>
                  <a:lnTo>
                    <a:pt x="210" y="214"/>
                  </a:lnTo>
                  <a:lnTo>
                    <a:pt x="211" y="214"/>
                  </a:lnTo>
                  <a:lnTo>
                    <a:pt x="211" y="213"/>
                  </a:lnTo>
                  <a:lnTo>
                    <a:pt x="212" y="213"/>
                  </a:lnTo>
                  <a:lnTo>
                    <a:pt x="214" y="212"/>
                  </a:lnTo>
                  <a:lnTo>
                    <a:pt x="215" y="211"/>
                  </a:lnTo>
                  <a:lnTo>
                    <a:pt x="216" y="211"/>
                  </a:lnTo>
                  <a:lnTo>
                    <a:pt x="217" y="210"/>
                  </a:lnTo>
                  <a:lnTo>
                    <a:pt x="218" y="209"/>
                  </a:lnTo>
                  <a:lnTo>
                    <a:pt x="219" y="208"/>
                  </a:lnTo>
                  <a:lnTo>
                    <a:pt x="219" y="208"/>
                  </a:lnTo>
                  <a:lnTo>
                    <a:pt x="219" y="207"/>
                  </a:lnTo>
                  <a:lnTo>
                    <a:pt x="219" y="206"/>
                  </a:lnTo>
                  <a:lnTo>
                    <a:pt x="219" y="205"/>
                  </a:lnTo>
                  <a:lnTo>
                    <a:pt x="219" y="203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18" y="201"/>
                  </a:lnTo>
                  <a:lnTo>
                    <a:pt x="218" y="201"/>
                  </a:lnTo>
                  <a:lnTo>
                    <a:pt x="218" y="200"/>
                  </a:lnTo>
                  <a:lnTo>
                    <a:pt x="217" y="200"/>
                  </a:lnTo>
                  <a:lnTo>
                    <a:pt x="217" y="199"/>
                  </a:lnTo>
                  <a:lnTo>
                    <a:pt x="217" y="198"/>
                  </a:lnTo>
                  <a:lnTo>
                    <a:pt x="215" y="198"/>
                  </a:lnTo>
                  <a:lnTo>
                    <a:pt x="213" y="196"/>
                  </a:lnTo>
                  <a:lnTo>
                    <a:pt x="212" y="195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10" y="191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0" y="188"/>
                  </a:lnTo>
                  <a:lnTo>
                    <a:pt x="210" y="187"/>
                  </a:lnTo>
                  <a:lnTo>
                    <a:pt x="211" y="186"/>
                  </a:lnTo>
                  <a:lnTo>
                    <a:pt x="211" y="185"/>
                  </a:lnTo>
                  <a:lnTo>
                    <a:pt x="212" y="184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3" y="181"/>
                  </a:lnTo>
                  <a:lnTo>
                    <a:pt x="214" y="180"/>
                  </a:lnTo>
                  <a:lnTo>
                    <a:pt x="215" y="178"/>
                  </a:lnTo>
                  <a:lnTo>
                    <a:pt x="216" y="178"/>
                  </a:lnTo>
                  <a:lnTo>
                    <a:pt x="217" y="177"/>
                  </a:lnTo>
                  <a:lnTo>
                    <a:pt x="219" y="175"/>
                  </a:lnTo>
                  <a:lnTo>
                    <a:pt x="220" y="175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3"/>
                  </a:lnTo>
                  <a:lnTo>
                    <a:pt x="222" y="173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2" y="171"/>
                  </a:lnTo>
                  <a:lnTo>
                    <a:pt x="221" y="171"/>
                  </a:lnTo>
                  <a:lnTo>
                    <a:pt x="221" y="170"/>
                  </a:lnTo>
                  <a:lnTo>
                    <a:pt x="221" y="169"/>
                  </a:lnTo>
                  <a:lnTo>
                    <a:pt x="220" y="168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7" y="165"/>
                  </a:lnTo>
                  <a:lnTo>
                    <a:pt x="217" y="164"/>
                  </a:lnTo>
                  <a:lnTo>
                    <a:pt x="217" y="163"/>
                  </a:lnTo>
                  <a:lnTo>
                    <a:pt x="217" y="163"/>
                  </a:lnTo>
                  <a:lnTo>
                    <a:pt x="217" y="162"/>
                  </a:lnTo>
                  <a:lnTo>
                    <a:pt x="217" y="161"/>
                  </a:lnTo>
                  <a:lnTo>
                    <a:pt x="217" y="160"/>
                  </a:lnTo>
                  <a:lnTo>
                    <a:pt x="217" y="159"/>
                  </a:lnTo>
                  <a:lnTo>
                    <a:pt x="218" y="159"/>
                  </a:lnTo>
                  <a:lnTo>
                    <a:pt x="218" y="158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3" y="151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8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2" y="147"/>
                  </a:lnTo>
                  <a:lnTo>
                    <a:pt x="222" y="146"/>
                  </a:lnTo>
                  <a:lnTo>
                    <a:pt x="222" y="146"/>
                  </a:lnTo>
                  <a:lnTo>
                    <a:pt x="221" y="146"/>
                  </a:lnTo>
                  <a:lnTo>
                    <a:pt x="218" y="145"/>
                  </a:lnTo>
                  <a:lnTo>
                    <a:pt x="217" y="145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5" y="144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0"/>
                  </a:lnTo>
                  <a:lnTo>
                    <a:pt x="215" y="140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8"/>
                  </a:lnTo>
                  <a:lnTo>
                    <a:pt x="215" y="138"/>
                  </a:lnTo>
                  <a:lnTo>
                    <a:pt x="215" y="138"/>
                  </a:lnTo>
                  <a:lnTo>
                    <a:pt x="210" y="134"/>
                  </a:lnTo>
                  <a:lnTo>
                    <a:pt x="207" y="132"/>
                  </a:lnTo>
                  <a:lnTo>
                    <a:pt x="206" y="131"/>
                  </a:lnTo>
                  <a:lnTo>
                    <a:pt x="206" y="131"/>
                  </a:lnTo>
                  <a:lnTo>
                    <a:pt x="205" y="130"/>
                  </a:lnTo>
                  <a:lnTo>
                    <a:pt x="205" y="130"/>
                  </a:lnTo>
                  <a:lnTo>
                    <a:pt x="205" y="129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7"/>
                  </a:lnTo>
                  <a:lnTo>
                    <a:pt x="205" y="126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6" y="119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3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8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4"/>
                  </a:lnTo>
                  <a:lnTo>
                    <a:pt x="214" y="101"/>
                  </a:lnTo>
                  <a:lnTo>
                    <a:pt x="215" y="100"/>
                  </a:lnTo>
                  <a:lnTo>
                    <a:pt x="216" y="99"/>
                  </a:lnTo>
                  <a:lnTo>
                    <a:pt x="216" y="98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20" y="95"/>
                  </a:lnTo>
                  <a:lnTo>
                    <a:pt x="221" y="95"/>
                  </a:lnTo>
                  <a:lnTo>
                    <a:pt x="222" y="95"/>
                  </a:lnTo>
                  <a:lnTo>
                    <a:pt x="223" y="94"/>
                  </a:lnTo>
                  <a:lnTo>
                    <a:pt x="226" y="94"/>
                  </a:lnTo>
                  <a:lnTo>
                    <a:pt x="228" y="94"/>
                  </a:lnTo>
                  <a:lnTo>
                    <a:pt x="230" y="93"/>
                  </a:lnTo>
                  <a:lnTo>
                    <a:pt x="231" y="93"/>
                  </a:lnTo>
                  <a:lnTo>
                    <a:pt x="232" y="93"/>
                  </a:lnTo>
                  <a:lnTo>
                    <a:pt x="233" y="92"/>
                  </a:lnTo>
                  <a:lnTo>
                    <a:pt x="234" y="92"/>
                  </a:lnTo>
                  <a:lnTo>
                    <a:pt x="234" y="91"/>
                  </a:lnTo>
                  <a:lnTo>
                    <a:pt x="235" y="91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8"/>
                  </a:lnTo>
                  <a:lnTo>
                    <a:pt x="235" y="88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3" y="87"/>
                  </a:lnTo>
                  <a:lnTo>
                    <a:pt x="233" y="86"/>
                  </a:lnTo>
                  <a:lnTo>
                    <a:pt x="232" y="86"/>
                  </a:lnTo>
                  <a:lnTo>
                    <a:pt x="231" y="86"/>
                  </a:lnTo>
                  <a:lnTo>
                    <a:pt x="229" y="85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3"/>
                  </a:lnTo>
                  <a:lnTo>
                    <a:pt x="228" y="83"/>
                  </a:lnTo>
                  <a:lnTo>
                    <a:pt x="228" y="82"/>
                  </a:lnTo>
                  <a:lnTo>
                    <a:pt x="229" y="81"/>
                  </a:lnTo>
                  <a:lnTo>
                    <a:pt x="231" y="80"/>
                  </a:lnTo>
                  <a:lnTo>
                    <a:pt x="231" y="79"/>
                  </a:lnTo>
                  <a:lnTo>
                    <a:pt x="232" y="79"/>
                  </a:lnTo>
                  <a:lnTo>
                    <a:pt x="233" y="78"/>
                  </a:lnTo>
                  <a:lnTo>
                    <a:pt x="234" y="77"/>
                  </a:lnTo>
                  <a:lnTo>
                    <a:pt x="235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7" y="77"/>
                  </a:lnTo>
                  <a:lnTo>
                    <a:pt x="238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0" y="77"/>
                  </a:lnTo>
                  <a:lnTo>
                    <a:pt x="240" y="78"/>
                  </a:lnTo>
                  <a:lnTo>
                    <a:pt x="241" y="78"/>
                  </a:lnTo>
                  <a:lnTo>
                    <a:pt x="241" y="79"/>
                  </a:lnTo>
                  <a:lnTo>
                    <a:pt x="242" y="80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3" y="82"/>
                  </a:lnTo>
                  <a:lnTo>
                    <a:pt x="243" y="82"/>
                  </a:lnTo>
                  <a:lnTo>
                    <a:pt x="244" y="83"/>
                  </a:lnTo>
                  <a:lnTo>
                    <a:pt x="244" y="83"/>
                  </a:lnTo>
                  <a:lnTo>
                    <a:pt x="245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8" y="82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1"/>
                  </a:lnTo>
                  <a:lnTo>
                    <a:pt x="250" y="80"/>
                  </a:lnTo>
                  <a:lnTo>
                    <a:pt x="250" y="78"/>
                  </a:lnTo>
                  <a:lnTo>
                    <a:pt x="251" y="77"/>
                  </a:lnTo>
                  <a:lnTo>
                    <a:pt x="251" y="76"/>
                  </a:lnTo>
                  <a:lnTo>
                    <a:pt x="251" y="75"/>
                  </a:lnTo>
                  <a:lnTo>
                    <a:pt x="251" y="75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3"/>
                  </a:lnTo>
                  <a:lnTo>
                    <a:pt x="251" y="72"/>
                  </a:lnTo>
                  <a:lnTo>
                    <a:pt x="250" y="71"/>
                  </a:lnTo>
                  <a:lnTo>
                    <a:pt x="249" y="70"/>
                  </a:lnTo>
                  <a:lnTo>
                    <a:pt x="249" y="69"/>
                  </a:lnTo>
                  <a:lnTo>
                    <a:pt x="247" y="68"/>
                  </a:lnTo>
                  <a:lnTo>
                    <a:pt x="247" y="67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5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3"/>
                  </a:lnTo>
                  <a:lnTo>
                    <a:pt x="249" y="63"/>
                  </a:lnTo>
                  <a:lnTo>
                    <a:pt x="249" y="63"/>
                  </a:lnTo>
                  <a:lnTo>
                    <a:pt x="250" y="63"/>
                  </a:lnTo>
                  <a:lnTo>
                    <a:pt x="251" y="62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4" y="61"/>
                  </a:lnTo>
                  <a:lnTo>
                    <a:pt x="255" y="59"/>
                  </a:lnTo>
                  <a:lnTo>
                    <a:pt x="256" y="58"/>
                  </a:lnTo>
                  <a:lnTo>
                    <a:pt x="257" y="57"/>
                  </a:lnTo>
                  <a:lnTo>
                    <a:pt x="258" y="55"/>
                  </a:lnTo>
                  <a:lnTo>
                    <a:pt x="258" y="54"/>
                  </a:lnTo>
                  <a:lnTo>
                    <a:pt x="259" y="53"/>
                  </a:lnTo>
                  <a:lnTo>
                    <a:pt x="259" y="52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7" y="45"/>
                  </a:lnTo>
                  <a:lnTo>
                    <a:pt x="257" y="44"/>
                  </a:lnTo>
                  <a:lnTo>
                    <a:pt x="256" y="44"/>
                  </a:lnTo>
                  <a:lnTo>
                    <a:pt x="253" y="42"/>
                  </a:lnTo>
                  <a:lnTo>
                    <a:pt x="253" y="42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51" y="40"/>
                  </a:lnTo>
                  <a:lnTo>
                    <a:pt x="250" y="39"/>
                  </a:lnTo>
                  <a:lnTo>
                    <a:pt x="250" y="38"/>
                  </a:lnTo>
                  <a:lnTo>
                    <a:pt x="250" y="38"/>
                  </a:lnTo>
                  <a:lnTo>
                    <a:pt x="250" y="37"/>
                  </a:lnTo>
                  <a:lnTo>
                    <a:pt x="250" y="37"/>
                  </a:lnTo>
                  <a:lnTo>
                    <a:pt x="250" y="36"/>
                  </a:lnTo>
                  <a:lnTo>
                    <a:pt x="250" y="35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6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57" y="23"/>
                  </a:lnTo>
                  <a:lnTo>
                    <a:pt x="259" y="22"/>
                  </a:lnTo>
                  <a:lnTo>
                    <a:pt x="260" y="21"/>
                  </a:lnTo>
                  <a:lnTo>
                    <a:pt x="261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8"/>
                  </a:lnTo>
                  <a:lnTo>
                    <a:pt x="264" y="17"/>
                  </a:lnTo>
                  <a:lnTo>
                    <a:pt x="265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1" y="18"/>
                  </a:lnTo>
                  <a:lnTo>
                    <a:pt x="272" y="18"/>
                  </a:lnTo>
                  <a:lnTo>
                    <a:pt x="273" y="18"/>
                  </a:lnTo>
                  <a:lnTo>
                    <a:pt x="275" y="18"/>
                  </a:lnTo>
                  <a:lnTo>
                    <a:pt x="277" y="17"/>
                  </a:lnTo>
                  <a:lnTo>
                    <a:pt x="280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7" y="18"/>
                  </a:lnTo>
                  <a:lnTo>
                    <a:pt x="289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5" y="18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8" y="16"/>
                  </a:lnTo>
                  <a:lnTo>
                    <a:pt x="298" y="15"/>
                  </a:lnTo>
                  <a:lnTo>
                    <a:pt x="298" y="14"/>
                  </a:lnTo>
                  <a:lnTo>
                    <a:pt x="299" y="13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2" y="2"/>
                  </a:lnTo>
                  <a:lnTo>
                    <a:pt x="302" y="1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Freeform 69">
              <a:extLst>
                <a:ext uri="{FF2B5EF4-FFF2-40B4-BE49-F238E27FC236}">
                  <a16:creationId xmlns:a16="http://schemas.microsoft.com/office/drawing/2014/main" id="{CD9B00AA-D930-C850-5495-3C88BCF7D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140"/>
              <a:ext cx="365" cy="541"/>
            </a:xfrm>
            <a:custGeom>
              <a:avLst/>
              <a:gdLst>
                <a:gd name="T0" fmla="*/ 183 w 365"/>
                <a:gd name="T1" fmla="*/ 74 h 541"/>
                <a:gd name="T2" fmla="*/ 199 w 365"/>
                <a:gd name="T3" fmla="*/ 75 h 541"/>
                <a:gd name="T4" fmla="*/ 205 w 365"/>
                <a:gd name="T5" fmla="*/ 104 h 541"/>
                <a:gd name="T6" fmla="*/ 178 w 365"/>
                <a:gd name="T7" fmla="*/ 117 h 541"/>
                <a:gd name="T8" fmla="*/ 153 w 365"/>
                <a:gd name="T9" fmla="*/ 151 h 541"/>
                <a:gd name="T10" fmla="*/ 137 w 365"/>
                <a:gd name="T11" fmla="*/ 197 h 541"/>
                <a:gd name="T12" fmla="*/ 143 w 365"/>
                <a:gd name="T13" fmla="*/ 226 h 541"/>
                <a:gd name="T14" fmla="*/ 133 w 365"/>
                <a:gd name="T15" fmla="*/ 253 h 541"/>
                <a:gd name="T16" fmla="*/ 143 w 365"/>
                <a:gd name="T17" fmla="*/ 275 h 541"/>
                <a:gd name="T18" fmla="*/ 152 w 365"/>
                <a:gd name="T19" fmla="*/ 287 h 541"/>
                <a:gd name="T20" fmla="*/ 184 w 365"/>
                <a:gd name="T21" fmla="*/ 270 h 541"/>
                <a:gd name="T22" fmla="*/ 195 w 365"/>
                <a:gd name="T23" fmla="*/ 287 h 541"/>
                <a:gd name="T24" fmla="*/ 208 w 365"/>
                <a:gd name="T25" fmla="*/ 288 h 541"/>
                <a:gd name="T26" fmla="*/ 222 w 365"/>
                <a:gd name="T27" fmla="*/ 279 h 541"/>
                <a:gd name="T28" fmla="*/ 229 w 365"/>
                <a:gd name="T29" fmla="*/ 270 h 541"/>
                <a:gd name="T30" fmla="*/ 240 w 365"/>
                <a:gd name="T31" fmla="*/ 299 h 541"/>
                <a:gd name="T32" fmla="*/ 269 w 365"/>
                <a:gd name="T33" fmla="*/ 317 h 541"/>
                <a:gd name="T34" fmla="*/ 294 w 365"/>
                <a:gd name="T35" fmla="*/ 318 h 541"/>
                <a:gd name="T36" fmla="*/ 297 w 365"/>
                <a:gd name="T37" fmla="*/ 350 h 541"/>
                <a:gd name="T38" fmla="*/ 314 w 365"/>
                <a:gd name="T39" fmla="*/ 355 h 541"/>
                <a:gd name="T40" fmla="*/ 347 w 365"/>
                <a:gd name="T41" fmla="*/ 394 h 541"/>
                <a:gd name="T42" fmla="*/ 355 w 365"/>
                <a:gd name="T43" fmla="*/ 401 h 541"/>
                <a:gd name="T44" fmla="*/ 361 w 365"/>
                <a:gd name="T45" fmla="*/ 419 h 541"/>
                <a:gd name="T46" fmla="*/ 341 w 365"/>
                <a:gd name="T47" fmla="*/ 426 h 541"/>
                <a:gd name="T48" fmla="*/ 324 w 365"/>
                <a:gd name="T49" fmla="*/ 456 h 541"/>
                <a:gd name="T50" fmla="*/ 299 w 365"/>
                <a:gd name="T51" fmla="*/ 451 h 541"/>
                <a:gd name="T52" fmla="*/ 282 w 365"/>
                <a:gd name="T53" fmla="*/ 457 h 541"/>
                <a:gd name="T54" fmla="*/ 282 w 365"/>
                <a:gd name="T55" fmla="*/ 476 h 541"/>
                <a:gd name="T56" fmla="*/ 256 w 365"/>
                <a:gd name="T57" fmla="*/ 477 h 541"/>
                <a:gd name="T58" fmla="*/ 239 w 365"/>
                <a:gd name="T59" fmla="*/ 496 h 541"/>
                <a:gd name="T60" fmla="*/ 208 w 365"/>
                <a:gd name="T61" fmla="*/ 488 h 541"/>
                <a:gd name="T62" fmla="*/ 198 w 365"/>
                <a:gd name="T63" fmla="*/ 479 h 541"/>
                <a:gd name="T64" fmla="*/ 196 w 365"/>
                <a:gd name="T65" fmla="*/ 508 h 541"/>
                <a:gd name="T66" fmla="*/ 165 w 365"/>
                <a:gd name="T67" fmla="*/ 530 h 541"/>
                <a:gd name="T68" fmla="*/ 141 w 365"/>
                <a:gd name="T69" fmla="*/ 541 h 541"/>
                <a:gd name="T70" fmla="*/ 111 w 365"/>
                <a:gd name="T71" fmla="*/ 507 h 541"/>
                <a:gd name="T72" fmla="*/ 106 w 365"/>
                <a:gd name="T73" fmla="*/ 484 h 541"/>
                <a:gd name="T74" fmla="*/ 94 w 365"/>
                <a:gd name="T75" fmla="*/ 477 h 541"/>
                <a:gd name="T76" fmla="*/ 77 w 365"/>
                <a:gd name="T77" fmla="*/ 448 h 541"/>
                <a:gd name="T78" fmla="*/ 50 w 365"/>
                <a:gd name="T79" fmla="*/ 448 h 541"/>
                <a:gd name="T80" fmla="*/ 63 w 365"/>
                <a:gd name="T81" fmla="*/ 470 h 541"/>
                <a:gd name="T82" fmla="*/ 43 w 365"/>
                <a:gd name="T83" fmla="*/ 490 h 541"/>
                <a:gd name="T84" fmla="*/ 36 w 365"/>
                <a:gd name="T85" fmla="*/ 470 h 541"/>
                <a:gd name="T86" fmla="*/ 28 w 365"/>
                <a:gd name="T87" fmla="*/ 435 h 541"/>
                <a:gd name="T88" fmla="*/ 15 w 365"/>
                <a:gd name="T89" fmla="*/ 419 h 541"/>
                <a:gd name="T90" fmla="*/ 22 w 365"/>
                <a:gd name="T91" fmla="*/ 404 h 541"/>
                <a:gd name="T92" fmla="*/ 32 w 365"/>
                <a:gd name="T93" fmla="*/ 384 h 541"/>
                <a:gd name="T94" fmla="*/ 40 w 365"/>
                <a:gd name="T95" fmla="*/ 353 h 541"/>
                <a:gd name="T96" fmla="*/ 27 w 365"/>
                <a:gd name="T97" fmla="*/ 333 h 541"/>
                <a:gd name="T98" fmla="*/ 18 w 365"/>
                <a:gd name="T99" fmla="*/ 306 h 541"/>
                <a:gd name="T100" fmla="*/ 9 w 365"/>
                <a:gd name="T101" fmla="*/ 274 h 541"/>
                <a:gd name="T102" fmla="*/ 4 w 365"/>
                <a:gd name="T103" fmla="*/ 225 h 541"/>
                <a:gd name="T104" fmla="*/ 12 w 365"/>
                <a:gd name="T105" fmla="*/ 206 h 541"/>
                <a:gd name="T106" fmla="*/ 25 w 365"/>
                <a:gd name="T107" fmla="*/ 176 h 541"/>
                <a:gd name="T108" fmla="*/ 39 w 365"/>
                <a:gd name="T109" fmla="*/ 128 h 541"/>
                <a:gd name="T110" fmla="*/ 53 w 365"/>
                <a:gd name="T111" fmla="*/ 105 h 541"/>
                <a:gd name="T112" fmla="*/ 80 w 365"/>
                <a:gd name="T113" fmla="*/ 103 h 541"/>
                <a:gd name="T114" fmla="*/ 85 w 365"/>
                <a:gd name="T115" fmla="*/ 78 h 541"/>
                <a:gd name="T116" fmla="*/ 57 w 365"/>
                <a:gd name="T117" fmla="*/ 44 h 541"/>
                <a:gd name="T118" fmla="*/ 40 w 365"/>
                <a:gd name="T119" fmla="*/ 14 h 541"/>
                <a:gd name="T120" fmla="*/ 69 w 365"/>
                <a:gd name="T121" fmla="*/ 10 h 541"/>
                <a:gd name="T122" fmla="*/ 113 w 365"/>
                <a:gd name="T123" fmla="*/ 22 h 541"/>
                <a:gd name="T124" fmla="*/ 143 w 365"/>
                <a:gd name="T125" fmla="*/ 4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5" h="541">
                  <a:moveTo>
                    <a:pt x="169" y="56"/>
                  </a:moveTo>
                  <a:lnTo>
                    <a:pt x="170" y="55"/>
                  </a:lnTo>
                  <a:lnTo>
                    <a:pt x="171" y="55"/>
                  </a:lnTo>
                  <a:lnTo>
                    <a:pt x="172" y="55"/>
                  </a:lnTo>
                  <a:lnTo>
                    <a:pt x="176" y="54"/>
                  </a:lnTo>
                  <a:lnTo>
                    <a:pt x="177" y="54"/>
                  </a:lnTo>
                  <a:lnTo>
                    <a:pt x="178" y="54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5"/>
                  </a:lnTo>
                  <a:lnTo>
                    <a:pt x="181" y="55"/>
                  </a:lnTo>
                  <a:lnTo>
                    <a:pt x="181" y="56"/>
                  </a:lnTo>
                  <a:lnTo>
                    <a:pt x="182" y="58"/>
                  </a:lnTo>
                  <a:lnTo>
                    <a:pt x="183" y="61"/>
                  </a:lnTo>
                  <a:lnTo>
                    <a:pt x="183" y="62"/>
                  </a:lnTo>
                  <a:lnTo>
                    <a:pt x="183" y="62"/>
                  </a:lnTo>
                  <a:lnTo>
                    <a:pt x="183" y="63"/>
                  </a:lnTo>
                  <a:lnTo>
                    <a:pt x="183" y="64"/>
                  </a:lnTo>
                  <a:lnTo>
                    <a:pt x="182" y="72"/>
                  </a:lnTo>
                  <a:lnTo>
                    <a:pt x="182" y="73"/>
                  </a:lnTo>
                  <a:lnTo>
                    <a:pt x="183" y="74"/>
                  </a:lnTo>
                  <a:lnTo>
                    <a:pt x="183" y="76"/>
                  </a:lnTo>
                  <a:lnTo>
                    <a:pt x="183" y="77"/>
                  </a:lnTo>
                  <a:lnTo>
                    <a:pt x="184" y="77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5" y="79"/>
                  </a:lnTo>
                  <a:lnTo>
                    <a:pt x="185" y="79"/>
                  </a:lnTo>
                  <a:lnTo>
                    <a:pt x="186" y="79"/>
                  </a:lnTo>
                  <a:lnTo>
                    <a:pt x="186" y="79"/>
                  </a:lnTo>
                  <a:lnTo>
                    <a:pt x="187" y="78"/>
                  </a:lnTo>
                  <a:lnTo>
                    <a:pt x="187" y="78"/>
                  </a:lnTo>
                  <a:lnTo>
                    <a:pt x="189" y="77"/>
                  </a:lnTo>
                  <a:lnTo>
                    <a:pt x="190" y="76"/>
                  </a:lnTo>
                  <a:lnTo>
                    <a:pt x="190" y="76"/>
                  </a:lnTo>
                  <a:lnTo>
                    <a:pt x="191" y="75"/>
                  </a:lnTo>
                  <a:lnTo>
                    <a:pt x="192" y="75"/>
                  </a:lnTo>
                  <a:lnTo>
                    <a:pt x="192" y="75"/>
                  </a:lnTo>
                  <a:lnTo>
                    <a:pt x="194" y="75"/>
                  </a:lnTo>
                  <a:lnTo>
                    <a:pt x="194" y="74"/>
                  </a:lnTo>
                  <a:lnTo>
                    <a:pt x="195" y="74"/>
                  </a:lnTo>
                  <a:lnTo>
                    <a:pt x="197" y="75"/>
                  </a:lnTo>
                  <a:lnTo>
                    <a:pt x="198" y="75"/>
                  </a:lnTo>
                  <a:lnTo>
                    <a:pt x="199" y="75"/>
                  </a:lnTo>
                  <a:lnTo>
                    <a:pt x="200" y="76"/>
                  </a:lnTo>
                  <a:lnTo>
                    <a:pt x="201" y="76"/>
                  </a:lnTo>
                  <a:lnTo>
                    <a:pt x="202" y="77"/>
                  </a:lnTo>
                  <a:lnTo>
                    <a:pt x="203" y="77"/>
                  </a:lnTo>
                  <a:lnTo>
                    <a:pt x="204" y="78"/>
                  </a:lnTo>
                  <a:lnTo>
                    <a:pt x="204" y="78"/>
                  </a:lnTo>
                  <a:lnTo>
                    <a:pt x="205" y="79"/>
                  </a:lnTo>
                  <a:lnTo>
                    <a:pt x="206" y="80"/>
                  </a:lnTo>
                  <a:lnTo>
                    <a:pt x="206" y="81"/>
                  </a:lnTo>
                  <a:lnTo>
                    <a:pt x="207" y="82"/>
                  </a:lnTo>
                  <a:lnTo>
                    <a:pt x="207" y="82"/>
                  </a:lnTo>
                  <a:lnTo>
                    <a:pt x="208" y="83"/>
                  </a:lnTo>
                  <a:lnTo>
                    <a:pt x="208" y="84"/>
                  </a:lnTo>
                  <a:lnTo>
                    <a:pt x="208" y="85"/>
                  </a:lnTo>
                  <a:lnTo>
                    <a:pt x="208" y="85"/>
                  </a:lnTo>
                  <a:lnTo>
                    <a:pt x="208" y="94"/>
                  </a:lnTo>
                  <a:lnTo>
                    <a:pt x="207" y="97"/>
                  </a:lnTo>
                  <a:lnTo>
                    <a:pt x="207" y="98"/>
                  </a:lnTo>
                  <a:lnTo>
                    <a:pt x="207" y="100"/>
                  </a:lnTo>
                  <a:lnTo>
                    <a:pt x="206" y="101"/>
                  </a:lnTo>
                  <a:lnTo>
                    <a:pt x="206" y="102"/>
                  </a:lnTo>
                  <a:lnTo>
                    <a:pt x="206" y="103"/>
                  </a:lnTo>
                  <a:lnTo>
                    <a:pt x="205" y="104"/>
                  </a:lnTo>
                  <a:lnTo>
                    <a:pt x="205" y="104"/>
                  </a:lnTo>
                  <a:lnTo>
                    <a:pt x="204" y="104"/>
                  </a:lnTo>
                  <a:lnTo>
                    <a:pt x="204" y="105"/>
                  </a:lnTo>
                  <a:lnTo>
                    <a:pt x="203" y="105"/>
                  </a:lnTo>
                  <a:lnTo>
                    <a:pt x="202" y="105"/>
                  </a:lnTo>
                  <a:lnTo>
                    <a:pt x="201" y="105"/>
                  </a:lnTo>
                  <a:lnTo>
                    <a:pt x="201" y="105"/>
                  </a:lnTo>
                  <a:lnTo>
                    <a:pt x="199" y="105"/>
                  </a:lnTo>
                  <a:lnTo>
                    <a:pt x="198" y="105"/>
                  </a:lnTo>
                  <a:lnTo>
                    <a:pt x="197" y="104"/>
                  </a:lnTo>
                  <a:lnTo>
                    <a:pt x="195" y="104"/>
                  </a:lnTo>
                  <a:lnTo>
                    <a:pt x="194" y="104"/>
                  </a:lnTo>
                  <a:lnTo>
                    <a:pt x="194" y="104"/>
                  </a:lnTo>
                  <a:lnTo>
                    <a:pt x="193" y="105"/>
                  </a:lnTo>
                  <a:lnTo>
                    <a:pt x="193" y="105"/>
                  </a:lnTo>
                  <a:lnTo>
                    <a:pt x="191" y="106"/>
                  </a:lnTo>
                  <a:lnTo>
                    <a:pt x="190" y="107"/>
                  </a:lnTo>
                  <a:lnTo>
                    <a:pt x="189" y="109"/>
                  </a:lnTo>
                  <a:lnTo>
                    <a:pt x="185" y="113"/>
                  </a:lnTo>
                  <a:lnTo>
                    <a:pt x="184" y="114"/>
                  </a:lnTo>
                  <a:lnTo>
                    <a:pt x="183" y="115"/>
                  </a:lnTo>
                  <a:lnTo>
                    <a:pt x="182" y="115"/>
                  </a:lnTo>
                  <a:lnTo>
                    <a:pt x="181" y="116"/>
                  </a:lnTo>
                  <a:lnTo>
                    <a:pt x="180" y="116"/>
                  </a:lnTo>
                  <a:lnTo>
                    <a:pt x="178" y="117"/>
                  </a:lnTo>
                  <a:lnTo>
                    <a:pt x="177" y="118"/>
                  </a:lnTo>
                  <a:lnTo>
                    <a:pt x="176" y="118"/>
                  </a:lnTo>
                  <a:lnTo>
                    <a:pt x="175" y="119"/>
                  </a:lnTo>
                  <a:lnTo>
                    <a:pt x="174" y="120"/>
                  </a:lnTo>
                  <a:lnTo>
                    <a:pt x="173" y="120"/>
                  </a:lnTo>
                  <a:lnTo>
                    <a:pt x="171" y="123"/>
                  </a:lnTo>
                  <a:lnTo>
                    <a:pt x="170" y="123"/>
                  </a:lnTo>
                  <a:lnTo>
                    <a:pt x="169" y="124"/>
                  </a:lnTo>
                  <a:lnTo>
                    <a:pt x="167" y="126"/>
                  </a:lnTo>
                  <a:lnTo>
                    <a:pt x="166" y="126"/>
                  </a:lnTo>
                  <a:lnTo>
                    <a:pt x="165" y="128"/>
                  </a:lnTo>
                  <a:lnTo>
                    <a:pt x="163" y="130"/>
                  </a:lnTo>
                  <a:lnTo>
                    <a:pt x="158" y="136"/>
                  </a:lnTo>
                  <a:lnTo>
                    <a:pt x="156" y="138"/>
                  </a:lnTo>
                  <a:lnTo>
                    <a:pt x="156" y="139"/>
                  </a:lnTo>
                  <a:lnTo>
                    <a:pt x="155" y="140"/>
                  </a:lnTo>
                  <a:lnTo>
                    <a:pt x="155" y="141"/>
                  </a:lnTo>
                  <a:lnTo>
                    <a:pt x="155" y="142"/>
                  </a:lnTo>
                  <a:lnTo>
                    <a:pt x="155" y="145"/>
                  </a:lnTo>
                  <a:lnTo>
                    <a:pt x="154" y="147"/>
                  </a:lnTo>
                  <a:lnTo>
                    <a:pt x="154" y="148"/>
                  </a:lnTo>
                  <a:lnTo>
                    <a:pt x="154" y="149"/>
                  </a:lnTo>
                  <a:lnTo>
                    <a:pt x="154" y="150"/>
                  </a:lnTo>
                  <a:lnTo>
                    <a:pt x="153" y="151"/>
                  </a:lnTo>
                  <a:lnTo>
                    <a:pt x="152" y="155"/>
                  </a:lnTo>
                  <a:lnTo>
                    <a:pt x="151" y="156"/>
                  </a:lnTo>
                  <a:lnTo>
                    <a:pt x="151" y="157"/>
                  </a:lnTo>
                  <a:lnTo>
                    <a:pt x="150" y="158"/>
                  </a:lnTo>
                  <a:lnTo>
                    <a:pt x="150" y="160"/>
                  </a:lnTo>
                  <a:lnTo>
                    <a:pt x="150" y="161"/>
                  </a:lnTo>
                  <a:lnTo>
                    <a:pt x="151" y="166"/>
                  </a:lnTo>
                  <a:lnTo>
                    <a:pt x="151" y="170"/>
                  </a:lnTo>
                  <a:lnTo>
                    <a:pt x="151" y="172"/>
                  </a:lnTo>
                  <a:lnTo>
                    <a:pt x="151" y="174"/>
                  </a:lnTo>
                  <a:lnTo>
                    <a:pt x="151" y="175"/>
                  </a:lnTo>
                  <a:lnTo>
                    <a:pt x="150" y="176"/>
                  </a:lnTo>
                  <a:lnTo>
                    <a:pt x="150" y="178"/>
                  </a:lnTo>
                  <a:lnTo>
                    <a:pt x="150" y="179"/>
                  </a:lnTo>
                  <a:lnTo>
                    <a:pt x="149" y="180"/>
                  </a:lnTo>
                  <a:lnTo>
                    <a:pt x="149" y="181"/>
                  </a:lnTo>
                  <a:lnTo>
                    <a:pt x="148" y="182"/>
                  </a:lnTo>
                  <a:lnTo>
                    <a:pt x="147" y="184"/>
                  </a:lnTo>
                  <a:lnTo>
                    <a:pt x="146" y="184"/>
                  </a:lnTo>
                  <a:lnTo>
                    <a:pt x="141" y="191"/>
                  </a:lnTo>
                  <a:lnTo>
                    <a:pt x="140" y="192"/>
                  </a:lnTo>
                  <a:lnTo>
                    <a:pt x="139" y="194"/>
                  </a:lnTo>
                  <a:lnTo>
                    <a:pt x="138" y="195"/>
                  </a:lnTo>
                  <a:lnTo>
                    <a:pt x="137" y="197"/>
                  </a:lnTo>
                  <a:lnTo>
                    <a:pt x="136" y="199"/>
                  </a:lnTo>
                  <a:lnTo>
                    <a:pt x="135" y="200"/>
                  </a:lnTo>
                  <a:lnTo>
                    <a:pt x="135" y="201"/>
                  </a:lnTo>
                  <a:lnTo>
                    <a:pt x="135" y="202"/>
                  </a:lnTo>
                  <a:lnTo>
                    <a:pt x="135" y="203"/>
                  </a:lnTo>
                  <a:lnTo>
                    <a:pt x="134" y="204"/>
                  </a:lnTo>
                  <a:lnTo>
                    <a:pt x="134" y="208"/>
                  </a:lnTo>
                  <a:lnTo>
                    <a:pt x="133" y="212"/>
                  </a:lnTo>
                  <a:lnTo>
                    <a:pt x="133" y="212"/>
                  </a:lnTo>
                  <a:lnTo>
                    <a:pt x="133" y="213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4" y="215"/>
                  </a:lnTo>
                  <a:lnTo>
                    <a:pt x="135" y="216"/>
                  </a:lnTo>
                  <a:lnTo>
                    <a:pt x="135" y="216"/>
                  </a:lnTo>
                  <a:lnTo>
                    <a:pt x="136" y="218"/>
                  </a:lnTo>
                  <a:lnTo>
                    <a:pt x="140" y="222"/>
                  </a:lnTo>
                  <a:lnTo>
                    <a:pt x="141" y="223"/>
                  </a:lnTo>
                  <a:lnTo>
                    <a:pt x="141" y="224"/>
                  </a:lnTo>
                  <a:lnTo>
                    <a:pt x="142" y="224"/>
                  </a:lnTo>
                  <a:lnTo>
                    <a:pt x="142" y="225"/>
                  </a:lnTo>
                  <a:lnTo>
                    <a:pt x="142" y="226"/>
                  </a:lnTo>
                  <a:lnTo>
                    <a:pt x="143" y="226"/>
                  </a:lnTo>
                  <a:lnTo>
                    <a:pt x="143" y="227"/>
                  </a:lnTo>
                  <a:lnTo>
                    <a:pt x="143" y="228"/>
                  </a:lnTo>
                  <a:lnTo>
                    <a:pt x="143" y="228"/>
                  </a:lnTo>
                  <a:lnTo>
                    <a:pt x="143" y="229"/>
                  </a:lnTo>
                  <a:lnTo>
                    <a:pt x="143" y="230"/>
                  </a:lnTo>
                  <a:lnTo>
                    <a:pt x="143" y="231"/>
                  </a:lnTo>
                  <a:lnTo>
                    <a:pt x="142" y="232"/>
                  </a:lnTo>
                  <a:lnTo>
                    <a:pt x="141" y="233"/>
                  </a:lnTo>
                  <a:lnTo>
                    <a:pt x="141" y="234"/>
                  </a:lnTo>
                  <a:lnTo>
                    <a:pt x="140" y="235"/>
                  </a:lnTo>
                  <a:lnTo>
                    <a:pt x="138" y="238"/>
                  </a:lnTo>
                  <a:lnTo>
                    <a:pt x="137" y="240"/>
                  </a:lnTo>
                  <a:lnTo>
                    <a:pt x="136" y="242"/>
                  </a:lnTo>
                  <a:lnTo>
                    <a:pt x="135" y="242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35" y="244"/>
                  </a:lnTo>
                  <a:lnTo>
                    <a:pt x="135" y="245"/>
                  </a:lnTo>
                  <a:lnTo>
                    <a:pt x="135" y="247"/>
                  </a:lnTo>
                  <a:lnTo>
                    <a:pt x="135" y="248"/>
                  </a:lnTo>
                  <a:lnTo>
                    <a:pt x="135" y="249"/>
                  </a:lnTo>
                  <a:lnTo>
                    <a:pt x="134" y="250"/>
                  </a:lnTo>
                  <a:lnTo>
                    <a:pt x="134" y="251"/>
                  </a:lnTo>
                  <a:lnTo>
                    <a:pt x="133" y="253"/>
                  </a:lnTo>
                  <a:lnTo>
                    <a:pt x="132" y="256"/>
                  </a:lnTo>
                  <a:lnTo>
                    <a:pt x="131" y="257"/>
                  </a:lnTo>
                  <a:lnTo>
                    <a:pt x="131" y="258"/>
                  </a:lnTo>
                  <a:lnTo>
                    <a:pt x="131" y="259"/>
                  </a:lnTo>
                  <a:lnTo>
                    <a:pt x="131" y="260"/>
                  </a:lnTo>
                  <a:lnTo>
                    <a:pt x="131" y="261"/>
                  </a:lnTo>
                  <a:lnTo>
                    <a:pt x="131" y="261"/>
                  </a:lnTo>
                  <a:lnTo>
                    <a:pt x="131" y="262"/>
                  </a:lnTo>
                  <a:lnTo>
                    <a:pt x="131" y="262"/>
                  </a:lnTo>
                  <a:lnTo>
                    <a:pt x="131" y="263"/>
                  </a:lnTo>
                  <a:lnTo>
                    <a:pt x="132" y="265"/>
                  </a:lnTo>
                  <a:lnTo>
                    <a:pt x="133" y="266"/>
                  </a:lnTo>
                  <a:lnTo>
                    <a:pt x="134" y="267"/>
                  </a:lnTo>
                  <a:lnTo>
                    <a:pt x="134" y="267"/>
                  </a:lnTo>
                  <a:lnTo>
                    <a:pt x="136" y="269"/>
                  </a:lnTo>
                  <a:lnTo>
                    <a:pt x="137" y="272"/>
                  </a:lnTo>
                  <a:lnTo>
                    <a:pt x="138" y="272"/>
                  </a:lnTo>
                  <a:lnTo>
                    <a:pt x="139" y="273"/>
                  </a:lnTo>
                  <a:lnTo>
                    <a:pt x="140" y="274"/>
                  </a:lnTo>
                  <a:lnTo>
                    <a:pt x="140" y="274"/>
                  </a:lnTo>
                  <a:lnTo>
                    <a:pt x="141" y="274"/>
                  </a:lnTo>
                  <a:lnTo>
                    <a:pt x="141" y="275"/>
                  </a:lnTo>
                  <a:lnTo>
                    <a:pt x="142" y="275"/>
                  </a:lnTo>
                  <a:lnTo>
                    <a:pt x="143" y="275"/>
                  </a:lnTo>
                  <a:lnTo>
                    <a:pt x="144" y="274"/>
                  </a:lnTo>
                  <a:lnTo>
                    <a:pt x="146" y="274"/>
                  </a:lnTo>
                  <a:lnTo>
                    <a:pt x="147" y="274"/>
                  </a:lnTo>
                  <a:lnTo>
                    <a:pt x="148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1" y="273"/>
                  </a:lnTo>
                  <a:lnTo>
                    <a:pt x="151" y="274"/>
                  </a:lnTo>
                  <a:lnTo>
                    <a:pt x="151" y="274"/>
                  </a:lnTo>
                  <a:lnTo>
                    <a:pt x="151" y="275"/>
                  </a:lnTo>
                  <a:lnTo>
                    <a:pt x="151" y="276"/>
                  </a:lnTo>
                  <a:lnTo>
                    <a:pt x="151" y="278"/>
                  </a:lnTo>
                  <a:lnTo>
                    <a:pt x="150" y="281"/>
                  </a:lnTo>
                  <a:lnTo>
                    <a:pt x="150" y="282"/>
                  </a:lnTo>
                  <a:lnTo>
                    <a:pt x="150" y="283"/>
                  </a:lnTo>
                  <a:lnTo>
                    <a:pt x="150" y="284"/>
                  </a:lnTo>
                  <a:lnTo>
                    <a:pt x="151" y="285"/>
                  </a:lnTo>
                  <a:lnTo>
                    <a:pt x="151" y="285"/>
                  </a:lnTo>
                  <a:lnTo>
                    <a:pt x="151" y="286"/>
                  </a:lnTo>
                  <a:lnTo>
                    <a:pt x="151" y="286"/>
                  </a:lnTo>
                  <a:lnTo>
                    <a:pt x="152" y="286"/>
                  </a:lnTo>
                  <a:lnTo>
                    <a:pt x="152" y="287"/>
                  </a:lnTo>
                  <a:lnTo>
                    <a:pt x="153" y="287"/>
                  </a:lnTo>
                  <a:lnTo>
                    <a:pt x="153" y="287"/>
                  </a:lnTo>
                  <a:lnTo>
                    <a:pt x="154" y="287"/>
                  </a:lnTo>
                  <a:lnTo>
                    <a:pt x="158" y="287"/>
                  </a:lnTo>
                  <a:lnTo>
                    <a:pt x="161" y="287"/>
                  </a:lnTo>
                  <a:lnTo>
                    <a:pt x="162" y="287"/>
                  </a:lnTo>
                  <a:lnTo>
                    <a:pt x="163" y="286"/>
                  </a:lnTo>
                  <a:lnTo>
                    <a:pt x="163" y="286"/>
                  </a:lnTo>
                  <a:lnTo>
                    <a:pt x="164" y="286"/>
                  </a:lnTo>
                  <a:lnTo>
                    <a:pt x="164" y="285"/>
                  </a:lnTo>
                  <a:lnTo>
                    <a:pt x="165" y="284"/>
                  </a:lnTo>
                  <a:lnTo>
                    <a:pt x="166" y="283"/>
                  </a:lnTo>
                  <a:lnTo>
                    <a:pt x="167" y="282"/>
                  </a:lnTo>
                  <a:lnTo>
                    <a:pt x="168" y="281"/>
                  </a:lnTo>
                  <a:lnTo>
                    <a:pt x="169" y="280"/>
                  </a:lnTo>
                  <a:lnTo>
                    <a:pt x="172" y="278"/>
                  </a:lnTo>
                  <a:lnTo>
                    <a:pt x="175" y="275"/>
                  </a:lnTo>
                  <a:lnTo>
                    <a:pt x="176" y="274"/>
                  </a:lnTo>
                  <a:lnTo>
                    <a:pt x="178" y="273"/>
                  </a:lnTo>
                  <a:lnTo>
                    <a:pt x="179" y="272"/>
                  </a:lnTo>
                  <a:lnTo>
                    <a:pt x="180" y="272"/>
                  </a:lnTo>
                  <a:lnTo>
                    <a:pt x="181" y="272"/>
                  </a:lnTo>
                  <a:lnTo>
                    <a:pt x="182" y="271"/>
                  </a:lnTo>
                  <a:lnTo>
                    <a:pt x="184" y="270"/>
                  </a:lnTo>
                  <a:lnTo>
                    <a:pt x="185" y="270"/>
                  </a:lnTo>
                  <a:lnTo>
                    <a:pt x="185" y="270"/>
                  </a:lnTo>
                  <a:lnTo>
                    <a:pt x="187" y="269"/>
                  </a:lnTo>
                  <a:lnTo>
                    <a:pt x="189" y="269"/>
                  </a:lnTo>
                  <a:lnTo>
                    <a:pt x="190" y="269"/>
                  </a:lnTo>
                  <a:lnTo>
                    <a:pt x="191" y="269"/>
                  </a:lnTo>
                  <a:lnTo>
                    <a:pt x="192" y="269"/>
                  </a:lnTo>
                  <a:lnTo>
                    <a:pt x="192" y="269"/>
                  </a:lnTo>
                  <a:lnTo>
                    <a:pt x="193" y="270"/>
                  </a:lnTo>
                  <a:lnTo>
                    <a:pt x="194" y="270"/>
                  </a:lnTo>
                  <a:lnTo>
                    <a:pt x="194" y="271"/>
                  </a:lnTo>
                  <a:lnTo>
                    <a:pt x="195" y="271"/>
                  </a:lnTo>
                  <a:lnTo>
                    <a:pt x="196" y="272"/>
                  </a:lnTo>
                  <a:lnTo>
                    <a:pt x="196" y="272"/>
                  </a:lnTo>
                  <a:lnTo>
                    <a:pt x="197" y="273"/>
                  </a:lnTo>
                  <a:lnTo>
                    <a:pt x="197" y="274"/>
                  </a:lnTo>
                  <a:lnTo>
                    <a:pt x="197" y="275"/>
                  </a:lnTo>
                  <a:lnTo>
                    <a:pt x="197" y="275"/>
                  </a:lnTo>
                  <a:lnTo>
                    <a:pt x="197" y="276"/>
                  </a:lnTo>
                  <a:lnTo>
                    <a:pt x="197" y="278"/>
                  </a:lnTo>
                  <a:lnTo>
                    <a:pt x="196" y="280"/>
                  </a:lnTo>
                  <a:lnTo>
                    <a:pt x="195" y="284"/>
                  </a:lnTo>
                  <a:lnTo>
                    <a:pt x="195" y="287"/>
                  </a:lnTo>
                  <a:lnTo>
                    <a:pt x="195" y="287"/>
                  </a:lnTo>
                  <a:lnTo>
                    <a:pt x="195" y="288"/>
                  </a:lnTo>
                  <a:lnTo>
                    <a:pt x="195" y="289"/>
                  </a:lnTo>
                  <a:lnTo>
                    <a:pt x="195" y="290"/>
                  </a:lnTo>
                  <a:lnTo>
                    <a:pt x="196" y="291"/>
                  </a:lnTo>
                  <a:lnTo>
                    <a:pt x="196" y="293"/>
                  </a:lnTo>
                  <a:lnTo>
                    <a:pt x="197" y="294"/>
                  </a:lnTo>
                  <a:lnTo>
                    <a:pt x="198" y="295"/>
                  </a:lnTo>
                  <a:lnTo>
                    <a:pt x="199" y="296"/>
                  </a:lnTo>
                  <a:lnTo>
                    <a:pt x="199" y="296"/>
                  </a:lnTo>
                  <a:lnTo>
                    <a:pt x="200" y="296"/>
                  </a:lnTo>
                  <a:lnTo>
                    <a:pt x="200" y="296"/>
                  </a:lnTo>
                  <a:lnTo>
                    <a:pt x="201" y="296"/>
                  </a:lnTo>
                  <a:lnTo>
                    <a:pt x="201" y="296"/>
                  </a:lnTo>
                  <a:lnTo>
                    <a:pt x="202" y="296"/>
                  </a:lnTo>
                  <a:lnTo>
                    <a:pt x="202" y="296"/>
                  </a:lnTo>
                  <a:lnTo>
                    <a:pt x="202" y="296"/>
                  </a:lnTo>
                  <a:lnTo>
                    <a:pt x="203" y="295"/>
                  </a:lnTo>
                  <a:lnTo>
                    <a:pt x="204" y="293"/>
                  </a:lnTo>
                  <a:lnTo>
                    <a:pt x="205" y="292"/>
                  </a:lnTo>
                  <a:lnTo>
                    <a:pt x="205" y="292"/>
                  </a:lnTo>
                  <a:lnTo>
                    <a:pt x="207" y="290"/>
                  </a:lnTo>
                  <a:lnTo>
                    <a:pt x="208" y="289"/>
                  </a:lnTo>
                  <a:lnTo>
                    <a:pt x="208" y="288"/>
                  </a:lnTo>
                  <a:lnTo>
                    <a:pt x="208" y="288"/>
                  </a:lnTo>
                  <a:lnTo>
                    <a:pt x="209" y="287"/>
                  </a:lnTo>
                  <a:lnTo>
                    <a:pt x="209" y="286"/>
                  </a:lnTo>
                  <a:lnTo>
                    <a:pt x="210" y="285"/>
                  </a:lnTo>
                  <a:lnTo>
                    <a:pt x="210" y="285"/>
                  </a:lnTo>
                  <a:lnTo>
                    <a:pt x="211" y="284"/>
                  </a:lnTo>
                  <a:lnTo>
                    <a:pt x="211" y="284"/>
                  </a:lnTo>
                  <a:lnTo>
                    <a:pt x="213" y="283"/>
                  </a:lnTo>
                  <a:lnTo>
                    <a:pt x="213" y="283"/>
                  </a:lnTo>
                  <a:lnTo>
                    <a:pt x="214" y="282"/>
                  </a:lnTo>
                  <a:lnTo>
                    <a:pt x="215" y="282"/>
                  </a:lnTo>
                  <a:lnTo>
                    <a:pt x="215" y="282"/>
                  </a:lnTo>
                  <a:lnTo>
                    <a:pt x="215" y="282"/>
                  </a:lnTo>
                  <a:lnTo>
                    <a:pt x="216" y="282"/>
                  </a:lnTo>
                  <a:lnTo>
                    <a:pt x="216" y="282"/>
                  </a:lnTo>
                  <a:lnTo>
                    <a:pt x="217" y="282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9" y="282"/>
                  </a:lnTo>
                  <a:lnTo>
                    <a:pt x="220" y="282"/>
                  </a:lnTo>
                  <a:lnTo>
                    <a:pt x="220" y="281"/>
                  </a:lnTo>
                  <a:lnTo>
                    <a:pt x="221" y="280"/>
                  </a:lnTo>
                  <a:lnTo>
                    <a:pt x="222" y="279"/>
                  </a:lnTo>
                  <a:lnTo>
                    <a:pt x="222" y="279"/>
                  </a:lnTo>
                  <a:lnTo>
                    <a:pt x="222" y="278"/>
                  </a:lnTo>
                  <a:lnTo>
                    <a:pt x="223" y="278"/>
                  </a:lnTo>
                  <a:lnTo>
                    <a:pt x="223" y="277"/>
                  </a:lnTo>
                  <a:lnTo>
                    <a:pt x="223" y="276"/>
                  </a:lnTo>
                  <a:lnTo>
                    <a:pt x="223" y="275"/>
                  </a:lnTo>
                  <a:lnTo>
                    <a:pt x="222" y="274"/>
                  </a:lnTo>
                  <a:lnTo>
                    <a:pt x="221" y="267"/>
                  </a:lnTo>
                  <a:lnTo>
                    <a:pt x="220" y="266"/>
                  </a:lnTo>
                  <a:lnTo>
                    <a:pt x="220" y="265"/>
                  </a:lnTo>
                  <a:lnTo>
                    <a:pt x="220" y="265"/>
                  </a:lnTo>
                  <a:lnTo>
                    <a:pt x="221" y="264"/>
                  </a:lnTo>
                  <a:lnTo>
                    <a:pt x="221" y="263"/>
                  </a:lnTo>
                  <a:lnTo>
                    <a:pt x="222" y="263"/>
                  </a:lnTo>
                  <a:lnTo>
                    <a:pt x="222" y="263"/>
                  </a:lnTo>
                  <a:lnTo>
                    <a:pt x="223" y="263"/>
                  </a:lnTo>
                  <a:lnTo>
                    <a:pt x="224" y="263"/>
                  </a:lnTo>
                  <a:lnTo>
                    <a:pt x="225" y="263"/>
                  </a:lnTo>
                  <a:lnTo>
                    <a:pt x="225" y="263"/>
                  </a:lnTo>
                  <a:lnTo>
                    <a:pt x="226" y="264"/>
                  </a:lnTo>
                  <a:lnTo>
                    <a:pt x="226" y="264"/>
                  </a:lnTo>
                  <a:lnTo>
                    <a:pt x="226" y="264"/>
                  </a:lnTo>
                  <a:lnTo>
                    <a:pt x="227" y="265"/>
                  </a:lnTo>
                  <a:lnTo>
                    <a:pt x="228" y="268"/>
                  </a:lnTo>
                  <a:lnTo>
                    <a:pt x="229" y="270"/>
                  </a:lnTo>
                  <a:lnTo>
                    <a:pt x="230" y="272"/>
                  </a:lnTo>
                  <a:lnTo>
                    <a:pt x="230" y="273"/>
                  </a:lnTo>
                  <a:lnTo>
                    <a:pt x="231" y="274"/>
                  </a:lnTo>
                  <a:lnTo>
                    <a:pt x="231" y="276"/>
                  </a:lnTo>
                  <a:lnTo>
                    <a:pt x="231" y="278"/>
                  </a:lnTo>
                  <a:lnTo>
                    <a:pt x="231" y="278"/>
                  </a:lnTo>
                  <a:lnTo>
                    <a:pt x="231" y="280"/>
                  </a:lnTo>
                  <a:lnTo>
                    <a:pt x="231" y="281"/>
                  </a:lnTo>
                  <a:lnTo>
                    <a:pt x="232" y="283"/>
                  </a:lnTo>
                  <a:lnTo>
                    <a:pt x="232" y="284"/>
                  </a:lnTo>
                  <a:lnTo>
                    <a:pt x="234" y="286"/>
                  </a:lnTo>
                  <a:lnTo>
                    <a:pt x="234" y="287"/>
                  </a:lnTo>
                  <a:lnTo>
                    <a:pt x="235" y="288"/>
                  </a:lnTo>
                  <a:lnTo>
                    <a:pt x="235" y="288"/>
                  </a:lnTo>
                  <a:lnTo>
                    <a:pt x="235" y="289"/>
                  </a:lnTo>
                  <a:lnTo>
                    <a:pt x="236" y="290"/>
                  </a:lnTo>
                  <a:lnTo>
                    <a:pt x="236" y="290"/>
                  </a:lnTo>
                  <a:lnTo>
                    <a:pt x="236" y="292"/>
                  </a:lnTo>
                  <a:lnTo>
                    <a:pt x="236" y="293"/>
                  </a:lnTo>
                  <a:lnTo>
                    <a:pt x="236" y="294"/>
                  </a:lnTo>
                  <a:lnTo>
                    <a:pt x="237" y="295"/>
                  </a:lnTo>
                  <a:lnTo>
                    <a:pt x="237" y="296"/>
                  </a:lnTo>
                  <a:lnTo>
                    <a:pt x="237" y="296"/>
                  </a:lnTo>
                  <a:lnTo>
                    <a:pt x="240" y="299"/>
                  </a:lnTo>
                  <a:lnTo>
                    <a:pt x="241" y="300"/>
                  </a:lnTo>
                  <a:lnTo>
                    <a:pt x="242" y="301"/>
                  </a:lnTo>
                  <a:lnTo>
                    <a:pt x="243" y="303"/>
                  </a:lnTo>
                  <a:lnTo>
                    <a:pt x="243" y="304"/>
                  </a:lnTo>
                  <a:lnTo>
                    <a:pt x="244" y="305"/>
                  </a:lnTo>
                  <a:lnTo>
                    <a:pt x="245" y="306"/>
                  </a:lnTo>
                  <a:lnTo>
                    <a:pt x="245" y="306"/>
                  </a:lnTo>
                  <a:lnTo>
                    <a:pt x="246" y="307"/>
                  </a:lnTo>
                  <a:lnTo>
                    <a:pt x="247" y="307"/>
                  </a:lnTo>
                  <a:lnTo>
                    <a:pt x="249" y="308"/>
                  </a:lnTo>
                  <a:lnTo>
                    <a:pt x="250" y="309"/>
                  </a:lnTo>
                  <a:lnTo>
                    <a:pt x="251" y="309"/>
                  </a:lnTo>
                  <a:lnTo>
                    <a:pt x="252" y="310"/>
                  </a:lnTo>
                  <a:lnTo>
                    <a:pt x="253" y="311"/>
                  </a:lnTo>
                  <a:lnTo>
                    <a:pt x="254" y="312"/>
                  </a:lnTo>
                  <a:lnTo>
                    <a:pt x="255" y="313"/>
                  </a:lnTo>
                  <a:lnTo>
                    <a:pt x="256" y="313"/>
                  </a:lnTo>
                  <a:lnTo>
                    <a:pt x="260" y="315"/>
                  </a:lnTo>
                  <a:lnTo>
                    <a:pt x="262" y="316"/>
                  </a:lnTo>
                  <a:lnTo>
                    <a:pt x="263" y="316"/>
                  </a:lnTo>
                  <a:lnTo>
                    <a:pt x="264" y="316"/>
                  </a:lnTo>
                  <a:lnTo>
                    <a:pt x="267" y="317"/>
                  </a:lnTo>
                  <a:lnTo>
                    <a:pt x="268" y="317"/>
                  </a:lnTo>
                  <a:lnTo>
                    <a:pt x="269" y="317"/>
                  </a:lnTo>
                  <a:lnTo>
                    <a:pt x="269" y="317"/>
                  </a:lnTo>
                  <a:lnTo>
                    <a:pt x="270" y="317"/>
                  </a:lnTo>
                  <a:lnTo>
                    <a:pt x="271" y="317"/>
                  </a:lnTo>
                  <a:lnTo>
                    <a:pt x="273" y="316"/>
                  </a:lnTo>
                  <a:lnTo>
                    <a:pt x="275" y="315"/>
                  </a:lnTo>
                  <a:lnTo>
                    <a:pt x="277" y="314"/>
                  </a:lnTo>
                  <a:lnTo>
                    <a:pt x="278" y="314"/>
                  </a:lnTo>
                  <a:lnTo>
                    <a:pt x="283" y="312"/>
                  </a:lnTo>
                  <a:lnTo>
                    <a:pt x="284" y="312"/>
                  </a:lnTo>
                  <a:lnTo>
                    <a:pt x="287" y="311"/>
                  </a:lnTo>
                  <a:lnTo>
                    <a:pt x="287" y="311"/>
                  </a:lnTo>
                  <a:lnTo>
                    <a:pt x="288" y="311"/>
                  </a:lnTo>
                  <a:lnTo>
                    <a:pt x="289" y="311"/>
                  </a:lnTo>
                  <a:lnTo>
                    <a:pt x="289" y="311"/>
                  </a:lnTo>
                  <a:lnTo>
                    <a:pt x="290" y="311"/>
                  </a:lnTo>
                  <a:lnTo>
                    <a:pt x="290" y="311"/>
                  </a:lnTo>
                  <a:lnTo>
                    <a:pt x="291" y="312"/>
                  </a:lnTo>
                  <a:lnTo>
                    <a:pt x="291" y="312"/>
                  </a:lnTo>
                  <a:lnTo>
                    <a:pt x="292" y="313"/>
                  </a:lnTo>
                  <a:lnTo>
                    <a:pt x="292" y="314"/>
                  </a:lnTo>
                  <a:lnTo>
                    <a:pt x="293" y="315"/>
                  </a:lnTo>
                  <a:lnTo>
                    <a:pt x="293" y="316"/>
                  </a:lnTo>
                  <a:lnTo>
                    <a:pt x="294" y="317"/>
                  </a:lnTo>
                  <a:lnTo>
                    <a:pt x="294" y="318"/>
                  </a:lnTo>
                  <a:lnTo>
                    <a:pt x="295" y="320"/>
                  </a:lnTo>
                  <a:lnTo>
                    <a:pt x="295" y="321"/>
                  </a:lnTo>
                  <a:lnTo>
                    <a:pt x="295" y="323"/>
                  </a:lnTo>
                  <a:lnTo>
                    <a:pt x="295" y="324"/>
                  </a:lnTo>
                  <a:lnTo>
                    <a:pt x="295" y="325"/>
                  </a:lnTo>
                  <a:lnTo>
                    <a:pt x="295" y="326"/>
                  </a:lnTo>
                  <a:lnTo>
                    <a:pt x="295" y="327"/>
                  </a:lnTo>
                  <a:lnTo>
                    <a:pt x="295" y="328"/>
                  </a:lnTo>
                  <a:lnTo>
                    <a:pt x="294" y="332"/>
                  </a:lnTo>
                  <a:lnTo>
                    <a:pt x="293" y="334"/>
                  </a:lnTo>
                  <a:lnTo>
                    <a:pt x="293" y="335"/>
                  </a:lnTo>
                  <a:lnTo>
                    <a:pt x="293" y="336"/>
                  </a:lnTo>
                  <a:lnTo>
                    <a:pt x="293" y="337"/>
                  </a:lnTo>
                  <a:lnTo>
                    <a:pt x="293" y="338"/>
                  </a:lnTo>
                  <a:lnTo>
                    <a:pt x="293" y="340"/>
                  </a:lnTo>
                  <a:lnTo>
                    <a:pt x="293" y="341"/>
                  </a:lnTo>
                  <a:lnTo>
                    <a:pt x="294" y="343"/>
                  </a:lnTo>
                  <a:lnTo>
                    <a:pt x="294" y="345"/>
                  </a:lnTo>
                  <a:lnTo>
                    <a:pt x="294" y="346"/>
                  </a:lnTo>
                  <a:lnTo>
                    <a:pt x="295" y="347"/>
                  </a:lnTo>
                  <a:lnTo>
                    <a:pt x="295" y="348"/>
                  </a:lnTo>
                  <a:lnTo>
                    <a:pt x="296" y="349"/>
                  </a:lnTo>
                  <a:lnTo>
                    <a:pt x="296" y="349"/>
                  </a:lnTo>
                  <a:lnTo>
                    <a:pt x="297" y="350"/>
                  </a:lnTo>
                  <a:lnTo>
                    <a:pt x="298" y="351"/>
                  </a:lnTo>
                  <a:lnTo>
                    <a:pt x="299" y="351"/>
                  </a:lnTo>
                  <a:lnTo>
                    <a:pt x="300" y="352"/>
                  </a:lnTo>
                  <a:lnTo>
                    <a:pt x="301" y="353"/>
                  </a:lnTo>
                  <a:lnTo>
                    <a:pt x="302" y="353"/>
                  </a:lnTo>
                  <a:lnTo>
                    <a:pt x="303" y="354"/>
                  </a:lnTo>
                  <a:lnTo>
                    <a:pt x="304" y="354"/>
                  </a:lnTo>
                  <a:lnTo>
                    <a:pt x="304" y="354"/>
                  </a:lnTo>
                  <a:lnTo>
                    <a:pt x="305" y="354"/>
                  </a:lnTo>
                  <a:lnTo>
                    <a:pt x="306" y="353"/>
                  </a:lnTo>
                  <a:lnTo>
                    <a:pt x="306" y="353"/>
                  </a:lnTo>
                  <a:lnTo>
                    <a:pt x="307" y="353"/>
                  </a:lnTo>
                  <a:lnTo>
                    <a:pt x="308" y="352"/>
                  </a:lnTo>
                  <a:lnTo>
                    <a:pt x="309" y="352"/>
                  </a:lnTo>
                  <a:lnTo>
                    <a:pt x="309" y="351"/>
                  </a:lnTo>
                  <a:lnTo>
                    <a:pt x="310" y="351"/>
                  </a:lnTo>
                  <a:lnTo>
                    <a:pt x="310" y="351"/>
                  </a:lnTo>
                  <a:lnTo>
                    <a:pt x="310" y="351"/>
                  </a:lnTo>
                  <a:lnTo>
                    <a:pt x="311" y="351"/>
                  </a:lnTo>
                  <a:lnTo>
                    <a:pt x="311" y="352"/>
                  </a:lnTo>
                  <a:lnTo>
                    <a:pt x="312" y="352"/>
                  </a:lnTo>
                  <a:lnTo>
                    <a:pt x="313" y="353"/>
                  </a:lnTo>
                  <a:lnTo>
                    <a:pt x="313" y="354"/>
                  </a:lnTo>
                  <a:lnTo>
                    <a:pt x="314" y="355"/>
                  </a:lnTo>
                  <a:lnTo>
                    <a:pt x="316" y="356"/>
                  </a:lnTo>
                  <a:lnTo>
                    <a:pt x="317" y="358"/>
                  </a:lnTo>
                  <a:lnTo>
                    <a:pt x="317" y="359"/>
                  </a:lnTo>
                  <a:lnTo>
                    <a:pt x="318" y="360"/>
                  </a:lnTo>
                  <a:lnTo>
                    <a:pt x="319" y="362"/>
                  </a:lnTo>
                  <a:lnTo>
                    <a:pt x="320" y="363"/>
                  </a:lnTo>
                  <a:lnTo>
                    <a:pt x="321" y="365"/>
                  </a:lnTo>
                  <a:lnTo>
                    <a:pt x="322" y="366"/>
                  </a:lnTo>
                  <a:lnTo>
                    <a:pt x="322" y="367"/>
                  </a:lnTo>
                  <a:lnTo>
                    <a:pt x="323" y="367"/>
                  </a:lnTo>
                  <a:lnTo>
                    <a:pt x="324" y="368"/>
                  </a:lnTo>
                  <a:lnTo>
                    <a:pt x="331" y="374"/>
                  </a:lnTo>
                  <a:lnTo>
                    <a:pt x="333" y="374"/>
                  </a:lnTo>
                  <a:lnTo>
                    <a:pt x="334" y="376"/>
                  </a:lnTo>
                  <a:lnTo>
                    <a:pt x="337" y="379"/>
                  </a:lnTo>
                  <a:lnTo>
                    <a:pt x="339" y="381"/>
                  </a:lnTo>
                  <a:lnTo>
                    <a:pt x="340" y="382"/>
                  </a:lnTo>
                  <a:lnTo>
                    <a:pt x="342" y="384"/>
                  </a:lnTo>
                  <a:lnTo>
                    <a:pt x="343" y="386"/>
                  </a:lnTo>
                  <a:lnTo>
                    <a:pt x="345" y="389"/>
                  </a:lnTo>
                  <a:lnTo>
                    <a:pt x="346" y="392"/>
                  </a:lnTo>
                  <a:lnTo>
                    <a:pt x="347" y="393"/>
                  </a:lnTo>
                  <a:lnTo>
                    <a:pt x="347" y="393"/>
                  </a:lnTo>
                  <a:lnTo>
                    <a:pt x="347" y="394"/>
                  </a:lnTo>
                  <a:lnTo>
                    <a:pt x="347" y="395"/>
                  </a:lnTo>
                  <a:lnTo>
                    <a:pt x="347" y="395"/>
                  </a:lnTo>
                  <a:lnTo>
                    <a:pt x="347" y="396"/>
                  </a:lnTo>
                  <a:lnTo>
                    <a:pt x="347" y="397"/>
                  </a:lnTo>
                  <a:lnTo>
                    <a:pt x="346" y="398"/>
                  </a:lnTo>
                  <a:lnTo>
                    <a:pt x="346" y="399"/>
                  </a:lnTo>
                  <a:lnTo>
                    <a:pt x="345" y="400"/>
                  </a:lnTo>
                  <a:lnTo>
                    <a:pt x="345" y="401"/>
                  </a:lnTo>
                  <a:lnTo>
                    <a:pt x="345" y="401"/>
                  </a:lnTo>
                  <a:lnTo>
                    <a:pt x="345" y="402"/>
                  </a:lnTo>
                  <a:lnTo>
                    <a:pt x="346" y="403"/>
                  </a:lnTo>
                  <a:lnTo>
                    <a:pt x="346" y="404"/>
                  </a:lnTo>
                  <a:lnTo>
                    <a:pt x="347" y="404"/>
                  </a:lnTo>
                  <a:lnTo>
                    <a:pt x="347" y="405"/>
                  </a:lnTo>
                  <a:lnTo>
                    <a:pt x="347" y="405"/>
                  </a:lnTo>
                  <a:lnTo>
                    <a:pt x="348" y="405"/>
                  </a:lnTo>
                  <a:lnTo>
                    <a:pt x="349" y="405"/>
                  </a:lnTo>
                  <a:lnTo>
                    <a:pt x="349" y="405"/>
                  </a:lnTo>
                  <a:lnTo>
                    <a:pt x="349" y="405"/>
                  </a:lnTo>
                  <a:lnTo>
                    <a:pt x="350" y="405"/>
                  </a:lnTo>
                  <a:lnTo>
                    <a:pt x="352" y="403"/>
                  </a:lnTo>
                  <a:lnTo>
                    <a:pt x="353" y="402"/>
                  </a:lnTo>
                  <a:lnTo>
                    <a:pt x="354" y="401"/>
                  </a:lnTo>
                  <a:lnTo>
                    <a:pt x="355" y="401"/>
                  </a:lnTo>
                  <a:lnTo>
                    <a:pt x="356" y="401"/>
                  </a:lnTo>
                  <a:lnTo>
                    <a:pt x="357" y="400"/>
                  </a:lnTo>
                  <a:lnTo>
                    <a:pt x="357" y="400"/>
                  </a:lnTo>
                  <a:lnTo>
                    <a:pt x="358" y="400"/>
                  </a:lnTo>
                  <a:lnTo>
                    <a:pt x="358" y="401"/>
                  </a:lnTo>
                  <a:lnTo>
                    <a:pt x="359" y="401"/>
                  </a:lnTo>
                  <a:lnTo>
                    <a:pt x="359" y="401"/>
                  </a:lnTo>
                  <a:lnTo>
                    <a:pt x="359" y="401"/>
                  </a:lnTo>
                  <a:lnTo>
                    <a:pt x="360" y="402"/>
                  </a:lnTo>
                  <a:lnTo>
                    <a:pt x="361" y="403"/>
                  </a:lnTo>
                  <a:lnTo>
                    <a:pt x="362" y="404"/>
                  </a:lnTo>
                  <a:lnTo>
                    <a:pt x="362" y="405"/>
                  </a:lnTo>
                  <a:lnTo>
                    <a:pt x="364" y="408"/>
                  </a:lnTo>
                  <a:lnTo>
                    <a:pt x="365" y="411"/>
                  </a:lnTo>
                  <a:lnTo>
                    <a:pt x="365" y="411"/>
                  </a:lnTo>
                  <a:lnTo>
                    <a:pt x="365" y="412"/>
                  </a:lnTo>
                  <a:lnTo>
                    <a:pt x="365" y="412"/>
                  </a:lnTo>
                  <a:lnTo>
                    <a:pt x="365" y="413"/>
                  </a:lnTo>
                  <a:lnTo>
                    <a:pt x="365" y="413"/>
                  </a:lnTo>
                  <a:lnTo>
                    <a:pt x="364" y="414"/>
                  </a:lnTo>
                  <a:lnTo>
                    <a:pt x="364" y="415"/>
                  </a:lnTo>
                  <a:lnTo>
                    <a:pt x="363" y="416"/>
                  </a:lnTo>
                  <a:lnTo>
                    <a:pt x="362" y="418"/>
                  </a:lnTo>
                  <a:lnTo>
                    <a:pt x="361" y="419"/>
                  </a:lnTo>
                  <a:lnTo>
                    <a:pt x="361" y="420"/>
                  </a:lnTo>
                  <a:lnTo>
                    <a:pt x="360" y="421"/>
                  </a:lnTo>
                  <a:lnTo>
                    <a:pt x="360" y="421"/>
                  </a:lnTo>
                  <a:lnTo>
                    <a:pt x="359" y="422"/>
                  </a:lnTo>
                  <a:lnTo>
                    <a:pt x="358" y="422"/>
                  </a:lnTo>
                  <a:lnTo>
                    <a:pt x="358" y="422"/>
                  </a:lnTo>
                  <a:lnTo>
                    <a:pt x="357" y="423"/>
                  </a:lnTo>
                  <a:lnTo>
                    <a:pt x="357" y="423"/>
                  </a:lnTo>
                  <a:lnTo>
                    <a:pt x="356" y="423"/>
                  </a:lnTo>
                  <a:lnTo>
                    <a:pt x="355" y="423"/>
                  </a:lnTo>
                  <a:lnTo>
                    <a:pt x="355" y="423"/>
                  </a:lnTo>
                  <a:lnTo>
                    <a:pt x="354" y="423"/>
                  </a:lnTo>
                  <a:lnTo>
                    <a:pt x="353" y="423"/>
                  </a:lnTo>
                  <a:lnTo>
                    <a:pt x="351" y="422"/>
                  </a:lnTo>
                  <a:lnTo>
                    <a:pt x="348" y="422"/>
                  </a:lnTo>
                  <a:lnTo>
                    <a:pt x="347" y="421"/>
                  </a:lnTo>
                  <a:lnTo>
                    <a:pt x="346" y="421"/>
                  </a:lnTo>
                  <a:lnTo>
                    <a:pt x="345" y="421"/>
                  </a:lnTo>
                  <a:lnTo>
                    <a:pt x="344" y="421"/>
                  </a:lnTo>
                  <a:lnTo>
                    <a:pt x="344" y="421"/>
                  </a:lnTo>
                  <a:lnTo>
                    <a:pt x="344" y="422"/>
                  </a:lnTo>
                  <a:lnTo>
                    <a:pt x="343" y="423"/>
                  </a:lnTo>
                  <a:lnTo>
                    <a:pt x="342" y="424"/>
                  </a:lnTo>
                  <a:lnTo>
                    <a:pt x="341" y="426"/>
                  </a:lnTo>
                  <a:lnTo>
                    <a:pt x="341" y="426"/>
                  </a:lnTo>
                  <a:lnTo>
                    <a:pt x="340" y="427"/>
                  </a:lnTo>
                  <a:lnTo>
                    <a:pt x="340" y="428"/>
                  </a:lnTo>
                  <a:lnTo>
                    <a:pt x="339" y="428"/>
                  </a:lnTo>
                  <a:lnTo>
                    <a:pt x="338" y="429"/>
                  </a:lnTo>
                  <a:lnTo>
                    <a:pt x="336" y="430"/>
                  </a:lnTo>
                  <a:lnTo>
                    <a:pt x="335" y="431"/>
                  </a:lnTo>
                  <a:lnTo>
                    <a:pt x="334" y="432"/>
                  </a:lnTo>
                  <a:lnTo>
                    <a:pt x="333" y="434"/>
                  </a:lnTo>
                  <a:lnTo>
                    <a:pt x="331" y="436"/>
                  </a:lnTo>
                  <a:lnTo>
                    <a:pt x="330" y="436"/>
                  </a:lnTo>
                  <a:lnTo>
                    <a:pt x="330" y="437"/>
                  </a:lnTo>
                  <a:lnTo>
                    <a:pt x="330" y="438"/>
                  </a:lnTo>
                  <a:lnTo>
                    <a:pt x="330" y="438"/>
                  </a:lnTo>
                  <a:lnTo>
                    <a:pt x="329" y="439"/>
                  </a:lnTo>
                  <a:lnTo>
                    <a:pt x="329" y="442"/>
                  </a:lnTo>
                  <a:lnTo>
                    <a:pt x="329" y="443"/>
                  </a:lnTo>
                  <a:lnTo>
                    <a:pt x="329" y="444"/>
                  </a:lnTo>
                  <a:lnTo>
                    <a:pt x="329" y="446"/>
                  </a:lnTo>
                  <a:lnTo>
                    <a:pt x="328" y="447"/>
                  </a:lnTo>
                  <a:lnTo>
                    <a:pt x="327" y="450"/>
                  </a:lnTo>
                  <a:lnTo>
                    <a:pt x="326" y="453"/>
                  </a:lnTo>
                  <a:lnTo>
                    <a:pt x="325" y="456"/>
                  </a:lnTo>
                  <a:lnTo>
                    <a:pt x="324" y="456"/>
                  </a:lnTo>
                  <a:lnTo>
                    <a:pt x="324" y="457"/>
                  </a:lnTo>
                  <a:lnTo>
                    <a:pt x="323" y="457"/>
                  </a:lnTo>
                  <a:lnTo>
                    <a:pt x="323" y="458"/>
                  </a:lnTo>
                  <a:lnTo>
                    <a:pt x="322" y="458"/>
                  </a:lnTo>
                  <a:lnTo>
                    <a:pt x="322" y="458"/>
                  </a:lnTo>
                  <a:lnTo>
                    <a:pt x="321" y="459"/>
                  </a:lnTo>
                  <a:lnTo>
                    <a:pt x="318" y="460"/>
                  </a:lnTo>
                  <a:lnTo>
                    <a:pt x="316" y="460"/>
                  </a:lnTo>
                  <a:lnTo>
                    <a:pt x="315" y="460"/>
                  </a:lnTo>
                  <a:lnTo>
                    <a:pt x="314" y="460"/>
                  </a:lnTo>
                  <a:lnTo>
                    <a:pt x="312" y="460"/>
                  </a:lnTo>
                  <a:lnTo>
                    <a:pt x="311" y="460"/>
                  </a:lnTo>
                  <a:lnTo>
                    <a:pt x="310" y="459"/>
                  </a:lnTo>
                  <a:lnTo>
                    <a:pt x="309" y="459"/>
                  </a:lnTo>
                  <a:lnTo>
                    <a:pt x="308" y="458"/>
                  </a:lnTo>
                  <a:lnTo>
                    <a:pt x="307" y="458"/>
                  </a:lnTo>
                  <a:lnTo>
                    <a:pt x="306" y="457"/>
                  </a:lnTo>
                  <a:lnTo>
                    <a:pt x="306" y="457"/>
                  </a:lnTo>
                  <a:lnTo>
                    <a:pt x="304" y="455"/>
                  </a:lnTo>
                  <a:lnTo>
                    <a:pt x="303" y="454"/>
                  </a:lnTo>
                  <a:lnTo>
                    <a:pt x="302" y="453"/>
                  </a:lnTo>
                  <a:lnTo>
                    <a:pt x="301" y="452"/>
                  </a:lnTo>
                  <a:lnTo>
                    <a:pt x="300" y="452"/>
                  </a:lnTo>
                  <a:lnTo>
                    <a:pt x="299" y="451"/>
                  </a:lnTo>
                  <a:lnTo>
                    <a:pt x="298" y="451"/>
                  </a:lnTo>
                  <a:lnTo>
                    <a:pt x="297" y="451"/>
                  </a:lnTo>
                  <a:lnTo>
                    <a:pt x="296" y="451"/>
                  </a:lnTo>
                  <a:lnTo>
                    <a:pt x="296" y="451"/>
                  </a:lnTo>
                  <a:lnTo>
                    <a:pt x="295" y="452"/>
                  </a:lnTo>
                  <a:lnTo>
                    <a:pt x="294" y="452"/>
                  </a:lnTo>
                  <a:lnTo>
                    <a:pt x="294" y="452"/>
                  </a:lnTo>
                  <a:lnTo>
                    <a:pt x="293" y="453"/>
                  </a:lnTo>
                  <a:lnTo>
                    <a:pt x="292" y="456"/>
                  </a:lnTo>
                  <a:lnTo>
                    <a:pt x="291" y="456"/>
                  </a:lnTo>
                  <a:lnTo>
                    <a:pt x="291" y="456"/>
                  </a:lnTo>
                  <a:lnTo>
                    <a:pt x="291" y="457"/>
                  </a:lnTo>
                  <a:lnTo>
                    <a:pt x="290" y="457"/>
                  </a:lnTo>
                  <a:lnTo>
                    <a:pt x="290" y="457"/>
                  </a:lnTo>
                  <a:lnTo>
                    <a:pt x="290" y="457"/>
                  </a:lnTo>
                  <a:lnTo>
                    <a:pt x="289" y="457"/>
                  </a:lnTo>
                  <a:lnTo>
                    <a:pt x="288" y="457"/>
                  </a:lnTo>
                  <a:lnTo>
                    <a:pt x="287" y="457"/>
                  </a:lnTo>
                  <a:lnTo>
                    <a:pt x="286" y="457"/>
                  </a:lnTo>
                  <a:lnTo>
                    <a:pt x="285" y="456"/>
                  </a:lnTo>
                  <a:lnTo>
                    <a:pt x="285" y="456"/>
                  </a:lnTo>
                  <a:lnTo>
                    <a:pt x="284" y="456"/>
                  </a:lnTo>
                  <a:lnTo>
                    <a:pt x="283" y="457"/>
                  </a:lnTo>
                  <a:lnTo>
                    <a:pt x="282" y="457"/>
                  </a:lnTo>
                  <a:lnTo>
                    <a:pt x="282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8"/>
                  </a:lnTo>
                  <a:lnTo>
                    <a:pt x="281" y="458"/>
                  </a:lnTo>
                  <a:lnTo>
                    <a:pt x="281" y="458"/>
                  </a:lnTo>
                  <a:lnTo>
                    <a:pt x="281" y="459"/>
                  </a:lnTo>
                  <a:lnTo>
                    <a:pt x="281" y="459"/>
                  </a:lnTo>
                  <a:lnTo>
                    <a:pt x="281" y="460"/>
                  </a:lnTo>
                  <a:lnTo>
                    <a:pt x="281" y="461"/>
                  </a:lnTo>
                  <a:lnTo>
                    <a:pt x="283" y="465"/>
                  </a:lnTo>
                  <a:lnTo>
                    <a:pt x="284" y="467"/>
                  </a:lnTo>
                  <a:lnTo>
                    <a:pt x="284" y="468"/>
                  </a:lnTo>
                  <a:lnTo>
                    <a:pt x="285" y="469"/>
                  </a:lnTo>
                  <a:lnTo>
                    <a:pt x="285" y="470"/>
                  </a:lnTo>
                  <a:lnTo>
                    <a:pt x="285" y="471"/>
                  </a:lnTo>
                  <a:lnTo>
                    <a:pt x="285" y="471"/>
                  </a:lnTo>
                  <a:lnTo>
                    <a:pt x="284" y="472"/>
                  </a:lnTo>
                  <a:lnTo>
                    <a:pt x="284" y="473"/>
                  </a:lnTo>
                  <a:lnTo>
                    <a:pt x="284" y="474"/>
                  </a:lnTo>
                  <a:lnTo>
                    <a:pt x="283" y="475"/>
                  </a:lnTo>
                  <a:lnTo>
                    <a:pt x="282" y="476"/>
                  </a:lnTo>
                  <a:lnTo>
                    <a:pt x="282" y="476"/>
                  </a:lnTo>
                  <a:lnTo>
                    <a:pt x="281" y="477"/>
                  </a:lnTo>
                  <a:lnTo>
                    <a:pt x="280" y="478"/>
                  </a:lnTo>
                  <a:lnTo>
                    <a:pt x="280" y="478"/>
                  </a:lnTo>
                  <a:lnTo>
                    <a:pt x="279" y="478"/>
                  </a:lnTo>
                  <a:lnTo>
                    <a:pt x="278" y="479"/>
                  </a:lnTo>
                  <a:lnTo>
                    <a:pt x="277" y="479"/>
                  </a:lnTo>
                  <a:lnTo>
                    <a:pt x="276" y="479"/>
                  </a:lnTo>
                  <a:lnTo>
                    <a:pt x="275" y="479"/>
                  </a:lnTo>
                  <a:lnTo>
                    <a:pt x="274" y="479"/>
                  </a:lnTo>
                  <a:lnTo>
                    <a:pt x="273" y="479"/>
                  </a:lnTo>
                  <a:lnTo>
                    <a:pt x="273" y="479"/>
                  </a:lnTo>
                  <a:lnTo>
                    <a:pt x="272" y="479"/>
                  </a:lnTo>
                  <a:lnTo>
                    <a:pt x="271" y="479"/>
                  </a:lnTo>
                  <a:lnTo>
                    <a:pt x="270" y="478"/>
                  </a:lnTo>
                  <a:lnTo>
                    <a:pt x="268" y="478"/>
                  </a:lnTo>
                  <a:lnTo>
                    <a:pt x="268" y="477"/>
                  </a:lnTo>
                  <a:lnTo>
                    <a:pt x="267" y="477"/>
                  </a:lnTo>
                  <a:lnTo>
                    <a:pt x="266" y="477"/>
                  </a:lnTo>
                  <a:lnTo>
                    <a:pt x="265" y="477"/>
                  </a:lnTo>
                  <a:lnTo>
                    <a:pt x="263" y="477"/>
                  </a:lnTo>
                  <a:lnTo>
                    <a:pt x="262" y="477"/>
                  </a:lnTo>
                  <a:lnTo>
                    <a:pt x="260" y="477"/>
                  </a:lnTo>
                  <a:lnTo>
                    <a:pt x="258" y="477"/>
                  </a:lnTo>
                  <a:lnTo>
                    <a:pt x="256" y="477"/>
                  </a:lnTo>
                  <a:lnTo>
                    <a:pt x="255" y="478"/>
                  </a:lnTo>
                  <a:lnTo>
                    <a:pt x="253" y="478"/>
                  </a:lnTo>
                  <a:lnTo>
                    <a:pt x="251" y="479"/>
                  </a:lnTo>
                  <a:lnTo>
                    <a:pt x="248" y="480"/>
                  </a:lnTo>
                  <a:lnTo>
                    <a:pt x="247" y="480"/>
                  </a:lnTo>
                  <a:lnTo>
                    <a:pt x="247" y="480"/>
                  </a:lnTo>
                  <a:lnTo>
                    <a:pt x="247" y="480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2"/>
                  </a:lnTo>
                  <a:lnTo>
                    <a:pt x="246" y="483"/>
                  </a:lnTo>
                  <a:lnTo>
                    <a:pt x="245" y="485"/>
                  </a:lnTo>
                  <a:lnTo>
                    <a:pt x="245" y="487"/>
                  </a:lnTo>
                  <a:lnTo>
                    <a:pt x="245" y="488"/>
                  </a:lnTo>
                  <a:lnTo>
                    <a:pt x="244" y="488"/>
                  </a:lnTo>
                  <a:lnTo>
                    <a:pt x="244" y="489"/>
                  </a:lnTo>
                  <a:lnTo>
                    <a:pt x="243" y="490"/>
                  </a:lnTo>
                  <a:lnTo>
                    <a:pt x="242" y="492"/>
                  </a:lnTo>
                  <a:lnTo>
                    <a:pt x="242" y="493"/>
                  </a:lnTo>
                  <a:lnTo>
                    <a:pt x="241" y="494"/>
                  </a:lnTo>
                  <a:lnTo>
                    <a:pt x="240" y="495"/>
                  </a:lnTo>
                  <a:lnTo>
                    <a:pt x="240" y="495"/>
                  </a:lnTo>
                  <a:lnTo>
                    <a:pt x="239" y="496"/>
                  </a:lnTo>
                  <a:lnTo>
                    <a:pt x="238" y="497"/>
                  </a:lnTo>
                  <a:lnTo>
                    <a:pt x="237" y="497"/>
                  </a:lnTo>
                  <a:lnTo>
                    <a:pt x="236" y="497"/>
                  </a:lnTo>
                  <a:lnTo>
                    <a:pt x="236" y="497"/>
                  </a:lnTo>
                  <a:lnTo>
                    <a:pt x="235" y="497"/>
                  </a:lnTo>
                  <a:lnTo>
                    <a:pt x="234" y="497"/>
                  </a:lnTo>
                  <a:lnTo>
                    <a:pt x="233" y="496"/>
                  </a:lnTo>
                  <a:lnTo>
                    <a:pt x="230" y="494"/>
                  </a:lnTo>
                  <a:lnTo>
                    <a:pt x="229" y="493"/>
                  </a:lnTo>
                  <a:lnTo>
                    <a:pt x="228" y="492"/>
                  </a:lnTo>
                  <a:lnTo>
                    <a:pt x="227" y="492"/>
                  </a:lnTo>
                  <a:lnTo>
                    <a:pt x="227" y="491"/>
                  </a:lnTo>
                  <a:lnTo>
                    <a:pt x="226" y="491"/>
                  </a:lnTo>
                  <a:lnTo>
                    <a:pt x="225" y="491"/>
                  </a:lnTo>
                  <a:lnTo>
                    <a:pt x="224" y="491"/>
                  </a:lnTo>
                  <a:lnTo>
                    <a:pt x="223" y="491"/>
                  </a:lnTo>
                  <a:lnTo>
                    <a:pt x="221" y="491"/>
                  </a:lnTo>
                  <a:lnTo>
                    <a:pt x="219" y="490"/>
                  </a:lnTo>
                  <a:lnTo>
                    <a:pt x="217" y="490"/>
                  </a:lnTo>
                  <a:lnTo>
                    <a:pt x="215" y="489"/>
                  </a:lnTo>
                  <a:lnTo>
                    <a:pt x="213" y="489"/>
                  </a:lnTo>
                  <a:lnTo>
                    <a:pt x="212" y="488"/>
                  </a:lnTo>
                  <a:lnTo>
                    <a:pt x="211" y="488"/>
                  </a:lnTo>
                  <a:lnTo>
                    <a:pt x="208" y="488"/>
                  </a:lnTo>
                  <a:lnTo>
                    <a:pt x="208" y="488"/>
                  </a:lnTo>
                  <a:lnTo>
                    <a:pt x="207" y="488"/>
                  </a:lnTo>
                  <a:lnTo>
                    <a:pt x="207" y="487"/>
                  </a:lnTo>
                  <a:lnTo>
                    <a:pt x="206" y="487"/>
                  </a:lnTo>
                  <a:lnTo>
                    <a:pt x="206" y="486"/>
                  </a:lnTo>
                  <a:lnTo>
                    <a:pt x="206" y="486"/>
                  </a:lnTo>
                  <a:lnTo>
                    <a:pt x="205" y="485"/>
                  </a:lnTo>
                  <a:lnTo>
                    <a:pt x="205" y="484"/>
                  </a:lnTo>
                  <a:lnTo>
                    <a:pt x="205" y="481"/>
                  </a:lnTo>
                  <a:lnTo>
                    <a:pt x="205" y="480"/>
                  </a:lnTo>
                  <a:lnTo>
                    <a:pt x="204" y="480"/>
                  </a:lnTo>
                  <a:lnTo>
                    <a:pt x="204" y="479"/>
                  </a:lnTo>
                  <a:lnTo>
                    <a:pt x="204" y="478"/>
                  </a:lnTo>
                  <a:lnTo>
                    <a:pt x="203" y="478"/>
                  </a:lnTo>
                  <a:lnTo>
                    <a:pt x="203" y="477"/>
                  </a:lnTo>
                  <a:lnTo>
                    <a:pt x="202" y="477"/>
                  </a:lnTo>
                  <a:lnTo>
                    <a:pt x="202" y="477"/>
                  </a:lnTo>
                  <a:lnTo>
                    <a:pt x="201" y="477"/>
                  </a:lnTo>
                  <a:lnTo>
                    <a:pt x="201" y="477"/>
                  </a:lnTo>
                  <a:lnTo>
                    <a:pt x="200" y="477"/>
                  </a:lnTo>
                  <a:lnTo>
                    <a:pt x="199" y="478"/>
                  </a:lnTo>
                  <a:lnTo>
                    <a:pt x="199" y="478"/>
                  </a:lnTo>
                  <a:lnTo>
                    <a:pt x="199" y="478"/>
                  </a:lnTo>
                  <a:lnTo>
                    <a:pt x="198" y="479"/>
                  </a:lnTo>
                  <a:lnTo>
                    <a:pt x="198" y="479"/>
                  </a:lnTo>
                  <a:lnTo>
                    <a:pt x="197" y="480"/>
                  </a:lnTo>
                  <a:lnTo>
                    <a:pt x="195" y="484"/>
                  </a:lnTo>
                  <a:lnTo>
                    <a:pt x="194" y="486"/>
                  </a:lnTo>
                  <a:lnTo>
                    <a:pt x="194" y="487"/>
                  </a:lnTo>
                  <a:lnTo>
                    <a:pt x="193" y="488"/>
                  </a:lnTo>
                  <a:lnTo>
                    <a:pt x="193" y="489"/>
                  </a:lnTo>
                  <a:lnTo>
                    <a:pt x="193" y="490"/>
                  </a:lnTo>
                  <a:lnTo>
                    <a:pt x="193" y="491"/>
                  </a:lnTo>
                  <a:lnTo>
                    <a:pt x="193" y="493"/>
                  </a:lnTo>
                  <a:lnTo>
                    <a:pt x="194" y="494"/>
                  </a:lnTo>
                  <a:lnTo>
                    <a:pt x="194" y="496"/>
                  </a:lnTo>
                  <a:lnTo>
                    <a:pt x="195" y="497"/>
                  </a:lnTo>
                  <a:lnTo>
                    <a:pt x="196" y="499"/>
                  </a:lnTo>
                  <a:lnTo>
                    <a:pt x="197" y="501"/>
                  </a:lnTo>
                  <a:lnTo>
                    <a:pt x="197" y="502"/>
                  </a:lnTo>
                  <a:lnTo>
                    <a:pt x="197" y="503"/>
                  </a:lnTo>
                  <a:lnTo>
                    <a:pt x="197" y="504"/>
                  </a:lnTo>
                  <a:lnTo>
                    <a:pt x="197" y="505"/>
                  </a:lnTo>
                  <a:lnTo>
                    <a:pt x="197" y="506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6" y="508"/>
                  </a:lnTo>
                  <a:lnTo>
                    <a:pt x="195" y="509"/>
                  </a:lnTo>
                  <a:lnTo>
                    <a:pt x="193" y="511"/>
                  </a:lnTo>
                  <a:lnTo>
                    <a:pt x="191" y="513"/>
                  </a:lnTo>
                  <a:lnTo>
                    <a:pt x="190" y="514"/>
                  </a:lnTo>
                  <a:lnTo>
                    <a:pt x="189" y="514"/>
                  </a:lnTo>
                  <a:lnTo>
                    <a:pt x="189" y="515"/>
                  </a:lnTo>
                  <a:lnTo>
                    <a:pt x="188" y="516"/>
                  </a:lnTo>
                  <a:lnTo>
                    <a:pt x="186" y="519"/>
                  </a:lnTo>
                  <a:lnTo>
                    <a:pt x="184" y="521"/>
                  </a:lnTo>
                  <a:lnTo>
                    <a:pt x="182" y="524"/>
                  </a:lnTo>
                  <a:lnTo>
                    <a:pt x="181" y="525"/>
                  </a:lnTo>
                  <a:lnTo>
                    <a:pt x="180" y="526"/>
                  </a:lnTo>
                  <a:lnTo>
                    <a:pt x="180" y="527"/>
                  </a:lnTo>
                  <a:lnTo>
                    <a:pt x="179" y="527"/>
                  </a:lnTo>
                  <a:lnTo>
                    <a:pt x="178" y="528"/>
                  </a:lnTo>
                  <a:lnTo>
                    <a:pt x="177" y="528"/>
                  </a:lnTo>
                  <a:lnTo>
                    <a:pt x="177" y="529"/>
                  </a:lnTo>
                  <a:lnTo>
                    <a:pt x="176" y="529"/>
                  </a:lnTo>
                  <a:lnTo>
                    <a:pt x="175" y="529"/>
                  </a:lnTo>
                  <a:lnTo>
                    <a:pt x="174" y="529"/>
                  </a:lnTo>
                  <a:lnTo>
                    <a:pt x="174" y="529"/>
                  </a:lnTo>
                  <a:lnTo>
                    <a:pt x="170" y="529"/>
                  </a:lnTo>
                  <a:lnTo>
                    <a:pt x="169" y="530"/>
                  </a:lnTo>
                  <a:lnTo>
                    <a:pt x="165" y="530"/>
                  </a:lnTo>
                  <a:lnTo>
                    <a:pt x="163" y="530"/>
                  </a:lnTo>
                  <a:lnTo>
                    <a:pt x="162" y="531"/>
                  </a:lnTo>
                  <a:lnTo>
                    <a:pt x="156" y="532"/>
                  </a:lnTo>
                  <a:lnTo>
                    <a:pt x="155" y="532"/>
                  </a:lnTo>
                  <a:lnTo>
                    <a:pt x="153" y="532"/>
                  </a:lnTo>
                  <a:lnTo>
                    <a:pt x="152" y="532"/>
                  </a:lnTo>
                  <a:lnTo>
                    <a:pt x="151" y="533"/>
                  </a:lnTo>
                  <a:lnTo>
                    <a:pt x="151" y="533"/>
                  </a:lnTo>
                  <a:lnTo>
                    <a:pt x="150" y="533"/>
                  </a:lnTo>
                  <a:lnTo>
                    <a:pt x="149" y="534"/>
                  </a:lnTo>
                  <a:lnTo>
                    <a:pt x="148" y="535"/>
                  </a:lnTo>
                  <a:lnTo>
                    <a:pt x="148" y="536"/>
                  </a:lnTo>
                  <a:lnTo>
                    <a:pt x="147" y="536"/>
                  </a:lnTo>
                  <a:lnTo>
                    <a:pt x="146" y="539"/>
                  </a:lnTo>
                  <a:lnTo>
                    <a:pt x="145" y="539"/>
                  </a:lnTo>
                  <a:lnTo>
                    <a:pt x="145" y="540"/>
                  </a:lnTo>
                  <a:lnTo>
                    <a:pt x="144" y="541"/>
                  </a:lnTo>
                  <a:lnTo>
                    <a:pt x="144" y="541"/>
                  </a:lnTo>
                  <a:lnTo>
                    <a:pt x="143" y="541"/>
                  </a:lnTo>
                  <a:lnTo>
                    <a:pt x="143" y="541"/>
                  </a:lnTo>
                  <a:lnTo>
                    <a:pt x="142" y="541"/>
                  </a:lnTo>
                  <a:lnTo>
                    <a:pt x="142" y="541"/>
                  </a:lnTo>
                  <a:lnTo>
                    <a:pt x="141" y="541"/>
                  </a:lnTo>
                  <a:lnTo>
                    <a:pt x="141" y="541"/>
                  </a:lnTo>
                  <a:lnTo>
                    <a:pt x="141" y="541"/>
                  </a:lnTo>
                  <a:lnTo>
                    <a:pt x="141" y="539"/>
                  </a:lnTo>
                  <a:lnTo>
                    <a:pt x="139" y="534"/>
                  </a:lnTo>
                  <a:lnTo>
                    <a:pt x="137" y="531"/>
                  </a:lnTo>
                  <a:lnTo>
                    <a:pt x="137" y="530"/>
                  </a:lnTo>
                  <a:lnTo>
                    <a:pt x="136" y="527"/>
                  </a:lnTo>
                  <a:lnTo>
                    <a:pt x="134" y="522"/>
                  </a:lnTo>
                  <a:lnTo>
                    <a:pt x="134" y="521"/>
                  </a:lnTo>
                  <a:lnTo>
                    <a:pt x="134" y="520"/>
                  </a:lnTo>
                  <a:lnTo>
                    <a:pt x="133" y="519"/>
                  </a:lnTo>
                  <a:lnTo>
                    <a:pt x="133" y="519"/>
                  </a:lnTo>
                  <a:lnTo>
                    <a:pt x="132" y="518"/>
                  </a:lnTo>
                  <a:lnTo>
                    <a:pt x="131" y="517"/>
                  </a:lnTo>
                  <a:lnTo>
                    <a:pt x="128" y="515"/>
                  </a:lnTo>
                  <a:lnTo>
                    <a:pt x="127" y="514"/>
                  </a:lnTo>
                  <a:lnTo>
                    <a:pt x="126" y="513"/>
                  </a:lnTo>
                  <a:lnTo>
                    <a:pt x="124" y="512"/>
                  </a:lnTo>
                  <a:lnTo>
                    <a:pt x="122" y="512"/>
                  </a:lnTo>
                  <a:lnTo>
                    <a:pt x="121" y="511"/>
                  </a:lnTo>
                  <a:lnTo>
                    <a:pt x="118" y="510"/>
                  </a:lnTo>
                  <a:lnTo>
                    <a:pt x="116" y="509"/>
                  </a:lnTo>
                  <a:lnTo>
                    <a:pt x="114" y="509"/>
                  </a:lnTo>
                  <a:lnTo>
                    <a:pt x="112" y="508"/>
                  </a:lnTo>
                  <a:lnTo>
                    <a:pt x="111" y="507"/>
                  </a:lnTo>
                  <a:lnTo>
                    <a:pt x="108" y="506"/>
                  </a:lnTo>
                  <a:lnTo>
                    <a:pt x="107" y="505"/>
                  </a:lnTo>
                  <a:lnTo>
                    <a:pt x="107" y="505"/>
                  </a:lnTo>
                  <a:lnTo>
                    <a:pt x="106" y="504"/>
                  </a:lnTo>
                  <a:lnTo>
                    <a:pt x="106" y="504"/>
                  </a:lnTo>
                  <a:lnTo>
                    <a:pt x="106" y="504"/>
                  </a:lnTo>
                  <a:lnTo>
                    <a:pt x="105" y="503"/>
                  </a:lnTo>
                  <a:lnTo>
                    <a:pt x="105" y="503"/>
                  </a:lnTo>
                  <a:lnTo>
                    <a:pt x="105" y="502"/>
                  </a:lnTo>
                  <a:lnTo>
                    <a:pt x="105" y="502"/>
                  </a:lnTo>
                  <a:lnTo>
                    <a:pt x="106" y="500"/>
                  </a:lnTo>
                  <a:lnTo>
                    <a:pt x="106" y="497"/>
                  </a:lnTo>
                  <a:lnTo>
                    <a:pt x="107" y="494"/>
                  </a:lnTo>
                  <a:lnTo>
                    <a:pt x="107" y="492"/>
                  </a:lnTo>
                  <a:lnTo>
                    <a:pt x="107" y="491"/>
                  </a:lnTo>
                  <a:lnTo>
                    <a:pt x="107" y="489"/>
                  </a:lnTo>
                  <a:lnTo>
                    <a:pt x="108" y="488"/>
                  </a:lnTo>
                  <a:lnTo>
                    <a:pt x="107" y="486"/>
                  </a:lnTo>
                  <a:lnTo>
                    <a:pt x="107" y="485"/>
                  </a:lnTo>
                  <a:lnTo>
                    <a:pt x="107" y="485"/>
                  </a:lnTo>
                  <a:lnTo>
                    <a:pt x="107" y="484"/>
                  </a:lnTo>
                  <a:lnTo>
                    <a:pt x="107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5" y="484"/>
                  </a:lnTo>
                  <a:lnTo>
                    <a:pt x="105" y="485"/>
                  </a:lnTo>
                  <a:lnTo>
                    <a:pt x="104" y="486"/>
                  </a:lnTo>
                  <a:lnTo>
                    <a:pt x="104" y="487"/>
                  </a:lnTo>
                  <a:lnTo>
                    <a:pt x="103" y="487"/>
                  </a:lnTo>
                  <a:lnTo>
                    <a:pt x="103" y="487"/>
                  </a:lnTo>
                  <a:lnTo>
                    <a:pt x="103" y="487"/>
                  </a:lnTo>
                  <a:lnTo>
                    <a:pt x="102" y="487"/>
                  </a:lnTo>
                  <a:lnTo>
                    <a:pt x="102" y="487"/>
                  </a:lnTo>
                  <a:lnTo>
                    <a:pt x="101" y="487"/>
                  </a:lnTo>
                  <a:lnTo>
                    <a:pt x="101" y="487"/>
                  </a:lnTo>
                  <a:lnTo>
                    <a:pt x="101" y="487"/>
                  </a:lnTo>
                  <a:lnTo>
                    <a:pt x="100" y="486"/>
                  </a:lnTo>
                  <a:lnTo>
                    <a:pt x="100" y="486"/>
                  </a:lnTo>
                  <a:lnTo>
                    <a:pt x="99" y="485"/>
                  </a:lnTo>
                  <a:lnTo>
                    <a:pt x="98" y="485"/>
                  </a:lnTo>
                  <a:lnTo>
                    <a:pt x="97" y="483"/>
                  </a:lnTo>
                  <a:lnTo>
                    <a:pt x="97" y="482"/>
                  </a:lnTo>
                  <a:lnTo>
                    <a:pt x="96" y="482"/>
                  </a:lnTo>
                  <a:lnTo>
                    <a:pt x="96" y="481"/>
                  </a:lnTo>
                  <a:lnTo>
                    <a:pt x="94" y="478"/>
                  </a:lnTo>
                  <a:lnTo>
                    <a:pt x="94" y="478"/>
                  </a:lnTo>
                  <a:lnTo>
                    <a:pt x="94" y="477"/>
                  </a:lnTo>
                  <a:lnTo>
                    <a:pt x="93" y="476"/>
                  </a:lnTo>
                  <a:lnTo>
                    <a:pt x="93" y="476"/>
                  </a:lnTo>
                  <a:lnTo>
                    <a:pt x="91" y="475"/>
                  </a:lnTo>
                  <a:lnTo>
                    <a:pt x="90" y="474"/>
                  </a:lnTo>
                  <a:lnTo>
                    <a:pt x="90" y="473"/>
                  </a:lnTo>
                  <a:lnTo>
                    <a:pt x="89" y="472"/>
                  </a:lnTo>
                  <a:lnTo>
                    <a:pt x="89" y="471"/>
                  </a:lnTo>
                  <a:lnTo>
                    <a:pt x="88" y="471"/>
                  </a:lnTo>
                  <a:lnTo>
                    <a:pt x="88" y="468"/>
                  </a:lnTo>
                  <a:lnTo>
                    <a:pt x="87" y="464"/>
                  </a:lnTo>
                  <a:lnTo>
                    <a:pt x="86" y="462"/>
                  </a:lnTo>
                  <a:lnTo>
                    <a:pt x="85" y="461"/>
                  </a:lnTo>
                  <a:lnTo>
                    <a:pt x="85" y="460"/>
                  </a:lnTo>
                  <a:lnTo>
                    <a:pt x="84" y="459"/>
                  </a:lnTo>
                  <a:lnTo>
                    <a:pt x="83" y="458"/>
                  </a:lnTo>
                  <a:lnTo>
                    <a:pt x="83" y="457"/>
                  </a:lnTo>
                  <a:lnTo>
                    <a:pt x="83" y="456"/>
                  </a:lnTo>
                  <a:lnTo>
                    <a:pt x="82" y="455"/>
                  </a:lnTo>
                  <a:lnTo>
                    <a:pt x="81" y="454"/>
                  </a:lnTo>
                  <a:lnTo>
                    <a:pt x="81" y="453"/>
                  </a:lnTo>
                  <a:lnTo>
                    <a:pt x="79" y="452"/>
                  </a:lnTo>
                  <a:lnTo>
                    <a:pt x="78" y="451"/>
                  </a:lnTo>
                  <a:lnTo>
                    <a:pt x="78" y="450"/>
                  </a:lnTo>
                  <a:lnTo>
                    <a:pt x="77" y="448"/>
                  </a:lnTo>
                  <a:lnTo>
                    <a:pt x="76" y="447"/>
                  </a:lnTo>
                  <a:lnTo>
                    <a:pt x="76" y="446"/>
                  </a:lnTo>
                  <a:lnTo>
                    <a:pt x="75" y="445"/>
                  </a:lnTo>
                  <a:lnTo>
                    <a:pt x="74" y="444"/>
                  </a:lnTo>
                  <a:lnTo>
                    <a:pt x="73" y="443"/>
                  </a:lnTo>
                  <a:lnTo>
                    <a:pt x="73" y="443"/>
                  </a:lnTo>
                  <a:lnTo>
                    <a:pt x="72" y="442"/>
                  </a:lnTo>
                  <a:lnTo>
                    <a:pt x="71" y="442"/>
                  </a:lnTo>
                  <a:lnTo>
                    <a:pt x="69" y="442"/>
                  </a:lnTo>
                  <a:lnTo>
                    <a:pt x="67" y="441"/>
                  </a:lnTo>
                  <a:lnTo>
                    <a:pt x="65" y="441"/>
                  </a:lnTo>
                  <a:lnTo>
                    <a:pt x="64" y="441"/>
                  </a:lnTo>
                  <a:lnTo>
                    <a:pt x="63" y="441"/>
                  </a:lnTo>
                  <a:lnTo>
                    <a:pt x="62" y="441"/>
                  </a:lnTo>
                  <a:lnTo>
                    <a:pt x="61" y="441"/>
                  </a:lnTo>
                  <a:lnTo>
                    <a:pt x="59" y="441"/>
                  </a:lnTo>
                  <a:lnTo>
                    <a:pt x="58" y="442"/>
                  </a:lnTo>
                  <a:lnTo>
                    <a:pt x="56" y="443"/>
                  </a:lnTo>
                  <a:lnTo>
                    <a:pt x="55" y="444"/>
                  </a:lnTo>
                  <a:lnTo>
                    <a:pt x="54" y="445"/>
                  </a:lnTo>
                  <a:lnTo>
                    <a:pt x="52" y="446"/>
                  </a:lnTo>
                  <a:lnTo>
                    <a:pt x="51" y="448"/>
                  </a:lnTo>
                  <a:lnTo>
                    <a:pt x="50" y="448"/>
                  </a:lnTo>
                  <a:lnTo>
                    <a:pt x="50" y="448"/>
                  </a:lnTo>
                  <a:lnTo>
                    <a:pt x="50" y="449"/>
                  </a:lnTo>
                  <a:lnTo>
                    <a:pt x="50" y="449"/>
                  </a:lnTo>
                  <a:lnTo>
                    <a:pt x="50" y="449"/>
                  </a:lnTo>
                  <a:lnTo>
                    <a:pt x="50" y="450"/>
                  </a:lnTo>
                  <a:lnTo>
                    <a:pt x="51" y="450"/>
                  </a:lnTo>
                  <a:lnTo>
                    <a:pt x="51" y="451"/>
                  </a:lnTo>
                  <a:lnTo>
                    <a:pt x="52" y="452"/>
                  </a:lnTo>
                  <a:lnTo>
                    <a:pt x="52" y="452"/>
                  </a:lnTo>
                  <a:lnTo>
                    <a:pt x="52" y="453"/>
                  </a:lnTo>
                  <a:lnTo>
                    <a:pt x="53" y="453"/>
                  </a:lnTo>
                  <a:lnTo>
                    <a:pt x="58" y="458"/>
                  </a:lnTo>
                  <a:lnTo>
                    <a:pt x="58" y="458"/>
                  </a:lnTo>
                  <a:lnTo>
                    <a:pt x="59" y="459"/>
                  </a:lnTo>
                  <a:lnTo>
                    <a:pt x="59" y="460"/>
                  </a:lnTo>
                  <a:lnTo>
                    <a:pt x="59" y="461"/>
                  </a:lnTo>
                  <a:lnTo>
                    <a:pt x="60" y="462"/>
                  </a:lnTo>
                  <a:lnTo>
                    <a:pt x="60" y="463"/>
                  </a:lnTo>
                  <a:lnTo>
                    <a:pt x="61" y="464"/>
                  </a:lnTo>
                  <a:lnTo>
                    <a:pt x="62" y="466"/>
                  </a:lnTo>
                  <a:lnTo>
                    <a:pt x="62" y="467"/>
                  </a:lnTo>
                  <a:lnTo>
                    <a:pt x="63" y="468"/>
                  </a:lnTo>
                  <a:lnTo>
                    <a:pt x="63" y="469"/>
                  </a:lnTo>
                  <a:lnTo>
                    <a:pt x="63" y="469"/>
                  </a:lnTo>
                  <a:lnTo>
                    <a:pt x="63" y="470"/>
                  </a:lnTo>
                  <a:lnTo>
                    <a:pt x="63" y="471"/>
                  </a:lnTo>
                  <a:lnTo>
                    <a:pt x="63" y="471"/>
                  </a:lnTo>
                  <a:lnTo>
                    <a:pt x="63" y="472"/>
                  </a:lnTo>
                  <a:lnTo>
                    <a:pt x="63" y="472"/>
                  </a:lnTo>
                  <a:lnTo>
                    <a:pt x="62" y="473"/>
                  </a:lnTo>
                  <a:lnTo>
                    <a:pt x="61" y="475"/>
                  </a:lnTo>
                  <a:lnTo>
                    <a:pt x="60" y="476"/>
                  </a:lnTo>
                  <a:lnTo>
                    <a:pt x="59" y="478"/>
                  </a:lnTo>
                  <a:lnTo>
                    <a:pt x="58" y="481"/>
                  </a:lnTo>
                  <a:lnTo>
                    <a:pt x="58" y="483"/>
                  </a:lnTo>
                  <a:lnTo>
                    <a:pt x="57" y="484"/>
                  </a:lnTo>
                  <a:lnTo>
                    <a:pt x="56" y="485"/>
                  </a:lnTo>
                  <a:lnTo>
                    <a:pt x="56" y="486"/>
                  </a:lnTo>
                  <a:lnTo>
                    <a:pt x="54" y="487"/>
                  </a:lnTo>
                  <a:lnTo>
                    <a:pt x="53" y="488"/>
                  </a:lnTo>
                  <a:lnTo>
                    <a:pt x="52" y="489"/>
                  </a:lnTo>
                  <a:lnTo>
                    <a:pt x="51" y="490"/>
                  </a:lnTo>
                  <a:lnTo>
                    <a:pt x="50" y="490"/>
                  </a:lnTo>
                  <a:lnTo>
                    <a:pt x="49" y="491"/>
                  </a:lnTo>
                  <a:lnTo>
                    <a:pt x="48" y="491"/>
                  </a:lnTo>
                  <a:lnTo>
                    <a:pt x="47" y="491"/>
                  </a:lnTo>
                  <a:lnTo>
                    <a:pt x="46" y="491"/>
                  </a:lnTo>
                  <a:lnTo>
                    <a:pt x="45" y="490"/>
                  </a:lnTo>
                  <a:lnTo>
                    <a:pt x="43" y="490"/>
                  </a:lnTo>
                  <a:lnTo>
                    <a:pt x="42" y="489"/>
                  </a:lnTo>
                  <a:lnTo>
                    <a:pt x="40" y="488"/>
                  </a:lnTo>
                  <a:lnTo>
                    <a:pt x="37" y="485"/>
                  </a:lnTo>
                  <a:lnTo>
                    <a:pt x="35" y="484"/>
                  </a:lnTo>
                  <a:lnTo>
                    <a:pt x="34" y="483"/>
                  </a:lnTo>
                  <a:lnTo>
                    <a:pt x="34" y="483"/>
                  </a:lnTo>
                  <a:lnTo>
                    <a:pt x="32" y="481"/>
                  </a:lnTo>
                  <a:lnTo>
                    <a:pt x="32" y="481"/>
                  </a:lnTo>
                  <a:lnTo>
                    <a:pt x="31" y="480"/>
                  </a:lnTo>
                  <a:lnTo>
                    <a:pt x="31" y="480"/>
                  </a:lnTo>
                  <a:lnTo>
                    <a:pt x="31" y="479"/>
                  </a:lnTo>
                  <a:lnTo>
                    <a:pt x="31" y="478"/>
                  </a:lnTo>
                  <a:lnTo>
                    <a:pt x="31" y="477"/>
                  </a:lnTo>
                  <a:lnTo>
                    <a:pt x="31" y="477"/>
                  </a:lnTo>
                  <a:lnTo>
                    <a:pt x="31" y="476"/>
                  </a:lnTo>
                  <a:lnTo>
                    <a:pt x="32" y="475"/>
                  </a:lnTo>
                  <a:lnTo>
                    <a:pt x="32" y="475"/>
                  </a:lnTo>
                  <a:lnTo>
                    <a:pt x="32" y="474"/>
                  </a:lnTo>
                  <a:lnTo>
                    <a:pt x="32" y="474"/>
                  </a:lnTo>
                  <a:lnTo>
                    <a:pt x="33" y="473"/>
                  </a:lnTo>
                  <a:lnTo>
                    <a:pt x="35" y="471"/>
                  </a:lnTo>
                  <a:lnTo>
                    <a:pt x="36" y="471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9"/>
                  </a:lnTo>
                  <a:lnTo>
                    <a:pt x="37" y="469"/>
                  </a:lnTo>
                  <a:lnTo>
                    <a:pt x="37" y="468"/>
                  </a:lnTo>
                  <a:lnTo>
                    <a:pt x="36" y="467"/>
                  </a:lnTo>
                  <a:lnTo>
                    <a:pt x="36" y="466"/>
                  </a:lnTo>
                  <a:lnTo>
                    <a:pt x="35" y="465"/>
                  </a:lnTo>
                  <a:lnTo>
                    <a:pt x="35" y="464"/>
                  </a:lnTo>
                  <a:lnTo>
                    <a:pt x="34" y="463"/>
                  </a:lnTo>
                  <a:lnTo>
                    <a:pt x="32" y="460"/>
                  </a:lnTo>
                  <a:lnTo>
                    <a:pt x="31" y="459"/>
                  </a:lnTo>
                  <a:lnTo>
                    <a:pt x="31" y="458"/>
                  </a:lnTo>
                  <a:lnTo>
                    <a:pt x="30" y="457"/>
                  </a:lnTo>
                  <a:lnTo>
                    <a:pt x="30" y="456"/>
                  </a:lnTo>
                  <a:lnTo>
                    <a:pt x="29" y="453"/>
                  </a:lnTo>
                  <a:lnTo>
                    <a:pt x="28" y="449"/>
                  </a:lnTo>
                  <a:lnTo>
                    <a:pt x="27" y="446"/>
                  </a:lnTo>
                  <a:lnTo>
                    <a:pt x="27" y="445"/>
                  </a:lnTo>
                  <a:lnTo>
                    <a:pt x="27" y="443"/>
                  </a:lnTo>
                  <a:lnTo>
                    <a:pt x="27" y="442"/>
                  </a:lnTo>
                  <a:lnTo>
                    <a:pt x="27" y="440"/>
                  </a:lnTo>
                  <a:lnTo>
                    <a:pt x="27" y="439"/>
                  </a:lnTo>
                  <a:lnTo>
                    <a:pt x="27" y="437"/>
                  </a:lnTo>
                  <a:lnTo>
                    <a:pt x="27" y="436"/>
                  </a:lnTo>
                  <a:lnTo>
                    <a:pt x="28" y="435"/>
                  </a:lnTo>
                  <a:lnTo>
                    <a:pt x="30" y="432"/>
                  </a:lnTo>
                  <a:lnTo>
                    <a:pt x="30" y="431"/>
                  </a:lnTo>
                  <a:lnTo>
                    <a:pt x="32" y="429"/>
                  </a:lnTo>
                  <a:lnTo>
                    <a:pt x="32" y="428"/>
                  </a:lnTo>
                  <a:lnTo>
                    <a:pt x="33" y="428"/>
                  </a:lnTo>
                  <a:lnTo>
                    <a:pt x="34" y="427"/>
                  </a:lnTo>
                  <a:lnTo>
                    <a:pt x="34" y="426"/>
                  </a:lnTo>
                  <a:lnTo>
                    <a:pt x="35" y="426"/>
                  </a:lnTo>
                  <a:lnTo>
                    <a:pt x="35" y="425"/>
                  </a:lnTo>
                  <a:lnTo>
                    <a:pt x="36" y="425"/>
                  </a:lnTo>
                  <a:lnTo>
                    <a:pt x="36" y="425"/>
                  </a:lnTo>
                  <a:lnTo>
                    <a:pt x="36" y="424"/>
                  </a:lnTo>
                  <a:lnTo>
                    <a:pt x="35" y="424"/>
                  </a:lnTo>
                  <a:lnTo>
                    <a:pt x="35" y="424"/>
                  </a:lnTo>
                  <a:lnTo>
                    <a:pt x="34" y="424"/>
                  </a:lnTo>
                  <a:lnTo>
                    <a:pt x="32" y="423"/>
                  </a:lnTo>
                  <a:lnTo>
                    <a:pt x="30" y="423"/>
                  </a:lnTo>
                  <a:lnTo>
                    <a:pt x="29" y="423"/>
                  </a:lnTo>
                  <a:lnTo>
                    <a:pt x="27" y="423"/>
                  </a:lnTo>
                  <a:lnTo>
                    <a:pt x="25" y="422"/>
                  </a:lnTo>
                  <a:lnTo>
                    <a:pt x="21" y="421"/>
                  </a:lnTo>
                  <a:lnTo>
                    <a:pt x="18" y="420"/>
                  </a:lnTo>
                  <a:lnTo>
                    <a:pt x="15" y="419"/>
                  </a:lnTo>
                  <a:lnTo>
                    <a:pt x="15" y="419"/>
                  </a:lnTo>
                  <a:lnTo>
                    <a:pt x="14" y="419"/>
                  </a:lnTo>
                  <a:lnTo>
                    <a:pt x="14" y="418"/>
                  </a:lnTo>
                  <a:lnTo>
                    <a:pt x="13" y="418"/>
                  </a:lnTo>
                  <a:lnTo>
                    <a:pt x="13" y="418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3" y="416"/>
                  </a:lnTo>
                  <a:lnTo>
                    <a:pt x="13" y="415"/>
                  </a:lnTo>
                  <a:lnTo>
                    <a:pt x="13" y="413"/>
                  </a:lnTo>
                  <a:lnTo>
                    <a:pt x="13" y="412"/>
                  </a:lnTo>
                  <a:lnTo>
                    <a:pt x="13" y="411"/>
                  </a:lnTo>
                  <a:lnTo>
                    <a:pt x="12" y="408"/>
                  </a:lnTo>
                  <a:lnTo>
                    <a:pt x="12" y="407"/>
                  </a:lnTo>
                  <a:lnTo>
                    <a:pt x="12" y="406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4" y="403"/>
                  </a:lnTo>
                  <a:lnTo>
                    <a:pt x="14" y="402"/>
                  </a:lnTo>
                  <a:lnTo>
                    <a:pt x="15" y="402"/>
                  </a:lnTo>
                  <a:lnTo>
                    <a:pt x="15" y="402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3" y="404"/>
                  </a:lnTo>
                  <a:lnTo>
                    <a:pt x="24" y="404"/>
                  </a:lnTo>
                  <a:lnTo>
                    <a:pt x="25" y="404"/>
                  </a:lnTo>
                  <a:lnTo>
                    <a:pt x="25" y="404"/>
                  </a:lnTo>
                  <a:lnTo>
                    <a:pt x="25" y="403"/>
                  </a:lnTo>
                  <a:lnTo>
                    <a:pt x="26" y="403"/>
                  </a:lnTo>
                  <a:lnTo>
                    <a:pt x="26" y="403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8" y="397"/>
                  </a:lnTo>
                  <a:lnTo>
                    <a:pt x="29" y="396"/>
                  </a:lnTo>
                  <a:lnTo>
                    <a:pt x="29" y="395"/>
                  </a:lnTo>
                  <a:lnTo>
                    <a:pt x="29" y="394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0" y="389"/>
                  </a:lnTo>
                  <a:lnTo>
                    <a:pt x="31" y="386"/>
                  </a:lnTo>
                  <a:lnTo>
                    <a:pt x="32" y="384"/>
                  </a:lnTo>
                  <a:lnTo>
                    <a:pt x="32" y="382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80"/>
                  </a:lnTo>
                  <a:lnTo>
                    <a:pt x="31" y="377"/>
                  </a:lnTo>
                  <a:lnTo>
                    <a:pt x="30" y="375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3"/>
                  </a:lnTo>
                  <a:lnTo>
                    <a:pt x="30" y="371"/>
                  </a:lnTo>
                  <a:lnTo>
                    <a:pt x="30" y="370"/>
                  </a:lnTo>
                  <a:lnTo>
                    <a:pt x="30" y="369"/>
                  </a:lnTo>
                  <a:lnTo>
                    <a:pt x="31" y="368"/>
                  </a:lnTo>
                  <a:lnTo>
                    <a:pt x="31" y="367"/>
                  </a:lnTo>
                  <a:lnTo>
                    <a:pt x="32" y="366"/>
                  </a:lnTo>
                  <a:lnTo>
                    <a:pt x="33" y="365"/>
                  </a:lnTo>
                  <a:lnTo>
                    <a:pt x="33" y="364"/>
                  </a:lnTo>
                  <a:lnTo>
                    <a:pt x="36" y="361"/>
                  </a:lnTo>
                  <a:lnTo>
                    <a:pt x="38" y="358"/>
                  </a:lnTo>
                  <a:lnTo>
                    <a:pt x="39" y="357"/>
                  </a:lnTo>
                  <a:lnTo>
                    <a:pt x="39" y="356"/>
                  </a:lnTo>
                  <a:lnTo>
                    <a:pt x="39" y="356"/>
                  </a:lnTo>
                  <a:lnTo>
                    <a:pt x="40" y="355"/>
                  </a:lnTo>
                  <a:lnTo>
                    <a:pt x="40" y="353"/>
                  </a:lnTo>
                  <a:lnTo>
                    <a:pt x="41" y="352"/>
                  </a:lnTo>
                  <a:lnTo>
                    <a:pt x="41" y="350"/>
                  </a:lnTo>
                  <a:lnTo>
                    <a:pt x="41" y="348"/>
                  </a:lnTo>
                  <a:lnTo>
                    <a:pt x="41" y="347"/>
                  </a:lnTo>
                  <a:lnTo>
                    <a:pt x="41" y="346"/>
                  </a:lnTo>
                  <a:lnTo>
                    <a:pt x="40" y="342"/>
                  </a:lnTo>
                  <a:lnTo>
                    <a:pt x="40" y="341"/>
                  </a:lnTo>
                  <a:lnTo>
                    <a:pt x="40" y="340"/>
                  </a:lnTo>
                  <a:lnTo>
                    <a:pt x="40" y="339"/>
                  </a:lnTo>
                  <a:lnTo>
                    <a:pt x="39" y="338"/>
                  </a:lnTo>
                  <a:lnTo>
                    <a:pt x="39" y="338"/>
                  </a:lnTo>
                  <a:lnTo>
                    <a:pt x="38" y="337"/>
                  </a:lnTo>
                  <a:lnTo>
                    <a:pt x="38" y="336"/>
                  </a:lnTo>
                  <a:lnTo>
                    <a:pt x="37" y="336"/>
                  </a:lnTo>
                  <a:lnTo>
                    <a:pt x="36" y="335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4" y="334"/>
                  </a:lnTo>
                  <a:lnTo>
                    <a:pt x="31" y="334"/>
                  </a:lnTo>
                  <a:lnTo>
                    <a:pt x="30" y="333"/>
                  </a:lnTo>
                  <a:lnTo>
                    <a:pt x="29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7" y="333"/>
                  </a:lnTo>
                  <a:lnTo>
                    <a:pt x="27" y="333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1"/>
                  </a:lnTo>
                  <a:lnTo>
                    <a:pt x="27" y="330"/>
                  </a:lnTo>
                  <a:lnTo>
                    <a:pt x="28" y="328"/>
                  </a:lnTo>
                  <a:lnTo>
                    <a:pt x="28" y="327"/>
                  </a:lnTo>
                  <a:lnTo>
                    <a:pt x="28" y="326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8" y="324"/>
                  </a:lnTo>
                  <a:lnTo>
                    <a:pt x="27" y="321"/>
                  </a:lnTo>
                  <a:lnTo>
                    <a:pt x="26" y="321"/>
                  </a:lnTo>
                  <a:lnTo>
                    <a:pt x="26" y="320"/>
                  </a:lnTo>
                  <a:lnTo>
                    <a:pt x="26" y="317"/>
                  </a:lnTo>
                  <a:lnTo>
                    <a:pt x="26" y="316"/>
                  </a:lnTo>
                  <a:lnTo>
                    <a:pt x="25" y="315"/>
                  </a:lnTo>
                  <a:lnTo>
                    <a:pt x="25" y="314"/>
                  </a:lnTo>
                  <a:lnTo>
                    <a:pt x="24" y="314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7" y="305"/>
                  </a:lnTo>
                  <a:lnTo>
                    <a:pt x="16" y="304"/>
                  </a:lnTo>
                  <a:lnTo>
                    <a:pt x="15" y="302"/>
                  </a:lnTo>
                  <a:lnTo>
                    <a:pt x="15" y="300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12" y="294"/>
                  </a:lnTo>
                  <a:lnTo>
                    <a:pt x="12" y="293"/>
                  </a:lnTo>
                  <a:lnTo>
                    <a:pt x="12" y="292"/>
                  </a:lnTo>
                  <a:lnTo>
                    <a:pt x="11" y="291"/>
                  </a:lnTo>
                  <a:lnTo>
                    <a:pt x="9" y="288"/>
                  </a:lnTo>
                  <a:lnTo>
                    <a:pt x="8" y="287"/>
                  </a:lnTo>
                  <a:lnTo>
                    <a:pt x="8" y="286"/>
                  </a:lnTo>
                  <a:lnTo>
                    <a:pt x="8" y="285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6"/>
                  </a:lnTo>
                  <a:lnTo>
                    <a:pt x="9" y="275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2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8"/>
                  </a:lnTo>
                  <a:lnTo>
                    <a:pt x="13" y="267"/>
                  </a:lnTo>
                  <a:lnTo>
                    <a:pt x="13" y="266"/>
                  </a:lnTo>
                  <a:lnTo>
                    <a:pt x="13" y="266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2" y="260"/>
                  </a:lnTo>
                  <a:lnTo>
                    <a:pt x="12" y="258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7"/>
                  </a:lnTo>
                  <a:lnTo>
                    <a:pt x="10" y="246"/>
                  </a:lnTo>
                  <a:lnTo>
                    <a:pt x="9" y="241"/>
                  </a:lnTo>
                  <a:lnTo>
                    <a:pt x="7" y="236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5" y="230"/>
                  </a:lnTo>
                  <a:lnTo>
                    <a:pt x="4" y="225"/>
                  </a:lnTo>
                  <a:lnTo>
                    <a:pt x="4" y="223"/>
                  </a:lnTo>
                  <a:lnTo>
                    <a:pt x="3" y="220"/>
                  </a:lnTo>
                  <a:lnTo>
                    <a:pt x="1" y="216"/>
                  </a:lnTo>
                  <a:lnTo>
                    <a:pt x="1" y="215"/>
                  </a:lnTo>
                  <a:lnTo>
                    <a:pt x="1" y="214"/>
                  </a:lnTo>
                  <a:lnTo>
                    <a:pt x="0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1" y="210"/>
                  </a:lnTo>
                  <a:lnTo>
                    <a:pt x="1" y="210"/>
                  </a:lnTo>
                  <a:lnTo>
                    <a:pt x="2" y="210"/>
                  </a:lnTo>
                  <a:lnTo>
                    <a:pt x="2" y="210"/>
                  </a:lnTo>
                  <a:lnTo>
                    <a:pt x="3" y="209"/>
                  </a:lnTo>
                  <a:lnTo>
                    <a:pt x="4" y="209"/>
                  </a:lnTo>
                  <a:lnTo>
                    <a:pt x="5" y="209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0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3" y="205"/>
                  </a:lnTo>
                  <a:lnTo>
                    <a:pt x="14" y="204"/>
                  </a:lnTo>
                  <a:lnTo>
                    <a:pt x="15" y="203"/>
                  </a:lnTo>
                  <a:lnTo>
                    <a:pt x="15" y="202"/>
                  </a:lnTo>
                  <a:lnTo>
                    <a:pt x="18" y="199"/>
                  </a:lnTo>
                  <a:lnTo>
                    <a:pt x="19" y="198"/>
                  </a:lnTo>
                  <a:lnTo>
                    <a:pt x="22" y="196"/>
                  </a:lnTo>
                  <a:lnTo>
                    <a:pt x="23" y="194"/>
                  </a:lnTo>
                  <a:lnTo>
                    <a:pt x="24" y="194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2"/>
                  </a:lnTo>
                  <a:lnTo>
                    <a:pt x="26" y="191"/>
                  </a:lnTo>
                  <a:lnTo>
                    <a:pt x="26" y="190"/>
                  </a:lnTo>
                  <a:lnTo>
                    <a:pt x="27" y="189"/>
                  </a:lnTo>
                  <a:lnTo>
                    <a:pt x="27" y="188"/>
                  </a:lnTo>
                  <a:lnTo>
                    <a:pt x="27" y="187"/>
                  </a:lnTo>
                  <a:lnTo>
                    <a:pt x="27" y="185"/>
                  </a:lnTo>
                  <a:lnTo>
                    <a:pt x="26" y="182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0"/>
                  </a:lnTo>
                  <a:lnTo>
                    <a:pt x="27" y="169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6"/>
                  </a:lnTo>
                  <a:lnTo>
                    <a:pt x="27" y="162"/>
                  </a:lnTo>
                  <a:lnTo>
                    <a:pt x="27" y="161"/>
                  </a:lnTo>
                  <a:lnTo>
                    <a:pt x="27" y="160"/>
                  </a:lnTo>
                  <a:lnTo>
                    <a:pt x="27" y="159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30" y="150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4" y="143"/>
                  </a:lnTo>
                  <a:lnTo>
                    <a:pt x="36" y="135"/>
                  </a:lnTo>
                  <a:lnTo>
                    <a:pt x="38" y="132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40" y="125"/>
                  </a:lnTo>
                  <a:lnTo>
                    <a:pt x="40" y="123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4" y="114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9" y="108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5" y="105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3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1"/>
                  </a:lnTo>
                  <a:lnTo>
                    <a:pt x="69" y="100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6" y="99"/>
                  </a:lnTo>
                  <a:lnTo>
                    <a:pt x="79" y="102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1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3"/>
                  </a:lnTo>
                  <a:lnTo>
                    <a:pt x="85" y="103"/>
                  </a:lnTo>
                  <a:lnTo>
                    <a:pt x="85" y="102"/>
                  </a:lnTo>
                  <a:lnTo>
                    <a:pt x="86" y="102"/>
                  </a:lnTo>
                  <a:lnTo>
                    <a:pt x="86" y="101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6" y="97"/>
                  </a:lnTo>
                  <a:lnTo>
                    <a:pt x="85" y="94"/>
                  </a:lnTo>
                  <a:lnTo>
                    <a:pt x="85" y="92"/>
                  </a:lnTo>
                  <a:lnTo>
                    <a:pt x="84" y="91"/>
                  </a:lnTo>
                  <a:lnTo>
                    <a:pt x="84" y="89"/>
                  </a:lnTo>
                  <a:lnTo>
                    <a:pt x="84" y="88"/>
                  </a:lnTo>
                  <a:lnTo>
                    <a:pt x="84" y="87"/>
                  </a:lnTo>
                  <a:lnTo>
                    <a:pt x="85" y="83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5" y="78"/>
                  </a:lnTo>
                  <a:lnTo>
                    <a:pt x="84" y="77"/>
                  </a:lnTo>
                  <a:lnTo>
                    <a:pt x="84" y="75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79" y="68"/>
                  </a:lnTo>
                  <a:lnTo>
                    <a:pt x="78" y="67"/>
                  </a:lnTo>
                  <a:lnTo>
                    <a:pt x="77" y="66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68" y="62"/>
                  </a:lnTo>
                  <a:lnTo>
                    <a:pt x="67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1" y="54"/>
                  </a:lnTo>
                  <a:lnTo>
                    <a:pt x="59" y="49"/>
                  </a:lnTo>
                  <a:lnTo>
                    <a:pt x="57" y="44"/>
                  </a:lnTo>
                  <a:lnTo>
                    <a:pt x="56" y="42"/>
                  </a:lnTo>
                  <a:lnTo>
                    <a:pt x="55" y="40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3" y="32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8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4" y="6"/>
                  </a:lnTo>
                  <a:lnTo>
                    <a:pt x="45" y="5"/>
                  </a:lnTo>
                  <a:lnTo>
                    <a:pt x="46" y="4"/>
                  </a:lnTo>
                  <a:lnTo>
                    <a:pt x="47" y="3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9" y="5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0" y="12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6" y="14"/>
                  </a:lnTo>
                  <a:lnTo>
                    <a:pt x="92" y="16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8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3" y="22"/>
                  </a:lnTo>
                  <a:lnTo>
                    <a:pt x="113" y="23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5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8" y="31"/>
                  </a:lnTo>
                  <a:lnTo>
                    <a:pt x="140" y="35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3" y="40"/>
                  </a:lnTo>
                  <a:lnTo>
                    <a:pt x="144" y="41"/>
                  </a:lnTo>
                  <a:lnTo>
                    <a:pt x="145" y="43"/>
                  </a:lnTo>
                  <a:lnTo>
                    <a:pt x="146" y="44"/>
                  </a:lnTo>
                  <a:lnTo>
                    <a:pt x="147" y="45"/>
                  </a:lnTo>
                  <a:lnTo>
                    <a:pt x="148" y="46"/>
                  </a:lnTo>
                  <a:lnTo>
                    <a:pt x="149" y="47"/>
                  </a:lnTo>
                  <a:lnTo>
                    <a:pt x="151" y="49"/>
                  </a:lnTo>
                  <a:lnTo>
                    <a:pt x="153" y="50"/>
                  </a:lnTo>
                  <a:lnTo>
                    <a:pt x="154" y="51"/>
                  </a:lnTo>
                  <a:lnTo>
                    <a:pt x="155" y="52"/>
                  </a:lnTo>
                  <a:lnTo>
                    <a:pt x="156" y="52"/>
                  </a:lnTo>
                  <a:lnTo>
                    <a:pt x="158" y="53"/>
                  </a:lnTo>
                  <a:lnTo>
                    <a:pt x="160" y="54"/>
                  </a:lnTo>
                  <a:lnTo>
                    <a:pt x="161" y="54"/>
                  </a:lnTo>
                  <a:lnTo>
                    <a:pt x="162" y="55"/>
                  </a:lnTo>
                  <a:lnTo>
                    <a:pt x="163" y="55"/>
                  </a:lnTo>
                  <a:lnTo>
                    <a:pt x="164" y="55"/>
                  </a:lnTo>
                  <a:lnTo>
                    <a:pt x="165" y="55"/>
                  </a:lnTo>
                  <a:lnTo>
                    <a:pt x="166" y="56"/>
                  </a:lnTo>
                  <a:lnTo>
                    <a:pt x="167" y="56"/>
                  </a:lnTo>
                  <a:lnTo>
                    <a:pt x="169" y="56"/>
                  </a:lnTo>
                  <a:close/>
                </a:path>
              </a:pathLst>
            </a:custGeom>
            <a:solidFill>
              <a:srgbClr val="FFCC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" name="Freeform 70">
              <a:extLst>
                <a:ext uri="{FF2B5EF4-FFF2-40B4-BE49-F238E27FC236}">
                  <a16:creationId xmlns:a16="http://schemas.microsoft.com/office/drawing/2014/main" id="{24B96DA3-7900-963F-3B4E-AD97F96C99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5" y="3194"/>
              <a:ext cx="334" cy="487"/>
            </a:xfrm>
            <a:custGeom>
              <a:avLst/>
              <a:gdLst>
                <a:gd name="T0" fmla="*/ 152 w 334"/>
                <a:gd name="T1" fmla="*/ 7 h 487"/>
                <a:gd name="T2" fmla="*/ 155 w 334"/>
                <a:gd name="T3" fmla="*/ 25 h 487"/>
                <a:gd name="T4" fmla="*/ 171 w 334"/>
                <a:gd name="T5" fmla="*/ 23 h 487"/>
                <a:gd name="T6" fmla="*/ 175 w 334"/>
                <a:gd name="T7" fmla="*/ 47 h 487"/>
                <a:gd name="T8" fmla="*/ 162 w 334"/>
                <a:gd name="T9" fmla="*/ 51 h 487"/>
                <a:gd name="T10" fmla="*/ 140 w 334"/>
                <a:gd name="T11" fmla="*/ 69 h 487"/>
                <a:gd name="T12" fmla="*/ 123 w 334"/>
                <a:gd name="T13" fmla="*/ 96 h 487"/>
                <a:gd name="T14" fmla="*/ 118 w 334"/>
                <a:gd name="T15" fmla="*/ 127 h 487"/>
                <a:gd name="T16" fmla="*/ 102 w 334"/>
                <a:gd name="T17" fmla="*/ 158 h 487"/>
                <a:gd name="T18" fmla="*/ 112 w 334"/>
                <a:gd name="T19" fmla="*/ 174 h 487"/>
                <a:gd name="T20" fmla="*/ 104 w 334"/>
                <a:gd name="T21" fmla="*/ 193 h 487"/>
                <a:gd name="T22" fmla="*/ 102 w 334"/>
                <a:gd name="T23" fmla="*/ 212 h 487"/>
                <a:gd name="T24" fmla="*/ 119 w 334"/>
                <a:gd name="T25" fmla="*/ 219 h 487"/>
                <a:gd name="T26" fmla="*/ 120 w 334"/>
                <a:gd name="T27" fmla="*/ 232 h 487"/>
                <a:gd name="T28" fmla="*/ 138 w 334"/>
                <a:gd name="T29" fmla="*/ 226 h 487"/>
                <a:gd name="T30" fmla="*/ 161 w 334"/>
                <a:gd name="T31" fmla="*/ 215 h 487"/>
                <a:gd name="T32" fmla="*/ 164 w 334"/>
                <a:gd name="T33" fmla="*/ 234 h 487"/>
                <a:gd name="T34" fmla="*/ 173 w 334"/>
                <a:gd name="T35" fmla="*/ 239 h 487"/>
                <a:gd name="T36" fmla="*/ 184 w 334"/>
                <a:gd name="T37" fmla="*/ 228 h 487"/>
                <a:gd name="T38" fmla="*/ 192 w 334"/>
                <a:gd name="T39" fmla="*/ 222 h 487"/>
                <a:gd name="T40" fmla="*/ 195 w 334"/>
                <a:gd name="T41" fmla="*/ 210 h 487"/>
                <a:gd name="T42" fmla="*/ 204 w 334"/>
                <a:gd name="T43" fmla="*/ 234 h 487"/>
                <a:gd name="T44" fmla="*/ 214 w 334"/>
                <a:gd name="T45" fmla="*/ 252 h 487"/>
                <a:gd name="T46" fmla="*/ 238 w 334"/>
                <a:gd name="T47" fmla="*/ 263 h 487"/>
                <a:gd name="T48" fmla="*/ 260 w 334"/>
                <a:gd name="T49" fmla="*/ 258 h 487"/>
                <a:gd name="T50" fmla="*/ 262 w 334"/>
                <a:gd name="T51" fmla="*/ 280 h 487"/>
                <a:gd name="T52" fmla="*/ 269 w 334"/>
                <a:gd name="T53" fmla="*/ 298 h 487"/>
                <a:gd name="T54" fmla="*/ 280 w 334"/>
                <a:gd name="T55" fmla="*/ 298 h 487"/>
                <a:gd name="T56" fmla="*/ 302 w 334"/>
                <a:gd name="T57" fmla="*/ 320 h 487"/>
                <a:gd name="T58" fmla="*/ 315 w 334"/>
                <a:gd name="T59" fmla="*/ 345 h 487"/>
                <a:gd name="T60" fmla="*/ 323 w 334"/>
                <a:gd name="T61" fmla="*/ 347 h 487"/>
                <a:gd name="T62" fmla="*/ 334 w 334"/>
                <a:gd name="T63" fmla="*/ 358 h 487"/>
                <a:gd name="T64" fmla="*/ 325 w 334"/>
                <a:gd name="T65" fmla="*/ 369 h 487"/>
                <a:gd name="T66" fmla="*/ 309 w 334"/>
                <a:gd name="T67" fmla="*/ 373 h 487"/>
                <a:gd name="T68" fmla="*/ 298 w 334"/>
                <a:gd name="T69" fmla="*/ 392 h 487"/>
                <a:gd name="T70" fmla="*/ 280 w 334"/>
                <a:gd name="T71" fmla="*/ 406 h 487"/>
                <a:gd name="T72" fmla="*/ 264 w 334"/>
                <a:gd name="T73" fmla="*/ 398 h 487"/>
                <a:gd name="T74" fmla="*/ 253 w 334"/>
                <a:gd name="T75" fmla="*/ 402 h 487"/>
                <a:gd name="T76" fmla="*/ 254 w 334"/>
                <a:gd name="T77" fmla="*/ 415 h 487"/>
                <a:gd name="T78" fmla="*/ 244 w 334"/>
                <a:gd name="T79" fmla="*/ 425 h 487"/>
                <a:gd name="T80" fmla="*/ 224 w 334"/>
                <a:gd name="T81" fmla="*/ 424 h 487"/>
                <a:gd name="T82" fmla="*/ 212 w 334"/>
                <a:gd name="T83" fmla="*/ 436 h 487"/>
                <a:gd name="T84" fmla="*/ 196 w 334"/>
                <a:gd name="T85" fmla="*/ 438 h 487"/>
                <a:gd name="T86" fmla="*/ 175 w 334"/>
                <a:gd name="T87" fmla="*/ 433 h 487"/>
                <a:gd name="T88" fmla="*/ 168 w 334"/>
                <a:gd name="T89" fmla="*/ 424 h 487"/>
                <a:gd name="T90" fmla="*/ 165 w 334"/>
                <a:gd name="T91" fmla="*/ 445 h 487"/>
                <a:gd name="T92" fmla="*/ 157 w 334"/>
                <a:gd name="T93" fmla="*/ 462 h 487"/>
                <a:gd name="T94" fmla="*/ 134 w 334"/>
                <a:gd name="T95" fmla="*/ 476 h 487"/>
                <a:gd name="T96" fmla="*/ 113 w 334"/>
                <a:gd name="T97" fmla="*/ 487 h 487"/>
                <a:gd name="T98" fmla="*/ 102 w 334"/>
                <a:gd name="T99" fmla="*/ 465 h 487"/>
                <a:gd name="T100" fmla="*/ 76 w 334"/>
                <a:gd name="T101" fmla="*/ 451 h 487"/>
                <a:gd name="T102" fmla="*/ 76 w 334"/>
                <a:gd name="T103" fmla="*/ 431 h 487"/>
                <a:gd name="T104" fmla="*/ 70 w 334"/>
                <a:gd name="T105" fmla="*/ 433 h 487"/>
                <a:gd name="T106" fmla="*/ 58 w 334"/>
                <a:gd name="T107" fmla="*/ 418 h 487"/>
                <a:gd name="T108" fmla="*/ 47 w 334"/>
                <a:gd name="T109" fmla="*/ 396 h 487"/>
                <a:gd name="T110" fmla="*/ 28 w 334"/>
                <a:gd name="T111" fmla="*/ 387 h 487"/>
                <a:gd name="T112" fmla="*/ 21 w 334"/>
                <a:gd name="T113" fmla="*/ 399 h 487"/>
                <a:gd name="T114" fmla="*/ 32 w 334"/>
                <a:gd name="T115" fmla="*/ 417 h 487"/>
                <a:gd name="T116" fmla="*/ 18 w 334"/>
                <a:gd name="T117" fmla="*/ 437 h 487"/>
                <a:gd name="T118" fmla="*/ 0 w 334"/>
                <a:gd name="T119" fmla="*/ 424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4" h="487">
                  <a:moveTo>
                    <a:pt x="138" y="2"/>
                  </a:moveTo>
                  <a:lnTo>
                    <a:pt x="139" y="1"/>
                  </a:lnTo>
                  <a:lnTo>
                    <a:pt x="140" y="1"/>
                  </a:lnTo>
                  <a:lnTo>
                    <a:pt x="141" y="1"/>
                  </a:lnTo>
                  <a:lnTo>
                    <a:pt x="145" y="0"/>
                  </a:lnTo>
                  <a:lnTo>
                    <a:pt x="146" y="0"/>
                  </a:lnTo>
                  <a:lnTo>
                    <a:pt x="147" y="0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9" y="1"/>
                  </a:lnTo>
                  <a:lnTo>
                    <a:pt x="150" y="1"/>
                  </a:lnTo>
                  <a:lnTo>
                    <a:pt x="150" y="2"/>
                  </a:lnTo>
                  <a:lnTo>
                    <a:pt x="151" y="4"/>
                  </a:lnTo>
                  <a:lnTo>
                    <a:pt x="152" y="7"/>
                  </a:lnTo>
                  <a:lnTo>
                    <a:pt x="152" y="8"/>
                  </a:lnTo>
                  <a:lnTo>
                    <a:pt x="152" y="8"/>
                  </a:lnTo>
                  <a:lnTo>
                    <a:pt x="152" y="9"/>
                  </a:lnTo>
                  <a:lnTo>
                    <a:pt x="152" y="10"/>
                  </a:lnTo>
                  <a:lnTo>
                    <a:pt x="151" y="18"/>
                  </a:lnTo>
                  <a:lnTo>
                    <a:pt x="151" y="19"/>
                  </a:lnTo>
                  <a:lnTo>
                    <a:pt x="152" y="20"/>
                  </a:lnTo>
                  <a:lnTo>
                    <a:pt x="152" y="22"/>
                  </a:lnTo>
                  <a:lnTo>
                    <a:pt x="152" y="23"/>
                  </a:lnTo>
                  <a:lnTo>
                    <a:pt x="153" y="23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5"/>
                  </a:lnTo>
                  <a:lnTo>
                    <a:pt x="155" y="25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8" y="23"/>
                  </a:lnTo>
                  <a:lnTo>
                    <a:pt x="159" y="22"/>
                  </a:lnTo>
                  <a:lnTo>
                    <a:pt x="159" y="22"/>
                  </a:lnTo>
                  <a:lnTo>
                    <a:pt x="160" y="21"/>
                  </a:lnTo>
                  <a:lnTo>
                    <a:pt x="161" y="21"/>
                  </a:lnTo>
                  <a:lnTo>
                    <a:pt x="161" y="21"/>
                  </a:lnTo>
                  <a:lnTo>
                    <a:pt x="163" y="21"/>
                  </a:lnTo>
                  <a:lnTo>
                    <a:pt x="163" y="20"/>
                  </a:lnTo>
                  <a:lnTo>
                    <a:pt x="164" y="20"/>
                  </a:lnTo>
                  <a:lnTo>
                    <a:pt x="166" y="21"/>
                  </a:lnTo>
                  <a:lnTo>
                    <a:pt x="167" y="21"/>
                  </a:lnTo>
                  <a:lnTo>
                    <a:pt x="168" y="21"/>
                  </a:lnTo>
                  <a:lnTo>
                    <a:pt x="169" y="22"/>
                  </a:lnTo>
                  <a:lnTo>
                    <a:pt x="170" y="22"/>
                  </a:lnTo>
                  <a:lnTo>
                    <a:pt x="171" y="23"/>
                  </a:lnTo>
                  <a:lnTo>
                    <a:pt x="172" y="23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4" y="25"/>
                  </a:lnTo>
                  <a:lnTo>
                    <a:pt x="175" y="26"/>
                  </a:lnTo>
                  <a:lnTo>
                    <a:pt x="175" y="27"/>
                  </a:lnTo>
                  <a:lnTo>
                    <a:pt x="176" y="28"/>
                  </a:lnTo>
                  <a:lnTo>
                    <a:pt x="176" y="28"/>
                  </a:lnTo>
                  <a:lnTo>
                    <a:pt x="177" y="29"/>
                  </a:lnTo>
                  <a:lnTo>
                    <a:pt x="177" y="30"/>
                  </a:lnTo>
                  <a:lnTo>
                    <a:pt x="177" y="31"/>
                  </a:lnTo>
                  <a:lnTo>
                    <a:pt x="177" y="31"/>
                  </a:lnTo>
                  <a:lnTo>
                    <a:pt x="177" y="40"/>
                  </a:lnTo>
                  <a:lnTo>
                    <a:pt x="176" y="43"/>
                  </a:lnTo>
                  <a:lnTo>
                    <a:pt x="176" y="44"/>
                  </a:lnTo>
                  <a:lnTo>
                    <a:pt x="176" y="46"/>
                  </a:lnTo>
                  <a:lnTo>
                    <a:pt x="175" y="47"/>
                  </a:lnTo>
                  <a:lnTo>
                    <a:pt x="175" y="48"/>
                  </a:lnTo>
                  <a:lnTo>
                    <a:pt x="175" y="49"/>
                  </a:lnTo>
                  <a:lnTo>
                    <a:pt x="174" y="50"/>
                  </a:lnTo>
                  <a:lnTo>
                    <a:pt x="174" y="50"/>
                  </a:lnTo>
                  <a:lnTo>
                    <a:pt x="173" y="50"/>
                  </a:lnTo>
                  <a:lnTo>
                    <a:pt x="173" y="51"/>
                  </a:lnTo>
                  <a:lnTo>
                    <a:pt x="172" y="51"/>
                  </a:lnTo>
                  <a:lnTo>
                    <a:pt x="171" y="51"/>
                  </a:lnTo>
                  <a:lnTo>
                    <a:pt x="170" y="51"/>
                  </a:lnTo>
                  <a:lnTo>
                    <a:pt x="170" y="51"/>
                  </a:lnTo>
                  <a:lnTo>
                    <a:pt x="168" y="51"/>
                  </a:lnTo>
                  <a:lnTo>
                    <a:pt x="167" y="51"/>
                  </a:lnTo>
                  <a:lnTo>
                    <a:pt x="166" y="50"/>
                  </a:lnTo>
                  <a:lnTo>
                    <a:pt x="164" y="50"/>
                  </a:lnTo>
                  <a:lnTo>
                    <a:pt x="163" y="50"/>
                  </a:lnTo>
                  <a:lnTo>
                    <a:pt x="163" y="50"/>
                  </a:lnTo>
                  <a:lnTo>
                    <a:pt x="162" y="51"/>
                  </a:lnTo>
                  <a:lnTo>
                    <a:pt x="162" y="51"/>
                  </a:lnTo>
                  <a:lnTo>
                    <a:pt x="160" y="52"/>
                  </a:lnTo>
                  <a:lnTo>
                    <a:pt x="159" y="53"/>
                  </a:lnTo>
                  <a:lnTo>
                    <a:pt x="158" y="55"/>
                  </a:lnTo>
                  <a:lnTo>
                    <a:pt x="154" y="59"/>
                  </a:lnTo>
                  <a:lnTo>
                    <a:pt x="153" y="60"/>
                  </a:lnTo>
                  <a:lnTo>
                    <a:pt x="152" y="61"/>
                  </a:lnTo>
                  <a:lnTo>
                    <a:pt x="151" y="61"/>
                  </a:lnTo>
                  <a:lnTo>
                    <a:pt x="150" y="62"/>
                  </a:lnTo>
                  <a:lnTo>
                    <a:pt x="149" y="62"/>
                  </a:lnTo>
                  <a:lnTo>
                    <a:pt x="147" y="63"/>
                  </a:lnTo>
                  <a:lnTo>
                    <a:pt x="146" y="64"/>
                  </a:lnTo>
                  <a:lnTo>
                    <a:pt x="145" y="64"/>
                  </a:lnTo>
                  <a:lnTo>
                    <a:pt x="144" y="65"/>
                  </a:lnTo>
                  <a:lnTo>
                    <a:pt x="143" y="66"/>
                  </a:lnTo>
                  <a:lnTo>
                    <a:pt x="142" y="66"/>
                  </a:lnTo>
                  <a:lnTo>
                    <a:pt x="140" y="69"/>
                  </a:lnTo>
                  <a:lnTo>
                    <a:pt x="139" y="69"/>
                  </a:lnTo>
                  <a:lnTo>
                    <a:pt x="138" y="70"/>
                  </a:lnTo>
                  <a:lnTo>
                    <a:pt x="136" y="72"/>
                  </a:lnTo>
                  <a:lnTo>
                    <a:pt x="135" y="72"/>
                  </a:lnTo>
                  <a:lnTo>
                    <a:pt x="134" y="74"/>
                  </a:lnTo>
                  <a:lnTo>
                    <a:pt x="132" y="76"/>
                  </a:lnTo>
                  <a:lnTo>
                    <a:pt x="127" y="82"/>
                  </a:lnTo>
                  <a:lnTo>
                    <a:pt x="125" y="84"/>
                  </a:lnTo>
                  <a:lnTo>
                    <a:pt x="125" y="85"/>
                  </a:lnTo>
                  <a:lnTo>
                    <a:pt x="124" y="86"/>
                  </a:lnTo>
                  <a:lnTo>
                    <a:pt x="124" y="87"/>
                  </a:lnTo>
                  <a:lnTo>
                    <a:pt x="124" y="88"/>
                  </a:lnTo>
                  <a:lnTo>
                    <a:pt x="124" y="91"/>
                  </a:lnTo>
                  <a:lnTo>
                    <a:pt x="123" y="93"/>
                  </a:lnTo>
                  <a:lnTo>
                    <a:pt x="123" y="94"/>
                  </a:lnTo>
                  <a:lnTo>
                    <a:pt x="123" y="95"/>
                  </a:lnTo>
                  <a:lnTo>
                    <a:pt x="123" y="96"/>
                  </a:lnTo>
                  <a:lnTo>
                    <a:pt x="122" y="97"/>
                  </a:lnTo>
                  <a:lnTo>
                    <a:pt x="121" y="101"/>
                  </a:lnTo>
                  <a:lnTo>
                    <a:pt x="120" y="102"/>
                  </a:lnTo>
                  <a:lnTo>
                    <a:pt x="120" y="103"/>
                  </a:lnTo>
                  <a:lnTo>
                    <a:pt x="119" y="104"/>
                  </a:lnTo>
                  <a:lnTo>
                    <a:pt x="119" y="106"/>
                  </a:lnTo>
                  <a:lnTo>
                    <a:pt x="119" y="107"/>
                  </a:lnTo>
                  <a:lnTo>
                    <a:pt x="120" y="112"/>
                  </a:lnTo>
                  <a:lnTo>
                    <a:pt x="120" y="116"/>
                  </a:lnTo>
                  <a:lnTo>
                    <a:pt x="120" y="118"/>
                  </a:lnTo>
                  <a:lnTo>
                    <a:pt x="120" y="120"/>
                  </a:lnTo>
                  <a:lnTo>
                    <a:pt x="120" y="121"/>
                  </a:lnTo>
                  <a:lnTo>
                    <a:pt x="119" y="122"/>
                  </a:lnTo>
                  <a:lnTo>
                    <a:pt x="119" y="124"/>
                  </a:lnTo>
                  <a:lnTo>
                    <a:pt x="119" y="125"/>
                  </a:lnTo>
                  <a:lnTo>
                    <a:pt x="118" y="126"/>
                  </a:lnTo>
                  <a:lnTo>
                    <a:pt x="118" y="127"/>
                  </a:lnTo>
                  <a:lnTo>
                    <a:pt x="117" y="128"/>
                  </a:lnTo>
                  <a:lnTo>
                    <a:pt x="116" y="130"/>
                  </a:lnTo>
                  <a:lnTo>
                    <a:pt x="115" y="130"/>
                  </a:lnTo>
                  <a:lnTo>
                    <a:pt x="110" y="137"/>
                  </a:lnTo>
                  <a:lnTo>
                    <a:pt x="109" y="138"/>
                  </a:lnTo>
                  <a:lnTo>
                    <a:pt x="108" y="140"/>
                  </a:lnTo>
                  <a:lnTo>
                    <a:pt x="107" y="141"/>
                  </a:lnTo>
                  <a:lnTo>
                    <a:pt x="106" y="143"/>
                  </a:lnTo>
                  <a:lnTo>
                    <a:pt x="105" y="145"/>
                  </a:lnTo>
                  <a:lnTo>
                    <a:pt x="104" y="146"/>
                  </a:lnTo>
                  <a:lnTo>
                    <a:pt x="104" y="147"/>
                  </a:lnTo>
                  <a:lnTo>
                    <a:pt x="104" y="148"/>
                  </a:lnTo>
                  <a:lnTo>
                    <a:pt x="104" y="149"/>
                  </a:lnTo>
                  <a:lnTo>
                    <a:pt x="103" y="150"/>
                  </a:lnTo>
                  <a:lnTo>
                    <a:pt x="103" y="154"/>
                  </a:lnTo>
                  <a:lnTo>
                    <a:pt x="102" y="158"/>
                  </a:lnTo>
                  <a:lnTo>
                    <a:pt x="102" y="158"/>
                  </a:lnTo>
                  <a:lnTo>
                    <a:pt x="102" y="159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5" y="164"/>
                  </a:lnTo>
                  <a:lnTo>
                    <a:pt x="109" y="168"/>
                  </a:lnTo>
                  <a:lnTo>
                    <a:pt x="110" y="169"/>
                  </a:lnTo>
                  <a:lnTo>
                    <a:pt x="110" y="170"/>
                  </a:lnTo>
                  <a:lnTo>
                    <a:pt x="111" y="170"/>
                  </a:lnTo>
                  <a:lnTo>
                    <a:pt x="111" y="171"/>
                  </a:lnTo>
                  <a:lnTo>
                    <a:pt x="111" y="172"/>
                  </a:lnTo>
                  <a:lnTo>
                    <a:pt x="112" y="172"/>
                  </a:lnTo>
                  <a:lnTo>
                    <a:pt x="112" y="173"/>
                  </a:lnTo>
                  <a:lnTo>
                    <a:pt x="112" y="174"/>
                  </a:lnTo>
                  <a:lnTo>
                    <a:pt x="112" y="174"/>
                  </a:lnTo>
                  <a:lnTo>
                    <a:pt x="112" y="175"/>
                  </a:lnTo>
                  <a:lnTo>
                    <a:pt x="112" y="176"/>
                  </a:lnTo>
                  <a:lnTo>
                    <a:pt x="112" y="177"/>
                  </a:lnTo>
                  <a:lnTo>
                    <a:pt x="111" y="178"/>
                  </a:lnTo>
                  <a:lnTo>
                    <a:pt x="110" y="179"/>
                  </a:lnTo>
                  <a:lnTo>
                    <a:pt x="110" y="180"/>
                  </a:lnTo>
                  <a:lnTo>
                    <a:pt x="109" y="181"/>
                  </a:lnTo>
                  <a:lnTo>
                    <a:pt x="107" y="184"/>
                  </a:lnTo>
                  <a:lnTo>
                    <a:pt x="106" y="186"/>
                  </a:lnTo>
                  <a:lnTo>
                    <a:pt x="105" y="188"/>
                  </a:lnTo>
                  <a:lnTo>
                    <a:pt x="104" y="188"/>
                  </a:lnTo>
                  <a:lnTo>
                    <a:pt x="104" y="189"/>
                  </a:lnTo>
                  <a:lnTo>
                    <a:pt x="104" y="189"/>
                  </a:lnTo>
                  <a:lnTo>
                    <a:pt x="104" y="190"/>
                  </a:lnTo>
                  <a:lnTo>
                    <a:pt x="104" y="191"/>
                  </a:lnTo>
                  <a:lnTo>
                    <a:pt x="104" y="193"/>
                  </a:lnTo>
                  <a:lnTo>
                    <a:pt x="104" y="194"/>
                  </a:lnTo>
                  <a:lnTo>
                    <a:pt x="104" y="195"/>
                  </a:lnTo>
                  <a:lnTo>
                    <a:pt x="103" y="196"/>
                  </a:lnTo>
                  <a:lnTo>
                    <a:pt x="103" y="197"/>
                  </a:lnTo>
                  <a:lnTo>
                    <a:pt x="102" y="199"/>
                  </a:lnTo>
                  <a:lnTo>
                    <a:pt x="101" y="202"/>
                  </a:lnTo>
                  <a:lnTo>
                    <a:pt x="100" y="203"/>
                  </a:lnTo>
                  <a:lnTo>
                    <a:pt x="100" y="204"/>
                  </a:lnTo>
                  <a:lnTo>
                    <a:pt x="100" y="205"/>
                  </a:lnTo>
                  <a:lnTo>
                    <a:pt x="100" y="206"/>
                  </a:lnTo>
                  <a:lnTo>
                    <a:pt x="100" y="207"/>
                  </a:lnTo>
                  <a:lnTo>
                    <a:pt x="100" y="207"/>
                  </a:lnTo>
                  <a:lnTo>
                    <a:pt x="100" y="208"/>
                  </a:lnTo>
                  <a:lnTo>
                    <a:pt x="100" y="208"/>
                  </a:lnTo>
                  <a:lnTo>
                    <a:pt x="100" y="209"/>
                  </a:lnTo>
                  <a:lnTo>
                    <a:pt x="101" y="211"/>
                  </a:lnTo>
                  <a:lnTo>
                    <a:pt x="102" y="212"/>
                  </a:lnTo>
                  <a:lnTo>
                    <a:pt x="103" y="213"/>
                  </a:lnTo>
                  <a:lnTo>
                    <a:pt x="103" y="213"/>
                  </a:lnTo>
                  <a:lnTo>
                    <a:pt x="105" y="215"/>
                  </a:lnTo>
                  <a:lnTo>
                    <a:pt x="106" y="218"/>
                  </a:lnTo>
                  <a:lnTo>
                    <a:pt x="107" y="218"/>
                  </a:lnTo>
                  <a:lnTo>
                    <a:pt x="108" y="219"/>
                  </a:lnTo>
                  <a:lnTo>
                    <a:pt x="109" y="220"/>
                  </a:lnTo>
                  <a:lnTo>
                    <a:pt x="109" y="220"/>
                  </a:lnTo>
                  <a:lnTo>
                    <a:pt x="110" y="220"/>
                  </a:lnTo>
                  <a:lnTo>
                    <a:pt x="110" y="221"/>
                  </a:lnTo>
                  <a:lnTo>
                    <a:pt x="111" y="221"/>
                  </a:lnTo>
                  <a:lnTo>
                    <a:pt x="112" y="221"/>
                  </a:lnTo>
                  <a:lnTo>
                    <a:pt x="113" y="220"/>
                  </a:lnTo>
                  <a:lnTo>
                    <a:pt x="115" y="220"/>
                  </a:lnTo>
                  <a:lnTo>
                    <a:pt x="116" y="220"/>
                  </a:lnTo>
                  <a:lnTo>
                    <a:pt x="117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20" y="219"/>
                  </a:lnTo>
                  <a:lnTo>
                    <a:pt x="120" y="220"/>
                  </a:lnTo>
                  <a:lnTo>
                    <a:pt x="120" y="220"/>
                  </a:lnTo>
                  <a:lnTo>
                    <a:pt x="120" y="221"/>
                  </a:lnTo>
                  <a:lnTo>
                    <a:pt x="120" y="222"/>
                  </a:lnTo>
                  <a:lnTo>
                    <a:pt x="120" y="224"/>
                  </a:lnTo>
                  <a:lnTo>
                    <a:pt x="119" y="227"/>
                  </a:lnTo>
                  <a:lnTo>
                    <a:pt x="119" y="228"/>
                  </a:lnTo>
                  <a:lnTo>
                    <a:pt x="119" y="229"/>
                  </a:lnTo>
                  <a:lnTo>
                    <a:pt x="119" y="230"/>
                  </a:lnTo>
                  <a:lnTo>
                    <a:pt x="120" y="231"/>
                  </a:lnTo>
                  <a:lnTo>
                    <a:pt x="120" y="231"/>
                  </a:lnTo>
                  <a:lnTo>
                    <a:pt x="120" y="232"/>
                  </a:lnTo>
                  <a:lnTo>
                    <a:pt x="120" y="232"/>
                  </a:lnTo>
                  <a:lnTo>
                    <a:pt x="121" y="232"/>
                  </a:lnTo>
                  <a:lnTo>
                    <a:pt x="121" y="233"/>
                  </a:lnTo>
                  <a:lnTo>
                    <a:pt x="122" y="233"/>
                  </a:lnTo>
                  <a:lnTo>
                    <a:pt x="122" y="233"/>
                  </a:lnTo>
                  <a:lnTo>
                    <a:pt x="123" y="233"/>
                  </a:lnTo>
                  <a:lnTo>
                    <a:pt x="127" y="233"/>
                  </a:lnTo>
                  <a:lnTo>
                    <a:pt x="130" y="233"/>
                  </a:lnTo>
                  <a:lnTo>
                    <a:pt x="131" y="233"/>
                  </a:lnTo>
                  <a:lnTo>
                    <a:pt x="132" y="232"/>
                  </a:lnTo>
                  <a:lnTo>
                    <a:pt x="132" y="232"/>
                  </a:lnTo>
                  <a:lnTo>
                    <a:pt x="133" y="232"/>
                  </a:lnTo>
                  <a:lnTo>
                    <a:pt x="133" y="231"/>
                  </a:lnTo>
                  <a:lnTo>
                    <a:pt x="134" y="230"/>
                  </a:lnTo>
                  <a:lnTo>
                    <a:pt x="135" y="229"/>
                  </a:lnTo>
                  <a:lnTo>
                    <a:pt x="136" y="228"/>
                  </a:lnTo>
                  <a:lnTo>
                    <a:pt x="137" y="227"/>
                  </a:lnTo>
                  <a:lnTo>
                    <a:pt x="138" y="226"/>
                  </a:lnTo>
                  <a:lnTo>
                    <a:pt x="141" y="224"/>
                  </a:lnTo>
                  <a:lnTo>
                    <a:pt x="144" y="221"/>
                  </a:lnTo>
                  <a:lnTo>
                    <a:pt x="145" y="220"/>
                  </a:lnTo>
                  <a:lnTo>
                    <a:pt x="147" y="219"/>
                  </a:lnTo>
                  <a:lnTo>
                    <a:pt x="148" y="218"/>
                  </a:lnTo>
                  <a:lnTo>
                    <a:pt x="149" y="218"/>
                  </a:lnTo>
                  <a:lnTo>
                    <a:pt x="150" y="218"/>
                  </a:lnTo>
                  <a:lnTo>
                    <a:pt x="151" y="217"/>
                  </a:lnTo>
                  <a:lnTo>
                    <a:pt x="153" y="216"/>
                  </a:lnTo>
                  <a:lnTo>
                    <a:pt x="154" y="216"/>
                  </a:lnTo>
                  <a:lnTo>
                    <a:pt x="154" y="216"/>
                  </a:lnTo>
                  <a:lnTo>
                    <a:pt x="156" y="215"/>
                  </a:lnTo>
                  <a:lnTo>
                    <a:pt x="158" y="215"/>
                  </a:lnTo>
                  <a:lnTo>
                    <a:pt x="159" y="215"/>
                  </a:lnTo>
                  <a:lnTo>
                    <a:pt x="160" y="215"/>
                  </a:lnTo>
                  <a:lnTo>
                    <a:pt x="161" y="215"/>
                  </a:lnTo>
                  <a:lnTo>
                    <a:pt x="161" y="215"/>
                  </a:lnTo>
                  <a:lnTo>
                    <a:pt x="162" y="216"/>
                  </a:lnTo>
                  <a:lnTo>
                    <a:pt x="163" y="216"/>
                  </a:lnTo>
                  <a:lnTo>
                    <a:pt x="163" y="217"/>
                  </a:lnTo>
                  <a:lnTo>
                    <a:pt x="164" y="217"/>
                  </a:lnTo>
                  <a:lnTo>
                    <a:pt x="165" y="218"/>
                  </a:lnTo>
                  <a:lnTo>
                    <a:pt x="165" y="218"/>
                  </a:lnTo>
                  <a:lnTo>
                    <a:pt x="166" y="219"/>
                  </a:lnTo>
                  <a:lnTo>
                    <a:pt x="166" y="220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2"/>
                  </a:lnTo>
                  <a:lnTo>
                    <a:pt x="166" y="224"/>
                  </a:lnTo>
                  <a:lnTo>
                    <a:pt x="165" y="226"/>
                  </a:lnTo>
                  <a:lnTo>
                    <a:pt x="164" y="230"/>
                  </a:lnTo>
                  <a:lnTo>
                    <a:pt x="164" y="233"/>
                  </a:lnTo>
                  <a:lnTo>
                    <a:pt x="164" y="233"/>
                  </a:lnTo>
                  <a:lnTo>
                    <a:pt x="164" y="234"/>
                  </a:lnTo>
                  <a:lnTo>
                    <a:pt x="164" y="235"/>
                  </a:lnTo>
                  <a:lnTo>
                    <a:pt x="164" y="236"/>
                  </a:lnTo>
                  <a:lnTo>
                    <a:pt x="165" y="237"/>
                  </a:lnTo>
                  <a:lnTo>
                    <a:pt x="165" y="239"/>
                  </a:lnTo>
                  <a:lnTo>
                    <a:pt x="166" y="240"/>
                  </a:lnTo>
                  <a:lnTo>
                    <a:pt x="167" y="241"/>
                  </a:lnTo>
                  <a:lnTo>
                    <a:pt x="168" y="242"/>
                  </a:lnTo>
                  <a:lnTo>
                    <a:pt x="168" y="242"/>
                  </a:lnTo>
                  <a:lnTo>
                    <a:pt x="169" y="242"/>
                  </a:lnTo>
                  <a:lnTo>
                    <a:pt x="169" y="242"/>
                  </a:lnTo>
                  <a:lnTo>
                    <a:pt x="170" y="242"/>
                  </a:lnTo>
                  <a:lnTo>
                    <a:pt x="170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72" y="241"/>
                  </a:lnTo>
                  <a:lnTo>
                    <a:pt x="173" y="239"/>
                  </a:lnTo>
                  <a:lnTo>
                    <a:pt x="174" y="238"/>
                  </a:lnTo>
                  <a:lnTo>
                    <a:pt x="174" y="238"/>
                  </a:lnTo>
                  <a:lnTo>
                    <a:pt x="176" y="236"/>
                  </a:lnTo>
                  <a:lnTo>
                    <a:pt x="177" y="235"/>
                  </a:lnTo>
                  <a:lnTo>
                    <a:pt x="177" y="234"/>
                  </a:lnTo>
                  <a:lnTo>
                    <a:pt x="177" y="234"/>
                  </a:lnTo>
                  <a:lnTo>
                    <a:pt x="178" y="233"/>
                  </a:lnTo>
                  <a:lnTo>
                    <a:pt x="178" y="232"/>
                  </a:lnTo>
                  <a:lnTo>
                    <a:pt x="179" y="231"/>
                  </a:lnTo>
                  <a:lnTo>
                    <a:pt x="179" y="231"/>
                  </a:lnTo>
                  <a:lnTo>
                    <a:pt x="180" y="230"/>
                  </a:lnTo>
                  <a:lnTo>
                    <a:pt x="180" y="230"/>
                  </a:lnTo>
                  <a:lnTo>
                    <a:pt x="182" y="229"/>
                  </a:lnTo>
                  <a:lnTo>
                    <a:pt x="182" y="229"/>
                  </a:lnTo>
                  <a:lnTo>
                    <a:pt x="183" y="228"/>
                  </a:lnTo>
                  <a:lnTo>
                    <a:pt x="184" y="228"/>
                  </a:lnTo>
                  <a:lnTo>
                    <a:pt x="184" y="228"/>
                  </a:lnTo>
                  <a:lnTo>
                    <a:pt x="184" y="228"/>
                  </a:lnTo>
                  <a:lnTo>
                    <a:pt x="185" y="228"/>
                  </a:lnTo>
                  <a:lnTo>
                    <a:pt x="185" y="228"/>
                  </a:lnTo>
                  <a:lnTo>
                    <a:pt x="186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8" y="228"/>
                  </a:lnTo>
                  <a:lnTo>
                    <a:pt x="189" y="228"/>
                  </a:lnTo>
                  <a:lnTo>
                    <a:pt x="189" y="227"/>
                  </a:lnTo>
                  <a:lnTo>
                    <a:pt x="190" y="226"/>
                  </a:lnTo>
                  <a:lnTo>
                    <a:pt x="191" y="225"/>
                  </a:lnTo>
                  <a:lnTo>
                    <a:pt x="191" y="225"/>
                  </a:lnTo>
                  <a:lnTo>
                    <a:pt x="191" y="224"/>
                  </a:lnTo>
                  <a:lnTo>
                    <a:pt x="192" y="224"/>
                  </a:lnTo>
                  <a:lnTo>
                    <a:pt x="192" y="223"/>
                  </a:lnTo>
                  <a:lnTo>
                    <a:pt x="192" y="222"/>
                  </a:lnTo>
                  <a:lnTo>
                    <a:pt x="192" y="221"/>
                  </a:lnTo>
                  <a:lnTo>
                    <a:pt x="191" y="220"/>
                  </a:lnTo>
                  <a:lnTo>
                    <a:pt x="190" y="213"/>
                  </a:lnTo>
                  <a:lnTo>
                    <a:pt x="189" y="212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90" y="210"/>
                  </a:lnTo>
                  <a:lnTo>
                    <a:pt x="190" y="209"/>
                  </a:lnTo>
                  <a:lnTo>
                    <a:pt x="191" y="209"/>
                  </a:lnTo>
                  <a:lnTo>
                    <a:pt x="191" y="209"/>
                  </a:lnTo>
                  <a:lnTo>
                    <a:pt x="192" y="209"/>
                  </a:lnTo>
                  <a:lnTo>
                    <a:pt x="193" y="209"/>
                  </a:lnTo>
                  <a:lnTo>
                    <a:pt x="194" y="209"/>
                  </a:lnTo>
                  <a:lnTo>
                    <a:pt x="194" y="209"/>
                  </a:lnTo>
                  <a:lnTo>
                    <a:pt x="195" y="210"/>
                  </a:lnTo>
                  <a:lnTo>
                    <a:pt x="195" y="210"/>
                  </a:lnTo>
                  <a:lnTo>
                    <a:pt x="195" y="210"/>
                  </a:lnTo>
                  <a:lnTo>
                    <a:pt x="196" y="211"/>
                  </a:lnTo>
                  <a:lnTo>
                    <a:pt x="197" y="214"/>
                  </a:lnTo>
                  <a:lnTo>
                    <a:pt x="198" y="216"/>
                  </a:lnTo>
                  <a:lnTo>
                    <a:pt x="199" y="218"/>
                  </a:lnTo>
                  <a:lnTo>
                    <a:pt x="199" y="219"/>
                  </a:lnTo>
                  <a:lnTo>
                    <a:pt x="200" y="220"/>
                  </a:lnTo>
                  <a:lnTo>
                    <a:pt x="200" y="222"/>
                  </a:lnTo>
                  <a:lnTo>
                    <a:pt x="200" y="224"/>
                  </a:lnTo>
                  <a:lnTo>
                    <a:pt x="200" y="224"/>
                  </a:lnTo>
                  <a:lnTo>
                    <a:pt x="200" y="226"/>
                  </a:lnTo>
                  <a:lnTo>
                    <a:pt x="200" y="227"/>
                  </a:lnTo>
                  <a:lnTo>
                    <a:pt x="201" y="229"/>
                  </a:lnTo>
                  <a:lnTo>
                    <a:pt x="201" y="230"/>
                  </a:lnTo>
                  <a:lnTo>
                    <a:pt x="203" y="232"/>
                  </a:lnTo>
                  <a:lnTo>
                    <a:pt x="203" y="233"/>
                  </a:lnTo>
                  <a:lnTo>
                    <a:pt x="204" y="234"/>
                  </a:lnTo>
                  <a:lnTo>
                    <a:pt x="204" y="234"/>
                  </a:lnTo>
                  <a:lnTo>
                    <a:pt x="204" y="235"/>
                  </a:lnTo>
                  <a:lnTo>
                    <a:pt x="205" y="236"/>
                  </a:lnTo>
                  <a:lnTo>
                    <a:pt x="205" y="236"/>
                  </a:lnTo>
                  <a:lnTo>
                    <a:pt x="205" y="238"/>
                  </a:lnTo>
                  <a:lnTo>
                    <a:pt x="205" y="239"/>
                  </a:lnTo>
                  <a:lnTo>
                    <a:pt x="205" y="240"/>
                  </a:lnTo>
                  <a:lnTo>
                    <a:pt x="206" y="241"/>
                  </a:lnTo>
                  <a:lnTo>
                    <a:pt x="206" y="242"/>
                  </a:lnTo>
                  <a:lnTo>
                    <a:pt x="206" y="242"/>
                  </a:lnTo>
                  <a:lnTo>
                    <a:pt x="209" y="245"/>
                  </a:lnTo>
                  <a:lnTo>
                    <a:pt x="210" y="246"/>
                  </a:lnTo>
                  <a:lnTo>
                    <a:pt x="211" y="247"/>
                  </a:lnTo>
                  <a:lnTo>
                    <a:pt x="212" y="249"/>
                  </a:lnTo>
                  <a:lnTo>
                    <a:pt x="212" y="250"/>
                  </a:lnTo>
                  <a:lnTo>
                    <a:pt x="213" y="251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5" y="253"/>
                  </a:lnTo>
                  <a:lnTo>
                    <a:pt x="216" y="253"/>
                  </a:lnTo>
                  <a:lnTo>
                    <a:pt x="218" y="254"/>
                  </a:lnTo>
                  <a:lnTo>
                    <a:pt x="219" y="255"/>
                  </a:lnTo>
                  <a:lnTo>
                    <a:pt x="220" y="255"/>
                  </a:lnTo>
                  <a:lnTo>
                    <a:pt x="221" y="256"/>
                  </a:lnTo>
                  <a:lnTo>
                    <a:pt x="222" y="257"/>
                  </a:lnTo>
                  <a:lnTo>
                    <a:pt x="223" y="258"/>
                  </a:lnTo>
                  <a:lnTo>
                    <a:pt x="224" y="259"/>
                  </a:lnTo>
                  <a:lnTo>
                    <a:pt x="225" y="259"/>
                  </a:lnTo>
                  <a:lnTo>
                    <a:pt x="229" y="261"/>
                  </a:lnTo>
                  <a:lnTo>
                    <a:pt x="231" y="262"/>
                  </a:lnTo>
                  <a:lnTo>
                    <a:pt x="232" y="262"/>
                  </a:lnTo>
                  <a:lnTo>
                    <a:pt x="233" y="262"/>
                  </a:lnTo>
                  <a:lnTo>
                    <a:pt x="236" y="263"/>
                  </a:lnTo>
                  <a:lnTo>
                    <a:pt x="237" y="263"/>
                  </a:lnTo>
                  <a:lnTo>
                    <a:pt x="238" y="263"/>
                  </a:lnTo>
                  <a:lnTo>
                    <a:pt x="238" y="263"/>
                  </a:lnTo>
                  <a:lnTo>
                    <a:pt x="239" y="263"/>
                  </a:lnTo>
                  <a:lnTo>
                    <a:pt x="240" y="263"/>
                  </a:lnTo>
                  <a:lnTo>
                    <a:pt x="242" y="262"/>
                  </a:lnTo>
                  <a:lnTo>
                    <a:pt x="244" y="261"/>
                  </a:lnTo>
                  <a:lnTo>
                    <a:pt x="246" y="260"/>
                  </a:lnTo>
                  <a:lnTo>
                    <a:pt x="247" y="260"/>
                  </a:lnTo>
                  <a:lnTo>
                    <a:pt x="252" y="258"/>
                  </a:lnTo>
                  <a:lnTo>
                    <a:pt x="253" y="258"/>
                  </a:lnTo>
                  <a:lnTo>
                    <a:pt x="256" y="257"/>
                  </a:lnTo>
                  <a:lnTo>
                    <a:pt x="256" y="257"/>
                  </a:lnTo>
                  <a:lnTo>
                    <a:pt x="257" y="257"/>
                  </a:lnTo>
                  <a:lnTo>
                    <a:pt x="258" y="257"/>
                  </a:lnTo>
                  <a:lnTo>
                    <a:pt x="258" y="257"/>
                  </a:lnTo>
                  <a:lnTo>
                    <a:pt x="259" y="257"/>
                  </a:lnTo>
                  <a:lnTo>
                    <a:pt x="259" y="257"/>
                  </a:lnTo>
                  <a:lnTo>
                    <a:pt x="260" y="258"/>
                  </a:lnTo>
                  <a:lnTo>
                    <a:pt x="260" y="258"/>
                  </a:lnTo>
                  <a:lnTo>
                    <a:pt x="261" y="259"/>
                  </a:lnTo>
                  <a:lnTo>
                    <a:pt x="261" y="260"/>
                  </a:lnTo>
                  <a:lnTo>
                    <a:pt x="262" y="261"/>
                  </a:lnTo>
                  <a:lnTo>
                    <a:pt x="262" y="262"/>
                  </a:lnTo>
                  <a:lnTo>
                    <a:pt x="263" y="263"/>
                  </a:lnTo>
                  <a:lnTo>
                    <a:pt x="263" y="264"/>
                  </a:lnTo>
                  <a:lnTo>
                    <a:pt x="264" y="266"/>
                  </a:lnTo>
                  <a:lnTo>
                    <a:pt x="264" y="267"/>
                  </a:lnTo>
                  <a:lnTo>
                    <a:pt x="264" y="269"/>
                  </a:lnTo>
                  <a:lnTo>
                    <a:pt x="264" y="270"/>
                  </a:lnTo>
                  <a:lnTo>
                    <a:pt x="264" y="271"/>
                  </a:lnTo>
                  <a:lnTo>
                    <a:pt x="264" y="272"/>
                  </a:lnTo>
                  <a:lnTo>
                    <a:pt x="264" y="273"/>
                  </a:lnTo>
                  <a:lnTo>
                    <a:pt x="264" y="274"/>
                  </a:lnTo>
                  <a:lnTo>
                    <a:pt x="263" y="278"/>
                  </a:lnTo>
                  <a:lnTo>
                    <a:pt x="262" y="280"/>
                  </a:lnTo>
                  <a:lnTo>
                    <a:pt x="262" y="281"/>
                  </a:lnTo>
                  <a:lnTo>
                    <a:pt x="262" y="282"/>
                  </a:lnTo>
                  <a:lnTo>
                    <a:pt x="262" y="283"/>
                  </a:lnTo>
                  <a:lnTo>
                    <a:pt x="262" y="284"/>
                  </a:lnTo>
                  <a:lnTo>
                    <a:pt x="262" y="286"/>
                  </a:lnTo>
                  <a:lnTo>
                    <a:pt x="262" y="287"/>
                  </a:lnTo>
                  <a:lnTo>
                    <a:pt x="263" y="289"/>
                  </a:lnTo>
                  <a:lnTo>
                    <a:pt x="263" y="291"/>
                  </a:lnTo>
                  <a:lnTo>
                    <a:pt x="263" y="292"/>
                  </a:lnTo>
                  <a:lnTo>
                    <a:pt x="264" y="293"/>
                  </a:lnTo>
                  <a:lnTo>
                    <a:pt x="264" y="294"/>
                  </a:lnTo>
                  <a:lnTo>
                    <a:pt x="265" y="295"/>
                  </a:lnTo>
                  <a:lnTo>
                    <a:pt x="265" y="295"/>
                  </a:lnTo>
                  <a:lnTo>
                    <a:pt x="266" y="296"/>
                  </a:lnTo>
                  <a:lnTo>
                    <a:pt x="267" y="297"/>
                  </a:lnTo>
                  <a:lnTo>
                    <a:pt x="268" y="297"/>
                  </a:lnTo>
                  <a:lnTo>
                    <a:pt x="269" y="298"/>
                  </a:lnTo>
                  <a:lnTo>
                    <a:pt x="270" y="299"/>
                  </a:lnTo>
                  <a:lnTo>
                    <a:pt x="271" y="299"/>
                  </a:lnTo>
                  <a:lnTo>
                    <a:pt x="272" y="300"/>
                  </a:lnTo>
                  <a:lnTo>
                    <a:pt x="273" y="300"/>
                  </a:lnTo>
                  <a:lnTo>
                    <a:pt x="273" y="300"/>
                  </a:lnTo>
                  <a:lnTo>
                    <a:pt x="274" y="300"/>
                  </a:lnTo>
                  <a:lnTo>
                    <a:pt x="275" y="299"/>
                  </a:lnTo>
                  <a:lnTo>
                    <a:pt x="275" y="299"/>
                  </a:lnTo>
                  <a:lnTo>
                    <a:pt x="276" y="299"/>
                  </a:lnTo>
                  <a:lnTo>
                    <a:pt x="277" y="298"/>
                  </a:lnTo>
                  <a:lnTo>
                    <a:pt x="278" y="298"/>
                  </a:lnTo>
                  <a:lnTo>
                    <a:pt x="278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80" y="297"/>
                  </a:lnTo>
                  <a:lnTo>
                    <a:pt x="280" y="298"/>
                  </a:lnTo>
                  <a:lnTo>
                    <a:pt x="281" y="298"/>
                  </a:lnTo>
                  <a:lnTo>
                    <a:pt x="282" y="299"/>
                  </a:lnTo>
                  <a:lnTo>
                    <a:pt x="282" y="300"/>
                  </a:lnTo>
                  <a:lnTo>
                    <a:pt x="283" y="301"/>
                  </a:lnTo>
                  <a:lnTo>
                    <a:pt x="285" y="302"/>
                  </a:lnTo>
                  <a:lnTo>
                    <a:pt x="286" y="304"/>
                  </a:lnTo>
                  <a:lnTo>
                    <a:pt x="286" y="305"/>
                  </a:lnTo>
                  <a:lnTo>
                    <a:pt x="287" y="306"/>
                  </a:lnTo>
                  <a:lnTo>
                    <a:pt x="288" y="308"/>
                  </a:lnTo>
                  <a:lnTo>
                    <a:pt x="289" y="309"/>
                  </a:lnTo>
                  <a:lnTo>
                    <a:pt x="290" y="311"/>
                  </a:lnTo>
                  <a:lnTo>
                    <a:pt x="291" y="312"/>
                  </a:lnTo>
                  <a:lnTo>
                    <a:pt x="291" y="313"/>
                  </a:lnTo>
                  <a:lnTo>
                    <a:pt x="292" y="313"/>
                  </a:lnTo>
                  <a:lnTo>
                    <a:pt x="293" y="314"/>
                  </a:lnTo>
                  <a:lnTo>
                    <a:pt x="300" y="320"/>
                  </a:lnTo>
                  <a:lnTo>
                    <a:pt x="302" y="320"/>
                  </a:lnTo>
                  <a:lnTo>
                    <a:pt x="303" y="322"/>
                  </a:lnTo>
                  <a:lnTo>
                    <a:pt x="306" y="325"/>
                  </a:lnTo>
                  <a:lnTo>
                    <a:pt x="308" y="327"/>
                  </a:lnTo>
                  <a:lnTo>
                    <a:pt x="309" y="328"/>
                  </a:lnTo>
                  <a:lnTo>
                    <a:pt x="311" y="330"/>
                  </a:lnTo>
                  <a:lnTo>
                    <a:pt x="312" y="332"/>
                  </a:lnTo>
                  <a:lnTo>
                    <a:pt x="314" y="335"/>
                  </a:lnTo>
                  <a:lnTo>
                    <a:pt x="315" y="338"/>
                  </a:lnTo>
                  <a:lnTo>
                    <a:pt x="316" y="339"/>
                  </a:lnTo>
                  <a:lnTo>
                    <a:pt x="316" y="339"/>
                  </a:lnTo>
                  <a:lnTo>
                    <a:pt x="316" y="340"/>
                  </a:lnTo>
                  <a:lnTo>
                    <a:pt x="316" y="341"/>
                  </a:lnTo>
                  <a:lnTo>
                    <a:pt x="316" y="341"/>
                  </a:lnTo>
                  <a:lnTo>
                    <a:pt x="316" y="342"/>
                  </a:lnTo>
                  <a:lnTo>
                    <a:pt x="316" y="343"/>
                  </a:lnTo>
                  <a:lnTo>
                    <a:pt x="315" y="344"/>
                  </a:lnTo>
                  <a:lnTo>
                    <a:pt x="315" y="345"/>
                  </a:lnTo>
                  <a:lnTo>
                    <a:pt x="314" y="346"/>
                  </a:lnTo>
                  <a:lnTo>
                    <a:pt x="314" y="347"/>
                  </a:lnTo>
                  <a:lnTo>
                    <a:pt x="314" y="347"/>
                  </a:lnTo>
                  <a:lnTo>
                    <a:pt x="314" y="348"/>
                  </a:lnTo>
                  <a:lnTo>
                    <a:pt x="315" y="349"/>
                  </a:lnTo>
                  <a:lnTo>
                    <a:pt x="315" y="350"/>
                  </a:lnTo>
                  <a:lnTo>
                    <a:pt x="316" y="350"/>
                  </a:lnTo>
                  <a:lnTo>
                    <a:pt x="316" y="351"/>
                  </a:lnTo>
                  <a:lnTo>
                    <a:pt x="316" y="351"/>
                  </a:lnTo>
                  <a:lnTo>
                    <a:pt x="317" y="351"/>
                  </a:lnTo>
                  <a:lnTo>
                    <a:pt x="318" y="351"/>
                  </a:lnTo>
                  <a:lnTo>
                    <a:pt x="318" y="351"/>
                  </a:lnTo>
                  <a:lnTo>
                    <a:pt x="318" y="351"/>
                  </a:lnTo>
                  <a:lnTo>
                    <a:pt x="319" y="351"/>
                  </a:lnTo>
                  <a:lnTo>
                    <a:pt x="321" y="349"/>
                  </a:lnTo>
                  <a:lnTo>
                    <a:pt x="322" y="348"/>
                  </a:lnTo>
                  <a:lnTo>
                    <a:pt x="323" y="347"/>
                  </a:lnTo>
                  <a:lnTo>
                    <a:pt x="324" y="347"/>
                  </a:lnTo>
                  <a:lnTo>
                    <a:pt x="325" y="347"/>
                  </a:lnTo>
                  <a:lnTo>
                    <a:pt x="326" y="346"/>
                  </a:lnTo>
                  <a:lnTo>
                    <a:pt x="326" y="346"/>
                  </a:lnTo>
                  <a:lnTo>
                    <a:pt x="327" y="346"/>
                  </a:lnTo>
                  <a:lnTo>
                    <a:pt x="327" y="347"/>
                  </a:lnTo>
                  <a:lnTo>
                    <a:pt x="328" y="347"/>
                  </a:lnTo>
                  <a:lnTo>
                    <a:pt x="328" y="347"/>
                  </a:lnTo>
                  <a:lnTo>
                    <a:pt x="328" y="347"/>
                  </a:lnTo>
                  <a:lnTo>
                    <a:pt x="329" y="348"/>
                  </a:lnTo>
                  <a:lnTo>
                    <a:pt x="330" y="349"/>
                  </a:lnTo>
                  <a:lnTo>
                    <a:pt x="331" y="350"/>
                  </a:lnTo>
                  <a:lnTo>
                    <a:pt x="331" y="351"/>
                  </a:lnTo>
                  <a:lnTo>
                    <a:pt x="333" y="354"/>
                  </a:lnTo>
                  <a:lnTo>
                    <a:pt x="334" y="357"/>
                  </a:lnTo>
                  <a:lnTo>
                    <a:pt x="334" y="357"/>
                  </a:lnTo>
                  <a:lnTo>
                    <a:pt x="334" y="358"/>
                  </a:lnTo>
                  <a:lnTo>
                    <a:pt x="334" y="358"/>
                  </a:lnTo>
                  <a:lnTo>
                    <a:pt x="334" y="359"/>
                  </a:lnTo>
                  <a:lnTo>
                    <a:pt x="334" y="359"/>
                  </a:lnTo>
                  <a:lnTo>
                    <a:pt x="333" y="360"/>
                  </a:lnTo>
                  <a:lnTo>
                    <a:pt x="333" y="361"/>
                  </a:lnTo>
                  <a:lnTo>
                    <a:pt x="332" y="362"/>
                  </a:lnTo>
                  <a:lnTo>
                    <a:pt x="331" y="364"/>
                  </a:lnTo>
                  <a:lnTo>
                    <a:pt x="330" y="365"/>
                  </a:lnTo>
                  <a:lnTo>
                    <a:pt x="330" y="366"/>
                  </a:lnTo>
                  <a:lnTo>
                    <a:pt x="329" y="367"/>
                  </a:lnTo>
                  <a:lnTo>
                    <a:pt x="329" y="367"/>
                  </a:lnTo>
                  <a:lnTo>
                    <a:pt x="328" y="368"/>
                  </a:lnTo>
                  <a:lnTo>
                    <a:pt x="327" y="368"/>
                  </a:lnTo>
                  <a:lnTo>
                    <a:pt x="327" y="368"/>
                  </a:lnTo>
                  <a:lnTo>
                    <a:pt x="326" y="369"/>
                  </a:lnTo>
                  <a:lnTo>
                    <a:pt x="326" y="369"/>
                  </a:lnTo>
                  <a:lnTo>
                    <a:pt x="325" y="369"/>
                  </a:lnTo>
                  <a:lnTo>
                    <a:pt x="324" y="369"/>
                  </a:lnTo>
                  <a:lnTo>
                    <a:pt x="324" y="369"/>
                  </a:lnTo>
                  <a:lnTo>
                    <a:pt x="323" y="369"/>
                  </a:lnTo>
                  <a:lnTo>
                    <a:pt x="322" y="369"/>
                  </a:lnTo>
                  <a:lnTo>
                    <a:pt x="320" y="368"/>
                  </a:lnTo>
                  <a:lnTo>
                    <a:pt x="317" y="368"/>
                  </a:lnTo>
                  <a:lnTo>
                    <a:pt x="316" y="367"/>
                  </a:lnTo>
                  <a:lnTo>
                    <a:pt x="315" y="367"/>
                  </a:lnTo>
                  <a:lnTo>
                    <a:pt x="314" y="367"/>
                  </a:lnTo>
                  <a:lnTo>
                    <a:pt x="313" y="367"/>
                  </a:lnTo>
                  <a:lnTo>
                    <a:pt x="313" y="367"/>
                  </a:lnTo>
                  <a:lnTo>
                    <a:pt x="313" y="368"/>
                  </a:lnTo>
                  <a:lnTo>
                    <a:pt x="312" y="369"/>
                  </a:lnTo>
                  <a:lnTo>
                    <a:pt x="311" y="370"/>
                  </a:lnTo>
                  <a:lnTo>
                    <a:pt x="310" y="372"/>
                  </a:lnTo>
                  <a:lnTo>
                    <a:pt x="310" y="372"/>
                  </a:lnTo>
                  <a:lnTo>
                    <a:pt x="309" y="373"/>
                  </a:lnTo>
                  <a:lnTo>
                    <a:pt x="309" y="374"/>
                  </a:lnTo>
                  <a:lnTo>
                    <a:pt x="308" y="374"/>
                  </a:lnTo>
                  <a:lnTo>
                    <a:pt x="307" y="375"/>
                  </a:lnTo>
                  <a:lnTo>
                    <a:pt x="305" y="376"/>
                  </a:lnTo>
                  <a:lnTo>
                    <a:pt x="304" y="377"/>
                  </a:lnTo>
                  <a:lnTo>
                    <a:pt x="303" y="378"/>
                  </a:lnTo>
                  <a:lnTo>
                    <a:pt x="302" y="380"/>
                  </a:lnTo>
                  <a:lnTo>
                    <a:pt x="300" y="382"/>
                  </a:lnTo>
                  <a:lnTo>
                    <a:pt x="299" y="382"/>
                  </a:lnTo>
                  <a:lnTo>
                    <a:pt x="299" y="383"/>
                  </a:lnTo>
                  <a:lnTo>
                    <a:pt x="299" y="384"/>
                  </a:lnTo>
                  <a:lnTo>
                    <a:pt x="299" y="384"/>
                  </a:lnTo>
                  <a:lnTo>
                    <a:pt x="298" y="385"/>
                  </a:lnTo>
                  <a:lnTo>
                    <a:pt x="298" y="388"/>
                  </a:lnTo>
                  <a:lnTo>
                    <a:pt x="298" y="389"/>
                  </a:lnTo>
                  <a:lnTo>
                    <a:pt x="298" y="390"/>
                  </a:lnTo>
                  <a:lnTo>
                    <a:pt x="298" y="392"/>
                  </a:lnTo>
                  <a:lnTo>
                    <a:pt x="297" y="393"/>
                  </a:lnTo>
                  <a:lnTo>
                    <a:pt x="296" y="396"/>
                  </a:lnTo>
                  <a:lnTo>
                    <a:pt x="295" y="399"/>
                  </a:lnTo>
                  <a:lnTo>
                    <a:pt x="294" y="402"/>
                  </a:lnTo>
                  <a:lnTo>
                    <a:pt x="293" y="402"/>
                  </a:lnTo>
                  <a:lnTo>
                    <a:pt x="293" y="403"/>
                  </a:lnTo>
                  <a:lnTo>
                    <a:pt x="292" y="403"/>
                  </a:lnTo>
                  <a:lnTo>
                    <a:pt x="292" y="404"/>
                  </a:lnTo>
                  <a:lnTo>
                    <a:pt x="291" y="404"/>
                  </a:lnTo>
                  <a:lnTo>
                    <a:pt x="291" y="404"/>
                  </a:lnTo>
                  <a:lnTo>
                    <a:pt x="290" y="405"/>
                  </a:lnTo>
                  <a:lnTo>
                    <a:pt x="287" y="406"/>
                  </a:lnTo>
                  <a:lnTo>
                    <a:pt x="285" y="406"/>
                  </a:lnTo>
                  <a:lnTo>
                    <a:pt x="284" y="406"/>
                  </a:lnTo>
                  <a:lnTo>
                    <a:pt x="283" y="406"/>
                  </a:lnTo>
                  <a:lnTo>
                    <a:pt x="281" y="406"/>
                  </a:lnTo>
                  <a:lnTo>
                    <a:pt x="280" y="406"/>
                  </a:lnTo>
                  <a:lnTo>
                    <a:pt x="279" y="405"/>
                  </a:lnTo>
                  <a:lnTo>
                    <a:pt x="278" y="405"/>
                  </a:lnTo>
                  <a:lnTo>
                    <a:pt x="277" y="404"/>
                  </a:lnTo>
                  <a:lnTo>
                    <a:pt x="276" y="404"/>
                  </a:lnTo>
                  <a:lnTo>
                    <a:pt x="275" y="403"/>
                  </a:lnTo>
                  <a:lnTo>
                    <a:pt x="275" y="403"/>
                  </a:lnTo>
                  <a:lnTo>
                    <a:pt x="273" y="401"/>
                  </a:lnTo>
                  <a:lnTo>
                    <a:pt x="272" y="400"/>
                  </a:lnTo>
                  <a:lnTo>
                    <a:pt x="271" y="399"/>
                  </a:lnTo>
                  <a:lnTo>
                    <a:pt x="270" y="398"/>
                  </a:lnTo>
                  <a:lnTo>
                    <a:pt x="269" y="398"/>
                  </a:lnTo>
                  <a:lnTo>
                    <a:pt x="268" y="397"/>
                  </a:lnTo>
                  <a:lnTo>
                    <a:pt x="267" y="397"/>
                  </a:lnTo>
                  <a:lnTo>
                    <a:pt x="266" y="397"/>
                  </a:lnTo>
                  <a:lnTo>
                    <a:pt x="265" y="397"/>
                  </a:lnTo>
                  <a:lnTo>
                    <a:pt x="265" y="397"/>
                  </a:lnTo>
                  <a:lnTo>
                    <a:pt x="264" y="398"/>
                  </a:lnTo>
                  <a:lnTo>
                    <a:pt x="263" y="398"/>
                  </a:lnTo>
                  <a:lnTo>
                    <a:pt x="263" y="398"/>
                  </a:lnTo>
                  <a:lnTo>
                    <a:pt x="262" y="399"/>
                  </a:lnTo>
                  <a:lnTo>
                    <a:pt x="261" y="402"/>
                  </a:lnTo>
                  <a:lnTo>
                    <a:pt x="260" y="402"/>
                  </a:lnTo>
                  <a:lnTo>
                    <a:pt x="260" y="402"/>
                  </a:lnTo>
                  <a:lnTo>
                    <a:pt x="260" y="403"/>
                  </a:lnTo>
                  <a:lnTo>
                    <a:pt x="259" y="403"/>
                  </a:lnTo>
                  <a:lnTo>
                    <a:pt x="259" y="403"/>
                  </a:lnTo>
                  <a:lnTo>
                    <a:pt x="259" y="403"/>
                  </a:lnTo>
                  <a:lnTo>
                    <a:pt x="258" y="403"/>
                  </a:lnTo>
                  <a:lnTo>
                    <a:pt x="257" y="403"/>
                  </a:lnTo>
                  <a:lnTo>
                    <a:pt x="256" y="403"/>
                  </a:lnTo>
                  <a:lnTo>
                    <a:pt x="255" y="403"/>
                  </a:lnTo>
                  <a:lnTo>
                    <a:pt x="254" y="402"/>
                  </a:lnTo>
                  <a:lnTo>
                    <a:pt x="254" y="402"/>
                  </a:lnTo>
                  <a:lnTo>
                    <a:pt x="253" y="402"/>
                  </a:lnTo>
                  <a:lnTo>
                    <a:pt x="252" y="403"/>
                  </a:lnTo>
                  <a:lnTo>
                    <a:pt x="251" y="403"/>
                  </a:lnTo>
                  <a:lnTo>
                    <a:pt x="251" y="403"/>
                  </a:lnTo>
                  <a:lnTo>
                    <a:pt x="250" y="403"/>
                  </a:lnTo>
                  <a:lnTo>
                    <a:pt x="250" y="403"/>
                  </a:lnTo>
                  <a:lnTo>
                    <a:pt x="250" y="403"/>
                  </a:lnTo>
                  <a:lnTo>
                    <a:pt x="250" y="404"/>
                  </a:lnTo>
                  <a:lnTo>
                    <a:pt x="250" y="404"/>
                  </a:lnTo>
                  <a:lnTo>
                    <a:pt x="250" y="404"/>
                  </a:lnTo>
                  <a:lnTo>
                    <a:pt x="250" y="405"/>
                  </a:lnTo>
                  <a:lnTo>
                    <a:pt x="250" y="405"/>
                  </a:lnTo>
                  <a:lnTo>
                    <a:pt x="250" y="406"/>
                  </a:lnTo>
                  <a:lnTo>
                    <a:pt x="250" y="407"/>
                  </a:lnTo>
                  <a:lnTo>
                    <a:pt x="252" y="411"/>
                  </a:lnTo>
                  <a:lnTo>
                    <a:pt x="253" y="413"/>
                  </a:lnTo>
                  <a:lnTo>
                    <a:pt x="253" y="414"/>
                  </a:lnTo>
                  <a:lnTo>
                    <a:pt x="254" y="415"/>
                  </a:lnTo>
                  <a:lnTo>
                    <a:pt x="254" y="416"/>
                  </a:lnTo>
                  <a:lnTo>
                    <a:pt x="254" y="417"/>
                  </a:lnTo>
                  <a:lnTo>
                    <a:pt x="254" y="417"/>
                  </a:lnTo>
                  <a:lnTo>
                    <a:pt x="253" y="418"/>
                  </a:lnTo>
                  <a:lnTo>
                    <a:pt x="253" y="419"/>
                  </a:lnTo>
                  <a:lnTo>
                    <a:pt x="253" y="420"/>
                  </a:lnTo>
                  <a:lnTo>
                    <a:pt x="252" y="421"/>
                  </a:lnTo>
                  <a:lnTo>
                    <a:pt x="251" y="422"/>
                  </a:lnTo>
                  <a:lnTo>
                    <a:pt x="251" y="422"/>
                  </a:lnTo>
                  <a:lnTo>
                    <a:pt x="250" y="423"/>
                  </a:lnTo>
                  <a:lnTo>
                    <a:pt x="249" y="424"/>
                  </a:lnTo>
                  <a:lnTo>
                    <a:pt x="249" y="424"/>
                  </a:lnTo>
                  <a:lnTo>
                    <a:pt x="248" y="424"/>
                  </a:lnTo>
                  <a:lnTo>
                    <a:pt x="247" y="425"/>
                  </a:lnTo>
                  <a:lnTo>
                    <a:pt x="246" y="425"/>
                  </a:lnTo>
                  <a:lnTo>
                    <a:pt x="245" y="425"/>
                  </a:lnTo>
                  <a:lnTo>
                    <a:pt x="244" y="425"/>
                  </a:lnTo>
                  <a:lnTo>
                    <a:pt x="243" y="425"/>
                  </a:lnTo>
                  <a:lnTo>
                    <a:pt x="242" y="425"/>
                  </a:lnTo>
                  <a:lnTo>
                    <a:pt x="242" y="425"/>
                  </a:lnTo>
                  <a:lnTo>
                    <a:pt x="241" y="425"/>
                  </a:lnTo>
                  <a:lnTo>
                    <a:pt x="240" y="425"/>
                  </a:lnTo>
                  <a:lnTo>
                    <a:pt x="239" y="424"/>
                  </a:lnTo>
                  <a:lnTo>
                    <a:pt x="237" y="424"/>
                  </a:lnTo>
                  <a:lnTo>
                    <a:pt x="237" y="423"/>
                  </a:lnTo>
                  <a:lnTo>
                    <a:pt x="236" y="423"/>
                  </a:lnTo>
                  <a:lnTo>
                    <a:pt x="235" y="423"/>
                  </a:lnTo>
                  <a:lnTo>
                    <a:pt x="234" y="423"/>
                  </a:lnTo>
                  <a:lnTo>
                    <a:pt x="232" y="423"/>
                  </a:lnTo>
                  <a:lnTo>
                    <a:pt x="231" y="423"/>
                  </a:lnTo>
                  <a:lnTo>
                    <a:pt x="229" y="423"/>
                  </a:lnTo>
                  <a:lnTo>
                    <a:pt x="227" y="423"/>
                  </a:lnTo>
                  <a:lnTo>
                    <a:pt x="225" y="423"/>
                  </a:lnTo>
                  <a:lnTo>
                    <a:pt x="224" y="424"/>
                  </a:lnTo>
                  <a:lnTo>
                    <a:pt x="222" y="424"/>
                  </a:lnTo>
                  <a:lnTo>
                    <a:pt x="220" y="425"/>
                  </a:lnTo>
                  <a:lnTo>
                    <a:pt x="217" y="426"/>
                  </a:lnTo>
                  <a:lnTo>
                    <a:pt x="216" y="426"/>
                  </a:lnTo>
                  <a:lnTo>
                    <a:pt x="216" y="426"/>
                  </a:lnTo>
                  <a:lnTo>
                    <a:pt x="216" y="426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8"/>
                  </a:lnTo>
                  <a:lnTo>
                    <a:pt x="215" y="429"/>
                  </a:lnTo>
                  <a:lnTo>
                    <a:pt x="214" y="431"/>
                  </a:lnTo>
                  <a:lnTo>
                    <a:pt x="214" y="433"/>
                  </a:lnTo>
                  <a:lnTo>
                    <a:pt x="214" y="434"/>
                  </a:lnTo>
                  <a:lnTo>
                    <a:pt x="213" y="434"/>
                  </a:lnTo>
                  <a:lnTo>
                    <a:pt x="213" y="435"/>
                  </a:lnTo>
                  <a:lnTo>
                    <a:pt x="212" y="436"/>
                  </a:lnTo>
                  <a:lnTo>
                    <a:pt x="211" y="438"/>
                  </a:lnTo>
                  <a:lnTo>
                    <a:pt x="211" y="439"/>
                  </a:lnTo>
                  <a:lnTo>
                    <a:pt x="210" y="440"/>
                  </a:lnTo>
                  <a:lnTo>
                    <a:pt x="209" y="441"/>
                  </a:lnTo>
                  <a:lnTo>
                    <a:pt x="209" y="441"/>
                  </a:lnTo>
                  <a:lnTo>
                    <a:pt x="208" y="442"/>
                  </a:lnTo>
                  <a:lnTo>
                    <a:pt x="207" y="443"/>
                  </a:lnTo>
                  <a:lnTo>
                    <a:pt x="206" y="443"/>
                  </a:lnTo>
                  <a:lnTo>
                    <a:pt x="205" y="443"/>
                  </a:lnTo>
                  <a:lnTo>
                    <a:pt x="205" y="443"/>
                  </a:lnTo>
                  <a:lnTo>
                    <a:pt x="204" y="443"/>
                  </a:lnTo>
                  <a:lnTo>
                    <a:pt x="203" y="443"/>
                  </a:lnTo>
                  <a:lnTo>
                    <a:pt x="202" y="442"/>
                  </a:lnTo>
                  <a:lnTo>
                    <a:pt x="199" y="440"/>
                  </a:lnTo>
                  <a:lnTo>
                    <a:pt x="198" y="439"/>
                  </a:lnTo>
                  <a:lnTo>
                    <a:pt x="197" y="438"/>
                  </a:lnTo>
                  <a:lnTo>
                    <a:pt x="196" y="438"/>
                  </a:lnTo>
                  <a:lnTo>
                    <a:pt x="196" y="437"/>
                  </a:lnTo>
                  <a:lnTo>
                    <a:pt x="195" y="437"/>
                  </a:lnTo>
                  <a:lnTo>
                    <a:pt x="194" y="437"/>
                  </a:lnTo>
                  <a:lnTo>
                    <a:pt x="193" y="437"/>
                  </a:lnTo>
                  <a:lnTo>
                    <a:pt x="192" y="437"/>
                  </a:lnTo>
                  <a:lnTo>
                    <a:pt x="190" y="437"/>
                  </a:lnTo>
                  <a:lnTo>
                    <a:pt x="188" y="436"/>
                  </a:lnTo>
                  <a:lnTo>
                    <a:pt x="186" y="436"/>
                  </a:lnTo>
                  <a:lnTo>
                    <a:pt x="184" y="435"/>
                  </a:lnTo>
                  <a:lnTo>
                    <a:pt x="182" y="435"/>
                  </a:lnTo>
                  <a:lnTo>
                    <a:pt x="181" y="434"/>
                  </a:lnTo>
                  <a:lnTo>
                    <a:pt x="180" y="434"/>
                  </a:lnTo>
                  <a:lnTo>
                    <a:pt x="177" y="434"/>
                  </a:lnTo>
                  <a:lnTo>
                    <a:pt x="177" y="434"/>
                  </a:lnTo>
                  <a:lnTo>
                    <a:pt x="176" y="434"/>
                  </a:lnTo>
                  <a:lnTo>
                    <a:pt x="176" y="433"/>
                  </a:lnTo>
                  <a:lnTo>
                    <a:pt x="175" y="433"/>
                  </a:lnTo>
                  <a:lnTo>
                    <a:pt x="175" y="432"/>
                  </a:lnTo>
                  <a:lnTo>
                    <a:pt x="175" y="432"/>
                  </a:lnTo>
                  <a:lnTo>
                    <a:pt x="174" y="431"/>
                  </a:lnTo>
                  <a:lnTo>
                    <a:pt x="174" y="430"/>
                  </a:lnTo>
                  <a:lnTo>
                    <a:pt x="174" y="427"/>
                  </a:lnTo>
                  <a:lnTo>
                    <a:pt x="174" y="426"/>
                  </a:lnTo>
                  <a:lnTo>
                    <a:pt x="173" y="426"/>
                  </a:lnTo>
                  <a:lnTo>
                    <a:pt x="173" y="425"/>
                  </a:lnTo>
                  <a:lnTo>
                    <a:pt x="173" y="424"/>
                  </a:lnTo>
                  <a:lnTo>
                    <a:pt x="172" y="424"/>
                  </a:lnTo>
                  <a:lnTo>
                    <a:pt x="172" y="423"/>
                  </a:lnTo>
                  <a:lnTo>
                    <a:pt x="171" y="423"/>
                  </a:lnTo>
                  <a:lnTo>
                    <a:pt x="171" y="423"/>
                  </a:lnTo>
                  <a:lnTo>
                    <a:pt x="170" y="423"/>
                  </a:lnTo>
                  <a:lnTo>
                    <a:pt x="170" y="423"/>
                  </a:lnTo>
                  <a:lnTo>
                    <a:pt x="169" y="423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67" y="425"/>
                  </a:lnTo>
                  <a:lnTo>
                    <a:pt x="167" y="425"/>
                  </a:lnTo>
                  <a:lnTo>
                    <a:pt x="166" y="426"/>
                  </a:lnTo>
                  <a:lnTo>
                    <a:pt x="164" y="430"/>
                  </a:lnTo>
                  <a:lnTo>
                    <a:pt x="163" y="432"/>
                  </a:lnTo>
                  <a:lnTo>
                    <a:pt x="163" y="433"/>
                  </a:lnTo>
                  <a:lnTo>
                    <a:pt x="162" y="434"/>
                  </a:lnTo>
                  <a:lnTo>
                    <a:pt x="162" y="435"/>
                  </a:lnTo>
                  <a:lnTo>
                    <a:pt x="162" y="436"/>
                  </a:lnTo>
                  <a:lnTo>
                    <a:pt x="162" y="437"/>
                  </a:lnTo>
                  <a:lnTo>
                    <a:pt x="162" y="439"/>
                  </a:lnTo>
                  <a:lnTo>
                    <a:pt x="163" y="440"/>
                  </a:lnTo>
                  <a:lnTo>
                    <a:pt x="163" y="442"/>
                  </a:lnTo>
                  <a:lnTo>
                    <a:pt x="164" y="443"/>
                  </a:lnTo>
                  <a:lnTo>
                    <a:pt x="165" y="445"/>
                  </a:lnTo>
                  <a:lnTo>
                    <a:pt x="166" y="447"/>
                  </a:lnTo>
                  <a:lnTo>
                    <a:pt x="166" y="448"/>
                  </a:lnTo>
                  <a:lnTo>
                    <a:pt x="166" y="449"/>
                  </a:lnTo>
                  <a:lnTo>
                    <a:pt x="166" y="450"/>
                  </a:lnTo>
                  <a:lnTo>
                    <a:pt x="166" y="451"/>
                  </a:lnTo>
                  <a:lnTo>
                    <a:pt x="166" y="452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65" y="454"/>
                  </a:lnTo>
                  <a:lnTo>
                    <a:pt x="164" y="455"/>
                  </a:lnTo>
                  <a:lnTo>
                    <a:pt x="162" y="457"/>
                  </a:lnTo>
                  <a:lnTo>
                    <a:pt x="160" y="459"/>
                  </a:lnTo>
                  <a:lnTo>
                    <a:pt x="159" y="460"/>
                  </a:lnTo>
                  <a:lnTo>
                    <a:pt x="158" y="460"/>
                  </a:lnTo>
                  <a:lnTo>
                    <a:pt x="158" y="461"/>
                  </a:lnTo>
                  <a:lnTo>
                    <a:pt x="157" y="462"/>
                  </a:lnTo>
                  <a:lnTo>
                    <a:pt x="155" y="465"/>
                  </a:lnTo>
                  <a:lnTo>
                    <a:pt x="153" y="467"/>
                  </a:lnTo>
                  <a:lnTo>
                    <a:pt x="151" y="470"/>
                  </a:lnTo>
                  <a:lnTo>
                    <a:pt x="150" y="471"/>
                  </a:lnTo>
                  <a:lnTo>
                    <a:pt x="149" y="472"/>
                  </a:lnTo>
                  <a:lnTo>
                    <a:pt x="149" y="473"/>
                  </a:lnTo>
                  <a:lnTo>
                    <a:pt x="148" y="473"/>
                  </a:lnTo>
                  <a:lnTo>
                    <a:pt x="147" y="474"/>
                  </a:lnTo>
                  <a:lnTo>
                    <a:pt x="146" y="474"/>
                  </a:lnTo>
                  <a:lnTo>
                    <a:pt x="146" y="475"/>
                  </a:lnTo>
                  <a:lnTo>
                    <a:pt x="145" y="475"/>
                  </a:lnTo>
                  <a:lnTo>
                    <a:pt x="144" y="475"/>
                  </a:lnTo>
                  <a:lnTo>
                    <a:pt x="143" y="475"/>
                  </a:lnTo>
                  <a:lnTo>
                    <a:pt x="143" y="475"/>
                  </a:lnTo>
                  <a:lnTo>
                    <a:pt x="139" y="475"/>
                  </a:lnTo>
                  <a:lnTo>
                    <a:pt x="138" y="476"/>
                  </a:lnTo>
                  <a:lnTo>
                    <a:pt x="134" y="476"/>
                  </a:lnTo>
                  <a:lnTo>
                    <a:pt x="132" y="476"/>
                  </a:lnTo>
                  <a:lnTo>
                    <a:pt x="131" y="477"/>
                  </a:lnTo>
                  <a:lnTo>
                    <a:pt x="125" y="478"/>
                  </a:lnTo>
                  <a:lnTo>
                    <a:pt x="124" y="478"/>
                  </a:lnTo>
                  <a:lnTo>
                    <a:pt x="122" y="478"/>
                  </a:lnTo>
                  <a:lnTo>
                    <a:pt x="121" y="478"/>
                  </a:lnTo>
                  <a:lnTo>
                    <a:pt x="120" y="479"/>
                  </a:lnTo>
                  <a:lnTo>
                    <a:pt x="120" y="479"/>
                  </a:lnTo>
                  <a:lnTo>
                    <a:pt x="119" y="479"/>
                  </a:lnTo>
                  <a:lnTo>
                    <a:pt x="118" y="480"/>
                  </a:lnTo>
                  <a:lnTo>
                    <a:pt x="117" y="481"/>
                  </a:lnTo>
                  <a:lnTo>
                    <a:pt x="117" y="482"/>
                  </a:lnTo>
                  <a:lnTo>
                    <a:pt x="116" y="482"/>
                  </a:lnTo>
                  <a:lnTo>
                    <a:pt x="115" y="485"/>
                  </a:lnTo>
                  <a:lnTo>
                    <a:pt x="114" y="485"/>
                  </a:lnTo>
                  <a:lnTo>
                    <a:pt x="114" y="486"/>
                  </a:lnTo>
                  <a:lnTo>
                    <a:pt x="113" y="487"/>
                  </a:lnTo>
                  <a:lnTo>
                    <a:pt x="113" y="487"/>
                  </a:lnTo>
                  <a:lnTo>
                    <a:pt x="112" y="487"/>
                  </a:lnTo>
                  <a:lnTo>
                    <a:pt x="112" y="487"/>
                  </a:lnTo>
                  <a:lnTo>
                    <a:pt x="111" y="487"/>
                  </a:lnTo>
                  <a:lnTo>
                    <a:pt x="111" y="487"/>
                  </a:lnTo>
                  <a:lnTo>
                    <a:pt x="110" y="487"/>
                  </a:lnTo>
                  <a:lnTo>
                    <a:pt x="110" y="487"/>
                  </a:lnTo>
                  <a:lnTo>
                    <a:pt x="110" y="487"/>
                  </a:lnTo>
                  <a:lnTo>
                    <a:pt x="110" y="485"/>
                  </a:lnTo>
                  <a:lnTo>
                    <a:pt x="108" y="480"/>
                  </a:lnTo>
                  <a:lnTo>
                    <a:pt x="106" y="477"/>
                  </a:lnTo>
                  <a:lnTo>
                    <a:pt x="106" y="476"/>
                  </a:lnTo>
                  <a:lnTo>
                    <a:pt x="105" y="473"/>
                  </a:lnTo>
                  <a:lnTo>
                    <a:pt x="103" y="468"/>
                  </a:lnTo>
                  <a:lnTo>
                    <a:pt x="103" y="467"/>
                  </a:lnTo>
                  <a:lnTo>
                    <a:pt x="103" y="466"/>
                  </a:lnTo>
                  <a:lnTo>
                    <a:pt x="102" y="465"/>
                  </a:lnTo>
                  <a:lnTo>
                    <a:pt x="102" y="465"/>
                  </a:lnTo>
                  <a:lnTo>
                    <a:pt x="101" y="464"/>
                  </a:lnTo>
                  <a:lnTo>
                    <a:pt x="100" y="463"/>
                  </a:lnTo>
                  <a:lnTo>
                    <a:pt x="97" y="461"/>
                  </a:lnTo>
                  <a:lnTo>
                    <a:pt x="96" y="460"/>
                  </a:lnTo>
                  <a:lnTo>
                    <a:pt x="95" y="459"/>
                  </a:lnTo>
                  <a:lnTo>
                    <a:pt x="93" y="458"/>
                  </a:lnTo>
                  <a:lnTo>
                    <a:pt x="91" y="458"/>
                  </a:lnTo>
                  <a:lnTo>
                    <a:pt x="90" y="457"/>
                  </a:lnTo>
                  <a:lnTo>
                    <a:pt x="87" y="456"/>
                  </a:lnTo>
                  <a:lnTo>
                    <a:pt x="85" y="455"/>
                  </a:lnTo>
                  <a:lnTo>
                    <a:pt x="83" y="455"/>
                  </a:lnTo>
                  <a:lnTo>
                    <a:pt x="81" y="454"/>
                  </a:lnTo>
                  <a:lnTo>
                    <a:pt x="80" y="453"/>
                  </a:lnTo>
                  <a:lnTo>
                    <a:pt x="77" y="452"/>
                  </a:lnTo>
                  <a:lnTo>
                    <a:pt x="76" y="451"/>
                  </a:lnTo>
                  <a:lnTo>
                    <a:pt x="76" y="451"/>
                  </a:lnTo>
                  <a:lnTo>
                    <a:pt x="75" y="450"/>
                  </a:lnTo>
                  <a:lnTo>
                    <a:pt x="75" y="450"/>
                  </a:lnTo>
                  <a:lnTo>
                    <a:pt x="75" y="450"/>
                  </a:lnTo>
                  <a:lnTo>
                    <a:pt x="74" y="449"/>
                  </a:lnTo>
                  <a:lnTo>
                    <a:pt x="74" y="449"/>
                  </a:lnTo>
                  <a:lnTo>
                    <a:pt x="74" y="448"/>
                  </a:lnTo>
                  <a:lnTo>
                    <a:pt x="74" y="448"/>
                  </a:lnTo>
                  <a:lnTo>
                    <a:pt x="75" y="446"/>
                  </a:lnTo>
                  <a:lnTo>
                    <a:pt x="75" y="443"/>
                  </a:lnTo>
                  <a:lnTo>
                    <a:pt x="76" y="440"/>
                  </a:lnTo>
                  <a:lnTo>
                    <a:pt x="76" y="438"/>
                  </a:lnTo>
                  <a:lnTo>
                    <a:pt x="76" y="437"/>
                  </a:lnTo>
                  <a:lnTo>
                    <a:pt x="76" y="435"/>
                  </a:lnTo>
                  <a:lnTo>
                    <a:pt x="77" y="434"/>
                  </a:lnTo>
                  <a:lnTo>
                    <a:pt x="76" y="432"/>
                  </a:lnTo>
                  <a:lnTo>
                    <a:pt x="76" y="431"/>
                  </a:lnTo>
                  <a:lnTo>
                    <a:pt x="76" y="431"/>
                  </a:lnTo>
                  <a:lnTo>
                    <a:pt x="76" y="430"/>
                  </a:lnTo>
                  <a:lnTo>
                    <a:pt x="76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4" y="430"/>
                  </a:lnTo>
                  <a:lnTo>
                    <a:pt x="74" y="431"/>
                  </a:lnTo>
                  <a:lnTo>
                    <a:pt x="73" y="432"/>
                  </a:lnTo>
                  <a:lnTo>
                    <a:pt x="73" y="433"/>
                  </a:lnTo>
                  <a:lnTo>
                    <a:pt x="72" y="433"/>
                  </a:lnTo>
                  <a:lnTo>
                    <a:pt x="72" y="433"/>
                  </a:lnTo>
                  <a:lnTo>
                    <a:pt x="72" y="433"/>
                  </a:lnTo>
                  <a:lnTo>
                    <a:pt x="71" y="433"/>
                  </a:lnTo>
                  <a:lnTo>
                    <a:pt x="71" y="433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69" y="432"/>
                  </a:lnTo>
                  <a:lnTo>
                    <a:pt x="69" y="432"/>
                  </a:lnTo>
                  <a:lnTo>
                    <a:pt x="68" y="431"/>
                  </a:lnTo>
                  <a:lnTo>
                    <a:pt x="67" y="431"/>
                  </a:lnTo>
                  <a:lnTo>
                    <a:pt x="66" y="429"/>
                  </a:lnTo>
                  <a:lnTo>
                    <a:pt x="66" y="428"/>
                  </a:lnTo>
                  <a:lnTo>
                    <a:pt x="65" y="428"/>
                  </a:lnTo>
                  <a:lnTo>
                    <a:pt x="65" y="427"/>
                  </a:lnTo>
                  <a:lnTo>
                    <a:pt x="63" y="424"/>
                  </a:lnTo>
                  <a:lnTo>
                    <a:pt x="63" y="424"/>
                  </a:lnTo>
                  <a:lnTo>
                    <a:pt x="63" y="423"/>
                  </a:lnTo>
                  <a:lnTo>
                    <a:pt x="62" y="422"/>
                  </a:lnTo>
                  <a:lnTo>
                    <a:pt x="62" y="422"/>
                  </a:lnTo>
                  <a:lnTo>
                    <a:pt x="60" y="421"/>
                  </a:lnTo>
                  <a:lnTo>
                    <a:pt x="59" y="420"/>
                  </a:lnTo>
                  <a:lnTo>
                    <a:pt x="59" y="419"/>
                  </a:lnTo>
                  <a:lnTo>
                    <a:pt x="58" y="418"/>
                  </a:lnTo>
                  <a:lnTo>
                    <a:pt x="58" y="417"/>
                  </a:lnTo>
                  <a:lnTo>
                    <a:pt x="57" y="417"/>
                  </a:lnTo>
                  <a:lnTo>
                    <a:pt x="57" y="414"/>
                  </a:lnTo>
                  <a:lnTo>
                    <a:pt x="56" y="410"/>
                  </a:lnTo>
                  <a:lnTo>
                    <a:pt x="55" y="408"/>
                  </a:lnTo>
                  <a:lnTo>
                    <a:pt x="54" y="407"/>
                  </a:lnTo>
                  <a:lnTo>
                    <a:pt x="54" y="406"/>
                  </a:lnTo>
                  <a:lnTo>
                    <a:pt x="53" y="405"/>
                  </a:lnTo>
                  <a:lnTo>
                    <a:pt x="52" y="404"/>
                  </a:lnTo>
                  <a:lnTo>
                    <a:pt x="52" y="403"/>
                  </a:lnTo>
                  <a:lnTo>
                    <a:pt x="52" y="402"/>
                  </a:lnTo>
                  <a:lnTo>
                    <a:pt x="51" y="401"/>
                  </a:lnTo>
                  <a:lnTo>
                    <a:pt x="50" y="400"/>
                  </a:lnTo>
                  <a:lnTo>
                    <a:pt x="50" y="399"/>
                  </a:lnTo>
                  <a:lnTo>
                    <a:pt x="48" y="398"/>
                  </a:lnTo>
                  <a:lnTo>
                    <a:pt x="47" y="397"/>
                  </a:lnTo>
                  <a:lnTo>
                    <a:pt x="47" y="396"/>
                  </a:lnTo>
                  <a:lnTo>
                    <a:pt x="46" y="394"/>
                  </a:lnTo>
                  <a:lnTo>
                    <a:pt x="45" y="393"/>
                  </a:lnTo>
                  <a:lnTo>
                    <a:pt x="45" y="392"/>
                  </a:lnTo>
                  <a:lnTo>
                    <a:pt x="44" y="391"/>
                  </a:lnTo>
                  <a:lnTo>
                    <a:pt x="43" y="390"/>
                  </a:lnTo>
                  <a:lnTo>
                    <a:pt x="42" y="389"/>
                  </a:lnTo>
                  <a:lnTo>
                    <a:pt x="42" y="389"/>
                  </a:lnTo>
                  <a:lnTo>
                    <a:pt x="41" y="388"/>
                  </a:lnTo>
                  <a:lnTo>
                    <a:pt x="40" y="388"/>
                  </a:lnTo>
                  <a:lnTo>
                    <a:pt x="38" y="388"/>
                  </a:lnTo>
                  <a:lnTo>
                    <a:pt x="36" y="387"/>
                  </a:lnTo>
                  <a:lnTo>
                    <a:pt x="34" y="387"/>
                  </a:lnTo>
                  <a:lnTo>
                    <a:pt x="33" y="387"/>
                  </a:lnTo>
                  <a:lnTo>
                    <a:pt x="32" y="387"/>
                  </a:lnTo>
                  <a:lnTo>
                    <a:pt x="31" y="387"/>
                  </a:lnTo>
                  <a:lnTo>
                    <a:pt x="30" y="387"/>
                  </a:lnTo>
                  <a:lnTo>
                    <a:pt x="28" y="387"/>
                  </a:lnTo>
                  <a:lnTo>
                    <a:pt x="27" y="388"/>
                  </a:lnTo>
                  <a:lnTo>
                    <a:pt x="25" y="389"/>
                  </a:lnTo>
                  <a:lnTo>
                    <a:pt x="24" y="390"/>
                  </a:lnTo>
                  <a:lnTo>
                    <a:pt x="23" y="391"/>
                  </a:lnTo>
                  <a:lnTo>
                    <a:pt x="21" y="392"/>
                  </a:lnTo>
                  <a:lnTo>
                    <a:pt x="20" y="394"/>
                  </a:lnTo>
                  <a:lnTo>
                    <a:pt x="19" y="394"/>
                  </a:lnTo>
                  <a:lnTo>
                    <a:pt x="19" y="394"/>
                  </a:lnTo>
                  <a:lnTo>
                    <a:pt x="19" y="395"/>
                  </a:lnTo>
                  <a:lnTo>
                    <a:pt x="19" y="395"/>
                  </a:lnTo>
                  <a:lnTo>
                    <a:pt x="19" y="395"/>
                  </a:lnTo>
                  <a:lnTo>
                    <a:pt x="19" y="396"/>
                  </a:lnTo>
                  <a:lnTo>
                    <a:pt x="20" y="396"/>
                  </a:lnTo>
                  <a:lnTo>
                    <a:pt x="20" y="397"/>
                  </a:lnTo>
                  <a:lnTo>
                    <a:pt x="21" y="398"/>
                  </a:lnTo>
                  <a:lnTo>
                    <a:pt x="21" y="398"/>
                  </a:lnTo>
                  <a:lnTo>
                    <a:pt x="21" y="399"/>
                  </a:lnTo>
                  <a:lnTo>
                    <a:pt x="22" y="399"/>
                  </a:lnTo>
                  <a:lnTo>
                    <a:pt x="27" y="404"/>
                  </a:lnTo>
                  <a:lnTo>
                    <a:pt x="27" y="404"/>
                  </a:lnTo>
                  <a:lnTo>
                    <a:pt x="28" y="405"/>
                  </a:lnTo>
                  <a:lnTo>
                    <a:pt x="28" y="406"/>
                  </a:lnTo>
                  <a:lnTo>
                    <a:pt x="28" y="407"/>
                  </a:lnTo>
                  <a:lnTo>
                    <a:pt x="29" y="408"/>
                  </a:lnTo>
                  <a:lnTo>
                    <a:pt x="29" y="409"/>
                  </a:lnTo>
                  <a:lnTo>
                    <a:pt x="30" y="410"/>
                  </a:lnTo>
                  <a:lnTo>
                    <a:pt x="31" y="412"/>
                  </a:lnTo>
                  <a:lnTo>
                    <a:pt x="31" y="413"/>
                  </a:lnTo>
                  <a:lnTo>
                    <a:pt x="32" y="414"/>
                  </a:lnTo>
                  <a:lnTo>
                    <a:pt x="32" y="415"/>
                  </a:lnTo>
                  <a:lnTo>
                    <a:pt x="32" y="415"/>
                  </a:lnTo>
                  <a:lnTo>
                    <a:pt x="32" y="416"/>
                  </a:lnTo>
                  <a:lnTo>
                    <a:pt x="32" y="417"/>
                  </a:lnTo>
                  <a:lnTo>
                    <a:pt x="32" y="417"/>
                  </a:lnTo>
                  <a:lnTo>
                    <a:pt x="32" y="418"/>
                  </a:lnTo>
                  <a:lnTo>
                    <a:pt x="32" y="418"/>
                  </a:lnTo>
                  <a:lnTo>
                    <a:pt x="31" y="419"/>
                  </a:lnTo>
                  <a:lnTo>
                    <a:pt x="30" y="421"/>
                  </a:lnTo>
                  <a:lnTo>
                    <a:pt x="29" y="422"/>
                  </a:lnTo>
                  <a:lnTo>
                    <a:pt x="28" y="424"/>
                  </a:lnTo>
                  <a:lnTo>
                    <a:pt x="27" y="427"/>
                  </a:lnTo>
                  <a:lnTo>
                    <a:pt x="27" y="429"/>
                  </a:lnTo>
                  <a:lnTo>
                    <a:pt x="26" y="430"/>
                  </a:lnTo>
                  <a:lnTo>
                    <a:pt x="25" y="431"/>
                  </a:lnTo>
                  <a:lnTo>
                    <a:pt x="25" y="432"/>
                  </a:lnTo>
                  <a:lnTo>
                    <a:pt x="23" y="433"/>
                  </a:lnTo>
                  <a:lnTo>
                    <a:pt x="22" y="434"/>
                  </a:lnTo>
                  <a:lnTo>
                    <a:pt x="21" y="435"/>
                  </a:lnTo>
                  <a:lnTo>
                    <a:pt x="20" y="436"/>
                  </a:lnTo>
                  <a:lnTo>
                    <a:pt x="19" y="436"/>
                  </a:lnTo>
                  <a:lnTo>
                    <a:pt x="18" y="437"/>
                  </a:lnTo>
                  <a:lnTo>
                    <a:pt x="17" y="437"/>
                  </a:lnTo>
                  <a:lnTo>
                    <a:pt x="16" y="437"/>
                  </a:lnTo>
                  <a:lnTo>
                    <a:pt x="15" y="437"/>
                  </a:lnTo>
                  <a:lnTo>
                    <a:pt x="14" y="436"/>
                  </a:lnTo>
                  <a:lnTo>
                    <a:pt x="12" y="436"/>
                  </a:lnTo>
                  <a:lnTo>
                    <a:pt x="11" y="435"/>
                  </a:lnTo>
                  <a:lnTo>
                    <a:pt x="9" y="434"/>
                  </a:lnTo>
                  <a:lnTo>
                    <a:pt x="6" y="431"/>
                  </a:lnTo>
                  <a:lnTo>
                    <a:pt x="4" y="430"/>
                  </a:lnTo>
                  <a:lnTo>
                    <a:pt x="3" y="429"/>
                  </a:lnTo>
                  <a:lnTo>
                    <a:pt x="3" y="429"/>
                  </a:lnTo>
                  <a:lnTo>
                    <a:pt x="1" y="427"/>
                  </a:lnTo>
                  <a:lnTo>
                    <a:pt x="1" y="427"/>
                  </a:lnTo>
                  <a:lnTo>
                    <a:pt x="0" y="426"/>
                  </a:lnTo>
                  <a:lnTo>
                    <a:pt x="0" y="426"/>
                  </a:lnTo>
                  <a:lnTo>
                    <a:pt x="0" y="425"/>
                  </a:lnTo>
                  <a:lnTo>
                    <a:pt x="0" y="424"/>
                  </a:lnTo>
                  <a:lnTo>
                    <a:pt x="0" y="423"/>
                  </a:lnTo>
                  <a:lnTo>
                    <a:pt x="0" y="423"/>
                  </a:lnTo>
                  <a:lnTo>
                    <a:pt x="0" y="422"/>
                  </a:lnTo>
                  <a:lnTo>
                    <a:pt x="1" y="421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" name="Freeform 71">
              <a:extLst>
                <a:ext uri="{FF2B5EF4-FFF2-40B4-BE49-F238E27FC236}">
                  <a16:creationId xmlns:a16="http://schemas.microsoft.com/office/drawing/2014/main" id="{2E797132-3309-ACD0-5B10-7FD8DB720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140"/>
              <a:ext cx="169" cy="475"/>
            </a:xfrm>
            <a:custGeom>
              <a:avLst/>
              <a:gdLst>
                <a:gd name="T0" fmla="*/ 36 w 169"/>
                <a:gd name="T1" fmla="*/ 470 h 475"/>
                <a:gd name="T2" fmla="*/ 35 w 169"/>
                <a:gd name="T3" fmla="*/ 464 h 475"/>
                <a:gd name="T4" fmla="*/ 28 w 169"/>
                <a:gd name="T5" fmla="*/ 449 h 475"/>
                <a:gd name="T6" fmla="*/ 27 w 169"/>
                <a:gd name="T7" fmla="*/ 436 h 475"/>
                <a:gd name="T8" fmla="*/ 34 w 169"/>
                <a:gd name="T9" fmla="*/ 426 h 475"/>
                <a:gd name="T10" fmla="*/ 34 w 169"/>
                <a:gd name="T11" fmla="*/ 424 h 475"/>
                <a:gd name="T12" fmla="*/ 15 w 169"/>
                <a:gd name="T13" fmla="*/ 419 h 475"/>
                <a:gd name="T14" fmla="*/ 13 w 169"/>
                <a:gd name="T15" fmla="*/ 416 h 475"/>
                <a:gd name="T16" fmla="*/ 13 w 169"/>
                <a:gd name="T17" fmla="*/ 405 h 475"/>
                <a:gd name="T18" fmla="*/ 18 w 169"/>
                <a:gd name="T19" fmla="*/ 403 h 475"/>
                <a:gd name="T20" fmla="*/ 26 w 169"/>
                <a:gd name="T21" fmla="*/ 403 h 475"/>
                <a:gd name="T22" fmla="*/ 29 w 169"/>
                <a:gd name="T23" fmla="*/ 395 h 475"/>
                <a:gd name="T24" fmla="*/ 31 w 169"/>
                <a:gd name="T25" fmla="*/ 386 h 475"/>
                <a:gd name="T26" fmla="*/ 30 w 169"/>
                <a:gd name="T27" fmla="*/ 374 h 475"/>
                <a:gd name="T28" fmla="*/ 32 w 169"/>
                <a:gd name="T29" fmla="*/ 366 h 475"/>
                <a:gd name="T30" fmla="*/ 40 w 169"/>
                <a:gd name="T31" fmla="*/ 355 h 475"/>
                <a:gd name="T32" fmla="*/ 40 w 169"/>
                <a:gd name="T33" fmla="*/ 341 h 475"/>
                <a:gd name="T34" fmla="*/ 36 w 169"/>
                <a:gd name="T35" fmla="*/ 335 h 475"/>
                <a:gd name="T36" fmla="*/ 28 w 169"/>
                <a:gd name="T37" fmla="*/ 333 h 475"/>
                <a:gd name="T38" fmla="*/ 28 w 169"/>
                <a:gd name="T39" fmla="*/ 328 h 475"/>
                <a:gd name="T40" fmla="*/ 26 w 169"/>
                <a:gd name="T41" fmla="*/ 320 h 475"/>
                <a:gd name="T42" fmla="*/ 20 w 169"/>
                <a:gd name="T43" fmla="*/ 308 h 475"/>
                <a:gd name="T44" fmla="*/ 12 w 169"/>
                <a:gd name="T45" fmla="*/ 294 h 475"/>
                <a:gd name="T46" fmla="*/ 7 w 169"/>
                <a:gd name="T47" fmla="*/ 284 h 475"/>
                <a:gd name="T48" fmla="*/ 9 w 169"/>
                <a:gd name="T49" fmla="*/ 275 h 475"/>
                <a:gd name="T50" fmla="*/ 13 w 169"/>
                <a:gd name="T51" fmla="*/ 266 h 475"/>
                <a:gd name="T52" fmla="*/ 11 w 169"/>
                <a:gd name="T53" fmla="*/ 250 h 475"/>
                <a:gd name="T54" fmla="*/ 5 w 169"/>
                <a:gd name="T55" fmla="*/ 230 h 475"/>
                <a:gd name="T56" fmla="*/ 1 w 169"/>
                <a:gd name="T57" fmla="*/ 212 h 475"/>
                <a:gd name="T58" fmla="*/ 3 w 169"/>
                <a:gd name="T59" fmla="*/ 209 h 475"/>
                <a:gd name="T60" fmla="*/ 11 w 169"/>
                <a:gd name="T61" fmla="*/ 206 h 475"/>
                <a:gd name="T62" fmla="*/ 22 w 169"/>
                <a:gd name="T63" fmla="*/ 196 h 475"/>
                <a:gd name="T64" fmla="*/ 27 w 169"/>
                <a:gd name="T65" fmla="*/ 189 h 475"/>
                <a:gd name="T66" fmla="*/ 25 w 169"/>
                <a:gd name="T67" fmla="*/ 177 h 475"/>
                <a:gd name="T68" fmla="*/ 27 w 169"/>
                <a:gd name="T69" fmla="*/ 167 h 475"/>
                <a:gd name="T70" fmla="*/ 28 w 169"/>
                <a:gd name="T71" fmla="*/ 157 h 475"/>
                <a:gd name="T72" fmla="*/ 38 w 169"/>
                <a:gd name="T73" fmla="*/ 132 h 475"/>
                <a:gd name="T74" fmla="*/ 41 w 169"/>
                <a:gd name="T75" fmla="*/ 118 h 475"/>
                <a:gd name="T76" fmla="*/ 43 w 169"/>
                <a:gd name="T77" fmla="*/ 115 h 475"/>
                <a:gd name="T78" fmla="*/ 53 w 169"/>
                <a:gd name="T79" fmla="*/ 106 h 475"/>
                <a:gd name="T80" fmla="*/ 64 w 169"/>
                <a:gd name="T81" fmla="*/ 103 h 475"/>
                <a:gd name="T82" fmla="*/ 72 w 169"/>
                <a:gd name="T83" fmla="*/ 98 h 475"/>
                <a:gd name="T84" fmla="*/ 80 w 169"/>
                <a:gd name="T85" fmla="*/ 103 h 475"/>
                <a:gd name="T86" fmla="*/ 85 w 169"/>
                <a:gd name="T87" fmla="*/ 103 h 475"/>
                <a:gd name="T88" fmla="*/ 85 w 169"/>
                <a:gd name="T89" fmla="*/ 94 h 475"/>
                <a:gd name="T90" fmla="*/ 85 w 169"/>
                <a:gd name="T91" fmla="*/ 80 h 475"/>
                <a:gd name="T92" fmla="*/ 80 w 169"/>
                <a:gd name="T93" fmla="*/ 69 h 475"/>
                <a:gd name="T94" fmla="*/ 66 w 169"/>
                <a:gd name="T95" fmla="*/ 60 h 475"/>
                <a:gd name="T96" fmla="*/ 59 w 169"/>
                <a:gd name="T97" fmla="*/ 49 h 475"/>
                <a:gd name="T98" fmla="*/ 52 w 169"/>
                <a:gd name="T99" fmla="*/ 30 h 475"/>
                <a:gd name="T100" fmla="*/ 42 w 169"/>
                <a:gd name="T101" fmla="*/ 21 h 475"/>
                <a:gd name="T102" fmla="*/ 39 w 169"/>
                <a:gd name="T103" fmla="*/ 15 h 475"/>
                <a:gd name="T104" fmla="*/ 45 w 169"/>
                <a:gd name="T105" fmla="*/ 5 h 475"/>
                <a:gd name="T106" fmla="*/ 51 w 169"/>
                <a:gd name="T107" fmla="*/ 0 h 475"/>
                <a:gd name="T108" fmla="*/ 68 w 169"/>
                <a:gd name="T109" fmla="*/ 10 h 475"/>
                <a:gd name="T110" fmla="*/ 79 w 169"/>
                <a:gd name="T111" fmla="*/ 11 h 475"/>
                <a:gd name="T112" fmla="*/ 98 w 169"/>
                <a:gd name="T113" fmla="*/ 18 h 475"/>
                <a:gd name="T114" fmla="*/ 111 w 169"/>
                <a:gd name="T115" fmla="*/ 21 h 475"/>
                <a:gd name="T116" fmla="*/ 124 w 169"/>
                <a:gd name="T117" fmla="*/ 28 h 475"/>
                <a:gd name="T118" fmla="*/ 136 w 169"/>
                <a:gd name="T119" fmla="*/ 28 h 475"/>
                <a:gd name="T120" fmla="*/ 141 w 169"/>
                <a:gd name="T121" fmla="*/ 38 h 475"/>
                <a:gd name="T122" fmla="*/ 151 w 169"/>
                <a:gd name="T123" fmla="*/ 49 h 475"/>
                <a:gd name="T124" fmla="*/ 162 w 169"/>
                <a:gd name="T125" fmla="*/ 55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9" h="475">
                  <a:moveTo>
                    <a:pt x="32" y="475"/>
                  </a:moveTo>
                  <a:lnTo>
                    <a:pt x="32" y="475"/>
                  </a:lnTo>
                  <a:lnTo>
                    <a:pt x="32" y="474"/>
                  </a:lnTo>
                  <a:lnTo>
                    <a:pt x="32" y="474"/>
                  </a:lnTo>
                  <a:lnTo>
                    <a:pt x="33" y="473"/>
                  </a:lnTo>
                  <a:lnTo>
                    <a:pt x="35" y="471"/>
                  </a:lnTo>
                  <a:lnTo>
                    <a:pt x="36" y="471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9"/>
                  </a:lnTo>
                  <a:lnTo>
                    <a:pt x="37" y="469"/>
                  </a:lnTo>
                  <a:lnTo>
                    <a:pt x="37" y="468"/>
                  </a:lnTo>
                  <a:lnTo>
                    <a:pt x="36" y="467"/>
                  </a:lnTo>
                  <a:lnTo>
                    <a:pt x="36" y="466"/>
                  </a:lnTo>
                  <a:lnTo>
                    <a:pt x="35" y="465"/>
                  </a:lnTo>
                  <a:lnTo>
                    <a:pt x="35" y="464"/>
                  </a:lnTo>
                  <a:lnTo>
                    <a:pt x="34" y="463"/>
                  </a:lnTo>
                  <a:lnTo>
                    <a:pt x="32" y="460"/>
                  </a:lnTo>
                  <a:lnTo>
                    <a:pt x="31" y="459"/>
                  </a:lnTo>
                  <a:lnTo>
                    <a:pt x="31" y="458"/>
                  </a:lnTo>
                  <a:lnTo>
                    <a:pt x="30" y="457"/>
                  </a:lnTo>
                  <a:lnTo>
                    <a:pt x="30" y="456"/>
                  </a:lnTo>
                  <a:lnTo>
                    <a:pt x="29" y="453"/>
                  </a:lnTo>
                  <a:lnTo>
                    <a:pt x="28" y="449"/>
                  </a:lnTo>
                  <a:lnTo>
                    <a:pt x="27" y="446"/>
                  </a:lnTo>
                  <a:lnTo>
                    <a:pt x="27" y="445"/>
                  </a:lnTo>
                  <a:lnTo>
                    <a:pt x="27" y="443"/>
                  </a:lnTo>
                  <a:lnTo>
                    <a:pt x="27" y="442"/>
                  </a:lnTo>
                  <a:lnTo>
                    <a:pt x="27" y="440"/>
                  </a:lnTo>
                  <a:lnTo>
                    <a:pt x="27" y="439"/>
                  </a:lnTo>
                  <a:lnTo>
                    <a:pt x="27" y="437"/>
                  </a:lnTo>
                  <a:lnTo>
                    <a:pt x="27" y="436"/>
                  </a:lnTo>
                  <a:lnTo>
                    <a:pt x="28" y="435"/>
                  </a:lnTo>
                  <a:lnTo>
                    <a:pt x="30" y="432"/>
                  </a:lnTo>
                  <a:lnTo>
                    <a:pt x="30" y="431"/>
                  </a:lnTo>
                  <a:lnTo>
                    <a:pt x="32" y="429"/>
                  </a:lnTo>
                  <a:lnTo>
                    <a:pt x="32" y="428"/>
                  </a:lnTo>
                  <a:lnTo>
                    <a:pt x="33" y="428"/>
                  </a:lnTo>
                  <a:lnTo>
                    <a:pt x="34" y="427"/>
                  </a:lnTo>
                  <a:lnTo>
                    <a:pt x="34" y="426"/>
                  </a:lnTo>
                  <a:lnTo>
                    <a:pt x="35" y="426"/>
                  </a:lnTo>
                  <a:lnTo>
                    <a:pt x="35" y="425"/>
                  </a:lnTo>
                  <a:lnTo>
                    <a:pt x="36" y="425"/>
                  </a:lnTo>
                  <a:lnTo>
                    <a:pt x="36" y="425"/>
                  </a:lnTo>
                  <a:lnTo>
                    <a:pt x="36" y="424"/>
                  </a:lnTo>
                  <a:lnTo>
                    <a:pt x="35" y="424"/>
                  </a:lnTo>
                  <a:lnTo>
                    <a:pt x="35" y="424"/>
                  </a:lnTo>
                  <a:lnTo>
                    <a:pt x="34" y="424"/>
                  </a:lnTo>
                  <a:lnTo>
                    <a:pt x="32" y="423"/>
                  </a:lnTo>
                  <a:lnTo>
                    <a:pt x="30" y="423"/>
                  </a:lnTo>
                  <a:lnTo>
                    <a:pt x="29" y="423"/>
                  </a:lnTo>
                  <a:lnTo>
                    <a:pt x="27" y="423"/>
                  </a:lnTo>
                  <a:lnTo>
                    <a:pt x="25" y="422"/>
                  </a:lnTo>
                  <a:lnTo>
                    <a:pt x="21" y="421"/>
                  </a:lnTo>
                  <a:lnTo>
                    <a:pt x="18" y="420"/>
                  </a:lnTo>
                  <a:lnTo>
                    <a:pt x="15" y="419"/>
                  </a:lnTo>
                  <a:lnTo>
                    <a:pt x="15" y="419"/>
                  </a:lnTo>
                  <a:lnTo>
                    <a:pt x="14" y="419"/>
                  </a:lnTo>
                  <a:lnTo>
                    <a:pt x="14" y="418"/>
                  </a:lnTo>
                  <a:lnTo>
                    <a:pt x="13" y="418"/>
                  </a:lnTo>
                  <a:lnTo>
                    <a:pt x="13" y="418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3" y="416"/>
                  </a:lnTo>
                  <a:lnTo>
                    <a:pt x="13" y="415"/>
                  </a:lnTo>
                  <a:lnTo>
                    <a:pt x="13" y="413"/>
                  </a:lnTo>
                  <a:lnTo>
                    <a:pt x="13" y="412"/>
                  </a:lnTo>
                  <a:lnTo>
                    <a:pt x="13" y="411"/>
                  </a:lnTo>
                  <a:lnTo>
                    <a:pt x="12" y="408"/>
                  </a:lnTo>
                  <a:lnTo>
                    <a:pt x="12" y="407"/>
                  </a:lnTo>
                  <a:lnTo>
                    <a:pt x="12" y="406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4" y="403"/>
                  </a:lnTo>
                  <a:lnTo>
                    <a:pt x="14" y="402"/>
                  </a:lnTo>
                  <a:lnTo>
                    <a:pt x="15" y="402"/>
                  </a:lnTo>
                  <a:lnTo>
                    <a:pt x="15" y="402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3" y="404"/>
                  </a:lnTo>
                  <a:lnTo>
                    <a:pt x="24" y="404"/>
                  </a:lnTo>
                  <a:lnTo>
                    <a:pt x="25" y="404"/>
                  </a:lnTo>
                  <a:lnTo>
                    <a:pt x="25" y="404"/>
                  </a:lnTo>
                  <a:lnTo>
                    <a:pt x="25" y="403"/>
                  </a:lnTo>
                  <a:lnTo>
                    <a:pt x="26" y="403"/>
                  </a:lnTo>
                  <a:lnTo>
                    <a:pt x="26" y="403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8" y="397"/>
                  </a:lnTo>
                  <a:lnTo>
                    <a:pt x="29" y="396"/>
                  </a:lnTo>
                  <a:lnTo>
                    <a:pt x="29" y="395"/>
                  </a:lnTo>
                  <a:lnTo>
                    <a:pt x="29" y="394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0" y="389"/>
                  </a:lnTo>
                  <a:lnTo>
                    <a:pt x="31" y="386"/>
                  </a:lnTo>
                  <a:lnTo>
                    <a:pt x="32" y="384"/>
                  </a:lnTo>
                  <a:lnTo>
                    <a:pt x="32" y="382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80"/>
                  </a:lnTo>
                  <a:lnTo>
                    <a:pt x="31" y="377"/>
                  </a:lnTo>
                  <a:lnTo>
                    <a:pt x="30" y="375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3"/>
                  </a:lnTo>
                  <a:lnTo>
                    <a:pt x="30" y="371"/>
                  </a:lnTo>
                  <a:lnTo>
                    <a:pt x="30" y="370"/>
                  </a:lnTo>
                  <a:lnTo>
                    <a:pt x="30" y="369"/>
                  </a:lnTo>
                  <a:lnTo>
                    <a:pt x="31" y="368"/>
                  </a:lnTo>
                  <a:lnTo>
                    <a:pt x="31" y="367"/>
                  </a:lnTo>
                  <a:lnTo>
                    <a:pt x="32" y="366"/>
                  </a:lnTo>
                  <a:lnTo>
                    <a:pt x="33" y="365"/>
                  </a:lnTo>
                  <a:lnTo>
                    <a:pt x="33" y="364"/>
                  </a:lnTo>
                  <a:lnTo>
                    <a:pt x="36" y="361"/>
                  </a:lnTo>
                  <a:lnTo>
                    <a:pt x="38" y="358"/>
                  </a:lnTo>
                  <a:lnTo>
                    <a:pt x="39" y="357"/>
                  </a:lnTo>
                  <a:lnTo>
                    <a:pt x="39" y="356"/>
                  </a:lnTo>
                  <a:lnTo>
                    <a:pt x="39" y="356"/>
                  </a:lnTo>
                  <a:lnTo>
                    <a:pt x="40" y="355"/>
                  </a:lnTo>
                  <a:lnTo>
                    <a:pt x="40" y="353"/>
                  </a:lnTo>
                  <a:lnTo>
                    <a:pt x="41" y="352"/>
                  </a:lnTo>
                  <a:lnTo>
                    <a:pt x="41" y="350"/>
                  </a:lnTo>
                  <a:lnTo>
                    <a:pt x="41" y="348"/>
                  </a:lnTo>
                  <a:lnTo>
                    <a:pt x="41" y="347"/>
                  </a:lnTo>
                  <a:lnTo>
                    <a:pt x="41" y="346"/>
                  </a:lnTo>
                  <a:lnTo>
                    <a:pt x="40" y="342"/>
                  </a:lnTo>
                  <a:lnTo>
                    <a:pt x="40" y="341"/>
                  </a:lnTo>
                  <a:lnTo>
                    <a:pt x="40" y="340"/>
                  </a:lnTo>
                  <a:lnTo>
                    <a:pt x="40" y="339"/>
                  </a:lnTo>
                  <a:lnTo>
                    <a:pt x="39" y="338"/>
                  </a:lnTo>
                  <a:lnTo>
                    <a:pt x="39" y="338"/>
                  </a:lnTo>
                  <a:lnTo>
                    <a:pt x="38" y="337"/>
                  </a:lnTo>
                  <a:lnTo>
                    <a:pt x="38" y="336"/>
                  </a:lnTo>
                  <a:lnTo>
                    <a:pt x="37" y="336"/>
                  </a:lnTo>
                  <a:lnTo>
                    <a:pt x="36" y="335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4" y="334"/>
                  </a:lnTo>
                  <a:lnTo>
                    <a:pt x="31" y="334"/>
                  </a:lnTo>
                  <a:lnTo>
                    <a:pt x="30" y="333"/>
                  </a:lnTo>
                  <a:lnTo>
                    <a:pt x="29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7" y="333"/>
                  </a:lnTo>
                  <a:lnTo>
                    <a:pt x="27" y="333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1"/>
                  </a:lnTo>
                  <a:lnTo>
                    <a:pt x="27" y="330"/>
                  </a:lnTo>
                  <a:lnTo>
                    <a:pt x="28" y="328"/>
                  </a:lnTo>
                  <a:lnTo>
                    <a:pt x="28" y="327"/>
                  </a:lnTo>
                  <a:lnTo>
                    <a:pt x="28" y="326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8" y="324"/>
                  </a:lnTo>
                  <a:lnTo>
                    <a:pt x="27" y="321"/>
                  </a:lnTo>
                  <a:lnTo>
                    <a:pt x="26" y="321"/>
                  </a:lnTo>
                  <a:lnTo>
                    <a:pt x="26" y="320"/>
                  </a:lnTo>
                  <a:lnTo>
                    <a:pt x="26" y="317"/>
                  </a:lnTo>
                  <a:lnTo>
                    <a:pt x="26" y="316"/>
                  </a:lnTo>
                  <a:lnTo>
                    <a:pt x="25" y="315"/>
                  </a:lnTo>
                  <a:lnTo>
                    <a:pt x="25" y="314"/>
                  </a:lnTo>
                  <a:lnTo>
                    <a:pt x="24" y="314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7" y="305"/>
                  </a:lnTo>
                  <a:lnTo>
                    <a:pt x="16" y="304"/>
                  </a:lnTo>
                  <a:lnTo>
                    <a:pt x="15" y="302"/>
                  </a:lnTo>
                  <a:lnTo>
                    <a:pt x="15" y="300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12" y="294"/>
                  </a:lnTo>
                  <a:lnTo>
                    <a:pt x="12" y="293"/>
                  </a:lnTo>
                  <a:lnTo>
                    <a:pt x="12" y="292"/>
                  </a:lnTo>
                  <a:lnTo>
                    <a:pt x="11" y="291"/>
                  </a:lnTo>
                  <a:lnTo>
                    <a:pt x="9" y="288"/>
                  </a:lnTo>
                  <a:lnTo>
                    <a:pt x="8" y="287"/>
                  </a:lnTo>
                  <a:lnTo>
                    <a:pt x="8" y="286"/>
                  </a:lnTo>
                  <a:lnTo>
                    <a:pt x="8" y="285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6"/>
                  </a:lnTo>
                  <a:lnTo>
                    <a:pt x="9" y="275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2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8"/>
                  </a:lnTo>
                  <a:lnTo>
                    <a:pt x="13" y="267"/>
                  </a:lnTo>
                  <a:lnTo>
                    <a:pt x="13" y="266"/>
                  </a:lnTo>
                  <a:lnTo>
                    <a:pt x="13" y="266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2" y="260"/>
                  </a:lnTo>
                  <a:lnTo>
                    <a:pt x="12" y="258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7"/>
                  </a:lnTo>
                  <a:lnTo>
                    <a:pt x="10" y="246"/>
                  </a:lnTo>
                  <a:lnTo>
                    <a:pt x="9" y="241"/>
                  </a:lnTo>
                  <a:lnTo>
                    <a:pt x="7" y="236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5" y="230"/>
                  </a:lnTo>
                  <a:lnTo>
                    <a:pt x="4" y="225"/>
                  </a:lnTo>
                  <a:lnTo>
                    <a:pt x="4" y="223"/>
                  </a:lnTo>
                  <a:lnTo>
                    <a:pt x="3" y="220"/>
                  </a:lnTo>
                  <a:lnTo>
                    <a:pt x="1" y="216"/>
                  </a:lnTo>
                  <a:lnTo>
                    <a:pt x="1" y="215"/>
                  </a:lnTo>
                  <a:lnTo>
                    <a:pt x="1" y="214"/>
                  </a:lnTo>
                  <a:lnTo>
                    <a:pt x="0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1" y="210"/>
                  </a:lnTo>
                  <a:lnTo>
                    <a:pt x="1" y="210"/>
                  </a:lnTo>
                  <a:lnTo>
                    <a:pt x="2" y="210"/>
                  </a:lnTo>
                  <a:lnTo>
                    <a:pt x="2" y="210"/>
                  </a:lnTo>
                  <a:lnTo>
                    <a:pt x="3" y="209"/>
                  </a:lnTo>
                  <a:lnTo>
                    <a:pt x="4" y="209"/>
                  </a:lnTo>
                  <a:lnTo>
                    <a:pt x="5" y="209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0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3" y="205"/>
                  </a:lnTo>
                  <a:lnTo>
                    <a:pt x="14" y="204"/>
                  </a:lnTo>
                  <a:lnTo>
                    <a:pt x="15" y="203"/>
                  </a:lnTo>
                  <a:lnTo>
                    <a:pt x="15" y="202"/>
                  </a:lnTo>
                  <a:lnTo>
                    <a:pt x="18" y="199"/>
                  </a:lnTo>
                  <a:lnTo>
                    <a:pt x="19" y="198"/>
                  </a:lnTo>
                  <a:lnTo>
                    <a:pt x="22" y="196"/>
                  </a:lnTo>
                  <a:lnTo>
                    <a:pt x="23" y="194"/>
                  </a:lnTo>
                  <a:lnTo>
                    <a:pt x="24" y="194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2"/>
                  </a:lnTo>
                  <a:lnTo>
                    <a:pt x="26" y="191"/>
                  </a:lnTo>
                  <a:lnTo>
                    <a:pt x="26" y="190"/>
                  </a:lnTo>
                  <a:lnTo>
                    <a:pt x="27" y="189"/>
                  </a:lnTo>
                  <a:lnTo>
                    <a:pt x="27" y="188"/>
                  </a:lnTo>
                  <a:lnTo>
                    <a:pt x="27" y="187"/>
                  </a:lnTo>
                  <a:lnTo>
                    <a:pt x="27" y="185"/>
                  </a:lnTo>
                  <a:lnTo>
                    <a:pt x="26" y="182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0"/>
                  </a:lnTo>
                  <a:lnTo>
                    <a:pt x="27" y="169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6"/>
                  </a:lnTo>
                  <a:lnTo>
                    <a:pt x="27" y="162"/>
                  </a:lnTo>
                  <a:lnTo>
                    <a:pt x="27" y="161"/>
                  </a:lnTo>
                  <a:lnTo>
                    <a:pt x="27" y="160"/>
                  </a:lnTo>
                  <a:lnTo>
                    <a:pt x="27" y="159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30" y="150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4" y="143"/>
                  </a:lnTo>
                  <a:lnTo>
                    <a:pt x="36" y="135"/>
                  </a:lnTo>
                  <a:lnTo>
                    <a:pt x="38" y="132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40" y="125"/>
                  </a:lnTo>
                  <a:lnTo>
                    <a:pt x="40" y="123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4" y="114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9" y="108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5" y="105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3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1"/>
                  </a:lnTo>
                  <a:lnTo>
                    <a:pt x="69" y="100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6" y="99"/>
                  </a:lnTo>
                  <a:lnTo>
                    <a:pt x="79" y="102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1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3"/>
                  </a:lnTo>
                  <a:lnTo>
                    <a:pt x="85" y="103"/>
                  </a:lnTo>
                  <a:lnTo>
                    <a:pt x="85" y="102"/>
                  </a:lnTo>
                  <a:lnTo>
                    <a:pt x="86" y="102"/>
                  </a:lnTo>
                  <a:lnTo>
                    <a:pt x="86" y="101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6" y="97"/>
                  </a:lnTo>
                  <a:lnTo>
                    <a:pt x="85" y="94"/>
                  </a:lnTo>
                  <a:lnTo>
                    <a:pt x="85" y="92"/>
                  </a:lnTo>
                  <a:lnTo>
                    <a:pt x="84" y="91"/>
                  </a:lnTo>
                  <a:lnTo>
                    <a:pt x="84" y="89"/>
                  </a:lnTo>
                  <a:lnTo>
                    <a:pt x="84" y="88"/>
                  </a:lnTo>
                  <a:lnTo>
                    <a:pt x="84" y="87"/>
                  </a:lnTo>
                  <a:lnTo>
                    <a:pt x="85" y="83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5" y="78"/>
                  </a:lnTo>
                  <a:lnTo>
                    <a:pt x="84" y="77"/>
                  </a:lnTo>
                  <a:lnTo>
                    <a:pt x="84" y="75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79" y="68"/>
                  </a:lnTo>
                  <a:lnTo>
                    <a:pt x="78" y="67"/>
                  </a:lnTo>
                  <a:lnTo>
                    <a:pt x="77" y="66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68" y="62"/>
                  </a:lnTo>
                  <a:lnTo>
                    <a:pt x="67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1" y="54"/>
                  </a:lnTo>
                  <a:lnTo>
                    <a:pt x="59" y="49"/>
                  </a:lnTo>
                  <a:lnTo>
                    <a:pt x="57" y="44"/>
                  </a:lnTo>
                  <a:lnTo>
                    <a:pt x="56" y="42"/>
                  </a:lnTo>
                  <a:lnTo>
                    <a:pt x="55" y="40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3" y="32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8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4" y="6"/>
                  </a:lnTo>
                  <a:lnTo>
                    <a:pt x="45" y="5"/>
                  </a:lnTo>
                  <a:lnTo>
                    <a:pt x="46" y="4"/>
                  </a:lnTo>
                  <a:lnTo>
                    <a:pt x="47" y="3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9" y="5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0" y="12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6" y="14"/>
                  </a:lnTo>
                  <a:lnTo>
                    <a:pt x="92" y="16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8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3" y="22"/>
                  </a:lnTo>
                  <a:lnTo>
                    <a:pt x="113" y="23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5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8" y="31"/>
                  </a:lnTo>
                  <a:lnTo>
                    <a:pt x="140" y="35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3" y="40"/>
                  </a:lnTo>
                  <a:lnTo>
                    <a:pt x="144" y="41"/>
                  </a:lnTo>
                  <a:lnTo>
                    <a:pt x="145" y="43"/>
                  </a:lnTo>
                  <a:lnTo>
                    <a:pt x="146" y="44"/>
                  </a:lnTo>
                  <a:lnTo>
                    <a:pt x="147" y="45"/>
                  </a:lnTo>
                  <a:lnTo>
                    <a:pt x="148" y="46"/>
                  </a:lnTo>
                  <a:lnTo>
                    <a:pt x="149" y="47"/>
                  </a:lnTo>
                  <a:lnTo>
                    <a:pt x="151" y="49"/>
                  </a:lnTo>
                  <a:lnTo>
                    <a:pt x="153" y="50"/>
                  </a:lnTo>
                  <a:lnTo>
                    <a:pt x="154" y="51"/>
                  </a:lnTo>
                  <a:lnTo>
                    <a:pt x="155" y="52"/>
                  </a:lnTo>
                  <a:lnTo>
                    <a:pt x="156" y="52"/>
                  </a:lnTo>
                  <a:lnTo>
                    <a:pt x="158" y="53"/>
                  </a:lnTo>
                  <a:lnTo>
                    <a:pt x="160" y="54"/>
                  </a:lnTo>
                  <a:lnTo>
                    <a:pt x="161" y="54"/>
                  </a:lnTo>
                  <a:lnTo>
                    <a:pt x="162" y="55"/>
                  </a:lnTo>
                  <a:lnTo>
                    <a:pt x="163" y="55"/>
                  </a:lnTo>
                  <a:lnTo>
                    <a:pt x="164" y="55"/>
                  </a:lnTo>
                  <a:lnTo>
                    <a:pt x="165" y="55"/>
                  </a:lnTo>
                  <a:lnTo>
                    <a:pt x="166" y="56"/>
                  </a:lnTo>
                  <a:lnTo>
                    <a:pt x="167" y="56"/>
                  </a:lnTo>
                  <a:lnTo>
                    <a:pt x="169" y="56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2" name="Freeform 72">
              <a:extLst>
                <a:ext uri="{FF2B5EF4-FFF2-40B4-BE49-F238E27FC236}">
                  <a16:creationId xmlns:a16="http://schemas.microsoft.com/office/drawing/2014/main" id="{EB8A4CE1-4F2F-E9A5-499E-6AF8624F6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4" y="3551"/>
              <a:ext cx="387" cy="320"/>
            </a:xfrm>
            <a:custGeom>
              <a:avLst/>
              <a:gdLst>
                <a:gd name="T0" fmla="*/ 257 w 387"/>
                <a:gd name="T1" fmla="*/ 7 h 320"/>
                <a:gd name="T2" fmla="*/ 275 w 387"/>
                <a:gd name="T3" fmla="*/ 11 h 320"/>
                <a:gd name="T4" fmla="*/ 308 w 387"/>
                <a:gd name="T5" fmla="*/ 10 h 320"/>
                <a:gd name="T6" fmla="*/ 331 w 387"/>
                <a:gd name="T7" fmla="*/ 19 h 320"/>
                <a:gd name="T8" fmla="*/ 349 w 387"/>
                <a:gd name="T9" fmla="*/ 20 h 320"/>
                <a:gd name="T10" fmla="*/ 366 w 387"/>
                <a:gd name="T11" fmla="*/ 38 h 320"/>
                <a:gd name="T12" fmla="*/ 377 w 387"/>
                <a:gd name="T13" fmla="*/ 55 h 320"/>
                <a:gd name="T14" fmla="*/ 387 w 387"/>
                <a:gd name="T15" fmla="*/ 65 h 320"/>
                <a:gd name="T16" fmla="*/ 379 w 387"/>
                <a:gd name="T17" fmla="*/ 89 h 320"/>
                <a:gd name="T18" fmla="*/ 340 w 387"/>
                <a:gd name="T19" fmla="*/ 108 h 320"/>
                <a:gd name="T20" fmla="*/ 319 w 387"/>
                <a:gd name="T21" fmla="*/ 121 h 320"/>
                <a:gd name="T22" fmla="*/ 312 w 387"/>
                <a:gd name="T23" fmla="*/ 144 h 320"/>
                <a:gd name="T24" fmla="*/ 306 w 387"/>
                <a:gd name="T25" fmla="*/ 171 h 320"/>
                <a:gd name="T26" fmla="*/ 303 w 387"/>
                <a:gd name="T27" fmla="*/ 192 h 320"/>
                <a:gd name="T28" fmla="*/ 296 w 387"/>
                <a:gd name="T29" fmla="*/ 221 h 320"/>
                <a:gd name="T30" fmla="*/ 276 w 387"/>
                <a:gd name="T31" fmla="*/ 237 h 320"/>
                <a:gd name="T32" fmla="*/ 250 w 387"/>
                <a:gd name="T33" fmla="*/ 240 h 320"/>
                <a:gd name="T34" fmla="*/ 242 w 387"/>
                <a:gd name="T35" fmla="*/ 258 h 320"/>
                <a:gd name="T36" fmla="*/ 234 w 387"/>
                <a:gd name="T37" fmla="*/ 282 h 320"/>
                <a:gd name="T38" fmla="*/ 210 w 387"/>
                <a:gd name="T39" fmla="*/ 286 h 320"/>
                <a:gd name="T40" fmla="*/ 192 w 387"/>
                <a:gd name="T41" fmla="*/ 305 h 320"/>
                <a:gd name="T42" fmla="*/ 165 w 387"/>
                <a:gd name="T43" fmla="*/ 320 h 320"/>
                <a:gd name="T44" fmla="*/ 149 w 387"/>
                <a:gd name="T45" fmla="*/ 296 h 320"/>
                <a:gd name="T46" fmla="*/ 133 w 387"/>
                <a:gd name="T47" fmla="*/ 285 h 320"/>
                <a:gd name="T48" fmla="*/ 125 w 387"/>
                <a:gd name="T49" fmla="*/ 274 h 320"/>
                <a:gd name="T50" fmla="*/ 101 w 387"/>
                <a:gd name="T51" fmla="*/ 274 h 320"/>
                <a:gd name="T52" fmla="*/ 83 w 387"/>
                <a:gd name="T53" fmla="*/ 265 h 320"/>
                <a:gd name="T54" fmla="*/ 74 w 387"/>
                <a:gd name="T55" fmla="*/ 255 h 320"/>
                <a:gd name="T56" fmla="*/ 52 w 387"/>
                <a:gd name="T57" fmla="*/ 247 h 320"/>
                <a:gd name="T58" fmla="*/ 39 w 387"/>
                <a:gd name="T59" fmla="*/ 239 h 320"/>
                <a:gd name="T60" fmla="*/ 34 w 387"/>
                <a:gd name="T61" fmla="*/ 226 h 320"/>
                <a:gd name="T62" fmla="*/ 24 w 387"/>
                <a:gd name="T63" fmla="*/ 216 h 320"/>
                <a:gd name="T64" fmla="*/ 2 w 387"/>
                <a:gd name="T65" fmla="*/ 221 h 320"/>
                <a:gd name="T66" fmla="*/ 4 w 387"/>
                <a:gd name="T67" fmla="*/ 209 h 320"/>
                <a:gd name="T68" fmla="*/ 18 w 387"/>
                <a:gd name="T69" fmla="*/ 192 h 320"/>
                <a:gd name="T70" fmla="*/ 24 w 387"/>
                <a:gd name="T71" fmla="*/ 178 h 320"/>
                <a:gd name="T72" fmla="*/ 12 w 387"/>
                <a:gd name="T73" fmla="*/ 175 h 320"/>
                <a:gd name="T74" fmla="*/ 7 w 387"/>
                <a:gd name="T75" fmla="*/ 159 h 320"/>
                <a:gd name="T76" fmla="*/ 6 w 387"/>
                <a:gd name="T77" fmla="*/ 138 h 320"/>
                <a:gd name="T78" fmla="*/ 17 w 387"/>
                <a:gd name="T79" fmla="*/ 125 h 320"/>
                <a:gd name="T80" fmla="*/ 39 w 387"/>
                <a:gd name="T81" fmla="*/ 119 h 320"/>
                <a:gd name="T82" fmla="*/ 54 w 387"/>
                <a:gd name="T83" fmla="*/ 110 h 320"/>
                <a:gd name="T84" fmla="*/ 67 w 387"/>
                <a:gd name="T85" fmla="*/ 94 h 320"/>
                <a:gd name="T86" fmla="*/ 64 w 387"/>
                <a:gd name="T87" fmla="*/ 76 h 320"/>
                <a:gd name="T88" fmla="*/ 73 w 387"/>
                <a:gd name="T89" fmla="*/ 66 h 320"/>
                <a:gd name="T90" fmla="*/ 78 w 387"/>
                <a:gd name="T91" fmla="*/ 77 h 320"/>
                <a:gd name="T92" fmla="*/ 97 w 387"/>
                <a:gd name="T93" fmla="*/ 81 h 320"/>
                <a:gd name="T94" fmla="*/ 111 w 387"/>
                <a:gd name="T95" fmla="*/ 83 h 320"/>
                <a:gd name="T96" fmla="*/ 117 w 387"/>
                <a:gd name="T97" fmla="*/ 69 h 320"/>
                <a:gd name="T98" fmla="*/ 137 w 387"/>
                <a:gd name="T99" fmla="*/ 66 h 320"/>
                <a:gd name="T100" fmla="*/ 150 w 387"/>
                <a:gd name="T101" fmla="*/ 67 h 320"/>
                <a:gd name="T102" fmla="*/ 154 w 387"/>
                <a:gd name="T103" fmla="*/ 56 h 320"/>
                <a:gd name="T104" fmla="*/ 153 w 387"/>
                <a:gd name="T105" fmla="*/ 46 h 320"/>
                <a:gd name="T106" fmla="*/ 162 w 387"/>
                <a:gd name="T107" fmla="*/ 45 h 320"/>
                <a:gd name="T108" fmla="*/ 174 w 387"/>
                <a:gd name="T109" fmla="*/ 44 h 320"/>
                <a:gd name="T110" fmla="*/ 192 w 387"/>
                <a:gd name="T111" fmla="*/ 47 h 320"/>
                <a:gd name="T112" fmla="*/ 199 w 387"/>
                <a:gd name="T113" fmla="*/ 28 h 320"/>
                <a:gd name="T114" fmla="*/ 211 w 387"/>
                <a:gd name="T115" fmla="*/ 15 h 320"/>
                <a:gd name="T116" fmla="*/ 225 w 387"/>
                <a:gd name="T117" fmla="*/ 12 h 320"/>
                <a:gd name="T118" fmla="*/ 234 w 387"/>
                <a:gd name="T119" fmla="*/ 4 h 320"/>
                <a:gd name="T120" fmla="*/ 240 w 387"/>
                <a:gd name="T121" fmla="*/ 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87" h="320">
                  <a:moveTo>
                    <a:pt x="241" y="0"/>
                  </a:moveTo>
                  <a:lnTo>
                    <a:pt x="243" y="0"/>
                  </a:lnTo>
                  <a:lnTo>
                    <a:pt x="244" y="0"/>
                  </a:lnTo>
                  <a:lnTo>
                    <a:pt x="246" y="0"/>
                  </a:lnTo>
                  <a:lnTo>
                    <a:pt x="248" y="1"/>
                  </a:lnTo>
                  <a:lnTo>
                    <a:pt x="249" y="1"/>
                  </a:lnTo>
                  <a:lnTo>
                    <a:pt x="250" y="2"/>
                  </a:lnTo>
                  <a:lnTo>
                    <a:pt x="251" y="2"/>
                  </a:lnTo>
                  <a:lnTo>
                    <a:pt x="253" y="3"/>
                  </a:lnTo>
                  <a:lnTo>
                    <a:pt x="254" y="4"/>
                  </a:lnTo>
                  <a:lnTo>
                    <a:pt x="255" y="5"/>
                  </a:lnTo>
                  <a:lnTo>
                    <a:pt x="256" y="6"/>
                  </a:lnTo>
                  <a:lnTo>
                    <a:pt x="256" y="7"/>
                  </a:lnTo>
                  <a:lnTo>
                    <a:pt x="257" y="7"/>
                  </a:lnTo>
                  <a:lnTo>
                    <a:pt x="258" y="10"/>
                  </a:lnTo>
                  <a:lnTo>
                    <a:pt x="259" y="11"/>
                  </a:lnTo>
                  <a:lnTo>
                    <a:pt x="259" y="12"/>
                  </a:lnTo>
                  <a:lnTo>
                    <a:pt x="260" y="12"/>
                  </a:lnTo>
                  <a:lnTo>
                    <a:pt x="260" y="12"/>
                  </a:lnTo>
                  <a:lnTo>
                    <a:pt x="261" y="13"/>
                  </a:lnTo>
                  <a:lnTo>
                    <a:pt x="262" y="13"/>
                  </a:lnTo>
                  <a:lnTo>
                    <a:pt x="262" y="13"/>
                  </a:lnTo>
                  <a:lnTo>
                    <a:pt x="263" y="14"/>
                  </a:lnTo>
                  <a:lnTo>
                    <a:pt x="264" y="13"/>
                  </a:lnTo>
                  <a:lnTo>
                    <a:pt x="265" y="13"/>
                  </a:lnTo>
                  <a:lnTo>
                    <a:pt x="267" y="13"/>
                  </a:lnTo>
                  <a:lnTo>
                    <a:pt x="268" y="13"/>
                  </a:lnTo>
                  <a:lnTo>
                    <a:pt x="275" y="11"/>
                  </a:lnTo>
                  <a:lnTo>
                    <a:pt x="279" y="10"/>
                  </a:lnTo>
                  <a:lnTo>
                    <a:pt x="282" y="9"/>
                  </a:lnTo>
                  <a:lnTo>
                    <a:pt x="286" y="8"/>
                  </a:lnTo>
                  <a:lnTo>
                    <a:pt x="288" y="8"/>
                  </a:lnTo>
                  <a:lnTo>
                    <a:pt x="291" y="8"/>
                  </a:lnTo>
                  <a:lnTo>
                    <a:pt x="294" y="8"/>
                  </a:lnTo>
                  <a:lnTo>
                    <a:pt x="296" y="8"/>
                  </a:lnTo>
                  <a:lnTo>
                    <a:pt x="297" y="8"/>
                  </a:lnTo>
                  <a:lnTo>
                    <a:pt x="298" y="8"/>
                  </a:lnTo>
                  <a:lnTo>
                    <a:pt x="302" y="9"/>
                  </a:lnTo>
                  <a:lnTo>
                    <a:pt x="303" y="9"/>
                  </a:lnTo>
                  <a:lnTo>
                    <a:pt x="304" y="9"/>
                  </a:lnTo>
                  <a:lnTo>
                    <a:pt x="307" y="9"/>
                  </a:lnTo>
                  <a:lnTo>
                    <a:pt x="308" y="10"/>
                  </a:lnTo>
                  <a:lnTo>
                    <a:pt x="309" y="10"/>
                  </a:lnTo>
                  <a:lnTo>
                    <a:pt x="310" y="10"/>
                  </a:lnTo>
                  <a:lnTo>
                    <a:pt x="311" y="11"/>
                  </a:lnTo>
                  <a:lnTo>
                    <a:pt x="312" y="11"/>
                  </a:lnTo>
                  <a:lnTo>
                    <a:pt x="313" y="12"/>
                  </a:lnTo>
                  <a:lnTo>
                    <a:pt x="317" y="15"/>
                  </a:lnTo>
                  <a:lnTo>
                    <a:pt x="319" y="16"/>
                  </a:lnTo>
                  <a:lnTo>
                    <a:pt x="320" y="16"/>
                  </a:lnTo>
                  <a:lnTo>
                    <a:pt x="320" y="17"/>
                  </a:lnTo>
                  <a:lnTo>
                    <a:pt x="322" y="17"/>
                  </a:lnTo>
                  <a:lnTo>
                    <a:pt x="323" y="18"/>
                  </a:lnTo>
                  <a:lnTo>
                    <a:pt x="324" y="18"/>
                  </a:lnTo>
                  <a:lnTo>
                    <a:pt x="330" y="19"/>
                  </a:lnTo>
                  <a:lnTo>
                    <a:pt x="331" y="19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7" y="20"/>
                  </a:lnTo>
                  <a:lnTo>
                    <a:pt x="338" y="20"/>
                  </a:lnTo>
                  <a:lnTo>
                    <a:pt x="339" y="19"/>
                  </a:lnTo>
                  <a:lnTo>
                    <a:pt x="342" y="19"/>
                  </a:lnTo>
                  <a:lnTo>
                    <a:pt x="344" y="18"/>
                  </a:lnTo>
                  <a:lnTo>
                    <a:pt x="344" y="18"/>
                  </a:lnTo>
                  <a:lnTo>
                    <a:pt x="345" y="18"/>
                  </a:lnTo>
                  <a:lnTo>
                    <a:pt x="346" y="18"/>
                  </a:lnTo>
                  <a:lnTo>
                    <a:pt x="347" y="19"/>
                  </a:lnTo>
                  <a:lnTo>
                    <a:pt x="348" y="19"/>
                  </a:lnTo>
                  <a:lnTo>
                    <a:pt x="349" y="20"/>
                  </a:lnTo>
                  <a:lnTo>
                    <a:pt x="350" y="20"/>
                  </a:lnTo>
                  <a:lnTo>
                    <a:pt x="351" y="21"/>
                  </a:lnTo>
                  <a:lnTo>
                    <a:pt x="352" y="21"/>
                  </a:lnTo>
                  <a:lnTo>
                    <a:pt x="352" y="22"/>
                  </a:lnTo>
                  <a:lnTo>
                    <a:pt x="353" y="23"/>
                  </a:lnTo>
                  <a:lnTo>
                    <a:pt x="355" y="27"/>
                  </a:lnTo>
                  <a:lnTo>
                    <a:pt x="356" y="29"/>
                  </a:lnTo>
                  <a:lnTo>
                    <a:pt x="357" y="30"/>
                  </a:lnTo>
                  <a:lnTo>
                    <a:pt x="358" y="31"/>
                  </a:lnTo>
                  <a:lnTo>
                    <a:pt x="358" y="32"/>
                  </a:lnTo>
                  <a:lnTo>
                    <a:pt x="359" y="33"/>
                  </a:lnTo>
                  <a:lnTo>
                    <a:pt x="360" y="34"/>
                  </a:lnTo>
                  <a:lnTo>
                    <a:pt x="361" y="35"/>
                  </a:lnTo>
                  <a:lnTo>
                    <a:pt x="366" y="38"/>
                  </a:lnTo>
                  <a:lnTo>
                    <a:pt x="367" y="39"/>
                  </a:lnTo>
                  <a:lnTo>
                    <a:pt x="368" y="40"/>
                  </a:lnTo>
                  <a:lnTo>
                    <a:pt x="369" y="40"/>
                  </a:lnTo>
                  <a:lnTo>
                    <a:pt x="370" y="41"/>
                  </a:lnTo>
                  <a:lnTo>
                    <a:pt x="372" y="44"/>
                  </a:lnTo>
                  <a:lnTo>
                    <a:pt x="372" y="45"/>
                  </a:lnTo>
                  <a:lnTo>
                    <a:pt x="373" y="46"/>
                  </a:lnTo>
                  <a:lnTo>
                    <a:pt x="373" y="46"/>
                  </a:lnTo>
                  <a:lnTo>
                    <a:pt x="373" y="47"/>
                  </a:lnTo>
                  <a:lnTo>
                    <a:pt x="375" y="51"/>
                  </a:lnTo>
                  <a:lnTo>
                    <a:pt x="376" y="53"/>
                  </a:lnTo>
                  <a:lnTo>
                    <a:pt x="376" y="53"/>
                  </a:lnTo>
                  <a:lnTo>
                    <a:pt x="377" y="54"/>
                  </a:lnTo>
                  <a:lnTo>
                    <a:pt x="377" y="55"/>
                  </a:lnTo>
                  <a:lnTo>
                    <a:pt x="378" y="55"/>
                  </a:lnTo>
                  <a:lnTo>
                    <a:pt x="378" y="56"/>
                  </a:lnTo>
                  <a:lnTo>
                    <a:pt x="379" y="57"/>
                  </a:lnTo>
                  <a:lnTo>
                    <a:pt x="380" y="57"/>
                  </a:lnTo>
                  <a:lnTo>
                    <a:pt x="381" y="58"/>
                  </a:lnTo>
                  <a:lnTo>
                    <a:pt x="382" y="59"/>
                  </a:lnTo>
                  <a:lnTo>
                    <a:pt x="383" y="59"/>
                  </a:lnTo>
                  <a:lnTo>
                    <a:pt x="384" y="60"/>
                  </a:lnTo>
                  <a:lnTo>
                    <a:pt x="384" y="60"/>
                  </a:lnTo>
                  <a:lnTo>
                    <a:pt x="385" y="60"/>
                  </a:lnTo>
                  <a:lnTo>
                    <a:pt x="385" y="60"/>
                  </a:lnTo>
                  <a:lnTo>
                    <a:pt x="385" y="61"/>
                  </a:lnTo>
                  <a:lnTo>
                    <a:pt x="386" y="63"/>
                  </a:lnTo>
                  <a:lnTo>
                    <a:pt x="387" y="65"/>
                  </a:lnTo>
                  <a:lnTo>
                    <a:pt x="387" y="67"/>
                  </a:lnTo>
                  <a:lnTo>
                    <a:pt x="387" y="68"/>
                  </a:lnTo>
                  <a:lnTo>
                    <a:pt x="387" y="70"/>
                  </a:lnTo>
                  <a:lnTo>
                    <a:pt x="387" y="71"/>
                  </a:lnTo>
                  <a:lnTo>
                    <a:pt x="387" y="73"/>
                  </a:lnTo>
                  <a:lnTo>
                    <a:pt x="387" y="75"/>
                  </a:lnTo>
                  <a:lnTo>
                    <a:pt x="386" y="76"/>
                  </a:lnTo>
                  <a:lnTo>
                    <a:pt x="386" y="78"/>
                  </a:lnTo>
                  <a:lnTo>
                    <a:pt x="385" y="80"/>
                  </a:lnTo>
                  <a:lnTo>
                    <a:pt x="384" y="81"/>
                  </a:lnTo>
                  <a:lnTo>
                    <a:pt x="383" y="82"/>
                  </a:lnTo>
                  <a:lnTo>
                    <a:pt x="383" y="84"/>
                  </a:lnTo>
                  <a:lnTo>
                    <a:pt x="380" y="87"/>
                  </a:lnTo>
                  <a:lnTo>
                    <a:pt x="379" y="89"/>
                  </a:lnTo>
                  <a:lnTo>
                    <a:pt x="378" y="90"/>
                  </a:lnTo>
                  <a:lnTo>
                    <a:pt x="376" y="91"/>
                  </a:lnTo>
                  <a:lnTo>
                    <a:pt x="375" y="92"/>
                  </a:lnTo>
                  <a:lnTo>
                    <a:pt x="374" y="93"/>
                  </a:lnTo>
                  <a:lnTo>
                    <a:pt x="372" y="94"/>
                  </a:lnTo>
                  <a:lnTo>
                    <a:pt x="370" y="95"/>
                  </a:lnTo>
                  <a:lnTo>
                    <a:pt x="364" y="98"/>
                  </a:lnTo>
                  <a:lnTo>
                    <a:pt x="358" y="101"/>
                  </a:lnTo>
                  <a:lnTo>
                    <a:pt x="355" y="102"/>
                  </a:lnTo>
                  <a:lnTo>
                    <a:pt x="353" y="103"/>
                  </a:lnTo>
                  <a:lnTo>
                    <a:pt x="351" y="104"/>
                  </a:lnTo>
                  <a:lnTo>
                    <a:pt x="345" y="106"/>
                  </a:lnTo>
                  <a:lnTo>
                    <a:pt x="342" y="107"/>
                  </a:lnTo>
                  <a:lnTo>
                    <a:pt x="340" y="108"/>
                  </a:lnTo>
                  <a:lnTo>
                    <a:pt x="339" y="108"/>
                  </a:lnTo>
                  <a:lnTo>
                    <a:pt x="332" y="109"/>
                  </a:lnTo>
                  <a:lnTo>
                    <a:pt x="330" y="110"/>
                  </a:lnTo>
                  <a:lnTo>
                    <a:pt x="328" y="111"/>
                  </a:lnTo>
                  <a:lnTo>
                    <a:pt x="327" y="111"/>
                  </a:lnTo>
                  <a:lnTo>
                    <a:pt x="326" y="112"/>
                  </a:lnTo>
                  <a:lnTo>
                    <a:pt x="325" y="112"/>
                  </a:lnTo>
                  <a:lnTo>
                    <a:pt x="324" y="113"/>
                  </a:lnTo>
                  <a:lnTo>
                    <a:pt x="323" y="114"/>
                  </a:lnTo>
                  <a:lnTo>
                    <a:pt x="323" y="114"/>
                  </a:lnTo>
                  <a:lnTo>
                    <a:pt x="322" y="115"/>
                  </a:lnTo>
                  <a:lnTo>
                    <a:pt x="321" y="117"/>
                  </a:lnTo>
                  <a:lnTo>
                    <a:pt x="320" y="120"/>
                  </a:lnTo>
                  <a:lnTo>
                    <a:pt x="319" y="121"/>
                  </a:lnTo>
                  <a:lnTo>
                    <a:pt x="318" y="123"/>
                  </a:lnTo>
                  <a:lnTo>
                    <a:pt x="315" y="126"/>
                  </a:lnTo>
                  <a:lnTo>
                    <a:pt x="314" y="128"/>
                  </a:lnTo>
                  <a:lnTo>
                    <a:pt x="313" y="130"/>
                  </a:lnTo>
                  <a:lnTo>
                    <a:pt x="312" y="131"/>
                  </a:lnTo>
                  <a:lnTo>
                    <a:pt x="312" y="133"/>
                  </a:lnTo>
                  <a:lnTo>
                    <a:pt x="311" y="134"/>
                  </a:lnTo>
                  <a:lnTo>
                    <a:pt x="311" y="135"/>
                  </a:lnTo>
                  <a:lnTo>
                    <a:pt x="311" y="137"/>
                  </a:lnTo>
                  <a:lnTo>
                    <a:pt x="311" y="138"/>
                  </a:lnTo>
                  <a:lnTo>
                    <a:pt x="311" y="139"/>
                  </a:lnTo>
                  <a:lnTo>
                    <a:pt x="312" y="142"/>
                  </a:lnTo>
                  <a:lnTo>
                    <a:pt x="312" y="143"/>
                  </a:lnTo>
                  <a:lnTo>
                    <a:pt x="312" y="144"/>
                  </a:lnTo>
                  <a:lnTo>
                    <a:pt x="312" y="145"/>
                  </a:lnTo>
                  <a:lnTo>
                    <a:pt x="311" y="146"/>
                  </a:lnTo>
                  <a:lnTo>
                    <a:pt x="311" y="149"/>
                  </a:lnTo>
                  <a:lnTo>
                    <a:pt x="311" y="151"/>
                  </a:lnTo>
                  <a:lnTo>
                    <a:pt x="310" y="152"/>
                  </a:lnTo>
                  <a:lnTo>
                    <a:pt x="310" y="154"/>
                  </a:lnTo>
                  <a:lnTo>
                    <a:pt x="308" y="158"/>
                  </a:lnTo>
                  <a:lnTo>
                    <a:pt x="308" y="160"/>
                  </a:lnTo>
                  <a:lnTo>
                    <a:pt x="308" y="161"/>
                  </a:lnTo>
                  <a:lnTo>
                    <a:pt x="307" y="162"/>
                  </a:lnTo>
                  <a:lnTo>
                    <a:pt x="307" y="164"/>
                  </a:lnTo>
                  <a:lnTo>
                    <a:pt x="307" y="166"/>
                  </a:lnTo>
                  <a:lnTo>
                    <a:pt x="306" y="170"/>
                  </a:lnTo>
                  <a:lnTo>
                    <a:pt x="306" y="171"/>
                  </a:lnTo>
                  <a:lnTo>
                    <a:pt x="306" y="172"/>
                  </a:lnTo>
                  <a:lnTo>
                    <a:pt x="306" y="173"/>
                  </a:lnTo>
                  <a:lnTo>
                    <a:pt x="306" y="174"/>
                  </a:lnTo>
                  <a:lnTo>
                    <a:pt x="304" y="177"/>
                  </a:lnTo>
                  <a:lnTo>
                    <a:pt x="304" y="178"/>
                  </a:lnTo>
                  <a:lnTo>
                    <a:pt x="303" y="182"/>
                  </a:lnTo>
                  <a:lnTo>
                    <a:pt x="302" y="183"/>
                  </a:lnTo>
                  <a:lnTo>
                    <a:pt x="302" y="184"/>
                  </a:lnTo>
                  <a:lnTo>
                    <a:pt x="302" y="185"/>
                  </a:lnTo>
                  <a:lnTo>
                    <a:pt x="302" y="186"/>
                  </a:lnTo>
                  <a:lnTo>
                    <a:pt x="302" y="187"/>
                  </a:lnTo>
                  <a:lnTo>
                    <a:pt x="303" y="190"/>
                  </a:lnTo>
                  <a:lnTo>
                    <a:pt x="303" y="191"/>
                  </a:lnTo>
                  <a:lnTo>
                    <a:pt x="303" y="192"/>
                  </a:lnTo>
                  <a:lnTo>
                    <a:pt x="303" y="192"/>
                  </a:lnTo>
                  <a:lnTo>
                    <a:pt x="303" y="196"/>
                  </a:lnTo>
                  <a:lnTo>
                    <a:pt x="303" y="201"/>
                  </a:lnTo>
                  <a:lnTo>
                    <a:pt x="302" y="202"/>
                  </a:lnTo>
                  <a:lnTo>
                    <a:pt x="302" y="204"/>
                  </a:lnTo>
                  <a:lnTo>
                    <a:pt x="302" y="206"/>
                  </a:lnTo>
                  <a:lnTo>
                    <a:pt x="302" y="206"/>
                  </a:lnTo>
                  <a:lnTo>
                    <a:pt x="301" y="208"/>
                  </a:lnTo>
                  <a:lnTo>
                    <a:pt x="301" y="209"/>
                  </a:lnTo>
                  <a:lnTo>
                    <a:pt x="301" y="211"/>
                  </a:lnTo>
                  <a:lnTo>
                    <a:pt x="299" y="213"/>
                  </a:lnTo>
                  <a:lnTo>
                    <a:pt x="298" y="217"/>
                  </a:lnTo>
                  <a:lnTo>
                    <a:pt x="297" y="220"/>
                  </a:lnTo>
                  <a:lnTo>
                    <a:pt x="296" y="221"/>
                  </a:lnTo>
                  <a:lnTo>
                    <a:pt x="296" y="222"/>
                  </a:lnTo>
                  <a:lnTo>
                    <a:pt x="294" y="225"/>
                  </a:lnTo>
                  <a:lnTo>
                    <a:pt x="293" y="227"/>
                  </a:lnTo>
                  <a:lnTo>
                    <a:pt x="292" y="228"/>
                  </a:lnTo>
                  <a:lnTo>
                    <a:pt x="291" y="230"/>
                  </a:lnTo>
                  <a:lnTo>
                    <a:pt x="289" y="231"/>
                  </a:lnTo>
                  <a:lnTo>
                    <a:pt x="287" y="232"/>
                  </a:lnTo>
                  <a:lnTo>
                    <a:pt x="286" y="233"/>
                  </a:lnTo>
                  <a:lnTo>
                    <a:pt x="285" y="234"/>
                  </a:lnTo>
                  <a:lnTo>
                    <a:pt x="282" y="235"/>
                  </a:lnTo>
                  <a:lnTo>
                    <a:pt x="281" y="235"/>
                  </a:lnTo>
                  <a:lnTo>
                    <a:pt x="278" y="236"/>
                  </a:lnTo>
                  <a:lnTo>
                    <a:pt x="277" y="237"/>
                  </a:lnTo>
                  <a:lnTo>
                    <a:pt x="276" y="237"/>
                  </a:lnTo>
                  <a:lnTo>
                    <a:pt x="275" y="237"/>
                  </a:lnTo>
                  <a:lnTo>
                    <a:pt x="274" y="237"/>
                  </a:lnTo>
                  <a:lnTo>
                    <a:pt x="272" y="237"/>
                  </a:lnTo>
                  <a:lnTo>
                    <a:pt x="268" y="237"/>
                  </a:lnTo>
                  <a:lnTo>
                    <a:pt x="266" y="237"/>
                  </a:lnTo>
                  <a:lnTo>
                    <a:pt x="265" y="237"/>
                  </a:lnTo>
                  <a:lnTo>
                    <a:pt x="259" y="237"/>
                  </a:lnTo>
                  <a:lnTo>
                    <a:pt x="257" y="238"/>
                  </a:lnTo>
                  <a:lnTo>
                    <a:pt x="256" y="238"/>
                  </a:lnTo>
                  <a:lnTo>
                    <a:pt x="254" y="238"/>
                  </a:lnTo>
                  <a:lnTo>
                    <a:pt x="253" y="239"/>
                  </a:lnTo>
                  <a:lnTo>
                    <a:pt x="252" y="239"/>
                  </a:lnTo>
                  <a:lnTo>
                    <a:pt x="251" y="239"/>
                  </a:lnTo>
                  <a:lnTo>
                    <a:pt x="250" y="240"/>
                  </a:lnTo>
                  <a:lnTo>
                    <a:pt x="250" y="240"/>
                  </a:lnTo>
                  <a:lnTo>
                    <a:pt x="249" y="240"/>
                  </a:lnTo>
                  <a:lnTo>
                    <a:pt x="248" y="241"/>
                  </a:lnTo>
                  <a:lnTo>
                    <a:pt x="248" y="242"/>
                  </a:lnTo>
                  <a:lnTo>
                    <a:pt x="247" y="242"/>
                  </a:lnTo>
                  <a:lnTo>
                    <a:pt x="246" y="243"/>
                  </a:lnTo>
                  <a:lnTo>
                    <a:pt x="246" y="244"/>
                  </a:lnTo>
                  <a:lnTo>
                    <a:pt x="245" y="245"/>
                  </a:lnTo>
                  <a:lnTo>
                    <a:pt x="245" y="246"/>
                  </a:lnTo>
                  <a:lnTo>
                    <a:pt x="244" y="247"/>
                  </a:lnTo>
                  <a:lnTo>
                    <a:pt x="244" y="249"/>
                  </a:lnTo>
                  <a:lnTo>
                    <a:pt x="243" y="252"/>
                  </a:lnTo>
                  <a:lnTo>
                    <a:pt x="242" y="256"/>
                  </a:lnTo>
                  <a:lnTo>
                    <a:pt x="242" y="258"/>
                  </a:lnTo>
                  <a:lnTo>
                    <a:pt x="241" y="259"/>
                  </a:lnTo>
                  <a:lnTo>
                    <a:pt x="241" y="261"/>
                  </a:lnTo>
                  <a:lnTo>
                    <a:pt x="240" y="266"/>
                  </a:lnTo>
                  <a:lnTo>
                    <a:pt x="240" y="267"/>
                  </a:lnTo>
                  <a:lnTo>
                    <a:pt x="240" y="269"/>
                  </a:lnTo>
                  <a:lnTo>
                    <a:pt x="239" y="271"/>
                  </a:lnTo>
                  <a:lnTo>
                    <a:pt x="239" y="273"/>
                  </a:lnTo>
                  <a:lnTo>
                    <a:pt x="238" y="275"/>
                  </a:lnTo>
                  <a:lnTo>
                    <a:pt x="238" y="277"/>
                  </a:lnTo>
                  <a:lnTo>
                    <a:pt x="237" y="278"/>
                  </a:lnTo>
                  <a:lnTo>
                    <a:pt x="236" y="279"/>
                  </a:lnTo>
                  <a:lnTo>
                    <a:pt x="236" y="280"/>
                  </a:lnTo>
                  <a:lnTo>
                    <a:pt x="235" y="281"/>
                  </a:lnTo>
                  <a:lnTo>
                    <a:pt x="234" y="282"/>
                  </a:lnTo>
                  <a:lnTo>
                    <a:pt x="234" y="282"/>
                  </a:lnTo>
                  <a:lnTo>
                    <a:pt x="233" y="282"/>
                  </a:lnTo>
                  <a:lnTo>
                    <a:pt x="233" y="283"/>
                  </a:lnTo>
                  <a:lnTo>
                    <a:pt x="232" y="283"/>
                  </a:lnTo>
                  <a:lnTo>
                    <a:pt x="231" y="284"/>
                  </a:lnTo>
                  <a:lnTo>
                    <a:pt x="230" y="284"/>
                  </a:lnTo>
                  <a:lnTo>
                    <a:pt x="229" y="284"/>
                  </a:lnTo>
                  <a:lnTo>
                    <a:pt x="228" y="284"/>
                  </a:lnTo>
                  <a:lnTo>
                    <a:pt x="219" y="284"/>
                  </a:lnTo>
                  <a:lnTo>
                    <a:pt x="217" y="285"/>
                  </a:lnTo>
                  <a:lnTo>
                    <a:pt x="216" y="285"/>
                  </a:lnTo>
                  <a:lnTo>
                    <a:pt x="213" y="285"/>
                  </a:lnTo>
                  <a:lnTo>
                    <a:pt x="211" y="286"/>
                  </a:lnTo>
                  <a:lnTo>
                    <a:pt x="210" y="286"/>
                  </a:lnTo>
                  <a:lnTo>
                    <a:pt x="209" y="286"/>
                  </a:lnTo>
                  <a:lnTo>
                    <a:pt x="208" y="287"/>
                  </a:lnTo>
                  <a:lnTo>
                    <a:pt x="208" y="287"/>
                  </a:lnTo>
                  <a:lnTo>
                    <a:pt x="207" y="287"/>
                  </a:lnTo>
                  <a:lnTo>
                    <a:pt x="206" y="288"/>
                  </a:lnTo>
                  <a:lnTo>
                    <a:pt x="205" y="289"/>
                  </a:lnTo>
                  <a:lnTo>
                    <a:pt x="202" y="292"/>
                  </a:lnTo>
                  <a:lnTo>
                    <a:pt x="200" y="294"/>
                  </a:lnTo>
                  <a:lnTo>
                    <a:pt x="199" y="295"/>
                  </a:lnTo>
                  <a:lnTo>
                    <a:pt x="197" y="297"/>
                  </a:lnTo>
                  <a:lnTo>
                    <a:pt x="196" y="298"/>
                  </a:lnTo>
                  <a:lnTo>
                    <a:pt x="195" y="301"/>
                  </a:lnTo>
                  <a:lnTo>
                    <a:pt x="193" y="304"/>
                  </a:lnTo>
                  <a:lnTo>
                    <a:pt x="192" y="305"/>
                  </a:lnTo>
                  <a:lnTo>
                    <a:pt x="191" y="306"/>
                  </a:lnTo>
                  <a:lnTo>
                    <a:pt x="190" y="308"/>
                  </a:lnTo>
                  <a:lnTo>
                    <a:pt x="187" y="311"/>
                  </a:lnTo>
                  <a:lnTo>
                    <a:pt x="185" y="312"/>
                  </a:lnTo>
                  <a:lnTo>
                    <a:pt x="184" y="313"/>
                  </a:lnTo>
                  <a:lnTo>
                    <a:pt x="183" y="314"/>
                  </a:lnTo>
                  <a:lnTo>
                    <a:pt x="181" y="315"/>
                  </a:lnTo>
                  <a:lnTo>
                    <a:pt x="179" y="316"/>
                  </a:lnTo>
                  <a:lnTo>
                    <a:pt x="177" y="317"/>
                  </a:lnTo>
                  <a:lnTo>
                    <a:pt x="173" y="318"/>
                  </a:lnTo>
                  <a:lnTo>
                    <a:pt x="170" y="319"/>
                  </a:lnTo>
                  <a:lnTo>
                    <a:pt x="168" y="319"/>
                  </a:lnTo>
                  <a:lnTo>
                    <a:pt x="165" y="320"/>
                  </a:lnTo>
                  <a:lnTo>
                    <a:pt x="165" y="320"/>
                  </a:lnTo>
                  <a:lnTo>
                    <a:pt x="165" y="319"/>
                  </a:lnTo>
                  <a:lnTo>
                    <a:pt x="164" y="318"/>
                  </a:lnTo>
                  <a:lnTo>
                    <a:pt x="164" y="316"/>
                  </a:lnTo>
                  <a:lnTo>
                    <a:pt x="162" y="313"/>
                  </a:lnTo>
                  <a:lnTo>
                    <a:pt x="162" y="312"/>
                  </a:lnTo>
                  <a:lnTo>
                    <a:pt x="161" y="311"/>
                  </a:lnTo>
                  <a:lnTo>
                    <a:pt x="161" y="310"/>
                  </a:lnTo>
                  <a:lnTo>
                    <a:pt x="158" y="307"/>
                  </a:lnTo>
                  <a:lnTo>
                    <a:pt x="155" y="302"/>
                  </a:lnTo>
                  <a:lnTo>
                    <a:pt x="154" y="300"/>
                  </a:lnTo>
                  <a:lnTo>
                    <a:pt x="153" y="299"/>
                  </a:lnTo>
                  <a:lnTo>
                    <a:pt x="151" y="298"/>
                  </a:lnTo>
                  <a:lnTo>
                    <a:pt x="150" y="297"/>
                  </a:lnTo>
                  <a:lnTo>
                    <a:pt x="149" y="296"/>
                  </a:lnTo>
                  <a:lnTo>
                    <a:pt x="148" y="295"/>
                  </a:lnTo>
                  <a:lnTo>
                    <a:pt x="147" y="294"/>
                  </a:lnTo>
                  <a:lnTo>
                    <a:pt x="140" y="291"/>
                  </a:lnTo>
                  <a:lnTo>
                    <a:pt x="139" y="291"/>
                  </a:lnTo>
                  <a:lnTo>
                    <a:pt x="137" y="290"/>
                  </a:lnTo>
                  <a:lnTo>
                    <a:pt x="136" y="289"/>
                  </a:lnTo>
                  <a:lnTo>
                    <a:pt x="135" y="289"/>
                  </a:lnTo>
                  <a:lnTo>
                    <a:pt x="135" y="289"/>
                  </a:lnTo>
                  <a:lnTo>
                    <a:pt x="134" y="288"/>
                  </a:lnTo>
                  <a:lnTo>
                    <a:pt x="134" y="288"/>
                  </a:lnTo>
                  <a:lnTo>
                    <a:pt x="134" y="287"/>
                  </a:lnTo>
                  <a:lnTo>
                    <a:pt x="133" y="287"/>
                  </a:lnTo>
                  <a:lnTo>
                    <a:pt x="133" y="286"/>
                  </a:lnTo>
                  <a:lnTo>
                    <a:pt x="133" y="285"/>
                  </a:lnTo>
                  <a:lnTo>
                    <a:pt x="133" y="283"/>
                  </a:lnTo>
                  <a:lnTo>
                    <a:pt x="133" y="282"/>
                  </a:lnTo>
                  <a:lnTo>
                    <a:pt x="132" y="281"/>
                  </a:lnTo>
                  <a:lnTo>
                    <a:pt x="132" y="280"/>
                  </a:lnTo>
                  <a:lnTo>
                    <a:pt x="132" y="280"/>
                  </a:lnTo>
                  <a:lnTo>
                    <a:pt x="132" y="279"/>
                  </a:lnTo>
                  <a:lnTo>
                    <a:pt x="131" y="279"/>
                  </a:lnTo>
                  <a:lnTo>
                    <a:pt x="131" y="278"/>
                  </a:lnTo>
                  <a:lnTo>
                    <a:pt x="131" y="278"/>
                  </a:lnTo>
                  <a:lnTo>
                    <a:pt x="130" y="277"/>
                  </a:lnTo>
                  <a:lnTo>
                    <a:pt x="128" y="276"/>
                  </a:lnTo>
                  <a:lnTo>
                    <a:pt x="127" y="275"/>
                  </a:lnTo>
                  <a:lnTo>
                    <a:pt x="126" y="275"/>
                  </a:lnTo>
                  <a:lnTo>
                    <a:pt x="125" y="274"/>
                  </a:lnTo>
                  <a:lnTo>
                    <a:pt x="123" y="274"/>
                  </a:lnTo>
                  <a:lnTo>
                    <a:pt x="120" y="273"/>
                  </a:lnTo>
                  <a:lnTo>
                    <a:pt x="119" y="272"/>
                  </a:lnTo>
                  <a:lnTo>
                    <a:pt x="119" y="272"/>
                  </a:lnTo>
                  <a:lnTo>
                    <a:pt x="118" y="272"/>
                  </a:lnTo>
                  <a:lnTo>
                    <a:pt x="117" y="272"/>
                  </a:lnTo>
                  <a:lnTo>
                    <a:pt x="117" y="272"/>
                  </a:lnTo>
                  <a:lnTo>
                    <a:pt x="113" y="273"/>
                  </a:lnTo>
                  <a:lnTo>
                    <a:pt x="110" y="273"/>
                  </a:lnTo>
                  <a:lnTo>
                    <a:pt x="109" y="273"/>
                  </a:lnTo>
                  <a:lnTo>
                    <a:pt x="107" y="273"/>
                  </a:lnTo>
                  <a:lnTo>
                    <a:pt x="103" y="274"/>
                  </a:lnTo>
                  <a:lnTo>
                    <a:pt x="102" y="274"/>
                  </a:lnTo>
                  <a:lnTo>
                    <a:pt x="101" y="274"/>
                  </a:lnTo>
                  <a:lnTo>
                    <a:pt x="100" y="275"/>
                  </a:lnTo>
                  <a:lnTo>
                    <a:pt x="99" y="274"/>
                  </a:lnTo>
                  <a:lnTo>
                    <a:pt x="98" y="274"/>
                  </a:lnTo>
                  <a:lnTo>
                    <a:pt x="98" y="274"/>
                  </a:lnTo>
                  <a:lnTo>
                    <a:pt x="97" y="274"/>
                  </a:lnTo>
                  <a:lnTo>
                    <a:pt x="95" y="273"/>
                  </a:lnTo>
                  <a:lnTo>
                    <a:pt x="94" y="272"/>
                  </a:lnTo>
                  <a:lnTo>
                    <a:pt x="93" y="271"/>
                  </a:lnTo>
                  <a:lnTo>
                    <a:pt x="87" y="267"/>
                  </a:lnTo>
                  <a:lnTo>
                    <a:pt x="86" y="267"/>
                  </a:lnTo>
                  <a:lnTo>
                    <a:pt x="86" y="266"/>
                  </a:lnTo>
                  <a:lnTo>
                    <a:pt x="85" y="266"/>
                  </a:lnTo>
                  <a:lnTo>
                    <a:pt x="84" y="266"/>
                  </a:lnTo>
                  <a:lnTo>
                    <a:pt x="83" y="265"/>
                  </a:lnTo>
                  <a:lnTo>
                    <a:pt x="81" y="265"/>
                  </a:lnTo>
                  <a:lnTo>
                    <a:pt x="79" y="265"/>
                  </a:lnTo>
                  <a:lnTo>
                    <a:pt x="78" y="265"/>
                  </a:lnTo>
                  <a:lnTo>
                    <a:pt x="77" y="264"/>
                  </a:lnTo>
                  <a:lnTo>
                    <a:pt x="77" y="264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6" y="263"/>
                  </a:lnTo>
                  <a:lnTo>
                    <a:pt x="75" y="262"/>
                  </a:lnTo>
                  <a:lnTo>
                    <a:pt x="75" y="262"/>
                  </a:lnTo>
                  <a:lnTo>
                    <a:pt x="75" y="261"/>
                  </a:lnTo>
                  <a:lnTo>
                    <a:pt x="75" y="258"/>
                  </a:lnTo>
                  <a:lnTo>
                    <a:pt x="74" y="257"/>
                  </a:lnTo>
                  <a:lnTo>
                    <a:pt x="74" y="255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3" y="253"/>
                  </a:lnTo>
                  <a:lnTo>
                    <a:pt x="72" y="252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69" y="250"/>
                  </a:lnTo>
                  <a:lnTo>
                    <a:pt x="68" y="250"/>
                  </a:lnTo>
                  <a:lnTo>
                    <a:pt x="67" y="250"/>
                  </a:lnTo>
                  <a:lnTo>
                    <a:pt x="62" y="249"/>
                  </a:lnTo>
                  <a:lnTo>
                    <a:pt x="59" y="248"/>
                  </a:lnTo>
                  <a:lnTo>
                    <a:pt x="54" y="248"/>
                  </a:lnTo>
                  <a:lnTo>
                    <a:pt x="52" y="247"/>
                  </a:lnTo>
                  <a:lnTo>
                    <a:pt x="52" y="247"/>
                  </a:lnTo>
                  <a:lnTo>
                    <a:pt x="51" y="247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48" y="244"/>
                  </a:lnTo>
                  <a:lnTo>
                    <a:pt x="47" y="243"/>
                  </a:lnTo>
                  <a:lnTo>
                    <a:pt x="46" y="243"/>
                  </a:lnTo>
                  <a:lnTo>
                    <a:pt x="45" y="242"/>
                  </a:lnTo>
                  <a:lnTo>
                    <a:pt x="45" y="242"/>
                  </a:lnTo>
                  <a:lnTo>
                    <a:pt x="43" y="241"/>
                  </a:lnTo>
                  <a:lnTo>
                    <a:pt x="41" y="240"/>
                  </a:lnTo>
                  <a:lnTo>
                    <a:pt x="40" y="240"/>
                  </a:lnTo>
                  <a:lnTo>
                    <a:pt x="40" y="240"/>
                  </a:lnTo>
                  <a:lnTo>
                    <a:pt x="39" y="239"/>
                  </a:lnTo>
                  <a:lnTo>
                    <a:pt x="36" y="239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4" y="237"/>
                  </a:lnTo>
                  <a:lnTo>
                    <a:pt x="34" y="237"/>
                  </a:lnTo>
                  <a:lnTo>
                    <a:pt x="34" y="236"/>
                  </a:lnTo>
                  <a:lnTo>
                    <a:pt x="34" y="235"/>
                  </a:lnTo>
                  <a:lnTo>
                    <a:pt x="34" y="234"/>
                  </a:lnTo>
                  <a:lnTo>
                    <a:pt x="34" y="230"/>
                  </a:lnTo>
                  <a:lnTo>
                    <a:pt x="34" y="229"/>
                  </a:lnTo>
                  <a:lnTo>
                    <a:pt x="34" y="228"/>
                  </a:lnTo>
                  <a:lnTo>
                    <a:pt x="34" y="226"/>
                  </a:lnTo>
                  <a:lnTo>
                    <a:pt x="34" y="226"/>
                  </a:lnTo>
                  <a:lnTo>
                    <a:pt x="34" y="224"/>
                  </a:lnTo>
                  <a:lnTo>
                    <a:pt x="33" y="223"/>
                  </a:lnTo>
                  <a:lnTo>
                    <a:pt x="33" y="222"/>
                  </a:lnTo>
                  <a:lnTo>
                    <a:pt x="32" y="220"/>
                  </a:lnTo>
                  <a:lnTo>
                    <a:pt x="30" y="219"/>
                  </a:lnTo>
                  <a:lnTo>
                    <a:pt x="30" y="218"/>
                  </a:lnTo>
                  <a:lnTo>
                    <a:pt x="29" y="217"/>
                  </a:lnTo>
                  <a:lnTo>
                    <a:pt x="29" y="217"/>
                  </a:lnTo>
                  <a:lnTo>
                    <a:pt x="28" y="216"/>
                  </a:lnTo>
                  <a:lnTo>
                    <a:pt x="28" y="216"/>
                  </a:lnTo>
                  <a:lnTo>
                    <a:pt x="27" y="216"/>
                  </a:lnTo>
                  <a:lnTo>
                    <a:pt x="26" y="216"/>
                  </a:lnTo>
                  <a:lnTo>
                    <a:pt x="25" y="216"/>
                  </a:lnTo>
                  <a:lnTo>
                    <a:pt x="24" y="216"/>
                  </a:lnTo>
                  <a:lnTo>
                    <a:pt x="23" y="216"/>
                  </a:lnTo>
                  <a:lnTo>
                    <a:pt x="22" y="217"/>
                  </a:lnTo>
                  <a:lnTo>
                    <a:pt x="20" y="217"/>
                  </a:lnTo>
                  <a:lnTo>
                    <a:pt x="13" y="220"/>
                  </a:lnTo>
                  <a:lnTo>
                    <a:pt x="11" y="221"/>
                  </a:lnTo>
                  <a:lnTo>
                    <a:pt x="9" y="221"/>
                  </a:lnTo>
                  <a:lnTo>
                    <a:pt x="8" y="221"/>
                  </a:lnTo>
                  <a:lnTo>
                    <a:pt x="7" y="221"/>
                  </a:lnTo>
                  <a:lnTo>
                    <a:pt x="6" y="222"/>
                  </a:lnTo>
                  <a:lnTo>
                    <a:pt x="5" y="222"/>
                  </a:lnTo>
                  <a:lnTo>
                    <a:pt x="4" y="221"/>
                  </a:lnTo>
                  <a:lnTo>
                    <a:pt x="3" y="221"/>
                  </a:lnTo>
                  <a:lnTo>
                    <a:pt x="2" y="221"/>
                  </a:lnTo>
                  <a:lnTo>
                    <a:pt x="2" y="221"/>
                  </a:lnTo>
                  <a:lnTo>
                    <a:pt x="1" y="220"/>
                  </a:lnTo>
                  <a:lnTo>
                    <a:pt x="1" y="220"/>
                  </a:lnTo>
                  <a:lnTo>
                    <a:pt x="1" y="220"/>
                  </a:lnTo>
                  <a:lnTo>
                    <a:pt x="1" y="219"/>
                  </a:lnTo>
                  <a:lnTo>
                    <a:pt x="0" y="217"/>
                  </a:lnTo>
                  <a:lnTo>
                    <a:pt x="0" y="216"/>
                  </a:lnTo>
                  <a:lnTo>
                    <a:pt x="0" y="215"/>
                  </a:lnTo>
                  <a:lnTo>
                    <a:pt x="0" y="214"/>
                  </a:lnTo>
                  <a:lnTo>
                    <a:pt x="1" y="213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2" y="211"/>
                  </a:lnTo>
                  <a:lnTo>
                    <a:pt x="2" y="211"/>
                  </a:lnTo>
                  <a:lnTo>
                    <a:pt x="4" y="209"/>
                  </a:lnTo>
                  <a:lnTo>
                    <a:pt x="4" y="209"/>
                  </a:lnTo>
                  <a:lnTo>
                    <a:pt x="5" y="208"/>
                  </a:lnTo>
                  <a:lnTo>
                    <a:pt x="6" y="207"/>
                  </a:lnTo>
                  <a:lnTo>
                    <a:pt x="6" y="206"/>
                  </a:lnTo>
                  <a:lnTo>
                    <a:pt x="7" y="205"/>
                  </a:lnTo>
                  <a:lnTo>
                    <a:pt x="9" y="201"/>
                  </a:lnTo>
                  <a:lnTo>
                    <a:pt x="10" y="200"/>
                  </a:lnTo>
                  <a:lnTo>
                    <a:pt x="11" y="199"/>
                  </a:lnTo>
                  <a:lnTo>
                    <a:pt x="11" y="197"/>
                  </a:lnTo>
                  <a:lnTo>
                    <a:pt x="12" y="197"/>
                  </a:lnTo>
                  <a:lnTo>
                    <a:pt x="13" y="196"/>
                  </a:lnTo>
                  <a:lnTo>
                    <a:pt x="14" y="196"/>
                  </a:lnTo>
                  <a:lnTo>
                    <a:pt x="16" y="194"/>
                  </a:lnTo>
                  <a:lnTo>
                    <a:pt x="18" y="192"/>
                  </a:lnTo>
                  <a:lnTo>
                    <a:pt x="20" y="191"/>
                  </a:lnTo>
                  <a:lnTo>
                    <a:pt x="20" y="191"/>
                  </a:lnTo>
                  <a:lnTo>
                    <a:pt x="20" y="190"/>
                  </a:lnTo>
                  <a:lnTo>
                    <a:pt x="21" y="189"/>
                  </a:lnTo>
                  <a:lnTo>
                    <a:pt x="21" y="188"/>
                  </a:lnTo>
                  <a:lnTo>
                    <a:pt x="22" y="187"/>
                  </a:lnTo>
                  <a:lnTo>
                    <a:pt x="22" y="186"/>
                  </a:lnTo>
                  <a:lnTo>
                    <a:pt x="23" y="184"/>
                  </a:lnTo>
                  <a:lnTo>
                    <a:pt x="23" y="183"/>
                  </a:lnTo>
                  <a:lnTo>
                    <a:pt x="24" y="182"/>
                  </a:lnTo>
                  <a:lnTo>
                    <a:pt x="24" y="181"/>
                  </a:lnTo>
                  <a:lnTo>
                    <a:pt x="24" y="180"/>
                  </a:lnTo>
                  <a:lnTo>
                    <a:pt x="24" y="179"/>
                  </a:lnTo>
                  <a:lnTo>
                    <a:pt x="24" y="178"/>
                  </a:lnTo>
                  <a:lnTo>
                    <a:pt x="24" y="177"/>
                  </a:lnTo>
                  <a:lnTo>
                    <a:pt x="23" y="177"/>
                  </a:lnTo>
                  <a:lnTo>
                    <a:pt x="23" y="176"/>
                  </a:lnTo>
                  <a:lnTo>
                    <a:pt x="23" y="176"/>
                  </a:lnTo>
                  <a:lnTo>
                    <a:pt x="22" y="175"/>
                  </a:lnTo>
                  <a:lnTo>
                    <a:pt x="22" y="175"/>
                  </a:lnTo>
                  <a:lnTo>
                    <a:pt x="21" y="175"/>
                  </a:lnTo>
                  <a:lnTo>
                    <a:pt x="20" y="175"/>
                  </a:lnTo>
                  <a:lnTo>
                    <a:pt x="19" y="175"/>
                  </a:lnTo>
                  <a:lnTo>
                    <a:pt x="18" y="175"/>
                  </a:lnTo>
                  <a:lnTo>
                    <a:pt x="16" y="175"/>
                  </a:lnTo>
                  <a:lnTo>
                    <a:pt x="14" y="175"/>
                  </a:lnTo>
                  <a:lnTo>
                    <a:pt x="13" y="175"/>
                  </a:lnTo>
                  <a:lnTo>
                    <a:pt x="12" y="175"/>
                  </a:lnTo>
                  <a:lnTo>
                    <a:pt x="12" y="175"/>
                  </a:lnTo>
                  <a:lnTo>
                    <a:pt x="11" y="175"/>
                  </a:lnTo>
                  <a:lnTo>
                    <a:pt x="11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1" y="170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1" y="168"/>
                  </a:lnTo>
                  <a:lnTo>
                    <a:pt x="10" y="165"/>
                  </a:lnTo>
                  <a:lnTo>
                    <a:pt x="8" y="161"/>
                  </a:lnTo>
                  <a:lnTo>
                    <a:pt x="7" y="159"/>
                  </a:lnTo>
                  <a:lnTo>
                    <a:pt x="7" y="158"/>
                  </a:lnTo>
                  <a:lnTo>
                    <a:pt x="6" y="157"/>
                  </a:lnTo>
                  <a:lnTo>
                    <a:pt x="6" y="156"/>
                  </a:lnTo>
                  <a:lnTo>
                    <a:pt x="6" y="152"/>
                  </a:lnTo>
                  <a:lnTo>
                    <a:pt x="6" y="151"/>
                  </a:lnTo>
                  <a:lnTo>
                    <a:pt x="6" y="149"/>
                  </a:lnTo>
                  <a:lnTo>
                    <a:pt x="5" y="146"/>
                  </a:lnTo>
                  <a:lnTo>
                    <a:pt x="5" y="145"/>
                  </a:lnTo>
                  <a:lnTo>
                    <a:pt x="5" y="144"/>
                  </a:lnTo>
                  <a:lnTo>
                    <a:pt x="5" y="143"/>
                  </a:lnTo>
                  <a:lnTo>
                    <a:pt x="5" y="142"/>
                  </a:lnTo>
                  <a:lnTo>
                    <a:pt x="6" y="141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7" y="136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5" y="129"/>
                  </a:lnTo>
                  <a:lnTo>
                    <a:pt x="15" y="128"/>
                  </a:lnTo>
                  <a:lnTo>
                    <a:pt x="16" y="128"/>
                  </a:lnTo>
                  <a:lnTo>
                    <a:pt x="17" y="125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19" y="123"/>
                  </a:lnTo>
                  <a:lnTo>
                    <a:pt x="20" y="122"/>
                  </a:lnTo>
                  <a:lnTo>
                    <a:pt x="21" y="122"/>
                  </a:lnTo>
                  <a:lnTo>
                    <a:pt x="21" y="122"/>
                  </a:lnTo>
                  <a:lnTo>
                    <a:pt x="22" y="121"/>
                  </a:lnTo>
                  <a:lnTo>
                    <a:pt x="23" y="121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32" y="120"/>
                  </a:lnTo>
                  <a:lnTo>
                    <a:pt x="33" y="119"/>
                  </a:lnTo>
                  <a:lnTo>
                    <a:pt x="35" y="119"/>
                  </a:lnTo>
                  <a:lnTo>
                    <a:pt x="39" y="119"/>
                  </a:lnTo>
                  <a:lnTo>
                    <a:pt x="40" y="118"/>
                  </a:lnTo>
                  <a:lnTo>
                    <a:pt x="44" y="118"/>
                  </a:lnTo>
                  <a:lnTo>
                    <a:pt x="44" y="118"/>
                  </a:lnTo>
                  <a:lnTo>
                    <a:pt x="45" y="118"/>
                  </a:lnTo>
                  <a:lnTo>
                    <a:pt x="46" y="118"/>
                  </a:lnTo>
                  <a:lnTo>
                    <a:pt x="47" y="118"/>
                  </a:lnTo>
                  <a:lnTo>
                    <a:pt x="47" y="117"/>
                  </a:lnTo>
                  <a:lnTo>
                    <a:pt x="48" y="117"/>
                  </a:lnTo>
                  <a:lnTo>
                    <a:pt x="49" y="116"/>
                  </a:lnTo>
                  <a:lnTo>
                    <a:pt x="50" y="116"/>
                  </a:lnTo>
                  <a:lnTo>
                    <a:pt x="50" y="115"/>
                  </a:lnTo>
                  <a:lnTo>
                    <a:pt x="51" y="114"/>
                  </a:lnTo>
                  <a:lnTo>
                    <a:pt x="52" y="113"/>
                  </a:lnTo>
                  <a:lnTo>
                    <a:pt x="54" y="110"/>
                  </a:lnTo>
                  <a:lnTo>
                    <a:pt x="56" y="108"/>
                  </a:lnTo>
                  <a:lnTo>
                    <a:pt x="58" y="105"/>
                  </a:lnTo>
                  <a:lnTo>
                    <a:pt x="59" y="104"/>
                  </a:lnTo>
                  <a:lnTo>
                    <a:pt x="59" y="103"/>
                  </a:lnTo>
                  <a:lnTo>
                    <a:pt x="60" y="103"/>
                  </a:lnTo>
                  <a:lnTo>
                    <a:pt x="61" y="102"/>
                  </a:lnTo>
                  <a:lnTo>
                    <a:pt x="63" y="100"/>
                  </a:lnTo>
                  <a:lnTo>
                    <a:pt x="65" y="98"/>
                  </a:lnTo>
                  <a:lnTo>
                    <a:pt x="66" y="97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5"/>
                  </a:lnTo>
                  <a:lnTo>
                    <a:pt x="67" y="94"/>
                  </a:lnTo>
                  <a:lnTo>
                    <a:pt x="67" y="93"/>
                  </a:lnTo>
                  <a:lnTo>
                    <a:pt x="67" y="92"/>
                  </a:lnTo>
                  <a:lnTo>
                    <a:pt x="67" y="91"/>
                  </a:lnTo>
                  <a:lnTo>
                    <a:pt x="67" y="90"/>
                  </a:lnTo>
                  <a:lnTo>
                    <a:pt x="66" y="88"/>
                  </a:lnTo>
                  <a:lnTo>
                    <a:pt x="65" y="86"/>
                  </a:lnTo>
                  <a:lnTo>
                    <a:pt x="64" y="85"/>
                  </a:lnTo>
                  <a:lnTo>
                    <a:pt x="64" y="83"/>
                  </a:lnTo>
                  <a:lnTo>
                    <a:pt x="63" y="82"/>
                  </a:lnTo>
                  <a:lnTo>
                    <a:pt x="63" y="80"/>
                  </a:lnTo>
                  <a:lnTo>
                    <a:pt x="63" y="79"/>
                  </a:lnTo>
                  <a:lnTo>
                    <a:pt x="63" y="78"/>
                  </a:lnTo>
                  <a:lnTo>
                    <a:pt x="63" y="77"/>
                  </a:lnTo>
                  <a:lnTo>
                    <a:pt x="64" y="76"/>
                  </a:lnTo>
                  <a:lnTo>
                    <a:pt x="64" y="75"/>
                  </a:lnTo>
                  <a:lnTo>
                    <a:pt x="65" y="73"/>
                  </a:lnTo>
                  <a:lnTo>
                    <a:pt x="67" y="69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70" y="66"/>
                  </a:lnTo>
                  <a:lnTo>
                    <a:pt x="71" y="66"/>
                  </a:lnTo>
                  <a:lnTo>
                    <a:pt x="71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3" y="66"/>
                  </a:lnTo>
                  <a:lnTo>
                    <a:pt x="73" y="67"/>
                  </a:lnTo>
                  <a:lnTo>
                    <a:pt x="74" y="67"/>
                  </a:lnTo>
                  <a:lnTo>
                    <a:pt x="74" y="68"/>
                  </a:lnTo>
                  <a:lnTo>
                    <a:pt x="74" y="69"/>
                  </a:lnTo>
                  <a:lnTo>
                    <a:pt x="75" y="69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4"/>
                  </a:lnTo>
                  <a:lnTo>
                    <a:pt x="76" y="75"/>
                  </a:lnTo>
                  <a:lnTo>
                    <a:pt x="76" y="75"/>
                  </a:lnTo>
                  <a:lnTo>
                    <a:pt x="76" y="76"/>
                  </a:lnTo>
                  <a:lnTo>
                    <a:pt x="77" y="76"/>
                  </a:lnTo>
                  <a:lnTo>
                    <a:pt x="77" y="77"/>
                  </a:lnTo>
                  <a:lnTo>
                    <a:pt x="78" y="77"/>
                  </a:lnTo>
                  <a:lnTo>
                    <a:pt x="78" y="77"/>
                  </a:lnTo>
                  <a:lnTo>
                    <a:pt x="81" y="77"/>
                  </a:lnTo>
                  <a:lnTo>
                    <a:pt x="82" y="77"/>
                  </a:lnTo>
                  <a:lnTo>
                    <a:pt x="83" y="78"/>
                  </a:lnTo>
                  <a:lnTo>
                    <a:pt x="85" y="78"/>
                  </a:lnTo>
                  <a:lnTo>
                    <a:pt x="87" y="79"/>
                  </a:lnTo>
                  <a:lnTo>
                    <a:pt x="89" y="79"/>
                  </a:lnTo>
                  <a:lnTo>
                    <a:pt x="91" y="80"/>
                  </a:lnTo>
                  <a:lnTo>
                    <a:pt x="93" y="80"/>
                  </a:lnTo>
                  <a:lnTo>
                    <a:pt x="94" y="80"/>
                  </a:lnTo>
                  <a:lnTo>
                    <a:pt x="95" y="80"/>
                  </a:lnTo>
                  <a:lnTo>
                    <a:pt x="96" y="80"/>
                  </a:lnTo>
                  <a:lnTo>
                    <a:pt x="97" y="80"/>
                  </a:lnTo>
                  <a:lnTo>
                    <a:pt x="97" y="81"/>
                  </a:lnTo>
                  <a:lnTo>
                    <a:pt x="98" y="81"/>
                  </a:lnTo>
                  <a:lnTo>
                    <a:pt x="99" y="82"/>
                  </a:lnTo>
                  <a:lnTo>
                    <a:pt x="100" y="83"/>
                  </a:lnTo>
                  <a:lnTo>
                    <a:pt x="103" y="85"/>
                  </a:lnTo>
                  <a:lnTo>
                    <a:pt x="104" y="86"/>
                  </a:lnTo>
                  <a:lnTo>
                    <a:pt x="105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7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11" y="83"/>
                  </a:lnTo>
                  <a:lnTo>
                    <a:pt x="112" y="82"/>
                  </a:lnTo>
                  <a:lnTo>
                    <a:pt x="112" y="81"/>
                  </a:lnTo>
                  <a:lnTo>
                    <a:pt x="113" y="79"/>
                  </a:lnTo>
                  <a:lnTo>
                    <a:pt x="114" y="78"/>
                  </a:lnTo>
                  <a:lnTo>
                    <a:pt x="114" y="77"/>
                  </a:lnTo>
                  <a:lnTo>
                    <a:pt x="115" y="77"/>
                  </a:lnTo>
                  <a:lnTo>
                    <a:pt x="115" y="76"/>
                  </a:lnTo>
                  <a:lnTo>
                    <a:pt x="115" y="74"/>
                  </a:lnTo>
                  <a:lnTo>
                    <a:pt x="116" y="72"/>
                  </a:lnTo>
                  <a:lnTo>
                    <a:pt x="116" y="71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8" y="69"/>
                  </a:lnTo>
                  <a:lnTo>
                    <a:pt x="121" y="68"/>
                  </a:lnTo>
                  <a:lnTo>
                    <a:pt x="123" y="67"/>
                  </a:lnTo>
                  <a:lnTo>
                    <a:pt x="125" y="67"/>
                  </a:lnTo>
                  <a:lnTo>
                    <a:pt x="126" y="66"/>
                  </a:lnTo>
                  <a:lnTo>
                    <a:pt x="128" y="66"/>
                  </a:lnTo>
                  <a:lnTo>
                    <a:pt x="130" y="66"/>
                  </a:lnTo>
                  <a:lnTo>
                    <a:pt x="132" y="66"/>
                  </a:lnTo>
                  <a:lnTo>
                    <a:pt x="133" y="66"/>
                  </a:lnTo>
                  <a:lnTo>
                    <a:pt x="135" y="66"/>
                  </a:lnTo>
                  <a:lnTo>
                    <a:pt x="136" y="66"/>
                  </a:lnTo>
                  <a:lnTo>
                    <a:pt x="137" y="66"/>
                  </a:lnTo>
                  <a:lnTo>
                    <a:pt x="138" y="66"/>
                  </a:lnTo>
                  <a:lnTo>
                    <a:pt x="138" y="67"/>
                  </a:lnTo>
                  <a:lnTo>
                    <a:pt x="140" y="67"/>
                  </a:lnTo>
                  <a:lnTo>
                    <a:pt x="141" y="68"/>
                  </a:lnTo>
                  <a:lnTo>
                    <a:pt x="142" y="68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44" y="68"/>
                  </a:lnTo>
                  <a:lnTo>
                    <a:pt x="145" y="68"/>
                  </a:lnTo>
                  <a:lnTo>
                    <a:pt x="146" y="68"/>
                  </a:lnTo>
                  <a:lnTo>
                    <a:pt x="147" y="68"/>
                  </a:lnTo>
                  <a:lnTo>
                    <a:pt x="148" y="68"/>
                  </a:lnTo>
                  <a:lnTo>
                    <a:pt x="149" y="67"/>
                  </a:lnTo>
                  <a:lnTo>
                    <a:pt x="150" y="67"/>
                  </a:lnTo>
                  <a:lnTo>
                    <a:pt x="150" y="67"/>
                  </a:lnTo>
                  <a:lnTo>
                    <a:pt x="151" y="66"/>
                  </a:lnTo>
                  <a:lnTo>
                    <a:pt x="152" y="65"/>
                  </a:lnTo>
                  <a:lnTo>
                    <a:pt x="152" y="65"/>
                  </a:lnTo>
                  <a:lnTo>
                    <a:pt x="153" y="64"/>
                  </a:lnTo>
                  <a:lnTo>
                    <a:pt x="154" y="63"/>
                  </a:lnTo>
                  <a:lnTo>
                    <a:pt x="154" y="62"/>
                  </a:lnTo>
                  <a:lnTo>
                    <a:pt x="154" y="61"/>
                  </a:lnTo>
                  <a:lnTo>
                    <a:pt x="155" y="60"/>
                  </a:lnTo>
                  <a:lnTo>
                    <a:pt x="155" y="60"/>
                  </a:lnTo>
                  <a:lnTo>
                    <a:pt x="155" y="59"/>
                  </a:lnTo>
                  <a:lnTo>
                    <a:pt x="155" y="58"/>
                  </a:lnTo>
                  <a:lnTo>
                    <a:pt x="154" y="57"/>
                  </a:lnTo>
                  <a:lnTo>
                    <a:pt x="154" y="56"/>
                  </a:lnTo>
                  <a:lnTo>
                    <a:pt x="153" y="54"/>
                  </a:lnTo>
                  <a:lnTo>
                    <a:pt x="151" y="50"/>
                  </a:lnTo>
                  <a:lnTo>
                    <a:pt x="151" y="49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52" y="46"/>
                  </a:lnTo>
                  <a:lnTo>
                    <a:pt x="152" y="46"/>
                  </a:lnTo>
                  <a:lnTo>
                    <a:pt x="153" y="46"/>
                  </a:lnTo>
                  <a:lnTo>
                    <a:pt x="154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6" y="46"/>
                  </a:lnTo>
                  <a:lnTo>
                    <a:pt x="157" y="46"/>
                  </a:lnTo>
                  <a:lnTo>
                    <a:pt x="158" y="46"/>
                  </a:lnTo>
                  <a:lnTo>
                    <a:pt x="159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1" y="46"/>
                  </a:lnTo>
                  <a:lnTo>
                    <a:pt x="161" y="45"/>
                  </a:lnTo>
                  <a:lnTo>
                    <a:pt x="161" y="45"/>
                  </a:lnTo>
                  <a:lnTo>
                    <a:pt x="162" y="45"/>
                  </a:lnTo>
                  <a:lnTo>
                    <a:pt x="163" y="42"/>
                  </a:lnTo>
                  <a:lnTo>
                    <a:pt x="164" y="41"/>
                  </a:lnTo>
                  <a:lnTo>
                    <a:pt x="164" y="41"/>
                  </a:lnTo>
                  <a:lnTo>
                    <a:pt x="165" y="41"/>
                  </a:lnTo>
                  <a:lnTo>
                    <a:pt x="166" y="40"/>
                  </a:lnTo>
                  <a:lnTo>
                    <a:pt x="166" y="40"/>
                  </a:lnTo>
                  <a:lnTo>
                    <a:pt x="167" y="40"/>
                  </a:lnTo>
                  <a:lnTo>
                    <a:pt x="168" y="40"/>
                  </a:lnTo>
                  <a:lnTo>
                    <a:pt x="169" y="40"/>
                  </a:lnTo>
                  <a:lnTo>
                    <a:pt x="170" y="41"/>
                  </a:lnTo>
                  <a:lnTo>
                    <a:pt x="171" y="41"/>
                  </a:lnTo>
                  <a:lnTo>
                    <a:pt x="172" y="42"/>
                  </a:lnTo>
                  <a:lnTo>
                    <a:pt x="173" y="43"/>
                  </a:lnTo>
                  <a:lnTo>
                    <a:pt x="174" y="44"/>
                  </a:lnTo>
                  <a:lnTo>
                    <a:pt x="176" y="46"/>
                  </a:lnTo>
                  <a:lnTo>
                    <a:pt x="176" y="46"/>
                  </a:lnTo>
                  <a:lnTo>
                    <a:pt x="177" y="47"/>
                  </a:lnTo>
                  <a:lnTo>
                    <a:pt x="178" y="47"/>
                  </a:lnTo>
                  <a:lnTo>
                    <a:pt x="179" y="48"/>
                  </a:lnTo>
                  <a:lnTo>
                    <a:pt x="180" y="48"/>
                  </a:lnTo>
                  <a:lnTo>
                    <a:pt x="181" y="49"/>
                  </a:lnTo>
                  <a:lnTo>
                    <a:pt x="182" y="49"/>
                  </a:lnTo>
                  <a:lnTo>
                    <a:pt x="184" y="49"/>
                  </a:lnTo>
                  <a:lnTo>
                    <a:pt x="185" y="49"/>
                  </a:lnTo>
                  <a:lnTo>
                    <a:pt x="186" y="49"/>
                  </a:lnTo>
                  <a:lnTo>
                    <a:pt x="188" y="49"/>
                  </a:lnTo>
                  <a:lnTo>
                    <a:pt x="191" y="48"/>
                  </a:lnTo>
                  <a:lnTo>
                    <a:pt x="192" y="47"/>
                  </a:lnTo>
                  <a:lnTo>
                    <a:pt x="192" y="47"/>
                  </a:lnTo>
                  <a:lnTo>
                    <a:pt x="193" y="47"/>
                  </a:lnTo>
                  <a:lnTo>
                    <a:pt x="193" y="46"/>
                  </a:lnTo>
                  <a:lnTo>
                    <a:pt x="194" y="46"/>
                  </a:lnTo>
                  <a:lnTo>
                    <a:pt x="194" y="45"/>
                  </a:lnTo>
                  <a:lnTo>
                    <a:pt x="195" y="45"/>
                  </a:lnTo>
                  <a:lnTo>
                    <a:pt x="196" y="42"/>
                  </a:lnTo>
                  <a:lnTo>
                    <a:pt x="197" y="39"/>
                  </a:lnTo>
                  <a:lnTo>
                    <a:pt x="198" y="36"/>
                  </a:lnTo>
                  <a:lnTo>
                    <a:pt x="199" y="35"/>
                  </a:lnTo>
                  <a:lnTo>
                    <a:pt x="199" y="33"/>
                  </a:lnTo>
                  <a:lnTo>
                    <a:pt x="199" y="32"/>
                  </a:lnTo>
                  <a:lnTo>
                    <a:pt x="199" y="31"/>
                  </a:lnTo>
                  <a:lnTo>
                    <a:pt x="199" y="28"/>
                  </a:lnTo>
                  <a:lnTo>
                    <a:pt x="200" y="27"/>
                  </a:lnTo>
                  <a:lnTo>
                    <a:pt x="200" y="27"/>
                  </a:lnTo>
                  <a:lnTo>
                    <a:pt x="200" y="26"/>
                  </a:lnTo>
                  <a:lnTo>
                    <a:pt x="200" y="25"/>
                  </a:lnTo>
                  <a:lnTo>
                    <a:pt x="201" y="25"/>
                  </a:lnTo>
                  <a:lnTo>
                    <a:pt x="203" y="23"/>
                  </a:lnTo>
                  <a:lnTo>
                    <a:pt x="204" y="21"/>
                  </a:lnTo>
                  <a:lnTo>
                    <a:pt x="205" y="20"/>
                  </a:lnTo>
                  <a:lnTo>
                    <a:pt x="206" y="19"/>
                  </a:lnTo>
                  <a:lnTo>
                    <a:pt x="208" y="18"/>
                  </a:lnTo>
                  <a:lnTo>
                    <a:pt x="209" y="17"/>
                  </a:lnTo>
                  <a:lnTo>
                    <a:pt x="210" y="17"/>
                  </a:lnTo>
                  <a:lnTo>
                    <a:pt x="210" y="16"/>
                  </a:lnTo>
                  <a:lnTo>
                    <a:pt x="211" y="15"/>
                  </a:lnTo>
                  <a:lnTo>
                    <a:pt x="211" y="15"/>
                  </a:lnTo>
                  <a:lnTo>
                    <a:pt x="212" y="13"/>
                  </a:lnTo>
                  <a:lnTo>
                    <a:pt x="213" y="12"/>
                  </a:lnTo>
                  <a:lnTo>
                    <a:pt x="214" y="11"/>
                  </a:lnTo>
                  <a:lnTo>
                    <a:pt x="214" y="10"/>
                  </a:lnTo>
                  <a:lnTo>
                    <a:pt x="214" y="10"/>
                  </a:lnTo>
                  <a:lnTo>
                    <a:pt x="215" y="10"/>
                  </a:lnTo>
                  <a:lnTo>
                    <a:pt x="216" y="10"/>
                  </a:lnTo>
                  <a:lnTo>
                    <a:pt x="217" y="10"/>
                  </a:lnTo>
                  <a:lnTo>
                    <a:pt x="218" y="11"/>
                  </a:lnTo>
                  <a:lnTo>
                    <a:pt x="221" y="11"/>
                  </a:lnTo>
                  <a:lnTo>
                    <a:pt x="223" y="12"/>
                  </a:lnTo>
                  <a:lnTo>
                    <a:pt x="224" y="12"/>
                  </a:lnTo>
                  <a:lnTo>
                    <a:pt x="225" y="12"/>
                  </a:lnTo>
                  <a:lnTo>
                    <a:pt x="225" y="12"/>
                  </a:lnTo>
                  <a:lnTo>
                    <a:pt x="226" y="12"/>
                  </a:lnTo>
                  <a:lnTo>
                    <a:pt x="227" y="12"/>
                  </a:lnTo>
                  <a:lnTo>
                    <a:pt x="227" y="12"/>
                  </a:lnTo>
                  <a:lnTo>
                    <a:pt x="228" y="11"/>
                  </a:lnTo>
                  <a:lnTo>
                    <a:pt x="228" y="11"/>
                  </a:lnTo>
                  <a:lnTo>
                    <a:pt x="229" y="11"/>
                  </a:lnTo>
                  <a:lnTo>
                    <a:pt x="230" y="10"/>
                  </a:lnTo>
                  <a:lnTo>
                    <a:pt x="230" y="10"/>
                  </a:lnTo>
                  <a:lnTo>
                    <a:pt x="231" y="9"/>
                  </a:lnTo>
                  <a:lnTo>
                    <a:pt x="231" y="8"/>
                  </a:lnTo>
                  <a:lnTo>
                    <a:pt x="232" y="7"/>
                  </a:lnTo>
                  <a:lnTo>
                    <a:pt x="233" y="5"/>
                  </a:lnTo>
                  <a:lnTo>
                    <a:pt x="234" y="4"/>
                  </a:lnTo>
                  <a:lnTo>
                    <a:pt x="234" y="3"/>
                  </a:lnTo>
                  <a:lnTo>
                    <a:pt x="235" y="2"/>
                  </a:lnTo>
                  <a:lnTo>
                    <a:pt x="235" y="2"/>
                  </a:lnTo>
                  <a:lnTo>
                    <a:pt x="235" y="1"/>
                  </a:lnTo>
                  <a:lnTo>
                    <a:pt x="235" y="1"/>
                  </a:lnTo>
                  <a:lnTo>
                    <a:pt x="235" y="0"/>
                  </a:lnTo>
                  <a:lnTo>
                    <a:pt x="236" y="1"/>
                  </a:lnTo>
                  <a:lnTo>
                    <a:pt x="236" y="1"/>
                  </a:lnTo>
                  <a:lnTo>
                    <a:pt x="238" y="0"/>
                  </a:lnTo>
                  <a:lnTo>
                    <a:pt x="238" y="0"/>
                  </a:lnTo>
                  <a:lnTo>
                    <a:pt x="239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1" y="0"/>
                  </a:lnTo>
                  <a:close/>
                </a:path>
              </a:pathLst>
            </a:custGeom>
            <a:solidFill>
              <a:srgbClr val="E6AF00"/>
            </a:solidFill>
            <a:ln w="20638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3" name="Freeform 73">
              <a:extLst>
                <a:ext uri="{FF2B5EF4-FFF2-40B4-BE49-F238E27FC236}">
                  <a16:creationId xmlns:a16="http://schemas.microsoft.com/office/drawing/2014/main" id="{7FF0DAB2-E3B1-CE70-4E43-379F89D7F2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192"/>
              <a:ext cx="516" cy="419"/>
            </a:xfrm>
            <a:custGeom>
              <a:avLst/>
              <a:gdLst>
                <a:gd name="T0" fmla="*/ 169 w 516"/>
                <a:gd name="T1" fmla="*/ 9 h 419"/>
                <a:gd name="T2" fmla="*/ 172 w 516"/>
                <a:gd name="T3" fmla="*/ 35 h 419"/>
                <a:gd name="T4" fmla="*/ 169 w 516"/>
                <a:gd name="T5" fmla="*/ 53 h 419"/>
                <a:gd name="T6" fmla="*/ 134 w 516"/>
                <a:gd name="T7" fmla="*/ 70 h 419"/>
                <a:gd name="T8" fmla="*/ 139 w 516"/>
                <a:gd name="T9" fmla="*/ 88 h 419"/>
                <a:gd name="T10" fmla="*/ 161 w 516"/>
                <a:gd name="T11" fmla="*/ 97 h 419"/>
                <a:gd name="T12" fmla="*/ 182 w 516"/>
                <a:gd name="T13" fmla="*/ 131 h 419"/>
                <a:gd name="T14" fmla="*/ 204 w 516"/>
                <a:gd name="T15" fmla="*/ 152 h 419"/>
                <a:gd name="T16" fmla="*/ 235 w 516"/>
                <a:gd name="T17" fmla="*/ 147 h 419"/>
                <a:gd name="T18" fmla="*/ 263 w 516"/>
                <a:gd name="T19" fmla="*/ 138 h 419"/>
                <a:gd name="T20" fmla="*/ 254 w 516"/>
                <a:gd name="T21" fmla="*/ 127 h 419"/>
                <a:gd name="T22" fmla="*/ 262 w 516"/>
                <a:gd name="T23" fmla="*/ 116 h 419"/>
                <a:gd name="T24" fmla="*/ 284 w 516"/>
                <a:gd name="T25" fmla="*/ 143 h 419"/>
                <a:gd name="T26" fmla="*/ 305 w 516"/>
                <a:gd name="T27" fmla="*/ 144 h 419"/>
                <a:gd name="T28" fmla="*/ 326 w 516"/>
                <a:gd name="T29" fmla="*/ 157 h 419"/>
                <a:gd name="T30" fmla="*/ 343 w 516"/>
                <a:gd name="T31" fmla="*/ 176 h 419"/>
                <a:gd name="T32" fmla="*/ 354 w 516"/>
                <a:gd name="T33" fmla="*/ 167 h 419"/>
                <a:gd name="T34" fmla="*/ 388 w 516"/>
                <a:gd name="T35" fmla="*/ 175 h 419"/>
                <a:gd name="T36" fmla="*/ 413 w 516"/>
                <a:gd name="T37" fmla="*/ 181 h 419"/>
                <a:gd name="T38" fmla="*/ 423 w 516"/>
                <a:gd name="T39" fmla="*/ 178 h 419"/>
                <a:gd name="T40" fmla="*/ 430 w 516"/>
                <a:gd name="T41" fmla="*/ 200 h 419"/>
                <a:gd name="T42" fmla="*/ 429 w 516"/>
                <a:gd name="T43" fmla="*/ 225 h 419"/>
                <a:gd name="T44" fmla="*/ 449 w 516"/>
                <a:gd name="T45" fmla="*/ 269 h 419"/>
                <a:gd name="T46" fmla="*/ 479 w 516"/>
                <a:gd name="T47" fmla="*/ 282 h 419"/>
                <a:gd name="T48" fmla="*/ 499 w 516"/>
                <a:gd name="T49" fmla="*/ 288 h 419"/>
                <a:gd name="T50" fmla="*/ 516 w 516"/>
                <a:gd name="T51" fmla="*/ 341 h 419"/>
                <a:gd name="T52" fmla="*/ 499 w 516"/>
                <a:gd name="T53" fmla="*/ 362 h 419"/>
                <a:gd name="T54" fmla="*/ 463 w 516"/>
                <a:gd name="T55" fmla="*/ 366 h 419"/>
                <a:gd name="T56" fmla="*/ 431 w 516"/>
                <a:gd name="T57" fmla="*/ 366 h 419"/>
                <a:gd name="T58" fmla="*/ 422 w 516"/>
                <a:gd name="T59" fmla="*/ 385 h 419"/>
                <a:gd name="T60" fmla="*/ 395 w 516"/>
                <a:gd name="T61" fmla="*/ 418 h 419"/>
                <a:gd name="T62" fmla="*/ 376 w 516"/>
                <a:gd name="T63" fmla="*/ 413 h 419"/>
                <a:gd name="T64" fmla="*/ 354 w 516"/>
                <a:gd name="T65" fmla="*/ 386 h 419"/>
                <a:gd name="T66" fmla="*/ 329 w 516"/>
                <a:gd name="T67" fmla="*/ 378 h 419"/>
                <a:gd name="T68" fmla="*/ 293 w 516"/>
                <a:gd name="T69" fmla="*/ 367 h 419"/>
                <a:gd name="T70" fmla="*/ 255 w 516"/>
                <a:gd name="T71" fmla="*/ 366 h 419"/>
                <a:gd name="T72" fmla="*/ 234 w 516"/>
                <a:gd name="T73" fmla="*/ 359 h 419"/>
                <a:gd name="T74" fmla="*/ 218 w 516"/>
                <a:gd name="T75" fmla="*/ 353 h 419"/>
                <a:gd name="T76" fmla="*/ 215 w 516"/>
                <a:gd name="T77" fmla="*/ 340 h 419"/>
                <a:gd name="T78" fmla="*/ 183 w 516"/>
                <a:gd name="T79" fmla="*/ 303 h 419"/>
                <a:gd name="T80" fmla="*/ 169 w 516"/>
                <a:gd name="T81" fmla="*/ 300 h 419"/>
                <a:gd name="T82" fmla="*/ 164 w 516"/>
                <a:gd name="T83" fmla="*/ 274 h 419"/>
                <a:gd name="T84" fmla="*/ 153 w 516"/>
                <a:gd name="T85" fmla="*/ 260 h 419"/>
                <a:gd name="T86" fmla="*/ 120 w 516"/>
                <a:gd name="T87" fmla="*/ 257 h 419"/>
                <a:gd name="T88" fmla="*/ 104 w 516"/>
                <a:gd name="T89" fmla="*/ 237 h 419"/>
                <a:gd name="T90" fmla="*/ 94 w 516"/>
                <a:gd name="T91" fmla="*/ 211 h 419"/>
                <a:gd name="T92" fmla="*/ 89 w 516"/>
                <a:gd name="T93" fmla="*/ 229 h 419"/>
                <a:gd name="T94" fmla="*/ 77 w 516"/>
                <a:gd name="T95" fmla="*/ 236 h 419"/>
                <a:gd name="T96" fmla="*/ 64 w 516"/>
                <a:gd name="T97" fmla="*/ 238 h 419"/>
                <a:gd name="T98" fmla="*/ 60 w 516"/>
                <a:gd name="T99" fmla="*/ 217 h 419"/>
                <a:gd name="T100" fmla="*/ 33 w 516"/>
                <a:gd name="T101" fmla="*/ 234 h 419"/>
                <a:gd name="T102" fmla="*/ 20 w 516"/>
                <a:gd name="T103" fmla="*/ 223 h 419"/>
                <a:gd name="T104" fmla="*/ 5 w 516"/>
                <a:gd name="T105" fmla="*/ 217 h 419"/>
                <a:gd name="T106" fmla="*/ 4 w 516"/>
                <a:gd name="T107" fmla="*/ 193 h 419"/>
                <a:gd name="T108" fmla="*/ 11 w 516"/>
                <a:gd name="T109" fmla="*/ 172 h 419"/>
                <a:gd name="T110" fmla="*/ 6 w 516"/>
                <a:gd name="T111" fmla="*/ 145 h 419"/>
                <a:gd name="T112" fmla="*/ 20 w 516"/>
                <a:gd name="T113" fmla="*/ 105 h 419"/>
                <a:gd name="T114" fmla="*/ 40 w 516"/>
                <a:gd name="T115" fmla="*/ 71 h 419"/>
                <a:gd name="T116" fmla="*/ 66 w 516"/>
                <a:gd name="T117" fmla="*/ 52 h 419"/>
                <a:gd name="T118" fmla="*/ 77 w 516"/>
                <a:gd name="T119" fmla="*/ 34 h 419"/>
                <a:gd name="T120" fmla="*/ 113 w 516"/>
                <a:gd name="T121" fmla="*/ 24 h 419"/>
                <a:gd name="T122" fmla="*/ 142 w 516"/>
                <a:gd name="T123" fmla="*/ 1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16" h="419">
                  <a:moveTo>
                    <a:pt x="156" y="0"/>
                  </a:moveTo>
                  <a:lnTo>
                    <a:pt x="157" y="0"/>
                  </a:lnTo>
                  <a:lnTo>
                    <a:pt x="158" y="0"/>
                  </a:lnTo>
                  <a:lnTo>
                    <a:pt x="158" y="1"/>
                  </a:lnTo>
                  <a:lnTo>
                    <a:pt x="159" y="1"/>
                  </a:lnTo>
                  <a:lnTo>
                    <a:pt x="160" y="1"/>
                  </a:lnTo>
                  <a:lnTo>
                    <a:pt x="160" y="2"/>
                  </a:lnTo>
                  <a:lnTo>
                    <a:pt x="161" y="2"/>
                  </a:lnTo>
                  <a:lnTo>
                    <a:pt x="162" y="3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64" y="5"/>
                  </a:lnTo>
                  <a:lnTo>
                    <a:pt x="164" y="6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6" y="7"/>
                  </a:lnTo>
                  <a:lnTo>
                    <a:pt x="167" y="8"/>
                  </a:lnTo>
                  <a:lnTo>
                    <a:pt x="167" y="8"/>
                  </a:lnTo>
                  <a:lnTo>
                    <a:pt x="168" y="8"/>
                  </a:lnTo>
                  <a:lnTo>
                    <a:pt x="169" y="9"/>
                  </a:lnTo>
                  <a:lnTo>
                    <a:pt x="169" y="9"/>
                  </a:lnTo>
                  <a:lnTo>
                    <a:pt x="169" y="10"/>
                  </a:lnTo>
                  <a:lnTo>
                    <a:pt x="169" y="10"/>
                  </a:lnTo>
                  <a:lnTo>
                    <a:pt x="169" y="11"/>
                  </a:lnTo>
                  <a:lnTo>
                    <a:pt x="169" y="11"/>
                  </a:lnTo>
                  <a:lnTo>
                    <a:pt x="169" y="12"/>
                  </a:lnTo>
                  <a:lnTo>
                    <a:pt x="169" y="13"/>
                  </a:lnTo>
                  <a:lnTo>
                    <a:pt x="169" y="14"/>
                  </a:lnTo>
                  <a:lnTo>
                    <a:pt x="167" y="18"/>
                  </a:lnTo>
                  <a:lnTo>
                    <a:pt x="167" y="20"/>
                  </a:lnTo>
                  <a:lnTo>
                    <a:pt x="166" y="21"/>
                  </a:lnTo>
                  <a:lnTo>
                    <a:pt x="166" y="22"/>
                  </a:lnTo>
                  <a:lnTo>
                    <a:pt x="166" y="23"/>
                  </a:lnTo>
                  <a:lnTo>
                    <a:pt x="166" y="24"/>
                  </a:lnTo>
                  <a:lnTo>
                    <a:pt x="166" y="26"/>
                  </a:lnTo>
                  <a:lnTo>
                    <a:pt x="166" y="27"/>
                  </a:lnTo>
                  <a:lnTo>
                    <a:pt x="167" y="28"/>
                  </a:lnTo>
                  <a:lnTo>
                    <a:pt x="167" y="29"/>
                  </a:lnTo>
                  <a:lnTo>
                    <a:pt x="168" y="30"/>
                  </a:lnTo>
                  <a:lnTo>
                    <a:pt x="168" y="31"/>
                  </a:lnTo>
                  <a:lnTo>
                    <a:pt x="169" y="32"/>
                  </a:lnTo>
                  <a:lnTo>
                    <a:pt x="172" y="35"/>
                  </a:lnTo>
                  <a:lnTo>
                    <a:pt x="173" y="37"/>
                  </a:lnTo>
                  <a:lnTo>
                    <a:pt x="173" y="38"/>
                  </a:lnTo>
                  <a:lnTo>
                    <a:pt x="174" y="38"/>
                  </a:lnTo>
                  <a:lnTo>
                    <a:pt x="174" y="39"/>
                  </a:lnTo>
                  <a:lnTo>
                    <a:pt x="174" y="40"/>
                  </a:lnTo>
                  <a:lnTo>
                    <a:pt x="174" y="41"/>
                  </a:lnTo>
                  <a:lnTo>
                    <a:pt x="175" y="42"/>
                  </a:lnTo>
                  <a:lnTo>
                    <a:pt x="175" y="43"/>
                  </a:lnTo>
                  <a:lnTo>
                    <a:pt x="175" y="45"/>
                  </a:lnTo>
                  <a:lnTo>
                    <a:pt x="174" y="46"/>
                  </a:lnTo>
                  <a:lnTo>
                    <a:pt x="174" y="47"/>
                  </a:lnTo>
                  <a:lnTo>
                    <a:pt x="174" y="49"/>
                  </a:lnTo>
                  <a:lnTo>
                    <a:pt x="174" y="49"/>
                  </a:lnTo>
                  <a:lnTo>
                    <a:pt x="173" y="50"/>
                  </a:lnTo>
                  <a:lnTo>
                    <a:pt x="173" y="50"/>
                  </a:lnTo>
                  <a:lnTo>
                    <a:pt x="173" y="51"/>
                  </a:lnTo>
                  <a:lnTo>
                    <a:pt x="172" y="52"/>
                  </a:lnTo>
                  <a:lnTo>
                    <a:pt x="171" y="52"/>
                  </a:lnTo>
                  <a:lnTo>
                    <a:pt x="170" y="53"/>
                  </a:lnTo>
                  <a:lnTo>
                    <a:pt x="169" y="53"/>
                  </a:lnTo>
                  <a:lnTo>
                    <a:pt x="169" y="53"/>
                  </a:lnTo>
                  <a:lnTo>
                    <a:pt x="166" y="54"/>
                  </a:lnTo>
                  <a:lnTo>
                    <a:pt x="165" y="54"/>
                  </a:lnTo>
                  <a:lnTo>
                    <a:pt x="164" y="55"/>
                  </a:lnTo>
                  <a:lnTo>
                    <a:pt x="164" y="55"/>
                  </a:lnTo>
                  <a:lnTo>
                    <a:pt x="163" y="56"/>
                  </a:lnTo>
                  <a:lnTo>
                    <a:pt x="162" y="57"/>
                  </a:lnTo>
                  <a:lnTo>
                    <a:pt x="162" y="57"/>
                  </a:lnTo>
                  <a:lnTo>
                    <a:pt x="160" y="59"/>
                  </a:lnTo>
                  <a:lnTo>
                    <a:pt x="160" y="60"/>
                  </a:lnTo>
                  <a:lnTo>
                    <a:pt x="159" y="61"/>
                  </a:lnTo>
                  <a:lnTo>
                    <a:pt x="159" y="61"/>
                  </a:lnTo>
                  <a:lnTo>
                    <a:pt x="158" y="62"/>
                  </a:lnTo>
                  <a:lnTo>
                    <a:pt x="158" y="62"/>
                  </a:lnTo>
                  <a:lnTo>
                    <a:pt x="157" y="63"/>
                  </a:lnTo>
                  <a:lnTo>
                    <a:pt x="156" y="63"/>
                  </a:lnTo>
                  <a:lnTo>
                    <a:pt x="155" y="63"/>
                  </a:lnTo>
                  <a:lnTo>
                    <a:pt x="153" y="64"/>
                  </a:lnTo>
                  <a:lnTo>
                    <a:pt x="148" y="66"/>
                  </a:lnTo>
                  <a:lnTo>
                    <a:pt x="142" y="68"/>
                  </a:lnTo>
                  <a:lnTo>
                    <a:pt x="139" y="69"/>
                  </a:lnTo>
                  <a:lnTo>
                    <a:pt x="134" y="70"/>
                  </a:lnTo>
                  <a:lnTo>
                    <a:pt x="133" y="71"/>
                  </a:lnTo>
                  <a:lnTo>
                    <a:pt x="132" y="71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0" y="73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5"/>
                  </a:lnTo>
                  <a:lnTo>
                    <a:pt x="129" y="76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30" y="78"/>
                  </a:lnTo>
                  <a:lnTo>
                    <a:pt x="130" y="79"/>
                  </a:lnTo>
                  <a:lnTo>
                    <a:pt x="131" y="80"/>
                  </a:lnTo>
                  <a:lnTo>
                    <a:pt x="131" y="81"/>
                  </a:lnTo>
                  <a:lnTo>
                    <a:pt x="132" y="82"/>
                  </a:lnTo>
                  <a:lnTo>
                    <a:pt x="132" y="82"/>
                  </a:lnTo>
                  <a:lnTo>
                    <a:pt x="133" y="83"/>
                  </a:lnTo>
                  <a:lnTo>
                    <a:pt x="134" y="84"/>
                  </a:lnTo>
                  <a:lnTo>
                    <a:pt x="135" y="85"/>
                  </a:lnTo>
                  <a:lnTo>
                    <a:pt x="139" y="88"/>
                  </a:lnTo>
                  <a:lnTo>
                    <a:pt x="140" y="89"/>
                  </a:lnTo>
                  <a:lnTo>
                    <a:pt x="141" y="91"/>
                  </a:lnTo>
                  <a:lnTo>
                    <a:pt x="143" y="93"/>
                  </a:lnTo>
                  <a:lnTo>
                    <a:pt x="144" y="94"/>
                  </a:lnTo>
                  <a:lnTo>
                    <a:pt x="145" y="95"/>
                  </a:lnTo>
                  <a:lnTo>
                    <a:pt x="146" y="96"/>
                  </a:lnTo>
                  <a:lnTo>
                    <a:pt x="147" y="97"/>
                  </a:lnTo>
                  <a:lnTo>
                    <a:pt x="149" y="97"/>
                  </a:lnTo>
                  <a:lnTo>
                    <a:pt x="150" y="98"/>
                  </a:lnTo>
                  <a:lnTo>
                    <a:pt x="151" y="98"/>
                  </a:lnTo>
                  <a:lnTo>
                    <a:pt x="152" y="98"/>
                  </a:lnTo>
                  <a:lnTo>
                    <a:pt x="152" y="98"/>
                  </a:lnTo>
                  <a:lnTo>
                    <a:pt x="153" y="97"/>
                  </a:lnTo>
                  <a:lnTo>
                    <a:pt x="155" y="97"/>
                  </a:lnTo>
                  <a:lnTo>
                    <a:pt x="156" y="97"/>
                  </a:lnTo>
                  <a:lnTo>
                    <a:pt x="157" y="97"/>
                  </a:lnTo>
                  <a:lnTo>
                    <a:pt x="158" y="97"/>
                  </a:lnTo>
                  <a:lnTo>
                    <a:pt x="159" y="97"/>
                  </a:lnTo>
                  <a:lnTo>
                    <a:pt x="159" y="97"/>
                  </a:lnTo>
                  <a:lnTo>
                    <a:pt x="160" y="97"/>
                  </a:lnTo>
                  <a:lnTo>
                    <a:pt x="161" y="97"/>
                  </a:lnTo>
                  <a:lnTo>
                    <a:pt x="161" y="98"/>
                  </a:lnTo>
                  <a:lnTo>
                    <a:pt x="163" y="98"/>
                  </a:lnTo>
                  <a:lnTo>
                    <a:pt x="163" y="99"/>
                  </a:lnTo>
                  <a:lnTo>
                    <a:pt x="164" y="99"/>
                  </a:lnTo>
                  <a:lnTo>
                    <a:pt x="165" y="100"/>
                  </a:lnTo>
                  <a:lnTo>
                    <a:pt x="166" y="101"/>
                  </a:lnTo>
                  <a:lnTo>
                    <a:pt x="167" y="102"/>
                  </a:lnTo>
                  <a:lnTo>
                    <a:pt x="168" y="103"/>
                  </a:lnTo>
                  <a:lnTo>
                    <a:pt x="170" y="106"/>
                  </a:lnTo>
                  <a:lnTo>
                    <a:pt x="171" y="108"/>
                  </a:lnTo>
                  <a:lnTo>
                    <a:pt x="174" y="112"/>
                  </a:lnTo>
                  <a:lnTo>
                    <a:pt x="175" y="113"/>
                  </a:lnTo>
                  <a:lnTo>
                    <a:pt x="176" y="115"/>
                  </a:lnTo>
                  <a:lnTo>
                    <a:pt x="177" y="116"/>
                  </a:lnTo>
                  <a:lnTo>
                    <a:pt x="177" y="117"/>
                  </a:lnTo>
                  <a:lnTo>
                    <a:pt x="178" y="119"/>
                  </a:lnTo>
                  <a:lnTo>
                    <a:pt x="178" y="120"/>
                  </a:lnTo>
                  <a:lnTo>
                    <a:pt x="180" y="124"/>
                  </a:lnTo>
                  <a:lnTo>
                    <a:pt x="181" y="126"/>
                  </a:lnTo>
                  <a:lnTo>
                    <a:pt x="181" y="127"/>
                  </a:lnTo>
                  <a:lnTo>
                    <a:pt x="182" y="131"/>
                  </a:lnTo>
                  <a:lnTo>
                    <a:pt x="184" y="134"/>
                  </a:lnTo>
                  <a:lnTo>
                    <a:pt x="184" y="135"/>
                  </a:lnTo>
                  <a:lnTo>
                    <a:pt x="185" y="136"/>
                  </a:lnTo>
                  <a:lnTo>
                    <a:pt x="185" y="137"/>
                  </a:lnTo>
                  <a:lnTo>
                    <a:pt x="186" y="137"/>
                  </a:lnTo>
                  <a:lnTo>
                    <a:pt x="187" y="138"/>
                  </a:lnTo>
                  <a:lnTo>
                    <a:pt x="188" y="138"/>
                  </a:lnTo>
                  <a:lnTo>
                    <a:pt x="190" y="140"/>
                  </a:lnTo>
                  <a:lnTo>
                    <a:pt x="192" y="141"/>
                  </a:lnTo>
                  <a:lnTo>
                    <a:pt x="195" y="142"/>
                  </a:lnTo>
                  <a:lnTo>
                    <a:pt x="196" y="142"/>
                  </a:lnTo>
                  <a:lnTo>
                    <a:pt x="197" y="143"/>
                  </a:lnTo>
                  <a:lnTo>
                    <a:pt x="198" y="144"/>
                  </a:lnTo>
                  <a:lnTo>
                    <a:pt x="198" y="145"/>
                  </a:lnTo>
                  <a:lnTo>
                    <a:pt x="199" y="146"/>
                  </a:lnTo>
                  <a:lnTo>
                    <a:pt x="200" y="147"/>
                  </a:lnTo>
                  <a:lnTo>
                    <a:pt x="201" y="148"/>
                  </a:lnTo>
                  <a:lnTo>
                    <a:pt x="201" y="149"/>
                  </a:lnTo>
                  <a:lnTo>
                    <a:pt x="202" y="150"/>
                  </a:lnTo>
                  <a:lnTo>
                    <a:pt x="202" y="151"/>
                  </a:lnTo>
                  <a:lnTo>
                    <a:pt x="204" y="152"/>
                  </a:lnTo>
                  <a:lnTo>
                    <a:pt x="205" y="153"/>
                  </a:lnTo>
                  <a:lnTo>
                    <a:pt x="207" y="154"/>
                  </a:lnTo>
                  <a:lnTo>
                    <a:pt x="208" y="155"/>
                  </a:lnTo>
                  <a:lnTo>
                    <a:pt x="209" y="156"/>
                  </a:lnTo>
                  <a:lnTo>
                    <a:pt x="211" y="156"/>
                  </a:lnTo>
                  <a:lnTo>
                    <a:pt x="212" y="157"/>
                  </a:lnTo>
                  <a:lnTo>
                    <a:pt x="213" y="157"/>
                  </a:lnTo>
                  <a:lnTo>
                    <a:pt x="213" y="157"/>
                  </a:lnTo>
                  <a:lnTo>
                    <a:pt x="214" y="157"/>
                  </a:lnTo>
                  <a:lnTo>
                    <a:pt x="215" y="157"/>
                  </a:lnTo>
                  <a:lnTo>
                    <a:pt x="216" y="157"/>
                  </a:lnTo>
                  <a:lnTo>
                    <a:pt x="220" y="156"/>
                  </a:lnTo>
                  <a:lnTo>
                    <a:pt x="222" y="156"/>
                  </a:lnTo>
                  <a:lnTo>
                    <a:pt x="223" y="156"/>
                  </a:lnTo>
                  <a:lnTo>
                    <a:pt x="224" y="155"/>
                  </a:lnTo>
                  <a:lnTo>
                    <a:pt x="225" y="155"/>
                  </a:lnTo>
                  <a:lnTo>
                    <a:pt x="227" y="154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0" y="152"/>
                  </a:lnTo>
                  <a:lnTo>
                    <a:pt x="235" y="147"/>
                  </a:lnTo>
                  <a:lnTo>
                    <a:pt x="236" y="146"/>
                  </a:lnTo>
                  <a:lnTo>
                    <a:pt x="237" y="145"/>
                  </a:lnTo>
                  <a:lnTo>
                    <a:pt x="238" y="145"/>
                  </a:lnTo>
                  <a:lnTo>
                    <a:pt x="239" y="144"/>
                  </a:lnTo>
                  <a:lnTo>
                    <a:pt x="241" y="143"/>
                  </a:lnTo>
                  <a:lnTo>
                    <a:pt x="242" y="142"/>
                  </a:lnTo>
                  <a:lnTo>
                    <a:pt x="245" y="141"/>
                  </a:lnTo>
                  <a:lnTo>
                    <a:pt x="247" y="140"/>
                  </a:lnTo>
                  <a:lnTo>
                    <a:pt x="248" y="140"/>
                  </a:lnTo>
                  <a:lnTo>
                    <a:pt x="249" y="139"/>
                  </a:lnTo>
                  <a:lnTo>
                    <a:pt x="251" y="139"/>
                  </a:lnTo>
                  <a:lnTo>
                    <a:pt x="252" y="139"/>
                  </a:lnTo>
                  <a:lnTo>
                    <a:pt x="252" y="139"/>
                  </a:lnTo>
                  <a:lnTo>
                    <a:pt x="257" y="139"/>
                  </a:lnTo>
                  <a:lnTo>
                    <a:pt x="259" y="139"/>
                  </a:lnTo>
                  <a:lnTo>
                    <a:pt x="260" y="139"/>
                  </a:lnTo>
                  <a:lnTo>
                    <a:pt x="261" y="139"/>
                  </a:lnTo>
                  <a:lnTo>
                    <a:pt x="262" y="139"/>
                  </a:lnTo>
                  <a:lnTo>
                    <a:pt x="262" y="139"/>
                  </a:lnTo>
                  <a:lnTo>
                    <a:pt x="263" y="139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7"/>
                  </a:lnTo>
                  <a:lnTo>
                    <a:pt x="264" y="136"/>
                  </a:lnTo>
                  <a:lnTo>
                    <a:pt x="264" y="135"/>
                  </a:lnTo>
                  <a:lnTo>
                    <a:pt x="263" y="134"/>
                  </a:lnTo>
                  <a:lnTo>
                    <a:pt x="263" y="133"/>
                  </a:lnTo>
                  <a:lnTo>
                    <a:pt x="263" y="132"/>
                  </a:lnTo>
                  <a:lnTo>
                    <a:pt x="263" y="132"/>
                  </a:lnTo>
                  <a:lnTo>
                    <a:pt x="262" y="131"/>
                  </a:lnTo>
                  <a:lnTo>
                    <a:pt x="262" y="130"/>
                  </a:lnTo>
                  <a:lnTo>
                    <a:pt x="261" y="130"/>
                  </a:lnTo>
                  <a:lnTo>
                    <a:pt x="261" y="129"/>
                  </a:lnTo>
                  <a:lnTo>
                    <a:pt x="260" y="129"/>
                  </a:lnTo>
                  <a:lnTo>
                    <a:pt x="259" y="129"/>
                  </a:lnTo>
                  <a:lnTo>
                    <a:pt x="258" y="128"/>
                  </a:lnTo>
                  <a:lnTo>
                    <a:pt x="256" y="128"/>
                  </a:lnTo>
                  <a:lnTo>
                    <a:pt x="256" y="128"/>
                  </a:lnTo>
                  <a:lnTo>
                    <a:pt x="255" y="128"/>
                  </a:lnTo>
                  <a:lnTo>
                    <a:pt x="255" y="127"/>
                  </a:lnTo>
                  <a:lnTo>
                    <a:pt x="254" y="127"/>
                  </a:lnTo>
                  <a:lnTo>
                    <a:pt x="254" y="127"/>
                  </a:lnTo>
                  <a:lnTo>
                    <a:pt x="254" y="126"/>
                  </a:lnTo>
                  <a:lnTo>
                    <a:pt x="253" y="126"/>
                  </a:lnTo>
                  <a:lnTo>
                    <a:pt x="253" y="125"/>
                  </a:lnTo>
                  <a:lnTo>
                    <a:pt x="253" y="124"/>
                  </a:lnTo>
                  <a:lnTo>
                    <a:pt x="253" y="124"/>
                  </a:lnTo>
                  <a:lnTo>
                    <a:pt x="253" y="123"/>
                  </a:lnTo>
                  <a:lnTo>
                    <a:pt x="253" y="122"/>
                  </a:lnTo>
                  <a:lnTo>
                    <a:pt x="253" y="121"/>
                  </a:lnTo>
                  <a:lnTo>
                    <a:pt x="254" y="121"/>
                  </a:lnTo>
                  <a:lnTo>
                    <a:pt x="254" y="120"/>
                  </a:lnTo>
                  <a:lnTo>
                    <a:pt x="255" y="119"/>
                  </a:lnTo>
                  <a:lnTo>
                    <a:pt x="255" y="118"/>
                  </a:lnTo>
                  <a:lnTo>
                    <a:pt x="256" y="118"/>
                  </a:lnTo>
                  <a:lnTo>
                    <a:pt x="257" y="117"/>
                  </a:lnTo>
                  <a:lnTo>
                    <a:pt x="257" y="117"/>
                  </a:lnTo>
                  <a:lnTo>
                    <a:pt x="258" y="117"/>
                  </a:lnTo>
                  <a:lnTo>
                    <a:pt x="259" y="116"/>
                  </a:lnTo>
                  <a:lnTo>
                    <a:pt x="260" y="116"/>
                  </a:lnTo>
                  <a:lnTo>
                    <a:pt x="261" y="116"/>
                  </a:lnTo>
                  <a:lnTo>
                    <a:pt x="261" y="116"/>
                  </a:lnTo>
                  <a:lnTo>
                    <a:pt x="262" y="116"/>
                  </a:lnTo>
                  <a:lnTo>
                    <a:pt x="263" y="117"/>
                  </a:lnTo>
                  <a:lnTo>
                    <a:pt x="265" y="117"/>
                  </a:lnTo>
                  <a:lnTo>
                    <a:pt x="266" y="118"/>
                  </a:lnTo>
                  <a:lnTo>
                    <a:pt x="267" y="118"/>
                  </a:lnTo>
                  <a:lnTo>
                    <a:pt x="268" y="119"/>
                  </a:lnTo>
                  <a:lnTo>
                    <a:pt x="269" y="120"/>
                  </a:lnTo>
                  <a:lnTo>
                    <a:pt x="272" y="122"/>
                  </a:lnTo>
                  <a:lnTo>
                    <a:pt x="273" y="123"/>
                  </a:lnTo>
                  <a:lnTo>
                    <a:pt x="274" y="124"/>
                  </a:lnTo>
                  <a:lnTo>
                    <a:pt x="275" y="125"/>
                  </a:lnTo>
                  <a:lnTo>
                    <a:pt x="276" y="126"/>
                  </a:lnTo>
                  <a:lnTo>
                    <a:pt x="278" y="132"/>
                  </a:lnTo>
                  <a:lnTo>
                    <a:pt x="279" y="133"/>
                  </a:lnTo>
                  <a:lnTo>
                    <a:pt x="279" y="134"/>
                  </a:lnTo>
                  <a:lnTo>
                    <a:pt x="280" y="137"/>
                  </a:lnTo>
                  <a:lnTo>
                    <a:pt x="281" y="138"/>
                  </a:lnTo>
                  <a:lnTo>
                    <a:pt x="281" y="139"/>
                  </a:lnTo>
                  <a:lnTo>
                    <a:pt x="282" y="140"/>
                  </a:lnTo>
                  <a:lnTo>
                    <a:pt x="282" y="142"/>
                  </a:lnTo>
                  <a:lnTo>
                    <a:pt x="283" y="142"/>
                  </a:lnTo>
                  <a:lnTo>
                    <a:pt x="284" y="143"/>
                  </a:lnTo>
                  <a:lnTo>
                    <a:pt x="285" y="143"/>
                  </a:lnTo>
                  <a:lnTo>
                    <a:pt x="285" y="144"/>
                  </a:lnTo>
                  <a:lnTo>
                    <a:pt x="286" y="144"/>
                  </a:lnTo>
                  <a:lnTo>
                    <a:pt x="287" y="145"/>
                  </a:lnTo>
                  <a:lnTo>
                    <a:pt x="287" y="145"/>
                  </a:lnTo>
                  <a:lnTo>
                    <a:pt x="290" y="146"/>
                  </a:lnTo>
                  <a:lnTo>
                    <a:pt x="295" y="148"/>
                  </a:lnTo>
                  <a:lnTo>
                    <a:pt x="296" y="148"/>
                  </a:lnTo>
                  <a:lnTo>
                    <a:pt x="297" y="148"/>
                  </a:lnTo>
                  <a:lnTo>
                    <a:pt x="297" y="148"/>
                  </a:lnTo>
                  <a:lnTo>
                    <a:pt x="298" y="148"/>
                  </a:lnTo>
                  <a:lnTo>
                    <a:pt x="299" y="148"/>
                  </a:lnTo>
                  <a:lnTo>
                    <a:pt x="299" y="147"/>
                  </a:lnTo>
                  <a:lnTo>
                    <a:pt x="300" y="147"/>
                  </a:lnTo>
                  <a:lnTo>
                    <a:pt x="300" y="147"/>
                  </a:lnTo>
                  <a:lnTo>
                    <a:pt x="302" y="146"/>
                  </a:lnTo>
                  <a:lnTo>
                    <a:pt x="303" y="145"/>
                  </a:lnTo>
                  <a:lnTo>
                    <a:pt x="304" y="145"/>
                  </a:lnTo>
                  <a:lnTo>
                    <a:pt x="304" y="145"/>
                  </a:lnTo>
                  <a:lnTo>
                    <a:pt x="305" y="144"/>
                  </a:lnTo>
                  <a:lnTo>
                    <a:pt x="305" y="144"/>
                  </a:lnTo>
                  <a:lnTo>
                    <a:pt x="306" y="144"/>
                  </a:lnTo>
                  <a:lnTo>
                    <a:pt x="307" y="144"/>
                  </a:lnTo>
                  <a:lnTo>
                    <a:pt x="308" y="144"/>
                  </a:lnTo>
                  <a:lnTo>
                    <a:pt x="309" y="145"/>
                  </a:lnTo>
                  <a:lnTo>
                    <a:pt x="310" y="145"/>
                  </a:lnTo>
                  <a:lnTo>
                    <a:pt x="310" y="145"/>
                  </a:lnTo>
                  <a:lnTo>
                    <a:pt x="311" y="146"/>
                  </a:lnTo>
                  <a:lnTo>
                    <a:pt x="311" y="146"/>
                  </a:lnTo>
                  <a:lnTo>
                    <a:pt x="312" y="146"/>
                  </a:lnTo>
                  <a:lnTo>
                    <a:pt x="313" y="147"/>
                  </a:lnTo>
                  <a:lnTo>
                    <a:pt x="313" y="148"/>
                  </a:lnTo>
                  <a:lnTo>
                    <a:pt x="314" y="149"/>
                  </a:lnTo>
                  <a:lnTo>
                    <a:pt x="315" y="151"/>
                  </a:lnTo>
                  <a:lnTo>
                    <a:pt x="316" y="152"/>
                  </a:lnTo>
                  <a:lnTo>
                    <a:pt x="317" y="153"/>
                  </a:lnTo>
                  <a:lnTo>
                    <a:pt x="318" y="153"/>
                  </a:lnTo>
                  <a:lnTo>
                    <a:pt x="318" y="154"/>
                  </a:lnTo>
                  <a:lnTo>
                    <a:pt x="319" y="154"/>
                  </a:lnTo>
                  <a:lnTo>
                    <a:pt x="320" y="155"/>
                  </a:lnTo>
                  <a:lnTo>
                    <a:pt x="321" y="155"/>
                  </a:lnTo>
                  <a:lnTo>
                    <a:pt x="326" y="157"/>
                  </a:lnTo>
                  <a:lnTo>
                    <a:pt x="327" y="157"/>
                  </a:lnTo>
                  <a:lnTo>
                    <a:pt x="328" y="157"/>
                  </a:lnTo>
                  <a:lnTo>
                    <a:pt x="329" y="158"/>
                  </a:lnTo>
                  <a:lnTo>
                    <a:pt x="330" y="159"/>
                  </a:lnTo>
                  <a:lnTo>
                    <a:pt x="331" y="159"/>
                  </a:lnTo>
                  <a:lnTo>
                    <a:pt x="332" y="160"/>
                  </a:lnTo>
                  <a:lnTo>
                    <a:pt x="332" y="160"/>
                  </a:lnTo>
                  <a:lnTo>
                    <a:pt x="333" y="161"/>
                  </a:lnTo>
                  <a:lnTo>
                    <a:pt x="334" y="162"/>
                  </a:lnTo>
                  <a:lnTo>
                    <a:pt x="334" y="163"/>
                  </a:lnTo>
                  <a:lnTo>
                    <a:pt x="335" y="164"/>
                  </a:lnTo>
                  <a:lnTo>
                    <a:pt x="336" y="168"/>
                  </a:lnTo>
                  <a:lnTo>
                    <a:pt x="337" y="169"/>
                  </a:lnTo>
                  <a:lnTo>
                    <a:pt x="337" y="170"/>
                  </a:lnTo>
                  <a:lnTo>
                    <a:pt x="338" y="171"/>
                  </a:lnTo>
                  <a:lnTo>
                    <a:pt x="339" y="172"/>
                  </a:lnTo>
                  <a:lnTo>
                    <a:pt x="339" y="173"/>
                  </a:lnTo>
                  <a:lnTo>
                    <a:pt x="340" y="173"/>
                  </a:lnTo>
                  <a:lnTo>
                    <a:pt x="341" y="174"/>
                  </a:lnTo>
                  <a:lnTo>
                    <a:pt x="342" y="175"/>
                  </a:lnTo>
                  <a:lnTo>
                    <a:pt x="343" y="176"/>
                  </a:lnTo>
                  <a:lnTo>
                    <a:pt x="343" y="176"/>
                  </a:lnTo>
                  <a:lnTo>
                    <a:pt x="344" y="176"/>
                  </a:lnTo>
                  <a:lnTo>
                    <a:pt x="345" y="177"/>
                  </a:lnTo>
                  <a:lnTo>
                    <a:pt x="346" y="177"/>
                  </a:lnTo>
                  <a:lnTo>
                    <a:pt x="347" y="177"/>
                  </a:lnTo>
                  <a:lnTo>
                    <a:pt x="348" y="177"/>
                  </a:lnTo>
                  <a:lnTo>
                    <a:pt x="348" y="177"/>
                  </a:lnTo>
                  <a:lnTo>
                    <a:pt x="349" y="177"/>
                  </a:lnTo>
                  <a:lnTo>
                    <a:pt x="350" y="176"/>
                  </a:lnTo>
                  <a:lnTo>
                    <a:pt x="351" y="175"/>
                  </a:lnTo>
                  <a:lnTo>
                    <a:pt x="353" y="174"/>
                  </a:lnTo>
                  <a:lnTo>
                    <a:pt x="353" y="174"/>
                  </a:lnTo>
                  <a:lnTo>
                    <a:pt x="354" y="173"/>
                  </a:lnTo>
                  <a:lnTo>
                    <a:pt x="354" y="172"/>
                  </a:lnTo>
                  <a:lnTo>
                    <a:pt x="354" y="172"/>
                  </a:lnTo>
                  <a:lnTo>
                    <a:pt x="354" y="171"/>
                  </a:lnTo>
                  <a:lnTo>
                    <a:pt x="354" y="170"/>
                  </a:lnTo>
                  <a:lnTo>
                    <a:pt x="354" y="169"/>
                  </a:lnTo>
                  <a:lnTo>
                    <a:pt x="354" y="168"/>
                  </a:lnTo>
                  <a:lnTo>
                    <a:pt x="354" y="168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5" y="167"/>
                  </a:lnTo>
                  <a:lnTo>
                    <a:pt x="356" y="167"/>
                  </a:lnTo>
                  <a:lnTo>
                    <a:pt x="357" y="167"/>
                  </a:lnTo>
                  <a:lnTo>
                    <a:pt x="358" y="167"/>
                  </a:lnTo>
                  <a:lnTo>
                    <a:pt x="362" y="168"/>
                  </a:lnTo>
                  <a:lnTo>
                    <a:pt x="364" y="169"/>
                  </a:lnTo>
                  <a:lnTo>
                    <a:pt x="365" y="169"/>
                  </a:lnTo>
                  <a:lnTo>
                    <a:pt x="367" y="169"/>
                  </a:lnTo>
                  <a:lnTo>
                    <a:pt x="369" y="169"/>
                  </a:lnTo>
                  <a:lnTo>
                    <a:pt x="374" y="169"/>
                  </a:lnTo>
                  <a:lnTo>
                    <a:pt x="375" y="169"/>
                  </a:lnTo>
                  <a:lnTo>
                    <a:pt x="377" y="170"/>
                  </a:lnTo>
                  <a:lnTo>
                    <a:pt x="378" y="170"/>
                  </a:lnTo>
                  <a:lnTo>
                    <a:pt x="379" y="170"/>
                  </a:lnTo>
                  <a:lnTo>
                    <a:pt x="379" y="170"/>
                  </a:lnTo>
                  <a:lnTo>
                    <a:pt x="380" y="171"/>
                  </a:lnTo>
                  <a:lnTo>
                    <a:pt x="385" y="173"/>
                  </a:lnTo>
                  <a:lnTo>
                    <a:pt x="388" y="175"/>
                  </a:lnTo>
                  <a:lnTo>
                    <a:pt x="390" y="176"/>
                  </a:lnTo>
                  <a:lnTo>
                    <a:pt x="391" y="176"/>
                  </a:lnTo>
                  <a:lnTo>
                    <a:pt x="397" y="181"/>
                  </a:lnTo>
                  <a:lnTo>
                    <a:pt x="398" y="181"/>
                  </a:lnTo>
                  <a:lnTo>
                    <a:pt x="398" y="181"/>
                  </a:lnTo>
                  <a:lnTo>
                    <a:pt x="400" y="182"/>
                  </a:lnTo>
                  <a:lnTo>
                    <a:pt x="401" y="183"/>
                  </a:lnTo>
                  <a:lnTo>
                    <a:pt x="403" y="183"/>
                  </a:lnTo>
                  <a:lnTo>
                    <a:pt x="404" y="183"/>
                  </a:lnTo>
                  <a:lnTo>
                    <a:pt x="406" y="183"/>
                  </a:lnTo>
                  <a:lnTo>
                    <a:pt x="407" y="184"/>
                  </a:lnTo>
                  <a:lnTo>
                    <a:pt x="408" y="184"/>
                  </a:lnTo>
                  <a:lnTo>
                    <a:pt x="409" y="183"/>
                  </a:lnTo>
                  <a:lnTo>
                    <a:pt x="410" y="183"/>
                  </a:lnTo>
                  <a:lnTo>
                    <a:pt x="410" y="183"/>
                  </a:lnTo>
                  <a:lnTo>
                    <a:pt x="411" y="183"/>
                  </a:lnTo>
                  <a:lnTo>
                    <a:pt x="411" y="182"/>
                  </a:lnTo>
                  <a:lnTo>
                    <a:pt x="412" y="182"/>
                  </a:lnTo>
                  <a:lnTo>
                    <a:pt x="412" y="181"/>
                  </a:lnTo>
                  <a:lnTo>
                    <a:pt x="413" y="181"/>
                  </a:lnTo>
                  <a:lnTo>
                    <a:pt x="413" y="181"/>
                  </a:lnTo>
                  <a:lnTo>
                    <a:pt x="413" y="180"/>
                  </a:lnTo>
                  <a:lnTo>
                    <a:pt x="414" y="179"/>
                  </a:lnTo>
                  <a:lnTo>
                    <a:pt x="414" y="177"/>
                  </a:lnTo>
                  <a:lnTo>
                    <a:pt x="415" y="176"/>
                  </a:lnTo>
                  <a:lnTo>
                    <a:pt x="415" y="176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7" y="174"/>
                  </a:lnTo>
                  <a:lnTo>
                    <a:pt x="417" y="174"/>
                  </a:lnTo>
                  <a:lnTo>
                    <a:pt x="418" y="174"/>
                  </a:lnTo>
                  <a:lnTo>
                    <a:pt x="419" y="175"/>
                  </a:lnTo>
                  <a:lnTo>
                    <a:pt x="420" y="175"/>
                  </a:lnTo>
                  <a:lnTo>
                    <a:pt x="420" y="175"/>
                  </a:lnTo>
                  <a:lnTo>
                    <a:pt x="421" y="175"/>
                  </a:lnTo>
                  <a:lnTo>
                    <a:pt x="421" y="176"/>
                  </a:lnTo>
                  <a:lnTo>
                    <a:pt x="422" y="176"/>
                  </a:lnTo>
                  <a:lnTo>
                    <a:pt x="422" y="176"/>
                  </a:lnTo>
                  <a:lnTo>
                    <a:pt x="423" y="177"/>
                  </a:lnTo>
                  <a:lnTo>
                    <a:pt x="423" y="178"/>
                  </a:lnTo>
                  <a:lnTo>
                    <a:pt x="423" y="178"/>
                  </a:lnTo>
                  <a:lnTo>
                    <a:pt x="424" y="179"/>
                  </a:lnTo>
                  <a:lnTo>
                    <a:pt x="424" y="181"/>
                  </a:lnTo>
                  <a:lnTo>
                    <a:pt x="424" y="182"/>
                  </a:lnTo>
                  <a:lnTo>
                    <a:pt x="424" y="183"/>
                  </a:lnTo>
                  <a:lnTo>
                    <a:pt x="424" y="187"/>
                  </a:lnTo>
                  <a:lnTo>
                    <a:pt x="424" y="189"/>
                  </a:lnTo>
                  <a:lnTo>
                    <a:pt x="424" y="191"/>
                  </a:lnTo>
                  <a:lnTo>
                    <a:pt x="424" y="191"/>
                  </a:lnTo>
                  <a:lnTo>
                    <a:pt x="424" y="192"/>
                  </a:lnTo>
                  <a:lnTo>
                    <a:pt x="424" y="192"/>
                  </a:lnTo>
                  <a:lnTo>
                    <a:pt x="425" y="193"/>
                  </a:lnTo>
                  <a:lnTo>
                    <a:pt x="425" y="194"/>
                  </a:lnTo>
                  <a:lnTo>
                    <a:pt x="425" y="195"/>
                  </a:lnTo>
                  <a:lnTo>
                    <a:pt x="426" y="195"/>
                  </a:lnTo>
                  <a:lnTo>
                    <a:pt x="426" y="196"/>
                  </a:lnTo>
                  <a:lnTo>
                    <a:pt x="427" y="196"/>
                  </a:lnTo>
                  <a:lnTo>
                    <a:pt x="427" y="197"/>
                  </a:lnTo>
                  <a:lnTo>
                    <a:pt x="428" y="198"/>
                  </a:lnTo>
                  <a:lnTo>
                    <a:pt x="429" y="199"/>
                  </a:lnTo>
                  <a:lnTo>
                    <a:pt x="430" y="200"/>
                  </a:lnTo>
                  <a:lnTo>
                    <a:pt x="431" y="200"/>
                  </a:lnTo>
                  <a:lnTo>
                    <a:pt x="431" y="201"/>
                  </a:lnTo>
                  <a:lnTo>
                    <a:pt x="431" y="201"/>
                  </a:lnTo>
                  <a:lnTo>
                    <a:pt x="431" y="201"/>
                  </a:lnTo>
                  <a:lnTo>
                    <a:pt x="431" y="202"/>
                  </a:lnTo>
                  <a:lnTo>
                    <a:pt x="431" y="202"/>
                  </a:lnTo>
                  <a:lnTo>
                    <a:pt x="431" y="203"/>
                  </a:lnTo>
                  <a:lnTo>
                    <a:pt x="431" y="204"/>
                  </a:lnTo>
                  <a:lnTo>
                    <a:pt x="429" y="206"/>
                  </a:lnTo>
                  <a:lnTo>
                    <a:pt x="428" y="209"/>
                  </a:lnTo>
                  <a:lnTo>
                    <a:pt x="427" y="212"/>
                  </a:lnTo>
                  <a:lnTo>
                    <a:pt x="427" y="213"/>
                  </a:lnTo>
                  <a:lnTo>
                    <a:pt x="427" y="214"/>
                  </a:lnTo>
                  <a:lnTo>
                    <a:pt x="426" y="215"/>
                  </a:lnTo>
                  <a:lnTo>
                    <a:pt x="426" y="216"/>
                  </a:lnTo>
                  <a:lnTo>
                    <a:pt x="426" y="217"/>
                  </a:lnTo>
                  <a:lnTo>
                    <a:pt x="427" y="219"/>
                  </a:lnTo>
                  <a:lnTo>
                    <a:pt x="427" y="220"/>
                  </a:lnTo>
                  <a:lnTo>
                    <a:pt x="428" y="223"/>
                  </a:lnTo>
                  <a:lnTo>
                    <a:pt x="429" y="224"/>
                  </a:lnTo>
                  <a:lnTo>
                    <a:pt x="429" y="225"/>
                  </a:lnTo>
                  <a:lnTo>
                    <a:pt x="430" y="227"/>
                  </a:lnTo>
                  <a:lnTo>
                    <a:pt x="431" y="230"/>
                  </a:lnTo>
                  <a:lnTo>
                    <a:pt x="433" y="233"/>
                  </a:lnTo>
                  <a:lnTo>
                    <a:pt x="434" y="237"/>
                  </a:lnTo>
                  <a:lnTo>
                    <a:pt x="437" y="243"/>
                  </a:lnTo>
                  <a:lnTo>
                    <a:pt x="440" y="249"/>
                  </a:lnTo>
                  <a:lnTo>
                    <a:pt x="441" y="253"/>
                  </a:lnTo>
                  <a:lnTo>
                    <a:pt x="442" y="254"/>
                  </a:lnTo>
                  <a:lnTo>
                    <a:pt x="442" y="255"/>
                  </a:lnTo>
                  <a:lnTo>
                    <a:pt x="443" y="256"/>
                  </a:lnTo>
                  <a:lnTo>
                    <a:pt x="444" y="261"/>
                  </a:lnTo>
                  <a:lnTo>
                    <a:pt x="444" y="262"/>
                  </a:lnTo>
                  <a:lnTo>
                    <a:pt x="445" y="263"/>
                  </a:lnTo>
                  <a:lnTo>
                    <a:pt x="445" y="264"/>
                  </a:lnTo>
                  <a:lnTo>
                    <a:pt x="445" y="265"/>
                  </a:lnTo>
                  <a:lnTo>
                    <a:pt x="446" y="265"/>
                  </a:lnTo>
                  <a:lnTo>
                    <a:pt x="446" y="266"/>
                  </a:lnTo>
                  <a:lnTo>
                    <a:pt x="447" y="267"/>
                  </a:lnTo>
                  <a:lnTo>
                    <a:pt x="448" y="267"/>
                  </a:lnTo>
                  <a:lnTo>
                    <a:pt x="449" y="268"/>
                  </a:lnTo>
                  <a:lnTo>
                    <a:pt x="449" y="269"/>
                  </a:lnTo>
                  <a:lnTo>
                    <a:pt x="450" y="269"/>
                  </a:lnTo>
                  <a:lnTo>
                    <a:pt x="451" y="269"/>
                  </a:lnTo>
                  <a:lnTo>
                    <a:pt x="452" y="270"/>
                  </a:lnTo>
                  <a:lnTo>
                    <a:pt x="453" y="270"/>
                  </a:lnTo>
                  <a:lnTo>
                    <a:pt x="457" y="272"/>
                  </a:lnTo>
                  <a:lnTo>
                    <a:pt x="459" y="272"/>
                  </a:lnTo>
                  <a:lnTo>
                    <a:pt x="463" y="273"/>
                  </a:lnTo>
                  <a:lnTo>
                    <a:pt x="464" y="273"/>
                  </a:lnTo>
                  <a:lnTo>
                    <a:pt x="465" y="273"/>
                  </a:lnTo>
                  <a:lnTo>
                    <a:pt x="465" y="273"/>
                  </a:lnTo>
                  <a:lnTo>
                    <a:pt x="467" y="274"/>
                  </a:lnTo>
                  <a:lnTo>
                    <a:pt x="468" y="274"/>
                  </a:lnTo>
                  <a:lnTo>
                    <a:pt x="469" y="275"/>
                  </a:lnTo>
                  <a:lnTo>
                    <a:pt x="470" y="277"/>
                  </a:lnTo>
                  <a:lnTo>
                    <a:pt x="472" y="279"/>
                  </a:lnTo>
                  <a:lnTo>
                    <a:pt x="473" y="279"/>
                  </a:lnTo>
                  <a:lnTo>
                    <a:pt x="474" y="280"/>
                  </a:lnTo>
                  <a:lnTo>
                    <a:pt x="474" y="280"/>
                  </a:lnTo>
                  <a:lnTo>
                    <a:pt x="476" y="281"/>
                  </a:lnTo>
                  <a:lnTo>
                    <a:pt x="477" y="282"/>
                  </a:lnTo>
                  <a:lnTo>
                    <a:pt x="479" y="282"/>
                  </a:lnTo>
                  <a:lnTo>
                    <a:pt x="479" y="282"/>
                  </a:lnTo>
                  <a:lnTo>
                    <a:pt x="481" y="282"/>
                  </a:lnTo>
                  <a:lnTo>
                    <a:pt x="481" y="282"/>
                  </a:lnTo>
                  <a:lnTo>
                    <a:pt x="482" y="282"/>
                  </a:lnTo>
                  <a:lnTo>
                    <a:pt x="483" y="282"/>
                  </a:lnTo>
                  <a:lnTo>
                    <a:pt x="486" y="282"/>
                  </a:lnTo>
                  <a:lnTo>
                    <a:pt x="488" y="282"/>
                  </a:lnTo>
                  <a:lnTo>
                    <a:pt x="489" y="282"/>
                  </a:lnTo>
                  <a:lnTo>
                    <a:pt x="490" y="282"/>
                  </a:lnTo>
                  <a:lnTo>
                    <a:pt x="491" y="282"/>
                  </a:lnTo>
                  <a:lnTo>
                    <a:pt x="492" y="282"/>
                  </a:lnTo>
                  <a:lnTo>
                    <a:pt x="493" y="282"/>
                  </a:lnTo>
                  <a:lnTo>
                    <a:pt x="494" y="283"/>
                  </a:lnTo>
                  <a:lnTo>
                    <a:pt x="495" y="283"/>
                  </a:lnTo>
                  <a:lnTo>
                    <a:pt x="496" y="284"/>
                  </a:lnTo>
                  <a:lnTo>
                    <a:pt x="496" y="284"/>
                  </a:lnTo>
                  <a:lnTo>
                    <a:pt x="497" y="285"/>
                  </a:lnTo>
                  <a:lnTo>
                    <a:pt x="498" y="285"/>
                  </a:lnTo>
                  <a:lnTo>
                    <a:pt x="498" y="286"/>
                  </a:lnTo>
                  <a:lnTo>
                    <a:pt x="498" y="287"/>
                  </a:lnTo>
                  <a:lnTo>
                    <a:pt x="499" y="288"/>
                  </a:lnTo>
                  <a:lnTo>
                    <a:pt x="499" y="290"/>
                  </a:lnTo>
                  <a:lnTo>
                    <a:pt x="500" y="292"/>
                  </a:lnTo>
                  <a:lnTo>
                    <a:pt x="501" y="296"/>
                  </a:lnTo>
                  <a:lnTo>
                    <a:pt x="502" y="301"/>
                  </a:lnTo>
                  <a:lnTo>
                    <a:pt x="504" y="310"/>
                  </a:lnTo>
                  <a:lnTo>
                    <a:pt x="506" y="315"/>
                  </a:lnTo>
                  <a:lnTo>
                    <a:pt x="506" y="317"/>
                  </a:lnTo>
                  <a:lnTo>
                    <a:pt x="507" y="318"/>
                  </a:lnTo>
                  <a:lnTo>
                    <a:pt x="507" y="319"/>
                  </a:lnTo>
                  <a:lnTo>
                    <a:pt x="508" y="321"/>
                  </a:lnTo>
                  <a:lnTo>
                    <a:pt x="509" y="322"/>
                  </a:lnTo>
                  <a:lnTo>
                    <a:pt x="509" y="324"/>
                  </a:lnTo>
                  <a:lnTo>
                    <a:pt x="510" y="328"/>
                  </a:lnTo>
                  <a:lnTo>
                    <a:pt x="510" y="329"/>
                  </a:lnTo>
                  <a:lnTo>
                    <a:pt x="510" y="331"/>
                  </a:lnTo>
                  <a:lnTo>
                    <a:pt x="511" y="333"/>
                  </a:lnTo>
                  <a:lnTo>
                    <a:pt x="512" y="335"/>
                  </a:lnTo>
                  <a:lnTo>
                    <a:pt x="513" y="336"/>
                  </a:lnTo>
                  <a:lnTo>
                    <a:pt x="514" y="338"/>
                  </a:lnTo>
                  <a:lnTo>
                    <a:pt x="515" y="340"/>
                  </a:lnTo>
                  <a:lnTo>
                    <a:pt x="516" y="341"/>
                  </a:lnTo>
                  <a:lnTo>
                    <a:pt x="516" y="343"/>
                  </a:lnTo>
                  <a:lnTo>
                    <a:pt x="516" y="344"/>
                  </a:lnTo>
                  <a:lnTo>
                    <a:pt x="516" y="345"/>
                  </a:lnTo>
                  <a:lnTo>
                    <a:pt x="516" y="346"/>
                  </a:lnTo>
                  <a:lnTo>
                    <a:pt x="516" y="346"/>
                  </a:lnTo>
                  <a:lnTo>
                    <a:pt x="515" y="348"/>
                  </a:lnTo>
                  <a:lnTo>
                    <a:pt x="515" y="350"/>
                  </a:lnTo>
                  <a:lnTo>
                    <a:pt x="514" y="352"/>
                  </a:lnTo>
                  <a:lnTo>
                    <a:pt x="513" y="355"/>
                  </a:lnTo>
                  <a:lnTo>
                    <a:pt x="513" y="355"/>
                  </a:lnTo>
                  <a:lnTo>
                    <a:pt x="513" y="356"/>
                  </a:lnTo>
                  <a:lnTo>
                    <a:pt x="513" y="356"/>
                  </a:lnTo>
                  <a:lnTo>
                    <a:pt x="512" y="356"/>
                  </a:lnTo>
                  <a:lnTo>
                    <a:pt x="511" y="357"/>
                  </a:lnTo>
                  <a:lnTo>
                    <a:pt x="511" y="357"/>
                  </a:lnTo>
                  <a:lnTo>
                    <a:pt x="510" y="357"/>
                  </a:lnTo>
                  <a:lnTo>
                    <a:pt x="507" y="358"/>
                  </a:lnTo>
                  <a:lnTo>
                    <a:pt x="505" y="359"/>
                  </a:lnTo>
                  <a:lnTo>
                    <a:pt x="504" y="359"/>
                  </a:lnTo>
                  <a:lnTo>
                    <a:pt x="503" y="360"/>
                  </a:lnTo>
                  <a:lnTo>
                    <a:pt x="499" y="362"/>
                  </a:lnTo>
                  <a:lnTo>
                    <a:pt x="497" y="363"/>
                  </a:lnTo>
                  <a:lnTo>
                    <a:pt x="495" y="364"/>
                  </a:lnTo>
                  <a:lnTo>
                    <a:pt x="491" y="367"/>
                  </a:lnTo>
                  <a:lnTo>
                    <a:pt x="490" y="368"/>
                  </a:lnTo>
                  <a:lnTo>
                    <a:pt x="489" y="368"/>
                  </a:lnTo>
                  <a:lnTo>
                    <a:pt x="487" y="369"/>
                  </a:lnTo>
                  <a:lnTo>
                    <a:pt x="486" y="369"/>
                  </a:lnTo>
                  <a:lnTo>
                    <a:pt x="485" y="369"/>
                  </a:lnTo>
                  <a:lnTo>
                    <a:pt x="484" y="369"/>
                  </a:lnTo>
                  <a:lnTo>
                    <a:pt x="484" y="369"/>
                  </a:lnTo>
                  <a:lnTo>
                    <a:pt x="483" y="369"/>
                  </a:lnTo>
                  <a:lnTo>
                    <a:pt x="482" y="369"/>
                  </a:lnTo>
                  <a:lnTo>
                    <a:pt x="480" y="369"/>
                  </a:lnTo>
                  <a:lnTo>
                    <a:pt x="476" y="367"/>
                  </a:lnTo>
                  <a:lnTo>
                    <a:pt x="475" y="367"/>
                  </a:lnTo>
                  <a:lnTo>
                    <a:pt x="474" y="367"/>
                  </a:lnTo>
                  <a:lnTo>
                    <a:pt x="472" y="367"/>
                  </a:lnTo>
                  <a:lnTo>
                    <a:pt x="469" y="366"/>
                  </a:lnTo>
                  <a:lnTo>
                    <a:pt x="466" y="366"/>
                  </a:lnTo>
                  <a:lnTo>
                    <a:pt x="464" y="366"/>
                  </a:lnTo>
                  <a:lnTo>
                    <a:pt x="463" y="366"/>
                  </a:lnTo>
                  <a:lnTo>
                    <a:pt x="461" y="366"/>
                  </a:lnTo>
                  <a:lnTo>
                    <a:pt x="458" y="366"/>
                  </a:lnTo>
                  <a:lnTo>
                    <a:pt x="452" y="368"/>
                  </a:lnTo>
                  <a:lnTo>
                    <a:pt x="450" y="368"/>
                  </a:lnTo>
                  <a:lnTo>
                    <a:pt x="448" y="368"/>
                  </a:lnTo>
                  <a:lnTo>
                    <a:pt x="447" y="368"/>
                  </a:lnTo>
                  <a:lnTo>
                    <a:pt x="446" y="368"/>
                  </a:lnTo>
                  <a:lnTo>
                    <a:pt x="445" y="368"/>
                  </a:lnTo>
                  <a:lnTo>
                    <a:pt x="444" y="368"/>
                  </a:lnTo>
                  <a:lnTo>
                    <a:pt x="443" y="368"/>
                  </a:lnTo>
                  <a:lnTo>
                    <a:pt x="442" y="367"/>
                  </a:lnTo>
                  <a:lnTo>
                    <a:pt x="440" y="366"/>
                  </a:lnTo>
                  <a:lnTo>
                    <a:pt x="439" y="366"/>
                  </a:lnTo>
                  <a:lnTo>
                    <a:pt x="438" y="366"/>
                  </a:lnTo>
                  <a:lnTo>
                    <a:pt x="437" y="366"/>
                  </a:lnTo>
                  <a:lnTo>
                    <a:pt x="436" y="366"/>
                  </a:lnTo>
                  <a:lnTo>
                    <a:pt x="435" y="366"/>
                  </a:lnTo>
                  <a:lnTo>
                    <a:pt x="434" y="366"/>
                  </a:lnTo>
                  <a:lnTo>
                    <a:pt x="433" y="366"/>
                  </a:lnTo>
                  <a:lnTo>
                    <a:pt x="432" y="366"/>
                  </a:lnTo>
                  <a:lnTo>
                    <a:pt x="431" y="366"/>
                  </a:lnTo>
                  <a:lnTo>
                    <a:pt x="430" y="366"/>
                  </a:lnTo>
                  <a:lnTo>
                    <a:pt x="430" y="367"/>
                  </a:lnTo>
                  <a:lnTo>
                    <a:pt x="429" y="367"/>
                  </a:lnTo>
                  <a:lnTo>
                    <a:pt x="428" y="368"/>
                  </a:lnTo>
                  <a:lnTo>
                    <a:pt x="427" y="369"/>
                  </a:lnTo>
                  <a:lnTo>
                    <a:pt x="426" y="370"/>
                  </a:lnTo>
                  <a:lnTo>
                    <a:pt x="425" y="370"/>
                  </a:lnTo>
                  <a:lnTo>
                    <a:pt x="425" y="371"/>
                  </a:lnTo>
                  <a:lnTo>
                    <a:pt x="424" y="372"/>
                  </a:lnTo>
                  <a:lnTo>
                    <a:pt x="424" y="373"/>
                  </a:lnTo>
                  <a:lnTo>
                    <a:pt x="424" y="374"/>
                  </a:lnTo>
                  <a:lnTo>
                    <a:pt x="423" y="374"/>
                  </a:lnTo>
                  <a:lnTo>
                    <a:pt x="423" y="375"/>
                  </a:lnTo>
                  <a:lnTo>
                    <a:pt x="423" y="376"/>
                  </a:lnTo>
                  <a:lnTo>
                    <a:pt x="423" y="377"/>
                  </a:lnTo>
                  <a:lnTo>
                    <a:pt x="423" y="380"/>
                  </a:lnTo>
                  <a:lnTo>
                    <a:pt x="423" y="381"/>
                  </a:lnTo>
                  <a:lnTo>
                    <a:pt x="423" y="382"/>
                  </a:lnTo>
                  <a:lnTo>
                    <a:pt x="423" y="383"/>
                  </a:lnTo>
                  <a:lnTo>
                    <a:pt x="423" y="384"/>
                  </a:lnTo>
                  <a:lnTo>
                    <a:pt x="422" y="385"/>
                  </a:lnTo>
                  <a:lnTo>
                    <a:pt x="422" y="386"/>
                  </a:lnTo>
                  <a:lnTo>
                    <a:pt x="421" y="387"/>
                  </a:lnTo>
                  <a:lnTo>
                    <a:pt x="420" y="389"/>
                  </a:lnTo>
                  <a:lnTo>
                    <a:pt x="418" y="392"/>
                  </a:lnTo>
                  <a:lnTo>
                    <a:pt x="417" y="393"/>
                  </a:lnTo>
                  <a:lnTo>
                    <a:pt x="414" y="397"/>
                  </a:lnTo>
                  <a:lnTo>
                    <a:pt x="411" y="400"/>
                  </a:lnTo>
                  <a:lnTo>
                    <a:pt x="410" y="401"/>
                  </a:lnTo>
                  <a:lnTo>
                    <a:pt x="409" y="403"/>
                  </a:lnTo>
                  <a:lnTo>
                    <a:pt x="407" y="406"/>
                  </a:lnTo>
                  <a:lnTo>
                    <a:pt x="405" y="410"/>
                  </a:lnTo>
                  <a:lnTo>
                    <a:pt x="404" y="411"/>
                  </a:lnTo>
                  <a:lnTo>
                    <a:pt x="403" y="412"/>
                  </a:lnTo>
                  <a:lnTo>
                    <a:pt x="402" y="413"/>
                  </a:lnTo>
                  <a:lnTo>
                    <a:pt x="401" y="414"/>
                  </a:lnTo>
                  <a:lnTo>
                    <a:pt x="400" y="415"/>
                  </a:lnTo>
                  <a:lnTo>
                    <a:pt x="399" y="416"/>
                  </a:lnTo>
                  <a:lnTo>
                    <a:pt x="398" y="416"/>
                  </a:lnTo>
                  <a:lnTo>
                    <a:pt x="397" y="417"/>
                  </a:lnTo>
                  <a:lnTo>
                    <a:pt x="396" y="418"/>
                  </a:lnTo>
                  <a:lnTo>
                    <a:pt x="395" y="418"/>
                  </a:lnTo>
                  <a:lnTo>
                    <a:pt x="394" y="418"/>
                  </a:lnTo>
                  <a:lnTo>
                    <a:pt x="392" y="419"/>
                  </a:lnTo>
                  <a:lnTo>
                    <a:pt x="391" y="419"/>
                  </a:lnTo>
                  <a:lnTo>
                    <a:pt x="390" y="419"/>
                  </a:lnTo>
                  <a:lnTo>
                    <a:pt x="389" y="419"/>
                  </a:lnTo>
                  <a:lnTo>
                    <a:pt x="388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3" y="419"/>
                  </a:lnTo>
                  <a:lnTo>
                    <a:pt x="383" y="419"/>
                  </a:lnTo>
                  <a:lnTo>
                    <a:pt x="382" y="418"/>
                  </a:lnTo>
                  <a:lnTo>
                    <a:pt x="381" y="418"/>
                  </a:lnTo>
                  <a:lnTo>
                    <a:pt x="380" y="417"/>
                  </a:lnTo>
                  <a:lnTo>
                    <a:pt x="379" y="416"/>
                  </a:lnTo>
                  <a:lnTo>
                    <a:pt x="378" y="416"/>
                  </a:lnTo>
                  <a:lnTo>
                    <a:pt x="377" y="415"/>
                  </a:lnTo>
                  <a:lnTo>
                    <a:pt x="377" y="414"/>
                  </a:lnTo>
                  <a:lnTo>
                    <a:pt x="376" y="414"/>
                  </a:lnTo>
                  <a:lnTo>
                    <a:pt x="376" y="413"/>
                  </a:lnTo>
                  <a:lnTo>
                    <a:pt x="375" y="412"/>
                  </a:lnTo>
                  <a:lnTo>
                    <a:pt x="375" y="412"/>
                  </a:lnTo>
                  <a:lnTo>
                    <a:pt x="374" y="410"/>
                  </a:lnTo>
                  <a:lnTo>
                    <a:pt x="372" y="406"/>
                  </a:lnTo>
                  <a:lnTo>
                    <a:pt x="372" y="405"/>
                  </a:lnTo>
                  <a:lnTo>
                    <a:pt x="372" y="405"/>
                  </a:lnTo>
                  <a:lnTo>
                    <a:pt x="371" y="404"/>
                  </a:lnTo>
                  <a:lnTo>
                    <a:pt x="371" y="403"/>
                  </a:lnTo>
                  <a:lnTo>
                    <a:pt x="369" y="400"/>
                  </a:lnTo>
                  <a:lnTo>
                    <a:pt x="368" y="399"/>
                  </a:lnTo>
                  <a:lnTo>
                    <a:pt x="367" y="399"/>
                  </a:lnTo>
                  <a:lnTo>
                    <a:pt x="366" y="398"/>
                  </a:lnTo>
                  <a:lnTo>
                    <a:pt x="365" y="397"/>
                  </a:lnTo>
                  <a:lnTo>
                    <a:pt x="360" y="394"/>
                  </a:lnTo>
                  <a:lnTo>
                    <a:pt x="359" y="393"/>
                  </a:lnTo>
                  <a:lnTo>
                    <a:pt x="358" y="392"/>
                  </a:lnTo>
                  <a:lnTo>
                    <a:pt x="357" y="391"/>
                  </a:lnTo>
                  <a:lnTo>
                    <a:pt x="357" y="390"/>
                  </a:lnTo>
                  <a:lnTo>
                    <a:pt x="356" y="389"/>
                  </a:lnTo>
                  <a:lnTo>
                    <a:pt x="355" y="388"/>
                  </a:lnTo>
                  <a:lnTo>
                    <a:pt x="354" y="386"/>
                  </a:lnTo>
                  <a:lnTo>
                    <a:pt x="352" y="382"/>
                  </a:lnTo>
                  <a:lnTo>
                    <a:pt x="351" y="381"/>
                  </a:lnTo>
                  <a:lnTo>
                    <a:pt x="351" y="380"/>
                  </a:lnTo>
                  <a:lnTo>
                    <a:pt x="350" y="380"/>
                  </a:lnTo>
                  <a:lnTo>
                    <a:pt x="349" y="379"/>
                  </a:lnTo>
                  <a:lnTo>
                    <a:pt x="348" y="379"/>
                  </a:lnTo>
                  <a:lnTo>
                    <a:pt x="347" y="378"/>
                  </a:lnTo>
                  <a:lnTo>
                    <a:pt x="346" y="378"/>
                  </a:lnTo>
                  <a:lnTo>
                    <a:pt x="345" y="377"/>
                  </a:lnTo>
                  <a:lnTo>
                    <a:pt x="344" y="377"/>
                  </a:lnTo>
                  <a:lnTo>
                    <a:pt x="343" y="377"/>
                  </a:lnTo>
                  <a:lnTo>
                    <a:pt x="343" y="377"/>
                  </a:lnTo>
                  <a:lnTo>
                    <a:pt x="341" y="378"/>
                  </a:lnTo>
                  <a:lnTo>
                    <a:pt x="338" y="378"/>
                  </a:lnTo>
                  <a:lnTo>
                    <a:pt x="337" y="379"/>
                  </a:lnTo>
                  <a:lnTo>
                    <a:pt x="336" y="379"/>
                  </a:lnTo>
                  <a:lnTo>
                    <a:pt x="335" y="379"/>
                  </a:lnTo>
                  <a:lnTo>
                    <a:pt x="334" y="379"/>
                  </a:lnTo>
                  <a:lnTo>
                    <a:pt x="333" y="379"/>
                  </a:lnTo>
                  <a:lnTo>
                    <a:pt x="330" y="378"/>
                  </a:lnTo>
                  <a:lnTo>
                    <a:pt x="329" y="378"/>
                  </a:lnTo>
                  <a:lnTo>
                    <a:pt x="323" y="377"/>
                  </a:lnTo>
                  <a:lnTo>
                    <a:pt x="322" y="377"/>
                  </a:lnTo>
                  <a:lnTo>
                    <a:pt x="321" y="376"/>
                  </a:lnTo>
                  <a:lnTo>
                    <a:pt x="319" y="376"/>
                  </a:lnTo>
                  <a:lnTo>
                    <a:pt x="319" y="375"/>
                  </a:lnTo>
                  <a:lnTo>
                    <a:pt x="318" y="375"/>
                  </a:lnTo>
                  <a:lnTo>
                    <a:pt x="316" y="374"/>
                  </a:lnTo>
                  <a:lnTo>
                    <a:pt x="312" y="371"/>
                  </a:lnTo>
                  <a:lnTo>
                    <a:pt x="311" y="370"/>
                  </a:lnTo>
                  <a:lnTo>
                    <a:pt x="310" y="370"/>
                  </a:lnTo>
                  <a:lnTo>
                    <a:pt x="309" y="369"/>
                  </a:lnTo>
                  <a:lnTo>
                    <a:pt x="308" y="369"/>
                  </a:lnTo>
                  <a:lnTo>
                    <a:pt x="307" y="369"/>
                  </a:lnTo>
                  <a:lnTo>
                    <a:pt x="306" y="368"/>
                  </a:lnTo>
                  <a:lnTo>
                    <a:pt x="303" y="368"/>
                  </a:lnTo>
                  <a:lnTo>
                    <a:pt x="302" y="368"/>
                  </a:lnTo>
                  <a:lnTo>
                    <a:pt x="301" y="368"/>
                  </a:lnTo>
                  <a:lnTo>
                    <a:pt x="297" y="367"/>
                  </a:lnTo>
                  <a:lnTo>
                    <a:pt x="296" y="367"/>
                  </a:lnTo>
                  <a:lnTo>
                    <a:pt x="295" y="367"/>
                  </a:lnTo>
                  <a:lnTo>
                    <a:pt x="293" y="367"/>
                  </a:lnTo>
                  <a:lnTo>
                    <a:pt x="290" y="367"/>
                  </a:lnTo>
                  <a:lnTo>
                    <a:pt x="287" y="367"/>
                  </a:lnTo>
                  <a:lnTo>
                    <a:pt x="285" y="367"/>
                  </a:lnTo>
                  <a:lnTo>
                    <a:pt x="281" y="368"/>
                  </a:lnTo>
                  <a:lnTo>
                    <a:pt x="278" y="369"/>
                  </a:lnTo>
                  <a:lnTo>
                    <a:pt x="274" y="370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2" y="373"/>
                  </a:lnTo>
                  <a:lnTo>
                    <a:pt x="261" y="372"/>
                  </a:lnTo>
                  <a:lnTo>
                    <a:pt x="261" y="372"/>
                  </a:lnTo>
                  <a:lnTo>
                    <a:pt x="260" y="372"/>
                  </a:lnTo>
                  <a:lnTo>
                    <a:pt x="259" y="371"/>
                  </a:lnTo>
                  <a:lnTo>
                    <a:pt x="259" y="371"/>
                  </a:lnTo>
                  <a:lnTo>
                    <a:pt x="258" y="371"/>
                  </a:lnTo>
                  <a:lnTo>
                    <a:pt x="258" y="370"/>
                  </a:lnTo>
                  <a:lnTo>
                    <a:pt x="257" y="369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5" y="365"/>
                  </a:lnTo>
                  <a:lnTo>
                    <a:pt x="254" y="364"/>
                  </a:lnTo>
                  <a:lnTo>
                    <a:pt x="253" y="363"/>
                  </a:lnTo>
                  <a:lnTo>
                    <a:pt x="252" y="362"/>
                  </a:lnTo>
                  <a:lnTo>
                    <a:pt x="250" y="361"/>
                  </a:lnTo>
                  <a:lnTo>
                    <a:pt x="249" y="361"/>
                  </a:lnTo>
                  <a:lnTo>
                    <a:pt x="248" y="360"/>
                  </a:lnTo>
                  <a:lnTo>
                    <a:pt x="247" y="360"/>
                  </a:lnTo>
                  <a:lnTo>
                    <a:pt x="245" y="359"/>
                  </a:lnTo>
                  <a:lnTo>
                    <a:pt x="243" y="359"/>
                  </a:lnTo>
                  <a:lnTo>
                    <a:pt x="242" y="359"/>
                  </a:lnTo>
                  <a:lnTo>
                    <a:pt x="240" y="359"/>
                  </a:lnTo>
                  <a:lnTo>
                    <a:pt x="239" y="359"/>
                  </a:lnTo>
                  <a:lnTo>
                    <a:pt x="239" y="359"/>
                  </a:lnTo>
                  <a:lnTo>
                    <a:pt x="239" y="359"/>
                  </a:lnTo>
                  <a:lnTo>
                    <a:pt x="238" y="359"/>
                  </a:lnTo>
                  <a:lnTo>
                    <a:pt x="237" y="359"/>
                  </a:lnTo>
                  <a:lnTo>
                    <a:pt x="237" y="359"/>
                  </a:lnTo>
                  <a:lnTo>
                    <a:pt x="235" y="360"/>
                  </a:lnTo>
                  <a:lnTo>
                    <a:pt x="235" y="360"/>
                  </a:lnTo>
                  <a:lnTo>
                    <a:pt x="234" y="359"/>
                  </a:lnTo>
                  <a:lnTo>
                    <a:pt x="234" y="359"/>
                  </a:lnTo>
                  <a:lnTo>
                    <a:pt x="233" y="356"/>
                  </a:lnTo>
                  <a:lnTo>
                    <a:pt x="231" y="353"/>
                  </a:lnTo>
                  <a:lnTo>
                    <a:pt x="231" y="352"/>
                  </a:lnTo>
                  <a:lnTo>
                    <a:pt x="230" y="351"/>
                  </a:lnTo>
                  <a:lnTo>
                    <a:pt x="229" y="350"/>
                  </a:lnTo>
                  <a:lnTo>
                    <a:pt x="228" y="349"/>
                  </a:lnTo>
                  <a:lnTo>
                    <a:pt x="228" y="349"/>
                  </a:lnTo>
                  <a:lnTo>
                    <a:pt x="228" y="349"/>
                  </a:lnTo>
                  <a:lnTo>
                    <a:pt x="227" y="349"/>
                  </a:lnTo>
                  <a:lnTo>
                    <a:pt x="227" y="348"/>
                  </a:lnTo>
                  <a:lnTo>
                    <a:pt x="226" y="348"/>
                  </a:lnTo>
                  <a:lnTo>
                    <a:pt x="226" y="348"/>
                  </a:lnTo>
                  <a:lnTo>
                    <a:pt x="225" y="349"/>
                  </a:lnTo>
                  <a:lnTo>
                    <a:pt x="224" y="349"/>
                  </a:lnTo>
                  <a:lnTo>
                    <a:pt x="223" y="349"/>
                  </a:lnTo>
                  <a:lnTo>
                    <a:pt x="222" y="350"/>
                  </a:lnTo>
                  <a:lnTo>
                    <a:pt x="221" y="351"/>
                  </a:lnTo>
                  <a:lnTo>
                    <a:pt x="219" y="353"/>
                  </a:lnTo>
                  <a:lnTo>
                    <a:pt x="218" y="353"/>
                  </a:lnTo>
                  <a:lnTo>
                    <a:pt x="218" y="353"/>
                  </a:lnTo>
                  <a:lnTo>
                    <a:pt x="218" y="353"/>
                  </a:lnTo>
                  <a:lnTo>
                    <a:pt x="217" y="353"/>
                  </a:lnTo>
                  <a:lnTo>
                    <a:pt x="216" y="353"/>
                  </a:lnTo>
                  <a:lnTo>
                    <a:pt x="216" y="353"/>
                  </a:lnTo>
                  <a:lnTo>
                    <a:pt x="216" y="352"/>
                  </a:lnTo>
                  <a:lnTo>
                    <a:pt x="215" y="352"/>
                  </a:lnTo>
                  <a:lnTo>
                    <a:pt x="215" y="351"/>
                  </a:lnTo>
                  <a:lnTo>
                    <a:pt x="214" y="350"/>
                  </a:lnTo>
                  <a:lnTo>
                    <a:pt x="214" y="349"/>
                  </a:lnTo>
                  <a:lnTo>
                    <a:pt x="214" y="349"/>
                  </a:lnTo>
                  <a:lnTo>
                    <a:pt x="214" y="348"/>
                  </a:lnTo>
                  <a:lnTo>
                    <a:pt x="215" y="347"/>
                  </a:lnTo>
                  <a:lnTo>
                    <a:pt x="215" y="346"/>
                  </a:lnTo>
                  <a:lnTo>
                    <a:pt x="216" y="345"/>
                  </a:lnTo>
                  <a:lnTo>
                    <a:pt x="216" y="344"/>
                  </a:lnTo>
                  <a:lnTo>
                    <a:pt x="216" y="343"/>
                  </a:lnTo>
                  <a:lnTo>
                    <a:pt x="216" y="343"/>
                  </a:lnTo>
                  <a:lnTo>
                    <a:pt x="216" y="342"/>
                  </a:lnTo>
                  <a:lnTo>
                    <a:pt x="216" y="341"/>
                  </a:lnTo>
                  <a:lnTo>
                    <a:pt x="216" y="341"/>
                  </a:lnTo>
                  <a:lnTo>
                    <a:pt x="215" y="340"/>
                  </a:lnTo>
                  <a:lnTo>
                    <a:pt x="214" y="337"/>
                  </a:lnTo>
                  <a:lnTo>
                    <a:pt x="212" y="334"/>
                  </a:lnTo>
                  <a:lnTo>
                    <a:pt x="211" y="332"/>
                  </a:lnTo>
                  <a:lnTo>
                    <a:pt x="209" y="330"/>
                  </a:lnTo>
                  <a:lnTo>
                    <a:pt x="208" y="329"/>
                  </a:lnTo>
                  <a:lnTo>
                    <a:pt x="206" y="327"/>
                  </a:lnTo>
                  <a:lnTo>
                    <a:pt x="203" y="324"/>
                  </a:lnTo>
                  <a:lnTo>
                    <a:pt x="202" y="322"/>
                  </a:lnTo>
                  <a:lnTo>
                    <a:pt x="200" y="322"/>
                  </a:lnTo>
                  <a:lnTo>
                    <a:pt x="193" y="316"/>
                  </a:lnTo>
                  <a:lnTo>
                    <a:pt x="192" y="315"/>
                  </a:lnTo>
                  <a:lnTo>
                    <a:pt x="191" y="315"/>
                  </a:lnTo>
                  <a:lnTo>
                    <a:pt x="191" y="314"/>
                  </a:lnTo>
                  <a:lnTo>
                    <a:pt x="190" y="313"/>
                  </a:lnTo>
                  <a:lnTo>
                    <a:pt x="189" y="311"/>
                  </a:lnTo>
                  <a:lnTo>
                    <a:pt x="188" y="310"/>
                  </a:lnTo>
                  <a:lnTo>
                    <a:pt x="187" y="308"/>
                  </a:lnTo>
                  <a:lnTo>
                    <a:pt x="186" y="307"/>
                  </a:lnTo>
                  <a:lnTo>
                    <a:pt x="186" y="306"/>
                  </a:lnTo>
                  <a:lnTo>
                    <a:pt x="185" y="304"/>
                  </a:lnTo>
                  <a:lnTo>
                    <a:pt x="183" y="303"/>
                  </a:lnTo>
                  <a:lnTo>
                    <a:pt x="182" y="302"/>
                  </a:lnTo>
                  <a:lnTo>
                    <a:pt x="182" y="301"/>
                  </a:lnTo>
                  <a:lnTo>
                    <a:pt x="181" y="300"/>
                  </a:lnTo>
                  <a:lnTo>
                    <a:pt x="180" y="300"/>
                  </a:lnTo>
                  <a:lnTo>
                    <a:pt x="180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78" y="299"/>
                  </a:lnTo>
                  <a:lnTo>
                    <a:pt x="178" y="300"/>
                  </a:lnTo>
                  <a:lnTo>
                    <a:pt x="177" y="300"/>
                  </a:lnTo>
                  <a:lnTo>
                    <a:pt x="176" y="301"/>
                  </a:lnTo>
                  <a:lnTo>
                    <a:pt x="175" y="301"/>
                  </a:lnTo>
                  <a:lnTo>
                    <a:pt x="175" y="301"/>
                  </a:lnTo>
                  <a:lnTo>
                    <a:pt x="174" y="302"/>
                  </a:lnTo>
                  <a:lnTo>
                    <a:pt x="173" y="302"/>
                  </a:lnTo>
                  <a:lnTo>
                    <a:pt x="173" y="302"/>
                  </a:lnTo>
                  <a:lnTo>
                    <a:pt x="172" y="302"/>
                  </a:lnTo>
                  <a:lnTo>
                    <a:pt x="171" y="301"/>
                  </a:lnTo>
                  <a:lnTo>
                    <a:pt x="170" y="301"/>
                  </a:lnTo>
                  <a:lnTo>
                    <a:pt x="169" y="300"/>
                  </a:lnTo>
                  <a:lnTo>
                    <a:pt x="168" y="299"/>
                  </a:lnTo>
                  <a:lnTo>
                    <a:pt x="167" y="299"/>
                  </a:lnTo>
                  <a:lnTo>
                    <a:pt x="166" y="298"/>
                  </a:lnTo>
                  <a:lnTo>
                    <a:pt x="165" y="297"/>
                  </a:lnTo>
                  <a:lnTo>
                    <a:pt x="165" y="297"/>
                  </a:lnTo>
                  <a:lnTo>
                    <a:pt x="164" y="296"/>
                  </a:lnTo>
                  <a:lnTo>
                    <a:pt x="164" y="295"/>
                  </a:lnTo>
                  <a:lnTo>
                    <a:pt x="163" y="294"/>
                  </a:lnTo>
                  <a:lnTo>
                    <a:pt x="163" y="293"/>
                  </a:lnTo>
                  <a:lnTo>
                    <a:pt x="163" y="291"/>
                  </a:lnTo>
                  <a:lnTo>
                    <a:pt x="162" y="289"/>
                  </a:lnTo>
                  <a:lnTo>
                    <a:pt x="162" y="288"/>
                  </a:lnTo>
                  <a:lnTo>
                    <a:pt x="162" y="286"/>
                  </a:lnTo>
                  <a:lnTo>
                    <a:pt x="162" y="285"/>
                  </a:lnTo>
                  <a:lnTo>
                    <a:pt x="162" y="284"/>
                  </a:lnTo>
                  <a:lnTo>
                    <a:pt x="162" y="283"/>
                  </a:lnTo>
                  <a:lnTo>
                    <a:pt x="162" y="282"/>
                  </a:lnTo>
                  <a:lnTo>
                    <a:pt x="163" y="280"/>
                  </a:lnTo>
                  <a:lnTo>
                    <a:pt x="164" y="276"/>
                  </a:lnTo>
                  <a:lnTo>
                    <a:pt x="164" y="275"/>
                  </a:lnTo>
                  <a:lnTo>
                    <a:pt x="164" y="274"/>
                  </a:lnTo>
                  <a:lnTo>
                    <a:pt x="164" y="273"/>
                  </a:lnTo>
                  <a:lnTo>
                    <a:pt x="164" y="272"/>
                  </a:lnTo>
                  <a:lnTo>
                    <a:pt x="164" y="271"/>
                  </a:lnTo>
                  <a:lnTo>
                    <a:pt x="164" y="269"/>
                  </a:lnTo>
                  <a:lnTo>
                    <a:pt x="164" y="268"/>
                  </a:lnTo>
                  <a:lnTo>
                    <a:pt x="163" y="266"/>
                  </a:lnTo>
                  <a:lnTo>
                    <a:pt x="163" y="265"/>
                  </a:lnTo>
                  <a:lnTo>
                    <a:pt x="162" y="264"/>
                  </a:lnTo>
                  <a:lnTo>
                    <a:pt x="162" y="263"/>
                  </a:lnTo>
                  <a:lnTo>
                    <a:pt x="161" y="262"/>
                  </a:lnTo>
                  <a:lnTo>
                    <a:pt x="161" y="261"/>
                  </a:lnTo>
                  <a:lnTo>
                    <a:pt x="160" y="260"/>
                  </a:lnTo>
                  <a:lnTo>
                    <a:pt x="160" y="260"/>
                  </a:lnTo>
                  <a:lnTo>
                    <a:pt x="159" y="259"/>
                  </a:lnTo>
                  <a:lnTo>
                    <a:pt x="159" y="259"/>
                  </a:lnTo>
                  <a:lnTo>
                    <a:pt x="158" y="259"/>
                  </a:lnTo>
                  <a:lnTo>
                    <a:pt x="158" y="259"/>
                  </a:lnTo>
                  <a:lnTo>
                    <a:pt x="157" y="259"/>
                  </a:lnTo>
                  <a:lnTo>
                    <a:pt x="156" y="259"/>
                  </a:lnTo>
                  <a:lnTo>
                    <a:pt x="156" y="259"/>
                  </a:lnTo>
                  <a:lnTo>
                    <a:pt x="153" y="260"/>
                  </a:lnTo>
                  <a:lnTo>
                    <a:pt x="152" y="260"/>
                  </a:lnTo>
                  <a:lnTo>
                    <a:pt x="147" y="262"/>
                  </a:lnTo>
                  <a:lnTo>
                    <a:pt x="146" y="262"/>
                  </a:lnTo>
                  <a:lnTo>
                    <a:pt x="144" y="263"/>
                  </a:lnTo>
                  <a:lnTo>
                    <a:pt x="142" y="264"/>
                  </a:lnTo>
                  <a:lnTo>
                    <a:pt x="140" y="265"/>
                  </a:lnTo>
                  <a:lnTo>
                    <a:pt x="139" y="265"/>
                  </a:lnTo>
                  <a:lnTo>
                    <a:pt x="138" y="265"/>
                  </a:lnTo>
                  <a:lnTo>
                    <a:pt x="138" y="265"/>
                  </a:lnTo>
                  <a:lnTo>
                    <a:pt x="137" y="265"/>
                  </a:lnTo>
                  <a:lnTo>
                    <a:pt x="136" y="265"/>
                  </a:lnTo>
                  <a:lnTo>
                    <a:pt x="133" y="264"/>
                  </a:lnTo>
                  <a:lnTo>
                    <a:pt x="132" y="264"/>
                  </a:lnTo>
                  <a:lnTo>
                    <a:pt x="131" y="264"/>
                  </a:lnTo>
                  <a:lnTo>
                    <a:pt x="129" y="263"/>
                  </a:lnTo>
                  <a:lnTo>
                    <a:pt x="125" y="261"/>
                  </a:lnTo>
                  <a:lnTo>
                    <a:pt x="124" y="261"/>
                  </a:lnTo>
                  <a:lnTo>
                    <a:pt x="123" y="260"/>
                  </a:lnTo>
                  <a:lnTo>
                    <a:pt x="122" y="259"/>
                  </a:lnTo>
                  <a:lnTo>
                    <a:pt x="121" y="258"/>
                  </a:lnTo>
                  <a:lnTo>
                    <a:pt x="120" y="257"/>
                  </a:lnTo>
                  <a:lnTo>
                    <a:pt x="119" y="257"/>
                  </a:lnTo>
                  <a:lnTo>
                    <a:pt x="118" y="256"/>
                  </a:lnTo>
                  <a:lnTo>
                    <a:pt x="116" y="255"/>
                  </a:lnTo>
                  <a:lnTo>
                    <a:pt x="115" y="255"/>
                  </a:lnTo>
                  <a:lnTo>
                    <a:pt x="114" y="254"/>
                  </a:lnTo>
                  <a:lnTo>
                    <a:pt x="114" y="254"/>
                  </a:lnTo>
                  <a:lnTo>
                    <a:pt x="113" y="253"/>
                  </a:lnTo>
                  <a:lnTo>
                    <a:pt x="112" y="252"/>
                  </a:lnTo>
                  <a:lnTo>
                    <a:pt x="112" y="251"/>
                  </a:lnTo>
                  <a:lnTo>
                    <a:pt x="111" y="249"/>
                  </a:lnTo>
                  <a:lnTo>
                    <a:pt x="110" y="248"/>
                  </a:lnTo>
                  <a:lnTo>
                    <a:pt x="109" y="247"/>
                  </a:lnTo>
                  <a:lnTo>
                    <a:pt x="106" y="244"/>
                  </a:lnTo>
                  <a:lnTo>
                    <a:pt x="106" y="244"/>
                  </a:lnTo>
                  <a:lnTo>
                    <a:pt x="106" y="243"/>
                  </a:lnTo>
                  <a:lnTo>
                    <a:pt x="105" y="242"/>
                  </a:lnTo>
                  <a:lnTo>
                    <a:pt x="105" y="241"/>
                  </a:lnTo>
                  <a:lnTo>
                    <a:pt x="105" y="240"/>
                  </a:lnTo>
                  <a:lnTo>
                    <a:pt x="105" y="238"/>
                  </a:lnTo>
                  <a:lnTo>
                    <a:pt x="105" y="238"/>
                  </a:lnTo>
                  <a:lnTo>
                    <a:pt x="104" y="237"/>
                  </a:lnTo>
                  <a:lnTo>
                    <a:pt x="104" y="236"/>
                  </a:lnTo>
                  <a:lnTo>
                    <a:pt x="104" y="236"/>
                  </a:lnTo>
                  <a:lnTo>
                    <a:pt x="103" y="235"/>
                  </a:lnTo>
                  <a:lnTo>
                    <a:pt x="103" y="234"/>
                  </a:lnTo>
                  <a:lnTo>
                    <a:pt x="101" y="232"/>
                  </a:lnTo>
                  <a:lnTo>
                    <a:pt x="101" y="231"/>
                  </a:lnTo>
                  <a:lnTo>
                    <a:pt x="100" y="229"/>
                  </a:lnTo>
                  <a:lnTo>
                    <a:pt x="100" y="228"/>
                  </a:lnTo>
                  <a:lnTo>
                    <a:pt x="100" y="226"/>
                  </a:lnTo>
                  <a:lnTo>
                    <a:pt x="100" y="226"/>
                  </a:lnTo>
                  <a:lnTo>
                    <a:pt x="100" y="224"/>
                  </a:lnTo>
                  <a:lnTo>
                    <a:pt x="100" y="222"/>
                  </a:lnTo>
                  <a:lnTo>
                    <a:pt x="99" y="221"/>
                  </a:lnTo>
                  <a:lnTo>
                    <a:pt x="99" y="220"/>
                  </a:lnTo>
                  <a:lnTo>
                    <a:pt x="98" y="218"/>
                  </a:lnTo>
                  <a:lnTo>
                    <a:pt x="97" y="216"/>
                  </a:lnTo>
                  <a:lnTo>
                    <a:pt x="96" y="213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4" y="211"/>
                  </a:lnTo>
                  <a:lnTo>
                    <a:pt x="94" y="211"/>
                  </a:lnTo>
                  <a:lnTo>
                    <a:pt x="93" y="211"/>
                  </a:lnTo>
                  <a:lnTo>
                    <a:pt x="92" y="211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0" y="211"/>
                  </a:lnTo>
                  <a:lnTo>
                    <a:pt x="90" y="212"/>
                  </a:lnTo>
                  <a:lnTo>
                    <a:pt x="89" y="213"/>
                  </a:lnTo>
                  <a:lnTo>
                    <a:pt x="89" y="213"/>
                  </a:lnTo>
                  <a:lnTo>
                    <a:pt x="89" y="214"/>
                  </a:lnTo>
                  <a:lnTo>
                    <a:pt x="90" y="215"/>
                  </a:lnTo>
                  <a:lnTo>
                    <a:pt x="91" y="222"/>
                  </a:lnTo>
                  <a:lnTo>
                    <a:pt x="92" y="223"/>
                  </a:lnTo>
                  <a:lnTo>
                    <a:pt x="92" y="224"/>
                  </a:lnTo>
                  <a:lnTo>
                    <a:pt x="92" y="225"/>
                  </a:lnTo>
                  <a:lnTo>
                    <a:pt x="92" y="226"/>
                  </a:lnTo>
                  <a:lnTo>
                    <a:pt x="91" y="226"/>
                  </a:lnTo>
                  <a:lnTo>
                    <a:pt x="91" y="227"/>
                  </a:lnTo>
                  <a:lnTo>
                    <a:pt x="91" y="227"/>
                  </a:lnTo>
                  <a:lnTo>
                    <a:pt x="90" y="228"/>
                  </a:lnTo>
                  <a:lnTo>
                    <a:pt x="89" y="229"/>
                  </a:lnTo>
                  <a:lnTo>
                    <a:pt x="89" y="230"/>
                  </a:lnTo>
                  <a:lnTo>
                    <a:pt x="88" y="230"/>
                  </a:lnTo>
                  <a:lnTo>
                    <a:pt x="87" y="230"/>
                  </a:lnTo>
                  <a:lnTo>
                    <a:pt x="87" y="230"/>
                  </a:lnTo>
                  <a:lnTo>
                    <a:pt x="87" y="230"/>
                  </a:lnTo>
                  <a:lnTo>
                    <a:pt x="86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3" y="230"/>
                  </a:lnTo>
                  <a:lnTo>
                    <a:pt x="82" y="231"/>
                  </a:lnTo>
                  <a:lnTo>
                    <a:pt x="82" y="231"/>
                  </a:lnTo>
                  <a:lnTo>
                    <a:pt x="80" y="232"/>
                  </a:lnTo>
                  <a:lnTo>
                    <a:pt x="80" y="232"/>
                  </a:lnTo>
                  <a:lnTo>
                    <a:pt x="79" y="233"/>
                  </a:lnTo>
                  <a:lnTo>
                    <a:pt x="79" y="233"/>
                  </a:lnTo>
                  <a:lnTo>
                    <a:pt x="78" y="234"/>
                  </a:lnTo>
                  <a:lnTo>
                    <a:pt x="78" y="235"/>
                  </a:lnTo>
                  <a:lnTo>
                    <a:pt x="77" y="236"/>
                  </a:lnTo>
                  <a:lnTo>
                    <a:pt x="77" y="236"/>
                  </a:lnTo>
                  <a:lnTo>
                    <a:pt x="77" y="237"/>
                  </a:lnTo>
                  <a:lnTo>
                    <a:pt x="76" y="238"/>
                  </a:lnTo>
                  <a:lnTo>
                    <a:pt x="74" y="240"/>
                  </a:lnTo>
                  <a:lnTo>
                    <a:pt x="74" y="240"/>
                  </a:lnTo>
                  <a:lnTo>
                    <a:pt x="73" y="241"/>
                  </a:lnTo>
                  <a:lnTo>
                    <a:pt x="72" y="243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0" y="244"/>
                  </a:lnTo>
                  <a:lnTo>
                    <a:pt x="70" y="244"/>
                  </a:lnTo>
                  <a:lnTo>
                    <a:pt x="69" y="244"/>
                  </a:lnTo>
                  <a:lnTo>
                    <a:pt x="69" y="244"/>
                  </a:lnTo>
                  <a:lnTo>
                    <a:pt x="68" y="244"/>
                  </a:lnTo>
                  <a:lnTo>
                    <a:pt x="68" y="244"/>
                  </a:lnTo>
                  <a:lnTo>
                    <a:pt x="67" y="243"/>
                  </a:lnTo>
                  <a:lnTo>
                    <a:pt x="66" y="242"/>
                  </a:lnTo>
                  <a:lnTo>
                    <a:pt x="65" y="241"/>
                  </a:lnTo>
                  <a:lnTo>
                    <a:pt x="65" y="239"/>
                  </a:lnTo>
                  <a:lnTo>
                    <a:pt x="64" y="238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2"/>
                  </a:lnTo>
                  <a:lnTo>
                    <a:pt x="65" y="228"/>
                  </a:lnTo>
                  <a:lnTo>
                    <a:pt x="66" y="226"/>
                  </a:lnTo>
                  <a:lnTo>
                    <a:pt x="66" y="224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2"/>
                  </a:lnTo>
                  <a:lnTo>
                    <a:pt x="66" y="221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8" y="217"/>
                  </a:lnTo>
                  <a:lnTo>
                    <a:pt x="56" y="217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3" y="218"/>
                  </a:lnTo>
                  <a:lnTo>
                    <a:pt x="51" y="219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8" y="220"/>
                  </a:lnTo>
                  <a:lnTo>
                    <a:pt x="47" y="221"/>
                  </a:lnTo>
                  <a:lnTo>
                    <a:pt x="45" y="222"/>
                  </a:lnTo>
                  <a:lnTo>
                    <a:pt x="44" y="223"/>
                  </a:lnTo>
                  <a:lnTo>
                    <a:pt x="41" y="226"/>
                  </a:lnTo>
                  <a:lnTo>
                    <a:pt x="38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5" y="231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3" y="234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1" y="235"/>
                  </a:lnTo>
                  <a:lnTo>
                    <a:pt x="30" y="235"/>
                  </a:lnTo>
                  <a:lnTo>
                    <a:pt x="27" y="235"/>
                  </a:lnTo>
                  <a:lnTo>
                    <a:pt x="23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1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19" y="232"/>
                  </a:lnTo>
                  <a:lnTo>
                    <a:pt x="19" y="231"/>
                  </a:lnTo>
                  <a:lnTo>
                    <a:pt x="19" y="230"/>
                  </a:lnTo>
                  <a:lnTo>
                    <a:pt x="19" y="229"/>
                  </a:lnTo>
                  <a:lnTo>
                    <a:pt x="20" y="226"/>
                  </a:lnTo>
                  <a:lnTo>
                    <a:pt x="20" y="224"/>
                  </a:lnTo>
                  <a:lnTo>
                    <a:pt x="20" y="223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0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6" y="222"/>
                  </a:lnTo>
                  <a:lnTo>
                    <a:pt x="15" y="222"/>
                  </a:lnTo>
                  <a:lnTo>
                    <a:pt x="13" y="222"/>
                  </a:lnTo>
                  <a:lnTo>
                    <a:pt x="12" y="223"/>
                  </a:lnTo>
                  <a:lnTo>
                    <a:pt x="11" y="223"/>
                  </a:lnTo>
                  <a:lnTo>
                    <a:pt x="10" y="223"/>
                  </a:lnTo>
                  <a:lnTo>
                    <a:pt x="10" y="222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8" y="221"/>
                  </a:lnTo>
                  <a:lnTo>
                    <a:pt x="7" y="220"/>
                  </a:lnTo>
                  <a:lnTo>
                    <a:pt x="6" y="220"/>
                  </a:lnTo>
                  <a:lnTo>
                    <a:pt x="5" y="217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0" y="206"/>
                  </a:lnTo>
                  <a:lnTo>
                    <a:pt x="0" y="205"/>
                  </a:lnTo>
                  <a:lnTo>
                    <a:pt x="1" y="204"/>
                  </a:lnTo>
                  <a:lnTo>
                    <a:pt x="2" y="201"/>
                  </a:lnTo>
                  <a:lnTo>
                    <a:pt x="3" y="199"/>
                  </a:lnTo>
                  <a:lnTo>
                    <a:pt x="3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4" y="193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6" y="188"/>
                  </a:lnTo>
                  <a:lnTo>
                    <a:pt x="7" y="186"/>
                  </a:lnTo>
                  <a:lnTo>
                    <a:pt x="9" y="183"/>
                  </a:lnTo>
                  <a:lnTo>
                    <a:pt x="10" y="182"/>
                  </a:lnTo>
                  <a:lnTo>
                    <a:pt x="10" y="181"/>
                  </a:lnTo>
                  <a:lnTo>
                    <a:pt x="11" y="180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7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5"/>
                  </a:lnTo>
                  <a:lnTo>
                    <a:pt x="12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0" y="172"/>
                  </a:lnTo>
                  <a:lnTo>
                    <a:pt x="10" y="171"/>
                  </a:lnTo>
                  <a:lnTo>
                    <a:pt x="9" y="170"/>
                  </a:lnTo>
                  <a:lnTo>
                    <a:pt x="5" y="166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3" y="156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7"/>
                  </a:lnTo>
                  <a:lnTo>
                    <a:pt x="6" y="145"/>
                  </a:lnTo>
                  <a:lnTo>
                    <a:pt x="7" y="143"/>
                  </a:lnTo>
                  <a:lnTo>
                    <a:pt x="8" y="142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18" y="129"/>
                  </a:lnTo>
                  <a:lnTo>
                    <a:pt x="18" y="128"/>
                  </a:lnTo>
                  <a:lnTo>
                    <a:pt x="19" y="127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20" y="123"/>
                  </a:lnTo>
                  <a:lnTo>
                    <a:pt x="20" y="122"/>
                  </a:lnTo>
                  <a:lnTo>
                    <a:pt x="20" y="120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9" y="106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3"/>
                  </a:lnTo>
                  <a:lnTo>
                    <a:pt x="22" y="99"/>
                  </a:lnTo>
                  <a:lnTo>
                    <a:pt x="23" y="98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7" y="84"/>
                  </a:lnTo>
                  <a:lnTo>
                    <a:pt x="32" y="78"/>
                  </a:lnTo>
                  <a:lnTo>
                    <a:pt x="34" y="76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8" y="72"/>
                  </a:lnTo>
                  <a:lnTo>
                    <a:pt x="39" y="71"/>
                  </a:lnTo>
                  <a:lnTo>
                    <a:pt x="40" y="71"/>
                  </a:lnTo>
                  <a:lnTo>
                    <a:pt x="42" y="68"/>
                  </a:lnTo>
                  <a:lnTo>
                    <a:pt x="43" y="68"/>
                  </a:lnTo>
                  <a:lnTo>
                    <a:pt x="44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8" y="57"/>
                  </a:lnTo>
                  <a:lnTo>
                    <a:pt x="59" y="55"/>
                  </a:lnTo>
                  <a:lnTo>
                    <a:pt x="60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49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5"/>
                  </a:lnTo>
                  <a:lnTo>
                    <a:pt x="77" y="42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8" y="27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7" y="23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8" y="24"/>
                  </a:lnTo>
                  <a:lnTo>
                    <a:pt x="129" y="24"/>
                  </a:lnTo>
                  <a:lnTo>
                    <a:pt x="131" y="24"/>
                  </a:lnTo>
                  <a:lnTo>
                    <a:pt x="132" y="24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6" y="23"/>
                  </a:lnTo>
                  <a:lnTo>
                    <a:pt x="137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2" y="19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9" y="12"/>
                  </a:lnTo>
                  <a:lnTo>
                    <a:pt x="150" y="11"/>
                  </a:lnTo>
                  <a:lnTo>
                    <a:pt x="151" y="10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7"/>
                  </a:lnTo>
                  <a:lnTo>
                    <a:pt x="153" y="2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FFCC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4" name="Freeform 74">
              <a:extLst>
                <a:ext uri="{FF2B5EF4-FFF2-40B4-BE49-F238E27FC236}">
                  <a16:creationId xmlns:a16="http://schemas.microsoft.com/office/drawing/2014/main" id="{9F7C3919-C732-DCFF-0664-17B9EE0FF5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3" y="3192"/>
              <a:ext cx="448" cy="419"/>
            </a:xfrm>
            <a:custGeom>
              <a:avLst/>
              <a:gdLst>
                <a:gd name="T0" fmla="*/ 99 w 448"/>
                <a:gd name="T1" fmla="*/ 8 h 419"/>
                <a:gd name="T2" fmla="*/ 98 w 448"/>
                <a:gd name="T3" fmla="*/ 24 h 419"/>
                <a:gd name="T4" fmla="*/ 107 w 448"/>
                <a:gd name="T5" fmla="*/ 45 h 419"/>
                <a:gd name="T6" fmla="*/ 95 w 448"/>
                <a:gd name="T7" fmla="*/ 56 h 419"/>
                <a:gd name="T8" fmla="*/ 65 w 448"/>
                <a:gd name="T9" fmla="*/ 71 h 419"/>
                <a:gd name="T10" fmla="*/ 65 w 448"/>
                <a:gd name="T11" fmla="*/ 83 h 419"/>
                <a:gd name="T12" fmla="*/ 87 w 448"/>
                <a:gd name="T13" fmla="*/ 97 h 419"/>
                <a:gd name="T14" fmla="*/ 103 w 448"/>
                <a:gd name="T15" fmla="*/ 108 h 419"/>
                <a:gd name="T16" fmla="*/ 119 w 448"/>
                <a:gd name="T17" fmla="*/ 138 h 419"/>
                <a:gd name="T18" fmla="*/ 139 w 448"/>
                <a:gd name="T19" fmla="*/ 154 h 419"/>
                <a:gd name="T20" fmla="*/ 161 w 448"/>
                <a:gd name="T21" fmla="*/ 153 h 419"/>
                <a:gd name="T22" fmla="*/ 191 w 448"/>
                <a:gd name="T23" fmla="*/ 139 h 419"/>
                <a:gd name="T24" fmla="*/ 193 w 448"/>
                <a:gd name="T25" fmla="*/ 130 h 419"/>
                <a:gd name="T26" fmla="*/ 185 w 448"/>
                <a:gd name="T27" fmla="*/ 122 h 419"/>
                <a:gd name="T28" fmla="*/ 198 w 448"/>
                <a:gd name="T29" fmla="*/ 118 h 419"/>
                <a:gd name="T30" fmla="*/ 215 w 448"/>
                <a:gd name="T31" fmla="*/ 142 h 419"/>
                <a:gd name="T32" fmla="*/ 234 w 448"/>
                <a:gd name="T33" fmla="*/ 146 h 419"/>
                <a:gd name="T34" fmla="*/ 246 w 448"/>
                <a:gd name="T35" fmla="*/ 149 h 419"/>
                <a:gd name="T36" fmla="*/ 265 w 448"/>
                <a:gd name="T37" fmla="*/ 161 h 419"/>
                <a:gd name="T38" fmla="*/ 278 w 448"/>
                <a:gd name="T39" fmla="*/ 177 h 419"/>
                <a:gd name="T40" fmla="*/ 286 w 448"/>
                <a:gd name="T41" fmla="*/ 167 h 419"/>
                <a:gd name="T42" fmla="*/ 311 w 448"/>
                <a:gd name="T43" fmla="*/ 170 h 419"/>
                <a:gd name="T44" fmla="*/ 341 w 448"/>
                <a:gd name="T45" fmla="*/ 183 h 419"/>
                <a:gd name="T46" fmla="*/ 348 w 448"/>
                <a:gd name="T47" fmla="*/ 175 h 419"/>
                <a:gd name="T48" fmla="*/ 356 w 448"/>
                <a:gd name="T49" fmla="*/ 183 h 419"/>
                <a:gd name="T50" fmla="*/ 363 w 448"/>
                <a:gd name="T51" fmla="*/ 200 h 419"/>
                <a:gd name="T52" fmla="*/ 359 w 448"/>
                <a:gd name="T53" fmla="*/ 220 h 419"/>
                <a:gd name="T54" fmla="*/ 377 w 448"/>
                <a:gd name="T55" fmla="*/ 264 h 419"/>
                <a:gd name="T56" fmla="*/ 397 w 448"/>
                <a:gd name="T57" fmla="*/ 273 h 419"/>
                <a:gd name="T58" fmla="*/ 418 w 448"/>
                <a:gd name="T59" fmla="*/ 282 h 419"/>
                <a:gd name="T60" fmla="*/ 432 w 448"/>
                <a:gd name="T61" fmla="*/ 292 h 419"/>
                <a:gd name="T62" fmla="*/ 446 w 448"/>
                <a:gd name="T63" fmla="*/ 338 h 419"/>
                <a:gd name="T64" fmla="*/ 443 w 448"/>
                <a:gd name="T65" fmla="*/ 357 h 419"/>
                <a:gd name="T66" fmla="*/ 415 w 448"/>
                <a:gd name="T67" fmla="*/ 369 h 419"/>
                <a:gd name="T68" fmla="*/ 378 w 448"/>
                <a:gd name="T69" fmla="*/ 368 h 419"/>
                <a:gd name="T70" fmla="*/ 361 w 448"/>
                <a:gd name="T71" fmla="*/ 367 h 419"/>
                <a:gd name="T72" fmla="*/ 355 w 448"/>
                <a:gd name="T73" fmla="*/ 384 h 419"/>
                <a:gd name="T74" fmla="*/ 332 w 448"/>
                <a:gd name="T75" fmla="*/ 415 h 419"/>
                <a:gd name="T76" fmla="*/ 315 w 448"/>
                <a:gd name="T77" fmla="*/ 419 h 419"/>
                <a:gd name="T78" fmla="*/ 303 w 448"/>
                <a:gd name="T79" fmla="*/ 403 h 419"/>
                <a:gd name="T80" fmla="*/ 282 w 448"/>
                <a:gd name="T81" fmla="*/ 380 h 419"/>
                <a:gd name="T82" fmla="*/ 261 w 448"/>
                <a:gd name="T83" fmla="*/ 378 h 419"/>
                <a:gd name="T84" fmla="*/ 233 w 448"/>
                <a:gd name="T85" fmla="*/ 368 h 419"/>
                <a:gd name="T86" fmla="*/ 193 w 448"/>
                <a:gd name="T87" fmla="*/ 372 h 419"/>
                <a:gd name="T88" fmla="*/ 177 w 448"/>
                <a:gd name="T89" fmla="*/ 359 h 419"/>
                <a:gd name="T90" fmla="*/ 162 w 448"/>
                <a:gd name="T91" fmla="*/ 351 h 419"/>
                <a:gd name="T92" fmla="*/ 150 w 448"/>
                <a:gd name="T93" fmla="*/ 353 h 419"/>
                <a:gd name="T94" fmla="*/ 148 w 448"/>
                <a:gd name="T95" fmla="*/ 342 h 419"/>
                <a:gd name="T96" fmla="*/ 122 w 448"/>
                <a:gd name="T97" fmla="*/ 313 h 419"/>
                <a:gd name="T98" fmla="*/ 110 w 448"/>
                <a:gd name="T99" fmla="*/ 300 h 419"/>
                <a:gd name="T100" fmla="*/ 96 w 448"/>
                <a:gd name="T101" fmla="*/ 296 h 419"/>
                <a:gd name="T102" fmla="*/ 96 w 448"/>
                <a:gd name="T103" fmla="*/ 272 h 419"/>
                <a:gd name="T104" fmla="*/ 88 w 448"/>
                <a:gd name="T105" fmla="*/ 259 h 419"/>
                <a:gd name="T106" fmla="*/ 61 w 448"/>
                <a:gd name="T107" fmla="*/ 263 h 419"/>
                <a:gd name="T108" fmla="*/ 42 w 448"/>
                <a:gd name="T109" fmla="*/ 248 h 419"/>
                <a:gd name="T110" fmla="*/ 32 w 448"/>
                <a:gd name="T111" fmla="*/ 229 h 419"/>
                <a:gd name="T112" fmla="*/ 24 w 448"/>
                <a:gd name="T113" fmla="*/ 211 h 419"/>
                <a:gd name="T114" fmla="*/ 22 w 448"/>
                <a:gd name="T115" fmla="*/ 228 h 419"/>
                <a:gd name="T116" fmla="*/ 12 w 448"/>
                <a:gd name="T117" fmla="*/ 232 h 419"/>
                <a:gd name="T118" fmla="*/ 2 w 448"/>
                <a:gd name="T119" fmla="*/ 244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8" h="419">
                  <a:moveTo>
                    <a:pt x="88" y="0"/>
                  </a:moveTo>
                  <a:lnTo>
                    <a:pt x="89" y="0"/>
                  </a:lnTo>
                  <a:lnTo>
                    <a:pt x="90" y="0"/>
                  </a:lnTo>
                  <a:lnTo>
                    <a:pt x="90" y="1"/>
                  </a:lnTo>
                  <a:lnTo>
                    <a:pt x="91" y="1"/>
                  </a:lnTo>
                  <a:lnTo>
                    <a:pt x="92" y="1"/>
                  </a:lnTo>
                  <a:lnTo>
                    <a:pt x="92" y="2"/>
                  </a:lnTo>
                  <a:lnTo>
                    <a:pt x="93" y="2"/>
                  </a:lnTo>
                  <a:lnTo>
                    <a:pt x="94" y="3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6" y="5"/>
                  </a:lnTo>
                  <a:lnTo>
                    <a:pt x="96" y="6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8" y="7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100" y="8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2"/>
                  </a:lnTo>
                  <a:lnTo>
                    <a:pt x="101" y="13"/>
                  </a:lnTo>
                  <a:lnTo>
                    <a:pt x="101" y="14"/>
                  </a:lnTo>
                  <a:lnTo>
                    <a:pt x="99" y="18"/>
                  </a:lnTo>
                  <a:lnTo>
                    <a:pt x="99" y="20"/>
                  </a:lnTo>
                  <a:lnTo>
                    <a:pt x="98" y="21"/>
                  </a:lnTo>
                  <a:lnTo>
                    <a:pt x="98" y="22"/>
                  </a:lnTo>
                  <a:lnTo>
                    <a:pt x="98" y="23"/>
                  </a:lnTo>
                  <a:lnTo>
                    <a:pt x="98" y="24"/>
                  </a:lnTo>
                  <a:lnTo>
                    <a:pt x="98" y="26"/>
                  </a:lnTo>
                  <a:lnTo>
                    <a:pt x="98" y="27"/>
                  </a:lnTo>
                  <a:lnTo>
                    <a:pt x="99" y="28"/>
                  </a:lnTo>
                  <a:lnTo>
                    <a:pt x="99" y="29"/>
                  </a:lnTo>
                  <a:lnTo>
                    <a:pt x="100" y="30"/>
                  </a:lnTo>
                  <a:lnTo>
                    <a:pt x="100" y="31"/>
                  </a:lnTo>
                  <a:lnTo>
                    <a:pt x="101" y="32"/>
                  </a:lnTo>
                  <a:lnTo>
                    <a:pt x="104" y="35"/>
                  </a:lnTo>
                  <a:lnTo>
                    <a:pt x="105" y="37"/>
                  </a:lnTo>
                  <a:lnTo>
                    <a:pt x="105" y="38"/>
                  </a:lnTo>
                  <a:lnTo>
                    <a:pt x="106" y="38"/>
                  </a:lnTo>
                  <a:lnTo>
                    <a:pt x="106" y="39"/>
                  </a:lnTo>
                  <a:lnTo>
                    <a:pt x="106" y="40"/>
                  </a:lnTo>
                  <a:lnTo>
                    <a:pt x="106" y="41"/>
                  </a:lnTo>
                  <a:lnTo>
                    <a:pt x="107" y="42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06" y="46"/>
                  </a:lnTo>
                  <a:lnTo>
                    <a:pt x="106" y="47"/>
                  </a:lnTo>
                  <a:lnTo>
                    <a:pt x="106" y="49"/>
                  </a:lnTo>
                  <a:lnTo>
                    <a:pt x="106" y="49"/>
                  </a:lnTo>
                  <a:lnTo>
                    <a:pt x="105" y="50"/>
                  </a:lnTo>
                  <a:lnTo>
                    <a:pt x="105" y="50"/>
                  </a:lnTo>
                  <a:lnTo>
                    <a:pt x="105" y="51"/>
                  </a:lnTo>
                  <a:lnTo>
                    <a:pt x="104" y="52"/>
                  </a:lnTo>
                  <a:lnTo>
                    <a:pt x="103" y="52"/>
                  </a:lnTo>
                  <a:lnTo>
                    <a:pt x="102" y="53"/>
                  </a:lnTo>
                  <a:lnTo>
                    <a:pt x="101" y="53"/>
                  </a:lnTo>
                  <a:lnTo>
                    <a:pt x="101" y="53"/>
                  </a:lnTo>
                  <a:lnTo>
                    <a:pt x="98" y="54"/>
                  </a:lnTo>
                  <a:lnTo>
                    <a:pt x="97" y="54"/>
                  </a:lnTo>
                  <a:lnTo>
                    <a:pt x="96" y="55"/>
                  </a:lnTo>
                  <a:lnTo>
                    <a:pt x="96" y="55"/>
                  </a:lnTo>
                  <a:lnTo>
                    <a:pt x="95" y="56"/>
                  </a:lnTo>
                  <a:lnTo>
                    <a:pt x="94" y="57"/>
                  </a:lnTo>
                  <a:lnTo>
                    <a:pt x="94" y="57"/>
                  </a:lnTo>
                  <a:lnTo>
                    <a:pt x="92" y="59"/>
                  </a:lnTo>
                  <a:lnTo>
                    <a:pt x="92" y="60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90" y="62"/>
                  </a:lnTo>
                  <a:lnTo>
                    <a:pt x="90" y="62"/>
                  </a:lnTo>
                  <a:lnTo>
                    <a:pt x="89" y="63"/>
                  </a:lnTo>
                  <a:lnTo>
                    <a:pt x="88" y="63"/>
                  </a:lnTo>
                  <a:lnTo>
                    <a:pt x="87" y="63"/>
                  </a:lnTo>
                  <a:lnTo>
                    <a:pt x="85" y="64"/>
                  </a:lnTo>
                  <a:lnTo>
                    <a:pt x="80" y="66"/>
                  </a:lnTo>
                  <a:lnTo>
                    <a:pt x="74" y="68"/>
                  </a:lnTo>
                  <a:lnTo>
                    <a:pt x="71" y="69"/>
                  </a:lnTo>
                  <a:lnTo>
                    <a:pt x="66" y="70"/>
                  </a:lnTo>
                  <a:lnTo>
                    <a:pt x="65" y="71"/>
                  </a:lnTo>
                  <a:lnTo>
                    <a:pt x="64" y="71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2" y="73"/>
                  </a:lnTo>
                  <a:lnTo>
                    <a:pt x="62" y="74"/>
                  </a:lnTo>
                  <a:lnTo>
                    <a:pt x="62" y="74"/>
                  </a:lnTo>
                  <a:lnTo>
                    <a:pt x="62" y="75"/>
                  </a:lnTo>
                  <a:lnTo>
                    <a:pt x="61" y="76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8"/>
                  </a:lnTo>
                  <a:lnTo>
                    <a:pt x="62" y="79"/>
                  </a:lnTo>
                  <a:lnTo>
                    <a:pt x="63" y="80"/>
                  </a:lnTo>
                  <a:lnTo>
                    <a:pt x="63" y="81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5" y="83"/>
                  </a:lnTo>
                  <a:lnTo>
                    <a:pt x="66" y="84"/>
                  </a:lnTo>
                  <a:lnTo>
                    <a:pt x="67" y="85"/>
                  </a:lnTo>
                  <a:lnTo>
                    <a:pt x="71" y="88"/>
                  </a:lnTo>
                  <a:lnTo>
                    <a:pt x="72" y="89"/>
                  </a:lnTo>
                  <a:lnTo>
                    <a:pt x="73" y="91"/>
                  </a:lnTo>
                  <a:lnTo>
                    <a:pt x="75" y="93"/>
                  </a:lnTo>
                  <a:lnTo>
                    <a:pt x="76" y="94"/>
                  </a:lnTo>
                  <a:lnTo>
                    <a:pt x="77" y="95"/>
                  </a:lnTo>
                  <a:lnTo>
                    <a:pt x="78" y="96"/>
                  </a:lnTo>
                  <a:lnTo>
                    <a:pt x="79" y="97"/>
                  </a:lnTo>
                  <a:lnTo>
                    <a:pt x="81" y="97"/>
                  </a:lnTo>
                  <a:lnTo>
                    <a:pt x="82" y="98"/>
                  </a:lnTo>
                  <a:lnTo>
                    <a:pt x="83" y="98"/>
                  </a:lnTo>
                  <a:lnTo>
                    <a:pt x="84" y="98"/>
                  </a:lnTo>
                  <a:lnTo>
                    <a:pt x="84" y="98"/>
                  </a:lnTo>
                  <a:lnTo>
                    <a:pt x="85" y="97"/>
                  </a:lnTo>
                  <a:lnTo>
                    <a:pt x="87" y="97"/>
                  </a:lnTo>
                  <a:lnTo>
                    <a:pt x="88" y="97"/>
                  </a:lnTo>
                  <a:lnTo>
                    <a:pt x="89" y="97"/>
                  </a:lnTo>
                  <a:lnTo>
                    <a:pt x="90" y="97"/>
                  </a:lnTo>
                  <a:lnTo>
                    <a:pt x="91" y="97"/>
                  </a:lnTo>
                  <a:lnTo>
                    <a:pt x="91" y="97"/>
                  </a:lnTo>
                  <a:lnTo>
                    <a:pt x="92" y="97"/>
                  </a:lnTo>
                  <a:lnTo>
                    <a:pt x="93" y="97"/>
                  </a:lnTo>
                  <a:lnTo>
                    <a:pt x="93" y="98"/>
                  </a:lnTo>
                  <a:lnTo>
                    <a:pt x="95" y="98"/>
                  </a:lnTo>
                  <a:lnTo>
                    <a:pt x="95" y="99"/>
                  </a:lnTo>
                  <a:lnTo>
                    <a:pt x="96" y="99"/>
                  </a:lnTo>
                  <a:lnTo>
                    <a:pt x="97" y="100"/>
                  </a:lnTo>
                  <a:lnTo>
                    <a:pt x="98" y="101"/>
                  </a:lnTo>
                  <a:lnTo>
                    <a:pt x="99" y="102"/>
                  </a:lnTo>
                  <a:lnTo>
                    <a:pt x="100" y="103"/>
                  </a:lnTo>
                  <a:lnTo>
                    <a:pt x="102" y="106"/>
                  </a:lnTo>
                  <a:lnTo>
                    <a:pt x="103" y="108"/>
                  </a:lnTo>
                  <a:lnTo>
                    <a:pt x="106" y="112"/>
                  </a:lnTo>
                  <a:lnTo>
                    <a:pt x="107" y="113"/>
                  </a:lnTo>
                  <a:lnTo>
                    <a:pt x="108" y="115"/>
                  </a:lnTo>
                  <a:lnTo>
                    <a:pt x="109" y="116"/>
                  </a:lnTo>
                  <a:lnTo>
                    <a:pt x="109" y="117"/>
                  </a:lnTo>
                  <a:lnTo>
                    <a:pt x="110" y="119"/>
                  </a:lnTo>
                  <a:lnTo>
                    <a:pt x="110" y="120"/>
                  </a:lnTo>
                  <a:lnTo>
                    <a:pt x="112" y="124"/>
                  </a:lnTo>
                  <a:lnTo>
                    <a:pt x="113" y="126"/>
                  </a:lnTo>
                  <a:lnTo>
                    <a:pt x="113" y="127"/>
                  </a:lnTo>
                  <a:lnTo>
                    <a:pt x="114" y="131"/>
                  </a:lnTo>
                  <a:lnTo>
                    <a:pt x="116" y="134"/>
                  </a:lnTo>
                  <a:lnTo>
                    <a:pt x="116" y="135"/>
                  </a:lnTo>
                  <a:lnTo>
                    <a:pt x="117" y="136"/>
                  </a:lnTo>
                  <a:lnTo>
                    <a:pt x="117" y="137"/>
                  </a:lnTo>
                  <a:lnTo>
                    <a:pt x="118" y="137"/>
                  </a:lnTo>
                  <a:lnTo>
                    <a:pt x="119" y="138"/>
                  </a:lnTo>
                  <a:lnTo>
                    <a:pt x="120" y="138"/>
                  </a:lnTo>
                  <a:lnTo>
                    <a:pt x="122" y="140"/>
                  </a:lnTo>
                  <a:lnTo>
                    <a:pt x="124" y="141"/>
                  </a:lnTo>
                  <a:lnTo>
                    <a:pt x="127" y="142"/>
                  </a:lnTo>
                  <a:lnTo>
                    <a:pt x="128" y="142"/>
                  </a:lnTo>
                  <a:lnTo>
                    <a:pt x="129" y="143"/>
                  </a:lnTo>
                  <a:lnTo>
                    <a:pt x="130" y="144"/>
                  </a:lnTo>
                  <a:lnTo>
                    <a:pt x="130" y="145"/>
                  </a:lnTo>
                  <a:lnTo>
                    <a:pt x="131" y="146"/>
                  </a:lnTo>
                  <a:lnTo>
                    <a:pt x="132" y="147"/>
                  </a:lnTo>
                  <a:lnTo>
                    <a:pt x="133" y="148"/>
                  </a:lnTo>
                  <a:lnTo>
                    <a:pt x="133" y="149"/>
                  </a:lnTo>
                  <a:lnTo>
                    <a:pt x="134" y="150"/>
                  </a:lnTo>
                  <a:lnTo>
                    <a:pt x="134" y="151"/>
                  </a:lnTo>
                  <a:lnTo>
                    <a:pt x="136" y="152"/>
                  </a:lnTo>
                  <a:lnTo>
                    <a:pt x="137" y="153"/>
                  </a:lnTo>
                  <a:lnTo>
                    <a:pt x="139" y="154"/>
                  </a:lnTo>
                  <a:lnTo>
                    <a:pt x="140" y="155"/>
                  </a:lnTo>
                  <a:lnTo>
                    <a:pt x="141" y="156"/>
                  </a:lnTo>
                  <a:lnTo>
                    <a:pt x="143" y="156"/>
                  </a:lnTo>
                  <a:lnTo>
                    <a:pt x="144" y="157"/>
                  </a:lnTo>
                  <a:lnTo>
                    <a:pt x="145" y="157"/>
                  </a:lnTo>
                  <a:lnTo>
                    <a:pt x="145" y="157"/>
                  </a:lnTo>
                  <a:lnTo>
                    <a:pt x="146" y="157"/>
                  </a:lnTo>
                  <a:lnTo>
                    <a:pt x="147" y="157"/>
                  </a:lnTo>
                  <a:lnTo>
                    <a:pt x="148" y="157"/>
                  </a:lnTo>
                  <a:lnTo>
                    <a:pt x="152" y="156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5"/>
                  </a:lnTo>
                  <a:lnTo>
                    <a:pt x="157" y="155"/>
                  </a:lnTo>
                  <a:lnTo>
                    <a:pt x="159" y="154"/>
                  </a:lnTo>
                  <a:lnTo>
                    <a:pt x="160" y="153"/>
                  </a:lnTo>
                  <a:lnTo>
                    <a:pt x="161" y="153"/>
                  </a:lnTo>
                  <a:lnTo>
                    <a:pt x="162" y="152"/>
                  </a:lnTo>
                  <a:lnTo>
                    <a:pt x="167" y="147"/>
                  </a:lnTo>
                  <a:lnTo>
                    <a:pt x="168" y="146"/>
                  </a:lnTo>
                  <a:lnTo>
                    <a:pt x="169" y="145"/>
                  </a:lnTo>
                  <a:lnTo>
                    <a:pt x="170" y="145"/>
                  </a:lnTo>
                  <a:lnTo>
                    <a:pt x="171" y="144"/>
                  </a:lnTo>
                  <a:lnTo>
                    <a:pt x="173" y="143"/>
                  </a:lnTo>
                  <a:lnTo>
                    <a:pt x="174" y="142"/>
                  </a:lnTo>
                  <a:lnTo>
                    <a:pt x="177" y="141"/>
                  </a:lnTo>
                  <a:lnTo>
                    <a:pt x="179" y="140"/>
                  </a:lnTo>
                  <a:lnTo>
                    <a:pt x="180" y="140"/>
                  </a:lnTo>
                  <a:lnTo>
                    <a:pt x="181" y="139"/>
                  </a:lnTo>
                  <a:lnTo>
                    <a:pt x="183" y="139"/>
                  </a:lnTo>
                  <a:lnTo>
                    <a:pt x="184" y="139"/>
                  </a:lnTo>
                  <a:lnTo>
                    <a:pt x="184" y="139"/>
                  </a:lnTo>
                  <a:lnTo>
                    <a:pt x="189" y="139"/>
                  </a:lnTo>
                  <a:lnTo>
                    <a:pt x="191" y="139"/>
                  </a:lnTo>
                  <a:lnTo>
                    <a:pt x="192" y="139"/>
                  </a:lnTo>
                  <a:lnTo>
                    <a:pt x="193" y="139"/>
                  </a:lnTo>
                  <a:lnTo>
                    <a:pt x="194" y="139"/>
                  </a:lnTo>
                  <a:lnTo>
                    <a:pt x="194" y="139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7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5" y="134"/>
                  </a:lnTo>
                  <a:lnTo>
                    <a:pt x="195" y="133"/>
                  </a:lnTo>
                  <a:lnTo>
                    <a:pt x="195" y="132"/>
                  </a:lnTo>
                  <a:lnTo>
                    <a:pt x="195" y="132"/>
                  </a:lnTo>
                  <a:lnTo>
                    <a:pt x="194" y="131"/>
                  </a:lnTo>
                  <a:lnTo>
                    <a:pt x="194" y="130"/>
                  </a:lnTo>
                  <a:lnTo>
                    <a:pt x="193" y="130"/>
                  </a:lnTo>
                  <a:lnTo>
                    <a:pt x="193" y="129"/>
                  </a:lnTo>
                  <a:lnTo>
                    <a:pt x="192" y="129"/>
                  </a:lnTo>
                  <a:lnTo>
                    <a:pt x="191" y="129"/>
                  </a:lnTo>
                  <a:lnTo>
                    <a:pt x="190" y="128"/>
                  </a:lnTo>
                  <a:lnTo>
                    <a:pt x="188" y="128"/>
                  </a:lnTo>
                  <a:lnTo>
                    <a:pt x="188" y="128"/>
                  </a:lnTo>
                  <a:lnTo>
                    <a:pt x="187" y="128"/>
                  </a:lnTo>
                  <a:lnTo>
                    <a:pt x="187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6"/>
                  </a:lnTo>
                  <a:lnTo>
                    <a:pt x="185" y="126"/>
                  </a:lnTo>
                  <a:lnTo>
                    <a:pt x="185" y="125"/>
                  </a:lnTo>
                  <a:lnTo>
                    <a:pt x="185" y="124"/>
                  </a:lnTo>
                  <a:lnTo>
                    <a:pt x="185" y="124"/>
                  </a:lnTo>
                  <a:lnTo>
                    <a:pt x="185" y="123"/>
                  </a:lnTo>
                  <a:lnTo>
                    <a:pt x="185" y="122"/>
                  </a:lnTo>
                  <a:lnTo>
                    <a:pt x="185" y="121"/>
                  </a:lnTo>
                  <a:lnTo>
                    <a:pt x="186" y="121"/>
                  </a:lnTo>
                  <a:lnTo>
                    <a:pt x="186" y="120"/>
                  </a:lnTo>
                  <a:lnTo>
                    <a:pt x="187" y="119"/>
                  </a:lnTo>
                  <a:lnTo>
                    <a:pt x="187" y="118"/>
                  </a:lnTo>
                  <a:lnTo>
                    <a:pt x="188" y="118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90" y="117"/>
                  </a:lnTo>
                  <a:lnTo>
                    <a:pt x="191" y="116"/>
                  </a:lnTo>
                  <a:lnTo>
                    <a:pt x="192" y="116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4" y="116"/>
                  </a:lnTo>
                  <a:lnTo>
                    <a:pt x="195" y="117"/>
                  </a:lnTo>
                  <a:lnTo>
                    <a:pt x="197" y="117"/>
                  </a:lnTo>
                  <a:lnTo>
                    <a:pt x="198" y="118"/>
                  </a:lnTo>
                  <a:lnTo>
                    <a:pt x="199" y="118"/>
                  </a:lnTo>
                  <a:lnTo>
                    <a:pt x="200" y="119"/>
                  </a:lnTo>
                  <a:lnTo>
                    <a:pt x="201" y="120"/>
                  </a:lnTo>
                  <a:lnTo>
                    <a:pt x="204" y="122"/>
                  </a:lnTo>
                  <a:lnTo>
                    <a:pt x="205" y="123"/>
                  </a:lnTo>
                  <a:lnTo>
                    <a:pt x="206" y="124"/>
                  </a:lnTo>
                  <a:lnTo>
                    <a:pt x="207" y="125"/>
                  </a:lnTo>
                  <a:lnTo>
                    <a:pt x="208" y="126"/>
                  </a:lnTo>
                  <a:lnTo>
                    <a:pt x="210" y="132"/>
                  </a:lnTo>
                  <a:lnTo>
                    <a:pt x="211" y="133"/>
                  </a:lnTo>
                  <a:lnTo>
                    <a:pt x="211" y="134"/>
                  </a:lnTo>
                  <a:lnTo>
                    <a:pt x="212" y="137"/>
                  </a:lnTo>
                  <a:lnTo>
                    <a:pt x="213" y="138"/>
                  </a:lnTo>
                  <a:lnTo>
                    <a:pt x="213" y="139"/>
                  </a:lnTo>
                  <a:lnTo>
                    <a:pt x="214" y="140"/>
                  </a:lnTo>
                  <a:lnTo>
                    <a:pt x="214" y="142"/>
                  </a:lnTo>
                  <a:lnTo>
                    <a:pt x="215" y="142"/>
                  </a:lnTo>
                  <a:lnTo>
                    <a:pt x="216" y="143"/>
                  </a:lnTo>
                  <a:lnTo>
                    <a:pt x="217" y="143"/>
                  </a:lnTo>
                  <a:lnTo>
                    <a:pt x="217" y="144"/>
                  </a:lnTo>
                  <a:lnTo>
                    <a:pt x="218" y="144"/>
                  </a:lnTo>
                  <a:lnTo>
                    <a:pt x="219" y="145"/>
                  </a:lnTo>
                  <a:lnTo>
                    <a:pt x="219" y="145"/>
                  </a:lnTo>
                  <a:lnTo>
                    <a:pt x="222" y="146"/>
                  </a:lnTo>
                  <a:lnTo>
                    <a:pt x="227" y="148"/>
                  </a:lnTo>
                  <a:lnTo>
                    <a:pt x="228" y="148"/>
                  </a:lnTo>
                  <a:lnTo>
                    <a:pt x="229" y="148"/>
                  </a:lnTo>
                  <a:lnTo>
                    <a:pt x="229" y="148"/>
                  </a:lnTo>
                  <a:lnTo>
                    <a:pt x="230" y="148"/>
                  </a:lnTo>
                  <a:lnTo>
                    <a:pt x="231" y="148"/>
                  </a:lnTo>
                  <a:lnTo>
                    <a:pt x="231" y="147"/>
                  </a:lnTo>
                  <a:lnTo>
                    <a:pt x="232" y="147"/>
                  </a:lnTo>
                  <a:lnTo>
                    <a:pt x="232" y="147"/>
                  </a:lnTo>
                  <a:lnTo>
                    <a:pt x="234" y="146"/>
                  </a:lnTo>
                  <a:lnTo>
                    <a:pt x="235" y="145"/>
                  </a:lnTo>
                  <a:lnTo>
                    <a:pt x="236" y="145"/>
                  </a:lnTo>
                  <a:lnTo>
                    <a:pt x="236" y="145"/>
                  </a:lnTo>
                  <a:lnTo>
                    <a:pt x="237" y="144"/>
                  </a:lnTo>
                  <a:lnTo>
                    <a:pt x="237" y="144"/>
                  </a:lnTo>
                  <a:lnTo>
                    <a:pt x="238" y="144"/>
                  </a:lnTo>
                  <a:lnTo>
                    <a:pt x="239" y="144"/>
                  </a:lnTo>
                  <a:lnTo>
                    <a:pt x="240" y="144"/>
                  </a:lnTo>
                  <a:lnTo>
                    <a:pt x="241" y="145"/>
                  </a:lnTo>
                  <a:lnTo>
                    <a:pt x="242" y="145"/>
                  </a:lnTo>
                  <a:lnTo>
                    <a:pt x="242" y="145"/>
                  </a:lnTo>
                  <a:lnTo>
                    <a:pt x="243" y="146"/>
                  </a:lnTo>
                  <a:lnTo>
                    <a:pt x="243" y="146"/>
                  </a:lnTo>
                  <a:lnTo>
                    <a:pt x="244" y="146"/>
                  </a:lnTo>
                  <a:lnTo>
                    <a:pt x="245" y="147"/>
                  </a:lnTo>
                  <a:lnTo>
                    <a:pt x="245" y="148"/>
                  </a:lnTo>
                  <a:lnTo>
                    <a:pt x="246" y="149"/>
                  </a:lnTo>
                  <a:lnTo>
                    <a:pt x="247" y="151"/>
                  </a:lnTo>
                  <a:lnTo>
                    <a:pt x="248" y="152"/>
                  </a:lnTo>
                  <a:lnTo>
                    <a:pt x="249" y="153"/>
                  </a:lnTo>
                  <a:lnTo>
                    <a:pt x="250" y="153"/>
                  </a:lnTo>
                  <a:lnTo>
                    <a:pt x="250" y="154"/>
                  </a:lnTo>
                  <a:lnTo>
                    <a:pt x="251" y="154"/>
                  </a:lnTo>
                  <a:lnTo>
                    <a:pt x="252" y="155"/>
                  </a:lnTo>
                  <a:lnTo>
                    <a:pt x="253" y="155"/>
                  </a:lnTo>
                  <a:lnTo>
                    <a:pt x="258" y="157"/>
                  </a:lnTo>
                  <a:lnTo>
                    <a:pt x="259" y="157"/>
                  </a:lnTo>
                  <a:lnTo>
                    <a:pt x="260" y="157"/>
                  </a:lnTo>
                  <a:lnTo>
                    <a:pt x="261" y="158"/>
                  </a:lnTo>
                  <a:lnTo>
                    <a:pt x="262" y="159"/>
                  </a:lnTo>
                  <a:lnTo>
                    <a:pt x="263" y="159"/>
                  </a:lnTo>
                  <a:lnTo>
                    <a:pt x="264" y="160"/>
                  </a:lnTo>
                  <a:lnTo>
                    <a:pt x="264" y="160"/>
                  </a:lnTo>
                  <a:lnTo>
                    <a:pt x="265" y="161"/>
                  </a:lnTo>
                  <a:lnTo>
                    <a:pt x="266" y="162"/>
                  </a:lnTo>
                  <a:lnTo>
                    <a:pt x="266" y="163"/>
                  </a:lnTo>
                  <a:lnTo>
                    <a:pt x="267" y="164"/>
                  </a:lnTo>
                  <a:lnTo>
                    <a:pt x="268" y="168"/>
                  </a:lnTo>
                  <a:lnTo>
                    <a:pt x="269" y="169"/>
                  </a:lnTo>
                  <a:lnTo>
                    <a:pt x="269" y="170"/>
                  </a:lnTo>
                  <a:lnTo>
                    <a:pt x="270" y="171"/>
                  </a:lnTo>
                  <a:lnTo>
                    <a:pt x="271" y="172"/>
                  </a:lnTo>
                  <a:lnTo>
                    <a:pt x="271" y="173"/>
                  </a:lnTo>
                  <a:lnTo>
                    <a:pt x="272" y="173"/>
                  </a:lnTo>
                  <a:lnTo>
                    <a:pt x="273" y="174"/>
                  </a:lnTo>
                  <a:lnTo>
                    <a:pt x="274" y="175"/>
                  </a:lnTo>
                  <a:lnTo>
                    <a:pt x="275" y="176"/>
                  </a:lnTo>
                  <a:lnTo>
                    <a:pt x="275" y="176"/>
                  </a:lnTo>
                  <a:lnTo>
                    <a:pt x="276" y="176"/>
                  </a:lnTo>
                  <a:lnTo>
                    <a:pt x="277" y="177"/>
                  </a:lnTo>
                  <a:lnTo>
                    <a:pt x="278" y="177"/>
                  </a:lnTo>
                  <a:lnTo>
                    <a:pt x="279" y="177"/>
                  </a:lnTo>
                  <a:lnTo>
                    <a:pt x="280" y="177"/>
                  </a:lnTo>
                  <a:lnTo>
                    <a:pt x="280" y="177"/>
                  </a:lnTo>
                  <a:lnTo>
                    <a:pt x="281" y="177"/>
                  </a:lnTo>
                  <a:lnTo>
                    <a:pt x="282" y="176"/>
                  </a:lnTo>
                  <a:lnTo>
                    <a:pt x="283" y="175"/>
                  </a:lnTo>
                  <a:lnTo>
                    <a:pt x="285" y="174"/>
                  </a:lnTo>
                  <a:lnTo>
                    <a:pt x="285" y="174"/>
                  </a:lnTo>
                  <a:lnTo>
                    <a:pt x="286" y="173"/>
                  </a:lnTo>
                  <a:lnTo>
                    <a:pt x="286" y="172"/>
                  </a:lnTo>
                  <a:lnTo>
                    <a:pt x="286" y="172"/>
                  </a:lnTo>
                  <a:lnTo>
                    <a:pt x="286" y="171"/>
                  </a:lnTo>
                  <a:lnTo>
                    <a:pt x="286" y="170"/>
                  </a:lnTo>
                  <a:lnTo>
                    <a:pt x="286" y="169"/>
                  </a:lnTo>
                  <a:lnTo>
                    <a:pt x="286" y="168"/>
                  </a:lnTo>
                  <a:lnTo>
                    <a:pt x="286" y="168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7" y="167"/>
                  </a:lnTo>
                  <a:lnTo>
                    <a:pt x="288" y="167"/>
                  </a:lnTo>
                  <a:lnTo>
                    <a:pt x="289" y="167"/>
                  </a:lnTo>
                  <a:lnTo>
                    <a:pt x="290" y="167"/>
                  </a:lnTo>
                  <a:lnTo>
                    <a:pt x="294" y="168"/>
                  </a:lnTo>
                  <a:lnTo>
                    <a:pt x="296" y="169"/>
                  </a:lnTo>
                  <a:lnTo>
                    <a:pt x="297" y="169"/>
                  </a:lnTo>
                  <a:lnTo>
                    <a:pt x="299" y="169"/>
                  </a:lnTo>
                  <a:lnTo>
                    <a:pt x="301" y="169"/>
                  </a:lnTo>
                  <a:lnTo>
                    <a:pt x="306" y="169"/>
                  </a:lnTo>
                  <a:lnTo>
                    <a:pt x="307" y="169"/>
                  </a:lnTo>
                  <a:lnTo>
                    <a:pt x="309" y="170"/>
                  </a:lnTo>
                  <a:lnTo>
                    <a:pt x="310" y="170"/>
                  </a:lnTo>
                  <a:lnTo>
                    <a:pt x="311" y="170"/>
                  </a:lnTo>
                  <a:lnTo>
                    <a:pt x="311" y="170"/>
                  </a:lnTo>
                  <a:lnTo>
                    <a:pt x="312" y="171"/>
                  </a:lnTo>
                  <a:lnTo>
                    <a:pt x="317" y="173"/>
                  </a:lnTo>
                  <a:lnTo>
                    <a:pt x="320" y="175"/>
                  </a:lnTo>
                  <a:lnTo>
                    <a:pt x="322" y="176"/>
                  </a:lnTo>
                  <a:lnTo>
                    <a:pt x="323" y="176"/>
                  </a:lnTo>
                  <a:lnTo>
                    <a:pt x="329" y="181"/>
                  </a:lnTo>
                  <a:lnTo>
                    <a:pt x="330" y="181"/>
                  </a:lnTo>
                  <a:lnTo>
                    <a:pt x="330" y="181"/>
                  </a:lnTo>
                  <a:lnTo>
                    <a:pt x="332" y="182"/>
                  </a:lnTo>
                  <a:lnTo>
                    <a:pt x="333" y="183"/>
                  </a:lnTo>
                  <a:lnTo>
                    <a:pt x="335" y="183"/>
                  </a:lnTo>
                  <a:lnTo>
                    <a:pt x="336" y="183"/>
                  </a:lnTo>
                  <a:lnTo>
                    <a:pt x="338" y="183"/>
                  </a:lnTo>
                  <a:lnTo>
                    <a:pt x="339" y="184"/>
                  </a:lnTo>
                  <a:lnTo>
                    <a:pt x="340" y="184"/>
                  </a:lnTo>
                  <a:lnTo>
                    <a:pt x="341" y="183"/>
                  </a:lnTo>
                  <a:lnTo>
                    <a:pt x="342" y="183"/>
                  </a:lnTo>
                  <a:lnTo>
                    <a:pt x="342" y="183"/>
                  </a:lnTo>
                  <a:lnTo>
                    <a:pt x="343" y="183"/>
                  </a:lnTo>
                  <a:lnTo>
                    <a:pt x="343" y="182"/>
                  </a:lnTo>
                  <a:lnTo>
                    <a:pt x="344" y="182"/>
                  </a:lnTo>
                  <a:lnTo>
                    <a:pt x="344" y="181"/>
                  </a:lnTo>
                  <a:lnTo>
                    <a:pt x="345" y="181"/>
                  </a:lnTo>
                  <a:lnTo>
                    <a:pt x="345" y="181"/>
                  </a:lnTo>
                  <a:lnTo>
                    <a:pt x="345" y="180"/>
                  </a:lnTo>
                  <a:lnTo>
                    <a:pt x="346" y="179"/>
                  </a:lnTo>
                  <a:lnTo>
                    <a:pt x="346" y="177"/>
                  </a:lnTo>
                  <a:lnTo>
                    <a:pt x="347" y="176"/>
                  </a:lnTo>
                  <a:lnTo>
                    <a:pt x="347" y="176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9" y="174"/>
                  </a:lnTo>
                  <a:lnTo>
                    <a:pt x="349" y="174"/>
                  </a:lnTo>
                  <a:lnTo>
                    <a:pt x="350" y="174"/>
                  </a:lnTo>
                  <a:lnTo>
                    <a:pt x="351" y="175"/>
                  </a:lnTo>
                  <a:lnTo>
                    <a:pt x="352" y="175"/>
                  </a:lnTo>
                  <a:lnTo>
                    <a:pt x="352" y="175"/>
                  </a:lnTo>
                  <a:lnTo>
                    <a:pt x="353" y="175"/>
                  </a:lnTo>
                  <a:lnTo>
                    <a:pt x="353" y="176"/>
                  </a:lnTo>
                  <a:lnTo>
                    <a:pt x="354" y="176"/>
                  </a:lnTo>
                  <a:lnTo>
                    <a:pt x="354" y="176"/>
                  </a:lnTo>
                  <a:lnTo>
                    <a:pt x="355" y="177"/>
                  </a:lnTo>
                  <a:lnTo>
                    <a:pt x="355" y="178"/>
                  </a:lnTo>
                  <a:lnTo>
                    <a:pt x="355" y="178"/>
                  </a:lnTo>
                  <a:lnTo>
                    <a:pt x="356" y="179"/>
                  </a:lnTo>
                  <a:lnTo>
                    <a:pt x="356" y="181"/>
                  </a:lnTo>
                  <a:lnTo>
                    <a:pt x="356" y="182"/>
                  </a:lnTo>
                  <a:lnTo>
                    <a:pt x="356" y="183"/>
                  </a:lnTo>
                  <a:lnTo>
                    <a:pt x="356" y="187"/>
                  </a:lnTo>
                  <a:lnTo>
                    <a:pt x="356" y="189"/>
                  </a:lnTo>
                  <a:lnTo>
                    <a:pt x="356" y="191"/>
                  </a:lnTo>
                  <a:lnTo>
                    <a:pt x="356" y="191"/>
                  </a:lnTo>
                  <a:lnTo>
                    <a:pt x="356" y="192"/>
                  </a:lnTo>
                  <a:lnTo>
                    <a:pt x="356" y="192"/>
                  </a:lnTo>
                  <a:lnTo>
                    <a:pt x="357" y="193"/>
                  </a:lnTo>
                  <a:lnTo>
                    <a:pt x="357" y="194"/>
                  </a:lnTo>
                  <a:lnTo>
                    <a:pt x="357" y="195"/>
                  </a:lnTo>
                  <a:lnTo>
                    <a:pt x="358" y="195"/>
                  </a:lnTo>
                  <a:lnTo>
                    <a:pt x="358" y="196"/>
                  </a:lnTo>
                  <a:lnTo>
                    <a:pt x="359" y="196"/>
                  </a:lnTo>
                  <a:lnTo>
                    <a:pt x="359" y="197"/>
                  </a:lnTo>
                  <a:lnTo>
                    <a:pt x="360" y="198"/>
                  </a:lnTo>
                  <a:lnTo>
                    <a:pt x="361" y="199"/>
                  </a:lnTo>
                  <a:lnTo>
                    <a:pt x="362" y="200"/>
                  </a:lnTo>
                  <a:lnTo>
                    <a:pt x="363" y="200"/>
                  </a:lnTo>
                  <a:lnTo>
                    <a:pt x="363" y="201"/>
                  </a:lnTo>
                  <a:lnTo>
                    <a:pt x="363" y="201"/>
                  </a:lnTo>
                  <a:lnTo>
                    <a:pt x="363" y="201"/>
                  </a:lnTo>
                  <a:lnTo>
                    <a:pt x="363" y="202"/>
                  </a:lnTo>
                  <a:lnTo>
                    <a:pt x="363" y="202"/>
                  </a:lnTo>
                  <a:lnTo>
                    <a:pt x="363" y="203"/>
                  </a:lnTo>
                  <a:lnTo>
                    <a:pt x="363" y="204"/>
                  </a:lnTo>
                  <a:lnTo>
                    <a:pt x="361" y="206"/>
                  </a:lnTo>
                  <a:lnTo>
                    <a:pt x="360" y="209"/>
                  </a:lnTo>
                  <a:lnTo>
                    <a:pt x="359" y="212"/>
                  </a:lnTo>
                  <a:lnTo>
                    <a:pt x="359" y="213"/>
                  </a:lnTo>
                  <a:lnTo>
                    <a:pt x="359" y="214"/>
                  </a:lnTo>
                  <a:lnTo>
                    <a:pt x="358" y="215"/>
                  </a:lnTo>
                  <a:lnTo>
                    <a:pt x="358" y="216"/>
                  </a:lnTo>
                  <a:lnTo>
                    <a:pt x="358" y="217"/>
                  </a:lnTo>
                  <a:lnTo>
                    <a:pt x="359" y="219"/>
                  </a:lnTo>
                  <a:lnTo>
                    <a:pt x="359" y="220"/>
                  </a:lnTo>
                  <a:lnTo>
                    <a:pt x="360" y="223"/>
                  </a:lnTo>
                  <a:lnTo>
                    <a:pt x="361" y="224"/>
                  </a:lnTo>
                  <a:lnTo>
                    <a:pt x="361" y="225"/>
                  </a:lnTo>
                  <a:lnTo>
                    <a:pt x="362" y="227"/>
                  </a:lnTo>
                  <a:lnTo>
                    <a:pt x="363" y="230"/>
                  </a:lnTo>
                  <a:lnTo>
                    <a:pt x="365" y="233"/>
                  </a:lnTo>
                  <a:lnTo>
                    <a:pt x="366" y="237"/>
                  </a:lnTo>
                  <a:lnTo>
                    <a:pt x="369" y="243"/>
                  </a:lnTo>
                  <a:lnTo>
                    <a:pt x="372" y="249"/>
                  </a:lnTo>
                  <a:lnTo>
                    <a:pt x="373" y="253"/>
                  </a:lnTo>
                  <a:lnTo>
                    <a:pt x="374" y="254"/>
                  </a:lnTo>
                  <a:lnTo>
                    <a:pt x="374" y="255"/>
                  </a:lnTo>
                  <a:lnTo>
                    <a:pt x="375" y="256"/>
                  </a:lnTo>
                  <a:lnTo>
                    <a:pt x="376" y="261"/>
                  </a:lnTo>
                  <a:lnTo>
                    <a:pt x="376" y="262"/>
                  </a:lnTo>
                  <a:lnTo>
                    <a:pt x="377" y="263"/>
                  </a:lnTo>
                  <a:lnTo>
                    <a:pt x="377" y="264"/>
                  </a:lnTo>
                  <a:lnTo>
                    <a:pt x="377" y="265"/>
                  </a:lnTo>
                  <a:lnTo>
                    <a:pt x="378" y="265"/>
                  </a:lnTo>
                  <a:lnTo>
                    <a:pt x="378" y="266"/>
                  </a:lnTo>
                  <a:lnTo>
                    <a:pt x="379" y="267"/>
                  </a:lnTo>
                  <a:lnTo>
                    <a:pt x="380" y="267"/>
                  </a:lnTo>
                  <a:lnTo>
                    <a:pt x="381" y="268"/>
                  </a:lnTo>
                  <a:lnTo>
                    <a:pt x="381" y="269"/>
                  </a:lnTo>
                  <a:lnTo>
                    <a:pt x="382" y="269"/>
                  </a:lnTo>
                  <a:lnTo>
                    <a:pt x="383" y="269"/>
                  </a:lnTo>
                  <a:lnTo>
                    <a:pt x="384" y="270"/>
                  </a:lnTo>
                  <a:lnTo>
                    <a:pt x="385" y="270"/>
                  </a:lnTo>
                  <a:lnTo>
                    <a:pt x="389" y="272"/>
                  </a:lnTo>
                  <a:lnTo>
                    <a:pt x="391" y="272"/>
                  </a:lnTo>
                  <a:lnTo>
                    <a:pt x="395" y="273"/>
                  </a:lnTo>
                  <a:lnTo>
                    <a:pt x="396" y="273"/>
                  </a:lnTo>
                  <a:lnTo>
                    <a:pt x="397" y="273"/>
                  </a:lnTo>
                  <a:lnTo>
                    <a:pt x="397" y="273"/>
                  </a:lnTo>
                  <a:lnTo>
                    <a:pt x="399" y="274"/>
                  </a:lnTo>
                  <a:lnTo>
                    <a:pt x="400" y="274"/>
                  </a:lnTo>
                  <a:lnTo>
                    <a:pt x="401" y="275"/>
                  </a:lnTo>
                  <a:lnTo>
                    <a:pt x="402" y="277"/>
                  </a:lnTo>
                  <a:lnTo>
                    <a:pt x="404" y="279"/>
                  </a:lnTo>
                  <a:lnTo>
                    <a:pt x="405" y="279"/>
                  </a:lnTo>
                  <a:lnTo>
                    <a:pt x="406" y="280"/>
                  </a:lnTo>
                  <a:lnTo>
                    <a:pt x="406" y="280"/>
                  </a:lnTo>
                  <a:lnTo>
                    <a:pt x="408" y="281"/>
                  </a:lnTo>
                  <a:lnTo>
                    <a:pt x="409" y="282"/>
                  </a:lnTo>
                  <a:lnTo>
                    <a:pt x="411" y="282"/>
                  </a:lnTo>
                  <a:lnTo>
                    <a:pt x="411" y="282"/>
                  </a:lnTo>
                  <a:lnTo>
                    <a:pt x="413" y="282"/>
                  </a:lnTo>
                  <a:lnTo>
                    <a:pt x="413" y="282"/>
                  </a:lnTo>
                  <a:lnTo>
                    <a:pt x="414" y="282"/>
                  </a:lnTo>
                  <a:lnTo>
                    <a:pt x="415" y="282"/>
                  </a:lnTo>
                  <a:lnTo>
                    <a:pt x="418" y="282"/>
                  </a:lnTo>
                  <a:lnTo>
                    <a:pt x="420" y="282"/>
                  </a:lnTo>
                  <a:lnTo>
                    <a:pt x="421" y="282"/>
                  </a:lnTo>
                  <a:lnTo>
                    <a:pt x="422" y="282"/>
                  </a:lnTo>
                  <a:lnTo>
                    <a:pt x="423" y="282"/>
                  </a:lnTo>
                  <a:lnTo>
                    <a:pt x="424" y="282"/>
                  </a:lnTo>
                  <a:lnTo>
                    <a:pt x="425" y="282"/>
                  </a:lnTo>
                  <a:lnTo>
                    <a:pt x="426" y="283"/>
                  </a:lnTo>
                  <a:lnTo>
                    <a:pt x="427" y="283"/>
                  </a:lnTo>
                  <a:lnTo>
                    <a:pt x="428" y="284"/>
                  </a:lnTo>
                  <a:lnTo>
                    <a:pt x="428" y="284"/>
                  </a:lnTo>
                  <a:lnTo>
                    <a:pt x="429" y="285"/>
                  </a:lnTo>
                  <a:lnTo>
                    <a:pt x="430" y="285"/>
                  </a:lnTo>
                  <a:lnTo>
                    <a:pt x="430" y="286"/>
                  </a:lnTo>
                  <a:lnTo>
                    <a:pt x="430" y="287"/>
                  </a:lnTo>
                  <a:lnTo>
                    <a:pt x="431" y="288"/>
                  </a:lnTo>
                  <a:lnTo>
                    <a:pt x="431" y="290"/>
                  </a:lnTo>
                  <a:lnTo>
                    <a:pt x="432" y="292"/>
                  </a:lnTo>
                  <a:lnTo>
                    <a:pt x="433" y="296"/>
                  </a:lnTo>
                  <a:lnTo>
                    <a:pt x="434" y="301"/>
                  </a:lnTo>
                  <a:lnTo>
                    <a:pt x="436" y="310"/>
                  </a:lnTo>
                  <a:lnTo>
                    <a:pt x="438" y="315"/>
                  </a:lnTo>
                  <a:lnTo>
                    <a:pt x="438" y="317"/>
                  </a:lnTo>
                  <a:lnTo>
                    <a:pt x="439" y="318"/>
                  </a:lnTo>
                  <a:lnTo>
                    <a:pt x="439" y="319"/>
                  </a:lnTo>
                  <a:lnTo>
                    <a:pt x="440" y="321"/>
                  </a:lnTo>
                  <a:lnTo>
                    <a:pt x="441" y="322"/>
                  </a:lnTo>
                  <a:lnTo>
                    <a:pt x="441" y="324"/>
                  </a:lnTo>
                  <a:lnTo>
                    <a:pt x="442" y="328"/>
                  </a:lnTo>
                  <a:lnTo>
                    <a:pt x="442" y="329"/>
                  </a:lnTo>
                  <a:lnTo>
                    <a:pt x="442" y="331"/>
                  </a:lnTo>
                  <a:lnTo>
                    <a:pt x="443" y="333"/>
                  </a:lnTo>
                  <a:lnTo>
                    <a:pt x="444" y="335"/>
                  </a:lnTo>
                  <a:lnTo>
                    <a:pt x="445" y="336"/>
                  </a:lnTo>
                  <a:lnTo>
                    <a:pt x="446" y="338"/>
                  </a:lnTo>
                  <a:lnTo>
                    <a:pt x="447" y="340"/>
                  </a:lnTo>
                  <a:lnTo>
                    <a:pt x="448" y="341"/>
                  </a:lnTo>
                  <a:lnTo>
                    <a:pt x="448" y="343"/>
                  </a:lnTo>
                  <a:lnTo>
                    <a:pt x="448" y="344"/>
                  </a:lnTo>
                  <a:lnTo>
                    <a:pt x="448" y="345"/>
                  </a:lnTo>
                  <a:lnTo>
                    <a:pt x="448" y="346"/>
                  </a:lnTo>
                  <a:lnTo>
                    <a:pt x="448" y="346"/>
                  </a:lnTo>
                  <a:lnTo>
                    <a:pt x="447" y="348"/>
                  </a:lnTo>
                  <a:lnTo>
                    <a:pt x="447" y="350"/>
                  </a:lnTo>
                  <a:lnTo>
                    <a:pt x="446" y="352"/>
                  </a:lnTo>
                  <a:lnTo>
                    <a:pt x="445" y="355"/>
                  </a:lnTo>
                  <a:lnTo>
                    <a:pt x="445" y="355"/>
                  </a:lnTo>
                  <a:lnTo>
                    <a:pt x="445" y="356"/>
                  </a:lnTo>
                  <a:lnTo>
                    <a:pt x="445" y="356"/>
                  </a:lnTo>
                  <a:lnTo>
                    <a:pt x="444" y="356"/>
                  </a:lnTo>
                  <a:lnTo>
                    <a:pt x="443" y="357"/>
                  </a:lnTo>
                  <a:lnTo>
                    <a:pt x="443" y="357"/>
                  </a:lnTo>
                  <a:lnTo>
                    <a:pt x="442" y="357"/>
                  </a:lnTo>
                  <a:lnTo>
                    <a:pt x="439" y="358"/>
                  </a:lnTo>
                  <a:lnTo>
                    <a:pt x="437" y="359"/>
                  </a:lnTo>
                  <a:lnTo>
                    <a:pt x="436" y="359"/>
                  </a:lnTo>
                  <a:lnTo>
                    <a:pt x="435" y="360"/>
                  </a:lnTo>
                  <a:lnTo>
                    <a:pt x="431" y="362"/>
                  </a:lnTo>
                  <a:lnTo>
                    <a:pt x="429" y="363"/>
                  </a:lnTo>
                  <a:lnTo>
                    <a:pt x="427" y="364"/>
                  </a:lnTo>
                  <a:lnTo>
                    <a:pt x="423" y="367"/>
                  </a:lnTo>
                  <a:lnTo>
                    <a:pt x="422" y="368"/>
                  </a:lnTo>
                  <a:lnTo>
                    <a:pt x="421" y="368"/>
                  </a:lnTo>
                  <a:lnTo>
                    <a:pt x="419" y="369"/>
                  </a:lnTo>
                  <a:lnTo>
                    <a:pt x="418" y="369"/>
                  </a:lnTo>
                  <a:lnTo>
                    <a:pt x="417" y="369"/>
                  </a:lnTo>
                  <a:lnTo>
                    <a:pt x="416" y="369"/>
                  </a:lnTo>
                  <a:lnTo>
                    <a:pt x="416" y="369"/>
                  </a:lnTo>
                  <a:lnTo>
                    <a:pt x="415" y="369"/>
                  </a:lnTo>
                  <a:lnTo>
                    <a:pt x="414" y="369"/>
                  </a:lnTo>
                  <a:lnTo>
                    <a:pt x="412" y="369"/>
                  </a:lnTo>
                  <a:lnTo>
                    <a:pt x="408" y="367"/>
                  </a:lnTo>
                  <a:lnTo>
                    <a:pt x="407" y="367"/>
                  </a:lnTo>
                  <a:lnTo>
                    <a:pt x="406" y="367"/>
                  </a:lnTo>
                  <a:lnTo>
                    <a:pt x="404" y="367"/>
                  </a:lnTo>
                  <a:lnTo>
                    <a:pt x="401" y="366"/>
                  </a:lnTo>
                  <a:lnTo>
                    <a:pt x="398" y="366"/>
                  </a:lnTo>
                  <a:lnTo>
                    <a:pt x="396" y="366"/>
                  </a:lnTo>
                  <a:lnTo>
                    <a:pt x="395" y="366"/>
                  </a:lnTo>
                  <a:lnTo>
                    <a:pt x="393" y="366"/>
                  </a:lnTo>
                  <a:lnTo>
                    <a:pt x="390" y="366"/>
                  </a:lnTo>
                  <a:lnTo>
                    <a:pt x="384" y="368"/>
                  </a:lnTo>
                  <a:lnTo>
                    <a:pt x="382" y="368"/>
                  </a:lnTo>
                  <a:lnTo>
                    <a:pt x="380" y="368"/>
                  </a:lnTo>
                  <a:lnTo>
                    <a:pt x="379" y="368"/>
                  </a:lnTo>
                  <a:lnTo>
                    <a:pt x="378" y="368"/>
                  </a:lnTo>
                  <a:lnTo>
                    <a:pt x="377" y="368"/>
                  </a:lnTo>
                  <a:lnTo>
                    <a:pt x="376" y="368"/>
                  </a:lnTo>
                  <a:lnTo>
                    <a:pt x="375" y="368"/>
                  </a:lnTo>
                  <a:lnTo>
                    <a:pt x="374" y="367"/>
                  </a:lnTo>
                  <a:lnTo>
                    <a:pt x="372" y="366"/>
                  </a:lnTo>
                  <a:lnTo>
                    <a:pt x="371" y="366"/>
                  </a:lnTo>
                  <a:lnTo>
                    <a:pt x="370" y="366"/>
                  </a:lnTo>
                  <a:lnTo>
                    <a:pt x="369" y="366"/>
                  </a:lnTo>
                  <a:lnTo>
                    <a:pt x="368" y="366"/>
                  </a:lnTo>
                  <a:lnTo>
                    <a:pt x="367" y="366"/>
                  </a:lnTo>
                  <a:lnTo>
                    <a:pt x="366" y="366"/>
                  </a:lnTo>
                  <a:lnTo>
                    <a:pt x="365" y="366"/>
                  </a:lnTo>
                  <a:lnTo>
                    <a:pt x="364" y="366"/>
                  </a:lnTo>
                  <a:lnTo>
                    <a:pt x="363" y="366"/>
                  </a:lnTo>
                  <a:lnTo>
                    <a:pt x="362" y="366"/>
                  </a:lnTo>
                  <a:lnTo>
                    <a:pt x="362" y="367"/>
                  </a:lnTo>
                  <a:lnTo>
                    <a:pt x="361" y="367"/>
                  </a:lnTo>
                  <a:lnTo>
                    <a:pt x="360" y="368"/>
                  </a:lnTo>
                  <a:lnTo>
                    <a:pt x="359" y="369"/>
                  </a:lnTo>
                  <a:lnTo>
                    <a:pt x="358" y="370"/>
                  </a:lnTo>
                  <a:lnTo>
                    <a:pt x="357" y="370"/>
                  </a:lnTo>
                  <a:lnTo>
                    <a:pt x="357" y="371"/>
                  </a:lnTo>
                  <a:lnTo>
                    <a:pt x="356" y="372"/>
                  </a:lnTo>
                  <a:lnTo>
                    <a:pt x="356" y="373"/>
                  </a:lnTo>
                  <a:lnTo>
                    <a:pt x="356" y="374"/>
                  </a:lnTo>
                  <a:lnTo>
                    <a:pt x="355" y="374"/>
                  </a:lnTo>
                  <a:lnTo>
                    <a:pt x="355" y="375"/>
                  </a:lnTo>
                  <a:lnTo>
                    <a:pt x="355" y="376"/>
                  </a:lnTo>
                  <a:lnTo>
                    <a:pt x="355" y="377"/>
                  </a:lnTo>
                  <a:lnTo>
                    <a:pt x="355" y="380"/>
                  </a:lnTo>
                  <a:lnTo>
                    <a:pt x="355" y="381"/>
                  </a:lnTo>
                  <a:lnTo>
                    <a:pt x="355" y="382"/>
                  </a:lnTo>
                  <a:lnTo>
                    <a:pt x="355" y="383"/>
                  </a:lnTo>
                  <a:lnTo>
                    <a:pt x="355" y="384"/>
                  </a:lnTo>
                  <a:lnTo>
                    <a:pt x="354" y="385"/>
                  </a:lnTo>
                  <a:lnTo>
                    <a:pt x="354" y="386"/>
                  </a:lnTo>
                  <a:lnTo>
                    <a:pt x="353" y="387"/>
                  </a:lnTo>
                  <a:lnTo>
                    <a:pt x="352" y="389"/>
                  </a:lnTo>
                  <a:lnTo>
                    <a:pt x="350" y="392"/>
                  </a:lnTo>
                  <a:lnTo>
                    <a:pt x="349" y="393"/>
                  </a:lnTo>
                  <a:lnTo>
                    <a:pt x="346" y="397"/>
                  </a:lnTo>
                  <a:lnTo>
                    <a:pt x="343" y="400"/>
                  </a:lnTo>
                  <a:lnTo>
                    <a:pt x="342" y="401"/>
                  </a:lnTo>
                  <a:lnTo>
                    <a:pt x="341" y="403"/>
                  </a:lnTo>
                  <a:lnTo>
                    <a:pt x="339" y="406"/>
                  </a:lnTo>
                  <a:lnTo>
                    <a:pt x="337" y="410"/>
                  </a:lnTo>
                  <a:lnTo>
                    <a:pt x="336" y="411"/>
                  </a:lnTo>
                  <a:lnTo>
                    <a:pt x="335" y="412"/>
                  </a:lnTo>
                  <a:lnTo>
                    <a:pt x="334" y="413"/>
                  </a:lnTo>
                  <a:lnTo>
                    <a:pt x="333" y="414"/>
                  </a:lnTo>
                  <a:lnTo>
                    <a:pt x="332" y="415"/>
                  </a:lnTo>
                  <a:lnTo>
                    <a:pt x="331" y="416"/>
                  </a:lnTo>
                  <a:lnTo>
                    <a:pt x="330" y="416"/>
                  </a:lnTo>
                  <a:lnTo>
                    <a:pt x="329" y="417"/>
                  </a:lnTo>
                  <a:lnTo>
                    <a:pt x="328" y="418"/>
                  </a:lnTo>
                  <a:lnTo>
                    <a:pt x="327" y="418"/>
                  </a:lnTo>
                  <a:lnTo>
                    <a:pt x="326" y="418"/>
                  </a:lnTo>
                  <a:lnTo>
                    <a:pt x="324" y="419"/>
                  </a:lnTo>
                  <a:lnTo>
                    <a:pt x="323" y="419"/>
                  </a:lnTo>
                  <a:lnTo>
                    <a:pt x="322" y="419"/>
                  </a:lnTo>
                  <a:lnTo>
                    <a:pt x="321" y="419"/>
                  </a:lnTo>
                  <a:lnTo>
                    <a:pt x="320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5" y="419"/>
                  </a:lnTo>
                  <a:lnTo>
                    <a:pt x="315" y="419"/>
                  </a:lnTo>
                  <a:lnTo>
                    <a:pt x="314" y="418"/>
                  </a:lnTo>
                  <a:lnTo>
                    <a:pt x="313" y="418"/>
                  </a:lnTo>
                  <a:lnTo>
                    <a:pt x="312" y="417"/>
                  </a:lnTo>
                  <a:lnTo>
                    <a:pt x="311" y="416"/>
                  </a:lnTo>
                  <a:lnTo>
                    <a:pt x="310" y="416"/>
                  </a:lnTo>
                  <a:lnTo>
                    <a:pt x="309" y="415"/>
                  </a:lnTo>
                  <a:lnTo>
                    <a:pt x="309" y="414"/>
                  </a:lnTo>
                  <a:lnTo>
                    <a:pt x="308" y="414"/>
                  </a:lnTo>
                  <a:lnTo>
                    <a:pt x="308" y="413"/>
                  </a:lnTo>
                  <a:lnTo>
                    <a:pt x="307" y="412"/>
                  </a:lnTo>
                  <a:lnTo>
                    <a:pt x="307" y="412"/>
                  </a:lnTo>
                  <a:lnTo>
                    <a:pt x="306" y="410"/>
                  </a:lnTo>
                  <a:lnTo>
                    <a:pt x="304" y="406"/>
                  </a:lnTo>
                  <a:lnTo>
                    <a:pt x="304" y="405"/>
                  </a:lnTo>
                  <a:lnTo>
                    <a:pt x="304" y="405"/>
                  </a:lnTo>
                  <a:lnTo>
                    <a:pt x="303" y="404"/>
                  </a:lnTo>
                  <a:lnTo>
                    <a:pt x="303" y="403"/>
                  </a:lnTo>
                  <a:lnTo>
                    <a:pt x="301" y="400"/>
                  </a:lnTo>
                  <a:lnTo>
                    <a:pt x="300" y="399"/>
                  </a:lnTo>
                  <a:lnTo>
                    <a:pt x="299" y="399"/>
                  </a:lnTo>
                  <a:lnTo>
                    <a:pt x="298" y="398"/>
                  </a:lnTo>
                  <a:lnTo>
                    <a:pt x="297" y="397"/>
                  </a:lnTo>
                  <a:lnTo>
                    <a:pt x="292" y="394"/>
                  </a:lnTo>
                  <a:lnTo>
                    <a:pt x="291" y="393"/>
                  </a:lnTo>
                  <a:lnTo>
                    <a:pt x="290" y="392"/>
                  </a:lnTo>
                  <a:lnTo>
                    <a:pt x="289" y="391"/>
                  </a:lnTo>
                  <a:lnTo>
                    <a:pt x="289" y="390"/>
                  </a:lnTo>
                  <a:lnTo>
                    <a:pt x="288" y="389"/>
                  </a:lnTo>
                  <a:lnTo>
                    <a:pt x="287" y="388"/>
                  </a:lnTo>
                  <a:lnTo>
                    <a:pt x="286" y="386"/>
                  </a:lnTo>
                  <a:lnTo>
                    <a:pt x="284" y="382"/>
                  </a:lnTo>
                  <a:lnTo>
                    <a:pt x="283" y="381"/>
                  </a:lnTo>
                  <a:lnTo>
                    <a:pt x="283" y="380"/>
                  </a:lnTo>
                  <a:lnTo>
                    <a:pt x="282" y="380"/>
                  </a:lnTo>
                  <a:lnTo>
                    <a:pt x="281" y="379"/>
                  </a:lnTo>
                  <a:lnTo>
                    <a:pt x="280" y="379"/>
                  </a:lnTo>
                  <a:lnTo>
                    <a:pt x="279" y="378"/>
                  </a:lnTo>
                  <a:lnTo>
                    <a:pt x="278" y="378"/>
                  </a:lnTo>
                  <a:lnTo>
                    <a:pt x="277" y="377"/>
                  </a:lnTo>
                  <a:lnTo>
                    <a:pt x="276" y="377"/>
                  </a:lnTo>
                  <a:lnTo>
                    <a:pt x="275" y="377"/>
                  </a:lnTo>
                  <a:lnTo>
                    <a:pt x="275" y="377"/>
                  </a:lnTo>
                  <a:lnTo>
                    <a:pt x="273" y="378"/>
                  </a:lnTo>
                  <a:lnTo>
                    <a:pt x="270" y="378"/>
                  </a:lnTo>
                  <a:lnTo>
                    <a:pt x="269" y="379"/>
                  </a:lnTo>
                  <a:lnTo>
                    <a:pt x="268" y="379"/>
                  </a:lnTo>
                  <a:lnTo>
                    <a:pt x="267" y="379"/>
                  </a:lnTo>
                  <a:lnTo>
                    <a:pt x="266" y="379"/>
                  </a:lnTo>
                  <a:lnTo>
                    <a:pt x="265" y="379"/>
                  </a:lnTo>
                  <a:lnTo>
                    <a:pt x="262" y="378"/>
                  </a:lnTo>
                  <a:lnTo>
                    <a:pt x="261" y="378"/>
                  </a:lnTo>
                  <a:lnTo>
                    <a:pt x="255" y="377"/>
                  </a:lnTo>
                  <a:lnTo>
                    <a:pt x="254" y="377"/>
                  </a:lnTo>
                  <a:lnTo>
                    <a:pt x="253" y="376"/>
                  </a:lnTo>
                  <a:lnTo>
                    <a:pt x="251" y="376"/>
                  </a:lnTo>
                  <a:lnTo>
                    <a:pt x="251" y="375"/>
                  </a:lnTo>
                  <a:lnTo>
                    <a:pt x="250" y="375"/>
                  </a:lnTo>
                  <a:lnTo>
                    <a:pt x="248" y="374"/>
                  </a:lnTo>
                  <a:lnTo>
                    <a:pt x="244" y="371"/>
                  </a:lnTo>
                  <a:lnTo>
                    <a:pt x="243" y="370"/>
                  </a:lnTo>
                  <a:lnTo>
                    <a:pt x="242" y="370"/>
                  </a:lnTo>
                  <a:lnTo>
                    <a:pt x="241" y="369"/>
                  </a:lnTo>
                  <a:lnTo>
                    <a:pt x="240" y="369"/>
                  </a:lnTo>
                  <a:lnTo>
                    <a:pt x="239" y="369"/>
                  </a:lnTo>
                  <a:lnTo>
                    <a:pt x="238" y="368"/>
                  </a:lnTo>
                  <a:lnTo>
                    <a:pt x="235" y="368"/>
                  </a:lnTo>
                  <a:lnTo>
                    <a:pt x="234" y="368"/>
                  </a:lnTo>
                  <a:lnTo>
                    <a:pt x="233" y="368"/>
                  </a:lnTo>
                  <a:lnTo>
                    <a:pt x="229" y="367"/>
                  </a:lnTo>
                  <a:lnTo>
                    <a:pt x="228" y="367"/>
                  </a:lnTo>
                  <a:lnTo>
                    <a:pt x="227" y="367"/>
                  </a:lnTo>
                  <a:lnTo>
                    <a:pt x="225" y="367"/>
                  </a:lnTo>
                  <a:lnTo>
                    <a:pt x="222" y="367"/>
                  </a:lnTo>
                  <a:lnTo>
                    <a:pt x="219" y="367"/>
                  </a:lnTo>
                  <a:lnTo>
                    <a:pt x="217" y="367"/>
                  </a:lnTo>
                  <a:lnTo>
                    <a:pt x="213" y="368"/>
                  </a:lnTo>
                  <a:lnTo>
                    <a:pt x="210" y="369"/>
                  </a:lnTo>
                  <a:lnTo>
                    <a:pt x="206" y="370"/>
                  </a:lnTo>
                  <a:lnTo>
                    <a:pt x="199" y="372"/>
                  </a:lnTo>
                  <a:lnTo>
                    <a:pt x="198" y="372"/>
                  </a:lnTo>
                  <a:lnTo>
                    <a:pt x="196" y="372"/>
                  </a:lnTo>
                  <a:lnTo>
                    <a:pt x="195" y="372"/>
                  </a:lnTo>
                  <a:lnTo>
                    <a:pt x="194" y="373"/>
                  </a:lnTo>
                  <a:lnTo>
                    <a:pt x="193" y="372"/>
                  </a:lnTo>
                  <a:lnTo>
                    <a:pt x="193" y="372"/>
                  </a:lnTo>
                  <a:lnTo>
                    <a:pt x="192" y="372"/>
                  </a:lnTo>
                  <a:lnTo>
                    <a:pt x="191" y="371"/>
                  </a:lnTo>
                  <a:lnTo>
                    <a:pt x="191" y="371"/>
                  </a:lnTo>
                  <a:lnTo>
                    <a:pt x="190" y="371"/>
                  </a:lnTo>
                  <a:lnTo>
                    <a:pt x="190" y="370"/>
                  </a:lnTo>
                  <a:lnTo>
                    <a:pt x="189" y="369"/>
                  </a:lnTo>
                  <a:lnTo>
                    <a:pt x="188" y="366"/>
                  </a:lnTo>
                  <a:lnTo>
                    <a:pt x="187" y="366"/>
                  </a:lnTo>
                  <a:lnTo>
                    <a:pt x="187" y="365"/>
                  </a:lnTo>
                  <a:lnTo>
                    <a:pt x="186" y="364"/>
                  </a:lnTo>
                  <a:lnTo>
                    <a:pt x="185" y="363"/>
                  </a:lnTo>
                  <a:lnTo>
                    <a:pt x="184" y="362"/>
                  </a:lnTo>
                  <a:lnTo>
                    <a:pt x="182" y="361"/>
                  </a:lnTo>
                  <a:lnTo>
                    <a:pt x="181" y="361"/>
                  </a:lnTo>
                  <a:lnTo>
                    <a:pt x="180" y="360"/>
                  </a:lnTo>
                  <a:lnTo>
                    <a:pt x="179" y="360"/>
                  </a:lnTo>
                  <a:lnTo>
                    <a:pt x="177" y="359"/>
                  </a:lnTo>
                  <a:lnTo>
                    <a:pt x="175" y="359"/>
                  </a:lnTo>
                  <a:lnTo>
                    <a:pt x="174" y="359"/>
                  </a:lnTo>
                  <a:lnTo>
                    <a:pt x="172" y="359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0" y="359"/>
                  </a:lnTo>
                  <a:lnTo>
                    <a:pt x="169" y="359"/>
                  </a:lnTo>
                  <a:lnTo>
                    <a:pt x="169" y="359"/>
                  </a:lnTo>
                  <a:lnTo>
                    <a:pt x="167" y="360"/>
                  </a:lnTo>
                  <a:lnTo>
                    <a:pt x="167" y="360"/>
                  </a:lnTo>
                  <a:lnTo>
                    <a:pt x="166" y="359"/>
                  </a:lnTo>
                  <a:lnTo>
                    <a:pt x="166" y="359"/>
                  </a:lnTo>
                  <a:lnTo>
                    <a:pt x="165" y="356"/>
                  </a:lnTo>
                  <a:lnTo>
                    <a:pt x="163" y="353"/>
                  </a:lnTo>
                  <a:lnTo>
                    <a:pt x="163" y="352"/>
                  </a:lnTo>
                  <a:lnTo>
                    <a:pt x="162" y="351"/>
                  </a:lnTo>
                  <a:lnTo>
                    <a:pt x="161" y="350"/>
                  </a:lnTo>
                  <a:lnTo>
                    <a:pt x="160" y="349"/>
                  </a:lnTo>
                  <a:lnTo>
                    <a:pt x="160" y="349"/>
                  </a:lnTo>
                  <a:lnTo>
                    <a:pt x="160" y="349"/>
                  </a:lnTo>
                  <a:lnTo>
                    <a:pt x="159" y="349"/>
                  </a:lnTo>
                  <a:lnTo>
                    <a:pt x="159" y="348"/>
                  </a:lnTo>
                  <a:lnTo>
                    <a:pt x="158" y="348"/>
                  </a:lnTo>
                  <a:lnTo>
                    <a:pt x="158" y="348"/>
                  </a:lnTo>
                  <a:lnTo>
                    <a:pt x="157" y="349"/>
                  </a:lnTo>
                  <a:lnTo>
                    <a:pt x="156" y="349"/>
                  </a:lnTo>
                  <a:lnTo>
                    <a:pt x="155" y="349"/>
                  </a:lnTo>
                  <a:lnTo>
                    <a:pt x="154" y="350"/>
                  </a:lnTo>
                  <a:lnTo>
                    <a:pt x="153" y="351"/>
                  </a:lnTo>
                  <a:lnTo>
                    <a:pt x="151" y="353"/>
                  </a:lnTo>
                  <a:lnTo>
                    <a:pt x="150" y="353"/>
                  </a:lnTo>
                  <a:lnTo>
                    <a:pt x="150" y="353"/>
                  </a:lnTo>
                  <a:lnTo>
                    <a:pt x="150" y="353"/>
                  </a:lnTo>
                  <a:lnTo>
                    <a:pt x="149" y="353"/>
                  </a:lnTo>
                  <a:lnTo>
                    <a:pt x="148" y="353"/>
                  </a:lnTo>
                  <a:lnTo>
                    <a:pt x="148" y="353"/>
                  </a:lnTo>
                  <a:lnTo>
                    <a:pt x="148" y="352"/>
                  </a:lnTo>
                  <a:lnTo>
                    <a:pt x="147" y="352"/>
                  </a:lnTo>
                  <a:lnTo>
                    <a:pt x="147" y="351"/>
                  </a:lnTo>
                  <a:lnTo>
                    <a:pt x="146" y="350"/>
                  </a:lnTo>
                  <a:lnTo>
                    <a:pt x="146" y="349"/>
                  </a:lnTo>
                  <a:lnTo>
                    <a:pt x="146" y="349"/>
                  </a:lnTo>
                  <a:lnTo>
                    <a:pt x="146" y="348"/>
                  </a:lnTo>
                  <a:lnTo>
                    <a:pt x="147" y="347"/>
                  </a:lnTo>
                  <a:lnTo>
                    <a:pt x="147" y="346"/>
                  </a:lnTo>
                  <a:lnTo>
                    <a:pt x="148" y="345"/>
                  </a:lnTo>
                  <a:lnTo>
                    <a:pt x="148" y="344"/>
                  </a:lnTo>
                  <a:lnTo>
                    <a:pt x="148" y="343"/>
                  </a:lnTo>
                  <a:lnTo>
                    <a:pt x="148" y="343"/>
                  </a:lnTo>
                  <a:lnTo>
                    <a:pt x="148" y="342"/>
                  </a:lnTo>
                  <a:lnTo>
                    <a:pt x="148" y="341"/>
                  </a:lnTo>
                  <a:lnTo>
                    <a:pt x="148" y="341"/>
                  </a:lnTo>
                  <a:lnTo>
                    <a:pt x="147" y="340"/>
                  </a:lnTo>
                  <a:lnTo>
                    <a:pt x="146" y="337"/>
                  </a:lnTo>
                  <a:lnTo>
                    <a:pt x="144" y="334"/>
                  </a:lnTo>
                  <a:lnTo>
                    <a:pt x="143" y="332"/>
                  </a:lnTo>
                  <a:lnTo>
                    <a:pt x="141" y="330"/>
                  </a:lnTo>
                  <a:lnTo>
                    <a:pt x="140" y="329"/>
                  </a:lnTo>
                  <a:lnTo>
                    <a:pt x="138" y="327"/>
                  </a:lnTo>
                  <a:lnTo>
                    <a:pt x="135" y="324"/>
                  </a:lnTo>
                  <a:lnTo>
                    <a:pt x="134" y="322"/>
                  </a:lnTo>
                  <a:lnTo>
                    <a:pt x="132" y="322"/>
                  </a:lnTo>
                  <a:lnTo>
                    <a:pt x="125" y="316"/>
                  </a:lnTo>
                  <a:lnTo>
                    <a:pt x="124" y="315"/>
                  </a:lnTo>
                  <a:lnTo>
                    <a:pt x="123" y="315"/>
                  </a:lnTo>
                  <a:lnTo>
                    <a:pt x="123" y="314"/>
                  </a:lnTo>
                  <a:lnTo>
                    <a:pt x="122" y="313"/>
                  </a:lnTo>
                  <a:lnTo>
                    <a:pt x="121" y="311"/>
                  </a:lnTo>
                  <a:lnTo>
                    <a:pt x="120" y="310"/>
                  </a:lnTo>
                  <a:lnTo>
                    <a:pt x="119" y="308"/>
                  </a:lnTo>
                  <a:lnTo>
                    <a:pt x="118" y="307"/>
                  </a:lnTo>
                  <a:lnTo>
                    <a:pt x="118" y="306"/>
                  </a:lnTo>
                  <a:lnTo>
                    <a:pt x="117" y="304"/>
                  </a:lnTo>
                  <a:lnTo>
                    <a:pt x="115" y="303"/>
                  </a:lnTo>
                  <a:lnTo>
                    <a:pt x="114" y="302"/>
                  </a:lnTo>
                  <a:lnTo>
                    <a:pt x="114" y="301"/>
                  </a:lnTo>
                  <a:lnTo>
                    <a:pt x="113" y="300"/>
                  </a:lnTo>
                  <a:lnTo>
                    <a:pt x="112" y="300"/>
                  </a:lnTo>
                  <a:lnTo>
                    <a:pt x="112" y="299"/>
                  </a:lnTo>
                  <a:lnTo>
                    <a:pt x="111" y="299"/>
                  </a:lnTo>
                  <a:lnTo>
                    <a:pt x="111" y="299"/>
                  </a:lnTo>
                  <a:lnTo>
                    <a:pt x="111" y="299"/>
                  </a:lnTo>
                  <a:lnTo>
                    <a:pt x="110" y="299"/>
                  </a:lnTo>
                  <a:lnTo>
                    <a:pt x="110" y="300"/>
                  </a:lnTo>
                  <a:lnTo>
                    <a:pt x="109" y="300"/>
                  </a:lnTo>
                  <a:lnTo>
                    <a:pt x="108" y="301"/>
                  </a:lnTo>
                  <a:lnTo>
                    <a:pt x="107" y="301"/>
                  </a:lnTo>
                  <a:lnTo>
                    <a:pt x="107" y="301"/>
                  </a:lnTo>
                  <a:lnTo>
                    <a:pt x="106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4" y="302"/>
                  </a:lnTo>
                  <a:lnTo>
                    <a:pt x="103" y="301"/>
                  </a:lnTo>
                  <a:lnTo>
                    <a:pt x="102" y="301"/>
                  </a:lnTo>
                  <a:lnTo>
                    <a:pt x="101" y="300"/>
                  </a:lnTo>
                  <a:lnTo>
                    <a:pt x="100" y="299"/>
                  </a:lnTo>
                  <a:lnTo>
                    <a:pt x="99" y="299"/>
                  </a:lnTo>
                  <a:lnTo>
                    <a:pt x="98" y="298"/>
                  </a:lnTo>
                  <a:lnTo>
                    <a:pt x="97" y="297"/>
                  </a:lnTo>
                  <a:lnTo>
                    <a:pt x="97" y="297"/>
                  </a:lnTo>
                  <a:lnTo>
                    <a:pt x="96" y="296"/>
                  </a:lnTo>
                  <a:lnTo>
                    <a:pt x="96" y="295"/>
                  </a:lnTo>
                  <a:lnTo>
                    <a:pt x="95" y="294"/>
                  </a:lnTo>
                  <a:lnTo>
                    <a:pt x="95" y="293"/>
                  </a:lnTo>
                  <a:lnTo>
                    <a:pt x="95" y="291"/>
                  </a:lnTo>
                  <a:lnTo>
                    <a:pt x="94" y="289"/>
                  </a:lnTo>
                  <a:lnTo>
                    <a:pt x="94" y="288"/>
                  </a:lnTo>
                  <a:lnTo>
                    <a:pt x="94" y="286"/>
                  </a:lnTo>
                  <a:lnTo>
                    <a:pt x="94" y="285"/>
                  </a:lnTo>
                  <a:lnTo>
                    <a:pt x="94" y="284"/>
                  </a:lnTo>
                  <a:lnTo>
                    <a:pt x="94" y="283"/>
                  </a:lnTo>
                  <a:lnTo>
                    <a:pt x="94" y="282"/>
                  </a:lnTo>
                  <a:lnTo>
                    <a:pt x="95" y="280"/>
                  </a:lnTo>
                  <a:lnTo>
                    <a:pt x="96" y="276"/>
                  </a:lnTo>
                  <a:lnTo>
                    <a:pt x="96" y="275"/>
                  </a:lnTo>
                  <a:lnTo>
                    <a:pt x="96" y="274"/>
                  </a:lnTo>
                  <a:lnTo>
                    <a:pt x="96" y="273"/>
                  </a:lnTo>
                  <a:lnTo>
                    <a:pt x="96" y="272"/>
                  </a:lnTo>
                  <a:lnTo>
                    <a:pt x="96" y="271"/>
                  </a:lnTo>
                  <a:lnTo>
                    <a:pt x="96" y="269"/>
                  </a:lnTo>
                  <a:lnTo>
                    <a:pt x="96" y="268"/>
                  </a:lnTo>
                  <a:lnTo>
                    <a:pt x="95" y="266"/>
                  </a:lnTo>
                  <a:lnTo>
                    <a:pt x="95" y="265"/>
                  </a:lnTo>
                  <a:lnTo>
                    <a:pt x="94" y="264"/>
                  </a:lnTo>
                  <a:lnTo>
                    <a:pt x="94" y="263"/>
                  </a:lnTo>
                  <a:lnTo>
                    <a:pt x="93" y="262"/>
                  </a:lnTo>
                  <a:lnTo>
                    <a:pt x="93" y="261"/>
                  </a:lnTo>
                  <a:lnTo>
                    <a:pt x="92" y="260"/>
                  </a:lnTo>
                  <a:lnTo>
                    <a:pt x="92" y="260"/>
                  </a:lnTo>
                  <a:lnTo>
                    <a:pt x="91" y="259"/>
                  </a:lnTo>
                  <a:lnTo>
                    <a:pt x="91" y="259"/>
                  </a:lnTo>
                  <a:lnTo>
                    <a:pt x="90" y="259"/>
                  </a:lnTo>
                  <a:lnTo>
                    <a:pt x="90" y="259"/>
                  </a:lnTo>
                  <a:lnTo>
                    <a:pt x="89" y="259"/>
                  </a:lnTo>
                  <a:lnTo>
                    <a:pt x="88" y="259"/>
                  </a:lnTo>
                  <a:lnTo>
                    <a:pt x="88" y="259"/>
                  </a:lnTo>
                  <a:lnTo>
                    <a:pt x="85" y="260"/>
                  </a:lnTo>
                  <a:lnTo>
                    <a:pt x="84" y="260"/>
                  </a:lnTo>
                  <a:lnTo>
                    <a:pt x="79" y="262"/>
                  </a:lnTo>
                  <a:lnTo>
                    <a:pt x="78" y="262"/>
                  </a:lnTo>
                  <a:lnTo>
                    <a:pt x="76" y="263"/>
                  </a:lnTo>
                  <a:lnTo>
                    <a:pt x="74" y="264"/>
                  </a:lnTo>
                  <a:lnTo>
                    <a:pt x="72" y="265"/>
                  </a:lnTo>
                  <a:lnTo>
                    <a:pt x="71" y="265"/>
                  </a:lnTo>
                  <a:lnTo>
                    <a:pt x="70" y="265"/>
                  </a:lnTo>
                  <a:lnTo>
                    <a:pt x="70" y="265"/>
                  </a:lnTo>
                  <a:lnTo>
                    <a:pt x="69" y="265"/>
                  </a:lnTo>
                  <a:lnTo>
                    <a:pt x="68" y="265"/>
                  </a:lnTo>
                  <a:lnTo>
                    <a:pt x="65" y="264"/>
                  </a:lnTo>
                  <a:lnTo>
                    <a:pt x="64" y="264"/>
                  </a:lnTo>
                  <a:lnTo>
                    <a:pt x="63" y="264"/>
                  </a:lnTo>
                  <a:lnTo>
                    <a:pt x="61" y="263"/>
                  </a:lnTo>
                  <a:lnTo>
                    <a:pt x="57" y="261"/>
                  </a:lnTo>
                  <a:lnTo>
                    <a:pt x="56" y="261"/>
                  </a:lnTo>
                  <a:lnTo>
                    <a:pt x="55" y="260"/>
                  </a:lnTo>
                  <a:lnTo>
                    <a:pt x="54" y="259"/>
                  </a:lnTo>
                  <a:lnTo>
                    <a:pt x="53" y="258"/>
                  </a:lnTo>
                  <a:lnTo>
                    <a:pt x="52" y="257"/>
                  </a:lnTo>
                  <a:lnTo>
                    <a:pt x="51" y="257"/>
                  </a:lnTo>
                  <a:lnTo>
                    <a:pt x="50" y="256"/>
                  </a:lnTo>
                  <a:lnTo>
                    <a:pt x="48" y="255"/>
                  </a:lnTo>
                  <a:lnTo>
                    <a:pt x="47" y="255"/>
                  </a:lnTo>
                  <a:lnTo>
                    <a:pt x="46" y="254"/>
                  </a:lnTo>
                  <a:lnTo>
                    <a:pt x="46" y="254"/>
                  </a:lnTo>
                  <a:lnTo>
                    <a:pt x="45" y="253"/>
                  </a:lnTo>
                  <a:lnTo>
                    <a:pt x="44" y="252"/>
                  </a:lnTo>
                  <a:lnTo>
                    <a:pt x="44" y="251"/>
                  </a:lnTo>
                  <a:lnTo>
                    <a:pt x="43" y="249"/>
                  </a:lnTo>
                  <a:lnTo>
                    <a:pt x="42" y="248"/>
                  </a:lnTo>
                  <a:lnTo>
                    <a:pt x="41" y="247"/>
                  </a:lnTo>
                  <a:lnTo>
                    <a:pt x="38" y="244"/>
                  </a:lnTo>
                  <a:lnTo>
                    <a:pt x="38" y="244"/>
                  </a:lnTo>
                  <a:lnTo>
                    <a:pt x="38" y="243"/>
                  </a:lnTo>
                  <a:lnTo>
                    <a:pt x="37" y="242"/>
                  </a:lnTo>
                  <a:lnTo>
                    <a:pt x="37" y="241"/>
                  </a:lnTo>
                  <a:lnTo>
                    <a:pt x="37" y="240"/>
                  </a:lnTo>
                  <a:lnTo>
                    <a:pt x="37" y="238"/>
                  </a:lnTo>
                  <a:lnTo>
                    <a:pt x="37" y="238"/>
                  </a:lnTo>
                  <a:lnTo>
                    <a:pt x="36" y="237"/>
                  </a:lnTo>
                  <a:lnTo>
                    <a:pt x="36" y="236"/>
                  </a:lnTo>
                  <a:lnTo>
                    <a:pt x="36" y="236"/>
                  </a:lnTo>
                  <a:lnTo>
                    <a:pt x="35" y="235"/>
                  </a:lnTo>
                  <a:lnTo>
                    <a:pt x="35" y="234"/>
                  </a:lnTo>
                  <a:lnTo>
                    <a:pt x="33" y="232"/>
                  </a:lnTo>
                  <a:lnTo>
                    <a:pt x="33" y="231"/>
                  </a:lnTo>
                  <a:lnTo>
                    <a:pt x="32" y="229"/>
                  </a:lnTo>
                  <a:lnTo>
                    <a:pt x="32" y="228"/>
                  </a:lnTo>
                  <a:lnTo>
                    <a:pt x="32" y="226"/>
                  </a:lnTo>
                  <a:lnTo>
                    <a:pt x="32" y="226"/>
                  </a:lnTo>
                  <a:lnTo>
                    <a:pt x="32" y="224"/>
                  </a:lnTo>
                  <a:lnTo>
                    <a:pt x="32" y="222"/>
                  </a:lnTo>
                  <a:lnTo>
                    <a:pt x="31" y="221"/>
                  </a:lnTo>
                  <a:lnTo>
                    <a:pt x="31" y="220"/>
                  </a:lnTo>
                  <a:lnTo>
                    <a:pt x="30" y="218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6" y="211"/>
                  </a:lnTo>
                  <a:lnTo>
                    <a:pt x="26" y="211"/>
                  </a:lnTo>
                  <a:lnTo>
                    <a:pt x="25" y="211"/>
                  </a:lnTo>
                  <a:lnTo>
                    <a:pt x="24" y="211"/>
                  </a:lnTo>
                  <a:lnTo>
                    <a:pt x="23" y="211"/>
                  </a:lnTo>
                  <a:lnTo>
                    <a:pt x="23" y="211"/>
                  </a:lnTo>
                  <a:lnTo>
                    <a:pt x="22" y="211"/>
                  </a:lnTo>
                  <a:lnTo>
                    <a:pt x="22" y="212"/>
                  </a:lnTo>
                  <a:lnTo>
                    <a:pt x="21" y="213"/>
                  </a:lnTo>
                  <a:lnTo>
                    <a:pt x="21" y="213"/>
                  </a:lnTo>
                  <a:lnTo>
                    <a:pt x="21" y="214"/>
                  </a:lnTo>
                  <a:lnTo>
                    <a:pt x="22" y="215"/>
                  </a:lnTo>
                  <a:lnTo>
                    <a:pt x="23" y="222"/>
                  </a:lnTo>
                  <a:lnTo>
                    <a:pt x="24" y="223"/>
                  </a:lnTo>
                  <a:lnTo>
                    <a:pt x="24" y="224"/>
                  </a:lnTo>
                  <a:lnTo>
                    <a:pt x="24" y="225"/>
                  </a:lnTo>
                  <a:lnTo>
                    <a:pt x="24" y="226"/>
                  </a:lnTo>
                  <a:lnTo>
                    <a:pt x="23" y="226"/>
                  </a:lnTo>
                  <a:lnTo>
                    <a:pt x="23" y="227"/>
                  </a:lnTo>
                  <a:lnTo>
                    <a:pt x="23" y="227"/>
                  </a:lnTo>
                  <a:lnTo>
                    <a:pt x="22" y="228"/>
                  </a:lnTo>
                  <a:lnTo>
                    <a:pt x="21" y="229"/>
                  </a:lnTo>
                  <a:lnTo>
                    <a:pt x="21" y="230"/>
                  </a:lnTo>
                  <a:lnTo>
                    <a:pt x="20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8" y="230"/>
                  </a:lnTo>
                  <a:lnTo>
                    <a:pt x="17" y="230"/>
                  </a:lnTo>
                  <a:lnTo>
                    <a:pt x="17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5" y="230"/>
                  </a:lnTo>
                  <a:lnTo>
                    <a:pt x="14" y="231"/>
                  </a:lnTo>
                  <a:lnTo>
                    <a:pt x="14" y="231"/>
                  </a:lnTo>
                  <a:lnTo>
                    <a:pt x="12" y="232"/>
                  </a:lnTo>
                  <a:lnTo>
                    <a:pt x="12" y="232"/>
                  </a:lnTo>
                  <a:lnTo>
                    <a:pt x="11" y="233"/>
                  </a:lnTo>
                  <a:lnTo>
                    <a:pt x="11" y="233"/>
                  </a:lnTo>
                  <a:lnTo>
                    <a:pt x="10" y="234"/>
                  </a:lnTo>
                  <a:lnTo>
                    <a:pt x="10" y="235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7"/>
                  </a:lnTo>
                  <a:lnTo>
                    <a:pt x="8" y="238"/>
                  </a:lnTo>
                  <a:lnTo>
                    <a:pt x="6" y="240"/>
                  </a:lnTo>
                  <a:lnTo>
                    <a:pt x="6" y="240"/>
                  </a:lnTo>
                  <a:lnTo>
                    <a:pt x="5" y="241"/>
                  </a:lnTo>
                  <a:lnTo>
                    <a:pt x="4" y="243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2" y="244"/>
                  </a:lnTo>
                  <a:lnTo>
                    <a:pt x="2" y="244"/>
                  </a:lnTo>
                  <a:lnTo>
                    <a:pt x="1" y="244"/>
                  </a:lnTo>
                  <a:lnTo>
                    <a:pt x="1" y="244"/>
                  </a:lnTo>
                  <a:lnTo>
                    <a:pt x="0" y="244"/>
                  </a:lnTo>
                  <a:lnTo>
                    <a:pt x="0" y="244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Freeform 75">
              <a:extLst>
                <a:ext uri="{FF2B5EF4-FFF2-40B4-BE49-F238E27FC236}">
                  <a16:creationId xmlns:a16="http://schemas.microsoft.com/office/drawing/2014/main" id="{76245EC0-7445-3A62-8ECC-7AE9571CB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192"/>
              <a:ext cx="156" cy="244"/>
            </a:xfrm>
            <a:custGeom>
              <a:avLst/>
              <a:gdLst>
                <a:gd name="T0" fmla="*/ 65 w 156"/>
                <a:gd name="T1" fmla="*/ 239 h 244"/>
                <a:gd name="T2" fmla="*/ 64 w 156"/>
                <a:gd name="T3" fmla="*/ 235 h 244"/>
                <a:gd name="T4" fmla="*/ 66 w 156"/>
                <a:gd name="T5" fmla="*/ 223 h 244"/>
                <a:gd name="T6" fmla="*/ 65 w 156"/>
                <a:gd name="T7" fmla="*/ 220 h 244"/>
                <a:gd name="T8" fmla="*/ 61 w 156"/>
                <a:gd name="T9" fmla="*/ 217 h 244"/>
                <a:gd name="T10" fmla="*/ 56 w 156"/>
                <a:gd name="T11" fmla="*/ 217 h 244"/>
                <a:gd name="T12" fmla="*/ 50 w 156"/>
                <a:gd name="T13" fmla="*/ 220 h 244"/>
                <a:gd name="T14" fmla="*/ 44 w 156"/>
                <a:gd name="T15" fmla="*/ 223 h 244"/>
                <a:gd name="T16" fmla="*/ 35 w 156"/>
                <a:gd name="T17" fmla="*/ 231 h 244"/>
                <a:gd name="T18" fmla="*/ 32 w 156"/>
                <a:gd name="T19" fmla="*/ 234 h 244"/>
                <a:gd name="T20" fmla="*/ 22 w 156"/>
                <a:gd name="T21" fmla="*/ 235 h 244"/>
                <a:gd name="T22" fmla="*/ 20 w 156"/>
                <a:gd name="T23" fmla="*/ 234 h 244"/>
                <a:gd name="T24" fmla="*/ 19 w 156"/>
                <a:gd name="T25" fmla="*/ 230 h 244"/>
                <a:gd name="T26" fmla="*/ 20 w 156"/>
                <a:gd name="T27" fmla="*/ 222 h 244"/>
                <a:gd name="T28" fmla="*/ 19 w 156"/>
                <a:gd name="T29" fmla="*/ 221 h 244"/>
                <a:gd name="T30" fmla="*/ 13 w 156"/>
                <a:gd name="T31" fmla="*/ 222 h 244"/>
                <a:gd name="T32" fmla="*/ 9 w 156"/>
                <a:gd name="T33" fmla="*/ 222 h 244"/>
                <a:gd name="T34" fmla="*/ 5 w 156"/>
                <a:gd name="T35" fmla="*/ 217 h 244"/>
                <a:gd name="T36" fmla="*/ 0 w 156"/>
                <a:gd name="T37" fmla="*/ 211 h 244"/>
                <a:gd name="T38" fmla="*/ 0 w 156"/>
                <a:gd name="T39" fmla="*/ 208 h 244"/>
                <a:gd name="T40" fmla="*/ 2 w 156"/>
                <a:gd name="T41" fmla="*/ 201 h 244"/>
                <a:gd name="T42" fmla="*/ 4 w 156"/>
                <a:gd name="T43" fmla="*/ 195 h 244"/>
                <a:gd name="T44" fmla="*/ 4 w 156"/>
                <a:gd name="T45" fmla="*/ 190 h 244"/>
                <a:gd name="T46" fmla="*/ 10 w 156"/>
                <a:gd name="T47" fmla="*/ 182 h 244"/>
                <a:gd name="T48" fmla="*/ 12 w 156"/>
                <a:gd name="T49" fmla="*/ 177 h 244"/>
                <a:gd name="T50" fmla="*/ 11 w 156"/>
                <a:gd name="T51" fmla="*/ 174 h 244"/>
                <a:gd name="T52" fmla="*/ 9 w 156"/>
                <a:gd name="T53" fmla="*/ 170 h 244"/>
                <a:gd name="T54" fmla="*/ 3 w 156"/>
                <a:gd name="T55" fmla="*/ 162 h 244"/>
                <a:gd name="T56" fmla="*/ 2 w 156"/>
                <a:gd name="T57" fmla="*/ 160 h 244"/>
                <a:gd name="T58" fmla="*/ 4 w 156"/>
                <a:gd name="T59" fmla="*/ 149 h 244"/>
                <a:gd name="T60" fmla="*/ 8 w 156"/>
                <a:gd name="T61" fmla="*/ 142 h 244"/>
                <a:gd name="T62" fmla="*/ 17 w 156"/>
                <a:gd name="T63" fmla="*/ 130 h 244"/>
                <a:gd name="T64" fmla="*/ 19 w 156"/>
                <a:gd name="T65" fmla="*/ 124 h 244"/>
                <a:gd name="T66" fmla="*/ 20 w 156"/>
                <a:gd name="T67" fmla="*/ 114 h 244"/>
                <a:gd name="T68" fmla="*/ 20 w 156"/>
                <a:gd name="T69" fmla="*/ 104 h 244"/>
                <a:gd name="T70" fmla="*/ 23 w 156"/>
                <a:gd name="T71" fmla="*/ 96 h 244"/>
                <a:gd name="T72" fmla="*/ 24 w 156"/>
                <a:gd name="T73" fmla="*/ 88 h 244"/>
                <a:gd name="T74" fmla="*/ 34 w 156"/>
                <a:gd name="T75" fmla="*/ 76 h 244"/>
                <a:gd name="T76" fmla="*/ 40 w 156"/>
                <a:gd name="T77" fmla="*/ 71 h 244"/>
                <a:gd name="T78" fmla="*/ 46 w 156"/>
                <a:gd name="T79" fmla="*/ 66 h 244"/>
                <a:gd name="T80" fmla="*/ 52 w 156"/>
                <a:gd name="T81" fmla="*/ 63 h 244"/>
                <a:gd name="T82" fmla="*/ 60 w 156"/>
                <a:gd name="T83" fmla="*/ 54 h 244"/>
                <a:gd name="T84" fmla="*/ 64 w 156"/>
                <a:gd name="T85" fmla="*/ 52 h 244"/>
                <a:gd name="T86" fmla="*/ 70 w 156"/>
                <a:gd name="T87" fmla="*/ 53 h 244"/>
                <a:gd name="T88" fmla="*/ 74 w 156"/>
                <a:gd name="T89" fmla="*/ 52 h 244"/>
                <a:gd name="T90" fmla="*/ 76 w 156"/>
                <a:gd name="T91" fmla="*/ 48 h 244"/>
                <a:gd name="T92" fmla="*/ 77 w 156"/>
                <a:gd name="T93" fmla="*/ 34 h 244"/>
                <a:gd name="T94" fmla="*/ 79 w 156"/>
                <a:gd name="T95" fmla="*/ 33 h 244"/>
                <a:gd name="T96" fmla="*/ 86 w 156"/>
                <a:gd name="T97" fmla="*/ 28 h 244"/>
                <a:gd name="T98" fmla="*/ 96 w 156"/>
                <a:gd name="T99" fmla="*/ 24 h 244"/>
                <a:gd name="T100" fmla="*/ 104 w 156"/>
                <a:gd name="T101" fmla="*/ 24 h 244"/>
                <a:gd name="T102" fmla="*/ 116 w 156"/>
                <a:gd name="T103" fmla="*/ 24 h 244"/>
                <a:gd name="T104" fmla="*/ 124 w 156"/>
                <a:gd name="T105" fmla="*/ 22 h 244"/>
                <a:gd name="T106" fmla="*/ 129 w 156"/>
                <a:gd name="T107" fmla="*/ 24 h 244"/>
                <a:gd name="T108" fmla="*/ 136 w 156"/>
                <a:gd name="T109" fmla="*/ 23 h 244"/>
                <a:gd name="T110" fmla="*/ 144 w 156"/>
                <a:gd name="T111" fmla="*/ 18 h 244"/>
                <a:gd name="T112" fmla="*/ 150 w 156"/>
                <a:gd name="T113" fmla="*/ 11 h 244"/>
                <a:gd name="T114" fmla="*/ 153 w 156"/>
                <a:gd name="T115" fmla="*/ 2 h 244"/>
                <a:gd name="T116" fmla="*/ 155 w 156"/>
                <a:gd name="T117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6" h="244">
                  <a:moveTo>
                    <a:pt x="68" y="244"/>
                  </a:moveTo>
                  <a:lnTo>
                    <a:pt x="67" y="243"/>
                  </a:lnTo>
                  <a:lnTo>
                    <a:pt x="66" y="242"/>
                  </a:lnTo>
                  <a:lnTo>
                    <a:pt x="65" y="241"/>
                  </a:lnTo>
                  <a:lnTo>
                    <a:pt x="65" y="239"/>
                  </a:lnTo>
                  <a:lnTo>
                    <a:pt x="64" y="238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2"/>
                  </a:lnTo>
                  <a:lnTo>
                    <a:pt x="65" y="228"/>
                  </a:lnTo>
                  <a:lnTo>
                    <a:pt x="66" y="226"/>
                  </a:lnTo>
                  <a:lnTo>
                    <a:pt x="66" y="224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2"/>
                  </a:lnTo>
                  <a:lnTo>
                    <a:pt x="66" y="221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8" y="217"/>
                  </a:lnTo>
                  <a:lnTo>
                    <a:pt x="56" y="217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3" y="218"/>
                  </a:lnTo>
                  <a:lnTo>
                    <a:pt x="51" y="219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8" y="220"/>
                  </a:lnTo>
                  <a:lnTo>
                    <a:pt x="47" y="221"/>
                  </a:lnTo>
                  <a:lnTo>
                    <a:pt x="45" y="222"/>
                  </a:lnTo>
                  <a:lnTo>
                    <a:pt x="44" y="223"/>
                  </a:lnTo>
                  <a:lnTo>
                    <a:pt x="41" y="226"/>
                  </a:lnTo>
                  <a:lnTo>
                    <a:pt x="38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5" y="231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3" y="234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1" y="235"/>
                  </a:lnTo>
                  <a:lnTo>
                    <a:pt x="30" y="235"/>
                  </a:lnTo>
                  <a:lnTo>
                    <a:pt x="27" y="235"/>
                  </a:lnTo>
                  <a:lnTo>
                    <a:pt x="23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1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19" y="232"/>
                  </a:lnTo>
                  <a:lnTo>
                    <a:pt x="19" y="231"/>
                  </a:lnTo>
                  <a:lnTo>
                    <a:pt x="19" y="230"/>
                  </a:lnTo>
                  <a:lnTo>
                    <a:pt x="19" y="229"/>
                  </a:lnTo>
                  <a:lnTo>
                    <a:pt x="20" y="226"/>
                  </a:lnTo>
                  <a:lnTo>
                    <a:pt x="20" y="224"/>
                  </a:lnTo>
                  <a:lnTo>
                    <a:pt x="20" y="223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0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6" y="222"/>
                  </a:lnTo>
                  <a:lnTo>
                    <a:pt x="15" y="222"/>
                  </a:lnTo>
                  <a:lnTo>
                    <a:pt x="13" y="222"/>
                  </a:lnTo>
                  <a:lnTo>
                    <a:pt x="12" y="223"/>
                  </a:lnTo>
                  <a:lnTo>
                    <a:pt x="11" y="223"/>
                  </a:lnTo>
                  <a:lnTo>
                    <a:pt x="10" y="223"/>
                  </a:lnTo>
                  <a:lnTo>
                    <a:pt x="10" y="222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8" y="221"/>
                  </a:lnTo>
                  <a:lnTo>
                    <a:pt x="7" y="220"/>
                  </a:lnTo>
                  <a:lnTo>
                    <a:pt x="6" y="220"/>
                  </a:lnTo>
                  <a:lnTo>
                    <a:pt x="5" y="217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0" y="206"/>
                  </a:lnTo>
                  <a:lnTo>
                    <a:pt x="0" y="205"/>
                  </a:lnTo>
                  <a:lnTo>
                    <a:pt x="1" y="204"/>
                  </a:lnTo>
                  <a:lnTo>
                    <a:pt x="2" y="201"/>
                  </a:lnTo>
                  <a:lnTo>
                    <a:pt x="3" y="199"/>
                  </a:lnTo>
                  <a:lnTo>
                    <a:pt x="3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4" y="193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6" y="188"/>
                  </a:lnTo>
                  <a:lnTo>
                    <a:pt x="7" y="186"/>
                  </a:lnTo>
                  <a:lnTo>
                    <a:pt x="9" y="183"/>
                  </a:lnTo>
                  <a:lnTo>
                    <a:pt x="10" y="182"/>
                  </a:lnTo>
                  <a:lnTo>
                    <a:pt x="10" y="181"/>
                  </a:lnTo>
                  <a:lnTo>
                    <a:pt x="11" y="180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7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5"/>
                  </a:lnTo>
                  <a:lnTo>
                    <a:pt x="12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0" y="172"/>
                  </a:lnTo>
                  <a:lnTo>
                    <a:pt x="10" y="171"/>
                  </a:lnTo>
                  <a:lnTo>
                    <a:pt x="9" y="170"/>
                  </a:lnTo>
                  <a:lnTo>
                    <a:pt x="5" y="166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3" y="156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7"/>
                  </a:lnTo>
                  <a:lnTo>
                    <a:pt x="6" y="145"/>
                  </a:lnTo>
                  <a:lnTo>
                    <a:pt x="7" y="143"/>
                  </a:lnTo>
                  <a:lnTo>
                    <a:pt x="8" y="142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18" y="129"/>
                  </a:lnTo>
                  <a:lnTo>
                    <a:pt x="18" y="128"/>
                  </a:lnTo>
                  <a:lnTo>
                    <a:pt x="19" y="127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20" y="123"/>
                  </a:lnTo>
                  <a:lnTo>
                    <a:pt x="20" y="122"/>
                  </a:lnTo>
                  <a:lnTo>
                    <a:pt x="20" y="120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9" y="106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3"/>
                  </a:lnTo>
                  <a:lnTo>
                    <a:pt x="22" y="99"/>
                  </a:lnTo>
                  <a:lnTo>
                    <a:pt x="23" y="98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7" y="84"/>
                  </a:lnTo>
                  <a:lnTo>
                    <a:pt x="32" y="78"/>
                  </a:lnTo>
                  <a:lnTo>
                    <a:pt x="34" y="76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8" y="72"/>
                  </a:lnTo>
                  <a:lnTo>
                    <a:pt x="39" y="71"/>
                  </a:lnTo>
                  <a:lnTo>
                    <a:pt x="40" y="71"/>
                  </a:lnTo>
                  <a:lnTo>
                    <a:pt x="42" y="68"/>
                  </a:lnTo>
                  <a:lnTo>
                    <a:pt x="43" y="68"/>
                  </a:lnTo>
                  <a:lnTo>
                    <a:pt x="44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8" y="57"/>
                  </a:lnTo>
                  <a:lnTo>
                    <a:pt x="59" y="55"/>
                  </a:lnTo>
                  <a:lnTo>
                    <a:pt x="60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49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5"/>
                  </a:lnTo>
                  <a:lnTo>
                    <a:pt x="77" y="42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8" y="27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7" y="23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8" y="24"/>
                  </a:lnTo>
                  <a:lnTo>
                    <a:pt x="129" y="24"/>
                  </a:lnTo>
                  <a:lnTo>
                    <a:pt x="131" y="24"/>
                  </a:lnTo>
                  <a:lnTo>
                    <a:pt x="132" y="24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6" y="23"/>
                  </a:lnTo>
                  <a:lnTo>
                    <a:pt x="137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2" y="19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9" y="12"/>
                  </a:lnTo>
                  <a:lnTo>
                    <a:pt x="150" y="11"/>
                  </a:lnTo>
                  <a:lnTo>
                    <a:pt x="151" y="10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7"/>
                  </a:lnTo>
                  <a:lnTo>
                    <a:pt x="153" y="2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6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Rectangle 76">
              <a:extLst>
                <a:ext uri="{FF2B5EF4-FFF2-40B4-BE49-F238E27FC236}">
                  <a16:creationId xmlns:a16="http://schemas.microsoft.com/office/drawing/2014/main" id="{D5567E8A-799B-7A08-6CCF-A2AC2C57DF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0" y="3398"/>
              <a:ext cx="121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C</a:t>
              </a:r>
            </a:p>
          </p:txBody>
        </p:sp>
        <p:sp>
          <p:nvSpPr>
            <p:cNvPr id="217" name="Rectangle 77">
              <a:extLst>
                <a:ext uri="{FF2B5EF4-FFF2-40B4-BE49-F238E27FC236}">
                  <a16:creationId xmlns:a16="http://schemas.microsoft.com/office/drawing/2014/main" id="{2213AFC1-6F01-3761-6ACD-2267F49DCB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7" y="3742"/>
              <a:ext cx="119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HC</a:t>
              </a:r>
            </a:p>
          </p:txBody>
        </p:sp>
        <p:sp>
          <p:nvSpPr>
            <p:cNvPr id="218" name="Rectangle 78">
              <a:extLst>
                <a:ext uri="{FF2B5EF4-FFF2-40B4-BE49-F238E27FC236}">
                  <a16:creationId xmlns:a16="http://schemas.microsoft.com/office/drawing/2014/main" id="{8EDDCE95-8806-9543-3452-49E17AD102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8" y="3503"/>
              <a:ext cx="122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LK</a:t>
              </a:r>
            </a:p>
          </p:txBody>
        </p:sp>
        <p:sp>
          <p:nvSpPr>
            <p:cNvPr id="219" name="Rectangle 79">
              <a:extLst>
                <a:ext uri="{FF2B5EF4-FFF2-40B4-BE49-F238E27FC236}">
                  <a16:creationId xmlns:a16="http://schemas.microsoft.com/office/drawing/2014/main" id="{190C9B19-2F82-CE0F-27BE-7C65F4ADC1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77" y="3735"/>
              <a:ext cx="141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MK</a:t>
              </a:r>
            </a:p>
          </p:txBody>
        </p:sp>
        <p:sp>
          <p:nvSpPr>
            <p:cNvPr id="220" name="Rectangle 80">
              <a:extLst>
                <a:ext uri="{FF2B5EF4-FFF2-40B4-BE49-F238E27FC236}">
                  <a16:creationId xmlns:a16="http://schemas.microsoft.com/office/drawing/2014/main" id="{B08BDB2B-76B3-9B8D-BDC2-3DE809E860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2" y="3571"/>
              <a:ext cx="128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YS</a:t>
              </a:r>
            </a:p>
          </p:txBody>
        </p:sp>
        <p:sp>
          <p:nvSpPr>
            <p:cNvPr id="221" name="Rectangle 81">
              <a:extLst>
                <a:ext uri="{FF2B5EF4-FFF2-40B4-BE49-F238E27FC236}">
                  <a16:creationId xmlns:a16="http://schemas.microsoft.com/office/drawing/2014/main" id="{240C0D35-B7C7-6865-75BE-89E310D39A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2" y="3675"/>
              <a:ext cx="117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ZLK</a:t>
              </a:r>
            </a:p>
          </p:txBody>
        </p:sp>
        <p:sp>
          <p:nvSpPr>
            <p:cNvPr id="222" name="Rectangle 82">
              <a:extLst>
                <a:ext uri="{FF2B5EF4-FFF2-40B4-BE49-F238E27FC236}">
                  <a16:creationId xmlns:a16="http://schemas.microsoft.com/office/drawing/2014/main" id="{8DCB7E69-8FF6-DCA8-CFFD-E14B9ABD33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7" y="3080"/>
              <a:ext cx="131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LK</a:t>
              </a:r>
            </a:p>
          </p:txBody>
        </p:sp>
        <p:sp>
          <p:nvSpPr>
            <p:cNvPr id="223" name="Rectangle 83">
              <a:extLst>
                <a:ext uri="{FF2B5EF4-FFF2-40B4-BE49-F238E27FC236}">
                  <a16:creationId xmlns:a16="http://schemas.microsoft.com/office/drawing/2014/main" id="{B44082BE-5CF2-B510-F7E5-822332E419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9" y="3411"/>
              <a:ext cx="153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SK</a:t>
              </a:r>
            </a:p>
          </p:txBody>
        </p:sp>
        <p:sp>
          <p:nvSpPr>
            <p:cNvPr id="224" name="Rectangle 84">
              <a:extLst>
                <a:ext uri="{FF2B5EF4-FFF2-40B4-BE49-F238E27FC236}">
                  <a16:creationId xmlns:a16="http://schemas.microsoft.com/office/drawing/2014/main" id="{8C76C3A0-2531-0D1F-8CB8-92B093BB3E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" y="3490"/>
              <a:ext cx="133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LK</a:t>
              </a:r>
            </a:p>
          </p:txBody>
        </p:sp>
        <p:sp>
          <p:nvSpPr>
            <p:cNvPr id="225" name="Rectangle 85">
              <a:extLst>
                <a:ext uri="{FF2B5EF4-FFF2-40B4-BE49-F238E27FC236}">
                  <a16:creationId xmlns:a16="http://schemas.microsoft.com/office/drawing/2014/main" id="{FCECFB08-190B-38B6-8DF1-7CC4D83E73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6" y="3363"/>
              <a:ext cx="136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K</a:t>
              </a:r>
            </a:p>
          </p:txBody>
        </p:sp>
        <p:sp>
          <p:nvSpPr>
            <p:cNvPr id="226" name="Rectangle 86">
              <a:extLst>
                <a:ext uri="{FF2B5EF4-FFF2-40B4-BE49-F238E27FC236}">
                  <a16:creationId xmlns:a16="http://schemas.microsoft.com/office/drawing/2014/main" id="{23C26539-3196-475A-F09C-DAC530BB7E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3" y="3152"/>
              <a:ext cx="139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KK</a:t>
              </a:r>
            </a:p>
          </p:txBody>
        </p:sp>
        <p:sp>
          <p:nvSpPr>
            <p:cNvPr id="227" name="Rectangle 87">
              <a:extLst>
                <a:ext uri="{FF2B5EF4-FFF2-40B4-BE49-F238E27FC236}">
                  <a16:creationId xmlns:a16="http://schemas.microsoft.com/office/drawing/2014/main" id="{A827F561-17B7-036A-7743-CB9BFAA744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1" y="2974"/>
              <a:ext cx="124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BK</a:t>
              </a:r>
            </a:p>
          </p:txBody>
        </p:sp>
        <p:sp>
          <p:nvSpPr>
            <p:cNvPr id="228" name="Rectangle 88">
              <a:extLst>
                <a:ext uri="{FF2B5EF4-FFF2-40B4-BE49-F238E27FC236}">
                  <a16:creationId xmlns:a16="http://schemas.microsoft.com/office/drawing/2014/main" id="{16A99CA5-BC42-16D2-D43F-58D57CE726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" y="3216"/>
              <a:ext cx="136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VK</a:t>
              </a:r>
            </a:p>
          </p:txBody>
        </p:sp>
      </p:grpSp>
      <p:grpSp>
        <p:nvGrpSpPr>
          <p:cNvPr id="40" name="Skupina 39">
            <a:extLst>
              <a:ext uri="{FF2B5EF4-FFF2-40B4-BE49-F238E27FC236}">
                <a16:creationId xmlns:a16="http://schemas.microsoft.com/office/drawing/2014/main" id="{51244C10-F8CE-1004-6D13-E8372E03236F}"/>
              </a:ext>
            </a:extLst>
          </p:cNvPr>
          <p:cNvGrpSpPr/>
          <p:nvPr/>
        </p:nvGrpSpPr>
        <p:grpSpPr>
          <a:xfrm>
            <a:off x="10951469" y="4645212"/>
            <a:ext cx="920040" cy="839147"/>
            <a:chOff x="5368539" y="5686843"/>
            <a:chExt cx="920040" cy="839147"/>
          </a:xfrm>
        </p:grpSpPr>
        <p:sp>
          <p:nvSpPr>
            <p:cNvPr id="59" name="Text Box 58">
              <a:extLst>
                <a:ext uri="{FF2B5EF4-FFF2-40B4-BE49-F238E27FC236}">
                  <a16:creationId xmlns:a16="http://schemas.microsoft.com/office/drawing/2014/main" id="{33DA7B70-97BF-7BB7-DE6C-B2CCBF61570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42967" y="5694325"/>
              <a:ext cx="745612" cy="83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&gt; 1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4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–1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1–1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  <a:endParaRPr kumimoji="0" lang="en-US" alt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≤ 1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 </a:t>
              </a:r>
            </a:p>
          </p:txBody>
        </p:sp>
        <p:sp>
          <p:nvSpPr>
            <p:cNvPr id="60" name="Rectangle 56">
              <a:extLst>
                <a:ext uri="{FF2B5EF4-FFF2-40B4-BE49-F238E27FC236}">
                  <a16:creationId xmlns:a16="http://schemas.microsoft.com/office/drawing/2014/main" id="{FC502D0F-09CF-42B1-964D-18E2A1ACBE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6183266"/>
              <a:ext cx="144000" cy="144000"/>
            </a:xfrm>
            <a:prstGeom prst="rect">
              <a:avLst/>
            </a:prstGeom>
            <a:solidFill>
              <a:srgbClr val="FFE389"/>
            </a:solidFill>
            <a:ln w="1651">
              <a:noFill/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1" name="Rectangle 56">
              <a:extLst>
                <a:ext uri="{FF2B5EF4-FFF2-40B4-BE49-F238E27FC236}">
                  <a16:creationId xmlns:a16="http://schemas.microsoft.com/office/drawing/2014/main" id="{8CC6512D-916E-D74C-EB79-459B046743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6017791"/>
              <a:ext cx="144000" cy="144000"/>
            </a:xfrm>
            <a:prstGeom prst="rect">
              <a:avLst/>
            </a:prstGeom>
            <a:solidFill>
              <a:srgbClr val="FFCC29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2" name="Rectangle 56">
              <a:extLst>
                <a:ext uri="{FF2B5EF4-FFF2-40B4-BE49-F238E27FC236}">
                  <a16:creationId xmlns:a16="http://schemas.microsoft.com/office/drawing/2014/main" id="{573D031F-9FB1-EA99-54CA-C829B91C32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5852317"/>
              <a:ext cx="144000" cy="144000"/>
            </a:xfrm>
            <a:prstGeom prst="rect">
              <a:avLst/>
            </a:prstGeom>
            <a:solidFill>
              <a:srgbClr val="E6AF00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28" name="Rectangle 56">
              <a:extLst>
                <a:ext uri="{FF2B5EF4-FFF2-40B4-BE49-F238E27FC236}">
                  <a16:creationId xmlns:a16="http://schemas.microsoft.com/office/drawing/2014/main" id="{DB38CC8E-F9F8-7CAB-07C2-700A3A956F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5686843"/>
              <a:ext cx="144000" cy="144000"/>
            </a:xfrm>
            <a:prstGeom prst="rect">
              <a:avLst/>
            </a:prstGeom>
            <a:solidFill>
              <a:srgbClr val="BC8F00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229" name="TextovéPole 228">
            <a:extLst>
              <a:ext uri="{FF2B5EF4-FFF2-40B4-BE49-F238E27FC236}">
                <a16:creationId xmlns:a16="http://schemas.microsoft.com/office/drawing/2014/main" id="{2CAFD6CF-CF70-D489-6AAE-67C951C30A50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611690" y="1513413"/>
            <a:ext cx="1959575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raj bydliště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9" name="TextovéPole 128">
            <a:extLst>
              <a:ext uri="{FF2B5EF4-FFF2-40B4-BE49-F238E27FC236}">
                <a16:creationId xmlns:a16="http://schemas.microsoft.com/office/drawing/2014/main" id="{B521CCB1-E03C-A540-B0E6-FACC7FD1B5BE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4589670" y="4364179"/>
            <a:ext cx="1959575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kres bydliště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" name="Object 16">
            <a:extLst>
              <a:ext uri="{FF2B5EF4-FFF2-40B4-BE49-F238E27FC236}">
                <a16:creationId xmlns:a16="http://schemas.microsoft.com/office/drawing/2014/main" id="{37179168-73E0-C822-C423-FD4B4A83DC04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6449966" y="4396195"/>
          <a:ext cx="2311760" cy="20193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aphicFrame>
        <p:nvGraphicFramePr>
          <p:cNvPr id="22" name="Group 110">
            <a:extLst>
              <a:ext uri="{FF2B5EF4-FFF2-40B4-BE49-F238E27FC236}">
                <a16:creationId xmlns:a16="http://schemas.microsoft.com/office/drawing/2014/main" id="{BC849330-6A6E-7C14-7BCA-345630479885}"/>
              </a:ext>
            </a:extLst>
          </p:cNvPr>
          <p:cNvGraphicFramePr>
            <a:graphicFrameLocks noGrp="1"/>
          </p:cNvGraphicFramePr>
          <p:nvPr>
            <p:custDataLst>
              <p:tags r:id="rId16"/>
            </p:custDataLst>
          </p:nvPr>
        </p:nvGraphicFramePr>
        <p:xfrm>
          <a:off x="4597801" y="4701003"/>
          <a:ext cx="1931064" cy="1714500"/>
        </p:xfrm>
        <a:graphic>
          <a:graphicData uri="http://schemas.openxmlformats.org/drawingml/2006/table">
            <a:tbl>
              <a:tblPr/>
              <a:tblGrid>
                <a:gridCol w="19310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ísek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á republik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849220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ý Krumlov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hatic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ábo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ndřichův Hradec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é Budějovic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konic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57" name="Skupina 56">
            <a:extLst>
              <a:ext uri="{FF2B5EF4-FFF2-40B4-BE49-F238E27FC236}">
                <a16:creationId xmlns:a16="http://schemas.microsoft.com/office/drawing/2014/main" id="{B28D4494-4B8C-D24C-6049-7C1B5A6ED9CE}"/>
              </a:ext>
            </a:extLst>
          </p:cNvPr>
          <p:cNvGrpSpPr>
            <a:grpSpLocks noChangeAspect="1"/>
          </p:cNvGrpSpPr>
          <p:nvPr/>
        </p:nvGrpSpPr>
        <p:grpSpPr>
          <a:xfrm>
            <a:off x="8826759" y="4584375"/>
            <a:ext cx="2311761" cy="1796127"/>
            <a:chOff x="3449186" y="4421025"/>
            <a:chExt cx="2989263" cy="2322513"/>
          </a:xfrm>
        </p:grpSpPr>
        <p:sp>
          <p:nvSpPr>
            <p:cNvPr id="23" name="Freeform 102">
              <a:extLst>
                <a:ext uri="{FF2B5EF4-FFF2-40B4-BE49-F238E27FC236}">
                  <a16:creationId xmlns:a16="http://schemas.microsoft.com/office/drawing/2014/main" id="{E3B491FD-4640-811D-1069-96D8B0C3D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436" y="4598825"/>
              <a:ext cx="846138" cy="966788"/>
            </a:xfrm>
            <a:custGeom>
              <a:avLst/>
              <a:gdLst>
                <a:gd name="T0" fmla="*/ 147 w 533"/>
                <a:gd name="T1" fmla="*/ 19 h 609"/>
                <a:gd name="T2" fmla="*/ 172 w 533"/>
                <a:gd name="T3" fmla="*/ 6 h 609"/>
                <a:gd name="T4" fmla="*/ 193 w 533"/>
                <a:gd name="T5" fmla="*/ 21 h 609"/>
                <a:gd name="T6" fmla="*/ 222 w 533"/>
                <a:gd name="T7" fmla="*/ 35 h 609"/>
                <a:gd name="T8" fmla="*/ 252 w 533"/>
                <a:gd name="T9" fmla="*/ 44 h 609"/>
                <a:gd name="T10" fmla="*/ 273 w 533"/>
                <a:gd name="T11" fmla="*/ 61 h 609"/>
                <a:gd name="T12" fmla="*/ 279 w 533"/>
                <a:gd name="T13" fmla="*/ 70 h 609"/>
                <a:gd name="T14" fmla="*/ 294 w 533"/>
                <a:gd name="T15" fmla="*/ 84 h 609"/>
                <a:gd name="T16" fmla="*/ 290 w 533"/>
                <a:gd name="T17" fmla="*/ 103 h 609"/>
                <a:gd name="T18" fmla="*/ 270 w 533"/>
                <a:gd name="T19" fmla="*/ 120 h 609"/>
                <a:gd name="T20" fmla="*/ 279 w 533"/>
                <a:gd name="T21" fmla="*/ 148 h 609"/>
                <a:gd name="T22" fmla="*/ 282 w 533"/>
                <a:gd name="T23" fmla="*/ 175 h 609"/>
                <a:gd name="T24" fmla="*/ 295 w 533"/>
                <a:gd name="T25" fmla="*/ 193 h 609"/>
                <a:gd name="T26" fmla="*/ 288 w 533"/>
                <a:gd name="T27" fmla="*/ 220 h 609"/>
                <a:gd name="T28" fmla="*/ 278 w 533"/>
                <a:gd name="T29" fmla="*/ 273 h 609"/>
                <a:gd name="T30" fmla="*/ 304 w 533"/>
                <a:gd name="T31" fmla="*/ 310 h 609"/>
                <a:gd name="T32" fmla="*/ 326 w 533"/>
                <a:gd name="T33" fmla="*/ 365 h 609"/>
                <a:gd name="T34" fmla="*/ 348 w 533"/>
                <a:gd name="T35" fmla="*/ 396 h 609"/>
                <a:gd name="T36" fmla="*/ 375 w 533"/>
                <a:gd name="T37" fmla="*/ 440 h 609"/>
                <a:gd name="T38" fmla="*/ 407 w 533"/>
                <a:gd name="T39" fmla="*/ 460 h 609"/>
                <a:gd name="T40" fmla="*/ 434 w 533"/>
                <a:gd name="T41" fmla="*/ 476 h 609"/>
                <a:gd name="T42" fmla="*/ 459 w 533"/>
                <a:gd name="T43" fmla="*/ 494 h 609"/>
                <a:gd name="T44" fmla="*/ 506 w 533"/>
                <a:gd name="T45" fmla="*/ 510 h 609"/>
                <a:gd name="T46" fmla="*/ 532 w 533"/>
                <a:gd name="T47" fmla="*/ 524 h 609"/>
                <a:gd name="T48" fmla="*/ 512 w 533"/>
                <a:gd name="T49" fmla="*/ 542 h 609"/>
                <a:gd name="T50" fmla="*/ 505 w 533"/>
                <a:gd name="T51" fmla="*/ 557 h 609"/>
                <a:gd name="T52" fmla="*/ 496 w 533"/>
                <a:gd name="T53" fmla="*/ 564 h 609"/>
                <a:gd name="T54" fmla="*/ 489 w 533"/>
                <a:gd name="T55" fmla="*/ 596 h 609"/>
                <a:gd name="T56" fmla="*/ 456 w 533"/>
                <a:gd name="T57" fmla="*/ 607 h 609"/>
                <a:gd name="T58" fmla="*/ 361 w 533"/>
                <a:gd name="T59" fmla="*/ 607 h 609"/>
                <a:gd name="T60" fmla="*/ 326 w 533"/>
                <a:gd name="T61" fmla="*/ 593 h 609"/>
                <a:gd name="T62" fmla="*/ 302 w 533"/>
                <a:gd name="T63" fmla="*/ 564 h 609"/>
                <a:gd name="T64" fmla="*/ 280 w 533"/>
                <a:gd name="T65" fmla="*/ 553 h 609"/>
                <a:gd name="T66" fmla="*/ 261 w 533"/>
                <a:gd name="T67" fmla="*/ 540 h 609"/>
                <a:gd name="T68" fmla="*/ 241 w 533"/>
                <a:gd name="T69" fmla="*/ 564 h 609"/>
                <a:gd name="T70" fmla="*/ 197 w 533"/>
                <a:gd name="T71" fmla="*/ 576 h 609"/>
                <a:gd name="T72" fmla="*/ 159 w 533"/>
                <a:gd name="T73" fmla="*/ 572 h 609"/>
                <a:gd name="T74" fmla="*/ 104 w 533"/>
                <a:gd name="T75" fmla="*/ 544 h 609"/>
                <a:gd name="T76" fmla="*/ 55 w 533"/>
                <a:gd name="T77" fmla="*/ 539 h 609"/>
                <a:gd name="T78" fmla="*/ 34 w 533"/>
                <a:gd name="T79" fmla="*/ 518 h 609"/>
                <a:gd name="T80" fmla="*/ 0 w 533"/>
                <a:gd name="T81" fmla="*/ 507 h 609"/>
                <a:gd name="T82" fmla="*/ 13 w 533"/>
                <a:gd name="T83" fmla="*/ 466 h 609"/>
                <a:gd name="T84" fmla="*/ 18 w 533"/>
                <a:gd name="T85" fmla="*/ 440 h 609"/>
                <a:gd name="T86" fmla="*/ 7 w 533"/>
                <a:gd name="T87" fmla="*/ 407 h 609"/>
                <a:gd name="T88" fmla="*/ 29 w 533"/>
                <a:gd name="T89" fmla="*/ 387 h 609"/>
                <a:gd name="T90" fmla="*/ 24 w 533"/>
                <a:gd name="T91" fmla="*/ 368 h 609"/>
                <a:gd name="T92" fmla="*/ 18 w 533"/>
                <a:gd name="T93" fmla="*/ 350 h 609"/>
                <a:gd name="T94" fmla="*/ 35 w 533"/>
                <a:gd name="T95" fmla="*/ 335 h 609"/>
                <a:gd name="T96" fmla="*/ 37 w 533"/>
                <a:gd name="T97" fmla="*/ 310 h 609"/>
                <a:gd name="T98" fmla="*/ 71 w 533"/>
                <a:gd name="T99" fmla="*/ 275 h 609"/>
                <a:gd name="T100" fmla="*/ 92 w 533"/>
                <a:gd name="T101" fmla="*/ 228 h 609"/>
                <a:gd name="T102" fmla="*/ 81 w 533"/>
                <a:gd name="T103" fmla="*/ 201 h 609"/>
                <a:gd name="T104" fmla="*/ 79 w 533"/>
                <a:gd name="T105" fmla="*/ 143 h 609"/>
                <a:gd name="T106" fmla="*/ 77 w 533"/>
                <a:gd name="T107" fmla="*/ 99 h 609"/>
                <a:gd name="T108" fmla="*/ 68 w 533"/>
                <a:gd name="T109" fmla="*/ 56 h 609"/>
                <a:gd name="T110" fmla="*/ 71 w 533"/>
                <a:gd name="T111" fmla="*/ 24 h 609"/>
                <a:gd name="T112" fmla="*/ 86 w 533"/>
                <a:gd name="T113" fmla="*/ 21 h 609"/>
                <a:gd name="T114" fmla="*/ 106 w 533"/>
                <a:gd name="T115" fmla="*/ 12 h 609"/>
                <a:gd name="T116" fmla="*/ 127 w 533"/>
                <a:gd name="T117" fmla="*/ 0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3" h="609">
                  <a:moveTo>
                    <a:pt x="127" y="0"/>
                  </a:moveTo>
                  <a:lnTo>
                    <a:pt x="128" y="0"/>
                  </a:lnTo>
                  <a:lnTo>
                    <a:pt x="129" y="0"/>
                  </a:lnTo>
                  <a:lnTo>
                    <a:pt x="132" y="6"/>
                  </a:lnTo>
                  <a:lnTo>
                    <a:pt x="138" y="15"/>
                  </a:lnTo>
                  <a:lnTo>
                    <a:pt x="139" y="17"/>
                  </a:lnTo>
                  <a:lnTo>
                    <a:pt x="139" y="18"/>
                  </a:lnTo>
                  <a:lnTo>
                    <a:pt x="141" y="18"/>
                  </a:lnTo>
                  <a:lnTo>
                    <a:pt x="142" y="19"/>
                  </a:lnTo>
                  <a:lnTo>
                    <a:pt x="143" y="19"/>
                  </a:lnTo>
                  <a:lnTo>
                    <a:pt x="147" y="19"/>
                  </a:lnTo>
                  <a:lnTo>
                    <a:pt x="148" y="19"/>
                  </a:lnTo>
                  <a:lnTo>
                    <a:pt x="150" y="18"/>
                  </a:lnTo>
                  <a:lnTo>
                    <a:pt x="153" y="17"/>
                  </a:lnTo>
                  <a:lnTo>
                    <a:pt x="155" y="15"/>
                  </a:lnTo>
                  <a:lnTo>
                    <a:pt x="157" y="13"/>
                  </a:lnTo>
                  <a:lnTo>
                    <a:pt x="164" y="8"/>
                  </a:lnTo>
                  <a:lnTo>
                    <a:pt x="165" y="7"/>
                  </a:lnTo>
                  <a:lnTo>
                    <a:pt x="167" y="6"/>
                  </a:lnTo>
                  <a:lnTo>
                    <a:pt x="169" y="6"/>
                  </a:lnTo>
                  <a:lnTo>
                    <a:pt x="170" y="6"/>
                  </a:lnTo>
                  <a:lnTo>
                    <a:pt x="172" y="6"/>
                  </a:lnTo>
                  <a:lnTo>
                    <a:pt x="174" y="7"/>
                  </a:lnTo>
                  <a:lnTo>
                    <a:pt x="175" y="7"/>
                  </a:lnTo>
                  <a:lnTo>
                    <a:pt x="176" y="8"/>
                  </a:lnTo>
                  <a:lnTo>
                    <a:pt x="177" y="9"/>
                  </a:lnTo>
                  <a:lnTo>
                    <a:pt x="179" y="10"/>
                  </a:lnTo>
                  <a:lnTo>
                    <a:pt x="183" y="15"/>
                  </a:lnTo>
                  <a:lnTo>
                    <a:pt x="184" y="16"/>
                  </a:lnTo>
                  <a:lnTo>
                    <a:pt x="186" y="17"/>
                  </a:lnTo>
                  <a:lnTo>
                    <a:pt x="187" y="18"/>
                  </a:lnTo>
                  <a:lnTo>
                    <a:pt x="192" y="20"/>
                  </a:lnTo>
                  <a:lnTo>
                    <a:pt x="193" y="21"/>
                  </a:lnTo>
                  <a:lnTo>
                    <a:pt x="194" y="21"/>
                  </a:lnTo>
                  <a:lnTo>
                    <a:pt x="194" y="22"/>
                  </a:lnTo>
                  <a:lnTo>
                    <a:pt x="195" y="25"/>
                  </a:lnTo>
                  <a:lnTo>
                    <a:pt x="196" y="25"/>
                  </a:lnTo>
                  <a:lnTo>
                    <a:pt x="197" y="26"/>
                  </a:lnTo>
                  <a:lnTo>
                    <a:pt x="198" y="27"/>
                  </a:lnTo>
                  <a:lnTo>
                    <a:pt x="201" y="28"/>
                  </a:lnTo>
                  <a:lnTo>
                    <a:pt x="208" y="31"/>
                  </a:lnTo>
                  <a:lnTo>
                    <a:pt x="212" y="33"/>
                  </a:lnTo>
                  <a:lnTo>
                    <a:pt x="218" y="35"/>
                  </a:lnTo>
                  <a:lnTo>
                    <a:pt x="222" y="35"/>
                  </a:lnTo>
                  <a:lnTo>
                    <a:pt x="227" y="36"/>
                  </a:lnTo>
                  <a:lnTo>
                    <a:pt x="227" y="37"/>
                  </a:lnTo>
                  <a:lnTo>
                    <a:pt x="228" y="38"/>
                  </a:lnTo>
                  <a:lnTo>
                    <a:pt x="229" y="38"/>
                  </a:lnTo>
                  <a:lnTo>
                    <a:pt x="230" y="38"/>
                  </a:lnTo>
                  <a:lnTo>
                    <a:pt x="232" y="39"/>
                  </a:lnTo>
                  <a:lnTo>
                    <a:pt x="241" y="40"/>
                  </a:lnTo>
                  <a:lnTo>
                    <a:pt x="244" y="40"/>
                  </a:lnTo>
                  <a:lnTo>
                    <a:pt x="246" y="42"/>
                  </a:lnTo>
                  <a:lnTo>
                    <a:pt x="249" y="43"/>
                  </a:lnTo>
                  <a:lnTo>
                    <a:pt x="252" y="44"/>
                  </a:lnTo>
                  <a:lnTo>
                    <a:pt x="254" y="45"/>
                  </a:lnTo>
                  <a:lnTo>
                    <a:pt x="257" y="48"/>
                  </a:lnTo>
                  <a:lnTo>
                    <a:pt x="259" y="49"/>
                  </a:lnTo>
                  <a:lnTo>
                    <a:pt x="260" y="50"/>
                  </a:lnTo>
                  <a:lnTo>
                    <a:pt x="261" y="50"/>
                  </a:lnTo>
                  <a:lnTo>
                    <a:pt x="264" y="55"/>
                  </a:lnTo>
                  <a:lnTo>
                    <a:pt x="266" y="58"/>
                  </a:lnTo>
                  <a:lnTo>
                    <a:pt x="268" y="59"/>
                  </a:lnTo>
                  <a:lnTo>
                    <a:pt x="270" y="60"/>
                  </a:lnTo>
                  <a:lnTo>
                    <a:pt x="271" y="61"/>
                  </a:lnTo>
                  <a:lnTo>
                    <a:pt x="273" y="61"/>
                  </a:lnTo>
                  <a:lnTo>
                    <a:pt x="276" y="62"/>
                  </a:lnTo>
                  <a:lnTo>
                    <a:pt x="277" y="63"/>
                  </a:lnTo>
                  <a:lnTo>
                    <a:pt x="279" y="63"/>
                  </a:lnTo>
                  <a:lnTo>
                    <a:pt x="280" y="64"/>
                  </a:lnTo>
                  <a:lnTo>
                    <a:pt x="281" y="65"/>
                  </a:lnTo>
                  <a:lnTo>
                    <a:pt x="281" y="65"/>
                  </a:lnTo>
                  <a:lnTo>
                    <a:pt x="281" y="66"/>
                  </a:lnTo>
                  <a:lnTo>
                    <a:pt x="281" y="67"/>
                  </a:lnTo>
                  <a:lnTo>
                    <a:pt x="279" y="68"/>
                  </a:lnTo>
                  <a:lnTo>
                    <a:pt x="279" y="69"/>
                  </a:lnTo>
                  <a:lnTo>
                    <a:pt x="279" y="70"/>
                  </a:lnTo>
                  <a:lnTo>
                    <a:pt x="279" y="71"/>
                  </a:lnTo>
                  <a:lnTo>
                    <a:pt x="279" y="73"/>
                  </a:lnTo>
                  <a:lnTo>
                    <a:pt x="280" y="74"/>
                  </a:lnTo>
                  <a:lnTo>
                    <a:pt x="280" y="75"/>
                  </a:lnTo>
                  <a:lnTo>
                    <a:pt x="284" y="80"/>
                  </a:lnTo>
                  <a:lnTo>
                    <a:pt x="286" y="81"/>
                  </a:lnTo>
                  <a:lnTo>
                    <a:pt x="287" y="82"/>
                  </a:lnTo>
                  <a:lnTo>
                    <a:pt x="289" y="83"/>
                  </a:lnTo>
                  <a:lnTo>
                    <a:pt x="293" y="83"/>
                  </a:lnTo>
                  <a:lnTo>
                    <a:pt x="294" y="84"/>
                  </a:lnTo>
                  <a:lnTo>
                    <a:pt x="294" y="84"/>
                  </a:lnTo>
                  <a:lnTo>
                    <a:pt x="295" y="85"/>
                  </a:lnTo>
                  <a:lnTo>
                    <a:pt x="296" y="85"/>
                  </a:lnTo>
                  <a:lnTo>
                    <a:pt x="296" y="87"/>
                  </a:lnTo>
                  <a:lnTo>
                    <a:pt x="296" y="88"/>
                  </a:lnTo>
                  <a:lnTo>
                    <a:pt x="296" y="89"/>
                  </a:lnTo>
                  <a:lnTo>
                    <a:pt x="296" y="91"/>
                  </a:lnTo>
                  <a:lnTo>
                    <a:pt x="296" y="93"/>
                  </a:lnTo>
                  <a:lnTo>
                    <a:pt x="294" y="95"/>
                  </a:lnTo>
                  <a:lnTo>
                    <a:pt x="293" y="98"/>
                  </a:lnTo>
                  <a:lnTo>
                    <a:pt x="291" y="101"/>
                  </a:lnTo>
                  <a:lnTo>
                    <a:pt x="290" y="103"/>
                  </a:lnTo>
                  <a:lnTo>
                    <a:pt x="288" y="105"/>
                  </a:lnTo>
                  <a:lnTo>
                    <a:pt x="286" y="107"/>
                  </a:lnTo>
                  <a:lnTo>
                    <a:pt x="284" y="108"/>
                  </a:lnTo>
                  <a:lnTo>
                    <a:pt x="280" y="110"/>
                  </a:lnTo>
                  <a:lnTo>
                    <a:pt x="278" y="110"/>
                  </a:lnTo>
                  <a:lnTo>
                    <a:pt x="276" y="111"/>
                  </a:lnTo>
                  <a:lnTo>
                    <a:pt x="275" y="113"/>
                  </a:lnTo>
                  <a:lnTo>
                    <a:pt x="273" y="115"/>
                  </a:lnTo>
                  <a:lnTo>
                    <a:pt x="271" y="117"/>
                  </a:lnTo>
                  <a:lnTo>
                    <a:pt x="270" y="120"/>
                  </a:lnTo>
                  <a:lnTo>
                    <a:pt x="270" y="120"/>
                  </a:lnTo>
                  <a:lnTo>
                    <a:pt x="269" y="122"/>
                  </a:lnTo>
                  <a:lnTo>
                    <a:pt x="269" y="123"/>
                  </a:lnTo>
                  <a:lnTo>
                    <a:pt x="270" y="125"/>
                  </a:lnTo>
                  <a:lnTo>
                    <a:pt x="270" y="125"/>
                  </a:lnTo>
                  <a:lnTo>
                    <a:pt x="271" y="128"/>
                  </a:lnTo>
                  <a:lnTo>
                    <a:pt x="272" y="130"/>
                  </a:lnTo>
                  <a:lnTo>
                    <a:pt x="275" y="135"/>
                  </a:lnTo>
                  <a:lnTo>
                    <a:pt x="276" y="138"/>
                  </a:lnTo>
                  <a:lnTo>
                    <a:pt x="277" y="140"/>
                  </a:lnTo>
                  <a:lnTo>
                    <a:pt x="278" y="145"/>
                  </a:lnTo>
                  <a:lnTo>
                    <a:pt x="279" y="148"/>
                  </a:lnTo>
                  <a:lnTo>
                    <a:pt x="280" y="152"/>
                  </a:lnTo>
                  <a:lnTo>
                    <a:pt x="283" y="159"/>
                  </a:lnTo>
                  <a:lnTo>
                    <a:pt x="284" y="161"/>
                  </a:lnTo>
                  <a:lnTo>
                    <a:pt x="284" y="163"/>
                  </a:lnTo>
                  <a:lnTo>
                    <a:pt x="284" y="165"/>
                  </a:lnTo>
                  <a:lnTo>
                    <a:pt x="284" y="167"/>
                  </a:lnTo>
                  <a:lnTo>
                    <a:pt x="282" y="169"/>
                  </a:lnTo>
                  <a:lnTo>
                    <a:pt x="281" y="170"/>
                  </a:lnTo>
                  <a:lnTo>
                    <a:pt x="281" y="172"/>
                  </a:lnTo>
                  <a:lnTo>
                    <a:pt x="281" y="173"/>
                  </a:lnTo>
                  <a:lnTo>
                    <a:pt x="282" y="175"/>
                  </a:lnTo>
                  <a:lnTo>
                    <a:pt x="284" y="176"/>
                  </a:lnTo>
                  <a:lnTo>
                    <a:pt x="286" y="178"/>
                  </a:lnTo>
                  <a:lnTo>
                    <a:pt x="290" y="181"/>
                  </a:lnTo>
                  <a:lnTo>
                    <a:pt x="291" y="183"/>
                  </a:lnTo>
                  <a:lnTo>
                    <a:pt x="292" y="183"/>
                  </a:lnTo>
                  <a:lnTo>
                    <a:pt x="294" y="185"/>
                  </a:lnTo>
                  <a:lnTo>
                    <a:pt x="295" y="188"/>
                  </a:lnTo>
                  <a:lnTo>
                    <a:pt x="295" y="189"/>
                  </a:lnTo>
                  <a:lnTo>
                    <a:pt x="296" y="190"/>
                  </a:lnTo>
                  <a:lnTo>
                    <a:pt x="296" y="192"/>
                  </a:lnTo>
                  <a:lnTo>
                    <a:pt x="295" y="193"/>
                  </a:lnTo>
                  <a:lnTo>
                    <a:pt x="294" y="198"/>
                  </a:lnTo>
                  <a:lnTo>
                    <a:pt x="293" y="200"/>
                  </a:lnTo>
                  <a:lnTo>
                    <a:pt x="293" y="202"/>
                  </a:lnTo>
                  <a:lnTo>
                    <a:pt x="294" y="206"/>
                  </a:lnTo>
                  <a:lnTo>
                    <a:pt x="294" y="208"/>
                  </a:lnTo>
                  <a:lnTo>
                    <a:pt x="294" y="210"/>
                  </a:lnTo>
                  <a:lnTo>
                    <a:pt x="293" y="211"/>
                  </a:lnTo>
                  <a:lnTo>
                    <a:pt x="293" y="212"/>
                  </a:lnTo>
                  <a:lnTo>
                    <a:pt x="292" y="213"/>
                  </a:lnTo>
                  <a:lnTo>
                    <a:pt x="289" y="217"/>
                  </a:lnTo>
                  <a:lnTo>
                    <a:pt x="288" y="220"/>
                  </a:lnTo>
                  <a:lnTo>
                    <a:pt x="288" y="222"/>
                  </a:lnTo>
                  <a:lnTo>
                    <a:pt x="287" y="227"/>
                  </a:lnTo>
                  <a:lnTo>
                    <a:pt x="286" y="230"/>
                  </a:lnTo>
                  <a:lnTo>
                    <a:pt x="285" y="233"/>
                  </a:lnTo>
                  <a:lnTo>
                    <a:pt x="282" y="241"/>
                  </a:lnTo>
                  <a:lnTo>
                    <a:pt x="281" y="245"/>
                  </a:lnTo>
                  <a:lnTo>
                    <a:pt x="280" y="248"/>
                  </a:lnTo>
                  <a:lnTo>
                    <a:pt x="279" y="259"/>
                  </a:lnTo>
                  <a:lnTo>
                    <a:pt x="277" y="266"/>
                  </a:lnTo>
                  <a:lnTo>
                    <a:pt x="277" y="270"/>
                  </a:lnTo>
                  <a:lnTo>
                    <a:pt x="278" y="273"/>
                  </a:lnTo>
                  <a:lnTo>
                    <a:pt x="278" y="275"/>
                  </a:lnTo>
                  <a:lnTo>
                    <a:pt x="279" y="277"/>
                  </a:lnTo>
                  <a:lnTo>
                    <a:pt x="280" y="279"/>
                  </a:lnTo>
                  <a:lnTo>
                    <a:pt x="281" y="281"/>
                  </a:lnTo>
                  <a:lnTo>
                    <a:pt x="282" y="283"/>
                  </a:lnTo>
                  <a:lnTo>
                    <a:pt x="284" y="285"/>
                  </a:lnTo>
                  <a:lnTo>
                    <a:pt x="291" y="292"/>
                  </a:lnTo>
                  <a:lnTo>
                    <a:pt x="296" y="298"/>
                  </a:lnTo>
                  <a:lnTo>
                    <a:pt x="299" y="302"/>
                  </a:lnTo>
                  <a:lnTo>
                    <a:pt x="302" y="306"/>
                  </a:lnTo>
                  <a:lnTo>
                    <a:pt x="304" y="310"/>
                  </a:lnTo>
                  <a:lnTo>
                    <a:pt x="306" y="314"/>
                  </a:lnTo>
                  <a:lnTo>
                    <a:pt x="314" y="327"/>
                  </a:lnTo>
                  <a:lnTo>
                    <a:pt x="316" y="332"/>
                  </a:lnTo>
                  <a:lnTo>
                    <a:pt x="319" y="337"/>
                  </a:lnTo>
                  <a:lnTo>
                    <a:pt x="321" y="345"/>
                  </a:lnTo>
                  <a:lnTo>
                    <a:pt x="324" y="352"/>
                  </a:lnTo>
                  <a:lnTo>
                    <a:pt x="324" y="355"/>
                  </a:lnTo>
                  <a:lnTo>
                    <a:pt x="325" y="357"/>
                  </a:lnTo>
                  <a:lnTo>
                    <a:pt x="326" y="360"/>
                  </a:lnTo>
                  <a:lnTo>
                    <a:pt x="326" y="363"/>
                  </a:lnTo>
                  <a:lnTo>
                    <a:pt x="326" y="365"/>
                  </a:lnTo>
                  <a:lnTo>
                    <a:pt x="326" y="367"/>
                  </a:lnTo>
                  <a:lnTo>
                    <a:pt x="327" y="369"/>
                  </a:lnTo>
                  <a:lnTo>
                    <a:pt x="328" y="370"/>
                  </a:lnTo>
                  <a:lnTo>
                    <a:pt x="329" y="373"/>
                  </a:lnTo>
                  <a:lnTo>
                    <a:pt x="331" y="375"/>
                  </a:lnTo>
                  <a:lnTo>
                    <a:pt x="332" y="377"/>
                  </a:lnTo>
                  <a:lnTo>
                    <a:pt x="334" y="379"/>
                  </a:lnTo>
                  <a:lnTo>
                    <a:pt x="339" y="383"/>
                  </a:lnTo>
                  <a:lnTo>
                    <a:pt x="341" y="385"/>
                  </a:lnTo>
                  <a:lnTo>
                    <a:pt x="346" y="392"/>
                  </a:lnTo>
                  <a:lnTo>
                    <a:pt x="348" y="396"/>
                  </a:lnTo>
                  <a:lnTo>
                    <a:pt x="351" y="400"/>
                  </a:lnTo>
                  <a:lnTo>
                    <a:pt x="352" y="405"/>
                  </a:lnTo>
                  <a:lnTo>
                    <a:pt x="354" y="408"/>
                  </a:lnTo>
                  <a:lnTo>
                    <a:pt x="356" y="416"/>
                  </a:lnTo>
                  <a:lnTo>
                    <a:pt x="357" y="420"/>
                  </a:lnTo>
                  <a:lnTo>
                    <a:pt x="359" y="424"/>
                  </a:lnTo>
                  <a:lnTo>
                    <a:pt x="361" y="427"/>
                  </a:lnTo>
                  <a:lnTo>
                    <a:pt x="363" y="430"/>
                  </a:lnTo>
                  <a:lnTo>
                    <a:pt x="365" y="432"/>
                  </a:lnTo>
                  <a:lnTo>
                    <a:pt x="370" y="436"/>
                  </a:lnTo>
                  <a:lnTo>
                    <a:pt x="375" y="440"/>
                  </a:lnTo>
                  <a:lnTo>
                    <a:pt x="377" y="442"/>
                  </a:lnTo>
                  <a:lnTo>
                    <a:pt x="379" y="445"/>
                  </a:lnTo>
                  <a:lnTo>
                    <a:pt x="383" y="450"/>
                  </a:lnTo>
                  <a:lnTo>
                    <a:pt x="384" y="452"/>
                  </a:lnTo>
                  <a:lnTo>
                    <a:pt x="385" y="453"/>
                  </a:lnTo>
                  <a:lnTo>
                    <a:pt x="386" y="454"/>
                  </a:lnTo>
                  <a:lnTo>
                    <a:pt x="389" y="455"/>
                  </a:lnTo>
                  <a:lnTo>
                    <a:pt x="390" y="456"/>
                  </a:lnTo>
                  <a:lnTo>
                    <a:pt x="392" y="457"/>
                  </a:lnTo>
                  <a:lnTo>
                    <a:pt x="396" y="458"/>
                  </a:lnTo>
                  <a:lnTo>
                    <a:pt x="407" y="460"/>
                  </a:lnTo>
                  <a:lnTo>
                    <a:pt x="415" y="462"/>
                  </a:lnTo>
                  <a:lnTo>
                    <a:pt x="418" y="462"/>
                  </a:lnTo>
                  <a:lnTo>
                    <a:pt x="424" y="463"/>
                  </a:lnTo>
                  <a:lnTo>
                    <a:pt x="426" y="463"/>
                  </a:lnTo>
                  <a:lnTo>
                    <a:pt x="428" y="464"/>
                  </a:lnTo>
                  <a:lnTo>
                    <a:pt x="429" y="464"/>
                  </a:lnTo>
                  <a:lnTo>
                    <a:pt x="430" y="465"/>
                  </a:lnTo>
                  <a:lnTo>
                    <a:pt x="431" y="466"/>
                  </a:lnTo>
                  <a:lnTo>
                    <a:pt x="431" y="468"/>
                  </a:lnTo>
                  <a:lnTo>
                    <a:pt x="432" y="470"/>
                  </a:lnTo>
                  <a:lnTo>
                    <a:pt x="434" y="476"/>
                  </a:lnTo>
                  <a:lnTo>
                    <a:pt x="434" y="478"/>
                  </a:lnTo>
                  <a:lnTo>
                    <a:pt x="436" y="480"/>
                  </a:lnTo>
                  <a:lnTo>
                    <a:pt x="437" y="482"/>
                  </a:lnTo>
                  <a:lnTo>
                    <a:pt x="439" y="484"/>
                  </a:lnTo>
                  <a:lnTo>
                    <a:pt x="442" y="485"/>
                  </a:lnTo>
                  <a:lnTo>
                    <a:pt x="444" y="486"/>
                  </a:lnTo>
                  <a:lnTo>
                    <a:pt x="454" y="489"/>
                  </a:lnTo>
                  <a:lnTo>
                    <a:pt x="456" y="489"/>
                  </a:lnTo>
                  <a:lnTo>
                    <a:pt x="457" y="491"/>
                  </a:lnTo>
                  <a:lnTo>
                    <a:pt x="459" y="492"/>
                  </a:lnTo>
                  <a:lnTo>
                    <a:pt x="459" y="494"/>
                  </a:lnTo>
                  <a:lnTo>
                    <a:pt x="463" y="499"/>
                  </a:lnTo>
                  <a:lnTo>
                    <a:pt x="464" y="502"/>
                  </a:lnTo>
                  <a:lnTo>
                    <a:pt x="466" y="503"/>
                  </a:lnTo>
                  <a:lnTo>
                    <a:pt x="468" y="504"/>
                  </a:lnTo>
                  <a:lnTo>
                    <a:pt x="471" y="505"/>
                  </a:lnTo>
                  <a:lnTo>
                    <a:pt x="476" y="507"/>
                  </a:lnTo>
                  <a:lnTo>
                    <a:pt x="481" y="508"/>
                  </a:lnTo>
                  <a:lnTo>
                    <a:pt x="486" y="509"/>
                  </a:lnTo>
                  <a:lnTo>
                    <a:pt x="490" y="509"/>
                  </a:lnTo>
                  <a:lnTo>
                    <a:pt x="501" y="509"/>
                  </a:lnTo>
                  <a:lnTo>
                    <a:pt x="506" y="510"/>
                  </a:lnTo>
                  <a:lnTo>
                    <a:pt x="510" y="511"/>
                  </a:lnTo>
                  <a:lnTo>
                    <a:pt x="515" y="512"/>
                  </a:lnTo>
                  <a:lnTo>
                    <a:pt x="525" y="513"/>
                  </a:lnTo>
                  <a:lnTo>
                    <a:pt x="528" y="514"/>
                  </a:lnTo>
                  <a:lnTo>
                    <a:pt x="531" y="514"/>
                  </a:lnTo>
                  <a:lnTo>
                    <a:pt x="532" y="514"/>
                  </a:lnTo>
                  <a:lnTo>
                    <a:pt x="533" y="514"/>
                  </a:lnTo>
                  <a:lnTo>
                    <a:pt x="533" y="515"/>
                  </a:lnTo>
                  <a:lnTo>
                    <a:pt x="533" y="517"/>
                  </a:lnTo>
                  <a:lnTo>
                    <a:pt x="533" y="521"/>
                  </a:lnTo>
                  <a:lnTo>
                    <a:pt x="532" y="524"/>
                  </a:lnTo>
                  <a:lnTo>
                    <a:pt x="531" y="527"/>
                  </a:lnTo>
                  <a:lnTo>
                    <a:pt x="531" y="529"/>
                  </a:lnTo>
                  <a:lnTo>
                    <a:pt x="530" y="532"/>
                  </a:lnTo>
                  <a:lnTo>
                    <a:pt x="529" y="533"/>
                  </a:lnTo>
                  <a:lnTo>
                    <a:pt x="526" y="537"/>
                  </a:lnTo>
                  <a:lnTo>
                    <a:pt x="524" y="537"/>
                  </a:lnTo>
                  <a:lnTo>
                    <a:pt x="523" y="539"/>
                  </a:lnTo>
                  <a:lnTo>
                    <a:pt x="520" y="539"/>
                  </a:lnTo>
                  <a:lnTo>
                    <a:pt x="518" y="541"/>
                  </a:lnTo>
                  <a:lnTo>
                    <a:pt x="516" y="541"/>
                  </a:lnTo>
                  <a:lnTo>
                    <a:pt x="512" y="542"/>
                  </a:lnTo>
                  <a:lnTo>
                    <a:pt x="511" y="542"/>
                  </a:lnTo>
                  <a:lnTo>
                    <a:pt x="511" y="543"/>
                  </a:lnTo>
                  <a:lnTo>
                    <a:pt x="510" y="544"/>
                  </a:lnTo>
                  <a:lnTo>
                    <a:pt x="509" y="544"/>
                  </a:lnTo>
                  <a:lnTo>
                    <a:pt x="508" y="546"/>
                  </a:lnTo>
                  <a:lnTo>
                    <a:pt x="508" y="547"/>
                  </a:lnTo>
                  <a:lnTo>
                    <a:pt x="507" y="549"/>
                  </a:lnTo>
                  <a:lnTo>
                    <a:pt x="506" y="554"/>
                  </a:lnTo>
                  <a:lnTo>
                    <a:pt x="506" y="556"/>
                  </a:lnTo>
                  <a:lnTo>
                    <a:pt x="506" y="557"/>
                  </a:lnTo>
                  <a:lnTo>
                    <a:pt x="505" y="557"/>
                  </a:lnTo>
                  <a:lnTo>
                    <a:pt x="504" y="557"/>
                  </a:lnTo>
                  <a:lnTo>
                    <a:pt x="502" y="558"/>
                  </a:lnTo>
                  <a:lnTo>
                    <a:pt x="499" y="559"/>
                  </a:lnTo>
                  <a:lnTo>
                    <a:pt x="498" y="559"/>
                  </a:lnTo>
                  <a:lnTo>
                    <a:pt x="497" y="559"/>
                  </a:lnTo>
                  <a:lnTo>
                    <a:pt x="496" y="560"/>
                  </a:lnTo>
                  <a:lnTo>
                    <a:pt x="496" y="561"/>
                  </a:lnTo>
                  <a:lnTo>
                    <a:pt x="496" y="562"/>
                  </a:lnTo>
                  <a:lnTo>
                    <a:pt x="496" y="562"/>
                  </a:lnTo>
                  <a:lnTo>
                    <a:pt x="496" y="563"/>
                  </a:lnTo>
                  <a:lnTo>
                    <a:pt x="496" y="564"/>
                  </a:lnTo>
                  <a:lnTo>
                    <a:pt x="501" y="572"/>
                  </a:lnTo>
                  <a:lnTo>
                    <a:pt x="503" y="577"/>
                  </a:lnTo>
                  <a:lnTo>
                    <a:pt x="503" y="578"/>
                  </a:lnTo>
                  <a:lnTo>
                    <a:pt x="502" y="580"/>
                  </a:lnTo>
                  <a:lnTo>
                    <a:pt x="501" y="582"/>
                  </a:lnTo>
                  <a:lnTo>
                    <a:pt x="501" y="584"/>
                  </a:lnTo>
                  <a:lnTo>
                    <a:pt x="499" y="586"/>
                  </a:lnTo>
                  <a:lnTo>
                    <a:pt x="496" y="589"/>
                  </a:lnTo>
                  <a:lnTo>
                    <a:pt x="494" y="592"/>
                  </a:lnTo>
                  <a:lnTo>
                    <a:pt x="491" y="594"/>
                  </a:lnTo>
                  <a:lnTo>
                    <a:pt x="489" y="596"/>
                  </a:lnTo>
                  <a:lnTo>
                    <a:pt x="487" y="597"/>
                  </a:lnTo>
                  <a:lnTo>
                    <a:pt x="484" y="599"/>
                  </a:lnTo>
                  <a:lnTo>
                    <a:pt x="482" y="600"/>
                  </a:lnTo>
                  <a:lnTo>
                    <a:pt x="479" y="602"/>
                  </a:lnTo>
                  <a:lnTo>
                    <a:pt x="476" y="603"/>
                  </a:lnTo>
                  <a:lnTo>
                    <a:pt x="474" y="604"/>
                  </a:lnTo>
                  <a:lnTo>
                    <a:pt x="471" y="605"/>
                  </a:lnTo>
                  <a:lnTo>
                    <a:pt x="468" y="605"/>
                  </a:lnTo>
                  <a:lnTo>
                    <a:pt x="465" y="606"/>
                  </a:lnTo>
                  <a:lnTo>
                    <a:pt x="461" y="607"/>
                  </a:lnTo>
                  <a:lnTo>
                    <a:pt x="456" y="607"/>
                  </a:lnTo>
                  <a:lnTo>
                    <a:pt x="451" y="607"/>
                  </a:lnTo>
                  <a:lnTo>
                    <a:pt x="440" y="607"/>
                  </a:lnTo>
                  <a:lnTo>
                    <a:pt x="434" y="607"/>
                  </a:lnTo>
                  <a:lnTo>
                    <a:pt x="421" y="607"/>
                  </a:lnTo>
                  <a:lnTo>
                    <a:pt x="410" y="608"/>
                  </a:lnTo>
                  <a:lnTo>
                    <a:pt x="396" y="609"/>
                  </a:lnTo>
                  <a:lnTo>
                    <a:pt x="385" y="609"/>
                  </a:lnTo>
                  <a:lnTo>
                    <a:pt x="380" y="609"/>
                  </a:lnTo>
                  <a:lnTo>
                    <a:pt x="370" y="609"/>
                  </a:lnTo>
                  <a:lnTo>
                    <a:pt x="364" y="607"/>
                  </a:lnTo>
                  <a:lnTo>
                    <a:pt x="361" y="607"/>
                  </a:lnTo>
                  <a:lnTo>
                    <a:pt x="358" y="605"/>
                  </a:lnTo>
                  <a:lnTo>
                    <a:pt x="352" y="602"/>
                  </a:lnTo>
                  <a:lnTo>
                    <a:pt x="349" y="602"/>
                  </a:lnTo>
                  <a:lnTo>
                    <a:pt x="344" y="600"/>
                  </a:lnTo>
                  <a:lnTo>
                    <a:pt x="337" y="599"/>
                  </a:lnTo>
                  <a:lnTo>
                    <a:pt x="335" y="599"/>
                  </a:lnTo>
                  <a:lnTo>
                    <a:pt x="332" y="598"/>
                  </a:lnTo>
                  <a:lnTo>
                    <a:pt x="330" y="597"/>
                  </a:lnTo>
                  <a:lnTo>
                    <a:pt x="329" y="596"/>
                  </a:lnTo>
                  <a:lnTo>
                    <a:pt x="327" y="594"/>
                  </a:lnTo>
                  <a:lnTo>
                    <a:pt x="326" y="593"/>
                  </a:lnTo>
                  <a:lnTo>
                    <a:pt x="325" y="592"/>
                  </a:lnTo>
                  <a:lnTo>
                    <a:pt x="323" y="589"/>
                  </a:lnTo>
                  <a:lnTo>
                    <a:pt x="319" y="582"/>
                  </a:lnTo>
                  <a:lnTo>
                    <a:pt x="317" y="580"/>
                  </a:lnTo>
                  <a:lnTo>
                    <a:pt x="316" y="579"/>
                  </a:lnTo>
                  <a:lnTo>
                    <a:pt x="313" y="576"/>
                  </a:lnTo>
                  <a:lnTo>
                    <a:pt x="307" y="570"/>
                  </a:lnTo>
                  <a:lnTo>
                    <a:pt x="305" y="568"/>
                  </a:lnTo>
                  <a:lnTo>
                    <a:pt x="304" y="567"/>
                  </a:lnTo>
                  <a:lnTo>
                    <a:pt x="303" y="566"/>
                  </a:lnTo>
                  <a:lnTo>
                    <a:pt x="302" y="564"/>
                  </a:lnTo>
                  <a:lnTo>
                    <a:pt x="300" y="560"/>
                  </a:lnTo>
                  <a:lnTo>
                    <a:pt x="299" y="558"/>
                  </a:lnTo>
                  <a:lnTo>
                    <a:pt x="299" y="556"/>
                  </a:lnTo>
                  <a:lnTo>
                    <a:pt x="296" y="554"/>
                  </a:lnTo>
                  <a:lnTo>
                    <a:pt x="296" y="554"/>
                  </a:lnTo>
                  <a:lnTo>
                    <a:pt x="294" y="553"/>
                  </a:lnTo>
                  <a:lnTo>
                    <a:pt x="294" y="553"/>
                  </a:lnTo>
                  <a:lnTo>
                    <a:pt x="292" y="552"/>
                  </a:lnTo>
                  <a:lnTo>
                    <a:pt x="289" y="552"/>
                  </a:lnTo>
                  <a:lnTo>
                    <a:pt x="282" y="553"/>
                  </a:lnTo>
                  <a:lnTo>
                    <a:pt x="280" y="553"/>
                  </a:lnTo>
                  <a:lnTo>
                    <a:pt x="276" y="553"/>
                  </a:lnTo>
                  <a:lnTo>
                    <a:pt x="276" y="553"/>
                  </a:lnTo>
                  <a:lnTo>
                    <a:pt x="274" y="552"/>
                  </a:lnTo>
                  <a:lnTo>
                    <a:pt x="272" y="551"/>
                  </a:lnTo>
                  <a:lnTo>
                    <a:pt x="270" y="549"/>
                  </a:lnTo>
                  <a:lnTo>
                    <a:pt x="268" y="547"/>
                  </a:lnTo>
                  <a:lnTo>
                    <a:pt x="266" y="544"/>
                  </a:lnTo>
                  <a:lnTo>
                    <a:pt x="264" y="542"/>
                  </a:lnTo>
                  <a:lnTo>
                    <a:pt x="262" y="541"/>
                  </a:lnTo>
                  <a:lnTo>
                    <a:pt x="261" y="540"/>
                  </a:lnTo>
                  <a:lnTo>
                    <a:pt x="261" y="540"/>
                  </a:lnTo>
                  <a:lnTo>
                    <a:pt x="259" y="539"/>
                  </a:lnTo>
                  <a:lnTo>
                    <a:pt x="257" y="540"/>
                  </a:lnTo>
                  <a:lnTo>
                    <a:pt x="256" y="541"/>
                  </a:lnTo>
                  <a:lnTo>
                    <a:pt x="254" y="542"/>
                  </a:lnTo>
                  <a:lnTo>
                    <a:pt x="254" y="543"/>
                  </a:lnTo>
                  <a:lnTo>
                    <a:pt x="252" y="546"/>
                  </a:lnTo>
                  <a:lnTo>
                    <a:pt x="247" y="556"/>
                  </a:lnTo>
                  <a:lnTo>
                    <a:pt x="244" y="561"/>
                  </a:lnTo>
                  <a:lnTo>
                    <a:pt x="243" y="562"/>
                  </a:lnTo>
                  <a:lnTo>
                    <a:pt x="242" y="563"/>
                  </a:lnTo>
                  <a:lnTo>
                    <a:pt x="241" y="564"/>
                  </a:lnTo>
                  <a:lnTo>
                    <a:pt x="239" y="564"/>
                  </a:lnTo>
                  <a:lnTo>
                    <a:pt x="237" y="565"/>
                  </a:lnTo>
                  <a:lnTo>
                    <a:pt x="224" y="567"/>
                  </a:lnTo>
                  <a:lnTo>
                    <a:pt x="219" y="568"/>
                  </a:lnTo>
                  <a:lnTo>
                    <a:pt x="217" y="569"/>
                  </a:lnTo>
                  <a:lnTo>
                    <a:pt x="213" y="570"/>
                  </a:lnTo>
                  <a:lnTo>
                    <a:pt x="204" y="574"/>
                  </a:lnTo>
                  <a:lnTo>
                    <a:pt x="202" y="575"/>
                  </a:lnTo>
                  <a:lnTo>
                    <a:pt x="200" y="576"/>
                  </a:lnTo>
                  <a:lnTo>
                    <a:pt x="199" y="576"/>
                  </a:lnTo>
                  <a:lnTo>
                    <a:pt x="197" y="576"/>
                  </a:lnTo>
                  <a:lnTo>
                    <a:pt x="192" y="576"/>
                  </a:lnTo>
                  <a:lnTo>
                    <a:pt x="184" y="576"/>
                  </a:lnTo>
                  <a:lnTo>
                    <a:pt x="178" y="576"/>
                  </a:lnTo>
                  <a:lnTo>
                    <a:pt x="174" y="576"/>
                  </a:lnTo>
                  <a:lnTo>
                    <a:pt x="167" y="578"/>
                  </a:lnTo>
                  <a:lnTo>
                    <a:pt x="164" y="578"/>
                  </a:lnTo>
                  <a:lnTo>
                    <a:pt x="164" y="577"/>
                  </a:lnTo>
                  <a:lnTo>
                    <a:pt x="162" y="577"/>
                  </a:lnTo>
                  <a:lnTo>
                    <a:pt x="162" y="577"/>
                  </a:lnTo>
                  <a:lnTo>
                    <a:pt x="161" y="575"/>
                  </a:lnTo>
                  <a:lnTo>
                    <a:pt x="159" y="572"/>
                  </a:lnTo>
                  <a:lnTo>
                    <a:pt x="156" y="564"/>
                  </a:lnTo>
                  <a:lnTo>
                    <a:pt x="154" y="559"/>
                  </a:lnTo>
                  <a:lnTo>
                    <a:pt x="152" y="555"/>
                  </a:lnTo>
                  <a:lnTo>
                    <a:pt x="150" y="552"/>
                  </a:lnTo>
                  <a:lnTo>
                    <a:pt x="148" y="549"/>
                  </a:lnTo>
                  <a:lnTo>
                    <a:pt x="147" y="548"/>
                  </a:lnTo>
                  <a:lnTo>
                    <a:pt x="144" y="547"/>
                  </a:lnTo>
                  <a:lnTo>
                    <a:pt x="143" y="547"/>
                  </a:lnTo>
                  <a:lnTo>
                    <a:pt x="141" y="546"/>
                  </a:lnTo>
                  <a:lnTo>
                    <a:pt x="116" y="545"/>
                  </a:lnTo>
                  <a:lnTo>
                    <a:pt x="104" y="544"/>
                  </a:lnTo>
                  <a:lnTo>
                    <a:pt x="91" y="544"/>
                  </a:lnTo>
                  <a:lnTo>
                    <a:pt x="85" y="544"/>
                  </a:lnTo>
                  <a:lnTo>
                    <a:pt x="75" y="545"/>
                  </a:lnTo>
                  <a:lnTo>
                    <a:pt x="72" y="545"/>
                  </a:lnTo>
                  <a:lnTo>
                    <a:pt x="68" y="545"/>
                  </a:lnTo>
                  <a:lnTo>
                    <a:pt x="66" y="544"/>
                  </a:lnTo>
                  <a:lnTo>
                    <a:pt x="64" y="544"/>
                  </a:lnTo>
                  <a:lnTo>
                    <a:pt x="61" y="543"/>
                  </a:lnTo>
                  <a:lnTo>
                    <a:pt x="59" y="542"/>
                  </a:lnTo>
                  <a:lnTo>
                    <a:pt x="57" y="541"/>
                  </a:lnTo>
                  <a:lnTo>
                    <a:pt x="55" y="539"/>
                  </a:lnTo>
                  <a:lnTo>
                    <a:pt x="54" y="538"/>
                  </a:lnTo>
                  <a:lnTo>
                    <a:pt x="52" y="537"/>
                  </a:lnTo>
                  <a:lnTo>
                    <a:pt x="49" y="530"/>
                  </a:lnTo>
                  <a:lnTo>
                    <a:pt x="48" y="528"/>
                  </a:lnTo>
                  <a:lnTo>
                    <a:pt x="47" y="527"/>
                  </a:lnTo>
                  <a:lnTo>
                    <a:pt x="45" y="525"/>
                  </a:lnTo>
                  <a:lnTo>
                    <a:pt x="44" y="524"/>
                  </a:lnTo>
                  <a:lnTo>
                    <a:pt x="42" y="522"/>
                  </a:lnTo>
                  <a:lnTo>
                    <a:pt x="39" y="521"/>
                  </a:lnTo>
                  <a:lnTo>
                    <a:pt x="37" y="519"/>
                  </a:lnTo>
                  <a:lnTo>
                    <a:pt x="34" y="518"/>
                  </a:lnTo>
                  <a:lnTo>
                    <a:pt x="31" y="517"/>
                  </a:lnTo>
                  <a:lnTo>
                    <a:pt x="27" y="516"/>
                  </a:lnTo>
                  <a:lnTo>
                    <a:pt x="21" y="514"/>
                  </a:lnTo>
                  <a:lnTo>
                    <a:pt x="10" y="512"/>
                  </a:lnTo>
                  <a:lnTo>
                    <a:pt x="7" y="512"/>
                  </a:lnTo>
                  <a:lnTo>
                    <a:pt x="5" y="511"/>
                  </a:lnTo>
                  <a:lnTo>
                    <a:pt x="3" y="510"/>
                  </a:lnTo>
                  <a:lnTo>
                    <a:pt x="1" y="509"/>
                  </a:lnTo>
                  <a:lnTo>
                    <a:pt x="0" y="508"/>
                  </a:lnTo>
                  <a:lnTo>
                    <a:pt x="0" y="508"/>
                  </a:lnTo>
                  <a:lnTo>
                    <a:pt x="0" y="507"/>
                  </a:lnTo>
                  <a:lnTo>
                    <a:pt x="0" y="507"/>
                  </a:lnTo>
                  <a:lnTo>
                    <a:pt x="0" y="502"/>
                  </a:lnTo>
                  <a:lnTo>
                    <a:pt x="0" y="499"/>
                  </a:lnTo>
                  <a:lnTo>
                    <a:pt x="4" y="484"/>
                  </a:lnTo>
                  <a:lnTo>
                    <a:pt x="5" y="480"/>
                  </a:lnTo>
                  <a:lnTo>
                    <a:pt x="6" y="477"/>
                  </a:lnTo>
                  <a:lnTo>
                    <a:pt x="7" y="474"/>
                  </a:lnTo>
                  <a:lnTo>
                    <a:pt x="8" y="472"/>
                  </a:lnTo>
                  <a:lnTo>
                    <a:pt x="9" y="471"/>
                  </a:lnTo>
                  <a:lnTo>
                    <a:pt x="10" y="469"/>
                  </a:lnTo>
                  <a:lnTo>
                    <a:pt x="13" y="466"/>
                  </a:lnTo>
                  <a:lnTo>
                    <a:pt x="18" y="461"/>
                  </a:lnTo>
                  <a:lnTo>
                    <a:pt x="19" y="459"/>
                  </a:lnTo>
                  <a:lnTo>
                    <a:pt x="20" y="458"/>
                  </a:lnTo>
                  <a:lnTo>
                    <a:pt x="21" y="457"/>
                  </a:lnTo>
                  <a:lnTo>
                    <a:pt x="21" y="455"/>
                  </a:lnTo>
                  <a:lnTo>
                    <a:pt x="22" y="453"/>
                  </a:lnTo>
                  <a:lnTo>
                    <a:pt x="22" y="451"/>
                  </a:lnTo>
                  <a:lnTo>
                    <a:pt x="21" y="447"/>
                  </a:lnTo>
                  <a:lnTo>
                    <a:pt x="20" y="445"/>
                  </a:lnTo>
                  <a:lnTo>
                    <a:pt x="19" y="442"/>
                  </a:lnTo>
                  <a:lnTo>
                    <a:pt x="18" y="440"/>
                  </a:lnTo>
                  <a:lnTo>
                    <a:pt x="17" y="438"/>
                  </a:lnTo>
                  <a:lnTo>
                    <a:pt x="12" y="432"/>
                  </a:lnTo>
                  <a:lnTo>
                    <a:pt x="10" y="430"/>
                  </a:lnTo>
                  <a:lnTo>
                    <a:pt x="8" y="425"/>
                  </a:lnTo>
                  <a:lnTo>
                    <a:pt x="7" y="422"/>
                  </a:lnTo>
                  <a:lnTo>
                    <a:pt x="6" y="419"/>
                  </a:lnTo>
                  <a:lnTo>
                    <a:pt x="5" y="416"/>
                  </a:lnTo>
                  <a:lnTo>
                    <a:pt x="5" y="414"/>
                  </a:lnTo>
                  <a:lnTo>
                    <a:pt x="5" y="412"/>
                  </a:lnTo>
                  <a:lnTo>
                    <a:pt x="6" y="410"/>
                  </a:lnTo>
                  <a:lnTo>
                    <a:pt x="7" y="407"/>
                  </a:lnTo>
                  <a:lnTo>
                    <a:pt x="8" y="406"/>
                  </a:lnTo>
                  <a:lnTo>
                    <a:pt x="9" y="405"/>
                  </a:lnTo>
                  <a:lnTo>
                    <a:pt x="11" y="402"/>
                  </a:lnTo>
                  <a:lnTo>
                    <a:pt x="15" y="398"/>
                  </a:lnTo>
                  <a:lnTo>
                    <a:pt x="19" y="393"/>
                  </a:lnTo>
                  <a:lnTo>
                    <a:pt x="20" y="392"/>
                  </a:lnTo>
                  <a:lnTo>
                    <a:pt x="22" y="391"/>
                  </a:lnTo>
                  <a:lnTo>
                    <a:pt x="26" y="390"/>
                  </a:lnTo>
                  <a:lnTo>
                    <a:pt x="27" y="389"/>
                  </a:lnTo>
                  <a:lnTo>
                    <a:pt x="29" y="388"/>
                  </a:lnTo>
                  <a:lnTo>
                    <a:pt x="29" y="387"/>
                  </a:lnTo>
                  <a:lnTo>
                    <a:pt x="30" y="386"/>
                  </a:lnTo>
                  <a:lnTo>
                    <a:pt x="31" y="384"/>
                  </a:lnTo>
                  <a:lnTo>
                    <a:pt x="32" y="380"/>
                  </a:lnTo>
                  <a:lnTo>
                    <a:pt x="33" y="378"/>
                  </a:lnTo>
                  <a:lnTo>
                    <a:pt x="33" y="377"/>
                  </a:lnTo>
                  <a:lnTo>
                    <a:pt x="33" y="376"/>
                  </a:lnTo>
                  <a:lnTo>
                    <a:pt x="32" y="375"/>
                  </a:lnTo>
                  <a:lnTo>
                    <a:pt x="32" y="375"/>
                  </a:lnTo>
                  <a:lnTo>
                    <a:pt x="31" y="373"/>
                  </a:lnTo>
                  <a:lnTo>
                    <a:pt x="26" y="370"/>
                  </a:lnTo>
                  <a:lnTo>
                    <a:pt x="24" y="368"/>
                  </a:lnTo>
                  <a:lnTo>
                    <a:pt x="22" y="366"/>
                  </a:lnTo>
                  <a:lnTo>
                    <a:pt x="21" y="365"/>
                  </a:lnTo>
                  <a:lnTo>
                    <a:pt x="20" y="363"/>
                  </a:lnTo>
                  <a:lnTo>
                    <a:pt x="19" y="361"/>
                  </a:lnTo>
                  <a:lnTo>
                    <a:pt x="19" y="360"/>
                  </a:lnTo>
                  <a:lnTo>
                    <a:pt x="18" y="357"/>
                  </a:lnTo>
                  <a:lnTo>
                    <a:pt x="18" y="356"/>
                  </a:lnTo>
                  <a:lnTo>
                    <a:pt x="18" y="355"/>
                  </a:lnTo>
                  <a:lnTo>
                    <a:pt x="18" y="352"/>
                  </a:lnTo>
                  <a:lnTo>
                    <a:pt x="18" y="351"/>
                  </a:lnTo>
                  <a:lnTo>
                    <a:pt x="18" y="350"/>
                  </a:lnTo>
                  <a:lnTo>
                    <a:pt x="19" y="349"/>
                  </a:lnTo>
                  <a:lnTo>
                    <a:pt x="19" y="348"/>
                  </a:lnTo>
                  <a:lnTo>
                    <a:pt x="20" y="347"/>
                  </a:lnTo>
                  <a:lnTo>
                    <a:pt x="21" y="346"/>
                  </a:lnTo>
                  <a:lnTo>
                    <a:pt x="22" y="345"/>
                  </a:lnTo>
                  <a:lnTo>
                    <a:pt x="29" y="342"/>
                  </a:lnTo>
                  <a:lnTo>
                    <a:pt x="30" y="340"/>
                  </a:lnTo>
                  <a:lnTo>
                    <a:pt x="32" y="340"/>
                  </a:lnTo>
                  <a:lnTo>
                    <a:pt x="33" y="338"/>
                  </a:lnTo>
                  <a:lnTo>
                    <a:pt x="34" y="337"/>
                  </a:lnTo>
                  <a:lnTo>
                    <a:pt x="35" y="335"/>
                  </a:lnTo>
                  <a:lnTo>
                    <a:pt x="36" y="334"/>
                  </a:lnTo>
                  <a:lnTo>
                    <a:pt x="37" y="332"/>
                  </a:lnTo>
                  <a:lnTo>
                    <a:pt x="37" y="330"/>
                  </a:lnTo>
                  <a:lnTo>
                    <a:pt x="37" y="329"/>
                  </a:lnTo>
                  <a:lnTo>
                    <a:pt x="37" y="327"/>
                  </a:lnTo>
                  <a:lnTo>
                    <a:pt x="37" y="325"/>
                  </a:lnTo>
                  <a:lnTo>
                    <a:pt x="37" y="321"/>
                  </a:lnTo>
                  <a:lnTo>
                    <a:pt x="37" y="317"/>
                  </a:lnTo>
                  <a:lnTo>
                    <a:pt x="37" y="315"/>
                  </a:lnTo>
                  <a:lnTo>
                    <a:pt x="37" y="312"/>
                  </a:lnTo>
                  <a:lnTo>
                    <a:pt x="37" y="310"/>
                  </a:lnTo>
                  <a:lnTo>
                    <a:pt x="37" y="307"/>
                  </a:lnTo>
                  <a:lnTo>
                    <a:pt x="39" y="305"/>
                  </a:lnTo>
                  <a:lnTo>
                    <a:pt x="39" y="302"/>
                  </a:lnTo>
                  <a:lnTo>
                    <a:pt x="42" y="300"/>
                  </a:lnTo>
                  <a:lnTo>
                    <a:pt x="47" y="295"/>
                  </a:lnTo>
                  <a:lnTo>
                    <a:pt x="49" y="292"/>
                  </a:lnTo>
                  <a:lnTo>
                    <a:pt x="52" y="290"/>
                  </a:lnTo>
                  <a:lnTo>
                    <a:pt x="59" y="285"/>
                  </a:lnTo>
                  <a:lnTo>
                    <a:pt x="67" y="279"/>
                  </a:lnTo>
                  <a:lnTo>
                    <a:pt x="69" y="277"/>
                  </a:lnTo>
                  <a:lnTo>
                    <a:pt x="71" y="275"/>
                  </a:lnTo>
                  <a:lnTo>
                    <a:pt x="73" y="273"/>
                  </a:lnTo>
                  <a:lnTo>
                    <a:pt x="74" y="270"/>
                  </a:lnTo>
                  <a:lnTo>
                    <a:pt x="76" y="265"/>
                  </a:lnTo>
                  <a:lnTo>
                    <a:pt x="79" y="258"/>
                  </a:lnTo>
                  <a:lnTo>
                    <a:pt x="81" y="254"/>
                  </a:lnTo>
                  <a:lnTo>
                    <a:pt x="83" y="249"/>
                  </a:lnTo>
                  <a:lnTo>
                    <a:pt x="87" y="243"/>
                  </a:lnTo>
                  <a:lnTo>
                    <a:pt x="88" y="240"/>
                  </a:lnTo>
                  <a:lnTo>
                    <a:pt x="89" y="237"/>
                  </a:lnTo>
                  <a:lnTo>
                    <a:pt x="90" y="233"/>
                  </a:lnTo>
                  <a:lnTo>
                    <a:pt x="92" y="228"/>
                  </a:lnTo>
                  <a:lnTo>
                    <a:pt x="92" y="225"/>
                  </a:lnTo>
                  <a:lnTo>
                    <a:pt x="93" y="223"/>
                  </a:lnTo>
                  <a:lnTo>
                    <a:pt x="93" y="220"/>
                  </a:lnTo>
                  <a:lnTo>
                    <a:pt x="92" y="219"/>
                  </a:lnTo>
                  <a:lnTo>
                    <a:pt x="92" y="217"/>
                  </a:lnTo>
                  <a:lnTo>
                    <a:pt x="91" y="215"/>
                  </a:lnTo>
                  <a:lnTo>
                    <a:pt x="89" y="213"/>
                  </a:lnTo>
                  <a:lnTo>
                    <a:pt x="88" y="211"/>
                  </a:lnTo>
                  <a:lnTo>
                    <a:pt x="84" y="207"/>
                  </a:lnTo>
                  <a:lnTo>
                    <a:pt x="83" y="205"/>
                  </a:lnTo>
                  <a:lnTo>
                    <a:pt x="81" y="201"/>
                  </a:lnTo>
                  <a:lnTo>
                    <a:pt x="77" y="193"/>
                  </a:lnTo>
                  <a:lnTo>
                    <a:pt x="74" y="188"/>
                  </a:lnTo>
                  <a:lnTo>
                    <a:pt x="73" y="183"/>
                  </a:lnTo>
                  <a:lnTo>
                    <a:pt x="69" y="173"/>
                  </a:lnTo>
                  <a:lnTo>
                    <a:pt x="69" y="170"/>
                  </a:lnTo>
                  <a:lnTo>
                    <a:pt x="69" y="169"/>
                  </a:lnTo>
                  <a:lnTo>
                    <a:pt x="69" y="168"/>
                  </a:lnTo>
                  <a:lnTo>
                    <a:pt x="74" y="155"/>
                  </a:lnTo>
                  <a:lnTo>
                    <a:pt x="75" y="151"/>
                  </a:lnTo>
                  <a:lnTo>
                    <a:pt x="77" y="147"/>
                  </a:lnTo>
                  <a:lnTo>
                    <a:pt x="79" y="143"/>
                  </a:lnTo>
                  <a:lnTo>
                    <a:pt x="80" y="140"/>
                  </a:lnTo>
                  <a:lnTo>
                    <a:pt x="87" y="130"/>
                  </a:lnTo>
                  <a:lnTo>
                    <a:pt x="88" y="128"/>
                  </a:lnTo>
                  <a:lnTo>
                    <a:pt x="89" y="127"/>
                  </a:lnTo>
                  <a:lnTo>
                    <a:pt x="89" y="125"/>
                  </a:lnTo>
                  <a:lnTo>
                    <a:pt x="88" y="123"/>
                  </a:lnTo>
                  <a:lnTo>
                    <a:pt x="86" y="118"/>
                  </a:lnTo>
                  <a:lnTo>
                    <a:pt x="82" y="112"/>
                  </a:lnTo>
                  <a:lnTo>
                    <a:pt x="80" y="106"/>
                  </a:lnTo>
                  <a:lnTo>
                    <a:pt x="79" y="103"/>
                  </a:lnTo>
                  <a:lnTo>
                    <a:pt x="77" y="99"/>
                  </a:lnTo>
                  <a:lnTo>
                    <a:pt x="77" y="93"/>
                  </a:lnTo>
                  <a:lnTo>
                    <a:pt x="76" y="89"/>
                  </a:lnTo>
                  <a:lnTo>
                    <a:pt x="76" y="86"/>
                  </a:lnTo>
                  <a:lnTo>
                    <a:pt x="75" y="75"/>
                  </a:lnTo>
                  <a:lnTo>
                    <a:pt x="75" y="73"/>
                  </a:lnTo>
                  <a:lnTo>
                    <a:pt x="74" y="69"/>
                  </a:lnTo>
                  <a:lnTo>
                    <a:pt x="73" y="65"/>
                  </a:lnTo>
                  <a:lnTo>
                    <a:pt x="72" y="61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68" y="56"/>
                  </a:lnTo>
                  <a:lnTo>
                    <a:pt x="67" y="53"/>
                  </a:lnTo>
                  <a:lnTo>
                    <a:pt x="66" y="52"/>
                  </a:lnTo>
                  <a:lnTo>
                    <a:pt x="65" y="50"/>
                  </a:lnTo>
                  <a:lnTo>
                    <a:pt x="65" y="49"/>
                  </a:lnTo>
                  <a:lnTo>
                    <a:pt x="64" y="48"/>
                  </a:lnTo>
                  <a:lnTo>
                    <a:pt x="64" y="46"/>
                  </a:lnTo>
                  <a:lnTo>
                    <a:pt x="64" y="45"/>
                  </a:lnTo>
                  <a:lnTo>
                    <a:pt x="65" y="41"/>
                  </a:lnTo>
                  <a:lnTo>
                    <a:pt x="69" y="28"/>
                  </a:lnTo>
                  <a:lnTo>
                    <a:pt x="70" y="25"/>
                  </a:lnTo>
                  <a:lnTo>
                    <a:pt x="71" y="24"/>
                  </a:lnTo>
                  <a:lnTo>
                    <a:pt x="72" y="23"/>
                  </a:lnTo>
                  <a:lnTo>
                    <a:pt x="74" y="20"/>
                  </a:lnTo>
                  <a:lnTo>
                    <a:pt x="75" y="18"/>
                  </a:lnTo>
                  <a:lnTo>
                    <a:pt x="76" y="18"/>
                  </a:lnTo>
                  <a:lnTo>
                    <a:pt x="77" y="17"/>
                  </a:lnTo>
                  <a:lnTo>
                    <a:pt x="77" y="17"/>
                  </a:lnTo>
                  <a:lnTo>
                    <a:pt x="77" y="18"/>
                  </a:lnTo>
                  <a:lnTo>
                    <a:pt x="79" y="19"/>
                  </a:lnTo>
                  <a:lnTo>
                    <a:pt x="81" y="20"/>
                  </a:lnTo>
                  <a:lnTo>
                    <a:pt x="83" y="20"/>
                  </a:lnTo>
                  <a:lnTo>
                    <a:pt x="86" y="21"/>
                  </a:lnTo>
                  <a:lnTo>
                    <a:pt x="89" y="22"/>
                  </a:lnTo>
                  <a:lnTo>
                    <a:pt x="92" y="23"/>
                  </a:lnTo>
                  <a:lnTo>
                    <a:pt x="93" y="22"/>
                  </a:lnTo>
                  <a:lnTo>
                    <a:pt x="94" y="21"/>
                  </a:lnTo>
                  <a:lnTo>
                    <a:pt x="95" y="20"/>
                  </a:lnTo>
                  <a:lnTo>
                    <a:pt x="98" y="18"/>
                  </a:lnTo>
                  <a:lnTo>
                    <a:pt x="101" y="13"/>
                  </a:lnTo>
                  <a:lnTo>
                    <a:pt x="102" y="13"/>
                  </a:lnTo>
                  <a:lnTo>
                    <a:pt x="102" y="13"/>
                  </a:lnTo>
                  <a:lnTo>
                    <a:pt x="104" y="12"/>
                  </a:lnTo>
                  <a:lnTo>
                    <a:pt x="106" y="12"/>
                  </a:lnTo>
                  <a:lnTo>
                    <a:pt x="109" y="13"/>
                  </a:lnTo>
                  <a:lnTo>
                    <a:pt x="113" y="13"/>
                  </a:lnTo>
                  <a:lnTo>
                    <a:pt x="114" y="13"/>
                  </a:lnTo>
                  <a:lnTo>
                    <a:pt x="115" y="13"/>
                  </a:lnTo>
                  <a:lnTo>
                    <a:pt x="118" y="11"/>
                  </a:lnTo>
                  <a:lnTo>
                    <a:pt x="119" y="10"/>
                  </a:lnTo>
                  <a:lnTo>
                    <a:pt x="119" y="10"/>
                  </a:lnTo>
                  <a:lnTo>
                    <a:pt x="121" y="7"/>
                  </a:lnTo>
                  <a:lnTo>
                    <a:pt x="122" y="5"/>
                  </a:lnTo>
                  <a:lnTo>
                    <a:pt x="124" y="3"/>
                  </a:lnTo>
                  <a:lnTo>
                    <a:pt x="127" y="0"/>
                  </a:lnTo>
                  <a:lnTo>
                    <a:pt x="127" y="0"/>
                  </a:lnTo>
                  <a:close/>
                </a:path>
              </a:pathLst>
            </a:custGeom>
            <a:solidFill>
              <a:srgbClr val="EFF3FF"/>
            </a:solidFill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101">
              <a:extLst>
                <a:ext uri="{FF2B5EF4-FFF2-40B4-BE49-F238E27FC236}">
                  <a16:creationId xmlns:a16="http://schemas.microsoft.com/office/drawing/2014/main" id="{9A028F42-6FE8-E511-E528-298E9302F5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186" y="5395750"/>
              <a:ext cx="1076325" cy="930275"/>
            </a:xfrm>
            <a:custGeom>
              <a:avLst/>
              <a:gdLst>
                <a:gd name="T0" fmla="*/ 141 w 678"/>
                <a:gd name="T1" fmla="*/ 7 h 586"/>
                <a:gd name="T2" fmla="*/ 179 w 678"/>
                <a:gd name="T3" fmla="*/ 19 h 586"/>
                <a:gd name="T4" fmla="*/ 197 w 678"/>
                <a:gd name="T5" fmla="*/ 39 h 586"/>
                <a:gd name="T6" fmla="*/ 244 w 678"/>
                <a:gd name="T7" fmla="*/ 42 h 586"/>
                <a:gd name="T8" fmla="*/ 296 w 678"/>
                <a:gd name="T9" fmla="*/ 62 h 586"/>
                <a:gd name="T10" fmla="*/ 324 w 678"/>
                <a:gd name="T11" fmla="*/ 74 h 586"/>
                <a:gd name="T12" fmla="*/ 364 w 678"/>
                <a:gd name="T13" fmla="*/ 65 h 586"/>
                <a:gd name="T14" fmla="*/ 394 w 678"/>
                <a:gd name="T15" fmla="*/ 40 h 586"/>
                <a:gd name="T16" fmla="*/ 410 w 678"/>
                <a:gd name="T17" fmla="*/ 47 h 586"/>
                <a:gd name="T18" fmla="*/ 434 w 678"/>
                <a:gd name="T19" fmla="*/ 51 h 586"/>
                <a:gd name="T20" fmla="*/ 447 w 678"/>
                <a:gd name="T21" fmla="*/ 68 h 586"/>
                <a:gd name="T22" fmla="*/ 470 w 678"/>
                <a:gd name="T23" fmla="*/ 95 h 586"/>
                <a:gd name="T24" fmla="*/ 510 w 678"/>
                <a:gd name="T25" fmla="*/ 107 h 586"/>
                <a:gd name="T26" fmla="*/ 601 w 678"/>
                <a:gd name="T27" fmla="*/ 105 h 586"/>
                <a:gd name="T28" fmla="*/ 629 w 678"/>
                <a:gd name="T29" fmla="*/ 94 h 586"/>
                <a:gd name="T30" fmla="*/ 644 w 678"/>
                <a:gd name="T31" fmla="*/ 75 h 586"/>
                <a:gd name="T32" fmla="*/ 652 w 678"/>
                <a:gd name="T33" fmla="*/ 92 h 586"/>
                <a:gd name="T34" fmla="*/ 652 w 678"/>
                <a:gd name="T35" fmla="*/ 145 h 586"/>
                <a:gd name="T36" fmla="*/ 677 w 678"/>
                <a:gd name="T37" fmla="*/ 182 h 586"/>
                <a:gd name="T38" fmla="*/ 668 w 678"/>
                <a:gd name="T39" fmla="*/ 201 h 586"/>
                <a:gd name="T40" fmla="*/ 639 w 678"/>
                <a:gd name="T41" fmla="*/ 226 h 586"/>
                <a:gd name="T42" fmla="*/ 606 w 678"/>
                <a:gd name="T43" fmla="*/ 244 h 586"/>
                <a:gd name="T44" fmla="*/ 591 w 678"/>
                <a:gd name="T45" fmla="*/ 274 h 586"/>
                <a:gd name="T46" fmla="*/ 584 w 678"/>
                <a:gd name="T47" fmla="*/ 312 h 586"/>
                <a:gd name="T48" fmla="*/ 574 w 678"/>
                <a:gd name="T49" fmla="*/ 336 h 586"/>
                <a:gd name="T50" fmla="*/ 585 w 678"/>
                <a:gd name="T51" fmla="*/ 365 h 586"/>
                <a:gd name="T52" fmla="*/ 584 w 678"/>
                <a:gd name="T53" fmla="*/ 379 h 586"/>
                <a:gd name="T54" fmla="*/ 570 w 678"/>
                <a:gd name="T55" fmla="*/ 385 h 586"/>
                <a:gd name="T56" fmla="*/ 527 w 678"/>
                <a:gd name="T57" fmla="*/ 367 h 586"/>
                <a:gd name="T58" fmla="*/ 474 w 678"/>
                <a:gd name="T59" fmla="*/ 367 h 586"/>
                <a:gd name="T60" fmla="*/ 411 w 678"/>
                <a:gd name="T61" fmla="*/ 379 h 586"/>
                <a:gd name="T62" fmla="*/ 379 w 678"/>
                <a:gd name="T63" fmla="*/ 379 h 586"/>
                <a:gd name="T64" fmla="*/ 376 w 678"/>
                <a:gd name="T65" fmla="*/ 409 h 586"/>
                <a:gd name="T66" fmla="*/ 384 w 678"/>
                <a:gd name="T67" fmla="*/ 464 h 586"/>
                <a:gd name="T68" fmla="*/ 393 w 678"/>
                <a:gd name="T69" fmla="*/ 515 h 586"/>
                <a:gd name="T70" fmla="*/ 375 w 678"/>
                <a:gd name="T71" fmla="*/ 559 h 586"/>
                <a:gd name="T72" fmla="*/ 347 w 678"/>
                <a:gd name="T73" fmla="*/ 573 h 586"/>
                <a:gd name="T74" fmla="*/ 326 w 678"/>
                <a:gd name="T75" fmla="*/ 576 h 586"/>
                <a:gd name="T76" fmla="*/ 281 w 678"/>
                <a:gd name="T77" fmla="*/ 551 h 586"/>
                <a:gd name="T78" fmla="*/ 243 w 678"/>
                <a:gd name="T79" fmla="*/ 531 h 586"/>
                <a:gd name="T80" fmla="*/ 226 w 678"/>
                <a:gd name="T81" fmla="*/ 477 h 586"/>
                <a:gd name="T82" fmla="*/ 203 w 678"/>
                <a:gd name="T83" fmla="*/ 454 h 586"/>
                <a:gd name="T84" fmla="*/ 181 w 678"/>
                <a:gd name="T85" fmla="*/ 402 h 586"/>
                <a:gd name="T86" fmla="*/ 148 w 678"/>
                <a:gd name="T87" fmla="*/ 394 h 586"/>
                <a:gd name="T88" fmla="*/ 115 w 678"/>
                <a:gd name="T89" fmla="*/ 384 h 586"/>
                <a:gd name="T90" fmla="*/ 75 w 678"/>
                <a:gd name="T91" fmla="*/ 308 h 586"/>
                <a:gd name="T92" fmla="*/ 57 w 678"/>
                <a:gd name="T93" fmla="*/ 301 h 586"/>
                <a:gd name="T94" fmla="*/ 34 w 678"/>
                <a:gd name="T95" fmla="*/ 275 h 586"/>
                <a:gd name="T96" fmla="*/ 8 w 678"/>
                <a:gd name="T97" fmla="*/ 270 h 586"/>
                <a:gd name="T98" fmla="*/ 0 w 678"/>
                <a:gd name="T99" fmla="*/ 232 h 586"/>
                <a:gd name="T100" fmla="*/ 13 w 678"/>
                <a:gd name="T101" fmla="*/ 184 h 586"/>
                <a:gd name="T102" fmla="*/ 40 w 678"/>
                <a:gd name="T103" fmla="*/ 159 h 586"/>
                <a:gd name="T104" fmla="*/ 56 w 678"/>
                <a:gd name="T105" fmla="*/ 140 h 586"/>
                <a:gd name="T106" fmla="*/ 47 w 678"/>
                <a:gd name="T107" fmla="*/ 91 h 586"/>
                <a:gd name="T108" fmla="*/ 52 w 678"/>
                <a:gd name="T109" fmla="*/ 40 h 586"/>
                <a:gd name="T110" fmla="*/ 74 w 678"/>
                <a:gd name="T111" fmla="*/ 27 h 586"/>
                <a:gd name="T112" fmla="*/ 99 w 678"/>
                <a:gd name="T113" fmla="*/ 22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78" h="586">
                  <a:moveTo>
                    <a:pt x="132" y="0"/>
                  </a:moveTo>
                  <a:lnTo>
                    <a:pt x="135" y="2"/>
                  </a:lnTo>
                  <a:lnTo>
                    <a:pt x="137" y="1"/>
                  </a:lnTo>
                  <a:lnTo>
                    <a:pt x="137" y="1"/>
                  </a:lnTo>
                  <a:lnTo>
                    <a:pt x="138" y="2"/>
                  </a:lnTo>
                  <a:lnTo>
                    <a:pt x="139" y="2"/>
                  </a:lnTo>
                  <a:lnTo>
                    <a:pt x="140" y="5"/>
                  </a:lnTo>
                  <a:lnTo>
                    <a:pt x="140" y="6"/>
                  </a:lnTo>
                  <a:lnTo>
                    <a:pt x="140" y="6"/>
                  </a:lnTo>
                  <a:lnTo>
                    <a:pt x="141" y="7"/>
                  </a:lnTo>
                  <a:lnTo>
                    <a:pt x="143" y="8"/>
                  </a:lnTo>
                  <a:lnTo>
                    <a:pt x="145" y="9"/>
                  </a:lnTo>
                  <a:lnTo>
                    <a:pt x="147" y="10"/>
                  </a:lnTo>
                  <a:lnTo>
                    <a:pt x="150" y="10"/>
                  </a:lnTo>
                  <a:lnTo>
                    <a:pt x="161" y="12"/>
                  </a:lnTo>
                  <a:lnTo>
                    <a:pt x="167" y="14"/>
                  </a:lnTo>
                  <a:lnTo>
                    <a:pt x="171" y="15"/>
                  </a:lnTo>
                  <a:lnTo>
                    <a:pt x="174" y="16"/>
                  </a:lnTo>
                  <a:lnTo>
                    <a:pt x="177" y="17"/>
                  </a:lnTo>
                  <a:lnTo>
                    <a:pt x="179" y="19"/>
                  </a:lnTo>
                  <a:lnTo>
                    <a:pt x="182" y="20"/>
                  </a:lnTo>
                  <a:lnTo>
                    <a:pt x="184" y="22"/>
                  </a:lnTo>
                  <a:lnTo>
                    <a:pt x="185" y="23"/>
                  </a:lnTo>
                  <a:lnTo>
                    <a:pt x="187" y="25"/>
                  </a:lnTo>
                  <a:lnTo>
                    <a:pt x="188" y="26"/>
                  </a:lnTo>
                  <a:lnTo>
                    <a:pt x="189" y="28"/>
                  </a:lnTo>
                  <a:lnTo>
                    <a:pt x="192" y="35"/>
                  </a:lnTo>
                  <a:lnTo>
                    <a:pt x="194" y="36"/>
                  </a:lnTo>
                  <a:lnTo>
                    <a:pt x="195" y="37"/>
                  </a:lnTo>
                  <a:lnTo>
                    <a:pt x="197" y="39"/>
                  </a:lnTo>
                  <a:lnTo>
                    <a:pt x="199" y="40"/>
                  </a:lnTo>
                  <a:lnTo>
                    <a:pt x="201" y="41"/>
                  </a:lnTo>
                  <a:lnTo>
                    <a:pt x="204" y="42"/>
                  </a:lnTo>
                  <a:lnTo>
                    <a:pt x="206" y="42"/>
                  </a:lnTo>
                  <a:lnTo>
                    <a:pt x="208" y="43"/>
                  </a:lnTo>
                  <a:lnTo>
                    <a:pt x="212" y="43"/>
                  </a:lnTo>
                  <a:lnTo>
                    <a:pt x="215" y="43"/>
                  </a:lnTo>
                  <a:lnTo>
                    <a:pt x="225" y="42"/>
                  </a:lnTo>
                  <a:lnTo>
                    <a:pt x="231" y="42"/>
                  </a:lnTo>
                  <a:lnTo>
                    <a:pt x="244" y="42"/>
                  </a:lnTo>
                  <a:lnTo>
                    <a:pt x="256" y="43"/>
                  </a:lnTo>
                  <a:lnTo>
                    <a:pt x="281" y="44"/>
                  </a:lnTo>
                  <a:lnTo>
                    <a:pt x="283" y="45"/>
                  </a:lnTo>
                  <a:lnTo>
                    <a:pt x="284" y="45"/>
                  </a:lnTo>
                  <a:lnTo>
                    <a:pt x="287" y="46"/>
                  </a:lnTo>
                  <a:lnTo>
                    <a:pt x="288" y="47"/>
                  </a:lnTo>
                  <a:lnTo>
                    <a:pt x="290" y="50"/>
                  </a:lnTo>
                  <a:lnTo>
                    <a:pt x="292" y="53"/>
                  </a:lnTo>
                  <a:lnTo>
                    <a:pt x="294" y="57"/>
                  </a:lnTo>
                  <a:lnTo>
                    <a:pt x="296" y="62"/>
                  </a:lnTo>
                  <a:lnTo>
                    <a:pt x="299" y="70"/>
                  </a:lnTo>
                  <a:lnTo>
                    <a:pt x="301" y="73"/>
                  </a:lnTo>
                  <a:lnTo>
                    <a:pt x="302" y="75"/>
                  </a:lnTo>
                  <a:lnTo>
                    <a:pt x="302" y="75"/>
                  </a:lnTo>
                  <a:lnTo>
                    <a:pt x="304" y="75"/>
                  </a:lnTo>
                  <a:lnTo>
                    <a:pt x="304" y="76"/>
                  </a:lnTo>
                  <a:lnTo>
                    <a:pt x="307" y="76"/>
                  </a:lnTo>
                  <a:lnTo>
                    <a:pt x="314" y="74"/>
                  </a:lnTo>
                  <a:lnTo>
                    <a:pt x="318" y="74"/>
                  </a:lnTo>
                  <a:lnTo>
                    <a:pt x="324" y="74"/>
                  </a:lnTo>
                  <a:lnTo>
                    <a:pt x="332" y="74"/>
                  </a:lnTo>
                  <a:lnTo>
                    <a:pt x="337" y="74"/>
                  </a:lnTo>
                  <a:lnTo>
                    <a:pt x="339" y="74"/>
                  </a:lnTo>
                  <a:lnTo>
                    <a:pt x="340" y="74"/>
                  </a:lnTo>
                  <a:lnTo>
                    <a:pt x="342" y="73"/>
                  </a:lnTo>
                  <a:lnTo>
                    <a:pt x="344" y="72"/>
                  </a:lnTo>
                  <a:lnTo>
                    <a:pt x="353" y="68"/>
                  </a:lnTo>
                  <a:lnTo>
                    <a:pt x="357" y="67"/>
                  </a:lnTo>
                  <a:lnTo>
                    <a:pt x="359" y="66"/>
                  </a:lnTo>
                  <a:lnTo>
                    <a:pt x="364" y="65"/>
                  </a:lnTo>
                  <a:lnTo>
                    <a:pt x="377" y="63"/>
                  </a:lnTo>
                  <a:lnTo>
                    <a:pt x="379" y="62"/>
                  </a:lnTo>
                  <a:lnTo>
                    <a:pt x="381" y="62"/>
                  </a:lnTo>
                  <a:lnTo>
                    <a:pt x="382" y="61"/>
                  </a:lnTo>
                  <a:lnTo>
                    <a:pt x="383" y="60"/>
                  </a:lnTo>
                  <a:lnTo>
                    <a:pt x="384" y="59"/>
                  </a:lnTo>
                  <a:lnTo>
                    <a:pt x="387" y="54"/>
                  </a:lnTo>
                  <a:lnTo>
                    <a:pt x="392" y="44"/>
                  </a:lnTo>
                  <a:lnTo>
                    <a:pt x="394" y="41"/>
                  </a:lnTo>
                  <a:lnTo>
                    <a:pt x="394" y="40"/>
                  </a:lnTo>
                  <a:lnTo>
                    <a:pt x="396" y="39"/>
                  </a:lnTo>
                  <a:lnTo>
                    <a:pt x="397" y="38"/>
                  </a:lnTo>
                  <a:lnTo>
                    <a:pt x="399" y="37"/>
                  </a:lnTo>
                  <a:lnTo>
                    <a:pt x="401" y="38"/>
                  </a:lnTo>
                  <a:lnTo>
                    <a:pt x="401" y="38"/>
                  </a:lnTo>
                  <a:lnTo>
                    <a:pt x="402" y="39"/>
                  </a:lnTo>
                  <a:lnTo>
                    <a:pt x="404" y="40"/>
                  </a:lnTo>
                  <a:lnTo>
                    <a:pt x="406" y="42"/>
                  </a:lnTo>
                  <a:lnTo>
                    <a:pt x="408" y="45"/>
                  </a:lnTo>
                  <a:lnTo>
                    <a:pt x="410" y="47"/>
                  </a:lnTo>
                  <a:lnTo>
                    <a:pt x="412" y="49"/>
                  </a:lnTo>
                  <a:lnTo>
                    <a:pt x="414" y="50"/>
                  </a:lnTo>
                  <a:lnTo>
                    <a:pt x="416" y="51"/>
                  </a:lnTo>
                  <a:lnTo>
                    <a:pt x="416" y="51"/>
                  </a:lnTo>
                  <a:lnTo>
                    <a:pt x="420" y="51"/>
                  </a:lnTo>
                  <a:lnTo>
                    <a:pt x="422" y="51"/>
                  </a:lnTo>
                  <a:lnTo>
                    <a:pt x="429" y="50"/>
                  </a:lnTo>
                  <a:lnTo>
                    <a:pt x="432" y="50"/>
                  </a:lnTo>
                  <a:lnTo>
                    <a:pt x="434" y="51"/>
                  </a:lnTo>
                  <a:lnTo>
                    <a:pt x="434" y="51"/>
                  </a:lnTo>
                  <a:lnTo>
                    <a:pt x="436" y="52"/>
                  </a:lnTo>
                  <a:lnTo>
                    <a:pt x="436" y="52"/>
                  </a:lnTo>
                  <a:lnTo>
                    <a:pt x="439" y="54"/>
                  </a:lnTo>
                  <a:lnTo>
                    <a:pt x="439" y="56"/>
                  </a:lnTo>
                  <a:lnTo>
                    <a:pt x="440" y="58"/>
                  </a:lnTo>
                  <a:lnTo>
                    <a:pt x="442" y="62"/>
                  </a:lnTo>
                  <a:lnTo>
                    <a:pt x="443" y="64"/>
                  </a:lnTo>
                  <a:lnTo>
                    <a:pt x="444" y="65"/>
                  </a:lnTo>
                  <a:lnTo>
                    <a:pt x="445" y="66"/>
                  </a:lnTo>
                  <a:lnTo>
                    <a:pt x="447" y="68"/>
                  </a:lnTo>
                  <a:lnTo>
                    <a:pt x="453" y="74"/>
                  </a:lnTo>
                  <a:lnTo>
                    <a:pt x="456" y="77"/>
                  </a:lnTo>
                  <a:lnTo>
                    <a:pt x="457" y="78"/>
                  </a:lnTo>
                  <a:lnTo>
                    <a:pt x="459" y="80"/>
                  </a:lnTo>
                  <a:lnTo>
                    <a:pt x="463" y="87"/>
                  </a:lnTo>
                  <a:lnTo>
                    <a:pt x="465" y="90"/>
                  </a:lnTo>
                  <a:lnTo>
                    <a:pt x="466" y="91"/>
                  </a:lnTo>
                  <a:lnTo>
                    <a:pt x="467" y="92"/>
                  </a:lnTo>
                  <a:lnTo>
                    <a:pt x="469" y="94"/>
                  </a:lnTo>
                  <a:lnTo>
                    <a:pt x="470" y="95"/>
                  </a:lnTo>
                  <a:lnTo>
                    <a:pt x="472" y="96"/>
                  </a:lnTo>
                  <a:lnTo>
                    <a:pt x="475" y="97"/>
                  </a:lnTo>
                  <a:lnTo>
                    <a:pt x="477" y="97"/>
                  </a:lnTo>
                  <a:lnTo>
                    <a:pt x="484" y="98"/>
                  </a:lnTo>
                  <a:lnTo>
                    <a:pt x="489" y="100"/>
                  </a:lnTo>
                  <a:lnTo>
                    <a:pt x="492" y="100"/>
                  </a:lnTo>
                  <a:lnTo>
                    <a:pt x="498" y="103"/>
                  </a:lnTo>
                  <a:lnTo>
                    <a:pt x="501" y="105"/>
                  </a:lnTo>
                  <a:lnTo>
                    <a:pt x="504" y="105"/>
                  </a:lnTo>
                  <a:lnTo>
                    <a:pt x="510" y="107"/>
                  </a:lnTo>
                  <a:lnTo>
                    <a:pt x="520" y="107"/>
                  </a:lnTo>
                  <a:lnTo>
                    <a:pt x="525" y="107"/>
                  </a:lnTo>
                  <a:lnTo>
                    <a:pt x="536" y="107"/>
                  </a:lnTo>
                  <a:lnTo>
                    <a:pt x="550" y="106"/>
                  </a:lnTo>
                  <a:lnTo>
                    <a:pt x="561" y="105"/>
                  </a:lnTo>
                  <a:lnTo>
                    <a:pt x="574" y="105"/>
                  </a:lnTo>
                  <a:lnTo>
                    <a:pt x="580" y="105"/>
                  </a:lnTo>
                  <a:lnTo>
                    <a:pt x="591" y="105"/>
                  </a:lnTo>
                  <a:lnTo>
                    <a:pt x="596" y="105"/>
                  </a:lnTo>
                  <a:lnTo>
                    <a:pt x="601" y="105"/>
                  </a:lnTo>
                  <a:lnTo>
                    <a:pt x="605" y="104"/>
                  </a:lnTo>
                  <a:lnTo>
                    <a:pt x="608" y="103"/>
                  </a:lnTo>
                  <a:lnTo>
                    <a:pt x="611" y="103"/>
                  </a:lnTo>
                  <a:lnTo>
                    <a:pt x="614" y="102"/>
                  </a:lnTo>
                  <a:lnTo>
                    <a:pt x="616" y="101"/>
                  </a:lnTo>
                  <a:lnTo>
                    <a:pt x="619" y="100"/>
                  </a:lnTo>
                  <a:lnTo>
                    <a:pt x="622" y="98"/>
                  </a:lnTo>
                  <a:lnTo>
                    <a:pt x="624" y="97"/>
                  </a:lnTo>
                  <a:lnTo>
                    <a:pt x="627" y="95"/>
                  </a:lnTo>
                  <a:lnTo>
                    <a:pt x="629" y="94"/>
                  </a:lnTo>
                  <a:lnTo>
                    <a:pt x="631" y="92"/>
                  </a:lnTo>
                  <a:lnTo>
                    <a:pt x="634" y="90"/>
                  </a:lnTo>
                  <a:lnTo>
                    <a:pt x="636" y="87"/>
                  </a:lnTo>
                  <a:lnTo>
                    <a:pt x="639" y="84"/>
                  </a:lnTo>
                  <a:lnTo>
                    <a:pt x="641" y="82"/>
                  </a:lnTo>
                  <a:lnTo>
                    <a:pt x="641" y="80"/>
                  </a:lnTo>
                  <a:lnTo>
                    <a:pt x="642" y="78"/>
                  </a:lnTo>
                  <a:lnTo>
                    <a:pt x="643" y="76"/>
                  </a:lnTo>
                  <a:lnTo>
                    <a:pt x="643" y="75"/>
                  </a:lnTo>
                  <a:lnTo>
                    <a:pt x="644" y="75"/>
                  </a:lnTo>
                  <a:lnTo>
                    <a:pt x="646" y="75"/>
                  </a:lnTo>
                  <a:lnTo>
                    <a:pt x="647" y="75"/>
                  </a:lnTo>
                  <a:lnTo>
                    <a:pt x="648" y="77"/>
                  </a:lnTo>
                  <a:lnTo>
                    <a:pt x="650" y="78"/>
                  </a:lnTo>
                  <a:lnTo>
                    <a:pt x="651" y="79"/>
                  </a:lnTo>
                  <a:lnTo>
                    <a:pt x="651" y="80"/>
                  </a:lnTo>
                  <a:lnTo>
                    <a:pt x="652" y="82"/>
                  </a:lnTo>
                  <a:lnTo>
                    <a:pt x="652" y="85"/>
                  </a:lnTo>
                  <a:lnTo>
                    <a:pt x="652" y="87"/>
                  </a:lnTo>
                  <a:lnTo>
                    <a:pt x="652" y="92"/>
                  </a:lnTo>
                  <a:lnTo>
                    <a:pt x="651" y="110"/>
                  </a:lnTo>
                  <a:lnTo>
                    <a:pt x="651" y="114"/>
                  </a:lnTo>
                  <a:lnTo>
                    <a:pt x="649" y="122"/>
                  </a:lnTo>
                  <a:lnTo>
                    <a:pt x="648" y="127"/>
                  </a:lnTo>
                  <a:lnTo>
                    <a:pt x="648" y="131"/>
                  </a:lnTo>
                  <a:lnTo>
                    <a:pt x="648" y="134"/>
                  </a:lnTo>
                  <a:lnTo>
                    <a:pt x="649" y="137"/>
                  </a:lnTo>
                  <a:lnTo>
                    <a:pt x="650" y="140"/>
                  </a:lnTo>
                  <a:lnTo>
                    <a:pt x="651" y="142"/>
                  </a:lnTo>
                  <a:lnTo>
                    <a:pt x="652" y="145"/>
                  </a:lnTo>
                  <a:lnTo>
                    <a:pt x="653" y="146"/>
                  </a:lnTo>
                  <a:lnTo>
                    <a:pt x="654" y="149"/>
                  </a:lnTo>
                  <a:lnTo>
                    <a:pt x="656" y="150"/>
                  </a:lnTo>
                  <a:lnTo>
                    <a:pt x="658" y="152"/>
                  </a:lnTo>
                  <a:lnTo>
                    <a:pt x="663" y="158"/>
                  </a:lnTo>
                  <a:lnTo>
                    <a:pt x="666" y="160"/>
                  </a:lnTo>
                  <a:lnTo>
                    <a:pt x="668" y="163"/>
                  </a:lnTo>
                  <a:lnTo>
                    <a:pt x="670" y="167"/>
                  </a:lnTo>
                  <a:lnTo>
                    <a:pt x="676" y="179"/>
                  </a:lnTo>
                  <a:lnTo>
                    <a:pt x="677" y="182"/>
                  </a:lnTo>
                  <a:lnTo>
                    <a:pt x="678" y="185"/>
                  </a:lnTo>
                  <a:lnTo>
                    <a:pt x="678" y="187"/>
                  </a:lnTo>
                  <a:lnTo>
                    <a:pt x="678" y="189"/>
                  </a:lnTo>
                  <a:lnTo>
                    <a:pt x="677" y="192"/>
                  </a:lnTo>
                  <a:lnTo>
                    <a:pt x="677" y="194"/>
                  </a:lnTo>
                  <a:lnTo>
                    <a:pt x="677" y="195"/>
                  </a:lnTo>
                  <a:lnTo>
                    <a:pt x="676" y="196"/>
                  </a:lnTo>
                  <a:lnTo>
                    <a:pt x="676" y="197"/>
                  </a:lnTo>
                  <a:lnTo>
                    <a:pt x="673" y="198"/>
                  </a:lnTo>
                  <a:lnTo>
                    <a:pt x="668" y="201"/>
                  </a:lnTo>
                  <a:lnTo>
                    <a:pt x="667" y="202"/>
                  </a:lnTo>
                  <a:lnTo>
                    <a:pt x="666" y="203"/>
                  </a:lnTo>
                  <a:lnTo>
                    <a:pt x="663" y="205"/>
                  </a:lnTo>
                  <a:lnTo>
                    <a:pt x="660" y="209"/>
                  </a:lnTo>
                  <a:lnTo>
                    <a:pt x="658" y="213"/>
                  </a:lnTo>
                  <a:lnTo>
                    <a:pt x="654" y="216"/>
                  </a:lnTo>
                  <a:lnTo>
                    <a:pt x="648" y="220"/>
                  </a:lnTo>
                  <a:lnTo>
                    <a:pt x="646" y="222"/>
                  </a:lnTo>
                  <a:lnTo>
                    <a:pt x="643" y="224"/>
                  </a:lnTo>
                  <a:lnTo>
                    <a:pt x="639" y="226"/>
                  </a:lnTo>
                  <a:lnTo>
                    <a:pt x="636" y="227"/>
                  </a:lnTo>
                  <a:lnTo>
                    <a:pt x="633" y="229"/>
                  </a:lnTo>
                  <a:lnTo>
                    <a:pt x="628" y="231"/>
                  </a:lnTo>
                  <a:lnTo>
                    <a:pt x="620" y="234"/>
                  </a:lnTo>
                  <a:lnTo>
                    <a:pt x="618" y="234"/>
                  </a:lnTo>
                  <a:lnTo>
                    <a:pt x="618" y="234"/>
                  </a:lnTo>
                  <a:lnTo>
                    <a:pt x="615" y="237"/>
                  </a:lnTo>
                  <a:lnTo>
                    <a:pt x="611" y="239"/>
                  </a:lnTo>
                  <a:lnTo>
                    <a:pt x="608" y="241"/>
                  </a:lnTo>
                  <a:lnTo>
                    <a:pt x="606" y="244"/>
                  </a:lnTo>
                  <a:lnTo>
                    <a:pt x="603" y="247"/>
                  </a:lnTo>
                  <a:lnTo>
                    <a:pt x="601" y="250"/>
                  </a:lnTo>
                  <a:lnTo>
                    <a:pt x="599" y="253"/>
                  </a:lnTo>
                  <a:lnTo>
                    <a:pt x="599" y="255"/>
                  </a:lnTo>
                  <a:lnTo>
                    <a:pt x="598" y="257"/>
                  </a:lnTo>
                  <a:lnTo>
                    <a:pt x="596" y="263"/>
                  </a:lnTo>
                  <a:lnTo>
                    <a:pt x="596" y="264"/>
                  </a:lnTo>
                  <a:lnTo>
                    <a:pt x="595" y="267"/>
                  </a:lnTo>
                  <a:lnTo>
                    <a:pt x="591" y="272"/>
                  </a:lnTo>
                  <a:lnTo>
                    <a:pt x="591" y="274"/>
                  </a:lnTo>
                  <a:lnTo>
                    <a:pt x="590" y="275"/>
                  </a:lnTo>
                  <a:lnTo>
                    <a:pt x="590" y="277"/>
                  </a:lnTo>
                  <a:lnTo>
                    <a:pt x="589" y="279"/>
                  </a:lnTo>
                  <a:lnTo>
                    <a:pt x="589" y="284"/>
                  </a:lnTo>
                  <a:lnTo>
                    <a:pt x="589" y="290"/>
                  </a:lnTo>
                  <a:lnTo>
                    <a:pt x="589" y="294"/>
                  </a:lnTo>
                  <a:lnTo>
                    <a:pt x="588" y="297"/>
                  </a:lnTo>
                  <a:lnTo>
                    <a:pt x="587" y="299"/>
                  </a:lnTo>
                  <a:lnTo>
                    <a:pt x="585" y="306"/>
                  </a:lnTo>
                  <a:lnTo>
                    <a:pt x="584" y="312"/>
                  </a:lnTo>
                  <a:lnTo>
                    <a:pt x="584" y="312"/>
                  </a:lnTo>
                  <a:lnTo>
                    <a:pt x="583" y="313"/>
                  </a:lnTo>
                  <a:lnTo>
                    <a:pt x="581" y="316"/>
                  </a:lnTo>
                  <a:lnTo>
                    <a:pt x="579" y="317"/>
                  </a:lnTo>
                  <a:lnTo>
                    <a:pt x="576" y="323"/>
                  </a:lnTo>
                  <a:lnTo>
                    <a:pt x="576" y="326"/>
                  </a:lnTo>
                  <a:lnTo>
                    <a:pt x="575" y="328"/>
                  </a:lnTo>
                  <a:lnTo>
                    <a:pt x="574" y="332"/>
                  </a:lnTo>
                  <a:lnTo>
                    <a:pt x="574" y="334"/>
                  </a:lnTo>
                  <a:lnTo>
                    <a:pt x="574" y="336"/>
                  </a:lnTo>
                  <a:lnTo>
                    <a:pt x="574" y="339"/>
                  </a:lnTo>
                  <a:lnTo>
                    <a:pt x="576" y="344"/>
                  </a:lnTo>
                  <a:lnTo>
                    <a:pt x="576" y="347"/>
                  </a:lnTo>
                  <a:lnTo>
                    <a:pt x="576" y="349"/>
                  </a:lnTo>
                  <a:lnTo>
                    <a:pt x="577" y="352"/>
                  </a:lnTo>
                  <a:lnTo>
                    <a:pt x="578" y="353"/>
                  </a:lnTo>
                  <a:lnTo>
                    <a:pt x="579" y="354"/>
                  </a:lnTo>
                  <a:lnTo>
                    <a:pt x="582" y="359"/>
                  </a:lnTo>
                  <a:lnTo>
                    <a:pt x="585" y="364"/>
                  </a:lnTo>
                  <a:lnTo>
                    <a:pt x="585" y="365"/>
                  </a:lnTo>
                  <a:lnTo>
                    <a:pt x="585" y="366"/>
                  </a:lnTo>
                  <a:lnTo>
                    <a:pt x="585" y="367"/>
                  </a:lnTo>
                  <a:lnTo>
                    <a:pt x="584" y="369"/>
                  </a:lnTo>
                  <a:lnTo>
                    <a:pt x="584" y="370"/>
                  </a:lnTo>
                  <a:lnTo>
                    <a:pt x="584" y="372"/>
                  </a:lnTo>
                  <a:lnTo>
                    <a:pt x="586" y="374"/>
                  </a:lnTo>
                  <a:lnTo>
                    <a:pt x="586" y="375"/>
                  </a:lnTo>
                  <a:lnTo>
                    <a:pt x="586" y="377"/>
                  </a:lnTo>
                  <a:lnTo>
                    <a:pt x="585" y="378"/>
                  </a:lnTo>
                  <a:lnTo>
                    <a:pt x="584" y="379"/>
                  </a:lnTo>
                  <a:lnTo>
                    <a:pt x="584" y="382"/>
                  </a:lnTo>
                  <a:lnTo>
                    <a:pt x="582" y="383"/>
                  </a:lnTo>
                  <a:lnTo>
                    <a:pt x="581" y="384"/>
                  </a:lnTo>
                  <a:lnTo>
                    <a:pt x="579" y="387"/>
                  </a:lnTo>
                  <a:lnTo>
                    <a:pt x="578" y="388"/>
                  </a:lnTo>
                  <a:lnTo>
                    <a:pt x="576" y="388"/>
                  </a:lnTo>
                  <a:lnTo>
                    <a:pt x="576" y="388"/>
                  </a:lnTo>
                  <a:lnTo>
                    <a:pt x="574" y="388"/>
                  </a:lnTo>
                  <a:lnTo>
                    <a:pt x="573" y="387"/>
                  </a:lnTo>
                  <a:lnTo>
                    <a:pt x="570" y="385"/>
                  </a:lnTo>
                  <a:lnTo>
                    <a:pt x="564" y="380"/>
                  </a:lnTo>
                  <a:lnTo>
                    <a:pt x="558" y="376"/>
                  </a:lnTo>
                  <a:lnTo>
                    <a:pt x="551" y="370"/>
                  </a:lnTo>
                  <a:lnTo>
                    <a:pt x="550" y="369"/>
                  </a:lnTo>
                  <a:lnTo>
                    <a:pt x="548" y="369"/>
                  </a:lnTo>
                  <a:lnTo>
                    <a:pt x="546" y="368"/>
                  </a:lnTo>
                  <a:lnTo>
                    <a:pt x="544" y="367"/>
                  </a:lnTo>
                  <a:lnTo>
                    <a:pt x="531" y="367"/>
                  </a:lnTo>
                  <a:lnTo>
                    <a:pt x="529" y="367"/>
                  </a:lnTo>
                  <a:lnTo>
                    <a:pt x="527" y="367"/>
                  </a:lnTo>
                  <a:lnTo>
                    <a:pt x="519" y="368"/>
                  </a:lnTo>
                  <a:lnTo>
                    <a:pt x="515" y="368"/>
                  </a:lnTo>
                  <a:lnTo>
                    <a:pt x="511" y="367"/>
                  </a:lnTo>
                  <a:lnTo>
                    <a:pt x="501" y="366"/>
                  </a:lnTo>
                  <a:lnTo>
                    <a:pt x="495" y="366"/>
                  </a:lnTo>
                  <a:lnTo>
                    <a:pt x="491" y="365"/>
                  </a:lnTo>
                  <a:lnTo>
                    <a:pt x="486" y="366"/>
                  </a:lnTo>
                  <a:lnTo>
                    <a:pt x="484" y="366"/>
                  </a:lnTo>
                  <a:lnTo>
                    <a:pt x="477" y="367"/>
                  </a:lnTo>
                  <a:lnTo>
                    <a:pt x="474" y="367"/>
                  </a:lnTo>
                  <a:lnTo>
                    <a:pt x="454" y="369"/>
                  </a:lnTo>
                  <a:lnTo>
                    <a:pt x="444" y="371"/>
                  </a:lnTo>
                  <a:lnTo>
                    <a:pt x="440" y="372"/>
                  </a:lnTo>
                  <a:lnTo>
                    <a:pt x="436" y="372"/>
                  </a:lnTo>
                  <a:lnTo>
                    <a:pt x="434" y="373"/>
                  </a:lnTo>
                  <a:lnTo>
                    <a:pt x="421" y="378"/>
                  </a:lnTo>
                  <a:lnTo>
                    <a:pt x="419" y="379"/>
                  </a:lnTo>
                  <a:lnTo>
                    <a:pt x="416" y="379"/>
                  </a:lnTo>
                  <a:lnTo>
                    <a:pt x="414" y="379"/>
                  </a:lnTo>
                  <a:lnTo>
                    <a:pt x="411" y="379"/>
                  </a:lnTo>
                  <a:lnTo>
                    <a:pt x="409" y="379"/>
                  </a:lnTo>
                  <a:lnTo>
                    <a:pt x="405" y="377"/>
                  </a:lnTo>
                  <a:lnTo>
                    <a:pt x="401" y="377"/>
                  </a:lnTo>
                  <a:lnTo>
                    <a:pt x="399" y="377"/>
                  </a:lnTo>
                  <a:lnTo>
                    <a:pt x="396" y="377"/>
                  </a:lnTo>
                  <a:lnTo>
                    <a:pt x="390" y="377"/>
                  </a:lnTo>
                  <a:lnTo>
                    <a:pt x="384" y="378"/>
                  </a:lnTo>
                  <a:lnTo>
                    <a:pt x="382" y="378"/>
                  </a:lnTo>
                  <a:lnTo>
                    <a:pt x="380" y="379"/>
                  </a:lnTo>
                  <a:lnTo>
                    <a:pt x="379" y="379"/>
                  </a:lnTo>
                  <a:lnTo>
                    <a:pt x="377" y="381"/>
                  </a:lnTo>
                  <a:lnTo>
                    <a:pt x="377" y="382"/>
                  </a:lnTo>
                  <a:lnTo>
                    <a:pt x="375" y="384"/>
                  </a:lnTo>
                  <a:lnTo>
                    <a:pt x="374" y="386"/>
                  </a:lnTo>
                  <a:lnTo>
                    <a:pt x="374" y="389"/>
                  </a:lnTo>
                  <a:lnTo>
                    <a:pt x="374" y="393"/>
                  </a:lnTo>
                  <a:lnTo>
                    <a:pt x="374" y="395"/>
                  </a:lnTo>
                  <a:lnTo>
                    <a:pt x="374" y="397"/>
                  </a:lnTo>
                  <a:lnTo>
                    <a:pt x="376" y="406"/>
                  </a:lnTo>
                  <a:lnTo>
                    <a:pt x="376" y="409"/>
                  </a:lnTo>
                  <a:lnTo>
                    <a:pt x="376" y="413"/>
                  </a:lnTo>
                  <a:lnTo>
                    <a:pt x="376" y="417"/>
                  </a:lnTo>
                  <a:lnTo>
                    <a:pt x="375" y="425"/>
                  </a:lnTo>
                  <a:lnTo>
                    <a:pt x="375" y="429"/>
                  </a:lnTo>
                  <a:lnTo>
                    <a:pt x="375" y="432"/>
                  </a:lnTo>
                  <a:lnTo>
                    <a:pt x="375" y="437"/>
                  </a:lnTo>
                  <a:lnTo>
                    <a:pt x="376" y="442"/>
                  </a:lnTo>
                  <a:lnTo>
                    <a:pt x="377" y="446"/>
                  </a:lnTo>
                  <a:lnTo>
                    <a:pt x="379" y="451"/>
                  </a:lnTo>
                  <a:lnTo>
                    <a:pt x="384" y="464"/>
                  </a:lnTo>
                  <a:lnTo>
                    <a:pt x="387" y="470"/>
                  </a:lnTo>
                  <a:lnTo>
                    <a:pt x="389" y="476"/>
                  </a:lnTo>
                  <a:lnTo>
                    <a:pt x="390" y="481"/>
                  </a:lnTo>
                  <a:lnTo>
                    <a:pt x="391" y="484"/>
                  </a:lnTo>
                  <a:lnTo>
                    <a:pt x="391" y="488"/>
                  </a:lnTo>
                  <a:lnTo>
                    <a:pt x="392" y="494"/>
                  </a:lnTo>
                  <a:lnTo>
                    <a:pt x="394" y="506"/>
                  </a:lnTo>
                  <a:lnTo>
                    <a:pt x="394" y="510"/>
                  </a:lnTo>
                  <a:lnTo>
                    <a:pt x="394" y="512"/>
                  </a:lnTo>
                  <a:lnTo>
                    <a:pt x="393" y="515"/>
                  </a:lnTo>
                  <a:lnTo>
                    <a:pt x="393" y="517"/>
                  </a:lnTo>
                  <a:lnTo>
                    <a:pt x="391" y="523"/>
                  </a:lnTo>
                  <a:lnTo>
                    <a:pt x="390" y="526"/>
                  </a:lnTo>
                  <a:lnTo>
                    <a:pt x="389" y="531"/>
                  </a:lnTo>
                  <a:lnTo>
                    <a:pt x="384" y="539"/>
                  </a:lnTo>
                  <a:lnTo>
                    <a:pt x="380" y="550"/>
                  </a:lnTo>
                  <a:lnTo>
                    <a:pt x="379" y="552"/>
                  </a:lnTo>
                  <a:lnTo>
                    <a:pt x="378" y="554"/>
                  </a:lnTo>
                  <a:lnTo>
                    <a:pt x="377" y="556"/>
                  </a:lnTo>
                  <a:lnTo>
                    <a:pt x="375" y="559"/>
                  </a:lnTo>
                  <a:lnTo>
                    <a:pt x="373" y="560"/>
                  </a:lnTo>
                  <a:lnTo>
                    <a:pt x="372" y="561"/>
                  </a:lnTo>
                  <a:lnTo>
                    <a:pt x="370" y="563"/>
                  </a:lnTo>
                  <a:lnTo>
                    <a:pt x="369" y="564"/>
                  </a:lnTo>
                  <a:lnTo>
                    <a:pt x="366" y="565"/>
                  </a:lnTo>
                  <a:lnTo>
                    <a:pt x="358" y="567"/>
                  </a:lnTo>
                  <a:lnTo>
                    <a:pt x="355" y="568"/>
                  </a:lnTo>
                  <a:lnTo>
                    <a:pt x="352" y="569"/>
                  </a:lnTo>
                  <a:lnTo>
                    <a:pt x="348" y="571"/>
                  </a:lnTo>
                  <a:lnTo>
                    <a:pt x="347" y="573"/>
                  </a:lnTo>
                  <a:lnTo>
                    <a:pt x="344" y="574"/>
                  </a:lnTo>
                  <a:lnTo>
                    <a:pt x="343" y="576"/>
                  </a:lnTo>
                  <a:lnTo>
                    <a:pt x="342" y="578"/>
                  </a:lnTo>
                  <a:lnTo>
                    <a:pt x="341" y="579"/>
                  </a:lnTo>
                  <a:lnTo>
                    <a:pt x="339" y="581"/>
                  </a:lnTo>
                  <a:lnTo>
                    <a:pt x="337" y="586"/>
                  </a:lnTo>
                  <a:lnTo>
                    <a:pt x="337" y="586"/>
                  </a:lnTo>
                  <a:lnTo>
                    <a:pt x="335" y="584"/>
                  </a:lnTo>
                  <a:lnTo>
                    <a:pt x="330" y="580"/>
                  </a:lnTo>
                  <a:lnTo>
                    <a:pt x="326" y="576"/>
                  </a:lnTo>
                  <a:lnTo>
                    <a:pt x="321" y="573"/>
                  </a:lnTo>
                  <a:lnTo>
                    <a:pt x="316" y="569"/>
                  </a:lnTo>
                  <a:lnTo>
                    <a:pt x="310" y="565"/>
                  </a:lnTo>
                  <a:lnTo>
                    <a:pt x="305" y="561"/>
                  </a:lnTo>
                  <a:lnTo>
                    <a:pt x="300" y="559"/>
                  </a:lnTo>
                  <a:lnTo>
                    <a:pt x="296" y="556"/>
                  </a:lnTo>
                  <a:lnTo>
                    <a:pt x="293" y="555"/>
                  </a:lnTo>
                  <a:lnTo>
                    <a:pt x="289" y="554"/>
                  </a:lnTo>
                  <a:lnTo>
                    <a:pt x="285" y="552"/>
                  </a:lnTo>
                  <a:lnTo>
                    <a:pt x="281" y="551"/>
                  </a:lnTo>
                  <a:lnTo>
                    <a:pt x="264" y="547"/>
                  </a:lnTo>
                  <a:lnTo>
                    <a:pt x="259" y="545"/>
                  </a:lnTo>
                  <a:lnTo>
                    <a:pt x="256" y="544"/>
                  </a:lnTo>
                  <a:lnTo>
                    <a:pt x="254" y="542"/>
                  </a:lnTo>
                  <a:lnTo>
                    <a:pt x="250" y="540"/>
                  </a:lnTo>
                  <a:lnTo>
                    <a:pt x="248" y="539"/>
                  </a:lnTo>
                  <a:lnTo>
                    <a:pt x="247" y="537"/>
                  </a:lnTo>
                  <a:lnTo>
                    <a:pt x="245" y="535"/>
                  </a:lnTo>
                  <a:lnTo>
                    <a:pt x="244" y="533"/>
                  </a:lnTo>
                  <a:lnTo>
                    <a:pt x="243" y="531"/>
                  </a:lnTo>
                  <a:lnTo>
                    <a:pt x="243" y="529"/>
                  </a:lnTo>
                  <a:lnTo>
                    <a:pt x="242" y="526"/>
                  </a:lnTo>
                  <a:lnTo>
                    <a:pt x="240" y="514"/>
                  </a:lnTo>
                  <a:lnTo>
                    <a:pt x="240" y="511"/>
                  </a:lnTo>
                  <a:lnTo>
                    <a:pt x="239" y="508"/>
                  </a:lnTo>
                  <a:lnTo>
                    <a:pt x="238" y="504"/>
                  </a:lnTo>
                  <a:lnTo>
                    <a:pt x="236" y="499"/>
                  </a:lnTo>
                  <a:lnTo>
                    <a:pt x="230" y="485"/>
                  </a:lnTo>
                  <a:lnTo>
                    <a:pt x="228" y="480"/>
                  </a:lnTo>
                  <a:lnTo>
                    <a:pt x="226" y="477"/>
                  </a:lnTo>
                  <a:lnTo>
                    <a:pt x="223" y="472"/>
                  </a:lnTo>
                  <a:lnTo>
                    <a:pt x="222" y="470"/>
                  </a:lnTo>
                  <a:lnTo>
                    <a:pt x="221" y="469"/>
                  </a:lnTo>
                  <a:lnTo>
                    <a:pt x="219" y="467"/>
                  </a:lnTo>
                  <a:lnTo>
                    <a:pt x="217" y="466"/>
                  </a:lnTo>
                  <a:lnTo>
                    <a:pt x="210" y="461"/>
                  </a:lnTo>
                  <a:lnTo>
                    <a:pt x="207" y="459"/>
                  </a:lnTo>
                  <a:lnTo>
                    <a:pt x="206" y="457"/>
                  </a:lnTo>
                  <a:lnTo>
                    <a:pt x="204" y="455"/>
                  </a:lnTo>
                  <a:lnTo>
                    <a:pt x="203" y="454"/>
                  </a:lnTo>
                  <a:lnTo>
                    <a:pt x="202" y="451"/>
                  </a:lnTo>
                  <a:lnTo>
                    <a:pt x="200" y="449"/>
                  </a:lnTo>
                  <a:lnTo>
                    <a:pt x="199" y="445"/>
                  </a:lnTo>
                  <a:lnTo>
                    <a:pt x="197" y="442"/>
                  </a:lnTo>
                  <a:lnTo>
                    <a:pt x="195" y="437"/>
                  </a:lnTo>
                  <a:lnTo>
                    <a:pt x="190" y="426"/>
                  </a:lnTo>
                  <a:lnTo>
                    <a:pt x="187" y="414"/>
                  </a:lnTo>
                  <a:lnTo>
                    <a:pt x="184" y="409"/>
                  </a:lnTo>
                  <a:lnTo>
                    <a:pt x="182" y="404"/>
                  </a:lnTo>
                  <a:lnTo>
                    <a:pt x="181" y="402"/>
                  </a:lnTo>
                  <a:lnTo>
                    <a:pt x="179" y="399"/>
                  </a:lnTo>
                  <a:lnTo>
                    <a:pt x="177" y="396"/>
                  </a:lnTo>
                  <a:lnTo>
                    <a:pt x="174" y="394"/>
                  </a:lnTo>
                  <a:lnTo>
                    <a:pt x="173" y="393"/>
                  </a:lnTo>
                  <a:lnTo>
                    <a:pt x="171" y="392"/>
                  </a:lnTo>
                  <a:lnTo>
                    <a:pt x="169" y="392"/>
                  </a:lnTo>
                  <a:lnTo>
                    <a:pt x="167" y="392"/>
                  </a:lnTo>
                  <a:lnTo>
                    <a:pt x="158" y="393"/>
                  </a:lnTo>
                  <a:lnTo>
                    <a:pt x="153" y="394"/>
                  </a:lnTo>
                  <a:lnTo>
                    <a:pt x="148" y="394"/>
                  </a:lnTo>
                  <a:lnTo>
                    <a:pt x="140" y="394"/>
                  </a:lnTo>
                  <a:lnTo>
                    <a:pt x="137" y="393"/>
                  </a:lnTo>
                  <a:lnTo>
                    <a:pt x="134" y="393"/>
                  </a:lnTo>
                  <a:lnTo>
                    <a:pt x="130" y="392"/>
                  </a:lnTo>
                  <a:lnTo>
                    <a:pt x="126" y="391"/>
                  </a:lnTo>
                  <a:lnTo>
                    <a:pt x="123" y="390"/>
                  </a:lnTo>
                  <a:lnTo>
                    <a:pt x="122" y="389"/>
                  </a:lnTo>
                  <a:lnTo>
                    <a:pt x="120" y="388"/>
                  </a:lnTo>
                  <a:lnTo>
                    <a:pt x="117" y="386"/>
                  </a:lnTo>
                  <a:lnTo>
                    <a:pt x="115" y="384"/>
                  </a:lnTo>
                  <a:lnTo>
                    <a:pt x="107" y="374"/>
                  </a:lnTo>
                  <a:lnTo>
                    <a:pt x="105" y="372"/>
                  </a:lnTo>
                  <a:lnTo>
                    <a:pt x="103" y="369"/>
                  </a:lnTo>
                  <a:lnTo>
                    <a:pt x="100" y="364"/>
                  </a:lnTo>
                  <a:lnTo>
                    <a:pt x="97" y="358"/>
                  </a:lnTo>
                  <a:lnTo>
                    <a:pt x="92" y="348"/>
                  </a:lnTo>
                  <a:lnTo>
                    <a:pt x="88" y="340"/>
                  </a:lnTo>
                  <a:lnTo>
                    <a:pt x="84" y="329"/>
                  </a:lnTo>
                  <a:lnTo>
                    <a:pt x="79" y="317"/>
                  </a:lnTo>
                  <a:lnTo>
                    <a:pt x="75" y="308"/>
                  </a:lnTo>
                  <a:lnTo>
                    <a:pt x="75" y="307"/>
                  </a:lnTo>
                  <a:lnTo>
                    <a:pt x="74" y="305"/>
                  </a:lnTo>
                  <a:lnTo>
                    <a:pt x="72" y="304"/>
                  </a:lnTo>
                  <a:lnTo>
                    <a:pt x="72" y="304"/>
                  </a:lnTo>
                  <a:lnTo>
                    <a:pt x="71" y="303"/>
                  </a:lnTo>
                  <a:lnTo>
                    <a:pt x="70" y="303"/>
                  </a:lnTo>
                  <a:lnTo>
                    <a:pt x="67" y="302"/>
                  </a:lnTo>
                  <a:lnTo>
                    <a:pt x="62" y="302"/>
                  </a:lnTo>
                  <a:lnTo>
                    <a:pt x="60" y="302"/>
                  </a:lnTo>
                  <a:lnTo>
                    <a:pt x="57" y="301"/>
                  </a:lnTo>
                  <a:lnTo>
                    <a:pt x="56" y="300"/>
                  </a:lnTo>
                  <a:lnTo>
                    <a:pt x="53" y="297"/>
                  </a:lnTo>
                  <a:lnTo>
                    <a:pt x="50" y="294"/>
                  </a:lnTo>
                  <a:lnTo>
                    <a:pt x="48" y="292"/>
                  </a:lnTo>
                  <a:lnTo>
                    <a:pt x="43" y="284"/>
                  </a:lnTo>
                  <a:lnTo>
                    <a:pt x="42" y="282"/>
                  </a:lnTo>
                  <a:lnTo>
                    <a:pt x="40" y="281"/>
                  </a:lnTo>
                  <a:lnTo>
                    <a:pt x="38" y="279"/>
                  </a:lnTo>
                  <a:lnTo>
                    <a:pt x="36" y="277"/>
                  </a:lnTo>
                  <a:lnTo>
                    <a:pt x="34" y="275"/>
                  </a:lnTo>
                  <a:lnTo>
                    <a:pt x="32" y="274"/>
                  </a:lnTo>
                  <a:lnTo>
                    <a:pt x="29" y="273"/>
                  </a:lnTo>
                  <a:lnTo>
                    <a:pt x="27" y="272"/>
                  </a:lnTo>
                  <a:lnTo>
                    <a:pt x="25" y="271"/>
                  </a:lnTo>
                  <a:lnTo>
                    <a:pt x="21" y="271"/>
                  </a:lnTo>
                  <a:lnTo>
                    <a:pt x="17" y="270"/>
                  </a:lnTo>
                  <a:lnTo>
                    <a:pt x="13" y="269"/>
                  </a:lnTo>
                  <a:lnTo>
                    <a:pt x="10" y="270"/>
                  </a:lnTo>
                  <a:lnTo>
                    <a:pt x="9" y="270"/>
                  </a:lnTo>
                  <a:lnTo>
                    <a:pt x="8" y="270"/>
                  </a:lnTo>
                  <a:lnTo>
                    <a:pt x="8" y="269"/>
                  </a:lnTo>
                  <a:lnTo>
                    <a:pt x="7" y="267"/>
                  </a:lnTo>
                  <a:lnTo>
                    <a:pt x="4" y="256"/>
                  </a:lnTo>
                  <a:lnTo>
                    <a:pt x="2" y="252"/>
                  </a:lnTo>
                  <a:lnTo>
                    <a:pt x="2" y="250"/>
                  </a:lnTo>
                  <a:lnTo>
                    <a:pt x="2" y="247"/>
                  </a:lnTo>
                  <a:lnTo>
                    <a:pt x="1" y="244"/>
                  </a:lnTo>
                  <a:lnTo>
                    <a:pt x="1" y="240"/>
                  </a:lnTo>
                  <a:lnTo>
                    <a:pt x="0" y="237"/>
                  </a:lnTo>
                  <a:lnTo>
                    <a:pt x="0" y="232"/>
                  </a:lnTo>
                  <a:lnTo>
                    <a:pt x="1" y="228"/>
                  </a:lnTo>
                  <a:lnTo>
                    <a:pt x="1" y="223"/>
                  </a:lnTo>
                  <a:lnTo>
                    <a:pt x="2" y="219"/>
                  </a:lnTo>
                  <a:lnTo>
                    <a:pt x="3" y="212"/>
                  </a:lnTo>
                  <a:lnTo>
                    <a:pt x="5" y="207"/>
                  </a:lnTo>
                  <a:lnTo>
                    <a:pt x="6" y="201"/>
                  </a:lnTo>
                  <a:lnTo>
                    <a:pt x="7" y="197"/>
                  </a:lnTo>
                  <a:lnTo>
                    <a:pt x="8" y="194"/>
                  </a:lnTo>
                  <a:lnTo>
                    <a:pt x="10" y="191"/>
                  </a:lnTo>
                  <a:lnTo>
                    <a:pt x="13" y="184"/>
                  </a:lnTo>
                  <a:lnTo>
                    <a:pt x="17" y="177"/>
                  </a:lnTo>
                  <a:lnTo>
                    <a:pt x="20" y="174"/>
                  </a:lnTo>
                  <a:lnTo>
                    <a:pt x="22" y="171"/>
                  </a:lnTo>
                  <a:lnTo>
                    <a:pt x="24" y="169"/>
                  </a:lnTo>
                  <a:lnTo>
                    <a:pt x="26" y="167"/>
                  </a:lnTo>
                  <a:lnTo>
                    <a:pt x="27" y="165"/>
                  </a:lnTo>
                  <a:lnTo>
                    <a:pt x="30" y="164"/>
                  </a:lnTo>
                  <a:lnTo>
                    <a:pt x="32" y="162"/>
                  </a:lnTo>
                  <a:lnTo>
                    <a:pt x="33" y="162"/>
                  </a:lnTo>
                  <a:lnTo>
                    <a:pt x="40" y="159"/>
                  </a:lnTo>
                  <a:lnTo>
                    <a:pt x="42" y="158"/>
                  </a:lnTo>
                  <a:lnTo>
                    <a:pt x="45" y="156"/>
                  </a:lnTo>
                  <a:lnTo>
                    <a:pt x="47" y="154"/>
                  </a:lnTo>
                  <a:lnTo>
                    <a:pt x="50" y="152"/>
                  </a:lnTo>
                  <a:lnTo>
                    <a:pt x="51" y="150"/>
                  </a:lnTo>
                  <a:lnTo>
                    <a:pt x="52" y="148"/>
                  </a:lnTo>
                  <a:lnTo>
                    <a:pt x="54" y="146"/>
                  </a:lnTo>
                  <a:lnTo>
                    <a:pt x="55" y="145"/>
                  </a:lnTo>
                  <a:lnTo>
                    <a:pt x="55" y="142"/>
                  </a:lnTo>
                  <a:lnTo>
                    <a:pt x="56" y="140"/>
                  </a:lnTo>
                  <a:lnTo>
                    <a:pt x="57" y="138"/>
                  </a:lnTo>
                  <a:lnTo>
                    <a:pt x="57" y="135"/>
                  </a:lnTo>
                  <a:lnTo>
                    <a:pt x="57" y="130"/>
                  </a:lnTo>
                  <a:lnTo>
                    <a:pt x="57" y="127"/>
                  </a:lnTo>
                  <a:lnTo>
                    <a:pt x="56" y="122"/>
                  </a:lnTo>
                  <a:lnTo>
                    <a:pt x="53" y="110"/>
                  </a:lnTo>
                  <a:lnTo>
                    <a:pt x="52" y="107"/>
                  </a:lnTo>
                  <a:lnTo>
                    <a:pt x="51" y="102"/>
                  </a:lnTo>
                  <a:lnTo>
                    <a:pt x="47" y="95"/>
                  </a:lnTo>
                  <a:lnTo>
                    <a:pt x="47" y="91"/>
                  </a:lnTo>
                  <a:lnTo>
                    <a:pt x="46" y="87"/>
                  </a:lnTo>
                  <a:lnTo>
                    <a:pt x="46" y="85"/>
                  </a:lnTo>
                  <a:lnTo>
                    <a:pt x="46" y="82"/>
                  </a:lnTo>
                  <a:lnTo>
                    <a:pt x="46" y="80"/>
                  </a:lnTo>
                  <a:lnTo>
                    <a:pt x="49" y="72"/>
                  </a:lnTo>
                  <a:lnTo>
                    <a:pt x="50" y="68"/>
                  </a:lnTo>
                  <a:lnTo>
                    <a:pt x="50" y="64"/>
                  </a:lnTo>
                  <a:lnTo>
                    <a:pt x="50" y="52"/>
                  </a:lnTo>
                  <a:lnTo>
                    <a:pt x="51" y="47"/>
                  </a:lnTo>
                  <a:lnTo>
                    <a:pt x="52" y="40"/>
                  </a:lnTo>
                  <a:lnTo>
                    <a:pt x="53" y="35"/>
                  </a:lnTo>
                  <a:lnTo>
                    <a:pt x="54" y="30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7" y="25"/>
                  </a:lnTo>
                  <a:lnTo>
                    <a:pt x="58" y="25"/>
                  </a:lnTo>
                  <a:lnTo>
                    <a:pt x="60" y="25"/>
                  </a:lnTo>
                  <a:lnTo>
                    <a:pt x="62" y="25"/>
                  </a:lnTo>
                  <a:lnTo>
                    <a:pt x="63" y="25"/>
                  </a:lnTo>
                  <a:lnTo>
                    <a:pt x="74" y="27"/>
                  </a:lnTo>
                  <a:lnTo>
                    <a:pt x="77" y="28"/>
                  </a:lnTo>
                  <a:lnTo>
                    <a:pt x="80" y="29"/>
                  </a:lnTo>
                  <a:lnTo>
                    <a:pt x="82" y="29"/>
                  </a:lnTo>
                  <a:lnTo>
                    <a:pt x="85" y="29"/>
                  </a:lnTo>
                  <a:lnTo>
                    <a:pt x="87" y="28"/>
                  </a:lnTo>
                  <a:lnTo>
                    <a:pt x="90" y="27"/>
                  </a:lnTo>
                  <a:lnTo>
                    <a:pt x="92" y="27"/>
                  </a:lnTo>
                  <a:lnTo>
                    <a:pt x="94" y="26"/>
                  </a:lnTo>
                  <a:lnTo>
                    <a:pt x="96" y="25"/>
                  </a:lnTo>
                  <a:lnTo>
                    <a:pt x="99" y="22"/>
                  </a:lnTo>
                  <a:lnTo>
                    <a:pt x="104" y="20"/>
                  </a:lnTo>
                  <a:lnTo>
                    <a:pt x="107" y="17"/>
                  </a:lnTo>
                  <a:lnTo>
                    <a:pt x="119" y="7"/>
                  </a:lnTo>
                  <a:lnTo>
                    <a:pt x="122" y="5"/>
                  </a:lnTo>
                  <a:lnTo>
                    <a:pt x="125" y="3"/>
                  </a:lnTo>
                  <a:lnTo>
                    <a:pt x="129" y="1"/>
                  </a:lnTo>
                  <a:lnTo>
                    <a:pt x="131" y="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BDD7E7"/>
            </a:solidFill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97">
              <a:extLst>
                <a:ext uri="{FF2B5EF4-FFF2-40B4-BE49-F238E27FC236}">
                  <a16:creationId xmlns:a16="http://schemas.microsoft.com/office/drawing/2014/main" id="{EFF51628-7AA1-FCF4-F8F7-5D6A3045A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8673" y="5043325"/>
              <a:ext cx="996950" cy="1444625"/>
            </a:xfrm>
            <a:custGeom>
              <a:avLst/>
              <a:gdLst>
                <a:gd name="T0" fmla="*/ 169 w 628"/>
                <a:gd name="T1" fmla="*/ 5 h 910"/>
                <a:gd name="T2" fmla="*/ 189 w 628"/>
                <a:gd name="T3" fmla="*/ 76 h 910"/>
                <a:gd name="T4" fmla="*/ 212 w 628"/>
                <a:gd name="T5" fmla="*/ 77 h 910"/>
                <a:gd name="T6" fmla="*/ 241 w 628"/>
                <a:gd name="T7" fmla="*/ 94 h 910"/>
                <a:gd name="T8" fmla="*/ 269 w 628"/>
                <a:gd name="T9" fmla="*/ 132 h 910"/>
                <a:gd name="T10" fmla="*/ 331 w 628"/>
                <a:gd name="T11" fmla="*/ 152 h 910"/>
                <a:gd name="T12" fmla="*/ 359 w 628"/>
                <a:gd name="T13" fmla="*/ 197 h 910"/>
                <a:gd name="T14" fmla="*/ 386 w 628"/>
                <a:gd name="T15" fmla="*/ 229 h 910"/>
                <a:gd name="T16" fmla="*/ 431 w 628"/>
                <a:gd name="T17" fmla="*/ 257 h 910"/>
                <a:gd name="T18" fmla="*/ 421 w 628"/>
                <a:gd name="T19" fmla="*/ 296 h 910"/>
                <a:gd name="T20" fmla="*/ 398 w 628"/>
                <a:gd name="T21" fmla="*/ 307 h 910"/>
                <a:gd name="T22" fmla="*/ 386 w 628"/>
                <a:gd name="T23" fmla="*/ 347 h 910"/>
                <a:gd name="T24" fmla="*/ 402 w 628"/>
                <a:gd name="T25" fmla="*/ 362 h 910"/>
                <a:gd name="T26" fmla="*/ 428 w 628"/>
                <a:gd name="T27" fmla="*/ 383 h 910"/>
                <a:gd name="T28" fmla="*/ 418 w 628"/>
                <a:gd name="T29" fmla="*/ 419 h 910"/>
                <a:gd name="T30" fmla="*/ 430 w 628"/>
                <a:gd name="T31" fmla="*/ 448 h 910"/>
                <a:gd name="T32" fmla="*/ 455 w 628"/>
                <a:gd name="T33" fmla="*/ 467 h 910"/>
                <a:gd name="T34" fmla="*/ 466 w 628"/>
                <a:gd name="T35" fmla="*/ 504 h 910"/>
                <a:gd name="T36" fmla="*/ 482 w 628"/>
                <a:gd name="T37" fmla="*/ 531 h 910"/>
                <a:gd name="T38" fmla="*/ 510 w 628"/>
                <a:gd name="T39" fmla="*/ 534 h 910"/>
                <a:gd name="T40" fmla="*/ 498 w 628"/>
                <a:gd name="T41" fmla="*/ 554 h 910"/>
                <a:gd name="T42" fmla="*/ 513 w 628"/>
                <a:gd name="T43" fmla="*/ 576 h 910"/>
                <a:gd name="T44" fmla="*/ 530 w 628"/>
                <a:gd name="T45" fmla="*/ 619 h 910"/>
                <a:gd name="T46" fmla="*/ 553 w 628"/>
                <a:gd name="T47" fmla="*/ 659 h 910"/>
                <a:gd name="T48" fmla="*/ 597 w 628"/>
                <a:gd name="T49" fmla="*/ 678 h 910"/>
                <a:gd name="T50" fmla="*/ 617 w 628"/>
                <a:gd name="T51" fmla="*/ 726 h 910"/>
                <a:gd name="T52" fmla="*/ 627 w 628"/>
                <a:gd name="T53" fmla="*/ 778 h 910"/>
                <a:gd name="T54" fmla="*/ 584 w 628"/>
                <a:gd name="T55" fmla="*/ 766 h 910"/>
                <a:gd name="T56" fmla="*/ 545 w 628"/>
                <a:gd name="T57" fmla="*/ 772 h 910"/>
                <a:gd name="T58" fmla="*/ 530 w 628"/>
                <a:gd name="T59" fmla="*/ 833 h 910"/>
                <a:gd name="T60" fmla="*/ 480 w 628"/>
                <a:gd name="T61" fmla="*/ 880 h 910"/>
                <a:gd name="T62" fmla="*/ 460 w 628"/>
                <a:gd name="T63" fmla="*/ 910 h 910"/>
                <a:gd name="T64" fmla="*/ 438 w 628"/>
                <a:gd name="T65" fmla="*/ 876 h 910"/>
                <a:gd name="T66" fmla="*/ 435 w 628"/>
                <a:gd name="T67" fmla="*/ 834 h 910"/>
                <a:gd name="T68" fmla="*/ 411 w 628"/>
                <a:gd name="T69" fmla="*/ 821 h 910"/>
                <a:gd name="T70" fmla="*/ 348 w 628"/>
                <a:gd name="T71" fmla="*/ 763 h 910"/>
                <a:gd name="T72" fmla="*/ 336 w 628"/>
                <a:gd name="T73" fmla="*/ 728 h 910"/>
                <a:gd name="T74" fmla="*/ 275 w 628"/>
                <a:gd name="T75" fmla="*/ 743 h 910"/>
                <a:gd name="T76" fmla="*/ 250 w 628"/>
                <a:gd name="T77" fmla="*/ 731 h 910"/>
                <a:gd name="T78" fmla="*/ 238 w 628"/>
                <a:gd name="T79" fmla="*/ 684 h 910"/>
                <a:gd name="T80" fmla="*/ 203 w 628"/>
                <a:gd name="T81" fmla="*/ 649 h 910"/>
                <a:gd name="T82" fmla="*/ 162 w 628"/>
                <a:gd name="T83" fmla="*/ 626 h 910"/>
                <a:gd name="T84" fmla="*/ 159 w 628"/>
                <a:gd name="T85" fmla="*/ 604 h 910"/>
                <a:gd name="T86" fmla="*/ 99 w 628"/>
                <a:gd name="T87" fmla="*/ 569 h 910"/>
                <a:gd name="T88" fmla="*/ 61 w 628"/>
                <a:gd name="T89" fmla="*/ 532 h 910"/>
                <a:gd name="T90" fmla="*/ 21 w 628"/>
                <a:gd name="T91" fmla="*/ 501 h 910"/>
                <a:gd name="T92" fmla="*/ 0 w 628"/>
                <a:gd name="T93" fmla="*/ 472 h 910"/>
                <a:gd name="T94" fmla="*/ 22 w 628"/>
                <a:gd name="T95" fmla="*/ 448 h 910"/>
                <a:gd name="T96" fmla="*/ 59 w 628"/>
                <a:gd name="T97" fmla="*/ 419 h 910"/>
                <a:gd name="T98" fmla="*/ 49 w 628"/>
                <a:gd name="T99" fmla="*/ 382 h 910"/>
                <a:gd name="T100" fmla="*/ 31 w 628"/>
                <a:gd name="T101" fmla="*/ 349 h 910"/>
                <a:gd name="T102" fmla="*/ 30 w 628"/>
                <a:gd name="T103" fmla="*/ 297 h 910"/>
                <a:gd name="T104" fmla="*/ 21 w 628"/>
                <a:gd name="T105" fmla="*/ 279 h 910"/>
                <a:gd name="T106" fmla="*/ 33 w 628"/>
                <a:gd name="T107" fmla="*/ 264 h 910"/>
                <a:gd name="T108" fmla="*/ 54 w 628"/>
                <a:gd name="T109" fmla="*/ 249 h 910"/>
                <a:gd name="T110" fmla="*/ 60 w 628"/>
                <a:gd name="T111" fmla="*/ 221 h 910"/>
                <a:gd name="T112" fmla="*/ 84 w 628"/>
                <a:gd name="T113" fmla="*/ 179 h 910"/>
                <a:gd name="T114" fmla="*/ 79 w 628"/>
                <a:gd name="T115" fmla="*/ 130 h 910"/>
                <a:gd name="T116" fmla="*/ 99 w 628"/>
                <a:gd name="T117" fmla="*/ 123 h 910"/>
                <a:gd name="T118" fmla="*/ 133 w 628"/>
                <a:gd name="T119" fmla="*/ 128 h 910"/>
                <a:gd name="T120" fmla="*/ 116 w 628"/>
                <a:gd name="T121" fmla="*/ 84 h 910"/>
                <a:gd name="T122" fmla="*/ 116 w 628"/>
                <a:gd name="T123" fmla="*/ 35 h 910"/>
                <a:gd name="T124" fmla="*/ 150 w 628"/>
                <a:gd name="T125" fmla="*/ 13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28" h="910">
                  <a:moveTo>
                    <a:pt x="160" y="0"/>
                  </a:moveTo>
                  <a:lnTo>
                    <a:pt x="161" y="0"/>
                  </a:lnTo>
                  <a:lnTo>
                    <a:pt x="161" y="0"/>
                  </a:lnTo>
                  <a:lnTo>
                    <a:pt x="161" y="1"/>
                  </a:lnTo>
                  <a:lnTo>
                    <a:pt x="161" y="2"/>
                  </a:lnTo>
                  <a:lnTo>
                    <a:pt x="162" y="2"/>
                  </a:lnTo>
                  <a:lnTo>
                    <a:pt x="164" y="3"/>
                  </a:lnTo>
                  <a:lnTo>
                    <a:pt x="167" y="4"/>
                  </a:lnTo>
                  <a:lnTo>
                    <a:pt x="167" y="3"/>
                  </a:lnTo>
                  <a:lnTo>
                    <a:pt x="169" y="3"/>
                  </a:lnTo>
                  <a:lnTo>
                    <a:pt x="169" y="5"/>
                  </a:lnTo>
                  <a:lnTo>
                    <a:pt x="169" y="5"/>
                  </a:lnTo>
                  <a:lnTo>
                    <a:pt x="169" y="9"/>
                  </a:lnTo>
                  <a:lnTo>
                    <a:pt x="170" y="16"/>
                  </a:lnTo>
                  <a:lnTo>
                    <a:pt x="171" y="21"/>
                  </a:lnTo>
                  <a:lnTo>
                    <a:pt x="174" y="28"/>
                  </a:lnTo>
                  <a:lnTo>
                    <a:pt x="176" y="38"/>
                  </a:lnTo>
                  <a:lnTo>
                    <a:pt x="178" y="42"/>
                  </a:lnTo>
                  <a:lnTo>
                    <a:pt x="179" y="47"/>
                  </a:lnTo>
                  <a:lnTo>
                    <a:pt x="183" y="55"/>
                  </a:lnTo>
                  <a:lnTo>
                    <a:pt x="185" y="61"/>
                  </a:lnTo>
                  <a:lnTo>
                    <a:pt x="186" y="66"/>
                  </a:lnTo>
                  <a:lnTo>
                    <a:pt x="189" y="74"/>
                  </a:lnTo>
                  <a:lnTo>
                    <a:pt x="189" y="76"/>
                  </a:lnTo>
                  <a:lnTo>
                    <a:pt x="190" y="78"/>
                  </a:lnTo>
                  <a:lnTo>
                    <a:pt x="191" y="80"/>
                  </a:lnTo>
                  <a:lnTo>
                    <a:pt x="191" y="81"/>
                  </a:lnTo>
                  <a:lnTo>
                    <a:pt x="192" y="82"/>
                  </a:lnTo>
                  <a:lnTo>
                    <a:pt x="194" y="83"/>
                  </a:lnTo>
                  <a:lnTo>
                    <a:pt x="194" y="83"/>
                  </a:lnTo>
                  <a:lnTo>
                    <a:pt x="196" y="83"/>
                  </a:lnTo>
                  <a:lnTo>
                    <a:pt x="197" y="83"/>
                  </a:lnTo>
                  <a:lnTo>
                    <a:pt x="199" y="82"/>
                  </a:lnTo>
                  <a:lnTo>
                    <a:pt x="205" y="80"/>
                  </a:lnTo>
                  <a:lnTo>
                    <a:pt x="208" y="77"/>
                  </a:lnTo>
                  <a:lnTo>
                    <a:pt x="212" y="77"/>
                  </a:lnTo>
                  <a:lnTo>
                    <a:pt x="216" y="76"/>
                  </a:lnTo>
                  <a:lnTo>
                    <a:pt x="218" y="75"/>
                  </a:lnTo>
                  <a:lnTo>
                    <a:pt x="222" y="76"/>
                  </a:lnTo>
                  <a:lnTo>
                    <a:pt x="224" y="76"/>
                  </a:lnTo>
                  <a:lnTo>
                    <a:pt x="226" y="77"/>
                  </a:lnTo>
                  <a:lnTo>
                    <a:pt x="228" y="79"/>
                  </a:lnTo>
                  <a:lnTo>
                    <a:pt x="231" y="80"/>
                  </a:lnTo>
                  <a:lnTo>
                    <a:pt x="233" y="82"/>
                  </a:lnTo>
                  <a:lnTo>
                    <a:pt x="236" y="85"/>
                  </a:lnTo>
                  <a:lnTo>
                    <a:pt x="237" y="87"/>
                  </a:lnTo>
                  <a:lnTo>
                    <a:pt x="238" y="90"/>
                  </a:lnTo>
                  <a:lnTo>
                    <a:pt x="241" y="94"/>
                  </a:lnTo>
                  <a:lnTo>
                    <a:pt x="242" y="97"/>
                  </a:lnTo>
                  <a:lnTo>
                    <a:pt x="244" y="103"/>
                  </a:lnTo>
                  <a:lnTo>
                    <a:pt x="246" y="106"/>
                  </a:lnTo>
                  <a:lnTo>
                    <a:pt x="247" y="108"/>
                  </a:lnTo>
                  <a:lnTo>
                    <a:pt x="253" y="117"/>
                  </a:lnTo>
                  <a:lnTo>
                    <a:pt x="256" y="120"/>
                  </a:lnTo>
                  <a:lnTo>
                    <a:pt x="259" y="124"/>
                  </a:lnTo>
                  <a:lnTo>
                    <a:pt x="261" y="126"/>
                  </a:lnTo>
                  <a:lnTo>
                    <a:pt x="263" y="128"/>
                  </a:lnTo>
                  <a:lnTo>
                    <a:pt x="266" y="130"/>
                  </a:lnTo>
                  <a:lnTo>
                    <a:pt x="268" y="131"/>
                  </a:lnTo>
                  <a:lnTo>
                    <a:pt x="269" y="132"/>
                  </a:lnTo>
                  <a:lnTo>
                    <a:pt x="271" y="133"/>
                  </a:lnTo>
                  <a:lnTo>
                    <a:pt x="273" y="134"/>
                  </a:lnTo>
                  <a:lnTo>
                    <a:pt x="277" y="135"/>
                  </a:lnTo>
                  <a:lnTo>
                    <a:pt x="287" y="137"/>
                  </a:lnTo>
                  <a:lnTo>
                    <a:pt x="293" y="138"/>
                  </a:lnTo>
                  <a:lnTo>
                    <a:pt x="311" y="145"/>
                  </a:lnTo>
                  <a:lnTo>
                    <a:pt x="321" y="147"/>
                  </a:lnTo>
                  <a:lnTo>
                    <a:pt x="323" y="148"/>
                  </a:lnTo>
                  <a:lnTo>
                    <a:pt x="327" y="150"/>
                  </a:lnTo>
                  <a:lnTo>
                    <a:pt x="328" y="150"/>
                  </a:lnTo>
                  <a:lnTo>
                    <a:pt x="330" y="151"/>
                  </a:lnTo>
                  <a:lnTo>
                    <a:pt x="331" y="152"/>
                  </a:lnTo>
                  <a:lnTo>
                    <a:pt x="333" y="154"/>
                  </a:lnTo>
                  <a:lnTo>
                    <a:pt x="334" y="156"/>
                  </a:lnTo>
                  <a:lnTo>
                    <a:pt x="335" y="158"/>
                  </a:lnTo>
                  <a:lnTo>
                    <a:pt x="337" y="162"/>
                  </a:lnTo>
                  <a:lnTo>
                    <a:pt x="339" y="170"/>
                  </a:lnTo>
                  <a:lnTo>
                    <a:pt x="340" y="173"/>
                  </a:lnTo>
                  <a:lnTo>
                    <a:pt x="341" y="176"/>
                  </a:lnTo>
                  <a:lnTo>
                    <a:pt x="343" y="179"/>
                  </a:lnTo>
                  <a:lnTo>
                    <a:pt x="344" y="181"/>
                  </a:lnTo>
                  <a:lnTo>
                    <a:pt x="346" y="183"/>
                  </a:lnTo>
                  <a:lnTo>
                    <a:pt x="353" y="191"/>
                  </a:lnTo>
                  <a:lnTo>
                    <a:pt x="359" y="197"/>
                  </a:lnTo>
                  <a:lnTo>
                    <a:pt x="361" y="199"/>
                  </a:lnTo>
                  <a:lnTo>
                    <a:pt x="362" y="201"/>
                  </a:lnTo>
                  <a:lnTo>
                    <a:pt x="363" y="202"/>
                  </a:lnTo>
                  <a:lnTo>
                    <a:pt x="366" y="209"/>
                  </a:lnTo>
                  <a:lnTo>
                    <a:pt x="367" y="212"/>
                  </a:lnTo>
                  <a:lnTo>
                    <a:pt x="368" y="214"/>
                  </a:lnTo>
                  <a:lnTo>
                    <a:pt x="370" y="215"/>
                  </a:lnTo>
                  <a:lnTo>
                    <a:pt x="376" y="222"/>
                  </a:lnTo>
                  <a:lnTo>
                    <a:pt x="378" y="224"/>
                  </a:lnTo>
                  <a:lnTo>
                    <a:pt x="379" y="225"/>
                  </a:lnTo>
                  <a:lnTo>
                    <a:pt x="381" y="226"/>
                  </a:lnTo>
                  <a:lnTo>
                    <a:pt x="386" y="229"/>
                  </a:lnTo>
                  <a:lnTo>
                    <a:pt x="388" y="230"/>
                  </a:lnTo>
                  <a:lnTo>
                    <a:pt x="389" y="232"/>
                  </a:lnTo>
                  <a:lnTo>
                    <a:pt x="394" y="237"/>
                  </a:lnTo>
                  <a:lnTo>
                    <a:pt x="397" y="239"/>
                  </a:lnTo>
                  <a:lnTo>
                    <a:pt x="401" y="242"/>
                  </a:lnTo>
                  <a:lnTo>
                    <a:pt x="405" y="244"/>
                  </a:lnTo>
                  <a:lnTo>
                    <a:pt x="408" y="247"/>
                  </a:lnTo>
                  <a:lnTo>
                    <a:pt x="416" y="250"/>
                  </a:lnTo>
                  <a:lnTo>
                    <a:pt x="421" y="252"/>
                  </a:lnTo>
                  <a:lnTo>
                    <a:pt x="430" y="255"/>
                  </a:lnTo>
                  <a:lnTo>
                    <a:pt x="431" y="256"/>
                  </a:lnTo>
                  <a:lnTo>
                    <a:pt x="431" y="257"/>
                  </a:lnTo>
                  <a:lnTo>
                    <a:pt x="430" y="257"/>
                  </a:lnTo>
                  <a:lnTo>
                    <a:pt x="430" y="259"/>
                  </a:lnTo>
                  <a:lnTo>
                    <a:pt x="430" y="266"/>
                  </a:lnTo>
                  <a:lnTo>
                    <a:pt x="430" y="270"/>
                  </a:lnTo>
                  <a:lnTo>
                    <a:pt x="429" y="275"/>
                  </a:lnTo>
                  <a:lnTo>
                    <a:pt x="428" y="279"/>
                  </a:lnTo>
                  <a:lnTo>
                    <a:pt x="428" y="283"/>
                  </a:lnTo>
                  <a:lnTo>
                    <a:pt x="426" y="287"/>
                  </a:lnTo>
                  <a:lnTo>
                    <a:pt x="425" y="290"/>
                  </a:lnTo>
                  <a:lnTo>
                    <a:pt x="423" y="293"/>
                  </a:lnTo>
                  <a:lnTo>
                    <a:pt x="423" y="294"/>
                  </a:lnTo>
                  <a:lnTo>
                    <a:pt x="421" y="296"/>
                  </a:lnTo>
                  <a:lnTo>
                    <a:pt x="420" y="297"/>
                  </a:lnTo>
                  <a:lnTo>
                    <a:pt x="418" y="297"/>
                  </a:lnTo>
                  <a:lnTo>
                    <a:pt x="417" y="298"/>
                  </a:lnTo>
                  <a:lnTo>
                    <a:pt x="416" y="298"/>
                  </a:lnTo>
                  <a:lnTo>
                    <a:pt x="409" y="298"/>
                  </a:lnTo>
                  <a:lnTo>
                    <a:pt x="408" y="298"/>
                  </a:lnTo>
                  <a:lnTo>
                    <a:pt x="406" y="299"/>
                  </a:lnTo>
                  <a:lnTo>
                    <a:pt x="404" y="299"/>
                  </a:lnTo>
                  <a:lnTo>
                    <a:pt x="402" y="300"/>
                  </a:lnTo>
                  <a:lnTo>
                    <a:pt x="401" y="302"/>
                  </a:lnTo>
                  <a:lnTo>
                    <a:pt x="399" y="304"/>
                  </a:lnTo>
                  <a:lnTo>
                    <a:pt x="398" y="307"/>
                  </a:lnTo>
                  <a:lnTo>
                    <a:pt x="396" y="309"/>
                  </a:lnTo>
                  <a:lnTo>
                    <a:pt x="396" y="312"/>
                  </a:lnTo>
                  <a:lnTo>
                    <a:pt x="396" y="315"/>
                  </a:lnTo>
                  <a:lnTo>
                    <a:pt x="396" y="322"/>
                  </a:lnTo>
                  <a:lnTo>
                    <a:pt x="395" y="331"/>
                  </a:lnTo>
                  <a:lnTo>
                    <a:pt x="394" y="334"/>
                  </a:lnTo>
                  <a:lnTo>
                    <a:pt x="393" y="336"/>
                  </a:lnTo>
                  <a:lnTo>
                    <a:pt x="392" y="338"/>
                  </a:lnTo>
                  <a:lnTo>
                    <a:pt x="391" y="339"/>
                  </a:lnTo>
                  <a:lnTo>
                    <a:pt x="387" y="344"/>
                  </a:lnTo>
                  <a:lnTo>
                    <a:pt x="386" y="346"/>
                  </a:lnTo>
                  <a:lnTo>
                    <a:pt x="386" y="347"/>
                  </a:lnTo>
                  <a:lnTo>
                    <a:pt x="386" y="349"/>
                  </a:lnTo>
                  <a:lnTo>
                    <a:pt x="385" y="350"/>
                  </a:lnTo>
                  <a:lnTo>
                    <a:pt x="385" y="353"/>
                  </a:lnTo>
                  <a:lnTo>
                    <a:pt x="386" y="354"/>
                  </a:lnTo>
                  <a:lnTo>
                    <a:pt x="386" y="355"/>
                  </a:lnTo>
                  <a:lnTo>
                    <a:pt x="387" y="357"/>
                  </a:lnTo>
                  <a:lnTo>
                    <a:pt x="388" y="358"/>
                  </a:lnTo>
                  <a:lnTo>
                    <a:pt x="389" y="359"/>
                  </a:lnTo>
                  <a:lnTo>
                    <a:pt x="391" y="359"/>
                  </a:lnTo>
                  <a:lnTo>
                    <a:pt x="393" y="360"/>
                  </a:lnTo>
                  <a:lnTo>
                    <a:pt x="395" y="361"/>
                  </a:lnTo>
                  <a:lnTo>
                    <a:pt x="402" y="362"/>
                  </a:lnTo>
                  <a:lnTo>
                    <a:pt x="407" y="364"/>
                  </a:lnTo>
                  <a:lnTo>
                    <a:pt x="411" y="365"/>
                  </a:lnTo>
                  <a:lnTo>
                    <a:pt x="413" y="366"/>
                  </a:lnTo>
                  <a:lnTo>
                    <a:pt x="415" y="367"/>
                  </a:lnTo>
                  <a:lnTo>
                    <a:pt x="417" y="369"/>
                  </a:lnTo>
                  <a:lnTo>
                    <a:pt x="418" y="370"/>
                  </a:lnTo>
                  <a:lnTo>
                    <a:pt x="421" y="372"/>
                  </a:lnTo>
                  <a:lnTo>
                    <a:pt x="422" y="373"/>
                  </a:lnTo>
                  <a:lnTo>
                    <a:pt x="423" y="375"/>
                  </a:lnTo>
                  <a:lnTo>
                    <a:pt x="425" y="377"/>
                  </a:lnTo>
                  <a:lnTo>
                    <a:pt x="427" y="381"/>
                  </a:lnTo>
                  <a:lnTo>
                    <a:pt x="428" y="383"/>
                  </a:lnTo>
                  <a:lnTo>
                    <a:pt x="428" y="385"/>
                  </a:lnTo>
                  <a:lnTo>
                    <a:pt x="429" y="387"/>
                  </a:lnTo>
                  <a:lnTo>
                    <a:pt x="430" y="389"/>
                  </a:lnTo>
                  <a:lnTo>
                    <a:pt x="430" y="390"/>
                  </a:lnTo>
                  <a:lnTo>
                    <a:pt x="430" y="392"/>
                  </a:lnTo>
                  <a:lnTo>
                    <a:pt x="429" y="395"/>
                  </a:lnTo>
                  <a:lnTo>
                    <a:pt x="428" y="401"/>
                  </a:lnTo>
                  <a:lnTo>
                    <a:pt x="427" y="403"/>
                  </a:lnTo>
                  <a:lnTo>
                    <a:pt x="425" y="405"/>
                  </a:lnTo>
                  <a:lnTo>
                    <a:pt x="424" y="409"/>
                  </a:lnTo>
                  <a:lnTo>
                    <a:pt x="418" y="417"/>
                  </a:lnTo>
                  <a:lnTo>
                    <a:pt x="418" y="419"/>
                  </a:lnTo>
                  <a:lnTo>
                    <a:pt x="417" y="420"/>
                  </a:lnTo>
                  <a:lnTo>
                    <a:pt x="417" y="421"/>
                  </a:lnTo>
                  <a:lnTo>
                    <a:pt x="417" y="423"/>
                  </a:lnTo>
                  <a:lnTo>
                    <a:pt x="418" y="424"/>
                  </a:lnTo>
                  <a:lnTo>
                    <a:pt x="418" y="424"/>
                  </a:lnTo>
                  <a:lnTo>
                    <a:pt x="421" y="428"/>
                  </a:lnTo>
                  <a:lnTo>
                    <a:pt x="423" y="430"/>
                  </a:lnTo>
                  <a:lnTo>
                    <a:pt x="425" y="433"/>
                  </a:lnTo>
                  <a:lnTo>
                    <a:pt x="426" y="436"/>
                  </a:lnTo>
                  <a:lnTo>
                    <a:pt x="428" y="438"/>
                  </a:lnTo>
                  <a:lnTo>
                    <a:pt x="428" y="440"/>
                  </a:lnTo>
                  <a:lnTo>
                    <a:pt x="430" y="448"/>
                  </a:lnTo>
                  <a:lnTo>
                    <a:pt x="431" y="450"/>
                  </a:lnTo>
                  <a:lnTo>
                    <a:pt x="432" y="451"/>
                  </a:lnTo>
                  <a:lnTo>
                    <a:pt x="433" y="453"/>
                  </a:lnTo>
                  <a:lnTo>
                    <a:pt x="433" y="454"/>
                  </a:lnTo>
                  <a:lnTo>
                    <a:pt x="435" y="455"/>
                  </a:lnTo>
                  <a:lnTo>
                    <a:pt x="438" y="456"/>
                  </a:lnTo>
                  <a:lnTo>
                    <a:pt x="440" y="458"/>
                  </a:lnTo>
                  <a:lnTo>
                    <a:pt x="448" y="460"/>
                  </a:lnTo>
                  <a:lnTo>
                    <a:pt x="449" y="461"/>
                  </a:lnTo>
                  <a:lnTo>
                    <a:pt x="450" y="461"/>
                  </a:lnTo>
                  <a:lnTo>
                    <a:pt x="452" y="463"/>
                  </a:lnTo>
                  <a:lnTo>
                    <a:pt x="455" y="467"/>
                  </a:lnTo>
                  <a:lnTo>
                    <a:pt x="457" y="469"/>
                  </a:lnTo>
                  <a:lnTo>
                    <a:pt x="458" y="469"/>
                  </a:lnTo>
                  <a:lnTo>
                    <a:pt x="463" y="473"/>
                  </a:lnTo>
                  <a:lnTo>
                    <a:pt x="465" y="474"/>
                  </a:lnTo>
                  <a:lnTo>
                    <a:pt x="467" y="476"/>
                  </a:lnTo>
                  <a:lnTo>
                    <a:pt x="468" y="478"/>
                  </a:lnTo>
                  <a:lnTo>
                    <a:pt x="468" y="479"/>
                  </a:lnTo>
                  <a:lnTo>
                    <a:pt x="469" y="481"/>
                  </a:lnTo>
                  <a:lnTo>
                    <a:pt x="469" y="482"/>
                  </a:lnTo>
                  <a:lnTo>
                    <a:pt x="469" y="484"/>
                  </a:lnTo>
                  <a:lnTo>
                    <a:pt x="468" y="490"/>
                  </a:lnTo>
                  <a:lnTo>
                    <a:pt x="466" y="504"/>
                  </a:lnTo>
                  <a:lnTo>
                    <a:pt x="466" y="506"/>
                  </a:lnTo>
                  <a:lnTo>
                    <a:pt x="465" y="509"/>
                  </a:lnTo>
                  <a:lnTo>
                    <a:pt x="466" y="511"/>
                  </a:lnTo>
                  <a:lnTo>
                    <a:pt x="467" y="514"/>
                  </a:lnTo>
                  <a:lnTo>
                    <a:pt x="468" y="516"/>
                  </a:lnTo>
                  <a:lnTo>
                    <a:pt x="470" y="519"/>
                  </a:lnTo>
                  <a:lnTo>
                    <a:pt x="471" y="521"/>
                  </a:lnTo>
                  <a:lnTo>
                    <a:pt x="473" y="524"/>
                  </a:lnTo>
                  <a:lnTo>
                    <a:pt x="475" y="526"/>
                  </a:lnTo>
                  <a:lnTo>
                    <a:pt x="478" y="528"/>
                  </a:lnTo>
                  <a:lnTo>
                    <a:pt x="480" y="529"/>
                  </a:lnTo>
                  <a:lnTo>
                    <a:pt x="482" y="531"/>
                  </a:lnTo>
                  <a:lnTo>
                    <a:pt x="484" y="531"/>
                  </a:lnTo>
                  <a:lnTo>
                    <a:pt x="486" y="532"/>
                  </a:lnTo>
                  <a:lnTo>
                    <a:pt x="488" y="533"/>
                  </a:lnTo>
                  <a:lnTo>
                    <a:pt x="489" y="534"/>
                  </a:lnTo>
                  <a:lnTo>
                    <a:pt x="492" y="534"/>
                  </a:lnTo>
                  <a:lnTo>
                    <a:pt x="495" y="534"/>
                  </a:lnTo>
                  <a:lnTo>
                    <a:pt x="503" y="532"/>
                  </a:lnTo>
                  <a:lnTo>
                    <a:pt x="505" y="532"/>
                  </a:lnTo>
                  <a:lnTo>
                    <a:pt x="507" y="532"/>
                  </a:lnTo>
                  <a:lnTo>
                    <a:pt x="508" y="532"/>
                  </a:lnTo>
                  <a:lnTo>
                    <a:pt x="510" y="533"/>
                  </a:lnTo>
                  <a:lnTo>
                    <a:pt x="510" y="534"/>
                  </a:lnTo>
                  <a:lnTo>
                    <a:pt x="511" y="534"/>
                  </a:lnTo>
                  <a:lnTo>
                    <a:pt x="511" y="535"/>
                  </a:lnTo>
                  <a:lnTo>
                    <a:pt x="511" y="536"/>
                  </a:lnTo>
                  <a:lnTo>
                    <a:pt x="511" y="538"/>
                  </a:lnTo>
                  <a:lnTo>
                    <a:pt x="510" y="540"/>
                  </a:lnTo>
                  <a:lnTo>
                    <a:pt x="510" y="542"/>
                  </a:lnTo>
                  <a:lnTo>
                    <a:pt x="509" y="543"/>
                  </a:lnTo>
                  <a:lnTo>
                    <a:pt x="508" y="544"/>
                  </a:lnTo>
                  <a:lnTo>
                    <a:pt x="503" y="548"/>
                  </a:lnTo>
                  <a:lnTo>
                    <a:pt x="500" y="550"/>
                  </a:lnTo>
                  <a:lnTo>
                    <a:pt x="499" y="551"/>
                  </a:lnTo>
                  <a:lnTo>
                    <a:pt x="498" y="554"/>
                  </a:lnTo>
                  <a:lnTo>
                    <a:pt x="497" y="556"/>
                  </a:lnTo>
                  <a:lnTo>
                    <a:pt x="496" y="559"/>
                  </a:lnTo>
                  <a:lnTo>
                    <a:pt x="495" y="561"/>
                  </a:lnTo>
                  <a:lnTo>
                    <a:pt x="496" y="564"/>
                  </a:lnTo>
                  <a:lnTo>
                    <a:pt x="497" y="565"/>
                  </a:lnTo>
                  <a:lnTo>
                    <a:pt x="498" y="566"/>
                  </a:lnTo>
                  <a:lnTo>
                    <a:pt x="498" y="568"/>
                  </a:lnTo>
                  <a:lnTo>
                    <a:pt x="500" y="569"/>
                  </a:lnTo>
                  <a:lnTo>
                    <a:pt x="501" y="570"/>
                  </a:lnTo>
                  <a:lnTo>
                    <a:pt x="503" y="571"/>
                  </a:lnTo>
                  <a:lnTo>
                    <a:pt x="511" y="575"/>
                  </a:lnTo>
                  <a:lnTo>
                    <a:pt x="513" y="576"/>
                  </a:lnTo>
                  <a:lnTo>
                    <a:pt x="515" y="578"/>
                  </a:lnTo>
                  <a:lnTo>
                    <a:pt x="516" y="579"/>
                  </a:lnTo>
                  <a:lnTo>
                    <a:pt x="517" y="579"/>
                  </a:lnTo>
                  <a:lnTo>
                    <a:pt x="518" y="581"/>
                  </a:lnTo>
                  <a:lnTo>
                    <a:pt x="518" y="584"/>
                  </a:lnTo>
                  <a:lnTo>
                    <a:pt x="519" y="586"/>
                  </a:lnTo>
                  <a:lnTo>
                    <a:pt x="520" y="592"/>
                  </a:lnTo>
                  <a:lnTo>
                    <a:pt x="523" y="599"/>
                  </a:lnTo>
                  <a:lnTo>
                    <a:pt x="524" y="604"/>
                  </a:lnTo>
                  <a:lnTo>
                    <a:pt x="528" y="611"/>
                  </a:lnTo>
                  <a:lnTo>
                    <a:pt x="530" y="614"/>
                  </a:lnTo>
                  <a:lnTo>
                    <a:pt x="530" y="619"/>
                  </a:lnTo>
                  <a:lnTo>
                    <a:pt x="532" y="628"/>
                  </a:lnTo>
                  <a:lnTo>
                    <a:pt x="533" y="632"/>
                  </a:lnTo>
                  <a:lnTo>
                    <a:pt x="534" y="634"/>
                  </a:lnTo>
                  <a:lnTo>
                    <a:pt x="535" y="637"/>
                  </a:lnTo>
                  <a:lnTo>
                    <a:pt x="537" y="640"/>
                  </a:lnTo>
                  <a:lnTo>
                    <a:pt x="539" y="644"/>
                  </a:lnTo>
                  <a:lnTo>
                    <a:pt x="541" y="646"/>
                  </a:lnTo>
                  <a:lnTo>
                    <a:pt x="543" y="649"/>
                  </a:lnTo>
                  <a:lnTo>
                    <a:pt x="545" y="652"/>
                  </a:lnTo>
                  <a:lnTo>
                    <a:pt x="548" y="655"/>
                  </a:lnTo>
                  <a:lnTo>
                    <a:pt x="550" y="657"/>
                  </a:lnTo>
                  <a:lnTo>
                    <a:pt x="553" y="659"/>
                  </a:lnTo>
                  <a:lnTo>
                    <a:pt x="555" y="661"/>
                  </a:lnTo>
                  <a:lnTo>
                    <a:pt x="558" y="663"/>
                  </a:lnTo>
                  <a:lnTo>
                    <a:pt x="561" y="665"/>
                  </a:lnTo>
                  <a:lnTo>
                    <a:pt x="565" y="667"/>
                  </a:lnTo>
                  <a:lnTo>
                    <a:pt x="568" y="668"/>
                  </a:lnTo>
                  <a:lnTo>
                    <a:pt x="573" y="671"/>
                  </a:lnTo>
                  <a:lnTo>
                    <a:pt x="577" y="672"/>
                  </a:lnTo>
                  <a:lnTo>
                    <a:pt x="580" y="673"/>
                  </a:lnTo>
                  <a:lnTo>
                    <a:pt x="591" y="676"/>
                  </a:lnTo>
                  <a:lnTo>
                    <a:pt x="593" y="676"/>
                  </a:lnTo>
                  <a:lnTo>
                    <a:pt x="595" y="677"/>
                  </a:lnTo>
                  <a:lnTo>
                    <a:pt x="597" y="678"/>
                  </a:lnTo>
                  <a:lnTo>
                    <a:pt x="598" y="679"/>
                  </a:lnTo>
                  <a:lnTo>
                    <a:pt x="600" y="681"/>
                  </a:lnTo>
                  <a:lnTo>
                    <a:pt x="602" y="683"/>
                  </a:lnTo>
                  <a:lnTo>
                    <a:pt x="603" y="685"/>
                  </a:lnTo>
                  <a:lnTo>
                    <a:pt x="603" y="687"/>
                  </a:lnTo>
                  <a:lnTo>
                    <a:pt x="605" y="691"/>
                  </a:lnTo>
                  <a:lnTo>
                    <a:pt x="605" y="695"/>
                  </a:lnTo>
                  <a:lnTo>
                    <a:pt x="607" y="703"/>
                  </a:lnTo>
                  <a:lnTo>
                    <a:pt x="608" y="706"/>
                  </a:lnTo>
                  <a:lnTo>
                    <a:pt x="609" y="708"/>
                  </a:lnTo>
                  <a:lnTo>
                    <a:pt x="610" y="713"/>
                  </a:lnTo>
                  <a:lnTo>
                    <a:pt x="617" y="726"/>
                  </a:lnTo>
                  <a:lnTo>
                    <a:pt x="619" y="730"/>
                  </a:lnTo>
                  <a:lnTo>
                    <a:pt x="620" y="733"/>
                  </a:lnTo>
                  <a:lnTo>
                    <a:pt x="620" y="736"/>
                  </a:lnTo>
                  <a:lnTo>
                    <a:pt x="620" y="738"/>
                  </a:lnTo>
                  <a:lnTo>
                    <a:pt x="622" y="748"/>
                  </a:lnTo>
                  <a:lnTo>
                    <a:pt x="623" y="754"/>
                  </a:lnTo>
                  <a:lnTo>
                    <a:pt x="624" y="759"/>
                  </a:lnTo>
                  <a:lnTo>
                    <a:pt x="626" y="768"/>
                  </a:lnTo>
                  <a:lnTo>
                    <a:pt x="628" y="772"/>
                  </a:lnTo>
                  <a:lnTo>
                    <a:pt x="628" y="775"/>
                  </a:lnTo>
                  <a:lnTo>
                    <a:pt x="627" y="777"/>
                  </a:lnTo>
                  <a:lnTo>
                    <a:pt x="627" y="778"/>
                  </a:lnTo>
                  <a:lnTo>
                    <a:pt x="626" y="778"/>
                  </a:lnTo>
                  <a:lnTo>
                    <a:pt x="626" y="779"/>
                  </a:lnTo>
                  <a:lnTo>
                    <a:pt x="625" y="779"/>
                  </a:lnTo>
                  <a:lnTo>
                    <a:pt x="624" y="778"/>
                  </a:lnTo>
                  <a:lnTo>
                    <a:pt x="621" y="778"/>
                  </a:lnTo>
                  <a:lnTo>
                    <a:pt x="614" y="773"/>
                  </a:lnTo>
                  <a:lnTo>
                    <a:pt x="611" y="772"/>
                  </a:lnTo>
                  <a:lnTo>
                    <a:pt x="608" y="771"/>
                  </a:lnTo>
                  <a:lnTo>
                    <a:pt x="603" y="769"/>
                  </a:lnTo>
                  <a:lnTo>
                    <a:pt x="600" y="768"/>
                  </a:lnTo>
                  <a:lnTo>
                    <a:pt x="598" y="768"/>
                  </a:lnTo>
                  <a:lnTo>
                    <a:pt x="584" y="766"/>
                  </a:lnTo>
                  <a:lnTo>
                    <a:pt x="575" y="763"/>
                  </a:lnTo>
                  <a:lnTo>
                    <a:pt x="571" y="763"/>
                  </a:lnTo>
                  <a:lnTo>
                    <a:pt x="568" y="763"/>
                  </a:lnTo>
                  <a:lnTo>
                    <a:pt x="565" y="763"/>
                  </a:lnTo>
                  <a:lnTo>
                    <a:pt x="561" y="763"/>
                  </a:lnTo>
                  <a:lnTo>
                    <a:pt x="558" y="763"/>
                  </a:lnTo>
                  <a:lnTo>
                    <a:pt x="555" y="764"/>
                  </a:lnTo>
                  <a:lnTo>
                    <a:pt x="553" y="765"/>
                  </a:lnTo>
                  <a:lnTo>
                    <a:pt x="551" y="766"/>
                  </a:lnTo>
                  <a:lnTo>
                    <a:pt x="549" y="768"/>
                  </a:lnTo>
                  <a:lnTo>
                    <a:pt x="547" y="770"/>
                  </a:lnTo>
                  <a:lnTo>
                    <a:pt x="545" y="772"/>
                  </a:lnTo>
                  <a:lnTo>
                    <a:pt x="544" y="775"/>
                  </a:lnTo>
                  <a:lnTo>
                    <a:pt x="543" y="778"/>
                  </a:lnTo>
                  <a:lnTo>
                    <a:pt x="542" y="781"/>
                  </a:lnTo>
                  <a:lnTo>
                    <a:pt x="540" y="791"/>
                  </a:lnTo>
                  <a:lnTo>
                    <a:pt x="537" y="805"/>
                  </a:lnTo>
                  <a:lnTo>
                    <a:pt x="536" y="810"/>
                  </a:lnTo>
                  <a:lnTo>
                    <a:pt x="535" y="819"/>
                  </a:lnTo>
                  <a:lnTo>
                    <a:pt x="534" y="823"/>
                  </a:lnTo>
                  <a:lnTo>
                    <a:pt x="533" y="826"/>
                  </a:lnTo>
                  <a:lnTo>
                    <a:pt x="533" y="828"/>
                  </a:lnTo>
                  <a:lnTo>
                    <a:pt x="531" y="831"/>
                  </a:lnTo>
                  <a:lnTo>
                    <a:pt x="530" y="833"/>
                  </a:lnTo>
                  <a:lnTo>
                    <a:pt x="526" y="838"/>
                  </a:lnTo>
                  <a:lnTo>
                    <a:pt x="523" y="843"/>
                  </a:lnTo>
                  <a:lnTo>
                    <a:pt x="518" y="848"/>
                  </a:lnTo>
                  <a:lnTo>
                    <a:pt x="515" y="852"/>
                  </a:lnTo>
                  <a:lnTo>
                    <a:pt x="512" y="855"/>
                  </a:lnTo>
                  <a:lnTo>
                    <a:pt x="508" y="858"/>
                  </a:lnTo>
                  <a:lnTo>
                    <a:pt x="505" y="860"/>
                  </a:lnTo>
                  <a:lnTo>
                    <a:pt x="497" y="866"/>
                  </a:lnTo>
                  <a:lnTo>
                    <a:pt x="492" y="868"/>
                  </a:lnTo>
                  <a:lnTo>
                    <a:pt x="486" y="873"/>
                  </a:lnTo>
                  <a:lnTo>
                    <a:pt x="483" y="877"/>
                  </a:lnTo>
                  <a:lnTo>
                    <a:pt x="480" y="880"/>
                  </a:lnTo>
                  <a:lnTo>
                    <a:pt x="476" y="883"/>
                  </a:lnTo>
                  <a:lnTo>
                    <a:pt x="473" y="887"/>
                  </a:lnTo>
                  <a:lnTo>
                    <a:pt x="471" y="890"/>
                  </a:lnTo>
                  <a:lnTo>
                    <a:pt x="469" y="893"/>
                  </a:lnTo>
                  <a:lnTo>
                    <a:pt x="467" y="896"/>
                  </a:lnTo>
                  <a:lnTo>
                    <a:pt x="465" y="900"/>
                  </a:lnTo>
                  <a:lnTo>
                    <a:pt x="464" y="903"/>
                  </a:lnTo>
                  <a:lnTo>
                    <a:pt x="463" y="907"/>
                  </a:lnTo>
                  <a:lnTo>
                    <a:pt x="462" y="909"/>
                  </a:lnTo>
                  <a:lnTo>
                    <a:pt x="462" y="910"/>
                  </a:lnTo>
                  <a:lnTo>
                    <a:pt x="461" y="910"/>
                  </a:lnTo>
                  <a:lnTo>
                    <a:pt x="460" y="910"/>
                  </a:lnTo>
                  <a:lnTo>
                    <a:pt x="458" y="908"/>
                  </a:lnTo>
                  <a:lnTo>
                    <a:pt x="456" y="908"/>
                  </a:lnTo>
                  <a:lnTo>
                    <a:pt x="455" y="906"/>
                  </a:lnTo>
                  <a:lnTo>
                    <a:pt x="453" y="905"/>
                  </a:lnTo>
                  <a:lnTo>
                    <a:pt x="452" y="903"/>
                  </a:lnTo>
                  <a:lnTo>
                    <a:pt x="450" y="901"/>
                  </a:lnTo>
                  <a:lnTo>
                    <a:pt x="448" y="898"/>
                  </a:lnTo>
                  <a:lnTo>
                    <a:pt x="447" y="896"/>
                  </a:lnTo>
                  <a:lnTo>
                    <a:pt x="444" y="891"/>
                  </a:lnTo>
                  <a:lnTo>
                    <a:pt x="442" y="886"/>
                  </a:lnTo>
                  <a:lnTo>
                    <a:pt x="440" y="881"/>
                  </a:lnTo>
                  <a:lnTo>
                    <a:pt x="438" y="876"/>
                  </a:lnTo>
                  <a:lnTo>
                    <a:pt x="437" y="871"/>
                  </a:lnTo>
                  <a:lnTo>
                    <a:pt x="436" y="867"/>
                  </a:lnTo>
                  <a:lnTo>
                    <a:pt x="436" y="863"/>
                  </a:lnTo>
                  <a:lnTo>
                    <a:pt x="436" y="857"/>
                  </a:lnTo>
                  <a:lnTo>
                    <a:pt x="436" y="847"/>
                  </a:lnTo>
                  <a:lnTo>
                    <a:pt x="437" y="841"/>
                  </a:lnTo>
                  <a:lnTo>
                    <a:pt x="438" y="836"/>
                  </a:lnTo>
                  <a:lnTo>
                    <a:pt x="438" y="835"/>
                  </a:lnTo>
                  <a:lnTo>
                    <a:pt x="438" y="834"/>
                  </a:lnTo>
                  <a:lnTo>
                    <a:pt x="437" y="833"/>
                  </a:lnTo>
                  <a:lnTo>
                    <a:pt x="436" y="834"/>
                  </a:lnTo>
                  <a:lnTo>
                    <a:pt x="435" y="834"/>
                  </a:lnTo>
                  <a:lnTo>
                    <a:pt x="435" y="835"/>
                  </a:lnTo>
                  <a:lnTo>
                    <a:pt x="430" y="838"/>
                  </a:lnTo>
                  <a:lnTo>
                    <a:pt x="429" y="839"/>
                  </a:lnTo>
                  <a:lnTo>
                    <a:pt x="428" y="839"/>
                  </a:lnTo>
                  <a:lnTo>
                    <a:pt x="427" y="839"/>
                  </a:lnTo>
                  <a:lnTo>
                    <a:pt x="425" y="839"/>
                  </a:lnTo>
                  <a:lnTo>
                    <a:pt x="424" y="838"/>
                  </a:lnTo>
                  <a:lnTo>
                    <a:pt x="423" y="838"/>
                  </a:lnTo>
                  <a:lnTo>
                    <a:pt x="421" y="836"/>
                  </a:lnTo>
                  <a:lnTo>
                    <a:pt x="420" y="835"/>
                  </a:lnTo>
                  <a:lnTo>
                    <a:pt x="414" y="826"/>
                  </a:lnTo>
                  <a:lnTo>
                    <a:pt x="411" y="821"/>
                  </a:lnTo>
                  <a:lnTo>
                    <a:pt x="408" y="818"/>
                  </a:lnTo>
                  <a:lnTo>
                    <a:pt x="402" y="813"/>
                  </a:lnTo>
                  <a:lnTo>
                    <a:pt x="399" y="810"/>
                  </a:lnTo>
                  <a:lnTo>
                    <a:pt x="386" y="793"/>
                  </a:lnTo>
                  <a:lnTo>
                    <a:pt x="378" y="784"/>
                  </a:lnTo>
                  <a:lnTo>
                    <a:pt x="373" y="778"/>
                  </a:lnTo>
                  <a:lnTo>
                    <a:pt x="371" y="776"/>
                  </a:lnTo>
                  <a:lnTo>
                    <a:pt x="366" y="771"/>
                  </a:lnTo>
                  <a:lnTo>
                    <a:pt x="365" y="771"/>
                  </a:lnTo>
                  <a:lnTo>
                    <a:pt x="363" y="769"/>
                  </a:lnTo>
                  <a:lnTo>
                    <a:pt x="359" y="768"/>
                  </a:lnTo>
                  <a:lnTo>
                    <a:pt x="348" y="763"/>
                  </a:lnTo>
                  <a:lnTo>
                    <a:pt x="347" y="761"/>
                  </a:lnTo>
                  <a:lnTo>
                    <a:pt x="345" y="760"/>
                  </a:lnTo>
                  <a:lnTo>
                    <a:pt x="343" y="758"/>
                  </a:lnTo>
                  <a:lnTo>
                    <a:pt x="342" y="756"/>
                  </a:lnTo>
                  <a:lnTo>
                    <a:pt x="341" y="754"/>
                  </a:lnTo>
                  <a:lnTo>
                    <a:pt x="340" y="752"/>
                  </a:lnTo>
                  <a:lnTo>
                    <a:pt x="338" y="743"/>
                  </a:lnTo>
                  <a:lnTo>
                    <a:pt x="337" y="741"/>
                  </a:lnTo>
                  <a:lnTo>
                    <a:pt x="336" y="736"/>
                  </a:lnTo>
                  <a:lnTo>
                    <a:pt x="336" y="732"/>
                  </a:lnTo>
                  <a:lnTo>
                    <a:pt x="336" y="730"/>
                  </a:lnTo>
                  <a:lnTo>
                    <a:pt x="336" y="728"/>
                  </a:lnTo>
                  <a:lnTo>
                    <a:pt x="335" y="727"/>
                  </a:lnTo>
                  <a:lnTo>
                    <a:pt x="333" y="726"/>
                  </a:lnTo>
                  <a:lnTo>
                    <a:pt x="332" y="726"/>
                  </a:lnTo>
                  <a:lnTo>
                    <a:pt x="330" y="726"/>
                  </a:lnTo>
                  <a:lnTo>
                    <a:pt x="328" y="726"/>
                  </a:lnTo>
                  <a:lnTo>
                    <a:pt x="326" y="727"/>
                  </a:lnTo>
                  <a:lnTo>
                    <a:pt x="324" y="728"/>
                  </a:lnTo>
                  <a:lnTo>
                    <a:pt x="314" y="732"/>
                  </a:lnTo>
                  <a:lnTo>
                    <a:pt x="306" y="734"/>
                  </a:lnTo>
                  <a:lnTo>
                    <a:pt x="299" y="736"/>
                  </a:lnTo>
                  <a:lnTo>
                    <a:pt x="285" y="740"/>
                  </a:lnTo>
                  <a:lnTo>
                    <a:pt x="275" y="743"/>
                  </a:lnTo>
                  <a:lnTo>
                    <a:pt x="271" y="743"/>
                  </a:lnTo>
                  <a:lnTo>
                    <a:pt x="268" y="744"/>
                  </a:lnTo>
                  <a:lnTo>
                    <a:pt x="266" y="744"/>
                  </a:lnTo>
                  <a:lnTo>
                    <a:pt x="264" y="744"/>
                  </a:lnTo>
                  <a:lnTo>
                    <a:pt x="262" y="743"/>
                  </a:lnTo>
                  <a:lnTo>
                    <a:pt x="260" y="743"/>
                  </a:lnTo>
                  <a:lnTo>
                    <a:pt x="258" y="743"/>
                  </a:lnTo>
                  <a:lnTo>
                    <a:pt x="257" y="742"/>
                  </a:lnTo>
                  <a:lnTo>
                    <a:pt x="256" y="741"/>
                  </a:lnTo>
                  <a:lnTo>
                    <a:pt x="254" y="740"/>
                  </a:lnTo>
                  <a:lnTo>
                    <a:pt x="253" y="738"/>
                  </a:lnTo>
                  <a:lnTo>
                    <a:pt x="250" y="731"/>
                  </a:lnTo>
                  <a:lnTo>
                    <a:pt x="243" y="720"/>
                  </a:lnTo>
                  <a:lnTo>
                    <a:pt x="242" y="717"/>
                  </a:lnTo>
                  <a:lnTo>
                    <a:pt x="241" y="715"/>
                  </a:lnTo>
                  <a:lnTo>
                    <a:pt x="241" y="713"/>
                  </a:lnTo>
                  <a:lnTo>
                    <a:pt x="240" y="705"/>
                  </a:lnTo>
                  <a:lnTo>
                    <a:pt x="238" y="698"/>
                  </a:lnTo>
                  <a:lnTo>
                    <a:pt x="238" y="696"/>
                  </a:lnTo>
                  <a:lnTo>
                    <a:pt x="238" y="691"/>
                  </a:lnTo>
                  <a:lnTo>
                    <a:pt x="238" y="689"/>
                  </a:lnTo>
                  <a:lnTo>
                    <a:pt x="238" y="686"/>
                  </a:lnTo>
                  <a:lnTo>
                    <a:pt x="238" y="685"/>
                  </a:lnTo>
                  <a:lnTo>
                    <a:pt x="238" y="684"/>
                  </a:lnTo>
                  <a:lnTo>
                    <a:pt x="238" y="683"/>
                  </a:lnTo>
                  <a:lnTo>
                    <a:pt x="238" y="681"/>
                  </a:lnTo>
                  <a:lnTo>
                    <a:pt x="237" y="679"/>
                  </a:lnTo>
                  <a:lnTo>
                    <a:pt x="236" y="678"/>
                  </a:lnTo>
                  <a:lnTo>
                    <a:pt x="234" y="677"/>
                  </a:lnTo>
                  <a:lnTo>
                    <a:pt x="231" y="675"/>
                  </a:lnTo>
                  <a:lnTo>
                    <a:pt x="228" y="673"/>
                  </a:lnTo>
                  <a:lnTo>
                    <a:pt x="221" y="666"/>
                  </a:lnTo>
                  <a:lnTo>
                    <a:pt x="214" y="660"/>
                  </a:lnTo>
                  <a:lnTo>
                    <a:pt x="207" y="651"/>
                  </a:lnTo>
                  <a:lnTo>
                    <a:pt x="206" y="650"/>
                  </a:lnTo>
                  <a:lnTo>
                    <a:pt x="203" y="649"/>
                  </a:lnTo>
                  <a:lnTo>
                    <a:pt x="200" y="646"/>
                  </a:lnTo>
                  <a:lnTo>
                    <a:pt x="194" y="643"/>
                  </a:lnTo>
                  <a:lnTo>
                    <a:pt x="189" y="641"/>
                  </a:lnTo>
                  <a:lnTo>
                    <a:pt x="184" y="638"/>
                  </a:lnTo>
                  <a:lnTo>
                    <a:pt x="179" y="634"/>
                  </a:lnTo>
                  <a:lnTo>
                    <a:pt x="176" y="632"/>
                  </a:lnTo>
                  <a:lnTo>
                    <a:pt x="174" y="631"/>
                  </a:lnTo>
                  <a:lnTo>
                    <a:pt x="172" y="630"/>
                  </a:lnTo>
                  <a:lnTo>
                    <a:pt x="165" y="628"/>
                  </a:lnTo>
                  <a:lnTo>
                    <a:pt x="164" y="627"/>
                  </a:lnTo>
                  <a:lnTo>
                    <a:pt x="162" y="626"/>
                  </a:lnTo>
                  <a:lnTo>
                    <a:pt x="162" y="626"/>
                  </a:lnTo>
                  <a:lnTo>
                    <a:pt x="161" y="625"/>
                  </a:lnTo>
                  <a:lnTo>
                    <a:pt x="161" y="624"/>
                  </a:lnTo>
                  <a:lnTo>
                    <a:pt x="161" y="623"/>
                  </a:lnTo>
                  <a:lnTo>
                    <a:pt x="161" y="621"/>
                  </a:lnTo>
                  <a:lnTo>
                    <a:pt x="161" y="618"/>
                  </a:lnTo>
                  <a:lnTo>
                    <a:pt x="161" y="616"/>
                  </a:lnTo>
                  <a:lnTo>
                    <a:pt x="161" y="610"/>
                  </a:lnTo>
                  <a:lnTo>
                    <a:pt x="161" y="609"/>
                  </a:lnTo>
                  <a:lnTo>
                    <a:pt x="161" y="607"/>
                  </a:lnTo>
                  <a:lnTo>
                    <a:pt x="160" y="606"/>
                  </a:lnTo>
                  <a:lnTo>
                    <a:pt x="160" y="606"/>
                  </a:lnTo>
                  <a:lnTo>
                    <a:pt x="159" y="604"/>
                  </a:lnTo>
                  <a:lnTo>
                    <a:pt x="157" y="603"/>
                  </a:lnTo>
                  <a:lnTo>
                    <a:pt x="155" y="602"/>
                  </a:lnTo>
                  <a:lnTo>
                    <a:pt x="146" y="597"/>
                  </a:lnTo>
                  <a:lnTo>
                    <a:pt x="141" y="594"/>
                  </a:lnTo>
                  <a:lnTo>
                    <a:pt x="136" y="591"/>
                  </a:lnTo>
                  <a:lnTo>
                    <a:pt x="127" y="585"/>
                  </a:lnTo>
                  <a:lnTo>
                    <a:pt x="121" y="581"/>
                  </a:lnTo>
                  <a:lnTo>
                    <a:pt x="117" y="579"/>
                  </a:lnTo>
                  <a:lnTo>
                    <a:pt x="104" y="573"/>
                  </a:lnTo>
                  <a:lnTo>
                    <a:pt x="102" y="571"/>
                  </a:lnTo>
                  <a:lnTo>
                    <a:pt x="101" y="571"/>
                  </a:lnTo>
                  <a:lnTo>
                    <a:pt x="99" y="569"/>
                  </a:lnTo>
                  <a:lnTo>
                    <a:pt x="98" y="568"/>
                  </a:lnTo>
                  <a:lnTo>
                    <a:pt x="94" y="564"/>
                  </a:lnTo>
                  <a:lnTo>
                    <a:pt x="89" y="556"/>
                  </a:lnTo>
                  <a:lnTo>
                    <a:pt x="82" y="548"/>
                  </a:lnTo>
                  <a:lnTo>
                    <a:pt x="81" y="546"/>
                  </a:lnTo>
                  <a:lnTo>
                    <a:pt x="80" y="546"/>
                  </a:lnTo>
                  <a:lnTo>
                    <a:pt x="78" y="544"/>
                  </a:lnTo>
                  <a:lnTo>
                    <a:pt x="74" y="542"/>
                  </a:lnTo>
                  <a:lnTo>
                    <a:pt x="71" y="540"/>
                  </a:lnTo>
                  <a:lnTo>
                    <a:pt x="68" y="539"/>
                  </a:lnTo>
                  <a:lnTo>
                    <a:pt x="64" y="534"/>
                  </a:lnTo>
                  <a:lnTo>
                    <a:pt x="61" y="532"/>
                  </a:lnTo>
                  <a:lnTo>
                    <a:pt x="59" y="531"/>
                  </a:lnTo>
                  <a:lnTo>
                    <a:pt x="54" y="527"/>
                  </a:lnTo>
                  <a:lnTo>
                    <a:pt x="51" y="526"/>
                  </a:lnTo>
                  <a:lnTo>
                    <a:pt x="51" y="525"/>
                  </a:lnTo>
                  <a:lnTo>
                    <a:pt x="49" y="524"/>
                  </a:lnTo>
                  <a:lnTo>
                    <a:pt x="44" y="517"/>
                  </a:lnTo>
                  <a:lnTo>
                    <a:pt x="42" y="515"/>
                  </a:lnTo>
                  <a:lnTo>
                    <a:pt x="40" y="513"/>
                  </a:lnTo>
                  <a:lnTo>
                    <a:pt x="37" y="511"/>
                  </a:lnTo>
                  <a:lnTo>
                    <a:pt x="35" y="509"/>
                  </a:lnTo>
                  <a:lnTo>
                    <a:pt x="31" y="507"/>
                  </a:lnTo>
                  <a:lnTo>
                    <a:pt x="21" y="501"/>
                  </a:lnTo>
                  <a:lnTo>
                    <a:pt x="18" y="499"/>
                  </a:lnTo>
                  <a:lnTo>
                    <a:pt x="14" y="497"/>
                  </a:lnTo>
                  <a:lnTo>
                    <a:pt x="11" y="495"/>
                  </a:lnTo>
                  <a:lnTo>
                    <a:pt x="9" y="492"/>
                  </a:lnTo>
                  <a:lnTo>
                    <a:pt x="8" y="491"/>
                  </a:lnTo>
                  <a:lnTo>
                    <a:pt x="6" y="488"/>
                  </a:lnTo>
                  <a:lnTo>
                    <a:pt x="5" y="486"/>
                  </a:lnTo>
                  <a:lnTo>
                    <a:pt x="4" y="484"/>
                  </a:lnTo>
                  <a:lnTo>
                    <a:pt x="3" y="481"/>
                  </a:lnTo>
                  <a:lnTo>
                    <a:pt x="1" y="478"/>
                  </a:lnTo>
                  <a:lnTo>
                    <a:pt x="1" y="475"/>
                  </a:lnTo>
                  <a:lnTo>
                    <a:pt x="0" y="472"/>
                  </a:lnTo>
                  <a:lnTo>
                    <a:pt x="0" y="469"/>
                  </a:lnTo>
                  <a:lnTo>
                    <a:pt x="0" y="466"/>
                  </a:lnTo>
                  <a:lnTo>
                    <a:pt x="0" y="464"/>
                  </a:lnTo>
                  <a:lnTo>
                    <a:pt x="1" y="461"/>
                  </a:lnTo>
                  <a:lnTo>
                    <a:pt x="1" y="459"/>
                  </a:lnTo>
                  <a:lnTo>
                    <a:pt x="2" y="456"/>
                  </a:lnTo>
                  <a:lnTo>
                    <a:pt x="2" y="456"/>
                  </a:lnTo>
                  <a:lnTo>
                    <a:pt x="3" y="456"/>
                  </a:lnTo>
                  <a:lnTo>
                    <a:pt x="11" y="453"/>
                  </a:lnTo>
                  <a:lnTo>
                    <a:pt x="16" y="451"/>
                  </a:lnTo>
                  <a:lnTo>
                    <a:pt x="19" y="449"/>
                  </a:lnTo>
                  <a:lnTo>
                    <a:pt x="22" y="448"/>
                  </a:lnTo>
                  <a:lnTo>
                    <a:pt x="26" y="446"/>
                  </a:lnTo>
                  <a:lnTo>
                    <a:pt x="29" y="444"/>
                  </a:lnTo>
                  <a:lnTo>
                    <a:pt x="31" y="442"/>
                  </a:lnTo>
                  <a:lnTo>
                    <a:pt x="37" y="438"/>
                  </a:lnTo>
                  <a:lnTo>
                    <a:pt x="41" y="435"/>
                  </a:lnTo>
                  <a:lnTo>
                    <a:pt x="43" y="431"/>
                  </a:lnTo>
                  <a:lnTo>
                    <a:pt x="46" y="427"/>
                  </a:lnTo>
                  <a:lnTo>
                    <a:pt x="49" y="425"/>
                  </a:lnTo>
                  <a:lnTo>
                    <a:pt x="50" y="424"/>
                  </a:lnTo>
                  <a:lnTo>
                    <a:pt x="51" y="423"/>
                  </a:lnTo>
                  <a:lnTo>
                    <a:pt x="56" y="420"/>
                  </a:lnTo>
                  <a:lnTo>
                    <a:pt x="59" y="419"/>
                  </a:lnTo>
                  <a:lnTo>
                    <a:pt x="59" y="418"/>
                  </a:lnTo>
                  <a:lnTo>
                    <a:pt x="60" y="417"/>
                  </a:lnTo>
                  <a:lnTo>
                    <a:pt x="60" y="416"/>
                  </a:lnTo>
                  <a:lnTo>
                    <a:pt x="60" y="414"/>
                  </a:lnTo>
                  <a:lnTo>
                    <a:pt x="61" y="411"/>
                  </a:lnTo>
                  <a:lnTo>
                    <a:pt x="61" y="409"/>
                  </a:lnTo>
                  <a:lnTo>
                    <a:pt x="61" y="407"/>
                  </a:lnTo>
                  <a:lnTo>
                    <a:pt x="60" y="404"/>
                  </a:lnTo>
                  <a:lnTo>
                    <a:pt x="59" y="401"/>
                  </a:lnTo>
                  <a:lnTo>
                    <a:pt x="53" y="389"/>
                  </a:lnTo>
                  <a:lnTo>
                    <a:pt x="51" y="385"/>
                  </a:lnTo>
                  <a:lnTo>
                    <a:pt x="49" y="382"/>
                  </a:lnTo>
                  <a:lnTo>
                    <a:pt x="46" y="380"/>
                  </a:lnTo>
                  <a:lnTo>
                    <a:pt x="41" y="374"/>
                  </a:lnTo>
                  <a:lnTo>
                    <a:pt x="39" y="372"/>
                  </a:lnTo>
                  <a:lnTo>
                    <a:pt x="37" y="371"/>
                  </a:lnTo>
                  <a:lnTo>
                    <a:pt x="36" y="368"/>
                  </a:lnTo>
                  <a:lnTo>
                    <a:pt x="35" y="367"/>
                  </a:lnTo>
                  <a:lnTo>
                    <a:pt x="34" y="364"/>
                  </a:lnTo>
                  <a:lnTo>
                    <a:pt x="33" y="362"/>
                  </a:lnTo>
                  <a:lnTo>
                    <a:pt x="32" y="359"/>
                  </a:lnTo>
                  <a:lnTo>
                    <a:pt x="31" y="356"/>
                  </a:lnTo>
                  <a:lnTo>
                    <a:pt x="31" y="353"/>
                  </a:lnTo>
                  <a:lnTo>
                    <a:pt x="31" y="349"/>
                  </a:lnTo>
                  <a:lnTo>
                    <a:pt x="32" y="344"/>
                  </a:lnTo>
                  <a:lnTo>
                    <a:pt x="34" y="336"/>
                  </a:lnTo>
                  <a:lnTo>
                    <a:pt x="34" y="332"/>
                  </a:lnTo>
                  <a:lnTo>
                    <a:pt x="35" y="314"/>
                  </a:lnTo>
                  <a:lnTo>
                    <a:pt x="35" y="309"/>
                  </a:lnTo>
                  <a:lnTo>
                    <a:pt x="35" y="307"/>
                  </a:lnTo>
                  <a:lnTo>
                    <a:pt x="35" y="304"/>
                  </a:lnTo>
                  <a:lnTo>
                    <a:pt x="34" y="302"/>
                  </a:lnTo>
                  <a:lnTo>
                    <a:pt x="34" y="301"/>
                  </a:lnTo>
                  <a:lnTo>
                    <a:pt x="33" y="300"/>
                  </a:lnTo>
                  <a:lnTo>
                    <a:pt x="31" y="299"/>
                  </a:lnTo>
                  <a:lnTo>
                    <a:pt x="30" y="297"/>
                  </a:lnTo>
                  <a:lnTo>
                    <a:pt x="29" y="297"/>
                  </a:lnTo>
                  <a:lnTo>
                    <a:pt x="27" y="297"/>
                  </a:lnTo>
                  <a:lnTo>
                    <a:pt x="26" y="297"/>
                  </a:lnTo>
                  <a:lnTo>
                    <a:pt x="24" y="292"/>
                  </a:lnTo>
                  <a:lnTo>
                    <a:pt x="19" y="284"/>
                  </a:lnTo>
                  <a:lnTo>
                    <a:pt x="19" y="283"/>
                  </a:lnTo>
                  <a:lnTo>
                    <a:pt x="19" y="282"/>
                  </a:lnTo>
                  <a:lnTo>
                    <a:pt x="19" y="282"/>
                  </a:lnTo>
                  <a:lnTo>
                    <a:pt x="19" y="281"/>
                  </a:lnTo>
                  <a:lnTo>
                    <a:pt x="19" y="280"/>
                  </a:lnTo>
                  <a:lnTo>
                    <a:pt x="20" y="279"/>
                  </a:lnTo>
                  <a:lnTo>
                    <a:pt x="21" y="279"/>
                  </a:lnTo>
                  <a:lnTo>
                    <a:pt x="22" y="279"/>
                  </a:lnTo>
                  <a:lnTo>
                    <a:pt x="25" y="278"/>
                  </a:lnTo>
                  <a:lnTo>
                    <a:pt x="27" y="277"/>
                  </a:lnTo>
                  <a:lnTo>
                    <a:pt x="28" y="277"/>
                  </a:lnTo>
                  <a:lnTo>
                    <a:pt x="29" y="277"/>
                  </a:lnTo>
                  <a:lnTo>
                    <a:pt x="29" y="276"/>
                  </a:lnTo>
                  <a:lnTo>
                    <a:pt x="29" y="274"/>
                  </a:lnTo>
                  <a:lnTo>
                    <a:pt x="30" y="269"/>
                  </a:lnTo>
                  <a:lnTo>
                    <a:pt x="31" y="267"/>
                  </a:lnTo>
                  <a:lnTo>
                    <a:pt x="31" y="266"/>
                  </a:lnTo>
                  <a:lnTo>
                    <a:pt x="32" y="264"/>
                  </a:lnTo>
                  <a:lnTo>
                    <a:pt x="33" y="264"/>
                  </a:lnTo>
                  <a:lnTo>
                    <a:pt x="34" y="263"/>
                  </a:lnTo>
                  <a:lnTo>
                    <a:pt x="34" y="262"/>
                  </a:lnTo>
                  <a:lnTo>
                    <a:pt x="35" y="262"/>
                  </a:lnTo>
                  <a:lnTo>
                    <a:pt x="39" y="261"/>
                  </a:lnTo>
                  <a:lnTo>
                    <a:pt x="41" y="261"/>
                  </a:lnTo>
                  <a:lnTo>
                    <a:pt x="43" y="259"/>
                  </a:lnTo>
                  <a:lnTo>
                    <a:pt x="46" y="259"/>
                  </a:lnTo>
                  <a:lnTo>
                    <a:pt x="47" y="257"/>
                  </a:lnTo>
                  <a:lnTo>
                    <a:pt x="49" y="257"/>
                  </a:lnTo>
                  <a:lnTo>
                    <a:pt x="52" y="253"/>
                  </a:lnTo>
                  <a:lnTo>
                    <a:pt x="53" y="252"/>
                  </a:lnTo>
                  <a:lnTo>
                    <a:pt x="54" y="249"/>
                  </a:lnTo>
                  <a:lnTo>
                    <a:pt x="54" y="247"/>
                  </a:lnTo>
                  <a:lnTo>
                    <a:pt x="55" y="244"/>
                  </a:lnTo>
                  <a:lnTo>
                    <a:pt x="56" y="241"/>
                  </a:lnTo>
                  <a:lnTo>
                    <a:pt x="56" y="237"/>
                  </a:lnTo>
                  <a:lnTo>
                    <a:pt x="56" y="235"/>
                  </a:lnTo>
                  <a:lnTo>
                    <a:pt x="56" y="234"/>
                  </a:lnTo>
                  <a:lnTo>
                    <a:pt x="56" y="233"/>
                  </a:lnTo>
                  <a:lnTo>
                    <a:pt x="56" y="232"/>
                  </a:lnTo>
                  <a:lnTo>
                    <a:pt x="56" y="229"/>
                  </a:lnTo>
                  <a:lnTo>
                    <a:pt x="56" y="228"/>
                  </a:lnTo>
                  <a:lnTo>
                    <a:pt x="59" y="224"/>
                  </a:lnTo>
                  <a:lnTo>
                    <a:pt x="60" y="221"/>
                  </a:lnTo>
                  <a:lnTo>
                    <a:pt x="61" y="218"/>
                  </a:lnTo>
                  <a:lnTo>
                    <a:pt x="64" y="215"/>
                  </a:lnTo>
                  <a:lnTo>
                    <a:pt x="71" y="205"/>
                  </a:lnTo>
                  <a:lnTo>
                    <a:pt x="75" y="199"/>
                  </a:lnTo>
                  <a:lnTo>
                    <a:pt x="80" y="192"/>
                  </a:lnTo>
                  <a:lnTo>
                    <a:pt x="81" y="190"/>
                  </a:lnTo>
                  <a:lnTo>
                    <a:pt x="82" y="189"/>
                  </a:lnTo>
                  <a:lnTo>
                    <a:pt x="82" y="187"/>
                  </a:lnTo>
                  <a:lnTo>
                    <a:pt x="83" y="185"/>
                  </a:lnTo>
                  <a:lnTo>
                    <a:pt x="84" y="183"/>
                  </a:lnTo>
                  <a:lnTo>
                    <a:pt x="84" y="182"/>
                  </a:lnTo>
                  <a:lnTo>
                    <a:pt x="84" y="179"/>
                  </a:lnTo>
                  <a:lnTo>
                    <a:pt x="83" y="177"/>
                  </a:lnTo>
                  <a:lnTo>
                    <a:pt x="82" y="174"/>
                  </a:lnTo>
                  <a:lnTo>
                    <a:pt x="80" y="165"/>
                  </a:lnTo>
                  <a:lnTo>
                    <a:pt x="79" y="160"/>
                  </a:lnTo>
                  <a:lnTo>
                    <a:pt x="78" y="153"/>
                  </a:lnTo>
                  <a:lnTo>
                    <a:pt x="77" y="146"/>
                  </a:lnTo>
                  <a:lnTo>
                    <a:pt x="77" y="143"/>
                  </a:lnTo>
                  <a:lnTo>
                    <a:pt x="77" y="140"/>
                  </a:lnTo>
                  <a:lnTo>
                    <a:pt x="77" y="137"/>
                  </a:lnTo>
                  <a:lnTo>
                    <a:pt x="78" y="135"/>
                  </a:lnTo>
                  <a:lnTo>
                    <a:pt x="78" y="133"/>
                  </a:lnTo>
                  <a:lnTo>
                    <a:pt x="79" y="130"/>
                  </a:lnTo>
                  <a:lnTo>
                    <a:pt x="79" y="129"/>
                  </a:lnTo>
                  <a:lnTo>
                    <a:pt x="81" y="127"/>
                  </a:lnTo>
                  <a:lnTo>
                    <a:pt x="81" y="126"/>
                  </a:lnTo>
                  <a:lnTo>
                    <a:pt x="83" y="125"/>
                  </a:lnTo>
                  <a:lnTo>
                    <a:pt x="84" y="124"/>
                  </a:lnTo>
                  <a:lnTo>
                    <a:pt x="86" y="123"/>
                  </a:lnTo>
                  <a:lnTo>
                    <a:pt x="87" y="122"/>
                  </a:lnTo>
                  <a:lnTo>
                    <a:pt x="89" y="122"/>
                  </a:lnTo>
                  <a:lnTo>
                    <a:pt x="91" y="122"/>
                  </a:lnTo>
                  <a:lnTo>
                    <a:pt x="94" y="122"/>
                  </a:lnTo>
                  <a:lnTo>
                    <a:pt x="96" y="122"/>
                  </a:lnTo>
                  <a:lnTo>
                    <a:pt x="99" y="123"/>
                  </a:lnTo>
                  <a:lnTo>
                    <a:pt x="103" y="124"/>
                  </a:lnTo>
                  <a:lnTo>
                    <a:pt x="113" y="128"/>
                  </a:lnTo>
                  <a:lnTo>
                    <a:pt x="121" y="130"/>
                  </a:lnTo>
                  <a:lnTo>
                    <a:pt x="124" y="132"/>
                  </a:lnTo>
                  <a:lnTo>
                    <a:pt x="127" y="132"/>
                  </a:lnTo>
                  <a:lnTo>
                    <a:pt x="129" y="132"/>
                  </a:lnTo>
                  <a:lnTo>
                    <a:pt x="130" y="132"/>
                  </a:lnTo>
                  <a:lnTo>
                    <a:pt x="131" y="131"/>
                  </a:lnTo>
                  <a:lnTo>
                    <a:pt x="131" y="131"/>
                  </a:lnTo>
                  <a:lnTo>
                    <a:pt x="132" y="130"/>
                  </a:lnTo>
                  <a:lnTo>
                    <a:pt x="132" y="130"/>
                  </a:lnTo>
                  <a:lnTo>
                    <a:pt x="133" y="128"/>
                  </a:lnTo>
                  <a:lnTo>
                    <a:pt x="133" y="127"/>
                  </a:lnTo>
                  <a:lnTo>
                    <a:pt x="133" y="125"/>
                  </a:lnTo>
                  <a:lnTo>
                    <a:pt x="132" y="124"/>
                  </a:lnTo>
                  <a:lnTo>
                    <a:pt x="131" y="120"/>
                  </a:lnTo>
                  <a:lnTo>
                    <a:pt x="126" y="114"/>
                  </a:lnTo>
                  <a:lnTo>
                    <a:pt x="125" y="111"/>
                  </a:lnTo>
                  <a:lnTo>
                    <a:pt x="122" y="106"/>
                  </a:lnTo>
                  <a:lnTo>
                    <a:pt x="121" y="101"/>
                  </a:lnTo>
                  <a:lnTo>
                    <a:pt x="119" y="96"/>
                  </a:lnTo>
                  <a:lnTo>
                    <a:pt x="117" y="92"/>
                  </a:lnTo>
                  <a:lnTo>
                    <a:pt x="116" y="88"/>
                  </a:lnTo>
                  <a:lnTo>
                    <a:pt x="116" y="84"/>
                  </a:lnTo>
                  <a:lnTo>
                    <a:pt x="115" y="78"/>
                  </a:lnTo>
                  <a:lnTo>
                    <a:pt x="114" y="74"/>
                  </a:lnTo>
                  <a:lnTo>
                    <a:pt x="114" y="64"/>
                  </a:lnTo>
                  <a:lnTo>
                    <a:pt x="112" y="50"/>
                  </a:lnTo>
                  <a:lnTo>
                    <a:pt x="112" y="45"/>
                  </a:lnTo>
                  <a:lnTo>
                    <a:pt x="112" y="42"/>
                  </a:lnTo>
                  <a:lnTo>
                    <a:pt x="112" y="41"/>
                  </a:lnTo>
                  <a:lnTo>
                    <a:pt x="113" y="40"/>
                  </a:lnTo>
                  <a:lnTo>
                    <a:pt x="114" y="38"/>
                  </a:lnTo>
                  <a:lnTo>
                    <a:pt x="114" y="37"/>
                  </a:lnTo>
                  <a:lnTo>
                    <a:pt x="115" y="36"/>
                  </a:lnTo>
                  <a:lnTo>
                    <a:pt x="116" y="35"/>
                  </a:lnTo>
                  <a:lnTo>
                    <a:pt x="119" y="34"/>
                  </a:lnTo>
                  <a:lnTo>
                    <a:pt x="122" y="32"/>
                  </a:lnTo>
                  <a:lnTo>
                    <a:pt x="126" y="30"/>
                  </a:lnTo>
                  <a:lnTo>
                    <a:pt x="129" y="29"/>
                  </a:lnTo>
                  <a:lnTo>
                    <a:pt x="136" y="27"/>
                  </a:lnTo>
                  <a:lnTo>
                    <a:pt x="138" y="27"/>
                  </a:lnTo>
                  <a:lnTo>
                    <a:pt x="140" y="25"/>
                  </a:lnTo>
                  <a:lnTo>
                    <a:pt x="141" y="25"/>
                  </a:lnTo>
                  <a:lnTo>
                    <a:pt x="143" y="24"/>
                  </a:lnTo>
                  <a:lnTo>
                    <a:pt x="144" y="22"/>
                  </a:lnTo>
                  <a:lnTo>
                    <a:pt x="146" y="18"/>
                  </a:lnTo>
                  <a:lnTo>
                    <a:pt x="150" y="13"/>
                  </a:lnTo>
                  <a:lnTo>
                    <a:pt x="153" y="7"/>
                  </a:lnTo>
                  <a:lnTo>
                    <a:pt x="155" y="3"/>
                  </a:lnTo>
                  <a:lnTo>
                    <a:pt x="156" y="2"/>
                  </a:lnTo>
                  <a:lnTo>
                    <a:pt x="158" y="0"/>
                  </a:lnTo>
                  <a:lnTo>
                    <a:pt x="159" y="0"/>
                  </a:lnTo>
                  <a:lnTo>
                    <a:pt x="159" y="0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6BAED6"/>
            </a:solidFill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98">
              <a:extLst>
                <a:ext uri="{FF2B5EF4-FFF2-40B4-BE49-F238E27FC236}">
                  <a16:creationId xmlns:a16="http://schemas.microsoft.com/office/drawing/2014/main" id="{C9D7B345-63C2-683D-E422-13C607BA6C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4173" y="5767225"/>
              <a:ext cx="1177925" cy="976313"/>
            </a:xfrm>
            <a:custGeom>
              <a:avLst/>
              <a:gdLst>
                <a:gd name="T0" fmla="*/ 281 w 742"/>
                <a:gd name="T1" fmla="*/ 22 h 615"/>
                <a:gd name="T2" fmla="*/ 301 w 742"/>
                <a:gd name="T3" fmla="*/ 45 h 615"/>
                <a:gd name="T4" fmla="*/ 334 w 742"/>
                <a:gd name="T5" fmla="*/ 71 h 615"/>
                <a:gd name="T6" fmla="*/ 362 w 742"/>
                <a:gd name="T7" fmla="*/ 92 h 615"/>
                <a:gd name="T8" fmla="*/ 407 w 742"/>
                <a:gd name="T9" fmla="*/ 129 h 615"/>
                <a:gd name="T10" fmla="*/ 441 w 742"/>
                <a:gd name="T11" fmla="*/ 153 h 615"/>
                <a:gd name="T12" fmla="*/ 444 w 742"/>
                <a:gd name="T13" fmla="*/ 171 h 615"/>
                <a:gd name="T14" fmla="*/ 483 w 742"/>
                <a:gd name="T15" fmla="*/ 193 h 615"/>
                <a:gd name="T16" fmla="*/ 518 w 742"/>
                <a:gd name="T17" fmla="*/ 225 h 615"/>
                <a:gd name="T18" fmla="*/ 521 w 742"/>
                <a:gd name="T19" fmla="*/ 257 h 615"/>
                <a:gd name="T20" fmla="*/ 540 w 742"/>
                <a:gd name="T21" fmla="*/ 287 h 615"/>
                <a:gd name="T22" fmla="*/ 594 w 742"/>
                <a:gd name="T23" fmla="*/ 276 h 615"/>
                <a:gd name="T24" fmla="*/ 616 w 742"/>
                <a:gd name="T25" fmla="*/ 276 h 615"/>
                <a:gd name="T26" fmla="*/ 628 w 742"/>
                <a:gd name="T27" fmla="*/ 307 h 615"/>
                <a:gd name="T28" fmla="*/ 682 w 742"/>
                <a:gd name="T29" fmla="*/ 357 h 615"/>
                <a:gd name="T30" fmla="*/ 708 w 742"/>
                <a:gd name="T31" fmla="*/ 383 h 615"/>
                <a:gd name="T32" fmla="*/ 717 w 742"/>
                <a:gd name="T33" fmla="*/ 385 h 615"/>
                <a:gd name="T34" fmla="*/ 727 w 742"/>
                <a:gd name="T35" fmla="*/ 440 h 615"/>
                <a:gd name="T36" fmla="*/ 742 w 742"/>
                <a:gd name="T37" fmla="*/ 454 h 615"/>
                <a:gd name="T38" fmla="*/ 738 w 742"/>
                <a:gd name="T39" fmla="*/ 519 h 615"/>
                <a:gd name="T40" fmla="*/ 723 w 742"/>
                <a:gd name="T41" fmla="*/ 574 h 615"/>
                <a:gd name="T42" fmla="*/ 694 w 742"/>
                <a:gd name="T43" fmla="*/ 578 h 615"/>
                <a:gd name="T44" fmla="*/ 666 w 742"/>
                <a:gd name="T45" fmla="*/ 551 h 615"/>
                <a:gd name="T46" fmla="*/ 641 w 742"/>
                <a:gd name="T47" fmla="*/ 529 h 615"/>
                <a:gd name="T48" fmla="*/ 601 w 742"/>
                <a:gd name="T49" fmla="*/ 542 h 615"/>
                <a:gd name="T50" fmla="*/ 546 w 742"/>
                <a:gd name="T51" fmla="*/ 530 h 615"/>
                <a:gd name="T52" fmla="*/ 511 w 742"/>
                <a:gd name="T53" fmla="*/ 499 h 615"/>
                <a:gd name="T54" fmla="*/ 493 w 742"/>
                <a:gd name="T55" fmla="*/ 502 h 615"/>
                <a:gd name="T56" fmla="*/ 483 w 742"/>
                <a:gd name="T57" fmla="*/ 547 h 615"/>
                <a:gd name="T58" fmla="*/ 465 w 742"/>
                <a:gd name="T59" fmla="*/ 567 h 615"/>
                <a:gd name="T60" fmla="*/ 436 w 742"/>
                <a:gd name="T61" fmla="*/ 575 h 615"/>
                <a:gd name="T62" fmla="*/ 418 w 742"/>
                <a:gd name="T63" fmla="*/ 596 h 615"/>
                <a:gd name="T64" fmla="*/ 389 w 742"/>
                <a:gd name="T65" fmla="*/ 614 h 615"/>
                <a:gd name="T66" fmla="*/ 325 w 742"/>
                <a:gd name="T67" fmla="*/ 588 h 615"/>
                <a:gd name="T68" fmla="*/ 266 w 742"/>
                <a:gd name="T69" fmla="*/ 572 h 615"/>
                <a:gd name="T70" fmla="*/ 204 w 742"/>
                <a:gd name="T71" fmla="*/ 562 h 615"/>
                <a:gd name="T72" fmla="*/ 167 w 742"/>
                <a:gd name="T73" fmla="*/ 562 h 615"/>
                <a:gd name="T74" fmla="*/ 127 w 742"/>
                <a:gd name="T75" fmla="*/ 543 h 615"/>
                <a:gd name="T76" fmla="*/ 110 w 742"/>
                <a:gd name="T77" fmla="*/ 518 h 615"/>
                <a:gd name="T78" fmla="*/ 96 w 742"/>
                <a:gd name="T79" fmla="*/ 495 h 615"/>
                <a:gd name="T80" fmla="*/ 120 w 742"/>
                <a:gd name="T81" fmla="*/ 476 h 615"/>
                <a:gd name="T82" fmla="*/ 127 w 742"/>
                <a:gd name="T83" fmla="*/ 458 h 615"/>
                <a:gd name="T84" fmla="*/ 97 w 742"/>
                <a:gd name="T85" fmla="*/ 427 h 615"/>
                <a:gd name="T86" fmla="*/ 67 w 742"/>
                <a:gd name="T87" fmla="*/ 401 h 615"/>
                <a:gd name="T88" fmla="*/ 17 w 742"/>
                <a:gd name="T89" fmla="*/ 372 h 615"/>
                <a:gd name="T90" fmla="*/ 10 w 742"/>
                <a:gd name="T91" fmla="*/ 339 h 615"/>
                <a:gd name="T92" fmla="*/ 38 w 742"/>
                <a:gd name="T93" fmla="*/ 325 h 615"/>
                <a:gd name="T94" fmla="*/ 56 w 742"/>
                <a:gd name="T95" fmla="*/ 281 h 615"/>
                <a:gd name="T96" fmla="*/ 47 w 742"/>
                <a:gd name="T97" fmla="*/ 230 h 615"/>
                <a:gd name="T98" fmla="*/ 39 w 742"/>
                <a:gd name="T99" fmla="*/ 175 h 615"/>
                <a:gd name="T100" fmla="*/ 42 w 742"/>
                <a:gd name="T101" fmla="*/ 145 h 615"/>
                <a:gd name="T102" fmla="*/ 74 w 742"/>
                <a:gd name="T103" fmla="*/ 145 h 615"/>
                <a:gd name="T104" fmla="*/ 137 w 742"/>
                <a:gd name="T105" fmla="*/ 133 h 615"/>
                <a:gd name="T106" fmla="*/ 190 w 742"/>
                <a:gd name="T107" fmla="*/ 133 h 615"/>
                <a:gd name="T108" fmla="*/ 233 w 742"/>
                <a:gd name="T109" fmla="*/ 151 h 615"/>
                <a:gd name="T110" fmla="*/ 247 w 742"/>
                <a:gd name="T111" fmla="*/ 145 h 615"/>
                <a:gd name="T112" fmla="*/ 248 w 742"/>
                <a:gd name="T113" fmla="*/ 131 h 615"/>
                <a:gd name="T114" fmla="*/ 237 w 742"/>
                <a:gd name="T115" fmla="*/ 102 h 615"/>
                <a:gd name="T116" fmla="*/ 247 w 742"/>
                <a:gd name="T117" fmla="*/ 78 h 615"/>
                <a:gd name="T118" fmla="*/ 254 w 742"/>
                <a:gd name="T119" fmla="*/ 40 h 615"/>
                <a:gd name="T120" fmla="*/ 269 w 742"/>
                <a:gd name="T121" fmla="*/ 10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42" h="615">
                  <a:moveTo>
                    <a:pt x="282" y="0"/>
                  </a:moveTo>
                  <a:lnTo>
                    <a:pt x="282" y="0"/>
                  </a:lnTo>
                  <a:lnTo>
                    <a:pt x="281" y="3"/>
                  </a:lnTo>
                  <a:lnTo>
                    <a:pt x="281" y="5"/>
                  </a:lnTo>
                  <a:lnTo>
                    <a:pt x="280" y="8"/>
                  </a:lnTo>
                  <a:lnTo>
                    <a:pt x="280" y="10"/>
                  </a:lnTo>
                  <a:lnTo>
                    <a:pt x="280" y="13"/>
                  </a:lnTo>
                  <a:lnTo>
                    <a:pt x="280" y="16"/>
                  </a:lnTo>
                  <a:lnTo>
                    <a:pt x="281" y="19"/>
                  </a:lnTo>
                  <a:lnTo>
                    <a:pt x="281" y="22"/>
                  </a:lnTo>
                  <a:lnTo>
                    <a:pt x="283" y="25"/>
                  </a:lnTo>
                  <a:lnTo>
                    <a:pt x="284" y="28"/>
                  </a:lnTo>
                  <a:lnTo>
                    <a:pt x="285" y="30"/>
                  </a:lnTo>
                  <a:lnTo>
                    <a:pt x="286" y="32"/>
                  </a:lnTo>
                  <a:lnTo>
                    <a:pt x="288" y="35"/>
                  </a:lnTo>
                  <a:lnTo>
                    <a:pt x="289" y="36"/>
                  </a:lnTo>
                  <a:lnTo>
                    <a:pt x="291" y="39"/>
                  </a:lnTo>
                  <a:lnTo>
                    <a:pt x="294" y="41"/>
                  </a:lnTo>
                  <a:lnTo>
                    <a:pt x="298" y="43"/>
                  </a:lnTo>
                  <a:lnTo>
                    <a:pt x="301" y="45"/>
                  </a:lnTo>
                  <a:lnTo>
                    <a:pt x="311" y="51"/>
                  </a:lnTo>
                  <a:lnTo>
                    <a:pt x="315" y="53"/>
                  </a:lnTo>
                  <a:lnTo>
                    <a:pt x="317" y="55"/>
                  </a:lnTo>
                  <a:lnTo>
                    <a:pt x="320" y="57"/>
                  </a:lnTo>
                  <a:lnTo>
                    <a:pt x="322" y="59"/>
                  </a:lnTo>
                  <a:lnTo>
                    <a:pt x="324" y="61"/>
                  </a:lnTo>
                  <a:lnTo>
                    <a:pt x="329" y="68"/>
                  </a:lnTo>
                  <a:lnTo>
                    <a:pt x="331" y="69"/>
                  </a:lnTo>
                  <a:lnTo>
                    <a:pt x="331" y="70"/>
                  </a:lnTo>
                  <a:lnTo>
                    <a:pt x="334" y="71"/>
                  </a:lnTo>
                  <a:lnTo>
                    <a:pt x="339" y="75"/>
                  </a:lnTo>
                  <a:lnTo>
                    <a:pt x="341" y="76"/>
                  </a:lnTo>
                  <a:lnTo>
                    <a:pt x="344" y="78"/>
                  </a:lnTo>
                  <a:lnTo>
                    <a:pt x="348" y="83"/>
                  </a:lnTo>
                  <a:lnTo>
                    <a:pt x="351" y="84"/>
                  </a:lnTo>
                  <a:lnTo>
                    <a:pt x="354" y="86"/>
                  </a:lnTo>
                  <a:lnTo>
                    <a:pt x="358" y="88"/>
                  </a:lnTo>
                  <a:lnTo>
                    <a:pt x="360" y="90"/>
                  </a:lnTo>
                  <a:lnTo>
                    <a:pt x="361" y="90"/>
                  </a:lnTo>
                  <a:lnTo>
                    <a:pt x="362" y="92"/>
                  </a:lnTo>
                  <a:lnTo>
                    <a:pt x="369" y="100"/>
                  </a:lnTo>
                  <a:lnTo>
                    <a:pt x="374" y="108"/>
                  </a:lnTo>
                  <a:lnTo>
                    <a:pt x="378" y="112"/>
                  </a:lnTo>
                  <a:lnTo>
                    <a:pt x="379" y="113"/>
                  </a:lnTo>
                  <a:lnTo>
                    <a:pt x="381" y="115"/>
                  </a:lnTo>
                  <a:lnTo>
                    <a:pt x="382" y="115"/>
                  </a:lnTo>
                  <a:lnTo>
                    <a:pt x="384" y="117"/>
                  </a:lnTo>
                  <a:lnTo>
                    <a:pt x="397" y="123"/>
                  </a:lnTo>
                  <a:lnTo>
                    <a:pt x="401" y="125"/>
                  </a:lnTo>
                  <a:lnTo>
                    <a:pt x="407" y="129"/>
                  </a:lnTo>
                  <a:lnTo>
                    <a:pt x="416" y="135"/>
                  </a:lnTo>
                  <a:lnTo>
                    <a:pt x="421" y="138"/>
                  </a:lnTo>
                  <a:lnTo>
                    <a:pt x="426" y="141"/>
                  </a:lnTo>
                  <a:lnTo>
                    <a:pt x="435" y="146"/>
                  </a:lnTo>
                  <a:lnTo>
                    <a:pt x="437" y="147"/>
                  </a:lnTo>
                  <a:lnTo>
                    <a:pt x="439" y="148"/>
                  </a:lnTo>
                  <a:lnTo>
                    <a:pt x="440" y="150"/>
                  </a:lnTo>
                  <a:lnTo>
                    <a:pt x="440" y="150"/>
                  </a:lnTo>
                  <a:lnTo>
                    <a:pt x="441" y="151"/>
                  </a:lnTo>
                  <a:lnTo>
                    <a:pt x="441" y="153"/>
                  </a:lnTo>
                  <a:lnTo>
                    <a:pt x="441" y="154"/>
                  </a:lnTo>
                  <a:lnTo>
                    <a:pt x="441" y="160"/>
                  </a:lnTo>
                  <a:lnTo>
                    <a:pt x="441" y="162"/>
                  </a:lnTo>
                  <a:lnTo>
                    <a:pt x="441" y="165"/>
                  </a:lnTo>
                  <a:lnTo>
                    <a:pt x="441" y="167"/>
                  </a:lnTo>
                  <a:lnTo>
                    <a:pt x="441" y="168"/>
                  </a:lnTo>
                  <a:lnTo>
                    <a:pt x="441" y="169"/>
                  </a:lnTo>
                  <a:lnTo>
                    <a:pt x="442" y="170"/>
                  </a:lnTo>
                  <a:lnTo>
                    <a:pt x="442" y="170"/>
                  </a:lnTo>
                  <a:lnTo>
                    <a:pt x="444" y="171"/>
                  </a:lnTo>
                  <a:lnTo>
                    <a:pt x="445" y="172"/>
                  </a:lnTo>
                  <a:lnTo>
                    <a:pt x="452" y="174"/>
                  </a:lnTo>
                  <a:lnTo>
                    <a:pt x="454" y="175"/>
                  </a:lnTo>
                  <a:lnTo>
                    <a:pt x="456" y="176"/>
                  </a:lnTo>
                  <a:lnTo>
                    <a:pt x="459" y="178"/>
                  </a:lnTo>
                  <a:lnTo>
                    <a:pt x="464" y="182"/>
                  </a:lnTo>
                  <a:lnTo>
                    <a:pt x="469" y="185"/>
                  </a:lnTo>
                  <a:lnTo>
                    <a:pt x="474" y="187"/>
                  </a:lnTo>
                  <a:lnTo>
                    <a:pt x="480" y="190"/>
                  </a:lnTo>
                  <a:lnTo>
                    <a:pt x="483" y="193"/>
                  </a:lnTo>
                  <a:lnTo>
                    <a:pt x="486" y="194"/>
                  </a:lnTo>
                  <a:lnTo>
                    <a:pt x="487" y="195"/>
                  </a:lnTo>
                  <a:lnTo>
                    <a:pt x="494" y="204"/>
                  </a:lnTo>
                  <a:lnTo>
                    <a:pt x="501" y="210"/>
                  </a:lnTo>
                  <a:lnTo>
                    <a:pt x="508" y="217"/>
                  </a:lnTo>
                  <a:lnTo>
                    <a:pt x="511" y="219"/>
                  </a:lnTo>
                  <a:lnTo>
                    <a:pt x="514" y="221"/>
                  </a:lnTo>
                  <a:lnTo>
                    <a:pt x="516" y="222"/>
                  </a:lnTo>
                  <a:lnTo>
                    <a:pt x="517" y="223"/>
                  </a:lnTo>
                  <a:lnTo>
                    <a:pt x="518" y="225"/>
                  </a:lnTo>
                  <a:lnTo>
                    <a:pt x="518" y="227"/>
                  </a:lnTo>
                  <a:lnTo>
                    <a:pt x="518" y="228"/>
                  </a:lnTo>
                  <a:lnTo>
                    <a:pt x="518" y="229"/>
                  </a:lnTo>
                  <a:lnTo>
                    <a:pt x="518" y="230"/>
                  </a:lnTo>
                  <a:lnTo>
                    <a:pt x="518" y="233"/>
                  </a:lnTo>
                  <a:lnTo>
                    <a:pt x="518" y="235"/>
                  </a:lnTo>
                  <a:lnTo>
                    <a:pt x="518" y="240"/>
                  </a:lnTo>
                  <a:lnTo>
                    <a:pt x="518" y="242"/>
                  </a:lnTo>
                  <a:lnTo>
                    <a:pt x="520" y="249"/>
                  </a:lnTo>
                  <a:lnTo>
                    <a:pt x="521" y="257"/>
                  </a:lnTo>
                  <a:lnTo>
                    <a:pt x="521" y="259"/>
                  </a:lnTo>
                  <a:lnTo>
                    <a:pt x="522" y="261"/>
                  </a:lnTo>
                  <a:lnTo>
                    <a:pt x="523" y="264"/>
                  </a:lnTo>
                  <a:lnTo>
                    <a:pt x="530" y="275"/>
                  </a:lnTo>
                  <a:lnTo>
                    <a:pt x="533" y="282"/>
                  </a:lnTo>
                  <a:lnTo>
                    <a:pt x="534" y="284"/>
                  </a:lnTo>
                  <a:lnTo>
                    <a:pt x="536" y="285"/>
                  </a:lnTo>
                  <a:lnTo>
                    <a:pt x="537" y="286"/>
                  </a:lnTo>
                  <a:lnTo>
                    <a:pt x="538" y="287"/>
                  </a:lnTo>
                  <a:lnTo>
                    <a:pt x="540" y="287"/>
                  </a:lnTo>
                  <a:lnTo>
                    <a:pt x="542" y="287"/>
                  </a:lnTo>
                  <a:lnTo>
                    <a:pt x="544" y="288"/>
                  </a:lnTo>
                  <a:lnTo>
                    <a:pt x="546" y="288"/>
                  </a:lnTo>
                  <a:lnTo>
                    <a:pt x="548" y="288"/>
                  </a:lnTo>
                  <a:lnTo>
                    <a:pt x="551" y="287"/>
                  </a:lnTo>
                  <a:lnTo>
                    <a:pt x="555" y="287"/>
                  </a:lnTo>
                  <a:lnTo>
                    <a:pt x="565" y="284"/>
                  </a:lnTo>
                  <a:lnTo>
                    <a:pt x="579" y="280"/>
                  </a:lnTo>
                  <a:lnTo>
                    <a:pt x="586" y="278"/>
                  </a:lnTo>
                  <a:lnTo>
                    <a:pt x="594" y="276"/>
                  </a:lnTo>
                  <a:lnTo>
                    <a:pt x="604" y="272"/>
                  </a:lnTo>
                  <a:lnTo>
                    <a:pt x="606" y="271"/>
                  </a:lnTo>
                  <a:lnTo>
                    <a:pt x="608" y="270"/>
                  </a:lnTo>
                  <a:lnTo>
                    <a:pt x="610" y="270"/>
                  </a:lnTo>
                  <a:lnTo>
                    <a:pt x="612" y="270"/>
                  </a:lnTo>
                  <a:lnTo>
                    <a:pt x="613" y="270"/>
                  </a:lnTo>
                  <a:lnTo>
                    <a:pt x="615" y="271"/>
                  </a:lnTo>
                  <a:lnTo>
                    <a:pt x="616" y="272"/>
                  </a:lnTo>
                  <a:lnTo>
                    <a:pt x="616" y="274"/>
                  </a:lnTo>
                  <a:lnTo>
                    <a:pt x="616" y="276"/>
                  </a:lnTo>
                  <a:lnTo>
                    <a:pt x="616" y="280"/>
                  </a:lnTo>
                  <a:lnTo>
                    <a:pt x="617" y="285"/>
                  </a:lnTo>
                  <a:lnTo>
                    <a:pt x="618" y="287"/>
                  </a:lnTo>
                  <a:lnTo>
                    <a:pt x="620" y="296"/>
                  </a:lnTo>
                  <a:lnTo>
                    <a:pt x="621" y="298"/>
                  </a:lnTo>
                  <a:lnTo>
                    <a:pt x="622" y="300"/>
                  </a:lnTo>
                  <a:lnTo>
                    <a:pt x="623" y="302"/>
                  </a:lnTo>
                  <a:lnTo>
                    <a:pt x="625" y="304"/>
                  </a:lnTo>
                  <a:lnTo>
                    <a:pt x="627" y="305"/>
                  </a:lnTo>
                  <a:lnTo>
                    <a:pt x="628" y="307"/>
                  </a:lnTo>
                  <a:lnTo>
                    <a:pt x="639" y="312"/>
                  </a:lnTo>
                  <a:lnTo>
                    <a:pt x="643" y="313"/>
                  </a:lnTo>
                  <a:lnTo>
                    <a:pt x="645" y="315"/>
                  </a:lnTo>
                  <a:lnTo>
                    <a:pt x="646" y="315"/>
                  </a:lnTo>
                  <a:lnTo>
                    <a:pt x="651" y="320"/>
                  </a:lnTo>
                  <a:lnTo>
                    <a:pt x="653" y="322"/>
                  </a:lnTo>
                  <a:lnTo>
                    <a:pt x="658" y="328"/>
                  </a:lnTo>
                  <a:lnTo>
                    <a:pt x="666" y="337"/>
                  </a:lnTo>
                  <a:lnTo>
                    <a:pt x="679" y="354"/>
                  </a:lnTo>
                  <a:lnTo>
                    <a:pt x="682" y="357"/>
                  </a:lnTo>
                  <a:lnTo>
                    <a:pt x="688" y="362"/>
                  </a:lnTo>
                  <a:lnTo>
                    <a:pt x="691" y="365"/>
                  </a:lnTo>
                  <a:lnTo>
                    <a:pt x="694" y="370"/>
                  </a:lnTo>
                  <a:lnTo>
                    <a:pt x="700" y="379"/>
                  </a:lnTo>
                  <a:lnTo>
                    <a:pt x="701" y="380"/>
                  </a:lnTo>
                  <a:lnTo>
                    <a:pt x="703" y="382"/>
                  </a:lnTo>
                  <a:lnTo>
                    <a:pt x="704" y="382"/>
                  </a:lnTo>
                  <a:lnTo>
                    <a:pt x="705" y="383"/>
                  </a:lnTo>
                  <a:lnTo>
                    <a:pt x="707" y="383"/>
                  </a:lnTo>
                  <a:lnTo>
                    <a:pt x="708" y="383"/>
                  </a:lnTo>
                  <a:lnTo>
                    <a:pt x="709" y="383"/>
                  </a:lnTo>
                  <a:lnTo>
                    <a:pt x="710" y="382"/>
                  </a:lnTo>
                  <a:lnTo>
                    <a:pt x="715" y="379"/>
                  </a:lnTo>
                  <a:lnTo>
                    <a:pt x="715" y="378"/>
                  </a:lnTo>
                  <a:lnTo>
                    <a:pt x="716" y="378"/>
                  </a:lnTo>
                  <a:lnTo>
                    <a:pt x="717" y="377"/>
                  </a:lnTo>
                  <a:lnTo>
                    <a:pt x="718" y="378"/>
                  </a:lnTo>
                  <a:lnTo>
                    <a:pt x="718" y="379"/>
                  </a:lnTo>
                  <a:lnTo>
                    <a:pt x="718" y="380"/>
                  </a:lnTo>
                  <a:lnTo>
                    <a:pt x="717" y="385"/>
                  </a:lnTo>
                  <a:lnTo>
                    <a:pt x="716" y="391"/>
                  </a:lnTo>
                  <a:lnTo>
                    <a:pt x="716" y="401"/>
                  </a:lnTo>
                  <a:lnTo>
                    <a:pt x="716" y="407"/>
                  </a:lnTo>
                  <a:lnTo>
                    <a:pt x="716" y="411"/>
                  </a:lnTo>
                  <a:lnTo>
                    <a:pt x="717" y="415"/>
                  </a:lnTo>
                  <a:lnTo>
                    <a:pt x="718" y="420"/>
                  </a:lnTo>
                  <a:lnTo>
                    <a:pt x="720" y="425"/>
                  </a:lnTo>
                  <a:lnTo>
                    <a:pt x="722" y="430"/>
                  </a:lnTo>
                  <a:lnTo>
                    <a:pt x="724" y="435"/>
                  </a:lnTo>
                  <a:lnTo>
                    <a:pt x="727" y="440"/>
                  </a:lnTo>
                  <a:lnTo>
                    <a:pt x="728" y="442"/>
                  </a:lnTo>
                  <a:lnTo>
                    <a:pt x="730" y="445"/>
                  </a:lnTo>
                  <a:lnTo>
                    <a:pt x="732" y="447"/>
                  </a:lnTo>
                  <a:lnTo>
                    <a:pt x="733" y="449"/>
                  </a:lnTo>
                  <a:lnTo>
                    <a:pt x="735" y="450"/>
                  </a:lnTo>
                  <a:lnTo>
                    <a:pt x="736" y="452"/>
                  </a:lnTo>
                  <a:lnTo>
                    <a:pt x="738" y="452"/>
                  </a:lnTo>
                  <a:lnTo>
                    <a:pt x="740" y="454"/>
                  </a:lnTo>
                  <a:lnTo>
                    <a:pt x="741" y="454"/>
                  </a:lnTo>
                  <a:lnTo>
                    <a:pt x="742" y="454"/>
                  </a:lnTo>
                  <a:lnTo>
                    <a:pt x="741" y="455"/>
                  </a:lnTo>
                  <a:lnTo>
                    <a:pt x="740" y="457"/>
                  </a:lnTo>
                  <a:lnTo>
                    <a:pt x="739" y="463"/>
                  </a:lnTo>
                  <a:lnTo>
                    <a:pt x="738" y="469"/>
                  </a:lnTo>
                  <a:lnTo>
                    <a:pt x="738" y="476"/>
                  </a:lnTo>
                  <a:lnTo>
                    <a:pt x="737" y="480"/>
                  </a:lnTo>
                  <a:lnTo>
                    <a:pt x="737" y="484"/>
                  </a:lnTo>
                  <a:lnTo>
                    <a:pt x="738" y="507"/>
                  </a:lnTo>
                  <a:lnTo>
                    <a:pt x="738" y="513"/>
                  </a:lnTo>
                  <a:lnTo>
                    <a:pt x="738" y="519"/>
                  </a:lnTo>
                  <a:lnTo>
                    <a:pt x="736" y="534"/>
                  </a:lnTo>
                  <a:lnTo>
                    <a:pt x="735" y="545"/>
                  </a:lnTo>
                  <a:lnTo>
                    <a:pt x="735" y="548"/>
                  </a:lnTo>
                  <a:lnTo>
                    <a:pt x="735" y="552"/>
                  </a:lnTo>
                  <a:lnTo>
                    <a:pt x="734" y="556"/>
                  </a:lnTo>
                  <a:lnTo>
                    <a:pt x="733" y="559"/>
                  </a:lnTo>
                  <a:lnTo>
                    <a:pt x="730" y="564"/>
                  </a:lnTo>
                  <a:lnTo>
                    <a:pt x="728" y="568"/>
                  </a:lnTo>
                  <a:lnTo>
                    <a:pt x="725" y="572"/>
                  </a:lnTo>
                  <a:lnTo>
                    <a:pt x="723" y="574"/>
                  </a:lnTo>
                  <a:lnTo>
                    <a:pt x="722" y="576"/>
                  </a:lnTo>
                  <a:lnTo>
                    <a:pt x="720" y="577"/>
                  </a:lnTo>
                  <a:lnTo>
                    <a:pt x="718" y="578"/>
                  </a:lnTo>
                  <a:lnTo>
                    <a:pt x="715" y="579"/>
                  </a:lnTo>
                  <a:lnTo>
                    <a:pt x="711" y="579"/>
                  </a:lnTo>
                  <a:lnTo>
                    <a:pt x="707" y="580"/>
                  </a:lnTo>
                  <a:lnTo>
                    <a:pt x="703" y="580"/>
                  </a:lnTo>
                  <a:lnTo>
                    <a:pt x="700" y="580"/>
                  </a:lnTo>
                  <a:lnTo>
                    <a:pt x="697" y="579"/>
                  </a:lnTo>
                  <a:lnTo>
                    <a:pt x="694" y="578"/>
                  </a:lnTo>
                  <a:lnTo>
                    <a:pt x="691" y="577"/>
                  </a:lnTo>
                  <a:lnTo>
                    <a:pt x="689" y="575"/>
                  </a:lnTo>
                  <a:lnTo>
                    <a:pt x="686" y="572"/>
                  </a:lnTo>
                  <a:lnTo>
                    <a:pt x="684" y="569"/>
                  </a:lnTo>
                  <a:lnTo>
                    <a:pt x="677" y="561"/>
                  </a:lnTo>
                  <a:lnTo>
                    <a:pt x="675" y="558"/>
                  </a:lnTo>
                  <a:lnTo>
                    <a:pt x="673" y="556"/>
                  </a:lnTo>
                  <a:lnTo>
                    <a:pt x="671" y="554"/>
                  </a:lnTo>
                  <a:lnTo>
                    <a:pt x="668" y="552"/>
                  </a:lnTo>
                  <a:lnTo>
                    <a:pt x="666" y="551"/>
                  </a:lnTo>
                  <a:lnTo>
                    <a:pt x="661" y="549"/>
                  </a:lnTo>
                  <a:lnTo>
                    <a:pt x="658" y="548"/>
                  </a:lnTo>
                  <a:lnTo>
                    <a:pt x="656" y="547"/>
                  </a:lnTo>
                  <a:lnTo>
                    <a:pt x="655" y="546"/>
                  </a:lnTo>
                  <a:lnTo>
                    <a:pt x="653" y="544"/>
                  </a:lnTo>
                  <a:lnTo>
                    <a:pt x="651" y="542"/>
                  </a:lnTo>
                  <a:lnTo>
                    <a:pt x="649" y="539"/>
                  </a:lnTo>
                  <a:lnTo>
                    <a:pt x="645" y="533"/>
                  </a:lnTo>
                  <a:lnTo>
                    <a:pt x="642" y="530"/>
                  </a:lnTo>
                  <a:lnTo>
                    <a:pt x="641" y="529"/>
                  </a:lnTo>
                  <a:lnTo>
                    <a:pt x="639" y="527"/>
                  </a:lnTo>
                  <a:lnTo>
                    <a:pt x="638" y="527"/>
                  </a:lnTo>
                  <a:lnTo>
                    <a:pt x="637" y="526"/>
                  </a:lnTo>
                  <a:lnTo>
                    <a:pt x="635" y="525"/>
                  </a:lnTo>
                  <a:lnTo>
                    <a:pt x="633" y="525"/>
                  </a:lnTo>
                  <a:lnTo>
                    <a:pt x="630" y="526"/>
                  </a:lnTo>
                  <a:lnTo>
                    <a:pt x="628" y="527"/>
                  </a:lnTo>
                  <a:lnTo>
                    <a:pt x="624" y="529"/>
                  </a:lnTo>
                  <a:lnTo>
                    <a:pt x="605" y="540"/>
                  </a:lnTo>
                  <a:lnTo>
                    <a:pt x="601" y="542"/>
                  </a:lnTo>
                  <a:lnTo>
                    <a:pt x="597" y="544"/>
                  </a:lnTo>
                  <a:lnTo>
                    <a:pt x="594" y="544"/>
                  </a:lnTo>
                  <a:lnTo>
                    <a:pt x="591" y="545"/>
                  </a:lnTo>
                  <a:lnTo>
                    <a:pt x="589" y="545"/>
                  </a:lnTo>
                  <a:lnTo>
                    <a:pt x="586" y="545"/>
                  </a:lnTo>
                  <a:lnTo>
                    <a:pt x="583" y="544"/>
                  </a:lnTo>
                  <a:lnTo>
                    <a:pt x="575" y="541"/>
                  </a:lnTo>
                  <a:lnTo>
                    <a:pt x="564" y="537"/>
                  </a:lnTo>
                  <a:lnTo>
                    <a:pt x="560" y="536"/>
                  </a:lnTo>
                  <a:lnTo>
                    <a:pt x="546" y="530"/>
                  </a:lnTo>
                  <a:lnTo>
                    <a:pt x="544" y="529"/>
                  </a:lnTo>
                  <a:lnTo>
                    <a:pt x="542" y="528"/>
                  </a:lnTo>
                  <a:lnTo>
                    <a:pt x="538" y="526"/>
                  </a:lnTo>
                  <a:lnTo>
                    <a:pt x="536" y="524"/>
                  </a:lnTo>
                  <a:lnTo>
                    <a:pt x="533" y="522"/>
                  </a:lnTo>
                  <a:lnTo>
                    <a:pt x="528" y="515"/>
                  </a:lnTo>
                  <a:lnTo>
                    <a:pt x="526" y="513"/>
                  </a:lnTo>
                  <a:lnTo>
                    <a:pt x="518" y="504"/>
                  </a:lnTo>
                  <a:lnTo>
                    <a:pt x="513" y="500"/>
                  </a:lnTo>
                  <a:lnTo>
                    <a:pt x="511" y="499"/>
                  </a:lnTo>
                  <a:lnTo>
                    <a:pt x="508" y="497"/>
                  </a:lnTo>
                  <a:lnTo>
                    <a:pt x="506" y="497"/>
                  </a:lnTo>
                  <a:lnTo>
                    <a:pt x="503" y="497"/>
                  </a:lnTo>
                  <a:lnTo>
                    <a:pt x="501" y="497"/>
                  </a:lnTo>
                  <a:lnTo>
                    <a:pt x="500" y="497"/>
                  </a:lnTo>
                  <a:lnTo>
                    <a:pt x="498" y="498"/>
                  </a:lnTo>
                  <a:lnTo>
                    <a:pt x="496" y="499"/>
                  </a:lnTo>
                  <a:lnTo>
                    <a:pt x="495" y="500"/>
                  </a:lnTo>
                  <a:lnTo>
                    <a:pt x="494" y="501"/>
                  </a:lnTo>
                  <a:lnTo>
                    <a:pt x="493" y="502"/>
                  </a:lnTo>
                  <a:lnTo>
                    <a:pt x="492" y="504"/>
                  </a:lnTo>
                  <a:lnTo>
                    <a:pt x="491" y="505"/>
                  </a:lnTo>
                  <a:lnTo>
                    <a:pt x="491" y="508"/>
                  </a:lnTo>
                  <a:lnTo>
                    <a:pt x="491" y="518"/>
                  </a:lnTo>
                  <a:lnTo>
                    <a:pt x="490" y="522"/>
                  </a:lnTo>
                  <a:lnTo>
                    <a:pt x="489" y="527"/>
                  </a:lnTo>
                  <a:lnTo>
                    <a:pt x="487" y="534"/>
                  </a:lnTo>
                  <a:lnTo>
                    <a:pt x="486" y="541"/>
                  </a:lnTo>
                  <a:lnTo>
                    <a:pt x="484" y="544"/>
                  </a:lnTo>
                  <a:lnTo>
                    <a:pt x="483" y="547"/>
                  </a:lnTo>
                  <a:lnTo>
                    <a:pt x="481" y="550"/>
                  </a:lnTo>
                  <a:lnTo>
                    <a:pt x="480" y="553"/>
                  </a:lnTo>
                  <a:lnTo>
                    <a:pt x="479" y="556"/>
                  </a:lnTo>
                  <a:lnTo>
                    <a:pt x="476" y="558"/>
                  </a:lnTo>
                  <a:lnTo>
                    <a:pt x="475" y="561"/>
                  </a:lnTo>
                  <a:lnTo>
                    <a:pt x="473" y="562"/>
                  </a:lnTo>
                  <a:lnTo>
                    <a:pt x="471" y="564"/>
                  </a:lnTo>
                  <a:lnTo>
                    <a:pt x="469" y="566"/>
                  </a:lnTo>
                  <a:lnTo>
                    <a:pt x="467" y="567"/>
                  </a:lnTo>
                  <a:lnTo>
                    <a:pt x="465" y="567"/>
                  </a:lnTo>
                  <a:lnTo>
                    <a:pt x="463" y="567"/>
                  </a:lnTo>
                  <a:lnTo>
                    <a:pt x="461" y="568"/>
                  </a:lnTo>
                  <a:lnTo>
                    <a:pt x="451" y="569"/>
                  </a:lnTo>
                  <a:lnTo>
                    <a:pt x="446" y="569"/>
                  </a:lnTo>
                  <a:lnTo>
                    <a:pt x="442" y="571"/>
                  </a:lnTo>
                  <a:lnTo>
                    <a:pt x="441" y="571"/>
                  </a:lnTo>
                  <a:lnTo>
                    <a:pt x="439" y="572"/>
                  </a:lnTo>
                  <a:lnTo>
                    <a:pt x="437" y="573"/>
                  </a:lnTo>
                  <a:lnTo>
                    <a:pt x="436" y="574"/>
                  </a:lnTo>
                  <a:lnTo>
                    <a:pt x="436" y="575"/>
                  </a:lnTo>
                  <a:lnTo>
                    <a:pt x="434" y="578"/>
                  </a:lnTo>
                  <a:lnTo>
                    <a:pt x="432" y="584"/>
                  </a:lnTo>
                  <a:lnTo>
                    <a:pt x="431" y="587"/>
                  </a:lnTo>
                  <a:lnTo>
                    <a:pt x="429" y="589"/>
                  </a:lnTo>
                  <a:lnTo>
                    <a:pt x="429" y="589"/>
                  </a:lnTo>
                  <a:lnTo>
                    <a:pt x="427" y="591"/>
                  </a:lnTo>
                  <a:lnTo>
                    <a:pt x="426" y="592"/>
                  </a:lnTo>
                  <a:lnTo>
                    <a:pt x="424" y="594"/>
                  </a:lnTo>
                  <a:lnTo>
                    <a:pt x="421" y="594"/>
                  </a:lnTo>
                  <a:lnTo>
                    <a:pt x="418" y="596"/>
                  </a:lnTo>
                  <a:lnTo>
                    <a:pt x="412" y="597"/>
                  </a:lnTo>
                  <a:lnTo>
                    <a:pt x="410" y="597"/>
                  </a:lnTo>
                  <a:lnTo>
                    <a:pt x="408" y="599"/>
                  </a:lnTo>
                  <a:lnTo>
                    <a:pt x="406" y="599"/>
                  </a:lnTo>
                  <a:lnTo>
                    <a:pt x="404" y="602"/>
                  </a:lnTo>
                  <a:lnTo>
                    <a:pt x="402" y="603"/>
                  </a:lnTo>
                  <a:lnTo>
                    <a:pt x="396" y="609"/>
                  </a:lnTo>
                  <a:lnTo>
                    <a:pt x="394" y="611"/>
                  </a:lnTo>
                  <a:lnTo>
                    <a:pt x="391" y="613"/>
                  </a:lnTo>
                  <a:lnTo>
                    <a:pt x="389" y="614"/>
                  </a:lnTo>
                  <a:lnTo>
                    <a:pt x="386" y="615"/>
                  </a:lnTo>
                  <a:lnTo>
                    <a:pt x="384" y="615"/>
                  </a:lnTo>
                  <a:lnTo>
                    <a:pt x="381" y="615"/>
                  </a:lnTo>
                  <a:lnTo>
                    <a:pt x="379" y="614"/>
                  </a:lnTo>
                  <a:lnTo>
                    <a:pt x="376" y="614"/>
                  </a:lnTo>
                  <a:lnTo>
                    <a:pt x="369" y="610"/>
                  </a:lnTo>
                  <a:lnTo>
                    <a:pt x="359" y="605"/>
                  </a:lnTo>
                  <a:lnTo>
                    <a:pt x="349" y="601"/>
                  </a:lnTo>
                  <a:lnTo>
                    <a:pt x="329" y="589"/>
                  </a:lnTo>
                  <a:lnTo>
                    <a:pt x="325" y="588"/>
                  </a:lnTo>
                  <a:lnTo>
                    <a:pt x="322" y="587"/>
                  </a:lnTo>
                  <a:lnTo>
                    <a:pt x="319" y="585"/>
                  </a:lnTo>
                  <a:lnTo>
                    <a:pt x="314" y="584"/>
                  </a:lnTo>
                  <a:lnTo>
                    <a:pt x="311" y="584"/>
                  </a:lnTo>
                  <a:lnTo>
                    <a:pt x="301" y="582"/>
                  </a:lnTo>
                  <a:lnTo>
                    <a:pt x="296" y="582"/>
                  </a:lnTo>
                  <a:lnTo>
                    <a:pt x="293" y="580"/>
                  </a:lnTo>
                  <a:lnTo>
                    <a:pt x="283" y="577"/>
                  </a:lnTo>
                  <a:lnTo>
                    <a:pt x="276" y="574"/>
                  </a:lnTo>
                  <a:lnTo>
                    <a:pt x="266" y="572"/>
                  </a:lnTo>
                  <a:lnTo>
                    <a:pt x="259" y="569"/>
                  </a:lnTo>
                  <a:lnTo>
                    <a:pt x="253" y="568"/>
                  </a:lnTo>
                  <a:lnTo>
                    <a:pt x="247" y="567"/>
                  </a:lnTo>
                  <a:lnTo>
                    <a:pt x="242" y="567"/>
                  </a:lnTo>
                  <a:lnTo>
                    <a:pt x="234" y="566"/>
                  </a:lnTo>
                  <a:lnTo>
                    <a:pt x="229" y="566"/>
                  </a:lnTo>
                  <a:lnTo>
                    <a:pt x="227" y="565"/>
                  </a:lnTo>
                  <a:lnTo>
                    <a:pt x="215" y="564"/>
                  </a:lnTo>
                  <a:lnTo>
                    <a:pt x="210" y="563"/>
                  </a:lnTo>
                  <a:lnTo>
                    <a:pt x="204" y="562"/>
                  </a:lnTo>
                  <a:lnTo>
                    <a:pt x="199" y="562"/>
                  </a:lnTo>
                  <a:lnTo>
                    <a:pt x="195" y="562"/>
                  </a:lnTo>
                  <a:lnTo>
                    <a:pt x="192" y="563"/>
                  </a:lnTo>
                  <a:lnTo>
                    <a:pt x="184" y="564"/>
                  </a:lnTo>
                  <a:lnTo>
                    <a:pt x="181" y="564"/>
                  </a:lnTo>
                  <a:lnTo>
                    <a:pt x="178" y="564"/>
                  </a:lnTo>
                  <a:lnTo>
                    <a:pt x="174" y="564"/>
                  </a:lnTo>
                  <a:lnTo>
                    <a:pt x="172" y="564"/>
                  </a:lnTo>
                  <a:lnTo>
                    <a:pt x="169" y="563"/>
                  </a:lnTo>
                  <a:lnTo>
                    <a:pt x="167" y="562"/>
                  </a:lnTo>
                  <a:lnTo>
                    <a:pt x="161" y="560"/>
                  </a:lnTo>
                  <a:lnTo>
                    <a:pt x="158" y="559"/>
                  </a:lnTo>
                  <a:lnTo>
                    <a:pt x="153" y="557"/>
                  </a:lnTo>
                  <a:lnTo>
                    <a:pt x="143" y="555"/>
                  </a:lnTo>
                  <a:lnTo>
                    <a:pt x="141" y="554"/>
                  </a:lnTo>
                  <a:lnTo>
                    <a:pt x="139" y="554"/>
                  </a:lnTo>
                  <a:lnTo>
                    <a:pt x="137" y="552"/>
                  </a:lnTo>
                  <a:lnTo>
                    <a:pt x="133" y="548"/>
                  </a:lnTo>
                  <a:lnTo>
                    <a:pt x="128" y="544"/>
                  </a:lnTo>
                  <a:lnTo>
                    <a:pt x="127" y="543"/>
                  </a:lnTo>
                  <a:lnTo>
                    <a:pt x="124" y="541"/>
                  </a:lnTo>
                  <a:lnTo>
                    <a:pt x="122" y="539"/>
                  </a:lnTo>
                  <a:lnTo>
                    <a:pt x="119" y="536"/>
                  </a:lnTo>
                  <a:lnTo>
                    <a:pt x="118" y="533"/>
                  </a:lnTo>
                  <a:lnTo>
                    <a:pt x="117" y="530"/>
                  </a:lnTo>
                  <a:lnTo>
                    <a:pt x="114" y="524"/>
                  </a:lnTo>
                  <a:lnTo>
                    <a:pt x="113" y="522"/>
                  </a:lnTo>
                  <a:lnTo>
                    <a:pt x="112" y="521"/>
                  </a:lnTo>
                  <a:lnTo>
                    <a:pt x="112" y="519"/>
                  </a:lnTo>
                  <a:lnTo>
                    <a:pt x="110" y="518"/>
                  </a:lnTo>
                  <a:lnTo>
                    <a:pt x="104" y="513"/>
                  </a:lnTo>
                  <a:lnTo>
                    <a:pt x="102" y="511"/>
                  </a:lnTo>
                  <a:lnTo>
                    <a:pt x="100" y="509"/>
                  </a:lnTo>
                  <a:lnTo>
                    <a:pt x="99" y="507"/>
                  </a:lnTo>
                  <a:lnTo>
                    <a:pt x="97" y="504"/>
                  </a:lnTo>
                  <a:lnTo>
                    <a:pt x="96" y="502"/>
                  </a:lnTo>
                  <a:lnTo>
                    <a:pt x="96" y="500"/>
                  </a:lnTo>
                  <a:lnTo>
                    <a:pt x="96" y="499"/>
                  </a:lnTo>
                  <a:lnTo>
                    <a:pt x="96" y="497"/>
                  </a:lnTo>
                  <a:lnTo>
                    <a:pt x="96" y="495"/>
                  </a:lnTo>
                  <a:lnTo>
                    <a:pt x="97" y="494"/>
                  </a:lnTo>
                  <a:lnTo>
                    <a:pt x="98" y="492"/>
                  </a:lnTo>
                  <a:lnTo>
                    <a:pt x="99" y="489"/>
                  </a:lnTo>
                  <a:lnTo>
                    <a:pt x="101" y="488"/>
                  </a:lnTo>
                  <a:lnTo>
                    <a:pt x="102" y="486"/>
                  </a:lnTo>
                  <a:lnTo>
                    <a:pt x="104" y="484"/>
                  </a:lnTo>
                  <a:lnTo>
                    <a:pt x="108" y="482"/>
                  </a:lnTo>
                  <a:lnTo>
                    <a:pt x="111" y="480"/>
                  </a:lnTo>
                  <a:lnTo>
                    <a:pt x="117" y="477"/>
                  </a:lnTo>
                  <a:lnTo>
                    <a:pt x="120" y="476"/>
                  </a:lnTo>
                  <a:lnTo>
                    <a:pt x="122" y="474"/>
                  </a:lnTo>
                  <a:lnTo>
                    <a:pt x="122" y="474"/>
                  </a:lnTo>
                  <a:lnTo>
                    <a:pt x="124" y="472"/>
                  </a:lnTo>
                  <a:lnTo>
                    <a:pt x="124" y="471"/>
                  </a:lnTo>
                  <a:lnTo>
                    <a:pt x="126" y="469"/>
                  </a:lnTo>
                  <a:lnTo>
                    <a:pt x="127" y="467"/>
                  </a:lnTo>
                  <a:lnTo>
                    <a:pt x="127" y="464"/>
                  </a:lnTo>
                  <a:lnTo>
                    <a:pt x="127" y="462"/>
                  </a:lnTo>
                  <a:lnTo>
                    <a:pt x="127" y="460"/>
                  </a:lnTo>
                  <a:lnTo>
                    <a:pt x="127" y="458"/>
                  </a:lnTo>
                  <a:lnTo>
                    <a:pt x="125" y="456"/>
                  </a:lnTo>
                  <a:lnTo>
                    <a:pt x="124" y="454"/>
                  </a:lnTo>
                  <a:lnTo>
                    <a:pt x="123" y="452"/>
                  </a:lnTo>
                  <a:lnTo>
                    <a:pt x="121" y="450"/>
                  </a:lnTo>
                  <a:lnTo>
                    <a:pt x="119" y="449"/>
                  </a:lnTo>
                  <a:lnTo>
                    <a:pt x="112" y="443"/>
                  </a:lnTo>
                  <a:lnTo>
                    <a:pt x="108" y="440"/>
                  </a:lnTo>
                  <a:lnTo>
                    <a:pt x="106" y="438"/>
                  </a:lnTo>
                  <a:lnTo>
                    <a:pt x="103" y="435"/>
                  </a:lnTo>
                  <a:lnTo>
                    <a:pt x="97" y="427"/>
                  </a:lnTo>
                  <a:lnTo>
                    <a:pt x="93" y="422"/>
                  </a:lnTo>
                  <a:lnTo>
                    <a:pt x="89" y="418"/>
                  </a:lnTo>
                  <a:lnTo>
                    <a:pt x="86" y="414"/>
                  </a:lnTo>
                  <a:lnTo>
                    <a:pt x="83" y="411"/>
                  </a:lnTo>
                  <a:lnTo>
                    <a:pt x="80" y="408"/>
                  </a:lnTo>
                  <a:lnTo>
                    <a:pt x="78" y="407"/>
                  </a:lnTo>
                  <a:lnTo>
                    <a:pt x="77" y="405"/>
                  </a:lnTo>
                  <a:lnTo>
                    <a:pt x="74" y="405"/>
                  </a:lnTo>
                  <a:lnTo>
                    <a:pt x="72" y="403"/>
                  </a:lnTo>
                  <a:lnTo>
                    <a:pt x="67" y="401"/>
                  </a:lnTo>
                  <a:lnTo>
                    <a:pt x="55" y="397"/>
                  </a:lnTo>
                  <a:lnTo>
                    <a:pt x="47" y="394"/>
                  </a:lnTo>
                  <a:lnTo>
                    <a:pt x="44" y="393"/>
                  </a:lnTo>
                  <a:lnTo>
                    <a:pt x="41" y="392"/>
                  </a:lnTo>
                  <a:lnTo>
                    <a:pt x="40" y="390"/>
                  </a:lnTo>
                  <a:lnTo>
                    <a:pt x="37" y="389"/>
                  </a:lnTo>
                  <a:lnTo>
                    <a:pt x="30" y="384"/>
                  </a:lnTo>
                  <a:lnTo>
                    <a:pt x="25" y="380"/>
                  </a:lnTo>
                  <a:lnTo>
                    <a:pt x="20" y="376"/>
                  </a:lnTo>
                  <a:lnTo>
                    <a:pt x="17" y="372"/>
                  </a:lnTo>
                  <a:lnTo>
                    <a:pt x="12" y="367"/>
                  </a:lnTo>
                  <a:lnTo>
                    <a:pt x="7" y="362"/>
                  </a:lnTo>
                  <a:lnTo>
                    <a:pt x="2" y="356"/>
                  </a:lnTo>
                  <a:lnTo>
                    <a:pt x="0" y="352"/>
                  </a:lnTo>
                  <a:lnTo>
                    <a:pt x="2" y="347"/>
                  </a:lnTo>
                  <a:lnTo>
                    <a:pt x="4" y="345"/>
                  </a:lnTo>
                  <a:lnTo>
                    <a:pt x="5" y="344"/>
                  </a:lnTo>
                  <a:lnTo>
                    <a:pt x="6" y="342"/>
                  </a:lnTo>
                  <a:lnTo>
                    <a:pt x="7" y="340"/>
                  </a:lnTo>
                  <a:lnTo>
                    <a:pt x="10" y="339"/>
                  </a:lnTo>
                  <a:lnTo>
                    <a:pt x="11" y="337"/>
                  </a:lnTo>
                  <a:lnTo>
                    <a:pt x="15" y="335"/>
                  </a:lnTo>
                  <a:lnTo>
                    <a:pt x="18" y="334"/>
                  </a:lnTo>
                  <a:lnTo>
                    <a:pt x="21" y="333"/>
                  </a:lnTo>
                  <a:lnTo>
                    <a:pt x="29" y="331"/>
                  </a:lnTo>
                  <a:lnTo>
                    <a:pt x="32" y="330"/>
                  </a:lnTo>
                  <a:lnTo>
                    <a:pt x="33" y="329"/>
                  </a:lnTo>
                  <a:lnTo>
                    <a:pt x="35" y="327"/>
                  </a:lnTo>
                  <a:lnTo>
                    <a:pt x="36" y="326"/>
                  </a:lnTo>
                  <a:lnTo>
                    <a:pt x="38" y="325"/>
                  </a:lnTo>
                  <a:lnTo>
                    <a:pt x="40" y="322"/>
                  </a:lnTo>
                  <a:lnTo>
                    <a:pt x="41" y="320"/>
                  </a:lnTo>
                  <a:lnTo>
                    <a:pt x="42" y="318"/>
                  </a:lnTo>
                  <a:lnTo>
                    <a:pt x="43" y="316"/>
                  </a:lnTo>
                  <a:lnTo>
                    <a:pt x="47" y="305"/>
                  </a:lnTo>
                  <a:lnTo>
                    <a:pt x="52" y="297"/>
                  </a:lnTo>
                  <a:lnTo>
                    <a:pt x="53" y="292"/>
                  </a:lnTo>
                  <a:lnTo>
                    <a:pt x="54" y="289"/>
                  </a:lnTo>
                  <a:lnTo>
                    <a:pt x="56" y="283"/>
                  </a:lnTo>
                  <a:lnTo>
                    <a:pt x="56" y="281"/>
                  </a:lnTo>
                  <a:lnTo>
                    <a:pt x="57" y="278"/>
                  </a:lnTo>
                  <a:lnTo>
                    <a:pt x="57" y="276"/>
                  </a:lnTo>
                  <a:lnTo>
                    <a:pt x="57" y="272"/>
                  </a:lnTo>
                  <a:lnTo>
                    <a:pt x="55" y="260"/>
                  </a:lnTo>
                  <a:lnTo>
                    <a:pt x="54" y="254"/>
                  </a:lnTo>
                  <a:lnTo>
                    <a:pt x="54" y="250"/>
                  </a:lnTo>
                  <a:lnTo>
                    <a:pt x="53" y="247"/>
                  </a:lnTo>
                  <a:lnTo>
                    <a:pt x="52" y="242"/>
                  </a:lnTo>
                  <a:lnTo>
                    <a:pt x="50" y="236"/>
                  </a:lnTo>
                  <a:lnTo>
                    <a:pt x="47" y="230"/>
                  </a:lnTo>
                  <a:lnTo>
                    <a:pt x="42" y="217"/>
                  </a:lnTo>
                  <a:lnTo>
                    <a:pt x="40" y="212"/>
                  </a:lnTo>
                  <a:lnTo>
                    <a:pt x="39" y="208"/>
                  </a:lnTo>
                  <a:lnTo>
                    <a:pt x="38" y="203"/>
                  </a:lnTo>
                  <a:lnTo>
                    <a:pt x="38" y="198"/>
                  </a:lnTo>
                  <a:lnTo>
                    <a:pt x="38" y="195"/>
                  </a:lnTo>
                  <a:lnTo>
                    <a:pt x="38" y="191"/>
                  </a:lnTo>
                  <a:lnTo>
                    <a:pt x="39" y="183"/>
                  </a:lnTo>
                  <a:lnTo>
                    <a:pt x="39" y="179"/>
                  </a:lnTo>
                  <a:lnTo>
                    <a:pt x="39" y="175"/>
                  </a:lnTo>
                  <a:lnTo>
                    <a:pt x="39" y="172"/>
                  </a:lnTo>
                  <a:lnTo>
                    <a:pt x="37" y="163"/>
                  </a:lnTo>
                  <a:lnTo>
                    <a:pt x="37" y="161"/>
                  </a:lnTo>
                  <a:lnTo>
                    <a:pt x="37" y="159"/>
                  </a:lnTo>
                  <a:lnTo>
                    <a:pt x="37" y="155"/>
                  </a:lnTo>
                  <a:lnTo>
                    <a:pt x="37" y="152"/>
                  </a:lnTo>
                  <a:lnTo>
                    <a:pt x="38" y="150"/>
                  </a:lnTo>
                  <a:lnTo>
                    <a:pt x="40" y="148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3" y="145"/>
                  </a:lnTo>
                  <a:lnTo>
                    <a:pt x="45" y="144"/>
                  </a:lnTo>
                  <a:lnTo>
                    <a:pt x="47" y="144"/>
                  </a:lnTo>
                  <a:lnTo>
                    <a:pt x="53" y="143"/>
                  </a:lnTo>
                  <a:lnTo>
                    <a:pt x="59" y="143"/>
                  </a:lnTo>
                  <a:lnTo>
                    <a:pt x="62" y="143"/>
                  </a:lnTo>
                  <a:lnTo>
                    <a:pt x="64" y="143"/>
                  </a:lnTo>
                  <a:lnTo>
                    <a:pt x="68" y="143"/>
                  </a:lnTo>
                  <a:lnTo>
                    <a:pt x="72" y="145"/>
                  </a:lnTo>
                  <a:lnTo>
                    <a:pt x="74" y="145"/>
                  </a:lnTo>
                  <a:lnTo>
                    <a:pt x="77" y="145"/>
                  </a:lnTo>
                  <a:lnTo>
                    <a:pt x="79" y="145"/>
                  </a:lnTo>
                  <a:lnTo>
                    <a:pt x="82" y="145"/>
                  </a:lnTo>
                  <a:lnTo>
                    <a:pt x="84" y="144"/>
                  </a:lnTo>
                  <a:lnTo>
                    <a:pt x="97" y="139"/>
                  </a:lnTo>
                  <a:lnTo>
                    <a:pt x="99" y="138"/>
                  </a:lnTo>
                  <a:lnTo>
                    <a:pt x="103" y="138"/>
                  </a:lnTo>
                  <a:lnTo>
                    <a:pt x="107" y="137"/>
                  </a:lnTo>
                  <a:lnTo>
                    <a:pt x="117" y="135"/>
                  </a:lnTo>
                  <a:lnTo>
                    <a:pt x="137" y="133"/>
                  </a:lnTo>
                  <a:lnTo>
                    <a:pt x="140" y="133"/>
                  </a:lnTo>
                  <a:lnTo>
                    <a:pt x="147" y="132"/>
                  </a:lnTo>
                  <a:lnTo>
                    <a:pt x="149" y="132"/>
                  </a:lnTo>
                  <a:lnTo>
                    <a:pt x="154" y="131"/>
                  </a:lnTo>
                  <a:lnTo>
                    <a:pt x="158" y="132"/>
                  </a:lnTo>
                  <a:lnTo>
                    <a:pt x="164" y="132"/>
                  </a:lnTo>
                  <a:lnTo>
                    <a:pt x="174" y="133"/>
                  </a:lnTo>
                  <a:lnTo>
                    <a:pt x="178" y="134"/>
                  </a:lnTo>
                  <a:lnTo>
                    <a:pt x="182" y="134"/>
                  </a:lnTo>
                  <a:lnTo>
                    <a:pt x="190" y="133"/>
                  </a:lnTo>
                  <a:lnTo>
                    <a:pt x="192" y="133"/>
                  </a:lnTo>
                  <a:lnTo>
                    <a:pt x="194" y="133"/>
                  </a:lnTo>
                  <a:lnTo>
                    <a:pt x="207" y="133"/>
                  </a:lnTo>
                  <a:lnTo>
                    <a:pt x="209" y="134"/>
                  </a:lnTo>
                  <a:lnTo>
                    <a:pt x="211" y="135"/>
                  </a:lnTo>
                  <a:lnTo>
                    <a:pt x="213" y="135"/>
                  </a:lnTo>
                  <a:lnTo>
                    <a:pt x="214" y="136"/>
                  </a:lnTo>
                  <a:lnTo>
                    <a:pt x="221" y="142"/>
                  </a:lnTo>
                  <a:lnTo>
                    <a:pt x="227" y="146"/>
                  </a:lnTo>
                  <a:lnTo>
                    <a:pt x="233" y="151"/>
                  </a:lnTo>
                  <a:lnTo>
                    <a:pt x="236" y="153"/>
                  </a:lnTo>
                  <a:lnTo>
                    <a:pt x="237" y="154"/>
                  </a:lnTo>
                  <a:lnTo>
                    <a:pt x="239" y="154"/>
                  </a:lnTo>
                  <a:lnTo>
                    <a:pt x="239" y="154"/>
                  </a:lnTo>
                  <a:lnTo>
                    <a:pt x="241" y="154"/>
                  </a:lnTo>
                  <a:lnTo>
                    <a:pt x="242" y="153"/>
                  </a:lnTo>
                  <a:lnTo>
                    <a:pt x="244" y="150"/>
                  </a:lnTo>
                  <a:lnTo>
                    <a:pt x="245" y="149"/>
                  </a:lnTo>
                  <a:lnTo>
                    <a:pt x="247" y="148"/>
                  </a:lnTo>
                  <a:lnTo>
                    <a:pt x="247" y="145"/>
                  </a:lnTo>
                  <a:lnTo>
                    <a:pt x="248" y="144"/>
                  </a:lnTo>
                  <a:lnTo>
                    <a:pt x="249" y="143"/>
                  </a:lnTo>
                  <a:lnTo>
                    <a:pt x="249" y="141"/>
                  </a:lnTo>
                  <a:lnTo>
                    <a:pt x="249" y="140"/>
                  </a:lnTo>
                  <a:lnTo>
                    <a:pt x="247" y="138"/>
                  </a:lnTo>
                  <a:lnTo>
                    <a:pt x="247" y="136"/>
                  </a:lnTo>
                  <a:lnTo>
                    <a:pt x="247" y="135"/>
                  </a:lnTo>
                  <a:lnTo>
                    <a:pt x="248" y="133"/>
                  </a:lnTo>
                  <a:lnTo>
                    <a:pt x="248" y="132"/>
                  </a:lnTo>
                  <a:lnTo>
                    <a:pt x="248" y="131"/>
                  </a:lnTo>
                  <a:lnTo>
                    <a:pt x="248" y="130"/>
                  </a:lnTo>
                  <a:lnTo>
                    <a:pt x="245" y="125"/>
                  </a:lnTo>
                  <a:lnTo>
                    <a:pt x="242" y="120"/>
                  </a:lnTo>
                  <a:lnTo>
                    <a:pt x="241" y="119"/>
                  </a:lnTo>
                  <a:lnTo>
                    <a:pt x="240" y="118"/>
                  </a:lnTo>
                  <a:lnTo>
                    <a:pt x="239" y="115"/>
                  </a:lnTo>
                  <a:lnTo>
                    <a:pt x="239" y="113"/>
                  </a:lnTo>
                  <a:lnTo>
                    <a:pt x="239" y="110"/>
                  </a:lnTo>
                  <a:lnTo>
                    <a:pt x="237" y="105"/>
                  </a:lnTo>
                  <a:lnTo>
                    <a:pt x="237" y="102"/>
                  </a:lnTo>
                  <a:lnTo>
                    <a:pt x="237" y="100"/>
                  </a:lnTo>
                  <a:lnTo>
                    <a:pt x="237" y="98"/>
                  </a:lnTo>
                  <a:lnTo>
                    <a:pt x="238" y="94"/>
                  </a:lnTo>
                  <a:lnTo>
                    <a:pt x="239" y="92"/>
                  </a:lnTo>
                  <a:lnTo>
                    <a:pt x="239" y="89"/>
                  </a:lnTo>
                  <a:lnTo>
                    <a:pt x="242" y="83"/>
                  </a:lnTo>
                  <a:lnTo>
                    <a:pt x="244" y="82"/>
                  </a:lnTo>
                  <a:lnTo>
                    <a:pt x="246" y="79"/>
                  </a:lnTo>
                  <a:lnTo>
                    <a:pt x="247" y="78"/>
                  </a:lnTo>
                  <a:lnTo>
                    <a:pt x="247" y="78"/>
                  </a:lnTo>
                  <a:lnTo>
                    <a:pt x="248" y="72"/>
                  </a:lnTo>
                  <a:lnTo>
                    <a:pt x="250" y="65"/>
                  </a:lnTo>
                  <a:lnTo>
                    <a:pt x="251" y="63"/>
                  </a:lnTo>
                  <a:lnTo>
                    <a:pt x="252" y="60"/>
                  </a:lnTo>
                  <a:lnTo>
                    <a:pt x="252" y="56"/>
                  </a:lnTo>
                  <a:lnTo>
                    <a:pt x="252" y="50"/>
                  </a:lnTo>
                  <a:lnTo>
                    <a:pt x="252" y="45"/>
                  </a:lnTo>
                  <a:lnTo>
                    <a:pt x="253" y="43"/>
                  </a:lnTo>
                  <a:lnTo>
                    <a:pt x="253" y="41"/>
                  </a:lnTo>
                  <a:lnTo>
                    <a:pt x="254" y="40"/>
                  </a:lnTo>
                  <a:lnTo>
                    <a:pt x="254" y="38"/>
                  </a:lnTo>
                  <a:lnTo>
                    <a:pt x="258" y="33"/>
                  </a:lnTo>
                  <a:lnTo>
                    <a:pt x="259" y="30"/>
                  </a:lnTo>
                  <a:lnTo>
                    <a:pt x="259" y="29"/>
                  </a:lnTo>
                  <a:lnTo>
                    <a:pt x="261" y="23"/>
                  </a:lnTo>
                  <a:lnTo>
                    <a:pt x="262" y="21"/>
                  </a:lnTo>
                  <a:lnTo>
                    <a:pt x="262" y="19"/>
                  </a:lnTo>
                  <a:lnTo>
                    <a:pt x="264" y="16"/>
                  </a:lnTo>
                  <a:lnTo>
                    <a:pt x="266" y="13"/>
                  </a:lnTo>
                  <a:lnTo>
                    <a:pt x="269" y="10"/>
                  </a:lnTo>
                  <a:lnTo>
                    <a:pt x="271" y="7"/>
                  </a:lnTo>
                  <a:lnTo>
                    <a:pt x="274" y="5"/>
                  </a:lnTo>
                  <a:lnTo>
                    <a:pt x="278" y="3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283" y="0"/>
                  </a:lnTo>
                  <a:lnTo>
                    <a:pt x="282" y="0"/>
                  </a:lnTo>
                  <a:close/>
                </a:path>
              </a:pathLst>
            </a:custGeom>
            <a:solidFill>
              <a:srgbClr val="EFF3FF"/>
            </a:solidFill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100">
              <a:extLst>
                <a:ext uri="{FF2B5EF4-FFF2-40B4-BE49-F238E27FC236}">
                  <a16:creationId xmlns:a16="http://schemas.microsoft.com/office/drawing/2014/main" id="{BD023D38-08FC-BACC-49D5-89DF00BEB4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1798" y="4524213"/>
              <a:ext cx="771525" cy="890588"/>
            </a:xfrm>
            <a:custGeom>
              <a:avLst/>
              <a:gdLst>
                <a:gd name="T0" fmla="*/ 124 w 486"/>
                <a:gd name="T1" fmla="*/ 32 h 561"/>
                <a:gd name="T2" fmla="*/ 141 w 486"/>
                <a:gd name="T3" fmla="*/ 45 h 561"/>
                <a:gd name="T4" fmla="*/ 177 w 486"/>
                <a:gd name="T5" fmla="*/ 42 h 561"/>
                <a:gd name="T6" fmla="*/ 246 w 486"/>
                <a:gd name="T7" fmla="*/ 40 h 561"/>
                <a:gd name="T8" fmla="*/ 264 w 486"/>
                <a:gd name="T9" fmla="*/ 18 h 561"/>
                <a:gd name="T10" fmla="*/ 291 w 486"/>
                <a:gd name="T11" fmla="*/ 0 h 561"/>
                <a:gd name="T12" fmla="*/ 319 w 486"/>
                <a:gd name="T13" fmla="*/ 6 h 561"/>
                <a:gd name="T14" fmla="*/ 346 w 486"/>
                <a:gd name="T15" fmla="*/ 27 h 561"/>
                <a:gd name="T16" fmla="*/ 362 w 486"/>
                <a:gd name="T17" fmla="*/ 47 h 561"/>
                <a:gd name="T18" fmla="*/ 395 w 486"/>
                <a:gd name="T19" fmla="*/ 47 h 561"/>
                <a:gd name="T20" fmla="*/ 428 w 486"/>
                <a:gd name="T21" fmla="*/ 35 h 561"/>
                <a:gd name="T22" fmla="*/ 431 w 486"/>
                <a:gd name="T23" fmla="*/ 17 h 561"/>
                <a:gd name="T24" fmla="*/ 459 w 486"/>
                <a:gd name="T25" fmla="*/ 27 h 561"/>
                <a:gd name="T26" fmla="*/ 485 w 486"/>
                <a:gd name="T27" fmla="*/ 50 h 561"/>
                <a:gd name="T28" fmla="*/ 470 w 486"/>
                <a:gd name="T29" fmla="*/ 82 h 561"/>
                <a:gd name="T30" fmla="*/ 473 w 486"/>
                <a:gd name="T31" fmla="*/ 117 h 561"/>
                <a:gd name="T32" fmla="*/ 485 w 486"/>
                <a:gd name="T33" fmla="*/ 145 h 561"/>
                <a:gd name="T34" fmla="*/ 479 w 486"/>
                <a:gd name="T35" fmla="*/ 184 h 561"/>
                <a:gd name="T36" fmla="*/ 469 w 486"/>
                <a:gd name="T37" fmla="*/ 213 h 561"/>
                <a:gd name="T38" fmla="*/ 471 w 486"/>
                <a:gd name="T39" fmla="*/ 252 h 561"/>
                <a:gd name="T40" fmla="*/ 463 w 486"/>
                <a:gd name="T41" fmla="*/ 281 h 561"/>
                <a:gd name="T42" fmla="*/ 444 w 486"/>
                <a:gd name="T43" fmla="*/ 302 h 561"/>
                <a:gd name="T44" fmla="*/ 421 w 486"/>
                <a:gd name="T45" fmla="*/ 332 h 561"/>
                <a:gd name="T46" fmla="*/ 411 w 486"/>
                <a:gd name="T47" fmla="*/ 327 h 561"/>
                <a:gd name="T48" fmla="*/ 396 w 486"/>
                <a:gd name="T49" fmla="*/ 345 h 561"/>
                <a:gd name="T50" fmla="*/ 369 w 486"/>
                <a:gd name="T51" fmla="*/ 361 h 561"/>
                <a:gd name="T52" fmla="*/ 364 w 486"/>
                <a:gd name="T53" fmla="*/ 391 h 561"/>
                <a:gd name="T54" fmla="*/ 376 w 486"/>
                <a:gd name="T55" fmla="*/ 441 h 561"/>
                <a:gd name="T56" fmla="*/ 380 w 486"/>
                <a:gd name="T57" fmla="*/ 459 h 561"/>
                <a:gd name="T58" fmla="*/ 341 w 486"/>
                <a:gd name="T59" fmla="*/ 449 h 561"/>
                <a:gd name="T60" fmla="*/ 328 w 486"/>
                <a:gd name="T61" fmla="*/ 460 h 561"/>
                <a:gd name="T62" fmla="*/ 333 w 486"/>
                <a:gd name="T63" fmla="*/ 504 h 561"/>
                <a:gd name="T64" fmla="*/ 321 w 486"/>
                <a:gd name="T65" fmla="*/ 532 h 561"/>
                <a:gd name="T66" fmla="*/ 305 w 486"/>
                <a:gd name="T67" fmla="*/ 561 h 561"/>
                <a:gd name="T68" fmla="*/ 254 w 486"/>
                <a:gd name="T69" fmla="*/ 555 h 561"/>
                <a:gd name="T70" fmla="*/ 229 w 486"/>
                <a:gd name="T71" fmla="*/ 536 h 561"/>
                <a:gd name="T72" fmla="*/ 204 w 486"/>
                <a:gd name="T73" fmla="*/ 515 h 561"/>
                <a:gd name="T74" fmla="*/ 169 w 486"/>
                <a:gd name="T75" fmla="*/ 505 h 561"/>
                <a:gd name="T76" fmla="*/ 148 w 486"/>
                <a:gd name="T77" fmla="*/ 487 h 561"/>
                <a:gd name="T78" fmla="*/ 124 w 486"/>
                <a:gd name="T79" fmla="*/ 447 h 561"/>
                <a:gd name="T80" fmla="*/ 100 w 486"/>
                <a:gd name="T81" fmla="*/ 416 h 561"/>
                <a:gd name="T82" fmla="*/ 89 w 486"/>
                <a:gd name="T83" fmla="*/ 379 h 561"/>
                <a:gd name="T84" fmla="*/ 54 w 486"/>
                <a:gd name="T85" fmla="*/ 328 h 561"/>
                <a:gd name="T86" fmla="*/ 55 w 486"/>
                <a:gd name="T87" fmla="*/ 288 h 561"/>
                <a:gd name="T88" fmla="*/ 67 w 486"/>
                <a:gd name="T89" fmla="*/ 257 h 561"/>
                <a:gd name="T90" fmla="*/ 68 w 486"/>
                <a:gd name="T91" fmla="*/ 235 h 561"/>
                <a:gd name="T92" fmla="*/ 54 w 486"/>
                <a:gd name="T93" fmla="*/ 217 h 561"/>
                <a:gd name="T94" fmla="*/ 50 w 486"/>
                <a:gd name="T95" fmla="*/ 187 h 561"/>
                <a:gd name="T96" fmla="*/ 43 w 486"/>
                <a:gd name="T97" fmla="*/ 167 h 561"/>
                <a:gd name="T98" fmla="*/ 63 w 486"/>
                <a:gd name="T99" fmla="*/ 150 h 561"/>
                <a:gd name="T100" fmla="*/ 68 w 486"/>
                <a:gd name="T101" fmla="*/ 132 h 561"/>
                <a:gd name="T102" fmla="*/ 52 w 486"/>
                <a:gd name="T103" fmla="*/ 120 h 561"/>
                <a:gd name="T104" fmla="*/ 52 w 486"/>
                <a:gd name="T105" fmla="*/ 110 h 561"/>
                <a:gd name="T106" fmla="*/ 33 w 486"/>
                <a:gd name="T107" fmla="*/ 97 h 561"/>
                <a:gd name="T108" fmla="*/ 3 w 486"/>
                <a:gd name="T109" fmla="*/ 85 h 561"/>
                <a:gd name="T110" fmla="*/ 12 w 486"/>
                <a:gd name="T111" fmla="*/ 70 h 561"/>
                <a:gd name="T112" fmla="*/ 42 w 486"/>
                <a:gd name="T113" fmla="*/ 63 h 561"/>
                <a:gd name="T114" fmla="*/ 59 w 486"/>
                <a:gd name="T115" fmla="*/ 54 h 561"/>
                <a:gd name="T116" fmla="*/ 73 w 486"/>
                <a:gd name="T117" fmla="*/ 30 h 561"/>
                <a:gd name="T118" fmla="*/ 108 w 486"/>
                <a:gd name="T119" fmla="*/ 5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86" h="561">
                  <a:moveTo>
                    <a:pt x="120" y="1"/>
                  </a:moveTo>
                  <a:lnTo>
                    <a:pt x="120" y="2"/>
                  </a:lnTo>
                  <a:lnTo>
                    <a:pt x="122" y="2"/>
                  </a:lnTo>
                  <a:lnTo>
                    <a:pt x="122" y="4"/>
                  </a:lnTo>
                  <a:lnTo>
                    <a:pt x="122" y="5"/>
                  </a:lnTo>
                  <a:lnTo>
                    <a:pt x="123" y="9"/>
                  </a:lnTo>
                  <a:lnTo>
                    <a:pt x="123" y="21"/>
                  </a:lnTo>
                  <a:lnTo>
                    <a:pt x="124" y="27"/>
                  </a:lnTo>
                  <a:lnTo>
                    <a:pt x="124" y="30"/>
                  </a:lnTo>
                  <a:lnTo>
                    <a:pt x="124" y="32"/>
                  </a:lnTo>
                  <a:lnTo>
                    <a:pt x="125" y="35"/>
                  </a:lnTo>
                  <a:lnTo>
                    <a:pt x="126" y="37"/>
                  </a:lnTo>
                  <a:lnTo>
                    <a:pt x="127" y="38"/>
                  </a:lnTo>
                  <a:lnTo>
                    <a:pt x="128" y="40"/>
                  </a:lnTo>
                  <a:lnTo>
                    <a:pt x="129" y="41"/>
                  </a:lnTo>
                  <a:lnTo>
                    <a:pt x="132" y="42"/>
                  </a:lnTo>
                  <a:lnTo>
                    <a:pt x="134" y="44"/>
                  </a:lnTo>
                  <a:lnTo>
                    <a:pt x="136" y="45"/>
                  </a:lnTo>
                  <a:lnTo>
                    <a:pt x="138" y="45"/>
                  </a:lnTo>
                  <a:lnTo>
                    <a:pt x="141" y="45"/>
                  </a:lnTo>
                  <a:lnTo>
                    <a:pt x="144" y="46"/>
                  </a:lnTo>
                  <a:lnTo>
                    <a:pt x="148" y="45"/>
                  </a:lnTo>
                  <a:lnTo>
                    <a:pt x="150" y="45"/>
                  </a:lnTo>
                  <a:lnTo>
                    <a:pt x="154" y="44"/>
                  </a:lnTo>
                  <a:lnTo>
                    <a:pt x="157" y="43"/>
                  </a:lnTo>
                  <a:lnTo>
                    <a:pt x="159" y="44"/>
                  </a:lnTo>
                  <a:lnTo>
                    <a:pt x="164" y="45"/>
                  </a:lnTo>
                  <a:lnTo>
                    <a:pt x="168" y="45"/>
                  </a:lnTo>
                  <a:lnTo>
                    <a:pt x="171" y="45"/>
                  </a:lnTo>
                  <a:lnTo>
                    <a:pt x="177" y="42"/>
                  </a:lnTo>
                  <a:lnTo>
                    <a:pt x="180" y="42"/>
                  </a:lnTo>
                  <a:lnTo>
                    <a:pt x="185" y="42"/>
                  </a:lnTo>
                  <a:lnTo>
                    <a:pt x="195" y="42"/>
                  </a:lnTo>
                  <a:lnTo>
                    <a:pt x="199" y="42"/>
                  </a:lnTo>
                  <a:lnTo>
                    <a:pt x="212" y="42"/>
                  </a:lnTo>
                  <a:lnTo>
                    <a:pt x="222" y="41"/>
                  </a:lnTo>
                  <a:lnTo>
                    <a:pt x="232" y="40"/>
                  </a:lnTo>
                  <a:lnTo>
                    <a:pt x="236" y="40"/>
                  </a:lnTo>
                  <a:lnTo>
                    <a:pt x="240" y="40"/>
                  </a:lnTo>
                  <a:lnTo>
                    <a:pt x="246" y="40"/>
                  </a:lnTo>
                  <a:lnTo>
                    <a:pt x="247" y="40"/>
                  </a:lnTo>
                  <a:lnTo>
                    <a:pt x="249" y="40"/>
                  </a:lnTo>
                  <a:lnTo>
                    <a:pt x="250" y="39"/>
                  </a:lnTo>
                  <a:lnTo>
                    <a:pt x="251" y="37"/>
                  </a:lnTo>
                  <a:lnTo>
                    <a:pt x="253" y="36"/>
                  </a:lnTo>
                  <a:lnTo>
                    <a:pt x="254" y="35"/>
                  </a:lnTo>
                  <a:lnTo>
                    <a:pt x="256" y="30"/>
                  </a:lnTo>
                  <a:lnTo>
                    <a:pt x="260" y="26"/>
                  </a:lnTo>
                  <a:lnTo>
                    <a:pt x="262" y="22"/>
                  </a:lnTo>
                  <a:lnTo>
                    <a:pt x="264" y="18"/>
                  </a:lnTo>
                  <a:lnTo>
                    <a:pt x="267" y="12"/>
                  </a:lnTo>
                  <a:lnTo>
                    <a:pt x="269" y="10"/>
                  </a:lnTo>
                  <a:lnTo>
                    <a:pt x="270" y="8"/>
                  </a:lnTo>
                  <a:lnTo>
                    <a:pt x="272" y="6"/>
                  </a:lnTo>
                  <a:lnTo>
                    <a:pt x="274" y="5"/>
                  </a:lnTo>
                  <a:lnTo>
                    <a:pt x="276" y="4"/>
                  </a:lnTo>
                  <a:lnTo>
                    <a:pt x="277" y="4"/>
                  </a:lnTo>
                  <a:lnTo>
                    <a:pt x="279" y="3"/>
                  </a:lnTo>
                  <a:lnTo>
                    <a:pt x="287" y="1"/>
                  </a:lnTo>
                  <a:lnTo>
                    <a:pt x="291" y="0"/>
                  </a:lnTo>
                  <a:lnTo>
                    <a:pt x="294" y="0"/>
                  </a:lnTo>
                  <a:lnTo>
                    <a:pt x="299" y="0"/>
                  </a:lnTo>
                  <a:lnTo>
                    <a:pt x="301" y="0"/>
                  </a:lnTo>
                  <a:lnTo>
                    <a:pt x="303" y="0"/>
                  </a:lnTo>
                  <a:lnTo>
                    <a:pt x="306" y="0"/>
                  </a:lnTo>
                  <a:lnTo>
                    <a:pt x="309" y="1"/>
                  </a:lnTo>
                  <a:lnTo>
                    <a:pt x="311" y="2"/>
                  </a:lnTo>
                  <a:lnTo>
                    <a:pt x="314" y="4"/>
                  </a:lnTo>
                  <a:lnTo>
                    <a:pt x="316" y="5"/>
                  </a:lnTo>
                  <a:lnTo>
                    <a:pt x="319" y="6"/>
                  </a:lnTo>
                  <a:lnTo>
                    <a:pt x="321" y="7"/>
                  </a:lnTo>
                  <a:lnTo>
                    <a:pt x="322" y="10"/>
                  </a:lnTo>
                  <a:lnTo>
                    <a:pt x="324" y="12"/>
                  </a:lnTo>
                  <a:lnTo>
                    <a:pt x="328" y="17"/>
                  </a:lnTo>
                  <a:lnTo>
                    <a:pt x="329" y="19"/>
                  </a:lnTo>
                  <a:lnTo>
                    <a:pt x="331" y="20"/>
                  </a:lnTo>
                  <a:lnTo>
                    <a:pt x="333" y="22"/>
                  </a:lnTo>
                  <a:lnTo>
                    <a:pt x="335" y="22"/>
                  </a:lnTo>
                  <a:lnTo>
                    <a:pt x="341" y="25"/>
                  </a:lnTo>
                  <a:lnTo>
                    <a:pt x="346" y="27"/>
                  </a:lnTo>
                  <a:lnTo>
                    <a:pt x="349" y="29"/>
                  </a:lnTo>
                  <a:lnTo>
                    <a:pt x="351" y="30"/>
                  </a:lnTo>
                  <a:lnTo>
                    <a:pt x="353" y="32"/>
                  </a:lnTo>
                  <a:lnTo>
                    <a:pt x="356" y="35"/>
                  </a:lnTo>
                  <a:lnTo>
                    <a:pt x="357" y="37"/>
                  </a:lnTo>
                  <a:lnTo>
                    <a:pt x="358" y="37"/>
                  </a:lnTo>
                  <a:lnTo>
                    <a:pt x="359" y="40"/>
                  </a:lnTo>
                  <a:lnTo>
                    <a:pt x="361" y="45"/>
                  </a:lnTo>
                  <a:lnTo>
                    <a:pt x="361" y="46"/>
                  </a:lnTo>
                  <a:lnTo>
                    <a:pt x="362" y="47"/>
                  </a:lnTo>
                  <a:lnTo>
                    <a:pt x="364" y="47"/>
                  </a:lnTo>
                  <a:lnTo>
                    <a:pt x="364" y="48"/>
                  </a:lnTo>
                  <a:lnTo>
                    <a:pt x="366" y="49"/>
                  </a:lnTo>
                  <a:lnTo>
                    <a:pt x="380" y="51"/>
                  </a:lnTo>
                  <a:lnTo>
                    <a:pt x="382" y="51"/>
                  </a:lnTo>
                  <a:lnTo>
                    <a:pt x="384" y="50"/>
                  </a:lnTo>
                  <a:lnTo>
                    <a:pt x="391" y="49"/>
                  </a:lnTo>
                  <a:lnTo>
                    <a:pt x="391" y="48"/>
                  </a:lnTo>
                  <a:lnTo>
                    <a:pt x="393" y="48"/>
                  </a:lnTo>
                  <a:lnTo>
                    <a:pt x="395" y="47"/>
                  </a:lnTo>
                  <a:lnTo>
                    <a:pt x="404" y="40"/>
                  </a:lnTo>
                  <a:lnTo>
                    <a:pt x="406" y="39"/>
                  </a:lnTo>
                  <a:lnTo>
                    <a:pt x="409" y="37"/>
                  </a:lnTo>
                  <a:lnTo>
                    <a:pt x="412" y="36"/>
                  </a:lnTo>
                  <a:lnTo>
                    <a:pt x="415" y="35"/>
                  </a:lnTo>
                  <a:lnTo>
                    <a:pt x="418" y="35"/>
                  </a:lnTo>
                  <a:lnTo>
                    <a:pt x="421" y="35"/>
                  </a:lnTo>
                  <a:lnTo>
                    <a:pt x="426" y="35"/>
                  </a:lnTo>
                  <a:lnTo>
                    <a:pt x="427" y="35"/>
                  </a:lnTo>
                  <a:lnTo>
                    <a:pt x="428" y="35"/>
                  </a:lnTo>
                  <a:lnTo>
                    <a:pt x="429" y="35"/>
                  </a:lnTo>
                  <a:lnTo>
                    <a:pt x="429" y="34"/>
                  </a:lnTo>
                  <a:lnTo>
                    <a:pt x="429" y="33"/>
                  </a:lnTo>
                  <a:lnTo>
                    <a:pt x="429" y="32"/>
                  </a:lnTo>
                  <a:lnTo>
                    <a:pt x="429" y="29"/>
                  </a:lnTo>
                  <a:lnTo>
                    <a:pt x="429" y="22"/>
                  </a:lnTo>
                  <a:lnTo>
                    <a:pt x="429" y="20"/>
                  </a:lnTo>
                  <a:lnTo>
                    <a:pt x="430" y="20"/>
                  </a:lnTo>
                  <a:lnTo>
                    <a:pt x="431" y="18"/>
                  </a:lnTo>
                  <a:lnTo>
                    <a:pt x="431" y="17"/>
                  </a:lnTo>
                  <a:lnTo>
                    <a:pt x="433" y="17"/>
                  </a:lnTo>
                  <a:lnTo>
                    <a:pt x="434" y="16"/>
                  </a:lnTo>
                  <a:lnTo>
                    <a:pt x="435" y="16"/>
                  </a:lnTo>
                  <a:lnTo>
                    <a:pt x="436" y="17"/>
                  </a:lnTo>
                  <a:lnTo>
                    <a:pt x="439" y="17"/>
                  </a:lnTo>
                  <a:lnTo>
                    <a:pt x="441" y="19"/>
                  </a:lnTo>
                  <a:lnTo>
                    <a:pt x="446" y="22"/>
                  </a:lnTo>
                  <a:lnTo>
                    <a:pt x="449" y="24"/>
                  </a:lnTo>
                  <a:lnTo>
                    <a:pt x="456" y="27"/>
                  </a:lnTo>
                  <a:lnTo>
                    <a:pt x="459" y="27"/>
                  </a:lnTo>
                  <a:lnTo>
                    <a:pt x="461" y="29"/>
                  </a:lnTo>
                  <a:lnTo>
                    <a:pt x="463" y="30"/>
                  </a:lnTo>
                  <a:lnTo>
                    <a:pt x="466" y="33"/>
                  </a:lnTo>
                  <a:lnTo>
                    <a:pt x="473" y="37"/>
                  </a:lnTo>
                  <a:lnTo>
                    <a:pt x="480" y="44"/>
                  </a:lnTo>
                  <a:lnTo>
                    <a:pt x="484" y="47"/>
                  </a:lnTo>
                  <a:lnTo>
                    <a:pt x="484" y="47"/>
                  </a:lnTo>
                  <a:lnTo>
                    <a:pt x="485" y="48"/>
                  </a:lnTo>
                  <a:lnTo>
                    <a:pt x="485" y="49"/>
                  </a:lnTo>
                  <a:lnTo>
                    <a:pt x="485" y="50"/>
                  </a:lnTo>
                  <a:lnTo>
                    <a:pt x="484" y="53"/>
                  </a:lnTo>
                  <a:lnTo>
                    <a:pt x="483" y="55"/>
                  </a:lnTo>
                  <a:lnTo>
                    <a:pt x="482" y="59"/>
                  </a:lnTo>
                  <a:lnTo>
                    <a:pt x="478" y="65"/>
                  </a:lnTo>
                  <a:lnTo>
                    <a:pt x="476" y="70"/>
                  </a:lnTo>
                  <a:lnTo>
                    <a:pt x="473" y="74"/>
                  </a:lnTo>
                  <a:lnTo>
                    <a:pt x="471" y="76"/>
                  </a:lnTo>
                  <a:lnTo>
                    <a:pt x="471" y="78"/>
                  </a:lnTo>
                  <a:lnTo>
                    <a:pt x="470" y="80"/>
                  </a:lnTo>
                  <a:lnTo>
                    <a:pt x="470" y="82"/>
                  </a:lnTo>
                  <a:lnTo>
                    <a:pt x="469" y="85"/>
                  </a:lnTo>
                  <a:lnTo>
                    <a:pt x="470" y="86"/>
                  </a:lnTo>
                  <a:lnTo>
                    <a:pt x="470" y="88"/>
                  </a:lnTo>
                  <a:lnTo>
                    <a:pt x="471" y="95"/>
                  </a:lnTo>
                  <a:lnTo>
                    <a:pt x="472" y="97"/>
                  </a:lnTo>
                  <a:lnTo>
                    <a:pt x="472" y="102"/>
                  </a:lnTo>
                  <a:lnTo>
                    <a:pt x="471" y="109"/>
                  </a:lnTo>
                  <a:lnTo>
                    <a:pt x="472" y="113"/>
                  </a:lnTo>
                  <a:lnTo>
                    <a:pt x="473" y="116"/>
                  </a:lnTo>
                  <a:lnTo>
                    <a:pt x="473" y="117"/>
                  </a:lnTo>
                  <a:lnTo>
                    <a:pt x="474" y="120"/>
                  </a:lnTo>
                  <a:lnTo>
                    <a:pt x="476" y="123"/>
                  </a:lnTo>
                  <a:lnTo>
                    <a:pt x="478" y="125"/>
                  </a:lnTo>
                  <a:lnTo>
                    <a:pt x="482" y="131"/>
                  </a:lnTo>
                  <a:lnTo>
                    <a:pt x="483" y="133"/>
                  </a:lnTo>
                  <a:lnTo>
                    <a:pt x="485" y="136"/>
                  </a:lnTo>
                  <a:lnTo>
                    <a:pt x="486" y="138"/>
                  </a:lnTo>
                  <a:lnTo>
                    <a:pt x="486" y="140"/>
                  </a:lnTo>
                  <a:lnTo>
                    <a:pt x="486" y="142"/>
                  </a:lnTo>
                  <a:lnTo>
                    <a:pt x="485" y="145"/>
                  </a:lnTo>
                  <a:lnTo>
                    <a:pt x="484" y="149"/>
                  </a:lnTo>
                  <a:lnTo>
                    <a:pt x="483" y="151"/>
                  </a:lnTo>
                  <a:lnTo>
                    <a:pt x="483" y="154"/>
                  </a:lnTo>
                  <a:lnTo>
                    <a:pt x="483" y="161"/>
                  </a:lnTo>
                  <a:lnTo>
                    <a:pt x="483" y="165"/>
                  </a:lnTo>
                  <a:lnTo>
                    <a:pt x="483" y="167"/>
                  </a:lnTo>
                  <a:lnTo>
                    <a:pt x="481" y="173"/>
                  </a:lnTo>
                  <a:lnTo>
                    <a:pt x="481" y="177"/>
                  </a:lnTo>
                  <a:lnTo>
                    <a:pt x="480" y="179"/>
                  </a:lnTo>
                  <a:lnTo>
                    <a:pt x="479" y="184"/>
                  </a:lnTo>
                  <a:lnTo>
                    <a:pt x="479" y="192"/>
                  </a:lnTo>
                  <a:lnTo>
                    <a:pt x="479" y="196"/>
                  </a:lnTo>
                  <a:lnTo>
                    <a:pt x="478" y="200"/>
                  </a:lnTo>
                  <a:lnTo>
                    <a:pt x="478" y="202"/>
                  </a:lnTo>
                  <a:lnTo>
                    <a:pt x="476" y="205"/>
                  </a:lnTo>
                  <a:lnTo>
                    <a:pt x="475" y="207"/>
                  </a:lnTo>
                  <a:lnTo>
                    <a:pt x="474" y="209"/>
                  </a:lnTo>
                  <a:lnTo>
                    <a:pt x="473" y="210"/>
                  </a:lnTo>
                  <a:lnTo>
                    <a:pt x="471" y="212"/>
                  </a:lnTo>
                  <a:lnTo>
                    <a:pt x="469" y="213"/>
                  </a:lnTo>
                  <a:lnTo>
                    <a:pt x="462" y="217"/>
                  </a:lnTo>
                  <a:lnTo>
                    <a:pt x="461" y="218"/>
                  </a:lnTo>
                  <a:lnTo>
                    <a:pt x="461" y="219"/>
                  </a:lnTo>
                  <a:lnTo>
                    <a:pt x="461" y="220"/>
                  </a:lnTo>
                  <a:lnTo>
                    <a:pt x="461" y="222"/>
                  </a:lnTo>
                  <a:lnTo>
                    <a:pt x="461" y="224"/>
                  </a:lnTo>
                  <a:lnTo>
                    <a:pt x="466" y="235"/>
                  </a:lnTo>
                  <a:lnTo>
                    <a:pt x="467" y="239"/>
                  </a:lnTo>
                  <a:lnTo>
                    <a:pt x="470" y="247"/>
                  </a:lnTo>
                  <a:lnTo>
                    <a:pt x="471" y="252"/>
                  </a:lnTo>
                  <a:lnTo>
                    <a:pt x="471" y="257"/>
                  </a:lnTo>
                  <a:lnTo>
                    <a:pt x="471" y="261"/>
                  </a:lnTo>
                  <a:lnTo>
                    <a:pt x="471" y="266"/>
                  </a:lnTo>
                  <a:lnTo>
                    <a:pt x="471" y="270"/>
                  </a:lnTo>
                  <a:lnTo>
                    <a:pt x="470" y="272"/>
                  </a:lnTo>
                  <a:lnTo>
                    <a:pt x="469" y="275"/>
                  </a:lnTo>
                  <a:lnTo>
                    <a:pt x="467" y="278"/>
                  </a:lnTo>
                  <a:lnTo>
                    <a:pt x="465" y="279"/>
                  </a:lnTo>
                  <a:lnTo>
                    <a:pt x="464" y="280"/>
                  </a:lnTo>
                  <a:lnTo>
                    <a:pt x="463" y="281"/>
                  </a:lnTo>
                  <a:lnTo>
                    <a:pt x="458" y="282"/>
                  </a:lnTo>
                  <a:lnTo>
                    <a:pt x="455" y="284"/>
                  </a:lnTo>
                  <a:lnTo>
                    <a:pt x="453" y="285"/>
                  </a:lnTo>
                  <a:lnTo>
                    <a:pt x="451" y="286"/>
                  </a:lnTo>
                  <a:lnTo>
                    <a:pt x="450" y="287"/>
                  </a:lnTo>
                  <a:lnTo>
                    <a:pt x="449" y="288"/>
                  </a:lnTo>
                  <a:lnTo>
                    <a:pt x="447" y="290"/>
                  </a:lnTo>
                  <a:lnTo>
                    <a:pt x="446" y="293"/>
                  </a:lnTo>
                  <a:lnTo>
                    <a:pt x="445" y="297"/>
                  </a:lnTo>
                  <a:lnTo>
                    <a:pt x="444" y="302"/>
                  </a:lnTo>
                  <a:lnTo>
                    <a:pt x="444" y="304"/>
                  </a:lnTo>
                  <a:lnTo>
                    <a:pt x="443" y="307"/>
                  </a:lnTo>
                  <a:lnTo>
                    <a:pt x="441" y="309"/>
                  </a:lnTo>
                  <a:lnTo>
                    <a:pt x="438" y="314"/>
                  </a:lnTo>
                  <a:lnTo>
                    <a:pt x="432" y="321"/>
                  </a:lnTo>
                  <a:lnTo>
                    <a:pt x="429" y="325"/>
                  </a:lnTo>
                  <a:lnTo>
                    <a:pt x="426" y="328"/>
                  </a:lnTo>
                  <a:lnTo>
                    <a:pt x="424" y="330"/>
                  </a:lnTo>
                  <a:lnTo>
                    <a:pt x="421" y="331"/>
                  </a:lnTo>
                  <a:lnTo>
                    <a:pt x="421" y="332"/>
                  </a:lnTo>
                  <a:lnTo>
                    <a:pt x="420" y="332"/>
                  </a:lnTo>
                  <a:lnTo>
                    <a:pt x="419" y="332"/>
                  </a:lnTo>
                  <a:lnTo>
                    <a:pt x="419" y="330"/>
                  </a:lnTo>
                  <a:lnTo>
                    <a:pt x="417" y="330"/>
                  </a:lnTo>
                  <a:lnTo>
                    <a:pt x="417" y="331"/>
                  </a:lnTo>
                  <a:lnTo>
                    <a:pt x="414" y="330"/>
                  </a:lnTo>
                  <a:lnTo>
                    <a:pt x="412" y="329"/>
                  </a:lnTo>
                  <a:lnTo>
                    <a:pt x="411" y="329"/>
                  </a:lnTo>
                  <a:lnTo>
                    <a:pt x="411" y="328"/>
                  </a:lnTo>
                  <a:lnTo>
                    <a:pt x="411" y="327"/>
                  </a:lnTo>
                  <a:lnTo>
                    <a:pt x="411" y="327"/>
                  </a:lnTo>
                  <a:lnTo>
                    <a:pt x="410" y="327"/>
                  </a:lnTo>
                  <a:lnTo>
                    <a:pt x="409" y="327"/>
                  </a:lnTo>
                  <a:lnTo>
                    <a:pt x="409" y="327"/>
                  </a:lnTo>
                  <a:lnTo>
                    <a:pt x="408" y="327"/>
                  </a:lnTo>
                  <a:lnTo>
                    <a:pt x="406" y="329"/>
                  </a:lnTo>
                  <a:lnTo>
                    <a:pt x="405" y="330"/>
                  </a:lnTo>
                  <a:lnTo>
                    <a:pt x="403" y="334"/>
                  </a:lnTo>
                  <a:lnTo>
                    <a:pt x="400" y="340"/>
                  </a:lnTo>
                  <a:lnTo>
                    <a:pt x="396" y="345"/>
                  </a:lnTo>
                  <a:lnTo>
                    <a:pt x="394" y="349"/>
                  </a:lnTo>
                  <a:lnTo>
                    <a:pt x="393" y="351"/>
                  </a:lnTo>
                  <a:lnTo>
                    <a:pt x="391" y="352"/>
                  </a:lnTo>
                  <a:lnTo>
                    <a:pt x="390" y="352"/>
                  </a:lnTo>
                  <a:lnTo>
                    <a:pt x="388" y="354"/>
                  </a:lnTo>
                  <a:lnTo>
                    <a:pt x="386" y="354"/>
                  </a:lnTo>
                  <a:lnTo>
                    <a:pt x="379" y="356"/>
                  </a:lnTo>
                  <a:lnTo>
                    <a:pt x="376" y="357"/>
                  </a:lnTo>
                  <a:lnTo>
                    <a:pt x="372" y="359"/>
                  </a:lnTo>
                  <a:lnTo>
                    <a:pt x="369" y="361"/>
                  </a:lnTo>
                  <a:lnTo>
                    <a:pt x="366" y="362"/>
                  </a:lnTo>
                  <a:lnTo>
                    <a:pt x="365" y="363"/>
                  </a:lnTo>
                  <a:lnTo>
                    <a:pt x="364" y="364"/>
                  </a:lnTo>
                  <a:lnTo>
                    <a:pt x="364" y="365"/>
                  </a:lnTo>
                  <a:lnTo>
                    <a:pt x="363" y="367"/>
                  </a:lnTo>
                  <a:lnTo>
                    <a:pt x="362" y="368"/>
                  </a:lnTo>
                  <a:lnTo>
                    <a:pt x="362" y="369"/>
                  </a:lnTo>
                  <a:lnTo>
                    <a:pt x="362" y="372"/>
                  </a:lnTo>
                  <a:lnTo>
                    <a:pt x="362" y="377"/>
                  </a:lnTo>
                  <a:lnTo>
                    <a:pt x="364" y="391"/>
                  </a:lnTo>
                  <a:lnTo>
                    <a:pt x="364" y="401"/>
                  </a:lnTo>
                  <a:lnTo>
                    <a:pt x="365" y="405"/>
                  </a:lnTo>
                  <a:lnTo>
                    <a:pt x="366" y="411"/>
                  </a:lnTo>
                  <a:lnTo>
                    <a:pt x="366" y="415"/>
                  </a:lnTo>
                  <a:lnTo>
                    <a:pt x="367" y="419"/>
                  </a:lnTo>
                  <a:lnTo>
                    <a:pt x="369" y="423"/>
                  </a:lnTo>
                  <a:lnTo>
                    <a:pt x="371" y="428"/>
                  </a:lnTo>
                  <a:lnTo>
                    <a:pt x="372" y="433"/>
                  </a:lnTo>
                  <a:lnTo>
                    <a:pt x="375" y="438"/>
                  </a:lnTo>
                  <a:lnTo>
                    <a:pt x="376" y="441"/>
                  </a:lnTo>
                  <a:lnTo>
                    <a:pt x="381" y="447"/>
                  </a:lnTo>
                  <a:lnTo>
                    <a:pt x="382" y="451"/>
                  </a:lnTo>
                  <a:lnTo>
                    <a:pt x="383" y="452"/>
                  </a:lnTo>
                  <a:lnTo>
                    <a:pt x="383" y="454"/>
                  </a:lnTo>
                  <a:lnTo>
                    <a:pt x="383" y="455"/>
                  </a:lnTo>
                  <a:lnTo>
                    <a:pt x="382" y="457"/>
                  </a:lnTo>
                  <a:lnTo>
                    <a:pt x="382" y="457"/>
                  </a:lnTo>
                  <a:lnTo>
                    <a:pt x="381" y="458"/>
                  </a:lnTo>
                  <a:lnTo>
                    <a:pt x="381" y="458"/>
                  </a:lnTo>
                  <a:lnTo>
                    <a:pt x="380" y="459"/>
                  </a:lnTo>
                  <a:lnTo>
                    <a:pt x="379" y="459"/>
                  </a:lnTo>
                  <a:lnTo>
                    <a:pt x="377" y="459"/>
                  </a:lnTo>
                  <a:lnTo>
                    <a:pt x="374" y="459"/>
                  </a:lnTo>
                  <a:lnTo>
                    <a:pt x="371" y="457"/>
                  </a:lnTo>
                  <a:lnTo>
                    <a:pt x="363" y="455"/>
                  </a:lnTo>
                  <a:lnTo>
                    <a:pt x="353" y="451"/>
                  </a:lnTo>
                  <a:lnTo>
                    <a:pt x="349" y="450"/>
                  </a:lnTo>
                  <a:lnTo>
                    <a:pt x="346" y="449"/>
                  </a:lnTo>
                  <a:lnTo>
                    <a:pt x="344" y="449"/>
                  </a:lnTo>
                  <a:lnTo>
                    <a:pt x="341" y="449"/>
                  </a:lnTo>
                  <a:lnTo>
                    <a:pt x="339" y="449"/>
                  </a:lnTo>
                  <a:lnTo>
                    <a:pt x="337" y="449"/>
                  </a:lnTo>
                  <a:lnTo>
                    <a:pt x="336" y="450"/>
                  </a:lnTo>
                  <a:lnTo>
                    <a:pt x="334" y="451"/>
                  </a:lnTo>
                  <a:lnTo>
                    <a:pt x="333" y="452"/>
                  </a:lnTo>
                  <a:lnTo>
                    <a:pt x="331" y="453"/>
                  </a:lnTo>
                  <a:lnTo>
                    <a:pt x="331" y="454"/>
                  </a:lnTo>
                  <a:lnTo>
                    <a:pt x="329" y="456"/>
                  </a:lnTo>
                  <a:lnTo>
                    <a:pt x="329" y="457"/>
                  </a:lnTo>
                  <a:lnTo>
                    <a:pt x="328" y="460"/>
                  </a:lnTo>
                  <a:lnTo>
                    <a:pt x="328" y="462"/>
                  </a:lnTo>
                  <a:lnTo>
                    <a:pt x="327" y="464"/>
                  </a:lnTo>
                  <a:lnTo>
                    <a:pt x="327" y="467"/>
                  </a:lnTo>
                  <a:lnTo>
                    <a:pt x="327" y="470"/>
                  </a:lnTo>
                  <a:lnTo>
                    <a:pt x="327" y="473"/>
                  </a:lnTo>
                  <a:lnTo>
                    <a:pt x="328" y="480"/>
                  </a:lnTo>
                  <a:lnTo>
                    <a:pt x="329" y="487"/>
                  </a:lnTo>
                  <a:lnTo>
                    <a:pt x="330" y="492"/>
                  </a:lnTo>
                  <a:lnTo>
                    <a:pt x="332" y="501"/>
                  </a:lnTo>
                  <a:lnTo>
                    <a:pt x="333" y="504"/>
                  </a:lnTo>
                  <a:lnTo>
                    <a:pt x="334" y="506"/>
                  </a:lnTo>
                  <a:lnTo>
                    <a:pt x="334" y="509"/>
                  </a:lnTo>
                  <a:lnTo>
                    <a:pt x="334" y="510"/>
                  </a:lnTo>
                  <a:lnTo>
                    <a:pt x="333" y="512"/>
                  </a:lnTo>
                  <a:lnTo>
                    <a:pt x="332" y="514"/>
                  </a:lnTo>
                  <a:lnTo>
                    <a:pt x="332" y="516"/>
                  </a:lnTo>
                  <a:lnTo>
                    <a:pt x="331" y="517"/>
                  </a:lnTo>
                  <a:lnTo>
                    <a:pt x="330" y="519"/>
                  </a:lnTo>
                  <a:lnTo>
                    <a:pt x="325" y="526"/>
                  </a:lnTo>
                  <a:lnTo>
                    <a:pt x="321" y="532"/>
                  </a:lnTo>
                  <a:lnTo>
                    <a:pt x="314" y="542"/>
                  </a:lnTo>
                  <a:lnTo>
                    <a:pt x="311" y="545"/>
                  </a:lnTo>
                  <a:lnTo>
                    <a:pt x="310" y="548"/>
                  </a:lnTo>
                  <a:lnTo>
                    <a:pt x="309" y="551"/>
                  </a:lnTo>
                  <a:lnTo>
                    <a:pt x="306" y="555"/>
                  </a:lnTo>
                  <a:lnTo>
                    <a:pt x="306" y="556"/>
                  </a:lnTo>
                  <a:lnTo>
                    <a:pt x="306" y="559"/>
                  </a:lnTo>
                  <a:lnTo>
                    <a:pt x="306" y="560"/>
                  </a:lnTo>
                  <a:lnTo>
                    <a:pt x="306" y="561"/>
                  </a:lnTo>
                  <a:lnTo>
                    <a:pt x="305" y="561"/>
                  </a:lnTo>
                  <a:lnTo>
                    <a:pt x="304" y="561"/>
                  </a:lnTo>
                  <a:lnTo>
                    <a:pt x="301" y="561"/>
                  </a:lnTo>
                  <a:lnTo>
                    <a:pt x="298" y="560"/>
                  </a:lnTo>
                  <a:lnTo>
                    <a:pt x="288" y="559"/>
                  </a:lnTo>
                  <a:lnTo>
                    <a:pt x="283" y="558"/>
                  </a:lnTo>
                  <a:lnTo>
                    <a:pt x="279" y="557"/>
                  </a:lnTo>
                  <a:lnTo>
                    <a:pt x="274" y="556"/>
                  </a:lnTo>
                  <a:lnTo>
                    <a:pt x="263" y="556"/>
                  </a:lnTo>
                  <a:lnTo>
                    <a:pt x="259" y="556"/>
                  </a:lnTo>
                  <a:lnTo>
                    <a:pt x="254" y="555"/>
                  </a:lnTo>
                  <a:lnTo>
                    <a:pt x="249" y="554"/>
                  </a:lnTo>
                  <a:lnTo>
                    <a:pt x="244" y="552"/>
                  </a:lnTo>
                  <a:lnTo>
                    <a:pt x="241" y="551"/>
                  </a:lnTo>
                  <a:lnTo>
                    <a:pt x="239" y="550"/>
                  </a:lnTo>
                  <a:lnTo>
                    <a:pt x="237" y="549"/>
                  </a:lnTo>
                  <a:lnTo>
                    <a:pt x="236" y="546"/>
                  </a:lnTo>
                  <a:lnTo>
                    <a:pt x="232" y="541"/>
                  </a:lnTo>
                  <a:lnTo>
                    <a:pt x="232" y="539"/>
                  </a:lnTo>
                  <a:lnTo>
                    <a:pt x="230" y="538"/>
                  </a:lnTo>
                  <a:lnTo>
                    <a:pt x="229" y="536"/>
                  </a:lnTo>
                  <a:lnTo>
                    <a:pt x="227" y="536"/>
                  </a:lnTo>
                  <a:lnTo>
                    <a:pt x="217" y="533"/>
                  </a:lnTo>
                  <a:lnTo>
                    <a:pt x="215" y="532"/>
                  </a:lnTo>
                  <a:lnTo>
                    <a:pt x="212" y="531"/>
                  </a:lnTo>
                  <a:lnTo>
                    <a:pt x="210" y="529"/>
                  </a:lnTo>
                  <a:lnTo>
                    <a:pt x="209" y="527"/>
                  </a:lnTo>
                  <a:lnTo>
                    <a:pt x="207" y="525"/>
                  </a:lnTo>
                  <a:lnTo>
                    <a:pt x="207" y="523"/>
                  </a:lnTo>
                  <a:lnTo>
                    <a:pt x="205" y="517"/>
                  </a:lnTo>
                  <a:lnTo>
                    <a:pt x="204" y="515"/>
                  </a:lnTo>
                  <a:lnTo>
                    <a:pt x="204" y="513"/>
                  </a:lnTo>
                  <a:lnTo>
                    <a:pt x="203" y="512"/>
                  </a:lnTo>
                  <a:lnTo>
                    <a:pt x="202" y="511"/>
                  </a:lnTo>
                  <a:lnTo>
                    <a:pt x="201" y="511"/>
                  </a:lnTo>
                  <a:lnTo>
                    <a:pt x="199" y="510"/>
                  </a:lnTo>
                  <a:lnTo>
                    <a:pt x="197" y="510"/>
                  </a:lnTo>
                  <a:lnTo>
                    <a:pt x="191" y="509"/>
                  </a:lnTo>
                  <a:lnTo>
                    <a:pt x="188" y="509"/>
                  </a:lnTo>
                  <a:lnTo>
                    <a:pt x="180" y="507"/>
                  </a:lnTo>
                  <a:lnTo>
                    <a:pt x="169" y="505"/>
                  </a:lnTo>
                  <a:lnTo>
                    <a:pt x="165" y="504"/>
                  </a:lnTo>
                  <a:lnTo>
                    <a:pt x="163" y="503"/>
                  </a:lnTo>
                  <a:lnTo>
                    <a:pt x="162" y="502"/>
                  </a:lnTo>
                  <a:lnTo>
                    <a:pt x="159" y="501"/>
                  </a:lnTo>
                  <a:lnTo>
                    <a:pt x="158" y="500"/>
                  </a:lnTo>
                  <a:lnTo>
                    <a:pt x="157" y="499"/>
                  </a:lnTo>
                  <a:lnTo>
                    <a:pt x="156" y="497"/>
                  </a:lnTo>
                  <a:lnTo>
                    <a:pt x="152" y="492"/>
                  </a:lnTo>
                  <a:lnTo>
                    <a:pt x="150" y="489"/>
                  </a:lnTo>
                  <a:lnTo>
                    <a:pt x="148" y="487"/>
                  </a:lnTo>
                  <a:lnTo>
                    <a:pt x="143" y="483"/>
                  </a:lnTo>
                  <a:lnTo>
                    <a:pt x="138" y="479"/>
                  </a:lnTo>
                  <a:lnTo>
                    <a:pt x="136" y="477"/>
                  </a:lnTo>
                  <a:lnTo>
                    <a:pt x="134" y="474"/>
                  </a:lnTo>
                  <a:lnTo>
                    <a:pt x="132" y="471"/>
                  </a:lnTo>
                  <a:lnTo>
                    <a:pt x="130" y="467"/>
                  </a:lnTo>
                  <a:lnTo>
                    <a:pt x="129" y="463"/>
                  </a:lnTo>
                  <a:lnTo>
                    <a:pt x="127" y="455"/>
                  </a:lnTo>
                  <a:lnTo>
                    <a:pt x="125" y="452"/>
                  </a:lnTo>
                  <a:lnTo>
                    <a:pt x="124" y="447"/>
                  </a:lnTo>
                  <a:lnTo>
                    <a:pt x="121" y="443"/>
                  </a:lnTo>
                  <a:lnTo>
                    <a:pt x="119" y="439"/>
                  </a:lnTo>
                  <a:lnTo>
                    <a:pt x="114" y="432"/>
                  </a:lnTo>
                  <a:lnTo>
                    <a:pt x="112" y="430"/>
                  </a:lnTo>
                  <a:lnTo>
                    <a:pt x="107" y="426"/>
                  </a:lnTo>
                  <a:lnTo>
                    <a:pt x="105" y="424"/>
                  </a:lnTo>
                  <a:lnTo>
                    <a:pt x="104" y="422"/>
                  </a:lnTo>
                  <a:lnTo>
                    <a:pt x="102" y="420"/>
                  </a:lnTo>
                  <a:lnTo>
                    <a:pt x="101" y="417"/>
                  </a:lnTo>
                  <a:lnTo>
                    <a:pt x="100" y="416"/>
                  </a:lnTo>
                  <a:lnTo>
                    <a:pt x="99" y="414"/>
                  </a:lnTo>
                  <a:lnTo>
                    <a:pt x="99" y="412"/>
                  </a:lnTo>
                  <a:lnTo>
                    <a:pt x="99" y="410"/>
                  </a:lnTo>
                  <a:lnTo>
                    <a:pt x="99" y="407"/>
                  </a:lnTo>
                  <a:lnTo>
                    <a:pt x="98" y="404"/>
                  </a:lnTo>
                  <a:lnTo>
                    <a:pt x="97" y="402"/>
                  </a:lnTo>
                  <a:lnTo>
                    <a:pt x="97" y="399"/>
                  </a:lnTo>
                  <a:lnTo>
                    <a:pt x="94" y="392"/>
                  </a:lnTo>
                  <a:lnTo>
                    <a:pt x="92" y="384"/>
                  </a:lnTo>
                  <a:lnTo>
                    <a:pt x="89" y="379"/>
                  </a:lnTo>
                  <a:lnTo>
                    <a:pt x="87" y="374"/>
                  </a:lnTo>
                  <a:lnTo>
                    <a:pt x="79" y="361"/>
                  </a:lnTo>
                  <a:lnTo>
                    <a:pt x="77" y="357"/>
                  </a:lnTo>
                  <a:lnTo>
                    <a:pt x="75" y="353"/>
                  </a:lnTo>
                  <a:lnTo>
                    <a:pt x="72" y="349"/>
                  </a:lnTo>
                  <a:lnTo>
                    <a:pt x="69" y="345"/>
                  </a:lnTo>
                  <a:lnTo>
                    <a:pt x="64" y="339"/>
                  </a:lnTo>
                  <a:lnTo>
                    <a:pt x="57" y="332"/>
                  </a:lnTo>
                  <a:lnTo>
                    <a:pt x="55" y="330"/>
                  </a:lnTo>
                  <a:lnTo>
                    <a:pt x="54" y="328"/>
                  </a:lnTo>
                  <a:lnTo>
                    <a:pt x="53" y="326"/>
                  </a:lnTo>
                  <a:lnTo>
                    <a:pt x="52" y="324"/>
                  </a:lnTo>
                  <a:lnTo>
                    <a:pt x="51" y="322"/>
                  </a:lnTo>
                  <a:lnTo>
                    <a:pt x="51" y="320"/>
                  </a:lnTo>
                  <a:lnTo>
                    <a:pt x="50" y="317"/>
                  </a:lnTo>
                  <a:lnTo>
                    <a:pt x="50" y="313"/>
                  </a:lnTo>
                  <a:lnTo>
                    <a:pt x="52" y="306"/>
                  </a:lnTo>
                  <a:lnTo>
                    <a:pt x="53" y="295"/>
                  </a:lnTo>
                  <a:lnTo>
                    <a:pt x="54" y="292"/>
                  </a:lnTo>
                  <a:lnTo>
                    <a:pt x="55" y="288"/>
                  </a:lnTo>
                  <a:lnTo>
                    <a:pt x="58" y="280"/>
                  </a:lnTo>
                  <a:lnTo>
                    <a:pt x="59" y="277"/>
                  </a:lnTo>
                  <a:lnTo>
                    <a:pt x="60" y="274"/>
                  </a:lnTo>
                  <a:lnTo>
                    <a:pt x="61" y="269"/>
                  </a:lnTo>
                  <a:lnTo>
                    <a:pt x="61" y="267"/>
                  </a:lnTo>
                  <a:lnTo>
                    <a:pt x="62" y="264"/>
                  </a:lnTo>
                  <a:lnTo>
                    <a:pt x="65" y="260"/>
                  </a:lnTo>
                  <a:lnTo>
                    <a:pt x="66" y="259"/>
                  </a:lnTo>
                  <a:lnTo>
                    <a:pt x="66" y="258"/>
                  </a:lnTo>
                  <a:lnTo>
                    <a:pt x="67" y="257"/>
                  </a:lnTo>
                  <a:lnTo>
                    <a:pt x="67" y="255"/>
                  </a:lnTo>
                  <a:lnTo>
                    <a:pt x="67" y="253"/>
                  </a:lnTo>
                  <a:lnTo>
                    <a:pt x="66" y="249"/>
                  </a:lnTo>
                  <a:lnTo>
                    <a:pt x="66" y="247"/>
                  </a:lnTo>
                  <a:lnTo>
                    <a:pt x="67" y="245"/>
                  </a:lnTo>
                  <a:lnTo>
                    <a:pt x="68" y="240"/>
                  </a:lnTo>
                  <a:lnTo>
                    <a:pt x="69" y="239"/>
                  </a:lnTo>
                  <a:lnTo>
                    <a:pt x="69" y="237"/>
                  </a:lnTo>
                  <a:lnTo>
                    <a:pt x="68" y="236"/>
                  </a:lnTo>
                  <a:lnTo>
                    <a:pt x="68" y="235"/>
                  </a:lnTo>
                  <a:lnTo>
                    <a:pt x="67" y="232"/>
                  </a:lnTo>
                  <a:lnTo>
                    <a:pt x="65" y="230"/>
                  </a:lnTo>
                  <a:lnTo>
                    <a:pt x="64" y="230"/>
                  </a:lnTo>
                  <a:lnTo>
                    <a:pt x="63" y="228"/>
                  </a:lnTo>
                  <a:lnTo>
                    <a:pt x="59" y="225"/>
                  </a:lnTo>
                  <a:lnTo>
                    <a:pt x="57" y="223"/>
                  </a:lnTo>
                  <a:lnTo>
                    <a:pt x="55" y="222"/>
                  </a:lnTo>
                  <a:lnTo>
                    <a:pt x="54" y="220"/>
                  </a:lnTo>
                  <a:lnTo>
                    <a:pt x="54" y="219"/>
                  </a:lnTo>
                  <a:lnTo>
                    <a:pt x="54" y="217"/>
                  </a:lnTo>
                  <a:lnTo>
                    <a:pt x="55" y="216"/>
                  </a:lnTo>
                  <a:lnTo>
                    <a:pt x="57" y="214"/>
                  </a:lnTo>
                  <a:lnTo>
                    <a:pt x="57" y="212"/>
                  </a:lnTo>
                  <a:lnTo>
                    <a:pt x="57" y="210"/>
                  </a:lnTo>
                  <a:lnTo>
                    <a:pt x="57" y="208"/>
                  </a:lnTo>
                  <a:lnTo>
                    <a:pt x="56" y="206"/>
                  </a:lnTo>
                  <a:lnTo>
                    <a:pt x="53" y="199"/>
                  </a:lnTo>
                  <a:lnTo>
                    <a:pt x="52" y="195"/>
                  </a:lnTo>
                  <a:lnTo>
                    <a:pt x="51" y="192"/>
                  </a:lnTo>
                  <a:lnTo>
                    <a:pt x="50" y="187"/>
                  </a:lnTo>
                  <a:lnTo>
                    <a:pt x="49" y="185"/>
                  </a:lnTo>
                  <a:lnTo>
                    <a:pt x="48" y="182"/>
                  </a:lnTo>
                  <a:lnTo>
                    <a:pt x="45" y="177"/>
                  </a:lnTo>
                  <a:lnTo>
                    <a:pt x="44" y="175"/>
                  </a:lnTo>
                  <a:lnTo>
                    <a:pt x="43" y="172"/>
                  </a:lnTo>
                  <a:lnTo>
                    <a:pt x="43" y="172"/>
                  </a:lnTo>
                  <a:lnTo>
                    <a:pt x="42" y="170"/>
                  </a:lnTo>
                  <a:lnTo>
                    <a:pt x="42" y="169"/>
                  </a:lnTo>
                  <a:lnTo>
                    <a:pt x="43" y="167"/>
                  </a:lnTo>
                  <a:lnTo>
                    <a:pt x="43" y="167"/>
                  </a:lnTo>
                  <a:lnTo>
                    <a:pt x="44" y="164"/>
                  </a:lnTo>
                  <a:lnTo>
                    <a:pt x="46" y="162"/>
                  </a:lnTo>
                  <a:lnTo>
                    <a:pt x="48" y="160"/>
                  </a:lnTo>
                  <a:lnTo>
                    <a:pt x="49" y="158"/>
                  </a:lnTo>
                  <a:lnTo>
                    <a:pt x="51" y="157"/>
                  </a:lnTo>
                  <a:lnTo>
                    <a:pt x="53" y="157"/>
                  </a:lnTo>
                  <a:lnTo>
                    <a:pt x="57" y="155"/>
                  </a:lnTo>
                  <a:lnTo>
                    <a:pt x="59" y="154"/>
                  </a:lnTo>
                  <a:lnTo>
                    <a:pt x="61" y="152"/>
                  </a:lnTo>
                  <a:lnTo>
                    <a:pt x="63" y="150"/>
                  </a:lnTo>
                  <a:lnTo>
                    <a:pt x="64" y="148"/>
                  </a:lnTo>
                  <a:lnTo>
                    <a:pt x="66" y="145"/>
                  </a:lnTo>
                  <a:lnTo>
                    <a:pt x="67" y="142"/>
                  </a:lnTo>
                  <a:lnTo>
                    <a:pt x="69" y="140"/>
                  </a:lnTo>
                  <a:lnTo>
                    <a:pt x="69" y="138"/>
                  </a:lnTo>
                  <a:lnTo>
                    <a:pt x="69" y="136"/>
                  </a:lnTo>
                  <a:lnTo>
                    <a:pt x="69" y="135"/>
                  </a:lnTo>
                  <a:lnTo>
                    <a:pt x="69" y="134"/>
                  </a:lnTo>
                  <a:lnTo>
                    <a:pt x="69" y="132"/>
                  </a:lnTo>
                  <a:lnTo>
                    <a:pt x="68" y="132"/>
                  </a:lnTo>
                  <a:lnTo>
                    <a:pt x="67" y="131"/>
                  </a:lnTo>
                  <a:lnTo>
                    <a:pt x="67" y="131"/>
                  </a:lnTo>
                  <a:lnTo>
                    <a:pt x="66" y="130"/>
                  </a:lnTo>
                  <a:lnTo>
                    <a:pt x="62" y="130"/>
                  </a:lnTo>
                  <a:lnTo>
                    <a:pt x="60" y="129"/>
                  </a:lnTo>
                  <a:lnTo>
                    <a:pt x="59" y="128"/>
                  </a:lnTo>
                  <a:lnTo>
                    <a:pt x="57" y="127"/>
                  </a:lnTo>
                  <a:lnTo>
                    <a:pt x="53" y="122"/>
                  </a:lnTo>
                  <a:lnTo>
                    <a:pt x="53" y="121"/>
                  </a:lnTo>
                  <a:lnTo>
                    <a:pt x="52" y="120"/>
                  </a:lnTo>
                  <a:lnTo>
                    <a:pt x="52" y="118"/>
                  </a:lnTo>
                  <a:lnTo>
                    <a:pt x="52" y="117"/>
                  </a:lnTo>
                  <a:lnTo>
                    <a:pt x="52" y="116"/>
                  </a:lnTo>
                  <a:lnTo>
                    <a:pt x="52" y="115"/>
                  </a:lnTo>
                  <a:lnTo>
                    <a:pt x="54" y="114"/>
                  </a:lnTo>
                  <a:lnTo>
                    <a:pt x="54" y="113"/>
                  </a:lnTo>
                  <a:lnTo>
                    <a:pt x="54" y="112"/>
                  </a:lnTo>
                  <a:lnTo>
                    <a:pt x="54" y="112"/>
                  </a:lnTo>
                  <a:lnTo>
                    <a:pt x="53" y="111"/>
                  </a:lnTo>
                  <a:lnTo>
                    <a:pt x="52" y="110"/>
                  </a:lnTo>
                  <a:lnTo>
                    <a:pt x="50" y="110"/>
                  </a:lnTo>
                  <a:lnTo>
                    <a:pt x="49" y="109"/>
                  </a:lnTo>
                  <a:lnTo>
                    <a:pt x="46" y="108"/>
                  </a:lnTo>
                  <a:lnTo>
                    <a:pt x="44" y="108"/>
                  </a:lnTo>
                  <a:lnTo>
                    <a:pt x="43" y="107"/>
                  </a:lnTo>
                  <a:lnTo>
                    <a:pt x="41" y="106"/>
                  </a:lnTo>
                  <a:lnTo>
                    <a:pt x="39" y="105"/>
                  </a:lnTo>
                  <a:lnTo>
                    <a:pt x="37" y="102"/>
                  </a:lnTo>
                  <a:lnTo>
                    <a:pt x="34" y="97"/>
                  </a:lnTo>
                  <a:lnTo>
                    <a:pt x="33" y="97"/>
                  </a:lnTo>
                  <a:lnTo>
                    <a:pt x="32" y="96"/>
                  </a:lnTo>
                  <a:lnTo>
                    <a:pt x="30" y="95"/>
                  </a:lnTo>
                  <a:lnTo>
                    <a:pt x="27" y="92"/>
                  </a:lnTo>
                  <a:lnTo>
                    <a:pt x="25" y="91"/>
                  </a:lnTo>
                  <a:lnTo>
                    <a:pt x="22" y="90"/>
                  </a:lnTo>
                  <a:lnTo>
                    <a:pt x="19" y="89"/>
                  </a:lnTo>
                  <a:lnTo>
                    <a:pt x="17" y="87"/>
                  </a:lnTo>
                  <a:lnTo>
                    <a:pt x="14" y="87"/>
                  </a:lnTo>
                  <a:lnTo>
                    <a:pt x="5" y="86"/>
                  </a:lnTo>
                  <a:lnTo>
                    <a:pt x="3" y="85"/>
                  </a:lnTo>
                  <a:lnTo>
                    <a:pt x="2" y="85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2" y="82"/>
                  </a:lnTo>
                  <a:lnTo>
                    <a:pt x="5" y="77"/>
                  </a:lnTo>
                  <a:lnTo>
                    <a:pt x="6" y="75"/>
                  </a:lnTo>
                  <a:lnTo>
                    <a:pt x="7" y="73"/>
                  </a:lnTo>
                  <a:lnTo>
                    <a:pt x="9" y="72"/>
                  </a:lnTo>
                  <a:lnTo>
                    <a:pt x="10" y="70"/>
                  </a:lnTo>
                  <a:lnTo>
                    <a:pt x="12" y="70"/>
                  </a:lnTo>
                  <a:lnTo>
                    <a:pt x="15" y="68"/>
                  </a:lnTo>
                  <a:lnTo>
                    <a:pt x="17" y="67"/>
                  </a:lnTo>
                  <a:lnTo>
                    <a:pt x="19" y="67"/>
                  </a:lnTo>
                  <a:lnTo>
                    <a:pt x="22" y="67"/>
                  </a:lnTo>
                  <a:lnTo>
                    <a:pt x="29" y="67"/>
                  </a:lnTo>
                  <a:lnTo>
                    <a:pt x="32" y="67"/>
                  </a:lnTo>
                  <a:lnTo>
                    <a:pt x="34" y="66"/>
                  </a:lnTo>
                  <a:lnTo>
                    <a:pt x="37" y="65"/>
                  </a:lnTo>
                  <a:lnTo>
                    <a:pt x="39" y="65"/>
                  </a:lnTo>
                  <a:lnTo>
                    <a:pt x="42" y="63"/>
                  </a:lnTo>
                  <a:lnTo>
                    <a:pt x="44" y="61"/>
                  </a:lnTo>
                  <a:lnTo>
                    <a:pt x="48" y="57"/>
                  </a:lnTo>
                  <a:lnTo>
                    <a:pt x="49" y="56"/>
                  </a:lnTo>
                  <a:lnTo>
                    <a:pt x="51" y="55"/>
                  </a:lnTo>
                  <a:lnTo>
                    <a:pt x="52" y="55"/>
                  </a:lnTo>
                  <a:lnTo>
                    <a:pt x="53" y="55"/>
                  </a:lnTo>
                  <a:lnTo>
                    <a:pt x="55" y="55"/>
                  </a:lnTo>
                  <a:lnTo>
                    <a:pt x="57" y="55"/>
                  </a:lnTo>
                  <a:lnTo>
                    <a:pt x="59" y="55"/>
                  </a:lnTo>
                  <a:lnTo>
                    <a:pt x="59" y="54"/>
                  </a:lnTo>
                  <a:lnTo>
                    <a:pt x="61" y="53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3" y="50"/>
                  </a:lnTo>
                  <a:lnTo>
                    <a:pt x="64" y="47"/>
                  </a:lnTo>
                  <a:lnTo>
                    <a:pt x="67" y="43"/>
                  </a:lnTo>
                  <a:lnTo>
                    <a:pt x="69" y="41"/>
                  </a:lnTo>
                  <a:lnTo>
                    <a:pt x="70" y="37"/>
                  </a:lnTo>
                  <a:lnTo>
                    <a:pt x="72" y="32"/>
                  </a:lnTo>
                  <a:lnTo>
                    <a:pt x="73" y="30"/>
                  </a:lnTo>
                  <a:lnTo>
                    <a:pt x="74" y="25"/>
                  </a:lnTo>
                  <a:lnTo>
                    <a:pt x="74" y="23"/>
                  </a:lnTo>
                  <a:lnTo>
                    <a:pt x="76" y="21"/>
                  </a:lnTo>
                  <a:lnTo>
                    <a:pt x="77" y="20"/>
                  </a:lnTo>
                  <a:lnTo>
                    <a:pt x="79" y="18"/>
                  </a:lnTo>
                  <a:lnTo>
                    <a:pt x="82" y="17"/>
                  </a:lnTo>
                  <a:lnTo>
                    <a:pt x="96" y="10"/>
                  </a:lnTo>
                  <a:lnTo>
                    <a:pt x="102" y="7"/>
                  </a:lnTo>
                  <a:lnTo>
                    <a:pt x="105" y="5"/>
                  </a:lnTo>
                  <a:lnTo>
                    <a:pt x="108" y="5"/>
                  </a:lnTo>
                  <a:lnTo>
                    <a:pt x="119" y="1"/>
                  </a:lnTo>
                  <a:lnTo>
                    <a:pt x="120" y="1"/>
                  </a:lnTo>
                  <a:close/>
                </a:path>
              </a:pathLst>
            </a:custGeom>
            <a:solidFill>
              <a:srgbClr val="EFF3FF"/>
            </a:solidFill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103">
              <a:extLst>
                <a:ext uri="{FF2B5EF4-FFF2-40B4-BE49-F238E27FC236}">
                  <a16:creationId xmlns:a16="http://schemas.microsoft.com/office/drawing/2014/main" id="{064FD60A-62BB-9B45-9197-FD9DF7E540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6961" y="4421025"/>
              <a:ext cx="774700" cy="1096963"/>
            </a:xfrm>
            <a:custGeom>
              <a:avLst/>
              <a:gdLst>
                <a:gd name="T0" fmla="*/ 351 w 488"/>
                <a:gd name="T1" fmla="*/ 8 h 691"/>
                <a:gd name="T2" fmla="*/ 404 w 488"/>
                <a:gd name="T3" fmla="*/ 43 h 691"/>
                <a:gd name="T4" fmla="*/ 426 w 488"/>
                <a:gd name="T5" fmla="*/ 36 h 691"/>
                <a:gd name="T6" fmla="*/ 440 w 488"/>
                <a:gd name="T7" fmla="*/ 58 h 691"/>
                <a:gd name="T8" fmla="*/ 469 w 488"/>
                <a:gd name="T9" fmla="*/ 92 h 691"/>
                <a:gd name="T10" fmla="*/ 488 w 488"/>
                <a:gd name="T11" fmla="*/ 103 h 691"/>
                <a:gd name="T12" fmla="*/ 480 w 488"/>
                <a:gd name="T13" fmla="*/ 125 h 691"/>
                <a:gd name="T14" fmla="*/ 466 w 488"/>
                <a:gd name="T15" fmla="*/ 138 h 691"/>
                <a:gd name="T16" fmla="*/ 481 w 488"/>
                <a:gd name="T17" fmla="*/ 177 h 691"/>
                <a:gd name="T18" fmla="*/ 474 w 488"/>
                <a:gd name="T19" fmla="*/ 228 h 691"/>
                <a:gd name="T20" fmla="*/ 464 w 488"/>
                <a:gd name="T21" fmla="*/ 270 h 691"/>
                <a:gd name="T22" fmla="*/ 453 w 488"/>
                <a:gd name="T23" fmla="*/ 325 h 691"/>
                <a:gd name="T24" fmla="*/ 476 w 488"/>
                <a:gd name="T25" fmla="*/ 350 h 691"/>
                <a:gd name="T26" fmla="*/ 468 w 488"/>
                <a:gd name="T27" fmla="*/ 382 h 691"/>
                <a:gd name="T28" fmla="*/ 478 w 488"/>
                <a:gd name="T29" fmla="*/ 416 h 691"/>
                <a:gd name="T30" fmla="*/ 466 w 488"/>
                <a:gd name="T31" fmla="*/ 423 h 691"/>
                <a:gd name="T32" fmla="*/ 429 w 488"/>
                <a:gd name="T33" fmla="*/ 439 h 691"/>
                <a:gd name="T34" fmla="*/ 444 w 488"/>
                <a:gd name="T35" fmla="*/ 464 h 691"/>
                <a:gd name="T36" fmla="*/ 429 w 488"/>
                <a:gd name="T37" fmla="*/ 513 h 691"/>
                <a:gd name="T38" fmla="*/ 393 w 488"/>
                <a:gd name="T39" fmla="*/ 539 h 691"/>
                <a:gd name="T40" fmla="*/ 338 w 488"/>
                <a:gd name="T41" fmla="*/ 538 h 691"/>
                <a:gd name="T42" fmla="*/ 324 w 488"/>
                <a:gd name="T43" fmla="*/ 545 h 691"/>
                <a:gd name="T44" fmla="*/ 338 w 488"/>
                <a:gd name="T45" fmla="*/ 584 h 691"/>
                <a:gd name="T46" fmla="*/ 364 w 488"/>
                <a:gd name="T47" fmla="*/ 604 h 691"/>
                <a:gd name="T48" fmla="*/ 347 w 488"/>
                <a:gd name="T49" fmla="*/ 638 h 691"/>
                <a:gd name="T50" fmla="*/ 362 w 488"/>
                <a:gd name="T51" fmla="*/ 669 h 691"/>
                <a:gd name="T52" fmla="*/ 377 w 488"/>
                <a:gd name="T53" fmla="*/ 691 h 691"/>
                <a:gd name="T54" fmla="*/ 350 w 488"/>
                <a:gd name="T55" fmla="*/ 679 h 691"/>
                <a:gd name="T56" fmla="*/ 319 w 488"/>
                <a:gd name="T57" fmla="*/ 681 h 691"/>
                <a:gd name="T58" fmla="*/ 293 w 488"/>
                <a:gd name="T59" fmla="*/ 657 h 691"/>
                <a:gd name="T60" fmla="*/ 263 w 488"/>
                <a:gd name="T61" fmla="*/ 649 h 691"/>
                <a:gd name="T62" fmla="*/ 220 w 488"/>
                <a:gd name="T63" fmla="*/ 624 h 691"/>
                <a:gd name="T64" fmla="*/ 194 w 488"/>
                <a:gd name="T65" fmla="*/ 594 h 691"/>
                <a:gd name="T66" fmla="*/ 168 w 488"/>
                <a:gd name="T67" fmla="*/ 554 h 691"/>
                <a:gd name="T68" fmla="*/ 124 w 488"/>
                <a:gd name="T69" fmla="*/ 530 h 691"/>
                <a:gd name="T70" fmla="*/ 87 w 488"/>
                <a:gd name="T71" fmla="*/ 512 h 691"/>
                <a:gd name="T72" fmla="*/ 62 w 488"/>
                <a:gd name="T73" fmla="*/ 472 h 691"/>
                <a:gd name="T74" fmla="*/ 28 w 488"/>
                <a:gd name="T75" fmla="*/ 475 h 691"/>
                <a:gd name="T76" fmla="*/ 16 w 488"/>
                <a:gd name="T77" fmla="*/ 453 h 691"/>
                <a:gd name="T78" fmla="*/ 1 w 488"/>
                <a:gd name="T79" fmla="*/ 397 h 691"/>
                <a:gd name="T80" fmla="*/ 25 w 488"/>
                <a:gd name="T81" fmla="*/ 367 h 691"/>
                <a:gd name="T82" fmla="*/ 45 w 488"/>
                <a:gd name="T83" fmla="*/ 345 h 691"/>
                <a:gd name="T84" fmla="*/ 48 w 488"/>
                <a:gd name="T85" fmla="*/ 304 h 691"/>
                <a:gd name="T86" fmla="*/ 55 w 488"/>
                <a:gd name="T87" fmla="*/ 274 h 691"/>
                <a:gd name="T88" fmla="*/ 64 w 488"/>
                <a:gd name="T89" fmla="*/ 232 h 691"/>
                <a:gd name="T90" fmla="*/ 64 w 488"/>
                <a:gd name="T91" fmla="*/ 198 h 691"/>
                <a:gd name="T92" fmla="*/ 52 w 488"/>
                <a:gd name="T93" fmla="*/ 160 h 691"/>
                <a:gd name="T94" fmla="*/ 63 w 488"/>
                <a:gd name="T95" fmla="*/ 124 h 691"/>
                <a:gd name="T96" fmla="*/ 73 w 488"/>
                <a:gd name="T97" fmla="*/ 100 h 691"/>
                <a:gd name="T98" fmla="*/ 103 w 488"/>
                <a:gd name="T99" fmla="*/ 99 h 691"/>
                <a:gd name="T100" fmla="*/ 147 w 488"/>
                <a:gd name="T101" fmla="*/ 110 h 691"/>
                <a:gd name="T102" fmla="*/ 176 w 488"/>
                <a:gd name="T103" fmla="*/ 95 h 691"/>
                <a:gd name="T104" fmla="*/ 172 w 488"/>
                <a:gd name="T105" fmla="*/ 122 h 691"/>
                <a:gd name="T106" fmla="*/ 198 w 488"/>
                <a:gd name="T107" fmla="*/ 131 h 691"/>
                <a:gd name="T108" fmla="*/ 230 w 488"/>
                <a:gd name="T109" fmla="*/ 142 h 691"/>
                <a:gd name="T110" fmla="*/ 269 w 488"/>
                <a:gd name="T111" fmla="*/ 103 h 691"/>
                <a:gd name="T112" fmla="*/ 304 w 488"/>
                <a:gd name="T113" fmla="*/ 85 h 691"/>
                <a:gd name="T114" fmla="*/ 300 w 488"/>
                <a:gd name="T115" fmla="*/ 48 h 691"/>
                <a:gd name="T116" fmla="*/ 311 w 488"/>
                <a:gd name="T117" fmla="*/ 22 h 691"/>
                <a:gd name="T118" fmla="*/ 339 w 488"/>
                <a:gd name="T119" fmla="*/ 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88" h="691">
                  <a:moveTo>
                    <a:pt x="339" y="0"/>
                  </a:moveTo>
                  <a:lnTo>
                    <a:pt x="340" y="0"/>
                  </a:lnTo>
                  <a:lnTo>
                    <a:pt x="341" y="0"/>
                  </a:lnTo>
                  <a:lnTo>
                    <a:pt x="342" y="1"/>
                  </a:lnTo>
                  <a:lnTo>
                    <a:pt x="343" y="2"/>
                  </a:lnTo>
                  <a:lnTo>
                    <a:pt x="344" y="3"/>
                  </a:lnTo>
                  <a:lnTo>
                    <a:pt x="344" y="3"/>
                  </a:lnTo>
                  <a:lnTo>
                    <a:pt x="344" y="3"/>
                  </a:lnTo>
                  <a:lnTo>
                    <a:pt x="345" y="4"/>
                  </a:lnTo>
                  <a:lnTo>
                    <a:pt x="347" y="5"/>
                  </a:lnTo>
                  <a:lnTo>
                    <a:pt x="351" y="8"/>
                  </a:lnTo>
                  <a:lnTo>
                    <a:pt x="366" y="15"/>
                  </a:lnTo>
                  <a:lnTo>
                    <a:pt x="370" y="18"/>
                  </a:lnTo>
                  <a:lnTo>
                    <a:pt x="374" y="20"/>
                  </a:lnTo>
                  <a:lnTo>
                    <a:pt x="378" y="23"/>
                  </a:lnTo>
                  <a:lnTo>
                    <a:pt x="381" y="25"/>
                  </a:lnTo>
                  <a:lnTo>
                    <a:pt x="384" y="28"/>
                  </a:lnTo>
                  <a:lnTo>
                    <a:pt x="391" y="34"/>
                  </a:lnTo>
                  <a:lnTo>
                    <a:pt x="395" y="38"/>
                  </a:lnTo>
                  <a:lnTo>
                    <a:pt x="398" y="39"/>
                  </a:lnTo>
                  <a:lnTo>
                    <a:pt x="400" y="41"/>
                  </a:lnTo>
                  <a:lnTo>
                    <a:pt x="404" y="43"/>
                  </a:lnTo>
                  <a:lnTo>
                    <a:pt x="406" y="44"/>
                  </a:lnTo>
                  <a:lnTo>
                    <a:pt x="407" y="45"/>
                  </a:lnTo>
                  <a:lnTo>
                    <a:pt x="409" y="45"/>
                  </a:lnTo>
                  <a:lnTo>
                    <a:pt x="409" y="45"/>
                  </a:lnTo>
                  <a:lnTo>
                    <a:pt x="411" y="44"/>
                  </a:lnTo>
                  <a:lnTo>
                    <a:pt x="412" y="43"/>
                  </a:lnTo>
                  <a:lnTo>
                    <a:pt x="416" y="40"/>
                  </a:lnTo>
                  <a:lnTo>
                    <a:pt x="419" y="39"/>
                  </a:lnTo>
                  <a:lnTo>
                    <a:pt x="421" y="38"/>
                  </a:lnTo>
                  <a:lnTo>
                    <a:pt x="424" y="37"/>
                  </a:lnTo>
                  <a:lnTo>
                    <a:pt x="426" y="36"/>
                  </a:lnTo>
                  <a:lnTo>
                    <a:pt x="427" y="36"/>
                  </a:lnTo>
                  <a:lnTo>
                    <a:pt x="428" y="37"/>
                  </a:lnTo>
                  <a:lnTo>
                    <a:pt x="429" y="38"/>
                  </a:lnTo>
                  <a:lnTo>
                    <a:pt x="431" y="38"/>
                  </a:lnTo>
                  <a:lnTo>
                    <a:pt x="431" y="38"/>
                  </a:lnTo>
                  <a:lnTo>
                    <a:pt x="431" y="39"/>
                  </a:lnTo>
                  <a:lnTo>
                    <a:pt x="432" y="40"/>
                  </a:lnTo>
                  <a:lnTo>
                    <a:pt x="434" y="43"/>
                  </a:lnTo>
                  <a:lnTo>
                    <a:pt x="436" y="49"/>
                  </a:lnTo>
                  <a:lnTo>
                    <a:pt x="437" y="53"/>
                  </a:lnTo>
                  <a:lnTo>
                    <a:pt x="440" y="58"/>
                  </a:lnTo>
                  <a:lnTo>
                    <a:pt x="444" y="66"/>
                  </a:lnTo>
                  <a:lnTo>
                    <a:pt x="448" y="74"/>
                  </a:lnTo>
                  <a:lnTo>
                    <a:pt x="452" y="81"/>
                  </a:lnTo>
                  <a:lnTo>
                    <a:pt x="454" y="83"/>
                  </a:lnTo>
                  <a:lnTo>
                    <a:pt x="456" y="85"/>
                  </a:lnTo>
                  <a:lnTo>
                    <a:pt x="457" y="87"/>
                  </a:lnTo>
                  <a:lnTo>
                    <a:pt x="459" y="88"/>
                  </a:lnTo>
                  <a:lnTo>
                    <a:pt x="463" y="90"/>
                  </a:lnTo>
                  <a:lnTo>
                    <a:pt x="464" y="91"/>
                  </a:lnTo>
                  <a:lnTo>
                    <a:pt x="466" y="91"/>
                  </a:lnTo>
                  <a:lnTo>
                    <a:pt x="469" y="92"/>
                  </a:lnTo>
                  <a:lnTo>
                    <a:pt x="470" y="92"/>
                  </a:lnTo>
                  <a:lnTo>
                    <a:pt x="472" y="92"/>
                  </a:lnTo>
                  <a:lnTo>
                    <a:pt x="474" y="92"/>
                  </a:lnTo>
                  <a:lnTo>
                    <a:pt x="476" y="92"/>
                  </a:lnTo>
                  <a:lnTo>
                    <a:pt x="478" y="92"/>
                  </a:lnTo>
                  <a:lnTo>
                    <a:pt x="480" y="91"/>
                  </a:lnTo>
                  <a:lnTo>
                    <a:pt x="482" y="91"/>
                  </a:lnTo>
                  <a:lnTo>
                    <a:pt x="486" y="89"/>
                  </a:lnTo>
                  <a:lnTo>
                    <a:pt x="486" y="90"/>
                  </a:lnTo>
                  <a:lnTo>
                    <a:pt x="486" y="92"/>
                  </a:lnTo>
                  <a:lnTo>
                    <a:pt x="488" y="103"/>
                  </a:lnTo>
                  <a:lnTo>
                    <a:pt x="488" y="107"/>
                  </a:lnTo>
                  <a:lnTo>
                    <a:pt x="488" y="110"/>
                  </a:lnTo>
                  <a:lnTo>
                    <a:pt x="488" y="112"/>
                  </a:lnTo>
                  <a:lnTo>
                    <a:pt x="488" y="113"/>
                  </a:lnTo>
                  <a:lnTo>
                    <a:pt x="488" y="115"/>
                  </a:lnTo>
                  <a:lnTo>
                    <a:pt x="487" y="117"/>
                  </a:lnTo>
                  <a:lnTo>
                    <a:pt x="486" y="120"/>
                  </a:lnTo>
                  <a:lnTo>
                    <a:pt x="485" y="121"/>
                  </a:lnTo>
                  <a:lnTo>
                    <a:pt x="483" y="122"/>
                  </a:lnTo>
                  <a:lnTo>
                    <a:pt x="482" y="123"/>
                  </a:lnTo>
                  <a:lnTo>
                    <a:pt x="480" y="125"/>
                  </a:lnTo>
                  <a:lnTo>
                    <a:pt x="476" y="126"/>
                  </a:lnTo>
                  <a:lnTo>
                    <a:pt x="473" y="127"/>
                  </a:lnTo>
                  <a:lnTo>
                    <a:pt x="471" y="128"/>
                  </a:lnTo>
                  <a:lnTo>
                    <a:pt x="469" y="129"/>
                  </a:lnTo>
                  <a:lnTo>
                    <a:pt x="468" y="130"/>
                  </a:lnTo>
                  <a:lnTo>
                    <a:pt x="467" y="132"/>
                  </a:lnTo>
                  <a:lnTo>
                    <a:pt x="466" y="132"/>
                  </a:lnTo>
                  <a:lnTo>
                    <a:pt x="466" y="135"/>
                  </a:lnTo>
                  <a:lnTo>
                    <a:pt x="466" y="135"/>
                  </a:lnTo>
                  <a:lnTo>
                    <a:pt x="466" y="137"/>
                  </a:lnTo>
                  <a:lnTo>
                    <a:pt x="466" y="138"/>
                  </a:lnTo>
                  <a:lnTo>
                    <a:pt x="467" y="140"/>
                  </a:lnTo>
                  <a:lnTo>
                    <a:pt x="469" y="142"/>
                  </a:lnTo>
                  <a:lnTo>
                    <a:pt x="474" y="152"/>
                  </a:lnTo>
                  <a:lnTo>
                    <a:pt x="476" y="154"/>
                  </a:lnTo>
                  <a:lnTo>
                    <a:pt x="476" y="157"/>
                  </a:lnTo>
                  <a:lnTo>
                    <a:pt x="478" y="160"/>
                  </a:lnTo>
                  <a:lnTo>
                    <a:pt x="478" y="162"/>
                  </a:lnTo>
                  <a:lnTo>
                    <a:pt x="479" y="165"/>
                  </a:lnTo>
                  <a:lnTo>
                    <a:pt x="480" y="169"/>
                  </a:lnTo>
                  <a:lnTo>
                    <a:pt x="481" y="174"/>
                  </a:lnTo>
                  <a:lnTo>
                    <a:pt x="481" y="177"/>
                  </a:lnTo>
                  <a:lnTo>
                    <a:pt x="481" y="181"/>
                  </a:lnTo>
                  <a:lnTo>
                    <a:pt x="479" y="190"/>
                  </a:lnTo>
                  <a:lnTo>
                    <a:pt x="479" y="193"/>
                  </a:lnTo>
                  <a:lnTo>
                    <a:pt x="478" y="197"/>
                  </a:lnTo>
                  <a:lnTo>
                    <a:pt x="479" y="203"/>
                  </a:lnTo>
                  <a:lnTo>
                    <a:pt x="479" y="207"/>
                  </a:lnTo>
                  <a:lnTo>
                    <a:pt x="478" y="212"/>
                  </a:lnTo>
                  <a:lnTo>
                    <a:pt x="478" y="215"/>
                  </a:lnTo>
                  <a:lnTo>
                    <a:pt x="477" y="219"/>
                  </a:lnTo>
                  <a:lnTo>
                    <a:pt x="476" y="223"/>
                  </a:lnTo>
                  <a:lnTo>
                    <a:pt x="474" y="228"/>
                  </a:lnTo>
                  <a:lnTo>
                    <a:pt x="470" y="237"/>
                  </a:lnTo>
                  <a:lnTo>
                    <a:pt x="467" y="247"/>
                  </a:lnTo>
                  <a:lnTo>
                    <a:pt x="464" y="255"/>
                  </a:lnTo>
                  <a:lnTo>
                    <a:pt x="463" y="257"/>
                  </a:lnTo>
                  <a:lnTo>
                    <a:pt x="463" y="259"/>
                  </a:lnTo>
                  <a:lnTo>
                    <a:pt x="462" y="260"/>
                  </a:lnTo>
                  <a:lnTo>
                    <a:pt x="463" y="262"/>
                  </a:lnTo>
                  <a:lnTo>
                    <a:pt x="464" y="265"/>
                  </a:lnTo>
                  <a:lnTo>
                    <a:pt x="464" y="267"/>
                  </a:lnTo>
                  <a:lnTo>
                    <a:pt x="464" y="268"/>
                  </a:lnTo>
                  <a:lnTo>
                    <a:pt x="464" y="270"/>
                  </a:lnTo>
                  <a:lnTo>
                    <a:pt x="461" y="280"/>
                  </a:lnTo>
                  <a:lnTo>
                    <a:pt x="459" y="288"/>
                  </a:lnTo>
                  <a:lnTo>
                    <a:pt x="458" y="292"/>
                  </a:lnTo>
                  <a:lnTo>
                    <a:pt x="456" y="298"/>
                  </a:lnTo>
                  <a:lnTo>
                    <a:pt x="454" y="305"/>
                  </a:lnTo>
                  <a:lnTo>
                    <a:pt x="453" y="308"/>
                  </a:lnTo>
                  <a:lnTo>
                    <a:pt x="452" y="312"/>
                  </a:lnTo>
                  <a:lnTo>
                    <a:pt x="451" y="317"/>
                  </a:lnTo>
                  <a:lnTo>
                    <a:pt x="451" y="321"/>
                  </a:lnTo>
                  <a:lnTo>
                    <a:pt x="452" y="323"/>
                  </a:lnTo>
                  <a:lnTo>
                    <a:pt x="453" y="325"/>
                  </a:lnTo>
                  <a:lnTo>
                    <a:pt x="453" y="327"/>
                  </a:lnTo>
                  <a:lnTo>
                    <a:pt x="454" y="328"/>
                  </a:lnTo>
                  <a:lnTo>
                    <a:pt x="454" y="329"/>
                  </a:lnTo>
                  <a:lnTo>
                    <a:pt x="455" y="331"/>
                  </a:lnTo>
                  <a:lnTo>
                    <a:pt x="457" y="334"/>
                  </a:lnTo>
                  <a:lnTo>
                    <a:pt x="460" y="337"/>
                  </a:lnTo>
                  <a:lnTo>
                    <a:pt x="464" y="339"/>
                  </a:lnTo>
                  <a:lnTo>
                    <a:pt x="470" y="344"/>
                  </a:lnTo>
                  <a:lnTo>
                    <a:pt x="472" y="347"/>
                  </a:lnTo>
                  <a:lnTo>
                    <a:pt x="474" y="348"/>
                  </a:lnTo>
                  <a:lnTo>
                    <a:pt x="476" y="350"/>
                  </a:lnTo>
                  <a:lnTo>
                    <a:pt x="478" y="353"/>
                  </a:lnTo>
                  <a:lnTo>
                    <a:pt x="481" y="357"/>
                  </a:lnTo>
                  <a:lnTo>
                    <a:pt x="481" y="359"/>
                  </a:lnTo>
                  <a:lnTo>
                    <a:pt x="481" y="360"/>
                  </a:lnTo>
                  <a:lnTo>
                    <a:pt x="481" y="361"/>
                  </a:lnTo>
                  <a:lnTo>
                    <a:pt x="481" y="362"/>
                  </a:lnTo>
                  <a:lnTo>
                    <a:pt x="481" y="363"/>
                  </a:lnTo>
                  <a:lnTo>
                    <a:pt x="473" y="374"/>
                  </a:lnTo>
                  <a:lnTo>
                    <a:pt x="470" y="377"/>
                  </a:lnTo>
                  <a:lnTo>
                    <a:pt x="469" y="379"/>
                  </a:lnTo>
                  <a:lnTo>
                    <a:pt x="468" y="382"/>
                  </a:lnTo>
                  <a:lnTo>
                    <a:pt x="467" y="384"/>
                  </a:lnTo>
                  <a:lnTo>
                    <a:pt x="466" y="385"/>
                  </a:lnTo>
                  <a:lnTo>
                    <a:pt x="466" y="387"/>
                  </a:lnTo>
                  <a:lnTo>
                    <a:pt x="466" y="389"/>
                  </a:lnTo>
                  <a:lnTo>
                    <a:pt x="467" y="392"/>
                  </a:lnTo>
                  <a:lnTo>
                    <a:pt x="467" y="394"/>
                  </a:lnTo>
                  <a:lnTo>
                    <a:pt x="469" y="397"/>
                  </a:lnTo>
                  <a:lnTo>
                    <a:pt x="471" y="401"/>
                  </a:lnTo>
                  <a:lnTo>
                    <a:pt x="476" y="412"/>
                  </a:lnTo>
                  <a:lnTo>
                    <a:pt x="477" y="414"/>
                  </a:lnTo>
                  <a:lnTo>
                    <a:pt x="478" y="416"/>
                  </a:lnTo>
                  <a:lnTo>
                    <a:pt x="478" y="417"/>
                  </a:lnTo>
                  <a:lnTo>
                    <a:pt x="478" y="419"/>
                  </a:lnTo>
                  <a:lnTo>
                    <a:pt x="478" y="420"/>
                  </a:lnTo>
                  <a:lnTo>
                    <a:pt x="478" y="421"/>
                  </a:lnTo>
                  <a:lnTo>
                    <a:pt x="477" y="422"/>
                  </a:lnTo>
                  <a:lnTo>
                    <a:pt x="476" y="422"/>
                  </a:lnTo>
                  <a:lnTo>
                    <a:pt x="474" y="422"/>
                  </a:lnTo>
                  <a:lnTo>
                    <a:pt x="472" y="422"/>
                  </a:lnTo>
                  <a:lnTo>
                    <a:pt x="469" y="422"/>
                  </a:lnTo>
                  <a:lnTo>
                    <a:pt x="467" y="422"/>
                  </a:lnTo>
                  <a:lnTo>
                    <a:pt x="466" y="423"/>
                  </a:lnTo>
                  <a:lnTo>
                    <a:pt x="463" y="424"/>
                  </a:lnTo>
                  <a:lnTo>
                    <a:pt x="460" y="425"/>
                  </a:lnTo>
                  <a:lnTo>
                    <a:pt x="447" y="427"/>
                  </a:lnTo>
                  <a:lnTo>
                    <a:pt x="442" y="429"/>
                  </a:lnTo>
                  <a:lnTo>
                    <a:pt x="439" y="430"/>
                  </a:lnTo>
                  <a:lnTo>
                    <a:pt x="436" y="432"/>
                  </a:lnTo>
                  <a:lnTo>
                    <a:pt x="433" y="434"/>
                  </a:lnTo>
                  <a:lnTo>
                    <a:pt x="431" y="435"/>
                  </a:lnTo>
                  <a:lnTo>
                    <a:pt x="430" y="436"/>
                  </a:lnTo>
                  <a:lnTo>
                    <a:pt x="429" y="437"/>
                  </a:lnTo>
                  <a:lnTo>
                    <a:pt x="429" y="439"/>
                  </a:lnTo>
                  <a:lnTo>
                    <a:pt x="429" y="440"/>
                  </a:lnTo>
                  <a:lnTo>
                    <a:pt x="430" y="442"/>
                  </a:lnTo>
                  <a:lnTo>
                    <a:pt x="431" y="445"/>
                  </a:lnTo>
                  <a:lnTo>
                    <a:pt x="432" y="447"/>
                  </a:lnTo>
                  <a:lnTo>
                    <a:pt x="434" y="449"/>
                  </a:lnTo>
                  <a:lnTo>
                    <a:pt x="439" y="455"/>
                  </a:lnTo>
                  <a:lnTo>
                    <a:pt x="441" y="459"/>
                  </a:lnTo>
                  <a:lnTo>
                    <a:pt x="443" y="460"/>
                  </a:lnTo>
                  <a:lnTo>
                    <a:pt x="444" y="462"/>
                  </a:lnTo>
                  <a:lnTo>
                    <a:pt x="444" y="463"/>
                  </a:lnTo>
                  <a:lnTo>
                    <a:pt x="444" y="464"/>
                  </a:lnTo>
                  <a:lnTo>
                    <a:pt x="444" y="466"/>
                  </a:lnTo>
                  <a:lnTo>
                    <a:pt x="444" y="467"/>
                  </a:lnTo>
                  <a:lnTo>
                    <a:pt x="444" y="469"/>
                  </a:lnTo>
                  <a:lnTo>
                    <a:pt x="442" y="473"/>
                  </a:lnTo>
                  <a:lnTo>
                    <a:pt x="441" y="477"/>
                  </a:lnTo>
                  <a:lnTo>
                    <a:pt x="436" y="485"/>
                  </a:lnTo>
                  <a:lnTo>
                    <a:pt x="435" y="488"/>
                  </a:lnTo>
                  <a:lnTo>
                    <a:pt x="433" y="494"/>
                  </a:lnTo>
                  <a:lnTo>
                    <a:pt x="432" y="497"/>
                  </a:lnTo>
                  <a:lnTo>
                    <a:pt x="431" y="502"/>
                  </a:lnTo>
                  <a:lnTo>
                    <a:pt x="429" y="513"/>
                  </a:lnTo>
                  <a:lnTo>
                    <a:pt x="429" y="516"/>
                  </a:lnTo>
                  <a:lnTo>
                    <a:pt x="428" y="518"/>
                  </a:lnTo>
                  <a:lnTo>
                    <a:pt x="427" y="519"/>
                  </a:lnTo>
                  <a:lnTo>
                    <a:pt x="426" y="521"/>
                  </a:lnTo>
                  <a:lnTo>
                    <a:pt x="424" y="522"/>
                  </a:lnTo>
                  <a:lnTo>
                    <a:pt x="422" y="524"/>
                  </a:lnTo>
                  <a:lnTo>
                    <a:pt x="415" y="528"/>
                  </a:lnTo>
                  <a:lnTo>
                    <a:pt x="407" y="533"/>
                  </a:lnTo>
                  <a:lnTo>
                    <a:pt x="404" y="534"/>
                  </a:lnTo>
                  <a:lnTo>
                    <a:pt x="397" y="538"/>
                  </a:lnTo>
                  <a:lnTo>
                    <a:pt x="393" y="539"/>
                  </a:lnTo>
                  <a:lnTo>
                    <a:pt x="389" y="541"/>
                  </a:lnTo>
                  <a:lnTo>
                    <a:pt x="374" y="544"/>
                  </a:lnTo>
                  <a:lnTo>
                    <a:pt x="371" y="545"/>
                  </a:lnTo>
                  <a:lnTo>
                    <a:pt x="367" y="545"/>
                  </a:lnTo>
                  <a:lnTo>
                    <a:pt x="364" y="545"/>
                  </a:lnTo>
                  <a:lnTo>
                    <a:pt x="359" y="544"/>
                  </a:lnTo>
                  <a:lnTo>
                    <a:pt x="355" y="544"/>
                  </a:lnTo>
                  <a:lnTo>
                    <a:pt x="351" y="542"/>
                  </a:lnTo>
                  <a:lnTo>
                    <a:pt x="346" y="541"/>
                  </a:lnTo>
                  <a:lnTo>
                    <a:pt x="340" y="539"/>
                  </a:lnTo>
                  <a:lnTo>
                    <a:pt x="338" y="538"/>
                  </a:lnTo>
                  <a:lnTo>
                    <a:pt x="336" y="537"/>
                  </a:lnTo>
                  <a:lnTo>
                    <a:pt x="334" y="537"/>
                  </a:lnTo>
                  <a:lnTo>
                    <a:pt x="332" y="537"/>
                  </a:lnTo>
                  <a:lnTo>
                    <a:pt x="331" y="538"/>
                  </a:lnTo>
                  <a:lnTo>
                    <a:pt x="329" y="538"/>
                  </a:lnTo>
                  <a:lnTo>
                    <a:pt x="328" y="539"/>
                  </a:lnTo>
                  <a:lnTo>
                    <a:pt x="326" y="539"/>
                  </a:lnTo>
                  <a:lnTo>
                    <a:pt x="325" y="541"/>
                  </a:lnTo>
                  <a:lnTo>
                    <a:pt x="324" y="542"/>
                  </a:lnTo>
                  <a:lnTo>
                    <a:pt x="324" y="544"/>
                  </a:lnTo>
                  <a:lnTo>
                    <a:pt x="324" y="545"/>
                  </a:lnTo>
                  <a:lnTo>
                    <a:pt x="324" y="547"/>
                  </a:lnTo>
                  <a:lnTo>
                    <a:pt x="324" y="548"/>
                  </a:lnTo>
                  <a:lnTo>
                    <a:pt x="324" y="550"/>
                  </a:lnTo>
                  <a:lnTo>
                    <a:pt x="324" y="554"/>
                  </a:lnTo>
                  <a:lnTo>
                    <a:pt x="326" y="563"/>
                  </a:lnTo>
                  <a:lnTo>
                    <a:pt x="328" y="566"/>
                  </a:lnTo>
                  <a:lnTo>
                    <a:pt x="330" y="571"/>
                  </a:lnTo>
                  <a:lnTo>
                    <a:pt x="332" y="576"/>
                  </a:lnTo>
                  <a:lnTo>
                    <a:pt x="335" y="580"/>
                  </a:lnTo>
                  <a:lnTo>
                    <a:pt x="336" y="582"/>
                  </a:lnTo>
                  <a:lnTo>
                    <a:pt x="338" y="584"/>
                  </a:lnTo>
                  <a:lnTo>
                    <a:pt x="340" y="586"/>
                  </a:lnTo>
                  <a:lnTo>
                    <a:pt x="341" y="587"/>
                  </a:lnTo>
                  <a:lnTo>
                    <a:pt x="344" y="589"/>
                  </a:lnTo>
                  <a:lnTo>
                    <a:pt x="349" y="592"/>
                  </a:lnTo>
                  <a:lnTo>
                    <a:pt x="351" y="593"/>
                  </a:lnTo>
                  <a:lnTo>
                    <a:pt x="356" y="596"/>
                  </a:lnTo>
                  <a:lnTo>
                    <a:pt x="359" y="599"/>
                  </a:lnTo>
                  <a:lnTo>
                    <a:pt x="361" y="600"/>
                  </a:lnTo>
                  <a:lnTo>
                    <a:pt x="362" y="601"/>
                  </a:lnTo>
                  <a:lnTo>
                    <a:pt x="363" y="603"/>
                  </a:lnTo>
                  <a:lnTo>
                    <a:pt x="364" y="604"/>
                  </a:lnTo>
                  <a:lnTo>
                    <a:pt x="364" y="607"/>
                  </a:lnTo>
                  <a:lnTo>
                    <a:pt x="364" y="609"/>
                  </a:lnTo>
                  <a:lnTo>
                    <a:pt x="364" y="611"/>
                  </a:lnTo>
                  <a:lnTo>
                    <a:pt x="364" y="614"/>
                  </a:lnTo>
                  <a:lnTo>
                    <a:pt x="363" y="616"/>
                  </a:lnTo>
                  <a:lnTo>
                    <a:pt x="361" y="618"/>
                  </a:lnTo>
                  <a:lnTo>
                    <a:pt x="353" y="626"/>
                  </a:lnTo>
                  <a:lnTo>
                    <a:pt x="351" y="630"/>
                  </a:lnTo>
                  <a:lnTo>
                    <a:pt x="349" y="633"/>
                  </a:lnTo>
                  <a:lnTo>
                    <a:pt x="348" y="635"/>
                  </a:lnTo>
                  <a:lnTo>
                    <a:pt x="347" y="638"/>
                  </a:lnTo>
                  <a:lnTo>
                    <a:pt x="346" y="641"/>
                  </a:lnTo>
                  <a:lnTo>
                    <a:pt x="347" y="644"/>
                  </a:lnTo>
                  <a:lnTo>
                    <a:pt x="347" y="645"/>
                  </a:lnTo>
                  <a:lnTo>
                    <a:pt x="348" y="647"/>
                  </a:lnTo>
                  <a:lnTo>
                    <a:pt x="349" y="651"/>
                  </a:lnTo>
                  <a:lnTo>
                    <a:pt x="350" y="653"/>
                  </a:lnTo>
                  <a:lnTo>
                    <a:pt x="351" y="655"/>
                  </a:lnTo>
                  <a:lnTo>
                    <a:pt x="352" y="657"/>
                  </a:lnTo>
                  <a:lnTo>
                    <a:pt x="355" y="661"/>
                  </a:lnTo>
                  <a:lnTo>
                    <a:pt x="359" y="666"/>
                  </a:lnTo>
                  <a:lnTo>
                    <a:pt x="362" y="669"/>
                  </a:lnTo>
                  <a:lnTo>
                    <a:pt x="369" y="676"/>
                  </a:lnTo>
                  <a:lnTo>
                    <a:pt x="376" y="681"/>
                  </a:lnTo>
                  <a:lnTo>
                    <a:pt x="376" y="682"/>
                  </a:lnTo>
                  <a:lnTo>
                    <a:pt x="378" y="684"/>
                  </a:lnTo>
                  <a:lnTo>
                    <a:pt x="379" y="685"/>
                  </a:lnTo>
                  <a:lnTo>
                    <a:pt x="379" y="686"/>
                  </a:lnTo>
                  <a:lnTo>
                    <a:pt x="379" y="688"/>
                  </a:lnTo>
                  <a:lnTo>
                    <a:pt x="379" y="689"/>
                  </a:lnTo>
                  <a:lnTo>
                    <a:pt x="379" y="689"/>
                  </a:lnTo>
                  <a:lnTo>
                    <a:pt x="378" y="690"/>
                  </a:lnTo>
                  <a:lnTo>
                    <a:pt x="377" y="691"/>
                  </a:lnTo>
                  <a:lnTo>
                    <a:pt x="376" y="691"/>
                  </a:lnTo>
                  <a:lnTo>
                    <a:pt x="374" y="691"/>
                  </a:lnTo>
                  <a:lnTo>
                    <a:pt x="372" y="691"/>
                  </a:lnTo>
                  <a:lnTo>
                    <a:pt x="371" y="690"/>
                  </a:lnTo>
                  <a:lnTo>
                    <a:pt x="369" y="689"/>
                  </a:lnTo>
                  <a:lnTo>
                    <a:pt x="361" y="684"/>
                  </a:lnTo>
                  <a:lnTo>
                    <a:pt x="359" y="682"/>
                  </a:lnTo>
                  <a:lnTo>
                    <a:pt x="356" y="681"/>
                  </a:lnTo>
                  <a:lnTo>
                    <a:pt x="355" y="680"/>
                  </a:lnTo>
                  <a:lnTo>
                    <a:pt x="353" y="679"/>
                  </a:lnTo>
                  <a:lnTo>
                    <a:pt x="350" y="679"/>
                  </a:lnTo>
                  <a:lnTo>
                    <a:pt x="348" y="678"/>
                  </a:lnTo>
                  <a:lnTo>
                    <a:pt x="346" y="678"/>
                  </a:lnTo>
                  <a:lnTo>
                    <a:pt x="344" y="678"/>
                  </a:lnTo>
                  <a:lnTo>
                    <a:pt x="341" y="678"/>
                  </a:lnTo>
                  <a:lnTo>
                    <a:pt x="339" y="678"/>
                  </a:lnTo>
                  <a:lnTo>
                    <a:pt x="335" y="679"/>
                  </a:lnTo>
                  <a:lnTo>
                    <a:pt x="329" y="681"/>
                  </a:lnTo>
                  <a:lnTo>
                    <a:pt x="326" y="681"/>
                  </a:lnTo>
                  <a:lnTo>
                    <a:pt x="324" y="681"/>
                  </a:lnTo>
                  <a:lnTo>
                    <a:pt x="321" y="681"/>
                  </a:lnTo>
                  <a:lnTo>
                    <a:pt x="319" y="681"/>
                  </a:lnTo>
                  <a:lnTo>
                    <a:pt x="317" y="681"/>
                  </a:lnTo>
                  <a:lnTo>
                    <a:pt x="314" y="681"/>
                  </a:lnTo>
                  <a:lnTo>
                    <a:pt x="313" y="680"/>
                  </a:lnTo>
                  <a:lnTo>
                    <a:pt x="311" y="679"/>
                  </a:lnTo>
                  <a:lnTo>
                    <a:pt x="309" y="678"/>
                  </a:lnTo>
                  <a:lnTo>
                    <a:pt x="308" y="676"/>
                  </a:lnTo>
                  <a:lnTo>
                    <a:pt x="306" y="674"/>
                  </a:lnTo>
                  <a:lnTo>
                    <a:pt x="304" y="671"/>
                  </a:lnTo>
                  <a:lnTo>
                    <a:pt x="298" y="664"/>
                  </a:lnTo>
                  <a:lnTo>
                    <a:pt x="295" y="659"/>
                  </a:lnTo>
                  <a:lnTo>
                    <a:pt x="293" y="657"/>
                  </a:lnTo>
                  <a:lnTo>
                    <a:pt x="290" y="655"/>
                  </a:lnTo>
                  <a:lnTo>
                    <a:pt x="288" y="654"/>
                  </a:lnTo>
                  <a:lnTo>
                    <a:pt x="285" y="651"/>
                  </a:lnTo>
                  <a:lnTo>
                    <a:pt x="283" y="650"/>
                  </a:lnTo>
                  <a:lnTo>
                    <a:pt x="280" y="649"/>
                  </a:lnTo>
                  <a:lnTo>
                    <a:pt x="277" y="649"/>
                  </a:lnTo>
                  <a:lnTo>
                    <a:pt x="274" y="648"/>
                  </a:lnTo>
                  <a:lnTo>
                    <a:pt x="272" y="648"/>
                  </a:lnTo>
                  <a:lnTo>
                    <a:pt x="270" y="648"/>
                  </a:lnTo>
                  <a:lnTo>
                    <a:pt x="268" y="648"/>
                  </a:lnTo>
                  <a:lnTo>
                    <a:pt x="263" y="649"/>
                  </a:lnTo>
                  <a:lnTo>
                    <a:pt x="262" y="649"/>
                  </a:lnTo>
                  <a:lnTo>
                    <a:pt x="262" y="648"/>
                  </a:lnTo>
                  <a:lnTo>
                    <a:pt x="261" y="647"/>
                  </a:lnTo>
                  <a:lnTo>
                    <a:pt x="252" y="644"/>
                  </a:lnTo>
                  <a:lnTo>
                    <a:pt x="247" y="642"/>
                  </a:lnTo>
                  <a:lnTo>
                    <a:pt x="239" y="639"/>
                  </a:lnTo>
                  <a:lnTo>
                    <a:pt x="236" y="636"/>
                  </a:lnTo>
                  <a:lnTo>
                    <a:pt x="232" y="634"/>
                  </a:lnTo>
                  <a:lnTo>
                    <a:pt x="228" y="631"/>
                  </a:lnTo>
                  <a:lnTo>
                    <a:pt x="225" y="629"/>
                  </a:lnTo>
                  <a:lnTo>
                    <a:pt x="220" y="624"/>
                  </a:lnTo>
                  <a:lnTo>
                    <a:pt x="219" y="622"/>
                  </a:lnTo>
                  <a:lnTo>
                    <a:pt x="217" y="621"/>
                  </a:lnTo>
                  <a:lnTo>
                    <a:pt x="212" y="618"/>
                  </a:lnTo>
                  <a:lnTo>
                    <a:pt x="210" y="617"/>
                  </a:lnTo>
                  <a:lnTo>
                    <a:pt x="209" y="616"/>
                  </a:lnTo>
                  <a:lnTo>
                    <a:pt x="207" y="614"/>
                  </a:lnTo>
                  <a:lnTo>
                    <a:pt x="201" y="607"/>
                  </a:lnTo>
                  <a:lnTo>
                    <a:pt x="199" y="606"/>
                  </a:lnTo>
                  <a:lnTo>
                    <a:pt x="198" y="604"/>
                  </a:lnTo>
                  <a:lnTo>
                    <a:pt x="197" y="601"/>
                  </a:lnTo>
                  <a:lnTo>
                    <a:pt x="194" y="594"/>
                  </a:lnTo>
                  <a:lnTo>
                    <a:pt x="193" y="593"/>
                  </a:lnTo>
                  <a:lnTo>
                    <a:pt x="192" y="591"/>
                  </a:lnTo>
                  <a:lnTo>
                    <a:pt x="190" y="589"/>
                  </a:lnTo>
                  <a:lnTo>
                    <a:pt x="184" y="583"/>
                  </a:lnTo>
                  <a:lnTo>
                    <a:pt x="177" y="575"/>
                  </a:lnTo>
                  <a:lnTo>
                    <a:pt x="175" y="573"/>
                  </a:lnTo>
                  <a:lnTo>
                    <a:pt x="174" y="571"/>
                  </a:lnTo>
                  <a:lnTo>
                    <a:pt x="172" y="568"/>
                  </a:lnTo>
                  <a:lnTo>
                    <a:pt x="171" y="565"/>
                  </a:lnTo>
                  <a:lnTo>
                    <a:pt x="170" y="562"/>
                  </a:lnTo>
                  <a:lnTo>
                    <a:pt x="168" y="554"/>
                  </a:lnTo>
                  <a:lnTo>
                    <a:pt x="166" y="550"/>
                  </a:lnTo>
                  <a:lnTo>
                    <a:pt x="165" y="548"/>
                  </a:lnTo>
                  <a:lnTo>
                    <a:pt x="164" y="546"/>
                  </a:lnTo>
                  <a:lnTo>
                    <a:pt x="162" y="544"/>
                  </a:lnTo>
                  <a:lnTo>
                    <a:pt x="161" y="543"/>
                  </a:lnTo>
                  <a:lnTo>
                    <a:pt x="159" y="542"/>
                  </a:lnTo>
                  <a:lnTo>
                    <a:pt x="158" y="542"/>
                  </a:lnTo>
                  <a:lnTo>
                    <a:pt x="154" y="540"/>
                  </a:lnTo>
                  <a:lnTo>
                    <a:pt x="152" y="539"/>
                  </a:lnTo>
                  <a:lnTo>
                    <a:pt x="142" y="537"/>
                  </a:lnTo>
                  <a:lnTo>
                    <a:pt x="124" y="530"/>
                  </a:lnTo>
                  <a:lnTo>
                    <a:pt x="118" y="529"/>
                  </a:lnTo>
                  <a:lnTo>
                    <a:pt x="108" y="527"/>
                  </a:lnTo>
                  <a:lnTo>
                    <a:pt x="104" y="526"/>
                  </a:lnTo>
                  <a:lnTo>
                    <a:pt x="102" y="525"/>
                  </a:lnTo>
                  <a:lnTo>
                    <a:pt x="100" y="524"/>
                  </a:lnTo>
                  <a:lnTo>
                    <a:pt x="99" y="523"/>
                  </a:lnTo>
                  <a:lnTo>
                    <a:pt x="97" y="522"/>
                  </a:lnTo>
                  <a:lnTo>
                    <a:pt x="94" y="520"/>
                  </a:lnTo>
                  <a:lnTo>
                    <a:pt x="92" y="518"/>
                  </a:lnTo>
                  <a:lnTo>
                    <a:pt x="90" y="516"/>
                  </a:lnTo>
                  <a:lnTo>
                    <a:pt x="87" y="512"/>
                  </a:lnTo>
                  <a:lnTo>
                    <a:pt x="84" y="509"/>
                  </a:lnTo>
                  <a:lnTo>
                    <a:pt x="78" y="500"/>
                  </a:lnTo>
                  <a:lnTo>
                    <a:pt x="77" y="498"/>
                  </a:lnTo>
                  <a:lnTo>
                    <a:pt x="75" y="495"/>
                  </a:lnTo>
                  <a:lnTo>
                    <a:pt x="73" y="489"/>
                  </a:lnTo>
                  <a:lnTo>
                    <a:pt x="72" y="486"/>
                  </a:lnTo>
                  <a:lnTo>
                    <a:pt x="69" y="482"/>
                  </a:lnTo>
                  <a:lnTo>
                    <a:pt x="68" y="479"/>
                  </a:lnTo>
                  <a:lnTo>
                    <a:pt x="67" y="477"/>
                  </a:lnTo>
                  <a:lnTo>
                    <a:pt x="64" y="474"/>
                  </a:lnTo>
                  <a:lnTo>
                    <a:pt x="62" y="472"/>
                  </a:lnTo>
                  <a:lnTo>
                    <a:pt x="59" y="471"/>
                  </a:lnTo>
                  <a:lnTo>
                    <a:pt x="57" y="469"/>
                  </a:lnTo>
                  <a:lnTo>
                    <a:pt x="55" y="468"/>
                  </a:lnTo>
                  <a:lnTo>
                    <a:pt x="53" y="468"/>
                  </a:lnTo>
                  <a:lnTo>
                    <a:pt x="49" y="467"/>
                  </a:lnTo>
                  <a:lnTo>
                    <a:pt x="47" y="468"/>
                  </a:lnTo>
                  <a:lnTo>
                    <a:pt x="43" y="469"/>
                  </a:lnTo>
                  <a:lnTo>
                    <a:pt x="39" y="469"/>
                  </a:lnTo>
                  <a:lnTo>
                    <a:pt x="36" y="472"/>
                  </a:lnTo>
                  <a:lnTo>
                    <a:pt x="30" y="474"/>
                  </a:lnTo>
                  <a:lnTo>
                    <a:pt x="28" y="475"/>
                  </a:lnTo>
                  <a:lnTo>
                    <a:pt x="27" y="475"/>
                  </a:lnTo>
                  <a:lnTo>
                    <a:pt x="25" y="475"/>
                  </a:lnTo>
                  <a:lnTo>
                    <a:pt x="25" y="475"/>
                  </a:lnTo>
                  <a:lnTo>
                    <a:pt x="23" y="474"/>
                  </a:lnTo>
                  <a:lnTo>
                    <a:pt x="22" y="473"/>
                  </a:lnTo>
                  <a:lnTo>
                    <a:pt x="22" y="472"/>
                  </a:lnTo>
                  <a:lnTo>
                    <a:pt x="21" y="470"/>
                  </a:lnTo>
                  <a:lnTo>
                    <a:pt x="20" y="468"/>
                  </a:lnTo>
                  <a:lnTo>
                    <a:pt x="20" y="466"/>
                  </a:lnTo>
                  <a:lnTo>
                    <a:pt x="17" y="458"/>
                  </a:lnTo>
                  <a:lnTo>
                    <a:pt x="16" y="453"/>
                  </a:lnTo>
                  <a:lnTo>
                    <a:pt x="14" y="447"/>
                  </a:lnTo>
                  <a:lnTo>
                    <a:pt x="10" y="439"/>
                  </a:lnTo>
                  <a:lnTo>
                    <a:pt x="9" y="434"/>
                  </a:lnTo>
                  <a:lnTo>
                    <a:pt x="7" y="430"/>
                  </a:lnTo>
                  <a:lnTo>
                    <a:pt x="5" y="420"/>
                  </a:lnTo>
                  <a:lnTo>
                    <a:pt x="2" y="413"/>
                  </a:lnTo>
                  <a:lnTo>
                    <a:pt x="1" y="408"/>
                  </a:lnTo>
                  <a:lnTo>
                    <a:pt x="0" y="401"/>
                  </a:lnTo>
                  <a:lnTo>
                    <a:pt x="0" y="397"/>
                  </a:lnTo>
                  <a:lnTo>
                    <a:pt x="0" y="397"/>
                  </a:lnTo>
                  <a:lnTo>
                    <a:pt x="1" y="397"/>
                  </a:lnTo>
                  <a:lnTo>
                    <a:pt x="2" y="397"/>
                  </a:lnTo>
                  <a:lnTo>
                    <a:pt x="2" y="396"/>
                  </a:lnTo>
                  <a:lnTo>
                    <a:pt x="5" y="395"/>
                  </a:lnTo>
                  <a:lnTo>
                    <a:pt x="7" y="393"/>
                  </a:lnTo>
                  <a:lnTo>
                    <a:pt x="10" y="390"/>
                  </a:lnTo>
                  <a:lnTo>
                    <a:pt x="13" y="386"/>
                  </a:lnTo>
                  <a:lnTo>
                    <a:pt x="19" y="379"/>
                  </a:lnTo>
                  <a:lnTo>
                    <a:pt x="22" y="374"/>
                  </a:lnTo>
                  <a:lnTo>
                    <a:pt x="24" y="372"/>
                  </a:lnTo>
                  <a:lnTo>
                    <a:pt x="25" y="369"/>
                  </a:lnTo>
                  <a:lnTo>
                    <a:pt x="25" y="367"/>
                  </a:lnTo>
                  <a:lnTo>
                    <a:pt x="26" y="362"/>
                  </a:lnTo>
                  <a:lnTo>
                    <a:pt x="27" y="358"/>
                  </a:lnTo>
                  <a:lnTo>
                    <a:pt x="28" y="355"/>
                  </a:lnTo>
                  <a:lnTo>
                    <a:pt x="30" y="353"/>
                  </a:lnTo>
                  <a:lnTo>
                    <a:pt x="31" y="352"/>
                  </a:lnTo>
                  <a:lnTo>
                    <a:pt x="32" y="351"/>
                  </a:lnTo>
                  <a:lnTo>
                    <a:pt x="34" y="350"/>
                  </a:lnTo>
                  <a:lnTo>
                    <a:pt x="36" y="349"/>
                  </a:lnTo>
                  <a:lnTo>
                    <a:pt x="39" y="347"/>
                  </a:lnTo>
                  <a:lnTo>
                    <a:pt x="44" y="346"/>
                  </a:lnTo>
                  <a:lnTo>
                    <a:pt x="45" y="345"/>
                  </a:lnTo>
                  <a:lnTo>
                    <a:pt x="46" y="344"/>
                  </a:lnTo>
                  <a:lnTo>
                    <a:pt x="48" y="343"/>
                  </a:lnTo>
                  <a:lnTo>
                    <a:pt x="50" y="340"/>
                  </a:lnTo>
                  <a:lnTo>
                    <a:pt x="51" y="337"/>
                  </a:lnTo>
                  <a:lnTo>
                    <a:pt x="52" y="335"/>
                  </a:lnTo>
                  <a:lnTo>
                    <a:pt x="52" y="331"/>
                  </a:lnTo>
                  <a:lnTo>
                    <a:pt x="52" y="326"/>
                  </a:lnTo>
                  <a:lnTo>
                    <a:pt x="52" y="322"/>
                  </a:lnTo>
                  <a:lnTo>
                    <a:pt x="52" y="317"/>
                  </a:lnTo>
                  <a:lnTo>
                    <a:pt x="51" y="312"/>
                  </a:lnTo>
                  <a:lnTo>
                    <a:pt x="48" y="304"/>
                  </a:lnTo>
                  <a:lnTo>
                    <a:pt x="47" y="300"/>
                  </a:lnTo>
                  <a:lnTo>
                    <a:pt x="42" y="289"/>
                  </a:lnTo>
                  <a:lnTo>
                    <a:pt x="42" y="287"/>
                  </a:lnTo>
                  <a:lnTo>
                    <a:pt x="42" y="285"/>
                  </a:lnTo>
                  <a:lnTo>
                    <a:pt x="42" y="284"/>
                  </a:lnTo>
                  <a:lnTo>
                    <a:pt x="42" y="283"/>
                  </a:lnTo>
                  <a:lnTo>
                    <a:pt x="43" y="282"/>
                  </a:lnTo>
                  <a:lnTo>
                    <a:pt x="50" y="278"/>
                  </a:lnTo>
                  <a:lnTo>
                    <a:pt x="52" y="277"/>
                  </a:lnTo>
                  <a:lnTo>
                    <a:pt x="54" y="275"/>
                  </a:lnTo>
                  <a:lnTo>
                    <a:pt x="55" y="274"/>
                  </a:lnTo>
                  <a:lnTo>
                    <a:pt x="56" y="272"/>
                  </a:lnTo>
                  <a:lnTo>
                    <a:pt x="57" y="270"/>
                  </a:lnTo>
                  <a:lnTo>
                    <a:pt x="59" y="267"/>
                  </a:lnTo>
                  <a:lnTo>
                    <a:pt x="59" y="265"/>
                  </a:lnTo>
                  <a:lnTo>
                    <a:pt x="60" y="261"/>
                  </a:lnTo>
                  <a:lnTo>
                    <a:pt x="60" y="257"/>
                  </a:lnTo>
                  <a:lnTo>
                    <a:pt x="60" y="249"/>
                  </a:lnTo>
                  <a:lnTo>
                    <a:pt x="61" y="244"/>
                  </a:lnTo>
                  <a:lnTo>
                    <a:pt x="62" y="242"/>
                  </a:lnTo>
                  <a:lnTo>
                    <a:pt x="62" y="238"/>
                  </a:lnTo>
                  <a:lnTo>
                    <a:pt x="64" y="232"/>
                  </a:lnTo>
                  <a:lnTo>
                    <a:pt x="64" y="230"/>
                  </a:lnTo>
                  <a:lnTo>
                    <a:pt x="64" y="226"/>
                  </a:lnTo>
                  <a:lnTo>
                    <a:pt x="64" y="219"/>
                  </a:lnTo>
                  <a:lnTo>
                    <a:pt x="64" y="216"/>
                  </a:lnTo>
                  <a:lnTo>
                    <a:pt x="65" y="214"/>
                  </a:lnTo>
                  <a:lnTo>
                    <a:pt x="66" y="210"/>
                  </a:lnTo>
                  <a:lnTo>
                    <a:pt x="67" y="207"/>
                  </a:lnTo>
                  <a:lnTo>
                    <a:pt x="67" y="205"/>
                  </a:lnTo>
                  <a:lnTo>
                    <a:pt x="67" y="203"/>
                  </a:lnTo>
                  <a:lnTo>
                    <a:pt x="66" y="201"/>
                  </a:lnTo>
                  <a:lnTo>
                    <a:pt x="64" y="198"/>
                  </a:lnTo>
                  <a:lnTo>
                    <a:pt x="63" y="196"/>
                  </a:lnTo>
                  <a:lnTo>
                    <a:pt x="59" y="190"/>
                  </a:lnTo>
                  <a:lnTo>
                    <a:pt x="57" y="188"/>
                  </a:lnTo>
                  <a:lnTo>
                    <a:pt x="55" y="185"/>
                  </a:lnTo>
                  <a:lnTo>
                    <a:pt x="54" y="182"/>
                  </a:lnTo>
                  <a:lnTo>
                    <a:pt x="54" y="181"/>
                  </a:lnTo>
                  <a:lnTo>
                    <a:pt x="53" y="178"/>
                  </a:lnTo>
                  <a:lnTo>
                    <a:pt x="52" y="174"/>
                  </a:lnTo>
                  <a:lnTo>
                    <a:pt x="53" y="167"/>
                  </a:lnTo>
                  <a:lnTo>
                    <a:pt x="53" y="162"/>
                  </a:lnTo>
                  <a:lnTo>
                    <a:pt x="52" y="160"/>
                  </a:lnTo>
                  <a:lnTo>
                    <a:pt x="51" y="153"/>
                  </a:lnTo>
                  <a:lnTo>
                    <a:pt x="51" y="151"/>
                  </a:lnTo>
                  <a:lnTo>
                    <a:pt x="50" y="150"/>
                  </a:lnTo>
                  <a:lnTo>
                    <a:pt x="51" y="147"/>
                  </a:lnTo>
                  <a:lnTo>
                    <a:pt x="51" y="145"/>
                  </a:lnTo>
                  <a:lnTo>
                    <a:pt x="52" y="143"/>
                  </a:lnTo>
                  <a:lnTo>
                    <a:pt x="52" y="141"/>
                  </a:lnTo>
                  <a:lnTo>
                    <a:pt x="54" y="139"/>
                  </a:lnTo>
                  <a:lnTo>
                    <a:pt x="57" y="135"/>
                  </a:lnTo>
                  <a:lnTo>
                    <a:pt x="59" y="130"/>
                  </a:lnTo>
                  <a:lnTo>
                    <a:pt x="63" y="124"/>
                  </a:lnTo>
                  <a:lnTo>
                    <a:pt x="64" y="120"/>
                  </a:lnTo>
                  <a:lnTo>
                    <a:pt x="65" y="118"/>
                  </a:lnTo>
                  <a:lnTo>
                    <a:pt x="66" y="115"/>
                  </a:lnTo>
                  <a:lnTo>
                    <a:pt x="66" y="114"/>
                  </a:lnTo>
                  <a:lnTo>
                    <a:pt x="66" y="113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7" y="109"/>
                  </a:lnTo>
                  <a:lnTo>
                    <a:pt x="68" y="107"/>
                  </a:lnTo>
                  <a:lnTo>
                    <a:pt x="71" y="102"/>
                  </a:lnTo>
                  <a:lnTo>
                    <a:pt x="73" y="100"/>
                  </a:lnTo>
                  <a:lnTo>
                    <a:pt x="75" y="98"/>
                  </a:lnTo>
                  <a:lnTo>
                    <a:pt x="77" y="97"/>
                  </a:lnTo>
                  <a:lnTo>
                    <a:pt x="78" y="96"/>
                  </a:lnTo>
                  <a:lnTo>
                    <a:pt x="79" y="95"/>
                  </a:lnTo>
                  <a:lnTo>
                    <a:pt x="82" y="95"/>
                  </a:lnTo>
                  <a:lnTo>
                    <a:pt x="84" y="95"/>
                  </a:lnTo>
                  <a:lnTo>
                    <a:pt x="91" y="97"/>
                  </a:lnTo>
                  <a:lnTo>
                    <a:pt x="97" y="97"/>
                  </a:lnTo>
                  <a:lnTo>
                    <a:pt x="100" y="98"/>
                  </a:lnTo>
                  <a:lnTo>
                    <a:pt x="102" y="98"/>
                  </a:lnTo>
                  <a:lnTo>
                    <a:pt x="103" y="99"/>
                  </a:lnTo>
                  <a:lnTo>
                    <a:pt x="107" y="103"/>
                  </a:lnTo>
                  <a:lnTo>
                    <a:pt x="110" y="105"/>
                  </a:lnTo>
                  <a:lnTo>
                    <a:pt x="113" y="106"/>
                  </a:lnTo>
                  <a:lnTo>
                    <a:pt x="118" y="107"/>
                  </a:lnTo>
                  <a:lnTo>
                    <a:pt x="121" y="108"/>
                  </a:lnTo>
                  <a:lnTo>
                    <a:pt x="126" y="108"/>
                  </a:lnTo>
                  <a:lnTo>
                    <a:pt x="128" y="108"/>
                  </a:lnTo>
                  <a:lnTo>
                    <a:pt x="138" y="110"/>
                  </a:lnTo>
                  <a:lnTo>
                    <a:pt x="142" y="110"/>
                  </a:lnTo>
                  <a:lnTo>
                    <a:pt x="145" y="110"/>
                  </a:lnTo>
                  <a:lnTo>
                    <a:pt x="147" y="110"/>
                  </a:lnTo>
                  <a:lnTo>
                    <a:pt x="149" y="110"/>
                  </a:lnTo>
                  <a:lnTo>
                    <a:pt x="150" y="110"/>
                  </a:lnTo>
                  <a:lnTo>
                    <a:pt x="154" y="108"/>
                  </a:lnTo>
                  <a:lnTo>
                    <a:pt x="156" y="108"/>
                  </a:lnTo>
                  <a:lnTo>
                    <a:pt x="159" y="107"/>
                  </a:lnTo>
                  <a:lnTo>
                    <a:pt x="160" y="107"/>
                  </a:lnTo>
                  <a:lnTo>
                    <a:pt x="162" y="107"/>
                  </a:lnTo>
                  <a:lnTo>
                    <a:pt x="168" y="103"/>
                  </a:lnTo>
                  <a:lnTo>
                    <a:pt x="170" y="101"/>
                  </a:lnTo>
                  <a:lnTo>
                    <a:pt x="173" y="99"/>
                  </a:lnTo>
                  <a:lnTo>
                    <a:pt x="176" y="95"/>
                  </a:lnTo>
                  <a:lnTo>
                    <a:pt x="176" y="96"/>
                  </a:lnTo>
                  <a:lnTo>
                    <a:pt x="176" y="98"/>
                  </a:lnTo>
                  <a:lnTo>
                    <a:pt x="175" y="101"/>
                  </a:lnTo>
                  <a:lnTo>
                    <a:pt x="173" y="107"/>
                  </a:lnTo>
                  <a:lnTo>
                    <a:pt x="172" y="110"/>
                  </a:lnTo>
                  <a:lnTo>
                    <a:pt x="171" y="114"/>
                  </a:lnTo>
                  <a:lnTo>
                    <a:pt x="170" y="116"/>
                  </a:lnTo>
                  <a:lnTo>
                    <a:pt x="170" y="119"/>
                  </a:lnTo>
                  <a:lnTo>
                    <a:pt x="170" y="120"/>
                  </a:lnTo>
                  <a:lnTo>
                    <a:pt x="171" y="121"/>
                  </a:lnTo>
                  <a:lnTo>
                    <a:pt x="172" y="122"/>
                  </a:lnTo>
                  <a:lnTo>
                    <a:pt x="172" y="123"/>
                  </a:lnTo>
                  <a:lnTo>
                    <a:pt x="172" y="124"/>
                  </a:lnTo>
                  <a:lnTo>
                    <a:pt x="174" y="125"/>
                  </a:lnTo>
                  <a:lnTo>
                    <a:pt x="174" y="126"/>
                  </a:lnTo>
                  <a:lnTo>
                    <a:pt x="177" y="127"/>
                  </a:lnTo>
                  <a:lnTo>
                    <a:pt x="178" y="127"/>
                  </a:lnTo>
                  <a:lnTo>
                    <a:pt x="179" y="128"/>
                  </a:lnTo>
                  <a:lnTo>
                    <a:pt x="182" y="128"/>
                  </a:lnTo>
                  <a:lnTo>
                    <a:pt x="190" y="130"/>
                  </a:lnTo>
                  <a:lnTo>
                    <a:pt x="194" y="130"/>
                  </a:lnTo>
                  <a:lnTo>
                    <a:pt x="198" y="131"/>
                  </a:lnTo>
                  <a:lnTo>
                    <a:pt x="203" y="132"/>
                  </a:lnTo>
                  <a:lnTo>
                    <a:pt x="208" y="134"/>
                  </a:lnTo>
                  <a:lnTo>
                    <a:pt x="212" y="136"/>
                  </a:lnTo>
                  <a:lnTo>
                    <a:pt x="215" y="138"/>
                  </a:lnTo>
                  <a:lnTo>
                    <a:pt x="221" y="142"/>
                  </a:lnTo>
                  <a:lnTo>
                    <a:pt x="223" y="143"/>
                  </a:lnTo>
                  <a:lnTo>
                    <a:pt x="224" y="143"/>
                  </a:lnTo>
                  <a:lnTo>
                    <a:pt x="226" y="144"/>
                  </a:lnTo>
                  <a:lnTo>
                    <a:pt x="227" y="143"/>
                  </a:lnTo>
                  <a:lnTo>
                    <a:pt x="229" y="143"/>
                  </a:lnTo>
                  <a:lnTo>
                    <a:pt x="230" y="142"/>
                  </a:lnTo>
                  <a:lnTo>
                    <a:pt x="232" y="140"/>
                  </a:lnTo>
                  <a:lnTo>
                    <a:pt x="233" y="138"/>
                  </a:lnTo>
                  <a:lnTo>
                    <a:pt x="236" y="133"/>
                  </a:lnTo>
                  <a:lnTo>
                    <a:pt x="237" y="131"/>
                  </a:lnTo>
                  <a:lnTo>
                    <a:pt x="240" y="127"/>
                  </a:lnTo>
                  <a:lnTo>
                    <a:pt x="243" y="124"/>
                  </a:lnTo>
                  <a:lnTo>
                    <a:pt x="246" y="121"/>
                  </a:lnTo>
                  <a:lnTo>
                    <a:pt x="248" y="119"/>
                  </a:lnTo>
                  <a:lnTo>
                    <a:pt x="257" y="112"/>
                  </a:lnTo>
                  <a:lnTo>
                    <a:pt x="264" y="107"/>
                  </a:lnTo>
                  <a:lnTo>
                    <a:pt x="269" y="103"/>
                  </a:lnTo>
                  <a:lnTo>
                    <a:pt x="273" y="101"/>
                  </a:lnTo>
                  <a:lnTo>
                    <a:pt x="275" y="100"/>
                  </a:lnTo>
                  <a:lnTo>
                    <a:pt x="277" y="100"/>
                  </a:lnTo>
                  <a:lnTo>
                    <a:pt x="287" y="97"/>
                  </a:lnTo>
                  <a:lnTo>
                    <a:pt x="292" y="95"/>
                  </a:lnTo>
                  <a:lnTo>
                    <a:pt x="296" y="93"/>
                  </a:lnTo>
                  <a:lnTo>
                    <a:pt x="299" y="91"/>
                  </a:lnTo>
                  <a:lnTo>
                    <a:pt x="301" y="90"/>
                  </a:lnTo>
                  <a:lnTo>
                    <a:pt x="303" y="88"/>
                  </a:lnTo>
                  <a:lnTo>
                    <a:pt x="304" y="87"/>
                  </a:lnTo>
                  <a:lnTo>
                    <a:pt x="304" y="85"/>
                  </a:lnTo>
                  <a:lnTo>
                    <a:pt x="305" y="83"/>
                  </a:lnTo>
                  <a:lnTo>
                    <a:pt x="305" y="82"/>
                  </a:lnTo>
                  <a:lnTo>
                    <a:pt x="304" y="78"/>
                  </a:lnTo>
                  <a:lnTo>
                    <a:pt x="302" y="72"/>
                  </a:lnTo>
                  <a:lnTo>
                    <a:pt x="301" y="66"/>
                  </a:lnTo>
                  <a:lnTo>
                    <a:pt x="299" y="62"/>
                  </a:lnTo>
                  <a:lnTo>
                    <a:pt x="299" y="59"/>
                  </a:lnTo>
                  <a:lnTo>
                    <a:pt x="299" y="56"/>
                  </a:lnTo>
                  <a:lnTo>
                    <a:pt x="299" y="53"/>
                  </a:lnTo>
                  <a:lnTo>
                    <a:pt x="299" y="50"/>
                  </a:lnTo>
                  <a:lnTo>
                    <a:pt x="300" y="48"/>
                  </a:lnTo>
                  <a:lnTo>
                    <a:pt x="301" y="43"/>
                  </a:lnTo>
                  <a:lnTo>
                    <a:pt x="302" y="40"/>
                  </a:lnTo>
                  <a:lnTo>
                    <a:pt x="303" y="38"/>
                  </a:lnTo>
                  <a:lnTo>
                    <a:pt x="303" y="34"/>
                  </a:lnTo>
                  <a:lnTo>
                    <a:pt x="303" y="31"/>
                  </a:lnTo>
                  <a:lnTo>
                    <a:pt x="304" y="30"/>
                  </a:lnTo>
                  <a:lnTo>
                    <a:pt x="304" y="29"/>
                  </a:lnTo>
                  <a:lnTo>
                    <a:pt x="305" y="26"/>
                  </a:lnTo>
                  <a:lnTo>
                    <a:pt x="306" y="25"/>
                  </a:lnTo>
                  <a:lnTo>
                    <a:pt x="307" y="24"/>
                  </a:lnTo>
                  <a:lnTo>
                    <a:pt x="311" y="22"/>
                  </a:lnTo>
                  <a:lnTo>
                    <a:pt x="313" y="20"/>
                  </a:lnTo>
                  <a:lnTo>
                    <a:pt x="314" y="18"/>
                  </a:lnTo>
                  <a:lnTo>
                    <a:pt x="316" y="14"/>
                  </a:lnTo>
                  <a:lnTo>
                    <a:pt x="319" y="12"/>
                  </a:lnTo>
                  <a:lnTo>
                    <a:pt x="321" y="9"/>
                  </a:lnTo>
                  <a:lnTo>
                    <a:pt x="326" y="6"/>
                  </a:lnTo>
                  <a:lnTo>
                    <a:pt x="330" y="4"/>
                  </a:lnTo>
                  <a:lnTo>
                    <a:pt x="334" y="1"/>
                  </a:lnTo>
                  <a:lnTo>
                    <a:pt x="336" y="0"/>
                  </a:lnTo>
                  <a:lnTo>
                    <a:pt x="339" y="0"/>
                  </a:lnTo>
                  <a:lnTo>
                    <a:pt x="339" y="0"/>
                  </a:lnTo>
                  <a:close/>
                </a:path>
              </a:pathLst>
            </a:custGeom>
            <a:solidFill>
              <a:srgbClr val="EFF3FF"/>
            </a:solidFill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99">
              <a:extLst>
                <a:ext uri="{FF2B5EF4-FFF2-40B4-BE49-F238E27FC236}">
                  <a16:creationId xmlns:a16="http://schemas.microsoft.com/office/drawing/2014/main" id="{5A2E3316-0A61-94C9-864F-75A99A1BD2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9861" y="5089363"/>
              <a:ext cx="1398588" cy="1208088"/>
            </a:xfrm>
            <a:custGeom>
              <a:avLst/>
              <a:gdLst>
                <a:gd name="T0" fmla="*/ 320 w 881"/>
                <a:gd name="T1" fmla="*/ 41 h 761"/>
                <a:gd name="T2" fmla="*/ 376 w 881"/>
                <a:gd name="T3" fmla="*/ 38 h 761"/>
                <a:gd name="T4" fmla="*/ 421 w 881"/>
                <a:gd name="T5" fmla="*/ 68 h 761"/>
                <a:gd name="T6" fmla="*/ 415 w 881"/>
                <a:gd name="T7" fmla="*/ 88 h 761"/>
                <a:gd name="T8" fmla="*/ 460 w 881"/>
                <a:gd name="T9" fmla="*/ 115 h 761"/>
                <a:gd name="T10" fmla="*/ 501 w 881"/>
                <a:gd name="T11" fmla="*/ 115 h 761"/>
                <a:gd name="T12" fmla="*/ 564 w 881"/>
                <a:gd name="T13" fmla="*/ 131 h 761"/>
                <a:gd name="T14" fmla="*/ 622 w 881"/>
                <a:gd name="T15" fmla="*/ 128 h 761"/>
                <a:gd name="T16" fmla="*/ 646 w 881"/>
                <a:gd name="T17" fmla="*/ 155 h 761"/>
                <a:gd name="T18" fmla="*/ 662 w 881"/>
                <a:gd name="T19" fmla="*/ 221 h 761"/>
                <a:gd name="T20" fmla="*/ 734 w 881"/>
                <a:gd name="T21" fmla="*/ 254 h 761"/>
                <a:gd name="T22" fmla="*/ 801 w 881"/>
                <a:gd name="T23" fmla="*/ 253 h 761"/>
                <a:gd name="T24" fmla="*/ 842 w 881"/>
                <a:gd name="T25" fmla="*/ 253 h 761"/>
                <a:gd name="T26" fmla="*/ 851 w 881"/>
                <a:gd name="T27" fmla="*/ 280 h 761"/>
                <a:gd name="T28" fmla="*/ 864 w 881"/>
                <a:gd name="T29" fmla="*/ 323 h 761"/>
                <a:gd name="T30" fmla="*/ 826 w 881"/>
                <a:gd name="T31" fmla="*/ 363 h 761"/>
                <a:gd name="T32" fmla="*/ 789 w 881"/>
                <a:gd name="T33" fmla="*/ 420 h 761"/>
                <a:gd name="T34" fmla="*/ 804 w 881"/>
                <a:gd name="T35" fmla="*/ 440 h 761"/>
                <a:gd name="T36" fmla="*/ 850 w 881"/>
                <a:gd name="T37" fmla="*/ 477 h 761"/>
                <a:gd name="T38" fmla="*/ 854 w 881"/>
                <a:gd name="T39" fmla="*/ 512 h 761"/>
                <a:gd name="T40" fmla="*/ 845 w 881"/>
                <a:gd name="T41" fmla="*/ 532 h 761"/>
                <a:gd name="T42" fmla="*/ 814 w 881"/>
                <a:gd name="T43" fmla="*/ 550 h 761"/>
                <a:gd name="T44" fmla="*/ 749 w 881"/>
                <a:gd name="T45" fmla="*/ 501 h 761"/>
                <a:gd name="T46" fmla="*/ 657 w 881"/>
                <a:gd name="T47" fmla="*/ 457 h 761"/>
                <a:gd name="T48" fmla="*/ 594 w 881"/>
                <a:gd name="T49" fmla="*/ 447 h 761"/>
                <a:gd name="T50" fmla="*/ 568 w 881"/>
                <a:gd name="T51" fmla="*/ 487 h 761"/>
                <a:gd name="T52" fmla="*/ 499 w 881"/>
                <a:gd name="T53" fmla="*/ 505 h 761"/>
                <a:gd name="T54" fmla="*/ 480 w 881"/>
                <a:gd name="T55" fmla="*/ 477 h 761"/>
                <a:gd name="T56" fmla="*/ 438 w 881"/>
                <a:gd name="T57" fmla="*/ 434 h 761"/>
                <a:gd name="T58" fmla="*/ 383 w 881"/>
                <a:gd name="T59" fmla="*/ 415 h 761"/>
                <a:gd name="T60" fmla="*/ 332 w 881"/>
                <a:gd name="T61" fmla="*/ 415 h 761"/>
                <a:gd name="T62" fmla="*/ 312 w 881"/>
                <a:gd name="T63" fmla="*/ 469 h 761"/>
                <a:gd name="T64" fmla="*/ 320 w 881"/>
                <a:gd name="T65" fmla="*/ 574 h 761"/>
                <a:gd name="T66" fmla="*/ 304 w 881"/>
                <a:gd name="T67" fmla="*/ 662 h 761"/>
                <a:gd name="T68" fmla="*/ 304 w 881"/>
                <a:gd name="T69" fmla="*/ 737 h 761"/>
                <a:gd name="T70" fmla="*/ 277 w 881"/>
                <a:gd name="T71" fmla="*/ 760 h 761"/>
                <a:gd name="T72" fmla="*/ 235 w 881"/>
                <a:gd name="T73" fmla="*/ 709 h 761"/>
                <a:gd name="T74" fmla="*/ 212 w 881"/>
                <a:gd name="T75" fmla="*/ 649 h 761"/>
                <a:gd name="T76" fmla="*/ 158 w 881"/>
                <a:gd name="T77" fmla="*/ 620 h 761"/>
                <a:gd name="T78" fmla="*/ 133 w 881"/>
                <a:gd name="T79" fmla="*/ 552 h 761"/>
                <a:gd name="T80" fmla="*/ 113 w 881"/>
                <a:gd name="T81" fmla="*/ 525 h 761"/>
                <a:gd name="T82" fmla="*/ 120 w 881"/>
                <a:gd name="T83" fmla="*/ 503 h 761"/>
                <a:gd name="T84" fmla="*/ 82 w 881"/>
                <a:gd name="T85" fmla="*/ 485 h 761"/>
                <a:gd name="T86" fmla="*/ 70 w 881"/>
                <a:gd name="T87" fmla="*/ 438 h 761"/>
                <a:gd name="T88" fmla="*/ 40 w 881"/>
                <a:gd name="T89" fmla="*/ 404 h 761"/>
                <a:gd name="T90" fmla="*/ 45 w 881"/>
                <a:gd name="T91" fmla="*/ 361 h 761"/>
                <a:gd name="T92" fmla="*/ 17 w 881"/>
                <a:gd name="T93" fmla="*/ 333 h 761"/>
                <a:gd name="T94" fmla="*/ 7 w 881"/>
                <a:gd name="T95" fmla="*/ 309 h 761"/>
                <a:gd name="T96" fmla="*/ 31 w 881"/>
                <a:gd name="T97" fmla="*/ 269 h 761"/>
                <a:gd name="T98" fmla="*/ 46 w 881"/>
                <a:gd name="T99" fmla="*/ 228 h 761"/>
                <a:gd name="T100" fmla="*/ 90 w 881"/>
                <a:gd name="T101" fmla="*/ 253 h 761"/>
                <a:gd name="T102" fmla="*/ 130 w 881"/>
                <a:gd name="T103" fmla="*/ 257 h 761"/>
                <a:gd name="T104" fmla="*/ 163 w 881"/>
                <a:gd name="T105" fmla="*/ 268 h 761"/>
                <a:gd name="T106" fmla="*/ 131 w 881"/>
                <a:gd name="T107" fmla="*/ 224 h 761"/>
                <a:gd name="T108" fmla="*/ 146 w 881"/>
                <a:gd name="T109" fmla="*/ 180 h 761"/>
                <a:gd name="T110" fmla="*/ 108 w 881"/>
                <a:gd name="T111" fmla="*/ 133 h 761"/>
                <a:gd name="T112" fmla="*/ 124 w 881"/>
                <a:gd name="T113" fmla="*/ 118 h 761"/>
                <a:gd name="T114" fmla="*/ 208 w 881"/>
                <a:gd name="T115" fmla="*/ 101 h 761"/>
                <a:gd name="T116" fmla="*/ 228 w 881"/>
                <a:gd name="T117" fmla="*/ 43 h 761"/>
                <a:gd name="T118" fmla="*/ 220 w 881"/>
                <a:gd name="T119" fmla="*/ 11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1" h="761">
                  <a:moveTo>
                    <a:pt x="263" y="0"/>
                  </a:moveTo>
                  <a:lnTo>
                    <a:pt x="266" y="1"/>
                  </a:lnTo>
                  <a:lnTo>
                    <a:pt x="269" y="3"/>
                  </a:lnTo>
                  <a:lnTo>
                    <a:pt x="272" y="6"/>
                  </a:lnTo>
                  <a:lnTo>
                    <a:pt x="275" y="8"/>
                  </a:lnTo>
                  <a:lnTo>
                    <a:pt x="277" y="10"/>
                  </a:lnTo>
                  <a:lnTo>
                    <a:pt x="286" y="18"/>
                  </a:lnTo>
                  <a:lnTo>
                    <a:pt x="290" y="22"/>
                  </a:lnTo>
                  <a:lnTo>
                    <a:pt x="303" y="34"/>
                  </a:lnTo>
                  <a:lnTo>
                    <a:pt x="306" y="36"/>
                  </a:lnTo>
                  <a:lnTo>
                    <a:pt x="309" y="38"/>
                  </a:lnTo>
                  <a:lnTo>
                    <a:pt x="310" y="39"/>
                  </a:lnTo>
                  <a:lnTo>
                    <a:pt x="312" y="41"/>
                  </a:lnTo>
                  <a:lnTo>
                    <a:pt x="315" y="41"/>
                  </a:lnTo>
                  <a:lnTo>
                    <a:pt x="317" y="41"/>
                  </a:lnTo>
                  <a:lnTo>
                    <a:pt x="320" y="41"/>
                  </a:lnTo>
                  <a:lnTo>
                    <a:pt x="323" y="41"/>
                  </a:lnTo>
                  <a:lnTo>
                    <a:pt x="325" y="40"/>
                  </a:lnTo>
                  <a:lnTo>
                    <a:pt x="327" y="39"/>
                  </a:lnTo>
                  <a:lnTo>
                    <a:pt x="340" y="33"/>
                  </a:lnTo>
                  <a:lnTo>
                    <a:pt x="343" y="31"/>
                  </a:lnTo>
                  <a:lnTo>
                    <a:pt x="346" y="30"/>
                  </a:lnTo>
                  <a:lnTo>
                    <a:pt x="350" y="28"/>
                  </a:lnTo>
                  <a:lnTo>
                    <a:pt x="353" y="28"/>
                  </a:lnTo>
                  <a:lnTo>
                    <a:pt x="356" y="28"/>
                  </a:lnTo>
                  <a:lnTo>
                    <a:pt x="358" y="28"/>
                  </a:lnTo>
                  <a:lnTo>
                    <a:pt x="360" y="28"/>
                  </a:lnTo>
                  <a:lnTo>
                    <a:pt x="362" y="28"/>
                  </a:lnTo>
                  <a:lnTo>
                    <a:pt x="365" y="30"/>
                  </a:lnTo>
                  <a:lnTo>
                    <a:pt x="367" y="31"/>
                  </a:lnTo>
                  <a:lnTo>
                    <a:pt x="370" y="33"/>
                  </a:lnTo>
                  <a:lnTo>
                    <a:pt x="376" y="38"/>
                  </a:lnTo>
                  <a:lnTo>
                    <a:pt x="380" y="41"/>
                  </a:lnTo>
                  <a:lnTo>
                    <a:pt x="385" y="45"/>
                  </a:lnTo>
                  <a:lnTo>
                    <a:pt x="389" y="47"/>
                  </a:lnTo>
                  <a:lnTo>
                    <a:pt x="391" y="48"/>
                  </a:lnTo>
                  <a:lnTo>
                    <a:pt x="394" y="49"/>
                  </a:lnTo>
                  <a:lnTo>
                    <a:pt x="405" y="53"/>
                  </a:lnTo>
                  <a:lnTo>
                    <a:pt x="409" y="55"/>
                  </a:lnTo>
                  <a:lnTo>
                    <a:pt x="412" y="56"/>
                  </a:lnTo>
                  <a:lnTo>
                    <a:pt x="415" y="57"/>
                  </a:lnTo>
                  <a:lnTo>
                    <a:pt x="417" y="58"/>
                  </a:lnTo>
                  <a:lnTo>
                    <a:pt x="418" y="60"/>
                  </a:lnTo>
                  <a:lnTo>
                    <a:pt x="419" y="61"/>
                  </a:lnTo>
                  <a:lnTo>
                    <a:pt x="420" y="62"/>
                  </a:lnTo>
                  <a:lnTo>
                    <a:pt x="420" y="64"/>
                  </a:lnTo>
                  <a:lnTo>
                    <a:pt x="421" y="66"/>
                  </a:lnTo>
                  <a:lnTo>
                    <a:pt x="421" y="68"/>
                  </a:lnTo>
                  <a:lnTo>
                    <a:pt x="421" y="69"/>
                  </a:lnTo>
                  <a:lnTo>
                    <a:pt x="420" y="71"/>
                  </a:lnTo>
                  <a:lnTo>
                    <a:pt x="420" y="74"/>
                  </a:lnTo>
                  <a:lnTo>
                    <a:pt x="419" y="76"/>
                  </a:lnTo>
                  <a:lnTo>
                    <a:pt x="418" y="77"/>
                  </a:lnTo>
                  <a:lnTo>
                    <a:pt x="417" y="78"/>
                  </a:lnTo>
                  <a:lnTo>
                    <a:pt x="416" y="80"/>
                  </a:lnTo>
                  <a:lnTo>
                    <a:pt x="414" y="81"/>
                  </a:lnTo>
                  <a:lnTo>
                    <a:pt x="411" y="83"/>
                  </a:lnTo>
                  <a:lnTo>
                    <a:pt x="410" y="83"/>
                  </a:lnTo>
                  <a:lnTo>
                    <a:pt x="410" y="84"/>
                  </a:lnTo>
                  <a:lnTo>
                    <a:pt x="410" y="85"/>
                  </a:lnTo>
                  <a:lnTo>
                    <a:pt x="410" y="86"/>
                  </a:lnTo>
                  <a:lnTo>
                    <a:pt x="411" y="87"/>
                  </a:lnTo>
                  <a:lnTo>
                    <a:pt x="412" y="88"/>
                  </a:lnTo>
                  <a:lnTo>
                    <a:pt x="415" y="88"/>
                  </a:lnTo>
                  <a:lnTo>
                    <a:pt x="418" y="89"/>
                  </a:lnTo>
                  <a:lnTo>
                    <a:pt x="420" y="90"/>
                  </a:lnTo>
                  <a:lnTo>
                    <a:pt x="422" y="91"/>
                  </a:lnTo>
                  <a:lnTo>
                    <a:pt x="430" y="91"/>
                  </a:lnTo>
                  <a:lnTo>
                    <a:pt x="434" y="92"/>
                  </a:lnTo>
                  <a:lnTo>
                    <a:pt x="436" y="93"/>
                  </a:lnTo>
                  <a:lnTo>
                    <a:pt x="438" y="93"/>
                  </a:lnTo>
                  <a:lnTo>
                    <a:pt x="440" y="94"/>
                  </a:lnTo>
                  <a:lnTo>
                    <a:pt x="442" y="95"/>
                  </a:lnTo>
                  <a:lnTo>
                    <a:pt x="443" y="96"/>
                  </a:lnTo>
                  <a:lnTo>
                    <a:pt x="445" y="98"/>
                  </a:lnTo>
                  <a:lnTo>
                    <a:pt x="447" y="99"/>
                  </a:lnTo>
                  <a:lnTo>
                    <a:pt x="449" y="101"/>
                  </a:lnTo>
                  <a:lnTo>
                    <a:pt x="452" y="105"/>
                  </a:lnTo>
                  <a:lnTo>
                    <a:pt x="458" y="113"/>
                  </a:lnTo>
                  <a:lnTo>
                    <a:pt x="460" y="115"/>
                  </a:lnTo>
                  <a:lnTo>
                    <a:pt x="462" y="116"/>
                  </a:lnTo>
                  <a:lnTo>
                    <a:pt x="463" y="118"/>
                  </a:lnTo>
                  <a:lnTo>
                    <a:pt x="465" y="119"/>
                  </a:lnTo>
                  <a:lnTo>
                    <a:pt x="467" y="121"/>
                  </a:lnTo>
                  <a:lnTo>
                    <a:pt x="469" y="121"/>
                  </a:lnTo>
                  <a:lnTo>
                    <a:pt x="472" y="123"/>
                  </a:lnTo>
                  <a:lnTo>
                    <a:pt x="475" y="123"/>
                  </a:lnTo>
                  <a:lnTo>
                    <a:pt x="476" y="123"/>
                  </a:lnTo>
                  <a:lnTo>
                    <a:pt x="478" y="123"/>
                  </a:lnTo>
                  <a:lnTo>
                    <a:pt x="480" y="123"/>
                  </a:lnTo>
                  <a:lnTo>
                    <a:pt x="482" y="123"/>
                  </a:lnTo>
                  <a:lnTo>
                    <a:pt x="484" y="123"/>
                  </a:lnTo>
                  <a:lnTo>
                    <a:pt x="487" y="122"/>
                  </a:lnTo>
                  <a:lnTo>
                    <a:pt x="490" y="121"/>
                  </a:lnTo>
                  <a:lnTo>
                    <a:pt x="493" y="119"/>
                  </a:lnTo>
                  <a:lnTo>
                    <a:pt x="501" y="115"/>
                  </a:lnTo>
                  <a:lnTo>
                    <a:pt x="504" y="113"/>
                  </a:lnTo>
                  <a:lnTo>
                    <a:pt x="507" y="113"/>
                  </a:lnTo>
                  <a:lnTo>
                    <a:pt x="508" y="112"/>
                  </a:lnTo>
                  <a:lnTo>
                    <a:pt x="510" y="112"/>
                  </a:lnTo>
                  <a:lnTo>
                    <a:pt x="512" y="112"/>
                  </a:lnTo>
                  <a:lnTo>
                    <a:pt x="514" y="113"/>
                  </a:lnTo>
                  <a:lnTo>
                    <a:pt x="517" y="113"/>
                  </a:lnTo>
                  <a:lnTo>
                    <a:pt x="532" y="117"/>
                  </a:lnTo>
                  <a:lnTo>
                    <a:pt x="537" y="118"/>
                  </a:lnTo>
                  <a:lnTo>
                    <a:pt x="549" y="122"/>
                  </a:lnTo>
                  <a:lnTo>
                    <a:pt x="556" y="124"/>
                  </a:lnTo>
                  <a:lnTo>
                    <a:pt x="561" y="126"/>
                  </a:lnTo>
                  <a:lnTo>
                    <a:pt x="564" y="128"/>
                  </a:lnTo>
                  <a:lnTo>
                    <a:pt x="564" y="128"/>
                  </a:lnTo>
                  <a:lnTo>
                    <a:pt x="564" y="129"/>
                  </a:lnTo>
                  <a:lnTo>
                    <a:pt x="564" y="131"/>
                  </a:lnTo>
                  <a:lnTo>
                    <a:pt x="564" y="132"/>
                  </a:lnTo>
                  <a:lnTo>
                    <a:pt x="564" y="133"/>
                  </a:lnTo>
                  <a:lnTo>
                    <a:pt x="565" y="133"/>
                  </a:lnTo>
                  <a:lnTo>
                    <a:pt x="566" y="134"/>
                  </a:lnTo>
                  <a:lnTo>
                    <a:pt x="567" y="134"/>
                  </a:lnTo>
                  <a:lnTo>
                    <a:pt x="568" y="135"/>
                  </a:lnTo>
                  <a:lnTo>
                    <a:pt x="570" y="135"/>
                  </a:lnTo>
                  <a:lnTo>
                    <a:pt x="577" y="134"/>
                  </a:lnTo>
                  <a:lnTo>
                    <a:pt x="582" y="134"/>
                  </a:lnTo>
                  <a:lnTo>
                    <a:pt x="586" y="133"/>
                  </a:lnTo>
                  <a:lnTo>
                    <a:pt x="594" y="131"/>
                  </a:lnTo>
                  <a:lnTo>
                    <a:pt x="598" y="131"/>
                  </a:lnTo>
                  <a:lnTo>
                    <a:pt x="602" y="131"/>
                  </a:lnTo>
                  <a:lnTo>
                    <a:pt x="610" y="130"/>
                  </a:lnTo>
                  <a:lnTo>
                    <a:pt x="618" y="128"/>
                  </a:lnTo>
                  <a:lnTo>
                    <a:pt x="622" y="128"/>
                  </a:lnTo>
                  <a:lnTo>
                    <a:pt x="624" y="128"/>
                  </a:lnTo>
                  <a:lnTo>
                    <a:pt x="627" y="128"/>
                  </a:lnTo>
                  <a:lnTo>
                    <a:pt x="629" y="129"/>
                  </a:lnTo>
                  <a:lnTo>
                    <a:pt x="632" y="130"/>
                  </a:lnTo>
                  <a:lnTo>
                    <a:pt x="634" y="131"/>
                  </a:lnTo>
                  <a:lnTo>
                    <a:pt x="635" y="131"/>
                  </a:lnTo>
                  <a:lnTo>
                    <a:pt x="637" y="132"/>
                  </a:lnTo>
                  <a:lnTo>
                    <a:pt x="638" y="133"/>
                  </a:lnTo>
                  <a:lnTo>
                    <a:pt x="639" y="134"/>
                  </a:lnTo>
                  <a:lnTo>
                    <a:pt x="640" y="136"/>
                  </a:lnTo>
                  <a:lnTo>
                    <a:pt x="642" y="138"/>
                  </a:lnTo>
                  <a:lnTo>
                    <a:pt x="642" y="140"/>
                  </a:lnTo>
                  <a:lnTo>
                    <a:pt x="643" y="143"/>
                  </a:lnTo>
                  <a:lnTo>
                    <a:pt x="644" y="147"/>
                  </a:lnTo>
                  <a:lnTo>
                    <a:pt x="645" y="151"/>
                  </a:lnTo>
                  <a:lnTo>
                    <a:pt x="646" y="155"/>
                  </a:lnTo>
                  <a:lnTo>
                    <a:pt x="647" y="161"/>
                  </a:lnTo>
                  <a:lnTo>
                    <a:pt x="647" y="166"/>
                  </a:lnTo>
                  <a:lnTo>
                    <a:pt x="646" y="172"/>
                  </a:lnTo>
                  <a:lnTo>
                    <a:pt x="645" y="180"/>
                  </a:lnTo>
                  <a:lnTo>
                    <a:pt x="644" y="185"/>
                  </a:lnTo>
                  <a:lnTo>
                    <a:pt x="644" y="190"/>
                  </a:lnTo>
                  <a:lnTo>
                    <a:pt x="644" y="194"/>
                  </a:lnTo>
                  <a:lnTo>
                    <a:pt x="644" y="197"/>
                  </a:lnTo>
                  <a:lnTo>
                    <a:pt x="645" y="200"/>
                  </a:lnTo>
                  <a:lnTo>
                    <a:pt x="647" y="203"/>
                  </a:lnTo>
                  <a:lnTo>
                    <a:pt x="649" y="208"/>
                  </a:lnTo>
                  <a:lnTo>
                    <a:pt x="650" y="210"/>
                  </a:lnTo>
                  <a:lnTo>
                    <a:pt x="652" y="211"/>
                  </a:lnTo>
                  <a:lnTo>
                    <a:pt x="653" y="213"/>
                  </a:lnTo>
                  <a:lnTo>
                    <a:pt x="655" y="215"/>
                  </a:lnTo>
                  <a:lnTo>
                    <a:pt x="662" y="221"/>
                  </a:lnTo>
                  <a:lnTo>
                    <a:pt x="669" y="227"/>
                  </a:lnTo>
                  <a:lnTo>
                    <a:pt x="672" y="229"/>
                  </a:lnTo>
                  <a:lnTo>
                    <a:pt x="679" y="235"/>
                  </a:lnTo>
                  <a:lnTo>
                    <a:pt x="682" y="238"/>
                  </a:lnTo>
                  <a:lnTo>
                    <a:pt x="684" y="240"/>
                  </a:lnTo>
                  <a:lnTo>
                    <a:pt x="688" y="243"/>
                  </a:lnTo>
                  <a:lnTo>
                    <a:pt x="704" y="252"/>
                  </a:lnTo>
                  <a:lnTo>
                    <a:pt x="713" y="257"/>
                  </a:lnTo>
                  <a:lnTo>
                    <a:pt x="715" y="258"/>
                  </a:lnTo>
                  <a:lnTo>
                    <a:pt x="716" y="258"/>
                  </a:lnTo>
                  <a:lnTo>
                    <a:pt x="719" y="258"/>
                  </a:lnTo>
                  <a:lnTo>
                    <a:pt x="720" y="258"/>
                  </a:lnTo>
                  <a:lnTo>
                    <a:pt x="726" y="255"/>
                  </a:lnTo>
                  <a:lnTo>
                    <a:pt x="729" y="255"/>
                  </a:lnTo>
                  <a:lnTo>
                    <a:pt x="731" y="254"/>
                  </a:lnTo>
                  <a:lnTo>
                    <a:pt x="734" y="254"/>
                  </a:lnTo>
                  <a:lnTo>
                    <a:pt x="736" y="254"/>
                  </a:lnTo>
                  <a:lnTo>
                    <a:pt x="739" y="255"/>
                  </a:lnTo>
                  <a:lnTo>
                    <a:pt x="750" y="258"/>
                  </a:lnTo>
                  <a:lnTo>
                    <a:pt x="753" y="259"/>
                  </a:lnTo>
                  <a:lnTo>
                    <a:pt x="756" y="259"/>
                  </a:lnTo>
                  <a:lnTo>
                    <a:pt x="760" y="260"/>
                  </a:lnTo>
                  <a:lnTo>
                    <a:pt x="766" y="260"/>
                  </a:lnTo>
                  <a:lnTo>
                    <a:pt x="771" y="260"/>
                  </a:lnTo>
                  <a:lnTo>
                    <a:pt x="776" y="260"/>
                  </a:lnTo>
                  <a:lnTo>
                    <a:pt x="779" y="260"/>
                  </a:lnTo>
                  <a:lnTo>
                    <a:pt x="782" y="260"/>
                  </a:lnTo>
                  <a:lnTo>
                    <a:pt x="784" y="259"/>
                  </a:lnTo>
                  <a:lnTo>
                    <a:pt x="786" y="258"/>
                  </a:lnTo>
                  <a:lnTo>
                    <a:pt x="790" y="257"/>
                  </a:lnTo>
                  <a:lnTo>
                    <a:pt x="798" y="254"/>
                  </a:lnTo>
                  <a:lnTo>
                    <a:pt x="801" y="253"/>
                  </a:lnTo>
                  <a:lnTo>
                    <a:pt x="806" y="252"/>
                  </a:lnTo>
                  <a:lnTo>
                    <a:pt x="813" y="250"/>
                  </a:lnTo>
                  <a:lnTo>
                    <a:pt x="816" y="250"/>
                  </a:lnTo>
                  <a:lnTo>
                    <a:pt x="818" y="249"/>
                  </a:lnTo>
                  <a:lnTo>
                    <a:pt x="822" y="247"/>
                  </a:lnTo>
                  <a:lnTo>
                    <a:pt x="824" y="246"/>
                  </a:lnTo>
                  <a:lnTo>
                    <a:pt x="826" y="246"/>
                  </a:lnTo>
                  <a:lnTo>
                    <a:pt x="828" y="246"/>
                  </a:lnTo>
                  <a:lnTo>
                    <a:pt x="829" y="246"/>
                  </a:lnTo>
                  <a:lnTo>
                    <a:pt x="831" y="247"/>
                  </a:lnTo>
                  <a:lnTo>
                    <a:pt x="832" y="247"/>
                  </a:lnTo>
                  <a:lnTo>
                    <a:pt x="834" y="248"/>
                  </a:lnTo>
                  <a:lnTo>
                    <a:pt x="837" y="250"/>
                  </a:lnTo>
                  <a:lnTo>
                    <a:pt x="841" y="252"/>
                  </a:lnTo>
                  <a:lnTo>
                    <a:pt x="841" y="253"/>
                  </a:lnTo>
                  <a:lnTo>
                    <a:pt x="842" y="253"/>
                  </a:lnTo>
                  <a:lnTo>
                    <a:pt x="843" y="255"/>
                  </a:lnTo>
                  <a:lnTo>
                    <a:pt x="844" y="255"/>
                  </a:lnTo>
                  <a:lnTo>
                    <a:pt x="844" y="257"/>
                  </a:lnTo>
                  <a:lnTo>
                    <a:pt x="845" y="258"/>
                  </a:lnTo>
                  <a:lnTo>
                    <a:pt x="845" y="260"/>
                  </a:lnTo>
                  <a:lnTo>
                    <a:pt x="845" y="261"/>
                  </a:lnTo>
                  <a:lnTo>
                    <a:pt x="844" y="263"/>
                  </a:lnTo>
                  <a:lnTo>
                    <a:pt x="843" y="268"/>
                  </a:lnTo>
                  <a:lnTo>
                    <a:pt x="843" y="268"/>
                  </a:lnTo>
                  <a:lnTo>
                    <a:pt x="843" y="270"/>
                  </a:lnTo>
                  <a:lnTo>
                    <a:pt x="843" y="270"/>
                  </a:lnTo>
                  <a:lnTo>
                    <a:pt x="844" y="272"/>
                  </a:lnTo>
                  <a:lnTo>
                    <a:pt x="844" y="273"/>
                  </a:lnTo>
                  <a:lnTo>
                    <a:pt x="845" y="275"/>
                  </a:lnTo>
                  <a:lnTo>
                    <a:pt x="848" y="278"/>
                  </a:lnTo>
                  <a:lnTo>
                    <a:pt x="851" y="280"/>
                  </a:lnTo>
                  <a:lnTo>
                    <a:pt x="854" y="282"/>
                  </a:lnTo>
                  <a:lnTo>
                    <a:pt x="861" y="287"/>
                  </a:lnTo>
                  <a:lnTo>
                    <a:pt x="863" y="288"/>
                  </a:lnTo>
                  <a:lnTo>
                    <a:pt x="865" y="290"/>
                  </a:lnTo>
                  <a:lnTo>
                    <a:pt x="868" y="293"/>
                  </a:lnTo>
                  <a:lnTo>
                    <a:pt x="874" y="300"/>
                  </a:lnTo>
                  <a:lnTo>
                    <a:pt x="880" y="307"/>
                  </a:lnTo>
                  <a:lnTo>
                    <a:pt x="881" y="308"/>
                  </a:lnTo>
                  <a:lnTo>
                    <a:pt x="881" y="308"/>
                  </a:lnTo>
                  <a:lnTo>
                    <a:pt x="880" y="309"/>
                  </a:lnTo>
                  <a:lnTo>
                    <a:pt x="879" y="310"/>
                  </a:lnTo>
                  <a:lnTo>
                    <a:pt x="876" y="315"/>
                  </a:lnTo>
                  <a:lnTo>
                    <a:pt x="873" y="317"/>
                  </a:lnTo>
                  <a:lnTo>
                    <a:pt x="871" y="319"/>
                  </a:lnTo>
                  <a:lnTo>
                    <a:pt x="867" y="321"/>
                  </a:lnTo>
                  <a:lnTo>
                    <a:pt x="864" y="323"/>
                  </a:lnTo>
                  <a:lnTo>
                    <a:pt x="859" y="325"/>
                  </a:lnTo>
                  <a:lnTo>
                    <a:pt x="852" y="326"/>
                  </a:lnTo>
                  <a:lnTo>
                    <a:pt x="846" y="328"/>
                  </a:lnTo>
                  <a:lnTo>
                    <a:pt x="844" y="328"/>
                  </a:lnTo>
                  <a:lnTo>
                    <a:pt x="842" y="329"/>
                  </a:lnTo>
                  <a:lnTo>
                    <a:pt x="841" y="330"/>
                  </a:lnTo>
                  <a:lnTo>
                    <a:pt x="840" y="330"/>
                  </a:lnTo>
                  <a:lnTo>
                    <a:pt x="839" y="332"/>
                  </a:lnTo>
                  <a:lnTo>
                    <a:pt x="838" y="334"/>
                  </a:lnTo>
                  <a:lnTo>
                    <a:pt x="835" y="340"/>
                  </a:lnTo>
                  <a:lnTo>
                    <a:pt x="831" y="345"/>
                  </a:lnTo>
                  <a:lnTo>
                    <a:pt x="831" y="348"/>
                  </a:lnTo>
                  <a:lnTo>
                    <a:pt x="830" y="349"/>
                  </a:lnTo>
                  <a:lnTo>
                    <a:pt x="829" y="351"/>
                  </a:lnTo>
                  <a:lnTo>
                    <a:pt x="827" y="360"/>
                  </a:lnTo>
                  <a:lnTo>
                    <a:pt x="826" y="363"/>
                  </a:lnTo>
                  <a:lnTo>
                    <a:pt x="826" y="365"/>
                  </a:lnTo>
                  <a:lnTo>
                    <a:pt x="825" y="367"/>
                  </a:lnTo>
                  <a:lnTo>
                    <a:pt x="824" y="369"/>
                  </a:lnTo>
                  <a:lnTo>
                    <a:pt x="819" y="376"/>
                  </a:lnTo>
                  <a:lnTo>
                    <a:pt x="817" y="378"/>
                  </a:lnTo>
                  <a:lnTo>
                    <a:pt x="816" y="381"/>
                  </a:lnTo>
                  <a:lnTo>
                    <a:pt x="814" y="388"/>
                  </a:lnTo>
                  <a:lnTo>
                    <a:pt x="813" y="391"/>
                  </a:lnTo>
                  <a:lnTo>
                    <a:pt x="811" y="393"/>
                  </a:lnTo>
                  <a:lnTo>
                    <a:pt x="810" y="395"/>
                  </a:lnTo>
                  <a:lnTo>
                    <a:pt x="808" y="397"/>
                  </a:lnTo>
                  <a:lnTo>
                    <a:pt x="801" y="405"/>
                  </a:lnTo>
                  <a:lnTo>
                    <a:pt x="797" y="410"/>
                  </a:lnTo>
                  <a:lnTo>
                    <a:pt x="795" y="411"/>
                  </a:lnTo>
                  <a:lnTo>
                    <a:pt x="791" y="415"/>
                  </a:lnTo>
                  <a:lnTo>
                    <a:pt x="789" y="420"/>
                  </a:lnTo>
                  <a:lnTo>
                    <a:pt x="786" y="423"/>
                  </a:lnTo>
                  <a:lnTo>
                    <a:pt x="785" y="425"/>
                  </a:lnTo>
                  <a:lnTo>
                    <a:pt x="784" y="428"/>
                  </a:lnTo>
                  <a:lnTo>
                    <a:pt x="783" y="431"/>
                  </a:lnTo>
                  <a:lnTo>
                    <a:pt x="784" y="432"/>
                  </a:lnTo>
                  <a:lnTo>
                    <a:pt x="784" y="434"/>
                  </a:lnTo>
                  <a:lnTo>
                    <a:pt x="785" y="435"/>
                  </a:lnTo>
                  <a:lnTo>
                    <a:pt x="786" y="436"/>
                  </a:lnTo>
                  <a:lnTo>
                    <a:pt x="787" y="437"/>
                  </a:lnTo>
                  <a:lnTo>
                    <a:pt x="789" y="437"/>
                  </a:lnTo>
                  <a:lnTo>
                    <a:pt x="795" y="437"/>
                  </a:lnTo>
                  <a:lnTo>
                    <a:pt x="798" y="437"/>
                  </a:lnTo>
                  <a:lnTo>
                    <a:pt x="799" y="438"/>
                  </a:lnTo>
                  <a:lnTo>
                    <a:pt x="801" y="439"/>
                  </a:lnTo>
                  <a:lnTo>
                    <a:pt x="803" y="440"/>
                  </a:lnTo>
                  <a:lnTo>
                    <a:pt x="804" y="440"/>
                  </a:lnTo>
                  <a:lnTo>
                    <a:pt x="806" y="442"/>
                  </a:lnTo>
                  <a:lnTo>
                    <a:pt x="808" y="445"/>
                  </a:lnTo>
                  <a:lnTo>
                    <a:pt x="809" y="446"/>
                  </a:lnTo>
                  <a:lnTo>
                    <a:pt x="812" y="453"/>
                  </a:lnTo>
                  <a:lnTo>
                    <a:pt x="814" y="455"/>
                  </a:lnTo>
                  <a:lnTo>
                    <a:pt x="816" y="457"/>
                  </a:lnTo>
                  <a:lnTo>
                    <a:pt x="818" y="460"/>
                  </a:lnTo>
                  <a:lnTo>
                    <a:pt x="821" y="462"/>
                  </a:lnTo>
                  <a:lnTo>
                    <a:pt x="824" y="463"/>
                  </a:lnTo>
                  <a:lnTo>
                    <a:pt x="828" y="465"/>
                  </a:lnTo>
                  <a:lnTo>
                    <a:pt x="835" y="468"/>
                  </a:lnTo>
                  <a:lnTo>
                    <a:pt x="838" y="470"/>
                  </a:lnTo>
                  <a:lnTo>
                    <a:pt x="841" y="471"/>
                  </a:lnTo>
                  <a:lnTo>
                    <a:pt x="844" y="473"/>
                  </a:lnTo>
                  <a:lnTo>
                    <a:pt x="846" y="475"/>
                  </a:lnTo>
                  <a:lnTo>
                    <a:pt x="850" y="477"/>
                  </a:lnTo>
                  <a:lnTo>
                    <a:pt x="851" y="479"/>
                  </a:lnTo>
                  <a:lnTo>
                    <a:pt x="854" y="480"/>
                  </a:lnTo>
                  <a:lnTo>
                    <a:pt x="856" y="482"/>
                  </a:lnTo>
                  <a:lnTo>
                    <a:pt x="857" y="484"/>
                  </a:lnTo>
                  <a:lnTo>
                    <a:pt x="859" y="486"/>
                  </a:lnTo>
                  <a:lnTo>
                    <a:pt x="861" y="490"/>
                  </a:lnTo>
                  <a:lnTo>
                    <a:pt x="866" y="499"/>
                  </a:lnTo>
                  <a:lnTo>
                    <a:pt x="867" y="502"/>
                  </a:lnTo>
                  <a:lnTo>
                    <a:pt x="868" y="502"/>
                  </a:lnTo>
                  <a:lnTo>
                    <a:pt x="866" y="504"/>
                  </a:lnTo>
                  <a:lnTo>
                    <a:pt x="862" y="509"/>
                  </a:lnTo>
                  <a:lnTo>
                    <a:pt x="861" y="510"/>
                  </a:lnTo>
                  <a:lnTo>
                    <a:pt x="860" y="510"/>
                  </a:lnTo>
                  <a:lnTo>
                    <a:pt x="859" y="511"/>
                  </a:lnTo>
                  <a:lnTo>
                    <a:pt x="858" y="512"/>
                  </a:lnTo>
                  <a:lnTo>
                    <a:pt x="854" y="512"/>
                  </a:lnTo>
                  <a:lnTo>
                    <a:pt x="854" y="512"/>
                  </a:lnTo>
                  <a:lnTo>
                    <a:pt x="853" y="512"/>
                  </a:lnTo>
                  <a:lnTo>
                    <a:pt x="852" y="514"/>
                  </a:lnTo>
                  <a:lnTo>
                    <a:pt x="852" y="516"/>
                  </a:lnTo>
                  <a:lnTo>
                    <a:pt x="851" y="517"/>
                  </a:lnTo>
                  <a:lnTo>
                    <a:pt x="851" y="520"/>
                  </a:lnTo>
                  <a:lnTo>
                    <a:pt x="849" y="522"/>
                  </a:lnTo>
                  <a:lnTo>
                    <a:pt x="846" y="525"/>
                  </a:lnTo>
                  <a:lnTo>
                    <a:pt x="846" y="526"/>
                  </a:lnTo>
                  <a:lnTo>
                    <a:pt x="846" y="527"/>
                  </a:lnTo>
                  <a:lnTo>
                    <a:pt x="846" y="527"/>
                  </a:lnTo>
                  <a:lnTo>
                    <a:pt x="846" y="528"/>
                  </a:lnTo>
                  <a:lnTo>
                    <a:pt x="848" y="529"/>
                  </a:lnTo>
                  <a:lnTo>
                    <a:pt x="848" y="530"/>
                  </a:lnTo>
                  <a:lnTo>
                    <a:pt x="847" y="530"/>
                  </a:lnTo>
                  <a:lnTo>
                    <a:pt x="845" y="532"/>
                  </a:lnTo>
                  <a:lnTo>
                    <a:pt x="842" y="534"/>
                  </a:lnTo>
                  <a:lnTo>
                    <a:pt x="841" y="535"/>
                  </a:lnTo>
                  <a:lnTo>
                    <a:pt x="839" y="535"/>
                  </a:lnTo>
                  <a:lnTo>
                    <a:pt x="837" y="536"/>
                  </a:lnTo>
                  <a:lnTo>
                    <a:pt x="836" y="537"/>
                  </a:lnTo>
                  <a:lnTo>
                    <a:pt x="836" y="538"/>
                  </a:lnTo>
                  <a:lnTo>
                    <a:pt x="834" y="540"/>
                  </a:lnTo>
                  <a:lnTo>
                    <a:pt x="830" y="551"/>
                  </a:lnTo>
                  <a:lnTo>
                    <a:pt x="829" y="555"/>
                  </a:lnTo>
                  <a:lnTo>
                    <a:pt x="828" y="557"/>
                  </a:lnTo>
                  <a:lnTo>
                    <a:pt x="827" y="557"/>
                  </a:lnTo>
                  <a:lnTo>
                    <a:pt x="826" y="557"/>
                  </a:lnTo>
                  <a:lnTo>
                    <a:pt x="824" y="556"/>
                  </a:lnTo>
                  <a:lnTo>
                    <a:pt x="821" y="555"/>
                  </a:lnTo>
                  <a:lnTo>
                    <a:pt x="819" y="553"/>
                  </a:lnTo>
                  <a:lnTo>
                    <a:pt x="814" y="550"/>
                  </a:lnTo>
                  <a:lnTo>
                    <a:pt x="809" y="546"/>
                  </a:lnTo>
                  <a:lnTo>
                    <a:pt x="805" y="542"/>
                  </a:lnTo>
                  <a:lnTo>
                    <a:pt x="801" y="538"/>
                  </a:lnTo>
                  <a:lnTo>
                    <a:pt x="797" y="534"/>
                  </a:lnTo>
                  <a:lnTo>
                    <a:pt x="789" y="523"/>
                  </a:lnTo>
                  <a:lnTo>
                    <a:pt x="785" y="519"/>
                  </a:lnTo>
                  <a:lnTo>
                    <a:pt x="782" y="516"/>
                  </a:lnTo>
                  <a:lnTo>
                    <a:pt x="779" y="514"/>
                  </a:lnTo>
                  <a:lnTo>
                    <a:pt x="776" y="511"/>
                  </a:lnTo>
                  <a:lnTo>
                    <a:pt x="772" y="509"/>
                  </a:lnTo>
                  <a:lnTo>
                    <a:pt x="769" y="507"/>
                  </a:lnTo>
                  <a:lnTo>
                    <a:pt x="765" y="505"/>
                  </a:lnTo>
                  <a:lnTo>
                    <a:pt x="762" y="504"/>
                  </a:lnTo>
                  <a:lnTo>
                    <a:pt x="760" y="503"/>
                  </a:lnTo>
                  <a:lnTo>
                    <a:pt x="756" y="502"/>
                  </a:lnTo>
                  <a:lnTo>
                    <a:pt x="749" y="501"/>
                  </a:lnTo>
                  <a:lnTo>
                    <a:pt x="746" y="500"/>
                  </a:lnTo>
                  <a:lnTo>
                    <a:pt x="733" y="497"/>
                  </a:lnTo>
                  <a:lnTo>
                    <a:pt x="729" y="496"/>
                  </a:lnTo>
                  <a:lnTo>
                    <a:pt x="726" y="495"/>
                  </a:lnTo>
                  <a:lnTo>
                    <a:pt x="722" y="494"/>
                  </a:lnTo>
                  <a:lnTo>
                    <a:pt x="719" y="492"/>
                  </a:lnTo>
                  <a:lnTo>
                    <a:pt x="716" y="491"/>
                  </a:lnTo>
                  <a:lnTo>
                    <a:pt x="713" y="490"/>
                  </a:lnTo>
                  <a:lnTo>
                    <a:pt x="706" y="485"/>
                  </a:lnTo>
                  <a:lnTo>
                    <a:pt x="694" y="477"/>
                  </a:lnTo>
                  <a:lnTo>
                    <a:pt x="682" y="468"/>
                  </a:lnTo>
                  <a:lnTo>
                    <a:pt x="678" y="465"/>
                  </a:lnTo>
                  <a:lnTo>
                    <a:pt x="674" y="463"/>
                  </a:lnTo>
                  <a:lnTo>
                    <a:pt x="668" y="460"/>
                  </a:lnTo>
                  <a:lnTo>
                    <a:pt x="663" y="458"/>
                  </a:lnTo>
                  <a:lnTo>
                    <a:pt x="657" y="457"/>
                  </a:lnTo>
                  <a:lnTo>
                    <a:pt x="654" y="456"/>
                  </a:lnTo>
                  <a:lnTo>
                    <a:pt x="652" y="455"/>
                  </a:lnTo>
                  <a:lnTo>
                    <a:pt x="647" y="455"/>
                  </a:lnTo>
                  <a:lnTo>
                    <a:pt x="641" y="455"/>
                  </a:lnTo>
                  <a:lnTo>
                    <a:pt x="636" y="455"/>
                  </a:lnTo>
                  <a:lnTo>
                    <a:pt x="628" y="456"/>
                  </a:lnTo>
                  <a:lnTo>
                    <a:pt x="625" y="456"/>
                  </a:lnTo>
                  <a:lnTo>
                    <a:pt x="622" y="456"/>
                  </a:lnTo>
                  <a:lnTo>
                    <a:pt x="617" y="455"/>
                  </a:lnTo>
                  <a:lnTo>
                    <a:pt x="612" y="455"/>
                  </a:lnTo>
                  <a:lnTo>
                    <a:pt x="609" y="454"/>
                  </a:lnTo>
                  <a:lnTo>
                    <a:pt x="607" y="453"/>
                  </a:lnTo>
                  <a:lnTo>
                    <a:pt x="604" y="452"/>
                  </a:lnTo>
                  <a:lnTo>
                    <a:pt x="598" y="449"/>
                  </a:lnTo>
                  <a:lnTo>
                    <a:pt x="595" y="448"/>
                  </a:lnTo>
                  <a:lnTo>
                    <a:pt x="594" y="447"/>
                  </a:lnTo>
                  <a:lnTo>
                    <a:pt x="593" y="447"/>
                  </a:lnTo>
                  <a:lnTo>
                    <a:pt x="592" y="447"/>
                  </a:lnTo>
                  <a:lnTo>
                    <a:pt x="591" y="447"/>
                  </a:lnTo>
                  <a:lnTo>
                    <a:pt x="590" y="448"/>
                  </a:lnTo>
                  <a:lnTo>
                    <a:pt x="589" y="449"/>
                  </a:lnTo>
                  <a:lnTo>
                    <a:pt x="588" y="450"/>
                  </a:lnTo>
                  <a:lnTo>
                    <a:pt x="587" y="452"/>
                  </a:lnTo>
                  <a:lnTo>
                    <a:pt x="586" y="455"/>
                  </a:lnTo>
                  <a:lnTo>
                    <a:pt x="584" y="462"/>
                  </a:lnTo>
                  <a:lnTo>
                    <a:pt x="582" y="467"/>
                  </a:lnTo>
                  <a:lnTo>
                    <a:pt x="579" y="472"/>
                  </a:lnTo>
                  <a:lnTo>
                    <a:pt x="576" y="479"/>
                  </a:lnTo>
                  <a:lnTo>
                    <a:pt x="574" y="482"/>
                  </a:lnTo>
                  <a:lnTo>
                    <a:pt x="572" y="484"/>
                  </a:lnTo>
                  <a:lnTo>
                    <a:pt x="570" y="485"/>
                  </a:lnTo>
                  <a:lnTo>
                    <a:pt x="568" y="487"/>
                  </a:lnTo>
                  <a:lnTo>
                    <a:pt x="567" y="487"/>
                  </a:lnTo>
                  <a:lnTo>
                    <a:pt x="565" y="488"/>
                  </a:lnTo>
                  <a:lnTo>
                    <a:pt x="562" y="489"/>
                  </a:lnTo>
                  <a:lnTo>
                    <a:pt x="559" y="489"/>
                  </a:lnTo>
                  <a:lnTo>
                    <a:pt x="551" y="490"/>
                  </a:lnTo>
                  <a:lnTo>
                    <a:pt x="544" y="490"/>
                  </a:lnTo>
                  <a:lnTo>
                    <a:pt x="539" y="491"/>
                  </a:lnTo>
                  <a:lnTo>
                    <a:pt x="534" y="492"/>
                  </a:lnTo>
                  <a:lnTo>
                    <a:pt x="529" y="493"/>
                  </a:lnTo>
                  <a:lnTo>
                    <a:pt x="524" y="495"/>
                  </a:lnTo>
                  <a:lnTo>
                    <a:pt x="519" y="497"/>
                  </a:lnTo>
                  <a:lnTo>
                    <a:pt x="509" y="502"/>
                  </a:lnTo>
                  <a:lnTo>
                    <a:pt x="506" y="504"/>
                  </a:lnTo>
                  <a:lnTo>
                    <a:pt x="503" y="505"/>
                  </a:lnTo>
                  <a:lnTo>
                    <a:pt x="501" y="505"/>
                  </a:lnTo>
                  <a:lnTo>
                    <a:pt x="499" y="505"/>
                  </a:lnTo>
                  <a:lnTo>
                    <a:pt x="492" y="506"/>
                  </a:lnTo>
                  <a:lnTo>
                    <a:pt x="488" y="506"/>
                  </a:lnTo>
                  <a:lnTo>
                    <a:pt x="487" y="506"/>
                  </a:lnTo>
                  <a:lnTo>
                    <a:pt x="486" y="506"/>
                  </a:lnTo>
                  <a:lnTo>
                    <a:pt x="484" y="505"/>
                  </a:lnTo>
                  <a:lnTo>
                    <a:pt x="483" y="505"/>
                  </a:lnTo>
                  <a:lnTo>
                    <a:pt x="482" y="504"/>
                  </a:lnTo>
                  <a:lnTo>
                    <a:pt x="482" y="503"/>
                  </a:lnTo>
                  <a:lnTo>
                    <a:pt x="481" y="502"/>
                  </a:lnTo>
                  <a:lnTo>
                    <a:pt x="480" y="500"/>
                  </a:lnTo>
                  <a:lnTo>
                    <a:pt x="480" y="498"/>
                  </a:lnTo>
                  <a:lnTo>
                    <a:pt x="480" y="495"/>
                  </a:lnTo>
                  <a:lnTo>
                    <a:pt x="481" y="485"/>
                  </a:lnTo>
                  <a:lnTo>
                    <a:pt x="481" y="482"/>
                  </a:lnTo>
                  <a:lnTo>
                    <a:pt x="480" y="480"/>
                  </a:lnTo>
                  <a:lnTo>
                    <a:pt x="480" y="477"/>
                  </a:lnTo>
                  <a:lnTo>
                    <a:pt x="480" y="475"/>
                  </a:lnTo>
                  <a:lnTo>
                    <a:pt x="478" y="468"/>
                  </a:lnTo>
                  <a:lnTo>
                    <a:pt x="477" y="465"/>
                  </a:lnTo>
                  <a:lnTo>
                    <a:pt x="475" y="457"/>
                  </a:lnTo>
                  <a:lnTo>
                    <a:pt x="472" y="451"/>
                  </a:lnTo>
                  <a:lnTo>
                    <a:pt x="471" y="447"/>
                  </a:lnTo>
                  <a:lnTo>
                    <a:pt x="470" y="445"/>
                  </a:lnTo>
                  <a:lnTo>
                    <a:pt x="468" y="443"/>
                  </a:lnTo>
                  <a:lnTo>
                    <a:pt x="467" y="442"/>
                  </a:lnTo>
                  <a:lnTo>
                    <a:pt x="465" y="440"/>
                  </a:lnTo>
                  <a:lnTo>
                    <a:pt x="461" y="438"/>
                  </a:lnTo>
                  <a:lnTo>
                    <a:pt x="457" y="437"/>
                  </a:lnTo>
                  <a:lnTo>
                    <a:pt x="454" y="435"/>
                  </a:lnTo>
                  <a:lnTo>
                    <a:pt x="450" y="435"/>
                  </a:lnTo>
                  <a:lnTo>
                    <a:pt x="445" y="434"/>
                  </a:lnTo>
                  <a:lnTo>
                    <a:pt x="438" y="434"/>
                  </a:lnTo>
                  <a:lnTo>
                    <a:pt x="434" y="433"/>
                  </a:lnTo>
                  <a:lnTo>
                    <a:pt x="425" y="434"/>
                  </a:lnTo>
                  <a:lnTo>
                    <a:pt x="422" y="433"/>
                  </a:lnTo>
                  <a:lnTo>
                    <a:pt x="415" y="432"/>
                  </a:lnTo>
                  <a:lnTo>
                    <a:pt x="412" y="432"/>
                  </a:lnTo>
                  <a:lnTo>
                    <a:pt x="409" y="431"/>
                  </a:lnTo>
                  <a:lnTo>
                    <a:pt x="405" y="430"/>
                  </a:lnTo>
                  <a:lnTo>
                    <a:pt x="403" y="430"/>
                  </a:lnTo>
                  <a:lnTo>
                    <a:pt x="400" y="428"/>
                  </a:lnTo>
                  <a:lnTo>
                    <a:pt x="398" y="427"/>
                  </a:lnTo>
                  <a:lnTo>
                    <a:pt x="396" y="426"/>
                  </a:lnTo>
                  <a:lnTo>
                    <a:pt x="395" y="425"/>
                  </a:lnTo>
                  <a:lnTo>
                    <a:pt x="389" y="419"/>
                  </a:lnTo>
                  <a:lnTo>
                    <a:pt x="386" y="417"/>
                  </a:lnTo>
                  <a:lnTo>
                    <a:pt x="385" y="416"/>
                  </a:lnTo>
                  <a:lnTo>
                    <a:pt x="383" y="415"/>
                  </a:lnTo>
                  <a:lnTo>
                    <a:pt x="382" y="414"/>
                  </a:lnTo>
                  <a:lnTo>
                    <a:pt x="380" y="413"/>
                  </a:lnTo>
                  <a:lnTo>
                    <a:pt x="377" y="412"/>
                  </a:lnTo>
                  <a:lnTo>
                    <a:pt x="375" y="412"/>
                  </a:lnTo>
                  <a:lnTo>
                    <a:pt x="367" y="411"/>
                  </a:lnTo>
                  <a:lnTo>
                    <a:pt x="358" y="409"/>
                  </a:lnTo>
                  <a:lnTo>
                    <a:pt x="354" y="408"/>
                  </a:lnTo>
                  <a:lnTo>
                    <a:pt x="351" y="408"/>
                  </a:lnTo>
                  <a:lnTo>
                    <a:pt x="349" y="408"/>
                  </a:lnTo>
                  <a:lnTo>
                    <a:pt x="346" y="408"/>
                  </a:lnTo>
                  <a:lnTo>
                    <a:pt x="343" y="409"/>
                  </a:lnTo>
                  <a:lnTo>
                    <a:pt x="341" y="410"/>
                  </a:lnTo>
                  <a:lnTo>
                    <a:pt x="338" y="411"/>
                  </a:lnTo>
                  <a:lnTo>
                    <a:pt x="335" y="412"/>
                  </a:lnTo>
                  <a:lnTo>
                    <a:pt x="334" y="414"/>
                  </a:lnTo>
                  <a:lnTo>
                    <a:pt x="332" y="415"/>
                  </a:lnTo>
                  <a:lnTo>
                    <a:pt x="331" y="416"/>
                  </a:lnTo>
                  <a:lnTo>
                    <a:pt x="330" y="417"/>
                  </a:lnTo>
                  <a:lnTo>
                    <a:pt x="330" y="418"/>
                  </a:lnTo>
                  <a:lnTo>
                    <a:pt x="329" y="420"/>
                  </a:lnTo>
                  <a:lnTo>
                    <a:pt x="328" y="422"/>
                  </a:lnTo>
                  <a:lnTo>
                    <a:pt x="327" y="427"/>
                  </a:lnTo>
                  <a:lnTo>
                    <a:pt x="326" y="431"/>
                  </a:lnTo>
                  <a:lnTo>
                    <a:pt x="325" y="435"/>
                  </a:lnTo>
                  <a:lnTo>
                    <a:pt x="324" y="438"/>
                  </a:lnTo>
                  <a:lnTo>
                    <a:pt x="322" y="442"/>
                  </a:lnTo>
                  <a:lnTo>
                    <a:pt x="317" y="452"/>
                  </a:lnTo>
                  <a:lnTo>
                    <a:pt x="316" y="455"/>
                  </a:lnTo>
                  <a:lnTo>
                    <a:pt x="315" y="459"/>
                  </a:lnTo>
                  <a:lnTo>
                    <a:pt x="313" y="462"/>
                  </a:lnTo>
                  <a:lnTo>
                    <a:pt x="312" y="465"/>
                  </a:lnTo>
                  <a:lnTo>
                    <a:pt x="312" y="469"/>
                  </a:lnTo>
                  <a:lnTo>
                    <a:pt x="312" y="472"/>
                  </a:lnTo>
                  <a:lnTo>
                    <a:pt x="312" y="477"/>
                  </a:lnTo>
                  <a:lnTo>
                    <a:pt x="311" y="482"/>
                  </a:lnTo>
                  <a:lnTo>
                    <a:pt x="312" y="489"/>
                  </a:lnTo>
                  <a:lnTo>
                    <a:pt x="312" y="494"/>
                  </a:lnTo>
                  <a:lnTo>
                    <a:pt x="313" y="503"/>
                  </a:lnTo>
                  <a:lnTo>
                    <a:pt x="315" y="516"/>
                  </a:lnTo>
                  <a:lnTo>
                    <a:pt x="316" y="527"/>
                  </a:lnTo>
                  <a:lnTo>
                    <a:pt x="316" y="531"/>
                  </a:lnTo>
                  <a:lnTo>
                    <a:pt x="320" y="548"/>
                  </a:lnTo>
                  <a:lnTo>
                    <a:pt x="320" y="553"/>
                  </a:lnTo>
                  <a:lnTo>
                    <a:pt x="320" y="557"/>
                  </a:lnTo>
                  <a:lnTo>
                    <a:pt x="321" y="561"/>
                  </a:lnTo>
                  <a:lnTo>
                    <a:pt x="321" y="565"/>
                  </a:lnTo>
                  <a:lnTo>
                    <a:pt x="320" y="569"/>
                  </a:lnTo>
                  <a:lnTo>
                    <a:pt x="320" y="574"/>
                  </a:lnTo>
                  <a:lnTo>
                    <a:pt x="319" y="581"/>
                  </a:lnTo>
                  <a:lnTo>
                    <a:pt x="315" y="598"/>
                  </a:lnTo>
                  <a:lnTo>
                    <a:pt x="313" y="602"/>
                  </a:lnTo>
                  <a:lnTo>
                    <a:pt x="312" y="607"/>
                  </a:lnTo>
                  <a:lnTo>
                    <a:pt x="311" y="610"/>
                  </a:lnTo>
                  <a:lnTo>
                    <a:pt x="310" y="615"/>
                  </a:lnTo>
                  <a:lnTo>
                    <a:pt x="310" y="620"/>
                  </a:lnTo>
                  <a:lnTo>
                    <a:pt x="309" y="625"/>
                  </a:lnTo>
                  <a:lnTo>
                    <a:pt x="309" y="630"/>
                  </a:lnTo>
                  <a:lnTo>
                    <a:pt x="310" y="640"/>
                  </a:lnTo>
                  <a:lnTo>
                    <a:pt x="310" y="643"/>
                  </a:lnTo>
                  <a:lnTo>
                    <a:pt x="310" y="646"/>
                  </a:lnTo>
                  <a:lnTo>
                    <a:pt x="309" y="648"/>
                  </a:lnTo>
                  <a:lnTo>
                    <a:pt x="308" y="650"/>
                  </a:lnTo>
                  <a:lnTo>
                    <a:pt x="305" y="657"/>
                  </a:lnTo>
                  <a:lnTo>
                    <a:pt x="304" y="662"/>
                  </a:lnTo>
                  <a:lnTo>
                    <a:pt x="300" y="675"/>
                  </a:lnTo>
                  <a:lnTo>
                    <a:pt x="297" y="685"/>
                  </a:lnTo>
                  <a:lnTo>
                    <a:pt x="295" y="689"/>
                  </a:lnTo>
                  <a:lnTo>
                    <a:pt x="295" y="694"/>
                  </a:lnTo>
                  <a:lnTo>
                    <a:pt x="294" y="699"/>
                  </a:lnTo>
                  <a:lnTo>
                    <a:pt x="293" y="705"/>
                  </a:lnTo>
                  <a:lnTo>
                    <a:pt x="292" y="710"/>
                  </a:lnTo>
                  <a:lnTo>
                    <a:pt x="292" y="714"/>
                  </a:lnTo>
                  <a:lnTo>
                    <a:pt x="293" y="717"/>
                  </a:lnTo>
                  <a:lnTo>
                    <a:pt x="294" y="719"/>
                  </a:lnTo>
                  <a:lnTo>
                    <a:pt x="295" y="722"/>
                  </a:lnTo>
                  <a:lnTo>
                    <a:pt x="295" y="724"/>
                  </a:lnTo>
                  <a:lnTo>
                    <a:pt x="297" y="726"/>
                  </a:lnTo>
                  <a:lnTo>
                    <a:pt x="301" y="732"/>
                  </a:lnTo>
                  <a:lnTo>
                    <a:pt x="303" y="735"/>
                  </a:lnTo>
                  <a:lnTo>
                    <a:pt x="304" y="737"/>
                  </a:lnTo>
                  <a:lnTo>
                    <a:pt x="305" y="739"/>
                  </a:lnTo>
                  <a:lnTo>
                    <a:pt x="305" y="742"/>
                  </a:lnTo>
                  <a:lnTo>
                    <a:pt x="306" y="744"/>
                  </a:lnTo>
                  <a:lnTo>
                    <a:pt x="305" y="746"/>
                  </a:lnTo>
                  <a:lnTo>
                    <a:pt x="305" y="748"/>
                  </a:lnTo>
                  <a:lnTo>
                    <a:pt x="304" y="750"/>
                  </a:lnTo>
                  <a:lnTo>
                    <a:pt x="302" y="753"/>
                  </a:lnTo>
                  <a:lnTo>
                    <a:pt x="301" y="755"/>
                  </a:lnTo>
                  <a:lnTo>
                    <a:pt x="298" y="757"/>
                  </a:lnTo>
                  <a:lnTo>
                    <a:pt x="296" y="759"/>
                  </a:lnTo>
                  <a:lnTo>
                    <a:pt x="293" y="760"/>
                  </a:lnTo>
                  <a:lnTo>
                    <a:pt x="291" y="761"/>
                  </a:lnTo>
                  <a:lnTo>
                    <a:pt x="288" y="761"/>
                  </a:lnTo>
                  <a:lnTo>
                    <a:pt x="285" y="761"/>
                  </a:lnTo>
                  <a:lnTo>
                    <a:pt x="281" y="761"/>
                  </a:lnTo>
                  <a:lnTo>
                    <a:pt x="277" y="760"/>
                  </a:lnTo>
                  <a:lnTo>
                    <a:pt x="272" y="759"/>
                  </a:lnTo>
                  <a:lnTo>
                    <a:pt x="267" y="758"/>
                  </a:lnTo>
                  <a:lnTo>
                    <a:pt x="253" y="754"/>
                  </a:lnTo>
                  <a:lnTo>
                    <a:pt x="243" y="751"/>
                  </a:lnTo>
                  <a:lnTo>
                    <a:pt x="240" y="750"/>
                  </a:lnTo>
                  <a:lnTo>
                    <a:pt x="241" y="750"/>
                  </a:lnTo>
                  <a:lnTo>
                    <a:pt x="241" y="749"/>
                  </a:lnTo>
                  <a:lnTo>
                    <a:pt x="242" y="749"/>
                  </a:lnTo>
                  <a:lnTo>
                    <a:pt x="242" y="748"/>
                  </a:lnTo>
                  <a:lnTo>
                    <a:pt x="243" y="746"/>
                  </a:lnTo>
                  <a:lnTo>
                    <a:pt x="243" y="743"/>
                  </a:lnTo>
                  <a:lnTo>
                    <a:pt x="241" y="739"/>
                  </a:lnTo>
                  <a:lnTo>
                    <a:pt x="239" y="730"/>
                  </a:lnTo>
                  <a:lnTo>
                    <a:pt x="238" y="725"/>
                  </a:lnTo>
                  <a:lnTo>
                    <a:pt x="237" y="719"/>
                  </a:lnTo>
                  <a:lnTo>
                    <a:pt x="235" y="709"/>
                  </a:lnTo>
                  <a:lnTo>
                    <a:pt x="235" y="707"/>
                  </a:lnTo>
                  <a:lnTo>
                    <a:pt x="235" y="704"/>
                  </a:lnTo>
                  <a:lnTo>
                    <a:pt x="234" y="701"/>
                  </a:lnTo>
                  <a:lnTo>
                    <a:pt x="232" y="697"/>
                  </a:lnTo>
                  <a:lnTo>
                    <a:pt x="225" y="684"/>
                  </a:lnTo>
                  <a:lnTo>
                    <a:pt x="224" y="679"/>
                  </a:lnTo>
                  <a:lnTo>
                    <a:pt x="223" y="677"/>
                  </a:lnTo>
                  <a:lnTo>
                    <a:pt x="222" y="674"/>
                  </a:lnTo>
                  <a:lnTo>
                    <a:pt x="220" y="666"/>
                  </a:lnTo>
                  <a:lnTo>
                    <a:pt x="220" y="662"/>
                  </a:lnTo>
                  <a:lnTo>
                    <a:pt x="218" y="658"/>
                  </a:lnTo>
                  <a:lnTo>
                    <a:pt x="218" y="656"/>
                  </a:lnTo>
                  <a:lnTo>
                    <a:pt x="217" y="654"/>
                  </a:lnTo>
                  <a:lnTo>
                    <a:pt x="215" y="652"/>
                  </a:lnTo>
                  <a:lnTo>
                    <a:pt x="213" y="650"/>
                  </a:lnTo>
                  <a:lnTo>
                    <a:pt x="212" y="649"/>
                  </a:lnTo>
                  <a:lnTo>
                    <a:pt x="210" y="648"/>
                  </a:lnTo>
                  <a:lnTo>
                    <a:pt x="208" y="647"/>
                  </a:lnTo>
                  <a:lnTo>
                    <a:pt x="206" y="647"/>
                  </a:lnTo>
                  <a:lnTo>
                    <a:pt x="195" y="644"/>
                  </a:lnTo>
                  <a:lnTo>
                    <a:pt x="192" y="643"/>
                  </a:lnTo>
                  <a:lnTo>
                    <a:pt x="188" y="642"/>
                  </a:lnTo>
                  <a:lnTo>
                    <a:pt x="183" y="639"/>
                  </a:lnTo>
                  <a:lnTo>
                    <a:pt x="180" y="638"/>
                  </a:lnTo>
                  <a:lnTo>
                    <a:pt x="176" y="636"/>
                  </a:lnTo>
                  <a:lnTo>
                    <a:pt x="173" y="634"/>
                  </a:lnTo>
                  <a:lnTo>
                    <a:pt x="170" y="632"/>
                  </a:lnTo>
                  <a:lnTo>
                    <a:pt x="168" y="630"/>
                  </a:lnTo>
                  <a:lnTo>
                    <a:pt x="165" y="628"/>
                  </a:lnTo>
                  <a:lnTo>
                    <a:pt x="163" y="626"/>
                  </a:lnTo>
                  <a:lnTo>
                    <a:pt x="160" y="623"/>
                  </a:lnTo>
                  <a:lnTo>
                    <a:pt x="158" y="620"/>
                  </a:lnTo>
                  <a:lnTo>
                    <a:pt x="156" y="617"/>
                  </a:lnTo>
                  <a:lnTo>
                    <a:pt x="154" y="615"/>
                  </a:lnTo>
                  <a:lnTo>
                    <a:pt x="152" y="611"/>
                  </a:lnTo>
                  <a:lnTo>
                    <a:pt x="150" y="608"/>
                  </a:lnTo>
                  <a:lnTo>
                    <a:pt x="149" y="605"/>
                  </a:lnTo>
                  <a:lnTo>
                    <a:pt x="148" y="603"/>
                  </a:lnTo>
                  <a:lnTo>
                    <a:pt x="147" y="599"/>
                  </a:lnTo>
                  <a:lnTo>
                    <a:pt x="145" y="590"/>
                  </a:lnTo>
                  <a:lnTo>
                    <a:pt x="145" y="585"/>
                  </a:lnTo>
                  <a:lnTo>
                    <a:pt x="143" y="582"/>
                  </a:lnTo>
                  <a:lnTo>
                    <a:pt x="139" y="575"/>
                  </a:lnTo>
                  <a:lnTo>
                    <a:pt x="138" y="570"/>
                  </a:lnTo>
                  <a:lnTo>
                    <a:pt x="135" y="563"/>
                  </a:lnTo>
                  <a:lnTo>
                    <a:pt x="134" y="557"/>
                  </a:lnTo>
                  <a:lnTo>
                    <a:pt x="133" y="555"/>
                  </a:lnTo>
                  <a:lnTo>
                    <a:pt x="133" y="552"/>
                  </a:lnTo>
                  <a:lnTo>
                    <a:pt x="132" y="550"/>
                  </a:lnTo>
                  <a:lnTo>
                    <a:pt x="131" y="550"/>
                  </a:lnTo>
                  <a:lnTo>
                    <a:pt x="130" y="549"/>
                  </a:lnTo>
                  <a:lnTo>
                    <a:pt x="128" y="547"/>
                  </a:lnTo>
                  <a:lnTo>
                    <a:pt x="126" y="546"/>
                  </a:lnTo>
                  <a:lnTo>
                    <a:pt x="118" y="542"/>
                  </a:lnTo>
                  <a:lnTo>
                    <a:pt x="116" y="541"/>
                  </a:lnTo>
                  <a:lnTo>
                    <a:pt x="115" y="540"/>
                  </a:lnTo>
                  <a:lnTo>
                    <a:pt x="113" y="539"/>
                  </a:lnTo>
                  <a:lnTo>
                    <a:pt x="113" y="537"/>
                  </a:lnTo>
                  <a:lnTo>
                    <a:pt x="112" y="536"/>
                  </a:lnTo>
                  <a:lnTo>
                    <a:pt x="111" y="535"/>
                  </a:lnTo>
                  <a:lnTo>
                    <a:pt x="110" y="532"/>
                  </a:lnTo>
                  <a:lnTo>
                    <a:pt x="111" y="530"/>
                  </a:lnTo>
                  <a:lnTo>
                    <a:pt x="112" y="527"/>
                  </a:lnTo>
                  <a:lnTo>
                    <a:pt x="113" y="525"/>
                  </a:lnTo>
                  <a:lnTo>
                    <a:pt x="114" y="522"/>
                  </a:lnTo>
                  <a:lnTo>
                    <a:pt x="115" y="521"/>
                  </a:lnTo>
                  <a:lnTo>
                    <a:pt x="118" y="519"/>
                  </a:lnTo>
                  <a:lnTo>
                    <a:pt x="123" y="515"/>
                  </a:lnTo>
                  <a:lnTo>
                    <a:pt x="124" y="514"/>
                  </a:lnTo>
                  <a:lnTo>
                    <a:pt x="125" y="513"/>
                  </a:lnTo>
                  <a:lnTo>
                    <a:pt x="125" y="511"/>
                  </a:lnTo>
                  <a:lnTo>
                    <a:pt x="126" y="509"/>
                  </a:lnTo>
                  <a:lnTo>
                    <a:pt x="126" y="507"/>
                  </a:lnTo>
                  <a:lnTo>
                    <a:pt x="126" y="506"/>
                  </a:lnTo>
                  <a:lnTo>
                    <a:pt x="126" y="505"/>
                  </a:lnTo>
                  <a:lnTo>
                    <a:pt x="125" y="505"/>
                  </a:lnTo>
                  <a:lnTo>
                    <a:pt x="125" y="504"/>
                  </a:lnTo>
                  <a:lnTo>
                    <a:pt x="123" y="503"/>
                  </a:lnTo>
                  <a:lnTo>
                    <a:pt x="122" y="503"/>
                  </a:lnTo>
                  <a:lnTo>
                    <a:pt x="120" y="503"/>
                  </a:lnTo>
                  <a:lnTo>
                    <a:pt x="118" y="503"/>
                  </a:lnTo>
                  <a:lnTo>
                    <a:pt x="110" y="505"/>
                  </a:lnTo>
                  <a:lnTo>
                    <a:pt x="107" y="505"/>
                  </a:lnTo>
                  <a:lnTo>
                    <a:pt x="104" y="505"/>
                  </a:lnTo>
                  <a:lnTo>
                    <a:pt x="103" y="504"/>
                  </a:lnTo>
                  <a:lnTo>
                    <a:pt x="101" y="503"/>
                  </a:lnTo>
                  <a:lnTo>
                    <a:pt x="99" y="502"/>
                  </a:lnTo>
                  <a:lnTo>
                    <a:pt x="97" y="502"/>
                  </a:lnTo>
                  <a:lnTo>
                    <a:pt x="95" y="500"/>
                  </a:lnTo>
                  <a:lnTo>
                    <a:pt x="93" y="499"/>
                  </a:lnTo>
                  <a:lnTo>
                    <a:pt x="90" y="497"/>
                  </a:lnTo>
                  <a:lnTo>
                    <a:pt x="88" y="495"/>
                  </a:lnTo>
                  <a:lnTo>
                    <a:pt x="86" y="492"/>
                  </a:lnTo>
                  <a:lnTo>
                    <a:pt x="85" y="490"/>
                  </a:lnTo>
                  <a:lnTo>
                    <a:pt x="83" y="487"/>
                  </a:lnTo>
                  <a:lnTo>
                    <a:pt x="82" y="485"/>
                  </a:lnTo>
                  <a:lnTo>
                    <a:pt x="81" y="482"/>
                  </a:lnTo>
                  <a:lnTo>
                    <a:pt x="80" y="480"/>
                  </a:lnTo>
                  <a:lnTo>
                    <a:pt x="81" y="477"/>
                  </a:lnTo>
                  <a:lnTo>
                    <a:pt x="81" y="475"/>
                  </a:lnTo>
                  <a:lnTo>
                    <a:pt x="83" y="461"/>
                  </a:lnTo>
                  <a:lnTo>
                    <a:pt x="84" y="455"/>
                  </a:lnTo>
                  <a:lnTo>
                    <a:pt x="84" y="453"/>
                  </a:lnTo>
                  <a:lnTo>
                    <a:pt x="84" y="452"/>
                  </a:lnTo>
                  <a:lnTo>
                    <a:pt x="83" y="450"/>
                  </a:lnTo>
                  <a:lnTo>
                    <a:pt x="83" y="449"/>
                  </a:lnTo>
                  <a:lnTo>
                    <a:pt x="82" y="447"/>
                  </a:lnTo>
                  <a:lnTo>
                    <a:pt x="80" y="445"/>
                  </a:lnTo>
                  <a:lnTo>
                    <a:pt x="78" y="444"/>
                  </a:lnTo>
                  <a:lnTo>
                    <a:pt x="73" y="440"/>
                  </a:lnTo>
                  <a:lnTo>
                    <a:pt x="72" y="440"/>
                  </a:lnTo>
                  <a:lnTo>
                    <a:pt x="70" y="438"/>
                  </a:lnTo>
                  <a:lnTo>
                    <a:pt x="67" y="434"/>
                  </a:lnTo>
                  <a:lnTo>
                    <a:pt x="65" y="432"/>
                  </a:lnTo>
                  <a:lnTo>
                    <a:pt x="64" y="432"/>
                  </a:lnTo>
                  <a:lnTo>
                    <a:pt x="63" y="431"/>
                  </a:lnTo>
                  <a:lnTo>
                    <a:pt x="55" y="429"/>
                  </a:lnTo>
                  <a:lnTo>
                    <a:pt x="53" y="427"/>
                  </a:lnTo>
                  <a:lnTo>
                    <a:pt x="50" y="426"/>
                  </a:lnTo>
                  <a:lnTo>
                    <a:pt x="48" y="425"/>
                  </a:lnTo>
                  <a:lnTo>
                    <a:pt x="48" y="424"/>
                  </a:lnTo>
                  <a:lnTo>
                    <a:pt x="47" y="422"/>
                  </a:lnTo>
                  <a:lnTo>
                    <a:pt x="46" y="421"/>
                  </a:lnTo>
                  <a:lnTo>
                    <a:pt x="45" y="419"/>
                  </a:lnTo>
                  <a:lnTo>
                    <a:pt x="43" y="411"/>
                  </a:lnTo>
                  <a:lnTo>
                    <a:pt x="43" y="409"/>
                  </a:lnTo>
                  <a:lnTo>
                    <a:pt x="41" y="407"/>
                  </a:lnTo>
                  <a:lnTo>
                    <a:pt x="40" y="404"/>
                  </a:lnTo>
                  <a:lnTo>
                    <a:pt x="38" y="401"/>
                  </a:lnTo>
                  <a:lnTo>
                    <a:pt x="36" y="399"/>
                  </a:lnTo>
                  <a:lnTo>
                    <a:pt x="33" y="395"/>
                  </a:lnTo>
                  <a:lnTo>
                    <a:pt x="33" y="395"/>
                  </a:lnTo>
                  <a:lnTo>
                    <a:pt x="32" y="394"/>
                  </a:lnTo>
                  <a:lnTo>
                    <a:pt x="32" y="392"/>
                  </a:lnTo>
                  <a:lnTo>
                    <a:pt x="32" y="391"/>
                  </a:lnTo>
                  <a:lnTo>
                    <a:pt x="33" y="390"/>
                  </a:lnTo>
                  <a:lnTo>
                    <a:pt x="33" y="388"/>
                  </a:lnTo>
                  <a:lnTo>
                    <a:pt x="39" y="380"/>
                  </a:lnTo>
                  <a:lnTo>
                    <a:pt x="40" y="376"/>
                  </a:lnTo>
                  <a:lnTo>
                    <a:pt x="42" y="374"/>
                  </a:lnTo>
                  <a:lnTo>
                    <a:pt x="43" y="372"/>
                  </a:lnTo>
                  <a:lnTo>
                    <a:pt x="44" y="366"/>
                  </a:lnTo>
                  <a:lnTo>
                    <a:pt x="45" y="363"/>
                  </a:lnTo>
                  <a:lnTo>
                    <a:pt x="45" y="361"/>
                  </a:lnTo>
                  <a:lnTo>
                    <a:pt x="45" y="360"/>
                  </a:lnTo>
                  <a:lnTo>
                    <a:pt x="44" y="358"/>
                  </a:lnTo>
                  <a:lnTo>
                    <a:pt x="43" y="356"/>
                  </a:lnTo>
                  <a:lnTo>
                    <a:pt x="43" y="354"/>
                  </a:lnTo>
                  <a:lnTo>
                    <a:pt x="42" y="352"/>
                  </a:lnTo>
                  <a:lnTo>
                    <a:pt x="40" y="348"/>
                  </a:lnTo>
                  <a:lnTo>
                    <a:pt x="38" y="346"/>
                  </a:lnTo>
                  <a:lnTo>
                    <a:pt x="37" y="344"/>
                  </a:lnTo>
                  <a:lnTo>
                    <a:pt x="36" y="343"/>
                  </a:lnTo>
                  <a:lnTo>
                    <a:pt x="33" y="341"/>
                  </a:lnTo>
                  <a:lnTo>
                    <a:pt x="32" y="340"/>
                  </a:lnTo>
                  <a:lnTo>
                    <a:pt x="30" y="338"/>
                  </a:lnTo>
                  <a:lnTo>
                    <a:pt x="28" y="337"/>
                  </a:lnTo>
                  <a:lnTo>
                    <a:pt x="26" y="336"/>
                  </a:lnTo>
                  <a:lnTo>
                    <a:pt x="22" y="335"/>
                  </a:lnTo>
                  <a:lnTo>
                    <a:pt x="17" y="333"/>
                  </a:lnTo>
                  <a:lnTo>
                    <a:pt x="10" y="332"/>
                  </a:lnTo>
                  <a:lnTo>
                    <a:pt x="8" y="331"/>
                  </a:lnTo>
                  <a:lnTo>
                    <a:pt x="6" y="330"/>
                  </a:lnTo>
                  <a:lnTo>
                    <a:pt x="4" y="330"/>
                  </a:lnTo>
                  <a:lnTo>
                    <a:pt x="3" y="329"/>
                  </a:lnTo>
                  <a:lnTo>
                    <a:pt x="2" y="328"/>
                  </a:lnTo>
                  <a:lnTo>
                    <a:pt x="1" y="326"/>
                  </a:lnTo>
                  <a:lnTo>
                    <a:pt x="1" y="325"/>
                  </a:lnTo>
                  <a:lnTo>
                    <a:pt x="0" y="324"/>
                  </a:lnTo>
                  <a:lnTo>
                    <a:pt x="0" y="321"/>
                  </a:lnTo>
                  <a:lnTo>
                    <a:pt x="1" y="320"/>
                  </a:lnTo>
                  <a:lnTo>
                    <a:pt x="1" y="318"/>
                  </a:lnTo>
                  <a:lnTo>
                    <a:pt x="1" y="317"/>
                  </a:lnTo>
                  <a:lnTo>
                    <a:pt x="2" y="315"/>
                  </a:lnTo>
                  <a:lnTo>
                    <a:pt x="6" y="310"/>
                  </a:lnTo>
                  <a:lnTo>
                    <a:pt x="7" y="309"/>
                  </a:lnTo>
                  <a:lnTo>
                    <a:pt x="8" y="307"/>
                  </a:lnTo>
                  <a:lnTo>
                    <a:pt x="9" y="305"/>
                  </a:lnTo>
                  <a:lnTo>
                    <a:pt x="10" y="302"/>
                  </a:lnTo>
                  <a:lnTo>
                    <a:pt x="11" y="293"/>
                  </a:lnTo>
                  <a:lnTo>
                    <a:pt x="11" y="286"/>
                  </a:lnTo>
                  <a:lnTo>
                    <a:pt x="11" y="283"/>
                  </a:lnTo>
                  <a:lnTo>
                    <a:pt x="11" y="280"/>
                  </a:lnTo>
                  <a:lnTo>
                    <a:pt x="13" y="278"/>
                  </a:lnTo>
                  <a:lnTo>
                    <a:pt x="14" y="275"/>
                  </a:lnTo>
                  <a:lnTo>
                    <a:pt x="16" y="273"/>
                  </a:lnTo>
                  <a:lnTo>
                    <a:pt x="17" y="271"/>
                  </a:lnTo>
                  <a:lnTo>
                    <a:pt x="19" y="270"/>
                  </a:lnTo>
                  <a:lnTo>
                    <a:pt x="21" y="270"/>
                  </a:lnTo>
                  <a:lnTo>
                    <a:pt x="23" y="269"/>
                  </a:lnTo>
                  <a:lnTo>
                    <a:pt x="24" y="269"/>
                  </a:lnTo>
                  <a:lnTo>
                    <a:pt x="31" y="269"/>
                  </a:lnTo>
                  <a:lnTo>
                    <a:pt x="32" y="269"/>
                  </a:lnTo>
                  <a:lnTo>
                    <a:pt x="33" y="268"/>
                  </a:lnTo>
                  <a:lnTo>
                    <a:pt x="35" y="268"/>
                  </a:lnTo>
                  <a:lnTo>
                    <a:pt x="36" y="267"/>
                  </a:lnTo>
                  <a:lnTo>
                    <a:pt x="38" y="265"/>
                  </a:lnTo>
                  <a:lnTo>
                    <a:pt x="38" y="264"/>
                  </a:lnTo>
                  <a:lnTo>
                    <a:pt x="40" y="261"/>
                  </a:lnTo>
                  <a:lnTo>
                    <a:pt x="41" y="258"/>
                  </a:lnTo>
                  <a:lnTo>
                    <a:pt x="43" y="254"/>
                  </a:lnTo>
                  <a:lnTo>
                    <a:pt x="43" y="250"/>
                  </a:lnTo>
                  <a:lnTo>
                    <a:pt x="44" y="246"/>
                  </a:lnTo>
                  <a:lnTo>
                    <a:pt x="45" y="241"/>
                  </a:lnTo>
                  <a:lnTo>
                    <a:pt x="45" y="237"/>
                  </a:lnTo>
                  <a:lnTo>
                    <a:pt x="45" y="230"/>
                  </a:lnTo>
                  <a:lnTo>
                    <a:pt x="45" y="228"/>
                  </a:lnTo>
                  <a:lnTo>
                    <a:pt x="46" y="228"/>
                  </a:lnTo>
                  <a:lnTo>
                    <a:pt x="47" y="228"/>
                  </a:lnTo>
                  <a:lnTo>
                    <a:pt x="52" y="227"/>
                  </a:lnTo>
                  <a:lnTo>
                    <a:pt x="54" y="227"/>
                  </a:lnTo>
                  <a:lnTo>
                    <a:pt x="56" y="227"/>
                  </a:lnTo>
                  <a:lnTo>
                    <a:pt x="58" y="227"/>
                  </a:lnTo>
                  <a:lnTo>
                    <a:pt x="61" y="228"/>
                  </a:lnTo>
                  <a:lnTo>
                    <a:pt x="64" y="228"/>
                  </a:lnTo>
                  <a:lnTo>
                    <a:pt x="67" y="229"/>
                  </a:lnTo>
                  <a:lnTo>
                    <a:pt x="69" y="230"/>
                  </a:lnTo>
                  <a:lnTo>
                    <a:pt x="72" y="233"/>
                  </a:lnTo>
                  <a:lnTo>
                    <a:pt x="74" y="234"/>
                  </a:lnTo>
                  <a:lnTo>
                    <a:pt x="77" y="236"/>
                  </a:lnTo>
                  <a:lnTo>
                    <a:pt x="79" y="238"/>
                  </a:lnTo>
                  <a:lnTo>
                    <a:pt x="82" y="243"/>
                  </a:lnTo>
                  <a:lnTo>
                    <a:pt x="88" y="250"/>
                  </a:lnTo>
                  <a:lnTo>
                    <a:pt x="90" y="253"/>
                  </a:lnTo>
                  <a:lnTo>
                    <a:pt x="92" y="255"/>
                  </a:lnTo>
                  <a:lnTo>
                    <a:pt x="93" y="257"/>
                  </a:lnTo>
                  <a:lnTo>
                    <a:pt x="95" y="258"/>
                  </a:lnTo>
                  <a:lnTo>
                    <a:pt x="97" y="259"/>
                  </a:lnTo>
                  <a:lnTo>
                    <a:pt x="98" y="260"/>
                  </a:lnTo>
                  <a:lnTo>
                    <a:pt x="101" y="260"/>
                  </a:lnTo>
                  <a:lnTo>
                    <a:pt x="103" y="260"/>
                  </a:lnTo>
                  <a:lnTo>
                    <a:pt x="105" y="260"/>
                  </a:lnTo>
                  <a:lnTo>
                    <a:pt x="108" y="260"/>
                  </a:lnTo>
                  <a:lnTo>
                    <a:pt x="110" y="260"/>
                  </a:lnTo>
                  <a:lnTo>
                    <a:pt x="113" y="260"/>
                  </a:lnTo>
                  <a:lnTo>
                    <a:pt x="119" y="258"/>
                  </a:lnTo>
                  <a:lnTo>
                    <a:pt x="123" y="257"/>
                  </a:lnTo>
                  <a:lnTo>
                    <a:pt x="125" y="257"/>
                  </a:lnTo>
                  <a:lnTo>
                    <a:pt x="128" y="257"/>
                  </a:lnTo>
                  <a:lnTo>
                    <a:pt x="130" y="257"/>
                  </a:lnTo>
                  <a:lnTo>
                    <a:pt x="132" y="257"/>
                  </a:lnTo>
                  <a:lnTo>
                    <a:pt x="134" y="258"/>
                  </a:lnTo>
                  <a:lnTo>
                    <a:pt x="137" y="258"/>
                  </a:lnTo>
                  <a:lnTo>
                    <a:pt x="139" y="259"/>
                  </a:lnTo>
                  <a:lnTo>
                    <a:pt x="140" y="260"/>
                  </a:lnTo>
                  <a:lnTo>
                    <a:pt x="143" y="261"/>
                  </a:lnTo>
                  <a:lnTo>
                    <a:pt x="145" y="263"/>
                  </a:lnTo>
                  <a:lnTo>
                    <a:pt x="153" y="268"/>
                  </a:lnTo>
                  <a:lnTo>
                    <a:pt x="155" y="269"/>
                  </a:lnTo>
                  <a:lnTo>
                    <a:pt x="156" y="270"/>
                  </a:lnTo>
                  <a:lnTo>
                    <a:pt x="158" y="270"/>
                  </a:lnTo>
                  <a:lnTo>
                    <a:pt x="160" y="270"/>
                  </a:lnTo>
                  <a:lnTo>
                    <a:pt x="161" y="270"/>
                  </a:lnTo>
                  <a:lnTo>
                    <a:pt x="162" y="269"/>
                  </a:lnTo>
                  <a:lnTo>
                    <a:pt x="163" y="268"/>
                  </a:lnTo>
                  <a:lnTo>
                    <a:pt x="163" y="268"/>
                  </a:lnTo>
                  <a:lnTo>
                    <a:pt x="163" y="267"/>
                  </a:lnTo>
                  <a:lnTo>
                    <a:pt x="163" y="265"/>
                  </a:lnTo>
                  <a:lnTo>
                    <a:pt x="163" y="264"/>
                  </a:lnTo>
                  <a:lnTo>
                    <a:pt x="162" y="263"/>
                  </a:lnTo>
                  <a:lnTo>
                    <a:pt x="160" y="261"/>
                  </a:lnTo>
                  <a:lnTo>
                    <a:pt x="160" y="260"/>
                  </a:lnTo>
                  <a:lnTo>
                    <a:pt x="153" y="255"/>
                  </a:lnTo>
                  <a:lnTo>
                    <a:pt x="146" y="248"/>
                  </a:lnTo>
                  <a:lnTo>
                    <a:pt x="143" y="245"/>
                  </a:lnTo>
                  <a:lnTo>
                    <a:pt x="139" y="240"/>
                  </a:lnTo>
                  <a:lnTo>
                    <a:pt x="136" y="236"/>
                  </a:lnTo>
                  <a:lnTo>
                    <a:pt x="135" y="234"/>
                  </a:lnTo>
                  <a:lnTo>
                    <a:pt x="134" y="232"/>
                  </a:lnTo>
                  <a:lnTo>
                    <a:pt x="133" y="230"/>
                  </a:lnTo>
                  <a:lnTo>
                    <a:pt x="132" y="226"/>
                  </a:lnTo>
                  <a:lnTo>
                    <a:pt x="131" y="224"/>
                  </a:lnTo>
                  <a:lnTo>
                    <a:pt x="131" y="223"/>
                  </a:lnTo>
                  <a:lnTo>
                    <a:pt x="130" y="220"/>
                  </a:lnTo>
                  <a:lnTo>
                    <a:pt x="131" y="217"/>
                  </a:lnTo>
                  <a:lnTo>
                    <a:pt x="132" y="214"/>
                  </a:lnTo>
                  <a:lnTo>
                    <a:pt x="133" y="212"/>
                  </a:lnTo>
                  <a:lnTo>
                    <a:pt x="135" y="209"/>
                  </a:lnTo>
                  <a:lnTo>
                    <a:pt x="137" y="205"/>
                  </a:lnTo>
                  <a:lnTo>
                    <a:pt x="145" y="197"/>
                  </a:lnTo>
                  <a:lnTo>
                    <a:pt x="147" y="195"/>
                  </a:lnTo>
                  <a:lnTo>
                    <a:pt x="148" y="193"/>
                  </a:lnTo>
                  <a:lnTo>
                    <a:pt x="148" y="190"/>
                  </a:lnTo>
                  <a:lnTo>
                    <a:pt x="148" y="188"/>
                  </a:lnTo>
                  <a:lnTo>
                    <a:pt x="148" y="186"/>
                  </a:lnTo>
                  <a:lnTo>
                    <a:pt x="148" y="183"/>
                  </a:lnTo>
                  <a:lnTo>
                    <a:pt x="147" y="182"/>
                  </a:lnTo>
                  <a:lnTo>
                    <a:pt x="146" y="180"/>
                  </a:lnTo>
                  <a:lnTo>
                    <a:pt x="145" y="179"/>
                  </a:lnTo>
                  <a:lnTo>
                    <a:pt x="143" y="178"/>
                  </a:lnTo>
                  <a:lnTo>
                    <a:pt x="140" y="175"/>
                  </a:lnTo>
                  <a:lnTo>
                    <a:pt x="135" y="172"/>
                  </a:lnTo>
                  <a:lnTo>
                    <a:pt x="133" y="171"/>
                  </a:lnTo>
                  <a:lnTo>
                    <a:pt x="128" y="168"/>
                  </a:lnTo>
                  <a:lnTo>
                    <a:pt x="125" y="166"/>
                  </a:lnTo>
                  <a:lnTo>
                    <a:pt x="124" y="165"/>
                  </a:lnTo>
                  <a:lnTo>
                    <a:pt x="122" y="163"/>
                  </a:lnTo>
                  <a:lnTo>
                    <a:pt x="120" y="161"/>
                  </a:lnTo>
                  <a:lnTo>
                    <a:pt x="119" y="159"/>
                  </a:lnTo>
                  <a:lnTo>
                    <a:pt x="116" y="155"/>
                  </a:lnTo>
                  <a:lnTo>
                    <a:pt x="114" y="150"/>
                  </a:lnTo>
                  <a:lnTo>
                    <a:pt x="112" y="145"/>
                  </a:lnTo>
                  <a:lnTo>
                    <a:pt x="110" y="142"/>
                  </a:lnTo>
                  <a:lnTo>
                    <a:pt x="108" y="133"/>
                  </a:lnTo>
                  <a:lnTo>
                    <a:pt x="108" y="129"/>
                  </a:lnTo>
                  <a:lnTo>
                    <a:pt x="108" y="127"/>
                  </a:lnTo>
                  <a:lnTo>
                    <a:pt x="108" y="126"/>
                  </a:lnTo>
                  <a:lnTo>
                    <a:pt x="108" y="124"/>
                  </a:lnTo>
                  <a:lnTo>
                    <a:pt x="108" y="123"/>
                  </a:lnTo>
                  <a:lnTo>
                    <a:pt x="108" y="121"/>
                  </a:lnTo>
                  <a:lnTo>
                    <a:pt x="109" y="120"/>
                  </a:lnTo>
                  <a:lnTo>
                    <a:pt x="110" y="118"/>
                  </a:lnTo>
                  <a:lnTo>
                    <a:pt x="112" y="118"/>
                  </a:lnTo>
                  <a:lnTo>
                    <a:pt x="113" y="117"/>
                  </a:lnTo>
                  <a:lnTo>
                    <a:pt x="115" y="117"/>
                  </a:lnTo>
                  <a:lnTo>
                    <a:pt x="116" y="116"/>
                  </a:lnTo>
                  <a:lnTo>
                    <a:pt x="118" y="116"/>
                  </a:lnTo>
                  <a:lnTo>
                    <a:pt x="120" y="116"/>
                  </a:lnTo>
                  <a:lnTo>
                    <a:pt x="122" y="117"/>
                  </a:lnTo>
                  <a:lnTo>
                    <a:pt x="124" y="118"/>
                  </a:lnTo>
                  <a:lnTo>
                    <a:pt x="130" y="120"/>
                  </a:lnTo>
                  <a:lnTo>
                    <a:pt x="135" y="121"/>
                  </a:lnTo>
                  <a:lnTo>
                    <a:pt x="139" y="123"/>
                  </a:lnTo>
                  <a:lnTo>
                    <a:pt x="143" y="123"/>
                  </a:lnTo>
                  <a:lnTo>
                    <a:pt x="148" y="124"/>
                  </a:lnTo>
                  <a:lnTo>
                    <a:pt x="151" y="124"/>
                  </a:lnTo>
                  <a:lnTo>
                    <a:pt x="155" y="124"/>
                  </a:lnTo>
                  <a:lnTo>
                    <a:pt x="158" y="123"/>
                  </a:lnTo>
                  <a:lnTo>
                    <a:pt x="173" y="120"/>
                  </a:lnTo>
                  <a:lnTo>
                    <a:pt x="177" y="118"/>
                  </a:lnTo>
                  <a:lnTo>
                    <a:pt x="181" y="117"/>
                  </a:lnTo>
                  <a:lnTo>
                    <a:pt x="188" y="113"/>
                  </a:lnTo>
                  <a:lnTo>
                    <a:pt x="191" y="112"/>
                  </a:lnTo>
                  <a:lnTo>
                    <a:pt x="199" y="107"/>
                  </a:lnTo>
                  <a:lnTo>
                    <a:pt x="206" y="103"/>
                  </a:lnTo>
                  <a:lnTo>
                    <a:pt x="208" y="101"/>
                  </a:lnTo>
                  <a:lnTo>
                    <a:pt x="210" y="100"/>
                  </a:lnTo>
                  <a:lnTo>
                    <a:pt x="211" y="98"/>
                  </a:lnTo>
                  <a:lnTo>
                    <a:pt x="212" y="97"/>
                  </a:lnTo>
                  <a:lnTo>
                    <a:pt x="213" y="95"/>
                  </a:lnTo>
                  <a:lnTo>
                    <a:pt x="213" y="92"/>
                  </a:lnTo>
                  <a:lnTo>
                    <a:pt x="215" y="81"/>
                  </a:lnTo>
                  <a:lnTo>
                    <a:pt x="216" y="76"/>
                  </a:lnTo>
                  <a:lnTo>
                    <a:pt x="217" y="73"/>
                  </a:lnTo>
                  <a:lnTo>
                    <a:pt x="219" y="67"/>
                  </a:lnTo>
                  <a:lnTo>
                    <a:pt x="220" y="64"/>
                  </a:lnTo>
                  <a:lnTo>
                    <a:pt x="225" y="56"/>
                  </a:lnTo>
                  <a:lnTo>
                    <a:pt x="226" y="52"/>
                  </a:lnTo>
                  <a:lnTo>
                    <a:pt x="228" y="48"/>
                  </a:lnTo>
                  <a:lnTo>
                    <a:pt x="228" y="46"/>
                  </a:lnTo>
                  <a:lnTo>
                    <a:pt x="228" y="45"/>
                  </a:lnTo>
                  <a:lnTo>
                    <a:pt x="228" y="43"/>
                  </a:lnTo>
                  <a:lnTo>
                    <a:pt x="228" y="42"/>
                  </a:lnTo>
                  <a:lnTo>
                    <a:pt x="228" y="41"/>
                  </a:lnTo>
                  <a:lnTo>
                    <a:pt x="227" y="39"/>
                  </a:lnTo>
                  <a:lnTo>
                    <a:pt x="225" y="38"/>
                  </a:lnTo>
                  <a:lnTo>
                    <a:pt x="223" y="34"/>
                  </a:lnTo>
                  <a:lnTo>
                    <a:pt x="218" y="28"/>
                  </a:lnTo>
                  <a:lnTo>
                    <a:pt x="216" y="26"/>
                  </a:lnTo>
                  <a:lnTo>
                    <a:pt x="215" y="24"/>
                  </a:lnTo>
                  <a:lnTo>
                    <a:pt x="214" y="21"/>
                  </a:lnTo>
                  <a:lnTo>
                    <a:pt x="213" y="19"/>
                  </a:lnTo>
                  <a:lnTo>
                    <a:pt x="213" y="18"/>
                  </a:lnTo>
                  <a:lnTo>
                    <a:pt x="213" y="16"/>
                  </a:lnTo>
                  <a:lnTo>
                    <a:pt x="214" y="15"/>
                  </a:lnTo>
                  <a:lnTo>
                    <a:pt x="215" y="14"/>
                  </a:lnTo>
                  <a:lnTo>
                    <a:pt x="217" y="13"/>
                  </a:lnTo>
                  <a:lnTo>
                    <a:pt x="220" y="11"/>
                  </a:lnTo>
                  <a:lnTo>
                    <a:pt x="223" y="9"/>
                  </a:lnTo>
                  <a:lnTo>
                    <a:pt x="226" y="8"/>
                  </a:lnTo>
                  <a:lnTo>
                    <a:pt x="231" y="6"/>
                  </a:lnTo>
                  <a:lnTo>
                    <a:pt x="244" y="4"/>
                  </a:lnTo>
                  <a:lnTo>
                    <a:pt x="247" y="3"/>
                  </a:lnTo>
                  <a:lnTo>
                    <a:pt x="250" y="2"/>
                  </a:lnTo>
                  <a:lnTo>
                    <a:pt x="251" y="1"/>
                  </a:lnTo>
                  <a:lnTo>
                    <a:pt x="253" y="1"/>
                  </a:lnTo>
                  <a:lnTo>
                    <a:pt x="256" y="1"/>
                  </a:lnTo>
                  <a:lnTo>
                    <a:pt x="258" y="1"/>
                  </a:lnTo>
                  <a:lnTo>
                    <a:pt x="260" y="1"/>
                  </a:lnTo>
                  <a:lnTo>
                    <a:pt x="261" y="1"/>
                  </a:lnTo>
                  <a:lnTo>
                    <a:pt x="262" y="0"/>
                  </a:lnTo>
                  <a:lnTo>
                    <a:pt x="263" y="0"/>
                  </a:lnTo>
                  <a:close/>
                </a:path>
              </a:pathLst>
            </a:custGeom>
            <a:solidFill>
              <a:srgbClr val="EFF3FF"/>
            </a:solidFill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97">
              <a:extLst>
                <a:ext uri="{FF2B5EF4-FFF2-40B4-BE49-F238E27FC236}">
                  <a16:creationId xmlns:a16="http://schemas.microsoft.com/office/drawing/2014/main" id="{BD77F04C-73C0-73CE-4259-7838D4C5B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8673" y="5043325"/>
              <a:ext cx="996950" cy="1444625"/>
            </a:xfrm>
            <a:custGeom>
              <a:avLst/>
              <a:gdLst>
                <a:gd name="T0" fmla="*/ 169 w 628"/>
                <a:gd name="T1" fmla="*/ 5 h 910"/>
                <a:gd name="T2" fmla="*/ 189 w 628"/>
                <a:gd name="T3" fmla="*/ 76 h 910"/>
                <a:gd name="T4" fmla="*/ 212 w 628"/>
                <a:gd name="T5" fmla="*/ 77 h 910"/>
                <a:gd name="T6" fmla="*/ 241 w 628"/>
                <a:gd name="T7" fmla="*/ 94 h 910"/>
                <a:gd name="T8" fmla="*/ 269 w 628"/>
                <a:gd name="T9" fmla="*/ 132 h 910"/>
                <a:gd name="T10" fmla="*/ 331 w 628"/>
                <a:gd name="T11" fmla="*/ 152 h 910"/>
                <a:gd name="T12" fmla="*/ 359 w 628"/>
                <a:gd name="T13" fmla="*/ 197 h 910"/>
                <a:gd name="T14" fmla="*/ 386 w 628"/>
                <a:gd name="T15" fmla="*/ 229 h 910"/>
                <a:gd name="T16" fmla="*/ 431 w 628"/>
                <a:gd name="T17" fmla="*/ 257 h 910"/>
                <a:gd name="T18" fmla="*/ 421 w 628"/>
                <a:gd name="T19" fmla="*/ 296 h 910"/>
                <a:gd name="T20" fmla="*/ 398 w 628"/>
                <a:gd name="T21" fmla="*/ 307 h 910"/>
                <a:gd name="T22" fmla="*/ 386 w 628"/>
                <a:gd name="T23" fmla="*/ 347 h 910"/>
                <a:gd name="T24" fmla="*/ 402 w 628"/>
                <a:gd name="T25" fmla="*/ 362 h 910"/>
                <a:gd name="T26" fmla="*/ 428 w 628"/>
                <a:gd name="T27" fmla="*/ 383 h 910"/>
                <a:gd name="T28" fmla="*/ 418 w 628"/>
                <a:gd name="T29" fmla="*/ 419 h 910"/>
                <a:gd name="T30" fmla="*/ 430 w 628"/>
                <a:gd name="T31" fmla="*/ 448 h 910"/>
                <a:gd name="T32" fmla="*/ 455 w 628"/>
                <a:gd name="T33" fmla="*/ 467 h 910"/>
                <a:gd name="T34" fmla="*/ 466 w 628"/>
                <a:gd name="T35" fmla="*/ 504 h 910"/>
                <a:gd name="T36" fmla="*/ 482 w 628"/>
                <a:gd name="T37" fmla="*/ 531 h 910"/>
                <a:gd name="T38" fmla="*/ 510 w 628"/>
                <a:gd name="T39" fmla="*/ 534 h 910"/>
                <a:gd name="T40" fmla="*/ 498 w 628"/>
                <a:gd name="T41" fmla="*/ 554 h 910"/>
                <a:gd name="T42" fmla="*/ 513 w 628"/>
                <a:gd name="T43" fmla="*/ 576 h 910"/>
                <a:gd name="T44" fmla="*/ 530 w 628"/>
                <a:gd name="T45" fmla="*/ 619 h 910"/>
                <a:gd name="T46" fmla="*/ 553 w 628"/>
                <a:gd name="T47" fmla="*/ 659 h 910"/>
                <a:gd name="T48" fmla="*/ 597 w 628"/>
                <a:gd name="T49" fmla="*/ 678 h 910"/>
                <a:gd name="T50" fmla="*/ 617 w 628"/>
                <a:gd name="T51" fmla="*/ 726 h 910"/>
                <a:gd name="T52" fmla="*/ 627 w 628"/>
                <a:gd name="T53" fmla="*/ 778 h 910"/>
                <a:gd name="T54" fmla="*/ 584 w 628"/>
                <a:gd name="T55" fmla="*/ 766 h 910"/>
                <a:gd name="T56" fmla="*/ 545 w 628"/>
                <a:gd name="T57" fmla="*/ 772 h 910"/>
                <a:gd name="T58" fmla="*/ 530 w 628"/>
                <a:gd name="T59" fmla="*/ 833 h 910"/>
                <a:gd name="T60" fmla="*/ 480 w 628"/>
                <a:gd name="T61" fmla="*/ 880 h 910"/>
                <a:gd name="T62" fmla="*/ 460 w 628"/>
                <a:gd name="T63" fmla="*/ 910 h 910"/>
                <a:gd name="T64" fmla="*/ 438 w 628"/>
                <a:gd name="T65" fmla="*/ 876 h 910"/>
                <a:gd name="T66" fmla="*/ 435 w 628"/>
                <a:gd name="T67" fmla="*/ 834 h 910"/>
                <a:gd name="T68" fmla="*/ 411 w 628"/>
                <a:gd name="T69" fmla="*/ 821 h 910"/>
                <a:gd name="T70" fmla="*/ 348 w 628"/>
                <a:gd name="T71" fmla="*/ 763 h 910"/>
                <a:gd name="T72" fmla="*/ 336 w 628"/>
                <a:gd name="T73" fmla="*/ 728 h 910"/>
                <a:gd name="T74" fmla="*/ 275 w 628"/>
                <a:gd name="T75" fmla="*/ 743 h 910"/>
                <a:gd name="T76" fmla="*/ 250 w 628"/>
                <a:gd name="T77" fmla="*/ 731 h 910"/>
                <a:gd name="T78" fmla="*/ 238 w 628"/>
                <a:gd name="T79" fmla="*/ 684 h 910"/>
                <a:gd name="T80" fmla="*/ 203 w 628"/>
                <a:gd name="T81" fmla="*/ 649 h 910"/>
                <a:gd name="T82" fmla="*/ 162 w 628"/>
                <a:gd name="T83" fmla="*/ 626 h 910"/>
                <a:gd name="T84" fmla="*/ 159 w 628"/>
                <a:gd name="T85" fmla="*/ 604 h 910"/>
                <a:gd name="T86" fmla="*/ 99 w 628"/>
                <a:gd name="T87" fmla="*/ 569 h 910"/>
                <a:gd name="T88" fmla="*/ 61 w 628"/>
                <a:gd name="T89" fmla="*/ 532 h 910"/>
                <a:gd name="T90" fmla="*/ 21 w 628"/>
                <a:gd name="T91" fmla="*/ 501 h 910"/>
                <a:gd name="T92" fmla="*/ 0 w 628"/>
                <a:gd name="T93" fmla="*/ 472 h 910"/>
                <a:gd name="T94" fmla="*/ 22 w 628"/>
                <a:gd name="T95" fmla="*/ 448 h 910"/>
                <a:gd name="T96" fmla="*/ 59 w 628"/>
                <a:gd name="T97" fmla="*/ 419 h 910"/>
                <a:gd name="T98" fmla="*/ 49 w 628"/>
                <a:gd name="T99" fmla="*/ 382 h 910"/>
                <a:gd name="T100" fmla="*/ 31 w 628"/>
                <a:gd name="T101" fmla="*/ 349 h 910"/>
                <a:gd name="T102" fmla="*/ 30 w 628"/>
                <a:gd name="T103" fmla="*/ 297 h 910"/>
                <a:gd name="T104" fmla="*/ 21 w 628"/>
                <a:gd name="T105" fmla="*/ 279 h 910"/>
                <a:gd name="T106" fmla="*/ 33 w 628"/>
                <a:gd name="T107" fmla="*/ 264 h 910"/>
                <a:gd name="T108" fmla="*/ 54 w 628"/>
                <a:gd name="T109" fmla="*/ 249 h 910"/>
                <a:gd name="T110" fmla="*/ 60 w 628"/>
                <a:gd name="T111" fmla="*/ 221 h 910"/>
                <a:gd name="T112" fmla="*/ 84 w 628"/>
                <a:gd name="T113" fmla="*/ 179 h 910"/>
                <a:gd name="T114" fmla="*/ 79 w 628"/>
                <a:gd name="T115" fmla="*/ 130 h 910"/>
                <a:gd name="T116" fmla="*/ 99 w 628"/>
                <a:gd name="T117" fmla="*/ 123 h 910"/>
                <a:gd name="T118" fmla="*/ 133 w 628"/>
                <a:gd name="T119" fmla="*/ 128 h 910"/>
                <a:gd name="T120" fmla="*/ 116 w 628"/>
                <a:gd name="T121" fmla="*/ 84 h 910"/>
                <a:gd name="T122" fmla="*/ 116 w 628"/>
                <a:gd name="T123" fmla="*/ 35 h 910"/>
                <a:gd name="T124" fmla="*/ 150 w 628"/>
                <a:gd name="T125" fmla="*/ 13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28" h="910">
                  <a:moveTo>
                    <a:pt x="160" y="0"/>
                  </a:moveTo>
                  <a:lnTo>
                    <a:pt x="161" y="0"/>
                  </a:lnTo>
                  <a:lnTo>
                    <a:pt x="161" y="0"/>
                  </a:lnTo>
                  <a:lnTo>
                    <a:pt x="161" y="1"/>
                  </a:lnTo>
                  <a:lnTo>
                    <a:pt x="161" y="2"/>
                  </a:lnTo>
                  <a:lnTo>
                    <a:pt x="162" y="2"/>
                  </a:lnTo>
                  <a:lnTo>
                    <a:pt x="164" y="3"/>
                  </a:lnTo>
                  <a:lnTo>
                    <a:pt x="167" y="4"/>
                  </a:lnTo>
                  <a:lnTo>
                    <a:pt x="167" y="3"/>
                  </a:lnTo>
                  <a:lnTo>
                    <a:pt x="169" y="3"/>
                  </a:lnTo>
                  <a:lnTo>
                    <a:pt x="169" y="5"/>
                  </a:lnTo>
                  <a:lnTo>
                    <a:pt x="169" y="5"/>
                  </a:lnTo>
                  <a:lnTo>
                    <a:pt x="169" y="9"/>
                  </a:lnTo>
                  <a:lnTo>
                    <a:pt x="170" y="16"/>
                  </a:lnTo>
                  <a:lnTo>
                    <a:pt x="171" y="21"/>
                  </a:lnTo>
                  <a:lnTo>
                    <a:pt x="174" y="28"/>
                  </a:lnTo>
                  <a:lnTo>
                    <a:pt x="176" y="38"/>
                  </a:lnTo>
                  <a:lnTo>
                    <a:pt x="178" y="42"/>
                  </a:lnTo>
                  <a:lnTo>
                    <a:pt x="179" y="47"/>
                  </a:lnTo>
                  <a:lnTo>
                    <a:pt x="183" y="55"/>
                  </a:lnTo>
                  <a:lnTo>
                    <a:pt x="185" y="61"/>
                  </a:lnTo>
                  <a:lnTo>
                    <a:pt x="186" y="66"/>
                  </a:lnTo>
                  <a:lnTo>
                    <a:pt x="189" y="74"/>
                  </a:lnTo>
                  <a:lnTo>
                    <a:pt x="189" y="76"/>
                  </a:lnTo>
                  <a:lnTo>
                    <a:pt x="190" y="78"/>
                  </a:lnTo>
                  <a:lnTo>
                    <a:pt x="191" y="80"/>
                  </a:lnTo>
                  <a:lnTo>
                    <a:pt x="191" y="81"/>
                  </a:lnTo>
                  <a:lnTo>
                    <a:pt x="192" y="82"/>
                  </a:lnTo>
                  <a:lnTo>
                    <a:pt x="194" y="83"/>
                  </a:lnTo>
                  <a:lnTo>
                    <a:pt x="194" y="83"/>
                  </a:lnTo>
                  <a:lnTo>
                    <a:pt x="196" y="83"/>
                  </a:lnTo>
                  <a:lnTo>
                    <a:pt x="197" y="83"/>
                  </a:lnTo>
                  <a:lnTo>
                    <a:pt x="199" y="82"/>
                  </a:lnTo>
                  <a:lnTo>
                    <a:pt x="205" y="80"/>
                  </a:lnTo>
                  <a:lnTo>
                    <a:pt x="208" y="77"/>
                  </a:lnTo>
                  <a:lnTo>
                    <a:pt x="212" y="77"/>
                  </a:lnTo>
                  <a:lnTo>
                    <a:pt x="216" y="76"/>
                  </a:lnTo>
                  <a:lnTo>
                    <a:pt x="218" y="75"/>
                  </a:lnTo>
                  <a:lnTo>
                    <a:pt x="222" y="76"/>
                  </a:lnTo>
                  <a:lnTo>
                    <a:pt x="224" y="76"/>
                  </a:lnTo>
                  <a:lnTo>
                    <a:pt x="226" y="77"/>
                  </a:lnTo>
                  <a:lnTo>
                    <a:pt x="228" y="79"/>
                  </a:lnTo>
                  <a:lnTo>
                    <a:pt x="231" y="80"/>
                  </a:lnTo>
                  <a:lnTo>
                    <a:pt x="233" y="82"/>
                  </a:lnTo>
                  <a:lnTo>
                    <a:pt x="236" y="85"/>
                  </a:lnTo>
                  <a:lnTo>
                    <a:pt x="237" y="87"/>
                  </a:lnTo>
                  <a:lnTo>
                    <a:pt x="238" y="90"/>
                  </a:lnTo>
                  <a:lnTo>
                    <a:pt x="241" y="94"/>
                  </a:lnTo>
                  <a:lnTo>
                    <a:pt x="242" y="97"/>
                  </a:lnTo>
                  <a:lnTo>
                    <a:pt x="244" y="103"/>
                  </a:lnTo>
                  <a:lnTo>
                    <a:pt x="246" y="106"/>
                  </a:lnTo>
                  <a:lnTo>
                    <a:pt x="247" y="108"/>
                  </a:lnTo>
                  <a:lnTo>
                    <a:pt x="253" y="117"/>
                  </a:lnTo>
                  <a:lnTo>
                    <a:pt x="256" y="120"/>
                  </a:lnTo>
                  <a:lnTo>
                    <a:pt x="259" y="124"/>
                  </a:lnTo>
                  <a:lnTo>
                    <a:pt x="261" y="126"/>
                  </a:lnTo>
                  <a:lnTo>
                    <a:pt x="263" y="128"/>
                  </a:lnTo>
                  <a:lnTo>
                    <a:pt x="266" y="130"/>
                  </a:lnTo>
                  <a:lnTo>
                    <a:pt x="268" y="131"/>
                  </a:lnTo>
                  <a:lnTo>
                    <a:pt x="269" y="132"/>
                  </a:lnTo>
                  <a:lnTo>
                    <a:pt x="271" y="133"/>
                  </a:lnTo>
                  <a:lnTo>
                    <a:pt x="273" y="134"/>
                  </a:lnTo>
                  <a:lnTo>
                    <a:pt x="277" y="135"/>
                  </a:lnTo>
                  <a:lnTo>
                    <a:pt x="287" y="137"/>
                  </a:lnTo>
                  <a:lnTo>
                    <a:pt x="293" y="138"/>
                  </a:lnTo>
                  <a:lnTo>
                    <a:pt x="311" y="145"/>
                  </a:lnTo>
                  <a:lnTo>
                    <a:pt x="321" y="147"/>
                  </a:lnTo>
                  <a:lnTo>
                    <a:pt x="323" y="148"/>
                  </a:lnTo>
                  <a:lnTo>
                    <a:pt x="327" y="150"/>
                  </a:lnTo>
                  <a:lnTo>
                    <a:pt x="328" y="150"/>
                  </a:lnTo>
                  <a:lnTo>
                    <a:pt x="330" y="151"/>
                  </a:lnTo>
                  <a:lnTo>
                    <a:pt x="331" y="152"/>
                  </a:lnTo>
                  <a:lnTo>
                    <a:pt x="333" y="154"/>
                  </a:lnTo>
                  <a:lnTo>
                    <a:pt x="334" y="156"/>
                  </a:lnTo>
                  <a:lnTo>
                    <a:pt x="335" y="158"/>
                  </a:lnTo>
                  <a:lnTo>
                    <a:pt x="337" y="162"/>
                  </a:lnTo>
                  <a:lnTo>
                    <a:pt x="339" y="170"/>
                  </a:lnTo>
                  <a:lnTo>
                    <a:pt x="340" y="173"/>
                  </a:lnTo>
                  <a:lnTo>
                    <a:pt x="341" y="176"/>
                  </a:lnTo>
                  <a:lnTo>
                    <a:pt x="343" y="179"/>
                  </a:lnTo>
                  <a:lnTo>
                    <a:pt x="344" y="181"/>
                  </a:lnTo>
                  <a:lnTo>
                    <a:pt x="346" y="183"/>
                  </a:lnTo>
                  <a:lnTo>
                    <a:pt x="353" y="191"/>
                  </a:lnTo>
                  <a:lnTo>
                    <a:pt x="359" y="197"/>
                  </a:lnTo>
                  <a:lnTo>
                    <a:pt x="361" y="199"/>
                  </a:lnTo>
                  <a:lnTo>
                    <a:pt x="362" y="201"/>
                  </a:lnTo>
                  <a:lnTo>
                    <a:pt x="363" y="202"/>
                  </a:lnTo>
                  <a:lnTo>
                    <a:pt x="366" y="209"/>
                  </a:lnTo>
                  <a:lnTo>
                    <a:pt x="367" y="212"/>
                  </a:lnTo>
                  <a:lnTo>
                    <a:pt x="368" y="214"/>
                  </a:lnTo>
                  <a:lnTo>
                    <a:pt x="370" y="215"/>
                  </a:lnTo>
                  <a:lnTo>
                    <a:pt x="376" y="222"/>
                  </a:lnTo>
                  <a:lnTo>
                    <a:pt x="378" y="224"/>
                  </a:lnTo>
                  <a:lnTo>
                    <a:pt x="379" y="225"/>
                  </a:lnTo>
                  <a:lnTo>
                    <a:pt x="381" y="226"/>
                  </a:lnTo>
                  <a:lnTo>
                    <a:pt x="386" y="229"/>
                  </a:lnTo>
                  <a:lnTo>
                    <a:pt x="388" y="230"/>
                  </a:lnTo>
                  <a:lnTo>
                    <a:pt x="389" y="232"/>
                  </a:lnTo>
                  <a:lnTo>
                    <a:pt x="394" y="237"/>
                  </a:lnTo>
                  <a:lnTo>
                    <a:pt x="397" y="239"/>
                  </a:lnTo>
                  <a:lnTo>
                    <a:pt x="401" y="242"/>
                  </a:lnTo>
                  <a:lnTo>
                    <a:pt x="405" y="244"/>
                  </a:lnTo>
                  <a:lnTo>
                    <a:pt x="408" y="247"/>
                  </a:lnTo>
                  <a:lnTo>
                    <a:pt x="416" y="250"/>
                  </a:lnTo>
                  <a:lnTo>
                    <a:pt x="421" y="252"/>
                  </a:lnTo>
                  <a:lnTo>
                    <a:pt x="430" y="255"/>
                  </a:lnTo>
                  <a:lnTo>
                    <a:pt x="431" y="256"/>
                  </a:lnTo>
                  <a:lnTo>
                    <a:pt x="431" y="257"/>
                  </a:lnTo>
                  <a:lnTo>
                    <a:pt x="430" y="257"/>
                  </a:lnTo>
                  <a:lnTo>
                    <a:pt x="430" y="259"/>
                  </a:lnTo>
                  <a:lnTo>
                    <a:pt x="430" y="266"/>
                  </a:lnTo>
                  <a:lnTo>
                    <a:pt x="430" y="270"/>
                  </a:lnTo>
                  <a:lnTo>
                    <a:pt x="429" y="275"/>
                  </a:lnTo>
                  <a:lnTo>
                    <a:pt x="428" y="279"/>
                  </a:lnTo>
                  <a:lnTo>
                    <a:pt x="428" y="283"/>
                  </a:lnTo>
                  <a:lnTo>
                    <a:pt x="426" y="287"/>
                  </a:lnTo>
                  <a:lnTo>
                    <a:pt x="425" y="290"/>
                  </a:lnTo>
                  <a:lnTo>
                    <a:pt x="423" y="293"/>
                  </a:lnTo>
                  <a:lnTo>
                    <a:pt x="423" y="294"/>
                  </a:lnTo>
                  <a:lnTo>
                    <a:pt x="421" y="296"/>
                  </a:lnTo>
                  <a:lnTo>
                    <a:pt x="420" y="297"/>
                  </a:lnTo>
                  <a:lnTo>
                    <a:pt x="418" y="297"/>
                  </a:lnTo>
                  <a:lnTo>
                    <a:pt x="417" y="298"/>
                  </a:lnTo>
                  <a:lnTo>
                    <a:pt x="416" y="298"/>
                  </a:lnTo>
                  <a:lnTo>
                    <a:pt x="409" y="298"/>
                  </a:lnTo>
                  <a:lnTo>
                    <a:pt x="408" y="298"/>
                  </a:lnTo>
                  <a:lnTo>
                    <a:pt x="406" y="299"/>
                  </a:lnTo>
                  <a:lnTo>
                    <a:pt x="404" y="299"/>
                  </a:lnTo>
                  <a:lnTo>
                    <a:pt x="402" y="300"/>
                  </a:lnTo>
                  <a:lnTo>
                    <a:pt x="401" y="302"/>
                  </a:lnTo>
                  <a:lnTo>
                    <a:pt x="399" y="304"/>
                  </a:lnTo>
                  <a:lnTo>
                    <a:pt x="398" y="307"/>
                  </a:lnTo>
                  <a:lnTo>
                    <a:pt x="396" y="309"/>
                  </a:lnTo>
                  <a:lnTo>
                    <a:pt x="396" y="312"/>
                  </a:lnTo>
                  <a:lnTo>
                    <a:pt x="396" y="315"/>
                  </a:lnTo>
                  <a:lnTo>
                    <a:pt x="396" y="322"/>
                  </a:lnTo>
                  <a:lnTo>
                    <a:pt x="395" y="331"/>
                  </a:lnTo>
                  <a:lnTo>
                    <a:pt x="394" y="334"/>
                  </a:lnTo>
                  <a:lnTo>
                    <a:pt x="393" y="336"/>
                  </a:lnTo>
                  <a:lnTo>
                    <a:pt x="392" y="338"/>
                  </a:lnTo>
                  <a:lnTo>
                    <a:pt x="391" y="339"/>
                  </a:lnTo>
                  <a:lnTo>
                    <a:pt x="387" y="344"/>
                  </a:lnTo>
                  <a:lnTo>
                    <a:pt x="386" y="346"/>
                  </a:lnTo>
                  <a:lnTo>
                    <a:pt x="386" y="347"/>
                  </a:lnTo>
                  <a:lnTo>
                    <a:pt x="386" y="349"/>
                  </a:lnTo>
                  <a:lnTo>
                    <a:pt x="385" y="350"/>
                  </a:lnTo>
                  <a:lnTo>
                    <a:pt x="385" y="353"/>
                  </a:lnTo>
                  <a:lnTo>
                    <a:pt x="386" y="354"/>
                  </a:lnTo>
                  <a:lnTo>
                    <a:pt x="386" y="355"/>
                  </a:lnTo>
                  <a:lnTo>
                    <a:pt x="387" y="357"/>
                  </a:lnTo>
                  <a:lnTo>
                    <a:pt x="388" y="358"/>
                  </a:lnTo>
                  <a:lnTo>
                    <a:pt x="389" y="359"/>
                  </a:lnTo>
                  <a:lnTo>
                    <a:pt x="391" y="359"/>
                  </a:lnTo>
                  <a:lnTo>
                    <a:pt x="393" y="360"/>
                  </a:lnTo>
                  <a:lnTo>
                    <a:pt x="395" y="361"/>
                  </a:lnTo>
                  <a:lnTo>
                    <a:pt x="402" y="362"/>
                  </a:lnTo>
                  <a:lnTo>
                    <a:pt x="407" y="364"/>
                  </a:lnTo>
                  <a:lnTo>
                    <a:pt x="411" y="365"/>
                  </a:lnTo>
                  <a:lnTo>
                    <a:pt x="413" y="366"/>
                  </a:lnTo>
                  <a:lnTo>
                    <a:pt x="415" y="367"/>
                  </a:lnTo>
                  <a:lnTo>
                    <a:pt x="417" y="369"/>
                  </a:lnTo>
                  <a:lnTo>
                    <a:pt x="418" y="370"/>
                  </a:lnTo>
                  <a:lnTo>
                    <a:pt x="421" y="372"/>
                  </a:lnTo>
                  <a:lnTo>
                    <a:pt x="422" y="373"/>
                  </a:lnTo>
                  <a:lnTo>
                    <a:pt x="423" y="375"/>
                  </a:lnTo>
                  <a:lnTo>
                    <a:pt x="425" y="377"/>
                  </a:lnTo>
                  <a:lnTo>
                    <a:pt x="427" y="381"/>
                  </a:lnTo>
                  <a:lnTo>
                    <a:pt x="428" y="383"/>
                  </a:lnTo>
                  <a:lnTo>
                    <a:pt x="428" y="385"/>
                  </a:lnTo>
                  <a:lnTo>
                    <a:pt x="429" y="387"/>
                  </a:lnTo>
                  <a:lnTo>
                    <a:pt x="430" y="389"/>
                  </a:lnTo>
                  <a:lnTo>
                    <a:pt x="430" y="390"/>
                  </a:lnTo>
                  <a:lnTo>
                    <a:pt x="430" y="392"/>
                  </a:lnTo>
                  <a:lnTo>
                    <a:pt x="429" y="395"/>
                  </a:lnTo>
                  <a:lnTo>
                    <a:pt x="428" y="401"/>
                  </a:lnTo>
                  <a:lnTo>
                    <a:pt x="427" y="403"/>
                  </a:lnTo>
                  <a:lnTo>
                    <a:pt x="425" y="405"/>
                  </a:lnTo>
                  <a:lnTo>
                    <a:pt x="424" y="409"/>
                  </a:lnTo>
                  <a:lnTo>
                    <a:pt x="418" y="417"/>
                  </a:lnTo>
                  <a:lnTo>
                    <a:pt x="418" y="419"/>
                  </a:lnTo>
                  <a:lnTo>
                    <a:pt x="417" y="420"/>
                  </a:lnTo>
                  <a:lnTo>
                    <a:pt x="417" y="421"/>
                  </a:lnTo>
                  <a:lnTo>
                    <a:pt x="417" y="423"/>
                  </a:lnTo>
                  <a:lnTo>
                    <a:pt x="418" y="424"/>
                  </a:lnTo>
                  <a:lnTo>
                    <a:pt x="418" y="424"/>
                  </a:lnTo>
                  <a:lnTo>
                    <a:pt x="421" y="428"/>
                  </a:lnTo>
                  <a:lnTo>
                    <a:pt x="423" y="430"/>
                  </a:lnTo>
                  <a:lnTo>
                    <a:pt x="425" y="433"/>
                  </a:lnTo>
                  <a:lnTo>
                    <a:pt x="426" y="436"/>
                  </a:lnTo>
                  <a:lnTo>
                    <a:pt x="428" y="438"/>
                  </a:lnTo>
                  <a:lnTo>
                    <a:pt x="428" y="440"/>
                  </a:lnTo>
                  <a:lnTo>
                    <a:pt x="430" y="448"/>
                  </a:lnTo>
                  <a:lnTo>
                    <a:pt x="431" y="450"/>
                  </a:lnTo>
                  <a:lnTo>
                    <a:pt x="432" y="451"/>
                  </a:lnTo>
                  <a:lnTo>
                    <a:pt x="433" y="453"/>
                  </a:lnTo>
                  <a:lnTo>
                    <a:pt x="433" y="454"/>
                  </a:lnTo>
                  <a:lnTo>
                    <a:pt x="435" y="455"/>
                  </a:lnTo>
                  <a:lnTo>
                    <a:pt x="438" y="456"/>
                  </a:lnTo>
                  <a:lnTo>
                    <a:pt x="440" y="458"/>
                  </a:lnTo>
                  <a:lnTo>
                    <a:pt x="448" y="460"/>
                  </a:lnTo>
                  <a:lnTo>
                    <a:pt x="449" y="461"/>
                  </a:lnTo>
                  <a:lnTo>
                    <a:pt x="450" y="461"/>
                  </a:lnTo>
                  <a:lnTo>
                    <a:pt x="452" y="463"/>
                  </a:lnTo>
                  <a:lnTo>
                    <a:pt x="455" y="467"/>
                  </a:lnTo>
                  <a:lnTo>
                    <a:pt x="457" y="469"/>
                  </a:lnTo>
                  <a:lnTo>
                    <a:pt x="458" y="469"/>
                  </a:lnTo>
                  <a:lnTo>
                    <a:pt x="463" y="473"/>
                  </a:lnTo>
                  <a:lnTo>
                    <a:pt x="465" y="474"/>
                  </a:lnTo>
                  <a:lnTo>
                    <a:pt x="467" y="476"/>
                  </a:lnTo>
                  <a:lnTo>
                    <a:pt x="468" y="478"/>
                  </a:lnTo>
                  <a:lnTo>
                    <a:pt x="468" y="479"/>
                  </a:lnTo>
                  <a:lnTo>
                    <a:pt x="469" y="481"/>
                  </a:lnTo>
                  <a:lnTo>
                    <a:pt x="469" y="482"/>
                  </a:lnTo>
                  <a:lnTo>
                    <a:pt x="469" y="484"/>
                  </a:lnTo>
                  <a:lnTo>
                    <a:pt x="468" y="490"/>
                  </a:lnTo>
                  <a:lnTo>
                    <a:pt x="466" y="504"/>
                  </a:lnTo>
                  <a:lnTo>
                    <a:pt x="466" y="506"/>
                  </a:lnTo>
                  <a:lnTo>
                    <a:pt x="465" y="509"/>
                  </a:lnTo>
                  <a:lnTo>
                    <a:pt x="466" y="511"/>
                  </a:lnTo>
                  <a:lnTo>
                    <a:pt x="467" y="514"/>
                  </a:lnTo>
                  <a:lnTo>
                    <a:pt x="468" y="516"/>
                  </a:lnTo>
                  <a:lnTo>
                    <a:pt x="470" y="519"/>
                  </a:lnTo>
                  <a:lnTo>
                    <a:pt x="471" y="521"/>
                  </a:lnTo>
                  <a:lnTo>
                    <a:pt x="473" y="524"/>
                  </a:lnTo>
                  <a:lnTo>
                    <a:pt x="475" y="526"/>
                  </a:lnTo>
                  <a:lnTo>
                    <a:pt x="478" y="528"/>
                  </a:lnTo>
                  <a:lnTo>
                    <a:pt x="480" y="529"/>
                  </a:lnTo>
                  <a:lnTo>
                    <a:pt x="482" y="531"/>
                  </a:lnTo>
                  <a:lnTo>
                    <a:pt x="484" y="531"/>
                  </a:lnTo>
                  <a:lnTo>
                    <a:pt x="486" y="532"/>
                  </a:lnTo>
                  <a:lnTo>
                    <a:pt x="488" y="533"/>
                  </a:lnTo>
                  <a:lnTo>
                    <a:pt x="489" y="534"/>
                  </a:lnTo>
                  <a:lnTo>
                    <a:pt x="492" y="534"/>
                  </a:lnTo>
                  <a:lnTo>
                    <a:pt x="495" y="534"/>
                  </a:lnTo>
                  <a:lnTo>
                    <a:pt x="503" y="532"/>
                  </a:lnTo>
                  <a:lnTo>
                    <a:pt x="505" y="532"/>
                  </a:lnTo>
                  <a:lnTo>
                    <a:pt x="507" y="532"/>
                  </a:lnTo>
                  <a:lnTo>
                    <a:pt x="508" y="532"/>
                  </a:lnTo>
                  <a:lnTo>
                    <a:pt x="510" y="533"/>
                  </a:lnTo>
                  <a:lnTo>
                    <a:pt x="510" y="534"/>
                  </a:lnTo>
                  <a:lnTo>
                    <a:pt x="511" y="534"/>
                  </a:lnTo>
                  <a:lnTo>
                    <a:pt x="511" y="535"/>
                  </a:lnTo>
                  <a:lnTo>
                    <a:pt x="511" y="536"/>
                  </a:lnTo>
                  <a:lnTo>
                    <a:pt x="511" y="538"/>
                  </a:lnTo>
                  <a:lnTo>
                    <a:pt x="510" y="540"/>
                  </a:lnTo>
                  <a:lnTo>
                    <a:pt x="510" y="542"/>
                  </a:lnTo>
                  <a:lnTo>
                    <a:pt x="509" y="543"/>
                  </a:lnTo>
                  <a:lnTo>
                    <a:pt x="508" y="544"/>
                  </a:lnTo>
                  <a:lnTo>
                    <a:pt x="503" y="548"/>
                  </a:lnTo>
                  <a:lnTo>
                    <a:pt x="500" y="550"/>
                  </a:lnTo>
                  <a:lnTo>
                    <a:pt x="499" y="551"/>
                  </a:lnTo>
                  <a:lnTo>
                    <a:pt x="498" y="554"/>
                  </a:lnTo>
                  <a:lnTo>
                    <a:pt x="497" y="556"/>
                  </a:lnTo>
                  <a:lnTo>
                    <a:pt x="496" y="559"/>
                  </a:lnTo>
                  <a:lnTo>
                    <a:pt x="495" y="561"/>
                  </a:lnTo>
                  <a:lnTo>
                    <a:pt x="496" y="564"/>
                  </a:lnTo>
                  <a:lnTo>
                    <a:pt x="497" y="565"/>
                  </a:lnTo>
                  <a:lnTo>
                    <a:pt x="498" y="566"/>
                  </a:lnTo>
                  <a:lnTo>
                    <a:pt x="498" y="568"/>
                  </a:lnTo>
                  <a:lnTo>
                    <a:pt x="500" y="569"/>
                  </a:lnTo>
                  <a:lnTo>
                    <a:pt x="501" y="570"/>
                  </a:lnTo>
                  <a:lnTo>
                    <a:pt x="503" y="571"/>
                  </a:lnTo>
                  <a:lnTo>
                    <a:pt x="511" y="575"/>
                  </a:lnTo>
                  <a:lnTo>
                    <a:pt x="513" y="576"/>
                  </a:lnTo>
                  <a:lnTo>
                    <a:pt x="515" y="578"/>
                  </a:lnTo>
                  <a:lnTo>
                    <a:pt x="516" y="579"/>
                  </a:lnTo>
                  <a:lnTo>
                    <a:pt x="517" y="579"/>
                  </a:lnTo>
                  <a:lnTo>
                    <a:pt x="518" y="581"/>
                  </a:lnTo>
                  <a:lnTo>
                    <a:pt x="518" y="584"/>
                  </a:lnTo>
                  <a:lnTo>
                    <a:pt x="519" y="586"/>
                  </a:lnTo>
                  <a:lnTo>
                    <a:pt x="520" y="592"/>
                  </a:lnTo>
                  <a:lnTo>
                    <a:pt x="523" y="599"/>
                  </a:lnTo>
                  <a:lnTo>
                    <a:pt x="524" y="604"/>
                  </a:lnTo>
                  <a:lnTo>
                    <a:pt x="528" y="611"/>
                  </a:lnTo>
                  <a:lnTo>
                    <a:pt x="530" y="614"/>
                  </a:lnTo>
                  <a:lnTo>
                    <a:pt x="530" y="619"/>
                  </a:lnTo>
                  <a:lnTo>
                    <a:pt x="532" y="628"/>
                  </a:lnTo>
                  <a:lnTo>
                    <a:pt x="533" y="632"/>
                  </a:lnTo>
                  <a:lnTo>
                    <a:pt x="534" y="634"/>
                  </a:lnTo>
                  <a:lnTo>
                    <a:pt x="535" y="637"/>
                  </a:lnTo>
                  <a:lnTo>
                    <a:pt x="537" y="640"/>
                  </a:lnTo>
                  <a:lnTo>
                    <a:pt x="539" y="644"/>
                  </a:lnTo>
                  <a:lnTo>
                    <a:pt x="541" y="646"/>
                  </a:lnTo>
                  <a:lnTo>
                    <a:pt x="543" y="649"/>
                  </a:lnTo>
                  <a:lnTo>
                    <a:pt x="545" y="652"/>
                  </a:lnTo>
                  <a:lnTo>
                    <a:pt x="548" y="655"/>
                  </a:lnTo>
                  <a:lnTo>
                    <a:pt x="550" y="657"/>
                  </a:lnTo>
                  <a:lnTo>
                    <a:pt x="553" y="659"/>
                  </a:lnTo>
                  <a:lnTo>
                    <a:pt x="555" y="661"/>
                  </a:lnTo>
                  <a:lnTo>
                    <a:pt x="558" y="663"/>
                  </a:lnTo>
                  <a:lnTo>
                    <a:pt x="561" y="665"/>
                  </a:lnTo>
                  <a:lnTo>
                    <a:pt x="565" y="667"/>
                  </a:lnTo>
                  <a:lnTo>
                    <a:pt x="568" y="668"/>
                  </a:lnTo>
                  <a:lnTo>
                    <a:pt x="573" y="671"/>
                  </a:lnTo>
                  <a:lnTo>
                    <a:pt x="577" y="672"/>
                  </a:lnTo>
                  <a:lnTo>
                    <a:pt x="580" y="673"/>
                  </a:lnTo>
                  <a:lnTo>
                    <a:pt x="591" y="676"/>
                  </a:lnTo>
                  <a:lnTo>
                    <a:pt x="593" y="676"/>
                  </a:lnTo>
                  <a:lnTo>
                    <a:pt x="595" y="677"/>
                  </a:lnTo>
                  <a:lnTo>
                    <a:pt x="597" y="678"/>
                  </a:lnTo>
                  <a:lnTo>
                    <a:pt x="598" y="679"/>
                  </a:lnTo>
                  <a:lnTo>
                    <a:pt x="600" y="681"/>
                  </a:lnTo>
                  <a:lnTo>
                    <a:pt x="602" y="683"/>
                  </a:lnTo>
                  <a:lnTo>
                    <a:pt x="603" y="685"/>
                  </a:lnTo>
                  <a:lnTo>
                    <a:pt x="603" y="687"/>
                  </a:lnTo>
                  <a:lnTo>
                    <a:pt x="605" y="691"/>
                  </a:lnTo>
                  <a:lnTo>
                    <a:pt x="605" y="695"/>
                  </a:lnTo>
                  <a:lnTo>
                    <a:pt x="607" y="703"/>
                  </a:lnTo>
                  <a:lnTo>
                    <a:pt x="608" y="706"/>
                  </a:lnTo>
                  <a:lnTo>
                    <a:pt x="609" y="708"/>
                  </a:lnTo>
                  <a:lnTo>
                    <a:pt x="610" y="713"/>
                  </a:lnTo>
                  <a:lnTo>
                    <a:pt x="617" y="726"/>
                  </a:lnTo>
                  <a:lnTo>
                    <a:pt x="619" y="730"/>
                  </a:lnTo>
                  <a:lnTo>
                    <a:pt x="620" y="733"/>
                  </a:lnTo>
                  <a:lnTo>
                    <a:pt x="620" y="736"/>
                  </a:lnTo>
                  <a:lnTo>
                    <a:pt x="620" y="738"/>
                  </a:lnTo>
                  <a:lnTo>
                    <a:pt x="622" y="748"/>
                  </a:lnTo>
                  <a:lnTo>
                    <a:pt x="623" y="754"/>
                  </a:lnTo>
                  <a:lnTo>
                    <a:pt x="624" y="759"/>
                  </a:lnTo>
                  <a:lnTo>
                    <a:pt x="626" y="768"/>
                  </a:lnTo>
                  <a:lnTo>
                    <a:pt x="628" y="772"/>
                  </a:lnTo>
                  <a:lnTo>
                    <a:pt x="628" y="775"/>
                  </a:lnTo>
                  <a:lnTo>
                    <a:pt x="627" y="777"/>
                  </a:lnTo>
                  <a:lnTo>
                    <a:pt x="627" y="778"/>
                  </a:lnTo>
                  <a:lnTo>
                    <a:pt x="626" y="778"/>
                  </a:lnTo>
                  <a:lnTo>
                    <a:pt x="626" y="779"/>
                  </a:lnTo>
                  <a:lnTo>
                    <a:pt x="625" y="779"/>
                  </a:lnTo>
                  <a:lnTo>
                    <a:pt x="624" y="778"/>
                  </a:lnTo>
                  <a:lnTo>
                    <a:pt x="621" y="778"/>
                  </a:lnTo>
                  <a:lnTo>
                    <a:pt x="614" y="773"/>
                  </a:lnTo>
                  <a:lnTo>
                    <a:pt x="611" y="772"/>
                  </a:lnTo>
                  <a:lnTo>
                    <a:pt x="608" y="771"/>
                  </a:lnTo>
                  <a:lnTo>
                    <a:pt x="603" y="769"/>
                  </a:lnTo>
                  <a:lnTo>
                    <a:pt x="600" y="768"/>
                  </a:lnTo>
                  <a:lnTo>
                    <a:pt x="598" y="768"/>
                  </a:lnTo>
                  <a:lnTo>
                    <a:pt x="584" y="766"/>
                  </a:lnTo>
                  <a:lnTo>
                    <a:pt x="575" y="763"/>
                  </a:lnTo>
                  <a:lnTo>
                    <a:pt x="571" y="763"/>
                  </a:lnTo>
                  <a:lnTo>
                    <a:pt x="568" y="763"/>
                  </a:lnTo>
                  <a:lnTo>
                    <a:pt x="565" y="763"/>
                  </a:lnTo>
                  <a:lnTo>
                    <a:pt x="561" y="763"/>
                  </a:lnTo>
                  <a:lnTo>
                    <a:pt x="558" y="763"/>
                  </a:lnTo>
                  <a:lnTo>
                    <a:pt x="555" y="764"/>
                  </a:lnTo>
                  <a:lnTo>
                    <a:pt x="553" y="765"/>
                  </a:lnTo>
                  <a:lnTo>
                    <a:pt x="551" y="766"/>
                  </a:lnTo>
                  <a:lnTo>
                    <a:pt x="549" y="768"/>
                  </a:lnTo>
                  <a:lnTo>
                    <a:pt x="547" y="770"/>
                  </a:lnTo>
                  <a:lnTo>
                    <a:pt x="545" y="772"/>
                  </a:lnTo>
                  <a:lnTo>
                    <a:pt x="544" y="775"/>
                  </a:lnTo>
                  <a:lnTo>
                    <a:pt x="543" y="778"/>
                  </a:lnTo>
                  <a:lnTo>
                    <a:pt x="542" y="781"/>
                  </a:lnTo>
                  <a:lnTo>
                    <a:pt x="540" y="791"/>
                  </a:lnTo>
                  <a:lnTo>
                    <a:pt x="537" y="805"/>
                  </a:lnTo>
                  <a:lnTo>
                    <a:pt x="536" y="810"/>
                  </a:lnTo>
                  <a:lnTo>
                    <a:pt x="535" y="819"/>
                  </a:lnTo>
                  <a:lnTo>
                    <a:pt x="534" y="823"/>
                  </a:lnTo>
                  <a:lnTo>
                    <a:pt x="533" y="826"/>
                  </a:lnTo>
                  <a:lnTo>
                    <a:pt x="533" y="828"/>
                  </a:lnTo>
                  <a:lnTo>
                    <a:pt x="531" y="831"/>
                  </a:lnTo>
                  <a:lnTo>
                    <a:pt x="530" y="833"/>
                  </a:lnTo>
                  <a:lnTo>
                    <a:pt x="526" y="838"/>
                  </a:lnTo>
                  <a:lnTo>
                    <a:pt x="523" y="843"/>
                  </a:lnTo>
                  <a:lnTo>
                    <a:pt x="518" y="848"/>
                  </a:lnTo>
                  <a:lnTo>
                    <a:pt x="515" y="852"/>
                  </a:lnTo>
                  <a:lnTo>
                    <a:pt x="512" y="855"/>
                  </a:lnTo>
                  <a:lnTo>
                    <a:pt x="508" y="858"/>
                  </a:lnTo>
                  <a:lnTo>
                    <a:pt x="505" y="860"/>
                  </a:lnTo>
                  <a:lnTo>
                    <a:pt x="497" y="866"/>
                  </a:lnTo>
                  <a:lnTo>
                    <a:pt x="492" y="868"/>
                  </a:lnTo>
                  <a:lnTo>
                    <a:pt x="486" y="873"/>
                  </a:lnTo>
                  <a:lnTo>
                    <a:pt x="483" y="877"/>
                  </a:lnTo>
                  <a:lnTo>
                    <a:pt x="480" y="880"/>
                  </a:lnTo>
                  <a:lnTo>
                    <a:pt x="476" y="883"/>
                  </a:lnTo>
                  <a:lnTo>
                    <a:pt x="473" y="887"/>
                  </a:lnTo>
                  <a:lnTo>
                    <a:pt x="471" y="890"/>
                  </a:lnTo>
                  <a:lnTo>
                    <a:pt x="469" y="893"/>
                  </a:lnTo>
                  <a:lnTo>
                    <a:pt x="467" y="896"/>
                  </a:lnTo>
                  <a:lnTo>
                    <a:pt x="465" y="900"/>
                  </a:lnTo>
                  <a:lnTo>
                    <a:pt x="464" y="903"/>
                  </a:lnTo>
                  <a:lnTo>
                    <a:pt x="463" y="907"/>
                  </a:lnTo>
                  <a:lnTo>
                    <a:pt x="462" y="909"/>
                  </a:lnTo>
                  <a:lnTo>
                    <a:pt x="462" y="910"/>
                  </a:lnTo>
                  <a:lnTo>
                    <a:pt x="461" y="910"/>
                  </a:lnTo>
                  <a:lnTo>
                    <a:pt x="460" y="910"/>
                  </a:lnTo>
                  <a:lnTo>
                    <a:pt x="458" y="908"/>
                  </a:lnTo>
                  <a:lnTo>
                    <a:pt x="456" y="908"/>
                  </a:lnTo>
                  <a:lnTo>
                    <a:pt x="455" y="906"/>
                  </a:lnTo>
                  <a:lnTo>
                    <a:pt x="453" y="905"/>
                  </a:lnTo>
                  <a:lnTo>
                    <a:pt x="452" y="903"/>
                  </a:lnTo>
                  <a:lnTo>
                    <a:pt x="450" y="901"/>
                  </a:lnTo>
                  <a:lnTo>
                    <a:pt x="448" y="898"/>
                  </a:lnTo>
                  <a:lnTo>
                    <a:pt x="447" y="896"/>
                  </a:lnTo>
                  <a:lnTo>
                    <a:pt x="444" y="891"/>
                  </a:lnTo>
                  <a:lnTo>
                    <a:pt x="442" y="886"/>
                  </a:lnTo>
                  <a:lnTo>
                    <a:pt x="440" y="881"/>
                  </a:lnTo>
                  <a:lnTo>
                    <a:pt x="438" y="876"/>
                  </a:lnTo>
                  <a:lnTo>
                    <a:pt x="437" y="871"/>
                  </a:lnTo>
                  <a:lnTo>
                    <a:pt x="436" y="867"/>
                  </a:lnTo>
                  <a:lnTo>
                    <a:pt x="436" y="863"/>
                  </a:lnTo>
                  <a:lnTo>
                    <a:pt x="436" y="857"/>
                  </a:lnTo>
                  <a:lnTo>
                    <a:pt x="436" y="847"/>
                  </a:lnTo>
                  <a:lnTo>
                    <a:pt x="437" y="841"/>
                  </a:lnTo>
                  <a:lnTo>
                    <a:pt x="438" y="836"/>
                  </a:lnTo>
                  <a:lnTo>
                    <a:pt x="438" y="835"/>
                  </a:lnTo>
                  <a:lnTo>
                    <a:pt x="438" y="834"/>
                  </a:lnTo>
                  <a:lnTo>
                    <a:pt x="437" y="833"/>
                  </a:lnTo>
                  <a:lnTo>
                    <a:pt x="436" y="834"/>
                  </a:lnTo>
                  <a:lnTo>
                    <a:pt x="435" y="834"/>
                  </a:lnTo>
                  <a:lnTo>
                    <a:pt x="435" y="835"/>
                  </a:lnTo>
                  <a:lnTo>
                    <a:pt x="430" y="838"/>
                  </a:lnTo>
                  <a:lnTo>
                    <a:pt x="429" y="839"/>
                  </a:lnTo>
                  <a:lnTo>
                    <a:pt x="428" y="839"/>
                  </a:lnTo>
                  <a:lnTo>
                    <a:pt x="427" y="839"/>
                  </a:lnTo>
                  <a:lnTo>
                    <a:pt x="425" y="839"/>
                  </a:lnTo>
                  <a:lnTo>
                    <a:pt x="424" y="838"/>
                  </a:lnTo>
                  <a:lnTo>
                    <a:pt x="423" y="838"/>
                  </a:lnTo>
                  <a:lnTo>
                    <a:pt x="421" y="836"/>
                  </a:lnTo>
                  <a:lnTo>
                    <a:pt x="420" y="835"/>
                  </a:lnTo>
                  <a:lnTo>
                    <a:pt x="414" y="826"/>
                  </a:lnTo>
                  <a:lnTo>
                    <a:pt x="411" y="821"/>
                  </a:lnTo>
                  <a:lnTo>
                    <a:pt x="408" y="818"/>
                  </a:lnTo>
                  <a:lnTo>
                    <a:pt x="402" y="813"/>
                  </a:lnTo>
                  <a:lnTo>
                    <a:pt x="399" y="810"/>
                  </a:lnTo>
                  <a:lnTo>
                    <a:pt x="386" y="793"/>
                  </a:lnTo>
                  <a:lnTo>
                    <a:pt x="378" y="784"/>
                  </a:lnTo>
                  <a:lnTo>
                    <a:pt x="373" y="778"/>
                  </a:lnTo>
                  <a:lnTo>
                    <a:pt x="371" y="776"/>
                  </a:lnTo>
                  <a:lnTo>
                    <a:pt x="366" y="771"/>
                  </a:lnTo>
                  <a:lnTo>
                    <a:pt x="365" y="771"/>
                  </a:lnTo>
                  <a:lnTo>
                    <a:pt x="363" y="769"/>
                  </a:lnTo>
                  <a:lnTo>
                    <a:pt x="359" y="768"/>
                  </a:lnTo>
                  <a:lnTo>
                    <a:pt x="348" y="763"/>
                  </a:lnTo>
                  <a:lnTo>
                    <a:pt x="347" y="761"/>
                  </a:lnTo>
                  <a:lnTo>
                    <a:pt x="345" y="760"/>
                  </a:lnTo>
                  <a:lnTo>
                    <a:pt x="343" y="758"/>
                  </a:lnTo>
                  <a:lnTo>
                    <a:pt x="342" y="756"/>
                  </a:lnTo>
                  <a:lnTo>
                    <a:pt x="341" y="754"/>
                  </a:lnTo>
                  <a:lnTo>
                    <a:pt x="340" y="752"/>
                  </a:lnTo>
                  <a:lnTo>
                    <a:pt x="338" y="743"/>
                  </a:lnTo>
                  <a:lnTo>
                    <a:pt x="337" y="741"/>
                  </a:lnTo>
                  <a:lnTo>
                    <a:pt x="336" y="736"/>
                  </a:lnTo>
                  <a:lnTo>
                    <a:pt x="336" y="732"/>
                  </a:lnTo>
                  <a:lnTo>
                    <a:pt x="336" y="730"/>
                  </a:lnTo>
                  <a:lnTo>
                    <a:pt x="336" y="728"/>
                  </a:lnTo>
                  <a:lnTo>
                    <a:pt x="335" y="727"/>
                  </a:lnTo>
                  <a:lnTo>
                    <a:pt x="333" y="726"/>
                  </a:lnTo>
                  <a:lnTo>
                    <a:pt x="332" y="726"/>
                  </a:lnTo>
                  <a:lnTo>
                    <a:pt x="330" y="726"/>
                  </a:lnTo>
                  <a:lnTo>
                    <a:pt x="328" y="726"/>
                  </a:lnTo>
                  <a:lnTo>
                    <a:pt x="326" y="727"/>
                  </a:lnTo>
                  <a:lnTo>
                    <a:pt x="324" y="728"/>
                  </a:lnTo>
                  <a:lnTo>
                    <a:pt x="314" y="732"/>
                  </a:lnTo>
                  <a:lnTo>
                    <a:pt x="306" y="734"/>
                  </a:lnTo>
                  <a:lnTo>
                    <a:pt x="299" y="736"/>
                  </a:lnTo>
                  <a:lnTo>
                    <a:pt x="285" y="740"/>
                  </a:lnTo>
                  <a:lnTo>
                    <a:pt x="275" y="743"/>
                  </a:lnTo>
                  <a:lnTo>
                    <a:pt x="271" y="743"/>
                  </a:lnTo>
                  <a:lnTo>
                    <a:pt x="268" y="744"/>
                  </a:lnTo>
                  <a:lnTo>
                    <a:pt x="266" y="744"/>
                  </a:lnTo>
                  <a:lnTo>
                    <a:pt x="264" y="744"/>
                  </a:lnTo>
                  <a:lnTo>
                    <a:pt x="262" y="743"/>
                  </a:lnTo>
                  <a:lnTo>
                    <a:pt x="260" y="743"/>
                  </a:lnTo>
                  <a:lnTo>
                    <a:pt x="258" y="743"/>
                  </a:lnTo>
                  <a:lnTo>
                    <a:pt x="257" y="742"/>
                  </a:lnTo>
                  <a:lnTo>
                    <a:pt x="256" y="741"/>
                  </a:lnTo>
                  <a:lnTo>
                    <a:pt x="254" y="740"/>
                  </a:lnTo>
                  <a:lnTo>
                    <a:pt x="253" y="738"/>
                  </a:lnTo>
                  <a:lnTo>
                    <a:pt x="250" y="731"/>
                  </a:lnTo>
                  <a:lnTo>
                    <a:pt x="243" y="720"/>
                  </a:lnTo>
                  <a:lnTo>
                    <a:pt x="242" y="717"/>
                  </a:lnTo>
                  <a:lnTo>
                    <a:pt x="241" y="715"/>
                  </a:lnTo>
                  <a:lnTo>
                    <a:pt x="241" y="713"/>
                  </a:lnTo>
                  <a:lnTo>
                    <a:pt x="240" y="705"/>
                  </a:lnTo>
                  <a:lnTo>
                    <a:pt x="238" y="698"/>
                  </a:lnTo>
                  <a:lnTo>
                    <a:pt x="238" y="696"/>
                  </a:lnTo>
                  <a:lnTo>
                    <a:pt x="238" y="691"/>
                  </a:lnTo>
                  <a:lnTo>
                    <a:pt x="238" y="689"/>
                  </a:lnTo>
                  <a:lnTo>
                    <a:pt x="238" y="686"/>
                  </a:lnTo>
                  <a:lnTo>
                    <a:pt x="238" y="685"/>
                  </a:lnTo>
                  <a:lnTo>
                    <a:pt x="238" y="684"/>
                  </a:lnTo>
                  <a:lnTo>
                    <a:pt x="238" y="683"/>
                  </a:lnTo>
                  <a:lnTo>
                    <a:pt x="238" y="681"/>
                  </a:lnTo>
                  <a:lnTo>
                    <a:pt x="237" y="679"/>
                  </a:lnTo>
                  <a:lnTo>
                    <a:pt x="236" y="678"/>
                  </a:lnTo>
                  <a:lnTo>
                    <a:pt x="234" y="677"/>
                  </a:lnTo>
                  <a:lnTo>
                    <a:pt x="231" y="675"/>
                  </a:lnTo>
                  <a:lnTo>
                    <a:pt x="228" y="673"/>
                  </a:lnTo>
                  <a:lnTo>
                    <a:pt x="221" y="666"/>
                  </a:lnTo>
                  <a:lnTo>
                    <a:pt x="214" y="660"/>
                  </a:lnTo>
                  <a:lnTo>
                    <a:pt x="207" y="651"/>
                  </a:lnTo>
                  <a:lnTo>
                    <a:pt x="206" y="650"/>
                  </a:lnTo>
                  <a:lnTo>
                    <a:pt x="203" y="649"/>
                  </a:lnTo>
                  <a:lnTo>
                    <a:pt x="200" y="646"/>
                  </a:lnTo>
                  <a:lnTo>
                    <a:pt x="194" y="643"/>
                  </a:lnTo>
                  <a:lnTo>
                    <a:pt x="189" y="641"/>
                  </a:lnTo>
                  <a:lnTo>
                    <a:pt x="184" y="638"/>
                  </a:lnTo>
                  <a:lnTo>
                    <a:pt x="179" y="634"/>
                  </a:lnTo>
                  <a:lnTo>
                    <a:pt x="176" y="632"/>
                  </a:lnTo>
                  <a:lnTo>
                    <a:pt x="174" y="631"/>
                  </a:lnTo>
                  <a:lnTo>
                    <a:pt x="172" y="630"/>
                  </a:lnTo>
                  <a:lnTo>
                    <a:pt x="165" y="628"/>
                  </a:lnTo>
                  <a:lnTo>
                    <a:pt x="164" y="627"/>
                  </a:lnTo>
                  <a:lnTo>
                    <a:pt x="162" y="626"/>
                  </a:lnTo>
                  <a:lnTo>
                    <a:pt x="162" y="626"/>
                  </a:lnTo>
                  <a:lnTo>
                    <a:pt x="161" y="625"/>
                  </a:lnTo>
                  <a:lnTo>
                    <a:pt x="161" y="624"/>
                  </a:lnTo>
                  <a:lnTo>
                    <a:pt x="161" y="623"/>
                  </a:lnTo>
                  <a:lnTo>
                    <a:pt x="161" y="621"/>
                  </a:lnTo>
                  <a:lnTo>
                    <a:pt x="161" y="618"/>
                  </a:lnTo>
                  <a:lnTo>
                    <a:pt x="161" y="616"/>
                  </a:lnTo>
                  <a:lnTo>
                    <a:pt x="161" y="610"/>
                  </a:lnTo>
                  <a:lnTo>
                    <a:pt x="161" y="609"/>
                  </a:lnTo>
                  <a:lnTo>
                    <a:pt x="161" y="607"/>
                  </a:lnTo>
                  <a:lnTo>
                    <a:pt x="160" y="606"/>
                  </a:lnTo>
                  <a:lnTo>
                    <a:pt x="160" y="606"/>
                  </a:lnTo>
                  <a:lnTo>
                    <a:pt x="159" y="604"/>
                  </a:lnTo>
                  <a:lnTo>
                    <a:pt x="157" y="603"/>
                  </a:lnTo>
                  <a:lnTo>
                    <a:pt x="155" y="602"/>
                  </a:lnTo>
                  <a:lnTo>
                    <a:pt x="146" y="597"/>
                  </a:lnTo>
                  <a:lnTo>
                    <a:pt x="141" y="594"/>
                  </a:lnTo>
                  <a:lnTo>
                    <a:pt x="136" y="591"/>
                  </a:lnTo>
                  <a:lnTo>
                    <a:pt x="127" y="585"/>
                  </a:lnTo>
                  <a:lnTo>
                    <a:pt x="121" y="581"/>
                  </a:lnTo>
                  <a:lnTo>
                    <a:pt x="117" y="579"/>
                  </a:lnTo>
                  <a:lnTo>
                    <a:pt x="104" y="573"/>
                  </a:lnTo>
                  <a:lnTo>
                    <a:pt x="102" y="571"/>
                  </a:lnTo>
                  <a:lnTo>
                    <a:pt x="101" y="571"/>
                  </a:lnTo>
                  <a:lnTo>
                    <a:pt x="99" y="569"/>
                  </a:lnTo>
                  <a:lnTo>
                    <a:pt x="98" y="568"/>
                  </a:lnTo>
                  <a:lnTo>
                    <a:pt x="94" y="564"/>
                  </a:lnTo>
                  <a:lnTo>
                    <a:pt x="89" y="556"/>
                  </a:lnTo>
                  <a:lnTo>
                    <a:pt x="82" y="548"/>
                  </a:lnTo>
                  <a:lnTo>
                    <a:pt x="81" y="546"/>
                  </a:lnTo>
                  <a:lnTo>
                    <a:pt x="80" y="546"/>
                  </a:lnTo>
                  <a:lnTo>
                    <a:pt x="78" y="544"/>
                  </a:lnTo>
                  <a:lnTo>
                    <a:pt x="74" y="542"/>
                  </a:lnTo>
                  <a:lnTo>
                    <a:pt x="71" y="540"/>
                  </a:lnTo>
                  <a:lnTo>
                    <a:pt x="68" y="539"/>
                  </a:lnTo>
                  <a:lnTo>
                    <a:pt x="64" y="534"/>
                  </a:lnTo>
                  <a:lnTo>
                    <a:pt x="61" y="532"/>
                  </a:lnTo>
                  <a:lnTo>
                    <a:pt x="59" y="531"/>
                  </a:lnTo>
                  <a:lnTo>
                    <a:pt x="54" y="527"/>
                  </a:lnTo>
                  <a:lnTo>
                    <a:pt x="51" y="526"/>
                  </a:lnTo>
                  <a:lnTo>
                    <a:pt x="51" y="525"/>
                  </a:lnTo>
                  <a:lnTo>
                    <a:pt x="49" y="524"/>
                  </a:lnTo>
                  <a:lnTo>
                    <a:pt x="44" y="517"/>
                  </a:lnTo>
                  <a:lnTo>
                    <a:pt x="42" y="515"/>
                  </a:lnTo>
                  <a:lnTo>
                    <a:pt x="40" y="513"/>
                  </a:lnTo>
                  <a:lnTo>
                    <a:pt x="37" y="511"/>
                  </a:lnTo>
                  <a:lnTo>
                    <a:pt x="35" y="509"/>
                  </a:lnTo>
                  <a:lnTo>
                    <a:pt x="31" y="507"/>
                  </a:lnTo>
                  <a:lnTo>
                    <a:pt x="21" y="501"/>
                  </a:lnTo>
                  <a:lnTo>
                    <a:pt x="18" y="499"/>
                  </a:lnTo>
                  <a:lnTo>
                    <a:pt x="14" y="497"/>
                  </a:lnTo>
                  <a:lnTo>
                    <a:pt x="11" y="495"/>
                  </a:lnTo>
                  <a:lnTo>
                    <a:pt x="9" y="492"/>
                  </a:lnTo>
                  <a:lnTo>
                    <a:pt x="8" y="491"/>
                  </a:lnTo>
                  <a:lnTo>
                    <a:pt x="6" y="488"/>
                  </a:lnTo>
                  <a:lnTo>
                    <a:pt x="5" y="486"/>
                  </a:lnTo>
                  <a:lnTo>
                    <a:pt x="4" y="484"/>
                  </a:lnTo>
                  <a:lnTo>
                    <a:pt x="3" y="481"/>
                  </a:lnTo>
                  <a:lnTo>
                    <a:pt x="1" y="478"/>
                  </a:lnTo>
                  <a:lnTo>
                    <a:pt x="1" y="475"/>
                  </a:lnTo>
                  <a:lnTo>
                    <a:pt x="0" y="472"/>
                  </a:lnTo>
                  <a:lnTo>
                    <a:pt x="0" y="469"/>
                  </a:lnTo>
                  <a:lnTo>
                    <a:pt x="0" y="466"/>
                  </a:lnTo>
                  <a:lnTo>
                    <a:pt x="0" y="464"/>
                  </a:lnTo>
                  <a:lnTo>
                    <a:pt x="1" y="461"/>
                  </a:lnTo>
                  <a:lnTo>
                    <a:pt x="1" y="459"/>
                  </a:lnTo>
                  <a:lnTo>
                    <a:pt x="2" y="456"/>
                  </a:lnTo>
                  <a:lnTo>
                    <a:pt x="2" y="456"/>
                  </a:lnTo>
                  <a:lnTo>
                    <a:pt x="3" y="456"/>
                  </a:lnTo>
                  <a:lnTo>
                    <a:pt x="11" y="453"/>
                  </a:lnTo>
                  <a:lnTo>
                    <a:pt x="16" y="451"/>
                  </a:lnTo>
                  <a:lnTo>
                    <a:pt x="19" y="449"/>
                  </a:lnTo>
                  <a:lnTo>
                    <a:pt x="22" y="448"/>
                  </a:lnTo>
                  <a:lnTo>
                    <a:pt x="26" y="446"/>
                  </a:lnTo>
                  <a:lnTo>
                    <a:pt x="29" y="444"/>
                  </a:lnTo>
                  <a:lnTo>
                    <a:pt x="31" y="442"/>
                  </a:lnTo>
                  <a:lnTo>
                    <a:pt x="37" y="438"/>
                  </a:lnTo>
                  <a:lnTo>
                    <a:pt x="41" y="435"/>
                  </a:lnTo>
                  <a:lnTo>
                    <a:pt x="43" y="431"/>
                  </a:lnTo>
                  <a:lnTo>
                    <a:pt x="46" y="427"/>
                  </a:lnTo>
                  <a:lnTo>
                    <a:pt x="49" y="425"/>
                  </a:lnTo>
                  <a:lnTo>
                    <a:pt x="50" y="424"/>
                  </a:lnTo>
                  <a:lnTo>
                    <a:pt x="51" y="423"/>
                  </a:lnTo>
                  <a:lnTo>
                    <a:pt x="56" y="420"/>
                  </a:lnTo>
                  <a:lnTo>
                    <a:pt x="59" y="419"/>
                  </a:lnTo>
                  <a:lnTo>
                    <a:pt x="59" y="418"/>
                  </a:lnTo>
                  <a:lnTo>
                    <a:pt x="60" y="417"/>
                  </a:lnTo>
                  <a:lnTo>
                    <a:pt x="60" y="416"/>
                  </a:lnTo>
                  <a:lnTo>
                    <a:pt x="60" y="414"/>
                  </a:lnTo>
                  <a:lnTo>
                    <a:pt x="61" y="411"/>
                  </a:lnTo>
                  <a:lnTo>
                    <a:pt x="61" y="409"/>
                  </a:lnTo>
                  <a:lnTo>
                    <a:pt x="61" y="407"/>
                  </a:lnTo>
                  <a:lnTo>
                    <a:pt x="60" y="404"/>
                  </a:lnTo>
                  <a:lnTo>
                    <a:pt x="59" y="401"/>
                  </a:lnTo>
                  <a:lnTo>
                    <a:pt x="53" y="389"/>
                  </a:lnTo>
                  <a:lnTo>
                    <a:pt x="51" y="385"/>
                  </a:lnTo>
                  <a:lnTo>
                    <a:pt x="49" y="382"/>
                  </a:lnTo>
                  <a:lnTo>
                    <a:pt x="46" y="380"/>
                  </a:lnTo>
                  <a:lnTo>
                    <a:pt x="41" y="374"/>
                  </a:lnTo>
                  <a:lnTo>
                    <a:pt x="39" y="372"/>
                  </a:lnTo>
                  <a:lnTo>
                    <a:pt x="37" y="371"/>
                  </a:lnTo>
                  <a:lnTo>
                    <a:pt x="36" y="368"/>
                  </a:lnTo>
                  <a:lnTo>
                    <a:pt x="35" y="367"/>
                  </a:lnTo>
                  <a:lnTo>
                    <a:pt x="34" y="364"/>
                  </a:lnTo>
                  <a:lnTo>
                    <a:pt x="33" y="362"/>
                  </a:lnTo>
                  <a:lnTo>
                    <a:pt x="32" y="359"/>
                  </a:lnTo>
                  <a:lnTo>
                    <a:pt x="31" y="356"/>
                  </a:lnTo>
                  <a:lnTo>
                    <a:pt x="31" y="353"/>
                  </a:lnTo>
                  <a:lnTo>
                    <a:pt x="31" y="349"/>
                  </a:lnTo>
                  <a:lnTo>
                    <a:pt x="32" y="344"/>
                  </a:lnTo>
                  <a:lnTo>
                    <a:pt x="34" y="336"/>
                  </a:lnTo>
                  <a:lnTo>
                    <a:pt x="34" y="332"/>
                  </a:lnTo>
                  <a:lnTo>
                    <a:pt x="35" y="314"/>
                  </a:lnTo>
                  <a:lnTo>
                    <a:pt x="35" y="309"/>
                  </a:lnTo>
                  <a:lnTo>
                    <a:pt x="35" y="307"/>
                  </a:lnTo>
                  <a:lnTo>
                    <a:pt x="35" y="304"/>
                  </a:lnTo>
                  <a:lnTo>
                    <a:pt x="34" y="302"/>
                  </a:lnTo>
                  <a:lnTo>
                    <a:pt x="34" y="301"/>
                  </a:lnTo>
                  <a:lnTo>
                    <a:pt x="33" y="300"/>
                  </a:lnTo>
                  <a:lnTo>
                    <a:pt x="31" y="299"/>
                  </a:lnTo>
                  <a:lnTo>
                    <a:pt x="30" y="297"/>
                  </a:lnTo>
                  <a:lnTo>
                    <a:pt x="29" y="297"/>
                  </a:lnTo>
                  <a:lnTo>
                    <a:pt x="27" y="297"/>
                  </a:lnTo>
                  <a:lnTo>
                    <a:pt x="26" y="297"/>
                  </a:lnTo>
                  <a:lnTo>
                    <a:pt x="24" y="292"/>
                  </a:lnTo>
                  <a:lnTo>
                    <a:pt x="19" y="284"/>
                  </a:lnTo>
                  <a:lnTo>
                    <a:pt x="19" y="283"/>
                  </a:lnTo>
                  <a:lnTo>
                    <a:pt x="19" y="282"/>
                  </a:lnTo>
                  <a:lnTo>
                    <a:pt x="19" y="282"/>
                  </a:lnTo>
                  <a:lnTo>
                    <a:pt x="19" y="281"/>
                  </a:lnTo>
                  <a:lnTo>
                    <a:pt x="19" y="280"/>
                  </a:lnTo>
                  <a:lnTo>
                    <a:pt x="20" y="279"/>
                  </a:lnTo>
                  <a:lnTo>
                    <a:pt x="21" y="279"/>
                  </a:lnTo>
                  <a:lnTo>
                    <a:pt x="22" y="279"/>
                  </a:lnTo>
                  <a:lnTo>
                    <a:pt x="25" y="278"/>
                  </a:lnTo>
                  <a:lnTo>
                    <a:pt x="27" y="277"/>
                  </a:lnTo>
                  <a:lnTo>
                    <a:pt x="28" y="277"/>
                  </a:lnTo>
                  <a:lnTo>
                    <a:pt x="29" y="277"/>
                  </a:lnTo>
                  <a:lnTo>
                    <a:pt x="29" y="276"/>
                  </a:lnTo>
                  <a:lnTo>
                    <a:pt x="29" y="274"/>
                  </a:lnTo>
                  <a:lnTo>
                    <a:pt x="30" y="269"/>
                  </a:lnTo>
                  <a:lnTo>
                    <a:pt x="31" y="267"/>
                  </a:lnTo>
                  <a:lnTo>
                    <a:pt x="31" y="266"/>
                  </a:lnTo>
                  <a:lnTo>
                    <a:pt x="32" y="264"/>
                  </a:lnTo>
                  <a:lnTo>
                    <a:pt x="33" y="264"/>
                  </a:lnTo>
                  <a:lnTo>
                    <a:pt x="34" y="263"/>
                  </a:lnTo>
                  <a:lnTo>
                    <a:pt x="34" y="262"/>
                  </a:lnTo>
                  <a:lnTo>
                    <a:pt x="35" y="262"/>
                  </a:lnTo>
                  <a:lnTo>
                    <a:pt x="39" y="261"/>
                  </a:lnTo>
                  <a:lnTo>
                    <a:pt x="41" y="261"/>
                  </a:lnTo>
                  <a:lnTo>
                    <a:pt x="43" y="259"/>
                  </a:lnTo>
                  <a:lnTo>
                    <a:pt x="46" y="259"/>
                  </a:lnTo>
                  <a:lnTo>
                    <a:pt x="47" y="257"/>
                  </a:lnTo>
                  <a:lnTo>
                    <a:pt x="49" y="257"/>
                  </a:lnTo>
                  <a:lnTo>
                    <a:pt x="52" y="253"/>
                  </a:lnTo>
                  <a:lnTo>
                    <a:pt x="53" y="252"/>
                  </a:lnTo>
                  <a:lnTo>
                    <a:pt x="54" y="249"/>
                  </a:lnTo>
                  <a:lnTo>
                    <a:pt x="54" y="247"/>
                  </a:lnTo>
                  <a:lnTo>
                    <a:pt x="55" y="244"/>
                  </a:lnTo>
                  <a:lnTo>
                    <a:pt x="56" y="241"/>
                  </a:lnTo>
                  <a:lnTo>
                    <a:pt x="56" y="237"/>
                  </a:lnTo>
                  <a:lnTo>
                    <a:pt x="56" y="235"/>
                  </a:lnTo>
                  <a:lnTo>
                    <a:pt x="56" y="234"/>
                  </a:lnTo>
                  <a:lnTo>
                    <a:pt x="56" y="233"/>
                  </a:lnTo>
                  <a:lnTo>
                    <a:pt x="56" y="232"/>
                  </a:lnTo>
                  <a:lnTo>
                    <a:pt x="56" y="229"/>
                  </a:lnTo>
                  <a:lnTo>
                    <a:pt x="56" y="228"/>
                  </a:lnTo>
                  <a:lnTo>
                    <a:pt x="59" y="224"/>
                  </a:lnTo>
                  <a:lnTo>
                    <a:pt x="60" y="221"/>
                  </a:lnTo>
                  <a:lnTo>
                    <a:pt x="61" y="218"/>
                  </a:lnTo>
                  <a:lnTo>
                    <a:pt x="64" y="215"/>
                  </a:lnTo>
                  <a:lnTo>
                    <a:pt x="71" y="205"/>
                  </a:lnTo>
                  <a:lnTo>
                    <a:pt x="75" y="199"/>
                  </a:lnTo>
                  <a:lnTo>
                    <a:pt x="80" y="192"/>
                  </a:lnTo>
                  <a:lnTo>
                    <a:pt x="81" y="190"/>
                  </a:lnTo>
                  <a:lnTo>
                    <a:pt x="82" y="189"/>
                  </a:lnTo>
                  <a:lnTo>
                    <a:pt x="82" y="187"/>
                  </a:lnTo>
                  <a:lnTo>
                    <a:pt x="83" y="185"/>
                  </a:lnTo>
                  <a:lnTo>
                    <a:pt x="84" y="183"/>
                  </a:lnTo>
                  <a:lnTo>
                    <a:pt x="84" y="182"/>
                  </a:lnTo>
                  <a:lnTo>
                    <a:pt x="84" y="179"/>
                  </a:lnTo>
                  <a:lnTo>
                    <a:pt x="83" y="177"/>
                  </a:lnTo>
                  <a:lnTo>
                    <a:pt x="82" y="174"/>
                  </a:lnTo>
                  <a:lnTo>
                    <a:pt x="80" y="165"/>
                  </a:lnTo>
                  <a:lnTo>
                    <a:pt x="79" y="160"/>
                  </a:lnTo>
                  <a:lnTo>
                    <a:pt x="78" y="153"/>
                  </a:lnTo>
                  <a:lnTo>
                    <a:pt x="77" y="146"/>
                  </a:lnTo>
                  <a:lnTo>
                    <a:pt x="77" y="143"/>
                  </a:lnTo>
                  <a:lnTo>
                    <a:pt x="77" y="140"/>
                  </a:lnTo>
                  <a:lnTo>
                    <a:pt x="77" y="137"/>
                  </a:lnTo>
                  <a:lnTo>
                    <a:pt x="78" y="135"/>
                  </a:lnTo>
                  <a:lnTo>
                    <a:pt x="78" y="133"/>
                  </a:lnTo>
                  <a:lnTo>
                    <a:pt x="79" y="130"/>
                  </a:lnTo>
                  <a:lnTo>
                    <a:pt x="79" y="129"/>
                  </a:lnTo>
                  <a:lnTo>
                    <a:pt x="81" y="127"/>
                  </a:lnTo>
                  <a:lnTo>
                    <a:pt x="81" y="126"/>
                  </a:lnTo>
                  <a:lnTo>
                    <a:pt x="83" y="125"/>
                  </a:lnTo>
                  <a:lnTo>
                    <a:pt x="84" y="124"/>
                  </a:lnTo>
                  <a:lnTo>
                    <a:pt x="86" y="123"/>
                  </a:lnTo>
                  <a:lnTo>
                    <a:pt x="87" y="122"/>
                  </a:lnTo>
                  <a:lnTo>
                    <a:pt x="89" y="122"/>
                  </a:lnTo>
                  <a:lnTo>
                    <a:pt x="91" y="122"/>
                  </a:lnTo>
                  <a:lnTo>
                    <a:pt x="94" y="122"/>
                  </a:lnTo>
                  <a:lnTo>
                    <a:pt x="96" y="122"/>
                  </a:lnTo>
                  <a:lnTo>
                    <a:pt x="99" y="123"/>
                  </a:lnTo>
                  <a:lnTo>
                    <a:pt x="103" y="124"/>
                  </a:lnTo>
                  <a:lnTo>
                    <a:pt x="113" y="128"/>
                  </a:lnTo>
                  <a:lnTo>
                    <a:pt x="121" y="130"/>
                  </a:lnTo>
                  <a:lnTo>
                    <a:pt x="124" y="132"/>
                  </a:lnTo>
                  <a:lnTo>
                    <a:pt x="127" y="132"/>
                  </a:lnTo>
                  <a:lnTo>
                    <a:pt x="129" y="132"/>
                  </a:lnTo>
                  <a:lnTo>
                    <a:pt x="130" y="132"/>
                  </a:lnTo>
                  <a:lnTo>
                    <a:pt x="131" y="131"/>
                  </a:lnTo>
                  <a:lnTo>
                    <a:pt x="131" y="131"/>
                  </a:lnTo>
                  <a:lnTo>
                    <a:pt x="132" y="130"/>
                  </a:lnTo>
                  <a:lnTo>
                    <a:pt x="132" y="130"/>
                  </a:lnTo>
                  <a:lnTo>
                    <a:pt x="133" y="128"/>
                  </a:lnTo>
                  <a:lnTo>
                    <a:pt x="133" y="127"/>
                  </a:lnTo>
                  <a:lnTo>
                    <a:pt x="133" y="125"/>
                  </a:lnTo>
                  <a:lnTo>
                    <a:pt x="132" y="124"/>
                  </a:lnTo>
                  <a:lnTo>
                    <a:pt x="131" y="120"/>
                  </a:lnTo>
                  <a:lnTo>
                    <a:pt x="126" y="114"/>
                  </a:lnTo>
                  <a:lnTo>
                    <a:pt x="125" y="111"/>
                  </a:lnTo>
                  <a:lnTo>
                    <a:pt x="122" y="106"/>
                  </a:lnTo>
                  <a:lnTo>
                    <a:pt x="121" y="101"/>
                  </a:lnTo>
                  <a:lnTo>
                    <a:pt x="119" y="96"/>
                  </a:lnTo>
                  <a:lnTo>
                    <a:pt x="117" y="92"/>
                  </a:lnTo>
                  <a:lnTo>
                    <a:pt x="116" y="88"/>
                  </a:lnTo>
                  <a:lnTo>
                    <a:pt x="116" y="84"/>
                  </a:lnTo>
                  <a:lnTo>
                    <a:pt x="115" y="78"/>
                  </a:lnTo>
                  <a:lnTo>
                    <a:pt x="114" y="74"/>
                  </a:lnTo>
                  <a:lnTo>
                    <a:pt x="114" y="64"/>
                  </a:lnTo>
                  <a:lnTo>
                    <a:pt x="112" y="50"/>
                  </a:lnTo>
                  <a:lnTo>
                    <a:pt x="112" y="45"/>
                  </a:lnTo>
                  <a:lnTo>
                    <a:pt x="112" y="42"/>
                  </a:lnTo>
                  <a:lnTo>
                    <a:pt x="112" y="41"/>
                  </a:lnTo>
                  <a:lnTo>
                    <a:pt x="113" y="40"/>
                  </a:lnTo>
                  <a:lnTo>
                    <a:pt x="114" y="38"/>
                  </a:lnTo>
                  <a:lnTo>
                    <a:pt x="114" y="37"/>
                  </a:lnTo>
                  <a:lnTo>
                    <a:pt x="115" y="36"/>
                  </a:lnTo>
                  <a:lnTo>
                    <a:pt x="116" y="35"/>
                  </a:lnTo>
                  <a:lnTo>
                    <a:pt x="119" y="34"/>
                  </a:lnTo>
                  <a:lnTo>
                    <a:pt x="122" y="32"/>
                  </a:lnTo>
                  <a:lnTo>
                    <a:pt x="126" y="30"/>
                  </a:lnTo>
                  <a:lnTo>
                    <a:pt x="129" y="29"/>
                  </a:lnTo>
                  <a:lnTo>
                    <a:pt x="136" y="27"/>
                  </a:lnTo>
                  <a:lnTo>
                    <a:pt x="138" y="27"/>
                  </a:lnTo>
                  <a:lnTo>
                    <a:pt x="140" y="25"/>
                  </a:lnTo>
                  <a:lnTo>
                    <a:pt x="141" y="25"/>
                  </a:lnTo>
                  <a:lnTo>
                    <a:pt x="143" y="24"/>
                  </a:lnTo>
                  <a:lnTo>
                    <a:pt x="144" y="22"/>
                  </a:lnTo>
                  <a:lnTo>
                    <a:pt x="146" y="18"/>
                  </a:lnTo>
                  <a:lnTo>
                    <a:pt x="150" y="13"/>
                  </a:lnTo>
                  <a:lnTo>
                    <a:pt x="153" y="7"/>
                  </a:lnTo>
                  <a:lnTo>
                    <a:pt x="155" y="3"/>
                  </a:lnTo>
                  <a:lnTo>
                    <a:pt x="156" y="2"/>
                  </a:lnTo>
                  <a:lnTo>
                    <a:pt x="158" y="0"/>
                  </a:lnTo>
                  <a:lnTo>
                    <a:pt x="159" y="0"/>
                  </a:lnTo>
                  <a:lnTo>
                    <a:pt x="159" y="0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FFCC29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98">
              <a:extLst>
                <a:ext uri="{FF2B5EF4-FFF2-40B4-BE49-F238E27FC236}">
                  <a16:creationId xmlns:a16="http://schemas.microsoft.com/office/drawing/2014/main" id="{BE9590F2-4BFA-5B80-F7CA-24C598F1A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4173" y="5767225"/>
              <a:ext cx="1177925" cy="976313"/>
            </a:xfrm>
            <a:custGeom>
              <a:avLst/>
              <a:gdLst>
                <a:gd name="T0" fmla="*/ 281 w 742"/>
                <a:gd name="T1" fmla="*/ 22 h 615"/>
                <a:gd name="T2" fmla="*/ 301 w 742"/>
                <a:gd name="T3" fmla="*/ 45 h 615"/>
                <a:gd name="T4" fmla="*/ 334 w 742"/>
                <a:gd name="T5" fmla="*/ 71 h 615"/>
                <a:gd name="T6" fmla="*/ 362 w 742"/>
                <a:gd name="T7" fmla="*/ 92 h 615"/>
                <a:gd name="T8" fmla="*/ 407 w 742"/>
                <a:gd name="T9" fmla="*/ 129 h 615"/>
                <a:gd name="T10" fmla="*/ 441 w 742"/>
                <a:gd name="T11" fmla="*/ 153 h 615"/>
                <a:gd name="T12" fmla="*/ 444 w 742"/>
                <a:gd name="T13" fmla="*/ 171 h 615"/>
                <a:gd name="T14" fmla="*/ 483 w 742"/>
                <a:gd name="T15" fmla="*/ 193 h 615"/>
                <a:gd name="T16" fmla="*/ 518 w 742"/>
                <a:gd name="T17" fmla="*/ 225 h 615"/>
                <a:gd name="T18" fmla="*/ 521 w 742"/>
                <a:gd name="T19" fmla="*/ 257 h 615"/>
                <a:gd name="T20" fmla="*/ 540 w 742"/>
                <a:gd name="T21" fmla="*/ 287 h 615"/>
                <a:gd name="T22" fmla="*/ 594 w 742"/>
                <a:gd name="T23" fmla="*/ 276 h 615"/>
                <a:gd name="T24" fmla="*/ 616 w 742"/>
                <a:gd name="T25" fmla="*/ 276 h 615"/>
                <a:gd name="T26" fmla="*/ 628 w 742"/>
                <a:gd name="T27" fmla="*/ 307 h 615"/>
                <a:gd name="T28" fmla="*/ 682 w 742"/>
                <a:gd name="T29" fmla="*/ 357 h 615"/>
                <a:gd name="T30" fmla="*/ 708 w 742"/>
                <a:gd name="T31" fmla="*/ 383 h 615"/>
                <a:gd name="T32" fmla="*/ 717 w 742"/>
                <a:gd name="T33" fmla="*/ 385 h 615"/>
                <a:gd name="T34" fmla="*/ 727 w 742"/>
                <a:gd name="T35" fmla="*/ 440 h 615"/>
                <a:gd name="T36" fmla="*/ 742 w 742"/>
                <a:gd name="T37" fmla="*/ 454 h 615"/>
                <a:gd name="T38" fmla="*/ 738 w 742"/>
                <a:gd name="T39" fmla="*/ 519 h 615"/>
                <a:gd name="T40" fmla="*/ 723 w 742"/>
                <a:gd name="T41" fmla="*/ 574 h 615"/>
                <a:gd name="T42" fmla="*/ 694 w 742"/>
                <a:gd name="T43" fmla="*/ 578 h 615"/>
                <a:gd name="T44" fmla="*/ 666 w 742"/>
                <a:gd name="T45" fmla="*/ 551 h 615"/>
                <a:gd name="T46" fmla="*/ 641 w 742"/>
                <a:gd name="T47" fmla="*/ 529 h 615"/>
                <a:gd name="T48" fmla="*/ 601 w 742"/>
                <a:gd name="T49" fmla="*/ 542 h 615"/>
                <a:gd name="T50" fmla="*/ 546 w 742"/>
                <a:gd name="T51" fmla="*/ 530 h 615"/>
                <a:gd name="T52" fmla="*/ 511 w 742"/>
                <a:gd name="T53" fmla="*/ 499 h 615"/>
                <a:gd name="T54" fmla="*/ 493 w 742"/>
                <a:gd name="T55" fmla="*/ 502 h 615"/>
                <a:gd name="T56" fmla="*/ 483 w 742"/>
                <a:gd name="T57" fmla="*/ 547 h 615"/>
                <a:gd name="T58" fmla="*/ 465 w 742"/>
                <a:gd name="T59" fmla="*/ 567 h 615"/>
                <a:gd name="T60" fmla="*/ 436 w 742"/>
                <a:gd name="T61" fmla="*/ 575 h 615"/>
                <a:gd name="T62" fmla="*/ 418 w 742"/>
                <a:gd name="T63" fmla="*/ 596 h 615"/>
                <a:gd name="T64" fmla="*/ 389 w 742"/>
                <a:gd name="T65" fmla="*/ 614 h 615"/>
                <a:gd name="T66" fmla="*/ 325 w 742"/>
                <a:gd name="T67" fmla="*/ 588 h 615"/>
                <a:gd name="T68" fmla="*/ 266 w 742"/>
                <a:gd name="T69" fmla="*/ 572 h 615"/>
                <a:gd name="T70" fmla="*/ 204 w 742"/>
                <a:gd name="T71" fmla="*/ 562 h 615"/>
                <a:gd name="T72" fmla="*/ 167 w 742"/>
                <a:gd name="T73" fmla="*/ 562 h 615"/>
                <a:gd name="T74" fmla="*/ 127 w 742"/>
                <a:gd name="T75" fmla="*/ 543 h 615"/>
                <a:gd name="T76" fmla="*/ 110 w 742"/>
                <a:gd name="T77" fmla="*/ 518 h 615"/>
                <a:gd name="T78" fmla="*/ 96 w 742"/>
                <a:gd name="T79" fmla="*/ 495 h 615"/>
                <a:gd name="T80" fmla="*/ 120 w 742"/>
                <a:gd name="T81" fmla="*/ 476 h 615"/>
                <a:gd name="T82" fmla="*/ 127 w 742"/>
                <a:gd name="T83" fmla="*/ 458 h 615"/>
                <a:gd name="T84" fmla="*/ 97 w 742"/>
                <a:gd name="T85" fmla="*/ 427 h 615"/>
                <a:gd name="T86" fmla="*/ 67 w 742"/>
                <a:gd name="T87" fmla="*/ 401 h 615"/>
                <a:gd name="T88" fmla="*/ 17 w 742"/>
                <a:gd name="T89" fmla="*/ 372 h 615"/>
                <a:gd name="T90" fmla="*/ 10 w 742"/>
                <a:gd name="T91" fmla="*/ 339 h 615"/>
                <a:gd name="T92" fmla="*/ 38 w 742"/>
                <a:gd name="T93" fmla="*/ 325 h 615"/>
                <a:gd name="T94" fmla="*/ 56 w 742"/>
                <a:gd name="T95" fmla="*/ 281 h 615"/>
                <a:gd name="T96" fmla="*/ 47 w 742"/>
                <a:gd name="T97" fmla="*/ 230 h 615"/>
                <a:gd name="T98" fmla="*/ 39 w 742"/>
                <a:gd name="T99" fmla="*/ 175 h 615"/>
                <a:gd name="T100" fmla="*/ 42 w 742"/>
                <a:gd name="T101" fmla="*/ 145 h 615"/>
                <a:gd name="T102" fmla="*/ 74 w 742"/>
                <a:gd name="T103" fmla="*/ 145 h 615"/>
                <a:gd name="T104" fmla="*/ 137 w 742"/>
                <a:gd name="T105" fmla="*/ 133 h 615"/>
                <a:gd name="T106" fmla="*/ 190 w 742"/>
                <a:gd name="T107" fmla="*/ 133 h 615"/>
                <a:gd name="T108" fmla="*/ 233 w 742"/>
                <a:gd name="T109" fmla="*/ 151 h 615"/>
                <a:gd name="T110" fmla="*/ 247 w 742"/>
                <a:gd name="T111" fmla="*/ 145 h 615"/>
                <a:gd name="T112" fmla="*/ 248 w 742"/>
                <a:gd name="T113" fmla="*/ 131 h 615"/>
                <a:gd name="T114" fmla="*/ 237 w 742"/>
                <a:gd name="T115" fmla="*/ 102 h 615"/>
                <a:gd name="T116" fmla="*/ 247 w 742"/>
                <a:gd name="T117" fmla="*/ 78 h 615"/>
                <a:gd name="T118" fmla="*/ 254 w 742"/>
                <a:gd name="T119" fmla="*/ 40 h 615"/>
                <a:gd name="T120" fmla="*/ 269 w 742"/>
                <a:gd name="T121" fmla="*/ 10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42" h="615">
                  <a:moveTo>
                    <a:pt x="282" y="0"/>
                  </a:moveTo>
                  <a:lnTo>
                    <a:pt x="282" y="0"/>
                  </a:lnTo>
                  <a:lnTo>
                    <a:pt x="281" y="3"/>
                  </a:lnTo>
                  <a:lnTo>
                    <a:pt x="281" y="5"/>
                  </a:lnTo>
                  <a:lnTo>
                    <a:pt x="280" y="8"/>
                  </a:lnTo>
                  <a:lnTo>
                    <a:pt x="280" y="10"/>
                  </a:lnTo>
                  <a:lnTo>
                    <a:pt x="280" y="13"/>
                  </a:lnTo>
                  <a:lnTo>
                    <a:pt x="280" y="16"/>
                  </a:lnTo>
                  <a:lnTo>
                    <a:pt x="281" y="19"/>
                  </a:lnTo>
                  <a:lnTo>
                    <a:pt x="281" y="22"/>
                  </a:lnTo>
                  <a:lnTo>
                    <a:pt x="283" y="25"/>
                  </a:lnTo>
                  <a:lnTo>
                    <a:pt x="284" y="28"/>
                  </a:lnTo>
                  <a:lnTo>
                    <a:pt x="285" y="30"/>
                  </a:lnTo>
                  <a:lnTo>
                    <a:pt x="286" y="32"/>
                  </a:lnTo>
                  <a:lnTo>
                    <a:pt x="288" y="35"/>
                  </a:lnTo>
                  <a:lnTo>
                    <a:pt x="289" y="36"/>
                  </a:lnTo>
                  <a:lnTo>
                    <a:pt x="291" y="39"/>
                  </a:lnTo>
                  <a:lnTo>
                    <a:pt x="294" y="41"/>
                  </a:lnTo>
                  <a:lnTo>
                    <a:pt x="298" y="43"/>
                  </a:lnTo>
                  <a:lnTo>
                    <a:pt x="301" y="45"/>
                  </a:lnTo>
                  <a:lnTo>
                    <a:pt x="311" y="51"/>
                  </a:lnTo>
                  <a:lnTo>
                    <a:pt x="315" y="53"/>
                  </a:lnTo>
                  <a:lnTo>
                    <a:pt x="317" y="55"/>
                  </a:lnTo>
                  <a:lnTo>
                    <a:pt x="320" y="57"/>
                  </a:lnTo>
                  <a:lnTo>
                    <a:pt x="322" y="59"/>
                  </a:lnTo>
                  <a:lnTo>
                    <a:pt x="324" y="61"/>
                  </a:lnTo>
                  <a:lnTo>
                    <a:pt x="329" y="68"/>
                  </a:lnTo>
                  <a:lnTo>
                    <a:pt x="331" y="69"/>
                  </a:lnTo>
                  <a:lnTo>
                    <a:pt x="331" y="70"/>
                  </a:lnTo>
                  <a:lnTo>
                    <a:pt x="334" y="71"/>
                  </a:lnTo>
                  <a:lnTo>
                    <a:pt x="339" y="75"/>
                  </a:lnTo>
                  <a:lnTo>
                    <a:pt x="341" y="76"/>
                  </a:lnTo>
                  <a:lnTo>
                    <a:pt x="344" y="78"/>
                  </a:lnTo>
                  <a:lnTo>
                    <a:pt x="348" y="83"/>
                  </a:lnTo>
                  <a:lnTo>
                    <a:pt x="351" y="84"/>
                  </a:lnTo>
                  <a:lnTo>
                    <a:pt x="354" y="86"/>
                  </a:lnTo>
                  <a:lnTo>
                    <a:pt x="358" y="88"/>
                  </a:lnTo>
                  <a:lnTo>
                    <a:pt x="360" y="90"/>
                  </a:lnTo>
                  <a:lnTo>
                    <a:pt x="361" y="90"/>
                  </a:lnTo>
                  <a:lnTo>
                    <a:pt x="362" y="92"/>
                  </a:lnTo>
                  <a:lnTo>
                    <a:pt x="369" y="100"/>
                  </a:lnTo>
                  <a:lnTo>
                    <a:pt x="374" y="108"/>
                  </a:lnTo>
                  <a:lnTo>
                    <a:pt x="378" y="112"/>
                  </a:lnTo>
                  <a:lnTo>
                    <a:pt x="379" y="113"/>
                  </a:lnTo>
                  <a:lnTo>
                    <a:pt x="381" y="115"/>
                  </a:lnTo>
                  <a:lnTo>
                    <a:pt x="382" y="115"/>
                  </a:lnTo>
                  <a:lnTo>
                    <a:pt x="384" y="117"/>
                  </a:lnTo>
                  <a:lnTo>
                    <a:pt x="397" y="123"/>
                  </a:lnTo>
                  <a:lnTo>
                    <a:pt x="401" y="125"/>
                  </a:lnTo>
                  <a:lnTo>
                    <a:pt x="407" y="129"/>
                  </a:lnTo>
                  <a:lnTo>
                    <a:pt x="416" y="135"/>
                  </a:lnTo>
                  <a:lnTo>
                    <a:pt x="421" y="138"/>
                  </a:lnTo>
                  <a:lnTo>
                    <a:pt x="426" y="141"/>
                  </a:lnTo>
                  <a:lnTo>
                    <a:pt x="435" y="146"/>
                  </a:lnTo>
                  <a:lnTo>
                    <a:pt x="437" y="147"/>
                  </a:lnTo>
                  <a:lnTo>
                    <a:pt x="439" y="148"/>
                  </a:lnTo>
                  <a:lnTo>
                    <a:pt x="440" y="150"/>
                  </a:lnTo>
                  <a:lnTo>
                    <a:pt x="440" y="150"/>
                  </a:lnTo>
                  <a:lnTo>
                    <a:pt x="441" y="151"/>
                  </a:lnTo>
                  <a:lnTo>
                    <a:pt x="441" y="153"/>
                  </a:lnTo>
                  <a:lnTo>
                    <a:pt x="441" y="154"/>
                  </a:lnTo>
                  <a:lnTo>
                    <a:pt x="441" y="160"/>
                  </a:lnTo>
                  <a:lnTo>
                    <a:pt x="441" y="162"/>
                  </a:lnTo>
                  <a:lnTo>
                    <a:pt x="441" y="165"/>
                  </a:lnTo>
                  <a:lnTo>
                    <a:pt x="441" y="167"/>
                  </a:lnTo>
                  <a:lnTo>
                    <a:pt x="441" y="168"/>
                  </a:lnTo>
                  <a:lnTo>
                    <a:pt x="441" y="169"/>
                  </a:lnTo>
                  <a:lnTo>
                    <a:pt x="442" y="170"/>
                  </a:lnTo>
                  <a:lnTo>
                    <a:pt x="442" y="170"/>
                  </a:lnTo>
                  <a:lnTo>
                    <a:pt x="444" y="171"/>
                  </a:lnTo>
                  <a:lnTo>
                    <a:pt x="445" y="172"/>
                  </a:lnTo>
                  <a:lnTo>
                    <a:pt x="452" y="174"/>
                  </a:lnTo>
                  <a:lnTo>
                    <a:pt x="454" y="175"/>
                  </a:lnTo>
                  <a:lnTo>
                    <a:pt x="456" y="176"/>
                  </a:lnTo>
                  <a:lnTo>
                    <a:pt x="459" y="178"/>
                  </a:lnTo>
                  <a:lnTo>
                    <a:pt x="464" y="182"/>
                  </a:lnTo>
                  <a:lnTo>
                    <a:pt x="469" y="185"/>
                  </a:lnTo>
                  <a:lnTo>
                    <a:pt x="474" y="187"/>
                  </a:lnTo>
                  <a:lnTo>
                    <a:pt x="480" y="190"/>
                  </a:lnTo>
                  <a:lnTo>
                    <a:pt x="483" y="193"/>
                  </a:lnTo>
                  <a:lnTo>
                    <a:pt x="486" y="194"/>
                  </a:lnTo>
                  <a:lnTo>
                    <a:pt x="487" y="195"/>
                  </a:lnTo>
                  <a:lnTo>
                    <a:pt x="494" y="204"/>
                  </a:lnTo>
                  <a:lnTo>
                    <a:pt x="501" y="210"/>
                  </a:lnTo>
                  <a:lnTo>
                    <a:pt x="508" y="217"/>
                  </a:lnTo>
                  <a:lnTo>
                    <a:pt x="511" y="219"/>
                  </a:lnTo>
                  <a:lnTo>
                    <a:pt x="514" y="221"/>
                  </a:lnTo>
                  <a:lnTo>
                    <a:pt x="516" y="222"/>
                  </a:lnTo>
                  <a:lnTo>
                    <a:pt x="517" y="223"/>
                  </a:lnTo>
                  <a:lnTo>
                    <a:pt x="518" y="225"/>
                  </a:lnTo>
                  <a:lnTo>
                    <a:pt x="518" y="227"/>
                  </a:lnTo>
                  <a:lnTo>
                    <a:pt x="518" y="228"/>
                  </a:lnTo>
                  <a:lnTo>
                    <a:pt x="518" y="229"/>
                  </a:lnTo>
                  <a:lnTo>
                    <a:pt x="518" y="230"/>
                  </a:lnTo>
                  <a:lnTo>
                    <a:pt x="518" y="233"/>
                  </a:lnTo>
                  <a:lnTo>
                    <a:pt x="518" y="235"/>
                  </a:lnTo>
                  <a:lnTo>
                    <a:pt x="518" y="240"/>
                  </a:lnTo>
                  <a:lnTo>
                    <a:pt x="518" y="242"/>
                  </a:lnTo>
                  <a:lnTo>
                    <a:pt x="520" y="249"/>
                  </a:lnTo>
                  <a:lnTo>
                    <a:pt x="521" y="257"/>
                  </a:lnTo>
                  <a:lnTo>
                    <a:pt x="521" y="259"/>
                  </a:lnTo>
                  <a:lnTo>
                    <a:pt x="522" y="261"/>
                  </a:lnTo>
                  <a:lnTo>
                    <a:pt x="523" y="264"/>
                  </a:lnTo>
                  <a:lnTo>
                    <a:pt x="530" y="275"/>
                  </a:lnTo>
                  <a:lnTo>
                    <a:pt x="533" y="282"/>
                  </a:lnTo>
                  <a:lnTo>
                    <a:pt x="534" y="284"/>
                  </a:lnTo>
                  <a:lnTo>
                    <a:pt x="536" y="285"/>
                  </a:lnTo>
                  <a:lnTo>
                    <a:pt x="537" y="286"/>
                  </a:lnTo>
                  <a:lnTo>
                    <a:pt x="538" y="287"/>
                  </a:lnTo>
                  <a:lnTo>
                    <a:pt x="540" y="287"/>
                  </a:lnTo>
                  <a:lnTo>
                    <a:pt x="542" y="287"/>
                  </a:lnTo>
                  <a:lnTo>
                    <a:pt x="544" y="288"/>
                  </a:lnTo>
                  <a:lnTo>
                    <a:pt x="546" y="288"/>
                  </a:lnTo>
                  <a:lnTo>
                    <a:pt x="548" y="288"/>
                  </a:lnTo>
                  <a:lnTo>
                    <a:pt x="551" y="287"/>
                  </a:lnTo>
                  <a:lnTo>
                    <a:pt x="555" y="287"/>
                  </a:lnTo>
                  <a:lnTo>
                    <a:pt x="565" y="284"/>
                  </a:lnTo>
                  <a:lnTo>
                    <a:pt x="579" y="280"/>
                  </a:lnTo>
                  <a:lnTo>
                    <a:pt x="586" y="278"/>
                  </a:lnTo>
                  <a:lnTo>
                    <a:pt x="594" y="276"/>
                  </a:lnTo>
                  <a:lnTo>
                    <a:pt x="604" y="272"/>
                  </a:lnTo>
                  <a:lnTo>
                    <a:pt x="606" y="271"/>
                  </a:lnTo>
                  <a:lnTo>
                    <a:pt x="608" y="270"/>
                  </a:lnTo>
                  <a:lnTo>
                    <a:pt x="610" y="270"/>
                  </a:lnTo>
                  <a:lnTo>
                    <a:pt x="612" y="270"/>
                  </a:lnTo>
                  <a:lnTo>
                    <a:pt x="613" y="270"/>
                  </a:lnTo>
                  <a:lnTo>
                    <a:pt x="615" y="271"/>
                  </a:lnTo>
                  <a:lnTo>
                    <a:pt x="616" y="272"/>
                  </a:lnTo>
                  <a:lnTo>
                    <a:pt x="616" y="274"/>
                  </a:lnTo>
                  <a:lnTo>
                    <a:pt x="616" y="276"/>
                  </a:lnTo>
                  <a:lnTo>
                    <a:pt x="616" y="280"/>
                  </a:lnTo>
                  <a:lnTo>
                    <a:pt x="617" y="285"/>
                  </a:lnTo>
                  <a:lnTo>
                    <a:pt x="618" y="287"/>
                  </a:lnTo>
                  <a:lnTo>
                    <a:pt x="620" y="296"/>
                  </a:lnTo>
                  <a:lnTo>
                    <a:pt x="621" y="298"/>
                  </a:lnTo>
                  <a:lnTo>
                    <a:pt x="622" y="300"/>
                  </a:lnTo>
                  <a:lnTo>
                    <a:pt x="623" y="302"/>
                  </a:lnTo>
                  <a:lnTo>
                    <a:pt x="625" y="304"/>
                  </a:lnTo>
                  <a:lnTo>
                    <a:pt x="627" y="305"/>
                  </a:lnTo>
                  <a:lnTo>
                    <a:pt x="628" y="307"/>
                  </a:lnTo>
                  <a:lnTo>
                    <a:pt x="639" y="312"/>
                  </a:lnTo>
                  <a:lnTo>
                    <a:pt x="643" y="313"/>
                  </a:lnTo>
                  <a:lnTo>
                    <a:pt x="645" y="315"/>
                  </a:lnTo>
                  <a:lnTo>
                    <a:pt x="646" y="315"/>
                  </a:lnTo>
                  <a:lnTo>
                    <a:pt x="651" y="320"/>
                  </a:lnTo>
                  <a:lnTo>
                    <a:pt x="653" y="322"/>
                  </a:lnTo>
                  <a:lnTo>
                    <a:pt x="658" y="328"/>
                  </a:lnTo>
                  <a:lnTo>
                    <a:pt x="666" y="337"/>
                  </a:lnTo>
                  <a:lnTo>
                    <a:pt x="679" y="354"/>
                  </a:lnTo>
                  <a:lnTo>
                    <a:pt x="682" y="357"/>
                  </a:lnTo>
                  <a:lnTo>
                    <a:pt x="688" y="362"/>
                  </a:lnTo>
                  <a:lnTo>
                    <a:pt x="691" y="365"/>
                  </a:lnTo>
                  <a:lnTo>
                    <a:pt x="694" y="370"/>
                  </a:lnTo>
                  <a:lnTo>
                    <a:pt x="700" y="379"/>
                  </a:lnTo>
                  <a:lnTo>
                    <a:pt x="701" y="380"/>
                  </a:lnTo>
                  <a:lnTo>
                    <a:pt x="703" y="382"/>
                  </a:lnTo>
                  <a:lnTo>
                    <a:pt x="704" y="382"/>
                  </a:lnTo>
                  <a:lnTo>
                    <a:pt x="705" y="383"/>
                  </a:lnTo>
                  <a:lnTo>
                    <a:pt x="707" y="383"/>
                  </a:lnTo>
                  <a:lnTo>
                    <a:pt x="708" y="383"/>
                  </a:lnTo>
                  <a:lnTo>
                    <a:pt x="709" y="383"/>
                  </a:lnTo>
                  <a:lnTo>
                    <a:pt x="710" y="382"/>
                  </a:lnTo>
                  <a:lnTo>
                    <a:pt x="715" y="379"/>
                  </a:lnTo>
                  <a:lnTo>
                    <a:pt x="715" y="378"/>
                  </a:lnTo>
                  <a:lnTo>
                    <a:pt x="716" y="378"/>
                  </a:lnTo>
                  <a:lnTo>
                    <a:pt x="717" y="377"/>
                  </a:lnTo>
                  <a:lnTo>
                    <a:pt x="718" y="378"/>
                  </a:lnTo>
                  <a:lnTo>
                    <a:pt x="718" y="379"/>
                  </a:lnTo>
                  <a:lnTo>
                    <a:pt x="718" y="380"/>
                  </a:lnTo>
                  <a:lnTo>
                    <a:pt x="717" y="385"/>
                  </a:lnTo>
                  <a:lnTo>
                    <a:pt x="716" y="391"/>
                  </a:lnTo>
                  <a:lnTo>
                    <a:pt x="716" y="401"/>
                  </a:lnTo>
                  <a:lnTo>
                    <a:pt x="716" y="407"/>
                  </a:lnTo>
                  <a:lnTo>
                    <a:pt x="716" y="411"/>
                  </a:lnTo>
                  <a:lnTo>
                    <a:pt x="717" y="415"/>
                  </a:lnTo>
                  <a:lnTo>
                    <a:pt x="718" y="420"/>
                  </a:lnTo>
                  <a:lnTo>
                    <a:pt x="720" y="425"/>
                  </a:lnTo>
                  <a:lnTo>
                    <a:pt x="722" y="430"/>
                  </a:lnTo>
                  <a:lnTo>
                    <a:pt x="724" y="435"/>
                  </a:lnTo>
                  <a:lnTo>
                    <a:pt x="727" y="440"/>
                  </a:lnTo>
                  <a:lnTo>
                    <a:pt x="728" y="442"/>
                  </a:lnTo>
                  <a:lnTo>
                    <a:pt x="730" y="445"/>
                  </a:lnTo>
                  <a:lnTo>
                    <a:pt x="732" y="447"/>
                  </a:lnTo>
                  <a:lnTo>
                    <a:pt x="733" y="449"/>
                  </a:lnTo>
                  <a:lnTo>
                    <a:pt x="735" y="450"/>
                  </a:lnTo>
                  <a:lnTo>
                    <a:pt x="736" y="452"/>
                  </a:lnTo>
                  <a:lnTo>
                    <a:pt x="738" y="452"/>
                  </a:lnTo>
                  <a:lnTo>
                    <a:pt x="740" y="454"/>
                  </a:lnTo>
                  <a:lnTo>
                    <a:pt x="741" y="454"/>
                  </a:lnTo>
                  <a:lnTo>
                    <a:pt x="742" y="454"/>
                  </a:lnTo>
                  <a:lnTo>
                    <a:pt x="741" y="455"/>
                  </a:lnTo>
                  <a:lnTo>
                    <a:pt x="740" y="457"/>
                  </a:lnTo>
                  <a:lnTo>
                    <a:pt x="739" y="463"/>
                  </a:lnTo>
                  <a:lnTo>
                    <a:pt x="738" y="469"/>
                  </a:lnTo>
                  <a:lnTo>
                    <a:pt x="738" y="476"/>
                  </a:lnTo>
                  <a:lnTo>
                    <a:pt x="737" y="480"/>
                  </a:lnTo>
                  <a:lnTo>
                    <a:pt x="737" y="484"/>
                  </a:lnTo>
                  <a:lnTo>
                    <a:pt x="738" y="507"/>
                  </a:lnTo>
                  <a:lnTo>
                    <a:pt x="738" y="513"/>
                  </a:lnTo>
                  <a:lnTo>
                    <a:pt x="738" y="519"/>
                  </a:lnTo>
                  <a:lnTo>
                    <a:pt x="736" y="534"/>
                  </a:lnTo>
                  <a:lnTo>
                    <a:pt x="735" y="545"/>
                  </a:lnTo>
                  <a:lnTo>
                    <a:pt x="735" y="548"/>
                  </a:lnTo>
                  <a:lnTo>
                    <a:pt x="735" y="552"/>
                  </a:lnTo>
                  <a:lnTo>
                    <a:pt x="734" y="556"/>
                  </a:lnTo>
                  <a:lnTo>
                    <a:pt x="733" y="559"/>
                  </a:lnTo>
                  <a:lnTo>
                    <a:pt x="730" y="564"/>
                  </a:lnTo>
                  <a:lnTo>
                    <a:pt x="728" y="568"/>
                  </a:lnTo>
                  <a:lnTo>
                    <a:pt x="725" y="572"/>
                  </a:lnTo>
                  <a:lnTo>
                    <a:pt x="723" y="574"/>
                  </a:lnTo>
                  <a:lnTo>
                    <a:pt x="722" y="576"/>
                  </a:lnTo>
                  <a:lnTo>
                    <a:pt x="720" y="577"/>
                  </a:lnTo>
                  <a:lnTo>
                    <a:pt x="718" y="578"/>
                  </a:lnTo>
                  <a:lnTo>
                    <a:pt x="715" y="579"/>
                  </a:lnTo>
                  <a:lnTo>
                    <a:pt x="711" y="579"/>
                  </a:lnTo>
                  <a:lnTo>
                    <a:pt x="707" y="580"/>
                  </a:lnTo>
                  <a:lnTo>
                    <a:pt x="703" y="580"/>
                  </a:lnTo>
                  <a:lnTo>
                    <a:pt x="700" y="580"/>
                  </a:lnTo>
                  <a:lnTo>
                    <a:pt x="697" y="579"/>
                  </a:lnTo>
                  <a:lnTo>
                    <a:pt x="694" y="578"/>
                  </a:lnTo>
                  <a:lnTo>
                    <a:pt x="691" y="577"/>
                  </a:lnTo>
                  <a:lnTo>
                    <a:pt x="689" y="575"/>
                  </a:lnTo>
                  <a:lnTo>
                    <a:pt x="686" y="572"/>
                  </a:lnTo>
                  <a:lnTo>
                    <a:pt x="684" y="569"/>
                  </a:lnTo>
                  <a:lnTo>
                    <a:pt x="677" y="561"/>
                  </a:lnTo>
                  <a:lnTo>
                    <a:pt x="675" y="558"/>
                  </a:lnTo>
                  <a:lnTo>
                    <a:pt x="673" y="556"/>
                  </a:lnTo>
                  <a:lnTo>
                    <a:pt x="671" y="554"/>
                  </a:lnTo>
                  <a:lnTo>
                    <a:pt x="668" y="552"/>
                  </a:lnTo>
                  <a:lnTo>
                    <a:pt x="666" y="551"/>
                  </a:lnTo>
                  <a:lnTo>
                    <a:pt x="661" y="549"/>
                  </a:lnTo>
                  <a:lnTo>
                    <a:pt x="658" y="548"/>
                  </a:lnTo>
                  <a:lnTo>
                    <a:pt x="656" y="547"/>
                  </a:lnTo>
                  <a:lnTo>
                    <a:pt x="655" y="546"/>
                  </a:lnTo>
                  <a:lnTo>
                    <a:pt x="653" y="544"/>
                  </a:lnTo>
                  <a:lnTo>
                    <a:pt x="651" y="542"/>
                  </a:lnTo>
                  <a:lnTo>
                    <a:pt x="649" y="539"/>
                  </a:lnTo>
                  <a:lnTo>
                    <a:pt x="645" y="533"/>
                  </a:lnTo>
                  <a:lnTo>
                    <a:pt x="642" y="530"/>
                  </a:lnTo>
                  <a:lnTo>
                    <a:pt x="641" y="529"/>
                  </a:lnTo>
                  <a:lnTo>
                    <a:pt x="639" y="527"/>
                  </a:lnTo>
                  <a:lnTo>
                    <a:pt x="638" y="527"/>
                  </a:lnTo>
                  <a:lnTo>
                    <a:pt x="637" y="526"/>
                  </a:lnTo>
                  <a:lnTo>
                    <a:pt x="635" y="525"/>
                  </a:lnTo>
                  <a:lnTo>
                    <a:pt x="633" y="525"/>
                  </a:lnTo>
                  <a:lnTo>
                    <a:pt x="630" y="526"/>
                  </a:lnTo>
                  <a:lnTo>
                    <a:pt x="628" y="527"/>
                  </a:lnTo>
                  <a:lnTo>
                    <a:pt x="624" y="529"/>
                  </a:lnTo>
                  <a:lnTo>
                    <a:pt x="605" y="540"/>
                  </a:lnTo>
                  <a:lnTo>
                    <a:pt x="601" y="542"/>
                  </a:lnTo>
                  <a:lnTo>
                    <a:pt x="597" y="544"/>
                  </a:lnTo>
                  <a:lnTo>
                    <a:pt x="594" y="544"/>
                  </a:lnTo>
                  <a:lnTo>
                    <a:pt x="591" y="545"/>
                  </a:lnTo>
                  <a:lnTo>
                    <a:pt x="589" y="545"/>
                  </a:lnTo>
                  <a:lnTo>
                    <a:pt x="586" y="545"/>
                  </a:lnTo>
                  <a:lnTo>
                    <a:pt x="583" y="544"/>
                  </a:lnTo>
                  <a:lnTo>
                    <a:pt x="575" y="541"/>
                  </a:lnTo>
                  <a:lnTo>
                    <a:pt x="564" y="537"/>
                  </a:lnTo>
                  <a:lnTo>
                    <a:pt x="560" y="536"/>
                  </a:lnTo>
                  <a:lnTo>
                    <a:pt x="546" y="530"/>
                  </a:lnTo>
                  <a:lnTo>
                    <a:pt x="544" y="529"/>
                  </a:lnTo>
                  <a:lnTo>
                    <a:pt x="542" y="528"/>
                  </a:lnTo>
                  <a:lnTo>
                    <a:pt x="538" y="526"/>
                  </a:lnTo>
                  <a:lnTo>
                    <a:pt x="536" y="524"/>
                  </a:lnTo>
                  <a:lnTo>
                    <a:pt x="533" y="522"/>
                  </a:lnTo>
                  <a:lnTo>
                    <a:pt x="528" y="515"/>
                  </a:lnTo>
                  <a:lnTo>
                    <a:pt x="526" y="513"/>
                  </a:lnTo>
                  <a:lnTo>
                    <a:pt x="518" y="504"/>
                  </a:lnTo>
                  <a:lnTo>
                    <a:pt x="513" y="500"/>
                  </a:lnTo>
                  <a:lnTo>
                    <a:pt x="511" y="499"/>
                  </a:lnTo>
                  <a:lnTo>
                    <a:pt x="508" y="497"/>
                  </a:lnTo>
                  <a:lnTo>
                    <a:pt x="506" y="497"/>
                  </a:lnTo>
                  <a:lnTo>
                    <a:pt x="503" y="497"/>
                  </a:lnTo>
                  <a:lnTo>
                    <a:pt x="501" y="497"/>
                  </a:lnTo>
                  <a:lnTo>
                    <a:pt x="500" y="497"/>
                  </a:lnTo>
                  <a:lnTo>
                    <a:pt x="498" y="498"/>
                  </a:lnTo>
                  <a:lnTo>
                    <a:pt x="496" y="499"/>
                  </a:lnTo>
                  <a:lnTo>
                    <a:pt x="495" y="500"/>
                  </a:lnTo>
                  <a:lnTo>
                    <a:pt x="494" y="501"/>
                  </a:lnTo>
                  <a:lnTo>
                    <a:pt x="493" y="502"/>
                  </a:lnTo>
                  <a:lnTo>
                    <a:pt x="492" y="504"/>
                  </a:lnTo>
                  <a:lnTo>
                    <a:pt x="491" y="505"/>
                  </a:lnTo>
                  <a:lnTo>
                    <a:pt x="491" y="508"/>
                  </a:lnTo>
                  <a:lnTo>
                    <a:pt x="491" y="518"/>
                  </a:lnTo>
                  <a:lnTo>
                    <a:pt x="490" y="522"/>
                  </a:lnTo>
                  <a:lnTo>
                    <a:pt x="489" y="527"/>
                  </a:lnTo>
                  <a:lnTo>
                    <a:pt x="487" y="534"/>
                  </a:lnTo>
                  <a:lnTo>
                    <a:pt x="486" y="541"/>
                  </a:lnTo>
                  <a:lnTo>
                    <a:pt x="484" y="544"/>
                  </a:lnTo>
                  <a:lnTo>
                    <a:pt x="483" y="547"/>
                  </a:lnTo>
                  <a:lnTo>
                    <a:pt x="481" y="550"/>
                  </a:lnTo>
                  <a:lnTo>
                    <a:pt x="480" y="553"/>
                  </a:lnTo>
                  <a:lnTo>
                    <a:pt x="479" y="556"/>
                  </a:lnTo>
                  <a:lnTo>
                    <a:pt x="476" y="558"/>
                  </a:lnTo>
                  <a:lnTo>
                    <a:pt x="475" y="561"/>
                  </a:lnTo>
                  <a:lnTo>
                    <a:pt x="473" y="562"/>
                  </a:lnTo>
                  <a:lnTo>
                    <a:pt x="471" y="564"/>
                  </a:lnTo>
                  <a:lnTo>
                    <a:pt x="469" y="566"/>
                  </a:lnTo>
                  <a:lnTo>
                    <a:pt x="467" y="567"/>
                  </a:lnTo>
                  <a:lnTo>
                    <a:pt x="465" y="567"/>
                  </a:lnTo>
                  <a:lnTo>
                    <a:pt x="463" y="567"/>
                  </a:lnTo>
                  <a:lnTo>
                    <a:pt x="461" y="568"/>
                  </a:lnTo>
                  <a:lnTo>
                    <a:pt x="451" y="569"/>
                  </a:lnTo>
                  <a:lnTo>
                    <a:pt x="446" y="569"/>
                  </a:lnTo>
                  <a:lnTo>
                    <a:pt x="442" y="571"/>
                  </a:lnTo>
                  <a:lnTo>
                    <a:pt x="441" y="571"/>
                  </a:lnTo>
                  <a:lnTo>
                    <a:pt x="439" y="572"/>
                  </a:lnTo>
                  <a:lnTo>
                    <a:pt x="437" y="573"/>
                  </a:lnTo>
                  <a:lnTo>
                    <a:pt x="436" y="574"/>
                  </a:lnTo>
                  <a:lnTo>
                    <a:pt x="436" y="575"/>
                  </a:lnTo>
                  <a:lnTo>
                    <a:pt x="434" y="578"/>
                  </a:lnTo>
                  <a:lnTo>
                    <a:pt x="432" y="584"/>
                  </a:lnTo>
                  <a:lnTo>
                    <a:pt x="431" y="587"/>
                  </a:lnTo>
                  <a:lnTo>
                    <a:pt x="429" y="589"/>
                  </a:lnTo>
                  <a:lnTo>
                    <a:pt x="429" y="589"/>
                  </a:lnTo>
                  <a:lnTo>
                    <a:pt x="427" y="591"/>
                  </a:lnTo>
                  <a:lnTo>
                    <a:pt x="426" y="592"/>
                  </a:lnTo>
                  <a:lnTo>
                    <a:pt x="424" y="594"/>
                  </a:lnTo>
                  <a:lnTo>
                    <a:pt x="421" y="594"/>
                  </a:lnTo>
                  <a:lnTo>
                    <a:pt x="418" y="596"/>
                  </a:lnTo>
                  <a:lnTo>
                    <a:pt x="412" y="597"/>
                  </a:lnTo>
                  <a:lnTo>
                    <a:pt x="410" y="597"/>
                  </a:lnTo>
                  <a:lnTo>
                    <a:pt x="408" y="599"/>
                  </a:lnTo>
                  <a:lnTo>
                    <a:pt x="406" y="599"/>
                  </a:lnTo>
                  <a:lnTo>
                    <a:pt x="404" y="602"/>
                  </a:lnTo>
                  <a:lnTo>
                    <a:pt x="402" y="603"/>
                  </a:lnTo>
                  <a:lnTo>
                    <a:pt x="396" y="609"/>
                  </a:lnTo>
                  <a:lnTo>
                    <a:pt x="394" y="611"/>
                  </a:lnTo>
                  <a:lnTo>
                    <a:pt x="391" y="613"/>
                  </a:lnTo>
                  <a:lnTo>
                    <a:pt x="389" y="614"/>
                  </a:lnTo>
                  <a:lnTo>
                    <a:pt x="386" y="615"/>
                  </a:lnTo>
                  <a:lnTo>
                    <a:pt x="384" y="615"/>
                  </a:lnTo>
                  <a:lnTo>
                    <a:pt x="381" y="615"/>
                  </a:lnTo>
                  <a:lnTo>
                    <a:pt x="379" y="614"/>
                  </a:lnTo>
                  <a:lnTo>
                    <a:pt x="376" y="614"/>
                  </a:lnTo>
                  <a:lnTo>
                    <a:pt x="369" y="610"/>
                  </a:lnTo>
                  <a:lnTo>
                    <a:pt x="359" y="605"/>
                  </a:lnTo>
                  <a:lnTo>
                    <a:pt x="349" y="601"/>
                  </a:lnTo>
                  <a:lnTo>
                    <a:pt x="329" y="589"/>
                  </a:lnTo>
                  <a:lnTo>
                    <a:pt x="325" y="588"/>
                  </a:lnTo>
                  <a:lnTo>
                    <a:pt x="322" y="587"/>
                  </a:lnTo>
                  <a:lnTo>
                    <a:pt x="319" y="585"/>
                  </a:lnTo>
                  <a:lnTo>
                    <a:pt x="314" y="584"/>
                  </a:lnTo>
                  <a:lnTo>
                    <a:pt x="311" y="584"/>
                  </a:lnTo>
                  <a:lnTo>
                    <a:pt x="301" y="582"/>
                  </a:lnTo>
                  <a:lnTo>
                    <a:pt x="296" y="582"/>
                  </a:lnTo>
                  <a:lnTo>
                    <a:pt x="293" y="580"/>
                  </a:lnTo>
                  <a:lnTo>
                    <a:pt x="283" y="577"/>
                  </a:lnTo>
                  <a:lnTo>
                    <a:pt x="276" y="574"/>
                  </a:lnTo>
                  <a:lnTo>
                    <a:pt x="266" y="572"/>
                  </a:lnTo>
                  <a:lnTo>
                    <a:pt x="259" y="569"/>
                  </a:lnTo>
                  <a:lnTo>
                    <a:pt x="253" y="568"/>
                  </a:lnTo>
                  <a:lnTo>
                    <a:pt x="247" y="567"/>
                  </a:lnTo>
                  <a:lnTo>
                    <a:pt x="242" y="567"/>
                  </a:lnTo>
                  <a:lnTo>
                    <a:pt x="234" y="566"/>
                  </a:lnTo>
                  <a:lnTo>
                    <a:pt x="229" y="566"/>
                  </a:lnTo>
                  <a:lnTo>
                    <a:pt x="227" y="565"/>
                  </a:lnTo>
                  <a:lnTo>
                    <a:pt x="215" y="564"/>
                  </a:lnTo>
                  <a:lnTo>
                    <a:pt x="210" y="563"/>
                  </a:lnTo>
                  <a:lnTo>
                    <a:pt x="204" y="562"/>
                  </a:lnTo>
                  <a:lnTo>
                    <a:pt x="199" y="562"/>
                  </a:lnTo>
                  <a:lnTo>
                    <a:pt x="195" y="562"/>
                  </a:lnTo>
                  <a:lnTo>
                    <a:pt x="192" y="563"/>
                  </a:lnTo>
                  <a:lnTo>
                    <a:pt x="184" y="564"/>
                  </a:lnTo>
                  <a:lnTo>
                    <a:pt x="181" y="564"/>
                  </a:lnTo>
                  <a:lnTo>
                    <a:pt x="178" y="564"/>
                  </a:lnTo>
                  <a:lnTo>
                    <a:pt x="174" y="564"/>
                  </a:lnTo>
                  <a:lnTo>
                    <a:pt x="172" y="564"/>
                  </a:lnTo>
                  <a:lnTo>
                    <a:pt x="169" y="563"/>
                  </a:lnTo>
                  <a:lnTo>
                    <a:pt x="167" y="562"/>
                  </a:lnTo>
                  <a:lnTo>
                    <a:pt x="161" y="560"/>
                  </a:lnTo>
                  <a:lnTo>
                    <a:pt x="158" y="559"/>
                  </a:lnTo>
                  <a:lnTo>
                    <a:pt x="153" y="557"/>
                  </a:lnTo>
                  <a:lnTo>
                    <a:pt x="143" y="555"/>
                  </a:lnTo>
                  <a:lnTo>
                    <a:pt x="141" y="554"/>
                  </a:lnTo>
                  <a:lnTo>
                    <a:pt x="139" y="554"/>
                  </a:lnTo>
                  <a:lnTo>
                    <a:pt x="137" y="552"/>
                  </a:lnTo>
                  <a:lnTo>
                    <a:pt x="133" y="548"/>
                  </a:lnTo>
                  <a:lnTo>
                    <a:pt x="128" y="544"/>
                  </a:lnTo>
                  <a:lnTo>
                    <a:pt x="127" y="543"/>
                  </a:lnTo>
                  <a:lnTo>
                    <a:pt x="124" y="541"/>
                  </a:lnTo>
                  <a:lnTo>
                    <a:pt x="122" y="539"/>
                  </a:lnTo>
                  <a:lnTo>
                    <a:pt x="119" y="536"/>
                  </a:lnTo>
                  <a:lnTo>
                    <a:pt x="118" y="533"/>
                  </a:lnTo>
                  <a:lnTo>
                    <a:pt x="117" y="530"/>
                  </a:lnTo>
                  <a:lnTo>
                    <a:pt x="114" y="524"/>
                  </a:lnTo>
                  <a:lnTo>
                    <a:pt x="113" y="522"/>
                  </a:lnTo>
                  <a:lnTo>
                    <a:pt x="112" y="521"/>
                  </a:lnTo>
                  <a:lnTo>
                    <a:pt x="112" y="519"/>
                  </a:lnTo>
                  <a:lnTo>
                    <a:pt x="110" y="518"/>
                  </a:lnTo>
                  <a:lnTo>
                    <a:pt x="104" y="513"/>
                  </a:lnTo>
                  <a:lnTo>
                    <a:pt x="102" y="511"/>
                  </a:lnTo>
                  <a:lnTo>
                    <a:pt x="100" y="509"/>
                  </a:lnTo>
                  <a:lnTo>
                    <a:pt x="99" y="507"/>
                  </a:lnTo>
                  <a:lnTo>
                    <a:pt x="97" y="504"/>
                  </a:lnTo>
                  <a:lnTo>
                    <a:pt x="96" y="502"/>
                  </a:lnTo>
                  <a:lnTo>
                    <a:pt x="96" y="500"/>
                  </a:lnTo>
                  <a:lnTo>
                    <a:pt x="96" y="499"/>
                  </a:lnTo>
                  <a:lnTo>
                    <a:pt x="96" y="497"/>
                  </a:lnTo>
                  <a:lnTo>
                    <a:pt x="96" y="495"/>
                  </a:lnTo>
                  <a:lnTo>
                    <a:pt x="97" y="494"/>
                  </a:lnTo>
                  <a:lnTo>
                    <a:pt x="98" y="492"/>
                  </a:lnTo>
                  <a:lnTo>
                    <a:pt x="99" y="489"/>
                  </a:lnTo>
                  <a:lnTo>
                    <a:pt x="101" y="488"/>
                  </a:lnTo>
                  <a:lnTo>
                    <a:pt x="102" y="486"/>
                  </a:lnTo>
                  <a:lnTo>
                    <a:pt x="104" y="484"/>
                  </a:lnTo>
                  <a:lnTo>
                    <a:pt x="108" y="482"/>
                  </a:lnTo>
                  <a:lnTo>
                    <a:pt x="111" y="480"/>
                  </a:lnTo>
                  <a:lnTo>
                    <a:pt x="117" y="477"/>
                  </a:lnTo>
                  <a:lnTo>
                    <a:pt x="120" y="476"/>
                  </a:lnTo>
                  <a:lnTo>
                    <a:pt x="122" y="474"/>
                  </a:lnTo>
                  <a:lnTo>
                    <a:pt x="122" y="474"/>
                  </a:lnTo>
                  <a:lnTo>
                    <a:pt x="124" y="472"/>
                  </a:lnTo>
                  <a:lnTo>
                    <a:pt x="124" y="471"/>
                  </a:lnTo>
                  <a:lnTo>
                    <a:pt x="126" y="469"/>
                  </a:lnTo>
                  <a:lnTo>
                    <a:pt x="127" y="467"/>
                  </a:lnTo>
                  <a:lnTo>
                    <a:pt x="127" y="464"/>
                  </a:lnTo>
                  <a:lnTo>
                    <a:pt x="127" y="462"/>
                  </a:lnTo>
                  <a:lnTo>
                    <a:pt x="127" y="460"/>
                  </a:lnTo>
                  <a:lnTo>
                    <a:pt x="127" y="458"/>
                  </a:lnTo>
                  <a:lnTo>
                    <a:pt x="125" y="456"/>
                  </a:lnTo>
                  <a:lnTo>
                    <a:pt x="124" y="454"/>
                  </a:lnTo>
                  <a:lnTo>
                    <a:pt x="123" y="452"/>
                  </a:lnTo>
                  <a:lnTo>
                    <a:pt x="121" y="450"/>
                  </a:lnTo>
                  <a:lnTo>
                    <a:pt x="119" y="449"/>
                  </a:lnTo>
                  <a:lnTo>
                    <a:pt x="112" y="443"/>
                  </a:lnTo>
                  <a:lnTo>
                    <a:pt x="108" y="440"/>
                  </a:lnTo>
                  <a:lnTo>
                    <a:pt x="106" y="438"/>
                  </a:lnTo>
                  <a:lnTo>
                    <a:pt x="103" y="435"/>
                  </a:lnTo>
                  <a:lnTo>
                    <a:pt x="97" y="427"/>
                  </a:lnTo>
                  <a:lnTo>
                    <a:pt x="93" y="422"/>
                  </a:lnTo>
                  <a:lnTo>
                    <a:pt x="89" y="418"/>
                  </a:lnTo>
                  <a:lnTo>
                    <a:pt x="86" y="414"/>
                  </a:lnTo>
                  <a:lnTo>
                    <a:pt x="83" y="411"/>
                  </a:lnTo>
                  <a:lnTo>
                    <a:pt x="80" y="408"/>
                  </a:lnTo>
                  <a:lnTo>
                    <a:pt x="78" y="407"/>
                  </a:lnTo>
                  <a:lnTo>
                    <a:pt x="77" y="405"/>
                  </a:lnTo>
                  <a:lnTo>
                    <a:pt x="74" y="405"/>
                  </a:lnTo>
                  <a:lnTo>
                    <a:pt x="72" y="403"/>
                  </a:lnTo>
                  <a:lnTo>
                    <a:pt x="67" y="401"/>
                  </a:lnTo>
                  <a:lnTo>
                    <a:pt x="55" y="397"/>
                  </a:lnTo>
                  <a:lnTo>
                    <a:pt x="47" y="394"/>
                  </a:lnTo>
                  <a:lnTo>
                    <a:pt x="44" y="393"/>
                  </a:lnTo>
                  <a:lnTo>
                    <a:pt x="41" y="392"/>
                  </a:lnTo>
                  <a:lnTo>
                    <a:pt x="40" y="390"/>
                  </a:lnTo>
                  <a:lnTo>
                    <a:pt x="37" y="389"/>
                  </a:lnTo>
                  <a:lnTo>
                    <a:pt x="30" y="384"/>
                  </a:lnTo>
                  <a:lnTo>
                    <a:pt x="25" y="380"/>
                  </a:lnTo>
                  <a:lnTo>
                    <a:pt x="20" y="376"/>
                  </a:lnTo>
                  <a:lnTo>
                    <a:pt x="17" y="372"/>
                  </a:lnTo>
                  <a:lnTo>
                    <a:pt x="12" y="367"/>
                  </a:lnTo>
                  <a:lnTo>
                    <a:pt x="7" y="362"/>
                  </a:lnTo>
                  <a:lnTo>
                    <a:pt x="2" y="356"/>
                  </a:lnTo>
                  <a:lnTo>
                    <a:pt x="0" y="352"/>
                  </a:lnTo>
                  <a:lnTo>
                    <a:pt x="2" y="347"/>
                  </a:lnTo>
                  <a:lnTo>
                    <a:pt x="4" y="345"/>
                  </a:lnTo>
                  <a:lnTo>
                    <a:pt x="5" y="344"/>
                  </a:lnTo>
                  <a:lnTo>
                    <a:pt x="6" y="342"/>
                  </a:lnTo>
                  <a:lnTo>
                    <a:pt x="7" y="340"/>
                  </a:lnTo>
                  <a:lnTo>
                    <a:pt x="10" y="339"/>
                  </a:lnTo>
                  <a:lnTo>
                    <a:pt x="11" y="337"/>
                  </a:lnTo>
                  <a:lnTo>
                    <a:pt x="15" y="335"/>
                  </a:lnTo>
                  <a:lnTo>
                    <a:pt x="18" y="334"/>
                  </a:lnTo>
                  <a:lnTo>
                    <a:pt x="21" y="333"/>
                  </a:lnTo>
                  <a:lnTo>
                    <a:pt x="29" y="331"/>
                  </a:lnTo>
                  <a:lnTo>
                    <a:pt x="32" y="330"/>
                  </a:lnTo>
                  <a:lnTo>
                    <a:pt x="33" y="329"/>
                  </a:lnTo>
                  <a:lnTo>
                    <a:pt x="35" y="327"/>
                  </a:lnTo>
                  <a:lnTo>
                    <a:pt x="36" y="326"/>
                  </a:lnTo>
                  <a:lnTo>
                    <a:pt x="38" y="325"/>
                  </a:lnTo>
                  <a:lnTo>
                    <a:pt x="40" y="322"/>
                  </a:lnTo>
                  <a:lnTo>
                    <a:pt x="41" y="320"/>
                  </a:lnTo>
                  <a:lnTo>
                    <a:pt x="42" y="318"/>
                  </a:lnTo>
                  <a:lnTo>
                    <a:pt x="43" y="316"/>
                  </a:lnTo>
                  <a:lnTo>
                    <a:pt x="47" y="305"/>
                  </a:lnTo>
                  <a:lnTo>
                    <a:pt x="52" y="297"/>
                  </a:lnTo>
                  <a:lnTo>
                    <a:pt x="53" y="292"/>
                  </a:lnTo>
                  <a:lnTo>
                    <a:pt x="54" y="289"/>
                  </a:lnTo>
                  <a:lnTo>
                    <a:pt x="56" y="283"/>
                  </a:lnTo>
                  <a:lnTo>
                    <a:pt x="56" y="281"/>
                  </a:lnTo>
                  <a:lnTo>
                    <a:pt x="57" y="278"/>
                  </a:lnTo>
                  <a:lnTo>
                    <a:pt x="57" y="276"/>
                  </a:lnTo>
                  <a:lnTo>
                    <a:pt x="57" y="272"/>
                  </a:lnTo>
                  <a:lnTo>
                    <a:pt x="55" y="260"/>
                  </a:lnTo>
                  <a:lnTo>
                    <a:pt x="54" y="254"/>
                  </a:lnTo>
                  <a:lnTo>
                    <a:pt x="54" y="250"/>
                  </a:lnTo>
                  <a:lnTo>
                    <a:pt x="53" y="247"/>
                  </a:lnTo>
                  <a:lnTo>
                    <a:pt x="52" y="242"/>
                  </a:lnTo>
                  <a:lnTo>
                    <a:pt x="50" y="236"/>
                  </a:lnTo>
                  <a:lnTo>
                    <a:pt x="47" y="230"/>
                  </a:lnTo>
                  <a:lnTo>
                    <a:pt x="42" y="217"/>
                  </a:lnTo>
                  <a:lnTo>
                    <a:pt x="40" y="212"/>
                  </a:lnTo>
                  <a:lnTo>
                    <a:pt x="39" y="208"/>
                  </a:lnTo>
                  <a:lnTo>
                    <a:pt x="38" y="203"/>
                  </a:lnTo>
                  <a:lnTo>
                    <a:pt x="38" y="198"/>
                  </a:lnTo>
                  <a:lnTo>
                    <a:pt x="38" y="195"/>
                  </a:lnTo>
                  <a:lnTo>
                    <a:pt x="38" y="191"/>
                  </a:lnTo>
                  <a:lnTo>
                    <a:pt x="39" y="183"/>
                  </a:lnTo>
                  <a:lnTo>
                    <a:pt x="39" y="179"/>
                  </a:lnTo>
                  <a:lnTo>
                    <a:pt x="39" y="175"/>
                  </a:lnTo>
                  <a:lnTo>
                    <a:pt x="39" y="172"/>
                  </a:lnTo>
                  <a:lnTo>
                    <a:pt x="37" y="163"/>
                  </a:lnTo>
                  <a:lnTo>
                    <a:pt x="37" y="161"/>
                  </a:lnTo>
                  <a:lnTo>
                    <a:pt x="37" y="159"/>
                  </a:lnTo>
                  <a:lnTo>
                    <a:pt x="37" y="155"/>
                  </a:lnTo>
                  <a:lnTo>
                    <a:pt x="37" y="152"/>
                  </a:lnTo>
                  <a:lnTo>
                    <a:pt x="38" y="150"/>
                  </a:lnTo>
                  <a:lnTo>
                    <a:pt x="40" y="148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3" y="145"/>
                  </a:lnTo>
                  <a:lnTo>
                    <a:pt x="45" y="144"/>
                  </a:lnTo>
                  <a:lnTo>
                    <a:pt x="47" y="144"/>
                  </a:lnTo>
                  <a:lnTo>
                    <a:pt x="53" y="143"/>
                  </a:lnTo>
                  <a:lnTo>
                    <a:pt x="59" y="143"/>
                  </a:lnTo>
                  <a:lnTo>
                    <a:pt x="62" y="143"/>
                  </a:lnTo>
                  <a:lnTo>
                    <a:pt x="64" y="143"/>
                  </a:lnTo>
                  <a:lnTo>
                    <a:pt x="68" y="143"/>
                  </a:lnTo>
                  <a:lnTo>
                    <a:pt x="72" y="145"/>
                  </a:lnTo>
                  <a:lnTo>
                    <a:pt x="74" y="145"/>
                  </a:lnTo>
                  <a:lnTo>
                    <a:pt x="77" y="145"/>
                  </a:lnTo>
                  <a:lnTo>
                    <a:pt x="79" y="145"/>
                  </a:lnTo>
                  <a:lnTo>
                    <a:pt x="82" y="145"/>
                  </a:lnTo>
                  <a:lnTo>
                    <a:pt x="84" y="144"/>
                  </a:lnTo>
                  <a:lnTo>
                    <a:pt x="97" y="139"/>
                  </a:lnTo>
                  <a:lnTo>
                    <a:pt x="99" y="138"/>
                  </a:lnTo>
                  <a:lnTo>
                    <a:pt x="103" y="138"/>
                  </a:lnTo>
                  <a:lnTo>
                    <a:pt x="107" y="137"/>
                  </a:lnTo>
                  <a:lnTo>
                    <a:pt x="117" y="135"/>
                  </a:lnTo>
                  <a:lnTo>
                    <a:pt x="137" y="133"/>
                  </a:lnTo>
                  <a:lnTo>
                    <a:pt x="140" y="133"/>
                  </a:lnTo>
                  <a:lnTo>
                    <a:pt x="147" y="132"/>
                  </a:lnTo>
                  <a:lnTo>
                    <a:pt x="149" y="132"/>
                  </a:lnTo>
                  <a:lnTo>
                    <a:pt x="154" y="131"/>
                  </a:lnTo>
                  <a:lnTo>
                    <a:pt x="158" y="132"/>
                  </a:lnTo>
                  <a:lnTo>
                    <a:pt x="164" y="132"/>
                  </a:lnTo>
                  <a:lnTo>
                    <a:pt x="174" y="133"/>
                  </a:lnTo>
                  <a:lnTo>
                    <a:pt x="178" y="134"/>
                  </a:lnTo>
                  <a:lnTo>
                    <a:pt x="182" y="134"/>
                  </a:lnTo>
                  <a:lnTo>
                    <a:pt x="190" y="133"/>
                  </a:lnTo>
                  <a:lnTo>
                    <a:pt x="192" y="133"/>
                  </a:lnTo>
                  <a:lnTo>
                    <a:pt x="194" y="133"/>
                  </a:lnTo>
                  <a:lnTo>
                    <a:pt x="207" y="133"/>
                  </a:lnTo>
                  <a:lnTo>
                    <a:pt x="209" y="134"/>
                  </a:lnTo>
                  <a:lnTo>
                    <a:pt x="211" y="135"/>
                  </a:lnTo>
                  <a:lnTo>
                    <a:pt x="213" y="135"/>
                  </a:lnTo>
                  <a:lnTo>
                    <a:pt x="214" y="136"/>
                  </a:lnTo>
                  <a:lnTo>
                    <a:pt x="221" y="142"/>
                  </a:lnTo>
                  <a:lnTo>
                    <a:pt x="227" y="146"/>
                  </a:lnTo>
                  <a:lnTo>
                    <a:pt x="233" y="151"/>
                  </a:lnTo>
                  <a:lnTo>
                    <a:pt x="236" y="153"/>
                  </a:lnTo>
                  <a:lnTo>
                    <a:pt x="237" y="154"/>
                  </a:lnTo>
                  <a:lnTo>
                    <a:pt x="239" y="154"/>
                  </a:lnTo>
                  <a:lnTo>
                    <a:pt x="239" y="154"/>
                  </a:lnTo>
                  <a:lnTo>
                    <a:pt x="241" y="154"/>
                  </a:lnTo>
                  <a:lnTo>
                    <a:pt x="242" y="153"/>
                  </a:lnTo>
                  <a:lnTo>
                    <a:pt x="244" y="150"/>
                  </a:lnTo>
                  <a:lnTo>
                    <a:pt x="245" y="149"/>
                  </a:lnTo>
                  <a:lnTo>
                    <a:pt x="247" y="148"/>
                  </a:lnTo>
                  <a:lnTo>
                    <a:pt x="247" y="145"/>
                  </a:lnTo>
                  <a:lnTo>
                    <a:pt x="248" y="144"/>
                  </a:lnTo>
                  <a:lnTo>
                    <a:pt x="249" y="143"/>
                  </a:lnTo>
                  <a:lnTo>
                    <a:pt x="249" y="141"/>
                  </a:lnTo>
                  <a:lnTo>
                    <a:pt x="249" y="140"/>
                  </a:lnTo>
                  <a:lnTo>
                    <a:pt x="247" y="138"/>
                  </a:lnTo>
                  <a:lnTo>
                    <a:pt x="247" y="136"/>
                  </a:lnTo>
                  <a:lnTo>
                    <a:pt x="247" y="135"/>
                  </a:lnTo>
                  <a:lnTo>
                    <a:pt x="248" y="133"/>
                  </a:lnTo>
                  <a:lnTo>
                    <a:pt x="248" y="132"/>
                  </a:lnTo>
                  <a:lnTo>
                    <a:pt x="248" y="131"/>
                  </a:lnTo>
                  <a:lnTo>
                    <a:pt x="248" y="130"/>
                  </a:lnTo>
                  <a:lnTo>
                    <a:pt x="245" y="125"/>
                  </a:lnTo>
                  <a:lnTo>
                    <a:pt x="242" y="120"/>
                  </a:lnTo>
                  <a:lnTo>
                    <a:pt x="241" y="119"/>
                  </a:lnTo>
                  <a:lnTo>
                    <a:pt x="240" y="118"/>
                  </a:lnTo>
                  <a:lnTo>
                    <a:pt x="239" y="115"/>
                  </a:lnTo>
                  <a:lnTo>
                    <a:pt x="239" y="113"/>
                  </a:lnTo>
                  <a:lnTo>
                    <a:pt x="239" y="110"/>
                  </a:lnTo>
                  <a:lnTo>
                    <a:pt x="237" y="105"/>
                  </a:lnTo>
                  <a:lnTo>
                    <a:pt x="237" y="102"/>
                  </a:lnTo>
                  <a:lnTo>
                    <a:pt x="237" y="100"/>
                  </a:lnTo>
                  <a:lnTo>
                    <a:pt x="237" y="98"/>
                  </a:lnTo>
                  <a:lnTo>
                    <a:pt x="238" y="94"/>
                  </a:lnTo>
                  <a:lnTo>
                    <a:pt x="239" y="92"/>
                  </a:lnTo>
                  <a:lnTo>
                    <a:pt x="239" y="89"/>
                  </a:lnTo>
                  <a:lnTo>
                    <a:pt x="242" y="83"/>
                  </a:lnTo>
                  <a:lnTo>
                    <a:pt x="244" y="82"/>
                  </a:lnTo>
                  <a:lnTo>
                    <a:pt x="246" y="79"/>
                  </a:lnTo>
                  <a:lnTo>
                    <a:pt x="247" y="78"/>
                  </a:lnTo>
                  <a:lnTo>
                    <a:pt x="247" y="78"/>
                  </a:lnTo>
                  <a:lnTo>
                    <a:pt x="248" y="72"/>
                  </a:lnTo>
                  <a:lnTo>
                    <a:pt x="250" y="65"/>
                  </a:lnTo>
                  <a:lnTo>
                    <a:pt x="251" y="63"/>
                  </a:lnTo>
                  <a:lnTo>
                    <a:pt x="252" y="60"/>
                  </a:lnTo>
                  <a:lnTo>
                    <a:pt x="252" y="56"/>
                  </a:lnTo>
                  <a:lnTo>
                    <a:pt x="252" y="50"/>
                  </a:lnTo>
                  <a:lnTo>
                    <a:pt x="252" y="45"/>
                  </a:lnTo>
                  <a:lnTo>
                    <a:pt x="253" y="43"/>
                  </a:lnTo>
                  <a:lnTo>
                    <a:pt x="253" y="41"/>
                  </a:lnTo>
                  <a:lnTo>
                    <a:pt x="254" y="40"/>
                  </a:lnTo>
                  <a:lnTo>
                    <a:pt x="254" y="38"/>
                  </a:lnTo>
                  <a:lnTo>
                    <a:pt x="258" y="33"/>
                  </a:lnTo>
                  <a:lnTo>
                    <a:pt x="259" y="30"/>
                  </a:lnTo>
                  <a:lnTo>
                    <a:pt x="259" y="29"/>
                  </a:lnTo>
                  <a:lnTo>
                    <a:pt x="261" y="23"/>
                  </a:lnTo>
                  <a:lnTo>
                    <a:pt x="262" y="21"/>
                  </a:lnTo>
                  <a:lnTo>
                    <a:pt x="262" y="19"/>
                  </a:lnTo>
                  <a:lnTo>
                    <a:pt x="264" y="16"/>
                  </a:lnTo>
                  <a:lnTo>
                    <a:pt x="266" y="13"/>
                  </a:lnTo>
                  <a:lnTo>
                    <a:pt x="269" y="10"/>
                  </a:lnTo>
                  <a:lnTo>
                    <a:pt x="271" y="7"/>
                  </a:lnTo>
                  <a:lnTo>
                    <a:pt x="274" y="5"/>
                  </a:lnTo>
                  <a:lnTo>
                    <a:pt x="278" y="3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283" y="0"/>
                  </a:lnTo>
                  <a:lnTo>
                    <a:pt x="282" y="0"/>
                  </a:lnTo>
                  <a:close/>
                </a:path>
              </a:pathLst>
            </a:custGeom>
            <a:solidFill>
              <a:srgbClr val="E6AF00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99">
              <a:extLst>
                <a:ext uri="{FF2B5EF4-FFF2-40B4-BE49-F238E27FC236}">
                  <a16:creationId xmlns:a16="http://schemas.microsoft.com/office/drawing/2014/main" id="{AF4E9FF6-9391-DA56-8D13-BAF4DEA39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9861" y="5089363"/>
              <a:ext cx="1398588" cy="1208088"/>
            </a:xfrm>
            <a:custGeom>
              <a:avLst/>
              <a:gdLst>
                <a:gd name="T0" fmla="*/ 320 w 881"/>
                <a:gd name="T1" fmla="*/ 41 h 761"/>
                <a:gd name="T2" fmla="*/ 376 w 881"/>
                <a:gd name="T3" fmla="*/ 38 h 761"/>
                <a:gd name="T4" fmla="*/ 421 w 881"/>
                <a:gd name="T5" fmla="*/ 68 h 761"/>
                <a:gd name="T6" fmla="*/ 415 w 881"/>
                <a:gd name="T7" fmla="*/ 88 h 761"/>
                <a:gd name="T8" fmla="*/ 460 w 881"/>
                <a:gd name="T9" fmla="*/ 115 h 761"/>
                <a:gd name="T10" fmla="*/ 501 w 881"/>
                <a:gd name="T11" fmla="*/ 115 h 761"/>
                <a:gd name="T12" fmla="*/ 564 w 881"/>
                <a:gd name="T13" fmla="*/ 131 h 761"/>
                <a:gd name="T14" fmla="*/ 622 w 881"/>
                <a:gd name="T15" fmla="*/ 128 h 761"/>
                <a:gd name="T16" fmla="*/ 646 w 881"/>
                <a:gd name="T17" fmla="*/ 155 h 761"/>
                <a:gd name="T18" fmla="*/ 662 w 881"/>
                <a:gd name="T19" fmla="*/ 221 h 761"/>
                <a:gd name="T20" fmla="*/ 734 w 881"/>
                <a:gd name="T21" fmla="*/ 254 h 761"/>
                <a:gd name="T22" fmla="*/ 801 w 881"/>
                <a:gd name="T23" fmla="*/ 253 h 761"/>
                <a:gd name="T24" fmla="*/ 842 w 881"/>
                <a:gd name="T25" fmla="*/ 253 h 761"/>
                <a:gd name="T26" fmla="*/ 851 w 881"/>
                <a:gd name="T27" fmla="*/ 280 h 761"/>
                <a:gd name="T28" fmla="*/ 864 w 881"/>
                <a:gd name="T29" fmla="*/ 323 h 761"/>
                <a:gd name="T30" fmla="*/ 826 w 881"/>
                <a:gd name="T31" fmla="*/ 363 h 761"/>
                <a:gd name="T32" fmla="*/ 789 w 881"/>
                <a:gd name="T33" fmla="*/ 420 h 761"/>
                <a:gd name="T34" fmla="*/ 804 w 881"/>
                <a:gd name="T35" fmla="*/ 440 h 761"/>
                <a:gd name="T36" fmla="*/ 850 w 881"/>
                <a:gd name="T37" fmla="*/ 477 h 761"/>
                <a:gd name="T38" fmla="*/ 854 w 881"/>
                <a:gd name="T39" fmla="*/ 512 h 761"/>
                <a:gd name="T40" fmla="*/ 845 w 881"/>
                <a:gd name="T41" fmla="*/ 532 h 761"/>
                <a:gd name="T42" fmla="*/ 814 w 881"/>
                <a:gd name="T43" fmla="*/ 550 h 761"/>
                <a:gd name="T44" fmla="*/ 749 w 881"/>
                <a:gd name="T45" fmla="*/ 501 h 761"/>
                <a:gd name="T46" fmla="*/ 657 w 881"/>
                <a:gd name="T47" fmla="*/ 457 h 761"/>
                <a:gd name="T48" fmla="*/ 594 w 881"/>
                <a:gd name="T49" fmla="*/ 447 h 761"/>
                <a:gd name="T50" fmla="*/ 568 w 881"/>
                <a:gd name="T51" fmla="*/ 487 h 761"/>
                <a:gd name="T52" fmla="*/ 499 w 881"/>
                <a:gd name="T53" fmla="*/ 505 h 761"/>
                <a:gd name="T54" fmla="*/ 480 w 881"/>
                <a:gd name="T55" fmla="*/ 477 h 761"/>
                <a:gd name="T56" fmla="*/ 438 w 881"/>
                <a:gd name="T57" fmla="*/ 434 h 761"/>
                <a:gd name="T58" fmla="*/ 383 w 881"/>
                <a:gd name="T59" fmla="*/ 415 h 761"/>
                <a:gd name="T60" fmla="*/ 332 w 881"/>
                <a:gd name="T61" fmla="*/ 415 h 761"/>
                <a:gd name="T62" fmla="*/ 312 w 881"/>
                <a:gd name="T63" fmla="*/ 469 h 761"/>
                <a:gd name="T64" fmla="*/ 320 w 881"/>
                <a:gd name="T65" fmla="*/ 574 h 761"/>
                <a:gd name="T66" fmla="*/ 304 w 881"/>
                <a:gd name="T67" fmla="*/ 662 h 761"/>
                <a:gd name="T68" fmla="*/ 304 w 881"/>
                <a:gd name="T69" fmla="*/ 737 h 761"/>
                <a:gd name="T70" fmla="*/ 277 w 881"/>
                <a:gd name="T71" fmla="*/ 760 h 761"/>
                <a:gd name="T72" fmla="*/ 235 w 881"/>
                <a:gd name="T73" fmla="*/ 709 h 761"/>
                <a:gd name="T74" fmla="*/ 212 w 881"/>
                <a:gd name="T75" fmla="*/ 649 h 761"/>
                <a:gd name="T76" fmla="*/ 158 w 881"/>
                <a:gd name="T77" fmla="*/ 620 h 761"/>
                <a:gd name="T78" fmla="*/ 133 w 881"/>
                <a:gd name="T79" fmla="*/ 552 h 761"/>
                <a:gd name="T80" fmla="*/ 113 w 881"/>
                <a:gd name="T81" fmla="*/ 525 h 761"/>
                <a:gd name="T82" fmla="*/ 120 w 881"/>
                <a:gd name="T83" fmla="*/ 503 h 761"/>
                <a:gd name="T84" fmla="*/ 82 w 881"/>
                <a:gd name="T85" fmla="*/ 485 h 761"/>
                <a:gd name="T86" fmla="*/ 70 w 881"/>
                <a:gd name="T87" fmla="*/ 438 h 761"/>
                <a:gd name="T88" fmla="*/ 40 w 881"/>
                <a:gd name="T89" fmla="*/ 404 h 761"/>
                <a:gd name="T90" fmla="*/ 45 w 881"/>
                <a:gd name="T91" fmla="*/ 361 h 761"/>
                <a:gd name="T92" fmla="*/ 17 w 881"/>
                <a:gd name="T93" fmla="*/ 333 h 761"/>
                <a:gd name="T94" fmla="*/ 7 w 881"/>
                <a:gd name="T95" fmla="*/ 309 h 761"/>
                <a:gd name="T96" fmla="*/ 31 w 881"/>
                <a:gd name="T97" fmla="*/ 269 h 761"/>
                <a:gd name="T98" fmla="*/ 46 w 881"/>
                <a:gd name="T99" fmla="*/ 228 h 761"/>
                <a:gd name="T100" fmla="*/ 90 w 881"/>
                <a:gd name="T101" fmla="*/ 253 h 761"/>
                <a:gd name="T102" fmla="*/ 130 w 881"/>
                <a:gd name="T103" fmla="*/ 257 h 761"/>
                <a:gd name="T104" fmla="*/ 163 w 881"/>
                <a:gd name="T105" fmla="*/ 268 h 761"/>
                <a:gd name="T106" fmla="*/ 131 w 881"/>
                <a:gd name="T107" fmla="*/ 224 h 761"/>
                <a:gd name="T108" fmla="*/ 146 w 881"/>
                <a:gd name="T109" fmla="*/ 180 h 761"/>
                <a:gd name="T110" fmla="*/ 108 w 881"/>
                <a:gd name="T111" fmla="*/ 133 h 761"/>
                <a:gd name="T112" fmla="*/ 124 w 881"/>
                <a:gd name="T113" fmla="*/ 118 h 761"/>
                <a:gd name="T114" fmla="*/ 208 w 881"/>
                <a:gd name="T115" fmla="*/ 101 h 761"/>
                <a:gd name="T116" fmla="*/ 228 w 881"/>
                <a:gd name="T117" fmla="*/ 43 h 761"/>
                <a:gd name="T118" fmla="*/ 220 w 881"/>
                <a:gd name="T119" fmla="*/ 11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1" h="761">
                  <a:moveTo>
                    <a:pt x="263" y="0"/>
                  </a:moveTo>
                  <a:lnTo>
                    <a:pt x="266" y="1"/>
                  </a:lnTo>
                  <a:lnTo>
                    <a:pt x="269" y="3"/>
                  </a:lnTo>
                  <a:lnTo>
                    <a:pt x="272" y="6"/>
                  </a:lnTo>
                  <a:lnTo>
                    <a:pt x="275" y="8"/>
                  </a:lnTo>
                  <a:lnTo>
                    <a:pt x="277" y="10"/>
                  </a:lnTo>
                  <a:lnTo>
                    <a:pt x="286" y="18"/>
                  </a:lnTo>
                  <a:lnTo>
                    <a:pt x="290" y="22"/>
                  </a:lnTo>
                  <a:lnTo>
                    <a:pt x="303" y="34"/>
                  </a:lnTo>
                  <a:lnTo>
                    <a:pt x="306" y="36"/>
                  </a:lnTo>
                  <a:lnTo>
                    <a:pt x="309" y="38"/>
                  </a:lnTo>
                  <a:lnTo>
                    <a:pt x="310" y="39"/>
                  </a:lnTo>
                  <a:lnTo>
                    <a:pt x="312" y="41"/>
                  </a:lnTo>
                  <a:lnTo>
                    <a:pt x="315" y="41"/>
                  </a:lnTo>
                  <a:lnTo>
                    <a:pt x="317" y="41"/>
                  </a:lnTo>
                  <a:lnTo>
                    <a:pt x="320" y="41"/>
                  </a:lnTo>
                  <a:lnTo>
                    <a:pt x="323" y="41"/>
                  </a:lnTo>
                  <a:lnTo>
                    <a:pt x="325" y="40"/>
                  </a:lnTo>
                  <a:lnTo>
                    <a:pt x="327" y="39"/>
                  </a:lnTo>
                  <a:lnTo>
                    <a:pt x="340" y="33"/>
                  </a:lnTo>
                  <a:lnTo>
                    <a:pt x="343" y="31"/>
                  </a:lnTo>
                  <a:lnTo>
                    <a:pt x="346" y="30"/>
                  </a:lnTo>
                  <a:lnTo>
                    <a:pt x="350" y="28"/>
                  </a:lnTo>
                  <a:lnTo>
                    <a:pt x="353" y="28"/>
                  </a:lnTo>
                  <a:lnTo>
                    <a:pt x="356" y="28"/>
                  </a:lnTo>
                  <a:lnTo>
                    <a:pt x="358" y="28"/>
                  </a:lnTo>
                  <a:lnTo>
                    <a:pt x="360" y="28"/>
                  </a:lnTo>
                  <a:lnTo>
                    <a:pt x="362" y="28"/>
                  </a:lnTo>
                  <a:lnTo>
                    <a:pt x="365" y="30"/>
                  </a:lnTo>
                  <a:lnTo>
                    <a:pt x="367" y="31"/>
                  </a:lnTo>
                  <a:lnTo>
                    <a:pt x="370" y="33"/>
                  </a:lnTo>
                  <a:lnTo>
                    <a:pt x="376" y="38"/>
                  </a:lnTo>
                  <a:lnTo>
                    <a:pt x="380" y="41"/>
                  </a:lnTo>
                  <a:lnTo>
                    <a:pt x="385" y="45"/>
                  </a:lnTo>
                  <a:lnTo>
                    <a:pt x="389" y="47"/>
                  </a:lnTo>
                  <a:lnTo>
                    <a:pt x="391" y="48"/>
                  </a:lnTo>
                  <a:lnTo>
                    <a:pt x="394" y="49"/>
                  </a:lnTo>
                  <a:lnTo>
                    <a:pt x="405" y="53"/>
                  </a:lnTo>
                  <a:lnTo>
                    <a:pt x="409" y="55"/>
                  </a:lnTo>
                  <a:lnTo>
                    <a:pt x="412" y="56"/>
                  </a:lnTo>
                  <a:lnTo>
                    <a:pt x="415" y="57"/>
                  </a:lnTo>
                  <a:lnTo>
                    <a:pt x="417" y="58"/>
                  </a:lnTo>
                  <a:lnTo>
                    <a:pt x="418" y="60"/>
                  </a:lnTo>
                  <a:lnTo>
                    <a:pt x="419" y="61"/>
                  </a:lnTo>
                  <a:lnTo>
                    <a:pt x="420" y="62"/>
                  </a:lnTo>
                  <a:lnTo>
                    <a:pt x="420" y="64"/>
                  </a:lnTo>
                  <a:lnTo>
                    <a:pt x="421" y="66"/>
                  </a:lnTo>
                  <a:lnTo>
                    <a:pt x="421" y="68"/>
                  </a:lnTo>
                  <a:lnTo>
                    <a:pt x="421" y="69"/>
                  </a:lnTo>
                  <a:lnTo>
                    <a:pt x="420" y="71"/>
                  </a:lnTo>
                  <a:lnTo>
                    <a:pt x="420" y="74"/>
                  </a:lnTo>
                  <a:lnTo>
                    <a:pt x="419" y="76"/>
                  </a:lnTo>
                  <a:lnTo>
                    <a:pt x="418" y="77"/>
                  </a:lnTo>
                  <a:lnTo>
                    <a:pt x="417" y="78"/>
                  </a:lnTo>
                  <a:lnTo>
                    <a:pt x="416" y="80"/>
                  </a:lnTo>
                  <a:lnTo>
                    <a:pt x="414" y="81"/>
                  </a:lnTo>
                  <a:lnTo>
                    <a:pt x="411" y="83"/>
                  </a:lnTo>
                  <a:lnTo>
                    <a:pt x="410" y="83"/>
                  </a:lnTo>
                  <a:lnTo>
                    <a:pt x="410" y="84"/>
                  </a:lnTo>
                  <a:lnTo>
                    <a:pt x="410" y="85"/>
                  </a:lnTo>
                  <a:lnTo>
                    <a:pt x="410" y="86"/>
                  </a:lnTo>
                  <a:lnTo>
                    <a:pt x="411" y="87"/>
                  </a:lnTo>
                  <a:lnTo>
                    <a:pt x="412" y="88"/>
                  </a:lnTo>
                  <a:lnTo>
                    <a:pt x="415" y="88"/>
                  </a:lnTo>
                  <a:lnTo>
                    <a:pt x="418" y="89"/>
                  </a:lnTo>
                  <a:lnTo>
                    <a:pt x="420" y="90"/>
                  </a:lnTo>
                  <a:lnTo>
                    <a:pt x="422" y="91"/>
                  </a:lnTo>
                  <a:lnTo>
                    <a:pt x="430" y="91"/>
                  </a:lnTo>
                  <a:lnTo>
                    <a:pt x="434" y="92"/>
                  </a:lnTo>
                  <a:lnTo>
                    <a:pt x="436" y="93"/>
                  </a:lnTo>
                  <a:lnTo>
                    <a:pt x="438" y="93"/>
                  </a:lnTo>
                  <a:lnTo>
                    <a:pt x="440" y="94"/>
                  </a:lnTo>
                  <a:lnTo>
                    <a:pt x="442" y="95"/>
                  </a:lnTo>
                  <a:lnTo>
                    <a:pt x="443" y="96"/>
                  </a:lnTo>
                  <a:lnTo>
                    <a:pt x="445" y="98"/>
                  </a:lnTo>
                  <a:lnTo>
                    <a:pt x="447" y="99"/>
                  </a:lnTo>
                  <a:lnTo>
                    <a:pt x="449" y="101"/>
                  </a:lnTo>
                  <a:lnTo>
                    <a:pt x="452" y="105"/>
                  </a:lnTo>
                  <a:lnTo>
                    <a:pt x="458" y="113"/>
                  </a:lnTo>
                  <a:lnTo>
                    <a:pt x="460" y="115"/>
                  </a:lnTo>
                  <a:lnTo>
                    <a:pt x="462" y="116"/>
                  </a:lnTo>
                  <a:lnTo>
                    <a:pt x="463" y="118"/>
                  </a:lnTo>
                  <a:lnTo>
                    <a:pt x="465" y="119"/>
                  </a:lnTo>
                  <a:lnTo>
                    <a:pt x="467" y="121"/>
                  </a:lnTo>
                  <a:lnTo>
                    <a:pt x="469" y="121"/>
                  </a:lnTo>
                  <a:lnTo>
                    <a:pt x="472" y="123"/>
                  </a:lnTo>
                  <a:lnTo>
                    <a:pt x="475" y="123"/>
                  </a:lnTo>
                  <a:lnTo>
                    <a:pt x="476" y="123"/>
                  </a:lnTo>
                  <a:lnTo>
                    <a:pt x="478" y="123"/>
                  </a:lnTo>
                  <a:lnTo>
                    <a:pt x="480" y="123"/>
                  </a:lnTo>
                  <a:lnTo>
                    <a:pt x="482" y="123"/>
                  </a:lnTo>
                  <a:lnTo>
                    <a:pt x="484" y="123"/>
                  </a:lnTo>
                  <a:lnTo>
                    <a:pt x="487" y="122"/>
                  </a:lnTo>
                  <a:lnTo>
                    <a:pt x="490" y="121"/>
                  </a:lnTo>
                  <a:lnTo>
                    <a:pt x="493" y="119"/>
                  </a:lnTo>
                  <a:lnTo>
                    <a:pt x="501" y="115"/>
                  </a:lnTo>
                  <a:lnTo>
                    <a:pt x="504" y="113"/>
                  </a:lnTo>
                  <a:lnTo>
                    <a:pt x="507" y="113"/>
                  </a:lnTo>
                  <a:lnTo>
                    <a:pt x="508" y="112"/>
                  </a:lnTo>
                  <a:lnTo>
                    <a:pt x="510" y="112"/>
                  </a:lnTo>
                  <a:lnTo>
                    <a:pt x="512" y="112"/>
                  </a:lnTo>
                  <a:lnTo>
                    <a:pt x="514" y="113"/>
                  </a:lnTo>
                  <a:lnTo>
                    <a:pt x="517" y="113"/>
                  </a:lnTo>
                  <a:lnTo>
                    <a:pt x="532" y="117"/>
                  </a:lnTo>
                  <a:lnTo>
                    <a:pt x="537" y="118"/>
                  </a:lnTo>
                  <a:lnTo>
                    <a:pt x="549" y="122"/>
                  </a:lnTo>
                  <a:lnTo>
                    <a:pt x="556" y="124"/>
                  </a:lnTo>
                  <a:lnTo>
                    <a:pt x="561" y="126"/>
                  </a:lnTo>
                  <a:lnTo>
                    <a:pt x="564" y="128"/>
                  </a:lnTo>
                  <a:lnTo>
                    <a:pt x="564" y="128"/>
                  </a:lnTo>
                  <a:lnTo>
                    <a:pt x="564" y="129"/>
                  </a:lnTo>
                  <a:lnTo>
                    <a:pt x="564" y="131"/>
                  </a:lnTo>
                  <a:lnTo>
                    <a:pt x="564" y="132"/>
                  </a:lnTo>
                  <a:lnTo>
                    <a:pt x="564" y="133"/>
                  </a:lnTo>
                  <a:lnTo>
                    <a:pt x="565" y="133"/>
                  </a:lnTo>
                  <a:lnTo>
                    <a:pt x="566" y="134"/>
                  </a:lnTo>
                  <a:lnTo>
                    <a:pt x="567" y="134"/>
                  </a:lnTo>
                  <a:lnTo>
                    <a:pt x="568" y="135"/>
                  </a:lnTo>
                  <a:lnTo>
                    <a:pt x="570" y="135"/>
                  </a:lnTo>
                  <a:lnTo>
                    <a:pt x="577" y="134"/>
                  </a:lnTo>
                  <a:lnTo>
                    <a:pt x="582" y="134"/>
                  </a:lnTo>
                  <a:lnTo>
                    <a:pt x="586" y="133"/>
                  </a:lnTo>
                  <a:lnTo>
                    <a:pt x="594" y="131"/>
                  </a:lnTo>
                  <a:lnTo>
                    <a:pt x="598" y="131"/>
                  </a:lnTo>
                  <a:lnTo>
                    <a:pt x="602" y="131"/>
                  </a:lnTo>
                  <a:lnTo>
                    <a:pt x="610" y="130"/>
                  </a:lnTo>
                  <a:lnTo>
                    <a:pt x="618" y="128"/>
                  </a:lnTo>
                  <a:lnTo>
                    <a:pt x="622" y="128"/>
                  </a:lnTo>
                  <a:lnTo>
                    <a:pt x="624" y="128"/>
                  </a:lnTo>
                  <a:lnTo>
                    <a:pt x="627" y="128"/>
                  </a:lnTo>
                  <a:lnTo>
                    <a:pt x="629" y="129"/>
                  </a:lnTo>
                  <a:lnTo>
                    <a:pt x="632" y="130"/>
                  </a:lnTo>
                  <a:lnTo>
                    <a:pt x="634" y="131"/>
                  </a:lnTo>
                  <a:lnTo>
                    <a:pt x="635" y="131"/>
                  </a:lnTo>
                  <a:lnTo>
                    <a:pt x="637" y="132"/>
                  </a:lnTo>
                  <a:lnTo>
                    <a:pt x="638" y="133"/>
                  </a:lnTo>
                  <a:lnTo>
                    <a:pt x="639" y="134"/>
                  </a:lnTo>
                  <a:lnTo>
                    <a:pt x="640" y="136"/>
                  </a:lnTo>
                  <a:lnTo>
                    <a:pt x="642" y="138"/>
                  </a:lnTo>
                  <a:lnTo>
                    <a:pt x="642" y="140"/>
                  </a:lnTo>
                  <a:lnTo>
                    <a:pt x="643" y="143"/>
                  </a:lnTo>
                  <a:lnTo>
                    <a:pt x="644" y="147"/>
                  </a:lnTo>
                  <a:lnTo>
                    <a:pt x="645" y="151"/>
                  </a:lnTo>
                  <a:lnTo>
                    <a:pt x="646" y="155"/>
                  </a:lnTo>
                  <a:lnTo>
                    <a:pt x="647" y="161"/>
                  </a:lnTo>
                  <a:lnTo>
                    <a:pt x="647" y="166"/>
                  </a:lnTo>
                  <a:lnTo>
                    <a:pt x="646" y="172"/>
                  </a:lnTo>
                  <a:lnTo>
                    <a:pt x="645" y="180"/>
                  </a:lnTo>
                  <a:lnTo>
                    <a:pt x="644" y="185"/>
                  </a:lnTo>
                  <a:lnTo>
                    <a:pt x="644" y="190"/>
                  </a:lnTo>
                  <a:lnTo>
                    <a:pt x="644" y="194"/>
                  </a:lnTo>
                  <a:lnTo>
                    <a:pt x="644" y="197"/>
                  </a:lnTo>
                  <a:lnTo>
                    <a:pt x="645" y="200"/>
                  </a:lnTo>
                  <a:lnTo>
                    <a:pt x="647" y="203"/>
                  </a:lnTo>
                  <a:lnTo>
                    <a:pt x="649" y="208"/>
                  </a:lnTo>
                  <a:lnTo>
                    <a:pt x="650" y="210"/>
                  </a:lnTo>
                  <a:lnTo>
                    <a:pt x="652" y="211"/>
                  </a:lnTo>
                  <a:lnTo>
                    <a:pt x="653" y="213"/>
                  </a:lnTo>
                  <a:lnTo>
                    <a:pt x="655" y="215"/>
                  </a:lnTo>
                  <a:lnTo>
                    <a:pt x="662" y="221"/>
                  </a:lnTo>
                  <a:lnTo>
                    <a:pt x="669" y="227"/>
                  </a:lnTo>
                  <a:lnTo>
                    <a:pt x="672" y="229"/>
                  </a:lnTo>
                  <a:lnTo>
                    <a:pt x="679" y="235"/>
                  </a:lnTo>
                  <a:lnTo>
                    <a:pt x="682" y="238"/>
                  </a:lnTo>
                  <a:lnTo>
                    <a:pt x="684" y="240"/>
                  </a:lnTo>
                  <a:lnTo>
                    <a:pt x="688" y="243"/>
                  </a:lnTo>
                  <a:lnTo>
                    <a:pt x="704" y="252"/>
                  </a:lnTo>
                  <a:lnTo>
                    <a:pt x="713" y="257"/>
                  </a:lnTo>
                  <a:lnTo>
                    <a:pt x="715" y="258"/>
                  </a:lnTo>
                  <a:lnTo>
                    <a:pt x="716" y="258"/>
                  </a:lnTo>
                  <a:lnTo>
                    <a:pt x="719" y="258"/>
                  </a:lnTo>
                  <a:lnTo>
                    <a:pt x="720" y="258"/>
                  </a:lnTo>
                  <a:lnTo>
                    <a:pt x="726" y="255"/>
                  </a:lnTo>
                  <a:lnTo>
                    <a:pt x="729" y="255"/>
                  </a:lnTo>
                  <a:lnTo>
                    <a:pt x="731" y="254"/>
                  </a:lnTo>
                  <a:lnTo>
                    <a:pt x="734" y="254"/>
                  </a:lnTo>
                  <a:lnTo>
                    <a:pt x="736" y="254"/>
                  </a:lnTo>
                  <a:lnTo>
                    <a:pt x="739" y="255"/>
                  </a:lnTo>
                  <a:lnTo>
                    <a:pt x="750" y="258"/>
                  </a:lnTo>
                  <a:lnTo>
                    <a:pt x="753" y="259"/>
                  </a:lnTo>
                  <a:lnTo>
                    <a:pt x="756" y="259"/>
                  </a:lnTo>
                  <a:lnTo>
                    <a:pt x="760" y="260"/>
                  </a:lnTo>
                  <a:lnTo>
                    <a:pt x="766" y="260"/>
                  </a:lnTo>
                  <a:lnTo>
                    <a:pt x="771" y="260"/>
                  </a:lnTo>
                  <a:lnTo>
                    <a:pt x="776" y="260"/>
                  </a:lnTo>
                  <a:lnTo>
                    <a:pt x="779" y="260"/>
                  </a:lnTo>
                  <a:lnTo>
                    <a:pt x="782" y="260"/>
                  </a:lnTo>
                  <a:lnTo>
                    <a:pt x="784" y="259"/>
                  </a:lnTo>
                  <a:lnTo>
                    <a:pt x="786" y="258"/>
                  </a:lnTo>
                  <a:lnTo>
                    <a:pt x="790" y="257"/>
                  </a:lnTo>
                  <a:lnTo>
                    <a:pt x="798" y="254"/>
                  </a:lnTo>
                  <a:lnTo>
                    <a:pt x="801" y="253"/>
                  </a:lnTo>
                  <a:lnTo>
                    <a:pt x="806" y="252"/>
                  </a:lnTo>
                  <a:lnTo>
                    <a:pt x="813" y="250"/>
                  </a:lnTo>
                  <a:lnTo>
                    <a:pt x="816" y="250"/>
                  </a:lnTo>
                  <a:lnTo>
                    <a:pt x="818" y="249"/>
                  </a:lnTo>
                  <a:lnTo>
                    <a:pt x="822" y="247"/>
                  </a:lnTo>
                  <a:lnTo>
                    <a:pt x="824" y="246"/>
                  </a:lnTo>
                  <a:lnTo>
                    <a:pt x="826" y="246"/>
                  </a:lnTo>
                  <a:lnTo>
                    <a:pt x="828" y="246"/>
                  </a:lnTo>
                  <a:lnTo>
                    <a:pt x="829" y="246"/>
                  </a:lnTo>
                  <a:lnTo>
                    <a:pt x="831" y="247"/>
                  </a:lnTo>
                  <a:lnTo>
                    <a:pt x="832" y="247"/>
                  </a:lnTo>
                  <a:lnTo>
                    <a:pt x="834" y="248"/>
                  </a:lnTo>
                  <a:lnTo>
                    <a:pt x="837" y="250"/>
                  </a:lnTo>
                  <a:lnTo>
                    <a:pt x="841" y="252"/>
                  </a:lnTo>
                  <a:lnTo>
                    <a:pt x="841" y="253"/>
                  </a:lnTo>
                  <a:lnTo>
                    <a:pt x="842" y="253"/>
                  </a:lnTo>
                  <a:lnTo>
                    <a:pt x="843" y="255"/>
                  </a:lnTo>
                  <a:lnTo>
                    <a:pt x="844" y="255"/>
                  </a:lnTo>
                  <a:lnTo>
                    <a:pt x="844" y="257"/>
                  </a:lnTo>
                  <a:lnTo>
                    <a:pt x="845" y="258"/>
                  </a:lnTo>
                  <a:lnTo>
                    <a:pt x="845" y="260"/>
                  </a:lnTo>
                  <a:lnTo>
                    <a:pt x="845" y="261"/>
                  </a:lnTo>
                  <a:lnTo>
                    <a:pt x="844" y="263"/>
                  </a:lnTo>
                  <a:lnTo>
                    <a:pt x="843" y="268"/>
                  </a:lnTo>
                  <a:lnTo>
                    <a:pt x="843" y="268"/>
                  </a:lnTo>
                  <a:lnTo>
                    <a:pt x="843" y="270"/>
                  </a:lnTo>
                  <a:lnTo>
                    <a:pt x="843" y="270"/>
                  </a:lnTo>
                  <a:lnTo>
                    <a:pt x="844" y="272"/>
                  </a:lnTo>
                  <a:lnTo>
                    <a:pt x="844" y="273"/>
                  </a:lnTo>
                  <a:lnTo>
                    <a:pt x="845" y="275"/>
                  </a:lnTo>
                  <a:lnTo>
                    <a:pt x="848" y="278"/>
                  </a:lnTo>
                  <a:lnTo>
                    <a:pt x="851" y="280"/>
                  </a:lnTo>
                  <a:lnTo>
                    <a:pt x="854" y="282"/>
                  </a:lnTo>
                  <a:lnTo>
                    <a:pt x="861" y="287"/>
                  </a:lnTo>
                  <a:lnTo>
                    <a:pt x="863" y="288"/>
                  </a:lnTo>
                  <a:lnTo>
                    <a:pt x="865" y="290"/>
                  </a:lnTo>
                  <a:lnTo>
                    <a:pt x="868" y="293"/>
                  </a:lnTo>
                  <a:lnTo>
                    <a:pt x="874" y="300"/>
                  </a:lnTo>
                  <a:lnTo>
                    <a:pt x="880" y="307"/>
                  </a:lnTo>
                  <a:lnTo>
                    <a:pt x="881" y="308"/>
                  </a:lnTo>
                  <a:lnTo>
                    <a:pt x="881" y="308"/>
                  </a:lnTo>
                  <a:lnTo>
                    <a:pt x="880" y="309"/>
                  </a:lnTo>
                  <a:lnTo>
                    <a:pt x="879" y="310"/>
                  </a:lnTo>
                  <a:lnTo>
                    <a:pt x="876" y="315"/>
                  </a:lnTo>
                  <a:lnTo>
                    <a:pt x="873" y="317"/>
                  </a:lnTo>
                  <a:lnTo>
                    <a:pt x="871" y="319"/>
                  </a:lnTo>
                  <a:lnTo>
                    <a:pt x="867" y="321"/>
                  </a:lnTo>
                  <a:lnTo>
                    <a:pt x="864" y="323"/>
                  </a:lnTo>
                  <a:lnTo>
                    <a:pt x="859" y="325"/>
                  </a:lnTo>
                  <a:lnTo>
                    <a:pt x="852" y="326"/>
                  </a:lnTo>
                  <a:lnTo>
                    <a:pt x="846" y="328"/>
                  </a:lnTo>
                  <a:lnTo>
                    <a:pt x="844" y="328"/>
                  </a:lnTo>
                  <a:lnTo>
                    <a:pt x="842" y="329"/>
                  </a:lnTo>
                  <a:lnTo>
                    <a:pt x="841" y="330"/>
                  </a:lnTo>
                  <a:lnTo>
                    <a:pt x="840" y="330"/>
                  </a:lnTo>
                  <a:lnTo>
                    <a:pt x="839" y="332"/>
                  </a:lnTo>
                  <a:lnTo>
                    <a:pt x="838" y="334"/>
                  </a:lnTo>
                  <a:lnTo>
                    <a:pt x="835" y="340"/>
                  </a:lnTo>
                  <a:lnTo>
                    <a:pt x="831" y="345"/>
                  </a:lnTo>
                  <a:lnTo>
                    <a:pt x="831" y="348"/>
                  </a:lnTo>
                  <a:lnTo>
                    <a:pt x="830" y="349"/>
                  </a:lnTo>
                  <a:lnTo>
                    <a:pt x="829" y="351"/>
                  </a:lnTo>
                  <a:lnTo>
                    <a:pt x="827" y="360"/>
                  </a:lnTo>
                  <a:lnTo>
                    <a:pt x="826" y="363"/>
                  </a:lnTo>
                  <a:lnTo>
                    <a:pt x="826" y="365"/>
                  </a:lnTo>
                  <a:lnTo>
                    <a:pt x="825" y="367"/>
                  </a:lnTo>
                  <a:lnTo>
                    <a:pt x="824" y="369"/>
                  </a:lnTo>
                  <a:lnTo>
                    <a:pt x="819" y="376"/>
                  </a:lnTo>
                  <a:lnTo>
                    <a:pt x="817" y="378"/>
                  </a:lnTo>
                  <a:lnTo>
                    <a:pt x="816" y="381"/>
                  </a:lnTo>
                  <a:lnTo>
                    <a:pt x="814" y="388"/>
                  </a:lnTo>
                  <a:lnTo>
                    <a:pt x="813" y="391"/>
                  </a:lnTo>
                  <a:lnTo>
                    <a:pt x="811" y="393"/>
                  </a:lnTo>
                  <a:lnTo>
                    <a:pt x="810" y="395"/>
                  </a:lnTo>
                  <a:lnTo>
                    <a:pt x="808" y="397"/>
                  </a:lnTo>
                  <a:lnTo>
                    <a:pt x="801" y="405"/>
                  </a:lnTo>
                  <a:lnTo>
                    <a:pt x="797" y="410"/>
                  </a:lnTo>
                  <a:lnTo>
                    <a:pt x="795" y="411"/>
                  </a:lnTo>
                  <a:lnTo>
                    <a:pt x="791" y="415"/>
                  </a:lnTo>
                  <a:lnTo>
                    <a:pt x="789" y="420"/>
                  </a:lnTo>
                  <a:lnTo>
                    <a:pt x="786" y="423"/>
                  </a:lnTo>
                  <a:lnTo>
                    <a:pt x="785" y="425"/>
                  </a:lnTo>
                  <a:lnTo>
                    <a:pt x="784" y="428"/>
                  </a:lnTo>
                  <a:lnTo>
                    <a:pt x="783" y="431"/>
                  </a:lnTo>
                  <a:lnTo>
                    <a:pt x="784" y="432"/>
                  </a:lnTo>
                  <a:lnTo>
                    <a:pt x="784" y="434"/>
                  </a:lnTo>
                  <a:lnTo>
                    <a:pt x="785" y="435"/>
                  </a:lnTo>
                  <a:lnTo>
                    <a:pt x="786" y="436"/>
                  </a:lnTo>
                  <a:lnTo>
                    <a:pt x="787" y="437"/>
                  </a:lnTo>
                  <a:lnTo>
                    <a:pt x="789" y="437"/>
                  </a:lnTo>
                  <a:lnTo>
                    <a:pt x="795" y="437"/>
                  </a:lnTo>
                  <a:lnTo>
                    <a:pt x="798" y="437"/>
                  </a:lnTo>
                  <a:lnTo>
                    <a:pt x="799" y="438"/>
                  </a:lnTo>
                  <a:lnTo>
                    <a:pt x="801" y="439"/>
                  </a:lnTo>
                  <a:lnTo>
                    <a:pt x="803" y="440"/>
                  </a:lnTo>
                  <a:lnTo>
                    <a:pt x="804" y="440"/>
                  </a:lnTo>
                  <a:lnTo>
                    <a:pt x="806" y="442"/>
                  </a:lnTo>
                  <a:lnTo>
                    <a:pt x="808" y="445"/>
                  </a:lnTo>
                  <a:lnTo>
                    <a:pt x="809" y="446"/>
                  </a:lnTo>
                  <a:lnTo>
                    <a:pt x="812" y="453"/>
                  </a:lnTo>
                  <a:lnTo>
                    <a:pt x="814" y="455"/>
                  </a:lnTo>
                  <a:lnTo>
                    <a:pt x="816" y="457"/>
                  </a:lnTo>
                  <a:lnTo>
                    <a:pt x="818" y="460"/>
                  </a:lnTo>
                  <a:lnTo>
                    <a:pt x="821" y="462"/>
                  </a:lnTo>
                  <a:lnTo>
                    <a:pt x="824" y="463"/>
                  </a:lnTo>
                  <a:lnTo>
                    <a:pt x="828" y="465"/>
                  </a:lnTo>
                  <a:lnTo>
                    <a:pt x="835" y="468"/>
                  </a:lnTo>
                  <a:lnTo>
                    <a:pt x="838" y="470"/>
                  </a:lnTo>
                  <a:lnTo>
                    <a:pt x="841" y="471"/>
                  </a:lnTo>
                  <a:lnTo>
                    <a:pt x="844" y="473"/>
                  </a:lnTo>
                  <a:lnTo>
                    <a:pt x="846" y="475"/>
                  </a:lnTo>
                  <a:lnTo>
                    <a:pt x="850" y="477"/>
                  </a:lnTo>
                  <a:lnTo>
                    <a:pt x="851" y="479"/>
                  </a:lnTo>
                  <a:lnTo>
                    <a:pt x="854" y="480"/>
                  </a:lnTo>
                  <a:lnTo>
                    <a:pt x="856" y="482"/>
                  </a:lnTo>
                  <a:lnTo>
                    <a:pt x="857" y="484"/>
                  </a:lnTo>
                  <a:lnTo>
                    <a:pt x="859" y="486"/>
                  </a:lnTo>
                  <a:lnTo>
                    <a:pt x="861" y="490"/>
                  </a:lnTo>
                  <a:lnTo>
                    <a:pt x="866" y="499"/>
                  </a:lnTo>
                  <a:lnTo>
                    <a:pt x="867" y="502"/>
                  </a:lnTo>
                  <a:lnTo>
                    <a:pt x="868" y="502"/>
                  </a:lnTo>
                  <a:lnTo>
                    <a:pt x="866" y="504"/>
                  </a:lnTo>
                  <a:lnTo>
                    <a:pt x="862" y="509"/>
                  </a:lnTo>
                  <a:lnTo>
                    <a:pt x="861" y="510"/>
                  </a:lnTo>
                  <a:lnTo>
                    <a:pt x="860" y="510"/>
                  </a:lnTo>
                  <a:lnTo>
                    <a:pt x="859" y="511"/>
                  </a:lnTo>
                  <a:lnTo>
                    <a:pt x="858" y="512"/>
                  </a:lnTo>
                  <a:lnTo>
                    <a:pt x="854" y="512"/>
                  </a:lnTo>
                  <a:lnTo>
                    <a:pt x="854" y="512"/>
                  </a:lnTo>
                  <a:lnTo>
                    <a:pt x="853" y="512"/>
                  </a:lnTo>
                  <a:lnTo>
                    <a:pt x="852" y="514"/>
                  </a:lnTo>
                  <a:lnTo>
                    <a:pt x="852" y="516"/>
                  </a:lnTo>
                  <a:lnTo>
                    <a:pt x="851" y="517"/>
                  </a:lnTo>
                  <a:lnTo>
                    <a:pt x="851" y="520"/>
                  </a:lnTo>
                  <a:lnTo>
                    <a:pt x="849" y="522"/>
                  </a:lnTo>
                  <a:lnTo>
                    <a:pt x="846" y="525"/>
                  </a:lnTo>
                  <a:lnTo>
                    <a:pt x="846" y="526"/>
                  </a:lnTo>
                  <a:lnTo>
                    <a:pt x="846" y="527"/>
                  </a:lnTo>
                  <a:lnTo>
                    <a:pt x="846" y="527"/>
                  </a:lnTo>
                  <a:lnTo>
                    <a:pt x="846" y="528"/>
                  </a:lnTo>
                  <a:lnTo>
                    <a:pt x="848" y="529"/>
                  </a:lnTo>
                  <a:lnTo>
                    <a:pt x="848" y="530"/>
                  </a:lnTo>
                  <a:lnTo>
                    <a:pt x="847" y="530"/>
                  </a:lnTo>
                  <a:lnTo>
                    <a:pt x="845" y="532"/>
                  </a:lnTo>
                  <a:lnTo>
                    <a:pt x="842" y="534"/>
                  </a:lnTo>
                  <a:lnTo>
                    <a:pt x="841" y="535"/>
                  </a:lnTo>
                  <a:lnTo>
                    <a:pt x="839" y="535"/>
                  </a:lnTo>
                  <a:lnTo>
                    <a:pt x="837" y="536"/>
                  </a:lnTo>
                  <a:lnTo>
                    <a:pt x="836" y="537"/>
                  </a:lnTo>
                  <a:lnTo>
                    <a:pt x="836" y="538"/>
                  </a:lnTo>
                  <a:lnTo>
                    <a:pt x="834" y="540"/>
                  </a:lnTo>
                  <a:lnTo>
                    <a:pt x="830" y="551"/>
                  </a:lnTo>
                  <a:lnTo>
                    <a:pt x="829" y="555"/>
                  </a:lnTo>
                  <a:lnTo>
                    <a:pt x="828" y="557"/>
                  </a:lnTo>
                  <a:lnTo>
                    <a:pt x="827" y="557"/>
                  </a:lnTo>
                  <a:lnTo>
                    <a:pt x="826" y="557"/>
                  </a:lnTo>
                  <a:lnTo>
                    <a:pt x="824" y="556"/>
                  </a:lnTo>
                  <a:lnTo>
                    <a:pt x="821" y="555"/>
                  </a:lnTo>
                  <a:lnTo>
                    <a:pt x="819" y="553"/>
                  </a:lnTo>
                  <a:lnTo>
                    <a:pt x="814" y="550"/>
                  </a:lnTo>
                  <a:lnTo>
                    <a:pt x="809" y="546"/>
                  </a:lnTo>
                  <a:lnTo>
                    <a:pt x="805" y="542"/>
                  </a:lnTo>
                  <a:lnTo>
                    <a:pt x="801" y="538"/>
                  </a:lnTo>
                  <a:lnTo>
                    <a:pt x="797" y="534"/>
                  </a:lnTo>
                  <a:lnTo>
                    <a:pt x="789" y="523"/>
                  </a:lnTo>
                  <a:lnTo>
                    <a:pt x="785" y="519"/>
                  </a:lnTo>
                  <a:lnTo>
                    <a:pt x="782" y="516"/>
                  </a:lnTo>
                  <a:lnTo>
                    <a:pt x="779" y="514"/>
                  </a:lnTo>
                  <a:lnTo>
                    <a:pt x="776" y="511"/>
                  </a:lnTo>
                  <a:lnTo>
                    <a:pt x="772" y="509"/>
                  </a:lnTo>
                  <a:lnTo>
                    <a:pt x="769" y="507"/>
                  </a:lnTo>
                  <a:lnTo>
                    <a:pt x="765" y="505"/>
                  </a:lnTo>
                  <a:lnTo>
                    <a:pt x="762" y="504"/>
                  </a:lnTo>
                  <a:lnTo>
                    <a:pt x="760" y="503"/>
                  </a:lnTo>
                  <a:lnTo>
                    <a:pt x="756" y="502"/>
                  </a:lnTo>
                  <a:lnTo>
                    <a:pt x="749" y="501"/>
                  </a:lnTo>
                  <a:lnTo>
                    <a:pt x="746" y="500"/>
                  </a:lnTo>
                  <a:lnTo>
                    <a:pt x="733" y="497"/>
                  </a:lnTo>
                  <a:lnTo>
                    <a:pt x="729" y="496"/>
                  </a:lnTo>
                  <a:lnTo>
                    <a:pt x="726" y="495"/>
                  </a:lnTo>
                  <a:lnTo>
                    <a:pt x="722" y="494"/>
                  </a:lnTo>
                  <a:lnTo>
                    <a:pt x="719" y="492"/>
                  </a:lnTo>
                  <a:lnTo>
                    <a:pt x="716" y="491"/>
                  </a:lnTo>
                  <a:lnTo>
                    <a:pt x="713" y="490"/>
                  </a:lnTo>
                  <a:lnTo>
                    <a:pt x="706" y="485"/>
                  </a:lnTo>
                  <a:lnTo>
                    <a:pt x="694" y="477"/>
                  </a:lnTo>
                  <a:lnTo>
                    <a:pt x="682" y="468"/>
                  </a:lnTo>
                  <a:lnTo>
                    <a:pt x="678" y="465"/>
                  </a:lnTo>
                  <a:lnTo>
                    <a:pt x="674" y="463"/>
                  </a:lnTo>
                  <a:lnTo>
                    <a:pt x="668" y="460"/>
                  </a:lnTo>
                  <a:lnTo>
                    <a:pt x="663" y="458"/>
                  </a:lnTo>
                  <a:lnTo>
                    <a:pt x="657" y="457"/>
                  </a:lnTo>
                  <a:lnTo>
                    <a:pt x="654" y="456"/>
                  </a:lnTo>
                  <a:lnTo>
                    <a:pt x="652" y="455"/>
                  </a:lnTo>
                  <a:lnTo>
                    <a:pt x="647" y="455"/>
                  </a:lnTo>
                  <a:lnTo>
                    <a:pt x="641" y="455"/>
                  </a:lnTo>
                  <a:lnTo>
                    <a:pt x="636" y="455"/>
                  </a:lnTo>
                  <a:lnTo>
                    <a:pt x="628" y="456"/>
                  </a:lnTo>
                  <a:lnTo>
                    <a:pt x="625" y="456"/>
                  </a:lnTo>
                  <a:lnTo>
                    <a:pt x="622" y="456"/>
                  </a:lnTo>
                  <a:lnTo>
                    <a:pt x="617" y="455"/>
                  </a:lnTo>
                  <a:lnTo>
                    <a:pt x="612" y="455"/>
                  </a:lnTo>
                  <a:lnTo>
                    <a:pt x="609" y="454"/>
                  </a:lnTo>
                  <a:lnTo>
                    <a:pt x="607" y="453"/>
                  </a:lnTo>
                  <a:lnTo>
                    <a:pt x="604" y="452"/>
                  </a:lnTo>
                  <a:lnTo>
                    <a:pt x="598" y="449"/>
                  </a:lnTo>
                  <a:lnTo>
                    <a:pt x="595" y="448"/>
                  </a:lnTo>
                  <a:lnTo>
                    <a:pt x="594" y="447"/>
                  </a:lnTo>
                  <a:lnTo>
                    <a:pt x="593" y="447"/>
                  </a:lnTo>
                  <a:lnTo>
                    <a:pt x="592" y="447"/>
                  </a:lnTo>
                  <a:lnTo>
                    <a:pt x="591" y="447"/>
                  </a:lnTo>
                  <a:lnTo>
                    <a:pt x="590" y="448"/>
                  </a:lnTo>
                  <a:lnTo>
                    <a:pt x="589" y="449"/>
                  </a:lnTo>
                  <a:lnTo>
                    <a:pt x="588" y="450"/>
                  </a:lnTo>
                  <a:lnTo>
                    <a:pt x="587" y="452"/>
                  </a:lnTo>
                  <a:lnTo>
                    <a:pt x="586" y="455"/>
                  </a:lnTo>
                  <a:lnTo>
                    <a:pt x="584" y="462"/>
                  </a:lnTo>
                  <a:lnTo>
                    <a:pt x="582" y="467"/>
                  </a:lnTo>
                  <a:lnTo>
                    <a:pt x="579" y="472"/>
                  </a:lnTo>
                  <a:lnTo>
                    <a:pt x="576" y="479"/>
                  </a:lnTo>
                  <a:lnTo>
                    <a:pt x="574" y="482"/>
                  </a:lnTo>
                  <a:lnTo>
                    <a:pt x="572" y="484"/>
                  </a:lnTo>
                  <a:lnTo>
                    <a:pt x="570" y="485"/>
                  </a:lnTo>
                  <a:lnTo>
                    <a:pt x="568" y="487"/>
                  </a:lnTo>
                  <a:lnTo>
                    <a:pt x="567" y="487"/>
                  </a:lnTo>
                  <a:lnTo>
                    <a:pt x="565" y="488"/>
                  </a:lnTo>
                  <a:lnTo>
                    <a:pt x="562" y="489"/>
                  </a:lnTo>
                  <a:lnTo>
                    <a:pt x="559" y="489"/>
                  </a:lnTo>
                  <a:lnTo>
                    <a:pt x="551" y="490"/>
                  </a:lnTo>
                  <a:lnTo>
                    <a:pt x="544" y="490"/>
                  </a:lnTo>
                  <a:lnTo>
                    <a:pt x="539" y="491"/>
                  </a:lnTo>
                  <a:lnTo>
                    <a:pt x="534" y="492"/>
                  </a:lnTo>
                  <a:lnTo>
                    <a:pt x="529" y="493"/>
                  </a:lnTo>
                  <a:lnTo>
                    <a:pt x="524" y="495"/>
                  </a:lnTo>
                  <a:lnTo>
                    <a:pt x="519" y="497"/>
                  </a:lnTo>
                  <a:lnTo>
                    <a:pt x="509" y="502"/>
                  </a:lnTo>
                  <a:lnTo>
                    <a:pt x="506" y="504"/>
                  </a:lnTo>
                  <a:lnTo>
                    <a:pt x="503" y="505"/>
                  </a:lnTo>
                  <a:lnTo>
                    <a:pt x="501" y="505"/>
                  </a:lnTo>
                  <a:lnTo>
                    <a:pt x="499" y="505"/>
                  </a:lnTo>
                  <a:lnTo>
                    <a:pt x="492" y="506"/>
                  </a:lnTo>
                  <a:lnTo>
                    <a:pt x="488" y="506"/>
                  </a:lnTo>
                  <a:lnTo>
                    <a:pt x="487" y="506"/>
                  </a:lnTo>
                  <a:lnTo>
                    <a:pt x="486" y="506"/>
                  </a:lnTo>
                  <a:lnTo>
                    <a:pt x="484" y="505"/>
                  </a:lnTo>
                  <a:lnTo>
                    <a:pt x="483" y="505"/>
                  </a:lnTo>
                  <a:lnTo>
                    <a:pt x="482" y="504"/>
                  </a:lnTo>
                  <a:lnTo>
                    <a:pt x="482" y="503"/>
                  </a:lnTo>
                  <a:lnTo>
                    <a:pt x="481" y="502"/>
                  </a:lnTo>
                  <a:lnTo>
                    <a:pt x="480" y="500"/>
                  </a:lnTo>
                  <a:lnTo>
                    <a:pt x="480" y="498"/>
                  </a:lnTo>
                  <a:lnTo>
                    <a:pt x="480" y="495"/>
                  </a:lnTo>
                  <a:lnTo>
                    <a:pt x="481" y="485"/>
                  </a:lnTo>
                  <a:lnTo>
                    <a:pt x="481" y="482"/>
                  </a:lnTo>
                  <a:lnTo>
                    <a:pt x="480" y="480"/>
                  </a:lnTo>
                  <a:lnTo>
                    <a:pt x="480" y="477"/>
                  </a:lnTo>
                  <a:lnTo>
                    <a:pt x="480" y="475"/>
                  </a:lnTo>
                  <a:lnTo>
                    <a:pt x="478" y="468"/>
                  </a:lnTo>
                  <a:lnTo>
                    <a:pt x="477" y="465"/>
                  </a:lnTo>
                  <a:lnTo>
                    <a:pt x="475" y="457"/>
                  </a:lnTo>
                  <a:lnTo>
                    <a:pt x="472" y="451"/>
                  </a:lnTo>
                  <a:lnTo>
                    <a:pt x="471" y="447"/>
                  </a:lnTo>
                  <a:lnTo>
                    <a:pt x="470" y="445"/>
                  </a:lnTo>
                  <a:lnTo>
                    <a:pt x="468" y="443"/>
                  </a:lnTo>
                  <a:lnTo>
                    <a:pt x="467" y="442"/>
                  </a:lnTo>
                  <a:lnTo>
                    <a:pt x="465" y="440"/>
                  </a:lnTo>
                  <a:lnTo>
                    <a:pt x="461" y="438"/>
                  </a:lnTo>
                  <a:lnTo>
                    <a:pt x="457" y="437"/>
                  </a:lnTo>
                  <a:lnTo>
                    <a:pt x="454" y="435"/>
                  </a:lnTo>
                  <a:lnTo>
                    <a:pt x="450" y="435"/>
                  </a:lnTo>
                  <a:lnTo>
                    <a:pt x="445" y="434"/>
                  </a:lnTo>
                  <a:lnTo>
                    <a:pt x="438" y="434"/>
                  </a:lnTo>
                  <a:lnTo>
                    <a:pt x="434" y="433"/>
                  </a:lnTo>
                  <a:lnTo>
                    <a:pt x="425" y="434"/>
                  </a:lnTo>
                  <a:lnTo>
                    <a:pt x="422" y="433"/>
                  </a:lnTo>
                  <a:lnTo>
                    <a:pt x="415" y="432"/>
                  </a:lnTo>
                  <a:lnTo>
                    <a:pt x="412" y="432"/>
                  </a:lnTo>
                  <a:lnTo>
                    <a:pt x="409" y="431"/>
                  </a:lnTo>
                  <a:lnTo>
                    <a:pt x="405" y="430"/>
                  </a:lnTo>
                  <a:lnTo>
                    <a:pt x="403" y="430"/>
                  </a:lnTo>
                  <a:lnTo>
                    <a:pt x="400" y="428"/>
                  </a:lnTo>
                  <a:lnTo>
                    <a:pt x="398" y="427"/>
                  </a:lnTo>
                  <a:lnTo>
                    <a:pt x="396" y="426"/>
                  </a:lnTo>
                  <a:lnTo>
                    <a:pt x="395" y="425"/>
                  </a:lnTo>
                  <a:lnTo>
                    <a:pt x="389" y="419"/>
                  </a:lnTo>
                  <a:lnTo>
                    <a:pt x="386" y="417"/>
                  </a:lnTo>
                  <a:lnTo>
                    <a:pt x="385" y="416"/>
                  </a:lnTo>
                  <a:lnTo>
                    <a:pt x="383" y="415"/>
                  </a:lnTo>
                  <a:lnTo>
                    <a:pt x="382" y="414"/>
                  </a:lnTo>
                  <a:lnTo>
                    <a:pt x="380" y="413"/>
                  </a:lnTo>
                  <a:lnTo>
                    <a:pt x="377" y="412"/>
                  </a:lnTo>
                  <a:lnTo>
                    <a:pt x="375" y="412"/>
                  </a:lnTo>
                  <a:lnTo>
                    <a:pt x="367" y="411"/>
                  </a:lnTo>
                  <a:lnTo>
                    <a:pt x="358" y="409"/>
                  </a:lnTo>
                  <a:lnTo>
                    <a:pt x="354" y="408"/>
                  </a:lnTo>
                  <a:lnTo>
                    <a:pt x="351" y="408"/>
                  </a:lnTo>
                  <a:lnTo>
                    <a:pt x="349" y="408"/>
                  </a:lnTo>
                  <a:lnTo>
                    <a:pt x="346" y="408"/>
                  </a:lnTo>
                  <a:lnTo>
                    <a:pt x="343" y="409"/>
                  </a:lnTo>
                  <a:lnTo>
                    <a:pt x="341" y="410"/>
                  </a:lnTo>
                  <a:lnTo>
                    <a:pt x="338" y="411"/>
                  </a:lnTo>
                  <a:lnTo>
                    <a:pt x="335" y="412"/>
                  </a:lnTo>
                  <a:lnTo>
                    <a:pt x="334" y="414"/>
                  </a:lnTo>
                  <a:lnTo>
                    <a:pt x="332" y="415"/>
                  </a:lnTo>
                  <a:lnTo>
                    <a:pt x="331" y="416"/>
                  </a:lnTo>
                  <a:lnTo>
                    <a:pt x="330" y="417"/>
                  </a:lnTo>
                  <a:lnTo>
                    <a:pt x="330" y="418"/>
                  </a:lnTo>
                  <a:lnTo>
                    <a:pt x="329" y="420"/>
                  </a:lnTo>
                  <a:lnTo>
                    <a:pt x="328" y="422"/>
                  </a:lnTo>
                  <a:lnTo>
                    <a:pt x="327" y="427"/>
                  </a:lnTo>
                  <a:lnTo>
                    <a:pt x="326" y="431"/>
                  </a:lnTo>
                  <a:lnTo>
                    <a:pt x="325" y="435"/>
                  </a:lnTo>
                  <a:lnTo>
                    <a:pt x="324" y="438"/>
                  </a:lnTo>
                  <a:lnTo>
                    <a:pt x="322" y="442"/>
                  </a:lnTo>
                  <a:lnTo>
                    <a:pt x="317" y="452"/>
                  </a:lnTo>
                  <a:lnTo>
                    <a:pt x="316" y="455"/>
                  </a:lnTo>
                  <a:lnTo>
                    <a:pt x="315" y="459"/>
                  </a:lnTo>
                  <a:lnTo>
                    <a:pt x="313" y="462"/>
                  </a:lnTo>
                  <a:lnTo>
                    <a:pt x="312" y="465"/>
                  </a:lnTo>
                  <a:lnTo>
                    <a:pt x="312" y="469"/>
                  </a:lnTo>
                  <a:lnTo>
                    <a:pt x="312" y="472"/>
                  </a:lnTo>
                  <a:lnTo>
                    <a:pt x="312" y="477"/>
                  </a:lnTo>
                  <a:lnTo>
                    <a:pt x="311" y="482"/>
                  </a:lnTo>
                  <a:lnTo>
                    <a:pt x="312" y="489"/>
                  </a:lnTo>
                  <a:lnTo>
                    <a:pt x="312" y="494"/>
                  </a:lnTo>
                  <a:lnTo>
                    <a:pt x="313" y="503"/>
                  </a:lnTo>
                  <a:lnTo>
                    <a:pt x="315" y="516"/>
                  </a:lnTo>
                  <a:lnTo>
                    <a:pt x="316" y="527"/>
                  </a:lnTo>
                  <a:lnTo>
                    <a:pt x="316" y="531"/>
                  </a:lnTo>
                  <a:lnTo>
                    <a:pt x="320" y="548"/>
                  </a:lnTo>
                  <a:lnTo>
                    <a:pt x="320" y="553"/>
                  </a:lnTo>
                  <a:lnTo>
                    <a:pt x="320" y="557"/>
                  </a:lnTo>
                  <a:lnTo>
                    <a:pt x="321" y="561"/>
                  </a:lnTo>
                  <a:lnTo>
                    <a:pt x="321" y="565"/>
                  </a:lnTo>
                  <a:lnTo>
                    <a:pt x="320" y="569"/>
                  </a:lnTo>
                  <a:lnTo>
                    <a:pt x="320" y="574"/>
                  </a:lnTo>
                  <a:lnTo>
                    <a:pt x="319" y="581"/>
                  </a:lnTo>
                  <a:lnTo>
                    <a:pt x="315" y="598"/>
                  </a:lnTo>
                  <a:lnTo>
                    <a:pt x="313" y="602"/>
                  </a:lnTo>
                  <a:lnTo>
                    <a:pt x="312" y="607"/>
                  </a:lnTo>
                  <a:lnTo>
                    <a:pt x="311" y="610"/>
                  </a:lnTo>
                  <a:lnTo>
                    <a:pt x="310" y="615"/>
                  </a:lnTo>
                  <a:lnTo>
                    <a:pt x="310" y="620"/>
                  </a:lnTo>
                  <a:lnTo>
                    <a:pt x="309" y="625"/>
                  </a:lnTo>
                  <a:lnTo>
                    <a:pt x="309" y="630"/>
                  </a:lnTo>
                  <a:lnTo>
                    <a:pt x="310" y="640"/>
                  </a:lnTo>
                  <a:lnTo>
                    <a:pt x="310" y="643"/>
                  </a:lnTo>
                  <a:lnTo>
                    <a:pt x="310" y="646"/>
                  </a:lnTo>
                  <a:lnTo>
                    <a:pt x="309" y="648"/>
                  </a:lnTo>
                  <a:lnTo>
                    <a:pt x="308" y="650"/>
                  </a:lnTo>
                  <a:lnTo>
                    <a:pt x="305" y="657"/>
                  </a:lnTo>
                  <a:lnTo>
                    <a:pt x="304" y="662"/>
                  </a:lnTo>
                  <a:lnTo>
                    <a:pt x="300" y="675"/>
                  </a:lnTo>
                  <a:lnTo>
                    <a:pt x="297" y="685"/>
                  </a:lnTo>
                  <a:lnTo>
                    <a:pt x="295" y="689"/>
                  </a:lnTo>
                  <a:lnTo>
                    <a:pt x="295" y="694"/>
                  </a:lnTo>
                  <a:lnTo>
                    <a:pt x="294" y="699"/>
                  </a:lnTo>
                  <a:lnTo>
                    <a:pt x="293" y="705"/>
                  </a:lnTo>
                  <a:lnTo>
                    <a:pt x="292" y="710"/>
                  </a:lnTo>
                  <a:lnTo>
                    <a:pt x="292" y="714"/>
                  </a:lnTo>
                  <a:lnTo>
                    <a:pt x="293" y="717"/>
                  </a:lnTo>
                  <a:lnTo>
                    <a:pt x="294" y="719"/>
                  </a:lnTo>
                  <a:lnTo>
                    <a:pt x="295" y="722"/>
                  </a:lnTo>
                  <a:lnTo>
                    <a:pt x="295" y="724"/>
                  </a:lnTo>
                  <a:lnTo>
                    <a:pt x="297" y="726"/>
                  </a:lnTo>
                  <a:lnTo>
                    <a:pt x="301" y="732"/>
                  </a:lnTo>
                  <a:lnTo>
                    <a:pt x="303" y="735"/>
                  </a:lnTo>
                  <a:lnTo>
                    <a:pt x="304" y="737"/>
                  </a:lnTo>
                  <a:lnTo>
                    <a:pt x="305" y="739"/>
                  </a:lnTo>
                  <a:lnTo>
                    <a:pt x="305" y="742"/>
                  </a:lnTo>
                  <a:lnTo>
                    <a:pt x="306" y="744"/>
                  </a:lnTo>
                  <a:lnTo>
                    <a:pt x="305" y="746"/>
                  </a:lnTo>
                  <a:lnTo>
                    <a:pt x="305" y="748"/>
                  </a:lnTo>
                  <a:lnTo>
                    <a:pt x="304" y="750"/>
                  </a:lnTo>
                  <a:lnTo>
                    <a:pt x="302" y="753"/>
                  </a:lnTo>
                  <a:lnTo>
                    <a:pt x="301" y="755"/>
                  </a:lnTo>
                  <a:lnTo>
                    <a:pt x="298" y="757"/>
                  </a:lnTo>
                  <a:lnTo>
                    <a:pt x="296" y="759"/>
                  </a:lnTo>
                  <a:lnTo>
                    <a:pt x="293" y="760"/>
                  </a:lnTo>
                  <a:lnTo>
                    <a:pt x="291" y="761"/>
                  </a:lnTo>
                  <a:lnTo>
                    <a:pt x="288" y="761"/>
                  </a:lnTo>
                  <a:lnTo>
                    <a:pt x="285" y="761"/>
                  </a:lnTo>
                  <a:lnTo>
                    <a:pt x="281" y="761"/>
                  </a:lnTo>
                  <a:lnTo>
                    <a:pt x="277" y="760"/>
                  </a:lnTo>
                  <a:lnTo>
                    <a:pt x="272" y="759"/>
                  </a:lnTo>
                  <a:lnTo>
                    <a:pt x="267" y="758"/>
                  </a:lnTo>
                  <a:lnTo>
                    <a:pt x="253" y="754"/>
                  </a:lnTo>
                  <a:lnTo>
                    <a:pt x="243" y="751"/>
                  </a:lnTo>
                  <a:lnTo>
                    <a:pt x="240" y="750"/>
                  </a:lnTo>
                  <a:lnTo>
                    <a:pt x="241" y="750"/>
                  </a:lnTo>
                  <a:lnTo>
                    <a:pt x="241" y="749"/>
                  </a:lnTo>
                  <a:lnTo>
                    <a:pt x="242" y="749"/>
                  </a:lnTo>
                  <a:lnTo>
                    <a:pt x="242" y="748"/>
                  </a:lnTo>
                  <a:lnTo>
                    <a:pt x="243" y="746"/>
                  </a:lnTo>
                  <a:lnTo>
                    <a:pt x="243" y="743"/>
                  </a:lnTo>
                  <a:lnTo>
                    <a:pt x="241" y="739"/>
                  </a:lnTo>
                  <a:lnTo>
                    <a:pt x="239" y="730"/>
                  </a:lnTo>
                  <a:lnTo>
                    <a:pt x="238" y="725"/>
                  </a:lnTo>
                  <a:lnTo>
                    <a:pt x="237" y="719"/>
                  </a:lnTo>
                  <a:lnTo>
                    <a:pt x="235" y="709"/>
                  </a:lnTo>
                  <a:lnTo>
                    <a:pt x="235" y="707"/>
                  </a:lnTo>
                  <a:lnTo>
                    <a:pt x="235" y="704"/>
                  </a:lnTo>
                  <a:lnTo>
                    <a:pt x="234" y="701"/>
                  </a:lnTo>
                  <a:lnTo>
                    <a:pt x="232" y="697"/>
                  </a:lnTo>
                  <a:lnTo>
                    <a:pt x="225" y="684"/>
                  </a:lnTo>
                  <a:lnTo>
                    <a:pt x="224" y="679"/>
                  </a:lnTo>
                  <a:lnTo>
                    <a:pt x="223" y="677"/>
                  </a:lnTo>
                  <a:lnTo>
                    <a:pt x="222" y="674"/>
                  </a:lnTo>
                  <a:lnTo>
                    <a:pt x="220" y="666"/>
                  </a:lnTo>
                  <a:lnTo>
                    <a:pt x="220" y="662"/>
                  </a:lnTo>
                  <a:lnTo>
                    <a:pt x="218" y="658"/>
                  </a:lnTo>
                  <a:lnTo>
                    <a:pt x="218" y="656"/>
                  </a:lnTo>
                  <a:lnTo>
                    <a:pt x="217" y="654"/>
                  </a:lnTo>
                  <a:lnTo>
                    <a:pt x="215" y="652"/>
                  </a:lnTo>
                  <a:lnTo>
                    <a:pt x="213" y="650"/>
                  </a:lnTo>
                  <a:lnTo>
                    <a:pt x="212" y="649"/>
                  </a:lnTo>
                  <a:lnTo>
                    <a:pt x="210" y="648"/>
                  </a:lnTo>
                  <a:lnTo>
                    <a:pt x="208" y="647"/>
                  </a:lnTo>
                  <a:lnTo>
                    <a:pt x="206" y="647"/>
                  </a:lnTo>
                  <a:lnTo>
                    <a:pt x="195" y="644"/>
                  </a:lnTo>
                  <a:lnTo>
                    <a:pt x="192" y="643"/>
                  </a:lnTo>
                  <a:lnTo>
                    <a:pt x="188" y="642"/>
                  </a:lnTo>
                  <a:lnTo>
                    <a:pt x="183" y="639"/>
                  </a:lnTo>
                  <a:lnTo>
                    <a:pt x="180" y="638"/>
                  </a:lnTo>
                  <a:lnTo>
                    <a:pt x="176" y="636"/>
                  </a:lnTo>
                  <a:lnTo>
                    <a:pt x="173" y="634"/>
                  </a:lnTo>
                  <a:lnTo>
                    <a:pt x="170" y="632"/>
                  </a:lnTo>
                  <a:lnTo>
                    <a:pt x="168" y="630"/>
                  </a:lnTo>
                  <a:lnTo>
                    <a:pt x="165" y="628"/>
                  </a:lnTo>
                  <a:lnTo>
                    <a:pt x="163" y="626"/>
                  </a:lnTo>
                  <a:lnTo>
                    <a:pt x="160" y="623"/>
                  </a:lnTo>
                  <a:lnTo>
                    <a:pt x="158" y="620"/>
                  </a:lnTo>
                  <a:lnTo>
                    <a:pt x="156" y="617"/>
                  </a:lnTo>
                  <a:lnTo>
                    <a:pt x="154" y="615"/>
                  </a:lnTo>
                  <a:lnTo>
                    <a:pt x="152" y="611"/>
                  </a:lnTo>
                  <a:lnTo>
                    <a:pt x="150" y="608"/>
                  </a:lnTo>
                  <a:lnTo>
                    <a:pt x="149" y="605"/>
                  </a:lnTo>
                  <a:lnTo>
                    <a:pt x="148" y="603"/>
                  </a:lnTo>
                  <a:lnTo>
                    <a:pt x="147" y="599"/>
                  </a:lnTo>
                  <a:lnTo>
                    <a:pt x="145" y="590"/>
                  </a:lnTo>
                  <a:lnTo>
                    <a:pt x="145" y="585"/>
                  </a:lnTo>
                  <a:lnTo>
                    <a:pt x="143" y="582"/>
                  </a:lnTo>
                  <a:lnTo>
                    <a:pt x="139" y="575"/>
                  </a:lnTo>
                  <a:lnTo>
                    <a:pt x="138" y="570"/>
                  </a:lnTo>
                  <a:lnTo>
                    <a:pt x="135" y="563"/>
                  </a:lnTo>
                  <a:lnTo>
                    <a:pt x="134" y="557"/>
                  </a:lnTo>
                  <a:lnTo>
                    <a:pt x="133" y="555"/>
                  </a:lnTo>
                  <a:lnTo>
                    <a:pt x="133" y="552"/>
                  </a:lnTo>
                  <a:lnTo>
                    <a:pt x="132" y="550"/>
                  </a:lnTo>
                  <a:lnTo>
                    <a:pt x="131" y="550"/>
                  </a:lnTo>
                  <a:lnTo>
                    <a:pt x="130" y="549"/>
                  </a:lnTo>
                  <a:lnTo>
                    <a:pt x="128" y="547"/>
                  </a:lnTo>
                  <a:lnTo>
                    <a:pt x="126" y="546"/>
                  </a:lnTo>
                  <a:lnTo>
                    <a:pt x="118" y="542"/>
                  </a:lnTo>
                  <a:lnTo>
                    <a:pt x="116" y="541"/>
                  </a:lnTo>
                  <a:lnTo>
                    <a:pt x="115" y="540"/>
                  </a:lnTo>
                  <a:lnTo>
                    <a:pt x="113" y="539"/>
                  </a:lnTo>
                  <a:lnTo>
                    <a:pt x="113" y="537"/>
                  </a:lnTo>
                  <a:lnTo>
                    <a:pt x="112" y="536"/>
                  </a:lnTo>
                  <a:lnTo>
                    <a:pt x="111" y="535"/>
                  </a:lnTo>
                  <a:lnTo>
                    <a:pt x="110" y="532"/>
                  </a:lnTo>
                  <a:lnTo>
                    <a:pt x="111" y="530"/>
                  </a:lnTo>
                  <a:lnTo>
                    <a:pt x="112" y="527"/>
                  </a:lnTo>
                  <a:lnTo>
                    <a:pt x="113" y="525"/>
                  </a:lnTo>
                  <a:lnTo>
                    <a:pt x="114" y="522"/>
                  </a:lnTo>
                  <a:lnTo>
                    <a:pt x="115" y="521"/>
                  </a:lnTo>
                  <a:lnTo>
                    <a:pt x="118" y="519"/>
                  </a:lnTo>
                  <a:lnTo>
                    <a:pt x="123" y="515"/>
                  </a:lnTo>
                  <a:lnTo>
                    <a:pt x="124" y="514"/>
                  </a:lnTo>
                  <a:lnTo>
                    <a:pt x="125" y="513"/>
                  </a:lnTo>
                  <a:lnTo>
                    <a:pt x="125" y="511"/>
                  </a:lnTo>
                  <a:lnTo>
                    <a:pt x="126" y="509"/>
                  </a:lnTo>
                  <a:lnTo>
                    <a:pt x="126" y="507"/>
                  </a:lnTo>
                  <a:lnTo>
                    <a:pt x="126" y="506"/>
                  </a:lnTo>
                  <a:lnTo>
                    <a:pt x="126" y="505"/>
                  </a:lnTo>
                  <a:lnTo>
                    <a:pt x="125" y="505"/>
                  </a:lnTo>
                  <a:lnTo>
                    <a:pt x="125" y="504"/>
                  </a:lnTo>
                  <a:lnTo>
                    <a:pt x="123" y="503"/>
                  </a:lnTo>
                  <a:lnTo>
                    <a:pt x="122" y="503"/>
                  </a:lnTo>
                  <a:lnTo>
                    <a:pt x="120" y="503"/>
                  </a:lnTo>
                  <a:lnTo>
                    <a:pt x="118" y="503"/>
                  </a:lnTo>
                  <a:lnTo>
                    <a:pt x="110" y="505"/>
                  </a:lnTo>
                  <a:lnTo>
                    <a:pt x="107" y="505"/>
                  </a:lnTo>
                  <a:lnTo>
                    <a:pt x="104" y="505"/>
                  </a:lnTo>
                  <a:lnTo>
                    <a:pt x="103" y="504"/>
                  </a:lnTo>
                  <a:lnTo>
                    <a:pt x="101" y="503"/>
                  </a:lnTo>
                  <a:lnTo>
                    <a:pt x="99" y="502"/>
                  </a:lnTo>
                  <a:lnTo>
                    <a:pt x="97" y="502"/>
                  </a:lnTo>
                  <a:lnTo>
                    <a:pt x="95" y="500"/>
                  </a:lnTo>
                  <a:lnTo>
                    <a:pt x="93" y="499"/>
                  </a:lnTo>
                  <a:lnTo>
                    <a:pt x="90" y="497"/>
                  </a:lnTo>
                  <a:lnTo>
                    <a:pt x="88" y="495"/>
                  </a:lnTo>
                  <a:lnTo>
                    <a:pt x="86" y="492"/>
                  </a:lnTo>
                  <a:lnTo>
                    <a:pt x="85" y="490"/>
                  </a:lnTo>
                  <a:lnTo>
                    <a:pt x="83" y="487"/>
                  </a:lnTo>
                  <a:lnTo>
                    <a:pt x="82" y="485"/>
                  </a:lnTo>
                  <a:lnTo>
                    <a:pt x="81" y="482"/>
                  </a:lnTo>
                  <a:lnTo>
                    <a:pt x="80" y="480"/>
                  </a:lnTo>
                  <a:lnTo>
                    <a:pt x="81" y="477"/>
                  </a:lnTo>
                  <a:lnTo>
                    <a:pt x="81" y="475"/>
                  </a:lnTo>
                  <a:lnTo>
                    <a:pt x="83" y="461"/>
                  </a:lnTo>
                  <a:lnTo>
                    <a:pt x="84" y="455"/>
                  </a:lnTo>
                  <a:lnTo>
                    <a:pt x="84" y="453"/>
                  </a:lnTo>
                  <a:lnTo>
                    <a:pt x="84" y="452"/>
                  </a:lnTo>
                  <a:lnTo>
                    <a:pt x="83" y="450"/>
                  </a:lnTo>
                  <a:lnTo>
                    <a:pt x="83" y="449"/>
                  </a:lnTo>
                  <a:lnTo>
                    <a:pt x="82" y="447"/>
                  </a:lnTo>
                  <a:lnTo>
                    <a:pt x="80" y="445"/>
                  </a:lnTo>
                  <a:lnTo>
                    <a:pt x="78" y="444"/>
                  </a:lnTo>
                  <a:lnTo>
                    <a:pt x="73" y="440"/>
                  </a:lnTo>
                  <a:lnTo>
                    <a:pt x="72" y="440"/>
                  </a:lnTo>
                  <a:lnTo>
                    <a:pt x="70" y="438"/>
                  </a:lnTo>
                  <a:lnTo>
                    <a:pt x="67" y="434"/>
                  </a:lnTo>
                  <a:lnTo>
                    <a:pt x="65" y="432"/>
                  </a:lnTo>
                  <a:lnTo>
                    <a:pt x="64" y="432"/>
                  </a:lnTo>
                  <a:lnTo>
                    <a:pt x="63" y="431"/>
                  </a:lnTo>
                  <a:lnTo>
                    <a:pt x="55" y="429"/>
                  </a:lnTo>
                  <a:lnTo>
                    <a:pt x="53" y="427"/>
                  </a:lnTo>
                  <a:lnTo>
                    <a:pt x="50" y="426"/>
                  </a:lnTo>
                  <a:lnTo>
                    <a:pt x="48" y="425"/>
                  </a:lnTo>
                  <a:lnTo>
                    <a:pt x="48" y="424"/>
                  </a:lnTo>
                  <a:lnTo>
                    <a:pt x="47" y="422"/>
                  </a:lnTo>
                  <a:lnTo>
                    <a:pt x="46" y="421"/>
                  </a:lnTo>
                  <a:lnTo>
                    <a:pt x="45" y="419"/>
                  </a:lnTo>
                  <a:lnTo>
                    <a:pt x="43" y="411"/>
                  </a:lnTo>
                  <a:lnTo>
                    <a:pt x="43" y="409"/>
                  </a:lnTo>
                  <a:lnTo>
                    <a:pt x="41" y="407"/>
                  </a:lnTo>
                  <a:lnTo>
                    <a:pt x="40" y="404"/>
                  </a:lnTo>
                  <a:lnTo>
                    <a:pt x="38" y="401"/>
                  </a:lnTo>
                  <a:lnTo>
                    <a:pt x="36" y="399"/>
                  </a:lnTo>
                  <a:lnTo>
                    <a:pt x="33" y="395"/>
                  </a:lnTo>
                  <a:lnTo>
                    <a:pt x="33" y="395"/>
                  </a:lnTo>
                  <a:lnTo>
                    <a:pt x="32" y="394"/>
                  </a:lnTo>
                  <a:lnTo>
                    <a:pt x="32" y="392"/>
                  </a:lnTo>
                  <a:lnTo>
                    <a:pt x="32" y="391"/>
                  </a:lnTo>
                  <a:lnTo>
                    <a:pt x="33" y="390"/>
                  </a:lnTo>
                  <a:lnTo>
                    <a:pt x="33" y="388"/>
                  </a:lnTo>
                  <a:lnTo>
                    <a:pt x="39" y="380"/>
                  </a:lnTo>
                  <a:lnTo>
                    <a:pt x="40" y="376"/>
                  </a:lnTo>
                  <a:lnTo>
                    <a:pt x="42" y="374"/>
                  </a:lnTo>
                  <a:lnTo>
                    <a:pt x="43" y="372"/>
                  </a:lnTo>
                  <a:lnTo>
                    <a:pt x="44" y="366"/>
                  </a:lnTo>
                  <a:lnTo>
                    <a:pt x="45" y="363"/>
                  </a:lnTo>
                  <a:lnTo>
                    <a:pt x="45" y="361"/>
                  </a:lnTo>
                  <a:lnTo>
                    <a:pt x="45" y="360"/>
                  </a:lnTo>
                  <a:lnTo>
                    <a:pt x="44" y="358"/>
                  </a:lnTo>
                  <a:lnTo>
                    <a:pt x="43" y="356"/>
                  </a:lnTo>
                  <a:lnTo>
                    <a:pt x="43" y="354"/>
                  </a:lnTo>
                  <a:lnTo>
                    <a:pt x="42" y="352"/>
                  </a:lnTo>
                  <a:lnTo>
                    <a:pt x="40" y="348"/>
                  </a:lnTo>
                  <a:lnTo>
                    <a:pt x="38" y="346"/>
                  </a:lnTo>
                  <a:lnTo>
                    <a:pt x="37" y="344"/>
                  </a:lnTo>
                  <a:lnTo>
                    <a:pt x="36" y="343"/>
                  </a:lnTo>
                  <a:lnTo>
                    <a:pt x="33" y="341"/>
                  </a:lnTo>
                  <a:lnTo>
                    <a:pt x="32" y="340"/>
                  </a:lnTo>
                  <a:lnTo>
                    <a:pt x="30" y="338"/>
                  </a:lnTo>
                  <a:lnTo>
                    <a:pt x="28" y="337"/>
                  </a:lnTo>
                  <a:lnTo>
                    <a:pt x="26" y="336"/>
                  </a:lnTo>
                  <a:lnTo>
                    <a:pt x="22" y="335"/>
                  </a:lnTo>
                  <a:lnTo>
                    <a:pt x="17" y="333"/>
                  </a:lnTo>
                  <a:lnTo>
                    <a:pt x="10" y="332"/>
                  </a:lnTo>
                  <a:lnTo>
                    <a:pt x="8" y="331"/>
                  </a:lnTo>
                  <a:lnTo>
                    <a:pt x="6" y="330"/>
                  </a:lnTo>
                  <a:lnTo>
                    <a:pt x="4" y="330"/>
                  </a:lnTo>
                  <a:lnTo>
                    <a:pt x="3" y="329"/>
                  </a:lnTo>
                  <a:lnTo>
                    <a:pt x="2" y="328"/>
                  </a:lnTo>
                  <a:lnTo>
                    <a:pt x="1" y="326"/>
                  </a:lnTo>
                  <a:lnTo>
                    <a:pt x="1" y="325"/>
                  </a:lnTo>
                  <a:lnTo>
                    <a:pt x="0" y="324"/>
                  </a:lnTo>
                  <a:lnTo>
                    <a:pt x="0" y="321"/>
                  </a:lnTo>
                  <a:lnTo>
                    <a:pt x="1" y="320"/>
                  </a:lnTo>
                  <a:lnTo>
                    <a:pt x="1" y="318"/>
                  </a:lnTo>
                  <a:lnTo>
                    <a:pt x="1" y="317"/>
                  </a:lnTo>
                  <a:lnTo>
                    <a:pt x="2" y="315"/>
                  </a:lnTo>
                  <a:lnTo>
                    <a:pt x="6" y="310"/>
                  </a:lnTo>
                  <a:lnTo>
                    <a:pt x="7" y="309"/>
                  </a:lnTo>
                  <a:lnTo>
                    <a:pt x="8" y="307"/>
                  </a:lnTo>
                  <a:lnTo>
                    <a:pt x="9" y="305"/>
                  </a:lnTo>
                  <a:lnTo>
                    <a:pt x="10" y="302"/>
                  </a:lnTo>
                  <a:lnTo>
                    <a:pt x="11" y="293"/>
                  </a:lnTo>
                  <a:lnTo>
                    <a:pt x="11" y="286"/>
                  </a:lnTo>
                  <a:lnTo>
                    <a:pt x="11" y="283"/>
                  </a:lnTo>
                  <a:lnTo>
                    <a:pt x="11" y="280"/>
                  </a:lnTo>
                  <a:lnTo>
                    <a:pt x="13" y="278"/>
                  </a:lnTo>
                  <a:lnTo>
                    <a:pt x="14" y="275"/>
                  </a:lnTo>
                  <a:lnTo>
                    <a:pt x="16" y="273"/>
                  </a:lnTo>
                  <a:lnTo>
                    <a:pt x="17" y="271"/>
                  </a:lnTo>
                  <a:lnTo>
                    <a:pt x="19" y="270"/>
                  </a:lnTo>
                  <a:lnTo>
                    <a:pt x="21" y="270"/>
                  </a:lnTo>
                  <a:lnTo>
                    <a:pt x="23" y="269"/>
                  </a:lnTo>
                  <a:lnTo>
                    <a:pt x="24" y="269"/>
                  </a:lnTo>
                  <a:lnTo>
                    <a:pt x="31" y="269"/>
                  </a:lnTo>
                  <a:lnTo>
                    <a:pt x="32" y="269"/>
                  </a:lnTo>
                  <a:lnTo>
                    <a:pt x="33" y="268"/>
                  </a:lnTo>
                  <a:lnTo>
                    <a:pt x="35" y="268"/>
                  </a:lnTo>
                  <a:lnTo>
                    <a:pt x="36" y="267"/>
                  </a:lnTo>
                  <a:lnTo>
                    <a:pt x="38" y="265"/>
                  </a:lnTo>
                  <a:lnTo>
                    <a:pt x="38" y="264"/>
                  </a:lnTo>
                  <a:lnTo>
                    <a:pt x="40" y="261"/>
                  </a:lnTo>
                  <a:lnTo>
                    <a:pt x="41" y="258"/>
                  </a:lnTo>
                  <a:lnTo>
                    <a:pt x="43" y="254"/>
                  </a:lnTo>
                  <a:lnTo>
                    <a:pt x="43" y="250"/>
                  </a:lnTo>
                  <a:lnTo>
                    <a:pt x="44" y="246"/>
                  </a:lnTo>
                  <a:lnTo>
                    <a:pt x="45" y="241"/>
                  </a:lnTo>
                  <a:lnTo>
                    <a:pt x="45" y="237"/>
                  </a:lnTo>
                  <a:lnTo>
                    <a:pt x="45" y="230"/>
                  </a:lnTo>
                  <a:lnTo>
                    <a:pt x="45" y="228"/>
                  </a:lnTo>
                  <a:lnTo>
                    <a:pt x="46" y="228"/>
                  </a:lnTo>
                  <a:lnTo>
                    <a:pt x="47" y="228"/>
                  </a:lnTo>
                  <a:lnTo>
                    <a:pt x="52" y="227"/>
                  </a:lnTo>
                  <a:lnTo>
                    <a:pt x="54" y="227"/>
                  </a:lnTo>
                  <a:lnTo>
                    <a:pt x="56" y="227"/>
                  </a:lnTo>
                  <a:lnTo>
                    <a:pt x="58" y="227"/>
                  </a:lnTo>
                  <a:lnTo>
                    <a:pt x="61" y="228"/>
                  </a:lnTo>
                  <a:lnTo>
                    <a:pt x="64" y="228"/>
                  </a:lnTo>
                  <a:lnTo>
                    <a:pt x="67" y="229"/>
                  </a:lnTo>
                  <a:lnTo>
                    <a:pt x="69" y="230"/>
                  </a:lnTo>
                  <a:lnTo>
                    <a:pt x="72" y="233"/>
                  </a:lnTo>
                  <a:lnTo>
                    <a:pt x="74" y="234"/>
                  </a:lnTo>
                  <a:lnTo>
                    <a:pt x="77" y="236"/>
                  </a:lnTo>
                  <a:lnTo>
                    <a:pt x="79" y="238"/>
                  </a:lnTo>
                  <a:lnTo>
                    <a:pt x="82" y="243"/>
                  </a:lnTo>
                  <a:lnTo>
                    <a:pt x="88" y="250"/>
                  </a:lnTo>
                  <a:lnTo>
                    <a:pt x="90" y="253"/>
                  </a:lnTo>
                  <a:lnTo>
                    <a:pt x="92" y="255"/>
                  </a:lnTo>
                  <a:lnTo>
                    <a:pt x="93" y="257"/>
                  </a:lnTo>
                  <a:lnTo>
                    <a:pt x="95" y="258"/>
                  </a:lnTo>
                  <a:lnTo>
                    <a:pt x="97" y="259"/>
                  </a:lnTo>
                  <a:lnTo>
                    <a:pt x="98" y="260"/>
                  </a:lnTo>
                  <a:lnTo>
                    <a:pt x="101" y="260"/>
                  </a:lnTo>
                  <a:lnTo>
                    <a:pt x="103" y="260"/>
                  </a:lnTo>
                  <a:lnTo>
                    <a:pt x="105" y="260"/>
                  </a:lnTo>
                  <a:lnTo>
                    <a:pt x="108" y="260"/>
                  </a:lnTo>
                  <a:lnTo>
                    <a:pt x="110" y="260"/>
                  </a:lnTo>
                  <a:lnTo>
                    <a:pt x="113" y="260"/>
                  </a:lnTo>
                  <a:lnTo>
                    <a:pt x="119" y="258"/>
                  </a:lnTo>
                  <a:lnTo>
                    <a:pt x="123" y="257"/>
                  </a:lnTo>
                  <a:lnTo>
                    <a:pt x="125" y="257"/>
                  </a:lnTo>
                  <a:lnTo>
                    <a:pt x="128" y="257"/>
                  </a:lnTo>
                  <a:lnTo>
                    <a:pt x="130" y="257"/>
                  </a:lnTo>
                  <a:lnTo>
                    <a:pt x="132" y="257"/>
                  </a:lnTo>
                  <a:lnTo>
                    <a:pt x="134" y="258"/>
                  </a:lnTo>
                  <a:lnTo>
                    <a:pt x="137" y="258"/>
                  </a:lnTo>
                  <a:lnTo>
                    <a:pt x="139" y="259"/>
                  </a:lnTo>
                  <a:lnTo>
                    <a:pt x="140" y="260"/>
                  </a:lnTo>
                  <a:lnTo>
                    <a:pt x="143" y="261"/>
                  </a:lnTo>
                  <a:lnTo>
                    <a:pt x="145" y="263"/>
                  </a:lnTo>
                  <a:lnTo>
                    <a:pt x="153" y="268"/>
                  </a:lnTo>
                  <a:lnTo>
                    <a:pt x="155" y="269"/>
                  </a:lnTo>
                  <a:lnTo>
                    <a:pt x="156" y="270"/>
                  </a:lnTo>
                  <a:lnTo>
                    <a:pt x="158" y="270"/>
                  </a:lnTo>
                  <a:lnTo>
                    <a:pt x="160" y="270"/>
                  </a:lnTo>
                  <a:lnTo>
                    <a:pt x="161" y="270"/>
                  </a:lnTo>
                  <a:lnTo>
                    <a:pt x="162" y="269"/>
                  </a:lnTo>
                  <a:lnTo>
                    <a:pt x="163" y="268"/>
                  </a:lnTo>
                  <a:lnTo>
                    <a:pt x="163" y="268"/>
                  </a:lnTo>
                  <a:lnTo>
                    <a:pt x="163" y="267"/>
                  </a:lnTo>
                  <a:lnTo>
                    <a:pt x="163" y="265"/>
                  </a:lnTo>
                  <a:lnTo>
                    <a:pt x="163" y="264"/>
                  </a:lnTo>
                  <a:lnTo>
                    <a:pt x="162" y="263"/>
                  </a:lnTo>
                  <a:lnTo>
                    <a:pt x="160" y="261"/>
                  </a:lnTo>
                  <a:lnTo>
                    <a:pt x="160" y="260"/>
                  </a:lnTo>
                  <a:lnTo>
                    <a:pt x="153" y="255"/>
                  </a:lnTo>
                  <a:lnTo>
                    <a:pt x="146" y="248"/>
                  </a:lnTo>
                  <a:lnTo>
                    <a:pt x="143" y="245"/>
                  </a:lnTo>
                  <a:lnTo>
                    <a:pt x="139" y="240"/>
                  </a:lnTo>
                  <a:lnTo>
                    <a:pt x="136" y="236"/>
                  </a:lnTo>
                  <a:lnTo>
                    <a:pt x="135" y="234"/>
                  </a:lnTo>
                  <a:lnTo>
                    <a:pt x="134" y="232"/>
                  </a:lnTo>
                  <a:lnTo>
                    <a:pt x="133" y="230"/>
                  </a:lnTo>
                  <a:lnTo>
                    <a:pt x="132" y="226"/>
                  </a:lnTo>
                  <a:lnTo>
                    <a:pt x="131" y="224"/>
                  </a:lnTo>
                  <a:lnTo>
                    <a:pt x="131" y="223"/>
                  </a:lnTo>
                  <a:lnTo>
                    <a:pt x="130" y="220"/>
                  </a:lnTo>
                  <a:lnTo>
                    <a:pt x="131" y="217"/>
                  </a:lnTo>
                  <a:lnTo>
                    <a:pt x="132" y="214"/>
                  </a:lnTo>
                  <a:lnTo>
                    <a:pt x="133" y="212"/>
                  </a:lnTo>
                  <a:lnTo>
                    <a:pt x="135" y="209"/>
                  </a:lnTo>
                  <a:lnTo>
                    <a:pt x="137" y="205"/>
                  </a:lnTo>
                  <a:lnTo>
                    <a:pt x="145" y="197"/>
                  </a:lnTo>
                  <a:lnTo>
                    <a:pt x="147" y="195"/>
                  </a:lnTo>
                  <a:lnTo>
                    <a:pt x="148" y="193"/>
                  </a:lnTo>
                  <a:lnTo>
                    <a:pt x="148" y="190"/>
                  </a:lnTo>
                  <a:lnTo>
                    <a:pt x="148" y="188"/>
                  </a:lnTo>
                  <a:lnTo>
                    <a:pt x="148" y="186"/>
                  </a:lnTo>
                  <a:lnTo>
                    <a:pt x="148" y="183"/>
                  </a:lnTo>
                  <a:lnTo>
                    <a:pt x="147" y="182"/>
                  </a:lnTo>
                  <a:lnTo>
                    <a:pt x="146" y="180"/>
                  </a:lnTo>
                  <a:lnTo>
                    <a:pt x="145" y="179"/>
                  </a:lnTo>
                  <a:lnTo>
                    <a:pt x="143" y="178"/>
                  </a:lnTo>
                  <a:lnTo>
                    <a:pt x="140" y="175"/>
                  </a:lnTo>
                  <a:lnTo>
                    <a:pt x="135" y="172"/>
                  </a:lnTo>
                  <a:lnTo>
                    <a:pt x="133" y="171"/>
                  </a:lnTo>
                  <a:lnTo>
                    <a:pt x="128" y="168"/>
                  </a:lnTo>
                  <a:lnTo>
                    <a:pt x="125" y="166"/>
                  </a:lnTo>
                  <a:lnTo>
                    <a:pt x="124" y="165"/>
                  </a:lnTo>
                  <a:lnTo>
                    <a:pt x="122" y="163"/>
                  </a:lnTo>
                  <a:lnTo>
                    <a:pt x="120" y="161"/>
                  </a:lnTo>
                  <a:lnTo>
                    <a:pt x="119" y="159"/>
                  </a:lnTo>
                  <a:lnTo>
                    <a:pt x="116" y="155"/>
                  </a:lnTo>
                  <a:lnTo>
                    <a:pt x="114" y="150"/>
                  </a:lnTo>
                  <a:lnTo>
                    <a:pt x="112" y="145"/>
                  </a:lnTo>
                  <a:lnTo>
                    <a:pt x="110" y="142"/>
                  </a:lnTo>
                  <a:lnTo>
                    <a:pt x="108" y="133"/>
                  </a:lnTo>
                  <a:lnTo>
                    <a:pt x="108" y="129"/>
                  </a:lnTo>
                  <a:lnTo>
                    <a:pt x="108" y="127"/>
                  </a:lnTo>
                  <a:lnTo>
                    <a:pt x="108" y="126"/>
                  </a:lnTo>
                  <a:lnTo>
                    <a:pt x="108" y="124"/>
                  </a:lnTo>
                  <a:lnTo>
                    <a:pt x="108" y="123"/>
                  </a:lnTo>
                  <a:lnTo>
                    <a:pt x="108" y="121"/>
                  </a:lnTo>
                  <a:lnTo>
                    <a:pt x="109" y="120"/>
                  </a:lnTo>
                  <a:lnTo>
                    <a:pt x="110" y="118"/>
                  </a:lnTo>
                  <a:lnTo>
                    <a:pt x="112" y="118"/>
                  </a:lnTo>
                  <a:lnTo>
                    <a:pt x="113" y="117"/>
                  </a:lnTo>
                  <a:lnTo>
                    <a:pt x="115" y="117"/>
                  </a:lnTo>
                  <a:lnTo>
                    <a:pt x="116" y="116"/>
                  </a:lnTo>
                  <a:lnTo>
                    <a:pt x="118" y="116"/>
                  </a:lnTo>
                  <a:lnTo>
                    <a:pt x="120" y="116"/>
                  </a:lnTo>
                  <a:lnTo>
                    <a:pt x="122" y="117"/>
                  </a:lnTo>
                  <a:lnTo>
                    <a:pt x="124" y="118"/>
                  </a:lnTo>
                  <a:lnTo>
                    <a:pt x="130" y="120"/>
                  </a:lnTo>
                  <a:lnTo>
                    <a:pt x="135" y="121"/>
                  </a:lnTo>
                  <a:lnTo>
                    <a:pt x="139" y="123"/>
                  </a:lnTo>
                  <a:lnTo>
                    <a:pt x="143" y="123"/>
                  </a:lnTo>
                  <a:lnTo>
                    <a:pt x="148" y="124"/>
                  </a:lnTo>
                  <a:lnTo>
                    <a:pt x="151" y="124"/>
                  </a:lnTo>
                  <a:lnTo>
                    <a:pt x="155" y="124"/>
                  </a:lnTo>
                  <a:lnTo>
                    <a:pt x="158" y="123"/>
                  </a:lnTo>
                  <a:lnTo>
                    <a:pt x="173" y="120"/>
                  </a:lnTo>
                  <a:lnTo>
                    <a:pt x="177" y="118"/>
                  </a:lnTo>
                  <a:lnTo>
                    <a:pt x="181" y="117"/>
                  </a:lnTo>
                  <a:lnTo>
                    <a:pt x="188" y="113"/>
                  </a:lnTo>
                  <a:lnTo>
                    <a:pt x="191" y="112"/>
                  </a:lnTo>
                  <a:lnTo>
                    <a:pt x="199" y="107"/>
                  </a:lnTo>
                  <a:lnTo>
                    <a:pt x="206" y="103"/>
                  </a:lnTo>
                  <a:lnTo>
                    <a:pt x="208" y="101"/>
                  </a:lnTo>
                  <a:lnTo>
                    <a:pt x="210" y="100"/>
                  </a:lnTo>
                  <a:lnTo>
                    <a:pt x="211" y="98"/>
                  </a:lnTo>
                  <a:lnTo>
                    <a:pt x="212" y="97"/>
                  </a:lnTo>
                  <a:lnTo>
                    <a:pt x="213" y="95"/>
                  </a:lnTo>
                  <a:lnTo>
                    <a:pt x="213" y="92"/>
                  </a:lnTo>
                  <a:lnTo>
                    <a:pt x="215" y="81"/>
                  </a:lnTo>
                  <a:lnTo>
                    <a:pt x="216" y="76"/>
                  </a:lnTo>
                  <a:lnTo>
                    <a:pt x="217" y="73"/>
                  </a:lnTo>
                  <a:lnTo>
                    <a:pt x="219" y="67"/>
                  </a:lnTo>
                  <a:lnTo>
                    <a:pt x="220" y="64"/>
                  </a:lnTo>
                  <a:lnTo>
                    <a:pt x="225" y="56"/>
                  </a:lnTo>
                  <a:lnTo>
                    <a:pt x="226" y="52"/>
                  </a:lnTo>
                  <a:lnTo>
                    <a:pt x="228" y="48"/>
                  </a:lnTo>
                  <a:lnTo>
                    <a:pt x="228" y="46"/>
                  </a:lnTo>
                  <a:lnTo>
                    <a:pt x="228" y="45"/>
                  </a:lnTo>
                  <a:lnTo>
                    <a:pt x="228" y="43"/>
                  </a:lnTo>
                  <a:lnTo>
                    <a:pt x="228" y="42"/>
                  </a:lnTo>
                  <a:lnTo>
                    <a:pt x="228" y="41"/>
                  </a:lnTo>
                  <a:lnTo>
                    <a:pt x="227" y="39"/>
                  </a:lnTo>
                  <a:lnTo>
                    <a:pt x="225" y="38"/>
                  </a:lnTo>
                  <a:lnTo>
                    <a:pt x="223" y="34"/>
                  </a:lnTo>
                  <a:lnTo>
                    <a:pt x="218" y="28"/>
                  </a:lnTo>
                  <a:lnTo>
                    <a:pt x="216" y="26"/>
                  </a:lnTo>
                  <a:lnTo>
                    <a:pt x="215" y="24"/>
                  </a:lnTo>
                  <a:lnTo>
                    <a:pt x="214" y="21"/>
                  </a:lnTo>
                  <a:lnTo>
                    <a:pt x="213" y="19"/>
                  </a:lnTo>
                  <a:lnTo>
                    <a:pt x="213" y="18"/>
                  </a:lnTo>
                  <a:lnTo>
                    <a:pt x="213" y="16"/>
                  </a:lnTo>
                  <a:lnTo>
                    <a:pt x="214" y="15"/>
                  </a:lnTo>
                  <a:lnTo>
                    <a:pt x="215" y="14"/>
                  </a:lnTo>
                  <a:lnTo>
                    <a:pt x="217" y="13"/>
                  </a:lnTo>
                  <a:lnTo>
                    <a:pt x="220" y="11"/>
                  </a:lnTo>
                  <a:lnTo>
                    <a:pt x="223" y="9"/>
                  </a:lnTo>
                  <a:lnTo>
                    <a:pt x="226" y="8"/>
                  </a:lnTo>
                  <a:lnTo>
                    <a:pt x="231" y="6"/>
                  </a:lnTo>
                  <a:lnTo>
                    <a:pt x="244" y="4"/>
                  </a:lnTo>
                  <a:lnTo>
                    <a:pt x="247" y="3"/>
                  </a:lnTo>
                  <a:lnTo>
                    <a:pt x="250" y="2"/>
                  </a:lnTo>
                  <a:lnTo>
                    <a:pt x="251" y="1"/>
                  </a:lnTo>
                  <a:lnTo>
                    <a:pt x="253" y="1"/>
                  </a:lnTo>
                  <a:lnTo>
                    <a:pt x="256" y="1"/>
                  </a:lnTo>
                  <a:lnTo>
                    <a:pt x="258" y="1"/>
                  </a:lnTo>
                  <a:lnTo>
                    <a:pt x="260" y="1"/>
                  </a:lnTo>
                  <a:lnTo>
                    <a:pt x="261" y="1"/>
                  </a:lnTo>
                  <a:lnTo>
                    <a:pt x="262" y="0"/>
                  </a:lnTo>
                  <a:lnTo>
                    <a:pt x="263" y="0"/>
                  </a:lnTo>
                  <a:close/>
                </a:path>
              </a:pathLst>
            </a:custGeom>
            <a:solidFill>
              <a:srgbClr val="FFCC29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100">
              <a:extLst>
                <a:ext uri="{FF2B5EF4-FFF2-40B4-BE49-F238E27FC236}">
                  <a16:creationId xmlns:a16="http://schemas.microsoft.com/office/drawing/2014/main" id="{078CC244-19FC-068A-477C-2AE2E5699B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1798" y="4524213"/>
              <a:ext cx="771525" cy="890588"/>
            </a:xfrm>
            <a:custGeom>
              <a:avLst/>
              <a:gdLst>
                <a:gd name="T0" fmla="*/ 124 w 486"/>
                <a:gd name="T1" fmla="*/ 32 h 561"/>
                <a:gd name="T2" fmla="*/ 141 w 486"/>
                <a:gd name="T3" fmla="*/ 45 h 561"/>
                <a:gd name="T4" fmla="*/ 177 w 486"/>
                <a:gd name="T5" fmla="*/ 42 h 561"/>
                <a:gd name="T6" fmla="*/ 246 w 486"/>
                <a:gd name="T7" fmla="*/ 40 h 561"/>
                <a:gd name="T8" fmla="*/ 264 w 486"/>
                <a:gd name="T9" fmla="*/ 18 h 561"/>
                <a:gd name="T10" fmla="*/ 291 w 486"/>
                <a:gd name="T11" fmla="*/ 0 h 561"/>
                <a:gd name="T12" fmla="*/ 319 w 486"/>
                <a:gd name="T13" fmla="*/ 6 h 561"/>
                <a:gd name="T14" fmla="*/ 346 w 486"/>
                <a:gd name="T15" fmla="*/ 27 h 561"/>
                <a:gd name="T16" fmla="*/ 362 w 486"/>
                <a:gd name="T17" fmla="*/ 47 h 561"/>
                <a:gd name="T18" fmla="*/ 395 w 486"/>
                <a:gd name="T19" fmla="*/ 47 h 561"/>
                <a:gd name="T20" fmla="*/ 428 w 486"/>
                <a:gd name="T21" fmla="*/ 35 h 561"/>
                <a:gd name="T22" fmla="*/ 431 w 486"/>
                <a:gd name="T23" fmla="*/ 17 h 561"/>
                <a:gd name="T24" fmla="*/ 459 w 486"/>
                <a:gd name="T25" fmla="*/ 27 h 561"/>
                <a:gd name="T26" fmla="*/ 485 w 486"/>
                <a:gd name="T27" fmla="*/ 50 h 561"/>
                <a:gd name="T28" fmla="*/ 470 w 486"/>
                <a:gd name="T29" fmla="*/ 82 h 561"/>
                <a:gd name="T30" fmla="*/ 473 w 486"/>
                <a:gd name="T31" fmla="*/ 117 h 561"/>
                <a:gd name="T32" fmla="*/ 485 w 486"/>
                <a:gd name="T33" fmla="*/ 145 h 561"/>
                <a:gd name="T34" fmla="*/ 479 w 486"/>
                <a:gd name="T35" fmla="*/ 184 h 561"/>
                <a:gd name="T36" fmla="*/ 469 w 486"/>
                <a:gd name="T37" fmla="*/ 213 h 561"/>
                <a:gd name="T38" fmla="*/ 471 w 486"/>
                <a:gd name="T39" fmla="*/ 252 h 561"/>
                <a:gd name="T40" fmla="*/ 463 w 486"/>
                <a:gd name="T41" fmla="*/ 281 h 561"/>
                <a:gd name="T42" fmla="*/ 444 w 486"/>
                <a:gd name="T43" fmla="*/ 302 h 561"/>
                <a:gd name="T44" fmla="*/ 421 w 486"/>
                <a:gd name="T45" fmla="*/ 332 h 561"/>
                <a:gd name="T46" fmla="*/ 411 w 486"/>
                <a:gd name="T47" fmla="*/ 327 h 561"/>
                <a:gd name="T48" fmla="*/ 396 w 486"/>
                <a:gd name="T49" fmla="*/ 345 h 561"/>
                <a:gd name="T50" fmla="*/ 369 w 486"/>
                <a:gd name="T51" fmla="*/ 361 h 561"/>
                <a:gd name="T52" fmla="*/ 364 w 486"/>
                <a:gd name="T53" fmla="*/ 391 h 561"/>
                <a:gd name="T54" fmla="*/ 376 w 486"/>
                <a:gd name="T55" fmla="*/ 441 h 561"/>
                <a:gd name="T56" fmla="*/ 380 w 486"/>
                <a:gd name="T57" fmla="*/ 459 h 561"/>
                <a:gd name="T58" fmla="*/ 341 w 486"/>
                <a:gd name="T59" fmla="*/ 449 h 561"/>
                <a:gd name="T60" fmla="*/ 328 w 486"/>
                <a:gd name="T61" fmla="*/ 460 h 561"/>
                <a:gd name="T62" fmla="*/ 333 w 486"/>
                <a:gd name="T63" fmla="*/ 504 h 561"/>
                <a:gd name="T64" fmla="*/ 321 w 486"/>
                <a:gd name="T65" fmla="*/ 532 h 561"/>
                <a:gd name="T66" fmla="*/ 305 w 486"/>
                <a:gd name="T67" fmla="*/ 561 h 561"/>
                <a:gd name="T68" fmla="*/ 254 w 486"/>
                <a:gd name="T69" fmla="*/ 555 h 561"/>
                <a:gd name="T70" fmla="*/ 229 w 486"/>
                <a:gd name="T71" fmla="*/ 536 h 561"/>
                <a:gd name="T72" fmla="*/ 204 w 486"/>
                <a:gd name="T73" fmla="*/ 515 h 561"/>
                <a:gd name="T74" fmla="*/ 169 w 486"/>
                <a:gd name="T75" fmla="*/ 505 h 561"/>
                <a:gd name="T76" fmla="*/ 148 w 486"/>
                <a:gd name="T77" fmla="*/ 487 h 561"/>
                <a:gd name="T78" fmla="*/ 124 w 486"/>
                <a:gd name="T79" fmla="*/ 447 h 561"/>
                <a:gd name="T80" fmla="*/ 100 w 486"/>
                <a:gd name="T81" fmla="*/ 416 h 561"/>
                <a:gd name="T82" fmla="*/ 89 w 486"/>
                <a:gd name="T83" fmla="*/ 379 h 561"/>
                <a:gd name="T84" fmla="*/ 54 w 486"/>
                <a:gd name="T85" fmla="*/ 328 h 561"/>
                <a:gd name="T86" fmla="*/ 55 w 486"/>
                <a:gd name="T87" fmla="*/ 288 h 561"/>
                <a:gd name="T88" fmla="*/ 67 w 486"/>
                <a:gd name="T89" fmla="*/ 257 h 561"/>
                <a:gd name="T90" fmla="*/ 68 w 486"/>
                <a:gd name="T91" fmla="*/ 235 h 561"/>
                <a:gd name="T92" fmla="*/ 54 w 486"/>
                <a:gd name="T93" fmla="*/ 217 h 561"/>
                <a:gd name="T94" fmla="*/ 50 w 486"/>
                <a:gd name="T95" fmla="*/ 187 h 561"/>
                <a:gd name="T96" fmla="*/ 43 w 486"/>
                <a:gd name="T97" fmla="*/ 167 h 561"/>
                <a:gd name="T98" fmla="*/ 63 w 486"/>
                <a:gd name="T99" fmla="*/ 150 h 561"/>
                <a:gd name="T100" fmla="*/ 68 w 486"/>
                <a:gd name="T101" fmla="*/ 132 h 561"/>
                <a:gd name="T102" fmla="*/ 52 w 486"/>
                <a:gd name="T103" fmla="*/ 120 h 561"/>
                <a:gd name="T104" fmla="*/ 52 w 486"/>
                <a:gd name="T105" fmla="*/ 110 h 561"/>
                <a:gd name="T106" fmla="*/ 33 w 486"/>
                <a:gd name="T107" fmla="*/ 97 h 561"/>
                <a:gd name="T108" fmla="*/ 3 w 486"/>
                <a:gd name="T109" fmla="*/ 85 h 561"/>
                <a:gd name="T110" fmla="*/ 12 w 486"/>
                <a:gd name="T111" fmla="*/ 70 h 561"/>
                <a:gd name="T112" fmla="*/ 42 w 486"/>
                <a:gd name="T113" fmla="*/ 63 h 561"/>
                <a:gd name="T114" fmla="*/ 59 w 486"/>
                <a:gd name="T115" fmla="*/ 54 h 561"/>
                <a:gd name="T116" fmla="*/ 73 w 486"/>
                <a:gd name="T117" fmla="*/ 30 h 561"/>
                <a:gd name="T118" fmla="*/ 108 w 486"/>
                <a:gd name="T119" fmla="*/ 5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86" h="561">
                  <a:moveTo>
                    <a:pt x="120" y="1"/>
                  </a:moveTo>
                  <a:lnTo>
                    <a:pt x="120" y="2"/>
                  </a:lnTo>
                  <a:lnTo>
                    <a:pt x="122" y="2"/>
                  </a:lnTo>
                  <a:lnTo>
                    <a:pt x="122" y="4"/>
                  </a:lnTo>
                  <a:lnTo>
                    <a:pt x="122" y="5"/>
                  </a:lnTo>
                  <a:lnTo>
                    <a:pt x="123" y="9"/>
                  </a:lnTo>
                  <a:lnTo>
                    <a:pt x="123" y="21"/>
                  </a:lnTo>
                  <a:lnTo>
                    <a:pt x="124" y="27"/>
                  </a:lnTo>
                  <a:lnTo>
                    <a:pt x="124" y="30"/>
                  </a:lnTo>
                  <a:lnTo>
                    <a:pt x="124" y="32"/>
                  </a:lnTo>
                  <a:lnTo>
                    <a:pt x="125" y="35"/>
                  </a:lnTo>
                  <a:lnTo>
                    <a:pt x="126" y="37"/>
                  </a:lnTo>
                  <a:lnTo>
                    <a:pt x="127" y="38"/>
                  </a:lnTo>
                  <a:lnTo>
                    <a:pt x="128" y="40"/>
                  </a:lnTo>
                  <a:lnTo>
                    <a:pt x="129" y="41"/>
                  </a:lnTo>
                  <a:lnTo>
                    <a:pt x="132" y="42"/>
                  </a:lnTo>
                  <a:lnTo>
                    <a:pt x="134" y="44"/>
                  </a:lnTo>
                  <a:lnTo>
                    <a:pt x="136" y="45"/>
                  </a:lnTo>
                  <a:lnTo>
                    <a:pt x="138" y="45"/>
                  </a:lnTo>
                  <a:lnTo>
                    <a:pt x="141" y="45"/>
                  </a:lnTo>
                  <a:lnTo>
                    <a:pt x="144" y="46"/>
                  </a:lnTo>
                  <a:lnTo>
                    <a:pt x="148" y="45"/>
                  </a:lnTo>
                  <a:lnTo>
                    <a:pt x="150" y="45"/>
                  </a:lnTo>
                  <a:lnTo>
                    <a:pt x="154" y="44"/>
                  </a:lnTo>
                  <a:lnTo>
                    <a:pt x="157" y="43"/>
                  </a:lnTo>
                  <a:lnTo>
                    <a:pt x="159" y="44"/>
                  </a:lnTo>
                  <a:lnTo>
                    <a:pt x="164" y="45"/>
                  </a:lnTo>
                  <a:lnTo>
                    <a:pt x="168" y="45"/>
                  </a:lnTo>
                  <a:lnTo>
                    <a:pt x="171" y="45"/>
                  </a:lnTo>
                  <a:lnTo>
                    <a:pt x="177" y="42"/>
                  </a:lnTo>
                  <a:lnTo>
                    <a:pt x="180" y="42"/>
                  </a:lnTo>
                  <a:lnTo>
                    <a:pt x="185" y="42"/>
                  </a:lnTo>
                  <a:lnTo>
                    <a:pt x="195" y="42"/>
                  </a:lnTo>
                  <a:lnTo>
                    <a:pt x="199" y="42"/>
                  </a:lnTo>
                  <a:lnTo>
                    <a:pt x="212" y="42"/>
                  </a:lnTo>
                  <a:lnTo>
                    <a:pt x="222" y="41"/>
                  </a:lnTo>
                  <a:lnTo>
                    <a:pt x="232" y="40"/>
                  </a:lnTo>
                  <a:lnTo>
                    <a:pt x="236" y="40"/>
                  </a:lnTo>
                  <a:lnTo>
                    <a:pt x="240" y="40"/>
                  </a:lnTo>
                  <a:lnTo>
                    <a:pt x="246" y="40"/>
                  </a:lnTo>
                  <a:lnTo>
                    <a:pt x="247" y="40"/>
                  </a:lnTo>
                  <a:lnTo>
                    <a:pt x="249" y="40"/>
                  </a:lnTo>
                  <a:lnTo>
                    <a:pt x="250" y="39"/>
                  </a:lnTo>
                  <a:lnTo>
                    <a:pt x="251" y="37"/>
                  </a:lnTo>
                  <a:lnTo>
                    <a:pt x="253" y="36"/>
                  </a:lnTo>
                  <a:lnTo>
                    <a:pt x="254" y="35"/>
                  </a:lnTo>
                  <a:lnTo>
                    <a:pt x="256" y="30"/>
                  </a:lnTo>
                  <a:lnTo>
                    <a:pt x="260" y="26"/>
                  </a:lnTo>
                  <a:lnTo>
                    <a:pt x="262" y="22"/>
                  </a:lnTo>
                  <a:lnTo>
                    <a:pt x="264" y="18"/>
                  </a:lnTo>
                  <a:lnTo>
                    <a:pt x="267" y="12"/>
                  </a:lnTo>
                  <a:lnTo>
                    <a:pt x="269" y="10"/>
                  </a:lnTo>
                  <a:lnTo>
                    <a:pt x="270" y="8"/>
                  </a:lnTo>
                  <a:lnTo>
                    <a:pt x="272" y="6"/>
                  </a:lnTo>
                  <a:lnTo>
                    <a:pt x="274" y="5"/>
                  </a:lnTo>
                  <a:lnTo>
                    <a:pt x="276" y="4"/>
                  </a:lnTo>
                  <a:lnTo>
                    <a:pt x="277" y="4"/>
                  </a:lnTo>
                  <a:lnTo>
                    <a:pt x="279" y="3"/>
                  </a:lnTo>
                  <a:lnTo>
                    <a:pt x="287" y="1"/>
                  </a:lnTo>
                  <a:lnTo>
                    <a:pt x="291" y="0"/>
                  </a:lnTo>
                  <a:lnTo>
                    <a:pt x="294" y="0"/>
                  </a:lnTo>
                  <a:lnTo>
                    <a:pt x="299" y="0"/>
                  </a:lnTo>
                  <a:lnTo>
                    <a:pt x="301" y="0"/>
                  </a:lnTo>
                  <a:lnTo>
                    <a:pt x="303" y="0"/>
                  </a:lnTo>
                  <a:lnTo>
                    <a:pt x="306" y="0"/>
                  </a:lnTo>
                  <a:lnTo>
                    <a:pt x="309" y="1"/>
                  </a:lnTo>
                  <a:lnTo>
                    <a:pt x="311" y="2"/>
                  </a:lnTo>
                  <a:lnTo>
                    <a:pt x="314" y="4"/>
                  </a:lnTo>
                  <a:lnTo>
                    <a:pt x="316" y="5"/>
                  </a:lnTo>
                  <a:lnTo>
                    <a:pt x="319" y="6"/>
                  </a:lnTo>
                  <a:lnTo>
                    <a:pt x="321" y="7"/>
                  </a:lnTo>
                  <a:lnTo>
                    <a:pt x="322" y="10"/>
                  </a:lnTo>
                  <a:lnTo>
                    <a:pt x="324" y="12"/>
                  </a:lnTo>
                  <a:lnTo>
                    <a:pt x="328" y="17"/>
                  </a:lnTo>
                  <a:lnTo>
                    <a:pt x="329" y="19"/>
                  </a:lnTo>
                  <a:lnTo>
                    <a:pt x="331" y="20"/>
                  </a:lnTo>
                  <a:lnTo>
                    <a:pt x="333" y="22"/>
                  </a:lnTo>
                  <a:lnTo>
                    <a:pt x="335" y="22"/>
                  </a:lnTo>
                  <a:lnTo>
                    <a:pt x="341" y="25"/>
                  </a:lnTo>
                  <a:lnTo>
                    <a:pt x="346" y="27"/>
                  </a:lnTo>
                  <a:lnTo>
                    <a:pt x="349" y="29"/>
                  </a:lnTo>
                  <a:lnTo>
                    <a:pt x="351" y="30"/>
                  </a:lnTo>
                  <a:lnTo>
                    <a:pt x="353" y="32"/>
                  </a:lnTo>
                  <a:lnTo>
                    <a:pt x="356" y="35"/>
                  </a:lnTo>
                  <a:lnTo>
                    <a:pt x="357" y="37"/>
                  </a:lnTo>
                  <a:lnTo>
                    <a:pt x="358" y="37"/>
                  </a:lnTo>
                  <a:lnTo>
                    <a:pt x="359" y="40"/>
                  </a:lnTo>
                  <a:lnTo>
                    <a:pt x="361" y="45"/>
                  </a:lnTo>
                  <a:lnTo>
                    <a:pt x="361" y="46"/>
                  </a:lnTo>
                  <a:lnTo>
                    <a:pt x="362" y="47"/>
                  </a:lnTo>
                  <a:lnTo>
                    <a:pt x="364" y="47"/>
                  </a:lnTo>
                  <a:lnTo>
                    <a:pt x="364" y="48"/>
                  </a:lnTo>
                  <a:lnTo>
                    <a:pt x="366" y="49"/>
                  </a:lnTo>
                  <a:lnTo>
                    <a:pt x="380" y="51"/>
                  </a:lnTo>
                  <a:lnTo>
                    <a:pt x="382" y="51"/>
                  </a:lnTo>
                  <a:lnTo>
                    <a:pt x="384" y="50"/>
                  </a:lnTo>
                  <a:lnTo>
                    <a:pt x="391" y="49"/>
                  </a:lnTo>
                  <a:lnTo>
                    <a:pt x="391" y="48"/>
                  </a:lnTo>
                  <a:lnTo>
                    <a:pt x="393" y="48"/>
                  </a:lnTo>
                  <a:lnTo>
                    <a:pt x="395" y="47"/>
                  </a:lnTo>
                  <a:lnTo>
                    <a:pt x="404" y="40"/>
                  </a:lnTo>
                  <a:lnTo>
                    <a:pt x="406" y="39"/>
                  </a:lnTo>
                  <a:lnTo>
                    <a:pt x="409" y="37"/>
                  </a:lnTo>
                  <a:lnTo>
                    <a:pt x="412" y="36"/>
                  </a:lnTo>
                  <a:lnTo>
                    <a:pt x="415" y="35"/>
                  </a:lnTo>
                  <a:lnTo>
                    <a:pt x="418" y="35"/>
                  </a:lnTo>
                  <a:lnTo>
                    <a:pt x="421" y="35"/>
                  </a:lnTo>
                  <a:lnTo>
                    <a:pt x="426" y="35"/>
                  </a:lnTo>
                  <a:lnTo>
                    <a:pt x="427" y="35"/>
                  </a:lnTo>
                  <a:lnTo>
                    <a:pt x="428" y="35"/>
                  </a:lnTo>
                  <a:lnTo>
                    <a:pt x="429" y="35"/>
                  </a:lnTo>
                  <a:lnTo>
                    <a:pt x="429" y="34"/>
                  </a:lnTo>
                  <a:lnTo>
                    <a:pt x="429" y="33"/>
                  </a:lnTo>
                  <a:lnTo>
                    <a:pt x="429" y="32"/>
                  </a:lnTo>
                  <a:lnTo>
                    <a:pt x="429" y="29"/>
                  </a:lnTo>
                  <a:lnTo>
                    <a:pt x="429" y="22"/>
                  </a:lnTo>
                  <a:lnTo>
                    <a:pt x="429" y="20"/>
                  </a:lnTo>
                  <a:lnTo>
                    <a:pt x="430" y="20"/>
                  </a:lnTo>
                  <a:lnTo>
                    <a:pt x="431" y="18"/>
                  </a:lnTo>
                  <a:lnTo>
                    <a:pt x="431" y="17"/>
                  </a:lnTo>
                  <a:lnTo>
                    <a:pt x="433" y="17"/>
                  </a:lnTo>
                  <a:lnTo>
                    <a:pt x="434" y="16"/>
                  </a:lnTo>
                  <a:lnTo>
                    <a:pt x="435" y="16"/>
                  </a:lnTo>
                  <a:lnTo>
                    <a:pt x="436" y="17"/>
                  </a:lnTo>
                  <a:lnTo>
                    <a:pt x="439" y="17"/>
                  </a:lnTo>
                  <a:lnTo>
                    <a:pt x="441" y="19"/>
                  </a:lnTo>
                  <a:lnTo>
                    <a:pt x="446" y="22"/>
                  </a:lnTo>
                  <a:lnTo>
                    <a:pt x="449" y="24"/>
                  </a:lnTo>
                  <a:lnTo>
                    <a:pt x="456" y="27"/>
                  </a:lnTo>
                  <a:lnTo>
                    <a:pt x="459" y="27"/>
                  </a:lnTo>
                  <a:lnTo>
                    <a:pt x="461" y="29"/>
                  </a:lnTo>
                  <a:lnTo>
                    <a:pt x="463" y="30"/>
                  </a:lnTo>
                  <a:lnTo>
                    <a:pt x="466" y="33"/>
                  </a:lnTo>
                  <a:lnTo>
                    <a:pt x="473" y="37"/>
                  </a:lnTo>
                  <a:lnTo>
                    <a:pt x="480" y="44"/>
                  </a:lnTo>
                  <a:lnTo>
                    <a:pt x="484" y="47"/>
                  </a:lnTo>
                  <a:lnTo>
                    <a:pt x="484" y="47"/>
                  </a:lnTo>
                  <a:lnTo>
                    <a:pt x="485" y="48"/>
                  </a:lnTo>
                  <a:lnTo>
                    <a:pt x="485" y="49"/>
                  </a:lnTo>
                  <a:lnTo>
                    <a:pt x="485" y="50"/>
                  </a:lnTo>
                  <a:lnTo>
                    <a:pt x="484" y="53"/>
                  </a:lnTo>
                  <a:lnTo>
                    <a:pt x="483" y="55"/>
                  </a:lnTo>
                  <a:lnTo>
                    <a:pt x="482" y="59"/>
                  </a:lnTo>
                  <a:lnTo>
                    <a:pt x="478" y="65"/>
                  </a:lnTo>
                  <a:lnTo>
                    <a:pt x="476" y="70"/>
                  </a:lnTo>
                  <a:lnTo>
                    <a:pt x="473" y="74"/>
                  </a:lnTo>
                  <a:lnTo>
                    <a:pt x="471" y="76"/>
                  </a:lnTo>
                  <a:lnTo>
                    <a:pt x="471" y="78"/>
                  </a:lnTo>
                  <a:lnTo>
                    <a:pt x="470" y="80"/>
                  </a:lnTo>
                  <a:lnTo>
                    <a:pt x="470" y="82"/>
                  </a:lnTo>
                  <a:lnTo>
                    <a:pt x="469" y="85"/>
                  </a:lnTo>
                  <a:lnTo>
                    <a:pt x="470" y="86"/>
                  </a:lnTo>
                  <a:lnTo>
                    <a:pt x="470" y="88"/>
                  </a:lnTo>
                  <a:lnTo>
                    <a:pt x="471" y="95"/>
                  </a:lnTo>
                  <a:lnTo>
                    <a:pt x="472" y="97"/>
                  </a:lnTo>
                  <a:lnTo>
                    <a:pt x="472" y="102"/>
                  </a:lnTo>
                  <a:lnTo>
                    <a:pt x="471" y="109"/>
                  </a:lnTo>
                  <a:lnTo>
                    <a:pt x="472" y="113"/>
                  </a:lnTo>
                  <a:lnTo>
                    <a:pt x="473" y="116"/>
                  </a:lnTo>
                  <a:lnTo>
                    <a:pt x="473" y="117"/>
                  </a:lnTo>
                  <a:lnTo>
                    <a:pt x="474" y="120"/>
                  </a:lnTo>
                  <a:lnTo>
                    <a:pt x="476" y="123"/>
                  </a:lnTo>
                  <a:lnTo>
                    <a:pt x="478" y="125"/>
                  </a:lnTo>
                  <a:lnTo>
                    <a:pt x="482" y="131"/>
                  </a:lnTo>
                  <a:lnTo>
                    <a:pt x="483" y="133"/>
                  </a:lnTo>
                  <a:lnTo>
                    <a:pt x="485" y="136"/>
                  </a:lnTo>
                  <a:lnTo>
                    <a:pt x="486" y="138"/>
                  </a:lnTo>
                  <a:lnTo>
                    <a:pt x="486" y="140"/>
                  </a:lnTo>
                  <a:lnTo>
                    <a:pt x="486" y="142"/>
                  </a:lnTo>
                  <a:lnTo>
                    <a:pt x="485" y="145"/>
                  </a:lnTo>
                  <a:lnTo>
                    <a:pt x="484" y="149"/>
                  </a:lnTo>
                  <a:lnTo>
                    <a:pt x="483" y="151"/>
                  </a:lnTo>
                  <a:lnTo>
                    <a:pt x="483" y="154"/>
                  </a:lnTo>
                  <a:lnTo>
                    <a:pt x="483" y="161"/>
                  </a:lnTo>
                  <a:lnTo>
                    <a:pt x="483" y="165"/>
                  </a:lnTo>
                  <a:lnTo>
                    <a:pt x="483" y="167"/>
                  </a:lnTo>
                  <a:lnTo>
                    <a:pt x="481" y="173"/>
                  </a:lnTo>
                  <a:lnTo>
                    <a:pt x="481" y="177"/>
                  </a:lnTo>
                  <a:lnTo>
                    <a:pt x="480" y="179"/>
                  </a:lnTo>
                  <a:lnTo>
                    <a:pt x="479" y="184"/>
                  </a:lnTo>
                  <a:lnTo>
                    <a:pt x="479" y="192"/>
                  </a:lnTo>
                  <a:lnTo>
                    <a:pt x="479" y="196"/>
                  </a:lnTo>
                  <a:lnTo>
                    <a:pt x="478" y="200"/>
                  </a:lnTo>
                  <a:lnTo>
                    <a:pt x="478" y="202"/>
                  </a:lnTo>
                  <a:lnTo>
                    <a:pt x="476" y="205"/>
                  </a:lnTo>
                  <a:lnTo>
                    <a:pt x="475" y="207"/>
                  </a:lnTo>
                  <a:lnTo>
                    <a:pt x="474" y="209"/>
                  </a:lnTo>
                  <a:lnTo>
                    <a:pt x="473" y="210"/>
                  </a:lnTo>
                  <a:lnTo>
                    <a:pt x="471" y="212"/>
                  </a:lnTo>
                  <a:lnTo>
                    <a:pt x="469" y="213"/>
                  </a:lnTo>
                  <a:lnTo>
                    <a:pt x="462" y="217"/>
                  </a:lnTo>
                  <a:lnTo>
                    <a:pt x="461" y="218"/>
                  </a:lnTo>
                  <a:lnTo>
                    <a:pt x="461" y="219"/>
                  </a:lnTo>
                  <a:lnTo>
                    <a:pt x="461" y="220"/>
                  </a:lnTo>
                  <a:lnTo>
                    <a:pt x="461" y="222"/>
                  </a:lnTo>
                  <a:lnTo>
                    <a:pt x="461" y="224"/>
                  </a:lnTo>
                  <a:lnTo>
                    <a:pt x="466" y="235"/>
                  </a:lnTo>
                  <a:lnTo>
                    <a:pt x="467" y="239"/>
                  </a:lnTo>
                  <a:lnTo>
                    <a:pt x="470" y="247"/>
                  </a:lnTo>
                  <a:lnTo>
                    <a:pt x="471" y="252"/>
                  </a:lnTo>
                  <a:lnTo>
                    <a:pt x="471" y="257"/>
                  </a:lnTo>
                  <a:lnTo>
                    <a:pt x="471" y="261"/>
                  </a:lnTo>
                  <a:lnTo>
                    <a:pt x="471" y="266"/>
                  </a:lnTo>
                  <a:lnTo>
                    <a:pt x="471" y="270"/>
                  </a:lnTo>
                  <a:lnTo>
                    <a:pt x="470" y="272"/>
                  </a:lnTo>
                  <a:lnTo>
                    <a:pt x="469" y="275"/>
                  </a:lnTo>
                  <a:lnTo>
                    <a:pt x="467" y="278"/>
                  </a:lnTo>
                  <a:lnTo>
                    <a:pt x="465" y="279"/>
                  </a:lnTo>
                  <a:lnTo>
                    <a:pt x="464" y="280"/>
                  </a:lnTo>
                  <a:lnTo>
                    <a:pt x="463" y="281"/>
                  </a:lnTo>
                  <a:lnTo>
                    <a:pt x="458" y="282"/>
                  </a:lnTo>
                  <a:lnTo>
                    <a:pt x="455" y="284"/>
                  </a:lnTo>
                  <a:lnTo>
                    <a:pt x="453" y="285"/>
                  </a:lnTo>
                  <a:lnTo>
                    <a:pt x="451" y="286"/>
                  </a:lnTo>
                  <a:lnTo>
                    <a:pt x="450" y="287"/>
                  </a:lnTo>
                  <a:lnTo>
                    <a:pt x="449" y="288"/>
                  </a:lnTo>
                  <a:lnTo>
                    <a:pt x="447" y="290"/>
                  </a:lnTo>
                  <a:lnTo>
                    <a:pt x="446" y="293"/>
                  </a:lnTo>
                  <a:lnTo>
                    <a:pt x="445" y="297"/>
                  </a:lnTo>
                  <a:lnTo>
                    <a:pt x="444" y="302"/>
                  </a:lnTo>
                  <a:lnTo>
                    <a:pt x="444" y="304"/>
                  </a:lnTo>
                  <a:lnTo>
                    <a:pt x="443" y="307"/>
                  </a:lnTo>
                  <a:lnTo>
                    <a:pt x="441" y="309"/>
                  </a:lnTo>
                  <a:lnTo>
                    <a:pt x="438" y="314"/>
                  </a:lnTo>
                  <a:lnTo>
                    <a:pt x="432" y="321"/>
                  </a:lnTo>
                  <a:lnTo>
                    <a:pt x="429" y="325"/>
                  </a:lnTo>
                  <a:lnTo>
                    <a:pt x="426" y="328"/>
                  </a:lnTo>
                  <a:lnTo>
                    <a:pt x="424" y="330"/>
                  </a:lnTo>
                  <a:lnTo>
                    <a:pt x="421" y="331"/>
                  </a:lnTo>
                  <a:lnTo>
                    <a:pt x="421" y="332"/>
                  </a:lnTo>
                  <a:lnTo>
                    <a:pt x="420" y="332"/>
                  </a:lnTo>
                  <a:lnTo>
                    <a:pt x="419" y="332"/>
                  </a:lnTo>
                  <a:lnTo>
                    <a:pt x="419" y="330"/>
                  </a:lnTo>
                  <a:lnTo>
                    <a:pt x="417" y="330"/>
                  </a:lnTo>
                  <a:lnTo>
                    <a:pt x="417" y="331"/>
                  </a:lnTo>
                  <a:lnTo>
                    <a:pt x="414" y="330"/>
                  </a:lnTo>
                  <a:lnTo>
                    <a:pt x="412" y="329"/>
                  </a:lnTo>
                  <a:lnTo>
                    <a:pt x="411" y="329"/>
                  </a:lnTo>
                  <a:lnTo>
                    <a:pt x="411" y="328"/>
                  </a:lnTo>
                  <a:lnTo>
                    <a:pt x="411" y="327"/>
                  </a:lnTo>
                  <a:lnTo>
                    <a:pt x="411" y="327"/>
                  </a:lnTo>
                  <a:lnTo>
                    <a:pt x="410" y="327"/>
                  </a:lnTo>
                  <a:lnTo>
                    <a:pt x="409" y="327"/>
                  </a:lnTo>
                  <a:lnTo>
                    <a:pt x="409" y="327"/>
                  </a:lnTo>
                  <a:lnTo>
                    <a:pt x="408" y="327"/>
                  </a:lnTo>
                  <a:lnTo>
                    <a:pt x="406" y="329"/>
                  </a:lnTo>
                  <a:lnTo>
                    <a:pt x="405" y="330"/>
                  </a:lnTo>
                  <a:lnTo>
                    <a:pt x="403" y="334"/>
                  </a:lnTo>
                  <a:lnTo>
                    <a:pt x="400" y="340"/>
                  </a:lnTo>
                  <a:lnTo>
                    <a:pt x="396" y="345"/>
                  </a:lnTo>
                  <a:lnTo>
                    <a:pt x="394" y="349"/>
                  </a:lnTo>
                  <a:lnTo>
                    <a:pt x="393" y="351"/>
                  </a:lnTo>
                  <a:lnTo>
                    <a:pt x="391" y="352"/>
                  </a:lnTo>
                  <a:lnTo>
                    <a:pt x="390" y="352"/>
                  </a:lnTo>
                  <a:lnTo>
                    <a:pt x="388" y="354"/>
                  </a:lnTo>
                  <a:lnTo>
                    <a:pt x="386" y="354"/>
                  </a:lnTo>
                  <a:lnTo>
                    <a:pt x="379" y="356"/>
                  </a:lnTo>
                  <a:lnTo>
                    <a:pt x="376" y="357"/>
                  </a:lnTo>
                  <a:lnTo>
                    <a:pt x="372" y="359"/>
                  </a:lnTo>
                  <a:lnTo>
                    <a:pt x="369" y="361"/>
                  </a:lnTo>
                  <a:lnTo>
                    <a:pt x="366" y="362"/>
                  </a:lnTo>
                  <a:lnTo>
                    <a:pt x="365" y="363"/>
                  </a:lnTo>
                  <a:lnTo>
                    <a:pt x="364" y="364"/>
                  </a:lnTo>
                  <a:lnTo>
                    <a:pt x="364" y="365"/>
                  </a:lnTo>
                  <a:lnTo>
                    <a:pt x="363" y="367"/>
                  </a:lnTo>
                  <a:lnTo>
                    <a:pt x="362" y="368"/>
                  </a:lnTo>
                  <a:lnTo>
                    <a:pt x="362" y="369"/>
                  </a:lnTo>
                  <a:lnTo>
                    <a:pt x="362" y="372"/>
                  </a:lnTo>
                  <a:lnTo>
                    <a:pt x="362" y="377"/>
                  </a:lnTo>
                  <a:lnTo>
                    <a:pt x="364" y="391"/>
                  </a:lnTo>
                  <a:lnTo>
                    <a:pt x="364" y="401"/>
                  </a:lnTo>
                  <a:lnTo>
                    <a:pt x="365" y="405"/>
                  </a:lnTo>
                  <a:lnTo>
                    <a:pt x="366" y="411"/>
                  </a:lnTo>
                  <a:lnTo>
                    <a:pt x="366" y="415"/>
                  </a:lnTo>
                  <a:lnTo>
                    <a:pt x="367" y="419"/>
                  </a:lnTo>
                  <a:lnTo>
                    <a:pt x="369" y="423"/>
                  </a:lnTo>
                  <a:lnTo>
                    <a:pt x="371" y="428"/>
                  </a:lnTo>
                  <a:lnTo>
                    <a:pt x="372" y="433"/>
                  </a:lnTo>
                  <a:lnTo>
                    <a:pt x="375" y="438"/>
                  </a:lnTo>
                  <a:lnTo>
                    <a:pt x="376" y="441"/>
                  </a:lnTo>
                  <a:lnTo>
                    <a:pt x="381" y="447"/>
                  </a:lnTo>
                  <a:lnTo>
                    <a:pt x="382" y="451"/>
                  </a:lnTo>
                  <a:lnTo>
                    <a:pt x="383" y="452"/>
                  </a:lnTo>
                  <a:lnTo>
                    <a:pt x="383" y="454"/>
                  </a:lnTo>
                  <a:lnTo>
                    <a:pt x="383" y="455"/>
                  </a:lnTo>
                  <a:lnTo>
                    <a:pt x="382" y="457"/>
                  </a:lnTo>
                  <a:lnTo>
                    <a:pt x="382" y="457"/>
                  </a:lnTo>
                  <a:lnTo>
                    <a:pt x="381" y="458"/>
                  </a:lnTo>
                  <a:lnTo>
                    <a:pt x="381" y="458"/>
                  </a:lnTo>
                  <a:lnTo>
                    <a:pt x="380" y="459"/>
                  </a:lnTo>
                  <a:lnTo>
                    <a:pt x="379" y="459"/>
                  </a:lnTo>
                  <a:lnTo>
                    <a:pt x="377" y="459"/>
                  </a:lnTo>
                  <a:lnTo>
                    <a:pt x="374" y="459"/>
                  </a:lnTo>
                  <a:lnTo>
                    <a:pt x="371" y="457"/>
                  </a:lnTo>
                  <a:lnTo>
                    <a:pt x="363" y="455"/>
                  </a:lnTo>
                  <a:lnTo>
                    <a:pt x="353" y="451"/>
                  </a:lnTo>
                  <a:lnTo>
                    <a:pt x="349" y="450"/>
                  </a:lnTo>
                  <a:lnTo>
                    <a:pt x="346" y="449"/>
                  </a:lnTo>
                  <a:lnTo>
                    <a:pt x="344" y="449"/>
                  </a:lnTo>
                  <a:lnTo>
                    <a:pt x="341" y="449"/>
                  </a:lnTo>
                  <a:lnTo>
                    <a:pt x="339" y="449"/>
                  </a:lnTo>
                  <a:lnTo>
                    <a:pt x="337" y="449"/>
                  </a:lnTo>
                  <a:lnTo>
                    <a:pt x="336" y="450"/>
                  </a:lnTo>
                  <a:lnTo>
                    <a:pt x="334" y="451"/>
                  </a:lnTo>
                  <a:lnTo>
                    <a:pt x="333" y="452"/>
                  </a:lnTo>
                  <a:lnTo>
                    <a:pt x="331" y="453"/>
                  </a:lnTo>
                  <a:lnTo>
                    <a:pt x="331" y="454"/>
                  </a:lnTo>
                  <a:lnTo>
                    <a:pt x="329" y="456"/>
                  </a:lnTo>
                  <a:lnTo>
                    <a:pt x="329" y="457"/>
                  </a:lnTo>
                  <a:lnTo>
                    <a:pt x="328" y="460"/>
                  </a:lnTo>
                  <a:lnTo>
                    <a:pt x="328" y="462"/>
                  </a:lnTo>
                  <a:lnTo>
                    <a:pt x="327" y="464"/>
                  </a:lnTo>
                  <a:lnTo>
                    <a:pt x="327" y="467"/>
                  </a:lnTo>
                  <a:lnTo>
                    <a:pt x="327" y="470"/>
                  </a:lnTo>
                  <a:lnTo>
                    <a:pt x="327" y="473"/>
                  </a:lnTo>
                  <a:lnTo>
                    <a:pt x="328" y="480"/>
                  </a:lnTo>
                  <a:lnTo>
                    <a:pt x="329" y="487"/>
                  </a:lnTo>
                  <a:lnTo>
                    <a:pt x="330" y="492"/>
                  </a:lnTo>
                  <a:lnTo>
                    <a:pt x="332" y="501"/>
                  </a:lnTo>
                  <a:lnTo>
                    <a:pt x="333" y="504"/>
                  </a:lnTo>
                  <a:lnTo>
                    <a:pt x="334" y="506"/>
                  </a:lnTo>
                  <a:lnTo>
                    <a:pt x="334" y="509"/>
                  </a:lnTo>
                  <a:lnTo>
                    <a:pt x="334" y="510"/>
                  </a:lnTo>
                  <a:lnTo>
                    <a:pt x="333" y="512"/>
                  </a:lnTo>
                  <a:lnTo>
                    <a:pt x="332" y="514"/>
                  </a:lnTo>
                  <a:lnTo>
                    <a:pt x="332" y="516"/>
                  </a:lnTo>
                  <a:lnTo>
                    <a:pt x="331" y="517"/>
                  </a:lnTo>
                  <a:lnTo>
                    <a:pt x="330" y="519"/>
                  </a:lnTo>
                  <a:lnTo>
                    <a:pt x="325" y="526"/>
                  </a:lnTo>
                  <a:lnTo>
                    <a:pt x="321" y="532"/>
                  </a:lnTo>
                  <a:lnTo>
                    <a:pt x="314" y="542"/>
                  </a:lnTo>
                  <a:lnTo>
                    <a:pt x="311" y="545"/>
                  </a:lnTo>
                  <a:lnTo>
                    <a:pt x="310" y="548"/>
                  </a:lnTo>
                  <a:lnTo>
                    <a:pt x="309" y="551"/>
                  </a:lnTo>
                  <a:lnTo>
                    <a:pt x="306" y="555"/>
                  </a:lnTo>
                  <a:lnTo>
                    <a:pt x="306" y="556"/>
                  </a:lnTo>
                  <a:lnTo>
                    <a:pt x="306" y="559"/>
                  </a:lnTo>
                  <a:lnTo>
                    <a:pt x="306" y="560"/>
                  </a:lnTo>
                  <a:lnTo>
                    <a:pt x="306" y="561"/>
                  </a:lnTo>
                  <a:lnTo>
                    <a:pt x="305" y="561"/>
                  </a:lnTo>
                  <a:lnTo>
                    <a:pt x="304" y="561"/>
                  </a:lnTo>
                  <a:lnTo>
                    <a:pt x="301" y="561"/>
                  </a:lnTo>
                  <a:lnTo>
                    <a:pt x="298" y="560"/>
                  </a:lnTo>
                  <a:lnTo>
                    <a:pt x="288" y="559"/>
                  </a:lnTo>
                  <a:lnTo>
                    <a:pt x="283" y="558"/>
                  </a:lnTo>
                  <a:lnTo>
                    <a:pt x="279" y="557"/>
                  </a:lnTo>
                  <a:lnTo>
                    <a:pt x="274" y="556"/>
                  </a:lnTo>
                  <a:lnTo>
                    <a:pt x="263" y="556"/>
                  </a:lnTo>
                  <a:lnTo>
                    <a:pt x="259" y="556"/>
                  </a:lnTo>
                  <a:lnTo>
                    <a:pt x="254" y="555"/>
                  </a:lnTo>
                  <a:lnTo>
                    <a:pt x="249" y="554"/>
                  </a:lnTo>
                  <a:lnTo>
                    <a:pt x="244" y="552"/>
                  </a:lnTo>
                  <a:lnTo>
                    <a:pt x="241" y="551"/>
                  </a:lnTo>
                  <a:lnTo>
                    <a:pt x="239" y="550"/>
                  </a:lnTo>
                  <a:lnTo>
                    <a:pt x="237" y="549"/>
                  </a:lnTo>
                  <a:lnTo>
                    <a:pt x="236" y="546"/>
                  </a:lnTo>
                  <a:lnTo>
                    <a:pt x="232" y="541"/>
                  </a:lnTo>
                  <a:lnTo>
                    <a:pt x="232" y="539"/>
                  </a:lnTo>
                  <a:lnTo>
                    <a:pt x="230" y="538"/>
                  </a:lnTo>
                  <a:lnTo>
                    <a:pt x="229" y="536"/>
                  </a:lnTo>
                  <a:lnTo>
                    <a:pt x="227" y="536"/>
                  </a:lnTo>
                  <a:lnTo>
                    <a:pt x="217" y="533"/>
                  </a:lnTo>
                  <a:lnTo>
                    <a:pt x="215" y="532"/>
                  </a:lnTo>
                  <a:lnTo>
                    <a:pt x="212" y="531"/>
                  </a:lnTo>
                  <a:lnTo>
                    <a:pt x="210" y="529"/>
                  </a:lnTo>
                  <a:lnTo>
                    <a:pt x="209" y="527"/>
                  </a:lnTo>
                  <a:lnTo>
                    <a:pt x="207" y="525"/>
                  </a:lnTo>
                  <a:lnTo>
                    <a:pt x="207" y="523"/>
                  </a:lnTo>
                  <a:lnTo>
                    <a:pt x="205" y="517"/>
                  </a:lnTo>
                  <a:lnTo>
                    <a:pt x="204" y="515"/>
                  </a:lnTo>
                  <a:lnTo>
                    <a:pt x="204" y="513"/>
                  </a:lnTo>
                  <a:lnTo>
                    <a:pt x="203" y="512"/>
                  </a:lnTo>
                  <a:lnTo>
                    <a:pt x="202" y="511"/>
                  </a:lnTo>
                  <a:lnTo>
                    <a:pt x="201" y="511"/>
                  </a:lnTo>
                  <a:lnTo>
                    <a:pt x="199" y="510"/>
                  </a:lnTo>
                  <a:lnTo>
                    <a:pt x="197" y="510"/>
                  </a:lnTo>
                  <a:lnTo>
                    <a:pt x="191" y="509"/>
                  </a:lnTo>
                  <a:lnTo>
                    <a:pt x="188" y="509"/>
                  </a:lnTo>
                  <a:lnTo>
                    <a:pt x="180" y="507"/>
                  </a:lnTo>
                  <a:lnTo>
                    <a:pt x="169" y="505"/>
                  </a:lnTo>
                  <a:lnTo>
                    <a:pt x="165" y="504"/>
                  </a:lnTo>
                  <a:lnTo>
                    <a:pt x="163" y="503"/>
                  </a:lnTo>
                  <a:lnTo>
                    <a:pt x="162" y="502"/>
                  </a:lnTo>
                  <a:lnTo>
                    <a:pt x="159" y="501"/>
                  </a:lnTo>
                  <a:lnTo>
                    <a:pt x="158" y="500"/>
                  </a:lnTo>
                  <a:lnTo>
                    <a:pt x="157" y="499"/>
                  </a:lnTo>
                  <a:lnTo>
                    <a:pt x="156" y="497"/>
                  </a:lnTo>
                  <a:lnTo>
                    <a:pt x="152" y="492"/>
                  </a:lnTo>
                  <a:lnTo>
                    <a:pt x="150" y="489"/>
                  </a:lnTo>
                  <a:lnTo>
                    <a:pt x="148" y="487"/>
                  </a:lnTo>
                  <a:lnTo>
                    <a:pt x="143" y="483"/>
                  </a:lnTo>
                  <a:lnTo>
                    <a:pt x="138" y="479"/>
                  </a:lnTo>
                  <a:lnTo>
                    <a:pt x="136" y="477"/>
                  </a:lnTo>
                  <a:lnTo>
                    <a:pt x="134" y="474"/>
                  </a:lnTo>
                  <a:lnTo>
                    <a:pt x="132" y="471"/>
                  </a:lnTo>
                  <a:lnTo>
                    <a:pt x="130" y="467"/>
                  </a:lnTo>
                  <a:lnTo>
                    <a:pt x="129" y="463"/>
                  </a:lnTo>
                  <a:lnTo>
                    <a:pt x="127" y="455"/>
                  </a:lnTo>
                  <a:lnTo>
                    <a:pt x="125" y="452"/>
                  </a:lnTo>
                  <a:lnTo>
                    <a:pt x="124" y="447"/>
                  </a:lnTo>
                  <a:lnTo>
                    <a:pt x="121" y="443"/>
                  </a:lnTo>
                  <a:lnTo>
                    <a:pt x="119" y="439"/>
                  </a:lnTo>
                  <a:lnTo>
                    <a:pt x="114" y="432"/>
                  </a:lnTo>
                  <a:lnTo>
                    <a:pt x="112" y="430"/>
                  </a:lnTo>
                  <a:lnTo>
                    <a:pt x="107" y="426"/>
                  </a:lnTo>
                  <a:lnTo>
                    <a:pt x="105" y="424"/>
                  </a:lnTo>
                  <a:lnTo>
                    <a:pt x="104" y="422"/>
                  </a:lnTo>
                  <a:lnTo>
                    <a:pt x="102" y="420"/>
                  </a:lnTo>
                  <a:lnTo>
                    <a:pt x="101" y="417"/>
                  </a:lnTo>
                  <a:lnTo>
                    <a:pt x="100" y="416"/>
                  </a:lnTo>
                  <a:lnTo>
                    <a:pt x="99" y="414"/>
                  </a:lnTo>
                  <a:lnTo>
                    <a:pt x="99" y="412"/>
                  </a:lnTo>
                  <a:lnTo>
                    <a:pt x="99" y="410"/>
                  </a:lnTo>
                  <a:lnTo>
                    <a:pt x="99" y="407"/>
                  </a:lnTo>
                  <a:lnTo>
                    <a:pt x="98" y="404"/>
                  </a:lnTo>
                  <a:lnTo>
                    <a:pt x="97" y="402"/>
                  </a:lnTo>
                  <a:lnTo>
                    <a:pt x="97" y="399"/>
                  </a:lnTo>
                  <a:lnTo>
                    <a:pt x="94" y="392"/>
                  </a:lnTo>
                  <a:lnTo>
                    <a:pt x="92" y="384"/>
                  </a:lnTo>
                  <a:lnTo>
                    <a:pt x="89" y="379"/>
                  </a:lnTo>
                  <a:lnTo>
                    <a:pt x="87" y="374"/>
                  </a:lnTo>
                  <a:lnTo>
                    <a:pt x="79" y="361"/>
                  </a:lnTo>
                  <a:lnTo>
                    <a:pt x="77" y="357"/>
                  </a:lnTo>
                  <a:lnTo>
                    <a:pt x="75" y="353"/>
                  </a:lnTo>
                  <a:lnTo>
                    <a:pt x="72" y="349"/>
                  </a:lnTo>
                  <a:lnTo>
                    <a:pt x="69" y="345"/>
                  </a:lnTo>
                  <a:lnTo>
                    <a:pt x="64" y="339"/>
                  </a:lnTo>
                  <a:lnTo>
                    <a:pt x="57" y="332"/>
                  </a:lnTo>
                  <a:lnTo>
                    <a:pt x="55" y="330"/>
                  </a:lnTo>
                  <a:lnTo>
                    <a:pt x="54" y="328"/>
                  </a:lnTo>
                  <a:lnTo>
                    <a:pt x="53" y="326"/>
                  </a:lnTo>
                  <a:lnTo>
                    <a:pt x="52" y="324"/>
                  </a:lnTo>
                  <a:lnTo>
                    <a:pt x="51" y="322"/>
                  </a:lnTo>
                  <a:lnTo>
                    <a:pt x="51" y="320"/>
                  </a:lnTo>
                  <a:lnTo>
                    <a:pt x="50" y="317"/>
                  </a:lnTo>
                  <a:lnTo>
                    <a:pt x="50" y="313"/>
                  </a:lnTo>
                  <a:lnTo>
                    <a:pt x="52" y="306"/>
                  </a:lnTo>
                  <a:lnTo>
                    <a:pt x="53" y="295"/>
                  </a:lnTo>
                  <a:lnTo>
                    <a:pt x="54" y="292"/>
                  </a:lnTo>
                  <a:lnTo>
                    <a:pt x="55" y="288"/>
                  </a:lnTo>
                  <a:lnTo>
                    <a:pt x="58" y="280"/>
                  </a:lnTo>
                  <a:lnTo>
                    <a:pt x="59" y="277"/>
                  </a:lnTo>
                  <a:lnTo>
                    <a:pt x="60" y="274"/>
                  </a:lnTo>
                  <a:lnTo>
                    <a:pt x="61" y="269"/>
                  </a:lnTo>
                  <a:lnTo>
                    <a:pt x="61" y="267"/>
                  </a:lnTo>
                  <a:lnTo>
                    <a:pt x="62" y="264"/>
                  </a:lnTo>
                  <a:lnTo>
                    <a:pt x="65" y="260"/>
                  </a:lnTo>
                  <a:lnTo>
                    <a:pt x="66" y="259"/>
                  </a:lnTo>
                  <a:lnTo>
                    <a:pt x="66" y="258"/>
                  </a:lnTo>
                  <a:lnTo>
                    <a:pt x="67" y="257"/>
                  </a:lnTo>
                  <a:lnTo>
                    <a:pt x="67" y="255"/>
                  </a:lnTo>
                  <a:lnTo>
                    <a:pt x="67" y="253"/>
                  </a:lnTo>
                  <a:lnTo>
                    <a:pt x="66" y="249"/>
                  </a:lnTo>
                  <a:lnTo>
                    <a:pt x="66" y="247"/>
                  </a:lnTo>
                  <a:lnTo>
                    <a:pt x="67" y="245"/>
                  </a:lnTo>
                  <a:lnTo>
                    <a:pt x="68" y="240"/>
                  </a:lnTo>
                  <a:lnTo>
                    <a:pt x="69" y="239"/>
                  </a:lnTo>
                  <a:lnTo>
                    <a:pt x="69" y="237"/>
                  </a:lnTo>
                  <a:lnTo>
                    <a:pt x="68" y="236"/>
                  </a:lnTo>
                  <a:lnTo>
                    <a:pt x="68" y="235"/>
                  </a:lnTo>
                  <a:lnTo>
                    <a:pt x="67" y="232"/>
                  </a:lnTo>
                  <a:lnTo>
                    <a:pt x="65" y="230"/>
                  </a:lnTo>
                  <a:lnTo>
                    <a:pt x="64" y="230"/>
                  </a:lnTo>
                  <a:lnTo>
                    <a:pt x="63" y="228"/>
                  </a:lnTo>
                  <a:lnTo>
                    <a:pt x="59" y="225"/>
                  </a:lnTo>
                  <a:lnTo>
                    <a:pt x="57" y="223"/>
                  </a:lnTo>
                  <a:lnTo>
                    <a:pt x="55" y="222"/>
                  </a:lnTo>
                  <a:lnTo>
                    <a:pt x="54" y="220"/>
                  </a:lnTo>
                  <a:lnTo>
                    <a:pt x="54" y="219"/>
                  </a:lnTo>
                  <a:lnTo>
                    <a:pt x="54" y="217"/>
                  </a:lnTo>
                  <a:lnTo>
                    <a:pt x="55" y="216"/>
                  </a:lnTo>
                  <a:lnTo>
                    <a:pt x="57" y="214"/>
                  </a:lnTo>
                  <a:lnTo>
                    <a:pt x="57" y="212"/>
                  </a:lnTo>
                  <a:lnTo>
                    <a:pt x="57" y="210"/>
                  </a:lnTo>
                  <a:lnTo>
                    <a:pt x="57" y="208"/>
                  </a:lnTo>
                  <a:lnTo>
                    <a:pt x="56" y="206"/>
                  </a:lnTo>
                  <a:lnTo>
                    <a:pt x="53" y="199"/>
                  </a:lnTo>
                  <a:lnTo>
                    <a:pt x="52" y="195"/>
                  </a:lnTo>
                  <a:lnTo>
                    <a:pt x="51" y="192"/>
                  </a:lnTo>
                  <a:lnTo>
                    <a:pt x="50" y="187"/>
                  </a:lnTo>
                  <a:lnTo>
                    <a:pt x="49" y="185"/>
                  </a:lnTo>
                  <a:lnTo>
                    <a:pt x="48" y="182"/>
                  </a:lnTo>
                  <a:lnTo>
                    <a:pt x="45" y="177"/>
                  </a:lnTo>
                  <a:lnTo>
                    <a:pt x="44" y="175"/>
                  </a:lnTo>
                  <a:lnTo>
                    <a:pt x="43" y="172"/>
                  </a:lnTo>
                  <a:lnTo>
                    <a:pt x="43" y="172"/>
                  </a:lnTo>
                  <a:lnTo>
                    <a:pt x="42" y="170"/>
                  </a:lnTo>
                  <a:lnTo>
                    <a:pt x="42" y="169"/>
                  </a:lnTo>
                  <a:lnTo>
                    <a:pt x="43" y="167"/>
                  </a:lnTo>
                  <a:lnTo>
                    <a:pt x="43" y="167"/>
                  </a:lnTo>
                  <a:lnTo>
                    <a:pt x="44" y="164"/>
                  </a:lnTo>
                  <a:lnTo>
                    <a:pt x="46" y="162"/>
                  </a:lnTo>
                  <a:lnTo>
                    <a:pt x="48" y="160"/>
                  </a:lnTo>
                  <a:lnTo>
                    <a:pt x="49" y="158"/>
                  </a:lnTo>
                  <a:lnTo>
                    <a:pt x="51" y="157"/>
                  </a:lnTo>
                  <a:lnTo>
                    <a:pt x="53" y="157"/>
                  </a:lnTo>
                  <a:lnTo>
                    <a:pt x="57" y="155"/>
                  </a:lnTo>
                  <a:lnTo>
                    <a:pt x="59" y="154"/>
                  </a:lnTo>
                  <a:lnTo>
                    <a:pt x="61" y="152"/>
                  </a:lnTo>
                  <a:lnTo>
                    <a:pt x="63" y="150"/>
                  </a:lnTo>
                  <a:lnTo>
                    <a:pt x="64" y="148"/>
                  </a:lnTo>
                  <a:lnTo>
                    <a:pt x="66" y="145"/>
                  </a:lnTo>
                  <a:lnTo>
                    <a:pt x="67" y="142"/>
                  </a:lnTo>
                  <a:lnTo>
                    <a:pt x="69" y="140"/>
                  </a:lnTo>
                  <a:lnTo>
                    <a:pt x="69" y="138"/>
                  </a:lnTo>
                  <a:lnTo>
                    <a:pt x="69" y="136"/>
                  </a:lnTo>
                  <a:lnTo>
                    <a:pt x="69" y="135"/>
                  </a:lnTo>
                  <a:lnTo>
                    <a:pt x="69" y="134"/>
                  </a:lnTo>
                  <a:lnTo>
                    <a:pt x="69" y="132"/>
                  </a:lnTo>
                  <a:lnTo>
                    <a:pt x="68" y="132"/>
                  </a:lnTo>
                  <a:lnTo>
                    <a:pt x="67" y="131"/>
                  </a:lnTo>
                  <a:lnTo>
                    <a:pt x="67" y="131"/>
                  </a:lnTo>
                  <a:lnTo>
                    <a:pt x="66" y="130"/>
                  </a:lnTo>
                  <a:lnTo>
                    <a:pt x="62" y="130"/>
                  </a:lnTo>
                  <a:lnTo>
                    <a:pt x="60" y="129"/>
                  </a:lnTo>
                  <a:lnTo>
                    <a:pt x="59" y="128"/>
                  </a:lnTo>
                  <a:lnTo>
                    <a:pt x="57" y="127"/>
                  </a:lnTo>
                  <a:lnTo>
                    <a:pt x="53" y="122"/>
                  </a:lnTo>
                  <a:lnTo>
                    <a:pt x="53" y="121"/>
                  </a:lnTo>
                  <a:lnTo>
                    <a:pt x="52" y="120"/>
                  </a:lnTo>
                  <a:lnTo>
                    <a:pt x="52" y="118"/>
                  </a:lnTo>
                  <a:lnTo>
                    <a:pt x="52" y="117"/>
                  </a:lnTo>
                  <a:lnTo>
                    <a:pt x="52" y="116"/>
                  </a:lnTo>
                  <a:lnTo>
                    <a:pt x="52" y="115"/>
                  </a:lnTo>
                  <a:lnTo>
                    <a:pt x="54" y="114"/>
                  </a:lnTo>
                  <a:lnTo>
                    <a:pt x="54" y="113"/>
                  </a:lnTo>
                  <a:lnTo>
                    <a:pt x="54" y="112"/>
                  </a:lnTo>
                  <a:lnTo>
                    <a:pt x="54" y="112"/>
                  </a:lnTo>
                  <a:lnTo>
                    <a:pt x="53" y="111"/>
                  </a:lnTo>
                  <a:lnTo>
                    <a:pt x="52" y="110"/>
                  </a:lnTo>
                  <a:lnTo>
                    <a:pt x="50" y="110"/>
                  </a:lnTo>
                  <a:lnTo>
                    <a:pt x="49" y="109"/>
                  </a:lnTo>
                  <a:lnTo>
                    <a:pt x="46" y="108"/>
                  </a:lnTo>
                  <a:lnTo>
                    <a:pt x="44" y="108"/>
                  </a:lnTo>
                  <a:lnTo>
                    <a:pt x="43" y="107"/>
                  </a:lnTo>
                  <a:lnTo>
                    <a:pt x="41" y="106"/>
                  </a:lnTo>
                  <a:lnTo>
                    <a:pt x="39" y="105"/>
                  </a:lnTo>
                  <a:lnTo>
                    <a:pt x="37" y="102"/>
                  </a:lnTo>
                  <a:lnTo>
                    <a:pt x="34" y="97"/>
                  </a:lnTo>
                  <a:lnTo>
                    <a:pt x="33" y="97"/>
                  </a:lnTo>
                  <a:lnTo>
                    <a:pt x="32" y="96"/>
                  </a:lnTo>
                  <a:lnTo>
                    <a:pt x="30" y="95"/>
                  </a:lnTo>
                  <a:lnTo>
                    <a:pt x="27" y="92"/>
                  </a:lnTo>
                  <a:lnTo>
                    <a:pt x="25" y="91"/>
                  </a:lnTo>
                  <a:lnTo>
                    <a:pt x="22" y="90"/>
                  </a:lnTo>
                  <a:lnTo>
                    <a:pt x="19" y="89"/>
                  </a:lnTo>
                  <a:lnTo>
                    <a:pt x="17" y="87"/>
                  </a:lnTo>
                  <a:lnTo>
                    <a:pt x="14" y="87"/>
                  </a:lnTo>
                  <a:lnTo>
                    <a:pt x="5" y="86"/>
                  </a:lnTo>
                  <a:lnTo>
                    <a:pt x="3" y="85"/>
                  </a:lnTo>
                  <a:lnTo>
                    <a:pt x="2" y="85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2" y="82"/>
                  </a:lnTo>
                  <a:lnTo>
                    <a:pt x="5" y="77"/>
                  </a:lnTo>
                  <a:lnTo>
                    <a:pt x="6" y="75"/>
                  </a:lnTo>
                  <a:lnTo>
                    <a:pt x="7" y="73"/>
                  </a:lnTo>
                  <a:lnTo>
                    <a:pt x="9" y="72"/>
                  </a:lnTo>
                  <a:lnTo>
                    <a:pt x="10" y="70"/>
                  </a:lnTo>
                  <a:lnTo>
                    <a:pt x="12" y="70"/>
                  </a:lnTo>
                  <a:lnTo>
                    <a:pt x="15" y="68"/>
                  </a:lnTo>
                  <a:lnTo>
                    <a:pt x="17" y="67"/>
                  </a:lnTo>
                  <a:lnTo>
                    <a:pt x="19" y="67"/>
                  </a:lnTo>
                  <a:lnTo>
                    <a:pt x="22" y="67"/>
                  </a:lnTo>
                  <a:lnTo>
                    <a:pt x="29" y="67"/>
                  </a:lnTo>
                  <a:lnTo>
                    <a:pt x="32" y="67"/>
                  </a:lnTo>
                  <a:lnTo>
                    <a:pt x="34" y="66"/>
                  </a:lnTo>
                  <a:lnTo>
                    <a:pt x="37" y="65"/>
                  </a:lnTo>
                  <a:lnTo>
                    <a:pt x="39" y="65"/>
                  </a:lnTo>
                  <a:lnTo>
                    <a:pt x="42" y="63"/>
                  </a:lnTo>
                  <a:lnTo>
                    <a:pt x="44" y="61"/>
                  </a:lnTo>
                  <a:lnTo>
                    <a:pt x="48" y="57"/>
                  </a:lnTo>
                  <a:lnTo>
                    <a:pt x="49" y="56"/>
                  </a:lnTo>
                  <a:lnTo>
                    <a:pt x="51" y="55"/>
                  </a:lnTo>
                  <a:lnTo>
                    <a:pt x="52" y="55"/>
                  </a:lnTo>
                  <a:lnTo>
                    <a:pt x="53" y="55"/>
                  </a:lnTo>
                  <a:lnTo>
                    <a:pt x="55" y="55"/>
                  </a:lnTo>
                  <a:lnTo>
                    <a:pt x="57" y="55"/>
                  </a:lnTo>
                  <a:lnTo>
                    <a:pt x="59" y="55"/>
                  </a:lnTo>
                  <a:lnTo>
                    <a:pt x="59" y="54"/>
                  </a:lnTo>
                  <a:lnTo>
                    <a:pt x="61" y="53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3" y="50"/>
                  </a:lnTo>
                  <a:lnTo>
                    <a:pt x="64" y="47"/>
                  </a:lnTo>
                  <a:lnTo>
                    <a:pt x="67" y="43"/>
                  </a:lnTo>
                  <a:lnTo>
                    <a:pt x="69" y="41"/>
                  </a:lnTo>
                  <a:lnTo>
                    <a:pt x="70" y="37"/>
                  </a:lnTo>
                  <a:lnTo>
                    <a:pt x="72" y="32"/>
                  </a:lnTo>
                  <a:lnTo>
                    <a:pt x="73" y="30"/>
                  </a:lnTo>
                  <a:lnTo>
                    <a:pt x="74" y="25"/>
                  </a:lnTo>
                  <a:lnTo>
                    <a:pt x="74" y="23"/>
                  </a:lnTo>
                  <a:lnTo>
                    <a:pt x="76" y="21"/>
                  </a:lnTo>
                  <a:lnTo>
                    <a:pt x="77" y="20"/>
                  </a:lnTo>
                  <a:lnTo>
                    <a:pt x="79" y="18"/>
                  </a:lnTo>
                  <a:lnTo>
                    <a:pt x="82" y="17"/>
                  </a:lnTo>
                  <a:lnTo>
                    <a:pt x="96" y="10"/>
                  </a:lnTo>
                  <a:lnTo>
                    <a:pt x="102" y="7"/>
                  </a:lnTo>
                  <a:lnTo>
                    <a:pt x="105" y="5"/>
                  </a:lnTo>
                  <a:lnTo>
                    <a:pt x="108" y="5"/>
                  </a:lnTo>
                  <a:lnTo>
                    <a:pt x="119" y="1"/>
                  </a:lnTo>
                  <a:lnTo>
                    <a:pt x="120" y="1"/>
                  </a:lnTo>
                  <a:close/>
                </a:path>
              </a:pathLst>
            </a:custGeom>
            <a:solidFill>
              <a:srgbClr val="E6AF00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 101">
              <a:extLst>
                <a:ext uri="{FF2B5EF4-FFF2-40B4-BE49-F238E27FC236}">
                  <a16:creationId xmlns:a16="http://schemas.microsoft.com/office/drawing/2014/main" id="{F2578216-DE67-8F39-9900-EC294D5EA1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186" y="5395750"/>
              <a:ext cx="1076325" cy="930275"/>
            </a:xfrm>
            <a:custGeom>
              <a:avLst/>
              <a:gdLst>
                <a:gd name="T0" fmla="*/ 141 w 678"/>
                <a:gd name="T1" fmla="*/ 7 h 586"/>
                <a:gd name="T2" fmla="*/ 179 w 678"/>
                <a:gd name="T3" fmla="*/ 19 h 586"/>
                <a:gd name="T4" fmla="*/ 197 w 678"/>
                <a:gd name="T5" fmla="*/ 39 h 586"/>
                <a:gd name="T6" fmla="*/ 244 w 678"/>
                <a:gd name="T7" fmla="*/ 42 h 586"/>
                <a:gd name="T8" fmla="*/ 296 w 678"/>
                <a:gd name="T9" fmla="*/ 62 h 586"/>
                <a:gd name="T10" fmla="*/ 324 w 678"/>
                <a:gd name="T11" fmla="*/ 74 h 586"/>
                <a:gd name="T12" fmla="*/ 364 w 678"/>
                <a:gd name="T13" fmla="*/ 65 h 586"/>
                <a:gd name="T14" fmla="*/ 394 w 678"/>
                <a:gd name="T15" fmla="*/ 40 h 586"/>
                <a:gd name="T16" fmla="*/ 410 w 678"/>
                <a:gd name="T17" fmla="*/ 47 h 586"/>
                <a:gd name="T18" fmla="*/ 434 w 678"/>
                <a:gd name="T19" fmla="*/ 51 h 586"/>
                <a:gd name="T20" fmla="*/ 447 w 678"/>
                <a:gd name="T21" fmla="*/ 68 h 586"/>
                <a:gd name="T22" fmla="*/ 470 w 678"/>
                <a:gd name="T23" fmla="*/ 95 h 586"/>
                <a:gd name="T24" fmla="*/ 510 w 678"/>
                <a:gd name="T25" fmla="*/ 107 h 586"/>
                <a:gd name="T26" fmla="*/ 601 w 678"/>
                <a:gd name="T27" fmla="*/ 105 h 586"/>
                <a:gd name="T28" fmla="*/ 629 w 678"/>
                <a:gd name="T29" fmla="*/ 94 h 586"/>
                <a:gd name="T30" fmla="*/ 644 w 678"/>
                <a:gd name="T31" fmla="*/ 75 h 586"/>
                <a:gd name="T32" fmla="*/ 652 w 678"/>
                <a:gd name="T33" fmla="*/ 92 h 586"/>
                <a:gd name="T34" fmla="*/ 652 w 678"/>
                <a:gd name="T35" fmla="*/ 145 h 586"/>
                <a:gd name="T36" fmla="*/ 677 w 678"/>
                <a:gd name="T37" fmla="*/ 182 h 586"/>
                <a:gd name="T38" fmla="*/ 668 w 678"/>
                <a:gd name="T39" fmla="*/ 201 h 586"/>
                <a:gd name="T40" fmla="*/ 639 w 678"/>
                <a:gd name="T41" fmla="*/ 226 h 586"/>
                <a:gd name="T42" fmla="*/ 606 w 678"/>
                <a:gd name="T43" fmla="*/ 244 h 586"/>
                <a:gd name="T44" fmla="*/ 591 w 678"/>
                <a:gd name="T45" fmla="*/ 274 h 586"/>
                <a:gd name="T46" fmla="*/ 584 w 678"/>
                <a:gd name="T47" fmla="*/ 312 h 586"/>
                <a:gd name="T48" fmla="*/ 574 w 678"/>
                <a:gd name="T49" fmla="*/ 336 h 586"/>
                <a:gd name="T50" fmla="*/ 585 w 678"/>
                <a:gd name="T51" fmla="*/ 365 h 586"/>
                <a:gd name="T52" fmla="*/ 584 w 678"/>
                <a:gd name="T53" fmla="*/ 379 h 586"/>
                <a:gd name="T54" fmla="*/ 570 w 678"/>
                <a:gd name="T55" fmla="*/ 385 h 586"/>
                <a:gd name="T56" fmla="*/ 527 w 678"/>
                <a:gd name="T57" fmla="*/ 367 h 586"/>
                <a:gd name="T58" fmla="*/ 474 w 678"/>
                <a:gd name="T59" fmla="*/ 367 h 586"/>
                <a:gd name="T60" fmla="*/ 411 w 678"/>
                <a:gd name="T61" fmla="*/ 379 h 586"/>
                <a:gd name="T62" fmla="*/ 379 w 678"/>
                <a:gd name="T63" fmla="*/ 379 h 586"/>
                <a:gd name="T64" fmla="*/ 376 w 678"/>
                <a:gd name="T65" fmla="*/ 409 h 586"/>
                <a:gd name="T66" fmla="*/ 384 w 678"/>
                <a:gd name="T67" fmla="*/ 464 h 586"/>
                <a:gd name="T68" fmla="*/ 393 w 678"/>
                <a:gd name="T69" fmla="*/ 515 h 586"/>
                <a:gd name="T70" fmla="*/ 375 w 678"/>
                <a:gd name="T71" fmla="*/ 559 h 586"/>
                <a:gd name="T72" fmla="*/ 347 w 678"/>
                <a:gd name="T73" fmla="*/ 573 h 586"/>
                <a:gd name="T74" fmla="*/ 326 w 678"/>
                <a:gd name="T75" fmla="*/ 576 h 586"/>
                <a:gd name="T76" fmla="*/ 281 w 678"/>
                <a:gd name="T77" fmla="*/ 551 h 586"/>
                <a:gd name="T78" fmla="*/ 243 w 678"/>
                <a:gd name="T79" fmla="*/ 531 h 586"/>
                <a:gd name="T80" fmla="*/ 226 w 678"/>
                <a:gd name="T81" fmla="*/ 477 h 586"/>
                <a:gd name="T82" fmla="*/ 203 w 678"/>
                <a:gd name="T83" fmla="*/ 454 h 586"/>
                <a:gd name="T84" fmla="*/ 181 w 678"/>
                <a:gd name="T85" fmla="*/ 402 h 586"/>
                <a:gd name="T86" fmla="*/ 148 w 678"/>
                <a:gd name="T87" fmla="*/ 394 h 586"/>
                <a:gd name="T88" fmla="*/ 115 w 678"/>
                <a:gd name="T89" fmla="*/ 384 h 586"/>
                <a:gd name="T90" fmla="*/ 75 w 678"/>
                <a:gd name="T91" fmla="*/ 308 h 586"/>
                <a:gd name="T92" fmla="*/ 57 w 678"/>
                <a:gd name="T93" fmla="*/ 301 h 586"/>
                <a:gd name="T94" fmla="*/ 34 w 678"/>
                <a:gd name="T95" fmla="*/ 275 h 586"/>
                <a:gd name="T96" fmla="*/ 8 w 678"/>
                <a:gd name="T97" fmla="*/ 270 h 586"/>
                <a:gd name="T98" fmla="*/ 0 w 678"/>
                <a:gd name="T99" fmla="*/ 232 h 586"/>
                <a:gd name="T100" fmla="*/ 13 w 678"/>
                <a:gd name="T101" fmla="*/ 184 h 586"/>
                <a:gd name="T102" fmla="*/ 40 w 678"/>
                <a:gd name="T103" fmla="*/ 159 h 586"/>
                <a:gd name="T104" fmla="*/ 56 w 678"/>
                <a:gd name="T105" fmla="*/ 140 h 586"/>
                <a:gd name="T106" fmla="*/ 47 w 678"/>
                <a:gd name="T107" fmla="*/ 91 h 586"/>
                <a:gd name="T108" fmla="*/ 52 w 678"/>
                <a:gd name="T109" fmla="*/ 40 h 586"/>
                <a:gd name="T110" fmla="*/ 74 w 678"/>
                <a:gd name="T111" fmla="*/ 27 h 586"/>
                <a:gd name="T112" fmla="*/ 99 w 678"/>
                <a:gd name="T113" fmla="*/ 22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78" h="586">
                  <a:moveTo>
                    <a:pt x="132" y="0"/>
                  </a:moveTo>
                  <a:lnTo>
                    <a:pt x="135" y="2"/>
                  </a:lnTo>
                  <a:lnTo>
                    <a:pt x="137" y="1"/>
                  </a:lnTo>
                  <a:lnTo>
                    <a:pt x="137" y="1"/>
                  </a:lnTo>
                  <a:lnTo>
                    <a:pt x="138" y="2"/>
                  </a:lnTo>
                  <a:lnTo>
                    <a:pt x="139" y="2"/>
                  </a:lnTo>
                  <a:lnTo>
                    <a:pt x="140" y="5"/>
                  </a:lnTo>
                  <a:lnTo>
                    <a:pt x="140" y="6"/>
                  </a:lnTo>
                  <a:lnTo>
                    <a:pt x="140" y="6"/>
                  </a:lnTo>
                  <a:lnTo>
                    <a:pt x="141" y="7"/>
                  </a:lnTo>
                  <a:lnTo>
                    <a:pt x="143" y="8"/>
                  </a:lnTo>
                  <a:lnTo>
                    <a:pt x="145" y="9"/>
                  </a:lnTo>
                  <a:lnTo>
                    <a:pt x="147" y="10"/>
                  </a:lnTo>
                  <a:lnTo>
                    <a:pt x="150" y="10"/>
                  </a:lnTo>
                  <a:lnTo>
                    <a:pt x="161" y="12"/>
                  </a:lnTo>
                  <a:lnTo>
                    <a:pt x="167" y="14"/>
                  </a:lnTo>
                  <a:lnTo>
                    <a:pt x="171" y="15"/>
                  </a:lnTo>
                  <a:lnTo>
                    <a:pt x="174" y="16"/>
                  </a:lnTo>
                  <a:lnTo>
                    <a:pt x="177" y="17"/>
                  </a:lnTo>
                  <a:lnTo>
                    <a:pt x="179" y="19"/>
                  </a:lnTo>
                  <a:lnTo>
                    <a:pt x="182" y="20"/>
                  </a:lnTo>
                  <a:lnTo>
                    <a:pt x="184" y="22"/>
                  </a:lnTo>
                  <a:lnTo>
                    <a:pt x="185" y="23"/>
                  </a:lnTo>
                  <a:lnTo>
                    <a:pt x="187" y="25"/>
                  </a:lnTo>
                  <a:lnTo>
                    <a:pt x="188" y="26"/>
                  </a:lnTo>
                  <a:lnTo>
                    <a:pt x="189" y="28"/>
                  </a:lnTo>
                  <a:lnTo>
                    <a:pt x="192" y="35"/>
                  </a:lnTo>
                  <a:lnTo>
                    <a:pt x="194" y="36"/>
                  </a:lnTo>
                  <a:lnTo>
                    <a:pt x="195" y="37"/>
                  </a:lnTo>
                  <a:lnTo>
                    <a:pt x="197" y="39"/>
                  </a:lnTo>
                  <a:lnTo>
                    <a:pt x="199" y="40"/>
                  </a:lnTo>
                  <a:lnTo>
                    <a:pt x="201" y="41"/>
                  </a:lnTo>
                  <a:lnTo>
                    <a:pt x="204" y="42"/>
                  </a:lnTo>
                  <a:lnTo>
                    <a:pt x="206" y="42"/>
                  </a:lnTo>
                  <a:lnTo>
                    <a:pt x="208" y="43"/>
                  </a:lnTo>
                  <a:lnTo>
                    <a:pt x="212" y="43"/>
                  </a:lnTo>
                  <a:lnTo>
                    <a:pt x="215" y="43"/>
                  </a:lnTo>
                  <a:lnTo>
                    <a:pt x="225" y="42"/>
                  </a:lnTo>
                  <a:lnTo>
                    <a:pt x="231" y="42"/>
                  </a:lnTo>
                  <a:lnTo>
                    <a:pt x="244" y="42"/>
                  </a:lnTo>
                  <a:lnTo>
                    <a:pt x="256" y="43"/>
                  </a:lnTo>
                  <a:lnTo>
                    <a:pt x="281" y="44"/>
                  </a:lnTo>
                  <a:lnTo>
                    <a:pt x="283" y="45"/>
                  </a:lnTo>
                  <a:lnTo>
                    <a:pt x="284" y="45"/>
                  </a:lnTo>
                  <a:lnTo>
                    <a:pt x="287" y="46"/>
                  </a:lnTo>
                  <a:lnTo>
                    <a:pt x="288" y="47"/>
                  </a:lnTo>
                  <a:lnTo>
                    <a:pt x="290" y="50"/>
                  </a:lnTo>
                  <a:lnTo>
                    <a:pt x="292" y="53"/>
                  </a:lnTo>
                  <a:lnTo>
                    <a:pt x="294" y="57"/>
                  </a:lnTo>
                  <a:lnTo>
                    <a:pt x="296" y="62"/>
                  </a:lnTo>
                  <a:lnTo>
                    <a:pt x="299" y="70"/>
                  </a:lnTo>
                  <a:lnTo>
                    <a:pt x="301" y="73"/>
                  </a:lnTo>
                  <a:lnTo>
                    <a:pt x="302" y="75"/>
                  </a:lnTo>
                  <a:lnTo>
                    <a:pt x="302" y="75"/>
                  </a:lnTo>
                  <a:lnTo>
                    <a:pt x="304" y="75"/>
                  </a:lnTo>
                  <a:lnTo>
                    <a:pt x="304" y="76"/>
                  </a:lnTo>
                  <a:lnTo>
                    <a:pt x="307" y="76"/>
                  </a:lnTo>
                  <a:lnTo>
                    <a:pt x="314" y="74"/>
                  </a:lnTo>
                  <a:lnTo>
                    <a:pt x="318" y="74"/>
                  </a:lnTo>
                  <a:lnTo>
                    <a:pt x="324" y="74"/>
                  </a:lnTo>
                  <a:lnTo>
                    <a:pt x="332" y="74"/>
                  </a:lnTo>
                  <a:lnTo>
                    <a:pt x="337" y="74"/>
                  </a:lnTo>
                  <a:lnTo>
                    <a:pt x="339" y="74"/>
                  </a:lnTo>
                  <a:lnTo>
                    <a:pt x="340" y="74"/>
                  </a:lnTo>
                  <a:lnTo>
                    <a:pt x="342" y="73"/>
                  </a:lnTo>
                  <a:lnTo>
                    <a:pt x="344" y="72"/>
                  </a:lnTo>
                  <a:lnTo>
                    <a:pt x="353" y="68"/>
                  </a:lnTo>
                  <a:lnTo>
                    <a:pt x="357" y="67"/>
                  </a:lnTo>
                  <a:lnTo>
                    <a:pt x="359" y="66"/>
                  </a:lnTo>
                  <a:lnTo>
                    <a:pt x="364" y="65"/>
                  </a:lnTo>
                  <a:lnTo>
                    <a:pt x="377" y="63"/>
                  </a:lnTo>
                  <a:lnTo>
                    <a:pt x="379" y="62"/>
                  </a:lnTo>
                  <a:lnTo>
                    <a:pt x="381" y="62"/>
                  </a:lnTo>
                  <a:lnTo>
                    <a:pt x="382" y="61"/>
                  </a:lnTo>
                  <a:lnTo>
                    <a:pt x="383" y="60"/>
                  </a:lnTo>
                  <a:lnTo>
                    <a:pt x="384" y="59"/>
                  </a:lnTo>
                  <a:lnTo>
                    <a:pt x="387" y="54"/>
                  </a:lnTo>
                  <a:lnTo>
                    <a:pt x="392" y="44"/>
                  </a:lnTo>
                  <a:lnTo>
                    <a:pt x="394" y="41"/>
                  </a:lnTo>
                  <a:lnTo>
                    <a:pt x="394" y="40"/>
                  </a:lnTo>
                  <a:lnTo>
                    <a:pt x="396" y="39"/>
                  </a:lnTo>
                  <a:lnTo>
                    <a:pt x="397" y="38"/>
                  </a:lnTo>
                  <a:lnTo>
                    <a:pt x="399" y="37"/>
                  </a:lnTo>
                  <a:lnTo>
                    <a:pt x="401" y="38"/>
                  </a:lnTo>
                  <a:lnTo>
                    <a:pt x="401" y="38"/>
                  </a:lnTo>
                  <a:lnTo>
                    <a:pt x="402" y="39"/>
                  </a:lnTo>
                  <a:lnTo>
                    <a:pt x="404" y="40"/>
                  </a:lnTo>
                  <a:lnTo>
                    <a:pt x="406" y="42"/>
                  </a:lnTo>
                  <a:lnTo>
                    <a:pt x="408" y="45"/>
                  </a:lnTo>
                  <a:lnTo>
                    <a:pt x="410" y="47"/>
                  </a:lnTo>
                  <a:lnTo>
                    <a:pt x="412" y="49"/>
                  </a:lnTo>
                  <a:lnTo>
                    <a:pt x="414" y="50"/>
                  </a:lnTo>
                  <a:lnTo>
                    <a:pt x="416" y="51"/>
                  </a:lnTo>
                  <a:lnTo>
                    <a:pt x="416" y="51"/>
                  </a:lnTo>
                  <a:lnTo>
                    <a:pt x="420" y="51"/>
                  </a:lnTo>
                  <a:lnTo>
                    <a:pt x="422" y="51"/>
                  </a:lnTo>
                  <a:lnTo>
                    <a:pt x="429" y="50"/>
                  </a:lnTo>
                  <a:lnTo>
                    <a:pt x="432" y="50"/>
                  </a:lnTo>
                  <a:lnTo>
                    <a:pt x="434" y="51"/>
                  </a:lnTo>
                  <a:lnTo>
                    <a:pt x="434" y="51"/>
                  </a:lnTo>
                  <a:lnTo>
                    <a:pt x="436" y="52"/>
                  </a:lnTo>
                  <a:lnTo>
                    <a:pt x="436" y="52"/>
                  </a:lnTo>
                  <a:lnTo>
                    <a:pt x="439" y="54"/>
                  </a:lnTo>
                  <a:lnTo>
                    <a:pt x="439" y="56"/>
                  </a:lnTo>
                  <a:lnTo>
                    <a:pt x="440" y="58"/>
                  </a:lnTo>
                  <a:lnTo>
                    <a:pt x="442" y="62"/>
                  </a:lnTo>
                  <a:lnTo>
                    <a:pt x="443" y="64"/>
                  </a:lnTo>
                  <a:lnTo>
                    <a:pt x="444" y="65"/>
                  </a:lnTo>
                  <a:lnTo>
                    <a:pt x="445" y="66"/>
                  </a:lnTo>
                  <a:lnTo>
                    <a:pt x="447" y="68"/>
                  </a:lnTo>
                  <a:lnTo>
                    <a:pt x="453" y="74"/>
                  </a:lnTo>
                  <a:lnTo>
                    <a:pt x="456" y="77"/>
                  </a:lnTo>
                  <a:lnTo>
                    <a:pt x="457" y="78"/>
                  </a:lnTo>
                  <a:lnTo>
                    <a:pt x="459" y="80"/>
                  </a:lnTo>
                  <a:lnTo>
                    <a:pt x="463" y="87"/>
                  </a:lnTo>
                  <a:lnTo>
                    <a:pt x="465" y="90"/>
                  </a:lnTo>
                  <a:lnTo>
                    <a:pt x="466" y="91"/>
                  </a:lnTo>
                  <a:lnTo>
                    <a:pt x="467" y="92"/>
                  </a:lnTo>
                  <a:lnTo>
                    <a:pt x="469" y="94"/>
                  </a:lnTo>
                  <a:lnTo>
                    <a:pt x="470" y="95"/>
                  </a:lnTo>
                  <a:lnTo>
                    <a:pt x="472" y="96"/>
                  </a:lnTo>
                  <a:lnTo>
                    <a:pt x="475" y="97"/>
                  </a:lnTo>
                  <a:lnTo>
                    <a:pt x="477" y="97"/>
                  </a:lnTo>
                  <a:lnTo>
                    <a:pt x="484" y="98"/>
                  </a:lnTo>
                  <a:lnTo>
                    <a:pt x="489" y="100"/>
                  </a:lnTo>
                  <a:lnTo>
                    <a:pt x="492" y="100"/>
                  </a:lnTo>
                  <a:lnTo>
                    <a:pt x="498" y="103"/>
                  </a:lnTo>
                  <a:lnTo>
                    <a:pt x="501" y="105"/>
                  </a:lnTo>
                  <a:lnTo>
                    <a:pt x="504" y="105"/>
                  </a:lnTo>
                  <a:lnTo>
                    <a:pt x="510" y="107"/>
                  </a:lnTo>
                  <a:lnTo>
                    <a:pt x="520" y="107"/>
                  </a:lnTo>
                  <a:lnTo>
                    <a:pt x="525" y="107"/>
                  </a:lnTo>
                  <a:lnTo>
                    <a:pt x="536" y="107"/>
                  </a:lnTo>
                  <a:lnTo>
                    <a:pt x="550" y="106"/>
                  </a:lnTo>
                  <a:lnTo>
                    <a:pt x="561" y="105"/>
                  </a:lnTo>
                  <a:lnTo>
                    <a:pt x="574" y="105"/>
                  </a:lnTo>
                  <a:lnTo>
                    <a:pt x="580" y="105"/>
                  </a:lnTo>
                  <a:lnTo>
                    <a:pt x="591" y="105"/>
                  </a:lnTo>
                  <a:lnTo>
                    <a:pt x="596" y="105"/>
                  </a:lnTo>
                  <a:lnTo>
                    <a:pt x="601" y="105"/>
                  </a:lnTo>
                  <a:lnTo>
                    <a:pt x="605" y="104"/>
                  </a:lnTo>
                  <a:lnTo>
                    <a:pt x="608" y="103"/>
                  </a:lnTo>
                  <a:lnTo>
                    <a:pt x="611" y="103"/>
                  </a:lnTo>
                  <a:lnTo>
                    <a:pt x="614" y="102"/>
                  </a:lnTo>
                  <a:lnTo>
                    <a:pt x="616" y="101"/>
                  </a:lnTo>
                  <a:lnTo>
                    <a:pt x="619" y="100"/>
                  </a:lnTo>
                  <a:lnTo>
                    <a:pt x="622" y="98"/>
                  </a:lnTo>
                  <a:lnTo>
                    <a:pt x="624" y="97"/>
                  </a:lnTo>
                  <a:lnTo>
                    <a:pt x="627" y="95"/>
                  </a:lnTo>
                  <a:lnTo>
                    <a:pt x="629" y="94"/>
                  </a:lnTo>
                  <a:lnTo>
                    <a:pt x="631" y="92"/>
                  </a:lnTo>
                  <a:lnTo>
                    <a:pt x="634" y="90"/>
                  </a:lnTo>
                  <a:lnTo>
                    <a:pt x="636" y="87"/>
                  </a:lnTo>
                  <a:lnTo>
                    <a:pt x="639" y="84"/>
                  </a:lnTo>
                  <a:lnTo>
                    <a:pt x="641" y="82"/>
                  </a:lnTo>
                  <a:lnTo>
                    <a:pt x="641" y="80"/>
                  </a:lnTo>
                  <a:lnTo>
                    <a:pt x="642" y="78"/>
                  </a:lnTo>
                  <a:lnTo>
                    <a:pt x="643" y="76"/>
                  </a:lnTo>
                  <a:lnTo>
                    <a:pt x="643" y="75"/>
                  </a:lnTo>
                  <a:lnTo>
                    <a:pt x="644" y="75"/>
                  </a:lnTo>
                  <a:lnTo>
                    <a:pt x="646" y="75"/>
                  </a:lnTo>
                  <a:lnTo>
                    <a:pt x="647" y="75"/>
                  </a:lnTo>
                  <a:lnTo>
                    <a:pt x="648" y="77"/>
                  </a:lnTo>
                  <a:lnTo>
                    <a:pt x="650" y="78"/>
                  </a:lnTo>
                  <a:lnTo>
                    <a:pt x="651" y="79"/>
                  </a:lnTo>
                  <a:lnTo>
                    <a:pt x="651" y="80"/>
                  </a:lnTo>
                  <a:lnTo>
                    <a:pt x="652" y="82"/>
                  </a:lnTo>
                  <a:lnTo>
                    <a:pt x="652" y="85"/>
                  </a:lnTo>
                  <a:lnTo>
                    <a:pt x="652" y="87"/>
                  </a:lnTo>
                  <a:lnTo>
                    <a:pt x="652" y="92"/>
                  </a:lnTo>
                  <a:lnTo>
                    <a:pt x="651" y="110"/>
                  </a:lnTo>
                  <a:lnTo>
                    <a:pt x="651" y="114"/>
                  </a:lnTo>
                  <a:lnTo>
                    <a:pt x="649" y="122"/>
                  </a:lnTo>
                  <a:lnTo>
                    <a:pt x="648" y="127"/>
                  </a:lnTo>
                  <a:lnTo>
                    <a:pt x="648" y="131"/>
                  </a:lnTo>
                  <a:lnTo>
                    <a:pt x="648" y="134"/>
                  </a:lnTo>
                  <a:lnTo>
                    <a:pt x="649" y="137"/>
                  </a:lnTo>
                  <a:lnTo>
                    <a:pt x="650" y="140"/>
                  </a:lnTo>
                  <a:lnTo>
                    <a:pt x="651" y="142"/>
                  </a:lnTo>
                  <a:lnTo>
                    <a:pt x="652" y="145"/>
                  </a:lnTo>
                  <a:lnTo>
                    <a:pt x="653" y="146"/>
                  </a:lnTo>
                  <a:lnTo>
                    <a:pt x="654" y="149"/>
                  </a:lnTo>
                  <a:lnTo>
                    <a:pt x="656" y="150"/>
                  </a:lnTo>
                  <a:lnTo>
                    <a:pt x="658" y="152"/>
                  </a:lnTo>
                  <a:lnTo>
                    <a:pt x="663" y="158"/>
                  </a:lnTo>
                  <a:lnTo>
                    <a:pt x="666" y="160"/>
                  </a:lnTo>
                  <a:lnTo>
                    <a:pt x="668" y="163"/>
                  </a:lnTo>
                  <a:lnTo>
                    <a:pt x="670" y="167"/>
                  </a:lnTo>
                  <a:lnTo>
                    <a:pt x="676" y="179"/>
                  </a:lnTo>
                  <a:lnTo>
                    <a:pt x="677" y="182"/>
                  </a:lnTo>
                  <a:lnTo>
                    <a:pt x="678" y="185"/>
                  </a:lnTo>
                  <a:lnTo>
                    <a:pt x="678" y="187"/>
                  </a:lnTo>
                  <a:lnTo>
                    <a:pt x="678" y="189"/>
                  </a:lnTo>
                  <a:lnTo>
                    <a:pt x="677" y="192"/>
                  </a:lnTo>
                  <a:lnTo>
                    <a:pt x="677" y="194"/>
                  </a:lnTo>
                  <a:lnTo>
                    <a:pt x="677" y="195"/>
                  </a:lnTo>
                  <a:lnTo>
                    <a:pt x="676" y="196"/>
                  </a:lnTo>
                  <a:lnTo>
                    <a:pt x="676" y="197"/>
                  </a:lnTo>
                  <a:lnTo>
                    <a:pt x="673" y="198"/>
                  </a:lnTo>
                  <a:lnTo>
                    <a:pt x="668" y="201"/>
                  </a:lnTo>
                  <a:lnTo>
                    <a:pt x="667" y="202"/>
                  </a:lnTo>
                  <a:lnTo>
                    <a:pt x="666" y="203"/>
                  </a:lnTo>
                  <a:lnTo>
                    <a:pt x="663" y="205"/>
                  </a:lnTo>
                  <a:lnTo>
                    <a:pt x="660" y="209"/>
                  </a:lnTo>
                  <a:lnTo>
                    <a:pt x="658" y="213"/>
                  </a:lnTo>
                  <a:lnTo>
                    <a:pt x="654" y="216"/>
                  </a:lnTo>
                  <a:lnTo>
                    <a:pt x="648" y="220"/>
                  </a:lnTo>
                  <a:lnTo>
                    <a:pt x="646" y="222"/>
                  </a:lnTo>
                  <a:lnTo>
                    <a:pt x="643" y="224"/>
                  </a:lnTo>
                  <a:lnTo>
                    <a:pt x="639" y="226"/>
                  </a:lnTo>
                  <a:lnTo>
                    <a:pt x="636" y="227"/>
                  </a:lnTo>
                  <a:lnTo>
                    <a:pt x="633" y="229"/>
                  </a:lnTo>
                  <a:lnTo>
                    <a:pt x="628" y="231"/>
                  </a:lnTo>
                  <a:lnTo>
                    <a:pt x="620" y="234"/>
                  </a:lnTo>
                  <a:lnTo>
                    <a:pt x="618" y="234"/>
                  </a:lnTo>
                  <a:lnTo>
                    <a:pt x="618" y="234"/>
                  </a:lnTo>
                  <a:lnTo>
                    <a:pt x="615" y="237"/>
                  </a:lnTo>
                  <a:lnTo>
                    <a:pt x="611" y="239"/>
                  </a:lnTo>
                  <a:lnTo>
                    <a:pt x="608" y="241"/>
                  </a:lnTo>
                  <a:lnTo>
                    <a:pt x="606" y="244"/>
                  </a:lnTo>
                  <a:lnTo>
                    <a:pt x="603" y="247"/>
                  </a:lnTo>
                  <a:lnTo>
                    <a:pt x="601" y="250"/>
                  </a:lnTo>
                  <a:lnTo>
                    <a:pt x="599" y="253"/>
                  </a:lnTo>
                  <a:lnTo>
                    <a:pt x="599" y="255"/>
                  </a:lnTo>
                  <a:lnTo>
                    <a:pt x="598" y="257"/>
                  </a:lnTo>
                  <a:lnTo>
                    <a:pt x="596" y="263"/>
                  </a:lnTo>
                  <a:lnTo>
                    <a:pt x="596" y="264"/>
                  </a:lnTo>
                  <a:lnTo>
                    <a:pt x="595" y="267"/>
                  </a:lnTo>
                  <a:lnTo>
                    <a:pt x="591" y="272"/>
                  </a:lnTo>
                  <a:lnTo>
                    <a:pt x="591" y="274"/>
                  </a:lnTo>
                  <a:lnTo>
                    <a:pt x="590" y="275"/>
                  </a:lnTo>
                  <a:lnTo>
                    <a:pt x="590" y="277"/>
                  </a:lnTo>
                  <a:lnTo>
                    <a:pt x="589" y="279"/>
                  </a:lnTo>
                  <a:lnTo>
                    <a:pt x="589" y="284"/>
                  </a:lnTo>
                  <a:lnTo>
                    <a:pt x="589" y="290"/>
                  </a:lnTo>
                  <a:lnTo>
                    <a:pt x="589" y="294"/>
                  </a:lnTo>
                  <a:lnTo>
                    <a:pt x="588" y="297"/>
                  </a:lnTo>
                  <a:lnTo>
                    <a:pt x="587" y="299"/>
                  </a:lnTo>
                  <a:lnTo>
                    <a:pt x="585" y="306"/>
                  </a:lnTo>
                  <a:lnTo>
                    <a:pt x="584" y="312"/>
                  </a:lnTo>
                  <a:lnTo>
                    <a:pt x="584" y="312"/>
                  </a:lnTo>
                  <a:lnTo>
                    <a:pt x="583" y="313"/>
                  </a:lnTo>
                  <a:lnTo>
                    <a:pt x="581" y="316"/>
                  </a:lnTo>
                  <a:lnTo>
                    <a:pt x="579" y="317"/>
                  </a:lnTo>
                  <a:lnTo>
                    <a:pt x="576" y="323"/>
                  </a:lnTo>
                  <a:lnTo>
                    <a:pt x="576" y="326"/>
                  </a:lnTo>
                  <a:lnTo>
                    <a:pt x="575" y="328"/>
                  </a:lnTo>
                  <a:lnTo>
                    <a:pt x="574" y="332"/>
                  </a:lnTo>
                  <a:lnTo>
                    <a:pt x="574" y="334"/>
                  </a:lnTo>
                  <a:lnTo>
                    <a:pt x="574" y="336"/>
                  </a:lnTo>
                  <a:lnTo>
                    <a:pt x="574" y="339"/>
                  </a:lnTo>
                  <a:lnTo>
                    <a:pt x="576" y="344"/>
                  </a:lnTo>
                  <a:lnTo>
                    <a:pt x="576" y="347"/>
                  </a:lnTo>
                  <a:lnTo>
                    <a:pt x="576" y="349"/>
                  </a:lnTo>
                  <a:lnTo>
                    <a:pt x="577" y="352"/>
                  </a:lnTo>
                  <a:lnTo>
                    <a:pt x="578" y="353"/>
                  </a:lnTo>
                  <a:lnTo>
                    <a:pt x="579" y="354"/>
                  </a:lnTo>
                  <a:lnTo>
                    <a:pt x="582" y="359"/>
                  </a:lnTo>
                  <a:lnTo>
                    <a:pt x="585" y="364"/>
                  </a:lnTo>
                  <a:lnTo>
                    <a:pt x="585" y="365"/>
                  </a:lnTo>
                  <a:lnTo>
                    <a:pt x="585" y="366"/>
                  </a:lnTo>
                  <a:lnTo>
                    <a:pt x="585" y="367"/>
                  </a:lnTo>
                  <a:lnTo>
                    <a:pt x="584" y="369"/>
                  </a:lnTo>
                  <a:lnTo>
                    <a:pt x="584" y="370"/>
                  </a:lnTo>
                  <a:lnTo>
                    <a:pt x="584" y="372"/>
                  </a:lnTo>
                  <a:lnTo>
                    <a:pt x="586" y="374"/>
                  </a:lnTo>
                  <a:lnTo>
                    <a:pt x="586" y="375"/>
                  </a:lnTo>
                  <a:lnTo>
                    <a:pt x="586" y="377"/>
                  </a:lnTo>
                  <a:lnTo>
                    <a:pt x="585" y="378"/>
                  </a:lnTo>
                  <a:lnTo>
                    <a:pt x="584" y="379"/>
                  </a:lnTo>
                  <a:lnTo>
                    <a:pt x="584" y="382"/>
                  </a:lnTo>
                  <a:lnTo>
                    <a:pt x="582" y="383"/>
                  </a:lnTo>
                  <a:lnTo>
                    <a:pt x="581" y="384"/>
                  </a:lnTo>
                  <a:lnTo>
                    <a:pt x="579" y="387"/>
                  </a:lnTo>
                  <a:lnTo>
                    <a:pt x="578" y="388"/>
                  </a:lnTo>
                  <a:lnTo>
                    <a:pt x="576" y="388"/>
                  </a:lnTo>
                  <a:lnTo>
                    <a:pt x="576" y="388"/>
                  </a:lnTo>
                  <a:lnTo>
                    <a:pt x="574" y="388"/>
                  </a:lnTo>
                  <a:lnTo>
                    <a:pt x="573" y="387"/>
                  </a:lnTo>
                  <a:lnTo>
                    <a:pt x="570" y="385"/>
                  </a:lnTo>
                  <a:lnTo>
                    <a:pt x="564" y="380"/>
                  </a:lnTo>
                  <a:lnTo>
                    <a:pt x="558" y="376"/>
                  </a:lnTo>
                  <a:lnTo>
                    <a:pt x="551" y="370"/>
                  </a:lnTo>
                  <a:lnTo>
                    <a:pt x="550" y="369"/>
                  </a:lnTo>
                  <a:lnTo>
                    <a:pt x="548" y="369"/>
                  </a:lnTo>
                  <a:lnTo>
                    <a:pt x="546" y="368"/>
                  </a:lnTo>
                  <a:lnTo>
                    <a:pt x="544" y="367"/>
                  </a:lnTo>
                  <a:lnTo>
                    <a:pt x="531" y="367"/>
                  </a:lnTo>
                  <a:lnTo>
                    <a:pt x="529" y="367"/>
                  </a:lnTo>
                  <a:lnTo>
                    <a:pt x="527" y="367"/>
                  </a:lnTo>
                  <a:lnTo>
                    <a:pt x="519" y="368"/>
                  </a:lnTo>
                  <a:lnTo>
                    <a:pt x="515" y="368"/>
                  </a:lnTo>
                  <a:lnTo>
                    <a:pt x="511" y="367"/>
                  </a:lnTo>
                  <a:lnTo>
                    <a:pt x="501" y="366"/>
                  </a:lnTo>
                  <a:lnTo>
                    <a:pt x="495" y="366"/>
                  </a:lnTo>
                  <a:lnTo>
                    <a:pt x="491" y="365"/>
                  </a:lnTo>
                  <a:lnTo>
                    <a:pt x="486" y="366"/>
                  </a:lnTo>
                  <a:lnTo>
                    <a:pt x="484" y="366"/>
                  </a:lnTo>
                  <a:lnTo>
                    <a:pt x="477" y="367"/>
                  </a:lnTo>
                  <a:lnTo>
                    <a:pt x="474" y="367"/>
                  </a:lnTo>
                  <a:lnTo>
                    <a:pt x="454" y="369"/>
                  </a:lnTo>
                  <a:lnTo>
                    <a:pt x="444" y="371"/>
                  </a:lnTo>
                  <a:lnTo>
                    <a:pt x="440" y="372"/>
                  </a:lnTo>
                  <a:lnTo>
                    <a:pt x="436" y="372"/>
                  </a:lnTo>
                  <a:lnTo>
                    <a:pt x="434" y="373"/>
                  </a:lnTo>
                  <a:lnTo>
                    <a:pt x="421" y="378"/>
                  </a:lnTo>
                  <a:lnTo>
                    <a:pt x="419" y="379"/>
                  </a:lnTo>
                  <a:lnTo>
                    <a:pt x="416" y="379"/>
                  </a:lnTo>
                  <a:lnTo>
                    <a:pt x="414" y="379"/>
                  </a:lnTo>
                  <a:lnTo>
                    <a:pt x="411" y="379"/>
                  </a:lnTo>
                  <a:lnTo>
                    <a:pt x="409" y="379"/>
                  </a:lnTo>
                  <a:lnTo>
                    <a:pt x="405" y="377"/>
                  </a:lnTo>
                  <a:lnTo>
                    <a:pt x="401" y="377"/>
                  </a:lnTo>
                  <a:lnTo>
                    <a:pt x="399" y="377"/>
                  </a:lnTo>
                  <a:lnTo>
                    <a:pt x="396" y="377"/>
                  </a:lnTo>
                  <a:lnTo>
                    <a:pt x="390" y="377"/>
                  </a:lnTo>
                  <a:lnTo>
                    <a:pt x="384" y="378"/>
                  </a:lnTo>
                  <a:lnTo>
                    <a:pt x="382" y="378"/>
                  </a:lnTo>
                  <a:lnTo>
                    <a:pt x="380" y="379"/>
                  </a:lnTo>
                  <a:lnTo>
                    <a:pt x="379" y="379"/>
                  </a:lnTo>
                  <a:lnTo>
                    <a:pt x="377" y="381"/>
                  </a:lnTo>
                  <a:lnTo>
                    <a:pt x="377" y="382"/>
                  </a:lnTo>
                  <a:lnTo>
                    <a:pt x="375" y="384"/>
                  </a:lnTo>
                  <a:lnTo>
                    <a:pt x="374" y="386"/>
                  </a:lnTo>
                  <a:lnTo>
                    <a:pt x="374" y="389"/>
                  </a:lnTo>
                  <a:lnTo>
                    <a:pt x="374" y="393"/>
                  </a:lnTo>
                  <a:lnTo>
                    <a:pt x="374" y="395"/>
                  </a:lnTo>
                  <a:lnTo>
                    <a:pt x="374" y="397"/>
                  </a:lnTo>
                  <a:lnTo>
                    <a:pt x="376" y="406"/>
                  </a:lnTo>
                  <a:lnTo>
                    <a:pt x="376" y="409"/>
                  </a:lnTo>
                  <a:lnTo>
                    <a:pt x="376" y="413"/>
                  </a:lnTo>
                  <a:lnTo>
                    <a:pt x="376" y="417"/>
                  </a:lnTo>
                  <a:lnTo>
                    <a:pt x="375" y="425"/>
                  </a:lnTo>
                  <a:lnTo>
                    <a:pt x="375" y="429"/>
                  </a:lnTo>
                  <a:lnTo>
                    <a:pt x="375" y="432"/>
                  </a:lnTo>
                  <a:lnTo>
                    <a:pt x="375" y="437"/>
                  </a:lnTo>
                  <a:lnTo>
                    <a:pt x="376" y="442"/>
                  </a:lnTo>
                  <a:lnTo>
                    <a:pt x="377" y="446"/>
                  </a:lnTo>
                  <a:lnTo>
                    <a:pt x="379" y="451"/>
                  </a:lnTo>
                  <a:lnTo>
                    <a:pt x="384" y="464"/>
                  </a:lnTo>
                  <a:lnTo>
                    <a:pt x="387" y="470"/>
                  </a:lnTo>
                  <a:lnTo>
                    <a:pt x="389" y="476"/>
                  </a:lnTo>
                  <a:lnTo>
                    <a:pt x="390" y="481"/>
                  </a:lnTo>
                  <a:lnTo>
                    <a:pt x="391" y="484"/>
                  </a:lnTo>
                  <a:lnTo>
                    <a:pt x="391" y="488"/>
                  </a:lnTo>
                  <a:lnTo>
                    <a:pt x="392" y="494"/>
                  </a:lnTo>
                  <a:lnTo>
                    <a:pt x="394" y="506"/>
                  </a:lnTo>
                  <a:lnTo>
                    <a:pt x="394" y="510"/>
                  </a:lnTo>
                  <a:lnTo>
                    <a:pt x="394" y="512"/>
                  </a:lnTo>
                  <a:lnTo>
                    <a:pt x="393" y="515"/>
                  </a:lnTo>
                  <a:lnTo>
                    <a:pt x="393" y="517"/>
                  </a:lnTo>
                  <a:lnTo>
                    <a:pt x="391" y="523"/>
                  </a:lnTo>
                  <a:lnTo>
                    <a:pt x="390" y="526"/>
                  </a:lnTo>
                  <a:lnTo>
                    <a:pt x="389" y="531"/>
                  </a:lnTo>
                  <a:lnTo>
                    <a:pt x="384" y="539"/>
                  </a:lnTo>
                  <a:lnTo>
                    <a:pt x="380" y="550"/>
                  </a:lnTo>
                  <a:lnTo>
                    <a:pt x="379" y="552"/>
                  </a:lnTo>
                  <a:lnTo>
                    <a:pt x="378" y="554"/>
                  </a:lnTo>
                  <a:lnTo>
                    <a:pt x="377" y="556"/>
                  </a:lnTo>
                  <a:lnTo>
                    <a:pt x="375" y="559"/>
                  </a:lnTo>
                  <a:lnTo>
                    <a:pt x="373" y="560"/>
                  </a:lnTo>
                  <a:lnTo>
                    <a:pt x="372" y="561"/>
                  </a:lnTo>
                  <a:lnTo>
                    <a:pt x="370" y="563"/>
                  </a:lnTo>
                  <a:lnTo>
                    <a:pt x="369" y="564"/>
                  </a:lnTo>
                  <a:lnTo>
                    <a:pt x="366" y="565"/>
                  </a:lnTo>
                  <a:lnTo>
                    <a:pt x="358" y="567"/>
                  </a:lnTo>
                  <a:lnTo>
                    <a:pt x="355" y="568"/>
                  </a:lnTo>
                  <a:lnTo>
                    <a:pt x="352" y="569"/>
                  </a:lnTo>
                  <a:lnTo>
                    <a:pt x="348" y="571"/>
                  </a:lnTo>
                  <a:lnTo>
                    <a:pt x="347" y="573"/>
                  </a:lnTo>
                  <a:lnTo>
                    <a:pt x="344" y="574"/>
                  </a:lnTo>
                  <a:lnTo>
                    <a:pt x="343" y="576"/>
                  </a:lnTo>
                  <a:lnTo>
                    <a:pt x="342" y="578"/>
                  </a:lnTo>
                  <a:lnTo>
                    <a:pt x="341" y="579"/>
                  </a:lnTo>
                  <a:lnTo>
                    <a:pt x="339" y="581"/>
                  </a:lnTo>
                  <a:lnTo>
                    <a:pt x="337" y="586"/>
                  </a:lnTo>
                  <a:lnTo>
                    <a:pt x="337" y="586"/>
                  </a:lnTo>
                  <a:lnTo>
                    <a:pt x="335" y="584"/>
                  </a:lnTo>
                  <a:lnTo>
                    <a:pt x="330" y="580"/>
                  </a:lnTo>
                  <a:lnTo>
                    <a:pt x="326" y="576"/>
                  </a:lnTo>
                  <a:lnTo>
                    <a:pt x="321" y="573"/>
                  </a:lnTo>
                  <a:lnTo>
                    <a:pt x="316" y="569"/>
                  </a:lnTo>
                  <a:lnTo>
                    <a:pt x="310" y="565"/>
                  </a:lnTo>
                  <a:lnTo>
                    <a:pt x="305" y="561"/>
                  </a:lnTo>
                  <a:lnTo>
                    <a:pt x="300" y="559"/>
                  </a:lnTo>
                  <a:lnTo>
                    <a:pt x="296" y="556"/>
                  </a:lnTo>
                  <a:lnTo>
                    <a:pt x="293" y="555"/>
                  </a:lnTo>
                  <a:lnTo>
                    <a:pt x="289" y="554"/>
                  </a:lnTo>
                  <a:lnTo>
                    <a:pt x="285" y="552"/>
                  </a:lnTo>
                  <a:lnTo>
                    <a:pt x="281" y="551"/>
                  </a:lnTo>
                  <a:lnTo>
                    <a:pt x="264" y="547"/>
                  </a:lnTo>
                  <a:lnTo>
                    <a:pt x="259" y="545"/>
                  </a:lnTo>
                  <a:lnTo>
                    <a:pt x="256" y="544"/>
                  </a:lnTo>
                  <a:lnTo>
                    <a:pt x="254" y="542"/>
                  </a:lnTo>
                  <a:lnTo>
                    <a:pt x="250" y="540"/>
                  </a:lnTo>
                  <a:lnTo>
                    <a:pt x="248" y="539"/>
                  </a:lnTo>
                  <a:lnTo>
                    <a:pt x="247" y="537"/>
                  </a:lnTo>
                  <a:lnTo>
                    <a:pt x="245" y="535"/>
                  </a:lnTo>
                  <a:lnTo>
                    <a:pt x="244" y="533"/>
                  </a:lnTo>
                  <a:lnTo>
                    <a:pt x="243" y="531"/>
                  </a:lnTo>
                  <a:lnTo>
                    <a:pt x="243" y="529"/>
                  </a:lnTo>
                  <a:lnTo>
                    <a:pt x="242" y="526"/>
                  </a:lnTo>
                  <a:lnTo>
                    <a:pt x="240" y="514"/>
                  </a:lnTo>
                  <a:lnTo>
                    <a:pt x="240" y="511"/>
                  </a:lnTo>
                  <a:lnTo>
                    <a:pt x="239" y="508"/>
                  </a:lnTo>
                  <a:lnTo>
                    <a:pt x="238" y="504"/>
                  </a:lnTo>
                  <a:lnTo>
                    <a:pt x="236" y="499"/>
                  </a:lnTo>
                  <a:lnTo>
                    <a:pt x="230" y="485"/>
                  </a:lnTo>
                  <a:lnTo>
                    <a:pt x="228" y="480"/>
                  </a:lnTo>
                  <a:lnTo>
                    <a:pt x="226" y="477"/>
                  </a:lnTo>
                  <a:lnTo>
                    <a:pt x="223" y="472"/>
                  </a:lnTo>
                  <a:lnTo>
                    <a:pt x="222" y="470"/>
                  </a:lnTo>
                  <a:lnTo>
                    <a:pt x="221" y="469"/>
                  </a:lnTo>
                  <a:lnTo>
                    <a:pt x="219" y="467"/>
                  </a:lnTo>
                  <a:lnTo>
                    <a:pt x="217" y="466"/>
                  </a:lnTo>
                  <a:lnTo>
                    <a:pt x="210" y="461"/>
                  </a:lnTo>
                  <a:lnTo>
                    <a:pt x="207" y="459"/>
                  </a:lnTo>
                  <a:lnTo>
                    <a:pt x="206" y="457"/>
                  </a:lnTo>
                  <a:lnTo>
                    <a:pt x="204" y="455"/>
                  </a:lnTo>
                  <a:lnTo>
                    <a:pt x="203" y="454"/>
                  </a:lnTo>
                  <a:lnTo>
                    <a:pt x="202" y="451"/>
                  </a:lnTo>
                  <a:lnTo>
                    <a:pt x="200" y="449"/>
                  </a:lnTo>
                  <a:lnTo>
                    <a:pt x="199" y="445"/>
                  </a:lnTo>
                  <a:lnTo>
                    <a:pt x="197" y="442"/>
                  </a:lnTo>
                  <a:lnTo>
                    <a:pt x="195" y="437"/>
                  </a:lnTo>
                  <a:lnTo>
                    <a:pt x="190" y="426"/>
                  </a:lnTo>
                  <a:lnTo>
                    <a:pt x="187" y="414"/>
                  </a:lnTo>
                  <a:lnTo>
                    <a:pt x="184" y="409"/>
                  </a:lnTo>
                  <a:lnTo>
                    <a:pt x="182" y="404"/>
                  </a:lnTo>
                  <a:lnTo>
                    <a:pt x="181" y="402"/>
                  </a:lnTo>
                  <a:lnTo>
                    <a:pt x="179" y="399"/>
                  </a:lnTo>
                  <a:lnTo>
                    <a:pt x="177" y="396"/>
                  </a:lnTo>
                  <a:lnTo>
                    <a:pt x="174" y="394"/>
                  </a:lnTo>
                  <a:lnTo>
                    <a:pt x="173" y="393"/>
                  </a:lnTo>
                  <a:lnTo>
                    <a:pt x="171" y="392"/>
                  </a:lnTo>
                  <a:lnTo>
                    <a:pt x="169" y="392"/>
                  </a:lnTo>
                  <a:lnTo>
                    <a:pt x="167" y="392"/>
                  </a:lnTo>
                  <a:lnTo>
                    <a:pt x="158" y="393"/>
                  </a:lnTo>
                  <a:lnTo>
                    <a:pt x="153" y="394"/>
                  </a:lnTo>
                  <a:lnTo>
                    <a:pt x="148" y="394"/>
                  </a:lnTo>
                  <a:lnTo>
                    <a:pt x="140" y="394"/>
                  </a:lnTo>
                  <a:lnTo>
                    <a:pt x="137" y="393"/>
                  </a:lnTo>
                  <a:lnTo>
                    <a:pt x="134" y="393"/>
                  </a:lnTo>
                  <a:lnTo>
                    <a:pt x="130" y="392"/>
                  </a:lnTo>
                  <a:lnTo>
                    <a:pt x="126" y="391"/>
                  </a:lnTo>
                  <a:lnTo>
                    <a:pt x="123" y="390"/>
                  </a:lnTo>
                  <a:lnTo>
                    <a:pt x="122" y="389"/>
                  </a:lnTo>
                  <a:lnTo>
                    <a:pt x="120" y="388"/>
                  </a:lnTo>
                  <a:lnTo>
                    <a:pt x="117" y="386"/>
                  </a:lnTo>
                  <a:lnTo>
                    <a:pt x="115" y="384"/>
                  </a:lnTo>
                  <a:lnTo>
                    <a:pt x="107" y="374"/>
                  </a:lnTo>
                  <a:lnTo>
                    <a:pt x="105" y="372"/>
                  </a:lnTo>
                  <a:lnTo>
                    <a:pt x="103" y="369"/>
                  </a:lnTo>
                  <a:lnTo>
                    <a:pt x="100" y="364"/>
                  </a:lnTo>
                  <a:lnTo>
                    <a:pt x="97" y="358"/>
                  </a:lnTo>
                  <a:lnTo>
                    <a:pt x="92" y="348"/>
                  </a:lnTo>
                  <a:lnTo>
                    <a:pt x="88" y="340"/>
                  </a:lnTo>
                  <a:lnTo>
                    <a:pt x="84" y="329"/>
                  </a:lnTo>
                  <a:lnTo>
                    <a:pt x="79" y="317"/>
                  </a:lnTo>
                  <a:lnTo>
                    <a:pt x="75" y="308"/>
                  </a:lnTo>
                  <a:lnTo>
                    <a:pt x="75" y="307"/>
                  </a:lnTo>
                  <a:lnTo>
                    <a:pt x="74" y="305"/>
                  </a:lnTo>
                  <a:lnTo>
                    <a:pt x="72" y="304"/>
                  </a:lnTo>
                  <a:lnTo>
                    <a:pt x="72" y="304"/>
                  </a:lnTo>
                  <a:lnTo>
                    <a:pt x="71" y="303"/>
                  </a:lnTo>
                  <a:lnTo>
                    <a:pt x="70" y="303"/>
                  </a:lnTo>
                  <a:lnTo>
                    <a:pt x="67" y="302"/>
                  </a:lnTo>
                  <a:lnTo>
                    <a:pt x="62" y="302"/>
                  </a:lnTo>
                  <a:lnTo>
                    <a:pt x="60" y="302"/>
                  </a:lnTo>
                  <a:lnTo>
                    <a:pt x="57" y="301"/>
                  </a:lnTo>
                  <a:lnTo>
                    <a:pt x="56" y="300"/>
                  </a:lnTo>
                  <a:lnTo>
                    <a:pt x="53" y="297"/>
                  </a:lnTo>
                  <a:lnTo>
                    <a:pt x="50" y="294"/>
                  </a:lnTo>
                  <a:lnTo>
                    <a:pt x="48" y="292"/>
                  </a:lnTo>
                  <a:lnTo>
                    <a:pt x="43" y="284"/>
                  </a:lnTo>
                  <a:lnTo>
                    <a:pt x="42" y="282"/>
                  </a:lnTo>
                  <a:lnTo>
                    <a:pt x="40" y="281"/>
                  </a:lnTo>
                  <a:lnTo>
                    <a:pt x="38" y="279"/>
                  </a:lnTo>
                  <a:lnTo>
                    <a:pt x="36" y="277"/>
                  </a:lnTo>
                  <a:lnTo>
                    <a:pt x="34" y="275"/>
                  </a:lnTo>
                  <a:lnTo>
                    <a:pt x="32" y="274"/>
                  </a:lnTo>
                  <a:lnTo>
                    <a:pt x="29" y="273"/>
                  </a:lnTo>
                  <a:lnTo>
                    <a:pt x="27" y="272"/>
                  </a:lnTo>
                  <a:lnTo>
                    <a:pt x="25" y="271"/>
                  </a:lnTo>
                  <a:lnTo>
                    <a:pt x="21" y="271"/>
                  </a:lnTo>
                  <a:lnTo>
                    <a:pt x="17" y="270"/>
                  </a:lnTo>
                  <a:lnTo>
                    <a:pt x="13" y="269"/>
                  </a:lnTo>
                  <a:lnTo>
                    <a:pt x="10" y="270"/>
                  </a:lnTo>
                  <a:lnTo>
                    <a:pt x="9" y="270"/>
                  </a:lnTo>
                  <a:lnTo>
                    <a:pt x="8" y="270"/>
                  </a:lnTo>
                  <a:lnTo>
                    <a:pt x="8" y="269"/>
                  </a:lnTo>
                  <a:lnTo>
                    <a:pt x="7" y="267"/>
                  </a:lnTo>
                  <a:lnTo>
                    <a:pt x="4" y="256"/>
                  </a:lnTo>
                  <a:lnTo>
                    <a:pt x="2" y="252"/>
                  </a:lnTo>
                  <a:lnTo>
                    <a:pt x="2" y="250"/>
                  </a:lnTo>
                  <a:lnTo>
                    <a:pt x="2" y="247"/>
                  </a:lnTo>
                  <a:lnTo>
                    <a:pt x="1" y="244"/>
                  </a:lnTo>
                  <a:lnTo>
                    <a:pt x="1" y="240"/>
                  </a:lnTo>
                  <a:lnTo>
                    <a:pt x="0" y="237"/>
                  </a:lnTo>
                  <a:lnTo>
                    <a:pt x="0" y="232"/>
                  </a:lnTo>
                  <a:lnTo>
                    <a:pt x="1" y="228"/>
                  </a:lnTo>
                  <a:lnTo>
                    <a:pt x="1" y="223"/>
                  </a:lnTo>
                  <a:lnTo>
                    <a:pt x="2" y="219"/>
                  </a:lnTo>
                  <a:lnTo>
                    <a:pt x="3" y="212"/>
                  </a:lnTo>
                  <a:lnTo>
                    <a:pt x="5" y="207"/>
                  </a:lnTo>
                  <a:lnTo>
                    <a:pt x="6" y="201"/>
                  </a:lnTo>
                  <a:lnTo>
                    <a:pt x="7" y="197"/>
                  </a:lnTo>
                  <a:lnTo>
                    <a:pt x="8" y="194"/>
                  </a:lnTo>
                  <a:lnTo>
                    <a:pt x="10" y="191"/>
                  </a:lnTo>
                  <a:lnTo>
                    <a:pt x="13" y="184"/>
                  </a:lnTo>
                  <a:lnTo>
                    <a:pt x="17" y="177"/>
                  </a:lnTo>
                  <a:lnTo>
                    <a:pt x="20" y="174"/>
                  </a:lnTo>
                  <a:lnTo>
                    <a:pt x="22" y="171"/>
                  </a:lnTo>
                  <a:lnTo>
                    <a:pt x="24" y="169"/>
                  </a:lnTo>
                  <a:lnTo>
                    <a:pt x="26" y="167"/>
                  </a:lnTo>
                  <a:lnTo>
                    <a:pt x="27" y="165"/>
                  </a:lnTo>
                  <a:lnTo>
                    <a:pt x="30" y="164"/>
                  </a:lnTo>
                  <a:lnTo>
                    <a:pt x="32" y="162"/>
                  </a:lnTo>
                  <a:lnTo>
                    <a:pt x="33" y="162"/>
                  </a:lnTo>
                  <a:lnTo>
                    <a:pt x="40" y="159"/>
                  </a:lnTo>
                  <a:lnTo>
                    <a:pt x="42" y="158"/>
                  </a:lnTo>
                  <a:lnTo>
                    <a:pt x="45" y="156"/>
                  </a:lnTo>
                  <a:lnTo>
                    <a:pt x="47" y="154"/>
                  </a:lnTo>
                  <a:lnTo>
                    <a:pt x="50" y="152"/>
                  </a:lnTo>
                  <a:lnTo>
                    <a:pt x="51" y="150"/>
                  </a:lnTo>
                  <a:lnTo>
                    <a:pt x="52" y="148"/>
                  </a:lnTo>
                  <a:lnTo>
                    <a:pt x="54" y="146"/>
                  </a:lnTo>
                  <a:lnTo>
                    <a:pt x="55" y="145"/>
                  </a:lnTo>
                  <a:lnTo>
                    <a:pt x="55" y="142"/>
                  </a:lnTo>
                  <a:lnTo>
                    <a:pt x="56" y="140"/>
                  </a:lnTo>
                  <a:lnTo>
                    <a:pt x="57" y="138"/>
                  </a:lnTo>
                  <a:lnTo>
                    <a:pt x="57" y="135"/>
                  </a:lnTo>
                  <a:lnTo>
                    <a:pt x="57" y="130"/>
                  </a:lnTo>
                  <a:lnTo>
                    <a:pt x="57" y="127"/>
                  </a:lnTo>
                  <a:lnTo>
                    <a:pt x="56" y="122"/>
                  </a:lnTo>
                  <a:lnTo>
                    <a:pt x="53" y="110"/>
                  </a:lnTo>
                  <a:lnTo>
                    <a:pt x="52" y="107"/>
                  </a:lnTo>
                  <a:lnTo>
                    <a:pt x="51" y="102"/>
                  </a:lnTo>
                  <a:lnTo>
                    <a:pt x="47" y="95"/>
                  </a:lnTo>
                  <a:lnTo>
                    <a:pt x="47" y="91"/>
                  </a:lnTo>
                  <a:lnTo>
                    <a:pt x="46" y="87"/>
                  </a:lnTo>
                  <a:lnTo>
                    <a:pt x="46" y="85"/>
                  </a:lnTo>
                  <a:lnTo>
                    <a:pt x="46" y="82"/>
                  </a:lnTo>
                  <a:lnTo>
                    <a:pt x="46" y="80"/>
                  </a:lnTo>
                  <a:lnTo>
                    <a:pt x="49" y="72"/>
                  </a:lnTo>
                  <a:lnTo>
                    <a:pt x="50" y="68"/>
                  </a:lnTo>
                  <a:lnTo>
                    <a:pt x="50" y="64"/>
                  </a:lnTo>
                  <a:lnTo>
                    <a:pt x="50" y="52"/>
                  </a:lnTo>
                  <a:lnTo>
                    <a:pt x="51" y="47"/>
                  </a:lnTo>
                  <a:lnTo>
                    <a:pt x="52" y="40"/>
                  </a:lnTo>
                  <a:lnTo>
                    <a:pt x="53" y="35"/>
                  </a:lnTo>
                  <a:lnTo>
                    <a:pt x="54" y="30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7" y="25"/>
                  </a:lnTo>
                  <a:lnTo>
                    <a:pt x="58" y="25"/>
                  </a:lnTo>
                  <a:lnTo>
                    <a:pt x="60" y="25"/>
                  </a:lnTo>
                  <a:lnTo>
                    <a:pt x="62" y="25"/>
                  </a:lnTo>
                  <a:lnTo>
                    <a:pt x="63" y="25"/>
                  </a:lnTo>
                  <a:lnTo>
                    <a:pt x="74" y="27"/>
                  </a:lnTo>
                  <a:lnTo>
                    <a:pt x="77" y="28"/>
                  </a:lnTo>
                  <a:lnTo>
                    <a:pt x="80" y="29"/>
                  </a:lnTo>
                  <a:lnTo>
                    <a:pt x="82" y="29"/>
                  </a:lnTo>
                  <a:lnTo>
                    <a:pt x="85" y="29"/>
                  </a:lnTo>
                  <a:lnTo>
                    <a:pt x="87" y="28"/>
                  </a:lnTo>
                  <a:lnTo>
                    <a:pt x="90" y="27"/>
                  </a:lnTo>
                  <a:lnTo>
                    <a:pt x="92" y="27"/>
                  </a:lnTo>
                  <a:lnTo>
                    <a:pt x="94" y="26"/>
                  </a:lnTo>
                  <a:lnTo>
                    <a:pt x="96" y="25"/>
                  </a:lnTo>
                  <a:lnTo>
                    <a:pt x="99" y="22"/>
                  </a:lnTo>
                  <a:lnTo>
                    <a:pt x="104" y="20"/>
                  </a:lnTo>
                  <a:lnTo>
                    <a:pt x="107" y="17"/>
                  </a:lnTo>
                  <a:lnTo>
                    <a:pt x="119" y="7"/>
                  </a:lnTo>
                  <a:lnTo>
                    <a:pt x="122" y="5"/>
                  </a:lnTo>
                  <a:lnTo>
                    <a:pt x="125" y="3"/>
                  </a:lnTo>
                  <a:lnTo>
                    <a:pt x="129" y="1"/>
                  </a:lnTo>
                  <a:lnTo>
                    <a:pt x="131" y="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FFCC29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102">
              <a:extLst>
                <a:ext uri="{FF2B5EF4-FFF2-40B4-BE49-F238E27FC236}">
                  <a16:creationId xmlns:a16="http://schemas.microsoft.com/office/drawing/2014/main" id="{876BB4BF-3744-D9CA-58CA-DE90DAAFF4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436" y="4598825"/>
              <a:ext cx="846138" cy="966788"/>
            </a:xfrm>
            <a:custGeom>
              <a:avLst/>
              <a:gdLst>
                <a:gd name="T0" fmla="*/ 147 w 533"/>
                <a:gd name="T1" fmla="*/ 19 h 609"/>
                <a:gd name="T2" fmla="*/ 172 w 533"/>
                <a:gd name="T3" fmla="*/ 6 h 609"/>
                <a:gd name="T4" fmla="*/ 193 w 533"/>
                <a:gd name="T5" fmla="*/ 21 h 609"/>
                <a:gd name="T6" fmla="*/ 222 w 533"/>
                <a:gd name="T7" fmla="*/ 35 h 609"/>
                <a:gd name="T8" fmla="*/ 252 w 533"/>
                <a:gd name="T9" fmla="*/ 44 h 609"/>
                <a:gd name="T10" fmla="*/ 273 w 533"/>
                <a:gd name="T11" fmla="*/ 61 h 609"/>
                <a:gd name="T12" fmla="*/ 279 w 533"/>
                <a:gd name="T13" fmla="*/ 70 h 609"/>
                <a:gd name="T14" fmla="*/ 294 w 533"/>
                <a:gd name="T15" fmla="*/ 84 h 609"/>
                <a:gd name="T16" fmla="*/ 290 w 533"/>
                <a:gd name="T17" fmla="*/ 103 h 609"/>
                <a:gd name="T18" fmla="*/ 270 w 533"/>
                <a:gd name="T19" fmla="*/ 120 h 609"/>
                <a:gd name="T20" fmla="*/ 279 w 533"/>
                <a:gd name="T21" fmla="*/ 148 h 609"/>
                <a:gd name="T22" fmla="*/ 282 w 533"/>
                <a:gd name="T23" fmla="*/ 175 h 609"/>
                <a:gd name="T24" fmla="*/ 295 w 533"/>
                <a:gd name="T25" fmla="*/ 193 h 609"/>
                <a:gd name="T26" fmla="*/ 288 w 533"/>
                <a:gd name="T27" fmla="*/ 220 h 609"/>
                <a:gd name="T28" fmla="*/ 278 w 533"/>
                <a:gd name="T29" fmla="*/ 273 h 609"/>
                <a:gd name="T30" fmla="*/ 304 w 533"/>
                <a:gd name="T31" fmla="*/ 310 h 609"/>
                <a:gd name="T32" fmla="*/ 326 w 533"/>
                <a:gd name="T33" fmla="*/ 365 h 609"/>
                <a:gd name="T34" fmla="*/ 348 w 533"/>
                <a:gd name="T35" fmla="*/ 396 h 609"/>
                <a:gd name="T36" fmla="*/ 375 w 533"/>
                <a:gd name="T37" fmla="*/ 440 h 609"/>
                <a:gd name="T38" fmla="*/ 407 w 533"/>
                <a:gd name="T39" fmla="*/ 460 h 609"/>
                <a:gd name="T40" fmla="*/ 434 w 533"/>
                <a:gd name="T41" fmla="*/ 476 h 609"/>
                <a:gd name="T42" fmla="*/ 459 w 533"/>
                <a:gd name="T43" fmla="*/ 494 h 609"/>
                <a:gd name="T44" fmla="*/ 506 w 533"/>
                <a:gd name="T45" fmla="*/ 510 h 609"/>
                <a:gd name="T46" fmla="*/ 532 w 533"/>
                <a:gd name="T47" fmla="*/ 524 h 609"/>
                <a:gd name="T48" fmla="*/ 512 w 533"/>
                <a:gd name="T49" fmla="*/ 542 h 609"/>
                <a:gd name="T50" fmla="*/ 505 w 533"/>
                <a:gd name="T51" fmla="*/ 557 h 609"/>
                <a:gd name="T52" fmla="*/ 496 w 533"/>
                <a:gd name="T53" fmla="*/ 564 h 609"/>
                <a:gd name="T54" fmla="*/ 489 w 533"/>
                <a:gd name="T55" fmla="*/ 596 h 609"/>
                <a:gd name="T56" fmla="*/ 456 w 533"/>
                <a:gd name="T57" fmla="*/ 607 h 609"/>
                <a:gd name="T58" fmla="*/ 361 w 533"/>
                <a:gd name="T59" fmla="*/ 607 h 609"/>
                <a:gd name="T60" fmla="*/ 326 w 533"/>
                <a:gd name="T61" fmla="*/ 593 h 609"/>
                <a:gd name="T62" fmla="*/ 302 w 533"/>
                <a:gd name="T63" fmla="*/ 564 h 609"/>
                <a:gd name="T64" fmla="*/ 280 w 533"/>
                <a:gd name="T65" fmla="*/ 553 h 609"/>
                <a:gd name="T66" fmla="*/ 261 w 533"/>
                <a:gd name="T67" fmla="*/ 540 h 609"/>
                <a:gd name="T68" fmla="*/ 241 w 533"/>
                <a:gd name="T69" fmla="*/ 564 h 609"/>
                <a:gd name="T70" fmla="*/ 197 w 533"/>
                <a:gd name="T71" fmla="*/ 576 h 609"/>
                <a:gd name="T72" fmla="*/ 159 w 533"/>
                <a:gd name="T73" fmla="*/ 572 h 609"/>
                <a:gd name="T74" fmla="*/ 104 w 533"/>
                <a:gd name="T75" fmla="*/ 544 h 609"/>
                <a:gd name="T76" fmla="*/ 55 w 533"/>
                <a:gd name="T77" fmla="*/ 539 h 609"/>
                <a:gd name="T78" fmla="*/ 34 w 533"/>
                <a:gd name="T79" fmla="*/ 518 h 609"/>
                <a:gd name="T80" fmla="*/ 0 w 533"/>
                <a:gd name="T81" fmla="*/ 507 h 609"/>
                <a:gd name="T82" fmla="*/ 13 w 533"/>
                <a:gd name="T83" fmla="*/ 466 h 609"/>
                <a:gd name="T84" fmla="*/ 18 w 533"/>
                <a:gd name="T85" fmla="*/ 440 h 609"/>
                <a:gd name="T86" fmla="*/ 7 w 533"/>
                <a:gd name="T87" fmla="*/ 407 h 609"/>
                <a:gd name="T88" fmla="*/ 29 w 533"/>
                <a:gd name="T89" fmla="*/ 387 h 609"/>
                <a:gd name="T90" fmla="*/ 24 w 533"/>
                <a:gd name="T91" fmla="*/ 368 h 609"/>
                <a:gd name="T92" fmla="*/ 18 w 533"/>
                <a:gd name="T93" fmla="*/ 350 h 609"/>
                <a:gd name="T94" fmla="*/ 35 w 533"/>
                <a:gd name="T95" fmla="*/ 335 h 609"/>
                <a:gd name="T96" fmla="*/ 37 w 533"/>
                <a:gd name="T97" fmla="*/ 310 h 609"/>
                <a:gd name="T98" fmla="*/ 71 w 533"/>
                <a:gd name="T99" fmla="*/ 275 h 609"/>
                <a:gd name="T100" fmla="*/ 92 w 533"/>
                <a:gd name="T101" fmla="*/ 228 h 609"/>
                <a:gd name="T102" fmla="*/ 81 w 533"/>
                <a:gd name="T103" fmla="*/ 201 h 609"/>
                <a:gd name="T104" fmla="*/ 79 w 533"/>
                <a:gd name="T105" fmla="*/ 143 h 609"/>
                <a:gd name="T106" fmla="*/ 77 w 533"/>
                <a:gd name="T107" fmla="*/ 99 h 609"/>
                <a:gd name="T108" fmla="*/ 68 w 533"/>
                <a:gd name="T109" fmla="*/ 56 h 609"/>
                <a:gd name="T110" fmla="*/ 71 w 533"/>
                <a:gd name="T111" fmla="*/ 24 h 609"/>
                <a:gd name="T112" fmla="*/ 86 w 533"/>
                <a:gd name="T113" fmla="*/ 21 h 609"/>
                <a:gd name="T114" fmla="*/ 106 w 533"/>
                <a:gd name="T115" fmla="*/ 12 h 609"/>
                <a:gd name="T116" fmla="*/ 127 w 533"/>
                <a:gd name="T117" fmla="*/ 0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3" h="609">
                  <a:moveTo>
                    <a:pt x="127" y="0"/>
                  </a:moveTo>
                  <a:lnTo>
                    <a:pt x="128" y="0"/>
                  </a:lnTo>
                  <a:lnTo>
                    <a:pt x="129" y="0"/>
                  </a:lnTo>
                  <a:lnTo>
                    <a:pt x="132" y="6"/>
                  </a:lnTo>
                  <a:lnTo>
                    <a:pt x="138" y="15"/>
                  </a:lnTo>
                  <a:lnTo>
                    <a:pt x="139" y="17"/>
                  </a:lnTo>
                  <a:lnTo>
                    <a:pt x="139" y="18"/>
                  </a:lnTo>
                  <a:lnTo>
                    <a:pt x="141" y="18"/>
                  </a:lnTo>
                  <a:lnTo>
                    <a:pt x="142" y="19"/>
                  </a:lnTo>
                  <a:lnTo>
                    <a:pt x="143" y="19"/>
                  </a:lnTo>
                  <a:lnTo>
                    <a:pt x="147" y="19"/>
                  </a:lnTo>
                  <a:lnTo>
                    <a:pt x="148" y="19"/>
                  </a:lnTo>
                  <a:lnTo>
                    <a:pt x="150" y="18"/>
                  </a:lnTo>
                  <a:lnTo>
                    <a:pt x="153" y="17"/>
                  </a:lnTo>
                  <a:lnTo>
                    <a:pt x="155" y="15"/>
                  </a:lnTo>
                  <a:lnTo>
                    <a:pt x="157" y="13"/>
                  </a:lnTo>
                  <a:lnTo>
                    <a:pt x="164" y="8"/>
                  </a:lnTo>
                  <a:lnTo>
                    <a:pt x="165" y="7"/>
                  </a:lnTo>
                  <a:lnTo>
                    <a:pt x="167" y="6"/>
                  </a:lnTo>
                  <a:lnTo>
                    <a:pt x="169" y="6"/>
                  </a:lnTo>
                  <a:lnTo>
                    <a:pt x="170" y="6"/>
                  </a:lnTo>
                  <a:lnTo>
                    <a:pt x="172" y="6"/>
                  </a:lnTo>
                  <a:lnTo>
                    <a:pt x="174" y="7"/>
                  </a:lnTo>
                  <a:lnTo>
                    <a:pt x="175" y="7"/>
                  </a:lnTo>
                  <a:lnTo>
                    <a:pt x="176" y="8"/>
                  </a:lnTo>
                  <a:lnTo>
                    <a:pt x="177" y="9"/>
                  </a:lnTo>
                  <a:lnTo>
                    <a:pt x="179" y="10"/>
                  </a:lnTo>
                  <a:lnTo>
                    <a:pt x="183" y="15"/>
                  </a:lnTo>
                  <a:lnTo>
                    <a:pt x="184" y="16"/>
                  </a:lnTo>
                  <a:lnTo>
                    <a:pt x="186" y="17"/>
                  </a:lnTo>
                  <a:lnTo>
                    <a:pt x="187" y="18"/>
                  </a:lnTo>
                  <a:lnTo>
                    <a:pt x="192" y="20"/>
                  </a:lnTo>
                  <a:lnTo>
                    <a:pt x="193" y="21"/>
                  </a:lnTo>
                  <a:lnTo>
                    <a:pt x="194" y="21"/>
                  </a:lnTo>
                  <a:lnTo>
                    <a:pt x="194" y="22"/>
                  </a:lnTo>
                  <a:lnTo>
                    <a:pt x="195" y="25"/>
                  </a:lnTo>
                  <a:lnTo>
                    <a:pt x="196" y="25"/>
                  </a:lnTo>
                  <a:lnTo>
                    <a:pt x="197" y="26"/>
                  </a:lnTo>
                  <a:lnTo>
                    <a:pt x="198" y="27"/>
                  </a:lnTo>
                  <a:lnTo>
                    <a:pt x="201" y="28"/>
                  </a:lnTo>
                  <a:lnTo>
                    <a:pt x="208" y="31"/>
                  </a:lnTo>
                  <a:lnTo>
                    <a:pt x="212" y="33"/>
                  </a:lnTo>
                  <a:lnTo>
                    <a:pt x="218" y="35"/>
                  </a:lnTo>
                  <a:lnTo>
                    <a:pt x="222" y="35"/>
                  </a:lnTo>
                  <a:lnTo>
                    <a:pt x="227" y="36"/>
                  </a:lnTo>
                  <a:lnTo>
                    <a:pt x="227" y="37"/>
                  </a:lnTo>
                  <a:lnTo>
                    <a:pt x="228" y="38"/>
                  </a:lnTo>
                  <a:lnTo>
                    <a:pt x="229" y="38"/>
                  </a:lnTo>
                  <a:lnTo>
                    <a:pt x="230" y="38"/>
                  </a:lnTo>
                  <a:lnTo>
                    <a:pt x="232" y="39"/>
                  </a:lnTo>
                  <a:lnTo>
                    <a:pt x="241" y="40"/>
                  </a:lnTo>
                  <a:lnTo>
                    <a:pt x="244" y="40"/>
                  </a:lnTo>
                  <a:lnTo>
                    <a:pt x="246" y="42"/>
                  </a:lnTo>
                  <a:lnTo>
                    <a:pt x="249" y="43"/>
                  </a:lnTo>
                  <a:lnTo>
                    <a:pt x="252" y="44"/>
                  </a:lnTo>
                  <a:lnTo>
                    <a:pt x="254" y="45"/>
                  </a:lnTo>
                  <a:lnTo>
                    <a:pt x="257" y="48"/>
                  </a:lnTo>
                  <a:lnTo>
                    <a:pt x="259" y="49"/>
                  </a:lnTo>
                  <a:lnTo>
                    <a:pt x="260" y="50"/>
                  </a:lnTo>
                  <a:lnTo>
                    <a:pt x="261" y="50"/>
                  </a:lnTo>
                  <a:lnTo>
                    <a:pt x="264" y="55"/>
                  </a:lnTo>
                  <a:lnTo>
                    <a:pt x="266" y="58"/>
                  </a:lnTo>
                  <a:lnTo>
                    <a:pt x="268" y="59"/>
                  </a:lnTo>
                  <a:lnTo>
                    <a:pt x="270" y="60"/>
                  </a:lnTo>
                  <a:lnTo>
                    <a:pt x="271" y="61"/>
                  </a:lnTo>
                  <a:lnTo>
                    <a:pt x="273" y="61"/>
                  </a:lnTo>
                  <a:lnTo>
                    <a:pt x="276" y="62"/>
                  </a:lnTo>
                  <a:lnTo>
                    <a:pt x="277" y="63"/>
                  </a:lnTo>
                  <a:lnTo>
                    <a:pt x="279" y="63"/>
                  </a:lnTo>
                  <a:lnTo>
                    <a:pt x="280" y="64"/>
                  </a:lnTo>
                  <a:lnTo>
                    <a:pt x="281" y="65"/>
                  </a:lnTo>
                  <a:lnTo>
                    <a:pt x="281" y="65"/>
                  </a:lnTo>
                  <a:lnTo>
                    <a:pt x="281" y="66"/>
                  </a:lnTo>
                  <a:lnTo>
                    <a:pt x="281" y="67"/>
                  </a:lnTo>
                  <a:lnTo>
                    <a:pt x="279" y="68"/>
                  </a:lnTo>
                  <a:lnTo>
                    <a:pt x="279" y="69"/>
                  </a:lnTo>
                  <a:lnTo>
                    <a:pt x="279" y="70"/>
                  </a:lnTo>
                  <a:lnTo>
                    <a:pt x="279" y="71"/>
                  </a:lnTo>
                  <a:lnTo>
                    <a:pt x="279" y="73"/>
                  </a:lnTo>
                  <a:lnTo>
                    <a:pt x="280" y="74"/>
                  </a:lnTo>
                  <a:lnTo>
                    <a:pt x="280" y="75"/>
                  </a:lnTo>
                  <a:lnTo>
                    <a:pt x="284" y="80"/>
                  </a:lnTo>
                  <a:lnTo>
                    <a:pt x="286" y="81"/>
                  </a:lnTo>
                  <a:lnTo>
                    <a:pt x="287" y="82"/>
                  </a:lnTo>
                  <a:lnTo>
                    <a:pt x="289" y="83"/>
                  </a:lnTo>
                  <a:lnTo>
                    <a:pt x="293" y="83"/>
                  </a:lnTo>
                  <a:lnTo>
                    <a:pt x="294" y="84"/>
                  </a:lnTo>
                  <a:lnTo>
                    <a:pt x="294" y="84"/>
                  </a:lnTo>
                  <a:lnTo>
                    <a:pt x="295" y="85"/>
                  </a:lnTo>
                  <a:lnTo>
                    <a:pt x="296" y="85"/>
                  </a:lnTo>
                  <a:lnTo>
                    <a:pt x="296" y="87"/>
                  </a:lnTo>
                  <a:lnTo>
                    <a:pt x="296" y="88"/>
                  </a:lnTo>
                  <a:lnTo>
                    <a:pt x="296" y="89"/>
                  </a:lnTo>
                  <a:lnTo>
                    <a:pt x="296" y="91"/>
                  </a:lnTo>
                  <a:lnTo>
                    <a:pt x="296" y="93"/>
                  </a:lnTo>
                  <a:lnTo>
                    <a:pt x="294" y="95"/>
                  </a:lnTo>
                  <a:lnTo>
                    <a:pt x="293" y="98"/>
                  </a:lnTo>
                  <a:lnTo>
                    <a:pt x="291" y="101"/>
                  </a:lnTo>
                  <a:lnTo>
                    <a:pt x="290" y="103"/>
                  </a:lnTo>
                  <a:lnTo>
                    <a:pt x="288" y="105"/>
                  </a:lnTo>
                  <a:lnTo>
                    <a:pt x="286" y="107"/>
                  </a:lnTo>
                  <a:lnTo>
                    <a:pt x="284" y="108"/>
                  </a:lnTo>
                  <a:lnTo>
                    <a:pt x="280" y="110"/>
                  </a:lnTo>
                  <a:lnTo>
                    <a:pt x="278" y="110"/>
                  </a:lnTo>
                  <a:lnTo>
                    <a:pt x="276" y="111"/>
                  </a:lnTo>
                  <a:lnTo>
                    <a:pt x="275" y="113"/>
                  </a:lnTo>
                  <a:lnTo>
                    <a:pt x="273" y="115"/>
                  </a:lnTo>
                  <a:lnTo>
                    <a:pt x="271" y="117"/>
                  </a:lnTo>
                  <a:lnTo>
                    <a:pt x="270" y="120"/>
                  </a:lnTo>
                  <a:lnTo>
                    <a:pt x="270" y="120"/>
                  </a:lnTo>
                  <a:lnTo>
                    <a:pt x="269" y="122"/>
                  </a:lnTo>
                  <a:lnTo>
                    <a:pt x="269" y="123"/>
                  </a:lnTo>
                  <a:lnTo>
                    <a:pt x="270" y="125"/>
                  </a:lnTo>
                  <a:lnTo>
                    <a:pt x="270" y="125"/>
                  </a:lnTo>
                  <a:lnTo>
                    <a:pt x="271" y="128"/>
                  </a:lnTo>
                  <a:lnTo>
                    <a:pt x="272" y="130"/>
                  </a:lnTo>
                  <a:lnTo>
                    <a:pt x="275" y="135"/>
                  </a:lnTo>
                  <a:lnTo>
                    <a:pt x="276" y="138"/>
                  </a:lnTo>
                  <a:lnTo>
                    <a:pt x="277" y="140"/>
                  </a:lnTo>
                  <a:lnTo>
                    <a:pt x="278" y="145"/>
                  </a:lnTo>
                  <a:lnTo>
                    <a:pt x="279" y="148"/>
                  </a:lnTo>
                  <a:lnTo>
                    <a:pt x="280" y="152"/>
                  </a:lnTo>
                  <a:lnTo>
                    <a:pt x="283" y="159"/>
                  </a:lnTo>
                  <a:lnTo>
                    <a:pt x="284" y="161"/>
                  </a:lnTo>
                  <a:lnTo>
                    <a:pt x="284" y="163"/>
                  </a:lnTo>
                  <a:lnTo>
                    <a:pt x="284" y="165"/>
                  </a:lnTo>
                  <a:lnTo>
                    <a:pt x="284" y="167"/>
                  </a:lnTo>
                  <a:lnTo>
                    <a:pt x="282" y="169"/>
                  </a:lnTo>
                  <a:lnTo>
                    <a:pt x="281" y="170"/>
                  </a:lnTo>
                  <a:lnTo>
                    <a:pt x="281" y="172"/>
                  </a:lnTo>
                  <a:lnTo>
                    <a:pt x="281" y="173"/>
                  </a:lnTo>
                  <a:lnTo>
                    <a:pt x="282" y="175"/>
                  </a:lnTo>
                  <a:lnTo>
                    <a:pt x="284" y="176"/>
                  </a:lnTo>
                  <a:lnTo>
                    <a:pt x="286" y="178"/>
                  </a:lnTo>
                  <a:lnTo>
                    <a:pt x="290" y="181"/>
                  </a:lnTo>
                  <a:lnTo>
                    <a:pt x="291" y="183"/>
                  </a:lnTo>
                  <a:lnTo>
                    <a:pt x="292" y="183"/>
                  </a:lnTo>
                  <a:lnTo>
                    <a:pt x="294" y="185"/>
                  </a:lnTo>
                  <a:lnTo>
                    <a:pt x="295" y="188"/>
                  </a:lnTo>
                  <a:lnTo>
                    <a:pt x="295" y="189"/>
                  </a:lnTo>
                  <a:lnTo>
                    <a:pt x="296" y="190"/>
                  </a:lnTo>
                  <a:lnTo>
                    <a:pt x="296" y="192"/>
                  </a:lnTo>
                  <a:lnTo>
                    <a:pt x="295" y="193"/>
                  </a:lnTo>
                  <a:lnTo>
                    <a:pt x="294" y="198"/>
                  </a:lnTo>
                  <a:lnTo>
                    <a:pt x="293" y="200"/>
                  </a:lnTo>
                  <a:lnTo>
                    <a:pt x="293" y="202"/>
                  </a:lnTo>
                  <a:lnTo>
                    <a:pt x="294" y="206"/>
                  </a:lnTo>
                  <a:lnTo>
                    <a:pt x="294" y="208"/>
                  </a:lnTo>
                  <a:lnTo>
                    <a:pt x="294" y="210"/>
                  </a:lnTo>
                  <a:lnTo>
                    <a:pt x="293" y="211"/>
                  </a:lnTo>
                  <a:lnTo>
                    <a:pt x="293" y="212"/>
                  </a:lnTo>
                  <a:lnTo>
                    <a:pt x="292" y="213"/>
                  </a:lnTo>
                  <a:lnTo>
                    <a:pt x="289" y="217"/>
                  </a:lnTo>
                  <a:lnTo>
                    <a:pt x="288" y="220"/>
                  </a:lnTo>
                  <a:lnTo>
                    <a:pt x="288" y="222"/>
                  </a:lnTo>
                  <a:lnTo>
                    <a:pt x="287" y="227"/>
                  </a:lnTo>
                  <a:lnTo>
                    <a:pt x="286" y="230"/>
                  </a:lnTo>
                  <a:lnTo>
                    <a:pt x="285" y="233"/>
                  </a:lnTo>
                  <a:lnTo>
                    <a:pt x="282" y="241"/>
                  </a:lnTo>
                  <a:lnTo>
                    <a:pt x="281" y="245"/>
                  </a:lnTo>
                  <a:lnTo>
                    <a:pt x="280" y="248"/>
                  </a:lnTo>
                  <a:lnTo>
                    <a:pt x="279" y="259"/>
                  </a:lnTo>
                  <a:lnTo>
                    <a:pt x="277" y="266"/>
                  </a:lnTo>
                  <a:lnTo>
                    <a:pt x="277" y="270"/>
                  </a:lnTo>
                  <a:lnTo>
                    <a:pt x="278" y="273"/>
                  </a:lnTo>
                  <a:lnTo>
                    <a:pt x="278" y="275"/>
                  </a:lnTo>
                  <a:lnTo>
                    <a:pt x="279" y="277"/>
                  </a:lnTo>
                  <a:lnTo>
                    <a:pt x="280" y="279"/>
                  </a:lnTo>
                  <a:lnTo>
                    <a:pt x="281" y="281"/>
                  </a:lnTo>
                  <a:lnTo>
                    <a:pt x="282" y="283"/>
                  </a:lnTo>
                  <a:lnTo>
                    <a:pt x="284" y="285"/>
                  </a:lnTo>
                  <a:lnTo>
                    <a:pt x="291" y="292"/>
                  </a:lnTo>
                  <a:lnTo>
                    <a:pt x="296" y="298"/>
                  </a:lnTo>
                  <a:lnTo>
                    <a:pt x="299" y="302"/>
                  </a:lnTo>
                  <a:lnTo>
                    <a:pt x="302" y="306"/>
                  </a:lnTo>
                  <a:lnTo>
                    <a:pt x="304" y="310"/>
                  </a:lnTo>
                  <a:lnTo>
                    <a:pt x="306" y="314"/>
                  </a:lnTo>
                  <a:lnTo>
                    <a:pt x="314" y="327"/>
                  </a:lnTo>
                  <a:lnTo>
                    <a:pt x="316" y="332"/>
                  </a:lnTo>
                  <a:lnTo>
                    <a:pt x="319" y="337"/>
                  </a:lnTo>
                  <a:lnTo>
                    <a:pt x="321" y="345"/>
                  </a:lnTo>
                  <a:lnTo>
                    <a:pt x="324" y="352"/>
                  </a:lnTo>
                  <a:lnTo>
                    <a:pt x="324" y="355"/>
                  </a:lnTo>
                  <a:lnTo>
                    <a:pt x="325" y="357"/>
                  </a:lnTo>
                  <a:lnTo>
                    <a:pt x="326" y="360"/>
                  </a:lnTo>
                  <a:lnTo>
                    <a:pt x="326" y="363"/>
                  </a:lnTo>
                  <a:lnTo>
                    <a:pt x="326" y="365"/>
                  </a:lnTo>
                  <a:lnTo>
                    <a:pt x="326" y="367"/>
                  </a:lnTo>
                  <a:lnTo>
                    <a:pt x="327" y="369"/>
                  </a:lnTo>
                  <a:lnTo>
                    <a:pt x="328" y="370"/>
                  </a:lnTo>
                  <a:lnTo>
                    <a:pt x="329" y="373"/>
                  </a:lnTo>
                  <a:lnTo>
                    <a:pt x="331" y="375"/>
                  </a:lnTo>
                  <a:lnTo>
                    <a:pt x="332" y="377"/>
                  </a:lnTo>
                  <a:lnTo>
                    <a:pt x="334" y="379"/>
                  </a:lnTo>
                  <a:lnTo>
                    <a:pt x="339" y="383"/>
                  </a:lnTo>
                  <a:lnTo>
                    <a:pt x="341" y="385"/>
                  </a:lnTo>
                  <a:lnTo>
                    <a:pt x="346" y="392"/>
                  </a:lnTo>
                  <a:lnTo>
                    <a:pt x="348" y="396"/>
                  </a:lnTo>
                  <a:lnTo>
                    <a:pt x="351" y="400"/>
                  </a:lnTo>
                  <a:lnTo>
                    <a:pt x="352" y="405"/>
                  </a:lnTo>
                  <a:lnTo>
                    <a:pt x="354" y="408"/>
                  </a:lnTo>
                  <a:lnTo>
                    <a:pt x="356" y="416"/>
                  </a:lnTo>
                  <a:lnTo>
                    <a:pt x="357" y="420"/>
                  </a:lnTo>
                  <a:lnTo>
                    <a:pt x="359" y="424"/>
                  </a:lnTo>
                  <a:lnTo>
                    <a:pt x="361" y="427"/>
                  </a:lnTo>
                  <a:lnTo>
                    <a:pt x="363" y="430"/>
                  </a:lnTo>
                  <a:lnTo>
                    <a:pt x="365" y="432"/>
                  </a:lnTo>
                  <a:lnTo>
                    <a:pt x="370" y="436"/>
                  </a:lnTo>
                  <a:lnTo>
                    <a:pt x="375" y="440"/>
                  </a:lnTo>
                  <a:lnTo>
                    <a:pt x="377" y="442"/>
                  </a:lnTo>
                  <a:lnTo>
                    <a:pt x="379" y="445"/>
                  </a:lnTo>
                  <a:lnTo>
                    <a:pt x="383" y="450"/>
                  </a:lnTo>
                  <a:lnTo>
                    <a:pt x="384" y="452"/>
                  </a:lnTo>
                  <a:lnTo>
                    <a:pt x="385" y="453"/>
                  </a:lnTo>
                  <a:lnTo>
                    <a:pt x="386" y="454"/>
                  </a:lnTo>
                  <a:lnTo>
                    <a:pt x="389" y="455"/>
                  </a:lnTo>
                  <a:lnTo>
                    <a:pt x="390" y="456"/>
                  </a:lnTo>
                  <a:lnTo>
                    <a:pt x="392" y="457"/>
                  </a:lnTo>
                  <a:lnTo>
                    <a:pt x="396" y="458"/>
                  </a:lnTo>
                  <a:lnTo>
                    <a:pt x="407" y="460"/>
                  </a:lnTo>
                  <a:lnTo>
                    <a:pt x="415" y="462"/>
                  </a:lnTo>
                  <a:lnTo>
                    <a:pt x="418" y="462"/>
                  </a:lnTo>
                  <a:lnTo>
                    <a:pt x="424" y="463"/>
                  </a:lnTo>
                  <a:lnTo>
                    <a:pt x="426" y="463"/>
                  </a:lnTo>
                  <a:lnTo>
                    <a:pt x="428" y="464"/>
                  </a:lnTo>
                  <a:lnTo>
                    <a:pt x="429" y="464"/>
                  </a:lnTo>
                  <a:lnTo>
                    <a:pt x="430" y="465"/>
                  </a:lnTo>
                  <a:lnTo>
                    <a:pt x="431" y="466"/>
                  </a:lnTo>
                  <a:lnTo>
                    <a:pt x="431" y="468"/>
                  </a:lnTo>
                  <a:lnTo>
                    <a:pt x="432" y="470"/>
                  </a:lnTo>
                  <a:lnTo>
                    <a:pt x="434" y="476"/>
                  </a:lnTo>
                  <a:lnTo>
                    <a:pt x="434" y="478"/>
                  </a:lnTo>
                  <a:lnTo>
                    <a:pt x="436" y="480"/>
                  </a:lnTo>
                  <a:lnTo>
                    <a:pt x="437" y="482"/>
                  </a:lnTo>
                  <a:lnTo>
                    <a:pt x="439" y="484"/>
                  </a:lnTo>
                  <a:lnTo>
                    <a:pt x="442" y="485"/>
                  </a:lnTo>
                  <a:lnTo>
                    <a:pt x="444" y="486"/>
                  </a:lnTo>
                  <a:lnTo>
                    <a:pt x="454" y="489"/>
                  </a:lnTo>
                  <a:lnTo>
                    <a:pt x="456" y="489"/>
                  </a:lnTo>
                  <a:lnTo>
                    <a:pt x="457" y="491"/>
                  </a:lnTo>
                  <a:lnTo>
                    <a:pt x="459" y="492"/>
                  </a:lnTo>
                  <a:lnTo>
                    <a:pt x="459" y="494"/>
                  </a:lnTo>
                  <a:lnTo>
                    <a:pt x="463" y="499"/>
                  </a:lnTo>
                  <a:lnTo>
                    <a:pt x="464" y="502"/>
                  </a:lnTo>
                  <a:lnTo>
                    <a:pt x="466" y="503"/>
                  </a:lnTo>
                  <a:lnTo>
                    <a:pt x="468" y="504"/>
                  </a:lnTo>
                  <a:lnTo>
                    <a:pt x="471" y="505"/>
                  </a:lnTo>
                  <a:lnTo>
                    <a:pt x="476" y="507"/>
                  </a:lnTo>
                  <a:lnTo>
                    <a:pt x="481" y="508"/>
                  </a:lnTo>
                  <a:lnTo>
                    <a:pt x="486" y="509"/>
                  </a:lnTo>
                  <a:lnTo>
                    <a:pt x="490" y="509"/>
                  </a:lnTo>
                  <a:lnTo>
                    <a:pt x="501" y="509"/>
                  </a:lnTo>
                  <a:lnTo>
                    <a:pt x="506" y="510"/>
                  </a:lnTo>
                  <a:lnTo>
                    <a:pt x="510" y="511"/>
                  </a:lnTo>
                  <a:lnTo>
                    <a:pt x="515" y="512"/>
                  </a:lnTo>
                  <a:lnTo>
                    <a:pt x="525" y="513"/>
                  </a:lnTo>
                  <a:lnTo>
                    <a:pt x="528" y="514"/>
                  </a:lnTo>
                  <a:lnTo>
                    <a:pt x="531" y="514"/>
                  </a:lnTo>
                  <a:lnTo>
                    <a:pt x="532" y="514"/>
                  </a:lnTo>
                  <a:lnTo>
                    <a:pt x="533" y="514"/>
                  </a:lnTo>
                  <a:lnTo>
                    <a:pt x="533" y="515"/>
                  </a:lnTo>
                  <a:lnTo>
                    <a:pt x="533" y="517"/>
                  </a:lnTo>
                  <a:lnTo>
                    <a:pt x="533" y="521"/>
                  </a:lnTo>
                  <a:lnTo>
                    <a:pt x="532" y="524"/>
                  </a:lnTo>
                  <a:lnTo>
                    <a:pt x="531" y="527"/>
                  </a:lnTo>
                  <a:lnTo>
                    <a:pt x="531" y="529"/>
                  </a:lnTo>
                  <a:lnTo>
                    <a:pt x="530" y="532"/>
                  </a:lnTo>
                  <a:lnTo>
                    <a:pt x="529" y="533"/>
                  </a:lnTo>
                  <a:lnTo>
                    <a:pt x="526" y="537"/>
                  </a:lnTo>
                  <a:lnTo>
                    <a:pt x="524" y="537"/>
                  </a:lnTo>
                  <a:lnTo>
                    <a:pt x="523" y="539"/>
                  </a:lnTo>
                  <a:lnTo>
                    <a:pt x="520" y="539"/>
                  </a:lnTo>
                  <a:lnTo>
                    <a:pt x="518" y="541"/>
                  </a:lnTo>
                  <a:lnTo>
                    <a:pt x="516" y="541"/>
                  </a:lnTo>
                  <a:lnTo>
                    <a:pt x="512" y="542"/>
                  </a:lnTo>
                  <a:lnTo>
                    <a:pt x="511" y="542"/>
                  </a:lnTo>
                  <a:lnTo>
                    <a:pt x="511" y="543"/>
                  </a:lnTo>
                  <a:lnTo>
                    <a:pt x="510" y="544"/>
                  </a:lnTo>
                  <a:lnTo>
                    <a:pt x="509" y="544"/>
                  </a:lnTo>
                  <a:lnTo>
                    <a:pt x="508" y="546"/>
                  </a:lnTo>
                  <a:lnTo>
                    <a:pt x="508" y="547"/>
                  </a:lnTo>
                  <a:lnTo>
                    <a:pt x="507" y="549"/>
                  </a:lnTo>
                  <a:lnTo>
                    <a:pt x="506" y="554"/>
                  </a:lnTo>
                  <a:lnTo>
                    <a:pt x="506" y="556"/>
                  </a:lnTo>
                  <a:lnTo>
                    <a:pt x="506" y="557"/>
                  </a:lnTo>
                  <a:lnTo>
                    <a:pt x="505" y="557"/>
                  </a:lnTo>
                  <a:lnTo>
                    <a:pt x="504" y="557"/>
                  </a:lnTo>
                  <a:lnTo>
                    <a:pt x="502" y="558"/>
                  </a:lnTo>
                  <a:lnTo>
                    <a:pt x="499" y="559"/>
                  </a:lnTo>
                  <a:lnTo>
                    <a:pt x="498" y="559"/>
                  </a:lnTo>
                  <a:lnTo>
                    <a:pt x="497" y="559"/>
                  </a:lnTo>
                  <a:lnTo>
                    <a:pt x="496" y="560"/>
                  </a:lnTo>
                  <a:lnTo>
                    <a:pt x="496" y="561"/>
                  </a:lnTo>
                  <a:lnTo>
                    <a:pt x="496" y="562"/>
                  </a:lnTo>
                  <a:lnTo>
                    <a:pt x="496" y="562"/>
                  </a:lnTo>
                  <a:lnTo>
                    <a:pt x="496" y="563"/>
                  </a:lnTo>
                  <a:lnTo>
                    <a:pt x="496" y="564"/>
                  </a:lnTo>
                  <a:lnTo>
                    <a:pt x="501" y="572"/>
                  </a:lnTo>
                  <a:lnTo>
                    <a:pt x="503" y="577"/>
                  </a:lnTo>
                  <a:lnTo>
                    <a:pt x="503" y="578"/>
                  </a:lnTo>
                  <a:lnTo>
                    <a:pt x="502" y="580"/>
                  </a:lnTo>
                  <a:lnTo>
                    <a:pt x="501" y="582"/>
                  </a:lnTo>
                  <a:lnTo>
                    <a:pt x="501" y="584"/>
                  </a:lnTo>
                  <a:lnTo>
                    <a:pt x="499" y="586"/>
                  </a:lnTo>
                  <a:lnTo>
                    <a:pt x="496" y="589"/>
                  </a:lnTo>
                  <a:lnTo>
                    <a:pt x="494" y="592"/>
                  </a:lnTo>
                  <a:lnTo>
                    <a:pt x="491" y="594"/>
                  </a:lnTo>
                  <a:lnTo>
                    <a:pt x="489" y="596"/>
                  </a:lnTo>
                  <a:lnTo>
                    <a:pt x="487" y="597"/>
                  </a:lnTo>
                  <a:lnTo>
                    <a:pt x="484" y="599"/>
                  </a:lnTo>
                  <a:lnTo>
                    <a:pt x="482" y="600"/>
                  </a:lnTo>
                  <a:lnTo>
                    <a:pt x="479" y="602"/>
                  </a:lnTo>
                  <a:lnTo>
                    <a:pt x="476" y="603"/>
                  </a:lnTo>
                  <a:lnTo>
                    <a:pt x="474" y="604"/>
                  </a:lnTo>
                  <a:lnTo>
                    <a:pt x="471" y="605"/>
                  </a:lnTo>
                  <a:lnTo>
                    <a:pt x="468" y="605"/>
                  </a:lnTo>
                  <a:lnTo>
                    <a:pt x="465" y="606"/>
                  </a:lnTo>
                  <a:lnTo>
                    <a:pt x="461" y="607"/>
                  </a:lnTo>
                  <a:lnTo>
                    <a:pt x="456" y="607"/>
                  </a:lnTo>
                  <a:lnTo>
                    <a:pt x="451" y="607"/>
                  </a:lnTo>
                  <a:lnTo>
                    <a:pt x="440" y="607"/>
                  </a:lnTo>
                  <a:lnTo>
                    <a:pt x="434" y="607"/>
                  </a:lnTo>
                  <a:lnTo>
                    <a:pt x="421" y="607"/>
                  </a:lnTo>
                  <a:lnTo>
                    <a:pt x="410" y="608"/>
                  </a:lnTo>
                  <a:lnTo>
                    <a:pt x="396" y="609"/>
                  </a:lnTo>
                  <a:lnTo>
                    <a:pt x="385" y="609"/>
                  </a:lnTo>
                  <a:lnTo>
                    <a:pt x="380" y="609"/>
                  </a:lnTo>
                  <a:lnTo>
                    <a:pt x="370" y="609"/>
                  </a:lnTo>
                  <a:lnTo>
                    <a:pt x="364" y="607"/>
                  </a:lnTo>
                  <a:lnTo>
                    <a:pt x="361" y="607"/>
                  </a:lnTo>
                  <a:lnTo>
                    <a:pt x="358" y="605"/>
                  </a:lnTo>
                  <a:lnTo>
                    <a:pt x="352" y="602"/>
                  </a:lnTo>
                  <a:lnTo>
                    <a:pt x="349" y="602"/>
                  </a:lnTo>
                  <a:lnTo>
                    <a:pt x="344" y="600"/>
                  </a:lnTo>
                  <a:lnTo>
                    <a:pt x="337" y="599"/>
                  </a:lnTo>
                  <a:lnTo>
                    <a:pt x="335" y="599"/>
                  </a:lnTo>
                  <a:lnTo>
                    <a:pt x="332" y="598"/>
                  </a:lnTo>
                  <a:lnTo>
                    <a:pt x="330" y="597"/>
                  </a:lnTo>
                  <a:lnTo>
                    <a:pt x="329" y="596"/>
                  </a:lnTo>
                  <a:lnTo>
                    <a:pt x="327" y="594"/>
                  </a:lnTo>
                  <a:lnTo>
                    <a:pt x="326" y="593"/>
                  </a:lnTo>
                  <a:lnTo>
                    <a:pt x="325" y="592"/>
                  </a:lnTo>
                  <a:lnTo>
                    <a:pt x="323" y="589"/>
                  </a:lnTo>
                  <a:lnTo>
                    <a:pt x="319" y="582"/>
                  </a:lnTo>
                  <a:lnTo>
                    <a:pt x="317" y="580"/>
                  </a:lnTo>
                  <a:lnTo>
                    <a:pt x="316" y="579"/>
                  </a:lnTo>
                  <a:lnTo>
                    <a:pt x="313" y="576"/>
                  </a:lnTo>
                  <a:lnTo>
                    <a:pt x="307" y="570"/>
                  </a:lnTo>
                  <a:lnTo>
                    <a:pt x="305" y="568"/>
                  </a:lnTo>
                  <a:lnTo>
                    <a:pt x="304" y="567"/>
                  </a:lnTo>
                  <a:lnTo>
                    <a:pt x="303" y="566"/>
                  </a:lnTo>
                  <a:lnTo>
                    <a:pt x="302" y="564"/>
                  </a:lnTo>
                  <a:lnTo>
                    <a:pt x="300" y="560"/>
                  </a:lnTo>
                  <a:lnTo>
                    <a:pt x="299" y="558"/>
                  </a:lnTo>
                  <a:lnTo>
                    <a:pt x="299" y="556"/>
                  </a:lnTo>
                  <a:lnTo>
                    <a:pt x="296" y="554"/>
                  </a:lnTo>
                  <a:lnTo>
                    <a:pt x="296" y="554"/>
                  </a:lnTo>
                  <a:lnTo>
                    <a:pt x="294" y="553"/>
                  </a:lnTo>
                  <a:lnTo>
                    <a:pt x="294" y="553"/>
                  </a:lnTo>
                  <a:lnTo>
                    <a:pt x="292" y="552"/>
                  </a:lnTo>
                  <a:lnTo>
                    <a:pt x="289" y="552"/>
                  </a:lnTo>
                  <a:lnTo>
                    <a:pt x="282" y="553"/>
                  </a:lnTo>
                  <a:lnTo>
                    <a:pt x="280" y="553"/>
                  </a:lnTo>
                  <a:lnTo>
                    <a:pt x="276" y="553"/>
                  </a:lnTo>
                  <a:lnTo>
                    <a:pt x="276" y="553"/>
                  </a:lnTo>
                  <a:lnTo>
                    <a:pt x="274" y="552"/>
                  </a:lnTo>
                  <a:lnTo>
                    <a:pt x="272" y="551"/>
                  </a:lnTo>
                  <a:lnTo>
                    <a:pt x="270" y="549"/>
                  </a:lnTo>
                  <a:lnTo>
                    <a:pt x="268" y="547"/>
                  </a:lnTo>
                  <a:lnTo>
                    <a:pt x="266" y="544"/>
                  </a:lnTo>
                  <a:lnTo>
                    <a:pt x="264" y="542"/>
                  </a:lnTo>
                  <a:lnTo>
                    <a:pt x="262" y="541"/>
                  </a:lnTo>
                  <a:lnTo>
                    <a:pt x="261" y="540"/>
                  </a:lnTo>
                  <a:lnTo>
                    <a:pt x="261" y="540"/>
                  </a:lnTo>
                  <a:lnTo>
                    <a:pt x="259" y="539"/>
                  </a:lnTo>
                  <a:lnTo>
                    <a:pt x="257" y="540"/>
                  </a:lnTo>
                  <a:lnTo>
                    <a:pt x="256" y="541"/>
                  </a:lnTo>
                  <a:lnTo>
                    <a:pt x="254" y="542"/>
                  </a:lnTo>
                  <a:lnTo>
                    <a:pt x="254" y="543"/>
                  </a:lnTo>
                  <a:lnTo>
                    <a:pt x="252" y="546"/>
                  </a:lnTo>
                  <a:lnTo>
                    <a:pt x="247" y="556"/>
                  </a:lnTo>
                  <a:lnTo>
                    <a:pt x="244" y="561"/>
                  </a:lnTo>
                  <a:lnTo>
                    <a:pt x="243" y="562"/>
                  </a:lnTo>
                  <a:lnTo>
                    <a:pt x="242" y="563"/>
                  </a:lnTo>
                  <a:lnTo>
                    <a:pt x="241" y="564"/>
                  </a:lnTo>
                  <a:lnTo>
                    <a:pt x="239" y="564"/>
                  </a:lnTo>
                  <a:lnTo>
                    <a:pt x="237" y="565"/>
                  </a:lnTo>
                  <a:lnTo>
                    <a:pt x="224" y="567"/>
                  </a:lnTo>
                  <a:lnTo>
                    <a:pt x="219" y="568"/>
                  </a:lnTo>
                  <a:lnTo>
                    <a:pt x="217" y="569"/>
                  </a:lnTo>
                  <a:lnTo>
                    <a:pt x="213" y="570"/>
                  </a:lnTo>
                  <a:lnTo>
                    <a:pt x="204" y="574"/>
                  </a:lnTo>
                  <a:lnTo>
                    <a:pt x="202" y="575"/>
                  </a:lnTo>
                  <a:lnTo>
                    <a:pt x="200" y="576"/>
                  </a:lnTo>
                  <a:lnTo>
                    <a:pt x="199" y="576"/>
                  </a:lnTo>
                  <a:lnTo>
                    <a:pt x="197" y="576"/>
                  </a:lnTo>
                  <a:lnTo>
                    <a:pt x="192" y="576"/>
                  </a:lnTo>
                  <a:lnTo>
                    <a:pt x="184" y="576"/>
                  </a:lnTo>
                  <a:lnTo>
                    <a:pt x="178" y="576"/>
                  </a:lnTo>
                  <a:lnTo>
                    <a:pt x="174" y="576"/>
                  </a:lnTo>
                  <a:lnTo>
                    <a:pt x="167" y="578"/>
                  </a:lnTo>
                  <a:lnTo>
                    <a:pt x="164" y="578"/>
                  </a:lnTo>
                  <a:lnTo>
                    <a:pt x="164" y="577"/>
                  </a:lnTo>
                  <a:lnTo>
                    <a:pt x="162" y="577"/>
                  </a:lnTo>
                  <a:lnTo>
                    <a:pt x="162" y="577"/>
                  </a:lnTo>
                  <a:lnTo>
                    <a:pt x="161" y="575"/>
                  </a:lnTo>
                  <a:lnTo>
                    <a:pt x="159" y="572"/>
                  </a:lnTo>
                  <a:lnTo>
                    <a:pt x="156" y="564"/>
                  </a:lnTo>
                  <a:lnTo>
                    <a:pt x="154" y="559"/>
                  </a:lnTo>
                  <a:lnTo>
                    <a:pt x="152" y="555"/>
                  </a:lnTo>
                  <a:lnTo>
                    <a:pt x="150" y="552"/>
                  </a:lnTo>
                  <a:lnTo>
                    <a:pt x="148" y="549"/>
                  </a:lnTo>
                  <a:lnTo>
                    <a:pt x="147" y="548"/>
                  </a:lnTo>
                  <a:lnTo>
                    <a:pt x="144" y="547"/>
                  </a:lnTo>
                  <a:lnTo>
                    <a:pt x="143" y="547"/>
                  </a:lnTo>
                  <a:lnTo>
                    <a:pt x="141" y="546"/>
                  </a:lnTo>
                  <a:lnTo>
                    <a:pt x="116" y="545"/>
                  </a:lnTo>
                  <a:lnTo>
                    <a:pt x="104" y="544"/>
                  </a:lnTo>
                  <a:lnTo>
                    <a:pt x="91" y="544"/>
                  </a:lnTo>
                  <a:lnTo>
                    <a:pt x="85" y="544"/>
                  </a:lnTo>
                  <a:lnTo>
                    <a:pt x="75" y="545"/>
                  </a:lnTo>
                  <a:lnTo>
                    <a:pt x="72" y="545"/>
                  </a:lnTo>
                  <a:lnTo>
                    <a:pt x="68" y="545"/>
                  </a:lnTo>
                  <a:lnTo>
                    <a:pt x="66" y="544"/>
                  </a:lnTo>
                  <a:lnTo>
                    <a:pt x="64" y="544"/>
                  </a:lnTo>
                  <a:lnTo>
                    <a:pt x="61" y="543"/>
                  </a:lnTo>
                  <a:lnTo>
                    <a:pt x="59" y="542"/>
                  </a:lnTo>
                  <a:lnTo>
                    <a:pt x="57" y="541"/>
                  </a:lnTo>
                  <a:lnTo>
                    <a:pt x="55" y="539"/>
                  </a:lnTo>
                  <a:lnTo>
                    <a:pt x="54" y="538"/>
                  </a:lnTo>
                  <a:lnTo>
                    <a:pt x="52" y="537"/>
                  </a:lnTo>
                  <a:lnTo>
                    <a:pt x="49" y="530"/>
                  </a:lnTo>
                  <a:lnTo>
                    <a:pt x="48" y="528"/>
                  </a:lnTo>
                  <a:lnTo>
                    <a:pt x="47" y="527"/>
                  </a:lnTo>
                  <a:lnTo>
                    <a:pt x="45" y="525"/>
                  </a:lnTo>
                  <a:lnTo>
                    <a:pt x="44" y="524"/>
                  </a:lnTo>
                  <a:lnTo>
                    <a:pt x="42" y="522"/>
                  </a:lnTo>
                  <a:lnTo>
                    <a:pt x="39" y="521"/>
                  </a:lnTo>
                  <a:lnTo>
                    <a:pt x="37" y="519"/>
                  </a:lnTo>
                  <a:lnTo>
                    <a:pt x="34" y="518"/>
                  </a:lnTo>
                  <a:lnTo>
                    <a:pt x="31" y="517"/>
                  </a:lnTo>
                  <a:lnTo>
                    <a:pt x="27" y="516"/>
                  </a:lnTo>
                  <a:lnTo>
                    <a:pt x="21" y="514"/>
                  </a:lnTo>
                  <a:lnTo>
                    <a:pt x="10" y="512"/>
                  </a:lnTo>
                  <a:lnTo>
                    <a:pt x="7" y="512"/>
                  </a:lnTo>
                  <a:lnTo>
                    <a:pt x="5" y="511"/>
                  </a:lnTo>
                  <a:lnTo>
                    <a:pt x="3" y="510"/>
                  </a:lnTo>
                  <a:lnTo>
                    <a:pt x="1" y="509"/>
                  </a:lnTo>
                  <a:lnTo>
                    <a:pt x="0" y="508"/>
                  </a:lnTo>
                  <a:lnTo>
                    <a:pt x="0" y="508"/>
                  </a:lnTo>
                  <a:lnTo>
                    <a:pt x="0" y="507"/>
                  </a:lnTo>
                  <a:lnTo>
                    <a:pt x="0" y="507"/>
                  </a:lnTo>
                  <a:lnTo>
                    <a:pt x="0" y="502"/>
                  </a:lnTo>
                  <a:lnTo>
                    <a:pt x="0" y="499"/>
                  </a:lnTo>
                  <a:lnTo>
                    <a:pt x="4" y="484"/>
                  </a:lnTo>
                  <a:lnTo>
                    <a:pt x="5" y="480"/>
                  </a:lnTo>
                  <a:lnTo>
                    <a:pt x="6" y="477"/>
                  </a:lnTo>
                  <a:lnTo>
                    <a:pt x="7" y="474"/>
                  </a:lnTo>
                  <a:lnTo>
                    <a:pt x="8" y="472"/>
                  </a:lnTo>
                  <a:lnTo>
                    <a:pt x="9" y="471"/>
                  </a:lnTo>
                  <a:lnTo>
                    <a:pt x="10" y="469"/>
                  </a:lnTo>
                  <a:lnTo>
                    <a:pt x="13" y="466"/>
                  </a:lnTo>
                  <a:lnTo>
                    <a:pt x="18" y="461"/>
                  </a:lnTo>
                  <a:lnTo>
                    <a:pt x="19" y="459"/>
                  </a:lnTo>
                  <a:lnTo>
                    <a:pt x="20" y="458"/>
                  </a:lnTo>
                  <a:lnTo>
                    <a:pt x="21" y="457"/>
                  </a:lnTo>
                  <a:lnTo>
                    <a:pt x="21" y="455"/>
                  </a:lnTo>
                  <a:lnTo>
                    <a:pt x="22" y="453"/>
                  </a:lnTo>
                  <a:lnTo>
                    <a:pt x="22" y="451"/>
                  </a:lnTo>
                  <a:lnTo>
                    <a:pt x="21" y="447"/>
                  </a:lnTo>
                  <a:lnTo>
                    <a:pt x="20" y="445"/>
                  </a:lnTo>
                  <a:lnTo>
                    <a:pt x="19" y="442"/>
                  </a:lnTo>
                  <a:lnTo>
                    <a:pt x="18" y="440"/>
                  </a:lnTo>
                  <a:lnTo>
                    <a:pt x="17" y="438"/>
                  </a:lnTo>
                  <a:lnTo>
                    <a:pt x="12" y="432"/>
                  </a:lnTo>
                  <a:lnTo>
                    <a:pt x="10" y="430"/>
                  </a:lnTo>
                  <a:lnTo>
                    <a:pt x="8" y="425"/>
                  </a:lnTo>
                  <a:lnTo>
                    <a:pt x="7" y="422"/>
                  </a:lnTo>
                  <a:lnTo>
                    <a:pt x="6" y="419"/>
                  </a:lnTo>
                  <a:lnTo>
                    <a:pt x="5" y="416"/>
                  </a:lnTo>
                  <a:lnTo>
                    <a:pt x="5" y="414"/>
                  </a:lnTo>
                  <a:lnTo>
                    <a:pt x="5" y="412"/>
                  </a:lnTo>
                  <a:lnTo>
                    <a:pt x="6" y="410"/>
                  </a:lnTo>
                  <a:lnTo>
                    <a:pt x="7" y="407"/>
                  </a:lnTo>
                  <a:lnTo>
                    <a:pt x="8" y="406"/>
                  </a:lnTo>
                  <a:lnTo>
                    <a:pt x="9" y="405"/>
                  </a:lnTo>
                  <a:lnTo>
                    <a:pt x="11" y="402"/>
                  </a:lnTo>
                  <a:lnTo>
                    <a:pt x="15" y="398"/>
                  </a:lnTo>
                  <a:lnTo>
                    <a:pt x="19" y="393"/>
                  </a:lnTo>
                  <a:lnTo>
                    <a:pt x="20" y="392"/>
                  </a:lnTo>
                  <a:lnTo>
                    <a:pt x="22" y="391"/>
                  </a:lnTo>
                  <a:lnTo>
                    <a:pt x="26" y="390"/>
                  </a:lnTo>
                  <a:lnTo>
                    <a:pt x="27" y="389"/>
                  </a:lnTo>
                  <a:lnTo>
                    <a:pt x="29" y="388"/>
                  </a:lnTo>
                  <a:lnTo>
                    <a:pt x="29" y="387"/>
                  </a:lnTo>
                  <a:lnTo>
                    <a:pt x="30" y="386"/>
                  </a:lnTo>
                  <a:lnTo>
                    <a:pt x="31" y="384"/>
                  </a:lnTo>
                  <a:lnTo>
                    <a:pt x="32" y="380"/>
                  </a:lnTo>
                  <a:lnTo>
                    <a:pt x="33" y="378"/>
                  </a:lnTo>
                  <a:lnTo>
                    <a:pt x="33" y="377"/>
                  </a:lnTo>
                  <a:lnTo>
                    <a:pt x="33" y="376"/>
                  </a:lnTo>
                  <a:lnTo>
                    <a:pt x="32" y="375"/>
                  </a:lnTo>
                  <a:lnTo>
                    <a:pt x="32" y="375"/>
                  </a:lnTo>
                  <a:lnTo>
                    <a:pt x="31" y="373"/>
                  </a:lnTo>
                  <a:lnTo>
                    <a:pt x="26" y="370"/>
                  </a:lnTo>
                  <a:lnTo>
                    <a:pt x="24" y="368"/>
                  </a:lnTo>
                  <a:lnTo>
                    <a:pt x="22" y="366"/>
                  </a:lnTo>
                  <a:lnTo>
                    <a:pt x="21" y="365"/>
                  </a:lnTo>
                  <a:lnTo>
                    <a:pt x="20" y="363"/>
                  </a:lnTo>
                  <a:lnTo>
                    <a:pt x="19" y="361"/>
                  </a:lnTo>
                  <a:lnTo>
                    <a:pt x="19" y="360"/>
                  </a:lnTo>
                  <a:lnTo>
                    <a:pt x="18" y="357"/>
                  </a:lnTo>
                  <a:lnTo>
                    <a:pt x="18" y="356"/>
                  </a:lnTo>
                  <a:lnTo>
                    <a:pt x="18" y="355"/>
                  </a:lnTo>
                  <a:lnTo>
                    <a:pt x="18" y="352"/>
                  </a:lnTo>
                  <a:lnTo>
                    <a:pt x="18" y="351"/>
                  </a:lnTo>
                  <a:lnTo>
                    <a:pt x="18" y="350"/>
                  </a:lnTo>
                  <a:lnTo>
                    <a:pt x="19" y="349"/>
                  </a:lnTo>
                  <a:lnTo>
                    <a:pt x="19" y="348"/>
                  </a:lnTo>
                  <a:lnTo>
                    <a:pt x="20" y="347"/>
                  </a:lnTo>
                  <a:lnTo>
                    <a:pt x="21" y="346"/>
                  </a:lnTo>
                  <a:lnTo>
                    <a:pt x="22" y="345"/>
                  </a:lnTo>
                  <a:lnTo>
                    <a:pt x="29" y="342"/>
                  </a:lnTo>
                  <a:lnTo>
                    <a:pt x="30" y="340"/>
                  </a:lnTo>
                  <a:lnTo>
                    <a:pt x="32" y="340"/>
                  </a:lnTo>
                  <a:lnTo>
                    <a:pt x="33" y="338"/>
                  </a:lnTo>
                  <a:lnTo>
                    <a:pt x="34" y="337"/>
                  </a:lnTo>
                  <a:lnTo>
                    <a:pt x="35" y="335"/>
                  </a:lnTo>
                  <a:lnTo>
                    <a:pt x="36" y="334"/>
                  </a:lnTo>
                  <a:lnTo>
                    <a:pt x="37" y="332"/>
                  </a:lnTo>
                  <a:lnTo>
                    <a:pt x="37" y="330"/>
                  </a:lnTo>
                  <a:lnTo>
                    <a:pt x="37" y="329"/>
                  </a:lnTo>
                  <a:lnTo>
                    <a:pt x="37" y="327"/>
                  </a:lnTo>
                  <a:lnTo>
                    <a:pt x="37" y="325"/>
                  </a:lnTo>
                  <a:lnTo>
                    <a:pt x="37" y="321"/>
                  </a:lnTo>
                  <a:lnTo>
                    <a:pt x="37" y="317"/>
                  </a:lnTo>
                  <a:lnTo>
                    <a:pt x="37" y="315"/>
                  </a:lnTo>
                  <a:lnTo>
                    <a:pt x="37" y="312"/>
                  </a:lnTo>
                  <a:lnTo>
                    <a:pt x="37" y="310"/>
                  </a:lnTo>
                  <a:lnTo>
                    <a:pt x="37" y="307"/>
                  </a:lnTo>
                  <a:lnTo>
                    <a:pt x="39" y="305"/>
                  </a:lnTo>
                  <a:lnTo>
                    <a:pt x="39" y="302"/>
                  </a:lnTo>
                  <a:lnTo>
                    <a:pt x="42" y="300"/>
                  </a:lnTo>
                  <a:lnTo>
                    <a:pt x="47" y="295"/>
                  </a:lnTo>
                  <a:lnTo>
                    <a:pt x="49" y="292"/>
                  </a:lnTo>
                  <a:lnTo>
                    <a:pt x="52" y="290"/>
                  </a:lnTo>
                  <a:lnTo>
                    <a:pt x="59" y="285"/>
                  </a:lnTo>
                  <a:lnTo>
                    <a:pt x="67" y="279"/>
                  </a:lnTo>
                  <a:lnTo>
                    <a:pt x="69" y="277"/>
                  </a:lnTo>
                  <a:lnTo>
                    <a:pt x="71" y="275"/>
                  </a:lnTo>
                  <a:lnTo>
                    <a:pt x="73" y="273"/>
                  </a:lnTo>
                  <a:lnTo>
                    <a:pt x="74" y="270"/>
                  </a:lnTo>
                  <a:lnTo>
                    <a:pt x="76" y="265"/>
                  </a:lnTo>
                  <a:lnTo>
                    <a:pt x="79" y="258"/>
                  </a:lnTo>
                  <a:lnTo>
                    <a:pt x="81" y="254"/>
                  </a:lnTo>
                  <a:lnTo>
                    <a:pt x="83" y="249"/>
                  </a:lnTo>
                  <a:lnTo>
                    <a:pt x="87" y="243"/>
                  </a:lnTo>
                  <a:lnTo>
                    <a:pt x="88" y="240"/>
                  </a:lnTo>
                  <a:lnTo>
                    <a:pt x="89" y="237"/>
                  </a:lnTo>
                  <a:lnTo>
                    <a:pt x="90" y="233"/>
                  </a:lnTo>
                  <a:lnTo>
                    <a:pt x="92" y="228"/>
                  </a:lnTo>
                  <a:lnTo>
                    <a:pt x="92" y="225"/>
                  </a:lnTo>
                  <a:lnTo>
                    <a:pt x="93" y="223"/>
                  </a:lnTo>
                  <a:lnTo>
                    <a:pt x="93" y="220"/>
                  </a:lnTo>
                  <a:lnTo>
                    <a:pt x="92" y="219"/>
                  </a:lnTo>
                  <a:lnTo>
                    <a:pt x="92" y="217"/>
                  </a:lnTo>
                  <a:lnTo>
                    <a:pt x="91" y="215"/>
                  </a:lnTo>
                  <a:lnTo>
                    <a:pt x="89" y="213"/>
                  </a:lnTo>
                  <a:lnTo>
                    <a:pt x="88" y="211"/>
                  </a:lnTo>
                  <a:lnTo>
                    <a:pt x="84" y="207"/>
                  </a:lnTo>
                  <a:lnTo>
                    <a:pt x="83" y="205"/>
                  </a:lnTo>
                  <a:lnTo>
                    <a:pt x="81" y="201"/>
                  </a:lnTo>
                  <a:lnTo>
                    <a:pt x="77" y="193"/>
                  </a:lnTo>
                  <a:lnTo>
                    <a:pt x="74" y="188"/>
                  </a:lnTo>
                  <a:lnTo>
                    <a:pt x="73" y="183"/>
                  </a:lnTo>
                  <a:lnTo>
                    <a:pt x="69" y="173"/>
                  </a:lnTo>
                  <a:lnTo>
                    <a:pt x="69" y="170"/>
                  </a:lnTo>
                  <a:lnTo>
                    <a:pt x="69" y="169"/>
                  </a:lnTo>
                  <a:lnTo>
                    <a:pt x="69" y="168"/>
                  </a:lnTo>
                  <a:lnTo>
                    <a:pt x="74" y="155"/>
                  </a:lnTo>
                  <a:lnTo>
                    <a:pt x="75" y="151"/>
                  </a:lnTo>
                  <a:lnTo>
                    <a:pt x="77" y="147"/>
                  </a:lnTo>
                  <a:lnTo>
                    <a:pt x="79" y="143"/>
                  </a:lnTo>
                  <a:lnTo>
                    <a:pt x="80" y="140"/>
                  </a:lnTo>
                  <a:lnTo>
                    <a:pt x="87" y="130"/>
                  </a:lnTo>
                  <a:lnTo>
                    <a:pt x="88" y="128"/>
                  </a:lnTo>
                  <a:lnTo>
                    <a:pt x="89" y="127"/>
                  </a:lnTo>
                  <a:lnTo>
                    <a:pt x="89" y="125"/>
                  </a:lnTo>
                  <a:lnTo>
                    <a:pt x="88" y="123"/>
                  </a:lnTo>
                  <a:lnTo>
                    <a:pt x="86" y="118"/>
                  </a:lnTo>
                  <a:lnTo>
                    <a:pt x="82" y="112"/>
                  </a:lnTo>
                  <a:lnTo>
                    <a:pt x="80" y="106"/>
                  </a:lnTo>
                  <a:lnTo>
                    <a:pt x="79" y="103"/>
                  </a:lnTo>
                  <a:lnTo>
                    <a:pt x="77" y="99"/>
                  </a:lnTo>
                  <a:lnTo>
                    <a:pt x="77" y="93"/>
                  </a:lnTo>
                  <a:lnTo>
                    <a:pt x="76" y="89"/>
                  </a:lnTo>
                  <a:lnTo>
                    <a:pt x="76" y="86"/>
                  </a:lnTo>
                  <a:lnTo>
                    <a:pt x="75" y="75"/>
                  </a:lnTo>
                  <a:lnTo>
                    <a:pt x="75" y="73"/>
                  </a:lnTo>
                  <a:lnTo>
                    <a:pt x="74" y="69"/>
                  </a:lnTo>
                  <a:lnTo>
                    <a:pt x="73" y="65"/>
                  </a:lnTo>
                  <a:lnTo>
                    <a:pt x="72" y="61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68" y="56"/>
                  </a:lnTo>
                  <a:lnTo>
                    <a:pt x="67" y="53"/>
                  </a:lnTo>
                  <a:lnTo>
                    <a:pt x="66" y="52"/>
                  </a:lnTo>
                  <a:lnTo>
                    <a:pt x="65" y="50"/>
                  </a:lnTo>
                  <a:lnTo>
                    <a:pt x="65" y="49"/>
                  </a:lnTo>
                  <a:lnTo>
                    <a:pt x="64" y="48"/>
                  </a:lnTo>
                  <a:lnTo>
                    <a:pt x="64" y="46"/>
                  </a:lnTo>
                  <a:lnTo>
                    <a:pt x="64" y="45"/>
                  </a:lnTo>
                  <a:lnTo>
                    <a:pt x="65" y="41"/>
                  </a:lnTo>
                  <a:lnTo>
                    <a:pt x="69" y="28"/>
                  </a:lnTo>
                  <a:lnTo>
                    <a:pt x="70" y="25"/>
                  </a:lnTo>
                  <a:lnTo>
                    <a:pt x="71" y="24"/>
                  </a:lnTo>
                  <a:lnTo>
                    <a:pt x="72" y="23"/>
                  </a:lnTo>
                  <a:lnTo>
                    <a:pt x="74" y="20"/>
                  </a:lnTo>
                  <a:lnTo>
                    <a:pt x="75" y="18"/>
                  </a:lnTo>
                  <a:lnTo>
                    <a:pt x="76" y="18"/>
                  </a:lnTo>
                  <a:lnTo>
                    <a:pt x="77" y="17"/>
                  </a:lnTo>
                  <a:lnTo>
                    <a:pt x="77" y="17"/>
                  </a:lnTo>
                  <a:lnTo>
                    <a:pt x="77" y="18"/>
                  </a:lnTo>
                  <a:lnTo>
                    <a:pt x="79" y="19"/>
                  </a:lnTo>
                  <a:lnTo>
                    <a:pt x="81" y="20"/>
                  </a:lnTo>
                  <a:lnTo>
                    <a:pt x="83" y="20"/>
                  </a:lnTo>
                  <a:lnTo>
                    <a:pt x="86" y="21"/>
                  </a:lnTo>
                  <a:lnTo>
                    <a:pt x="89" y="22"/>
                  </a:lnTo>
                  <a:lnTo>
                    <a:pt x="92" y="23"/>
                  </a:lnTo>
                  <a:lnTo>
                    <a:pt x="93" y="22"/>
                  </a:lnTo>
                  <a:lnTo>
                    <a:pt x="94" y="21"/>
                  </a:lnTo>
                  <a:lnTo>
                    <a:pt x="95" y="20"/>
                  </a:lnTo>
                  <a:lnTo>
                    <a:pt x="98" y="18"/>
                  </a:lnTo>
                  <a:lnTo>
                    <a:pt x="101" y="13"/>
                  </a:lnTo>
                  <a:lnTo>
                    <a:pt x="102" y="13"/>
                  </a:lnTo>
                  <a:lnTo>
                    <a:pt x="102" y="13"/>
                  </a:lnTo>
                  <a:lnTo>
                    <a:pt x="104" y="12"/>
                  </a:lnTo>
                  <a:lnTo>
                    <a:pt x="106" y="12"/>
                  </a:lnTo>
                  <a:lnTo>
                    <a:pt x="109" y="13"/>
                  </a:lnTo>
                  <a:lnTo>
                    <a:pt x="113" y="13"/>
                  </a:lnTo>
                  <a:lnTo>
                    <a:pt x="114" y="13"/>
                  </a:lnTo>
                  <a:lnTo>
                    <a:pt x="115" y="13"/>
                  </a:lnTo>
                  <a:lnTo>
                    <a:pt x="118" y="11"/>
                  </a:lnTo>
                  <a:lnTo>
                    <a:pt x="119" y="10"/>
                  </a:lnTo>
                  <a:lnTo>
                    <a:pt x="119" y="10"/>
                  </a:lnTo>
                  <a:lnTo>
                    <a:pt x="121" y="7"/>
                  </a:lnTo>
                  <a:lnTo>
                    <a:pt x="122" y="5"/>
                  </a:lnTo>
                  <a:lnTo>
                    <a:pt x="124" y="3"/>
                  </a:lnTo>
                  <a:lnTo>
                    <a:pt x="127" y="0"/>
                  </a:lnTo>
                  <a:lnTo>
                    <a:pt x="127" y="0"/>
                  </a:lnTo>
                  <a:close/>
                </a:path>
              </a:pathLst>
            </a:custGeom>
            <a:solidFill>
              <a:srgbClr val="FFE389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103">
              <a:extLst>
                <a:ext uri="{FF2B5EF4-FFF2-40B4-BE49-F238E27FC236}">
                  <a16:creationId xmlns:a16="http://schemas.microsoft.com/office/drawing/2014/main" id="{0CBE6E0F-64E2-DF76-CE05-F3B648804A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6961" y="4421025"/>
              <a:ext cx="774700" cy="1096963"/>
            </a:xfrm>
            <a:custGeom>
              <a:avLst/>
              <a:gdLst>
                <a:gd name="T0" fmla="*/ 351 w 488"/>
                <a:gd name="T1" fmla="*/ 8 h 691"/>
                <a:gd name="T2" fmla="*/ 404 w 488"/>
                <a:gd name="T3" fmla="*/ 43 h 691"/>
                <a:gd name="T4" fmla="*/ 426 w 488"/>
                <a:gd name="T5" fmla="*/ 36 h 691"/>
                <a:gd name="T6" fmla="*/ 440 w 488"/>
                <a:gd name="T7" fmla="*/ 58 h 691"/>
                <a:gd name="T8" fmla="*/ 469 w 488"/>
                <a:gd name="T9" fmla="*/ 92 h 691"/>
                <a:gd name="T10" fmla="*/ 488 w 488"/>
                <a:gd name="T11" fmla="*/ 103 h 691"/>
                <a:gd name="T12" fmla="*/ 480 w 488"/>
                <a:gd name="T13" fmla="*/ 125 h 691"/>
                <a:gd name="T14" fmla="*/ 466 w 488"/>
                <a:gd name="T15" fmla="*/ 138 h 691"/>
                <a:gd name="T16" fmla="*/ 481 w 488"/>
                <a:gd name="T17" fmla="*/ 177 h 691"/>
                <a:gd name="T18" fmla="*/ 474 w 488"/>
                <a:gd name="T19" fmla="*/ 228 h 691"/>
                <a:gd name="T20" fmla="*/ 464 w 488"/>
                <a:gd name="T21" fmla="*/ 270 h 691"/>
                <a:gd name="T22" fmla="*/ 453 w 488"/>
                <a:gd name="T23" fmla="*/ 325 h 691"/>
                <a:gd name="T24" fmla="*/ 476 w 488"/>
                <a:gd name="T25" fmla="*/ 350 h 691"/>
                <a:gd name="T26" fmla="*/ 468 w 488"/>
                <a:gd name="T27" fmla="*/ 382 h 691"/>
                <a:gd name="T28" fmla="*/ 478 w 488"/>
                <a:gd name="T29" fmla="*/ 416 h 691"/>
                <a:gd name="T30" fmla="*/ 466 w 488"/>
                <a:gd name="T31" fmla="*/ 423 h 691"/>
                <a:gd name="T32" fmla="*/ 429 w 488"/>
                <a:gd name="T33" fmla="*/ 439 h 691"/>
                <a:gd name="T34" fmla="*/ 444 w 488"/>
                <a:gd name="T35" fmla="*/ 464 h 691"/>
                <a:gd name="T36" fmla="*/ 429 w 488"/>
                <a:gd name="T37" fmla="*/ 513 h 691"/>
                <a:gd name="T38" fmla="*/ 393 w 488"/>
                <a:gd name="T39" fmla="*/ 539 h 691"/>
                <a:gd name="T40" fmla="*/ 338 w 488"/>
                <a:gd name="T41" fmla="*/ 538 h 691"/>
                <a:gd name="T42" fmla="*/ 324 w 488"/>
                <a:gd name="T43" fmla="*/ 545 h 691"/>
                <a:gd name="T44" fmla="*/ 338 w 488"/>
                <a:gd name="T45" fmla="*/ 584 h 691"/>
                <a:gd name="T46" fmla="*/ 364 w 488"/>
                <a:gd name="T47" fmla="*/ 604 h 691"/>
                <a:gd name="T48" fmla="*/ 347 w 488"/>
                <a:gd name="T49" fmla="*/ 638 h 691"/>
                <a:gd name="T50" fmla="*/ 362 w 488"/>
                <a:gd name="T51" fmla="*/ 669 h 691"/>
                <a:gd name="T52" fmla="*/ 377 w 488"/>
                <a:gd name="T53" fmla="*/ 691 h 691"/>
                <a:gd name="T54" fmla="*/ 350 w 488"/>
                <a:gd name="T55" fmla="*/ 679 h 691"/>
                <a:gd name="T56" fmla="*/ 319 w 488"/>
                <a:gd name="T57" fmla="*/ 681 h 691"/>
                <a:gd name="T58" fmla="*/ 293 w 488"/>
                <a:gd name="T59" fmla="*/ 657 h 691"/>
                <a:gd name="T60" fmla="*/ 263 w 488"/>
                <a:gd name="T61" fmla="*/ 649 h 691"/>
                <a:gd name="T62" fmla="*/ 220 w 488"/>
                <a:gd name="T63" fmla="*/ 624 h 691"/>
                <a:gd name="T64" fmla="*/ 194 w 488"/>
                <a:gd name="T65" fmla="*/ 594 h 691"/>
                <a:gd name="T66" fmla="*/ 168 w 488"/>
                <a:gd name="T67" fmla="*/ 554 h 691"/>
                <a:gd name="T68" fmla="*/ 124 w 488"/>
                <a:gd name="T69" fmla="*/ 530 h 691"/>
                <a:gd name="T70" fmla="*/ 87 w 488"/>
                <a:gd name="T71" fmla="*/ 512 h 691"/>
                <a:gd name="T72" fmla="*/ 62 w 488"/>
                <a:gd name="T73" fmla="*/ 472 h 691"/>
                <a:gd name="T74" fmla="*/ 28 w 488"/>
                <a:gd name="T75" fmla="*/ 475 h 691"/>
                <a:gd name="T76" fmla="*/ 16 w 488"/>
                <a:gd name="T77" fmla="*/ 453 h 691"/>
                <a:gd name="T78" fmla="*/ 1 w 488"/>
                <a:gd name="T79" fmla="*/ 397 h 691"/>
                <a:gd name="T80" fmla="*/ 25 w 488"/>
                <a:gd name="T81" fmla="*/ 367 h 691"/>
                <a:gd name="T82" fmla="*/ 45 w 488"/>
                <a:gd name="T83" fmla="*/ 345 h 691"/>
                <a:gd name="T84" fmla="*/ 48 w 488"/>
                <a:gd name="T85" fmla="*/ 304 h 691"/>
                <a:gd name="T86" fmla="*/ 55 w 488"/>
                <a:gd name="T87" fmla="*/ 274 h 691"/>
                <a:gd name="T88" fmla="*/ 64 w 488"/>
                <a:gd name="T89" fmla="*/ 232 h 691"/>
                <a:gd name="T90" fmla="*/ 64 w 488"/>
                <a:gd name="T91" fmla="*/ 198 h 691"/>
                <a:gd name="T92" fmla="*/ 52 w 488"/>
                <a:gd name="T93" fmla="*/ 160 h 691"/>
                <a:gd name="T94" fmla="*/ 63 w 488"/>
                <a:gd name="T95" fmla="*/ 124 h 691"/>
                <a:gd name="T96" fmla="*/ 73 w 488"/>
                <a:gd name="T97" fmla="*/ 100 h 691"/>
                <a:gd name="T98" fmla="*/ 103 w 488"/>
                <a:gd name="T99" fmla="*/ 99 h 691"/>
                <a:gd name="T100" fmla="*/ 147 w 488"/>
                <a:gd name="T101" fmla="*/ 110 h 691"/>
                <a:gd name="T102" fmla="*/ 176 w 488"/>
                <a:gd name="T103" fmla="*/ 95 h 691"/>
                <a:gd name="T104" fmla="*/ 172 w 488"/>
                <a:gd name="T105" fmla="*/ 122 h 691"/>
                <a:gd name="T106" fmla="*/ 198 w 488"/>
                <a:gd name="T107" fmla="*/ 131 h 691"/>
                <a:gd name="T108" fmla="*/ 230 w 488"/>
                <a:gd name="T109" fmla="*/ 142 h 691"/>
                <a:gd name="T110" fmla="*/ 269 w 488"/>
                <a:gd name="T111" fmla="*/ 103 h 691"/>
                <a:gd name="T112" fmla="*/ 304 w 488"/>
                <a:gd name="T113" fmla="*/ 85 h 691"/>
                <a:gd name="T114" fmla="*/ 300 w 488"/>
                <a:gd name="T115" fmla="*/ 48 h 691"/>
                <a:gd name="T116" fmla="*/ 311 w 488"/>
                <a:gd name="T117" fmla="*/ 22 h 691"/>
                <a:gd name="T118" fmla="*/ 339 w 488"/>
                <a:gd name="T119" fmla="*/ 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88" h="691">
                  <a:moveTo>
                    <a:pt x="339" y="0"/>
                  </a:moveTo>
                  <a:lnTo>
                    <a:pt x="340" y="0"/>
                  </a:lnTo>
                  <a:lnTo>
                    <a:pt x="341" y="0"/>
                  </a:lnTo>
                  <a:lnTo>
                    <a:pt x="342" y="1"/>
                  </a:lnTo>
                  <a:lnTo>
                    <a:pt x="343" y="2"/>
                  </a:lnTo>
                  <a:lnTo>
                    <a:pt x="344" y="3"/>
                  </a:lnTo>
                  <a:lnTo>
                    <a:pt x="344" y="3"/>
                  </a:lnTo>
                  <a:lnTo>
                    <a:pt x="344" y="3"/>
                  </a:lnTo>
                  <a:lnTo>
                    <a:pt x="345" y="4"/>
                  </a:lnTo>
                  <a:lnTo>
                    <a:pt x="347" y="5"/>
                  </a:lnTo>
                  <a:lnTo>
                    <a:pt x="351" y="8"/>
                  </a:lnTo>
                  <a:lnTo>
                    <a:pt x="366" y="15"/>
                  </a:lnTo>
                  <a:lnTo>
                    <a:pt x="370" y="18"/>
                  </a:lnTo>
                  <a:lnTo>
                    <a:pt x="374" y="20"/>
                  </a:lnTo>
                  <a:lnTo>
                    <a:pt x="378" y="23"/>
                  </a:lnTo>
                  <a:lnTo>
                    <a:pt x="381" y="25"/>
                  </a:lnTo>
                  <a:lnTo>
                    <a:pt x="384" y="28"/>
                  </a:lnTo>
                  <a:lnTo>
                    <a:pt x="391" y="34"/>
                  </a:lnTo>
                  <a:lnTo>
                    <a:pt x="395" y="38"/>
                  </a:lnTo>
                  <a:lnTo>
                    <a:pt x="398" y="39"/>
                  </a:lnTo>
                  <a:lnTo>
                    <a:pt x="400" y="41"/>
                  </a:lnTo>
                  <a:lnTo>
                    <a:pt x="404" y="43"/>
                  </a:lnTo>
                  <a:lnTo>
                    <a:pt x="406" y="44"/>
                  </a:lnTo>
                  <a:lnTo>
                    <a:pt x="407" y="45"/>
                  </a:lnTo>
                  <a:lnTo>
                    <a:pt x="409" y="45"/>
                  </a:lnTo>
                  <a:lnTo>
                    <a:pt x="409" y="45"/>
                  </a:lnTo>
                  <a:lnTo>
                    <a:pt x="411" y="44"/>
                  </a:lnTo>
                  <a:lnTo>
                    <a:pt x="412" y="43"/>
                  </a:lnTo>
                  <a:lnTo>
                    <a:pt x="416" y="40"/>
                  </a:lnTo>
                  <a:lnTo>
                    <a:pt x="419" y="39"/>
                  </a:lnTo>
                  <a:lnTo>
                    <a:pt x="421" y="38"/>
                  </a:lnTo>
                  <a:lnTo>
                    <a:pt x="424" y="37"/>
                  </a:lnTo>
                  <a:lnTo>
                    <a:pt x="426" y="36"/>
                  </a:lnTo>
                  <a:lnTo>
                    <a:pt x="427" y="36"/>
                  </a:lnTo>
                  <a:lnTo>
                    <a:pt x="428" y="37"/>
                  </a:lnTo>
                  <a:lnTo>
                    <a:pt x="429" y="38"/>
                  </a:lnTo>
                  <a:lnTo>
                    <a:pt x="431" y="38"/>
                  </a:lnTo>
                  <a:lnTo>
                    <a:pt x="431" y="38"/>
                  </a:lnTo>
                  <a:lnTo>
                    <a:pt x="431" y="39"/>
                  </a:lnTo>
                  <a:lnTo>
                    <a:pt x="432" y="40"/>
                  </a:lnTo>
                  <a:lnTo>
                    <a:pt x="434" y="43"/>
                  </a:lnTo>
                  <a:lnTo>
                    <a:pt x="436" y="49"/>
                  </a:lnTo>
                  <a:lnTo>
                    <a:pt x="437" y="53"/>
                  </a:lnTo>
                  <a:lnTo>
                    <a:pt x="440" y="58"/>
                  </a:lnTo>
                  <a:lnTo>
                    <a:pt x="444" y="66"/>
                  </a:lnTo>
                  <a:lnTo>
                    <a:pt x="448" y="74"/>
                  </a:lnTo>
                  <a:lnTo>
                    <a:pt x="452" y="81"/>
                  </a:lnTo>
                  <a:lnTo>
                    <a:pt x="454" y="83"/>
                  </a:lnTo>
                  <a:lnTo>
                    <a:pt x="456" y="85"/>
                  </a:lnTo>
                  <a:lnTo>
                    <a:pt x="457" y="87"/>
                  </a:lnTo>
                  <a:lnTo>
                    <a:pt x="459" y="88"/>
                  </a:lnTo>
                  <a:lnTo>
                    <a:pt x="463" y="90"/>
                  </a:lnTo>
                  <a:lnTo>
                    <a:pt x="464" y="91"/>
                  </a:lnTo>
                  <a:lnTo>
                    <a:pt x="466" y="91"/>
                  </a:lnTo>
                  <a:lnTo>
                    <a:pt x="469" y="92"/>
                  </a:lnTo>
                  <a:lnTo>
                    <a:pt x="470" y="92"/>
                  </a:lnTo>
                  <a:lnTo>
                    <a:pt x="472" y="92"/>
                  </a:lnTo>
                  <a:lnTo>
                    <a:pt x="474" y="92"/>
                  </a:lnTo>
                  <a:lnTo>
                    <a:pt x="476" y="92"/>
                  </a:lnTo>
                  <a:lnTo>
                    <a:pt x="478" y="92"/>
                  </a:lnTo>
                  <a:lnTo>
                    <a:pt x="480" y="91"/>
                  </a:lnTo>
                  <a:lnTo>
                    <a:pt x="482" y="91"/>
                  </a:lnTo>
                  <a:lnTo>
                    <a:pt x="486" y="89"/>
                  </a:lnTo>
                  <a:lnTo>
                    <a:pt x="486" y="90"/>
                  </a:lnTo>
                  <a:lnTo>
                    <a:pt x="486" y="92"/>
                  </a:lnTo>
                  <a:lnTo>
                    <a:pt x="488" y="103"/>
                  </a:lnTo>
                  <a:lnTo>
                    <a:pt x="488" y="107"/>
                  </a:lnTo>
                  <a:lnTo>
                    <a:pt x="488" y="110"/>
                  </a:lnTo>
                  <a:lnTo>
                    <a:pt x="488" y="112"/>
                  </a:lnTo>
                  <a:lnTo>
                    <a:pt x="488" y="113"/>
                  </a:lnTo>
                  <a:lnTo>
                    <a:pt x="488" y="115"/>
                  </a:lnTo>
                  <a:lnTo>
                    <a:pt x="487" y="117"/>
                  </a:lnTo>
                  <a:lnTo>
                    <a:pt x="486" y="120"/>
                  </a:lnTo>
                  <a:lnTo>
                    <a:pt x="485" y="121"/>
                  </a:lnTo>
                  <a:lnTo>
                    <a:pt x="483" y="122"/>
                  </a:lnTo>
                  <a:lnTo>
                    <a:pt x="482" y="123"/>
                  </a:lnTo>
                  <a:lnTo>
                    <a:pt x="480" y="125"/>
                  </a:lnTo>
                  <a:lnTo>
                    <a:pt x="476" y="126"/>
                  </a:lnTo>
                  <a:lnTo>
                    <a:pt x="473" y="127"/>
                  </a:lnTo>
                  <a:lnTo>
                    <a:pt x="471" y="128"/>
                  </a:lnTo>
                  <a:lnTo>
                    <a:pt x="469" y="129"/>
                  </a:lnTo>
                  <a:lnTo>
                    <a:pt x="468" y="130"/>
                  </a:lnTo>
                  <a:lnTo>
                    <a:pt x="467" y="132"/>
                  </a:lnTo>
                  <a:lnTo>
                    <a:pt x="466" y="132"/>
                  </a:lnTo>
                  <a:lnTo>
                    <a:pt x="466" y="135"/>
                  </a:lnTo>
                  <a:lnTo>
                    <a:pt x="466" y="135"/>
                  </a:lnTo>
                  <a:lnTo>
                    <a:pt x="466" y="137"/>
                  </a:lnTo>
                  <a:lnTo>
                    <a:pt x="466" y="138"/>
                  </a:lnTo>
                  <a:lnTo>
                    <a:pt x="467" y="140"/>
                  </a:lnTo>
                  <a:lnTo>
                    <a:pt x="469" y="142"/>
                  </a:lnTo>
                  <a:lnTo>
                    <a:pt x="474" y="152"/>
                  </a:lnTo>
                  <a:lnTo>
                    <a:pt x="476" y="154"/>
                  </a:lnTo>
                  <a:lnTo>
                    <a:pt x="476" y="157"/>
                  </a:lnTo>
                  <a:lnTo>
                    <a:pt x="478" y="160"/>
                  </a:lnTo>
                  <a:lnTo>
                    <a:pt x="478" y="162"/>
                  </a:lnTo>
                  <a:lnTo>
                    <a:pt x="479" y="165"/>
                  </a:lnTo>
                  <a:lnTo>
                    <a:pt x="480" y="169"/>
                  </a:lnTo>
                  <a:lnTo>
                    <a:pt x="481" y="174"/>
                  </a:lnTo>
                  <a:lnTo>
                    <a:pt x="481" y="177"/>
                  </a:lnTo>
                  <a:lnTo>
                    <a:pt x="481" y="181"/>
                  </a:lnTo>
                  <a:lnTo>
                    <a:pt x="479" y="190"/>
                  </a:lnTo>
                  <a:lnTo>
                    <a:pt x="479" y="193"/>
                  </a:lnTo>
                  <a:lnTo>
                    <a:pt x="478" y="197"/>
                  </a:lnTo>
                  <a:lnTo>
                    <a:pt x="479" y="203"/>
                  </a:lnTo>
                  <a:lnTo>
                    <a:pt x="479" y="207"/>
                  </a:lnTo>
                  <a:lnTo>
                    <a:pt x="478" y="212"/>
                  </a:lnTo>
                  <a:lnTo>
                    <a:pt x="478" y="215"/>
                  </a:lnTo>
                  <a:lnTo>
                    <a:pt x="477" y="219"/>
                  </a:lnTo>
                  <a:lnTo>
                    <a:pt x="476" y="223"/>
                  </a:lnTo>
                  <a:lnTo>
                    <a:pt x="474" y="228"/>
                  </a:lnTo>
                  <a:lnTo>
                    <a:pt x="470" y="237"/>
                  </a:lnTo>
                  <a:lnTo>
                    <a:pt x="467" y="247"/>
                  </a:lnTo>
                  <a:lnTo>
                    <a:pt x="464" y="255"/>
                  </a:lnTo>
                  <a:lnTo>
                    <a:pt x="463" y="257"/>
                  </a:lnTo>
                  <a:lnTo>
                    <a:pt x="463" y="259"/>
                  </a:lnTo>
                  <a:lnTo>
                    <a:pt x="462" y="260"/>
                  </a:lnTo>
                  <a:lnTo>
                    <a:pt x="463" y="262"/>
                  </a:lnTo>
                  <a:lnTo>
                    <a:pt x="464" y="265"/>
                  </a:lnTo>
                  <a:lnTo>
                    <a:pt x="464" y="267"/>
                  </a:lnTo>
                  <a:lnTo>
                    <a:pt x="464" y="268"/>
                  </a:lnTo>
                  <a:lnTo>
                    <a:pt x="464" y="270"/>
                  </a:lnTo>
                  <a:lnTo>
                    <a:pt x="461" y="280"/>
                  </a:lnTo>
                  <a:lnTo>
                    <a:pt x="459" y="288"/>
                  </a:lnTo>
                  <a:lnTo>
                    <a:pt x="458" y="292"/>
                  </a:lnTo>
                  <a:lnTo>
                    <a:pt x="456" y="298"/>
                  </a:lnTo>
                  <a:lnTo>
                    <a:pt x="454" y="305"/>
                  </a:lnTo>
                  <a:lnTo>
                    <a:pt x="453" y="308"/>
                  </a:lnTo>
                  <a:lnTo>
                    <a:pt x="452" y="312"/>
                  </a:lnTo>
                  <a:lnTo>
                    <a:pt x="451" y="317"/>
                  </a:lnTo>
                  <a:lnTo>
                    <a:pt x="451" y="321"/>
                  </a:lnTo>
                  <a:lnTo>
                    <a:pt x="452" y="323"/>
                  </a:lnTo>
                  <a:lnTo>
                    <a:pt x="453" y="325"/>
                  </a:lnTo>
                  <a:lnTo>
                    <a:pt x="453" y="327"/>
                  </a:lnTo>
                  <a:lnTo>
                    <a:pt x="454" y="328"/>
                  </a:lnTo>
                  <a:lnTo>
                    <a:pt x="454" y="329"/>
                  </a:lnTo>
                  <a:lnTo>
                    <a:pt x="455" y="331"/>
                  </a:lnTo>
                  <a:lnTo>
                    <a:pt x="457" y="334"/>
                  </a:lnTo>
                  <a:lnTo>
                    <a:pt x="460" y="337"/>
                  </a:lnTo>
                  <a:lnTo>
                    <a:pt x="464" y="339"/>
                  </a:lnTo>
                  <a:lnTo>
                    <a:pt x="470" y="344"/>
                  </a:lnTo>
                  <a:lnTo>
                    <a:pt x="472" y="347"/>
                  </a:lnTo>
                  <a:lnTo>
                    <a:pt x="474" y="348"/>
                  </a:lnTo>
                  <a:lnTo>
                    <a:pt x="476" y="350"/>
                  </a:lnTo>
                  <a:lnTo>
                    <a:pt x="478" y="353"/>
                  </a:lnTo>
                  <a:lnTo>
                    <a:pt x="481" y="357"/>
                  </a:lnTo>
                  <a:lnTo>
                    <a:pt x="481" y="359"/>
                  </a:lnTo>
                  <a:lnTo>
                    <a:pt x="481" y="360"/>
                  </a:lnTo>
                  <a:lnTo>
                    <a:pt x="481" y="361"/>
                  </a:lnTo>
                  <a:lnTo>
                    <a:pt x="481" y="362"/>
                  </a:lnTo>
                  <a:lnTo>
                    <a:pt x="481" y="363"/>
                  </a:lnTo>
                  <a:lnTo>
                    <a:pt x="473" y="374"/>
                  </a:lnTo>
                  <a:lnTo>
                    <a:pt x="470" y="377"/>
                  </a:lnTo>
                  <a:lnTo>
                    <a:pt x="469" y="379"/>
                  </a:lnTo>
                  <a:lnTo>
                    <a:pt x="468" y="382"/>
                  </a:lnTo>
                  <a:lnTo>
                    <a:pt x="467" y="384"/>
                  </a:lnTo>
                  <a:lnTo>
                    <a:pt x="466" y="385"/>
                  </a:lnTo>
                  <a:lnTo>
                    <a:pt x="466" y="387"/>
                  </a:lnTo>
                  <a:lnTo>
                    <a:pt x="466" y="389"/>
                  </a:lnTo>
                  <a:lnTo>
                    <a:pt x="467" y="392"/>
                  </a:lnTo>
                  <a:lnTo>
                    <a:pt x="467" y="394"/>
                  </a:lnTo>
                  <a:lnTo>
                    <a:pt x="469" y="397"/>
                  </a:lnTo>
                  <a:lnTo>
                    <a:pt x="471" y="401"/>
                  </a:lnTo>
                  <a:lnTo>
                    <a:pt x="476" y="412"/>
                  </a:lnTo>
                  <a:lnTo>
                    <a:pt x="477" y="414"/>
                  </a:lnTo>
                  <a:lnTo>
                    <a:pt x="478" y="416"/>
                  </a:lnTo>
                  <a:lnTo>
                    <a:pt x="478" y="417"/>
                  </a:lnTo>
                  <a:lnTo>
                    <a:pt x="478" y="419"/>
                  </a:lnTo>
                  <a:lnTo>
                    <a:pt x="478" y="420"/>
                  </a:lnTo>
                  <a:lnTo>
                    <a:pt x="478" y="421"/>
                  </a:lnTo>
                  <a:lnTo>
                    <a:pt x="477" y="422"/>
                  </a:lnTo>
                  <a:lnTo>
                    <a:pt x="476" y="422"/>
                  </a:lnTo>
                  <a:lnTo>
                    <a:pt x="474" y="422"/>
                  </a:lnTo>
                  <a:lnTo>
                    <a:pt x="472" y="422"/>
                  </a:lnTo>
                  <a:lnTo>
                    <a:pt x="469" y="422"/>
                  </a:lnTo>
                  <a:lnTo>
                    <a:pt x="467" y="422"/>
                  </a:lnTo>
                  <a:lnTo>
                    <a:pt x="466" y="423"/>
                  </a:lnTo>
                  <a:lnTo>
                    <a:pt x="463" y="424"/>
                  </a:lnTo>
                  <a:lnTo>
                    <a:pt x="460" y="425"/>
                  </a:lnTo>
                  <a:lnTo>
                    <a:pt x="447" y="427"/>
                  </a:lnTo>
                  <a:lnTo>
                    <a:pt x="442" y="429"/>
                  </a:lnTo>
                  <a:lnTo>
                    <a:pt x="439" y="430"/>
                  </a:lnTo>
                  <a:lnTo>
                    <a:pt x="436" y="432"/>
                  </a:lnTo>
                  <a:lnTo>
                    <a:pt x="433" y="434"/>
                  </a:lnTo>
                  <a:lnTo>
                    <a:pt x="431" y="435"/>
                  </a:lnTo>
                  <a:lnTo>
                    <a:pt x="430" y="436"/>
                  </a:lnTo>
                  <a:lnTo>
                    <a:pt x="429" y="437"/>
                  </a:lnTo>
                  <a:lnTo>
                    <a:pt x="429" y="439"/>
                  </a:lnTo>
                  <a:lnTo>
                    <a:pt x="429" y="440"/>
                  </a:lnTo>
                  <a:lnTo>
                    <a:pt x="430" y="442"/>
                  </a:lnTo>
                  <a:lnTo>
                    <a:pt x="431" y="445"/>
                  </a:lnTo>
                  <a:lnTo>
                    <a:pt x="432" y="447"/>
                  </a:lnTo>
                  <a:lnTo>
                    <a:pt x="434" y="449"/>
                  </a:lnTo>
                  <a:lnTo>
                    <a:pt x="439" y="455"/>
                  </a:lnTo>
                  <a:lnTo>
                    <a:pt x="441" y="459"/>
                  </a:lnTo>
                  <a:lnTo>
                    <a:pt x="443" y="460"/>
                  </a:lnTo>
                  <a:lnTo>
                    <a:pt x="444" y="462"/>
                  </a:lnTo>
                  <a:lnTo>
                    <a:pt x="444" y="463"/>
                  </a:lnTo>
                  <a:lnTo>
                    <a:pt x="444" y="464"/>
                  </a:lnTo>
                  <a:lnTo>
                    <a:pt x="444" y="466"/>
                  </a:lnTo>
                  <a:lnTo>
                    <a:pt x="444" y="467"/>
                  </a:lnTo>
                  <a:lnTo>
                    <a:pt x="444" y="469"/>
                  </a:lnTo>
                  <a:lnTo>
                    <a:pt x="442" y="473"/>
                  </a:lnTo>
                  <a:lnTo>
                    <a:pt x="441" y="477"/>
                  </a:lnTo>
                  <a:lnTo>
                    <a:pt x="436" y="485"/>
                  </a:lnTo>
                  <a:lnTo>
                    <a:pt x="435" y="488"/>
                  </a:lnTo>
                  <a:lnTo>
                    <a:pt x="433" y="494"/>
                  </a:lnTo>
                  <a:lnTo>
                    <a:pt x="432" y="497"/>
                  </a:lnTo>
                  <a:lnTo>
                    <a:pt x="431" y="502"/>
                  </a:lnTo>
                  <a:lnTo>
                    <a:pt x="429" y="513"/>
                  </a:lnTo>
                  <a:lnTo>
                    <a:pt x="429" y="516"/>
                  </a:lnTo>
                  <a:lnTo>
                    <a:pt x="428" y="518"/>
                  </a:lnTo>
                  <a:lnTo>
                    <a:pt x="427" y="519"/>
                  </a:lnTo>
                  <a:lnTo>
                    <a:pt x="426" y="521"/>
                  </a:lnTo>
                  <a:lnTo>
                    <a:pt x="424" y="522"/>
                  </a:lnTo>
                  <a:lnTo>
                    <a:pt x="422" y="524"/>
                  </a:lnTo>
                  <a:lnTo>
                    <a:pt x="415" y="528"/>
                  </a:lnTo>
                  <a:lnTo>
                    <a:pt x="407" y="533"/>
                  </a:lnTo>
                  <a:lnTo>
                    <a:pt x="404" y="534"/>
                  </a:lnTo>
                  <a:lnTo>
                    <a:pt x="397" y="538"/>
                  </a:lnTo>
                  <a:lnTo>
                    <a:pt x="393" y="539"/>
                  </a:lnTo>
                  <a:lnTo>
                    <a:pt x="389" y="541"/>
                  </a:lnTo>
                  <a:lnTo>
                    <a:pt x="374" y="544"/>
                  </a:lnTo>
                  <a:lnTo>
                    <a:pt x="371" y="545"/>
                  </a:lnTo>
                  <a:lnTo>
                    <a:pt x="367" y="545"/>
                  </a:lnTo>
                  <a:lnTo>
                    <a:pt x="364" y="545"/>
                  </a:lnTo>
                  <a:lnTo>
                    <a:pt x="359" y="544"/>
                  </a:lnTo>
                  <a:lnTo>
                    <a:pt x="355" y="544"/>
                  </a:lnTo>
                  <a:lnTo>
                    <a:pt x="351" y="542"/>
                  </a:lnTo>
                  <a:lnTo>
                    <a:pt x="346" y="541"/>
                  </a:lnTo>
                  <a:lnTo>
                    <a:pt x="340" y="539"/>
                  </a:lnTo>
                  <a:lnTo>
                    <a:pt x="338" y="538"/>
                  </a:lnTo>
                  <a:lnTo>
                    <a:pt x="336" y="537"/>
                  </a:lnTo>
                  <a:lnTo>
                    <a:pt x="334" y="537"/>
                  </a:lnTo>
                  <a:lnTo>
                    <a:pt x="332" y="537"/>
                  </a:lnTo>
                  <a:lnTo>
                    <a:pt x="331" y="538"/>
                  </a:lnTo>
                  <a:lnTo>
                    <a:pt x="329" y="538"/>
                  </a:lnTo>
                  <a:lnTo>
                    <a:pt x="328" y="539"/>
                  </a:lnTo>
                  <a:lnTo>
                    <a:pt x="326" y="539"/>
                  </a:lnTo>
                  <a:lnTo>
                    <a:pt x="325" y="541"/>
                  </a:lnTo>
                  <a:lnTo>
                    <a:pt x="324" y="542"/>
                  </a:lnTo>
                  <a:lnTo>
                    <a:pt x="324" y="544"/>
                  </a:lnTo>
                  <a:lnTo>
                    <a:pt x="324" y="545"/>
                  </a:lnTo>
                  <a:lnTo>
                    <a:pt x="324" y="547"/>
                  </a:lnTo>
                  <a:lnTo>
                    <a:pt x="324" y="548"/>
                  </a:lnTo>
                  <a:lnTo>
                    <a:pt x="324" y="550"/>
                  </a:lnTo>
                  <a:lnTo>
                    <a:pt x="324" y="554"/>
                  </a:lnTo>
                  <a:lnTo>
                    <a:pt x="326" y="563"/>
                  </a:lnTo>
                  <a:lnTo>
                    <a:pt x="328" y="566"/>
                  </a:lnTo>
                  <a:lnTo>
                    <a:pt x="330" y="571"/>
                  </a:lnTo>
                  <a:lnTo>
                    <a:pt x="332" y="576"/>
                  </a:lnTo>
                  <a:lnTo>
                    <a:pt x="335" y="580"/>
                  </a:lnTo>
                  <a:lnTo>
                    <a:pt x="336" y="582"/>
                  </a:lnTo>
                  <a:lnTo>
                    <a:pt x="338" y="584"/>
                  </a:lnTo>
                  <a:lnTo>
                    <a:pt x="340" y="586"/>
                  </a:lnTo>
                  <a:lnTo>
                    <a:pt x="341" y="587"/>
                  </a:lnTo>
                  <a:lnTo>
                    <a:pt x="344" y="589"/>
                  </a:lnTo>
                  <a:lnTo>
                    <a:pt x="349" y="592"/>
                  </a:lnTo>
                  <a:lnTo>
                    <a:pt x="351" y="593"/>
                  </a:lnTo>
                  <a:lnTo>
                    <a:pt x="356" y="596"/>
                  </a:lnTo>
                  <a:lnTo>
                    <a:pt x="359" y="599"/>
                  </a:lnTo>
                  <a:lnTo>
                    <a:pt x="361" y="600"/>
                  </a:lnTo>
                  <a:lnTo>
                    <a:pt x="362" y="601"/>
                  </a:lnTo>
                  <a:lnTo>
                    <a:pt x="363" y="603"/>
                  </a:lnTo>
                  <a:lnTo>
                    <a:pt x="364" y="604"/>
                  </a:lnTo>
                  <a:lnTo>
                    <a:pt x="364" y="607"/>
                  </a:lnTo>
                  <a:lnTo>
                    <a:pt x="364" y="609"/>
                  </a:lnTo>
                  <a:lnTo>
                    <a:pt x="364" y="611"/>
                  </a:lnTo>
                  <a:lnTo>
                    <a:pt x="364" y="614"/>
                  </a:lnTo>
                  <a:lnTo>
                    <a:pt x="363" y="616"/>
                  </a:lnTo>
                  <a:lnTo>
                    <a:pt x="361" y="618"/>
                  </a:lnTo>
                  <a:lnTo>
                    <a:pt x="353" y="626"/>
                  </a:lnTo>
                  <a:lnTo>
                    <a:pt x="351" y="630"/>
                  </a:lnTo>
                  <a:lnTo>
                    <a:pt x="349" y="633"/>
                  </a:lnTo>
                  <a:lnTo>
                    <a:pt x="348" y="635"/>
                  </a:lnTo>
                  <a:lnTo>
                    <a:pt x="347" y="638"/>
                  </a:lnTo>
                  <a:lnTo>
                    <a:pt x="346" y="641"/>
                  </a:lnTo>
                  <a:lnTo>
                    <a:pt x="347" y="644"/>
                  </a:lnTo>
                  <a:lnTo>
                    <a:pt x="347" y="645"/>
                  </a:lnTo>
                  <a:lnTo>
                    <a:pt x="348" y="647"/>
                  </a:lnTo>
                  <a:lnTo>
                    <a:pt x="349" y="651"/>
                  </a:lnTo>
                  <a:lnTo>
                    <a:pt x="350" y="653"/>
                  </a:lnTo>
                  <a:lnTo>
                    <a:pt x="351" y="655"/>
                  </a:lnTo>
                  <a:lnTo>
                    <a:pt x="352" y="657"/>
                  </a:lnTo>
                  <a:lnTo>
                    <a:pt x="355" y="661"/>
                  </a:lnTo>
                  <a:lnTo>
                    <a:pt x="359" y="666"/>
                  </a:lnTo>
                  <a:lnTo>
                    <a:pt x="362" y="669"/>
                  </a:lnTo>
                  <a:lnTo>
                    <a:pt x="369" y="676"/>
                  </a:lnTo>
                  <a:lnTo>
                    <a:pt x="376" y="681"/>
                  </a:lnTo>
                  <a:lnTo>
                    <a:pt x="376" y="682"/>
                  </a:lnTo>
                  <a:lnTo>
                    <a:pt x="378" y="684"/>
                  </a:lnTo>
                  <a:lnTo>
                    <a:pt x="379" y="685"/>
                  </a:lnTo>
                  <a:lnTo>
                    <a:pt x="379" y="686"/>
                  </a:lnTo>
                  <a:lnTo>
                    <a:pt x="379" y="688"/>
                  </a:lnTo>
                  <a:lnTo>
                    <a:pt x="379" y="689"/>
                  </a:lnTo>
                  <a:lnTo>
                    <a:pt x="379" y="689"/>
                  </a:lnTo>
                  <a:lnTo>
                    <a:pt x="378" y="690"/>
                  </a:lnTo>
                  <a:lnTo>
                    <a:pt x="377" y="691"/>
                  </a:lnTo>
                  <a:lnTo>
                    <a:pt x="376" y="691"/>
                  </a:lnTo>
                  <a:lnTo>
                    <a:pt x="374" y="691"/>
                  </a:lnTo>
                  <a:lnTo>
                    <a:pt x="372" y="691"/>
                  </a:lnTo>
                  <a:lnTo>
                    <a:pt x="371" y="690"/>
                  </a:lnTo>
                  <a:lnTo>
                    <a:pt x="369" y="689"/>
                  </a:lnTo>
                  <a:lnTo>
                    <a:pt x="361" y="684"/>
                  </a:lnTo>
                  <a:lnTo>
                    <a:pt x="359" y="682"/>
                  </a:lnTo>
                  <a:lnTo>
                    <a:pt x="356" y="681"/>
                  </a:lnTo>
                  <a:lnTo>
                    <a:pt x="355" y="680"/>
                  </a:lnTo>
                  <a:lnTo>
                    <a:pt x="353" y="679"/>
                  </a:lnTo>
                  <a:lnTo>
                    <a:pt x="350" y="679"/>
                  </a:lnTo>
                  <a:lnTo>
                    <a:pt x="348" y="678"/>
                  </a:lnTo>
                  <a:lnTo>
                    <a:pt x="346" y="678"/>
                  </a:lnTo>
                  <a:lnTo>
                    <a:pt x="344" y="678"/>
                  </a:lnTo>
                  <a:lnTo>
                    <a:pt x="341" y="678"/>
                  </a:lnTo>
                  <a:lnTo>
                    <a:pt x="339" y="678"/>
                  </a:lnTo>
                  <a:lnTo>
                    <a:pt x="335" y="679"/>
                  </a:lnTo>
                  <a:lnTo>
                    <a:pt x="329" y="681"/>
                  </a:lnTo>
                  <a:lnTo>
                    <a:pt x="326" y="681"/>
                  </a:lnTo>
                  <a:lnTo>
                    <a:pt x="324" y="681"/>
                  </a:lnTo>
                  <a:lnTo>
                    <a:pt x="321" y="681"/>
                  </a:lnTo>
                  <a:lnTo>
                    <a:pt x="319" y="681"/>
                  </a:lnTo>
                  <a:lnTo>
                    <a:pt x="317" y="681"/>
                  </a:lnTo>
                  <a:lnTo>
                    <a:pt x="314" y="681"/>
                  </a:lnTo>
                  <a:lnTo>
                    <a:pt x="313" y="680"/>
                  </a:lnTo>
                  <a:lnTo>
                    <a:pt x="311" y="679"/>
                  </a:lnTo>
                  <a:lnTo>
                    <a:pt x="309" y="678"/>
                  </a:lnTo>
                  <a:lnTo>
                    <a:pt x="308" y="676"/>
                  </a:lnTo>
                  <a:lnTo>
                    <a:pt x="306" y="674"/>
                  </a:lnTo>
                  <a:lnTo>
                    <a:pt x="304" y="671"/>
                  </a:lnTo>
                  <a:lnTo>
                    <a:pt x="298" y="664"/>
                  </a:lnTo>
                  <a:lnTo>
                    <a:pt x="295" y="659"/>
                  </a:lnTo>
                  <a:lnTo>
                    <a:pt x="293" y="657"/>
                  </a:lnTo>
                  <a:lnTo>
                    <a:pt x="290" y="655"/>
                  </a:lnTo>
                  <a:lnTo>
                    <a:pt x="288" y="654"/>
                  </a:lnTo>
                  <a:lnTo>
                    <a:pt x="285" y="651"/>
                  </a:lnTo>
                  <a:lnTo>
                    <a:pt x="283" y="650"/>
                  </a:lnTo>
                  <a:lnTo>
                    <a:pt x="280" y="649"/>
                  </a:lnTo>
                  <a:lnTo>
                    <a:pt x="277" y="649"/>
                  </a:lnTo>
                  <a:lnTo>
                    <a:pt x="274" y="648"/>
                  </a:lnTo>
                  <a:lnTo>
                    <a:pt x="272" y="648"/>
                  </a:lnTo>
                  <a:lnTo>
                    <a:pt x="270" y="648"/>
                  </a:lnTo>
                  <a:lnTo>
                    <a:pt x="268" y="648"/>
                  </a:lnTo>
                  <a:lnTo>
                    <a:pt x="263" y="649"/>
                  </a:lnTo>
                  <a:lnTo>
                    <a:pt x="262" y="649"/>
                  </a:lnTo>
                  <a:lnTo>
                    <a:pt x="262" y="648"/>
                  </a:lnTo>
                  <a:lnTo>
                    <a:pt x="261" y="647"/>
                  </a:lnTo>
                  <a:lnTo>
                    <a:pt x="252" y="644"/>
                  </a:lnTo>
                  <a:lnTo>
                    <a:pt x="247" y="642"/>
                  </a:lnTo>
                  <a:lnTo>
                    <a:pt x="239" y="639"/>
                  </a:lnTo>
                  <a:lnTo>
                    <a:pt x="236" y="636"/>
                  </a:lnTo>
                  <a:lnTo>
                    <a:pt x="232" y="634"/>
                  </a:lnTo>
                  <a:lnTo>
                    <a:pt x="228" y="631"/>
                  </a:lnTo>
                  <a:lnTo>
                    <a:pt x="225" y="629"/>
                  </a:lnTo>
                  <a:lnTo>
                    <a:pt x="220" y="624"/>
                  </a:lnTo>
                  <a:lnTo>
                    <a:pt x="219" y="622"/>
                  </a:lnTo>
                  <a:lnTo>
                    <a:pt x="217" y="621"/>
                  </a:lnTo>
                  <a:lnTo>
                    <a:pt x="212" y="618"/>
                  </a:lnTo>
                  <a:lnTo>
                    <a:pt x="210" y="617"/>
                  </a:lnTo>
                  <a:lnTo>
                    <a:pt x="209" y="616"/>
                  </a:lnTo>
                  <a:lnTo>
                    <a:pt x="207" y="614"/>
                  </a:lnTo>
                  <a:lnTo>
                    <a:pt x="201" y="607"/>
                  </a:lnTo>
                  <a:lnTo>
                    <a:pt x="199" y="606"/>
                  </a:lnTo>
                  <a:lnTo>
                    <a:pt x="198" y="604"/>
                  </a:lnTo>
                  <a:lnTo>
                    <a:pt x="197" y="601"/>
                  </a:lnTo>
                  <a:lnTo>
                    <a:pt x="194" y="594"/>
                  </a:lnTo>
                  <a:lnTo>
                    <a:pt x="193" y="593"/>
                  </a:lnTo>
                  <a:lnTo>
                    <a:pt x="192" y="591"/>
                  </a:lnTo>
                  <a:lnTo>
                    <a:pt x="190" y="589"/>
                  </a:lnTo>
                  <a:lnTo>
                    <a:pt x="184" y="583"/>
                  </a:lnTo>
                  <a:lnTo>
                    <a:pt x="177" y="575"/>
                  </a:lnTo>
                  <a:lnTo>
                    <a:pt x="175" y="573"/>
                  </a:lnTo>
                  <a:lnTo>
                    <a:pt x="174" y="571"/>
                  </a:lnTo>
                  <a:lnTo>
                    <a:pt x="172" y="568"/>
                  </a:lnTo>
                  <a:lnTo>
                    <a:pt x="171" y="565"/>
                  </a:lnTo>
                  <a:lnTo>
                    <a:pt x="170" y="562"/>
                  </a:lnTo>
                  <a:lnTo>
                    <a:pt x="168" y="554"/>
                  </a:lnTo>
                  <a:lnTo>
                    <a:pt x="166" y="550"/>
                  </a:lnTo>
                  <a:lnTo>
                    <a:pt x="165" y="548"/>
                  </a:lnTo>
                  <a:lnTo>
                    <a:pt x="164" y="546"/>
                  </a:lnTo>
                  <a:lnTo>
                    <a:pt x="162" y="544"/>
                  </a:lnTo>
                  <a:lnTo>
                    <a:pt x="161" y="543"/>
                  </a:lnTo>
                  <a:lnTo>
                    <a:pt x="159" y="542"/>
                  </a:lnTo>
                  <a:lnTo>
                    <a:pt x="158" y="542"/>
                  </a:lnTo>
                  <a:lnTo>
                    <a:pt x="154" y="540"/>
                  </a:lnTo>
                  <a:lnTo>
                    <a:pt x="152" y="539"/>
                  </a:lnTo>
                  <a:lnTo>
                    <a:pt x="142" y="537"/>
                  </a:lnTo>
                  <a:lnTo>
                    <a:pt x="124" y="530"/>
                  </a:lnTo>
                  <a:lnTo>
                    <a:pt x="118" y="529"/>
                  </a:lnTo>
                  <a:lnTo>
                    <a:pt x="108" y="527"/>
                  </a:lnTo>
                  <a:lnTo>
                    <a:pt x="104" y="526"/>
                  </a:lnTo>
                  <a:lnTo>
                    <a:pt x="102" y="525"/>
                  </a:lnTo>
                  <a:lnTo>
                    <a:pt x="100" y="524"/>
                  </a:lnTo>
                  <a:lnTo>
                    <a:pt x="99" y="523"/>
                  </a:lnTo>
                  <a:lnTo>
                    <a:pt x="97" y="522"/>
                  </a:lnTo>
                  <a:lnTo>
                    <a:pt x="94" y="520"/>
                  </a:lnTo>
                  <a:lnTo>
                    <a:pt x="92" y="518"/>
                  </a:lnTo>
                  <a:lnTo>
                    <a:pt x="90" y="516"/>
                  </a:lnTo>
                  <a:lnTo>
                    <a:pt x="87" y="512"/>
                  </a:lnTo>
                  <a:lnTo>
                    <a:pt x="84" y="509"/>
                  </a:lnTo>
                  <a:lnTo>
                    <a:pt x="78" y="500"/>
                  </a:lnTo>
                  <a:lnTo>
                    <a:pt x="77" y="498"/>
                  </a:lnTo>
                  <a:lnTo>
                    <a:pt x="75" y="495"/>
                  </a:lnTo>
                  <a:lnTo>
                    <a:pt x="73" y="489"/>
                  </a:lnTo>
                  <a:lnTo>
                    <a:pt x="72" y="486"/>
                  </a:lnTo>
                  <a:lnTo>
                    <a:pt x="69" y="482"/>
                  </a:lnTo>
                  <a:lnTo>
                    <a:pt x="68" y="479"/>
                  </a:lnTo>
                  <a:lnTo>
                    <a:pt x="67" y="477"/>
                  </a:lnTo>
                  <a:lnTo>
                    <a:pt x="64" y="474"/>
                  </a:lnTo>
                  <a:lnTo>
                    <a:pt x="62" y="472"/>
                  </a:lnTo>
                  <a:lnTo>
                    <a:pt x="59" y="471"/>
                  </a:lnTo>
                  <a:lnTo>
                    <a:pt x="57" y="469"/>
                  </a:lnTo>
                  <a:lnTo>
                    <a:pt x="55" y="468"/>
                  </a:lnTo>
                  <a:lnTo>
                    <a:pt x="53" y="468"/>
                  </a:lnTo>
                  <a:lnTo>
                    <a:pt x="49" y="467"/>
                  </a:lnTo>
                  <a:lnTo>
                    <a:pt x="47" y="468"/>
                  </a:lnTo>
                  <a:lnTo>
                    <a:pt x="43" y="469"/>
                  </a:lnTo>
                  <a:lnTo>
                    <a:pt x="39" y="469"/>
                  </a:lnTo>
                  <a:lnTo>
                    <a:pt x="36" y="472"/>
                  </a:lnTo>
                  <a:lnTo>
                    <a:pt x="30" y="474"/>
                  </a:lnTo>
                  <a:lnTo>
                    <a:pt x="28" y="475"/>
                  </a:lnTo>
                  <a:lnTo>
                    <a:pt x="27" y="475"/>
                  </a:lnTo>
                  <a:lnTo>
                    <a:pt x="25" y="475"/>
                  </a:lnTo>
                  <a:lnTo>
                    <a:pt x="25" y="475"/>
                  </a:lnTo>
                  <a:lnTo>
                    <a:pt x="23" y="474"/>
                  </a:lnTo>
                  <a:lnTo>
                    <a:pt x="22" y="473"/>
                  </a:lnTo>
                  <a:lnTo>
                    <a:pt x="22" y="472"/>
                  </a:lnTo>
                  <a:lnTo>
                    <a:pt x="21" y="470"/>
                  </a:lnTo>
                  <a:lnTo>
                    <a:pt x="20" y="468"/>
                  </a:lnTo>
                  <a:lnTo>
                    <a:pt x="20" y="466"/>
                  </a:lnTo>
                  <a:lnTo>
                    <a:pt x="17" y="458"/>
                  </a:lnTo>
                  <a:lnTo>
                    <a:pt x="16" y="453"/>
                  </a:lnTo>
                  <a:lnTo>
                    <a:pt x="14" y="447"/>
                  </a:lnTo>
                  <a:lnTo>
                    <a:pt x="10" y="439"/>
                  </a:lnTo>
                  <a:lnTo>
                    <a:pt x="9" y="434"/>
                  </a:lnTo>
                  <a:lnTo>
                    <a:pt x="7" y="430"/>
                  </a:lnTo>
                  <a:lnTo>
                    <a:pt x="5" y="420"/>
                  </a:lnTo>
                  <a:lnTo>
                    <a:pt x="2" y="413"/>
                  </a:lnTo>
                  <a:lnTo>
                    <a:pt x="1" y="408"/>
                  </a:lnTo>
                  <a:lnTo>
                    <a:pt x="0" y="401"/>
                  </a:lnTo>
                  <a:lnTo>
                    <a:pt x="0" y="397"/>
                  </a:lnTo>
                  <a:lnTo>
                    <a:pt x="0" y="397"/>
                  </a:lnTo>
                  <a:lnTo>
                    <a:pt x="1" y="397"/>
                  </a:lnTo>
                  <a:lnTo>
                    <a:pt x="2" y="397"/>
                  </a:lnTo>
                  <a:lnTo>
                    <a:pt x="2" y="396"/>
                  </a:lnTo>
                  <a:lnTo>
                    <a:pt x="5" y="395"/>
                  </a:lnTo>
                  <a:lnTo>
                    <a:pt x="7" y="393"/>
                  </a:lnTo>
                  <a:lnTo>
                    <a:pt x="10" y="390"/>
                  </a:lnTo>
                  <a:lnTo>
                    <a:pt x="13" y="386"/>
                  </a:lnTo>
                  <a:lnTo>
                    <a:pt x="19" y="379"/>
                  </a:lnTo>
                  <a:lnTo>
                    <a:pt x="22" y="374"/>
                  </a:lnTo>
                  <a:lnTo>
                    <a:pt x="24" y="372"/>
                  </a:lnTo>
                  <a:lnTo>
                    <a:pt x="25" y="369"/>
                  </a:lnTo>
                  <a:lnTo>
                    <a:pt x="25" y="367"/>
                  </a:lnTo>
                  <a:lnTo>
                    <a:pt x="26" y="362"/>
                  </a:lnTo>
                  <a:lnTo>
                    <a:pt x="27" y="358"/>
                  </a:lnTo>
                  <a:lnTo>
                    <a:pt x="28" y="355"/>
                  </a:lnTo>
                  <a:lnTo>
                    <a:pt x="30" y="353"/>
                  </a:lnTo>
                  <a:lnTo>
                    <a:pt x="31" y="352"/>
                  </a:lnTo>
                  <a:lnTo>
                    <a:pt x="32" y="351"/>
                  </a:lnTo>
                  <a:lnTo>
                    <a:pt x="34" y="350"/>
                  </a:lnTo>
                  <a:lnTo>
                    <a:pt x="36" y="349"/>
                  </a:lnTo>
                  <a:lnTo>
                    <a:pt x="39" y="347"/>
                  </a:lnTo>
                  <a:lnTo>
                    <a:pt x="44" y="346"/>
                  </a:lnTo>
                  <a:lnTo>
                    <a:pt x="45" y="345"/>
                  </a:lnTo>
                  <a:lnTo>
                    <a:pt x="46" y="344"/>
                  </a:lnTo>
                  <a:lnTo>
                    <a:pt x="48" y="343"/>
                  </a:lnTo>
                  <a:lnTo>
                    <a:pt x="50" y="340"/>
                  </a:lnTo>
                  <a:lnTo>
                    <a:pt x="51" y="337"/>
                  </a:lnTo>
                  <a:lnTo>
                    <a:pt x="52" y="335"/>
                  </a:lnTo>
                  <a:lnTo>
                    <a:pt x="52" y="331"/>
                  </a:lnTo>
                  <a:lnTo>
                    <a:pt x="52" y="326"/>
                  </a:lnTo>
                  <a:lnTo>
                    <a:pt x="52" y="322"/>
                  </a:lnTo>
                  <a:lnTo>
                    <a:pt x="52" y="317"/>
                  </a:lnTo>
                  <a:lnTo>
                    <a:pt x="51" y="312"/>
                  </a:lnTo>
                  <a:lnTo>
                    <a:pt x="48" y="304"/>
                  </a:lnTo>
                  <a:lnTo>
                    <a:pt x="47" y="300"/>
                  </a:lnTo>
                  <a:lnTo>
                    <a:pt x="42" y="289"/>
                  </a:lnTo>
                  <a:lnTo>
                    <a:pt x="42" y="287"/>
                  </a:lnTo>
                  <a:lnTo>
                    <a:pt x="42" y="285"/>
                  </a:lnTo>
                  <a:lnTo>
                    <a:pt x="42" y="284"/>
                  </a:lnTo>
                  <a:lnTo>
                    <a:pt x="42" y="283"/>
                  </a:lnTo>
                  <a:lnTo>
                    <a:pt x="43" y="282"/>
                  </a:lnTo>
                  <a:lnTo>
                    <a:pt x="50" y="278"/>
                  </a:lnTo>
                  <a:lnTo>
                    <a:pt x="52" y="277"/>
                  </a:lnTo>
                  <a:lnTo>
                    <a:pt x="54" y="275"/>
                  </a:lnTo>
                  <a:lnTo>
                    <a:pt x="55" y="274"/>
                  </a:lnTo>
                  <a:lnTo>
                    <a:pt x="56" y="272"/>
                  </a:lnTo>
                  <a:lnTo>
                    <a:pt x="57" y="270"/>
                  </a:lnTo>
                  <a:lnTo>
                    <a:pt x="59" y="267"/>
                  </a:lnTo>
                  <a:lnTo>
                    <a:pt x="59" y="265"/>
                  </a:lnTo>
                  <a:lnTo>
                    <a:pt x="60" y="261"/>
                  </a:lnTo>
                  <a:lnTo>
                    <a:pt x="60" y="257"/>
                  </a:lnTo>
                  <a:lnTo>
                    <a:pt x="60" y="249"/>
                  </a:lnTo>
                  <a:lnTo>
                    <a:pt x="61" y="244"/>
                  </a:lnTo>
                  <a:lnTo>
                    <a:pt x="62" y="242"/>
                  </a:lnTo>
                  <a:lnTo>
                    <a:pt x="62" y="238"/>
                  </a:lnTo>
                  <a:lnTo>
                    <a:pt x="64" y="232"/>
                  </a:lnTo>
                  <a:lnTo>
                    <a:pt x="64" y="230"/>
                  </a:lnTo>
                  <a:lnTo>
                    <a:pt x="64" y="226"/>
                  </a:lnTo>
                  <a:lnTo>
                    <a:pt x="64" y="219"/>
                  </a:lnTo>
                  <a:lnTo>
                    <a:pt x="64" y="216"/>
                  </a:lnTo>
                  <a:lnTo>
                    <a:pt x="65" y="214"/>
                  </a:lnTo>
                  <a:lnTo>
                    <a:pt x="66" y="210"/>
                  </a:lnTo>
                  <a:lnTo>
                    <a:pt x="67" y="207"/>
                  </a:lnTo>
                  <a:lnTo>
                    <a:pt x="67" y="205"/>
                  </a:lnTo>
                  <a:lnTo>
                    <a:pt x="67" y="203"/>
                  </a:lnTo>
                  <a:lnTo>
                    <a:pt x="66" y="201"/>
                  </a:lnTo>
                  <a:lnTo>
                    <a:pt x="64" y="198"/>
                  </a:lnTo>
                  <a:lnTo>
                    <a:pt x="63" y="196"/>
                  </a:lnTo>
                  <a:lnTo>
                    <a:pt x="59" y="190"/>
                  </a:lnTo>
                  <a:lnTo>
                    <a:pt x="57" y="188"/>
                  </a:lnTo>
                  <a:lnTo>
                    <a:pt x="55" y="185"/>
                  </a:lnTo>
                  <a:lnTo>
                    <a:pt x="54" y="182"/>
                  </a:lnTo>
                  <a:lnTo>
                    <a:pt x="54" y="181"/>
                  </a:lnTo>
                  <a:lnTo>
                    <a:pt x="53" y="178"/>
                  </a:lnTo>
                  <a:lnTo>
                    <a:pt x="52" y="174"/>
                  </a:lnTo>
                  <a:lnTo>
                    <a:pt x="53" y="167"/>
                  </a:lnTo>
                  <a:lnTo>
                    <a:pt x="53" y="162"/>
                  </a:lnTo>
                  <a:lnTo>
                    <a:pt x="52" y="160"/>
                  </a:lnTo>
                  <a:lnTo>
                    <a:pt x="51" y="153"/>
                  </a:lnTo>
                  <a:lnTo>
                    <a:pt x="51" y="151"/>
                  </a:lnTo>
                  <a:lnTo>
                    <a:pt x="50" y="150"/>
                  </a:lnTo>
                  <a:lnTo>
                    <a:pt x="51" y="147"/>
                  </a:lnTo>
                  <a:lnTo>
                    <a:pt x="51" y="145"/>
                  </a:lnTo>
                  <a:lnTo>
                    <a:pt x="52" y="143"/>
                  </a:lnTo>
                  <a:lnTo>
                    <a:pt x="52" y="141"/>
                  </a:lnTo>
                  <a:lnTo>
                    <a:pt x="54" y="139"/>
                  </a:lnTo>
                  <a:lnTo>
                    <a:pt x="57" y="135"/>
                  </a:lnTo>
                  <a:lnTo>
                    <a:pt x="59" y="130"/>
                  </a:lnTo>
                  <a:lnTo>
                    <a:pt x="63" y="124"/>
                  </a:lnTo>
                  <a:lnTo>
                    <a:pt x="64" y="120"/>
                  </a:lnTo>
                  <a:lnTo>
                    <a:pt x="65" y="118"/>
                  </a:lnTo>
                  <a:lnTo>
                    <a:pt x="66" y="115"/>
                  </a:lnTo>
                  <a:lnTo>
                    <a:pt x="66" y="114"/>
                  </a:lnTo>
                  <a:lnTo>
                    <a:pt x="66" y="113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7" y="109"/>
                  </a:lnTo>
                  <a:lnTo>
                    <a:pt x="68" y="107"/>
                  </a:lnTo>
                  <a:lnTo>
                    <a:pt x="71" y="102"/>
                  </a:lnTo>
                  <a:lnTo>
                    <a:pt x="73" y="100"/>
                  </a:lnTo>
                  <a:lnTo>
                    <a:pt x="75" y="98"/>
                  </a:lnTo>
                  <a:lnTo>
                    <a:pt x="77" y="97"/>
                  </a:lnTo>
                  <a:lnTo>
                    <a:pt x="78" y="96"/>
                  </a:lnTo>
                  <a:lnTo>
                    <a:pt x="79" y="95"/>
                  </a:lnTo>
                  <a:lnTo>
                    <a:pt x="82" y="95"/>
                  </a:lnTo>
                  <a:lnTo>
                    <a:pt x="84" y="95"/>
                  </a:lnTo>
                  <a:lnTo>
                    <a:pt x="91" y="97"/>
                  </a:lnTo>
                  <a:lnTo>
                    <a:pt x="97" y="97"/>
                  </a:lnTo>
                  <a:lnTo>
                    <a:pt x="100" y="98"/>
                  </a:lnTo>
                  <a:lnTo>
                    <a:pt x="102" y="98"/>
                  </a:lnTo>
                  <a:lnTo>
                    <a:pt x="103" y="99"/>
                  </a:lnTo>
                  <a:lnTo>
                    <a:pt x="107" y="103"/>
                  </a:lnTo>
                  <a:lnTo>
                    <a:pt x="110" y="105"/>
                  </a:lnTo>
                  <a:lnTo>
                    <a:pt x="113" y="106"/>
                  </a:lnTo>
                  <a:lnTo>
                    <a:pt x="118" y="107"/>
                  </a:lnTo>
                  <a:lnTo>
                    <a:pt x="121" y="108"/>
                  </a:lnTo>
                  <a:lnTo>
                    <a:pt x="126" y="108"/>
                  </a:lnTo>
                  <a:lnTo>
                    <a:pt x="128" y="108"/>
                  </a:lnTo>
                  <a:lnTo>
                    <a:pt x="138" y="110"/>
                  </a:lnTo>
                  <a:lnTo>
                    <a:pt x="142" y="110"/>
                  </a:lnTo>
                  <a:lnTo>
                    <a:pt x="145" y="110"/>
                  </a:lnTo>
                  <a:lnTo>
                    <a:pt x="147" y="110"/>
                  </a:lnTo>
                  <a:lnTo>
                    <a:pt x="149" y="110"/>
                  </a:lnTo>
                  <a:lnTo>
                    <a:pt x="150" y="110"/>
                  </a:lnTo>
                  <a:lnTo>
                    <a:pt x="154" y="108"/>
                  </a:lnTo>
                  <a:lnTo>
                    <a:pt x="156" y="108"/>
                  </a:lnTo>
                  <a:lnTo>
                    <a:pt x="159" y="107"/>
                  </a:lnTo>
                  <a:lnTo>
                    <a:pt x="160" y="107"/>
                  </a:lnTo>
                  <a:lnTo>
                    <a:pt x="162" y="107"/>
                  </a:lnTo>
                  <a:lnTo>
                    <a:pt x="168" y="103"/>
                  </a:lnTo>
                  <a:lnTo>
                    <a:pt x="170" y="101"/>
                  </a:lnTo>
                  <a:lnTo>
                    <a:pt x="173" y="99"/>
                  </a:lnTo>
                  <a:lnTo>
                    <a:pt x="176" y="95"/>
                  </a:lnTo>
                  <a:lnTo>
                    <a:pt x="176" y="96"/>
                  </a:lnTo>
                  <a:lnTo>
                    <a:pt x="176" y="98"/>
                  </a:lnTo>
                  <a:lnTo>
                    <a:pt x="175" y="101"/>
                  </a:lnTo>
                  <a:lnTo>
                    <a:pt x="173" y="107"/>
                  </a:lnTo>
                  <a:lnTo>
                    <a:pt x="172" y="110"/>
                  </a:lnTo>
                  <a:lnTo>
                    <a:pt x="171" y="114"/>
                  </a:lnTo>
                  <a:lnTo>
                    <a:pt x="170" y="116"/>
                  </a:lnTo>
                  <a:lnTo>
                    <a:pt x="170" y="119"/>
                  </a:lnTo>
                  <a:lnTo>
                    <a:pt x="170" y="120"/>
                  </a:lnTo>
                  <a:lnTo>
                    <a:pt x="171" y="121"/>
                  </a:lnTo>
                  <a:lnTo>
                    <a:pt x="172" y="122"/>
                  </a:lnTo>
                  <a:lnTo>
                    <a:pt x="172" y="123"/>
                  </a:lnTo>
                  <a:lnTo>
                    <a:pt x="172" y="124"/>
                  </a:lnTo>
                  <a:lnTo>
                    <a:pt x="174" y="125"/>
                  </a:lnTo>
                  <a:lnTo>
                    <a:pt x="174" y="126"/>
                  </a:lnTo>
                  <a:lnTo>
                    <a:pt x="177" y="127"/>
                  </a:lnTo>
                  <a:lnTo>
                    <a:pt x="178" y="127"/>
                  </a:lnTo>
                  <a:lnTo>
                    <a:pt x="179" y="128"/>
                  </a:lnTo>
                  <a:lnTo>
                    <a:pt x="182" y="128"/>
                  </a:lnTo>
                  <a:lnTo>
                    <a:pt x="190" y="130"/>
                  </a:lnTo>
                  <a:lnTo>
                    <a:pt x="194" y="130"/>
                  </a:lnTo>
                  <a:lnTo>
                    <a:pt x="198" y="131"/>
                  </a:lnTo>
                  <a:lnTo>
                    <a:pt x="203" y="132"/>
                  </a:lnTo>
                  <a:lnTo>
                    <a:pt x="208" y="134"/>
                  </a:lnTo>
                  <a:lnTo>
                    <a:pt x="212" y="136"/>
                  </a:lnTo>
                  <a:lnTo>
                    <a:pt x="215" y="138"/>
                  </a:lnTo>
                  <a:lnTo>
                    <a:pt x="221" y="142"/>
                  </a:lnTo>
                  <a:lnTo>
                    <a:pt x="223" y="143"/>
                  </a:lnTo>
                  <a:lnTo>
                    <a:pt x="224" y="143"/>
                  </a:lnTo>
                  <a:lnTo>
                    <a:pt x="226" y="144"/>
                  </a:lnTo>
                  <a:lnTo>
                    <a:pt x="227" y="143"/>
                  </a:lnTo>
                  <a:lnTo>
                    <a:pt x="229" y="143"/>
                  </a:lnTo>
                  <a:lnTo>
                    <a:pt x="230" y="142"/>
                  </a:lnTo>
                  <a:lnTo>
                    <a:pt x="232" y="140"/>
                  </a:lnTo>
                  <a:lnTo>
                    <a:pt x="233" y="138"/>
                  </a:lnTo>
                  <a:lnTo>
                    <a:pt x="236" y="133"/>
                  </a:lnTo>
                  <a:lnTo>
                    <a:pt x="237" y="131"/>
                  </a:lnTo>
                  <a:lnTo>
                    <a:pt x="240" y="127"/>
                  </a:lnTo>
                  <a:lnTo>
                    <a:pt x="243" y="124"/>
                  </a:lnTo>
                  <a:lnTo>
                    <a:pt x="246" y="121"/>
                  </a:lnTo>
                  <a:lnTo>
                    <a:pt x="248" y="119"/>
                  </a:lnTo>
                  <a:lnTo>
                    <a:pt x="257" y="112"/>
                  </a:lnTo>
                  <a:lnTo>
                    <a:pt x="264" y="107"/>
                  </a:lnTo>
                  <a:lnTo>
                    <a:pt x="269" y="103"/>
                  </a:lnTo>
                  <a:lnTo>
                    <a:pt x="273" y="101"/>
                  </a:lnTo>
                  <a:lnTo>
                    <a:pt x="275" y="100"/>
                  </a:lnTo>
                  <a:lnTo>
                    <a:pt x="277" y="100"/>
                  </a:lnTo>
                  <a:lnTo>
                    <a:pt x="287" y="97"/>
                  </a:lnTo>
                  <a:lnTo>
                    <a:pt x="292" y="95"/>
                  </a:lnTo>
                  <a:lnTo>
                    <a:pt x="296" y="93"/>
                  </a:lnTo>
                  <a:lnTo>
                    <a:pt x="299" y="91"/>
                  </a:lnTo>
                  <a:lnTo>
                    <a:pt x="301" y="90"/>
                  </a:lnTo>
                  <a:lnTo>
                    <a:pt x="303" y="88"/>
                  </a:lnTo>
                  <a:lnTo>
                    <a:pt x="304" y="87"/>
                  </a:lnTo>
                  <a:lnTo>
                    <a:pt x="304" y="85"/>
                  </a:lnTo>
                  <a:lnTo>
                    <a:pt x="305" y="83"/>
                  </a:lnTo>
                  <a:lnTo>
                    <a:pt x="305" y="82"/>
                  </a:lnTo>
                  <a:lnTo>
                    <a:pt x="304" y="78"/>
                  </a:lnTo>
                  <a:lnTo>
                    <a:pt x="302" y="72"/>
                  </a:lnTo>
                  <a:lnTo>
                    <a:pt x="301" y="66"/>
                  </a:lnTo>
                  <a:lnTo>
                    <a:pt x="299" y="62"/>
                  </a:lnTo>
                  <a:lnTo>
                    <a:pt x="299" y="59"/>
                  </a:lnTo>
                  <a:lnTo>
                    <a:pt x="299" y="56"/>
                  </a:lnTo>
                  <a:lnTo>
                    <a:pt x="299" y="53"/>
                  </a:lnTo>
                  <a:lnTo>
                    <a:pt x="299" y="50"/>
                  </a:lnTo>
                  <a:lnTo>
                    <a:pt x="300" y="48"/>
                  </a:lnTo>
                  <a:lnTo>
                    <a:pt x="301" y="43"/>
                  </a:lnTo>
                  <a:lnTo>
                    <a:pt x="302" y="40"/>
                  </a:lnTo>
                  <a:lnTo>
                    <a:pt x="303" y="38"/>
                  </a:lnTo>
                  <a:lnTo>
                    <a:pt x="303" y="34"/>
                  </a:lnTo>
                  <a:lnTo>
                    <a:pt x="303" y="31"/>
                  </a:lnTo>
                  <a:lnTo>
                    <a:pt x="304" y="30"/>
                  </a:lnTo>
                  <a:lnTo>
                    <a:pt x="304" y="29"/>
                  </a:lnTo>
                  <a:lnTo>
                    <a:pt x="305" y="26"/>
                  </a:lnTo>
                  <a:lnTo>
                    <a:pt x="306" y="25"/>
                  </a:lnTo>
                  <a:lnTo>
                    <a:pt x="307" y="24"/>
                  </a:lnTo>
                  <a:lnTo>
                    <a:pt x="311" y="22"/>
                  </a:lnTo>
                  <a:lnTo>
                    <a:pt x="313" y="20"/>
                  </a:lnTo>
                  <a:lnTo>
                    <a:pt x="314" y="18"/>
                  </a:lnTo>
                  <a:lnTo>
                    <a:pt x="316" y="14"/>
                  </a:lnTo>
                  <a:lnTo>
                    <a:pt x="319" y="12"/>
                  </a:lnTo>
                  <a:lnTo>
                    <a:pt x="321" y="9"/>
                  </a:lnTo>
                  <a:lnTo>
                    <a:pt x="326" y="6"/>
                  </a:lnTo>
                  <a:lnTo>
                    <a:pt x="330" y="4"/>
                  </a:lnTo>
                  <a:lnTo>
                    <a:pt x="334" y="1"/>
                  </a:lnTo>
                  <a:lnTo>
                    <a:pt x="336" y="0"/>
                  </a:lnTo>
                  <a:lnTo>
                    <a:pt x="339" y="0"/>
                  </a:lnTo>
                  <a:lnTo>
                    <a:pt x="339" y="0"/>
                  </a:lnTo>
                  <a:close/>
                </a:path>
              </a:pathLst>
            </a:custGeom>
            <a:solidFill>
              <a:srgbClr val="FFCC29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Rectangle 189">
              <a:extLst>
                <a:ext uri="{FF2B5EF4-FFF2-40B4-BE49-F238E27FC236}">
                  <a16:creationId xmlns:a16="http://schemas.microsoft.com/office/drawing/2014/main" id="{7C229067-49CB-0D68-2C97-13D4DDC1EF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7504" y="5439947"/>
              <a:ext cx="121828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H</a:t>
              </a:r>
            </a:p>
          </p:txBody>
        </p:sp>
        <p:sp>
          <p:nvSpPr>
            <p:cNvPr id="51" name="Rectangle 193">
              <a:extLst>
                <a:ext uri="{FF2B5EF4-FFF2-40B4-BE49-F238E27FC236}">
                  <a16:creationId xmlns:a16="http://schemas.microsoft.com/office/drawing/2014/main" id="{835AD403-3957-16B0-B6AD-FD877CAAA6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5997" y="4840034"/>
              <a:ext cx="10259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I</a:t>
              </a:r>
            </a:p>
          </p:txBody>
        </p:sp>
        <p:sp>
          <p:nvSpPr>
            <p:cNvPr id="52" name="Rectangle 197">
              <a:extLst>
                <a:ext uri="{FF2B5EF4-FFF2-40B4-BE49-F238E27FC236}">
                  <a16:creationId xmlns:a16="http://schemas.microsoft.com/office/drawing/2014/main" id="{B993C6F7-9493-018E-CAAF-BF013FB036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6617" y="5705227"/>
              <a:ext cx="13946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B</a:t>
              </a:r>
            </a:p>
          </p:txBody>
        </p:sp>
        <p:sp>
          <p:nvSpPr>
            <p:cNvPr id="53" name="Rectangle 198">
              <a:extLst>
                <a:ext uri="{FF2B5EF4-FFF2-40B4-BE49-F238E27FC236}">
                  <a16:creationId xmlns:a16="http://schemas.microsoft.com/office/drawing/2014/main" id="{DB04F890-15FA-2840-F433-AEA88C5B4B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8299" y="6235423"/>
              <a:ext cx="137858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K</a:t>
              </a:r>
            </a:p>
          </p:txBody>
        </p:sp>
        <p:sp>
          <p:nvSpPr>
            <p:cNvPr id="54" name="Rectangle 201">
              <a:extLst>
                <a:ext uri="{FF2B5EF4-FFF2-40B4-BE49-F238E27FC236}">
                  <a16:creationId xmlns:a16="http://schemas.microsoft.com/office/drawing/2014/main" id="{81F602C5-9073-2384-54BE-F80DB7ED70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7814" y="4873912"/>
              <a:ext cx="14106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A</a:t>
              </a:r>
            </a:p>
          </p:txBody>
        </p:sp>
        <p:sp>
          <p:nvSpPr>
            <p:cNvPr id="55" name="Rectangle 204">
              <a:extLst>
                <a:ext uri="{FF2B5EF4-FFF2-40B4-BE49-F238E27FC236}">
                  <a16:creationId xmlns:a16="http://schemas.microsoft.com/office/drawing/2014/main" id="{9AFC3FAD-0519-1905-0BB2-6CA5747E4B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5736" y="5668800"/>
              <a:ext cx="13305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T</a:t>
              </a:r>
            </a:p>
          </p:txBody>
        </p:sp>
        <p:sp>
          <p:nvSpPr>
            <p:cNvPr id="56" name="Rectangle 222">
              <a:extLst>
                <a:ext uri="{FF2B5EF4-FFF2-40B4-BE49-F238E27FC236}">
                  <a16:creationId xmlns:a16="http://schemas.microsoft.com/office/drawing/2014/main" id="{E54429A4-8261-725E-418D-48B8CBBA9D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8409" y="5116435"/>
              <a:ext cx="12503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5482838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abulka 22">
            <a:extLst>
              <a:ext uri="{FF2B5EF4-FFF2-40B4-BE49-F238E27FC236}">
                <a16:creationId xmlns:a16="http://schemas.microsoft.com/office/drawing/2014/main" id="{BCF402D4-EA85-A45F-253B-C4CA879C102C}"/>
              </a:ext>
            </a:extLst>
          </p:cNvPr>
          <p:cNvGraphicFramePr>
            <a:graphicFrameLocks noGrp="1"/>
          </p:cNvGraphicFramePr>
          <p:nvPr/>
        </p:nvGraphicFramePr>
        <p:xfrm>
          <a:off x="9530246" y="1231198"/>
          <a:ext cx="2403660" cy="5167335"/>
        </p:xfrm>
        <a:graphic>
          <a:graphicData uri="http://schemas.openxmlformats.org/drawingml/2006/table">
            <a:tbl>
              <a:tblPr/>
              <a:tblGrid>
                <a:gridCol w="801220">
                  <a:extLst>
                    <a:ext uri="{9D8B030D-6E8A-4147-A177-3AD203B41FA5}">
                      <a16:colId xmlns:a16="http://schemas.microsoft.com/office/drawing/2014/main" val="3619838673"/>
                    </a:ext>
                  </a:extLst>
                </a:gridCol>
                <a:gridCol w="801220">
                  <a:extLst>
                    <a:ext uri="{9D8B030D-6E8A-4147-A177-3AD203B41FA5}">
                      <a16:colId xmlns:a16="http://schemas.microsoft.com/office/drawing/2014/main" val="111838958"/>
                    </a:ext>
                  </a:extLst>
                </a:gridCol>
                <a:gridCol w="801220">
                  <a:extLst>
                    <a:ext uri="{9D8B030D-6E8A-4147-A177-3AD203B41FA5}">
                      <a16:colId xmlns:a16="http://schemas.microsoft.com/office/drawing/2014/main" val="110072555"/>
                    </a:ext>
                  </a:extLst>
                </a:gridCol>
              </a:tblGrid>
              <a:tr h="344489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95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5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4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9761436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F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9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9885860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8165312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4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9A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E9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2976352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6345708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AC9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28186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95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5B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4494491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F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D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A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618804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4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C8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432252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A8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1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2636643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9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4121574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9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6390612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D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3647803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F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9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637005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0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9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9744817"/>
                  </a:ext>
                </a:extLst>
              </a:tr>
            </a:tbl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E21815B-4090-45B4-7270-8B2A16A19B1A}"/>
              </a:ext>
            </a:extLst>
          </p:cNvPr>
          <p:cNvGraphicFramePr>
            <a:graphicFrameLocks noGrp="1"/>
          </p:cNvGraphicFramePr>
          <p:nvPr/>
        </p:nvGraphicFramePr>
        <p:xfrm>
          <a:off x="2014818" y="1231198"/>
          <a:ext cx="5981697" cy="5167335"/>
        </p:xfrm>
        <a:graphic>
          <a:graphicData uri="http://schemas.openxmlformats.org/drawingml/2006/table">
            <a:tbl>
              <a:tblPr/>
              <a:tblGrid>
                <a:gridCol w="664633">
                  <a:extLst>
                    <a:ext uri="{9D8B030D-6E8A-4147-A177-3AD203B41FA5}">
                      <a16:colId xmlns:a16="http://schemas.microsoft.com/office/drawing/2014/main" val="3179539581"/>
                    </a:ext>
                  </a:extLst>
                </a:gridCol>
                <a:gridCol w="664633">
                  <a:extLst>
                    <a:ext uri="{9D8B030D-6E8A-4147-A177-3AD203B41FA5}">
                      <a16:colId xmlns:a16="http://schemas.microsoft.com/office/drawing/2014/main" val="443916314"/>
                    </a:ext>
                  </a:extLst>
                </a:gridCol>
                <a:gridCol w="664633">
                  <a:extLst>
                    <a:ext uri="{9D8B030D-6E8A-4147-A177-3AD203B41FA5}">
                      <a16:colId xmlns:a16="http://schemas.microsoft.com/office/drawing/2014/main" val="2816850605"/>
                    </a:ext>
                  </a:extLst>
                </a:gridCol>
                <a:gridCol w="664633">
                  <a:extLst>
                    <a:ext uri="{9D8B030D-6E8A-4147-A177-3AD203B41FA5}">
                      <a16:colId xmlns:a16="http://schemas.microsoft.com/office/drawing/2014/main" val="2835242615"/>
                    </a:ext>
                  </a:extLst>
                </a:gridCol>
                <a:gridCol w="664633">
                  <a:extLst>
                    <a:ext uri="{9D8B030D-6E8A-4147-A177-3AD203B41FA5}">
                      <a16:colId xmlns:a16="http://schemas.microsoft.com/office/drawing/2014/main" val="3004278847"/>
                    </a:ext>
                  </a:extLst>
                </a:gridCol>
                <a:gridCol w="664633">
                  <a:extLst>
                    <a:ext uri="{9D8B030D-6E8A-4147-A177-3AD203B41FA5}">
                      <a16:colId xmlns:a16="http://schemas.microsoft.com/office/drawing/2014/main" val="1959187749"/>
                    </a:ext>
                  </a:extLst>
                </a:gridCol>
                <a:gridCol w="664633">
                  <a:extLst>
                    <a:ext uri="{9D8B030D-6E8A-4147-A177-3AD203B41FA5}">
                      <a16:colId xmlns:a16="http://schemas.microsoft.com/office/drawing/2014/main" val="2185304742"/>
                    </a:ext>
                  </a:extLst>
                </a:gridCol>
                <a:gridCol w="664633">
                  <a:extLst>
                    <a:ext uri="{9D8B030D-6E8A-4147-A177-3AD203B41FA5}">
                      <a16:colId xmlns:a16="http://schemas.microsoft.com/office/drawing/2014/main" val="4182774879"/>
                    </a:ext>
                  </a:extLst>
                </a:gridCol>
                <a:gridCol w="664633">
                  <a:extLst>
                    <a:ext uri="{9D8B030D-6E8A-4147-A177-3AD203B41FA5}">
                      <a16:colId xmlns:a16="http://schemas.microsoft.com/office/drawing/2014/main" val="1420530687"/>
                    </a:ext>
                  </a:extLst>
                </a:gridCol>
              </a:tblGrid>
              <a:tr h="34448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F6F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E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4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E0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6D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EE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8E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6906350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9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8AFC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E2E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F1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3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E2E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B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7134811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7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B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7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7C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C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B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7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0936875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3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7B9C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CAD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7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5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3963873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95A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7149145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3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BDC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9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BDC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9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9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9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3127058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5E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C7B9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CAD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5E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4245250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8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BFC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FA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6D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6D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8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E2E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F4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9557356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E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CE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E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F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E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F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E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F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1027337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DF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E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5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6D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CCD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E2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E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7E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7114481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F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7E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C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7E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BFC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F7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7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4862803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CAD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CAD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2514912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8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E3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1D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8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F4F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F4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7687536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F3F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B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7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F3F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C3D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B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C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F3F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4948061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F6F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3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6D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4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A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8E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3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3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7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9395328"/>
                  </a:ext>
                </a:extLst>
              </a:tr>
            </a:tbl>
          </a:graphicData>
        </a:graphic>
      </p:graphicFrame>
      <p:sp>
        <p:nvSpPr>
          <p:cNvPr id="9" name="Nadpis 8"/>
          <p:cNvSpPr>
            <a:spLocks noGrp="1"/>
          </p:cNvSpPr>
          <p:nvPr>
            <p:ph type="title"/>
          </p:nvPr>
        </p:nvSpPr>
        <p:spPr>
          <a:xfrm>
            <a:off x="336046" y="137740"/>
            <a:ext cx="11144250" cy="569598"/>
          </a:xfrm>
        </p:spPr>
        <p:txBody>
          <a:bodyPr anchor="t">
            <a:noAutofit/>
          </a:bodyPr>
          <a:lstStyle/>
          <a:p>
            <a:r>
              <a:rPr lang="cs-CZ" sz="2800" b="1" dirty="0">
                <a:solidFill>
                  <a:srgbClr val="C00000"/>
                </a:solidFill>
                <a:latin typeface="+mn-lt"/>
              </a:rPr>
              <a:t>Kliničtí onkologové aktivní v roce 2023 v krajích</a:t>
            </a:r>
          </a:p>
        </p:txBody>
      </p:sp>
      <p:sp>
        <p:nvSpPr>
          <p:cNvPr id="2" name="TextBox 6">
            <a:extLst>
              <a:ext uri="{FF2B5EF4-FFF2-40B4-BE49-F238E27FC236}">
                <a16:creationId xmlns:a16="http://schemas.microsoft.com/office/drawing/2014/main" id="{D41D853E-92BF-8FFC-1326-15F3ADCDAB1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28786" y="538272"/>
            <a:ext cx="115344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finice: všichni aktivní lékaři (FO) se specializací „</a:t>
            </a:r>
            <a:r>
              <a:rPr kumimoji="0" lang="pl-PL" sz="120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inická onkologie”, </a:t>
            </a:r>
            <a:r>
              <a:rPr kumimoji="0" lang="cs-CZ" sz="120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31. 12. 2023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49503032-9C07-0841-4B25-6FCCEAF99C38}"/>
              </a:ext>
            </a:extLst>
          </p:cNvPr>
          <p:cNvSpPr txBox="1"/>
          <p:nvPr/>
        </p:nvSpPr>
        <p:spPr>
          <a:xfrm>
            <a:off x="9267825" y="245673"/>
            <a:ext cx="268605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, NRHZS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CE4E13B2-48C4-1090-8381-C3BE834006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5198065"/>
              </p:ext>
            </p:extLst>
          </p:nvPr>
        </p:nvGraphicFramePr>
        <p:xfrm>
          <a:off x="211189" y="851178"/>
          <a:ext cx="11722719" cy="5547360"/>
        </p:xfrm>
        <a:graphic>
          <a:graphicData uri="http://schemas.openxmlformats.org/drawingml/2006/table">
            <a:tbl>
              <a:tblPr/>
              <a:tblGrid>
                <a:gridCol w="1807591">
                  <a:extLst>
                    <a:ext uri="{9D8B030D-6E8A-4147-A177-3AD203B41FA5}">
                      <a16:colId xmlns:a16="http://schemas.microsoft.com/office/drawing/2014/main" val="1082975270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4167713117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3414856171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3987198070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2210905730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3233921921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3998647785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3876050304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697122086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3287928587"/>
                    </a:ext>
                  </a:extLst>
                </a:gridCol>
                <a:gridCol w="764194">
                  <a:extLst>
                    <a:ext uri="{9D8B030D-6E8A-4147-A177-3AD203B41FA5}">
                      <a16:colId xmlns:a16="http://schemas.microsoft.com/office/drawing/2014/main" val="3773933097"/>
                    </a:ext>
                  </a:extLst>
                </a:gridCol>
                <a:gridCol w="764194">
                  <a:extLst>
                    <a:ext uri="{9D8B030D-6E8A-4147-A177-3AD203B41FA5}">
                      <a16:colId xmlns:a16="http://schemas.microsoft.com/office/drawing/2014/main" val="4239857620"/>
                    </a:ext>
                  </a:extLst>
                </a:gridCol>
                <a:gridCol w="802035">
                  <a:extLst>
                    <a:ext uri="{9D8B030D-6E8A-4147-A177-3AD203B41FA5}">
                      <a16:colId xmlns:a16="http://schemas.microsoft.com/office/drawing/2014/main" val="2973192470"/>
                    </a:ext>
                  </a:extLst>
                </a:gridCol>
                <a:gridCol w="802035">
                  <a:extLst>
                    <a:ext uri="{9D8B030D-6E8A-4147-A177-3AD203B41FA5}">
                      <a16:colId xmlns:a16="http://schemas.microsoft.com/office/drawing/2014/main" val="1866027777"/>
                    </a:ext>
                  </a:extLst>
                </a:gridCol>
                <a:gridCol w="802035">
                  <a:extLst>
                    <a:ext uri="{9D8B030D-6E8A-4147-A177-3AD203B41FA5}">
                      <a16:colId xmlns:a16="http://schemas.microsoft.com/office/drawing/2014/main" val="3044502103"/>
                    </a:ext>
                  </a:extLst>
                </a:gridCol>
              </a:tblGrid>
              <a:tr h="339708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 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-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-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-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-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-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-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a ví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vě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a více le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a více le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03728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3,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9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6,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8 (13,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4 (10,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6 (12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1 (15,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7 (12,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0 (15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3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9,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3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4396714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8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1 (30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1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5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6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1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3,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2,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7033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3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9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27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8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3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9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523563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6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6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8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26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6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2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6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3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03874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578660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6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25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8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5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8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8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331003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2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510150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6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8,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1 (24,4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2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7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7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8,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1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22728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2,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8,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2,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2,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2,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6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2,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377622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,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3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9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4,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2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3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8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,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9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705093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</a:t>
                      </a:r>
                      <a:r>
                        <a:rPr lang="cs-CZ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.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4 (12,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1 (10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7 (15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1 (19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2 (11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4 (12,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9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9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8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0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5447644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2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8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5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8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24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2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862131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2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6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2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3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3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3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3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455870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8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0,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3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3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8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7,4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4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3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0,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348017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8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3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1 (10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75 (15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0 (10,4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9 (14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72 (14,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1 (10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1 (10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5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9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8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1442396"/>
                  </a:ext>
                </a:extLst>
              </a:tr>
            </a:tbl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75892B6E-22E0-77A8-FE24-351ED5721ECA}"/>
              </a:ext>
            </a:extLst>
          </p:cNvPr>
          <p:cNvSpPr/>
          <p:nvPr/>
        </p:nvSpPr>
        <p:spPr>
          <a:xfrm>
            <a:off x="212673" y="6421758"/>
            <a:ext cx="818652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ékař může pracovat ve více krajích, v celkovém počtu je zahrnut pouze jednou</a:t>
            </a:r>
          </a:p>
        </p:txBody>
      </p:sp>
      <p:graphicFrame>
        <p:nvGraphicFramePr>
          <p:cNvPr id="18" name="Objekt 17">
            <a:extLst>
              <a:ext uri="{FF2B5EF4-FFF2-40B4-BE49-F238E27FC236}">
                <a16:creationId xmlns:a16="http://schemas.microsoft.com/office/drawing/2014/main" id="{29AE5778-4C6C-968C-47CE-F02BF9BE88B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996515" y="1231193"/>
          <a:ext cx="770967" cy="51673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3" imgW="937366" imgH="2750977" progId="Excel.Sheet.12">
                  <p:embed/>
                </p:oleObj>
              </mc:Choice>
              <mc:Fallback>
                <p:oleObj name="Worksheet" r:id="rId3" imgW="937366" imgH="2750977" progId="Excel.Sheet.12">
                  <p:embed/>
                  <p:pic>
                    <p:nvPicPr>
                      <p:cNvPr id="18" name="Objekt 17">
                        <a:extLst>
                          <a:ext uri="{FF2B5EF4-FFF2-40B4-BE49-F238E27FC236}">
                            <a16:creationId xmlns:a16="http://schemas.microsoft.com/office/drawing/2014/main" id="{29AE5778-4C6C-968C-47CE-F02BF9BE88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96515" y="1231193"/>
                        <a:ext cx="770967" cy="516733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Šipka: dolů 3">
            <a:extLst>
              <a:ext uri="{FF2B5EF4-FFF2-40B4-BE49-F238E27FC236}">
                <a16:creationId xmlns:a16="http://schemas.microsoft.com/office/drawing/2014/main" id="{6978AAFC-2FBF-6A33-32C9-97D5DE8A4A02}"/>
              </a:ext>
            </a:extLst>
          </p:cNvPr>
          <p:cNvSpPr/>
          <p:nvPr/>
        </p:nvSpPr>
        <p:spPr>
          <a:xfrm rot="16200000">
            <a:off x="-120406" y="1909470"/>
            <a:ext cx="663191" cy="368498"/>
          </a:xfrm>
          <a:prstGeom prst="downArrow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098944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ulka 13">
            <a:extLst>
              <a:ext uri="{FF2B5EF4-FFF2-40B4-BE49-F238E27FC236}">
                <a16:creationId xmlns:a16="http://schemas.microsoft.com/office/drawing/2014/main" id="{1DCA2846-1713-B942-B247-0DABCC7B641A}"/>
              </a:ext>
            </a:extLst>
          </p:cNvPr>
          <p:cNvGraphicFramePr>
            <a:graphicFrameLocks noGrp="1"/>
          </p:cNvGraphicFramePr>
          <p:nvPr/>
        </p:nvGraphicFramePr>
        <p:xfrm>
          <a:off x="2023780" y="1224768"/>
          <a:ext cx="5981697" cy="5173770"/>
        </p:xfrm>
        <a:graphic>
          <a:graphicData uri="http://schemas.openxmlformats.org/drawingml/2006/table">
            <a:tbl>
              <a:tblPr/>
              <a:tblGrid>
                <a:gridCol w="664633">
                  <a:extLst>
                    <a:ext uri="{9D8B030D-6E8A-4147-A177-3AD203B41FA5}">
                      <a16:colId xmlns:a16="http://schemas.microsoft.com/office/drawing/2014/main" val="3736167256"/>
                    </a:ext>
                  </a:extLst>
                </a:gridCol>
                <a:gridCol w="664633">
                  <a:extLst>
                    <a:ext uri="{9D8B030D-6E8A-4147-A177-3AD203B41FA5}">
                      <a16:colId xmlns:a16="http://schemas.microsoft.com/office/drawing/2014/main" val="194183748"/>
                    </a:ext>
                  </a:extLst>
                </a:gridCol>
                <a:gridCol w="664633">
                  <a:extLst>
                    <a:ext uri="{9D8B030D-6E8A-4147-A177-3AD203B41FA5}">
                      <a16:colId xmlns:a16="http://schemas.microsoft.com/office/drawing/2014/main" val="3679092359"/>
                    </a:ext>
                  </a:extLst>
                </a:gridCol>
                <a:gridCol w="664633">
                  <a:extLst>
                    <a:ext uri="{9D8B030D-6E8A-4147-A177-3AD203B41FA5}">
                      <a16:colId xmlns:a16="http://schemas.microsoft.com/office/drawing/2014/main" val="1750743479"/>
                    </a:ext>
                  </a:extLst>
                </a:gridCol>
                <a:gridCol w="664633">
                  <a:extLst>
                    <a:ext uri="{9D8B030D-6E8A-4147-A177-3AD203B41FA5}">
                      <a16:colId xmlns:a16="http://schemas.microsoft.com/office/drawing/2014/main" val="1284351908"/>
                    </a:ext>
                  </a:extLst>
                </a:gridCol>
                <a:gridCol w="664633">
                  <a:extLst>
                    <a:ext uri="{9D8B030D-6E8A-4147-A177-3AD203B41FA5}">
                      <a16:colId xmlns:a16="http://schemas.microsoft.com/office/drawing/2014/main" val="2980805843"/>
                    </a:ext>
                  </a:extLst>
                </a:gridCol>
                <a:gridCol w="664633">
                  <a:extLst>
                    <a:ext uri="{9D8B030D-6E8A-4147-A177-3AD203B41FA5}">
                      <a16:colId xmlns:a16="http://schemas.microsoft.com/office/drawing/2014/main" val="1561333533"/>
                    </a:ext>
                  </a:extLst>
                </a:gridCol>
                <a:gridCol w="664633">
                  <a:extLst>
                    <a:ext uri="{9D8B030D-6E8A-4147-A177-3AD203B41FA5}">
                      <a16:colId xmlns:a16="http://schemas.microsoft.com/office/drawing/2014/main" val="3383719136"/>
                    </a:ext>
                  </a:extLst>
                </a:gridCol>
                <a:gridCol w="664633">
                  <a:extLst>
                    <a:ext uri="{9D8B030D-6E8A-4147-A177-3AD203B41FA5}">
                      <a16:colId xmlns:a16="http://schemas.microsoft.com/office/drawing/2014/main" val="1145637213"/>
                    </a:ext>
                  </a:extLst>
                </a:gridCol>
              </a:tblGrid>
              <a:tr h="34491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6E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F3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BA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CCD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BFC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C3D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E1E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0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0566484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3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D91A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9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9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BDC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9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BDC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3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281956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EA7B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D7B9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9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D91A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3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0304882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1D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1D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1D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8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8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6A2B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8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8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B9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2870437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3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3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EA7B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EA7B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3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EA7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0771917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3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C7D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C7D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29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3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C7D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8020073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B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7C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093A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B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B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093A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8133226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E0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E0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AB0C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F0F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E0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2352255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7E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D9CB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7E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B5C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7E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CE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CE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CE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4709361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E0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CBD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68CA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5A1B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B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B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B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6D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3188596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CF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C4D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C4D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D9CB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D9CB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CF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8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9564376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C7D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C7D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88EA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3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3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88E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9501873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B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093A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7C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7C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7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7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B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7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5854970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B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B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B6F8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7C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B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B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B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4258172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A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BB0C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CAD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C0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C8D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3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5D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9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6641641"/>
                  </a:ext>
                </a:extLst>
              </a:tr>
            </a:tbl>
          </a:graphicData>
        </a:graphic>
      </p:graphicFrame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2DD6CAB1-5CA2-2FE5-A91E-B783624D2146}"/>
              </a:ext>
            </a:extLst>
          </p:cNvPr>
          <p:cNvGraphicFramePr>
            <a:graphicFrameLocks noGrp="1"/>
          </p:cNvGraphicFramePr>
          <p:nvPr/>
        </p:nvGraphicFramePr>
        <p:xfrm>
          <a:off x="9538446" y="1224768"/>
          <a:ext cx="2395461" cy="5173770"/>
        </p:xfrm>
        <a:graphic>
          <a:graphicData uri="http://schemas.openxmlformats.org/drawingml/2006/table">
            <a:tbl>
              <a:tblPr/>
              <a:tblGrid>
                <a:gridCol w="798487">
                  <a:extLst>
                    <a:ext uri="{9D8B030D-6E8A-4147-A177-3AD203B41FA5}">
                      <a16:colId xmlns:a16="http://schemas.microsoft.com/office/drawing/2014/main" val="1128341491"/>
                    </a:ext>
                  </a:extLst>
                </a:gridCol>
                <a:gridCol w="798487">
                  <a:extLst>
                    <a:ext uri="{9D8B030D-6E8A-4147-A177-3AD203B41FA5}">
                      <a16:colId xmlns:a16="http://schemas.microsoft.com/office/drawing/2014/main" val="3580178744"/>
                    </a:ext>
                  </a:extLst>
                </a:gridCol>
                <a:gridCol w="798487">
                  <a:extLst>
                    <a:ext uri="{9D8B030D-6E8A-4147-A177-3AD203B41FA5}">
                      <a16:colId xmlns:a16="http://schemas.microsoft.com/office/drawing/2014/main" val="798403405"/>
                    </a:ext>
                  </a:extLst>
                </a:gridCol>
              </a:tblGrid>
              <a:tr h="344918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3B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0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4814875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2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9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A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2557487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3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936147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4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3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687510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9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4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8951344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D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962031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2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E9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3379410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FCA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0441941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98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CA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665417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B8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C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6389283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2910649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9D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E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876888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2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19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9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13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5D1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4938046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4286665"/>
                  </a:ext>
                </a:extLst>
              </a:tr>
            </a:tbl>
          </a:graphicData>
        </a:graphic>
      </p:graphicFrame>
      <p:sp>
        <p:nvSpPr>
          <p:cNvPr id="9" name="Nadpis 8"/>
          <p:cNvSpPr>
            <a:spLocks noGrp="1"/>
          </p:cNvSpPr>
          <p:nvPr>
            <p:ph type="title"/>
          </p:nvPr>
        </p:nvSpPr>
        <p:spPr>
          <a:xfrm>
            <a:off x="336046" y="137740"/>
            <a:ext cx="11144250" cy="569598"/>
          </a:xfrm>
        </p:spPr>
        <p:txBody>
          <a:bodyPr anchor="t">
            <a:noAutofit/>
          </a:bodyPr>
          <a:lstStyle/>
          <a:p>
            <a:r>
              <a:rPr lang="cs-CZ" sz="2800" b="1" dirty="0">
                <a:solidFill>
                  <a:srgbClr val="C00000"/>
                </a:solidFill>
                <a:latin typeface="+mn-lt"/>
              </a:rPr>
              <a:t>Radiační onkologové aktivní v roce 2023 v krajích</a:t>
            </a:r>
          </a:p>
        </p:txBody>
      </p:sp>
      <p:sp>
        <p:nvSpPr>
          <p:cNvPr id="2" name="TextBox 6">
            <a:extLst>
              <a:ext uri="{FF2B5EF4-FFF2-40B4-BE49-F238E27FC236}">
                <a16:creationId xmlns:a16="http://schemas.microsoft.com/office/drawing/2014/main" id="{D41D853E-92BF-8FFC-1326-15F3ADCDAB1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28786" y="538272"/>
            <a:ext cx="115344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finice: všichni aktivní lékaři (FO) se specializací „</a:t>
            </a:r>
            <a:r>
              <a:rPr kumimoji="0" lang="en-US" sz="120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dia</a:t>
            </a:r>
            <a:r>
              <a:rPr kumimoji="0" lang="cs-CZ" sz="120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ní</a:t>
            </a:r>
            <a:r>
              <a:rPr kumimoji="0" lang="pl-PL" sz="120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nkologie”, </a:t>
            </a:r>
            <a:r>
              <a:rPr kumimoji="0" lang="cs-CZ" sz="120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31. 12. 2023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49503032-9C07-0841-4B25-6FCCEAF99C38}"/>
              </a:ext>
            </a:extLst>
          </p:cNvPr>
          <p:cNvSpPr txBox="1"/>
          <p:nvPr/>
        </p:nvSpPr>
        <p:spPr>
          <a:xfrm>
            <a:off x="9267825" y="245673"/>
            <a:ext cx="268605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, NRHZS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CE4E13B2-48C4-1090-8381-C3BE834006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6053089"/>
              </p:ext>
            </p:extLst>
          </p:nvPr>
        </p:nvGraphicFramePr>
        <p:xfrm>
          <a:off x="211189" y="851178"/>
          <a:ext cx="11722719" cy="5547360"/>
        </p:xfrm>
        <a:graphic>
          <a:graphicData uri="http://schemas.openxmlformats.org/drawingml/2006/table">
            <a:tbl>
              <a:tblPr/>
              <a:tblGrid>
                <a:gridCol w="1807591">
                  <a:extLst>
                    <a:ext uri="{9D8B030D-6E8A-4147-A177-3AD203B41FA5}">
                      <a16:colId xmlns:a16="http://schemas.microsoft.com/office/drawing/2014/main" val="1082975270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4167713117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3414856171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3987198070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2210905730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3233921921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3998647785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3876050304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697122086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3287928587"/>
                    </a:ext>
                  </a:extLst>
                </a:gridCol>
                <a:gridCol w="764194">
                  <a:extLst>
                    <a:ext uri="{9D8B030D-6E8A-4147-A177-3AD203B41FA5}">
                      <a16:colId xmlns:a16="http://schemas.microsoft.com/office/drawing/2014/main" val="3773933097"/>
                    </a:ext>
                  </a:extLst>
                </a:gridCol>
                <a:gridCol w="764194">
                  <a:extLst>
                    <a:ext uri="{9D8B030D-6E8A-4147-A177-3AD203B41FA5}">
                      <a16:colId xmlns:a16="http://schemas.microsoft.com/office/drawing/2014/main" val="4239857620"/>
                    </a:ext>
                  </a:extLst>
                </a:gridCol>
                <a:gridCol w="802035">
                  <a:extLst>
                    <a:ext uri="{9D8B030D-6E8A-4147-A177-3AD203B41FA5}">
                      <a16:colId xmlns:a16="http://schemas.microsoft.com/office/drawing/2014/main" val="2973192470"/>
                    </a:ext>
                  </a:extLst>
                </a:gridCol>
                <a:gridCol w="802035">
                  <a:extLst>
                    <a:ext uri="{9D8B030D-6E8A-4147-A177-3AD203B41FA5}">
                      <a16:colId xmlns:a16="http://schemas.microsoft.com/office/drawing/2014/main" val="1866027777"/>
                    </a:ext>
                  </a:extLst>
                </a:gridCol>
                <a:gridCol w="802035">
                  <a:extLst>
                    <a:ext uri="{9D8B030D-6E8A-4147-A177-3AD203B41FA5}">
                      <a16:colId xmlns:a16="http://schemas.microsoft.com/office/drawing/2014/main" val="3044502103"/>
                    </a:ext>
                  </a:extLst>
                </a:gridCol>
              </a:tblGrid>
              <a:tr h="339708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 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-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-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-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-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-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-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a ví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vě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a více le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a více le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03728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,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6 (17,4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2 (13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5 (16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4 (15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7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8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8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1 (12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9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4396714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1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27,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5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5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6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5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(16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1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7033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2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33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27,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1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523563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1,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1,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1,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,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5,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3,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,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5,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7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03874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1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1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2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2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1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2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578660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4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4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5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4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331003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8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7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27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510150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8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0 (4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8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2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2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8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22728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25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6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8,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6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2,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2,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2,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377622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9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8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6,4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8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9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9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9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705093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</a:t>
                      </a:r>
                      <a:r>
                        <a:rPr lang="cs-CZ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.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,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3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1 (28,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9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3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0,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5447644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5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5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862131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4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4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8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28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455870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9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9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7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8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8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6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9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348017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3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7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4 (19,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3 (13,4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1 (15,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5 (14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3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4 (10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9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1442396"/>
                  </a:ext>
                </a:extLst>
              </a:tr>
            </a:tbl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75892B6E-22E0-77A8-FE24-351ED5721ECA}"/>
              </a:ext>
            </a:extLst>
          </p:cNvPr>
          <p:cNvSpPr/>
          <p:nvPr/>
        </p:nvSpPr>
        <p:spPr>
          <a:xfrm>
            <a:off x="212673" y="6421758"/>
            <a:ext cx="818652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ékař může pracovat ve více krajích, v celkovém počtu je zahrnut pouze jednou</a:t>
            </a:r>
          </a:p>
        </p:txBody>
      </p:sp>
      <p:graphicFrame>
        <p:nvGraphicFramePr>
          <p:cNvPr id="16" name="Objekt 15">
            <a:extLst>
              <a:ext uri="{FF2B5EF4-FFF2-40B4-BE49-F238E27FC236}">
                <a16:creationId xmlns:a16="http://schemas.microsoft.com/office/drawing/2014/main" id="{85C5F03F-9519-07C6-D1F3-3FE6A1CE139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8005477" y="1224768"/>
          <a:ext cx="753041" cy="51969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3" imgW="937366" imgH="2750977" progId="Excel.Sheet.12">
                  <p:embed/>
                </p:oleObj>
              </mc:Choice>
              <mc:Fallback>
                <p:oleObj name="Worksheet" r:id="rId3" imgW="937366" imgH="2750977" progId="Excel.Sheet.12">
                  <p:embed/>
                  <p:pic>
                    <p:nvPicPr>
                      <p:cNvPr id="16" name="Objekt 15">
                        <a:extLst>
                          <a:ext uri="{FF2B5EF4-FFF2-40B4-BE49-F238E27FC236}">
                            <a16:creationId xmlns:a16="http://schemas.microsoft.com/office/drawing/2014/main" id="{85C5F03F-9519-07C6-D1F3-3FE6A1CE1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005477" y="1224768"/>
                        <a:ext cx="753041" cy="51969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Šipka: dolů 4">
            <a:extLst>
              <a:ext uri="{FF2B5EF4-FFF2-40B4-BE49-F238E27FC236}">
                <a16:creationId xmlns:a16="http://schemas.microsoft.com/office/drawing/2014/main" id="{6B5EA9FF-B9CD-6091-75A1-B18F0E476DE3}"/>
              </a:ext>
            </a:extLst>
          </p:cNvPr>
          <p:cNvSpPr/>
          <p:nvPr/>
        </p:nvSpPr>
        <p:spPr>
          <a:xfrm rot="16200000">
            <a:off x="-147346" y="1901003"/>
            <a:ext cx="663191" cy="368498"/>
          </a:xfrm>
          <a:prstGeom prst="downArrow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4913940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897F032E-B927-27A1-1061-76FB63DA19F6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cs-CZ" dirty="0"/>
              <a:t>SHRNUTÍ</a:t>
            </a:r>
          </a:p>
        </p:txBody>
      </p:sp>
      <p:pic>
        <p:nvPicPr>
          <p:cNvPr id="3" name="Zástupný symbol obrázku 6">
            <a:extLst>
              <a:ext uri="{FF2B5EF4-FFF2-40B4-BE49-F238E27FC236}">
                <a16:creationId xmlns:a16="http://schemas.microsoft.com/office/drawing/2014/main" id="{593EE05E-6495-D952-6C86-2AF90DA755AD}"/>
              </a:ext>
            </a:extLst>
          </p:cNvPr>
          <p:cNvPicPr>
            <a:picLocks noGrp="1" noChangeAspect="1"/>
          </p:cNvPicPr>
          <p:nvPr>
            <p:ph type="pic" sz="quarter" idx="11"/>
            <p:custDataLst>
              <p:tags r:id="rId2"/>
            </p:custDataLst>
          </p:nvPr>
        </p:nvPicPr>
        <p:blipFill>
          <a:blip r:embed="rId5"/>
          <a:srcRect t="28733" b="28733"/>
          <a:stretch>
            <a:fillRect/>
          </a:stretch>
        </p:blipFill>
        <p:spPr>
          <a:xfrm>
            <a:off x="0" y="2297272"/>
            <a:ext cx="7983110" cy="2263455"/>
          </a:xfrm>
        </p:spPr>
      </p:pic>
    </p:spTree>
    <p:extLst>
      <p:ext uri="{BB962C8B-B14F-4D97-AF65-F5344CB8AC3E}">
        <p14:creationId xmlns:p14="http://schemas.microsoft.com/office/powerpoint/2010/main" val="149425398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obsah 6">
            <a:extLst>
              <a:ext uri="{FF2B5EF4-FFF2-40B4-BE49-F238E27FC236}">
                <a16:creationId xmlns:a16="http://schemas.microsoft.com/office/drawing/2014/main" id="{E8A79D11-6976-ACCC-7EF6-630185AE990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52425" y="1396429"/>
            <a:ext cx="10890842" cy="4986372"/>
          </a:xfrm>
        </p:spPr>
        <p:txBody>
          <a:bodyPr>
            <a:normAutofit fontScale="92500"/>
          </a:bodyPr>
          <a:lstStyle/>
          <a:p>
            <a:pPr algn="just">
              <a:lnSpc>
                <a:spcPct val="120000"/>
              </a:lnSpc>
            </a:pPr>
            <a:r>
              <a:rPr lang="cs-CZ" sz="1800" b="1" dirty="0"/>
              <a:t>Nádory prsu patří mezi nejčastější nádory u žen, nádory plic mezi nejčastější nádorové příčiny úmrtí, pětileté relativní přežití pacientů s nádorem prsu patří v Jihočeském kraji k nejnižším v ČR.</a:t>
            </a:r>
          </a:p>
          <a:p>
            <a:pPr algn="just">
              <a:lnSpc>
                <a:spcPct val="120000"/>
              </a:lnSpc>
            </a:pPr>
            <a:r>
              <a:rPr lang="cs-CZ" sz="1800" b="1" dirty="0"/>
              <a:t>Podíl pacientek s karcinomem prsu s vykázaným multidisciplinárním týmem odpovídá celé ČR, u pacientů s nádory plic je však zřetelně vyšší.</a:t>
            </a:r>
          </a:p>
          <a:p>
            <a:pPr algn="just">
              <a:lnSpc>
                <a:spcPct val="120000"/>
              </a:lnSpc>
            </a:pPr>
            <a:r>
              <a:rPr lang="cs-CZ" sz="1800" b="1" dirty="0"/>
              <a:t>Pokrytí cílové populace žen ve věku 45–69 let screeningem karcinomu prsu je </a:t>
            </a:r>
            <a:br>
              <a:rPr lang="cs-CZ" sz="1800" b="1" dirty="0"/>
            </a:br>
            <a:r>
              <a:rPr lang="cs-CZ" sz="1800" b="1" dirty="0"/>
              <a:t>v Jihočeském kraji v porovnání s celorepublikovým pokrytím vyšší, a to zejména v okresech České Budějovice, Český Krumlov, Jindřichův Hradec, Písek a Tábor. </a:t>
            </a:r>
          </a:p>
          <a:p>
            <a:pPr algn="just">
              <a:lnSpc>
                <a:spcPct val="120000"/>
              </a:lnSpc>
            </a:pPr>
            <a:r>
              <a:rPr lang="cs-CZ" sz="1800" b="1" dirty="0"/>
              <a:t>Průměrná objednávací doba mamografických center v Jihočeském kraji odpovídá celorepublikovému průměru, nicméně jednotlivé okresy se v objednávací době výrazně liší. </a:t>
            </a:r>
          </a:p>
          <a:p>
            <a:pPr algn="just">
              <a:lnSpc>
                <a:spcPct val="120000"/>
              </a:lnSpc>
            </a:pPr>
            <a:r>
              <a:rPr lang="cs-CZ" sz="1800" b="1" dirty="0"/>
              <a:t>V Jihočeském kraji bylo zapojeno do screeningu karcinomu plic přibližně 42 % praktických lékařů, což je méně než celorepublikový průměr, svědčí to však o významném potenciálu k dalšímu posilování programu. Potenciálním problémem je odmítání osob účast ve screeningu (66 % z celkového počtu oslovených osob u PL v rámci tohoto kraje). Interval mezi návštěvou </a:t>
            </a:r>
            <a:br>
              <a:rPr lang="cs-CZ" sz="1800" b="1" dirty="0"/>
            </a:br>
            <a:r>
              <a:rPr lang="cs-CZ" sz="1800" b="1" dirty="0"/>
              <a:t>u pneumologa a LDCT vyšetřením v rámci Jihočeského kraje v roce 2024 patří v rámci ČR mezi nižší.</a:t>
            </a:r>
          </a:p>
        </p:txBody>
      </p:sp>
      <p:sp>
        <p:nvSpPr>
          <p:cNvPr id="6" name="Nadpis 5">
            <a:extLst>
              <a:ext uri="{FF2B5EF4-FFF2-40B4-BE49-F238E27FC236}">
                <a16:creationId xmlns:a16="http://schemas.microsoft.com/office/drawing/2014/main" id="{E5108DF0-82F6-AF0C-950A-6AD48605B5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dirty="0"/>
              <a:t>Shrnutí situace v Jihočeském kraji</a:t>
            </a:r>
          </a:p>
        </p:txBody>
      </p:sp>
    </p:spTree>
    <p:extLst>
      <p:ext uri="{BB962C8B-B14F-4D97-AF65-F5344CB8AC3E}">
        <p14:creationId xmlns:p14="http://schemas.microsoft.com/office/powerpoint/2010/main" val="78482714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0869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Nadpis 18">
            <a:extLst>
              <a:ext uri="{FF2B5EF4-FFF2-40B4-BE49-F238E27FC236}">
                <a16:creationId xmlns:a16="http://schemas.microsoft.com/office/drawing/2014/main" id="{D62B0AFD-F7A2-0BD9-6E71-6CF4757B8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Mortalita zhoubných novotvarů v letech 2019–2023: srovnání JHC a ČR</a:t>
            </a:r>
            <a:br>
              <a:rPr lang="cs-CZ" dirty="0"/>
            </a:br>
            <a:endParaRPr lang="cs-CZ" dirty="0"/>
          </a:p>
        </p:txBody>
      </p:sp>
      <p:sp>
        <p:nvSpPr>
          <p:cNvPr id="8" name="Text Box 20">
            <a:extLst>
              <a:ext uri="{FF2B5EF4-FFF2-40B4-BE49-F238E27FC236}">
                <a16:creationId xmlns:a16="http://schemas.microsoft.com/office/drawing/2014/main" id="{6DA2279D-3154-4FE4-9D83-F5F642B8B21E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93107" y="656647"/>
            <a:ext cx="553668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ční počet zemřelých s onemocněním na 100 000 osob</a:t>
            </a:r>
          </a:p>
        </p:txBody>
      </p:sp>
      <p:sp>
        <p:nvSpPr>
          <p:cNvPr id="15" name="TextBox 6">
            <a:extLst>
              <a:ext uri="{FF2B5EF4-FFF2-40B4-BE49-F238E27FC236}">
                <a16:creationId xmlns:a16="http://schemas.microsoft.com/office/drawing/2014/main" id="{BFA19679-E927-A926-79F1-5DB0F2FA28A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8281" y="468586"/>
            <a:ext cx="23054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onkologický registr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B104FD49-D8D9-8F9E-E14D-5627B3FAE695}"/>
              </a:ext>
            </a:extLst>
          </p:cNvPr>
          <p:cNvGraphicFramePr>
            <a:graphicFrameLocks noGrp="1"/>
          </p:cNvGraphicFramePr>
          <p:nvPr/>
        </p:nvGraphicFramePr>
        <p:xfrm>
          <a:off x="5917952" y="3014815"/>
          <a:ext cx="5197723" cy="1219200"/>
        </p:xfrm>
        <a:graphic>
          <a:graphicData uri="http://schemas.openxmlformats.org/drawingml/2006/table">
            <a:tbl>
              <a:tblPr/>
              <a:tblGrid>
                <a:gridCol w="3627579">
                  <a:extLst>
                    <a:ext uri="{9D8B030D-6E8A-4147-A177-3AD203B41FA5}">
                      <a16:colId xmlns:a16="http://schemas.microsoft.com/office/drawing/2014/main" val="2411398723"/>
                    </a:ext>
                  </a:extLst>
                </a:gridCol>
                <a:gridCol w="785072">
                  <a:extLst>
                    <a:ext uri="{9D8B030D-6E8A-4147-A177-3AD203B41FA5}">
                      <a16:colId xmlns:a16="http://schemas.microsoft.com/office/drawing/2014/main" val="1316542829"/>
                    </a:ext>
                  </a:extLst>
                </a:gridCol>
                <a:gridCol w="785072">
                  <a:extLst>
                    <a:ext uri="{9D8B030D-6E8A-4147-A177-3AD203B41FA5}">
                      <a16:colId xmlns:a16="http://schemas.microsoft.com/office/drawing/2014/main" val="394226161"/>
                    </a:ext>
                  </a:extLst>
                </a:gridCol>
              </a:tblGrid>
              <a:tr h="144780">
                <a:tc>
                  <a:txBody>
                    <a:bodyPr/>
                    <a:lstStyle/>
                    <a:p>
                      <a:pPr algn="l" fontAlgn="auto"/>
                      <a:r>
                        <a:rPr lang="cs-CZ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  <a:endParaRPr lang="cs-CZ" b="1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  <a:endParaRPr lang="cs-CZ" b="1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601421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zemřelých s C50 ročně</a:t>
                      </a:r>
                      <a:r>
                        <a:rPr lang="cs-CZ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cs-CZ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23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3167827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zemřelých s C50 ročně na 100 000 osob</a:t>
                      </a:r>
                      <a:endParaRPr lang="cs-CZ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9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1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190342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íl ze zhoubných novotvarů</a:t>
                      </a:r>
                      <a:r>
                        <a:rPr lang="cs-CZ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cs-CZ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3 %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2 %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3262670"/>
                  </a:ext>
                </a:extLst>
              </a:tr>
            </a:tbl>
          </a:graphicData>
        </a:graphic>
      </p:graphicFrame>
      <p:sp>
        <p:nvSpPr>
          <p:cNvPr id="20" name="Text Box 20">
            <a:extLst>
              <a:ext uri="{FF2B5EF4-FFF2-40B4-BE49-F238E27FC236}">
                <a16:creationId xmlns:a16="http://schemas.microsoft.com/office/drawing/2014/main" id="{358776E1-BEB7-0059-94F3-D08CC135F07A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23925" y="849915"/>
            <a:ext cx="266151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agnostická skupina: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43181AB3-F1C3-3CE9-AF69-40D37606DED8}"/>
              </a:ext>
            </a:extLst>
          </p:cNvPr>
          <p:cNvSpPr/>
          <p:nvPr/>
        </p:nvSpPr>
        <p:spPr>
          <a:xfrm>
            <a:off x="2258919" y="1786681"/>
            <a:ext cx="3113641" cy="1900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3" name="Object 35">
            <a:extLst>
              <a:ext uri="{FF2B5EF4-FFF2-40B4-BE49-F238E27FC236}">
                <a16:creationId xmlns:a16="http://schemas.microsoft.com/office/drawing/2014/main" id="{01819D56-899F-6ABB-2BE7-CB2F021BD9E4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3483839" y="905785"/>
          <a:ext cx="4186961" cy="55585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4" name="Group 91">
            <a:extLst>
              <a:ext uri="{FF2B5EF4-FFF2-40B4-BE49-F238E27FC236}">
                <a16:creationId xmlns:a16="http://schemas.microsoft.com/office/drawing/2014/main" id="{13F48AE1-0279-D960-3C30-A42362535FA7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394290" y="1211040"/>
          <a:ext cx="3224099" cy="5191074"/>
        </p:xfrm>
        <a:graphic>
          <a:graphicData uri="http://schemas.openxmlformats.org/drawingml/2006/table">
            <a:tbl>
              <a:tblPr/>
              <a:tblGrid>
                <a:gridCol w="32240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ůdušnice, průdušky a plíce (C33, C3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tlustého střeva a konečníku (C18–C20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slinivky břišní (C2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pl-P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su (C50) u žen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ostaty (C61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ledviny (C6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ukémie (C91–C9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žaludku (C16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jater a intrahepatálních žlučových cest (C2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močového měchýře (C67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mozku, míchy a jiných částí CNS (C70–C7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pl-P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lavy a krku (C00–C14, C30–C31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žlučníku a žlučových cest (C23, C2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vaječníku (C56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-Hodgkinův lymfom (C82–C86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jícnu (C1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dělohy (C54, C5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ohočetný myelom (C90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houbný melanom kůže (C43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rdla děložního (C53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elanomový kožní ZN (C4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rtanu (C3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oj. a měk. tkání a perif. nervů (C47, C49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štítné žlázy (C73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gkinův lymfom (C81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varlete (C6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houbné novotvary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</a:tbl>
          </a:graphicData>
        </a:graphic>
      </p:graphicFrame>
      <p:sp>
        <p:nvSpPr>
          <p:cNvPr id="11" name="Rectangle 233">
            <a:extLst>
              <a:ext uri="{FF2B5EF4-FFF2-40B4-BE49-F238E27FC236}">
                <a16:creationId xmlns:a16="http://schemas.microsoft.com/office/drawing/2014/main" id="{E9935E30-E1A0-472E-B505-FBAE12665FBB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917952" y="2341366"/>
            <a:ext cx="107950" cy="107950"/>
          </a:xfrm>
          <a:prstGeom prst="rect">
            <a:avLst/>
          </a:prstGeom>
          <a:solidFill>
            <a:srgbClr val="858585"/>
          </a:solidFill>
          <a:ln w="1651" algn="ctr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Rectangle 234">
            <a:extLst>
              <a:ext uri="{FF2B5EF4-FFF2-40B4-BE49-F238E27FC236}">
                <a16:creationId xmlns:a16="http://schemas.microsoft.com/office/drawing/2014/main" id="{F47512FE-66DB-457D-B5D9-C79C69E7DB89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917952" y="2171994"/>
            <a:ext cx="107950" cy="107950"/>
          </a:xfrm>
          <a:prstGeom prst="rect">
            <a:avLst/>
          </a:prstGeom>
          <a:solidFill>
            <a:srgbClr val="C00000"/>
          </a:solidFill>
          <a:ln w="1651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altLang="cs-CZ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" name="Text Box 237">
            <a:extLst>
              <a:ext uri="{FF2B5EF4-FFF2-40B4-BE49-F238E27FC236}">
                <a16:creationId xmlns:a16="http://schemas.microsoft.com/office/drawing/2014/main" id="{4C325B2C-77CB-4329-983F-A4E09D8F3DD9}"/>
              </a:ext>
            </a:extLst>
          </p:cNvPr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070352" y="2126353"/>
            <a:ext cx="1874471" cy="383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ihočeský kraj</a:t>
            </a:r>
          </a:p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ská republika</a:t>
            </a:r>
          </a:p>
        </p:txBody>
      </p:sp>
    </p:spTree>
    <p:extLst>
      <p:ext uri="{BB962C8B-B14F-4D97-AF65-F5344CB8AC3E}">
        <p14:creationId xmlns:p14="http://schemas.microsoft.com/office/powerpoint/2010/main" val="21633810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Nadpis 138">
            <a:extLst>
              <a:ext uri="{FF2B5EF4-FFF2-40B4-BE49-F238E27FC236}">
                <a16:creationId xmlns:a16="http://schemas.microsoft.com/office/drawing/2014/main" id="{6839B9D1-D146-07B7-88E2-886672E67F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Mortalita ZN prsu </a:t>
            </a:r>
            <a:r>
              <a:rPr lang="es-ES" dirty="0"/>
              <a:t>(C50)</a:t>
            </a:r>
            <a:r>
              <a:rPr lang="cs-CZ" dirty="0"/>
              <a:t> u žen</a:t>
            </a:r>
            <a:br>
              <a:rPr lang="cs-CZ" dirty="0"/>
            </a:br>
            <a:endParaRPr lang="cs-CZ" dirty="0"/>
          </a:p>
        </p:txBody>
      </p:sp>
      <p:graphicFrame>
        <p:nvGraphicFramePr>
          <p:cNvPr id="36" name="Object 123">
            <a:extLst>
              <a:ext uri="{FF2B5EF4-FFF2-40B4-BE49-F238E27FC236}">
                <a16:creationId xmlns:a16="http://schemas.microsoft.com/office/drawing/2014/main" id="{3C877F9B-0772-2307-4A69-A6BC69F9DDD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601106" y="1911300"/>
          <a:ext cx="4122000" cy="3813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3" name="Group 110">
            <a:extLst>
              <a:ext uri="{FF2B5EF4-FFF2-40B4-BE49-F238E27FC236}">
                <a16:creationId xmlns:a16="http://schemas.microsoft.com/office/drawing/2014/main" id="{0EB1675A-69A4-4717-95C6-DD9F58ADD5A1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4597801" y="1833771"/>
          <a:ext cx="1931064" cy="2484000"/>
        </p:xfrm>
        <a:graphic>
          <a:graphicData uri="http://schemas.openxmlformats.org/drawingml/2006/table">
            <a:tbl>
              <a:tblPr/>
              <a:tblGrid>
                <a:gridCol w="19310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á republik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4" name="TextBox 9">
            <a:extLst>
              <a:ext uri="{FF2B5EF4-FFF2-40B4-BE49-F238E27FC236}">
                <a16:creationId xmlns:a16="http://schemas.microsoft.com/office/drawing/2014/main" id="{0A51F226-86A0-4005-BB9C-D648577A80D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953847" y="3547350"/>
            <a:ext cx="268156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očet úmrtí na diagnózu na 100 000 žen</a:t>
            </a:r>
          </a:p>
        </p:txBody>
      </p:sp>
      <p:sp>
        <p:nvSpPr>
          <p:cNvPr id="5" name="Rectangle 110">
            <a:extLst>
              <a:ext uri="{FF2B5EF4-FFF2-40B4-BE49-F238E27FC236}">
                <a16:creationId xmlns:a16="http://schemas.microsoft.com/office/drawing/2014/main" id="{6F4D1A70-A3A9-4D04-AA89-C9474BF7C1B7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397843" y="5696482"/>
            <a:ext cx="529069" cy="131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k</a:t>
            </a:r>
          </a:p>
        </p:txBody>
      </p:sp>
      <p:sp>
        <p:nvSpPr>
          <p:cNvPr id="6" name="TextovéPole 7">
            <a:extLst>
              <a:ext uri="{FF2B5EF4-FFF2-40B4-BE49-F238E27FC236}">
                <a16:creationId xmlns:a16="http://schemas.microsoft.com/office/drawing/2014/main" id="{B287C757-E904-45E7-B046-9EC04007401D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89670" y="3823160"/>
            <a:ext cx="65932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8585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0,4</a:t>
            </a:r>
          </a:p>
        </p:txBody>
      </p:sp>
      <p:sp>
        <p:nvSpPr>
          <p:cNvPr id="7" name="TextBox 9">
            <a:extLst>
              <a:ext uri="{FF2B5EF4-FFF2-40B4-BE49-F238E27FC236}">
                <a16:creationId xmlns:a16="http://schemas.microsoft.com/office/drawing/2014/main" id="{33D1BF51-3B9F-493E-A550-8897179273C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316861" y="1026669"/>
            <a:ext cx="35748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očet úmrtí na diagnózu na 100 000 ž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(roční průměr za období 2019–2023)</a:t>
            </a:r>
          </a:p>
        </p:txBody>
      </p:sp>
      <p:graphicFrame>
        <p:nvGraphicFramePr>
          <p:cNvPr id="8" name="Object 16">
            <a:extLst>
              <a:ext uri="{FF2B5EF4-FFF2-40B4-BE49-F238E27FC236}">
                <a16:creationId xmlns:a16="http://schemas.microsoft.com/office/drawing/2014/main" id="{CD67FA2A-DCB1-4B10-B2E7-EA42181B475C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6449966" y="1533313"/>
          <a:ext cx="2376793" cy="28147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AFD084D9-53D8-4820-929C-135EFBAF7618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256137" y="747842"/>
            <a:ext cx="338230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rtalita: časový trend </a:t>
            </a: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2A011C0A-EFAA-464B-8FE9-A461B2CD7CDF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495098" y="747842"/>
            <a:ext cx="338230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rtalita: regionální srovnání </a:t>
            </a: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7">
            <a:extLst>
              <a:ext uri="{FF2B5EF4-FFF2-40B4-BE49-F238E27FC236}">
                <a16:creationId xmlns:a16="http://schemas.microsoft.com/office/drawing/2014/main" id="{D50B36CC-0574-406E-8799-2B063A4E4186}"/>
              </a:ext>
            </a:extLst>
          </p:cNvPr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589670" y="3677626"/>
            <a:ext cx="65932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,6</a:t>
            </a:r>
          </a:p>
        </p:txBody>
      </p:sp>
      <p:grpSp>
        <p:nvGrpSpPr>
          <p:cNvPr id="14" name="Skupina 13">
            <a:extLst>
              <a:ext uri="{FF2B5EF4-FFF2-40B4-BE49-F238E27FC236}">
                <a16:creationId xmlns:a16="http://schemas.microsoft.com/office/drawing/2014/main" id="{0C6B2F2A-ABBD-4292-B8F6-D1991BA731A0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2132483" y="1181883"/>
            <a:ext cx="2106409" cy="593942"/>
            <a:chOff x="4637416" y="1161434"/>
            <a:chExt cx="2106409" cy="593942"/>
          </a:xfrm>
        </p:grpSpPr>
        <p:sp>
          <p:nvSpPr>
            <p:cNvPr id="15" name="TextovéPole 14">
              <a:extLst>
                <a:ext uri="{FF2B5EF4-FFF2-40B4-BE49-F238E27FC236}">
                  <a16:creationId xmlns:a16="http://schemas.microsoft.com/office/drawing/2014/main" id="{426CBE04-0581-4F51-8C9C-A8321D2B61B4}"/>
                </a:ext>
              </a:extLst>
            </p:cNvPr>
            <p:cNvSpPr txBox="1"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4973409" y="1570710"/>
              <a:ext cx="1770416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ozsah hodnot krajů</a:t>
              </a:r>
            </a:p>
          </p:txBody>
        </p:sp>
        <p:sp>
          <p:nvSpPr>
            <p:cNvPr id="16" name="Rectangle 53">
              <a:extLst>
                <a:ext uri="{FF2B5EF4-FFF2-40B4-BE49-F238E27FC236}">
                  <a16:creationId xmlns:a16="http://schemas.microsoft.com/office/drawing/2014/main" id="{8B14D4AE-536F-4C73-87DA-E1B5D7B78B51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>
            <a:xfrm>
              <a:off x="4709976" y="1592059"/>
              <a:ext cx="144000" cy="143777"/>
            </a:xfrm>
            <a:prstGeom prst="rect">
              <a:avLst/>
            </a:prstGeom>
            <a:solidFill>
              <a:srgbClr val="C8C8C8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CC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TextovéPole 7">
              <a:extLst>
                <a:ext uri="{FF2B5EF4-FFF2-40B4-BE49-F238E27FC236}">
                  <a16:creationId xmlns:a16="http://schemas.microsoft.com/office/drawing/2014/main" id="{F9FED6A7-3F97-4B3E-B397-F128EA107D43}"/>
                </a:ext>
              </a:extLst>
            </p:cNvPr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4979145" y="1355266"/>
              <a:ext cx="1414709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ihočeský kraj</a:t>
              </a:r>
            </a:p>
          </p:txBody>
        </p:sp>
        <p:cxnSp>
          <p:nvCxnSpPr>
            <p:cNvPr id="18" name="Straight Connector 35">
              <a:extLst>
                <a:ext uri="{FF2B5EF4-FFF2-40B4-BE49-F238E27FC236}">
                  <a16:creationId xmlns:a16="http://schemas.microsoft.com/office/drawing/2014/main" id="{8FF49DB3-EA1B-4E51-8DFE-A45DFF44F920}"/>
                </a:ext>
              </a:extLst>
            </p:cNvPr>
            <p:cNvCxnSpPr/>
            <p:nvPr>
              <p:custDataLst>
                <p:tags r:id="rId20"/>
              </p:custDataLst>
            </p:nvPr>
          </p:nvCxnSpPr>
          <p:spPr>
            <a:xfrm>
              <a:off x="4637416" y="1452250"/>
              <a:ext cx="287338" cy="0"/>
            </a:xfrm>
            <a:prstGeom prst="line">
              <a:avLst/>
            </a:prstGeom>
            <a:solidFill>
              <a:srgbClr val="FF6600"/>
            </a:solidFill>
            <a:ln w="25400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19" name="TextovéPole 7">
              <a:extLst>
                <a:ext uri="{FF2B5EF4-FFF2-40B4-BE49-F238E27FC236}">
                  <a16:creationId xmlns:a16="http://schemas.microsoft.com/office/drawing/2014/main" id="{DD0B0EBA-999B-4443-AE93-FE8C1F9D1030}"/>
                </a:ext>
              </a:extLst>
            </p:cNvPr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4971744" y="1161434"/>
              <a:ext cx="1302677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Česká republika</a:t>
              </a:r>
            </a:p>
          </p:txBody>
        </p:sp>
        <p:cxnSp>
          <p:nvCxnSpPr>
            <p:cNvPr id="20" name="Straight Connector 35">
              <a:extLst>
                <a:ext uri="{FF2B5EF4-FFF2-40B4-BE49-F238E27FC236}">
                  <a16:creationId xmlns:a16="http://schemas.microsoft.com/office/drawing/2014/main" id="{B46A3F8D-3055-42AA-9A3B-A03A0A8C6233}"/>
                </a:ext>
              </a:extLst>
            </p:cNvPr>
            <p:cNvCxnSpPr/>
            <p:nvPr>
              <p:custDataLst>
                <p:tags r:id="rId22"/>
              </p:custDataLst>
            </p:nvPr>
          </p:nvCxnSpPr>
          <p:spPr>
            <a:xfrm>
              <a:off x="4639346" y="1258418"/>
              <a:ext cx="287338" cy="0"/>
            </a:xfrm>
            <a:prstGeom prst="line">
              <a:avLst/>
            </a:prstGeom>
            <a:solidFill>
              <a:srgbClr val="FF6600"/>
            </a:solidFill>
            <a:ln w="25400" cap="flat" cmpd="sng" algn="ctr">
              <a:solidFill>
                <a:srgbClr val="858585"/>
              </a:solidFill>
              <a:prstDash val="solid"/>
              <a:miter lim="800000"/>
            </a:ln>
            <a:effectLst/>
          </p:spPr>
        </p:cxnSp>
      </p:grpSp>
      <p:sp>
        <p:nvSpPr>
          <p:cNvPr id="21" name="TextBox 6">
            <a:extLst>
              <a:ext uri="{FF2B5EF4-FFF2-40B4-BE49-F238E27FC236}">
                <a16:creationId xmlns:a16="http://schemas.microsoft.com/office/drawing/2014/main" id="{578E4CDB-52CB-4798-B12C-F19A803F9D00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278281" y="468586"/>
            <a:ext cx="37208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onkologický registr, Český statistický úřad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DAD395C-5D30-51B7-D227-BCC80380EC24}"/>
              </a:ext>
            </a:extLst>
          </p:cNvPr>
          <p:cNvGrpSpPr/>
          <p:nvPr/>
        </p:nvGrpSpPr>
        <p:grpSpPr>
          <a:xfrm>
            <a:off x="10951469" y="1905027"/>
            <a:ext cx="920040" cy="839147"/>
            <a:chOff x="5368539" y="5686843"/>
            <a:chExt cx="920040" cy="839147"/>
          </a:xfrm>
        </p:grpSpPr>
        <p:sp>
          <p:nvSpPr>
            <p:cNvPr id="24" name="Text Box 58">
              <a:extLst>
                <a:ext uri="{FF2B5EF4-FFF2-40B4-BE49-F238E27FC236}">
                  <a16:creationId xmlns:a16="http://schemas.microsoft.com/office/drawing/2014/main" id="{ABA97A06-CD9E-1DB5-0B67-19AD7AC0DA2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42967" y="5694325"/>
              <a:ext cx="745612" cy="83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&gt; 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3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  <a:endParaRPr kumimoji="0" lang="en-US" alt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1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–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3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9,1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–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1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  <a:endParaRPr kumimoji="0" lang="en-US" alt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≤ 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9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 </a:t>
              </a:r>
            </a:p>
          </p:txBody>
        </p:sp>
        <p:sp>
          <p:nvSpPr>
            <p:cNvPr id="25" name="Rectangle 56">
              <a:extLst>
                <a:ext uri="{FF2B5EF4-FFF2-40B4-BE49-F238E27FC236}">
                  <a16:creationId xmlns:a16="http://schemas.microsoft.com/office/drawing/2014/main" id="{66F78460-848A-AC58-4C84-992F5860CB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6183266"/>
              <a:ext cx="144000" cy="144000"/>
            </a:xfrm>
            <a:prstGeom prst="rect">
              <a:avLst/>
            </a:prstGeom>
            <a:solidFill>
              <a:srgbClr val="D1D1D1"/>
            </a:solidFill>
            <a:ln w="1651">
              <a:noFill/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6" name="Rectangle 56">
              <a:extLst>
                <a:ext uri="{FF2B5EF4-FFF2-40B4-BE49-F238E27FC236}">
                  <a16:creationId xmlns:a16="http://schemas.microsoft.com/office/drawing/2014/main" id="{08F54FC7-F814-B91A-ACE1-22EC858CE0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6017791"/>
              <a:ext cx="144000" cy="144000"/>
            </a:xfrm>
            <a:prstGeom prst="rect">
              <a:avLst/>
            </a:prstGeom>
            <a:solidFill>
              <a:srgbClr val="A8A8A8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7" name="Rectangle 56">
              <a:extLst>
                <a:ext uri="{FF2B5EF4-FFF2-40B4-BE49-F238E27FC236}">
                  <a16:creationId xmlns:a16="http://schemas.microsoft.com/office/drawing/2014/main" id="{22D94027-6996-7AF5-B2B4-E4374B0CBE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5852317"/>
              <a:ext cx="144000" cy="144000"/>
            </a:xfrm>
            <a:prstGeom prst="rect">
              <a:avLst/>
            </a:prstGeom>
            <a:solidFill>
              <a:srgbClr val="828282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8" name="Rectangle 56">
              <a:extLst>
                <a:ext uri="{FF2B5EF4-FFF2-40B4-BE49-F238E27FC236}">
                  <a16:creationId xmlns:a16="http://schemas.microsoft.com/office/drawing/2014/main" id="{CE401C00-A584-C457-214C-D466CD73D0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5686843"/>
              <a:ext cx="144000" cy="144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grpSp>
        <p:nvGrpSpPr>
          <p:cNvPr id="145" name="Group 5">
            <a:extLst>
              <a:ext uri="{FF2B5EF4-FFF2-40B4-BE49-F238E27FC236}">
                <a16:creationId xmlns:a16="http://schemas.microsoft.com/office/drawing/2014/main" id="{F6D30733-1F96-00EF-A35D-76062EB31D9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779704" y="1850178"/>
            <a:ext cx="3308350" cy="2682875"/>
            <a:chOff x="771" y="2585"/>
            <a:chExt cx="2084" cy="1690"/>
          </a:xfrm>
        </p:grpSpPr>
        <p:sp>
          <p:nvSpPr>
            <p:cNvPr id="146" name="AutoShape 4">
              <a:extLst>
                <a:ext uri="{FF2B5EF4-FFF2-40B4-BE49-F238E27FC236}">
                  <a16:creationId xmlns:a16="http://schemas.microsoft.com/office/drawing/2014/main" id="{16D3D5E6-771A-7D43-F7DB-40F3C38F8B0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71" y="2585"/>
              <a:ext cx="2084" cy="16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Freeform 6">
              <a:extLst>
                <a:ext uri="{FF2B5EF4-FFF2-40B4-BE49-F238E27FC236}">
                  <a16:creationId xmlns:a16="http://schemas.microsoft.com/office/drawing/2014/main" id="{949CD10B-E397-3EB6-DB9E-27784E66F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4" y="3272"/>
              <a:ext cx="138" cy="106"/>
            </a:xfrm>
            <a:custGeom>
              <a:avLst/>
              <a:gdLst>
                <a:gd name="T0" fmla="*/ 88 w 138"/>
                <a:gd name="T1" fmla="*/ 1 h 106"/>
                <a:gd name="T2" fmla="*/ 90 w 138"/>
                <a:gd name="T3" fmla="*/ 4 h 106"/>
                <a:gd name="T4" fmla="*/ 99 w 138"/>
                <a:gd name="T5" fmla="*/ 11 h 106"/>
                <a:gd name="T6" fmla="*/ 105 w 138"/>
                <a:gd name="T7" fmla="*/ 13 h 106"/>
                <a:gd name="T8" fmla="*/ 108 w 138"/>
                <a:gd name="T9" fmla="*/ 19 h 106"/>
                <a:gd name="T10" fmla="*/ 112 w 138"/>
                <a:gd name="T11" fmla="*/ 22 h 106"/>
                <a:gd name="T12" fmla="*/ 124 w 138"/>
                <a:gd name="T13" fmla="*/ 27 h 106"/>
                <a:gd name="T14" fmla="*/ 128 w 138"/>
                <a:gd name="T15" fmla="*/ 32 h 106"/>
                <a:gd name="T16" fmla="*/ 135 w 138"/>
                <a:gd name="T17" fmla="*/ 38 h 106"/>
                <a:gd name="T18" fmla="*/ 138 w 138"/>
                <a:gd name="T19" fmla="*/ 43 h 106"/>
                <a:gd name="T20" fmla="*/ 136 w 138"/>
                <a:gd name="T21" fmla="*/ 48 h 106"/>
                <a:gd name="T22" fmla="*/ 126 w 138"/>
                <a:gd name="T23" fmla="*/ 54 h 106"/>
                <a:gd name="T24" fmla="*/ 123 w 138"/>
                <a:gd name="T25" fmla="*/ 57 h 106"/>
                <a:gd name="T26" fmla="*/ 123 w 138"/>
                <a:gd name="T27" fmla="*/ 61 h 106"/>
                <a:gd name="T28" fmla="*/ 126 w 138"/>
                <a:gd name="T29" fmla="*/ 64 h 106"/>
                <a:gd name="T30" fmla="*/ 127 w 138"/>
                <a:gd name="T31" fmla="*/ 74 h 106"/>
                <a:gd name="T32" fmla="*/ 124 w 138"/>
                <a:gd name="T33" fmla="*/ 79 h 106"/>
                <a:gd name="T34" fmla="*/ 118 w 138"/>
                <a:gd name="T35" fmla="*/ 83 h 106"/>
                <a:gd name="T36" fmla="*/ 112 w 138"/>
                <a:gd name="T37" fmla="*/ 82 h 106"/>
                <a:gd name="T38" fmla="*/ 104 w 138"/>
                <a:gd name="T39" fmla="*/ 78 h 106"/>
                <a:gd name="T40" fmla="*/ 97 w 138"/>
                <a:gd name="T41" fmla="*/ 77 h 106"/>
                <a:gd name="T42" fmla="*/ 89 w 138"/>
                <a:gd name="T43" fmla="*/ 79 h 106"/>
                <a:gd name="T44" fmla="*/ 85 w 138"/>
                <a:gd name="T45" fmla="*/ 82 h 106"/>
                <a:gd name="T46" fmla="*/ 78 w 138"/>
                <a:gd name="T47" fmla="*/ 86 h 106"/>
                <a:gd name="T48" fmla="*/ 67 w 138"/>
                <a:gd name="T49" fmla="*/ 93 h 106"/>
                <a:gd name="T50" fmla="*/ 58 w 138"/>
                <a:gd name="T51" fmla="*/ 97 h 106"/>
                <a:gd name="T52" fmla="*/ 50 w 138"/>
                <a:gd name="T53" fmla="*/ 99 h 106"/>
                <a:gd name="T54" fmla="*/ 46 w 138"/>
                <a:gd name="T55" fmla="*/ 105 h 106"/>
                <a:gd name="T56" fmla="*/ 44 w 138"/>
                <a:gd name="T57" fmla="*/ 106 h 106"/>
                <a:gd name="T58" fmla="*/ 34 w 138"/>
                <a:gd name="T59" fmla="*/ 105 h 106"/>
                <a:gd name="T60" fmla="*/ 30 w 138"/>
                <a:gd name="T61" fmla="*/ 103 h 106"/>
                <a:gd name="T62" fmla="*/ 29 w 138"/>
                <a:gd name="T63" fmla="*/ 99 h 106"/>
                <a:gd name="T64" fmla="*/ 30 w 138"/>
                <a:gd name="T65" fmla="*/ 95 h 106"/>
                <a:gd name="T66" fmla="*/ 29 w 138"/>
                <a:gd name="T67" fmla="*/ 91 h 106"/>
                <a:gd name="T68" fmla="*/ 29 w 138"/>
                <a:gd name="T69" fmla="*/ 87 h 106"/>
                <a:gd name="T70" fmla="*/ 23 w 138"/>
                <a:gd name="T71" fmla="*/ 84 h 106"/>
                <a:gd name="T72" fmla="*/ 20 w 138"/>
                <a:gd name="T73" fmla="*/ 81 h 106"/>
                <a:gd name="T74" fmla="*/ 21 w 138"/>
                <a:gd name="T75" fmla="*/ 77 h 106"/>
                <a:gd name="T76" fmla="*/ 21 w 138"/>
                <a:gd name="T77" fmla="*/ 73 h 106"/>
                <a:gd name="T78" fmla="*/ 13 w 138"/>
                <a:gd name="T79" fmla="*/ 65 h 106"/>
                <a:gd name="T80" fmla="*/ 9 w 138"/>
                <a:gd name="T81" fmla="*/ 58 h 106"/>
                <a:gd name="T82" fmla="*/ 6 w 138"/>
                <a:gd name="T83" fmla="*/ 53 h 106"/>
                <a:gd name="T84" fmla="*/ 10 w 138"/>
                <a:gd name="T85" fmla="*/ 49 h 106"/>
                <a:gd name="T86" fmla="*/ 13 w 138"/>
                <a:gd name="T87" fmla="*/ 45 h 106"/>
                <a:gd name="T88" fmla="*/ 7 w 138"/>
                <a:gd name="T89" fmla="*/ 38 h 106"/>
                <a:gd name="T90" fmla="*/ 1 w 138"/>
                <a:gd name="T91" fmla="*/ 34 h 106"/>
                <a:gd name="T92" fmla="*/ 0 w 138"/>
                <a:gd name="T93" fmla="*/ 33 h 106"/>
                <a:gd name="T94" fmla="*/ 9 w 138"/>
                <a:gd name="T95" fmla="*/ 28 h 106"/>
                <a:gd name="T96" fmla="*/ 20 w 138"/>
                <a:gd name="T97" fmla="*/ 24 h 106"/>
                <a:gd name="T98" fmla="*/ 23 w 138"/>
                <a:gd name="T99" fmla="*/ 25 h 106"/>
                <a:gd name="T100" fmla="*/ 30 w 138"/>
                <a:gd name="T101" fmla="*/ 27 h 106"/>
                <a:gd name="T102" fmla="*/ 35 w 138"/>
                <a:gd name="T103" fmla="*/ 26 h 106"/>
                <a:gd name="T104" fmla="*/ 37 w 138"/>
                <a:gd name="T105" fmla="*/ 19 h 106"/>
                <a:gd name="T106" fmla="*/ 41 w 138"/>
                <a:gd name="T107" fmla="*/ 16 h 106"/>
                <a:gd name="T108" fmla="*/ 49 w 138"/>
                <a:gd name="T109" fmla="*/ 14 h 106"/>
                <a:gd name="T110" fmla="*/ 61 w 138"/>
                <a:gd name="T111" fmla="*/ 9 h 106"/>
                <a:gd name="T112" fmla="*/ 73 w 138"/>
                <a:gd name="T113" fmla="*/ 4 h 106"/>
                <a:gd name="T114" fmla="*/ 87 w 138"/>
                <a:gd name="T115" fmla="*/ 1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8" h="106">
                  <a:moveTo>
                    <a:pt x="88" y="0"/>
                  </a:moveTo>
                  <a:lnTo>
                    <a:pt x="88" y="0"/>
                  </a:lnTo>
                  <a:lnTo>
                    <a:pt x="89" y="0"/>
                  </a:lnTo>
                  <a:lnTo>
                    <a:pt x="89" y="0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2"/>
                  </a:lnTo>
                  <a:lnTo>
                    <a:pt x="89" y="2"/>
                  </a:lnTo>
                  <a:lnTo>
                    <a:pt x="89" y="3"/>
                  </a:lnTo>
                  <a:lnTo>
                    <a:pt x="89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1" y="5"/>
                  </a:lnTo>
                  <a:lnTo>
                    <a:pt x="94" y="7"/>
                  </a:lnTo>
                  <a:lnTo>
                    <a:pt x="95" y="8"/>
                  </a:lnTo>
                  <a:lnTo>
                    <a:pt x="98" y="10"/>
                  </a:lnTo>
                  <a:lnTo>
                    <a:pt x="99" y="11"/>
                  </a:lnTo>
                  <a:lnTo>
                    <a:pt x="100" y="11"/>
                  </a:lnTo>
                  <a:lnTo>
                    <a:pt x="101" y="12"/>
                  </a:lnTo>
                  <a:lnTo>
                    <a:pt x="103" y="12"/>
                  </a:lnTo>
                  <a:lnTo>
                    <a:pt x="104" y="12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6" y="14"/>
                  </a:lnTo>
                  <a:lnTo>
                    <a:pt x="107" y="16"/>
                  </a:lnTo>
                  <a:lnTo>
                    <a:pt x="107" y="17"/>
                  </a:lnTo>
                  <a:lnTo>
                    <a:pt x="107" y="18"/>
                  </a:lnTo>
                  <a:lnTo>
                    <a:pt x="108" y="19"/>
                  </a:lnTo>
                  <a:lnTo>
                    <a:pt x="109" y="19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4" y="23"/>
                  </a:lnTo>
                  <a:lnTo>
                    <a:pt x="117" y="23"/>
                  </a:lnTo>
                  <a:lnTo>
                    <a:pt x="118" y="24"/>
                  </a:lnTo>
                  <a:lnTo>
                    <a:pt x="122" y="26"/>
                  </a:lnTo>
                  <a:lnTo>
                    <a:pt x="123" y="27"/>
                  </a:lnTo>
                  <a:lnTo>
                    <a:pt x="124" y="27"/>
                  </a:lnTo>
                  <a:lnTo>
                    <a:pt x="124" y="28"/>
                  </a:lnTo>
                  <a:lnTo>
                    <a:pt x="125" y="28"/>
                  </a:lnTo>
                  <a:lnTo>
                    <a:pt x="126" y="29"/>
                  </a:lnTo>
                  <a:lnTo>
                    <a:pt x="127" y="31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9" y="33"/>
                  </a:lnTo>
                  <a:lnTo>
                    <a:pt x="130" y="34"/>
                  </a:lnTo>
                  <a:lnTo>
                    <a:pt x="133" y="36"/>
                  </a:lnTo>
                  <a:lnTo>
                    <a:pt x="134" y="37"/>
                  </a:lnTo>
                  <a:lnTo>
                    <a:pt x="135" y="37"/>
                  </a:lnTo>
                  <a:lnTo>
                    <a:pt x="135" y="38"/>
                  </a:lnTo>
                  <a:lnTo>
                    <a:pt x="136" y="39"/>
                  </a:lnTo>
                  <a:lnTo>
                    <a:pt x="137" y="40"/>
                  </a:lnTo>
                  <a:lnTo>
                    <a:pt x="137" y="41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38" y="43"/>
                  </a:lnTo>
                  <a:lnTo>
                    <a:pt x="138" y="43"/>
                  </a:lnTo>
                  <a:lnTo>
                    <a:pt x="138" y="44"/>
                  </a:lnTo>
                  <a:lnTo>
                    <a:pt x="138" y="45"/>
                  </a:lnTo>
                  <a:lnTo>
                    <a:pt x="137" y="46"/>
                  </a:lnTo>
                  <a:lnTo>
                    <a:pt x="137" y="47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5" y="49"/>
                  </a:lnTo>
                  <a:lnTo>
                    <a:pt x="134" y="49"/>
                  </a:lnTo>
                  <a:lnTo>
                    <a:pt x="134" y="50"/>
                  </a:lnTo>
                  <a:lnTo>
                    <a:pt x="131" y="51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25" y="55"/>
                  </a:lnTo>
                  <a:lnTo>
                    <a:pt x="124" y="56"/>
                  </a:lnTo>
                  <a:lnTo>
                    <a:pt x="123" y="56"/>
                  </a:lnTo>
                  <a:lnTo>
                    <a:pt x="123" y="57"/>
                  </a:lnTo>
                  <a:lnTo>
                    <a:pt x="123" y="57"/>
                  </a:lnTo>
                  <a:lnTo>
                    <a:pt x="123" y="58"/>
                  </a:lnTo>
                  <a:lnTo>
                    <a:pt x="122" y="58"/>
                  </a:lnTo>
                  <a:lnTo>
                    <a:pt x="122" y="59"/>
                  </a:lnTo>
                  <a:lnTo>
                    <a:pt x="122" y="60"/>
                  </a:lnTo>
                  <a:lnTo>
                    <a:pt x="123" y="60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4" y="62"/>
                  </a:lnTo>
                  <a:lnTo>
                    <a:pt x="125" y="63"/>
                  </a:lnTo>
                  <a:lnTo>
                    <a:pt x="125" y="63"/>
                  </a:lnTo>
                  <a:lnTo>
                    <a:pt x="125" y="64"/>
                  </a:lnTo>
                  <a:lnTo>
                    <a:pt x="126" y="64"/>
                  </a:lnTo>
                  <a:lnTo>
                    <a:pt x="126" y="65"/>
                  </a:lnTo>
                  <a:lnTo>
                    <a:pt x="126" y="66"/>
                  </a:lnTo>
                  <a:lnTo>
                    <a:pt x="126" y="68"/>
                  </a:lnTo>
                  <a:lnTo>
                    <a:pt x="127" y="72"/>
                  </a:lnTo>
                  <a:lnTo>
                    <a:pt x="127" y="73"/>
                  </a:lnTo>
                  <a:lnTo>
                    <a:pt x="127" y="74"/>
                  </a:lnTo>
                  <a:lnTo>
                    <a:pt x="127" y="75"/>
                  </a:lnTo>
                  <a:lnTo>
                    <a:pt x="127" y="76"/>
                  </a:lnTo>
                  <a:lnTo>
                    <a:pt x="126" y="77"/>
                  </a:lnTo>
                  <a:lnTo>
                    <a:pt x="126" y="78"/>
                  </a:lnTo>
                  <a:lnTo>
                    <a:pt x="125" y="79"/>
                  </a:lnTo>
                  <a:lnTo>
                    <a:pt x="124" y="79"/>
                  </a:lnTo>
                  <a:lnTo>
                    <a:pt x="122" y="81"/>
                  </a:lnTo>
                  <a:lnTo>
                    <a:pt x="121" y="82"/>
                  </a:lnTo>
                  <a:lnTo>
                    <a:pt x="120" y="82"/>
                  </a:lnTo>
                  <a:lnTo>
                    <a:pt x="120" y="83"/>
                  </a:lnTo>
                  <a:lnTo>
                    <a:pt x="119" y="83"/>
                  </a:lnTo>
                  <a:lnTo>
                    <a:pt x="118" y="83"/>
                  </a:lnTo>
                  <a:lnTo>
                    <a:pt x="118" y="83"/>
                  </a:lnTo>
                  <a:lnTo>
                    <a:pt x="117" y="83"/>
                  </a:lnTo>
                  <a:lnTo>
                    <a:pt x="115" y="83"/>
                  </a:lnTo>
                  <a:lnTo>
                    <a:pt x="114" y="83"/>
                  </a:lnTo>
                  <a:lnTo>
                    <a:pt x="113" y="82"/>
                  </a:lnTo>
                  <a:lnTo>
                    <a:pt x="112" y="82"/>
                  </a:lnTo>
                  <a:lnTo>
                    <a:pt x="112" y="82"/>
                  </a:lnTo>
                  <a:lnTo>
                    <a:pt x="110" y="81"/>
                  </a:lnTo>
                  <a:lnTo>
                    <a:pt x="108" y="80"/>
                  </a:lnTo>
                  <a:lnTo>
                    <a:pt x="107" y="79"/>
                  </a:lnTo>
                  <a:lnTo>
                    <a:pt x="106" y="78"/>
                  </a:lnTo>
                  <a:lnTo>
                    <a:pt x="104" y="78"/>
                  </a:lnTo>
                  <a:lnTo>
                    <a:pt x="103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1" y="77"/>
                  </a:lnTo>
                  <a:lnTo>
                    <a:pt x="99" y="77"/>
                  </a:lnTo>
                  <a:lnTo>
                    <a:pt x="97" y="77"/>
                  </a:lnTo>
                  <a:lnTo>
                    <a:pt x="95" y="77"/>
                  </a:lnTo>
                  <a:lnTo>
                    <a:pt x="94" y="78"/>
                  </a:lnTo>
                  <a:lnTo>
                    <a:pt x="91" y="78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89" y="79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7" y="80"/>
                  </a:lnTo>
                  <a:lnTo>
                    <a:pt x="87" y="80"/>
                  </a:lnTo>
                  <a:lnTo>
                    <a:pt x="86" y="82"/>
                  </a:lnTo>
                  <a:lnTo>
                    <a:pt x="85" y="82"/>
                  </a:lnTo>
                  <a:lnTo>
                    <a:pt x="84" y="83"/>
                  </a:lnTo>
                  <a:lnTo>
                    <a:pt x="83" y="83"/>
                  </a:lnTo>
                  <a:lnTo>
                    <a:pt x="82" y="84"/>
                  </a:lnTo>
                  <a:lnTo>
                    <a:pt x="81" y="84"/>
                  </a:lnTo>
                  <a:lnTo>
                    <a:pt x="79" y="85"/>
                  </a:lnTo>
                  <a:lnTo>
                    <a:pt x="78" y="86"/>
                  </a:lnTo>
                  <a:lnTo>
                    <a:pt x="77" y="86"/>
                  </a:lnTo>
                  <a:lnTo>
                    <a:pt x="76" y="86"/>
                  </a:lnTo>
                  <a:lnTo>
                    <a:pt x="75" y="87"/>
                  </a:lnTo>
                  <a:lnTo>
                    <a:pt x="73" y="89"/>
                  </a:lnTo>
                  <a:lnTo>
                    <a:pt x="68" y="93"/>
                  </a:lnTo>
                  <a:lnTo>
                    <a:pt x="67" y="93"/>
                  </a:lnTo>
                  <a:lnTo>
                    <a:pt x="66" y="94"/>
                  </a:lnTo>
                  <a:lnTo>
                    <a:pt x="65" y="94"/>
                  </a:lnTo>
                  <a:lnTo>
                    <a:pt x="64" y="95"/>
                  </a:lnTo>
                  <a:lnTo>
                    <a:pt x="62" y="95"/>
                  </a:lnTo>
                  <a:lnTo>
                    <a:pt x="59" y="96"/>
                  </a:lnTo>
                  <a:lnTo>
                    <a:pt x="58" y="97"/>
                  </a:lnTo>
                  <a:lnTo>
                    <a:pt x="56" y="97"/>
                  </a:lnTo>
                  <a:lnTo>
                    <a:pt x="55" y="98"/>
                  </a:lnTo>
                  <a:lnTo>
                    <a:pt x="52" y="98"/>
                  </a:lnTo>
                  <a:lnTo>
                    <a:pt x="51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49" y="100"/>
                  </a:lnTo>
                  <a:lnTo>
                    <a:pt x="49" y="100"/>
                  </a:lnTo>
                  <a:lnTo>
                    <a:pt x="49" y="101"/>
                  </a:lnTo>
                  <a:lnTo>
                    <a:pt x="48" y="102"/>
                  </a:lnTo>
                  <a:lnTo>
                    <a:pt x="47" y="104"/>
                  </a:lnTo>
                  <a:lnTo>
                    <a:pt x="46" y="105"/>
                  </a:lnTo>
                  <a:lnTo>
                    <a:pt x="46" y="105"/>
                  </a:lnTo>
                  <a:lnTo>
                    <a:pt x="46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1" y="106"/>
                  </a:lnTo>
                  <a:lnTo>
                    <a:pt x="40" y="106"/>
                  </a:lnTo>
                  <a:lnTo>
                    <a:pt x="36" y="106"/>
                  </a:lnTo>
                  <a:lnTo>
                    <a:pt x="35" y="106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3" y="105"/>
                  </a:lnTo>
                  <a:lnTo>
                    <a:pt x="32" y="105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3"/>
                  </a:lnTo>
                  <a:lnTo>
                    <a:pt x="30" y="103"/>
                  </a:lnTo>
                  <a:lnTo>
                    <a:pt x="30" y="102"/>
                  </a:lnTo>
                  <a:lnTo>
                    <a:pt x="29" y="102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30" y="97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1"/>
                  </a:lnTo>
                  <a:lnTo>
                    <a:pt x="29" y="90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7"/>
                  </a:lnTo>
                  <a:lnTo>
                    <a:pt x="28" y="87"/>
                  </a:lnTo>
                  <a:lnTo>
                    <a:pt x="28" y="86"/>
                  </a:lnTo>
                  <a:lnTo>
                    <a:pt x="27" y="86"/>
                  </a:lnTo>
                  <a:lnTo>
                    <a:pt x="25" y="85"/>
                  </a:lnTo>
                  <a:lnTo>
                    <a:pt x="24" y="85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2" y="83"/>
                  </a:lnTo>
                  <a:lnTo>
                    <a:pt x="21" y="83"/>
                  </a:lnTo>
                  <a:lnTo>
                    <a:pt x="21" y="82"/>
                  </a:lnTo>
                  <a:lnTo>
                    <a:pt x="20" y="82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0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8"/>
                  </a:lnTo>
                  <a:lnTo>
                    <a:pt x="21" y="77"/>
                  </a:lnTo>
                  <a:lnTo>
                    <a:pt x="21" y="76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4"/>
                  </a:lnTo>
                  <a:lnTo>
                    <a:pt x="21" y="73"/>
                  </a:lnTo>
                  <a:lnTo>
                    <a:pt x="21" y="73"/>
                  </a:lnTo>
                  <a:lnTo>
                    <a:pt x="20" y="72"/>
                  </a:lnTo>
                  <a:lnTo>
                    <a:pt x="20" y="71"/>
                  </a:lnTo>
                  <a:lnTo>
                    <a:pt x="17" y="69"/>
                  </a:lnTo>
                  <a:lnTo>
                    <a:pt x="15" y="67"/>
                  </a:lnTo>
                  <a:lnTo>
                    <a:pt x="14" y="66"/>
                  </a:lnTo>
                  <a:lnTo>
                    <a:pt x="13" y="65"/>
                  </a:lnTo>
                  <a:lnTo>
                    <a:pt x="12" y="64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0" y="59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7" y="56"/>
                  </a:lnTo>
                  <a:lnTo>
                    <a:pt x="7" y="55"/>
                  </a:lnTo>
                  <a:lnTo>
                    <a:pt x="7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3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8" y="51"/>
                  </a:lnTo>
                  <a:lnTo>
                    <a:pt x="8" y="50"/>
                  </a:lnTo>
                  <a:lnTo>
                    <a:pt x="9" y="50"/>
                  </a:lnTo>
                  <a:lnTo>
                    <a:pt x="10" y="49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6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4"/>
                  </a:lnTo>
                  <a:lnTo>
                    <a:pt x="12" y="44"/>
                  </a:lnTo>
                  <a:lnTo>
                    <a:pt x="11" y="43"/>
                  </a:lnTo>
                  <a:lnTo>
                    <a:pt x="9" y="40"/>
                  </a:lnTo>
                  <a:lnTo>
                    <a:pt x="7" y="38"/>
                  </a:lnTo>
                  <a:lnTo>
                    <a:pt x="5" y="37"/>
                  </a:lnTo>
                  <a:lnTo>
                    <a:pt x="5" y="36"/>
                  </a:lnTo>
                  <a:lnTo>
                    <a:pt x="4" y="35"/>
                  </a:lnTo>
                  <a:lnTo>
                    <a:pt x="3" y="35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0" y="34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32"/>
                  </a:lnTo>
                  <a:lnTo>
                    <a:pt x="2" y="31"/>
                  </a:lnTo>
                  <a:lnTo>
                    <a:pt x="3" y="31"/>
                  </a:lnTo>
                  <a:lnTo>
                    <a:pt x="4" y="30"/>
                  </a:lnTo>
                  <a:lnTo>
                    <a:pt x="6" y="29"/>
                  </a:lnTo>
                  <a:lnTo>
                    <a:pt x="9" y="28"/>
                  </a:lnTo>
                  <a:lnTo>
                    <a:pt x="11" y="28"/>
                  </a:lnTo>
                  <a:lnTo>
                    <a:pt x="14" y="27"/>
                  </a:lnTo>
                  <a:lnTo>
                    <a:pt x="15" y="27"/>
                  </a:lnTo>
                  <a:lnTo>
                    <a:pt x="16" y="26"/>
                  </a:lnTo>
                  <a:lnTo>
                    <a:pt x="19" y="25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2" y="24"/>
                  </a:lnTo>
                  <a:lnTo>
                    <a:pt x="23" y="24"/>
                  </a:lnTo>
                  <a:lnTo>
                    <a:pt x="23" y="25"/>
                  </a:lnTo>
                  <a:lnTo>
                    <a:pt x="24" y="25"/>
                  </a:lnTo>
                  <a:lnTo>
                    <a:pt x="26" y="26"/>
                  </a:lnTo>
                  <a:lnTo>
                    <a:pt x="27" y="26"/>
                  </a:lnTo>
                  <a:lnTo>
                    <a:pt x="27" y="27"/>
                  </a:lnTo>
                  <a:lnTo>
                    <a:pt x="28" y="27"/>
                  </a:lnTo>
                  <a:lnTo>
                    <a:pt x="30" y="27"/>
                  </a:lnTo>
                  <a:lnTo>
                    <a:pt x="31" y="27"/>
                  </a:lnTo>
                  <a:lnTo>
                    <a:pt x="33" y="27"/>
                  </a:lnTo>
                  <a:lnTo>
                    <a:pt x="34" y="27"/>
                  </a:lnTo>
                  <a:lnTo>
                    <a:pt x="34" y="26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5" y="25"/>
                  </a:lnTo>
                  <a:lnTo>
                    <a:pt x="36" y="24"/>
                  </a:lnTo>
                  <a:lnTo>
                    <a:pt x="36" y="23"/>
                  </a:lnTo>
                  <a:lnTo>
                    <a:pt x="37" y="21"/>
                  </a:lnTo>
                  <a:lnTo>
                    <a:pt x="37" y="20"/>
                  </a:lnTo>
                  <a:lnTo>
                    <a:pt x="37" y="19"/>
                  </a:lnTo>
                  <a:lnTo>
                    <a:pt x="38" y="18"/>
                  </a:lnTo>
                  <a:lnTo>
                    <a:pt x="38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40" y="16"/>
                  </a:lnTo>
                  <a:lnTo>
                    <a:pt x="41" y="16"/>
                  </a:lnTo>
                  <a:lnTo>
                    <a:pt x="41" y="15"/>
                  </a:lnTo>
                  <a:lnTo>
                    <a:pt x="43" y="15"/>
                  </a:lnTo>
                  <a:lnTo>
                    <a:pt x="44" y="15"/>
                  </a:lnTo>
                  <a:lnTo>
                    <a:pt x="47" y="15"/>
                  </a:lnTo>
                  <a:lnTo>
                    <a:pt x="48" y="14"/>
                  </a:lnTo>
                  <a:lnTo>
                    <a:pt x="49" y="14"/>
                  </a:lnTo>
                  <a:lnTo>
                    <a:pt x="52" y="14"/>
                  </a:lnTo>
                  <a:lnTo>
                    <a:pt x="53" y="13"/>
                  </a:lnTo>
                  <a:lnTo>
                    <a:pt x="54" y="12"/>
                  </a:lnTo>
                  <a:lnTo>
                    <a:pt x="58" y="10"/>
                  </a:lnTo>
                  <a:lnTo>
                    <a:pt x="59" y="10"/>
                  </a:lnTo>
                  <a:lnTo>
                    <a:pt x="61" y="9"/>
                  </a:lnTo>
                  <a:lnTo>
                    <a:pt x="64" y="9"/>
                  </a:lnTo>
                  <a:lnTo>
                    <a:pt x="66" y="8"/>
                  </a:lnTo>
                  <a:lnTo>
                    <a:pt x="67" y="7"/>
                  </a:lnTo>
                  <a:lnTo>
                    <a:pt x="70" y="5"/>
                  </a:lnTo>
                  <a:lnTo>
                    <a:pt x="71" y="5"/>
                  </a:lnTo>
                  <a:lnTo>
                    <a:pt x="73" y="4"/>
                  </a:lnTo>
                  <a:lnTo>
                    <a:pt x="75" y="3"/>
                  </a:lnTo>
                  <a:lnTo>
                    <a:pt x="77" y="3"/>
                  </a:lnTo>
                  <a:lnTo>
                    <a:pt x="79" y="2"/>
                  </a:lnTo>
                  <a:lnTo>
                    <a:pt x="84" y="1"/>
                  </a:lnTo>
                  <a:lnTo>
                    <a:pt x="86" y="1"/>
                  </a:lnTo>
                  <a:lnTo>
                    <a:pt x="87" y="1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88" y="0"/>
                  </a:lnTo>
                  <a:close/>
                </a:path>
              </a:pathLst>
            </a:custGeom>
            <a:solidFill>
              <a:srgbClr val="C00000"/>
            </a:solidFill>
            <a:ln w="63500">
              <a:solidFill>
                <a:srgbClr val="C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7">
              <a:extLst>
                <a:ext uri="{FF2B5EF4-FFF2-40B4-BE49-F238E27FC236}">
                  <a16:creationId xmlns:a16="http://schemas.microsoft.com/office/drawing/2014/main" id="{113C2CCF-720E-CA6D-6E98-B424F0873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6" y="3069"/>
              <a:ext cx="633" cy="513"/>
            </a:xfrm>
            <a:custGeom>
              <a:avLst/>
              <a:gdLst>
                <a:gd name="T0" fmla="*/ 487 w 633"/>
                <a:gd name="T1" fmla="*/ 20 h 513"/>
                <a:gd name="T2" fmla="*/ 512 w 633"/>
                <a:gd name="T3" fmla="*/ 53 h 513"/>
                <a:gd name="T4" fmla="*/ 516 w 633"/>
                <a:gd name="T5" fmla="*/ 105 h 513"/>
                <a:gd name="T6" fmla="*/ 525 w 633"/>
                <a:gd name="T7" fmla="*/ 128 h 513"/>
                <a:gd name="T8" fmla="*/ 553 w 633"/>
                <a:gd name="T9" fmla="*/ 151 h 513"/>
                <a:gd name="T10" fmla="*/ 587 w 633"/>
                <a:gd name="T11" fmla="*/ 174 h 513"/>
                <a:gd name="T12" fmla="*/ 583 w 633"/>
                <a:gd name="T13" fmla="*/ 217 h 513"/>
                <a:gd name="T14" fmla="*/ 599 w 633"/>
                <a:gd name="T15" fmla="*/ 238 h 513"/>
                <a:gd name="T16" fmla="*/ 591 w 633"/>
                <a:gd name="T17" fmla="*/ 260 h 513"/>
                <a:gd name="T18" fmla="*/ 603 w 633"/>
                <a:gd name="T19" fmla="*/ 280 h 513"/>
                <a:gd name="T20" fmla="*/ 632 w 633"/>
                <a:gd name="T21" fmla="*/ 303 h 513"/>
                <a:gd name="T22" fmla="*/ 624 w 633"/>
                <a:gd name="T23" fmla="*/ 350 h 513"/>
                <a:gd name="T24" fmla="*/ 604 w 633"/>
                <a:gd name="T25" fmla="*/ 375 h 513"/>
                <a:gd name="T26" fmla="*/ 566 w 633"/>
                <a:gd name="T27" fmla="*/ 394 h 513"/>
                <a:gd name="T28" fmla="*/ 532 w 633"/>
                <a:gd name="T29" fmla="*/ 420 h 513"/>
                <a:gd name="T30" fmla="*/ 549 w 633"/>
                <a:gd name="T31" fmla="*/ 455 h 513"/>
                <a:gd name="T32" fmla="*/ 524 w 633"/>
                <a:gd name="T33" fmla="*/ 473 h 513"/>
                <a:gd name="T34" fmla="*/ 473 w 633"/>
                <a:gd name="T35" fmla="*/ 469 h 513"/>
                <a:gd name="T36" fmla="*/ 455 w 633"/>
                <a:gd name="T37" fmla="*/ 494 h 513"/>
                <a:gd name="T38" fmla="*/ 430 w 633"/>
                <a:gd name="T39" fmla="*/ 479 h 513"/>
                <a:gd name="T40" fmla="*/ 394 w 633"/>
                <a:gd name="T41" fmla="*/ 475 h 513"/>
                <a:gd name="T42" fmla="*/ 369 w 633"/>
                <a:gd name="T43" fmla="*/ 512 h 513"/>
                <a:gd name="T44" fmla="*/ 342 w 633"/>
                <a:gd name="T45" fmla="*/ 501 h 513"/>
                <a:gd name="T46" fmla="*/ 298 w 633"/>
                <a:gd name="T47" fmla="*/ 492 h 513"/>
                <a:gd name="T48" fmla="*/ 273 w 633"/>
                <a:gd name="T49" fmla="*/ 499 h 513"/>
                <a:gd name="T50" fmla="*/ 239 w 633"/>
                <a:gd name="T51" fmla="*/ 498 h 513"/>
                <a:gd name="T52" fmla="*/ 195 w 633"/>
                <a:gd name="T53" fmla="*/ 493 h 513"/>
                <a:gd name="T54" fmla="*/ 164 w 633"/>
                <a:gd name="T55" fmla="*/ 508 h 513"/>
                <a:gd name="T56" fmla="*/ 127 w 633"/>
                <a:gd name="T57" fmla="*/ 508 h 513"/>
                <a:gd name="T58" fmla="*/ 101 w 633"/>
                <a:gd name="T59" fmla="*/ 493 h 513"/>
                <a:gd name="T60" fmla="*/ 87 w 633"/>
                <a:gd name="T61" fmla="*/ 456 h 513"/>
                <a:gd name="T62" fmla="*/ 84 w 633"/>
                <a:gd name="T63" fmla="*/ 439 h 513"/>
                <a:gd name="T64" fmla="*/ 78 w 633"/>
                <a:gd name="T65" fmla="*/ 424 h 513"/>
                <a:gd name="T66" fmla="*/ 111 w 633"/>
                <a:gd name="T67" fmla="*/ 404 h 513"/>
                <a:gd name="T68" fmla="*/ 117 w 633"/>
                <a:gd name="T69" fmla="*/ 367 h 513"/>
                <a:gd name="T70" fmla="*/ 110 w 633"/>
                <a:gd name="T71" fmla="*/ 311 h 513"/>
                <a:gd name="T72" fmla="*/ 74 w 633"/>
                <a:gd name="T73" fmla="*/ 283 h 513"/>
                <a:gd name="T74" fmla="*/ 33 w 633"/>
                <a:gd name="T75" fmla="*/ 269 h 513"/>
                <a:gd name="T76" fmla="*/ 2 w 633"/>
                <a:gd name="T77" fmla="*/ 265 h 513"/>
                <a:gd name="T78" fmla="*/ 5 w 633"/>
                <a:gd name="T79" fmla="*/ 235 h 513"/>
                <a:gd name="T80" fmla="*/ 27 w 633"/>
                <a:gd name="T81" fmla="*/ 212 h 513"/>
                <a:gd name="T82" fmla="*/ 69 w 633"/>
                <a:gd name="T83" fmla="*/ 184 h 513"/>
                <a:gd name="T84" fmla="*/ 113 w 633"/>
                <a:gd name="T85" fmla="*/ 171 h 513"/>
                <a:gd name="T86" fmla="*/ 149 w 633"/>
                <a:gd name="T87" fmla="*/ 158 h 513"/>
                <a:gd name="T88" fmla="*/ 176 w 633"/>
                <a:gd name="T89" fmla="*/ 133 h 513"/>
                <a:gd name="T90" fmla="*/ 236 w 633"/>
                <a:gd name="T91" fmla="*/ 127 h 513"/>
                <a:gd name="T92" fmla="*/ 287 w 633"/>
                <a:gd name="T93" fmla="*/ 120 h 513"/>
                <a:gd name="T94" fmla="*/ 299 w 633"/>
                <a:gd name="T95" fmla="*/ 88 h 513"/>
                <a:gd name="T96" fmla="*/ 318 w 633"/>
                <a:gd name="T97" fmla="*/ 59 h 513"/>
                <a:gd name="T98" fmla="*/ 340 w 633"/>
                <a:gd name="T99" fmla="*/ 53 h 513"/>
                <a:gd name="T100" fmla="*/ 361 w 633"/>
                <a:gd name="T101" fmla="*/ 65 h 513"/>
                <a:gd name="T102" fmla="*/ 404 w 633"/>
                <a:gd name="T103" fmla="*/ 32 h 513"/>
                <a:gd name="T104" fmla="*/ 435 w 633"/>
                <a:gd name="T105" fmla="*/ 21 h 513"/>
                <a:gd name="T106" fmla="*/ 306 w 633"/>
                <a:gd name="T107" fmla="*/ 213 h 513"/>
                <a:gd name="T108" fmla="*/ 269 w 633"/>
                <a:gd name="T109" fmla="*/ 227 h 513"/>
                <a:gd name="T110" fmla="*/ 258 w 633"/>
                <a:gd name="T111" fmla="*/ 252 h 513"/>
                <a:gd name="T112" fmla="*/ 269 w 633"/>
                <a:gd name="T113" fmla="*/ 285 h 513"/>
                <a:gd name="T114" fmla="*/ 280 w 633"/>
                <a:gd name="T115" fmla="*/ 308 h 513"/>
                <a:gd name="T116" fmla="*/ 326 w 633"/>
                <a:gd name="T117" fmla="*/ 289 h 513"/>
                <a:gd name="T118" fmla="*/ 368 w 633"/>
                <a:gd name="T119" fmla="*/ 286 h 513"/>
                <a:gd name="T120" fmla="*/ 383 w 633"/>
                <a:gd name="T121" fmla="*/ 252 h 513"/>
                <a:gd name="T122" fmla="*/ 356 w 633"/>
                <a:gd name="T123" fmla="*/ 222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3" h="513">
                  <a:moveTo>
                    <a:pt x="451" y="0"/>
                  </a:moveTo>
                  <a:lnTo>
                    <a:pt x="451" y="0"/>
                  </a:lnTo>
                  <a:lnTo>
                    <a:pt x="452" y="0"/>
                  </a:lnTo>
                  <a:lnTo>
                    <a:pt x="452" y="1"/>
                  </a:lnTo>
                  <a:lnTo>
                    <a:pt x="453" y="1"/>
                  </a:lnTo>
                  <a:lnTo>
                    <a:pt x="455" y="3"/>
                  </a:lnTo>
                  <a:lnTo>
                    <a:pt x="456" y="4"/>
                  </a:lnTo>
                  <a:lnTo>
                    <a:pt x="457" y="5"/>
                  </a:lnTo>
                  <a:lnTo>
                    <a:pt x="459" y="6"/>
                  </a:lnTo>
                  <a:lnTo>
                    <a:pt x="460" y="7"/>
                  </a:lnTo>
                  <a:lnTo>
                    <a:pt x="460" y="7"/>
                  </a:lnTo>
                  <a:lnTo>
                    <a:pt x="461" y="8"/>
                  </a:lnTo>
                  <a:lnTo>
                    <a:pt x="461" y="9"/>
                  </a:lnTo>
                  <a:lnTo>
                    <a:pt x="462" y="9"/>
                  </a:lnTo>
                  <a:lnTo>
                    <a:pt x="463" y="9"/>
                  </a:lnTo>
                  <a:lnTo>
                    <a:pt x="463" y="10"/>
                  </a:lnTo>
                  <a:lnTo>
                    <a:pt x="464" y="10"/>
                  </a:lnTo>
                  <a:lnTo>
                    <a:pt x="465" y="10"/>
                  </a:lnTo>
                  <a:lnTo>
                    <a:pt x="465" y="10"/>
                  </a:lnTo>
                  <a:lnTo>
                    <a:pt x="465" y="9"/>
                  </a:lnTo>
                  <a:lnTo>
                    <a:pt x="466" y="9"/>
                  </a:lnTo>
                  <a:lnTo>
                    <a:pt x="467" y="8"/>
                  </a:lnTo>
                  <a:lnTo>
                    <a:pt x="468" y="8"/>
                  </a:lnTo>
                  <a:lnTo>
                    <a:pt x="468" y="8"/>
                  </a:lnTo>
                  <a:lnTo>
                    <a:pt x="469" y="7"/>
                  </a:lnTo>
                  <a:lnTo>
                    <a:pt x="470" y="7"/>
                  </a:lnTo>
                  <a:lnTo>
                    <a:pt x="471" y="7"/>
                  </a:lnTo>
                  <a:lnTo>
                    <a:pt x="471" y="7"/>
                  </a:lnTo>
                  <a:lnTo>
                    <a:pt x="474" y="8"/>
                  </a:lnTo>
                  <a:lnTo>
                    <a:pt x="475" y="8"/>
                  </a:lnTo>
                  <a:lnTo>
                    <a:pt x="476" y="8"/>
                  </a:lnTo>
                  <a:lnTo>
                    <a:pt x="476" y="8"/>
                  </a:lnTo>
                  <a:lnTo>
                    <a:pt x="476" y="9"/>
                  </a:lnTo>
                  <a:lnTo>
                    <a:pt x="477" y="9"/>
                  </a:lnTo>
                  <a:lnTo>
                    <a:pt x="479" y="10"/>
                  </a:lnTo>
                  <a:lnTo>
                    <a:pt x="481" y="14"/>
                  </a:lnTo>
                  <a:lnTo>
                    <a:pt x="485" y="18"/>
                  </a:lnTo>
                  <a:lnTo>
                    <a:pt x="487" y="20"/>
                  </a:lnTo>
                  <a:lnTo>
                    <a:pt x="488" y="21"/>
                  </a:lnTo>
                  <a:lnTo>
                    <a:pt x="488" y="21"/>
                  </a:lnTo>
                  <a:lnTo>
                    <a:pt x="489" y="22"/>
                  </a:lnTo>
                  <a:lnTo>
                    <a:pt x="490" y="22"/>
                  </a:lnTo>
                  <a:lnTo>
                    <a:pt x="491" y="22"/>
                  </a:lnTo>
                  <a:lnTo>
                    <a:pt x="493" y="23"/>
                  </a:lnTo>
                  <a:lnTo>
                    <a:pt x="494" y="24"/>
                  </a:lnTo>
                  <a:lnTo>
                    <a:pt x="495" y="24"/>
                  </a:lnTo>
                  <a:lnTo>
                    <a:pt x="496" y="25"/>
                  </a:lnTo>
                  <a:lnTo>
                    <a:pt x="497" y="26"/>
                  </a:lnTo>
                  <a:lnTo>
                    <a:pt x="499" y="27"/>
                  </a:lnTo>
                  <a:lnTo>
                    <a:pt x="500" y="28"/>
                  </a:lnTo>
                  <a:lnTo>
                    <a:pt x="501" y="29"/>
                  </a:lnTo>
                  <a:lnTo>
                    <a:pt x="501" y="30"/>
                  </a:lnTo>
                  <a:lnTo>
                    <a:pt x="502" y="31"/>
                  </a:lnTo>
                  <a:lnTo>
                    <a:pt x="503" y="32"/>
                  </a:lnTo>
                  <a:lnTo>
                    <a:pt x="505" y="35"/>
                  </a:lnTo>
                  <a:lnTo>
                    <a:pt x="505" y="36"/>
                  </a:lnTo>
                  <a:lnTo>
                    <a:pt x="505" y="37"/>
                  </a:lnTo>
                  <a:lnTo>
                    <a:pt x="506" y="37"/>
                  </a:lnTo>
                  <a:lnTo>
                    <a:pt x="507" y="38"/>
                  </a:lnTo>
                  <a:lnTo>
                    <a:pt x="508" y="38"/>
                  </a:lnTo>
                  <a:lnTo>
                    <a:pt x="508" y="39"/>
                  </a:lnTo>
                  <a:lnTo>
                    <a:pt x="509" y="39"/>
                  </a:lnTo>
                  <a:lnTo>
                    <a:pt x="511" y="40"/>
                  </a:lnTo>
                  <a:lnTo>
                    <a:pt x="512" y="41"/>
                  </a:lnTo>
                  <a:lnTo>
                    <a:pt x="517" y="43"/>
                  </a:lnTo>
                  <a:lnTo>
                    <a:pt x="518" y="43"/>
                  </a:lnTo>
                  <a:lnTo>
                    <a:pt x="519" y="44"/>
                  </a:lnTo>
                  <a:lnTo>
                    <a:pt x="518" y="45"/>
                  </a:lnTo>
                  <a:lnTo>
                    <a:pt x="517" y="46"/>
                  </a:lnTo>
                  <a:lnTo>
                    <a:pt x="515" y="48"/>
                  </a:lnTo>
                  <a:lnTo>
                    <a:pt x="514" y="49"/>
                  </a:lnTo>
                  <a:lnTo>
                    <a:pt x="513" y="50"/>
                  </a:lnTo>
                  <a:lnTo>
                    <a:pt x="512" y="51"/>
                  </a:lnTo>
                  <a:lnTo>
                    <a:pt x="512" y="52"/>
                  </a:lnTo>
                  <a:lnTo>
                    <a:pt x="512" y="52"/>
                  </a:lnTo>
                  <a:lnTo>
                    <a:pt x="512" y="53"/>
                  </a:lnTo>
                  <a:lnTo>
                    <a:pt x="512" y="54"/>
                  </a:lnTo>
                  <a:lnTo>
                    <a:pt x="512" y="54"/>
                  </a:lnTo>
                  <a:lnTo>
                    <a:pt x="512" y="55"/>
                  </a:lnTo>
                  <a:lnTo>
                    <a:pt x="512" y="56"/>
                  </a:lnTo>
                  <a:lnTo>
                    <a:pt x="513" y="58"/>
                  </a:lnTo>
                  <a:lnTo>
                    <a:pt x="514" y="60"/>
                  </a:lnTo>
                  <a:lnTo>
                    <a:pt x="514" y="61"/>
                  </a:lnTo>
                  <a:lnTo>
                    <a:pt x="515" y="63"/>
                  </a:lnTo>
                  <a:lnTo>
                    <a:pt x="516" y="65"/>
                  </a:lnTo>
                  <a:lnTo>
                    <a:pt x="516" y="66"/>
                  </a:lnTo>
                  <a:lnTo>
                    <a:pt x="516" y="66"/>
                  </a:lnTo>
                  <a:lnTo>
                    <a:pt x="516" y="67"/>
                  </a:lnTo>
                  <a:lnTo>
                    <a:pt x="516" y="69"/>
                  </a:lnTo>
                  <a:lnTo>
                    <a:pt x="516" y="74"/>
                  </a:lnTo>
                  <a:lnTo>
                    <a:pt x="516" y="75"/>
                  </a:lnTo>
                  <a:lnTo>
                    <a:pt x="516" y="76"/>
                  </a:lnTo>
                  <a:lnTo>
                    <a:pt x="517" y="77"/>
                  </a:lnTo>
                  <a:lnTo>
                    <a:pt x="517" y="78"/>
                  </a:lnTo>
                  <a:lnTo>
                    <a:pt x="517" y="78"/>
                  </a:lnTo>
                  <a:lnTo>
                    <a:pt x="518" y="80"/>
                  </a:lnTo>
                  <a:lnTo>
                    <a:pt x="519" y="81"/>
                  </a:lnTo>
                  <a:lnTo>
                    <a:pt x="519" y="82"/>
                  </a:lnTo>
                  <a:lnTo>
                    <a:pt x="520" y="83"/>
                  </a:lnTo>
                  <a:lnTo>
                    <a:pt x="520" y="84"/>
                  </a:lnTo>
                  <a:lnTo>
                    <a:pt x="521" y="87"/>
                  </a:lnTo>
                  <a:lnTo>
                    <a:pt x="522" y="89"/>
                  </a:lnTo>
                  <a:lnTo>
                    <a:pt x="522" y="90"/>
                  </a:lnTo>
                  <a:lnTo>
                    <a:pt x="522" y="91"/>
                  </a:lnTo>
                  <a:lnTo>
                    <a:pt x="522" y="93"/>
                  </a:lnTo>
                  <a:lnTo>
                    <a:pt x="521" y="94"/>
                  </a:lnTo>
                  <a:lnTo>
                    <a:pt x="521" y="95"/>
                  </a:lnTo>
                  <a:lnTo>
                    <a:pt x="520" y="96"/>
                  </a:lnTo>
                  <a:lnTo>
                    <a:pt x="520" y="97"/>
                  </a:lnTo>
                  <a:lnTo>
                    <a:pt x="518" y="99"/>
                  </a:lnTo>
                  <a:lnTo>
                    <a:pt x="518" y="100"/>
                  </a:lnTo>
                  <a:lnTo>
                    <a:pt x="517" y="101"/>
                  </a:lnTo>
                  <a:lnTo>
                    <a:pt x="516" y="104"/>
                  </a:lnTo>
                  <a:lnTo>
                    <a:pt x="516" y="105"/>
                  </a:lnTo>
                  <a:lnTo>
                    <a:pt x="516" y="105"/>
                  </a:lnTo>
                  <a:lnTo>
                    <a:pt x="515" y="105"/>
                  </a:lnTo>
                  <a:lnTo>
                    <a:pt x="515" y="106"/>
                  </a:lnTo>
                  <a:lnTo>
                    <a:pt x="514" y="106"/>
                  </a:lnTo>
                  <a:lnTo>
                    <a:pt x="512" y="108"/>
                  </a:lnTo>
                  <a:lnTo>
                    <a:pt x="511" y="108"/>
                  </a:lnTo>
                  <a:lnTo>
                    <a:pt x="511" y="108"/>
                  </a:lnTo>
                  <a:lnTo>
                    <a:pt x="510" y="109"/>
                  </a:lnTo>
                  <a:lnTo>
                    <a:pt x="510" y="110"/>
                  </a:lnTo>
                  <a:lnTo>
                    <a:pt x="510" y="110"/>
                  </a:lnTo>
                  <a:lnTo>
                    <a:pt x="509" y="111"/>
                  </a:lnTo>
                  <a:lnTo>
                    <a:pt x="509" y="111"/>
                  </a:lnTo>
                  <a:lnTo>
                    <a:pt x="509" y="112"/>
                  </a:lnTo>
                  <a:lnTo>
                    <a:pt x="509" y="113"/>
                  </a:lnTo>
                  <a:lnTo>
                    <a:pt x="510" y="114"/>
                  </a:lnTo>
                  <a:lnTo>
                    <a:pt x="510" y="114"/>
                  </a:lnTo>
                  <a:lnTo>
                    <a:pt x="510" y="115"/>
                  </a:lnTo>
                  <a:lnTo>
                    <a:pt x="511" y="117"/>
                  </a:lnTo>
                  <a:lnTo>
                    <a:pt x="512" y="118"/>
                  </a:lnTo>
                  <a:lnTo>
                    <a:pt x="512" y="119"/>
                  </a:lnTo>
                  <a:lnTo>
                    <a:pt x="513" y="120"/>
                  </a:lnTo>
                  <a:lnTo>
                    <a:pt x="513" y="121"/>
                  </a:lnTo>
                  <a:lnTo>
                    <a:pt x="513" y="122"/>
                  </a:lnTo>
                  <a:lnTo>
                    <a:pt x="514" y="123"/>
                  </a:lnTo>
                  <a:lnTo>
                    <a:pt x="514" y="124"/>
                  </a:lnTo>
                  <a:lnTo>
                    <a:pt x="515" y="124"/>
                  </a:lnTo>
                  <a:lnTo>
                    <a:pt x="515" y="125"/>
                  </a:lnTo>
                  <a:lnTo>
                    <a:pt x="516" y="125"/>
                  </a:lnTo>
                  <a:lnTo>
                    <a:pt x="517" y="126"/>
                  </a:lnTo>
                  <a:lnTo>
                    <a:pt x="518" y="126"/>
                  </a:lnTo>
                  <a:lnTo>
                    <a:pt x="518" y="126"/>
                  </a:lnTo>
                  <a:lnTo>
                    <a:pt x="519" y="127"/>
                  </a:lnTo>
                  <a:lnTo>
                    <a:pt x="519" y="127"/>
                  </a:lnTo>
                  <a:lnTo>
                    <a:pt x="520" y="127"/>
                  </a:lnTo>
                  <a:lnTo>
                    <a:pt x="521" y="127"/>
                  </a:lnTo>
                  <a:lnTo>
                    <a:pt x="524" y="127"/>
                  </a:lnTo>
                  <a:lnTo>
                    <a:pt x="525" y="128"/>
                  </a:lnTo>
                  <a:lnTo>
                    <a:pt x="525" y="128"/>
                  </a:lnTo>
                  <a:lnTo>
                    <a:pt x="527" y="128"/>
                  </a:lnTo>
                  <a:lnTo>
                    <a:pt x="528" y="129"/>
                  </a:lnTo>
                  <a:lnTo>
                    <a:pt x="529" y="129"/>
                  </a:lnTo>
                  <a:lnTo>
                    <a:pt x="529" y="130"/>
                  </a:lnTo>
                  <a:lnTo>
                    <a:pt x="530" y="130"/>
                  </a:lnTo>
                  <a:lnTo>
                    <a:pt x="531" y="132"/>
                  </a:lnTo>
                  <a:lnTo>
                    <a:pt x="531" y="132"/>
                  </a:lnTo>
                  <a:lnTo>
                    <a:pt x="532" y="133"/>
                  </a:lnTo>
                  <a:lnTo>
                    <a:pt x="533" y="134"/>
                  </a:lnTo>
                  <a:lnTo>
                    <a:pt x="534" y="135"/>
                  </a:lnTo>
                  <a:lnTo>
                    <a:pt x="536" y="137"/>
                  </a:lnTo>
                  <a:lnTo>
                    <a:pt x="536" y="137"/>
                  </a:lnTo>
                  <a:lnTo>
                    <a:pt x="537" y="138"/>
                  </a:lnTo>
                  <a:lnTo>
                    <a:pt x="537" y="139"/>
                  </a:lnTo>
                  <a:lnTo>
                    <a:pt x="538" y="139"/>
                  </a:lnTo>
                  <a:lnTo>
                    <a:pt x="538" y="140"/>
                  </a:lnTo>
                  <a:lnTo>
                    <a:pt x="538" y="142"/>
                  </a:lnTo>
                  <a:lnTo>
                    <a:pt x="538" y="144"/>
                  </a:lnTo>
                  <a:lnTo>
                    <a:pt x="538" y="144"/>
                  </a:lnTo>
                  <a:lnTo>
                    <a:pt x="538" y="145"/>
                  </a:lnTo>
                  <a:lnTo>
                    <a:pt x="538" y="146"/>
                  </a:lnTo>
                  <a:lnTo>
                    <a:pt x="539" y="147"/>
                  </a:lnTo>
                  <a:lnTo>
                    <a:pt x="539" y="148"/>
                  </a:lnTo>
                  <a:lnTo>
                    <a:pt x="539" y="148"/>
                  </a:lnTo>
                  <a:lnTo>
                    <a:pt x="540" y="149"/>
                  </a:lnTo>
                  <a:lnTo>
                    <a:pt x="540" y="149"/>
                  </a:lnTo>
                  <a:lnTo>
                    <a:pt x="541" y="150"/>
                  </a:lnTo>
                  <a:lnTo>
                    <a:pt x="542" y="150"/>
                  </a:lnTo>
                  <a:lnTo>
                    <a:pt x="542" y="151"/>
                  </a:lnTo>
                  <a:lnTo>
                    <a:pt x="543" y="151"/>
                  </a:lnTo>
                  <a:lnTo>
                    <a:pt x="544" y="151"/>
                  </a:lnTo>
                  <a:lnTo>
                    <a:pt x="545" y="152"/>
                  </a:lnTo>
                  <a:lnTo>
                    <a:pt x="545" y="152"/>
                  </a:lnTo>
                  <a:lnTo>
                    <a:pt x="546" y="152"/>
                  </a:lnTo>
                  <a:lnTo>
                    <a:pt x="547" y="152"/>
                  </a:lnTo>
                  <a:lnTo>
                    <a:pt x="548" y="152"/>
                  </a:lnTo>
                  <a:lnTo>
                    <a:pt x="552" y="151"/>
                  </a:lnTo>
                  <a:lnTo>
                    <a:pt x="553" y="151"/>
                  </a:lnTo>
                  <a:lnTo>
                    <a:pt x="554" y="151"/>
                  </a:lnTo>
                  <a:lnTo>
                    <a:pt x="558" y="152"/>
                  </a:lnTo>
                  <a:lnTo>
                    <a:pt x="561" y="152"/>
                  </a:lnTo>
                  <a:lnTo>
                    <a:pt x="564" y="153"/>
                  </a:lnTo>
                  <a:lnTo>
                    <a:pt x="565" y="153"/>
                  </a:lnTo>
                  <a:lnTo>
                    <a:pt x="566" y="153"/>
                  </a:lnTo>
                  <a:lnTo>
                    <a:pt x="567" y="153"/>
                  </a:lnTo>
                  <a:lnTo>
                    <a:pt x="568" y="152"/>
                  </a:lnTo>
                  <a:lnTo>
                    <a:pt x="572" y="151"/>
                  </a:lnTo>
                  <a:lnTo>
                    <a:pt x="574" y="150"/>
                  </a:lnTo>
                  <a:lnTo>
                    <a:pt x="575" y="150"/>
                  </a:lnTo>
                  <a:lnTo>
                    <a:pt x="577" y="149"/>
                  </a:lnTo>
                  <a:lnTo>
                    <a:pt x="577" y="149"/>
                  </a:lnTo>
                  <a:lnTo>
                    <a:pt x="578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80" y="149"/>
                  </a:lnTo>
                  <a:lnTo>
                    <a:pt x="581" y="149"/>
                  </a:lnTo>
                  <a:lnTo>
                    <a:pt x="581" y="150"/>
                  </a:lnTo>
                  <a:lnTo>
                    <a:pt x="582" y="151"/>
                  </a:lnTo>
                  <a:lnTo>
                    <a:pt x="584" y="152"/>
                  </a:lnTo>
                  <a:lnTo>
                    <a:pt x="584" y="153"/>
                  </a:lnTo>
                  <a:lnTo>
                    <a:pt x="585" y="153"/>
                  </a:lnTo>
                  <a:lnTo>
                    <a:pt x="586" y="154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7" y="156"/>
                  </a:lnTo>
                  <a:lnTo>
                    <a:pt x="587" y="158"/>
                  </a:lnTo>
                  <a:lnTo>
                    <a:pt x="587" y="158"/>
                  </a:lnTo>
                  <a:lnTo>
                    <a:pt x="587" y="160"/>
                  </a:lnTo>
                  <a:lnTo>
                    <a:pt x="587" y="162"/>
                  </a:lnTo>
                  <a:lnTo>
                    <a:pt x="588" y="165"/>
                  </a:lnTo>
                  <a:lnTo>
                    <a:pt x="588" y="167"/>
                  </a:lnTo>
                  <a:lnTo>
                    <a:pt x="587" y="168"/>
                  </a:lnTo>
                  <a:lnTo>
                    <a:pt x="587" y="171"/>
                  </a:lnTo>
                  <a:lnTo>
                    <a:pt x="587" y="172"/>
                  </a:lnTo>
                  <a:lnTo>
                    <a:pt x="587" y="173"/>
                  </a:lnTo>
                  <a:lnTo>
                    <a:pt x="587" y="174"/>
                  </a:lnTo>
                  <a:lnTo>
                    <a:pt x="587" y="176"/>
                  </a:lnTo>
                  <a:lnTo>
                    <a:pt x="587" y="178"/>
                  </a:lnTo>
                  <a:lnTo>
                    <a:pt x="587" y="179"/>
                  </a:lnTo>
                  <a:lnTo>
                    <a:pt x="587" y="179"/>
                  </a:lnTo>
                  <a:lnTo>
                    <a:pt x="587" y="180"/>
                  </a:lnTo>
                  <a:lnTo>
                    <a:pt x="588" y="182"/>
                  </a:lnTo>
                  <a:lnTo>
                    <a:pt x="589" y="183"/>
                  </a:lnTo>
                  <a:lnTo>
                    <a:pt x="591" y="185"/>
                  </a:lnTo>
                  <a:lnTo>
                    <a:pt x="591" y="186"/>
                  </a:lnTo>
                  <a:lnTo>
                    <a:pt x="592" y="188"/>
                  </a:lnTo>
                  <a:lnTo>
                    <a:pt x="592" y="189"/>
                  </a:lnTo>
                  <a:lnTo>
                    <a:pt x="593" y="191"/>
                  </a:lnTo>
                  <a:lnTo>
                    <a:pt x="593" y="191"/>
                  </a:lnTo>
                  <a:lnTo>
                    <a:pt x="593" y="192"/>
                  </a:lnTo>
                  <a:lnTo>
                    <a:pt x="593" y="192"/>
                  </a:lnTo>
                  <a:lnTo>
                    <a:pt x="593" y="193"/>
                  </a:lnTo>
                  <a:lnTo>
                    <a:pt x="593" y="194"/>
                  </a:lnTo>
                  <a:lnTo>
                    <a:pt x="592" y="195"/>
                  </a:lnTo>
                  <a:lnTo>
                    <a:pt x="592" y="196"/>
                  </a:lnTo>
                  <a:lnTo>
                    <a:pt x="591" y="198"/>
                  </a:lnTo>
                  <a:lnTo>
                    <a:pt x="591" y="199"/>
                  </a:lnTo>
                  <a:lnTo>
                    <a:pt x="590" y="200"/>
                  </a:lnTo>
                  <a:lnTo>
                    <a:pt x="589" y="202"/>
                  </a:lnTo>
                  <a:lnTo>
                    <a:pt x="588" y="203"/>
                  </a:lnTo>
                  <a:lnTo>
                    <a:pt x="587" y="204"/>
                  </a:lnTo>
                  <a:lnTo>
                    <a:pt x="586" y="206"/>
                  </a:lnTo>
                  <a:lnTo>
                    <a:pt x="585" y="207"/>
                  </a:lnTo>
                  <a:lnTo>
                    <a:pt x="584" y="208"/>
                  </a:lnTo>
                  <a:lnTo>
                    <a:pt x="584" y="209"/>
                  </a:lnTo>
                  <a:lnTo>
                    <a:pt x="583" y="210"/>
                  </a:lnTo>
                  <a:lnTo>
                    <a:pt x="583" y="210"/>
                  </a:lnTo>
                  <a:lnTo>
                    <a:pt x="583" y="211"/>
                  </a:lnTo>
                  <a:lnTo>
                    <a:pt x="584" y="212"/>
                  </a:lnTo>
                  <a:lnTo>
                    <a:pt x="584" y="213"/>
                  </a:lnTo>
                  <a:lnTo>
                    <a:pt x="584" y="214"/>
                  </a:lnTo>
                  <a:lnTo>
                    <a:pt x="584" y="214"/>
                  </a:lnTo>
                  <a:lnTo>
                    <a:pt x="583" y="217"/>
                  </a:lnTo>
                  <a:lnTo>
                    <a:pt x="583" y="217"/>
                  </a:lnTo>
                  <a:lnTo>
                    <a:pt x="583" y="217"/>
                  </a:lnTo>
                  <a:lnTo>
                    <a:pt x="583" y="218"/>
                  </a:lnTo>
                  <a:lnTo>
                    <a:pt x="583" y="218"/>
                  </a:lnTo>
                  <a:lnTo>
                    <a:pt x="584" y="218"/>
                  </a:lnTo>
                  <a:lnTo>
                    <a:pt x="585" y="219"/>
                  </a:lnTo>
                  <a:lnTo>
                    <a:pt x="588" y="220"/>
                  </a:lnTo>
                  <a:lnTo>
                    <a:pt x="592" y="221"/>
                  </a:lnTo>
                  <a:lnTo>
                    <a:pt x="593" y="221"/>
                  </a:lnTo>
                  <a:lnTo>
                    <a:pt x="594" y="221"/>
                  </a:lnTo>
                  <a:lnTo>
                    <a:pt x="596" y="222"/>
                  </a:lnTo>
                  <a:lnTo>
                    <a:pt x="597" y="222"/>
                  </a:lnTo>
                  <a:lnTo>
                    <a:pt x="598" y="222"/>
                  </a:lnTo>
                  <a:lnTo>
                    <a:pt x="599" y="223"/>
                  </a:lnTo>
                  <a:lnTo>
                    <a:pt x="600" y="223"/>
                  </a:lnTo>
                  <a:lnTo>
                    <a:pt x="602" y="225"/>
                  </a:lnTo>
                  <a:lnTo>
                    <a:pt x="603" y="226"/>
                  </a:lnTo>
                  <a:lnTo>
                    <a:pt x="605" y="226"/>
                  </a:lnTo>
                  <a:lnTo>
                    <a:pt x="605" y="227"/>
                  </a:lnTo>
                  <a:lnTo>
                    <a:pt x="605" y="227"/>
                  </a:lnTo>
                  <a:lnTo>
                    <a:pt x="606" y="228"/>
                  </a:lnTo>
                  <a:lnTo>
                    <a:pt x="606" y="228"/>
                  </a:lnTo>
                  <a:lnTo>
                    <a:pt x="606" y="229"/>
                  </a:lnTo>
                  <a:lnTo>
                    <a:pt x="606" y="229"/>
                  </a:lnTo>
                  <a:lnTo>
                    <a:pt x="606" y="230"/>
                  </a:lnTo>
                  <a:lnTo>
                    <a:pt x="606" y="231"/>
                  </a:lnTo>
                  <a:lnTo>
                    <a:pt x="606" y="231"/>
                  </a:lnTo>
                  <a:lnTo>
                    <a:pt x="606" y="233"/>
                  </a:lnTo>
                  <a:lnTo>
                    <a:pt x="606" y="234"/>
                  </a:lnTo>
                  <a:lnTo>
                    <a:pt x="606" y="235"/>
                  </a:lnTo>
                  <a:lnTo>
                    <a:pt x="605" y="235"/>
                  </a:lnTo>
                  <a:lnTo>
                    <a:pt x="605" y="236"/>
                  </a:lnTo>
                  <a:lnTo>
                    <a:pt x="605" y="236"/>
                  </a:lnTo>
                  <a:lnTo>
                    <a:pt x="604" y="236"/>
                  </a:lnTo>
                  <a:lnTo>
                    <a:pt x="603" y="236"/>
                  </a:lnTo>
                  <a:lnTo>
                    <a:pt x="603" y="237"/>
                  </a:lnTo>
                  <a:lnTo>
                    <a:pt x="602" y="237"/>
                  </a:lnTo>
                  <a:lnTo>
                    <a:pt x="600" y="237"/>
                  </a:lnTo>
                  <a:lnTo>
                    <a:pt x="599" y="238"/>
                  </a:lnTo>
                  <a:lnTo>
                    <a:pt x="599" y="238"/>
                  </a:lnTo>
                  <a:lnTo>
                    <a:pt x="598" y="238"/>
                  </a:lnTo>
                  <a:lnTo>
                    <a:pt x="598" y="239"/>
                  </a:lnTo>
                  <a:lnTo>
                    <a:pt x="597" y="239"/>
                  </a:lnTo>
                  <a:lnTo>
                    <a:pt x="597" y="239"/>
                  </a:lnTo>
                  <a:lnTo>
                    <a:pt x="597" y="240"/>
                  </a:lnTo>
                  <a:lnTo>
                    <a:pt x="597" y="240"/>
                  </a:lnTo>
                  <a:lnTo>
                    <a:pt x="597" y="241"/>
                  </a:lnTo>
                  <a:lnTo>
                    <a:pt x="597" y="241"/>
                  </a:lnTo>
                  <a:lnTo>
                    <a:pt x="597" y="241"/>
                  </a:lnTo>
                  <a:lnTo>
                    <a:pt x="598" y="242"/>
                  </a:lnTo>
                  <a:lnTo>
                    <a:pt x="599" y="243"/>
                  </a:lnTo>
                  <a:lnTo>
                    <a:pt x="599" y="243"/>
                  </a:lnTo>
                  <a:lnTo>
                    <a:pt x="599" y="244"/>
                  </a:lnTo>
                  <a:lnTo>
                    <a:pt x="599" y="244"/>
                  </a:lnTo>
                  <a:lnTo>
                    <a:pt x="599" y="245"/>
                  </a:lnTo>
                  <a:lnTo>
                    <a:pt x="599" y="245"/>
                  </a:lnTo>
                  <a:lnTo>
                    <a:pt x="598" y="246"/>
                  </a:lnTo>
                  <a:lnTo>
                    <a:pt x="598" y="247"/>
                  </a:lnTo>
                  <a:lnTo>
                    <a:pt x="598" y="247"/>
                  </a:lnTo>
                  <a:lnTo>
                    <a:pt x="598" y="249"/>
                  </a:lnTo>
                  <a:lnTo>
                    <a:pt x="597" y="251"/>
                  </a:lnTo>
                  <a:lnTo>
                    <a:pt x="597" y="252"/>
                  </a:lnTo>
                  <a:lnTo>
                    <a:pt x="597" y="253"/>
                  </a:lnTo>
                  <a:lnTo>
                    <a:pt x="597" y="254"/>
                  </a:lnTo>
                  <a:lnTo>
                    <a:pt x="596" y="254"/>
                  </a:lnTo>
                  <a:lnTo>
                    <a:pt x="596" y="255"/>
                  </a:lnTo>
                  <a:lnTo>
                    <a:pt x="596" y="255"/>
                  </a:lnTo>
                  <a:lnTo>
                    <a:pt x="595" y="256"/>
                  </a:lnTo>
                  <a:lnTo>
                    <a:pt x="594" y="256"/>
                  </a:lnTo>
                  <a:lnTo>
                    <a:pt x="592" y="258"/>
                  </a:lnTo>
                  <a:lnTo>
                    <a:pt x="591" y="259"/>
                  </a:lnTo>
                  <a:lnTo>
                    <a:pt x="591" y="259"/>
                  </a:lnTo>
                  <a:lnTo>
                    <a:pt x="591" y="259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1"/>
                  </a:lnTo>
                  <a:lnTo>
                    <a:pt x="592" y="262"/>
                  </a:lnTo>
                  <a:lnTo>
                    <a:pt x="592" y="262"/>
                  </a:lnTo>
                  <a:lnTo>
                    <a:pt x="593" y="263"/>
                  </a:lnTo>
                  <a:lnTo>
                    <a:pt x="593" y="263"/>
                  </a:lnTo>
                  <a:lnTo>
                    <a:pt x="592" y="263"/>
                  </a:lnTo>
                  <a:lnTo>
                    <a:pt x="592" y="263"/>
                  </a:lnTo>
                  <a:lnTo>
                    <a:pt x="592" y="264"/>
                  </a:lnTo>
                  <a:lnTo>
                    <a:pt x="591" y="264"/>
                  </a:lnTo>
                  <a:lnTo>
                    <a:pt x="589" y="265"/>
                  </a:lnTo>
                  <a:lnTo>
                    <a:pt x="589" y="265"/>
                  </a:lnTo>
                  <a:lnTo>
                    <a:pt x="588" y="265"/>
                  </a:lnTo>
                  <a:lnTo>
                    <a:pt x="588" y="266"/>
                  </a:lnTo>
                  <a:lnTo>
                    <a:pt x="587" y="266"/>
                  </a:lnTo>
                  <a:lnTo>
                    <a:pt x="587" y="267"/>
                  </a:lnTo>
                  <a:lnTo>
                    <a:pt x="587" y="267"/>
                  </a:lnTo>
                  <a:lnTo>
                    <a:pt x="587" y="267"/>
                  </a:lnTo>
                  <a:lnTo>
                    <a:pt x="587" y="268"/>
                  </a:lnTo>
                  <a:lnTo>
                    <a:pt x="587" y="269"/>
                  </a:lnTo>
                  <a:lnTo>
                    <a:pt x="587" y="269"/>
                  </a:lnTo>
                  <a:lnTo>
                    <a:pt x="587" y="270"/>
                  </a:lnTo>
                  <a:lnTo>
                    <a:pt x="588" y="271"/>
                  </a:lnTo>
                  <a:lnTo>
                    <a:pt x="588" y="272"/>
                  </a:lnTo>
                  <a:lnTo>
                    <a:pt x="589" y="272"/>
                  </a:lnTo>
                  <a:lnTo>
                    <a:pt x="590" y="273"/>
                  </a:lnTo>
                  <a:lnTo>
                    <a:pt x="591" y="274"/>
                  </a:lnTo>
                  <a:lnTo>
                    <a:pt x="592" y="274"/>
                  </a:lnTo>
                  <a:lnTo>
                    <a:pt x="593" y="275"/>
                  </a:lnTo>
                  <a:lnTo>
                    <a:pt x="594" y="275"/>
                  </a:lnTo>
                  <a:lnTo>
                    <a:pt x="595" y="276"/>
                  </a:lnTo>
                  <a:lnTo>
                    <a:pt x="598" y="276"/>
                  </a:lnTo>
                  <a:lnTo>
                    <a:pt x="598" y="277"/>
                  </a:lnTo>
                  <a:lnTo>
                    <a:pt x="599" y="277"/>
                  </a:lnTo>
                  <a:lnTo>
                    <a:pt x="601" y="278"/>
                  </a:lnTo>
                  <a:lnTo>
                    <a:pt x="601" y="278"/>
                  </a:lnTo>
                  <a:lnTo>
                    <a:pt x="602" y="279"/>
                  </a:lnTo>
                  <a:lnTo>
                    <a:pt x="603" y="279"/>
                  </a:lnTo>
                  <a:lnTo>
                    <a:pt x="603" y="280"/>
                  </a:lnTo>
                  <a:lnTo>
                    <a:pt x="604" y="280"/>
                  </a:lnTo>
                  <a:lnTo>
                    <a:pt x="604" y="280"/>
                  </a:lnTo>
                  <a:lnTo>
                    <a:pt x="605" y="281"/>
                  </a:lnTo>
                  <a:lnTo>
                    <a:pt x="607" y="281"/>
                  </a:lnTo>
                  <a:lnTo>
                    <a:pt x="608" y="282"/>
                  </a:lnTo>
                  <a:lnTo>
                    <a:pt x="610" y="282"/>
                  </a:lnTo>
                  <a:lnTo>
                    <a:pt x="610" y="282"/>
                  </a:lnTo>
                  <a:lnTo>
                    <a:pt x="611" y="282"/>
                  </a:lnTo>
                  <a:lnTo>
                    <a:pt x="611" y="282"/>
                  </a:lnTo>
                  <a:lnTo>
                    <a:pt x="611" y="283"/>
                  </a:lnTo>
                  <a:lnTo>
                    <a:pt x="612" y="284"/>
                  </a:lnTo>
                  <a:lnTo>
                    <a:pt x="613" y="284"/>
                  </a:lnTo>
                  <a:lnTo>
                    <a:pt x="613" y="284"/>
                  </a:lnTo>
                  <a:lnTo>
                    <a:pt x="614" y="285"/>
                  </a:lnTo>
                  <a:lnTo>
                    <a:pt x="615" y="285"/>
                  </a:lnTo>
                  <a:lnTo>
                    <a:pt x="615" y="285"/>
                  </a:lnTo>
                  <a:lnTo>
                    <a:pt x="615" y="285"/>
                  </a:lnTo>
                  <a:lnTo>
                    <a:pt x="615" y="286"/>
                  </a:lnTo>
                  <a:lnTo>
                    <a:pt x="616" y="286"/>
                  </a:lnTo>
                  <a:lnTo>
                    <a:pt x="616" y="287"/>
                  </a:lnTo>
                  <a:lnTo>
                    <a:pt x="616" y="290"/>
                  </a:lnTo>
                  <a:lnTo>
                    <a:pt x="616" y="290"/>
                  </a:lnTo>
                  <a:lnTo>
                    <a:pt x="616" y="291"/>
                  </a:lnTo>
                  <a:lnTo>
                    <a:pt x="616" y="291"/>
                  </a:lnTo>
                  <a:lnTo>
                    <a:pt x="616" y="292"/>
                  </a:lnTo>
                  <a:lnTo>
                    <a:pt x="617" y="293"/>
                  </a:lnTo>
                  <a:lnTo>
                    <a:pt x="617" y="293"/>
                  </a:lnTo>
                  <a:lnTo>
                    <a:pt x="618" y="294"/>
                  </a:lnTo>
                  <a:lnTo>
                    <a:pt x="620" y="295"/>
                  </a:lnTo>
                  <a:lnTo>
                    <a:pt x="621" y="296"/>
                  </a:lnTo>
                  <a:lnTo>
                    <a:pt x="622" y="297"/>
                  </a:lnTo>
                  <a:lnTo>
                    <a:pt x="624" y="298"/>
                  </a:lnTo>
                  <a:lnTo>
                    <a:pt x="625" y="299"/>
                  </a:lnTo>
                  <a:lnTo>
                    <a:pt x="628" y="300"/>
                  </a:lnTo>
                  <a:lnTo>
                    <a:pt x="629" y="301"/>
                  </a:lnTo>
                  <a:lnTo>
                    <a:pt x="630" y="301"/>
                  </a:lnTo>
                  <a:lnTo>
                    <a:pt x="631" y="302"/>
                  </a:lnTo>
                  <a:lnTo>
                    <a:pt x="632" y="303"/>
                  </a:lnTo>
                  <a:lnTo>
                    <a:pt x="632" y="304"/>
                  </a:lnTo>
                  <a:lnTo>
                    <a:pt x="633" y="304"/>
                  </a:lnTo>
                  <a:lnTo>
                    <a:pt x="633" y="305"/>
                  </a:lnTo>
                  <a:lnTo>
                    <a:pt x="633" y="306"/>
                  </a:lnTo>
                  <a:lnTo>
                    <a:pt x="633" y="307"/>
                  </a:lnTo>
                  <a:lnTo>
                    <a:pt x="633" y="307"/>
                  </a:lnTo>
                  <a:lnTo>
                    <a:pt x="633" y="309"/>
                  </a:lnTo>
                  <a:lnTo>
                    <a:pt x="632" y="311"/>
                  </a:lnTo>
                  <a:lnTo>
                    <a:pt x="632" y="312"/>
                  </a:lnTo>
                  <a:lnTo>
                    <a:pt x="632" y="312"/>
                  </a:lnTo>
                  <a:lnTo>
                    <a:pt x="632" y="313"/>
                  </a:lnTo>
                  <a:lnTo>
                    <a:pt x="632" y="314"/>
                  </a:lnTo>
                  <a:lnTo>
                    <a:pt x="632" y="314"/>
                  </a:lnTo>
                  <a:lnTo>
                    <a:pt x="633" y="317"/>
                  </a:lnTo>
                  <a:lnTo>
                    <a:pt x="633" y="318"/>
                  </a:lnTo>
                  <a:lnTo>
                    <a:pt x="633" y="319"/>
                  </a:lnTo>
                  <a:lnTo>
                    <a:pt x="633" y="320"/>
                  </a:lnTo>
                  <a:lnTo>
                    <a:pt x="633" y="321"/>
                  </a:lnTo>
                  <a:lnTo>
                    <a:pt x="633" y="322"/>
                  </a:lnTo>
                  <a:lnTo>
                    <a:pt x="632" y="324"/>
                  </a:lnTo>
                  <a:lnTo>
                    <a:pt x="631" y="325"/>
                  </a:lnTo>
                  <a:lnTo>
                    <a:pt x="630" y="329"/>
                  </a:lnTo>
                  <a:lnTo>
                    <a:pt x="629" y="330"/>
                  </a:lnTo>
                  <a:lnTo>
                    <a:pt x="629" y="331"/>
                  </a:lnTo>
                  <a:lnTo>
                    <a:pt x="627" y="333"/>
                  </a:lnTo>
                  <a:lnTo>
                    <a:pt x="627" y="333"/>
                  </a:lnTo>
                  <a:lnTo>
                    <a:pt x="626" y="334"/>
                  </a:lnTo>
                  <a:lnTo>
                    <a:pt x="626" y="335"/>
                  </a:lnTo>
                  <a:lnTo>
                    <a:pt x="626" y="336"/>
                  </a:lnTo>
                  <a:lnTo>
                    <a:pt x="626" y="336"/>
                  </a:lnTo>
                  <a:lnTo>
                    <a:pt x="626" y="340"/>
                  </a:lnTo>
                  <a:lnTo>
                    <a:pt x="625" y="343"/>
                  </a:lnTo>
                  <a:lnTo>
                    <a:pt x="625" y="347"/>
                  </a:lnTo>
                  <a:lnTo>
                    <a:pt x="624" y="349"/>
                  </a:lnTo>
                  <a:lnTo>
                    <a:pt x="624" y="349"/>
                  </a:lnTo>
                  <a:lnTo>
                    <a:pt x="624" y="350"/>
                  </a:lnTo>
                  <a:lnTo>
                    <a:pt x="624" y="349"/>
                  </a:lnTo>
                  <a:lnTo>
                    <a:pt x="624" y="350"/>
                  </a:lnTo>
                  <a:lnTo>
                    <a:pt x="624" y="350"/>
                  </a:lnTo>
                  <a:lnTo>
                    <a:pt x="624" y="351"/>
                  </a:lnTo>
                  <a:lnTo>
                    <a:pt x="623" y="351"/>
                  </a:lnTo>
                  <a:lnTo>
                    <a:pt x="623" y="352"/>
                  </a:lnTo>
                  <a:lnTo>
                    <a:pt x="622" y="353"/>
                  </a:lnTo>
                  <a:lnTo>
                    <a:pt x="619" y="354"/>
                  </a:lnTo>
                  <a:lnTo>
                    <a:pt x="617" y="356"/>
                  </a:lnTo>
                  <a:lnTo>
                    <a:pt x="616" y="357"/>
                  </a:lnTo>
                  <a:lnTo>
                    <a:pt x="616" y="357"/>
                  </a:lnTo>
                  <a:lnTo>
                    <a:pt x="616" y="357"/>
                  </a:lnTo>
                  <a:lnTo>
                    <a:pt x="615" y="358"/>
                  </a:lnTo>
                  <a:lnTo>
                    <a:pt x="614" y="358"/>
                  </a:lnTo>
                  <a:lnTo>
                    <a:pt x="613" y="358"/>
                  </a:lnTo>
                  <a:lnTo>
                    <a:pt x="611" y="358"/>
                  </a:lnTo>
                  <a:lnTo>
                    <a:pt x="610" y="358"/>
                  </a:lnTo>
                  <a:lnTo>
                    <a:pt x="609" y="359"/>
                  </a:lnTo>
                  <a:lnTo>
                    <a:pt x="608" y="359"/>
                  </a:lnTo>
                  <a:lnTo>
                    <a:pt x="607" y="359"/>
                  </a:lnTo>
                  <a:lnTo>
                    <a:pt x="607" y="360"/>
                  </a:lnTo>
                  <a:lnTo>
                    <a:pt x="606" y="360"/>
                  </a:lnTo>
                  <a:lnTo>
                    <a:pt x="606" y="361"/>
                  </a:lnTo>
                  <a:lnTo>
                    <a:pt x="604" y="362"/>
                  </a:lnTo>
                  <a:lnTo>
                    <a:pt x="603" y="363"/>
                  </a:lnTo>
                  <a:lnTo>
                    <a:pt x="603" y="364"/>
                  </a:lnTo>
                  <a:lnTo>
                    <a:pt x="603" y="364"/>
                  </a:lnTo>
                  <a:lnTo>
                    <a:pt x="602" y="365"/>
                  </a:lnTo>
                  <a:lnTo>
                    <a:pt x="602" y="365"/>
                  </a:lnTo>
                  <a:lnTo>
                    <a:pt x="602" y="366"/>
                  </a:lnTo>
                  <a:lnTo>
                    <a:pt x="602" y="367"/>
                  </a:lnTo>
                  <a:lnTo>
                    <a:pt x="602" y="367"/>
                  </a:lnTo>
                  <a:lnTo>
                    <a:pt x="602" y="368"/>
                  </a:lnTo>
                  <a:lnTo>
                    <a:pt x="602" y="369"/>
                  </a:lnTo>
                  <a:lnTo>
                    <a:pt x="602" y="369"/>
                  </a:lnTo>
                  <a:lnTo>
                    <a:pt x="603" y="372"/>
                  </a:lnTo>
                  <a:lnTo>
                    <a:pt x="604" y="373"/>
                  </a:lnTo>
                  <a:lnTo>
                    <a:pt x="604" y="374"/>
                  </a:lnTo>
                  <a:lnTo>
                    <a:pt x="604" y="375"/>
                  </a:lnTo>
                  <a:lnTo>
                    <a:pt x="604" y="375"/>
                  </a:lnTo>
                  <a:lnTo>
                    <a:pt x="604" y="376"/>
                  </a:lnTo>
                  <a:lnTo>
                    <a:pt x="604" y="377"/>
                  </a:lnTo>
                  <a:lnTo>
                    <a:pt x="604" y="377"/>
                  </a:lnTo>
                  <a:lnTo>
                    <a:pt x="604" y="377"/>
                  </a:lnTo>
                  <a:lnTo>
                    <a:pt x="604" y="378"/>
                  </a:lnTo>
                  <a:lnTo>
                    <a:pt x="604" y="378"/>
                  </a:lnTo>
                  <a:lnTo>
                    <a:pt x="603" y="379"/>
                  </a:lnTo>
                  <a:lnTo>
                    <a:pt x="603" y="379"/>
                  </a:lnTo>
                  <a:lnTo>
                    <a:pt x="602" y="379"/>
                  </a:lnTo>
                  <a:lnTo>
                    <a:pt x="602" y="380"/>
                  </a:lnTo>
                  <a:lnTo>
                    <a:pt x="601" y="380"/>
                  </a:lnTo>
                  <a:lnTo>
                    <a:pt x="600" y="380"/>
                  </a:lnTo>
                  <a:lnTo>
                    <a:pt x="599" y="380"/>
                  </a:lnTo>
                  <a:lnTo>
                    <a:pt x="598" y="380"/>
                  </a:lnTo>
                  <a:lnTo>
                    <a:pt x="597" y="380"/>
                  </a:lnTo>
                  <a:lnTo>
                    <a:pt x="594" y="380"/>
                  </a:lnTo>
                  <a:lnTo>
                    <a:pt x="592" y="380"/>
                  </a:lnTo>
                  <a:lnTo>
                    <a:pt x="592" y="380"/>
                  </a:lnTo>
                  <a:lnTo>
                    <a:pt x="591" y="380"/>
                  </a:lnTo>
                  <a:lnTo>
                    <a:pt x="590" y="381"/>
                  </a:lnTo>
                  <a:lnTo>
                    <a:pt x="590" y="381"/>
                  </a:lnTo>
                  <a:lnTo>
                    <a:pt x="589" y="382"/>
                  </a:lnTo>
                  <a:lnTo>
                    <a:pt x="588" y="382"/>
                  </a:lnTo>
                  <a:lnTo>
                    <a:pt x="587" y="383"/>
                  </a:lnTo>
                  <a:lnTo>
                    <a:pt x="586" y="386"/>
                  </a:lnTo>
                  <a:lnTo>
                    <a:pt x="585" y="387"/>
                  </a:lnTo>
                  <a:lnTo>
                    <a:pt x="584" y="387"/>
                  </a:lnTo>
                  <a:lnTo>
                    <a:pt x="584" y="388"/>
                  </a:lnTo>
                  <a:lnTo>
                    <a:pt x="582" y="389"/>
                  </a:lnTo>
                  <a:lnTo>
                    <a:pt x="581" y="390"/>
                  </a:lnTo>
                  <a:lnTo>
                    <a:pt x="580" y="390"/>
                  </a:lnTo>
                  <a:lnTo>
                    <a:pt x="578" y="391"/>
                  </a:lnTo>
                  <a:lnTo>
                    <a:pt x="576" y="391"/>
                  </a:lnTo>
                  <a:lnTo>
                    <a:pt x="575" y="391"/>
                  </a:lnTo>
                  <a:lnTo>
                    <a:pt x="573" y="392"/>
                  </a:lnTo>
                  <a:lnTo>
                    <a:pt x="570" y="393"/>
                  </a:lnTo>
                  <a:lnTo>
                    <a:pt x="568" y="393"/>
                  </a:lnTo>
                  <a:lnTo>
                    <a:pt x="566" y="394"/>
                  </a:lnTo>
                  <a:lnTo>
                    <a:pt x="565" y="394"/>
                  </a:lnTo>
                  <a:lnTo>
                    <a:pt x="563" y="395"/>
                  </a:lnTo>
                  <a:lnTo>
                    <a:pt x="562" y="396"/>
                  </a:lnTo>
                  <a:lnTo>
                    <a:pt x="559" y="397"/>
                  </a:lnTo>
                  <a:lnTo>
                    <a:pt x="558" y="398"/>
                  </a:lnTo>
                  <a:lnTo>
                    <a:pt x="557" y="398"/>
                  </a:lnTo>
                  <a:lnTo>
                    <a:pt x="556" y="399"/>
                  </a:lnTo>
                  <a:lnTo>
                    <a:pt x="555" y="399"/>
                  </a:lnTo>
                  <a:lnTo>
                    <a:pt x="555" y="399"/>
                  </a:lnTo>
                  <a:lnTo>
                    <a:pt x="554" y="399"/>
                  </a:lnTo>
                  <a:lnTo>
                    <a:pt x="553" y="399"/>
                  </a:lnTo>
                  <a:lnTo>
                    <a:pt x="553" y="398"/>
                  </a:lnTo>
                  <a:lnTo>
                    <a:pt x="552" y="398"/>
                  </a:lnTo>
                  <a:lnTo>
                    <a:pt x="552" y="398"/>
                  </a:lnTo>
                  <a:lnTo>
                    <a:pt x="551" y="398"/>
                  </a:lnTo>
                  <a:lnTo>
                    <a:pt x="550" y="397"/>
                  </a:lnTo>
                  <a:lnTo>
                    <a:pt x="549" y="397"/>
                  </a:lnTo>
                  <a:lnTo>
                    <a:pt x="549" y="397"/>
                  </a:lnTo>
                  <a:lnTo>
                    <a:pt x="548" y="397"/>
                  </a:lnTo>
                  <a:lnTo>
                    <a:pt x="547" y="398"/>
                  </a:lnTo>
                  <a:lnTo>
                    <a:pt x="546" y="398"/>
                  </a:lnTo>
                  <a:lnTo>
                    <a:pt x="546" y="398"/>
                  </a:lnTo>
                  <a:lnTo>
                    <a:pt x="545" y="399"/>
                  </a:lnTo>
                  <a:lnTo>
                    <a:pt x="544" y="399"/>
                  </a:lnTo>
                  <a:lnTo>
                    <a:pt x="544" y="400"/>
                  </a:lnTo>
                  <a:lnTo>
                    <a:pt x="543" y="400"/>
                  </a:lnTo>
                  <a:lnTo>
                    <a:pt x="543" y="401"/>
                  </a:lnTo>
                  <a:lnTo>
                    <a:pt x="543" y="401"/>
                  </a:lnTo>
                  <a:lnTo>
                    <a:pt x="543" y="402"/>
                  </a:lnTo>
                  <a:lnTo>
                    <a:pt x="542" y="404"/>
                  </a:lnTo>
                  <a:lnTo>
                    <a:pt x="542" y="405"/>
                  </a:lnTo>
                  <a:lnTo>
                    <a:pt x="541" y="407"/>
                  </a:lnTo>
                  <a:lnTo>
                    <a:pt x="539" y="410"/>
                  </a:lnTo>
                  <a:lnTo>
                    <a:pt x="539" y="411"/>
                  </a:lnTo>
                  <a:lnTo>
                    <a:pt x="539" y="412"/>
                  </a:lnTo>
                  <a:lnTo>
                    <a:pt x="538" y="412"/>
                  </a:lnTo>
                  <a:lnTo>
                    <a:pt x="532" y="419"/>
                  </a:lnTo>
                  <a:lnTo>
                    <a:pt x="532" y="420"/>
                  </a:lnTo>
                  <a:lnTo>
                    <a:pt x="531" y="421"/>
                  </a:lnTo>
                  <a:lnTo>
                    <a:pt x="531" y="422"/>
                  </a:lnTo>
                  <a:lnTo>
                    <a:pt x="530" y="423"/>
                  </a:lnTo>
                  <a:lnTo>
                    <a:pt x="530" y="424"/>
                  </a:lnTo>
                  <a:lnTo>
                    <a:pt x="530" y="425"/>
                  </a:lnTo>
                  <a:lnTo>
                    <a:pt x="530" y="426"/>
                  </a:lnTo>
                  <a:lnTo>
                    <a:pt x="529" y="427"/>
                  </a:lnTo>
                  <a:lnTo>
                    <a:pt x="529" y="428"/>
                  </a:lnTo>
                  <a:lnTo>
                    <a:pt x="529" y="429"/>
                  </a:lnTo>
                  <a:lnTo>
                    <a:pt x="529" y="430"/>
                  </a:lnTo>
                  <a:lnTo>
                    <a:pt x="530" y="432"/>
                  </a:lnTo>
                  <a:lnTo>
                    <a:pt x="530" y="433"/>
                  </a:lnTo>
                  <a:lnTo>
                    <a:pt x="530" y="434"/>
                  </a:lnTo>
                  <a:lnTo>
                    <a:pt x="531" y="435"/>
                  </a:lnTo>
                  <a:lnTo>
                    <a:pt x="531" y="436"/>
                  </a:lnTo>
                  <a:lnTo>
                    <a:pt x="531" y="436"/>
                  </a:lnTo>
                  <a:lnTo>
                    <a:pt x="532" y="437"/>
                  </a:lnTo>
                  <a:lnTo>
                    <a:pt x="533" y="437"/>
                  </a:lnTo>
                  <a:lnTo>
                    <a:pt x="533" y="438"/>
                  </a:lnTo>
                  <a:lnTo>
                    <a:pt x="537" y="440"/>
                  </a:lnTo>
                  <a:lnTo>
                    <a:pt x="539" y="440"/>
                  </a:lnTo>
                  <a:lnTo>
                    <a:pt x="541" y="441"/>
                  </a:lnTo>
                  <a:lnTo>
                    <a:pt x="542" y="442"/>
                  </a:lnTo>
                  <a:lnTo>
                    <a:pt x="543" y="442"/>
                  </a:lnTo>
                  <a:lnTo>
                    <a:pt x="544" y="443"/>
                  </a:lnTo>
                  <a:lnTo>
                    <a:pt x="544" y="443"/>
                  </a:lnTo>
                  <a:lnTo>
                    <a:pt x="545" y="444"/>
                  </a:lnTo>
                  <a:lnTo>
                    <a:pt x="545" y="444"/>
                  </a:lnTo>
                  <a:lnTo>
                    <a:pt x="546" y="445"/>
                  </a:lnTo>
                  <a:lnTo>
                    <a:pt x="547" y="446"/>
                  </a:lnTo>
                  <a:lnTo>
                    <a:pt x="548" y="448"/>
                  </a:lnTo>
                  <a:lnTo>
                    <a:pt x="548" y="449"/>
                  </a:lnTo>
                  <a:lnTo>
                    <a:pt x="549" y="450"/>
                  </a:lnTo>
                  <a:lnTo>
                    <a:pt x="549" y="451"/>
                  </a:lnTo>
                  <a:lnTo>
                    <a:pt x="549" y="451"/>
                  </a:lnTo>
                  <a:lnTo>
                    <a:pt x="549" y="452"/>
                  </a:lnTo>
                  <a:lnTo>
                    <a:pt x="549" y="454"/>
                  </a:lnTo>
                  <a:lnTo>
                    <a:pt x="549" y="455"/>
                  </a:lnTo>
                  <a:lnTo>
                    <a:pt x="549" y="456"/>
                  </a:lnTo>
                  <a:lnTo>
                    <a:pt x="549" y="457"/>
                  </a:lnTo>
                  <a:lnTo>
                    <a:pt x="549" y="457"/>
                  </a:lnTo>
                  <a:lnTo>
                    <a:pt x="548" y="458"/>
                  </a:lnTo>
                  <a:lnTo>
                    <a:pt x="548" y="459"/>
                  </a:lnTo>
                  <a:lnTo>
                    <a:pt x="548" y="460"/>
                  </a:lnTo>
                  <a:lnTo>
                    <a:pt x="547" y="460"/>
                  </a:lnTo>
                  <a:lnTo>
                    <a:pt x="547" y="461"/>
                  </a:lnTo>
                  <a:lnTo>
                    <a:pt x="546" y="461"/>
                  </a:lnTo>
                  <a:lnTo>
                    <a:pt x="544" y="463"/>
                  </a:lnTo>
                  <a:lnTo>
                    <a:pt x="543" y="463"/>
                  </a:lnTo>
                  <a:lnTo>
                    <a:pt x="543" y="464"/>
                  </a:lnTo>
                  <a:lnTo>
                    <a:pt x="542" y="464"/>
                  </a:lnTo>
                  <a:lnTo>
                    <a:pt x="541" y="464"/>
                  </a:lnTo>
                  <a:lnTo>
                    <a:pt x="540" y="464"/>
                  </a:lnTo>
                  <a:lnTo>
                    <a:pt x="539" y="464"/>
                  </a:lnTo>
                  <a:lnTo>
                    <a:pt x="537" y="464"/>
                  </a:lnTo>
                  <a:lnTo>
                    <a:pt x="536" y="464"/>
                  </a:lnTo>
                  <a:lnTo>
                    <a:pt x="534" y="464"/>
                  </a:lnTo>
                  <a:lnTo>
                    <a:pt x="533" y="464"/>
                  </a:lnTo>
                  <a:lnTo>
                    <a:pt x="532" y="464"/>
                  </a:lnTo>
                  <a:lnTo>
                    <a:pt x="532" y="464"/>
                  </a:lnTo>
                  <a:lnTo>
                    <a:pt x="531" y="464"/>
                  </a:lnTo>
                  <a:lnTo>
                    <a:pt x="531" y="464"/>
                  </a:lnTo>
                  <a:lnTo>
                    <a:pt x="530" y="464"/>
                  </a:lnTo>
                  <a:lnTo>
                    <a:pt x="529" y="466"/>
                  </a:lnTo>
                  <a:lnTo>
                    <a:pt x="528" y="466"/>
                  </a:lnTo>
                  <a:lnTo>
                    <a:pt x="528" y="466"/>
                  </a:lnTo>
                  <a:lnTo>
                    <a:pt x="528" y="467"/>
                  </a:lnTo>
                  <a:lnTo>
                    <a:pt x="527" y="467"/>
                  </a:lnTo>
                  <a:lnTo>
                    <a:pt x="526" y="469"/>
                  </a:lnTo>
                  <a:lnTo>
                    <a:pt x="526" y="470"/>
                  </a:lnTo>
                  <a:lnTo>
                    <a:pt x="525" y="471"/>
                  </a:lnTo>
                  <a:lnTo>
                    <a:pt x="525" y="472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3" y="473"/>
                  </a:lnTo>
                  <a:lnTo>
                    <a:pt x="523" y="473"/>
                  </a:lnTo>
                  <a:lnTo>
                    <a:pt x="522" y="473"/>
                  </a:lnTo>
                  <a:lnTo>
                    <a:pt x="521" y="473"/>
                  </a:lnTo>
                  <a:lnTo>
                    <a:pt x="519" y="471"/>
                  </a:lnTo>
                  <a:lnTo>
                    <a:pt x="519" y="471"/>
                  </a:lnTo>
                  <a:lnTo>
                    <a:pt x="518" y="470"/>
                  </a:lnTo>
                  <a:lnTo>
                    <a:pt x="517" y="470"/>
                  </a:lnTo>
                  <a:lnTo>
                    <a:pt x="515" y="470"/>
                  </a:lnTo>
                  <a:lnTo>
                    <a:pt x="514" y="469"/>
                  </a:lnTo>
                  <a:lnTo>
                    <a:pt x="512" y="469"/>
                  </a:lnTo>
                  <a:lnTo>
                    <a:pt x="510" y="468"/>
                  </a:lnTo>
                  <a:lnTo>
                    <a:pt x="510" y="468"/>
                  </a:lnTo>
                  <a:lnTo>
                    <a:pt x="509" y="468"/>
                  </a:lnTo>
                  <a:lnTo>
                    <a:pt x="509" y="468"/>
                  </a:lnTo>
                  <a:lnTo>
                    <a:pt x="508" y="468"/>
                  </a:lnTo>
                  <a:lnTo>
                    <a:pt x="507" y="468"/>
                  </a:lnTo>
                  <a:lnTo>
                    <a:pt x="505" y="469"/>
                  </a:lnTo>
                  <a:lnTo>
                    <a:pt x="502" y="470"/>
                  </a:lnTo>
                  <a:lnTo>
                    <a:pt x="500" y="471"/>
                  </a:lnTo>
                  <a:lnTo>
                    <a:pt x="500" y="471"/>
                  </a:lnTo>
                  <a:lnTo>
                    <a:pt x="498" y="471"/>
                  </a:lnTo>
                  <a:lnTo>
                    <a:pt x="496" y="472"/>
                  </a:lnTo>
                  <a:lnTo>
                    <a:pt x="495" y="472"/>
                  </a:lnTo>
                  <a:lnTo>
                    <a:pt x="494" y="472"/>
                  </a:lnTo>
                  <a:lnTo>
                    <a:pt x="492" y="472"/>
                  </a:lnTo>
                  <a:lnTo>
                    <a:pt x="491" y="472"/>
                  </a:lnTo>
                  <a:lnTo>
                    <a:pt x="487" y="471"/>
                  </a:lnTo>
                  <a:lnTo>
                    <a:pt x="486" y="471"/>
                  </a:lnTo>
                  <a:lnTo>
                    <a:pt x="483" y="471"/>
                  </a:lnTo>
                  <a:lnTo>
                    <a:pt x="482" y="471"/>
                  </a:lnTo>
                  <a:lnTo>
                    <a:pt x="481" y="470"/>
                  </a:lnTo>
                  <a:lnTo>
                    <a:pt x="480" y="470"/>
                  </a:lnTo>
                  <a:lnTo>
                    <a:pt x="476" y="469"/>
                  </a:lnTo>
                  <a:lnTo>
                    <a:pt x="475" y="469"/>
                  </a:lnTo>
                  <a:lnTo>
                    <a:pt x="474" y="469"/>
                  </a:lnTo>
                  <a:lnTo>
                    <a:pt x="474" y="469"/>
                  </a:lnTo>
                  <a:lnTo>
                    <a:pt x="473" y="469"/>
                  </a:lnTo>
                  <a:lnTo>
                    <a:pt x="472" y="469"/>
                  </a:lnTo>
                  <a:lnTo>
                    <a:pt x="471" y="469"/>
                  </a:lnTo>
                  <a:lnTo>
                    <a:pt x="471" y="470"/>
                  </a:lnTo>
                  <a:lnTo>
                    <a:pt x="470" y="470"/>
                  </a:lnTo>
                  <a:lnTo>
                    <a:pt x="470" y="471"/>
                  </a:lnTo>
                  <a:lnTo>
                    <a:pt x="470" y="471"/>
                  </a:lnTo>
                  <a:lnTo>
                    <a:pt x="469" y="472"/>
                  </a:lnTo>
                  <a:lnTo>
                    <a:pt x="469" y="472"/>
                  </a:lnTo>
                  <a:lnTo>
                    <a:pt x="469" y="473"/>
                  </a:lnTo>
                  <a:lnTo>
                    <a:pt x="469" y="473"/>
                  </a:lnTo>
                  <a:lnTo>
                    <a:pt x="469" y="474"/>
                  </a:lnTo>
                  <a:lnTo>
                    <a:pt x="470" y="476"/>
                  </a:lnTo>
                  <a:lnTo>
                    <a:pt x="470" y="477"/>
                  </a:lnTo>
                  <a:lnTo>
                    <a:pt x="470" y="477"/>
                  </a:lnTo>
                  <a:lnTo>
                    <a:pt x="470" y="478"/>
                  </a:lnTo>
                  <a:lnTo>
                    <a:pt x="470" y="478"/>
                  </a:lnTo>
                  <a:lnTo>
                    <a:pt x="470" y="478"/>
                  </a:lnTo>
                  <a:lnTo>
                    <a:pt x="469" y="479"/>
                  </a:lnTo>
                  <a:lnTo>
                    <a:pt x="469" y="479"/>
                  </a:lnTo>
                  <a:lnTo>
                    <a:pt x="468" y="479"/>
                  </a:lnTo>
                  <a:lnTo>
                    <a:pt x="468" y="480"/>
                  </a:lnTo>
                  <a:lnTo>
                    <a:pt x="467" y="480"/>
                  </a:lnTo>
                  <a:lnTo>
                    <a:pt x="466" y="480"/>
                  </a:lnTo>
                  <a:lnTo>
                    <a:pt x="461" y="482"/>
                  </a:lnTo>
                  <a:lnTo>
                    <a:pt x="460" y="482"/>
                  </a:lnTo>
                  <a:lnTo>
                    <a:pt x="460" y="482"/>
                  </a:lnTo>
                  <a:lnTo>
                    <a:pt x="459" y="482"/>
                  </a:lnTo>
                  <a:lnTo>
                    <a:pt x="459" y="483"/>
                  </a:lnTo>
                  <a:lnTo>
                    <a:pt x="459" y="483"/>
                  </a:lnTo>
                  <a:lnTo>
                    <a:pt x="458" y="484"/>
                  </a:lnTo>
                  <a:lnTo>
                    <a:pt x="458" y="484"/>
                  </a:lnTo>
                  <a:lnTo>
                    <a:pt x="458" y="485"/>
                  </a:lnTo>
                  <a:lnTo>
                    <a:pt x="457" y="486"/>
                  </a:lnTo>
                  <a:lnTo>
                    <a:pt x="457" y="487"/>
                  </a:lnTo>
                  <a:lnTo>
                    <a:pt x="457" y="490"/>
                  </a:lnTo>
                  <a:lnTo>
                    <a:pt x="456" y="491"/>
                  </a:lnTo>
                  <a:lnTo>
                    <a:pt x="456" y="492"/>
                  </a:lnTo>
                  <a:lnTo>
                    <a:pt x="455" y="494"/>
                  </a:lnTo>
                  <a:lnTo>
                    <a:pt x="455" y="494"/>
                  </a:lnTo>
                  <a:lnTo>
                    <a:pt x="455" y="494"/>
                  </a:lnTo>
                  <a:lnTo>
                    <a:pt x="454" y="495"/>
                  </a:lnTo>
                  <a:lnTo>
                    <a:pt x="453" y="495"/>
                  </a:lnTo>
                  <a:lnTo>
                    <a:pt x="453" y="495"/>
                  </a:lnTo>
                  <a:lnTo>
                    <a:pt x="452" y="495"/>
                  </a:lnTo>
                  <a:lnTo>
                    <a:pt x="451" y="495"/>
                  </a:lnTo>
                  <a:lnTo>
                    <a:pt x="451" y="495"/>
                  </a:lnTo>
                  <a:lnTo>
                    <a:pt x="450" y="495"/>
                  </a:lnTo>
                  <a:lnTo>
                    <a:pt x="449" y="495"/>
                  </a:lnTo>
                  <a:lnTo>
                    <a:pt x="449" y="495"/>
                  </a:lnTo>
                  <a:lnTo>
                    <a:pt x="447" y="494"/>
                  </a:lnTo>
                  <a:lnTo>
                    <a:pt x="447" y="494"/>
                  </a:lnTo>
                  <a:lnTo>
                    <a:pt x="446" y="494"/>
                  </a:lnTo>
                  <a:lnTo>
                    <a:pt x="445" y="493"/>
                  </a:lnTo>
                  <a:lnTo>
                    <a:pt x="445" y="492"/>
                  </a:lnTo>
                  <a:lnTo>
                    <a:pt x="444" y="492"/>
                  </a:lnTo>
                  <a:lnTo>
                    <a:pt x="443" y="491"/>
                  </a:lnTo>
                  <a:lnTo>
                    <a:pt x="442" y="489"/>
                  </a:lnTo>
                  <a:lnTo>
                    <a:pt x="441" y="487"/>
                  </a:lnTo>
                  <a:lnTo>
                    <a:pt x="440" y="484"/>
                  </a:lnTo>
                  <a:lnTo>
                    <a:pt x="439" y="482"/>
                  </a:lnTo>
                  <a:lnTo>
                    <a:pt x="438" y="481"/>
                  </a:lnTo>
                  <a:lnTo>
                    <a:pt x="438" y="479"/>
                  </a:lnTo>
                  <a:lnTo>
                    <a:pt x="437" y="478"/>
                  </a:lnTo>
                  <a:lnTo>
                    <a:pt x="437" y="478"/>
                  </a:lnTo>
                  <a:lnTo>
                    <a:pt x="437" y="477"/>
                  </a:lnTo>
                  <a:lnTo>
                    <a:pt x="437" y="477"/>
                  </a:lnTo>
                  <a:lnTo>
                    <a:pt x="436" y="477"/>
                  </a:lnTo>
                  <a:lnTo>
                    <a:pt x="436" y="477"/>
                  </a:lnTo>
                  <a:lnTo>
                    <a:pt x="435" y="477"/>
                  </a:lnTo>
                  <a:lnTo>
                    <a:pt x="435" y="477"/>
                  </a:lnTo>
                  <a:lnTo>
                    <a:pt x="434" y="477"/>
                  </a:lnTo>
                  <a:lnTo>
                    <a:pt x="433" y="478"/>
                  </a:lnTo>
                  <a:lnTo>
                    <a:pt x="432" y="478"/>
                  </a:lnTo>
                  <a:lnTo>
                    <a:pt x="431" y="479"/>
                  </a:lnTo>
                  <a:lnTo>
                    <a:pt x="430" y="479"/>
                  </a:lnTo>
                  <a:lnTo>
                    <a:pt x="430" y="479"/>
                  </a:lnTo>
                  <a:lnTo>
                    <a:pt x="429" y="479"/>
                  </a:lnTo>
                  <a:lnTo>
                    <a:pt x="429" y="479"/>
                  </a:lnTo>
                  <a:lnTo>
                    <a:pt x="428" y="479"/>
                  </a:lnTo>
                  <a:lnTo>
                    <a:pt x="428" y="479"/>
                  </a:lnTo>
                  <a:lnTo>
                    <a:pt x="427" y="478"/>
                  </a:lnTo>
                  <a:lnTo>
                    <a:pt x="426" y="477"/>
                  </a:lnTo>
                  <a:lnTo>
                    <a:pt x="425" y="477"/>
                  </a:lnTo>
                  <a:lnTo>
                    <a:pt x="423" y="475"/>
                  </a:lnTo>
                  <a:lnTo>
                    <a:pt x="420" y="473"/>
                  </a:lnTo>
                  <a:lnTo>
                    <a:pt x="419" y="472"/>
                  </a:lnTo>
                  <a:lnTo>
                    <a:pt x="418" y="471"/>
                  </a:lnTo>
                  <a:lnTo>
                    <a:pt x="417" y="471"/>
                  </a:lnTo>
                  <a:lnTo>
                    <a:pt x="416" y="470"/>
                  </a:lnTo>
                  <a:lnTo>
                    <a:pt x="412" y="468"/>
                  </a:lnTo>
                  <a:lnTo>
                    <a:pt x="411" y="467"/>
                  </a:lnTo>
                  <a:lnTo>
                    <a:pt x="410" y="467"/>
                  </a:lnTo>
                  <a:lnTo>
                    <a:pt x="408" y="465"/>
                  </a:lnTo>
                  <a:lnTo>
                    <a:pt x="407" y="465"/>
                  </a:lnTo>
                  <a:lnTo>
                    <a:pt x="406" y="464"/>
                  </a:lnTo>
                  <a:lnTo>
                    <a:pt x="405" y="464"/>
                  </a:lnTo>
                  <a:lnTo>
                    <a:pt x="405" y="464"/>
                  </a:lnTo>
                  <a:lnTo>
                    <a:pt x="405" y="464"/>
                  </a:lnTo>
                  <a:lnTo>
                    <a:pt x="404" y="465"/>
                  </a:lnTo>
                  <a:lnTo>
                    <a:pt x="404" y="465"/>
                  </a:lnTo>
                  <a:lnTo>
                    <a:pt x="402" y="466"/>
                  </a:lnTo>
                  <a:lnTo>
                    <a:pt x="400" y="467"/>
                  </a:lnTo>
                  <a:lnTo>
                    <a:pt x="399" y="468"/>
                  </a:lnTo>
                  <a:lnTo>
                    <a:pt x="399" y="469"/>
                  </a:lnTo>
                  <a:lnTo>
                    <a:pt x="398" y="469"/>
                  </a:lnTo>
                  <a:lnTo>
                    <a:pt x="398" y="471"/>
                  </a:lnTo>
                  <a:lnTo>
                    <a:pt x="397" y="471"/>
                  </a:lnTo>
                  <a:lnTo>
                    <a:pt x="397" y="472"/>
                  </a:lnTo>
                  <a:lnTo>
                    <a:pt x="396" y="473"/>
                  </a:lnTo>
                  <a:lnTo>
                    <a:pt x="395" y="473"/>
                  </a:lnTo>
                  <a:lnTo>
                    <a:pt x="395" y="474"/>
                  </a:lnTo>
                  <a:lnTo>
                    <a:pt x="394" y="474"/>
                  </a:lnTo>
                  <a:lnTo>
                    <a:pt x="394" y="475"/>
                  </a:lnTo>
                  <a:lnTo>
                    <a:pt x="394" y="475"/>
                  </a:lnTo>
                  <a:lnTo>
                    <a:pt x="394" y="477"/>
                  </a:lnTo>
                  <a:lnTo>
                    <a:pt x="394" y="478"/>
                  </a:lnTo>
                  <a:lnTo>
                    <a:pt x="394" y="479"/>
                  </a:lnTo>
                  <a:lnTo>
                    <a:pt x="393" y="481"/>
                  </a:lnTo>
                  <a:lnTo>
                    <a:pt x="393" y="482"/>
                  </a:lnTo>
                  <a:lnTo>
                    <a:pt x="393" y="484"/>
                  </a:lnTo>
                  <a:lnTo>
                    <a:pt x="393" y="484"/>
                  </a:lnTo>
                  <a:lnTo>
                    <a:pt x="393" y="485"/>
                  </a:lnTo>
                  <a:lnTo>
                    <a:pt x="394" y="487"/>
                  </a:lnTo>
                  <a:lnTo>
                    <a:pt x="394" y="489"/>
                  </a:lnTo>
                  <a:lnTo>
                    <a:pt x="395" y="491"/>
                  </a:lnTo>
                  <a:lnTo>
                    <a:pt x="395" y="492"/>
                  </a:lnTo>
                  <a:lnTo>
                    <a:pt x="395" y="492"/>
                  </a:lnTo>
                  <a:lnTo>
                    <a:pt x="395" y="493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3" y="495"/>
                  </a:lnTo>
                  <a:lnTo>
                    <a:pt x="393" y="495"/>
                  </a:lnTo>
                  <a:lnTo>
                    <a:pt x="391" y="496"/>
                  </a:lnTo>
                  <a:lnTo>
                    <a:pt x="390" y="496"/>
                  </a:lnTo>
                  <a:lnTo>
                    <a:pt x="389" y="497"/>
                  </a:lnTo>
                  <a:lnTo>
                    <a:pt x="386" y="498"/>
                  </a:lnTo>
                  <a:lnTo>
                    <a:pt x="385" y="498"/>
                  </a:lnTo>
                  <a:lnTo>
                    <a:pt x="384" y="498"/>
                  </a:lnTo>
                  <a:lnTo>
                    <a:pt x="383" y="499"/>
                  </a:lnTo>
                  <a:lnTo>
                    <a:pt x="381" y="500"/>
                  </a:lnTo>
                  <a:lnTo>
                    <a:pt x="379" y="502"/>
                  </a:lnTo>
                  <a:lnTo>
                    <a:pt x="376" y="504"/>
                  </a:lnTo>
                  <a:lnTo>
                    <a:pt x="375" y="505"/>
                  </a:lnTo>
                  <a:lnTo>
                    <a:pt x="374" y="507"/>
                  </a:lnTo>
                  <a:lnTo>
                    <a:pt x="373" y="508"/>
                  </a:lnTo>
                  <a:lnTo>
                    <a:pt x="372" y="509"/>
                  </a:lnTo>
                  <a:lnTo>
                    <a:pt x="371" y="511"/>
                  </a:lnTo>
                  <a:lnTo>
                    <a:pt x="370" y="511"/>
                  </a:lnTo>
                  <a:lnTo>
                    <a:pt x="370" y="512"/>
                  </a:lnTo>
                  <a:lnTo>
                    <a:pt x="369" y="512"/>
                  </a:lnTo>
                  <a:lnTo>
                    <a:pt x="369" y="512"/>
                  </a:lnTo>
                  <a:lnTo>
                    <a:pt x="369" y="512"/>
                  </a:lnTo>
                  <a:lnTo>
                    <a:pt x="368" y="512"/>
                  </a:lnTo>
                  <a:lnTo>
                    <a:pt x="368" y="512"/>
                  </a:lnTo>
                  <a:lnTo>
                    <a:pt x="368" y="512"/>
                  </a:lnTo>
                  <a:lnTo>
                    <a:pt x="367" y="512"/>
                  </a:lnTo>
                  <a:lnTo>
                    <a:pt x="367" y="512"/>
                  </a:lnTo>
                  <a:lnTo>
                    <a:pt x="365" y="510"/>
                  </a:lnTo>
                  <a:lnTo>
                    <a:pt x="364" y="510"/>
                  </a:lnTo>
                  <a:lnTo>
                    <a:pt x="363" y="509"/>
                  </a:lnTo>
                  <a:lnTo>
                    <a:pt x="361" y="509"/>
                  </a:lnTo>
                  <a:lnTo>
                    <a:pt x="360" y="508"/>
                  </a:lnTo>
                  <a:lnTo>
                    <a:pt x="358" y="508"/>
                  </a:lnTo>
                  <a:lnTo>
                    <a:pt x="357" y="508"/>
                  </a:lnTo>
                  <a:lnTo>
                    <a:pt x="355" y="507"/>
                  </a:lnTo>
                  <a:lnTo>
                    <a:pt x="353" y="507"/>
                  </a:lnTo>
                  <a:lnTo>
                    <a:pt x="353" y="507"/>
                  </a:lnTo>
                  <a:lnTo>
                    <a:pt x="352" y="507"/>
                  </a:lnTo>
                  <a:lnTo>
                    <a:pt x="352" y="506"/>
                  </a:lnTo>
                  <a:lnTo>
                    <a:pt x="351" y="506"/>
                  </a:lnTo>
                  <a:lnTo>
                    <a:pt x="351" y="506"/>
                  </a:lnTo>
                  <a:lnTo>
                    <a:pt x="350" y="505"/>
                  </a:lnTo>
                  <a:lnTo>
                    <a:pt x="350" y="505"/>
                  </a:lnTo>
                  <a:lnTo>
                    <a:pt x="350" y="505"/>
                  </a:lnTo>
                  <a:lnTo>
                    <a:pt x="350" y="504"/>
                  </a:lnTo>
                  <a:lnTo>
                    <a:pt x="350" y="504"/>
                  </a:lnTo>
                  <a:lnTo>
                    <a:pt x="351" y="501"/>
                  </a:lnTo>
                  <a:lnTo>
                    <a:pt x="351" y="500"/>
                  </a:lnTo>
                  <a:lnTo>
                    <a:pt x="351" y="500"/>
                  </a:lnTo>
                  <a:lnTo>
                    <a:pt x="351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48" y="500"/>
                  </a:lnTo>
                  <a:lnTo>
                    <a:pt x="346" y="500"/>
                  </a:lnTo>
                  <a:lnTo>
                    <a:pt x="345" y="500"/>
                  </a:lnTo>
                  <a:lnTo>
                    <a:pt x="343" y="501"/>
                  </a:lnTo>
                  <a:lnTo>
                    <a:pt x="342" y="501"/>
                  </a:lnTo>
                  <a:lnTo>
                    <a:pt x="341" y="501"/>
                  </a:lnTo>
                  <a:lnTo>
                    <a:pt x="339" y="501"/>
                  </a:lnTo>
                  <a:lnTo>
                    <a:pt x="338" y="501"/>
                  </a:lnTo>
                  <a:lnTo>
                    <a:pt x="334" y="500"/>
                  </a:lnTo>
                  <a:lnTo>
                    <a:pt x="332" y="500"/>
                  </a:lnTo>
                  <a:lnTo>
                    <a:pt x="331" y="500"/>
                  </a:lnTo>
                  <a:lnTo>
                    <a:pt x="330" y="499"/>
                  </a:lnTo>
                  <a:lnTo>
                    <a:pt x="329" y="499"/>
                  </a:lnTo>
                  <a:lnTo>
                    <a:pt x="327" y="498"/>
                  </a:lnTo>
                  <a:lnTo>
                    <a:pt x="327" y="498"/>
                  </a:lnTo>
                  <a:lnTo>
                    <a:pt x="326" y="498"/>
                  </a:lnTo>
                  <a:lnTo>
                    <a:pt x="325" y="498"/>
                  </a:lnTo>
                  <a:lnTo>
                    <a:pt x="324" y="497"/>
                  </a:lnTo>
                  <a:lnTo>
                    <a:pt x="322" y="497"/>
                  </a:lnTo>
                  <a:lnTo>
                    <a:pt x="321" y="497"/>
                  </a:lnTo>
                  <a:lnTo>
                    <a:pt x="320" y="497"/>
                  </a:lnTo>
                  <a:lnTo>
                    <a:pt x="320" y="497"/>
                  </a:lnTo>
                  <a:lnTo>
                    <a:pt x="319" y="498"/>
                  </a:lnTo>
                  <a:lnTo>
                    <a:pt x="318" y="498"/>
                  </a:lnTo>
                  <a:lnTo>
                    <a:pt x="317" y="499"/>
                  </a:lnTo>
                  <a:lnTo>
                    <a:pt x="316" y="500"/>
                  </a:lnTo>
                  <a:lnTo>
                    <a:pt x="315" y="500"/>
                  </a:lnTo>
                  <a:lnTo>
                    <a:pt x="315" y="500"/>
                  </a:lnTo>
                  <a:lnTo>
                    <a:pt x="314" y="500"/>
                  </a:lnTo>
                  <a:lnTo>
                    <a:pt x="314" y="500"/>
                  </a:lnTo>
                  <a:lnTo>
                    <a:pt x="313" y="500"/>
                  </a:lnTo>
                  <a:lnTo>
                    <a:pt x="312" y="499"/>
                  </a:lnTo>
                  <a:lnTo>
                    <a:pt x="311" y="499"/>
                  </a:lnTo>
                  <a:lnTo>
                    <a:pt x="308" y="496"/>
                  </a:lnTo>
                  <a:lnTo>
                    <a:pt x="307" y="496"/>
                  </a:lnTo>
                  <a:lnTo>
                    <a:pt x="306" y="495"/>
                  </a:lnTo>
                  <a:lnTo>
                    <a:pt x="304" y="495"/>
                  </a:lnTo>
                  <a:lnTo>
                    <a:pt x="303" y="494"/>
                  </a:lnTo>
                  <a:lnTo>
                    <a:pt x="302" y="494"/>
                  </a:lnTo>
                  <a:lnTo>
                    <a:pt x="300" y="492"/>
                  </a:lnTo>
                  <a:lnTo>
                    <a:pt x="299" y="492"/>
                  </a:lnTo>
                  <a:lnTo>
                    <a:pt x="298" y="492"/>
                  </a:lnTo>
                  <a:lnTo>
                    <a:pt x="298" y="492"/>
                  </a:lnTo>
                  <a:lnTo>
                    <a:pt x="297" y="492"/>
                  </a:lnTo>
                  <a:lnTo>
                    <a:pt x="297" y="492"/>
                  </a:lnTo>
                  <a:lnTo>
                    <a:pt x="297" y="493"/>
                  </a:lnTo>
                  <a:lnTo>
                    <a:pt x="297" y="493"/>
                  </a:lnTo>
                  <a:lnTo>
                    <a:pt x="297" y="493"/>
                  </a:lnTo>
                  <a:lnTo>
                    <a:pt x="297" y="494"/>
                  </a:lnTo>
                  <a:lnTo>
                    <a:pt x="297" y="496"/>
                  </a:lnTo>
                  <a:lnTo>
                    <a:pt x="297" y="497"/>
                  </a:lnTo>
                  <a:lnTo>
                    <a:pt x="297" y="497"/>
                  </a:lnTo>
                  <a:lnTo>
                    <a:pt x="297" y="498"/>
                  </a:lnTo>
                  <a:lnTo>
                    <a:pt x="297" y="498"/>
                  </a:lnTo>
                  <a:lnTo>
                    <a:pt x="296" y="498"/>
                  </a:lnTo>
                  <a:lnTo>
                    <a:pt x="296" y="498"/>
                  </a:lnTo>
                  <a:lnTo>
                    <a:pt x="296" y="498"/>
                  </a:lnTo>
                  <a:lnTo>
                    <a:pt x="294" y="498"/>
                  </a:lnTo>
                  <a:lnTo>
                    <a:pt x="293" y="498"/>
                  </a:lnTo>
                  <a:lnTo>
                    <a:pt x="292" y="498"/>
                  </a:lnTo>
                  <a:lnTo>
                    <a:pt x="291" y="498"/>
                  </a:lnTo>
                  <a:lnTo>
                    <a:pt x="290" y="499"/>
                  </a:lnTo>
                  <a:lnTo>
                    <a:pt x="289" y="499"/>
                  </a:lnTo>
                  <a:lnTo>
                    <a:pt x="288" y="500"/>
                  </a:lnTo>
                  <a:lnTo>
                    <a:pt x="285" y="502"/>
                  </a:lnTo>
                  <a:lnTo>
                    <a:pt x="285" y="502"/>
                  </a:lnTo>
                  <a:lnTo>
                    <a:pt x="284" y="502"/>
                  </a:lnTo>
                  <a:lnTo>
                    <a:pt x="284" y="503"/>
                  </a:lnTo>
                  <a:lnTo>
                    <a:pt x="282" y="503"/>
                  </a:lnTo>
                  <a:lnTo>
                    <a:pt x="281" y="503"/>
                  </a:lnTo>
                  <a:lnTo>
                    <a:pt x="280" y="503"/>
                  </a:lnTo>
                  <a:lnTo>
                    <a:pt x="279" y="503"/>
                  </a:lnTo>
                  <a:lnTo>
                    <a:pt x="277" y="503"/>
                  </a:lnTo>
                  <a:lnTo>
                    <a:pt x="276" y="503"/>
                  </a:lnTo>
                  <a:lnTo>
                    <a:pt x="275" y="502"/>
                  </a:lnTo>
                  <a:lnTo>
                    <a:pt x="275" y="502"/>
                  </a:lnTo>
                  <a:lnTo>
                    <a:pt x="275" y="502"/>
                  </a:lnTo>
                  <a:lnTo>
                    <a:pt x="274" y="502"/>
                  </a:lnTo>
                  <a:lnTo>
                    <a:pt x="274" y="501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3" y="498"/>
                  </a:lnTo>
                  <a:lnTo>
                    <a:pt x="272" y="497"/>
                  </a:lnTo>
                  <a:lnTo>
                    <a:pt x="271" y="497"/>
                  </a:lnTo>
                  <a:lnTo>
                    <a:pt x="270" y="496"/>
                  </a:lnTo>
                  <a:lnTo>
                    <a:pt x="270" y="496"/>
                  </a:lnTo>
                  <a:lnTo>
                    <a:pt x="268" y="495"/>
                  </a:lnTo>
                  <a:lnTo>
                    <a:pt x="267" y="494"/>
                  </a:lnTo>
                  <a:lnTo>
                    <a:pt x="265" y="494"/>
                  </a:lnTo>
                  <a:lnTo>
                    <a:pt x="265" y="494"/>
                  </a:lnTo>
                  <a:lnTo>
                    <a:pt x="264" y="493"/>
                  </a:lnTo>
                  <a:lnTo>
                    <a:pt x="264" y="493"/>
                  </a:lnTo>
                  <a:lnTo>
                    <a:pt x="263" y="492"/>
                  </a:lnTo>
                  <a:lnTo>
                    <a:pt x="263" y="492"/>
                  </a:lnTo>
                  <a:lnTo>
                    <a:pt x="262" y="490"/>
                  </a:lnTo>
                  <a:lnTo>
                    <a:pt x="261" y="489"/>
                  </a:lnTo>
                  <a:lnTo>
                    <a:pt x="260" y="489"/>
                  </a:lnTo>
                  <a:lnTo>
                    <a:pt x="259" y="488"/>
                  </a:lnTo>
                  <a:lnTo>
                    <a:pt x="258" y="487"/>
                  </a:lnTo>
                  <a:lnTo>
                    <a:pt x="257" y="487"/>
                  </a:lnTo>
                  <a:lnTo>
                    <a:pt x="255" y="486"/>
                  </a:lnTo>
                  <a:lnTo>
                    <a:pt x="254" y="486"/>
                  </a:lnTo>
                  <a:lnTo>
                    <a:pt x="254" y="486"/>
                  </a:lnTo>
                  <a:lnTo>
                    <a:pt x="253" y="486"/>
                  </a:lnTo>
                  <a:lnTo>
                    <a:pt x="252" y="486"/>
                  </a:lnTo>
                  <a:lnTo>
                    <a:pt x="251" y="486"/>
                  </a:lnTo>
                  <a:lnTo>
                    <a:pt x="249" y="487"/>
                  </a:lnTo>
                  <a:lnTo>
                    <a:pt x="246" y="488"/>
                  </a:lnTo>
                  <a:lnTo>
                    <a:pt x="245" y="488"/>
                  </a:lnTo>
                  <a:lnTo>
                    <a:pt x="244" y="488"/>
                  </a:lnTo>
                  <a:lnTo>
                    <a:pt x="244" y="489"/>
                  </a:lnTo>
                  <a:lnTo>
                    <a:pt x="243" y="490"/>
                  </a:lnTo>
                  <a:lnTo>
                    <a:pt x="243" y="490"/>
                  </a:lnTo>
                  <a:lnTo>
                    <a:pt x="242" y="492"/>
                  </a:lnTo>
                  <a:lnTo>
                    <a:pt x="241" y="494"/>
                  </a:lnTo>
                  <a:lnTo>
                    <a:pt x="240" y="495"/>
                  </a:lnTo>
                  <a:lnTo>
                    <a:pt x="239" y="496"/>
                  </a:lnTo>
                  <a:lnTo>
                    <a:pt x="239" y="498"/>
                  </a:lnTo>
                  <a:lnTo>
                    <a:pt x="238" y="499"/>
                  </a:lnTo>
                  <a:lnTo>
                    <a:pt x="238" y="499"/>
                  </a:lnTo>
                  <a:lnTo>
                    <a:pt x="237" y="499"/>
                  </a:lnTo>
                  <a:lnTo>
                    <a:pt x="237" y="499"/>
                  </a:lnTo>
                  <a:lnTo>
                    <a:pt x="236" y="499"/>
                  </a:lnTo>
                  <a:lnTo>
                    <a:pt x="236" y="499"/>
                  </a:lnTo>
                  <a:lnTo>
                    <a:pt x="234" y="499"/>
                  </a:lnTo>
                  <a:lnTo>
                    <a:pt x="233" y="499"/>
                  </a:lnTo>
                  <a:lnTo>
                    <a:pt x="231" y="499"/>
                  </a:lnTo>
                  <a:lnTo>
                    <a:pt x="228" y="500"/>
                  </a:lnTo>
                  <a:lnTo>
                    <a:pt x="220" y="500"/>
                  </a:lnTo>
                  <a:lnTo>
                    <a:pt x="219" y="500"/>
                  </a:lnTo>
                  <a:lnTo>
                    <a:pt x="215" y="500"/>
                  </a:lnTo>
                  <a:lnTo>
                    <a:pt x="214" y="500"/>
                  </a:lnTo>
                  <a:lnTo>
                    <a:pt x="213" y="500"/>
                  </a:lnTo>
                  <a:lnTo>
                    <a:pt x="211" y="501"/>
                  </a:lnTo>
                  <a:lnTo>
                    <a:pt x="210" y="501"/>
                  </a:lnTo>
                  <a:lnTo>
                    <a:pt x="208" y="501"/>
                  </a:lnTo>
                  <a:lnTo>
                    <a:pt x="206" y="501"/>
                  </a:lnTo>
                  <a:lnTo>
                    <a:pt x="206" y="501"/>
                  </a:lnTo>
                  <a:lnTo>
                    <a:pt x="205" y="501"/>
                  </a:lnTo>
                  <a:lnTo>
                    <a:pt x="204" y="501"/>
                  </a:lnTo>
                  <a:lnTo>
                    <a:pt x="203" y="501"/>
                  </a:lnTo>
                  <a:lnTo>
                    <a:pt x="202" y="502"/>
                  </a:lnTo>
                  <a:lnTo>
                    <a:pt x="200" y="501"/>
                  </a:lnTo>
                  <a:lnTo>
                    <a:pt x="200" y="501"/>
                  </a:lnTo>
                  <a:lnTo>
                    <a:pt x="199" y="501"/>
                  </a:lnTo>
                  <a:lnTo>
                    <a:pt x="198" y="501"/>
                  </a:lnTo>
                  <a:lnTo>
                    <a:pt x="197" y="500"/>
                  </a:lnTo>
                  <a:lnTo>
                    <a:pt x="197" y="500"/>
                  </a:lnTo>
                  <a:lnTo>
                    <a:pt x="196" y="499"/>
                  </a:lnTo>
                  <a:lnTo>
                    <a:pt x="196" y="499"/>
                  </a:lnTo>
                  <a:lnTo>
                    <a:pt x="195" y="498"/>
                  </a:lnTo>
                  <a:lnTo>
                    <a:pt x="195" y="498"/>
                  </a:lnTo>
                  <a:lnTo>
                    <a:pt x="195" y="497"/>
                  </a:lnTo>
                  <a:lnTo>
                    <a:pt x="195" y="496"/>
                  </a:lnTo>
                  <a:lnTo>
                    <a:pt x="195" y="495"/>
                  </a:lnTo>
                  <a:lnTo>
                    <a:pt x="195" y="493"/>
                  </a:lnTo>
                  <a:lnTo>
                    <a:pt x="195" y="489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2" y="487"/>
                  </a:lnTo>
                  <a:lnTo>
                    <a:pt x="190" y="488"/>
                  </a:lnTo>
                  <a:lnTo>
                    <a:pt x="189" y="488"/>
                  </a:lnTo>
                  <a:lnTo>
                    <a:pt x="188" y="489"/>
                  </a:lnTo>
                  <a:lnTo>
                    <a:pt x="185" y="490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80" y="493"/>
                  </a:lnTo>
                  <a:lnTo>
                    <a:pt x="180" y="493"/>
                  </a:lnTo>
                  <a:lnTo>
                    <a:pt x="179" y="494"/>
                  </a:lnTo>
                  <a:lnTo>
                    <a:pt x="179" y="494"/>
                  </a:lnTo>
                  <a:lnTo>
                    <a:pt x="179" y="495"/>
                  </a:lnTo>
                  <a:lnTo>
                    <a:pt x="178" y="497"/>
                  </a:lnTo>
                  <a:lnTo>
                    <a:pt x="177" y="499"/>
                  </a:lnTo>
                  <a:lnTo>
                    <a:pt x="176" y="500"/>
                  </a:lnTo>
                  <a:lnTo>
                    <a:pt x="176" y="501"/>
                  </a:lnTo>
                  <a:lnTo>
                    <a:pt x="175" y="502"/>
                  </a:lnTo>
                  <a:lnTo>
                    <a:pt x="175" y="503"/>
                  </a:lnTo>
                  <a:lnTo>
                    <a:pt x="174" y="503"/>
                  </a:lnTo>
                  <a:lnTo>
                    <a:pt x="174" y="504"/>
                  </a:lnTo>
                  <a:lnTo>
                    <a:pt x="173" y="504"/>
                  </a:lnTo>
                  <a:lnTo>
                    <a:pt x="173" y="504"/>
                  </a:lnTo>
                  <a:lnTo>
                    <a:pt x="171" y="505"/>
                  </a:lnTo>
                  <a:lnTo>
                    <a:pt x="171" y="505"/>
                  </a:lnTo>
                  <a:lnTo>
                    <a:pt x="170" y="505"/>
                  </a:lnTo>
                  <a:lnTo>
                    <a:pt x="168" y="507"/>
                  </a:lnTo>
                  <a:lnTo>
                    <a:pt x="167" y="507"/>
                  </a:lnTo>
                  <a:lnTo>
                    <a:pt x="166" y="508"/>
                  </a:lnTo>
                  <a:lnTo>
                    <a:pt x="166" y="508"/>
                  </a:lnTo>
                  <a:lnTo>
                    <a:pt x="165" y="508"/>
                  </a:lnTo>
                  <a:lnTo>
                    <a:pt x="164" y="508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59" y="509"/>
                  </a:lnTo>
                  <a:lnTo>
                    <a:pt x="158" y="510"/>
                  </a:lnTo>
                  <a:lnTo>
                    <a:pt x="157" y="510"/>
                  </a:lnTo>
                  <a:lnTo>
                    <a:pt x="155" y="511"/>
                  </a:lnTo>
                  <a:lnTo>
                    <a:pt x="155" y="512"/>
                  </a:lnTo>
                  <a:lnTo>
                    <a:pt x="154" y="512"/>
                  </a:lnTo>
                  <a:lnTo>
                    <a:pt x="153" y="513"/>
                  </a:lnTo>
                  <a:lnTo>
                    <a:pt x="152" y="513"/>
                  </a:lnTo>
                  <a:lnTo>
                    <a:pt x="151" y="513"/>
                  </a:lnTo>
                  <a:lnTo>
                    <a:pt x="150" y="513"/>
                  </a:lnTo>
                  <a:lnTo>
                    <a:pt x="149" y="513"/>
                  </a:lnTo>
                  <a:lnTo>
                    <a:pt x="148" y="512"/>
                  </a:lnTo>
                  <a:lnTo>
                    <a:pt x="147" y="512"/>
                  </a:lnTo>
                  <a:lnTo>
                    <a:pt x="147" y="512"/>
                  </a:lnTo>
                  <a:lnTo>
                    <a:pt x="145" y="511"/>
                  </a:lnTo>
                  <a:lnTo>
                    <a:pt x="144" y="511"/>
                  </a:lnTo>
                  <a:lnTo>
                    <a:pt x="144" y="510"/>
                  </a:lnTo>
                  <a:lnTo>
                    <a:pt x="143" y="510"/>
                  </a:lnTo>
                  <a:lnTo>
                    <a:pt x="143" y="509"/>
                  </a:lnTo>
                  <a:lnTo>
                    <a:pt x="142" y="509"/>
                  </a:lnTo>
                  <a:lnTo>
                    <a:pt x="142" y="509"/>
                  </a:lnTo>
                  <a:lnTo>
                    <a:pt x="140" y="508"/>
                  </a:lnTo>
                  <a:lnTo>
                    <a:pt x="140" y="507"/>
                  </a:lnTo>
                  <a:lnTo>
                    <a:pt x="137" y="506"/>
                  </a:lnTo>
                  <a:lnTo>
                    <a:pt x="137" y="505"/>
                  </a:lnTo>
                  <a:lnTo>
                    <a:pt x="136" y="505"/>
                  </a:lnTo>
                  <a:lnTo>
                    <a:pt x="136" y="505"/>
                  </a:lnTo>
                  <a:lnTo>
                    <a:pt x="135" y="505"/>
                  </a:lnTo>
                  <a:lnTo>
                    <a:pt x="134" y="505"/>
                  </a:lnTo>
                  <a:lnTo>
                    <a:pt x="133" y="505"/>
                  </a:lnTo>
                  <a:lnTo>
                    <a:pt x="132" y="505"/>
                  </a:lnTo>
                  <a:lnTo>
                    <a:pt x="130" y="507"/>
                  </a:lnTo>
                  <a:lnTo>
                    <a:pt x="129" y="507"/>
                  </a:lnTo>
                  <a:lnTo>
                    <a:pt x="128" y="507"/>
                  </a:lnTo>
                  <a:lnTo>
                    <a:pt x="128" y="508"/>
                  </a:lnTo>
                  <a:lnTo>
                    <a:pt x="127" y="508"/>
                  </a:lnTo>
                  <a:lnTo>
                    <a:pt x="127" y="508"/>
                  </a:lnTo>
                  <a:lnTo>
                    <a:pt x="126" y="507"/>
                  </a:lnTo>
                  <a:lnTo>
                    <a:pt x="125" y="507"/>
                  </a:lnTo>
                  <a:lnTo>
                    <a:pt x="125" y="507"/>
                  </a:lnTo>
                  <a:lnTo>
                    <a:pt x="124" y="507"/>
                  </a:lnTo>
                  <a:lnTo>
                    <a:pt x="122" y="505"/>
                  </a:lnTo>
                  <a:lnTo>
                    <a:pt x="122" y="504"/>
                  </a:lnTo>
                  <a:lnTo>
                    <a:pt x="121" y="504"/>
                  </a:lnTo>
                  <a:lnTo>
                    <a:pt x="121" y="504"/>
                  </a:lnTo>
                  <a:lnTo>
                    <a:pt x="120" y="504"/>
                  </a:lnTo>
                  <a:lnTo>
                    <a:pt x="120" y="504"/>
                  </a:lnTo>
                  <a:lnTo>
                    <a:pt x="119" y="504"/>
                  </a:lnTo>
                  <a:lnTo>
                    <a:pt x="119" y="504"/>
                  </a:lnTo>
                  <a:lnTo>
                    <a:pt x="117" y="505"/>
                  </a:lnTo>
                  <a:lnTo>
                    <a:pt x="115" y="506"/>
                  </a:lnTo>
                  <a:lnTo>
                    <a:pt x="112" y="507"/>
                  </a:lnTo>
                  <a:lnTo>
                    <a:pt x="109" y="508"/>
                  </a:lnTo>
                  <a:lnTo>
                    <a:pt x="108" y="508"/>
                  </a:lnTo>
                  <a:lnTo>
                    <a:pt x="106" y="508"/>
                  </a:lnTo>
                  <a:lnTo>
                    <a:pt x="105" y="508"/>
                  </a:lnTo>
                  <a:lnTo>
                    <a:pt x="105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7"/>
                  </a:lnTo>
                  <a:lnTo>
                    <a:pt x="104" y="506"/>
                  </a:lnTo>
                  <a:lnTo>
                    <a:pt x="104" y="505"/>
                  </a:lnTo>
                  <a:lnTo>
                    <a:pt x="104" y="503"/>
                  </a:lnTo>
                  <a:lnTo>
                    <a:pt x="104" y="502"/>
                  </a:lnTo>
                  <a:lnTo>
                    <a:pt x="104" y="501"/>
                  </a:lnTo>
                  <a:lnTo>
                    <a:pt x="104" y="500"/>
                  </a:lnTo>
                  <a:lnTo>
                    <a:pt x="104" y="499"/>
                  </a:lnTo>
                  <a:lnTo>
                    <a:pt x="103" y="497"/>
                  </a:lnTo>
                  <a:lnTo>
                    <a:pt x="103" y="496"/>
                  </a:lnTo>
                  <a:lnTo>
                    <a:pt x="103" y="495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1" y="493"/>
                  </a:lnTo>
                  <a:lnTo>
                    <a:pt x="100" y="492"/>
                  </a:lnTo>
                  <a:lnTo>
                    <a:pt x="99" y="492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7" y="490"/>
                  </a:lnTo>
                  <a:lnTo>
                    <a:pt x="97" y="490"/>
                  </a:lnTo>
                  <a:lnTo>
                    <a:pt x="97" y="489"/>
                  </a:lnTo>
                  <a:lnTo>
                    <a:pt x="97" y="489"/>
                  </a:lnTo>
                  <a:lnTo>
                    <a:pt x="97" y="485"/>
                  </a:lnTo>
                  <a:lnTo>
                    <a:pt x="97" y="484"/>
                  </a:lnTo>
                  <a:lnTo>
                    <a:pt x="97" y="481"/>
                  </a:lnTo>
                  <a:lnTo>
                    <a:pt x="98" y="478"/>
                  </a:lnTo>
                  <a:lnTo>
                    <a:pt x="98" y="476"/>
                  </a:lnTo>
                  <a:lnTo>
                    <a:pt x="98" y="474"/>
                  </a:lnTo>
                  <a:lnTo>
                    <a:pt x="99" y="471"/>
                  </a:lnTo>
                  <a:lnTo>
                    <a:pt x="99" y="469"/>
                  </a:lnTo>
                  <a:lnTo>
                    <a:pt x="99" y="468"/>
                  </a:lnTo>
                  <a:lnTo>
                    <a:pt x="99" y="466"/>
                  </a:lnTo>
                  <a:lnTo>
                    <a:pt x="99" y="464"/>
                  </a:lnTo>
                  <a:lnTo>
                    <a:pt x="99" y="462"/>
                  </a:lnTo>
                  <a:lnTo>
                    <a:pt x="99" y="461"/>
                  </a:lnTo>
                  <a:lnTo>
                    <a:pt x="99" y="460"/>
                  </a:lnTo>
                  <a:lnTo>
                    <a:pt x="99" y="460"/>
                  </a:lnTo>
                  <a:lnTo>
                    <a:pt x="98" y="459"/>
                  </a:lnTo>
                  <a:lnTo>
                    <a:pt x="98" y="459"/>
                  </a:lnTo>
                  <a:lnTo>
                    <a:pt x="98" y="458"/>
                  </a:lnTo>
                  <a:lnTo>
                    <a:pt x="97" y="458"/>
                  </a:lnTo>
                  <a:lnTo>
                    <a:pt x="96" y="457"/>
                  </a:lnTo>
                  <a:lnTo>
                    <a:pt x="95" y="457"/>
                  </a:lnTo>
                  <a:lnTo>
                    <a:pt x="94" y="456"/>
                  </a:lnTo>
                  <a:lnTo>
                    <a:pt x="93" y="456"/>
                  </a:lnTo>
                  <a:lnTo>
                    <a:pt x="92" y="456"/>
                  </a:lnTo>
                  <a:lnTo>
                    <a:pt x="91" y="456"/>
                  </a:lnTo>
                  <a:lnTo>
                    <a:pt x="89" y="456"/>
                  </a:lnTo>
                  <a:lnTo>
                    <a:pt x="88" y="456"/>
                  </a:lnTo>
                  <a:lnTo>
                    <a:pt x="87" y="456"/>
                  </a:lnTo>
                  <a:lnTo>
                    <a:pt x="87" y="456"/>
                  </a:lnTo>
                  <a:lnTo>
                    <a:pt x="87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4"/>
                  </a:lnTo>
                  <a:lnTo>
                    <a:pt x="86" y="453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1"/>
                  </a:lnTo>
                  <a:lnTo>
                    <a:pt x="86" y="451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49"/>
                  </a:lnTo>
                  <a:lnTo>
                    <a:pt x="82" y="449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7"/>
                  </a:lnTo>
                  <a:lnTo>
                    <a:pt x="84" y="447"/>
                  </a:lnTo>
                  <a:lnTo>
                    <a:pt x="85" y="447"/>
                  </a:lnTo>
                  <a:lnTo>
                    <a:pt x="86" y="447"/>
                  </a:lnTo>
                  <a:lnTo>
                    <a:pt x="86" y="447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8" y="445"/>
                  </a:lnTo>
                  <a:lnTo>
                    <a:pt x="88" y="445"/>
                  </a:lnTo>
                  <a:lnTo>
                    <a:pt x="88" y="444"/>
                  </a:lnTo>
                  <a:lnTo>
                    <a:pt x="87" y="443"/>
                  </a:lnTo>
                  <a:lnTo>
                    <a:pt x="87" y="443"/>
                  </a:lnTo>
                  <a:lnTo>
                    <a:pt x="86" y="442"/>
                  </a:lnTo>
                  <a:lnTo>
                    <a:pt x="86" y="441"/>
                  </a:lnTo>
                  <a:lnTo>
                    <a:pt x="84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4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5"/>
                  </a:lnTo>
                  <a:lnTo>
                    <a:pt x="88" y="434"/>
                  </a:lnTo>
                  <a:lnTo>
                    <a:pt x="89" y="433"/>
                  </a:lnTo>
                  <a:lnTo>
                    <a:pt x="90" y="433"/>
                  </a:lnTo>
                  <a:lnTo>
                    <a:pt x="90" y="432"/>
                  </a:lnTo>
                  <a:lnTo>
                    <a:pt x="90" y="432"/>
                  </a:lnTo>
                  <a:lnTo>
                    <a:pt x="91" y="431"/>
                  </a:lnTo>
                  <a:lnTo>
                    <a:pt x="90" y="431"/>
                  </a:lnTo>
                  <a:lnTo>
                    <a:pt x="90" y="431"/>
                  </a:lnTo>
                  <a:lnTo>
                    <a:pt x="90" y="430"/>
                  </a:lnTo>
                  <a:lnTo>
                    <a:pt x="90" y="430"/>
                  </a:lnTo>
                  <a:lnTo>
                    <a:pt x="89" y="430"/>
                  </a:lnTo>
                  <a:lnTo>
                    <a:pt x="89" y="430"/>
                  </a:lnTo>
                  <a:lnTo>
                    <a:pt x="88" y="429"/>
                  </a:lnTo>
                  <a:lnTo>
                    <a:pt x="86" y="429"/>
                  </a:lnTo>
                  <a:lnTo>
                    <a:pt x="85" y="429"/>
                  </a:lnTo>
                  <a:lnTo>
                    <a:pt x="84" y="429"/>
                  </a:lnTo>
                  <a:lnTo>
                    <a:pt x="83" y="429"/>
                  </a:lnTo>
                  <a:lnTo>
                    <a:pt x="81" y="430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8"/>
                  </a:lnTo>
                  <a:lnTo>
                    <a:pt x="78" y="428"/>
                  </a:lnTo>
                  <a:lnTo>
                    <a:pt x="78" y="427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8" y="425"/>
                  </a:lnTo>
                  <a:lnTo>
                    <a:pt x="78" y="424"/>
                  </a:lnTo>
                  <a:lnTo>
                    <a:pt x="79" y="423"/>
                  </a:lnTo>
                  <a:lnTo>
                    <a:pt x="79" y="422"/>
                  </a:lnTo>
                  <a:lnTo>
                    <a:pt x="79" y="421"/>
                  </a:lnTo>
                  <a:lnTo>
                    <a:pt x="80" y="420"/>
                  </a:lnTo>
                  <a:lnTo>
                    <a:pt x="83" y="417"/>
                  </a:lnTo>
                  <a:lnTo>
                    <a:pt x="84" y="415"/>
                  </a:lnTo>
                  <a:lnTo>
                    <a:pt x="84" y="414"/>
                  </a:lnTo>
                  <a:lnTo>
                    <a:pt x="85" y="414"/>
                  </a:lnTo>
                  <a:lnTo>
                    <a:pt x="86" y="413"/>
                  </a:lnTo>
                  <a:lnTo>
                    <a:pt x="87" y="412"/>
                  </a:lnTo>
                  <a:lnTo>
                    <a:pt x="88" y="411"/>
                  </a:lnTo>
                  <a:lnTo>
                    <a:pt x="89" y="411"/>
                  </a:lnTo>
                  <a:lnTo>
                    <a:pt x="90" y="410"/>
                  </a:lnTo>
                  <a:lnTo>
                    <a:pt x="92" y="409"/>
                  </a:lnTo>
                  <a:lnTo>
                    <a:pt x="93" y="409"/>
                  </a:lnTo>
                  <a:lnTo>
                    <a:pt x="94" y="408"/>
                  </a:lnTo>
                  <a:lnTo>
                    <a:pt x="95" y="408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7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101" y="410"/>
                  </a:lnTo>
                  <a:lnTo>
                    <a:pt x="102" y="410"/>
                  </a:lnTo>
                  <a:lnTo>
                    <a:pt x="103" y="411"/>
                  </a:lnTo>
                  <a:lnTo>
                    <a:pt x="103" y="411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7" y="409"/>
                  </a:lnTo>
                  <a:lnTo>
                    <a:pt x="108" y="408"/>
                  </a:lnTo>
                  <a:lnTo>
                    <a:pt x="109" y="406"/>
                  </a:lnTo>
                  <a:lnTo>
                    <a:pt x="110" y="405"/>
                  </a:lnTo>
                  <a:lnTo>
                    <a:pt x="111" y="404"/>
                  </a:lnTo>
                  <a:lnTo>
                    <a:pt x="112" y="403"/>
                  </a:lnTo>
                  <a:lnTo>
                    <a:pt x="115" y="400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17" y="398"/>
                  </a:lnTo>
                  <a:lnTo>
                    <a:pt x="117" y="398"/>
                  </a:lnTo>
                  <a:lnTo>
                    <a:pt x="118" y="397"/>
                  </a:lnTo>
                  <a:lnTo>
                    <a:pt x="118" y="397"/>
                  </a:lnTo>
                  <a:lnTo>
                    <a:pt x="118" y="396"/>
                  </a:lnTo>
                  <a:lnTo>
                    <a:pt x="118" y="395"/>
                  </a:lnTo>
                  <a:lnTo>
                    <a:pt x="117" y="395"/>
                  </a:lnTo>
                  <a:lnTo>
                    <a:pt x="117" y="394"/>
                  </a:lnTo>
                  <a:lnTo>
                    <a:pt x="116" y="394"/>
                  </a:lnTo>
                  <a:lnTo>
                    <a:pt x="116" y="393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3" y="392"/>
                  </a:lnTo>
                  <a:lnTo>
                    <a:pt x="113" y="391"/>
                  </a:lnTo>
                  <a:lnTo>
                    <a:pt x="113" y="390"/>
                  </a:lnTo>
                  <a:lnTo>
                    <a:pt x="114" y="388"/>
                  </a:lnTo>
                  <a:lnTo>
                    <a:pt x="114" y="387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5" y="384"/>
                  </a:lnTo>
                  <a:lnTo>
                    <a:pt x="115" y="383"/>
                  </a:lnTo>
                  <a:lnTo>
                    <a:pt x="115" y="380"/>
                  </a:lnTo>
                  <a:lnTo>
                    <a:pt x="115" y="379"/>
                  </a:lnTo>
                  <a:lnTo>
                    <a:pt x="115" y="378"/>
                  </a:lnTo>
                  <a:lnTo>
                    <a:pt x="115" y="377"/>
                  </a:lnTo>
                  <a:lnTo>
                    <a:pt x="115" y="376"/>
                  </a:lnTo>
                  <a:lnTo>
                    <a:pt x="115" y="376"/>
                  </a:lnTo>
                  <a:lnTo>
                    <a:pt x="116" y="373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7" y="369"/>
                  </a:lnTo>
                  <a:lnTo>
                    <a:pt x="117" y="368"/>
                  </a:lnTo>
                  <a:lnTo>
                    <a:pt x="117" y="367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7" y="361"/>
                  </a:lnTo>
                  <a:lnTo>
                    <a:pt x="118" y="356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9" y="351"/>
                  </a:lnTo>
                  <a:lnTo>
                    <a:pt x="120" y="349"/>
                  </a:lnTo>
                  <a:lnTo>
                    <a:pt x="120" y="348"/>
                  </a:lnTo>
                  <a:lnTo>
                    <a:pt x="121" y="347"/>
                  </a:lnTo>
                  <a:lnTo>
                    <a:pt x="121" y="346"/>
                  </a:lnTo>
                  <a:lnTo>
                    <a:pt x="122" y="346"/>
                  </a:lnTo>
                  <a:lnTo>
                    <a:pt x="122" y="345"/>
                  </a:lnTo>
                  <a:lnTo>
                    <a:pt x="124" y="344"/>
                  </a:lnTo>
                  <a:lnTo>
                    <a:pt x="124" y="343"/>
                  </a:lnTo>
                  <a:lnTo>
                    <a:pt x="125" y="343"/>
                  </a:lnTo>
                  <a:lnTo>
                    <a:pt x="125" y="342"/>
                  </a:lnTo>
                  <a:lnTo>
                    <a:pt x="125" y="341"/>
                  </a:lnTo>
                  <a:lnTo>
                    <a:pt x="125" y="341"/>
                  </a:lnTo>
                  <a:lnTo>
                    <a:pt x="125" y="340"/>
                  </a:lnTo>
                  <a:lnTo>
                    <a:pt x="125" y="339"/>
                  </a:lnTo>
                  <a:lnTo>
                    <a:pt x="125" y="335"/>
                  </a:lnTo>
                  <a:lnTo>
                    <a:pt x="125" y="333"/>
                  </a:lnTo>
                  <a:lnTo>
                    <a:pt x="125" y="329"/>
                  </a:lnTo>
                  <a:lnTo>
                    <a:pt x="124" y="326"/>
                  </a:lnTo>
                  <a:lnTo>
                    <a:pt x="124" y="324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8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7"/>
                  </a:lnTo>
                  <a:lnTo>
                    <a:pt x="122" y="317"/>
                  </a:lnTo>
                  <a:lnTo>
                    <a:pt x="116" y="313"/>
                  </a:lnTo>
                  <a:lnTo>
                    <a:pt x="113" y="312"/>
                  </a:lnTo>
                  <a:lnTo>
                    <a:pt x="112" y="311"/>
                  </a:lnTo>
                  <a:lnTo>
                    <a:pt x="110" y="311"/>
                  </a:lnTo>
                  <a:lnTo>
                    <a:pt x="107" y="310"/>
                  </a:lnTo>
                  <a:lnTo>
                    <a:pt x="104" y="309"/>
                  </a:lnTo>
                  <a:lnTo>
                    <a:pt x="104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2" y="308"/>
                  </a:lnTo>
                  <a:lnTo>
                    <a:pt x="102" y="307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1" y="303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0" y="301"/>
                  </a:lnTo>
                  <a:lnTo>
                    <a:pt x="100" y="301"/>
                  </a:lnTo>
                  <a:lnTo>
                    <a:pt x="99" y="300"/>
                  </a:lnTo>
                  <a:lnTo>
                    <a:pt x="98" y="300"/>
                  </a:lnTo>
                  <a:lnTo>
                    <a:pt x="98" y="299"/>
                  </a:lnTo>
                  <a:lnTo>
                    <a:pt x="97" y="299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2" y="298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6"/>
                  </a:lnTo>
                  <a:lnTo>
                    <a:pt x="85" y="294"/>
                  </a:lnTo>
                  <a:lnTo>
                    <a:pt x="83" y="292"/>
                  </a:lnTo>
                  <a:lnTo>
                    <a:pt x="82" y="291"/>
                  </a:lnTo>
                  <a:lnTo>
                    <a:pt x="80" y="289"/>
                  </a:lnTo>
                  <a:lnTo>
                    <a:pt x="78" y="286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0" y="283"/>
                  </a:lnTo>
                  <a:lnTo>
                    <a:pt x="69" y="283"/>
                  </a:lnTo>
                  <a:lnTo>
                    <a:pt x="68" y="283"/>
                  </a:lnTo>
                  <a:lnTo>
                    <a:pt x="65" y="284"/>
                  </a:lnTo>
                  <a:lnTo>
                    <a:pt x="64" y="284"/>
                  </a:lnTo>
                  <a:lnTo>
                    <a:pt x="63" y="285"/>
                  </a:lnTo>
                  <a:lnTo>
                    <a:pt x="61" y="285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7" y="285"/>
                  </a:lnTo>
                  <a:lnTo>
                    <a:pt x="56" y="285"/>
                  </a:lnTo>
                  <a:lnTo>
                    <a:pt x="55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1" y="284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48" y="282"/>
                  </a:lnTo>
                  <a:lnTo>
                    <a:pt x="47" y="281"/>
                  </a:lnTo>
                  <a:lnTo>
                    <a:pt x="44" y="279"/>
                  </a:lnTo>
                  <a:lnTo>
                    <a:pt x="42" y="277"/>
                  </a:lnTo>
                  <a:lnTo>
                    <a:pt x="40" y="276"/>
                  </a:lnTo>
                  <a:lnTo>
                    <a:pt x="37" y="275"/>
                  </a:lnTo>
                  <a:lnTo>
                    <a:pt x="36" y="274"/>
                  </a:lnTo>
                  <a:lnTo>
                    <a:pt x="35" y="273"/>
                  </a:lnTo>
                  <a:lnTo>
                    <a:pt x="34" y="273"/>
                  </a:lnTo>
                  <a:lnTo>
                    <a:pt x="33" y="272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2" y="271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6" y="267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5" y="265"/>
                  </a:lnTo>
                  <a:lnTo>
                    <a:pt x="34" y="264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0" y="263"/>
                  </a:lnTo>
                  <a:lnTo>
                    <a:pt x="19" y="263"/>
                  </a:lnTo>
                  <a:lnTo>
                    <a:pt x="17" y="263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4" y="264"/>
                  </a:lnTo>
                  <a:lnTo>
                    <a:pt x="12" y="264"/>
                  </a:lnTo>
                  <a:lnTo>
                    <a:pt x="10" y="265"/>
                  </a:lnTo>
                  <a:lnTo>
                    <a:pt x="9" y="266"/>
                  </a:lnTo>
                  <a:lnTo>
                    <a:pt x="8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5"/>
                  </a:lnTo>
                  <a:lnTo>
                    <a:pt x="2" y="265"/>
                  </a:lnTo>
                  <a:lnTo>
                    <a:pt x="1" y="265"/>
                  </a:lnTo>
                  <a:lnTo>
                    <a:pt x="1" y="265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1" y="260"/>
                  </a:lnTo>
                  <a:lnTo>
                    <a:pt x="1" y="259"/>
                  </a:lnTo>
                  <a:lnTo>
                    <a:pt x="2" y="257"/>
                  </a:lnTo>
                  <a:lnTo>
                    <a:pt x="3" y="255"/>
                  </a:lnTo>
                  <a:lnTo>
                    <a:pt x="4" y="254"/>
                  </a:lnTo>
                  <a:lnTo>
                    <a:pt x="5" y="252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0"/>
                  </a:lnTo>
                  <a:lnTo>
                    <a:pt x="6" y="249"/>
                  </a:lnTo>
                  <a:lnTo>
                    <a:pt x="6" y="248"/>
                  </a:lnTo>
                  <a:lnTo>
                    <a:pt x="6" y="247"/>
                  </a:lnTo>
                  <a:lnTo>
                    <a:pt x="6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4" y="243"/>
                  </a:lnTo>
                  <a:lnTo>
                    <a:pt x="3" y="242"/>
                  </a:lnTo>
                  <a:lnTo>
                    <a:pt x="2" y="241"/>
                  </a:lnTo>
                  <a:lnTo>
                    <a:pt x="2" y="240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8"/>
                  </a:lnTo>
                  <a:lnTo>
                    <a:pt x="2" y="237"/>
                  </a:lnTo>
                  <a:lnTo>
                    <a:pt x="3" y="237"/>
                  </a:lnTo>
                  <a:lnTo>
                    <a:pt x="4" y="236"/>
                  </a:lnTo>
                  <a:lnTo>
                    <a:pt x="5" y="235"/>
                  </a:lnTo>
                  <a:lnTo>
                    <a:pt x="6" y="234"/>
                  </a:lnTo>
                  <a:lnTo>
                    <a:pt x="7" y="233"/>
                  </a:lnTo>
                  <a:lnTo>
                    <a:pt x="8" y="233"/>
                  </a:lnTo>
                  <a:lnTo>
                    <a:pt x="9" y="232"/>
                  </a:lnTo>
                  <a:lnTo>
                    <a:pt x="10" y="232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3" y="231"/>
                  </a:lnTo>
                  <a:lnTo>
                    <a:pt x="14" y="231"/>
                  </a:lnTo>
                  <a:lnTo>
                    <a:pt x="15" y="231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7" y="231"/>
                  </a:lnTo>
                  <a:lnTo>
                    <a:pt x="17" y="230"/>
                  </a:lnTo>
                  <a:lnTo>
                    <a:pt x="18" y="230"/>
                  </a:lnTo>
                  <a:lnTo>
                    <a:pt x="19" y="228"/>
                  </a:lnTo>
                  <a:lnTo>
                    <a:pt x="19" y="227"/>
                  </a:lnTo>
                  <a:lnTo>
                    <a:pt x="20" y="226"/>
                  </a:lnTo>
                  <a:lnTo>
                    <a:pt x="21" y="224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2" y="223"/>
                  </a:lnTo>
                  <a:lnTo>
                    <a:pt x="22" y="222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6"/>
                  </a:lnTo>
                  <a:lnTo>
                    <a:pt x="26" y="215"/>
                  </a:lnTo>
                  <a:lnTo>
                    <a:pt x="26" y="215"/>
                  </a:lnTo>
                  <a:lnTo>
                    <a:pt x="26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6"/>
                  </a:lnTo>
                  <a:lnTo>
                    <a:pt x="29" y="206"/>
                  </a:lnTo>
                  <a:lnTo>
                    <a:pt x="29" y="205"/>
                  </a:lnTo>
                  <a:lnTo>
                    <a:pt x="31" y="203"/>
                  </a:lnTo>
                  <a:lnTo>
                    <a:pt x="33" y="202"/>
                  </a:lnTo>
                  <a:lnTo>
                    <a:pt x="34" y="201"/>
                  </a:lnTo>
                  <a:lnTo>
                    <a:pt x="36" y="200"/>
                  </a:lnTo>
                  <a:lnTo>
                    <a:pt x="36" y="199"/>
                  </a:lnTo>
                  <a:lnTo>
                    <a:pt x="38" y="198"/>
                  </a:lnTo>
                  <a:lnTo>
                    <a:pt x="40" y="197"/>
                  </a:lnTo>
                  <a:lnTo>
                    <a:pt x="41" y="196"/>
                  </a:lnTo>
                  <a:lnTo>
                    <a:pt x="42" y="195"/>
                  </a:lnTo>
                  <a:lnTo>
                    <a:pt x="43" y="195"/>
                  </a:lnTo>
                  <a:lnTo>
                    <a:pt x="44" y="194"/>
                  </a:lnTo>
                  <a:lnTo>
                    <a:pt x="45" y="194"/>
                  </a:lnTo>
                  <a:lnTo>
                    <a:pt x="47" y="194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51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4"/>
                  </a:lnTo>
                  <a:lnTo>
                    <a:pt x="57" y="193"/>
                  </a:lnTo>
                  <a:lnTo>
                    <a:pt x="59" y="193"/>
                  </a:lnTo>
                  <a:lnTo>
                    <a:pt x="60" y="192"/>
                  </a:lnTo>
                  <a:lnTo>
                    <a:pt x="61" y="192"/>
                  </a:lnTo>
                  <a:lnTo>
                    <a:pt x="62" y="191"/>
                  </a:lnTo>
                  <a:lnTo>
                    <a:pt x="63" y="190"/>
                  </a:lnTo>
                  <a:lnTo>
                    <a:pt x="64" y="190"/>
                  </a:lnTo>
                  <a:lnTo>
                    <a:pt x="65" y="188"/>
                  </a:lnTo>
                  <a:lnTo>
                    <a:pt x="66" y="18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9" y="184"/>
                  </a:lnTo>
                  <a:lnTo>
                    <a:pt x="72" y="182"/>
                  </a:lnTo>
                  <a:lnTo>
                    <a:pt x="76" y="178"/>
                  </a:lnTo>
                  <a:lnTo>
                    <a:pt x="77" y="177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2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4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7" y="178"/>
                  </a:lnTo>
                  <a:lnTo>
                    <a:pt x="99" y="178"/>
                  </a:lnTo>
                  <a:lnTo>
                    <a:pt x="100" y="178"/>
                  </a:lnTo>
                  <a:lnTo>
                    <a:pt x="101" y="178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1" y="173"/>
                  </a:lnTo>
                  <a:lnTo>
                    <a:pt x="111" y="173"/>
                  </a:lnTo>
                  <a:lnTo>
                    <a:pt x="113" y="172"/>
                  </a:lnTo>
                  <a:lnTo>
                    <a:pt x="113" y="171"/>
                  </a:lnTo>
                  <a:lnTo>
                    <a:pt x="115" y="170"/>
                  </a:lnTo>
                  <a:lnTo>
                    <a:pt x="118" y="167"/>
                  </a:lnTo>
                  <a:lnTo>
                    <a:pt x="119" y="166"/>
                  </a:lnTo>
                  <a:lnTo>
                    <a:pt x="120" y="165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3"/>
                  </a:lnTo>
                  <a:lnTo>
                    <a:pt x="123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7" y="164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69"/>
                  </a:lnTo>
                  <a:lnTo>
                    <a:pt x="136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8" y="167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2" y="162"/>
                  </a:lnTo>
                  <a:lnTo>
                    <a:pt x="143" y="161"/>
                  </a:lnTo>
                  <a:lnTo>
                    <a:pt x="144" y="161"/>
                  </a:lnTo>
                  <a:lnTo>
                    <a:pt x="145" y="160"/>
                  </a:lnTo>
                  <a:lnTo>
                    <a:pt x="146" y="159"/>
                  </a:lnTo>
                  <a:lnTo>
                    <a:pt x="147" y="159"/>
                  </a:lnTo>
                  <a:lnTo>
                    <a:pt x="147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1" y="157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6"/>
                  </a:lnTo>
                  <a:lnTo>
                    <a:pt x="157" y="155"/>
                  </a:lnTo>
                  <a:lnTo>
                    <a:pt x="158" y="154"/>
                  </a:lnTo>
                  <a:lnTo>
                    <a:pt x="160" y="153"/>
                  </a:lnTo>
                  <a:lnTo>
                    <a:pt x="160" y="153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4" y="150"/>
                  </a:lnTo>
                  <a:lnTo>
                    <a:pt x="164" y="149"/>
                  </a:lnTo>
                  <a:lnTo>
                    <a:pt x="165" y="148"/>
                  </a:lnTo>
                  <a:lnTo>
                    <a:pt x="165" y="147"/>
                  </a:lnTo>
                  <a:lnTo>
                    <a:pt x="166" y="146"/>
                  </a:lnTo>
                  <a:lnTo>
                    <a:pt x="166" y="145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68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4" y="143"/>
                  </a:lnTo>
                  <a:lnTo>
                    <a:pt x="174" y="142"/>
                  </a:lnTo>
                  <a:lnTo>
                    <a:pt x="175" y="142"/>
                  </a:lnTo>
                  <a:lnTo>
                    <a:pt x="175" y="142"/>
                  </a:lnTo>
                  <a:lnTo>
                    <a:pt x="175" y="141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39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6" y="134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1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7" y="129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9" y="127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4" y="125"/>
                  </a:lnTo>
                  <a:lnTo>
                    <a:pt x="185" y="125"/>
                  </a:lnTo>
                  <a:lnTo>
                    <a:pt x="186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4" y="126"/>
                  </a:lnTo>
                  <a:lnTo>
                    <a:pt x="198" y="127"/>
                  </a:lnTo>
                  <a:lnTo>
                    <a:pt x="202" y="128"/>
                  </a:lnTo>
                  <a:lnTo>
                    <a:pt x="205" y="129"/>
                  </a:lnTo>
                  <a:lnTo>
                    <a:pt x="207" y="129"/>
                  </a:lnTo>
                  <a:lnTo>
                    <a:pt x="209" y="129"/>
                  </a:lnTo>
                  <a:lnTo>
                    <a:pt x="215" y="130"/>
                  </a:lnTo>
                  <a:lnTo>
                    <a:pt x="217" y="130"/>
                  </a:lnTo>
                  <a:lnTo>
                    <a:pt x="219" y="130"/>
                  </a:lnTo>
                  <a:lnTo>
                    <a:pt x="222" y="130"/>
                  </a:lnTo>
                  <a:lnTo>
                    <a:pt x="224" y="130"/>
                  </a:lnTo>
                  <a:lnTo>
                    <a:pt x="226" y="130"/>
                  </a:lnTo>
                  <a:lnTo>
                    <a:pt x="228" y="129"/>
                  </a:lnTo>
                  <a:lnTo>
                    <a:pt x="230" y="129"/>
                  </a:lnTo>
                  <a:lnTo>
                    <a:pt x="232" y="129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5" y="127"/>
                  </a:lnTo>
                  <a:lnTo>
                    <a:pt x="236" y="127"/>
                  </a:lnTo>
                  <a:lnTo>
                    <a:pt x="236" y="127"/>
                  </a:lnTo>
                  <a:lnTo>
                    <a:pt x="237" y="127"/>
                  </a:lnTo>
                  <a:lnTo>
                    <a:pt x="239" y="128"/>
                  </a:lnTo>
                  <a:lnTo>
                    <a:pt x="241" y="128"/>
                  </a:lnTo>
                  <a:lnTo>
                    <a:pt x="245" y="129"/>
                  </a:lnTo>
                  <a:lnTo>
                    <a:pt x="248" y="130"/>
                  </a:lnTo>
                  <a:lnTo>
                    <a:pt x="250" y="130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6" y="128"/>
                  </a:lnTo>
                  <a:lnTo>
                    <a:pt x="257" y="127"/>
                  </a:lnTo>
                  <a:lnTo>
                    <a:pt x="259" y="125"/>
                  </a:lnTo>
                  <a:lnTo>
                    <a:pt x="260" y="124"/>
                  </a:lnTo>
                  <a:lnTo>
                    <a:pt x="260" y="124"/>
                  </a:lnTo>
                  <a:lnTo>
                    <a:pt x="261" y="124"/>
                  </a:lnTo>
                  <a:lnTo>
                    <a:pt x="262" y="123"/>
                  </a:lnTo>
                  <a:lnTo>
                    <a:pt x="263" y="123"/>
                  </a:lnTo>
                  <a:lnTo>
                    <a:pt x="264" y="123"/>
                  </a:lnTo>
                  <a:lnTo>
                    <a:pt x="270" y="122"/>
                  </a:lnTo>
                  <a:lnTo>
                    <a:pt x="272" y="121"/>
                  </a:lnTo>
                  <a:lnTo>
                    <a:pt x="276" y="121"/>
                  </a:lnTo>
                  <a:lnTo>
                    <a:pt x="277" y="121"/>
                  </a:lnTo>
                  <a:lnTo>
                    <a:pt x="279" y="121"/>
                  </a:lnTo>
                  <a:lnTo>
                    <a:pt x="280" y="121"/>
                  </a:lnTo>
                  <a:lnTo>
                    <a:pt x="282" y="122"/>
                  </a:lnTo>
                  <a:lnTo>
                    <a:pt x="284" y="122"/>
                  </a:lnTo>
                  <a:lnTo>
                    <a:pt x="284" y="122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0"/>
                  </a:lnTo>
                  <a:lnTo>
                    <a:pt x="288" y="120"/>
                  </a:lnTo>
                  <a:lnTo>
                    <a:pt x="288" y="119"/>
                  </a:lnTo>
                  <a:lnTo>
                    <a:pt x="289" y="118"/>
                  </a:lnTo>
                  <a:lnTo>
                    <a:pt x="289" y="117"/>
                  </a:lnTo>
                  <a:lnTo>
                    <a:pt x="289" y="116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91" y="109"/>
                  </a:lnTo>
                  <a:lnTo>
                    <a:pt x="291" y="108"/>
                  </a:lnTo>
                  <a:lnTo>
                    <a:pt x="291" y="106"/>
                  </a:lnTo>
                  <a:lnTo>
                    <a:pt x="291" y="105"/>
                  </a:lnTo>
                  <a:lnTo>
                    <a:pt x="291" y="104"/>
                  </a:lnTo>
                  <a:lnTo>
                    <a:pt x="291" y="103"/>
                  </a:lnTo>
                  <a:lnTo>
                    <a:pt x="290" y="102"/>
                  </a:lnTo>
                  <a:lnTo>
                    <a:pt x="290" y="99"/>
                  </a:lnTo>
                  <a:lnTo>
                    <a:pt x="289" y="98"/>
                  </a:lnTo>
                  <a:lnTo>
                    <a:pt x="289" y="97"/>
                  </a:lnTo>
                  <a:lnTo>
                    <a:pt x="289" y="96"/>
                  </a:lnTo>
                  <a:lnTo>
                    <a:pt x="289" y="95"/>
                  </a:lnTo>
                  <a:lnTo>
                    <a:pt x="289" y="94"/>
                  </a:lnTo>
                  <a:lnTo>
                    <a:pt x="289" y="93"/>
                  </a:lnTo>
                  <a:lnTo>
                    <a:pt x="289" y="91"/>
                  </a:lnTo>
                  <a:lnTo>
                    <a:pt x="289" y="89"/>
                  </a:lnTo>
                  <a:lnTo>
                    <a:pt x="289" y="88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90" y="86"/>
                  </a:lnTo>
                  <a:lnTo>
                    <a:pt x="291" y="86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7" y="88"/>
                  </a:lnTo>
                  <a:lnTo>
                    <a:pt x="298" y="88"/>
                  </a:lnTo>
                  <a:lnTo>
                    <a:pt x="299" y="88"/>
                  </a:lnTo>
                  <a:lnTo>
                    <a:pt x="300" y="88"/>
                  </a:lnTo>
                  <a:lnTo>
                    <a:pt x="301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3" y="88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3" y="86"/>
                  </a:lnTo>
                  <a:lnTo>
                    <a:pt x="303" y="85"/>
                  </a:lnTo>
                  <a:lnTo>
                    <a:pt x="305" y="83"/>
                  </a:lnTo>
                  <a:lnTo>
                    <a:pt x="306" y="80"/>
                  </a:lnTo>
                  <a:lnTo>
                    <a:pt x="306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8" y="78"/>
                  </a:lnTo>
                  <a:lnTo>
                    <a:pt x="311" y="78"/>
                  </a:lnTo>
                  <a:lnTo>
                    <a:pt x="314" y="77"/>
                  </a:lnTo>
                  <a:lnTo>
                    <a:pt x="316" y="76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7" y="75"/>
                  </a:lnTo>
                  <a:lnTo>
                    <a:pt x="318" y="75"/>
                  </a:lnTo>
                  <a:lnTo>
                    <a:pt x="318" y="75"/>
                  </a:lnTo>
                  <a:lnTo>
                    <a:pt x="318" y="74"/>
                  </a:lnTo>
                  <a:lnTo>
                    <a:pt x="319" y="74"/>
                  </a:lnTo>
                  <a:lnTo>
                    <a:pt x="319" y="73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1"/>
                  </a:lnTo>
                  <a:lnTo>
                    <a:pt x="319" y="70"/>
                  </a:lnTo>
                  <a:lnTo>
                    <a:pt x="319" y="67"/>
                  </a:lnTo>
                  <a:lnTo>
                    <a:pt x="319" y="66"/>
                  </a:lnTo>
                  <a:lnTo>
                    <a:pt x="319" y="64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8" y="58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19" y="55"/>
                  </a:lnTo>
                  <a:lnTo>
                    <a:pt x="319" y="54"/>
                  </a:lnTo>
                  <a:lnTo>
                    <a:pt x="320" y="53"/>
                  </a:lnTo>
                  <a:lnTo>
                    <a:pt x="321" y="53"/>
                  </a:lnTo>
                  <a:lnTo>
                    <a:pt x="321" y="52"/>
                  </a:lnTo>
                  <a:lnTo>
                    <a:pt x="322" y="52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5" y="53"/>
                  </a:lnTo>
                  <a:lnTo>
                    <a:pt x="325" y="53"/>
                  </a:lnTo>
                  <a:lnTo>
                    <a:pt x="326" y="53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7" y="54"/>
                  </a:lnTo>
                  <a:lnTo>
                    <a:pt x="328" y="54"/>
                  </a:lnTo>
                  <a:lnTo>
                    <a:pt x="328" y="53"/>
                  </a:lnTo>
                  <a:lnTo>
                    <a:pt x="329" y="53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2" y="51"/>
                  </a:lnTo>
                  <a:lnTo>
                    <a:pt x="333" y="51"/>
                  </a:lnTo>
                  <a:lnTo>
                    <a:pt x="334" y="51"/>
                  </a:lnTo>
                  <a:lnTo>
                    <a:pt x="335" y="51"/>
                  </a:lnTo>
                  <a:lnTo>
                    <a:pt x="335" y="52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0" y="53"/>
                  </a:lnTo>
                  <a:lnTo>
                    <a:pt x="340" y="53"/>
                  </a:lnTo>
                  <a:lnTo>
                    <a:pt x="341" y="53"/>
                  </a:lnTo>
                  <a:lnTo>
                    <a:pt x="341" y="53"/>
                  </a:lnTo>
                  <a:lnTo>
                    <a:pt x="342" y="53"/>
                  </a:lnTo>
                  <a:lnTo>
                    <a:pt x="343" y="53"/>
                  </a:lnTo>
                  <a:lnTo>
                    <a:pt x="344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7" y="51"/>
                  </a:lnTo>
                  <a:lnTo>
                    <a:pt x="348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49" y="51"/>
                  </a:lnTo>
                  <a:lnTo>
                    <a:pt x="350" y="51"/>
                  </a:lnTo>
                  <a:lnTo>
                    <a:pt x="350" y="52"/>
                  </a:lnTo>
                  <a:lnTo>
                    <a:pt x="350" y="52"/>
                  </a:lnTo>
                  <a:lnTo>
                    <a:pt x="350" y="53"/>
                  </a:lnTo>
                  <a:lnTo>
                    <a:pt x="351" y="54"/>
                  </a:lnTo>
                  <a:lnTo>
                    <a:pt x="351" y="55"/>
                  </a:lnTo>
                  <a:lnTo>
                    <a:pt x="352" y="57"/>
                  </a:lnTo>
                  <a:lnTo>
                    <a:pt x="352" y="59"/>
                  </a:lnTo>
                  <a:lnTo>
                    <a:pt x="352" y="60"/>
                  </a:lnTo>
                  <a:lnTo>
                    <a:pt x="353" y="61"/>
                  </a:lnTo>
                  <a:lnTo>
                    <a:pt x="353" y="62"/>
                  </a:lnTo>
                  <a:lnTo>
                    <a:pt x="353" y="62"/>
                  </a:lnTo>
                  <a:lnTo>
                    <a:pt x="354" y="63"/>
                  </a:lnTo>
                  <a:lnTo>
                    <a:pt x="354" y="63"/>
                  </a:lnTo>
                  <a:lnTo>
                    <a:pt x="355" y="64"/>
                  </a:lnTo>
                  <a:lnTo>
                    <a:pt x="355" y="64"/>
                  </a:lnTo>
                  <a:lnTo>
                    <a:pt x="356" y="64"/>
                  </a:lnTo>
                  <a:lnTo>
                    <a:pt x="356" y="65"/>
                  </a:lnTo>
                  <a:lnTo>
                    <a:pt x="357" y="65"/>
                  </a:lnTo>
                  <a:lnTo>
                    <a:pt x="358" y="65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7" y="63"/>
                  </a:lnTo>
                  <a:lnTo>
                    <a:pt x="368" y="62"/>
                  </a:lnTo>
                  <a:lnTo>
                    <a:pt x="369" y="62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81" y="61"/>
                  </a:lnTo>
                  <a:lnTo>
                    <a:pt x="382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6" y="58"/>
                  </a:lnTo>
                  <a:lnTo>
                    <a:pt x="389" y="56"/>
                  </a:lnTo>
                  <a:lnTo>
                    <a:pt x="391" y="55"/>
                  </a:lnTo>
                  <a:lnTo>
                    <a:pt x="391" y="54"/>
                  </a:lnTo>
                  <a:lnTo>
                    <a:pt x="392" y="53"/>
                  </a:lnTo>
                  <a:lnTo>
                    <a:pt x="393" y="52"/>
                  </a:lnTo>
                  <a:lnTo>
                    <a:pt x="395" y="49"/>
                  </a:lnTo>
                  <a:lnTo>
                    <a:pt x="395" y="49"/>
                  </a:lnTo>
                  <a:lnTo>
                    <a:pt x="396" y="48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9" y="46"/>
                  </a:lnTo>
                  <a:lnTo>
                    <a:pt x="400" y="45"/>
                  </a:lnTo>
                  <a:lnTo>
                    <a:pt x="400" y="44"/>
                  </a:lnTo>
                  <a:lnTo>
                    <a:pt x="401" y="44"/>
                  </a:lnTo>
                  <a:lnTo>
                    <a:pt x="401" y="43"/>
                  </a:lnTo>
                  <a:lnTo>
                    <a:pt x="402" y="42"/>
                  </a:lnTo>
                  <a:lnTo>
                    <a:pt x="402" y="41"/>
                  </a:lnTo>
                  <a:lnTo>
                    <a:pt x="402" y="40"/>
                  </a:lnTo>
                  <a:lnTo>
                    <a:pt x="403" y="39"/>
                  </a:lnTo>
                  <a:lnTo>
                    <a:pt x="403" y="35"/>
                  </a:lnTo>
                  <a:lnTo>
                    <a:pt x="403" y="34"/>
                  </a:lnTo>
                  <a:lnTo>
                    <a:pt x="403" y="33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1"/>
                  </a:lnTo>
                  <a:lnTo>
                    <a:pt x="406" y="31"/>
                  </a:lnTo>
                  <a:lnTo>
                    <a:pt x="407" y="30"/>
                  </a:lnTo>
                  <a:lnTo>
                    <a:pt x="407" y="30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1" y="30"/>
                  </a:lnTo>
                  <a:lnTo>
                    <a:pt x="413" y="31"/>
                  </a:lnTo>
                  <a:lnTo>
                    <a:pt x="415" y="31"/>
                  </a:lnTo>
                  <a:lnTo>
                    <a:pt x="417" y="32"/>
                  </a:lnTo>
                  <a:lnTo>
                    <a:pt x="420" y="33"/>
                  </a:lnTo>
                  <a:lnTo>
                    <a:pt x="422" y="33"/>
                  </a:lnTo>
                  <a:lnTo>
                    <a:pt x="423" y="33"/>
                  </a:lnTo>
                  <a:lnTo>
                    <a:pt x="423" y="33"/>
                  </a:lnTo>
                  <a:lnTo>
                    <a:pt x="424" y="33"/>
                  </a:lnTo>
                  <a:lnTo>
                    <a:pt x="425" y="33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29" y="31"/>
                  </a:lnTo>
                  <a:lnTo>
                    <a:pt x="430" y="31"/>
                  </a:lnTo>
                  <a:lnTo>
                    <a:pt x="430" y="30"/>
                  </a:lnTo>
                  <a:lnTo>
                    <a:pt x="431" y="29"/>
                  </a:lnTo>
                  <a:lnTo>
                    <a:pt x="431" y="29"/>
                  </a:lnTo>
                  <a:lnTo>
                    <a:pt x="432" y="28"/>
                  </a:lnTo>
                  <a:lnTo>
                    <a:pt x="432" y="28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3" y="24"/>
                  </a:lnTo>
                  <a:lnTo>
                    <a:pt x="433" y="23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4" y="22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7" y="20"/>
                  </a:lnTo>
                  <a:lnTo>
                    <a:pt x="437" y="19"/>
                  </a:lnTo>
                  <a:lnTo>
                    <a:pt x="439" y="18"/>
                  </a:lnTo>
                  <a:lnTo>
                    <a:pt x="443" y="16"/>
                  </a:lnTo>
                  <a:lnTo>
                    <a:pt x="444" y="16"/>
                  </a:lnTo>
                  <a:lnTo>
                    <a:pt x="445" y="15"/>
                  </a:lnTo>
                  <a:lnTo>
                    <a:pt x="445" y="15"/>
                  </a:lnTo>
                  <a:lnTo>
                    <a:pt x="446" y="14"/>
                  </a:lnTo>
                  <a:lnTo>
                    <a:pt x="446" y="14"/>
                  </a:lnTo>
                  <a:lnTo>
                    <a:pt x="447" y="13"/>
                  </a:lnTo>
                  <a:lnTo>
                    <a:pt x="447" y="12"/>
                  </a:lnTo>
                  <a:lnTo>
                    <a:pt x="447" y="11"/>
                  </a:lnTo>
                  <a:lnTo>
                    <a:pt x="447" y="9"/>
                  </a:lnTo>
                  <a:lnTo>
                    <a:pt x="447" y="8"/>
                  </a:lnTo>
                  <a:lnTo>
                    <a:pt x="448" y="6"/>
                  </a:lnTo>
                  <a:lnTo>
                    <a:pt x="449" y="4"/>
                  </a:lnTo>
                  <a:lnTo>
                    <a:pt x="450" y="3"/>
                  </a:lnTo>
                  <a:lnTo>
                    <a:pt x="45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1" y="0"/>
                  </a:lnTo>
                  <a:lnTo>
                    <a:pt x="451" y="0"/>
                  </a:lnTo>
                  <a:close/>
                  <a:moveTo>
                    <a:pt x="335" y="203"/>
                  </a:moveTo>
                  <a:lnTo>
                    <a:pt x="335" y="204"/>
                  </a:lnTo>
                  <a:lnTo>
                    <a:pt x="334" y="204"/>
                  </a:lnTo>
                  <a:lnTo>
                    <a:pt x="332" y="204"/>
                  </a:lnTo>
                  <a:lnTo>
                    <a:pt x="327" y="205"/>
                  </a:lnTo>
                  <a:lnTo>
                    <a:pt x="325" y="206"/>
                  </a:lnTo>
                  <a:lnTo>
                    <a:pt x="323" y="206"/>
                  </a:lnTo>
                  <a:lnTo>
                    <a:pt x="321" y="207"/>
                  </a:lnTo>
                  <a:lnTo>
                    <a:pt x="319" y="208"/>
                  </a:lnTo>
                  <a:lnTo>
                    <a:pt x="318" y="208"/>
                  </a:lnTo>
                  <a:lnTo>
                    <a:pt x="315" y="210"/>
                  </a:lnTo>
                  <a:lnTo>
                    <a:pt x="314" y="211"/>
                  </a:lnTo>
                  <a:lnTo>
                    <a:pt x="312" y="212"/>
                  </a:lnTo>
                  <a:lnTo>
                    <a:pt x="309" y="212"/>
                  </a:lnTo>
                  <a:lnTo>
                    <a:pt x="307" y="213"/>
                  </a:lnTo>
                  <a:lnTo>
                    <a:pt x="306" y="213"/>
                  </a:lnTo>
                  <a:lnTo>
                    <a:pt x="302" y="215"/>
                  </a:lnTo>
                  <a:lnTo>
                    <a:pt x="301" y="216"/>
                  </a:lnTo>
                  <a:lnTo>
                    <a:pt x="300" y="217"/>
                  </a:lnTo>
                  <a:lnTo>
                    <a:pt x="297" y="217"/>
                  </a:lnTo>
                  <a:lnTo>
                    <a:pt x="296" y="217"/>
                  </a:lnTo>
                  <a:lnTo>
                    <a:pt x="295" y="218"/>
                  </a:lnTo>
                  <a:lnTo>
                    <a:pt x="292" y="218"/>
                  </a:lnTo>
                  <a:lnTo>
                    <a:pt x="291" y="218"/>
                  </a:lnTo>
                  <a:lnTo>
                    <a:pt x="289" y="218"/>
                  </a:lnTo>
                  <a:lnTo>
                    <a:pt x="289" y="219"/>
                  </a:lnTo>
                  <a:lnTo>
                    <a:pt x="288" y="219"/>
                  </a:lnTo>
                  <a:lnTo>
                    <a:pt x="287" y="219"/>
                  </a:lnTo>
                  <a:lnTo>
                    <a:pt x="287" y="220"/>
                  </a:lnTo>
                  <a:lnTo>
                    <a:pt x="286" y="220"/>
                  </a:lnTo>
                  <a:lnTo>
                    <a:pt x="286" y="221"/>
                  </a:lnTo>
                  <a:lnTo>
                    <a:pt x="285" y="222"/>
                  </a:lnTo>
                  <a:lnTo>
                    <a:pt x="285" y="223"/>
                  </a:lnTo>
                  <a:lnTo>
                    <a:pt x="285" y="224"/>
                  </a:lnTo>
                  <a:lnTo>
                    <a:pt x="284" y="226"/>
                  </a:lnTo>
                  <a:lnTo>
                    <a:pt x="284" y="227"/>
                  </a:lnTo>
                  <a:lnTo>
                    <a:pt x="283" y="228"/>
                  </a:lnTo>
                  <a:lnTo>
                    <a:pt x="283" y="229"/>
                  </a:lnTo>
                  <a:lnTo>
                    <a:pt x="283" y="229"/>
                  </a:lnTo>
                  <a:lnTo>
                    <a:pt x="282" y="229"/>
                  </a:lnTo>
                  <a:lnTo>
                    <a:pt x="282" y="230"/>
                  </a:lnTo>
                  <a:lnTo>
                    <a:pt x="281" y="230"/>
                  </a:lnTo>
                  <a:lnTo>
                    <a:pt x="279" y="230"/>
                  </a:lnTo>
                  <a:lnTo>
                    <a:pt x="278" y="230"/>
                  </a:lnTo>
                  <a:lnTo>
                    <a:pt x="276" y="230"/>
                  </a:lnTo>
                  <a:lnTo>
                    <a:pt x="275" y="230"/>
                  </a:lnTo>
                  <a:lnTo>
                    <a:pt x="275" y="229"/>
                  </a:lnTo>
                  <a:lnTo>
                    <a:pt x="274" y="229"/>
                  </a:lnTo>
                  <a:lnTo>
                    <a:pt x="272" y="228"/>
                  </a:lnTo>
                  <a:lnTo>
                    <a:pt x="271" y="228"/>
                  </a:lnTo>
                  <a:lnTo>
                    <a:pt x="271" y="227"/>
                  </a:lnTo>
                  <a:lnTo>
                    <a:pt x="270" y="227"/>
                  </a:lnTo>
                  <a:lnTo>
                    <a:pt x="269" y="227"/>
                  </a:lnTo>
                  <a:lnTo>
                    <a:pt x="269" y="227"/>
                  </a:lnTo>
                  <a:lnTo>
                    <a:pt x="268" y="227"/>
                  </a:lnTo>
                  <a:lnTo>
                    <a:pt x="268" y="227"/>
                  </a:lnTo>
                  <a:lnTo>
                    <a:pt x="267" y="228"/>
                  </a:lnTo>
                  <a:lnTo>
                    <a:pt x="264" y="229"/>
                  </a:lnTo>
                  <a:lnTo>
                    <a:pt x="263" y="230"/>
                  </a:lnTo>
                  <a:lnTo>
                    <a:pt x="262" y="230"/>
                  </a:lnTo>
                  <a:lnTo>
                    <a:pt x="259" y="231"/>
                  </a:lnTo>
                  <a:lnTo>
                    <a:pt x="257" y="231"/>
                  </a:lnTo>
                  <a:lnTo>
                    <a:pt x="254" y="232"/>
                  </a:lnTo>
                  <a:lnTo>
                    <a:pt x="252" y="233"/>
                  </a:lnTo>
                  <a:lnTo>
                    <a:pt x="251" y="234"/>
                  </a:lnTo>
                  <a:lnTo>
                    <a:pt x="250" y="234"/>
                  </a:lnTo>
                  <a:lnTo>
                    <a:pt x="249" y="235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7"/>
                  </a:lnTo>
                  <a:lnTo>
                    <a:pt x="249" y="237"/>
                  </a:lnTo>
                  <a:lnTo>
                    <a:pt x="249" y="237"/>
                  </a:lnTo>
                  <a:lnTo>
                    <a:pt x="251" y="238"/>
                  </a:lnTo>
                  <a:lnTo>
                    <a:pt x="252" y="238"/>
                  </a:lnTo>
                  <a:lnTo>
                    <a:pt x="253" y="239"/>
                  </a:lnTo>
                  <a:lnTo>
                    <a:pt x="253" y="240"/>
                  </a:lnTo>
                  <a:lnTo>
                    <a:pt x="255" y="241"/>
                  </a:lnTo>
                  <a:lnTo>
                    <a:pt x="257" y="243"/>
                  </a:lnTo>
                  <a:lnTo>
                    <a:pt x="259" y="246"/>
                  </a:lnTo>
                  <a:lnTo>
                    <a:pt x="260" y="247"/>
                  </a:lnTo>
                  <a:lnTo>
                    <a:pt x="261" y="247"/>
                  </a:lnTo>
                  <a:lnTo>
                    <a:pt x="261" y="248"/>
                  </a:lnTo>
                  <a:lnTo>
                    <a:pt x="261" y="248"/>
                  </a:lnTo>
                  <a:lnTo>
                    <a:pt x="261" y="249"/>
                  </a:lnTo>
                  <a:lnTo>
                    <a:pt x="261" y="250"/>
                  </a:lnTo>
                  <a:lnTo>
                    <a:pt x="261" y="250"/>
                  </a:lnTo>
                  <a:lnTo>
                    <a:pt x="260" y="251"/>
                  </a:lnTo>
                  <a:lnTo>
                    <a:pt x="260" y="251"/>
                  </a:lnTo>
                  <a:lnTo>
                    <a:pt x="258" y="252"/>
                  </a:lnTo>
                  <a:lnTo>
                    <a:pt x="257" y="253"/>
                  </a:lnTo>
                  <a:lnTo>
                    <a:pt x="256" y="253"/>
                  </a:lnTo>
                  <a:lnTo>
                    <a:pt x="256" y="254"/>
                  </a:lnTo>
                  <a:lnTo>
                    <a:pt x="255" y="255"/>
                  </a:lnTo>
                  <a:lnTo>
                    <a:pt x="255" y="255"/>
                  </a:lnTo>
                  <a:lnTo>
                    <a:pt x="254" y="256"/>
                  </a:lnTo>
                  <a:lnTo>
                    <a:pt x="254" y="257"/>
                  </a:lnTo>
                  <a:lnTo>
                    <a:pt x="254" y="257"/>
                  </a:lnTo>
                  <a:lnTo>
                    <a:pt x="255" y="257"/>
                  </a:lnTo>
                  <a:lnTo>
                    <a:pt x="255" y="258"/>
                  </a:lnTo>
                  <a:lnTo>
                    <a:pt x="255" y="259"/>
                  </a:lnTo>
                  <a:lnTo>
                    <a:pt x="257" y="261"/>
                  </a:lnTo>
                  <a:lnTo>
                    <a:pt x="257" y="261"/>
                  </a:lnTo>
                  <a:lnTo>
                    <a:pt x="258" y="262"/>
                  </a:lnTo>
                  <a:lnTo>
                    <a:pt x="259" y="265"/>
                  </a:lnTo>
                  <a:lnTo>
                    <a:pt x="259" y="265"/>
                  </a:lnTo>
                  <a:lnTo>
                    <a:pt x="260" y="267"/>
                  </a:lnTo>
                  <a:lnTo>
                    <a:pt x="261" y="268"/>
                  </a:lnTo>
                  <a:lnTo>
                    <a:pt x="262" y="269"/>
                  </a:lnTo>
                  <a:lnTo>
                    <a:pt x="263" y="270"/>
                  </a:lnTo>
                  <a:lnTo>
                    <a:pt x="265" y="272"/>
                  </a:lnTo>
                  <a:lnTo>
                    <a:pt x="268" y="274"/>
                  </a:lnTo>
                  <a:lnTo>
                    <a:pt x="268" y="275"/>
                  </a:lnTo>
                  <a:lnTo>
                    <a:pt x="269" y="276"/>
                  </a:lnTo>
                  <a:lnTo>
                    <a:pt x="269" y="276"/>
                  </a:lnTo>
                  <a:lnTo>
                    <a:pt x="269" y="277"/>
                  </a:lnTo>
                  <a:lnTo>
                    <a:pt x="269" y="278"/>
                  </a:lnTo>
                  <a:lnTo>
                    <a:pt x="269" y="278"/>
                  </a:lnTo>
                  <a:lnTo>
                    <a:pt x="269" y="279"/>
                  </a:lnTo>
                  <a:lnTo>
                    <a:pt x="269" y="280"/>
                  </a:lnTo>
                  <a:lnTo>
                    <a:pt x="268" y="281"/>
                  </a:lnTo>
                  <a:lnTo>
                    <a:pt x="268" y="282"/>
                  </a:lnTo>
                  <a:lnTo>
                    <a:pt x="268" y="282"/>
                  </a:lnTo>
                  <a:lnTo>
                    <a:pt x="268" y="283"/>
                  </a:lnTo>
                  <a:lnTo>
                    <a:pt x="268" y="284"/>
                  </a:lnTo>
                  <a:lnTo>
                    <a:pt x="268" y="284"/>
                  </a:lnTo>
                  <a:lnTo>
                    <a:pt x="268" y="285"/>
                  </a:lnTo>
                  <a:lnTo>
                    <a:pt x="269" y="285"/>
                  </a:lnTo>
                  <a:lnTo>
                    <a:pt x="269" y="286"/>
                  </a:lnTo>
                  <a:lnTo>
                    <a:pt x="270" y="286"/>
                  </a:lnTo>
                  <a:lnTo>
                    <a:pt x="271" y="287"/>
                  </a:lnTo>
                  <a:lnTo>
                    <a:pt x="271" y="287"/>
                  </a:lnTo>
                  <a:lnTo>
                    <a:pt x="272" y="288"/>
                  </a:lnTo>
                  <a:lnTo>
                    <a:pt x="273" y="288"/>
                  </a:lnTo>
                  <a:lnTo>
                    <a:pt x="275" y="289"/>
                  </a:lnTo>
                  <a:lnTo>
                    <a:pt x="276" y="289"/>
                  </a:lnTo>
                  <a:lnTo>
                    <a:pt x="276" y="290"/>
                  </a:lnTo>
                  <a:lnTo>
                    <a:pt x="277" y="290"/>
                  </a:lnTo>
                  <a:lnTo>
                    <a:pt x="277" y="291"/>
                  </a:lnTo>
                  <a:lnTo>
                    <a:pt x="277" y="291"/>
                  </a:lnTo>
                  <a:lnTo>
                    <a:pt x="277" y="292"/>
                  </a:lnTo>
                  <a:lnTo>
                    <a:pt x="277" y="292"/>
                  </a:lnTo>
                  <a:lnTo>
                    <a:pt x="277" y="293"/>
                  </a:lnTo>
                  <a:lnTo>
                    <a:pt x="277" y="294"/>
                  </a:lnTo>
                  <a:lnTo>
                    <a:pt x="277" y="296"/>
                  </a:lnTo>
                  <a:lnTo>
                    <a:pt x="277" y="296"/>
                  </a:lnTo>
                  <a:lnTo>
                    <a:pt x="277" y="297"/>
                  </a:lnTo>
                  <a:lnTo>
                    <a:pt x="277" y="297"/>
                  </a:lnTo>
                  <a:lnTo>
                    <a:pt x="278" y="298"/>
                  </a:lnTo>
                  <a:lnTo>
                    <a:pt x="278" y="298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8" y="300"/>
                  </a:lnTo>
                  <a:lnTo>
                    <a:pt x="277" y="302"/>
                  </a:lnTo>
                  <a:lnTo>
                    <a:pt x="277" y="302"/>
                  </a:lnTo>
                  <a:lnTo>
                    <a:pt x="277" y="303"/>
                  </a:lnTo>
                  <a:lnTo>
                    <a:pt x="277" y="304"/>
                  </a:lnTo>
                  <a:lnTo>
                    <a:pt x="277" y="304"/>
                  </a:lnTo>
                  <a:lnTo>
                    <a:pt x="277" y="305"/>
                  </a:lnTo>
                  <a:lnTo>
                    <a:pt x="278" y="305"/>
                  </a:lnTo>
                  <a:lnTo>
                    <a:pt x="278" y="306"/>
                  </a:lnTo>
                  <a:lnTo>
                    <a:pt x="279" y="306"/>
                  </a:lnTo>
                  <a:lnTo>
                    <a:pt x="279" y="307"/>
                  </a:lnTo>
                  <a:lnTo>
                    <a:pt x="279" y="307"/>
                  </a:lnTo>
                  <a:lnTo>
                    <a:pt x="280" y="308"/>
                  </a:lnTo>
                  <a:lnTo>
                    <a:pt x="281" y="308"/>
                  </a:lnTo>
                  <a:lnTo>
                    <a:pt x="282" y="308"/>
                  </a:lnTo>
                  <a:lnTo>
                    <a:pt x="282" y="308"/>
                  </a:lnTo>
                  <a:lnTo>
                    <a:pt x="283" y="309"/>
                  </a:lnTo>
                  <a:lnTo>
                    <a:pt x="284" y="309"/>
                  </a:lnTo>
                  <a:lnTo>
                    <a:pt x="288" y="309"/>
                  </a:lnTo>
                  <a:lnTo>
                    <a:pt x="289" y="309"/>
                  </a:lnTo>
                  <a:lnTo>
                    <a:pt x="292" y="309"/>
                  </a:lnTo>
                  <a:lnTo>
                    <a:pt x="292" y="309"/>
                  </a:lnTo>
                  <a:lnTo>
                    <a:pt x="293" y="309"/>
                  </a:lnTo>
                  <a:lnTo>
                    <a:pt x="293" y="309"/>
                  </a:lnTo>
                  <a:lnTo>
                    <a:pt x="294" y="309"/>
                  </a:lnTo>
                  <a:lnTo>
                    <a:pt x="294" y="308"/>
                  </a:lnTo>
                  <a:lnTo>
                    <a:pt x="294" y="308"/>
                  </a:lnTo>
                  <a:lnTo>
                    <a:pt x="295" y="307"/>
                  </a:lnTo>
                  <a:lnTo>
                    <a:pt x="296" y="305"/>
                  </a:lnTo>
                  <a:lnTo>
                    <a:pt x="297" y="304"/>
                  </a:lnTo>
                  <a:lnTo>
                    <a:pt x="297" y="303"/>
                  </a:lnTo>
                  <a:lnTo>
                    <a:pt x="297" y="303"/>
                  </a:lnTo>
                  <a:lnTo>
                    <a:pt x="298" y="302"/>
                  </a:lnTo>
                  <a:lnTo>
                    <a:pt x="298" y="302"/>
                  </a:lnTo>
                  <a:lnTo>
                    <a:pt x="299" y="302"/>
                  </a:lnTo>
                  <a:lnTo>
                    <a:pt x="300" y="301"/>
                  </a:lnTo>
                  <a:lnTo>
                    <a:pt x="303" y="301"/>
                  </a:lnTo>
                  <a:lnTo>
                    <a:pt x="304" y="300"/>
                  </a:lnTo>
                  <a:lnTo>
                    <a:pt x="306" y="300"/>
                  </a:lnTo>
                  <a:lnTo>
                    <a:pt x="307" y="299"/>
                  </a:lnTo>
                  <a:lnTo>
                    <a:pt x="310" y="298"/>
                  </a:lnTo>
                  <a:lnTo>
                    <a:pt x="312" y="298"/>
                  </a:lnTo>
                  <a:lnTo>
                    <a:pt x="313" y="297"/>
                  </a:lnTo>
                  <a:lnTo>
                    <a:pt x="314" y="297"/>
                  </a:lnTo>
                  <a:lnTo>
                    <a:pt x="315" y="296"/>
                  </a:lnTo>
                  <a:lnTo>
                    <a:pt x="316" y="296"/>
                  </a:lnTo>
                  <a:lnTo>
                    <a:pt x="321" y="292"/>
                  </a:lnTo>
                  <a:lnTo>
                    <a:pt x="323" y="290"/>
                  </a:lnTo>
                  <a:lnTo>
                    <a:pt x="324" y="289"/>
                  </a:lnTo>
                  <a:lnTo>
                    <a:pt x="325" y="289"/>
                  </a:lnTo>
                  <a:lnTo>
                    <a:pt x="326" y="289"/>
                  </a:lnTo>
                  <a:lnTo>
                    <a:pt x="327" y="288"/>
                  </a:lnTo>
                  <a:lnTo>
                    <a:pt x="329" y="287"/>
                  </a:lnTo>
                  <a:lnTo>
                    <a:pt x="330" y="287"/>
                  </a:lnTo>
                  <a:lnTo>
                    <a:pt x="331" y="286"/>
                  </a:lnTo>
                  <a:lnTo>
                    <a:pt x="332" y="286"/>
                  </a:lnTo>
                  <a:lnTo>
                    <a:pt x="333" y="285"/>
                  </a:lnTo>
                  <a:lnTo>
                    <a:pt x="334" y="285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6" y="282"/>
                  </a:lnTo>
                  <a:lnTo>
                    <a:pt x="336" y="282"/>
                  </a:lnTo>
                  <a:lnTo>
                    <a:pt x="337" y="282"/>
                  </a:lnTo>
                  <a:lnTo>
                    <a:pt x="338" y="281"/>
                  </a:lnTo>
                  <a:lnTo>
                    <a:pt x="338" y="281"/>
                  </a:lnTo>
                  <a:lnTo>
                    <a:pt x="339" y="281"/>
                  </a:lnTo>
                  <a:lnTo>
                    <a:pt x="342" y="281"/>
                  </a:lnTo>
                  <a:lnTo>
                    <a:pt x="343" y="280"/>
                  </a:lnTo>
                  <a:lnTo>
                    <a:pt x="345" y="280"/>
                  </a:lnTo>
                  <a:lnTo>
                    <a:pt x="347" y="280"/>
                  </a:lnTo>
                  <a:lnTo>
                    <a:pt x="349" y="280"/>
                  </a:lnTo>
                  <a:lnTo>
                    <a:pt x="350" y="280"/>
                  </a:lnTo>
                  <a:lnTo>
                    <a:pt x="350" y="280"/>
                  </a:lnTo>
                  <a:lnTo>
                    <a:pt x="351" y="280"/>
                  </a:lnTo>
                  <a:lnTo>
                    <a:pt x="352" y="281"/>
                  </a:lnTo>
                  <a:lnTo>
                    <a:pt x="354" y="281"/>
                  </a:lnTo>
                  <a:lnTo>
                    <a:pt x="355" y="282"/>
                  </a:lnTo>
                  <a:lnTo>
                    <a:pt x="356" y="283"/>
                  </a:lnTo>
                  <a:lnTo>
                    <a:pt x="358" y="284"/>
                  </a:lnTo>
                  <a:lnTo>
                    <a:pt x="360" y="285"/>
                  </a:lnTo>
                  <a:lnTo>
                    <a:pt x="360" y="285"/>
                  </a:lnTo>
                  <a:lnTo>
                    <a:pt x="361" y="285"/>
                  </a:lnTo>
                  <a:lnTo>
                    <a:pt x="362" y="286"/>
                  </a:lnTo>
                  <a:lnTo>
                    <a:pt x="363" y="286"/>
                  </a:lnTo>
                  <a:lnTo>
                    <a:pt x="365" y="286"/>
                  </a:lnTo>
                  <a:lnTo>
                    <a:pt x="366" y="286"/>
                  </a:lnTo>
                  <a:lnTo>
                    <a:pt x="366" y="286"/>
                  </a:lnTo>
                  <a:lnTo>
                    <a:pt x="367" y="286"/>
                  </a:lnTo>
                  <a:lnTo>
                    <a:pt x="368" y="286"/>
                  </a:lnTo>
                  <a:lnTo>
                    <a:pt x="368" y="285"/>
                  </a:lnTo>
                  <a:lnTo>
                    <a:pt x="369" y="285"/>
                  </a:lnTo>
                  <a:lnTo>
                    <a:pt x="370" y="284"/>
                  </a:lnTo>
                  <a:lnTo>
                    <a:pt x="372" y="282"/>
                  </a:lnTo>
                  <a:lnTo>
                    <a:pt x="373" y="282"/>
                  </a:lnTo>
                  <a:lnTo>
                    <a:pt x="374" y="281"/>
                  </a:lnTo>
                  <a:lnTo>
                    <a:pt x="374" y="280"/>
                  </a:lnTo>
                  <a:lnTo>
                    <a:pt x="375" y="279"/>
                  </a:lnTo>
                  <a:lnTo>
                    <a:pt x="375" y="278"/>
                  </a:lnTo>
                  <a:lnTo>
                    <a:pt x="375" y="277"/>
                  </a:lnTo>
                  <a:lnTo>
                    <a:pt x="375" y="276"/>
                  </a:lnTo>
                  <a:lnTo>
                    <a:pt x="375" y="275"/>
                  </a:lnTo>
                  <a:lnTo>
                    <a:pt x="374" y="271"/>
                  </a:lnTo>
                  <a:lnTo>
                    <a:pt x="374" y="269"/>
                  </a:lnTo>
                  <a:lnTo>
                    <a:pt x="374" y="268"/>
                  </a:lnTo>
                  <a:lnTo>
                    <a:pt x="374" y="267"/>
                  </a:lnTo>
                  <a:lnTo>
                    <a:pt x="373" y="267"/>
                  </a:lnTo>
                  <a:lnTo>
                    <a:pt x="373" y="266"/>
                  </a:lnTo>
                  <a:lnTo>
                    <a:pt x="373" y="266"/>
                  </a:lnTo>
                  <a:lnTo>
                    <a:pt x="372" y="265"/>
                  </a:lnTo>
                  <a:lnTo>
                    <a:pt x="371" y="264"/>
                  </a:lnTo>
                  <a:lnTo>
                    <a:pt x="371" y="264"/>
                  </a:lnTo>
                  <a:lnTo>
                    <a:pt x="371" y="263"/>
                  </a:lnTo>
                  <a:lnTo>
                    <a:pt x="370" y="263"/>
                  </a:lnTo>
                  <a:lnTo>
                    <a:pt x="370" y="262"/>
                  </a:lnTo>
                  <a:lnTo>
                    <a:pt x="370" y="261"/>
                  </a:lnTo>
                  <a:lnTo>
                    <a:pt x="371" y="261"/>
                  </a:lnTo>
                  <a:lnTo>
                    <a:pt x="371" y="260"/>
                  </a:lnTo>
                  <a:lnTo>
                    <a:pt x="371" y="260"/>
                  </a:lnTo>
                  <a:lnTo>
                    <a:pt x="371" y="259"/>
                  </a:lnTo>
                  <a:lnTo>
                    <a:pt x="372" y="259"/>
                  </a:lnTo>
                  <a:lnTo>
                    <a:pt x="373" y="258"/>
                  </a:lnTo>
                  <a:lnTo>
                    <a:pt x="374" y="257"/>
                  </a:lnTo>
                  <a:lnTo>
                    <a:pt x="374" y="257"/>
                  </a:lnTo>
                  <a:lnTo>
                    <a:pt x="379" y="254"/>
                  </a:lnTo>
                  <a:lnTo>
                    <a:pt x="382" y="253"/>
                  </a:lnTo>
                  <a:lnTo>
                    <a:pt x="382" y="252"/>
                  </a:lnTo>
                  <a:lnTo>
                    <a:pt x="383" y="252"/>
                  </a:lnTo>
                  <a:lnTo>
                    <a:pt x="384" y="251"/>
                  </a:lnTo>
                  <a:lnTo>
                    <a:pt x="384" y="251"/>
                  </a:lnTo>
                  <a:lnTo>
                    <a:pt x="385" y="250"/>
                  </a:lnTo>
                  <a:lnTo>
                    <a:pt x="385" y="249"/>
                  </a:lnTo>
                  <a:lnTo>
                    <a:pt x="386" y="248"/>
                  </a:lnTo>
                  <a:lnTo>
                    <a:pt x="386" y="247"/>
                  </a:lnTo>
                  <a:lnTo>
                    <a:pt x="386" y="246"/>
                  </a:lnTo>
                  <a:lnTo>
                    <a:pt x="386" y="246"/>
                  </a:lnTo>
                  <a:lnTo>
                    <a:pt x="386" y="245"/>
                  </a:lnTo>
                  <a:lnTo>
                    <a:pt x="386" y="245"/>
                  </a:lnTo>
                  <a:lnTo>
                    <a:pt x="385" y="244"/>
                  </a:lnTo>
                  <a:lnTo>
                    <a:pt x="385" y="243"/>
                  </a:lnTo>
                  <a:lnTo>
                    <a:pt x="384" y="242"/>
                  </a:lnTo>
                  <a:lnTo>
                    <a:pt x="383" y="241"/>
                  </a:lnTo>
                  <a:lnTo>
                    <a:pt x="383" y="240"/>
                  </a:lnTo>
                  <a:lnTo>
                    <a:pt x="382" y="240"/>
                  </a:lnTo>
                  <a:lnTo>
                    <a:pt x="381" y="239"/>
                  </a:lnTo>
                  <a:lnTo>
                    <a:pt x="378" y="237"/>
                  </a:lnTo>
                  <a:lnTo>
                    <a:pt x="377" y="236"/>
                  </a:lnTo>
                  <a:lnTo>
                    <a:pt x="376" y="235"/>
                  </a:lnTo>
                  <a:lnTo>
                    <a:pt x="376" y="235"/>
                  </a:lnTo>
                  <a:lnTo>
                    <a:pt x="375" y="234"/>
                  </a:lnTo>
                  <a:lnTo>
                    <a:pt x="374" y="232"/>
                  </a:lnTo>
                  <a:lnTo>
                    <a:pt x="373" y="231"/>
                  </a:lnTo>
                  <a:lnTo>
                    <a:pt x="372" y="231"/>
                  </a:lnTo>
                  <a:lnTo>
                    <a:pt x="372" y="230"/>
                  </a:lnTo>
                  <a:lnTo>
                    <a:pt x="371" y="230"/>
                  </a:lnTo>
                  <a:lnTo>
                    <a:pt x="370" y="229"/>
                  </a:lnTo>
                  <a:lnTo>
                    <a:pt x="366" y="227"/>
                  </a:lnTo>
                  <a:lnTo>
                    <a:pt x="365" y="226"/>
                  </a:lnTo>
                  <a:lnTo>
                    <a:pt x="362" y="226"/>
                  </a:lnTo>
                  <a:lnTo>
                    <a:pt x="360" y="225"/>
                  </a:lnTo>
                  <a:lnTo>
                    <a:pt x="360" y="225"/>
                  </a:lnTo>
                  <a:lnTo>
                    <a:pt x="359" y="224"/>
                  </a:lnTo>
                  <a:lnTo>
                    <a:pt x="358" y="224"/>
                  </a:lnTo>
                  <a:lnTo>
                    <a:pt x="357" y="223"/>
                  </a:lnTo>
                  <a:lnTo>
                    <a:pt x="357" y="222"/>
                  </a:lnTo>
                  <a:lnTo>
                    <a:pt x="356" y="222"/>
                  </a:lnTo>
                  <a:lnTo>
                    <a:pt x="355" y="221"/>
                  </a:lnTo>
                  <a:lnTo>
                    <a:pt x="355" y="220"/>
                  </a:lnTo>
                  <a:lnTo>
                    <a:pt x="355" y="219"/>
                  </a:lnTo>
                  <a:lnTo>
                    <a:pt x="354" y="217"/>
                  </a:lnTo>
                  <a:lnTo>
                    <a:pt x="353" y="216"/>
                  </a:lnTo>
                  <a:lnTo>
                    <a:pt x="353" y="216"/>
                  </a:lnTo>
                  <a:lnTo>
                    <a:pt x="353" y="216"/>
                  </a:lnTo>
                  <a:lnTo>
                    <a:pt x="352" y="215"/>
                  </a:lnTo>
                  <a:lnTo>
                    <a:pt x="351" y="215"/>
                  </a:lnTo>
                  <a:lnTo>
                    <a:pt x="349" y="215"/>
                  </a:lnTo>
                  <a:lnTo>
                    <a:pt x="348" y="214"/>
                  </a:lnTo>
                  <a:lnTo>
                    <a:pt x="347" y="214"/>
                  </a:lnTo>
                  <a:lnTo>
                    <a:pt x="346" y="213"/>
                  </a:lnTo>
                  <a:lnTo>
                    <a:pt x="343" y="211"/>
                  </a:lnTo>
                  <a:lnTo>
                    <a:pt x="342" y="210"/>
                  </a:lnTo>
                  <a:lnTo>
                    <a:pt x="339" y="208"/>
                  </a:lnTo>
                  <a:lnTo>
                    <a:pt x="338" y="207"/>
                  </a:lnTo>
                  <a:lnTo>
                    <a:pt x="338" y="207"/>
                  </a:lnTo>
                  <a:lnTo>
                    <a:pt x="337" y="207"/>
                  </a:lnTo>
                  <a:lnTo>
                    <a:pt x="337" y="206"/>
                  </a:lnTo>
                  <a:lnTo>
                    <a:pt x="337" y="205"/>
                  </a:lnTo>
                  <a:lnTo>
                    <a:pt x="336" y="205"/>
                  </a:lnTo>
                  <a:lnTo>
                    <a:pt x="336" y="204"/>
                  </a:lnTo>
                  <a:lnTo>
                    <a:pt x="336" y="204"/>
                  </a:lnTo>
                  <a:lnTo>
                    <a:pt x="336" y="204"/>
                  </a:lnTo>
                  <a:lnTo>
                    <a:pt x="337" y="203"/>
                  </a:lnTo>
                  <a:lnTo>
                    <a:pt x="336" y="203"/>
                  </a:lnTo>
                  <a:lnTo>
                    <a:pt x="336" y="203"/>
                  </a:lnTo>
                  <a:lnTo>
                    <a:pt x="335" y="203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8">
              <a:extLst>
                <a:ext uri="{FF2B5EF4-FFF2-40B4-BE49-F238E27FC236}">
                  <a16:creationId xmlns:a16="http://schemas.microsoft.com/office/drawing/2014/main" id="{BC7F1EF3-C133-39CD-BCDD-0F6D2BF4B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1" y="3069"/>
              <a:ext cx="438" cy="512"/>
            </a:xfrm>
            <a:custGeom>
              <a:avLst/>
              <a:gdLst>
                <a:gd name="T0" fmla="*/ 269 w 438"/>
                <a:gd name="T1" fmla="*/ 10 h 512"/>
                <a:gd name="T2" fmla="*/ 282 w 438"/>
                <a:gd name="T3" fmla="*/ 9 h 512"/>
                <a:gd name="T4" fmla="*/ 306 w 438"/>
                <a:gd name="T5" fmla="*/ 29 h 512"/>
                <a:gd name="T6" fmla="*/ 323 w 438"/>
                <a:gd name="T7" fmla="*/ 45 h 512"/>
                <a:gd name="T8" fmla="*/ 321 w 438"/>
                <a:gd name="T9" fmla="*/ 65 h 512"/>
                <a:gd name="T10" fmla="*/ 327 w 438"/>
                <a:gd name="T11" fmla="*/ 89 h 512"/>
                <a:gd name="T12" fmla="*/ 317 w 438"/>
                <a:gd name="T13" fmla="*/ 108 h 512"/>
                <a:gd name="T14" fmla="*/ 318 w 438"/>
                <a:gd name="T15" fmla="*/ 121 h 512"/>
                <a:gd name="T16" fmla="*/ 332 w 438"/>
                <a:gd name="T17" fmla="*/ 128 h 512"/>
                <a:gd name="T18" fmla="*/ 343 w 438"/>
                <a:gd name="T19" fmla="*/ 144 h 512"/>
                <a:gd name="T20" fmla="*/ 352 w 438"/>
                <a:gd name="T21" fmla="*/ 152 h 512"/>
                <a:gd name="T22" fmla="*/ 383 w 438"/>
                <a:gd name="T23" fmla="*/ 149 h 512"/>
                <a:gd name="T24" fmla="*/ 392 w 438"/>
                <a:gd name="T25" fmla="*/ 162 h 512"/>
                <a:gd name="T26" fmla="*/ 397 w 438"/>
                <a:gd name="T27" fmla="*/ 188 h 512"/>
                <a:gd name="T28" fmla="*/ 390 w 438"/>
                <a:gd name="T29" fmla="*/ 207 h 512"/>
                <a:gd name="T30" fmla="*/ 393 w 438"/>
                <a:gd name="T31" fmla="*/ 220 h 512"/>
                <a:gd name="T32" fmla="*/ 411 w 438"/>
                <a:gd name="T33" fmla="*/ 229 h 512"/>
                <a:gd name="T34" fmla="*/ 403 w 438"/>
                <a:gd name="T35" fmla="*/ 238 h 512"/>
                <a:gd name="T36" fmla="*/ 403 w 438"/>
                <a:gd name="T37" fmla="*/ 247 h 512"/>
                <a:gd name="T38" fmla="*/ 396 w 438"/>
                <a:gd name="T39" fmla="*/ 260 h 512"/>
                <a:gd name="T40" fmla="*/ 392 w 438"/>
                <a:gd name="T41" fmla="*/ 267 h 512"/>
                <a:gd name="T42" fmla="*/ 403 w 438"/>
                <a:gd name="T43" fmla="*/ 277 h 512"/>
                <a:gd name="T44" fmla="*/ 417 w 438"/>
                <a:gd name="T45" fmla="*/ 284 h 512"/>
                <a:gd name="T46" fmla="*/ 423 w 438"/>
                <a:gd name="T47" fmla="*/ 294 h 512"/>
                <a:gd name="T48" fmla="*/ 438 w 438"/>
                <a:gd name="T49" fmla="*/ 309 h 512"/>
                <a:gd name="T50" fmla="*/ 434 w 438"/>
                <a:gd name="T51" fmla="*/ 331 h 512"/>
                <a:gd name="T52" fmla="*/ 428 w 438"/>
                <a:gd name="T53" fmla="*/ 351 h 512"/>
                <a:gd name="T54" fmla="*/ 411 w 438"/>
                <a:gd name="T55" fmla="*/ 360 h 512"/>
                <a:gd name="T56" fmla="*/ 409 w 438"/>
                <a:gd name="T57" fmla="*/ 375 h 512"/>
                <a:gd name="T58" fmla="*/ 399 w 438"/>
                <a:gd name="T59" fmla="*/ 380 h 512"/>
                <a:gd name="T60" fmla="*/ 381 w 438"/>
                <a:gd name="T61" fmla="*/ 391 h 512"/>
                <a:gd name="T62" fmla="*/ 358 w 438"/>
                <a:gd name="T63" fmla="*/ 398 h 512"/>
                <a:gd name="T64" fmla="*/ 348 w 438"/>
                <a:gd name="T65" fmla="*/ 402 h 512"/>
                <a:gd name="T66" fmla="*/ 334 w 438"/>
                <a:gd name="T67" fmla="*/ 428 h 512"/>
                <a:gd name="T68" fmla="*/ 349 w 438"/>
                <a:gd name="T69" fmla="*/ 443 h 512"/>
                <a:gd name="T70" fmla="*/ 353 w 438"/>
                <a:gd name="T71" fmla="*/ 458 h 512"/>
                <a:gd name="T72" fmla="*/ 337 w 438"/>
                <a:gd name="T73" fmla="*/ 464 h 512"/>
                <a:gd name="T74" fmla="*/ 329 w 438"/>
                <a:gd name="T75" fmla="*/ 473 h 512"/>
                <a:gd name="T76" fmla="*/ 312 w 438"/>
                <a:gd name="T77" fmla="*/ 468 h 512"/>
                <a:gd name="T78" fmla="*/ 281 w 438"/>
                <a:gd name="T79" fmla="*/ 469 h 512"/>
                <a:gd name="T80" fmla="*/ 275 w 438"/>
                <a:gd name="T81" fmla="*/ 477 h 512"/>
                <a:gd name="T82" fmla="*/ 263 w 438"/>
                <a:gd name="T83" fmla="*/ 484 h 512"/>
                <a:gd name="T84" fmla="*/ 255 w 438"/>
                <a:gd name="T85" fmla="*/ 495 h 512"/>
                <a:gd name="T86" fmla="*/ 242 w 438"/>
                <a:gd name="T87" fmla="*/ 478 h 512"/>
                <a:gd name="T88" fmla="*/ 232 w 438"/>
                <a:gd name="T89" fmla="*/ 478 h 512"/>
                <a:gd name="T90" fmla="*/ 210 w 438"/>
                <a:gd name="T91" fmla="*/ 464 h 512"/>
                <a:gd name="T92" fmla="*/ 199 w 438"/>
                <a:gd name="T93" fmla="*/ 477 h 512"/>
                <a:gd name="T94" fmla="*/ 198 w 438"/>
                <a:gd name="T95" fmla="*/ 495 h 512"/>
                <a:gd name="T96" fmla="*/ 175 w 438"/>
                <a:gd name="T97" fmla="*/ 511 h 512"/>
                <a:gd name="T98" fmla="*/ 160 w 438"/>
                <a:gd name="T99" fmla="*/ 507 h 512"/>
                <a:gd name="T100" fmla="*/ 155 w 438"/>
                <a:gd name="T101" fmla="*/ 499 h 512"/>
                <a:gd name="T102" fmla="*/ 132 w 438"/>
                <a:gd name="T103" fmla="*/ 498 h 512"/>
                <a:gd name="T104" fmla="*/ 117 w 438"/>
                <a:gd name="T105" fmla="*/ 499 h 512"/>
                <a:gd name="T106" fmla="*/ 102 w 438"/>
                <a:gd name="T107" fmla="*/ 494 h 512"/>
                <a:gd name="T108" fmla="*/ 90 w 438"/>
                <a:gd name="T109" fmla="*/ 502 h 512"/>
                <a:gd name="T110" fmla="*/ 78 w 438"/>
                <a:gd name="T111" fmla="*/ 498 h 512"/>
                <a:gd name="T112" fmla="*/ 63 w 438"/>
                <a:gd name="T113" fmla="*/ 487 h 512"/>
                <a:gd name="T114" fmla="*/ 45 w 438"/>
                <a:gd name="T115" fmla="*/ 495 h 512"/>
                <a:gd name="T116" fmla="*/ 18 w 438"/>
                <a:gd name="T117" fmla="*/ 500 h 512"/>
                <a:gd name="T118" fmla="*/ 1 w 438"/>
                <a:gd name="T119" fmla="*/ 499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8" h="512">
                  <a:moveTo>
                    <a:pt x="256" y="0"/>
                  </a:moveTo>
                  <a:lnTo>
                    <a:pt x="256" y="0"/>
                  </a:lnTo>
                  <a:lnTo>
                    <a:pt x="257" y="0"/>
                  </a:lnTo>
                  <a:lnTo>
                    <a:pt x="257" y="1"/>
                  </a:lnTo>
                  <a:lnTo>
                    <a:pt x="258" y="1"/>
                  </a:lnTo>
                  <a:lnTo>
                    <a:pt x="260" y="3"/>
                  </a:lnTo>
                  <a:lnTo>
                    <a:pt x="261" y="4"/>
                  </a:lnTo>
                  <a:lnTo>
                    <a:pt x="262" y="5"/>
                  </a:lnTo>
                  <a:lnTo>
                    <a:pt x="264" y="6"/>
                  </a:lnTo>
                  <a:lnTo>
                    <a:pt x="265" y="7"/>
                  </a:lnTo>
                  <a:lnTo>
                    <a:pt x="265" y="7"/>
                  </a:lnTo>
                  <a:lnTo>
                    <a:pt x="266" y="8"/>
                  </a:lnTo>
                  <a:lnTo>
                    <a:pt x="266" y="9"/>
                  </a:lnTo>
                  <a:lnTo>
                    <a:pt x="267" y="9"/>
                  </a:lnTo>
                  <a:lnTo>
                    <a:pt x="268" y="9"/>
                  </a:lnTo>
                  <a:lnTo>
                    <a:pt x="268" y="10"/>
                  </a:lnTo>
                  <a:lnTo>
                    <a:pt x="269" y="10"/>
                  </a:lnTo>
                  <a:lnTo>
                    <a:pt x="270" y="10"/>
                  </a:lnTo>
                  <a:lnTo>
                    <a:pt x="270" y="10"/>
                  </a:lnTo>
                  <a:lnTo>
                    <a:pt x="270" y="9"/>
                  </a:lnTo>
                  <a:lnTo>
                    <a:pt x="271" y="9"/>
                  </a:lnTo>
                  <a:lnTo>
                    <a:pt x="272" y="8"/>
                  </a:lnTo>
                  <a:lnTo>
                    <a:pt x="273" y="8"/>
                  </a:lnTo>
                  <a:lnTo>
                    <a:pt x="273" y="8"/>
                  </a:lnTo>
                  <a:lnTo>
                    <a:pt x="274" y="7"/>
                  </a:lnTo>
                  <a:lnTo>
                    <a:pt x="275" y="7"/>
                  </a:lnTo>
                  <a:lnTo>
                    <a:pt x="276" y="7"/>
                  </a:lnTo>
                  <a:lnTo>
                    <a:pt x="276" y="7"/>
                  </a:lnTo>
                  <a:lnTo>
                    <a:pt x="279" y="8"/>
                  </a:lnTo>
                  <a:lnTo>
                    <a:pt x="280" y="8"/>
                  </a:lnTo>
                  <a:lnTo>
                    <a:pt x="281" y="8"/>
                  </a:lnTo>
                  <a:lnTo>
                    <a:pt x="281" y="8"/>
                  </a:lnTo>
                  <a:lnTo>
                    <a:pt x="281" y="9"/>
                  </a:lnTo>
                  <a:lnTo>
                    <a:pt x="282" y="9"/>
                  </a:lnTo>
                  <a:lnTo>
                    <a:pt x="284" y="10"/>
                  </a:lnTo>
                  <a:lnTo>
                    <a:pt x="286" y="14"/>
                  </a:lnTo>
                  <a:lnTo>
                    <a:pt x="290" y="18"/>
                  </a:lnTo>
                  <a:lnTo>
                    <a:pt x="292" y="20"/>
                  </a:lnTo>
                  <a:lnTo>
                    <a:pt x="293" y="21"/>
                  </a:lnTo>
                  <a:lnTo>
                    <a:pt x="293" y="21"/>
                  </a:lnTo>
                  <a:lnTo>
                    <a:pt x="294" y="22"/>
                  </a:lnTo>
                  <a:lnTo>
                    <a:pt x="295" y="22"/>
                  </a:lnTo>
                  <a:lnTo>
                    <a:pt x="296" y="22"/>
                  </a:lnTo>
                  <a:lnTo>
                    <a:pt x="298" y="23"/>
                  </a:lnTo>
                  <a:lnTo>
                    <a:pt x="299" y="24"/>
                  </a:lnTo>
                  <a:lnTo>
                    <a:pt x="300" y="24"/>
                  </a:lnTo>
                  <a:lnTo>
                    <a:pt x="301" y="25"/>
                  </a:lnTo>
                  <a:lnTo>
                    <a:pt x="302" y="26"/>
                  </a:lnTo>
                  <a:lnTo>
                    <a:pt x="304" y="27"/>
                  </a:lnTo>
                  <a:lnTo>
                    <a:pt x="305" y="28"/>
                  </a:lnTo>
                  <a:lnTo>
                    <a:pt x="306" y="29"/>
                  </a:lnTo>
                  <a:lnTo>
                    <a:pt x="306" y="30"/>
                  </a:lnTo>
                  <a:lnTo>
                    <a:pt x="307" y="31"/>
                  </a:lnTo>
                  <a:lnTo>
                    <a:pt x="308" y="32"/>
                  </a:lnTo>
                  <a:lnTo>
                    <a:pt x="310" y="35"/>
                  </a:lnTo>
                  <a:lnTo>
                    <a:pt x="310" y="36"/>
                  </a:lnTo>
                  <a:lnTo>
                    <a:pt x="310" y="37"/>
                  </a:lnTo>
                  <a:lnTo>
                    <a:pt x="311" y="37"/>
                  </a:lnTo>
                  <a:lnTo>
                    <a:pt x="312" y="38"/>
                  </a:lnTo>
                  <a:lnTo>
                    <a:pt x="313" y="38"/>
                  </a:lnTo>
                  <a:lnTo>
                    <a:pt x="313" y="39"/>
                  </a:lnTo>
                  <a:lnTo>
                    <a:pt x="314" y="39"/>
                  </a:lnTo>
                  <a:lnTo>
                    <a:pt x="316" y="40"/>
                  </a:lnTo>
                  <a:lnTo>
                    <a:pt x="317" y="41"/>
                  </a:lnTo>
                  <a:lnTo>
                    <a:pt x="322" y="43"/>
                  </a:lnTo>
                  <a:lnTo>
                    <a:pt x="323" y="43"/>
                  </a:lnTo>
                  <a:lnTo>
                    <a:pt x="324" y="44"/>
                  </a:lnTo>
                  <a:lnTo>
                    <a:pt x="323" y="45"/>
                  </a:lnTo>
                  <a:lnTo>
                    <a:pt x="322" y="46"/>
                  </a:lnTo>
                  <a:lnTo>
                    <a:pt x="320" y="48"/>
                  </a:lnTo>
                  <a:lnTo>
                    <a:pt x="319" y="49"/>
                  </a:lnTo>
                  <a:lnTo>
                    <a:pt x="318" y="50"/>
                  </a:lnTo>
                  <a:lnTo>
                    <a:pt x="317" y="51"/>
                  </a:lnTo>
                  <a:lnTo>
                    <a:pt x="317" y="52"/>
                  </a:lnTo>
                  <a:lnTo>
                    <a:pt x="317" y="52"/>
                  </a:lnTo>
                  <a:lnTo>
                    <a:pt x="317" y="53"/>
                  </a:lnTo>
                  <a:lnTo>
                    <a:pt x="317" y="54"/>
                  </a:lnTo>
                  <a:lnTo>
                    <a:pt x="317" y="54"/>
                  </a:lnTo>
                  <a:lnTo>
                    <a:pt x="317" y="55"/>
                  </a:lnTo>
                  <a:lnTo>
                    <a:pt x="317" y="56"/>
                  </a:lnTo>
                  <a:lnTo>
                    <a:pt x="318" y="58"/>
                  </a:lnTo>
                  <a:lnTo>
                    <a:pt x="319" y="60"/>
                  </a:lnTo>
                  <a:lnTo>
                    <a:pt x="319" y="61"/>
                  </a:lnTo>
                  <a:lnTo>
                    <a:pt x="320" y="63"/>
                  </a:lnTo>
                  <a:lnTo>
                    <a:pt x="321" y="65"/>
                  </a:lnTo>
                  <a:lnTo>
                    <a:pt x="321" y="66"/>
                  </a:lnTo>
                  <a:lnTo>
                    <a:pt x="321" y="66"/>
                  </a:lnTo>
                  <a:lnTo>
                    <a:pt x="321" y="67"/>
                  </a:lnTo>
                  <a:lnTo>
                    <a:pt x="321" y="69"/>
                  </a:lnTo>
                  <a:lnTo>
                    <a:pt x="321" y="74"/>
                  </a:lnTo>
                  <a:lnTo>
                    <a:pt x="321" y="75"/>
                  </a:lnTo>
                  <a:lnTo>
                    <a:pt x="321" y="76"/>
                  </a:lnTo>
                  <a:lnTo>
                    <a:pt x="322" y="77"/>
                  </a:lnTo>
                  <a:lnTo>
                    <a:pt x="322" y="78"/>
                  </a:lnTo>
                  <a:lnTo>
                    <a:pt x="322" y="78"/>
                  </a:lnTo>
                  <a:lnTo>
                    <a:pt x="323" y="80"/>
                  </a:lnTo>
                  <a:lnTo>
                    <a:pt x="324" y="81"/>
                  </a:lnTo>
                  <a:lnTo>
                    <a:pt x="324" y="82"/>
                  </a:lnTo>
                  <a:lnTo>
                    <a:pt x="325" y="83"/>
                  </a:lnTo>
                  <a:lnTo>
                    <a:pt x="325" y="84"/>
                  </a:lnTo>
                  <a:lnTo>
                    <a:pt x="326" y="87"/>
                  </a:lnTo>
                  <a:lnTo>
                    <a:pt x="327" y="89"/>
                  </a:lnTo>
                  <a:lnTo>
                    <a:pt x="327" y="90"/>
                  </a:lnTo>
                  <a:lnTo>
                    <a:pt x="327" y="91"/>
                  </a:lnTo>
                  <a:lnTo>
                    <a:pt x="327" y="93"/>
                  </a:lnTo>
                  <a:lnTo>
                    <a:pt x="326" y="94"/>
                  </a:lnTo>
                  <a:lnTo>
                    <a:pt x="326" y="95"/>
                  </a:lnTo>
                  <a:lnTo>
                    <a:pt x="325" y="96"/>
                  </a:lnTo>
                  <a:lnTo>
                    <a:pt x="325" y="97"/>
                  </a:lnTo>
                  <a:lnTo>
                    <a:pt x="323" y="99"/>
                  </a:lnTo>
                  <a:lnTo>
                    <a:pt x="323" y="100"/>
                  </a:lnTo>
                  <a:lnTo>
                    <a:pt x="322" y="101"/>
                  </a:lnTo>
                  <a:lnTo>
                    <a:pt x="321" y="104"/>
                  </a:lnTo>
                  <a:lnTo>
                    <a:pt x="321" y="105"/>
                  </a:lnTo>
                  <a:lnTo>
                    <a:pt x="321" y="105"/>
                  </a:lnTo>
                  <a:lnTo>
                    <a:pt x="320" y="105"/>
                  </a:lnTo>
                  <a:lnTo>
                    <a:pt x="320" y="106"/>
                  </a:lnTo>
                  <a:lnTo>
                    <a:pt x="319" y="106"/>
                  </a:lnTo>
                  <a:lnTo>
                    <a:pt x="317" y="108"/>
                  </a:lnTo>
                  <a:lnTo>
                    <a:pt x="316" y="108"/>
                  </a:lnTo>
                  <a:lnTo>
                    <a:pt x="316" y="108"/>
                  </a:lnTo>
                  <a:lnTo>
                    <a:pt x="315" y="109"/>
                  </a:lnTo>
                  <a:lnTo>
                    <a:pt x="315" y="110"/>
                  </a:lnTo>
                  <a:lnTo>
                    <a:pt x="315" y="110"/>
                  </a:lnTo>
                  <a:lnTo>
                    <a:pt x="314" y="111"/>
                  </a:lnTo>
                  <a:lnTo>
                    <a:pt x="314" y="111"/>
                  </a:lnTo>
                  <a:lnTo>
                    <a:pt x="314" y="112"/>
                  </a:lnTo>
                  <a:lnTo>
                    <a:pt x="314" y="113"/>
                  </a:lnTo>
                  <a:lnTo>
                    <a:pt x="315" y="114"/>
                  </a:lnTo>
                  <a:lnTo>
                    <a:pt x="315" y="114"/>
                  </a:lnTo>
                  <a:lnTo>
                    <a:pt x="315" y="115"/>
                  </a:lnTo>
                  <a:lnTo>
                    <a:pt x="316" y="117"/>
                  </a:lnTo>
                  <a:lnTo>
                    <a:pt x="317" y="118"/>
                  </a:lnTo>
                  <a:lnTo>
                    <a:pt x="317" y="119"/>
                  </a:lnTo>
                  <a:lnTo>
                    <a:pt x="318" y="120"/>
                  </a:lnTo>
                  <a:lnTo>
                    <a:pt x="318" y="121"/>
                  </a:lnTo>
                  <a:lnTo>
                    <a:pt x="318" y="122"/>
                  </a:lnTo>
                  <a:lnTo>
                    <a:pt x="319" y="123"/>
                  </a:lnTo>
                  <a:lnTo>
                    <a:pt x="319" y="124"/>
                  </a:lnTo>
                  <a:lnTo>
                    <a:pt x="320" y="124"/>
                  </a:lnTo>
                  <a:lnTo>
                    <a:pt x="320" y="125"/>
                  </a:lnTo>
                  <a:lnTo>
                    <a:pt x="321" y="125"/>
                  </a:lnTo>
                  <a:lnTo>
                    <a:pt x="322" y="126"/>
                  </a:lnTo>
                  <a:lnTo>
                    <a:pt x="323" y="126"/>
                  </a:lnTo>
                  <a:lnTo>
                    <a:pt x="323" y="126"/>
                  </a:lnTo>
                  <a:lnTo>
                    <a:pt x="324" y="127"/>
                  </a:lnTo>
                  <a:lnTo>
                    <a:pt x="324" y="127"/>
                  </a:lnTo>
                  <a:lnTo>
                    <a:pt x="325" y="127"/>
                  </a:lnTo>
                  <a:lnTo>
                    <a:pt x="326" y="127"/>
                  </a:lnTo>
                  <a:lnTo>
                    <a:pt x="329" y="127"/>
                  </a:lnTo>
                  <a:lnTo>
                    <a:pt x="330" y="128"/>
                  </a:lnTo>
                  <a:lnTo>
                    <a:pt x="330" y="128"/>
                  </a:lnTo>
                  <a:lnTo>
                    <a:pt x="332" y="128"/>
                  </a:lnTo>
                  <a:lnTo>
                    <a:pt x="333" y="129"/>
                  </a:lnTo>
                  <a:lnTo>
                    <a:pt x="334" y="129"/>
                  </a:lnTo>
                  <a:lnTo>
                    <a:pt x="334" y="130"/>
                  </a:lnTo>
                  <a:lnTo>
                    <a:pt x="335" y="130"/>
                  </a:lnTo>
                  <a:lnTo>
                    <a:pt x="336" y="132"/>
                  </a:lnTo>
                  <a:lnTo>
                    <a:pt x="336" y="132"/>
                  </a:lnTo>
                  <a:lnTo>
                    <a:pt x="337" y="133"/>
                  </a:lnTo>
                  <a:lnTo>
                    <a:pt x="338" y="134"/>
                  </a:lnTo>
                  <a:lnTo>
                    <a:pt x="339" y="135"/>
                  </a:lnTo>
                  <a:lnTo>
                    <a:pt x="341" y="137"/>
                  </a:lnTo>
                  <a:lnTo>
                    <a:pt x="341" y="137"/>
                  </a:lnTo>
                  <a:lnTo>
                    <a:pt x="342" y="138"/>
                  </a:lnTo>
                  <a:lnTo>
                    <a:pt x="342" y="139"/>
                  </a:lnTo>
                  <a:lnTo>
                    <a:pt x="343" y="139"/>
                  </a:lnTo>
                  <a:lnTo>
                    <a:pt x="343" y="140"/>
                  </a:lnTo>
                  <a:lnTo>
                    <a:pt x="343" y="142"/>
                  </a:lnTo>
                  <a:lnTo>
                    <a:pt x="343" y="144"/>
                  </a:lnTo>
                  <a:lnTo>
                    <a:pt x="343" y="144"/>
                  </a:lnTo>
                  <a:lnTo>
                    <a:pt x="343" y="145"/>
                  </a:lnTo>
                  <a:lnTo>
                    <a:pt x="343" y="146"/>
                  </a:lnTo>
                  <a:lnTo>
                    <a:pt x="344" y="147"/>
                  </a:lnTo>
                  <a:lnTo>
                    <a:pt x="344" y="148"/>
                  </a:lnTo>
                  <a:lnTo>
                    <a:pt x="344" y="148"/>
                  </a:lnTo>
                  <a:lnTo>
                    <a:pt x="345" y="149"/>
                  </a:lnTo>
                  <a:lnTo>
                    <a:pt x="345" y="149"/>
                  </a:lnTo>
                  <a:lnTo>
                    <a:pt x="346" y="150"/>
                  </a:lnTo>
                  <a:lnTo>
                    <a:pt x="347" y="150"/>
                  </a:lnTo>
                  <a:lnTo>
                    <a:pt x="347" y="151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50" y="152"/>
                  </a:lnTo>
                  <a:lnTo>
                    <a:pt x="350" y="152"/>
                  </a:lnTo>
                  <a:lnTo>
                    <a:pt x="351" y="152"/>
                  </a:lnTo>
                  <a:lnTo>
                    <a:pt x="352" y="152"/>
                  </a:lnTo>
                  <a:lnTo>
                    <a:pt x="353" y="152"/>
                  </a:lnTo>
                  <a:lnTo>
                    <a:pt x="357" y="151"/>
                  </a:lnTo>
                  <a:lnTo>
                    <a:pt x="358" y="151"/>
                  </a:lnTo>
                  <a:lnTo>
                    <a:pt x="359" y="151"/>
                  </a:lnTo>
                  <a:lnTo>
                    <a:pt x="363" y="152"/>
                  </a:lnTo>
                  <a:lnTo>
                    <a:pt x="366" y="152"/>
                  </a:lnTo>
                  <a:lnTo>
                    <a:pt x="369" y="153"/>
                  </a:lnTo>
                  <a:lnTo>
                    <a:pt x="370" y="153"/>
                  </a:lnTo>
                  <a:lnTo>
                    <a:pt x="371" y="153"/>
                  </a:lnTo>
                  <a:lnTo>
                    <a:pt x="372" y="153"/>
                  </a:lnTo>
                  <a:lnTo>
                    <a:pt x="373" y="152"/>
                  </a:lnTo>
                  <a:lnTo>
                    <a:pt x="377" y="151"/>
                  </a:lnTo>
                  <a:lnTo>
                    <a:pt x="379" y="150"/>
                  </a:lnTo>
                  <a:lnTo>
                    <a:pt x="380" y="150"/>
                  </a:lnTo>
                  <a:lnTo>
                    <a:pt x="382" y="149"/>
                  </a:lnTo>
                  <a:lnTo>
                    <a:pt x="382" y="149"/>
                  </a:lnTo>
                  <a:lnTo>
                    <a:pt x="383" y="149"/>
                  </a:lnTo>
                  <a:lnTo>
                    <a:pt x="384" y="149"/>
                  </a:lnTo>
                  <a:lnTo>
                    <a:pt x="384" y="149"/>
                  </a:lnTo>
                  <a:lnTo>
                    <a:pt x="385" y="149"/>
                  </a:lnTo>
                  <a:lnTo>
                    <a:pt x="386" y="149"/>
                  </a:lnTo>
                  <a:lnTo>
                    <a:pt x="386" y="150"/>
                  </a:lnTo>
                  <a:lnTo>
                    <a:pt x="387" y="151"/>
                  </a:lnTo>
                  <a:lnTo>
                    <a:pt x="389" y="152"/>
                  </a:lnTo>
                  <a:lnTo>
                    <a:pt x="389" y="153"/>
                  </a:lnTo>
                  <a:lnTo>
                    <a:pt x="390" y="153"/>
                  </a:lnTo>
                  <a:lnTo>
                    <a:pt x="391" y="154"/>
                  </a:lnTo>
                  <a:lnTo>
                    <a:pt x="391" y="155"/>
                  </a:lnTo>
                  <a:lnTo>
                    <a:pt x="391" y="155"/>
                  </a:lnTo>
                  <a:lnTo>
                    <a:pt x="392" y="156"/>
                  </a:lnTo>
                  <a:lnTo>
                    <a:pt x="392" y="158"/>
                  </a:lnTo>
                  <a:lnTo>
                    <a:pt x="392" y="158"/>
                  </a:lnTo>
                  <a:lnTo>
                    <a:pt x="392" y="160"/>
                  </a:lnTo>
                  <a:lnTo>
                    <a:pt x="392" y="162"/>
                  </a:lnTo>
                  <a:lnTo>
                    <a:pt x="393" y="165"/>
                  </a:lnTo>
                  <a:lnTo>
                    <a:pt x="393" y="167"/>
                  </a:lnTo>
                  <a:lnTo>
                    <a:pt x="392" y="168"/>
                  </a:lnTo>
                  <a:lnTo>
                    <a:pt x="392" y="171"/>
                  </a:lnTo>
                  <a:lnTo>
                    <a:pt x="392" y="172"/>
                  </a:lnTo>
                  <a:lnTo>
                    <a:pt x="392" y="173"/>
                  </a:lnTo>
                  <a:lnTo>
                    <a:pt x="392" y="174"/>
                  </a:lnTo>
                  <a:lnTo>
                    <a:pt x="392" y="176"/>
                  </a:lnTo>
                  <a:lnTo>
                    <a:pt x="392" y="178"/>
                  </a:lnTo>
                  <a:lnTo>
                    <a:pt x="392" y="179"/>
                  </a:lnTo>
                  <a:lnTo>
                    <a:pt x="392" y="179"/>
                  </a:lnTo>
                  <a:lnTo>
                    <a:pt x="392" y="180"/>
                  </a:lnTo>
                  <a:lnTo>
                    <a:pt x="393" y="182"/>
                  </a:lnTo>
                  <a:lnTo>
                    <a:pt x="394" y="183"/>
                  </a:lnTo>
                  <a:lnTo>
                    <a:pt x="396" y="185"/>
                  </a:lnTo>
                  <a:lnTo>
                    <a:pt x="396" y="186"/>
                  </a:lnTo>
                  <a:lnTo>
                    <a:pt x="397" y="188"/>
                  </a:lnTo>
                  <a:lnTo>
                    <a:pt x="397" y="189"/>
                  </a:lnTo>
                  <a:lnTo>
                    <a:pt x="398" y="191"/>
                  </a:lnTo>
                  <a:lnTo>
                    <a:pt x="398" y="191"/>
                  </a:lnTo>
                  <a:lnTo>
                    <a:pt x="398" y="192"/>
                  </a:lnTo>
                  <a:lnTo>
                    <a:pt x="398" y="192"/>
                  </a:lnTo>
                  <a:lnTo>
                    <a:pt x="398" y="193"/>
                  </a:lnTo>
                  <a:lnTo>
                    <a:pt x="398" y="194"/>
                  </a:lnTo>
                  <a:lnTo>
                    <a:pt x="397" y="195"/>
                  </a:lnTo>
                  <a:lnTo>
                    <a:pt x="397" y="196"/>
                  </a:lnTo>
                  <a:lnTo>
                    <a:pt x="396" y="198"/>
                  </a:lnTo>
                  <a:lnTo>
                    <a:pt x="396" y="199"/>
                  </a:lnTo>
                  <a:lnTo>
                    <a:pt x="395" y="200"/>
                  </a:lnTo>
                  <a:lnTo>
                    <a:pt x="394" y="202"/>
                  </a:lnTo>
                  <a:lnTo>
                    <a:pt x="393" y="203"/>
                  </a:lnTo>
                  <a:lnTo>
                    <a:pt x="392" y="204"/>
                  </a:lnTo>
                  <a:lnTo>
                    <a:pt x="391" y="206"/>
                  </a:lnTo>
                  <a:lnTo>
                    <a:pt x="390" y="207"/>
                  </a:lnTo>
                  <a:lnTo>
                    <a:pt x="389" y="208"/>
                  </a:lnTo>
                  <a:lnTo>
                    <a:pt x="389" y="209"/>
                  </a:lnTo>
                  <a:lnTo>
                    <a:pt x="388" y="210"/>
                  </a:lnTo>
                  <a:lnTo>
                    <a:pt x="388" y="210"/>
                  </a:lnTo>
                  <a:lnTo>
                    <a:pt x="388" y="211"/>
                  </a:lnTo>
                  <a:lnTo>
                    <a:pt x="389" y="212"/>
                  </a:lnTo>
                  <a:lnTo>
                    <a:pt x="389" y="213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8" y="217"/>
                  </a:lnTo>
                  <a:lnTo>
                    <a:pt x="388" y="217"/>
                  </a:lnTo>
                  <a:lnTo>
                    <a:pt x="388" y="217"/>
                  </a:lnTo>
                  <a:lnTo>
                    <a:pt x="388" y="218"/>
                  </a:lnTo>
                  <a:lnTo>
                    <a:pt x="388" y="218"/>
                  </a:lnTo>
                  <a:lnTo>
                    <a:pt x="389" y="218"/>
                  </a:lnTo>
                  <a:lnTo>
                    <a:pt x="390" y="219"/>
                  </a:lnTo>
                  <a:lnTo>
                    <a:pt x="393" y="220"/>
                  </a:lnTo>
                  <a:lnTo>
                    <a:pt x="397" y="221"/>
                  </a:lnTo>
                  <a:lnTo>
                    <a:pt x="398" y="221"/>
                  </a:lnTo>
                  <a:lnTo>
                    <a:pt x="399" y="221"/>
                  </a:lnTo>
                  <a:lnTo>
                    <a:pt x="401" y="222"/>
                  </a:lnTo>
                  <a:lnTo>
                    <a:pt x="402" y="222"/>
                  </a:lnTo>
                  <a:lnTo>
                    <a:pt x="403" y="222"/>
                  </a:lnTo>
                  <a:lnTo>
                    <a:pt x="404" y="223"/>
                  </a:lnTo>
                  <a:lnTo>
                    <a:pt x="405" y="223"/>
                  </a:lnTo>
                  <a:lnTo>
                    <a:pt x="407" y="225"/>
                  </a:lnTo>
                  <a:lnTo>
                    <a:pt x="408" y="226"/>
                  </a:lnTo>
                  <a:lnTo>
                    <a:pt x="410" y="226"/>
                  </a:lnTo>
                  <a:lnTo>
                    <a:pt x="410" y="227"/>
                  </a:lnTo>
                  <a:lnTo>
                    <a:pt x="410" y="227"/>
                  </a:lnTo>
                  <a:lnTo>
                    <a:pt x="411" y="228"/>
                  </a:lnTo>
                  <a:lnTo>
                    <a:pt x="411" y="228"/>
                  </a:lnTo>
                  <a:lnTo>
                    <a:pt x="411" y="229"/>
                  </a:lnTo>
                  <a:lnTo>
                    <a:pt x="411" y="229"/>
                  </a:lnTo>
                  <a:lnTo>
                    <a:pt x="411" y="230"/>
                  </a:lnTo>
                  <a:lnTo>
                    <a:pt x="411" y="231"/>
                  </a:lnTo>
                  <a:lnTo>
                    <a:pt x="411" y="231"/>
                  </a:lnTo>
                  <a:lnTo>
                    <a:pt x="411" y="233"/>
                  </a:lnTo>
                  <a:lnTo>
                    <a:pt x="411" y="234"/>
                  </a:lnTo>
                  <a:lnTo>
                    <a:pt x="411" y="235"/>
                  </a:lnTo>
                  <a:lnTo>
                    <a:pt x="410" y="235"/>
                  </a:lnTo>
                  <a:lnTo>
                    <a:pt x="410" y="236"/>
                  </a:lnTo>
                  <a:lnTo>
                    <a:pt x="410" y="236"/>
                  </a:lnTo>
                  <a:lnTo>
                    <a:pt x="409" y="236"/>
                  </a:lnTo>
                  <a:lnTo>
                    <a:pt x="408" y="236"/>
                  </a:lnTo>
                  <a:lnTo>
                    <a:pt x="408" y="237"/>
                  </a:lnTo>
                  <a:lnTo>
                    <a:pt x="407" y="237"/>
                  </a:lnTo>
                  <a:lnTo>
                    <a:pt x="405" y="237"/>
                  </a:lnTo>
                  <a:lnTo>
                    <a:pt x="404" y="238"/>
                  </a:lnTo>
                  <a:lnTo>
                    <a:pt x="404" y="238"/>
                  </a:lnTo>
                  <a:lnTo>
                    <a:pt x="403" y="238"/>
                  </a:lnTo>
                  <a:lnTo>
                    <a:pt x="403" y="239"/>
                  </a:lnTo>
                  <a:lnTo>
                    <a:pt x="402" y="239"/>
                  </a:lnTo>
                  <a:lnTo>
                    <a:pt x="402" y="239"/>
                  </a:lnTo>
                  <a:lnTo>
                    <a:pt x="402" y="240"/>
                  </a:lnTo>
                  <a:lnTo>
                    <a:pt x="402" y="240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403" y="242"/>
                  </a:lnTo>
                  <a:lnTo>
                    <a:pt x="404" y="243"/>
                  </a:lnTo>
                  <a:lnTo>
                    <a:pt x="404" y="243"/>
                  </a:lnTo>
                  <a:lnTo>
                    <a:pt x="404" y="244"/>
                  </a:lnTo>
                  <a:lnTo>
                    <a:pt x="404" y="244"/>
                  </a:lnTo>
                  <a:lnTo>
                    <a:pt x="404" y="245"/>
                  </a:lnTo>
                  <a:lnTo>
                    <a:pt x="404" y="245"/>
                  </a:lnTo>
                  <a:lnTo>
                    <a:pt x="403" y="246"/>
                  </a:lnTo>
                  <a:lnTo>
                    <a:pt x="403" y="247"/>
                  </a:lnTo>
                  <a:lnTo>
                    <a:pt x="403" y="247"/>
                  </a:lnTo>
                  <a:lnTo>
                    <a:pt x="403" y="249"/>
                  </a:lnTo>
                  <a:lnTo>
                    <a:pt x="402" y="251"/>
                  </a:lnTo>
                  <a:lnTo>
                    <a:pt x="402" y="252"/>
                  </a:lnTo>
                  <a:lnTo>
                    <a:pt x="402" y="253"/>
                  </a:lnTo>
                  <a:lnTo>
                    <a:pt x="402" y="254"/>
                  </a:lnTo>
                  <a:lnTo>
                    <a:pt x="401" y="254"/>
                  </a:lnTo>
                  <a:lnTo>
                    <a:pt x="401" y="255"/>
                  </a:lnTo>
                  <a:lnTo>
                    <a:pt x="401" y="255"/>
                  </a:lnTo>
                  <a:lnTo>
                    <a:pt x="400" y="256"/>
                  </a:lnTo>
                  <a:lnTo>
                    <a:pt x="399" y="256"/>
                  </a:lnTo>
                  <a:lnTo>
                    <a:pt x="397" y="258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1"/>
                  </a:lnTo>
                  <a:lnTo>
                    <a:pt x="397" y="262"/>
                  </a:lnTo>
                  <a:lnTo>
                    <a:pt x="397" y="262"/>
                  </a:lnTo>
                  <a:lnTo>
                    <a:pt x="398" y="263"/>
                  </a:lnTo>
                  <a:lnTo>
                    <a:pt x="398" y="263"/>
                  </a:lnTo>
                  <a:lnTo>
                    <a:pt x="397" y="263"/>
                  </a:lnTo>
                  <a:lnTo>
                    <a:pt x="397" y="263"/>
                  </a:lnTo>
                  <a:lnTo>
                    <a:pt x="397" y="264"/>
                  </a:lnTo>
                  <a:lnTo>
                    <a:pt x="396" y="264"/>
                  </a:lnTo>
                  <a:lnTo>
                    <a:pt x="394" y="265"/>
                  </a:lnTo>
                  <a:lnTo>
                    <a:pt x="394" y="265"/>
                  </a:lnTo>
                  <a:lnTo>
                    <a:pt x="393" y="265"/>
                  </a:lnTo>
                  <a:lnTo>
                    <a:pt x="393" y="266"/>
                  </a:lnTo>
                  <a:lnTo>
                    <a:pt x="392" y="266"/>
                  </a:lnTo>
                  <a:lnTo>
                    <a:pt x="392" y="267"/>
                  </a:lnTo>
                  <a:lnTo>
                    <a:pt x="392" y="267"/>
                  </a:lnTo>
                  <a:lnTo>
                    <a:pt x="392" y="267"/>
                  </a:lnTo>
                  <a:lnTo>
                    <a:pt x="392" y="268"/>
                  </a:lnTo>
                  <a:lnTo>
                    <a:pt x="392" y="269"/>
                  </a:lnTo>
                  <a:lnTo>
                    <a:pt x="392" y="269"/>
                  </a:lnTo>
                  <a:lnTo>
                    <a:pt x="392" y="270"/>
                  </a:lnTo>
                  <a:lnTo>
                    <a:pt x="393" y="271"/>
                  </a:lnTo>
                  <a:lnTo>
                    <a:pt x="393" y="272"/>
                  </a:lnTo>
                  <a:lnTo>
                    <a:pt x="394" y="272"/>
                  </a:lnTo>
                  <a:lnTo>
                    <a:pt x="395" y="273"/>
                  </a:lnTo>
                  <a:lnTo>
                    <a:pt x="396" y="274"/>
                  </a:lnTo>
                  <a:lnTo>
                    <a:pt x="397" y="274"/>
                  </a:lnTo>
                  <a:lnTo>
                    <a:pt x="398" y="275"/>
                  </a:lnTo>
                  <a:lnTo>
                    <a:pt x="399" y="275"/>
                  </a:lnTo>
                  <a:lnTo>
                    <a:pt x="400" y="276"/>
                  </a:lnTo>
                  <a:lnTo>
                    <a:pt x="403" y="276"/>
                  </a:lnTo>
                  <a:lnTo>
                    <a:pt x="403" y="277"/>
                  </a:lnTo>
                  <a:lnTo>
                    <a:pt x="404" y="277"/>
                  </a:lnTo>
                  <a:lnTo>
                    <a:pt x="406" y="278"/>
                  </a:lnTo>
                  <a:lnTo>
                    <a:pt x="406" y="278"/>
                  </a:lnTo>
                  <a:lnTo>
                    <a:pt x="407" y="279"/>
                  </a:lnTo>
                  <a:lnTo>
                    <a:pt x="408" y="279"/>
                  </a:lnTo>
                  <a:lnTo>
                    <a:pt x="408" y="280"/>
                  </a:lnTo>
                  <a:lnTo>
                    <a:pt x="409" y="280"/>
                  </a:lnTo>
                  <a:lnTo>
                    <a:pt x="409" y="280"/>
                  </a:lnTo>
                  <a:lnTo>
                    <a:pt x="410" y="281"/>
                  </a:lnTo>
                  <a:lnTo>
                    <a:pt x="412" y="281"/>
                  </a:lnTo>
                  <a:lnTo>
                    <a:pt x="413" y="282"/>
                  </a:lnTo>
                  <a:lnTo>
                    <a:pt x="415" y="282"/>
                  </a:lnTo>
                  <a:lnTo>
                    <a:pt x="415" y="282"/>
                  </a:lnTo>
                  <a:lnTo>
                    <a:pt x="416" y="282"/>
                  </a:lnTo>
                  <a:lnTo>
                    <a:pt x="416" y="282"/>
                  </a:lnTo>
                  <a:lnTo>
                    <a:pt x="416" y="283"/>
                  </a:lnTo>
                  <a:lnTo>
                    <a:pt x="417" y="284"/>
                  </a:lnTo>
                  <a:lnTo>
                    <a:pt x="418" y="284"/>
                  </a:lnTo>
                  <a:lnTo>
                    <a:pt x="418" y="284"/>
                  </a:lnTo>
                  <a:lnTo>
                    <a:pt x="419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6"/>
                  </a:lnTo>
                  <a:lnTo>
                    <a:pt x="421" y="286"/>
                  </a:lnTo>
                  <a:lnTo>
                    <a:pt x="421" y="287"/>
                  </a:lnTo>
                  <a:lnTo>
                    <a:pt x="421" y="290"/>
                  </a:lnTo>
                  <a:lnTo>
                    <a:pt x="421" y="290"/>
                  </a:lnTo>
                  <a:lnTo>
                    <a:pt x="421" y="291"/>
                  </a:lnTo>
                  <a:lnTo>
                    <a:pt x="421" y="291"/>
                  </a:lnTo>
                  <a:lnTo>
                    <a:pt x="421" y="292"/>
                  </a:lnTo>
                  <a:lnTo>
                    <a:pt x="422" y="293"/>
                  </a:lnTo>
                  <a:lnTo>
                    <a:pt x="422" y="293"/>
                  </a:lnTo>
                  <a:lnTo>
                    <a:pt x="423" y="294"/>
                  </a:lnTo>
                  <a:lnTo>
                    <a:pt x="425" y="295"/>
                  </a:lnTo>
                  <a:lnTo>
                    <a:pt x="426" y="296"/>
                  </a:lnTo>
                  <a:lnTo>
                    <a:pt x="427" y="297"/>
                  </a:lnTo>
                  <a:lnTo>
                    <a:pt x="429" y="298"/>
                  </a:lnTo>
                  <a:lnTo>
                    <a:pt x="430" y="299"/>
                  </a:lnTo>
                  <a:lnTo>
                    <a:pt x="433" y="300"/>
                  </a:lnTo>
                  <a:lnTo>
                    <a:pt x="434" y="301"/>
                  </a:lnTo>
                  <a:lnTo>
                    <a:pt x="435" y="301"/>
                  </a:lnTo>
                  <a:lnTo>
                    <a:pt x="436" y="302"/>
                  </a:lnTo>
                  <a:lnTo>
                    <a:pt x="437" y="303"/>
                  </a:lnTo>
                  <a:lnTo>
                    <a:pt x="437" y="304"/>
                  </a:lnTo>
                  <a:lnTo>
                    <a:pt x="438" y="304"/>
                  </a:lnTo>
                  <a:lnTo>
                    <a:pt x="438" y="305"/>
                  </a:lnTo>
                  <a:lnTo>
                    <a:pt x="438" y="306"/>
                  </a:lnTo>
                  <a:lnTo>
                    <a:pt x="438" y="307"/>
                  </a:lnTo>
                  <a:lnTo>
                    <a:pt x="438" y="307"/>
                  </a:lnTo>
                  <a:lnTo>
                    <a:pt x="438" y="309"/>
                  </a:lnTo>
                  <a:lnTo>
                    <a:pt x="437" y="311"/>
                  </a:lnTo>
                  <a:lnTo>
                    <a:pt x="437" y="312"/>
                  </a:lnTo>
                  <a:lnTo>
                    <a:pt x="437" y="312"/>
                  </a:lnTo>
                  <a:lnTo>
                    <a:pt x="437" y="313"/>
                  </a:lnTo>
                  <a:lnTo>
                    <a:pt x="437" y="314"/>
                  </a:lnTo>
                  <a:lnTo>
                    <a:pt x="437" y="314"/>
                  </a:lnTo>
                  <a:lnTo>
                    <a:pt x="438" y="317"/>
                  </a:lnTo>
                  <a:lnTo>
                    <a:pt x="438" y="318"/>
                  </a:lnTo>
                  <a:lnTo>
                    <a:pt x="438" y="319"/>
                  </a:lnTo>
                  <a:lnTo>
                    <a:pt x="438" y="320"/>
                  </a:lnTo>
                  <a:lnTo>
                    <a:pt x="438" y="321"/>
                  </a:lnTo>
                  <a:lnTo>
                    <a:pt x="438" y="322"/>
                  </a:lnTo>
                  <a:lnTo>
                    <a:pt x="437" y="324"/>
                  </a:lnTo>
                  <a:lnTo>
                    <a:pt x="436" y="325"/>
                  </a:lnTo>
                  <a:lnTo>
                    <a:pt x="435" y="329"/>
                  </a:lnTo>
                  <a:lnTo>
                    <a:pt x="434" y="330"/>
                  </a:lnTo>
                  <a:lnTo>
                    <a:pt x="434" y="331"/>
                  </a:lnTo>
                  <a:lnTo>
                    <a:pt x="432" y="333"/>
                  </a:lnTo>
                  <a:lnTo>
                    <a:pt x="432" y="333"/>
                  </a:lnTo>
                  <a:lnTo>
                    <a:pt x="431" y="334"/>
                  </a:lnTo>
                  <a:lnTo>
                    <a:pt x="431" y="335"/>
                  </a:lnTo>
                  <a:lnTo>
                    <a:pt x="431" y="336"/>
                  </a:lnTo>
                  <a:lnTo>
                    <a:pt x="431" y="336"/>
                  </a:lnTo>
                  <a:lnTo>
                    <a:pt x="431" y="340"/>
                  </a:lnTo>
                  <a:lnTo>
                    <a:pt x="430" y="343"/>
                  </a:lnTo>
                  <a:lnTo>
                    <a:pt x="430" y="347"/>
                  </a:lnTo>
                  <a:lnTo>
                    <a:pt x="429" y="349"/>
                  </a:lnTo>
                  <a:lnTo>
                    <a:pt x="429" y="349"/>
                  </a:lnTo>
                  <a:lnTo>
                    <a:pt x="429" y="350"/>
                  </a:lnTo>
                  <a:lnTo>
                    <a:pt x="429" y="349"/>
                  </a:lnTo>
                  <a:lnTo>
                    <a:pt x="429" y="350"/>
                  </a:lnTo>
                  <a:lnTo>
                    <a:pt x="429" y="350"/>
                  </a:lnTo>
                  <a:lnTo>
                    <a:pt x="429" y="351"/>
                  </a:lnTo>
                  <a:lnTo>
                    <a:pt x="428" y="351"/>
                  </a:lnTo>
                  <a:lnTo>
                    <a:pt x="428" y="352"/>
                  </a:lnTo>
                  <a:lnTo>
                    <a:pt x="427" y="353"/>
                  </a:lnTo>
                  <a:lnTo>
                    <a:pt x="424" y="354"/>
                  </a:lnTo>
                  <a:lnTo>
                    <a:pt x="422" y="356"/>
                  </a:lnTo>
                  <a:lnTo>
                    <a:pt x="421" y="357"/>
                  </a:lnTo>
                  <a:lnTo>
                    <a:pt x="421" y="357"/>
                  </a:lnTo>
                  <a:lnTo>
                    <a:pt x="421" y="357"/>
                  </a:lnTo>
                  <a:lnTo>
                    <a:pt x="420" y="358"/>
                  </a:lnTo>
                  <a:lnTo>
                    <a:pt x="419" y="358"/>
                  </a:lnTo>
                  <a:lnTo>
                    <a:pt x="418" y="358"/>
                  </a:lnTo>
                  <a:lnTo>
                    <a:pt x="416" y="358"/>
                  </a:lnTo>
                  <a:lnTo>
                    <a:pt x="415" y="358"/>
                  </a:lnTo>
                  <a:lnTo>
                    <a:pt x="414" y="359"/>
                  </a:lnTo>
                  <a:lnTo>
                    <a:pt x="413" y="359"/>
                  </a:lnTo>
                  <a:lnTo>
                    <a:pt x="412" y="359"/>
                  </a:lnTo>
                  <a:lnTo>
                    <a:pt x="412" y="360"/>
                  </a:lnTo>
                  <a:lnTo>
                    <a:pt x="411" y="360"/>
                  </a:lnTo>
                  <a:lnTo>
                    <a:pt x="411" y="361"/>
                  </a:lnTo>
                  <a:lnTo>
                    <a:pt x="409" y="362"/>
                  </a:lnTo>
                  <a:lnTo>
                    <a:pt x="408" y="363"/>
                  </a:lnTo>
                  <a:lnTo>
                    <a:pt x="408" y="364"/>
                  </a:lnTo>
                  <a:lnTo>
                    <a:pt x="408" y="364"/>
                  </a:lnTo>
                  <a:lnTo>
                    <a:pt x="407" y="365"/>
                  </a:lnTo>
                  <a:lnTo>
                    <a:pt x="407" y="365"/>
                  </a:lnTo>
                  <a:lnTo>
                    <a:pt x="407" y="366"/>
                  </a:lnTo>
                  <a:lnTo>
                    <a:pt x="407" y="367"/>
                  </a:lnTo>
                  <a:lnTo>
                    <a:pt x="407" y="367"/>
                  </a:lnTo>
                  <a:lnTo>
                    <a:pt x="407" y="368"/>
                  </a:lnTo>
                  <a:lnTo>
                    <a:pt x="407" y="369"/>
                  </a:lnTo>
                  <a:lnTo>
                    <a:pt x="407" y="369"/>
                  </a:lnTo>
                  <a:lnTo>
                    <a:pt x="408" y="372"/>
                  </a:lnTo>
                  <a:lnTo>
                    <a:pt x="409" y="373"/>
                  </a:lnTo>
                  <a:lnTo>
                    <a:pt x="409" y="374"/>
                  </a:lnTo>
                  <a:lnTo>
                    <a:pt x="409" y="375"/>
                  </a:lnTo>
                  <a:lnTo>
                    <a:pt x="409" y="375"/>
                  </a:lnTo>
                  <a:lnTo>
                    <a:pt x="409" y="376"/>
                  </a:lnTo>
                  <a:lnTo>
                    <a:pt x="409" y="377"/>
                  </a:lnTo>
                  <a:lnTo>
                    <a:pt x="409" y="377"/>
                  </a:lnTo>
                  <a:lnTo>
                    <a:pt x="409" y="377"/>
                  </a:lnTo>
                  <a:lnTo>
                    <a:pt x="409" y="378"/>
                  </a:lnTo>
                  <a:lnTo>
                    <a:pt x="409" y="378"/>
                  </a:lnTo>
                  <a:lnTo>
                    <a:pt x="408" y="379"/>
                  </a:lnTo>
                  <a:lnTo>
                    <a:pt x="408" y="379"/>
                  </a:lnTo>
                  <a:lnTo>
                    <a:pt x="407" y="379"/>
                  </a:lnTo>
                  <a:lnTo>
                    <a:pt x="407" y="380"/>
                  </a:lnTo>
                  <a:lnTo>
                    <a:pt x="406" y="380"/>
                  </a:lnTo>
                  <a:lnTo>
                    <a:pt x="405" y="380"/>
                  </a:lnTo>
                  <a:lnTo>
                    <a:pt x="404" y="380"/>
                  </a:lnTo>
                  <a:lnTo>
                    <a:pt x="403" y="380"/>
                  </a:lnTo>
                  <a:lnTo>
                    <a:pt x="402" y="380"/>
                  </a:lnTo>
                  <a:lnTo>
                    <a:pt x="399" y="380"/>
                  </a:lnTo>
                  <a:lnTo>
                    <a:pt x="397" y="380"/>
                  </a:lnTo>
                  <a:lnTo>
                    <a:pt x="397" y="380"/>
                  </a:lnTo>
                  <a:lnTo>
                    <a:pt x="396" y="380"/>
                  </a:lnTo>
                  <a:lnTo>
                    <a:pt x="395" y="381"/>
                  </a:lnTo>
                  <a:lnTo>
                    <a:pt x="395" y="381"/>
                  </a:lnTo>
                  <a:lnTo>
                    <a:pt x="394" y="382"/>
                  </a:lnTo>
                  <a:lnTo>
                    <a:pt x="393" y="382"/>
                  </a:lnTo>
                  <a:lnTo>
                    <a:pt x="392" y="383"/>
                  </a:lnTo>
                  <a:lnTo>
                    <a:pt x="391" y="386"/>
                  </a:lnTo>
                  <a:lnTo>
                    <a:pt x="390" y="387"/>
                  </a:lnTo>
                  <a:lnTo>
                    <a:pt x="389" y="387"/>
                  </a:lnTo>
                  <a:lnTo>
                    <a:pt x="389" y="388"/>
                  </a:lnTo>
                  <a:lnTo>
                    <a:pt x="387" y="389"/>
                  </a:lnTo>
                  <a:lnTo>
                    <a:pt x="386" y="390"/>
                  </a:lnTo>
                  <a:lnTo>
                    <a:pt x="385" y="390"/>
                  </a:lnTo>
                  <a:lnTo>
                    <a:pt x="383" y="391"/>
                  </a:lnTo>
                  <a:lnTo>
                    <a:pt x="381" y="391"/>
                  </a:lnTo>
                  <a:lnTo>
                    <a:pt x="380" y="391"/>
                  </a:lnTo>
                  <a:lnTo>
                    <a:pt x="378" y="392"/>
                  </a:lnTo>
                  <a:lnTo>
                    <a:pt x="375" y="393"/>
                  </a:lnTo>
                  <a:lnTo>
                    <a:pt x="373" y="393"/>
                  </a:lnTo>
                  <a:lnTo>
                    <a:pt x="371" y="394"/>
                  </a:lnTo>
                  <a:lnTo>
                    <a:pt x="370" y="394"/>
                  </a:lnTo>
                  <a:lnTo>
                    <a:pt x="368" y="395"/>
                  </a:lnTo>
                  <a:lnTo>
                    <a:pt x="367" y="396"/>
                  </a:lnTo>
                  <a:lnTo>
                    <a:pt x="364" y="397"/>
                  </a:lnTo>
                  <a:lnTo>
                    <a:pt x="363" y="398"/>
                  </a:lnTo>
                  <a:lnTo>
                    <a:pt x="362" y="398"/>
                  </a:lnTo>
                  <a:lnTo>
                    <a:pt x="361" y="399"/>
                  </a:lnTo>
                  <a:lnTo>
                    <a:pt x="360" y="399"/>
                  </a:lnTo>
                  <a:lnTo>
                    <a:pt x="360" y="399"/>
                  </a:lnTo>
                  <a:lnTo>
                    <a:pt x="359" y="399"/>
                  </a:lnTo>
                  <a:lnTo>
                    <a:pt x="358" y="399"/>
                  </a:lnTo>
                  <a:lnTo>
                    <a:pt x="358" y="398"/>
                  </a:lnTo>
                  <a:lnTo>
                    <a:pt x="357" y="398"/>
                  </a:lnTo>
                  <a:lnTo>
                    <a:pt x="357" y="398"/>
                  </a:lnTo>
                  <a:lnTo>
                    <a:pt x="356" y="398"/>
                  </a:lnTo>
                  <a:lnTo>
                    <a:pt x="355" y="397"/>
                  </a:lnTo>
                  <a:lnTo>
                    <a:pt x="354" y="397"/>
                  </a:lnTo>
                  <a:lnTo>
                    <a:pt x="354" y="397"/>
                  </a:lnTo>
                  <a:lnTo>
                    <a:pt x="353" y="397"/>
                  </a:lnTo>
                  <a:lnTo>
                    <a:pt x="352" y="398"/>
                  </a:lnTo>
                  <a:lnTo>
                    <a:pt x="351" y="398"/>
                  </a:lnTo>
                  <a:lnTo>
                    <a:pt x="351" y="398"/>
                  </a:lnTo>
                  <a:lnTo>
                    <a:pt x="350" y="399"/>
                  </a:lnTo>
                  <a:lnTo>
                    <a:pt x="349" y="399"/>
                  </a:lnTo>
                  <a:lnTo>
                    <a:pt x="349" y="400"/>
                  </a:lnTo>
                  <a:lnTo>
                    <a:pt x="348" y="400"/>
                  </a:lnTo>
                  <a:lnTo>
                    <a:pt x="348" y="401"/>
                  </a:lnTo>
                  <a:lnTo>
                    <a:pt x="348" y="401"/>
                  </a:lnTo>
                  <a:lnTo>
                    <a:pt x="348" y="402"/>
                  </a:lnTo>
                  <a:lnTo>
                    <a:pt x="347" y="404"/>
                  </a:lnTo>
                  <a:lnTo>
                    <a:pt x="347" y="405"/>
                  </a:lnTo>
                  <a:lnTo>
                    <a:pt x="346" y="407"/>
                  </a:lnTo>
                  <a:lnTo>
                    <a:pt x="344" y="410"/>
                  </a:lnTo>
                  <a:lnTo>
                    <a:pt x="344" y="411"/>
                  </a:lnTo>
                  <a:lnTo>
                    <a:pt x="344" y="412"/>
                  </a:lnTo>
                  <a:lnTo>
                    <a:pt x="343" y="412"/>
                  </a:lnTo>
                  <a:lnTo>
                    <a:pt x="337" y="419"/>
                  </a:lnTo>
                  <a:lnTo>
                    <a:pt x="337" y="420"/>
                  </a:lnTo>
                  <a:lnTo>
                    <a:pt x="336" y="421"/>
                  </a:lnTo>
                  <a:lnTo>
                    <a:pt x="336" y="422"/>
                  </a:lnTo>
                  <a:lnTo>
                    <a:pt x="335" y="423"/>
                  </a:lnTo>
                  <a:lnTo>
                    <a:pt x="335" y="424"/>
                  </a:lnTo>
                  <a:lnTo>
                    <a:pt x="335" y="425"/>
                  </a:lnTo>
                  <a:lnTo>
                    <a:pt x="335" y="426"/>
                  </a:lnTo>
                  <a:lnTo>
                    <a:pt x="334" y="427"/>
                  </a:lnTo>
                  <a:lnTo>
                    <a:pt x="334" y="428"/>
                  </a:lnTo>
                  <a:lnTo>
                    <a:pt x="334" y="429"/>
                  </a:lnTo>
                  <a:lnTo>
                    <a:pt x="334" y="430"/>
                  </a:lnTo>
                  <a:lnTo>
                    <a:pt x="335" y="432"/>
                  </a:lnTo>
                  <a:lnTo>
                    <a:pt x="335" y="433"/>
                  </a:lnTo>
                  <a:lnTo>
                    <a:pt x="335" y="434"/>
                  </a:lnTo>
                  <a:lnTo>
                    <a:pt x="336" y="435"/>
                  </a:lnTo>
                  <a:lnTo>
                    <a:pt x="336" y="436"/>
                  </a:lnTo>
                  <a:lnTo>
                    <a:pt x="336" y="436"/>
                  </a:lnTo>
                  <a:lnTo>
                    <a:pt x="337" y="437"/>
                  </a:lnTo>
                  <a:lnTo>
                    <a:pt x="338" y="437"/>
                  </a:lnTo>
                  <a:lnTo>
                    <a:pt x="338" y="438"/>
                  </a:lnTo>
                  <a:lnTo>
                    <a:pt x="342" y="440"/>
                  </a:lnTo>
                  <a:lnTo>
                    <a:pt x="344" y="440"/>
                  </a:lnTo>
                  <a:lnTo>
                    <a:pt x="346" y="441"/>
                  </a:lnTo>
                  <a:lnTo>
                    <a:pt x="347" y="442"/>
                  </a:lnTo>
                  <a:lnTo>
                    <a:pt x="348" y="442"/>
                  </a:lnTo>
                  <a:lnTo>
                    <a:pt x="349" y="443"/>
                  </a:lnTo>
                  <a:lnTo>
                    <a:pt x="349" y="443"/>
                  </a:lnTo>
                  <a:lnTo>
                    <a:pt x="350" y="444"/>
                  </a:lnTo>
                  <a:lnTo>
                    <a:pt x="350" y="444"/>
                  </a:lnTo>
                  <a:lnTo>
                    <a:pt x="351" y="445"/>
                  </a:lnTo>
                  <a:lnTo>
                    <a:pt x="352" y="446"/>
                  </a:lnTo>
                  <a:lnTo>
                    <a:pt x="353" y="448"/>
                  </a:lnTo>
                  <a:lnTo>
                    <a:pt x="353" y="449"/>
                  </a:lnTo>
                  <a:lnTo>
                    <a:pt x="354" y="450"/>
                  </a:lnTo>
                  <a:lnTo>
                    <a:pt x="354" y="451"/>
                  </a:lnTo>
                  <a:lnTo>
                    <a:pt x="354" y="451"/>
                  </a:lnTo>
                  <a:lnTo>
                    <a:pt x="354" y="452"/>
                  </a:lnTo>
                  <a:lnTo>
                    <a:pt x="354" y="454"/>
                  </a:lnTo>
                  <a:lnTo>
                    <a:pt x="354" y="455"/>
                  </a:lnTo>
                  <a:lnTo>
                    <a:pt x="354" y="456"/>
                  </a:lnTo>
                  <a:lnTo>
                    <a:pt x="354" y="457"/>
                  </a:lnTo>
                  <a:lnTo>
                    <a:pt x="354" y="457"/>
                  </a:lnTo>
                  <a:lnTo>
                    <a:pt x="353" y="458"/>
                  </a:lnTo>
                  <a:lnTo>
                    <a:pt x="353" y="459"/>
                  </a:lnTo>
                  <a:lnTo>
                    <a:pt x="353" y="460"/>
                  </a:lnTo>
                  <a:lnTo>
                    <a:pt x="352" y="460"/>
                  </a:lnTo>
                  <a:lnTo>
                    <a:pt x="352" y="461"/>
                  </a:lnTo>
                  <a:lnTo>
                    <a:pt x="351" y="461"/>
                  </a:lnTo>
                  <a:lnTo>
                    <a:pt x="349" y="463"/>
                  </a:lnTo>
                  <a:lnTo>
                    <a:pt x="348" y="463"/>
                  </a:lnTo>
                  <a:lnTo>
                    <a:pt x="348" y="464"/>
                  </a:lnTo>
                  <a:lnTo>
                    <a:pt x="347" y="464"/>
                  </a:lnTo>
                  <a:lnTo>
                    <a:pt x="346" y="464"/>
                  </a:lnTo>
                  <a:lnTo>
                    <a:pt x="345" y="464"/>
                  </a:lnTo>
                  <a:lnTo>
                    <a:pt x="344" y="464"/>
                  </a:lnTo>
                  <a:lnTo>
                    <a:pt x="342" y="464"/>
                  </a:lnTo>
                  <a:lnTo>
                    <a:pt x="341" y="464"/>
                  </a:lnTo>
                  <a:lnTo>
                    <a:pt x="339" y="464"/>
                  </a:lnTo>
                  <a:lnTo>
                    <a:pt x="338" y="464"/>
                  </a:lnTo>
                  <a:lnTo>
                    <a:pt x="337" y="464"/>
                  </a:lnTo>
                  <a:lnTo>
                    <a:pt x="337" y="464"/>
                  </a:lnTo>
                  <a:lnTo>
                    <a:pt x="336" y="464"/>
                  </a:lnTo>
                  <a:lnTo>
                    <a:pt x="336" y="464"/>
                  </a:lnTo>
                  <a:lnTo>
                    <a:pt x="335" y="464"/>
                  </a:lnTo>
                  <a:lnTo>
                    <a:pt x="334" y="466"/>
                  </a:lnTo>
                  <a:lnTo>
                    <a:pt x="333" y="466"/>
                  </a:lnTo>
                  <a:lnTo>
                    <a:pt x="333" y="466"/>
                  </a:lnTo>
                  <a:lnTo>
                    <a:pt x="333" y="467"/>
                  </a:lnTo>
                  <a:lnTo>
                    <a:pt x="332" y="467"/>
                  </a:lnTo>
                  <a:lnTo>
                    <a:pt x="331" y="469"/>
                  </a:lnTo>
                  <a:lnTo>
                    <a:pt x="331" y="470"/>
                  </a:lnTo>
                  <a:lnTo>
                    <a:pt x="330" y="471"/>
                  </a:lnTo>
                  <a:lnTo>
                    <a:pt x="330" y="472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8" y="473"/>
                  </a:lnTo>
                  <a:lnTo>
                    <a:pt x="328" y="473"/>
                  </a:lnTo>
                  <a:lnTo>
                    <a:pt x="327" y="473"/>
                  </a:lnTo>
                  <a:lnTo>
                    <a:pt x="326" y="473"/>
                  </a:lnTo>
                  <a:lnTo>
                    <a:pt x="324" y="471"/>
                  </a:lnTo>
                  <a:lnTo>
                    <a:pt x="324" y="471"/>
                  </a:lnTo>
                  <a:lnTo>
                    <a:pt x="323" y="470"/>
                  </a:lnTo>
                  <a:lnTo>
                    <a:pt x="322" y="470"/>
                  </a:lnTo>
                  <a:lnTo>
                    <a:pt x="320" y="470"/>
                  </a:lnTo>
                  <a:lnTo>
                    <a:pt x="319" y="469"/>
                  </a:lnTo>
                  <a:lnTo>
                    <a:pt x="317" y="469"/>
                  </a:lnTo>
                  <a:lnTo>
                    <a:pt x="315" y="468"/>
                  </a:lnTo>
                  <a:lnTo>
                    <a:pt x="315" y="468"/>
                  </a:lnTo>
                  <a:lnTo>
                    <a:pt x="314" y="468"/>
                  </a:lnTo>
                  <a:lnTo>
                    <a:pt x="314" y="468"/>
                  </a:lnTo>
                  <a:lnTo>
                    <a:pt x="313" y="468"/>
                  </a:lnTo>
                  <a:lnTo>
                    <a:pt x="312" y="468"/>
                  </a:lnTo>
                  <a:lnTo>
                    <a:pt x="310" y="469"/>
                  </a:lnTo>
                  <a:lnTo>
                    <a:pt x="307" y="470"/>
                  </a:lnTo>
                  <a:lnTo>
                    <a:pt x="305" y="471"/>
                  </a:lnTo>
                  <a:lnTo>
                    <a:pt x="305" y="471"/>
                  </a:lnTo>
                  <a:lnTo>
                    <a:pt x="303" y="471"/>
                  </a:lnTo>
                  <a:lnTo>
                    <a:pt x="301" y="472"/>
                  </a:lnTo>
                  <a:lnTo>
                    <a:pt x="300" y="472"/>
                  </a:lnTo>
                  <a:lnTo>
                    <a:pt x="299" y="472"/>
                  </a:lnTo>
                  <a:lnTo>
                    <a:pt x="297" y="472"/>
                  </a:lnTo>
                  <a:lnTo>
                    <a:pt x="296" y="472"/>
                  </a:lnTo>
                  <a:lnTo>
                    <a:pt x="292" y="471"/>
                  </a:lnTo>
                  <a:lnTo>
                    <a:pt x="291" y="471"/>
                  </a:lnTo>
                  <a:lnTo>
                    <a:pt x="288" y="471"/>
                  </a:lnTo>
                  <a:lnTo>
                    <a:pt x="287" y="471"/>
                  </a:lnTo>
                  <a:lnTo>
                    <a:pt x="286" y="470"/>
                  </a:lnTo>
                  <a:lnTo>
                    <a:pt x="285" y="470"/>
                  </a:lnTo>
                  <a:lnTo>
                    <a:pt x="281" y="469"/>
                  </a:lnTo>
                  <a:lnTo>
                    <a:pt x="280" y="469"/>
                  </a:lnTo>
                  <a:lnTo>
                    <a:pt x="279" y="469"/>
                  </a:lnTo>
                  <a:lnTo>
                    <a:pt x="279" y="469"/>
                  </a:lnTo>
                  <a:lnTo>
                    <a:pt x="278" y="469"/>
                  </a:lnTo>
                  <a:lnTo>
                    <a:pt x="277" y="469"/>
                  </a:lnTo>
                  <a:lnTo>
                    <a:pt x="276" y="469"/>
                  </a:lnTo>
                  <a:lnTo>
                    <a:pt x="276" y="470"/>
                  </a:lnTo>
                  <a:lnTo>
                    <a:pt x="275" y="470"/>
                  </a:lnTo>
                  <a:lnTo>
                    <a:pt x="275" y="471"/>
                  </a:lnTo>
                  <a:lnTo>
                    <a:pt x="275" y="471"/>
                  </a:lnTo>
                  <a:lnTo>
                    <a:pt x="274" y="472"/>
                  </a:lnTo>
                  <a:lnTo>
                    <a:pt x="274" y="472"/>
                  </a:lnTo>
                  <a:lnTo>
                    <a:pt x="274" y="473"/>
                  </a:lnTo>
                  <a:lnTo>
                    <a:pt x="274" y="473"/>
                  </a:lnTo>
                  <a:lnTo>
                    <a:pt x="274" y="474"/>
                  </a:lnTo>
                  <a:lnTo>
                    <a:pt x="275" y="476"/>
                  </a:lnTo>
                  <a:lnTo>
                    <a:pt x="275" y="477"/>
                  </a:lnTo>
                  <a:lnTo>
                    <a:pt x="275" y="477"/>
                  </a:lnTo>
                  <a:lnTo>
                    <a:pt x="275" y="478"/>
                  </a:lnTo>
                  <a:lnTo>
                    <a:pt x="275" y="478"/>
                  </a:lnTo>
                  <a:lnTo>
                    <a:pt x="275" y="478"/>
                  </a:lnTo>
                  <a:lnTo>
                    <a:pt x="274" y="479"/>
                  </a:lnTo>
                  <a:lnTo>
                    <a:pt x="274" y="479"/>
                  </a:lnTo>
                  <a:lnTo>
                    <a:pt x="273" y="479"/>
                  </a:lnTo>
                  <a:lnTo>
                    <a:pt x="273" y="480"/>
                  </a:lnTo>
                  <a:lnTo>
                    <a:pt x="272" y="480"/>
                  </a:lnTo>
                  <a:lnTo>
                    <a:pt x="271" y="480"/>
                  </a:lnTo>
                  <a:lnTo>
                    <a:pt x="266" y="482"/>
                  </a:lnTo>
                  <a:lnTo>
                    <a:pt x="265" y="482"/>
                  </a:lnTo>
                  <a:lnTo>
                    <a:pt x="265" y="482"/>
                  </a:lnTo>
                  <a:lnTo>
                    <a:pt x="264" y="482"/>
                  </a:lnTo>
                  <a:lnTo>
                    <a:pt x="264" y="483"/>
                  </a:lnTo>
                  <a:lnTo>
                    <a:pt x="264" y="483"/>
                  </a:lnTo>
                  <a:lnTo>
                    <a:pt x="263" y="484"/>
                  </a:lnTo>
                  <a:lnTo>
                    <a:pt x="263" y="484"/>
                  </a:lnTo>
                  <a:lnTo>
                    <a:pt x="263" y="485"/>
                  </a:lnTo>
                  <a:lnTo>
                    <a:pt x="262" y="486"/>
                  </a:lnTo>
                  <a:lnTo>
                    <a:pt x="262" y="487"/>
                  </a:lnTo>
                  <a:lnTo>
                    <a:pt x="262" y="490"/>
                  </a:lnTo>
                  <a:lnTo>
                    <a:pt x="261" y="491"/>
                  </a:lnTo>
                  <a:lnTo>
                    <a:pt x="261" y="492"/>
                  </a:lnTo>
                  <a:lnTo>
                    <a:pt x="260" y="494"/>
                  </a:lnTo>
                  <a:lnTo>
                    <a:pt x="260" y="494"/>
                  </a:lnTo>
                  <a:lnTo>
                    <a:pt x="260" y="494"/>
                  </a:lnTo>
                  <a:lnTo>
                    <a:pt x="259" y="495"/>
                  </a:lnTo>
                  <a:lnTo>
                    <a:pt x="258" y="495"/>
                  </a:lnTo>
                  <a:lnTo>
                    <a:pt x="258" y="495"/>
                  </a:lnTo>
                  <a:lnTo>
                    <a:pt x="257" y="495"/>
                  </a:lnTo>
                  <a:lnTo>
                    <a:pt x="256" y="495"/>
                  </a:lnTo>
                  <a:lnTo>
                    <a:pt x="256" y="495"/>
                  </a:lnTo>
                  <a:lnTo>
                    <a:pt x="255" y="495"/>
                  </a:lnTo>
                  <a:lnTo>
                    <a:pt x="254" y="495"/>
                  </a:lnTo>
                  <a:lnTo>
                    <a:pt x="254" y="495"/>
                  </a:lnTo>
                  <a:lnTo>
                    <a:pt x="252" y="494"/>
                  </a:lnTo>
                  <a:lnTo>
                    <a:pt x="252" y="494"/>
                  </a:lnTo>
                  <a:lnTo>
                    <a:pt x="251" y="494"/>
                  </a:lnTo>
                  <a:lnTo>
                    <a:pt x="250" y="493"/>
                  </a:lnTo>
                  <a:lnTo>
                    <a:pt x="250" y="492"/>
                  </a:lnTo>
                  <a:lnTo>
                    <a:pt x="249" y="492"/>
                  </a:lnTo>
                  <a:lnTo>
                    <a:pt x="248" y="491"/>
                  </a:lnTo>
                  <a:lnTo>
                    <a:pt x="247" y="489"/>
                  </a:lnTo>
                  <a:lnTo>
                    <a:pt x="246" y="487"/>
                  </a:lnTo>
                  <a:lnTo>
                    <a:pt x="245" y="484"/>
                  </a:lnTo>
                  <a:lnTo>
                    <a:pt x="244" y="482"/>
                  </a:lnTo>
                  <a:lnTo>
                    <a:pt x="243" y="481"/>
                  </a:lnTo>
                  <a:lnTo>
                    <a:pt x="243" y="479"/>
                  </a:lnTo>
                  <a:lnTo>
                    <a:pt x="242" y="478"/>
                  </a:lnTo>
                  <a:lnTo>
                    <a:pt x="242" y="478"/>
                  </a:lnTo>
                  <a:lnTo>
                    <a:pt x="242" y="477"/>
                  </a:lnTo>
                  <a:lnTo>
                    <a:pt x="242" y="477"/>
                  </a:lnTo>
                  <a:lnTo>
                    <a:pt x="241" y="477"/>
                  </a:lnTo>
                  <a:lnTo>
                    <a:pt x="241" y="477"/>
                  </a:lnTo>
                  <a:lnTo>
                    <a:pt x="240" y="477"/>
                  </a:lnTo>
                  <a:lnTo>
                    <a:pt x="240" y="477"/>
                  </a:lnTo>
                  <a:lnTo>
                    <a:pt x="239" y="477"/>
                  </a:lnTo>
                  <a:lnTo>
                    <a:pt x="238" y="478"/>
                  </a:lnTo>
                  <a:lnTo>
                    <a:pt x="237" y="478"/>
                  </a:lnTo>
                  <a:lnTo>
                    <a:pt x="236" y="479"/>
                  </a:lnTo>
                  <a:lnTo>
                    <a:pt x="235" y="479"/>
                  </a:lnTo>
                  <a:lnTo>
                    <a:pt x="235" y="479"/>
                  </a:lnTo>
                  <a:lnTo>
                    <a:pt x="234" y="479"/>
                  </a:lnTo>
                  <a:lnTo>
                    <a:pt x="234" y="479"/>
                  </a:lnTo>
                  <a:lnTo>
                    <a:pt x="233" y="479"/>
                  </a:lnTo>
                  <a:lnTo>
                    <a:pt x="233" y="479"/>
                  </a:lnTo>
                  <a:lnTo>
                    <a:pt x="232" y="478"/>
                  </a:lnTo>
                  <a:lnTo>
                    <a:pt x="231" y="477"/>
                  </a:lnTo>
                  <a:lnTo>
                    <a:pt x="230" y="477"/>
                  </a:lnTo>
                  <a:lnTo>
                    <a:pt x="228" y="475"/>
                  </a:lnTo>
                  <a:lnTo>
                    <a:pt x="225" y="473"/>
                  </a:lnTo>
                  <a:lnTo>
                    <a:pt x="224" y="472"/>
                  </a:lnTo>
                  <a:lnTo>
                    <a:pt x="223" y="471"/>
                  </a:lnTo>
                  <a:lnTo>
                    <a:pt x="222" y="471"/>
                  </a:lnTo>
                  <a:lnTo>
                    <a:pt x="221" y="470"/>
                  </a:lnTo>
                  <a:lnTo>
                    <a:pt x="217" y="468"/>
                  </a:lnTo>
                  <a:lnTo>
                    <a:pt x="216" y="467"/>
                  </a:lnTo>
                  <a:lnTo>
                    <a:pt x="215" y="467"/>
                  </a:lnTo>
                  <a:lnTo>
                    <a:pt x="213" y="465"/>
                  </a:lnTo>
                  <a:lnTo>
                    <a:pt x="212" y="465"/>
                  </a:lnTo>
                  <a:lnTo>
                    <a:pt x="211" y="464"/>
                  </a:lnTo>
                  <a:lnTo>
                    <a:pt x="210" y="464"/>
                  </a:lnTo>
                  <a:lnTo>
                    <a:pt x="210" y="464"/>
                  </a:lnTo>
                  <a:lnTo>
                    <a:pt x="210" y="464"/>
                  </a:lnTo>
                  <a:lnTo>
                    <a:pt x="209" y="465"/>
                  </a:lnTo>
                  <a:lnTo>
                    <a:pt x="209" y="465"/>
                  </a:lnTo>
                  <a:lnTo>
                    <a:pt x="207" y="466"/>
                  </a:lnTo>
                  <a:lnTo>
                    <a:pt x="205" y="467"/>
                  </a:lnTo>
                  <a:lnTo>
                    <a:pt x="204" y="468"/>
                  </a:lnTo>
                  <a:lnTo>
                    <a:pt x="204" y="469"/>
                  </a:lnTo>
                  <a:lnTo>
                    <a:pt x="203" y="469"/>
                  </a:lnTo>
                  <a:lnTo>
                    <a:pt x="203" y="471"/>
                  </a:lnTo>
                  <a:lnTo>
                    <a:pt x="202" y="471"/>
                  </a:lnTo>
                  <a:lnTo>
                    <a:pt x="202" y="472"/>
                  </a:lnTo>
                  <a:lnTo>
                    <a:pt x="201" y="473"/>
                  </a:lnTo>
                  <a:lnTo>
                    <a:pt x="200" y="473"/>
                  </a:lnTo>
                  <a:lnTo>
                    <a:pt x="200" y="474"/>
                  </a:lnTo>
                  <a:lnTo>
                    <a:pt x="199" y="474"/>
                  </a:lnTo>
                  <a:lnTo>
                    <a:pt x="199" y="475"/>
                  </a:lnTo>
                  <a:lnTo>
                    <a:pt x="199" y="475"/>
                  </a:lnTo>
                  <a:lnTo>
                    <a:pt x="199" y="477"/>
                  </a:lnTo>
                  <a:lnTo>
                    <a:pt x="199" y="478"/>
                  </a:lnTo>
                  <a:lnTo>
                    <a:pt x="199" y="479"/>
                  </a:lnTo>
                  <a:lnTo>
                    <a:pt x="198" y="481"/>
                  </a:lnTo>
                  <a:lnTo>
                    <a:pt x="198" y="482"/>
                  </a:lnTo>
                  <a:lnTo>
                    <a:pt x="198" y="484"/>
                  </a:lnTo>
                  <a:lnTo>
                    <a:pt x="198" y="484"/>
                  </a:lnTo>
                  <a:lnTo>
                    <a:pt x="198" y="485"/>
                  </a:lnTo>
                  <a:lnTo>
                    <a:pt x="199" y="487"/>
                  </a:lnTo>
                  <a:lnTo>
                    <a:pt x="199" y="489"/>
                  </a:lnTo>
                  <a:lnTo>
                    <a:pt x="200" y="491"/>
                  </a:lnTo>
                  <a:lnTo>
                    <a:pt x="200" y="492"/>
                  </a:lnTo>
                  <a:lnTo>
                    <a:pt x="200" y="492"/>
                  </a:lnTo>
                  <a:lnTo>
                    <a:pt x="200" y="493"/>
                  </a:lnTo>
                  <a:lnTo>
                    <a:pt x="199" y="494"/>
                  </a:lnTo>
                  <a:lnTo>
                    <a:pt x="199" y="494"/>
                  </a:lnTo>
                  <a:lnTo>
                    <a:pt x="199" y="494"/>
                  </a:lnTo>
                  <a:lnTo>
                    <a:pt x="198" y="495"/>
                  </a:lnTo>
                  <a:lnTo>
                    <a:pt x="198" y="495"/>
                  </a:lnTo>
                  <a:lnTo>
                    <a:pt x="196" y="496"/>
                  </a:lnTo>
                  <a:lnTo>
                    <a:pt x="195" y="496"/>
                  </a:lnTo>
                  <a:lnTo>
                    <a:pt x="194" y="497"/>
                  </a:lnTo>
                  <a:lnTo>
                    <a:pt x="191" y="498"/>
                  </a:lnTo>
                  <a:lnTo>
                    <a:pt x="190" y="498"/>
                  </a:lnTo>
                  <a:lnTo>
                    <a:pt x="189" y="498"/>
                  </a:lnTo>
                  <a:lnTo>
                    <a:pt x="188" y="499"/>
                  </a:lnTo>
                  <a:lnTo>
                    <a:pt x="186" y="500"/>
                  </a:lnTo>
                  <a:lnTo>
                    <a:pt x="184" y="502"/>
                  </a:lnTo>
                  <a:lnTo>
                    <a:pt x="181" y="504"/>
                  </a:lnTo>
                  <a:lnTo>
                    <a:pt x="180" y="505"/>
                  </a:lnTo>
                  <a:lnTo>
                    <a:pt x="179" y="507"/>
                  </a:lnTo>
                  <a:lnTo>
                    <a:pt x="178" y="508"/>
                  </a:lnTo>
                  <a:lnTo>
                    <a:pt x="177" y="509"/>
                  </a:lnTo>
                  <a:lnTo>
                    <a:pt x="176" y="511"/>
                  </a:lnTo>
                  <a:lnTo>
                    <a:pt x="175" y="511"/>
                  </a:lnTo>
                  <a:lnTo>
                    <a:pt x="175" y="512"/>
                  </a:lnTo>
                  <a:lnTo>
                    <a:pt x="174" y="512"/>
                  </a:lnTo>
                  <a:lnTo>
                    <a:pt x="174" y="512"/>
                  </a:lnTo>
                  <a:lnTo>
                    <a:pt x="174" y="512"/>
                  </a:lnTo>
                  <a:lnTo>
                    <a:pt x="173" y="512"/>
                  </a:lnTo>
                  <a:lnTo>
                    <a:pt x="173" y="512"/>
                  </a:lnTo>
                  <a:lnTo>
                    <a:pt x="173" y="512"/>
                  </a:lnTo>
                  <a:lnTo>
                    <a:pt x="172" y="512"/>
                  </a:lnTo>
                  <a:lnTo>
                    <a:pt x="172" y="512"/>
                  </a:lnTo>
                  <a:lnTo>
                    <a:pt x="170" y="510"/>
                  </a:lnTo>
                  <a:lnTo>
                    <a:pt x="169" y="510"/>
                  </a:lnTo>
                  <a:lnTo>
                    <a:pt x="168" y="509"/>
                  </a:lnTo>
                  <a:lnTo>
                    <a:pt x="166" y="509"/>
                  </a:lnTo>
                  <a:lnTo>
                    <a:pt x="165" y="508"/>
                  </a:lnTo>
                  <a:lnTo>
                    <a:pt x="163" y="508"/>
                  </a:lnTo>
                  <a:lnTo>
                    <a:pt x="162" y="508"/>
                  </a:lnTo>
                  <a:lnTo>
                    <a:pt x="160" y="507"/>
                  </a:lnTo>
                  <a:lnTo>
                    <a:pt x="158" y="507"/>
                  </a:lnTo>
                  <a:lnTo>
                    <a:pt x="158" y="507"/>
                  </a:lnTo>
                  <a:lnTo>
                    <a:pt x="157" y="507"/>
                  </a:lnTo>
                  <a:lnTo>
                    <a:pt x="157" y="506"/>
                  </a:lnTo>
                  <a:lnTo>
                    <a:pt x="156" y="506"/>
                  </a:lnTo>
                  <a:lnTo>
                    <a:pt x="156" y="506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5" y="504"/>
                  </a:lnTo>
                  <a:lnTo>
                    <a:pt x="155" y="504"/>
                  </a:lnTo>
                  <a:lnTo>
                    <a:pt x="156" y="501"/>
                  </a:lnTo>
                  <a:lnTo>
                    <a:pt x="156" y="500"/>
                  </a:lnTo>
                  <a:lnTo>
                    <a:pt x="156" y="500"/>
                  </a:lnTo>
                  <a:lnTo>
                    <a:pt x="156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3" y="500"/>
                  </a:lnTo>
                  <a:lnTo>
                    <a:pt x="151" y="500"/>
                  </a:lnTo>
                  <a:lnTo>
                    <a:pt x="150" y="500"/>
                  </a:lnTo>
                  <a:lnTo>
                    <a:pt x="148" y="501"/>
                  </a:lnTo>
                  <a:lnTo>
                    <a:pt x="147" y="501"/>
                  </a:lnTo>
                  <a:lnTo>
                    <a:pt x="146" y="501"/>
                  </a:lnTo>
                  <a:lnTo>
                    <a:pt x="144" y="501"/>
                  </a:lnTo>
                  <a:lnTo>
                    <a:pt x="143" y="501"/>
                  </a:lnTo>
                  <a:lnTo>
                    <a:pt x="139" y="500"/>
                  </a:lnTo>
                  <a:lnTo>
                    <a:pt x="137" y="500"/>
                  </a:lnTo>
                  <a:lnTo>
                    <a:pt x="136" y="500"/>
                  </a:lnTo>
                  <a:lnTo>
                    <a:pt x="135" y="499"/>
                  </a:lnTo>
                  <a:lnTo>
                    <a:pt x="134" y="499"/>
                  </a:lnTo>
                  <a:lnTo>
                    <a:pt x="132" y="498"/>
                  </a:lnTo>
                  <a:lnTo>
                    <a:pt x="132" y="498"/>
                  </a:lnTo>
                  <a:lnTo>
                    <a:pt x="131" y="498"/>
                  </a:lnTo>
                  <a:lnTo>
                    <a:pt x="130" y="498"/>
                  </a:lnTo>
                  <a:lnTo>
                    <a:pt x="129" y="497"/>
                  </a:lnTo>
                  <a:lnTo>
                    <a:pt x="127" y="497"/>
                  </a:lnTo>
                  <a:lnTo>
                    <a:pt x="126" y="497"/>
                  </a:lnTo>
                  <a:lnTo>
                    <a:pt x="125" y="497"/>
                  </a:lnTo>
                  <a:lnTo>
                    <a:pt x="125" y="497"/>
                  </a:lnTo>
                  <a:lnTo>
                    <a:pt x="124" y="498"/>
                  </a:lnTo>
                  <a:lnTo>
                    <a:pt x="123" y="498"/>
                  </a:lnTo>
                  <a:lnTo>
                    <a:pt x="122" y="499"/>
                  </a:lnTo>
                  <a:lnTo>
                    <a:pt x="121" y="500"/>
                  </a:lnTo>
                  <a:lnTo>
                    <a:pt x="120" y="500"/>
                  </a:lnTo>
                  <a:lnTo>
                    <a:pt x="120" y="500"/>
                  </a:lnTo>
                  <a:lnTo>
                    <a:pt x="119" y="500"/>
                  </a:lnTo>
                  <a:lnTo>
                    <a:pt x="119" y="500"/>
                  </a:lnTo>
                  <a:lnTo>
                    <a:pt x="118" y="500"/>
                  </a:lnTo>
                  <a:lnTo>
                    <a:pt x="117" y="499"/>
                  </a:lnTo>
                  <a:lnTo>
                    <a:pt x="116" y="499"/>
                  </a:lnTo>
                  <a:lnTo>
                    <a:pt x="113" y="496"/>
                  </a:lnTo>
                  <a:lnTo>
                    <a:pt x="112" y="496"/>
                  </a:lnTo>
                  <a:lnTo>
                    <a:pt x="111" y="495"/>
                  </a:lnTo>
                  <a:lnTo>
                    <a:pt x="109" y="495"/>
                  </a:lnTo>
                  <a:lnTo>
                    <a:pt x="108" y="494"/>
                  </a:lnTo>
                  <a:lnTo>
                    <a:pt x="107" y="494"/>
                  </a:lnTo>
                  <a:lnTo>
                    <a:pt x="105" y="492"/>
                  </a:lnTo>
                  <a:lnTo>
                    <a:pt x="104" y="492"/>
                  </a:lnTo>
                  <a:lnTo>
                    <a:pt x="103" y="492"/>
                  </a:lnTo>
                  <a:lnTo>
                    <a:pt x="103" y="492"/>
                  </a:lnTo>
                  <a:lnTo>
                    <a:pt x="102" y="492"/>
                  </a:lnTo>
                  <a:lnTo>
                    <a:pt x="102" y="492"/>
                  </a:lnTo>
                  <a:lnTo>
                    <a:pt x="102" y="493"/>
                  </a:lnTo>
                  <a:lnTo>
                    <a:pt x="102" y="493"/>
                  </a:lnTo>
                  <a:lnTo>
                    <a:pt x="102" y="493"/>
                  </a:lnTo>
                  <a:lnTo>
                    <a:pt x="102" y="494"/>
                  </a:lnTo>
                  <a:lnTo>
                    <a:pt x="102" y="496"/>
                  </a:lnTo>
                  <a:lnTo>
                    <a:pt x="102" y="497"/>
                  </a:lnTo>
                  <a:lnTo>
                    <a:pt x="102" y="497"/>
                  </a:lnTo>
                  <a:lnTo>
                    <a:pt x="102" y="498"/>
                  </a:lnTo>
                  <a:lnTo>
                    <a:pt x="102" y="498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99" y="498"/>
                  </a:lnTo>
                  <a:lnTo>
                    <a:pt x="98" y="498"/>
                  </a:lnTo>
                  <a:lnTo>
                    <a:pt x="97" y="498"/>
                  </a:lnTo>
                  <a:lnTo>
                    <a:pt x="96" y="498"/>
                  </a:lnTo>
                  <a:lnTo>
                    <a:pt x="95" y="499"/>
                  </a:lnTo>
                  <a:lnTo>
                    <a:pt x="94" y="499"/>
                  </a:lnTo>
                  <a:lnTo>
                    <a:pt x="93" y="500"/>
                  </a:lnTo>
                  <a:lnTo>
                    <a:pt x="90" y="502"/>
                  </a:lnTo>
                  <a:lnTo>
                    <a:pt x="90" y="502"/>
                  </a:lnTo>
                  <a:lnTo>
                    <a:pt x="89" y="502"/>
                  </a:lnTo>
                  <a:lnTo>
                    <a:pt x="89" y="503"/>
                  </a:lnTo>
                  <a:lnTo>
                    <a:pt x="87" y="503"/>
                  </a:lnTo>
                  <a:lnTo>
                    <a:pt x="86" y="503"/>
                  </a:lnTo>
                  <a:lnTo>
                    <a:pt x="85" y="503"/>
                  </a:lnTo>
                  <a:lnTo>
                    <a:pt x="84" y="503"/>
                  </a:lnTo>
                  <a:lnTo>
                    <a:pt x="82" y="503"/>
                  </a:lnTo>
                  <a:lnTo>
                    <a:pt x="81" y="503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79" y="502"/>
                  </a:lnTo>
                  <a:lnTo>
                    <a:pt x="79" y="501"/>
                  </a:lnTo>
                  <a:lnTo>
                    <a:pt x="78" y="499"/>
                  </a:lnTo>
                  <a:lnTo>
                    <a:pt x="78" y="499"/>
                  </a:lnTo>
                  <a:lnTo>
                    <a:pt x="78" y="499"/>
                  </a:lnTo>
                  <a:lnTo>
                    <a:pt x="78" y="498"/>
                  </a:lnTo>
                  <a:lnTo>
                    <a:pt x="77" y="497"/>
                  </a:lnTo>
                  <a:lnTo>
                    <a:pt x="76" y="497"/>
                  </a:lnTo>
                  <a:lnTo>
                    <a:pt x="75" y="496"/>
                  </a:lnTo>
                  <a:lnTo>
                    <a:pt x="75" y="496"/>
                  </a:lnTo>
                  <a:lnTo>
                    <a:pt x="73" y="495"/>
                  </a:lnTo>
                  <a:lnTo>
                    <a:pt x="72" y="494"/>
                  </a:lnTo>
                  <a:lnTo>
                    <a:pt x="70" y="494"/>
                  </a:lnTo>
                  <a:lnTo>
                    <a:pt x="70" y="494"/>
                  </a:lnTo>
                  <a:lnTo>
                    <a:pt x="69" y="493"/>
                  </a:lnTo>
                  <a:lnTo>
                    <a:pt x="69" y="493"/>
                  </a:lnTo>
                  <a:lnTo>
                    <a:pt x="68" y="492"/>
                  </a:lnTo>
                  <a:lnTo>
                    <a:pt x="68" y="492"/>
                  </a:lnTo>
                  <a:lnTo>
                    <a:pt x="67" y="490"/>
                  </a:lnTo>
                  <a:lnTo>
                    <a:pt x="66" y="489"/>
                  </a:lnTo>
                  <a:lnTo>
                    <a:pt x="65" y="489"/>
                  </a:lnTo>
                  <a:lnTo>
                    <a:pt x="64" y="488"/>
                  </a:lnTo>
                  <a:lnTo>
                    <a:pt x="63" y="487"/>
                  </a:lnTo>
                  <a:lnTo>
                    <a:pt x="62" y="487"/>
                  </a:lnTo>
                  <a:lnTo>
                    <a:pt x="60" y="486"/>
                  </a:lnTo>
                  <a:lnTo>
                    <a:pt x="59" y="486"/>
                  </a:lnTo>
                  <a:lnTo>
                    <a:pt x="59" y="486"/>
                  </a:lnTo>
                  <a:lnTo>
                    <a:pt x="58" y="486"/>
                  </a:lnTo>
                  <a:lnTo>
                    <a:pt x="57" y="486"/>
                  </a:lnTo>
                  <a:lnTo>
                    <a:pt x="56" y="486"/>
                  </a:lnTo>
                  <a:lnTo>
                    <a:pt x="54" y="487"/>
                  </a:lnTo>
                  <a:lnTo>
                    <a:pt x="51" y="488"/>
                  </a:lnTo>
                  <a:lnTo>
                    <a:pt x="50" y="488"/>
                  </a:lnTo>
                  <a:lnTo>
                    <a:pt x="49" y="488"/>
                  </a:lnTo>
                  <a:lnTo>
                    <a:pt x="49" y="489"/>
                  </a:lnTo>
                  <a:lnTo>
                    <a:pt x="48" y="490"/>
                  </a:lnTo>
                  <a:lnTo>
                    <a:pt x="48" y="490"/>
                  </a:lnTo>
                  <a:lnTo>
                    <a:pt x="47" y="492"/>
                  </a:lnTo>
                  <a:lnTo>
                    <a:pt x="46" y="494"/>
                  </a:lnTo>
                  <a:lnTo>
                    <a:pt x="45" y="495"/>
                  </a:lnTo>
                  <a:lnTo>
                    <a:pt x="44" y="496"/>
                  </a:lnTo>
                  <a:lnTo>
                    <a:pt x="44" y="498"/>
                  </a:lnTo>
                  <a:lnTo>
                    <a:pt x="43" y="499"/>
                  </a:lnTo>
                  <a:lnTo>
                    <a:pt x="43" y="499"/>
                  </a:lnTo>
                  <a:lnTo>
                    <a:pt x="42" y="499"/>
                  </a:lnTo>
                  <a:lnTo>
                    <a:pt x="42" y="499"/>
                  </a:lnTo>
                  <a:lnTo>
                    <a:pt x="41" y="499"/>
                  </a:lnTo>
                  <a:lnTo>
                    <a:pt x="41" y="499"/>
                  </a:lnTo>
                  <a:lnTo>
                    <a:pt x="39" y="499"/>
                  </a:lnTo>
                  <a:lnTo>
                    <a:pt x="38" y="499"/>
                  </a:lnTo>
                  <a:lnTo>
                    <a:pt x="36" y="499"/>
                  </a:lnTo>
                  <a:lnTo>
                    <a:pt x="33" y="500"/>
                  </a:lnTo>
                  <a:lnTo>
                    <a:pt x="25" y="500"/>
                  </a:lnTo>
                  <a:lnTo>
                    <a:pt x="24" y="500"/>
                  </a:lnTo>
                  <a:lnTo>
                    <a:pt x="20" y="500"/>
                  </a:lnTo>
                  <a:lnTo>
                    <a:pt x="19" y="500"/>
                  </a:lnTo>
                  <a:lnTo>
                    <a:pt x="18" y="500"/>
                  </a:lnTo>
                  <a:lnTo>
                    <a:pt x="16" y="501"/>
                  </a:lnTo>
                  <a:lnTo>
                    <a:pt x="15" y="501"/>
                  </a:lnTo>
                  <a:lnTo>
                    <a:pt x="13" y="501"/>
                  </a:lnTo>
                  <a:lnTo>
                    <a:pt x="11" y="501"/>
                  </a:lnTo>
                  <a:lnTo>
                    <a:pt x="11" y="501"/>
                  </a:lnTo>
                  <a:lnTo>
                    <a:pt x="10" y="501"/>
                  </a:lnTo>
                  <a:lnTo>
                    <a:pt x="9" y="501"/>
                  </a:lnTo>
                  <a:lnTo>
                    <a:pt x="8" y="501"/>
                  </a:lnTo>
                  <a:lnTo>
                    <a:pt x="7" y="502"/>
                  </a:lnTo>
                  <a:lnTo>
                    <a:pt x="5" y="501"/>
                  </a:lnTo>
                  <a:lnTo>
                    <a:pt x="5" y="501"/>
                  </a:lnTo>
                  <a:lnTo>
                    <a:pt x="4" y="501"/>
                  </a:lnTo>
                  <a:lnTo>
                    <a:pt x="3" y="501"/>
                  </a:lnTo>
                  <a:lnTo>
                    <a:pt x="2" y="500"/>
                  </a:lnTo>
                  <a:lnTo>
                    <a:pt x="2" y="500"/>
                  </a:lnTo>
                  <a:lnTo>
                    <a:pt x="1" y="499"/>
                  </a:lnTo>
                  <a:lnTo>
                    <a:pt x="1" y="499"/>
                  </a:lnTo>
                  <a:lnTo>
                    <a:pt x="0" y="498"/>
                  </a:lnTo>
                  <a:lnTo>
                    <a:pt x="0" y="498"/>
                  </a:lnTo>
                  <a:lnTo>
                    <a:pt x="0" y="497"/>
                  </a:lnTo>
                  <a:lnTo>
                    <a:pt x="0" y="496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Freeform 9">
              <a:extLst>
                <a:ext uri="{FF2B5EF4-FFF2-40B4-BE49-F238E27FC236}">
                  <a16:creationId xmlns:a16="http://schemas.microsoft.com/office/drawing/2014/main" id="{7837A00A-345B-ABF5-4E59-0E55E5EC2F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" y="3069"/>
              <a:ext cx="451" cy="513"/>
            </a:xfrm>
            <a:custGeom>
              <a:avLst/>
              <a:gdLst>
                <a:gd name="T0" fmla="*/ 182 w 451"/>
                <a:gd name="T1" fmla="*/ 492 h 513"/>
                <a:gd name="T2" fmla="*/ 173 w 451"/>
                <a:gd name="T3" fmla="*/ 504 h 513"/>
                <a:gd name="T4" fmla="*/ 155 w 451"/>
                <a:gd name="T5" fmla="*/ 512 h 513"/>
                <a:gd name="T6" fmla="*/ 142 w 451"/>
                <a:gd name="T7" fmla="*/ 509 h 513"/>
                <a:gd name="T8" fmla="*/ 127 w 451"/>
                <a:gd name="T9" fmla="*/ 508 h 513"/>
                <a:gd name="T10" fmla="*/ 109 w 451"/>
                <a:gd name="T11" fmla="*/ 508 h 513"/>
                <a:gd name="T12" fmla="*/ 103 w 451"/>
                <a:gd name="T13" fmla="*/ 497 h 513"/>
                <a:gd name="T14" fmla="*/ 97 w 451"/>
                <a:gd name="T15" fmla="*/ 484 h 513"/>
                <a:gd name="T16" fmla="*/ 98 w 451"/>
                <a:gd name="T17" fmla="*/ 458 h 513"/>
                <a:gd name="T18" fmla="*/ 86 w 451"/>
                <a:gd name="T19" fmla="*/ 455 h 513"/>
                <a:gd name="T20" fmla="*/ 83 w 451"/>
                <a:gd name="T21" fmla="*/ 447 h 513"/>
                <a:gd name="T22" fmla="*/ 84 w 451"/>
                <a:gd name="T23" fmla="*/ 439 h 513"/>
                <a:gd name="T24" fmla="*/ 90 w 451"/>
                <a:gd name="T25" fmla="*/ 431 h 513"/>
                <a:gd name="T26" fmla="*/ 79 w 451"/>
                <a:gd name="T27" fmla="*/ 429 h 513"/>
                <a:gd name="T28" fmla="*/ 86 w 451"/>
                <a:gd name="T29" fmla="*/ 413 h 513"/>
                <a:gd name="T30" fmla="*/ 102 w 451"/>
                <a:gd name="T31" fmla="*/ 410 h 513"/>
                <a:gd name="T32" fmla="*/ 116 w 451"/>
                <a:gd name="T33" fmla="*/ 399 h 513"/>
                <a:gd name="T34" fmla="*/ 113 w 451"/>
                <a:gd name="T35" fmla="*/ 391 h 513"/>
                <a:gd name="T36" fmla="*/ 117 w 451"/>
                <a:gd name="T37" fmla="*/ 370 h 513"/>
                <a:gd name="T38" fmla="*/ 122 w 451"/>
                <a:gd name="T39" fmla="*/ 346 h 513"/>
                <a:gd name="T40" fmla="*/ 124 w 451"/>
                <a:gd name="T41" fmla="*/ 319 h 513"/>
                <a:gd name="T42" fmla="*/ 103 w 451"/>
                <a:gd name="T43" fmla="*/ 308 h 513"/>
                <a:gd name="T44" fmla="*/ 92 w 451"/>
                <a:gd name="T45" fmla="*/ 298 h 513"/>
                <a:gd name="T46" fmla="*/ 72 w 451"/>
                <a:gd name="T47" fmla="*/ 283 h 513"/>
                <a:gd name="T48" fmla="*/ 51 w 451"/>
                <a:gd name="T49" fmla="*/ 284 h 513"/>
                <a:gd name="T50" fmla="*/ 32 w 451"/>
                <a:gd name="T51" fmla="*/ 270 h 513"/>
                <a:gd name="T52" fmla="*/ 35 w 451"/>
                <a:gd name="T53" fmla="*/ 265 h 513"/>
                <a:gd name="T54" fmla="*/ 15 w 451"/>
                <a:gd name="T55" fmla="*/ 264 h 513"/>
                <a:gd name="T56" fmla="*/ 0 w 451"/>
                <a:gd name="T57" fmla="*/ 264 h 513"/>
                <a:gd name="T58" fmla="*/ 6 w 451"/>
                <a:gd name="T59" fmla="*/ 249 h 513"/>
                <a:gd name="T60" fmla="*/ 4 w 451"/>
                <a:gd name="T61" fmla="*/ 236 h 513"/>
                <a:gd name="T62" fmla="*/ 18 w 451"/>
                <a:gd name="T63" fmla="*/ 230 h 513"/>
                <a:gd name="T64" fmla="*/ 26 w 451"/>
                <a:gd name="T65" fmla="*/ 218 h 513"/>
                <a:gd name="T66" fmla="*/ 33 w 451"/>
                <a:gd name="T67" fmla="*/ 202 h 513"/>
                <a:gd name="T68" fmla="*/ 54 w 451"/>
                <a:gd name="T69" fmla="*/ 194 h 513"/>
                <a:gd name="T70" fmla="*/ 77 w 451"/>
                <a:gd name="T71" fmla="*/ 177 h 513"/>
                <a:gd name="T72" fmla="*/ 90 w 451"/>
                <a:gd name="T73" fmla="*/ 179 h 513"/>
                <a:gd name="T74" fmla="*/ 111 w 451"/>
                <a:gd name="T75" fmla="*/ 173 h 513"/>
                <a:gd name="T76" fmla="*/ 128 w 451"/>
                <a:gd name="T77" fmla="*/ 165 h 513"/>
                <a:gd name="T78" fmla="*/ 139 w 451"/>
                <a:gd name="T79" fmla="*/ 166 h 513"/>
                <a:gd name="T80" fmla="*/ 158 w 451"/>
                <a:gd name="T81" fmla="*/ 154 h 513"/>
                <a:gd name="T82" fmla="*/ 170 w 451"/>
                <a:gd name="T83" fmla="*/ 143 h 513"/>
                <a:gd name="T84" fmla="*/ 176 w 451"/>
                <a:gd name="T85" fmla="*/ 132 h 513"/>
                <a:gd name="T86" fmla="*/ 186 w 451"/>
                <a:gd name="T87" fmla="*/ 125 h 513"/>
                <a:gd name="T88" fmla="*/ 230 w 451"/>
                <a:gd name="T89" fmla="*/ 129 h 513"/>
                <a:gd name="T90" fmla="*/ 253 w 451"/>
                <a:gd name="T91" fmla="*/ 130 h 513"/>
                <a:gd name="T92" fmla="*/ 277 w 451"/>
                <a:gd name="T93" fmla="*/ 121 h 513"/>
                <a:gd name="T94" fmla="*/ 289 w 451"/>
                <a:gd name="T95" fmla="*/ 116 h 513"/>
                <a:gd name="T96" fmla="*/ 289 w 451"/>
                <a:gd name="T97" fmla="*/ 93 h 513"/>
                <a:gd name="T98" fmla="*/ 298 w 451"/>
                <a:gd name="T99" fmla="*/ 88 h 513"/>
                <a:gd name="T100" fmla="*/ 307 w 451"/>
                <a:gd name="T101" fmla="*/ 79 h 513"/>
                <a:gd name="T102" fmla="*/ 319 w 451"/>
                <a:gd name="T103" fmla="*/ 71 h 513"/>
                <a:gd name="T104" fmla="*/ 321 w 451"/>
                <a:gd name="T105" fmla="*/ 53 h 513"/>
                <a:gd name="T106" fmla="*/ 327 w 451"/>
                <a:gd name="T107" fmla="*/ 54 h 513"/>
                <a:gd name="T108" fmla="*/ 341 w 451"/>
                <a:gd name="T109" fmla="*/ 53 h 513"/>
                <a:gd name="T110" fmla="*/ 351 w 451"/>
                <a:gd name="T111" fmla="*/ 55 h 513"/>
                <a:gd name="T112" fmla="*/ 360 w 451"/>
                <a:gd name="T113" fmla="*/ 65 h 513"/>
                <a:gd name="T114" fmla="*/ 383 w 451"/>
                <a:gd name="T115" fmla="*/ 61 h 513"/>
                <a:gd name="T116" fmla="*/ 401 w 451"/>
                <a:gd name="T117" fmla="*/ 44 h 513"/>
                <a:gd name="T118" fmla="*/ 409 w 451"/>
                <a:gd name="T119" fmla="*/ 30 h 513"/>
                <a:gd name="T120" fmla="*/ 429 w 451"/>
                <a:gd name="T121" fmla="*/ 31 h 513"/>
                <a:gd name="T122" fmla="*/ 437 w 451"/>
                <a:gd name="T123" fmla="*/ 20 h 513"/>
                <a:gd name="T124" fmla="*/ 450 w 451"/>
                <a:gd name="T125" fmla="*/ 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1" h="513">
                  <a:moveTo>
                    <a:pt x="195" y="496"/>
                  </a:moveTo>
                  <a:lnTo>
                    <a:pt x="195" y="495"/>
                  </a:lnTo>
                  <a:lnTo>
                    <a:pt x="195" y="493"/>
                  </a:lnTo>
                  <a:lnTo>
                    <a:pt x="195" y="489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2" y="487"/>
                  </a:lnTo>
                  <a:lnTo>
                    <a:pt x="190" y="488"/>
                  </a:lnTo>
                  <a:lnTo>
                    <a:pt x="189" y="488"/>
                  </a:lnTo>
                  <a:lnTo>
                    <a:pt x="188" y="489"/>
                  </a:lnTo>
                  <a:lnTo>
                    <a:pt x="185" y="490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80" y="493"/>
                  </a:lnTo>
                  <a:lnTo>
                    <a:pt x="180" y="493"/>
                  </a:lnTo>
                  <a:lnTo>
                    <a:pt x="179" y="494"/>
                  </a:lnTo>
                  <a:lnTo>
                    <a:pt x="179" y="494"/>
                  </a:lnTo>
                  <a:lnTo>
                    <a:pt x="179" y="495"/>
                  </a:lnTo>
                  <a:lnTo>
                    <a:pt x="178" y="497"/>
                  </a:lnTo>
                  <a:lnTo>
                    <a:pt x="177" y="499"/>
                  </a:lnTo>
                  <a:lnTo>
                    <a:pt x="176" y="500"/>
                  </a:lnTo>
                  <a:lnTo>
                    <a:pt x="176" y="501"/>
                  </a:lnTo>
                  <a:lnTo>
                    <a:pt x="175" y="502"/>
                  </a:lnTo>
                  <a:lnTo>
                    <a:pt x="175" y="503"/>
                  </a:lnTo>
                  <a:lnTo>
                    <a:pt x="174" y="503"/>
                  </a:lnTo>
                  <a:lnTo>
                    <a:pt x="174" y="504"/>
                  </a:lnTo>
                  <a:lnTo>
                    <a:pt x="173" y="504"/>
                  </a:lnTo>
                  <a:lnTo>
                    <a:pt x="173" y="504"/>
                  </a:lnTo>
                  <a:lnTo>
                    <a:pt x="171" y="505"/>
                  </a:lnTo>
                  <a:lnTo>
                    <a:pt x="171" y="505"/>
                  </a:lnTo>
                  <a:lnTo>
                    <a:pt x="170" y="505"/>
                  </a:lnTo>
                  <a:lnTo>
                    <a:pt x="168" y="507"/>
                  </a:lnTo>
                  <a:lnTo>
                    <a:pt x="167" y="507"/>
                  </a:lnTo>
                  <a:lnTo>
                    <a:pt x="166" y="508"/>
                  </a:lnTo>
                  <a:lnTo>
                    <a:pt x="166" y="508"/>
                  </a:lnTo>
                  <a:lnTo>
                    <a:pt x="165" y="508"/>
                  </a:lnTo>
                  <a:lnTo>
                    <a:pt x="164" y="508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59" y="509"/>
                  </a:lnTo>
                  <a:lnTo>
                    <a:pt x="158" y="510"/>
                  </a:lnTo>
                  <a:lnTo>
                    <a:pt x="157" y="510"/>
                  </a:lnTo>
                  <a:lnTo>
                    <a:pt x="155" y="511"/>
                  </a:lnTo>
                  <a:lnTo>
                    <a:pt x="155" y="512"/>
                  </a:lnTo>
                  <a:lnTo>
                    <a:pt x="154" y="512"/>
                  </a:lnTo>
                  <a:lnTo>
                    <a:pt x="153" y="513"/>
                  </a:lnTo>
                  <a:lnTo>
                    <a:pt x="152" y="513"/>
                  </a:lnTo>
                  <a:lnTo>
                    <a:pt x="151" y="513"/>
                  </a:lnTo>
                  <a:lnTo>
                    <a:pt x="150" y="513"/>
                  </a:lnTo>
                  <a:lnTo>
                    <a:pt x="149" y="513"/>
                  </a:lnTo>
                  <a:lnTo>
                    <a:pt x="148" y="512"/>
                  </a:lnTo>
                  <a:lnTo>
                    <a:pt x="147" y="512"/>
                  </a:lnTo>
                  <a:lnTo>
                    <a:pt x="147" y="512"/>
                  </a:lnTo>
                  <a:lnTo>
                    <a:pt x="145" y="511"/>
                  </a:lnTo>
                  <a:lnTo>
                    <a:pt x="144" y="511"/>
                  </a:lnTo>
                  <a:lnTo>
                    <a:pt x="144" y="510"/>
                  </a:lnTo>
                  <a:lnTo>
                    <a:pt x="143" y="510"/>
                  </a:lnTo>
                  <a:lnTo>
                    <a:pt x="143" y="509"/>
                  </a:lnTo>
                  <a:lnTo>
                    <a:pt x="142" y="509"/>
                  </a:lnTo>
                  <a:lnTo>
                    <a:pt x="142" y="509"/>
                  </a:lnTo>
                  <a:lnTo>
                    <a:pt x="140" y="508"/>
                  </a:lnTo>
                  <a:lnTo>
                    <a:pt x="140" y="507"/>
                  </a:lnTo>
                  <a:lnTo>
                    <a:pt x="137" y="506"/>
                  </a:lnTo>
                  <a:lnTo>
                    <a:pt x="137" y="505"/>
                  </a:lnTo>
                  <a:lnTo>
                    <a:pt x="136" y="505"/>
                  </a:lnTo>
                  <a:lnTo>
                    <a:pt x="136" y="505"/>
                  </a:lnTo>
                  <a:lnTo>
                    <a:pt x="135" y="505"/>
                  </a:lnTo>
                  <a:lnTo>
                    <a:pt x="134" y="505"/>
                  </a:lnTo>
                  <a:lnTo>
                    <a:pt x="133" y="505"/>
                  </a:lnTo>
                  <a:lnTo>
                    <a:pt x="132" y="505"/>
                  </a:lnTo>
                  <a:lnTo>
                    <a:pt x="130" y="507"/>
                  </a:lnTo>
                  <a:lnTo>
                    <a:pt x="129" y="507"/>
                  </a:lnTo>
                  <a:lnTo>
                    <a:pt x="128" y="507"/>
                  </a:lnTo>
                  <a:lnTo>
                    <a:pt x="128" y="508"/>
                  </a:lnTo>
                  <a:lnTo>
                    <a:pt x="127" y="508"/>
                  </a:lnTo>
                  <a:lnTo>
                    <a:pt x="127" y="508"/>
                  </a:lnTo>
                  <a:lnTo>
                    <a:pt x="126" y="507"/>
                  </a:lnTo>
                  <a:lnTo>
                    <a:pt x="125" y="507"/>
                  </a:lnTo>
                  <a:lnTo>
                    <a:pt x="125" y="507"/>
                  </a:lnTo>
                  <a:lnTo>
                    <a:pt x="124" y="507"/>
                  </a:lnTo>
                  <a:lnTo>
                    <a:pt x="122" y="505"/>
                  </a:lnTo>
                  <a:lnTo>
                    <a:pt x="122" y="504"/>
                  </a:lnTo>
                  <a:lnTo>
                    <a:pt x="121" y="504"/>
                  </a:lnTo>
                  <a:lnTo>
                    <a:pt x="121" y="504"/>
                  </a:lnTo>
                  <a:lnTo>
                    <a:pt x="120" y="504"/>
                  </a:lnTo>
                  <a:lnTo>
                    <a:pt x="120" y="504"/>
                  </a:lnTo>
                  <a:lnTo>
                    <a:pt x="119" y="504"/>
                  </a:lnTo>
                  <a:lnTo>
                    <a:pt x="119" y="504"/>
                  </a:lnTo>
                  <a:lnTo>
                    <a:pt x="117" y="505"/>
                  </a:lnTo>
                  <a:lnTo>
                    <a:pt x="115" y="506"/>
                  </a:lnTo>
                  <a:lnTo>
                    <a:pt x="112" y="507"/>
                  </a:lnTo>
                  <a:lnTo>
                    <a:pt x="109" y="508"/>
                  </a:lnTo>
                  <a:lnTo>
                    <a:pt x="108" y="508"/>
                  </a:lnTo>
                  <a:lnTo>
                    <a:pt x="106" y="508"/>
                  </a:lnTo>
                  <a:lnTo>
                    <a:pt x="105" y="508"/>
                  </a:lnTo>
                  <a:lnTo>
                    <a:pt x="105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7"/>
                  </a:lnTo>
                  <a:lnTo>
                    <a:pt x="104" y="506"/>
                  </a:lnTo>
                  <a:lnTo>
                    <a:pt x="104" y="505"/>
                  </a:lnTo>
                  <a:lnTo>
                    <a:pt x="104" y="503"/>
                  </a:lnTo>
                  <a:lnTo>
                    <a:pt x="104" y="502"/>
                  </a:lnTo>
                  <a:lnTo>
                    <a:pt x="104" y="501"/>
                  </a:lnTo>
                  <a:lnTo>
                    <a:pt x="104" y="500"/>
                  </a:lnTo>
                  <a:lnTo>
                    <a:pt x="104" y="499"/>
                  </a:lnTo>
                  <a:lnTo>
                    <a:pt x="103" y="497"/>
                  </a:lnTo>
                  <a:lnTo>
                    <a:pt x="103" y="496"/>
                  </a:lnTo>
                  <a:lnTo>
                    <a:pt x="103" y="495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1" y="493"/>
                  </a:lnTo>
                  <a:lnTo>
                    <a:pt x="100" y="492"/>
                  </a:lnTo>
                  <a:lnTo>
                    <a:pt x="99" y="492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7" y="490"/>
                  </a:lnTo>
                  <a:lnTo>
                    <a:pt x="97" y="490"/>
                  </a:lnTo>
                  <a:lnTo>
                    <a:pt x="97" y="489"/>
                  </a:lnTo>
                  <a:lnTo>
                    <a:pt x="97" y="489"/>
                  </a:lnTo>
                  <a:lnTo>
                    <a:pt x="97" y="485"/>
                  </a:lnTo>
                  <a:lnTo>
                    <a:pt x="97" y="484"/>
                  </a:lnTo>
                  <a:lnTo>
                    <a:pt x="97" y="481"/>
                  </a:lnTo>
                  <a:lnTo>
                    <a:pt x="98" y="478"/>
                  </a:lnTo>
                  <a:lnTo>
                    <a:pt x="98" y="476"/>
                  </a:lnTo>
                  <a:lnTo>
                    <a:pt x="98" y="474"/>
                  </a:lnTo>
                  <a:lnTo>
                    <a:pt x="99" y="471"/>
                  </a:lnTo>
                  <a:lnTo>
                    <a:pt x="99" y="469"/>
                  </a:lnTo>
                  <a:lnTo>
                    <a:pt x="99" y="468"/>
                  </a:lnTo>
                  <a:lnTo>
                    <a:pt x="99" y="466"/>
                  </a:lnTo>
                  <a:lnTo>
                    <a:pt x="99" y="464"/>
                  </a:lnTo>
                  <a:lnTo>
                    <a:pt x="99" y="462"/>
                  </a:lnTo>
                  <a:lnTo>
                    <a:pt x="99" y="461"/>
                  </a:lnTo>
                  <a:lnTo>
                    <a:pt x="99" y="460"/>
                  </a:lnTo>
                  <a:lnTo>
                    <a:pt x="99" y="460"/>
                  </a:lnTo>
                  <a:lnTo>
                    <a:pt x="98" y="459"/>
                  </a:lnTo>
                  <a:lnTo>
                    <a:pt x="98" y="459"/>
                  </a:lnTo>
                  <a:lnTo>
                    <a:pt x="98" y="458"/>
                  </a:lnTo>
                  <a:lnTo>
                    <a:pt x="97" y="458"/>
                  </a:lnTo>
                  <a:lnTo>
                    <a:pt x="96" y="457"/>
                  </a:lnTo>
                  <a:lnTo>
                    <a:pt x="95" y="457"/>
                  </a:lnTo>
                  <a:lnTo>
                    <a:pt x="94" y="456"/>
                  </a:lnTo>
                  <a:lnTo>
                    <a:pt x="93" y="456"/>
                  </a:lnTo>
                  <a:lnTo>
                    <a:pt x="92" y="456"/>
                  </a:lnTo>
                  <a:lnTo>
                    <a:pt x="91" y="456"/>
                  </a:lnTo>
                  <a:lnTo>
                    <a:pt x="89" y="456"/>
                  </a:lnTo>
                  <a:lnTo>
                    <a:pt x="88" y="456"/>
                  </a:lnTo>
                  <a:lnTo>
                    <a:pt x="87" y="456"/>
                  </a:lnTo>
                  <a:lnTo>
                    <a:pt x="87" y="456"/>
                  </a:lnTo>
                  <a:lnTo>
                    <a:pt x="87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4"/>
                  </a:lnTo>
                  <a:lnTo>
                    <a:pt x="86" y="453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1"/>
                  </a:lnTo>
                  <a:lnTo>
                    <a:pt x="86" y="451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49"/>
                  </a:lnTo>
                  <a:lnTo>
                    <a:pt x="82" y="449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7"/>
                  </a:lnTo>
                  <a:lnTo>
                    <a:pt x="84" y="447"/>
                  </a:lnTo>
                  <a:lnTo>
                    <a:pt x="85" y="447"/>
                  </a:lnTo>
                  <a:lnTo>
                    <a:pt x="86" y="447"/>
                  </a:lnTo>
                  <a:lnTo>
                    <a:pt x="86" y="447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8" y="445"/>
                  </a:lnTo>
                  <a:lnTo>
                    <a:pt x="88" y="445"/>
                  </a:lnTo>
                  <a:lnTo>
                    <a:pt x="88" y="444"/>
                  </a:lnTo>
                  <a:lnTo>
                    <a:pt x="87" y="443"/>
                  </a:lnTo>
                  <a:lnTo>
                    <a:pt x="87" y="443"/>
                  </a:lnTo>
                  <a:lnTo>
                    <a:pt x="86" y="442"/>
                  </a:lnTo>
                  <a:lnTo>
                    <a:pt x="86" y="441"/>
                  </a:lnTo>
                  <a:lnTo>
                    <a:pt x="84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4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5"/>
                  </a:lnTo>
                  <a:lnTo>
                    <a:pt x="88" y="434"/>
                  </a:lnTo>
                  <a:lnTo>
                    <a:pt x="89" y="433"/>
                  </a:lnTo>
                  <a:lnTo>
                    <a:pt x="90" y="433"/>
                  </a:lnTo>
                  <a:lnTo>
                    <a:pt x="90" y="432"/>
                  </a:lnTo>
                  <a:lnTo>
                    <a:pt x="90" y="432"/>
                  </a:lnTo>
                  <a:lnTo>
                    <a:pt x="91" y="431"/>
                  </a:lnTo>
                  <a:lnTo>
                    <a:pt x="90" y="431"/>
                  </a:lnTo>
                  <a:lnTo>
                    <a:pt x="90" y="431"/>
                  </a:lnTo>
                  <a:lnTo>
                    <a:pt x="90" y="430"/>
                  </a:lnTo>
                  <a:lnTo>
                    <a:pt x="90" y="430"/>
                  </a:lnTo>
                  <a:lnTo>
                    <a:pt x="89" y="430"/>
                  </a:lnTo>
                  <a:lnTo>
                    <a:pt x="89" y="430"/>
                  </a:lnTo>
                  <a:lnTo>
                    <a:pt x="88" y="429"/>
                  </a:lnTo>
                  <a:lnTo>
                    <a:pt x="86" y="429"/>
                  </a:lnTo>
                  <a:lnTo>
                    <a:pt x="85" y="429"/>
                  </a:lnTo>
                  <a:lnTo>
                    <a:pt x="84" y="429"/>
                  </a:lnTo>
                  <a:lnTo>
                    <a:pt x="83" y="429"/>
                  </a:lnTo>
                  <a:lnTo>
                    <a:pt x="81" y="430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8"/>
                  </a:lnTo>
                  <a:lnTo>
                    <a:pt x="78" y="428"/>
                  </a:lnTo>
                  <a:lnTo>
                    <a:pt x="78" y="427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8" y="425"/>
                  </a:lnTo>
                  <a:lnTo>
                    <a:pt x="78" y="424"/>
                  </a:lnTo>
                  <a:lnTo>
                    <a:pt x="79" y="423"/>
                  </a:lnTo>
                  <a:lnTo>
                    <a:pt x="79" y="422"/>
                  </a:lnTo>
                  <a:lnTo>
                    <a:pt x="79" y="421"/>
                  </a:lnTo>
                  <a:lnTo>
                    <a:pt x="80" y="420"/>
                  </a:lnTo>
                  <a:lnTo>
                    <a:pt x="83" y="417"/>
                  </a:lnTo>
                  <a:lnTo>
                    <a:pt x="84" y="415"/>
                  </a:lnTo>
                  <a:lnTo>
                    <a:pt x="84" y="414"/>
                  </a:lnTo>
                  <a:lnTo>
                    <a:pt x="85" y="414"/>
                  </a:lnTo>
                  <a:lnTo>
                    <a:pt x="86" y="413"/>
                  </a:lnTo>
                  <a:lnTo>
                    <a:pt x="87" y="412"/>
                  </a:lnTo>
                  <a:lnTo>
                    <a:pt x="88" y="411"/>
                  </a:lnTo>
                  <a:lnTo>
                    <a:pt x="89" y="411"/>
                  </a:lnTo>
                  <a:lnTo>
                    <a:pt x="90" y="410"/>
                  </a:lnTo>
                  <a:lnTo>
                    <a:pt x="92" y="409"/>
                  </a:lnTo>
                  <a:lnTo>
                    <a:pt x="93" y="409"/>
                  </a:lnTo>
                  <a:lnTo>
                    <a:pt x="94" y="408"/>
                  </a:lnTo>
                  <a:lnTo>
                    <a:pt x="95" y="408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7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101" y="410"/>
                  </a:lnTo>
                  <a:lnTo>
                    <a:pt x="102" y="410"/>
                  </a:lnTo>
                  <a:lnTo>
                    <a:pt x="103" y="411"/>
                  </a:lnTo>
                  <a:lnTo>
                    <a:pt x="103" y="411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7" y="409"/>
                  </a:lnTo>
                  <a:lnTo>
                    <a:pt x="108" y="408"/>
                  </a:lnTo>
                  <a:lnTo>
                    <a:pt x="109" y="406"/>
                  </a:lnTo>
                  <a:lnTo>
                    <a:pt x="110" y="405"/>
                  </a:lnTo>
                  <a:lnTo>
                    <a:pt x="111" y="404"/>
                  </a:lnTo>
                  <a:lnTo>
                    <a:pt x="112" y="403"/>
                  </a:lnTo>
                  <a:lnTo>
                    <a:pt x="115" y="400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17" y="398"/>
                  </a:lnTo>
                  <a:lnTo>
                    <a:pt x="117" y="398"/>
                  </a:lnTo>
                  <a:lnTo>
                    <a:pt x="118" y="397"/>
                  </a:lnTo>
                  <a:lnTo>
                    <a:pt x="118" y="397"/>
                  </a:lnTo>
                  <a:lnTo>
                    <a:pt x="118" y="396"/>
                  </a:lnTo>
                  <a:lnTo>
                    <a:pt x="118" y="395"/>
                  </a:lnTo>
                  <a:lnTo>
                    <a:pt x="117" y="395"/>
                  </a:lnTo>
                  <a:lnTo>
                    <a:pt x="117" y="394"/>
                  </a:lnTo>
                  <a:lnTo>
                    <a:pt x="116" y="394"/>
                  </a:lnTo>
                  <a:lnTo>
                    <a:pt x="116" y="393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3" y="392"/>
                  </a:lnTo>
                  <a:lnTo>
                    <a:pt x="113" y="391"/>
                  </a:lnTo>
                  <a:lnTo>
                    <a:pt x="113" y="390"/>
                  </a:lnTo>
                  <a:lnTo>
                    <a:pt x="114" y="388"/>
                  </a:lnTo>
                  <a:lnTo>
                    <a:pt x="114" y="387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5" y="384"/>
                  </a:lnTo>
                  <a:lnTo>
                    <a:pt x="115" y="383"/>
                  </a:lnTo>
                  <a:lnTo>
                    <a:pt x="115" y="380"/>
                  </a:lnTo>
                  <a:lnTo>
                    <a:pt x="115" y="379"/>
                  </a:lnTo>
                  <a:lnTo>
                    <a:pt x="115" y="378"/>
                  </a:lnTo>
                  <a:lnTo>
                    <a:pt x="115" y="377"/>
                  </a:lnTo>
                  <a:lnTo>
                    <a:pt x="115" y="376"/>
                  </a:lnTo>
                  <a:lnTo>
                    <a:pt x="115" y="376"/>
                  </a:lnTo>
                  <a:lnTo>
                    <a:pt x="116" y="373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7" y="369"/>
                  </a:lnTo>
                  <a:lnTo>
                    <a:pt x="117" y="368"/>
                  </a:lnTo>
                  <a:lnTo>
                    <a:pt x="117" y="367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7" y="361"/>
                  </a:lnTo>
                  <a:lnTo>
                    <a:pt x="118" y="356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9" y="351"/>
                  </a:lnTo>
                  <a:lnTo>
                    <a:pt x="120" y="349"/>
                  </a:lnTo>
                  <a:lnTo>
                    <a:pt x="120" y="348"/>
                  </a:lnTo>
                  <a:lnTo>
                    <a:pt x="121" y="347"/>
                  </a:lnTo>
                  <a:lnTo>
                    <a:pt x="121" y="346"/>
                  </a:lnTo>
                  <a:lnTo>
                    <a:pt x="122" y="346"/>
                  </a:lnTo>
                  <a:lnTo>
                    <a:pt x="122" y="345"/>
                  </a:lnTo>
                  <a:lnTo>
                    <a:pt x="124" y="344"/>
                  </a:lnTo>
                  <a:lnTo>
                    <a:pt x="124" y="343"/>
                  </a:lnTo>
                  <a:lnTo>
                    <a:pt x="125" y="343"/>
                  </a:lnTo>
                  <a:lnTo>
                    <a:pt x="125" y="342"/>
                  </a:lnTo>
                  <a:lnTo>
                    <a:pt x="125" y="341"/>
                  </a:lnTo>
                  <a:lnTo>
                    <a:pt x="125" y="341"/>
                  </a:lnTo>
                  <a:lnTo>
                    <a:pt x="125" y="340"/>
                  </a:lnTo>
                  <a:lnTo>
                    <a:pt x="125" y="339"/>
                  </a:lnTo>
                  <a:lnTo>
                    <a:pt x="125" y="335"/>
                  </a:lnTo>
                  <a:lnTo>
                    <a:pt x="125" y="333"/>
                  </a:lnTo>
                  <a:lnTo>
                    <a:pt x="125" y="329"/>
                  </a:lnTo>
                  <a:lnTo>
                    <a:pt x="124" y="326"/>
                  </a:lnTo>
                  <a:lnTo>
                    <a:pt x="124" y="324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8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7"/>
                  </a:lnTo>
                  <a:lnTo>
                    <a:pt x="122" y="317"/>
                  </a:lnTo>
                  <a:lnTo>
                    <a:pt x="116" y="313"/>
                  </a:lnTo>
                  <a:lnTo>
                    <a:pt x="113" y="312"/>
                  </a:lnTo>
                  <a:lnTo>
                    <a:pt x="112" y="311"/>
                  </a:lnTo>
                  <a:lnTo>
                    <a:pt x="110" y="311"/>
                  </a:lnTo>
                  <a:lnTo>
                    <a:pt x="107" y="310"/>
                  </a:lnTo>
                  <a:lnTo>
                    <a:pt x="104" y="309"/>
                  </a:lnTo>
                  <a:lnTo>
                    <a:pt x="104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2" y="308"/>
                  </a:lnTo>
                  <a:lnTo>
                    <a:pt x="102" y="307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1" y="303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0" y="301"/>
                  </a:lnTo>
                  <a:lnTo>
                    <a:pt x="100" y="301"/>
                  </a:lnTo>
                  <a:lnTo>
                    <a:pt x="99" y="300"/>
                  </a:lnTo>
                  <a:lnTo>
                    <a:pt x="98" y="300"/>
                  </a:lnTo>
                  <a:lnTo>
                    <a:pt x="98" y="299"/>
                  </a:lnTo>
                  <a:lnTo>
                    <a:pt x="97" y="299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2" y="298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6"/>
                  </a:lnTo>
                  <a:lnTo>
                    <a:pt x="85" y="294"/>
                  </a:lnTo>
                  <a:lnTo>
                    <a:pt x="83" y="292"/>
                  </a:lnTo>
                  <a:lnTo>
                    <a:pt x="82" y="291"/>
                  </a:lnTo>
                  <a:lnTo>
                    <a:pt x="80" y="289"/>
                  </a:lnTo>
                  <a:lnTo>
                    <a:pt x="78" y="286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0" y="283"/>
                  </a:lnTo>
                  <a:lnTo>
                    <a:pt x="69" y="283"/>
                  </a:lnTo>
                  <a:lnTo>
                    <a:pt x="68" y="283"/>
                  </a:lnTo>
                  <a:lnTo>
                    <a:pt x="65" y="284"/>
                  </a:lnTo>
                  <a:lnTo>
                    <a:pt x="64" y="284"/>
                  </a:lnTo>
                  <a:lnTo>
                    <a:pt x="63" y="285"/>
                  </a:lnTo>
                  <a:lnTo>
                    <a:pt x="61" y="285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7" y="285"/>
                  </a:lnTo>
                  <a:lnTo>
                    <a:pt x="56" y="285"/>
                  </a:lnTo>
                  <a:lnTo>
                    <a:pt x="55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1" y="284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48" y="282"/>
                  </a:lnTo>
                  <a:lnTo>
                    <a:pt x="47" y="281"/>
                  </a:lnTo>
                  <a:lnTo>
                    <a:pt x="44" y="279"/>
                  </a:lnTo>
                  <a:lnTo>
                    <a:pt x="42" y="277"/>
                  </a:lnTo>
                  <a:lnTo>
                    <a:pt x="40" y="276"/>
                  </a:lnTo>
                  <a:lnTo>
                    <a:pt x="37" y="275"/>
                  </a:lnTo>
                  <a:lnTo>
                    <a:pt x="36" y="274"/>
                  </a:lnTo>
                  <a:lnTo>
                    <a:pt x="35" y="273"/>
                  </a:lnTo>
                  <a:lnTo>
                    <a:pt x="34" y="273"/>
                  </a:lnTo>
                  <a:lnTo>
                    <a:pt x="33" y="272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2" y="271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6" y="267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5" y="265"/>
                  </a:lnTo>
                  <a:lnTo>
                    <a:pt x="34" y="264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0" y="263"/>
                  </a:lnTo>
                  <a:lnTo>
                    <a:pt x="19" y="263"/>
                  </a:lnTo>
                  <a:lnTo>
                    <a:pt x="17" y="263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4" y="264"/>
                  </a:lnTo>
                  <a:lnTo>
                    <a:pt x="12" y="264"/>
                  </a:lnTo>
                  <a:lnTo>
                    <a:pt x="10" y="265"/>
                  </a:lnTo>
                  <a:lnTo>
                    <a:pt x="9" y="266"/>
                  </a:lnTo>
                  <a:lnTo>
                    <a:pt x="8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5"/>
                  </a:lnTo>
                  <a:lnTo>
                    <a:pt x="2" y="265"/>
                  </a:lnTo>
                  <a:lnTo>
                    <a:pt x="1" y="265"/>
                  </a:lnTo>
                  <a:lnTo>
                    <a:pt x="1" y="265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1" y="260"/>
                  </a:lnTo>
                  <a:lnTo>
                    <a:pt x="1" y="259"/>
                  </a:lnTo>
                  <a:lnTo>
                    <a:pt x="2" y="257"/>
                  </a:lnTo>
                  <a:lnTo>
                    <a:pt x="3" y="255"/>
                  </a:lnTo>
                  <a:lnTo>
                    <a:pt x="4" y="254"/>
                  </a:lnTo>
                  <a:lnTo>
                    <a:pt x="5" y="252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0"/>
                  </a:lnTo>
                  <a:lnTo>
                    <a:pt x="6" y="249"/>
                  </a:lnTo>
                  <a:lnTo>
                    <a:pt x="6" y="248"/>
                  </a:lnTo>
                  <a:lnTo>
                    <a:pt x="6" y="247"/>
                  </a:lnTo>
                  <a:lnTo>
                    <a:pt x="6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4" y="243"/>
                  </a:lnTo>
                  <a:lnTo>
                    <a:pt x="3" y="242"/>
                  </a:lnTo>
                  <a:lnTo>
                    <a:pt x="2" y="241"/>
                  </a:lnTo>
                  <a:lnTo>
                    <a:pt x="2" y="240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8"/>
                  </a:lnTo>
                  <a:lnTo>
                    <a:pt x="2" y="237"/>
                  </a:lnTo>
                  <a:lnTo>
                    <a:pt x="3" y="237"/>
                  </a:lnTo>
                  <a:lnTo>
                    <a:pt x="4" y="236"/>
                  </a:lnTo>
                  <a:lnTo>
                    <a:pt x="5" y="235"/>
                  </a:lnTo>
                  <a:lnTo>
                    <a:pt x="6" y="234"/>
                  </a:lnTo>
                  <a:lnTo>
                    <a:pt x="7" y="233"/>
                  </a:lnTo>
                  <a:lnTo>
                    <a:pt x="8" y="233"/>
                  </a:lnTo>
                  <a:lnTo>
                    <a:pt x="9" y="232"/>
                  </a:lnTo>
                  <a:lnTo>
                    <a:pt x="10" y="232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3" y="231"/>
                  </a:lnTo>
                  <a:lnTo>
                    <a:pt x="14" y="231"/>
                  </a:lnTo>
                  <a:lnTo>
                    <a:pt x="15" y="231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7" y="231"/>
                  </a:lnTo>
                  <a:lnTo>
                    <a:pt x="17" y="230"/>
                  </a:lnTo>
                  <a:lnTo>
                    <a:pt x="18" y="230"/>
                  </a:lnTo>
                  <a:lnTo>
                    <a:pt x="19" y="228"/>
                  </a:lnTo>
                  <a:lnTo>
                    <a:pt x="19" y="227"/>
                  </a:lnTo>
                  <a:lnTo>
                    <a:pt x="20" y="226"/>
                  </a:lnTo>
                  <a:lnTo>
                    <a:pt x="21" y="224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2" y="223"/>
                  </a:lnTo>
                  <a:lnTo>
                    <a:pt x="22" y="222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6"/>
                  </a:lnTo>
                  <a:lnTo>
                    <a:pt x="26" y="215"/>
                  </a:lnTo>
                  <a:lnTo>
                    <a:pt x="26" y="215"/>
                  </a:lnTo>
                  <a:lnTo>
                    <a:pt x="26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6"/>
                  </a:lnTo>
                  <a:lnTo>
                    <a:pt x="29" y="206"/>
                  </a:lnTo>
                  <a:lnTo>
                    <a:pt x="29" y="205"/>
                  </a:lnTo>
                  <a:lnTo>
                    <a:pt x="31" y="203"/>
                  </a:lnTo>
                  <a:lnTo>
                    <a:pt x="33" y="202"/>
                  </a:lnTo>
                  <a:lnTo>
                    <a:pt x="34" y="201"/>
                  </a:lnTo>
                  <a:lnTo>
                    <a:pt x="36" y="200"/>
                  </a:lnTo>
                  <a:lnTo>
                    <a:pt x="36" y="199"/>
                  </a:lnTo>
                  <a:lnTo>
                    <a:pt x="38" y="198"/>
                  </a:lnTo>
                  <a:lnTo>
                    <a:pt x="40" y="197"/>
                  </a:lnTo>
                  <a:lnTo>
                    <a:pt x="41" y="196"/>
                  </a:lnTo>
                  <a:lnTo>
                    <a:pt x="42" y="195"/>
                  </a:lnTo>
                  <a:lnTo>
                    <a:pt x="43" y="195"/>
                  </a:lnTo>
                  <a:lnTo>
                    <a:pt x="44" y="194"/>
                  </a:lnTo>
                  <a:lnTo>
                    <a:pt x="45" y="194"/>
                  </a:lnTo>
                  <a:lnTo>
                    <a:pt x="47" y="194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51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4"/>
                  </a:lnTo>
                  <a:lnTo>
                    <a:pt x="57" y="193"/>
                  </a:lnTo>
                  <a:lnTo>
                    <a:pt x="59" y="193"/>
                  </a:lnTo>
                  <a:lnTo>
                    <a:pt x="60" y="192"/>
                  </a:lnTo>
                  <a:lnTo>
                    <a:pt x="61" y="192"/>
                  </a:lnTo>
                  <a:lnTo>
                    <a:pt x="62" y="191"/>
                  </a:lnTo>
                  <a:lnTo>
                    <a:pt x="63" y="190"/>
                  </a:lnTo>
                  <a:lnTo>
                    <a:pt x="64" y="190"/>
                  </a:lnTo>
                  <a:lnTo>
                    <a:pt x="65" y="188"/>
                  </a:lnTo>
                  <a:lnTo>
                    <a:pt x="66" y="18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9" y="184"/>
                  </a:lnTo>
                  <a:lnTo>
                    <a:pt x="72" y="182"/>
                  </a:lnTo>
                  <a:lnTo>
                    <a:pt x="76" y="178"/>
                  </a:lnTo>
                  <a:lnTo>
                    <a:pt x="77" y="177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2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4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7" y="178"/>
                  </a:lnTo>
                  <a:lnTo>
                    <a:pt x="99" y="178"/>
                  </a:lnTo>
                  <a:lnTo>
                    <a:pt x="100" y="178"/>
                  </a:lnTo>
                  <a:lnTo>
                    <a:pt x="101" y="178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1" y="173"/>
                  </a:lnTo>
                  <a:lnTo>
                    <a:pt x="111" y="173"/>
                  </a:lnTo>
                  <a:lnTo>
                    <a:pt x="113" y="172"/>
                  </a:lnTo>
                  <a:lnTo>
                    <a:pt x="113" y="171"/>
                  </a:lnTo>
                  <a:lnTo>
                    <a:pt x="115" y="170"/>
                  </a:lnTo>
                  <a:lnTo>
                    <a:pt x="118" y="167"/>
                  </a:lnTo>
                  <a:lnTo>
                    <a:pt x="119" y="166"/>
                  </a:lnTo>
                  <a:lnTo>
                    <a:pt x="120" y="165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3"/>
                  </a:lnTo>
                  <a:lnTo>
                    <a:pt x="123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7" y="164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69"/>
                  </a:lnTo>
                  <a:lnTo>
                    <a:pt x="136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8" y="167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2" y="162"/>
                  </a:lnTo>
                  <a:lnTo>
                    <a:pt x="143" y="161"/>
                  </a:lnTo>
                  <a:lnTo>
                    <a:pt x="144" y="161"/>
                  </a:lnTo>
                  <a:lnTo>
                    <a:pt x="145" y="160"/>
                  </a:lnTo>
                  <a:lnTo>
                    <a:pt x="146" y="159"/>
                  </a:lnTo>
                  <a:lnTo>
                    <a:pt x="147" y="159"/>
                  </a:lnTo>
                  <a:lnTo>
                    <a:pt x="147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1" y="157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6"/>
                  </a:lnTo>
                  <a:lnTo>
                    <a:pt x="157" y="155"/>
                  </a:lnTo>
                  <a:lnTo>
                    <a:pt x="158" y="154"/>
                  </a:lnTo>
                  <a:lnTo>
                    <a:pt x="160" y="153"/>
                  </a:lnTo>
                  <a:lnTo>
                    <a:pt x="160" y="153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4" y="150"/>
                  </a:lnTo>
                  <a:lnTo>
                    <a:pt x="164" y="149"/>
                  </a:lnTo>
                  <a:lnTo>
                    <a:pt x="165" y="148"/>
                  </a:lnTo>
                  <a:lnTo>
                    <a:pt x="165" y="147"/>
                  </a:lnTo>
                  <a:lnTo>
                    <a:pt x="166" y="146"/>
                  </a:lnTo>
                  <a:lnTo>
                    <a:pt x="166" y="145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68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4" y="143"/>
                  </a:lnTo>
                  <a:lnTo>
                    <a:pt x="174" y="142"/>
                  </a:lnTo>
                  <a:lnTo>
                    <a:pt x="175" y="142"/>
                  </a:lnTo>
                  <a:lnTo>
                    <a:pt x="175" y="142"/>
                  </a:lnTo>
                  <a:lnTo>
                    <a:pt x="175" y="141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39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6" y="134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1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7" y="129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9" y="127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4" y="125"/>
                  </a:lnTo>
                  <a:lnTo>
                    <a:pt x="185" y="125"/>
                  </a:lnTo>
                  <a:lnTo>
                    <a:pt x="186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4" y="126"/>
                  </a:lnTo>
                  <a:lnTo>
                    <a:pt x="198" y="127"/>
                  </a:lnTo>
                  <a:lnTo>
                    <a:pt x="202" y="128"/>
                  </a:lnTo>
                  <a:lnTo>
                    <a:pt x="205" y="129"/>
                  </a:lnTo>
                  <a:lnTo>
                    <a:pt x="207" y="129"/>
                  </a:lnTo>
                  <a:lnTo>
                    <a:pt x="209" y="129"/>
                  </a:lnTo>
                  <a:lnTo>
                    <a:pt x="215" y="130"/>
                  </a:lnTo>
                  <a:lnTo>
                    <a:pt x="217" y="130"/>
                  </a:lnTo>
                  <a:lnTo>
                    <a:pt x="219" y="130"/>
                  </a:lnTo>
                  <a:lnTo>
                    <a:pt x="222" y="130"/>
                  </a:lnTo>
                  <a:lnTo>
                    <a:pt x="224" y="130"/>
                  </a:lnTo>
                  <a:lnTo>
                    <a:pt x="226" y="130"/>
                  </a:lnTo>
                  <a:lnTo>
                    <a:pt x="228" y="129"/>
                  </a:lnTo>
                  <a:lnTo>
                    <a:pt x="230" y="129"/>
                  </a:lnTo>
                  <a:lnTo>
                    <a:pt x="232" y="129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5" y="127"/>
                  </a:lnTo>
                  <a:lnTo>
                    <a:pt x="236" y="127"/>
                  </a:lnTo>
                  <a:lnTo>
                    <a:pt x="236" y="127"/>
                  </a:lnTo>
                  <a:lnTo>
                    <a:pt x="237" y="127"/>
                  </a:lnTo>
                  <a:lnTo>
                    <a:pt x="239" y="128"/>
                  </a:lnTo>
                  <a:lnTo>
                    <a:pt x="241" y="128"/>
                  </a:lnTo>
                  <a:lnTo>
                    <a:pt x="245" y="129"/>
                  </a:lnTo>
                  <a:lnTo>
                    <a:pt x="248" y="130"/>
                  </a:lnTo>
                  <a:lnTo>
                    <a:pt x="250" y="130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6" y="128"/>
                  </a:lnTo>
                  <a:lnTo>
                    <a:pt x="257" y="127"/>
                  </a:lnTo>
                  <a:lnTo>
                    <a:pt x="259" y="125"/>
                  </a:lnTo>
                  <a:lnTo>
                    <a:pt x="260" y="124"/>
                  </a:lnTo>
                  <a:lnTo>
                    <a:pt x="260" y="124"/>
                  </a:lnTo>
                  <a:lnTo>
                    <a:pt x="261" y="124"/>
                  </a:lnTo>
                  <a:lnTo>
                    <a:pt x="262" y="123"/>
                  </a:lnTo>
                  <a:lnTo>
                    <a:pt x="263" y="123"/>
                  </a:lnTo>
                  <a:lnTo>
                    <a:pt x="264" y="123"/>
                  </a:lnTo>
                  <a:lnTo>
                    <a:pt x="270" y="122"/>
                  </a:lnTo>
                  <a:lnTo>
                    <a:pt x="272" y="121"/>
                  </a:lnTo>
                  <a:lnTo>
                    <a:pt x="276" y="121"/>
                  </a:lnTo>
                  <a:lnTo>
                    <a:pt x="277" y="121"/>
                  </a:lnTo>
                  <a:lnTo>
                    <a:pt x="279" y="121"/>
                  </a:lnTo>
                  <a:lnTo>
                    <a:pt x="280" y="121"/>
                  </a:lnTo>
                  <a:lnTo>
                    <a:pt x="282" y="122"/>
                  </a:lnTo>
                  <a:lnTo>
                    <a:pt x="284" y="122"/>
                  </a:lnTo>
                  <a:lnTo>
                    <a:pt x="284" y="122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0"/>
                  </a:lnTo>
                  <a:lnTo>
                    <a:pt x="288" y="120"/>
                  </a:lnTo>
                  <a:lnTo>
                    <a:pt x="288" y="119"/>
                  </a:lnTo>
                  <a:lnTo>
                    <a:pt x="289" y="118"/>
                  </a:lnTo>
                  <a:lnTo>
                    <a:pt x="289" y="117"/>
                  </a:lnTo>
                  <a:lnTo>
                    <a:pt x="289" y="116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91" y="109"/>
                  </a:lnTo>
                  <a:lnTo>
                    <a:pt x="291" y="108"/>
                  </a:lnTo>
                  <a:lnTo>
                    <a:pt x="291" y="106"/>
                  </a:lnTo>
                  <a:lnTo>
                    <a:pt x="291" y="105"/>
                  </a:lnTo>
                  <a:lnTo>
                    <a:pt x="291" y="104"/>
                  </a:lnTo>
                  <a:lnTo>
                    <a:pt x="291" y="103"/>
                  </a:lnTo>
                  <a:lnTo>
                    <a:pt x="290" y="102"/>
                  </a:lnTo>
                  <a:lnTo>
                    <a:pt x="290" y="99"/>
                  </a:lnTo>
                  <a:lnTo>
                    <a:pt x="289" y="98"/>
                  </a:lnTo>
                  <a:lnTo>
                    <a:pt x="289" y="97"/>
                  </a:lnTo>
                  <a:lnTo>
                    <a:pt x="289" y="96"/>
                  </a:lnTo>
                  <a:lnTo>
                    <a:pt x="289" y="95"/>
                  </a:lnTo>
                  <a:lnTo>
                    <a:pt x="289" y="94"/>
                  </a:lnTo>
                  <a:lnTo>
                    <a:pt x="289" y="93"/>
                  </a:lnTo>
                  <a:lnTo>
                    <a:pt x="289" y="91"/>
                  </a:lnTo>
                  <a:lnTo>
                    <a:pt x="289" y="89"/>
                  </a:lnTo>
                  <a:lnTo>
                    <a:pt x="289" y="88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90" y="86"/>
                  </a:lnTo>
                  <a:lnTo>
                    <a:pt x="291" y="86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7" y="88"/>
                  </a:lnTo>
                  <a:lnTo>
                    <a:pt x="298" y="88"/>
                  </a:lnTo>
                  <a:lnTo>
                    <a:pt x="299" y="88"/>
                  </a:lnTo>
                  <a:lnTo>
                    <a:pt x="300" y="88"/>
                  </a:lnTo>
                  <a:lnTo>
                    <a:pt x="301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3" y="88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3" y="86"/>
                  </a:lnTo>
                  <a:lnTo>
                    <a:pt x="303" y="85"/>
                  </a:lnTo>
                  <a:lnTo>
                    <a:pt x="305" y="83"/>
                  </a:lnTo>
                  <a:lnTo>
                    <a:pt x="306" y="80"/>
                  </a:lnTo>
                  <a:lnTo>
                    <a:pt x="306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8" y="78"/>
                  </a:lnTo>
                  <a:lnTo>
                    <a:pt x="311" y="78"/>
                  </a:lnTo>
                  <a:lnTo>
                    <a:pt x="314" y="77"/>
                  </a:lnTo>
                  <a:lnTo>
                    <a:pt x="316" y="76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7" y="75"/>
                  </a:lnTo>
                  <a:lnTo>
                    <a:pt x="318" y="75"/>
                  </a:lnTo>
                  <a:lnTo>
                    <a:pt x="318" y="75"/>
                  </a:lnTo>
                  <a:lnTo>
                    <a:pt x="318" y="74"/>
                  </a:lnTo>
                  <a:lnTo>
                    <a:pt x="319" y="74"/>
                  </a:lnTo>
                  <a:lnTo>
                    <a:pt x="319" y="73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1"/>
                  </a:lnTo>
                  <a:lnTo>
                    <a:pt x="319" y="70"/>
                  </a:lnTo>
                  <a:lnTo>
                    <a:pt x="319" y="67"/>
                  </a:lnTo>
                  <a:lnTo>
                    <a:pt x="319" y="66"/>
                  </a:lnTo>
                  <a:lnTo>
                    <a:pt x="319" y="64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8" y="58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19" y="55"/>
                  </a:lnTo>
                  <a:lnTo>
                    <a:pt x="319" y="54"/>
                  </a:lnTo>
                  <a:lnTo>
                    <a:pt x="320" y="53"/>
                  </a:lnTo>
                  <a:lnTo>
                    <a:pt x="321" y="53"/>
                  </a:lnTo>
                  <a:lnTo>
                    <a:pt x="321" y="52"/>
                  </a:lnTo>
                  <a:lnTo>
                    <a:pt x="322" y="52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5" y="53"/>
                  </a:lnTo>
                  <a:lnTo>
                    <a:pt x="325" y="53"/>
                  </a:lnTo>
                  <a:lnTo>
                    <a:pt x="326" y="53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7" y="54"/>
                  </a:lnTo>
                  <a:lnTo>
                    <a:pt x="328" y="54"/>
                  </a:lnTo>
                  <a:lnTo>
                    <a:pt x="328" y="53"/>
                  </a:lnTo>
                  <a:lnTo>
                    <a:pt x="329" y="53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2" y="51"/>
                  </a:lnTo>
                  <a:lnTo>
                    <a:pt x="333" y="51"/>
                  </a:lnTo>
                  <a:lnTo>
                    <a:pt x="334" y="51"/>
                  </a:lnTo>
                  <a:lnTo>
                    <a:pt x="335" y="51"/>
                  </a:lnTo>
                  <a:lnTo>
                    <a:pt x="335" y="52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0" y="53"/>
                  </a:lnTo>
                  <a:lnTo>
                    <a:pt x="340" y="53"/>
                  </a:lnTo>
                  <a:lnTo>
                    <a:pt x="341" y="53"/>
                  </a:lnTo>
                  <a:lnTo>
                    <a:pt x="341" y="53"/>
                  </a:lnTo>
                  <a:lnTo>
                    <a:pt x="342" y="53"/>
                  </a:lnTo>
                  <a:lnTo>
                    <a:pt x="343" y="53"/>
                  </a:lnTo>
                  <a:lnTo>
                    <a:pt x="344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7" y="51"/>
                  </a:lnTo>
                  <a:lnTo>
                    <a:pt x="348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49" y="51"/>
                  </a:lnTo>
                  <a:lnTo>
                    <a:pt x="350" y="51"/>
                  </a:lnTo>
                  <a:lnTo>
                    <a:pt x="350" y="52"/>
                  </a:lnTo>
                  <a:lnTo>
                    <a:pt x="350" y="52"/>
                  </a:lnTo>
                  <a:lnTo>
                    <a:pt x="350" y="53"/>
                  </a:lnTo>
                  <a:lnTo>
                    <a:pt x="351" y="54"/>
                  </a:lnTo>
                  <a:lnTo>
                    <a:pt x="351" y="55"/>
                  </a:lnTo>
                  <a:lnTo>
                    <a:pt x="352" y="57"/>
                  </a:lnTo>
                  <a:lnTo>
                    <a:pt x="352" y="59"/>
                  </a:lnTo>
                  <a:lnTo>
                    <a:pt x="352" y="60"/>
                  </a:lnTo>
                  <a:lnTo>
                    <a:pt x="353" y="61"/>
                  </a:lnTo>
                  <a:lnTo>
                    <a:pt x="353" y="62"/>
                  </a:lnTo>
                  <a:lnTo>
                    <a:pt x="353" y="62"/>
                  </a:lnTo>
                  <a:lnTo>
                    <a:pt x="354" y="63"/>
                  </a:lnTo>
                  <a:lnTo>
                    <a:pt x="354" y="63"/>
                  </a:lnTo>
                  <a:lnTo>
                    <a:pt x="355" y="64"/>
                  </a:lnTo>
                  <a:lnTo>
                    <a:pt x="355" y="64"/>
                  </a:lnTo>
                  <a:lnTo>
                    <a:pt x="356" y="64"/>
                  </a:lnTo>
                  <a:lnTo>
                    <a:pt x="356" y="65"/>
                  </a:lnTo>
                  <a:lnTo>
                    <a:pt x="357" y="65"/>
                  </a:lnTo>
                  <a:lnTo>
                    <a:pt x="358" y="65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7" y="63"/>
                  </a:lnTo>
                  <a:lnTo>
                    <a:pt x="368" y="62"/>
                  </a:lnTo>
                  <a:lnTo>
                    <a:pt x="369" y="62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81" y="61"/>
                  </a:lnTo>
                  <a:lnTo>
                    <a:pt x="382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6" y="58"/>
                  </a:lnTo>
                  <a:lnTo>
                    <a:pt x="389" y="56"/>
                  </a:lnTo>
                  <a:lnTo>
                    <a:pt x="391" y="55"/>
                  </a:lnTo>
                  <a:lnTo>
                    <a:pt x="391" y="54"/>
                  </a:lnTo>
                  <a:lnTo>
                    <a:pt x="392" y="53"/>
                  </a:lnTo>
                  <a:lnTo>
                    <a:pt x="393" y="52"/>
                  </a:lnTo>
                  <a:lnTo>
                    <a:pt x="395" y="49"/>
                  </a:lnTo>
                  <a:lnTo>
                    <a:pt x="395" y="49"/>
                  </a:lnTo>
                  <a:lnTo>
                    <a:pt x="396" y="48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9" y="46"/>
                  </a:lnTo>
                  <a:lnTo>
                    <a:pt x="400" y="45"/>
                  </a:lnTo>
                  <a:lnTo>
                    <a:pt x="400" y="44"/>
                  </a:lnTo>
                  <a:lnTo>
                    <a:pt x="401" y="44"/>
                  </a:lnTo>
                  <a:lnTo>
                    <a:pt x="401" y="43"/>
                  </a:lnTo>
                  <a:lnTo>
                    <a:pt x="402" y="42"/>
                  </a:lnTo>
                  <a:lnTo>
                    <a:pt x="402" y="41"/>
                  </a:lnTo>
                  <a:lnTo>
                    <a:pt x="402" y="40"/>
                  </a:lnTo>
                  <a:lnTo>
                    <a:pt x="403" y="39"/>
                  </a:lnTo>
                  <a:lnTo>
                    <a:pt x="403" y="35"/>
                  </a:lnTo>
                  <a:lnTo>
                    <a:pt x="403" y="34"/>
                  </a:lnTo>
                  <a:lnTo>
                    <a:pt x="403" y="33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1"/>
                  </a:lnTo>
                  <a:lnTo>
                    <a:pt x="406" y="31"/>
                  </a:lnTo>
                  <a:lnTo>
                    <a:pt x="407" y="30"/>
                  </a:lnTo>
                  <a:lnTo>
                    <a:pt x="407" y="30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1" y="30"/>
                  </a:lnTo>
                  <a:lnTo>
                    <a:pt x="413" y="31"/>
                  </a:lnTo>
                  <a:lnTo>
                    <a:pt x="415" y="31"/>
                  </a:lnTo>
                  <a:lnTo>
                    <a:pt x="417" y="32"/>
                  </a:lnTo>
                  <a:lnTo>
                    <a:pt x="420" y="33"/>
                  </a:lnTo>
                  <a:lnTo>
                    <a:pt x="422" y="33"/>
                  </a:lnTo>
                  <a:lnTo>
                    <a:pt x="423" y="33"/>
                  </a:lnTo>
                  <a:lnTo>
                    <a:pt x="423" y="33"/>
                  </a:lnTo>
                  <a:lnTo>
                    <a:pt x="424" y="33"/>
                  </a:lnTo>
                  <a:lnTo>
                    <a:pt x="425" y="33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29" y="31"/>
                  </a:lnTo>
                  <a:lnTo>
                    <a:pt x="430" y="31"/>
                  </a:lnTo>
                  <a:lnTo>
                    <a:pt x="430" y="30"/>
                  </a:lnTo>
                  <a:lnTo>
                    <a:pt x="431" y="29"/>
                  </a:lnTo>
                  <a:lnTo>
                    <a:pt x="431" y="29"/>
                  </a:lnTo>
                  <a:lnTo>
                    <a:pt x="432" y="28"/>
                  </a:lnTo>
                  <a:lnTo>
                    <a:pt x="432" y="28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3" y="24"/>
                  </a:lnTo>
                  <a:lnTo>
                    <a:pt x="433" y="23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4" y="22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7" y="20"/>
                  </a:lnTo>
                  <a:lnTo>
                    <a:pt x="437" y="19"/>
                  </a:lnTo>
                  <a:lnTo>
                    <a:pt x="439" y="18"/>
                  </a:lnTo>
                  <a:lnTo>
                    <a:pt x="443" y="16"/>
                  </a:lnTo>
                  <a:lnTo>
                    <a:pt x="444" y="16"/>
                  </a:lnTo>
                  <a:lnTo>
                    <a:pt x="445" y="15"/>
                  </a:lnTo>
                  <a:lnTo>
                    <a:pt x="445" y="15"/>
                  </a:lnTo>
                  <a:lnTo>
                    <a:pt x="446" y="14"/>
                  </a:lnTo>
                  <a:lnTo>
                    <a:pt x="446" y="14"/>
                  </a:lnTo>
                  <a:lnTo>
                    <a:pt x="447" y="13"/>
                  </a:lnTo>
                  <a:lnTo>
                    <a:pt x="447" y="12"/>
                  </a:lnTo>
                  <a:lnTo>
                    <a:pt x="447" y="11"/>
                  </a:lnTo>
                  <a:lnTo>
                    <a:pt x="447" y="9"/>
                  </a:lnTo>
                  <a:lnTo>
                    <a:pt x="447" y="8"/>
                  </a:lnTo>
                  <a:lnTo>
                    <a:pt x="448" y="6"/>
                  </a:lnTo>
                  <a:lnTo>
                    <a:pt x="449" y="4"/>
                  </a:lnTo>
                  <a:lnTo>
                    <a:pt x="450" y="3"/>
                  </a:lnTo>
                  <a:lnTo>
                    <a:pt x="45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1" y="0"/>
                  </a:lnTo>
                  <a:lnTo>
                    <a:pt x="451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Freeform 10">
              <a:extLst>
                <a:ext uri="{FF2B5EF4-FFF2-40B4-BE49-F238E27FC236}">
                  <a16:creationId xmlns:a16="http://schemas.microsoft.com/office/drawing/2014/main" id="{412C054B-FD22-4193-4860-38F9B9C877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4" y="3272"/>
              <a:ext cx="138" cy="106"/>
            </a:xfrm>
            <a:custGeom>
              <a:avLst/>
              <a:gdLst>
                <a:gd name="T0" fmla="*/ 77 w 138"/>
                <a:gd name="T1" fmla="*/ 3 h 106"/>
                <a:gd name="T2" fmla="*/ 66 w 138"/>
                <a:gd name="T3" fmla="*/ 8 h 106"/>
                <a:gd name="T4" fmla="*/ 53 w 138"/>
                <a:gd name="T5" fmla="*/ 13 h 106"/>
                <a:gd name="T6" fmla="*/ 43 w 138"/>
                <a:gd name="T7" fmla="*/ 15 h 106"/>
                <a:gd name="T8" fmla="*/ 38 w 138"/>
                <a:gd name="T9" fmla="*/ 17 h 106"/>
                <a:gd name="T10" fmla="*/ 36 w 138"/>
                <a:gd name="T11" fmla="*/ 24 h 106"/>
                <a:gd name="T12" fmla="*/ 33 w 138"/>
                <a:gd name="T13" fmla="*/ 27 h 106"/>
                <a:gd name="T14" fmla="*/ 26 w 138"/>
                <a:gd name="T15" fmla="*/ 26 h 106"/>
                <a:gd name="T16" fmla="*/ 21 w 138"/>
                <a:gd name="T17" fmla="*/ 24 h 106"/>
                <a:gd name="T18" fmla="*/ 14 w 138"/>
                <a:gd name="T19" fmla="*/ 27 h 106"/>
                <a:gd name="T20" fmla="*/ 2 w 138"/>
                <a:gd name="T21" fmla="*/ 31 h 106"/>
                <a:gd name="T22" fmla="*/ 0 w 138"/>
                <a:gd name="T23" fmla="*/ 33 h 106"/>
                <a:gd name="T24" fmla="*/ 5 w 138"/>
                <a:gd name="T25" fmla="*/ 36 h 106"/>
                <a:gd name="T26" fmla="*/ 13 w 138"/>
                <a:gd name="T27" fmla="*/ 44 h 106"/>
                <a:gd name="T28" fmla="*/ 12 w 138"/>
                <a:gd name="T29" fmla="*/ 48 h 106"/>
                <a:gd name="T30" fmla="*/ 7 w 138"/>
                <a:gd name="T31" fmla="*/ 52 h 106"/>
                <a:gd name="T32" fmla="*/ 7 w 138"/>
                <a:gd name="T33" fmla="*/ 55 h 106"/>
                <a:gd name="T34" fmla="*/ 11 w 138"/>
                <a:gd name="T35" fmla="*/ 62 h 106"/>
                <a:gd name="T36" fmla="*/ 20 w 138"/>
                <a:gd name="T37" fmla="*/ 71 h 106"/>
                <a:gd name="T38" fmla="*/ 21 w 138"/>
                <a:gd name="T39" fmla="*/ 75 h 106"/>
                <a:gd name="T40" fmla="*/ 20 w 138"/>
                <a:gd name="T41" fmla="*/ 80 h 106"/>
                <a:gd name="T42" fmla="*/ 22 w 138"/>
                <a:gd name="T43" fmla="*/ 83 h 106"/>
                <a:gd name="T44" fmla="*/ 28 w 138"/>
                <a:gd name="T45" fmla="*/ 86 h 106"/>
                <a:gd name="T46" fmla="*/ 29 w 138"/>
                <a:gd name="T47" fmla="*/ 89 h 106"/>
                <a:gd name="T48" fmla="*/ 29 w 138"/>
                <a:gd name="T49" fmla="*/ 94 h 106"/>
                <a:gd name="T50" fmla="*/ 30 w 138"/>
                <a:gd name="T51" fmla="*/ 97 h 106"/>
                <a:gd name="T52" fmla="*/ 29 w 138"/>
                <a:gd name="T53" fmla="*/ 102 h 106"/>
                <a:gd name="T54" fmla="*/ 32 w 138"/>
                <a:gd name="T55" fmla="*/ 105 h 106"/>
                <a:gd name="T56" fmla="*/ 40 w 138"/>
                <a:gd name="T57" fmla="*/ 106 h 106"/>
                <a:gd name="T58" fmla="*/ 46 w 138"/>
                <a:gd name="T59" fmla="*/ 106 h 106"/>
                <a:gd name="T60" fmla="*/ 49 w 138"/>
                <a:gd name="T61" fmla="*/ 100 h 106"/>
                <a:gd name="T62" fmla="*/ 55 w 138"/>
                <a:gd name="T63" fmla="*/ 98 h 106"/>
                <a:gd name="T64" fmla="*/ 65 w 138"/>
                <a:gd name="T65" fmla="*/ 94 h 106"/>
                <a:gd name="T66" fmla="*/ 76 w 138"/>
                <a:gd name="T67" fmla="*/ 86 h 106"/>
                <a:gd name="T68" fmla="*/ 83 w 138"/>
                <a:gd name="T69" fmla="*/ 83 h 106"/>
                <a:gd name="T70" fmla="*/ 88 w 138"/>
                <a:gd name="T71" fmla="*/ 79 h 106"/>
                <a:gd name="T72" fmla="*/ 94 w 138"/>
                <a:gd name="T73" fmla="*/ 78 h 106"/>
                <a:gd name="T74" fmla="*/ 102 w 138"/>
                <a:gd name="T75" fmla="*/ 77 h 106"/>
                <a:gd name="T76" fmla="*/ 110 w 138"/>
                <a:gd name="T77" fmla="*/ 81 h 106"/>
                <a:gd name="T78" fmla="*/ 117 w 138"/>
                <a:gd name="T79" fmla="*/ 83 h 106"/>
                <a:gd name="T80" fmla="*/ 121 w 138"/>
                <a:gd name="T81" fmla="*/ 82 h 106"/>
                <a:gd name="T82" fmla="*/ 127 w 138"/>
                <a:gd name="T83" fmla="*/ 76 h 106"/>
                <a:gd name="T84" fmla="*/ 126 w 138"/>
                <a:gd name="T85" fmla="*/ 66 h 106"/>
                <a:gd name="T86" fmla="*/ 124 w 138"/>
                <a:gd name="T87" fmla="*/ 62 h 106"/>
                <a:gd name="T88" fmla="*/ 122 w 138"/>
                <a:gd name="T89" fmla="*/ 58 h 106"/>
                <a:gd name="T90" fmla="*/ 125 w 138"/>
                <a:gd name="T91" fmla="*/ 55 h 106"/>
                <a:gd name="T92" fmla="*/ 135 w 138"/>
                <a:gd name="T93" fmla="*/ 49 h 106"/>
                <a:gd name="T94" fmla="*/ 138 w 138"/>
                <a:gd name="T95" fmla="*/ 44 h 106"/>
                <a:gd name="T96" fmla="*/ 137 w 138"/>
                <a:gd name="T97" fmla="*/ 40 h 106"/>
                <a:gd name="T98" fmla="*/ 130 w 138"/>
                <a:gd name="T99" fmla="*/ 34 h 106"/>
                <a:gd name="T100" fmla="*/ 125 w 138"/>
                <a:gd name="T101" fmla="*/ 28 h 106"/>
                <a:gd name="T102" fmla="*/ 117 w 138"/>
                <a:gd name="T103" fmla="*/ 23 h 106"/>
                <a:gd name="T104" fmla="*/ 109 w 138"/>
                <a:gd name="T105" fmla="*/ 20 h 106"/>
                <a:gd name="T106" fmla="*/ 106 w 138"/>
                <a:gd name="T107" fmla="*/ 14 h 106"/>
                <a:gd name="T108" fmla="*/ 101 w 138"/>
                <a:gd name="T109" fmla="*/ 12 h 106"/>
                <a:gd name="T110" fmla="*/ 91 w 138"/>
                <a:gd name="T111" fmla="*/ 5 h 106"/>
                <a:gd name="T112" fmla="*/ 88 w 138"/>
                <a:gd name="T113" fmla="*/ 2 h 106"/>
                <a:gd name="T114" fmla="*/ 88 w 138"/>
                <a:gd name="T11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8" h="106">
                  <a:moveTo>
                    <a:pt x="87" y="0"/>
                  </a:moveTo>
                  <a:lnTo>
                    <a:pt x="87" y="1"/>
                  </a:lnTo>
                  <a:lnTo>
                    <a:pt x="86" y="1"/>
                  </a:lnTo>
                  <a:lnTo>
                    <a:pt x="84" y="1"/>
                  </a:lnTo>
                  <a:lnTo>
                    <a:pt x="79" y="2"/>
                  </a:lnTo>
                  <a:lnTo>
                    <a:pt x="77" y="3"/>
                  </a:lnTo>
                  <a:lnTo>
                    <a:pt x="75" y="3"/>
                  </a:lnTo>
                  <a:lnTo>
                    <a:pt x="73" y="4"/>
                  </a:lnTo>
                  <a:lnTo>
                    <a:pt x="71" y="5"/>
                  </a:lnTo>
                  <a:lnTo>
                    <a:pt x="70" y="5"/>
                  </a:lnTo>
                  <a:lnTo>
                    <a:pt x="67" y="7"/>
                  </a:lnTo>
                  <a:lnTo>
                    <a:pt x="66" y="8"/>
                  </a:lnTo>
                  <a:lnTo>
                    <a:pt x="64" y="9"/>
                  </a:lnTo>
                  <a:lnTo>
                    <a:pt x="61" y="9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4" y="12"/>
                  </a:lnTo>
                  <a:lnTo>
                    <a:pt x="53" y="13"/>
                  </a:lnTo>
                  <a:lnTo>
                    <a:pt x="52" y="14"/>
                  </a:lnTo>
                  <a:lnTo>
                    <a:pt x="49" y="14"/>
                  </a:lnTo>
                  <a:lnTo>
                    <a:pt x="48" y="14"/>
                  </a:lnTo>
                  <a:lnTo>
                    <a:pt x="47" y="15"/>
                  </a:lnTo>
                  <a:lnTo>
                    <a:pt x="44" y="15"/>
                  </a:lnTo>
                  <a:lnTo>
                    <a:pt x="43" y="15"/>
                  </a:lnTo>
                  <a:lnTo>
                    <a:pt x="41" y="15"/>
                  </a:lnTo>
                  <a:lnTo>
                    <a:pt x="41" y="16"/>
                  </a:lnTo>
                  <a:lnTo>
                    <a:pt x="40" y="16"/>
                  </a:lnTo>
                  <a:lnTo>
                    <a:pt x="39" y="16"/>
                  </a:lnTo>
                  <a:lnTo>
                    <a:pt x="39" y="17"/>
                  </a:lnTo>
                  <a:lnTo>
                    <a:pt x="38" y="17"/>
                  </a:lnTo>
                  <a:lnTo>
                    <a:pt x="38" y="18"/>
                  </a:lnTo>
                  <a:lnTo>
                    <a:pt x="37" y="19"/>
                  </a:lnTo>
                  <a:lnTo>
                    <a:pt x="37" y="20"/>
                  </a:lnTo>
                  <a:lnTo>
                    <a:pt x="37" y="21"/>
                  </a:lnTo>
                  <a:lnTo>
                    <a:pt x="36" y="23"/>
                  </a:lnTo>
                  <a:lnTo>
                    <a:pt x="36" y="24"/>
                  </a:lnTo>
                  <a:lnTo>
                    <a:pt x="35" y="25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4" y="26"/>
                  </a:lnTo>
                  <a:lnTo>
                    <a:pt x="34" y="27"/>
                  </a:lnTo>
                  <a:lnTo>
                    <a:pt x="33" y="27"/>
                  </a:lnTo>
                  <a:lnTo>
                    <a:pt x="31" y="27"/>
                  </a:lnTo>
                  <a:lnTo>
                    <a:pt x="30" y="27"/>
                  </a:lnTo>
                  <a:lnTo>
                    <a:pt x="28" y="27"/>
                  </a:lnTo>
                  <a:lnTo>
                    <a:pt x="27" y="27"/>
                  </a:lnTo>
                  <a:lnTo>
                    <a:pt x="27" y="26"/>
                  </a:lnTo>
                  <a:lnTo>
                    <a:pt x="26" y="26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3" y="24"/>
                  </a:lnTo>
                  <a:lnTo>
                    <a:pt x="22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9" y="25"/>
                  </a:lnTo>
                  <a:lnTo>
                    <a:pt x="16" y="26"/>
                  </a:lnTo>
                  <a:lnTo>
                    <a:pt x="15" y="27"/>
                  </a:lnTo>
                  <a:lnTo>
                    <a:pt x="14" y="27"/>
                  </a:lnTo>
                  <a:lnTo>
                    <a:pt x="11" y="28"/>
                  </a:lnTo>
                  <a:lnTo>
                    <a:pt x="9" y="28"/>
                  </a:lnTo>
                  <a:lnTo>
                    <a:pt x="6" y="29"/>
                  </a:lnTo>
                  <a:lnTo>
                    <a:pt x="4" y="30"/>
                  </a:lnTo>
                  <a:lnTo>
                    <a:pt x="3" y="31"/>
                  </a:lnTo>
                  <a:lnTo>
                    <a:pt x="2" y="31"/>
                  </a:lnTo>
                  <a:lnTo>
                    <a:pt x="1" y="32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4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3" y="35"/>
                  </a:lnTo>
                  <a:lnTo>
                    <a:pt x="4" y="35"/>
                  </a:lnTo>
                  <a:lnTo>
                    <a:pt x="5" y="36"/>
                  </a:lnTo>
                  <a:lnTo>
                    <a:pt x="5" y="37"/>
                  </a:lnTo>
                  <a:lnTo>
                    <a:pt x="7" y="38"/>
                  </a:lnTo>
                  <a:lnTo>
                    <a:pt x="9" y="40"/>
                  </a:lnTo>
                  <a:lnTo>
                    <a:pt x="11" y="43"/>
                  </a:lnTo>
                  <a:lnTo>
                    <a:pt x="12" y="44"/>
                  </a:lnTo>
                  <a:lnTo>
                    <a:pt x="13" y="44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6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0" y="49"/>
                  </a:lnTo>
                  <a:lnTo>
                    <a:pt x="9" y="50"/>
                  </a:lnTo>
                  <a:lnTo>
                    <a:pt x="8" y="50"/>
                  </a:lnTo>
                  <a:lnTo>
                    <a:pt x="8" y="51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6" y="53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7" y="54"/>
                  </a:lnTo>
                  <a:lnTo>
                    <a:pt x="7" y="55"/>
                  </a:lnTo>
                  <a:lnTo>
                    <a:pt x="7" y="56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10" y="59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2" y="64"/>
                  </a:lnTo>
                  <a:lnTo>
                    <a:pt x="13" y="65"/>
                  </a:lnTo>
                  <a:lnTo>
                    <a:pt x="14" y="66"/>
                  </a:lnTo>
                  <a:lnTo>
                    <a:pt x="15" y="67"/>
                  </a:lnTo>
                  <a:lnTo>
                    <a:pt x="17" y="69"/>
                  </a:lnTo>
                  <a:lnTo>
                    <a:pt x="20" y="71"/>
                  </a:lnTo>
                  <a:lnTo>
                    <a:pt x="20" y="72"/>
                  </a:lnTo>
                  <a:lnTo>
                    <a:pt x="21" y="73"/>
                  </a:lnTo>
                  <a:lnTo>
                    <a:pt x="21" y="73"/>
                  </a:lnTo>
                  <a:lnTo>
                    <a:pt x="21" y="74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6"/>
                  </a:lnTo>
                  <a:lnTo>
                    <a:pt x="21" y="77"/>
                  </a:lnTo>
                  <a:lnTo>
                    <a:pt x="20" y="78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80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2"/>
                  </a:lnTo>
                  <a:lnTo>
                    <a:pt x="21" y="82"/>
                  </a:lnTo>
                  <a:lnTo>
                    <a:pt x="21" y="83"/>
                  </a:lnTo>
                  <a:lnTo>
                    <a:pt x="22" y="83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4" y="85"/>
                  </a:lnTo>
                  <a:lnTo>
                    <a:pt x="25" y="85"/>
                  </a:lnTo>
                  <a:lnTo>
                    <a:pt x="27" y="86"/>
                  </a:lnTo>
                  <a:lnTo>
                    <a:pt x="28" y="86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29" y="90"/>
                  </a:lnTo>
                  <a:lnTo>
                    <a:pt x="29" y="91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7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29" y="100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102"/>
                  </a:lnTo>
                  <a:lnTo>
                    <a:pt x="30" y="102"/>
                  </a:lnTo>
                  <a:lnTo>
                    <a:pt x="30" y="103"/>
                  </a:lnTo>
                  <a:lnTo>
                    <a:pt x="31" y="103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2" y="105"/>
                  </a:lnTo>
                  <a:lnTo>
                    <a:pt x="33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5" y="106"/>
                  </a:lnTo>
                  <a:lnTo>
                    <a:pt x="36" y="106"/>
                  </a:lnTo>
                  <a:lnTo>
                    <a:pt x="40" y="106"/>
                  </a:lnTo>
                  <a:lnTo>
                    <a:pt x="41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6" y="106"/>
                  </a:lnTo>
                  <a:lnTo>
                    <a:pt x="46" y="105"/>
                  </a:lnTo>
                  <a:lnTo>
                    <a:pt x="46" y="105"/>
                  </a:lnTo>
                  <a:lnTo>
                    <a:pt x="47" y="104"/>
                  </a:lnTo>
                  <a:lnTo>
                    <a:pt x="48" y="102"/>
                  </a:lnTo>
                  <a:lnTo>
                    <a:pt x="49" y="101"/>
                  </a:lnTo>
                  <a:lnTo>
                    <a:pt x="49" y="100"/>
                  </a:lnTo>
                  <a:lnTo>
                    <a:pt x="49" y="100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1" y="99"/>
                  </a:lnTo>
                  <a:lnTo>
                    <a:pt x="52" y="98"/>
                  </a:lnTo>
                  <a:lnTo>
                    <a:pt x="55" y="98"/>
                  </a:lnTo>
                  <a:lnTo>
                    <a:pt x="56" y="97"/>
                  </a:lnTo>
                  <a:lnTo>
                    <a:pt x="58" y="97"/>
                  </a:lnTo>
                  <a:lnTo>
                    <a:pt x="59" y="96"/>
                  </a:lnTo>
                  <a:lnTo>
                    <a:pt x="62" y="95"/>
                  </a:lnTo>
                  <a:lnTo>
                    <a:pt x="64" y="95"/>
                  </a:lnTo>
                  <a:lnTo>
                    <a:pt x="65" y="94"/>
                  </a:lnTo>
                  <a:lnTo>
                    <a:pt x="66" y="94"/>
                  </a:lnTo>
                  <a:lnTo>
                    <a:pt x="67" y="93"/>
                  </a:lnTo>
                  <a:lnTo>
                    <a:pt x="68" y="93"/>
                  </a:lnTo>
                  <a:lnTo>
                    <a:pt x="73" y="89"/>
                  </a:lnTo>
                  <a:lnTo>
                    <a:pt x="75" y="87"/>
                  </a:lnTo>
                  <a:lnTo>
                    <a:pt x="76" y="86"/>
                  </a:lnTo>
                  <a:lnTo>
                    <a:pt x="77" y="86"/>
                  </a:lnTo>
                  <a:lnTo>
                    <a:pt x="78" y="86"/>
                  </a:lnTo>
                  <a:lnTo>
                    <a:pt x="79" y="85"/>
                  </a:lnTo>
                  <a:lnTo>
                    <a:pt x="81" y="84"/>
                  </a:lnTo>
                  <a:lnTo>
                    <a:pt x="82" y="84"/>
                  </a:lnTo>
                  <a:lnTo>
                    <a:pt x="83" y="83"/>
                  </a:lnTo>
                  <a:lnTo>
                    <a:pt x="84" y="83"/>
                  </a:lnTo>
                  <a:lnTo>
                    <a:pt x="85" y="82"/>
                  </a:lnTo>
                  <a:lnTo>
                    <a:pt x="86" y="82"/>
                  </a:lnTo>
                  <a:lnTo>
                    <a:pt x="87" y="80"/>
                  </a:lnTo>
                  <a:lnTo>
                    <a:pt x="87" y="80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9" y="79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91" y="78"/>
                  </a:lnTo>
                  <a:lnTo>
                    <a:pt x="94" y="78"/>
                  </a:lnTo>
                  <a:lnTo>
                    <a:pt x="95" y="77"/>
                  </a:lnTo>
                  <a:lnTo>
                    <a:pt x="97" y="77"/>
                  </a:lnTo>
                  <a:lnTo>
                    <a:pt x="99" y="77"/>
                  </a:lnTo>
                  <a:lnTo>
                    <a:pt x="101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3" y="77"/>
                  </a:lnTo>
                  <a:lnTo>
                    <a:pt x="104" y="78"/>
                  </a:lnTo>
                  <a:lnTo>
                    <a:pt x="106" y="78"/>
                  </a:lnTo>
                  <a:lnTo>
                    <a:pt x="107" y="79"/>
                  </a:lnTo>
                  <a:lnTo>
                    <a:pt x="108" y="80"/>
                  </a:lnTo>
                  <a:lnTo>
                    <a:pt x="110" y="81"/>
                  </a:lnTo>
                  <a:lnTo>
                    <a:pt x="112" y="82"/>
                  </a:lnTo>
                  <a:lnTo>
                    <a:pt x="112" y="82"/>
                  </a:lnTo>
                  <a:lnTo>
                    <a:pt x="113" y="82"/>
                  </a:lnTo>
                  <a:lnTo>
                    <a:pt x="114" y="83"/>
                  </a:lnTo>
                  <a:lnTo>
                    <a:pt x="115" y="83"/>
                  </a:lnTo>
                  <a:lnTo>
                    <a:pt x="117" y="83"/>
                  </a:lnTo>
                  <a:lnTo>
                    <a:pt x="118" y="83"/>
                  </a:lnTo>
                  <a:lnTo>
                    <a:pt x="118" y="83"/>
                  </a:lnTo>
                  <a:lnTo>
                    <a:pt x="119" y="83"/>
                  </a:lnTo>
                  <a:lnTo>
                    <a:pt x="120" y="83"/>
                  </a:lnTo>
                  <a:lnTo>
                    <a:pt x="120" y="82"/>
                  </a:lnTo>
                  <a:lnTo>
                    <a:pt x="121" y="82"/>
                  </a:lnTo>
                  <a:lnTo>
                    <a:pt x="122" y="81"/>
                  </a:lnTo>
                  <a:lnTo>
                    <a:pt x="124" y="79"/>
                  </a:lnTo>
                  <a:lnTo>
                    <a:pt x="125" y="79"/>
                  </a:lnTo>
                  <a:lnTo>
                    <a:pt x="126" y="78"/>
                  </a:lnTo>
                  <a:lnTo>
                    <a:pt x="126" y="77"/>
                  </a:lnTo>
                  <a:lnTo>
                    <a:pt x="127" y="76"/>
                  </a:lnTo>
                  <a:lnTo>
                    <a:pt x="127" y="75"/>
                  </a:lnTo>
                  <a:lnTo>
                    <a:pt x="127" y="74"/>
                  </a:lnTo>
                  <a:lnTo>
                    <a:pt x="127" y="73"/>
                  </a:lnTo>
                  <a:lnTo>
                    <a:pt x="127" y="72"/>
                  </a:lnTo>
                  <a:lnTo>
                    <a:pt x="126" y="68"/>
                  </a:lnTo>
                  <a:lnTo>
                    <a:pt x="126" y="66"/>
                  </a:lnTo>
                  <a:lnTo>
                    <a:pt x="126" y="65"/>
                  </a:lnTo>
                  <a:lnTo>
                    <a:pt x="126" y="64"/>
                  </a:lnTo>
                  <a:lnTo>
                    <a:pt x="125" y="64"/>
                  </a:lnTo>
                  <a:lnTo>
                    <a:pt x="125" y="63"/>
                  </a:lnTo>
                  <a:lnTo>
                    <a:pt x="125" y="63"/>
                  </a:lnTo>
                  <a:lnTo>
                    <a:pt x="124" y="62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3" y="60"/>
                  </a:lnTo>
                  <a:lnTo>
                    <a:pt x="122" y="60"/>
                  </a:lnTo>
                  <a:lnTo>
                    <a:pt x="122" y="59"/>
                  </a:lnTo>
                  <a:lnTo>
                    <a:pt x="122" y="58"/>
                  </a:lnTo>
                  <a:lnTo>
                    <a:pt x="123" y="58"/>
                  </a:lnTo>
                  <a:lnTo>
                    <a:pt x="123" y="57"/>
                  </a:lnTo>
                  <a:lnTo>
                    <a:pt x="123" y="57"/>
                  </a:lnTo>
                  <a:lnTo>
                    <a:pt x="123" y="56"/>
                  </a:lnTo>
                  <a:lnTo>
                    <a:pt x="124" y="56"/>
                  </a:lnTo>
                  <a:lnTo>
                    <a:pt x="125" y="55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31" y="51"/>
                  </a:lnTo>
                  <a:lnTo>
                    <a:pt x="134" y="50"/>
                  </a:lnTo>
                  <a:lnTo>
                    <a:pt x="134" y="49"/>
                  </a:lnTo>
                  <a:lnTo>
                    <a:pt x="135" y="49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7" y="47"/>
                  </a:lnTo>
                  <a:lnTo>
                    <a:pt x="137" y="46"/>
                  </a:lnTo>
                  <a:lnTo>
                    <a:pt x="138" y="45"/>
                  </a:lnTo>
                  <a:lnTo>
                    <a:pt x="138" y="44"/>
                  </a:lnTo>
                  <a:lnTo>
                    <a:pt x="138" y="43"/>
                  </a:lnTo>
                  <a:lnTo>
                    <a:pt x="138" y="43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37" y="41"/>
                  </a:lnTo>
                  <a:lnTo>
                    <a:pt x="137" y="40"/>
                  </a:lnTo>
                  <a:lnTo>
                    <a:pt x="136" y="39"/>
                  </a:lnTo>
                  <a:lnTo>
                    <a:pt x="135" y="38"/>
                  </a:lnTo>
                  <a:lnTo>
                    <a:pt x="135" y="37"/>
                  </a:lnTo>
                  <a:lnTo>
                    <a:pt x="134" y="37"/>
                  </a:lnTo>
                  <a:lnTo>
                    <a:pt x="133" y="36"/>
                  </a:lnTo>
                  <a:lnTo>
                    <a:pt x="130" y="34"/>
                  </a:lnTo>
                  <a:lnTo>
                    <a:pt x="129" y="33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7" y="31"/>
                  </a:lnTo>
                  <a:lnTo>
                    <a:pt x="126" y="29"/>
                  </a:lnTo>
                  <a:lnTo>
                    <a:pt x="125" y="28"/>
                  </a:lnTo>
                  <a:lnTo>
                    <a:pt x="124" y="28"/>
                  </a:lnTo>
                  <a:lnTo>
                    <a:pt x="124" y="27"/>
                  </a:lnTo>
                  <a:lnTo>
                    <a:pt x="123" y="27"/>
                  </a:lnTo>
                  <a:lnTo>
                    <a:pt x="122" y="26"/>
                  </a:lnTo>
                  <a:lnTo>
                    <a:pt x="118" y="24"/>
                  </a:lnTo>
                  <a:lnTo>
                    <a:pt x="117" y="23"/>
                  </a:lnTo>
                  <a:lnTo>
                    <a:pt x="114" y="23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1" y="21"/>
                  </a:lnTo>
                  <a:lnTo>
                    <a:pt x="110" y="21"/>
                  </a:lnTo>
                  <a:lnTo>
                    <a:pt x="109" y="20"/>
                  </a:lnTo>
                  <a:lnTo>
                    <a:pt x="109" y="19"/>
                  </a:lnTo>
                  <a:lnTo>
                    <a:pt x="108" y="19"/>
                  </a:lnTo>
                  <a:lnTo>
                    <a:pt x="107" y="18"/>
                  </a:lnTo>
                  <a:lnTo>
                    <a:pt x="107" y="17"/>
                  </a:lnTo>
                  <a:lnTo>
                    <a:pt x="107" y="16"/>
                  </a:lnTo>
                  <a:lnTo>
                    <a:pt x="106" y="14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4" y="12"/>
                  </a:lnTo>
                  <a:lnTo>
                    <a:pt x="103" y="12"/>
                  </a:lnTo>
                  <a:lnTo>
                    <a:pt x="101" y="12"/>
                  </a:lnTo>
                  <a:lnTo>
                    <a:pt x="100" y="11"/>
                  </a:lnTo>
                  <a:lnTo>
                    <a:pt x="99" y="11"/>
                  </a:lnTo>
                  <a:lnTo>
                    <a:pt x="98" y="10"/>
                  </a:lnTo>
                  <a:lnTo>
                    <a:pt x="95" y="8"/>
                  </a:lnTo>
                  <a:lnTo>
                    <a:pt x="94" y="7"/>
                  </a:lnTo>
                  <a:lnTo>
                    <a:pt x="91" y="5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89" y="4"/>
                  </a:lnTo>
                  <a:lnTo>
                    <a:pt x="89" y="3"/>
                  </a:lnTo>
                  <a:lnTo>
                    <a:pt x="89" y="2"/>
                  </a:lnTo>
                  <a:lnTo>
                    <a:pt x="88" y="2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9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7" y="0"/>
                  </a:lnTo>
                </a:path>
              </a:pathLst>
            </a:custGeom>
            <a:solidFill>
              <a:srgbClr val="595959"/>
            </a:solidFill>
            <a:ln w="635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Freeform 11">
              <a:extLst>
                <a:ext uri="{FF2B5EF4-FFF2-40B4-BE49-F238E27FC236}">
                  <a16:creationId xmlns:a16="http://schemas.microsoft.com/office/drawing/2014/main" id="{F828F0EF-8C9B-741B-C691-74B72EC83C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3533"/>
              <a:ext cx="624" cy="488"/>
            </a:xfrm>
            <a:custGeom>
              <a:avLst/>
              <a:gdLst>
                <a:gd name="T0" fmla="*/ 178 w 624"/>
                <a:gd name="T1" fmla="*/ 37 h 488"/>
                <a:gd name="T2" fmla="*/ 217 w 624"/>
                <a:gd name="T3" fmla="*/ 23 h 488"/>
                <a:gd name="T4" fmla="*/ 241 w 624"/>
                <a:gd name="T5" fmla="*/ 35 h 488"/>
                <a:gd name="T6" fmla="*/ 265 w 624"/>
                <a:gd name="T7" fmla="*/ 33 h 488"/>
                <a:gd name="T8" fmla="*/ 286 w 624"/>
                <a:gd name="T9" fmla="*/ 34 h 488"/>
                <a:gd name="T10" fmla="*/ 319 w 624"/>
                <a:gd name="T11" fmla="*/ 35 h 488"/>
                <a:gd name="T12" fmla="*/ 337 w 624"/>
                <a:gd name="T13" fmla="*/ 48 h 488"/>
                <a:gd name="T14" fmla="*/ 363 w 624"/>
                <a:gd name="T15" fmla="*/ 27 h 488"/>
                <a:gd name="T16" fmla="*/ 373 w 624"/>
                <a:gd name="T17" fmla="*/ 0 h 488"/>
                <a:gd name="T18" fmla="*/ 403 w 624"/>
                <a:gd name="T19" fmla="*/ 13 h 488"/>
                <a:gd name="T20" fmla="*/ 422 w 624"/>
                <a:gd name="T21" fmla="*/ 31 h 488"/>
                <a:gd name="T22" fmla="*/ 417 w 624"/>
                <a:gd name="T23" fmla="*/ 47 h 488"/>
                <a:gd name="T24" fmla="*/ 415 w 624"/>
                <a:gd name="T25" fmla="*/ 88 h 488"/>
                <a:gd name="T26" fmla="*/ 421 w 624"/>
                <a:gd name="T27" fmla="*/ 120 h 488"/>
                <a:gd name="T28" fmla="*/ 435 w 624"/>
                <a:gd name="T29" fmla="*/ 153 h 488"/>
                <a:gd name="T30" fmla="*/ 468 w 624"/>
                <a:gd name="T31" fmla="*/ 159 h 488"/>
                <a:gd name="T32" fmla="*/ 473 w 624"/>
                <a:gd name="T33" fmla="*/ 171 h 488"/>
                <a:gd name="T34" fmla="*/ 502 w 624"/>
                <a:gd name="T35" fmla="*/ 178 h 488"/>
                <a:gd name="T36" fmla="*/ 542 w 624"/>
                <a:gd name="T37" fmla="*/ 184 h 488"/>
                <a:gd name="T38" fmla="*/ 551 w 624"/>
                <a:gd name="T39" fmla="*/ 212 h 488"/>
                <a:gd name="T40" fmla="*/ 591 w 624"/>
                <a:gd name="T41" fmla="*/ 227 h 488"/>
                <a:gd name="T42" fmla="*/ 614 w 624"/>
                <a:gd name="T43" fmla="*/ 228 h 488"/>
                <a:gd name="T44" fmla="*/ 621 w 624"/>
                <a:gd name="T45" fmla="*/ 249 h 488"/>
                <a:gd name="T46" fmla="*/ 600 w 624"/>
                <a:gd name="T47" fmla="*/ 276 h 488"/>
                <a:gd name="T48" fmla="*/ 605 w 624"/>
                <a:gd name="T49" fmla="*/ 293 h 488"/>
                <a:gd name="T50" fmla="*/ 617 w 624"/>
                <a:gd name="T51" fmla="*/ 312 h 488"/>
                <a:gd name="T52" fmla="*/ 606 w 624"/>
                <a:gd name="T53" fmla="*/ 325 h 488"/>
                <a:gd name="T54" fmla="*/ 560 w 624"/>
                <a:gd name="T55" fmla="*/ 297 h 488"/>
                <a:gd name="T56" fmla="*/ 529 w 624"/>
                <a:gd name="T57" fmla="*/ 291 h 488"/>
                <a:gd name="T58" fmla="*/ 496 w 624"/>
                <a:gd name="T59" fmla="*/ 309 h 488"/>
                <a:gd name="T60" fmla="*/ 484 w 624"/>
                <a:gd name="T61" fmla="*/ 286 h 488"/>
                <a:gd name="T62" fmla="*/ 448 w 624"/>
                <a:gd name="T63" fmla="*/ 277 h 488"/>
                <a:gd name="T64" fmla="*/ 438 w 624"/>
                <a:gd name="T65" fmla="*/ 313 h 488"/>
                <a:gd name="T66" fmla="*/ 432 w 624"/>
                <a:gd name="T67" fmla="*/ 370 h 488"/>
                <a:gd name="T68" fmla="*/ 425 w 624"/>
                <a:gd name="T69" fmla="*/ 394 h 488"/>
                <a:gd name="T70" fmla="*/ 386 w 624"/>
                <a:gd name="T71" fmla="*/ 391 h 488"/>
                <a:gd name="T72" fmla="*/ 358 w 624"/>
                <a:gd name="T73" fmla="*/ 437 h 488"/>
                <a:gd name="T74" fmla="*/ 350 w 624"/>
                <a:gd name="T75" fmla="*/ 476 h 488"/>
                <a:gd name="T76" fmla="*/ 326 w 624"/>
                <a:gd name="T77" fmla="*/ 461 h 488"/>
                <a:gd name="T78" fmla="*/ 291 w 624"/>
                <a:gd name="T79" fmla="*/ 458 h 488"/>
                <a:gd name="T80" fmla="*/ 273 w 624"/>
                <a:gd name="T81" fmla="*/ 465 h 488"/>
                <a:gd name="T82" fmla="*/ 253 w 624"/>
                <a:gd name="T83" fmla="*/ 481 h 488"/>
                <a:gd name="T84" fmla="*/ 211 w 624"/>
                <a:gd name="T85" fmla="*/ 477 h 488"/>
                <a:gd name="T86" fmla="*/ 158 w 624"/>
                <a:gd name="T87" fmla="*/ 467 h 488"/>
                <a:gd name="T88" fmla="*/ 145 w 624"/>
                <a:gd name="T89" fmla="*/ 446 h 488"/>
                <a:gd name="T90" fmla="*/ 142 w 624"/>
                <a:gd name="T91" fmla="*/ 422 h 488"/>
                <a:gd name="T92" fmla="*/ 101 w 624"/>
                <a:gd name="T93" fmla="*/ 392 h 488"/>
                <a:gd name="T94" fmla="*/ 73 w 624"/>
                <a:gd name="T95" fmla="*/ 361 h 488"/>
                <a:gd name="T96" fmla="*/ 46 w 624"/>
                <a:gd name="T97" fmla="*/ 336 h 488"/>
                <a:gd name="T98" fmla="*/ 20 w 624"/>
                <a:gd name="T99" fmla="*/ 306 h 488"/>
                <a:gd name="T100" fmla="*/ 0 w 624"/>
                <a:gd name="T101" fmla="*/ 286 h 488"/>
                <a:gd name="T102" fmla="*/ 17 w 624"/>
                <a:gd name="T103" fmla="*/ 255 h 488"/>
                <a:gd name="T104" fmla="*/ 18 w 624"/>
                <a:gd name="T105" fmla="*/ 214 h 488"/>
                <a:gd name="T106" fmla="*/ 47 w 624"/>
                <a:gd name="T107" fmla="*/ 201 h 488"/>
                <a:gd name="T108" fmla="*/ 49 w 624"/>
                <a:gd name="T109" fmla="*/ 174 h 488"/>
                <a:gd name="T110" fmla="*/ 52 w 624"/>
                <a:gd name="T111" fmla="*/ 157 h 488"/>
                <a:gd name="T112" fmla="*/ 59 w 624"/>
                <a:gd name="T113" fmla="*/ 140 h 488"/>
                <a:gd name="T114" fmla="*/ 74 w 624"/>
                <a:gd name="T115" fmla="*/ 107 h 488"/>
                <a:gd name="T116" fmla="*/ 71 w 624"/>
                <a:gd name="T117" fmla="*/ 67 h 488"/>
                <a:gd name="T118" fmla="*/ 73 w 624"/>
                <a:gd name="T119" fmla="*/ 44 h 488"/>
                <a:gd name="T120" fmla="*/ 102 w 624"/>
                <a:gd name="T121" fmla="*/ 41 h 488"/>
                <a:gd name="T122" fmla="*/ 127 w 624"/>
                <a:gd name="T123" fmla="*/ 45 h 488"/>
                <a:gd name="T124" fmla="*/ 150 w 624"/>
                <a:gd name="T125" fmla="*/ 28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24" h="488">
                  <a:moveTo>
                    <a:pt x="162" y="23"/>
                  </a:moveTo>
                  <a:lnTo>
                    <a:pt x="162" y="23"/>
                  </a:lnTo>
                  <a:lnTo>
                    <a:pt x="162" y="23"/>
                  </a:lnTo>
                  <a:lnTo>
                    <a:pt x="163" y="24"/>
                  </a:lnTo>
                  <a:lnTo>
                    <a:pt x="163" y="24"/>
                  </a:lnTo>
                  <a:lnTo>
                    <a:pt x="163" y="25"/>
                  </a:lnTo>
                  <a:lnTo>
                    <a:pt x="163" y="29"/>
                  </a:lnTo>
                  <a:lnTo>
                    <a:pt x="163" y="31"/>
                  </a:lnTo>
                  <a:lnTo>
                    <a:pt x="163" y="32"/>
                  </a:lnTo>
                  <a:lnTo>
                    <a:pt x="163" y="33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4" y="35"/>
                  </a:lnTo>
                  <a:lnTo>
                    <a:pt x="164" y="35"/>
                  </a:lnTo>
                  <a:lnTo>
                    <a:pt x="165" y="36"/>
                  </a:lnTo>
                  <a:lnTo>
                    <a:pt x="165" y="36"/>
                  </a:lnTo>
                  <a:lnTo>
                    <a:pt x="166" y="37"/>
                  </a:lnTo>
                  <a:lnTo>
                    <a:pt x="167" y="37"/>
                  </a:lnTo>
                  <a:lnTo>
                    <a:pt x="168" y="37"/>
                  </a:lnTo>
                  <a:lnTo>
                    <a:pt x="168" y="37"/>
                  </a:lnTo>
                  <a:lnTo>
                    <a:pt x="170" y="38"/>
                  </a:lnTo>
                  <a:lnTo>
                    <a:pt x="171" y="37"/>
                  </a:lnTo>
                  <a:lnTo>
                    <a:pt x="172" y="37"/>
                  </a:lnTo>
                  <a:lnTo>
                    <a:pt x="173" y="37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6" y="37"/>
                  </a:lnTo>
                  <a:lnTo>
                    <a:pt x="178" y="37"/>
                  </a:lnTo>
                  <a:lnTo>
                    <a:pt x="179" y="37"/>
                  </a:lnTo>
                  <a:lnTo>
                    <a:pt x="181" y="36"/>
                  </a:lnTo>
                  <a:lnTo>
                    <a:pt x="182" y="36"/>
                  </a:lnTo>
                  <a:lnTo>
                    <a:pt x="183" y="36"/>
                  </a:lnTo>
                  <a:lnTo>
                    <a:pt x="187" y="36"/>
                  </a:lnTo>
                  <a:lnTo>
                    <a:pt x="188" y="36"/>
                  </a:lnTo>
                  <a:lnTo>
                    <a:pt x="196" y="36"/>
                  </a:lnTo>
                  <a:lnTo>
                    <a:pt x="199" y="35"/>
                  </a:lnTo>
                  <a:lnTo>
                    <a:pt x="201" y="35"/>
                  </a:lnTo>
                  <a:lnTo>
                    <a:pt x="202" y="35"/>
                  </a:lnTo>
                  <a:lnTo>
                    <a:pt x="204" y="35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6" y="35"/>
                  </a:lnTo>
                  <a:lnTo>
                    <a:pt x="206" y="35"/>
                  </a:lnTo>
                  <a:lnTo>
                    <a:pt x="207" y="34"/>
                  </a:lnTo>
                  <a:lnTo>
                    <a:pt x="207" y="32"/>
                  </a:lnTo>
                  <a:lnTo>
                    <a:pt x="208" y="31"/>
                  </a:lnTo>
                  <a:lnTo>
                    <a:pt x="209" y="30"/>
                  </a:lnTo>
                  <a:lnTo>
                    <a:pt x="210" y="28"/>
                  </a:lnTo>
                  <a:lnTo>
                    <a:pt x="211" y="26"/>
                  </a:lnTo>
                  <a:lnTo>
                    <a:pt x="211" y="26"/>
                  </a:lnTo>
                  <a:lnTo>
                    <a:pt x="212" y="25"/>
                  </a:lnTo>
                  <a:lnTo>
                    <a:pt x="212" y="24"/>
                  </a:lnTo>
                  <a:lnTo>
                    <a:pt x="213" y="24"/>
                  </a:lnTo>
                  <a:lnTo>
                    <a:pt x="214" y="24"/>
                  </a:lnTo>
                  <a:lnTo>
                    <a:pt x="217" y="23"/>
                  </a:lnTo>
                  <a:lnTo>
                    <a:pt x="219" y="22"/>
                  </a:lnTo>
                  <a:lnTo>
                    <a:pt x="220" y="22"/>
                  </a:lnTo>
                  <a:lnTo>
                    <a:pt x="221" y="22"/>
                  </a:lnTo>
                  <a:lnTo>
                    <a:pt x="222" y="22"/>
                  </a:lnTo>
                  <a:lnTo>
                    <a:pt x="222" y="22"/>
                  </a:lnTo>
                  <a:lnTo>
                    <a:pt x="223" y="22"/>
                  </a:lnTo>
                  <a:lnTo>
                    <a:pt x="225" y="23"/>
                  </a:lnTo>
                  <a:lnTo>
                    <a:pt x="226" y="23"/>
                  </a:lnTo>
                  <a:lnTo>
                    <a:pt x="227" y="24"/>
                  </a:lnTo>
                  <a:lnTo>
                    <a:pt x="228" y="25"/>
                  </a:lnTo>
                  <a:lnTo>
                    <a:pt x="229" y="25"/>
                  </a:lnTo>
                  <a:lnTo>
                    <a:pt x="230" y="26"/>
                  </a:lnTo>
                  <a:lnTo>
                    <a:pt x="231" y="28"/>
                  </a:lnTo>
                  <a:lnTo>
                    <a:pt x="231" y="28"/>
                  </a:lnTo>
                  <a:lnTo>
                    <a:pt x="232" y="29"/>
                  </a:lnTo>
                  <a:lnTo>
                    <a:pt x="232" y="29"/>
                  </a:lnTo>
                  <a:lnTo>
                    <a:pt x="233" y="30"/>
                  </a:lnTo>
                  <a:lnTo>
                    <a:pt x="233" y="30"/>
                  </a:lnTo>
                  <a:lnTo>
                    <a:pt x="235" y="30"/>
                  </a:lnTo>
                  <a:lnTo>
                    <a:pt x="236" y="31"/>
                  </a:lnTo>
                  <a:lnTo>
                    <a:pt x="238" y="32"/>
                  </a:lnTo>
                  <a:lnTo>
                    <a:pt x="238" y="32"/>
                  </a:lnTo>
                  <a:lnTo>
                    <a:pt x="239" y="33"/>
                  </a:lnTo>
                  <a:lnTo>
                    <a:pt x="240" y="33"/>
                  </a:lnTo>
                  <a:lnTo>
                    <a:pt x="241" y="34"/>
                  </a:lnTo>
                  <a:lnTo>
                    <a:pt x="241" y="35"/>
                  </a:lnTo>
                  <a:lnTo>
                    <a:pt x="241" y="35"/>
                  </a:lnTo>
                  <a:lnTo>
                    <a:pt x="241" y="35"/>
                  </a:lnTo>
                  <a:lnTo>
                    <a:pt x="242" y="37"/>
                  </a:lnTo>
                  <a:lnTo>
                    <a:pt x="242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4" y="39"/>
                  </a:lnTo>
                  <a:lnTo>
                    <a:pt x="245" y="39"/>
                  </a:lnTo>
                  <a:lnTo>
                    <a:pt x="247" y="39"/>
                  </a:lnTo>
                  <a:lnTo>
                    <a:pt x="248" y="39"/>
                  </a:lnTo>
                  <a:lnTo>
                    <a:pt x="249" y="39"/>
                  </a:lnTo>
                  <a:lnTo>
                    <a:pt x="250" y="39"/>
                  </a:lnTo>
                  <a:lnTo>
                    <a:pt x="252" y="39"/>
                  </a:lnTo>
                  <a:lnTo>
                    <a:pt x="252" y="38"/>
                  </a:lnTo>
                  <a:lnTo>
                    <a:pt x="253" y="38"/>
                  </a:lnTo>
                  <a:lnTo>
                    <a:pt x="253" y="38"/>
                  </a:lnTo>
                  <a:lnTo>
                    <a:pt x="256" y="36"/>
                  </a:lnTo>
                  <a:lnTo>
                    <a:pt x="257" y="35"/>
                  </a:lnTo>
                  <a:lnTo>
                    <a:pt x="258" y="35"/>
                  </a:lnTo>
                  <a:lnTo>
                    <a:pt x="259" y="34"/>
                  </a:lnTo>
                  <a:lnTo>
                    <a:pt x="260" y="34"/>
                  </a:lnTo>
                  <a:lnTo>
                    <a:pt x="261" y="34"/>
                  </a:lnTo>
                  <a:lnTo>
                    <a:pt x="262" y="34"/>
                  </a:lnTo>
                  <a:lnTo>
                    <a:pt x="264" y="34"/>
                  </a:lnTo>
                  <a:lnTo>
                    <a:pt x="264" y="34"/>
                  </a:lnTo>
                  <a:lnTo>
                    <a:pt x="264" y="34"/>
                  </a:lnTo>
                  <a:lnTo>
                    <a:pt x="265" y="34"/>
                  </a:lnTo>
                  <a:lnTo>
                    <a:pt x="265" y="34"/>
                  </a:lnTo>
                  <a:lnTo>
                    <a:pt x="265" y="33"/>
                  </a:lnTo>
                  <a:lnTo>
                    <a:pt x="265" y="33"/>
                  </a:lnTo>
                  <a:lnTo>
                    <a:pt x="265" y="32"/>
                  </a:lnTo>
                  <a:lnTo>
                    <a:pt x="265" y="30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8"/>
                  </a:lnTo>
                  <a:lnTo>
                    <a:pt x="265" y="28"/>
                  </a:lnTo>
                  <a:lnTo>
                    <a:pt x="266" y="28"/>
                  </a:lnTo>
                  <a:lnTo>
                    <a:pt x="266" y="28"/>
                  </a:lnTo>
                  <a:lnTo>
                    <a:pt x="267" y="28"/>
                  </a:lnTo>
                  <a:lnTo>
                    <a:pt x="268" y="28"/>
                  </a:lnTo>
                  <a:lnTo>
                    <a:pt x="270" y="30"/>
                  </a:lnTo>
                  <a:lnTo>
                    <a:pt x="271" y="30"/>
                  </a:lnTo>
                  <a:lnTo>
                    <a:pt x="272" y="31"/>
                  </a:lnTo>
                  <a:lnTo>
                    <a:pt x="274" y="31"/>
                  </a:lnTo>
                  <a:lnTo>
                    <a:pt x="275" y="32"/>
                  </a:lnTo>
                  <a:lnTo>
                    <a:pt x="276" y="32"/>
                  </a:lnTo>
                  <a:lnTo>
                    <a:pt x="279" y="35"/>
                  </a:lnTo>
                  <a:lnTo>
                    <a:pt x="280" y="35"/>
                  </a:lnTo>
                  <a:lnTo>
                    <a:pt x="281" y="36"/>
                  </a:lnTo>
                  <a:lnTo>
                    <a:pt x="282" y="36"/>
                  </a:lnTo>
                  <a:lnTo>
                    <a:pt x="282" y="36"/>
                  </a:lnTo>
                  <a:lnTo>
                    <a:pt x="283" y="36"/>
                  </a:lnTo>
                  <a:lnTo>
                    <a:pt x="283" y="36"/>
                  </a:lnTo>
                  <a:lnTo>
                    <a:pt x="284" y="36"/>
                  </a:lnTo>
                  <a:lnTo>
                    <a:pt x="285" y="35"/>
                  </a:lnTo>
                  <a:lnTo>
                    <a:pt x="286" y="34"/>
                  </a:lnTo>
                  <a:lnTo>
                    <a:pt x="287" y="34"/>
                  </a:lnTo>
                  <a:lnTo>
                    <a:pt x="288" y="33"/>
                  </a:lnTo>
                  <a:lnTo>
                    <a:pt x="288" y="33"/>
                  </a:lnTo>
                  <a:lnTo>
                    <a:pt x="289" y="33"/>
                  </a:lnTo>
                  <a:lnTo>
                    <a:pt x="290" y="33"/>
                  </a:lnTo>
                  <a:lnTo>
                    <a:pt x="292" y="33"/>
                  </a:lnTo>
                  <a:lnTo>
                    <a:pt x="293" y="34"/>
                  </a:lnTo>
                  <a:lnTo>
                    <a:pt x="294" y="34"/>
                  </a:lnTo>
                  <a:lnTo>
                    <a:pt x="295" y="34"/>
                  </a:lnTo>
                  <a:lnTo>
                    <a:pt x="295" y="34"/>
                  </a:lnTo>
                  <a:lnTo>
                    <a:pt x="297" y="35"/>
                  </a:lnTo>
                  <a:lnTo>
                    <a:pt x="298" y="35"/>
                  </a:lnTo>
                  <a:lnTo>
                    <a:pt x="299" y="36"/>
                  </a:lnTo>
                  <a:lnTo>
                    <a:pt x="300" y="36"/>
                  </a:lnTo>
                  <a:lnTo>
                    <a:pt x="302" y="36"/>
                  </a:lnTo>
                  <a:lnTo>
                    <a:pt x="306" y="37"/>
                  </a:lnTo>
                  <a:lnTo>
                    <a:pt x="307" y="37"/>
                  </a:lnTo>
                  <a:lnTo>
                    <a:pt x="309" y="37"/>
                  </a:lnTo>
                  <a:lnTo>
                    <a:pt x="310" y="37"/>
                  </a:lnTo>
                  <a:lnTo>
                    <a:pt x="311" y="37"/>
                  </a:lnTo>
                  <a:lnTo>
                    <a:pt x="313" y="36"/>
                  </a:lnTo>
                  <a:lnTo>
                    <a:pt x="314" y="36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9" y="35"/>
                  </a:lnTo>
                  <a:lnTo>
                    <a:pt x="319" y="36"/>
                  </a:lnTo>
                  <a:lnTo>
                    <a:pt x="319" y="36"/>
                  </a:lnTo>
                  <a:lnTo>
                    <a:pt x="319" y="37"/>
                  </a:lnTo>
                  <a:lnTo>
                    <a:pt x="318" y="40"/>
                  </a:lnTo>
                  <a:lnTo>
                    <a:pt x="318" y="40"/>
                  </a:lnTo>
                  <a:lnTo>
                    <a:pt x="318" y="41"/>
                  </a:lnTo>
                  <a:lnTo>
                    <a:pt x="318" y="41"/>
                  </a:lnTo>
                  <a:lnTo>
                    <a:pt x="318" y="41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20" y="42"/>
                  </a:lnTo>
                  <a:lnTo>
                    <a:pt x="320" y="43"/>
                  </a:lnTo>
                  <a:lnTo>
                    <a:pt x="321" y="43"/>
                  </a:lnTo>
                  <a:lnTo>
                    <a:pt x="321" y="43"/>
                  </a:lnTo>
                  <a:lnTo>
                    <a:pt x="323" y="43"/>
                  </a:lnTo>
                  <a:lnTo>
                    <a:pt x="325" y="44"/>
                  </a:lnTo>
                  <a:lnTo>
                    <a:pt x="326" y="44"/>
                  </a:lnTo>
                  <a:lnTo>
                    <a:pt x="328" y="44"/>
                  </a:lnTo>
                  <a:lnTo>
                    <a:pt x="329" y="45"/>
                  </a:lnTo>
                  <a:lnTo>
                    <a:pt x="331" y="45"/>
                  </a:lnTo>
                  <a:lnTo>
                    <a:pt x="332" y="46"/>
                  </a:lnTo>
                  <a:lnTo>
                    <a:pt x="333" y="46"/>
                  </a:lnTo>
                  <a:lnTo>
                    <a:pt x="335" y="48"/>
                  </a:lnTo>
                  <a:lnTo>
                    <a:pt x="335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8" y="48"/>
                  </a:lnTo>
                  <a:lnTo>
                    <a:pt x="338" y="47"/>
                  </a:lnTo>
                  <a:lnTo>
                    <a:pt x="339" y="47"/>
                  </a:lnTo>
                  <a:lnTo>
                    <a:pt x="340" y="45"/>
                  </a:lnTo>
                  <a:lnTo>
                    <a:pt x="341" y="44"/>
                  </a:lnTo>
                  <a:lnTo>
                    <a:pt x="342" y="43"/>
                  </a:lnTo>
                  <a:lnTo>
                    <a:pt x="343" y="41"/>
                  </a:lnTo>
                  <a:lnTo>
                    <a:pt x="344" y="40"/>
                  </a:lnTo>
                  <a:lnTo>
                    <a:pt x="347" y="38"/>
                  </a:lnTo>
                  <a:lnTo>
                    <a:pt x="349" y="36"/>
                  </a:lnTo>
                  <a:lnTo>
                    <a:pt x="351" y="35"/>
                  </a:lnTo>
                  <a:lnTo>
                    <a:pt x="352" y="34"/>
                  </a:lnTo>
                  <a:lnTo>
                    <a:pt x="353" y="34"/>
                  </a:lnTo>
                  <a:lnTo>
                    <a:pt x="354" y="34"/>
                  </a:lnTo>
                  <a:lnTo>
                    <a:pt x="357" y="33"/>
                  </a:lnTo>
                  <a:lnTo>
                    <a:pt x="358" y="32"/>
                  </a:lnTo>
                  <a:lnTo>
                    <a:pt x="359" y="32"/>
                  </a:lnTo>
                  <a:lnTo>
                    <a:pt x="361" y="31"/>
                  </a:lnTo>
                  <a:lnTo>
                    <a:pt x="361" y="31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3" y="29"/>
                  </a:lnTo>
                  <a:lnTo>
                    <a:pt x="363" y="28"/>
                  </a:lnTo>
                  <a:lnTo>
                    <a:pt x="363" y="28"/>
                  </a:lnTo>
                  <a:lnTo>
                    <a:pt x="363" y="27"/>
                  </a:lnTo>
                  <a:lnTo>
                    <a:pt x="362" y="25"/>
                  </a:lnTo>
                  <a:lnTo>
                    <a:pt x="362" y="23"/>
                  </a:lnTo>
                  <a:lnTo>
                    <a:pt x="361" y="21"/>
                  </a:lnTo>
                  <a:lnTo>
                    <a:pt x="361" y="20"/>
                  </a:lnTo>
                  <a:lnTo>
                    <a:pt x="361" y="20"/>
                  </a:lnTo>
                  <a:lnTo>
                    <a:pt x="361" y="18"/>
                  </a:lnTo>
                  <a:lnTo>
                    <a:pt x="361" y="17"/>
                  </a:lnTo>
                  <a:lnTo>
                    <a:pt x="362" y="15"/>
                  </a:lnTo>
                  <a:lnTo>
                    <a:pt x="362" y="14"/>
                  </a:lnTo>
                  <a:lnTo>
                    <a:pt x="362" y="13"/>
                  </a:lnTo>
                  <a:lnTo>
                    <a:pt x="362" y="11"/>
                  </a:lnTo>
                  <a:lnTo>
                    <a:pt x="362" y="11"/>
                  </a:lnTo>
                  <a:lnTo>
                    <a:pt x="362" y="10"/>
                  </a:lnTo>
                  <a:lnTo>
                    <a:pt x="363" y="10"/>
                  </a:lnTo>
                  <a:lnTo>
                    <a:pt x="363" y="9"/>
                  </a:lnTo>
                  <a:lnTo>
                    <a:pt x="364" y="9"/>
                  </a:lnTo>
                  <a:lnTo>
                    <a:pt x="365" y="8"/>
                  </a:lnTo>
                  <a:lnTo>
                    <a:pt x="365" y="7"/>
                  </a:lnTo>
                  <a:lnTo>
                    <a:pt x="366" y="7"/>
                  </a:lnTo>
                  <a:lnTo>
                    <a:pt x="366" y="5"/>
                  </a:lnTo>
                  <a:lnTo>
                    <a:pt x="367" y="5"/>
                  </a:lnTo>
                  <a:lnTo>
                    <a:pt x="367" y="4"/>
                  </a:lnTo>
                  <a:lnTo>
                    <a:pt x="368" y="3"/>
                  </a:lnTo>
                  <a:lnTo>
                    <a:pt x="370" y="2"/>
                  </a:lnTo>
                  <a:lnTo>
                    <a:pt x="372" y="1"/>
                  </a:lnTo>
                  <a:lnTo>
                    <a:pt x="372" y="1"/>
                  </a:lnTo>
                  <a:lnTo>
                    <a:pt x="373" y="0"/>
                  </a:lnTo>
                  <a:lnTo>
                    <a:pt x="373" y="0"/>
                  </a:lnTo>
                  <a:lnTo>
                    <a:pt x="373" y="0"/>
                  </a:lnTo>
                  <a:lnTo>
                    <a:pt x="374" y="0"/>
                  </a:lnTo>
                  <a:lnTo>
                    <a:pt x="375" y="1"/>
                  </a:lnTo>
                  <a:lnTo>
                    <a:pt x="376" y="1"/>
                  </a:lnTo>
                  <a:lnTo>
                    <a:pt x="378" y="3"/>
                  </a:lnTo>
                  <a:lnTo>
                    <a:pt x="379" y="3"/>
                  </a:lnTo>
                  <a:lnTo>
                    <a:pt x="380" y="4"/>
                  </a:lnTo>
                  <a:lnTo>
                    <a:pt x="384" y="6"/>
                  </a:lnTo>
                  <a:lnTo>
                    <a:pt x="385" y="7"/>
                  </a:lnTo>
                  <a:lnTo>
                    <a:pt x="386" y="7"/>
                  </a:lnTo>
                  <a:lnTo>
                    <a:pt x="387" y="8"/>
                  </a:lnTo>
                  <a:lnTo>
                    <a:pt x="388" y="9"/>
                  </a:lnTo>
                  <a:lnTo>
                    <a:pt x="391" y="11"/>
                  </a:lnTo>
                  <a:lnTo>
                    <a:pt x="393" y="13"/>
                  </a:lnTo>
                  <a:lnTo>
                    <a:pt x="394" y="13"/>
                  </a:lnTo>
                  <a:lnTo>
                    <a:pt x="395" y="14"/>
                  </a:lnTo>
                  <a:lnTo>
                    <a:pt x="396" y="15"/>
                  </a:lnTo>
                  <a:lnTo>
                    <a:pt x="396" y="15"/>
                  </a:lnTo>
                  <a:lnTo>
                    <a:pt x="397" y="15"/>
                  </a:lnTo>
                  <a:lnTo>
                    <a:pt x="397" y="15"/>
                  </a:lnTo>
                  <a:lnTo>
                    <a:pt x="398" y="15"/>
                  </a:lnTo>
                  <a:lnTo>
                    <a:pt x="398" y="15"/>
                  </a:lnTo>
                  <a:lnTo>
                    <a:pt x="399" y="15"/>
                  </a:lnTo>
                  <a:lnTo>
                    <a:pt x="400" y="14"/>
                  </a:lnTo>
                  <a:lnTo>
                    <a:pt x="401" y="14"/>
                  </a:lnTo>
                  <a:lnTo>
                    <a:pt x="402" y="13"/>
                  </a:lnTo>
                  <a:lnTo>
                    <a:pt x="403" y="13"/>
                  </a:lnTo>
                  <a:lnTo>
                    <a:pt x="403" y="13"/>
                  </a:lnTo>
                  <a:lnTo>
                    <a:pt x="404" y="13"/>
                  </a:lnTo>
                  <a:lnTo>
                    <a:pt x="404" y="13"/>
                  </a:lnTo>
                  <a:lnTo>
                    <a:pt x="405" y="13"/>
                  </a:lnTo>
                  <a:lnTo>
                    <a:pt x="405" y="13"/>
                  </a:lnTo>
                  <a:lnTo>
                    <a:pt x="405" y="14"/>
                  </a:lnTo>
                  <a:lnTo>
                    <a:pt x="405" y="14"/>
                  </a:lnTo>
                  <a:lnTo>
                    <a:pt x="406" y="15"/>
                  </a:lnTo>
                  <a:lnTo>
                    <a:pt x="406" y="17"/>
                  </a:lnTo>
                  <a:lnTo>
                    <a:pt x="407" y="18"/>
                  </a:lnTo>
                  <a:lnTo>
                    <a:pt x="408" y="20"/>
                  </a:lnTo>
                  <a:lnTo>
                    <a:pt x="409" y="23"/>
                  </a:lnTo>
                  <a:lnTo>
                    <a:pt x="410" y="25"/>
                  </a:lnTo>
                  <a:lnTo>
                    <a:pt x="411" y="27"/>
                  </a:lnTo>
                  <a:lnTo>
                    <a:pt x="412" y="28"/>
                  </a:lnTo>
                  <a:lnTo>
                    <a:pt x="413" y="28"/>
                  </a:lnTo>
                  <a:lnTo>
                    <a:pt x="413" y="29"/>
                  </a:lnTo>
                  <a:lnTo>
                    <a:pt x="414" y="30"/>
                  </a:lnTo>
                  <a:lnTo>
                    <a:pt x="415" y="30"/>
                  </a:lnTo>
                  <a:lnTo>
                    <a:pt x="415" y="30"/>
                  </a:lnTo>
                  <a:lnTo>
                    <a:pt x="417" y="31"/>
                  </a:lnTo>
                  <a:lnTo>
                    <a:pt x="417" y="31"/>
                  </a:lnTo>
                  <a:lnTo>
                    <a:pt x="418" y="31"/>
                  </a:lnTo>
                  <a:lnTo>
                    <a:pt x="419" y="31"/>
                  </a:lnTo>
                  <a:lnTo>
                    <a:pt x="419" y="31"/>
                  </a:lnTo>
                  <a:lnTo>
                    <a:pt x="420" y="31"/>
                  </a:lnTo>
                  <a:lnTo>
                    <a:pt x="421" y="31"/>
                  </a:lnTo>
                  <a:lnTo>
                    <a:pt x="421" y="31"/>
                  </a:lnTo>
                  <a:lnTo>
                    <a:pt x="422" y="31"/>
                  </a:lnTo>
                  <a:lnTo>
                    <a:pt x="423" y="30"/>
                  </a:lnTo>
                  <a:lnTo>
                    <a:pt x="423" y="30"/>
                  </a:lnTo>
                  <a:lnTo>
                    <a:pt x="423" y="30"/>
                  </a:lnTo>
                  <a:lnTo>
                    <a:pt x="423" y="31"/>
                  </a:lnTo>
                  <a:lnTo>
                    <a:pt x="424" y="35"/>
                  </a:lnTo>
                  <a:lnTo>
                    <a:pt x="424" y="36"/>
                  </a:lnTo>
                  <a:lnTo>
                    <a:pt x="424" y="37"/>
                  </a:lnTo>
                  <a:lnTo>
                    <a:pt x="424" y="38"/>
                  </a:lnTo>
                  <a:lnTo>
                    <a:pt x="424" y="39"/>
                  </a:lnTo>
                  <a:lnTo>
                    <a:pt x="424" y="39"/>
                  </a:lnTo>
                  <a:lnTo>
                    <a:pt x="424" y="40"/>
                  </a:lnTo>
                  <a:lnTo>
                    <a:pt x="423" y="40"/>
                  </a:lnTo>
                  <a:lnTo>
                    <a:pt x="423" y="41"/>
                  </a:lnTo>
                  <a:lnTo>
                    <a:pt x="422" y="41"/>
                  </a:lnTo>
                  <a:lnTo>
                    <a:pt x="422" y="42"/>
                  </a:lnTo>
                  <a:lnTo>
                    <a:pt x="421" y="42"/>
                  </a:lnTo>
                  <a:lnTo>
                    <a:pt x="420" y="43"/>
                  </a:lnTo>
                  <a:lnTo>
                    <a:pt x="419" y="43"/>
                  </a:lnTo>
                  <a:lnTo>
                    <a:pt x="418" y="43"/>
                  </a:lnTo>
                  <a:lnTo>
                    <a:pt x="418" y="44"/>
                  </a:lnTo>
                  <a:lnTo>
                    <a:pt x="417" y="44"/>
                  </a:lnTo>
                  <a:lnTo>
                    <a:pt x="417" y="44"/>
                  </a:lnTo>
                  <a:lnTo>
                    <a:pt x="417" y="45"/>
                  </a:lnTo>
                  <a:lnTo>
                    <a:pt x="417" y="45"/>
                  </a:lnTo>
                  <a:lnTo>
                    <a:pt x="417" y="46"/>
                  </a:lnTo>
                  <a:lnTo>
                    <a:pt x="417" y="46"/>
                  </a:lnTo>
                  <a:lnTo>
                    <a:pt x="417" y="47"/>
                  </a:lnTo>
                  <a:lnTo>
                    <a:pt x="417" y="47"/>
                  </a:lnTo>
                  <a:lnTo>
                    <a:pt x="417" y="48"/>
                  </a:lnTo>
                  <a:lnTo>
                    <a:pt x="419" y="51"/>
                  </a:lnTo>
                  <a:lnTo>
                    <a:pt x="420" y="52"/>
                  </a:lnTo>
                  <a:lnTo>
                    <a:pt x="420" y="53"/>
                  </a:lnTo>
                  <a:lnTo>
                    <a:pt x="420" y="54"/>
                  </a:lnTo>
                  <a:lnTo>
                    <a:pt x="421" y="55"/>
                  </a:lnTo>
                  <a:lnTo>
                    <a:pt x="421" y="56"/>
                  </a:lnTo>
                  <a:lnTo>
                    <a:pt x="421" y="57"/>
                  </a:lnTo>
                  <a:lnTo>
                    <a:pt x="421" y="59"/>
                  </a:lnTo>
                  <a:lnTo>
                    <a:pt x="421" y="60"/>
                  </a:lnTo>
                  <a:lnTo>
                    <a:pt x="421" y="61"/>
                  </a:lnTo>
                  <a:lnTo>
                    <a:pt x="421" y="64"/>
                  </a:lnTo>
                  <a:lnTo>
                    <a:pt x="421" y="65"/>
                  </a:lnTo>
                  <a:lnTo>
                    <a:pt x="421" y="66"/>
                  </a:lnTo>
                  <a:lnTo>
                    <a:pt x="421" y="68"/>
                  </a:lnTo>
                  <a:lnTo>
                    <a:pt x="421" y="69"/>
                  </a:lnTo>
                  <a:lnTo>
                    <a:pt x="421" y="71"/>
                  </a:lnTo>
                  <a:lnTo>
                    <a:pt x="420" y="72"/>
                  </a:lnTo>
                  <a:lnTo>
                    <a:pt x="420" y="73"/>
                  </a:lnTo>
                  <a:lnTo>
                    <a:pt x="420" y="75"/>
                  </a:lnTo>
                  <a:lnTo>
                    <a:pt x="419" y="77"/>
                  </a:lnTo>
                  <a:lnTo>
                    <a:pt x="418" y="80"/>
                  </a:lnTo>
                  <a:lnTo>
                    <a:pt x="417" y="83"/>
                  </a:lnTo>
                  <a:lnTo>
                    <a:pt x="416" y="85"/>
                  </a:lnTo>
                  <a:lnTo>
                    <a:pt x="415" y="86"/>
                  </a:lnTo>
                  <a:lnTo>
                    <a:pt x="415" y="87"/>
                  </a:lnTo>
                  <a:lnTo>
                    <a:pt x="415" y="88"/>
                  </a:lnTo>
                  <a:lnTo>
                    <a:pt x="415" y="88"/>
                  </a:lnTo>
                  <a:lnTo>
                    <a:pt x="416" y="89"/>
                  </a:lnTo>
                  <a:lnTo>
                    <a:pt x="416" y="89"/>
                  </a:lnTo>
                  <a:lnTo>
                    <a:pt x="416" y="90"/>
                  </a:lnTo>
                  <a:lnTo>
                    <a:pt x="416" y="90"/>
                  </a:lnTo>
                  <a:lnTo>
                    <a:pt x="415" y="94"/>
                  </a:lnTo>
                  <a:lnTo>
                    <a:pt x="414" y="97"/>
                  </a:lnTo>
                  <a:lnTo>
                    <a:pt x="414" y="98"/>
                  </a:lnTo>
                  <a:lnTo>
                    <a:pt x="413" y="100"/>
                  </a:lnTo>
                  <a:lnTo>
                    <a:pt x="412" y="102"/>
                  </a:lnTo>
                  <a:lnTo>
                    <a:pt x="412" y="103"/>
                  </a:lnTo>
                  <a:lnTo>
                    <a:pt x="412" y="105"/>
                  </a:lnTo>
                  <a:lnTo>
                    <a:pt x="412" y="106"/>
                  </a:lnTo>
                  <a:lnTo>
                    <a:pt x="412" y="106"/>
                  </a:lnTo>
                  <a:lnTo>
                    <a:pt x="412" y="107"/>
                  </a:lnTo>
                  <a:lnTo>
                    <a:pt x="412" y="108"/>
                  </a:lnTo>
                  <a:lnTo>
                    <a:pt x="412" y="109"/>
                  </a:lnTo>
                  <a:lnTo>
                    <a:pt x="412" y="110"/>
                  </a:lnTo>
                  <a:lnTo>
                    <a:pt x="413" y="111"/>
                  </a:lnTo>
                  <a:lnTo>
                    <a:pt x="414" y="112"/>
                  </a:lnTo>
                  <a:lnTo>
                    <a:pt x="415" y="113"/>
                  </a:lnTo>
                  <a:lnTo>
                    <a:pt x="416" y="113"/>
                  </a:lnTo>
                  <a:lnTo>
                    <a:pt x="418" y="115"/>
                  </a:lnTo>
                  <a:lnTo>
                    <a:pt x="419" y="116"/>
                  </a:lnTo>
                  <a:lnTo>
                    <a:pt x="419" y="117"/>
                  </a:lnTo>
                  <a:lnTo>
                    <a:pt x="420" y="117"/>
                  </a:lnTo>
                  <a:lnTo>
                    <a:pt x="420" y="118"/>
                  </a:lnTo>
                  <a:lnTo>
                    <a:pt x="421" y="119"/>
                  </a:lnTo>
                  <a:lnTo>
                    <a:pt x="421" y="120"/>
                  </a:lnTo>
                  <a:lnTo>
                    <a:pt x="421" y="120"/>
                  </a:lnTo>
                  <a:lnTo>
                    <a:pt x="421" y="121"/>
                  </a:lnTo>
                  <a:lnTo>
                    <a:pt x="421" y="121"/>
                  </a:lnTo>
                  <a:lnTo>
                    <a:pt x="421" y="122"/>
                  </a:lnTo>
                  <a:lnTo>
                    <a:pt x="421" y="122"/>
                  </a:lnTo>
                  <a:lnTo>
                    <a:pt x="420" y="124"/>
                  </a:lnTo>
                  <a:lnTo>
                    <a:pt x="419" y="125"/>
                  </a:lnTo>
                  <a:lnTo>
                    <a:pt x="418" y="126"/>
                  </a:lnTo>
                  <a:lnTo>
                    <a:pt x="417" y="127"/>
                  </a:lnTo>
                  <a:lnTo>
                    <a:pt x="417" y="128"/>
                  </a:lnTo>
                  <a:lnTo>
                    <a:pt x="417" y="129"/>
                  </a:lnTo>
                  <a:lnTo>
                    <a:pt x="417" y="129"/>
                  </a:lnTo>
                  <a:lnTo>
                    <a:pt x="417" y="130"/>
                  </a:lnTo>
                  <a:lnTo>
                    <a:pt x="417" y="131"/>
                  </a:lnTo>
                  <a:lnTo>
                    <a:pt x="417" y="131"/>
                  </a:lnTo>
                  <a:lnTo>
                    <a:pt x="417" y="132"/>
                  </a:lnTo>
                  <a:lnTo>
                    <a:pt x="417" y="133"/>
                  </a:lnTo>
                  <a:lnTo>
                    <a:pt x="418" y="134"/>
                  </a:lnTo>
                  <a:lnTo>
                    <a:pt x="420" y="137"/>
                  </a:lnTo>
                  <a:lnTo>
                    <a:pt x="422" y="140"/>
                  </a:lnTo>
                  <a:lnTo>
                    <a:pt x="423" y="140"/>
                  </a:lnTo>
                  <a:lnTo>
                    <a:pt x="423" y="141"/>
                  </a:lnTo>
                  <a:lnTo>
                    <a:pt x="427" y="144"/>
                  </a:lnTo>
                  <a:lnTo>
                    <a:pt x="427" y="145"/>
                  </a:lnTo>
                  <a:lnTo>
                    <a:pt x="429" y="147"/>
                  </a:lnTo>
                  <a:lnTo>
                    <a:pt x="430" y="149"/>
                  </a:lnTo>
                  <a:lnTo>
                    <a:pt x="433" y="151"/>
                  </a:lnTo>
                  <a:lnTo>
                    <a:pt x="435" y="153"/>
                  </a:lnTo>
                  <a:lnTo>
                    <a:pt x="436" y="154"/>
                  </a:lnTo>
                  <a:lnTo>
                    <a:pt x="437" y="154"/>
                  </a:lnTo>
                  <a:lnTo>
                    <a:pt x="437" y="154"/>
                  </a:lnTo>
                  <a:lnTo>
                    <a:pt x="438" y="154"/>
                  </a:lnTo>
                  <a:lnTo>
                    <a:pt x="439" y="155"/>
                  </a:lnTo>
                  <a:lnTo>
                    <a:pt x="440" y="155"/>
                  </a:lnTo>
                  <a:lnTo>
                    <a:pt x="441" y="154"/>
                  </a:lnTo>
                  <a:lnTo>
                    <a:pt x="442" y="154"/>
                  </a:lnTo>
                  <a:lnTo>
                    <a:pt x="443" y="154"/>
                  </a:lnTo>
                  <a:lnTo>
                    <a:pt x="447" y="152"/>
                  </a:lnTo>
                  <a:lnTo>
                    <a:pt x="448" y="151"/>
                  </a:lnTo>
                  <a:lnTo>
                    <a:pt x="449" y="151"/>
                  </a:lnTo>
                  <a:lnTo>
                    <a:pt x="450" y="150"/>
                  </a:lnTo>
                  <a:lnTo>
                    <a:pt x="451" y="150"/>
                  </a:lnTo>
                  <a:lnTo>
                    <a:pt x="452" y="150"/>
                  </a:lnTo>
                  <a:lnTo>
                    <a:pt x="453" y="150"/>
                  </a:lnTo>
                  <a:lnTo>
                    <a:pt x="453" y="150"/>
                  </a:lnTo>
                  <a:lnTo>
                    <a:pt x="454" y="151"/>
                  </a:lnTo>
                  <a:lnTo>
                    <a:pt x="455" y="151"/>
                  </a:lnTo>
                  <a:lnTo>
                    <a:pt x="456" y="151"/>
                  </a:lnTo>
                  <a:lnTo>
                    <a:pt x="456" y="152"/>
                  </a:lnTo>
                  <a:lnTo>
                    <a:pt x="458" y="154"/>
                  </a:lnTo>
                  <a:lnTo>
                    <a:pt x="460" y="155"/>
                  </a:lnTo>
                  <a:lnTo>
                    <a:pt x="461" y="156"/>
                  </a:lnTo>
                  <a:lnTo>
                    <a:pt x="463" y="156"/>
                  </a:lnTo>
                  <a:lnTo>
                    <a:pt x="463" y="157"/>
                  </a:lnTo>
                  <a:lnTo>
                    <a:pt x="464" y="157"/>
                  </a:lnTo>
                  <a:lnTo>
                    <a:pt x="468" y="159"/>
                  </a:lnTo>
                  <a:lnTo>
                    <a:pt x="469" y="159"/>
                  </a:lnTo>
                  <a:lnTo>
                    <a:pt x="471" y="160"/>
                  </a:lnTo>
                  <a:lnTo>
                    <a:pt x="472" y="160"/>
                  </a:lnTo>
                  <a:lnTo>
                    <a:pt x="472" y="160"/>
                  </a:lnTo>
                  <a:lnTo>
                    <a:pt x="473" y="161"/>
                  </a:lnTo>
                  <a:lnTo>
                    <a:pt x="473" y="161"/>
                  </a:lnTo>
                  <a:lnTo>
                    <a:pt x="473" y="162"/>
                  </a:lnTo>
                  <a:lnTo>
                    <a:pt x="473" y="162"/>
                  </a:lnTo>
                  <a:lnTo>
                    <a:pt x="473" y="163"/>
                  </a:lnTo>
                  <a:lnTo>
                    <a:pt x="473" y="163"/>
                  </a:lnTo>
                  <a:lnTo>
                    <a:pt x="473" y="164"/>
                  </a:lnTo>
                  <a:lnTo>
                    <a:pt x="473" y="165"/>
                  </a:lnTo>
                  <a:lnTo>
                    <a:pt x="473" y="166"/>
                  </a:lnTo>
                  <a:lnTo>
                    <a:pt x="473" y="166"/>
                  </a:lnTo>
                  <a:lnTo>
                    <a:pt x="473" y="167"/>
                  </a:lnTo>
                  <a:lnTo>
                    <a:pt x="472" y="167"/>
                  </a:lnTo>
                  <a:lnTo>
                    <a:pt x="472" y="167"/>
                  </a:lnTo>
                  <a:lnTo>
                    <a:pt x="471" y="168"/>
                  </a:lnTo>
                  <a:lnTo>
                    <a:pt x="470" y="168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70"/>
                  </a:lnTo>
                  <a:lnTo>
                    <a:pt x="471" y="170"/>
                  </a:lnTo>
                  <a:lnTo>
                    <a:pt x="472" y="170"/>
                  </a:lnTo>
                  <a:lnTo>
                    <a:pt x="473" y="171"/>
                  </a:lnTo>
                  <a:lnTo>
                    <a:pt x="473" y="171"/>
                  </a:lnTo>
                  <a:lnTo>
                    <a:pt x="474" y="171"/>
                  </a:lnTo>
                  <a:lnTo>
                    <a:pt x="477" y="171"/>
                  </a:lnTo>
                  <a:lnTo>
                    <a:pt x="478" y="171"/>
                  </a:lnTo>
                  <a:lnTo>
                    <a:pt x="478" y="172"/>
                  </a:lnTo>
                  <a:lnTo>
                    <a:pt x="479" y="172"/>
                  </a:lnTo>
                  <a:lnTo>
                    <a:pt x="480" y="172"/>
                  </a:lnTo>
                  <a:lnTo>
                    <a:pt x="480" y="172"/>
                  </a:lnTo>
                  <a:lnTo>
                    <a:pt x="481" y="173"/>
                  </a:lnTo>
                  <a:lnTo>
                    <a:pt x="482" y="173"/>
                  </a:lnTo>
                  <a:lnTo>
                    <a:pt x="483" y="175"/>
                  </a:lnTo>
                  <a:lnTo>
                    <a:pt x="484" y="176"/>
                  </a:lnTo>
                  <a:lnTo>
                    <a:pt x="486" y="178"/>
                  </a:lnTo>
                  <a:lnTo>
                    <a:pt x="487" y="179"/>
                  </a:lnTo>
                  <a:lnTo>
                    <a:pt x="487" y="180"/>
                  </a:lnTo>
                  <a:lnTo>
                    <a:pt x="487" y="180"/>
                  </a:lnTo>
                  <a:lnTo>
                    <a:pt x="488" y="180"/>
                  </a:lnTo>
                  <a:lnTo>
                    <a:pt x="489" y="181"/>
                  </a:lnTo>
                  <a:lnTo>
                    <a:pt x="490" y="181"/>
                  </a:lnTo>
                  <a:lnTo>
                    <a:pt x="491" y="181"/>
                  </a:lnTo>
                  <a:lnTo>
                    <a:pt x="492" y="182"/>
                  </a:lnTo>
                  <a:lnTo>
                    <a:pt x="493" y="182"/>
                  </a:lnTo>
                  <a:lnTo>
                    <a:pt x="494" y="181"/>
                  </a:lnTo>
                  <a:lnTo>
                    <a:pt x="495" y="181"/>
                  </a:lnTo>
                  <a:lnTo>
                    <a:pt x="496" y="181"/>
                  </a:lnTo>
                  <a:lnTo>
                    <a:pt x="497" y="180"/>
                  </a:lnTo>
                  <a:lnTo>
                    <a:pt x="500" y="179"/>
                  </a:lnTo>
                  <a:lnTo>
                    <a:pt x="501" y="179"/>
                  </a:lnTo>
                  <a:lnTo>
                    <a:pt x="502" y="178"/>
                  </a:lnTo>
                  <a:lnTo>
                    <a:pt x="502" y="178"/>
                  </a:lnTo>
                  <a:lnTo>
                    <a:pt x="503" y="178"/>
                  </a:lnTo>
                  <a:lnTo>
                    <a:pt x="503" y="178"/>
                  </a:lnTo>
                  <a:lnTo>
                    <a:pt x="504" y="178"/>
                  </a:lnTo>
                  <a:lnTo>
                    <a:pt x="505" y="178"/>
                  </a:lnTo>
                  <a:lnTo>
                    <a:pt x="510" y="180"/>
                  </a:lnTo>
                  <a:lnTo>
                    <a:pt x="513" y="181"/>
                  </a:lnTo>
                  <a:lnTo>
                    <a:pt x="516" y="182"/>
                  </a:lnTo>
                  <a:lnTo>
                    <a:pt x="517" y="182"/>
                  </a:lnTo>
                  <a:lnTo>
                    <a:pt x="518" y="183"/>
                  </a:lnTo>
                  <a:lnTo>
                    <a:pt x="519" y="184"/>
                  </a:lnTo>
                  <a:lnTo>
                    <a:pt x="519" y="184"/>
                  </a:lnTo>
                  <a:lnTo>
                    <a:pt x="521" y="185"/>
                  </a:lnTo>
                  <a:lnTo>
                    <a:pt x="521" y="186"/>
                  </a:lnTo>
                  <a:lnTo>
                    <a:pt x="521" y="186"/>
                  </a:lnTo>
                  <a:lnTo>
                    <a:pt x="522" y="186"/>
                  </a:lnTo>
                  <a:lnTo>
                    <a:pt x="523" y="186"/>
                  </a:lnTo>
                  <a:lnTo>
                    <a:pt x="523" y="186"/>
                  </a:lnTo>
                  <a:lnTo>
                    <a:pt x="527" y="186"/>
                  </a:lnTo>
                  <a:lnTo>
                    <a:pt x="528" y="185"/>
                  </a:lnTo>
                  <a:lnTo>
                    <a:pt x="531" y="185"/>
                  </a:lnTo>
                  <a:lnTo>
                    <a:pt x="532" y="185"/>
                  </a:lnTo>
                  <a:lnTo>
                    <a:pt x="533" y="185"/>
                  </a:lnTo>
                  <a:lnTo>
                    <a:pt x="536" y="184"/>
                  </a:lnTo>
                  <a:lnTo>
                    <a:pt x="539" y="184"/>
                  </a:lnTo>
                  <a:lnTo>
                    <a:pt x="540" y="184"/>
                  </a:lnTo>
                  <a:lnTo>
                    <a:pt x="541" y="184"/>
                  </a:lnTo>
                  <a:lnTo>
                    <a:pt x="542" y="184"/>
                  </a:lnTo>
                  <a:lnTo>
                    <a:pt x="543" y="184"/>
                  </a:lnTo>
                  <a:lnTo>
                    <a:pt x="544" y="184"/>
                  </a:lnTo>
                  <a:lnTo>
                    <a:pt x="544" y="185"/>
                  </a:lnTo>
                  <a:lnTo>
                    <a:pt x="545" y="185"/>
                  </a:lnTo>
                  <a:lnTo>
                    <a:pt x="545" y="185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7" y="187"/>
                  </a:lnTo>
                  <a:lnTo>
                    <a:pt x="547" y="188"/>
                  </a:lnTo>
                  <a:lnTo>
                    <a:pt x="548" y="189"/>
                  </a:lnTo>
                  <a:lnTo>
                    <a:pt x="548" y="190"/>
                  </a:lnTo>
                  <a:lnTo>
                    <a:pt x="548" y="192"/>
                  </a:lnTo>
                  <a:lnTo>
                    <a:pt x="548" y="193"/>
                  </a:lnTo>
                  <a:lnTo>
                    <a:pt x="549" y="194"/>
                  </a:lnTo>
                  <a:lnTo>
                    <a:pt x="549" y="195"/>
                  </a:lnTo>
                  <a:lnTo>
                    <a:pt x="549" y="196"/>
                  </a:lnTo>
                  <a:lnTo>
                    <a:pt x="548" y="198"/>
                  </a:lnTo>
                  <a:lnTo>
                    <a:pt x="548" y="201"/>
                  </a:lnTo>
                  <a:lnTo>
                    <a:pt x="548" y="202"/>
                  </a:lnTo>
                  <a:lnTo>
                    <a:pt x="548" y="204"/>
                  </a:lnTo>
                  <a:lnTo>
                    <a:pt x="548" y="205"/>
                  </a:lnTo>
                  <a:lnTo>
                    <a:pt x="548" y="206"/>
                  </a:lnTo>
                  <a:lnTo>
                    <a:pt x="548" y="208"/>
                  </a:lnTo>
                  <a:lnTo>
                    <a:pt x="549" y="209"/>
                  </a:lnTo>
                  <a:lnTo>
                    <a:pt x="550" y="210"/>
                  </a:lnTo>
                  <a:lnTo>
                    <a:pt x="550" y="211"/>
                  </a:lnTo>
                  <a:lnTo>
                    <a:pt x="551" y="212"/>
                  </a:lnTo>
                  <a:lnTo>
                    <a:pt x="551" y="212"/>
                  </a:lnTo>
                  <a:lnTo>
                    <a:pt x="553" y="214"/>
                  </a:lnTo>
                  <a:lnTo>
                    <a:pt x="554" y="215"/>
                  </a:lnTo>
                  <a:lnTo>
                    <a:pt x="557" y="217"/>
                  </a:lnTo>
                  <a:lnTo>
                    <a:pt x="560" y="219"/>
                  </a:lnTo>
                  <a:lnTo>
                    <a:pt x="560" y="220"/>
                  </a:lnTo>
                  <a:lnTo>
                    <a:pt x="562" y="221"/>
                  </a:lnTo>
                  <a:lnTo>
                    <a:pt x="564" y="222"/>
                  </a:lnTo>
                  <a:lnTo>
                    <a:pt x="568" y="225"/>
                  </a:lnTo>
                  <a:lnTo>
                    <a:pt x="571" y="226"/>
                  </a:lnTo>
                  <a:lnTo>
                    <a:pt x="571" y="227"/>
                  </a:lnTo>
                  <a:lnTo>
                    <a:pt x="572" y="227"/>
                  </a:lnTo>
                  <a:lnTo>
                    <a:pt x="572" y="227"/>
                  </a:lnTo>
                  <a:lnTo>
                    <a:pt x="573" y="227"/>
                  </a:lnTo>
                  <a:lnTo>
                    <a:pt x="573" y="227"/>
                  </a:lnTo>
                  <a:lnTo>
                    <a:pt x="573" y="226"/>
                  </a:lnTo>
                  <a:lnTo>
                    <a:pt x="575" y="226"/>
                  </a:lnTo>
                  <a:lnTo>
                    <a:pt x="576" y="226"/>
                  </a:lnTo>
                  <a:lnTo>
                    <a:pt x="577" y="225"/>
                  </a:lnTo>
                  <a:lnTo>
                    <a:pt x="578" y="225"/>
                  </a:lnTo>
                  <a:lnTo>
                    <a:pt x="578" y="225"/>
                  </a:lnTo>
                  <a:lnTo>
                    <a:pt x="579" y="226"/>
                  </a:lnTo>
                  <a:lnTo>
                    <a:pt x="580" y="226"/>
                  </a:lnTo>
                  <a:lnTo>
                    <a:pt x="583" y="227"/>
                  </a:lnTo>
                  <a:lnTo>
                    <a:pt x="584" y="227"/>
                  </a:lnTo>
                  <a:lnTo>
                    <a:pt x="585" y="227"/>
                  </a:lnTo>
                  <a:lnTo>
                    <a:pt x="587" y="227"/>
                  </a:lnTo>
                  <a:lnTo>
                    <a:pt x="589" y="227"/>
                  </a:lnTo>
                  <a:lnTo>
                    <a:pt x="591" y="227"/>
                  </a:lnTo>
                  <a:lnTo>
                    <a:pt x="593" y="227"/>
                  </a:lnTo>
                  <a:lnTo>
                    <a:pt x="594" y="227"/>
                  </a:lnTo>
                  <a:lnTo>
                    <a:pt x="595" y="227"/>
                  </a:lnTo>
                  <a:lnTo>
                    <a:pt x="596" y="226"/>
                  </a:lnTo>
                  <a:lnTo>
                    <a:pt x="599" y="225"/>
                  </a:lnTo>
                  <a:lnTo>
                    <a:pt x="600" y="225"/>
                  </a:lnTo>
                  <a:lnTo>
                    <a:pt x="602" y="225"/>
                  </a:lnTo>
                  <a:lnTo>
                    <a:pt x="604" y="224"/>
                  </a:lnTo>
                  <a:lnTo>
                    <a:pt x="605" y="224"/>
                  </a:lnTo>
                  <a:lnTo>
                    <a:pt x="605" y="224"/>
                  </a:lnTo>
                  <a:lnTo>
                    <a:pt x="607" y="223"/>
                  </a:lnTo>
                  <a:lnTo>
                    <a:pt x="607" y="223"/>
                  </a:lnTo>
                  <a:lnTo>
                    <a:pt x="608" y="223"/>
                  </a:lnTo>
                  <a:lnTo>
                    <a:pt x="608" y="223"/>
                  </a:lnTo>
                  <a:lnTo>
                    <a:pt x="609" y="223"/>
                  </a:lnTo>
                  <a:lnTo>
                    <a:pt x="609" y="223"/>
                  </a:lnTo>
                  <a:lnTo>
                    <a:pt x="610" y="223"/>
                  </a:lnTo>
                  <a:lnTo>
                    <a:pt x="610" y="223"/>
                  </a:lnTo>
                  <a:lnTo>
                    <a:pt x="611" y="224"/>
                  </a:lnTo>
                  <a:lnTo>
                    <a:pt x="612" y="224"/>
                  </a:lnTo>
                  <a:lnTo>
                    <a:pt x="613" y="225"/>
                  </a:lnTo>
                  <a:lnTo>
                    <a:pt x="613" y="225"/>
                  </a:lnTo>
                  <a:lnTo>
                    <a:pt x="614" y="225"/>
                  </a:lnTo>
                  <a:lnTo>
                    <a:pt x="614" y="226"/>
                  </a:lnTo>
                  <a:lnTo>
                    <a:pt x="614" y="227"/>
                  </a:lnTo>
                  <a:lnTo>
                    <a:pt x="614" y="227"/>
                  </a:lnTo>
                  <a:lnTo>
                    <a:pt x="615" y="228"/>
                  </a:lnTo>
                  <a:lnTo>
                    <a:pt x="614" y="228"/>
                  </a:lnTo>
                  <a:lnTo>
                    <a:pt x="614" y="229"/>
                  </a:lnTo>
                  <a:lnTo>
                    <a:pt x="614" y="230"/>
                  </a:lnTo>
                  <a:lnTo>
                    <a:pt x="614" y="230"/>
                  </a:lnTo>
                  <a:lnTo>
                    <a:pt x="614" y="231"/>
                  </a:lnTo>
                  <a:lnTo>
                    <a:pt x="614" y="231"/>
                  </a:lnTo>
                  <a:lnTo>
                    <a:pt x="615" y="232"/>
                  </a:lnTo>
                  <a:lnTo>
                    <a:pt x="615" y="232"/>
                  </a:lnTo>
                  <a:lnTo>
                    <a:pt x="616" y="233"/>
                  </a:lnTo>
                  <a:lnTo>
                    <a:pt x="616" y="234"/>
                  </a:lnTo>
                  <a:lnTo>
                    <a:pt x="618" y="234"/>
                  </a:lnTo>
                  <a:lnTo>
                    <a:pt x="619" y="236"/>
                  </a:lnTo>
                  <a:lnTo>
                    <a:pt x="620" y="236"/>
                  </a:lnTo>
                  <a:lnTo>
                    <a:pt x="621" y="237"/>
                  </a:lnTo>
                  <a:lnTo>
                    <a:pt x="621" y="237"/>
                  </a:lnTo>
                  <a:lnTo>
                    <a:pt x="623" y="240"/>
                  </a:lnTo>
                  <a:lnTo>
                    <a:pt x="624" y="241"/>
                  </a:lnTo>
                  <a:lnTo>
                    <a:pt x="624" y="242"/>
                  </a:lnTo>
                  <a:lnTo>
                    <a:pt x="624" y="243"/>
                  </a:lnTo>
                  <a:lnTo>
                    <a:pt x="624" y="243"/>
                  </a:lnTo>
                  <a:lnTo>
                    <a:pt x="624" y="244"/>
                  </a:lnTo>
                  <a:lnTo>
                    <a:pt x="624" y="245"/>
                  </a:lnTo>
                  <a:lnTo>
                    <a:pt x="624" y="246"/>
                  </a:lnTo>
                  <a:lnTo>
                    <a:pt x="623" y="247"/>
                  </a:lnTo>
                  <a:lnTo>
                    <a:pt x="623" y="247"/>
                  </a:lnTo>
                  <a:lnTo>
                    <a:pt x="623" y="248"/>
                  </a:lnTo>
                  <a:lnTo>
                    <a:pt x="622" y="248"/>
                  </a:lnTo>
                  <a:lnTo>
                    <a:pt x="622" y="248"/>
                  </a:lnTo>
                  <a:lnTo>
                    <a:pt x="621" y="249"/>
                  </a:lnTo>
                  <a:lnTo>
                    <a:pt x="620" y="249"/>
                  </a:lnTo>
                  <a:lnTo>
                    <a:pt x="618" y="250"/>
                  </a:lnTo>
                  <a:lnTo>
                    <a:pt x="615" y="250"/>
                  </a:lnTo>
                  <a:lnTo>
                    <a:pt x="614" y="250"/>
                  </a:lnTo>
                  <a:lnTo>
                    <a:pt x="614" y="251"/>
                  </a:lnTo>
                  <a:lnTo>
                    <a:pt x="614" y="251"/>
                  </a:lnTo>
                  <a:lnTo>
                    <a:pt x="613" y="251"/>
                  </a:lnTo>
                  <a:lnTo>
                    <a:pt x="613" y="252"/>
                  </a:lnTo>
                  <a:lnTo>
                    <a:pt x="612" y="253"/>
                  </a:lnTo>
                  <a:lnTo>
                    <a:pt x="611" y="254"/>
                  </a:lnTo>
                  <a:lnTo>
                    <a:pt x="610" y="256"/>
                  </a:lnTo>
                  <a:lnTo>
                    <a:pt x="610" y="257"/>
                  </a:lnTo>
                  <a:lnTo>
                    <a:pt x="609" y="258"/>
                  </a:lnTo>
                  <a:lnTo>
                    <a:pt x="609" y="259"/>
                  </a:lnTo>
                  <a:lnTo>
                    <a:pt x="609" y="261"/>
                  </a:lnTo>
                  <a:lnTo>
                    <a:pt x="608" y="262"/>
                  </a:lnTo>
                  <a:lnTo>
                    <a:pt x="608" y="262"/>
                  </a:lnTo>
                  <a:lnTo>
                    <a:pt x="608" y="263"/>
                  </a:lnTo>
                  <a:lnTo>
                    <a:pt x="608" y="264"/>
                  </a:lnTo>
                  <a:lnTo>
                    <a:pt x="606" y="266"/>
                  </a:lnTo>
                  <a:lnTo>
                    <a:pt x="605" y="267"/>
                  </a:lnTo>
                  <a:lnTo>
                    <a:pt x="605" y="268"/>
                  </a:lnTo>
                  <a:lnTo>
                    <a:pt x="604" y="270"/>
                  </a:lnTo>
                  <a:lnTo>
                    <a:pt x="604" y="271"/>
                  </a:lnTo>
                  <a:lnTo>
                    <a:pt x="603" y="272"/>
                  </a:lnTo>
                  <a:lnTo>
                    <a:pt x="603" y="273"/>
                  </a:lnTo>
                  <a:lnTo>
                    <a:pt x="602" y="273"/>
                  </a:lnTo>
                  <a:lnTo>
                    <a:pt x="600" y="276"/>
                  </a:lnTo>
                  <a:lnTo>
                    <a:pt x="599" y="277"/>
                  </a:lnTo>
                  <a:lnTo>
                    <a:pt x="598" y="278"/>
                  </a:lnTo>
                  <a:lnTo>
                    <a:pt x="597" y="279"/>
                  </a:lnTo>
                  <a:lnTo>
                    <a:pt x="596" y="281"/>
                  </a:lnTo>
                  <a:lnTo>
                    <a:pt x="595" y="282"/>
                  </a:lnTo>
                  <a:lnTo>
                    <a:pt x="594" y="283"/>
                  </a:lnTo>
                  <a:lnTo>
                    <a:pt x="594" y="283"/>
                  </a:lnTo>
                  <a:lnTo>
                    <a:pt x="594" y="284"/>
                  </a:lnTo>
                  <a:lnTo>
                    <a:pt x="594" y="284"/>
                  </a:lnTo>
                  <a:lnTo>
                    <a:pt x="594" y="285"/>
                  </a:lnTo>
                  <a:lnTo>
                    <a:pt x="594" y="285"/>
                  </a:lnTo>
                  <a:lnTo>
                    <a:pt x="594" y="286"/>
                  </a:lnTo>
                  <a:lnTo>
                    <a:pt x="595" y="286"/>
                  </a:lnTo>
                  <a:lnTo>
                    <a:pt x="595" y="286"/>
                  </a:lnTo>
                  <a:lnTo>
                    <a:pt x="595" y="286"/>
                  </a:lnTo>
                  <a:lnTo>
                    <a:pt x="596" y="286"/>
                  </a:lnTo>
                  <a:lnTo>
                    <a:pt x="598" y="287"/>
                  </a:lnTo>
                  <a:lnTo>
                    <a:pt x="599" y="287"/>
                  </a:lnTo>
                  <a:lnTo>
                    <a:pt x="599" y="287"/>
                  </a:lnTo>
                  <a:lnTo>
                    <a:pt x="600" y="287"/>
                  </a:lnTo>
                  <a:lnTo>
                    <a:pt x="601" y="287"/>
                  </a:lnTo>
                  <a:lnTo>
                    <a:pt x="601" y="287"/>
                  </a:lnTo>
                  <a:lnTo>
                    <a:pt x="602" y="288"/>
                  </a:lnTo>
                  <a:lnTo>
                    <a:pt x="602" y="289"/>
                  </a:lnTo>
                  <a:lnTo>
                    <a:pt x="603" y="289"/>
                  </a:lnTo>
                  <a:lnTo>
                    <a:pt x="604" y="292"/>
                  </a:lnTo>
                  <a:lnTo>
                    <a:pt x="604" y="292"/>
                  </a:lnTo>
                  <a:lnTo>
                    <a:pt x="605" y="293"/>
                  </a:lnTo>
                  <a:lnTo>
                    <a:pt x="606" y="294"/>
                  </a:lnTo>
                  <a:lnTo>
                    <a:pt x="607" y="295"/>
                  </a:lnTo>
                  <a:lnTo>
                    <a:pt x="608" y="295"/>
                  </a:lnTo>
                  <a:lnTo>
                    <a:pt x="609" y="296"/>
                  </a:lnTo>
                  <a:lnTo>
                    <a:pt x="611" y="297"/>
                  </a:lnTo>
                  <a:lnTo>
                    <a:pt x="613" y="297"/>
                  </a:lnTo>
                  <a:lnTo>
                    <a:pt x="614" y="298"/>
                  </a:lnTo>
                  <a:lnTo>
                    <a:pt x="615" y="299"/>
                  </a:lnTo>
                  <a:lnTo>
                    <a:pt x="617" y="300"/>
                  </a:lnTo>
                  <a:lnTo>
                    <a:pt x="618" y="301"/>
                  </a:lnTo>
                  <a:lnTo>
                    <a:pt x="618" y="301"/>
                  </a:lnTo>
                  <a:lnTo>
                    <a:pt x="619" y="302"/>
                  </a:lnTo>
                  <a:lnTo>
                    <a:pt x="619" y="303"/>
                  </a:lnTo>
                  <a:lnTo>
                    <a:pt x="620" y="303"/>
                  </a:lnTo>
                  <a:lnTo>
                    <a:pt x="620" y="304"/>
                  </a:lnTo>
                  <a:lnTo>
                    <a:pt x="621" y="306"/>
                  </a:lnTo>
                  <a:lnTo>
                    <a:pt x="622" y="307"/>
                  </a:lnTo>
                  <a:lnTo>
                    <a:pt x="622" y="308"/>
                  </a:lnTo>
                  <a:lnTo>
                    <a:pt x="622" y="308"/>
                  </a:lnTo>
                  <a:lnTo>
                    <a:pt x="622" y="309"/>
                  </a:lnTo>
                  <a:lnTo>
                    <a:pt x="620" y="310"/>
                  </a:lnTo>
                  <a:lnTo>
                    <a:pt x="620" y="311"/>
                  </a:lnTo>
                  <a:lnTo>
                    <a:pt x="620" y="311"/>
                  </a:lnTo>
                  <a:lnTo>
                    <a:pt x="619" y="311"/>
                  </a:lnTo>
                  <a:lnTo>
                    <a:pt x="619" y="311"/>
                  </a:lnTo>
                  <a:lnTo>
                    <a:pt x="618" y="311"/>
                  </a:lnTo>
                  <a:lnTo>
                    <a:pt x="617" y="311"/>
                  </a:lnTo>
                  <a:lnTo>
                    <a:pt x="617" y="312"/>
                  </a:lnTo>
                  <a:lnTo>
                    <a:pt x="617" y="312"/>
                  </a:lnTo>
                  <a:lnTo>
                    <a:pt x="617" y="313"/>
                  </a:lnTo>
                  <a:lnTo>
                    <a:pt x="617" y="313"/>
                  </a:lnTo>
                  <a:lnTo>
                    <a:pt x="617" y="314"/>
                  </a:lnTo>
                  <a:lnTo>
                    <a:pt x="616" y="315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7"/>
                  </a:lnTo>
                  <a:lnTo>
                    <a:pt x="616" y="317"/>
                  </a:lnTo>
                  <a:lnTo>
                    <a:pt x="616" y="317"/>
                  </a:lnTo>
                  <a:lnTo>
                    <a:pt x="615" y="317"/>
                  </a:lnTo>
                  <a:lnTo>
                    <a:pt x="615" y="318"/>
                  </a:lnTo>
                  <a:lnTo>
                    <a:pt x="614" y="319"/>
                  </a:lnTo>
                  <a:lnTo>
                    <a:pt x="613" y="319"/>
                  </a:lnTo>
                  <a:lnTo>
                    <a:pt x="613" y="319"/>
                  </a:lnTo>
                  <a:lnTo>
                    <a:pt x="612" y="320"/>
                  </a:lnTo>
                  <a:lnTo>
                    <a:pt x="612" y="320"/>
                  </a:lnTo>
                  <a:lnTo>
                    <a:pt x="611" y="320"/>
                  </a:lnTo>
                  <a:lnTo>
                    <a:pt x="611" y="321"/>
                  </a:lnTo>
                  <a:lnTo>
                    <a:pt x="610" y="324"/>
                  </a:lnTo>
                  <a:lnTo>
                    <a:pt x="609" y="326"/>
                  </a:lnTo>
                  <a:lnTo>
                    <a:pt x="609" y="326"/>
                  </a:lnTo>
                  <a:lnTo>
                    <a:pt x="608" y="326"/>
                  </a:lnTo>
                  <a:lnTo>
                    <a:pt x="608" y="326"/>
                  </a:lnTo>
                  <a:lnTo>
                    <a:pt x="607" y="326"/>
                  </a:lnTo>
                  <a:lnTo>
                    <a:pt x="606" y="325"/>
                  </a:lnTo>
                  <a:lnTo>
                    <a:pt x="604" y="324"/>
                  </a:lnTo>
                  <a:lnTo>
                    <a:pt x="603" y="323"/>
                  </a:lnTo>
                  <a:lnTo>
                    <a:pt x="601" y="321"/>
                  </a:lnTo>
                  <a:lnTo>
                    <a:pt x="600" y="320"/>
                  </a:lnTo>
                  <a:lnTo>
                    <a:pt x="599" y="319"/>
                  </a:lnTo>
                  <a:lnTo>
                    <a:pt x="596" y="315"/>
                  </a:lnTo>
                  <a:lnTo>
                    <a:pt x="595" y="314"/>
                  </a:lnTo>
                  <a:lnTo>
                    <a:pt x="594" y="313"/>
                  </a:lnTo>
                  <a:lnTo>
                    <a:pt x="593" y="312"/>
                  </a:lnTo>
                  <a:lnTo>
                    <a:pt x="592" y="311"/>
                  </a:lnTo>
                  <a:lnTo>
                    <a:pt x="590" y="310"/>
                  </a:lnTo>
                  <a:lnTo>
                    <a:pt x="589" y="310"/>
                  </a:lnTo>
                  <a:lnTo>
                    <a:pt x="588" y="309"/>
                  </a:lnTo>
                  <a:lnTo>
                    <a:pt x="587" y="309"/>
                  </a:lnTo>
                  <a:lnTo>
                    <a:pt x="586" y="308"/>
                  </a:lnTo>
                  <a:lnTo>
                    <a:pt x="585" y="308"/>
                  </a:lnTo>
                  <a:lnTo>
                    <a:pt x="583" y="308"/>
                  </a:lnTo>
                  <a:lnTo>
                    <a:pt x="582" y="307"/>
                  </a:lnTo>
                  <a:lnTo>
                    <a:pt x="577" y="307"/>
                  </a:lnTo>
                  <a:lnTo>
                    <a:pt x="576" y="306"/>
                  </a:lnTo>
                  <a:lnTo>
                    <a:pt x="575" y="306"/>
                  </a:lnTo>
                  <a:lnTo>
                    <a:pt x="574" y="305"/>
                  </a:lnTo>
                  <a:lnTo>
                    <a:pt x="573" y="305"/>
                  </a:lnTo>
                  <a:lnTo>
                    <a:pt x="572" y="304"/>
                  </a:lnTo>
                  <a:lnTo>
                    <a:pt x="571" y="304"/>
                  </a:lnTo>
                  <a:lnTo>
                    <a:pt x="569" y="302"/>
                  </a:lnTo>
                  <a:lnTo>
                    <a:pt x="564" y="300"/>
                  </a:lnTo>
                  <a:lnTo>
                    <a:pt x="560" y="297"/>
                  </a:lnTo>
                  <a:lnTo>
                    <a:pt x="559" y="296"/>
                  </a:lnTo>
                  <a:lnTo>
                    <a:pt x="558" y="295"/>
                  </a:lnTo>
                  <a:lnTo>
                    <a:pt x="556" y="294"/>
                  </a:lnTo>
                  <a:lnTo>
                    <a:pt x="554" y="293"/>
                  </a:lnTo>
                  <a:lnTo>
                    <a:pt x="552" y="293"/>
                  </a:lnTo>
                  <a:lnTo>
                    <a:pt x="551" y="293"/>
                  </a:lnTo>
                  <a:lnTo>
                    <a:pt x="550" y="292"/>
                  </a:lnTo>
                  <a:lnTo>
                    <a:pt x="549" y="292"/>
                  </a:lnTo>
                  <a:lnTo>
                    <a:pt x="547" y="292"/>
                  </a:lnTo>
                  <a:lnTo>
                    <a:pt x="545" y="292"/>
                  </a:lnTo>
                  <a:lnTo>
                    <a:pt x="542" y="293"/>
                  </a:lnTo>
                  <a:lnTo>
                    <a:pt x="541" y="293"/>
                  </a:lnTo>
                  <a:lnTo>
                    <a:pt x="540" y="293"/>
                  </a:lnTo>
                  <a:lnTo>
                    <a:pt x="539" y="292"/>
                  </a:lnTo>
                  <a:lnTo>
                    <a:pt x="537" y="292"/>
                  </a:lnTo>
                  <a:lnTo>
                    <a:pt x="536" y="292"/>
                  </a:lnTo>
                  <a:lnTo>
                    <a:pt x="536" y="292"/>
                  </a:lnTo>
                  <a:lnTo>
                    <a:pt x="534" y="291"/>
                  </a:lnTo>
                  <a:lnTo>
                    <a:pt x="532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0" y="290"/>
                  </a:lnTo>
                  <a:lnTo>
                    <a:pt x="530" y="290"/>
                  </a:lnTo>
                  <a:lnTo>
                    <a:pt x="529" y="290"/>
                  </a:lnTo>
                  <a:lnTo>
                    <a:pt x="529" y="291"/>
                  </a:lnTo>
                  <a:lnTo>
                    <a:pt x="529" y="291"/>
                  </a:lnTo>
                  <a:lnTo>
                    <a:pt x="528" y="292"/>
                  </a:lnTo>
                  <a:lnTo>
                    <a:pt x="528" y="295"/>
                  </a:lnTo>
                  <a:lnTo>
                    <a:pt x="527" y="296"/>
                  </a:lnTo>
                  <a:lnTo>
                    <a:pt x="526" y="298"/>
                  </a:lnTo>
                  <a:lnTo>
                    <a:pt x="525" y="300"/>
                  </a:lnTo>
                  <a:lnTo>
                    <a:pt x="524" y="301"/>
                  </a:lnTo>
                  <a:lnTo>
                    <a:pt x="524" y="302"/>
                  </a:lnTo>
                  <a:lnTo>
                    <a:pt x="523" y="302"/>
                  </a:lnTo>
                  <a:lnTo>
                    <a:pt x="522" y="303"/>
                  </a:lnTo>
                  <a:lnTo>
                    <a:pt x="522" y="303"/>
                  </a:lnTo>
                  <a:lnTo>
                    <a:pt x="521" y="303"/>
                  </a:lnTo>
                  <a:lnTo>
                    <a:pt x="521" y="304"/>
                  </a:lnTo>
                  <a:lnTo>
                    <a:pt x="519" y="304"/>
                  </a:lnTo>
                  <a:lnTo>
                    <a:pt x="517" y="304"/>
                  </a:lnTo>
                  <a:lnTo>
                    <a:pt x="514" y="304"/>
                  </a:lnTo>
                  <a:lnTo>
                    <a:pt x="513" y="304"/>
                  </a:lnTo>
                  <a:lnTo>
                    <a:pt x="511" y="305"/>
                  </a:lnTo>
                  <a:lnTo>
                    <a:pt x="510" y="305"/>
                  </a:lnTo>
                  <a:lnTo>
                    <a:pt x="508" y="306"/>
                  </a:lnTo>
                  <a:lnTo>
                    <a:pt x="506" y="307"/>
                  </a:lnTo>
                  <a:lnTo>
                    <a:pt x="503" y="308"/>
                  </a:lnTo>
                  <a:lnTo>
                    <a:pt x="502" y="309"/>
                  </a:lnTo>
                  <a:lnTo>
                    <a:pt x="501" y="309"/>
                  </a:lnTo>
                  <a:lnTo>
                    <a:pt x="500" y="309"/>
                  </a:lnTo>
                  <a:lnTo>
                    <a:pt x="499" y="309"/>
                  </a:lnTo>
                  <a:lnTo>
                    <a:pt x="497" y="309"/>
                  </a:lnTo>
                  <a:lnTo>
                    <a:pt x="496" y="309"/>
                  </a:lnTo>
                  <a:lnTo>
                    <a:pt x="496" y="309"/>
                  </a:lnTo>
                  <a:lnTo>
                    <a:pt x="495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4" y="308"/>
                  </a:lnTo>
                  <a:lnTo>
                    <a:pt x="493" y="308"/>
                  </a:lnTo>
                  <a:lnTo>
                    <a:pt x="493" y="308"/>
                  </a:lnTo>
                  <a:lnTo>
                    <a:pt x="493" y="307"/>
                  </a:lnTo>
                  <a:lnTo>
                    <a:pt x="493" y="307"/>
                  </a:lnTo>
                  <a:lnTo>
                    <a:pt x="493" y="306"/>
                  </a:lnTo>
                  <a:lnTo>
                    <a:pt x="493" y="302"/>
                  </a:lnTo>
                  <a:lnTo>
                    <a:pt x="493" y="302"/>
                  </a:lnTo>
                  <a:lnTo>
                    <a:pt x="493" y="301"/>
                  </a:lnTo>
                  <a:lnTo>
                    <a:pt x="493" y="300"/>
                  </a:lnTo>
                  <a:lnTo>
                    <a:pt x="493" y="299"/>
                  </a:lnTo>
                  <a:lnTo>
                    <a:pt x="492" y="297"/>
                  </a:lnTo>
                  <a:lnTo>
                    <a:pt x="492" y="296"/>
                  </a:lnTo>
                  <a:lnTo>
                    <a:pt x="491" y="293"/>
                  </a:lnTo>
                  <a:lnTo>
                    <a:pt x="491" y="291"/>
                  </a:lnTo>
                  <a:lnTo>
                    <a:pt x="490" y="290"/>
                  </a:lnTo>
                  <a:lnTo>
                    <a:pt x="490" y="290"/>
                  </a:lnTo>
                  <a:lnTo>
                    <a:pt x="490" y="289"/>
                  </a:lnTo>
                  <a:lnTo>
                    <a:pt x="489" y="288"/>
                  </a:lnTo>
                  <a:lnTo>
                    <a:pt x="488" y="288"/>
                  </a:lnTo>
                  <a:lnTo>
                    <a:pt x="487" y="287"/>
                  </a:lnTo>
                  <a:lnTo>
                    <a:pt x="487" y="287"/>
                  </a:lnTo>
                  <a:lnTo>
                    <a:pt x="485" y="286"/>
                  </a:lnTo>
                  <a:lnTo>
                    <a:pt x="484" y="286"/>
                  </a:lnTo>
                  <a:lnTo>
                    <a:pt x="483" y="286"/>
                  </a:lnTo>
                  <a:lnTo>
                    <a:pt x="481" y="285"/>
                  </a:lnTo>
                  <a:lnTo>
                    <a:pt x="479" y="285"/>
                  </a:lnTo>
                  <a:lnTo>
                    <a:pt x="478" y="285"/>
                  </a:lnTo>
                  <a:lnTo>
                    <a:pt x="475" y="285"/>
                  </a:lnTo>
                  <a:lnTo>
                    <a:pt x="473" y="285"/>
                  </a:lnTo>
                  <a:lnTo>
                    <a:pt x="472" y="285"/>
                  </a:lnTo>
                  <a:lnTo>
                    <a:pt x="471" y="285"/>
                  </a:lnTo>
                  <a:lnTo>
                    <a:pt x="470" y="284"/>
                  </a:lnTo>
                  <a:lnTo>
                    <a:pt x="468" y="284"/>
                  </a:lnTo>
                  <a:lnTo>
                    <a:pt x="468" y="284"/>
                  </a:lnTo>
                  <a:lnTo>
                    <a:pt x="467" y="283"/>
                  </a:lnTo>
                  <a:lnTo>
                    <a:pt x="466" y="283"/>
                  </a:lnTo>
                  <a:lnTo>
                    <a:pt x="465" y="283"/>
                  </a:lnTo>
                  <a:lnTo>
                    <a:pt x="464" y="282"/>
                  </a:lnTo>
                  <a:lnTo>
                    <a:pt x="462" y="280"/>
                  </a:lnTo>
                  <a:lnTo>
                    <a:pt x="462" y="280"/>
                  </a:lnTo>
                  <a:lnTo>
                    <a:pt x="461" y="279"/>
                  </a:lnTo>
                  <a:lnTo>
                    <a:pt x="461" y="279"/>
                  </a:lnTo>
                  <a:lnTo>
                    <a:pt x="460" y="279"/>
                  </a:lnTo>
                  <a:lnTo>
                    <a:pt x="459" y="278"/>
                  </a:lnTo>
                  <a:lnTo>
                    <a:pt x="459" y="278"/>
                  </a:lnTo>
                  <a:lnTo>
                    <a:pt x="455" y="278"/>
                  </a:lnTo>
                  <a:lnTo>
                    <a:pt x="452" y="277"/>
                  </a:lnTo>
                  <a:lnTo>
                    <a:pt x="451" y="277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8" y="277"/>
                  </a:lnTo>
                  <a:lnTo>
                    <a:pt x="447" y="277"/>
                  </a:lnTo>
                  <a:lnTo>
                    <a:pt x="446" y="278"/>
                  </a:lnTo>
                  <a:lnTo>
                    <a:pt x="445" y="278"/>
                  </a:lnTo>
                  <a:lnTo>
                    <a:pt x="444" y="279"/>
                  </a:lnTo>
                  <a:lnTo>
                    <a:pt x="444" y="279"/>
                  </a:lnTo>
                  <a:lnTo>
                    <a:pt x="443" y="280"/>
                  </a:lnTo>
                  <a:lnTo>
                    <a:pt x="443" y="280"/>
                  </a:lnTo>
                  <a:lnTo>
                    <a:pt x="443" y="280"/>
                  </a:lnTo>
                  <a:lnTo>
                    <a:pt x="443" y="281"/>
                  </a:lnTo>
                  <a:lnTo>
                    <a:pt x="442" y="283"/>
                  </a:lnTo>
                  <a:lnTo>
                    <a:pt x="442" y="284"/>
                  </a:lnTo>
                  <a:lnTo>
                    <a:pt x="442" y="286"/>
                  </a:lnTo>
                  <a:lnTo>
                    <a:pt x="441" y="287"/>
                  </a:lnTo>
                  <a:lnTo>
                    <a:pt x="440" y="288"/>
                  </a:lnTo>
                  <a:lnTo>
                    <a:pt x="439" y="290"/>
                  </a:lnTo>
                  <a:lnTo>
                    <a:pt x="439" y="292"/>
                  </a:lnTo>
                  <a:lnTo>
                    <a:pt x="439" y="292"/>
                  </a:lnTo>
                  <a:lnTo>
                    <a:pt x="438" y="294"/>
                  </a:lnTo>
                  <a:lnTo>
                    <a:pt x="438" y="295"/>
                  </a:lnTo>
                  <a:lnTo>
                    <a:pt x="437" y="296"/>
                  </a:lnTo>
                  <a:lnTo>
                    <a:pt x="437" y="297"/>
                  </a:lnTo>
                  <a:lnTo>
                    <a:pt x="437" y="298"/>
                  </a:lnTo>
                  <a:lnTo>
                    <a:pt x="437" y="300"/>
                  </a:lnTo>
                  <a:lnTo>
                    <a:pt x="437" y="302"/>
                  </a:lnTo>
                  <a:lnTo>
                    <a:pt x="437" y="304"/>
                  </a:lnTo>
                  <a:lnTo>
                    <a:pt x="437" y="305"/>
                  </a:lnTo>
                  <a:lnTo>
                    <a:pt x="438" y="308"/>
                  </a:lnTo>
                  <a:lnTo>
                    <a:pt x="438" y="313"/>
                  </a:lnTo>
                  <a:lnTo>
                    <a:pt x="439" y="316"/>
                  </a:lnTo>
                  <a:lnTo>
                    <a:pt x="439" y="318"/>
                  </a:lnTo>
                  <a:lnTo>
                    <a:pt x="440" y="323"/>
                  </a:lnTo>
                  <a:lnTo>
                    <a:pt x="440" y="325"/>
                  </a:lnTo>
                  <a:lnTo>
                    <a:pt x="440" y="326"/>
                  </a:lnTo>
                  <a:lnTo>
                    <a:pt x="440" y="328"/>
                  </a:lnTo>
                  <a:lnTo>
                    <a:pt x="440" y="329"/>
                  </a:lnTo>
                  <a:lnTo>
                    <a:pt x="440" y="330"/>
                  </a:lnTo>
                  <a:lnTo>
                    <a:pt x="440" y="332"/>
                  </a:lnTo>
                  <a:lnTo>
                    <a:pt x="439" y="334"/>
                  </a:lnTo>
                  <a:lnTo>
                    <a:pt x="438" y="340"/>
                  </a:lnTo>
                  <a:lnTo>
                    <a:pt x="438" y="341"/>
                  </a:lnTo>
                  <a:lnTo>
                    <a:pt x="437" y="343"/>
                  </a:lnTo>
                  <a:lnTo>
                    <a:pt x="437" y="344"/>
                  </a:lnTo>
                  <a:lnTo>
                    <a:pt x="436" y="346"/>
                  </a:lnTo>
                  <a:lnTo>
                    <a:pt x="436" y="347"/>
                  </a:lnTo>
                  <a:lnTo>
                    <a:pt x="436" y="349"/>
                  </a:lnTo>
                  <a:lnTo>
                    <a:pt x="436" y="350"/>
                  </a:lnTo>
                  <a:lnTo>
                    <a:pt x="436" y="354"/>
                  </a:lnTo>
                  <a:lnTo>
                    <a:pt x="436" y="355"/>
                  </a:lnTo>
                  <a:lnTo>
                    <a:pt x="436" y="356"/>
                  </a:lnTo>
                  <a:lnTo>
                    <a:pt x="436" y="357"/>
                  </a:lnTo>
                  <a:lnTo>
                    <a:pt x="436" y="357"/>
                  </a:lnTo>
                  <a:lnTo>
                    <a:pt x="435" y="360"/>
                  </a:lnTo>
                  <a:lnTo>
                    <a:pt x="434" y="361"/>
                  </a:lnTo>
                  <a:lnTo>
                    <a:pt x="433" y="366"/>
                  </a:lnTo>
                  <a:lnTo>
                    <a:pt x="432" y="369"/>
                  </a:lnTo>
                  <a:lnTo>
                    <a:pt x="432" y="370"/>
                  </a:lnTo>
                  <a:lnTo>
                    <a:pt x="431" y="372"/>
                  </a:lnTo>
                  <a:lnTo>
                    <a:pt x="431" y="374"/>
                  </a:lnTo>
                  <a:lnTo>
                    <a:pt x="431" y="376"/>
                  </a:lnTo>
                  <a:lnTo>
                    <a:pt x="431" y="377"/>
                  </a:lnTo>
                  <a:lnTo>
                    <a:pt x="431" y="378"/>
                  </a:lnTo>
                  <a:lnTo>
                    <a:pt x="431" y="379"/>
                  </a:lnTo>
                  <a:lnTo>
                    <a:pt x="431" y="380"/>
                  </a:lnTo>
                  <a:lnTo>
                    <a:pt x="431" y="381"/>
                  </a:lnTo>
                  <a:lnTo>
                    <a:pt x="432" y="382"/>
                  </a:lnTo>
                  <a:lnTo>
                    <a:pt x="432" y="383"/>
                  </a:lnTo>
                  <a:lnTo>
                    <a:pt x="434" y="385"/>
                  </a:lnTo>
                  <a:lnTo>
                    <a:pt x="434" y="386"/>
                  </a:lnTo>
                  <a:lnTo>
                    <a:pt x="434" y="386"/>
                  </a:lnTo>
                  <a:lnTo>
                    <a:pt x="435" y="387"/>
                  </a:lnTo>
                  <a:lnTo>
                    <a:pt x="435" y="388"/>
                  </a:lnTo>
                  <a:lnTo>
                    <a:pt x="435" y="389"/>
                  </a:lnTo>
                  <a:lnTo>
                    <a:pt x="435" y="390"/>
                  </a:lnTo>
                  <a:lnTo>
                    <a:pt x="434" y="390"/>
                  </a:lnTo>
                  <a:lnTo>
                    <a:pt x="434" y="391"/>
                  </a:lnTo>
                  <a:lnTo>
                    <a:pt x="433" y="392"/>
                  </a:lnTo>
                  <a:lnTo>
                    <a:pt x="433" y="393"/>
                  </a:lnTo>
                  <a:lnTo>
                    <a:pt x="432" y="393"/>
                  </a:lnTo>
                  <a:lnTo>
                    <a:pt x="431" y="394"/>
                  </a:lnTo>
                  <a:lnTo>
                    <a:pt x="430" y="394"/>
                  </a:lnTo>
                  <a:lnTo>
                    <a:pt x="429" y="394"/>
                  </a:lnTo>
                  <a:lnTo>
                    <a:pt x="428" y="394"/>
                  </a:lnTo>
                  <a:lnTo>
                    <a:pt x="426" y="394"/>
                  </a:lnTo>
                  <a:lnTo>
                    <a:pt x="425" y="394"/>
                  </a:lnTo>
                  <a:lnTo>
                    <a:pt x="420" y="392"/>
                  </a:lnTo>
                  <a:lnTo>
                    <a:pt x="417" y="391"/>
                  </a:lnTo>
                  <a:lnTo>
                    <a:pt x="415" y="391"/>
                  </a:lnTo>
                  <a:lnTo>
                    <a:pt x="414" y="391"/>
                  </a:lnTo>
                  <a:lnTo>
                    <a:pt x="410" y="389"/>
                  </a:lnTo>
                  <a:lnTo>
                    <a:pt x="409" y="389"/>
                  </a:lnTo>
                  <a:lnTo>
                    <a:pt x="407" y="388"/>
                  </a:lnTo>
                  <a:lnTo>
                    <a:pt x="406" y="388"/>
                  </a:lnTo>
                  <a:lnTo>
                    <a:pt x="405" y="387"/>
                  </a:lnTo>
                  <a:lnTo>
                    <a:pt x="404" y="387"/>
                  </a:lnTo>
                  <a:lnTo>
                    <a:pt x="400" y="386"/>
                  </a:lnTo>
                  <a:lnTo>
                    <a:pt x="397" y="386"/>
                  </a:lnTo>
                  <a:lnTo>
                    <a:pt x="395" y="385"/>
                  </a:lnTo>
                  <a:lnTo>
                    <a:pt x="394" y="385"/>
                  </a:lnTo>
                  <a:lnTo>
                    <a:pt x="393" y="385"/>
                  </a:lnTo>
                  <a:lnTo>
                    <a:pt x="392" y="385"/>
                  </a:lnTo>
                  <a:lnTo>
                    <a:pt x="391" y="386"/>
                  </a:lnTo>
                  <a:lnTo>
                    <a:pt x="391" y="386"/>
                  </a:lnTo>
                  <a:lnTo>
                    <a:pt x="390" y="386"/>
                  </a:lnTo>
                  <a:lnTo>
                    <a:pt x="389" y="386"/>
                  </a:lnTo>
                  <a:lnTo>
                    <a:pt x="389" y="387"/>
                  </a:lnTo>
                  <a:lnTo>
                    <a:pt x="388" y="387"/>
                  </a:lnTo>
                  <a:lnTo>
                    <a:pt x="387" y="388"/>
                  </a:lnTo>
                  <a:lnTo>
                    <a:pt x="387" y="388"/>
                  </a:lnTo>
                  <a:lnTo>
                    <a:pt x="386" y="389"/>
                  </a:lnTo>
                  <a:lnTo>
                    <a:pt x="386" y="389"/>
                  </a:lnTo>
                  <a:lnTo>
                    <a:pt x="386" y="390"/>
                  </a:lnTo>
                  <a:lnTo>
                    <a:pt x="386" y="391"/>
                  </a:lnTo>
                  <a:lnTo>
                    <a:pt x="385" y="394"/>
                  </a:lnTo>
                  <a:lnTo>
                    <a:pt x="384" y="399"/>
                  </a:lnTo>
                  <a:lnTo>
                    <a:pt x="384" y="401"/>
                  </a:lnTo>
                  <a:lnTo>
                    <a:pt x="383" y="404"/>
                  </a:lnTo>
                  <a:lnTo>
                    <a:pt x="383" y="405"/>
                  </a:lnTo>
                  <a:lnTo>
                    <a:pt x="383" y="406"/>
                  </a:lnTo>
                  <a:lnTo>
                    <a:pt x="382" y="407"/>
                  </a:lnTo>
                  <a:lnTo>
                    <a:pt x="382" y="408"/>
                  </a:lnTo>
                  <a:lnTo>
                    <a:pt x="381" y="409"/>
                  </a:lnTo>
                  <a:lnTo>
                    <a:pt x="380" y="410"/>
                  </a:lnTo>
                  <a:lnTo>
                    <a:pt x="379" y="412"/>
                  </a:lnTo>
                  <a:lnTo>
                    <a:pt x="377" y="414"/>
                  </a:lnTo>
                  <a:lnTo>
                    <a:pt x="376" y="415"/>
                  </a:lnTo>
                  <a:lnTo>
                    <a:pt x="375" y="416"/>
                  </a:lnTo>
                  <a:lnTo>
                    <a:pt x="374" y="416"/>
                  </a:lnTo>
                  <a:lnTo>
                    <a:pt x="373" y="417"/>
                  </a:lnTo>
                  <a:lnTo>
                    <a:pt x="370" y="419"/>
                  </a:lnTo>
                  <a:lnTo>
                    <a:pt x="367" y="422"/>
                  </a:lnTo>
                  <a:lnTo>
                    <a:pt x="365" y="423"/>
                  </a:lnTo>
                  <a:lnTo>
                    <a:pt x="364" y="424"/>
                  </a:lnTo>
                  <a:lnTo>
                    <a:pt x="364" y="425"/>
                  </a:lnTo>
                  <a:lnTo>
                    <a:pt x="363" y="426"/>
                  </a:lnTo>
                  <a:lnTo>
                    <a:pt x="362" y="427"/>
                  </a:lnTo>
                  <a:lnTo>
                    <a:pt x="361" y="429"/>
                  </a:lnTo>
                  <a:lnTo>
                    <a:pt x="360" y="431"/>
                  </a:lnTo>
                  <a:lnTo>
                    <a:pt x="360" y="432"/>
                  </a:lnTo>
                  <a:lnTo>
                    <a:pt x="359" y="434"/>
                  </a:lnTo>
                  <a:lnTo>
                    <a:pt x="358" y="437"/>
                  </a:lnTo>
                  <a:lnTo>
                    <a:pt x="358" y="438"/>
                  </a:lnTo>
                  <a:lnTo>
                    <a:pt x="357" y="440"/>
                  </a:lnTo>
                  <a:lnTo>
                    <a:pt x="357" y="441"/>
                  </a:lnTo>
                  <a:lnTo>
                    <a:pt x="357" y="443"/>
                  </a:lnTo>
                  <a:lnTo>
                    <a:pt x="357" y="444"/>
                  </a:lnTo>
                  <a:lnTo>
                    <a:pt x="357" y="445"/>
                  </a:lnTo>
                  <a:lnTo>
                    <a:pt x="357" y="451"/>
                  </a:lnTo>
                  <a:lnTo>
                    <a:pt x="357" y="453"/>
                  </a:lnTo>
                  <a:lnTo>
                    <a:pt x="357" y="454"/>
                  </a:lnTo>
                  <a:lnTo>
                    <a:pt x="357" y="456"/>
                  </a:lnTo>
                  <a:lnTo>
                    <a:pt x="357" y="461"/>
                  </a:lnTo>
                  <a:lnTo>
                    <a:pt x="357" y="464"/>
                  </a:lnTo>
                  <a:lnTo>
                    <a:pt x="357" y="465"/>
                  </a:lnTo>
                  <a:lnTo>
                    <a:pt x="356" y="467"/>
                  </a:lnTo>
                  <a:lnTo>
                    <a:pt x="356" y="468"/>
                  </a:lnTo>
                  <a:lnTo>
                    <a:pt x="356" y="469"/>
                  </a:lnTo>
                  <a:lnTo>
                    <a:pt x="356" y="469"/>
                  </a:lnTo>
                  <a:lnTo>
                    <a:pt x="355" y="471"/>
                  </a:lnTo>
                  <a:lnTo>
                    <a:pt x="355" y="472"/>
                  </a:lnTo>
                  <a:lnTo>
                    <a:pt x="354" y="473"/>
                  </a:lnTo>
                  <a:lnTo>
                    <a:pt x="353" y="473"/>
                  </a:lnTo>
                  <a:lnTo>
                    <a:pt x="353" y="474"/>
                  </a:lnTo>
                  <a:lnTo>
                    <a:pt x="352" y="475"/>
                  </a:lnTo>
                  <a:lnTo>
                    <a:pt x="352" y="475"/>
                  </a:lnTo>
                  <a:lnTo>
                    <a:pt x="351" y="475"/>
                  </a:lnTo>
                  <a:lnTo>
                    <a:pt x="351" y="476"/>
                  </a:lnTo>
                  <a:lnTo>
                    <a:pt x="350" y="476"/>
                  </a:lnTo>
                  <a:lnTo>
                    <a:pt x="350" y="476"/>
                  </a:lnTo>
                  <a:lnTo>
                    <a:pt x="349" y="476"/>
                  </a:lnTo>
                  <a:lnTo>
                    <a:pt x="348" y="476"/>
                  </a:lnTo>
                  <a:lnTo>
                    <a:pt x="347" y="476"/>
                  </a:lnTo>
                  <a:lnTo>
                    <a:pt x="346" y="476"/>
                  </a:lnTo>
                  <a:lnTo>
                    <a:pt x="345" y="476"/>
                  </a:lnTo>
                  <a:lnTo>
                    <a:pt x="344" y="476"/>
                  </a:lnTo>
                  <a:lnTo>
                    <a:pt x="344" y="476"/>
                  </a:lnTo>
                  <a:lnTo>
                    <a:pt x="343" y="476"/>
                  </a:lnTo>
                  <a:lnTo>
                    <a:pt x="342" y="475"/>
                  </a:lnTo>
                  <a:lnTo>
                    <a:pt x="342" y="475"/>
                  </a:lnTo>
                  <a:lnTo>
                    <a:pt x="342" y="475"/>
                  </a:lnTo>
                  <a:lnTo>
                    <a:pt x="341" y="474"/>
                  </a:lnTo>
                  <a:lnTo>
                    <a:pt x="340" y="474"/>
                  </a:lnTo>
                  <a:lnTo>
                    <a:pt x="340" y="473"/>
                  </a:lnTo>
                  <a:lnTo>
                    <a:pt x="337" y="470"/>
                  </a:lnTo>
                  <a:lnTo>
                    <a:pt x="337" y="469"/>
                  </a:lnTo>
                  <a:lnTo>
                    <a:pt x="336" y="468"/>
                  </a:lnTo>
                  <a:lnTo>
                    <a:pt x="335" y="467"/>
                  </a:lnTo>
                  <a:lnTo>
                    <a:pt x="334" y="467"/>
                  </a:lnTo>
                  <a:lnTo>
                    <a:pt x="333" y="467"/>
                  </a:lnTo>
                  <a:lnTo>
                    <a:pt x="332" y="466"/>
                  </a:lnTo>
                  <a:lnTo>
                    <a:pt x="331" y="466"/>
                  </a:lnTo>
                  <a:lnTo>
                    <a:pt x="330" y="465"/>
                  </a:lnTo>
                  <a:lnTo>
                    <a:pt x="330" y="465"/>
                  </a:lnTo>
                  <a:lnTo>
                    <a:pt x="329" y="464"/>
                  </a:lnTo>
                  <a:lnTo>
                    <a:pt x="328" y="463"/>
                  </a:lnTo>
                  <a:lnTo>
                    <a:pt x="328" y="463"/>
                  </a:lnTo>
                  <a:lnTo>
                    <a:pt x="326" y="461"/>
                  </a:lnTo>
                  <a:lnTo>
                    <a:pt x="326" y="459"/>
                  </a:lnTo>
                  <a:lnTo>
                    <a:pt x="325" y="459"/>
                  </a:lnTo>
                  <a:lnTo>
                    <a:pt x="324" y="458"/>
                  </a:lnTo>
                  <a:lnTo>
                    <a:pt x="324" y="458"/>
                  </a:lnTo>
                  <a:lnTo>
                    <a:pt x="323" y="458"/>
                  </a:lnTo>
                  <a:lnTo>
                    <a:pt x="323" y="458"/>
                  </a:lnTo>
                  <a:lnTo>
                    <a:pt x="322" y="458"/>
                  </a:lnTo>
                  <a:lnTo>
                    <a:pt x="322" y="458"/>
                  </a:lnTo>
                  <a:lnTo>
                    <a:pt x="321" y="458"/>
                  </a:lnTo>
                  <a:lnTo>
                    <a:pt x="320" y="459"/>
                  </a:lnTo>
                  <a:lnTo>
                    <a:pt x="314" y="462"/>
                  </a:lnTo>
                  <a:lnTo>
                    <a:pt x="313" y="463"/>
                  </a:lnTo>
                  <a:lnTo>
                    <a:pt x="312" y="464"/>
                  </a:lnTo>
                  <a:lnTo>
                    <a:pt x="311" y="464"/>
                  </a:lnTo>
                  <a:lnTo>
                    <a:pt x="310" y="464"/>
                  </a:lnTo>
                  <a:lnTo>
                    <a:pt x="309" y="465"/>
                  </a:lnTo>
                  <a:lnTo>
                    <a:pt x="308" y="465"/>
                  </a:lnTo>
                  <a:lnTo>
                    <a:pt x="308" y="465"/>
                  </a:lnTo>
                  <a:lnTo>
                    <a:pt x="307" y="465"/>
                  </a:lnTo>
                  <a:lnTo>
                    <a:pt x="307" y="464"/>
                  </a:lnTo>
                  <a:lnTo>
                    <a:pt x="306" y="464"/>
                  </a:lnTo>
                  <a:lnTo>
                    <a:pt x="303" y="463"/>
                  </a:lnTo>
                  <a:lnTo>
                    <a:pt x="299" y="462"/>
                  </a:lnTo>
                  <a:lnTo>
                    <a:pt x="297" y="461"/>
                  </a:lnTo>
                  <a:lnTo>
                    <a:pt x="294" y="460"/>
                  </a:lnTo>
                  <a:lnTo>
                    <a:pt x="293" y="459"/>
                  </a:lnTo>
                  <a:lnTo>
                    <a:pt x="292" y="459"/>
                  </a:lnTo>
                  <a:lnTo>
                    <a:pt x="291" y="458"/>
                  </a:lnTo>
                  <a:lnTo>
                    <a:pt x="290" y="457"/>
                  </a:lnTo>
                  <a:lnTo>
                    <a:pt x="289" y="457"/>
                  </a:lnTo>
                  <a:lnTo>
                    <a:pt x="288" y="455"/>
                  </a:lnTo>
                  <a:lnTo>
                    <a:pt x="287" y="454"/>
                  </a:lnTo>
                  <a:lnTo>
                    <a:pt x="284" y="451"/>
                  </a:lnTo>
                  <a:lnTo>
                    <a:pt x="283" y="450"/>
                  </a:lnTo>
                  <a:lnTo>
                    <a:pt x="282" y="449"/>
                  </a:lnTo>
                  <a:lnTo>
                    <a:pt x="281" y="449"/>
                  </a:lnTo>
                  <a:lnTo>
                    <a:pt x="280" y="448"/>
                  </a:lnTo>
                  <a:lnTo>
                    <a:pt x="280" y="448"/>
                  </a:lnTo>
                  <a:lnTo>
                    <a:pt x="279" y="448"/>
                  </a:lnTo>
                  <a:lnTo>
                    <a:pt x="279" y="449"/>
                  </a:lnTo>
                  <a:lnTo>
                    <a:pt x="278" y="449"/>
                  </a:lnTo>
                  <a:lnTo>
                    <a:pt x="278" y="449"/>
                  </a:lnTo>
                  <a:lnTo>
                    <a:pt x="277" y="449"/>
                  </a:lnTo>
                  <a:lnTo>
                    <a:pt x="277" y="450"/>
                  </a:lnTo>
                  <a:lnTo>
                    <a:pt x="276" y="450"/>
                  </a:lnTo>
                  <a:lnTo>
                    <a:pt x="276" y="450"/>
                  </a:lnTo>
                  <a:lnTo>
                    <a:pt x="276" y="451"/>
                  </a:lnTo>
                  <a:lnTo>
                    <a:pt x="275" y="451"/>
                  </a:lnTo>
                  <a:lnTo>
                    <a:pt x="275" y="452"/>
                  </a:lnTo>
                  <a:lnTo>
                    <a:pt x="275" y="456"/>
                  </a:lnTo>
                  <a:lnTo>
                    <a:pt x="275" y="457"/>
                  </a:lnTo>
                  <a:lnTo>
                    <a:pt x="275" y="458"/>
                  </a:lnTo>
                  <a:lnTo>
                    <a:pt x="274" y="460"/>
                  </a:lnTo>
                  <a:lnTo>
                    <a:pt x="274" y="463"/>
                  </a:lnTo>
                  <a:lnTo>
                    <a:pt x="273" y="464"/>
                  </a:lnTo>
                  <a:lnTo>
                    <a:pt x="273" y="465"/>
                  </a:lnTo>
                  <a:lnTo>
                    <a:pt x="272" y="466"/>
                  </a:lnTo>
                  <a:lnTo>
                    <a:pt x="272" y="467"/>
                  </a:lnTo>
                  <a:lnTo>
                    <a:pt x="271" y="468"/>
                  </a:lnTo>
                  <a:lnTo>
                    <a:pt x="270" y="469"/>
                  </a:lnTo>
                  <a:lnTo>
                    <a:pt x="270" y="470"/>
                  </a:lnTo>
                  <a:lnTo>
                    <a:pt x="269" y="470"/>
                  </a:lnTo>
                  <a:lnTo>
                    <a:pt x="269" y="471"/>
                  </a:lnTo>
                  <a:lnTo>
                    <a:pt x="268" y="472"/>
                  </a:lnTo>
                  <a:lnTo>
                    <a:pt x="267" y="472"/>
                  </a:lnTo>
                  <a:lnTo>
                    <a:pt x="267" y="472"/>
                  </a:lnTo>
                  <a:lnTo>
                    <a:pt x="266" y="472"/>
                  </a:lnTo>
                  <a:lnTo>
                    <a:pt x="265" y="472"/>
                  </a:lnTo>
                  <a:lnTo>
                    <a:pt x="262" y="472"/>
                  </a:lnTo>
                  <a:lnTo>
                    <a:pt x="260" y="473"/>
                  </a:lnTo>
                  <a:lnTo>
                    <a:pt x="259" y="473"/>
                  </a:lnTo>
                  <a:lnTo>
                    <a:pt x="259" y="473"/>
                  </a:lnTo>
                  <a:lnTo>
                    <a:pt x="258" y="473"/>
                  </a:lnTo>
                  <a:lnTo>
                    <a:pt x="257" y="474"/>
                  </a:lnTo>
                  <a:lnTo>
                    <a:pt x="257" y="474"/>
                  </a:lnTo>
                  <a:lnTo>
                    <a:pt x="257" y="475"/>
                  </a:lnTo>
                  <a:lnTo>
                    <a:pt x="256" y="476"/>
                  </a:lnTo>
                  <a:lnTo>
                    <a:pt x="256" y="477"/>
                  </a:lnTo>
                  <a:lnTo>
                    <a:pt x="255" y="478"/>
                  </a:lnTo>
                  <a:lnTo>
                    <a:pt x="255" y="479"/>
                  </a:lnTo>
                  <a:lnTo>
                    <a:pt x="255" y="479"/>
                  </a:lnTo>
                  <a:lnTo>
                    <a:pt x="254" y="480"/>
                  </a:lnTo>
                  <a:lnTo>
                    <a:pt x="254" y="480"/>
                  </a:lnTo>
                  <a:lnTo>
                    <a:pt x="253" y="481"/>
                  </a:lnTo>
                  <a:lnTo>
                    <a:pt x="252" y="481"/>
                  </a:lnTo>
                  <a:lnTo>
                    <a:pt x="251" y="482"/>
                  </a:lnTo>
                  <a:lnTo>
                    <a:pt x="249" y="482"/>
                  </a:lnTo>
                  <a:lnTo>
                    <a:pt x="248" y="482"/>
                  </a:lnTo>
                  <a:lnTo>
                    <a:pt x="248" y="482"/>
                  </a:lnTo>
                  <a:lnTo>
                    <a:pt x="247" y="483"/>
                  </a:lnTo>
                  <a:lnTo>
                    <a:pt x="246" y="483"/>
                  </a:lnTo>
                  <a:lnTo>
                    <a:pt x="245" y="484"/>
                  </a:lnTo>
                  <a:lnTo>
                    <a:pt x="244" y="486"/>
                  </a:lnTo>
                  <a:lnTo>
                    <a:pt x="243" y="487"/>
                  </a:lnTo>
                  <a:lnTo>
                    <a:pt x="242" y="487"/>
                  </a:lnTo>
                  <a:lnTo>
                    <a:pt x="241" y="487"/>
                  </a:lnTo>
                  <a:lnTo>
                    <a:pt x="241" y="488"/>
                  </a:lnTo>
                  <a:lnTo>
                    <a:pt x="240" y="488"/>
                  </a:lnTo>
                  <a:lnTo>
                    <a:pt x="239" y="488"/>
                  </a:lnTo>
                  <a:lnTo>
                    <a:pt x="239" y="488"/>
                  </a:lnTo>
                  <a:lnTo>
                    <a:pt x="238" y="488"/>
                  </a:lnTo>
                  <a:lnTo>
                    <a:pt x="237" y="487"/>
                  </a:lnTo>
                  <a:lnTo>
                    <a:pt x="235" y="486"/>
                  </a:lnTo>
                  <a:lnTo>
                    <a:pt x="231" y="485"/>
                  </a:lnTo>
                  <a:lnTo>
                    <a:pt x="228" y="483"/>
                  </a:lnTo>
                  <a:lnTo>
                    <a:pt x="221" y="479"/>
                  </a:lnTo>
                  <a:lnTo>
                    <a:pt x="219" y="478"/>
                  </a:lnTo>
                  <a:lnTo>
                    <a:pt x="218" y="478"/>
                  </a:lnTo>
                  <a:lnTo>
                    <a:pt x="217" y="478"/>
                  </a:lnTo>
                  <a:lnTo>
                    <a:pt x="216" y="477"/>
                  </a:lnTo>
                  <a:lnTo>
                    <a:pt x="212" y="477"/>
                  </a:lnTo>
                  <a:lnTo>
                    <a:pt x="211" y="477"/>
                  </a:lnTo>
                  <a:lnTo>
                    <a:pt x="209" y="476"/>
                  </a:lnTo>
                  <a:lnTo>
                    <a:pt x="205" y="475"/>
                  </a:lnTo>
                  <a:lnTo>
                    <a:pt x="200" y="473"/>
                  </a:lnTo>
                  <a:lnTo>
                    <a:pt x="197" y="472"/>
                  </a:lnTo>
                  <a:lnTo>
                    <a:pt x="196" y="472"/>
                  </a:lnTo>
                  <a:lnTo>
                    <a:pt x="195" y="472"/>
                  </a:lnTo>
                  <a:lnTo>
                    <a:pt x="193" y="472"/>
                  </a:lnTo>
                  <a:lnTo>
                    <a:pt x="190" y="472"/>
                  </a:lnTo>
                  <a:lnTo>
                    <a:pt x="188" y="472"/>
                  </a:lnTo>
                  <a:lnTo>
                    <a:pt x="187" y="471"/>
                  </a:lnTo>
                  <a:lnTo>
                    <a:pt x="183" y="471"/>
                  </a:lnTo>
                  <a:lnTo>
                    <a:pt x="181" y="471"/>
                  </a:lnTo>
                  <a:lnTo>
                    <a:pt x="179" y="470"/>
                  </a:lnTo>
                  <a:lnTo>
                    <a:pt x="178" y="470"/>
                  </a:lnTo>
                  <a:lnTo>
                    <a:pt x="177" y="470"/>
                  </a:lnTo>
                  <a:lnTo>
                    <a:pt x="173" y="471"/>
                  </a:lnTo>
                  <a:lnTo>
                    <a:pt x="172" y="471"/>
                  </a:lnTo>
                  <a:lnTo>
                    <a:pt x="171" y="471"/>
                  </a:lnTo>
                  <a:lnTo>
                    <a:pt x="170" y="471"/>
                  </a:lnTo>
                  <a:lnTo>
                    <a:pt x="169" y="471"/>
                  </a:lnTo>
                  <a:lnTo>
                    <a:pt x="168" y="471"/>
                  </a:lnTo>
                  <a:lnTo>
                    <a:pt x="168" y="471"/>
                  </a:lnTo>
                  <a:lnTo>
                    <a:pt x="165" y="470"/>
                  </a:lnTo>
                  <a:lnTo>
                    <a:pt x="164" y="469"/>
                  </a:lnTo>
                  <a:lnTo>
                    <a:pt x="163" y="469"/>
                  </a:lnTo>
                  <a:lnTo>
                    <a:pt x="160" y="468"/>
                  </a:lnTo>
                  <a:lnTo>
                    <a:pt x="159" y="468"/>
                  </a:lnTo>
                  <a:lnTo>
                    <a:pt x="158" y="467"/>
                  </a:lnTo>
                  <a:lnTo>
                    <a:pt x="158" y="467"/>
                  </a:lnTo>
                  <a:lnTo>
                    <a:pt x="156" y="466"/>
                  </a:lnTo>
                  <a:lnTo>
                    <a:pt x="154" y="464"/>
                  </a:lnTo>
                  <a:lnTo>
                    <a:pt x="154" y="464"/>
                  </a:lnTo>
                  <a:lnTo>
                    <a:pt x="153" y="463"/>
                  </a:lnTo>
                  <a:lnTo>
                    <a:pt x="152" y="462"/>
                  </a:lnTo>
                  <a:lnTo>
                    <a:pt x="152" y="461"/>
                  </a:lnTo>
                  <a:lnTo>
                    <a:pt x="151" y="461"/>
                  </a:lnTo>
                  <a:lnTo>
                    <a:pt x="151" y="460"/>
                  </a:lnTo>
                  <a:lnTo>
                    <a:pt x="150" y="457"/>
                  </a:lnTo>
                  <a:lnTo>
                    <a:pt x="149" y="457"/>
                  </a:lnTo>
                  <a:lnTo>
                    <a:pt x="149" y="456"/>
                  </a:lnTo>
                  <a:lnTo>
                    <a:pt x="149" y="456"/>
                  </a:lnTo>
                  <a:lnTo>
                    <a:pt x="148" y="455"/>
                  </a:lnTo>
                  <a:lnTo>
                    <a:pt x="147" y="454"/>
                  </a:lnTo>
                  <a:lnTo>
                    <a:pt x="146" y="454"/>
                  </a:lnTo>
                  <a:lnTo>
                    <a:pt x="145" y="453"/>
                  </a:lnTo>
                  <a:lnTo>
                    <a:pt x="145" y="452"/>
                  </a:lnTo>
                  <a:lnTo>
                    <a:pt x="144" y="451"/>
                  </a:lnTo>
                  <a:lnTo>
                    <a:pt x="144" y="451"/>
                  </a:lnTo>
                  <a:lnTo>
                    <a:pt x="144" y="450"/>
                  </a:lnTo>
                  <a:lnTo>
                    <a:pt x="144" y="449"/>
                  </a:lnTo>
                  <a:lnTo>
                    <a:pt x="144" y="449"/>
                  </a:lnTo>
                  <a:lnTo>
                    <a:pt x="144" y="448"/>
                  </a:lnTo>
                  <a:lnTo>
                    <a:pt x="144" y="448"/>
                  </a:lnTo>
                  <a:lnTo>
                    <a:pt x="144" y="447"/>
                  </a:lnTo>
                  <a:lnTo>
                    <a:pt x="144" y="447"/>
                  </a:lnTo>
                  <a:lnTo>
                    <a:pt x="145" y="446"/>
                  </a:lnTo>
                  <a:lnTo>
                    <a:pt x="145" y="445"/>
                  </a:lnTo>
                  <a:lnTo>
                    <a:pt x="146" y="445"/>
                  </a:lnTo>
                  <a:lnTo>
                    <a:pt x="147" y="444"/>
                  </a:lnTo>
                  <a:lnTo>
                    <a:pt x="148" y="443"/>
                  </a:lnTo>
                  <a:lnTo>
                    <a:pt x="149" y="443"/>
                  </a:lnTo>
                  <a:lnTo>
                    <a:pt x="151" y="442"/>
                  </a:lnTo>
                  <a:lnTo>
                    <a:pt x="152" y="442"/>
                  </a:lnTo>
                  <a:lnTo>
                    <a:pt x="152" y="441"/>
                  </a:lnTo>
                  <a:lnTo>
                    <a:pt x="153" y="441"/>
                  </a:lnTo>
                  <a:lnTo>
                    <a:pt x="153" y="440"/>
                  </a:lnTo>
                  <a:lnTo>
                    <a:pt x="153" y="440"/>
                  </a:lnTo>
                  <a:lnTo>
                    <a:pt x="154" y="439"/>
                  </a:lnTo>
                  <a:lnTo>
                    <a:pt x="154" y="438"/>
                  </a:lnTo>
                  <a:lnTo>
                    <a:pt x="154" y="438"/>
                  </a:lnTo>
                  <a:lnTo>
                    <a:pt x="154" y="437"/>
                  </a:lnTo>
                  <a:lnTo>
                    <a:pt x="154" y="436"/>
                  </a:lnTo>
                  <a:lnTo>
                    <a:pt x="154" y="435"/>
                  </a:lnTo>
                  <a:lnTo>
                    <a:pt x="153" y="434"/>
                  </a:lnTo>
                  <a:lnTo>
                    <a:pt x="153" y="434"/>
                  </a:lnTo>
                  <a:lnTo>
                    <a:pt x="152" y="433"/>
                  </a:lnTo>
                  <a:lnTo>
                    <a:pt x="152" y="433"/>
                  </a:lnTo>
                  <a:lnTo>
                    <a:pt x="149" y="431"/>
                  </a:lnTo>
                  <a:lnTo>
                    <a:pt x="148" y="430"/>
                  </a:lnTo>
                  <a:lnTo>
                    <a:pt x="147" y="429"/>
                  </a:lnTo>
                  <a:lnTo>
                    <a:pt x="146" y="428"/>
                  </a:lnTo>
                  <a:lnTo>
                    <a:pt x="144" y="425"/>
                  </a:lnTo>
                  <a:lnTo>
                    <a:pt x="143" y="424"/>
                  </a:lnTo>
                  <a:lnTo>
                    <a:pt x="142" y="422"/>
                  </a:lnTo>
                  <a:lnTo>
                    <a:pt x="140" y="421"/>
                  </a:lnTo>
                  <a:lnTo>
                    <a:pt x="139" y="420"/>
                  </a:lnTo>
                  <a:lnTo>
                    <a:pt x="139" y="419"/>
                  </a:lnTo>
                  <a:lnTo>
                    <a:pt x="138" y="419"/>
                  </a:lnTo>
                  <a:lnTo>
                    <a:pt x="137" y="418"/>
                  </a:lnTo>
                  <a:lnTo>
                    <a:pt x="136" y="418"/>
                  </a:lnTo>
                  <a:lnTo>
                    <a:pt x="136" y="418"/>
                  </a:lnTo>
                  <a:lnTo>
                    <a:pt x="134" y="417"/>
                  </a:lnTo>
                  <a:lnTo>
                    <a:pt x="131" y="416"/>
                  </a:lnTo>
                  <a:lnTo>
                    <a:pt x="129" y="415"/>
                  </a:lnTo>
                  <a:lnTo>
                    <a:pt x="128" y="414"/>
                  </a:lnTo>
                  <a:lnTo>
                    <a:pt x="126" y="414"/>
                  </a:lnTo>
                  <a:lnTo>
                    <a:pt x="125" y="414"/>
                  </a:lnTo>
                  <a:lnTo>
                    <a:pt x="125" y="413"/>
                  </a:lnTo>
                  <a:lnTo>
                    <a:pt x="121" y="410"/>
                  </a:lnTo>
                  <a:lnTo>
                    <a:pt x="120" y="410"/>
                  </a:lnTo>
                  <a:lnTo>
                    <a:pt x="119" y="409"/>
                  </a:lnTo>
                  <a:lnTo>
                    <a:pt x="118" y="408"/>
                  </a:lnTo>
                  <a:lnTo>
                    <a:pt x="117" y="407"/>
                  </a:lnTo>
                  <a:lnTo>
                    <a:pt x="116" y="405"/>
                  </a:lnTo>
                  <a:lnTo>
                    <a:pt x="111" y="401"/>
                  </a:lnTo>
                  <a:lnTo>
                    <a:pt x="110" y="399"/>
                  </a:lnTo>
                  <a:lnTo>
                    <a:pt x="108" y="398"/>
                  </a:lnTo>
                  <a:lnTo>
                    <a:pt x="107" y="396"/>
                  </a:lnTo>
                  <a:lnTo>
                    <a:pt x="105" y="395"/>
                  </a:lnTo>
                  <a:lnTo>
                    <a:pt x="104" y="394"/>
                  </a:lnTo>
                  <a:lnTo>
                    <a:pt x="103" y="393"/>
                  </a:lnTo>
                  <a:lnTo>
                    <a:pt x="101" y="392"/>
                  </a:lnTo>
                  <a:lnTo>
                    <a:pt x="100" y="391"/>
                  </a:lnTo>
                  <a:lnTo>
                    <a:pt x="99" y="390"/>
                  </a:lnTo>
                  <a:lnTo>
                    <a:pt x="97" y="390"/>
                  </a:lnTo>
                  <a:lnTo>
                    <a:pt x="96" y="389"/>
                  </a:lnTo>
                  <a:lnTo>
                    <a:pt x="94" y="389"/>
                  </a:lnTo>
                  <a:lnTo>
                    <a:pt x="88" y="387"/>
                  </a:lnTo>
                  <a:lnTo>
                    <a:pt x="86" y="386"/>
                  </a:lnTo>
                  <a:lnTo>
                    <a:pt x="85" y="386"/>
                  </a:lnTo>
                  <a:lnTo>
                    <a:pt x="84" y="385"/>
                  </a:lnTo>
                  <a:lnTo>
                    <a:pt x="83" y="385"/>
                  </a:lnTo>
                  <a:lnTo>
                    <a:pt x="82" y="384"/>
                  </a:lnTo>
                  <a:lnTo>
                    <a:pt x="82" y="384"/>
                  </a:lnTo>
                  <a:lnTo>
                    <a:pt x="81" y="383"/>
                  </a:lnTo>
                  <a:lnTo>
                    <a:pt x="81" y="383"/>
                  </a:lnTo>
                  <a:lnTo>
                    <a:pt x="81" y="382"/>
                  </a:lnTo>
                  <a:lnTo>
                    <a:pt x="80" y="380"/>
                  </a:lnTo>
                  <a:lnTo>
                    <a:pt x="80" y="379"/>
                  </a:lnTo>
                  <a:lnTo>
                    <a:pt x="80" y="376"/>
                  </a:lnTo>
                  <a:lnTo>
                    <a:pt x="79" y="375"/>
                  </a:lnTo>
                  <a:lnTo>
                    <a:pt x="79" y="374"/>
                  </a:lnTo>
                  <a:lnTo>
                    <a:pt x="79" y="373"/>
                  </a:lnTo>
                  <a:lnTo>
                    <a:pt x="78" y="371"/>
                  </a:lnTo>
                  <a:lnTo>
                    <a:pt x="76" y="366"/>
                  </a:lnTo>
                  <a:lnTo>
                    <a:pt x="75" y="365"/>
                  </a:lnTo>
                  <a:lnTo>
                    <a:pt x="75" y="364"/>
                  </a:lnTo>
                  <a:lnTo>
                    <a:pt x="74" y="362"/>
                  </a:lnTo>
                  <a:lnTo>
                    <a:pt x="73" y="362"/>
                  </a:lnTo>
                  <a:lnTo>
                    <a:pt x="73" y="361"/>
                  </a:lnTo>
                  <a:lnTo>
                    <a:pt x="72" y="361"/>
                  </a:lnTo>
                  <a:lnTo>
                    <a:pt x="72" y="360"/>
                  </a:lnTo>
                  <a:lnTo>
                    <a:pt x="70" y="359"/>
                  </a:lnTo>
                  <a:lnTo>
                    <a:pt x="69" y="358"/>
                  </a:lnTo>
                  <a:lnTo>
                    <a:pt x="68" y="357"/>
                  </a:lnTo>
                  <a:lnTo>
                    <a:pt x="68" y="357"/>
                  </a:lnTo>
                  <a:lnTo>
                    <a:pt x="67" y="356"/>
                  </a:lnTo>
                  <a:lnTo>
                    <a:pt x="67" y="355"/>
                  </a:lnTo>
                  <a:lnTo>
                    <a:pt x="66" y="355"/>
                  </a:lnTo>
                  <a:lnTo>
                    <a:pt x="66" y="353"/>
                  </a:lnTo>
                  <a:lnTo>
                    <a:pt x="65" y="352"/>
                  </a:lnTo>
                  <a:lnTo>
                    <a:pt x="65" y="351"/>
                  </a:lnTo>
                  <a:lnTo>
                    <a:pt x="63" y="347"/>
                  </a:lnTo>
                  <a:lnTo>
                    <a:pt x="62" y="343"/>
                  </a:lnTo>
                  <a:lnTo>
                    <a:pt x="61" y="341"/>
                  </a:lnTo>
                  <a:lnTo>
                    <a:pt x="60" y="340"/>
                  </a:lnTo>
                  <a:lnTo>
                    <a:pt x="60" y="339"/>
                  </a:lnTo>
                  <a:lnTo>
                    <a:pt x="59" y="338"/>
                  </a:lnTo>
                  <a:lnTo>
                    <a:pt x="58" y="337"/>
                  </a:lnTo>
                  <a:lnTo>
                    <a:pt x="58" y="336"/>
                  </a:lnTo>
                  <a:lnTo>
                    <a:pt x="57" y="336"/>
                  </a:lnTo>
                  <a:lnTo>
                    <a:pt x="57" y="336"/>
                  </a:lnTo>
                  <a:lnTo>
                    <a:pt x="56" y="336"/>
                  </a:lnTo>
                  <a:lnTo>
                    <a:pt x="55" y="336"/>
                  </a:lnTo>
                  <a:lnTo>
                    <a:pt x="52" y="336"/>
                  </a:lnTo>
                  <a:lnTo>
                    <a:pt x="51" y="336"/>
                  </a:lnTo>
                  <a:lnTo>
                    <a:pt x="49" y="336"/>
                  </a:lnTo>
                  <a:lnTo>
                    <a:pt x="46" y="336"/>
                  </a:lnTo>
                  <a:lnTo>
                    <a:pt x="45" y="336"/>
                  </a:lnTo>
                  <a:lnTo>
                    <a:pt x="44" y="336"/>
                  </a:lnTo>
                  <a:lnTo>
                    <a:pt x="43" y="336"/>
                  </a:lnTo>
                  <a:lnTo>
                    <a:pt x="42" y="335"/>
                  </a:lnTo>
                  <a:lnTo>
                    <a:pt x="41" y="335"/>
                  </a:lnTo>
                  <a:lnTo>
                    <a:pt x="40" y="335"/>
                  </a:lnTo>
                  <a:lnTo>
                    <a:pt x="40" y="334"/>
                  </a:lnTo>
                  <a:lnTo>
                    <a:pt x="39" y="334"/>
                  </a:lnTo>
                  <a:lnTo>
                    <a:pt x="38" y="333"/>
                  </a:lnTo>
                  <a:lnTo>
                    <a:pt x="35" y="330"/>
                  </a:lnTo>
                  <a:lnTo>
                    <a:pt x="34" y="329"/>
                  </a:lnTo>
                  <a:lnTo>
                    <a:pt x="34" y="328"/>
                  </a:lnTo>
                  <a:lnTo>
                    <a:pt x="33" y="326"/>
                  </a:lnTo>
                  <a:lnTo>
                    <a:pt x="32" y="324"/>
                  </a:lnTo>
                  <a:lnTo>
                    <a:pt x="30" y="321"/>
                  </a:lnTo>
                  <a:lnTo>
                    <a:pt x="29" y="318"/>
                  </a:lnTo>
                  <a:lnTo>
                    <a:pt x="28" y="315"/>
                  </a:lnTo>
                  <a:lnTo>
                    <a:pt x="26" y="311"/>
                  </a:lnTo>
                  <a:lnTo>
                    <a:pt x="25" y="308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2" y="306"/>
                  </a:lnTo>
                  <a:lnTo>
                    <a:pt x="20" y="306"/>
                  </a:lnTo>
                  <a:lnTo>
                    <a:pt x="20" y="306"/>
                  </a:lnTo>
                  <a:lnTo>
                    <a:pt x="19" y="305"/>
                  </a:lnTo>
                  <a:lnTo>
                    <a:pt x="18" y="305"/>
                  </a:lnTo>
                  <a:lnTo>
                    <a:pt x="17" y="304"/>
                  </a:lnTo>
                  <a:lnTo>
                    <a:pt x="16" y="303"/>
                  </a:lnTo>
                  <a:lnTo>
                    <a:pt x="16" y="302"/>
                  </a:lnTo>
                  <a:lnTo>
                    <a:pt x="14" y="300"/>
                  </a:lnTo>
                  <a:lnTo>
                    <a:pt x="13" y="299"/>
                  </a:lnTo>
                  <a:lnTo>
                    <a:pt x="13" y="299"/>
                  </a:lnTo>
                  <a:lnTo>
                    <a:pt x="12" y="298"/>
                  </a:lnTo>
                  <a:lnTo>
                    <a:pt x="12" y="297"/>
                  </a:lnTo>
                  <a:lnTo>
                    <a:pt x="11" y="297"/>
                  </a:lnTo>
                  <a:lnTo>
                    <a:pt x="10" y="296"/>
                  </a:lnTo>
                  <a:lnTo>
                    <a:pt x="9" y="296"/>
                  </a:lnTo>
                  <a:lnTo>
                    <a:pt x="9" y="296"/>
                  </a:lnTo>
                  <a:lnTo>
                    <a:pt x="8" y="296"/>
                  </a:lnTo>
                  <a:lnTo>
                    <a:pt x="7" y="295"/>
                  </a:lnTo>
                  <a:lnTo>
                    <a:pt x="5" y="295"/>
                  </a:lnTo>
                  <a:lnTo>
                    <a:pt x="4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2" y="295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1" y="290"/>
                  </a:lnTo>
                  <a:lnTo>
                    <a:pt x="0" y="289"/>
                  </a:lnTo>
                  <a:lnTo>
                    <a:pt x="0" y="288"/>
                  </a:lnTo>
                  <a:lnTo>
                    <a:pt x="0" y="287"/>
                  </a:lnTo>
                  <a:lnTo>
                    <a:pt x="0" y="286"/>
                  </a:lnTo>
                  <a:lnTo>
                    <a:pt x="0" y="285"/>
                  </a:lnTo>
                  <a:lnTo>
                    <a:pt x="0" y="284"/>
                  </a:lnTo>
                  <a:lnTo>
                    <a:pt x="0" y="282"/>
                  </a:lnTo>
                  <a:lnTo>
                    <a:pt x="0" y="281"/>
                  </a:lnTo>
                  <a:lnTo>
                    <a:pt x="0" y="279"/>
                  </a:lnTo>
                  <a:lnTo>
                    <a:pt x="0" y="278"/>
                  </a:lnTo>
                  <a:lnTo>
                    <a:pt x="1" y="276"/>
                  </a:lnTo>
                  <a:lnTo>
                    <a:pt x="1" y="274"/>
                  </a:lnTo>
                  <a:lnTo>
                    <a:pt x="2" y="272"/>
                  </a:lnTo>
                  <a:lnTo>
                    <a:pt x="2" y="271"/>
                  </a:lnTo>
                  <a:lnTo>
                    <a:pt x="2" y="270"/>
                  </a:lnTo>
                  <a:lnTo>
                    <a:pt x="3" y="269"/>
                  </a:lnTo>
                  <a:lnTo>
                    <a:pt x="4" y="266"/>
                  </a:lnTo>
                  <a:lnTo>
                    <a:pt x="5" y="264"/>
                  </a:lnTo>
                  <a:lnTo>
                    <a:pt x="6" y="263"/>
                  </a:lnTo>
                  <a:lnTo>
                    <a:pt x="7" y="262"/>
                  </a:lnTo>
                  <a:lnTo>
                    <a:pt x="8" y="261"/>
                  </a:lnTo>
                  <a:lnTo>
                    <a:pt x="8" y="261"/>
                  </a:lnTo>
                  <a:lnTo>
                    <a:pt x="9" y="260"/>
                  </a:lnTo>
                  <a:lnTo>
                    <a:pt x="9" y="260"/>
                  </a:lnTo>
                  <a:lnTo>
                    <a:pt x="10" y="259"/>
                  </a:lnTo>
                  <a:lnTo>
                    <a:pt x="11" y="259"/>
                  </a:lnTo>
                  <a:lnTo>
                    <a:pt x="13" y="258"/>
                  </a:lnTo>
                  <a:lnTo>
                    <a:pt x="14" y="258"/>
                  </a:lnTo>
                  <a:lnTo>
                    <a:pt x="14" y="257"/>
                  </a:lnTo>
                  <a:lnTo>
                    <a:pt x="15" y="256"/>
                  </a:lnTo>
                  <a:lnTo>
                    <a:pt x="16" y="256"/>
                  </a:lnTo>
                  <a:lnTo>
                    <a:pt x="17" y="255"/>
                  </a:lnTo>
                  <a:lnTo>
                    <a:pt x="17" y="255"/>
                  </a:lnTo>
                  <a:lnTo>
                    <a:pt x="17" y="254"/>
                  </a:lnTo>
                  <a:lnTo>
                    <a:pt x="18" y="253"/>
                  </a:lnTo>
                  <a:lnTo>
                    <a:pt x="18" y="253"/>
                  </a:lnTo>
                  <a:lnTo>
                    <a:pt x="18" y="252"/>
                  </a:lnTo>
                  <a:lnTo>
                    <a:pt x="18" y="251"/>
                  </a:lnTo>
                  <a:lnTo>
                    <a:pt x="18" y="250"/>
                  </a:lnTo>
                  <a:lnTo>
                    <a:pt x="18" y="249"/>
                  </a:lnTo>
                  <a:lnTo>
                    <a:pt x="18" y="248"/>
                  </a:lnTo>
                  <a:lnTo>
                    <a:pt x="18" y="246"/>
                  </a:lnTo>
                  <a:lnTo>
                    <a:pt x="17" y="242"/>
                  </a:lnTo>
                  <a:lnTo>
                    <a:pt x="17" y="241"/>
                  </a:lnTo>
                  <a:lnTo>
                    <a:pt x="17" y="239"/>
                  </a:lnTo>
                  <a:lnTo>
                    <a:pt x="15" y="237"/>
                  </a:lnTo>
                  <a:lnTo>
                    <a:pt x="15" y="235"/>
                  </a:lnTo>
                  <a:lnTo>
                    <a:pt x="15" y="234"/>
                  </a:lnTo>
                  <a:lnTo>
                    <a:pt x="15" y="233"/>
                  </a:lnTo>
                  <a:lnTo>
                    <a:pt x="15" y="233"/>
                  </a:lnTo>
                  <a:lnTo>
                    <a:pt x="15" y="232"/>
                  </a:lnTo>
                  <a:lnTo>
                    <a:pt x="16" y="229"/>
                  </a:lnTo>
                  <a:lnTo>
                    <a:pt x="16" y="228"/>
                  </a:lnTo>
                  <a:lnTo>
                    <a:pt x="16" y="226"/>
                  </a:lnTo>
                  <a:lnTo>
                    <a:pt x="16" y="223"/>
                  </a:lnTo>
                  <a:lnTo>
                    <a:pt x="17" y="221"/>
                  </a:lnTo>
                  <a:lnTo>
                    <a:pt x="17" y="219"/>
                  </a:lnTo>
                  <a:lnTo>
                    <a:pt x="18" y="215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9" y="214"/>
                  </a:lnTo>
                  <a:lnTo>
                    <a:pt x="19" y="214"/>
                  </a:lnTo>
                  <a:lnTo>
                    <a:pt x="20" y="214"/>
                  </a:lnTo>
                  <a:lnTo>
                    <a:pt x="21" y="214"/>
                  </a:lnTo>
                  <a:lnTo>
                    <a:pt x="24" y="214"/>
                  </a:lnTo>
                  <a:lnTo>
                    <a:pt x="25" y="215"/>
                  </a:lnTo>
                  <a:lnTo>
                    <a:pt x="26" y="215"/>
                  </a:lnTo>
                  <a:lnTo>
                    <a:pt x="27" y="215"/>
                  </a:lnTo>
                  <a:lnTo>
                    <a:pt x="28" y="215"/>
                  </a:lnTo>
                  <a:lnTo>
                    <a:pt x="29" y="214"/>
                  </a:lnTo>
                  <a:lnTo>
                    <a:pt x="29" y="214"/>
                  </a:lnTo>
                  <a:lnTo>
                    <a:pt x="30" y="214"/>
                  </a:lnTo>
                  <a:lnTo>
                    <a:pt x="31" y="214"/>
                  </a:lnTo>
                  <a:lnTo>
                    <a:pt x="32" y="213"/>
                  </a:lnTo>
                  <a:lnTo>
                    <a:pt x="33" y="212"/>
                  </a:lnTo>
                  <a:lnTo>
                    <a:pt x="35" y="211"/>
                  </a:lnTo>
                  <a:lnTo>
                    <a:pt x="38" y="209"/>
                  </a:lnTo>
                  <a:lnTo>
                    <a:pt x="38" y="208"/>
                  </a:lnTo>
                  <a:lnTo>
                    <a:pt x="40" y="208"/>
                  </a:lnTo>
                  <a:lnTo>
                    <a:pt x="41" y="207"/>
                  </a:lnTo>
                  <a:lnTo>
                    <a:pt x="44" y="206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6" y="205"/>
                  </a:lnTo>
                  <a:lnTo>
                    <a:pt x="46" y="204"/>
                  </a:lnTo>
                  <a:lnTo>
                    <a:pt x="47" y="201"/>
                  </a:lnTo>
                  <a:lnTo>
                    <a:pt x="48" y="198"/>
                  </a:lnTo>
                  <a:lnTo>
                    <a:pt x="48" y="197"/>
                  </a:lnTo>
                  <a:lnTo>
                    <a:pt x="49" y="196"/>
                  </a:lnTo>
                  <a:lnTo>
                    <a:pt x="49" y="195"/>
                  </a:lnTo>
                  <a:lnTo>
                    <a:pt x="50" y="194"/>
                  </a:lnTo>
                  <a:lnTo>
                    <a:pt x="51" y="193"/>
                  </a:lnTo>
                  <a:lnTo>
                    <a:pt x="52" y="192"/>
                  </a:lnTo>
                  <a:lnTo>
                    <a:pt x="53" y="191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3" y="189"/>
                  </a:lnTo>
                  <a:lnTo>
                    <a:pt x="53" y="188"/>
                  </a:lnTo>
                  <a:lnTo>
                    <a:pt x="53" y="187"/>
                  </a:lnTo>
                  <a:lnTo>
                    <a:pt x="53" y="186"/>
                  </a:lnTo>
                  <a:lnTo>
                    <a:pt x="52" y="185"/>
                  </a:lnTo>
                  <a:lnTo>
                    <a:pt x="52" y="185"/>
                  </a:lnTo>
                  <a:lnTo>
                    <a:pt x="52" y="184"/>
                  </a:lnTo>
                  <a:lnTo>
                    <a:pt x="50" y="182"/>
                  </a:lnTo>
                  <a:lnTo>
                    <a:pt x="50" y="181"/>
                  </a:lnTo>
                  <a:lnTo>
                    <a:pt x="49" y="179"/>
                  </a:lnTo>
                  <a:lnTo>
                    <a:pt x="48" y="178"/>
                  </a:lnTo>
                  <a:lnTo>
                    <a:pt x="48" y="177"/>
                  </a:lnTo>
                  <a:lnTo>
                    <a:pt x="48" y="176"/>
                  </a:lnTo>
                  <a:lnTo>
                    <a:pt x="48" y="176"/>
                  </a:lnTo>
                  <a:lnTo>
                    <a:pt x="48" y="175"/>
                  </a:lnTo>
                  <a:lnTo>
                    <a:pt x="48" y="174"/>
                  </a:lnTo>
                  <a:lnTo>
                    <a:pt x="49" y="174"/>
                  </a:lnTo>
                  <a:lnTo>
                    <a:pt x="49" y="173"/>
                  </a:lnTo>
                  <a:lnTo>
                    <a:pt x="49" y="172"/>
                  </a:lnTo>
                  <a:lnTo>
                    <a:pt x="50" y="172"/>
                  </a:lnTo>
                  <a:lnTo>
                    <a:pt x="51" y="171"/>
                  </a:lnTo>
                  <a:lnTo>
                    <a:pt x="52" y="169"/>
                  </a:lnTo>
                  <a:lnTo>
                    <a:pt x="53" y="169"/>
                  </a:lnTo>
                  <a:lnTo>
                    <a:pt x="53" y="168"/>
                  </a:lnTo>
                  <a:lnTo>
                    <a:pt x="55" y="168"/>
                  </a:lnTo>
                  <a:lnTo>
                    <a:pt x="55" y="167"/>
                  </a:lnTo>
                  <a:lnTo>
                    <a:pt x="56" y="167"/>
                  </a:lnTo>
                  <a:lnTo>
                    <a:pt x="56" y="167"/>
                  </a:lnTo>
                  <a:lnTo>
                    <a:pt x="56" y="166"/>
                  </a:lnTo>
                  <a:lnTo>
                    <a:pt x="57" y="166"/>
                  </a:lnTo>
                  <a:lnTo>
                    <a:pt x="57" y="165"/>
                  </a:lnTo>
                  <a:lnTo>
                    <a:pt x="57" y="164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2"/>
                  </a:lnTo>
                  <a:lnTo>
                    <a:pt x="55" y="161"/>
                  </a:lnTo>
                  <a:lnTo>
                    <a:pt x="54" y="161"/>
                  </a:lnTo>
                  <a:lnTo>
                    <a:pt x="54" y="160"/>
                  </a:lnTo>
                  <a:lnTo>
                    <a:pt x="53" y="159"/>
                  </a:lnTo>
                  <a:lnTo>
                    <a:pt x="53" y="159"/>
                  </a:lnTo>
                  <a:lnTo>
                    <a:pt x="53" y="158"/>
                  </a:lnTo>
                  <a:lnTo>
                    <a:pt x="52" y="158"/>
                  </a:lnTo>
                  <a:lnTo>
                    <a:pt x="52" y="157"/>
                  </a:lnTo>
                  <a:lnTo>
                    <a:pt x="52" y="156"/>
                  </a:lnTo>
                  <a:lnTo>
                    <a:pt x="52" y="156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2" y="154"/>
                  </a:lnTo>
                  <a:lnTo>
                    <a:pt x="52" y="154"/>
                  </a:lnTo>
                  <a:lnTo>
                    <a:pt x="53" y="154"/>
                  </a:lnTo>
                  <a:lnTo>
                    <a:pt x="53" y="153"/>
                  </a:lnTo>
                  <a:lnTo>
                    <a:pt x="53" y="153"/>
                  </a:lnTo>
                  <a:lnTo>
                    <a:pt x="54" y="153"/>
                  </a:lnTo>
                  <a:lnTo>
                    <a:pt x="56" y="152"/>
                  </a:lnTo>
                  <a:lnTo>
                    <a:pt x="56" y="151"/>
                  </a:lnTo>
                  <a:lnTo>
                    <a:pt x="57" y="151"/>
                  </a:lnTo>
                  <a:lnTo>
                    <a:pt x="57" y="151"/>
                  </a:lnTo>
                  <a:lnTo>
                    <a:pt x="57" y="150"/>
                  </a:lnTo>
                  <a:lnTo>
                    <a:pt x="58" y="150"/>
                  </a:lnTo>
                  <a:lnTo>
                    <a:pt x="58" y="149"/>
                  </a:lnTo>
                  <a:lnTo>
                    <a:pt x="58" y="149"/>
                  </a:lnTo>
                  <a:lnTo>
                    <a:pt x="59" y="148"/>
                  </a:lnTo>
                  <a:lnTo>
                    <a:pt x="59" y="147"/>
                  </a:lnTo>
                  <a:lnTo>
                    <a:pt x="59" y="147"/>
                  </a:lnTo>
                  <a:lnTo>
                    <a:pt x="59" y="146"/>
                  </a:lnTo>
                  <a:lnTo>
                    <a:pt x="58" y="145"/>
                  </a:lnTo>
                  <a:lnTo>
                    <a:pt x="58" y="144"/>
                  </a:lnTo>
                  <a:lnTo>
                    <a:pt x="58" y="143"/>
                  </a:lnTo>
                  <a:lnTo>
                    <a:pt x="58" y="142"/>
                  </a:lnTo>
                  <a:lnTo>
                    <a:pt x="59" y="141"/>
                  </a:lnTo>
                  <a:lnTo>
                    <a:pt x="59" y="140"/>
                  </a:lnTo>
                  <a:lnTo>
                    <a:pt x="59" y="139"/>
                  </a:lnTo>
                  <a:lnTo>
                    <a:pt x="59" y="139"/>
                  </a:lnTo>
                  <a:lnTo>
                    <a:pt x="60" y="138"/>
                  </a:lnTo>
                  <a:lnTo>
                    <a:pt x="62" y="136"/>
                  </a:lnTo>
                  <a:lnTo>
                    <a:pt x="62" y="135"/>
                  </a:lnTo>
                  <a:lnTo>
                    <a:pt x="64" y="135"/>
                  </a:lnTo>
                  <a:lnTo>
                    <a:pt x="66" y="133"/>
                  </a:lnTo>
                  <a:lnTo>
                    <a:pt x="69" y="131"/>
                  </a:lnTo>
                  <a:lnTo>
                    <a:pt x="69" y="130"/>
                  </a:lnTo>
                  <a:lnTo>
                    <a:pt x="70" y="130"/>
                  </a:lnTo>
                  <a:lnTo>
                    <a:pt x="70" y="129"/>
                  </a:lnTo>
                  <a:lnTo>
                    <a:pt x="71" y="128"/>
                  </a:lnTo>
                  <a:lnTo>
                    <a:pt x="71" y="126"/>
                  </a:lnTo>
                  <a:lnTo>
                    <a:pt x="72" y="124"/>
                  </a:lnTo>
                  <a:lnTo>
                    <a:pt x="73" y="122"/>
                  </a:lnTo>
                  <a:lnTo>
                    <a:pt x="74" y="121"/>
                  </a:lnTo>
                  <a:lnTo>
                    <a:pt x="75" y="119"/>
                  </a:lnTo>
                  <a:lnTo>
                    <a:pt x="76" y="118"/>
                  </a:lnTo>
                  <a:lnTo>
                    <a:pt x="76" y="117"/>
                  </a:lnTo>
                  <a:lnTo>
                    <a:pt x="76" y="116"/>
                  </a:lnTo>
                  <a:lnTo>
                    <a:pt x="77" y="114"/>
                  </a:lnTo>
                  <a:lnTo>
                    <a:pt x="77" y="113"/>
                  </a:lnTo>
                  <a:lnTo>
                    <a:pt x="77" y="112"/>
                  </a:lnTo>
                  <a:lnTo>
                    <a:pt x="77" y="111"/>
                  </a:lnTo>
                  <a:lnTo>
                    <a:pt x="77" y="110"/>
                  </a:lnTo>
                  <a:lnTo>
                    <a:pt x="76" y="110"/>
                  </a:lnTo>
                  <a:lnTo>
                    <a:pt x="76" y="109"/>
                  </a:lnTo>
                  <a:lnTo>
                    <a:pt x="74" y="107"/>
                  </a:lnTo>
                  <a:lnTo>
                    <a:pt x="74" y="106"/>
                  </a:lnTo>
                  <a:lnTo>
                    <a:pt x="73" y="105"/>
                  </a:lnTo>
                  <a:lnTo>
                    <a:pt x="71" y="102"/>
                  </a:lnTo>
                  <a:lnTo>
                    <a:pt x="71" y="101"/>
                  </a:lnTo>
                  <a:lnTo>
                    <a:pt x="71" y="99"/>
                  </a:lnTo>
                  <a:lnTo>
                    <a:pt x="70" y="98"/>
                  </a:lnTo>
                  <a:lnTo>
                    <a:pt x="70" y="96"/>
                  </a:lnTo>
                  <a:lnTo>
                    <a:pt x="70" y="95"/>
                  </a:lnTo>
                  <a:lnTo>
                    <a:pt x="70" y="93"/>
                  </a:lnTo>
                  <a:lnTo>
                    <a:pt x="71" y="90"/>
                  </a:lnTo>
                  <a:lnTo>
                    <a:pt x="71" y="89"/>
                  </a:lnTo>
                  <a:lnTo>
                    <a:pt x="71" y="88"/>
                  </a:lnTo>
                  <a:lnTo>
                    <a:pt x="72" y="87"/>
                  </a:lnTo>
                  <a:lnTo>
                    <a:pt x="72" y="86"/>
                  </a:lnTo>
                  <a:lnTo>
                    <a:pt x="73" y="84"/>
                  </a:lnTo>
                  <a:lnTo>
                    <a:pt x="75" y="81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5" y="79"/>
                  </a:lnTo>
                  <a:lnTo>
                    <a:pt x="75" y="78"/>
                  </a:lnTo>
                  <a:lnTo>
                    <a:pt x="75" y="77"/>
                  </a:lnTo>
                  <a:lnTo>
                    <a:pt x="74" y="75"/>
                  </a:lnTo>
                  <a:lnTo>
                    <a:pt x="73" y="73"/>
                  </a:lnTo>
                  <a:lnTo>
                    <a:pt x="72" y="72"/>
                  </a:lnTo>
                  <a:lnTo>
                    <a:pt x="72" y="71"/>
                  </a:lnTo>
                  <a:lnTo>
                    <a:pt x="71" y="68"/>
                  </a:lnTo>
                  <a:lnTo>
                    <a:pt x="71" y="67"/>
                  </a:lnTo>
                  <a:lnTo>
                    <a:pt x="71" y="63"/>
                  </a:lnTo>
                  <a:lnTo>
                    <a:pt x="71" y="62"/>
                  </a:lnTo>
                  <a:lnTo>
                    <a:pt x="71" y="61"/>
                  </a:lnTo>
                  <a:lnTo>
                    <a:pt x="71" y="59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69" y="57"/>
                  </a:lnTo>
                  <a:lnTo>
                    <a:pt x="68" y="56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4"/>
                  </a:lnTo>
                  <a:lnTo>
                    <a:pt x="68" y="54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68" y="52"/>
                  </a:lnTo>
                  <a:lnTo>
                    <a:pt x="69" y="47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70" y="45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4" y="44"/>
                  </a:lnTo>
                  <a:lnTo>
                    <a:pt x="76" y="44"/>
                  </a:lnTo>
                  <a:lnTo>
                    <a:pt x="77" y="44"/>
                  </a:lnTo>
                  <a:lnTo>
                    <a:pt x="80" y="43"/>
                  </a:lnTo>
                  <a:lnTo>
                    <a:pt x="83" y="42"/>
                  </a:lnTo>
                  <a:lnTo>
                    <a:pt x="85" y="41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90" y="40"/>
                  </a:lnTo>
                  <a:lnTo>
                    <a:pt x="90" y="41"/>
                  </a:lnTo>
                  <a:lnTo>
                    <a:pt x="92" y="43"/>
                  </a:lnTo>
                  <a:lnTo>
                    <a:pt x="93" y="43"/>
                  </a:lnTo>
                  <a:lnTo>
                    <a:pt x="93" y="43"/>
                  </a:lnTo>
                  <a:lnTo>
                    <a:pt x="94" y="43"/>
                  </a:lnTo>
                  <a:lnTo>
                    <a:pt x="95" y="44"/>
                  </a:lnTo>
                  <a:lnTo>
                    <a:pt x="95" y="44"/>
                  </a:lnTo>
                  <a:lnTo>
                    <a:pt x="96" y="44"/>
                  </a:lnTo>
                  <a:lnTo>
                    <a:pt x="96" y="43"/>
                  </a:lnTo>
                  <a:lnTo>
                    <a:pt x="97" y="43"/>
                  </a:lnTo>
                  <a:lnTo>
                    <a:pt x="98" y="43"/>
                  </a:lnTo>
                  <a:lnTo>
                    <a:pt x="100" y="41"/>
                  </a:lnTo>
                  <a:lnTo>
                    <a:pt x="101" y="41"/>
                  </a:lnTo>
                  <a:lnTo>
                    <a:pt x="102" y="41"/>
                  </a:lnTo>
                  <a:lnTo>
                    <a:pt x="103" y="41"/>
                  </a:lnTo>
                  <a:lnTo>
                    <a:pt x="104" y="41"/>
                  </a:lnTo>
                  <a:lnTo>
                    <a:pt x="104" y="41"/>
                  </a:lnTo>
                  <a:lnTo>
                    <a:pt x="105" y="41"/>
                  </a:lnTo>
                  <a:lnTo>
                    <a:pt x="105" y="42"/>
                  </a:lnTo>
                  <a:lnTo>
                    <a:pt x="108" y="43"/>
                  </a:lnTo>
                  <a:lnTo>
                    <a:pt x="108" y="44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1" y="45"/>
                  </a:lnTo>
                  <a:lnTo>
                    <a:pt x="111" y="46"/>
                  </a:lnTo>
                  <a:lnTo>
                    <a:pt x="112" y="46"/>
                  </a:lnTo>
                  <a:lnTo>
                    <a:pt x="112" y="47"/>
                  </a:lnTo>
                  <a:lnTo>
                    <a:pt x="113" y="47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6" y="48"/>
                  </a:lnTo>
                  <a:lnTo>
                    <a:pt x="117" y="49"/>
                  </a:lnTo>
                  <a:lnTo>
                    <a:pt x="118" y="49"/>
                  </a:lnTo>
                  <a:lnTo>
                    <a:pt x="119" y="49"/>
                  </a:lnTo>
                  <a:lnTo>
                    <a:pt x="120" y="49"/>
                  </a:lnTo>
                  <a:lnTo>
                    <a:pt x="121" y="49"/>
                  </a:lnTo>
                  <a:lnTo>
                    <a:pt x="122" y="48"/>
                  </a:lnTo>
                  <a:lnTo>
                    <a:pt x="123" y="48"/>
                  </a:lnTo>
                  <a:lnTo>
                    <a:pt x="123" y="47"/>
                  </a:lnTo>
                  <a:lnTo>
                    <a:pt x="125" y="46"/>
                  </a:lnTo>
                  <a:lnTo>
                    <a:pt x="126" y="46"/>
                  </a:lnTo>
                  <a:lnTo>
                    <a:pt x="127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32" y="44"/>
                  </a:lnTo>
                  <a:lnTo>
                    <a:pt x="133" y="44"/>
                  </a:lnTo>
                  <a:lnTo>
                    <a:pt x="134" y="44"/>
                  </a:lnTo>
                  <a:lnTo>
                    <a:pt x="134" y="44"/>
                  </a:lnTo>
                  <a:lnTo>
                    <a:pt x="135" y="43"/>
                  </a:lnTo>
                  <a:lnTo>
                    <a:pt x="136" y="43"/>
                  </a:lnTo>
                  <a:lnTo>
                    <a:pt x="138" y="41"/>
                  </a:lnTo>
                  <a:lnTo>
                    <a:pt x="139" y="41"/>
                  </a:lnTo>
                  <a:lnTo>
                    <a:pt x="139" y="41"/>
                  </a:lnTo>
                  <a:lnTo>
                    <a:pt x="141" y="40"/>
                  </a:lnTo>
                  <a:lnTo>
                    <a:pt x="141" y="40"/>
                  </a:lnTo>
                  <a:lnTo>
                    <a:pt x="142" y="40"/>
                  </a:lnTo>
                  <a:lnTo>
                    <a:pt x="142" y="39"/>
                  </a:lnTo>
                  <a:lnTo>
                    <a:pt x="143" y="39"/>
                  </a:lnTo>
                  <a:lnTo>
                    <a:pt x="143" y="38"/>
                  </a:lnTo>
                  <a:lnTo>
                    <a:pt x="144" y="37"/>
                  </a:lnTo>
                  <a:lnTo>
                    <a:pt x="144" y="36"/>
                  </a:lnTo>
                  <a:lnTo>
                    <a:pt x="145" y="35"/>
                  </a:lnTo>
                  <a:lnTo>
                    <a:pt x="146" y="33"/>
                  </a:lnTo>
                  <a:lnTo>
                    <a:pt x="147" y="31"/>
                  </a:lnTo>
                  <a:lnTo>
                    <a:pt x="147" y="30"/>
                  </a:lnTo>
                  <a:lnTo>
                    <a:pt x="147" y="30"/>
                  </a:lnTo>
                  <a:lnTo>
                    <a:pt x="148" y="29"/>
                  </a:lnTo>
                  <a:lnTo>
                    <a:pt x="148" y="29"/>
                  </a:lnTo>
                  <a:lnTo>
                    <a:pt x="149" y="28"/>
                  </a:lnTo>
                  <a:lnTo>
                    <a:pt x="150" y="28"/>
                  </a:lnTo>
                  <a:lnTo>
                    <a:pt x="153" y="26"/>
                  </a:lnTo>
                  <a:lnTo>
                    <a:pt x="156" y="25"/>
                  </a:lnTo>
                  <a:lnTo>
                    <a:pt x="157" y="24"/>
                  </a:lnTo>
                  <a:lnTo>
                    <a:pt x="158" y="24"/>
                  </a:lnTo>
                  <a:lnTo>
                    <a:pt x="160" y="23"/>
                  </a:lnTo>
                  <a:lnTo>
                    <a:pt x="162" y="23"/>
                  </a:lnTo>
                  <a:lnTo>
                    <a:pt x="162" y="23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Freeform 12">
              <a:extLst>
                <a:ext uri="{FF2B5EF4-FFF2-40B4-BE49-F238E27FC236}">
                  <a16:creationId xmlns:a16="http://schemas.microsoft.com/office/drawing/2014/main" id="{5EF9D8DE-1D1D-84C1-FE53-CEA74FCA13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0" y="3533"/>
              <a:ext cx="462" cy="417"/>
            </a:xfrm>
            <a:custGeom>
              <a:avLst/>
              <a:gdLst>
                <a:gd name="T0" fmla="*/ 4 w 462"/>
                <a:gd name="T1" fmla="*/ 37 h 417"/>
                <a:gd name="T2" fmla="*/ 26 w 462"/>
                <a:gd name="T3" fmla="*/ 36 h 417"/>
                <a:gd name="T4" fmla="*/ 49 w 462"/>
                <a:gd name="T5" fmla="*/ 26 h 417"/>
                <a:gd name="T6" fmla="*/ 68 w 462"/>
                <a:gd name="T7" fmla="*/ 26 h 417"/>
                <a:gd name="T8" fmla="*/ 80 w 462"/>
                <a:gd name="T9" fmla="*/ 37 h 417"/>
                <a:gd name="T10" fmla="*/ 96 w 462"/>
                <a:gd name="T11" fmla="*/ 35 h 417"/>
                <a:gd name="T12" fmla="*/ 103 w 462"/>
                <a:gd name="T13" fmla="*/ 28 h 417"/>
                <a:gd name="T14" fmla="*/ 121 w 462"/>
                <a:gd name="T15" fmla="*/ 36 h 417"/>
                <a:gd name="T16" fmla="*/ 137 w 462"/>
                <a:gd name="T17" fmla="*/ 36 h 417"/>
                <a:gd name="T18" fmla="*/ 157 w 462"/>
                <a:gd name="T19" fmla="*/ 36 h 417"/>
                <a:gd name="T20" fmla="*/ 167 w 462"/>
                <a:gd name="T21" fmla="*/ 45 h 417"/>
                <a:gd name="T22" fmla="*/ 180 w 462"/>
                <a:gd name="T23" fmla="*/ 43 h 417"/>
                <a:gd name="T24" fmla="*/ 201 w 462"/>
                <a:gd name="T25" fmla="*/ 29 h 417"/>
                <a:gd name="T26" fmla="*/ 201 w 462"/>
                <a:gd name="T27" fmla="*/ 10 h 417"/>
                <a:gd name="T28" fmla="*/ 213 w 462"/>
                <a:gd name="T29" fmla="*/ 1 h 417"/>
                <a:gd name="T30" fmla="*/ 235 w 462"/>
                <a:gd name="T31" fmla="*/ 15 h 417"/>
                <a:gd name="T32" fmla="*/ 245 w 462"/>
                <a:gd name="T33" fmla="*/ 18 h 417"/>
                <a:gd name="T34" fmla="*/ 259 w 462"/>
                <a:gd name="T35" fmla="*/ 31 h 417"/>
                <a:gd name="T36" fmla="*/ 260 w 462"/>
                <a:gd name="T37" fmla="*/ 42 h 417"/>
                <a:gd name="T38" fmla="*/ 258 w 462"/>
                <a:gd name="T39" fmla="*/ 53 h 417"/>
                <a:gd name="T40" fmla="*/ 257 w 462"/>
                <a:gd name="T41" fmla="*/ 77 h 417"/>
                <a:gd name="T42" fmla="*/ 250 w 462"/>
                <a:gd name="T43" fmla="*/ 103 h 417"/>
                <a:gd name="T44" fmla="*/ 259 w 462"/>
                <a:gd name="T45" fmla="*/ 119 h 417"/>
                <a:gd name="T46" fmla="*/ 255 w 462"/>
                <a:gd name="T47" fmla="*/ 132 h 417"/>
                <a:gd name="T48" fmla="*/ 277 w 462"/>
                <a:gd name="T49" fmla="*/ 155 h 417"/>
                <a:gd name="T50" fmla="*/ 296 w 462"/>
                <a:gd name="T51" fmla="*/ 154 h 417"/>
                <a:gd name="T52" fmla="*/ 311 w 462"/>
                <a:gd name="T53" fmla="*/ 164 h 417"/>
                <a:gd name="T54" fmla="*/ 311 w 462"/>
                <a:gd name="T55" fmla="*/ 171 h 417"/>
                <a:gd name="T56" fmla="*/ 327 w 462"/>
                <a:gd name="T57" fmla="*/ 181 h 417"/>
                <a:gd name="T58" fmla="*/ 348 w 462"/>
                <a:gd name="T59" fmla="*/ 180 h 417"/>
                <a:gd name="T60" fmla="*/ 371 w 462"/>
                <a:gd name="T61" fmla="*/ 185 h 417"/>
                <a:gd name="T62" fmla="*/ 386 w 462"/>
                <a:gd name="T63" fmla="*/ 192 h 417"/>
                <a:gd name="T64" fmla="*/ 391 w 462"/>
                <a:gd name="T65" fmla="*/ 214 h 417"/>
                <a:gd name="T66" fmla="*/ 415 w 462"/>
                <a:gd name="T67" fmla="*/ 225 h 417"/>
                <a:gd name="T68" fmla="*/ 440 w 462"/>
                <a:gd name="T69" fmla="*/ 225 h 417"/>
                <a:gd name="T70" fmla="*/ 452 w 462"/>
                <a:gd name="T71" fmla="*/ 226 h 417"/>
                <a:gd name="T72" fmla="*/ 459 w 462"/>
                <a:gd name="T73" fmla="*/ 237 h 417"/>
                <a:gd name="T74" fmla="*/ 456 w 462"/>
                <a:gd name="T75" fmla="*/ 250 h 417"/>
                <a:gd name="T76" fmla="*/ 446 w 462"/>
                <a:gd name="T77" fmla="*/ 264 h 417"/>
                <a:gd name="T78" fmla="*/ 432 w 462"/>
                <a:gd name="T79" fmla="*/ 284 h 417"/>
                <a:gd name="T80" fmla="*/ 441 w 462"/>
                <a:gd name="T81" fmla="*/ 289 h 417"/>
                <a:gd name="T82" fmla="*/ 458 w 462"/>
                <a:gd name="T83" fmla="*/ 303 h 417"/>
                <a:gd name="T84" fmla="*/ 455 w 462"/>
                <a:gd name="T85" fmla="*/ 313 h 417"/>
                <a:gd name="T86" fmla="*/ 449 w 462"/>
                <a:gd name="T87" fmla="*/ 320 h 417"/>
                <a:gd name="T88" fmla="*/ 431 w 462"/>
                <a:gd name="T89" fmla="*/ 312 h 417"/>
                <a:gd name="T90" fmla="*/ 407 w 462"/>
                <a:gd name="T91" fmla="*/ 302 h 417"/>
                <a:gd name="T92" fmla="*/ 375 w 462"/>
                <a:gd name="T93" fmla="*/ 292 h 417"/>
                <a:gd name="T94" fmla="*/ 364 w 462"/>
                <a:gd name="T95" fmla="*/ 298 h 417"/>
                <a:gd name="T96" fmla="*/ 341 w 462"/>
                <a:gd name="T97" fmla="*/ 308 h 417"/>
                <a:gd name="T98" fmla="*/ 331 w 462"/>
                <a:gd name="T99" fmla="*/ 306 h 417"/>
                <a:gd name="T100" fmla="*/ 323 w 462"/>
                <a:gd name="T101" fmla="*/ 286 h 417"/>
                <a:gd name="T102" fmla="*/ 300 w 462"/>
                <a:gd name="T103" fmla="*/ 280 h 417"/>
                <a:gd name="T104" fmla="*/ 282 w 462"/>
                <a:gd name="T105" fmla="*/ 279 h 417"/>
                <a:gd name="T106" fmla="*/ 275 w 462"/>
                <a:gd name="T107" fmla="*/ 298 h 417"/>
                <a:gd name="T108" fmla="*/ 276 w 462"/>
                <a:gd name="T109" fmla="*/ 340 h 417"/>
                <a:gd name="T110" fmla="*/ 270 w 462"/>
                <a:gd name="T111" fmla="*/ 370 h 417"/>
                <a:gd name="T112" fmla="*/ 273 w 462"/>
                <a:gd name="T113" fmla="*/ 390 h 417"/>
                <a:gd name="T114" fmla="*/ 247 w 462"/>
                <a:gd name="T115" fmla="*/ 389 h 417"/>
                <a:gd name="T116" fmla="*/ 225 w 462"/>
                <a:gd name="T117" fmla="*/ 388 h 417"/>
                <a:gd name="T118" fmla="*/ 215 w 462"/>
                <a:gd name="T119" fmla="*/ 414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62" h="417">
                  <a:moveTo>
                    <a:pt x="0" y="23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5"/>
                  </a:lnTo>
                  <a:lnTo>
                    <a:pt x="1" y="29"/>
                  </a:lnTo>
                  <a:lnTo>
                    <a:pt x="1" y="31"/>
                  </a:lnTo>
                  <a:lnTo>
                    <a:pt x="1" y="32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4" y="37"/>
                  </a:lnTo>
                  <a:lnTo>
                    <a:pt x="5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8" y="38"/>
                  </a:lnTo>
                  <a:lnTo>
                    <a:pt x="9" y="37"/>
                  </a:lnTo>
                  <a:lnTo>
                    <a:pt x="10" y="37"/>
                  </a:lnTo>
                  <a:lnTo>
                    <a:pt x="11" y="37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4" y="37"/>
                  </a:lnTo>
                  <a:lnTo>
                    <a:pt x="16" y="37"/>
                  </a:lnTo>
                  <a:lnTo>
                    <a:pt x="17" y="37"/>
                  </a:lnTo>
                  <a:lnTo>
                    <a:pt x="19" y="36"/>
                  </a:lnTo>
                  <a:lnTo>
                    <a:pt x="20" y="36"/>
                  </a:lnTo>
                  <a:lnTo>
                    <a:pt x="21" y="36"/>
                  </a:lnTo>
                  <a:lnTo>
                    <a:pt x="25" y="36"/>
                  </a:lnTo>
                  <a:lnTo>
                    <a:pt x="26" y="36"/>
                  </a:lnTo>
                  <a:lnTo>
                    <a:pt x="34" y="36"/>
                  </a:lnTo>
                  <a:lnTo>
                    <a:pt x="37" y="35"/>
                  </a:lnTo>
                  <a:lnTo>
                    <a:pt x="39" y="35"/>
                  </a:lnTo>
                  <a:lnTo>
                    <a:pt x="40" y="35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5" y="34"/>
                  </a:lnTo>
                  <a:lnTo>
                    <a:pt x="45" y="32"/>
                  </a:lnTo>
                  <a:lnTo>
                    <a:pt x="46" y="31"/>
                  </a:lnTo>
                  <a:lnTo>
                    <a:pt x="47" y="30"/>
                  </a:lnTo>
                  <a:lnTo>
                    <a:pt x="48" y="28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50" y="25"/>
                  </a:lnTo>
                  <a:lnTo>
                    <a:pt x="50" y="24"/>
                  </a:lnTo>
                  <a:lnTo>
                    <a:pt x="51" y="24"/>
                  </a:lnTo>
                  <a:lnTo>
                    <a:pt x="52" y="24"/>
                  </a:lnTo>
                  <a:lnTo>
                    <a:pt x="55" y="23"/>
                  </a:lnTo>
                  <a:lnTo>
                    <a:pt x="57" y="22"/>
                  </a:lnTo>
                  <a:lnTo>
                    <a:pt x="58" y="22"/>
                  </a:lnTo>
                  <a:lnTo>
                    <a:pt x="59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1" y="22"/>
                  </a:lnTo>
                  <a:lnTo>
                    <a:pt x="63" y="23"/>
                  </a:lnTo>
                  <a:lnTo>
                    <a:pt x="64" y="23"/>
                  </a:lnTo>
                  <a:lnTo>
                    <a:pt x="65" y="24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8" y="26"/>
                  </a:lnTo>
                  <a:lnTo>
                    <a:pt x="69" y="28"/>
                  </a:lnTo>
                  <a:lnTo>
                    <a:pt x="69" y="28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3" y="30"/>
                  </a:lnTo>
                  <a:lnTo>
                    <a:pt x="74" y="31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7" y="33"/>
                  </a:lnTo>
                  <a:lnTo>
                    <a:pt x="78" y="33"/>
                  </a:lnTo>
                  <a:lnTo>
                    <a:pt x="79" y="34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80" y="37"/>
                  </a:lnTo>
                  <a:lnTo>
                    <a:pt x="80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2" y="39"/>
                  </a:lnTo>
                  <a:lnTo>
                    <a:pt x="83" y="39"/>
                  </a:lnTo>
                  <a:lnTo>
                    <a:pt x="85" y="39"/>
                  </a:lnTo>
                  <a:lnTo>
                    <a:pt x="86" y="39"/>
                  </a:lnTo>
                  <a:lnTo>
                    <a:pt x="87" y="39"/>
                  </a:lnTo>
                  <a:lnTo>
                    <a:pt x="88" y="39"/>
                  </a:lnTo>
                  <a:lnTo>
                    <a:pt x="90" y="39"/>
                  </a:lnTo>
                  <a:lnTo>
                    <a:pt x="90" y="38"/>
                  </a:lnTo>
                  <a:lnTo>
                    <a:pt x="91" y="38"/>
                  </a:lnTo>
                  <a:lnTo>
                    <a:pt x="91" y="38"/>
                  </a:lnTo>
                  <a:lnTo>
                    <a:pt x="94" y="36"/>
                  </a:lnTo>
                  <a:lnTo>
                    <a:pt x="95" y="35"/>
                  </a:lnTo>
                  <a:lnTo>
                    <a:pt x="96" y="35"/>
                  </a:lnTo>
                  <a:lnTo>
                    <a:pt x="97" y="34"/>
                  </a:lnTo>
                  <a:lnTo>
                    <a:pt x="98" y="34"/>
                  </a:lnTo>
                  <a:lnTo>
                    <a:pt x="99" y="34"/>
                  </a:lnTo>
                  <a:lnTo>
                    <a:pt x="100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3"/>
                  </a:lnTo>
                  <a:lnTo>
                    <a:pt x="103" y="33"/>
                  </a:lnTo>
                  <a:lnTo>
                    <a:pt x="103" y="32"/>
                  </a:lnTo>
                  <a:lnTo>
                    <a:pt x="103" y="30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5" y="28"/>
                  </a:lnTo>
                  <a:lnTo>
                    <a:pt x="106" y="28"/>
                  </a:lnTo>
                  <a:lnTo>
                    <a:pt x="108" y="30"/>
                  </a:lnTo>
                  <a:lnTo>
                    <a:pt x="109" y="30"/>
                  </a:lnTo>
                  <a:lnTo>
                    <a:pt x="110" y="31"/>
                  </a:lnTo>
                  <a:lnTo>
                    <a:pt x="112" y="31"/>
                  </a:lnTo>
                  <a:lnTo>
                    <a:pt x="113" y="32"/>
                  </a:lnTo>
                  <a:lnTo>
                    <a:pt x="114" y="32"/>
                  </a:lnTo>
                  <a:lnTo>
                    <a:pt x="117" y="35"/>
                  </a:lnTo>
                  <a:lnTo>
                    <a:pt x="118" y="35"/>
                  </a:lnTo>
                  <a:lnTo>
                    <a:pt x="119" y="36"/>
                  </a:lnTo>
                  <a:lnTo>
                    <a:pt x="120" y="36"/>
                  </a:lnTo>
                  <a:lnTo>
                    <a:pt x="120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2" y="36"/>
                  </a:lnTo>
                  <a:lnTo>
                    <a:pt x="123" y="35"/>
                  </a:lnTo>
                  <a:lnTo>
                    <a:pt x="124" y="34"/>
                  </a:lnTo>
                  <a:lnTo>
                    <a:pt x="125" y="34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7" y="33"/>
                  </a:lnTo>
                  <a:lnTo>
                    <a:pt x="128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2" y="34"/>
                  </a:lnTo>
                  <a:lnTo>
                    <a:pt x="133" y="34"/>
                  </a:lnTo>
                  <a:lnTo>
                    <a:pt x="133" y="34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7" y="36"/>
                  </a:lnTo>
                  <a:lnTo>
                    <a:pt x="138" y="36"/>
                  </a:lnTo>
                  <a:lnTo>
                    <a:pt x="140" y="36"/>
                  </a:lnTo>
                  <a:lnTo>
                    <a:pt x="144" y="37"/>
                  </a:lnTo>
                  <a:lnTo>
                    <a:pt x="145" y="37"/>
                  </a:lnTo>
                  <a:lnTo>
                    <a:pt x="147" y="37"/>
                  </a:lnTo>
                  <a:lnTo>
                    <a:pt x="148" y="37"/>
                  </a:lnTo>
                  <a:lnTo>
                    <a:pt x="149" y="37"/>
                  </a:lnTo>
                  <a:lnTo>
                    <a:pt x="151" y="36"/>
                  </a:lnTo>
                  <a:lnTo>
                    <a:pt x="152" y="36"/>
                  </a:lnTo>
                  <a:lnTo>
                    <a:pt x="154" y="36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7" y="35"/>
                  </a:lnTo>
                  <a:lnTo>
                    <a:pt x="157" y="36"/>
                  </a:lnTo>
                  <a:lnTo>
                    <a:pt x="157" y="36"/>
                  </a:lnTo>
                  <a:lnTo>
                    <a:pt x="157" y="37"/>
                  </a:lnTo>
                  <a:lnTo>
                    <a:pt x="156" y="40"/>
                  </a:lnTo>
                  <a:lnTo>
                    <a:pt x="156" y="40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7" y="42"/>
                  </a:lnTo>
                  <a:lnTo>
                    <a:pt x="157" y="42"/>
                  </a:lnTo>
                  <a:lnTo>
                    <a:pt x="158" y="42"/>
                  </a:lnTo>
                  <a:lnTo>
                    <a:pt x="158" y="43"/>
                  </a:lnTo>
                  <a:lnTo>
                    <a:pt x="159" y="43"/>
                  </a:lnTo>
                  <a:lnTo>
                    <a:pt x="159" y="43"/>
                  </a:lnTo>
                  <a:lnTo>
                    <a:pt x="161" y="43"/>
                  </a:lnTo>
                  <a:lnTo>
                    <a:pt x="163" y="44"/>
                  </a:lnTo>
                  <a:lnTo>
                    <a:pt x="164" y="44"/>
                  </a:lnTo>
                  <a:lnTo>
                    <a:pt x="166" y="44"/>
                  </a:lnTo>
                  <a:lnTo>
                    <a:pt x="167" y="45"/>
                  </a:lnTo>
                  <a:lnTo>
                    <a:pt x="169" y="45"/>
                  </a:lnTo>
                  <a:lnTo>
                    <a:pt x="170" y="46"/>
                  </a:lnTo>
                  <a:lnTo>
                    <a:pt x="171" y="46"/>
                  </a:lnTo>
                  <a:lnTo>
                    <a:pt x="173" y="48"/>
                  </a:lnTo>
                  <a:lnTo>
                    <a:pt x="173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6" y="48"/>
                  </a:lnTo>
                  <a:lnTo>
                    <a:pt x="176" y="47"/>
                  </a:lnTo>
                  <a:lnTo>
                    <a:pt x="177" y="47"/>
                  </a:lnTo>
                  <a:lnTo>
                    <a:pt x="178" y="45"/>
                  </a:lnTo>
                  <a:lnTo>
                    <a:pt x="179" y="44"/>
                  </a:lnTo>
                  <a:lnTo>
                    <a:pt x="180" y="43"/>
                  </a:lnTo>
                  <a:lnTo>
                    <a:pt x="181" y="41"/>
                  </a:lnTo>
                  <a:lnTo>
                    <a:pt x="182" y="40"/>
                  </a:lnTo>
                  <a:lnTo>
                    <a:pt x="185" y="38"/>
                  </a:lnTo>
                  <a:lnTo>
                    <a:pt x="187" y="36"/>
                  </a:lnTo>
                  <a:lnTo>
                    <a:pt x="189" y="35"/>
                  </a:lnTo>
                  <a:lnTo>
                    <a:pt x="190" y="34"/>
                  </a:lnTo>
                  <a:lnTo>
                    <a:pt x="191" y="34"/>
                  </a:lnTo>
                  <a:lnTo>
                    <a:pt x="192" y="34"/>
                  </a:lnTo>
                  <a:lnTo>
                    <a:pt x="195" y="33"/>
                  </a:lnTo>
                  <a:lnTo>
                    <a:pt x="196" y="32"/>
                  </a:lnTo>
                  <a:lnTo>
                    <a:pt x="197" y="32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1" y="29"/>
                  </a:lnTo>
                  <a:lnTo>
                    <a:pt x="201" y="28"/>
                  </a:lnTo>
                  <a:lnTo>
                    <a:pt x="201" y="28"/>
                  </a:lnTo>
                  <a:lnTo>
                    <a:pt x="201" y="27"/>
                  </a:lnTo>
                  <a:lnTo>
                    <a:pt x="200" y="25"/>
                  </a:lnTo>
                  <a:lnTo>
                    <a:pt x="200" y="23"/>
                  </a:lnTo>
                  <a:lnTo>
                    <a:pt x="199" y="21"/>
                  </a:lnTo>
                  <a:lnTo>
                    <a:pt x="199" y="20"/>
                  </a:lnTo>
                  <a:lnTo>
                    <a:pt x="199" y="20"/>
                  </a:lnTo>
                  <a:lnTo>
                    <a:pt x="199" y="18"/>
                  </a:lnTo>
                  <a:lnTo>
                    <a:pt x="199" y="17"/>
                  </a:lnTo>
                  <a:lnTo>
                    <a:pt x="200" y="15"/>
                  </a:lnTo>
                  <a:lnTo>
                    <a:pt x="200" y="14"/>
                  </a:lnTo>
                  <a:lnTo>
                    <a:pt x="200" y="13"/>
                  </a:lnTo>
                  <a:lnTo>
                    <a:pt x="200" y="11"/>
                  </a:lnTo>
                  <a:lnTo>
                    <a:pt x="200" y="11"/>
                  </a:lnTo>
                  <a:lnTo>
                    <a:pt x="200" y="10"/>
                  </a:lnTo>
                  <a:lnTo>
                    <a:pt x="201" y="10"/>
                  </a:lnTo>
                  <a:lnTo>
                    <a:pt x="201" y="9"/>
                  </a:lnTo>
                  <a:lnTo>
                    <a:pt x="202" y="9"/>
                  </a:lnTo>
                  <a:lnTo>
                    <a:pt x="203" y="8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4" y="5"/>
                  </a:lnTo>
                  <a:lnTo>
                    <a:pt x="205" y="5"/>
                  </a:lnTo>
                  <a:lnTo>
                    <a:pt x="205" y="4"/>
                  </a:lnTo>
                  <a:lnTo>
                    <a:pt x="206" y="3"/>
                  </a:lnTo>
                  <a:lnTo>
                    <a:pt x="208" y="2"/>
                  </a:lnTo>
                  <a:lnTo>
                    <a:pt x="210" y="1"/>
                  </a:lnTo>
                  <a:lnTo>
                    <a:pt x="210" y="1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2" y="0"/>
                  </a:lnTo>
                  <a:lnTo>
                    <a:pt x="213" y="1"/>
                  </a:lnTo>
                  <a:lnTo>
                    <a:pt x="214" y="1"/>
                  </a:lnTo>
                  <a:lnTo>
                    <a:pt x="216" y="3"/>
                  </a:lnTo>
                  <a:lnTo>
                    <a:pt x="217" y="3"/>
                  </a:lnTo>
                  <a:lnTo>
                    <a:pt x="218" y="4"/>
                  </a:lnTo>
                  <a:lnTo>
                    <a:pt x="222" y="6"/>
                  </a:lnTo>
                  <a:lnTo>
                    <a:pt x="223" y="7"/>
                  </a:lnTo>
                  <a:lnTo>
                    <a:pt x="224" y="7"/>
                  </a:lnTo>
                  <a:lnTo>
                    <a:pt x="225" y="8"/>
                  </a:lnTo>
                  <a:lnTo>
                    <a:pt x="226" y="9"/>
                  </a:lnTo>
                  <a:lnTo>
                    <a:pt x="229" y="11"/>
                  </a:lnTo>
                  <a:lnTo>
                    <a:pt x="231" y="13"/>
                  </a:lnTo>
                  <a:lnTo>
                    <a:pt x="232" y="13"/>
                  </a:lnTo>
                  <a:lnTo>
                    <a:pt x="233" y="14"/>
                  </a:lnTo>
                  <a:lnTo>
                    <a:pt x="234" y="15"/>
                  </a:lnTo>
                  <a:lnTo>
                    <a:pt x="234" y="15"/>
                  </a:lnTo>
                  <a:lnTo>
                    <a:pt x="235" y="15"/>
                  </a:lnTo>
                  <a:lnTo>
                    <a:pt x="235" y="15"/>
                  </a:lnTo>
                  <a:lnTo>
                    <a:pt x="236" y="15"/>
                  </a:lnTo>
                  <a:lnTo>
                    <a:pt x="236" y="15"/>
                  </a:lnTo>
                  <a:lnTo>
                    <a:pt x="237" y="15"/>
                  </a:lnTo>
                  <a:lnTo>
                    <a:pt x="238" y="14"/>
                  </a:lnTo>
                  <a:lnTo>
                    <a:pt x="239" y="14"/>
                  </a:lnTo>
                  <a:lnTo>
                    <a:pt x="240" y="13"/>
                  </a:lnTo>
                  <a:lnTo>
                    <a:pt x="241" y="13"/>
                  </a:lnTo>
                  <a:lnTo>
                    <a:pt x="241" y="13"/>
                  </a:lnTo>
                  <a:lnTo>
                    <a:pt x="242" y="13"/>
                  </a:lnTo>
                  <a:lnTo>
                    <a:pt x="242" y="13"/>
                  </a:lnTo>
                  <a:lnTo>
                    <a:pt x="243" y="13"/>
                  </a:lnTo>
                  <a:lnTo>
                    <a:pt x="243" y="13"/>
                  </a:lnTo>
                  <a:lnTo>
                    <a:pt x="243" y="14"/>
                  </a:lnTo>
                  <a:lnTo>
                    <a:pt x="243" y="14"/>
                  </a:lnTo>
                  <a:lnTo>
                    <a:pt x="244" y="15"/>
                  </a:lnTo>
                  <a:lnTo>
                    <a:pt x="244" y="17"/>
                  </a:lnTo>
                  <a:lnTo>
                    <a:pt x="245" y="18"/>
                  </a:lnTo>
                  <a:lnTo>
                    <a:pt x="246" y="20"/>
                  </a:lnTo>
                  <a:lnTo>
                    <a:pt x="247" y="23"/>
                  </a:lnTo>
                  <a:lnTo>
                    <a:pt x="248" y="25"/>
                  </a:lnTo>
                  <a:lnTo>
                    <a:pt x="249" y="27"/>
                  </a:lnTo>
                  <a:lnTo>
                    <a:pt x="250" y="28"/>
                  </a:lnTo>
                  <a:lnTo>
                    <a:pt x="251" y="28"/>
                  </a:lnTo>
                  <a:lnTo>
                    <a:pt x="251" y="29"/>
                  </a:lnTo>
                  <a:lnTo>
                    <a:pt x="252" y="30"/>
                  </a:lnTo>
                  <a:lnTo>
                    <a:pt x="253" y="30"/>
                  </a:lnTo>
                  <a:lnTo>
                    <a:pt x="253" y="30"/>
                  </a:lnTo>
                  <a:lnTo>
                    <a:pt x="255" y="31"/>
                  </a:lnTo>
                  <a:lnTo>
                    <a:pt x="255" y="31"/>
                  </a:lnTo>
                  <a:lnTo>
                    <a:pt x="256" y="31"/>
                  </a:lnTo>
                  <a:lnTo>
                    <a:pt x="257" y="31"/>
                  </a:lnTo>
                  <a:lnTo>
                    <a:pt x="257" y="31"/>
                  </a:lnTo>
                  <a:lnTo>
                    <a:pt x="258" y="31"/>
                  </a:lnTo>
                  <a:lnTo>
                    <a:pt x="259" y="31"/>
                  </a:lnTo>
                  <a:lnTo>
                    <a:pt x="259" y="31"/>
                  </a:lnTo>
                  <a:lnTo>
                    <a:pt x="260" y="31"/>
                  </a:lnTo>
                  <a:lnTo>
                    <a:pt x="261" y="30"/>
                  </a:lnTo>
                  <a:lnTo>
                    <a:pt x="261" y="30"/>
                  </a:lnTo>
                  <a:lnTo>
                    <a:pt x="261" y="30"/>
                  </a:lnTo>
                  <a:lnTo>
                    <a:pt x="261" y="31"/>
                  </a:lnTo>
                  <a:lnTo>
                    <a:pt x="262" y="35"/>
                  </a:lnTo>
                  <a:lnTo>
                    <a:pt x="262" y="36"/>
                  </a:lnTo>
                  <a:lnTo>
                    <a:pt x="262" y="37"/>
                  </a:lnTo>
                  <a:lnTo>
                    <a:pt x="262" y="38"/>
                  </a:lnTo>
                  <a:lnTo>
                    <a:pt x="262" y="39"/>
                  </a:lnTo>
                  <a:lnTo>
                    <a:pt x="262" y="39"/>
                  </a:lnTo>
                  <a:lnTo>
                    <a:pt x="262" y="40"/>
                  </a:lnTo>
                  <a:lnTo>
                    <a:pt x="261" y="40"/>
                  </a:lnTo>
                  <a:lnTo>
                    <a:pt x="261" y="41"/>
                  </a:lnTo>
                  <a:lnTo>
                    <a:pt x="260" y="41"/>
                  </a:lnTo>
                  <a:lnTo>
                    <a:pt x="260" y="42"/>
                  </a:lnTo>
                  <a:lnTo>
                    <a:pt x="259" y="42"/>
                  </a:lnTo>
                  <a:lnTo>
                    <a:pt x="258" y="43"/>
                  </a:lnTo>
                  <a:lnTo>
                    <a:pt x="257" y="43"/>
                  </a:lnTo>
                  <a:lnTo>
                    <a:pt x="256" y="43"/>
                  </a:lnTo>
                  <a:lnTo>
                    <a:pt x="256" y="44"/>
                  </a:lnTo>
                  <a:lnTo>
                    <a:pt x="255" y="44"/>
                  </a:lnTo>
                  <a:lnTo>
                    <a:pt x="255" y="44"/>
                  </a:lnTo>
                  <a:lnTo>
                    <a:pt x="255" y="45"/>
                  </a:lnTo>
                  <a:lnTo>
                    <a:pt x="255" y="45"/>
                  </a:lnTo>
                  <a:lnTo>
                    <a:pt x="255" y="46"/>
                  </a:lnTo>
                  <a:lnTo>
                    <a:pt x="255" y="46"/>
                  </a:lnTo>
                  <a:lnTo>
                    <a:pt x="255" y="47"/>
                  </a:lnTo>
                  <a:lnTo>
                    <a:pt x="255" y="47"/>
                  </a:lnTo>
                  <a:lnTo>
                    <a:pt x="255" y="48"/>
                  </a:lnTo>
                  <a:lnTo>
                    <a:pt x="257" y="51"/>
                  </a:lnTo>
                  <a:lnTo>
                    <a:pt x="258" y="52"/>
                  </a:lnTo>
                  <a:lnTo>
                    <a:pt x="258" y="53"/>
                  </a:lnTo>
                  <a:lnTo>
                    <a:pt x="258" y="54"/>
                  </a:lnTo>
                  <a:lnTo>
                    <a:pt x="259" y="55"/>
                  </a:lnTo>
                  <a:lnTo>
                    <a:pt x="259" y="56"/>
                  </a:lnTo>
                  <a:lnTo>
                    <a:pt x="259" y="57"/>
                  </a:lnTo>
                  <a:lnTo>
                    <a:pt x="259" y="59"/>
                  </a:lnTo>
                  <a:lnTo>
                    <a:pt x="259" y="60"/>
                  </a:lnTo>
                  <a:lnTo>
                    <a:pt x="259" y="61"/>
                  </a:lnTo>
                  <a:lnTo>
                    <a:pt x="259" y="64"/>
                  </a:lnTo>
                  <a:lnTo>
                    <a:pt x="259" y="65"/>
                  </a:lnTo>
                  <a:lnTo>
                    <a:pt x="259" y="66"/>
                  </a:lnTo>
                  <a:lnTo>
                    <a:pt x="259" y="68"/>
                  </a:lnTo>
                  <a:lnTo>
                    <a:pt x="259" y="69"/>
                  </a:lnTo>
                  <a:lnTo>
                    <a:pt x="259" y="71"/>
                  </a:lnTo>
                  <a:lnTo>
                    <a:pt x="258" y="72"/>
                  </a:lnTo>
                  <a:lnTo>
                    <a:pt x="258" y="73"/>
                  </a:lnTo>
                  <a:lnTo>
                    <a:pt x="258" y="75"/>
                  </a:lnTo>
                  <a:lnTo>
                    <a:pt x="257" y="77"/>
                  </a:lnTo>
                  <a:lnTo>
                    <a:pt x="256" y="80"/>
                  </a:lnTo>
                  <a:lnTo>
                    <a:pt x="255" y="83"/>
                  </a:lnTo>
                  <a:lnTo>
                    <a:pt x="254" y="85"/>
                  </a:lnTo>
                  <a:lnTo>
                    <a:pt x="253" y="86"/>
                  </a:lnTo>
                  <a:lnTo>
                    <a:pt x="253" y="87"/>
                  </a:lnTo>
                  <a:lnTo>
                    <a:pt x="253" y="88"/>
                  </a:lnTo>
                  <a:lnTo>
                    <a:pt x="253" y="88"/>
                  </a:lnTo>
                  <a:lnTo>
                    <a:pt x="254" y="89"/>
                  </a:lnTo>
                  <a:lnTo>
                    <a:pt x="254" y="89"/>
                  </a:lnTo>
                  <a:lnTo>
                    <a:pt x="254" y="90"/>
                  </a:lnTo>
                  <a:lnTo>
                    <a:pt x="254" y="90"/>
                  </a:lnTo>
                  <a:lnTo>
                    <a:pt x="253" y="94"/>
                  </a:lnTo>
                  <a:lnTo>
                    <a:pt x="252" y="97"/>
                  </a:lnTo>
                  <a:lnTo>
                    <a:pt x="252" y="98"/>
                  </a:lnTo>
                  <a:lnTo>
                    <a:pt x="251" y="100"/>
                  </a:lnTo>
                  <a:lnTo>
                    <a:pt x="250" y="102"/>
                  </a:lnTo>
                  <a:lnTo>
                    <a:pt x="250" y="103"/>
                  </a:lnTo>
                  <a:lnTo>
                    <a:pt x="250" y="105"/>
                  </a:lnTo>
                  <a:lnTo>
                    <a:pt x="250" y="106"/>
                  </a:lnTo>
                  <a:lnTo>
                    <a:pt x="250" y="106"/>
                  </a:lnTo>
                  <a:lnTo>
                    <a:pt x="250" y="107"/>
                  </a:lnTo>
                  <a:lnTo>
                    <a:pt x="250" y="108"/>
                  </a:lnTo>
                  <a:lnTo>
                    <a:pt x="250" y="109"/>
                  </a:lnTo>
                  <a:lnTo>
                    <a:pt x="250" y="110"/>
                  </a:lnTo>
                  <a:lnTo>
                    <a:pt x="251" y="111"/>
                  </a:lnTo>
                  <a:lnTo>
                    <a:pt x="252" y="112"/>
                  </a:lnTo>
                  <a:lnTo>
                    <a:pt x="253" y="113"/>
                  </a:lnTo>
                  <a:lnTo>
                    <a:pt x="254" y="113"/>
                  </a:lnTo>
                  <a:lnTo>
                    <a:pt x="256" y="115"/>
                  </a:lnTo>
                  <a:lnTo>
                    <a:pt x="257" y="116"/>
                  </a:lnTo>
                  <a:lnTo>
                    <a:pt x="257" y="117"/>
                  </a:lnTo>
                  <a:lnTo>
                    <a:pt x="258" y="117"/>
                  </a:lnTo>
                  <a:lnTo>
                    <a:pt x="258" y="118"/>
                  </a:lnTo>
                  <a:lnTo>
                    <a:pt x="259" y="119"/>
                  </a:lnTo>
                  <a:lnTo>
                    <a:pt x="259" y="120"/>
                  </a:lnTo>
                  <a:lnTo>
                    <a:pt x="259" y="120"/>
                  </a:lnTo>
                  <a:lnTo>
                    <a:pt x="259" y="121"/>
                  </a:lnTo>
                  <a:lnTo>
                    <a:pt x="259" y="121"/>
                  </a:lnTo>
                  <a:lnTo>
                    <a:pt x="259" y="122"/>
                  </a:lnTo>
                  <a:lnTo>
                    <a:pt x="259" y="122"/>
                  </a:lnTo>
                  <a:lnTo>
                    <a:pt x="258" y="124"/>
                  </a:lnTo>
                  <a:lnTo>
                    <a:pt x="257" y="125"/>
                  </a:lnTo>
                  <a:lnTo>
                    <a:pt x="256" y="126"/>
                  </a:lnTo>
                  <a:lnTo>
                    <a:pt x="255" y="127"/>
                  </a:lnTo>
                  <a:lnTo>
                    <a:pt x="255" y="128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5" y="130"/>
                  </a:lnTo>
                  <a:lnTo>
                    <a:pt x="255" y="131"/>
                  </a:lnTo>
                  <a:lnTo>
                    <a:pt x="255" y="131"/>
                  </a:lnTo>
                  <a:lnTo>
                    <a:pt x="255" y="132"/>
                  </a:lnTo>
                  <a:lnTo>
                    <a:pt x="255" y="133"/>
                  </a:lnTo>
                  <a:lnTo>
                    <a:pt x="256" y="134"/>
                  </a:lnTo>
                  <a:lnTo>
                    <a:pt x="258" y="137"/>
                  </a:lnTo>
                  <a:lnTo>
                    <a:pt x="260" y="140"/>
                  </a:lnTo>
                  <a:lnTo>
                    <a:pt x="261" y="140"/>
                  </a:lnTo>
                  <a:lnTo>
                    <a:pt x="261" y="141"/>
                  </a:lnTo>
                  <a:lnTo>
                    <a:pt x="265" y="144"/>
                  </a:lnTo>
                  <a:lnTo>
                    <a:pt x="265" y="145"/>
                  </a:lnTo>
                  <a:lnTo>
                    <a:pt x="267" y="147"/>
                  </a:lnTo>
                  <a:lnTo>
                    <a:pt x="268" y="149"/>
                  </a:lnTo>
                  <a:lnTo>
                    <a:pt x="271" y="151"/>
                  </a:lnTo>
                  <a:lnTo>
                    <a:pt x="273" y="153"/>
                  </a:lnTo>
                  <a:lnTo>
                    <a:pt x="274" y="154"/>
                  </a:lnTo>
                  <a:lnTo>
                    <a:pt x="275" y="154"/>
                  </a:lnTo>
                  <a:lnTo>
                    <a:pt x="275" y="154"/>
                  </a:lnTo>
                  <a:lnTo>
                    <a:pt x="276" y="154"/>
                  </a:lnTo>
                  <a:lnTo>
                    <a:pt x="277" y="155"/>
                  </a:lnTo>
                  <a:lnTo>
                    <a:pt x="278" y="155"/>
                  </a:lnTo>
                  <a:lnTo>
                    <a:pt x="279" y="154"/>
                  </a:lnTo>
                  <a:lnTo>
                    <a:pt x="280" y="154"/>
                  </a:lnTo>
                  <a:lnTo>
                    <a:pt x="281" y="154"/>
                  </a:lnTo>
                  <a:lnTo>
                    <a:pt x="285" y="152"/>
                  </a:lnTo>
                  <a:lnTo>
                    <a:pt x="286" y="151"/>
                  </a:lnTo>
                  <a:lnTo>
                    <a:pt x="287" y="151"/>
                  </a:lnTo>
                  <a:lnTo>
                    <a:pt x="288" y="150"/>
                  </a:lnTo>
                  <a:lnTo>
                    <a:pt x="289" y="150"/>
                  </a:lnTo>
                  <a:lnTo>
                    <a:pt x="290" y="150"/>
                  </a:lnTo>
                  <a:lnTo>
                    <a:pt x="291" y="150"/>
                  </a:lnTo>
                  <a:lnTo>
                    <a:pt x="291" y="150"/>
                  </a:lnTo>
                  <a:lnTo>
                    <a:pt x="292" y="151"/>
                  </a:lnTo>
                  <a:lnTo>
                    <a:pt x="293" y="151"/>
                  </a:lnTo>
                  <a:lnTo>
                    <a:pt x="294" y="151"/>
                  </a:lnTo>
                  <a:lnTo>
                    <a:pt x="294" y="152"/>
                  </a:lnTo>
                  <a:lnTo>
                    <a:pt x="296" y="154"/>
                  </a:lnTo>
                  <a:lnTo>
                    <a:pt x="298" y="155"/>
                  </a:lnTo>
                  <a:lnTo>
                    <a:pt x="299" y="156"/>
                  </a:lnTo>
                  <a:lnTo>
                    <a:pt x="301" y="156"/>
                  </a:lnTo>
                  <a:lnTo>
                    <a:pt x="301" y="157"/>
                  </a:lnTo>
                  <a:lnTo>
                    <a:pt x="302" y="157"/>
                  </a:lnTo>
                  <a:lnTo>
                    <a:pt x="306" y="159"/>
                  </a:lnTo>
                  <a:lnTo>
                    <a:pt x="307" y="159"/>
                  </a:lnTo>
                  <a:lnTo>
                    <a:pt x="309" y="160"/>
                  </a:lnTo>
                  <a:lnTo>
                    <a:pt x="310" y="160"/>
                  </a:lnTo>
                  <a:lnTo>
                    <a:pt x="310" y="160"/>
                  </a:lnTo>
                  <a:lnTo>
                    <a:pt x="311" y="161"/>
                  </a:lnTo>
                  <a:lnTo>
                    <a:pt x="311" y="161"/>
                  </a:lnTo>
                  <a:lnTo>
                    <a:pt x="311" y="162"/>
                  </a:lnTo>
                  <a:lnTo>
                    <a:pt x="311" y="162"/>
                  </a:lnTo>
                  <a:lnTo>
                    <a:pt x="311" y="163"/>
                  </a:lnTo>
                  <a:lnTo>
                    <a:pt x="311" y="163"/>
                  </a:lnTo>
                  <a:lnTo>
                    <a:pt x="311" y="164"/>
                  </a:lnTo>
                  <a:lnTo>
                    <a:pt x="311" y="165"/>
                  </a:lnTo>
                  <a:lnTo>
                    <a:pt x="311" y="166"/>
                  </a:lnTo>
                  <a:lnTo>
                    <a:pt x="311" y="166"/>
                  </a:lnTo>
                  <a:lnTo>
                    <a:pt x="311" y="167"/>
                  </a:lnTo>
                  <a:lnTo>
                    <a:pt x="310" y="167"/>
                  </a:lnTo>
                  <a:lnTo>
                    <a:pt x="310" y="167"/>
                  </a:lnTo>
                  <a:lnTo>
                    <a:pt x="309" y="168"/>
                  </a:lnTo>
                  <a:lnTo>
                    <a:pt x="308" y="168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70"/>
                  </a:lnTo>
                  <a:lnTo>
                    <a:pt x="309" y="170"/>
                  </a:lnTo>
                  <a:lnTo>
                    <a:pt x="310" y="170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2" y="171"/>
                  </a:lnTo>
                  <a:lnTo>
                    <a:pt x="315" y="171"/>
                  </a:lnTo>
                  <a:lnTo>
                    <a:pt x="316" y="171"/>
                  </a:lnTo>
                  <a:lnTo>
                    <a:pt x="316" y="172"/>
                  </a:lnTo>
                  <a:lnTo>
                    <a:pt x="317" y="172"/>
                  </a:lnTo>
                  <a:lnTo>
                    <a:pt x="318" y="172"/>
                  </a:lnTo>
                  <a:lnTo>
                    <a:pt x="318" y="172"/>
                  </a:lnTo>
                  <a:lnTo>
                    <a:pt x="319" y="173"/>
                  </a:lnTo>
                  <a:lnTo>
                    <a:pt x="320" y="173"/>
                  </a:lnTo>
                  <a:lnTo>
                    <a:pt x="321" y="175"/>
                  </a:lnTo>
                  <a:lnTo>
                    <a:pt x="322" y="176"/>
                  </a:lnTo>
                  <a:lnTo>
                    <a:pt x="324" y="178"/>
                  </a:lnTo>
                  <a:lnTo>
                    <a:pt x="325" y="179"/>
                  </a:lnTo>
                  <a:lnTo>
                    <a:pt x="325" y="180"/>
                  </a:lnTo>
                  <a:lnTo>
                    <a:pt x="325" y="180"/>
                  </a:lnTo>
                  <a:lnTo>
                    <a:pt x="326" y="180"/>
                  </a:lnTo>
                  <a:lnTo>
                    <a:pt x="327" y="181"/>
                  </a:lnTo>
                  <a:lnTo>
                    <a:pt x="328" y="181"/>
                  </a:lnTo>
                  <a:lnTo>
                    <a:pt x="329" y="181"/>
                  </a:lnTo>
                  <a:lnTo>
                    <a:pt x="330" y="182"/>
                  </a:lnTo>
                  <a:lnTo>
                    <a:pt x="331" y="182"/>
                  </a:lnTo>
                  <a:lnTo>
                    <a:pt x="332" y="181"/>
                  </a:lnTo>
                  <a:lnTo>
                    <a:pt x="333" y="181"/>
                  </a:lnTo>
                  <a:lnTo>
                    <a:pt x="334" y="181"/>
                  </a:lnTo>
                  <a:lnTo>
                    <a:pt x="335" y="180"/>
                  </a:lnTo>
                  <a:lnTo>
                    <a:pt x="338" y="179"/>
                  </a:lnTo>
                  <a:lnTo>
                    <a:pt x="339" y="179"/>
                  </a:lnTo>
                  <a:lnTo>
                    <a:pt x="340" y="178"/>
                  </a:lnTo>
                  <a:lnTo>
                    <a:pt x="340" y="178"/>
                  </a:lnTo>
                  <a:lnTo>
                    <a:pt x="341" y="178"/>
                  </a:lnTo>
                  <a:lnTo>
                    <a:pt x="341" y="178"/>
                  </a:lnTo>
                  <a:lnTo>
                    <a:pt x="342" y="178"/>
                  </a:lnTo>
                  <a:lnTo>
                    <a:pt x="343" y="178"/>
                  </a:lnTo>
                  <a:lnTo>
                    <a:pt x="348" y="180"/>
                  </a:lnTo>
                  <a:lnTo>
                    <a:pt x="351" y="181"/>
                  </a:lnTo>
                  <a:lnTo>
                    <a:pt x="354" y="182"/>
                  </a:lnTo>
                  <a:lnTo>
                    <a:pt x="355" y="182"/>
                  </a:lnTo>
                  <a:lnTo>
                    <a:pt x="356" y="183"/>
                  </a:lnTo>
                  <a:lnTo>
                    <a:pt x="357" y="184"/>
                  </a:lnTo>
                  <a:lnTo>
                    <a:pt x="357" y="184"/>
                  </a:lnTo>
                  <a:lnTo>
                    <a:pt x="359" y="185"/>
                  </a:lnTo>
                  <a:lnTo>
                    <a:pt x="359" y="186"/>
                  </a:lnTo>
                  <a:lnTo>
                    <a:pt x="359" y="186"/>
                  </a:lnTo>
                  <a:lnTo>
                    <a:pt x="360" y="186"/>
                  </a:lnTo>
                  <a:lnTo>
                    <a:pt x="361" y="186"/>
                  </a:lnTo>
                  <a:lnTo>
                    <a:pt x="361" y="186"/>
                  </a:lnTo>
                  <a:lnTo>
                    <a:pt x="365" y="186"/>
                  </a:lnTo>
                  <a:lnTo>
                    <a:pt x="366" y="185"/>
                  </a:lnTo>
                  <a:lnTo>
                    <a:pt x="369" y="185"/>
                  </a:lnTo>
                  <a:lnTo>
                    <a:pt x="370" y="185"/>
                  </a:lnTo>
                  <a:lnTo>
                    <a:pt x="371" y="185"/>
                  </a:lnTo>
                  <a:lnTo>
                    <a:pt x="374" y="184"/>
                  </a:lnTo>
                  <a:lnTo>
                    <a:pt x="377" y="184"/>
                  </a:lnTo>
                  <a:lnTo>
                    <a:pt x="378" y="184"/>
                  </a:lnTo>
                  <a:lnTo>
                    <a:pt x="379" y="184"/>
                  </a:lnTo>
                  <a:lnTo>
                    <a:pt x="380" y="184"/>
                  </a:lnTo>
                  <a:lnTo>
                    <a:pt x="381" y="184"/>
                  </a:lnTo>
                  <a:lnTo>
                    <a:pt x="382" y="184"/>
                  </a:lnTo>
                  <a:lnTo>
                    <a:pt x="382" y="185"/>
                  </a:lnTo>
                  <a:lnTo>
                    <a:pt x="383" y="185"/>
                  </a:lnTo>
                  <a:lnTo>
                    <a:pt x="383" y="185"/>
                  </a:lnTo>
                  <a:lnTo>
                    <a:pt x="384" y="186"/>
                  </a:lnTo>
                  <a:lnTo>
                    <a:pt x="384" y="186"/>
                  </a:lnTo>
                  <a:lnTo>
                    <a:pt x="385" y="187"/>
                  </a:lnTo>
                  <a:lnTo>
                    <a:pt x="385" y="188"/>
                  </a:lnTo>
                  <a:lnTo>
                    <a:pt x="386" y="189"/>
                  </a:lnTo>
                  <a:lnTo>
                    <a:pt x="386" y="190"/>
                  </a:lnTo>
                  <a:lnTo>
                    <a:pt x="386" y="192"/>
                  </a:lnTo>
                  <a:lnTo>
                    <a:pt x="386" y="193"/>
                  </a:lnTo>
                  <a:lnTo>
                    <a:pt x="387" y="194"/>
                  </a:lnTo>
                  <a:lnTo>
                    <a:pt x="387" y="195"/>
                  </a:lnTo>
                  <a:lnTo>
                    <a:pt x="387" y="196"/>
                  </a:lnTo>
                  <a:lnTo>
                    <a:pt x="386" y="198"/>
                  </a:lnTo>
                  <a:lnTo>
                    <a:pt x="386" y="201"/>
                  </a:lnTo>
                  <a:lnTo>
                    <a:pt x="386" y="202"/>
                  </a:lnTo>
                  <a:lnTo>
                    <a:pt x="386" y="204"/>
                  </a:lnTo>
                  <a:lnTo>
                    <a:pt x="386" y="205"/>
                  </a:lnTo>
                  <a:lnTo>
                    <a:pt x="386" y="206"/>
                  </a:lnTo>
                  <a:lnTo>
                    <a:pt x="386" y="208"/>
                  </a:lnTo>
                  <a:lnTo>
                    <a:pt x="387" y="209"/>
                  </a:lnTo>
                  <a:lnTo>
                    <a:pt x="388" y="210"/>
                  </a:lnTo>
                  <a:lnTo>
                    <a:pt x="388" y="211"/>
                  </a:lnTo>
                  <a:lnTo>
                    <a:pt x="389" y="212"/>
                  </a:lnTo>
                  <a:lnTo>
                    <a:pt x="389" y="212"/>
                  </a:lnTo>
                  <a:lnTo>
                    <a:pt x="391" y="214"/>
                  </a:lnTo>
                  <a:lnTo>
                    <a:pt x="392" y="215"/>
                  </a:lnTo>
                  <a:lnTo>
                    <a:pt x="395" y="217"/>
                  </a:lnTo>
                  <a:lnTo>
                    <a:pt x="398" y="219"/>
                  </a:lnTo>
                  <a:lnTo>
                    <a:pt x="398" y="220"/>
                  </a:lnTo>
                  <a:lnTo>
                    <a:pt x="400" y="221"/>
                  </a:lnTo>
                  <a:lnTo>
                    <a:pt x="402" y="222"/>
                  </a:lnTo>
                  <a:lnTo>
                    <a:pt x="406" y="225"/>
                  </a:lnTo>
                  <a:lnTo>
                    <a:pt x="409" y="226"/>
                  </a:lnTo>
                  <a:lnTo>
                    <a:pt x="409" y="227"/>
                  </a:lnTo>
                  <a:lnTo>
                    <a:pt x="410" y="227"/>
                  </a:lnTo>
                  <a:lnTo>
                    <a:pt x="410" y="227"/>
                  </a:lnTo>
                  <a:lnTo>
                    <a:pt x="411" y="227"/>
                  </a:lnTo>
                  <a:lnTo>
                    <a:pt x="411" y="227"/>
                  </a:lnTo>
                  <a:lnTo>
                    <a:pt x="411" y="226"/>
                  </a:lnTo>
                  <a:lnTo>
                    <a:pt x="413" y="226"/>
                  </a:lnTo>
                  <a:lnTo>
                    <a:pt x="414" y="226"/>
                  </a:lnTo>
                  <a:lnTo>
                    <a:pt x="415" y="225"/>
                  </a:lnTo>
                  <a:lnTo>
                    <a:pt x="416" y="225"/>
                  </a:lnTo>
                  <a:lnTo>
                    <a:pt x="416" y="225"/>
                  </a:lnTo>
                  <a:lnTo>
                    <a:pt x="417" y="226"/>
                  </a:lnTo>
                  <a:lnTo>
                    <a:pt x="418" y="226"/>
                  </a:lnTo>
                  <a:lnTo>
                    <a:pt x="421" y="227"/>
                  </a:lnTo>
                  <a:lnTo>
                    <a:pt x="422" y="227"/>
                  </a:lnTo>
                  <a:lnTo>
                    <a:pt x="423" y="227"/>
                  </a:lnTo>
                  <a:lnTo>
                    <a:pt x="425" y="227"/>
                  </a:lnTo>
                  <a:lnTo>
                    <a:pt x="427" y="227"/>
                  </a:lnTo>
                  <a:lnTo>
                    <a:pt x="429" y="227"/>
                  </a:lnTo>
                  <a:lnTo>
                    <a:pt x="431" y="227"/>
                  </a:lnTo>
                  <a:lnTo>
                    <a:pt x="432" y="227"/>
                  </a:lnTo>
                  <a:lnTo>
                    <a:pt x="433" y="227"/>
                  </a:lnTo>
                  <a:lnTo>
                    <a:pt x="434" y="226"/>
                  </a:lnTo>
                  <a:lnTo>
                    <a:pt x="437" y="225"/>
                  </a:lnTo>
                  <a:lnTo>
                    <a:pt x="438" y="225"/>
                  </a:lnTo>
                  <a:lnTo>
                    <a:pt x="440" y="225"/>
                  </a:lnTo>
                  <a:lnTo>
                    <a:pt x="442" y="224"/>
                  </a:lnTo>
                  <a:lnTo>
                    <a:pt x="443" y="224"/>
                  </a:lnTo>
                  <a:lnTo>
                    <a:pt x="443" y="224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6" y="223"/>
                  </a:lnTo>
                  <a:lnTo>
                    <a:pt x="446" y="223"/>
                  </a:lnTo>
                  <a:lnTo>
                    <a:pt x="447" y="223"/>
                  </a:lnTo>
                  <a:lnTo>
                    <a:pt x="447" y="223"/>
                  </a:lnTo>
                  <a:lnTo>
                    <a:pt x="448" y="223"/>
                  </a:lnTo>
                  <a:lnTo>
                    <a:pt x="448" y="223"/>
                  </a:lnTo>
                  <a:lnTo>
                    <a:pt x="449" y="224"/>
                  </a:lnTo>
                  <a:lnTo>
                    <a:pt x="450" y="224"/>
                  </a:lnTo>
                  <a:lnTo>
                    <a:pt x="451" y="225"/>
                  </a:lnTo>
                  <a:lnTo>
                    <a:pt x="451" y="225"/>
                  </a:lnTo>
                  <a:lnTo>
                    <a:pt x="452" y="225"/>
                  </a:lnTo>
                  <a:lnTo>
                    <a:pt x="452" y="226"/>
                  </a:lnTo>
                  <a:lnTo>
                    <a:pt x="452" y="227"/>
                  </a:lnTo>
                  <a:lnTo>
                    <a:pt x="452" y="227"/>
                  </a:lnTo>
                  <a:lnTo>
                    <a:pt x="453" y="228"/>
                  </a:lnTo>
                  <a:lnTo>
                    <a:pt x="452" y="228"/>
                  </a:lnTo>
                  <a:lnTo>
                    <a:pt x="452" y="229"/>
                  </a:lnTo>
                  <a:lnTo>
                    <a:pt x="452" y="230"/>
                  </a:lnTo>
                  <a:lnTo>
                    <a:pt x="452" y="230"/>
                  </a:lnTo>
                  <a:lnTo>
                    <a:pt x="452" y="231"/>
                  </a:lnTo>
                  <a:lnTo>
                    <a:pt x="452" y="231"/>
                  </a:lnTo>
                  <a:lnTo>
                    <a:pt x="453" y="232"/>
                  </a:lnTo>
                  <a:lnTo>
                    <a:pt x="453" y="232"/>
                  </a:lnTo>
                  <a:lnTo>
                    <a:pt x="454" y="233"/>
                  </a:lnTo>
                  <a:lnTo>
                    <a:pt x="454" y="234"/>
                  </a:lnTo>
                  <a:lnTo>
                    <a:pt x="456" y="234"/>
                  </a:lnTo>
                  <a:lnTo>
                    <a:pt x="457" y="236"/>
                  </a:lnTo>
                  <a:lnTo>
                    <a:pt x="458" y="236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61" y="240"/>
                  </a:lnTo>
                  <a:lnTo>
                    <a:pt x="462" y="241"/>
                  </a:lnTo>
                  <a:lnTo>
                    <a:pt x="462" y="242"/>
                  </a:lnTo>
                  <a:lnTo>
                    <a:pt x="462" y="243"/>
                  </a:lnTo>
                  <a:lnTo>
                    <a:pt x="462" y="243"/>
                  </a:lnTo>
                  <a:lnTo>
                    <a:pt x="462" y="244"/>
                  </a:lnTo>
                  <a:lnTo>
                    <a:pt x="462" y="245"/>
                  </a:lnTo>
                  <a:lnTo>
                    <a:pt x="462" y="246"/>
                  </a:lnTo>
                  <a:lnTo>
                    <a:pt x="461" y="247"/>
                  </a:lnTo>
                  <a:lnTo>
                    <a:pt x="461" y="247"/>
                  </a:lnTo>
                  <a:lnTo>
                    <a:pt x="461" y="248"/>
                  </a:lnTo>
                  <a:lnTo>
                    <a:pt x="460" y="248"/>
                  </a:lnTo>
                  <a:lnTo>
                    <a:pt x="460" y="248"/>
                  </a:lnTo>
                  <a:lnTo>
                    <a:pt x="459" y="249"/>
                  </a:lnTo>
                  <a:lnTo>
                    <a:pt x="458" y="249"/>
                  </a:lnTo>
                  <a:lnTo>
                    <a:pt x="456" y="250"/>
                  </a:lnTo>
                  <a:lnTo>
                    <a:pt x="453" y="250"/>
                  </a:lnTo>
                  <a:lnTo>
                    <a:pt x="452" y="250"/>
                  </a:lnTo>
                  <a:lnTo>
                    <a:pt x="452" y="251"/>
                  </a:lnTo>
                  <a:lnTo>
                    <a:pt x="452" y="251"/>
                  </a:lnTo>
                  <a:lnTo>
                    <a:pt x="451" y="251"/>
                  </a:lnTo>
                  <a:lnTo>
                    <a:pt x="451" y="252"/>
                  </a:lnTo>
                  <a:lnTo>
                    <a:pt x="450" y="253"/>
                  </a:lnTo>
                  <a:lnTo>
                    <a:pt x="449" y="254"/>
                  </a:lnTo>
                  <a:lnTo>
                    <a:pt x="448" y="256"/>
                  </a:lnTo>
                  <a:lnTo>
                    <a:pt x="448" y="257"/>
                  </a:lnTo>
                  <a:lnTo>
                    <a:pt x="447" y="258"/>
                  </a:lnTo>
                  <a:lnTo>
                    <a:pt x="447" y="259"/>
                  </a:lnTo>
                  <a:lnTo>
                    <a:pt x="447" y="261"/>
                  </a:lnTo>
                  <a:lnTo>
                    <a:pt x="446" y="262"/>
                  </a:lnTo>
                  <a:lnTo>
                    <a:pt x="446" y="262"/>
                  </a:lnTo>
                  <a:lnTo>
                    <a:pt x="446" y="263"/>
                  </a:lnTo>
                  <a:lnTo>
                    <a:pt x="446" y="264"/>
                  </a:lnTo>
                  <a:lnTo>
                    <a:pt x="444" y="266"/>
                  </a:lnTo>
                  <a:lnTo>
                    <a:pt x="443" y="267"/>
                  </a:lnTo>
                  <a:lnTo>
                    <a:pt x="443" y="268"/>
                  </a:lnTo>
                  <a:lnTo>
                    <a:pt x="442" y="270"/>
                  </a:lnTo>
                  <a:lnTo>
                    <a:pt x="442" y="271"/>
                  </a:lnTo>
                  <a:lnTo>
                    <a:pt x="441" y="272"/>
                  </a:lnTo>
                  <a:lnTo>
                    <a:pt x="441" y="273"/>
                  </a:lnTo>
                  <a:lnTo>
                    <a:pt x="440" y="273"/>
                  </a:lnTo>
                  <a:lnTo>
                    <a:pt x="438" y="276"/>
                  </a:lnTo>
                  <a:lnTo>
                    <a:pt x="437" y="277"/>
                  </a:lnTo>
                  <a:lnTo>
                    <a:pt x="436" y="278"/>
                  </a:lnTo>
                  <a:lnTo>
                    <a:pt x="435" y="279"/>
                  </a:lnTo>
                  <a:lnTo>
                    <a:pt x="434" y="281"/>
                  </a:lnTo>
                  <a:lnTo>
                    <a:pt x="433" y="282"/>
                  </a:lnTo>
                  <a:lnTo>
                    <a:pt x="432" y="283"/>
                  </a:lnTo>
                  <a:lnTo>
                    <a:pt x="432" y="283"/>
                  </a:lnTo>
                  <a:lnTo>
                    <a:pt x="432" y="284"/>
                  </a:lnTo>
                  <a:lnTo>
                    <a:pt x="432" y="284"/>
                  </a:lnTo>
                  <a:lnTo>
                    <a:pt x="432" y="285"/>
                  </a:lnTo>
                  <a:lnTo>
                    <a:pt x="432" y="285"/>
                  </a:lnTo>
                  <a:lnTo>
                    <a:pt x="432" y="286"/>
                  </a:lnTo>
                  <a:lnTo>
                    <a:pt x="433" y="286"/>
                  </a:lnTo>
                  <a:lnTo>
                    <a:pt x="433" y="286"/>
                  </a:lnTo>
                  <a:lnTo>
                    <a:pt x="433" y="286"/>
                  </a:lnTo>
                  <a:lnTo>
                    <a:pt x="434" y="286"/>
                  </a:lnTo>
                  <a:lnTo>
                    <a:pt x="436" y="287"/>
                  </a:lnTo>
                  <a:lnTo>
                    <a:pt x="437" y="287"/>
                  </a:lnTo>
                  <a:lnTo>
                    <a:pt x="437" y="287"/>
                  </a:lnTo>
                  <a:lnTo>
                    <a:pt x="438" y="287"/>
                  </a:lnTo>
                  <a:lnTo>
                    <a:pt x="439" y="287"/>
                  </a:lnTo>
                  <a:lnTo>
                    <a:pt x="439" y="287"/>
                  </a:lnTo>
                  <a:lnTo>
                    <a:pt x="440" y="288"/>
                  </a:lnTo>
                  <a:lnTo>
                    <a:pt x="440" y="289"/>
                  </a:lnTo>
                  <a:lnTo>
                    <a:pt x="441" y="289"/>
                  </a:lnTo>
                  <a:lnTo>
                    <a:pt x="442" y="292"/>
                  </a:lnTo>
                  <a:lnTo>
                    <a:pt x="442" y="292"/>
                  </a:lnTo>
                  <a:lnTo>
                    <a:pt x="443" y="293"/>
                  </a:lnTo>
                  <a:lnTo>
                    <a:pt x="444" y="294"/>
                  </a:lnTo>
                  <a:lnTo>
                    <a:pt x="445" y="295"/>
                  </a:lnTo>
                  <a:lnTo>
                    <a:pt x="446" y="295"/>
                  </a:lnTo>
                  <a:lnTo>
                    <a:pt x="447" y="296"/>
                  </a:lnTo>
                  <a:lnTo>
                    <a:pt x="449" y="297"/>
                  </a:lnTo>
                  <a:lnTo>
                    <a:pt x="451" y="297"/>
                  </a:lnTo>
                  <a:lnTo>
                    <a:pt x="452" y="298"/>
                  </a:lnTo>
                  <a:lnTo>
                    <a:pt x="453" y="299"/>
                  </a:lnTo>
                  <a:lnTo>
                    <a:pt x="455" y="300"/>
                  </a:lnTo>
                  <a:lnTo>
                    <a:pt x="456" y="301"/>
                  </a:lnTo>
                  <a:lnTo>
                    <a:pt x="456" y="301"/>
                  </a:lnTo>
                  <a:lnTo>
                    <a:pt x="457" y="302"/>
                  </a:lnTo>
                  <a:lnTo>
                    <a:pt x="457" y="303"/>
                  </a:lnTo>
                  <a:lnTo>
                    <a:pt x="458" y="303"/>
                  </a:lnTo>
                  <a:lnTo>
                    <a:pt x="458" y="304"/>
                  </a:lnTo>
                  <a:lnTo>
                    <a:pt x="459" y="306"/>
                  </a:lnTo>
                  <a:lnTo>
                    <a:pt x="460" y="307"/>
                  </a:lnTo>
                  <a:lnTo>
                    <a:pt x="460" y="308"/>
                  </a:lnTo>
                  <a:lnTo>
                    <a:pt x="460" y="308"/>
                  </a:lnTo>
                  <a:lnTo>
                    <a:pt x="460" y="309"/>
                  </a:lnTo>
                  <a:lnTo>
                    <a:pt x="458" y="310"/>
                  </a:lnTo>
                  <a:lnTo>
                    <a:pt x="458" y="311"/>
                  </a:lnTo>
                  <a:lnTo>
                    <a:pt x="458" y="311"/>
                  </a:lnTo>
                  <a:lnTo>
                    <a:pt x="457" y="311"/>
                  </a:lnTo>
                  <a:lnTo>
                    <a:pt x="457" y="311"/>
                  </a:lnTo>
                  <a:lnTo>
                    <a:pt x="456" y="311"/>
                  </a:lnTo>
                  <a:lnTo>
                    <a:pt x="455" y="311"/>
                  </a:lnTo>
                  <a:lnTo>
                    <a:pt x="455" y="312"/>
                  </a:lnTo>
                  <a:lnTo>
                    <a:pt x="455" y="312"/>
                  </a:lnTo>
                  <a:lnTo>
                    <a:pt x="455" y="313"/>
                  </a:lnTo>
                  <a:lnTo>
                    <a:pt x="455" y="313"/>
                  </a:lnTo>
                  <a:lnTo>
                    <a:pt x="455" y="314"/>
                  </a:lnTo>
                  <a:lnTo>
                    <a:pt x="454" y="315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7"/>
                  </a:lnTo>
                  <a:lnTo>
                    <a:pt x="454" y="317"/>
                  </a:lnTo>
                  <a:lnTo>
                    <a:pt x="454" y="317"/>
                  </a:lnTo>
                  <a:lnTo>
                    <a:pt x="453" y="317"/>
                  </a:lnTo>
                  <a:lnTo>
                    <a:pt x="453" y="318"/>
                  </a:lnTo>
                  <a:lnTo>
                    <a:pt x="452" y="319"/>
                  </a:lnTo>
                  <a:lnTo>
                    <a:pt x="451" y="319"/>
                  </a:lnTo>
                  <a:lnTo>
                    <a:pt x="451" y="319"/>
                  </a:lnTo>
                  <a:lnTo>
                    <a:pt x="450" y="320"/>
                  </a:lnTo>
                  <a:lnTo>
                    <a:pt x="450" y="320"/>
                  </a:lnTo>
                  <a:lnTo>
                    <a:pt x="449" y="320"/>
                  </a:lnTo>
                  <a:lnTo>
                    <a:pt x="449" y="321"/>
                  </a:lnTo>
                  <a:lnTo>
                    <a:pt x="448" y="324"/>
                  </a:lnTo>
                  <a:lnTo>
                    <a:pt x="447" y="326"/>
                  </a:lnTo>
                  <a:lnTo>
                    <a:pt x="447" y="326"/>
                  </a:lnTo>
                  <a:lnTo>
                    <a:pt x="446" y="326"/>
                  </a:lnTo>
                  <a:lnTo>
                    <a:pt x="446" y="326"/>
                  </a:lnTo>
                  <a:lnTo>
                    <a:pt x="445" y="326"/>
                  </a:lnTo>
                  <a:lnTo>
                    <a:pt x="444" y="325"/>
                  </a:lnTo>
                  <a:lnTo>
                    <a:pt x="442" y="324"/>
                  </a:lnTo>
                  <a:lnTo>
                    <a:pt x="441" y="323"/>
                  </a:lnTo>
                  <a:lnTo>
                    <a:pt x="439" y="321"/>
                  </a:lnTo>
                  <a:lnTo>
                    <a:pt x="438" y="320"/>
                  </a:lnTo>
                  <a:lnTo>
                    <a:pt x="437" y="319"/>
                  </a:lnTo>
                  <a:lnTo>
                    <a:pt x="434" y="315"/>
                  </a:lnTo>
                  <a:lnTo>
                    <a:pt x="433" y="314"/>
                  </a:lnTo>
                  <a:lnTo>
                    <a:pt x="432" y="313"/>
                  </a:lnTo>
                  <a:lnTo>
                    <a:pt x="431" y="312"/>
                  </a:lnTo>
                  <a:lnTo>
                    <a:pt x="430" y="311"/>
                  </a:lnTo>
                  <a:lnTo>
                    <a:pt x="428" y="310"/>
                  </a:lnTo>
                  <a:lnTo>
                    <a:pt x="427" y="310"/>
                  </a:lnTo>
                  <a:lnTo>
                    <a:pt x="426" y="309"/>
                  </a:lnTo>
                  <a:lnTo>
                    <a:pt x="425" y="309"/>
                  </a:lnTo>
                  <a:lnTo>
                    <a:pt x="424" y="308"/>
                  </a:lnTo>
                  <a:lnTo>
                    <a:pt x="423" y="308"/>
                  </a:lnTo>
                  <a:lnTo>
                    <a:pt x="421" y="308"/>
                  </a:lnTo>
                  <a:lnTo>
                    <a:pt x="420" y="307"/>
                  </a:lnTo>
                  <a:lnTo>
                    <a:pt x="415" y="307"/>
                  </a:lnTo>
                  <a:lnTo>
                    <a:pt x="414" y="306"/>
                  </a:lnTo>
                  <a:lnTo>
                    <a:pt x="413" y="306"/>
                  </a:lnTo>
                  <a:lnTo>
                    <a:pt x="412" y="305"/>
                  </a:lnTo>
                  <a:lnTo>
                    <a:pt x="411" y="305"/>
                  </a:lnTo>
                  <a:lnTo>
                    <a:pt x="410" y="304"/>
                  </a:lnTo>
                  <a:lnTo>
                    <a:pt x="409" y="304"/>
                  </a:lnTo>
                  <a:lnTo>
                    <a:pt x="407" y="302"/>
                  </a:lnTo>
                  <a:lnTo>
                    <a:pt x="402" y="300"/>
                  </a:lnTo>
                  <a:lnTo>
                    <a:pt x="398" y="297"/>
                  </a:lnTo>
                  <a:lnTo>
                    <a:pt x="397" y="296"/>
                  </a:lnTo>
                  <a:lnTo>
                    <a:pt x="396" y="295"/>
                  </a:lnTo>
                  <a:lnTo>
                    <a:pt x="394" y="294"/>
                  </a:lnTo>
                  <a:lnTo>
                    <a:pt x="392" y="293"/>
                  </a:lnTo>
                  <a:lnTo>
                    <a:pt x="390" y="293"/>
                  </a:lnTo>
                  <a:lnTo>
                    <a:pt x="389" y="293"/>
                  </a:lnTo>
                  <a:lnTo>
                    <a:pt x="388" y="292"/>
                  </a:lnTo>
                  <a:lnTo>
                    <a:pt x="387" y="292"/>
                  </a:lnTo>
                  <a:lnTo>
                    <a:pt x="385" y="292"/>
                  </a:lnTo>
                  <a:lnTo>
                    <a:pt x="383" y="292"/>
                  </a:lnTo>
                  <a:lnTo>
                    <a:pt x="380" y="293"/>
                  </a:lnTo>
                  <a:lnTo>
                    <a:pt x="379" y="293"/>
                  </a:lnTo>
                  <a:lnTo>
                    <a:pt x="378" y="293"/>
                  </a:lnTo>
                  <a:lnTo>
                    <a:pt x="377" y="292"/>
                  </a:lnTo>
                  <a:lnTo>
                    <a:pt x="375" y="292"/>
                  </a:lnTo>
                  <a:lnTo>
                    <a:pt x="374" y="292"/>
                  </a:lnTo>
                  <a:lnTo>
                    <a:pt x="374" y="292"/>
                  </a:lnTo>
                  <a:lnTo>
                    <a:pt x="372" y="291"/>
                  </a:lnTo>
                  <a:lnTo>
                    <a:pt x="370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8" y="290"/>
                  </a:lnTo>
                  <a:lnTo>
                    <a:pt x="368" y="290"/>
                  </a:lnTo>
                  <a:lnTo>
                    <a:pt x="367" y="290"/>
                  </a:lnTo>
                  <a:lnTo>
                    <a:pt x="367" y="291"/>
                  </a:lnTo>
                  <a:lnTo>
                    <a:pt x="367" y="291"/>
                  </a:lnTo>
                  <a:lnTo>
                    <a:pt x="366" y="292"/>
                  </a:lnTo>
                  <a:lnTo>
                    <a:pt x="366" y="295"/>
                  </a:lnTo>
                  <a:lnTo>
                    <a:pt x="365" y="296"/>
                  </a:lnTo>
                  <a:lnTo>
                    <a:pt x="364" y="298"/>
                  </a:lnTo>
                  <a:lnTo>
                    <a:pt x="363" y="300"/>
                  </a:lnTo>
                  <a:lnTo>
                    <a:pt x="362" y="301"/>
                  </a:lnTo>
                  <a:lnTo>
                    <a:pt x="362" y="302"/>
                  </a:lnTo>
                  <a:lnTo>
                    <a:pt x="361" y="302"/>
                  </a:lnTo>
                  <a:lnTo>
                    <a:pt x="360" y="303"/>
                  </a:lnTo>
                  <a:lnTo>
                    <a:pt x="360" y="303"/>
                  </a:lnTo>
                  <a:lnTo>
                    <a:pt x="359" y="303"/>
                  </a:lnTo>
                  <a:lnTo>
                    <a:pt x="359" y="304"/>
                  </a:lnTo>
                  <a:lnTo>
                    <a:pt x="357" y="304"/>
                  </a:lnTo>
                  <a:lnTo>
                    <a:pt x="355" y="304"/>
                  </a:lnTo>
                  <a:lnTo>
                    <a:pt x="352" y="304"/>
                  </a:lnTo>
                  <a:lnTo>
                    <a:pt x="351" y="304"/>
                  </a:lnTo>
                  <a:lnTo>
                    <a:pt x="349" y="305"/>
                  </a:lnTo>
                  <a:lnTo>
                    <a:pt x="348" y="305"/>
                  </a:lnTo>
                  <a:lnTo>
                    <a:pt x="346" y="306"/>
                  </a:lnTo>
                  <a:lnTo>
                    <a:pt x="344" y="307"/>
                  </a:lnTo>
                  <a:lnTo>
                    <a:pt x="341" y="308"/>
                  </a:lnTo>
                  <a:lnTo>
                    <a:pt x="340" y="309"/>
                  </a:lnTo>
                  <a:lnTo>
                    <a:pt x="339" y="309"/>
                  </a:lnTo>
                  <a:lnTo>
                    <a:pt x="338" y="309"/>
                  </a:lnTo>
                  <a:lnTo>
                    <a:pt x="337" y="309"/>
                  </a:lnTo>
                  <a:lnTo>
                    <a:pt x="335" y="309"/>
                  </a:lnTo>
                  <a:lnTo>
                    <a:pt x="334" y="309"/>
                  </a:lnTo>
                  <a:lnTo>
                    <a:pt x="334" y="309"/>
                  </a:lnTo>
                  <a:lnTo>
                    <a:pt x="333" y="309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2" y="308"/>
                  </a:lnTo>
                  <a:lnTo>
                    <a:pt x="331" y="308"/>
                  </a:lnTo>
                  <a:lnTo>
                    <a:pt x="331" y="308"/>
                  </a:lnTo>
                  <a:lnTo>
                    <a:pt x="331" y="307"/>
                  </a:lnTo>
                  <a:lnTo>
                    <a:pt x="331" y="307"/>
                  </a:lnTo>
                  <a:lnTo>
                    <a:pt x="331" y="306"/>
                  </a:lnTo>
                  <a:lnTo>
                    <a:pt x="331" y="302"/>
                  </a:lnTo>
                  <a:lnTo>
                    <a:pt x="331" y="302"/>
                  </a:lnTo>
                  <a:lnTo>
                    <a:pt x="331" y="301"/>
                  </a:lnTo>
                  <a:lnTo>
                    <a:pt x="331" y="300"/>
                  </a:lnTo>
                  <a:lnTo>
                    <a:pt x="331" y="299"/>
                  </a:lnTo>
                  <a:lnTo>
                    <a:pt x="330" y="297"/>
                  </a:lnTo>
                  <a:lnTo>
                    <a:pt x="330" y="296"/>
                  </a:lnTo>
                  <a:lnTo>
                    <a:pt x="329" y="293"/>
                  </a:lnTo>
                  <a:lnTo>
                    <a:pt x="329" y="291"/>
                  </a:lnTo>
                  <a:lnTo>
                    <a:pt x="328" y="290"/>
                  </a:lnTo>
                  <a:lnTo>
                    <a:pt x="328" y="290"/>
                  </a:lnTo>
                  <a:lnTo>
                    <a:pt x="328" y="289"/>
                  </a:lnTo>
                  <a:lnTo>
                    <a:pt x="327" y="288"/>
                  </a:lnTo>
                  <a:lnTo>
                    <a:pt x="326" y="288"/>
                  </a:lnTo>
                  <a:lnTo>
                    <a:pt x="325" y="287"/>
                  </a:lnTo>
                  <a:lnTo>
                    <a:pt x="325" y="287"/>
                  </a:lnTo>
                  <a:lnTo>
                    <a:pt x="323" y="286"/>
                  </a:lnTo>
                  <a:lnTo>
                    <a:pt x="322" y="286"/>
                  </a:lnTo>
                  <a:lnTo>
                    <a:pt x="321" y="286"/>
                  </a:lnTo>
                  <a:lnTo>
                    <a:pt x="319" y="285"/>
                  </a:lnTo>
                  <a:lnTo>
                    <a:pt x="317" y="285"/>
                  </a:lnTo>
                  <a:lnTo>
                    <a:pt x="316" y="285"/>
                  </a:lnTo>
                  <a:lnTo>
                    <a:pt x="313" y="285"/>
                  </a:lnTo>
                  <a:lnTo>
                    <a:pt x="311" y="285"/>
                  </a:lnTo>
                  <a:lnTo>
                    <a:pt x="310" y="285"/>
                  </a:lnTo>
                  <a:lnTo>
                    <a:pt x="309" y="285"/>
                  </a:lnTo>
                  <a:lnTo>
                    <a:pt x="308" y="284"/>
                  </a:lnTo>
                  <a:lnTo>
                    <a:pt x="306" y="284"/>
                  </a:lnTo>
                  <a:lnTo>
                    <a:pt x="306" y="284"/>
                  </a:lnTo>
                  <a:lnTo>
                    <a:pt x="305" y="283"/>
                  </a:lnTo>
                  <a:lnTo>
                    <a:pt x="304" y="283"/>
                  </a:lnTo>
                  <a:lnTo>
                    <a:pt x="303" y="283"/>
                  </a:lnTo>
                  <a:lnTo>
                    <a:pt x="302" y="282"/>
                  </a:lnTo>
                  <a:lnTo>
                    <a:pt x="300" y="280"/>
                  </a:lnTo>
                  <a:lnTo>
                    <a:pt x="300" y="280"/>
                  </a:lnTo>
                  <a:lnTo>
                    <a:pt x="299" y="279"/>
                  </a:lnTo>
                  <a:lnTo>
                    <a:pt x="299" y="279"/>
                  </a:lnTo>
                  <a:lnTo>
                    <a:pt x="298" y="279"/>
                  </a:lnTo>
                  <a:lnTo>
                    <a:pt x="297" y="278"/>
                  </a:lnTo>
                  <a:lnTo>
                    <a:pt x="297" y="278"/>
                  </a:lnTo>
                  <a:lnTo>
                    <a:pt x="293" y="278"/>
                  </a:lnTo>
                  <a:lnTo>
                    <a:pt x="290" y="277"/>
                  </a:lnTo>
                  <a:lnTo>
                    <a:pt x="289" y="277"/>
                  </a:lnTo>
                  <a:lnTo>
                    <a:pt x="288" y="277"/>
                  </a:lnTo>
                  <a:lnTo>
                    <a:pt x="287" y="277"/>
                  </a:lnTo>
                  <a:lnTo>
                    <a:pt x="286" y="277"/>
                  </a:lnTo>
                  <a:lnTo>
                    <a:pt x="285" y="277"/>
                  </a:lnTo>
                  <a:lnTo>
                    <a:pt x="284" y="278"/>
                  </a:lnTo>
                  <a:lnTo>
                    <a:pt x="283" y="278"/>
                  </a:lnTo>
                  <a:lnTo>
                    <a:pt x="282" y="279"/>
                  </a:lnTo>
                  <a:lnTo>
                    <a:pt x="282" y="279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1"/>
                  </a:lnTo>
                  <a:lnTo>
                    <a:pt x="280" y="283"/>
                  </a:lnTo>
                  <a:lnTo>
                    <a:pt x="280" y="284"/>
                  </a:lnTo>
                  <a:lnTo>
                    <a:pt x="280" y="286"/>
                  </a:lnTo>
                  <a:lnTo>
                    <a:pt x="279" y="287"/>
                  </a:lnTo>
                  <a:lnTo>
                    <a:pt x="278" y="288"/>
                  </a:lnTo>
                  <a:lnTo>
                    <a:pt x="277" y="290"/>
                  </a:lnTo>
                  <a:lnTo>
                    <a:pt x="277" y="292"/>
                  </a:lnTo>
                  <a:lnTo>
                    <a:pt x="277" y="292"/>
                  </a:lnTo>
                  <a:lnTo>
                    <a:pt x="276" y="294"/>
                  </a:lnTo>
                  <a:lnTo>
                    <a:pt x="276" y="295"/>
                  </a:lnTo>
                  <a:lnTo>
                    <a:pt x="275" y="296"/>
                  </a:lnTo>
                  <a:lnTo>
                    <a:pt x="275" y="297"/>
                  </a:lnTo>
                  <a:lnTo>
                    <a:pt x="275" y="298"/>
                  </a:lnTo>
                  <a:lnTo>
                    <a:pt x="275" y="300"/>
                  </a:lnTo>
                  <a:lnTo>
                    <a:pt x="275" y="302"/>
                  </a:lnTo>
                  <a:lnTo>
                    <a:pt x="275" y="304"/>
                  </a:lnTo>
                  <a:lnTo>
                    <a:pt x="275" y="305"/>
                  </a:lnTo>
                  <a:lnTo>
                    <a:pt x="276" y="308"/>
                  </a:lnTo>
                  <a:lnTo>
                    <a:pt x="276" y="313"/>
                  </a:lnTo>
                  <a:lnTo>
                    <a:pt x="277" y="316"/>
                  </a:lnTo>
                  <a:lnTo>
                    <a:pt x="277" y="318"/>
                  </a:lnTo>
                  <a:lnTo>
                    <a:pt x="278" y="323"/>
                  </a:lnTo>
                  <a:lnTo>
                    <a:pt x="278" y="325"/>
                  </a:lnTo>
                  <a:lnTo>
                    <a:pt x="278" y="326"/>
                  </a:lnTo>
                  <a:lnTo>
                    <a:pt x="278" y="328"/>
                  </a:lnTo>
                  <a:lnTo>
                    <a:pt x="278" y="329"/>
                  </a:lnTo>
                  <a:lnTo>
                    <a:pt x="278" y="330"/>
                  </a:lnTo>
                  <a:lnTo>
                    <a:pt x="278" y="332"/>
                  </a:lnTo>
                  <a:lnTo>
                    <a:pt x="277" y="334"/>
                  </a:lnTo>
                  <a:lnTo>
                    <a:pt x="276" y="340"/>
                  </a:lnTo>
                  <a:lnTo>
                    <a:pt x="276" y="341"/>
                  </a:lnTo>
                  <a:lnTo>
                    <a:pt x="275" y="343"/>
                  </a:lnTo>
                  <a:lnTo>
                    <a:pt x="275" y="344"/>
                  </a:lnTo>
                  <a:lnTo>
                    <a:pt x="274" y="346"/>
                  </a:lnTo>
                  <a:lnTo>
                    <a:pt x="274" y="347"/>
                  </a:lnTo>
                  <a:lnTo>
                    <a:pt x="274" y="349"/>
                  </a:lnTo>
                  <a:lnTo>
                    <a:pt x="274" y="350"/>
                  </a:lnTo>
                  <a:lnTo>
                    <a:pt x="274" y="354"/>
                  </a:lnTo>
                  <a:lnTo>
                    <a:pt x="274" y="355"/>
                  </a:lnTo>
                  <a:lnTo>
                    <a:pt x="274" y="356"/>
                  </a:lnTo>
                  <a:lnTo>
                    <a:pt x="274" y="357"/>
                  </a:lnTo>
                  <a:lnTo>
                    <a:pt x="274" y="357"/>
                  </a:lnTo>
                  <a:lnTo>
                    <a:pt x="273" y="360"/>
                  </a:lnTo>
                  <a:lnTo>
                    <a:pt x="272" y="361"/>
                  </a:lnTo>
                  <a:lnTo>
                    <a:pt x="271" y="366"/>
                  </a:lnTo>
                  <a:lnTo>
                    <a:pt x="270" y="369"/>
                  </a:lnTo>
                  <a:lnTo>
                    <a:pt x="270" y="370"/>
                  </a:lnTo>
                  <a:lnTo>
                    <a:pt x="269" y="372"/>
                  </a:lnTo>
                  <a:lnTo>
                    <a:pt x="269" y="374"/>
                  </a:lnTo>
                  <a:lnTo>
                    <a:pt x="269" y="376"/>
                  </a:lnTo>
                  <a:lnTo>
                    <a:pt x="269" y="377"/>
                  </a:lnTo>
                  <a:lnTo>
                    <a:pt x="269" y="378"/>
                  </a:lnTo>
                  <a:lnTo>
                    <a:pt x="269" y="379"/>
                  </a:lnTo>
                  <a:lnTo>
                    <a:pt x="269" y="380"/>
                  </a:lnTo>
                  <a:lnTo>
                    <a:pt x="269" y="381"/>
                  </a:lnTo>
                  <a:lnTo>
                    <a:pt x="270" y="382"/>
                  </a:lnTo>
                  <a:lnTo>
                    <a:pt x="270" y="383"/>
                  </a:lnTo>
                  <a:lnTo>
                    <a:pt x="272" y="385"/>
                  </a:lnTo>
                  <a:lnTo>
                    <a:pt x="272" y="386"/>
                  </a:lnTo>
                  <a:lnTo>
                    <a:pt x="272" y="386"/>
                  </a:lnTo>
                  <a:lnTo>
                    <a:pt x="273" y="387"/>
                  </a:lnTo>
                  <a:lnTo>
                    <a:pt x="273" y="388"/>
                  </a:lnTo>
                  <a:lnTo>
                    <a:pt x="273" y="389"/>
                  </a:lnTo>
                  <a:lnTo>
                    <a:pt x="273" y="390"/>
                  </a:lnTo>
                  <a:lnTo>
                    <a:pt x="272" y="390"/>
                  </a:lnTo>
                  <a:lnTo>
                    <a:pt x="272" y="391"/>
                  </a:lnTo>
                  <a:lnTo>
                    <a:pt x="271" y="392"/>
                  </a:lnTo>
                  <a:lnTo>
                    <a:pt x="271" y="393"/>
                  </a:lnTo>
                  <a:lnTo>
                    <a:pt x="270" y="393"/>
                  </a:lnTo>
                  <a:lnTo>
                    <a:pt x="269" y="394"/>
                  </a:lnTo>
                  <a:lnTo>
                    <a:pt x="268" y="394"/>
                  </a:lnTo>
                  <a:lnTo>
                    <a:pt x="267" y="394"/>
                  </a:lnTo>
                  <a:lnTo>
                    <a:pt x="266" y="394"/>
                  </a:lnTo>
                  <a:lnTo>
                    <a:pt x="264" y="394"/>
                  </a:lnTo>
                  <a:lnTo>
                    <a:pt x="263" y="394"/>
                  </a:lnTo>
                  <a:lnTo>
                    <a:pt x="258" y="392"/>
                  </a:lnTo>
                  <a:lnTo>
                    <a:pt x="255" y="391"/>
                  </a:lnTo>
                  <a:lnTo>
                    <a:pt x="253" y="391"/>
                  </a:lnTo>
                  <a:lnTo>
                    <a:pt x="252" y="391"/>
                  </a:lnTo>
                  <a:lnTo>
                    <a:pt x="248" y="389"/>
                  </a:lnTo>
                  <a:lnTo>
                    <a:pt x="247" y="389"/>
                  </a:lnTo>
                  <a:lnTo>
                    <a:pt x="245" y="388"/>
                  </a:lnTo>
                  <a:lnTo>
                    <a:pt x="244" y="388"/>
                  </a:lnTo>
                  <a:lnTo>
                    <a:pt x="243" y="387"/>
                  </a:lnTo>
                  <a:lnTo>
                    <a:pt x="242" y="387"/>
                  </a:lnTo>
                  <a:lnTo>
                    <a:pt x="238" y="386"/>
                  </a:lnTo>
                  <a:lnTo>
                    <a:pt x="235" y="386"/>
                  </a:lnTo>
                  <a:lnTo>
                    <a:pt x="233" y="385"/>
                  </a:lnTo>
                  <a:lnTo>
                    <a:pt x="232" y="385"/>
                  </a:lnTo>
                  <a:lnTo>
                    <a:pt x="231" y="385"/>
                  </a:lnTo>
                  <a:lnTo>
                    <a:pt x="230" y="385"/>
                  </a:lnTo>
                  <a:lnTo>
                    <a:pt x="229" y="386"/>
                  </a:lnTo>
                  <a:lnTo>
                    <a:pt x="229" y="386"/>
                  </a:lnTo>
                  <a:lnTo>
                    <a:pt x="228" y="386"/>
                  </a:lnTo>
                  <a:lnTo>
                    <a:pt x="227" y="386"/>
                  </a:lnTo>
                  <a:lnTo>
                    <a:pt x="227" y="387"/>
                  </a:lnTo>
                  <a:lnTo>
                    <a:pt x="226" y="387"/>
                  </a:lnTo>
                  <a:lnTo>
                    <a:pt x="225" y="388"/>
                  </a:lnTo>
                  <a:lnTo>
                    <a:pt x="225" y="388"/>
                  </a:lnTo>
                  <a:lnTo>
                    <a:pt x="224" y="389"/>
                  </a:lnTo>
                  <a:lnTo>
                    <a:pt x="224" y="389"/>
                  </a:lnTo>
                  <a:lnTo>
                    <a:pt x="224" y="390"/>
                  </a:lnTo>
                  <a:lnTo>
                    <a:pt x="224" y="391"/>
                  </a:lnTo>
                  <a:lnTo>
                    <a:pt x="223" y="394"/>
                  </a:lnTo>
                  <a:lnTo>
                    <a:pt x="222" y="399"/>
                  </a:lnTo>
                  <a:lnTo>
                    <a:pt x="222" y="401"/>
                  </a:lnTo>
                  <a:lnTo>
                    <a:pt x="221" y="404"/>
                  </a:lnTo>
                  <a:lnTo>
                    <a:pt x="221" y="405"/>
                  </a:lnTo>
                  <a:lnTo>
                    <a:pt x="221" y="406"/>
                  </a:lnTo>
                  <a:lnTo>
                    <a:pt x="220" y="407"/>
                  </a:lnTo>
                  <a:lnTo>
                    <a:pt x="220" y="408"/>
                  </a:lnTo>
                  <a:lnTo>
                    <a:pt x="219" y="409"/>
                  </a:lnTo>
                  <a:lnTo>
                    <a:pt x="218" y="410"/>
                  </a:lnTo>
                  <a:lnTo>
                    <a:pt x="217" y="412"/>
                  </a:lnTo>
                  <a:lnTo>
                    <a:pt x="215" y="414"/>
                  </a:lnTo>
                  <a:lnTo>
                    <a:pt x="214" y="415"/>
                  </a:lnTo>
                  <a:lnTo>
                    <a:pt x="213" y="416"/>
                  </a:lnTo>
                  <a:lnTo>
                    <a:pt x="212" y="416"/>
                  </a:lnTo>
                  <a:lnTo>
                    <a:pt x="211" y="417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Freeform 13">
              <a:extLst>
                <a:ext uri="{FF2B5EF4-FFF2-40B4-BE49-F238E27FC236}">
                  <a16:creationId xmlns:a16="http://schemas.microsoft.com/office/drawing/2014/main" id="{025D1216-EB86-27AB-886B-F67A4EBB51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3556"/>
              <a:ext cx="373" cy="465"/>
            </a:xfrm>
            <a:custGeom>
              <a:avLst/>
              <a:gdLst>
                <a:gd name="T0" fmla="*/ 359 w 373"/>
                <a:gd name="T1" fmla="*/ 411 h 465"/>
                <a:gd name="T2" fmla="*/ 357 w 373"/>
                <a:gd name="T3" fmla="*/ 438 h 465"/>
                <a:gd name="T4" fmla="*/ 352 w 373"/>
                <a:gd name="T5" fmla="*/ 452 h 465"/>
                <a:gd name="T6" fmla="*/ 344 w 373"/>
                <a:gd name="T7" fmla="*/ 453 h 465"/>
                <a:gd name="T8" fmla="*/ 334 w 373"/>
                <a:gd name="T9" fmla="*/ 444 h 465"/>
                <a:gd name="T10" fmla="*/ 324 w 373"/>
                <a:gd name="T11" fmla="*/ 435 h 465"/>
                <a:gd name="T12" fmla="*/ 310 w 373"/>
                <a:gd name="T13" fmla="*/ 441 h 465"/>
                <a:gd name="T14" fmla="*/ 292 w 373"/>
                <a:gd name="T15" fmla="*/ 436 h 465"/>
                <a:gd name="T16" fmla="*/ 279 w 373"/>
                <a:gd name="T17" fmla="*/ 425 h 465"/>
                <a:gd name="T18" fmla="*/ 275 w 373"/>
                <a:gd name="T19" fmla="*/ 434 h 465"/>
                <a:gd name="T20" fmla="*/ 269 w 373"/>
                <a:gd name="T21" fmla="*/ 448 h 465"/>
                <a:gd name="T22" fmla="*/ 257 w 373"/>
                <a:gd name="T23" fmla="*/ 451 h 465"/>
                <a:gd name="T24" fmla="*/ 249 w 373"/>
                <a:gd name="T25" fmla="*/ 459 h 465"/>
                <a:gd name="T26" fmla="*/ 239 w 373"/>
                <a:gd name="T27" fmla="*/ 465 h 465"/>
                <a:gd name="T28" fmla="*/ 212 w 373"/>
                <a:gd name="T29" fmla="*/ 454 h 465"/>
                <a:gd name="T30" fmla="*/ 183 w 373"/>
                <a:gd name="T31" fmla="*/ 448 h 465"/>
                <a:gd name="T32" fmla="*/ 165 w 373"/>
                <a:gd name="T33" fmla="*/ 447 h 465"/>
                <a:gd name="T34" fmla="*/ 152 w 373"/>
                <a:gd name="T35" fmla="*/ 438 h 465"/>
                <a:gd name="T36" fmla="*/ 144 w 373"/>
                <a:gd name="T37" fmla="*/ 428 h 465"/>
                <a:gd name="T38" fmla="*/ 147 w 373"/>
                <a:gd name="T39" fmla="*/ 421 h 465"/>
                <a:gd name="T40" fmla="*/ 154 w 373"/>
                <a:gd name="T41" fmla="*/ 414 h 465"/>
                <a:gd name="T42" fmla="*/ 143 w 373"/>
                <a:gd name="T43" fmla="*/ 401 h 465"/>
                <a:gd name="T44" fmla="*/ 128 w 373"/>
                <a:gd name="T45" fmla="*/ 391 h 465"/>
                <a:gd name="T46" fmla="*/ 108 w 373"/>
                <a:gd name="T47" fmla="*/ 375 h 465"/>
                <a:gd name="T48" fmla="*/ 86 w 373"/>
                <a:gd name="T49" fmla="*/ 363 h 465"/>
                <a:gd name="T50" fmla="*/ 79 w 373"/>
                <a:gd name="T51" fmla="*/ 352 h 465"/>
                <a:gd name="T52" fmla="*/ 70 w 373"/>
                <a:gd name="T53" fmla="*/ 336 h 465"/>
                <a:gd name="T54" fmla="*/ 61 w 373"/>
                <a:gd name="T55" fmla="*/ 318 h 465"/>
                <a:gd name="T56" fmla="*/ 49 w 373"/>
                <a:gd name="T57" fmla="*/ 313 h 465"/>
                <a:gd name="T58" fmla="*/ 34 w 373"/>
                <a:gd name="T59" fmla="*/ 306 h 465"/>
                <a:gd name="T60" fmla="*/ 23 w 373"/>
                <a:gd name="T61" fmla="*/ 283 h 465"/>
                <a:gd name="T62" fmla="*/ 13 w 373"/>
                <a:gd name="T63" fmla="*/ 276 h 465"/>
                <a:gd name="T64" fmla="*/ 3 w 373"/>
                <a:gd name="T65" fmla="*/ 272 h 465"/>
                <a:gd name="T66" fmla="*/ 0 w 373"/>
                <a:gd name="T67" fmla="*/ 259 h 465"/>
                <a:gd name="T68" fmla="*/ 6 w 373"/>
                <a:gd name="T69" fmla="*/ 240 h 465"/>
                <a:gd name="T70" fmla="*/ 16 w 373"/>
                <a:gd name="T71" fmla="*/ 233 h 465"/>
                <a:gd name="T72" fmla="*/ 17 w 373"/>
                <a:gd name="T73" fmla="*/ 219 h 465"/>
                <a:gd name="T74" fmla="*/ 16 w 373"/>
                <a:gd name="T75" fmla="*/ 200 h 465"/>
                <a:gd name="T76" fmla="*/ 25 w 373"/>
                <a:gd name="T77" fmla="*/ 192 h 465"/>
                <a:gd name="T78" fmla="*/ 38 w 373"/>
                <a:gd name="T79" fmla="*/ 185 h 465"/>
                <a:gd name="T80" fmla="*/ 49 w 373"/>
                <a:gd name="T81" fmla="*/ 173 h 465"/>
                <a:gd name="T82" fmla="*/ 53 w 373"/>
                <a:gd name="T83" fmla="*/ 163 h 465"/>
                <a:gd name="T84" fmla="*/ 48 w 373"/>
                <a:gd name="T85" fmla="*/ 151 h 465"/>
                <a:gd name="T86" fmla="*/ 56 w 373"/>
                <a:gd name="T87" fmla="*/ 144 h 465"/>
                <a:gd name="T88" fmla="*/ 54 w 373"/>
                <a:gd name="T89" fmla="*/ 137 h 465"/>
                <a:gd name="T90" fmla="*/ 53 w 373"/>
                <a:gd name="T91" fmla="*/ 131 h 465"/>
                <a:gd name="T92" fmla="*/ 59 w 373"/>
                <a:gd name="T93" fmla="*/ 125 h 465"/>
                <a:gd name="T94" fmla="*/ 60 w 373"/>
                <a:gd name="T95" fmla="*/ 115 h 465"/>
                <a:gd name="T96" fmla="*/ 73 w 373"/>
                <a:gd name="T97" fmla="*/ 99 h 465"/>
                <a:gd name="T98" fmla="*/ 76 w 373"/>
                <a:gd name="T99" fmla="*/ 86 h 465"/>
                <a:gd name="T100" fmla="*/ 71 w 373"/>
                <a:gd name="T101" fmla="*/ 66 h 465"/>
                <a:gd name="T102" fmla="*/ 74 w 373"/>
                <a:gd name="T103" fmla="*/ 52 h 465"/>
                <a:gd name="T104" fmla="*/ 70 w 373"/>
                <a:gd name="T105" fmla="*/ 35 h 465"/>
                <a:gd name="T106" fmla="*/ 70 w 373"/>
                <a:gd name="T107" fmla="*/ 23 h 465"/>
                <a:gd name="T108" fmla="*/ 76 w 373"/>
                <a:gd name="T109" fmla="*/ 21 h 465"/>
                <a:gd name="T110" fmla="*/ 90 w 373"/>
                <a:gd name="T111" fmla="*/ 18 h 465"/>
                <a:gd name="T112" fmla="*/ 101 w 373"/>
                <a:gd name="T113" fmla="*/ 18 h 465"/>
                <a:gd name="T114" fmla="*/ 111 w 373"/>
                <a:gd name="T115" fmla="*/ 23 h 465"/>
                <a:gd name="T116" fmla="*/ 122 w 373"/>
                <a:gd name="T117" fmla="*/ 25 h 465"/>
                <a:gd name="T118" fmla="*/ 135 w 373"/>
                <a:gd name="T119" fmla="*/ 20 h 465"/>
                <a:gd name="T120" fmla="*/ 144 w 373"/>
                <a:gd name="T121" fmla="*/ 13 h 465"/>
                <a:gd name="T122" fmla="*/ 157 w 373"/>
                <a:gd name="T123" fmla="*/ 1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" h="465">
                  <a:moveTo>
                    <a:pt x="373" y="394"/>
                  </a:moveTo>
                  <a:lnTo>
                    <a:pt x="370" y="396"/>
                  </a:lnTo>
                  <a:lnTo>
                    <a:pt x="367" y="399"/>
                  </a:lnTo>
                  <a:lnTo>
                    <a:pt x="365" y="400"/>
                  </a:lnTo>
                  <a:lnTo>
                    <a:pt x="364" y="401"/>
                  </a:lnTo>
                  <a:lnTo>
                    <a:pt x="364" y="402"/>
                  </a:lnTo>
                  <a:lnTo>
                    <a:pt x="363" y="403"/>
                  </a:lnTo>
                  <a:lnTo>
                    <a:pt x="362" y="404"/>
                  </a:lnTo>
                  <a:lnTo>
                    <a:pt x="361" y="406"/>
                  </a:lnTo>
                  <a:lnTo>
                    <a:pt x="360" y="408"/>
                  </a:lnTo>
                  <a:lnTo>
                    <a:pt x="360" y="409"/>
                  </a:lnTo>
                  <a:lnTo>
                    <a:pt x="359" y="411"/>
                  </a:lnTo>
                  <a:lnTo>
                    <a:pt x="358" y="414"/>
                  </a:lnTo>
                  <a:lnTo>
                    <a:pt x="358" y="415"/>
                  </a:lnTo>
                  <a:lnTo>
                    <a:pt x="357" y="417"/>
                  </a:lnTo>
                  <a:lnTo>
                    <a:pt x="357" y="418"/>
                  </a:lnTo>
                  <a:lnTo>
                    <a:pt x="357" y="420"/>
                  </a:lnTo>
                  <a:lnTo>
                    <a:pt x="357" y="421"/>
                  </a:lnTo>
                  <a:lnTo>
                    <a:pt x="357" y="422"/>
                  </a:lnTo>
                  <a:lnTo>
                    <a:pt x="357" y="428"/>
                  </a:lnTo>
                  <a:lnTo>
                    <a:pt x="357" y="430"/>
                  </a:lnTo>
                  <a:lnTo>
                    <a:pt x="357" y="431"/>
                  </a:lnTo>
                  <a:lnTo>
                    <a:pt x="357" y="433"/>
                  </a:lnTo>
                  <a:lnTo>
                    <a:pt x="357" y="438"/>
                  </a:lnTo>
                  <a:lnTo>
                    <a:pt x="357" y="441"/>
                  </a:lnTo>
                  <a:lnTo>
                    <a:pt x="357" y="442"/>
                  </a:lnTo>
                  <a:lnTo>
                    <a:pt x="356" y="444"/>
                  </a:lnTo>
                  <a:lnTo>
                    <a:pt x="356" y="445"/>
                  </a:lnTo>
                  <a:lnTo>
                    <a:pt x="356" y="446"/>
                  </a:lnTo>
                  <a:lnTo>
                    <a:pt x="356" y="446"/>
                  </a:lnTo>
                  <a:lnTo>
                    <a:pt x="355" y="448"/>
                  </a:lnTo>
                  <a:lnTo>
                    <a:pt x="355" y="449"/>
                  </a:lnTo>
                  <a:lnTo>
                    <a:pt x="354" y="450"/>
                  </a:lnTo>
                  <a:lnTo>
                    <a:pt x="353" y="450"/>
                  </a:lnTo>
                  <a:lnTo>
                    <a:pt x="353" y="451"/>
                  </a:lnTo>
                  <a:lnTo>
                    <a:pt x="352" y="452"/>
                  </a:lnTo>
                  <a:lnTo>
                    <a:pt x="352" y="452"/>
                  </a:lnTo>
                  <a:lnTo>
                    <a:pt x="351" y="452"/>
                  </a:lnTo>
                  <a:lnTo>
                    <a:pt x="351" y="453"/>
                  </a:lnTo>
                  <a:lnTo>
                    <a:pt x="350" y="453"/>
                  </a:lnTo>
                  <a:lnTo>
                    <a:pt x="350" y="453"/>
                  </a:lnTo>
                  <a:lnTo>
                    <a:pt x="349" y="453"/>
                  </a:lnTo>
                  <a:lnTo>
                    <a:pt x="348" y="453"/>
                  </a:lnTo>
                  <a:lnTo>
                    <a:pt x="347" y="453"/>
                  </a:lnTo>
                  <a:lnTo>
                    <a:pt x="346" y="453"/>
                  </a:lnTo>
                  <a:lnTo>
                    <a:pt x="345" y="453"/>
                  </a:lnTo>
                  <a:lnTo>
                    <a:pt x="344" y="453"/>
                  </a:lnTo>
                  <a:lnTo>
                    <a:pt x="344" y="453"/>
                  </a:lnTo>
                  <a:lnTo>
                    <a:pt x="343" y="453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1" y="451"/>
                  </a:lnTo>
                  <a:lnTo>
                    <a:pt x="340" y="451"/>
                  </a:lnTo>
                  <a:lnTo>
                    <a:pt x="340" y="450"/>
                  </a:lnTo>
                  <a:lnTo>
                    <a:pt x="337" y="447"/>
                  </a:lnTo>
                  <a:lnTo>
                    <a:pt x="337" y="446"/>
                  </a:lnTo>
                  <a:lnTo>
                    <a:pt x="336" y="445"/>
                  </a:lnTo>
                  <a:lnTo>
                    <a:pt x="335" y="444"/>
                  </a:lnTo>
                  <a:lnTo>
                    <a:pt x="334" y="444"/>
                  </a:lnTo>
                  <a:lnTo>
                    <a:pt x="333" y="444"/>
                  </a:lnTo>
                  <a:lnTo>
                    <a:pt x="332" y="443"/>
                  </a:lnTo>
                  <a:lnTo>
                    <a:pt x="331" y="443"/>
                  </a:lnTo>
                  <a:lnTo>
                    <a:pt x="330" y="442"/>
                  </a:lnTo>
                  <a:lnTo>
                    <a:pt x="330" y="442"/>
                  </a:lnTo>
                  <a:lnTo>
                    <a:pt x="329" y="441"/>
                  </a:lnTo>
                  <a:lnTo>
                    <a:pt x="328" y="440"/>
                  </a:lnTo>
                  <a:lnTo>
                    <a:pt x="328" y="440"/>
                  </a:lnTo>
                  <a:lnTo>
                    <a:pt x="326" y="438"/>
                  </a:lnTo>
                  <a:lnTo>
                    <a:pt x="326" y="436"/>
                  </a:lnTo>
                  <a:lnTo>
                    <a:pt x="325" y="436"/>
                  </a:lnTo>
                  <a:lnTo>
                    <a:pt x="324" y="435"/>
                  </a:lnTo>
                  <a:lnTo>
                    <a:pt x="324" y="435"/>
                  </a:lnTo>
                  <a:lnTo>
                    <a:pt x="323" y="435"/>
                  </a:lnTo>
                  <a:lnTo>
                    <a:pt x="323" y="435"/>
                  </a:lnTo>
                  <a:lnTo>
                    <a:pt x="322" y="435"/>
                  </a:lnTo>
                  <a:lnTo>
                    <a:pt x="322" y="435"/>
                  </a:lnTo>
                  <a:lnTo>
                    <a:pt x="321" y="435"/>
                  </a:lnTo>
                  <a:lnTo>
                    <a:pt x="320" y="436"/>
                  </a:lnTo>
                  <a:lnTo>
                    <a:pt x="314" y="439"/>
                  </a:lnTo>
                  <a:lnTo>
                    <a:pt x="313" y="440"/>
                  </a:lnTo>
                  <a:lnTo>
                    <a:pt x="312" y="441"/>
                  </a:lnTo>
                  <a:lnTo>
                    <a:pt x="311" y="441"/>
                  </a:lnTo>
                  <a:lnTo>
                    <a:pt x="310" y="441"/>
                  </a:lnTo>
                  <a:lnTo>
                    <a:pt x="309" y="442"/>
                  </a:lnTo>
                  <a:lnTo>
                    <a:pt x="308" y="442"/>
                  </a:lnTo>
                  <a:lnTo>
                    <a:pt x="308" y="442"/>
                  </a:lnTo>
                  <a:lnTo>
                    <a:pt x="307" y="442"/>
                  </a:lnTo>
                  <a:lnTo>
                    <a:pt x="307" y="441"/>
                  </a:lnTo>
                  <a:lnTo>
                    <a:pt x="306" y="441"/>
                  </a:lnTo>
                  <a:lnTo>
                    <a:pt x="303" y="440"/>
                  </a:lnTo>
                  <a:lnTo>
                    <a:pt x="299" y="439"/>
                  </a:lnTo>
                  <a:lnTo>
                    <a:pt x="297" y="438"/>
                  </a:lnTo>
                  <a:lnTo>
                    <a:pt x="294" y="437"/>
                  </a:lnTo>
                  <a:lnTo>
                    <a:pt x="293" y="436"/>
                  </a:lnTo>
                  <a:lnTo>
                    <a:pt x="292" y="436"/>
                  </a:lnTo>
                  <a:lnTo>
                    <a:pt x="291" y="435"/>
                  </a:lnTo>
                  <a:lnTo>
                    <a:pt x="290" y="434"/>
                  </a:lnTo>
                  <a:lnTo>
                    <a:pt x="289" y="434"/>
                  </a:lnTo>
                  <a:lnTo>
                    <a:pt x="288" y="432"/>
                  </a:lnTo>
                  <a:lnTo>
                    <a:pt x="287" y="431"/>
                  </a:lnTo>
                  <a:lnTo>
                    <a:pt x="284" y="428"/>
                  </a:lnTo>
                  <a:lnTo>
                    <a:pt x="283" y="427"/>
                  </a:lnTo>
                  <a:lnTo>
                    <a:pt x="282" y="426"/>
                  </a:lnTo>
                  <a:lnTo>
                    <a:pt x="281" y="426"/>
                  </a:lnTo>
                  <a:lnTo>
                    <a:pt x="280" y="425"/>
                  </a:lnTo>
                  <a:lnTo>
                    <a:pt x="280" y="425"/>
                  </a:lnTo>
                  <a:lnTo>
                    <a:pt x="279" y="425"/>
                  </a:lnTo>
                  <a:lnTo>
                    <a:pt x="279" y="426"/>
                  </a:lnTo>
                  <a:lnTo>
                    <a:pt x="278" y="426"/>
                  </a:lnTo>
                  <a:lnTo>
                    <a:pt x="278" y="426"/>
                  </a:lnTo>
                  <a:lnTo>
                    <a:pt x="277" y="426"/>
                  </a:lnTo>
                  <a:lnTo>
                    <a:pt x="277" y="427"/>
                  </a:lnTo>
                  <a:lnTo>
                    <a:pt x="276" y="427"/>
                  </a:lnTo>
                  <a:lnTo>
                    <a:pt x="276" y="427"/>
                  </a:lnTo>
                  <a:lnTo>
                    <a:pt x="276" y="428"/>
                  </a:lnTo>
                  <a:lnTo>
                    <a:pt x="275" y="428"/>
                  </a:lnTo>
                  <a:lnTo>
                    <a:pt x="275" y="429"/>
                  </a:lnTo>
                  <a:lnTo>
                    <a:pt x="275" y="433"/>
                  </a:lnTo>
                  <a:lnTo>
                    <a:pt x="275" y="434"/>
                  </a:lnTo>
                  <a:lnTo>
                    <a:pt x="275" y="435"/>
                  </a:lnTo>
                  <a:lnTo>
                    <a:pt x="274" y="437"/>
                  </a:lnTo>
                  <a:lnTo>
                    <a:pt x="274" y="440"/>
                  </a:lnTo>
                  <a:lnTo>
                    <a:pt x="273" y="441"/>
                  </a:lnTo>
                  <a:lnTo>
                    <a:pt x="273" y="442"/>
                  </a:lnTo>
                  <a:lnTo>
                    <a:pt x="272" y="443"/>
                  </a:lnTo>
                  <a:lnTo>
                    <a:pt x="272" y="444"/>
                  </a:lnTo>
                  <a:lnTo>
                    <a:pt x="271" y="445"/>
                  </a:lnTo>
                  <a:lnTo>
                    <a:pt x="270" y="446"/>
                  </a:lnTo>
                  <a:lnTo>
                    <a:pt x="270" y="447"/>
                  </a:lnTo>
                  <a:lnTo>
                    <a:pt x="269" y="447"/>
                  </a:lnTo>
                  <a:lnTo>
                    <a:pt x="269" y="448"/>
                  </a:lnTo>
                  <a:lnTo>
                    <a:pt x="268" y="449"/>
                  </a:lnTo>
                  <a:lnTo>
                    <a:pt x="267" y="449"/>
                  </a:lnTo>
                  <a:lnTo>
                    <a:pt x="267" y="449"/>
                  </a:lnTo>
                  <a:lnTo>
                    <a:pt x="266" y="449"/>
                  </a:lnTo>
                  <a:lnTo>
                    <a:pt x="265" y="449"/>
                  </a:lnTo>
                  <a:lnTo>
                    <a:pt x="262" y="449"/>
                  </a:lnTo>
                  <a:lnTo>
                    <a:pt x="260" y="450"/>
                  </a:lnTo>
                  <a:lnTo>
                    <a:pt x="259" y="450"/>
                  </a:lnTo>
                  <a:lnTo>
                    <a:pt x="259" y="450"/>
                  </a:lnTo>
                  <a:lnTo>
                    <a:pt x="258" y="450"/>
                  </a:lnTo>
                  <a:lnTo>
                    <a:pt x="257" y="451"/>
                  </a:lnTo>
                  <a:lnTo>
                    <a:pt x="257" y="451"/>
                  </a:lnTo>
                  <a:lnTo>
                    <a:pt x="257" y="452"/>
                  </a:lnTo>
                  <a:lnTo>
                    <a:pt x="256" y="453"/>
                  </a:lnTo>
                  <a:lnTo>
                    <a:pt x="256" y="454"/>
                  </a:lnTo>
                  <a:lnTo>
                    <a:pt x="255" y="455"/>
                  </a:lnTo>
                  <a:lnTo>
                    <a:pt x="255" y="456"/>
                  </a:lnTo>
                  <a:lnTo>
                    <a:pt x="255" y="456"/>
                  </a:lnTo>
                  <a:lnTo>
                    <a:pt x="254" y="457"/>
                  </a:lnTo>
                  <a:lnTo>
                    <a:pt x="254" y="457"/>
                  </a:lnTo>
                  <a:lnTo>
                    <a:pt x="253" y="458"/>
                  </a:lnTo>
                  <a:lnTo>
                    <a:pt x="252" y="458"/>
                  </a:lnTo>
                  <a:lnTo>
                    <a:pt x="251" y="459"/>
                  </a:lnTo>
                  <a:lnTo>
                    <a:pt x="249" y="459"/>
                  </a:lnTo>
                  <a:lnTo>
                    <a:pt x="248" y="459"/>
                  </a:lnTo>
                  <a:lnTo>
                    <a:pt x="248" y="459"/>
                  </a:lnTo>
                  <a:lnTo>
                    <a:pt x="247" y="460"/>
                  </a:lnTo>
                  <a:lnTo>
                    <a:pt x="246" y="460"/>
                  </a:lnTo>
                  <a:lnTo>
                    <a:pt x="245" y="461"/>
                  </a:lnTo>
                  <a:lnTo>
                    <a:pt x="244" y="463"/>
                  </a:lnTo>
                  <a:lnTo>
                    <a:pt x="243" y="464"/>
                  </a:lnTo>
                  <a:lnTo>
                    <a:pt x="242" y="464"/>
                  </a:lnTo>
                  <a:lnTo>
                    <a:pt x="241" y="464"/>
                  </a:lnTo>
                  <a:lnTo>
                    <a:pt x="241" y="465"/>
                  </a:lnTo>
                  <a:lnTo>
                    <a:pt x="240" y="465"/>
                  </a:lnTo>
                  <a:lnTo>
                    <a:pt x="239" y="465"/>
                  </a:lnTo>
                  <a:lnTo>
                    <a:pt x="239" y="465"/>
                  </a:lnTo>
                  <a:lnTo>
                    <a:pt x="238" y="465"/>
                  </a:lnTo>
                  <a:lnTo>
                    <a:pt x="237" y="464"/>
                  </a:lnTo>
                  <a:lnTo>
                    <a:pt x="235" y="463"/>
                  </a:lnTo>
                  <a:lnTo>
                    <a:pt x="231" y="462"/>
                  </a:lnTo>
                  <a:lnTo>
                    <a:pt x="228" y="460"/>
                  </a:lnTo>
                  <a:lnTo>
                    <a:pt x="221" y="456"/>
                  </a:lnTo>
                  <a:lnTo>
                    <a:pt x="219" y="455"/>
                  </a:lnTo>
                  <a:lnTo>
                    <a:pt x="218" y="455"/>
                  </a:lnTo>
                  <a:lnTo>
                    <a:pt x="217" y="455"/>
                  </a:lnTo>
                  <a:lnTo>
                    <a:pt x="216" y="454"/>
                  </a:lnTo>
                  <a:lnTo>
                    <a:pt x="212" y="454"/>
                  </a:lnTo>
                  <a:lnTo>
                    <a:pt x="211" y="454"/>
                  </a:lnTo>
                  <a:lnTo>
                    <a:pt x="209" y="453"/>
                  </a:lnTo>
                  <a:lnTo>
                    <a:pt x="205" y="452"/>
                  </a:lnTo>
                  <a:lnTo>
                    <a:pt x="200" y="450"/>
                  </a:lnTo>
                  <a:lnTo>
                    <a:pt x="197" y="449"/>
                  </a:lnTo>
                  <a:lnTo>
                    <a:pt x="196" y="449"/>
                  </a:lnTo>
                  <a:lnTo>
                    <a:pt x="195" y="449"/>
                  </a:lnTo>
                  <a:lnTo>
                    <a:pt x="193" y="449"/>
                  </a:lnTo>
                  <a:lnTo>
                    <a:pt x="190" y="449"/>
                  </a:lnTo>
                  <a:lnTo>
                    <a:pt x="188" y="449"/>
                  </a:lnTo>
                  <a:lnTo>
                    <a:pt x="187" y="448"/>
                  </a:lnTo>
                  <a:lnTo>
                    <a:pt x="183" y="448"/>
                  </a:lnTo>
                  <a:lnTo>
                    <a:pt x="181" y="448"/>
                  </a:lnTo>
                  <a:lnTo>
                    <a:pt x="179" y="447"/>
                  </a:lnTo>
                  <a:lnTo>
                    <a:pt x="178" y="447"/>
                  </a:lnTo>
                  <a:lnTo>
                    <a:pt x="177" y="447"/>
                  </a:lnTo>
                  <a:lnTo>
                    <a:pt x="173" y="448"/>
                  </a:lnTo>
                  <a:lnTo>
                    <a:pt x="172" y="448"/>
                  </a:lnTo>
                  <a:lnTo>
                    <a:pt x="171" y="448"/>
                  </a:lnTo>
                  <a:lnTo>
                    <a:pt x="170" y="448"/>
                  </a:lnTo>
                  <a:lnTo>
                    <a:pt x="169" y="448"/>
                  </a:lnTo>
                  <a:lnTo>
                    <a:pt x="168" y="448"/>
                  </a:lnTo>
                  <a:lnTo>
                    <a:pt x="168" y="448"/>
                  </a:lnTo>
                  <a:lnTo>
                    <a:pt x="165" y="447"/>
                  </a:lnTo>
                  <a:lnTo>
                    <a:pt x="164" y="446"/>
                  </a:lnTo>
                  <a:lnTo>
                    <a:pt x="163" y="446"/>
                  </a:lnTo>
                  <a:lnTo>
                    <a:pt x="160" y="445"/>
                  </a:lnTo>
                  <a:lnTo>
                    <a:pt x="159" y="445"/>
                  </a:lnTo>
                  <a:lnTo>
                    <a:pt x="158" y="444"/>
                  </a:lnTo>
                  <a:lnTo>
                    <a:pt x="158" y="444"/>
                  </a:lnTo>
                  <a:lnTo>
                    <a:pt x="156" y="443"/>
                  </a:lnTo>
                  <a:lnTo>
                    <a:pt x="154" y="441"/>
                  </a:lnTo>
                  <a:lnTo>
                    <a:pt x="154" y="441"/>
                  </a:lnTo>
                  <a:lnTo>
                    <a:pt x="153" y="440"/>
                  </a:lnTo>
                  <a:lnTo>
                    <a:pt x="152" y="439"/>
                  </a:lnTo>
                  <a:lnTo>
                    <a:pt x="152" y="438"/>
                  </a:lnTo>
                  <a:lnTo>
                    <a:pt x="151" y="438"/>
                  </a:lnTo>
                  <a:lnTo>
                    <a:pt x="151" y="437"/>
                  </a:lnTo>
                  <a:lnTo>
                    <a:pt x="150" y="434"/>
                  </a:lnTo>
                  <a:lnTo>
                    <a:pt x="149" y="434"/>
                  </a:lnTo>
                  <a:lnTo>
                    <a:pt x="149" y="433"/>
                  </a:lnTo>
                  <a:lnTo>
                    <a:pt x="149" y="433"/>
                  </a:lnTo>
                  <a:lnTo>
                    <a:pt x="148" y="432"/>
                  </a:lnTo>
                  <a:lnTo>
                    <a:pt x="147" y="431"/>
                  </a:lnTo>
                  <a:lnTo>
                    <a:pt x="146" y="431"/>
                  </a:lnTo>
                  <a:lnTo>
                    <a:pt x="145" y="430"/>
                  </a:lnTo>
                  <a:lnTo>
                    <a:pt x="145" y="429"/>
                  </a:lnTo>
                  <a:lnTo>
                    <a:pt x="144" y="428"/>
                  </a:lnTo>
                  <a:lnTo>
                    <a:pt x="144" y="428"/>
                  </a:lnTo>
                  <a:lnTo>
                    <a:pt x="144" y="427"/>
                  </a:lnTo>
                  <a:lnTo>
                    <a:pt x="144" y="426"/>
                  </a:lnTo>
                  <a:lnTo>
                    <a:pt x="144" y="426"/>
                  </a:lnTo>
                  <a:lnTo>
                    <a:pt x="144" y="425"/>
                  </a:lnTo>
                  <a:lnTo>
                    <a:pt x="144" y="425"/>
                  </a:lnTo>
                  <a:lnTo>
                    <a:pt x="144" y="424"/>
                  </a:lnTo>
                  <a:lnTo>
                    <a:pt x="144" y="424"/>
                  </a:lnTo>
                  <a:lnTo>
                    <a:pt x="145" y="423"/>
                  </a:lnTo>
                  <a:lnTo>
                    <a:pt x="145" y="422"/>
                  </a:lnTo>
                  <a:lnTo>
                    <a:pt x="146" y="422"/>
                  </a:lnTo>
                  <a:lnTo>
                    <a:pt x="147" y="421"/>
                  </a:lnTo>
                  <a:lnTo>
                    <a:pt x="148" y="420"/>
                  </a:lnTo>
                  <a:lnTo>
                    <a:pt x="149" y="420"/>
                  </a:lnTo>
                  <a:lnTo>
                    <a:pt x="151" y="419"/>
                  </a:lnTo>
                  <a:lnTo>
                    <a:pt x="152" y="419"/>
                  </a:lnTo>
                  <a:lnTo>
                    <a:pt x="152" y="418"/>
                  </a:lnTo>
                  <a:lnTo>
                    <a:pt x="153" y="418"/>
                  </a:lnTo>
                  <a:lnTo>
                    <a:pt x="153" y="417"/>
                  </a:lnTo>
                  <a:lnTo>
                    <a:pt x="153" y="417"/>
                  </a:lnTo>
                  <a:lnTo>
                    <a:pt x="154" y="416"/>
                  </a:lnTo>
                  <a:lnTo>
                    <a:pt x="154" y="415"/>
                  </a:lnTo>
                  <a:lnTo>
                    <a:pt x="154" y="415"/>
                  </a:lnTo>
                  <a:lnTo>
                    <a:pt x="154" y="414"/>
                  </a:lnTo>
                  <a:lnTo>
                    <a:pt x="154" y="413"/>
                  </a:lnTo>
                  <a:lnTo>
                    <a:pt x="154" y="412"/>
                  </a:lnTo>
                  <a:lnTo>
                    <a:pt x="153" y="411"/>
                  </a:lnTo>
                  <a:lnTo>
                    <a:pt x="153" y="411"/>
                  </a:lnTo>
                  <a:lnTo>
                    <a:pt x="152" y="410"/>
                  </a:lnTo>
                  <a:lnTo>
                    <a:pt x="152" y="410"/>
                  </a:lnTo>
                  <a:lnTo>
                    <a:pt x="149" y="408"/>
                  </a:lnTo>
                  <a:lnTo>
                    <a:pt x="148" y="407"/>
                  </a:lnTo>
                  <a:lnTo>
                    <a:pt x="147" y="406"/>
                  </a:lnTo>
                  <a:lnTo>
                    <a:pt x="146" y="405"/>
                  </a:lnTo>
                  <a:lnTo>
                    <a:pt x="144" y="402"/>
                  </a:lnTo>
                  <a:lnTo>
                    <a:pt x="143" y="401"/>
                  </a:lnTo>
                  <a:lnTo>
                    <a:pt x="142" y="399"/>
                  </a:lnTo>
                  <a:lnTo>
                    <a:pt x="140" y="398"/>
                  </a:lnTo>
                  <a:lnTo>
                    <a:pt x="139" y="397"/>
                  </a:lnTo>
                  <a:lnTo>
                    <a:pt x="139" y="396"/>
                  </a:lnTo>
                  <a:lnTo>
                    <a:pt x="138" y="396"/>
                  </a:lnTo>
                  <a:lnTo>
                    <a:pt x="137" y="395"/>
                  </a:lnTo>
                  <a:lnTo>
                    <a:pt x="136" y="395"/>
                  </a:lnTo>
                  <a:lnTo>
                    <a:pt x="136" y="395"/>
                  </a:lnTo>
                  <a:lnTo>
                    <a:pt x="134" y="394"/>
                  </a:lnTo>
                  <a:lnTo>
                    <a:pt x="131" y="393"/>
                  </a:lnTo>
                  <a:lnTo>
                    <a:pt x="129" y="392"/>
                  </a:lnTo>
                  <a:lnTo>
                    <a:pt x="128" y="391"/>
                  </a:lnTo>
                  <a:lnTo>
                    <a:pt x="126" y="391"/>
                  </a:lnTo>
                  <a:lnTo>
                    <a:pt x="125" y="391"/>
                  </a:lnTo>
                  <a:lnTo>
                    <a:pt x="125" y="390"/>
                  </a:lnTo>
                  <a:lnTo>
                    <a:pt x="121" y="387"/>
                  </a:lnTo>
                  <a:lnTo>
                    <a:pt x="120" y="387"/>
                  </a:lnTo>
                  <a:lnTo>
                    <a:pt x="119" y="386"/>
                  </a:lnTo>
                  <a:lnTo>
                    <a:pt x="118" y="385"/>
                  </a:lnTo>
                  <a:lnTo>
                    <a:pt x="117" y="384"/>
                  </a:lnTo>
                  <a:lnTo>
                    <a:pt x="116" y="382"/>
                  </a:lnTo>
                  <a:lnTo>
                    <a:pt x="111" y="378"/>
                  </a:lnTo>
                  <a:lnTo>
                    <a:pt x="110" y="376"/>
                  </a:lnTo>
                  <a:lnTo>
                    <a:pt x="108" y="375"/>
                  </a:lnTo>
                  <a:lnTo>
                    <a:pt x="107" y="373"/>
                  </a:lnTo>
                  <a:lnTo>
                    <a:pt x="105" y="372"/>
                  </a:lnTo>
                  <a:lnTo>
                    <a:pt x="104" y="371"/>
                  </a:lnTo>
                  <a:lnTo>
                    <a:pt x="103" y="370"/>
                  </a:lnTo>
                  <a:lnTo>
                    <a:pt x="101" y="369"/>
                  </a:lnTo>
                  <a:lnTo>
                    <a:pt x="100" y="368"/>
                  </a:lnTo>
                  <a:lnTo>
                    <a:pt x="99" y="367"/>
                  </a:lnTo>
                  <a:lnTo>
                    <a:pt x="97" y="367"/>
                  </a:lnTo>
                  <a:lnTo>
                    <a:pt x="96" y="366"/>
                  </a:lnTo>
                  <a:lnTo>
                    <a:pt x="94" y="366"/>
                  </a:lnTo>
                  <a:lnTo>
                    <a:pt x="88" y="364"/>
                  </a:lnTo>
                  <a:lnTo>
                    <a:pt x="86" y="363"/>
                  </a:lnTo>
                  <a:lnTo>
                    <a:pt x="85" y="363"/>
                  </a:lnTo>
                  <a:lnTo>
                    <a:pt x="84" y="362"/>
                  </a:lnTo>
                  <a:lnTo>
                    <a:pt x="83" y="362"/>
                  </a:lnTo>
                  <a:lnTo>
                    <a:pt x="82" y="361"/>
                  </a:lnTo>
                  <a:lnTo>
                    <a:pt x="82" y="361"/>
                  </a:lnTo>
                  <a:lnTo>
                    <a:pt x="81" y="360"/>
                  </a:lnTo>
                  <a:lnTo>
                    <a:pt x="81" y="360"/>
                  </a:lnTo>
                  <a:lnTo>
                    <a:pt x="81" y="359"/>
                  </a:lnTo>
                  <a:lnTo>
                    <a:pt x="80" y="357"/>
                  </a:lnTo>
                  <a:lnTo>
                    <a:pt x="80" y="356"/>
                  </a:lnTo>
                  <a:lnTo>
                    <a:pt x="80" y="353"/>
                  </a:lnTo>
                  <a:lnTo>
                    <a:pt x="79" y="352"/>
                  </a:lnTo>
                  <a:lnTo>
                    <a:pt x="79" y="351"/>
                  </a:lnTo>
                  <a:lnTo>
                    <a:pt x="79" y="350"/>
                  </a:lnTo>
                  <a:lnTo>
                    <a:pt x="78" y="348"/>
                  </a:lnTo>
                  <a:lnTo>
                    <a:pt x="76" y="343"/>
                  </a:lnTo>
                  <a:lnTo>
                    <a:pt x="75" y="342"/>
                  </a:lnTo>
                  <a:lnTo>
                    <a:pt x="75" y="341"/>
                  </a:lnTo>
                  <a:lnTo>
                    <a:pt x="74" y="339"/>
                  </a:lnTo>
                  <a:lnTo>
                    <a:pt x="73" y="339"/>
                  </a:lnTo>
                  <a:lnTo>
                    <a:pt x="73" y="338"/>
                  </a:lnTo>
                  <a:lnTo>
                    <a:pt x="72" y="338"/>
                  </a:lnTo>
                  <a:lnTo>
                    <a:pt x="72" y="337"/>
                  </a:lnTo>
                  <a:lnTo>
                    <a:pt x="70" y="336"/>
                  </a:lnTo>
                  <a:lnTo>
                    <a:pt x="69" y="335"/>
                  </a:lnTo>
                  <a:lnTo>
                    <a:pt x="68" y="334"/>
                  </a:lnTo>
                  <a:lnTo>
                    <a:pt x="68" y="334"/>
                  </a:lnTo>
                  <a:lnTo>
                    <a:pt x="67" y="333"/>
                  </a:lnTo>
                  <a:lnTo>
                    <a:pt x="67" y="332"/>
                  </a:lnTo>
                  <a:lnTo>
                    <a:pt x="66" y="332"/>
                  </a:lnTo>
                  <a:lnTo>
                    <a:pt x="66" y="330"/>
                  </a:lnTo>
                  <a:lnTo>
                    <a:pt x="65" y="329"/>
                  </a:lnTo>
                  <a:lnTo>
                    <a:pt x="65" y="328"/>
                  </a:lnTo>
                  <a:lnTo>
                    <a:pt x="63" y="324"/>
                  </a:lnTo>
                  <a:lnTo>
                    <a:pt x="62" y="320"/>
                  </a:lnTo>
                  <a:lnTo>
                    <a:pt x="61" y="318"/>
                  </a:lnTo>
                  <a:lnTo>
                    <a:pt x="60" y="317"/>
                  </a:lnTo>
                  <a:lnTo>
                    <a:pt x="60" y="316"/>
                  </a:lnTo>
                  <a:lnTo>
                    <a:pt x="59" y="315"/>
                  </a:lnTo>
                  <a:lnTo>
                    <a:pt x="58" y="314"/>
                  </a:lnTo>
                  <a:lnTo>
                    <a:pt x="58" y="313"/>
                  </a:lnTo>
                  <a:lnTo>
                    <a:pt x="57" y="313"/>
                  </a:lnTo>
                  <a:lnTo>
                    <a:pt x="57" y="313"/>
                  </a:lnTo>
                  <a:lnTo>
                    <a:pt x="56" y="313"/>
                  </a:lnTo>
                  <a:lnTo>
                    <a:pt x="55" y="313"/>
                  </a:lnTo>
                  <a:lnTo>
                    <a:pt x="52" y="313"/>
                  </a:lnTo>
                  <a:lnTo>
                    <a:pt x="51" y="313"/>
                  </a:lnTo>
                  <a:lnTo>
                    <a:pt x="49" y="313"/>
                  </a:lnTo>
                  <a:lnTo>
                    <a:pt x="46" y="313"/>
                  </a:lnTo>
                  <a:lnTo>
                    <a:pt x="45" y="313"/>
                  </a:lnTo>
                  <a:lnTo>
                    <a:pt x="44" y="313"/>
                  </a:lnTo>
                  <a:lnTo>
                    <a:pt x="43" y="313"/>
                  </a:lnTo>
                  <a:lnTo>
                    <a:pt x="42" y="312"/>
                  </a:lnTo>
                  <a:lnTo>
                    <a:pt x="41" y="312"/>
                  </a:lnTo>
                  <a:lnTo>
                    <a:pt x="40" y="312"/>
                  </a:lnTo>
                  <a:lnTo>
                    <a:pt x="40" y="311"/>
                  </a:lnTo>
                  <a:lnTo>
                    <a:pt x="39" y="311"/>
                  </a:lnTo>
                  <a:lnTo>
                    <a:pt x="38" y="310"/>
                  </a:lnTo>
                  <a:lnTo>
                    <a:pt x="35" y="307"/>
                  </a:lnTo>
                  <a:lnTo>
                    <a:pt x="34" y="306"/>
                  </a:lnTo>
                  <a:lnTo>
                    <a:pt x="34" y="305"/>
                  </a:lnTo>
                  <a:lnTo>
                    <a:pt x="33" y="303"/>
                  </a:lnTo>
                  <a:lnTo>
                    <a:pt x="32" y="301"/>
                  </a:lnTo>
                  <a:lnTo>
                    <a:pt x="30" y="298"/>
                  </a:lnTo>
                  <a:lnTo>
                    <a:pt x="29" y="295"/>
                  </a:lnTo>
                  <a:lnTo>
                    <a:pt x="28" y="292"/>
                  </a:lnTo>
                  <a:lnTo>
                    <a:pt x="26" y="288"/>
                  </a:lnTo>
                  <a:lnTo>
                    <a:pt x="25" y="285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2" y="283"/>
                  </a:lnTo>
                  <a:lnTo>
                    <a:pt x="20" y="283"/>
                  </a:lnTo>
                  <a:lnTo>
                    <a:pt x="20" y="283"/>
                  </a:lnTo>
                  <a:lnTo>
                    <a:pt x="19" y="282"/>
                  </a:lnTo>
                  <a:lnTo>
                    <a:pt x="18" y="282"/>
                  </a:lnTo>
                  <a:lnTo>
                    <a:pt x="17" y="281"/>
                  </a:lnTo>
                  <a:lnTo>
                    <a:pt x="16" y="280"/>
                  </a:lnTo>
                  <a:lnTo>
                    <a:pt x="16" y="279"/>
                  </a:lnTo>
                  <a:lnTo>
                    <a:pt x="14" y="277"/>
                  </a:lnTo>
                  <a:lnTo>
                    <a:pt x="13" y="276"/>
                  </a:lnTo>
                  <a:lnTo>
                    <a:pt x="13" y="276"/>
                  </a:lnTo>
                  <a:lnTo>
                    <a:pt x="12" y="275"/>
                  </a:lnTo>
                  <a:lnTo>
                    <a:pt x="12" y="274"/>
                  </a:lnTo>
                  <a:lnTo>
                    <a:pt x="11" y="274"/>
                  </a:lnTo>
                  <a:lnTo>
                    <a:pt x="10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8" y="273"/>
                  </a:lnTo>
                  <a:lnTo>
                    <a:pt x="7" y="272"/>
                  </a:lnTo>
                  <a:lnTo>
                    <a:pt x="5" y="272"/>
                  </a:lnTo>
                  <a:lnTo>
                    <a:pt x="4" y="272"/>
                  </a:lnTo>
                  <a:lnTo>
                    <a:pt x="3" y="272"/>
                  </a:lnTo>
                  <a:lnTo>
                    <a:pt x="3" y="272"/>
                  </a:lnTo>
                  <a:lnTo>
                    <a:pt x="2" y="272"/>
                  </a:lnTo>
                  <a:lnTo>
                    <a:pt x="2" y="272"/>
                  </a:lnTo>
                  <a:lnTo>
                    <a:pt x="2" y="271"/>
                  </a:lnTo>
                  <a:lnTo>
                    <a:pt x="1" y="267"/>
                  </a:lnTo>
                  <a:lnTo>
                    <a:pt x="0" y="266"/>
                  </a:lnTo>
                  <a:lnTo>
                    <a:pt x="0" y="265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59"/>
                  </a:lnTo>
                  <a:lnTo>
                    <a:pt x="0" y="258"/>
                  </a:lnTo>
                  <a:lnTo>
                    <a:pt x="0" y="256"/>
                  </a:lnTo>
                  <a:lnTo>
                    <a:pt x="0" y="255"/>
                  </a:lnTo>
                  <a:lnTo>
                    <a:pt x="1" y="253"/>
                  </a:lnTo>
                  <a:lnTo>
                    <a:pt x="1" y="251"/>
                  </a:lnTo>
                  <a:lnTo>
                    <a:pt x="2" y="249"/>
                  </a:lnTo>
                  <a:lnTo>
                    <a:pt x="2" y="248"/>
                  </a:lnTo>
                  <a:lnTo>
                    <a:pt x="2" y="247"/>
                  </a:lnTo>
                  <a:lnTo>
                    <a:pt x="3" y="246"/>
                  </a:lnTo>
                  <a:lnTo>
                    <a:pt x="4" y="243"/>
                  </a:lnTo>
                  <a:lnTo>
                    <a:pt x="5" y="241"/>
                  </a:lnTo>
                  <a:lnTo>
                    <a:pt x="6" y="240"/>
                  </a:lnTo>
                  <a:lnTo>
                    <a:pt x="7" y="239"/>
                  </a:lnTo>
                  <a:lnTo>
                    <a:pt x="8" y="238"/>
                  </a:lnTo>
                  <a:lnTo>
                    <a:pt x="8" y="238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10" y="236"/>
                  </a:lnTo>
                  <a:lnTo>
                    <a:pt x="11" y="236"/>
                  </a:lnTo>
                  <a:lnTo>
                    <a:pt x="13" y="235"/>
                  </a:lnTo>
                  <a:lnTo>
                    <a:pt x="14" y="235"/>
                  </a:lnTo>
                  <a:lnTo>
                    <a:pt x="14" y="234"/>
                  </a:lnTo>
                  <a:lnTo>
                    <a:pt x="15" y="233"/>
                  </a:lnTo>
                  <a:lnTo>
                    <a:pt x="16" y="233"/>
                  </a:lnTo>
                  <a:lnTo>
                    <a:pt x="17" y="232"/>
                  </a:lnTo>
                  <a:lnTo>
                    <a:pt x="17" y="232"/>
                  </a:lnTo>
                  <a:lnTo>
                    <a:pt x="17" y="231"/>
                  </a:lnTo>
                  <a:lnTo>
                    <a:pt x="18" y="230"/>
                  </a:lnTo>
                  <a:lnTo>
                    <a:pt x="18" y="230"/>
                  </a:lnTo>
                  <a:lnTo>
                    <a:pt x="18" y="229"/>
                  </a:lnTo>
                  <a:lnTo>
                    <a:pt x="18" y="228"/>
                  </a:lnTo>
                  <a:lnTo>
                    <a:pt x="18" y="227"/>
                  </a:lnTo>
                  <a:lnTo>
                    <a:pt x="18" y="226"/>
                  </a:lnTo>
                  <a:lnTo>
                    <a:pt x="18" y="225"/>
                  </a:lnTo>
                  <a:lnTo>
                    <a:pt x="18" y="223"/>
                  </a:lnTo>
                  <a:lnTo>
                    <a:pt x="17" y="219"/>
                  </a:lnTo>
                  <a:lnTo>
                    <a:pt x="17" y="218"/>
                  </a:lnTo>
                  <a:lnTo>
                    <a:pt x="17" y="216"/>
                  </a:lnTo>
                  <a:lnTo>
                    <a:pt x="15" y="214"/>
                  </a:lnTo>
                  <a:lnTo>
                    <a:pt x="15" y="212"/>
                  </a:lnTo>
                  <a:lnTo>
                    <a:pt x="15" y="211"/>
                  </a:lnTo>
                  <a:lnTo>
                    <a:pt x="15" y="210"/>
                  </a:lnTo>
                  <a:lnTo>
                    <a:pt x="15" y="210"/>
                  </a:lnTo>
                  <a:lnTo>
                    <a:pt x="15" y="209"/>
                  </a:lnTo>
                  <a:lnTo>
                    <a:pt x="16" y="206"/>
                  </a:lnTo>
                  <a:lnTo>
                    <a:pt x="16" y="205"/>
                  </a:lnTo>
                  <a:lnTo>
                    <a:pt x="16" y="203"/>
                  </a:lnTo>
                  <a:lnTo>
                    <a:pt x="16" y="200"/>
                  </a:lnTo>
                  <a:lnTo>
                    <a:pt x="17" y="198"/>
                  </a:lnTo>
                  <a:lnTo>
                    <a:pt x="17" y="196"/>
                  </a:lnTo>
                  <a:lnTo>
                    <a:pt x="18" y="192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9" y="191"/>
                  </a:lnTo>
                  <a:lnTo>
                    <a:pt x="19" y="191"/>
                  </a:lnTo>
                  <a:lnTo>
                    <a:pt x="20" y="191"/>
                  </a:lnTo>
                  <a:lnTo>
                    <a:pt x="21" y="191"/>
                  </a:lnTo>
                  <a:lnTo>
                    <a:pt x="24" y="191"/>
                  </a:lnTo>
                  <a:lnTo>
                    <a:pt x="25" y="192"/>
                  </a:lnTo>
                  <a:lnTo>
                    <a:pt x="26" y="192"/>
                  </a:lnTo>
                  <a:lnTo>
                    <a:pt x="27" y="192"/>
                  </a:lnTo>
                  <a:lnTo>
                    <a:pt x="28" y="192"/>
                  </a:lnTo>
                  <a:lnTo>
                    <a:pt x="29" y="191"/>
                  </a:lnTo>
                  <a:lnTo>
                    <a:pt x="29" y="191"/>
                  </a:lnTo>
                  <a:lnTo>
                    <a:pt x="30" y="191"/>
                  </a:lnTo>
                  <a:lnTo>
                    <a:pt x="31" y="191"/>
                  </a:lnTo>
                  <a:lnTo>
                    <a:pt x="32" y="190"/>
                  </a:lnTo>
                  <a:lnTo>
                    <a:pt x="33" y="189"/>
                  </a:lnTo>
                  <a:lnTo>
                    <a:pt x="35" y="188"/>
                  </a:lnTo>
                  <a:lnTo>
                    <a:pt x="38" y="186"/>
                  </a:lnTo>
                  <a:lnTo>
                    <a:pt x="38" y="185"/>
                  </a:lnTo>
                  <a:lnTo>
                    <a:pt x="40" y="185"/>
                  </a:lnTo>
                  <a:lnTo>
                    <a:pt x="41" y="184"/>
                  </a:lnTo>
                  <a:lnTo>
                    <a:pt x="44" y="183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6" y="182"/>
                  </a:lnTo>
                  <a:lnTo>
                    <a:pt x="46" y="181"/>
                  </a:lnTo>
                  <a:lnTo>
                    <a:pt x="47" y="178"/>
                  </a:lnTo>
                  <a:lnTo>
                    <a:pt x="48" y="175"/>
                  </a:lnTo>
                  <a:lnTo>
                    <a:pt x="48" y="174"/>
                  </a:lnTo>
                  <a:lnTo>
                    <a:pt x="49" y="173"/>
                  </a:lnTo>
                  <a:lnTo>
                    <a:pt x="49" y="172"/>
                  </a:lnTo>
                  <a:lnTo>
                    <a:pt x="50" y="171"/>
                  </a:lnTo>
                  <a:lnTo>
                    <a:pt x="51" y="170"/>
                  </a:lnTo>
                  <a:lnTo>
                    <a:pt x="52" y="169"/>
                  </a:lnTo>
                  <a:lnTo>
                    <a:pt x="53" y="168"/>
                  </a:lnTo>
                  <a:lnTo>
                    <a:pt x="53" y="167"/>
                  </a:lnTo>
                  <a:lnTo>
                    <a:pt x="53" y="167"/>
                  </a:lnTo>
                  <a:lnTo>
                    <a:pt x="53" y="167"/>
                  </a:lnTo>
                  <a:lnTo>
                    <a:pt x="53" y="166"/>
                  </a:lnTo>
                  <a:lnTo>
                    <a:pt x="53" y="165"/>
                  </a:lnTo>
                  <a:lnTo>
                    <a:pt x="53" y="164"/>
                  </a:lnTo>
                  <a:lnTo>
                    <a:pt x="53" y="163"/>
                  </a:lnTo>
                  <a:lnTo>
                    <a:pt x="52" y="162"/>
                  </a:lnTo>
                  <a:lnTo>
                    <a:pt x="52" y="162"/>
                  </a:lnTo>
                  <a:lnTo>
                    <a:pt x="52" y="161"/>
                  </a:lnTo>
                  <a:lnTo>
                    <a:pt x="50" y="159"/>
                  </a:lnTo>
                  <a:lnTo>
                    <a:pt x="50" y="158"/>
                  </a:lnTo>
                  <a:lnTo>
                    <a:pt x="49" y="156"/>
                  </a:lnTo>
                  <a:lnTo>
                    <a:pt x="48" y="155"/>
                  </a:lnTo>
                  <a:lnTo>
                    <a:pt x="48" y="154"/>
                  </a:lnTo>
                  <a:lnTo>
                    <a:pt x="48" y="153"/>
                  </a:lnTo>
                  <a:lnTo>
                    <a:pt x="48" y="153"/>
                  </a:lnTo>
                  <a:lnTo>
                    <a:pt x="48" y="152"/>
                  </a:lnTo>
                  <a:lnTo>
                    <a:pt x="48" y="151"/>
                  </a:lnTo>
                  <a:lnTo>
                    <a:pt x="49" y="151"/>
                  </a:lnTo>
                  <a:lnTo>
                    <a:pt x="49" y="150"/>
                  </a:lnTo>
                  <a:lnTo>
                    <a:pt x="49" y="149"/>
                  </a:lnTo>
                  <a:lnTo>
                    <a:pt x="50" y="149"/>
                  </a:lnTo>
                  <a:lnTo>
                    <a:pt x="51" y="148"/>
                  </a:lnTo>
                  <a:lnTo>
                    <a:pt x="52" y="146"/>
                  </a:lnTo>
                  <a:lnTo>
                    <a:pt x="53" y="146"/>
                  </a:lnTo>
                  <a:lnTo>
                    <a:pt x="53" y="145"/>
                  </a:lnTo>
                  <a:lnTo>
                    <a:pt x="55" y="145"/>
                  </a:lnTo>
                  <a:lnTo>
                    <a:pt x="55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3"/>
                  </a:lnTo>
                  <a:lnTo>
                    <a:pt x="57" y="143"/>
                  </a:lnTo>
                  <a:lnTo>
                    <a:pt x="57" y="142"/>
                  </a:lnTo>
                  <a:lnTo>
                    <a:pt x="57" y="141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39"/>
                  </a:lnTo>
                  <a:lnTo>
                    <a:pt x="55" y="138"/>
                  </a:lnTo>
                  <a:lnTo>
                    <a:pt x="54" y="138"/>
                  </a:lnTo>
                  <a:lnTo>
                    <a:pt x="54" y="137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5"/>
                  </a:lnTo>
                  <a:lnTo>
                    <a:pt x="52" y="135"/>
                  </a:lnTo>
                  <a:lnTo>
                    <a:pt x="52" y="134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3" y="131"/>
                  </a:lnTo>
                  <a:lnTo>
                    <a:pt x="53" y="130"/>
                  </a:lnTo>
                  <a:lnTo>
                    <a:pt x="53" y="130"/>
                  </a:lnTo>
                  <a:lnTo>
                    <a:pt x="54" y="130"/>
                  </a:lnTo>
                  <a:lnTo>
                    <a:pt x="56" y="129"/>
                  </a:lnTo>
                  <a:lnTo>
                    <a:pt x="56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7"/>
                  </a:lnTo>
                  <a:lnTo>
                    <a:pt x="58" y="127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5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3"/>
                  </a:lnTo>
                  <a:lnTo>
                    <a:pt x="58" y="122"/>
                  </a:lnTo>
                  <a:lnTo>
                    <a:pt x="58" y="121"/>
                  </a:lnTo>
                  <a:lnTo>
                    <a:pt x="58" y="120"/>
                  </a:lnTo>
                  <a:lnTo>
                    <a:pt x="58" y="119"/>
                  </a:lnTo>
                  <a:lnTo>
                    <a:pt x="59" y="118"/>
                  </a:lnTo>
                  <a:lnTo>
                    <a:pt x="59" y="117"/>
                  </a:lnTo>
                  <a:lnTo>
                    <a:pt x="59" y="116"/>
                  </a:lnTo>
                  <a:lnTo>
                    <a:pt x="59" y="116"/>
                  </a:lnTo>
                  <a:lnTo>
                    <a:pt x="60" y="115"/>
                  </a:lnTo>
                  <a:lnTo>
                    <a:pt x="62" y="113"/>
                  </a:lnTo>
                  <a:lnTo>
                    <a:pt x="62" y="112"/>
                  </a:lnTo>
                  <a:lnTo>
                    <a:pt x="64" y="112"/>
                  </a:lnTo>
                  <a:lnTo>
                    <a:pt x="66" y="110"/>
                  </a:lnTo>
                  <a:lnTo>
                    <a:pt x="69" y="108"/>
                  </a:lnTo>
                  <a:lnTo>
                    <a:pt x="69" y="107"/>
                  </a:lnTo>
                  <a:lnTo>
                    <a:pt x="70" y="107"/>
                  </a:lnTo>
                  <a:lnTo>
                    <a:pt x="70" y="106"/>
                  </a:lnTo>
                  <a:lnTo>
                    <a:pt x="71" y="105"/>
                  </a:lnTo>
                  <a:lnTo>
                    <a:pt x="71" y="103"/>
                  </a:lnTo>
                  <a:lnTo>
                    <a:pt x="72" y="101"/>
                  </a:lnTo>
                  <a:lnTo>
                    <a:pt x="73" y="99"/>
                  </a:lnTo>
                  <a:lnTo>
                    <a:pt x="74" y="98"/>
                  </a:lnTo>
                  <a:lnTo>
                    <a:pt x="75" y="96"/>
                  </a:lnTo>
                  <a:lnTo>
                    <a:pt x="76" y="95"/>
                  </a:lnTo>
                  <a:lnTo>
                    <a:pt x="76" y="94"/>
                  </a:lnTo>
                  <a:lnTo>
                    <a:pt x="76" y="93"/>
                  </a:lnTo>
                  <a:lnTo>
                    <a:pt x="77" y="91"/>
                  </a:lnTo>
                  <a:lnTo>
                    <a:pt x="77" y="90"/>
                  </a:lnTo>
                  <a:lnTo>
                    <a:pt x="77" y="89"/>
                  </a:lnTo>
                  <a:lnTo>
                    <a:pt x="77" y="88"/>
                  </a:lnTo>
                  <a:lnTo>
                    <a:pt x="77" y="87"/>
                  </a:lnTo>
                  <a:lnTo>
                    <a:pt x="76" y="87"/>
                  </a:lnTo>
                  <a:lnTo>
                    <a:pt x="76" y="86"/>
                  </a:lnTo>
                  <a:lnTo>
                    <a:pt x="74" y="84"/>
                  </a:lnTo>
                  <a:lnTo>
                    <a:pt x="74" y="83"/>
                  </a:lnTo>
                  <a:lnTo>
                    <a:pt x="73" y="82"/>
                  </a:lnTo>
                  <a:lnTo>
                    <a:pt x="71" y="79"/>
                  </a:lnTo>
                  <a:lnTo>
                    <a:pt x="71" y="78"/>
                  </a:lnTo>
                  <a:lnTo>
                    <a:pt x="71" y="76"/>
                  </a:lnTo>
                  <a:lnTo>
                    <a:pt x="70" y="75"/>
                  </a:lnTo>
                  <a:lnTo>
                    <a:pt x="70" y="73"/>
                  </a:lnTo>
                  <a:lnTo>
                    <a:pt x="70" y="72"/>
                  </a:lnTo>
                  <a:lnTo>
                    <a:pt x="70" y="70"/>
                  </a:lnTo>
                  <a:lnTo>
                    <a:pt x="71" y="67"/>
                  </a:lnTo>
                  <a:lnTo>
                    <a:pt x="71" y="66"/>
                  </a:lnTo>
                  <a:lnTo>
                    <a:pt x="71" y="65"/>
                  </a:lnTo>
                  <a:lnTo>
                    <a:pt x="72" y="64"/>
                  </a:lnTo>
                  <a:lnTo>
                    <a:pt x="72" y="63"/>
                  </a:lnTo>
                  <a:lnTo>
                    <a:pt x="73" y="61"/>
                  </a:lnTo>
                  <a:lnTo>
                    <a:pt x="75" y="58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5" y="56"/>
                  </a:lnTo>
                  <a:lnTo>
                    <a:pt x="75" y="55"/>
                  </a:lnTo>
                  <a:lnTo>
                    <a:pt x="75" y="54"/>
                  </a:lnTo>
                  <a:lnTo>
                    <a:pt x="74" y="52"/>
                  </a:lnTo>
                  <a:lnTo>
                    <a:pt x="73" y="50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1" y="45"/>
                  </a:lnTo>
                  <a:lnTo>
                    <a:pt x="71" y="44"/>
                  </a:lnTo>
                  <a:lnTo>
                    <a:pt x="71" y="40"/>
                  </a:lnTo>
                  <a:lnTo>
                    <a:pt x="71" y="39"/>
                  </a:lnTo>
                  <a:lnTo>
                    <a:pt x="71" y="38"/>
                  </a:lnTo>
                  <a:lnTo>
                    <a:pt x="71" y="36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69" y="34"/>
                  </a:lnTo>
                  <a:lnTo>
                    <a:pt x="68" y="33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8" y="29"/>
                  </a:lnTo>
                  <a:lnTo>
                    <a:pt x="69" y="24"/>
                  </a:lnTo>
                  <a:lnTo>
                    <a:pt x="70" y="23"/>
                  </a:lnTo>
                  <a:lnTo>
                    <a:pt x="70" y="23"/>
                  </a:lnTo>
                  <a:lnTo>
                    <a:pt x="70" y="22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3" y="21"/>
                  </a:lnTo>
                  <a:lnTo>
                    <a:pt x="73" y="21"/>
                  </a:lnTo>
                  <a:lnTo>
                    <a:pt x="74" y="21"/>
                  </a:lnTo>
                  <a:lnTo>
                    <a:pt x="76" y="21"/>
                  </a:lnTo>
                  <a:lnTo>
                    <a:pt x="77" y="21"/>
                  </a:lnTo>
                  <a:lnTo>
                    <a:pt x="80" y="20"/>
                  </a:lnTo>
                  <a:lnTo>
                    <a:pt x="83" y="19"/>
                  </a:lnTo>
                  <a:lnTo>
                    <a:pt x="85" y="18"/>
                  </a:lnTo>
                  <a:lnTo>
                    <a:pt x="87" y="17"/>
                  </a:lnTo>
                  <a:lnTo>
                    <a:pt x="87" y="17"/>
                  </a:lnTo>
                  <a:lnTo>
                    <a:pt x="88" y="17"/>
                  </a:lnTo>
                  <a:lnTo>
                    <a:pt x="88" y="17"/>
                  </a:lnTo>
                  <a:lnTo>
                    <a:pt x="89" y="17"/>
                  </a:lnTo>
                  <a:lnTo>
                    <a:pt x="89" y="17"/>
                  </a:lnTo>
                  <a:lnTo>
                    <a:pt x="90" y="17"/>
                  </a:lnTo>
                  <a:lnTo>
                    <a:pt x="90" y="18"/>
                  </a:lnTo>
                  <a:lnTo>
                    <a:pt x="92" y="20"/>
                  </a:lnTo>
                  <a:lnTo>
                    <a:pt x="93" y="20"/>
                  </a:lnTo>
                  <a:lnTo>
                    <a:pt x="93" y="20"/>
                  </a:lnTo>
                  <a:lnTo>
                    <a:pt x="94" y="20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6" y="21"/>
                  </a:lnTo>
                  <a:lnTo>
                    <a:pt x="96" y="20"/>
                  </a:lnTo>
                  <a:lnTo>
                    <a:pt x="97" y="20"/>
                  </a:lnTo>
                  <a:lnTo>
                    <a:pt x="98" y="20"/>
                  </a:lnTo>
                  <a:lnTo>
                    <a:pt x="100" y="18"/>
                  </a:lnTo>
                  <a:lnTo>
                    <a:pt x="101" y="18"/>
                  </a:lnTo>
                  <a:lnTo>
                    <a:pt x="102" y="18"/>
                  </a:lnTo>
                  <a:lnTo>
                    <a:pt x="103" y="18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5" y="18"/>
                  </a:lnTo>
                  <a:lnTo>
                    <a:pt x="105" y="19"/>
                  </a:lnTo>
                  <a:lnTo>
                    <a:pt x="108" y="20"/>
                  </a:lnTo>
                  <a:lnTo>
                    <a:pt x="108" y="21"/>
                  </a:lnTo>
                  <a:lnTo>
                    <a:pt x="110" y="22"/>
                  </a:lnTo>
                  <a:lnTo>
                    <a:pt x="110" y="22"/>
                  </a:lnTo>
                  <a:lnTo>
                    <a:pt x="111" y="22"/>
                  </a:lnTo>
                  <a:lnTo>
                    <a:pt x="111" y="23"/>
                  </a:lnTo>
                  <a:lnTo>
                    <a:pt x="112" y="23"/>
                  </a:lnTo>
                  <a:lnTo>
                    <a:pt x="112" y="24"/>
                  </a:lnTo>
                  <a:lnTo>
                    <a:pt x="113" y="24"/>
                  </a:lnTo>
                  <a:lnTo>
                    <a:pt x="115" y="25"/>
                  </a:lnTo>
                  <a:lnTo>
                    <a:pt x="115" y="25"/>
                  </a:lnTo>
                  <a:lnTo>
                    <a:pt x="116" y="25"/>
                  </a:lnTo>
                  <a:lnTo>
                    <a:pt x="117" y="26"/>
                  </a:lnTo>
                  <a:lnTo>
                    <a:pt x="118" y="26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6"/>
                  </a:lnTo>
                  <a:lnTo>
                    <a:pt x="122" y="25"/>
                  </a:lnTo>
                  <a:lnTo>
                    <a:pt x="123" y="25"/>
                  </a:lnTo>
                  <a:lnTo>
                    <a:pt x="123" y="24"/>
                  </a:lnTo>
                  <a:lnTo>
                    <a:pt x="125" y="23"/>
                  </a:lnTo>
                  <a:lnTo>
                    <a:pt x="126" y="23"/>
                  </a:lnTo>
                  <a:lnTo>
                    <a:pt x="127" y="22"/>
                  </a:lnTo>
                  <a:lnTo>
                    <a:pt x="128" y="22"/>
                  </a:lnTo>
                  <a:lnTo>
                    <a:pt x="128" y="22"/>
                  </a:lnTo>
                  <a:lnTo>
                    <a:pt x="132" y="21"/>
                  </a:lnTo>
                  <a:lnTo>
                    <a:pt x="133" y="21"/>
                  </a:lnTo>
                  <a:lnTo>
                    <a:pt x="134" y="21"/>
                  </a:lnTo>
                  <a:lnTo>
                    <a:pt x="134" y="21"/>
                  </a:lnTo>
                  <a:lnTo>
                    <a:pt x="135" y="20"/>
                  </a:lnTo>
                  <a:lnTo>
                    <a:pt x="136" y="20"/>
                  </a:lnTo>
                  <a:lnTo>
                    <a:pt x="138" y="18"/>
                  </a:lnTo>
                  <a:lnTo>
                    <a:pt x="139" y="18"/>
                  </a:lnTo>
                  <a:lnTo>
                    <a:pt x="139" y="18"/>
                  </a:lnTo>
                  <a:lnTo>
                    <a:pt x="141" y="17"/>
                  </a:lnTo>
                  <a:lnTo>
                    <a:pt x="141" y="17"/>
                  </a:lnTo>
                  <a:lnTo>
                    <a:pt x="142" y="17"/>
                  </a:lnTo>
                  <a:lnTo>
                    <a:pt x="142" y="16"/>
                  </a:lnTo>
                  <a:lnTo>
                    <a:pt x="143" y="16"/>
                  </a:lnTo>
                  <a:lnTo>
                    <a:pt x="143" y="15"/>
                  </a:lnTo>
                  <a:lnTo>
                    <a:pt x="144" y="14"/>
                  </a:lnTo>
                  <a:lnTo>
                    <a:pt x="144" y="13"/>
                  </a:lnTo>
                  <a:lnTo>
                    <a:pt x="145" y="12"/>
                  </a:lnTo>
                  <a:lnTo>
                    <a:pt x="146" y="10"/>
                  </a:lnTo>
                  <a:lnTo>
                    <a:pt x="147" y="8"/>
                  </a:lnTo>
                  <a:lnTo>
                    <a:pt x="147" y="7"/>
                  </a:lnTo>
                  <a:lnTo>
                    <a:pt x="147" y="7"/>
                  </a:lnTo>
                  <a:lnTo>
                    <a:pt x="148" y="6"/>
                  </a:lnTo>
                  <a:lnTo>
                    <a:pt x="148" y="6"/>
                  </a:lnTo>
                  <a:lnTo>
                    <a:pt x="149" y="5"/>
                  </a:lnTo>
                  <a:lnTo>
                    <a:pt x="150" y="5"/>
                  </a:lnTo>
                  <a:lnTo>
                    <a:pt x="153" y="3"/>
                  </a:lnTo>
                  <a:lnTo>
                    <a:pt x="156" y="2"/>
                  </a:lnTo>
                  <a:lnTo>
                    <a:pt x="157" y="1"/>
                  </a:lnTo>
                  <a:lnTo>
                    <a:pt x="158" y="1"/>
                  </a:lnTo>
                  <a:lnTo>
                    <a:pt x="160" y="0"/>
                  </a:lnTo>
                  <a:lnTo>
                    <a:pt x="162" y="0"/>
                  </a:lnTo>
                  <a:lnTo>
                    <a:pt x="162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Freeform 14">
              <a:extLst>
                <a:ext uri="{FF2B5EF4-FFF2-40B4-BE49-F238E27FC236}">
                  <a16:creationId xmlns:a16="http://schemas.microsoft.com/office/drawing/2014/main" id="{8B54BAAA-8D1F-0605-643C-F9C3105EB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301"/>
              <a:ext cx="427" cy="537"/>
            </a:xfrm>
            <a:custGeom>
              <a:avLst/>
              <a:gdLst>
                <a:gd name="T0" fmla="*/ 287 w 427"/>
                <a:gd name="T1" fmla="*/ 2 h 537"/>
                <a:gd name="T2" fmla="*/ 301 w 427"/>
                <a:gd name="T3" fmla="*/ 10 h 537"/>
                <a:gd name="T4" fmla="*/ 305 w 427"/>
                <a:gd name="T5" fmla="*/ 23 h 537"/>
                <a:gd name="T6" fmla="*/ 311 w 427"/>
                <a:gd name="T7" fmla="*/ 34 h 537"/>
                <a:gd name="T8" fmla="*/ 338 w 427"/>
                <a:gd name="T9" fmla="*/ 34 h 537"/>
                <a:gd name="T10" fmla="*/ 337 w 427"/>
                <a:gd name="T11" fmla="*/ 41 h 537"/>
                <a:gd name="T12" fmla="*/ 367 w 427"/>
                <a:gd name="T13" fmla="*/ 52 h 537"/>
                <a:gd name="T14" fmla="*/ 394 w 427"/>
                <a:gd name="T15" fmla="*/ 66 h 537"/>
                <a:gd name="T16" fmla="*/ 406 w 427"/>
                <a:gd name="T17" fmla="*/ 77 h 537"/>
                <a:gd name="T18" fmla="*/ 427 w 427"/>
                <a:gd name="T19" fmla="*/ 109 h 537"/>
                <a:gd name="T20" fmla="*/ 419 w 427"/>
                <a:gd name="T21" fmla="*/ 137 h 537"/>
                <a:gd name="T22" fmla="*/ 416 w 427"/>
                <a:gd name="T23" fmla="*/ 160 h 537"/>
                <a:gd name="T24" fmla="*/ 408 w 427"/>
                <a:gd name="T25" fmla="*/ 178 h 537"/>
                <a:gd name="T26" fmla="*/ 390 w 427"/>
                <a:gd name="T27" fmla="*/ 179 h 537"/>
                <a:gd name="T28" fmla="*/ 382 w 427"/>
                <a:gd name="T29" fmla="*/ 198 h 537"/>
                <a:gd name="T30" fmla="*/ 386 w 427"/>
                <a:gd name="T31" fmla="*/ 204 h 537"/>
                <a:gd name="T32" fmla="*/ 388 w 427"/>
                <a:gd name="T33" fmla="*/ 215 h 537"/>
                <a:gd name="T34" fmla="*/ 388 w 427"/>
                <a:gd name="T35" fmla="*/ 223 h 537"/>
                <a:gd name="T36" fmla="*/ 401 w 427"/>
                <a:gd name="T37" fmla="*/ 232 h 537"/>
                <a:gd name="T38" fmla="*/ 404 w 427"/>
                <a:gd name="T39" fmla="*/ 262 h 537"/>
                <a:gd name="T40" fmla="*/ 403 w 427"/>
                <a:gd name="T41" fmla="*/ 279 h 537"/>
                <a:gd name="T42" fmla="*/ 407 w 427"/>
                <a:gd name="T43" fmla="*/ 305 h 537"/>
                <a:gd name="T44" fmla="*/ 405 w 427"/>
                <a:gd name="T45" fmla="*/ 334 h 537"/>
                <a:gd name="T46" fmla="*/ 404 w 427"/>
                <a:gd name="T47" fmla="*/ 362 h 537"/>
                <a:gd name="T48" fmla="*/ 392 w 427"/>
                <a:gd name="T49" fmla="*/ 381 h 537"/>
                <a:gd name="T50" fmla="*/ 387 w 427"/>
                <a:gd name="T51" fmla="*/ 391 h 537"/>
                <a:gd name="T52" fmla="*/ 384 w 427"/>
                <a:gd name="T53" fmla="*/ 404 h 537"/>
                <a:gd name="T54" fmla="*/ 387 w 427"/>
                <a:gd name="T55" fmla="*/ 422 h 537"/>
                <a:gd name="T56" fmla="*/ 369 w 427"/>
                <a:gd name="T57" fmla="*/ 443 h 537"/>
                <a:gd name="T58" fmla="*/ 351 w 427"/>
                <a:gd name="T59" fmla="*/ 453 h 537"/>
                <a:gd name="T60" fmla="*/ 352 w 427"/>
                <a:gd name="T61" fmla="*/ 485 h 537"/>
                <a:gd name="T62" fmla="*/ 336 w 427"/>
                <a:gd name="T63" fmla="*/ 503 h 537"/>
                <a:gd name="T64" fmla="*/ 334 w 427"/>
                <a:gd name="T65" fmla="*/ 526 h 537"/>
                <a:gd name="T66" fmla="*/ 318 w 427"/>
                <a:gd name="T67" fmla="*/ 537 h 537"/>
                <a:gd name="T68" fmla="*/ 292 w 427"/>
                <a:gd name="T69" fmla="*/ 509 h 537"/>
                <a:gd name="T70" fmla="*/ 269 w 427"/>
                <a:gd name="T71" fmla="*/ 465 h 537"/>
                <a:gd name="T72" fmla="*/ 236 w 427"/>
                <a:gd name="T73" fmla="*/ 454 h 537"/>
                <a:gd name="T74" fmla="*/ 220 w 427"/>
                <a:gd name="T75" fmla="*/ 429 h 537"/>
                <a:gd name="T76" fmla="*/ 191 w 427"/>
                <a:gd name="T77" fmla="*/ 392 h 537"/>
                <a:gd name="T78" fmla="*/ 176 w 427"/>
                <a:gd name="T79" fmla="*/ 366 h 537"/>
                <a:gd name="T80" fmla="*/ 141 w 427"/>
                <a:gd name="T81" fmla="*/ 347 h 537"/>
                <a:gd name="T82" fmla="*/ 117 w 427"/>
                <a:gd name="T83" fmla="*/ 349 h 537"/>
                <a:gd name="T84" fmla="*/ 98 w 427"/>
                <a:gd name="T85" fmla="*/ 322 h 537"/>
                <a:gd name="T86" fmla="*/ 71 w 427"/>
                <a:gd name="T87" fmla="*/ 300 h 537"/>
                <a:gd name="T88" fmla="*/ 66 w 427"/>
                <a:gd name="T89" fmla="*/ 263 h 537"/>
                <a:gd name="T90" fmla="*/ 48 w 427"/>
                <a:gd name="T91" fmla="*/ 242 h 537"/>
                <a:gd name="T92" fmla="*/ 35 w 427"/>
                <a:gd name="T93" fmla="*/ 213 h 537"/>
                <a:gd name="T94" fmla="*/ 32 w 427"/>
                <a:gd name="T95" fmla="*/ 188 h 537"/>
                <a:gd name="T96" fmla="*/ 1 w 427"/>
                <a:gd name="T97" fmla="*/ 160 h 537"/>
                <a:gd name="T98" fmla="*/ 18 w 427"/>
                <a:gd name="T99" fmla="*/ 138 h 537"/>
                <a:gd name="T100" fmla="*/ 35 w 427"/>
                <a:gd name="T101" fmla="*/ 103 h 537"/>
                <a:gd name="T102" fmla="*/ 63 w 427"/>
                <a:gd name="T103" fmla="*/ 87 h 537"/>
                <a:gd name="T104" fmla="*/ 83 w 427"/>
                <a:gd name="T105" fmla="*/ 91 h 537"/>
                <a:gd name="T106" fmla="*/ 95 w 427"/>
                <a:gd name="T107" fmla="*/ 79 h 537"/>
                <a:gd name="T108" fmla="*/ 124 w 427"/>
                <a:gd name="T109" fmla="*/ 74 h 537"/>
                <a:gd name="T110" fmla="*/ 156 w 427"/>
                <a:gd name="T111" fmla="*/ 80 h 537"/>
                <a:gd name="T112" fmla="*/ 170 w 427"/>
                <a:gd name="T113" fmla="*/ 60 h 537"/>
                <a:gd name="T114" fmla="*/ 200 w 427"/>
                <a:gd name="T115" fmla="*/ 41 h 537"/>
                <a:gd name="T116" fmla="*/ 229 w 427"/>
                <a:gd name="T117" fmla="*/ 36 h 537"/>
                <a:gd name="T118" fmla="*/ 250 w 427"/>
                <a:gd name="T119" fmla="*/ 46 h 537"/>
                <a:gd name="T120" fmla="*/ 259 w 427"/>
                <a:gd name="T121" fmla="*/ 24 h 537"/>
                <a:gd name="T122" fmla="*/ 267 w 427"/>
                <a:gd name="T123" fmla="*/ 11 h 537"/>
                <a:gd name="T124" fmla="*/ 278 w 427"/>
                <a:gd name="T125" fmla="*/ 1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537">
                  <a:moveTo>
                    <a:pt x="279" y="1"/>
                  </a:moveTo>
                  <a:lnTo>
                    <a:pt x="279" y="1"/>
                  </a:lnTo>
                  <a:lnTo>
                    <a:pt x="279" y="1"/>
                  </a:lnTo>
                  <a:lnTo>
                    <a:pt x="279" y="2"/>
                  </a:lnTo>
                  <a:lnTo>
                    <a:pt x="279" y="4"/>
                  </a:lnTo>
                  <a:lnTo>
                    <a:pt x="279" y="4"/>
                  </a:lnTo>
                  <a:lnTo>
                    <a:pt x="280" y="5"/>
                  </a:lnTo>
                  <a:lnTo>
                    <a:pt x="280" y="5"/>
                  </a:lnTo>
                  <a:lnTo>
                    <a:pt x="280" y="6"/>
                  </a:lnTo>
                  <a:lnTo>
                    <a:pt x="281" y="6"/>
                  </a:lnTo>
                  <a:lnTo>
                    <a:pt x="281" y="6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83" y="5"/>
                  </a:lnTo>
                  <a:lnTo>
                    <a:pt x="283" y="5"/>
                  </a:lnTo>
                  <a:lnTo>
                    <a:pt x="285" y="3"/>
                  </a:lnTo>
                  <a:lnTo>
                    <a:pt x="285" y="3"/>
                  </a:lnTo>
                  <a:lnTo>
                    <a:pt x="286" y="2"/>
                  </a:lnTo>
                  <a:lnTo>
                    <a:pt x="286" y="2"/>
                  </a:lnTo>
                  <a:lnTo>
                    <a:pt x="287" y="2"/>
                  </a:lnTo>
                  <a:lnTo>
                    <a:pt x="288" y="1"/>
                  </a:lnTo>
                  <a:lnTo>
                    <a:pt x="288" y="2"/>
                  </a:lnTo>
                  <a:lnTo>
                    <a:pt x="288" y="2"/>
                  </a:lnTo>
                  <a:lnTo>
                    <a:pt x="289" y="3"/>
                  </a:lnTo>
                  <a:lnTo>
                    <a:pt x="289" y="4"/>
                  </a:lnTo>
                  <a:lnTo>
                    <a:pt x="291" y="6"/>
                  </a:lnTo>
                  <a:lnTo>
                    <a:pt x="292" y="7"/>
                  </a:lnTo>
                  <a:lnTo>
                    <a:pt x="292" y="8"/>
                  </a:lnTo>
                  <a:lnTo>
                    <a:pt x="293" y="10"/>
                  </a:lnTo>
                  <a:lnTo>
                    <a:pt x="293" y="11"/>
                  </a:lnTo>
                  <a:lnTo>
                    <a:pt x="293" y="11"/>
                  </a:lnTo>
                  <a:lnTo>
                    <a:pt x="294" y="11"/>
                  </a:lnTo>
                  <a:lnTo>
                    <a:pt x="294" y="12"/>
                  </a:lnTo>
                  <a:lnTo>
                    <a:pt x="294" y="12"/>
                  </a:lnTo>
                  <a:lnTo>
                    <a:pt x="295" y="12"/>
                  </a:lnTo>
                  <a:lnTo>
                    <a:pt x="295" y="12"/>
                  </a:lnTo>
                  <a:lnTo>
                    <a:pt x="296" y="12"/>
                  </a:lnTo>
                  <a:lnTo>
                    <a:pt x="299" y="11"/>
                  </a:lnTo>
                  <a:lnTo>
                    <a:pt x="299" y="11"/>
                  </a:lnTo>
                  <a:lnTo>
                    <a:pt x="299" y="11"/>
                  </a:lnTo>
                  <a:lnTo>
                    <a:pt x="301" y="10"/>
                  </a:lnTo>
                  <a:lnTo>
                    <a:pt x="302" y="9"/>
                  </a:lnTo>
                  <a:lnTo>
                    <a:pt x="302" y="9"/>
                  </a:lnTo>
                  <a:lnTo>
                    <a:pt x="303" y="8"/>
                  </a:lnTo>
                  <a:lnTo>
                    <a:pt x="304" y="7"/>
                  </a:lnTo>
                  <a:lnTo>
                    <a:pt x="304" y="8"/>
                  </a:lnTo>
                  <a:lnTo>
                    <a:pt x="304" y="9"/>
                  </a:lnTo>
                  <a:lnTo>
                    <a:pt x="305" y="10"/>
                  </a:lnTo>
                  <a:lnTo>
                    <a:pt x="306" y="11"/>
                  </a:lnTo>
                  <a:lnTo>
                    <a:pt x="307" y="13"/>
                  </a:lnTo>
                  <a:lnTo>
                    <a:pt x="307" y="14"/>
                  </a:lnTo>
                  <a:lnTo>
                    <a:pt x="308" y="14"/>
                  </a:lnTo>
                  <a:lnTo>
                    <a:pt x="308" y="15"/>
                  </a:lnTo>
                  <a:lnTo>
                    <a:pt x="308" y="16"/>
                  </a:lnTo>
                  <a:lnTo>
                    <a:pt x="308" y="17"/>
                  </a:lnTo>
                  <a:lnTo>
                    <a:pt x="308" y="18"/>
                  </a:lnTo>
                  <a:lnTo>
                    <a:pt x="308" y="19"/>
                  </a:lnTo>
                  <a:lnTo>
                    <a:pt x="308" y="19"/>
                  </a:lnTo>
                  <a:lnTo>
                    <a:pt x="308" y="19"/>
                  </a:lnTo>
                  <a:lnTo>
                    <a:pt x="307" y="20"/>
                  </a:lnTo>
                  <a:lnTo>
                    <a:pt x="306" y="22"/>
                  </a:lnTo>
                  <a:lnTo>
                    <a:pt x="305" y="23"/>
                  </a:lnTo>
                  <a:lnTo>
                    <a:pt x="304" y="25"/>
                  </a:lnTo>
                  <a:lnTo>
                    <a:pt x="303" y="27"/>
                  </a:lnTo>
                  <a:lnTo>
                    <a:pt x="303" y="28"/>
                  </a:lnTo>
                  <a:lnTo>
                    <a:pt x="302" y="28"/>
                  </a:lnTo>
                  <a:lnTo>
                    <a:pt x="302" y="29"/>
                  </a:lnTo>
                  <a:lnTo>
                    <a:pt x="302" y="30"/>
                  </a:lnTo>
                  <a:lnTo>
                    <a:pt x="302" y="30"/>
                  </a:lnTo>
                  <a:lnTo>
                    <a:pt x="302" y="31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3" y="33"/>
                  </a:lnTo>
                  <a:lnTo>
                    <a:pt x="303" y="33"/>
                  </a:lnTo>
                  <a:lnTo>
                    <a:pt x="304" y="33"/>
                  </a:lnTo>
                  <a:lnTo>
                    <a:pt x="305" y="33"/>
                  </a:lnTo>
                  <a:lnTo>
                    <a:pt x="308" y="34"/>
                  </a:lnTo>
                  <a:lnTo>
                    <a:pt x="308" y="34"/>
                  </a:lnTo>
                  <a:lnTo>
                    <a:pt x="309" y="34"/>
                  </a:lnTo>
                  <a:lnTo>
                    <a:pt x="309" y="34"/>
                  </a:lnTo>
                  <a:lnTo>
                    <a:pt x="310" y="34"/>
                  </a:lnTo>
                  <a:lnTo>
                    <a:pt x="311" y="34"/>
                  </a:lnTo>
                  <a:lnTo>
                    <a:pt x="312" y="33"/>
                  </a:lnTo>
                  <a:lnTo>
                    <a:pt x="314" y="32"/>
                  </a:lnTo>
                  <a:lnTo>
                    <a:pt x="316" y="32"/>
                  </a:lnTo>
                  <a:lnTo>
                    <a:pt x="317" y="32"/>
                  </a:lnTo>
                  <a:lnTo>
                    <a:pt x="317" y="31"/>
                  </a:lnTo>
                  <a:lnTo>
                    <a:pt x="319" y="31"/>
                  </a:lnTo>
                  <a:lnTo>
                    <a:pt x="321" y="31"/>
                  </a:lnTo>
                  <a:lnTo>
                    <a:pt x="322" y="31"/>
                  </a:lnTo>
                  <a:lnTo>
                    <a:pt x="323" y="32"/>
                  </a:lnTo>
                  <a:lnTo>
                    <a:pt x="326" y="32"/>
                  </a:lnTo>
                  <a:lnTo>
                    <a:pt x="327" y="32"/>
                  </a:lnTo>
                  <a:lnTo>
                    <a:pt x="328" y="32"/>
                  </a:lnTo>
                  <a:lnTo>
                    <a:pt x="328" y="32"/>
                  </a:lnTo>
                  <a:lnTo>
                    <a:pt x="331" y="32"/>
                  </a:lnTo>
                  <a:lnTo>
                    <a:pt x="333" y="32"/>
                  </a:lnTo>
                  <a:lnTo>
                    <a:pt x="334" y="32"/>
                  </a:lnTo>
                  <a:lnTo>
                    <a:pt x="334" y="32"/>
                  </a:lnTo>
                  <a:lnTo>
                    <a:pt x="335" y="32"/>
                  </a:lnTo>
                  <a:lnTo>
                    <a:pt x="336" y="32"/>
                  </a:lnTo>
                  <a:lnTo>
                    <a:pt x="337" y="33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9" y="34"/>
                  </a:lnTo>
                  <a:lnTo>
                    <a:pt x="338" y="35"/>
                  </a:lnTo>
                  <a:lnTo>
                    <a:pt x="338" y="35"/>
                  </a:lnTo>
                  <a:lnTo>
                    <a:pt x="336" y="36"/>
                  </a:lnTo>
                  <a:lnTo>
                    <a:pt x="336" y="36"/>
                  </a:lnTo>
                  <a:lnTo>
                    <a:pt x="335" y="37"/>
                  </a:lnTo>
                  <a:lnTo>
                    <a:pt x="335" y="37"/>
                  </a:lnTo>
                  <a:lnTo>
                    <a:pt x="334" y="37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9"/>
                  </a:lnTo>
                  <a:lnTo>
                    <a:pt x="335" y="39"/>
                  </a:lnTo>
                  <a:lnTo>
                    <a:pt x="335" y="39"/>
                  </a:lnTo>
                  <a:lnTo>
                    <a:pt x="335" y="40"/>
                  </a:lnTo>
                  <a:lnTo>
                    <a:pt x="336" y="41"/>
                  </a:lnTo>
                  <a:lnTo>
                    <a:pt x="337" y="41"/>
                  </a:lnTo>
                  <a:lnTo>
                    <a:pt x="338" y="42"/>
                  </a:lnTo>
                  <a:lnTo>
                    <a:pt x="339" y="43"/>
                  </a:lnTo>
                  <a:lnTo>
                    <a:pt x="342" y="44"/>
                  </a:lnTo>
                  <a:lnTo>
                    <a:pt x="344" y="45"/>
                  </a:lnTo>
                  <a:lnTo>
                    <a:pt x="346" y="47"/>
                  </a:lnTo>
                  <a:lnTo>
                    <a:pt x="349" y="49"/>
                  </a:lnTo>
                  <a:lnTo>
                    <a:pt x="350" y="50"/>
                  </a:lnTo>
                  <a:lnTo>
                    <a:pt x="352" y="51"/>
                  </a:lnTo>
                  <a:lnTo>
                    <a:pt x="352" y="51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6" y="52"/>
                  </a:lnTo>
                  <a:lnTo>
                    <a:pt x="357" y="52"/>
                  </a:lnTo>
                  <a:lnTo>
                    <a:pt x="358" y="53"/>
                  </a:lnTo>
                  <a:lnTo>
                    <a:pt x="359" y="53"/>
                  </a:lnTo>
                  <a:lnTo>
                    <a:pt x="361" y="53"/>
                  </a:lnTo>
                  <a:lnTo>
                    <a:pt x="362" y="53"/>
                  </a:lnTo>
                  <a:lnTo>
                    <a:pt x="363" y="53"/>
                  </a:lnTo>
                  <a:lnTo>
                    <a:pt x="365" y="53"/>
                  </a:lnTo>
                  <a:lnTo>
                    <a:pt x="366" y="52"/>
                  </a:lnTo>
                  <a:lnTo>
                    <a:pt x="367" y="52"/>
                  </a:lnTo>
                  <a:lnTo>
                    <a:pt x="370" y="51"/>
                  </a:lnTo>
                  <a:lnTo>
                    <a:pt x="371" y="51"/>
                  </a:lnTo>
                  <a:lnTo>
                    <a:pt x="372" y="51"/>
                  </a:lnTo>
                  <a:lnTo>
                    <a:pt x="374" y="51"/>
                  </a:lnTo>
                  <a:lnTo>
                    <a:pt x="374" y="51"/>
                  </a:lnTo>
                  <a:lnTo>
                    <a:pt x="376" y="51"/>
                  </a:lnTo>
                  <a:lnTo>
                    <a:pt x="376" y="52"/>
                  </a:lnTo>
                  <a:lnTo>
                    <a:pt x="377" y="52"/>
                  </a:lnTo>
                  <a:lnTo>
                    <a:pt x="378" y="52"/>
                  </a:lnTo>
                  <a:lnTo>
                    <a:pt x="378" y="53"/>
                  </a:lnTo>
                  <a:lnTo>
                    <a:pt x="379" y="53"/>
                  </a:lnTo>
                  <a:lnTo>
                    <a:pt x="380" y="54"/>
                  </a:lnTo>
                  <a:lnTo>
                    <a:pt x="382" y="57"/>
                  </a:lnTo>
                  <a:lnTo>
                    <a:pt x="384" y="59"/>
                  </a:lnTo>
                  <a:lnTo>
                    <a:pt x="385" y="60"/>
                  </a:lnTo>
                  <a:lnTo>
                    <a:pt x="387" y="62"/>
                  </a:lnTo>
                  <a:lnTo>
                    <a:pt x="390" y="64"/>
                  </a:lnTo>
                  <a:lnTo>
                    <a:pt x="391" y="65"/>
                  </a:lnTo>
                  <a:lnTo>
                    <a:pt x="392" y="66"/>
                  </a:lnTo>
                  <a:lnTo>
                    <a:pt x="393" y="66"/>
                  </a:lnTo>
                  <a:lnTo>
                    <a:pt x="394" y="66"/>
                  </a:lnTo>
                  <a:lnTo>
                    <a:pt x="397" y="67"/>
                  </a:lnTo>
                  <a:lnTo>
                    <a:pt x="398" y="67"/>
                  </a:lnTo>
                  <a:lnTo>
                    <a:pt x="399" y="67"/>
                  </a:lnTo>
                  <a:lnTo>
                    <a:pt x="400" y="67"/>
                  </a:lnTo>
                  <a:lnTo>
                    <a:pt x="400" y="68"/>
                  </a:lnTo>
                  <a:lnTo>
                    <a:pt x="401" y="68"/>
                  </a:lnTo>
                  <a:lnTo>
                    <a:pt x="402" y="69"/>
                  </a:lnTo>
                  <a:lnTo>
                    <a:pt x="402" y="69"/>
                  </a:lnTo>
                  <a:lnTo>
                    <a:pt x="403" y="70"/>
                  </a:lnTo>
                  <a:lnTo>
                    <a:pt x="403" y="70"/>
                  </a:lnTo>
                  <a:lnTo>
                    <a:pt x="403" y="71"/>
                  </a:lnTo>
                  <a:lnTo>
                    <a:pt x="404" y="72"/>
                  </a:lnTo>
                  <a:lnTo>
                    <a:pt x="404" y="72"/>
                  </a:lnTo>
                  <a:lnTo>
                    <a:pt x="404" y="75"/>
                  </a:lnTo>
                  <a:lnTo>
                    <a:pt x="404" y="76"/>
                  </a:lnTo>
                  <a:lnTo>
                    <a:pt x="405" y="76"/>
                  </a:lnTo>
                  <a:lnTo>
                    <a:pt x="405" y="76"/>
                  </a:lnTo>
                  <a:lnTo>
                    <a:pt x="405" y="77"/>
                  </a:lnTo>
                  <a:lnTo>
                    <a:pt x="405" y="77"/>
                  </a:lnTo>
                  <a:lnTo>
                    <a:pt x="406" y="77"/>
                  </a:lnTo>
                  <a:lnTo>
                    <a:pt x="406" y="77"/>
                  </a:lnTo>
                  <a:lnTo>
                    <a:pt x="409" y="78"/>
                  </a:lnTo>
                  <a:lnTo>
                    <a:pt x="412" y="79"/>
                  </a:lnTo>
                  <a:lnTo>
                    <a:pt x="414" y="79"/>
                  </a:lnTo>
                  <a:lnTo>
                    <a:pt x="415" y="80"/>
                  </a:lnTo>
                  <a:lnTo>
                    <a:pt x="418" y="81"/>
                  </a:lnTo>
                  <a:lnTo>
                    <a:pt x="424" y="85"/>
                  </a:lnTo>
                  <a:lnTo>
                    <a:pt x="425" y="85"/>
                  </a:lnTo>
                  <a:lnTo>
                    <a:pt x="425" y="86"/>
                  </a:lnTo>
                  <a:lnTo>
                    <a:pt x="425" y="86"/>
                  </a:lnTo>
                  <a:lnTo>
                    <a:pt x="426" y="86"/>
                  </a:lnTo>
                  <a:lnTo>
                    <a:pt x="426" y="87"/>
                  </a:lnTo>
                  <a:lnTo>
                    <a:pt x="426" y="87"/>
                  </a:lnTo>
                  <a:lnTo>
                    <a:pt x="426" y="92"/>
                  </a:lnTo>
                  <a:lnTo>
                    <a:pt x="426" y="94"/>
                  </a:lnTo>
                  <a:lnTo>
                    <a:pt x="427" y="97"/>
                  </a:lnTo>
                  <a:lnTo>
                    <a:pt x="427" y="101"/>
                  </a:lnTo>
                  <a:lnTo>
                    <a:pt x="427" y="103"/>
                  </a:lnTo>
                  <a:lnTo>
                    <a:pt x="427" y="107"/>
                  </a:lnTo>
                  <a:lnTo>
                    <a:pt x="427" y="108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7" y="110"/>
                  </a:lnTo>
                  <a:lnTo>
                    <a:pt x="427" y="111"/>
                  </a:lnTo>
                  <a:lnTo>
                    <a:pt x="426" y="111"/>
                  </a:lnTo>
                  <a:lnTo>
                    <a:pt x="426" y="112"/>
                  </a:lnTo>
                  <a:lnTo>
                    <a:pt x="424" y="113"/>
                  </a:lnTo>
                  <a:lnTo>
                    <a:pt x="424" y="114"/>
                  </a:lnTo>
                  <a:lnTo>
                    <a:pt x="423" y="114"/>
                  </a:lnTo>
                  <a:lnTo>
                    <a:pt x="423" y="115"/>
                  </a:lnTo>
                  <a:lnTo>
                    <a:pt x="422" y="116"/>
                  </a:lnTo>
                  <a:lnTo>
                    <a:pt x="422" y="117"/>
                  </a:lnTo>
                  <a:lnTo>
                    <a:pt x="421" y="119"/>
                  </a:lnTo>
                  <a:lnTo>
                    <a:pt x="420" y="122"/>
                  </a:lnTo>
                  <a:lnTo>
                    <a:pt x="420" y="123"/>
                  </a:lnTo>
                  <a:lnTo>
                    <a:pt x="420" y="124"/>
                  </a:lnTo>
                  <a:lnTo>
                    <a:pt x="419" y="129"/>
                  </a:lnTo>
                  <a:lnTo>
                    <a:pt x="419" y="130"/>
                  </a:lnTo>
                  <a:lnTo>
                    <a:pt x="419" y="131"/>
                  </a:lnTo>
                  <a:lnTo>
                    <a:pt x="419" y="134"/>
                  </a:lnTo>
                  <a:lnTo>
                    <a:pt x="419" y="135"/>
                  </a:lnTo>
                  <a:lnTo>
                    <a:pt x="419" y="136"/>
                  </a:lnTo>
                  <a:lnTo>
                    <a:pt x="419" y="137"/>
                  </a:lnTo>
                  <a:lnTo>
                    <a:pt x="419" y="138"/>
                  </a:lnTo>
                  <a:lnTo>
                    <a:pt x="419" y="139"/>
                  </a:lnTo>
                  <a:lnTo>
                    <a:pt x="418" y="141"/>
                  </a:lnTo>
                  <a:lnTo>
                    <a:pt x="417" y="144"/>
                  </a:lnTo>
                  <a:lnTo>
                    <a:pt x="417" y="144"/>
                  </a:lnTo>
                  <a:lnTo>
                    <a:pt x="417" y="145"/>
                  </a:lnTo>
                  <a:lnTo>
                    <a:pt x="417" y="146"/>
                  </a:lnTo>
                  <a:lnTo>
                    <a:pt x="417" y="147"/>
                  </a:lnTo>
                  <a:lnTo>
                    <a:pt x="417" y="148"/>
                  </a:lnTo>
                  <a:lnTo>
                    <a:pt x="417" y="151"/>
                  </a:lnTo>
                  <a:lnTo>
                    <a:pt x="417" y="152"/>
                  </a:lnTo>
                  <a:lnTo>
                    <a:pt x="416" y="153"/>
                  </a:lnTo>
                  <a:lnTo>
                    <a:pt x="416" y="154"/>
                  </a:lnTo>
                  <a:lnTo>
                    <a:pt x="416" y="155"/>
                  </a:lnTo>
                  <a:lnTo>
                    <a:pt x="416" y="156"/>
                  </a:lnTo>
                  <a:lnTo>
                    <a:pt x="415" y="158"/>
                  </a:lnTo>
                  <a:lnTo>
                    <a:pt x="415" y="159"/>
                  </a:lnTo>
                  <a:lnTo>
                    <a:pt x="415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8" y="161"/>
                  </a:lnTo>
                  <a:lnTo>
                    <a:pt x="418" y="162"/>
                  </a:lnTo>
                  <a:lnTo>
                    <a:pt x="419" y="162"/>
                  </a:lnTo>
                  <a:lnTo>
                    <a:pt x="419" y="163"/>
                  </a:lnTo>
                  <a:lnTo>
                    <a:pt x="420" y="163"/>
                  </a:lnTo>
                  <a:lnTo>
                    <a:pt x="420" y="164"/>
                  </a:lnTo>
                  <a:lnTo>
                    <a:pt x="420" y="165"/>
                  </a:lnTo>
                  <a:lnTo>
                    <a:pt x="420" y="165"/>
                  </a:lnTo>
                  <a:lnTo>
                    <a:pt x="419" y="166"/>
                  </a:lnTo>
                  <a:lnTo>
                    <a:pt x="419" y="166"/>
                  </a:lnTo>
                  <a:lnTo>
                    <a:pt x="419" y="167"/>
                  </a:lnTo>
                  <a:lnTo>
                    <a:pt x="418" y="167"/>
                  </a:lnTo>
                  <a:lnTo>
                    <a:pt x="417" y="168"/>
                  </a:lnTo>
                  <a:lnTo>
                    <a:pt x="414" y="171"/>
                  </a:lnTo>
                  <a:lnTo>
                    <a:pt x="413" y="172"/>
                  </a:lnTo>
                  <a:lnTo>
                    <a:pt x="412" y="173"/>
                  </a:lnTo>
                  <a:lnTo>
                    <a:pt x="411" y="174"/>
                  </a:lnTo>
                  <a:lnTo>
                    <a:pt x="410" y="176"/>
                  </a:lnTo>
                  <a:lnTo>
                    <a:pt x="409" y="177"/>
                  </a:lnTo>
                  <a:lnTo>
                    <a:pt x="408" y="177"/>
                  </a:lnTo>
                  <a:lnTo>
                    <a:pt x="408" y="178"/>
                  </a:lnTo>
                  <a:lnTo>
                    <a:pt x="407" y="178"/>
                  </a:lnTo>
                  <a:lnTo>
                    <a:pt x="407" y="178"/>
                  </a:lnTo>
                  <a:lnTo>
                    <a:pt x="406" y="179"/>
                  </a:lnTo>
                  <a:lnTo>
                    <a:pt x="406" y="179"/>
                  </a:lnTo>
                  <a:lnTo>
                    <a:pt x="405" y="179"/>
                  </a:lnTo>
                  <a:lnTo>
                    <a:pt x="405" y="179"/>
                  </a:lnTo>
                  <a:lnTo>
                    <a:pt x="404" y="178"/>
                  </a:lnTo>
                  <a:lnTo>
                    <a:pt x="403" y="178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399" y="176"/>
                  </a:lnTo>
                  <a:lnTo>
                    <a:pt x="398" y="176"/>
                  </a:lnTo>
                  <a:lnTo>
                    <a:pt x="397" y="176"/>
                  </a:lnTo>
                  <a:lnTo>
                    <a:pt x="397" y="176"/>
                  </a:lnTo>
                  <a:lnTo>
                    <a:pt x="396" y="176"/>
                  </a:lnTo>
                  <a:lnTo>
                    <a:pt x="395" y="177"/>
                  </a:lnTo>
                  <a:lnTo>
                    <a:pt x="394" y="177"/>
                  </a:lnTo>
                  <a:lnTo>
                    <a:pt x="392" y="178"/>
                  </a:lnTo>
                  <a:lnTo>
                    <a:pt x="391" y="179"/>
                  </a:lnTo>
                  <a:lnTo>
                    <a:pt x="390" y="179"/>
                  </a:lnTo>
                  <a:lnTo>
                    <a:pt x="389" y="180"/>
                  </a:lnTo>
                  <a:lnTo>
                    <a:pt x="388" y="181"/>
                  </a:lnTo>
                  <a:lnTo>
                    <a:pt x="387" y="182"/>
                  </a:lnTo>
                  <a:lnTo>
                    <a:pt x="386" y="182"/>
                  </a:lnTo>
                  <a:lnTo>
                    <a:pt x="386" y="183"/>
                  </a:lnTo>
                  <a:lnTo>
                    <a:pt x="385" y="185"/>
                  </a:lnTo>
                  <a:lnTo>
                    <a:pt x="382" y="188"/>
                  </a:lnTo>
                  <a:lnTo>
                    <a:pt x="381" y="189"/>
                  </a:lnTo>
                  <a:lnTo>
                    <a:pt x="381" y="190"/>
                  </a:lnTo>
                  <a:lnTo>
                    <a:pt x="381" y="191"/>
                  </a:lnTo>
                  <a:lnTo>
                    <a:pt x="380" y="192"/>
                  </a:lnTo>
                  <a:lnTo>
                    <a:pt x="380" y="193"/>
                  </a:lnTo>
                  <a:lnTo>
                    <a:pt x="380" y="194"/>
                  </a:lnTo>
                  <a:lnTo>
                    <a:pt x="380" y="195"/>
                  </a:lnTo>
                  <a:lnTo>
                    <a:pt x="380" y="195"/>
                  </a:lnTo>
                  <a:lnTo>
                    <a:pt x="380" y="196"/>
                  </a:lnTo>
                  <a:lnTo>
                    <a:pt x="381" y="196"/>
                  </a:lnTo>
                  <a:lnTo>
                    <a:pt x="381" y="197"/>
                  </a:lnTo>
                  <a:lnTo>
                    <a:pt x="381" y="197"/>
                  </a:lnTo>
                  <a:lnTo>
                    <a:pt x="381" y="197"/>
                  </a:lnTo>
                  <a:lnTo>
                    <a:pt x="382" y="198"/>
                  </a:lnTo>
                  <a:lnTo>
                    <a:pt x="382" y="198"/>
                  </a:lnTo>
                  <a:lnTo>
                    <a:pt x="383" y="198"/>
                  </a:lnTo>
                  <a:lnTo>
                    <a:pt x="385" y="197"/>
                  </a:lnTo>
                  <a:lnTo>
                    <a:pt x="386" y="197"/>
                  </a:lnTo>
                  <a:lnTo>
                    <a:pt x="387" y="197"/>
                  </a:lnTo>
                  <a:lnTo>
                    <a:pt x="388" y="197"/>
                  </a:lnTo>
                  <a:lnTo>
                    <a:pt x="390" y="197"/>
                  </a:lnTo>
                  <a:lnTo>
                    <a:pt x="391" y="198"/>
                  </a:lnTo>
                  <a:lnTo>
                    <a:pt x="391" y="198"/>
                  </a:lnTo>
                  <a:lnTo>
                    <a:pt x="392" y="198"/>
                  </a:lnTo>
                  <a:lnTo>
                    <a:pt x="392" y="198"/>
                  </a:lnTo>
                  <a:lnTo>
                    <a:pt x="392" y="199"/>
                  </a:lnTo>
                  <a:lnTo>
                    <a:pt x="392" y="199"/>
                  </a:lnTo>
                  <a:lnTo>
                    <a:pt x="393" y="199"/>
                  </a:lnTo>
                  <a:lnTo>
                    <a:pt x="392" y="200"/>
                  </a:lnTo>
                  <a:lnTo>
                    <a:pt x="392" y="200"/>
                  </a:lnTo>
                  <a:lnTo>
                    <a:pt x="392" y="201"/>
                  </a:lnTo>
                  <a:lnTo>
                    <a:pt x="391" y="201"/>
                  </a:lnTo>
                  <a:lnTo>
                    <a:pt x="390" y="202"/>
                  </a:lnTo>
                  <a:lnTo>
                    <a:pt x="386" y="203"/>
                  </a:lnTo>
                  <a:lnTo>
                    <a:pt x="386" y="204"/>
                  </a:lnTo>
                  <a:lnTo>
                    <a:pt x="386" y="204"/>
                  </a:lnTo>
                  <a:lnTo>
                    <a:pt x="386" y="204"/>
                  </a:lnTo>
                  <a:lnTo>
                    <a:pt x="385" y="204"/>
                  </a:lnTo>
                  <a:lnTo>
                    <a:pt x="385" y="205"/>
                  </a:lnTo>
                  <a:lnTo>
                    <a:pt x="385" y="206"/>
                  </a:lnTo>
                  <a:lnTo>
                    <a:pt x="386" y="206"/>
                  </a:lnTo>
                  <a:lnTo>
                    <a:pt x="386" y="207"/>
                  </a:lnTo>
                  <a:lnTo>
                    <a:pt x="386" y="207"/>
                  </a:lnTo>
                  <a:lnTo>
                    <a:pt x="386" y="208"/>
                  </a:lnTo>
                  <a:lnTo>
                    <a:pt x="388" y="209"/>
                  </a:lnTo>
                  <a:lnTo>
                    <a:pt x="388" y="210"/>
                  </a:lnTo>
                  <a:lnTo>
                    <a:pt x="389" y="211"/>
                  </a:lnTo>
                  <a:lnTo>
                    <a:pt x="389" y="211"/>
                  </a:lnTo>
                  <a:lnTo>
                    <a:pt x="390" y="212"/>
                  </a:lnTo>
                  <a:lnTo>
                    <a:pt x="390" y="213"/>
                  </a:lnTo>
                  <a:lnTo>
                    <a:pt x="390" y="213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8" y="215"/>
                  </a:lnTo>
                  <a:lnTo>
                    <a:pt x="388" y="215"/>
                  </a:lnTo>
                  <a:lnTo>
                    <a:pt x="387" y="215"/>
                  </a:lnTo>
                  <a:lnTo>
                    <a:pt x="386" y="215"/>
                  </a:lnTo>
                  <a:lnTo>
                    <a:pt x="385" y="215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7"/>
                  </a:lnTo>
                  <a:lnTo>
                    <a:pt x="385" y="217"/>
                  </a:lnTo>
                  <a:lnTo>
                    <a:pt x="386" y="218"/>
                  </a:lnTo>
                  <a:lnTo>
                    <a:pt x="387" y="219"/>
                  </a:lnTo>
                  <a:lnTo>
                    <a:pt x="388" y="219"/>
                  </a:lnTo>
                  <a:lnTo>
                    <a:pt x="388" y="219"/>
                  </a:lnTo>
                  <a:lnTo>
                    <a:pt x="388" y="220"/>
                  </a:lnTo>
                  <a:lnTo>
                    <a:pt x="388" y="220"/>
                  </a:lnTo>
                  <a:lnTo>
                    <a:pt x="388" y="221"/>
                  </a:lnTo>
                  <a:lnTo>
                    <a:pt x="388" y="222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9" y="223"/>
                  </a:lnTo>
                  <a:lnTo>
                    <a:pt x="389" y="224"/>
                  </a:lnTo>
                  <a:lnTo>
                    <a:pt x="389" y="224"/>
                  </a:lnTo>
                  <a:lnTo>
                    <a:pt x="390" y="224"/>
                  </a:lnTo>
                  <a:lnTo>
                    <a:pt x="391" y="224"/>
                  </a:lnTo>
                  <a:lnTo>
                    <a:pt x="393" y="224"/>
                  </a:lnTo>
                  <a:lnTo>
                    <a:pt x="394" y="224"/>
                  </a:lnTo>
                  <a:lnTo>
                    <a:pt x="395" y="224"/>
                  </a:lnTo>
                  <a:lnTo>
                    <a:pt x="396" y="224"/>
                  </a:lnTo>
                  <a:lnTo>
                    <a:pt x="397" y="225"/>
                  </a:lnTo>
                  <a:lnTo>
                    <a:pt x="398" y="225"/>
                  </a:lnTo>
                  <a:lnTo>
                    <a:pt x="399" y="226"/>
                  </a:lnTo>
                  <a:lnTo>
                    <a:pt x="400" y="226"/>
                  </a:lnTo>
                  <a:lnTo>
                    <a:pt x="400" y="227"/>
                  </a:lnTo>
                  <a:lnTo>
                    <a:pt x="400" y="227"/>
                  </a:lnTo>
                  <a:lnTo>
                    <a:pt x="401" y="228"/>
                  </a:lnTo>
                  <a:lnTo>
                    <a:pt x="401" y="228"/>
                  </a:lnTo>
                  <a:lnTo>
                    <a:pt x="401" y="229"/>
                  </a:lnTo>
                  <a:lnTo>
                    <a:pt x="401" y="230"/>
                  </a:lnTo>
                  <a:lnTo>
                    <a:pt x="401" y="232"/>
                  </a:lnTo>
                  <a:lnTo>
                    <a:pt x="401" y="234"/>
                  </a:lnTo>
                  <a:lnTo>
                    <a:pt x="401" y="236"/>
                  </a:lnTo>
                  <a:lnTo>
                    <a:pt x="401" y="237"/>
                  </a:lnTo>
                  <a:lnTo>
                    <a:pt x="401" y="239"/>
                  </a:lnTo>
                  <a:lnTo>
                    <a:pt x="400" y="242"/>
                  </a:lnTo>
                  <a:lnTo>
                    <a:pt x="400" y="244"/>
                  </a:lnTo>
                  <a:lnTo>
                    <a:pt x="400" y="246"/>
                  </a:lnTo>
                  <a:lnTo>
                    <a:pt x="399" y="249"/>
                  </a:lnTo>
                  <a:lnTo>
                    <a:pt x="399" y="252"/>
                  </a:lnTo>
                  <a:lnTo>
                    <a:pt x="399" y="253"/>
                  </a:lnTo>
                  <a:lnTo>
                    <a:pt x="399" y="257"/>
                  </a:lnTo>
                  <a:lnTo>
                    <a:pt x="399" y="257"/>
                  </a:lnTo>
                  <a:lnTo>
                    <a:pt x="399" y="258"/>
                  </a:lnTo>
                  <a:lnTo>
                    <a:pt x="399" y="258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1" y="260"/>
                  </a:lnTo>
                  <a:lnTo>
                    <a:pt x="402" y="260"/>
                  </a:lnTo>
                  <a:lnTo>
                    <a:pt x="403" y="261"/>
                  </a:lnTo>
                  <a:lnTo>
                    <a:pt x="404" y="262"/>
                  </a:lnTo>
                  <a:lnTo>
                    <a:pt x="404" y="262"/>
                  </a:lnTo>
                  <a:lnTo>
                    <a:pt x="405" y="263"/>
                  </a:lnTo>
                  <a:lnTo>
                    <a:pt x="405" y="264"/>
                  </a:lnTo>
                  <a:lnTo>
                    <a:pt x="405" y="265"/>
                  </a:lnTo>
                  <a:lnTo>
                    <a:pt x="406" y="267"/>
                  </a:lnTo>
                  <a:lnTo>
                    <a:pt x="406" y="268"/>
                  </a:lnTo>
                  <a:lnTo>
                    <a:pt x="406" y="269"/>
                  </a:lnTo>
                  <a:lnTo>
                    <a:pt x="406" y="270"/>
                  </a:lnTo>
                  <a:lnTo>
                    <a:pt x="406" y="271"/>
                  </a:lnTo>
                  <a:lnTo>
                    <a:pt x="406" y="273"/>
                  </a:lnTo>
                  <a:lnTo>
                    <a:pt x="406" y="274"/>
                  </a:lnTo>
                  <a:lnTo>
                    <a:pt x="406" y="275"/>
                  </a:lnTo>
                  <a:lnTo>
                    <a:pt x="406" y="276"/>
                  </a:lnTo>
                  <a:lnTo>
                    <a:pt x="406" y="276"/>
                  </a:lnTo>
                  <a:lnTo>
                    <a:pt x="405" y="276"/>
                  </a:lnTo>
                  <a:lnTo>
                    <a:pt x="405" y="276"/>
                  </a:lnTo>
                  <a:lnTo>
                    <a:pt x="405" y="276"/>
                  </a:lnTo>
                  <a:lnTo>
                    <a:pt x="404" y="277"/>
                  </a:lnTo>
                  <a:lnTo>
                    <a:pt x="404" y="278"/>
                  </a:lnTo>
                  <a:lnTo>
                    <a:pt x="404" y="278"/>
                  </a:lnTo>
                  <a:lnTo>
                    <a:pt x="403" y="279"/>
                  </a:lnTo>
                  <a:lnTo>
                    <a:pt x="402" y="284"/>
                  </a:lnTo>
                  <a:lnTo>
                    <a:pt x="402" y="285"/>
                  </a:lnTo>
                  <a:lnTo>
                    <a:pt x="402" y="285"/>
                  </a:lnTo>
                  <a:lnTo>
                    <a:pt x="402" y="286"/>
                  </a:lnTo>
                  <a:lnTo>
                    <a:pt x="402" y="286"/>
                  </a:lnTo>
                  <a:lnTo>
                    <a:pt x="402" y="287"/>
                  </a:lnTo>
                  <a:lnTo>
                    <a:pt x="402" y="287"/>
                  </a:lnTo>
                  <a:lnTo>
                    <a:pt x="402" y="288"/>
                  </a:lnTo>
                  <a:lnTo>
                    <a:pt x="403" y="289"/>
                  </a:lnTo>
                  <a:lnTo>
                    <a:pt x="404" y="290"/>
                  </a:lnTo>
                  <a:lnTo>
                    <a:pt x="404" y="290"/>
                  </a:lnTo>
                  <a:lnTo>
                    <a:pt x="404" y="290"/>
                  </a:lnTo>
                  <a:lnTo>
                    <a:pt x="405" y="291"/>
                  </a:lnTo>
                  <a:lnTo>
                    <a:pt x="405" y="293"/>
                  </a:lnTo>
                  <a:lnTo>
                    <a:pt x="405" y="294"/>
                  </a:lnTo>
                  <a:lnTo>
                    <a:pt x="405" y="295"/>
                  </a:lnTo>
                  <a:lnTo>
                    <a:pt x="405" y="299"/>
                  </a:lnTo>
                  <a:lnTo>
                    <a:pt x="405" y="300"/>
                  </a:lnTo>
                  <a:lnTo>
                    <a:pt x="406" y="303"/>
                  </a:lnTo>
                  <a:lnTo>
                    <a:pt x="406" y="304"/>
                  </a:lnTo>
                  <a:lnTo>
                    <a:pt x="407" y="305"/>
                  </a:lnTo>
                  <a:lnTo>
                    <a:pt x="408" y="307"/>
                  </a:lnTo>
                  <a:lnTo>
                    <a:pt x="409" y="309"/>
                  </a:lnTo>
                  <a:lnTo>
                    <a:pt x="409" y="310"/>
                  </a:lnTo>
                  <a:lnTo>
                    <a:pt x="409" y="311"/>
                  </a:lnTo>
                  <a:lnTo>
                    <a:pt x="410" y="312"/>
                  </a:lnTo>
                  <a:lnTo>
                    <a:pt x="410" y="312"/>
                  </a:lnTo>
                  <a:lnTo>
                    <a:pt x="410" y="312"/>
                  </a:lnTo>
                  <a:lnTo>
                    <a:pt x="409" y="313"/>
                  </a:lnTo>
                  <a:lnTo>
                    <a:pt x="407" y="316"/>
                  </a:lnTo>
                  <a:lnTo>
                    <a:pt x="406" y="318"/>
                  </a:lnTo>
                  <a:lnTo>
                    <a:pt x="406" y="319"/>
                  </a:lnTo>
                  <a:lnTo>
                    <a:pt x="405" y="320"/>
                  </a:lnTo>
                  <a:lnTo>
                    <a:pt x="405" y="321"/>
                  </a:lnTo>
                  <a:lnTo>
                    <a:pt x="405" y="322"/>
                  </a:lnTo>
                  <a:lnTo>
                    <a:pt x="404" y="325"/>
                  </a:lnTo>
                  <a:lnTo>
                    <a:pt x="404" y="327"/>
                  </a:lnTo>
                  <a:lnTo>
                    <a:pt x="404" y="328"/>
                  </a:lnTo>
                  <a:lnTo>
                    <a:pt x="404" y="330"/>
                  </a:lnTo>
                  <a:lnTo>
                    <a:pt x="405" y="331"/>
                  </a:lnTo>
                  <a:lnTo>
                    <a:pt x="405" y="333"/>
                  </a:lnTo>
                  <a:lnTo>
                    <a:pt x="405" y="334"/>
                  </a:lnTo>
                  <a:lnTo>
                    <a:pt x="407" y="337"/>
                  </a:lnTo>
                  <a:lnTo>
                    <a:pt x="408" y="338"/>
                  </a:lnTo>
                  <a:lnTo>
                    <a:pt x="408" y="339"/>
                  </a:lnTo>
                  <a:lnTo>
                    <a:pt x="410" y="341"/>
                  </a:lnTo>
                  <a:lnTo>
                    <a:pt x="410" y="342"/>
                  </a:lnTo>
                  <a:lnTo>
                    <a:pt x="411" y="342"/>
                  </a:lnTo>
                  <a:lnTo>
                    <a:pt x="411" y="343"/>
                  </a:lnTo>
                  <a:lnTo>
                    <a:pt x="411" y="344"/>
                  </a:lnTo>
                  <a:lnTo>
                    <a:pt x="411" y="345"/>
                  </a:lnTo>
                  <a:lnTo>
                    <a:pt x="411" y="346"/>
                  </a:lnTo>
                  <a:lnTo>
                    <a:pt x="410" y="348"/>
                  </a:lnTo>
                  <a:lnTo>
                    <a:pt x="410" y="349"/>
                  </a:lnTo>
                  <a:lnTo>
                    <a:pt x="410" y="350"/>
                  </a:lnTo>
                  <a:lnTo>
                    <a:pt x="409" y="351"/>
                  </a:lnTo>
                  <a:lnTo>
                    <a:pt x="408" y="353"/>
                  </a:lnTo>
                  <a:lnTo>
                    <a:pt x="407" y="354"/>
                  </a:lnTo>
                  <a:lnTo>
                    <a:pt x="406" y="356"/>
                  </a:lnTo>
                  <a:lnTo>
                    <a:pt x="405" y="358"/>
                  </a:lnTo>
                  <a:lnTo>
                    <a:pt x="405" y="360"/>
                  </a:lnTo>
                  <a:lnTo>
                    <a:pt x="404" y="361"/>
                  </a:lnTo>
                  <a:lnTo>
                    <a:pt x="404" y="362"/>
                  </a:lnTo>
                  <a:lnTo>
                    <a:pt x="403" y="362"/>
                  </a:lnTo>
                  <a:lnTo>
                    <a:pt x="403" y="363"/>
                  </a:lnTo>
                  <a:lnTo>
                    <a:pt x="400" y="365"/>
                  </a:lnTo>
                  <a:lnTo>
                    <a:pt x="398" y="367"/>
                  </a:lnTo>
                  <a:lnTo>
                    <a:pt x="396" y="367"/>
                  </a:lnTo>
                  <a:lnTo>
                    <a:pt x="396" y="368"/>
                  </a:lnTo>
                  <a:lnTo>
                    <a:pt x="394" y="370"/>
                  </a:lnTo>
                  <a:lnTo>
                    <a:pt x="393" y="371"/>
                  </a:lnTo>
                  <a:lnTo>
                    <a:pt x="393" y="371"/>
                  </a:lnTo>
                  <a:lnTo>
                    <a:pt x="393" y="372"/>
                  </a:lnTo>
                  <a:lnTo>
                    <a:pt x="393" y="373"/>
                  </a:lnTo>
                  <a:lnTo>
                    <a:pt x="392" y="374"/>
                  </a:lnTo>
                  <a:lnTo>
                    <a:pt x="392" y="375"/>
                  </a:lnTo>
                  <a:lnTo>
                    <a:pt x="392" y="376"/>
                  </a:lnTo>
                  <a:lnTo>
                    <a:pt x="392" y="377"/>
                  </a:lnTo>
                  <a:lnTo>
                    <a:pt x="393" y="378"/>
                  </a:lnTo>
                  <a:lnTo>
                    <a:pt x="393" y="379"/>
                  </a:lnTo>
                  <a:lnTo>
                    <a:pt x="393" y="379"/>
                  </a:lnTo>
                  <a:lnTo>
                    <a:pt x="393" y="380"/>
                  </a:lnTo>
                  <a:lnTo>
                    <a:pt x="392" y="381"/>
                  </a:lnTo>
                  <a:lnTo>
                    <a:pt x="392" y="381"/>
                  </a:lnTo>
                  <a:lnTo>
                    <a:pt x="392" y="382"/>
                  </a:lnTo>
                  <a:lnTo>
                    <a:pt x="391" y="382"/>
                  </a:lnTo>
                  <a:lnTo>
                    <a:pt x="391" y="383"/>
                  </a:lnTo>
                  <a:lnTo>
                    <a:pt x="391" y="383"/>
                  </a:lnTo>
                  <a:lnTo>
                    <a:pt x="390" y="383"/>
                  </a:lnTo>
                  <a:lnTo>
                    <a:pt x="390" y="384"/>
                  </a:lnTo>
                  <a:lnTo>
                    <a:pt x="388" y="385"/>
                  </a:lnTo>
                  <a:lnTo>
                    <a:pt x="387" y="385"/>
                  </a:lnTo>
                  <a:lnTo>
                    <a:pt x="387" y="385"/>
                  </a:lnTo>
                  <a:lnTo>
                    <a:pt x="387" y="386"/>
                  </a:lnTo>
                  <a:lnTo>
                    <a:pt x="386" y="386"/>
                  </a:lnTo>
                  <a:lnTo>
                    <a:pt x="386" y="386"/>
                  </a:lnTo>
                  <a:lnTo>
                    <a:pt x="386" y="387"/>
                  </a:lnTo>
                  <a:lnTo>
                    <a:pt x="386" y="387"/>
                  </a:lnTo>
                  <a:lnTo>
                    <a:pt x="386" y="388"/>
                  </a:lnTo>
                  <a:lnTo>
                    <a:pt x="386" y="388"/>
                  </a:lnTo>
                  <a:lnTo>
                    <a:pt x="386" y="389"/>
                  </a:lnTo>
                  <a:lnTo>
                    <a:pt x="386" y="390"/>
                  </a:lnTo>
                  <a:lnTo>
                    <a:pt x="387" y="390"/>
                  </a:lnTo>
                  <a:lnTo>
                    <a:pt x="387" y="391"/>
                  </a:lnTo>
                  <a:lnTo>
                    <a:pt x="387" y="391"/>
                  </a:lnTo>
                  <a:lnTo>
                    <a:pt x="388" y="392"/>
                  </a:lnTo>
                  <a:lnTo>
                    <a:pt x="388" y="393"/>
                  </a:lnTo>
                  <a:lnTo>
                    <a:pt x="389" y="393"/>
                  </a:lnTo>
                  <a:lnTo>
                    <a:pt x="391" y="394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6"/>
                  </a:lnTo>
                  <a:lnTo>
                    <a:pt x="391" y="397"/>
                  </a:lnTo>
                  <a:lnTo>
                    <a:pt x="391" y="398"/>
                  </a:lnTo>
                  <a:lnTo>
                    <a:pt x="390" y="398"/>
                  </a:lnTo>
                  <a:lnTo>
                    <a:pt x="390" y="399"/>
                  </a:lnTo>
                  <a:lnTo>
                    <a:pt x="390" y="399"/>
                  </a:lnTo>
                  <a:lnTo>
                    <a:pt x="389" y="399"/>
                  </a:lnTo>
                  <a:lnTo>
                    <a:pt x="389" y="400"/>
                  </a:lnTo>
                  <a:lnTo>
                    <a:pt x="387" y="400"/>
                  </a:lnTo>
                  <a:lnTo>
                    <a:pt x="387" y="401"/>
                  </a:lnTo>
                  <a:lnTo>
                    <a:pt x="386" y="401"/>
                  </a:lnTo>
                  <a:lnTo>
                    <a:pt x="385" y="403"/>
                  </a:lnTo>
                  <a:lnTo>
                    <a:pt x="384" y="404"/>
                  </a:lnTo>
                  <a:lnTo>
                    <a:pt x="383" y="404"/>
                  </a:lnTo>
                  <a:lnTo>
                    <a:pt x="383" y="405"/>
                  </a:lnTo>
                  <a:lnTo>
                    <a:pt x="383" y="406"/>
                  </a:lnTo>
                  <a:lnTo>
                    <a:pt x="382" y="406"/>
                  </a:lnTo>
                  <a:lnTo>
                    <a:pt x="382" y="407"/>
                  </a:lnTo>
                  <a:lnTo>
                    <a:pt x="382" y="408"/>
                  </a:lnTo>
                  <a:lnTo>
                    <a:pt x="382" y="408"/>
                  </a:lnTo>
                  <a:lnTo>
                    <a:pt x="382" y="409"/>
                  </a:lnTo>
                  <a:lnTo>
                    <a:pt x="382" y="410"/>
                  </a:lnTo>
                  <a:lnTo>
                    <a:pt x="383" y="411"/>
                  </a:lnTo>
                  <a:lnTo>
                    <a:pt x="384" y="413"/>
                  </a:lnTo>
                  <a:lnTo>
                    <a:pt x="384" y="414"/>
                  </a:lnTo>
                  <a:lnTo>
                    <a:pt x="386" y="416"/>
                  </a:lnTo>
                  <a:lnTo>
                    <a:pt x="386" y="417"/>
                  </a:lnTo>
                  <a:lnTo>
                    <a:pt x="386" y="417"/>
                  </a:lnTo>
                  <a:lnTo>
                    <a:pt x="387" y="418"/>
                  </a:lnTo>
                  <a:lnTo>
                    <a:pt x="387" y="419"/>
                  </a:lnTo>
                  <a:lnTo>
                    <a:pt x="387" y="420"/>
                  </a:lnTo>
                  <a:lnTo>
                    <a:pt x="387" y="421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3"/>
                  </a:lnTo>
                  <a:lnTo>
                    <a:pt x="386" y="424"/>
                  </a:lnTo>
                  <a:lnTo>
                    <a:pt x="385" y="425"/>
                  </a:lnTo>
                  <a:lnTo>
                    <a:pt x="384" y="426"/>
                  </a:lnTo>
                  <a:lnTo>
                    <a:pt x="383" y="427"/>
                  </a:lnTo>
                  <a:lnTo>
                    <a:pt x="383" y="428"/>
                  </a:lnTo>
                  <a:lnTo>
                    <a:pt x="382" y="429"/>
                  </a:lnTo>
                  <a:lnTo>
                    <a:pt x="382" y="430"/>
                  </a:lnTo>
                  <a:lnTo>
                    <a:pt x="381" y="433"/>
                  </a:lnTo>
                  <a:lnTo>
                    <a:pt x="380" y="436"/>
                  </a:lnTo>
                  <a:lnTo>
                    <a:pt x="380" y="437"/>
                  </a:lnTo>
                  <a:lnTo>
                    <a:pt x="379" y="437"/>
                  </a:lnTo>
                  <a:lnTo>
                    <a:pt x="379" y="437"/>
                  </a:lnTo>
                  <a:lnTo>
                    <a:pt x="379" y="437"/>
                  </a:lnTo>
                  <a:lnTo>
                    <a:pt x="378" y="438"/>
                  </a:lnTo>
                  <a:lnTo>
                    <a:pt x="375" y="439"/>
                  </a:lnTo>
                  <a:lnTo>
                    <a:pt x="374" y="440"/>
                  </a:lnTo>
                  <a:lnTo>
                    <a:pt x="372" y="440"/>
                  </a:lnTo>
                  <a:lnTo>
                    <a:pt x="372" y="441"/>
                  </a:lnTo>
                  <a:lnTo>
                    <a:pt x="369" y="443"/>
                  </a:lnTo>
                  <a:lnTo>
                    <a:pt x="367" y="444"/>
                  </a:lnTo>
                  <a:lnTo>
                    <a:pt x="366" y="445"/>
                  </a:lnTo>
                  <a:lnTo>
                    <a:pt x="365" y="446"/>
                  </a:lnTo>
                  <a:lnTo>
                    <a:pt x="364" y="446"/>
                  </a:lnTo>
                  <a:lnTo>
                    <a:pt x="363" y="446"/>
                  </a:lnTo>
                  <a:lnTo>
                    <a:pt x="363" y="446"/>
                  </a:lnTo>
                  <a:lnTo>
                    <a:pt x="362" y="447"/>
                  </a:lnTo>
                  <a:lnTo>
                    <a:pt x="361" y="447"/>
                  </a:lnTo>
                  <a:lnTo>
                    <a:pt x="360" y="447"/>
                  </a:lnTo>
                  <a:lnTo>
                    <a:pt x="359" y="447"/>
                  </a:lnTo>
                  <a:lnTo>
                    <a:pt x="358" y="446"/>
                  </a:lnTo>
                  <a:lnTo>
                    <a:pt x="355" y="446"/>
                  </a:lnTo>
                  <a:lnTo>
                    <a:pt x="354" y="446"/>
                  </a:lnTo>
                  <a:lnTo>
                    <a:pt x="353" y="446"/>
                  </a:lnTo>
                  <a:lnTo>
                    <a:pt x="353" y="446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2" y="447"/>
                  </a:lnTo>
                  <a:lnTo>
                    <a:pt x="351" y="451"/>
                  </a:lnTo>
                  <a:lnTo>
                    <a:pt x="351" y="453"/>
                  </a:lnTo>
                  <a:lnTo>
                    <a:pt x="350" y="455"/>
                  </a:lnTo>
                  <a:lnTo>
                    <a:pt x="350" y="458"/>
                  </a:lnTo>
                  <a:lnTo>
                    <a:pt x="350" y="460"/>
                  </a:lnTo>
                  <a:lnTo>
                    <a:pt x="350" y="461"/>
                  </a:lnTo>
                  <a:lnTo>
                    <a:pt x="349" y="464"/>
                  </a:lnTo>
                  <a:lnTo>
                    <a:pt x="349" y="465"/>
                  </a:lnTo>
                  <a:lnTo>
                    <a:pt x="349" y="465"/>
                  </a:lnTo>
                  <a:lnTo>
                    <a:pt x="349" y="466"/>
                  </a:lnTo>
                  <a:lnTo>
                    <a:pt x="349" y="467"/>
                  </a:lnTo>
                  <a:lnTo>
                    <a:pt x="349" y="469"/>
                  </a:lnTo>
                  <a:lnTo>
                    <a:pt x="351" y="471"/>
                  </a:lnTo>
                  <a:lnTo>
                    <a:pt x="351" y="473"/>
                  </a:lnTo>
                  <a:lnTo>
                    <a:pt x="351" y="474"/>
                  </a:lnTo>
                  <a:lnTo>
                    <a:pt x="352" y="478"/>
                  </a:lnTo>
                  <a:lnTo>
                    <a:pt x="352" y="480"/>
                  </a:lnTo>
                  <a:lnTo>
                    <a:pt x="352" y="481"/>
                  </a:lnTo>
                  <a:lnTo>
                    <a:pt x="352" y="482"/>
                  </a:lnTo>
                  <a:lnTo>
                    <a:pt x="352" y="483"/>
                  </a:lnTo>
                  <a:lnTo>
                    <a:pt x="352" y="484"/>
                  </a:lnTo>
                  <a:lnTo>
                    <a:pt x="352" y="485"/>
                  </a:lnTo>
                  <a:lnTo>
                    <a:pt x="352" y="485"/>
                  </a:lnTo>
                  <a:lnTo>
                    <a:pt x="351" y="486"/>
                  </a:lnTo>
                  <a:lnTo>
                    <a:pt x="351" y="487"/>
                  </a:lnTo>
                  <a:lnTo>
                    <a:pt x="351" y="487"/>
                  </a:lnTo>
                  <a:lnTo>
                    <a:pt x="350" y="488"/>
                  </a:lnTo>
                  <a:lnTo>
                    <a:pt x="349" y="488"/>
                  </a:lnTo>
                  <a:lnTo>
                    <a:pt x="348" y="489"/>
                  </a:lnTo>
                  <a:lnTo>
                    <a:pt x="348" y="490"/>
                  </a:lnTo>
                  <a:lnTo>
                    <a:pt x="347" y="490"/>
                  </a:lnTo>
                  <a:lnTo>
                    <a:pt x="345" y="491"/>
                  </a:lnTo>
                  <a:lnTo>
                    <a:pt x="344" y="491"/>
                  </a:lnTo>
                  <a:lnTo>
                    <a:pt x="343" y="492"/>
                  </a:lnTo>
                  <a:lnTo>
                    <a:pt x="343" y="492"/>
                  </a:lnTo>
                  <a:lnTo>
                    <a:pt x="342" y="493"/>
                  </a:lnTo>
                  <a:lnTo>
                    <a:pt x="342" y="493"/>
                  </a:lnTo>
                  <a:lnTo>
                    <a:pt x="341" y="494"/>
                  </a:lnTo>
                  <a:lnTo>
                    <a:pt x="340" y="495"/>
                  </a:lnTo>
                  <a:lnTo>
                    <a:pt x="339" y="496"/>
                  </a:lnTo>
                  <a:lnTo>
                    <a:pt x="338" y="498"/>
                  </a:lnTo>
                  <a:lnTo>
                    <a:pt x="337" y="501"/>
                  </a:lnTo>
                  <a:lnTo>
                    <a:pt x="336" y="502"/>
                  </a:lnTo>
                  <a:lnTo>
                    <a:pt x="336" y="503"/>
                  </a:lnTo>
                  <a:lnTo>
                    <a:pt x="336" y="504"/>
                  </a:lnTo>
                  <a:lnTo>
                    <a:pt x="335" y="506"/>
                  </a:lnTo>
                  <a:lnTo>
                    <a:pt x="335" y="508"/>
                  </a:lnTo>
                  <a:lnTo>
                    <a:pt x="334" y="510"/>
                  </a:lnTo>
                  <a:lnTo>
                    <a:pt x="334" y="511"/>
                  </a:lnTo>
                  <a:lnTo>
                    <a:pt x="334" y="513"/>
                  </a:lnTo>
                  <a:lnTo>
                    <a:pt x="334" y="514"/>
                  </a:lnTo>
                  <a:lnTo>
                    <a:pt x="334" y="516"/>
                  </a:lnTo>
                  <a:lnTo>
                    <a:pt x="334" y="517"/>
                  </a:lnTo>
                  <a:lnTo>
                    <a:pt x="334" y="518"/>
                  </a:lnTo>
                  <a:lnTo>
                    <a:pt x="334" y="519"/>
                  </a:lnTo>
                  <a:lnTo>
                    <a:pt x="334" y="520"/>
                  </a:lnTo>
                  <a:lnTo>
                    <a:pt x="334" y="521"/>
                  </a:lnTo>
                  <a:lnTo>
                    <a:pt x="335" y="522"/>
                  </a:lnTo>
                  <a:lnTo>
                    <a:pt x="336" y="526"/>
                  </a:lnTo>
                  <a:lnTo>
                    <a:pt x="336" y="527"/>
                  </a:lnTo>
                  <a:lnTo>
                    <a:pt x="336" y="527"/>
                  </a:lnTo>
                  <a:lnTo>
                    <a:pt x="336" y="527"/>
                  </a:lnTo>
                  <a:lnTo>
                    <a:pt x="335" y="527"/>
                  </a:lnTo>
                  <a:lnTo>
                    <a:pt x="334" y="526"/>
                  </a:lnTo>
                  <a:lnTo>
                    <a:pt x="334" y="526"/>
                  </a:lnTo>
                  <a:lnTo>
                    <a:pt x="333" y="526"/>
                  </a:lnTo>
                  <a:lnTo>
                    <a:pt x="331" y="527"/>
                  </a:lnTo>
                  <a:lnTo>
                    <a:pt x="331" y="527"/>
                  </a:lnTo>
                  <a:lnTo>
                    <a:pt x="329" y="527"/>
                  </a:lnTo>
                  <a:lnTo>
                    <a:pt x="328" y="528"/>
                  </a:lnTo>
                  <a:lnTo>
                    <a:pt x="328" y="528"/>
                  </a:lnTo>
                  <a:lnTo>
                    <a:pt x="327" y="529"/>
                  </a:lnTo>
                  <a:lnTo>
                    <a:pt x="326" y="529"/>
                  </a:lnTo>
                  <a:lnTo>
                    <a:pt x="325" y="530"/>
                  </a:lnTo>
                  <a:lnTo>
                    <a:pt x="325" y="531"/>
                  </a:lnTo>
                  <a:lnTo>
                    <a:pt x="324" y="531"/>
                  </a:lnTo>
                  <a:lnTo>
                    <a:pt x="324" y="532"/>
                  </a:lnTo>
                  <a:lnTo>
                    <a:pt x="322" y="535"/>
                  </a:lnTo>
                  <a:lnTo>
                    <a:pt x="322" y="535"/>
                  </a:lnTo>
                  <a:lnTo>
                    <a:pt x="322" y="536"/>
                  </a:lnTo>
                  <a:lnTo>
                    <a:pt x="321" y="536"/>
                  </a:lnTo>
                  <a:lnTo>
                    <a:pt x="321" y="536"/>
                  </a:lnTo>
                  <a:lnTo>
                    <a:pt x="321" y="536"/>
                  </a:lnTo>
                  <a:lnTo>
                    <a:pt x="320" y="537"/>
                  </a:lnTo>
                  <a:lnTo>
                    <a:pt x="319" y="537"/>
                  </a:lnTo>
                  <a:lnTo>
                    <a:pt x="318" y="537"/>
                  </a:lnTo>
                  <a:lnTo>
                    <a:pt x="318" y="536"/>
                  </a:lnTo>
                  <a:lnTo>
                    <a:pt x="317" y="536"/>
                  </a:lnTo>
                  <a:lnTo>
                    <a:pt x="317" y="536"/>
                  </a:lnTo>
                  <a:lnTo>
                    <a:pt x="315" y="535"/>
                  </a:lnTo>
                  <a:lnTo>
                    <a:pt x="312" y="533"/>
                  </a:lnTo>
                  <a:lnTo>
                    <a:pt x="311" y="532"/>
                  </a:lnTo>
                  <a:lnTo>
                    <a:pt x="308" y="530"/>
                  </a:lnTo>
                  <a:lnTo>
                    <a:pt x="304" y="527"/>
                  </a:lnTo>
                  <a:lnTo>
                    <a:pt x="302" y="526"/>
                  </a:lnTo>
                  <a:lnTo>
                    <a:pt x="300" y="524"/>
                  </a:lnTo>
                  <a:lnTo>
                    <a:pt x="299" y="523"/>
                  </a:lnTo>
                  <a:lnTo>
                    <a:pt x="298" y="522"/>
                  </a:lnTo>
                  <a:lnTo>
                    <a:pt x="296" y="521"/>
                  </a:lnTo>
                  <a:lnTo>
                    <a:pt x="295" y="520"/>
                  </a:lnTo>
                  <a:lnTo>
                    <a:pt x="295" y="519"/>
                  </a:lnTo>
                  <a:lnTo>
                    <a:pt x="294" y="518"/>
                  </a:lnTo>
                  <a:lnTo>
                    <a:pt x="294" y="517"/>
                  </a:lnTo>
                  <a:lnTo>
                    <a:pt x="293" y="516"/>
                  </a:lnTo>
                  <a:lnTo>
                    <a:pt x="293" y="514"/>
                  </a:lnTo>
                  <a:lnTo>
                    <a:pt x="293" y="513"/>
                  </a:lnTo>
                  <a:lnTo>
                    <a:pt x="292" y="509"/>
                  </a:lnTo>
                  <a:lnTo>
                    <a:pt x="292" y="505"/>
                  </a:lnTo>
                  <a:lnTo>
                    <a:pt x="292" y="501"/>
                  </a:lnTo>
                  <a:lnTo>
                    <a:pt x="291" y="500"/>
                  </a:lnTo>
                  <a:lnTo>
                    <a:pt x="291" y="497"/>
                  </a:lnTo>
                  <a:lnTo>
                    <a:pt x="291" y="496"/>
                  </a:lnTo>
                  <a:lnTo>
                    <a:pt x="290" y="494"/>
                  </a:lnTo>
                  <a:lnTo>
                    <a:pt x="289" y="491"/>
                  </a:lnTo>
                  <a:lnTo>
                    <a:pt x="289" y="489"/>
                  </a:lnTo>
                  <a:lnTo>
                    <a:pt x="289" y="488"/>
                  </a:lnTo>
                  <a:lnTo>
                    <a:pt x="288" y="488"/>
                  </a:lnTo>
                  <a:lnTo>
                    <a:pt x="288" y="487"/>
                  </a:lnTo>
                  <a:lnTo>
                    <a:pt x="287" y="486"/>
                  </a:lnTo>
                  <a:lnTo>
                    <a:pt x="284" y="483"/>
                  </a:lnTo>
                  <a:lnTo>
                    <a:pt x="282" y="480"/>
                  </a:lnTo>
                  <a:lnTo>
                    <a:pt x="279" y="476"/>
                  </a:lnTo>
                  <a:lnTo>
                    <a:pt x="275" y="471"/>
                  </a:lnTo>
                  <a:lnTo>
                    <a:pt x="274" y="470"/>
                  </a:lnTo>
                  <a:lnTo>
                    <a:pt x="272" y="468"/>
                  </a:lnTo>
                  <a:lnTo>
                    <a:pt x="271" y="467"/>
                  </a:lnTo>
                  <a:lnTo>
                    <a:pt x="270" y="466"/>
                  </a:lnTo>
                  <a:lnTo>
                    <a:pt x="269" y="465"/>
                  </a:lnTo>
                  <a:lnTo>
                    <a:pt x="267" y="463"/>
                  </a:lnTo>
                  <a:lnTo>
                    <a:pt x="266" y="462"/>
                  </a:lnTo>
                  <a:lnTo>
                    <a:pt x="265" y="461"/>
                  </a:lnTo>
                  <a:lnTo>
                    <a:pt x="263" y="460"/>
                  </a:lnTo>
                  <a:lnTo>
                    <a:pt x="262" y="459"/>
                  </a:lnTo>
                  <a:lnTo>
                    <a:pt x="260" y="458"/>
                  </a:lnTo>
                  <a:lnTo>
                    <a:pt x="258" y="457"/>
                  </a:lnTo>
                  <a:lnTo>
                    <a:pt x="258" y="457"/>
                  </a:lnTo>
                  <a:lnTo>
                    <a:pt x="256" y="457"/>
                  </a:lnTo>
                  <a:lnTo>
                    <a:pt x="255" y="456"/>
                  </a:lnTo>
                  <a:lnTo>
                    <a:pt x="253" y="456"/>
                  </a:lnTo>
                  <a:lnTo>
                    <a:pt x="252" y="456"/>
                  </a:lnTo>
                  <a:lnTo>
                    <a:pt x="250" y="456"/>
                  </a:lnTo>
                  <a:lnTo>
                    <a:pt x="246" y="456"/>
                  </a:lnTo>
                  <a:lnTo>
                    <a:pt x="243" y="456"/>
                  </a:lnTo>
                  <a:lnTo>
                    <a:pt x="242" y="456"/>
                  </a:lnTo>
                  <a:lnTo>
                    <a:pt x="241" y="456"/>
                  </a:lnTo>
                  <a:lnTo>
                    <a:pt x="240" y="455"/>
                  </a:lnTo>
                  <a:lnTo>
                    <a:pt x="239" y="455"/>
                  </a:lnTo>
                  <a:lnTo>
                    <a:pt x="237" y="454"/>
                  </a:lnTo>
                  <a:lnTo>
                    <a:pt x="236" y="454"/>
                  </a:lnTo>
                  <a:lnTo>
                    <a:pt x="235" y="453"/>
                  </a:lnTo>
                  <a:lnTo>
                    <a:pt x="233" y="452"/>
                  </a:lnTo>
                  <a:lnTo>
                    <a:pt x="231" y="451"/>
                  </a:lnTo>
                  <a:lnTo>
                    <a:pt x="231" y="451"/>
                  </a:lnTo>
                  <a:lnTo>
                    <a:pt x="229" y="449"/>
                  </a:lnTo>
                  <a:lnTo>
                    <a:pt x="228" y="448"/>
                  </a:lnTo>
                  <a:lnTo>
                    <a:pt x="227" y="447"/>
                  </a:lnTo>
                  <a:lnTo>
                    <a:pt x="226" y="446"/>
                  </a:lnTo>
                  <a:lnTo>
                    <a:pt x="226" y="446"/>
                  </a:lnTo>
                  <a:lnTo>
                    <a:pt x="225" y="444"/>
                  </a:lnTo>
                  <a:lnTo>
                    <a:pt x="225" y="443"/>
                  </a:lnTo>
                  <a:lnTo>
                    <a:pt x="224" y="442"/>
                  </a:lnTo>
                  <a:lnTo>
                    <a:pt x="224" y="441"/>
                  </a:lnTo>
                  <a:lnTo>
                    <a:pt x="223" y="436"/>
                  </a:lnTo>
                  <a:lnTo>
                    <a:pt x="223" y="434"/>
                  </a:lnTo>
                  <a:lnTo>
                    <a:pt x="222" y="433"/>
                  </a:lnTo>
                  <a:lnTo>
                    <a:pt x="222" y="432"/>
                  </a:lnTo>
                  <a:lnTo>
                    <a:pt x="222" y="431"/>
                  </a:lnTo>
                  <a:lnTo>
                    <a:pt x="221" y="430"/>
                  </a:lnTo>
                  <a:lnTo>
                    <a:pt x="221" y="430"/>
                  </a:lnTo>
                  <a:lnTo>
                    <a:pt x="220" y="429"/>
                  </a:lnTo>
                  <a:lnTo>
                    <a:pt x="217" y="426"/>
                  </a:lnTo>
                  <a:lnTo>
                    <a:pt x="214" y="422"/>
                  </a:lnTo>
                  <a:lnTo>
                    <a:pt x="209" y="417"/>
                  </a:lnTo>
                  <a:lnTo>
                    <a:pt x="208" y="416"/>
                  </a:lnTo>
                  <a:lnTo>
                    <a:pt x="208" y="416"/>
                  </a:lnTo>
                  <a:lnTo>
                    <a:pt x="207" y="415"/>
                  </a:lnTo>
                  <a:lnTo>
                    <a:pt x="207" y="414"/>
                  </a:lnTo>
                  <a:lnTo>
                    <a:pt x="206" y="413"/>
                  </a:lnTo>
                  <a:lnTo>
                    <a:pt x="205" y="410"/>
                  </a:lnTo>
                  <a:lnTo>
                    <a:pt x="204" y="409"/>
                  </a:lnTo>
                  <a:lnTo>
                    <a:pt x="203" y="407"/>
                  </a:lnTo>
                  <a:lnTo>
                    <a:pt x="201" y="404"/>
                  </a:lnTo>
                  <a:lnTo>
                    <a:pt x="200" y="403"/>
                  </a:lnTo>
                  <a:lnTo>
                    <a:pt x="199" y="402"/>
                  </a:lnTo>
                  <a:lnTo>
                    <a:pt x="197" y="399"/>
                  </a:lnTo>
                  <a:lnTo>
                    <a:pt x="197" y="398"/>
                  </a:lnTo>
                  <a:lnTo>
                    <a:pt x="196" y="397"/>
                  </a:lnTo>
                  <a:lnTo>
                    <a:pt x="196" y="396"/>
                  </a:lnTo>
                  <a:lnTo>
                    <a:pt x="195" y="396"/>
                  </a:lnTo>
                  <a:lnTo>
                    <a:pt x="192" y="393"/>
                  </a:lnTo>
                  <a:lnTo>
                    <a:pt x="191" y="392"/>
                  </a:lnTo>
                  <a:lnTo>
                    <a:pt x="190" y="391"/>
                  </a:lnTo>
                  <a:lnTo>
                    <a:pt x="189" y="389"/>
                  </a:lnTo>
                  <a:lnTo>
                    <a:pt x="188" y="388"/>
                  </a:lnTo>
                  <a:lnTo>
                    <a:pt x="187" y="388"/>
                  </a:lnTo>
                  <a:lnTo>
                    <a:pt x="185" y="385"/>
                  </a:lnTo>
                  <a:lnTo>
                    <a:pt x="184" y="385"/>
                  </a:lnTo>
                  <a:lnTo>
                    <a:pt x="184" y="384"/>
                  </a:lnTo>
                  <a:lnTo>
                    <a:pt x="183" y="383"/>
                  </a:lnTo>
                  <a:lnTo>
                    <a:pt x="183" y="382"/>
                  </a:lnTo>
                  <a:lnTo>
                    <a:pt x="182" y="381"/>
                  </a:lnTo>
                  <a:lnTo>
                    <a:pt x="182" y="380"/>
                  </a:lnTo>
                  <a:lnTo>
                    <a:pt x="182" y="379"/>
                  </a:lnTo>
                  <a:lnTo>
                    <a:pt x="181" y="375"/>
                  </a:lnTo>
                  <a:lnTo>
                    <a:pt x="181" y="373"/>
                  </a:lnTo>
                  <a:lnTo>
                    <a:pt x="181" y="372"/>
                  </a:lnTo>
                  <a:lnTo>
                    <a:pt x="180" y="371"/>
                  </a:lnTo>
                  <a:lnTo>
                    <a:pt x="180" y="370"/>
                  </a:lnTo>
                  <a:lnTo>
                    <a:pt x="179" y="370"/>
                  </a:lnTo>
                  <a:lnTo>
                    <a:pt x="179" y="369"/>
                  </a:lnTo>
                  <a:lnTo>
                    <a:pt x="178" y="368"/>
                  </a:lnTo>
                  <a:lnTo>
                    <a:pt x="176" y="366"/>
                  </a:lnTo>
                  <a:lnTo>
                    <a:pt x="173" y="363"/>
                  </a:lnTo>
                  <a:lnTo>
                    <a:pt x="170" y="359"/>
                  </a:lnTo>
                  <a:lnTo>
                    <a:pt x="168" y="358"/>
                  </a:lnTo>
                  <a:lnTo>
                    <a:pt x="167" y="356"/>
                  </a:lnTo>
                  <a:lnTo>
                    <a:pt x="166" y="355"/>
                  </a:lnTo>
                  <a:lnTo>
                    <a:pt x="164" y="354"/>
                  </a:lnTo>
                  <a:lnTo>
                    <a:pt x="163" y="354"/>
                  </a:lnTo>
                  <a:lnTo>
                    <a:pt x="163" y="353"/>
                  </a:lnTo>
                  <a:lnTo>
                    <a:pt x="161" y="352"/>
                  </a:lnTo>
                  <a:lnTo>
                    <a:pt x="159" y="351"/>
                  </a:lnTo>
                  <a:lnTo>
                    <a:pt x="158" y="351"/>
                  </a:lnTo>
                  <a:lnTo>
                    <a:pt x="157" y="350"/>
                  </a:lnTo>
                  <a:lnTo>
                    <a:pt x="156" y="350"/>
                  </a:lnTo>
                  <a:lnTo>
                    <a:pt x="153" y="349"/>
                  </a:lnTo>
                  <a:lnTo>
                    <a:pt x="151" y="348"/>
                  </a:lnTo>
                  <a:lnTo>
                    <a:pt x="146" y="347"/>
                  </a:lnTo>
                  <a:lnTo>
                    <a:pt x="144" y="347"/>
                  </a:lnTo>
                  <a:lnTo>
                    <a:pt x="142" y="347"/>
                  </a:lnTo>
                  <a:lnTo>
                    <a:pt x="142" y="347"/>
                  </a:lnTo>
                  <a:lnTo>
                    <a:pt x="141" y="347"/>
                  </a:lnTo>
                  <a:lnTo>
                    <a:pt x="141" y="347"/>
                  </a:lnTo>
                  <a:lnTo>
                    <a:pt x="140" y="347"/>
                  </a:lnTo>
                  <a:lnTo>
                    <a:pt x="139" y="348"/>
                  </a:lnTo>
                  <a:lnTo>
                    <a:pt x="139" y="348"/>
                  </a:lnTo>
                  <a:lnTo>
                    <a:pt x="139" y="349"/>
                  </a:lnTo>
                  <a:lnTo>
                    <a:pt x="138" y="350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36" y="351"/>
                  </a:lnTo>
                  <a:lnTo>
                    <a:pt x="135" y="352"/>
                  </a:lnTo>
                  <a:lnTo>
                    <a:pt x="135" y="352"/>
                  </a:lnTo>
                  <a:lnTo>
                    <a:pt x="134" y="351"/>
                  </a:lnTo>
                  <a:lnTo>
                    <a:pt x="133" y="351"/>
                  </a:lnTo>
                  <a:lnTo>
                    <a:pt x="130" y="351"/>
                  </a:lnTo>
                  <a:lnTo>
                    <a:pt x="128" y="350"/>
                  </a:lnTo>
                  <a:lnTo>
                    <a:pt x="126" y="350"/>
                  </a:lnTo>
                  <a:lnTo>
                    <a:pt x="125" y="349"/>
                  </a:lnTo>
                  <a:lnTo>
                    <a:pt x="122" y="349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7" y="349"/>
                  </a:lnTo>
                  <a:lnTo>
                    <a:pt x="115" y="348"/>
                  </a:lnTo>
                  <a:lnTo>
                    <a:pt x="114" y="348"/>
                  </a:lnTo>
                  <a:lnTo>
                    <a:pt x="113" y="347"/>
                  </a:lnTo>
                  <a:lnTo>
                    <a:pt x="111" y="347"/>
                  </a:lnTo>
                  <a:lnTo>
                    <a:pt x="110" y="346"/>
                  </a:lnTo>
                  <a:lnTo>
                    <a:pt x="110" y="346"/>
                  </a:lnTo>
                  <a:lnTo>
                    <a:pt x="109" y="345"/>
                  </a:lnTo>
                  <a:lnTo>
                    <a:pt x="108" y="344"/>
                  </a:lnTo>
                  <a:lnTo>
                    <a:pt x="108" y="343"/>
                  </a:lnTo>
                  <a:lnTo>
                    <a:pt x="107" y="343"/>
                  </a:lnTo>
                  <a:lnTo>
                    <a:pt x="106" y="340"/>
                  </a:lnTo>
                  <a:lnTo>
                    <a:pt x="104" y="336"/>
                  </a:lnTo>
                  <a:lnTo>
                    <a:pt x="103" y="335"/>
                  </a:lnTo>
                  <a:lnTo>
                    <a:pt x="102" y="333"/>
                  </a:lnTo>
                  <a:lnTo>
                    <a:pt x="102" y="332"/>
                  </a:lnTo>
                  <a:lnTo>
                    <a:pt x="101" y="329"/>
                  </a:lnTo>
                  <a:lnTo>
                    <a:pt x="100" y="327"/>
                  </a:lnTo>
                  <a:lnTo>
                    <a:pt x="100" y="326"/>
                  </a:lnTo>
                  <a:lnTo>
                    <a:pt x="99" y="325"/>
                  </a:lnTo>
                  <a:lnTo>
                    <a:pt x="99" y="324"/>
                  </a:lnTo>
                  <a:lnTo>
                    <a:pt x="98" y="322"/>
                  </a:lnTo>
                  <a:lnTo>
                    <a:pt x="97" y="321"/>
                  </a:lnTo>
                  <a:lnTo>
                    <a:pt x="96" y="320"/>
                  </a:lnTo>
                  <a:lnTo>
                    <a:pt x="94" y="318"/>
                  </a:lnTo>
                  <a:lnTo>
                    <a:pt x="93" y="317"/>
                  </a:lnTo>
                  <a:lnTo>
                    <a:pt x="87" y="313"/>
                  </a:lnTo>
                  <a:lnTo>
                    <a:pt x="86" y="312"/>
                  </a:lnTo>
                  <a:lnTo>
                    <a:pt x="85" y="311"/>
                  </a:lnTo>
                  <a:lnTo>
                    <a:pt x="84" y="310"/>
                  </a:lnTo>
                  <a:lnTo>
                    <a:pt x="82" y="310"/>
                  </a:lnTo>
                  <a:lnTo>
                    <a:pt x="79" y="308"/>
                  </a:lnTo>
                  <a:lnTo>
                    <a:pt x="77" y="307"/>
                  </a:lnTo>
                  <a:lnTo>
                    <a:pt x="76" y="307"/>
                  </a:lnTo>
                  <a:lnTo>
                    <a:pt x="75" y="306"/>
                  </a:lnTo>
                  <a:lnTo>
                    <a:pt x="74" y="305"/>
                  </a:lnTo>
                  <a:lnTo>
                    <a:pt x="73" y="304"/>
                  </a:lnTo>
                  <a:lnTo>
                    <a:pt x="73" y="304"/>
                  </a:lnTo>
                  <a:lnTo>
                    <a:pt x="73" y="303"/>
                  </a:lnTo>
                  <a:lnTo>
                    <a:pt x="72" y="303"/>
                  </a:lnTo>
                  <a:lnTo>
                    <a:pt x="72" y="302"/>
                  </a:lnTo>
                  <a:lnTo>
                    <a:pt x="72" y="301"/>
                  </a:lnTo>
                  <a:lnTo>
                    <a:pt x="71" y="300"/>
                  </a:lnTo>
                  <a:lnTo>
                    <a:pt x="71" y="299"/>
                  </a:lnTo>
                  <a:lnTo>
                    <a:pt x="70" y="295"/>
                  </a:lnTo>
                  <a:lnTo>
                    <a:pt x="69" y="293"/>
                  </a:lnTo>
                  <a:lnTo>
                    <a:pt x="68" y="291"/>
                  </a:lnTo>
                  <a:lnTo>
                    <a:pt x="67" y="287"/>
                  </a:lnTo>
                  <a:lnTo>
                    <a:pt x="67" y="286"/>
                  </a:lnTo>
                  <a:lnTo>
                    <a:pt x="67" y="285"/>
                  </a:lnTo>
                  <a:lnTo>
                    <a:pt x="67" y="284"/>
                  </a:lnTo>
                  <a:lnTo>
                    <a:pt x="67" y="283"/>
                  </a:lnTo>
                  <a:lnTo>
                    <a:pt x="67" y="282"/>
                  </a:lnTo>
                  <a:lnTo>
                    <a:pt x="67" y="280"/>
                  </a:lnTo>
                  <a:lnTo>
                    <a:pt x="67" y="278"/>
                  </a:lnTo>
                  <a:lnTo>
                    <a:pt x="67" y="276"/>
                  </a:lnTo>
                  <a:lnTo>
                    <a:pt x="67" y="273"/>
                  </a:lnTo>
                  <a:lnTo>
                    <a:pt x="67" y="270"/>
                  </a:lnTo>
                  <a:lnTo>
                    <a:pt x="67" y="268"/>
                  </a:lnTo>
                  <a:lnTo>
                    <a:pt x="67" y="267"/>
                  </a:lnTo>
                  <a:lnTo>
                    <a:pt x="67" y="266"/>
                  </a:lnTo>
                  <a:lnTo>
                    <a:pt x="67" y="265"/>
                  </a:lnTo>
                  <a:lnTo>
                    <a:pt x="66" y="264"/>
                  </a:lnTo>
                  <a:lnTo>
                    <a:pt x="66" y="263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4" y="261"/>
                  </a:lnTo>
                  <a:lnTo>
                    <a:pt x="62" y="260"/>
                  </a:lnTo>
                  <a:lnTo>
                    <a:pt x="60" y="260"/>
                  </a:lnTo>
                  <a:lnTo>
                    <a:pt x="58" y="259"/>
                  </a:lnTo>
                  <a:lnTo>
                    <a:pt x="57" y="258"/>
                  </a:lnTo>
                  <a:lnTo>
                    <a:pt x="57" y="258"/>
                  </a:lnTo>
                  <a:lnTo>
                    <a:pt x="56" y="257"/>
                  </a:lnTo>
                  <a:lnTo>
                    <a:pt x="55" y="257"/>
                  </a:lnTo>
                  <a:lnTo>
                    <a:pt x="55" y="256"/>
                  </a:lnTo>
                  <a:lnTo>
                    <a:pt x="54" y="255"/>
                  </a:lnTo>
                  <a:lnTo>
                    <a:pt x="53" y="254"/>
                  </a:lnTo>
                  <a:lnTo>
                    <a:pt x="52" y="252"/>
                  </a:lnTo>
                  <a:lnTo>
                    <a:pt x="51" y="250"/>
                  </a:lnTo>
                  <a:lnTo>
                    <a:pt x="50" y="249"/>
                  </a:lnTo>
                  <a:lnTo>
                    <a:pt x="50" y="247"/>
                  </a:lnTo>
                  <a:lnTo>
                    <a:pt x="49" y="246"/>
                  </a:lnTo>
                  <a:lnTo>
                    <a:pt x="49" y="245"/>
                  </a:lnTo>
                  <a:lnTo>
                    <a:pt x="48" y="243"/>
                  </a:lnTo>
                  <a:lnTo>
                    <a:pt x="48" y="242"/>
                  </a:lnTo>
                  <a:lnTo>
                    <a:pt x="48" y="241"/>
                  </a:lnTo>
                  <a:lnTo>
                    <a:pt x="47" y="235"/>
                  </a:lnTo>
                  <a:lnTo>
                    <a:pt x="47" y="234"/>
                  </a:lnTo>
                  <a:lnTo>
                    <a:pt x="47" y="232"/>
                  </a:lnTo>
                  <a:lnTo>
                    <a:pt x="47" y="230"/>
                  </a:lnTo>
                  <a:lnTo>
                    <a:pt x="45" y="226"/>
                  </a:lnTo>
                  <a:lnTo>
                    <a:pt x="45" y="224"/>
                  </a:lnTo>
                  <a:lnTo>
                    <a:pt x="44" y="223"/>
                  </a:lnTo>
                  <a:lnTo>
                    <a:pt x="43" y="222"/>
                  </a:lnTo>
                  <a:lnTo>
                    <a:pt x="43" y="221"/>
                  </a:lnTo>
                  <a:lnTo>
                    <a:pt x="42" y="220"/>
                  </a:lnTo>
                  <a:lnTo>
                    <a:pt x="42" y="219"/>
                  </a:lnTo>
                  <a:lnTo>
                    <a:pt x="41" y="219"/>
                  </a:lnTo>
                  <a:lnTo>
                    <a:pt x="40" y="218"/>
                  </a:lnTo>
                  <a:lnTo>
                    <a:pt x="38" y="217"/>
                  </a:lnTo>
                  <a:lnTo>
                    <a:pt x="38" y="217"/>
                  </a:lnTo>
                  <a:lnTo>
                    <a:pt x="37" y="217"/>
                  </a:lnTo>
                  <a:lnTo>
                    <a:pt x="37" y="216"/>
                  </a:lnTo>
                  <a:lnTo>
                    <a:pt x="36" y="215"/>
                  </a:lnTo>
                  <a:lnTo>
                    <a:pt x="35" y="214"/>
                  </a:lnTo>
                  <a:lnTo>
                    <a:pt x="35" y="213"/>
                  </a:lnTo>
                  <a:lnTo>
                    <a:pt x="34" y="212"/>
                  </a:lnTo>
                  <a:lnTo>
                    <a:pt x="34" y="211"/>
                  </a:lnTo>
                  <a:lnTo>
                    <a:pt x="34" y="209"/>
                  </a:lnTo>
                  <a:lnTo>
                    <a:pt x="34" y="208"/>
                  </a:lnTo>
                  <a:lnTo>
                    <a:pt x="33" y="206"/>
                  </a:lnTo>
                  <a:lnTo>
                    <a:pt x="33" y="206"/>
                  </a:lnTo>
                  <a:lnTo>
                    <a:pt x="33" y="205"/>
                  </a:lnTo>
                  <a:lnTo>
                    <a:pt x="34" y="204"/>
                  </a:lnTo>
                  <a:lnTo>
                    <a:pt x="34" y="202"/>
                  </a:lnTo>
                  <a:lnTo>
                    <a:pt x="34" y="199"/>
                  </a:lnTo>
                  <a:lnTo>
                    <a:pt x="35" y="197"/>
                  </a:lnTo>
                  <a:lnTo>
                    <a:pt x="35" y="196"/>
                  </a:lnTo>
                  <a:lnTo>
                    <a:pt x="35" y="195"/>
                  </a:lnTo>
                  <a:lnTo>
                    <a:pt x="35" y="194"/>
                  </a:lnTo>
                  <a:lnTo>
                    <a:pt x="35" y="193"/>
                  </a:lnTo>
                  <a:lnTo>
                    <a:pt x="34" y="192"/>
                  </a:lnTo>
                  <a:lnTo>
                    <a:pt x="34" y="190"/>
                  </a:lnTo>
                  <a:lnTo>
                    <a:pt x="33" y="189"/>
                  </a:lnTo>
                  <a:lnTo>
                    <a:pt x="33" y="189"/>
                  </a:lnTo>
                  <a:lnTo>
                    <a:pt x="32" y="188"/>
                  </a:lnTo>
                  <a:lnTo>
                    <a:pt x="32" y="188"/>
                  </a:lnTo>
                  <a:lnTo>
                    <a:pt x="31" y="187"/>
                  </a:lnTo>
                  <a:lnTo>
                    <a:pt x="30" y="187"/>
                  </a:lnTo>
                  <a:lnTo>
                    <a:pt x="26" y="185"/>
                  </a:lnTo>
                  <a:lnTo>
                    <a:pt x="25" y="185"/>
                  </a:lnTo>
                  <a:lnTo>
                    <a:pt x="24" y="184"/>
                  </a:lnTo>
                  <a:lnTo>
                    <a:pt x="21" y="183"/>
                  </a:lnTo>
                  <a:lnTo>
                    <a:pt x="17" y="180"/>
                  </a:lnTo>
                  <a:lnTo>
                    <a:pt x="14" y="179"/>
                  </a:lnTo>
                  <a:lnTo>
                    <a:pt x="14" y="178"/>
                  </a:lnTo>
                  <a:lnTo>
                    <a:pt x="13" y="177"/>
                  </a:lnTo>
                  <a:lnTo>
                    <a:pt x="12" y="177"/>
                  </a:lnTo>
                  <a:lnTo>
                    <a:pt x="11" y="176"/>
                  </a:lnTo>
                  <a:lnTo>
                    <a:pt x="10" y="175"/>
                  </a:lnTo>
                  <a:lnTo>
                    <a:pt x="10" y="174"/>
                  </a:lnTo>
                  <a:lnTo>
                    <a:pt x="9" y="174"/>
                  </a:lnTo>
                  <a:lnTo>
                    <a:pt x="8" y="173"/>
                  </a:lnTo>
                  <a:lnTo>
                    <a:pt x="7" y="170"/>
                  </a:lnTo>
                  <a:lnTo>
                    <a:pt x="5" y="167"/>
                  </a:lnTo>
                  <a:lnTo>
                    <a:pt x="3" y="163"/>
                  </a:lnTo>
                  <a:lnTo>
                    <a:pt x="2" y="162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6"/>
                  </a:lnTo>
                  <a:lnTo>
                    <a:pt x="0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6" y="147"/>
                  </a:lnTo>
                  <a:lnTo>
                    <a:pt x="9" y="146"/>
                  </a:lnTo>
                  <a:lnTo>
                    <a:pt x="14" y="143"/>
                  </a:lnTo>
                  <a:lnTo>
                    <a:pt x="15" y="142"/>
                  </a:lnTo>
                  <a:lnTo>
                    <a:pt x="16" y="141"/>
                  </a:lnTo>
                  <a:lnTo>
                    <a:pt x="17" y="140"/>
                  </a:lnTo>
                  <a:lnTo>
                    <a:pt x="18" y="140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9" y="138"/>
                  </a:lnTo>
                  <a:lnTo>
                    <a:pt x="19" y="137"/>
                  </a:lnTo>
                  <a:lnTo>
                    <a:pt x="19" y="136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21" y="128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3" y="119"/>
                  </a:lnTo>
                  <a:lnTo>
                    <a:pt x="24" y="118"/>
                  </a:lnTo>
                  <a:lnTo>
                    <a:pt x="25" y="117"/>
                  </a:lnTo>
                  <a:lnTo>
                    <a:pt x="26" y="116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9" y="112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3" y="106"/>
                  </a:lnTo>
                  <a:lnTo>
                    <a:pt x="34" y="105"/>
                  </a:lnTo>
                  <a:lnTo>
                    <a:pt x="35" y="103"/>
                  </a:lnTo>
                  <a:lnTo>
                    <a:pt x="37" y="98"/>
                  </a:lnTo>
                  <a:lnTo>
                    <a:pt x="38" y="96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2"/>
                  </a:lnTo>
                  <a:lnTo>
                    <a:pt x="44" y="88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2" y="87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89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5" y="86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8" y="84"/>
                  </a:lnTo>
                  <a:lnTo>
                    <a:pt x="69" y="84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8" y="85"/>
                  </a:lnTo>
                  <a:lnTo>
                    <a:pt x="79" y="86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1" y="89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89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7"/>
                  </a:lnTo>
                  <a:lnTo>
                    <a:pt x="86" y="86"/>
                  </a:lnTo>
                  <a:lnTo>
                    <a:pt x="87" y="86"/>
                  </a:lnTo>
                  <a:lnTo>
                    <a:pt x="88" y="85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1" y="77"/>
                  </a:lnTo>
                  <a:lnTo>
                    <a:pt x="103" y="77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9" y="75"/>
                  </a:lnTo>
                  <a:lnTo>
                    <a:pt x="110" y="75"/>
                  </a:lnTo>
                  <a:lnTo>
                    <a:pt x="112" y="75"/>
                  </a:lnTo>
                  <a:lnTo>
                    <a:pt x="113" y="75"/>
                  </a:lnTo>
                  <a:lnTo>
                    <a:pt x="114" y="75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0" y="73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7" y="75"/>
                  </a:lnTo>
                  <a:lnTo>
                    <a:pt x="132" y="76"/>
                  </a:lnTo>
                  <a:lnTo>
                    <a:pt x="133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8"/>
                  </a:lnTo>
                  <a:lnTo>
                    <a:pt x="142" y="78"/>
                  </a:lnTo>
                  <a:lnTo>
                    <a:pt x="144" y="78"/>
                  </a:lnTo>
                  <a:lnTo>
                    <a:pt x="146" y="78"/>
                  </a:lnTo>
                  <a:lnTo>
                    <a:pt x="147" y="78"/>
                  </a:lnTo>
                  <a:lnTo>
                    <a:pt x="148" y="77"/>
                  </a:lnTo>
                  <a:lnTo>
                    <a:pt x="149" y="77"/>
                  </a:lnTo>
                  <a:lnTo>
                    <a:pt x="150" y="78"/>
                  </a:lnTo>
                  <a:lnTo>
                    <a:pt x="151" y="78"/>
                  </a:lnTo>
                  <a:lnTo>
                    <a:pt x="152" y="78"/>
                  </a:lnTo>
                  <a:lnTo>
                    <a:pt x="155" y="79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7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7" y="74"/>
                  </a:lnTo>
                  <a:lnTo>
                    <a:pt x="168" y="73"/>
                  </a:lnTo>
                  <a:lnTo>
                    <a:pt x="168" y="72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70" y="66"/>
                  </a:lnTo>
                  <a:lnTo>
                    <a:pt x="170" y="65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1" y="59"/>
                  </a:lnTo>
                  <a:lnTo>
                    <a:pt x="171" y="58"/>
                  </a:lnTo>
                  <a:lnTo>
                    <a:pt x="172" y="58"/>
                  </a:lnTo>
                  <a:lnTo>
                    <a:pt x="172" y="57"/>
                  </a:lnTo>
                  <a:lnTo>
                    <a:pt x="173" y="57"/>
                  </a:lnTo>
                  <a:lnTo>
                    <a:pt x="174" y="57"/>
                  </a:lnTo>
                  <a:lnTo>
                    <a:pt x="176" y="56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92" y="47"/>
                  </a:lnTo>
                  <a:lnTo>
                    <a:pt x="194" y="45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0" y="42"/>
                  </a:lnTo>
                  <a:lnTo>
                    <a:pt x="200" y="41"/>
                  </a:lnTo>
                  <a:lnTo>
                    <a:pt x="202" y="40"/>
                  </a:lnTo>
                  <a:lnTo>
                    <a:pt x="203" y="38"/>
                  </a:lnTo>
                  <a:lnTo>
                    <a:pt x="205" y="37"/>
                  </a:lnTo>
                  <a:lnTo>
                    <a:pt x="207" y="35"/>
                  </a:lnTo>
                  <a:lnTo>
                    <a:pt x="207" y="34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7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6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2" y="38"/>
                  </a:lnTo>
                  <a:lnTo>
                    <a:pt x="233" y="39"/>
                  </a:lnTo>
                  <a:lnTo>
                    <a:pt x="235" y="41"/>
                  </a:lnTo>
                  <a:lnTo>
                    <a:pt x="236" y="41"/>
                  </a:lnTo>
                  <a:lnTo>
                    <a:pt x="237" y="42"/>
                  </a:lnTo>
                  <a:lnTo>
                    <a:pt x="240" y="44"/>
                  </a:lnTo>
                  <a:lnTo>
                    <a:pt x="241" y="45"/>
                  </a:lnTo>
                  <a:lnTo>
                    <a:pt x="242" y="46"/>
                  </a:lnTo>
                  <a:lnTo>
                    <a:pt x="243" y="46"/>
                  </a:lnTo>
                  <a:lnTo>
                    <a:pt x="244" y="47"/>
                  </a:lnTo>
                  <a:lnTo>
                    <a:pt x="245" y="47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7"/>
                  </a:lnTo>
                  <a:lnTo>
                    <a:pt x="249" y="47"/>
                  </a:lnTo>
                  <a:lnTo>
                    <a:pt x="249" y="46"/>
                  </a:lnTo>
                  <a:lnTo>
                    <a:pt x="250" y="46"/>
                  </a:lnTo>
                  <a:lnTo>
                    <a:pt x="250" y="45"/>
                  </a:lnTo>
                  <a:lnTo>
                    <a:pt x="250" y="44"/>
                  </a:lnTo>
                  <a:lnTo>
                    <a:pt x="250" y="43"/>
                  </a:lnTo>
                  <a:lnTo>
                    <a:pt x="252" y="37"/>
                  </a:lnTo>
                  <a:lnTo>
                    <a:pt x="252" y="36"/>
                  </a:lnTo>
                  <a:lnTo>
                    <a:pt x="252" y="35"/>
                  </a:lnTo>
                  <a:lnTo>
                    <a:pt x="252" y="34"/>
                  </a:lnTo>
                  <a:lnTo>
                    <a:pt x="252" y="32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2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3" y="26"/>
                  </a:lnTo>
                  <a:lnTo>
                    <a:pt x="254" y="26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7" y="25"/>
                  </a:lnTo>
                  <a:lnTo>
                    <a:pt x="259" y="24"/>
                  </a:lnTo>
                  <a:lnTo>
                    <a:pt x="262" y="23"/>
                  </a:lnTo>
                  <a:lnTo>
                    <a:pt x="263" y="23"/>
                  </a:lnTo>
                  <a:lnTo>
                    <a:pt x="264" y="22"/>
                  </a:lnTo>
                  <a:lnTo>
                    <a:pt x="265" y="21"/>
                  </a:lnTo>
                  <a:lnTo>
                    <a:pt x="266" y="21"/>
                  </a:lnTo>
                  <a:lnTo>
                    <a:pt x="267" y="20"/>
                  </a:lnTo>
                  <a:lnTo>
                    <a:pt x="268" y="20"/>
                  </a:lnTo>
                  <a:lnTo>
                    <a:pt x="268" y="19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7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4"/>
                  </a:lnTo>
                  <a:lnTo>
                    <a:pt x="268" y="14"/>
                  </a:lnTo>
                  <a:lnTo>
                    <a:pt x="268" y="12"/>
                  </a:lnTo>
                  <a:lnTo>
                    <a:pt x="267" y="12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0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8" y="7"/>
                  </a:lnTo>
                  <a:lnTo>
                    <a:pt x="268" y="6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70" y="3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6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79" y="0"/>
                  </a:lnTo>
                  <a:lnTo>
                    <a:pt x="279" y="1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Freeform 15">
              <a:extLst>
                <a:ext uri="{FF2B5EF4-FFF2-40B4-BE49-F238E27FC236}">
                  <a16:creationId xmlns:a16="http://schemas.microsoft.com/office/drawing/2014/main" id="{FD35F4A4-176F-DBA6-72E1-808DFF391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" y="3302"/>
              <a:ext cx="419" cy="536"/>
            </a:xfrm>
            <a:custGeom>
              <a:avLst/>
              <a:gdLst>
                <a:gd name="T0" fmla="*/ 277 w 419"/>
                <a:gd name="T1" fmla="*/ 2 h 536"/>
                <a:gd name="T2" fmla="*/ 286 w 419"/>
                <a:gd name="T3" fmla="*/ 11 h 536"/>
                <a:gd name="T4" fmla="*/ 299 w 419"/>
                <a:gd name="T5" fmla="*/ 12 h 536"/>
                <a:gd name="T6" fmla="*/ 294 w 419"/>
                <a:gd name="T7" fmla="*/ 28 h 536"/>
                <a:gd name="T8" fmla="*/ 304 w 419"/>
                <a:gd name="T9" fmla="*/ 32 h 536"/>
                <a:gd name="T10" fmla="*/ 327 w 419"/>
                <a:gd name="T11" fmla="*/ 31 h 536"/>
                <a:gd name="T12" fmla="*/ 326 w 419"/>
                <a:gd name="T13" fmla="*/ 37 h 536"/>
                <a:gd name="T14" fmla="*/ 345 w 419"/>
                <a:gd name="T15" fmla="*/ 51 h 536"/>
                <a:gd name="T16" fmla="*/ 368 w 419"/>
                <a:gd name="T17" fmla="*/ 50 h 536"/>
                <a:gd name="T18" fmla="*/ 390 w 419"/>
                <a:gd name="T19" fmla="*/ 66 h 536"/>
                <a:gd name="T20" fmla="*/ 397 w 419"/>
                <a:gd name="T21" fmla="*/ 76 h 536"/>
                <a:gd name="T22" fmla="*/ 419 w 419"/>
                <a:gd name="T23" fmla="*/ 96 h 536"/>
                <a:gd name="T24" fmla="*/ 413 w 419"/>
                <a:gd name="T25" fmla="*/ 118 h 536"/>
                <a:gd name="T26" fmla="*/ 409 w 419"/>
                <a:gd name="T27" fmla="*/ 145 h 536"/>
                <a:gd name="T28" fmla="*/ 411 w 419"/>
                <a:gd name="T29" fmla="*/ 161 h 536"/>
                <a:gd name="T30" fmla="*/ 400 w 419"/>
                <a:gd name="T31" fmla="*/ 176 h 536"/>
                <a:gd name="T32" fmla="*/ 388 w 419"/>
                <a:gd name="T33" fmla="*/ 175 h 536"/>
                <a:gd name="T34" fmla="*/ 372 w 419"/>
                <a:gd name="T35" fmla="*/ 192 h 536"/>
                <a:gd name="T36" fmla="*/ 383 w 419"/>
                <a:gd name="T37" fmla="*/ 197 h 536"/>
                <a:gd name="T38" fmla="*/ 377 w 419"/>
                <a:gd name="T39" fmla="*/ 204 h 536"/>
                <a:gd name="T40" fmla="*/ 380 w 419"/>
                <a:gd name="T41" fmla="*/ 214 h 536"/>
                <a:gd name="T42" fmla="*/ 380 w 419"/>
                <a:gd name="T43" fmla="*/ 220 h 536"/>
                <a:gd name="T44" fmla="*/ 391 w 419"/>
                <a:gd name="T45" fmla="*/ 225 h 536"/>
                <a:gd name="T46" fmla="*/ 391 w 419"/>
                <a:gd name="T47" fmla="*/ 251 h 536"/>
                <a:gd name="T48" fmla="*/ 398 w 419"/>
                <a:gd name="T49" fmla="*/ 266 h 536"/>
                <a:gd name="T50" fmla="*/ 394 w 419"/>
                <a:gd name="T51" fmla="*/ 283 h 536"/>
                <a:gd name="T52" fmla="*/ 397 w 419"/>
                <a:gd name="T53" fmla="*/ 299 h 536"/>
                <a:gd name="T54" fmla="*/ 397 w 419"/>
                <a:gd name="T55" fmla="*/ 321 h 536"/>
                <a:gd name="T56" fmla="*/ 403 w 419"/>
                <a:gd name="T57" fmla="*/ 345 h 536"/>
                <a:gd name="T58" fmla="*/ 388 w 419"/>
                <a:gd name="T59" fmla="*/ 367 h 536"/>
                <a:gd name="T60" fmla="*/ 383 w 419"/>
                <a:gd name="T61" fmla="*/ 381 h 536"/>
                <a:gd name="T62" fmla="*/ 379 w 419"/>
                <a:gd name="T63" fmla="*/ 389 h 536"/>
                <a:gd name="T64" fmla="*/ 381 w 419"/>
                <a:gd name="T65" fmla="*/ 398 h 536"/>
                <a:gd name="T66" fmla="*/ 376 w 419"/>
                <a:gd name="T67" fmla="*/ 412 h 536"/>
                <a:gd name="T68" fmla="*/ 375 w 419"/>
                <a:gd name="T69" fmla="*/ 427 h 536"/>
                <a:gd name="T70" fmla="*/ 357 w 419"/>
                <a:gd name="T71" fmla="*/ 445 h 536"/>
                <a:gd name="T72" fmla="*/ 343 w 419"/>
                <a:gd name="T73" fmla="*/ 450 h 536"/>
                <a:gd name="T74" fmla="*/ 344 w 419"/>
                <a:gd name="T75" fmla="*/ 480 h 536"/>
                <a:gd name="T76" fmla="*/ 335 w 419"/>
                <a:gd name="T77" fmla="*/ 491 h 536"/>
                <a:gd name="T78" fmla="*/ 326 w 419"/>
                <a:gd name="T79" fmla="*/ 515 h 536"/>
                <a:gd name="T80" fmla="*/ 321 w 419"/>
                <a:gd name="T81" fmla="*/ 526 h 536"/>
                <a:gd name="T82" fmla="*/ 310 w 419"/>
                <a:gd name="T83" fmla="*/ 536 h 536"/>
                <a:gd name="T84" fmla="*/ 286 w 419"/>
                <a:gd name="T85" fmla="*/ 516 h 536"/>
                <a:gd name="T86" fmla="*/ 276 w 419"/>
                <a:gd name="T87" fmla="*/ 482 h 536"/>
                <a:gd name="T88" fmla="*/ 248 w 419"/>
                <a:gd name="T89" fmla="*/ 456 h 536"/>
                <a:gd name="T90" fmla="*/ 221 w 419"/>
                <a:gd name="T91" fmla="*/ 448 h 536"/>
                <a:gd name="T92" fmla="*/ 209 w 419"/>
                <a:gd name="T93" fmla="*/ 425 h 536"/>
                <a:gd name="T94" fmla="*/ 188 w 419"/>
                <a:gd name="T95" fmla="*/ 395 h 536"/>
                <a:gd name="T96" fmla="*/ 173 w 419"/>
                <a:gd name="T97" fmla="*/ 372 h 536"/>
                <a:gd name="T98" fmla="*/ 151 w 419"/>
                <a:gd name="T99" fmla="*/ 350 h 536"/>
                <a:gd name="T100" fmla="*/ 129 w 419"/>
                <a:gd name="T101" fmla="*/ 350 h 536"/>
                <a:gd name="T102" fmla="*/ 106 w 419"/>
                <a:gd name="T103" fmla="*/ 347 h 536"/>
                <a:gd name="T104" fmla="*/ 91 w 419"/>
                <a:gd name="T105" fmla="*/ 324 h 536"/>
                <a:gd name="T106" fmla="*/ 65 w 419"/>
                <a:gd name="T107" fmla="*/ 303 h 536"/>
                <a:gd name="T108" fmla="*/ 59 w 419"/>
                <a:gd name="T109" fmla="*/ 279 h 536"/>
                <a:gd name="T110" fmla="*/ 49 w 419"/>
                <a:gd name="T111" fmla="*/ 257 h 536"/>
                <a:gd name="T112" fmla="*/ 39 w 419"/>
                <a:gd name="T113" fmla="*/ 233 h 536"/>
                <a:gd name="T114" fmla="*/ 27 w 419"/>
                <a:gd name="T115" fmla="*/ 213 h 536"/>
                <a:gd name="T116" fmla="*/ 26 w 419"/>
                <a:gd name="T117" fmla="*/ 191 h 536"/>
                <a:gd name="T118" fmla="*/ 3 w 419"/>
                <a:gd name="T119" fmla="*/ 175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9" h="536">
                  <a:moveTo>
                    <a:pt x="271" y="0"/>
                  </a:moveTo>
                  <a:lnTo>
                    <a:pt x="271" y="0"/>
                  </a:lnTo>
                  <a:lnTo>
                    <a:pt x="271" y="0"/>
                  </a:lnTo>
                  <a:lnTo>
                    <a:pt x="271" y="1"/>
                  </a:lnTo>
                  <a:lnTo>
                    <a:pt x="271" y="3"/>
                  </a:lnTo>
                  <a:lnTo>
                    <a:pt x="271" y="3"/>
                  </a:lnTo>
                  <a:lnTo>
                    <a:pt x="272" y="4"/>
                  </a:lnTo>
                  <a:lnTo>
                    <a:pt x="272" y="4"/>
                  </a:lnTo>
                  <a:lnTo>
                    <a:pt x="272" y="5"/>
                  </a:lnTo>
                  <a:lnTo>
                    <a:pt x="273" y="5"/>
                  </a:lnTo>
                  <a:lnTo>
                    <a:pt x="273" y="5"/>
                  </a:lnTo>
                  <a:lnTo>
                    <a:pt x="274" y="5"/>
                  </a:lnTo>
                  <a:lnTo>
                    <a:pt x="274" y="5"/>
                  </a:lnTo>
                  <a:lnTo>
                    <a:pt x="274" y="5"/>
                  </a:lnTo>
                  <a:lnTo>
                    <a:pt x="275" y="4"/>
                  </a:lnTo>
                  <a:lnTo>
                    <a:pt x="275" y="4"/>
                  </a:lnTo>
                  <a:lnTo>
                    <a:pt x="277" y="2"/>
                  </a:lnTo>
                  <a:lnTo>
                    <a:pt x="277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80" y="0"/>
                  </a:lnTo>
                  <a:lnTo>
                    <a:pt x="280" y="1"/>
                  </a:lnTo>
                  <a:lnTo>
                    <a:pt x="280" y="1"/>
                  </a:lnTo>
                  <a:lnTo>
                    <a:pt x="281" y="2"/>
                  </a:lnTo>
                  <a:lnTo>
                    <a:pt x="281" y="3"/>
                  </a:lnTo>
                  <a:lnTo>
                    <a:pt x="283" y="5"/>
                  </a:lnTo>
                  <a:lnTo>
                    <a:pt x="284" y="6"/>
                  </a:lnTo>
                  <a:lnTo>
                    <a:pt x="284" y="7"/>
                  </a:lnTo>
                  <a:lnTo>
                    <a:pt x="285" y="9"/>
                  </a:lnTo>
                  <a:lnTo>
                    <a:pt x="285" y="10"/>
                  </a:lnTo>
                  <a:lnTo>
                    <a:pt x="285" y="10"/>
                  </a:lnTo>
                  <a:lnTo>
                    <a:pt x="286" y="10"/>
                  </a:lnTo>
                  <a:lnTo>
                    <a:pt x="286" y="11"/>
                  </a:lnTo>
                  <a:lnTo>
                    <a:pt x="286" y="11"/>
                  </a:lnTo>
                  <a:lnTo>
                    <a:pt x="287" y="11"/>
                  </a:lnTo>
                  <a:lnTo>
                    <a:pt x="287" y="11"/>
                  </a:lnTo>
                  <a:lnTo>
                    <a:pt x="288" y="11"/>
                  </a:lnTo>
                  <a:lnTo>
                    <a:pt x="291" y="10"/>
                  </a:lnTo>
                  <a:lnTo>
                    <a:pt x="291" y="10"/>
                  </a:lnTo>
                  <a:lnTo>
                    <a:pt x="291" y="10"/>
                  </a:lnTo>
                  <a:lnTo>
                    <a:pt x="293" y="9"/>
                  </a:lnTo>
                  <a:lnTo>
                    <a:pt x="294" y="8"/>
                  </a:lnTo>
                  <a:lnTo>
                    <a:pt x="294" y="8"/>
                  </a:lnTo>
                  <a:lnTo>
                    <a:pt x="295" y="7"/>
                  </a:lnTo>
                  <a:lnTo>
                    <a:pt x="296" y="6"/>
                  </a:lnTo>
                  <a:lnTo>
                    <a:pt x="296" y="7"/>
                  </a:lnTo>
                  <a:lnTo>
                    <a:pt x="296" y="8"/>
                  </a:lnTo>
                  <a:lnTo>
                    <a:pt x="297" y="9"/>
                  </a:lnTo>
                  <a:lnTo>
                    <a:pt x="298" y="10"/>
                  </a:lnTo>
                  <a:lnTo>
                    <a:pt x="299" y="12"/>
                  </a:lnTo>
                  <a:lnTo>
                    <a:pt x="299" y="13"/>
                  </a:lnTo>
                  <a:lnTo>
                    <a:pt x="300" y="13"/>
                  </a:lnTo>
                  <a:lnTo>
                    <a:pt x="300" y="14"/>
                  </a:lnTo>
                  <a:lnTo>
                    <a:pt x="300" y="15"/>
                  </a:lnTo>
                  <a:lnTo>
                    <a:pt x="300" y="16"/>
                  </a:lnTo>
                  <a:lnTo>
                    <a:pt x="300" y="17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299" y="19"/>
                  </a:lnTo>
                  <a:lnTo>
                    <a:pt x="298" y="21"/>
                  </a:lnTo>
                  <a:lnTo>
                    <a:pt x="297" y="22"/>
                  </a:lnTo>
                  <a:lnTo>
                    <a:pt x="296" y="24"/>
                  </a:lnTo>
                  <a:lnTo>
                    <a:pt x="295" y="26"/>
                  </a:lnTo>
                  <a:lnTo>
                    <a:pt x="295" y="27"/>
                  </a:lnTo>
                  <a:lnTo>
                    <a:pt x="294" y="27"/>
                  </a:lnTo>
                  <a:lnTo>
                    <a:pt x="294" y="28"/>
                  </a:lnTo>
                  <a:lnTo>
                    <a:pt x="294" y="29"/>
                  </a:lnTo>
                  <a:lnTo>
                    <a:pt x="294" y="29"/>
                  </a:lnTo>
                  <a:lnTo>
                    <a:pt x="294" y="30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5" y="32"/>
                  </a:lnTo>
                  <a:lnTo>
                    <a:pt x="295" y="32"/>
                  </a:lnTo>
                  <a:lnTo>
                    <a:pt x="296" y="32"/>
                  </a:lnTo>
                  <a:lnTo>
                    <a:pt x="297" y="32"/>
                  </a:lnTo>
                  <a:lnTo>
                    <a:pt x="300" y="33"/>
                  </a:lnTo>
                  <a:lnTo>
                    <a:pt x="300" y="33"/>
                  </a:lnTo>
                  <a:lnTo>
                    <a:pt x="301" y="33"/>
                  </a:lnTo>
                  <a:lnTo>
                    <a:pt x="301" y="33"/>
                  </a:lnTo>
                  <a:lnTo>
                    <a:pt x="302" y="33"/>
                  </a:lnTo>
                  <a:lnTo>
                    <a:pt x="303" y="33"/>
                  </a:lnTo>
                  <a:lnTo>
                    <a:pt x="304" y="32"/>
                  </a:lnTo>
                  <a:lnTo>
                    <a:pt x="306" y="31"/>
                  </a:lnTo>
                  <a:lnTo>
                    <a:pt x="308" y="31"/>
                  </a:lnTo>
                  <a:lnTo>
                    <a:pt x="309" y="31"/>
                  </a:lnTo>
                  <a:lnTo>
                    <a:pt x="309" y="30"/>
                  </a:lnTo>
                  <a:lnTo>
                    <a:pt x="311" y="30"/>
                  </a:lnTo>
                  <a:lnTo>
                    <a:pt x="313" y="30"/>
                  </a:lnTo>
                  <a:lnTo>
                    <a:pt x="314" y="30"/>
                  </a:lnTo>
                  <a:lnTo>
                    <a:pt x="315" y="31"/>
                  </a:lnTo>
                  <a:lnTo>
                    <a:pt x="318" y="31"/>
                  </a:lnTo>
                  <a:lnTo>
                    <a:pt x="319" y="31"/>
                  </a:lnTo>
                  <a:lnTo>
                    <a:pt x="320" y="31"/>
                  </a:lnTo>
                  <a:lnTo>
                    <a:pt x="320" y="31"/>
                  </a:lnTo>
                  <a:lnTo>
                    <a:pt x="323" y="31"/>
                  </a:lnTo>
                  <a:lnTo>
                    <a:pt x="325" y="31"/>
                  </a:lnTo>
                  <a:lnTo>
                    <a:pt x="326" y="31"/>
                  </a:lnTo>
                  <a:lnTo>
                    <a:pt x="326" y="31"/>
                  </a:lnTo>
                  <a:lnTo>
                    <a:pt x="327" y="31"/>
                  </a:lnTo>
                  <a:lnTo>
                    <a:pt x="328" y="31"/>
                  </a:lnTo>
                  <a:lnTo>
                    <a:pt x="329" y="32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1" y="33"/>
                  </a:lnTo>
                  <a:lnTo>
                    <a:pt x="330" y="34"/>
                  </a:lnTo>
                  <a:lnTo>
                    <a:pt x="330" y="34"/>
                  </a:lnTo>
                  <a:lnTo>
                    <a:pt x="328" y="35"/>
                  </a:lnTo>
                  <a:lnTo>
                    <a:pt x="328" y="35"/>
                  </a:lnTo>
                  <a:lnTo>
                    <a:pt x="327" y="36"/>
                  </a:lnTo>
                  <a:lnTo>
                    <a:pt x="327" y="36"/>
                  </a:lnTo>
                  <a:lnTo>
                    <a:pt x="326" y="36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8"/>
                  </a:lnTo>
                  <a:lnTo>
                    <a:pt x="327" y="38"/>
                  </a:lnTo>
                  <a:lnTo>
                    <a:pt x="327" y="38"/>
                  </a:lnTo>
                  <a:lnTo>
                    <a:pt x="327" y="39"/>
                  </a:lnTo>
                  <a:lnTo>
                    <a:pt x="328" y="40"/>
                  </a:lnTo>
                  <a:lnTo>
                    <a:pt x="329" y="40"/>
                  </a:lnTo>
                  <a:lnTo>
                    <a:pt x="330" y="41"/>
                  </a:lnTo>
                  <a:lnTo>
                    <a:pt x="331" y="42"/>
                  </a:lnTo>
                  <a:lnTo>
                    <a:pt x="334" y="43"/>
                  </a:lnTo>
                  <a:lnTo>
                    <a:pt x="336" y="44"/>
                  </a:lnTo>
                  <a:lnTo>
                    <a:pt x="338" y="46"/>
                  </a:lnTo>
                  <a:lnTo>
                    <a:pt x="341" y="48"/>
                  </a:lnTo>
                  <a:lnTo>
                    <a:pt x="342" y="49"/>
                  </a:lnTo>
                  <a:lnTo>
                    <a:pt x="344" y="50"/>
                  </a:lnTo>
                  <a:lnTo>
                    <a:pt x="344" y="50"/>
                  </a:lnTo>
                  <a:lnTo>
                    <a:pt x="345" y="51"/>
                  </a:lnTo>
                  <a:lnTo>
                    <a:pt x="346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50" y="52"/>
                  </a:lnTo>
                  <a:lnTo>
                    <a:pt x="351" y="52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5" y="52"/>
                  </a:lnTo>
                  <a:lnTo>
                    <a:pt x="357" y="52"/>
                  </a:lnTo>
                  <a:lnTo>
                    <a:pt x="358" y="51"/>
                  </a:lnTo>
                  <a:lnTo>
                    <a:pt x="359" y="51"/>
                  </a:lnTo>
                  <a:lnTo>
                    <a:pt x="362" y="50"/>
                  </a:lnTo>
                  <a:lnTo>
                    <a:pt x="363" y="50"/>
                  </a:lnTo>
                  <a:lnTo>
                    <a:pt x="364" y="50"/>
                  </a:lnTo>
                  <a:lnTo>
                    <a:pt x="366" y="50"/>
                  </a:lnTo>
                  <a:lnTo>
                    <a:pt x="366" y="50"/>
                  </a:lnTo>
                  <a:lnTo>
                    <a:pt x="368" y="50"/>
                  </a:lnTo>
                  <a:lnTo>
                    <a:pt x="368" y="51"/>
                  </a:lnTo>
                  <a:lnTo>
                    <a:pt x="369" y="51"/>
                  </a:lnTo>
                  <a:lnTo>
                    <a:pt x="370" y="51"/>
                  </a:lnTo>
                  <a:lnTo>
                    <a:pt x="370" y="52"/>
                  </a:lnTo>
                  <a:lnTo>
                    <a:pt x="371" y="52"/>
                  </a:lnTo>
                  <a:lnTo>
                    <a:pt x="372" y="53"/>
                  </a:lnTo>
                  <a:lnTo>
                    <a:pt x="374" y="56"/>
                  </a:lnTo>
                  <a:lnTo>
                    <a:pt x="376" y="58"/>
                  </a:lnTo>
                  <a:lnTo>
                    <a:pt x="377" y="59"/>
                  </a:lnTo>
                  <a:lnTo>
                    <a:pt x="379" y="61"/>
                  </a:lnTo>
                  <a:lnTo>
                    <a:pt x="382" y="63"/>
                  </a:lnTo>
                  <a:lnTo>
                    <a:pt x="383" y="64"/>
                  </a:lnTo>
                  <a:lnTo>
                    <a:pt x="384" y="65"/>
                  </a:lnTo>
                  <a:lnTo>
                    <a:pt x="385" y="65"/>
                  </a:lnTo>
                  <a:lnTo>
                    <a:pt x="386" y="65"/>
                  </a:lnTo>
                  <a:lnTo>
                    <a:pt x="389" y="66"/>
                  </a:lnTo>
                  <a:lnTo>
                    <a:pt x="390" y="66"/>
                  </a:lnTo>
                  <a:lnTo>
                    <a:pt x="391" y="66"/>
                  </a:lnTo>
                  <a:lnTo>
                    <a:pt x="392" y="66"/>
                  </a:lnTo>
                  <a:lnTo>
                    <a:pt x="392" y="67"/>
                  </a:lnTo>
                  <a:lnTo>
                    <a:pt x="393" y="67"/>
                  </a:lnTo>
                  <a:lnTo>
                    <a:pt x="394" y="68"/>
                  </a:lnTo>
                  <a:lnTo>
                    <a:pt x="394" y="68"/>
                  </a:lnTo>
                  <a:lnTo>
                    <a:pt x="395" y="69"/>
                  </a:lnTo>
                  <a:lnTo>
                    <a:pt x="395" y="69"/>
                  </a:lnTo>
                  <a:lnTo>
                    <a:pt x="395" y="70"/>
                  </a:lnTo>
                  <a:lnTo>
                    <a:pt x="396" y="71"/>
                  </a:lnTo>
                  <a:lnTo>
                    <a:pt x="396" y="71"/>
                  </a:lnTo>
                  <a:lnTo>
                    <a:pt x="396" y="74"/>
                  </a:lnTo>
                  <a:lnTo>
                    <a:pt x="396" y="75"/>
                  </a:lnTo>
                  <a:lnTo>
                    <a:pt x="397" y="75"/>
                  </a:lnTo>
                  <a:lnTo>
                    <a:pt x="397" y="75"/>
                  </a:lnTo>
                  <a:lnTo>
                    <a:pt x="397" y="76"/>
                  </a:lnTo>
                  <a:lnTo>
                    <a:pt x="397" y="76"/>
                  </a:lnTo>
                  <a:lnTo>
                    <a:pt x="398" y="76"/>
                  </a:lnTo>
                  <a:lnTo>
                    <a:pt x="398" y="76"/>
                  </a:lnTo>
                  <a:lnTo>
                    <a:pt x="401" y="77"/>
                  </a:lnTo>
                  <a:lnTo>
                    <a:pt x="404" y="78"/>
                  </a:lnTo>
                  <a:lnTo>
                    <a:pt x="406" y="78"/>
                  </a:lnTo>
                  <a:lnTo>
                    <a:pt x="407" y="79"/>
                  </a:lnTo>
                  <a:lnTo>
                    <a:pt x="410" y="80"/>
                  </a:lnTo>
                  <a:lnTo>
                    <a:pt x="416" y="84"/>
                  </a:lnTo>
                  <a:lnTo>
                    <a:pt x="417" y="84"/>
                  </a:lnTo>
                  <a:lnTo>
                    <a:pt x="417" y="85"/>
                  </a:lnTo>
                  <a:lnTo>
                    <a:pt x="417" y="85"/>
                  </a:lnTo>
                  <a:lnTo>
                    <a:pt x="418" y="85"/>
                  </a:lnTo>
                  <a:lnTo>
                    <a:pt x="418" y="86"/>
                  </a:lnTo>
                  <a:lnTo>
                    <a:pt x="418" y="86"/>
                  </a:lnTo>
                  <a:lnTo>
                    <a:pt x="418" y="91"/>
                  </a:lnTo>
                  <a:lnTo>
                    <a:pt x="418" y="93"/>
                  </a:lnTo>
                  <a:lnTo>
                    <a:pt x="419" y="96"/>
                  </a:lnTo>
                  <a:lnTo>
                    <a:pt x="419" y="100"/>
                  </a:lnTo>
                  <a:lnTo>
                    <a:pt x="419" y="102"/>
                  </a:lnTo>
                  <a:lnTo>
                    <a:pt x="419" y="106"/>
                  </a:lnTo>
                  <a:lnTo>
                    <a:pt x="419" y="107"/>
                  </a:lnTo>
                  <a:lnTo>
                    <a:pt x="419" y="108"/>
                  </a:lnTo>
                  <a:lnTo>
                    <a:pt x="419" y="108"/>
                  </a:lnTo>
                  <a:lnTo>
                    <a:pt x="419" y="109"/>
                  </a:lnTo>
                  <a:lnTo>
                    <a:pt x="419" y="110"/>
                  </a:lnTo>
                  <a:lnTo>
                    <a:pt x="418" y="110"/>
                  </a:lnTo>
                  <a:lnTo>
                    <a:pt x="418" y="111"/>
                  </a:lnTo>
                  <a:lnTo>
                    <a:pt x="416" y="112"/>
                  </a:lnTo>
                  <a:lnTo>
                    <a:pt x="416" y="113"/>
                  </a:lnTo>
                  <a:lnTo>
                    <a:pt x="415" y="113"/>
                  </a:lnTo>
                  <a:lnTo>
                    <a:pt x="415" y="114"/>
                  </a:lnTo>
                  <a:lnTo>
                    <a:pt x="414" y="115"/>
                  </a:lnTo>
                  <a:lnTo>
                    <a:pt x="414" y="116"/>
                  </a:lnTo>
                  <a:lnTo>
                    <a:pt x="413" y="118"/>
                  </a:lnTo>
                  <a:lnTo>
                    <a:pt x="412" y="121"/>
                  </a:lnTo>
                  <a:lnTo>
                    <a:pt x="412" y="122"/>
                  </a:lnTo>
                  <a:lnTo>
                    <a:pt x="412" y="123"/>
                  </a:lnTo>
                  <a:lnTo>
                    <a:pt x="411" y="128"/>
                  </a:lnTo>
                  <a:lnTo>
                    <a:pt x="411" y="129"/>
                  </a:lnTo>
                  <a:lnTo>
                    <a:pt x="411" y="130"/>
                  </a:lnTo>
                  <a:lnTo>
                    <a:pt x="411" y="133"/>
                  </a:lnTo>
                  <a:lnTo>
                    <a:pt x="411" y="134"/>
                  </a:lnTo>
                  <a:lnTo>
                    <a:pt x="411" y="135"/>
                  </a:lnTo>
                  <a:lnTo>
                    <a:pt x="411" y="136"/>
                  </a:lnTo>
                  <a:lnTo>
                    <a:pt x="411" y="137"/>
                  </a:lnTo>
                  <a:lnTo>
                    <a:pt x="411" y="138"/>
                  </a:lnTo>
                  <a:lnTo>
                    <a:pt x="410" y="140"/>
                  </a:lnTo>
                  <a:lnTo>
                    <a:pt x="409" y="143"/>
                  </a:lnTo>
                  <a:lnTo>
                    <a:pt x="409" y="143"/>
                  </a:lnTo>
                  <a:lnTo>
                    <a:pt x="409" y="144"/>
                  </a:lnTo>
                  <a:lnTo>
                    <a:pt x="409" y="145"/>
                  </a:lnTo>
                  <a:lnTo>
                    <a:pt x="409" y="146"/>
                  </a:lnTo>
                  <a:lnTo>
                    <a:pt x="409" y="147"/>
                  </a:lnTo>
                  <a:lnTo>
                    <a:pt x="409" y="150"/>
                  </a:lnTo>
                  <a:lnTo>
                    <a:pt x="409" y="151"/>
                  </a:lnTo>
                  <a:lnTo>
                    <a:pt x="408" y="152"/>
                  </a:lnTo>
                  <a:lnTo>
                    <a:pt x="408" y="153"/>
                  </a:lnTo>
                  <a:lnTo>
                    <a:pt x="408" y="154"/>
                  </a:lnTo>
                  <a:lnTo>
                    <a:pt x="408" y="155"/>
                  </a:lnTo>
                  <a:lnTo>
                    <a:pt x="407" y="157"/>
                  </a:lnTo>
                  <a:lnTo>
                    <a:pt x="407" y="158"/>
                  </a:lnTo>
                  <a:lnTo>
                    <a:pt x="407" y="159"/>
                  </a:lnTo>
                  <a:lnTo>
                    <a:pt x="408" y="159"/>
                  </a:lnTo>
                  <a:lnTo>
                    <a:pt x="408" y="159"/>
                  </a:lnTo>
                  <a:lnTo>
                    <a:pt x="408" y="159"/>
                  </a:lnTo>
                  <a:lnTo>
                    <a:pt x="410" y="160"/>
                  </a:lnTo>
                  <a:lnTo>
                    <a:pt x="410" y="161"/>
                  </a:lnTo>
                  <a:lnTo>
                    <a:pt x="411" y="161"/>
                  </a:lnTo>
                  <a:lnTo>
                    <a:pt x="411" y="162"/>
                  </a:lnTo>
                  <a:lnTo>
                    <a:pt x="412" y="162"/>
                  </a:lnTo>
                  <a:lnTo>
                    <a:pt x="412" y="163"/>
                  </a:lnTo>
                  <a:lnTo>
                    <a:pt x="412" y="164"/>
                  </a:lnTo>
                  <a:lnTo>
                    <a:pt x="412" y="164"/>
                  </a:lnTo>
                  <a:lnTo>
                    <a:pt x="411" y="165"/>
                  </a:lnTo>
                  <a:lnTo>
                    <a:pt x="411" y="165"/>
                  </a:lnTo>
                  <a:lnTo>
                    <a:pt x="411" y="166"/>
                  </a:lnTo>
                  <a:lnTo>
                    <a:pt x="410" y="166"/>
                  </a:lnTo>
                  <a:lnTo>
                    <a:pt x="409" y="167"/>
                  </a:lnTo>
                  <a:lnTo>
                    <a:pt x="406" y="170"/>
                  </a:lnTo>
                  <a:lnTo>
                    <a:pt x="405" y="171"/>
                  </a:lnTo>
                  <a:lnTo>
                    <a:pt x="404" y="172"/>
                  </a:lnTo>
                  <a:lnTo>
                    <a:pt x="403" y="173"/>
                  </a:lnTo>
                  <a:lnTo>
                    <a:pt x="402" y="175"/>
                  </a:lnTo>
                  <a:lnTo>
                    <a:pt x="401" y="176"/>
                  </a:lnTo>
                  <a:lnTo>
                    <a:pt x="400" y="176"/>
                  </a:lnTo>
                  <a:lnTo>
                    <a:pt x="400" y="177"/>
                  </a:lnTo>
                  <a:lnTo>
                    <a:pt x="399" y="177"/>
                  </a:lnTo>
                  <a:lnTo>
                    <a:pt x="399" y="177"/>
                  </a:lnTo>
                  <a:lnTo>
                    <a:pt x="398" y="178"/>
                  </a:lnTo>
                  <a:lnTo>
                    <a:pt x="398" y="178"/>
                  </a:lnTo>
                  <a:lnTo>
                    <a:pt x="397" y="178"/>
                  </a:lnTo>
                  <a:lnTo>
                    <a:pt x="397" y="178"/>
                  </a:lnTo>
                  <a:lnTo>
                    <a:pt x="396" y="177"/>
                  </a:lnTo>
                  <a:lnTo>
                    <a:pt x="395" y="177"/>
                  </a:lnTo>
                  <a:lnTo>
                    <a:pt x="392" y="175"/>
                  </a:lnTo>
                  <a:lnTo>
                    <a:pt x="392" y="175"/>
                  </a:lnTo>
                  <a:lnTo>
                    <a:pt x="392" y="175"/>
                  </a:lnTo>
                  <a:lnTo>
                    <a:pt x="391" y="175"/>
                  </a:lnTo>
                  <a:lnTo>
                    <a:pt x="390" y="175"/>
                  </a:lnTo>
                  <a:lnTo>
                    <a:pt x="389" y="175"/>
                  </a:lnTo>
                  <a:lnTo>
                    <a:pt x="389" y="175"/>
                  </a:lnTo>
                  <a:lnTo>
                    <a:pt x="388" y="175"/>
                  </a:lnTo>
                  <a:lnTo>
                    <a:pt x="387" y="176"/>
                  </a:lnTo>
                  <a:lnTo>
                    <a:pt x="386" y="176"/>
                  </a:lnTo>
                  <a:lnTo>
                    <a:pt x="384" y="177"/>
                  </a:lnTo>
                  <a:lnTo>
                    <a:pt x="383" y="178"/>
                  </a:lnTo>
                  <a:lnTo>
                    <a:pt x="382" y="178"/>
                  </a:lnTo>
                  <a:lnTo>
                    <a:pt x="381" y="179"/>
                  </a:lnTo>
                  <a:lnTo>
                    <a:pt x="380" y="180"/>
                  </a:lnTo>
                  <a:lnTo>
                    <a:pt x="379" y="181"/>
                  </a:lnTo>
                  <a:lnTo>
                    <a:pt x="378" y="181"/>
                  </a:lnTo>
                  <a:lnTo>
                    <a:pt x="378" y="182"/>
                  </a:lnTo>
                  <a:lnTo>
                    <a:pt x="377" y="184"/>
                  </a:lnTo>
                  <a:lnTo>
                    <a:pt x="374" y="187"/>
                  </a:lnTo>
                  <a:lnTo>
                    <a:pt x="373" y="188"/>
                  </a:lnTo>
                  <a:lnTo>
                    <a:pt x="373" y="189"/>
                  </a:lnTo>
                  <a:lnTo>
                    <a:pt x="373" y="190"/>
                  </a:lnTo>
                  <a:lnTo>
                    <a:pt x="372" y="191"/>
                  </a:lnTo>
                  <a:lnTo>
                    <a:pt x="372" y="192"/>
                  </a:lnTo>
                  <a:lnTo>
                    <a:pt x="372" y="193"/>
                  </a:lnTo>
                  <a:lnTo>
                    <a:pt x="372" y="194"/>
                  </a:lnTo>
                  <a:lnTo>
                    <a:pt x="372" y="194"/>
                  </a:lnTo>
                  <a:lnTo>
                    <a:pt x="372" y="195"/>
                  </a:lnTo>
                  <a:lnTo>
                    <a:pt x="373" y="195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4" y="197"/>
                  </a:lnTo>
                  <a:lnTo>
                    <a:pt x="374" y="197"/>
                  </a:lnTo>
                  <a:lnTo>
                    <a:pt x="375" y="197"/>
                  </a:lnTo>
                  <a:lnTo>
                    <a:pt x="377" y="196"/>
                  </a:lnTo>
                  <a:lnTo>
                    <a:pt x="378" y="196"/>
                  </a:lnTo>
                  <a:lnTo>
                    <a:pt x="379" y="196"/>
                  </a:lnTo>
                  <a:lnTo>
                    <a:pt x="380" y="196"/>
                  </a:lnTo>
                  <a:lnTo>
                    <a:pt x="382" y="196"/>
                  </a:lnTo>
                  <a:lnTo>
                    <a:pt x="383" y="197"/>
                  </a:lnTo>
                  <a:lnTo>
                    <a:pt x="383" y="197"/>
                  </a:lnTo>
                  <a:lnTo>
                    <a:pt x="384" y="197"/>
                  </a:lnTo>
                  <a:lnTo>
                    <a:pt x="384" y="197"/>
                  </a:lnTo>
                  <a:lnTo>
                    <a:pt x="384" y="198"/>
                  </a:lnTo>
                  <a:lnTo>
                    <a:pt x="384" y="198"/>
                  </a:lnTo>
                  <a:lnTo>
                    <a:pt x="385" y="198"/>
                  </a:lnTo>
                  <a:lnTo>
                    <a:pt x="384" y="199"/>
                  </a:lnTo>
                  <a:lnTo>
                    <a:pt x="384" y="199"/>
                  </a:lnTo>
                  <a:lnTo>
                    <a:pt x="384" y="200"/>
                  </a:lnTo>
                  <a:lnTo>
                    <a:pt x="383" y="200"/>
                  </a:lnTo>
                  <a:lnTo>
                    <a:pt x="382" y="201"/>
                  </a:lnTo>
                  <a:lnTo>
                    <a:pt x="378" y="202"/>
                  </a:lnTo>
                  <a:lnTo>
                    <a:pt x="378" y="203"/>
                  </a:lnTo>
                  <a:lnTo>
                    <a:pt x="378" y="203"/>
                  </a:lnTo>
                  <a:lnTo>
                    <a:pt x="378" y="203"/>
                  </a:lnTo>
                  <a:lnTo>
                    <a:pt x="377" y="203"/>
                  </a:lnTo>
                  <a:lnTo>
                    <a:pt x="377" y="204"/>
                  </a:lnTo>
                  <a:lnTo>
                    <a:pt x="377" y="205"/>
                  </a:lnTo>
                  <a:lnTo>
                    <a:pt x="378" y="205"/>
                  </a:lnTo>
                  <a:lnTo>
                    <a:pt x="378" y="206"/>
                  </a:lnTo>
                  <a:lnTo>
                    <a:pt x="378" y="206"/>
                  </a:lnTo>
                  <a:lnTo>
                    <a:pt x="378" y="207"/>
                  </a:lnTo>
                  <a:lnTo>
                    <a:pt x="380" y="208"/>
                  </a:lnTo>
                  <a:lnTo>
                    <a:pt x="380" y="209"/>
                  </a:lnTo>
                  <a:lnTo>
                    <a:pt x="381" y="210"/>
                  </a:lnTo>
                  <a:lnTo>
                    <a:pt x="381" y="210"/>
                  </a:lnTo>
                  <a:lnTo>
                    <a:pt x="382" y="211"/>
                  </a:lnTo>
                  <a:lnTo>
                    <a:pt x="382" y="212"/>
                  </a:lnTo>
                  <a:lnTo>
                    <a:pt x="382" y="212"/>
                  </a:lnTo>
                  <a:lnTo>
                    <a:pt x="381" y="213"/>
                  </a:lnTo>
                  <a:lnTo>
                    <a:pt x="381" y="213"/>
                  </a:lnTo>
                  <a:lnTo>
                    <a:pt x="381" y="213"/>
                  </a:lnTo>
                  <a:lnTo>
                    <a:pt x="380" y="214"/>
                  </a:lnTo>
                  <a:lnTo>
                    <a:pt x="380" y="214"/>
                  </a:lnTo>
                  <a:lnTo>
                    <a:pt x="379" y="214"/>
                  </a:lnTo>
                  <a:lnTo>
                    <a:pt x="378" y="214"/>
                  </a:lnTo>
                  <a:lnTo>
                    <a:pt x="377" y="214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6"/>
                  </a:lnTo>
                  <a:lnTo>
                    <a:pt x="377" y="216"/>
                  </a:lnTo>
                  <a:lnTo>
                    <a:pt x="378" y="217"/>
                  </a:lnTo>
                  <a:lnTo>
                    <a:pt x="379" y="218"/>
                  </a:lnTo>
                  <a:lnTo>
                    <a:pt x="380" y="218"/>
                  </a:lnTo>
                  <a:lnTo>
                    <a:pt x="380" y="218"/>
                  </a:lnTo>
                  <a:lnTo>
                    <a:pt x="380" y="219"/>
                  </a:lnTo>
                  <a:lnTo>
                    <a:pt x="380" y="219"/>
                  </a:lnTo>
                  <a:lnTo>
                    <a:pt x="380" y="220"/>
                  </a:lnTo>
                  <a:lnTo>
                    <a:pt x="380" y="221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1" y="222"/>
                  </a:lnTo>
                  <a:lnTo>
                    <a:pt x="381" y="223"/>
                  </a:lnTo>
                  <a:lnTo>
                    <a:pt x="381" y="223"/>
                  </a:lnTo>
                  <a:lnTo>
                    <a:pt x="382" y="223"/>
                  </a:lnTo>
                  <a:lnTo>
                    <a:pt x="383" y="223"/>
                  </a:lnTo>
                  <a:lnTo>
                    <a:pt x="385" y="223"/>
                  </a:lnTo>
                  <a:lnTo>
                    <a:pt x="386" y="223"/>
                  </a:lnTo>
                  <a:lnTo>
                    <a:pt x="387" y="223"/>
                  </a:lnTo>
                  <a:lnTo>
                    <a:pt x="388" y="223"/>
                  </a:lnTo>
                  <a:lnTo>
                    <a:pt x="389" y="224"/>
                  </a:lnTo>
                  <a:lnTo>
                    <a:pt x="390" y="224"/>
                  </a:lnTo>
                  <a:lnTo>
                    <a:pt x="391" y="225"/>
                  </a:lnTo>
                  <a:lnTo>
                    <a:pt x="392" y="225"/>
                  </a:lnTo>
                  <a:lnTo>
                    <a:pt x="392" y="226"/>
                  </a:lnTo>
                  <a:lnTo>
                    <a:pt x="392" y="226"/>
                  </a:lnTo>
                  <a:lnTo>
                    <a:pt x="393" y="227"/>
                  </a:lnTo>
                  <a:lnTo>
                    <a:pt x="393" y="227"/>
                  </a:lnTo>
                  <a:lnTo>
                    <a:pt x="393" y="228"/>
                  </a:lnTo>
                  <a:lnTo>
                    <a:pt x="393" y="229"/>
                  </a:lnTo>
                  <a:lnTo>
                    <a:pt x="393" y="231"/>
                  </a:lnTo>
                  <a:lnTo>
                    <a:pt x="393" y="233"/>
                  </a:lnTo>
                  <a:lnTo>
                    <a:pt x="393" y="235"/>
                  </a:lnTo>
                  <a:lnTo>
                    <a:pt x="393" y="236"/>
                  </a:lnTo>
                  <a:lnTo>
                    <a:pt x="393" y="238"/>
                  </a:lnTo>
                  <a:lnTo>
                    <a:pt x="392" y="241"/>
                  </a:lnTo>
                  <a:lnTo>
                    <a:pt x="392" y="243"/>
                  </a:lnTo>
                  <a:lnTo>
                    <a:pt x="392" y="245"/>
                  </a:lnTo>
                  <a:lnTo>
                    <a:pt x="391" y="248"/>
                  </a:lnTo>
                  <a:lnTo>
                    <a:pt x="391" y="251"/>
                  </a:lnTo>
                  <a:lnTo>
                    <a:pt x="391" y="252"/>
                  </a:lnTo>
                  <a:lnTo>
                    <a:pt x="391" y="256"/>
                  </a:lnTo>
                  <a:lnTo>
                    <a:pt x="391" y="256"/>
                  </a:lnTo>
                  <a:lnTo>
                    <a:pt x="391" y="257"/>
                  </a:lnTo>
                  <a:lnTo>
                    <a:pt x="391" y="257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3" y="259"/>
                  </a:lnTo>
                  <a:lnTo>
                    <a:pt x="394" y="259"/>
                  </a:lnTo>
                  <a:lnTo>
                    <a:pt x="395" y="260"/>
                  </a:lnTo>
                  <a:lnTo>
                    <a:pt x="396" y="261"/>
                  </a:lnTo>
                  <a:lnTo>
                    <a:pt x="396" y="261"/>
                  </a:lnTo>
                  <a:lnTo>
                    <a:pt x="397" y="262"/>
                  </a:lnTo>
                  <a:lnTo>
                    <a:pt x="397" y="263"/>
                  </a:lnTo>
                  <a:lnTo>
                    <a:pt x="397" y="264"/>
                  </a:lnTo>
                  <a:lnTo>
                    <a:pt x="398" y="266"/>
                  </a:lnTo>
                  <a:lnTo>
                    <a:pt x="398" y="267"/>
                  </a:lnTo>
                  <a:lnTo>
                    <a:pt x="398" y="268"/>
                  </a:lnTo>
                  <a:lnTo>
                    <a:pt x="398" y="269"/>
                  </a:lnTo>
                  <a:lnTo>
                    <a:pt x="398" y="270"/>
                  </a:lnTo>
                  <a:lnTo>
                    <a:pt x="398" y="272"/>
                  </a:lnTo>
                  <a:lnTo>
                    <a:pt x="398" y="273"/>
                  </a:lnTo>
                  <a:lnTo>
                    <a:pt x="398" y="274"/>
                  </a:lnTo>
                  <a:lnTo>
                    <a:pt x="398" y="275"/>
                  </a:lnTo>
                  <a:lnTo>
                    <a:pt x="398" y="275"/>
                  </a:lnTo>
                  <a:lnTo>
                    <a:pt x="397" y="275"/>
                  </a:lnTo>
                  <a:lnTo>
                    <a:pt x="397" y="275"/>
                  </a:lnTo>
                  <a:lnTo>
                    <a:pt x="397" y="275"/>
                  </a:lnTo>
                  <a:lnTo>
                    <a:pt x="396" y="276"/>
                  </a:lnTo>
                  <a:lnTo>
                    <a:pt x="396" y="277"/>
                  </a:lnTo>
                  <a:lnTo>
                    <a:pt x="396" y="277"/>
                  </a:lnTo>
                  <a:lnTo>
                    <a:pt x="395" y="278"/>
                  </a:lnTo>
                  <a:lnTo>
                    <a:pt x="394" y="283"/>
                  </a:lnTo>
                  <a:lnTo>
                    <a:pt x="394" y="284"/>
                  </a:lnTo>
                  <a:lnTo>
                    <a:pt x="394" y="284"/>
                  </a:lnTo>
                  <a:lnTo>
                    <a:pt x="394" y="285"/>
                  </a:lnTo>
                  <a:lnTo>
                    <a:pt x="394" y="285"/>
                  </a:lnTo>
                  <a:lnTo>
                    <a:pt x="394" y="286"/>
                  </a:lnTo>
                  <a:lnTo>
                    <a:pt x="394" y="286"/>
                  </a:lnTo>
                  <a:lnTo>
                    <a:pt x="394" y="287"/>
                  </a:lnTo>
                  <a:lnTo>
                    <a:pt x="395" y="288"/>
                  </a:lnTo>
                  <a:lnTo>
                    <a:pt x="396" y="289"/>
                  </a:lnTo>
                  <a:lnTo>
                    <a:pt x="396" y="289"/>
                  </a:lnTo>
                  <a:lnTo>
                    <a:pt x="396" y="289"/>
                  </a:lnTo>
                  <a:lnTo>
                    <a:pt x="397" y="290"/>
                  </a:lnTo>
                  <a:lnTo>
                    <a:pt x="397" y="292"/>
                  </a:lnTo>
                  <a:lnTo>
                    <a:pt x="397" y="293"/>
                  </a:lnTo>
                  <a:lnTo>
                    <a:pt x="397" y="294"/>
                  </a:lnTo>
                  <a:lnTo>
                    <a:pt x="397" y="298"/>
                  </a:lnTo>
                  <a:lnTo>
                    <a:pt x="397" y="299"/>
                  </a:lnTo>
                  <a:lnTo>
                    <a:pt x="398" y="302"/>
                  </a:lnTo>
                  <a:lnTo>
                    <a:pt x="398" y="303"/>
                  </a:lnTo>
                  <a:lnTo>
                    <a:pt x="399" y="304"/>
                  </a:lnTo>
                  <a:lnTo>
                    <a:pt x="400" y="306"/>
                  </a:lnTo>
                  <a:lnTo>
                    <a:pt x="401" y="308"/>
                  </a:lnTo>
                  <a:lnTo>
                    <a:pt x="401" y="309"/>
                  </a:lnTo>
                  <a:lnTo>
                    <a:pt x="401" y="310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1" y="312"/>
                  </a:lnTo>
                  <a:lnTo>
                    <a:pt x="399" y="315"/>
                  </a:lnTo>
                  <a:lnTo>
                    <a:pt x="398" y="317"/>
                  </a:lnTo>
                  <a:lnTo>
                    <a:pt x="398" y="318"/>
                  </a:lnTo>
                  <a:lnTo>
                    <a:pt x="397" y="319"/>
                  </a:lnTo>
                  <a:lnTo>
                    <a:pt x="397" y="320"/>
                  </a:lnTo>
                  <a:lnTo>
                    <a:pt x="397" y="321"/>
                  </a:lnTo>
                  <a:lnTo>
                    <a:pt x="396" y="324"/>
                  </a:lnTo>
                  <a:lnTo>
                    <a:pt x="396" y="326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7" y="330"/>
                  </a:lnTo>
                  <a:lnTo>
                    <a:pt x="397" y="332"/>
                  </a:lnTo>
                  <a:lnTo>
                    <a:pt x="397" y="333"/>
                  </a:lnTo>
                  <a:lnTo>
                    <a:pt x="399" y="336"/>
                  </a:lnTo>
                  <a:lnTo>
                    <a:pt x="400" y="337"/>
                  </a:lnTo>
                  <a:lnTo>
                    <a:pt x="400" y="338"/>
                  </a:lnTo>
                  <a:lnTo>
                    <a:pt x="402" y="340"/>
                  </a:lnTo>
                  <a:lnTo>
                    <a:pt x="402" y="341"/>
                  </a:lnTo>
                  <a:lnTo>
                    <a:pt x="403" y="341"/>
                  </a:lnTo>
                  <a:lnTo>
                    <a:pt x="403" y="342"/>
                  </a:lnTo>
                  <a:lnTo>
                    <a:pt x="403" y="343"/>
                  </a:lnTo>
                  <a:lnTo>
                    <a:pt x="403" y="344"/>
                  </a:lnTo>
                  <a:lnTo>
                    <a:pt x="403" y="345"/>
                  </a:lnTo>
                  <a:lnTo>
                    <a:pt x="402" y="347"/>
                  </a:lnTo>
                  <a:lnTo>
                    <a:pt x="402" y="348"/>
                  </a:lnTo>
                  <a:lnTo>
                    <a:pt x="402" y="349"/>
                  </a:lnTo>
                  <a:lnTo>
                    <a:pt x="401" y="350"/>
                  </a:lnTo>
                  <a:lnTo>
                    <a:pt x="400" y="352"/>
                  </a:lnTo>
                  <a:lnTo>
                    <a:pt x="399" y="353"/>
                  </a:lnTo>
                  <a:lnTo>
                    <a:pt x="398" y="355"/>
                  </a:lnTo>
                  <a:lnTo>
                    <a:pt x="397" y="357"/>
                  </a:lnTo>
                  <a:lnTo>
                    <a:pt x="397" y="359"/>
                  </a:lnTo>
                  <a:lnTo>
                    <a:pt x="396" y="360"/>
                  </a:lnTo>
                  <a:lnTo>
                    <a:pt x="396" y="361"/>
                  </a:lnTo>
                  <a:lnTo>
                    <a:pt x="395" y="361"/>
                  </a:lnTo>
                  <a:lnTo>
                    <a:pt x="395" y="362"/>
                  </a:lnTo>
                  <a:lnTo>
                    <a:pt x="392" y="364"/>
                  </a:lnTo>
                  <a:lnTo>
                    <a:pt x="390" y="366"/>
                  </a:lnTo>
                  <a:lnTo>
                    <a:pt x="388" y="366"/>
                  </a:lnTo>
                  <a:lnTo>
                    <a:pt x="388" y="367"/>
                  </a:lnTo>
                  <a:lnTo>
                    <a:pt x="386" y="369"/>
                  </a:lnTo>
                  <a:lnTo>
                    <a:pt x="385" y="370"/>
                  </a:lnTo>
                  <a:lnTo>
                    <a:pt x="385" y="370"/>
                  </a:lnTo>
                  <a:lnTo>
                    <a:pt x="385" y="371"/>
                  </a:lnTo>
                  <a:lnTo>
                    <a:pt x="385" y="372"/>
                  </a:lnTo>
                  <a:lnTo>
                    <a:pt x="384" y="373"/>
                  </a:lnTo>
                  <a:lnTo>
                    <a:pt x="384" y="374"/>
                  </a:lnTo>
                  <a:lnTo>
                    <a:pt x="384" y="375"/>
                  </a:lnTo>
                  <a:lnTo>
                    <a:pt x="384" y="376"/>
                  </a:lnTo>
                  <a:lnTo>
                    <a:pt x="385" y="377"/>
                  </a:lnTo>
                  <a:lnTo>
                    <a:pt x="385" y="378"/>
                  </a:lnTo>
                  <a:lnTo>
                    <a:pt x="385" y="378"/>
                  </a:lnTo>
                  <a:lnTo>
                    <a:pt x="385" y="379"/>
                  </a:lnTo>
                  <a:lnTo>
                    <a:pt x="384" y="380"/>
                  </a:lnTo>
                  <a:lnTo>
                    <a:pt x="384" y="380"/>
                  </a:lnTo>
                  <a:lnTo>
                    <a:pt x="384" y="381"/>
                  </a:lnTo>
                  <a:lnTo>
                    <a:pt x="383" y="381"/>
                  </a:lnTo>
                  <a:lnTo>
                    <a:pt x="383" y="382"/>
                  </a:lnTo>
                  <a:lnTo>
                    <a:pt x="383" y="382"/>
                  </a:lnTo>
                  <a:lnTo>
                    <a:pt x="382" y="382"/>
                  </a:lnTo>
                  <a:lnTo>
                    <a:pt x="382" y="383"/>
                  </a:lnTo>
                  <a:lnTo>
                    <a:pt x="380" y="384"/>
                  </a:lnTo>
                  <a:lnTo>
                    <a:pt x="379" y="384"/>
                  </a:lnTo>
                  <a:lnTo>
                    <a:pt x="379" y="384"/>
                  </a:lnTo>
                  <a:lnTo>
                    <a:pt x="379" y="385"/>
                  </a:lnTo>
                  <a:lnTo>
                    <a:pt x="378" y="385"/>
                  </a:lnTo>
                  <a:lnTo>
                    <a:pt x="378" y="385"/>
                  </a:lnTo>
                  <a:lnTo>
                    <a:pt x="378" y="386"/>
                  </a:lnTo>
                  <a:lnTo>
                    <a:pt x="378" y="386"/>
                  </a:lnTo>
                  <a:lnTo>
                    <a:pt x="378" y="387"/>
                  </a:lnTo>
                  <a:lnTo>
                    <a:pt x="378" y="387"/>
                  </a:lnTo>
                  <a:lnTo>
                    <a:pt x="378" y="388"/>
                  </a:lnTo>
                  <a:lnTo>
                    <a:pt x="378" y="389"/>
                  </a:lnTo>
                  <a:lnTo>
                    <a:pt x="379" y="389"/>
                  </a:lnTo>
                  <a:lnTo>
                    <a:pt x="379" y="390"/>
                  </a:lnTo>
                  <a:lnTo>
                    <a:pt x="379" y="390"/>
                  </a:lnTo>
                  <a:lnTo>
                    <a:pt x="380" y="391"/>
                  </a:lnTo>
                  <a:lnTo>
                    <a:pt x="380" y="392"/>
                  </a:lnTo>
                  <a:lnTo>
                    <a:pt x="381" y="392"/>
                  </a:lnTo>
                  <a:lnTo>
                    <a:pt x="383" y="393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5"/>
                  </a:lnTo>
                  <a:lnTo>
                    <a:pt x="383" y="396"/>
                  </a:lnTo>
                  <a:lnTo>
                    <a:pt x="383" y="397"/>
                  </a:lnTo>
                  <a:lnTo>
                    <a:pt x="382" y="397"/>
                  </a:lnTo>
                  <a:lnTo>
                    <a:pt x="382" y="398"/>
                  </a:lnTo>
                  <a:lnTo>
                    <a:pt x="382" y="398"/>
                  </a:lnTo>
                  <a:lnTo>
                    <a:pt x="381" y="398"/>
                  </a:lnTo>
                  <a:lnTo>
                    <a:pt x="381" y="399"/>
                  </a:lnTo>
                  <a:lnTo>
                    <a:pt x="379" y="399"/>
                  </a:lnTo>
                  <a:lnTo>
                    <a:pt x="379" y="400"/>
                  </a:lnTo>
                  <a:lnTo>
                    <a:pt x="378" y="400"/>
                  </a:lnTo>
                  <a:lnTo>
                    <a:pt x="377" y="402"/>
                  </a:lnTo>
                  <a:lnTo>
                    <a:pt x="376" y="403"/>
                  </a:lnTo>
                  <a:lnTo>
                    <a:pt x="375" y="403"/>
                  </a:lnTo>
                  <a:lnTo>
                    <a:pt x="375" y="404"/>
                  </a:lnTo>
                  <a:lnTo>
                    <a:pt x="375" y="405"/>
                  </a:lnTo>
                  <a:lnTo>
                    <a:pt x="374" y="405"/>
                  </a:lnTo>
                  <a:lnTo>
                    <a:pt x="374" y="406"/>
                  </a:lnTo>
                  <a:lnTo>
                    <a:pt x="374" y="407"/>
                  </a:lnTo>
                  <a:lnTo>
                    <a:pt x="374" y="407"/>
                  </a:lnTo>
                  <a:lnTo>
                    <a:pt x="374" y="408"/>
                  </a:lnTo>
                  <a:lnTo>
                    <a:pt x="374" y="409"/>
                  </a:lnTo>
                  <a:lnTo>
                    <a:pt x="375" y="410"/>
                  </a:lnTo>
                  <a:lnTo>
                    <a:pt x="376" y="412"/>
                  </a:lnTo>
                  <a:lnTo>
                    <a:pt x="376" y="413"/>
                  </a:lnTo>
                  <a:lnTo>
                    <a:pt x="378" y="415"/>
                  </a:lnTo>
                  <a:lnTo>
                    <a:pt x="378" y="416"/>
                  </a:lnTo>
                  <a:lnTo>
                    <a:pt x="378" y="416"/>
                  </a:lnTo>
                  <a:lnTo>
                    <a:pt x="379" y="417"/>
                  </a:lnTo>
                  <a:lnTo>
                    <a:pt x="379" y="418"/>
                  </a:lnTo>
                  <a:lnTo>
                    <a:pt x="379" y="419"/>
                  </a:lnTo>
                  <a:lnTo>
                    <a:pt x="379" y="420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2"/>
                  </a:lnTo>
                  <a:lnTo>
                    <a:pt x="378" y="423"/>
                  </a:lnTo>
                  <a:lnTo>
                    <a:pt x="377" y="424"/>
                  </a:lnTo>
                  <a:lnTo>
                    <a:pt x="376" y="425"/>
                  </a:lnTo>
                  <a:lnTo>
                    <a:pt x="375" y="426"/>
                  </a:lnTo>
                  <a:lnTo>
                    <a:pt x="375" y="427"/>
                  </a:lnTo>
                  <a:lnTo>
                    <a:pt x="374" y="428"/>
                  </a:lnTo>
                  <a:lnTo>
                    <a:pt x="374" y="429"/>
                  </a:lnTo>
                  <a:lnTo>
                    <a:pt x="373" y="432"/>
                  </a:lnTo>
                  <a:lnTo>
                    <a:pt x="372" y="435"/>
                  </a:lnTo>
                  <a:lnTo>
                    <a:pt x="372" y="436"/>
                  </a:lnTo>
                  <a:lnTo>
                    <a:pt x="371" y="436"/>
                  </a:lnTo>
                  <a:lnTo>
                    <a:pt x="371" y="436"/>
                  </a:lnTo>
                  <a:lnTo>
                    <a:pt x="371" y="436"/>
                  </a:lnTo>
                  <a:lnTo>
                    <a:pt x="370" y="437"/>
                  </a:lnTo>
                  <a:lnTo>
                    <a:pt x="367" y="438"/>
                  </a:lnTo>
                  <a:lnTo>
                    <a:pt x="366" y="439"/>
                  </a:lnTo>
                  <a:lnTo>
                    <a:pt x="364" y="439"/>
                  </a:lnTo>
                  <a:lnTo>
                    <a:pt x="364" y="440"/>
                  </a:lnTo>
                  <a:lnTo>
                    <a:pt x="361" y="442"/>
                  </a:lnTo>
                  <a:lnTo>
                    <a:pt x="359" y="443"/>
                  </a:lnTo>
                  <a:lnTo>
                    <a:pt x="358" y="444"/>
                  </a:lnTo>
                  <a:lnTo>
                    <a:pt x="357" y="445"/>
                  </a:lnTo>
                  <a:lnTo>
                    <a:pt x="356" y="445"/>
                  </a:lnTo>
                  <a:lnTo>
                    <a:pt x="355" y="445"/>
                  </a:lnTo>
                  <a:lnTo>
                    <a:pt x="355" y="445"/>
                  </a:lnTo>
                  <a:lnTo>
                    <a:pt x="354" y="446"/>
                  </a:lnTo>
                  <a:lnTo>
                    <a:pt x="353" y="446"/>
                  </a:lnTo>
                  <a:lnTo>
                    <a:pt x="352" y="446"/>
                  </a:lnTo>
                  <a:lnTo>
                    <a:pt x="351" y="446"/>
                  </a:lnTo>
                  <a:lnTo>
                    <a:pt x="350" y="445"/>
                  </a:lnTo>
                  <a:lnTo>
                    <a:pt x="347" y="445"/>
                  </a:lnTo>
                  <a:lnTo>
                    <a:pt x="346" y="445"/>
                  </a:lnTo>
                  <a:lnTo>
                    <a:pt x="345" y="445"/>
                  </a:lnTo>
                  <a:lnTo>
                    <a:pt x="345" y="445"/>
                  </a:lnTo>
                  <a:lnTo>
                    <a:pt x="344" y="445"/>
                  </a:lnTo>
                  <a:lnTo>
                    <a:pt x="344" y="445"/>
                  </a:lnTo>
                  <a:lnTo>
                    <a:pt x="344" y="445"/>
                  </a:lnTo>
                  <a:lnTo>
                    <a:pt x="344" y="446"/>
                  </a:lnTo>
                  <a:lnTo>
                    <a:pt x="343" y="450"/>
                  </a:lnTo>
                  <a:lnTo>
                    <a:pt x="343" y="452"/>
                  </a:lnTo>
                  <a:lnTo>
                    <a:pt x="342" y="454"/>
                  </a:lnTo>
                  <a:lnTo>
                    <a:pt x="342" y="457"/>
                  </a:lnTo>
                  <a:lnTo>
                    <a:pt x="342" y="459"/>
                  </a:lnTo>
                  <a:lnTo>
                    <a:pt x="342" y="460"/>
                  </a:lnTo>
                  <a:lnTo>
                    <a:pt x="341" y="463"/>
                  </a:lnTo>
                  <a:lnTo>
                    <a:pt x="341" y="464"/>
                  </a:lnTo>
                  <a:lnTo>
                    <a:pt x="341" y="464"/>
                  </a:lnTo>
                  <a:lnTo>
                    <a:pt x="341" y="465"/>
                  </a:lnTo>
                  <a:lnTo>
                    <a:pt x="341" y="466"/>
                  </a:lnTo>
                  <a:lnTo>
                    <a:pt x="341" y="468"/>
                  </a:lnTo>
                  <a:lnTo>
                    <a:pt x="343" y="470"/>
                  </a:lnTo>
                  <a:lnTo>
                    <a:pt x="343" y="472"/>
                  </a:lnTo>
                  <a:lnTo>
                    <a:pt x="343" y="473"/>
                  </a:lnTo>
                  <a:lnTo>
                    <a:pt x="344" y="477"/>
                  </a:lnTo>
                  <a:lnTo>
                    <a:pt x="344" y="479"/>
                  </a:lnTo>
                  <a:lnTo>
                    <a:pt x="344" y="480"/>
                  </a:lnTo>
                  <a:lnTo>
                    <a:pt x="344" y="481"/>
                  </a:lnTo>
                  <a:lnTo>
                    <a:pt x="344" y="482"/>
                  </a:lnTo>
                  <a:lnTo>
                    <a:pt x="344" y="483"/>
                  </a:lnTo>
                  <a:lnTo>
                    <a:pt x="344" y="484"/>
                  </a:lnTo>
                  <a:lnTo>
                    <a:pt x="344" y="484"/>
                  </a:lnTo>
                  <a:lnTo>
                    <a:pt x="343" y="485"/>
                  </a:lnTo>
                  <a:lnTo>
                    <a:pt x="343" y="486"/>
                  </a:lnTo>
                  <a:lnTo>
                    <a:pt x="343" y="486"/>
                  </a:lnTo>
                  <a:lnTo>
                    <a:pt x="342" y="487"/>
                  </a:lnTo>
                  <a:lnTo>
                    <a:pt x="341" y="487"/>
                  </a:lnTo>
                  <a:lnTo>
                    <a:pt x="340" y="488"/>
                  </a:lnTo>
                  <a:lnTo>
                    <a:pt x="340" y="489"/>
                  </a:lnTo>
                  <a:lnTo>
                    <a:pt x="339" y="489"/>
                  </a:lnTo>
                  <a:lnTo>
                    <a:pt x="337" y="490"/>
                  </a:lnTo>
                  <a:lnTo>
                    <a:pt x="336" y="490"/>
                  </a:lnTo>
                  <a:lnTo>
                    <a:pt x="335" y="491"/>
                  </a:lnTo>
                  <a:lnTo>
                    <a:pt x="335" y="491"/>
                  </a:lnTo>
                  <a:lnTo>
                    <a:pt x="334" y="492"/>
                  </a:lnTo>
                  <a:lnTo>
                    <a:pt x="334" y="492"/>
                  </a:lnTo>
                  <a:lnTo>
                    <a:pt x="333" y="493"/>
                  </a:lnTo>
                  <a:lnTo>
                    <a:pt x="332" y="494"/>
                  </a:lnTo>
                  <a:lnTo>
                    <a:pt x="331" y="495"/>
                  </a:lnTo>
                  <a:lnTo>
                    <a:pt x="330" y="497"/>
                  </a:lnTo>
                  <a:lnTo>
                    <a:pt x="329" y="500"/>
                  </a:lnTo>
                  <a:lnTo>
                    <a:pt x="328" y="501"/>
                  </a:lnTo>
                  <a:lnTo>
                    <a:pt x="328" y="502"/>
                  </a:lnTo>
                  <a:lnTo>
                    <a:pt x="328" y="503"/>
                  </a:lnTo>
                  <a:lnTo>
                    <a:pt x="327" y="505"/>
                  </a:lnTo>
                  <a:lnTo>
                    <a:pt x="327" y="507"/>
                  </a:lnTo>
                  <a:lnTo>
                    <a:pt x="326" y="509"/>
                  </a:lnTo>
                  <a:lnTo>
                    <a:pt x="326" y="510"/>
                  </a:lnTo>
                  <a:lnTo>
                    <a:pt x="326" y="512"/>
                  </a:lnTo>
                  <a:lnTo>
                    <a:pt x="326" y="513"/>
                  </a:lnTo>
                  <a:lnTo>
                    <a:pt x="326" y="515"/>
                  </a:lnTo>
                  <a:lnTo>
                    <a:pt x="326" y="516"/>
                  </a:lnTo>
                  <a:lnTo>
                    <a:pt x="326" y="517"/>
                  </a:lnTo>
                  <a:lnTo>
                    <a:pt x="326" y="518"/>
                  </a:lnTo>
                  <a:lnTo>
                    <a:pt x="326" y="519"/>
                  </a:lnTo>
                  <a:lnTo>
                    <a:pt x="326" y="520"/>
                  </a:lnTo>
                  <a:lnTo>
                    <a:pt x="327" y="521"/>
                  </a:lnTo>
                  <a:lnTo>
                    <a:pt x="328" y="525"/>
                  </a:lnTo>
                  <a:lnTo>
                    <a:pt x="328" y="526"/>
                  </a:lnTo>
                  <a:lnTo>
                    <a:pt x="328" y="526"/>
                  </a:lnTo>
                  <a:lnTo>
                    <a:pt x="328" y="526"/>
                  </a:lnTo>
                  <a:lnTo>
                    <a:pt x="327" y="526"/>
                  </a:lnTo>
                  <a:lnTo>
                    <a:pt x="326" y="525"/>
                  </a:lnTo>
                  <a:lnTo>
                    <a:pt x="326" y="525"/>
                  </a:lnTo>
                  <a:lnTo>
                    <a:pt x="325" y="525"/>
                  </a:lnTo>
                  <a:lnTo>
                    <a:pt x="323" y="526"/>
                  </a:lnTo>
                  <a:lnTo>
                    <a:pt x="323" y="526"/>
                  </a:lnTo>
                  <a:lnTo>
                    <a:pt x="321" y="526"/>
                  </a:lnTo>
                  <a:lnTo>
                    <a:pt x="320" y="527"/>
                  </a:lnTo>
                  <a:lnTo>
                    <a:pt x="320" y="527"/>
                  </a:lnTo>
                  <a:lnTo>
                    <a:pt x="319" y="528"/>
                  </a:lnTo>
                  <a:lnTo>
                    <a:pt x="318" y="528"/>
                  </a:lnTo>
                  <a:lnTo>
                    <a:pt x="317" y="529"/>
                  </a:lnTo>
                  <a:lnTo>
                    <a:pt x="317" y="530"/>
                  </a:lnTo>
                  <a:lnTo>
                    <a:pt x="316" y="530"/>
                  </a:lnTo>
                  <a:lnTo>
                    <a:pt x="316" y="531"/>
                  </a:lnTo>
                  <a:lnTo>
                    <a:pt x="314" y="534"/>
                  </a:lnTo>
                  <a:lnTo>
                    <a:pt x="314" y="534"/>
                  </a:lnTo>
                  <a:lnTo>
                    <a:pt x="314" y="535"/>
                  </a:lnTo>
                  <a:lnTo>
                    <a:pt x="313" y="535"/>
                  </a:lnTo>
                  <a:lnTo>
                    <a:pt x="313" y="535"/>
                  </a:lnTo>
                  <a:lnTo>
                    <a:pt x="313" y="535"/>
                  </a:lnTo>
                  <a:lnTo>
                    <a:pt x="312" y="536"/>
                  </a:lnTo>
                  <a:lnTo>
                    <a:pt x="311" y="536"/>
                  </a:lnTo>
                  <a:lnTo>
                    <a:pt x="310" y="536"/>
                  </a:lnTo>
                  <a:lnTo>
                    <a:pt x="310" y="535"/>
                  </a:lnTo>
                  <a:lnTo>
                    <a:pt x="309" y="535"/>
                  </a:lnTo>
                  <a:lnTo>
                    <a:pt x="309" y="535"/>
                  </a:lnTo>
                  <a:lnTo>
                    <a:pt x="307" y="534"/>
                  </a:lnTo>
                  <a:lnTo>
                    <a:pt x="304" y="532"/>
                  </a:lnTo>
                  <a:lnTo>
                    <a:pt x="303" y="531"/>
                  </a:lnTo>
                  <a:lnTo>
                    <a:pt x="300" y="529"/>
                  </a:lnTo>
                  <a:lnTo>
                    <a:pt x="296" y="526"/>
                  </a:lnTo>
                  <a:lnTo>
                    <a:pt x="294" y="525"/>
                  </a:lnTo>
                  <a:lnTo>
                    <a:pt x="292" y="523"/>
                  </a:lnTo>
                  <a:lnTo>
                    <a:pt x="291" y="522"/>
                  </a:lnTo>
                  <a:lnTo>
                    <a:pt x="290" y="521"/>
                  </a:lnTo>
                  <a:lnTo>
                    <a:pt x="288" y="520"/>
                  </a:lnTo>
                  <a:lnTo>
                    <a:pt x="287" y="519"/>
                  </a:lnTo>
                  <a:lnTo>
                    <a:pt x="287" y="518"/>
                  </a:lnTo>
                  <a:lnTo>
                    <a:pt x="286" y="517"/>
                  </a:lnTo>
                  <a:lnTo>
                    <a:pt x="286" y="516"/>
                  </a:lnTo>
                  <a:lnTo>
                    <a:pt x="285" y="515"/>
                  </a:lnTo>
                  <a:lnTo>
                    <a:pt x="285" y="513"/>
                  </a:lnTo>
                  <a:lnTo>
                    <a:pt x="285" y="512"/>
                  </a:lnTo>
                  <a:lnTo>
                    <a:pt x="284" y="508"/>
                  </a:lnTo>
                  <a:lnTo>
                    <a:pt x="284" y="504"/>
                  </a:lnTo>
                  <a:lnTo>
                    <a:pt x="284" y="500"/>
                  </a:lnTo>
                  <a:lnTo>
                    <a:pt x="283" y="499"/>
                  </a:lnTo>
                  <a:lnTo>
                    <a:pt x="283" y="496"/>
                  </a:lnTo>
                  <a:lnTo>
                    <a:pt x="283" y="495"/>
                  </a:lnTo>
                  <a:lnTo>
                    <a:pt x="282" y="493"/>
                  </a:lnTo>
                  <a:lnTo>
                    <a:pt x="281" y="490"/>
                  </a:lnTo>
                  <a:lnTo>
                    <a:pt x="281" y="488"/>
                  </a:lnTo>
                  <a:lnTo>
                    <a:pt x="281" y="487"/>
                  </a:lnTo>
                  <a:lnTo>
                    <a:pt x="280" y="487"/>
                  </a:lnTo>
                  <a:lnTo>
                    <a:pt x="280" y="486"/>
                  </a:lnTo>
                  <a:lnTo>
                    <a:pt x="279" y="485"/>
                  </a:lnTo>
                  <a:lnTo>
                    <a:pt x="276" y="482"/>
                  </a:lnTo>
                  <a:lnTo>
                    <a:pt x="274" y="479"/>
                  </a:lnTo>
                  <a:lnTo>
                    <a:pt x="271" y="475"/>
                  </a:lnTo>
                  <a:lnTo>
                    <a:pt x="267" y="470"/>
                  </a:lnTo>
                  <a:lnTo>
                    <a:pt x="266" y="469"/>
                  </a:lnTo>
                  <a:lnTo>
                    <a:pt x="264" y="467"/>
                  </a:lnTo>
                  <a:lnTo>
                    <a:pt x="263" y="466"/>
                  </a:lnTo>
                  <a:lnTo>
                    <a:pt x="262" y="465"/>
                  </a:lnTo>
                  <a:lnTo>
                    <a:pt x="261" y="464"/>
                  </a:lnTo>
                  <a:lnTo>
                    <a:pt x="259" y="462"/>
                  </a:lnTo>
                  <a:lnTo>
                    <a:pt x="258" y="461"/>
                  </a:lnTo>
                  <a:lnTo>
                    <a:pt x="257" y="460"/>
                  </a:lnTo>
                  <a:lnTo>
                    <a:pt x="255" y="459"/>
                  </a:lnTo>
                  <a:lnTo>
                    <a:pt x="254" y="458"/>
                  </a:lnTo>
                  <a:lnTo>
                    <a:pt x="252" y="457"/>
                  </a:lnTo>
                  <a:lnTo>
                    <a:pt x="250" y="456"/>
                  </a:lnTo>
                  <a:lnTo>
                    <a:pt x="250" y="456"/>
                  </a:lnTo>
                  <a:lnTo>
                    <a:pt x="248" y="456"/>
                  </a:lnTo>
                  <a:lnTo>
                    <a:pt x="247" y="455"/>
                  </a:lnTo>
                  <a:lnTo>
                    <a:pt x="245" y="455"/>
                  </a:lnTo>
                  <a:lnTo>
                    <a:pt x="244" y="455"/>
                  </a:lnTo>
                  <a:lnTo>
                    <a:pt x="242" y="455"/>
                  </a:lnTo>
                  <a:lnTo>
                    <a:pt x="238" y="455"/>
                  </a:lnTo>
                  <a:lnTo>
                    <a:pt x="235" y="455"/>
                  </a:lnTo>
                  <a:lnTo>
                    <a:pt x="234" y="455"/>
                  </a:lnTo>
                  <a:lnTo>
                    <a:pt x="233" y="455"/>
                  </a:lnTo>
                  <a:lnTo>
                    <a:pt x="232" y="454"/>
                  </a:lnTo>
                  <a:lnTo>
                    <a:pt x="231" y="454"/>
                  </a:lnTo>
                  <a:lnTo>
                    <a:pt x="229" y="453"/>
                  </a:lnTo>
                  <a:lnTo>
                    <a:pt x="228" y="453"/>
                  </a:lnTo>
                  <a:lnTo>
                    <a:pt x="227" y="452"/>
                  </a:lnTo>
                  <a:lnTo>
                    <a:pt x="225" y="451"/>
                  </a:lnTo>
                  <a:lnTo>
                    <a:pt x="223" y="450"/>
                  </a:lnTo>
                  <a:lnTo>
                    <a:pt x="223" y="450"/>
                  </a:lnTo>
                  <a:lnTo>
                    <a:pt x="221" y="448"/>
                  </a:lnTo>
                  <a:lnTo>
                    <a:pt x="220" y="447"/>
                  </a:lnTo>
                  <a:lnTo>
                    <a:pt x="219" y="446"/>
                  </a:lnTo>
                  <a:lnTo>
                    <a:pt x="218" y="445"/>
                  </a:lnTo>
                  <a:lnTo>
                    <a:pt x="218" y="445"/>
                  </a:lnTo>
                  <a:lnTo>
                    <a:pt x="217" y="443"/>
                  </a:lnTo>
                  <a:lnTo>
                    <a:pt x="217" y="442"/>
                  </a:lnTo>
                  <a:lnTo>
                    <a:pt x="216" y="441"/>
                  </a:lnTo>
                  <a:lnTo>
                    <a:pt x="216" y="440"/>
                  </a:lnTo>
                  <a:lnTo>
                    <a:pt x="215" y="435"/>
                  </a:lnTo>
                  <a:lnTo>
                    <a:pt x="215" y="433"/>
                  </a:lnTo>
                  <a:lnTo>
                    <a:pt x="214" y="432"/>
                  </a:lnTo>
                  <a:lnTo>
                    <a:pt x="214" y="431"/>
                  </a:lnTo>
                  <a:lnTo>
                    <a:pt x="214" y="430"/>
                  </a:lnTo>
                  <a:lnTo>
                    <a:pt x="213" y="429"/>
                  </a:lnTo>
                  <a:lnTo>
                    <a:pt x="213" y="429"/>
                  </a:lnTo>
                  <a:lnTo>
                    <a:pt x="212" y="428"/>
                  </a:lnTo>
                  <a:lnTo>
                    <a:pt x="209" y="425"/>
                  </a:lnTo>
                  <a:lnTo>
                    <a:pt x="206" y="421"/>
                  </a:lnTo>
                  <a:lnTo>
                    <a:pt x="201" y="416"/>
                  </a:lnTo>
                  <a:lnTo>
                    <a:pt x="200" y="415"/>
                  </a:lnTo>
                  <a:lnTo>
                    <a:pt x="200" y="415"/>
                  </a:lnTo>
                  <a:lnTo>
                    <a:pt x="199" y="414"/>
                  </a:lnTo>
                  <a:lnTo>
                    <a:pt x="199" y="413"/>
                  </a:lnTo>
                  <a:lnTo>
                    <a:pt x="198" y="412"/>
                  </a:lnTo>
                  <a:lnTo>
                    <a:pt x="197" y="409"/>
                  </a:lnTo>
                  <a:lnTo>
                    <a:pt x="196" y="408"/>
                  </a:lnTo>
                  <a:lnTo>
                    <a:pt x="195" y="406"/>
                  </a:lnTo>
                  <a:lnTo>
                    <a:pt x="193" y="403"/>
                  </a:lnTo>
                  <a:lnTo>
                    <a:pt x="192" y="402"/>
                  </a:lnTo>
                  <a:lnTo>
                    <a:pt x="191" y="401"/>
                  </a:lnTo>
                  <a:lnTo>
                    <a:pt x="189" y="398"/>
                  </a:lnTo>
                  <a:lnTo>
                    <a:pt x="189" y="397"/>
                  </a:lnTo>
                  <a:lnTo>
                    <a:pt x="188" y="396"/>
                  </a:lnTo>
                  <a:lnTo>
                    <a:pt x="188" y="395"/>
                  </a:lnTo>
                  <a:lnTo>
                    <a:pt x="187" y="395"/>
                  </a:lnTo>
                  <a:lnTo>
                    <a:pt x="184" y="392"/>
                  </a:lnTo>
                  <a:lnTo>
                    <a:pt x="183" y="391"/>
                  </a:lnTo>
                  <a:lnTo>
                    <a:pt x="182" y="390"/>
                  </a:lnTo>
                  <a:lnTo>
                    <a:pt x="181" y="388"/>
                  </a:lnTo>
                  <a:lnTo>
                    <a:pt x="180" y="387"/>
                  </a:lnTo>
                  <a:lnTo>
                    <a:pt x="179" y="387"/>
                  </a:lnTo>
                  <a:lnTo>
                    <a:pt x="177" y="384"/>
                  </a:lnTo>
                  <a:lnTo>
                    <a:pt x="176" y="384"/>
                  </a:lnTo>
                  <a:lnTo>
                    <a:pt x="176" y="383"/>
                  </a:lnTo>
                  <a:lnTo>
                    <a:pt x="175" y="382"/>
                  </a:lnTo>
                  <a:lnTo>
                    <a:pt x="175" y="381"/>
                  </a:lnTo>
                  <a:lnTo>
                    <a:pt x="174" y="380"/>
                  </a:lnTo>
                  <a:lnTo>
                    <a:pt x="174" y="379"/>
                  </a:lnTo>
                  <a:lnTo>
                    <a:pt x="174" y="378"/>
                  </a:lnTo>
                  <a:lnTo>
                    <a:pt x="173" y="374"/>
                  </a:lnTo>
                  <a:lnTo>
                    <a:pt x="173" y="372"/>
                  </a:lnTo>
                  <a:lnTo>
                    <a:pt x="173" y="371"/>
                  </a:lnTo>
                  <a:lnTo>
                    <a:pt x="172" y="370"/>
                  </a:lnTo>
                  <a:lnTo>
                    <a:pt x="172" y="369"/>
                  </a:lnTo>
                  <a:lnTo>
                    <a:pt x="171" y="369"/>
                  </a:lnTo>
                  <a:lnTo>
                    <a:pt x="171" y="368"/>
                  </a:lnTo>
                  <a:lnTo>
                    <a:pt x="170" y="367"/>
                  </a:lnTo>
                  <a:lnTo>
                    <a:pt x="168" y="365"/>
                  </a:lnTo>
                  <a:lnTo>
                    <a:pt x="165" y="362"/>
                  </a:lnTo>
                  <a:lnTo>
                    <a:pt x="162" y="358"/>
                  </a:lnTo>
                  <a:lnTo>
                    <a:pt x="160" y="357"/>
                  </a:lnTo>
                  <a:lnTo>
                    <a:pt x="159" y="355"/>
                  </a:lnTo>
                  <a:lnTo>
                    <a:pt x="158" y="354"/>
                  </a:lnTo>
                  <a:lnTo>
                    <a:pt x="156" y="353"/>
                  </a:lnTo>
                  <a:lnTo>
                    <a:pt x="155" y="353"/>
                  </a:lnTo>
                  <a:lnTo>
                    <a:pt x="155" y="352"/>
                  </a:lnTo>
                  <a:lnTo>
                    <a:pt x="153" y="351"/>
                  </a:lnTo>
                  <a:lnTo>
                    <a:pt x="151" y="350"/>
                  </a:lnTo>
                  <a:lnTo>
                    <a:pt x="150" y="350"/>
                  </a:lnTo>
                  <a:lnTo>
                    <a:pt x="149" y="349"/>
                  </a:lnTo>
                  <a:lnTo>
                    <a:pt x="148" y="349"/>
                  </a:lnTo>
                  <a:lnTo>
                    <a:pt x="145" y="348"/>
                  </a:lnTo>
                  <a:lnTo>
                    <a:pt x="143" y="347"/>
                  </a:lnTo>
                  <a:lnTo>
                    <a:pt x="138" y="346"/>
                  </a:lnTo>
                  <a:lnTo>
                    <a:pt x="136" y="346"/>
                  </a:lnTo>
                  <a:lnTo>
                    <a:pt x="134" y="346"/>
                  </a:lnTo>
                  <a:lnTo>
                    <a:pt x="134" y="346"/>
                  </a:lnTo>
                  <a:lnTo>
                    <a:pt x="133" y="346"/>
                  </a:lnTo>
                  <a:lnTo>
                    <a:pt x="133" y="346"/>
                  </a:lnTo>
                  <a:lnTo>
                    <a:pt x="132" y="346"/>
                  </a:lnTo>
                  <a:lnTo>
                    <a:pt x="131" y="347"/>
                  </a:lnTo>
                  <a:lnTo>
                    <a:pt x="131" y="347"/>
                  </a:lnTo>
                  <a:lnTo>
                    <a:pt x="131" y="348"/>
                  </a:lnTo>
                  <a:lnTo>
                    <a:pt x="130" y="349"/>
                  </a:lnTo>
                  <a:lnTo>
                    <a:pt x="129" y="350"/>
                  </a:lnTo>
                  <a:lnTo>
                    <a:pt x="129" y="350"/>
                  </a:lnTo>
                  <a:lnTo>
                    <a:pt x="129" y="350"/>
                  </a:lnTo>
                  <a:lnTo>
                    <a:pt x="128" y="350"/>
                  </a:lnTo>
                  <a:lnTo>
                    <a:pt x="127" y="351"/>
                  </a:lnTo>
                  <a:lnTo>
                    <a:pt x="127" y="351"/>
                  </a:lnTo>
                  <a:lnTo>
                    <a:pt x="126" y="350"/>
                  </a:lnTo>
                  <a:lnTo>
                    <a:pt x="125" y="350"/>
                  </a:lnTo>
                  <a:lnTo>
                    <a:pt x="122" y="350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7" y="348"/>
                  </a:lnTo>
                  <a:lnTo>
                    <a:pt x="114" y="348"/>
                  </a:lnTo>
                  <a:lnTo>
                    <a:pt x="112" y="348"/>
                  </a:lnTo>
                  <a:lnTo>
                    <a:pt x="110" y="348"/>
                  </a:lnTo>
                  <a:lnTo>
                    <a:pt x="109" y="348"/>
                  </a:lnTo>
                  <a:lnTo>
                    <a:pt x="107" y="347"/>
                  </a:lnTo>
                  <a:lnTo>
                    <a:pt x="106" y="347"/>
                  </a:lnTo>
                  <a:lnTo>
                    <a:pt x="105" y="346"/>
                  </a:lnTo>
                  <a:lnTo>
                    <a:pt x="103" y="346"/>
                  </a:lnTo>
                  <a:lnTo>
                    <a:pt x="102" y="345"/>
                  </a:lnTo>
                  <a:lnTo>
                    <a:pt x="102" y="345"/>
                  </a:lnTo>
                  <a:lnTo>
                    <a:pt x="101" y="344"/>
                  </a:lnTo>
                  <a:lnTo>
                    <a:pt x="100" y="343"/>
                  </a:lnTo>
                  <a:lnTo>
                    <a:pt x="100" y="342"/>
                  </a:lnTo>
                  <a:lnTo>
                    <a:pt x="99" y="342"/>
                  </a:lnTo>
                  <a:lnTo>
                    <a:pt x="98" y="339"/>
                  </a:lnTo>
                  <a:lnTo>
                    <a:pt x="96" y="335"/>
                  </a:lnTo>
                  <a:lnTo>
                    <a:pt x="95" y="334"/>
                  </a:lnTo>
                  <a:lnTo>
                    <a:pt x="94" y="332"/>
                  </a:lnTo>
                  <a:lnTo>
                    <a:pt x="94" y="331"/>
                  </a:lnTo>
                  <a:lnTo>
                    <a:pt x="93" y="328"/>
                  </a:lnTo>
                  <a:lnTo>
                    <a:pt x="92" y="326"/>
                  </a:lnTo>
                  <a:lnTo>
                    <a:pt x="92" y="325"/>
                  </a:lnTo>
                  <a:lnTo>
                    <a:pt x="91" y="324"/>
                  </a:lnTo>
                  <a:lnTo>
                    <a:pt x="91" y="323"/>
                  </a:lnTo>
                  <a:lnTo>
                    <a:pt x="90" y="321"/>
                  </a:lnTo>
                  <a:lnTo>
                    <a:pt x="89" y="320"/>
                  </a:lnTo>
                  <a:lnTo>
                    <a:pt x="88" y="319"/>
                  </a:lnTo>
                  <a:lnTo>
                    <a:pt x="86" y="317"/>
                  </a:lnTo>
                  <a:lnTo>
                    <a:pt x="85" y="316"/>
                  </a:lnTo>
                  <a:lnTo>
                    <a:pt x="79" y="312"/>
                  </a:lnTo>
                  <a:lnTo>
                    <a:pt x="78" y="311"/>
                  </a:lnTo>
                  <a:lnTo>
                    <a:pt x="77" y="310"/>
                  </a:lnTo>
                  <a:lnTo>
                    <a:pt x="76" y="309"/>
                  </a:lnTo>
                  <a:lnTo>
                    <a:pt x="74" y="309"/>
                  </a:lnTo>
                  <a:lnTo>
                    <a:pt x="71" y="307"/>
                  </a:lnTo>
                  <a:lnTo>
                    <a:pt x="69" y="306"/>
                  </a:lnTo>
                  <a:lnTo>
                    <a:pt x="68" y="306"/>
                  </a:lnTo>
                  <a:lnTo>
                    <a:pt x="67" y="305"/>
                  </a:lnTo>
                  <a:lnTo>
                    <a:pt x="66" y="304"/>
                  </a:lnTo>
                  <a:lnTo>
                    <a:pt x="65" y="303"/>
                  </a:lnTo>
                  <a:lnTo>
                    <a:pt x="65" y="303"/>
                  </a:lnTo>
                  <a:lnTo>
                    <a:pt x="65" y="302"/>
                  </a:lnTo>
                  <a:lnTo>
                    <a:pt x="64" y="302"/>
                  </a:lnTo>
                  <a:lnTo>
                    <a:pt x="64" y="301"/>
                  </a:lnTo>
                  <a:lnTo>
                    <a:pt x="64" y="300"/>
                  </a:lnTo>
                  <a:lnTo>
                    <a:pt x="63" y="299"/>
                  </a:lnTo>
                  <a:lnTo>
                    <a:pt x="63" y="298"/>
                  </a:lnTo>
                  <a:lnTo>
                    <a:pt x="62" y="294"/>
                  </a:lnTo>
                  <a:lnTo>
                    <a:pt x="61" y="292"/>
                  </a:lnTo>
                  <a:lnTo>
                    <a:pt x="60" y="290"/>
                  </a:lnTo>
                  <a:lnTo>
                    <a:pt x="59" y="286"/>
                  </a:lnTo>
                  <a:lnTo>
                    <a:pt x="59" y="285"/>
                  </a:lnTo>
                  <a:lnTo>
                    <a:pt x="59" y="284"/>
                  </a:lnTo>
                  <a:lnTo>
                    <a:pt x="59" y="283"/>
                  </a:lnTo>
                  <a:lnTo>
                    <a:pt x="59" y="282"/>
                  </a:lnTo>
                  <a:lnTo>
                    <a:pt x="59" y="281"/>
                  </a:lnTo>
                  <a:lnTo>
                    <a:pt x="59" y="279"/>
                  </a:lnTo>
                  <a:lnTo>
                    <a:pt x="59" y="277"/>
                  </a:lnTo>
                  <a:lnTo>
                    <a:pt x="59" y="275"/>
                  </a:lnTo>
                  <a:lnTo>
                    <a:pt x="59" y="272"/>
                  </a:lnTo>
                  <a:lnTo>
                    <a:pt x="59" y="269"/>
                  </a:lnTo>
                  <a:lnTo>
                    <a:pt x="59" y="267"/>
                  </a:lnTo>
                  <a:lnTo>
                    <a:pt x="59" y="266"/>
                  </a:lnTo>
                  <a:lnTo>
                    <a:pt x="59" y="265"/>
                  </a:lnTo>
                  <a:lnTo>
                    <a:pt x="59" y="264"/>
                  </a:lnTo>
                  <a:lnTo>
                    <a:pt x="58" y="263"/>
                  </a:lnTo>
                  <a:lnTo>
                    <a:pt x="58" y="262"/>
                  </a:lnTo>
                  <a:lnTo>
                    <a:pt x="57" y="261"/>
                  </a:lnTo>
                  <a:lnTo>
                    <a:pt x="57" y="261"/>
                  </a:lnTo>
                  <a:lnTo>
                    <a:pt x="56" y="260"/>
                  </a:lnTo>
                  <a:lnTo>
                    <a:pt x="54" y="259"/>
                  </a:lnTo>
                  <a:lnTo>
                    <a:pt x="52" y="259"/>
                  </a:lnTo>
                  <a:lnTo>
                    <a:pt x="50" y="258"/>
                  </a:lnTo>
                  <a:lnTo>
                    <a:pt x="49" y="257"/>
                  </a:lnTo>
                  <a:lnTo>
                    <a:pt x="49" y="257"/>
                  </a:lnTo>
                  <a:lnTo>
                    <a:pt x="48" y="256"/>
                  </a:lnTo>
                  <a:lnTo>
                    <a:pt x="47" y="256"/>
                  </a:lnTo>
                  <a:lnTo>
                    <a:pt x="47" y="255"/>
                  </a:lnTo>
                  <a:lnTo>
                    <a:pt x="46" y="254"/>
                  </a:lnTo>
                  <a:lnTo>
                    <a:pt x="45" y="253"/>
                  </a:lnTo>
                  <a:lnTo>
                    <a:pt x="44" y="251"/>
                  </a:lnTo>
                  <a:lnTo>
                    <a:pt x="43" y="249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1" y="245"/>
                  </a:lnTo>
                  <a:lnTo>
                    <a:pt x="41" y="244"/>
                  </a:lnTo>
                  <a:lnTo>
                    <a:pt x="40" y="242"/>
                  </a:lnTo>
                  <a:lnTo>
                    <a:pt x="40" y="241"/>
                  </a:lnTo>
                  <a:lnTo>
                    <a:pt x="40" y="240"/>
                  </a:lnTo>
                  <a:lnTo>
                    <a:pt x="39" y="234"/>
                  </a:lnTo>
                  <a:lnTo>
                    <a:pt x="39" y="233"/>
                  </a:lnTo>
                  <a:lnTo>
                    <a:pt x="39" y="231"/>
                  </a:lnTo>
                  <a:lnTo>
                    <a:pt x="39" y="229"/>
                  </a:lnTo>
                  <a:lnTo>
                    <a:pt x="37" y="225"/>
                  </a:lnTo>
                  <a:lnTo>
                    <a:pt x="37" y="223"/>
                  </a:lnTo>
                  <a:lnTo>
                    <a:pt x="36" y="222"/>
                  </a:lnTo>
                  <a:lnTo>
                    <a:pt x="35" y="221"/>
                  </a:lnTo>
                  <a:lnTo>
                    <a:pt x="35" y="220"/>
                  </a:lnTo>
                  <a:lnTo>
                    <a:pt x="34" y="219"/>
                  </a:lnTo>
                  <a:lnTo>
                    <a:pt x="34" y="218"/>
                  </a:lnTo>
                  <a:lnTo>
                    <a:pt x="33" y="218"/>
                  </a:lnTo>
                  <a:lnTo>
                    <a:pt x="32" y="217"/>
                  </a:lnTo>
                  <a:lnTo>
                    <a:pt x="30" y="216"/>
                  </a:lnTo>
                  <a:lnTo>
                    <a:pt x="30" y="216"/>
                  </a:lnTo>
                  <a:lnTo>
                    <a:pt x="29" y="216"/>
                  </a:lnTo>
                  <a:lnTo>
                    <a:pt x="29" y="215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27" y="212"/>
                  </a:lnTo>
                  <a:lnTo>
                    <a:pt x="26" y="211"/>
                  </a:lnTo>
                  <a:lnTo>
                    <a:pt x="26" y="210"/>
                  </a:lnTo>
                  <a:lnTo>
                    <a:pt x="26" y="208"/>
                  </a:lnTo>
                  <a:lnTo>
                    <a:pt x="26" y="207"/>
                  </a:lnTo>
                  <a:lnTo>
                    <a:pt x="25" y="205"/>
                  </a:lnTo>
                  <a:lnTo>
                    <a:pt x="25" y="205"/>
                  </a:lnTo>
                  <a:lnTo>
                    <a:pt x="25" y="204"/>
                  </a:lnTo>
                  <a:lnTo>
                    <a:pt x="26" y="203"/>
                  </a:lnTo>
                  <a:lnTo>
                    <a:pt x="26" y="201"/>
                  </a:lnTo>
                  <a:lnTo>
                    <a:pt x="26" y="198"/>
                  </a:lnTo>
                  <a:lnTo>
                    <a:pt x="27" y="196"/>
                  </a:lnTo>
                  <a:lnTo>
                    <a:pt x="27" y="195"/>
                  </a:lnTo>
                  <a:lnTo>
                    <a:pt x="27" y="194"/>
                  </a:lnTo>
                  <a:lnTo>
                    <a:pt x="27" y="193"/>
                  </a:lnTo>
                  <a:lnTo>
                    <a:pt x="27" y="192"/>
                  </a:lnTo>
                  <a:lnTo>
                    <a:pt x="26" y="191"/>
                  </a:lnTo>
                  <a:lnTo>
                    <a:pt x="26" y="189"/>
                  </a:lnTo>
                  <a:lnTo>
                    <a:pt x="25" y="188"/>
                  </a:lnTo>
                  <a:lnTo>
                    <a:pt x="25" y="188"/>
                  </a:lnTo>
                  <a:lnTo>
                    <a:pt x="24" y="187"/>
                  </a:lnTo>
                  <a:lnTo>
                    <a:pt x="24" y="187"/>
                  </a:lnTo>
                  <a:lnTo>
                    <a:pt x="23" y="186"/>
                  </a:lnTo>
                  <a:lnTo>
                    <a:pt x="22" y="186"/>
                  </a:lnTo>
                  <a:lnTo>
                    <a:pt x="18" y="184"/>
                  </a:lnTo>
                  <a:lnTo>
                    <a:pt x="17" y="184"/>
                  </a:lnTo>
                  <a:lnTo>
                    <a:pt x="16" y="183"/>
                  </a:lnTo>
                  <a:lnTo>
                    <a:pt x="13" y="182"/>
                  </a:lnTo>
                  <a:lnTo>
                    <a:pt x="9" y="179"/>
                  </a:lnTo>
                  <a:lnTo>
                    <a:pt x="6" y="178"/>
                  </a:lnTo>
                  <a:lnTo>
                    <a:pt x="6" y="177"/>
                  </a:lnTo>
                  <a:lnTo>
                    <a:pt x="5" y="176"/>
                  </a:lnTo>
                  <a:lnTo>
                    <a:pt x="4" y="176"/>
                  </a:lnTo>
                  <a:lnTo>
                    <a:pt x="3" y="175"/>
                  </a:lnTo>
                  <a:lnTo>
                    <a:pt x="2" y="174"/>
                  </a:lnTo>
                  <a:lnTo>
                    <a:pt x="2" y="173"/>
                  </a:lnTo>
                  <a:lnTo>
                    <a:pt x="1" y="173"/>
                  </a:lnTo>
                  <a:lnTo>
                    <a:pt x="0" y="172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Freeform 16">
              <a:extLst>
                <a:ext uri="{FF2B5EF4-FFF2-40B4-BE49-F238E27FC236}">
                  <a16:creationId xmlns:a16="http://schemas.microsoft.com/office/drawing/2014/main" id="{30B3E1CB-E442-2EBA-5C94-5D58C039A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301"/>
              <a:ext cx="279" cy="173"/>
            </a:xfrm>
            <a:custGeom>
              <a:avLst/>
              <a:gdLst>
                <a:gd name="T0" fmla="*/ 2 w 279"/>
                <a:gd name="T1" fmla="*/ 162 h 173"/>
                <a:gd name="T2" fmla="*/ 0 w 279"/>
                <a:gd name="T3" fmla="*/ 155 h 173"/>
                <a:gd name="T4" fmla="*/ 2 w 279"/>
                <a:gd name="T5" fmla="*/ 151 h 173"/>
                <a:gd name="T6" fmla="*/ 9 w 279"/>
                <a:gd name="T7" fmla="*/ 146 h 173"/>
                <a:gd name="T8" fmla="*/ 18 w 279"/>
                <a:gd name="T9" fmla="*/ 140 h 173"/>
                <a:gd name="T10" fmla="*/ 19 w 279"/>
                <a:gd name="T11" fmla="*/ 136 h 173"/>
                <a:gd name="T12" fmla="*/ 23 w 279"/>
                <a:gd name="T13" fmla="*/ 120 h 173"/>
                <a:gd name="T14" fmla="*/ 27 w 279"/>
                <a:gd name="T15" fmla="*/ 114 h 173"/>
                <a:gd name="T16" fmla="*/ 31 w 279"/>
                <a:gd name="T17" fmla="*/ 108 h 173"/>
                <a:gd name="T18" fmla="*/ 38 w 279"/>
                <a:gd name="T19" fmla="*/ 96 h 173"/>
                <a:gd name="T20" fmla="*/ 45 w 279"/>
                <a:gd name="T21" fmla="*/ 87 h 173"/>
                <a:gd name="T22" fmla="*/ 52 w 279"/>
                <a:gd name="T23" fmla="*/ 87 h 173"/>
                <a:gd name="T24" fmla="*/ 60 w 279"/>
                <a:gd name="T25" fmla="*/ 89 h 173"/>
                <a:gd name="T26" fmla="*/ 65 w 279"/>
                <a:gd name="T27" fmla="*/ 86 h 173"/>
                <a:gd name="T28" fmla="*/ 71 w 279"/>
                <a:gd name="T29" fmla="*/ 83 h 173"/>
                <a:gd name="T30" fmla="*/ 76 w 279"/>
                <a:gd name="T31" fmla="*/ 84 h 173"/>
                <a:gd name="T32" fmla="*/ 80 w 279"/>
                <a:gd name="T33" fmla="*/ 87 h 173"/>
                <a:gd name="T34" fmla="*/ 83 w 279"/>
                <a:gd name="T35" fmla="*/ 91 h 173"/>
                <a:gd name="T36" fmla="*/ 84 w 279"/>
                <a:gd name="T37" fmla="*/ 90 h 173"/>
                <a:gd name="T38" fmla="*/ 86 w 279"/>
                <a:gd name="T39" fmla="*/ 86 h 173"/>
                <a:gd name="T40" fmla="*/ 91 w 279"/>
                <a:gd name="T41" fmla="*/ 83 h 173"/>
                <a:gd name="T42" fmla="*/ 94 w 279"/>
                <a:gd name="T43" fmla="*/ 80 h 173"/>
                <a:gd name="T44" fmla="*/ 101 w 279"/>
                <a:gd name="T45" fmla="*/ 77 h 173"/>
                <a:gd name="T46" fmla="*/ 110 w 279"/>
                <a:gd name="T47" fmla="*/ 75 h 173"/>
                <a:gd name="T48" fmla="*/ 118 w 279"/>
                <a:gd name="T49" fmla="*/ 73 h 173"/>
                <a:gd name="T50" fmla="*/ 123 w 279"/>
                <a:gd name="T51" fmla="*/ 73 h 173"/>
                <a:gd name="T52" fmla="*/ 132 w 279"/>
                <a:gd name="T53" fmla="*/ 76 h 173"/>
                <a:gd name="T54" fmla="*/ 139 w 279"/>
                <a:gd name="T55" fmla="*/ 78 h 173"/>
                <a:gd name="T56" fmla="*/ 146 w 279"/>
                <a:gd name="T57" fmla="*/ 78 h 173"/>
                <a:gd name="T58" fmla="*/ 151 w 279"/>
                <a:gd name="T59" fmla="*/ 78 h 173"/>
                <a:gd name="T60" fmla="*/ 157 w 279"/>
                <a:gd name="T61" fmla="*/ 80 h 173"/>
                <a:gd name="T62" fmla="*/ 162 w 279"/>
                <a:gd name="T63" fmla="*/ 78 h 173"/>
                <a:gd name="T64" fmla="*/ 168 w 279"/>
                <a:gd name="T65" fmla="*/ 73 h 173"/>
                <a:gd name="T66" fmla="*/ 170 w 279"/>
                <a:gd name="T67" fmla="*/ 65 h 173"/>
                <a:gd name="T68" fmla="*/ 170 w 279"/>
                <a:gd name="T69" fmla="*/ 60 h 173"/>
                <a:gd name="T70" fmla="*/ 173 w 279"/>
                <a:gd name="T71" fmla="*/ 57 h 173"/>
                <a:gd name="T72" fmla="*/ 182 w 279"/>
                <a:gd name="T73" fmla="*/ 53 h 173"/>
                <a:gd name="T74" fmla="*/ 192 w 279"/>
                <a:gd name="T75" fmla="*/ 47 h 173"/>
                <a:gd name="T76" fmla="*/ 200 w 279"/>
                <a:gd name="T77" fmla="*/ 41 h 173"/>
                <a:gd name="T78" fmla="*/ 207 w 279"/>
                <a:gd name="T79" fmla="*/ 34 h 173"/>
                <a:gd name="T80" fmla="*/ 210 w 279"/>
                <a:gd name="T81" fmla="*/ 33 h 173"/>
                <a:gd name="T82" fmla="*/ 217 w 279"/>
                <a:gd name="T83" fmla="*/ 35 h 173"/>
                <a:gd name="T84" fmla="*/ 228 w 279"/>
                <a:gd name="T85" fmla="*/ 36 h 173"/>
                <a:gd name="T86" fmla="*/ 233 w 279"/>
                <a:gd name="T87" fmla="*/ 39 h 173"/>
                <a:gd name="T88" fmla="*/ 241 w 279"/>
                <a:gd name="T89" fmla="*/ 45 h 173"/>
                <a:gd name="T90" fmla="*/ 245 w 279"/>
                <a:gd name="T91" fmla="*/ 47 h 173"/>
                <a:gd name="T92" fmla="*/ 249 w 279"/>
                <a:gd name="T93" fmla="*/ 47 h 173"/>
                <a:gd name="T94" fmla="*/ 250 w 279"/>
                <a:gd name="T95" fmla="*/ 43 h 173"/>
                <a:gd name="T96" fmla="*/ 252 w 279"/>
                <a:gd name="T97" fmla="*/ 32 h 173"/>
                <a:gd name="T98" fmla="*/ 252 w 279"/>
                <a:gd name="T99" fmla="*/ 27 h 173"/>
                <a:gd name="T100" fmla="*/ 255 w 279"/>
                <a:gd name="T101" fmla="*/ 25 h 173"/>
                <a:gd name="T102" fmla="*/ 263 w 279"/>
                <a:gd name="T103" fmla="*/ 23 h 173"/>
                <a:gd name="T104" fmla="*/ 268 w 279"/>
                <a:gd name="T105" fmla="*/ 20 h 173"/>
                <a:gd name="T106" fmla="*/ 269 w 279"/>
                <a:gd name="T107" fmla="*/ 16 h 173"/>
                <a:gd name="T108" fmla="*/ 268 w 279"/>
                <a:gd name="T109" fmla="*/ 14 h 173"/>
                <a:gd name="T110" fmla="*/ 267 w 279"/>
                <a:gd name="T111" fmla="*/ 10 h 173"/>
                <a:gd name="T112" fmla="*/ 269 w 279"/>
                <a:gd name="T113" fmla="*/ 4 h 173"/>
                <a:gd name="T114" fmla="*/ 271 w 279"/>
                <a:gd name="T115" fmla="*/ 2 h 173"/>
                <a:gd name="T116" fmla="*/ 274 w 279"/>
                <a:gd name="T117" fmla="*/ 2 h 173"/>
                <a:gd name="T118" fmla="*/ 278 w 279"/>
                <a:gd name="T119" fmla="*/ 1 h 173"/>
                <a:gd name="T120" fmla="*/ 279 w 279"/>
                <a:gd name="T121" fmla="*/ 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9" h="173">
                  <a:moveTo>
                    <a:pt x="8" y="173"/>
                  </a:moveTo>
                  <a:lnTo>
                    <a:pt x="7" y="170"/>
                  </a:lnTo>
                  <a:lnTo>
                    <a:pt x="5" y="167"/>
                  </a:lnTo>
                  <a:lnTo>
                    <a:pt x="3" y="163"/>
                  </a:lnTo>
                  <a:lnTo>
                    <a:pt x="2" y="162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6"/>
                  </a:lnTo>
                  <a:lnTo>
                    <a:pt x="0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6" y="147"/>
                  </a:lnTo>
                  <a:lnTo>
                    <a:pt x="9" y="146"/>
                  </a:lnTo>
                  <a:lnTo>
                    <a:pt x="14" y="143"/>
                  </a:lnTo>
                  <a:lnTo>
                    <a:pt x="15" y="142"/>
                  </a:lnTo>
                  <a:lnTo>
                    <a:pt x="16" y="141"/>
                  </a:lnTo>
                  <a:lnTo>
                    <a:pt x="17" y="140"/>
                  </a:lnTo>
                  <a:lnTo>
                    <a:pt x="18" y="140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9" y="138"/>
                  </a:lnTo>
                  <a:lnTo>
                    <a:pt x="19" y="137"/>
                  </a:lnTo>
                  <a:lnTo>
                    <a:pt x="19" y="136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21" y="128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3" y="119"/>
                  </a:lnTo>
                  <a:lnTo>
                    <a:pt x="24" y="118"/>
                  </a:lnTo>
                  <a:lnTo>
                    <a:pt x="25" y="117"/>
                  </a:lnTo>
                  <a:lnTo>
                    <a:pt x="26" y="116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9" y="112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3" y="106"/>
                  </a:lnTo>
                  <a:lnTo>
                    <a:pt x="34" y="105"/>
                  </a:lnTo>
                  <a:lnTo>
                    <a:pt x="35" y="103"/>
                  </a:lnTo>
                  <a:lnTo>
                    <a:pt x="37" y="98"/>
                  </a:lnTo>
                  <a:lnTo>
                    <a:pt x="38" y="96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2"/>
                  </a:lnTo>
                  <a:lnTo>
                    <a:pt x="44" y="88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2" y="87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89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5" y="86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8" y="84"/>
                  </a:lnTo>
                  <a:lnTo>
                    <a:pt x="69" y="84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8" y="85"/>
                  </a:lnTo>
                  <a:lnTo>
                    <a:pt x="79" y="86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1" y="89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89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7"/>
                  </a:lnTo>
                  <a:lnTo>
                    <a:pt x="86" y="86"/>
                  </a:lnTo>
                  <a:lnTo>
                    <a:pt x="87" y="86"/>
                  </a:lnTo>
                  <a:lnTo>
                    <a:pt x="88" y="85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1" y="77"/>
                  </a:lnTo>
                  <a:lnTo>
                    <a:pt x="103" y="77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9" y="75"/>
                  </a:lnTo>
                  <a:lnTo>
                    <a:pt x="110" y="75"/>
                  </a:lnTo>
                  <a:lnTo>
                    <a:pt x="112" y="75"/>
                  </a:lnTo>
                  <a:lnTo>
                    <a:pt x="113" y="75"/>
                  </a:lnTo>
                  <a:lnTo>
                    <a:pt x="114" y="75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0" y="73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7" y="75"/>
                  </a:lnTo>
                  <a:lnTo>
                    <a:pt x="132" y="76"/>
                  </a:lnTo>
                  <a:lnTo>
                    <a:pt x="133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8"/>
                  </a:lnTo>
                  <a:lnTo>
                    <a:pt x="142" y="78"/>
                  </a:lnTo>
                  <a:lnTo>
                    <a:pt x="144" y="78"/>
                  </a:lnTo>
                  <a:lnTo>
                    <a:pt x="146" y="78"/>
                  </a:lnTo>
                  <a:lnTo>
                    <a:pt x="147" y="78"/>
                  </a:lnTo>
                  <a:lnTo>
                    <a:pt x="148" y="77"/>
                  </a:lnTo>
                  <a:lnTo>
                    <a:pt x="149" y="77"/>
                  </a:lnTo>
                  <a:lnTo>
                    <a:pt x="150" y="78"/>
                  </a:lnTo>
                  <a:lnTo>
                    <a:pt x="151" y="78"/>
                  </a:lnTo>
                  <a:lnTo>
                    <a:pt x="152" y="78"/>
                  </a:lnTo>
                  <a:lnTo>
                    <a:pt x="155" y="79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7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7" y="74"/>
                  </a:lnTo>
                  <a:lnTo>
                    <a:pt x="168" y="73"/>
                  </a:lnTo>
                  <a:lnTo>
                    <a:pt x="168" y="72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70" y="66"/>
                  </a:lnTo>
                  <a:lnTo>
                    <a:pt x="170" y="65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1" y="59"/>
                  </a:lnTo>
                  <a:lnTo>
                    <a:pt x="171" y="58"/>
                  </a:lnTo>
                  <a:lnTo>
                    <a:pt x="172" y="58"/>
                  </a:lnTo>
                  <a:lnTo>
                    <a:pt x="172" y="57"/>
                  </a:lnTo>
                  <a:lnTo>
                    <a:pt x="173" y="57"/>
                  </a:lnTo>
                  <a:lnTo>
                    <a:pt x="174" y="57"/>
                  </a:lnTo>
                  <a:lnTo>
                    <a:pt x="176" y="56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92" y="47"/>
                  </a:lnTo>
                  <a:lnTo>
                    <a:pt x="194" y="45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0" y="42"/>
                  </a:lnTo>
                  <a:lnTo>
                    <a:pt x="200" y="41"/>
                  </a:lnTo>
                  <a:lnTo>
                    <a:pt x="202" y="40"/>
                  </a:lnTo>
                  <a:lnTo>
                    <a:pt x="203" y="38"/>
                  </a:lnTo>
                  <a:lnTo>
                    <a:pt x="205" y="37"/>
                  </a:lnTo>
                  <a:lnTo>
                    <a:pt x="207" y="35"/>
                  </a:lnTo>
                  <a:lnTo>
                    <a:pt x="207" y="34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7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6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2" y="38"/>
                  </a:lnTo>
                  <a:lnTo>
                    <a:pt x="233" y="39"/>
                  </a:lnTo>
                  <a:lnTo>
                    <a:pt x="235" y="41"/>
                  </a:lnTo>
                  <a:lnTo>
                    <a:pt x="236" y="41"/>
                  </a:lnTo>
                  <a:lnTo>
                    <a:pt x="237" y="42"/>
                  </a:lnTo>
                  <a:lnTo>
                    <a:pt x="240" y="44"/>
                  </a:lnTo>
                  <a:lnTo>
                    <a:pt x="241" y="45"/>
                  </a:lnTo>
                  <a:lnTo>
                    <a:pt x="242" y="46"/>
                  </a:lnTo>
                  <a:lnTo>
                    <a:pt x="243" y="46"/>
                  </a:lnTo>
                  <a:lnTo>
                    <a:pt x="244" y="47"/>
                  </a:lnTo>
                  <a:lnTo>
                    <a:pt x="245" y="47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7"/>
                  </a:lnTo>
                  <a:lnTo>
                    <a:pt x="249" y="47"/>
                  </a:lnTo>
                  <a:lnTo>
                    <a:pt x="249" y="46"/>
                  </a:lnTo>
                  <a:lnTo>
                    <a:pt x="250" y="46"/>
                  </a:lnTo>
                  <a:lnTo>
                    <a:pt x="250" y="45"/>
                  </a:lnTo>
                  <a:lnTo>
                    <a:pt x="250" y="44"/>
                  </a:lnTo>
                  <a:lnTo>
                    <a:pt x="250" y="43"/>
                  </a:lnTo>
                  <a:lnTo>
                    <a:pt x="252" y="37"/>
                  </a:lnTo>
                  <a:lnTo>
                    <a:pt x="252" y="36"/>
                  </a:lnTo>
                  <a:lnTo>
                    <a:pt x="252" y="35"/>
                  </a:lnTo>
                  <a:lnTo>
                    <a:pt x="252" y="34"/>
                  </a:lnTo>
                  <a:lnTo>
                    <a:pt x="252" y="32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2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3" y="26"/>
                  </a:lnTo>
                  <a:lnTo>
                    <a:pt x="254" y="26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7" y="25"/>
                  </a:lnTo>
                  <a:lnTo>
                    <a:pt x="259" y="24"/>
                  </a:lnTo>
                  <a:lnTo>
                    <a:pt x="262" y="23"/>
                  </a:lnTo>
                  <a:lnTo>
                    <a:pt x="263" y="23"/>
                  </a:lnTo>
                  <a:lnTo>
                    <a:pt x="264" y="22"/>
                  </a:lnTo>
                  <a:lnTo>
                    <a:pt x="265" y="21"/>
                  </a:lnTo>
                  <a:lnTo>
                    <a:pt x="266" y="21"/>
                  </a:lnTo>
                  <a:lnTo>
                    <a:pt x="267" y="20"/>
                  </a:lnTo>
                  <a:lnTo>
                    <a:pt x="268" y="20"/>
                  </a:lnTo>
                  <a:lnTo>
                    <a:pt x="268" y="19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7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4"/>
                  </a:lnTo>
                  <a:lnTo>
                    <a:pt x="268" y="14"/>
                  </a:lnTo>
                  <a:lnTo>
                    <a:pt x="268" y="12"/>
                  </a:lnTo>
                  <a:lnTo>
                    <a:pt x="267" y="12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0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8" y="7"/>
                  </a:lnTo>
                  <a:lnTo>
                    <a:pt x="268" y="6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70" y="3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6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79" y="0"/>
                  </a:lnTo>
                  <a:lnTo>
                    <a:pt x="279" y="1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Freeform 17">
              <a:extLst>
                <a:ext uri="{FF2B5EF4-FFF2-40B4-BE49-F238E27FC236}">
                  <a16:creationId xmlns:a16="http://schemas.microsoft.com/office/drawing/2014/main" id="{AAF38B95-A98F-B4B5-D8A1-071E4498F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" y="3133"/>
              <a:ext cx="354" cy="259"/>
            </a:xfrm>
            <a:custGeom>
              <a:avLst/>
              <a:gdLst>
                <a:gd name="T0" fmla="*/ 244 w 354"/>
                <a:gd name="T1" fmla="*/ 19 h 259"/>
                <a:gd name="T2" fmla="*/ 262 w 354"/>
                <a:gd name="T3" fmla="*/ 31 h 259"/>
                <a:gd name="T4" fmla="*/ 289 w 354"/>
                <a:gd name="T5" fmla="*/ 36 h 259"/>
                <a:gd name="T6" fmla="*/ 298 w 354"/>
                <a:gd name="T7" fmla="*/ 48 h 259"/>
                <a:gd name="T8" fmla="*/ 305 w 354"/>
                <a:gd name="T9" fmla="*/ 51 h 259"/>
                <a:gd name="T10" fmla="*/ 329 w 354"/>
                <a:gd name="T11" fmla="*/ 51 h 259"/>
                <a:gd name="T12" fmla="*/ 336 w 354"/>
                <a:gd name="T13" fmla="*/ 63 h 259"/>
                <a:gd name="T14" fmla="*/ 333 w 354"/>
                <a:gd name="T15" fmla="*/ 85 h 259"/>
                <a:gd name="T16" fmla="*/ 335 w 354"/>
                <a:gd name="T17" fmla="*/ 104 h 259"/>
                <a:gd name="T18" fmla="*/ 340 w 354"/>
                <a:gd name="T19" fmla="*/ 118 h 259"/>
                <a:gd name="T20" fmla="*/ 349 w 354"/>
                <a:gd name="T21" fmla="*/ 141 h 259"/>
                <a:gd name="T22" fmla="*/ 347 w 354"/>
                <a:gd name="T23" fmla="*/ 150 h 259"/>
                <a:gd name="T24" fmla="*/ 336 w 354"/>
                <a:gd name="T25" fmla="*/ 152 h 259"/>
                <a:gd name="T26" fmla="*/ 345 w 354"/>
                <a:gd name="T27" fmla="*/ 158 h 259"/>
                <a:gd name="T28" fmla="*/ 352 w 354"/>
                <a:gd name="T29" fmla="*/ 171 h 259"/>
                <a:gd name="T30" fmla="*/ 351 w 354"/>
                <a:gd name="T31" fmla="*/ 182 h 259"/>
                <a:gd name="T32" fmla="*/ 344 w 354"/>
                <a:gd name="T33" fmla="*/ 191 h 259"/>
                <a:gd name="T34" fmla="*/ 334 w 354"/>
                <a:gd name="T35" fmla="*/ 202 h 259"/>
                <a:gd name="T36" fmla="*/ 327 w 354"/>
                <a:gd name="T37" fmla="*/ 215 h 259"/>
                <a:gd name="T38" fmla="*/ 308 w 354"/>
                <a:gd name="T39" fmla="*/ 204 h 259"/>
                <a:gd name="T40" fmla="*/ 289 w 354"/>
                <a:gd name="T41" fmla="*/ 203 h 259"/>
                <a:gd name="T42" fmla="*/ 262 w 354"/>
                <a:gd name="T43" fmla="*/ 222 h 259"/>
                <a:gd name="T44" fmla="*/ 252 w 354"/>
                <a:gd name="T45" fmla="*/ 234 h 259"/>
                <a:gd name="T46" fmla="*/ 238 w 354"/>
                <a:gd name="T47" fmla="*/ 248 h 259"/>
                <a:gd name="T48" fmla="*/ 220 w 354"/>
                <a:gd name="T49" fmla="*/ 246 h 259"/>
                <a:gd name="T50" fmla="*/ 199 w 354"/>
                <a:gd name="T51" fmla="*/ 242 h 259"/>
                <a:gd name="T52" fmla="*/ 176 w 354"/>
                <a:gd name="T53" fmla="*/ 248 h 259"/>
                <a:gd name="T54" fmla="*/ 166 w 354"/>
                <a:gd name="T55" fmla="*/ 258 h 259"/>
                <a:gd name="T56" fmla="*/ 157 w 354"/>
                <a:gd name="T57" fmla="*/ 251 h 259"/>
                <a:gd name="T58" fmla="*/ 141 w 354"/>
                <a:gd name="T59" fmla="*/ 257 h 259"/>
                <a:gd name="T60" fmla="*/ 124 w 354"/>
                <a:gd name="T61" fmla="*/ 247 h 259"/>
                <a:gd name="T62" fmla="*/ 107 w 354"/>
                <a:gd name="T63" fmla="*/ 233 h 259"/>
                <a:gd name="T64" fmla="*/ 110 w 354"/>
                <a:gd name="T65" fmla="*/ 220 h 259"/>
                <a:gd name="T66" fmla="*/ 95 w 354"/>
                <a:gd name="T67" fmla="*/ 213 h 259"/>
                <a:gd name="T68" fmla="*/ 80 w 354"/>
                <a:gd name="T69" fmla="*/ 201 h 259"/>
                <a:gd name="T70" fmla="*/ 61 w 354"/>
                <a:gd name="T71" fmla="*/ 187 h 259"/>
                <a:gd name="T72" fmla="*/ 46 w 354"/>
                <a:gd name="T73" fmla="*/ 177 h 259"/>
                <a:gd name="T74" fmla="*/ 39 w 354"/>
                <a:gd name="T75" fmla="*/ 163 h 259"/>
                <a:gd name="T76" fmla="*/ 27 w 354"/>
                <a:gd name="T77" fmla="*/ 150 h 259"/>
                <a:gd name="T78" fmla="*/ 30 w 354"/>
                <a:gd name="T79" fmla="*/ 125 h 259"/>
                <a:gd name="T80" fmla="*/ 18 w 354"/>
                <a:gd name="T81" fmla="*/ 106 h 259"/>
                <a:gd name="T82" fmla="*/ 3 w 354"/>
                <a:gd name="T83" fmla="*/ 94 h 259"/>
                <a:gd name="T84" fmla="*/ 2 w 354"/>
                <a:gd name="T85" fmla="*/ 84 h 259"/>
                <a:gd name="T86" fmla="*/ 9 w 354"/>
                <a:gd name="T87" fmla="*/ 73 h 259"/>
                <a:gd name="T88" fmla="*/ 4 w 354"/>
                <a:gd name="T89" fmla="*/ 58 h 259"/>
                <a:gd name="T90" fmla="*/ 23 w 354"/>
                <a:gd name="T91" fmla="*/ 58 h 259"/>
                <a:gd name="T92" fmla="*/ 32 w 354"/>
                <a:gd name="T93" fmla="*/ 77 h 259"/>
                <a:gd name="T94" fmla="*/ 47 w 354"/>
                <a:gd name="T95" fmla="*/ 87 h 259"/>
                <a:gd name="T96" fmla="*/ 45 w 354"/>
                <a:gd name="T97" fmla="*/ 94 h 259"/>
                <a:gd name="T98" fmla="*/ 54 w 354"/>
                <a:gd name="T99" fmla="*/ 112 h 259"/>
                <a:gd name="T100" fmla="*/ 58 w 354"/>
                <a:gd name="T101" fmla="*/ 126 h 259"/>
                <a:gd name="T102" fmla="*/ 67 w 354"/>
                <a:gd name="T103" fmla="*/ 121 h 259"/>
                <a:gd name="T104" fmla="*/ 69 w 354"/>
                <a:gd name="T105" fmla="*/ 99 h 259"/>
                <a:gd name="T106" fmla="*/ 75 w 354"/>
                <a:gd name="T107" fmla="*/ 90 h 259"/>
                <a:gd name="T108" fmla="*/ 88 w 354"/>
                <a:gd name="T109" fmla="*/ 69 h 259"/>
                <a:gd name="T110" fmla="*/ 100 w 354"/>
                <a:gd name="T111" fmla="*/ 55 h 259"/>
                <a:gd name="T112" fmla="*/ 116 w 354"/>
                <a:gd name="T113" fmla="*/ 43 h 259"/>
                <a:gd name="T114" fmla="*/ 128 w 354"/>
                <a:gd name="T115" fmla="*/ 26 h 259"/>
                <a:gd name="T116" fmla="*/ 171 w 354"/>
                <a:gd name="T117" fmla="*/ 21 h 259"/>
                <a:gd name="T118" fmla="*/ 191 w 354"/>
                <a:gd name="T119" fmla="*/ 14 h 259"/>
                <a:gd name="T120" fmla="*/ 208 w 354"/>
                <a:gd name="T121" fmla="*/ 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4" h="259">
                  <a:moveTo>
                    <a:pt x="217" y="0"/>
                  </a:moveTo>
                  <a:lnTo>
                    <a:pt x="218" y="1"/>
                  </a:lnTo>
                  <a:lnTo>
                    <a:pt x="220" y="2"/>
                  </a:lnTo>
                  <a:lnTo>
                    <a:pt x="221" y="3"/>
                  </a:lnTo>
                  <a:lnTo>
                    <a:pt x="226" y="6"/>
                  </a:lnTo>
                  <a:lnTo>
                    <a:pt x="231" y="10"/>
                  </a:lnTo>
                  <a:lnTo>
                    <a:pt x="233" y="12"/>
                  </a:lnTo>
                  <a:lnTo>
                    <a:pt x="235" y="12"/>
                  </a:lnTo>
                  <a:lnTo>
                    <a:pt x="237" y="14"/>
                  </a:lnTo>
                  <a:lnTo>
                    <a:pt x="239" y="16"/>
                  </a:lnTo>
                  <a:lnTo>
                    <a:pt x="240" y="16"/>
                  </a:lnTo>
                  <a:lnTo>
                    <a:pt x="241" y="17"/>
                  </a:lnTo>
                  <a:lnTo>
                    <a:pt x="242" y="18"/>
                  </a:lnTo>
                  <a:lnTo>
                    <a:pt x="243" y="18"/>
                  </a:lnTo>
                  <a:lnTo>
                    <a:pt x="244" y="19"/>
                  </a:lnTo>
                  <a:lnTo>
                    <a:pt x="246" y="20"/>
                  </a:lnTo>
                  <a:lnTo>
                    <a:pt x="248" y="22"/>
                  </a:lnTo>
                  <a:lnTo>
                    <a:pt x="249" y="23"/>
                  </a:lnTo>
                  <a:lnTo>
                    <a:pt x="251" y="25"/>
                  </a:lnTo>
                  <a:lnTo>
                    <a:pt x="251" y="26"/>
                  </a:lnTo>
                  <a:lnTo>
                    <a:pt x="252" y="26"/>
                  </a:lnTo>
                  <a:lnTo>
                    <a:pt x="252" y="26"/>
                  </a:lnTo>
                  <a:lnTo>
                    <a:pt x="253" y="26"/>
                  </a:lnTo>
                  <a:lnTo>
                    <a:pt x="253" y="26"/>
                  </a:lnTo>
                  <a:lnTo>
                    <a:pt x="253" y="26"/>
                  </a:lnTo>
                  <a:lnTo>
                    <a:pt x="257" y="29"/>
                  </a:lnTo>
                  <a:lnTo>
                    <a:pt x="259" y="30"/>
                  </a:lnTo>
                  <a:lnTo>
                    <a:pt x="260" y="30"/>
                  </a:lnTo>
                  <a:lnTo>
                    <a:pt x="260" y="31"/>
                  </a:lnTo>
                  <a:lnTo>
                    <a:pt x="262" y="31"/>
                  </a:lnTo>
                  <a:lnTo>
                    <a:pt x="265" y="32"/>
                  </a:lnTo>
                  <a:lnTo>
                    <a:pt x="267" y="32"/>
                  </a:lnTo>
                  <a:lnTo>
                    <a:pt x="269" y="32"/>
                  </a:lnTo>
                  <a:lnTo>
                    <a:pt x="272" y="32"/>
                  </a:lnTo>
                  <a:lnTo>
                    <a:pt x="273" y="33"/>
                  </a:lnTo>
                  <a:lnTo>
                    <a:pt x="275" y="33"/>
                  </a:lnTo>
                  <a:lnTo>
                    <a:pt x="278" y="34"/>
                  </a:lnTo>
                  <a:lnTo>
                    <a:pt x="280" y="35"/>
                  </a:lnTo>
                  <a:lnTo>
                    <a:pt x="281" y="35"/>
                  </a:lnTo>
                  <a:lnTo>
                    <a:pt x="283" y="35"/>
                  </a:lnTo>
                  <a:lnTo>
                    <a:pt x="285" y="35"/>
                  </a:lnTo>
                  <a:lnTo>
                    <a:pt x="287" y="35"/>
                  </a:lnTo>
                  <a:lnTo>
                    <a:pt x="288" y="36"/>
                  </a:lnTo>
                  <a:lnTo>
                    <a:pt x="289" y="36"/>
                  </a:lnTo>
                  <a:lnTo>
                    <a:pt x="289" y="36"/>
                  </a:lnTo>
                  <a:lnTo>
                    <a:pt x="291" y="37"/>
                  </a:lnTo>
                  <a:lnTo>
                    <a:pt x="294" y="38"/>
                  </a:lnTo>
                  <a:lnTo>
                    <a:pt x="295" y="39"/>
                  </a:lnTo>
                  <a:lnTo>
                    <a:pt x="295" y="39"/>
                  </a:lnTo>
                  <a:lnTo>
                    <a:pt x="296" y="40"/>
                  </a:lnTo>
                  <a:lnTo>
                    <a:pt x="296" y="40"/>
                  </a:lnTo>
                  <a:lnTo>
                    <a:pt x="296" y="41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7" y="42"/>
                  </a:lnTo>
                  <a:lnTo>
                    <a:pt x="297" y="43"/>
                  </a:lnTo>
                  <a:lnTo>
                    <a:pt x="298" y="44"/>
                  </a:lnTo>
                  <a:lnTo>
                    <a:pt x="298" y="46"/>
                  </a:lnTo>
                  <a:lnTo>
                    <a:pt x="298" y="47"/>
                  </a:lnTo>
                  <a:lnTo>
                    <a:pt x="298" y="48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9" y="50"/>
                  </a:lnTo>
                  <a:lnTo>
                    <a:pt x="299" y="50"/>
                  </a:lnTo>
                  <a:lnTo>
                    <a:pt x="299" y="51"/>
                  </a:lnTo>
                  <a:lnTo>
                    <a:pt x="300" y="51"/>
                  </a:lnTo>
                  <a:lnTo>
                    <a:pt x="300" y="51"/>
                  </a:lnTo>
                  <a:lnTo>
                    <a:pt x="301" y="51"/>
                  </a:lnTo>
                  <a:lnTo>
                    <a:pt x="301" y="51"/>
                  </a:lnTo>
                  <a:lnTo>
                    <a:pt x="302" y="51"/>
                  </a:lnTo>
                  <a:lnTo>
                    <a:pt x="302" y="51"/>
                  </a:lnTo>
                  <a:lnTo>
                    <a:pt x="303" y="51"/>
                  </a:lnTo>
                  <a:lnTo>
                    <a:pt x="304" y="51"/>
                  </a:lnTo>
                  <a:lnTo>
                    <a:pt x="305" y="51"/>
                  </a:lnTo>
                  <a:lnTo>
                    <a:pt x="307" y="51"/>
                  </a:lnTo>
                  <a:lnTo>
                    <a:pt x="308" y="50"/>
                  </a:lnTo>
                  <a:lnTo>
                    <a:pt x="308" y="50"/>
                  </a:lnTo>
                  <a:lnTo>
                    <a:pt x="310" y="50"/>
                  </a:lnTo>
                  <a:lnTo>
                    <a:pt x="311" y="51"/>
                  </a:lnTo>
                  <a:lnTo>
                    <a:pt x="315" y="51"/>
                  </a:lnTo>
                  <a:lnTo>
                    <a:pt x="317" y="51"/>
                  </a:lnTo>
                  <a:lnTo>
                    <a:pt x="318" y="51"/>
                  </a:lnTo>
                  <a:lnTo>
                    <a:pt x="321" y="51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7" y="51"/>
                  </a:lnTo>
                  <a:lnTo>
                    <a:pt x="328" y="51"/>
                  </a:lnTo>
                  <a:lnTo>
                    <a:pt x="328" y="51"/>
                  </a:lnTo>
                  <a:lnTo>
                    <a:pt x="329" y="51"/>
                  </a:lnTo>
                  <a:lnTo>
                    <a:pt x="329" y="51"/>
                  </a:lnTo>
                  <a:lnTo>
                    <a:pt x="330" y="51"/>
                  </a:lnTo>
                  <a:lnTo>
                    <a:pt x="331" y="52"/>
                  </a:lnTo>
                  <a:lnTo>
                    <a:pt x="332" y="52"/>
                  </a:lnTo>
                  <a:lnTo>
                    <a:pt x="332" y="53"/>
                  </a:lnTo>
                  <a:lnTo>
                    <a:pt x="333" y="54"/>
                  </a:lnTo>
                  <a:lnTo>
                    <a:pt x="333" y="54"/>
                  </a:lnTo>
                  <a:lnTo>
                    <a:pt x="334" y="55"/>
                  </a:lnTo>
                  <a:lnTo>
                    <a:pt x="334" y="56"/>
                  </a:lnTo>
                  <a:lnTo>
                    <a:pt x="335" y="58"/>
                  </a:lnTo>
                  <a:lnTo>
                    <a:pt x="336" y="59"/>
                  </a:lnTo>
                  <a:lnTo>
                    <a:pt x="336" y="60"/>
                  </a:lnTo>
                  <a:lnTo>
                    <a:pt x="336" y="61"/>
                  </a:lnTo>
                  <a:lnTo>
                    <a:pt x="336" y="62"/>
                  </a:lnTo>
                  <a:lnTo>
                    <a:pt x="336" y="63"/>
                  </a:lnTo>
                  <a:lnTo>
                    <a:pt x="336" y="64"/>
                  </a:lnTo>
                  <a:lnTo>
                    <a:pt x="336" y="66"/>
                  </a:lnTo>
                  <a:lnTo>
                    <a:pt x="336" y="67"/>
                  </a:lnTo>
                  <a:lnTo>
                    <a:pt x="335" y="69"/>
                  </a:lnTo>
                  <a:lnTo>
                    <a:pt x="335" y="70"/>
                  </a:lnTo>
                  <a:lnTo>
                    <a:pt x="335" y="71"/>
                  </a:lnTo>
                  <a:lnTo>
                    <a:pt x="335" y="72"/>
                  </a:lnTo>
                  <a:lnTo>
                    <a:pt x="335" y="73"/>
                  </a:lnTo>
                  <a:lnTo>
                    <a:pt x="335" y="76"/>
                  </a:lnTo>
                  <a:lnTo>
                    <a:pt x="335" y="76"/>
                  </a:lnTo>
                  <a:lnTo>
                    <a:pt x="335" y="77"/>
                  </a:lnTo>
                  <a:lnTo>
                    <a:pt x="334" y="78"/>
                  </a:lnTo>
                  <a:lnTo>
                    <a:pt x="334" y="80"/>
                  </a:lnTo>
                  <a:lnTo>
                    <a:pt x="333" y="84"/>
                  </a:lnTo>
                  <a:lnTo>
                    <a:pt x="333" y="85"/>
                  </a:lnTo>
                  <a:lnTo>
                    <a:pt x="333" y="86"/>
                  </a:lnTo>
                  <a:lnTo>
                    <a:pt x="333" y="87"/>
                  </a:lnTo>
                  <a:lnTo>
                    <a:pt x="333" y="88"/>
                  </a:lnTo>
                  <a:lnTo>
                    <a:pt x="333" y="89"/>
                  </a:lnTo>
                  <a:lnTo>
                    <a:pt x="334" y="91"/>
                  </a:lnTo>
                  <a:lnTo>
                    <a:pt x="334" y="92"/>
                  </a:lnTo>
                  <a:lnTo>
                    <a:pt x="335" y="94"/>
                  </a:lnTo>
                  <a:lnTo>
                    <a:pt x="335" y="96"/>
                  </a:lnTo>
                  <a:lnTo>
                    <a:pt x="335" y="98"/>
                  </a:lnTo>
                  <a:lnTo>
                    <a:pt x="335" y="99"/>
                  </a:lnTo>
                  <a:lnTo>
                    <a:pt x="335" y="100"/>
                  </a:lnTo>
                  <a:lnTo>
                    <a:pt x="335" y="102"/>
                  </a:lnTo>
                  <a:lnTo>
                    <a:pt x="335" y="103"/>
                  </a:lnTo>
                  <a:lnTo>
                    <a:pt x="334" y="103"/>
                  </a:lnTo>
                  <a:lnTo>
                    <a:pt x="335" y="104"/>
                  </a:lnTo>
                  <a:lnTo>
                    <a:pt x="335" y="105"/>
                  </a:lnTo>
                  <a:lnTo>
                    <a:pt x="335" y="105"/>
                  </a:lnTo>
                  <a:lnTo>
                    <a:pt x="335" y="106"/>
                  </a:lnTo>
                  <a:lnTo>
                    <a:pt x="336" y="106"/>
                  </a:lnTo>
                  <a:lnTo>
                    <a:pt x="336" y="107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9" y="110"/>
                  </a:lnTo>
                  <a:lnTo>
                    <a:pt x="339" y="111"/>
                  </a:lnTo>
                  <a:lnTo>
                    <a:pt x="339" y="111"/>
                  </a:lnTo>
                  <a:lnTo>
                    <a:pt x="340" y="113"/>
                  </a:lnTo>
                  <a:lnTo>
                    <a:pt x="340" y="114"/>
                  </a:lnTo>
                  <a:lnTo>
                    <a:pt x="340" y="117"/>
                  </a:lnTo>
                  <a:lnTo>
                    <a:pt x="340" y="118"/>
                  </a:lnTo>
                  <a:lnTo>
                    <a:pt x="340" y="118"/>
                  </a:lnTo>
                  <a:lnTo>
                    <a:pt x="340" y="119"/>
                  </a:lnTo>
                  <a:lnTo>
                    <a:pt x="340" y="119"/>
                  </a:lnTo>
                  <a:lnTo>
                    <a:pt x="342" y="122"/>
                  </a:lnTo>
                  <a:lnTo>
                    <a:pt x="343" y="123"/>
                  </a:lnTo>
                  <a:lnTo>
                    <a:pt x="344" y="125"/>
                  </a:lnTo>
                  <a:lnTo>
                    <a:pt x="345" y="127"/>
                  </a:lnTo>
                  <a:lnTo>
                    <a:pt x="347" y="131"/>
                  </a:lnTo>
                  <a:lnTo>
                    <a:pt x="347" y="133"/>
                  </a:lnTo>
                  <a:lnTo>
                    <a:pt x="348" y="134"/>
                  </a:lnTo>
                  <a:lnTo>
                    <a:pt x="348" y="137"/>
                  </a:lnTo>
                  <a:lnTo>
                    <a:pt x="349" y="138"/>
                  </a:lnTo>
                  <a:lnTo>
                    <a:pt x="349" y="139"/>
                  </a:lnTo>
                  <a:lnTo>
                    <a:pt x="349" y="139"/>
                  </a:lnTo>
                  <a:lnTo>
                    <a:pt x="349" y="140"/>
                  </a:lnTo>
                  <a:lnTo>
                    <a:pt x="349" y="141"/>
                  </a:lnTo>
                  <a:lnTo>
                    <a:pt x="348" y="141"/>
                  </a:lnTo>
                  <a:lnTo>
                    <a:pt x="348" y="142"/>
                  </a:lnTo>
                  <a:lnTo>
                    <a:pt x="348" y="142"/>
                  </a:lnTo>
                  <a:lnTo>
                    <a:pt x="347" y="143"/>
                  </a:lnTo>
                  <a:lnTo>
                    <a:pt x="347" y="144"/>
                  </a:lnTo>
                  <a:lnTo>
                    <a:pt x="347" y="144"/>
                  </a:lnTo>
                  <a:lnTo>
                    <a:pt x="347" y="145"/>
                  </a:lnTo>
                  <a:lnTo>
                    <a:pt x="347" y="146"/>
                  </a:lnTo>
                  <a:lnTo>
                    <a:pt x="347" y="148"/>
                  </a:lnTo>
                  <a:lnTo>
                    <a:pt x="348" y="149"/>
                  </a:lnTo>
                  <a:lnTo>
                    <a:pt x="348" y="149"/>
                  </a:lnTo>
                  <a:lnTo>
                    <a:pt x="348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1"/>
                  </a:lnTo>
                  <a:lnTo>
                    <a:pt x="346" y="151"/>
                  </a:lnTo>
                  <a:lnTo>
                    <a:pt x="346" y="151"/>
                  </a:lnTo>
                  <a:lnTo>
                    <a:pt x="343" y="150"/>
                  </a:lnTo>
                  <a:lnTo>
                    <a:pt x="342" y="150"/>
                  </a:lnTo>
                  <a:lnTo>
                    <a:pt x="341" y="150"/>
                  </a:lnTo>
                  <a:lnTo>
                    <a:pt x="340" y="150"/>
                  </a:lnTo>
                  <a:lnTo>
                    <a:pt x="340" y="150"/>
                  </a:lnTo>
                  <a:lnTo>
                    <a:pt x="339" y="150"/>
                  </a:lnTo>
                  <a:lnTo>
                    <a:pt x="338" y="151"/>
                  </a:lnTo>
                  <a:lnTo>
                    <a:pt x="337" y="151"/>
                  </a:lnTo>
                  <a:lnTo>
                    <a:pt x="337" y="151"/>
                  </a:lnTo>
                  <a:lnTo>
                    <a:pt x="337" y="152"/>
                  </a:lnTo>
                  <a:lnTo>
                    <a:pt x="336" y="152"/>
                  </a:lnTo>
                  <a:lnTo>
                    <a:pt x="336" y="153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7" y="156"/>
                  </a:lnTo>
                  <a:lnTo>
                    <a:pt x="338" y="156"/>
                  </a:lnTo>
                  <a:lnTo>
                    <a:pt x="338" y="157"/>
                  </a:lnTo>
                  <a:lnTo>
                    <a:pt x="339" y="157"/>
                  </a:lnTo>
                  <a:lnTo>
                    <a:pt x="343" y="157"/>
                  </a:lnTo>
                  <a:lnTo>
                    <a:pt x="344" y="158"/>
                  </a:lnTo>
                  <a:lnTo>
                    <a:pt x="344" y="158"/>
                  </a:lnTo>
                  <a:lnTo>
                    <a:pt x="345" y="158"/>
                  </a:lnTo>
                  <a:lnTo>
                    <a:pt x="346" y="159"/>
                  </a:lnTo>
                  <a:lnTo>
                    <a:pt x="347" y="159"/>
                  </a:lnTo>
                  <a:lnTo>
                    <a:pt x="348" y="160"/>
                  </a:lnTo>
                  <a:lnTo>
                    <a:pt x="348" y="161"/>
                  </a:lnTo>
                  <a:lnTo>
                    <a:pt x="349" y="162"/>
                  </a:lnTo>
                  <a:lnTo>
                    <a:pt x="351" y="164"/>
                  </a:lnTo>
                  <a:lnTo>
                    <a:pt x="352" y="165"/>
                  </a:lnTo>
                  <a:lnTo>
                    <a:pt x="352" y="166"/>
                  </a:lnTo>
                  <a:lnTo>
                    <a:pt x="353" y="167"/>
                  </a:lnTo>
                  <a:lnTo>
                    <a:pt x="353" y="168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3" y="170"/>
                  </a:lnTo>
                  <a:lnTo>
                    <a:pt x="352" y="171"/>
                  </a:lnTo>
                  <a:lnTo>
                    <a:pt x="352" y="171"/>
                  </a:lnTo>
                  <a:lnTo>
                    <a:pt x="351" y="172"/>
                  </a:lnTo>
                  <a:lnTo>
                    <a:pt x="351" y="172"/>
                  </a:lnTo>
                  <a:lnTo>
                    <a:pt x="351" y="172"/>
                  </a:lnTo>
                  <a:lnTo>
                    <a:pt x="350" y="174"/>
                  </a:lnTo>
                  <a:lnTo>
                    <a:pt x="350" y="175"/>
                  </a:lnTo>
                  <a:lnTo>
                    <a:pt x="349" y="177"/>
                  </a:lnTo>
                  <a:lnTo>
                    <a:pt x="349" y="177"/>
                  </a:lnTo>
                  <a:lnTo>
                    <a:pt x="349" y="178"/>
                  </a:lnTo>
                  <a:lnTo>
                    <a:pt x="349" y="179"/>
                  </a:lnTo>
                  <a:lnTo>
                    <a:pt x="349" y="179"/>
                  </a:lnTo>
                  <a:lnTo>
                    <a:pt x="349" y="180"/>
                  </a:lnTo>
                  <a:lnTo>
                    <a:pt x="350" y="180"/>
                  </a:lnTo>
                  <a:lnTo>
                    <a:pt x="350" y="182"/>
                  </a:lnTo>
                  <a:lnTo>
                    <a:pt x="351" y="182"/>
                  </a:lnTo>
                  <a:lnTo>
                    <a:pt x="351" y="183"/>
                  </a:lnTo>
                  <a:lnTo>
                    <a:pt x="351" y="183"/>
                  </a:lnTo>
                  <a:lnTo>
                    <a:pt x="351" y="184"/>
                  </a:lnTo>
                  <a:lnTo>
                    <a:pt x="351" y="184"/>
                  </a:lnTo>
                  <a:lnTo>
                    <a:pt x="351" y="185"/>
                  </a:lnTo>
                  <a:lnTo>
                    <a:pt x="351" y="186"/>
                  </a:lnTo>
                  <a:lnTo>
                    <a:pt x="351" y="186"/>
                  </a:lnTo>
                  <a:lnTo>
                    <a:pt x="350" y="187"/>
                  </a:lnTo>
                  <a:lnTo>
                    <a:pt x="350" y="188"/>
                  </a:lnTo>
                  <a:lnTo>
                    <a:pt x="349" y="188"/>
                  </a:lnTo>
                  <a:lnTo>
                    <a:pt x="348" y="189"/>
                  </a:lnTo>
                  <a:lnTo>
                    <a:pt x="347" y="189"/>
                  </a:lnTo>
                  <a:lnTo>
                    <a:pt x="346" y="190"/>
                  </a:lnTo>
                  <a:lnTo>
                    <a:pt x="345" y="191"/>
                  </a:lnTo>
                  <a:lnTo>
                    <a:pt x="344" y="191"/>
                  </a:lnTo>
                  <a:lnTo>
                    <a:pt x="341" y="192"/>
                  </a:lnTo>
                  <a:lnTo>
                    <a:pt x="339" y="193"/>
                  </a:lnTo>
                  <a:lnTo>
                    <a:pt x="339" y="193"/>
                  </a:lnTo>
                  <a:lnTo>
                    <a:pt x="337" y="193"/>
                  </a:lnTo>
                  <a:lnTo>
                    <a:pt x="336" y="194"/>
                  </a:lnTo>
                  <a:lnTo>
                    <a:pt x="335" y="194"/>
                  </a:lnTo>
                  <a:lnTo>
                    <a:pt x="335" y="195"/>
                  </a:lnTo>
                  <a:lnTo>
                    <a:pt x="335" y="195"/>
                  </a:lnTo>
                  <a:lnTo>
                    <a:pt x="334" y="195"/>
                  </a:lnTo>
                  <a:lnTo>
                    <a:pt x="334" y="196"/>
                  </a:lnTo>
                  <a:lnTo>
                    <a:pt x="334" y="196"/>
                  </a:lnTo>
                  <a:lnTo>
                    <a:pt x="334" y="197"/>
                  </a:lnTo>
                  <a:lnTo>
                    <a:pt x="334" y="199"/>
                  </a:lnTo>
                  <a:lnTo>
                    <a:pt x="334" y="200"/>
                  </a:lnTo>
                  <a:lnTo>
                    <a:pt x="334" y="202"/>
                  </a:lnTo>
                  <a:lnTo>
                    <a:pt x="334" y="203"/>
                  </a:lnTo>
                  <a:lnTo>
                    <a:pt x="334" y="204"/>
                  </a:lnTo>
                  <a:lnTo>
                    <a:pt x="334" y="205"/>
                  </a:lnTo>
                  <a:lnTo>
                    <a:pt x="332" y="211"/>
                  </a:lnTo>
                  <a:lnTo>
                    <a:pt x="332" y="212"/>
                  </a:lnTo>
                  <a:lnTo>
                    <a:pt x="332" y="213"/>
                  </a:lnTo>
                  <a:lnTo>
                    <a:pt x="332" y="214"/>
                  </a:lnTo>
                  <a:lnTo>
                    <a:pt x="331" y="214"/>
                  </a:lnTo>
                  <a:lnTo>
                    <a:pt x="331" y="215"/>
                  </a:lnTo>
                  <a:lnTo>
                    <a:pt x="330" y="215"/>
                  </a:lnTo>
                  <a:lnTo>
                    <a:pt x="329" y="215"/>
                  </a:lnTo>
                  <a:lnTo>
                    <a:pt x="329" y="215"/>
                  </a:lnTo>
                  <a:lnTo>
                    <a:pt x="328" y="215"/>
                  </a:lnTo>
                  <a:lnTo>
                    <a:pt x="327" y="215"/>
                  </a:lnTo>
                  <a:lnTo>
                    <a:pt x="327" y="215"/>
                  </a:lnTo>
                  <a:lnTo>
                    <a:pt x="326" y="215"/>
                  </a:lnTo>
                  <a:lnTo>
                    <a:pt x="325" y="214"/>
                  </a:lnTo>
                  <a:lnTo>
                    <a:pt x="324" y="214"/>
                  </a:lnTo>
                  <a:lnTo>
                    <a:pt x="323" y="213"/>
                  </a:lnTo>
                  <a:lnTo>
                    <a:pt x="322" y="212"/>
                  </a:lnTo>
                  <a:lnTo>
                    <a:pt x="319" y="210"/>
                  </a:lnTo>
                  <a:lnTo>
                    <a:pt x="318" y="209"/>
                  </a:lnTo>
                  <a:lnTo>
                    <a:pt x="317" y="209"/>
                  </a:lnTo>
                  <a:lnTo>
                    <a:pt x="315" y="207"/>
                  </a:lnTo>
                  <a:lnTo>
                    <a:pt x="314" y="206"/>
                  </a:lnTo>
                  <a:lnTo>
                    <a:pt x="313" y="205"/>
                  </a:lnTo>
                  <a:lnTo>
                    <a:pt x="312" y="205"/>
                  </a:lnTo>
                  <a:lnTo>
                    <a:pt x="311" y="204"/>
                  </a:lnTo>
                  <a:lnTo>
                    <a:pt x="310" y="204"/>
                  </a:lnTo>
                  <a:lnTo>
                    <a:pt x="308" y="204"/>
                  </a:lnTo>
                  <a:lnTo>
                    <a:pt x="307" y="203"/>
                  </a:lnTo>
                  <a:lnTo>
                    <a:pt x="306" y="203"/>
                  </a:lnTo>
                  <a:lnTo>
                    <a:pt x="303" y="203"/>
                  </a:lnTo>
                  <a:lnTo>
                    <a:pt x="299" y="203"/>
                  </a:lnTo>
                  <a:lnTo>
                    <a:pt x="299" y="202"/>
                  </a:lnTo>
                  <a:lnTo>
                    <a:pt x="296" y="202"/>
                  </a:lnTo>
                  <a:lnTo>
                    <a:pt x="294" y="201"/>
                  </a:lnTo>
                  <a:lnTo>
                    <a:pt x="293" y="201"/>
                  </a:lnTo>
                  <a:lnTo>
                    <a:pt x="292" y="201"/>
                  </a:lnTo>
                  <a:lnTo>
                    <a:pt x="292" y="201"/>
                  </a:lnTo>
                  <a:lnTo>
                    <a:pt x="291" y="201"/>
                  </a:lnTo>
                  <a:lnTo>
                    <a:pt x="291" y="202"/>
                  </a:lnTo>
                  <a:lnTo>
                    <a:pt x="290" y="202"/>
                  </a:lnTo>
                  <a:lnTo>
                    <a:pt x="289" y="202"/>
                  </a:lnTo>
                  <a:lnTo>
                    <a:pt x="289" y="203"/>
                  </a:lnTo>
                  <a:lnTo>
                    <a:pt x="287" y="205"/>
                  </a:lnTo>
                  <a:lnTo>
                    <a:pt x="285" y="206"/>
                  </a:lnTo>
                  <a:lnTo>
                    <a:pt x="284" y="208"/>
                  </a:lnTo>
                  <a:lnTo>
                    <a:pt x="282" y="209"/>
                  </a:lnTo>
                  <a:lnTo>
                    <a:pt x="282" y="210"/>
                  </a:lnTo>
                  <a:lnTo>
                    <a:pt x="279" y="211"/>
                  </a:lnTo>
                  <a:lnTo>
                    <a:pt x="277" y="212"/>
                  </a:lnTo>
                  <a:lnTo>
                    <a:pt x="276" y="213"/>
                  </a:lnTo>
                  <a:lnTo>
                    <a:pt x="274" y="215"/>
                  </a:lnTo>
                  <a:lnTo>
                    <a:pt x="269" y="218"/>
                  </a:lnTo>
                  <a:lnTo>
                    <a:pt x="268" y="218"/>
                  </a:lnTo>
                  <a:lnTo>
                    <a:pt x="266" y="219"/>
                  </a:lnTo>
                  <a:lnTo>
                    <a:pt x="265" y="220"/>
                  </a:lnTo>
                  <a:lnTo>
                    <a:pt x="264" y="221"/>
                  </a:lnTo>
                  <a:lnTo>
                    <a:pt x="262" y="222"/>
                  </a:lnTo>
                  <a:lnTo>
                    <a:pt x="262" y="222"/>
                  </a:lnTo>
                  <a:lnTo>
                    <a:pt x="258" y="224"/>
                  </a:lnTo>
                  <a:lnTo>
                    <a:pt x="256" y="225"/>
                  </a:lnTo>
                  <a:lnTo>
                    <a:pt x="255" y="225"/>
                  </a:lnTo>
                  <a:lnTo>
                    <a:pt x="254" y="225"/>
                  </a:lnTo>
                  <a:lnTo>
                    <a:pt x="254" y="226"/>
                  </a:lnTo>
                  <a:lnTo>
                    <a:pt x="253" y="226"/>
                  </a:lnTo>
                  <a:lnTo>
                    <a:pt x="253" y="227"/>
                  </a:lnTo>
                  <a:lnTo>
                    <a:pt x="252" y="228"/>
                  </a:lnTo>
                  <a:lnTo>
                    <a:pt x="252" y="228"/>
                  </a:lnTo>
                  <a:lnTo>
                    <a:pt x="252" y="229"/>
                  </a:lnTo>
                  <a:lnTo>
                    <a:pt x="252" y="229"/>
                  </a:lnTo>
                  <a:lnTo>
                    <a:pt x="252" y="232"/>
                  </a:lnTo>
                  <a:lnTo>
                    <a:pt x="252" y="233"/>
                  </a:lnTo>
                  <a:lnTo>
                    <a:pt x="252" y="234"/>
                  </a:lnTo>
                  <a:lnTo>
                    <a:pt x="251" y="239"/>
                  </a:lnTo>
                  <a:lnTo>
                    <a:pt x="251" y="239"/>
                  </a:lnTo>
                  <a:lnTo>
                    <a:pt x="250" y="240"/>
                  </a:lnTo>
                  <a:lnTo>
                    <a:pt x="250" y="241"/>
                  </a:lnTo>
                  <a:lnTo>
                    <a:pt x="249" y="242"/>
                  </a:lnTo>
                  <a:lnTo>
                    <a:pt x="248" y="243"/>
                  </a:lnTo>
                  <a:lnTo>
                    <a:pt x="247" y="244"/>
                  </a:lnTo>
                  <a:lnTo>
                    <a:pt x="245" y="245"/>
                  </a:lnTo>
                  <a:lnTo>
                    <a:pt x="244" y="246"/>
                  </a:lnTo>
                  <a:lnTo>
                    <a:pt x="243" y="247"/>
                  </a:lnTo>
                  <a:lnTo>
                    <a:pt x="242" y="247"/>
                  </a:lnTo>
                  <a:lnTo>
                    <a:pt x="241" y="248"/>
                  </a:lnTo>
                  <a:lnTo>
                    <a:pt x="240" y="248"/>
                  </a:lnTo>
                  <a:lnTo>
                    <a:pt x="239" y="248"/>
                  </a:lnTo>
                  <a:lnTo>
                    <a:pt x="238" y="248"/>
                  </a:lnTo>
                  <a:lnTo>
                    <a:pt x="238" y="248"/>
                  </a:lnTo>
                  <a:lnTo>
                    <a:pt x="237" y="247"/>
                  </a:lnTo>
                  <a:lnTo>
                    <a:pt x="234" y="246"/>
                  </a:lnTo>
                  <a:lnTo>
                    <a:pt x="233" y="246"/>
                  </a:lnTo>
                  <a:lnTo>
                    <a:pt x="232" y="246"/>
                  </a:lnTo>
                  <a:lnTo>
                    <a:pt x="231" y="245"/>
                  </a:lnTo>
                  <a:lnTo>
                    <a:pt x="230" y="245"/>
                  </a:lnTo>
                  <a:lnTo>
                    <a:pt x="229" y="246"/>
                  </a:lnTo>
                  <a:lnTo>
                    <a:pt x="228" y="246"/>
                  </a:lnTo>
                  <a:lnTo>
                    <a:pt x="226" y="246"/>
                  </a:lnTo>
                  <a:lnTo>
                    <a:pt x="224" y="246"/>
                  </a:lnTo>
                  <a:lnTo>
                    <a:pt x="223" y="246"/>
                  </a:lnTo>
                  <a:lnTo>
                    <a:pt x="222" y="246"/>
                  </a:lnTo>
                  <a:lnTo>
                    <a:pt x="221" y="246"/>
                  </a:lnTo>
                  <a:lnTo>
                    <a:pt x="220" y="246"/>
                  </a:lnTo>
                  <a:lnTo>
                    <a:pt x="219" y="246"/>
                  </a:lnTo>
                  <a:lnTo>
                    <a:pt x="218" y="246"/>
                  </a:lnTo>
                  <a:lnTo>
                    <a:pt x="215" y="245"/>
                  </a:lnTo>
                  <a:lnTo>
                    <a:pt x="214" y="244"/>
                  </a:lnTo>
                  <a:lnTo>
                    <a:pt x="209" y="243"/>
                  </a:lnTo>
                  <a:lnTo>
                    <a:pt x="208" y="242"/>
                  </a:lnTo>
                  <a:lnTo>
                    <a:pt x="206" y="242"/>
                  </a:lnTo>
                  <a:lnTo>
                    <a:pt x="205" y="241"/>
                  </a:lnTo>
                  <a:lnTo>
                    <a:pt x="205" y="241"/>
                  </a:lnTo>
                  <a:lnTo>
                    <a:pt x="203" y="241"/>
                  </a:lnTo>
                  <a:lnTo>
                    <a:pt x="202" y="241"/>
                  </a:lnTo>
                  <a:lnTo>
                    <a:pt x="201" y="241"/>
                  </a:lnTo>
                  <a:lnTo>
                    <a:pt x="201" y="241"/>
                  </a:lnTo>
                  <a:lnTo>
                    <a:pt x="200" y="241"/>
                  </a:lnTo>
                  <a:lnTo>
                    <a:pt x="199" y="242"/>
                  </a:lnTo>
                  <a:lnTo>
                    <a:pt x="196" y="243"/>
                  </a:lnTo>
                  <a:lnTo>
                    <a:pt x="195" y="243"/>
                  </a:lnTo>
                  <a:lnTo>
                    <a:pt x="194" y="243"/>
                  </a:lnTo>
                  <a:lnTo>
                    <a:pt x="192" y="243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6" y="244"/>
                  </a:lnTo>
                  <a:lnTo>
                    <a:pt x="185" y="245"/>
                  </a:lnTo>
                  <a:lnTo>
                    <a:pt x="183" y="245"/>
                  </a:lnTo>
                  <a:lnTo>
                    <a:pt x="182" y="246"/>
                  </a:lnTo>
                  <a:lnTo>
                    <a:pt x="180" y="246"/>
                  </a:lnTo>
                  <a:lnTo>
                    <a:pt x="178" y="247"/>
                  </a:lnTo>
                  <a:lnTo>
                    <a:pt x="177" y="247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4" y="250"/>
                  </a:lnTo>
                  <a:lnTo>
                    <a:pt x="174" y="250"/>
                  </a:lnTo>
                  <a:lnTo>
                    <a:pt x="173" y="251"/>
                  </a:lnTo>
                  <a:lnTo>
                    <a:pt x="173" y="251"/>
                  </a:lnTo>
                  <a:lnTo>
                    <a:pt x="171" y="253"/>
                  </a:lnTo>
                  <a:lnTo>
                    <a:pt x="170" y="253"/>
                  </a:lnTo>
                  <a:lnTo>
                    <a:pt x="169" y="254"/>
                  </a:lnTo>
                  <a:lnTo>
                    <a:pt x="168" y="254"/>
                  </a:lnTo>
                  <a:lnTo>
                    <a:pt x="168" y="255"/>
                  </a:lnTo>
                  <a:lnTo>
                    <a:pt x="167" y="255"/>
                  </a:lnTo>
                  <a:lnTo>
                    <a:pt x="167" y="256"/>
                  </a:lnTo>
                  <a:lnTo>
                    <a:pt x="167" y="257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5" y="259"/>
                  </a:lnTo>
                  <a:lnTo>
                    <a:pt x="165" y="259"/>
                  </a:lnTo>
                  <a:lnTo>
                    <a:pt x="165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3" y="257"/>
                  </a:lnTo>
                  <a:lnTo>
                    <a:pt x="162" y="255"/>
                  </a:lnTo>
                  <a:lnTo>
                    <a:pt x="162" y="255"/>
                  </a:lnTo>
                  <a:lnTo>
                    <a:pt x="161" y="254"/>
                  </a:lnTo>
                  <a:lnTo>
                    <a:pt x="160" y="253"/>
                  </a:lnTo>
                  <a:lnTo>
                    <a:pt x="159" y="252"/>
                  </a:lnTo>
                  <a:lnTo>
                    <a:pt x="158" y="252"/>
                  </a:lnTo>
                  <a:lnTo>
                    <a:pt x="157" y="251"/>
                  </a:lnTo>
                  <a:lnTo>
                    <a:pt x="155" y="251"/>
                  </a:lnTo>
                  <a:lnTo>
                    <a:pt x="155" y="251"/>
                  </a:lnTo>
                  <a:lnTo>
                    <a:pt x="154" y="251"/>
                  </a:lnTo>
                  <a:lnTo>
                    <a:pt x="153" y="251"/>
                  </a:lnTo>
                  <a:lnTo>
                    <a:pt x="151" y="252"/>
                  </a:lnTo>
                  <a:lnTo>
                    <a:pt x="150" y="252"/>
                  </a:lnTo>
                  <a:lnTo>
                    <a:pt x="149" y="253"/>
                  </a:lnTo>
                  <a:lnTo>
                    <a:pt x="148" y="253"/>
                  </a:lnTo>
                  <a:lnTo>
                    <a:pt x="147" y="254"/>
                  </a:lnTo>
                  <a:lnTo>
                    <a:pt x="145" y="255"/>
                  </a:lnTo>
                  <a:lnTo>
                    <a:pt x="144" y="256"/>
                  </a:lnTo>
                  <a:lnTo>
                    <a:pt x="144" y="256"/>
                  </a:lnTo>
                  <a:lnTo>
                    <a:pt x="143" y="257"/>
                  </a:lnTo>
                  <a:lnTo>
                    <a:pt x="142" y="257"/>
                  </a:lnTo>
                  <a:lnTo>
                    <a:pt x="141" y="257"/>
                  </a:lnTo>
                  <a:lnTo>
                    <a:pt x="140" y="257"/>
                  </a:lnTo>
                  <a:lnTo>
                    <a:pt x="140" y="257"/>
                  </a:lnTo>
                  <a:lnTo>
                    <a:pt x="139" y="257"/>
                  </a:lnTo>
                  <a:lnTo>
                    <a:pt x="134" y="255"/>
                  </a:lnTo>
                  <a:lnTo>
                    <a:pt x="130" y="254"/>
                  </a:lnTo>
                  <a:lnTo>
                    <a:pt x="128" y="254"/>
                  </a:lnTo>
                  <a:lnTo>
                    <a:pt x="128" y="253"/>
                  </a:lnTo>
                  <a:lnTo>
                    <a:pt x="128" y="253"/>
                  </a:lnTo>
                  <a:lnTo>
                    <a:pt x="128" y="252"/>
                  </a:lnTo>
                  <a:lnTo>
                    <a:pt x="127" y="251"/>
                  </a:lnTo>
                  <a:lnTo>
                    <a:pt x="127" y="250"/>
                  </a:lnTo>
                  <a:lnTo>
                    <a:pt x="126" y="250"/>
                  </a:lnTo>
                  <a:lnTo>
                    <a:pt x="125" y="249"/>
                  </a:lnTo>
                  <a:lnTo>
                    <a:pt x="125" y="248"/>
                  </a:lnTo>
                  <a:lnTo>
                    <a:pt x="124" y="247"/>
                  </a:lnTo>
                  <a:lnTo>
                    <a:pt x="123" y="246"/>
                  </a:lnTo>
                  <a:lnTo>
                    <a:pt x="120" y="245"/>
                  </a:lnTo>
                  <a:lnTo>
                    <a:pt x="119" y="244"/>
                  </a:lnTo>
                  <a:lnTo>
                    <a:pt x="114" y="241"/>
                  </a:lnTo>
                  <a:lnTo>
                    <a:pt x="112" y="240"/>
                  </a:lnTo>
                  <a:lnTo>
                    <a:pt x="110" y="239"/>
                  </a:lnTo>
                  <a:lnTo>
                    <a:pt x="109" y="238"/>
                  </a:lnTo>
                  <a:lnTo>
                    <a:pt x="108" y="237"/>
                  </a:lnTo>
                  <a:lnTo>
                    <a:pt x="108" y="237"/>
                  </a:lnTo>
                  <a:lnTo>
                    <a:pt x="108" y="236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4"/>
                  </a:lnTo>
                  <a:lnTo>
                    <a:pt x="107" y="233"/>
                  </a:lnTo>
                  <a:lnTo>
                    <a:pt x="107" y="232"/>
                  </a:lnTo>
                  <a:lnTo>
                    <a:pt x="108" y="231"/>
                  </a:lnTo>
                  <a:lnTo>
                    <a:pt x="108" y="230"/>
                  </a:lnTo>
                  <a:lnTo>
                    <a:pt x="108" y="230"/>
                  </a:lnTo>
                  <a:lnTo>
                    <a:pt x="110" y="227"/>
                  </a:lnTo>
                  <a:lnTo>
                    <a:pt x="110" y="226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1" y="224"/>
                  </a:lnTo>
                  <a:lnTo>
                    <a:pt x="111" y="223"/>
                  </a:lnTo>
                  <a:lnTo>
                    <a:pt x="111" y="222"/>
                  </a:lnTo>
                  <a:lnTo>
                    <a:pt x="111" y="222"/>
                  </a:lnTo>
                  <a:lnTo>
                    <a:pt x="110" y="221"/>
                  </a:lnTo>
                  <a:lnTo>
                    <a:pt x="110" y="220"/>
                  </a:lnTo>
                  <a:lnTo>
                    <a:pt x="110" y="220"/>
                  </a:lnTo>
                  <a:lnTo>
                    <a:pt x="110" y="219"/>
                  </a:lnTo>
                  <a:lnTo>
                    <a:pt x="109" y="219"/>
                  </a:lnTo>
                  <a:lnTo>
                    <a:pt x="109" y="218"/>
                  </a:lnTo>
                  <a:lnTo>
                    <a:pt x="107" y="216"/>
                  </a:lnTo>
                  <a:lnTo>
                    <a:pt x="105" y="215"/>
                  </a:lnTo>
                  <a:lnTo>
                    <a:pt x="104" y="215"/>
                  </a:lnTo>
                  <a:lnTo>
                    <a:pt x="104" y="214"/>
                  </a:lnTo>
                  <a:lnTo>
                    <a:pt x="103" y="214"/>
                  </a:lnTo>
                  <a:lnTo>
                    <a:pt x="102" y="214"/>
                  </a:lnTo>
                  <a:lnTo>
                    <a:pt x="101" y="213"/>
                  </a:lnTo>
                  <a:lnTo>
                    <a:pt x="100" y="213"/>
                  </a:lnTo>
                  <a:lnTo>
                    <a:pt x="98" y="213"/>
                  </a:lnTo>
                  <a:lnTo>
                    <a:pt x="97" y="213"/>
                  </a:lnTo>
                  <a:lnTo>
                    <a:pt x="96" y="213"/>
                  </a:lnTo>
                  <a:lnTo>
                    <a:pt x="95" y="213"/>
                  </a:lnTo>
                  <a:lnTo>
                    <a:pt x="95" y="212"/>
                  </a:lnTo>
                  <a:lnTo>
                    <a:pt x="94" y="212"/>
                  </a:lnTo>
                  <a:lnTo>
                    <a:pt x="94" y="212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2" y="209"/>
                  </a:lnTo>
                  <a:lnTo>
                    <a:pt x="91" y="208"/>
                  </a:lnTo>
                  <a:lnTo>
                    <a:pt x="90" y="207"/>
                  </a:lnTo>
                  <a:lnTo>
                    <a:pt x="87" y="205"/>
                  </a:lnTo>
                  <a:lnTo>
                    <a:pt x="85" y="204"/>
                  </a:lnTo>
                  <a:lnTo>
                    <a:pt x="84" y="203"/>
                  </a:lnTo>
                  <a:lnTo>
                    <a:pt x="83" y="203"/>
                  </a:lnTo>
                  <a:lnTo>
                    <a:pt x="83" y="202"/>
                  </a:lnTo>
                  <a:lnTo>
                    <a:pt x="81" y="201"/>
                  </a:lnTo>
                  <a:lnTo>
                    <a:pt x="80" y="201"/>
                  </a:lnTo>
                  <a:lnTo>
                    <a:pt x="79" y="200"/>
                  </a:lnTo>
                  <a:lnTo>
                    <a:pt x="76" y="199"/>
                  </a:lnTo>
                  <a:lnTo>
                    <a:pt x="75" y="198"/>
                  </a:lnTo>
                  <a:lnTo>
                    <a:pt x="73" y="196"/>
                  </a:lnTo>
                  <a:lnTo>
                    <a:pt x="70" y="193"/>
                  </a:lnTo>
                  <a:lnTo>
                    <a:pt x="69" y="192"/>
                  </a:lnTo>
                  <a:lnTo>
                    <a:pt x="68" y="192"/>
                  </a:lnTo>
                  <a:lnTo>
                    <a:pt x="68" y="192"/>
                  </a:lnTo>
                  <a:lnTo>
                    <a:pt x="67" y="191"/>
                  </a:lnTo>
                  <a:lnTo>
                    <a:pt x="65" y="190"/>
                  </a:lnTo>
                  <a:lnTo>
                    <a:pt x="64" y="190"/>
                  </a:lnTo>
                  <a:lnTo>
                    <a:pt x="64" y="190"/>
                  </a:lnTo>
                  <a:lnTo>
                    <a:pt x="63" y="189"/>
                  </a:lnTo>
                  <a:lnTo>
                    <a:pt x="62" y="188"/>
                  </a:lnTo>
                  <a:lnTo>
                    <a:pt x="61" y="187"/>
                  </a:lnTo>
                  <a:lnTo>
                    <a:pt x="60" y="185"/>
                  </a:lnTo>
                  <a:lnTo>
                    <a:pt x="59" y="185"/>
                  </a:lnTo>
                  <a:lnTo>
                    <a:pt x="59" y="184"/>
                  </a:lnTo>
                  <a:lnTo>
                    <a:pt x="58" y="183"/>
                  </a:lnTo>
                  <a:lnTo>
                    <a:pt x="57" y="182"/>
                  </a:lnTo>
                  <a:lnTo>
                    <a:pt x="55" y="182"/>
                  </a:lnTo>
                  <a:lnTo>
                    <a:pt x="54" y="181"/>
                  </a:lnTo>
                  <a:lnTo>
                    <a:pt x="51" y="180"/>
                  </a:lnTo>
                  <a:lnTo>
                    <a:pt x="50" y="180"/>
                  </a:lnTo>
                  <a:lnTo>
                    <a:pt x="48" y="179"/>
                  </a:lnTo>
                  <a:lnTo>
                    <a:pt x="47" y="179"/>
                  </a:lnTo>
                  <a:lnTo>
                    <a:pt x="47" y="178"/>
                  </a:lnTo>
                  <a:lnTo>
                    <a:pt x="47" y="178"/>
                  </a:lnTo>
                  <a:lnTo>
                    <a:pt x="46" y="178"/>
                  </a:lnTo>
                  <a:lnTo>
                    <a:pt x="46" y="177"/>
                  </a:lnTo>
                  <a:lnTo>
                    <a:pt x="46" y="177"/>
                  </a:lnTo>
                  <a:lnTo>
                    <a:pt x="46" y="176"/>
                  </a:lnTo>
                  <a:lnTo>
                    <a:pt x="46" y="176"/>
                  </a:lnTo>
                  <a:lnTo>
                    <a:pt x="46" y="174"/>
                  </a:lnTo>
                  <a:lnTo>
                    <a:pt x="46" y="173"/>
                  </a:lnTo>
                  <a:lnTo>
                    <a:pt x="46" y="172"/>
                  </a:lnTo>
                  <a:lnTo>
                    <a:pt x="46" y="171"/>
                  </a:lnTo>
                  <a:lnTo>
                    <a:pt x="45" y="170"/>
                  </a:lnTo>
                  <a:lnTo>
                    <a:pt x="44" y="169"/>
                  </a:lnTo>
                  <a:lnTo>
                    <a:pt x="43" y="167"/>
                  </a:lnTo>
                  <a:lnTo>
                    <a:pt x="42" y="166"/>
                  </a:lnTo>
                  <a:lnTo>
                    <a:pt x="41" y="165"/>
                  </a:lnTo>
                  <a:lnTo>
                    <a:pt x="40" y="164"/>
                  </a:lnTo>
                  <a:lnTo>
                    <a:pt x="40" y="163"/>
                  </a:lnTo>
                  <a:lnTo>
                    <a:pt x="39" y="163"/>
                  </a:lnTo>
                  <a:lnTo>
                    <a:pt x="38" y="162"/>
                  </a:lnTo>
                  <a:lnTo>
                    <a:pt x="37" y="162"/>
                  </a:lnTo>
                  <a:lnTo>
                    <a:pt x="36" y="161"/>
                  </a:lnTo>
                  <a:lnTo>
                    <a:pt x="35" y="161"/>
                  </a:lnTo>
                  <a:lnTo>
                    <a:pt x="34" y="160"/>
                  </a:lnTo>
                  <a:lnTo>
                    <a:pt x="32" y="158"/>
                  </a:lnTo>
                  <a:lnTo>
                    <a:pt x="31" y="158"/>
                  </a:lnTo>
                  <a:lnTo>
                    <a:pt x="30" y="157"/>
                  </a:lnTo>
                  <a:lnTo>
                    <a:pt x="30" y="157"/>
                  </a:lnTo>
                  <a:lnTo>
                    <a:pt x="29" y="156"/>
                  </a:lnTo>
                  <a:lnTo>
                    <a:pt x="29" y="155"/>
                  </a:lnTo>
                  <a:lnTo>
                    <a:pt x="28" y="154"/>
                  </a:lnTo>
                  <a:lnTo>
                    <a:pt x="28" y="153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7" y="149"/>
                  </a:lnTo>
                  <a:lnTo>
                    <a:pt x="27" y="148"/>
                  </a:lnTo>
                  <a:lnTo>
                    <a:pt x="27" y="146"/>
                  </a:lnTo>
                  <a:lnTo>
                    <a:pt x="27" y="145"/>
                  </a:lnTo>
                  <a:lnTo>
                    <a:pt x="27" y="143"/>
                  </a:lnTo>
                  <a:lnTo>
                    <a:pt x="27" y="142"/>
                  </a:lnTo>
                  <a:lnTo>
                    <a:pt x="27" y="141"/>
                  </a:lnTo>
                  <a:lnTo>
                    <a:pt x="28" y="136"/>
                  </a:lnTo>
                  <a:lnTo>
                    <a:pt x="30" y="133"/>
                  </a:lnTo>
                  <a:lnTo>
                    <a:pt x="30" y="131"/>
                  </a:lnTo>
                  <a:lnTo>
                    <a:pt x="30" y="130"/>
                  </a:lnTo>
                  <a:lnTo>
                    <a:pt x="30" y="129"/>
                  </a:lnTo>
                  <a:lnTo>
                    <a:pt x="30" y="128"/>
                  </a:lnTo>
                  <a:lnTo>
                    <a:pt x="30" y="127"/>
                  </a:lnTo>
                  <a:lnTo>
                    <a:pt x="30" y="125"/>
                  </a:lnTo>
                  <a:lnTo>
                    <a:pt x="29" y="124"/>
                  </a:lnTo>
                  <a:lnTo>
                    <a:pt x="29" y="122"/>
                  </a:lnTo>
                  <a:lnTo>
                    <a:pt x="28" y="121"/>
                  </a:lnTo>
                  <a:lnTo>
                    <a:pt x="28" y="120"/>
                  </a:lnTo>
                  <a:lnTo>
                    <a:pt x="27" y="117"/>
                  </a:lnTo>
                  <a:lnTo>
                    <a:pt x="26" y="115"/>
                  </a:lnTo>
                  <a:lnTo>
                    <a:pt x="26" y="115"/>
                  </a:lnTo>
                  <a:lnTo>
                    <a:pt x="25" y="114"/>
                  </a:lnTo>
                  <a:lnTo>
                    <a:pt x="24" y="113"/>
                  </a:lnTo>
                  <a:lnTo>
                    <a:pt x="23" y="111"/>
                  </a:lnTo>
                  <a:lnTo>
                    <a:pt x="21" y="109"/>
                  </a:lnTo>
                  <a:lnTo>
                    <a:pt x="21" y="109"/>
                  </a:lnTo>
                  <a:lnTo>
                    <a:pt x="19" y="107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7" y="103"/>
                  </a:lnTo>
                  <a:lnTo>
                    <a:pt x="16" y="102"/>
                  </a:lnTo>
                  <a:lnTo>
                    <a:pt x="15" y="101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2" y="98"/>
                  </a:lnTo>
                  <a:lnTo>
                    <a:pt x="11" y="98"/>
                  </a:lnTo>
                  <a:lnTo>
                    <a:pt x="9" y="97"/>
                  </a:lnTo>
                  <a:lnTo>
                    <a:pt x="8" y="97"/>
                  </a:lnTo>
                  <a:lnTo>
                    <a:pt x="7" y="96"/>
                  </a:lnTo>
                  <a:lnTo>
                    <a:pt x="6" y="96"/>
                  </a:lnTo>
                  <a:lnTo>
                    <a:pt x="5" y="95"/>
                  </a:lnTo>
                  <a:lnTo>
                    <a:pt x="4" y="95"/>
                  </a:lnTo>
                  <a:lnTo>
                    <a:pt x="4" y="94"/>
                  </a:lnTo>
                  <a:lnTo>
                    <a:pt x="3" y="94"/>
                  </a:lnTo>
                  <a:lnTo>
                    <a:pt x="2" y="93"/>
                  </a:lnTo>
                  <a:lnTo>
                    <a:pt x="1" y="92"/>
                  </a:lnTo>
                  <a:lnTo>
                    <a:pt x="1" y="91"/>
                  </a:lnTo>
                  <a:lnTo>
                    <a:pt x="0" y="91"/>
                  </a:lnTo>
                  <a:lnTo>
                    <a:pt x="0" y="90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8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6"/>
                  </a:lnTo>
                  <a:lnTo>
                    <a:pt x="1" y="85"/>
                  </a:lnTo>
                  <a:lnTo>
                    <a:pt x="1" y="85"/>
                  </a:lnTo>
                  <a:lnTo>
                    <a:pt x="2" y="84"/>
                  </a:lnTo>
                  <a:lnTo>
                    <a:pt x="3" y="83"/>
                  </a:lnTo>
                  <a:lnTo>
                    <a:pt x="4" y="82"/>
                  </a:lnTo>
                  <a:lnTo>
                    <a:pt x="5" y="81"/>
                  </a:lnTo>
                  <a:lnTo>
                    <a:pt x="6" y="80"/>
                  </a:lnTo>
                  <a:lnTo>
                    <a:pt x="7" y="80"/>
                  </a:lnTo>
                  <a:lnTo>
                    <a:pt x="8" y="79"/>
                  </a:lnTo>
                  <a:lnTo>
                    <a:pt x="8" y="78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9" y="76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3"/>
                  </a:lnTo>
                  <a:lnTo>
                    <a:pt x="8" y="70"/>
                  </a:lnTo>
                  <a:lnTo>
                    <a:pt x="8" y="69"/>
                  </a:lnTo>
                  <a:lnTo>
                    <a:pt x="7" y="67"/>
                  </a:lnTo>
                  <a:lnTo>
                    <a:pt x="7" y="65"/>
                  </a:lnTo>
                  <a:lnTo>
                    <a:pt x="7" y="64"/>
                  </a:lnTo>
                  <a:lnTo>
                    <a:pt x="6" y="63"/>
                  </a:lnTo>
                  <a:lnTo>
                    <a:pt x="6" y="62"/>
                  </a:lnTo>
                  <a:lnTo>
                    <a:pt x="5" y="61"/>
                  </a:lnTo>
                  <a:lnTo>
                    <a:pt x="4" y="60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5" y="58"/>
                  </a:lnTo>
                  <a:lnTo>
                    <a:pt x="6" y="58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12" y="57"/>
                  </a:lnTo>
                  <a:lnTo>
                    <a:pt x="14" y="57"/>
                  </a:lnTo>
                  <a:lnTo>
                    <a:pt x="16" y="57"/>
                  </a:lnTo>
                  <a:lnTo>
                    <a:pt x="18" y="57"/>
                  </a:lnTo>
                  <a:lnTo>
                    <a:pt x="19" y="57"/>
                  </a:lnTo>
                  <a:lnTo>
                    <a:pt x="21" y="57"/>
                  </a:lnTo>
                  <a:lnTo>
                    <a:pt x="22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4" y="59"/>
                  </a:lnTo>
                  <a:lnTo>
                    <a:pt x="25" y="59"/>
                  </a:lnTo>
                  <a:lnTo>
                    <a:pt x="26" y="60"/>
                  </a:lnTo>
                  <a:lnTo>
                    <a:pt x="27" y="61"/>
                  </a:lnTo>
                  <a:lnTo>
                    <a:pt x="28" y="63"/>
                  </a:lnTo>
                  <a:lnTo>
                    <a:pt x="28" y="64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6"/>
                  </a:lnTo>
                  <a:lnTo>
                    <a:pt x="30" y="70"/>
                  </a:lnTo>
                  <a:lnTo>
                    <a:pt x="30" y="71"/>
                  </a:lnTo>
                  <a:lnTo>
                    <a:pt x="31" y="74"/>
                  </a:lnTo>
                  <a:lnTo>
                    <a:pt x="31" y="75"/>
                  </a:lnTo>
                  <a:lnTo>
                    <a:pt x="32" y="76"/>
                  </a:lnTo>
                  <a:lnTo>
                    <a:pt x="32" y="77"/>
                  </a:lnTo>
                  <a:lnTo>
                    <a:pt x="33" y="78"/>
                  </a:lnTo>
                  <a:lnTo>
                    <a:pt x="33" y="79"/>
                  </a:lnTo>
                  <a:lnTo>
                    <a:pt x="34" y="79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6" y="80"/>
                  </a:lnTo>
                  <a:lnTo>
                    <a:pt x="37" y="81"/>
                  </a:lnTo>
                  <a:lnTo>
                    <a:pt x="42" y="83"/>
                  </a:lnTo>
                  <a:lnTo>
                    <a:pt x="43" y="83"/>
                  </a:lnTo>
                  <a:lnTo>
                    <a:pt x="44" y="83"/>
                  </a:lnTo>
                  <a:lnTo>
                    <a:pt x="45" y="84"/>
                  </a:lnTo>
                  <a:lnTo>
                    <a:pt x="45" y="85"/>
                  </a:lnTo>
                  <a:lnTo>
                    <a:pt x="46" y="85"/>
                  </a:lnTo>
                  <a:lnTo>
                    <a:pt x="46" y="86"/>
                  </a:lnTo>
                  <a:lnTo>
                    <a:pt x="47" y="87"/>
                  </a:lnTo>
                  <a:lnTo>
                    <a:pt x="47" y="87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7" y="89"/>
                  </a:lnTo>
                  <a:lnTo>
                    <a:pt x="46" y="89"/>
                  </a:lnTo>
                  <a:lnTo>
                    <a:pt x="46" y="89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4" y="90"/>
                  </a:lnTo>
                  <a:lnTo>
                    <a:pt x="44" y="91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3"/>
                  </a:lnTo>
                  <a:lnTo>
                    <a:pt x="44" y="94"/>
                  </a:lnTo>
                  <a:lnTo>
                    <a:pt x="45" y="94"/>
                  </a:lnTo>
                  <a:lnTo>
                    <a:pt x="45" y="95"/>
                  </a:lnTo>
                  <a:lnTo>
                    <a:pt x="46" y="96"/>
                  </a:lnTo>
                  <a:lnTo>
                    <a:pt x="47" y="97"/>
                  </a:lnTo>
                  <a:lnTo>
                    <a:pt x="48" y="98"/>
                  </a:lnTo>
                  <a:lnTo>
                    <a:pt x="51" y="100"/>
                  </a:lnTo>
                  <a:lnTo>
                    <a:pt x="51" y="101"/>
                  </a:lnTo>
                  <a:lnTo>
                    <a:pt x="52" y="102"/>
                  </a:lnTo>
                  <a:lnTo>
                    <a:pt x="53" y="103"/>
                  </a:lnTo>
                  <a:lnTo>
                    <a:pt x="54" y="104"/>
                  </a:lnTo>
                  <a:lnTo>
                    <a:pt x="54" y="105"/>
                  </a:lnTo>
                  <a:lnTo>
                    <a:pt x="54" y="105"/>
                  </a:lnTo>
                  <a:lnTo>
                    <a:pt x="54" y="106"/>
                  </a:lnTo>
                  <a:lnTo>
                    <a:pt x="54" y="107"/>
                  </a:lnTo>
                  <a:lnTo>
                    <a:pt x="54" y="109"/>
                  </a:lnTo>
                  <a:lnTo>
                    <a:pt x="54" y="112"/>
                  </a:lnTo>
                  <a:lnTo>
                    <a:pt x="53" y="113"/>
                  </a:lnTo>
                  <a:lnTo>
                    <a:pt x="53" y="115"/>
                  </a:lnTo>
                  <a:lnTo>
                    <a:pt x="53" y="116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8"/>
                  </a:lnTo>
                  <a:lnTo>
                    <a:pt x="53" y="119"/>
                  </a:lnTo>
                  <a:lnTo>
                    <a:pt x="54" y="121"/>
                  </a:lnTo>
                  <a:lnTo>
                    <a:pt x="55" y="122"/>
                  </a:lnTo>
                  <a:lnTo>
                    <a:pt x="56" y="123"/>
                  </a:lnTo>
                  <a:lnTo>
                    <a:pt x="56" y="124"/>
                  </a:lnTo>
                  <a:lnTo>
                    <a:pt x="57" y="125"/>
                  </a:lnTo>
                  <a:lnTo>
                    <a:pt x="57" y="125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6"/>
                  </a:lnTo>
                  <a:lnTo>
                    <a:pt x="60" y="127"/>
                  </a:lnTo>
                  <a:lnTo>
                    <a:pt x="61" y="127"/>
                  </a:lnTo>
                  <a:lnTo>
                    <a:pt x="62" y="127"/>
                  </a:lnTo>
                  <a:lnTo>
                    <a:pt x="63" y="127"/>
                  </a:lnTo>
                  <a:lnTo>
                    <a:pt x="64" y="128"/>
                  </a:lnTo>
                  <a:lnTo>
                    <a:pt x="64" y="127"/>
                  </a:lnTo>
                  <a:lnTo>
                    <a:pt x="65" y="127"/>
                  </a:lnTo>
                  <a:lnTo>
                    <a:pt x="65" y="127"/>
                  </a:lnTo>
                  <a:lnTo>
                    <a:pt x="66" y="127"/>
                  </a:lnTo>
                  <a:lnTo>
                    <a:pt x="66" y="127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7" y="123"/>
                  </a:lnTo>
                  <a:lnTo>
                    <a:pt x="67" y="121"/>
                  </a:lnTo>
                  <a:lnTo>
                    <a:pt x="67" y="120"/>
                  </a:lnTo>
                  <a:lnTo>
                    <a:pt x="67" y="119"/>
                  </a:lnTo>
                  <a:lnTo>
                    <a:pt x="67" y="118"/>
                  </a:lnTo>
                  <a:lnTo>
                    <a:pt x="67" y="116"/>
                  </a:lnTo>
                  <a:lnTo>
                    <a:pt x="67" y="114"/>
                  </a:lnTo>
                  <a:lnTo>
                    <a:pt x="67" y="113"/>
                  </a:lnTo>
                  <a:lnTo>
                    <a:pt x="67" y="112"/>
                  </a:lnTo>
                  <a:lnTo>
                    <a:pt x="67" y="110"/>
                  </a:lnTo>
                  <a:lnTo>
                    <a:pt x="67" y="109"/>
                  </a:lnTo>
                  <a:lnTo>
                    <a:pt x="67" y="105"/>
                  </a:lnTo>
                  <a:lnTo>
                    <a:pt x="68" y="102"/>
                  </a:lnTo>
                  <a:lnTo>
                    <a:pt x="68" y="101"/>
                  </a:lnTo>
                  <a:lnTo>
                    <a:pt x="68" y="100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8"/>
                  </a:lnTo>
                  <a:lnTo>
                    <a:pt x="70" y="98"/>
                  </a:lnTo>
                  <a:lnTo>
                    <a:pt x="70" y="98"/>
                  </a:lnTo>
                  <a:lnTo>
                    <a:pt x="70" y="97"/>
                  </a:lnTo>
                  <a:lnTo>
                    <a:pt x="72" y="97"/>
                  </a:lnTo>
                  <a:lnTo>
                    <a:pt x="73" y="97"/>
                  </a:lnTo>
                  <a:lnTo>
                    <a:pt x="73" y="96"/>
                  </a:lnTo>
                  <a:lnTo>
                    <a:pt x="73" y="96"/>
                  </a:lnTo>
                  <a:lnTo>
                    <a:pt x="74" y="96"/>
                  </a:lnTo>
                  <a:lnTo>
                    <a:pt x="74" y="95"/>
                  </a:lnTo>
                  <a:lnTo>
                    <a:pt x="74" y="94"/>
                  </a:lnTo>
                  <a:lnTo>
                    <a:pt x="74" y="94"/>
                  </a:lnTo>
                  <a:lnTo>
                    <a:pt x="75" y="93"/>
                  </a:lnTo>
                  <a:lnTo>
                    <a:pt x="75" y="91"/>
                  </a:lnTo>
                  <a:lnTo>
                    <a:pt x="75" y="90"/>
                  </a:lnTo>
                  <a:lnTo>
                    <a:pt x="75" y="89"/>
                  </a:lnTo>
                  <a:lnTo>
                    <a:pt x="76" y="87"/>
                  </a:lnTo>
                  <a:lnTo>
                    <a:pt x="76" y="86"/>
                  </a:lnTo>
                  <a:lnTo>
                    <a:pt x="77" y="84"/>
                  </a:lnTo>
                  <a:lnTo>
                    <a:pt x="78" y="82"/>
                  </a:lnTo>
                  <a:lnTo>
                    <a:pt x="78" y="81"/>
                  </a:lnTo>
                  <a:lnTo>
                    <a:pt x="79" y="80"/>
                  </a:lnTo>
                  <a:lnTo>
                    <a:pt x="80" y="79"/>
                  </a:lnTo>
                  <a:lnTo>
                    <a:pt x="81" y="78"/>
                  </a:lnTo>
                  <a:lnTo>
                    <a:pt x="82" y="76"/>
                  </a:lnTo>
                  <a:lnTo>
                    <a:pt x="86" y="73"/>
                  </a:lnTo>
                  <a:lnTo>
                    <a:pt x="86" y="72"/>
                  </a:lnTo>
                  <a:lnTo>
                    <a:pt x="87" y="71"/>
                  </a:lnTo>
                  <a:lnTo>
                    <a:pt x="88" y="70"/>
                  </a:lnTo>
                  <a:lnTo>
                    <a:pt x="88" y="69"/>
                  </a:lnTo>
                  <a:lnTo>
                    <a:pt x="89" y="68"/>
                  </a:lnTo>
                  <a:lnTo>
                    <a:pt x="90" y="65"/>
                  </a:lnTo>
                  <a:lnTo>
                    <a:pt x="91" y="63"/>
                  </a:lnTo>
                  <a:lnTo>
                    <a:pt x="91" y="62"/>
                  </a:lnTo>
                  <a:lnTo>
                    <a:pt x="91" y="62"/>
                  </a:lnTo>
                  <a:lnTo>
                    <a:pt x="91" y="61"/>
                  </a:lnTo>
                  <a:lnTo>
                    <a:pt x="92" y="61"/>
                  </a:lnTo>
                  <a:lnTo>
                    <a:pt x="93" y="60"/>
                  </a:lnTo>
                  <a:lnTo>
                    <a:pt x="94" y="60"/>
                  </a:lnTo>
                  <a:lnTo>
                    <a:pt x="94" y="59"/>
                  </a:lnTo>
                  <a:lnTo>
                    <a:pt x="97" y="58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9" y="56"/>
                  </a:lnTo>
                  <a:lnTo>
                    <a:pt x="100" y="55"/>
                  </a:lnTo>
                  <a:lnTo>
                    <a:pt x="102" y="53"/>
                  </a:lnTo>
                  <a:lnTo>
                    <a:pt x="103" y="51"/>
                  </a:lnTo>
                  <a:lnTo>
                    <a:pt x="105" y="50"/>
                  </a:lnTo>
                  <a:lnTo>
                    <a:pt x="106" y="49"/>
                  </a:lnTo>
                  <a:lnTo>
                    <a:pt x="108" y="48"/>
                  </a:lnTo>
                  <a:lnTo>
                    <a:pt x="109" y="47"/>
                  </a:lnTo>
                  <a:lnTo>
                    <a:pt x="110" y="47"/>
                  </a:lnTo>
                  <a:lnTo>
                    <a:pt x="112" y="46"/>
                  </a:lnTo>
                  <a:lnTo>
                    <a:pt x="113" y="46"/>
                  </a:lnTo>
                  <a:lnTo>
                    <a:pt x="114" y="46"/>
                  </a:lnTo>
                  <a:lnTo>
                    <a:pt x="114" y="46"/>
                  </a:lnTo>
                  <a:lnTo>
                    <a:pt x="115" y="45"/>
                  </a:lnTo>
                  <a:lnTo>
                    <a:pt x="115" y="45"/>
                  </a:lnTo>
                  <a:lnTo>
                    <a:pt x="115" y="44"/>
                  </a:lnTo>
                  <a:lnTo>
                    <a:pt x="116" y="43"/>
                  </a:lnTo>
                  <a:lnTo>
                    <a:pt x="116" y="42"/>
                  </a:lnTo>
                  <a:lnTo>
                    <a:pt x="117" y="39"/>
                  </a:lnTo>
                  <a:lnTo>
                    <a:pt x="118" y="38"/>
                  </a:lnTo>
                  <a:lnTo>
                    <a:pt x="118" y="37"/>
                  </a:lnTo>
                  <a:lnTo>
                    <a:pt x="119" y="35"/>
                  </a:lnTo>
                  <a:lnTo>
                    <a:pt x="120" y="33"/>
                  </a:lnTo>
                  <a:lnTo>
                    <a:pt x="121" y="31"/>
                  </a:lnTo>
                  <a:lnTo>
                    <a:pt x="122" y="31"/>
                  </a:lnTo>
                  <a:lnTo>
                    <a:pt x="123" y="30"/>
                  </a:lnTo>
                  <a:lnTo>
                    <a:pt x="123" y="29"/>
                  </a:lnTo>
                  <a:lnTo>
                    <a:pt x="124" y="29"/>
                  </a:lnTo>
                  <a:lnTo>
                    <a:pt x="125" y="28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8" y="26"/>
                  </a:lnTo>
                  <a:lnTo>
                    <a:pt x="130" y="26"/>
                  </a:lnTo>
                  <a:lnTo>
                    <a:pt x="133" y="25"/>
                  </a:lnTo>
                  <a:lnTo>
                    <a:pt x="137" y="24"/>
                  </a:lnTo>
                  <a:lnTo>
                    <a:pt x="139" y="24"/>
                  </a:lnTo>
                  <a:lnTo>
                    <a:pt x="145" y="22"/>
                  </a:lnTo>
                  <a:lnTo>
                    <a:pt x="150" y="21"/>
                  </a:lnTo>
                  <a:lnTo>
                    <a:pt x="154" y="20"/>
                  </a:lnTo>
                  <a:lnTo>
                    <a:pt x="155" y="20"/>
                  </a:lnTo>
                  <a:lnTo>
                    <a:pt x="156" y="20"/>
                  </a:lnTo>
                  <a:lnTo>
                    <a:pt x="157" y="20"/>
                  </a:lnTo>
                  <a:lnTo>
                    <a:pt x="159" y="20"/>
                  </a:lnTo>
                  <a:lnTo>
                    <a:pt x="160" y="20"/>
                  </a:lnTo>
                  <a:lnTo>
                    <a:pt x="164" y="20"/>
                  </a:lnTo>
                  <a:lnTo>
                    <a:pt x="169" y="20"/>
                  </a:lnTo>
                  <a:lnTo>
                    <a:pt x="171" y="21"/>
                  </a:lnTo>
                  <a:lnTo>
                    <a:pt x="172" y="21"/>
                  </a:lnTo>
                  <a:lnTo>
                    <a:pt x="173" y="21"/>
                  </a:lnTo>
                  <a:lnTo>
                    <a:pt x="174" y="22"/>
                  </a:lnTo>
                  <a:lnTo>
                    <a:pt x="177" y="23"/>
                  </a:lnTo>
                  <a:lnTo>
                    <a:pt x="178" y="24"/>
                  </a:lnTo>
                  <a:lnTo>
                    <a:pt x="179" y="24"/>
                  </a:lnTo>
                  <a:lnTo>
                    <a:pt x="179" y="24"/>
                  </a:lnTo>
                  <a:lnTo>
                    <a:pt x="180" y="24"/>
                  </a:lnTo>
                  <a:lnTo>
                    <a:pt x="181" y="24"/>
                  </a:lnTo>
                  <a:lnTo>
                    <a:pt x="181" y="24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90" y="15"/>
                  </a:lnTo>
                  <a:lnTo>
                    <a:pt x="191" y="14"/>
                  </a:lnTo>
                  <a:lnTo>
                    <a:pt x="192" y="13"/>
                  </a:lnTo>
                  <a:lnTo>
                    <a:pt x="192" y="12"/>
                  </a:lnTo>
                  <a:lnTo>
                    <a:pt x="194" y="12"/>
                  </a:lnTo>
                  <a:lnTo>
                    <a:pt x="195" y="11"/>
                  </a:lnTo>
                  <a:lnTo>
                    <a:pt x="197" y="10"/>
                  </a:lnTo>
                  <a:lnTo>
                    <a:pt x="199" y="9"/>
                  </a:lnTo>
                  <a:lnTo>
                    <a:pt x="201" y="8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5" y="7"/>
                  </a:lnTo>
                  <a:lnTo>
                    <a:pt x="206" y="7"/>
                  </a:lnTo>
                  <a:lnTo>
                    <a:pt x="207" y="7"/>
                  </a:lnTo>
                  <a:lnTo>
                    <a:pt x="207" y="7"/>
                  </a:lnTo>
                  <a:lnTo>
                    <a:pt x="207" y="7"/>
                  </a:lnTo>
                  <a:lnTo>
                    <a:pt x="208" y="7"/>
                  </a:lnTo>
                  <a:lnTo>
                    <a:pt x="210" y="8"/>
                  </a:lnTo>
                  <a:lnTo>
                    <a:pt x="211" y="8"/>
                  </a:lnTo>
                  <a:lnTo>
                    <a:pt x="211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3" y="7"/>
                  </a:lnTo>
                  <a:lnTo>
                    <a:pt x="213" y="7"/>
                  </a:lnTo>
                  <a:lnTo>
                    <a:pt x="213" y="7"/>
                  </a:lnTo>
                  <a:lnTo>
                    <a:pt x="215" y="3"/>
                  </a:lnTo>
                  <a:lnTo>
                    <a:pt x="216" y="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CCCCCC"/>
            </a:solidFill>
            <a:ln w="63500">
              <a:solidFill>
                <a:srgbClr val="CCCCC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Freeform 18">
              <a:extLst>
                <a:ext uri="{FF2B5EF4-FFF2-40B4-BE49-F238E27FC236}">
                  <a16:creationId xmlns:a16="http://schemas.microsoft.com/office/drawing/2014/main" id="{89393697-C0A3-8EA4-E70A-B343AD7370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2866"/>
              <a:ext cx="504" cy="447"/>
            </a:xfrm>
            <a:custGeom>
              <a:avLst/>
              <a:gdLst>
                <a:gd name="T0" fmla="*/ 434 w 504"/>
                <a:gd name="T1" fmla="*/ 15 h 447"/>
                <a:gd name="T2" fmla="*/ 459 w 504"/>
                <a:gd name="T3" fmla="*/ 8 h 447"/>
                <a:gd name="T4" fmla="*/ 472 w 504"/>
                <a:gd name="T5" fmla="*/ 21 h 447"/>
                <a:gd name="T6" fmla="*/ 486 w 504"/>
                <a:gd name="T7" fmla="*/ 47 h 447"/>
                <a:gd name="T8" fmla="*/ 489 w 504"/>
                <a:gd name="T9" fmla="*/ 63 h 447"/>
                <a:gd name="T10" fmla="*/ 497 w 504"/>
                <a:gd name="T11" fmla="*/ 84 h 447"/>
                <a:gd name="T12" fmla="*/ 479 w 504"/>
                <a:gd name="T13" fmla="*/ 108 h 447"/>
                <a:gd name="T14" fmla="*/ 458 w 504"/>
                <a:gd name="T15" fmla="*/ 114 h 447"/>
                <a:gd name="T16" fmla="*/ 445 w 504"/>
                <a:gd name="T17" fmla="*/ 127 h 447"/>
                <a:gd name="T18" fmla="*/ 436 w 504"/>
                <a:gd name="T19" fmla="*/ 148 h 447"/>
                <a:gd name="T20" fmla="*/ 417 w 504"/>
                <a:gd name="T21" fmla="*/ 176 h 447"/>
                <a:gd name="T22" fmla="*/ 425 w 504"/>
                <a:gd name="T23" fmla="*/ 209 h 447"/>
                <a:gd name="T24" fmla="*/ 450 w 504"/>
                <a:gd name="T25" fmla="*/ 247 h 447"/>
                <a:gd name="T26" fmla="*/ 449 w 504"/>
                <a:gd name="T27" fmla="*/ 259 h 447"/>
                <a:gd name="T28" fmla="*/ 445 w 504"/>
                <a:gd name="T29" fmla="*/ 280 h 447"/>
                <a:gd name="T30" fmla="*/ 423 w 504"/>
                <a:gd name="T31" fmla="*/ 289 h 447"/>
                <a:gd name="T32" fmla="*/ 422 w 504"/>
                <a:gd name="T33" fmla="*/ 308 h 447"/>
                <a:gd name="T34" fmla="*/ 407 w 504"/>
                <a:gd name="T35" fmla="*/ 324 h 447"/>
                <a:gd name="T36" fmla="*/ 370 w 504"/>
                <a:gd name="T37" fmla="*/ 331 h 447"/>
                <a:gd name="T38" fmla="*/ 322 w 504"/>
                <a:gd name="T39" fmla="*/ 328 h 447"/>
                <a:gd name="T40" fmla="*/ 307 w 504"/>
                <a:gd name="T41" fmla="*/ 343 h 447"/>
                <a:gd name="T42" fmla="*/ 292 w 504"/>
                <a:gd name="T43" fmla="*/ 355 h 447"/>
                <a:gd name="T44" fmla="*/ 267 w 504"/>
                <a:gd name="T45" fmla="*/ 371 h 447"/>
                <a:gd name="T46" fmla="*/ 249 w 504"/>
                <a:gd name="T47" fmla="*/ 370 h 447"/>
                <a:gd name="T48" fmla="*/ 218 w 504"/>
                <a:gd name="T49" fmla="*/ 381 h 447"/>
                <a:gd name="T50" fmla="*/ 194 w 504"/>
                <a:gd name="T51" fmla="*/ 393 h 447"/>
                <a:gd name="T52" fmla="*/ 164 w 504"/>
                <a:gd name="T53" fmla="*/ 405 h 447"/>
                <a:gd name="T54" fmla="*/ 155 w 504"/>
                <a:gd name="T55" fmla="*/ 424 h 447"/>
                <a:gd name="T56" fmla="*/ 137 w 504"/>
                <a:gd name="T57" fmla="*/ 437 h 447"/>
                <a:gd name="T58" fmla="*/ 122 w 504"/>
                <a:gd name="T59" fmla="*/ 446 h 447"/>
                <a:gd name="T60" fmla="*/ 109 w 504"/>
                <a:gd name="T61" fmla="*/ 440 h 447"/>
                <a:gd name="T62" fmla="*/ 101 w 504"/>
                <a:gd name="T63" fmla="*/ 437 h 447"/>
                <a:gd name="T64" fmla="*/ 83 w 504"/>
                <a:gd name="T65" fmla="*/ 421 h 447"/>
                <a:gd name="T66" fmla="*/ 95 w 504"/>
                <a:gd name="T67" fmla="*/ 416 h 447"/>
                <a:gd name="T68" fmla="*/ 87 w 504"/>
                <a:gd name="T69" fmla="*/ 386 h 447"/>
                <a:gd name="T70" fmla="*/ 82 w 504"/>
                <a:gd name="T71" fmla="*/ 365 h 447"/>
                <a:gd name="T72" fmla="*/ 83 w 504"/>
                <a:gd name="T73" fmla="*/ 331 h 447"/>
                <a:gd name="T74" fmla="*/ 65 w 504"/>
                <a:gd name="T75" fmla="*/ 318 h 447"/>
                <a:gd name="T76" fmla="*/ 45 w 504"/>
                <a:gd name="T77" fmla="*/ 315 h 447"/>
                <a:gd name="T78" fmla="*/ 25 w 504"/>
                <a:gd name="T79" fmla="*/ 301 h 447"/>
                <a:gd name="T80" fmla="*/ 8 w 504"/>
                <a:gd name="T81" fmla="*/ 287 h 447"/>
                <a:gd name="T82" fmla="*/ 26 w 504"/>
                <a:gd name="T83" fmla="*/ 249 h 447"/>
                <a:gd name="T84" fmla="*/ 54 w 504"/>
                <a:gd name="T85" fmla="*/ 245 h 447"/>
                <a:gd name="T86" fmla="*/ 78 w 504"/>
                <a:gd name="T87" fmla="*/ 240 h 447"/>
                <a:gd name="T88" fmla="*/ 94 w 504"/>
                <a:gd name="T89" fmla="*/ 210 h 447"/>
                <a:gd name="T90" fmla="*/ 111 w 504"/>
                <a:gd name="T91" fmla="*/ 211 h 447"/>
                <a:gd name="T92" fmla="*/ 129 w 504"/>
                <a:gd name="T93" fmla="*/ 186 h 447"/>
                <a:gd name="T94" fmla="*/ 151 w 504"/>
                <a:gd name="T95" fmla="*/ 203 h 447"/>
                <a:gd name="T96" fmla="*/ 171 w 504"/>
                <a:gd name="T97" fmla="*/ 182 h 447"/>
                <a:gd name="T98" fmla="*/ 178 w 504"/>
                <a:gd name="T99" fmla="*/ 158 h 447"/>
                <a:gd name="T100" fmla="*/ 209 w 504"/>
                <a:gd name="T101" fmla="*/ 149 h 447"/>
                <a:gd name="T102" fmla="*/ 232 w 504"/>
                <a:gd name="T103" fmla="*/ 149 h 447"/>
                <a:gd name="T104" fmla="*/ 270 w 504"/>
                <a:gd name="T105" fmla="*/ 148 h 447"/>
                <a:gd name="T106" fmla="*/ 283 w 504"/>
                <a:gd name="T107" fmla="*/ 126 h 447"/>
                <a:gd name="T108" fmla="*/ 308 w 504"/>
                <a:gd name="T109" fmla="*/ 110 h 447"/>
                <a:gd name="T110" fmla="*/ 345 w 504"/>
                <a:gd name="T111" fmla="*/ 104 h 447"/>
                <a:gd name="T112" fmla="*/ 388 w 504"/>
                <a:gd name="T113" fmla="*/ 77 h 447"/>
                <a:gd name="T114" fmla="*/ 423 w 504"/>
                <a:gd name="T115" fmla="*/ 72 h 447"/>
                <a:gd name="T116" fmla="*/ 426 w 504"/>
                <a:gd name="T117" fmla="*/ 54 h 447"/>
                <a:gd name="T118" fmla="*/ 408 w 504"/>
                <a:gd name="T119" fmla="*/ 37 h 447"/>
                <a:gd name="T120" fmla="*/ 393 w 504"/>
                <a:gd name="T121" fmla="*/ 30 h 447"/>
                <a:gd name="T122" fmla="*/ 402 w 504"/>
                <a:gd name="T123" fmla="*/ 1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4" h="447">
                  <a:moveTo>
                    <a:pt x="404" y="0"/>
                  </a:moveTo>
                  <a:lnTo>
                    <a:pt x="405" y="0"/>
                  </a:lnTo>
                  <a:lnTo>
                    <a:pt x="405" y="0"/>
                  </a:lnTo>
                  <a:lnTo>
                    <a:pt x="406" y="1"/>
                  </a:lnTo>
                  <a:lnTo>
                    <a:pt x="410" y="3"/>
                  </a:lnTo>
                  <a:lnTo>
                    <a:pt x="411" y="4"/>
                  </a:lnTo>
                  <a:lnTo>
                    <a:pt x="413" y="5"/>
                  </a:lnTo>
                  <a:lnTo>
                    <a:pt x="414" y="5"/>
                  </a:lnTo>
                  <a:lnTo>
                    <a:pt x="415" y="5"/>
                  </a:lnTo>
                  <a:lnTo>
                    <a:pt x="419" y="6"/>
                  </a:lnTo>
                  <a:lnTo>
                    <a:pt x="420" y="6"/>
                  </a:lnTo>
                  <a:lnTo>
                    <a:pt x="421" y="7"/>
                  </a:lnTo>
                  <a:lnTo>
                    <a:pt x="422" y="7"/>
                  </a:lnTo>
                  <a:lnTo>
                    <a:pt x="423" y="8"/>
                  </a:lnTo>
                  <a:lnTo>
                    <a:pt x="425" y="9"/>
                  </a:lnTo>
                  <a:lnTo>
                    <a:pt x="426" y="10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0" y="13"/>
                  </a:lnTo>
                  <a:lnTo>
                    <a:pt x="431" y="14"/>
                  </a:lnTo>
                  <a:lnTo>
                    <a:pt x="432" y="14"/>
                  </a:lnTo>
                  <a:lnTo>
                    <a:pt x="433" y="15"/>
                  </a:lnTo>
                  <a:lnTo>
                    <a:pt x="434" y="15"/>
                  </a:lnTo>
                  <a:lnTo>
                    <a:pt x="435" y="15"/>
                  </a:lnTo>
                  <a:lnTo>
                    <a:pt x="436" y="15"/>
                  </a:lnTo>
                  <a:lnTo>
                    <a:pt x="437" y="15"/>
                  </a:lnTo>
                  <a:lnTo>
                    <a:pt x="438" y="14"/>
                  </a:lnTo>
                  <a:lnTo>
                    <a:pt x="439" y="14"/>
                  </a:lnTo>
                  <a:lnTo>
                    <a:pt x="440" y="14"/>
                  </a:lnTo>
                  <a:lnTo>
                    <a:pt x="444" y="12"/>
                  </a:lnTo>
                  <a:lnTo>
                    <a:pt x="445" y="12"/>
                  </a:lnTo>
                  <a:lnTo>
                    <a:pt x="447" y="11"/>
                  </a:lnTo>
                  <a:lnTo>
                    <a:pt x="448" y="11"/>
                  </a:lnTo>
                  <a:lnTo>
                    <a:pt x="449" y="11"/>
                  </a:lnTo>
                  <a:lnTo>
                    <a:pt x="450" y="11"/>
                  </a:lnTo>
                  <a:lnTo>
                    <a:pt x="451" y="11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5" y="12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8" y="10"/>
                  </a:lnTo>
                  <a:lnTo>
                    <a:pt x="459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2" y="9"/>
                  </a:lnTo>
                  <a:lnTo>
                    <a:pt x="462" y="9"/>
                  </a:lnTo>
                  <a:lnTo>
                    <a:pt x="462" y="11"/>
                  </a:lnTo>
                  <a:lnTo>
                    <a:pt x="462" y="12"/>
                  </a:lnTo>
                  <a:lnTo>
                    <a:pt x="462" y="12"/>
                  </a:lnTo>
                  <a:lnTo>
                    <a:pt x="463" y="13"/>
                  </a:lnTo>
                  <a:lnTo>
                    <a:pt x="463" y="14"/>
                  </a:lnTo>
                  <a:lnTo>
                    <a:pt x="464" y="14"/>
                  </a:lnTo>
                  <a:lnTo>
                    <a:pt x="464" y="15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9" y="18"/>
                  </a:lnTo>
                  <a:lnTo>
                    <a:pt x="470" y="19"/>
                  </a:lnTo>
                  <a:lnTo>
                    <a:pt x="471" y="21"/>
                  </a:lnTo>
                  <a:lnTo>
                    <a:pt x="472" y="21"/>
                  </a:lnTo>
                  <a:lnTo>
                    <a:pt x="473" y="22"/>
                  </a:lnTo>
                  <a:lnTo>
                    <a:pt x="474" y="22"/>
                  </a:lnTo>
                  <a:lnTo>
                    <a:pt x="475" y="22"/>
                  </a:lnTo>
                  <a:lnTo>
                    <a:pt x="478" y="23"/>
                  </a:lnTo>
                  <a:lnTo>
                    <a:pt x="478" y="23"/>
                  </a:lnTo>
                  <a:lnTo>
                    <a:pt x="479" y="24"/>
                  </a:lnTo>
                  <a:lnTo>
                    <a:pt x="480" y="24"/>
                  </a:lnTo>
                  <a:lnTo>
                    <a:pt x="481" y="25"/>
                  </a:lnTo>
                  <a:lnTo>
                    <a:pt x="482" y="26"/>
                  </a:lnTo>
                  <a:lnTo>
                    <a:pt x="483" y="26"/>
                  </a:lnTo>
                  <a:lnTo>
                    <a:pt x="484" y="28"/>
                  </a:lnTo>
                  <a:lnTo>
                    <a:pt x="486" y="30"/>
                  </a:lnTo>
                  <a:lnTo>
                    <a:pt x="487" y="31"/>
                  </a:lnTo>
                  <a:lnTo>
                    <a:pt x="487" y="32"/>
                  </a:lnTo>
                  <a:lnTo>
                    <a:pt x="488" y="34"/>
                  </a:lnTo>
                  <a:lnTo>
                    <a:pt x="488" y="35"/>
                  </a:lnTo>
                  <a:lnTo>
                    <a:pt x="488" y="36"/>
                  </a:lnTo>
                  <a:lnTo>
                    <a:pt x="488" y="38"/>
                  </a:lnTo>
                  <a:lnTo>
                    <a:pt x="488" y="39"/>
                  </a:lnTo>
                  <a:lnTo>
                    <a:pt x="488" y="41"/>
                  </a:lnTo>
                  <a:lnTo>
                    <a:pt x="487" y="43"/>
                  </a:lnTo>
                  <a:lnTo>
                    <a:pt x="487" y="45"/>
                  </a:lnTo>
                  <a:lnTo>
                    <a:pt x="486" y="47"/>
                  </a:lnTo>
                  <a:lnTo>
                    <a:pt x="485" y="50"/>
                  </a:lnTo>
                  <a:lnTo>
                    <a:pt x="484" y="51"/>
                  </a:lnTo>
                  <a:lnTo>
                    <a:pt x="482" y="55"/>
                  </a:lnTo>
                  <a:lnTo>
                    <a:pt x="482" y="56"/>
                  </a:lnTo>
                  <a:lnTo>
                    <a:pt x="481" y="57"/>
                  </a:lnTo>
                  <a:lnTo>
                    <a:pt x="481" y="57"/>
                  </a:lnTo>
                  <a:lnTo>
                    <a:pt x="481" y="59"/>
                  </a:lnTo>
                  <a:lnTo>
                    <a:pt x="481" y="59"/>
                  </a:lnTo>
                  <a:lnTo>
                    <a:pt x="481" y="60"/>
                  </a:lnTo>
                  <a:lnTo>
                    <a:pt x="481" y="60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4" y="63"/>
                  </a:lnTo>
                  <a:lnTo>
                    <a:pt x="485" y="64"/>
                  </a:lnTo>
                  <a:lnTo>
                    <a:pt x="485" y="64"/>
                  </a:lnTo>
                  <a:lnTo>
                    <a:pt x="486" y="64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2"/>
                  </a:lnTo>
                  <a:lnTo>
                    <a:pt x="495" y="61"/>
                  </a:lnTo>
                  <a:lnTo>
                    <a:pt x="497" y="61"/>
                  </a:lnTo>
                  <a:lnTo>
                    <a:pt x="498" y="60"/>
                  </a:lnTo>
                  <a:lnTo>
                    <a:pt x="499" y="60"/>
                  </a:lnTo>
                  <a:lnTo>
                    <a:pt x="500" y="60"/>
                  </a:lnTo>
                  <a:lnTo>
                    <a:pt x="501" y="60"/>
                  </a:lnTo>
                  <a:lnTo>
                    <a:pt x="501" y="60"/>
                  </a:lnTo>
                  <a:lnTo>
                    <a:pt x="502" y="60"/>
                  </a:lnTo>
                  <a:lnTo>
                    <a:pt x="502" y="61"/>
                  </a:lnTo>
                  <a:lnTo>
                    <a:pt x="503" y="61"/>
                  </a:lnTo>
                  <a:lnTo>
                    <a:pt x="503" y="62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4"/>
                  </a:lnTo>
                  <a:lnTo>
                    <a:pt x="504" y="65"/>
                  </a:lnTo>
                  <a:lnTo>
                    <a:pt x="504" y="66"/>
                  </a:lnTo>
                  <a:lnTo>
                    <a:pt x="504" y="68"/>
                  </a:lnTo>
                  <a:lnTo>
                    <a:pt x="504" y="69"/>
                  </a:lnTo>
                  <a:lnTo>
                    <a:pt x="503" y="70"/>
                  </a:lnTo>
                  <a:lnTo>
                    <a:pt x="502" y="73"/>
                  </a:lnTo>
                  <a:lnTo>
                    <a:pt x="501" y="75"/>
                  </a:lnTo>
                  <a:lnTo>
                    <a:pt x="497" y="84"/>
                  </a:lnTo>
                  <a:lnTo>
                    <a:pt x="495" y="90"/>
                  </a:lnTo>
                  <a:lnTo>
                    <a:pt x="495" y="91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4" y="93"/>
                  </a:lnTo>
                  <a:lnTo>
                    <a:pt x="494" y="93"/>
                  </a:lnTo>
                  <a:lnTo>
                    <a:pt x="493" y="95"/>
                  </a:lnTo>
                  <a:lnTo>
                    <a:pt x="491" y="96"/>
                  </a:lnTo>
                  <a:lnTo>
                    <a:pt x="490" y="97"/>
                  </a:lnTo>
                  <a:lnTo>
                    <a:pt x="489" y="98"/>
                  </a:lnTo>
                  <a:lnTo>
                    <a:pt x="487" y="99"/>
                  </a:lnTo>
                  <a:lnTo>
                    <a:pt x="485" y="100"/>
                  </a:lnTo>
                  <a:lnTo>
                    <a:pt x="484" y="101"/>
                  </a:lnTo>
                  <a:lnTo>
                    <a:pt x="482" y="102"/>
                  </a:lnTo>
                  <a:lnTo>
                    <a:pt x="482" y="102"/>
                  </a:lnTo>
                  <a:lnTo>
                    <a:pt x="482" y="103"/>
                  </a:lnTo>
                  <a:lnTo>
                    <a:pt x="481" y="104"/>
                  </a:lnTo>
                  <a:lnTo>
                    <a:pt x="481" y="104"/>
                  </a:lnTo>
                  <a:lnTo>
                    <a:pt x="480" y="105"/>
                  </a:lnTo>
                  <a:lnTo>
                    <a:pt x="480" y="107"/>
                  </a:lnTo>
                  <a:lnTo>
                    <a:pt x="479" y="108"/>
                  </a:lnTo>
                  <a:lnTo>
                    <a:pt x="478" y="114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6" y="116"/>
                  </a:lnTo>
                  <a:lnTo>
                    <a:pt x="476" y="117"/>
                  </a:lnTo>
                  <a:lnTo>
                    <a:pt x="476" y="117"/>
                  </a:lnTo>
                  <a:lnTo>
                    <a:pt x="475" y="118"/>
                  </a:lnTo>
                  <a:lnTo>
                    <a:pt x="475" y="118"/>
                  </a:lnTo>
                  <a:lnTo>
                    <a:pt x="474" y="118"/>
                  </a:lnTo>
                  <a:lnTo>
                    <a:pt x="474" y="119"/>
                  </a:lnTo>
                  <a:lnTo>
                    <a:pt x="473" y="119"/>
                  </a:lnTo>
                  <a:lnTo>
                    <a:pt x="472" y="119"/>
                  </a:lnTo>
                  <a:lnTo>
                    <a:pt x="471" y="119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69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6" y="118"/>
                  </a:lnTo>
                  <a:lnTo>
                    <a:pt x="464" y="118"/>
                  </a:lnTo>
                  <a:lnTo>
                    <a:pt x="463" y="117"/>
                  </a:lnTo>
                  <a:lnTo>
                    <a:pt x="460" y="115"/>
                  </a:lnTo>
                  <a:lnTo>
                    <a:pt x="458" y="114"/>
                  </a:lnTo>
                  <a:lnTo>
                    <a:pt x="457" y="114"/>
                  </a:lnTo>
                  <a:lnTo>
                    <a:pt x="455" y="113"/>
                  </a:lnTo>
                  <a:lnTo>
                    <a:pt x="454" y="112"/>
                  </a:lnTo>
                  <a:lnTo>
                    <a:pt x="453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1" y="112"/>
                  </a:lnTo>
                  <a:lnTo>
                    <a:pt x="450" y="112"/>
                  </a:lnTo>
                  <a:lnTo>
                    <a:pt x="448" y="113"/>
                  </a:lnTo>
                  <a:lnTo>
                    <a:pt x="447" y="113"/>
                  </a:lnTo>
                  <a:lnTo>
                    <a:pt x="447" y="113"/>
                  </a:lnTo>
                  <a:lnTo>
                    <a:pt x="446" y="113"/>
                  </a:lnTo>
                  <a:lnTo>
                    <a:pt x="446" y="113"/>
                  </a:lnTo>
                  <a:lnTo>
                    <a:pt x="446" y="114"/>
                  </a:lnTo>
                  <a:lnTo>
                    <a:pt x="446" y="114"/>
                  </a:lnTo>
                  <a:lnTo>
                    <a:pt x="446" y="115"/>
                  </a:lnTo>
                  <a:lnTo>
                    <a:pt x="446" y="116"/>
                  </a:lnTo>
                  <a:lnTo>
                    <a:pt x="446" y="119"/>
                  </a:lnTo>
                  <a:lnTo>
                    <a:pt x="446" y="121"/>
                  </a:lnTo>
                  <a:lnTo>
                    <a:pt x="446" y="122"/>
                  </a:lnTo>
                  <a:lnTo>
                    <a:pt x="446" y="123"/>
                  </a:lnTo>
                  <a:lnTo>
                    <a:pt x="446" y="126"/>
                  </a:lnTo>
                  <a:lnTo>
                    <a:pt x="445" y="127"/>
                  </a:lnTo>
                  <a:lnTo>
                    <a:pt x="445" y="128"/>
                  </a:lnTo>
                  <a:lnTo>
                    <a:pt x="445" y="128"/>
                  </a:lnTo>
                  <a:lnTo>
                    <a:pt x="444" y="129"/>
                  </a:lnTo>
                  <a:lnTo>
                    <a:pt x="444" y="130"/>
                  </a:lnTo>
                  <a:lnTo>
                    <a:pt x="442" y="132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0" y="134"/>
                  </a:lnTo>
                  <a:lnTo>
                    <a:pt x="440" y="135"/>
                  </a:lnTo>
                  <a:lnTo>
                    <a:pt x="439" y="136"/>
                  </a:lnTo>
                  <a:lnTo>
                    <a:pt x="439" y="137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7" y="141"/>
                  </a:lnTo>
                  <a:lnTo>
                    <a:pt x="437" y="142"/>
                  </a:lnTo>
                  <a:lnTo>
                    <a:pt x="437" y="143"/>
                  </a:lnTo>
                  <a:lnTo>
                    <a:pt x="437" y="144"/>
                  </a:lnTo>
                  <a:lnTo>
                    <a:pt x="437" y="146"/>
                  </a:lnTo>
                  <a:lnTo>
                    <a:pt x="437" y="146"/>
                  </a:lnTo>
                  <a:lnTo>
                    <a:pt x="437" y="147"/>
                  </a:lnTo>
                  <a:lnTo>
                    <a:pt x="436" y="147"/>
                  </a:lnTo>
                  <a:lnTo>
                    <a:pt x="436" y="147"/>
                  </a:lnTo>
                  <a:lnTo>
                    <a:pt x="436" y="148"/>
                  </a:lnTo>
                  <a:lnTo>
                    <a:pt x="435" y="148"/>
                  </a:lnTo>
                  <a:lnTo>
                    <a:pt x="434" y="149"/>
                  </a:lnTo>
                  <a:lnTo>
                    <a:pt x="433" y="149"/>
                  </a:lnTo>
                  <a:lnTo>
                    <a:pt x="433" y="149"/>
                  </a:lnTo>
                  <a:lnTo>
                    <a:pt x="430" y="152"/>
                  </a:lnTo>
                  <a:lnTo>
                    <a:pt x="427" y="154"/>
                  </a:lnTo>
                  <a:lnTo>
                    <a:pt x="426" y="155"/>
                  </a:lnTo>
                  <a:lnTo>
                    <a:pt x="425" y="156"/>
                  </a:lnTo>
                  <a:lnTo>
                    <a:pt x="425" y="156"/>
                  </a:lnTo>
                  <a:lnTo>
                    <a:pt x="424" y="157"/>
                  </a:lnTo>
                  <a:lnTo>
                    <a:pt x="424" y="158"/>
                  </a:lnTo>
                  <a:lnTo>
                    <a:pt x="423" y="159"/>
                  </a:lnTo>
                  <a:lnTo>
                    <a:pt x="423" y="160"/>
                  </a:lnTo>
                  <a:lnTo>
                    <a:pt x="422" y="162"/>
                  </a:lnTo>
                  <a:lnTo>
                    <a:pt x="422" y="163"/>
                  </a:lnTo>
                  <a:lnTo>
                    <a:pt x="422" y="164"/>
                  </a:lnTo>
                  <a:lnTo>
                    <a:pt x="421" y="167"/>
                  </a:lnTo>
                  <a:lnTo>
                    <a:pt x="421" y="168"/>
                  </a:lnTo>
                  <a:lnTo>
                    <a:pt x="421" y="169"/>
                  </a:lnTo>
                  <a:lnTo>
                    <a:pt x="420" y="170"/>
                  </a:lnTo>
                  <a:lnTo>
                    <a:pt x="420" y="171"/>
                  </a:lnTo>
                  <a:lnTo>
                    <a:pt x="418" y="174"/>
                  </a:lnTo>
                  <a:lnTo>
                    <a:pt x="417" y="176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8"/>
                  </a:lnTo>
                  <a:lnTo>
                    <a:pt x="415" y="178"/>
                  </a:lnTo>
                  <a:lnTo>
                    <a:pt x="415" y="179"/>
                  </a:lnTo>
                  <a:lnTo>
                    <a:pt x="415" y="180"/>
                  </a:lnTo>
                  <a:lnTo>
                    <a:pt x="415" y="181"/>
                  </a:lnTo>
                  <a:lnTo>
                    <a:pt x="415" y="182"/>
                  </a:lnTo>
                  <a:lnTo>
                    <a:pt x="416" y="182"/>
                  </a:lnTo>
                  <a:lnTo>
                    <a:pt x="416" y="183"/>
                  </a:lnTo>
                  <a:lnTo>
                    <a:pt x="417" y="185"/>
                  </a:lnTo>
                  <a:lnTo>
                    <a:pt x="417" y="186"/>
                  </a:lnTo>
                  <a:lnTo>
                    <a:pt x="418" y="187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19" y="193"/>
                  </a:lnTo>
                  <a:lnTo>
                    <a:pt x="419" y="196"/>
                  </a:lnTo>
                  <a:lnTo>
                    <a:pt x="420" y="196"/>
                  </a:lnTo>
                  <a:lnTo>
                    <a:pt x="420" y="198"/>
                  </a:lnTo>
                  <a:lnTo>
                    <a:pt x="421" y="199"/>
                  </a:lnTo>
                  <a:lnTo>
                    <a:pt x="422" y="201"/>
                  </a:lnTo>
                  <a:lnTo>
                    <a:pt x="423" y="205"/>
                  </a:lnTo>
                  <a:lnTo>
                    <a:pt x="425" y="209"/>
                  </a:lnTo>
                  <a:lnTo>
                    <a:pt x="426" y="210"/>
                  </a:lnTo>
                  <a:lnTo>
                    <a:pt x="427" y="211"/>
                  </a:lnTo>
                  <a:lnTo>
                    <a:pt x="428" y="213"/>
                  </a:lnTo>
                  <a:lnTo>
                    <a:pt x="428" y="214"/>
                  </a:lnTo>
                  <a:lnTo>
                    <a:pt x="430" y="216"/>
                  </a:lnTo>
                  <a:lnTo>
                    <a:pt x="430" y="217"/>
                  </a:lnTo>
                  <a:lnTo>
                    <a:pt x="431" y="218"/>
                  </a:lnTo>
                  <a:lnTo>
                    <a:pt x="432" y="220"/>
                  </a:lnTo>
                  <a:lnTo>
                    <a:pt x="433" y="222"/>
                  </a:lnTo>
                  <a:lnTo>
                    <a:pt x="433" y="223"/>
                  </a:lnTo>
                  <a:lnTo>
                    <a:pt x="436" y="230"/>
                  </a:lnTo>
                  <a:lnTo>
                    <a:pt x="436" y="230"/>
                  </a:lnTo>
                  <a:lnTo>
                    <a:pt x="437" y="231"/>
                  </a:lnTo>
                  <a:lnTo>
                    <a:pt x="439" y="236"/>
                  </a:lnTo>
                  <a:lnTo>
                    <a:pt x="441" y="240"/>
                  </a:lnTo>
                  <a:lnTo>
                    <a:pt x="442" y="240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44" y="243"/>
                  </a:lnTo>
                  <a:lnTo>
                    <a:pt x="445" y="243"/>
                  </a:lnTo>
                  <a:lnTo>
                    <a:pt x="447" y="245"/>
                  </a:lnTo>
                  <a:lnTo>
                    <a:pt x="448" y="246"/>
                  </a:lnTo>
                  <a:lnTo>
                    <a:pt x="450" y="247"/>
                  </a:lnTo>
                  <a:lnTo>
                    <a:pt x="451" y="248"/>
                  </a:lnTo>
                  <a:lnTo>
                    <a:pt x="451" y="249"/>
                  </a:lnTo>
                  <a:lnTo>
                    <a:pt x="452" y="249"/>
                  </a:lnTo>
                  <a:lnTo>
                    <a:pt x="453" y="250"/>
                  </a:lnTo>
                  <a:lnTo>
                    <a:pt x="453" y="251"/>
                  </a:lnTo>
                  <a:lnTo>
                    <a:pt x="454" y="252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5"/>
                  </a:lnTo>
                  <a:lnTo>
                    <a:pt x="455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3" y="254"/>
                  </a:lnTo>
                  <a:lnTo>
                    <a:pt x="453" y="255"/>
                  </a:lnTo>
                  <a:lnTo>
                    <a:pt x="452" y="255"/>
                  </a:lnTo>
                  <a:lnTo>
                    <a:pt x="452" y="256"/>
                  </a:lnTo>
                  <a:lnTo>
                    <a:pt x="451" y="256"/>
                  </a:lnTo>
                  <a:lnTo>
                    <a:pt x="450" y="257"/>
                  </a:lnTo>
                  <a:lnTo>
                    <a:pt x="450" y="258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60"/>
                  </a:lnTo>
                  <a:lnTo>
                    <a:pt x="449" y="260"/>
                  </a:lnTo>
                  <a:lnTo>
                    <a:pt x="449" y="261"/>
                  </a:lnTo>
                  <a:lnTo>
                    <a:pt x="449" y="262"/>
                  </a:lnTo>
                  <a:lnTo>
                    <a:pt x="449" y="262"/>
                  </a:lnTo>
                  <a:lnTo>
                    <a:pt x="449" y="264"/>
                  </a:lnTo>
                  <a:lnTo>
                    <a:pt x="450" y="267"/>
                  </a:lnTo>
                  <a:lnTo>
                    <a:pt x="450" y="269"/>
                  </a:lnTo>
                  <a:lnTo>
                    <a:pt x="450" y="270"/>
                  </a:lnTo>
                  <a:lnTo>
                    <a:pt x="450" y="273"/>
                  </a:lnTo>
                  <a:lnTo>
                    <a:pt x="450" y="274"/>
                  </a:lnTo>
                  <a:lnTo>
                    <a:pt x="450" y="275"/>
                  </a:lnTo>
                  <a:lnTo>
                    <a:pt x="450" y="275"/>
                  </a:lnTo>
                  <a:lnTo>
                    <a:pt x="450" y="276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7" y="279"/>
                  </a:lnTo>
                  <a:lnTo>
                    <a:pt x="445" y="280"/>
                  </a:lnTo>
                  <a:lnTo>
                    <a:pt x="442" y="281"/>
                  </a:lnTo>
                  <a:lnTo>
                    <a:pt x="439" y="281"/>
                  </a:lnTo>
                  <a:lnTo>
                    <a:pt x="438" y="282"/>
                  </a:lnTo>
                  <a:lnTo>
                    <a:pt x="438" y="282"/>
                  </a:lnTo>
                  <a:lnTo>
                    <a:pt x="437" y="282"/>
                  </a:lnTo>
                  <a:lnTo>
                    <a:pt x="437" y="283"/>
                  </a:lnTo>
                  <a:lnTo>
                    <a:pt x="436" y="286"/>
                  </a:lnTo>
                  <a:lnTo>
                    <a:pt x="434" y="288"/>
                  </a:lnTo>
                  <a:lnTo>
                    <a:pt x="434" y="289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2" y="291"/>
                  </a:lnTo>
                  <a:lnTo>
                    <a:pt x="431" y="291"/>
                  </a:lnTo>
                  <a:lnTo>
                    <a:pt x="430" y="291"/>
                  </a:lnTo>
                  <a:lnTo>
                    <a:pt x="429" y="291"/>
                  </a:lnTo>
                  <a:lnTo>
                    <a:pt x="428" y="291"/>
                  </a:lnTo>
                  <a:lnTo>
                    <a:pt x="424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2" y="289"/>
                  </a:lnTo>
                  <a:lnTo>
                    <a:pt x="422" y="289"/>
                  </a:lnTo>
                  <a:lnTo>
                    <a:pt x="421" y="289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1"/>
                  </a:lnTo>
                  <a:lnTo>
                    <a:pt x="420" y="292"/>
                  </a:lnTo>
                  <a:lnTo>
                    <a:pt x="420" y="294"/>
                  </a:lnTo>
                  <a:lnTo>
                    <a:pt x="420" y="296"/>
                  </a:lnTo>
                  <a:lnTo>
                    <a:pt x="420" y="297"/>
                  </a:lnTo>
                  <a:lnTo>
                    <a:pt x="420" y="298"/>
                  </a:lnTo>
                  <a:lnTo>
                    <a:pt x="420" y="299"/>
                  </a:lnTo>
                  <a:lnTo>
                    <a:pt x="420" y="300"/>
                  </a:lnTo>
                  <a:lnTo>
                    <a:pt x="420" y="301"/>
                  </a:lnTo>
                  <a:lnTo>
                    <a:pt x="421" y="302"/>
                  </a:lnTo>
                  <a:lnTo>
                    <a:pt x="421" y="305"/>
                  </a:lnTo>
                  <a:lnTo>
                    <a:pt x="422" y="306"/>
                  </a:lnTo>
                  <a:lnTo>
                    <a:pt x="422" y="307"/>
                  </a:lnTo>
                  <a:lnTo>
                    <a:pt x="422" y="308"/>
                  </a:lnTo>
                  <a:lnTo>
                    <a:pt x="422" y="309"/>
                  </a:lnTo>
                  <a:lnTo>
                    <a:pt x="422" y="311"/>
                  </a:lnTo>
                  <a:lnTo>
                    <a:pt x="422" y="312"/>
                  </a:lnTo>
                  <a:lnTo>
                    <a:pt x="421" y="313"/>
                  </a:lnTo>
                  <a:lnTo>
                    <a:pt x="421" y="315"/>
                  </a:lnTo>
                  <a:lnTo>
                    <a:pt x="420" y="319"/>
                  </a:lnTo>
                  <a:lnTo>
                    <a:pt x="420" y="320"/>
                  </a:lnTo>
                  <a:lnTo>
                    <a:pt x="420" y="321"/>
                  </a:lnTo>
                  <a:lnTo>
                    <a:pt x="419" y="322"/>
                  </a:lnTo>
                  <a:lnTo>
                    <a:pt x="419" y="323"/>
                  </a:lnTo>
                  <a:lnTo>
                    <a:pt x="418" y="323"/>
                  </a:lnTo>
                  <a:lnTo>
                    <a:pt x="418" y="324"/>
                  </a:lnTo>
                  <a:lnTo>
                    <a:pt x="418" y="324"/>
                  </a:lnTo>
                  <a:lnTo>
                    <a:pt x="417" y="324"/>
                  </a:lnTo>
                  <a:lnTo>
                    <a:pt x="417" y="325"/>
                  </a:lnTo>
                  <a:lnTo>
                    <a:pt x="416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3" y="325"/>
                  </a:lnTo>
                  <a:lnTo>
                    <a:pt x="411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4"/>
                  </a:lnTo>
                  <a:lnTo>
                    <a:pt x="401" y="325"/>
                  </a:lnTo>
                  <a:lnTo>
                    <a:pt x="395" y="326"/>
                  </a:lnTo>
                  <a:lnTo>
                    <a:pt x="394" y="326"/>
                  </a:lnTo>
                  <a:lnTo>
                    <a:pt x="393" y="326"/>
                  </a:lnTo>
                  <a:lnTo>
                    <a:pt x="392" y="327"/>
                  </a:lnTo>
                  <a:lnTo>
                    <a:pt x="391" y="327"/>
                  </a:lnTo>
                  <a:lnTo>
                    <a:pt x="391" y="327"/>
                  </a:lnTo>
                  <a:lnTo>
                    <a:pt x="390" y="328"/>
                  </a:lnTo>
                  <a:lnTo>
                    <a:pt x="388" y="330"/>
                  </a:lnTo>
                  <a:lnTo>
                    <a:pt x="387" y="331"/>
                  </a:lnTo>
                  <a:lnTo>
                    <a:pt x="386" y="332"/>
                  </a:lnTo>
                  <a:lnTo>
                    <a:pt x="385" y="332"/>
                  </a:lnTo>
                  <a:lnTo>
                    <a:pt x="384" y="333"/>
                  </a:lnTo>
                  <a:lnTo>
                    <a:pt x="384" y="333"/>
                  </a:lnTo>
                  <a:lnTo>
                    <a:pt x="383" y="333"/>
                  </a:lnTo>
                  <a:lnTo>
                    <a:pt x="383" y="333"/>
                  </a:lnTo>
                  <a:lnTo>
                    <a:pt x="382" y="333"/>
                  </a:lnTo>
                  <a:lnTo>
                    <a:pt x="381" y="333"/>
                  </a:lnTo>
                  <a:lnTo>
                    <a:pt x="379" y="333"/>
                  </a:lnTo>
                  <a:lnTo>
                    <a:pt x="376" y="332"/>
                  </a:lnTo>
                  <a:lnTo>
                    <a:pt x="372" y="331"/>
                  </a:lnTo>
                  <a:lnTo>
                    <a:pt x="370" y="331"/>
                  </a:lnTo>
                  <a:lnTo>
                    <a:pt x="368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6" y="330"/>
                  </a:lnTo>
                  <a:lnTo>
                    <a:pt x="365" y="330"/>
                  </a:lnTo>
                  <a:lnTo>
                    <a:pt x="365" y="331"/>
                  </a:lnTo>
                  <a:lnTo>
                    <a:pt x="363" y="332"/>
                  </a:lnTo>
                  <a:lnTo>
                    <a:pt x="361" y="332"/>
                  </a:lnTo>
                  <a:lnTo>
                    <a:pt x="359" y="332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3" y="333"/>
                  </a:lnTo>
                  <a:lnTo>
                    <a:pt x="350" y="333"/>
                  </a:lnTo>
                  <a:lnTo>
                    <a:pt x="348" y="333"/>
                  </a:lnTo>
                  <a:lnTo>
                    <a:pt x="346" y="333"/>
                  </a:lnTo>
                  <a:lnTo>
                    <a:pt x="340" y="332"/>
                  </a:lnTo>
                  <a:lnTo>
                    <a:pt x="338" y="332"/>
                  </a:lnTo>
                  <a:lnTo>
                    <a:pt x="336" y="332"/>
                  </a:lnTo>
                  <a:lnTo>
                    <a:pt x="333" y="331"/>
                  </a:lnTo>
                  <a:lnTo>
                    <a:pt x="329" y="330"/>
                  </a:lnTo>
                  <a:lnTo>
                    <a:pt x="325" y="329"/>
                  </a:lnTo>
                  <a:lnTo>
                    <a:pt x="323" y="328"/>
                  </a:lnTo>
                  <a:lnTo>
                    <a:pt x="322" y="328"/>
                  </a:lnTo>
                  <a:lnTo>
                    <a:pt x="317" y="328"/>
                  </a:lnTo>
                  <a:lnTo>
                    <a:pt x="316" y="328"/>
                  </a:lnTo>
                  <a:lnTo>
                    <a:pt x="315" y="328"/>
                  </a:lnTo>
                  <a:lnTo>
                    <a:pt x="314" y="328"/>
                  </a:lnTo>
                  <a:lnTo>
                    <a:pt x="313" y="328"/>
                  </a:lnTo>
                  <a:lnTo>
                    <a:pt x="313" y="328"/>
                  </a:lnTo>
                  <a:lnTo>
                    <a:pt x="312" y="329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09" y="331"/>
                  </a:lnTo>
                  <a:lnTo>
                    <a:pt x="309" y="331"/>
                  </a:lnTo>
                  <a:lnTo>
                    <a:pt x="308" y="332"/>
                  </a:lnTo>
                  <a:lnTo>
                    <a:pt x="307" y="333"/>
                  </a:lnTo>
                  <a:lnTo>
                    <a:pt x="307" y="333"/>
                  </a:lnTo>
                  <a:lnTo>
                    <a:pt x="307" y="334"/>
                  </a:lnTo>
                  <a:lnTo>
                    <a:pt x="307" y="335"/>
                  </a:lnTo>
                  <a:lnTo>
                    <a:pt x="307" y="335"/>
                  </a:lnTo>
                  <a:lnTo>
                    <a:pt x="307" y="336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4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4" y="346"/>
                  </a:lnTo>
                  <a:lnTo>
                    <a:pt x="304" y="346"/>
                  </a:lnTo>
                  <a:lnTo>
                    <a:pt x="302" y="346"/>
                  </a:lnTo>
                  <a:lnTo>
                    <a:pt x="301" y="346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298" y="347"/>
                  </a:lnTo>
                  <a:lnTo>
                    <a:pt x="298" y="347"/>
                  </a:lnTo>
                  <a:lnTo>
                    <a:pt x="297" y="347"/>
                  </a:lnTo>
                  <a:lnTo>
                    <a:pt x="297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2"/>
                  </a:lnTo>
                  <a:lnTo>
                    <a:pt x="295" y="353"/>
                  </a:lnTo>
                  <a:lnTo>
                    <a:pt x="294" y="353"/>
                  </a:lnTo>
                  <a:lnTo>
                    <a:pt x="292" y="355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89" y="357"/>
                  </a:lnTo>
                  <a:lnTo>
                    <a:pt x="288" y="358"/>
                  </a:lnTo>
                  <a:lnTo>
                    <a:pt x="287" y="359"/>
                  </a:lnTo>
                  <a:lnTo>
                    <a:pt x="286" y="359"/>
                  </a:lnTo>
                  <a:lnTo>
                    <a:pt x="285" y="359"/>
                  </a:lnTo>
                  <a:lnTo>
                    <a:pt x="282" y="360"/>
                  </a:lnTo>
                  <a:lnTo>
                    <a:pt x="281" y="361"/>
                  </a:lnTo>
                  <a:lnTo>
                    <a:pt x="280" y="361"/>
                  </a:lnTo>
                  <a:lnTo>
                    <a:pt x="278" y="361"/>
                  </a:lnTo>
                  <a:lnTo>
                    <a:pt x="278" y="362"/>
                  </a:lnTo>
                  <a:lnTo>
                    <a:pt x="277" y="362"/>
                  </a:lnTo>
                  <a:lnTo>
                    <a:pt x="276" y="363"/>
                  </a:lnTo>
                  <a:lnTo>
                    <a:pt x="275" y="364"/>
                  </a:lnTo>
                  <a:lnTo>
                    <a:pt x="274" y="364"/>
                  </a:lnTo>
                  <a:lnTo>
                    <a:pt x="273" y="365"/>
                  </a:lnTo>
                  <a:lnTo>
                    <a:pt x="272" y="367"/>
                  </a:lnTo>
                  <a:lnTo>
                    <a:pt x="270" y="369"/>
                  </a:lnTo>
                  <a:lnTo>
                    <a:pt x="269" y="370"/>
                  </a:lnTo>
                  <a:lnTo>
                    <a:pt x="268" y="371"/>
                  </a:lnTo>
                  <a:lnTo>
                    <a:pt x="268" y="371"/>
                  </a:lnTo>
                  <a:lnTo>
                    <a:pt x="267" y="371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5" y="372"/>
                  </a:lnTo>
                  <a:lnTo>
                    <a:pt x="265" y="372"/>
                  </a:lnTo>
                  <a:lnTo>
                    <a:pt x="264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3" y="371"/>
                  </a:lnTo>
                  <a:lnTo>
                    <a:pt x="262" y="371"/>
                  </a:lnTo>
                  <a:lnTo>
                    <a:pt x="261" y="370"/>
                  </a:lnTo>
                  <a:lnTo>
                    <a:pt x="259" y="368"/>
                  </a:lnTo>
                  <a:lnTo>
                    <a:pt x="259" y="368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4" y="366"/>
                  </a:lnTo>
                  <a:lnTo>
                    <a:pt x="253" y="366"/>
                  </a:lnTo>
                  <a:lnTo>
                    <a:pt x="253" y="367"/>
                  </a:lnTo>
                  <a:lnTo>
                    <a:pt x="252" y="367"/>
                  </a:lnTo>
                  <a:lnTo>
                    <a:pt x="251" y="368"/>
                  </a:lnTo>
                  <a:lnTo>
                    <a:pt x="250" y="369"/>
                  </a:lnTo>
                  <a:lnTo>
                    <a:pt x="249" y="370"/>
                  </a:lnTo>
                  <a:lnTo>
                    <a:pt x="246" y="373"/>
                  </a:lnTo>
                  <a:lnTo>
                    <a:pt x="244" y="374"/>
                  </a:lnTo>
                  <a:lnTo>
                    <a:pt x="244" y="375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8" y="378"/>
                  </a:lnTo>
                  <a:lnTo>
                    <a:pt x="236" y="380"/>
                  </a:lnTo>
                  <a:lnTo>
                    <a:pt x="235" y="380"/>
                  </a:lnTo>
                  <a:lnTo>
                    <a:pt x="234" y="381"/>
                  </a:lnTo>
                  <a:lnTo>
                    <a:pt x="233" y="381"/>
                  </a:lnTo>
                  <a:lnTo>
                    <a:pt x="232" y="381"/>
                  </a:lnTo>
                  <a:lnTo>
                    <a:pt x="231" y="381"/>
                  </a:lnTo>
                  <a:lnTo>
                    <a:pt x="230" y="381"/>
                  </a:lnTo>
                  <a:lnTo>
                    <a:pt x="228" y="381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2"/>
                  </a:lnTo>
                  <a:lnTo>
                    <a:pt x="220" y="382"/>
                  </a:lnTo>
                  <a:lnTo>
                    <a:pt x="218" y="381"/>
                  </a:lnTo>
                  <a:lnTo>
                    <a:pt x="217" y="381"/>
                  </a:lnTo>
                  <a:lnTo>
                    <a:pt x="215" y="381"/>
                  </a:lnTo>
                  <a:lnTo>
                    <a:pt x="214" y="380"/>
                  </a:lnTo>
                  <a:lnTo>
                    <a:pt x="214" y="380"/>
                  </a:lnTo>
                  <a:lnTo>
                    <a:pt x="213" y="380"/>
                  </a:lnTo>
                  <a:lnTo>
                    <a:pt x="212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09" y="379"/>
                  </a:lnTo>
                  <a:lnTo>
                    <a:pt x="208" y="380"/>
                  </a:lnTo>
                  <a:lnTo>
                    <a:pt x="207" y="381"/>
                  </a:lnTo>
                  <a:lnTo>
                    <a:pt x="203" y="385"/>
                  </a:lnTo>
                  <a:lnTo>
                    <a:pt x="200" y="387"/>
                  </a:lnTo>
                  <a:lnTo>
                    <a:pt x="198" y="389"/>
                  </a:lnTo>
                  <a:lnTo>
                    <a:pt x="198" y="389"/>
                  </a:lnTo>
                  <a:lnTo>
                    <a:pt x="197" y="390"/>
                  </a:lnTo>
                  <a:lnTo>
                    <a:pt x="196" y="391"/>
                  </a:lnTo>
                  <a:lnTo>
                    <a:pt x="195" y="393"/>
                  </a:lnTo>
                  <a:lnTo>
                    <a:pt x="194" y="393"/>
                  </a:lnTo>
                  <a:lnTo>
                    <a:pt x="193" y="394"/>
                  </a:lnTo>
                  <a:lnTo>
                    <a:pt x="192" y="395"/>
                  </a:lnTo>
                  <a:lnTo>
                    <a:pt x="191" y="395"/>
                  </a:lnTo>
                  <a:lnTo>
                    <a:pt x="190" y="396"/>
                  </a:lnTo>
                  <a:lnTo>
                    <a:pt x="188" y="396"/>
                  </a:lnTo>
                  <a:lnTo>
                    <a:pt x="186" y="397"/>
                  </a:lnTo>
                  <a:lnTo>
                    <a:pt x="185" y="397"/>
                  </a:lnTo>
                  <a:lnTo>
                    <a:pt x="183" y="397"/>
                  </a:lnTo>
                  <a:lnTo>
                    <a:pt x="182" y="397"/>
                  </a:lnTo>
                  <a:lnTo>
                    <a:pt x="181" y="397"/>
                  </a:lnTo>
                  <a:lnTo>
                    <a:pt x="179" y="397"/>
                  </a:lnTo>
                  <a:lnTo>
                    <a:pt x="178" y="397"/>
                  </a:lnTo>
                  <a:lnTo>
                    <a:pt x="176" y="397"/>
                  </a:lnTo>
                  <a:lnTo>
                    <a:pt x="175" y="397"/>
                  </a:lnTo>
                  <a:lnTo>
                    <a:pt x="174" y="398"/>
                  </a:lnTo>
                  <a:lnTo>
                    <a:pt x="173" y="398"/>
                  </a:lnTo>
                  <a:lnTo>
                    <a:pt x="172" y="399"/>
                  </a:lnTo>
                  <a:lnTo>
                    <a:pt x="171" y="400"/>
                  </a:lnTo>
                  <a:lnTo>
                    <a:pt x="169" y="401"/>
                  </a:lnTo>
                  <a:lnTo>
                    <a:pt x="167" y="402"/>
                  </a:lnTo>
                  <a:lnTo>
                    <a:pt x="167" y="403"/>
                  </a:lnTo>
                  <a:lnTo>
                    <a:pt x="165" y="404"/>
                  </a:lnTo>
                  <a:lnTo>
                    <a:pt x="164" y="405"/>
                  </a:lnTo>
                  <a:lnTo>
                    <a:pt x="162" y="406"/>
                  </a:lnTo>
                  <a:lnTo>
                    <a:pt x="160" y="408"/>
                  </a:lnTo>
                  <a:lnTo>
                    <a:pt x="160" y="409"/>
                  </a:lnTo>
                  <a:lnTo>
                    <a:pt x="159" y="409"/>
                  </a:lnTo>
                  <a:lnTo>
                    <a:pt x="159" y="410"/>
                  </a:lnTo>
                  <a:lnTo>
                    <a:pt x="159" y="410"/>
                  </a:lnTo>
                  <a:lnTo>
                    <a:pt x="158" y="411"/>
                  </a:lnTo>
                  <a:lnTo>
                    <a:pt x="158" y="412"/>
                  </a:lnTo>
                  <a:lnTo>
                    <a:pt x="158" y="415"/>
                  </a:lnTo>
                  <a:lnTo>
                    <a:pt x="158" y="415"/>
                  </a:lnTo>
                  <a:lnTo>
                    <a:pt x="157" y="416"/>
                  </a:lnTo>
                  <a:lnTo>
                    <a:pt x="157" y="418"/>
                  </a:lnTo>
                  <a:lnTo>
                    <a:pt x="157" y="418"/>
                  </a:lnTo>
                  <a:lnTo>
                    <a:pt x="157" y="419"/>
                  </a:lnTo>
                  <a:lnTo>
                    <a:pt x="157" y="420"/>
                  </a:lnTo>
                  <a:lnTo>
                    <a:pt x="157" y="421"/>
                  </a:lnTo>
                  <a:lnTo>
                    <a:pt x="157" y="422"/>
                  </a:lnTo>
                  <a:lnTo>
                    <a:pt x="156" y="423"/>
                  </a:lnTo>
                  <a:lnTo>
                    <a:pt x="156" y="423"/>
                  </a:lnTo>
                  <a:lnTo>
                    <a:pt x="156" y="424"/>
                  </a:lnTo>
                  <a:lnTo>
                    <a:pt x="156" y="424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3" y="425"/>
                  </a:lnTo>
                  <a:lnTo>
                    <a:pt x="153" y="426"/>
                  </a:lnTo>
                  <a:lnTo>
                    <a:pt x="152" y="426"/>
                  </a:lnTo>
                  <a:lnTo>
                    <a:pt x="152" y="426"/>
                  </a:lnTo>
                  <a:lnTo>
                    <a:pt x="152" y="427"/>
                  </a:lnTo>
                  <a:lnTo>
                    <a:pt x="151" y="429"/>
                  </a:lnTo>
                  <a:lnTo>
                    <a:pt x="150" y="430"/>
                  </a:lnTo>
                  <a:lnTo>
                    <a:pt x="150" y="431"/>
                  </a:lnTo>
                  <a:lnTo>
                    <a:pt x="149" y="433"/>
                  </a:lnTo>
                  <a:lnTo>
                    <a:pt x="148" y="433"/>
                  </a:lnTo>
                  <a:lnTo>
                    <a:pt x="148" y="434"/>
                  </a:lnTo>
                  <a:lnTo>
                    <a:pt x="147" y="434"/>
                  </a:lnTo>
                  <a:lnTo>
                    <a:pt x="147" y="434"/>
                  </a:lnTo>
                  <a:lnTo>
                    <a:pt x="146" y="434"/>
                  </a:lnTo>
                  <a:lnTo>
                    <a:pt x="145" y="434"/>
                  </a:lnTo>
                  <a:lnTo>
                    <a:pt x="144" y="434"/>
                  </a:lnTo>
                  <a:lnTo>
                    <a:pt x="143" y="434"/>
                  </a:lnTo>
                  <a:lnTo>
                    <a:pt x="142" y="435"/>
                  </a:lnTo>
                  <a:lnTo>
                    <a:pt x="141" y="435"/>
                  </a:lnTo>
                  <a:lnTo>
                    <a:pt x="140" y="435"/>
                  </a:lnTo>
                  <a:lnTo>
                    <a:pt x="139" y="436"/>
                  </a:lnTo>
                  <a:lnTo>
                    <a:pt x="138" y="436"/>
                  </a:lnTo>
                  <a:lnTo>
                    <a:pt x="137" y="437"/>
                  </a:lnTo>
                  <a:lnTo>
                    <a:pt x="136" y="438"/>
                  </a:lnTo>
                  <a:lnTo>
                    <a:pt x="135" y="439"/>
                  </a:lnTo>
                  <a:lnTo>
                    <a:pt x="134" y="440"/>
                  </a:lnTo>
                  <a:lnTo>
                    <a:pt x="133" y="440"/>
                  </a:lnTo>
                  <a:lnTo>
                    <a:pt x="133" y="441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2" y="443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0" y="445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5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3" y="447"/>
                  </a:lnTo>
                  <a:lnTo>
                    <a:pt x="123" y="447"/>
                  </a:lnTo>
                  <a:lnTo>
                    <a:pt x="123" y="446"/>
                  </a:lnTo>
                  <a:lnTo>
                    <a:pt x="122" y="446"/>
                  </a:lnTo>
                  <a:lnTo>
                    <a:pt x="122" y="446"/>
                  </a:lnTo>
                  <a:lnTo>
                    <a:pt x="122" y="445"/>
                  </a:lnTo>
                  <a:lnTo>
                    <a:pt x="121" y="443"/>
                  </a:lnTo>
                  <a:lnTo>
                    <a:pt x="121" y="442"/>
                  </a:lnTo>
                  <a:lnTo>
                    <a:pt x="120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7" y="436"/>
                  </a:lnTo>
                  <a:lnTo>
                    <a:pt x="116" y="437"/>
                  </a:lnTo>
                  <a:lnTo>
                    <a:pt x="115" y="437"/>
                  </a:lnTo>
                  <a:lnTo>
                    <a:pt x="115" y="437"/>
                  </a:lnTo>
                  <a:lnTo>
                    <a:pt x="114" y="438"/>
                  </a:lnTo>
                  <a:lnTo>
                    <a:pt x="114" y="438"/>
                  </a:lnTo>
                  <a:lnTo>
                    <a:pt x="112" y="440"/>
                  </a:lnTo>
                  <a:lnTo>
                    <a:pt x="112" y="440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0" y="441"/>
                  </a:lnTo>
                  <a:lnTo>
                    <a:pt x="110" y="441"/>
                  </a:lnTo>
                  <a:lnTo>
                    <a:pt x="109" y="441"/>
                  </a:lnTo>
                  <a:lnTo>
                    <a:pt x="109" y="440"/>
                  </a:lnTo>
                  <a:lnTo>
                    <a:pt x="109" y="440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8" y="437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5"/>
                  </a:lnTo>
                  <a:lnTo>
                    <a:pt x="108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5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0" y="435"/>
                  </a:lnTo>
                  <a:lnTo>
                    <a:pt x="100" y="434"/>
                  </a:lnTo>
                  <a:lnTo>
                    <a:pt x="99" y="433"/>
                  </a:lnTo>
                  <a:lnTo>
                    <a:pt x="99" y="432"/>
                  </a:lnTo>
                  <a:lnTo>
                    <a:pt x="98" y="431"/>
                  </a:lnTo>
                  <a:lnTo>
                    <a:pt x="96" y="429"/>
                  </a:lnTo>
                  <a:lnTo>
                    <a:pt x="95" y="428"/>
                  </a:lnTo>
                  <a:lnTo>
                    <a:pt x="95" y="427"/>
                  </a:lnTo>
                  <a:lnTo>
                    <a:pt x="94" y="426"/>
                  </a:lnTo>
                  <a:lnTo>
                    <a:pt x="93" y="426"/>
                  </a:lnTo>
                  <a:lnTo>
                    <a:pt x="92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0" y="424"/>
                  </a:lnTo>
                  <a:lnTo>
                    <a:pt x="86" y="424"/>
                  </a:lnTo>
                  <a:lnTo>
                    <a:pt x="85" y="424"/>
                  </a:lnTo>
                  <a:lnTo>
                    <a:pt x="85" y="423"/>
                  </a:lnTo>
                  <a:lnTo>
                    <a:pt x="84" y="423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4" y="419"/>
                  </a:lnTo>
                  <a:lnTo>
                    <a:pt x="84" y="418"/>
                  </a:lnTo>
                  <a:lnTo>
                    <a:pt x="84" y="418"/>
                  </a:lnTo>
                  <a:lnTo>
                    <a:pt x="85" y="418"/>
                  </a:lnTo>
                  <a:lnTo>
                    <a:pt x="86" y="417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8" y="417"/>
                  </a:lnTo>
                  <a:lnTo>
                    <a:pt x="89" y="417"/>
                  </a:lnTo>
                  <a:lnTo>
                    <a:pt x="90" y="417"/>
                  </a:lnTo>
                  <a:lnTo>
                    <a:pt x="93" y="418"/>
                  </a:lnTo>
                  <a:lnTo>
                    <a:pt x="93" y="418"/>
                  </a:lnTo>
                  <a:lnTo>
                    <a:pt x="94" y="418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5" y="417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4" y="415"/>
                  </a:lnTo>
                  <a:lnTo>
                    <a:pt x="94" y="413"/>
                  </a:lnTo>
                  <a:lnTo>
                    <a:pt x="94" y="412"/>
                  </a:lnTo>
                  <a:lnTo>
                    <a:pt x="94" y="411"/>
                  </a:lnTo>
                  <a:lnTo>
                    <a:pt x="94" y="411"/>
                  </a:lnTo>
                  <a:lnTo>
                    <a:pt x="94" y="410"/>
                  </a:lnTo>
                  <a:lnTo>
                    <a:pt x="95" y="409"/>
                  </a:lnTo>
                  <a:lnTo>
                    <a:pt x="95" y="409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6" y="407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6" y="405"/>
                  </a:lnTo>
                  <a:lnTo>
                    <a:pt x="95" y="404"/>
                  </a:lnTo>
                  <a:lnTo>
                    <a:pt x="95" y="401"/>
                  </a:lnTo>
                  <a:lnTo>
                    <a:pt x="94" y="400"/>
                  </a:lnTo>
                  <a:lnTo>
                    <a:pt x="94" y="398"/>
                  </a:lnTo>
                  <a:lnTo>
                    <a:pt x="92" y="394"/>
                  </a:lnTo>
                  <a:lnTo>
                    <a:pt x="91" y="392"/>
                  </a:lnTo>
                  <a:lnTo>
                    <a:pt x="90" y="390"/>
                  </a:lnTo>
                  <a:lnTo>
                    <a:pt x="89" y="389"/>
                  </a:lnTo>
                  <a:lnTo>
                    <a:pt x="87" y="386"/>
                  </a:lnTo>
                  <a:lnTo>
                    <a:pt x="87" y="386"/>
                  </a:lnTo>
                  <a:lnTo>
                    <a:pt x="87" y="385"/>
                  </a:lnTo>
                  <a:lnTo>
                    <a:pt x="87" y="385"/>
                  </a:lnTo>
                  <a:lnTo>
                    <a:pt x="87" y="384"/>
                  </a:lnTo>
                  <a:lnTo>
                    <a:pt x="87" y="381"/>
                  </a:lnTo>
                  <a:lnTo>
                    <a:pt x="87" y="380"/>
                  </a:lnTo>
                  <a:lnTo>
                    <a:pt x="86" y="378"/>
                  </a:lnTo>
                  <a:lnTo>
                    <a:pt x="86" y="378"/>
                  </a:lnTo>
                  <a:lnTo>
                    <a:pt x="86" y="377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3" y="374"/>
                  </a:lnTo>
                  <a:lnTo>
                    <a:pt x="83" y="373"/>
                  </a:lnTo>
                  <a:lnTo>
                    <a:pt x="82" y="373"/>
                  </a:lnTo>
                  <a:lnTo>
                    <a:pt x="82" y="372"/>
                  </a:lnTo>
                  <a:lnTo>
                    <a:pt x="82" y="372"/>
                  </a:lnTo>
                  <a:lnTo>
                    <a:pt x="82" y="371"/>
                  </a:lnTo>
                  <a:lnTo>
                    <a:pt x="81" y="370"/>
                  </a:lnTo>
                  <a:lnTo>
                    <a:pt x="82" y="370"/>
                  </a:lnTo>
                  <a:lnTo>
                    <a:pt x="82" y="369"/>
                  </a:lnTo>
                  <a:lnTo>
                    <a:pt x="82" y="367"/>
                  </a:lnTo>
                  <a:lnTo>
                    <a:pt x="82" y="366"/>
                  </a:lnTo>
                  <a:lnTo>
                    <a:pt x="82" y="365"/>
                  </a:lnTo>
                  <a:lnTo>
                    <a:pt x="82" y="363"/>
                  </a:lnTo>
                  <a:lnTo>
                    <a:pt x="82" y="361"/>
                  </a:lnTo>
                  <a:lnTo>
                    <a:pt x="81" y="359"/>
                  </a:lnTo>
                  <a:lnTo>
                    <a:pt x="81" y="358"/>
                  </a:lnTo>
                  <a:lnTo>
                    <a:pt x="80" y="356"/>
                  </a:lnTo>
                  <a:lnTo>
                    <a:pt x="80" y="355"/>
                  </a:lnTo>
                  <a:lnTo>
                    <a:pt x="80" y="354"/>
                  </a:lnTo>
                  <a:lnTo>
                    <a:pt x="80" y="353"/>
                  </a:lnTo>
                  <a:lnTo>
                    <a:pt x="80" y="352"/>
                  </a:lnTo>
                  <a:lnTo>
                    <a:pt x="80" y="351"/>
                  </a:lnTo>
                  <a:lnTo>
                    <a:pt x="81" y="347"/>
                  </a:lnTo>
                  <a:lnTo>
                    <a:pt x="81" y="345"/>
                  </a:lnTo>
                  <a:lnTo>
                    <a:pt x="82" y="344"/>
                  </a:lnTo>
                  <a:lnTo>
                    <a:pt x="82" y="343"/>
                  </a:lnTo>
                  <a:lnTo>
                    <a:pt x="82" y="343"/>
                  </a:lnTo>
                  <a:lnTo>
                    <a:pt x="82" y="340"/>
                  </a:lnTo>
                  <a:lnTo>
                    <a:pt x="82" y="339"/>
                  </a:lnTo>
                  <a:lnTo>
                    <a:pt x="82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3" y="334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0"/>
                  </a:lnTo>
                  <a:lnTo>
                    <a:pt x="83" y="329"/>
                  </a:lnTo>
                  <a:lnTo>
                    <a:pt x="83" y="328"/>
                  </a:lnTo>
                  <a:lnTo>
                    <a:pt x="83" y="327"/>
                  </a:lnTo>
                  <a:lnTo>
                    <a:pt x="83" y="326"/>
                  </a:lnTo>
                  <a:lnTo>
                    <a:pt x="82" y="325"/>
                  </a:lnTo>
                  <a:lnTo>
                    <a:pt x="81" y="323"/>
                  </a:lnTo>
                  <a:lnTo>
                    <a:pt x="81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9" y="319"/>
                  </a:lnTo>
                  <a:lnTo>
                    <a:pt x="78" y="319"/>
                  </a:lnTo>
                  <a:lnTo>
                    <a:pt x="77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4" y="318"/>
                  </a:lnTo>
                  <a:lnTo>
                    <a:pt x="70" y="318"/>
                  </a:lnTo>
                  <a:lnTo>
                    <a:pt x="69" y="318"/>
                  </a:lnTo>
                  <a:lnTo>
                    <a:pt x="68" y="318"/>
                  </a:lnTo>
                  <a:lnTo>
                    <a:pt x="65" y="318"/>
                  </a:lnTo>
                  <a:lnTo>
                    <a:pt x="64" y="318"/>
                  </a:lnTo>
                  <a:lnTo>
                    <a:pt x="62" y="318"/>
                  </a:lnTo>
                  <a:lnTo>
                    <a:pt x="58" y="318"/>
                  </a:lnTo>
                  <a:lnTo>
                    <a:pt x="57" y="317"/>
                  </a:lnTo>
                  <a:lnTo>
                    <a:pt x="55" y="317"/>
                  </a:lnTo>
                  <a:lnTo>
                    <a:pt x="55" y="317"/>
                  </a:lnTo>
                  <a:lnTo>
                    <a:pt x="54" y="318"/>
                  </a:lnTo>
                  <a:lnTo>
                    <a:pt x="52" y="318"/>
                  </a:lnTo>
                  <a:lnTo>
                    <a:pt x="51" y="318"/>
                  </a:lnTo>
                  <a:lnTo>
                    <a:pt x="50" y="318"/>
                  </a:lnTo>
                  <a:lnTo>
                    <a:pt x="49" y="318"/>
                  </a:lnTo>
                  <a:lnTo>
                    <a:pt x="49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6" y="318"/>
                  </a:lnTo>
                  <a:lnTo>
                    <a:pt x="46" y="317"/>
                  </a:lnTo>
                  <a:lnTo>
                    <a:pt x="46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5"/>
                  </a:lnTo>
                  <a:lnTo>
                    <a:pt x="45" y="314"/>
                  </a:lnTo>
                  <a:lnTo>
                    <a:pt x="45" y="313"/>
                  </a:lnTo>
                  <a:lnTo>
                    <a:pt x="45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4" y="309"/>
                  </a:lnTo>
                  <a:lnTo>
                    <a:pt x="44" y="308"/>
                  </a:lnTo>
                  <a:lnTo>
                    <a:pt x="43" y="308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1" y="305"/>
                  </a:lnTo>
                  <a:lnTo>
                    <a:pt x="38" y="304"/>
                  </a:lnTo>
                  <a:lnTo>
                    <a:pt x="36" y="303"/>
                  </a:lnTo>
                  <a:lnTo>
                    <a:pt x="36" y="303"/>
                  </a:lnTo>
                  <a:lnTo>
                    <a:pt x="35" y="303"/>
                  </a:lnTo>
                  <a:lnTo>
                    <a:pt x="34" y="302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5" y="301"/>
                  </a:lnTo>
                  <a:lnTo>
                    <a:pt x="22" y="300"/>
                  </a:lnTo>
                  <a:lnTo>
                    <a:pt x="20" y="300"/>
                  </a:lnTo>
                  <a:lnTo>
                    <a:pt x="19" y="299"/>
                  </a:lnTo>
                  <a:lnTo>
                    <a:pt x="16" y="299"/>
                  </a:lnTo>
                  <a:lnTo>
                    <a:pt x="14" y="299"/>
                  </a:lnTo>
                  <a:lnTo>
                    <a:pt x="12" y="299"/>
                  </a:lnTo>
                  <a:lnTo>
                    <a:pt x="9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6" y="297"/>
                  </a:lnTo>
                  <a:lnTo>
                    <a:pt x="4" y="296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1" y="291"/>
                  </a:lnTo>
                  <a:lnTo>
                    <a:pt x="1" y="291"/>
                  </a:lnTo>
                  <a:lnTo>
                    <a:pt x="2" y="290"/>
                  </a:lnTo>
                  <a:lnTo>
                    <a:pt x="6" y="288"/>
                  </a:lnTo>
                  <a:lnTo>
                    <a:pt x="8" y="287"/>
                  </a:lnTo>
                  <a:lnTo>
                    <a:pt x="10" y="286"/>
                  </a:lnTo>
                  <a:lnTo>
                    <a:pt x="11" y="285"/>
                  </a:lnTo>
                  <a:lnTo>
                    <a:pt x="12" y="284"/>
                  </a:lnTo>
                  <a:lnTo>
                    <a:pt x="13" y="283"/>
                  </a:lnTo>
                  <a:lnTo>
                    <a:pt x="18" y="278"/>
                  </a:lnTo>
                  <a:lnTo>
                    <a:pt x="19" y="276"/>
                  </a:lnTo>
                  <a:lnTo>
                    <a:pt x="20" y="275"/>
                  </a:lnTo>
                  <a:lnTo>
                    <a:pt x="21" y="274"/>
                  </a:lnTo>
                  <a:lnTo>
                    <a:pt x="21" y="273"/>
                  </a:lnTo>
                  <a:lnTo>
                    <a:pt x="21" y="272"/>
                  </a:lnTo>
                  <a:lnTo>
                    <a:pt x="22" y="271"/>
                  </a:lnTo>
                  <a:lnTo>
                    <a:pt x="22" y="269"/>
                  </a:lnTo>
                  <a:lnTo>
                    <a:pt x="22" y="264"/>
                  </a:lnTo>
                  <a:lnTo>
                    <a:pt x="22" y="261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4" y="254"/>
                  </a:lnTo>
                  <a:lnTo>
                    <a:pt x="24" y="253"/>
                  </a:lnTo>
                  <a:lnTo>
                    <a:pt x="25" y="252"/>
                  </a:lnTo>
                  <a:lnTo>
                    <a:pt x="25" y="251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8" y="248"/>
                  </a:lnTo>
                  <a:lnTo>
                    <a:pt x="28" y="248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8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7" y="247"/>
                  </a:lnTo>
                  <a:lnTo>
                    <a:pt x="51" y="246"/>
                  </a:lnTo>
                  <a:lnTo>
                    <a:pt x="52" y="245"/>
                  </a:lnTo>
                  <a:lnTo>
                    <a:pt x="53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5" y="245"/>
                  </a:lnTo>
                  <a:lnTo>
                    <a:pt x="56" y="245"/>
                  </a:lnTo>
                  <a:lnTo>
                    <a:pt x="57" y="246"/>
                  </a:lnTo>
                  <a:lnTo>
                    <a:pt x="59" y="246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4" y="246"/>
                  </a:lnTo>
                  <a:lnTo>
                    <a:pt x="75" y="245"/>
                  </a:lnTo>
                  <a:lnTo>
                    <a:pt x="77" y="241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81" y="235"/>
                  </a:lnTo>
                  <a:lnTo>
                    <a:pt x="81" y="233"/>
                  </a:lnTo>
                  <a:lnTo>
                    <a:pt x="82" y="232"/>
                  </a:lnTo>
                  <a:lnTo>
                    <a:pt x="83" y="230"/>
                  </a:lnTo>
                  <a:lnTo>
                    <a:pt x="83" y="228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4" y="222"/>
                  </a:lnTo>
                  <a:lnTo>
                    <a:pt x="85" y="221"/>
                  </a:lnTo>
                  <a:lnTo>
                    <a:pt x="87" y="216"/>
                  </a:lnTo>
                  <a:lnTo>
                    <a:pt x="87" y="215"/>
                  </a:lnTo>
                  <a:lnTo>
                    <a:pt x="88" y="215"/>
                  </a:lnTo>
                  <a:lnTo>
                    <a:pt x="88" y="214"/>
                  </a:lnTo>
                  <a:lnTo>
                    <a:pt x="89" y="213"/>
                  </a:lnTo>
                  <a:lnTo>
                    <a:pt x="89" y="212"/>
                  </a:lnTo>
                  <a:lnTo>
                    <a:pt x="90" y="212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2" y="210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4" y="210"/>
                  </a:lnTo>
                  <a:lnTo>
                    <a:pt x="95" y="210"/>
                  </a:lnTo>
                  <a:lnTo>
                    <a:pt x="95" y="210"/>
                  </a:lnTo>
                  <a:lnTo>
                    <a:pt x="96" y="210"/>
                  </a:lnTo>
                  <a:lnTo>
                    <a:pt x="98" y="210"/>
                  </a:lnTo>
                  <a:lnTo>
                    <a:pt x="99" y="211"/>
                  </a:lnTo>
                  <a:lnTo>
                    <a:pt x="99" y="211"/>
                  </a:lnTo>
                  <a:lnTo>
                    <a:pt x="100" y="211"/>
                  </a:lnTo>
                  <a:lnTo>
                    <a:pt x="102" y="213"/>
                  </a:lnTo>
                  <a:lnTo>
                    <a:pt x="103" y="213"/>
                  </a:lnTo>
                  <a:lnTo>
                    <a:pt x="104" y="214"/>
                  </a:lnTo>
                  <a:lnTo>
                    <a:pt x="104" y="214"/>
                  </a:lnTo>
                  <a:lnTo>
                    <a:pt x="105" y="214"/>
                  </a:lnTo>
                  <a:lnTo>
                    <a:pt x="106" y="214"/>
                  </a:lnTo>
                  <a:lnTo>
                    <a:pt x="107" y="214"/>
                  </a:lnTo>
                  <a:lnTo>
                    <a:pt x="107" y="214"/>
                  </a:lnTo>
                  <a:lnTo>
                    <a:pt x="108" y="214"/>
                  </a:lnTo>
                  <a:lnTo>
                    <a:pt x="109" y="214"/>
                  </a:lnTo>
                  <a:lnTo>
                    <a:pt x="109" y="213"/>
                  </a:lnTo>
                  <a:lnTo>
                    <a:pt x="110" y="213"/>
                  </a:lnTo>
                  <a:lnTo>
                    <a:pt x="110" y="213"/>
                  </a:lnTo>
                  <a:lnTo>
                    <a:pt x="111" y="212"/>
                  </a:lnTo>
                  <a:lnTo>
                    <a:pt x="111" y="212"/>
                  </a:lnTo>
                  <a:lnTo>
                    <a:pt x="111" y="211"/>
                  </a:lnTo>
                  <a:lnTo>
                    <a:pt x="112" y="210"/>
                  </a:lnTo>
                  <a:lnTo>
                    <a:pt x="113" y="207"/>
                  </a:lnTo>
                  <a:lnTo>
                    <a:pt x="113" y="206"/>
                  </a:lnTo>
                  <a:lnTo>
                    <a:pt x="114" y="205"/>
                  </a:lnTo>
                  <a:lnTo>
                    <a:pt x="115" y="204"/>
                  </a:lnTo>
                  <a:lnTo>
                    <a:pt x="115" y="204"/>
                  </a:lnTo>
                  <a:lnTo>
                    <a:pt x="116" y="202"/>
                  </a:lnTo>
                  <a:lnTo>
                    <a:pt x="118" y="201"/>
                  </a:lnTo>
                  <a:lnTo>
                    <a:pt x="119" y="200"/>
                  </a:lnTo>
                  <a:lnTo>
                    <a:pt x="122" y="198"/>
                  </a:lnTo>
                  <a:lnTo>
                    <a:pt x="123" y="197"/>
                  </a:lnTo>
                  <a:lnTo>
                    <a:pt x="124" y="196"/>
                  </a:lnTo>
                  <a:lnTo>
                    <a:pt x="125" y="196"/>
                  </a:lnTo>
                  <a:lnTo>
                    <a:pt x="125" y="195"/>
                  </a:lnTo>
                  <a:lnTo>
                    <a:pt x="126" y="195"/>
                  </a:lnTo>
                  <a:lnTo>
                    <a:pt x="127" y="193"/>
                  </a:lnTo>
                  <a:lnTo>
                    <a:pt x="127" y="192"/>
                  </a:lnTo>
                  <a:lnTo>
                    <a:pt x="128" y="191"/>
                  </a:lnTo>
                  <a:lnTo>
                    <a:pt x="128" y="188"/>
                  </a:lnTo>
                  <a:lnTo>
                    <a:pt x="129" y="187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1" y="185"/>
                  </a:lnTo>
                  <a:lnTo>
                    <a:pt x="132" y="186"/>
                  </a:lnTo>
                  <a:lnTo>
                    <a:pt x="132" y="186"/>
                  </a:lnTo>
                  <a:lnTo>
                    <a:pt x="133" y="186"/>
                  </a:lnTo>
                  <a:lnTo>
                    <a:pt x="133" y="186"/>
                  </a:lnTo>
                  <a:lnTo>
                    <a:pt x="133" y="187"/>
                  </a:lnTo>
                  <a:lnTo>
                    <a:pt x="135" y="188"/>
                  </a:lnTo>
                  <a:lnTo>
                    <a:pt x="136" y="190"/>
                  </a:lnTo>
                  <a:lnTo>
                    <a:pt x="137" y="191"/>
                  </a:lnTo>
                  <a:lnTo>
                    <a:pt x="139" y="195"/>
                  </a:lnTo>
                  <a:lnTo>
                    <a:pt x="140" y="196"/>
                  </a:lnTo>
                  <a:lnTo>
                    <a:pt x="141" y="197"/>
                  </a:lnTo>
                  <a:lnTo>
                    <a:pt x="142" y="198"/>
                  </a:lnTo>
                  <a:lnTo>
                    <a:pt x="142" y="199"/>
                  </a:lnTo>
                  <a:lnTo>
                    <a:pt x="144" y="200"/>
                  </a:lnTo>
                  <a:lnTo>
                    <a:pt x="145" y="201"/>
                  </a:lnTo>
                  <a:lnTo>
                    <a:pt x="146" y="201"/>
                  </a:lnTo>
                  <a:lnTo>
                    <a:pt x="147" y="201"/>
                  </a:lnTo>
                  <a:lnTo>
                    <a:pt x="149" y="202"/>
                  </a:lnTo>
                  <a:lnTo>
                    <a:pt x="151" y="203"/>
                  </a:lnTo>
                  <a:lnTo>
                    <a:pt x="152" y="203"/>
                  </a:lnTo>
                  <a:lnTo>
                    <a:pt x="152" y="203"/>
                  </a:lnTo>
                  <a:lnTo>
                    <a:pt x="153" y="203"/>
                  </a:lnTo>
                  <a:lnTo>
                    <a:pt x="153" y="203"/>
                  </a:lnTo>
                  <a:lnTo>
                    <a:pt x="154" y="203"/>
                  </a:lnTo>
                  <a:lnTo>
                    <a:pt x="154" y="203"/>
                  </a:lnTo>
                  <a:lnTo>
                    <a:pt x="155" y="203"/>
                  </a:lnTo>
                  <a:lnTo>
                    <a:pt x="156" y="202"/>
                  </a:lnTo>
                  <a:lnTo>
                    <a:pt x="156" y="202"/>
                  </a:lnTo>
                  <a:lnTo>
                    <a:pt x="157" y="201"/>
                  </a:lnTo>
                  <a:lnTo>
                    <a:pt x="158" y="201"/>
                  </a:lnTo>
                  <a:lnTo>
                    <a:pt x="159" y="199"/>
                  </a:lnTo>
                  <a:lnTo>
                    <a:pt x="163" y="196"/>
                  </a:lnTo>
                  <a:lnTo>
                    <a:pt x="166" y="193"/>
                  </a:lnTo>
                  <a:lnTo>
                    <a:pt x="169" y="190"/>
                  </a:lnTo>
                  <a:lnTo>
                    <a:pt x="170" y="189"/>
                  </a:lnTo>
                  <a:lnTo>
                    <a:pt x="170" y="188"/>
                  </a:lnTo>
                  <a:lnTo>
                    <a:pt x="171" y="188"/>
                  </a:lnTo>
                  <a:lnTo>
                    <a:pt x="171" y="187"/>
                  </a:lnTo>
                  <a:lnTo>
                    <a:pt x="171" y="186"/>
                  </a:lnTo>
                  <a:lnTo>
                    <a:pt x="171" y="185"/>
                  </a:lnTo>
                  <a:lnTo>
                    <a:pt x="171" y="183"/>
                  </a:lnTo>
                  <a:lnTo>
                    <a:pt x="171" y="182"/>
                  </a:lnTo>
                  <a:lnTo>
                    <a:pt x="172" y="181"/>
                  </a:lnTo>
                  <a:lnTo>
                    <a:pt x="172" y="181"/>
                  </a:lnTo>
                  <a:lnTo>
                    <a:pt x="172" y="180"/>
                  </a:lnTo>
                  <a:lnTo>
                    <a:pt x="173" y="179"/>
                  </a:lnTo>
                  <a:lnTo>
                    <a:pt x="174" y="177"/>
                  </a:lnTo>
                  <a:lnTo>
                    <a:pt x="175" y="175"/>
                  </a:lnTo>
                  <a:lnTo>
                    <a:pt x="176" y="174"/>
                  </a:lnTo>
                  <a:lnTo>
                    <a:pt x="176" y="174"/>
                  </a:lnTo>
                  <a:lnTo>
                    <a:pt x="176" y="173"/>
                  </a:lnTo>
                  <a:lnTo>
                    <a:pt x="176" y="172"/>
                  </a:lnTo>
                  <a:lnTo>
                    <a:pt x="177" y="171"/>
                  </a:lnTo>
                  <a:lnTo>
                    <a:pt x="177" y="170"/>
                  </a:lnTo>
                  <a:lnTo>
                    <a:pt x="177" y="170"/>
                  </a:lnTo>
                  <a:lnTo>
                    <a:pt x="177" y="168"/>
                  </a:lnTo>
                  <a:lnTo>
                    <a:pt x="177" y="166"/>
                  </a:lnTo>
                  <a:lnTo>
                    <a:pt x="176" y="163"/>
                  </a:lnTo>
                  <a:lnTo>
                    <a:pt x="176" y="162"/>
                  </a:lnTo>
                  <a:lnTo>
                    <a:pt x="176" y="161"/>
                  </a:lnTo>
                  <a:lnTo>
                    <a:pt x="176" y="160"/>
                  </a:lnTo>
                  <a:lnTo>
                    <a:pt x="176" y="160"/>
                  </a:lnTo>
                  <a:lnTo>
                    <a:pt x="177" y="159"/>
                  </a:lnTo>
                  <a:lnTo>
                    <a:pt x="177" y="159"/>
                  </a:lnTo>
                  <a:lnTo>
                    <a:pt x="178" y="158"/>
                  </a:lnTo>
                  <a:lnTo>
                    <a:pt x="178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80" y="156"/>
                  </a:lnTo>
                  <a:lnTo>
                    <a:pt x="181" y="156"/>
                  </a:lnTo>
                  <a:lnTo>
                    <a:pt x="182" y="156"/>
                  </a:lnTo>
                  <a:lnTo>
                    <a:pt x="183" y="155"/>
                  </a:lnTo>
                  <a:lnTo>
                    <a:pt x="184" y="155"/>
                  </a:lnTo>
                  <a:lnTo>
                    <a:pt x="185" y="155"/>
                  </a:lnTo>
                  <a:lnTo>
                    <a:pt x="187" y="155"/>
                  </a:lnTo>
                  <a:lnTo>
                    <a:pt x="192" y="155"/>
                  </a:lnTo>
                  <a:lnTo>
                    <a:pt x="194" y="155"/>
                  </a:lnTo>
                  <a:lnTo>
                    <a:pt x="196" y="155"/>
                  </a:lnTo>
                  <a:lnTo>
                    <a:pt x="197" y="154"/>
                  </a:lnTo>
                  <a:lnTo>
                    <a:pt x="199" y="154"/>
                  </a:lnTo>
                  <a:lnTo>
                    <a:pt x="200" y="153"/>
                  </a:lnTo>
                  <a:lnTo>
                    <a:pt x="201" y="153"/>
                  </a:lnTo>
                  <a:lnTo>
                    <a:pt x="202" y="152"/>
                  </a:lnTo>
                  <a:lnTo>
                    <a:pt x="204" y="151"/>
                  </a:lnTo>
                  <a:lnTo>
                    <a:pt x="205" y="151"/>
                  </a:lnTo>
                  <a:lnTo>
                    <a:pt x="206" y="150"/>
                  </a:lnTo>
                  <a:lnTo>
                    <a:pt x="208" y="149"/>
                  </a:lnTo>
                  <a:lnTo>
                    <a:pt x="209" y="149"/>
                  </a:lnTo>
                  <a:lnTo>
                    <a:pt x="210" y="148"/>
                  </a:lnTo>
                  <a:lnTo>
                    <a:pt x="211" y="148"/>
                  </a:lnTo>
                  <a:lnTo>
                    <a:pt x="212" y="148"/>
                  </a:lnTo>
                  <a:lnTo>
                    <a:pt x="213" y="148"/>
                  </a:lnTo>
                  <a:lnTo>
                    <a:pt x="214" y="148"/>
                  </a:lnTo>
                  <a:lnTo>
                    <a:pt x="215" y="148"/>
                  </a:lnTo>
                  <a:lnTo>
                    <a:pt x="215" y="148"/>
                  </a:lnTo>
                  <a:lnTo>
                    <a:pt x="216" y="149"/>
                  </a:lnTo>
                  <a:lnTo>
                    <a:pt x="217" y="149"/>
                  </a:lnTo>
                  <a:lnTo>
                    <a:pt x="220" y="151"/>
                  </a:lnTo>
                  <a:lnTo>
                    <a:pt x="222" y="151"/>
                  </a:lnTo>
                  <a:lnTo>
                    <a:pt x="223" y="151"/>
                  </a:lnTo>
                  <a:lnTo>
                    <a:pt x="223" y="152"/>
                  </a:lnTo>
                  <a:lnTo>
                    <a:pt x="224" y="152"/>
                  </a:lnTo>
                  <a:lnTo>
                    <a:pt x="225" y="152"/>
                  </a:lnTo>
                  <a:lnTo>
                    <a:pt x="225" y="152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7" y="151"/>
                  </a:lnTo>
                  <a:lnTo>
                    <a:pt x="228" y="151"/>
                  </a:lnTo>
                  <a:lnTo>
                    <a:pt x="229" y="150"/>
                  </a:lnTo>
                  <a:lnTo>
                    <a:pt x="231" y="149"/>
                  </a:lnTo>
                  <a:lnTo>
                    <a:pt x="232" y="149"/>
                  </a:lnTo>
                  <a:lnTo>
                    <a:pt x="233" y="148"/>
                  </a:lnTo>
                  <a:lnTo>
                    <a:pt x="234" y="148"/>
                  </a:lnTo>
                  <a:lnTo>
                    <a:pt x="238" y="148"/>
                  </a:lnTo>
                  <a:lnTo>
                    <a:pt x="242" y="147"/>
                  </a:lnTo>
                  <a:lnTo>
                    <a:pt x="243" y="147"/>
                  </a:lnTo>
                  <a:lnTo>
                    <a:pt x="244" y="147"/>
                  </a:lnTo>
                  <a:lnTo>
                    <a:pt x="247" y="147"/>
                  </a:lnTo>
                  <a:lnTo>
                    <a:pt x="248" y="147"/>
                  </a:lnTo>
                  <a:lnTo>
                    <a:pt x="250" y="147"/>
                  </a:lnTo>
                  <a:lnTo>
                    <a:pt x="252" y="147"/>
                  </a:lnTo>
                  <a:lnTo>
                    <a:pt x="254" y="147"/>
                  </a:lnTo>
                  <a:lnTo>
                    <a:pt x="255" y="147"/>
                  </a:lnTo>
                  <a:lnTo>
                    <a:pt x="256" y="148"/>
                  </a:lnTo>
                  <a:lnTo>
                    <a:pt x="259" y="149"/>
                  </a:lnTo>
                  <a:lnTo>
                    <a:pt x="260" y="149"/>
                  </a:lnTo>
                  <a:lnTo>
                    <a:pt x="261" y="149"/>
                  </a:lnTo>
                  <a:lnTo>
                    <a:pt x="263" y="150"/>
                  </a:lnTo>
                  <a:lnTo>
                    <a:pt x="264" y="150"/>
                  </a:lnTo>
                  <a:lnTo>
                    <a:pt x="266" y="150"/>
                  </a:lnTo>
                  <a:lnTo>
                    <a:pt x="267" y="149"/>
                  </a:lnTo>
                  <a:lnTo>
                    <a:pt x="268" y="149"/>
                  </a:lnTo>
                  <a:lnTo>
                    <a:pt x="269" y="149"/>
                  </a:lnTo>
                  <a:lnTo>
                    <a:pt x="270" y="148"/>
                  </a:lnTo>
                  <a:lnTo>
                    <a:pt x="271" y="147"/>
                  </a:lnTo>
                  <a:lnTo>
                    <a:pt x="273" y="146"/>
                  </a:lnTo>
                  <a:lnTo>
                    <a:pt x="274" y="145"/>
                  </a:lnTo>
                  <a:lnTo>
                    <a:pt x="275" y="145"/>
                  </a:lnTo>
                  <a:lnTo>
                    <a:pt x="278" y="144"/>
                  </a:lnTo>
                  <a:lnTo>
                    <a:pt x="278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80" y="142"/>
                  </a:lnTo>
                  <a:lnTo>
                    <a:pt x="281" y="142"/>
                  </a:lnTo>
                  <a:lnTo>
                    <a:pt x="281" y="141"/>
                  </a:lnTo>
                  <a:lnTo>
                    <a:pt x="282" y="140"/>
                  </a:lnTo>
                  <a:lnTo>
                    <a:pt x="282" y="139"/>
                  </a:lnTo>
                  <a:lnTo>
                    <a:pt x="282" y="138"/>
                  </a:lnTo>
                  <a:lnTo>
                    <a:pt x="282" y="138"/>
                  </a:lnTo>
                  <a:lnTo>
                    <a:pt x="282" y="136"/>
                  </a:lnTo>
                  <a:lnTo>
                    <a:pt x="282" y="133"/>
                  </a:lnTo>
                  <a:lnTo>
                    <a:pt x="282" y="132"/>
                  </a:lnTo>
                  <a:lnTo>
                    <a:pt x="282" y="130"/>
                  </a:lnTo>
                  <a:lnTo>
                    <a:pt x="282" y="129"/>
                  </a:lnTo>
                  <a:lnTo>
                    <a:pt x="282" y="128"/>
                  </a:lnTo>
                  <a:lnTo>
                    <a:pt x="283" y="127"/>
                  </a:lnTo>
                  <a:lnTo>
                    <a:pt x="283" y="126"/>
                  </a:lnTo>
                  <a:lnTo>
                    <a:pt x="283" y="125"/>
                  </a:lnTo>
                  <a:lnTo>
                    <a:pt x="284" y="124"/>
                  </a:lnTo>
                  <a:lnTo>
                    <a:pt x="284" y="124"/>
                  </a:lnTo>
                  <a:lnTo>
                    <a:pt x="284" y="123"/>
                  </a:lnTo>
                  <a:lnTo>
                    <a:pt x="285" y="123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2"/>
                  </a:lnTo>
                  <a:lnTo>
                    <a:pt x="287" y="121"/>
                  </a:lnTo>
                  <a:lnTo>
                    <a:pt x="288" y="121"/>
                  </a:lnTo>
                  <a:lnTo>
                    <a:pt x="291" y="120"/>
                  </a:lnTo>
                  <a:lnTo>
                    <a:pt x="292" y="120"/>
                  </a:lnTo>
                  <a:lnTo>
                    <a:pt x="294" y="119"/>
                  </a:lnTo>
                  <a:lnTo>
                    <a:pt x="295" y="119"/>
                  </a:lnTo>
                  <a:lnTo>
                    <a:pt x="297" y="118"/>
                  </a:lnTo>
                  <a:lnTo>
                    <a:pt x="298" y="117"/>
                  </a:lnTo>
                  <a:lnTo>
                    <a:pt x="299" y="116"/>
                  </a:lnTo>
                  <a:lnTo>
                    <a:pt x="301" y="114"/>
                  </a:lnTo>
                  <a:lnTo>
                    <a:pt x="302" y="113"/>
                  </a:lnTo>
                  <a:lnTo>
                    <a:pt x="303" y="113"/>
                  </a:lnTo>
                  <a:lnTo>
                    <a:pt x="305" y="112"/>
                  </a:lnTo>
                  <a:lnTo>
                    <a:pt x="306" y="111"/>
                  </a:lnTo>
                  <a:lnTo>
                    <a:pt x="308" y="110"/>
                  </a:lnTo>
                  <a:lnTo>
                    <a:pt x="309" y="110"/>
                  </a:lnTo>
                  <a:lnTo>
                    <a:pt x="310" y="110"/>
                  </a:lnTo>
                  <a:lnTo>
                    <a:pt x="311" y="110"/>
                  </a:lnTo>
                  <a:lnTo>
                    <a:pt x="312" y="110"/>
                  </a:lnTo>
                  <a:lnTo>
                    <a:pt x="313" y="110"/>
                  </a:lnTo>
                  <a:lnTo>
                    <a:pt x="314" y="110"/>
                  </a:lnTo>
                  <a:lnTo>
                    <a:pt x="316" y="111"/>
                  </a:lnTo>
                  <a:lnTo>
                    <a:pt x="319" y="112"/>
                  </a:lnTo>
                  <a:lnTo>
                    <a:pt x="321" y="113"/>
                  </a:lnTo>
                  <a:lnTo>
                    <a:pt x="322" y="113"/>
                  </a:lnTo>
                  <a:lnTo>
                    <a:pt x="323" y="113"/>
                  </a:lnTo>
                  <a:lnTo>
                    <a:pt x="324" y="113"/>
                  </a:lnTo>
                  <a:lnTo>
                    <a:pt x="327" y="112"/>
                  </a:lnTo>
                  <a:lnTo>
                    <a:pt x="331" y="112"/>
                  </a:lnTo>
                  <a:lnTo>
                    <a:pt x="331" y="111"/>
                  </a:lnTo>
                  <a:lnTo>
                    <a:pt x="332" y="111"/>
                  </a:lnTo>
                  <a:lnTo>
                    <a:pt x="334" y="111"/>
                  </a:lnTo>
                  <a:lnTo>
                    <a:pt x="335" y="110"/>
                  </a:lnTo>
                  <a:lnTo>
                    <a:pt x="336" y="109"/>
                  </a:lnTo>
                  <a:lnTo>
                    <a:pt x="339" y="107"/>
                  </a:lnTo>
                  <a:lnTo>
                    <a:pt x="340" y="106"/>
                  </a:lnTo>
                  <a:lnTo>
                    <a:pt x="342" y="105"/>
                  </a:lnTo>
                  <a:lnTo>
                    <a:pt x="345" y="104"/>
                  </a:lnTo>
                  <a:lnTo>
                    <a:pt x="352" y="101"/>
                  </a:lnTo>
                  <a:lnTo>
                    <a:pt x="357" y="98"/>
                  </a:lnTo>
                  <a:lnTo>
                    <a:pt x="360" y="97"/>
                  </a:lnTo>
                  <a:lnTo>
                    <a:pt x="362" y="96"/>
                  </a:lnTo>
                  <a:lnTo>
                    <a:pt x="368" y="94"/>
                  </a:lnTo>
                  <a:lnTo>
                    <a:pt x="370" y="94"/>
                  </a:lnTo>
                  <a:lnTo>
                    <a:pt x="372" y="93"/>
                  </a:lnTo>
                  <a:lnTo>
                    <a:pt x="373" y="92"/>
                  </a:lnTo>
                  <a:lnTo>
                    <a:pt x="374" y="92"/>
                  </a:lnTo>
                  <a:lnTo>
                    <a:pt x="375" y="91"/>
                  </a:lnTo>
                  <a:lnTo>
                    <a:pt x="377" y="89"/>
                  </a:lnTo>
                  <a:lnTo>
                    <a:pt x="378" y="88"/>
                  </a:lnTo>
                  <a:lnTo>
                    <a:pt x="379" y="87"/>
                  </a:lnTo>
                  <a:lnTo>
                    <a:pt x="380" y="86"/>
                  </a:lnTo>
                  <a:lnTo>
                    <a:pt x="381" y="85"/>
                  </a:lnTo>
                  <a:lnTo>
                    <a:pt x="382" y="84"/>
                  </a:lnTo>
                  <a:lnTo>
                    <a:pt x="384" y="81"/>
                  </a:lnTo>
                  <a:lnTo>
                    <a:pt x="384" y="80"/>
                  </a:lnTo>
                  <a:lnTo>
                    <a:pt x="384" y="79"/>
                  </a:lnTo>
                  <a:lnTo>
                    <a:pt x="385" y="79"/>
                  </a:lnTo>
                  <a:lnTo>
                    <a:pt x="386" y="78"/>
                  </a:lnTo>
                  <a:lnTo>
                    <a:pt x="387" y="78"/>
                  </a:lnTo>
                  <a:lnTo>
                    <a:pt x="388" y="77"/>
                  </a:lnTo>
                  <a:lnTo>
                    <a:pt x="389" y="76"/>
                  </a:lnTo>
                  <a:lnTo>
                    <a:pt x="391" y="76"/>
                  </a:lnTo>
                  <a:lnTo>
                    <a:pt x="392" y="76"/>
                  </a:lnTo>
                  <a:lnTo>
                    <a:pt x="393" y="76"/>
                  </a:lnTo>
                  <a:lnTo>
                    <a:pt x="394" y="76"/>
                  </a:lnTo>
                  <a:lnTo>
                    <a:pt x="395" y="76"/>
                  </a:lnTo>
                  <a:lnTo>
                    <a:pt x="397" y="76"/>
                  </a:lnTo>
                  <a:lnTo>
                    <a:pt x="399" y="77"/>
                  </a:lnTo>
                  <a:lnTo>
                    <a:pt x="401" y="77"/>
                  </a:lnTo>
                  <a:lnTo>
                    <a:pt x="402" y="77"/>
                  </a:lnTo>
                  <a:lnTo>
                    <a:pt x="403" y="77"/>
                  </a:lnTo>
                  <a:lnTo>
                    <a:pt x="404" y="77"/>
                  </a:lnTo>
                  <a:lnTo>
                    <a:pt x="405" y="77"/>
                  </a:lnTo>
                  <a:lnTo>
                    <a:pt x="407" y="77"/>
                  </a:lnTo>
                  <a:lnTo>
                    <a:pt x="410" y="76"/>
                  </a:lnTo>
                  <a:lnTo>
                    <a:pt x="411" y="76"/>
                  </a:lnTo>
                  <a:lnTo>
                    <a:pt x="412" y="75"/>
                  </a:lnTo>
                  <a:lnTo>
                    <a:pt x="414" y="75"/>
                  </a:lnTo>
                  <a:lnTo>
                    <a:pt x="417" y="74"/>
                  </a:lnTo>
                  <a:lnTo>
                    <a:pt x="418" y="73"/>
                  </a:lnTo>
                  <a:lnTo>
                    <a:pt x="419" y="73"/>
                  </a:lnTo>
                  <a:lnTo>
                    <a:pt x="422" y="72"/>
                  </a:lnTo>
                  <a:lnTo>
                    <a:pt x="423" y="72"/>
                  </a:lnTo>
                  <a:lnTo>
                    <a:pt x="424" y="72"/>
                  </a:lnTo>
                  <a:lnTo>
                    <a:pt x="425" y="71"/>
                  </a:lnTo>
                  <a:lnTo>
                    <a:pt x="425" y="71"/>
                  </a:lnTo>
                  <a:lnTo>
                    <a:pt x="426" y="70"/>
                  </a:lnTo>
                  <a:lnTo>
                    <a:pt x="426" y="70"/>
                  </a:lnTo>
                  <a:lnTo>
                    <a:pt x="427" y="69"/>
                  </a:lnTo>
                  <a:lnTo>
                    <a:pt x="427" y="69"/>
                  </a:lnTo>
                  <a:lnTo>
                    <a:pt x="428" y="68"/>
                  </a:lnTo>
                  <a:lnTo>
                    <a:pt x="428" y="65"/>
                  </a:lnTo>
                  <a:lnTo>
                    <a:pt x="429" y="63"/>
                  </a:lnTo>
                  <a:lnTo>
                    <a:pt x="430" y="61"/>
                  </a:lnTo>
                  <a:lnTo>
                    <a:pt x="430" y="60"/>
                  </a:lnTo>
                  <a:lnTo>
                    <a:pt x="430" y="60"/>
                  </a:lnTo>
                  <a:lnTo>
                    <a:pt x="430" y="59"/>
                  </a:lnTo>
                  <a:lnTo>
                    <a:pt x="430" y="58"/>
                  </a:lnTo>
                  <a:lnTo>
                    <a:pt x="430" y="58"/>
                  </a:lnTo>
                  <a:lnTo>
                    <a:pt x="430" y="57"/>
                  </a:lnTo>
                  <a:lnTo>
                    <a:pt x="429" y="57"/>
                  </a:lnTo>
                  <a:lnTo>
                    <a:pt x="429" y="56"/>
                  </a:lnTo>
                  <a:lnTo>
                    <a:pt x="428" y="55"/>
                  </a:lnTo>
                  <a:lnTo>
                    <a:pt x="428" y="55"/>
                  </a:lnTo>
                  <a:lnTo>
                    <a:pt x="427" y="55"/>
                  </a:lnTo>
                  <a:lnTo>
                    <a:pt x="426" y="54"/>
                  </a:lnTo>
                  <a:lnTo>
                    <a:pt x="425" y="54"/>
                  </a:lnTo>
                  <a:lnTo>
                    <a:pt x="423" y="53"/>
                  </a:lnTo>
                  <a:lnTo>
                    <a:pt x="419" y="51"/>
                  </a:lnTo>
                  <a:lnTo>
                    <a:pt x="417" y="50"/>
                  </a:lnTo>
                  <a:lnTo>
                    <a:pt x="412" y="49"/>
                  </a:lnTo>
                  <a:lnTo>
                    <a:pt x="411" y="48"/>
                  </a:lnTo>
                  <a:lnTo>
                    <a:pt x="410" y="48"/>
                  </a:lnTo>
                  <a:lnTo>
                    <a:pt x="409" y="47"/>
                  </a:lnTo>
                  <a:lnTo>
                    <a:pt x="409" y="47"/>
                  </a:lnTo>
                  <a:lnTo>
                    <a:pt x="408" y="46"/>
                  </a:lnTo>
                  <a:lnTo>
                    <a:pt x="408" y="46"/>
                  </a:lnTo>
                  <a:lnTo>
                    <a:pt x="408" y="45"/>
                  </a:lnTo>
                  <a:lnTo>
                    <a:pt x="407" y="45"/>
                  </a:lnTo>
                  <a:lnTo>
                    <a:pt x="407" y="44"/>
                  </a:lnTo>
                  <a:lnTo>
                    <a:pt x="406" y="43"/>
                  </a:lnTo>
                  <a:lnTo>
                    <a:pt x="406" y="42"/>
                  </a:lnTo>
                  <a:lnTo>
                    <a:pt x="406" y="42"/>
                  </a:lnTo>
                  <a:lnTo>
                    <a:pt x="406" y="41"/>
                  </a:lnTo>
                  <a:lnTo>
                    <a:pt x="406" y="41"/>
                  </a:lnTo>
                  <a:lnTo>
                    <a:pt x="406" y="40"/>
                  </a:lnTo>
                  <a:lnTo>
                    <a:pt x="406" y="40"/>
                  </a:lnTo>
                  <a:lnTo>
                    <a:pt x="407" y="39"/>
                  </a:lnTo>
                  <a:lnTo>
                    <a:pt x="408" y="37"/>
                  </a:lnTo>
                  <a:lnTo>
                    <a:pt x="408" y="37"/>
                  </a:lnTo>
                  <a:lnTo>
                    <a:pt x="408" y="37"/>
                  </a:lnTo>
                  <a:lnTo>
                    <a:pt x="408" y="36"/>
                  </a:lnTo>
                  <a:lnTo>
                    <a:pt x="408" y="36"/>
                  </a:lnTo>
                  <a:lnTo>
                    <a:pt x="408" y="35"/>
                  </a:lnTo>
                  <a:lnTo>
                    <a:pt x="407" y="35"/>
                  </a:lnTo>
                  <a:lnTo>
                    <a:pt x="407" y="35"/>
                  </a:lnTo>
                  <a:lnTo>
                    <a:pt x="407" y="34"/>
                  </a:lnTo>
                  <a:lnTo>
                    <a:pt x="406" y="34"/>
                  </a:lnTo>
                  <a:lnTo>
                    <a:pt x="405" y="34"/>
                  </a:lnTo>
                  <a:lnTo>
                    <a:pt x="404" y="34"/>
                  </a:lnTo>
                  <a:lnTo>
                    <a:pt x="401" y="34"/>
                  </a:lnTo>
                  <a:lnTo>
                    <a:pt x="400" y="34"/>
                  </a:lnTo>
                  <a:lnTo>
                    <a:pt x="399" y="34"/>
                  </a:lnTo>
                  <a:lnTo>
                    <a:pt x="398" y="34"/>
                  </a:lnTo>
                  <a:lnTo>
                    <a:pt x="397" y="33"/>
                  </a:lnTo>
                  <a:lnTo>
                    <a:pt x="396" y="33"/>
                  </a:lnTo>
                  <a:lnTo>
                    <a:pt x="395" y="32"/>
                  </a:lnTo>
                  <a:lnTo>
                    <a:pt x="394" y="32"/>
                  </a:lnTo>
                  <a:lnTo>
                    <a:pt x="394" y="31"/>
                  </a:lnTo>
                  <a:lnTo>
                    <a:pt x="393" y="31"/>
                  </a:lnTo>
                  <a:lnTo>
                    <a:pt x="393" y="30"/>
                  </a:lnTo>
                  <a:lnTo>
                    <a:pt x="393" y="30"/>
                  </a:lnTo>
                  <a:lnTo>
                    <a:pt x="392" y="29"/>
                  </a:lnTo>
                  <a:lnTo>
                    <a:pt x="392" y="28"/>
                  </a:lnTo>
                  <a:lnTo>
                    <a:pt x="392" y="28"/>
                  </a:lnTo>
                  <a:lnTo>
                    <a:pt x="392" y="27"/>
                  </a:lnTo>
                  <a:lnTo>
                    <a:pt x="392" y="24"/>
                  </a:lnTo>
                  <a:lnTo>
                    <a:pt x="392" y="24"/>
                  </a:lnTo>
                  <a:lnTo>
                    <a:pt x="392" y="23"/>
                  </a:lnTo>
                  <a:lnTo>
                    <a:pt x="393" y="22"/>
                  </a:lnTo>
                  <a:lnTo>
                    <a:pt x="393" y="21"/>
                  </a:lnTo>
                  <a:lnTo>
                    <a:pt x="394" y="19"/>
                  </a:lnTo>
                  <a:lnTo>
                    <a:pt x="395" y="18"/>
                  </a:lnTo>
                  <a:lnTo>
                    <a:pt x="395" y="17"/>
                  </a:lnTo>
                  <a:lnTo>
                    <a:pt x="396" y="16"/>
                  </a:lnTo>
                  <a:lnTo>
                    <a:pt x="396" y="14"/>
                  </a:lnTo>
                  <a:lnTo>
                    <a:pt x="396" y="13"/>
                  </a:lnTo>
                  <a:lnTo>
                    <a:pt x="397" y="12"/>
                  </a:lnTo>
                  <a:lnTo>
                    <a:pt x="397" y="9"/>
                  </a:lnTo>
                  <a:lnTo>
                    <a:pt x="398" y="8"/>
                  </a:lnTo>
                  <a:lnTo>
                    <a:pt x="398" y="8"/>
                  </a:lnTo>
                  <a:lnTo>
                    <a:pt x="398" y="7"/>
                  </a:lnTo>
                  <a:lnTo>
                    <a:pt x="398" y="6"/>
                  </a:lnTo>
                  <a:lnTo>
                    <a:pt x="399" y="5"/>
                  </a:lnTo>
                  <a:lnTo>
                    <a:pt x="402" y="1"/>
                  </a:lnTo>
                  <a:lnTo>
                    <a:pt x="403" y="0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04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Freeform 19">
              <a:extLst>
                <a:ext uri="{FF2B5EF4-FFF2-40B4-BE49-F238E27FC236}">
                  <a16:creationId xmlns:a16="http://schemas.microsoft.com/office/drawing/2014/main" id="{73F45412-4252-4043-213C-7005606AF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2866"/>
              <a:ext cx="504" cy="447"/>
            </a:xfrm>
            <a:custGeom>
              <a:avLst/>
              <a:gdLst>
                <a:gd name="T0" fmla="*/ 428 w 504"/>
                <a:gd name="T1" fmla="*/ 12 h 447"/>
                <a:gd name="T2" fmla="*/ 449 w 504"/>
                <a:gd name="T3" fmla="*/ 11 h 447"/>
                <a:gd name="T4" fmla="*/ 461 w 504"/>
                <a:gd name="T5" fmla="*/ 8 h 447"/>
                <a:gd name="T6" fmla="*/ 471 w 504"/>
                <a:gd name="T7" fmla="*/ 21 h 447"/>
                <a:gd name="T8" fmla="*/ 488 w 504"/>
                <a:gd name="T9" fmla="*/ 35 h 447"/>
                <a:gd name="T10" fmla="*/ 481 w 504"/>
                <a:gd name="T11" fmla="*/ 60 h 447"/>
                <a:gd name="T12" fmla="*/ 498 w 504"/>
                <a:gd name="T13" fmla="*/ 60 h 447"/>
                <a:gd name="T14" fmla="*/ 502 w 504"/>
                <a:gd name="T15" fmla="*/ 73 h 447"/>
                <a:gd name="T16" fmla="*/ 484 w 504"/>
                <a:gd name="T17" fmla="*/ 101 h 447"/>
                <a:gd name="T18" fmla="*/ 474 w 504"/>
                <a:gd name="T19" fmla="*/ 118 h 447"/>
                <a:gd name="T20" fmla="*/ 454 w 504"/>
                <a:gd name="T21" fmla="*/ 112 h 447"/>
                <a:gd name="T22" fmla="*/ 446 w 504"/>
                <a:gd name="T23" fmla="*/ 122 h 447"/>
                <a:gd name="T24" fmla="*/ 437 w 504"/>
                <a:gd name="T25" fmla="*/ 141 h 447"/>
                <a:gd name="T26" fmla="*/ 425 w 504"/>
                <a:gd name="T27" fmla="*/ 156 h 447"/>
                <a:gd name="T28" fmla="*/ 416 w 504"/>
                <a:gd name="T29" fmla="*/ 177 h 447"/>
                <a:gd name="T30" fmla="*/ 420 w 504"/>
                <a:gd name="T31" fmla="*/ 198 h 447"/>
                <a:gd name="T32" fmla="*/ 437 w 504"/>
                <a:gd name="T33" fmla="*/ 231 h 447"/>
                <a:gd name="T34" fmla="*/ 455 w 504"/>
                <a:gd name="T35" fmla="*/ 254 h 447"/>
                <a:gd name="T36" fmla="*/ 449 w 504"/>
                <a:gd name="T37" fmla="*/ 260 h 447"/>
                <a:gd name="T38" fmla="*/ 449 w 504"/>
                <a:gd name="T39" fmla="*/ 278 h 447"/>
                <a:gd name="T40" fmla="*/ 434 w 504"/>
                <a:gd name="T41" fmla="*/ 291 h 447"/>
                <a:gd name="T42" fmla="*/ 420 w 504"/>
                <a:gd name="T43" fmla="*/ 290 h 447"/>
                <a:gd name="T44" fmla="*/ 422 w 504"/>
                <a:gd name="T45" fmla="*/ 308 h 447"/>
                <a:gd name="T46" fmla="*/ 415 w 504"/>
                <a:gd name="T47" fmla="*/ 325 h 447"/>
                <a:gd name="T48" fmla="*/ 387 w 504"/>
                <a:gd name="T49" fmla="*/ 331 h 447"/>
                <a:gd name="T50" fmla="*/ 365 w 504"/>
                <a:gd name="T51" fmla="*/ 330 h 447"/>
                <a:gd name="T52" fmla="*/ 323 w 504"/>
                <a:gd name="T53" fmla="*/ 328 h 447"/>
                <a:gd name="T54" fmla="*/ 307 w 504"/>
                <a:gd name="T55" fmla="*/ 335 h 447"/>
                <a:gd name="T56" fmla="*/ 301 w 504"/>
                <a:gd name="T57" fmla="*/ 346 h 447"/>
                <a:gd name="T58" fmla="*/ 288 w 504"/>
                <a:gd name="T59" fmla="*/ 358 h 447"/>
                <a:gd name="T60" fmla="*/ 268 w 504"/>
                <a:gd name="T61" fmla="*/ 371 h 447"/>
                <a:gd name="T62" fmla="*/ 256 w 504"/>
                <a:gd name="T63" fmla="*/ 366 h 447"/>
                <a:gd name="T64" fmla="*/ 239 w 504"/>
                <a:gd name="T65" fmla="*/ 377 h 447"/>
                <a:gd name="T66" fmla="*/ 214 w 504"/>
                <a:gd name="T67" fmla="*/ 380 h 447"/>
                <a:gd name="T68" fmla="*/ 197 w 504"/>
                <a:gd name="T69" fmla="*/ 390 h 447"/>
                <a:gd name="T70" fmla="*/ 175 w 504"/>
                <a:gd name="T71" fmla="*/ 397 h 447"/>
                <a:gd name="T72" fmla="*/ 158 w 504"/>
                <a:gd name="T73" fmla="*/ 412 h 447"/>
                <a:gd name="T74" fmla="*/ 153 w 504"/>
                <a:gd name="T75" fmla="*/ 426 h 447"/>
                <a:gd name="T76" fmla="*/ 141 w 504"/>
                <a:gd name="T77" fmla="*/ 435 h 447"/>
                <a:gd name="T78" fmla="*/ 128 w 504"/>
                <a:gd name="T79" fmla="*/ 446 h 447"/>
                <a:gd name="T80" fmla="*/ 117 w 504"/>
                <a:gd name="T81" fmla="*/ 437 h 447"/>
                <a:gd name="T82" fmla="*/ 109 w 504"/>
                <a:gd name="T83" fmla="*/ 440 h 447"/>
                <a:gd name="T84" fmla="*/ 102 w 504"/>
                <a:gd name="T85" fmla="*/ 437 h 447"/>
                <a:gd name="T86" fmla="*/ 91 w 504"/>
                <a:gd name="T87" fmla="*/ 425 h 447"/>
                <a:gd name="T88" fmla="*/ 84 w 504"/>
                <a:gd name="T89" fmla="*/ 418 h 447"/>
                <a:gd name="T90" fmla="*/ 95 w 504"/>
                <a:gd name="T91" fmla="*/ 416 h 447"/>
                <a:gd name="T92" fmla="*/ 94 w 504"/>
                <a:gd name="T93" fmla="*/ 400 h 447"/>
                <a:gd name="T94" fmla="*/ 85 w 504"/>
                <a:gd name="T95" fmla="*/ 376 h 447"/>
                <a:gd name="T96" fmla="*/ 80 w 504"/>
                <a:gd name="T97" fmla="*/ 356 h 447"/>
                <a:gd name="T98" fmla="*/ 83 w 504"/>
                <a:gd name="T99" fmla="*/ 333 h 447"/>
                <a:gd name="T100" fmla="*/ 76 w 504"/>
                <a:gd name="T101" fmla="*/ 318 h 447"/>
                <a:gd name="T102" fmla="*/ 50 w 504"/>
                <a:gd name="T103" fmla="*/ 318 h 447"/>
                <a:gd name="T104" fmla="*/ 44 w 504"/>
                <a:gd name="T105" fmla="*/ 310 h 447"/>
                <a:gd name="T106" fmla="*/ 28 w 504"/>
                <a:gd name="T107" fmla="*/ 302 h 447"/>
                <a:gd name="T108" fmla="*/ 0 w 504"/>
                <a:gd name="T109" fmla="*/ 293 h 447"/>
                <a:gd name="T110" fmla="*/ 21 w 504"/>
                <a:gd name="T111" fmla="*/ 273 h 447"/>
                <a:gd name="T112" fmla="*/ 28 w 504"/>
                <a:gd name="T113" fmla="*/ 248 h 447"/>
                <a:gd name="T114" fmla="*/ 52 w 504"/>
                <a:gd name="T115" fmla="*/ 245 h 447"/>
                <a:gd name="T116" fmla="*/ 72 w 504"/>
                <a:gd name="T117" fmla="*/ 248 h 447"/>
                <a:gd name="T118" fmla="*/ 84 w 504"/>
                <a:gd name="T119" fmla="*/ 223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4" h="447">
                  <a:moveTo>
                    <a:pt x="404" y="0"/>
                  </a:moveTo>
                  <a:lnTo>
                    <a:pt x="405" y="0"/>
                  </a:lnTo>
                  <a:lnTo>
                    <a:pt x="405" y="0"/>
                  </a:lnTo>
                  <a:lnTo>
                    <a:pt x="406" y="1"/>
                  </a:lnTo>
                  <a:lnTo>
                    <a:pt x="410" y="3"/>
                  </a:lnTo>
                  <a:lnTo>
                    <a:pt x="411" y="4"/>
                  </a:lnTo>
                  <a:lnTo>
                    <a:pt x="413" y="5"/>
                  </a:lnTo>
                  <a:lnTo>
                    <a:pt x="414" y="5"/>
                  </a:lnTo>
                  <a:lnTo>
                    <a:pt x="415" y="5"/>
                  </a:lnTo>
                  <a:lnTo>
                    <a:pt x="419" y="6"/>
                  </a:lnTo>
                  <a:lnTo>
                    <a:pt x="420" y="6"/>
                  </a:lnTo>
                  <a:lnTo>
                    <a:pt x="421" y="7"/>
                  </a:lnTo>
                  <a:lnTo>
                    <a:pt x="422" y="7"/>
                  </a:lnTo>
                  <a:lnTo>
                    <a:pt x="423" y="8"/>
                  </a:lnTo>
                  <a:lnTo>
                    <a:pt x="425" y="9"/>
                  </a:lnTo>
                  <a:lnTo>
                    <a:pt x="426" y="10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0" y="13"/>
                  </a:lnTo>
                  <a:lnTo>
                    <a:pt x="431" y="14"/>
                  </a:lnTo>
                  <a:lnTo>
                    <a:pt x="432" y="14"/>
                  </a:lnTo>
                  <a:lnTo>
                    <a:pt x="433" y="15"/>
                  </a:lnTo>
                  <a:lnTo>
                    <a:pt x="434" y="15"/>
                  </a:lnTo>
                  <a:lnTo>
                    <a:pt x="435" y="15"/>
                  </a:lnTo>
                  <a:lnTo>
                    <a:pt x="436" y="15"/>
                  </a:lnTo>
                  <a:lnTo>
                    <a:pt x="437" y="15"/>
                  </a:lnTo>
                  <a:lnTo>
                    <a:pt x="438" y="14"/>
                  </a:lnTo>
                  <a:lnTo>
                    <a:pt x="439" y="14"/>
                  </a:lnTo>
                  <a:lnTo>
                    <a:pt x="440" y="14"/>
                  </a:lnTo>
                  <a:lnTo>
                    <a:pt x="444" y="12"/>
                  </a:lnTo>
                  <a:lnTo>
                    <a:pt x="445" y="12"/>
                  </a:lnTo>
                  <a:lnTo>
                    <a:pt x="447" y="11"/>
                  </a:lnTo>
                  <a:lnTo>
                    <a:pt x="448" y="11"/>
                  </a:lnTo>
                  <a:lnTo>
                    <a:pt x="449" y="11"/>
                  </a:lnTo>
                  <a:lnTo>
                    <a:pt x="450" y="11"/>
                  </a:lnTo>
                  <a:lnTo>
                    <a:pt x="451" y="11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5" y="12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8" y="10"/>
                  </a:lnTo>
                  <a:lnTo>
                    <a:pt x="459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2" y="9"/>
                  </a:lnTo>
                  <a:lnTo>
                    <a:pt x="462" y="9"/>
                  </a:lnTo>
                  <a:lnTo>
                    <a:pt x="462" y="11"/>
                  </a:lnTo>
                  <a:lnTo>
                    <a:pt x="462" y="12"/>
                  </a:lnTo>
                  <a:lnTo>
                    <a:pt x="462" y="12"/>
                  </a:lnTo>
                  <a:lnTo>
                    <a:pt x="463" y="13"/>
                  </a:lnTo>
                  <a:lnTo>
                    <a:pt x="463" y="14"/>
                  </a:lnTo>
                  <a:lnTo>
                    <a:pt x="464" y="14"/>
                  </a:lnTo>
                  <a:lnTo>
                    <a:pt x="464" y="15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9" y="18"/>
                  </a:lnTo>
                  <a:lnTo>
                    <a:pt x="470" y="19"/>
                  </a:lnTo>
                  <a:lnTo>
                    <a:pt x="471" y="21"/>
                  </a:lnTo>
                  <a:lnTo>
                    <a:pt x="472" y="21"/>
                  </a:lnTo>
                  <a:lnTo>
                    <a:pt x="473" y="22"/>
                  </a:lnTo>
                  <a:lnTo>
                    <a:pt x="474" y="22"/>
                  </a:lnTo>
                  <a:lnTo>
                    <a:pt x="475" y="22"/>
                  </a:lnTo>
                  <a:lnTo>
                    <a:pt x="478" y="23"/>
                  </a:lnTo>
                  <a:lnTo>
                    <a:pt x="478" y="23"/>
                  </a:lnTo>
                  <a:lnTo>
                    <a:pt x="479" y="24"/>
                  </a:lnTo>
                  <a:lnTo>
                    <a:pt x="480" y="24"/>
                  </a:lnTo>
                  <a:lnTo>
                    <a:pt x="481" y="25"/>
                  </a:lnTo>
                  <a:lnTo>
                    <a:pt x="482" y="26"/>
                  </a:lnTo>
                  <a:lnTo>
                    <a:pt x="483" y="26"/>
                  </a:lnTo>
                  <a:lnTo>
                    <a:pt x="484" y="28"/>
                  </a:lnTo>
                  <a:lnTo>
                    <a:pt x="486" y="30"/>
                  </a:lnTo>
                  <a:lnTo>
                    <a:pt x="487" y="31"/>
                  </a:lnTo>
                  <a:lnTo>
                    <a:pt x="487" y="32"/>
                  </a:lnTo>
                  <a:lnTo>
                    <a:pt x="488" y="34"/>
                  </a:lnTo>
                  <a:lnTo>
                    <a:pt x="488" y="35"/>
                  </a:lnTo>
                  <a:lnTo>
                    <a:pt x="488" y="36"/>
                  </a:lnTo>
                  <a:lnTo>
                    <a:pt x="488" y="38"/>
                  </a:lnTo>
                  <a:lnTo>
                    <a:pt x="488" y="39"/>
                  </a:lnTo>
                  <a:lnTo>
                    <a:pt x="488" y="41"/>
                  </a:lnTo>
                  <a:lnTo>
                    <a:pt x="487" y="43"/>
                  </a:lnTo>
                  <a:lnTo>
                    <a:pt x="487" y="45"/>
                  </a:lnTo>
                  <a:lnTo>
                    <a:pt x="486" y="47"/>
                  </a:lnTo>
                  <a:lnTo>
                    <a:pt x="485" y="50"/>
                  </a:lnTo>
                  <a:lnTo>
                    <a:pt x="484" y="51"/>
                  </a:lnTo>
                  <a:lnTo>
                    <a:pt x="482" y="55"/>
                  </a:lnTo>
                  <a:lnTo>
                    <a:pt x="482" y="56"/>
                  </a:lnTo>
                  <a:lnTo>
                    <a:pt x="481" y="57"/>
                  </a:lnTo>
                  <a:lnTo>
                    <a:pt x="481" y="57"/>
                  </a:lnTo>
                  <a:lnTo>
                    <a:pt x="481" y="59"/>
                  </a:lnTo>
                  <a:lnTo>
                    <a:pt x="481" y="59"/>
                  </a:lnTo>
                  <a:lnTo>
                    <a:pt x="481" y="60"/>
                  </a:lnTo>
                  <a:lnTo>
                    <a:pt x="481" y="60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4" y="63"/>
                  </a:lnTo>
                  <a:lnTo>
                    <a:pt x="485" y="64"/>
                  </a:lnTo>
                  <a:lnTo>
                    <a:pt x="485" y="64"/>
                  </a:lnTo>
                  <a:lnTo>
                    <a:pt x="486" y="64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2"/>
                  </a:lnTo>
                  <a:lnTo>
                    <a:pt x="495" y="61"/>
                  </a:lnTo>
                  <a:lnTo>
                    <a:pt x="497" y="61"/>
                  </a:lnTo>
                  <a:lnTo>
                    <a:pt x="498" y="60"/>
                  </a:lnTo>
                  <a:lnTo>
                    <a:pt x="499" y="60"/>
                  </a:lnTo>
                  <a:lnTo>
                    <a:pt x="500" y="60"/>
                  </a:lnTo>
                  <a:lnTo>
                    <a:pt x="501" y="60"/>
                  </a:lnTo>
                  <a:lnTo>
                    <a:pt x="501" y="60"/>
                  </a:lnTo>
                  <a:lnTo>
                    <a:pt x="502" y="60"/>
                  </a:lnTo>
                  <a:lnTo>
                    <a:pt x="502" y="61"/>
                  </a:lnTo>
                  <a:lnTo>
                    <a:pt x="503" y="61"/>
                  </a:lnTo>
                  <a:lnTo>
                    <a:pt x="503" y="62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4"/>
                  </a:lnTo>
                  <a:lnTo>
                    <a:pt x="504" y="65"/>
                  </a:lnTo>
                  <a:lnTo>
                    <a:pt x="504" y="66"/>
                  </a:lnTo>
                  <a:lnTo>
                    <a:pt x="504" y="68"/>
                  </a:lnTo>
                  <a:lnTo>
                    <a:pt x="504" y="69"/>
                  </a:lnTo>
                  <a:lnTo>
                    <a:pt x="503" y="70"/>
                  </a:lnTo>
                  <a:lnTo>
                    <a:pt x="502" y="73"/>
                  </a:lnTo>
                  <a:lnTo>
                    <a:pt x="501" y="75"/>
                  </a:lnTo>
                  <a:lnTo>
                    <a:pt x="497" y="84"/>
                  </a:lnTo>
                  <a:lnTo>
                    <a:pt x="495" y="90"/>
                  </a:lnTo>
                  <a:lnTo>
                    <a:pt x="495" y="91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4" y="93"/>
                  </a:lnTo>
                  <a:lnTo>
                    <a:pt x="494" y="93"/>
                  </a:lnTo>
                  <a:lnTo>
                    <a:pt x="493" y="95"/>
                  </a:lnTo>
                  <a:lnTo>
                    <a:pt x="491" y="96"/>
                  </a:lnTo>
                  <a:lnTo>
                    <a:pt x="490" y="97"/>
                  </a:lnTo>
                  <a:lnTo>
                    <a:pt x="489" y="98"/>
                  </a:lnTo>
                  <a:lnTo>
                    <a:pt x="487" y="99"/>
                  </a:lnTo>
                  <a:lnTo>
                    <a:pt x="485" y="100"/>
                  </a:lnTo>
                  <a:lnTo>
                    <a:pt x="484" y="101"/>
                  </a:lnTo>
                  <a:lnTo>
                    <a:pt x="482" y="102"/>
                  </a:lnTo>
                  <a:lnTo>
                    <a:pt x="482" y="102"/>
                  </a:lnTo>
                  <a:lnTo>
                    <a:pt x="482" y="103"/>
                  </a:lnTo>
                  <a:lnTo>
                    <a:pt x="481" y="104"/>
                  </a:lnTo>
                  <a:lnTo>
                    <a:pt x="481" y="104"/>
                  </a:lnTo>
                  <a:lnTo>
                    <a:pt x="480" y="105"/>
                  </a:lnTo>
                  <a:lnTo>
                    <a:pt x="480" y="107"/>
                  </a:lnTo>
                  <a:lnTo>
                    <a:pt x="479" y="108"/>
                  </a:lnTo>
                  <a:lnTo>
                    <a:pt x="478" y="114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6" y="116"/>
                  </a:lnTo>
                  <a:lnTo>
                    <a:pt x="476" y="117"/>
                  </a:lnTo>
                  <a:lnTo>
                    <a:pt x="476" y="117"/>
                  </a:lnTo>
                  <a:lnTo>
                    <a:pt x="475" y="118"/>
                  </a:lnTo>
                  <a:lnTo>
                    <a:pt x="475" y="118"/>
                  </a:lnTo>
                  <a:lnTo>
                    <a:pt x="474" y="118"/>
                  </a:lnTo>
                  <a:lnTo>
                    <a:pt x="474" y="119"/>
                  </a:lnTo>
                  <a:lnTo>
                    <a:pt x="473" y="119"/>
                  </a:lnTo>
                  <a:lnTo>
                    <a:pt x="472" y="119"/>
                  </a:lnTo>
                  <a:lnTo>
                    <a:pt x="471" y="119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69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6" y="118"/>
                  </a:lnTo>
                  <a:lnTo>
                    <a:pt x="464" y="118"/>
                  </a:lnTo>
                  <a:lnTo>
                    <a:pt x="463" y="117"/>
                  </a:lnTo>
                  <a:lnTo>
                    <a:pt x="460" y="115"/>
                  </a:lnTo>
                  <a:lnTo>
                    <a:pt x="458" y="114"/>
                  </a:lnTo>
                  <a:lnTo>
                    <a:pt x="457" y="114"/>
                  </a:lnTo>
                  <a:lnTo>
                    <a:pt x="455" y="113"/>
                  </a:lnTo>
                  <a:lnTo>
                    <a:pt x="454" y="112"/>
                  </a:lnTo>
                  <a:lnTo>
                    <a:pt x="453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1" y="112"/>
                  </a:lnTo>
                  <a:lnTo>
                    <a:pt x="450" y="112"/>
                  </a:lnTo>
                  <a:lnTo>
                    <a:pt x="448" y="113"/>
                  </a:lnTo>
                  <a:lnTo>
                    <a:pt x="447" y="113"/>
                  </a:lnTo>
                  <a:lnTo>
                    <a:pt x="447" y="113"/>
                  </a:lnTo>
                  <a:lnTo>
                    <a:pt x="446" y="113"/>
                  </a:lnTo>
                  <a:lnTo>
                    <a:pt x="446" y="113"/>
                  </a:lnTo>
                  <a:lnTo>
                    <a:pt x="446" y="114"/>
                  </a:lnTo>
                  <a:lnTo>
                    <a:pt x="446" y="114"/>
                  </a:lnTo>
                  <a:lnTo>
                    <a:pt x="446" y="115"/>
                  </a:lnTo>
                  <a:lnTo>
                    <a:pt x="446" y="116"/>
                  </a:lnTo>
                  <a:lnTo>
                    <a:pt x="446" y="119"/>
                  </a:lnTo>
                  <a:lnTo>
                    <a:pt x="446" y="121"/>
                  </a:lnTo>
                  <a:lnTo>
                    <a:pt x="446" y="122"/>
                  </a:lnTo>
                  <a:lnTo>
                    <a:pt x="446" y="123"/>
                  </a:lnTo>
                  <a:lnTo>
                    <a:pt x="446" y="126"/>
                  </a:lnTo>
                  <a:lnTo>
                    <a:pt x="445" y="127"/>
                  </a:lnTo>
                  <a:lnTo>
                    <a:pt x="445" y="128"/>
                  </a:lnTo>
                  <a:lnTo>
                    <a:pt x="445" y="128"/>
                  </a:lnTo>
                  <a:lnTo>
                    <a:pt x="444" y="129"/>
                  </a:lnTo>
                  <a:lnTo>
                    <a:pt x="444" y="130"/>
                  </a:lnTo>
                  <a:lnTo>
                    <a:pt x="442" y="132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0" y="134"/>
                  </a:lnTo>
                  <a:lnTo>
                    <a:pt x="440" y="135"/>
                  </a:lnTo>
                  <a:lnTo>
                    <a:pt x="439" y="136"/>
                  </a:lnTo>
                  <a:lnTo>
                    <a:pt x="439" y="137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7" y="141"/>
                  </a:lnTo>
                  <a:lnTo>
                    <a:pt x="437" y="142"/>
                  </a:lnTo>
                  <a:lnTo>
                    <a:pt x="437" y="143"/>
                  </a:lnTo>
                  <a:lnTo>
                    <a:pt x="437" y="144"/>
                  </a:lnTo>
                  <a:lnTo>
                    <a:pt x="437" y="146"/>
                  </a:lnTo>
                  <a:lnTo>
                    <a:pt x="437" y="146"/>
                  </a:lnTo>
                  <a:lnTo>
                    <a:pt x="437" y="147"/>
                  </a:lnTo>
                  <a:lnTo>
                    <a:pt x="436" y="147"/>
                  </a:lnTo>
                  <a:lnTo>
                    <a:pt x="436" y="147"/>
                  </a:lnTo>
                  <a:lnTo>
                    <a:pt x="436" y="148"/>
                  </a:lnTo>
                  <a:lnTo>
                    <a:pt x="435" y="148"/>
                  </a:lnTo>
                  <a:lnTo>
                    <a:pt x="434" y="149"/>
                  </a:lnTo>
                  <a:lnTo>
                    <a:pt x="433" y="149"/>
                  </a:lnTo>
                  <a:lnTo>
                    <a:pt x="433" y="149"/>
                  </a:lnTo>
                  <a:lnTo>
                    <a:pt x="430" y="152"/>
                  </a:lnTo>
                  <a:lnTo>
                    <a:pt x="427" y="154"/>
                  </a:lnTo>
                  <a:lnTo>
                    <a:pt x="426" y="155"/>
                  </a:lnTo>
                  <a:lnTo>
                    <a:pt x="425" y="156"/>
                  </a:lnTo>
                  <a:lnTo>
                    <a:pt x="425" y="156"/>
                  </a:lnTo>
                  <a:lnTo>
                    <a:pt x="424" y="157"/>
                  </a:lnTo>
                  <a:lnTo>
                    <a:pt x="424" y="158"/>
                  </a:lnTo>
                  <a:lnTo>
                    <a:pt x="423" y="159"/>
                  </a:lnTo>
                  <a:lnTo>
                    <a:pt x="423" y="160"/>
                  </a:lnTo>
                  <a:lnTo>
                    <a:pt x="422" y="162"/>
                  </a:lnTo>
                  <a:lnTo>
                    <a:pt x="422" y="163"/>
                  </a:lnTo>
                  <a:lnTo>
                    <a:pt x="422" y="164"/>
                  </a:lnTo>
                  <a:lnTo>
                    <a:pt x="421" y="167"/>
                  </a:lnTo>
                  <a:lnTo>
                    <a:pt x="421" y="168"/>
                  </a:lnTo>
                  <a:lnTo>
                    <a:pt x="421" y="169"/>
                  </a:lnTo>
                  <a:lnTo>
                    <a:pt x="420" y="170"/>
                  </a:lnTo>
                  <a:lnTo>
                    <a:pt x="420" y="171"/>
                  </a:lnTo>
                  <a:lnTo>
                    <a:pt x="418" y="174"/>
                  </a:lnTo>
                  <a:lnTo>
                    <a:pt x="417" y="176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8"/>
                  </a:lnTo>
                  <a:lnTo>
                    <a:pt x="415" y="178"/>
                  </a:lnTo>
                  <a:lnTo>
                    <a:pt x="415" y="179"/>
                  </a:lnTo>
                  <a:lnTo>
                    <a:pt x="415" y="180"/>
                  </a:lnTo>
                  <a:lnTo>
                    <a:pt x="415" y="181"/>
                  </a:lnTo>
                  <a:lnTo>
                    <a:pt x="415" y="182"/>
                  </a:lnTo>
                  <a:lnTo>
                    <a:pt x="416" y="182"/>
                  </a:lnTo>
                  <a:lnTo>
                    <a:pt x="416" y="183"/>
                  </a:lnTo>
                  <a:lnTo>
                    <a:pt x="417" y="185"/>
                  </a:lnTo>
                  <a:lnTo>
                    <a:pt x="417" y="186"/>
                  </a:lnTo>
                  <a:lnTo>
                    <a:pt x="418" y="187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19" y="193"/>
                  </a:lnTo>
                  <a:lnTo>
                    <a:pt x="419" y="196"/>
                  </a:lnTo>
                  <a:lnTo>
                    <a:pt x="420" y="196"/>
                  </a:lnTo>
                  <a:lnTo>
                    <a:pt x="420" y="198"/>
                  </a:lnTo>
                  <a:lnTo>
                    <a:pt x="421" y="199"/>
                  </a:lnTo>
                  <a:lnTo>
                    <a:pt x="422" y="201"/>
                  </a:lnTo>
                  <a:lnTo>
                    <a:pt x="423" y="205"/>
                  </a:lnTo>
                  <a:lnTo>
                    <a:pt x="425" y="209"/>
                  </a:lnTo>
                  <a:lnTo>
                    <a:pt x="426" y="210"/>
                  </a:lnTo>
                  <a:lnTo>
                    <a:pt x="427" y="211"/>
                  </a:lnTo>
                  <a:lnTo>
                    <a:pt x="428" y="213"/>
                  </a:lnTo>
                  <a:lnTo>
                    <a:pt x="428" y="214"/>
                  </a:lnTo>
                  <a:lnTo>
                    <a:pt x="430" y="216"/>
                  </a:lnTo>
                  <a:lnTo>
                    <a:pt x="430" y="217"/>
                  </a:lnTo>
                  <a:lnTo>
                    <a:pt x="431" y="218"/>
                  </a:lnTo>
                  <a:lnTo>
                    <a:pt x="432" y="220"/>
                  </a:lnTo>
                  <a:lnTo>
                    <a:pt x="433" y="222"/>
                  </a:lnTo>
                  <a:lnTo>
                    <a:pt x="433" y="223"/>
                  </a:lnTo>
                  <a:lnTo>
                    <a:pt x="436" y="230"/>
                  </a:lnTo>
                  <a:lnTo>
                    <a:pt x="436" y="230"/>
                  </a:lnTo>
                  <a:lnTo>
                    <a:pt x="437" y="231"/>
                  </a:lnTo>
                  <a:lnTo>
                    <a:pt x="439" y="236"/>
                  </a:lnTo>
                  <a:lnTo>
                    <a:pt x="441" y="240"/>
                  </a:lnTo>
                  <a:lnTo>
                    <a:pt x="442" y="240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44" y="243"/>
                  </a:lnTo>
                  <a:lnTo>
                    <a:pt x="445" y="243"/>
                  </a:lnTo>
                  <a:lnTo>
                    <a:pt x="447" y="245"/>
                  </a:lnTo>
                  <a:lnTo>
                    <a:pt x="448" y="246"/>
                  </a:lnTo>
                  <a:lnTo>
                    <a:pt x="450" y="247"/>
                  </a:lnTo>
                  <a:lnTo>
                    <a:pt x="451" y="248"/>
                  </a:lnTo>
                  <a:lnTo>
                    <a:pt x="451" y="249"/>
                  </a:lnTo>
                  <a:lnTo>
                    <a:pt x="452" y="249"/>
                  </a:lnTo>
                  <a:lnTo>
                    <a:pt x="453" y="250"/>
                  </a:lnTo>
                  <a:lnTo>
                    <a:pt x="453" y="251"/>
                  </a:lnTo>
                  <a:lnTo>
                    <a:pt x="454" y="252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5"/>
                  </a:lnTo>
                  <a:lnTo>
                    <a:pt x="455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3" y="254"/>
                  </a:lnTo>
                  <a:lnTo>
                    <a:pt x="453" y="255"/>
                  </a:lnTo>
                  <a:lnTo>
                    <a:pt x="452" y="255"/>
                  </a:lnTo>
                  <a:lnTo>
                    <a:pt x="452" y="256"/>
                  </a:lnTo>
                  <a:lnTo>
                    <a:pt x="451" y="256"/>
                  </a:lnTo>
                  <a:lnTo>
                    <a:pt x="450" y="257"/>
                  </a:lnTo>
                  <a:lnTo>
                    <a:pt x="450" y="258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60"/>
                  </a:lnTo>
                  <a:lnTo>
                    <a:pt x="449" y="260"/>
                  </a:lnTo>
                  <a:lnTo>
                    <a:pt x="449" y="261"/>
                  </a:lnTo>
                  <a:lnTo>
                    <a:pt x="449" y="262"/>
                  </a:lnTo>
                  <a:lnTo>
                    <a:pt x="449" y="262"/>
                  </a:lnTo>
                  <a:lnTo>
                    <a:pt x="449" y="264"/>
                  </a:lnTo>
                  <a:lnTo>
                    <a:pt x="450" y="267"/>
                  </a:lnTo>
                  <a:lnTo>
                    <a:pt x="450" y="269"/>
                  </a:lnTo>
                  <a:lnTo>
                    <a:pt x="450" y="270"/>
                  </a:lnTo>
                  <a:lnTo>
                    <a:pt x="450" y="273"/>
                  </a:lnTo>
                  <a:lnTo>
                    <a:pt x="450" y="274"/>
                  </a:lnTo>
                  <a:lnTo>
                    <a:pt x="450" y="275"/>
                  </a:lnTo>
                  <a:lnTo>
                    <a:pt x="450" y="275"/>
                  </a:lnTo>
                  <a:lnTo>
                    <a:pt x="450" y="276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7" y="279"/>
                  </a:lnTo>
                  <a:lnTo>
                    <a:pt x="445" y="280"/>
                  </a:lnTo>
                  <a:lnTo>
                    <a:pt x="442" y="281"/>
                  </a:lnTo>
                  <a:lnTo>
                    <a:pt x="439" y="281"/>
                  </a:lnTo>
                  <a:lnTo>
                    <a:pt x="438" y="282"/>
                  </a:lnTo>
                  <a:lnTo>
                    <a:pt x="438" y="282"/>
                  </a:lnTo>
                  <a:lnTo>
                    <a:pt x="437" y="282"/>
                  </a:lnTo>
                  <a:lnTo>
                    <a:pt x="437" y="283"/>
                  </a:lnTo>
                  <a:lnTo>
                    <a:pt x="436" y="286"/>
                  </a:lnTo>
                  <a:lnTo>
                    <a:pt x="434" y="288"/>
                  </a:lnTo>
                  <a:lnTo>
                    <a:pt x="434" y="289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2" y="291"/>
                  </a:lnTo>
                  <a:lnTo>
                    <a:pt x="431" y="291"/>
                  </a:lnTo>
                  <a:lnTo>
                    <a:pt x="430" y="291"/>
                  </a:lnTo>
                  <a:lnTo>
                    <a:pt x="429" y="291"/>
                  </a:lnTo>
                  <a:lnTo>
                    <a:pt x="428" y="291"/>
                  </a:lnTo>
                  <a:lnTo>
                    <a:pt x="424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2" y="289"/>
                  </a:lnTo>
                  <a:lnTo>
                    <a:pt x="422" y="289"/>
                  </a:lnTo>
                  <a:lnTo>
                    <a:pt x="421" y="289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1"/>
                  </a:lnTo>
                  <a:lnTo>
                    <a:pt x="420" y="292"/>
                  </a:lnTo>
                  <a:lnTo>
                    <a:pt x="420" y="294"/>
                  </a:lnTo>
                  <a:lnTo>
                    <a:pt x="420" y="296"/>
                  </a:lnTo>
                  <a:lnTo>
                    <a:pt x="420" y="297"/>
                  </a:lnTo>
                  <a:lnTo>
                    <a:pt x="420" y="298"/>
                  </a:lnTo>
                  <a:lnTo>
                    <a:pt x="420" y="299"/>
                  </a:lnTo>
                  <a:lnTo>
                    <a:pt x="420" y="300"/>
                  </a:lnTo>
                  <a:lnTo>
                    <a:pt x="420" y="301"/>
                  </a:lnTo>
                  <a:lnTo>
                    <a:pt x="421" y="302"/>
                  </a:lnTo>
                  <a:lnTo>
                    <a:pt x="421" y="305"/>
                  </a:lnTo>
                  <a:lnTo>
                    <a:pt x="422" y="306"/>
                  </a:lnTo>
                  <a:lnTo>
                    <a:pt x="422" y="307"/>
                  </a:lnTo>
                  <a:lnTo>
                    <a:pt x="422" y="308"/>
                  </a:lnTo>
                  <a:lnTo>
                    <a:pt x="422" y="309"/>
                  </a:lnTo>
                  <a:lnTo>
                    <a:pt x="422" y="311"/>
                  </a:lnTo>
                  <a:lnTo>
                    <a:pt x="422" y="312"/>
                  </a:lnTo>
                  <a:lnTo>
                    <a:pt x="421" y="313"/>
                  </a:lnTo>
                  <a:lnTo>
                    <a:pt x="421" y="315"/>
                  </a:lnTo>
                  <a:lnTo>
                    <a:pt x="420" y="319"/>
                  </a:lnTo>
                  <a:lnTo>
                    <a:pt x="420" y="320"/>
                  </a:lnTo>
                  <a:lnTo>
                    <a:pt x="420" y="321"/>
                  </a:lnTo>
                  <a:lnTo>
                    <a:pt x="419" y="322"/>
                  </a:lnTo>
                  <a:lnTo>
                    <a:pt x="419" y="323"/>
                  </a:lnTo>
                  <a:lnTo>
                    <a:pt x="418" y="323"/>
                  </a:lnTo>
                  <a:lnTo>
                    <a:pt x="418" y="324"/>
                  </a:lnTo>
                  <a:lnTo>
                    <a:pt x="418" y="324"/>
                  </a:lnTo>
                  <a:lnTo>
                    <a:pt x="417" y="324"/>
                  </a:lnTo>
                  <a:lnTo>
                    <a:pt x="417" y="325"/>
                  </a:lnTo>
                  <a:lnTo>
                    <a:pt x="416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3" y="325"/>
                  </a:lnTo>
                  <a:lnTo>
                    <a:pt x="411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4"/>
                  </a:lnTo>
                  <a:lnTo>
                    <a:pt x="401" y="325"/>
                  </a:lnTo>
                  <a:lnTo>
                    <a:pt x="395" y="326"/>
                  </a:lnTo>
                  <a:lnTo>
                    <a:pt x="394" y="326"/>
                  </a:lnTo>
                  <a:lnTo>
                    <a:pt x="393" y="326"/>
                  </a:lnTo>
                  <a:lnTo>
                    <a:pt x="392" y="327"/>
                  </a:lnTo>
                  <a:lnTo>
                    <a:pt x="391" y="327"/>
                  </a:lnTo>
                  <a:lnTo>
                    <a:pt x="391" y="327"/>
                  </a:lnTo>
                  <a:lnTo>
                    <a:pt x="390" y="328"/>
                  </a:lnTo>
                  <a:lnTo>
                    <a:pt x="388" y="330"/>
                  </a:lnTo>
                  <a:lnTo>
                    <a:pt x="387" y="331"/>
                  </a:lnTo>
                  <a:lnTo>
                    <a:pt x="386" y="332"/>
                  </a:lnTo>
                  <a:lnTo>
                    <a:pt x="385" y="332"/>
                  </a:lnTo>
                  <a:lnTo>
                    <a:pt x="384" y="333"/>
                  </a:lnTo>
                  <a:lnTo>
                    <a:pt x="384" y="333"/>
                  </a:lnTo>
                  <a:lnTo>
                    <a:pt x="383" y="333"/>
                  </a:lnTo>
                  <a:lnTo>
                    <a:pt x="383" y="333"/>
                  </a:lnTo>
                  <a:lnTo>
                    <a:pt x="382" y="333"/>
                  </a:lnTo>
                  <a:lnTo>
                    <a:pt x="381" y="333"/>
                  </a:lnTo>
                  <a:lnTo>
                    <a:pt x="379" y="333"/>
                  </a:lnTo>
                  <a:lnTo>
                    <a:pt x="376" y="332"/>
                  </a:lnTo>
                  <a:lnTo>
                    <a:pt x="372" y="331"/>
                  </a:lnTo>
                  <a:lnTo>
                    <a:pt x="370" y="331"/>
                  </a:lnTo>
                  <a:lnTo>
                    <a:pt x="368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6" y="330"/>
                  </a:lnTo>
                  <a:lnTo>
                    <a:pt x="365" y="330"/>
                  </a:lnTo>
                  <a:lnTo>
                    <a:pt x="365" y="331"/>
                  </a:lnTo>
                  <a:lnTo>
                    <a:pt x="363" y="332"/>
                  </a:lnTo>
                  <a:lnTo>
                    <a:pt x="361" y="332"/>
                  </a:lnTo>
                  <a:lnTo>
                    <a:pt x="359" y="332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3" y="333"/>
                  </a:lnTo>
                  <a:lnTo>
                    <a:pt x="350" y="333"/>
                  </a:lnTo>
                  <a:lnTo>
                    <a:pt x="348" y="333"/>
                  </a:lnTo>
                  <a:lnTo>
                    <a:pt x="346" y="333"/>
                  </a:lnTo>
                  <a:lnTo>
                    <a:pt x="340" y="332"/>
                  </a:lnTo>
                  <a:lnTo>
                    <a:pt x="338" y="332"/>
                  </a:lnTo>
                  <a:lnTo>
                    <a:pt x="336" y="332"/>
                  </a:lnTo>
                  <a:lnTo>
                    <a:pt x="333" y="331"/>
                  </a:lnTo>
                  <a:lnTo>
                    <a:pt x="329" y="330"/>
                  </a:lnTo>
                  <a:lnTo>
                    <a:pt x="325" y="329"/>
                  </a:lnTo>
                  <a:lnTo>
                    <a:pt x="323" y="328"/>
                  </a:lnTo>
                  <a:lnTo>
                    <a:pt x="322" y="328"/>
                  </a:lnTo>
                  <a:lnTo>
                    <a:pt x="317" y="328"/>
                  </a:lnTo>
                  <a:lnTo>
                    <a:pt x="316" y="328"/>
                  </a:lnTo>
                  <a:lnTo>
                    <a:pt x="315" y="328"/>
                  </a:lnTo>
                  <a:lnTo>
                    <a:pt x="314" y="328"/>
                  </a:lnTo>
                  <a:lnTo>
                    <a:pt x="313" y="328"/>
                  </a:lnTo>
                  <a:lnTo>
                    <a:pt x="313" y="328"/>
                  </a:lnTo>
                  <a:lnTo>
                    <a:pt x="312" y="329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09" y="331"/>
                  </a:lnTo>
                  <a:lnTo>
                    <a:pt x="309" y="331"/>
                  </a:lnTo>
                  <a:lnTo>
                    <a:pt x="308" y="332"/>
                  </a:lnTo>
                  <a:lnTo>
                    <a:pt x="307" y="333"/>
                  </a:lnTo>
                  <a:lnTo>
                    <a:pt x="307" y="333"/>
                  </a:lnTo>
                  <a:lnTo>
                    <a:pt x="307" y="334"/>
                  </a:lnTo>
                  <a:lnTo>
                    <a:pt x="307" y="335"/>
                  </a:lnTo>
                  <a:lnTo>
                    <a:pt x="307" y="335"/>
                  </a:lnTo>
                  <a:lnTo>
                    <a:pt x="307" y="336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4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4" y="346"/>
                  </a:lnTo>
                  <a:lnTo>
                    <a:pt x="304" y="346"/>
                  </a:lnTo>
                  <a:lnTo>
                    <a:pt x="302" y="346"/>
                  </a:lnTo>
                  <a:lnTo>
                    <a:pt x="301" y="346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298" y="347"/>
                  </a:lnTo>
                  <a:lnTo>
                    <a:pt x="298" y="347"/>
                  </a:lnTo>
                  <a:lnTo>
                    <a:pt x="297" y="347"/>
                  </a:lnTo>
                  <a:lnTo>
                    <a:pt x="297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2"/>
                  </a:lnTo>
                  <a:lnTo>
                    <a:pt x="295" y="353"/>
                  </a:lnTo>
                  <a:lnTo>
                    <a:pt x="294" y="353"/>
                  </a:lnTo>
                  <a:lnTo>
                    <a:pt x="292" y="355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89" y="357"/>
                  </a:lnTo>
                  <a:lnTo>
                    <a:pt x="288" y="358"/>
                  </a:lnTo>
                  <a:lnTo>
                    <a:pt x="287" y="359"/>
                  </a:lnTo>
                  <a:lnTo>
                    <a:pt x="286" y="359"/>
                  </a:lnTo>
                  <a:lnTo>
                    <a:pt x="285" y="359"/>
                  </a:lnTo>
                  <a:lnTo>
                    <a:pt x="282" y="360"/>
                  </a:lnTo>
                  <a:lnTo>
                    <a:pt x="281" y="361"/>
                  </a:lnTo>
                  <a:lnTo>
                    <a:pt x="280" y="361"/>
                  </a:lnTo>
                  <a:lnTo>
                    <a:pt x="278" y="361"/>
                  </a:lnTo>
                  <a:lnTo>
                    <a:pt x="278" y="362"/>
                  </a:lnTo>
                  <a:lnTo>
                    <a:pt x="277" y="362"/>
                  </a:lnTo>
                  <a:lnTo>
                    <a:pt x="276" y="363"/>
                  </a:lnTo>
                  <a:lnTo>
                    <a:pt x="275" y="364"/>
                  </a:lnTo>
                  <a:lnTo>
                    <a:pt x="274" y="364"/>
                  </a:lnTo>
                  <a:lnTo>
                    <a:pt x="273" y="365"/>
                  </a:lnTo>
                  <a:lnTo>
                    <a:pt x="272" y="367"/>
                  </a:lnTo>
                  <a:lnTo>
                    <a:pt x="270" y="369"/>
                  </a:lnTo>
                  <a:lnTo>
                    <a:pt x="269" y="370"/>
                  </a:lnTo>
                  <a:lnTo>
                    <a:pt x="268" y="371"/>
                  </a:lnTo>
                  <a:lnTo>
                    <a:pt x="268" y="371"/>
                  </a:lnTo>
                  <a:lnTo>
                    <a:pt x="267" y="371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5" y="372"/>
                  </a:lnTo>
                  <a:lnTo>
                    <a:pt x="265" y="372"/>
                  </a:lnTo>
                  <a:lnTo>
                    <a:pt x="264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3" y="371"/>
                  </a:lnTo>
                  <a:lnTo>
                    <a:pt x="262" y="371"/>
                  </a:lnTo>
                  <a:lnTo>
                    <a:pt x="261" y="370"/>
                  </a:lnTo>
                  <a:lnTo>
                    <a:pt x="259" y="368"/>
                  </a:lnTo>
                  <a:lnTo>
                    <a:pt x="259" y="368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4" y="366"/>
                  </a:lnTo>
                  <a:lnTo>
                    <a:pt x="253" y="366"/>
                  </a:lnTo>
                  <a:lnTo>
                    <a:pt x="253" y="367"/>
                  </a:lnTo>
                  <a:lnTo>
                    <a:pt x="252" y="367"/>
                  </a:lnTo>
                  <a:lnTo>
                    <a:pt x="251" y="368"/>
                  </a:lnTo>
                  <a:lnTo>
                    <a:pt x="250" y="369"/>
                  </a:lnTo>
                  <a:lnTo>
                    <a:pt x="249" y="370"/>
                  </a:lnTo>
                  <a:lnTo>
                    <a:pt x="246" y="373"/>
                  </a:lnTo>
                  <a:lnTo>
                    <a:pt x="244" y="374"/>
                  </a:lnTo>
                  <a:lnTo>
                    <a:pt x="244" y="375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8" y="378"/>
                  </a:lnTo>
                  <a:lnTo>
                    <a:pt x="236" y="380"/>
                  </a:lnTo>
                  <a:lnTo>
                    <a:pt x="235" y="380"/>
                  </a:lnTo>
                  <a:lnTo>
                    <a:pt x="234" y="381"/>
                  </a:lnTo>
                  <a:lnTo>
                    <a:pt x="233" y="381"/>
                  </a:lnTo>
                  <a:lnTo>
                    <a:pt x="232" y="381"/>
                  </a:lnTo>
                  <a:lnTo>
                    <a:pt x="231" y="381"/>
                  </a:lnTo>
                  <a:lnTo>
                    <a:pt x="230" y="381"/>
                  </a:lnTo>
                  <a:lnTo>
                    <a:pt x="228" y="381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2"/>
                  </a:lnTo>
                  <a:lnTo>
                    <a:pt x="220" y="382"/>
                  </a:lnTo>
                  <a:lnTo>
                    <a:pt x="218" y="381"/>
                  </a:lnTo>
                  <a:lnTo>
                    <a:pt x="217" y="381"/>
                  </a:lnTo>
                  <a:lnTo>
                    <a:pt x="215" y="381"/>
                  </a:lnTo>
                  <a:lnTo>
                    <a:pt x="214" y="380"/>
                  </a:lnTo>
                  <a:lnTo>
                    <a:pt x="214" y="380"/>
                  </a:lnTo>
                  <a:lnTo>
                    <a:pt x="213" y="380"/>
                  </a:lnTo>
                  <a:lnTo>
                    <a:pt x="212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09" y="379"/>
                  </a:lnTo>
                  <a:lnTo>
                    <a:pt x="208" y="380"/>
                  </a:lnTo>
                  <a:lnTo>
                    <a:pt x="207" y="381"/>
                  </a:lnTo>
                  <a:lnTo>
                    <a:pt x="203" y="385"/>
                  </a:lnTo>
                  <a:lnTo>
                    <a:pt x="200" y="387"/>
                  </a:lnTo>
                  <a:lnTo>
                    <a:pt x="198" y="389"/>
                  </a:lnTo>
                  <a:lnTo>
                    <a:pt x="198" y="389"/>
                  </a:lnTo>
                  <a:lnTo>
                    <a:pt x="197" y="390"/>
                  </a:lnTo>
                  <a:lnTo>
                    <a:pt x="196" y="391"/>
                  </a:lnTo>
                  <a:lnTo>
                    <a:pt x="195" y="393"/>
                  </a:lnTo>
                  <a:lnTo>
                    <a:pt x="194" y="393"/>
                  </a:lnTo>
                  <a:lnTo>
                    <a:pt x="193" y="394"/>
                  </a:lnTo>
                  <a:lnTo>
                    <a:pt x="192" y="395"/>
                  </a:lnTo>
                  <a:lnTo>
                    <a:pt x="191" y="395"/>
                  </a:lnTo>
                  <a:lnTo>
                    <a:pt x="190" y="396"/>
                  </a:lnTo>
                  <a:lnTo>
                    <a:pt x="188" y="396"/>
                  </a:lnTo>
                  <a:lnTo>
                    <a:pt x="186" y="397"/>
                  </a:lnTo>
                  <a:lnTo>
                    <a:pt x="185" y="397"/>
                  </a:lnTo>
                  <a:lnTo>
                    <a:pt x="183" y="397"/>
                  </a:lnTo>
                  <a:lnTo>
                    <a:pt x="182" y="397"/>
                  </a:lnTo>
                  <a:lnTo>
                    <a:pt x="181" y="397"/>
                  </a:lnTo>
                  <a:lnTo>
                    <a:pt x="179" y="397"/>
                  </a:lnTo>
                  <a:lnTo>
                    <a:pt x="178" y="397"/>
                  </a:lnTo>
                  <a:lnTo>
                    <a:pt x="176" y="397"/>
                  </a:lnTo>
                  <a:lnTo>
                    <a:pt x="175" y="397"/>
                  </a:lnTo>
                  <a:lnTo>
                    <a:pt x="174" y="398"/>
                  </a:lnTo>
                  <a:lnTo>
                    <a:pt x="173" y="398"/>
                  </a:lnTo>
                  <a:lnTo>
                    <a:pt x="172" y="399"/>
                  </a:lnTo>
                  <a:lnTo>
                    <a:pt x="171" y="400"/>
                  </a:lnTo>
                  <a:lnTo>
                    <a:pt x="169" y="401"/>
                  </a:lnTo>
                  <a:lnTo>
                    <a:pt x="167" y="402"/>
                  </a:lnTo>
                  <a:lnTo>
                    <a:pt x="167" y="403"/>
                  </a:lnTo>
                  <a:lnTo>
                    <a:pt x="165" y="404"/>
                  </a:lnTo>
                  <a:lnTo>
                    <a:pt x="164" y="405"/>
                  </a:lnTo>
                  <a:lnTo>
                    <a:pt x="162" y="406"/>
                  </a:lnTo>
                  <a:lnTo>
                    <a:pt x="160" y="408"/>
                  </a:lnTo>
                  <a:lnTo>
                    <a:pt x="160" y="409"/>
                  </a:lnTo>
                  <a:lnTo>
                    <a:pt x="159" y="409"/>
                  </a:lnTo>
                  <a:lnTo>
                    <a:pt x="159" y="410"/>
                  </a:lnTo>
                  <a:lnTo>
                    <a:pt x="159" y="410"/>
                  </a:lnTo>
                  <a:lnTo>
                    <a:pt x="158" y="411"/>
                  </a:lnTo>
                  <a:lnTo>
                    <a:pt x="158" y="412"/>
                  </a:lnTo>
                  <a:lnTo>
                    <a:pt x="158" y="415"/>
                  </a:lnTo>
                  <a:lnTo>
                    <a:pt x="158" y="415"/>
                  </a:lnTo>
                  <a:lnTo>
                    <a:pt x="157" y="416"/>
                  </a:lnTo>
                  <a:lnTo>
                    <a:pt x="157" y="418"/>
                  </a:lnTo>
                  <a:lnTo>
                    <a:pt x="157" y="418"/>
                  </a:lnTo>
                  <a:lnTo>
                    <a:pt x="157" y="419"/>
                  </a:lnTo>
                  <a:lnTo>
                    <a:pt x="157" y="420"/>
                  </a:lnTo>
                  <a:lnTo>
                    <a:pt x="157" y="421"/>
                  </a:lnTo>
                  <a:lnTo>
                    <a:pt x="157" y="422"/>
                  </a:lnTo>
                  <a:lnTo>
                    <a:pt x="156" y="423"/>
                  </a:lnTo>
                  <a:lnTo>
                    <a:pt x="156" y="423"/>
                  </a:lnTo>
                  <a:lnTo>
                    <a:pt x="156" y="424"/>
                  </a:lnTo>
                  <a:lnTo>
                    <a:pt x="156" y="424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3" y="425"/>
                  </a:lnTo>
                  <a:lnTo>
                    <a:pt x="153" y="426"/>
                  </a:lnTo>
                  <a:lnTo>
                    <a:pt x="152" y="426"/>
                  </a:lnTo>
                  <a:lnTo>
                    <a:pt x="152" y="426"/>
                  </a:lnTo>
                  <a:lnTo>
                    <a:pt x="152" y="427"/>
                  </a:lnTo>
                  <a:lnTo>
                    <a:pt x="151" y="429"/>
                  </a:lnTo>
                  <a:lnTo>
                    <a:pt x="150" y="430"/>
                  </a:lnTo>
                  <a:lnTo>
                    <a:pt x="150" y="431"/>
                  </a:lnTo>
                  <a:lnTo>
                    <a:pt x="149" y="433"/>
                  </a:lnTo>
                  <a:lnTo>
                    <a:pt x="148" y="433"/>
                  </a:lnTo>
                  <a:lnTo>
                    <a:pt x="148" y="434"/>
                  </a:lnTo>
                  <a:lnTo>
                    <a:pt x="147" y="434"/>
                  </a:lnTo>
                  <a:lnTo>
                    <a:pt x="147" y="434"/>
                  </a:lnTo>
                  <a:lnTo>
                    <a:pt x="146" y="434"/>
                  </a:lnTo>
                  <a:lnTo>
                    <a:pt x="145" y="434"/>
                  </a:lnTo>
                  <a:lnTo>
                    <a:pt x="144" y="434"/>
                  </a:lnTo>
                  <a:lnTo>
                    <a:pt x="143" y="434"/>
                  </a:lnTo>
                  <a:lnTo>
                    <a:pt x="142" y="435"/>
                  </a:lnTo>
                  <a:lnTo>
                    <a:pt x="141" y="435"/>
                  </a:lnTo>
                  <a:lnTo>
                    <a:pt x="140" y="435"/>
                  </a:lnTo>
                  <a:lnTo>
                    <a:pt x="139" y="436"/>
                  </a:lnTo>
                  <a:lnTo>
                    <a:pt x="138" y="436"/>
                  </a:lnTo>
                  <a:lnTo>
                    <a:pt x="137" y="437"/>
                  </a:lnTo>
                  <a:lnTo>
                    <a:pt x="136" y="438"/>
                  </a:lnTo>
                  <a:lnTo>
                    <a:pt x="135" y="439"/>
                  </a:lnTo>
                  <a:lnTo>
                    <a:pt x="134" y="440"/>
                  </a:lnTo>
                  <a:lnTo>
                    <a:pt x="133" y="440"/>
                  </a:lnTo>
                  <a:lnTo>
                    <a:pt x="133" y="441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2" y="443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0" y="445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5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3" y="447"/>
                  </a:lnTo>
                  <a:lnTo>
                    <a:pt x="123" y="447"/>
                  </a:lnTo>
                  <a:lnTo>
                    <a:pt x="123" y="446"/>
                  </a:lnTo>
                  <a:lnTo>
                    <a:pt x="122" y="446"/>
                  </a:lnTo>
                  <a:lnTo>
                    <a:pt x="122" y="446"/>
                  </a:lnTo>
                  <a:lnTo>
                    <a:pt x="122" y="445"/>
                  </a:lnTo>
                  <a:lnTo>
                    <a:pt x="121" y="443"/>
                  </a:lnTo>
                  <a:lnTo>
                    <a:pt x="121" y="442"/>
                  </a:lnTo>
                  <a:lnTo>
                    <a:pt x="120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7" y="436"/>
                  </a:lnTo>
                  <a:lnTo>
                    <a:pt x="116" y="437"/>
                  </a:lnTo>
                  <a:lnTo>
                    <a:pt x="115" y="437"/>
                  </a:lnTo>
                  <a:lnTo>
                    <a:pt x="115" y="437"/>
                  </a:lnTo>
                  <a:lnTo>
                    <a:pt x="114" y="438"/>
                  </a:lnTo>
                  <a:lnTo>
                    <a:pt x="114" y="438"/>
                  </a:lnTo>
                  <a:lnTo>
                    <a:pt x="112" y="440"/>
                  </a:lnTo>
                  <a:lnTo>
                    <a:pt x="112" y="440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0" y="441"/>
                  </a:lnTo>
                  <a:lnTo>
                    <a:pt x="110" y="441"/>
                  </a:lnTo>
                  <a:lnTo>
                    <a:pt x="109" y="441"/>
                  </a:lnTo>
                  <a:lnTo>
                    <a:pt x="109" y="440"/>
                  </a:lnTo>
                  <a:lnTo>
                    <a:pt x="109" y="440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8" y="437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5"/>
                  </a:lnTo>
                  <a:lnTo>
                    <a:pt x="108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5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0" y="435"/>
                  </a:lnTo>
                  <a:lnTo>
                    <a:pt x="100" y="434"/>
                  </a:lnTo>
                  <a:lnTo>
                    <a:pt x="99" y="433"/>
                  </a:lnTo>
                  <a:lnTo>
                    <a:pt x="99" y="432"/>
                  </a:lnTo>
                  <a:lnTo>
                    <a:pt x="98" y="431"/>
                  </a:lnTo>
                  <a:lnTo>
                    <a:pt x="96" y="429"/>
                  </a:lnTo>
                  <a:lnTo>
                    <a:pt x="95" y="428"/>
                  </a:lnTo>
                  <a:lnTo>
                    <a:pt x="95" y="427"/>
                  </a:lnTo>
                  <a:lnTo>
                    <a:pt x="94" y="426"/>
                  </a:lnTo>
                  <a:lnTo>
                    <a:pt x="93" y="426"/>
                  </a:lnTo>
                  <a:lnTo>
                    <a:pt x="92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0" y="424"/>
                  </a:lnTo>
                  <a:lnTo>
                    <a:pt x="86" y="424"/>
                  </a:lnTo>
                  <a:lnTo>
                    <a:pt x="85" y="424"/>
                  </a:lnTo>
                  <a:lnTo>
                    <a:pt x="85" y="423"/>
                  </a:lnTo>
                  <a:lnTo>
                    <a:pt x="84" y="423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4" y="419"/>
                  </a:lnTo>
                  <a:lnTo>
                    <a:pt x="84" y="418"/>
                  </a:lnTo>
                  <a:lnTo>
                    <a:pt x="84" y="418"/>
                  </a:lnTo>
                  <a:lnTo>
                    <a:pt x="85" y="418"/>
                  </a:lnTo>
                  <a:lnTo>
                    <a:pt x="86" y="417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8" y="417"/>
                  </a:lnTo>
                  <a:lnTo>
                    <a:pt x="89" y="417"/>
                  </a:lnTo>
                  <a:lnTo>
                    <a:pt x="90" y="417"/>
                  </a:lnTo>
                  <a:lnTo>
                    <a:pt x="93" y="418"/>
                  </a:lnTo>
                  <a:lnTo>
                    <a:pt x="93" y="418"/>
                  </a:lnTo>
                  <a:lnTo>
                    <a:pt x="94" y="418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5" y="417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4" y="415"/>
                  </a:lnTo>
                  <a:lnTo>
                    <a:pt x="94" y="413"/>
                  </a:lnTo>
                  <a:lnTo>
                    <a:pt x="94" y="412"/>
                  </a:lnTo>
                  <a:lnTo>
                    <a:pt x="94" y="411"/>
                  </a:lnTo>
                  <a:lnTo>
                    <a:pt x="94" y="411"/>
                  </a:lnTo>
                  <a:lnTo>
                    <a:pt x="94" y="410"/>
                  </a:lnTo>
                  <a:lnTo>
                    <a:pt x="95" y="409"/>
                  </a:lnTo>
                  <a:lnTo>
                    <a:pt x="95" y="409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6" y="407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6" y="405"/>
                  </a:lnTo>
                  <a:lnTo>
                    <a:pt x="95" y="404"/>
                  </a:lnTo>
                  <a:lnTo>
                    <a:pt x="95" y="401"/>
                  </a:lnTo>
                  <a:lnTo>
                    <a:pt x="94" y="400"/>
                  </a:lnTo>
                  <a:lnTo>
                    <a:pt x="94" y="398"/>
                  </a:lnTo>
                  <a:lnTo>
                    <a:pt x="92" y="394"/>
                  </a:lnTo>
                  <a:lnTo>
                    <a:pt x="91" y="392"/>
                  </a:lnTo>
                  <a:lnTo>
                    <a:pt x="90" y="390"/>
                  </a:lnTo>
                  <a:lnTo>
                    <a:pt x="89" y="389"/>
                  </a:lnTo>
                  <a:lnTo>
                    <a:pt x="87" y="386"/>
                  </a:lnTo>
                  <a:lnTo>
                    <a:pt x="87" y="386"/>
                  </a:lnTo>
                  <a:lnTo>
                    <a:pt x="87" y="385"/>
                  </a:lnTo>
                  <a:lnTo>
                    <a:pt x="87" y="385"/>
                  </a:lnTo>
                  <a:lnTo>
                    <a:pt x="87" y="384"/>
                  </a:lnTo>
                  <a:lnTo>
                    <a:pt x="87" y="381"/>
                  </a:lnTo>
                  <a:lnTo>
                    <a:pt x="87" y="380"/>
                  </a:lnTo>
                  <a:lnTo>
                    <a:pt x="86" y="378"/>
                  </a:lnTo>
                  <a:lnTo>
                    <a:pt x="86" y="378"/>
                  </a:lnTo>
                  <a:lnTo>
                    <a:pt x="86" y="377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3" y="374"/>
                  </a:lnTo>
                  <a:lnTo>
                    <a:pt x="83" y="373"/>
                  </a:lnTo>
                  <a:lnTo>
                    <a:pt x="82" y="373"/>
                  </a:lnTo>
                  <a:lnTo>
                    <a:pt x="82" y="372"/>
                  </a:lnTo>
                  <a:lnTo>
                    <a:pt x="82" y="372"/>
                  </a:lnTo>
                  <a:lnTo>
                    <a:pt x="82" y="371"/>
                  </a:lnTo>
                  <a:lnTo>
                    <a:pt x="81" y="370"/>
                  </a:lnTo>
                  <a:lnTo>
                    <a:pt x="82" y="370"/>
                  </a:lnTo>
                  <a:lnTo>
                    <a:pt x="82" y="369"/>
                  </a:lnTo>
                  <a:lnTo>
                    <a:pt x="82" y="367"/>
                  </a:lnTo>
                  <a:lnTo>
                    <a:pt x="82" y="366"/>
                  </a:lnTo>
                  <a:lnTo>
                    <a:pt x="82" y="365"/>
                  </a:lnTo>
                  <a:lnTo>
                    <a:pt x="82" y="363"/>
                  </a:lnTo>
                  <a:lnTo>
                    <a:pt x="82" y="361"/>
                  </a:lnTo>
                  <a:lnTo>
                    <a:pt x="81" y="359"/>
                  </a:lnTo>
                  <a:lnTo>
                    <a:pt x="81" y="358"/>
                  </a:lnTo>
                  <a:lnTo>
                    <a:pt x="80" y="356"/>
                  </a:lnTo>
                  <a:lnTo>
                    <a:pt x="80" y="355"/>
                  </a:lnTo>
                  <a:lnTo>
                    <a:pt x="80" y="354"/>
                  </a:lnTo>
                  <a:lnTo>
                    <a:pt x="80" y="353"/>
                  </a:lnTo>
                  <a:lnTo>
                    <a:pt x="80" y="352"/>
                  </a:lnTo>
                  <a:lnTo>
                    <a:pt x="80" y="351"/>
                  </a:lnTo>
                  <a:lnTo>
                    <a:pt x="81" y="347"/>
                  </a:lnTo>
                  <a:lnTo>
                    <a:pt x="81" y="345"/>
                  </a:lnTo>
                  <a:lnTo>
                    <a:pt x="82" y="344"/>
                  </a:lnTo>
                  <a:lnTo>
                    <a:pt x="82" y="343"/>
                  </a:lnTo>
                  <a:lnTo>
                    <a:pt x="82" y="343"/>
                  </a:lnTo>
                  <a:lnTo>
                    <a:pt x="82" y="340"/>
                  </a:lnTo>
                  <a:lnTo>
                    <a:pt x="82" y="339"/>
                  </a:lnTo>
                  <a:lnTo>
                    <a:pt x="82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3" y="334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0"/>
                  </a:lnTo>
                  <a:lnTo>
                    <a:pt x="83" y="329"/>
                  </a:lnTo>
                  <a:lnTo>
                    <a:pt x="83" y="328"/>
                  </a:lnTo>
                  <a:lnTo>
                    <a:pt x="83" y="327"/>
                  </a:lnTo>
                  <a:lnTo>
                    <a:pt x="83" y="326"/>
                  </a:lnTo>
                  <a:lnTo>
                    <a:pt x="82" y="325"/>
                  </a:lnTo>
                  <a:lnTo>
                    <a:pt x="81" y="323"/>
                  </a:lnTo>
                  <a:lnTo>
                    <a:pt x="81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9" y="319"/>
                  </a:lnTo>
                  <a:lnTo>
                    <a:pt x="78" y="319"/>
                  </a:lnTo>
                  <a:lnTo>
                    <a:pt x="77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4" y="318"/>
                  </a:lnTo>
                  <a:lnTo>
                    <a:pt x="70" y="318"/>
                  </a:lnTo>
                  <a:lnTo>
                    <a:pt x="69" y="318"/>
                  </a:lnTo>
                  <a:lnTo>
                    <a:pt x="68" y="318"/>
                  </a:lnTo>
                  <a:lnTo>
                    <a:pt x="65" y="318"/>
                  </a:lnTo>
                  <a:lnTo>
                    <a:pt x="64" y="318"/>
                  </a:lnTo>
                  <a:lnTo>
                    <a:pt x="62" y="318"/>
                  </a:lnTo>
                  <a:lnTo>
                    <a:pt x="58" y="318"/>
                  </a:lnTo>
                  <a:lnTo>
                    <a:pt x="57" y="317"/>
                  </a:lnTo>
                  <a:lnTo>
                    <a:pt x="55" y="317"/>
                  </a:lnTo>
                  <a:lnTo>
                    <a:pt x="55" y="317"/>
                  </a:lnTo>
                  <a:lnTo>
                    <a:pt x="54" y="318"/>
                  </a:lnTo>
                  <a:lnTo>
                    <a:pt x="52" y="318"/>
                  </a:lnTo>
                  <a:lnTo>
                    <a:pt x="51" y="318"/>
                  </a:lnTo>
                  <a:lnTo>
                    <a:pt x="50" y="318"/>
                  </a:lnTo>
                  <a:lnTo>
                    <a:pt x="49" y="318"/>
                  </a:lnTo>
                  <a:lnTo>
                    <a:pt x="49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6" y="318"/>
                  </a:lnTo>
                  <a:lnTo>
                    <a:pt x="46" y="317"/>
                  </a:lnTo>
                  <a:lnTo>
                    <a:pt x="46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5"/>
                  </a:lnTo>
                  <a:lnTo>
                    <a:pt x="45" y="314"/>
                  </a:lnTo>
                  <a:lnTo>
                    <a:pt x="45" y="313"/>
                  </a:lnTo>
                  <a:lnTo>
                    <a:pt x="45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4" y="309"/>
                  </a:lnTo>
                  <a:lnTo>
                    <a:pt x="44" y="308"/>
                  </a:lnTo>
                  <a:lnTo>
                    <a:pt x="43" y="308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1" y="305"/>
                  </a:lnTo>
                  <a:lnTo>
                    <a:pt x="38" y="304"/>
                  </a:lnTo>
                  <a:lnTo>
                    <a:pt x="36" y="303"/>
                  </a:lnTo>
                  <a:lnTo>
                    <a:pt x="36" y="303"/>
                  </a:lnTo>
                  <a:lnTo>
                    <a:pt x="35" y="303"/>
                  </a:lnTo>
                  <a:lnTo>
                    <a:pt x="34" y="302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5" y="301"/>
                  </a:lnTo>
                  <a:lnTo>
                    <a:pt x="22" y="300"/>
                  </a:lnTo>
                  <a:lnTo>
                    <a:pt x="20" y="300"/>
                  </a:lnTo>
                  <a:lnTo>
                    <a:pt x="19" y="299"/>
                  </a:lnTo>
                  <a:lnTo>
                    <a:pt x="16" y="299"/>
                  </a:lnTo>
                  <a:lnTo>
                    <a:pt x="14" y="299"/>
                  </a:lnTo>
                  <a:lnTo>
                    <a:pt x="12" y="299"/>
                  </a:lnTo>
                  <a:lnTo>
                    <a:pt x="9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6" y="297"/>
                  </a:lnTo>
                  <a:lnTo>
                    <a:pt x="4" y="296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1" y="291"/>
                  </a:lnTo>
                  <a:lnTo>
                    <a:pt x="1" y="291"/>
                  </a:lnTo>
                  <a:lnTo>
                    <a:pt x="2" y="290"/>
                  </a:lnTo>
                  <a:lnTo>
                    <a:pt x="6" y="288"/>
                  </a:lnTo>
                  <a:lnTo>
                    <a:pt x="8" y="287"/>
                  </a:lnTo>
                  <a:lnTo>
                    <a:pt x="10" y="286"/>
                  </a:lnTo>
                  <a:lnTo>
                    <a:pt x="11" y="285"/>
                  </a:lnTo>
                  <a:lnTo>
                    <a:pt x="12" y="284"/>
                  </a:lnTo>
                  <a:lnTo>
                    <a:pt x="13" y="283"/>
                  </a:lnTo>
                  <a:lnTo>
                    <a:pt x="18" y="278"/>
                  </a:lnTo>
                  <a:lnTo>
                    <a:pt x="19" y="276"/>
                  </a:lnTo>
                  <a:lnTo>
                    <a:pt x="20" y="275"/>
                  </a:lnTo>
                  <a:lnTo>
                    <a:pt x="21" y="274"/>
                  </a:lnTo>
                  <a:lnTo>
                    <a:pt x="21" y="273"/>
                  </a:lnTo>
                  <a:lnTo>
                    <a:pt x="21" y="272"/>
                  </a:lnTo>
                  <a:lnTo>
                    <a:pt x="22" y="271"/>
                  </a:lnTo>
                  <a:lnTo>
                    <a:pt x="22" y="269"/>
                  </a:lnTo>
                  <a:lnTo>
                    <a:pt x="22" y="264"/>
                  </a:lnTo>
                  <a:lnTo>
                    <a:pt x="22" y="261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4" y="254"/>
                  </a:lnTo>
                  <a:lnTo>
                    <a:pt x="24" y="253"/>
                  </a:lnTo>
                  <a:lnTo>
                    <a:pt x="25" y="252"/>
                  </a:lnTo>
                  <a:lnTo>
                    <a:pt x="25" y="251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8" y="248"/>
                  </a:lnTo>
                  <a:lnTo>
                    <a:pt x="28" y="248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8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7" y="247"/>
                  </a:lnTo>
                  <a:lnTo>
                    <a:pt x="51" y="246"/>
                  </a:lnTo>
                  <a:lnTo>
                    <a:pt x="52" y="245"/>
                  </a:lnTo>
                  <a:lnTo>
                    <a:pt x="53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5" y="245"/>
                  </a:lnTo>
                  <a:lnTo>
                    <a:pt x="56" y="245"/>
                  </a:lnTo>
                  <a:lnTo>
                    <a:pt x="57" y="246"/>
                  </a:lnTo>
                  <a:lnTo>
                    <a:pt x="59" y="246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4" y="246"/>
                  </a:lnTo>
                  <a:lnTo>
                    <a:pt x="75" y="245"/>
                  </a:lnTo>
                  <a:lnTo>
                    <a:pt x="77" y="241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81" y="235"/>
                  </a:lnTo>
                  <a:lnTo>
                    <a:pt x="81" y="233"/>
                  </a:lnTo>
                  <a:lnTo>
                    <a:pt x="82" y="232"/>
                  </a:lnTo>
                  <a:lnTo>
                    <a:pt x="83" y="230"/>
                  </a:lnTo>
                  <a:lnTo>
                    <a:pt x="83" y="228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4" y="222"/>
                  </a:lnTo>
                  <a:lnTo>
                    <a:pt x="85" y="221"/>
                  </a:lnTo>
                  <a:lnTo>
                    <a:pt x="87" y="216"/>
                  </a:lnTo>
                  <a:lnTo>
                    <a:pt x="87" y="215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Freeform 20">
              <a:extLst>
                <a:ext uri="{FF2B5EF4-FFF2-40B4-BE49-F238E27FC236}">
                  <a16:creationId xmlns:a16="http://schemas.microsoft.com/office/drawing/2014/main" id="{D51BAD0F-0B7A-74B9-42B5-DA5F00B4D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" y="2866"/>
              <a:ext cx="343" cy="215"/>
            </a:xfrm>
            <a:custGeom>
              <a:avLst/>
              <a:gdLst>
                <a:gd name="T0" fmla="*/ 4 w 343"/>
                <a:gd name="T1" fmla="*/ 211 h 215"/>
                <a:gd name="T2" fmla="*/ 8 w 343"/>
                <a:gd name="T3" fmla="*/ 210 h 215"/>
                <a:gd name="T4" fmla="*/ 16 w 343"/>
                <a:gd name="T5" fmla="*/ 213 h 215"/>
                <a:gd name="T6" fmla="*/ 21 w 343"/>
                <a:gd name="T7" fmla="*/ 214 h 215"/>
                <a:gd name="T8" fmla="*/ 24 w 343"/>
                <a:gd name="T9" fmla="*/ 211 h 215"/>
                <a:gd name="T10" fmla="*/ 29 w 343"/>
                <a:gd name="T11" fmla="*/ 202 h 215"/>
                <a:gd name="T12" fmla="*/ 38 w 343"/>
                <a:gd name="T13" fmla="*/ 195 h 215"/>
                <a:gd name="T14" fmla="*/ 42 w 343"/>
                <a:gd name="T15" fmla="*/ 186 h 215"/>
                <a:gd name="T16" fmla="*/ 45 w 343"/>
                <a:gd name="T17" fmla="*/ 186 h 215"/>
                <a:gd name="T18" fmla="*/ 50 w 343"/>
                <a:gd name="T19" fmla="*/ 191 h 215"/>
                <a:gd name="T20" fmla="*/ 58 w 343"/>
                <a:gd name="T21" fmla="*/ 201 h 215"/>
                <a:gd name="T22" fmla="*/ 66 w 343"/>
                <a:gd name="T23" fmla="*/ 203 h 215"/>
                <a:gd name="T24" fmla="*/ 70 w 343"/>
                <a:gd name="T25" fmla="*/ 201 h 215"/>
                <a:gd name="T26" fmla="*/ 83 w 343"/>
                <a:gd name="T27" fmla="*/ 188 h 215"/>
                <a:gd name="T28" fmla="*/ 85 w 343"/>
                <a:gd name="T29" fmla="*/ 181 h 215"/>
                <a:gd name="T30" fmla="*/ 89 w 343"/>
                <a:gd name="T31" fmla="*/ 174 h 215"/>
                <a:gd name="T32" fmla="*/ 90 w 343"/>
                <a:gd name="T33" fmla="*/ 166 h 215"/>
                <a:gd name="T34" fmla="*/ 90 w 343"/>
                <a:gd name="T35" fmla="*/ 159 h 215"/>
                <a:gd name="T36" fmla="*/ 95 w 343"/>
                <a:gd name="T37" fmla="*/ 156 h 215"/>
                <a:gd name="T38" fmla="*/ 109 w 343"/>
                <a:gd name="T39" fmla="*/ 155 h 215"/>
                <a:gd name="T40" fmla="*/ 118 w 343"/>
                <a:gd name="T41" fmla="*/ 151 h 215"/>
                <a:gd name="T42" fmla="*/ 126 w 343"/>
                <a:gd name="T43" fmla="*/ 148 h 215"/>
                <a:gd name="T44" fmla="*/ 135 w 343"/>
                <a:gd name="T45" fmla="*/ 151 h 215"/>
                <a:gd name="T46" fmla="*/ 139 w 343"/>
                <a:gd name="T47" fmla="*/ 152 h 215"/>
                <a:gd name="T48" fmla="*/ 147 w 343"/>
                <a:gd name="T49" fmla="*/ 148 h 215"/>
                <a:gd name="T50" fmla="*/ 163 w 343"/>
                <a:gd name="T51" fmla="*/ 147 h 215"/>
                <a:gd name="T52" fmla="*/ 174 w 343"/>
                <a:gd name="T53" fmla="*/ 149 h 215"/>
                <a:gd name="T54" fmla="*/ 183 w 343"/>
                <a:gd name="T55" fmla="*/ 148 h 215"/>
                <a:gd name="T56" fmla="*/ 192 w 343"/>
                <a:gd name="T57" fmla="*/ 143 h 215"/>
                <a:gd name="T58" fmla="*/ 195 w 343"/>
                <a:gd name="T59" fmla="*/ 138 h 215"/>
                <a:gd name="T60" fmla="*/ 195 w 343"/>
                <a:gd name="T61" fmla="*/ 128 h 215"/>
                <a:gd name="T62" fmla="*/ 198 w 343"/>
                <a:gd name="T63" fmla="*/ 123 h 215"/>
                <a:gd name="T64" fmla="*/ 205 w 343"/>
                <a:gd name="T65" fmla="*/ 120 h 215"/>
                <a:gd name="T66" fmla="*/ 215 w 343"/>
                <a:gd name="T67" fmla="*/ 113 h 215"/>
                <a:gd name="T68" fmla="*/ 224 w 343"/>
                <a:gd name="T69" fmla="*/ 110 h 215"/>
                <a:gd name="T70" fmla="*/ 235 w 343"/>
                <a:gd name="T71" fmla="*/ 113 h 215"/>
                <a:gd name="T72" fmla="*/ 247 w 343"/>
                <a:gd name="T73" fmla="*/ 111 h 215"/>
                <a:gd name="T74" fmla="*/ 265 w 343"/>
                <a:gd name="T75" fmla="*/ 101 h 215"/>
                <a:gd name="T76" fmla="*/ 286 w 343"/>
                <a:gd name="T77" fmla="*/ 92 h 215"/>
                <a:gd name="T78" fmla="*/ 294 w 343"/>
                <a:gd name="T79" fmla="*/ 85 h 215"/>
                <a:gd name="T80" fmla="*/ 300 w 343"/>
                <a:gd name="T81" fmla="*/ 78 h 215"/>
                <a:gd name="T82" fmla="*/ 308 w 343"/>
                <a:gd name="T83" fmla="*/ 76 h 215"/>
                <a:gd name="T84" fmla="*/ 318 w 343"/>
                <a:gd name="T85" fmla="*/ 77 h 215"/>
                <a:gd name="T86" fmla="*/ 331 w 343"/>
                <a:gd name="T87" fmla="*/ 73 h 215"/>
                <a:gd name="T88" fmla="*/ 339 w 343"/>
                <a:gd name="T89" fmla="*/ 70 h 215"/>
                <a:gd name="T90" fmla="*/ 343 w 343"/>
                <a:gd name="T91" fmla="*/ 61 h 215"/>
                <a:gd name="T92" fmla="*/ 342 w 343"/>
                <a:gd name="T93" fmla="*/ 57 h 215"/>
                <a:gd name="T94" fmla="*/ 336 w 343"/>
                <a:gd name="T95" fmla="*/ 53 h 215"/>
                <a:gd name="T96" fmla="*/ 322 w 343"/>
                <a:gd name="T97" fmla="*/ 47 h 215"/>
                <a:gd name="T98" fmla="*/ 319 w 343"/>
                <a:gd name="T99" fmla="*/ 42 h 215"/>
                <a:gd name="T100" fmla="*/ 321 w 343"/>
                <a:gd name="T101" fmla="*/ 37 h 215"/>
                <a:gd name="T102" fmla="*/ 320 w 343"/>
                <a:gd name="T103" fmla="*/ 35 h 215"/>
                <a:gd name="T104" fmla="*/ 312 w 343"/>
                <a:gd name="T105" fmla="*/ 34 h 215"/>
                <a:gd name="T106" fmla="*/ 306 w 343"/>
                <a:gd name="T107" fmla="*/ 31 h 215"/>
                <a:gd name="T108" fmla="*/ 305 w 343"/>
                <a:gd name="T109" fmla="*/ 24 h 215"/>
                <a:gd name="T110" fmla="*/ 308 w 343"/>
                <a:gd name="T111" fmla="*/ 17 h 215"/>
                <a:gd name="T112" fmla="*/ 311 w 343"/>
                <a:gd name="T113" fmla="*/ 8 h 215"/>
                <a:gd name="T114" fmla="*/ 317 w 343"/>
                <a:gd name="T115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43" h="215">
                  <a:moveTo>
                    <a:pt x="0" y="215"/>
                  </a:moveTo>
                  <a:lnTo>
                    <a:pt x="1" y="215"/>
                  </a:lnTo>
                  <a:lnTo>
                    <a:pt x="1" y="214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12"/>
                  </a:lnTo>
                  <a:lnTo>
                    <a:pt x="4" y="211"/>
                  </a:lnTo>
                  <a:lnTo>
                    <a:pt x="4" y="211"/>
                  </a:lnTo>
                  <a:lnTo>
                    <a:pt x="5" y="210"/>
                  </a:lnTo>
                  <a:lnTo>
                    <a:pt x="6" y="210"/>
                  </a:lnTo>
                  <a:lnTo>
                    <a:pt x="6" y="210"/>
                  </a:lnTo>
                  <a:lnTo>
                    <a:pt x="7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9" y="210"/>
                  </a:lnTo>
                  <a:lnTo>
                    <a:pt x="11" y="210"/>
                  </a:lnTo>
                  <a:lnTo>
                    <a:pt x="12" y="211"/>
                  </a:lnTo>
                  <a:lnTo>
                    <a:pt x="12" y="211"/>
                  </a:lnTo>
                  <a:lnTo>
                    <a:pt x="13" y="211"/>
                  </a:lnTo>
                  <a:lnTo>
                    <a:pt x="15" y="213"/>
                  </a:lnTo>
                  <a:lnTo>
                    <a:pt x="16" y="213"/>
                  </a:lnTo>
                  <a:lnTo>
                    <a:pt x="17" y="214"/>
                  </a:lnTo>
                  <a:lnTo>
                    <a:pt x="17" y="214"/>
                  </a:lnTo>
                  <a:lnTo>
                    <a:pt x="18" y="214"/>
                  </a:lnTo>
                  <a:lnTo>
                    <a:pt x="19" y="214"/>
                  </a:lnTo>
                  <a:lnTo>
                    <a:pt x="20" y="214"/>
                  </a:lnTo>
                  <a:lnTo>
                    <a:pt x="20" y="214"/>
                  </a:lnTo>
                  <a:lnTo>
                    <a:pt x="21" y="214"/>
                  </a:lnTo>
                  <a:lnTo>
                    <a:pt x="22" y="214"/>
                  </a:lnTo>
                  <a:lnTo>
                    <a:pt x="22" y="213"/>
                  </a:lnTo>
                  <a:lnTo>
                    <a:pt x="23" y="213"/>
                  </a:lnTo>
                  <a:lnTo>
                    <a:pt x="23" y="213"/>
                  </a:lnTo>
                  <a:lnTo>
                    <a:pt x="24" y="212"/>
                  </a:lnTo>
                  <a:lnTo>
                    <a:pt x="24" y="212"/>
                  </a:lnTo>
                  <a:lnTo>
                    <a:pt x="24" y="211"/>
                  </a:lnTo>
                  <a:lnTo>
                    <a:pt x="25" y="210"/>
                  </a:lnTo>
                  <a:lnTo>
                    <a:pt x="26" y="207"/>
                  </a:lnTo>
                  <a:lnTo>
                    <a:pt x="26" y="206"/>
                  </a:lnTo>
                  <a:lnTo>
                    <a:pt x="27" y="205"/>
                  </a:lnTo>
                  <a:lnTo>
                    <a:pt x="28" y="204"/>
                  </a:lnTo>
                  <a:lnTo>
                    <a:pt x="28" y="204"/>
                  </a:lnTo>
                  <a:lnTo>
                    <a:pt x="29" y="202"/>
                  </a:lnTo>
                  <a:lnTo>
                    <a:pt x="31" y="201"/>
                  </a:lnTo>
                  <a:lnTo>
                    <a:pt x="32" y="200"/>
                  </a:lnTo>
                  <a:lnTo>
                    <a:pt x="35" y="198"/>
                  </a:lnTo>
                  <a:lnTo>
                    <a:pt x="36" y="197"/>
                  </a:lnTo>
                  <a:lnTo>
                    <a:pt x="37" y="196"/>
                  </a:lnTo>
                  <a:lnTo>
                    <a:pt x="38" y="196"/>
                  </a:lnTo>
                  <a:lnTo>
                    <a:pt x="38" y="195"/>
                  </a:lnTo>
                  <a:lnTo>
                    <a:pt x="39" y="195"/>
                  </a:lnTo>
                  <a:lnTo>
                    <a:pt x="40" y="193"/>
                  </a:lnTo>
                  <a:lnTo>
                    <a:pt x="40" y="192"/>
                  </a:lnTo>
                  <a:lnTo>
                    <a:pt x="41" y="191"/>
                  </a:lnTo>
                  <a:lnTo>
                    <a:pt x="41" y="188"/>
                  </a:lnTo>
                  <a:lnTo>
                    <a:pt x="42" y="187"/>
                  </a:lnTo>
                  <a:lnTo>
                    <a:pt x="42" y="186"/>
                  </a:lnTo>
                  <a:lnTo>
                    <a:pt x="42" y="186"/>
                  </a:lnTo>
                  <a:lnTo>
                    <a:pt x="42" y="186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4" y="185"/>
                  </a:lnTo>
                  <a:lnTo>
                    <a:pt x="45" y="186"/>
                  </a:lnTo>
                  <a:lnTo>
                    <a:pt x="45" y="186"/>
                  </a:lnTo>
                  <a:lnTo>
                    <a:pt x="46" y="186"/>
                  </a:lnTo>
                  <a:lnTo>
                    <a:pt x="46" y="186"/>
                  </a:lnTo>
                  <a:lnTo>
                    <a:pt x="46" y="187"/>
                  </a:lnTo>
                  <a:lnTo>
                    <a:pt x="48" y="188"/>
                  </a:lnTo>
                  <a:lnTo>
                    <a:pt x="49" y="190"/>
                  </a:lnTo>
                  <a:lnTo>
                    <a:pt x="50" y="191"/>
                  </a:lnTo>
                  <a:lnTo>
                    <a:pt x="52" y="195"/>
                  </a:lnTo>
                  <a:lnTo>
                    <a:pt x="53" y="196"/>
                  </a:lnTo>
                  <a:lnTo>
                    <a:pt x="54" y="197"/>
                  </a:lnTo>
                  <a:lnTo>
                    <a:pt x="55" y="198"/>
                  </a:lnTo>
                  <a:lnTo>
                    <a:pt x="55" y="199"/>
                  </a:lnTo>
                  <a:lnTo>
                    <a:pt x="57" y="200"/>
                  </a:lnTo>
                  <a:lnTo>
                    <a:pt x="58" y="201"/>
                  </a:lnTo>
                  <a:lnTo>
                    <a:pt x="59" y="201"/>
                  </a:lnTo>
                  <a:lnTo>
                    <a:pt x="60" y="201"/>
                  </a:lnTo>
                  <a:lnTo>
                    <a:pt x="62" y="202"/>
                  </a:lnTo>
                  <a:lnTo>
                    <a:pt x="64" y="203"/>
                  </a:lnTo>
                  <a:lnTo>
                    <a:pt x="65" y="203"/>
                  </a:lnTo>
                  <a:lnTo>
                    <a:pt x="65" y="203"/>
                  </a:lnTo>
                  <a:lnTo>
                    <a:pt x="66" y="203"/>
                  </a:lnTo>
                  <a:lnTo>
                    <a:pt x="66" y="203"/>
                  </a:lnTo>
                  <a:lnTo>
                    <a:pt x="67" y="203"/>
                  </a:lnTo>
                  <a:lnTo>
                    <a:pt x="67" y="203"/>
                  </a:lnTo>
                  <a:lnTo>
                    <a:pt x="68" y="203"/>
                  </a:lnTo>
                  <a:lnTo>
                    <a:pt x="69" y="202"/>
                  </a:lnTo>
                  <a:lnTo>
                    <a:pt x="69" y="202"/>
                  </a:lnTo>
                  <a:lnTo>
                    <a:pt x="70" y="201"/>
                  </a:lnTo>
                  <a:lnTo>
                    <a:pt x="71" y="201"/>
                  </a:lnTo>
                  <a:lnTo>
                    <a:pt x="72" y="199"/>
                  </a:lnTo>
                  <a:lnTo>
                    <a:pt x="76" y="196"/>
                  </a:lnTo>
                  <a:lnTo>
                    <a:pt x="79" y="193"/>
                  </a:lnTo>
                  <a:lnTo>
                    <a:pt x="82" y="190"/>
                  </a:lnTo>
                  <a:lnTo>
                    <a:pt x="83" y="189"/>
                  </a:lnTo>
                  <a:lnTo>
                    <a:pt x="83" y="188"/>
                  </a:lnTo>
                  <a:lnTo>
                    <a:pt x="84" y="188"/>
                  </a:lnTo>
                  <a:lnTo>
                    <a:pt x="84" y="187"/>
                  </a:lnTo>
                  <a:lnTo>
                    <a:pt x="84" y="186"/>
                  </a:lnTo>
                  <a:lnTo>
                    <a:pt x="84" y="185"/>
                  </a:lnTo>
                  <a:lnTo>
                    <a:pt x="84" y="183"/>
                  </a:lnTo>
                  <a:lnTo>
                    <a:pt x="84" y="182"/>
                  </a:lnTo>
                  <a:lnTo>
                    <a:pt x="85" y="181"/>
                  </a:lnTo>
                  <a:lnTo>
                    <a:pt x="85" y="181"/>
                  </a:lnTo>
                  <a:lnTo>
                    <a:pt x="85" y="180"/>
                  </a:lnTo>
                  <a:lnTo>
                    <a:pt x="86" y="179"/>
                  </a:lnTo>
                  <a:lnTo>
                    <a:pt x="87" y="177"/>
                  </a:lnTo>
                  <a:lnTo>
                    <a:pt x="88" y="175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3"/>
                  </a:lnTo>
                  <a:lnTo>
                    <a:pt x="89" y="172"/>
                  </a:lnTo>
                  <a:lnTo>
                    <a:pt x="90" y="171"/>
                  </a:lnTo>
                  <a:lnTo>
                    <a:pt x="90" y="170"/>
                  </a:lnTo>
                  <a:lnTo>
                    <a:pt x="90" y="170"/>
                  </a:lnTo>
                  <a:lnTo>
                    <a:pt x="90" y="168"/>
                  </a:lnTo>
                  <a:lnTo>
                    <a:pt x="90" y="166"/>
                  </a:lnTo>
                  <a:lnTo>
                    <a:pt x="89" y="163"/>
                  </a:lnTo>
                  <a:lnTo>
                    <a:pt x="89" y="162"/>
                  </a:lnTo>
                  <a:lnTo>
                    <a:pt x="89" y="161"/>
                  </a:lnTo>
                  <a:lnTo>
                    <a:pt x="89" y="160"/>
                  </a:lnTo>
                  <a:lnTo>
                    <a:pt x="89" y="160"/>
                  </a:lnTo>
                  <a:lnTo>
                    <a:pt x="90" y="159"/>
                  </a:lnTo>
                  <a:lnTo>
                    <a:pt x="90" y="159"/>
                  </a:lnTo>
                  <a:lnTo>
                    <a:pt x="91" y="158"/>
                  </a:lnTo>
                  <a:lnTo>
                    <a:pt x="91" y="157"/>
                  </a:lnTo>
                  <a:lnTo>
                    <a:pt x="92" y="157"/>
                  </a:lnTo>
                  <a:lnTo>
                    <a:pt x="92" y="157"/>
                  </a:lnTo>
                  <a:lnTo>
                    <a:pt x="93" y="156"/>
                  </a:lnTo>
                  <a:lnTo>
                    <a:pt x="94" y="156"/>
                  </a:lnTo>
                  <a:lnTo>
                    <a:pt x="95" y="156"/>
                  </a:lnTo>
                  <a:lnTo>
                    <a:pt x="96" y="155"/>
                  </a:lnTo>
                  <a:lnTo>
                    <a:pt x="97" y="155"/>
                  </a:lnTo>
                  <a:lnTo>
                    <a:pt x="98" y="155"/>
                  </a:lnTo>
                  <a:lnTo>
                    <a:pt x="100" y="155"/>
                  </a:lnTo>
                  <a:lnTo>
                    <a:pt x="105" y="155"/>
                  </a:lnTo>
                  <a:lnTo>
                    <a:pt x="107" y="155"/>
                  </a:lnTo>
                  <a:lnTo>
                    <a:pt x="109" y="155"/>
                  </a:lnTo>
                  <a:lnTo>
                    <a:pt x="110" y="154"/>
                  </a:lnTo>
                  <a:lnTo>
                    <a:pt x="112" y="154"/>
                  </a:lnTo>
                  <a:lnTo>
                    <a:pt x="113" y="153"/>
                  </a:lnTo>
                  <a:lnTo>
                    <a:pt x="114" y="153"/>
                  </a:lnTo>
                  <a:lnTo>
                    <a:pt x="115" y="152"/>
                  </a:lnTo>
                  <a:lnTo>
                    <a:pt x="117" y="151"/>
                  </a:lnTo>
                  <a:lnTo>
                    <a:pt x="118" y="151"/>
                  </a:lnTo>
                  <a:lnTo>
                    <a:pt x="119" y="150"/>
                  </a:lnTo>
                  <a:lnTo>
                    <a:pt x="121" y="149"/>
                  </a:lnTo>
                  <a:lnTo>
                    <a:pt x="122" y="149"/>
                  </a:lnTo>
                  <a:lnTo>
                    <a:pt x="123" y="148"/>
                  </a:lnTo>
                  <a:lnTo>
                    <a:pt x="124" y="148"/>
                  </a:lnTo>
                  <a:lnTo>
                    <a:pt x="125" y="148"/>
                  </a:lnTo>
                  <a:lnTo>
                    <a:pt x="126" y="148"/>
                  </a:lnTo>
                  <a:lnTo>
                    <a:pt x="127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9" y="149"/>
                  </a:lnTo>
                  <a:lnTo>
                    <a:pt x="130" y="149"/>
                  </a:lnTo>
                  <a:lnTo>
                    <a:pt x="133" y="151"/>
                  </a:lnTo>
                  <a:lnTo>
                    <a:pt x="135" y="151"/>
                  </a:lnTo>
                  <a:lnTo>
                    <a:pt x="136" y="151"/>
                  </a:lnTo>
                  <a:lnTo>
                    <a:pt x="136" y="152"/>
                  </a:lnTo>
                  <a:lnTo>
                    <a:pt x="137" y="152"/>
                  </a:lnTo>
                  <a:lnTo>
                    <a:pt x="138" y="152"/>
                  </a:lnTo>
                  <a:lnTo>
                    <a:pt x="138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40" y="151"/>
                  </a:lnTo>
                  <a:lnTo>
                    <a:pt x="141" y="151"/>
                  </a:lnTo>
                  <a:lnTo>
                    <a:pt x="142" y="150"/>
                  </a:lnTo>
                  <a:lnTo>
                    <a:pt x="144" y="149"/>
                  </a:lnTo>
                  <a:lnTo>
                    <a:pt x="145" y="149"/>
                  </a:lnTo>
                  <a:lnTo>
                    <a:pt x="146" y="148"/>
                  </a:lnTo>
                  <a:lnTo>
                    <a:pt x="147" y="148"/>
                  </a:lnTo>
                  <a:lnTo>
                    <a:pt x="151" y="148"/>
                  </a:lnTo>
                  <a:lnTo>
                    <a:pt x="155" y="147"/>
                  </a:lnTo>
                  <a:lnTo>
                    <a:pt x="156" y="147"/>
                  </a:lnTo>
                  <a:lnTo>
                    <a:pt x="157" y="147"/>
                  </a:lnTo>
                  <a:lnTo>
                    <a:pt x="160" y="147"/>
                  </a:lnTo>
                  <a:lnTo>
                    <a:pt x="161" y="147"/>
                  </a:lnTo>
                  <a:lnTo>
                    <a:pt x="163" y="147"/>
                  </a:lnTo>
                  <a:lnTo>
                    <a:pt x="165" y="147"/>
                  </a:lnTo>
                  <a:lnTo>
                    <a:pt x="167" y="147"/>
                  </a:lnTo>
                  <a:lnTo>
                    <a:pt x="168" y="147"/>
                  </a:lnTo>
                  <a:lnTo>
                    <a:pt x="169" y="148"/>
                  </a:lnTo>
                  <a:lnTo>
                    <a:pt x="172" y="149"/>
                  </a:lnTo>
                  <a:lnTo>
                    <a:pt x="173" y="149"/>
                  </a:lnTo>
                  <a:lnTo>
                    <a:pt x="174" y="149"/>
                  </a:lnTo>
                  <a:lnTo>
                    <a:pt x="176" y="150"/>
                  </a:lnTo>
                  <a:lnTo>
                    <a:pt x="177" y="150"/>
                  </a:lnTo>
                  <a:lnTo>
                    <a:pt x="179" y="150"/>
                  </a:lnTo>
                  <a:lnTo>
                    <a:pt x="180" y="149"/>
                  </a:lnTo>
                  <a:lnTo>
                    <a:pt x="181" y="149"/>
                  </a:lnTo>
                  <a:lnTo>
                    <a:pt x="182" y="149"/>
                  </a:lnTo>
                  <a:lnTo>
                    <a:pt x="183" y="148"/>
                  </a:lnTo>
                  <a:lnTo>
                    <a:pt x="184" y="147"/>
                  </a:lnTo>
                  <a:lnTo>
                    <a:pt x="186" y="146"/>
                  </a:lnTo>
                  <a:lnTo>
                    <a:pt x="187" y="145"/>
                  </a:lnTo>
                  <a:lnTo>
                    <a:pt x="188" y="145"/>
                  </a:lnTo>
                  <a:lnTo>
                    <a:pt x="191" y="144"/>
                  </a:lnTo>
                  <a:lnTo>
                    <a:pt x="191" y="143"/>
                  </a:lnTo>
                  <a:lnTo>
                    <a:pt x="192" y="143"/>
                  </a:lnTo>
                  <a:lnTo>
                    <a:pt x="192" y="143"/>
                  </a:lnTo>
                  <a:lnTo>
                    <a:pt x="193" y="142"/>
                  </a:lnTo>
                  <a:lnTo>
                    <a:pt x="194" y="142"/>
                  </a:lnTo>
                  <a:lnTo>
                    <a:pt x="194" y="141"/>
                  </a:lnTo>
                  <a:lnTo>
                    <a:pt x="195" y="140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6"/>
                  </a:lnTo>
                  <a:lnTo>
                    <a:pt x="195" y="133"/>
                  </a:lnTo>
                  <a:lnTo>
                    <a:pt x="195" y="132"/>
                  </a:lnTo>
                  <a:lnTo>
                    <a:pt x="195" y="130"/>
                  </a:lnTo>
                  <a:lnTo>
                    <a:pt x="195" y="129"/>
                  </a:lnTo>
                  <a:lnTo>
                    <a:pt x="195" y="128"/>
                  </a:lnTo>
                  <a:lnTo>
                    <a:pt x="196" y="127"/>
                  </a:lnTo>
                  <a:lnTo>
                    <a:pt x="196" y="126"/>
                  </a:lnTo>
                  <a:lnTo>
                    <a:pt x="196" y="125"/>
                  </a:lnTo>
                  <a:lnTo>
                    <a:pt x="197" y="124"/>
                  </a:lnTo>
                  <a:lnTo>
                    <a:pt x="197" y="124"/>
                  </a:lnTo>
                  <a:lnTo>
                    <a:pt x="197" y="123"/>
                  </a:lnTo>
                  <a:lnTo>
                    <a:pt x="198" y="123"/>
                  </a:lnTo>
                  <a:lnTo>
                    <a:pt x="198" y="122"/>
                  </a:lnTo>
                  <a:lnTo>
                    <a:pt x="199" y="122"/>
                  </a:lnTo>
                  <a:lnTo>
                    <a:pt x="199" y="122"/>
                  </a:lnTo>
                  <a:lnTo>
                    <a:pt x="200" y="121"/>
                  </a:lnTo>
                  <a:lnTo>
                    <a:pt x="201" y="121"/>
                  </a:lnTo>
                  <a:lnTo>
                    <a:pt x="204" y="120"/>
                  </a:lnTo>
                  <a:lnTo>
                    <a:pt x="205" y="120"/>
                  </a:lnTo>
                  <a:lnTo>
                    <a:pt x="207" y="119"/>
                  </a:lnTo>
                  <a:lnTo>
                    <a:pt x="208" y="119"/>
                  </a:lnTo>
                  <a:lnTo>
                    <a:pt x="210" y="118"/>
                  </a:lnTo>
                  <a:lnTo>
                    <a:pt x="211" y="117"/>
                  </a:lnTo>
                  <a:lnTo>
                    <a:pt x="212" y="116"/>
                  </a:lnTo>
                  <a:lnTo>
                    <a:pt x="214" y="114"/>
                  </a:lnTo>
                  <a:lnTo>
                    <a:pt x="215" y="113"/>
                  </a:lnTo>
                  <a:lnTo>
                    <a:pt x="216" y="113"/>
                  </a:lnTo>
                  <a:lnTo>
                    <a:pt x="218" y="112"/>
                  </a:lnTo>
                  <a:lnTo>
                    <a:pt x="219" y="111"/>
                  </a:lnTo>
                  <a:lnTo>
                    <a:pt x="221" y="110"/>
                  </a:lnTo>
                  <a:lnTo>
                    <a:pt x="222" y="110"/>
                  </a:lnTo>
                  <a:lnTo>
                    <a:pt x="223" y="110"/>
                  </a:lnTo>
                  <a:lnTo>
                    <a:pt x="224" y="110"/>
                  </a:lnTo>
                  <a:lnTo>
                    <a:pt x="225" y="110"/>
                  </a:lnTo>
                  <a:lnTo>
                    <a:pt x="226" y="110"/>
                  </a:lnTo>
                  <a:lnTo>
                    <a:pt x="227" y="110"/>
                  </a:lnTo>
                  <a:lnTo>
                    <a:pt x="229" y="111"/>
                  </a:lnTo>
                  <a:lnTo>
                    <a:pt x="232" y="112"/>
                  </a:lnTo>
                  <a:lnTo>
                    <a:pt x="234" y="113"/>
                  </a:lnTo>
                  <a:lnTo>
                    <a:pt x="235" y="113"/>
                  </a:lnTo>
                  <a:lnTo>
                    <a:pt x="236" y="113"/>
                  </a:lnTo>
                  <a:lnTo>
                    <a:pt x="237" y="113"/>
                  </a:lnTo>
                  <a:lnTo>
                    <a:pt x="240" y="112"/>
                  </a:lnTo>
                  <a:lnTo>
                    <a:pt x="244" y="112"/>
                  </a:lnTo>
                  <a:lnTo>
                    <a:pt x="244" y="111"/>
                  </a:lnTo>
                  <a:lnTo>
                    <a:pt x="245" y="111"/>
                  </a:lnTo>
                  <a:lnTo>
                    <a:pt x="247" y="111"/>
                  </a:lnTo>
                  <a:lnTo>
                    <a:pt x="248" y="110"/>
                  </a:lnTo>
                  <a:lnTo>
                    <a:pt x="249" y="109"/>
                  </a:lnTo>
                  <a:lnTo>
                    <a:pt x="252" y="107"/>
                  </a:lnTo>
                  <a:lnTo>
                    <a:pt x="253" y="106"/>
                  </a:lnTo>
                  <a:lnTo>
                    <a:pt x="255" y="105"/>
                  </a:lnTo>
                  <a:lnTo>
                    <a:pt x="258" y="104"/>
                  </a:lnTo>
                  <a:lnTo>
                    <a:pt x="265" y="101"/>
                  </a:lnTo>
                  <a:lnTo>
                    <a:pt x="270" y="98"/>
                  </a:lnTo>
                  <a:lnTo>
                    <a:pt x="273" y="97"/>
                  </a:lnTo>
                  <a:lnTo>
                    <a:pt x="275" y="96"/>
                  </a:lnTo>
                  <a:lnTo>
                    <a:pt x="281" y="94"/>
                  </a:lnTo>
                  <a:lnTo>
                    <a:pt x="283" y="94"/>
                  </a:lnTo>
                  <a:lnTo>
                    <a:pt x="285" y="93"/>
                  </a:lnTo>
                  <a:lnTo>
                    <a:pt x="286" y="92"/>
                  </a:lnTo>
                  <a:lnTo>
                    <a:pt x="287" y="92"/>
                  </a:lnTo>
                  <a:lnTo>
                    <a:pt x="288" y="91"/>
                  </a:lnTo>
                  <a:lnTo>
                    <a:pt x="290" y="89"/>
                  </a:lnTo>
                  <a:lnTo>
                    <a:pt x="291" y="88"/>
                  </a:lnTo>
                  <a:lnTo>
                    <a:pt x="292" y="87"/>
                  </a:lnTo>
                  <a:lnTo>
                    <a:pt x="293" y="86"/>
                  </a:lnTo>
                  <a:lnTo>
                    <a:pt x="294" y="85"/>
                  </a:lnTo>
                  <a:lnTo>
                    <a:pt x="295" y="84"/>
                  </a:lnTo>
                  <a:lnTo>
                    <a:pt x="297" y="81"/>
                  </a:lnTo>
                  <a:lnTo>
                    <a:pt x="297" y="80"/>
                  </a:lnTo>
                  <a:lnTo>
                    <a:pt x="297" y="79"/>
                  </a:lnTo>
                  <a:lnTo>
                    <a:pt x="298" y="79"/>
                  </a:lnTo>
                  <a:lnTo>
                    <a:pt x="299" y="78"/>
                  </a:lnTo>
                  <a:lnTo>
                    <a:pt x="300" y="78"/>
                  </a:lnTo>
                  <a:lnTo>
                    <a:pt x="301" y="77"/>
                  </a:lnTo>
                  <a:lnTo>
                    <a:pt x="302" y="76"/>
                  </a:lnTo>
                  <a:lnTo>
                    <a:pt x="304" y="76"/>
                  </a:lnTo>
                  <a:lnTo>
                    <a:pt x="305" y="76"/>
                  </a:lnTo>
                  <a:lnTo>
                    <a:pt x="306" y="76"/>
                  </a:lnTo>
                  <a:lnTo>
                    <a:pt x="307" y="76"/>
                  </a:lnTo>
                  <a:lnTo>
                    <a:pt x="308" y="76"/>
                  </a:lnTo>
                  <a:lnTo>
                    <a:pt x="310" y="76"/>
                  </a:lnTo>
                  <a:lnTo>
                    <a:pt x="312" y="77"/>
                  </a:lnTo>
                  <a:lnTo>
                    <a:pt x="314" y="77"/>
                  </a:lnTo>
                  <a:lnTo>
                    <a:pt x="315" y="77"/>
                  </a:lnTo>
                  <a:lnTo>
                    <a:pt x="316" y="77"/>
                  </a:lnTo>
                  <a:lnTo>
                    <a:pt x="317" y="77"/>
                  </a:lnTo>
                  <a:lnTo>
                    <a:pt x="318" y="77"/>
                  </a:lnTo>
                  <a:lnTo>
                    <a:pt x="320" y="77"/>
                  </a:lnTo>
                  <a:lnTo>
                    <a:pt x="323" y="76"/>
                  </a:lnTo>
                  <a:lnTo>
                    <a:pt x="324" y="76"/>
                  </a:lnTo>
                  <a:lnTo>
                    <a:pt x="325" y="75"/>
                  </a:lnTo>
                  <a:lnTo>
                    <a:pt x="327" y="75"/>
                  </a:lnTo>
                  <a:lnTo>
                    <a:pt x="330" y="74"/>
                  </a:lnTo>
                  <a:lnTo>
                    <a:pt x="331" y="73"/>
                  </a:lnTo>
                  <a:lnTo>
                    <a:pt x="332" y="73"/>
                  </a:lnTo>
                  <a:lnTo>
                    <a:pt x="335" y="72"/>
                  </a:lnTo>
                  <a:lnTo>
                    <a:pt x="336" y="72"/>
                  </a:lnTo>
                  <a:lnTo>
                    <a:pt x="337" y="72"/>
                  </a:lnTo>
                  <a:lnTo>
                    <a:pt x="338" y="71"/>
                  </a:lnTo>
                  <a:lnTo>
                    <a:pt x="338" y="71"/>
                  </a:lnTo>
                  <a:lnTo>
                    <a:pt x="339" y="70"/>
                  </a:lnTo>
                  <a:lnTo>
                    <a:pt x="339" y="70"/>
                  </a:lnTo>
                  <a:lnTo>
                    <a:pt x="340" y="69"/>
                  </a:lnTo>
                  <a:lnTo>
                    <a:pt x="340" y="69"/>
                  </a:lnTo>
                  <a:lnTo>
                    <a:pt x="341" y="68"/>
                  </a:lnTo>
                  <a:lnTo>
                    <a:pt x="341" y="65"/>
                  </a:lnTo>
                  <a:lnTo>
                    <a:pt x="342" y="63"/>
                  </a:lnTo>
                  <a:lnTo>
                    <a:pt x="343" y="61"/>
                  </a:lnTo>
                  <a:lnTo>
                    <a:pt x="343" y="60"/>
                  </a:lnTo>
                  <a:lnTo>
                    <a:pt x="343" y="60"/>
                  </a:lnTo>
                  <a:lnTo>
                    <a:pt x="343" y="59"/>
                  </a:lnTo>
                  <a:lnTo>
                    <a:pt x="343" y="58"/>
                  </a:lnTo>
                  <a:lnTo>
                    <a:pt x="343" y="58"/>
                  </a:lnTo>
                  <a:lnTo>
                    <a:pt x="343" y="57"/>
                  </a:lnTo>
                  <a:lnTo>
                    <a:pt x="342" y="57"/>
                  </a:lnTo>
                  <a:lnTo>
                    <a:pt x="342" y="56"/>
                  </a:lnTo>
                  <a:lnTo>
                    <a:pt x="341" y="55"/>
                  </a:lnTo>
                  <a:lnTo>
                    <a:pt x="341" y="55"/>
                  </a:lnTo>
                  <a:lnTo>
                    <a:pt x="340" y="55"/>
                  </a:lnTo>
                  <a:lnTo>
                    <a:pt x="339" y="54"/>
                  </a:lnTo>
                  <a:lnTo>
                    <a:pt x="338" y="54"/>
                  </a:lnTo>
                  <a:lnTo>
                    <a:pt x="336" y="53"/>
                  </a:lnTo>
                  <a:lnTo>
                    <a:pt x="332" y="51"/>
                  </a:lnTo>
                  <a:lnTo>
                    <a:pt x="330" y="50"/>
                  </a:lnTo>
                  <a:lnTo>
                    <a:pt x="325" y="49"/>
                  </a:lnTo>
                  <a:lnTo>
                    <a:pt x="324" y="48"/>
                  </a:lnTo>
                  <a:lnTo>
                    <a:pt x="323" y="48"/>
                  </a:lnTo>
                  <a:lnTo>
                    <a:pt x="322" y="47"/>
                  </a:lnTo>
                  <a:lnTo>
                    <a:pt x="322" y="47"/>
                  </a:lnTo>
                  <a:lnTo>
                    <a:pt x="321" y="46"/>
                  </a:lnTo>
                  <a:lnTo>
                    <a:pt x="321" y="46"/>
                  </a:lnTo>
                  <a:lnTo>
                    <a:pt x="321" y="45"/>
                  </a:lnTo>
                  <a:lnTo>
                    <a:pt x="320" y="45"/>
                  </a:lnTo>
                  <a:lnTo>
                    <a:pt x="320" y="44"/>
                  </a:lnTo>
                  <a:lnTo>
                    <a:pt x="319" y="43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19" y="41"/>
                  </a:lnTo>
                  <a:lnTo>
                    <a:pt x="319" y="41"/>
                  </a:lnTo>
                  <a:lnTo>
                    <a:pt x="319" y="40"/>
                  </a:lnTo>
                  <a:lnTo>
                    <a:pt x="319" y="40"/>
                  </a:lnTo>
                  <a:lnTo>
                    <a:pt x="320" y="39"/>
                  </a:lnTo>
                  <a:lnTo>
                    <a:pt x="321" y="37"/>
                  </a:lnTo>
                  <a:lnTo>
                    <a:pt x="321" y="37"/>
                  </a:lnTo>
                  <a:lnTo>
                    <a:pt x="321" y="37"/>
                  </a:lnTo>
                  <a:lnTo>
                    <a:pt x="321" y="36"/>
                  </a:lnTo>
                  <a:lnTo>
                    <a:pt x="321" y="36"/>
                  </a:lnTo>
                  <a:lnTo>
                    <a:pt x="321" y="35"/>
                  </a:lnTo>
                  <a:lnTo>
                    <a:pt x="320" y="35"/>
                  </a:lnTo>
                  <a:lnTo>
                    <a:pt x="320" y="35"/>
                  </a:lnTo>
                  <a:lnTo>
                    <a:pt x="320" y="34"/>
                  </a:lnTo>
                  <a:lnTo>
                    <a:pt x="319" y="34"/>
                  </a:lnTo>
                  <a:lnTo>
                    <a:pt x="318" y="34"/>
                  </a:lnTo>
                  <a:lnTo>
                    <a:pt x="317" y="34"/>
                  </a:lnTo>
                  <a:lnTo>
                    <a:pt x="314" y="34"/>
                  </a:lnTo>
                  <a:lnTo>
                    <a:pt x="313" y="34"/>
                  </a:lnTo>
                  <a:lnTo>
                    <a:pt x="312" y="34"/>
                  </a:lnTo>
                  <a:lnTo>
                    <a:pt x="311" y="34"/>
                  </a:lnTo>
                  <a:lnTo>
                    <a:pt x="310" y="33"/>
                  </a:lnTo>
                  <a:lnTo>
                    <a:pt x="309" y="33"/>
                  </a:lnTo>
                  <a:lnTo>
                    <a:pt x="308" y="32"/>
                  </a:lnTo>
                  <a:lnTo>
                    <a:pt x="307" y="32"/>
                  </a:lnTo>
                  <a:lnTo>
                    <a:pt x="307" y="31"/>
                  </a:lnTo>
                  <a:lnTo>
                    <a:pt x="306" y="31"/>
                  </a:lnTo>
                  <a:lnTo>
                    <a:pt x="306" y="30"/>
                  </a:lnTo>
                  <a:lnTo>
                    <a:pt x="306" y="30"/>
                  </a:lnTo>
                  <a:lnTo>
                    <a:pt x="305" y="29"/>
                  </a:lnTo>
                  <a:lnTo>
                    <a:pt x="305" y="28"/>
                  </a:lnTo>
                  <a:lnTo>
                    <a:pt x="305" y="28"/>
                  </a:lnTo>
                  <a:lnTo>
                    <a:pt x="305" y="27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3"/>
                  </a:lnTo>
                  <a:lnTo>
                    <a:pt x="306" y="22"/>
                  </a:lnTo>
                  <a:lnTo>
                    <a:pt x="306" y="21"/>
                  </a:lnTo>
                  <a:lnTo>
                    <a:pt x="307" y="19"/>
                  </a:lnTo>
                  <a:lnTo>
                    <a:pt x="308" y="18"/>
                  </a:lnTo>
                  <a:lnTo>
                    <a:pt x="308" y="17"/>
                  </a:lnTo>
                  <a:lnTo>
                    <a:pt x="309" y="16"/>
                  </a:lnTo>
                  <a:lnTo>
                    <a:pt x="309" y="14"/>
                  </a:lnTo>
                  <a:lnTo>
                    <a:pt x="309" y="13"/>
                  </a:lnTo>
                  <a:lnTo>
                    <a:pt x="310" y="12"/>
                  </a:lnTo>
                  <a:lnTo>
                    <a:pt x="310" y="9"/>
                  </a:lnTo>
                  <a:lnTo>
                    <a:pt x="311" y="8"/>
                  </a:lnTo>
                  <a:lnTo>
                    <a:pt x="311" y="8"/>
                  </a:lnTo>
                  <a:lnTo>
                    <a:pt x="311" y="7"/>
                  </a:lnTo>
                  <a:lnTo>
                    <a:pt x="311" y="6"/>
                  </a:lnTo>
                  <a:lnTo>
                    <a:pt x="312" y="5"/>
                  </a:lnTo>
                  <a:lnTo>
                    <a:pt x="315" y="1"/>
                  </a:lnTo>
                  <a:lnTo>
                    <a:pt x="316" y="0"/>
                  </a:lnTo>
                  <a:lnTo>
                    <a:pt x="317" y="0"/>
                  </a:lnTo>
                  <a:lnTo>
                    <a:pt x="317" y="0"/>
                  </a:lnTo>
                  <a:lnTo>
                    <a:pt x="317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Freeform 21">
              <a:extLst>
                <a:ext uri="{FF2B5EF4-FFF2-40B4-BE49-F238E27FC236}">
                  <a16:creationId xmlns:a16="http://schemas.microsoft.com/office/drawing/2014/main" id="{E418D4A3-BC1C-E6CF-D081-114FB820D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0" y="2882"/>
              <a:ext cx="376" cy="252"/>
            </a:xfrm>
            <a:custGeom>
              <a:avLst/>
              <a:gdLst>
                <a:gd name="T0" fmla="*/ 210 w 376"/>
                <a:gd name="T1" fmla="*/ 2 h 252"/>
                <a:gd name="T2" fmla="*/ 222 w 376"/>
                <a:gd name="T3" fmla="*/ 11 h 252"/>
                <a:gd name="T4" fmla="*/ 231 w 376"/>
                <a:gd name="T5" fmla="*/ 11 h 252"/>
                <a:gd name="T6" fmla="*/ 240 w 376"/>
                <a:gd name="T7" fmla="*/ 5 h 252"/>
                <a:gd name="T8" fmla="*/ 247 w 376"/>
                <a:gd name="T9" fmla="*/ 16 h 252"/>
                <a:gd name="T10" fmla="*/ 261 w 376"/>
                <a:gd name="T11" fmla="*/ 14 h 252"/>
                <a:gd name="T12" fmla="*/ 274 w 376"/>
                <a:gd name="T13" fmla="*/ 32 h 252"/>
                <a:gd name="T14" fmla="*/ 272 w 376"/>
                <a:gd name="T15" fmla="*/ 55 h 252"/>
                <a:gd name="T16" fmla="*/ 285 w 376"/>
                <a:gd name="T17" fmla="*/ 74 h 252"/>
                <a:gd name="T18" fmla="*/ 300 w 376"/>
                <a:gd name="T19" fmla="*/ 94 h 252"/>
                <a:gd name="T20" fmla="*/ 305 w 376"/>
                <a:gd name="T21" fmla="*/ 111 h 252"/>
                <a:gd name="T22" fmla="*/ 318 w 376"/>
                <a:gd name="T23" fmla="*/ 101 h 252"/>
                <a:gd name="T24" fmla="*/ 342 w 376"/>
                <a:gd name="T25" fmla="*/ 109 h 252"/>
                <a:gd name="T26" fmla="*/ 353 w 376"/>
                <a:gd name="T27" fmla="*/ 122 h 252"/>
                <a:gd name="T28" fmla="*/ 358 w 376"/>
                <a:gd name="T29" fmla="*/ 156 h 252"/>
                <a:gd name="T30" fmla="*/ 363 w 376"/>
                <a:gd name="T31" fmla="*/ 183 h 252"/>
                <a:gd name="T32" fmla="*/ 363 w 376"/>
                <a:gd name="T33" fmla="*/ 202 h 252"/>
                <a:gd name="T34" fmla="*/ 376 w 376"/>
                <a:gd name="T35" fmla="*/ 226 h 252"/>
                <a:gd name="T36" fmla="*/ 365 w 376"/>
                <a:gd name="T37" fmla="*/ 232 h 252"/>
                <a:gd name="T38" fmla="*/ 348 w 376"/>
                <a:gd name="T39" fmla="*/ 233 h 252"/>
                <a:gd name="T40" fmla="*/ 334 w 376"/>
                <a:gd name="T41" fmla="*/ 222 h 252"/>
                <a:gd name="T42" fmla="*/ 322 w 376"/>
                <a:gd name="T43" fmla="*/ 233 h 252"/>
                <a:gd name="T44" fmla="*/ 318 w 376"/>
                <a:gd name="T45" fmla="*/ 247 h 252"/>
                <a:gd name="T46" fmla="*/ 306 w 376"/>
                <a:gd name="T47" fmla="*/ 247 h 252"/>
                <a:gd name="T48" fmla="*/ 299 w 376"/>
                <a:gd name="T49" fmla="*/ 241 h 252"/>
                <a:gd name="T50" fmla="*/ 278 w 376"/>
                <a:gd name="T51" fmla="*/ 232 h 252"/>
                <a:gd name="T52" fmla="*/ 265 w 376"/>
                <a:gd name="T53" fmla="*/ 236 h 252"/>
                <a:gd name="T54" fmla="*/ 250 w 376"/>
                <a:gd name="T55" fmla="*/ 240 h 252"/>
                <a:gd name="T56" fmla="*/ 227 w 376"/>
                <a:gd name="T57" fmla="*/ 227 h 252"/>
                <a:gd name="T58" fmla="*/ 213 w 376"/>
                <a:gd name="T59" fmla="*/ 213 h 252"/>
                <a:gd name="T60" fmla="*/ 192 w 376"/>
                <a:gd name="T61" fmla="*/ 196 h 252"/>
                <a:gd name="T62" fmla="*/ 181 w 376"/>
                <a:gd name="T63" fmla="*/ 197 h 252"/>
                <a:gd name="T64" fmla="*/ 168 w 376"/>
                <a:gd name="T65" fmla="*/ 187 h 252"/>
                <a:gd name="T66" fmla="*/ 162 w 376"/>
                <a:gd name="T67" fmla="*/ 201 h 252"/>
                <a:gd name="T68" fmla="*/ 149 w 376"/>
                <a:gd name="T69" fmla="*/ 211 h 252"/>
                <a:gd name="T70" fmla="*/ 141 w 376"/>
                <a:gd name="T71" fmla="*/ 220 h 252"/>
                <a:gd name="T72" fmla="*/ 121 w 376"/>
                <a:gd name="T73" fmla="*/ 218 h 252"/>
                <a:gd name="T74" fmla="*/ 113 w 376"/>
                <a:gd name="T75" fmla="*/ 234 h 252"/>
                <a:gd name="T76" fmla="*/ 97 w 376"/>
                <a:gd name="T77" fmla="*/ 248 h 252"/>
                <a:gd name="T78" fmla="*/ 74 w 376"/>
                <a:gd name="T79" fmla="*/ 252 h 252"/>
                <a:gd name="T80" fmla="*/ 67 w 376"/>
                <a:gd name="T81" fmla="*/ 241 h 252"/>
                <a:gd name="T82" fmla="*/ 57 w 376"/>
                <a:gd name="T83" fmla="*/ 240 h 252"/>
                <a:gd name="T84" fmla="*/ 44 w 376"/>
                <a:gd name="T85" fmla="*/ 241 h 252"/>
                <a:gd name="T86" fmla="*/ 38 w 376"/>
                <a:gd name="T87" fmla="*/ 234 h 252"/>
                <a:gd name="T88" fmla="*/ 21 w 376"/>
                <a:gd name="T89" fmla="*/ 214 h 252"/>
                <a:gd name="T90" fmla="*/ 6 w 376"/>
                <a:gd name="T91" fmla="*/ 183 h 252"/>
                <a:gd name="T92" fmla="*/ 0 w 376"/>
                <a:gd name="T93" fmla="*/ 163 h 252"/>
                <a:gd name="T94" fmla="*/ 8 w 376"/>
                <a:gd name="T95" fmla="*/ 144 h 252"/>
                <a:gd name="T96" fmla="*/ 21 w 376"/>
                <a:gd name="T97" fmla="*/ 131 h 252"/>
                <a:gd name="T98" fmla="*/ 26 w 376"/>
                <a:gd name="T99" fmla="*/ 117 h 252"/>
                <a:gd name="T100" fmla="*/ 31 w 376"/>
                <a:gd name="T101" fmla="*/ 98 h 252"/>
                <a:gd name="T102" fmla="*/ 45 w 376"/>
                <a:gd name="T103" fmla="*/ 99 h 252"/>
                <a:gd name="T104" fmla="*/ 60 w 376"/>
                <a:gd name="T105" fmla="*/ 102 h 252"/>
                <a:gd name="T106" fmla="*/ 69 w 376"/>
                <a:gd name="T107" fmla="*/ 85 h 252"/>
                <a:gd name="T108" fmla="*/ 92 w 376"/>
                <a:gd name="T109" fmla="*/ 80 h 252"/>
                <a:gd name="T110" fmla="*/ 117 w 376"/>
                <a:gd name="T111" fmla="*/ 91 h 252"/>
                <a:gd name="T112" fmla="*/ 134 w 376"/>
                <a:gd name="T113" fmla="*/ 86 h 252"/>
                <a:gd name="T114" fmla="*/ 153 w 376"/>
                <a:gd name="T115" fmla="*/ 69 h 252"/>
                <a:gd name="T116" fmla="*/ 179 w 376"/>
                <a:gd name="T117" fmla="*/ 72 h 252"/>
                <a:gd name="T118" fmla="*/ 191 w 376"/>
                <a:gd name="T119" fmla="*/ 67 h 252"/>
                <a:gd name="T120" fmla="*/ 194 w 376"/>
                <a:gd name="T121" fmla="*/ 37 h 252"/>
                <a:gd name="T122" fmla="*/ 193 w 376"/>
                <a:gd name="T123" fmla="*/ 19 h 252"/>
                <a:gd name="T124" fmla="*/ 185 w 376"/>
                <a:gd name="T125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6" h="252">
                  <a:moveTo>
                    <a:pt x="198" y="0"/>
                  </a:moveTo>
                  <a:lnTo>
                    <a:pt x="198" y="0"/>
                  </a:lnTo>
                  <a:lnTo>
                    <a:pt x="201" y="1"/>
                  </a:lnTo>
                  <a:lnTo>
                    <a:pt x="201" y="2"/>
                  </a:lnTo>
                  <a:lnTo>
                    <a:pt x="202" y="2"/>
                  </a:lnTo>
                  <a:lnTo>
                    <a:pt x="203" y="2"/>
                  </a:lnTo>
                  <a:lnTo>
                    <a:pt x="204" y="3"/>
                  </a:lnTo>
                  <a:lnTo>
                    <a:pt x="205" y="3"/>
                  </a:lnTo>
                  <a:lnTo>
                    <a:pt x="205" y="3"/>
                  </a:lnTo>
                  <a:lnTo>
                    <a:pt x="206" y="3"/>
                  </a:lnTo>
                  <a:lnTo>
                    <a:pt x="206" y="3"/>
                  </a:lnTo>
                  <a:lnTo>
                    <a:pt x="207" y="2"/>
                  </a:lnTo>
                  <a:lnTo>
                    <a:pt x="209" y="2"/>
                  </a:lnTo>
                  <a:lnTo>
                    <a:pt x="209" y="2"/>
                  </a:lnTo>
                  <a:lnTo>
                    <a:pt x="210" y="2"/>
                  </a:lnTo>
                  <a:lnTo>
                    <a:pt x="211" y="2"/>
                  </a:lnTo>
                  <a:lnTo>
                    <a:pt x="212" y="2"/>
                  </a:lnTo>
                  <a:lnTo>
                    <a:pt x="213" y="2"/>
                  </a:lnTo>
                  <a:lnTo>
                    <a:pt x="217" y="4"/>
                  </a:lnTo>
                  <a:lnTo>
                    <a:pt x="219" y="5"/>
                  </a:lnTo>
                  <a:lnTo>
                    <a:pt x="220" y="5"/>
                  </a:lnTo>
                  <a:lnTo>
                    <a:pt x="220" y="5"/>
                  </a:lnTo>
                  <a:lnTo>
                    <a:pt x="221" y="6"/>
                  </a:lnTo>
                  <a:lnTo>
                    <a:pt x="221" y="6"/>
                  </a:lnTo>
                  <a:lnTo>
                    <a:pt x="221" y="7"/>
                  </a:lnTo>
                  <a:lnTo>
                    <a:pt x="221" y="7"/>
                  </a:lnTo>
                  <a:lnTo>
                    <a:pt x="221" y="9"/>
                  </a:lnTo>
                  <a:lnTo>
                    <a:pt x="221" y="10"/>
                  </a:lnTo>
                  <a:lnTo>
                    <a:pt x="222" y="11"/>
                  </a:lnTo>
                  <a:lnTo>
                    <a:pt x="222" y="11"/>
                  </a:lnTo>
                  <a:lnTo>
                    <a:pt x="223" y="12"/>
                  </a:lnTo>
                  <a:lnTo>
                    <a:pt x="223" y="13"/>
                  </a:lnTo>
                  <a:lnTo>
                    <a:pt x="224" y="13"/>
                  </a:lnTo>
                  <a:lnTo>
                    <a:pt x="225" y="13"/>
                  </a:lnTo>
                  <a:lnTo>
                    <a:pt x="226" y="13"/>
                  </a:lnTo>
                  <a:lnTo>
                    <a:pt x="226" y="14"/>
                  </a:lnTo>
                  <a:lnTo>
                    <a:pt x="227" y="14"/>
                  </a:lnTo>
                  <a:lnTo>
                    <a:pt x="228" y="14"/>
                  </a:lnTo>
                  <a:lnTo>
                    <a:pt x="229" y="13"/>
                  </a:lnTo>
                  <a:lnTo>
                    <a:pt x="229" y="13"/>
                  </a:lnTo>
                  <a:lnTo>
                    <a:pt x="230" y="13"/>
                  </a:lnTo>
                  <a:lnTo>
                    <a:pt x="230" y="13"/>
                  </a:lnTo>
                  <a:lnTo>
                    <a:pt x="230" y="12"/>
                  </a:lnTo>
                  <a:lnTo>
                    <a:pt x="231" y="12"/>
                  </a:lnTo>
                  <a:lnTo>
                    <a:pt x="231" y="11"/>
                  </a:lnTo>
                  <a:lnTo>
                    <a:pt x="232" y="10"/>
                  </a:lnTo>
                  <a:lnTo>
                    <a:pt x="233" y="8"/>
                  </a:lnTo>
                  <a:lnTo>
                    <a:pt x="234" y="7"/>
                  </a:lnTo>
                  <a:lnTo>
                    <a:pt x="235" y="6"/>
                  </a:lnTo>
                  <a:lnTo>
                    <a:pt x="235" y="6"/>
                  </a:lnTo>
                  <a:lnTo>
                    <a:pt x="235" y="5"/>
                  </a:lnTo>
                  <a:lnTo>
                    <a:pt x="236" y="5"/>
                  </a:lnTo>
                  <a:lnTo>
                    <a:pt x="237" y="5"/>
                  </a:lnTo>
                  <a:lnTo>
                    <a:pt x="237" y="5"/>
                  </a:lnTo>
                  <a:lnTo>
                    <a:pt x="238" y="5"/>
                  </a:lnTo>
                  <a:lnTo>
                    <a:pt x="238" y="4"/>
                  </a:lnTo>
                  <a:lnTo>
                    <a:pt x="239" y="4"/>
                  </a:lnTo>
                  <a:lnTo>
                    <a:pt x="239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1" y="6"/>
                  </a:lnTo>
                  <a:lnTo>
                    <a:pt x="241" y="6"/>
                  </a:lnTo>
                  <a:lnTo>
                    <a:pt x="242" y="8"/>
                  </a:lnTo>
                  <a:lnTo>
                    <a:pt x="242" y="9"/>
                  </a:lnTo>
                  <a:lnTo>
                    <a:pt x="243" y="12"/>
                  </a:lnTo>
                  <a:lnTo>
                    <a:pt x="243" y="13"/>
                  </a:lnTo>
                  <a:lnTo>
                    <a:pt x="244" y="14"/>
                  </a:lnTo>
                  <a:lnTo>
                    <a:pt x="244" y="15"/>
                  </a:lnTo>
                  <a:lnTo>
                    <a:pt x="245" y="15"/>
                  </a:lnTo>
                  <a:lnTo>
                    <a:pt x="245" y="16"/>
                  </a:lnTo>
                  <a:lnTo>
                    <a:pt x="246" y="16"/>
                  </a:lnTo>
                  <a:lnTo>
                    <a:pt x="247" y="16"/>
                  </a:lnTo>
                  <a:lnTo>
                    <a:pt x="247" y="16"/>
                  </a:lnTo>
                  <a:lnTo>
                    <a:pt x="248" y="16"/>
                  </a:lnTo>
                  <a:lnTo>
                    <a:pt x="248" y="16"/>
                  </a:lnTo>
                  <a:lnTo>
                    <a:pt x="249" y="16"/>
                  </a:lnTo>
                  <a:lnTo>
                    <a:pt x="251" y="15"/>
                  </a:lnTo>
                  <a:lnTo>
                    <a:pt x="253" y="14"/>
                  </a:lnTo>
                  <a:lnTo>
                    <a:pt x="255" y="13"/>
                  </a:lnTo>
                  <a:lnTo>
                    <a:pt x="256" y="13"/>
                  </a:lnTo>
                  <a:lnTo>
                    <a:pt x="257" y="13"/>
                  </a:lnTo>
                  <a:lnTo>
                    <a:pt x="258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60" y="13"/>
                  </a:lnTo>
                  <a:lnTo>
                    <a:pt x="260" y="13"/>
                  </a:lnTo>
                  <a:lnTo>
                    <a:pt x="261" y="14"/>
                  </a:lnTo>
                  <a:lnTo>
                    <a:pt x="261" y="14"/>
                  </a:lnTo>
                  <a:lnTo>
                    <a:pt x="263" y="16"/>
                  </a:lnTo>
                  <a:lnTo>
                    <a:pt x="264" y="17"/>
                  </a:lnTo>
                  <a:lnTo>
                    <a:pt x="265" y="18"/>
                  </a:lnTo>
                  <a:lnTo>
                    <a:pt x="268" y="19"/>
                  </a:lnTo>
                  <a:lnTo>
                    <a:pt x="269" y="20"/>
                  </a:lnTo>
                  <a:lnTo>
                    <a:pt x="269" y="21"/>
                  </a:lnTo>
                  <a:lnTo>
                    <a:pt x="270" y="21"/>
                  </a:lnTo>
                  <a:lnTo>
                    <a:pt x="271" y="22"/>
                  </a:lnTo>
                  <a:lnTo>
                    <a:pt x="271" y="23"/>
                  </a:lnTo>
                  <a:lnTo>
                    <a:pt x="272" y="24"/>
                  </a:lnTo>
                  <a:lnTo>
                    <a:pt x="274" y="28"/>
                  </a:lnTo>
                  <a:lnTo>
                    <a:pt x="274" y="29"/>
                  </a:lnTo>
                  <a:lnTo>
                    <a:pt x="274" y="31"/>
                  </a:lnTo>
                  <a:lnTo>
                    <a:pt x="274" y="32"/>
                  </a:lnTo>
                  <a:lnTo>
                    <a:pt x="274" y="33"/>
                  </a:lnTo>
                  <a:lnTo>
                    <a:pt x="274" y="34"/>
                  </a:lnTo>
                  <a:lnTo>
                    <a:pt x="274" y="34"/>
                  </a:lnTo>
                  <a:lnTo>
                    <a:pt x="274" y="35"/>
                  </a:lnTo>
                  <a:lnTo>
                    <a:pt x="272" y="40"/>
                  </a:lnTo>
                  <a:lnTo>
                    <a:pt x="271" y="41"/>
                  </a:lnTo>
                  <a:lnTo>
                    <a:pt x="271" y="43"/>
                  </a:lnTo>
                  <a:lnTo>
                    <a:pt x="271" y="44"/>
                  </a:lnTo>
                  <a:lnTo>
                    <a:pt x="271" y="45"/>
                  </a:lnTo>
                  <a:lnTo>
                    <a:pt x="271" y="47"/>
                  </a:lnTo>
                  <a:lnTo>
                    <a:pt x="271" y="48"/>
                  </a:lnTo>
                  <a:lnTo>
                    <a:pt x="271" y="50"/>
                  </a:lnTo>
                  <a:lnTo>
                    <a:pt x="271" y="52"/>
                  </a:lnTo>
                  <a:lnTo>
                    <a:pt x="272" y="53"/>
                  </a:lnTo>
                  <a:lnTo>
                    <a:pt x="272" y="55"/>
                  </a:lnTo>
                  <a:lnTo>
                    <a:pt x="273" y="57"/>
                  </a:lnTo>
                  <a:lnTo>
                    <a:pt x="273" y="59"/>
                  </a:lnTo>
                  <a:lnTo>
                    <a:pt x="274" y="60"/>
                  </a:lnTo>
                  <a:lnTo>
                    <a:pt x="274" y="62"/>
                  </a:lnTo>
                  <a:lnTo>
                    <a:pt x="275" y="64"/>
                  </a:lnTo>
                  <a:lnTo>
                    <a:pt x="277" y="66"/>
                  </a:lnTo>
                  <a:lnTo>
                    <a:pt x="278" y="67"/>
                  </a:lnTo>
                  <a:lnTo>
                    <a:pt x="279" y="69"/>
                  </a:lnTo>
                  <a:lnTo>
                    <a:pt x="280" y="70"/>
                  </a:lnTo>
                  <a:lnTo>
                    <a:pt x="281" y="71"/>
                  </a:lnTo>
                  <a:lnTo>
                    <a:pt x="282" y="72"/>
                  </a:lnTo>
                  <a:lnTo>
                    <a:pt x="282" y="73"/>
                  </a:lnTo>
                  <a:lnTo>
                    <a:pt x="283" y="73"/>
                  </a:lnTo>
                  <a:lnTo>
                    <a:pt x="284" y="74"/>
                  </a:lnTo>
                  <a:lnTo>
                    <a:pt x="285" y="74"/>
                  </a:lnTo>
                  <a:lnTo>
                    <a:pt x="286" y="75"/>
                  </a:lnTo>
                  <a:lnTo>
                    <a:pt x="287" y="76"/>
                  </a:lnTo>
                  <a:lnTo>
                    <a:pt x="291" y="77"/>
                  </a:lnTo>
                  <a:lnTo>
                    <a:pt x="292" y="78"/>
                  </a:lnTo>
                  <a:lnTo>
                    <a:pt x="293" y="78"/>
                  </a:lnTo>
                  <a:lnTo>
                    <a:pt x="294" y="79"/>
                  </a:lnTo>
                  <a:lnTo>
                    <a:pt x="295" y="80"/>
                  </a:lnTo>
                  <a:lnTo>
                    <a:pt x="296" y="81"/>
                  </a:lnTo>
                  <a:lnTo>
                    <a:pt x="297" y="83"/>
                  </a:lnTo>
                  <a:lnTo>
                    <a:pt x="298" y="85"/>
                  </a:lnTo>
                  <a:lnTo>
                    <a:pt x="299" y="86"/>
                  </a:lnTo>
                  <a:lnTo>
                    <a:pt x="299" y="88"/>
                  </a:lnTo>
                  <a:lnTo>
                    <a:pt x="300" y="90"/>
                  </a:lnTo>
                  <a:lnTo>
                    <a:pt x="300" y="92"/>
                  </a:lnTo>
                  <a:lnTo>
                    <a:pt x="300" y="94"/>
                  </a:lnTo>
                  <a:lnTo>
                    <a:pt x="300" y="97"/>
                  </a:lnTo>
                  <a:lnTo>
                    <a:pt x="300" y="102"/>
                  </a:lnTo>
                  <a:lnTo>
                    <a:pt x="300" y="102"/>
                  </a:lnTo>
                  <a:lnTo>
                    <a:pt x="300" y="104"/>
                  </a:lnTo>
                  <a:lnTo>
                    <a:pt x="301" y="106"/>
                  </a:lnTo>
                  <a:lnTo>
                    <a:pt x="301" y="107"/>
                  </a:lnTo>
                  <a:lnTo>
                    <a:pt x="301" y="108"/>
                  </a:lnTo>
                  <a:lnTo>
                    <a:pt x="302" y="109"/>
                  </a:lnTo>
                  <a:lnTo>
                    <a:pt x="302" y="109"/>
                  </a:lnTo>
                  <a:lnTo>
                    <a:pt x="302" y="110"/>
                  </a:lnTo>
                  <a:lnTo>
                    <a:pt x="302" y="110"/>
                  </a:lnTo>
                  <a:lnTo>
                    <a:pt x="303" y="110"/>
                  </a:lnTo>
                  <a:lnTo>
                    <a:pt x="303" y="111"/>
                  </a:lnTo>
                  <a:lnTo>
                    <a:pt x="304" y="111"/>
                  </a:lnTo>
                  <a:lnTo>
                    <a:pt x="305" y="111"/>
                  </a:lnTo>
                  <a:lnTo>
                    <a:pt x="305" y="111"/>
                  </a:lnTo>
                  <a:lnTo>
                    <a:pt x="306" y="111"/>
                  </a:lnTo>
                  <a:lnTo>
                    <a:pt x="307" y="111"/>
                  </a:lnTo>
                  <a:lnTo>
                    <a:pt x="307" y="111"/>
                  </a:lnTo>
                  <a:lnTo>
                    <a:pt x="308" y="110"/>
                  </a:lnTo>
                  <a:lnTo>
                    <a:pt x="308" y="110"/>
                  </a:lnTo>
                  <a:lnTo>
                    <a:pt x="309" y="109"/>
                  </a:lnTo>
                  <a:lnTo>
                    <a:pt x="310" y="109"/>
                  </a:lnTo>
                  <a:lnTo>
                    <a:pt x="311" y="107"/>
                  </a:lnTo>
                  <a:lnTo>
                    <a:pt x="314" y="104"/>
                  </a:lnTo>
                  <a:lnTo>
                    <a:pt x="316" y="103"/>
                  </a:lnTo>
                  <a:lnTo>
                    <a:pt x="317" y="102"/>
                  </a:lnTo>
                  <a:lnTo>
                    <a:pt x="317" y="102"/>
                  </a:lnTo>
                  <a:lnTo>
                    <a:pt x="318" y="101"/>
                  </a:lnTo>
                  <a:lnTo>
                    <a:pt x="318" y="101"/>
                  </a:lnTo>
                  <a:lnTo>
                    <a:pt x="319" y="101"/>
                  </a:lnTo>
                  <a:lnTo>
                    <a:pt x="320" y="101"/>
                  </a:lnTo>
                  <a:lnTo>
                    <a:pt x="320" y="101"/>
                  </a:lnTo>
                  <a:lnTo>
                    <a:pt x="321" y="101"/>
                  </a:lnTo>
                  <a:lnTo>
                    <a:pt x="322" y="101"/>
                  </a:lnTo>
                  <a:lnTo>
                    <a:pt x="322" y="101"/>
                  </a:lnTo>
                  <a:lnTo>
                    <a:pt x="324" y="101"/>
                  </a:lnTo>
                  <a:lnTo>
                    <a:pt x="326" y="102"/>
                  </a:lnTo>
                  <a:lnTo>
                    <a:pt x="327" y="102"/>
                  </a:lnTo>
                  <a:lnTo>
                    <a:pt x="329" y="103"/>
                  </a:lnTo>
                  <a:lnTo>
                    <a:pt x="332" y="105"/>
                  </a:lnTo>
                  <a:lnTo>
                    <a:pt x="334" y="106"/>
                  </a:lnTo>
                  <a:lnTo>
                    <a:pt x="337" y="107"/>
                  </a:lnTo>
                  <a:lnTo>
                    <a:pt x="341" y="108"/>
                  </a:lnTo>
                  <a:lnTo>
                    <a:pt x="342" y="109"/>
                  </a:lnTo>
                  <a:lnTo>
                    <a:pt x="344" y="110"/>
                  </a:lnTo>
                  <a:lnTo>
                    <a:pt x="347" y="111"/>
                  </a:lnTo>
                  <a:lnTo>
                    <a:pt x="347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3"/>
                  </a:lnTo>
                  <a:lnTo>
                    <a:pt x="349" y="114"/>
                  </a:lnTo>
                  <a:lnTo>
                    <a:pt x="349" y="115"/>
                  </a:lnTo>
                  <a:lnTo>
                    <a:pt x="349" y="116"/>
                  </a:lnTo>
                  <a:lnTo>
                    <a:pt x="350" y="117"/>
                  </a:lnTo>
                  <a:lnTo>
                    <a:pt x="351" y="119"/>
                  </a:lnTo>
                  <a:lnTo>
                    <a:pt x="352" y="121"/>
                  </a:lnTo>
                  <a:lnTo>
                    <a:pt x="353" y="122"/>
                  </a:lnTo>
                  <a:lnTo>
                    <a:pt x="355" y="126"/>
                  </a:lnTo>
                  <a:lnTo>
                    <a:pt x="356" y="127"/>
                  </a:lnTo>
                  <a:lnTo>
                    <a:pt x="357" y="129"/>
                  </a:lnTo>
                  <a:lnTo>
                    <a:pt x="357" y="130"/>
                  </a:lnTo>
                  <a:lnTo>
                    <a:pt x="357" y="131"/>
                  </a:lnTo>
                  <a:lnTo>
                    <a:pt x="358" y="131"/>
                  </a:lnTo>
                  <a:lnTo>
                    <a:pt x="358" y="133"/>
                  </a:lnTo>
                  <a:lnTo>
                    <a:pt x="358" y="134"/>
                  </a:lnTo>
                  <a:lnTo>
                    <a:pt x="358" y="136"/>
                  </a:lnTo>
                  <a:lnTo>
                    <a:pt x="357" y="140"/>
                  </a:lnTo>
                  <a:lnTo>
                    <a:pt x="357" y="141"/>
                  </a:lnTo>
                  <a:lnTo>
                    <a:pt x="357" y="142"/>
                  </a:lnTo>
                  <a:lnTo>
                    <a:pt x="357" y="147"/>
                  </a:lnTo>
                  <a:lnTo>
                    <a:pt x="357" y="154"/>
                  </a:lnTo>
                  <a:lnTo>
                    <a:pt x="358" y="156"/>
                  </a:lnTo>
                  <a:lnTo>
                    <a:pt x="358" y="157"/>
                  </a:lnTo>
                  <a:lnTo>
                    <a:pt x="358" y="159"/>
                  </a:lnTo>
                  <a:lnTo>
                    <a:pt x="359" y="162"/>
                  </a:lnTo>
                  <a:lnTo>
                    <a:pt x="359" y="165"/>
                  </a:lnTo>
                  <a:lnTo>
                    <a:pt x="360" y="168"/>
                  </a:lnTo>
                  <a:lnTo>
                    <a:pt x="361" y="170"/>
                  </a:lnTo>
                  <a:lnTo>
                    <a:pt x="361" y="170"/>
                  </a:lnTo>
                  <a:lnTo>
                    <a:pt x="361" y="171"/>
                  </a:lnTo>
                  <a:lnTo>
                    <a:pt x="361" y="174"/>
                  </a:lnTo>
                  <a:lnTo>
                    <a:pt x="361" y="175"/>
                  </a:lnTo>
                  <a:lnTo>
                    <a:pt x="361" y="176"/>
                  </a:lnTo>
                  <a:lnTo>
                    <a:pt x="361" y="177"/>
                  </a:lnTo>
                  <a:lnTo>
                    <a:pt x="361" y="178"/>
                  </a:lnTo>
                  <a:lnTo>
                    <a:pt x="361" y="178"/>
                  </a:lnTo>
                  <a:lnTo>
                    <a:pt x="363" y="183"/>
                  </a:lnTo>
                  <a:lnTo>
                    <a:pt x="365" y="185"/>
                  </a:lnTo>
                  <a:lnTo>
                    <a:pt x="365" y="186"/>
                  </a:lnTo>
                  <a:lnTo>
                    <a:pt x="365" y="187"/>
                  </a:lnTo>
                  <a:lnTo>
                    <a:pt x="365" y="187"/>
                  </a:lnTo>
                  <a:lnTo>
                    <a:pt x="366" y="188"/>
                  </a:lnTo>
                  <a:lnTo>
                    <a:pt x="366" y="189"/>
                  </a:lnTo>
                  <a:lnTo>
                    <a:pt x="366" y="189"/>
                  </a:lnTo>
                  <a:lnTo>
                    <a:pt x="365" y="190"/>
                  </a:lnTo>
                  <a:lnTo>
                    <a:pt x="365" y="191"/>
                  </a:lnTo>
                  <a:lnTo>
                    <a:pt x="364" y="195"/>
                  </a:lnTo>
                  <a:lnTo>
                    <a:pt x="363" y="197"/>
                  </a:lnTo>
                  <a:lnTo>
                    <a:pt x="363" y="199"/>
                  </a:lnTo>
                  <a:lnTo>
                    <a:pt x="363" y="200"/>
                  </a:lnTo>
                  <a:lnTo>
                    <a:pt x="362" y="201"/>
                  </a:lnTo>
                  <a:lnTo>
                    <a:pt x="363" y="202"/>
                  </a:lnTo>
                  <a:lnTo>
                    <a:pt x="363" y="203"/>
                  </a:lnTo>
                  <a:lnTo>
                    <a:pt x="363" y="204"/>
                  </a:lnTo>
                  <a:lnTo>
                    <a:pt x="363" y="204"/>
                  </a:lnTo>
                  <a:lnTo>
                    <a:pt x="365" y="207"/>
                  </a:lnTo>
                  <a:lnTo>
                    <a:pt x="366" y="210"/>
                  </a:lnTo>
                  <a:lnTo>
                    <a:pt x="368" y="214"/>
                  </a:lnTo>
                  <a:lnTo>
                    <a:pt x="368" y="214"/>
                  </a:lnTo>
                  <a:lnTo>
                    <a:pt x="370" y="216"/>
                  </a:lnTo>
                  <a:lnTo>
                    <a:pt x="372" y="220"/>
                  </a:lnTo>
                  <a:lnTo>
                    <a:pt x="374" y="222"/>
                  </a:lnTo>
                  <a:lnTo>
                    <a:pt x="374" y="223"/>
                  </a:lnTo>
                  <a:lnTo>
                    <a:pt x="375" y="224"/>
                  </a:lnTo>
                  <a:lnTo>
                    <a:pt x="375" y="224"/>
                  </a:lnTo>
                  <a:lnTo>
                    <a:pt x="375" y="225"/>
                  </a:lnTo>
                  <a:lnTo>
                    <a:pt x="376" y="226"/>
                  </a:lnTo>
                  <a:lnTo>
                    <a:pt x="376" y="227"/>
                  </a:lnTo>
                  <a:lnTo>
                    <a:pt x="376" y="228"/>
                  </a:lnTo>
                  <a:lnTo>
                    <a:pt x="375" y="228"/>
                  </a:lnTo>
                  <a:lnTo>
                    <a:pt x="375" y="229"/>
                  </a:lnTo>
                  <a:lnTo>
                    <a:pt x="375" y="229"/>
                  </a:lnTo>
                  <a:lnTo>
                    <a:pt x="374" y="229"/>
                  </a:lnTo>
                  <a:lnTo>
                    <a:pt x="374" y="230"/>
                  </a:lnTo>
                  <a:lnTo>
                    <a:pt x="373" y="230"/>
                  </a:lnTo>
                  <a:lnTo>
                    <a:pt x="372" y="231"/>
                  </a:lnTo>
                  <a:lnTo>
                    <a:pt x="371" y="231"/>
                  </a:lnTo>
                  <a:lnTo>
                    <a:pt x="369" y="232"/>
                  </a:lnTo>
                  <a:lnTo>
                    <a:pt x="368" y="232"/>
                  </a:lnTo>
                  <a:lnTo>
                    <a:pt x="367" y="232"/>
                  </a:lnTo>
                  <a:lnTo>
                    <a:pt x="365" y="232"/>
                  </a:lnTo>
                  <a:lnTo>
                    <a:pt x="365" y="232"/>
                  </a:lnTo>
                  <a:lnTo>
                    <a:pt x="364" y="232"/>
                  </a:lnTo>
                  <a:lnTo>
                    <a:pt x="364" y="232"/>
                  </a:lnTo>
                  <a:lnTo>
                    <a:pt x="362" y="232"/>
                  </a:lnTo>
                  <a:lnTo>
                    <a:pt x="361" y="231"/>
                  </a:lnTo>
                  <a:lnTo>
                    <a:pt x="359" y="231"/>
                  </a:lnTo>
                  <a:lnTo>
                    <a:pt x="358" y="231"/>
                  </a:lnTo>
                  <a:lnTo>
                    <a:pt x="357" y="231"/>
                  </a:lnTo>
                  <a:lnTo>
                    <a:pt x="356" y="231"/>
                  </a:lnTo>
                  <a:lnTo>
                    <a:pt x="355" y="232"/>
                  </a:lnTo>
                  <a:lnTo>
                    <a:pt x="352" y="232"/>
                  </a:lnTo>
                  <a:lnTo>
                    <a:pt x="351" y="233"/>
                  </a:lnTo>
                  <a:lnTo>
                    <a:pt x="350" y="233"/>
                  </a:lnTo>
                  <a:lnTo>
                    <a:pt x="350" y="233"/>
                  </a:lnTo>
                  <a:lnTo>
                    <a:pt x="349" y="233"/>
                  </a:lnTo>
                  <a:lnTo>
                    <a:pt x="348" y="233"/>
                  </a:lnTo>
                  <a:lnTo>
                    <a:pt x="347" y="232"/>
                  </a:lnTo>
                  <a:lnTo>
                    <a:pt x="346" y="232"/>
                  </a:lnTo>
                  <a:lnTo>
                    <a:pt x="345" y="231"/>
                  </a:lnTo>
                  <a:lnTo>
                    <a:pt x="343" y="231"/>
                  </a:lnTo>
                  <a:lnTo>
                    <a:pt x="343" y="230"/>
                  </a:lnTo>
                  <a:lnTo>
                    <a:pt x="342" y="229"/>
                  </a:lnTo>
                  <a:lnTo>
                    <a:pt x="341" y="229"/>
                  </a:lnTo>
                  <a:lnTo>
                    <a:pt x="340" y="228"/>
                  </a:lnTo>
                  <a:lnTo>
                    <a:pt x="339" y="226"/>
                  </a:lnTo>
                  <a:lnTo>
                    <a:pt x="337" y="224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6" y="222"/>
                  </a:lnTo>
                  <a:lnTo>
                    <a:pt x="335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3" y="222"/>
                  </a:lnTo>
                  <a:lnTo>
                    <a:pt x="333" y="222"/>
                  </a:lnTo>
                  <a:lnTo>
                    <a:pt x="332" y="223"/>
                  </a:lnTo>
                  <a:lnTo>
                    <a:pt x="332" y="224"/>
                  </a:lnTo>
                  <a:lnTo>
                    <a:pt x="331" y="224"/>
                  </a:lnTo>
                  <a:lnTo>
                    <a:pt x="329" y="226"/>
                  </a:lnTo>
                  <a:lnTo>
                    <a:pt x="327" y="228"/>
                  </a:lnTo>
                  <a:lnTo>
                    <a:pt x="325" y="230"/>
                  </a:lnTo>
                  <a:lnTo>
                    <a:pt x="324" y="230"/>
                  </a:lnTo>
                  <a:lnTo>
                    <a:pt x="323" y="231"/>
                  </a:lnTo>
                  <a:lnTo>
                    <a:pt x="323" y="232"/>
                  </a:lnTo>
                  <a:lnTo>
                    <a:pt x="322" y="233"/>
                  </a:lnTo>
                  <a:lnTo>
                    <a:pt x="322" y="233"/>
                  </a:lnTo>
                  <a:lnTo>
                    <a:pt x="322" y="234"/>
                  </a:lnTo>
                  <a:lnTo>
                    <a:pt x="322" y="235"/>
                  </a:lnTo>
                  <a:lnTo>
                    <a:pt x="322" y="236"/>
                  </a:lnTo>
                  <a:lnTo>
                    <a:pt x="322" y="237"/>
                  </a:lnTo>
                  <a:lnTo>
                    <a:pt x="323" y="240"/>
                  </a:lnTo>
                  <a:lnTo>
                    <a:pt x="323" y="241"/>
                  </a:lnTo>
                  <a:lnTo>
                    <a:pt x="323" y="241"/>
                  </a:lnTo>
                  <a:lnTo>
                    <a:pt x="323" y="242"/>
                  </a:lnTo>
                  <a:lnTo>
                    <a:pt x="322" y="243"/>
                  </a:lnTo>
                  <a:lnTo>
                    <a:pt x="322" y="244"/>
                  </a:lnTo>
                  <a:lnTo>
                    <a:pt x="321" y="245"/>
                  </a:lnTo>
                  <a:lnTo>
                    <a:pt x="321" y="245"/>
                  </a:lnTo>
                  <a:lnTo>
                    <a:pt x="321" y="246"/>
                  </a:lnTo>
                  <a:lnTo>
                    <a:pt x="318" y="247"/>
                  </a:lnTo>
                  <a:lnTo>
                    <a:pt x="318" y="247"/>
                  </a:lnTo>
                  <a:lnTo>
                    <a:pt x="317" y="248"/>
                  </a:lnTo>
                  <a:lnTo>
                    <a:pt x="316" y="248"/>
                  </a:lnTo>
                  <a:lnTo>
                    <a:pt x="315" y="249"/>
                  </a:lnTo>
                  <a:lnTo>
                    <a:pt x="314" y="249"/>
                  </a:lnTo>
                  <a:lnTo>
                    <a:pt x="313" y="249"/>
                  </a:lnTo>
                  <a:lnTo>
                    <a:pt x="312" y="249"/>
                  </a:lnTo>
                  <a:lnTo>
                    <a:pt x="311" y="249"/>
                  </a:lnTo>
                  <a:lnTo>
                    <a:pt x="310" y="249"/>
                  </a:lnTo>
                  <a:lnTo>
                    <a:pt x="310" y="249"/>
                  </a:lnTo>
                  <a:lnTo>
                    <a:pt x="309" y="249"/>
                  </a:lnTo>
                  <a:lnTo>
                    <a:pt x="308" y="249"/>
                  </a:lnTo>
                  <a:lnTo>
                    <a:pt x="308" y="248"/>
                  </a:lnTo>
                  <a:lnTo>
                    <a:pt x="308" y="248"/>
                  </a:lnTo>
                  <a:lnTo>
                    <a:pt x="307" y="248"/>
                  </a:lnTo>
                  <a:lnTo>
                    <a:pt x="306" y="247"/>
                  </a:lnTo>
                  <a:lnTo>
                    <a:pt x="306" y="246"/>
                  </a:lnTo>
                  <a:lnTo>
                    <a:pt x="306" y="246"/>
                  </a:lnTo>
                  <a:lnTo>
                    <a:pt x="305" y="245"/>
                  </a:lnTo>
                  <a:lnTo>
                    <a:pt x="305" y="244"/>
                  </a:lnTo>
                  <a:lnTo>
                    <a:pt x="305" y="243"/>
                  </a:lnTo>
                  <a:lnTo>
                    <a:pt x="304" y="242"/>
                  </a:lnTo>
                  <a:lnTo>
                    <a:pt x="304" y="242"/>
                  </a:lnTo>
                  <a:lnTo>
                    <a:pt x="304" y="241"/>
                  </a:lnTo>
                  <a:lnTo>
                    <a:pt x="303" y="241"/>
                  </a:lnTo>
                  <a:lnTo>
                    <a:pt x="303" y="241"/>
                  </a:lnTo>
                  <a:lnTo>
                    <a:pt x="303" y="240"/>
                  </a:lnTo>
                  <a:lnTo>
                    <a:pt x="302" y="240"/>
                  </a:lnTo>
                  <a:lnTo>
                    <a:pt x="300" y="241"/>
                  </a:lnTo>
                  <a:lnTo>
                    <a:pt x="299" y="241"/>
                  </a:lnTo>
                  <a:lnTo>
                    <a:pt x="299" y="241"/>
                  </a:lnTo>
                  <a:lnTo>
                    <a:pt x="298" y="240"/>
                  </a:lnTo>
                  <a:lnTo>
                    <a:pt x="296" y="240"/>
                  </a:lnTo>
                  <a:lnTo>
                    <a:pt x="294" y="239"/>
                  </a:lnTo>
                  <a:lnTo>
                    <a:pt x="293" y="238"/>
                  </a:lnTo>
                  <a:lnTo>
                    <a:pt x="291" y="237"/>
                  </a:lnTo>
                  <a:lnTo>
                    <a:pt x="290" y="236"/>
                  </a:lnTo>
                  <a:lnTo>
                    <a:pt x="289" y="236"/>
                  </a:lnTo>
                  <a:lnTo>
                    <a:pt x="288" y="236"/>
                  </a:lnTo>
                  <a:lnTo>
                    <a:pt x="287" y="235"/>
                  </a:lnTo>
                  <a:lnTo>
                    <a:pt x="286" y="235"/>
                  </a:lnTo>
                  <a:lnTo>
                    <a:pt x="284" y="235"/>
                  </a:lnTo>
                  <a:lnTo>
                    <a:pt x="283" y="234"/>
                  </a:lnTo>
                  <a:lnTo>
                    <a:pt x="281" y="234"/>
                  </a:lnTo>
                  <a:lnTo>
                    <a:pt x="279" y="233"/>
                  </a:lnTo>
                  <a:lnTo>
                    <a:pt x="278" y="232"/>
                  </a:lnTo>
                  <a:lnTo>
                    <a:pt x="277" y="232"/>
                  </a:lnTo>
                  <a:lnTo>
                    <a:pt x="276" y="231"/>
                  </a:lnTo>
                  <a:lnTo>
                    <a:pt x="275" y="231"/>
                  </a:lnTo>
                  <a:lnTo>
                    <a:pt x="274" y="231"/>
                  </a:lnTo>
                  <a:lnTo>
                    <a:pt x="273" y="231"/>
                  </a:lnTo>
                  <a:lnTo>
                    <a:pt x="272" y="231"/>
                  </a:lnTo>
                  <a:lnTo>
                    <a:pt x="271" y="231"/>
                  </a:lnTo>
                  <a:lnTo>
                    <a:pt x="271" y="231"/>
                  </a:lnTo>
                  <a:lnTo>
                    <a:pt x="270" y="232"/>
                  </a:lnTo>
                  <a:lnTo>
                    <a:pt x="270" y="232"/>
                  </a:lnTo>
                  <a:lnTo>
                    <a:pt x="269" y="232"/>
                  </a:lnTo>
                  <a:lnTo>
                    <a:pt x="269" y="233"/>
                  </a:lnTo>
                  <a:lnTo>
                    <a:pt x="268" y="233"/>
                  </a:lnTo>
                  <a:lnTo>
                    <a:pt x="267" y="234"/>
                  </a:lnTo>
                  <a:lnTo>
                    <a:pt x="265" y="236"/>
                  </a:lnTo>
                  <a:lnTo>
                    <a:pt x="263" y="239"/>
                  </a:lnTo>
                  <a:lnTo>
                    <a:pt x="262" y="240"/>
                  </a:lnTo>
                  <a:lnTo>
                    <a:pt x="261" y="241"/>
                  </a:lnTo>
                  <a:lnTo>
                    <a:pt x="261" y="241"/>
                  </a:lnTo>
                  <a:lnTo>
                    <a:pt x="260" y="242"/>
                  </a:lnTo>
                  <a:lnTo>
                    <a:pt x="259" y="242"/>
                  </a:lnTo>
                  <a:lnTo>
                    <a:pt x="259" y="242"/>
                  </a:lnTo>
                  <a:lnTo>
                    <a:pt x="258" y="242"/>
                  </a:lnTo>
                  <a:lnTo>
                    <a:pt x="257" y="242"/>
                  </a:lnTo>
                  <a:lnTo>
                    <a:pt x="256" y="242"/>
                  </a:lnTo>
                  <a:lnTo>
                    <a:pt x="255" y="242"/>
                  </a:lnTo>
                  <a:lnTo>
                    <a:pt x="255" y="242"/>
                  </a:lnTo>
                  <a:lnTo>
                    <a:pt x="253" y="241"/>
                  </a:lnTo>
                  <a:lnTo>
                    <a:pt x="252" y="241"/>
                  </a:lnTo>
                  <a:lnTo>
                    <a:pt x="250" y="240"/>
                  </a:lnTo>
                  <a:lnTo>
                    <a:pt x="249" y="239"/>
                  </a:lnTo>
                  <a:lnTo>
                    <a:pt x="247" y="239"/>
                  </a:lnTo>
                  <a:lnTo>
                    <a:pt x="246" y="238"/>
                  </a:lnTo>
                  <a:lnTo>
                    <a:pt x="242" y="236"/>
                  </a:lnTo>
                  <a:lnTo>
                    <a:pt x="240" y="235"/>
                  </a:lnTo>
                  <a:lnTo>
                    <a:pt x="238" y="233"/>
                  </a:lnTo>
                  <a:lnTo>
                    <a:pt x="236" y="233"/>
                  </a:lnTo>
                  <a:lnTo>
                    <a:pt x="235" y="232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4" y="230"/>
                  </a:lnTo>
                  <a:lnTo>
                    <a:pt x="233" y="230"/>
                  </a:lnTo>
                  <a:lnTo>
                    <a:pt x="228" y="228"/>
                  </a:lnTo>
                  <a:lnTo>
                    <a:pt x="227" y="227"/>
                  </a:lnTo>
                  <a:lnTo>
                    <a:pt x="225" y="226"/>
                  </a:lnTo>
                  <a:lnTo>
                    <a:pt x="224" y="226"/>
                  </a:lnTo>
                  <a:lnTo>
                    <a:pt x="224" y="225"/>
                  </a:lnTo>
                  <a:lnTo>
                    <a:pt x="223" y="225"/>
                  </a:lnTo>
                  <a:lnTo>
                    <a:pt x="222" y="224"/>
                  </a:lnTo>
                  <a:lnTo>
                    <a:pt x="221" y="224"/>
                  </a:lnTo>
                  <a:lnTo>
                    <a:pt x="221" y="223"/>
                  </a:lnTo>
                  <a:lnTo>
                    <a:pt x="221" y="222"/>
                  </a:lnTo>
                  <a:lnTo>
                    <a:pt x="219" y="219"/>
                  </a:lnTo>
                  <a:lnTo>
                    <a:pt x="218" y="218"/>
                  </a:lnTo>
                  <a:lnTo>
                    <a:pt x="217" y="217"/>
                  </a:lnTo>
                  <a:lnTo>
                    <a:pt x="217" y="216"/>
                  </a:lnTo>
                  <a:lnTo>
                    <a:pt x="216" y="215"/>
                  </a:lnTo>
                  <a:lnTo>
                    <a:pt x="215" y="214"/>
                  </a:lnTo>
                  <a:lnTo>
                    <a:pt x="213" y="213"/>
                  </a:lnTo>
                  <a:lnTo>
                    <a:pt x="212" y="212"/>
                  </a:lnTo>
                  <a:lnTo>
                    <a:pt x="211" y="211"/>
                  </a:lnTo>
                  <a:lnTo>
                    <a:pt x="210" y="211"/>
                  </a:lnTo>
                  <a:lnTo>
                    <a:pt x="209" y="210"/>
                  </a:lnTo>
                  <a:lnTo>
                    <a:pt x="207" y="209"/>
                  </a:lnTo>
                  <a:lnTo>
                    <a:pt x="206" y="209"/>
                  </a:lnTo>
                  <a:lnTo>
                    <a:pt x="205" y="209"/>
                  </a:lnTo>
                  <a:lnTo>
                    <a:pt x="204" y="208"/>
                  </a:lnTo>
                  <a:lnTo>
                    <a:pt x="204" y="208"/>
                  </a:lnTo>
                  <a:lnTo>
                    <a:pt x="203" y="207"/>
                  </a:lnTo>
                  <a:lnTo>
                    <a:pt x="201" y="205"/>
                  </a:lnTo>
                  <a:lnTo>
                    <a:pt x="197" y="201"/>
                  </a:lnTo>
                  <a:lnTo>
                    <a:pt x="195" y="197"/>
                  </a:lnTo>
                  <a:lnTo>
                    <a:pt x="193" y="196"/>
                  </a:lnTo>
                  <a:lnTo>
                    <a:pt x="192" y="196"/>
                  </a:lnTo>
                  <a:lnTo>
                    <a:pt x="192" y="195"/>
                  </a:lnTo>
                  <a:lnTo>
                    <a:pt x="192" y="195"/>
                  </a:lnTo>
                  <a:lnTo>
                    <a:pt x="191" y="195"/>
                  </a:lnTo>
                  <a:lnTo>
                    <a:pt x="190" y="195"/>
                  </a:lnTo>
                  <a:lnTo>
                    <a:pt x="187" y="194"/>
                  </a:lnTo>
                  <a:lnTo>
                    <a:pt x="187" y="194"/>
                  </a:lnTo>
                  <a:lnTo>
                    <a:pt x="186" y="194"/>
                  </a:lnTo>
                  <a:lnTo>
                    <a:pt x="185" y="194"/>
                  </a:lnTo>
                  <a:lnTo>
                    <a:pt x="184" y="195"/>
                  </a:lnTo>
                  <a:lnTo>
                    <a:pt x="184" y="195"/>
                  </a:lnTo>
                  <a:lnTo>
                    <a:pt x="183" y="195"/>
                  </a:lnTo>
                  <a:lnTo>
                    <a:pt x="182" y="196"/>
                  </a:lnTo>
                  <a:lnTo>
                    <a:pt x="181" y="196"/>
                  </a:lnTo>
                  <a:lnTo>
                    <a:pt x="181" y="197"/>
                  </a:lnTo>
                  <a:lnTo>
                    <a:pt x="181" y="197"/>
                  </a:lnTo>
                  <a:lnTo>
                    <a:pt x="180" y="197"/>
                  </a:lnTo>
                  <a:lnTo>
                    <a:pt x="179" y="197"/>
                  </a:lnTo>
                  <a:lnTo>
                    <a:pt x="179" y="196"/>
                  </a:lnTo>
                  <a:lnTo>
                    <a:pt x="178" y="196"/>
                  </a:lnTo>
                  <a:lnTo>
                    <a:pt x="177" y="196"/>
                  </a:lnTo>
                  <a:lnTo>
                    <a:pt x="177" y="195"/>
                  </a:lnTo>
                  <a:lnTo>
                    <a:pt x="176" y="194"/>
                  </a:lnTo>
                  <a:lnTo>
                    <a:pt x="176" y="194"/>
                  </a:lnTo>
                  <a:lnTo>
                    <a:pt x="175" y="193"/>
                  </a:lnTo>
                  <a:lnTo>
                    <a:pt x="173" y="192"/>
                  </a:lnTo>
                  <a:lnTo>
                    <a:pt x="172" y="191"/>
                  </a:lnTo>
                  <a:lnTo>
                    <a:pt x="171" y="190"/>
                  </a:lnTo>
                  <a:lnTo>
                    <a:pt x="169" y="188"/>
                  </a:lnTo>
                  <a:lnTo>
                    <a:pt x="168" y="188"/>
                  </a:lnTo>
                  <a:lnTo>
                    <a:pt x="168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6" y="187"/>
                  </a:lnTo>
                  <a:lnTo>
                    <a:pt x="166" y="187"/>
                  </a:lnTo>
                  <a:lnTo>
                    <a:pt x="166" y="189"/>
                  </a:lnTo>
                  <a:lnTo>
                    <a:pt x="166" y="190"/>
                  </a:lnTo>
                  <a:lnTo>
                    <a:pt x="165" y="191"/>
                  </a:lnTo>
                  <a:lnTo>
                    <a:pt x="164" y="193"/>
                  </a:lnTo>
                  <a:lnTo>
                    <a:pt x="163" y="195"/>
                  </a:lnTo>
                  <a:lnTo>
                    <a:pt x="163" y="196"/>
                  </a:lnTo>
                  <a:lnTo>
                    <a:pt x="163" y="198"/>
                  </a:lnTo>
                  <a:lnTo>
                    <a:pt x="163" y="199"/>
                  </a:lnTo>
                  <a:lnTo>
                    <a:pt x="163" y="200"/>
                  </a:lnTo>
                  <a:lnTo>
                    <a:pt x="162" y="201"/>
                  </a:lnTo>
                  <a:lnTo>
                    <a:pt x="162" y="201"/>
                  </a:lnTo>
                  <a:lnTo>
                    <a:pt x="161" y="202"/>
                  </a:lnTo>
                  <a:lnTo>
                    <a:pt x="161" y="202"/>
                  </a:lnTo>
                  <a:lnTo>
                    <a:pt x="160" y="203"/>
                  </a:lnTo>
                  <a:lnTo>
                    <a:pt x="159" y="203"/>
                  </a:lnTo>
                  <a:lnTo>
                    <a:pt x="155" y="205"/>
                  </a:lnTo>
                  <a:lnTo>
                    <a:pt x="153" y="206"/>
                  </a:lnTo>
                  <a:lnTo>
                    <a:pt x="153" y="207"/>
                  </a:lnTo>
                  <a:lnTo>
                    <a:pt x="151" y="208"/>
                  </a:lnTo>
                  <a:lnTo>
                    <a:pt x="151" y="208"/>
                  </a:lnTo>
                  <a:lnTo>
                    <a:pt x="150" y="209"/>
                  </a:lnTo>
                  <a:lnTo>
                    <a:pt x="149" y="209"/>
                  </a:lnTo>
                  <a:lnTo>
                    <a:pt x="149" y="209"/>
                  </a:lnTo>
                  <a:lnTo>
                    <a:pt x="149" y="210"/>
                  </a:lnTo>
                  <a:lnTo>
                    <a:pt x="149" y="211"/>
                  </a:lnTo>
                  <a:lnTo>
                    <a:pt x="148" y="212"/>
                  </a:lnTo>
                  <a:lnTo>
                    <a:pt x="148" y="214"/>
                  </a:lnTo>
                  <a:lnTo>
                    <a:pt x="148" y="215"/>
                  </a:lnTo>
                  <a:lnTo>
                    <a:pt x="148" y="215"/>
                  </a:lnTo>
                  <a:lnTo>
                    <a:pt x="147" y="216"/>
                  </a:lnTo>
                  <a:lnTo>
                    <a:pt x="147" y="216"/>
                  </a:lnTo>
                  <a:lnTo>
                    <a:pt x="146" y="217"/>
                  </a:lnTo>
                  <a:lnTo>
                    <a:pt x="146" y="218"/>
                  </a:lnTo>
                  <a:lnTo>
                    <a:pt x="145" y="218"/>
                  </a:lnTo>
                  <a:lnTo>
                    <a:pt x="144" y="219"/>
                  </a:lnTo>
                  <a:lnTo>
                    <a:pt x="143" y="219"/>
                  </a:lnTo>
                  <a:lnTo>
                    <a:pt x="143" y="219"/>
                  </a:lnTo>
                  <a:lnTo>
                    <a:pt x="142" y="220"/>
                  </a:lnTo>
                  <a:lnTo>
                    <a:pt x="141" y="220"/>
                  </a:lnTo>
                  <a:lnTo>
                    <a:pt x="141" y="220"/>
                  </a:lnTo>
                  <a:lnTo>
                    <a:pt x="140" y="220"/>
                  </a:lnTo>
                  <a:lnTo>
                    <a:pt x="139" y="220"/>
                  </a:lnTo>
                  <a:lnTo>
                    <a:pt x="139" y="220"/>
                  </a:lnTo>
                  <a:lnTo>
                    <a:pt x="138" y="220"/>
                  </a:lnTo>
                  <a:lnTo>
                    <a:pt x="136" y="220"/>
                  </a:lnTo>
                  <a:lnTo>
                    <a:pt x="133" y="219"/>
                  </a:lnTo>
                  <a:lnTo>
                    <a:pt x="131" y="218"/>
                  </a:lnTo>
                  <a:lnTo>
                    <a:pt x="129" y="218"/>
                  </a:lnTo>
                  <a:lnTo>
                    <a:pt x="127" y="217"/>
                  </a:lnTo>
                  <a:lnTo>
                    <a:pt x="125" y="217"/>
                  </a:lnTo>
                  <a:lnTo>
                    <a:pt x="124" y="217"/>
                  </a:lnTo>
                  <a:lnTo>
                    <a:pt x="123" y="217"/>
                  </a:lnTo>
                  <a:lnTo>
                    <a:pt x="123" y="217"/>
                  </a:lnTo>
                  <a:lnTo>
                    <a:pt x="122" y="218"/>
                  </a:lnTo>
                  <a:lnTo>
                    <a:pt x="121" y="218"/>
                  </a:lnTo>
                  <a:lnTo>
                    <a:pt x="120" y="219"/>
                  </a:lnTo>
                  <a:lnTo>
                    <a:pt x="120" y="219"/>
                  </a:lnTo>
                  <a:lnTo>
                    <a:pt x="119" y="220"/>
                  </a:lnTo>
                  <a:lnTo>
                    <a:pt x="119" y="221"/>
                  </a:lnTo>
                  <a:lnTo>
                    <a:pt x="119" y="222"/>
                  </a:lnTo>
                  <a:lnTo>
                    <a:pt x="119" y="226"/>
                  </a:lnTo>
                  <a:lnTo>
                    <a:pt x="118" y="227"/>
                  </a:lnTo>
                  <a:lnTo>
                    <a:pt x="118" y="228"/>
                  </a:lnTo>
                  <a:lnTo>
                    <a:pt x="118" y="229"/>
                  </a:lnTo>
                  <a:lnTo>
                    <a:pt x="117" y="230"/>
                  </a:lnTo>
                  <a:lnTo>
                    <a:pt x="117" y="231"/>
                  </a:lnTo>
                  <a:lnTo>
                    <a:pt x="116" y="231"/>
                  </a:lnTo>
                  <a:lnTo>
                    <a:pt x="116" y="232"/>
                  </a:lnTo>
                  <a:lnTo>
                    <a:pt x="115" y="233"/>
                  </a:lnTo>
                  <a:lnTo>
                    <a:pt x="113" y="234"/>
                  </a:lnTo>
                  <a:lnTo>
                    <a:pt x="112" y="234"/>
                  </a:lnTo>
                  <a:lnTo>
                    <a:pt x="112" y="235"/>
                  </a:lnTo>
                  <a:lnTo>
                    <a:pt x="111" y="236"/>
                  </a:lnTo>
                  <a:lnTo>
                    <a:pt x="111" y="236"/>
                  </a:lnTo>
                  <a:lnTo>
                    <a:pt x="109" y="239"/>
                  </a:lnTo>
                  <a:lnTo>
                    <a:pt x="108" y="240"/>
                  </a:lnTo>
                  <a:lnTo>
                    <a:pt x="107" y="241"/>
                  </a:lnTo>
                  <a:lnTo>
                    <a:pt x="107" y="242"/>
                  </a:lnTo>
                  <a:lnTo>
                    <a:pt x="105" y="243"/>
                  </a:lnTo>
                  <a:lnTo>
                    <a:pt x="102" y="245"/>
                  </a:lnTo>
                  <a:lnTo>
                    <a:pt x="100" y="248"/>
                  </a:lnTo>
                  <a:lnTo>
                    <a:pt x="99" y="248"/>
                  </a:lnTo>
                  <a:lnTo>
                    <a:pt x="99" y="248"/>
                  </a:lnTo>
                  <a:lnTo>
                    <a:pt x="98" y="248"/>
                  </a:lnTo>
                  <a:lnTo>
                    <a:pt x="97" y="248"/>
                  </a:lnTo>
                  <a:lnTo>
                    <a:pt x="91" y="249"/>
                  </a:lnTo>
                  <a:lnTo>
                    <a:pt x="90" y="249"/>
                  </a:lnTo>
                  <a:lnTo>
                    <a:pt x="88" y="249"/>
                  </a:lnTo>
                  <a:lnTo>
                    <a:pt x="87" y="249"/>
                  </a:lnTo>
                  <a:lnTo>
                    <a:pt x="85" y="249"/>
                  </a:lnTo>
                  <a:lnTo>
                    <a:pt x="84" y="249"/>
                  </a:lnTo>
                  <a:lnTo>
                    <a:pt x="83" y="250"/>
                  </a:lnTo>
                  <a:lnTo>
                    <a:pt x="79" y="251"/>
                  </a:lnTo>
                  <a:lnTo>
                    <a:pt x="78" y="251"/>
                  </a:lnTo>
                  <a:lnTo>
                    <a:pt x="77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5" y="252"/>
                  </a:lnTo>
                  <a:lnTo>
                    <a:pt x="74" y="252"/>
                  </a:lnTo>
                  <a:lnTo>
                    <a:pt x="73" y="252"/>
                  </a:lnTo>
                  <a:lnTo>
                    <a:pt x="72" y="252"/>
                  </a:lnTo>
                  <a:lnTo>
                    <a:pt x="72" y="251"/>
                  </a:lnTo>
                  <a:lnTo>
                    <a:pt x="71" y="251"/>
                  </a:lnTo>
                  <a:lnTo>
                    <a:pt x="71" y="251"/>
                  </a:lnTo>
                  <a:lnTo>
                    <a:pt x="70" y="250"/>
                  </a:lnTo>
                  <a:lnTo>
                    <a:pt x="70" y="250"/>
                  </a:lnTo>
                  <a:lnTo>
                    <a:pt x="69" y="249"/>
                  </a:lnTo>
                  <a:lnTo>
                    <a:pt x="69" y="249"/>
                  </a:lnTo>
                  <a:lnTo>
                    <a:pt x="69" y="248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8" y="244"/>
                  </a:lnTo>
                  <a:lnTo>
                    <a:pt x="67" y="242"/>
                  </a:lnTo>
                  <a:lnTo>
                    <a:pt x="67" y="241"/>
                  </a:lnTo>
                  <a:lnTo>
                    <a:pt x="66" y="240"/>
                  </a:lnTo>
                  <a:lnTo>
                    <a:pt x="66" y="239"/>
                  </a:lnTo>
                  <a:lnTo>
                    <a:pt x="66" y="239"/>
                  </a:lnTo>
                  <a:lnTo>
                    <a:pt x="66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4" y="238"/>
                  </a:lnTo>
                  <a:lnTo>
                    <a:pt x="63" y="238"/>
                  </a:lnTo>
                  <a:lnTo>
                    <a:pt x="62" y="239"/>
                  </a:lnTo>
                  <a:lnTo>
                    <a:pt x="61" y="239"/>
                  </a:lnTo>
                  <a:lnTo>
                    <a:pt x="60" y="239"/>
                  </a:lnTo>
                  <a:lnTo>
                    <a:pt x="59" y="240"/>
                  </a:lnTo>
                  <a:lnTo>
                    <a:pt x="58" y="240"/>
                  </a:lnTo>
                  <a:lnTo>
                    <a:pt x="57" y="240"/>
                  </a:lnTo>
                  <a:lnTo>
                    <a:pt x="57" y="240"/>
                  </a:lnTo>
                  <a:lnTo>
                    <a:pt x="56" y="240"/>
                  </a:lnTo>
                  <a:lnTo>
                    <a:pt x="56" y="240"/>
                  </a:lnTo>
                  <a:lnTo>
                    <a:pt x="55" y="240"/>
                  </a:lnTo>
                  <a:lnTo>
                    <a:pt x="54" y="240"/>
                  </a:lnTo>
                  <a:lnTo>
                    <a:pt x="51" y="239"/>
                  </a:lnTo>
                  <a:lnTo>
                    <a:pt x="51" y="238"/>
                  </a:lnTo>
                  <a:lnTo>
                    <a:pt x="50" y="238"/>
                  </a:lnTo>
                  <a:lnTo>
                    <a:pt x="49" y="238"/>
                  </a:lnTo>
                  <a:lnTo>
                    <a:pt x="48" y="238"/>
                  </a:lnTo>
                  <a:lnTo>
                    <a:pt x="47" y="239"/>
                  </a:lnTo>
                  <a:lnTo>
                    <a:pt x="47" y="239"/>
                  </a:lnTo>
                  <a:lnTo>
                    <a:pt x="45" y="240"/>
                  </a:lnTo>
                  <a:lnTo>
                    <a:pt x="44" y="240"/>
                  </a:lnTo>
                  <a:lnTo>
                    <a:pt x="44" y="241"/>
                  </a:lnTo>
                  <a:lnTo>
                    <a:pt x="43" y="241"/>
                  </a:lnTo>
                  <a:lnTo>
                    <a:pt x="42" y="241"/>
                  </a:lnTo>
                  <a:lnTo>
                    <a:pt x="42" y="241"/>
                  </a:lnTo>
                  <a:lnTo>
                    <a:pt x="42" y="240"/>
                  </a:lnTo>
                  <a:lnTo>
                    <a:pt x="41" y="240"/>
                  </a:lnTo>
                  <a:lnTo>
                    <a:pt x="41" y="240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39" y="236"/>
                  </a:lnTo>
                  <a:lnTo>
                    <a:pt x="38" y="235"/>
                  </a:lnTo>
                  <a:lnTo>
                    <a:pt x="38" y="234"/>
                  </a:lnTo>
                  <a:lnTo>
                    <a:pt x="37" y="233"/>
                  </a:lnTo>
                  <a:lnTo>
                    <a:pt x="36" y="233"/>
                  </a:lnTo>
                  <a:lnTo>
                    <a:pt x="36" y="232"/>
                  </a:lnTo>
                  <a:lnTo>
                    <a:pt x="35" y="231"/>
                  </a:lnTo>
                  <a:lnTo>
                    <a:pt x="33" y="230"/>
                  </a:lnTo>
                  <a:lnTo>
                    <a:pt x="32" y="229"/>
                  </a:lnTo>
                  <a:lnTo>
                    <a:pt x="30" y="227"/>
                  </a:lnTo>
                  <a:lnTo>
                    <a:pt x="29" y="227"/>
                  </a:lnTo>
                  <a:lnTo>
                    <a:pt x="28" y="226"/>
                  </a:lnTo>
                  <a:lnTo>
                    <a:pt x="27" y="225"/>
                  </a:lnTo>
                  <a:lnTo>
                    <a:pt x="27" y="224"/>
                  </a:lnTo>
                  <a:lnTo>
                    <a:pt x="26" y="224"/>
                  </a:lnTo>
                  <a:lnTo>
                    <a:pt x="24" y="220"/>
                  </a:lnTo>
                  <a:lnTo>
                    <a:pt x="22" y="215"/>
                  </a:lnTo>
                  <a:lnTo>
                    <a:pt x="21" y="214"/>
                  </a:lnTo>
                  <a:lnTo>
                    <a:pt x="21" y="214"/>
                  </a:lnTo>
                  <a:lnTo>
                    <a:pt x="18" y="207"/>
                  </a:lnTo>
                  <a:lnTo>
                    <a:pt x="18" y="206"/>
                  </a:lnTo>
                  <a:lnTo>
                    <a:pt x="17" y="204"/>
                  </a:lnTo>
                  <a:lnTo>
                    <a:pt x="16" y="202"/>
                  </a:lnTo>
                  <a:lnTo>
                    <a:pt x="15" y="201"/>
                  </a:lnTo>
                  <a:lnTo>
                    <a:pt x="15" y="200"/>
                  </a:lnTo>
                  <a:lnTo>
                    <a:pt x="13" y="198"/>
                  </a:lnTo>
                  <a:lnTo>
                    <a:pt x="13" y="197"/>
                  </a:lnTo>
                  <a:lnTo>
                    <a:pt x="12" y="195"/>
                  </a:lnTo>
                  <a:lnTo>
                    <a:pt x="11" y="194"/>
                  </a:lnTo>
                  <a:lnTo>
                    <a:pt x="10" y="193"/>
                  </a:lnTo>
                  <a:lnTo>
                    <a:pt x="8" y="189"/>
                  </a:lnTo>
                  <a:lnTo>
                    <a:pt x="7" y="185"/>
                  </a:lnTo>
                  <a:lnTo>
                    <a:pt x="6" y="183"/>
                  </a:lnTo>
                  <a:lnTo>
                    <a:pt x="5" y="182"/>
                  </a:lnTo>
                  <a:lnTo>
                    <a:pt x="5" y="180"/>
                  </a:lnTo>
                  <a:lnTo>
                    <a:pt x="4" y="180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3" y="174"/>
                  </a:lnTo>
                  <a:lnTo>
                    <a:pt x="3" y="171"/>
                  </a:lnTo>
                  <a:lnTo>
                    <a:pt x="2" y="170"/>
                  </a:lnTo>
                  <a:lnTo>
                    <a:pt x="2" y="169"/>
                  </a:lnTo>
                  <a:lnTo>
                    <a:pt x="1" y="167"/>
                  </a:lnTo>
                  <a:lnTo>
                    <a:pt x="1" y="166"/>
                  </a:lnTo>
                  <a:lnTo>
                    <a:pt x="0" y="166"/>
                  </a:lnTo>
                  <a:lnTo>
                    <a:pt x="0" y="165"/>
                  </a:lnTo>
                  <a:lnTo>
                    <a:pt x="0" y="164"/>
                  </a:lnTo>
                  <a:lnTo>
                    <a:pt x="0" y="163"/>
                  </a:lnTo>
                  <a:lnTo>
                    <a:pt x="0" y="162"/>
                  </a:lnTo>
                  <a:lnTo>
                    <a:pt x="1" y="162"/>
                  </a:lnTo>
                  <a:lnTo>
                    <a:pt x="1" y="161"/>
                  </a:lnTo>
                  <a:lnTo>
                    <a:pt x="1" y="161"/>
                  </a:lnTo>
                  <a:lnTo>
                    <a:pt x="2" y="160"/>
                  </a:lnTo>
                  <a:lnTo>
                    <a:pt x="3" y="158"/>
                  </a:lnTo>
                  <a:lnTo>
                    <a:pt x="5" y="155"/>
                  </a:lnTo>
                  <a:lnTo>
                    <a:pt x="5" y="154"/>
                  </a:lnTo>
                  <a:lnTo>
                    <a:pt x="6" y="153"/>
                  </a:lnTo>
                  <a:lnTo>
                    <a:pt x="6" y="152"/>
                  </a:lnTo>
                  <a:lnTo>
                    <a:pt x="6" y="151"/>
                  </a:lnTo>
                  <a:lnTo>
                    <a:pt x="7" y="148"/>
                  </a:lnTo>
                  <a:lnTo>
                    <a:pt x="7" y="147"/>
                  </a:lnTo>
                  <a:lnTo>
                    <a:pt x="7" y="146"/>
                  </a:lnTo>
                  <a:lnTo>
                    <a:pt x="8" y="144"/>
                  </a:lnTo>
                  <a:lnTo>
                    <a:pt x="8" y="143"/>
                  </a:lnTo>
                  <a:lnTo>
                    <a:pt x="9" y="142"/>
                  </a:lnTo>
                  <a:lnTo>
                    <a:pt x="9" y="141"/>
                  </a:lnTo>
                  <a:lnTo>
                    <a:pt x="10" y="140"/>
                  </a:lnTo>
                  <a:lnTo>
                    <a:pt x="10" y="140"/>
                  </a:lnTo>
                  <a:lnTo>
                    <a:pt x="11" y="139"/>
                  </a:lnTo>
                  <a:lnTo>
                    <a:pt x="12" y="138"/>
                  </a:lnTo>
                  <a:lnTo>
                    <a:pt x="15" y="136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9" y="133"/>
                  </a:lnTo>
                  <a:lnTo>
                    <a:pt x="20" y="132"/>
                  </a:lnTo>
                  <a:lnTo>
                    <a:pt x="21" y="132"/>
                  </a:lnTo>
                  <a:lnTo>
                    <a:pt x="21" y="131"/>
                  </a:lnTo>
                  <a:lnTo>
                    <a:pt x="21" y="131"/>
                  </a:lnTo>
                  <a:lnTo>
                    <a:pt x="22" y="131"/>
                  </a:lnTo>
                  <a:lnTo>
                    <a:pt x="22" y="130"/>
                  </a:lnTo>
                  <a:lnTo>
                    <a:pt x="22" y="130"/>
                  </a:lnTo>
                  <a:lnTo>
                    <a:pt x="22" y="128"/>
                  </a:lnTo>
                  <a:lnTo>
                    <a:pt x="22" y="127"/>
                  </a:lnTo>
                  <a:lnTo>
                    <a:pt x="22" y="126"/>
                  </a:lnTo>
                  <a:lnTo>
                    <a:pt x="22" y="125"/>
                  </a:lnTo>
                  <a:lnTo>
                    <a:pt x="23" y="124"/>
                  </a:lnTo>
                  <a:lnTo>
                    <a:pt x="23" y="122"/>
                  </a:lnTo>
                  <a:lnTo>
                    <a:pt x="24" y="121"/>
                  </a:lnTo>
                  <a:lnTo>
                    <a:pt x="24" y="120"/>
                  </a:lnTo>
                  <a:lnTo>
                    <a:pt x="25" y="119"/>
                  </a:lnTo>
                  <a:lnTo>
                    <a:pt x="25" y="118"/>
                  </a:lnTo>
                  <a:lnTo>
                    <a:pt x="26" y="117"/>
                  </a:lnTo>
                  <a:lnTo>
                    <a:pt x="26" y="117"/>
                  </a:lnTo>
                  <a:lnTo>
                    <a:pt x="27" y="116"/>
                  </a:lnTo>
                  <a:lnTo>
                    <a:pt x="29" y="114"/>
                  </a:lnTo>
                  <a:lnTo>
                    <a:pt x="29" y="113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0" y="111"/>
                  </a:lnTo>
                  <a:lnTo>
                    <a:pt x="31" y="110"/>
                  </a:lnTo>
                  <a:lnTo>
                    <a:pt x="31" y="107"/>
                  </a:lnTo>
                  <a:lnTo>
                    <a:pt x="31" y="106"/>
                  </a:lnTo>
                  <a:lnTo>
                    <a:pt x="31" y="105"/>
                  </a:lnTo>
                  <a:lnTo>
                    <a:pt x="31" y="103"/>
                  </a:lnTo>
                  <a:lnTo>
                    <a:pt x="31" y="100"/>
                  </a:lnTo>
                  <a:lnTo>
                    <a:pt x="31" y="99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3" y="97"/>
                  </a:lnTo>
                  <a:lnTo>
                    <a:pt x="35" y="96"/>
                  </a:lnTo>
                  <a:lnTo>
                    <a:pt x="36" y="96"/>
                  </a:lnTo>
                  <a:lnTo>
                    <a:pt x="37" y="96"/>
                  </a:lnTo>
                  <a:lnTo>
                    <a:pt x="37" y="96"/>
                  </a:lnTo>
                  <a:lnTo>
                    <a:pt x="38" y="96"/>
                  </a:lnTo>
                  <a:lnTo>
                    <a:pt x="39" y="96"/>
                  </a:lnTo>
                  <a:lnTo>
                    <a:pt x="40" y="97"/>
                  </a:lnTo>
                  <a:lnTo>
                    <a:pt x="42" y="98"/>
                  </a:lnTo>
                  <a:lnTo>
                    <a:pt x="43" y="98"/>
                  </a:lnTo>
                  <a:lnTo>
                    <a:pt x="45" y="99"/>
                  </a:lnTo>
                  <a:lnTo>
                    <a:pt x="48" y="101"/>
                  </a:lnTo>
                  <a:lnTo>
                    <a:pt x="49" y="102"/>
                  </a:lnTo>
                  <a:lnTo>
                    <a:pt x="51" y="102"/>
                  </a:lnTo>
                  <a:lnTo>
                    <a:pt x="52" y="103"/>
                  </a:lnTo>
                  <a:lnTo>
                    <a:pt x="53" y="103"/>
                  </a:lnTo>
                  <a:lnTo>
                    <a:pt x="54" y="103"/>
                  </a:lnTo>
                  <a:lnTo>
                    <a:pt x="55" y="103"/>
                  </a:lnTo>
                  <a:lnTo>
                    <a:pt x="56" y="103"/>
                  </a:lnTo>
                  <a:lnTo>
                    <a:pt x="56" y="103"/>
                  </a:lnTo>
                  <a:lnTo>
                    <a:pt x="57" y="103"/>
                  </a:lnTo>
                  <a:lnTo>
                    <a:pt x="58" y="103"/>
                  </a:lnTo>
                  <a:lnTo>
                    <a:pt x="59" y="103"/>
                  </a:lnTo>
                  <a:lnTo>
                    <a:pt x="59" y="102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1" y="101"/>
                  </a:lnTo>
                  <a:lnTo>
                    <a:pt x="61" y="101"/>
                  </a:lnTo>
                  <a:lnTo>
                    <a:pt x="61" y="100"/>
                  </a:lnTo>
                  <a:lnTo>
                    <a:pt x="62" y="99"/>
                  </a:lnTo>
                  <a:lnTo>
                    <a:pt x="62" y="99"/>
                  </a:lnTo>
                  <a:lnTo>
                    <a:pt x="63" y="98"/>
                  </a:lnTo>
                  <a:lnTo>
                    <a:pt x="64" y="92"/>
                  </a:lnTo>
                  <a:lnTo>
                    <a:pt x="65" y="91"/>
                  </a:lnTo>
                  <a:lnTo>
                    <a:pt x="65" y="89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7" y="87"/>
                  </a:lnTo>
                  <a:lnTo>
                    <a:pt x="67" y="86"/>
                  </a:lnTo>
                  <a:lnTo>
                    <a:pt x="67" y="86"/>
                  </a:lnTo>
                  <a:lnTo>
                    <a:pt x="69" y="85"/>
                  </a:lnTo>
                  <a:lnTo>
                    <a:pt x="70" y="84"/>
                  </a:lnTo>
                  <a:lnTo>
                    <a:pt x="72" y="83"/>
                  </a:lnTo>
                  <a:lnTo>
                    <a:pt x="74" y="82"/>
                  </a:lnTo>
                  <a:lnTo>
                    <a:pt x="75" y="81"/>
                  </a:lnTo>
                  <a:lnTo>
                    <a:pt x="76" y="80"/>
                  </a:lnTo>
                  <a:lnTo>
                    <a:pt x="78" y="79"/>
                  </a:lnTo>
                  <a:lnTo>
                    <a:pt x="79" y="77"/>
                  </a:lnTo>
                  <a:lnTo>
                    <a:pt x="79" y="77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1" y="76"/>
                  </a:lnTo>
                  <a:lnTo>
                    <a:pt x="86" y="78"/>
                  </a:lnTo>
                  <a:lnTo>
                    <a:pt x="90" y="80"/>
                  </a:lnTo>
                  <a:lnTo>
                    <a:pt x="92" y="80"/>
                  </a:lnTo>
                  <a:lnTo>
                    <a:pt x="95" y="81"/>
                  </a:lnTo>
                  <a:lnTo>
                    <a:pt x="100" y="84"/>
                  </a:lnTo>
                  <a:lnTo>
                    <a:pt x="103" y="85"/>
                  </a:lnTo>
                  <a:lnTo>
                    <a:pt x="104" y="85"/>
                  </a:lnTo>
                  <a:lnTo>
                    <a:pt x="105" y="86"/>
                  </a:lnTo>
                  <a:lnTo>
                    <a:pt x="106" y="87"/>
                  </a:lnTo>
                  <a:lnTo>
                    <a:pt x="108" y="88"/>
                  </a:lnTo>
                  <a:lnTo>
                    <a:pt x="109" y="89"/>
                  </a:lnTo>
                  <a:lnTo>
                    <a:pt x="110" y="89"/>
                  </a:lnTo>
                  <a:lnTo>
                    <a:pt x="110" y="90"/>
                  </a:lnTo>
                  <a:lnTo>
                    <a:pt x="111" y="90"/>
                  </a:lnTo>
                  <a:lnTo>
                    <a:pt x="112" y="90"/>
                  </a:lnTo>
                  <a:lnTo>
                    <a:pt x="113" y="91"/>
                  </a:lnTo>
                  <a:lnTo>
                    <a:pt x="116" y="91"/>
                  </a:lnTo>
                  <a:lnTo>
                    <a:pt x="117" y="91"/>
                  </a:lnTo>
                  <a:lnTo>
                    <a:pt x="121" y="92"/>
                  </a:lnTo>
                  <a:lnTo>
                    <a:pt x="123" y="92"/>
                  </a:lnTo>
                  <a:lnTo>
                    <a:pt x="124" y="92"/>
                  </a:lnTo>
                  <a:lnTo>
                    <a:pt x="125" y="92"/>
                  </a:lnTo>
                  <a:lnTo>
                    <a:pt x="126" y="92"/>
                  </a:lnTo>
                  <a:lnTo>
                    <a:pt x="128" y="92"/>
                  </a:lnTo>
                  <a:lnTo>
                    <a:pt x="129" y="92"/>
                  </a:lnTo>
                  <a:lnTo>
                    <a:pt x="129" y="92"/>
                  </a:lnTo>
                  <a:lnTo>
                    <a:pt x="130" y="91"/>
                  </a:lnTo>
                  <a:lnTo>
                    <a:pt x="131" y="91"/>
                  </a:lnTo>
                  <a:lnTo>
                    <a:pt x="131" y="90"/>
                  </a:lnTo>
                  <a:lnTo>
                    <a:pt x="132" y="90"/>
                  </a:lnTo>
                  <a:lnTo>
                    <a:pt x="133" y="89"/>
                  </a:lnTo>
                  <a:lnTo>
                    <a:pt x="133" y="88"/>
                  </a:lnTo>
                  <a:lnTo>
                    <a:pt x="134" y="86"/>
                  </a:lnTo>
                  <a:lnTo>
                    <a:pt x="136" y="81"/>
                  </a:lnTo>
                  <a:lnTo>
                    <a:pt x="137" y="79"/>
                  </a:lnTo>
                  <a:lnTo>
                    <a:pt x="138" y="77"/>
                  </a:lnTo>
                  <a:lnTo>
                    <a:pt x="139" y="75"/>
                  </a:lnTo>
                  <a:lnTo>
                    <a:pt x="140" y="73"/>
                  </a:lnTo>
                  <a:lnTo>
                    <a:pt x="141" y="73"/>
                  </a:lnTo>
                  <a:lnTo>
                    <a:pt x="141" y="72"/>
                  </a:lnTo>
                  <a:lnTo>
                    <a:pt x="142" y="72"/>
                  </a:lnTo>
                  <a:lnTo>
                    <a:pt x="142" y="71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44" y="70"/>
                  </a:lnTo>
                  <a:lnTo>
                    <a:pt x="145" y="70"/>
                  </a:lnTo>
                  <a:lnTo>
                    <a:pt x="149" y="69"/>
                  </a:lnTo>
                  <a:lnTo>
                    <a:pt x="153" y="69"/>
                  </a:lnTo>
                  <a:lnTo>
                    <a:pt x="154" y="68"/>
                  </a:lnTo>
                  <a:lnTo>
                    <a:pt x="155" y="68"/>
                  </a:lnTo>
                  <a:lnTo>
                    <a:pt x="157" y="69"/>
                  </a:lnTo>
                  <a:lnTo>
                    <a:pt x="159" y="69"/>
                  </a:lnTo>
                  <a:lnTo>
                    <a:pt x="160" y="69"/>
                  </a:lnTo>
                  <a:lnTo>
                    <a:pt x="161" y="69"/>
                  </a:lnTo>
                  <a:lnTo>
                    <a:pt x="164" y="69"/>
                  </a:lnTo>
                  <a:lnTo>
                    <a:pt x="165" y="69"/>
                  </a:lnTo>
                  <a:lnTo>
                    <a:pt x="166" y="69"/>
                  </a:lnTo>
                  <a:lnTo>
                    <a:pt x="167" y="70"/>
                  </a:lnTo>
                  <a:lnTo>
                    <a:pt x="169" y="70"/>
                  </a:lnTo>
                  <a:lnTo>
                    <a:pt x="175" y="72"/>
                  </a:lnTo>
                  <a:lnTo>
                    <a:pt x="177" y="72"/>
                  </a:lnTo>
                  <a:lnTo>
                    <a:pt x="178" y="72"/>
                  </a:lnTo>
                  <a:lnTo>
                    <a:pt x="179" y="72"/>
                  </a:lnTo>
                  <a:lnTo>
                    <a:pt x="180" y="72"/>
                  </a:lnTo>
                  <a:lnTo>
                    <a:pt x="181" y="72"/>
                  </a:lnTo>
                  <a:lnTo>
                    <a:pt x="182" y="72"/>
                  </a:lnTo>
                  <a:lnTo>
                    <a:pt x="183" y="72"/>
                  </a:lnTo>
                  <a:lnTo>
                    <a:pt x="184" y="72"/>
                  </a:lnTo>
                  <a:lnTo>
                    <a:pt x="186" y="71"/>
                  </a:lnTo>
                  <a:lnTo>
                    <a:pt x="187" y="71"/>
                  </a:lnTo>
                  <a:lnTo>
                    <a:pt x="187" y="70"/>
                  </a:lnTo>
                  <a:lnTo>
                    <a:pt x="188" y="70"/>
                  </a:lnTo>
                  <a:lnTo>
                    <a:pt x="189" y="70"/>
                  </a:lnTo>
                  <a:lnTo>
                    <a:pt x="189" y="69"/>
                  </a:lnTo>
                  <a:lnTo>
                    <a:pt x="190" y="69"/>
                  </a:lnTo>
                  <a:lnTo>
                    <a:pt x="190" y="68"/>
                  </a:lnTo>
                  <a:lnTo>
                    <a:pt x="190" y="68"/>
                  </a:lnTo>
                  <a:lnTo>
                    <a:pt x="191" y="67"/>
                  </a:lnTo>
                  <a:lnTo>
                    <a:pt x="191" y="67"/>
                  </a:lnTo>
                  <a:lnTo>
                    <a:pt x="191" y="66"/>
                  </a:lnTo>
                  <a:lnTo>
                    <a:pt x="191" y="65"/>
                  </a:lnTo>
                  <a:lnTo>
                    <a:pt x="191" y="63"/>
                  </a:lnTo>
                  <a:lnTo>
                    <a:pt x="191" y="59"/>
                  </a:lnTo>
                  <a:lnTo>
                    <a:pt x="192" y="54"/>
                  </a:lnTo>
                  <a:lnTo>
                    <a:pt x="192" y="54"/>
                  </a:lnTo>
                  <a:lnTo>
                    <a:pt x="191" y="51"/>
                  </a:lnTo>
                  <a:lnTo>
                    <a:pt x="191" y="49"/>
                  </a:lnTo>
                  <a:lnTo>
                    <a:pt x="191" y="48"/>
                  </a:lnTo>
                  <a:lnTo>
                    <a:pt x="191" y="47"/>
                  </a:lnTo>
                  <a:lnTo>
                    <a:pt x="191" y="46"/>
                  </a:lnTo>
                  <a:lnTo>
                    <a:pt x="192" y="44"/>
                  </a:lnTo>
                  <a:lnTo>
                    <a:pt x="194" y="39"/>
                  </a:lnTo>
                  <a:lnTo>
                    <a:pt x="194" y="37"/>
                  </a:lnTo>
                  <a:lnTo>
                    <a:pt x="195" y="36"/>
                  </a:lnTo>
                  <a:lnTo>
                    <a:pt x="195" y="34"/>
                  </a:lnTo>
                  <a:lnTo>
                    <a:pt x="195" y="32"/>
                  </a:lnTo>
                  <a:lnTo>
                    <a:pt x="196" y="27"/>
                  </a:lnTo>
                  <a:lnTo>
                    <a:pt x="196" y="25"/>
                  </a:lnTo>
                  <a:lnTo>
                    <a:pt x="196" y="24"/>
                  </a:lnTo>
                  <a:lnTo>
                    <a:pt x="196" y="24"/>
                  </a:lnTo>
                  <a:lnTo>
                    <a:pt x="195" y="23"/>
                  </a:lnTo>
                  <a:lnTo>
                    <a:pt x="195" y="22"/>
                  </a:lnTo>
                  <a:lnTo>
                    <a:pt x="195" y="22"/>
                  </a:lnTo>
                  <a:lnTo>
                    <a:pt x="194" y="21"/>
                  </a:lnTo>
                  <a:lnTo>
                    <a:pt x="194" y="20"/>
                  </a:lnTo>
                  <a:lnTo>
                    <a:pt x="194" y="20"/>
                  </a:lnTo>
                  <a:lnTo>
                    <a:pt x="193" y="20"/>
                  </a:lnTo>
                  <a:lnTo>
                    <a:pt x="193" y="19"/>
                  </a:lnTo>
                  <a:lnTo>
                    <a:pt x="192" y="19"/>
                  </a:lnTo>
                  <a:lnTo>
                    <a:pt x="191" y="18"/>
                  </a:lnTo>
                  <a:lnTo>
                    <a:pt x="189" y="18"/>
                  </a:lnTo>
                  <a:lnTo>
                    <a:pt x="188" y="18"/>
                  </a:lnTo>
                  <a:lnTo>
                    <a:pt x="188" y="17"/>
                  </a:lnTo>
                  <a:lnTo>
                    <a:pt x="187" y="17"/>
                  </a:lnTo>
                  <a:lnTo>
                    <a:pt x="186" y="16"/>
                  </a:lnTo>
                  <a:lnTo>
                    <a:pt x="186" y="15"/>
                  </a:lnTo>
                  <a:lnTo>
                    <a:pt x="186" y="15"/>
                  </a:lnTo>
                  <a:lnTo>
                    <a:pt x="185" y="15"/>
                  </a:lnTo>
                  <a:lnTo>
                    <a:pt x="185" y="14"/>
                  </a:lnTo>
                  <a:lnTo>
                    <a:pt x="185" y="13"/>
                  </a:lnTo>
                  <a:lnTo>
                    <a:pt x="185" y="13"/>
                  </a:lnTo>
                  <a:lnTo>
                    <a:pt x="185" y="12"/>
                  </a:lnTo>
                  <a:lnTo>
                    <a:pt x="185" y="12"/>
                  </a:lnTo>
                  <a:lnTo>
                    <a:pt x="186" y="11"/>
                  </a:lnTo>
                  <a:lnTo>
                    <a:pt x="186" y="10"/>
                  </a:lnTo>
                  <a:lnTo>
                    <a:pt x="186" y="9"/>
                  </a:lnTo>
                  <a:lnTo>
                    <a:pt x="187" y="8"/>
                  </a:lnTo>
                  <a:lnTo>
                    <a:pt x="187" y="8"/>
                  </a:lnTo>
                  <a:lnTo>
                    <a:pt x="188" y="7"/>
                  </a:lnTo>
                  <a:lnTo>
                    <a:pt x="189" y="6"/>
                  </a:lnTo>
                  <a:lnTo>
                    <a:pt x="190" y="5"/>
                  </a:lnTo>
                  <a:lnTo>
                    <a:pt x="195" y="2"/>
                  </a:lnTo>
                  <a:lnTo>
                    <a:pt x="196" y="1"/>
                  </a:lnTo>
                  <a:lnTo>
                    <a:pt x="197" y="0"/>
                  </a:lnTo>
                  <a:lnTo>
                    <a:pt x="197" y="0"/>
                  </a:lnTo>
                  <a:lnTo>
                    <a:pt x="198" y="0"/>
                  </a:lnTo>
                  <a:close/>
                </a:path>
              </a:pathLst>
            </a:custGeom>
            <a:solidFill>
              <a:srgbClr val="CCCCCC"/>
            </a:solidFill>
            <a:ln w="63500">
              <a:solidFill>
                <a:srgbClr val="CCCCC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Freeform 22">
              <a:extLst>
                <a:ext uri="{FF2B5EF4-FFF2-40B4-BE49-F238E27FC236}">
                  <a16:creationId xmlns:a16="http://schemas.microsoft.com/office/drawing/2014/main" id="{5A1B2482-E03D-1396-1713-157443D5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993"/>
              <a:ext cx="436" cy="339"/>
            </a:xfrm>
            <a:custGeom>
              <a:avLst/>
              <a:gdLst>
                <a:gd name="T0" fmla="*/ 170 w 436"/>
                <a:gd name="T1" fmla="*/ 16 h 339"/>
                <a:gd name="T2" fmla="*/ 204 w 436"/>
                <a:gd name="T3" fmla="*/ 13 h 339"/>
                <a:gd name="T4" fmla="*/ 221 w 436"/>
                <a:gd name="T5" fmla="*/ 46 h 339"/>
                <a:gd name="T6" fmla="*/ 247 w 436"/>
                <a:gd name="T7" fmla="*/ 42 h 339"/>
                <a:gd name="T8" fmla="*/ 262 w 436"/>
                <a:gd name="T9" fmla="*/ 61 h 339"/>
                <a:gd name="T10" fmla="*/ 264 w 436"/>
                <a:gd name="T11" fmla="*/ 79 h 339"/>
                <a:gd name="T12" fmla="*/ 283 w 436"/>
                <a:gd name="T13" fmla="*/ 62 h 339"/>
                <a:gd name="T14" fmla="*/ 310 w 436"/>
                <a:gd name="T15" fmla="*/ 62 h 339"/>
                <a:gd name="T16" fmla="*/ 325 w 436"/>
                <a:gd name="T17" fmla="*/ 61 h 339"/>
                <a:gd name="T18" fmla="*/ 345 w 436"/>
                <a:gd name="T19" fmla="*/ 51 h 339"/>
                <a:gd name="T20" fmla="*/ 376 w 436"/>
                <a:gd name="T21" fmla="*/ 69 h 339"/>
                <a:gd name="T22" fmla="*/ 384 w 436"/>
                <a:gd name="T23" fmla="*/ 96 h 339"/>
                <a:gd name="T24" fmla="*/ 367 w 436"/>
                <a:gd name="T25" fmla="*/ 125 h 339"/>
                <a:gd name="T26" fmla="*/ 348 w 436"/>
                <a:gd name="T27" fmla="*/ 134 h 339"/>
                <a:gd name="T28" fmla="*/ 329 w 436"/>
                <a:gd name="T29" fmla="*/ 147 h 339"/>
                <a:gd name="T30" fmla="*/ 322 w 436"/>
                <a:gd name="T31" fmla="*/ 157 h 339"/>
                <a:gd name="T32" fmla="*/ 335 w 436"/>
                <a:gd name="T33" fmla="*/ 173 h 339"/>
                <a:gd name="T34" fmla="*/ 353 w 436"/>
                <a:gd name="T35" fmla="*/ 183 h 339"/>
                <a:gd name="T36" fmla="*/ 372 w 436"/>
                <a:gd name="T37" fmla="*/ 196 h 339"/>
                <a:gd name="T38" fmla="*/ 392 w 436"/>
                <a:gd name="T39" fmla="*/ 212 h 339"/>
                <a:gd name="T40" fmla="*/ 424 w 436"/>
                <a:gd name="T41" fmla="*/ 250 h 339"/>
                <a:gd name="T42" fmla="*/ 436 w 436"/>
                <a:gd name="T43" fmla="*/ 287 h 339"/>
                <a:gd name="T44" fmla="*/ 417 w 436"/>
                <a:gd name="T45" fmla="*/ 283 h 339"/>
                <a:gd name="T46" fmla="*/ 403 w 436"/>
                <a:gd name="T47" fmla="*/ 293 h 339"/>
                <a:gd name="T48" fmla="*/ 372 w 436"/>
                <a:gd name="T49" fmla="*/ 312 h 339"/>
                <a:gd name="T50" fmla="*/ 361 w 436"/>
                <a:gd name="T51" fmla="*/ 328 h 339"/>
                <a:gd name="T52" fmla="*/ 355 w 436"/>
                <a:gd name="T53" fmla="*/ 337 h 339"/>
                <a:gd name="T54" fmla="*/ 332 w 436"/>
                <a:gd name="T55" fmla="*/ 338 h 339"/>
                <a:gd name="T56" fmla="*/ 303 w 436"/>
                <a:gd name="T57" fmla="*/ 327 h 339"/>
                <a:gd name="T58" fmla="*/ 278 w 436"/>
                <a:gd name="T59" fmla="*/ 308 h 339"/>
                <a:gd name="T60" fmla="*/ 261 w 436"/>
                <a:gd name="T61" fmla="*/ 289 h 339"/>
                <a:gd name="T62" fmla="*/ 229 w 436"/>
                <a:gd name="T63" fmla="*/ 290 h 339"/>
                <a:gd name="T64" fmla="*/ 209 w 436"/>
                <a:gd name="T65" fmla="*/ 296 h 339"/>
                <a:gd name="T66" fmla="*/ 198 w 436"/>
                <a:gd name="T67" fmla="*/ 280 h 339"/>
                <a:gd name="T68" fmla="*/ 181 w 436"/>
                <a:gd name="T69" fmla="*/ 297 h 339"/>
                <a:gd name="T70" fmla="*/ 155 w 436"/>
                <a:gd name="T71" fmla="*/ 298 h 339"/>
                <a:gd name="T72" fmla="*/ 136 w 436"/>
                <a:gd name="T73" fmla="*/ 294 h 339"/>
                <a:gd name="T74" fmla="*/ 117 w 436"/>
                <a:gd name="T75" fmla="*/ 308 h 339"/>
                <a:gd name="T76" fmla="*/ 98 w 436"/>
                <a:gd name="T77" fmla="*/ 312 h 339"/>
                <a:gd name="T78" fmla="*/ 90 w 436"/>
                <a:gd name="T79" fmla="*/ 299 h 339"/>
                <a:gd name="T80" fmla="*/ 74 w 436"/>
                <a:gd name="T81" fmla="*/ 286 h 339"/>
                <a:gd name="T82" fmla="*/ 83 w 436"/>
                <a:gd name="T83" fmla="*/ 265 h 339"/>
                <a:gd name="T84" fmla="*/ 78 w 436"/>
                <a:gd name="T85" fmla="*/ 234 h 339"/>
                <a:gd name="T86" fmla="*/ 63 w 436"/>
                <a:gd name="T87" fmla="*/ 227 h 339"/>
                <a:gd name="T88" fmla="*/ 32 w 436"/>
                <a:gd name="T89" fmla="*/ 226 h 339"/>
                <a:gd name="T90" fmla="*/ 22 w 436"/>
                <a:gd name="T91" fmla="*/ 208 h 339"/>
                <a:gd name="T92" fmla="*/ 5 w 436"/>
                <a:gd name="T93" fmla="*/ 200 h 339"/>
                <a:gd name="T94" fmla="*/ 3 w 436"/>
                <a:gd name="T95" fmla="*/ 184 h 339"/>
                <a:gd name="T96" fmla="*/ 11 w 436"/>
                <a:gd name="T97" fmla="*/ 159 h 339"/>
                <a:gd name="T98" fmla="*/ 3 w 436"/>
                <a:gd name="T99" fmla="*/ 131 h 339"/>
                <a:gd name="T100" fmla="*/ 21 w 436"/>
                <a:gd name="T101" fmla="*/ 127 h 339"/>
                <a:gd name="T102" fmla="*/ 43 w 436"/>
                <a:gd name="T103" fmla="*/ 122 h 339"/>
                <a:gd name="T104" fmla="*/ 63 w 436"/>
                <a:gd name="T105" fmla="*/ 125 h 339"/>
                <a:gd name="T106" fmla="*/ 80 w 436"/>
                <a:gd name="T107" fmla="*/ 134 h 339"/>
                <a:gd name="T108" fmla="*/ 96 w 436"/>
                <a:gd name="T109" fmla="*/ 135 h 339"/>
                <a:gd name="T110" fmla="*/ 104 w 436"/>
                <a:gd name="T111" fmla="*/ 115 h 339"/>
                <a:gd name="T112" fmla="*/ 120 w 436"/>
                <a:gd name="T113" fmla="*/ 120 h 339"/>
                <a:gd name="T114" fmla="*/ 142 w 436"/>
                <a:gd name="T115" fmla="*/ 121 h 339"/>
                <a:gd name="T116" fmla="*/ 145 w 436"/>
                <a:gd name="T117" fmla="*/ 105 h 339"/>
                <a:gd name="T118" fmla="*/ 140 w 436"/>
                <a:gd name="T119" fmla="*/ 76 h 339"/>
                <a:gd name="T120" fmla="*/ 132 w 436"/>
                <a:gd name="T121" fmla="*/ 36 h 339"/>
                <a:gd name="T122" fmla="*/ 123 w 436"/>
                <a:gd name="T123" fmla="*/ 2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36" h="339">
                  <a:moveTo>
                    <a:pt x="127" y="1"/>
                  </a:moveTo>
                  <a:lnTo>
                    <a:pt x="129" y="1"/>
                  </a:lnTo>
                  <a:lnTo>
                    <a:pt x="135" y="1"/>
                  </a:lnTo>
                  <a:lnTo>
                    <a:pt x="137" y="2"/>
                  </a:lnTo>
                  <a:lnTo>
                    <a:pt x="139" y="2"/>
                  </a:lnTo>
                  <a:lnTo>
                    <a:pt x="141" y="2"/>
                  </a:lnTo>
                  <a:lnTo>
                    <a:pt x="143" y="3"/>
                  </a:lnTo>
                  <a:lnTo>
                    <a:pt x="144" y="3"/>
                  </a:lnTo>
                  <a:lnTo>
                    <a:pt x="145" y="4"/>
                  </a:lnTo>
                  <a:lnTo>
                    <a:pt x="146" y="4"/>
                  </a:lnTo>
                  <a:lnTo>
                    <a:pt x="150" y="6"/>
                  </a:lnTo>
                  <a:lnTo>
                    <a:pt x="152" y="7"/>
                  </a:lnTo>
                  <a:lnTo>
                    <a:pt x="155" y="9"/>
                  </a:lnTo>
                  <a:lnTo>
                    <a:pt x="160" y="10"/>
                  </a:lnTo>
                  <a:lnTo>
                    <a:pt x="161" y="11"/>
                  </a:lnTo>
                  <a:lnTo>
                    <a:pt x="163" y="12"/>
                  </a:lnTo>
                  <a:lnTo>
                    <a:pt x="164" y="12"/>
                  </a:lnTo>
                  <a:lnTo>
                    <a:pt x="165" y="13"/>
                  </a:lnTo>
                  <a:lnTo>
                    <a:pt x="166" y="14"/>
                  </a:lnTo>
                  <a:lnTo>
                    <a:pt x="170" y="16"/>
                  </a:lnTo>
                  <a:lnTo>
                    <a:pt x="170" y="17"/>
                  </a:lnTo>
                  <a:lnTo>
                    <a:pt x="171" y="17"/>
                  </a:lnTo>
                  <a:lnTo>
                    <a:pt x="173" y="18"/>
                  </a:lnTo>
                  <a:lnTo>
                    <a:pt x="174" y="18"/>
                  </a:lnTo>
                  <a:lnTo>
                    <a:pt x="175" y="18"/>
                  </a:lnTo>
                  <a:lnTo>
                    <a:pt x="175" y="19"/>
                  </a:lnTo>
                  <a:lnTo>
                    <a:pt x="176" y="19"/>
                  </a:lnTo>
                  <a:lnTo>
                    <a:pt x="178" y="19"/>
                  </a:lnTo>
                  <a:lnTo>
                    <a:pt x="181" y="19"/>
                  </a:lnTo>
                  <a:lnTo>
                    <a:pt x="183" y="19"/>
                  </a:lnTo>
                  <a:lnTo>
                    <a:pt x="184" y="19"/>
                  </a:lnTo>
                  <a:lnTo>
                    <a:pt x="184" y="19"/>
                  </a:lnTo>
                  <a:lnTo>
                    <a:pt x="187" y="18"/>
                  </a:lnTo>
                  <a:lnTo>
                    <a:pt x="194" y="16"/>
                  </a:lnTo>
                  <a:lnTo>
                    <a:pt x="196" y="16"/>
                  </a:lnTo>
                  <a:lnTo>
                    <a:pt x="199" y="14"/>
                  </a:lnTo>
                  <a:lnTo>
                    <a:pt x="200" y="14"/>
                  </a:lnTo>
                  <a:lnTo>
                    <a:pt x="201" y="14"/>
                  </a:lnTo>
                  <a:lnTo>
                    <a:pt x="203" y="13"/>
                  </a:lnTo>
                  <a:lnTo>
                    <a:pt x="204" y="13"/>
                  </a:lnTo>
                  <a:lnTo>
                    <a:pt x="204" y="14"/>
                  </a:lnTo>
                  <a:lnTo>
                    <a:pt x="205" y="14"/>
                  </a:lnTo>
                  <a:lnTo>
                    <a:pt x="206" y="14"/>
                  </a:lnTo>
                  <a:lnTo>
                    <a:pt x="206" y="15"/>
                  </a:lnTo>
                  <a:lnTo>
                    <a:pt x="207" y="15"/>
                  </a:lnTo>
                  <a:lnTo>
                    <a:pt x="208" y="16"/>
                  </a:lnTo>
                  <a:lnTo>
                    <a:pt x="209" y="17"/>
                  </a:lnTo>
                  <a:lnTo>
                    <a:pt x="209" y="18"/>
                  </a:lnTo>
                  <a:lnTo>
                    <a:pt x="210" y="19"/>
                  </a:lnTo>
                  <a:lnTo>
                    <a:pt x="210" y="20"/>
                  </a:lnTo>
                  <a:lnTo>
                    <a:pt x="211" y="24"/>
                  </a:lnTo>
                  <a:lnTo>
                    <a:pt x="212" y="26"/>
                  </a:lnTo>
                  <a:lnTo>
                    <a:pt x="213" y="28"/>
                  </a:lnTo>
                  <a:lnTo>
                    <a:pt x="216" y="34"/>
                  </a:lnTo>
                  <a:lnTo>
                    <a:pt x="217" y="38"/>
                  </a:lnTo>
                  <a:lnTo>
                    <a:pt x="219" y="41"/>
                  </a:lnTo>
                  <a:lnTo>
                    <a:pt x="219" y="43"/>
                  </a:lnTo>
                  <a:lnTo>
                    <a:pt x="220" y="44"/>
                  </a:lnTo>
                  <a:lnTo>
                    <a:pt x="221" y="45"/>
                  </a:lnTo>
                  <a:lnTo>
                    <a:pt x="221" y="46"/>
                  </a:lnTo>
                  <a:lnTo>
                    <a:pt x="222" y="46"/>
                  </a:lnTo>
                  <a:lnTo>
                    <a:pt x="222" y="46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4" y="48"/>
                  </a:lnTo>
                  <a:lnTo>
                    <a:pt x="225" y="48"/>
                  </a:lnTo>
                  <a:lnTo>
                    <a:pt x="225" y="48"/>
                  </a:lnTo>
                  <a:lnTo>
                    <a:pt x="226" y="48"/>
                  </a:lnTo>
                  <a:lnTo>
                    <a:pt x="227" y="48"/>
                  </a:lnTo>
                  <a:lnTo>
                    <a:pt x="228" y="47"/>
                  </a:lnTo>
                  <a:lnTo>
                    <a:pt x="229" y="47"/>
                  </a:lnTo>
                  <a:lnTo>
                    <a:pt x="231" y="46"/>
                  </a:lnTo>
                  <a:lnTo>
                    <a:pt x="236" y="45"/>
                  </a:lnTo>
                  <a:lnTo>
                    <a:pt x="238" y="44"/>
                  </a:lnTo>
                  <a:lnTo>
                    <a:pt x="241" y="43"/>
                  </a:lnTo>
                  <a:lnTo>
                    <a:pt x="242" y="43"/>
                  </a:lnTo>
                  <a:lnTo>
                    <a:pt x="244" y="42"/>
                  </a:lnTo>
                  <a:lnTo>
                    <a:pt x="245" y="42"/>
                  </a:lnTo>
                  <a:lnTo>
                    <a:pt x="247" y="42"/>
                  </a:lnTo>
                  <a:lnTo>
                    <a:pt x="247" y="41"/>
                  </a:lnTo>
                  <a:lnTo>
                    <a:pt x="249" y="41"/>
                  </a:lnTo>
                  <a:lnTo>
                    <a:pt x="250" y="41"/>
                  </a:lnTo>
                  <a:lnTo>
                    <a:pt x="251" y="42"/>
                  </a:lnTo>
                  <a:lnTo>
                    <a:pt x="252" y="42"/>
                  </a:lnTo>
                  <a:lnTo>
                    <a:pt x="253" y="43"/>
                  </a:lnTo>
                  <a:lnTo>
                    <a:pt x="254" y="43"/>
                  </a:lnTo>
                  <a:lnTo>
                    <a:pt x="255" y="44"/>
                  </a:lnTo>
                  <a:lnTo>
                    <a:pt x="256" y="45"/>
                  </a:lnTo>
                  <a:lnTo>
                    <a:pt x="257" y="45"/>
                  </a:lnTo>
                  <a:lnTo>
                    <a:pt x="257" y="46"/>
                  </a:lnTo>
                  <a:lnTo>
                    <a:pt x="258" y="47"/>
                  </a:lnTo>
                  <a:lnTo>
                    <a:pt x="259" y="49"/>
                  </a:lnTo>
                  <a:lnTo>
                    <a:pt x="259" y="49"/>
                  </a:lnTo>
                  <a:lnTo>
                    <a:pt x="260" y="50"/>
                  </a:lnTo>
                  <a:lnTo>
                    <a:pt x="260" y="52"/>
                  </a:lnTo>
                  <a:lnTo>
                    <a:pt x="261" y="54"/>
                  </a:lnTo>
                  <a:lnTo>
                    <a:pt x="262" y="56"/>
                  </a:lnTo>
                  <a:lnTo>
                    <a:pt x="262" y="58"/>
                  </a:lnTo>
                  <a:lnTo>
                    <a:pt x="262" y="61"/>
                  </a:lnTo>
                  <a:lnTo>
                    <a:pt x="263" y="65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3" y="68"/>
                  </a:lnTo>
                  <a:lnTo>
                    <a:pt x="263" y="68"/>
                  </a:lnTo>
                  <a:lnTo>
                    <a:pt x="263" y="69"/>
                  </a:lnTo>
                  <a:lnTo>
                    <a:pt x="263" y="69"/>
                  </a:lnTo>
                  <a:lnTo>
                    <a:pt x="263" y="70"/>
                  </a:lnTo>
                  <a:lnTo>
                    <a:pt x="261" y="73"/>
                  </a:lnTo>
                  <a:lnTo>
                    <a:pt x="261" y="74"/>
                  </a:lnTo>
                  <a:lnTo>
                    <a:pt x="261" y="74"/>
                  </a:lnTo>
                  <a:lnTo>
                    <a:pt x="260" y="75"/>
                  </a:lnTo>
                  <a:lnTo>
                    <a:pt x="260" y="76"/>
                  </a:lnTo>
                  <a:lnTo>
                    <a:pt x="261" y="76"/>
                  </a:lnTo>
                  <a:lnTo>
                    <a:pt x="261" y="77"/>
                  </a:lnTo>
                  <a:lnTo>
                    <a:pt x="261" y="77"/>
                  </a:lnTo>
                  <a:lnTo>
                    <a:pt x="262" y="78"/>
                  </a:lnTo>
                  <a:lnTo>
                    <a:pt x="262" y="79"/>
                  </a:lnTo>
                  <a:lnTo>
                    <a:pt x="263" y="79"/>
                  </a:lnTo>
                  <a:lnTo>
                    <a:pt x="264" y="79"/>
                  </a:lnTo>
                  <a:lnTo>
                    <a:pt x="265" y="80"/>
                  </a:lnTo>
                  <a:lnTo>
                    <a:pt x="266" y="80"/>
                  </a:lnTo>
                  <a:lnTo>
                    <a:pt x="267" y="80"/>
                  </a:lnTo>
                  <a:lnTo>
                    <a:pt x="267" y="80"/>
                  </a:lnTo>
                  <a:lnTo>
                    <a:pt x="268" y="80"/>
                  </a:lnTo>
                  <a:lnTo>
                    <a:pt x="269" y="79"/>
                  </a:lnTo>
                  <a:lnTo>
                    <a:pt x="270" y="79"/>
                  </a:lnTo>
                  <a:lnTo>
                    <a:pt x="272" y="78"/>
                  </a:lnTo>
                  <a:lnTo>
                    <a:pt x="274" y="76"/>
                  </a:lnTo>
                  <a:lnTo>
                    <a:pt x="275" y="76"/>
                  </a:lnTo>
                  <a:lnTo>
                    <a:pt x="276" y="75"/>
                  </a:lnTo>
                  <a:lnTo>
                    <a:pt x="276" y="75"/>
                  </a:lnTo>
                  <a:lnTo>
                    <a:pt x="276" y="74"/>
                  </a:lnTo>
                  <a:lnTo>
                    <a:pt x="277" y="74"/>
                  </a:lnTo>
                  <a:lnTo>
                    <a:pt x="277" y="73"/>
                  </a:lnTo>
                  <a:lnTo>
                    <a:pt x="278" y="72"/>
                  </a:lnTo>
                  <a:lnTo>
                    <a:pt x="280" y="68"/>
                  </a:lnTo>
                  <a:lnTo>
                    <a:pt x="281" y="65"/>
                  </a:lnTo>
                  <a:lnTo>
                    <a:pt x="282" y="64"/>
                  </a:lnTo>
                  <a:lnTo>
                    <a:pt x="283" y="62"/>
                  </a:lnTo>
                  <a:lnTo>
                    <a:pt x="285" y="61"/>
                  </a:lnTo>
                  <a:lnTo>
                    <a:pt x="286" y="59"/>
                  </a:lnTo>
                  <a:lnTo>
                    <a:pt x="287" y="58"/>
                  </a:lnTo>
                  <a:lnTo>
                    <a:pt x="289" y="57"/>
                  </a:lnTo>
                  <a:lnTo>
                    <a:pt x="290" y="56"/>
                  </a:lnTo>
                  <a:lnTo>
                    <a:pt x="291" y="55"/>
                  </a:lnTo>
                  <a:lnTo>
                    <a:pt x="291" y="55"/>
                  </a:lnTo>
                  <a:lnTo>
                    <a:pt x="292" y="55"/>
                  </a:lnTo>
                  <a:lnTo>
                    <a:pt x="293" y="54"/>
                  </a:lnTo>
                  <a:lnTo>
                    <a:pt x="295" y="54"/>
                  </a:lnTo>
                  <a:lnTo>
                    <a:pt x="296" y="55"/>
                  </a:lnTo>
                  <a:lnTo>
                    <a:pt x="297" y="55"/>
                  </a:lnTo>
                  <a:lnTo>
                    <a:pt x="298" y="55"/>
                  </a:lnTo>
                  <a:lnTo>
                    <a:pt x="299" y="56"/>
                  </a:lnTo>
                  <a:lnTo>
                    <a:pt x="304" y="58"/>
                  </a:lnTo>
                  <a:lnTo>
                    <a:pt x="305" y="58"/>
                  </a:lnTo>
                  <a:lnTo>
                    <a:pt x="306" y="59"/>
                  </a:lnTo>
                  <a:lnTo>
                    <a:pt x="307" y="60"/>
                  </a:lnTo>
                  <a:lnTo>
                    <a:pt x="309" y="61"/>
                  </a:lnTo>
                  <a:lnTo>
                    <a:pt x="310" y="62"/>
                  </a:lnTo>
                  <a:lnTo>
                    <a:pt x="313" y="65"/>
                  </a:lnTo>
                  <a:lnTo>
                    <a:pt x="314" y="65"/>
                  </a:lnTo>
                  <a:lnTo>
                    <a:pt x="315" y="66"/>
                  </a:lnTo>
                  <a:lnTo>
                    <a:pt x="315" y="66"/>
                  </a:lnTo>
                  <a:lnTo>
                    <a:pt x="316" y="66"/>
                  </a:lnTo>
                  <a:lnTo>
                    <a:pt x="316" y="66"/>
                  </a:lnTo>
                  <a:lnTo>
                    <a:pt x="317" y="66"/>
                  </a:lnTo>
                  <a:lnTo>
                    <a:pt x="318" y="66"/>
                  </a:lnTo>
                  <a:lnTo>
                    <a:pt x="319" y="66"/>
                  </a:lnTo>
                  <a:lnTo>
                    <a:pt x="319" y="66"/>
                  </a:lnTo>
                  <a:lnTo>
                    <a:pt x="320" y="66"/>
                  </a:lnTo>
                  <a:lnTo>
                    <a:pt x="321" y="66"/>
                  </a:lnTo>
                  <a:lnTo>
                    <a:pt x="322" y="65"/>
                  </a:lnTo>
                  <a:lnTo>
                    <a:pt x="322" y="65"/>
                  </a:lnTo>
                  <a:lnTo>
                    <a:pt x="323" y="64"/>
                  </a:lnTo>
                  <a:lnTo>
                    <a:pt x="323" y="64"/>
                  </a:lnTo>
                  <a:lnTo>
                    <a:pt x="324" y="63"/>
                  </a:lnTo>
                  <a:lnTo>
                    <a:pt x="324" y="63"/>
                  </a:lnTo>
                  <a:lnTo>
                    <a:pt x="325" y="62"/>
                  </a:lnTo>
                  <a:lnTo>
                    <a:pt x="325" y="61"/>
                  </a:lnTo>
                  <a:lnTo>
                    <a:pt x="326" y="57"/>
                  </a:lnTo>
                  <a:lnTo>
                    <a:pt x="327" y="55"/>
                  </a:lnTo>
                  <a:lnTo>
                    <a:pt x="328" y="54"/>
                  </a:lnTo>
                  <a:lnTo>
                    <a:pt x="329" y="53"/>
                  </a:lnTo>
                  <a:lnTo>
                    <a:pt x="329" y="53"/>
                  </a:lnTo>
                  <a:lnTo>
                    <a:pt x="330" y="52"/>
                  </a:lnTo>
                  <a:lnTo>
                    <a:pt x="330" y="52"/>
                  </a:lnTo>
                  <a:lnTo>
                    <a:pt x="330" y="51"/>
                  </a:lnTo>
                  <a:lnTo>
                    <a:pt x="331" y="51"/>
                  </a:lnTo>
                  <a:lnTo>
                    <a:pt x="332" y="50"/>
                  </a:lnTo>
                  <a:lnTo>
                    <a:pt x="332" y="50"/>
                  </a:lnTo>
                  <a:lnTo>
                    <a:pt x="333" y="50"/>
                  </a:lnTo>
                  <a:lnTo>
                    <a:pt x="334" y="50"/>
                  </a:lnTo>
                  <a:lnTo>
                    <a:pt x="335" y="50"/>
                  </a:lnTo>
                  <a:lnTo>
                    <a:pt x="336" y="50"/>
                  </a:lnTo>
                  <a:lnTo>
                    <a:pt x="338" y="50"/>
                  </a:lnTo>
                  <a:lnTo>
                    <a:pt x="339" y="50"/>
                  </a:lnTo>
                  <a:lnTo>
                    <a:pt x="340" y="50"/>
                  </a:lnTo>
                  <a:lnTo>
                    <a:pt x="341" y="50"/>
                  </a:lnTo>
                  <a:lnTo>
                    <a:pt x="345" y="51"/>
                  </a:lnTo>
                  <a:lnTo>
                    <a:pt x="346" y="51"/>
                  </a:lnTo>
                  <a:lnTo>
                    <a:pt x="347" y="51"/>
                  </a:lnTo>
                  <a:lnTo>
                    <a:pt x="348" y="52"/>
                  </a:lnTo>
                  <a:lnTo>
                    <a:pt x="350" y="52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6" y="52"/>
                  </a:lnTo>
                  <a:lnTo>
                    <a:pt x="357" y="52"/>
                  </a:lnTo>
                  <a:lnTo>
                    <a:pt x="358" y="52"/>
                  </a:lnTo>
                  <a:lnTo>
                    <a:pt x="359" y="53"/>
                  </a:lnTo>
                  <a:lnTo>
                    <a:pt x="360" y="53"/>
                  </a:lnTo>
                  <a:lnTo>
                    <a:pt x="361" y="54"/>
                  </a:lnTo>
                  <a:lnTo>
                    <a:pt x="362" y="55"/>
                  </a:lnTo>
                  <a:lnTo>
                    <a:pt x="365" y="57"/>
                  </a:lnTo>
                  <a:lnTo>
                    <a:pt x="367" y="59"/>
                  </a:lnTo>
                  <a:lnTo>
                    <a:pt x="367" y="59"/>
                  </a:lnTo>
                  <a:lnTo>
                    <a:pt x="369" y="61"/>
                  </a:lnTo>
                  <a:lnTo>
                    <a:pt x="371" y="64"/>
                  </a:lnTo>
                  <a:lnTo>
                    <a:pt x="374" y="67"/>
                  </a:lnTo>
                  <a:lnTo>
                    <a:pt x="376" y="69"/>
                  </a:lnTo>
                  <a:lnTo>
                    <a:pt x="378" y="71"/>
                  </a:lnTo>
                  <a:lnTo>
                    <a:pt x="381" y="74"/>
                  </a:lnTo>
                  <a:lnTo>
                    <a:pt x="383" y="76"/>
                  </a:lnTo>
                  <a:lnTo>
                    <a:pt x="385" y="78"/>
                  </a:lnTo>
                  <a:lnTo>
                    <a:pt x="386" y="80"/>
                  </a:lnTo>
                  <a:lnTo>
                    <a:pt x="388" y="81"/>
                  </a:lnTo>
                  <a:lnTo>
                    <a:pt x="388" y="83"/>
                  </a:lnTo>
                  <a:lnTo>
                    <a:pt x="389" y="84"/>
                  </a:lnTo>
                  <a:lnTo>
                    <a:pt x="389" y="85"/>
                  </a:lnTo>
                  <a:lnTo>
                    <a:pt x="389" y="86"/>
                  </a:lnTo>
                  <a:lnTo>
                    <a:pt x="389" y="87"/>
                  </a:lnTo>
                  <a:lnTo>
                    <a:pt x="389" y="88"/>
                  </a:lnTo>
                  <a:lnTo>
                    <a:pt x="389" y="89"/>
                  </a:lnTo>
                  <a:lnTo>
                    <a:pt x="389" y="90"/>
                  </a:lnTo>
                  <a:lnTo>
                    <a:pt x="389" y="90"/>
                  </a:lnTo>
                  <a:lnTo>
                    <a:pt x="388" y="91"/>
                  </a:lnTo>
                  <a:lnTo>
                    <a:pt x="388" y="92"/>
                  </a:lnTo>
                  <a:lnTo>
                    <a:pt x="386" y="93"/>
                  </a:lnTo>
                  <a:lnTo>
                    <a:pt x="384" y="95"/>
                  </a:lnTo>
                  <a:lnTo>
                    <a:pt x="384" y="96"/>
                  </a:lnTo>
                  <a:lnTo>
                    <a:pt x="383" y="96"/>
                  </a:lnTo>
                  <a:lnTo>
                    <a:pt x="383" y="97"/>
                  </a:lnTo>
                  <a:lnTo>
                    <a:pt x="382" y="98"/>
                  </a:lnTo>
                  <a:lnTo>
                    <a:pt x="381" y="101"/>
                  </a:lnTo>
                  <a:lnTo>
                    <a:pt x="381" y="103"/>
                  </a:lnTo>
                  <a:lnTo>
                    <a:pt x="380" y="104"/>
                  </a:lnTo>
                  <a:lnTo>
                    <a:pt x="379" y="107"/>
                  </a:lnTo>
                  <a:lnTo>
                    <a:pt x="378" y="108"/>
                  </a:lnTo>
                  <a:lnTo>
                    <a:pt x="378" y="109"/>
                  </a:lnTo>
                  <a:lnTo>
                    <a:pt x="378" y="111"/>
                  </a:lnTo>
                  <a:lnTo>
                    <a:pt x="378" y="112"/>
                  </a:lnTo>
                  <a:lnTo>
                    <a:pt x="377" y="113"/>
                  </a:lnTo>
                  <a:lnTo>
                    <a:pt x="377" y="114"/>
                  </a:lnTo>
                  <a:lnTo>
                    <a:pt x="376" y="116"/>
                  </a:lnTo>
                  <a:lnTo>
                    <a:pt x="375" y="117"/>
                  </a:lnTo>
                  <a:lnTo>
                    <a:pt x="373" y="118"/>
                  </a:lnTo>
                  <a:lnTo>
                    <a:pt x="370" y="122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7" y="125"/>
                  </a:lnTo>
                  <a:lnTo>
                    <a:pt x="366" y="125"/>
                  </a:lnTo>
                  <a:lnTo>
                    <a:pt x="366" y="126"/>
                  </a:lnTo>
                  <a:lnTo>
                    <a:pt x="365" y="126"/>
                  </a:lnTo>
                  <a:lnTo>
                    <a:pt x="364" y="126"/>
                  </a:lnTo>
                  <a:lnTo>
                    <a:pt x="363" y="127"/>
                  </a:lnTo>
                  <a:lnTo>
                    <a:pt x="362" y="127"/>
                  </a:lnTo>
                  <a:lnTo>
                    <a:pt x="361" y="127"/>
                  </a:lnTo>
                  <a:lnTo>
                    <a:pt x="359" y="126"/>
                  </a:lnTo>
                  <a:lnTo>
                    <a:pt x="357" y="126"/>
                  </a:lnTo>
                  <a:lnTo>
                    <a:pt x="357" y="126"/>
                  </a:lnTo>
                  <a:lnTo>
                    <a:pt x="356" y="126"/>
                  </a:lnTo>
                  <a:lnTo>
                    <a:pt x="356" y="127"/>
                  </a:lnTo>
                  <a:lnTo>
                    <a:pt x="355" y="127"/>
                  </a:lnTo>
                  <a:lnTo>
                    <a:pt x="355" y="127"/>
                  </a:lnTo>
                  <a:lnTo>
                    <a:pt x="354" y="128"/>
                  </a:lnTo>
                  <a:lnTo>
                    <a:pt x="354" y="128"/>
                  </a:lnTo>
                  <a:lnTo>
                    <a:pt x="352" y="130"/>
                  </a:lnTo>
                  <a:lnTo>
                    <a:pt x="350" y="132"/>
                  </a:lnTo>
                  <a:lnTo>
                    <a:pt x="349" y="133"/>
                  </a:lnTo>
                  <a:lnTo>
                    <a:pt x="348" y="134"/>
                  </a:lnTo>
                  <a:lnTo>
                    <a:pt x="347" y="135"/>
                  </a:lnTo>
                  <a:lnTo>
                    <a:pt x="346" y="135"/>
                  </a:lnTo>
                  <a:lnTo>
                    <a:pt x="345" y="135"/>
                  </a:lnTo>
                  <a:lnTo>
                    <a:pt x="343" y="136"/>
                  </a:lnTo>
                  <a:lnTo>
                    <a:pt x="343" y="136"/>
                  </a:lnTo>
                  <a:lnTo>
                    <a:pt x="342" y="136"/>
                  </a:lnTo>
                  <a:lnTo>
                    <a:pt x="341" y="137"/>
                  </a:lnTo>
                  <a:lnTo>
                    <a:pt x="339" y="138"/>
                  </a:lnTo>
                  <a:lnTo>
                    <a:pt x="338" y="139"/>
                  </a:lnTo>
                  <a:lnTo>
                    <a:pt x="337" y="139"/>
                  </a:lnTo>
                  <a:lnTo>
                    <a:pt x="337" y="140"/>
                  </a:lnTo>
                  <a:lnTo>
                    <a:pt x="335" y="141"/>
                  </a:lnTo>
                  <a:lnTo>
                    <a:pt x="335" y="142"/>
                  </a:lnTo>
                  <a:lnTo>
                    <a:pt x="334" y="143"/>
                  </a:lnTo>
                  <a:lnTo>
                    <a:pt x="332" y="144"/>
                  </a:lnTo>
                  <a:lnTo>
                    <a:pt x="332" y="144"/>
                  </a:lnTo>
                  <a:lnTo>
                    <a:pt x="331" y="145"/>
                  </a:lnTo>
                  <a:lnTo>
                    <a:pt x="330" y="146"/>
                  </a:lnTo>
                  <a:lnTo>
                    <a:pt x="330" y="147"/>
                  </a:lnTo>
                  <a:lnTo>
                    <a:pt x="329" y="147"/>
                  </a:lnTo>
                  <a:lnTo>
                    <a:pt x="329" y="148"/>
                  </a:lnTo>
                  <a:lnTo>
                    <a:pt x="329" y="149"/>
                  </a:lnTo>
                  <a:lnTo>
                    <a:pt x="329" y="150"/>
                  </a:lnTo>
                  <a:lnTo>
                    <a:pt x="329" y="151"/>
                  </a:lnTo>
                  <a:lnTo>
                    <a:pt x="328" y="151"/>
                  </a:lnTo>
                  <a:lnTo>
                    <a:pt x="328" y="152"/>
                  </a:lnTo>
                  <a:lnTo>
                    <a:pt x="327" y="152"/>
                  </a:lnTo>
                  <a:lnTo>
                    <a:pt x="327" y="152"/>
                  </a:lnTo>
                  <a:lnTo>
                    <a:pt x="326" y="152"/>
                  </a:lnTo>
                  <a:lnTo>
                    <a:pt x="325" y="152"/>
                  </a:lnTo>
                  <a:lnTo>
                    <a:pt x="325" y="152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3" y="154"/>
                  </a:lnTo>
                  <a:lnTo>
                    <a:pt x="323" y="154"/>
                  </a:lnTo>
                  <a:lnTo>
                    <a:pt x="322" y="155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9"/>
                  </a:lnTo>
                  <a:lnTo>
                    <a:pt x="322" y="160"/>
                  </a:lnTo>
                  <a:lnTo>
                    <a:pt x="322" y="160"/>
                  </a:lnTo>
                  <a:lnTo>
                    <a:pt x="323" y="161"/>
                  </a:lnTo>
                  <a:lnTo>
                    <a:pt x="324" y="164"/>
                  </a:lnTo>
                  <a:lnTo>
                    <a:pt x="325" y="166"/>
                  </a:lnTo>
                  <a:lnTo>
                    <a:pt x="326" y="167"/>
                  </a:lnTo>
                  <a:lnTo>
                    <a:pt x="326" y="167"/>
                  </a:lnTo>
                  <a:lnTo>
                    <a:pt x="327" y="168"/>
                  </a:lnTo>
                  <a:lnTo>
                    <a:pt x="327" y="168"/>
                  </a:lnTo>
                  <a:lnTo>
                    <a:pt x="328" y="168"/>
                  </a:lnTo>
                  <a:lnTo>
                    <a:pt x="329" y="169"/>
                  </a:lnTo>
                  <a:lnTo>
                    <a:pt x="331" y="169"/>
                  </a:lnTo>
                  <a:lnTo>
                    <a:pt x="331" y="169"/>
                  </a:lnTo>
                  <a:lnTo>
                    <a:pt x="332" y="170"/>
                  </a:lnTo>
                  <a:lnTo>
                    <a:pt x="333" y="171"/>
                  </a:lnTo>
                  <a:lnTo>
                    <a:pt x="334" y="171"/>
                  </a:lnTo>
                  <a:lnTo>
                    <a:pt x="335" y="172"/>
                  </a:lnTo>
                  <a:lnTo>
                    <a:pt x="335" y="173"/>
                  </a:lnTo>
                  <a:lnTo>
                    <a:pt x="337" y="176"/>
                  </a:lnTo>
                  <a:lnTo>
                    <a:pt x="338" y="176"/>
                  </a:lnTo>
                  <a:lnTo>
                    <a:pt x="339" y="178"/>
                  </a:lnTo>
                  <a:lnTo>
                    <a:pt x="339" y="178"/>
                  </a:lnTo>
                  <a:lnTo>
                    <a:pt x="340" y="180"/>
                  </a:lnTo>
                  <a:lnTo>
                    <a:pt x="342" y="181"/>
                  </a:lnTo>
                  <a:lnTo>
                    <a:pt x="342" y="182"/>
                  </a:lnTo>
                  <a:lnTo>
                    <a:pt x="343" y="183"/>
                  </a:lnTo>
                  <a:lnTo>
                    <a:pt x="344" y="184"/>
                  </a:lnTo>
                  <a:lnTo>
                    <a:pt x="344" y="185"/>
                  </a:lnTo>
                  <a:lnTo>
                    <a:pt x="345" y="185"/>
                  </a:lnTo>
                  <a:lnTo>
                    <a:pt x="346" y="186"/>
                  </a:lnTo>
                  <a:lnTo>
                    <a:pt x="346" y="186"/>
                  </a:lnTo>
                  <a:lnTo>
                    <a:pt x="347" y="186"/>
                  </a:lnTo>
                  <a:lnTo>
                    <a:pt x="348" y="186"/>
                  </a:lnTo>
                  <a:lnTo>
                    <a:pt x="348" y="186"/>
                  </a:lnTo>
                  <a:lnTo>
                    <a:pt x="349" y="185"/>
                  </a:lnTo>
                  <a:lnTo>
                    <a:pt x="352" y="184"/>
                  </a:lnTo>
                  <a:lnTo>
                    <a:pt x="353" y="183"/>
                  </a:lnTo>
                  <a:lnTo>
                    <a:pt x="353" y="183"/>
                  </a:lnTo>
                  <a:lnTo>
                    <a:pt x="354" y="183"/>
                  </a:lnTo>
                  <a:lnTo>
                    <a:pt x="355" y="183"/>
                  </a:lnTo>
                  <a:lnTo>
                    <a:pt x="356" y="183"/>
                  </a:lnTo>
                  <a:lnTo>
                    <a:pt x="358" y="183"/>
                  </a:lnTo>
                  <a:lnTo>
                    <a:pt x="359" y="183"/>
                  </a:lnTo>
                  <a:lnTo>
                    <a:pt x="361" y="183"/>
                  </a:lnTo>
                  <a:lnTo>
                    <a:pt x="362" y="183"/>
                  </a:lnTo>
                  <a:lnTo>
                    <a:pt x="363" y="183"/>
                  </a:lnTo>
                  <a:lnTo>
                    <a:pt x="365" y="183"/>
                  </a:lnTo>
                  <a:lnTo>
                    <a:pt x="365" y="184"/>
                  </a:lnTo>
                  <a:lnTo>
                    <a:pt x="366" y="184"/>
                  </a:lnTo>
                  <a:lnTo>
                    <a:pt x="367" y="185"/>
                  </a:lnTo>
                  <a:lnTo>
                    <a:pt x="368" y="185"/>
                  </a:lnTo>
                  <a:lnTo>
                    <a:pt x="368" y="185"/>
                  </a:lnTo>
                  <a:lnTo>
                    <a:pt x="368" y="186"/>
                  </a:lnTo>
                  <a:lnTo>
                    <a:pt x="369" y="187"/>
                  </a:lnTo>
                  <a:lnTo>
                    <a:pt x="370" y="189"/>
                  </a:lnTo>
                  <a:lnTo>
                    <a:pt x="370" y="190"/>
                  </a:lnTo>
                  <a:lnTo>
                    <a:pt x="371" y="194"/>
                  </a:lnTo>
                  <a:lnTo>
                    <a:pt x="372" y="196"/>
                  </a:lnTo>
                  <a:lnTo>
                    <a:pt x="372" y="197"/>
                  </a:lnTo>
                  <a:lnTo>
                    <a:pt x="373" y="198"/>
                  </a:lnTo>
                  <a:lnTo>
                    <a:pt x="373" y="200"/>
                  </a:lnTo>
                  <a:lnTo>
                    <a:pt x="374" y="201"/>
                  </a:lnTo>
                  <a:lnTo>
                    <a:pt x="375" y="203"/>
                  </a:lnTo>
                  <a:lnTo>
                    <a:pt x="376" y="203"/>
                  </a:lnTo>
                  <a:lnTo>
                    <a:pt x="377" y="205"/>
                  </a:lnTo>
                  <a:lnTo>
                    <a:pt x="378" y="205"/>
                  </a:lnTo>
                  <a:lnTo>
                    <a:pt x="379" y="206"/>
                  </a:lnTo>
                  <a:lnTo>
                    <a:pt x="380" y="207"/>
                  </a:lnTo>
                  <a:lnTo>
                    <a:pt x="381" y="208"/>
                  </a:lnTo>
                  <a:lnTo>
                    <a:pt x="382" y="208"/>
                  </a:lnTo>
                  <a:lnTo>
                    <a:pt x="383" y="208"/>
                  </a:lnTo>
                  <a:lnTo>
                    <a:pt x="386" y="208"/>
                  </a:lnTo>
                  <a:lnTo>
                    <a:pt x="387" y="209"/>
                  </a:lnTo>
                  <a:lnTo>
                    <a:pt x="388" y="209"/>
                  </a:lnTo>
                  <a:lnTo>
                    <a:pt x="389" y="210"/>
                  </a:lnTo>
                  <a:lnTo>
                    <a:pt x="390" y="210"/>
                  </a:lnTo>
                  <a:lnTo>
                    <a:pt x="391" y="211"/>
                  </a:lnTo>
                  <a:lnTo>
                    <a:pt x="392" y="212"/>
                  </a:lnTo>
                  <a:lnTo>
                    <a:pt x="394" y="213"/>
                  </a:lnTo>
                  <a:lnTo>
                    <a:pt x="395" y="215"/>
                  </a:lnTo>
                  <a:lnTo>
                    <a:pt x="397" y="218"/>
                  </a:lnTo>
                  <a:lnTo>
                    <a:pt x="399" y="220"/>
                  </a:lnTo>
                  <a:lnTo>
                    <a:pt x="400" y="222"/>
                  </a:lnTo>
                  <a:lnTo>
                    <a:pt x="402" y="225"/>
                  </a:lnTo>
                  <a:lnTo>
                    <a:pt x="404" y="229"/>
                  </a:lnTo>
                  <a:lnTo>
                    <a:pt x="406" y="231"/>
                  </a:lnTo>
                  <a:lnTo>
                    <a:pt x="408" y="234"/>
                  </a:lnTo>
                  <a:lnTo>
                    <a:pt x="409" y="234"/>
                  </a:lnTo>
                  <a:lnTo>
                    <a:pt x="410" y="235"/>
                  </a:lnTo>
                  <a:lnTo>
                    <a:pt x="413" y="238"/>
                  </a:lnTo>
                  <a:lnTo>
                    <a:pt x="416" y="243"/>
                  </a:lnTo>
                  <a:lnTo>
                    <a:pt x="417" y="244"/>
                  </a:lnTo>
                  <a:lnTo>
                    <a:pt x="418" y="245"/>
                  </a:lnTo>
                  <a:lnTo>
                    <a:pt x="419" y="246"/>
                  </a:lnTo>
                  <a:lnTo>
                    <a:pt x="422" y="248"/>
                  </a:lnTo>
                  <a:lnTo>
                    <a:pt x="423" y="249"/>
                  </a:lnTo>
                  <a:lnTo>
                    <a:pt x="423" y="249"/>
                  </a:lnTo>
                  <a:lnTo>
                    <a:pt x="424" y="250"/>
                  </a:lnTo>
                  <a:lnTo>
                    <a:pt x="425" y="252"/>
                  </a:lnTo>
                  <a:lnTo>
                    <a:pt x="426" y="253"/>
                  </a:lnTo>
                  <a:lnTo>
                    <a:pt x="426" y="254"/>
                  </a:lnTo>
                  <a:lnTo>
                    <a:pt x="427" y="255"/>
                  </a:lnTo>
                  <a:lnTo>
                    <a:pt x="428" y="256"/>
                  </a:lnTo>
                  <a:lnTo>
                    <a:pt x="428" y="259"/>
                  </a:lnTo>
                  <a:lnTo>
                    <a:pt x="429" y="260"/>
                  </a:lnTo>
                  <a:lnTo>
                    <a:pt x="429" y="262"/>
                  </a:lnTo>
                  <a:lnTo>
                    <a:pt x="429" y="266"/>
                  </a:lnTo>
                  <a:lnTo>
                    <a:pt x="429" y="269"/>
                  </a:lnTo>
                  <a:lnTo>
                    <a:pt x="430" y="271"/>
                  </a:lnTo>
                  <a:lnTo>
                    <a:pt x="430" y="273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2" y="281"/>
                  </a:lnTo>
                  <a:lnTo>
                    <a:pt x="433" y="283"/>
                  </a:lnTo>
                  <a:lnTo>
                    <a:pt x="435" y="286"/>
                  </a:lnTo>
                  <a:lnTo>
                    <a:pt x="436" y="287"/>
                  </a:lnTo>
                  <a:lnTo>
                    <a:pt x="436" y="288"/>
                  </a:lnTo>
                  <a:lnTo>
                    <a:pt x="436" y="289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5" y="291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1" y="290"/>
                  </a:lnTo>
                  <a:lnTo>
                    <a:pt x="430" y="290"/>
                  </a:lnTo>
                  <a:lnTo>
                    <a:pt x="425" y="288"/>
                  </a:lnTo>
                  <a:lnTo>
                    <a:pt x="423" y="287"/>
                  </a:lnTo>
                  <a:lnTo>
                    <a:pt x="421" y="286"/>
                  </a:lnTo>
                  <a:lnTo>
                    <a:pt x="420" y="285"/>
                  </a:lnTo>
                  <a:lnTo>
                    <a:pt x="417" y="284"/>
                  </a:lnTo>
                  <a:lnTo>
                    <a:pt x="417" y="283"/>
                  </a:lnTo>
                  <a:lnTo>
                    <a:pt x="416" y="283"/>
                  </a:lnTo>
                  <a:lnTo>
                    <a:pt x="414" y="282"/>
                  </a:lnTo>
                  <a:lnTo>
                    <a:pt x="414" y="282"/>
                  </a:lnTo>
                  <a:lnTo>
                    <a:pt x="413" y="282"/>
                  </a:lnTo>
                  <a:lnTo>
                    <a:pt x="412" y="282"/>
                  </a:lnTo>
                  <a:lnTo>
                    <a:pt x="412" y="282"/>
                  </a:lnTo>
                  <a:lnTo>
                    <a:pt x="411" y="282"/>
                  </a:lnTo>
                  <a:lnTo>
                    <a:pt x="411" y="282"/>
                  </a:lnTo>
                  <a:lnTo>
                    <a:pt x="410" y="282"/>
                  </a:lnTo>
                  <a:lnTo>
                    <a:pt x="410" y="282"/>
                  </a:lnTo>
                  <a:lnTo>
                    <a:pt x="409" y="283"/>
                  </a:lnTo>
                  <a:lnTo>
                    <a:pt x="408" y="283"/>
                  </a:lnTo>
                  <a:lnTo>
                    <a:pt x="408" y="283"/>
                  </a:lnTo>
                  <a:lnTo>
                    <a:pt x="407" y="284"/>
                  </a:lnTo>
                  <a:lnTo>
                    <a:pt x="407" y="285"/>
                  </a:lnTo>
                  <a:lnTo>
                    <a:pt x="407" y="286"/>
                  </a:lnTo>
                  <a:lnTo>
                    <a:pt x="405" y="289"/>
                  </a:lnTo>
                  <a:lnTo>
                    <a:pt x="404" y="291"/>
                  </a:lnTo>
                  <a:lnTo>
                    <a:pt x="404" y="292"/>
                  </a:lnTo>
                  <a:lnTo>
                    <a:pt x="403" y="293"/>
                  </a:lnTo>
                  <a:lnTo>
                    <a:pt x="402" y="293"/>
                  </a:lnTo>
                  <a:lnTo>
                    <a:pt x="401" y="294"/>
                  </a:lnTo>
                  <a:lnTo>
                    <a:pt x="400" y="295"/>
                  </a:lnTo>
                  <a:lnTo>
                    <a:pt x="399" y="296"/>
                  </a:lnTo>
                  <a:lnTo>
                    <a:pt x="398" y="297"/>
                  </a:lnTo>
                  <a:lnTo>
                    <a:pt x="396" y="297"/>
                  </a:lnTo>
                  <a:lnTo>
                    <a:pt x="394" y="298"/>
                  </a:lnTo>
                  <a:lnTo>
                    <a:pt x="392" y="300"/>
                  </a:lnTo>
                  <a:lnTo>
                    <a:pt x="392" y="300"/>
                  </a:lnTo>
                  <a:lnTo>
                    <a:pt x="390" y="301"/>
                  </a:lnTo>
                  <a:lnTo>
                    <a:pt x="390" y="301"/>
                  </a:lnTo>
                  <a:lnTo>
                    <a:pt x="387" y="303"/>
                  </a:lnTo>
                  <a:lnTo>
                    <a:pt x="384" y="304"/>
                  </a:lnTo>
                  <a:lnTo>
                    <a:pt x="382" y="305"/>
                  </a:lnTo>
                  <a:lnTo>
                    <a:pt x="381" y="305"/>
                  </a:lnTo>
                  <a:lnTo>
                    <a:pt x="380" y="306"/>
                  </a:lnTo>
                  <a:lnTo>
                    <a:pt x="378" y="308"/>
                  </a:lnTo>
                  <a:lnTo>
                    <a:pt x="376" y="309"/>
                  </a:lnTo>
                  <a:lnTo>
                    <a:pt x="374" y="310"/>
                  </a:lnTo>
                  <a:lnTo>
                    <a:pt x="372" y="312"/>
                  </a:lnTo>
                  <a:lnTo>
                    <a:pt x="371" y="312"/>
                  </a:lnTo>
                  <a:lnTo>
                    <a:pt x="370" y="313"/>
                  </a:lnTo>
                  <a:lnTo>
                    <a:pt x="369" y="314"/>
                  </a:lnTo>
                  <a:lnTo>
                    <a:pt x="368" y="315"/>
                  </a:lnTo>
                  <a:lnTo>
                    <a:pt x="368" y="316"/>
                  </a:lnTo>
                  <a:lnTo>
                    <a:pt x="368" y="316"/>
                  </a:lnTo>
                  <a:lnTo>
                    <a:pt x="367" y="317"/>
                  </a:lnTo>
                  <a:lnTo>
                    <a:pt x="367" y="318"/>
                  </a:lnTo>
                  <a:lnTo>
                    <a:pt x="367" y="318"/>
                  </a:lnTo>
                  <a:lnTo>
                    <a:pt x="367" y="321"/>
                  </a:lnTo>
                  <a:lnTo>
                    <a:pt x="367" y="321"/>
                  </a:lnTo>
                  <a:lnTo>
                    <a:pt x="367" y="322"/>
                  </a:lnTo>
                  <a:lnTo>
                    <a:pt x="366" y="323"/>
                  </a:lnTo>
                  <a:lnTo>
                    <a:pt x="366" y="323"/>
                  </a:lnTo>
                  <a:lnTo>
                    <a:pt x="366" y="324"/>
                  </a:lnTo>
                  <a:lnTo>
                    <a:pt x="365" y="325"/>
                  </a:lnTo>
                  <a:lnTo>
                    <a:pt x="364" y="326"/>
                  </a:lnTo>
                  <a:lnTo>
                    <a:pt x="362" y="327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60" y="329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1"/>
                  </a:lnTo>
                  <a:lnTo>
                    <a:pt x="360" y="331"/>
                  </a:lnTo>
                  <a:lnTo>
                    <a:pt x="360" y="332"/>
                  </a:lnTo>
                  <a:lnTo>
                    <a:pt x="361" y="335"/>
                  </a:lnTo>
                  <a:lnTo>
                    <a:pt x="361" y="335"/>
                  </a:lnTo>
                  <a:lnTo>
                    <a:pt x="361" y="336"/>
                  </a:lnTo>
                  <a:lnTo>
                    <a:pt x="361" y="336"/>
                  </a:lnTo>
                  <a:lnTo>
                    <a:pt x="361" y="337"/>
                  </a:lnTo>
                  <a:lnTo>
                    <a:pt x="360" y="337"/>
                  </a:lnTo>
                  <a:lnTo>
                    <a:pt x="360" y="337"/>
                  </a:lnTo>
                  <a:lnTo>
                    <a:pt x="359" y="337"/>
                  </a:lnTo>
                  <a:lnTo>
                    <a:pt x="359" y="338"/>
                  </a:lnTo>
                  <a:lnTo>
                    <a:pt x="358" y="338"/>
                  </a:lnTo>
                  <a:lnTo>
                    <a:pt x="357" y="338"/>
                  </a:lnTo>
                  <a:lnTo>
                    <a:pt x="356" y="338"/>
                  </a:lnTo>
                  <a:lnTo>
                    <a:pt x="355" y="337"/>
                  </a:lnTo>
                  <a:lnTo>
                    <a:pt x="353" y="337"/>
                  </a:lnTo>
                  <a:lnTo>
                    <a:pt x="352" y="336"/>
                  </a:lnTo>
                  <a:lnTo>
                    <a:pt x="351" y="336"/>
                  </a:lnTo>
                  <a:lnTo>
                    <a:pt x="350" y="336"/>
                  </a:lnTo>
                  <a:lnTo>
                    <a:pt x="349" y="336"/>
                  </a:lnTo>
                  <a:lnTo>
                    <a:pt x="347" y="337"/>
                  </a:lnTo>
                  <a:lnTo>
                    <a:pt x="344" y="337"/>
                  </a:lnTo>
                  <a:lnTo>
                    <a:pt x="343" y="337"/>
                  </a:lnTo>
                  <a:lnTo>
                    <a:pt x="341" y="337"/>
                  </a:lnTo>
                  <a:lnTo>
                    <a:pt x="341" y="337"/>
                  </a:lnTo>
                  <a:lnTo>
                    <a:pt x="340" y="337"/>
                  </a:lnTo>
                  <a:lnTo>
                    <a:pt x="339" y="336"/>
                  </a:lnTo>
                  <a:lnTo>
                    <a:pt x="338" y="336"/>
                  </a:lnTo>
                  <a:lnTo>
                    <a:pt x="338" y="336"/>
                  </a:lnTo>
                  <a:lnTo>
                    <a:pt x="337" y="336"/>
                  </a:lnTo>
                  <a:lnTo>
                    <a:pt x="337" y="336"/>
                  </a:lnTo>
                  <a:lnTo>
                    <a:pt x="336" y="336"/>
                  </a:lnTo>
                  <a:lnTo>
                    <a:pt x="334" y="337"/>
                  </a:lnTo>
                  <a:lnTo>
                    <a:pt x="333" y="337"/>
                  </a:lnTo>
                  <a:lnTo>
                    <a:pt x="332" y="338"/>
                  </a:lnTo>
                  <a:lnTo>
                    <a:pt x="329" y="338"/>
                  </a:lnTo>
                  <a:lnTo>
                    <a:pt x="327" y="339"/>
                  </a:lnTo>
                  <a:lnTo>
                    <a:pt x="326" y="339"/>
                  </a:lnTo>
                  <a:lnTo>
                    <a:pt x="325" y="339"/>
                  </a:lnTo>
                  <a:lnTo>
                    <a:pt x="324" y="339"/>
                  </a:lnTo>
                  <a:lnTo>
                    <a:pt x="324" y="339"/>
                  </a:lnTo>
                  <a:lnTo>
                    <a:pt x="323" y="338"/>
                  </a:lnTo>
                  <a:lnTo>
                    <a:pt x="322" y="338"/>
                  </a:lnTo>
                  <a:lnTo>
                    <a:pt x="321" y="337"/>
                  </a:lnTo>
                  <a:lnTo>
                    <a:pt x="320" y="337"/>
                  </a:lnTo>
                  <a:lnTo>
                    <a:pt x="316" y="334"/>
                  </a:lnTo>
                  <a:lnTo>
                    <a:pt x="315" y="333"/>
                  </a:lnTo>
                  <a:lnTo>
                    <a:pt x="314" y="332"/>
                  </a:lnTo>
                  <a:lnTo>
                    <a:pt x="313" y="331"/>
                  </a:lnTo>
                  <a:lnTo>
                    <a:pt x="311" y="331"/>
                  </a:lnTo>
                  <a:lnTo>
                    <a:pt x="309" y="330"/>
                  </a:lnTo>
                  <a:lnTo>
                    <a:pt x="306" y="329"/>
                  </a:lnTo>
                  <a:lnTo>
                    <a:pt x="305" y="328"/>
                  </a:lnTo>
                  <a:lnTo>
                    <a:pt x="305" y="328"/>
                  </a:lnTo>
                  <a:lnTo>
                    <a:pt x="303" y="327"/>
                  </a:lnTo>
                  <a:lnTo>
                    <a:pt x="302" y="326"/>
                  </a:lnTo>
                  <a:lnTo>
                    <a:pt x="300" y="324"/>
                  </a:lnTo>
                  <a:lnTo>
                    <a:pt x="299" y="323"/>
                  </a:lnTo>
                  <a:lnTo>
                    <a:pt x="298" y="323"/>
                  </a:lnTo>
                  <a:lnTo>
                    <a:pt x="297" y="322"/>
                  </a:lnTo>
                  <a:lnTo>
                    <a:pt x="296" y="322"/>
                  </a:lnTo>
                  <a:lnTo>
                    <a:pt x="293" y="320"/>
                  </a:lnTo>
                  <a:lnTo>
                    <a:pt x="291" y="320"/>
                  </a:lnTo>
                  <a:lnTo>
                    <a:pt x="290" y="319"/>
                  </a:lnTo>
                  <a:lnTo>
                    <a:pt x="289" y="318"/>
                  </a:lnTo>
                  <a:lnTo>
                    <a:pt x="288" y="317"/>
                  </a:lnTo>
                  <a:lnTo>
                    <a:pt x="287" y="316"/>
                  </a:lnTo>
                  <a:lnTo>
                    <a:pt x="286" y="315"/>
                  </a:lnTo>
                  <a:lnTo>
                    <a:pt x="284" y="312"/>
                  </a:lnTo>
                  <a:lnTo>
                    <a:pt x="282" y="311"/>
                  </a:lnTo>
                  <a:lnTo>
                    <a:pt x="281" y="310"/>
                  </a:lnTo>
                  <a:lnTo>
                    <a:pt x="281" y="310"/>
                  </a:lnTo>
                  <a:lnTo>
                    <a:pt x="281" y="310"/>
                  </a:lnTo>
                  <a:lnTo>
                    <a:pt x="279" y="309"/>
                  </a:lnTo>
                  <a:lnTo>
                    <a:pt x="278" y="308"/>
                  </a:lnTo>
                  <a:lnTo>
                    <a:pt x="277" y="308"/>
                  </a:lnTo>
                  <a:lnTo>
                    <a:pt x="274" y="307"/>
                  </a:lnTo>
                  <a:lnTo>
                    <a:pt x="272" y="307"/>
                  </a:lnTo>
                  <a:lnTo>
                    <a:pt x="271" y="306"/>
                  </a:lnTo>
                  <a:lnTo>
                    <a:pt x="270" y="306"/>
                  </a:lnTo>
                  <a:lnTo>
                    <a:pt x="270" y="305"/>
                  </a:lnTo>
                  <a:lnTo>
                    <a:pt x="269" y="305"/>
                  </a:lnTo>
                  <a:lnTo>
                    <a:pt x="269" y="304"/>
                  </a:lnTo>
                  <a:lnTo>
                    <a:pt x="268" y="303"/>
                  </a:lnTo>
                  <a:lnTo>
                    <a:pt x="268" y="302"/>
                  </a:lnTo>
                  <a:lnTo>
                    <a:pt x="267" y="301"/>
                  </a:lnTo>
                  <a:lnTo>
                    <a:pt x="266" y="297"/>
                  </a:lnTo>
                  <a:lnTo>
                    <a:pt x="266" y="296"/>
                  </a:lnTo>
                  <a:lnTo>
                    <a:pt x="265" y="295"/>
                  </a:lnTo>
                  <a:lnTo>
                    <a:pt x="265" y="294"/>
                  </a:lnTo>
                  <a:lnTo>
                    <a:pt x="264" y="294"/>
                  </a:lnTo>
                  <a:lnTo>
                    <a:pt x="264" y="293"/>
                  </a:lnTo>
                  <a:lnTo>
                    <a:pt x="263" y="293"/>
                  </a:lnTo>
                  <a:lnTo>
                    <a:pt x="261" y="290"/>
                  </a:lnTo>
                  <a:lnTo>
                    <a:pt x="261" y="289"/>
                  </a:lnTo>
                  <a:lnTo>
                    <a:pt x="260" y="289"/>
                  </a:lnTo>
                  <a:lnTo>
                    <a:pt x="259" y="288"/>
                  </a:lnTo>
                  <a:lnTo>
                    <a:pt x="258" y="288"/>
                  </a:lnTo>
                  <a:lnTo>
                    <a:pt x="257" y="287"/>
                  </a:lnTo>
                  <a:lnTo>
                    <a:pt x="255" y="287"/>
                  </a:lnTo>
                  <a:lnTo>
                    <a:pt x="252" y="286"/>
                  </a:lnTo>
                  <a:lnTo>
                    <a:pt x="248" y="285"/>
                  </a:lnTo>
                  <a:lnTo>
                    <a:pt x="246" y="284"/>
                  </a:lnTo>
                  <a:lnTo>
                    <a:pt x="243" y="284"/>
                  </a:lnTo>
                  <a:lnTo>
                    <a:pt x="242" y="283"/>
                  </a:lnTo>
                  <a:lnTo>
                    <a:pt x="241" y="283"/>
                  </a:lnTo>
                  <a:lnTo>
                    <a:pt x="240" y="283"/>
                  </a:lnTo>
                  <a:lnTo>
                    <a:pt x="239" y="283"/>
                  </a:lnTo>
                  <a:lnTo>
                    <a:pt x="238" y="284"/>
                  </a:lnTo>
                  <a:lnTo>
                    <a:pt x="236" y="285"/>
                  </a:lnTo>
                  <a:lnTo>
                    <a:pt x="234" y="285"/>
                  </a:lnTo>
                  <a:lnTo>
                    <a:pt x="233" y="286"/>
                  </a:lnTo>
                  <a:lnTo>
                    <a:pt x="232" y="287"/>
                  </a:lnTo>
                  <a:lnTo>
                    <a:pt x="232" y="287"/>
                  </a:lnTo>
                  <a:lnTo>
                    <a:pt x="229" y="290"/>
                  </a:lnTo>
                  <a:lnTo>
                    <a:pt x="228" y="290"/>
                  </a:lnTo>
                  <a:lnTo>
                    <a:pt x="228" y="291"/>
                  </a:lnTo>
                  <a:lnTo>
                    <a:pt x="227" y="291"/>
                  </a:lnTo>
                  <a:lnTo>
                    <a:pt x="226" y="292"/>
                  </a:lnTo>
                  <a:lnTo>
                    <a:pt x="223" y="293"/>
                  </a:lnTo>
                  <a:lnTo>
                    <a:pt x="222" y="294"/>
                  </a:lnTo>
                  <a:lnTo>
                    <a:pt x="221" y="294"/>
                  </a:lnTo>
                  <a:lnTo>
                    <a:pt x="218" y="296"/>
                  </a:lnTo>
                  <a:lnTo>
                    <a:pt x="217" y="297"/>
                  </a:lnTo>
                  <a:lnTo>
                    <a:pt x="216" y="297"/>
                  </a:lnTo>
                  <a:lnTo>
                    <a:pt x="215" y="297"/>
                  </a:lnTo>
                  <a:lnTo>
                    <a:pt x="215" y="297"/>
                  </a:lnTo>
                  <a:lnTo>
                    <a:pt x="214" y="297"/>
                  </a:lnTo>
                  <a:lnTo>
                    <a:pt x="214" y="297"/>
                  </a:lnTo>
                  <a:lnTo>
                    <a:pt x="213" y="297"/>
                  </a:lnTo>
                  <a:lnTo>
                    <a:pt x="212" y="297"/>
                  </a:lnTo>
                  <a:lnTo>
                    <a:pt x="211" y="297"/>
                  </a:lnTo>
                  <a:lnTo>
                    <a:pt x="210" y="297"/>
                  </a:lnTo>
                  <a:lnTo>
                    <a:pt x="210" y="297"/>
                  </a:lnTo>
                  <a:lnTo>
                    <a:pt x="209" y="296"/>
                  </a:lnTo>
                  <a:lnTo>
                    <a:pt x="209" y="296"/>
                  </a:lnTo>
                  <a:lnTo>
                    <a:pt x="208" y="295"/>
                  </a:lnTo>
                  <a:lnTo>
                    <a:pt x="207" y="295"/>
                  </a:lnTo>
                  <a:lnTo>
                    <a:pt x="207" y="294"/>
                  </a:lnTo>
                  <a:lnTo>
                    <a:pt x="206" y="293"/>
                  </a:lnTo>
                  <a:lnTo>
                    <a:pt x="206" y="292"/>
                  </a:lnTo>
                  <a:lnTo>
                    <a:pt x="205" y="289"/>
                  </a:lnTo>
                  <a:lnTo>
                    <a:pt x="204" y="287"/>
                  </a:lnTo>
                  <a:lnTo>
                    <a:pt x="204" y="286"/>
                  </a:lnTo>
                  <a:lnTo>
                    <a:pt x="203" y="284"/>
                  </a:lnTo>
                  <a:lnTo>
                    <a:pt x="202" y="283"/>
                  </a:lnTo>
                  <a:lnTo>
                    <a:pt x="201" y="283"/>
                  </a:lnTo>
                  <a:lnTo>
                    <a:pt x="201" y="282"/>
                  </a:lnTo>
                  <a:lnTo>
                    <a:pt x="200" y="282"/>
                  </a:lnTo>
                  <a:lnTo>
                    <a:pt x="200" y="281"/>
                  </a:lnTo>
                  <a:lnTo>
                    <a:pt x="199" y="280"/>
                  </a:lnTo>
                  <a:lnTo>
                    <a:pt x="199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6" y="281"/>
                  </a:lnTo>
                  <a:lnTo>
                    <a:pt x="194" y="282"/>
                  </a:lnTo>
                  <a:lnTo>
                    <a:pt x="193" y="283"/>
                  </a:lnTo>
                  <a:lnTo>
                    <a:pt x="192" y="284"/>
                  </a:lnTo>
                  <a:lnTo>
                    <a:pt x="191" y="285"/>
                  </a:lnTo>
                  <a:lnTo>
                    <a:pt x="190" y="286"/>
                  </a:lnTo>
                  <a:lnTo>
                    <a:pt x="189" y="286"/>
                  </a:lnTo>
                  <a:lnTo>
                    <a:pt x="189" y="287"/>
                  </a:lnTo>
                  <a:lnTo>
                    <a:pt x="188" y="288"/>
                  </a:lnTo>
                  <a:lnTo>
                    <a:pt x="188" y="288"/>
                  </a:lnTo>
                  <a:lnTo>
                    <a:pt x="187" y="289"/>
                  </a:lnTo>
                  <a:lnTo>
                    <a:pt x="186" y="292"/>
                  </a:lnTo>
                  <a:lnTo>
                    <a:pt x="186" y="293"/>
                  </a:lnTo>
                  <a:lnTo>
                    <a:pt x="185" y="293"/>
                  </a:lnTo>
                  <a:lnTo>
                    <a:pt x="185" y="294"/>
                  </a:lnTo>
                  <a:lnTo>
                    <a:pt x="184" y="295"/>
                  </a:lnTo>
                  <a:lnTo>
                    <a:pt x="184" y="295"/>
                  </a:lnTo>
                  <a:lnTo>
                    <a:pt x="183" y="296"/>
                  </a:lnTo>
                  <a:lnTo>
                    <a:pt x="182" y="297"/>
                  </a:lnTo>
                  <a:lnTo>
                    <a:pt x="181" y="297"/>
                  </a:lnTo>
                  <a:lnTo>
                    <a:pt x="180" y="297"/>
                  </a:lnTo>
                  <a:lnTo>
                    <a:pt x="178" y="298"/>
                  </a:lnTo>
                  <a:lnTo>
                    <a:pt x="176" y="298"/>
                  </a:lnTo>
                  <a:lnTo>
                    <a:pt x="175" y="299"/>
                  </a:lnTo>
                  <a:lnTo>
                    <a:pt x="172" y="300"/>
                  </a:lnTo>
                  <a:lnTo>
                    <a:pt x="171" y="301"/>
                  </a:lnTo>
                  <a:lnTo>
                    <a:pt x="170" y="301"/>
                  </a:lnTo>
                  <a:lnTo>
                    <a:pt x="170" y="301"/>
                  </a:lnTo>
                  <a:lnTo>
                    <a:pt x="168" y="301"/>
                  </a:lnTo>
                  <a:lnTo>
                    <a:pt x="167" y="301"/>
                  </a:lnTo>
                  <a:lnTo>
                    <a:pt x="167" y="301"/>
                  </a:lnTo>
                  <a:lnTo>
                    <a:pt x="165" y="300"/>
                  </a:lnTo>
                  <a:lnTo>
                    <a:pt x="163" y="299"/>
                  </a:lnTo>
                  <a:lnTo>
                    <a:pt x="161" y="299"/>
                  </a:lnTo>
                  <a:lnTo>
                    <a:pt x="161" y="298"/>
                  </a:lnTo>
                  <a:lnTo>
                    <a:pt x="160" y="298"/>
                  </a:lnTo>
                  <a:lnTo>
                    <a:pt x="159" y="298"/>
                  </a:lnTo>
                  <a:lnTo>
                    <a:pt x="158" y="298"/>
                  </a:lnTo>
                  <a:lnTo>
                    <a:pt x="156" y="298"/>
                  </a:lnTo>
                  <a:lnTo>
                    <a:pt x="155" y="298"/>
                  </a:lnTo>
                  <a:lnTo>
                    <a:pt x="153" y="298"/>
                  </a:lnTo>
                  <a:lnTo>
                    <a:pt x="152" y="298"/>
                  </a:lnTo>
                  <a:lnTo>
                    <a:pt x="151" y="298"/>
                  </a:lnTo>
                  <a:lnTo>
                    <a:pt x="148" y="298"/>
                  </a:lnTo>
                  <a:lnTo>
                    <a:pt x="147" y="298"/>
                  </a:lnTo>
                  <a:lnTo>
                    <a:pt x="146" y="298"/>
                  </a:lnTo>
                  <a:lnTo>
                    <a:pt x="144" y="298"/>
                  </a:lnTo>
                  <a:lnTo>
                    <a:pt x="144" y="298"/>
                  </a:lnTo>
                  <a:lnTo>
                    <a:pt x="143" y="298"/>
                  </a:lnTo>
                  <a:lnTo>
                    <a:pt x="142" y="297"/>
                  </a:lnTo>
                  <a:lnTo>
                    <a:pt x="141" y="297"/>
                  </a:lnTo>
                  <a:lnTo>
                    <a:pt x="140" y="297"/>
                  </a:lnTo>
                  <a:lnTo>
                    <a:pt x="139" y="295"/>
                  </a:lnTo>
                  <a:lnTo>
                    <a:pt x="138" y="295"/>
                  </a:lnTo>
                  <a:lnTo>
                    <a:pt x="138" y="295"/>
                  </a:lnTo>
                  <a:lnTo>
                    <a:pt x="137" y="294"/>
                  </a:lnTo>
                  <a:lnTo>
                    <a:pt x="137" y="294"/>
                  </a:lnTo>
                  <a:lnTo>
                    <a:pt x="136" y="294"/>
                  </a:lnTo>
                  <a:lnTo>
                    <a:pt x="136" y="294"/>
                  </a:lnTo>
                  <a:lnTo>
                    <a:pt x="136" y="294"/>
                  </a:lnTo>
                  <a:lnTo>
                    <a:pt x="135" y="294"/>
                  </a:lnTo>
                  <a:lnTo>
                    <a:pt x="132" y="296"/>
                  </a:lnTo>
                  <a:lnTo>
                    <a:pt x="131" y="297"/>
                  </a:lnTo>
                  <a:lnTo>
                    <a:pt x="130" y="297"/>
                  </a:lnTo>
                  <a:lnTo>
                    <a:pt x="128" y="297"/>
                  </a:lnTo>
                  <a:lnTo>
                    <a:pt x="127" y="297"/>
                  </a:lnTo>
                  <a:lnTo>
                    <a:pt x="126" y="298"/>
                  </a:lnTo>
                  <a:lnTo>
                    <a:pt x="125" y="298"/>
                  </a:lnTo>
                  <a:lnTo>
                    <a:pt x="125" y="299"/>
                  </a:lnTo>
                  <a:lnTo>
                    <a:pt x="124" y="299"/>
                  </a:lnTo>
                  <a:lnTo>
                    <a:pt x="123" y="300"/>
                  </a:lnTo>
                  <a:lnTo>
                    <a:pt x="123" y="301"/>
                  </a:lnTo>
                  <a:lnTo>
                    <a:pt x="122" y="301"/>
                  </a:lnTo>
                  <a:lnTo>
                    <a:pt x="122" y="302"/>
                  </a:lnTo>
                  <a:lnTo>
                    <a:pt x="121" y="304"/>
                  </a:lnTo>
                  <a:lnTo>
                    <a:pt x="121" y="304"/>
                  </a:lnTo>
                  <a:lnTo>
                    <a:pt x="120" y="305"/>
                  </a:lnTo>
                  <a:lnTo>
                    <a:pt x="120" y="306"/>
                  </a:lnTo>
                  <a:lnTo>
                    <a:pt x="118" y="307"/>
                  </a:lnTo>
                  <a:lnTo>
                    <a:pt x="117" y="308"/>
                  </a:lnTo>
                  <a:lnTo>
                    <a:pt x="116" y="308"/>
                  </a:lnTo>
                  <a:lnTo>
                    <a:pt x="115" y="309"/>
                  </a:lnTo>
                  <a:lnTo>
                    <a:pt x="114" y="309"/>
                  </a:lnTo>
                  <a:lnTo>
                    <a:pt x="112" y="311"/>
                  </a:lnTo>
                  <a:lnTo>
                    <a:pt x="111" y="311"/>
                  </a:lnTo>
                  <a:lnTo>
                    <a:pt x="110" y="312"/>
                  </a:lnTo>
                  <a:lnTo>
                    <a:pt x="109" y="312"/>
                  </a:lnTo>
                  <a:lnTo>
                    <a:pt x="108" y="313"/>
                  </a:lnTo>
                  <a:lnTo>
                    <a:pt x="107" y="313"/>
                  </a:lnTo>
                  <a:lnTo>
                    <a:pt x="106" y="313"/>
                  </a:lnTo>
                  <a:lnTo>
                    <a:pt x="105" y="313"/>
                  </a:lnTo>
                  <a:lnTo>
                    <a:pt x="104" y="314"/>
                  </a:lnTo>
                  <a:lnTo>
                    <a:pt x="103" y="314"/>
                  </a:lnTo>
                  <a:lnTo>
                    <a:pt x="102" y="314"/>
                  </a:lnTo>
                  <a:lnTo>
                    <a:pt x="102" y="314"/>
                  </a:lnTo>
                  <a:lnTo>
                    <a:pt x="101" y="313"/>
                  </a:lnTo>
                  <a:lnTo>
                    <a:pt x="100" y="313"/>
                  </a:lnTo>
                  <a:lnTo>
                    <a:pt x="99" y="313"/>
                  </a:lnTo>
                  <a:lnTo>
                    <a:pt x="98" y="312"/>
                  </a:lnTo>
                  <a:lnTo>
                    <a:pt x="98" y="312"/>
                  </a:lnTo>
                  <a:lnTo>
                    <a:pt x="97" y="312"/>
                  </a:lnTo>
                  <a:lnTo>
                    <a:pt x="97" y="311"/>
                  </a:lnTo>
                  <a:lnTo>
                    <a:pt x="97" y="311"/>
                  </a:lnTo>
                  <a:lnTo>
                    <a:pt x="97" y="311"/>
                  </a:lnTo>
                  <a:lnTo>
                    <a:pt x="97" y="310"/>
                  </a:lnTo>
                  <a:lnTo>
                    <a:pt x="97" y="309"/>
                  </a:lnTo>
                  <a:lnTo>
                    <a:pt x="97" y="307"/>
                  </a:lnTo>
                  <a:lnTo>
                    <a:pt x="97" y="307"/>
                  </a:lnTo>
                  <a:lnTo>
                    <a:pt x="97" y="306"/>
                  </a:lnTo>
                  <a:lnTo>
                    <a:pt x="97" y="305"/>
                  </a:lnTo>
                  <a:lnTo>
                    <a:pt x="97" y="305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6" y="303"/>
                  </a:lnTo>
                  <a:lnTo>
                    <a:pt x="96" y="303"/>
                  </a:lnTo>
                  <a:lnTo>
                    <a:pt x="96" y="302"/>
                  </a:lnTo>
                  <a:lnTo>
                    <a:pt x="94" y="302"/>
                  </a:lnTo>
                  <a:lnTo>
                    <a:pt x="93" y="301"/>
                  </a:lnTo>
                  <a:lnTo>
                    <a:pt x="91" y="299"/>
                  </a:lnTo>
                  <a:lnTo>
                    <a:pt x="90" y="299"/>
                  </a:lnTo>
                  <a:lnTo>
                    <a:pt x="89" y="298"/>
                  </a:lnTo>
                  <a:lnTo>
                    <a:pt x="88" y="298"/>
                  </a:lnTo>
                  <a:lnTo>
                    <a:pt x="87" y="298"/>
                  </a:lnTo>
                  <a:lnTo>
                    <a:pt x="85" y="297"/>
                  </a:lnTo>
                  <a:lnTo>
                    <a:pt x="84" y="297"/>
                  </a:lnTo>
                  <a:lnTo>
                    <a:pt x="83" y="297"/>
                  </a:lnTo>
                  <a:lnTo>
                    <a:pt x="79" y="296"/>
                  </a:lnTo>
                  <a:lnTo>
                    <a:pt x="76" y="295"/>
                  </a:lnTo>
                  <a:lnTo>
                    <a:pt x="75" y="294"/>
                  </a:lnTo>
                  <a:lnTo>
                    <a:pt x="74" y="294"/>
                  </a:lnTo>
                  <a:lnTo>
                    <a:pt x="74" y="294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5" y="290"/>
                  </a:lnTo>
                  <a:lnTo>
                    <a:pt x="75" y="290"/>
                  </a:lnTo>
                  <a:lnTo>
                    <a:pt x="75" y="289"/>
                  </a:lnTo>
                  <a:lnTo>
                    <a:pt x="75" y="288"/>
                  </a:lnTo>
                  <a:lnTo>
                    <a:pt x="74" y="287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5" y="285"/>
                  </a:lnTo>
                  <a:lnTo>
                    <a:pt x="75" y="284"/>
                  </a:lnTo>
                  <a:lnTo>
                    <a:pt x="76" y="283"/>
                  </a:lnTo>
                  <a:lnTo>
                    <a:pt x="77" y="282"/>
                  </a:lnTo>
                  <a:lnTo>
                    <a:pt x="78" y="280"/>
                  </a:lnTo>
                  <a:lnTo>
                    <a:pt x="79" y="279"/>
                  </a:lnTo>
                  <a:lnTo>
                    <a:pt x="80" y="278"/>
                  </a:lnTo>
                  <a:lnTo>
                    <a:pt x="81" y="276"/>
                  </a:lnTo>
                  <a:lnTo>
                    <a:pt x="82" y="275"/>
                  </a:lnTo>
                  <a:lnTo>
                    <a:pt x="82" y="274"/>
                  </a:lnTo>
                  <a:lnTo>
                    <a:pt x="83" y="272"/>
                  </a:lnTo>
                  <a:lnTo>
                    <a:pt x="83" y="271"/>
                  </a:lnTo>
                  <a:lnTo>
                    <a:pt x="84" y="270"/>
                  </a:lnTo>
                  <a:lnTo>
                    <a:pt x="84" y="269"/>
                  </a:lnTo>
                  <a:lnTo>
                    <a:pt x="84" y="268"/>
                  </a:lnTo>
                  <a:lnTo>
                    <a:pt x="84" y="268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3" y="265"/>
                  </a:lnTo>
                  <a:lnTo>
                    <a:pt x="83" y="264"/>
                  </a:lnTo>
                  <a:lnTo>
                    <a:pt x="82" y="262"/>
                  </a:lnTo>
                  <a:lnTo>
                    <a:pt x="82" y="261"/>
                  </a:lnTo>
                  <a:lnTo>
                    <a:pt x="80" y="259"/>
                  </a:lnTo>
                  <a:lnTo>
                    <a:pt x="79" y="258"/>
                  </a:lnTo>
                  <a:lnTo>
                    <a:pt x="78" y="256"/>
                  </a:lnTo>
                  <a:lnTo>
                    <a:pt x="78" y="255"/>
                  </a:lnTo>
                  <a:lnTo>
                    <a:pt x="78" y="255"/>
                  </a:lnTo>
                  <a:lnTo>
                    <a:pt x="78" y="254"/>
                  </a:lnTo>
                  <a:lnTo>
                    <a:pt x="78" y="252"/>
                  </a:lnTo>
                  <a:lnTo>
                    <a:pt x="78" y="250"/>
                  </a:lnTo>
                  <a:lnTo>
                    <a:pt x="78" y="249"/>
                  </a:lnTo>
                  <a:lnTo>
                    <a:pt x="78" y="248"/>
                  </a:lnTo>
                  <a:lnTo>
                    <a:pt x="78" y="247"/>
                  </a:lnTo>
                  <a:lnTo>
                    <a:pt x="78" y="244"/>
                  </a:lnTo>
                  <a:lnTo>
                    <a:pt x="79" y="243"/>
                  </a:lnTo>
                  <a:lnTo>
                    <a:pt x="79" y="241"/>
                  </a:lnTo>
                  <a:lnTo>
                    <a:pt x="78" y="238"/>
                  </a:lnTo>
                  <a:lnTo>
                    <a:pt x="78" y="236"/>
                  </a:lnTo>
                  <a:lnTo>
                    <a:pt x="78" y="234"/>
                  </a:lnTo>
                  <a:lnTo>
                    <a:pt x="78" y="234"/>
                  </a:lnTo>
                  <a:lnTo>
                    <a:pt x="78" y="232"/>
                  </a:lnTo>
                  <a:lnTo>
                    <a:pt x="77" y="231"/>
                  </a:lnTo>
                  <a:lnTo>
                    <a:pt x="77" y="231"/>
                  </a:lnTo>
                  <a:lnTo>
                    <a:pt x="77" y="230"/>
                  </a:lnTo>
                  <a:lnTo>
                    <a:pt x="76" y="229"/>
                  </a:lnTo>
                  <a:lnTo>
                    <a:pt x="75" y="229"/>
                  </a:lnTo>
                  <a:lnTo>
                    <a:pt x="75" y="228"/>
                  </a:lnTo>
                  <a:lnTo>
                    <a:pt x="73" y="227"/>
                  </a:lnTo>
                  <a:lnTo>
                    <a:pt x="72" y="226"/>
                  </a:lnTo>
                  <a:lnTo>
                    <a:pt x="72" y="225"/>
                  </a:lnTo>
                  <a:lnTo>
                    <a:pt x="71" y="225"/>
                  </a:lnTo>
                  <a:lnTo>
                    <a:pt x="70" y="225"/>
                  </a:lnTo>
                  <a:lnTo>
                    <a:pt x="70" y="225"/>
                  </a:lnTo>
                  <a:lnTo>
                    <a:pt x="69" y="225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66" y="226"/>
                  </a:lnTo>
                  <a:lnTo>
                    <a:pt x="65" y="226"/>
                  </a:lnTo>
                  <a:lnTo>
                    <a:pt x="63" y="227"/>
                  </a:lnTo>
                  <a:lnTo>
                    <a:pt x="59" y="228"/>
                  </a:lnTo>
                  <a:lnTo>
                    <a:pt x="58" y="229"/>
                  </a:lnTo>
                  <a:lnTo>
                    <a:pt x="57" y="229"/>
                  </a:lnTo>
                  <a:lnTo>
                    <a:pt x="56" y="229"/>
                  </a:lnTo>
                  <a:lnTo>
                    <a:pt x="55" y="229"/>
                  </a:lnTo>
                  <a:lnTo>
                    <a:pt x="52" y="228"/>
                  </a:lnTo>
                  <a:lnTo>
                    <a:pt x="49" y="228"/>
                  </a:lnTo>
                  <a:lnTo>
                    <a:pt x="45" y="227"/>
                  </a:lnTo>
                  <a:lnTo>
                    <a:pt x="44" y="227"/>
                  </a:lnTo>
                  <a:lnTo>
                    <a:pt x="43" y="227"/>
                  </a:lnTo>
                  <a:lnTo>
                    <a:pt x="39" y="228"/>
                  </a:lnTo>
                  <a:lnTo>
                    <a:pt x="38" y="228"/>
                  </a:lnTo>
                  <a:lnTo>
                    <a:pt x="37" y="228"/>
                  </a:lnTo>
                  <a:lnTo>
                    <a:pt x="36" y="228"/>
                  </a:lnTo>
                  <a:lnTo>
                    <a:pt x="36" y="228"/>
                  </a:lnTo>
                  <a:lnTo>
                    <a:pt x="35" y="227"/>
                  </a:lnTo>
                  <a:lnTo>
                    <a:pt x="34" y="227"/>
                  </a:lnTo>
                  <a:lnTo>
                    <a:pt x="33" y="227"/>
                  </a:lnTo>
                  <a:lnTo>
                    <a:pt x="33" y="226"/>
                  </a:lnTo>
                  <a:lnTo>
                    <a:pt x="32" y="226"/>
                  </a:lnTo>
                  <a:lnTo>
                    <a:pt x="31" y="225"/>
                  </a:lnTo>
                  <a:lnTo>
                    <a:pt x="31" y="225"/>
                  </a:lnTo>
                  <a:lnTo>
                    <a:pt x="30" y="224"/>
                  </a:lnTo>
                  <a:lnTo>
                    <a:pt x="30" y="224"/>
                  </a:lnTo>
                  <a:lnTo>
                    <a:pt x="30" y="223"/>
                  </a:lnTo>
                  <a:lnTo>
                    <a:pt x="29" y="222"/>
                  </a:lnTo>
                  <a:lnTo>
                    <a:pt x="29" y="221"/>
                  </a:lnTo>
                  <a:lnTo>
                    <a:pt x="29" y="220"/>
                  </a:lnTo>
                  <a:lnTo>
                    <a:pt x="29" y="220"/>
                  </a:lnTo>
                  <a:lnTo>
                    <a:pt x="29" y="218"/>
                  </a:lnTo>
                  <a:lnTo>
                    <a:pt x="29" y="216"/>
                  </a:lnTo>
                  <a:lnTo>
                    <a:pt x="29" y="215"/>
                  </a:lnTo>
                  <a:lnTo>
                    <a:pt x="28" y="215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27" y="213"/>
                  </a:lnTo>
                  <a:lnTo>
                    <a:pt x="25" y="211"/>
                  </a:lnTo>
                  <a:lnTo>
                    <a:pt x="24" y="210"/>
                  </a:lnTo>
                  <a:lnTo>
                    <a:pt x="23" y="209"/>
                  </a:lnTo>
                  <a:lnTo>
                    <a:pt x="22" y="208"/>
                  </a:lnTo>
                  <a:lnTo>
                    <a:pt x="22" y="208"/>
                  </a:lnTo>
                  <a:lnTo>
                    <a:pt x="21" y="206"/>
                  </a:lnTo>
                  <a:lnTo>
                    <a:pt x="20" y="206"/>
                  </a:lnTo>
                  <a:lnTo>
                    <a:pt x="20" y="205"/>
                  </a:lnTo>
                  <a:lnTo>
                    <a:pt x="19" y="205"/>
                  </a:lnTo>
                  <a:lnTo>
                    <a:pt x="18" y="204"/>
                  </a:lnTo>
                  <a:lnTo>
                    <a:pt x="16" y="204"/>
                  </a:lnTo>
                  <a:lnTo>
                    <a:pt x="16" y="204"/>
                  </a:lnTo>
                  <a:lnTo>
                    <a:pt x="15" y="203"/>
                  </a:lnTo>
                  <a:lnTo>
                    <a:pt x="12" y="203"/>
                  </a:lnTo>
                  <a:lnTo>
                    <a:pt x="11" y="203"/>
                  </a:lnTo>
                  <a:lnTo>
                    <a:pt x="10" y="203"/>
                  </a:lnTo>
                  <a:lnTo>
                    <a:pt x="10" y="203"/>
                  </a:lnTo>
                  <a:lnTo>
                    <a:pt x="9" y="202"/>
                  </a:lnTo>
                  <a:lnTo>
                    <a:pt x="9" y="202"/>
                  </a:lnTo>
                  <a:lnTo>
                    <a:pt x="8" y="202"/>
                  </a:lnTo>
                  <a:lnTo>
                    <a:pt x="7" y="201"/>
                  </a:lnTo>
                  <a:lnTo>
                    <a:pt x="6" y="201"/>
                  </a:lnTo>
                  <a:lnTo>
                    <a:pt x="6" y="200"/>
                  </a:lnTo>
                  <a:lnTo>
                    <a:pt x="5" y="200"/>
                  </a:lnTo>
                  <a:lnTo>
                    <a:pt x="5" y="199"/>
                  </a:lnTo>
                  <a:lnTo>
                    <a:pt x="4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3" y="195"/>
                  </a:lnTo>
                  <a:lnTo>
                    <a:pt x="3" y="194"/>
                  </a:lnTo>
                  <a:lnTo>
                    <a:pt x="2" y="193"/>
                  </a:lnTo>
                  <a:lnTo>
                    <a:pt x="1" y="191"/>
                  </a:lnTo>
                  <a:lnTo>
                    <a:pt x="1" y="190"/>
                  </a:lnTo>
                  <a:lnTo>
                    <a:pt x="1" y="190"/>
                  </a:lnTo>
                  <a:lnTo>
                    <a:pt x="0" y="189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0" y="187"/>
                  </a:lnTo>
                  <a:lnTo>
                    <a:pt x="1" y="186"/>
                  </a:lnTo>
                  <a:lnTo>
                    <a:pt x="1" y="186"/>
                  </a:lnTo>
                  <a:lnTo>
                    <a:pt x="1" y="185"/>
                  </a:lnTo>
                  <a:lnTo>
                    <a:pt x="2" y="184"/>
                  </a:lnTo>
                  <a:lnTo>
                    <a:pt x="2" y="184"/>
                  </a:lnTo>
                  <a:lnTo>
                    <a:pt x="3" y="184"/>
                  </a:lnTo>
                  <a:lnTo>
                    <a:pt x="5" y="182"/>
                  </a:lnTo>
                  <a:lnTo>
                    <a:pt x="6" y="182"/>
                  </a:lnTo>
                  <a:lnTo>
                    <a:pt x="6" y="181"/>
                  </a:lnTo>
                  <a:lnTo>
                    <a:pt x="7" y="181"/>
                  </a:lnTo>
                  <a:lnTo>
                    <a:pt x="7" y="181"/>
                  </a:lnTo>
                  <a:lnTo>
                    <a:pt x="7" y="180"/>
                  </a:lnTo>
                  <a:lnTo>
                    <a:pt x="8" y="177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2" y="171"/>
                  </a:lnTo>
                  <a:lnTo>
                    <a:pt x="12" y="170"/>
                  </a:lnTo>
                  <a:lnTo>
                    <a:pt x="13" y="169"/>
                  </a:lnTo>
                  <a:lnTo>
                    <a:pt x="13" y="167"/>
                  </a:lnTo>
                  <a:lnTo>
                    <a:pt x="13" y="166"/>
                  </a:lnTo>
                  <a:lnTo>
                    <a:pt x="13" y="165"/>
                  </a:lnTo>
                  <a:lnTo>
                    <a:pt x="12" y="163"/>
                  </a:lnTo>
                  <a:lnTo>
                    <a:pt x="11" y="160"/>
                  </a:lnTo>
                  <a:lnTo>
                    <a:pt x="11" y="159"/>
                  </a:lnTo>
                  <a:lnTo>
                    <a:pt x="10" y="158"/>
                  </a:lnTo>
                  <a:lnTo>
                    <a:pt x="10" y="157"/>
                  </a:lnTo>
                  <a:lnTo>
                    <a:pt x="9" y="156"/>
                  </a:lnTo>
                  <a:lnTo>
                    <a:pt x="8" y="154"/>
                  </a:lnTo>
                  <a:lnTo>
                    <a:pt x="8" y="154"/>
                  </a:lnTo>
                  <a:lnTo>
                    <a:pt x="8" y="153"/>
                  </a:lnTo>
                  <a:lnTo>
                    <a:pt x="7" y="152"/>
                  </a:lnTo>
                  <a:lnTo>
                    <a:pt x="7" y="151"/>
                  </a:lnTo>
                  <a:lnTo>
                    <a:pt x="7" y="150"/>
                  </a:lnTo>
                  <a:lnTo>
                    <a:pt x="7" y="145"/>
                  </a:lnTo>
                  <a:lnTo>
                    <a:pt x="7" y="143"/>
                  </a:lnTo>
                  <a:lnTo>
                    <a:pt x="7" y="142"/>
                  </a:lnTo>
                  <a:lnTo>
                    <a:pt x="7" y="142"/>
                  </a:lnTo>
                  <a:lnTo>
                    <a:pt x="7" y="141"/>
                  </a:lnTo>
                  <a:lnTo>
                    <a:pt x="6" y="139"/>
                  </a:lnTo>
                  <a:lnTo>
                    <a:pt x="5" y="137"/>
                  </a:lnTo>
                  <a:lnTo>
                    <a:pt x="5" y="136"/>
                  </a:lnTo>
                  <a:lnTo>
                    <a:pt x="4" y="134"/>
                  </a:lnTo>
                  <a:lnTo>
                    <a:pt x="3" y="132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4" y="126"/>
                  </a:lnTo>
                  <a:lnTo>
                    <a:pt x="5" y="125"/>
                  </a:lnTo>
                  <a:lnTo>
                    <a:pt x="6" y="124"/>
                  </a:lnTo>
                  <a:lnTo>
                    <a:pt x="8" y="122"/>
                  </a:lnTo>
                  <a:lnTo>
                    <a:pt x="9" y="121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0" y="121"/>
                  </a:lnTo>
                  <a:lnTo>
                    <a:pt x="11" y="122"/>
                  </a:lnTo>
                  <a:lnTo>
                    <a:pt x="13" y="122"/>
                  </a:lnTo>
                  <a:lnTo>
                    <a:pt x="15" y="124"/>
                  </a:lnTo>
                  <a:lnTo>
                    <a:pt x="17" y="125"/>
                  </a:lnTo>
                  <a:lnTo>
                    <a:pt x="21" y="127"/>
                  </a:lnTo>
                  <a:lnTo>
                    <a:pt x="22" y="128"/>
                  </a:lnTo>
                  <a:lnTo>
                    <a:pt x="24" y="128"/>
                  </a:lnTo>
                  <a:lnTo>
                    <a:pt x="25" y="129"/>
                  </a:lnTo>
                  <a:lnTo>
                    <a:pt x="27" y="130"/>
                  </a:lnTo>
                  <a:lnTo>
                    <a:pt x="28" y="130"/>
                  </a:lnTo>
                  <a:lnTo>
                    <a:pt x="30" y="131"/>
                  </a:lnTo>
                  <a:lnTo>
                    <a:pt x="30" y="131"/>
                  </a:lnTo>
                  <a:lnTo>
                    <a:pt x="31" y="131"/>
                  </a:lnTo>
                  <a:lnTo>
                    <a:pt x="32" y="131"/>
                  </a:lnTo>
                  <a:lnTo>
                    <a:pt x="33" y="131"/>
                  </a:lnTo>
                  <a:lnTo>
                    <a:pt x="34" y="131"/>
                  </a:lnTo>
                  <a:lnTo>
                    <a:pt x="34" y="131"/>
                  </a:lnTo>
                  <a:lnTo>
                    <a:pt x="35" y="131"/>
                  </a:lnTo>
                  <a:lnTo>
                    <a:pt x="36" y="130"/>
                  </a:lnTo>
                  <a:lnTo>
                    <a:pt x="36" y="130"/>
                  </a:lnTo>
                  <a:lnTo>
                    <a:pt x="37" y="129"/>
                  </a:lnTo>
                  <a:lnTo>
                    <a:pt x="38" y="128"/>
                  </a:lnTo>
                  <a:lnTo>
                    <a:pt x="40" y="125"/>
                  </a:lnTo>
                  <a:lnTo>
                    <a:pt x="42" y="123"/>
                  </a:lnTo>
                  <a:lnTo>
                    <a:pt x="43" y="122"/>
                  </a:lnTo>
                  <a:lnTo>
                    <a:pt x="44" y="122"/>
                  </a:lnTo>
                  <a:lnTo>
                    <a:pt x="44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6" y="120"/>
                  </a:lnTo>
                  <a:lnTo>
                    <a:pt x="46" y="120"/>
                  </a:lnTo>
                  <a:lnTo>
                    <a:pt x="47" y="120"/>
                  </a:lnTo>
                  <a:lnTo>
                    <a:pt x="48" y="120"/>
                  </a:lnTo>
                  <a:lnTo>
                    <a:pt x="49" y="120"/>
                  </a:lnTo>
                  <a:lnTo>
                    <a:pt x="50" y="120"/>
                  </a:lnTo>
                  <a:lnTo>
                    <a:pt x="51" y="120"/>
                  </a:lnTo>
                  <a:lnTo>
                    <a:pt x="52" y="121"/>
                  </a:lnTo>
                  <a:lnTo>
                    <a:pt x="53" y="121"/>
                  </a:lnTo>
                  <a:lnTo>
                    <a:pt x="54" y="122"/>
                  </a:lnTo>
                  <a:lnTo>
                    <a:pt x="56" y="123"/>
                  </a:lnTo>
                  <a:lnTo>
                    <a:pt x="58" y="123"/>
                  </a:lnTo>
                  <a:lnTo>
                    <a:pt x="59" y="124"/>
                  </a:lnTo>
                  <a:lnTo>
                    <a:pt x="61" y="124"/>
                  </a:lnTo>
                  <a:lnTo>
                    <a:pt x="62" y="124"/>
                  </a:lnTo>
                  <a:lnTo>
                    <a:pt x="63" y="125"/>
                  </a:lnTo>
                  <a:lnTo>
                    <a:pt x="64" y="125"/>
                  </a:lnTo>
                  <a:lnTo>
                    <a:pt x="65" y="125"/>
                  </a:lnTo>
                  <a:lnTo>
                    <a:pt x="66" y="126"/>
                  </a:lnTo>
                  <a:lnTo>
                    <a:pt x="68" y="127"/>
                  </a:lnTo>
                  <a:lnTo>
                    <a:pt x="69" y="128"/>
                  </a:lnTo>
                  <a:lnTo>
                    <a:pt x="71" y="129"/>
                  </a:lnTo>
                  <a:lnTo>
                    <a:pt x="73" y="129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5" y="130"/>
                  </a:lnTo>
                  <a:lnTo>
                    <a:pt x="77" y="129"/>
                  </a:lnTo>
                  <a:lnTo>
                    <a:pt x="78" y="129"/>
                  </a:lnTo>
                  <a:lnTo>
                    <a:pt x="78" y="130"/>
                  </a:lnTo>
                  <a:lnTo>
                    <a:pt x="78" y="130"/>
                  </a:lnTo>
                  <a:lnTo>
                    <a:pt x="79" y="130"/>
                  </a:lnTo>
                  <a:lnTo>
                    <a:pt x="79" y="131"/>
                  </a:lnTo>
                  <a:lnTo>
                    <a:pt x="79" y="131"/>
                  </a:lnTo>
                  <a:lnTo>
                    <a:pt x="80" y="132"/>
                  </a:lnTo>
                  <a:lnTo>
                    <a:pt x="80" y="133"/>
                  </a:lnTo>
                  <a:lnTo>
                    <a:pt x="80" y="134"/>
                  </a:lnTo>
                  <a:lnTo>
                    <a:pt x="81" y="135"/>
                  </a:lnTo>
                  <a:lnTo>
                    <a:pt x="81" y="135"/>
                  </a:lnTo>
                  <a:lnTo>
                    <a:pt x="81" y="136"/>
                  </a:lnTo>
                  <a:lnTo>
                    <a:pt x="82" y="137"/>
                  </a:lnTo>
                  <a:lnTo>
                    <a:pt x="83" y="137"/>
                  </a:lnTo>
                  <a:lnTo>
                    <a:pt x="83" y="137"/>
                  </a:lnTo>
                  <a:lnTo>
                    <a:pt x="83" y="138"/>
                  </a:lnTo>
                  <a:lnTo>
                    <a:pt x="84" y="138"/>
                  </a:lnTo>
                  <a:lnTo>
                    <a:pt x="85" y="138"/>
                  </a:lnTo>
                  <a:lnTo>
                    <a:pt x="85" y="138"/>
                  </a:lnTo>
                  <a:lnTo>
                    <a:pt x="86" y="138"/>
                  </a:lnTo>
                  <a:lnTo>
                    <a:pt x="87" y="138"/>
                  </a:lnTo>
                  <a:lnTo>
                    <a:pt x="88" y="138"/>
                  </a:lnTo>
                  <a:lnTo>
                    <a:pt x="89" y="138"/>
                  </a:lnTo>
                  <a:lnTo>
                    <a:pt x="90" y="138"/>
                  </a:lnTo>
                  <a:lnTo>
                    <a:pt x="91" y="137"/>
                  </a:lnTo>
                  <a:lnTo>
                    <a:pt x="92" y="137"/>
                  </a:lnTo>
                  <a:lnTo>
                    <a:pt x="93" y="136"/>
                  </a:lnTo>
                  <a:lnTo>
                    <a:pt x="93" y="136"/>
                  </a:lnTo>
                  <a:lnTo>
                    <a:pt x="96" y="135"/>
                  </a:lnTo>
                  <a:lnTo>
                    <a:pt x="96" y="134"/>
                  </a:lnTo>
                  <a:lnTo>
                    <a:pt x="96" y="134"/>
                  </a:lnTo>
                  <a:lnTo>
                    <a:pt x="97" y="133"/>
                  </a:lnTo>
                  <a:lnTo>
                    <a:pt x="97" y="132"/>
                  </a:lnTo>
                  <a:lnTo>
                    <a:pt x="98" y="131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98" y="129"/>
                  </a:lnTo>
                  <a:lnTo>
                    <a:pt x="97" y="126"/>
                  </a:lnTo>
                  <a:lnTo>
                    <a:pt x="97" y="125"/>
                  </a:lnTo>
                  <a:lnTo>
                    <a:pt x="97" y="124"/>
                  </a:lnTo>
                  <a:lnTo>
                    <a:pt x="97" y="123"/>
                  </a:lnTo>
                  <a:lnTo>
                    <a:pt x="97" y="122"/>
                  </a:lnTo>
                  <a:lnTo>
                    <a:pt x="97" y="122"/>
                  </a:lnTo>
                  <a:lnTo>
                    <a:pt x="98" y="121"/>
                  </a:lnTo>
                  <a:lnTo>
                    <a:pt x="98" y="120"/>
                  </a:lnTo>
                  <a:lnTo>
                    <a:pt x="99" y="119"/>
                  </a:lnTo>
                  <a:lnTo>
                    <a:pt x="100" y="119"/>
                  </a:lnTo>
                  <a:lnTo>
                    <a:pt x="102" y="117"/>
                  </a:lnTo>
                  <a:lnTo>
                    <a:pt x="104" y="115"/>
                  </a:lnTo>
                  <a:lnTo>
                    <a:pt x="106" y="113"/>
                  </a:lnTo>
                  <a:lnTo>
                    <a:pt x="107" y="113"/>
                  </a:lnTo>
                  <a:lnTo>
                    <a:pt x="107" y="112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10" y="111"/>
                  </a:lnTo>
                  <a:lnTo>
                    <a:pt x="111" y="111"/>
                  </a:lnTo>
                  <a:lnTo>
                    <a:pt x="112" y="112"/>
                  </a:lnTo>
                  <a:lnTo>
                    <a:pt x="112" y="112"/>
                  </a:lnTo>
                  <a:lnTo>
                    <a:pt x="112" y="113"/>
                  </a:lnTo>
                  <a:lnTo>
                    <a:pt x="114" y="115"/>
                  </a:lnTo>
                  <a:lnTo>
                    <a:pt x="115" y="117"/>
                  </a:lnTo>
                  <a:lnTo>
                    <a:pt x="116" y="118"/>
                  </a:lnTo>
                  <a:lnTo>
                    <a:pt x="117" y="118"/>
                  </a:lnTo>
                  <a:lnTo>
                    <a:pt x="118" y="119"/>
                  </a:lnTo>
                  <a:lnTo>
                    <a:pt x="118" y="120"/>
                  </a:lnTo>
                  <a:lnTo>
                    <a:pt x="120" y="120"/>
                  </a:lnTo>
                  <a:lnTo>
                    <a:pt x="121" y="121"/>
                  </a:lnTo>
                  <a:lnTo>
                    <a:pt x="122" y="121"/>
                  </a:lnTo>
                  <a:lnTo>
                    <a:pt x="123" y="122"/>
                  </a:lnTo>
                  <a:lnTo>
                    <a:pt x="124" y="122"/>
                  </a:lnTo>
                  <a:lnTo>
                    <a:pt x="125" y="122"/>
                  </a:lnTo>
                  <a:lnTo>
                    <a:pt x="125" y="122"/>
                  </a:lnTo>
                  <a:lnTo>
                    <a:pt x="126" y="122"/>
                  </a:lnTo>
                  <a:lnTo>
                    <a:pt x="127" y="121"/>
                  </a:lnTo>
                  <a:lnTo>
                    <a:pt x="130" y="121"/>
                  </a:lnTo>
                  <a:lnTo>
                    <a:pt x="131" y="120"/>
                  </a:lnTo>
                  <a:lnTo>
                    <a:pt x="132" y="120"/>
                  </a:lnTo>
                  <a:lnTo>
                    <a:pt x="133" y="120"/>
                  </a:lnTo>
                  <a:lnTo>
                    <a:pt x="134" y="120"/>
                  </a:lnTo>
                  <a:lnTo>
                    <a:pt x="136" y="120"/>
                  </a:lnTo>
                  <a:lnTo>
                    <a:pt x="137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40" y="121"/>
                  </a:lnTo>
                  <a:lnTo>
                    <a:pt x="140" y="121"/>
                  </a:lnTo>
                  <a:lnTo>
                    <a:pt x="142" y="121"/>
                  </a:lnTo>
                  <a:lnTo>
                    <a:pt x="143" y="121"/>
                  </a:lnTo>
                  <a:lnTo>
                    <a:pt x="144" y="121"/>
                  </a:lnTo>
                  <a:lnTo>
                    <a:pt x="146" y="120"/>
                  </a:lnTo>
                  <a:lnTo>
                    <a:pt x="147" y="120"/>
                  </a:lnTo>
                  <a:lnTo>
                    <a:pt x="148" y="119"/>
                  </a:lnTo>
                  <a:lnTo>
                    <a:pt x="149" y="119"/>
                  </a:lnTo>
                  <a:lnTo>
                    <a:pt x="149" y="118"/>
                  </a:lnTo>
                  <a:lnTo>
                    <a:pt x="150" y="118"/>
                  </a:lnTo>
                  <a:lnTo>
                    <a:pt x="150" y="118"/>
                  </a:lnTo>
                  <a:lnTo>
                    <a:pt x="150" y="117"/>
                  </a:lnTo>
                  <a:lnTo>
                    <a:pt x="151" y="117"/>
                  </a:lnTo>
                  <a:lnTo>
                    <a:pt x="151" y="116"/>
                  </a:lnTo>
                  <a:lnTo>
                    <a:pt x="151" y="115"/>
                  </a:lnTo>
                  <a:lnTo>
                    <a:pt x="150" y="114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49" y="112"/>
                  </a:lnTo>
                  <a:lnTo>
                    <a:pt x="149" y="111"/>
                  </a:lnTo>
                  <a:lnTo>
                    <a:pt x="147" y="109"/>
                  </a:lnTo>
                  <a:lnTo>
                    <a:pt x="145" y="105"/>
                  </a:lnTo>
                  <a:lnTo>
                    <a:pt x="143" y="103"/>
                  </a:lnTo>
                  <a:lnTo>
                    <a:pt x="143" y="103"/>
                  </a:lnTo>
                  <a:lnTo>
                    <a:pt x="141" y="99"/>
                  </a:lnTo>
                  <a:lnTo>
                    <a:pt x="140" y="96"/>
                  </a:lnTo>
                  <a:lnTo>
                    <a:pt x="138" y="93"/>
                  </a:lnTo>
                  <a:lnTo>
                    <a:pt x="138" y="93"/>
                  </a:lnTo>
                  <a:lnTo>
                    <a:pt x="138" y="92"/>
                  </a:lnTo>
                  <a:lnTo>
                    <a:pt x="138" y="91"/>
                  </a:lnTo>
                  <a:lnTo>
                    <a:pt x="137" y="90"/>
                  </a:lnTo>
                  <a:lnTo>
                    <a:pt x="138" y="89"/>
                  </a:lnTo>
                  <a:lnTo>
                    <a:pt x="138" y="88"/>
                  </a:lnTo>
                  <a:lnTo>
                    <a:pt x="138" y="86"/>
                  </a:lnTo>
                  <a:lnTo>
                    <a:pt x="139" y="84"/>
                  </a:lnTo>
                  <a:lnTo>
                    <a:pt x="140" y="80"/>
                  </a:lnTo>
                  <a:lnTo>
                    <a:pt x="140" y="79"/>
                  </a:lnTo>
                  <a:lnTo>
                    <a:pt x="141" y="78"/>
                  </a:lnTo>
                  <a:lnTo>
                    <a:pt x="141" y="78"/>
                  </a:lnTo>
                  <a:lnTo>
                    <a:pt x="141" y="77"/>
                  </a:lnTo>
                  <a:lnTo>
                    <a:pt x="140" y="76"/>
                  </a:lnTo>
                  <a:lnTo>
                    <a:pt x="140" y="76"/>
                  </a:lnTo>
                  <a:lnTo>
                    <a:pt x="140" y="75"/>
                  </a:lnTo>
                  <a:lnTo>
                    <a:pt x="140" y="74"/>
                  </a:lnTo>
                  <a:lnTo>
                    <a:pt x="138" y="72"/>
                  </a:lnTo>
                  <a:lnTo>
                    <a:pt x="136" y="67"/>
                  </a:lnTo>
                  <a:lnTo>
                    <a:pt x="136" y="67"/>
                  </a:lnTo>
                  <a:lnTo>
                    <a:pt x="136" y="66"/>
                  </a:lnTo>
                  <a:lnTo>
                    <a:pt x="136" y="65"/>
                  </a:lnTo>
                  <a:lnTo>
                    <a:pt x="136" y="64"/>
                  </a:lnTo>
                  <a:lnTo>
                    <a:pt x="136" y="63"/>
                  </a:lnTo>
                  <a:lnTo>
                    <a:pt x="136" y="60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5" y="57"/>
                  </a:lnTo>
                  <a:lnTo>
                    <a:pt x="134" y="54"/>
                  </a:lnTo>
                  <a:lnTo>
                    <a:pt x="134" y="51"/>
                  </a:lnTo>
                  <a:lnTo>
                    <a:pt x="133" y="48"/>
                  </a:lnTo>
                  <a:lnTo>
                    <a:pt x="133" y="46"/>
                  </a:lnTo>
                  <a:lnTo>
                    <a:pt x="133" y="45"/>
                  </a:lnTo>
                  <a:lnTo>
                    <a:pt x="132" y="43"/>
                  </a:lnTo>
                  <a:lnTo>
                    <a:pt x="132" y="36"/>
                  </a:lnTo>
                  <a:lnTo>
                    <a:pt x="132" y="31"/>
                  </a:lnTo>
                  <a:lnTo>
                    <a:pt x="132" y="30"/>
                  </a:lnTo>
                  <a:lnTo>
                    <a:pt x="132" y="29"/>
                  </a:lnTo>
                  <a:lnTo>
                    <a:pt x="133" y="25"/>
                  </a:lnTo>
                  <a:lnTo>
                    <a:pt x="133" y="23"/>
                  </a:lnTo>
                  <a:lnTo>
                    <a:pt x="133" y="22"/>
                  </a:lnTo>
                  <a:lnTo>
                    <a:pt x="133" y="20"/>
                  </a:lnTo>
                  <a:lnTo>
                    <a:pt x="132" y="20"/>
                  </a:lnTo>
                  <a:lnTo>
                    <a:pt x="132" y="19"/>
                  </a:lnTo>
                  <a:lnTo>
                    <a:pt x="132" y="18"/>
                  </a:lnTo>
                  <a:lnTo>
                    <a:pt x="131" y="16"/>
                  </a:lnTo>
                  <a:lnTo>
                    <a:pt x="130" y="15"/>
                  </a:lnTo>
                  <a:lnTo>
                    <a:pt x="128" y="11"/>
                  </a:lnTo>
                  <a:lnTo>
                    <a:pt x="127" y="10"/>
                  </a:lnTo>
                  <a:lnTo>
                    <a:pt x="126" y="8"/>
                  </a:lnTo>
                  <a:lnTo>
                    <a:pt x="125" y="6"/>
                  </a:lnTo>
                  <a:lnTo>
                    <a:pt x="124" y="5"/>
                  </a:lnTo>
                  <a:lnTo>
                    <a:pt x="124" y="4"/>
                  </a:lnTo>
                  <a:lnTo>
                    <a:pt x="124" y="3"/>
                  </a:lnTo>
                  <a:lnTo>
                    <a:pt x="123" y="2"/>
                  </a:lnTo>
                  <a:lnTo>
                    <a:pt x="123" y="1"/>
                  </a:lnTo>
                  <a:lnTo>
                    <a:pt x="123" y="1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27" y="1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Freeform 23">
              <a:extLst>
                <a:ext uri="{FF2B5EF4-FFF2-40B4-BE49-F238E27FC236}">
                  <a16:creationId xmlns:a16="http://schemas.microsoft.com/office/drawing/2014/main" id="{C007DD0F-ED80-9874-71F3-4039525D9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994"/>
              <a:ext cx="436" cy="338"/>
            </a:xfrm>
            <a:custGeom>
              <a:avLst/>
              <a:gdLst>
                <a:gd name="T0" fmla="*/ 164 w 436"/>
                <a:gd name="T1" fmla="*/ 11 h 338"/>
                <a:gd name="T2" fmla="*/ 194 w 436"/>
                <a:gd name="T3" fmla="*/ 15 h 338"/>
                <a:gd name="T4" fmla="*/ 211 w 436"/>
                <a:gd name="T5" fmla="*/ 23 h 338"/>
                <a:gd name="T6" fmla="*/ 225 w 436"/>
                <a:gd name="T7" fmla="*/ 47 h 338"/>
                <a:gd name="T8" fmla="*/ 252 w 436"/>
                <a:gd name="T9" fmla="*/ 41 h 338"/>
                <a:gd name="T10" fmla="*/ 263 w 436"/>
                <a:gd name="T11" fmla="*/ 65 h 338"/>
                <a:gd name="T12" fmla="*/ 263 w 436"/>
                <a:gd name="T13" fmla="*/ 78 h 338"/>
                <a:gd name="T14" fmla="*/ 278 w 436"/>
                <a:gd name="T15" fmla="*/ 71 h 338"/>
                <a:gd name="T16" fmla="*/ 298 w 436"/>
                <a:gd name="T17" fmla="*/ 54 h 338"/>
                <a:gd name="T18" fmla="*/ 319 w 436"/>
                <a:gd name="T19" fmla="*/ 65 h 338"/>
                <a:gd name="T20" fmla="*/ 330 w 436"/>
                <a:gd name="T21" fmla="*/ 51 h 338"/>
                <a:gd name="T22" fmla="*/ 350 w 436"/>
                <a:gd name="T23" fmla="*/ 51 h 338"/>
                <a:gd name="T24" fmla="*/ 378 w 436"/>
                <a:gd name="T25" fmla="*/ 70 h 338"/>
                <a:gd name="T26" fmla="*/ 386 w 436"/>
                <a:gd name="T27" fmla="*/ 92 h 338"/>
                <a:gd name="T28" fmla="*/ 375 w 436"/>
                <a:gd name="T29" fmla="*/ 116 h 338"/>
                <a:gd name="T30" fmla="*/ 356 w 436"/>
                <a:gd name="T31" fmla="*/ 126 h 338"/>
                <a:gd name="T32" fmla="*/ 338 w 436"/>
                <a:gd name="T33" fmla="*/ 138 h 338"/>
                <a:gd name="T34" fmla="*/ 328 w 436"/>
                <a:gd name="T35" fmla="*/ 151 h 338"/>
                <a:gd name="T36" fmla="*/ 322 w 436"/>
                <a:gd name="T37" fmla="*/ 159 h 338"/>
                <a:gd name="T38" fmla="*/ 335 w 436"/>
                <a:gd name="T39" fmla="*/ 172 h 338"/>
                <a:gd name="T40" fmla="*/ 349 w 436"/>
                <a:gd name="T41" fmla="*/ 184 h 338"/>
                <a:gd name="T42" fmla="*/ 368 w 436"/>
                <a:gd name="T43" fmla="*/ 184 h 338"/>
                <a:gd name="T44" fmla="*/ 381 w 436"/>
                <a:gd name="T45" fmla="*/ 207 h 338"/>
                <a:gd name="T46" fmla="*/ 406 w 436"/>
                <a:gd name="T47" fmla="*/ 230 h 338"/>
                <a:gd name="T48" fmla="*/ 428 w 436"/>
                <a:gd name="T49" fmla="*/ 255 h 338"/>
                <a:gd name="T50" fmla="*/ 436 w 436"/>
                <a:gd name="T51" fmla="*/ 288 h 338"/>
                <a:gd name="T52" fmla="*/ 417 w 436"/>
                <a:gd name="T53" fmla="*/ 283 h 338"/>
                <a:gd name="T54" fmla="*/ 407 w 436"/>
                <a:gd name="T55" fmla="*/ 285 h 338"/>
                <a:gd name="T56" fmla="*/ 384 w 436"/>
                <a:gd name="T57" fmla="*/ 303 h 338"/>
                <a:gd name="T58" fmla="*/ 367 w 436"/>
                <a:gd name="T59" fmla="*/ 320 h 338"/>
                <a:gd name="T60" fmla="*/ 360 w 436"/>
                <a:gd name="T61" fmla="*/ 331 h 338"/>
                <a:gd name="T62" fmla="*/ 350 w 436"/>
                <a:gd name="T63" fmla="*/ 335 h 338"/>
                <a:gd name="T64" fmla="*/ 329 w 436"/>
                <a:gd name="T65" fmla="*/ 337 h 338"/>
                <a:gd name="T66" fmla="*/ 305 w 436"/>
                <a:gd name="T67" fmla="*/ 327 h 338"/>
                <a:gd name="T68" fmla="*/ 282 w 436"/>
                <a:gd name="T69" fmla="*/ 310 h 338"/>
                <a:gd name="T70" fmla="*/ 266 w 436"/>
                <a:gd name="T71" fmla="*/ 296 h 338"/>
                <a:gd name="T72" fmla="*/ 243 w 436"/>
                <a:gd name="T73" fmla="*/ 283 h 338"/>
                <a:gd name="T74" fmla="*/ 222 w 436"/>
                <a:gd name="T75" fmla="*/ 293 h 338"/>
                <a:gd name="T76" fmla="*/ 207 w 436"/>
                <a:gd name="T77" fmla="*/ 294 h 338"/>
                <a:gd name="T78" fmla="*/ 198 w 436"/>
                <a:gd name="T79" fmla="*/ 279 h 338"/>
                <a:gd name="T80" fmla="*/ 184 w 436"/>
                <a:gd name="T81" fmla="*/ 294 h 338"/>
                <a:gd name="T82" fmla="*/ 161 w 436"/>
                <a:gd name="T83" fmla="*/ 298 h 338"/>
                <a:gd name="T84" fmla="*/ 141 w 436"/>
                <a:gd name="T85" fmla="*/ 296 h 338"/>
                <a:gd name="T86" fmla="*/ 125 w 436"/>
                <a:gd name="T87" fmla="*/ 297 h 338"/>
                <a:gd name="T88" fmla="*/ 111 w 436"/>
                <a:gd name="T89" fmla="*/ 310 h 338"/>
                <a:gd name="T90" fmla="*/ 97 w 436"/>
                <a:gd name="T91" fmla="*/ 310 h 338"/>
                <a:gd name="T92" fmla="*/ 91 w 436"/>
                <a:gd name="T93" fmla="*/ 298 h 338"/>
                <a:gd name="T94" fmla="*/ 75 w 436"/>
                <a:gd name="T95" fmla="*/ 289 h 338"/>
                <a:gd name="T96" fmla="*/ 83 w 436"/>
                <a:gd name="T97" fmla="*/ 270 h 338"/>
                <a:gd name="T98" fmla="*/ 78 w 436"/>
                <a:gd name="T99" fmla="*/ 251 h 338"/>
                <a:gd name="T100" fmla="*/ 75 w 436"/>
                <a:gd name="T101" fmla="*/ 228 h 338"/>
                <a:gd name="T102" fmla="*/ 56 w 436"/>
                <a:gd name="T103" fmla="*/ 228 h 338"/>
                <a:gd name="T104" fmla="*/ 31 w 436"/>
                <a:gd name="T105" fmla="*/ 224 h 338"/>
                <a:gd name="T106" fmla="*/ 24 w 436"/>
                <a:gd name="T107" fmla="*/ 209 h 338"/>
                <a:gd name="T108" fmla="*/ 9 w 436"/>
                <a:gd name="T109" fmla="*/ 201 h 338"/>
                <a:gd name="T110" fmla="*/ 0 w 436"/>
                <a:gd name="T111" fmla="*/ 187 h 338"/>
                <a:gd name="T112" fmla="*/ 9 w 436"/>
                <a:gd name="T113" fmla="*/ 174 h 338"/>
                <a:gd name="T114" fmla="*/ 8 w 436"/>
                <a:gd name="T115" fmla="*/ 152 h 338"/>
                <a:gd name="T116" fmla="*/ 3 w 436"/>
                <a:gd name="T117" fmla="*/ 128 h 338"/>
                <a:gd name="T118" fmla="*/ 21 w 436"/>
                <a:gd name="T119" fmla="*/ 126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6" h="338">
                  <a:moveTo>
                    <a:pt x="127" y="0"/>
                  </a:moveTo>
                  <a:lnTo>
                    <a:pt x="129" y="0"/>
                  </a:lnTo>
                  <a:lnTo>
                    <a:pt x="135" y="0"/>
                  </a:lnTo>
                  <a:lnTo>
                    <a:pt x="137" y="1"/>
                  </a:lnTo>
                  <a:lnTo>
                    <a:pt x="139" y="1"/>
                  </a:lnTo>
                  <a:lnTo>
                    <a:pt x="141" y="1"/>
                  </a:lnTo>
                  <a:lnTo>
                    <a:pt x="143" y="2"/>
                  </a:lnTo>
                  <a:lnTo>
                    <a:pt x="144" y="2"/>
                  </a:lnTo>
                  <a:lnTo>
                    <a:pt x="145" y="3"/>
                  </a:lnTo>
                  <a:lnTo>
                    <a:pt x="146" y="3"/>
                  </a:lnTo>
                  <a:lnTo>
                    <a:pt x="150" y="5"/>
                  </a:lnTo>
                  <a:lnTo>
                    <a:pt x="152" y="6"/>
                  </a:lnTo>
                  <a:lnTo>
                    <a:pt x="155" y="8"/>
                  </a:lnTo>
                  <a:lnTo>
                    <a:pt x="160" y="9"/>
                  </a:lnTo>
                  <a:lnTo>
                    <a:pt x="161" y="10"/>
                  </a:lnTo>
                  <a:lnTo>
                    <a:pt x="163" y="11"/>
                  </a:lnTo>
                  <a:lnTo>
                    <a:pt x="164" y="11"/>
                  </a:lnTo>
                  <a:lnTo>
                    <a:pt x="165" y="12"/>
                  </a:lnTo>
                  <a:lnTo>
                    <a:pt x="166" y="13"/>
                  </a:lnTo>
                  <a:lnTo>
                    <a:pt x="170" y="15"/>
                  </a:lnTo>
                  <a:lnTo>
                    <a:pt x="170" y="16"/>
                  </a:lnTo>
                  <a:lnTo>
                    <a:pt x="171" y="16"/>
                  </a:lnTo>
                  <a:lnTo>
                    <a:pt x="173" y="17"/>
                  </a:lnTo>
                  <a:lnTo>
                    <a:pt x="174" y="17"/>
                  </a:lnTo>
                  <a:lnTo>
                    <a:pt x="175" y="17"/>
                  </a:lnTo>
                  <a:lnTo>
                    <a:pt x="175" y="18"/>
                  </a:lnTo>
                  <a:lnTo>
                    <a:pt x="176" y="18"/>
                  </a:lnTo>
                  <a:lnTo>
                    <a:pt x="178" y="18"/>
                  </a:lnTo>
                  <a:lnTo>
                    <a:pt x="181" y="18"/>
                  </a:lnTo>
                  <a:lnTo>
                    <a:pt x="183" y="18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87" y="17"/>
                  </a:lnTo>
                  <a:lnTo>
                    <a:pt x="194" y="15"/>
                  </a:lnTo>
                  <a:lnTo>
                    <a:pt x="196" y="15"/>
                  </a:lnTo>
                  <a:lnTo>
                    <a:pt x="199" y="13"/>
                  </a:lnTo>
                  <a:lnTo>
                    <a:pt x="200" y="13"/>
                  </a:lnTo>
                  <a:lnTo>
                    <a:pt x="201" y="13"/>
                  </a:lnTo>
                  <a:lnTo>
                    <a:pt x="203" y="12"/>
                  </a:lnTo>
                  <a:lnTo>
                    <a:pt x="204" y="12"/>
                  </a:lnTo>
                  <a:lnTo>
                    <a:pt x="204" y="13"/>
                  </a:lnTo>
                  <a:lnTo>
                    <a:pt x="205" y="13"/>
                  </a:lnTo>
                  <a:lnTo>
                    <a:pt x="206" y="13"/>
                  </a:lnTo>
                  <a:lnTo>
                    <a:pt x="206" y="14"/>
                  </a:lnTo>
                  <a:lnTo>
                    <a:pt x="207" y="14"/>
                  </a:lnTo>
                  <a:lnTo>
                    <a:pt x="208" y="15"/>
                  </a:lnTo>
                  <a:lnTo>
                    <a:pt x="209" y="16"/>
                  </a:lnTo>
                  <a:lnTo>
                    <a:pt x="209" y="17"/>
                  </a:lnTo>
                  <a:lnTo>
                    <a:pt x="210" y="18"/>
                  </a:lnTo>
                  <a:lnTo>
                    <a:pt x="210" y="19"/>
                  </a:lnTo>
                  <a:lnTo>
                    <a:pt x="211" y="23"/>
                  </a:lnTo>
                  <a:lnTo>
                    <a:pt x="212" y="25"/>
                  </a:lnTo>
                  <a:lnTo>
                    <a:pt x="213" y="27"/>
                  </a:lnTo>
                  <a:lnTo>
                    <a:pt x="216" y="33"/>
                  </a:lnTo>
                  <a:lnTo>
                    <a:pt x="217" y="37"/>
                  </a:lnTo>
                  <a:lnTo>
                    <a:pt x="219" y="40"/>
                  </a:lnTo>
                  <a:lnTo>
                    <a:pt x="219" y="42"/>
                  </a:lnTo>
                  <a:lnTo>
                    <a:pt x="220" y="43"/>
                  </a:lnTo>
                  <a:lnTo>
                    <a:pt x="221" y="44"/>
                  </a:lnTo>
                  <a:lnTo>
                    <a:pt x="221" y="45"/>
                  </a:lnTo>
                  <a:lnTo>
                    <a:pt x="222" y="45"/>
                  </a:lnTo>
                  <a:lnTo>
                    <a:pt x="222" y="45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4" y="47"/>
                  </a:lnTo>
                  <a:lnTo>
                    <a:pt x="225" y="47"/>
                  </a:lnTo>
                  <a:lnTo>
                    <a:pt x="225" y="47"/>
                  </a:lnTo>
                  <a:lnTo>
                    <a:pt x="226" y="47"/>
                  </a:lnTo>
                  <a:lnTo>
                    <a:pt x="227" y="47"/>
                  </a:lnTo>
                  <a:lnTo>
                    <a:pt x="228" y="46"/>
                  </a:lnTo>
                  <a:lnTo>
                    <a:pt x="229" y="46"/>
                  </a:lnTo>
                  <a:lnTo>
                    <a:pt x="231" y="45"/>
                  </a:lnTo>
                  <a:lnTo>
                    <a:pt x="236" y="44"/>
                  </a:lnTo>
                  <a:lnTo>
                    <a:pt x="238" y="43"/>
                  </a:lnTo>
                  <a:lnTo>
                    <a:pt x="241" y="42"/>
                  </a:lnTo>
                  <a:lnTo>
                    <a:pt x="242" y="42"/>
                  </a:lnTo>
                  <a:lnTo>
                    <a:pt x="244" y="41"/>
                  </a:lnTo>
                  <a:lnTo>
                    <a:pt x="245" y="41"/>
                  </a:lnTo>
                  <a:lnTo>
                    <a:pt x="247" y="41"/>
                  </a:lnTo>
                  <a:lnTo>
                    <a:pt x="247" y="40"/>
                  </a:lnTo>
                  <a:lnTo>
                    <a:pt x="249" y="40"/>
                  </a:lnTo>
                  <a:lnTo>
                    <a:pt x="250" y="40"/>
                  </a:lnTo>
                  <a:lnTo>
                    <a:pt x="251" y="41"/>
                  </a:lnTo>
                  <a:lnTo>
                    <a:pt x="252" y="41"/>
                  </a:lnTo>
                  <a:lnTo>
                    <a:pt x="253" y="42"/>
                  </a:lnTo>
                  <a:lnTo>
                    <a:pt x="254" y="42"/>
                  </a:lnTo>
                  <a:lnTo>
                    <a:pt x="255" y="43"/>
                  </a:lnTo>
                  <a:lnTo>
                    <a:pt x="256" y="44"/>
                  </a:lnTo>
                  <a:lnTo>
                    <a:pt x="257" y="44"/>
                  </a:lnTo>
                  <a:lnTo>
                    <a:pt x="257" y="45"/>
                  </a:lnTo>
                  <a:lnTo>
                    <a:pt x="258" y="46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60" y="49"/>
                  </a:lnTo>
                  <a:lnTo>
                    <a:pt x="260" y="51"/>
                  </a:lnTo>
                  <a:lnTo>
                    <a:pt x="261" y="53"/>
                  </a:lnTo>
                  <a:lnTo>
                    <a:pt x="262" y="55"/>
                  </a:lnTo>
                  <a:lnTo>
                    <a:pt x="262" y="57"/>
                  </a:lnTo>
                  <a:lnTo>
                    <a:pt x="262" y="60"/>
                  </a:lnTo>
                  <a:lnTo>
                    <a:pt x="263" y="64"/>
                  </a:lnTo>
                  <a:lnTo>
                    <a:pt x="263" y="65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3" y="67"/>
                  </a:lnTo>
                  <a:lnTo>
                    <a:pt x="263" y="68"/>
                  </a:lnTo>
                  <a:lnTo>
                    <a:pt x="263" y="68"/>
                  </a:lnTo>
                  <a:lnTo>
                    <a:pt x="263" y="69"/>
                  </a:lnTo>
                  <a:lnTo>
                    <a:pt x="261" y="72"/>
                  </a:lnTo>
                  <a:lnTo>
                    <a:pt x="261" y="73"/>
                  </a:lnTo>
                  <a:lnTo>
                    <a:pt x="261" y="73"/>
                  </a:lnTo>
                  <a:lnTo>
                    <a:pt x="260" y="74"/>
                  </a:lnTo>
                  <a:lnTo>
                    <a:pt x="260" y="75"/>
                  </a:lnTo>
                  <a:lnTo>
                    <a:pt x="261" y="75"/>
                  </a:lnTo>
                  <a:lnTo>
                    <a:pt x="261" y="76"/>
                  </a:lnTo>
                  <a:lnTo>
                    <a:pt x="261" y="76"/>
                  </a:lnTo>
                  <a:lnTo>
                    <a:pt x="262" y="77"/>
                  </a:lnTo>
                  <a:lnTo>
                    <a:pt x="262" y="78"/>
                  </a:lnTo>
                  <a:lnTo>
                    <a:pt x="263" y="78"/>
                  </a:lnTo>
                  <a:lnTo>
                    <a:pt x="264" y="78"/>
                  </a:lnTo>
                  <a:lnTo>
                    <a:pt x="265" y="79"/>
                  </a:lnTo>
                  <a:lnTo>
                    <a:pt x="266" y="79"/>
                  </a:lnTo>
                  <a:lnTo>
                    <a:pt x="267" y="79"/>
                  </a:lnTo>
                  <a:lnTo>
                    <a:pt x="267" y="79"/>
                  </a:lnTo>
                  <a:lnTo>
                    <a:pt x="268" y="79"/>
                  </a:lnTo>
                  <a:lnTo>
                    <a:pt x="269" y="78"/>
                  </a:lnTo>
                  <a:lnTo>
                    <a:pt x="270" y="78"/>
                  </a:lnTo>
                  <a:lnTo>
                    <a:pt x="272" y="77"/>
                  </a:lnTo>
                  <a:lnTo>
                    <a:pt x="274" y="75"/>
                  </a:lnTo>
                  <a:lnTo>
                    <a:pt x="275" y="75"/>
                  </a:lnTo>
                  <a:lnTo>
                    <a:pt x="276" y="74"/>
                  </a:lnTo>
                  <a:lnTo>
                    <a:pt x="276" y="74"/>
                  </a:lnTo>
                  <a:lnTo>
                    <a:pt x="276" y="73"/>
                  </a:lnTo>
                  <a:lnTo>
                    <a:pt x="277" y="73"/>
                  </a:lnTo>
                  <a:lnTo>
                    <a:pt x="277" y="72"/>
                  </a:lnTo>
                  <a:lnTo>
                    <a:pt x="278" y="71"/>
                  </a:lnTo>
                  <a:lnTo>
                    <a:pt x="280" y="67"/>
                  </a:lnTo>
                  <a:lnTo>
                    <a:pt x="281" y="64"/>
                  </a:lnTo>
                  <a:lnTo>
                    <a:pt x="282" y="63"/>
                  </a:lnTo>
                  <a:lnTo>
                    <a:pt x="283" y="61"/>
                  </a:lnTo>
                  <a:lnTo>
                    <a:pt x="285" y="60"/>
                  </a:lnTo>
                  <a:lnTo>
                    <a:pt x="286" y="58"/>
                  </a:lnTo>
                  <a:lnTo>
                    <a:pt x="287" y="57"/>
                  </a:lnTo>
                  <a:lnTo>
                    <a:pt x="289" y="56"/>
                  </a:lnTo>
                  <a:lnTo>
                    <a:pt x="290" y="55"/>
                  </a:lnTo>
                  <a:lnTo>
                    <a:pt x="291" y="54"/>
                  </a:lnTo>
                  <a:lnTo>
                    <a:pt x="291" y="54"/>
                  </a:lnTo>
                  <a:lnTo>
                    <a:pt x="292" y="54"/>
                  </a:lnTo>
                  <a:lnTo>
                    <a:pt x="293" y="53"/>
                  </a:lnTo>
                  <a:lnTo>
                    <a:pt x="295" y="53"/>
                  </a:lnTo>
                  <a:lnTo>
                    <a:pt x="296" y="54"/>
                  </a:lnTo>
                  <a:lnTo>
                    <a:pt x="297" y="54"/>
                  </a:lnTo>
                  <a:lnTo>
                    <a:pt x="298" y="54"/>
                  </a:lnTo>
                  <a:lnTo>
                    <a:pt x="299" y="55"/>
                  </a:lnTo>
                  <a:lnTo>
                    <a:pt x="304" y="57"/>
                  </a:lnTo>
                  <a:lnTo>
                    <a:pt x="305" y="57"/>
                  </a:lnTo>
                  <a:lnTo>
                    <a:pt x="306" y="58"/>
                  </a:lnTo>
                  <a:lnTo>
                    <a:pt x="307" y="59"/>
                  </a:lnTo>
                  <a:lnTo>
                    <a:pt x="309" y="60"/>
                  </a:lnTo>
                  <a:lnTo>
                    <a:pt x="310" y="61"/>
                  </a:lnTo>
                  <a:lnTo>
                    <a:pt x="313" y="64"/>
                  </a:lnTo>
                  <a:lnTo>
                    <a:pt x="314" y="64"/>
                  </a:lnTo>
                  <a:lnTo>
                    <a:pt x="315" y="65"/>
                  </a:lnTo>
                  <a:lnTo>
                    <a:pt x="315" y="65"/>
                  </a:lnTo>
                  <a:lnTo>
                    <a:pt x="316" y="65"/>
                  </a:lnTo>
                  <a:lnTo>
                    <a:pt x="316" y="65"/>
                  </a:lnTo>
                  <a:lnTo>
                    <a:pt x="317" y="65"/>
                  </a:lnTo>
                  <a:lnTo>
                    <a:pt x="318" y="65"/>
                  </a:lnTo>
                  <a:lnTo>
                    <a:pt x="319" y="65"/>
                  </a:lnTo>
                  <a:lnTo>
                    <a:pt x="319" y="65"/>
                  </a:lnTo>
                  <a:lnTo>
                    <a:pt x="320" y="65"/>
                  </a:lnTo>
                  <a:lnTo>
                    <a:pt x="321" y="65"/>
                  </a:lnTo>
                  <a:lnTo>
                    <a:pt x="322" y="64"/>
                  </a:lnTo>
                  <a:lnTo>
                    <a:pt x="322" y="64"/>
                  </a:lnTo>
                  <a:lnTo>
                    <a:pt x="323" y="63"/>
                  </a:lnTo>
                  <a:lnTo>
                    <a:pt x="323" y="63"/>
                  </a:lnTo>
                  <a:lnTo>
                    <a:pt x="324" y="62"/>
                  </a:lnTo>
                  <a:lnTo>
                    <a:pt x="324" y="62"/>
                  </a:lnTo>
                  <a:lnTo>
                    <a:pt x="325" y="61"/>
                  </a:lnTo>
                  <a:lnTo>
                    <a:pt x="325" y="60"/>
                  </a:lnTo>
                  <a:lnTo>
                    <a:pt x="326" y="56"/>
                  </a:lnTo>
                  <a:lnTo>
                    <a:pt x="327" y="54"/>
                  </a:lnTo>
                  <a:lnTo>
                    <a:pt x="328" y="53"/>
                  </a:lnTo>
                  <a:lnTo>
                    <a:pt x="329" y="52"/>
                  </a:lnTo>
                  <a:lnTo>
                    <a:pt x="329" y="52"/>
                  </a:lnTo>
                  <a:lnTo>
                    <a:pt x="330" y="51"/>
                  </a:lnTo>
                  <a:lnTo>
                    <a:pt x="330" y="51"/>
                  </a:lnTo>
                  <a:lnTo>
                    <a:pt x="330" y="50"/>
                  </a:lnTo>
                  <a:lnTo>
                    <a:pt x="331" y="50"/>
                  </a:lnTo>
                  <a:lnTo>
                    <a:pt x="332" y="49"/>
                  </a:lnTo>
                  <a:lnTo>
                    <a:pt x="332" y="49"/>
                  </a:lnTo>
                  <a:lnTo>
                    <a:pt x="333" y="49"/>
                  </a:lnTo>
                  <a:lnTo>
                    <a:pt x="334" y="49"/>
                  </a:lnTo>
                  <a:lnTo>
                    <a:pt x="335" y="49"/>
                  </a:lnTo>
                  <a:lnTo>
                    <a:pt x="336" y="49"/>
                  </a:lnTo>
                  <a:lnTo>
                    <a:pt x="338" y="49"/>
                  </a:lnTo>
                  <a:lnTo>
                    <a:pt x="339" y="49"/>
                  </a:lnTo>
                  <a:lnTo>
                    <a:pt x="340" y="49"/>
                  </a:lnTo>
                  <a:lnTo>
                    <a:pt x="341" y="49"/>
                  </a:lnTo>
                  <a:lnTo>
                    <a:pt x="345" y="50"/>
                  </a:lnTo>
                  <a:lnTo>
                    <a:pt x="346" y="50"/>
                  </a:lnTo>
                  <a:lnTo>
                    <a:pt x="347" y="50"/>
                  </a:lnTo>
                  <a:lnTo>
                    <a:pt x="348" y="51"/>
                  </a:lnTo>
                  <a:lnTo>
                    <a:pt x="350" y="51"/>
                  </a:lnTo>
                  <a:lnTo>
                    <a:pt x="353" y="51"/>
                  </a:lnTo>
                  <a:lnTo>
                    <a:pt x="354" y="51"/>
                  </a:lnTo>
                  <a:lnTo>
                    <a:pt x="356" y="51"/>
                  </a:lnTo>
                  <a:lnTo>
                    <a:pt x="357" y="51"/>
                  </a:lnTo>
                  <a:lnTo>
                    <a:pt x="358" y="51"/>
                  </a:lnTo>
                  <a:lnTo>
                    <a:pt x="359" y="52"/>
                  </a:lnTo>
                  <a:lnTo>
                    <a:pt x="360" y="52"/>
                  </a:lnTo>
                  <a:lnTo>
                    <a:pt x="361" y="53"/>
                  </a:lnTo>
                  <a:lnTo>
                    <a:pt x="362" y="54"/>
                  </a:lnTo>
                  <a:lnTo>
                    <a:pt x="365" y="56"/>
                  </a:lnTo>
                  <a:lnTo>
                    <a:pt x="367" y="58"/>
                  </a:lnTo>
                  <a:lnTo>
                    <a:pt x="367" y="58"/>
                  </a:lnTo>
                  <a:lnTo>
                    <a:pt x="369" y="60"/>
                  </a:lnTo>
                  <a:lnTo>
                    <a:pt x="371" y="63"/>
                  </a:lnTo>
                  <a:lnTo>
                    <a:pt x="374" y="66"/>
                  </a:lnTo>
                  <a:lnTo>
                    <a:pt x="376" y="68"/>
                  </a:lnTo>
                  <a:lnTo>
                    <a:pt x="378" y="70"/>
                  </a:lnTo>
                  <a:lnTo>
                    <a:pt x="381" y="73"/>
                  </a:lnTo>
                  <a:lnTo>
                    <a:pt x="383" y="75"/>
                  </a:lnTo>
                  <a:lnTo>
                    <a:pt x="385" y="77"/>
                  </a:lnTo>
                  <a:lnTo>
                    <a:pt x="386" y="79"/>
                  </a:lnTo>
                  <a:lnTo>
                    <a:pt x="388" y="80"/>
                  </a:lnTo>
                  <a:lnTo>
                    <a:pt x="388" y="82"/>
                  </a:lnTo>
                  <a:lnTo>
                    <a:pt x="389" y="83"/>
                  </a:lnTo>
                  <a:lnTo>
                    <a:pt x="389" y="84"/>
                  </a:lnTo>
                  <a:lnTo>
                    <a:pt x="389" y="85"/>
                  </a:lnTo>
                  <a:lnTo>
                    <a:pt x="389" y="86"/>
                  </a:lnTo>
                  <a:lnTo>
                    <a:pt x="389" y="87"/>
                  </a:lnTo>
                  <a:lnTo>
                    <a:pt x="389" y="88"/>
                  </a:lnTo>
                  <a:lnTo>
                    <a:pt x="389" y="89"/>
                  </a:lnTo>
                  <a:lnTo>
                    <a:pt x="389" y="89"/>
                  </a:lnTo>
                  <a:lnTo>
                    <a:pt x="388" y="90"/>
                  </a:lnTo>
                  <a:lnTo>
                    <a:pt x="388" y="91"/>
                  </a:lnTo>
                  <a:lnTo>
                    <a:pt x="386" y="92"/>
                  </a:lnTo>
                  <a:lnTo>
                    <a:pt x="384" y="94"/>
                  </a:lnTo>
                  <a:lnTo>
                    <a:pt x="384" y="95"/>
                  </a:lnTo>
                  <a:lnTo>
                    <a:pt x="383" y="95"/>
                  </a:lnTo>
                  <a:lnTo>
                    <a:pt x="383" y="96"/>
                  </a:lnTo>
                  <a:lnTo>
                    <a:pt x="382" y="97"/>
                  </a:lnTo>
                  <a:lnTo>
                    <a:pt x="381" y="100"/>
                  </a:lnTo>
                  <a:lnTo>
                    <a:pt x="381" y="102"/>
                  </a:lnTo>
                  <a:lnTo>
                    <a:pt x="380" y="103"/>
                  </a:lnTo>
                  <a:lnTo>
                    <a:pt x="379" y="106"/>
                  </a:lnTo>
                  <a:lnTo>
                    <a:pt x="378" y="107"/>
                  </a:lnTo>
                  <a:lnTo>
                    <a:pt x="378" y="108"/>
                  </a:lnTo>
                  <a:lnTo>
                    <a:pt x="378" y="110"/>
                  </a:lnTo>
                  <a:lnTo>
                    <a:pt x="378" y="111"/>
                  </a:lnTo>
                  <a:lnTo>
                    <a:pt x="377" y="112"/>
                  </a:lnTo>
                  <a:lnTo>
                    <a:pt x="377" y="113"/>
                  </a:lnTo>
                  <a:lnTo>
                    <a:pt x="376" y="115"/>
                  </a:lnTo>
                  <a:lnTo>
                    <a:pt x="375" y="116"/>
                  </a:lnTo>
                  <a:lnTo>
                    <a:pt x="373" y="117"/>
                  </a:lnTo>
                  <a:lnTo>
                    <a:pt x="370" y="121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7" y="124"/>
                  </a:lnTo>
                  <a:lnTo>
                    <a:pt x="366" y="124"/>
                  </a:lnTo>
                  <a:lnTo>
                    <a:pt x="366" y="125"/>
                  </a:lnTo>
                  <a:lnTo>
                    <a:pt x="365" y="125"/>
                  </a:lnTo>
                  <a:lnTo>
                    <a:pt x="364" y="125"/>
                  </a:lnTo>
                  <a:lnTo>
                    <a:pt x="363" y="126"/>
                  </a:lnTo>
                  <a:lnTo>
                    <a:pt x="362" y="126"/>
                  </a:lnTo>
                  <a:lnTo>
                    <a:pt x="361" y="126"/>
                  </a:lnTo>
                  <a:lnTo>
                    <a:pt x="359" y="125"/>
                  </a:lnTo>
                  <a:lnTo>
                    <a:pt x="357" y="125"/>
                  </a:lnTo>
                  <a:lnTo>
                    <a:pt x="357" y="125"/>
                  </a:lnTo>
                  <a:lnTo>
                    <a:pt x="356" y="125"/>
                  </a:lnTo>
                  <a:lnTo>
                    <a:pt x="356" y="126"/>
                  </a:lnTo>
                  <a:lnTo>
                    <a:pt x="355" y="126"/>
                  </a:lnTo>
                  <a:lnTo>
                    <a:pt x="355" y="126"/>
                  </a:lnTo>
                  <a:lnTo>
                    <a:pt x="354" y="127"/>
                  </a:lnTo>
                  <a:lnTo>
                    <a:pt x="354" y="127"/>
                  </a:lnTo>
                  <a:lnTo>
                    <a:pt x="352" y="129"/>
                  </a:lnTo>
                  <a:lnTo>
                    <a:pt x="350" y="131"/>
                  </a:lnTo>
                  <a:lnTo>
                    <a:pt x="349" y="132"/>
                  </a:lnTo>
                  <a:lnTo>
                    <a:pt x="348" y="133"/>
                  </a:lnTo>
                  <a:lnTo>
                    <a:pt x="347" y="134"/>
                  </a:lnTo>
                  <a:lnTo>
                    <a:pt x="346" y="134"/>
                  </a:lnTo>
                  <a:lnTo>
                    <a:pt x="345" y="134"/>
                  </a:lnTo>
                  <a:lnTo>
                    <a:pt x="343" y="135"/>
                  </a:lnTo>
                  <a:lnTo>
                    <a:pt x="343" y="135"/>
                  </a:lnTo>
                  <a:lnTo>
                    <a:pt x="342" y="135"/>
                  </a:lnTo>
                  <a:lnTo>
                    <a:pt x="341" y="136"/>
                  </a:lnTo>
                  <a:lnTo>
                    <a:pt x="339" y="137"/>
                  </a:lnTo>
                  <a:lnTo>
                    <a:pt x="338" y="138"/>
                  </a:lnTo>
                  <a:lnTo>
                    <a:pt x="337" y="138"/>
                  </a:lnTo>
                  <a:lnTo>
                    <a:pt x="337" y="139"/>
                  </a:lnTo>
                  <a:lnTo>
                    <a:pt x="335" y="140"/>
                  </a:lnTo>
                  <a:lnTo>
                    <a:pt x="335" y="141"/>
                  </a:lnTo>
                  <a:lnTo>
                    <a:pt x="334" y="142"/>
                  </a:lnTo>
                  <a:lnTo>
                    <a:pt x="332" y="143"/>
                  </a:lnTo>
                  <a:lnTo>
                    <a:pt x="332" y="143"/>
                  </a:lnTo>
                  <a:lnTo>
                    <a:pt x="331" y="144"/>
                  </a:lnTo>
                  <a:lnTo>
                    <a:pt x="330" y="145"/>
                  </a:lnTo>
                  <a:lnTo>
                    <a:pt x="330" y="146"/>
                  </a:lnTo>
                  <a:lnTo>
                    <a:pt x="329" y="146"/>
                  </a:lnTo>
                  <a:lnTo>
                    <a:pt x="329" y="147"/>
                  </a:lnTo>
                  <a:lnTo>
                    <a:pt x="329" y="148"/>
                  </a:lnTo>
                  <a:lnTo>
                    <a:pt x="329" y="149"/>
                  </a:lnTo>
                  <a:lnTo>
                    <a:pt x="329" y="150"/>
                  </a:lnTo>
                  <a:lnTo>
                    <a:pt x="328" y="150"/>
                  </a:lnTo>
                  <a:lnTo>
                    <a:pt x="328" y="151"/>
                  </a:lnTo>
                  <a:lnTo>
                    <a:pt x="327" y="151"/>
                  </a:lnTo>
                  <a:lnTo>
                    <a:pt x="327" y="151"/>
                  </a:lnTo>
                  <a:lnTo>
                    <a:pt x="326" y="151"/>
                  </a:lnTo>
                  <a:lnTo>
                    <a:pt x="325" y="151"/>
                  </a:lnTo>
                  <a:lnTo>
                    <a:pt x="325" y="151"/>
                  </a:lnTo>
                  <a:lnTo>
                    <a:pt x="324" y="152"/>
                  </a:lnTo>
                  <a:lnTo>
                    <a:pt x="324" y="152"/>
                  </a:lnTo>
                  <a:lnTo>
                    <a:pt x="324" y="152"/>
                  </a:lnTo>
                  <a:lnTo>
                    <a:pt x="323" y="153"/>
                  </a:lnTo>
                  <a:lnTo>
                    <a:pt x="323" y="153"/>
                  </a:lnTo>
                  <a:lnTo>
                    <a:pt x="322" y="154"/>
                  </a:lnTo>
                  <a:lnTo>
                    <a:pt x="322" y="155"/>
                  </a:lnTo>
                  <a:lnTo>
                    <a:pt x="322" y="155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9"/>
                  </a:lnTo>
                  <a:lnTo>
                    <a:pt x="322" y="159"/>
                  </a:lnTo>
                  <a:lnTo>
                    <a:pt x="323" y="160"/>
                  </a:lnTo>
                  <a:lnTo>
                    <a:pt x="324" y="163"/>
                  </a:lnTo>
                  <a:lnTo>
                    <a:pt x="325" y="165"/>
                  </a:lnTo>
                  <a:lnTo>
                    <a:pt x="326" y="166"/>
                  </a:lnTo>
                  <a:lnTo>
                    <a:pt x="326" y="166"/>
                  </a:lnTo>
                  <a:lnTo>
                    <a:pt x="327" y="167"/>
                  </a:lnTo>
                  <a:lnTo>
                    <a:pt x="327" y="167"/>
                  </a:lnTo>
                  <a:lnTo>
                    <a:pt x="328" y="167"/>
                  </a:lnTo>
                  <a:lnTo>
                    <a:pt x="329" y="168"/>
                  </a:lnTo>
                  <a:lnTo>
                    <a:pt x="331" y="168"/>
                  </a:lnTo>
                  <a:lnTo>
                    <a:pt x="331" y="168"/>
                  </a:lnTo>
                  <a:lnTo>
                    <a:pt x="332" y="169"/>
                  </a:lnTo>
                  <a:lnTo>
                    <a:pt x="333" y="170"/>
                  </a:lnTo>
                  <a:lnTo>
                    <a:pt x="334" y="170"/>
                  </a:lnTo>
                  <a:lnTo>
                    <a:pt x="335" y="171"/>
                  </a:lnTo>
                  <a:lnTo>
                    <a:pt x="335" y="172"/>
                  </a:lnTo>
                  <a:lnTo>
                    <a:pt x="337" y="175"/>
                  </a:lnTo>
                  <a:lnTo>
                    <a:pt x="338" y="175"/>
                  </a:lnTo>
                  <a:lnTo>
                    <a:pt x="339" y="177"/>
                  </a:lnTo>
                  <a:lnTo>
                    <a:pt x="339" y="177"/>
                  </a:lnTo>
                  <a:lnTo>
                    <a:pt x="340" y="179"/>
                  </a:lnTo>
                  <a:lnTo>
                    <a:pt x="342" y="180"/>
                  </a:lnTo>
                  <a:lnTo>
                    <a:pt x="342" y="181"/>
                  </a:lnTo>
                  <a:lnTo>
                    <a:pt x="343" y="182"/>
                  </a:lnTo>
                  <a:lnTo>
                    <a:pt x="344" y="183"/>
                  </a:lnTo>
                  <a:lnTo>
                    <a:pt x="344" y="184"/>
                  </a:lnTo>
                  <a:lnTo>
                    <a:pt x="345" y="184"/>
                  </a:lnTo>
                  <a:lnTo>
                    <a:pt x="346" y="185"/>
                  </a:lnTo>
                  <a:lnTo>
                    <a:pt x="346" y="185"/>
                  </a:lnTo>
                  <a:lnTo>
                    <a:pt x="347" y="185"/>
                  </a:lnTo>
                  <a:lnTo>
                    <a:pt x="348" y="185"/>
                  </a:lnTo>
                  <a:lnTo>
                    <a:pt x="348" y="185"/>
                  </a:lnTo>
                  <a:lnTo>
                    <a:pt x="349" y="184"/>
                  </a:lnTo>
                  <a:lnTo>
                    <a:pt x="352" y="183"/>
                  </a:lnTo>
                  <a:lnTo>
                    <a:pt x="353" y="182"/>
                  </a:lnTo>
                  <a:lnTo>
                    <a:pt x="353" y="182"/>
                  </a:lnTo>
                  <a:lnTo>
                    <a:pt x="354" y="182"/>
                  </a:lnTo>
                  <a:lnTo>
                    <a:pt x="355" y="182"/>
                  </a:lnTo>
                  <a:lnTo>
                    <a:pt x="356" y="182"/>
                  </a:lnTo>
                  <a:lnTo>
                    <a:pt x="358" y="182"/>
                  </a:lnTo>
                  <a:lnTo>
                    <a:pt x="359" y="182"/>
                  </a:lnTo>
                  <a:lnTo>
                    <a:pt x="361" y="182"/>
                  </a:lnTo>
                  <a:lnTo>
                    <a:pt x="362" y="182"/>
                  </a:lnTo>
                  <a:lnTo>
                    <a:pt x="363" y="182"/>
                  </a:lnTo>
                  <a:lnTo>
                    <a:pt x="365" y="182"/>
                  </a:lnTo>
                  <a:lnTo>
                    <a:pt x="365" y="183"/>
                  </a:lnTo>
                  <a:lnTo>
                    <a:pt x="366" y="183"/>
                  </a:lnTo>
                  <a:lnTo>
                    <a:pt x="367" y="184"/>
                  </a:lnTo>
                  <a:lnTo>
                    <a:pt x="368" y="184"/>
                  </a:lnTo>
                  <a:lnTo>
                    <a:pt x="368" y="184"/>
                  </a:lnTo>
                  <a:lnTo>
                    <a:pt x="368" y="185"/>
                  </a:lnTo>
                  <a:lnTo>
                    <a:pt x="369" y="186"/>
                  </a:lnTo>
                  <a:lnTo>
                    <a:pt x="370" y="188"/>
                  </a:lnTo>
                  <a:lnTo>
                    <a:pt x="370" y="189"/>
                  </a:lnTo>
                  <a:lnTo>
                    <a:pt x="371" y="193"/>
                  </a:lnTo>
                  <a:lnTo>
                    <a:pt x="372" y="195"/>
                  </a:lnTo>
                  <a:lnTo>
                    <a:pt x="372" y="196"/>
                  </a:lnTo>
                  <a:lnTo>
                    <a:pt x="373" y="197"/>
                  </a:lnTo>
                  <a:lnTo>
                    <a:pt x="373" y="199"/>
                  </a:lnTo>
                  <a:lnTo>
                    <a:pt x="374" y="200"/>
                  </a:lnTo>
                  <a:lnTo>
                    <a:pt x="375" y="202"/>
                  </a:lnTo>
                  <a:lnTo>
                    <a:pt x="376" y="202"/>
                  </a:lnTo>
                  <a:lnTo>
                    <a:pt x="377" y="204"/>
                  </a:lnTo>
                  <a:lnTo>
                    <a:pt x="378" y="204"/>
                  </a:lnTo>
                  <a:lnTo>
                    <a:pt x="379" y="205"/>
                  </a:lnTo>
                  <a:lnTo>
                    <a:pt x="380" y="206"/>
                  </a:lnTo>
                  <a:lnTo>
                    <a:pt x="381" y="207"/>
                  </a:lnTo>
                  <a:lnTo>
                    <a:pt x="382" y="207"/>
                  </a:lnTo>
                  <a:lnTo>
                    <a:pt x="383" y="207"/>
                  </a:lnTo>
                  <a:lnTo>
                    <a:pt x="386" y="207"/>
                  </a:lnTo>
                  <a:lnTo>
                    <a:pt x="387" y="208"/>
                  </a:lnTo>
                  <a:lnTo>
                    <a:pt x="388" y="208"/>
                  </a:lnTo>
                  <a:lnTo>
                    <a:pt x="389" y="209"/>
                  </a:lnTo>
                  <a:lnTo>
                    <a:pt x="390" y="209"/>
                  </a:lnTo>
                  <a:lnTo>
                    <a:pt x="391" y="210"/>
                  </a:lnTo>
                  <a:lnTo>
                    <a:pt x="392" y="211"/>
                  </a:lnTo>
                  <a:lnTo>
                    <a:pt x="394" y="212"/>
                  </a:lnTo>
                  <a:lnTo>
                    <a:pt x="395" y="214"/>
                  </a:lnTo>
                  <a:lnTo>
                    <a:pt x="397" y="217"/>
                  </a:lnTo>
                  <a:lnTo>
                    <a:pt x="399" y="219"/>
                  </a:lnTo>
                  <a:lnTo>
                    <a:pt x="400" y="221"/>
                  </a:lnTo>
                  <a:lnTo>
                    <a:pt x="402" y="224"/>
                  </a:lnTo>
                  <a:lnTo>
                    <a:pt x="404" y="228"/>
                  </a:lnTo>
                  <a:lnTo>
                    <a:pt x="406" y="230"/>
                  </a:lnTo>
                  <a:lnTo>
                    <a:pt x="408" y="233"/>
                  </a:lnTo>
                  <a:lnTo>
                    <a:pt x="409" y="233"/>
                  </a:lnTo>
                  <a:lnTo>
                    <a:pt x="410" y="234"/>
                  </a:lnTo>
                  <a:lnTo>
                    <a:pt x="413" y="237"/>
                  </a:lnTo>
                  <a:lnTo>
                    <a:pt x="416" y="242"/>
                  </a:lnTo>
                  <a:lnTo>
                    <a:pt x="417" y="243"/>
                  </a:lnTo>
                  <a:lnTo>
                    <a:pt x="418" y="244"/>
                  </a:lnTo>
                  <a:lnTo>
                    <a:pt x="419" y="245"/>
                  </a:lnTo>
                  <a:lnTo>
                    <a:pt x="422" y="247"/>
                  </a:lnTo>
                  <a:lnTo>
                    <a:pt x="423" y="248"/>
                  </a:lnTo>
                  <a:lnTo>
                    <a:pt x="423" y="248"/>
                  </a:lnTo>
                  <a:lnTo>
                    <a:pt x="424" y="249"/>
                  </a:lnTo>
                  <a:lnTo>
                    <a:pt x="425" y="251"/>
                  </a:lnTo>
                  <a:lnTo>
                    <a:pt x="426" y="252"/>
                  </a:lnTo>
                  <a:lnTo>
                    <a:pt x="426" y="253"/>
                  </a:lnTo>
                  <a:lnTo>
                    <a:pt x="427" y="254"/>
                  </a:lnTo>
                  <a:lnTo>
                    <a:pt x="428" y="255"/>
                  </a:lnTo>
                  <a:lnTo>
                    <a:pt x="428" y="258"/>
                  </a:lnTo>
                  <a:lnTo>
                    <a:pt x="429" y="259"/>
                  </a:lnTo>
                  <a:lnTo>
                    <a:pt x="429" y="261"/>
                  </a:lnTo>
                  <a:lnTo>
                    <a:pt x="429" y="265"/>
                  </a:lnTo>
                  <a:lnTo>
                    <a:pt x="429" y="268"/>
                  </a:lnTo>
                  <a:lnTo>
                    <a:pt x="430" y="270"/>
                  </a:lnTo>
                  <a:lnTo>
                    <a:pt x="430" y="272"/>
                  </a:lnTo>
                  <a:lnTo>
                    <a:pt x="431" y="275"/>
                  </a:lnTo>
                  <a:lnTo>
                    <a:pt x="431" y="277"/>
                  </a:lnTo>
                  <a:lnTo>
                    <a:pt x="431" y="277"/>
                  </a:lnTo>
                  <a:lnTo>
                    <a:pt x="431" y="278"/>
                  </a:lnTo>
                  <a:lnTo>
                    <a:pt x="432" y="280"/>
                  </a:lnTo>
                  <a:lnTo>
                    <a:pt x="433" y="282"/>
                  </a:lnTo>
                  <a:lnTo>
                    <a:pt x="435" y="285"/>
                  </a:lnTo>
                  <a:lnTo>
                    <a:pt x="436" y="286"/>
                  </a:lnTo>
                  <a:lnTo>
                    <a:pt x="436" y="287"/>
                  </a:lnTo>
                  <a:lnTo>
                    <a:pt x="436" y="288"/>
                  </a:lnTo>
                  <a:lnTo>
                    <a:pt x="436" y="289"/>
                  </a:lnTo>
                  <a:lnTo>
                    <a:pt x="436" y="289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5" y="290"/>
                  </a:lnTo>
                  <a:lnTo>
                    <a:pt x="434" y="290"/>
                  </a:lnTo>
                  <a:lnTo>
                    <a:pt x="433" y="290"/>
                  </a:lnTo>
                  <a:lnTo>
                    <a:pt x="431" y="289"/>
                  </a:lnTo>
                  <a:lnTo>
                    <a:pt x="430" y="289"/>
                  </a:lnTo>
                  <a:lnTo>
                    <a:pt x="425" y="287"/>
                  </a:lnTo>
                  <a:lnTo>
                    <a:pt x="423" y="286"/>
                  </a:lnTo>
                  <a:lnTo>
                    <a:pt x="421" y="285"/>
                  </a:lnTo>
                  <a:lnTo>
                    <a:pt x="420" y="284"/>
                  </a:lnTo>
                  <a:lnTo>
                    <a:pt x="417" y="283"/>
                  </a:lnTo>
                  <a:lnTo>
                    <a:pt x="417" y="282"/>
                  </a:lnTo>
                  <a:lnTo>
                    <a:pt x="416" y="282"/>
                  </a:lnTo>
                  <a:lnTo>
                    <a:pt x="414" y="281"/>
                  </a:lnTo>
                  <a:lnTo>
                    <a:pt x="414" y="281"/>
                  </a:lnTo>
                  <a:lnTo>
                    <a:pt x="413" y="281"/>
                  </a:lnTo>
                  <a:lnTo>
                    <a:pt x="412" y="281"/>
                  </a:lnTo>
                  <a:lnTo>
                    <a:pt x="412" y="281"/>
                  </a:lnTo>
                  <a:lnTo>
                    <a:pt x="411" y="281"/>
                  </a:lnTo>
                  <a:lnTo>
                    <a:pt x="411" y="281"/>
                  </a:lnTo>
                  <a:lnTo>
                    <a:pt x="410" y="281"/>
                  </a:lnTo>
                  <a:lnTo>
                    <a:pt x="410" y="281"/>
                  </a:lnTo>
                  <a:lnTo>
                    <a:pt x="409" y="282"/>
                  </a:lnTo>
                  <a:lnTo>
                    <a:pt x="408" y="282"/>
                  </a:lnTo>
                  <a:lnTo>
                    <a:pt x="408" y="282"/>
                  </a:lnTo>
                  <a:lnTo>
                    <a:pt x="407" y="283"/>
                  </a:lnTo>
                  <a:lnTo>
                    <a:pt x="407" y="284"/>
                  </a:lnTo>
                  <a:lnTo>
                    <a:pt x="407" y="285"/>
                  </a:lnTo>
                  <a:lnTo>
                    <a:pt x="405" y="288"/>
                  </a:lnTo>
                  <a:lnTo>
                    <a:pt x="404" y="290"/>
                  </a:lnTo>
                  <a:lnTo>
                    <a:pt x="404" y="291"/>
                  </a:lnTo>
                  <a:lnTo>
                    <a:pt x="403" y="292"/>
                  </a:lnTo>
                  <a:lnTo>
                    <a:pt x="402" y="292"/>
                  </a:lnTo>
                  <a:lnTo>
                    <a:pt x="401" y="293"/>
                  </a:lnTo>
                  <a:lnTo>
                    <a:pt x="400" y="294"/>
                  </a:lnTo>
                  <a:lnTo>
                    <a:pt x="399" y="295"/>
                  </a:lnTo>
                  <a:lnTo>
                    <a:pt x="398" y="296"/>
                  </a:lnTo>
                  <a:lnTo>
                    <a:pt x="396" y="296"/>
                  </a:lnTo>
                  <a:lnTo>
                    <a:pt x="394" y="297"/>
                  </a:lnTo>
                  <a:lnTo>
                    <a:pt x="392" y="299"/>
                  </a:lnTo>
                  <a:lnTo>
                    <a:pt x="392" y="299"/>
                  </a:lnTo>
                  <a:lnTo>
                    <a:pt x="390" y="300"/>
                  </a:lnTo>
                  <a:lnTo>
                    <a:pt x="390" y="300"/>
                  </a:lnTo>
                  <a:lnTo>
                    <a:pt x="387" y="302"/>
                  </a:lnTo>
                  <a:lnTo>
                    <a:pt x="384" y="303"/>
                  </a:lnTo>
                  <a:lnTo>
                    <a:pt x="382" y="304"/>
                  </a:lnTo>
                  <a:lnTo>
                    <a:pt x="381" y="304"/>
                  </a:lnTo>
                  <a:lnTo>
                    <a:pt x="380" y="305"/>
                  </a:lnTo>
                  <a:lnTo>
                    <a:pt x="378" y="307"/>
                  </a:lnTo>
                  <a:lnTo>
                    <a:pt x="376" y="308"/>
                  </a:lnTo>
                  <a:lnTo>
                    <a:pt x="374" y="309"/>
                  </a:lnTo>
                  <a:lnTo>
                    <a:pt x="372" y="311"/>
                  </a:lnTo>
                  <a:lnTo>
                    <a:pt x="371" y="311"/>
                  </a:lnTo>
                  <a:lnTo>
                    <a:pt x="370" y="312"/>
                  </a:lnTo>
                  <a:lnTo>
                    <a:pt x="369" y="313"/>
                  </a:lnTo>
                  <a:lnTo>
                    <a:pt x="368" y="314"/>
                  </a:lnTo>
                  <a:lnTo>
                    <a:pt x="368" y="315"/>
                  </a:lnTo>
                  <a:lnTo>
                    <a:pt x="368" y="315"/>
                  </a:lnTo>
                  <a:lnTo>
                    <a:pt x="367" y="316"/>
                  </a:lnTo>
                  <a:lnTo>
                    <a:pt x="367" y="317"/>
                  </a:lnTo>
                  <a:lnTo>
                    <a:pt x="367" y="317"/>
                  </a:lnTo>
                  <a:lnTo>
                    <a:pt x="367" y="320"/>
                  </a:lnTo>
                  <a:lnTo>
                    <a:pt x="367" y="320"/>
                  </a:lnTo>
                  <a:lnTo>
                    <a:pt x="367" y="321"/>
                  </a:lnTo>
                  <a:lnTo>
                    <a:pt x="366" y="322"/>
                  </a:lnTo>
                  <a:lnTo>
                    <a:pt x="366" y="322"/>
                  </a:lnTo>
                  <a:lnTo>
                    <a:pt x="366" y="323"/>
                  </a:lnTo>
                  <a:lnTo>
                    <a:pt x="365" y="324"/>
                  </a:lnTo>
                  <a:lnTo>
                    <a:pt x="364" y="325"/>
                  </a:lnTo>
                  <a:lnTo>
                    <a:pt x="362" y="326"/>
                  </a:lnTo>
                  <a:lnTo>
                    <a:pt x="361" y="327"/>
                  </a:lnTo>
                  <a:lnTo>
                    <a:pt x="361" y="327"/>
                  </a:lnTo>
                  <a:lnTo>
                    <a:pt x="361" y="327"/>
                  </a:lnTo>
                  <a:lnTo>
                    <a:pt x="360" y="328"/>
                  </a:lnTo>
                  <a:lnTo>
                    <a:pt x="360" y="329"/>
                  </a:lnTo>
                  <a:lnTo>
                    <a:pt x="360" y="329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1"/>
                  </a:lnTo>
                  <a:lnTo>
                    <a:pt x="361" y="334"/>
                  </a:lnTo>
                  <a:lnTo>
                    <a:pt x="361" y="334"/>
                  </a:lnTo>
                  <a:lnTo>
                    <a:pt x="361" y="335"/>
                  </a:lnTo>
                  <a:lnTo>
                    <a:pt x="361" y="335"/>
                  </a:lnTo>
                  <a:lnTo>
                    <a:pt x="361" y="336"/>
                  </a:lnTo>
                  <a:lnTo>
                    <a:pt x="360" y="336"/>
                  </a:lnTo>
                  <a:lnTo>
                    <a:pt x="360" y="336"/>
                  </a:lnTo>
                  <a:lnTo>
                    <a:pt x="359" y="336"/>
                  </a:lnTo>
                  <a:lnTo>
                    <a:pt x="359" y="337"/>
                  </a:lnTo>
                  <a:lnTo>
                    <a:pt x="358" y="337"/>
                  </a:lnTo>
                  <a:lnTo>
                    <a:pt x="357" y="337"/>
                  </a:lnTo>
                  <a:lnTo>
                    <a:pt x="356" y="337"/>
                  </a:lnTo>
                  <a:lnTo>
                    <a:pt x="355" y="336"/>
                  </a:lnTo>
                  <a:lnTo>
                    <a:pt x="353" y="336"/>
                  </a:lnTo>
                  <a:lnTo>
                    <a:pt x="352" y="335"/>
                  </a:lnTo>
                  <a:lnTo>
                    <a:pt x="351" y="335"/>
                  </a:lnTo>
                  <a:lnTo>
                    <a:pt x="350" y="335"/>
                  </a:lnTo>
                  <a:lnTo>
                    <a:pt x="349" y="335"/>
                  </a:lnTo>
                  <a:lnTo>
                    <a:pt x="347" y="336"/>
                  </a:lnTo>
                  <a:lnTo>
                    <a:pt x="344" y="336"/>
                  </a:lnTo>
                  <a:lnTo>
                    <a:pt x="343" y="336"/>
                  </a:lnTo>
                  <a:lnTo>
                    <a:pt x="341" y="336"/>
                  </a:lnTo>
                  <a:lnTo>
                    <a:pt x="341" y="336"/>
                  </a:lnTo>
                  <a:lnTo>
                    <a:pt x="340" y="336"/>
                  </a:lnTo>
                  <a:lnTo>
                    <a:pt x="339" y="335"/>
                  </a:lnTo>
                  <a:lnTo>
                    <a:pt x="338" y="335"/>
                  </a:lnTo>
                  <a:lnTo>
                    <a:pt x="338" y="335"/>
                  </a:lnTo>
                  <a:lnTo>
                    <a:pt x="337" y="335"/>
                  </a:lnTo>
                  <a:lnTo>
                    <a:pt x="337" y="335"/>
                  </a:lnTo>
                  <a:lnTo>
                    <a:pt x="336" y="335"/>
                  </a:lnTo>
                  <a:lnTo>
                    <a:pt x="334" y="336"/>
                  </a:lnTo>
                  <a:lnTo>
                    <a:pt x="333" y="336"/>
                  </a:lnTo>
                  <a:lnTo>
                    <a:pt x="332" y="337"/>
                  </a:lnTo>
                  <a:lnTo>
                    <a:pt x="329" y="337"/>
                  </a:lnTo>
                  <a:lnTo>
                    <a:pt x="327" y="338"/>
                  </a:lnTo>
                  <a:lnTo>
                    <a:pt x="326" y="338"/>
                  </a:lnTo>
                  <a:lnTo>
                    <a:pt x="325" y="338"/>
                  </a:lnTo>
                  <a:lnTo>
                    <a:pt x="324" y="338"/>
                  </a:lnTo>
                  <a:lnTo>
                    <a:pt x="324" y="338"/>
                  </a:lnTo>
                  <a:lnTo>
                    <a:pt x="323" y="337"/>
                  </a:lnTo>
                  <a:lnTo>
                    <a:pt x="322" y="337"/>
                  </a:lnTo>
                  <a:lnTo>
                    <a:pt x="321" y="336"/>
                  </a:lnTo>
                  <a:lnTo>
                    <a:pt x="320" y="336"/>
                  </a:lnTo>
                  <a:lnTo>
                    <a:pt x="316" y="333"/>
                  </a:lnTo>
                  <a:lnTo>
                    <a:pt x="315" y="332"/>
                  </a:lnTo>
                  <a:lnTo>
                    <a:pt x="314" y="331"/>
                  </a:lnTo>
                  <a:lnTo>
                    <a:pt x="313" y="330"/>
                  </a:lnTo>
                  <a:lnTo>
                    <a:pt x="311" y="330"/>
                  </a:lnTo>
                  <a:lnTo>
                    <a:pt x="309" y="329"/>
                  </a:lnTo>
                  <a:lnTo>
                    <a:pt x="306" y="328"/>
                  </a:lnTo>
                  <a:lnTo>
                    <a:pt x="305" y="327"/>
                  </a:lnTo>
                  <a:lnTo>
                    <a:pt x="305" y="327"/>
                  </a:lnTo>
                  <a:lnTo>
                    <a:pt x="303" y="326"/>
                  </a:lnTo>
                  <a:lnTo>
                    <a:pt x="302" y="325"/>
                  </a:lnTo>
                  <a:lnTo>
                    <a:pt x="300" y="323"/>
                  </a:lnTo>
                  <a:lnTo>
                    <a:pt x="299" y="322"/>
                  </a:lnTo>
                  <a:lnTo>
                    <a:pt x="298" y="322"/>
                  </a:lnTo>
                  <a:lnTo>
                    <a:pt x="297" y="321"/>
                  </a:lnTo>
                  <a:lnTo>
                    <a:pt x="296" y="321"/>
                  </a:lnTo>
                  <a:lnTo>
                    <a:pt x="293" y="319"/>
                  </a:lnTo>
                  <a:lnTo>
                    <a:pt x="291" y="319"/>
                  </a:lnTo>
                  <a:lnTo>
                    <a:pt x="290" y="318"/>
                  </a:lnTo>
                  <a:lnTo>
                    <a:pt x="289" y="317"/>
                  </a:lnTo>
                  <a:lnTo>
                    <a:pt x="288" y="316"/>
                  </a:lnTo>
                  <a:lnTo>
                    <a:pt x="287" y="315"/>
                  </a:lnTo>
                  <a:lnTo>
                    <a:pt x="286" y="314"/>
                  </a:lnTo>
                  <a:lnTo>
                    <a:pt x="284" y="311"/>
                  </a:lnTo>
                  <a:lnTo>
                    <a:pt x="282" y="310"/>
                  </a:lnTo>
                  <a:lnTo>
                    <a:pt x="281" y="309"/>
                  </a:lnTo>
                  <a:lnTo>
                    <a:pt x="281" y="309"/>
                  </a:lnTo>
                  <a:lnTo>
                    <a:pt x="281" y="309"/>
                  </a:lnTo>
                  <a:lnTo>
                    <a:pt x="279" y="308"/>
                  </a:lnTo>
                  <a:lnTo>
                    <a:pt x="278" y="307"/>
                  </a:lnTo>
                  <a:lnTo>
                    <a:pt x="277" y="307"/>
                  </a:lnTo>
                  <a:lnTo>
                    <a:pt x="274" y="306"/>
                  </a:lnTo>
                  <a:lnTo>
                    <a:pt x="272" y="306"/>
                  </a:lnTo>
                  <a:lnTo>
                    <a:pt x="271" y="305"/>
                  </a:lnTo>
                  <a:lnTo>
                    <a:pt x="270" y="305"/>
                  </a:lnTo>
                  <a:lnTo>
                    <a:pt x="270" y="304"/>
                  </a:lnTo>
                  <a:lnTo>
                    <a:pt x="269" y="304"/>
                  </a:lnTo>
                  <a:lnTo>
                    <a:pt x="269" y="303"/>
                  </a:lnTo>
                  <a:lnTo>
                    <a:pt x="268" y="302"/>
                  </a:lnTo>
                  <a:lnTo>
                    <a:pt x="268" y="301"/>
                  </a:lnTo>
                  <a:lnTo>
                    <a:pt x="267" y="300"/>
                  </a:lnTo>
                  <a:lnTo>
                    <a:pt x="266" y="296"/>
                  </a:lnTo>
                  <a:lnTo>
                    <a:pt x="266" y="295"/>
                  </a:lnTo>
                  <a:lnTo>
                    <a:pt x="265" y="294"/>
                  </a:lnTo>
                  <a:lnTo>
                    <a:pt x="265" y="293"/>
                  </a:lnTo>
                  <a:lnTo>
                    <a:pt x="264" y="293"/>
                  </a:lnTo>
                  <a:lnTo>
                    <a:pt x="264" y="292"/>
                  </a:lnTo>
                  <a:lnTo>
                    <a:pt x="263" y="292"/>
                  </a:lnTo>
                  <a:lnTo>
                    <a:pt x="261" y="289"/>
                  </a:lnTo>
                  <a:lnTo>
                    <a:pt x="261" y="288"/>
                  </a:lnTo>
                  <a:lnTo>
                    <a:pt x="260" y="288"/>
                  </a:lnTo>
                  <a:lnTo>
                    <a:pt x="259" y="287"/>
                  </a:lnTo>
                  <a:lnTo>
                    <a:pt x="258" y="287"/>
                  </a:lnTo>
                  <a:lnTo>
                    <a:pt x="257" y="286"/>
                  </a:lnTo>
                  <a:lnTo>
                    <a:pt x="255" y="286"/>
                  </a:lnTo>
                  <a:lnTo>
                    <a:pt x="252" y="285"/>
                  </a:lnTo>
                  <a:lnTo>
                    <a:pt x="248" y="284"/>
                  </a:lnTo>
                  <a:lnTo>
                    <a:pt x="246" y="283"/>
                  </a:lnTo>
                  <a:lnTo>
                    <a:pt x="243" y="283"/>
                  </a:lnTo>
                  <a:lnTo>
                    <a:pt x="242" y="282"/>
                  </a:lnTo>
                  <a:lnTo>
                    <a:pt x="241" y="282"/>
                  </a:lnTo>
                  <a:lnTo>
                    <a:pt x="240" y="282"/>
                  </a:lnTo>
                  <a:lnTo>
                    <a:pt x="239" y="282"/>
                  </a:lnTo>
                  <a:lnTo>
                    <a:pt x="238" y="283"/>
                  </a:lnTo>
                  <a:lnTo>
                    <a:pt x="236" y="284"/>
                  </a:lnTo>
                  <a:lnTo>
                    <a:pt x="234" y="284"/>
                  </a:lnTo>
                  <a:lnTo>
                    <a:pt x="233" y="285"/>
                  </a:lnTo>
                  <a:lnTo>
                    <a:pt x="232" y="286"/>
                  </a:lnTo>
                  <a:lnTo>
                    <a:pt x="232" y="286"/>
                  </a:lnTo>
                  <a:lnTo>
                    <a:pt x="229" y="289"/>
                  </a:lnTo>
                  <a:lnTo>
                    <a:pt x="228" y="289"/>
                  </a:lnTo>
                  <a:lnTo>
                    <a:pt x="228" y="290"/>
                  </a:lnTo>
                  <a:lnTo>
                    <a:pt x="227" y="290"/>
                  </a:lnTo>
                  <a:lnTo>
                    <a:pt x="226" y="291"/>
                  </a:lnTo>
                  <a:lnTo>
                    <a:pt x="223" y="292"/>
                  </a:lnTo>
                  <a:lnTo>
                    <a:pt x="222" y="293"/>
                  </a:lnTo>
                  <a:lnTo>
                    <a:pt x="221" y="293"/>
                  </a:lnTo>
                  <a:lnTo>
                    <a:pt x="218" y="295"/>
                  </a:lnTo>
                  <a:lnTo>
                    <a:pt x="217" y="296"/>
                  </a:lnTo>
                  <a:lnTo>
                    <a:pt x="216" y="296"/>
                  </a:lnTo>
                  <a:lnTo>
                    <a:pt x="215" y="296"/>
                  </a:lnTo>
                  <a:lnTo>
                    <a:pt x="215" y="296"/>
                  </a:lnTo>
                  <a:lnTo>
                    <a:pt x="214" y="296"/>
                  </a:lnTo>
                  <a:lnTo>
                    <a:pt x="214" y="296"/>
                  </a:lnTo>
                  <a:lnTo>
                    <a:pt x="213" y="296"/>
                  </a:lnTo>
                  <a:lnTo>
                    <a:pt x="212" y="296"/>
                  </a:lnTo>
                  <a:lnTo>
                    <a:pt x="211" y="296"/>
                  </a:lnTo>
                  <a:lnTo>
                    <a:pt x="210" y="296"/>
                  </a:lnTo>
                  <a:lnTo>
                    <a:pt x="210" y="296"/>
                  </a:lnTo>
                  <a:lnTo>
                    <a:pt x="209" y="295"/>
                  </a:lnTo>
                  <a:lnTo>
                    <a:pt x="209" y="295"/>
                  </a:lnTo>
                  <a:lnTo>
                    <a:pt x="208" y="294"/>
                  </a:lnTo>
                  <a:lnTo>
                    <a:pt x="207" y="294"/>
                  </a:lnTo>
                  <a:lnTo>
                    <a:pt x="207" y="293"/>
                  </a:lnTo>
                  <a:lnTo>
                    <a:pt x="206" y="292"/>
                  </a:lnTo>
                  <a:lnTo>
                    <a:pt x="206" y="291"/>
                  </a:lnTo>
                  <a:lnTo>
                    <a:pt x="205" y="288"/>
                  </a:lnTo>
                  <a:lnTo>
                    <a:pt x="204" y="286"/>
                  </a:lnTo>
                  <a:lnTo>
                    <a:pt x="204" y="285"/>
                  </a:lnTo>
                  <a:lnTo>
                    <a:pt x="203" y="283"/>
                  </a:lnTo>
                  <a:lnTo>
                    <a:pt x="202" y="282"/>
                  </a:lnTo>
                  <a:lnTo>
                    <a:pt x="201" y="282"/>
                  </a:lnTo>
                  <a:lnTo>
                    <a:pt x="201" y="281"/>
                  </a:lnTo>
                  <a:lnTo>
                    <a:pt x="200" y="281"/>
                  </a:lnTo>
                  <a:lnTo>
                    <a:pt x="200" y="280"/>
                  </a:lnTo>
                  <a:lnTo>
                    <a:pt x="199" y="279"/>
                  </a:lnTo>
                  <a:lnTo>
                    <a:pt x="199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6" y="280"/>
                  </a:lnTo>
                  <a:lnTo>
                    <a:pt x="194" y="281"/>
                  </a:lnTo>
                  <a:lnTo>
                    <a:pt x="193" y="282"/>
                  </a:lnTo>
                  <a:lnTo>
                    <a:pt x="192" y="283"/>
                  </a:lnTo>
                  <a:lnTo>
                    <a:pt x="191" y="284"/>
                  </a:lnTo>
                  <a:lnTo>
                    <a:pt x="190" y="285"/>
                  </a:lnTo>
                  <a:lnTo>
                    <a:pt x="189" y="285"/>
                  </a:lnTo>
                  <a:lnTo>
                    <a:pt x="189" y="286"/>
                  </a:lnTo>
                  <a:lnTo>
                    <a:pt x="188" y="287"/>
                  </a:lnTo>
                  <a:lnTo>
                    <a:pt x="188" y="287"/>
                  </a:lnTo>
                  <a:lnTo>
                    <a:pt x="187" y="288"/>
                  </a:lnTo>
                  <a:lnTo>
                    <a:pt x="186" y="291"/>
                  </a:lnTo>
                  <a:lnTo>
                    <a:pt x="186" y="292"/>
                  </a:lnTo>
                  <a:lnTo>
                    <a:pt x="185" y="292"/>
                  </a:lnTo>
                  <a:lnTo>
                    <a:pt x="185" y="293"/>
                  </a:lnTo>
                  <a:lnTo>
                    <a:pt x="184" y="294"/>
                  </a:lnTo>
                  <a:lnTo>
                    <a:pt x="184" y="294"/>
                  </a:lnTo>
                  <a:lnTo>
                    <a:pt x="183" y="295"/>
                  </a:lnTo>
                  <a:lnTo>
                    <a:pt x="182" y="296"/>
                  </a:lnTo>
                  <a:lnTo>
                    <a:pt x="181" y="296"/>
                  </a:lnTo>
                  <a:lnTo>
                    <a:pt x="180" y="296"/>
                  </a:lnTo>
                  <a:lnTo>
                    <a:pt x="178" y="297"/>
                  </a:lnTo>
                  <a:lnTo>
                    <a:pt x="176" y="297"/>
                  </a:lnTo>
                  <a:lnTo>
                    <a:pt x="175" y="298"/>
                  </a:lnTo>
                  <a:lnTo>
                    <a:pt x="172" y="299"/>
                  </a:lnTo>
                  <a:lnTo>
                    <a:pt x="171" y="300"/>
                  </a:lnTo>
                  <a:lnTo>
                    <a:pt x="170" y="300"/>
                  </a:lnTo>
                  <a:lnTo>
                    <a:pt x="170" y="300"/>
                  </a:lnTo>
                  <a:lnTo>
                    <a:pt x="168" y="300"/>
                  </a:lnTo>
                  <a:lnTo>
                    <a:pt x="167" y="300"/>
                  </a:lnTo>
                  <a:lnTo>
                    <a:pt x="167" y="300"/>
                  </a:lnTo>
                  <a:lnTo>
                    <a:pt x="165" y="299"/>
                  </a:lnTo>
                  <a:lnTo>
                    <a:pt x="163" y="298"/>
                  </a:lnTo>
                  <a:lnTo>
                    <a:pt x="161" y="298"/>
                  </a:lnTo>
                  <a:lnTo>
                    <a:pt x="161" y="297"/>
                  </a:lnTo>
                  <a:lnTo>
                    <a:pt x="160" y="297"/>
                  </a:lnTo>
                  <a:lnTo>
                    <a:pt x="159" y="297"/>
                  </a:lnTo>
                  <a:lnTo>
                    <a:pt x="158" y="297"/>
                  </a:lnTo>
                  <a:lnTo>
                    <a:pt x="156" y="297"/>
                  </a:lnTo>
                  <a:lnTo>
                    <a:pt x="155" y="297"/>
                  </a:lnTo>
                  <a:lnTo>
                    <a:pt x="153" y="297"/>
                  </a:lnTo>
                  <a:lnTo>
                    <a:pt x="152" y="297"/>
                  </a:lnTo>
                  <a:lnTo>
                    <a:pt x="151" y="297"/>
                  </a:lnTo>
                  <a:lnTo>
                    <a:pt x="148" y="297"/>
                  </a:lnTo>
                  <a:lnTo>
                    <a:pt x="147" y="297"/>
                  </a:lnTo>
                  <a:lnTo>
                    <a:pt x="146" y="297"/>
                  </a:lnTo>
                  <a:lnTo>
                    <a:pt x="144" y="297"/>
                  </a:lnTo>
                  <a:lnTo>
                    <a:pt x="144" y="297"/>
                  </a:lnTo>
                  <a:lnTo>
                    <a:pt x="143" y="297"/>
                  </a:lnTo>
                  <a:lnTo>
                    <a:pt x="142" y="296"/>
                  </a:lnTo>
                  <a:lnTo>
                    <a:pt x="141" y="296"/>
                  </a:lnTo>
                  <a:lnTo>
                    <a:pt x="140" y="296"/>
                  </a:lnTo>
                  <a:lnTo>
                    <a:pt x="139" y="294"/>
                  </a:lnTo>
                  <a:lnTo>
                    <a:pt x="138" y="294"/>
                  </a:lnTo>
                  <a:lnTo>
                    <a:pt x="138" y="294"/>
                  </a:lnTo>
                  <a:lnTo>
                    <a:pt x="137" y="293"/>
                  </a:lnTo>
                  <a:lnTo>
                    <a:pt x="137" y="293"/>
                  </a:lnTo>
                  <a:lnTo>
                    <a:pt x="136" y="293"/>
                  </a:lnTo>
                  <a:lnTo>
                    <a:pt x="136" y="293"/>
                  </a:lnTo>
                  <a:lnTo>
                    <a:pt x="136" y="293"/>
                  </a:lnTo>
                  <a:lnTo>
                    <a:pt x="135" y="293"/>
                  </a:lnTo>
                  <a:lnTo>
                    <a:pt x="132" y="295"/>
                  </a:lnTo>
                  <a:lnTo>
                    <a:pt x="131" y="296"/>
                  </a:lnTo>
                  <a:lnTo>
                    <a:pt x="130" y="296"/>
                  </a:lnTo>
                  <a:lnTo>
                    <a:pt x="128" y="296"/>
                  </a:lnTo>
                  <a:lnTo>
                    <a:pt x="127" y="296"/>
                  </a:lnTo>
                  <a:lnTo>
                    <a:pt x="126" y="297"/>
                  </a:lnTo>
                  <a:lnTo>
                    <a:pt x="125" y="297"/>
                  </a:lnTo>
                  <a:lnTo>
                    <a:pt x="125" y="298"/>
                  </a:lnTo>
                  <a:lnTo>
                    <a:pt x="124" y="298"/>
                  </a:lnTo>
                  <a:lnTo>
                    <a:pt x="123" y="299"/>
                  </a:lnTo>
                  <a:lnTo>
                    <a:pt x="123" y="300"/>
                  </a:lnTo>
                  <a:lnTo>
                    <a:pt x="122" y="300"/>
                  </a:lnTo>
                  <a:lnTo>
                    <a:pt x="122" y="301"/>
                  </a:lnTo>
                  <a:lnTo>
                    <a:pt x="121" y="303"/>
                  </a:lnTo>
                  <a:lnTo>
                    <a:pt x="121" y="303"/>
                  </a:lnTo>
                  <a:lnTo>
                    <a:pt x="120" y="304"/>
                  </a:lnTo>
                  <a:lnTo>
                    <a:pt x="120" y="305"/>
                  </a:lnTo>
                  <a:lnTo>
                    <a:pt x="118" y="306"/>
                  </a:lnTo>
                  <a:lnTo>
                    <a:pt x="117" y="307"/>
                  </a:lnTo>
                  <a:lnTo>
                    <a:pt x="116" y="307"/>
                  </a:lnTo>
                  <a:lnTo>
                    <a:pt x="115" y="308"/>
                  </a:lnTo>
                  <a:lnTo>
                    <a:pt x="114" y="308"/>
                  </a:lnTo>
                  <a:lnTo>
                    <a:pt x="112" y="310"/>
                  </a:lnTo>
                  <a:lnTo>
                    <a:pt x="111" y="310"/>
                  </a:lnTo>
                  <a:lnTo>
                    <a:pt x="110" y="311"/>
                  </a:lnTo>
                  <a:lnTo>
                    <a:pt x="109" y="311"/>
                  </a:lnTo>
                  <a:lnTo>
                    <a:pt x="108" y="312"/>
                  </a:lnTo>
                  <a:lnTo>
                    <a:pt x="107" y="312"/>
                  </a:lnTo>
                  <a:lnTo>
                    <a:pt x="106" y="312"/>
                  </a:lnTo>
                  <a:lnTo>
                    <a:pt x="105" y="312"/>
                  </a:lnTo>
                  <a:lnTo>
                    <a:pt x="104" y="313"/>
                  </a:lnTo>
                  <a:lnTo>
                    <a:pt x="103" y="313"/>
                  </a:lnTo>
                  <a:lnTo>
                    <a:pt x="102" y="313"/>
                  </a:lnTo>
                  <a:lnTo>
                    <a:pt x="102" y="313"/>
                  </a:lnTo>
                  <a:lnTo>
                    <a:pt x="101" y="312"/>
                  </a:lnTo>
                  <a:lnTo>
                    <a:pt x="100" y="312"/>
                  </a:lnTo>
                  <a:lnTo>
                    <a:pt x="99" y="312"/>
                  </a:lnTo>
                  <a:lnTo>
                    <a:pt x="98" y="311"/>
                  </a:lnTo>
                  <a:lnTo>
                    <a:pt x="98" y="311"/>
                  </a:lnTo>
                  <a:lnTo>
                    <a:pt x="97" y="311"/>
                  </a:lnTo>
                  <a:lnTo>
                    <a:pt x="97" y="310"/>
                  </a:lnTo>
                  <a:lnTo>
                    <a:pt x="97" y="310"/>
                  </a:lnTo>
                  <a:lnTo>
                    <a:pt x="97" y="310"/>
                  </a:lnTo>
                  <a:lnTo>
                    <a:pt x="97" y="309"/>
                  </a:lnTo>
                  <a:lnTo>
                    <a:pt x="97" y="308"/>
                  </a:lnTo>
                  <a:lnTo>
                    <a:pt x="97" y="306"/>
                  </a:lnTo>
                  <a:lnTo>
                    <a:pt x="97" y="306"/>
                  </a:lnTo>
                  <a:lnTo>
                    <a:pt x="97" y="305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7" y="303"/>
                  </a:lnTo>
                  <a:lnTo>
                    <a:pt x="97" y="303"/>
                  </a:lnTo>
                  <a:lnTo>
                    <a:pt x="96" y="302"/>
                  </a:lnTo>
                  <a:lnTo>
                    <a:pt x="96" y="302"/>
                  </a:lnTo>
                  <a:lnTo>
                    <a:pt x="96" y="301"/>
                  </a:lnTo>
                  <a:lnTo>
                    <a:pt x="94" y="301"/>
                  </a:lnTo>
                  <a:lnTo>
                    <a:pt x="93" y="300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7"/>
                  </a:lnTo>
                  <a:lnTo>
                    <a:pt x="87" y="297"/>
                  </a:lnTo>
                  <a:lnTo>
                    <a:pt x="85" y="296"/>
                  </a:lnTo>
                  <a:lnTo>
                    <a:pt x="84" y="296"/>
                  </a:lnTo>
                  <a:lnTo>
                    <a:pt x="83" y="296"/>
                  </a:lnTo>
                  <a:lnTo>
                    <a:pt x="79" y="295"/>
                  </a:lnTo>
                  <a:lnTo>
                    <a:pt x="76" y="294"/>
                  </a:lnTo>
                  <a:lnTo>
                    <a:pt x="75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2"/>
                  </a:lnTo>
                  <a:lnTo>
                    <a:pt x="74" y="292"/>
                  </a:lnTo>
                  <a:lnTo>
                    <a:pt x="74" y="292"/>
                  </a:lnTo>
                  <a:lnTo>
                    <a:pt x="75" y="289"/>
                  </a:lnTo>
                  <a:lnTo>
                    <a:pt x="75" y="289"/>
                  </a:lnTo>
                  <a:lnTo>
                    <a:pt x="75" y="288"/>
                  </a:lnTo>
                  <a:lnTo>
                    <a:pt x="75" y="287"/>
                  </a:lnTo>
                  <a:lnTo>
                    <a:pt x="74" y="286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5" y="284"/>
                  </a:lnTo>
                  <a:lnTo>
                    <a:pt x="75" y="283"/>
                  </a:lnTo>
                  <a:lnTo>
                    <a:pt x="76" y="282"/>
                  </a:lnTo>
                  <a:lnTo>
                    <a:pt x="77" y="281"/>
                  </a:lnTo>
                  <a:lnTo>
                    <a:pt x="78" y="279"/>
                  </a:lnTo>
                  <a:lnTo>
                    <a:pt x="79" y="278"/>
                  </a:lnTo>
                  <a:lnTo>
                    <a:pt x="80" y="277"/>
                  </a:lnTo>
                  <a:lnTo>
                    <a:pt x="81" y="275"/>
                  </a:lnTo>
                  <a:lnTo>
                    <a:pt x="82" y="274"/>
                  </a:lnTo>
                  <a:lnTo>
                    <a:pt x="82" y="273"/>
                  </a:lnTo>
                  <a:lnTo>
                    <a:pt x="83" y="271"/>
                  </a:lnTo>
                  <a:lnTo>
                    <a:pt x="83" y="270"/>
                  </a:lnTo>
                  <a:lnTo>
                    <a:pt x="84" y="269"/>
                  </a:lnTo>
                  <a:lnTo>
                    <a:pt x="84" y="268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66"/>
                  </a:lnTo>
                  <a:lnTo>
                    <a:pt x="84" y="266"/>
                  </a:lnTo>
                  <a:lnTo>
                    <a:pt x="83" y="264"/>
                  </a:lnTo>
                  <a:lnTo>
                    <a:pt x="83" y="263"/>
                  </a:lnTo>
                  <a:lnTo>
                    <a:pt x="82" y="261"/>
                  </a:lnTo>
                  <a:lnTo>
                    <a:pt x="82" y="260"/>
                  </a:lnTo>
                  <a:lnTo>
                    <a:pt x="80" y="258"/>
                  </a:lnTo>
                  <a:lnTo>
                    <a:pt x="79" y="257"/>
                  </a:lnTo>
                  <a:lnTo>
                    <a:pt x="78" y="255"/>
                  </a:lnTo>
                  <a:lnTo>
                    <a:pt x="78" y="254"/>
                  </a:lnTo>
                  <a:lnTo>
                    <a:pt x="78" y="254"/>
                  </a:lnTo>
                  <a:lnTo>
                    <a:pt x="78" y="253"/>
                  </a:lnTo>
                  <a:lnTo>
                    <a:pt x="78" y="251"/>
                  </a:lnTo>
                  <a:lnTo>
                    <a:pt x="78" y="249"/>
                  </a:lnTo>
                  <a:lnTo>
                    <a:pt x="78" y="248"/>
                  </a:lnTo>
                  <a:lnTo>
                    <a:pt x="78" y="247"/>
                  </a:lnTo>
                  <a:lnTo>
                    <a:pt x="78" y="246"/>
                  </a:lnTo>
                  <a:lnTo>
                    <a:pt x="78" y="243"/>
                  </a:lnTo>
                  <a:lnTo>
                    <a:pt x="79" y="242"/>
                  </a:lnTo>
                  <a:lnTo>
                    <a:pt x="79" y="240"/>
                  </a:lnTo>
                  <a:lnTo>
                    <a:pt x="78" y="237"/>
                  </a:lnTo>
                  <a:lnTo>
                    <a:pt x="78" y="235"/>
                  </a:lnTo>
                  <a:lnTo>
                    <a:pt x="78" y="233"/>
                  </a:lnTo>
                  <a:lnTo>
                    <a:pt x="78" y="233"/>
                  </a:lnTo>
                  <a:lnTo>
                    <a:pt x="78" y="231"/>
                  </a:lnTo>
                  <a:lnTo>
                    <a:pt x="77" y="230"/>
                  </a:lnTo>
                  <a:lnTo>
                    <a:pt x="77" y="230"/>
                  </a:lnTo>
                  <a:lnTo>
                    <a:pt x="77" y="229"/>
                  </a:lnTo>
                  <a:lnTo>
                    <a:pt x="76" y="228"/>
                  </a:lnTo>
                  <a:lnTo>
                    <a:pt x="75" y="228"/>
                  </a:lnTo>
                  <a:lnTo>
                    <a:pt x="75" y="227"/>
                  </a:lnTo>
                  <a:lnTo>
                    <a:pt x="73" y="226"/>
                  </a:lnTo>
                  <a:lnTo>
                    <a:pt x="72" y="225"/>
                  </a:lnTo>
                  <a:lnTo>
                    <a:pt x="72" y="224"/>
                  </a:lnTo>
                  <a:lnTo>
                    <a:pt x="71" y="224"/>
                  </a:lnTo>
                  <a:lnTo>
                    <a:pt x="70" y="224"/>
                  </a:lnTo>
                  <a:lnTo>
                    <a:pt x="70" y="224"/>
                  </a:lnTo>
                  <a:lnTo>
                    <a:pt x="69" y="224"/>
                  </a:lnTo>
                  <a:lnTo>
                    <a:pt x="68" y="224"/>
                  </a:lnTo>
                  <a:lnTo>
                    <a:pt x="68" y="224"/>
                  </a:lnTo>
                  <a:lnTo>
                    <a:pt x="66" y="225"/>
                  </a:lnTo>
                  <a:lnTo>
                    <a:pt x="65" y="225"/>
                  </a:lnTo>
                  <a:lnTo>
                    <a:pt x="63" y="226"/>
                  </a:lnTo>
                  <a:lnTo>
                    <a:pt x="59" y="227"/>
                  </a:lnTo>
                  <a:lnTo>
                    <a:pt x="58" y="228"/>
                  </a:lnTo>
                  <a:lnTo>
                    <a:pt x="57" y="228"/>
                  </a:lnTo>
                  <a:lnTo>
                    <a:pt x="56" y="228"/>
                  </a:lnTo>
                  <a:lnTo>
                    <a:pt x="55" y="228"/>
                  </a:lnTo>
                  <a:lnTo>
                    <a:pt x="52" y="227"/>
                  </a:lnTo>
                  <a:lnTo>
                    <a:pt x="49" y="227"/>
                  </a:lnTo>
                  <a:lnTo>
                    <a:pt x="45" y="226"/>
                  </a:lnTo>
                  <a:lnTo>
                    <a:pt x="44" y="226"/>
                  </a:lnTo>
                  <a:lnTo>
                    <a:pt x="43" y="226"/>
                  </a:lnTo>
                  <a:lnTo>
                    <a:pt x="39" y="227"/>
                  </a:lnTo>
                  <a:lnTo>
                    <a:pt x="38" y="227"/>
                  </a:lnTo>
                  <a:lnTo>
                    <a:pt x="37" y="227"/>
                  </a:lnTo>
                  <a:lnTo>
                    <a:pt x="36" y="227"/>
                  </a:lnTo>
                  <a:lnTo>
                    <a:pt x="36" y="227"/>
                  </a:lnTo>
                  <a:lnTo>
                    <a:pt x="35" y="226"/>
                  </a:lnTo>
                  <a:lnTo>
                    <a:pt x="34" y="226"/>
                  </a:lnTo>
                  <a:lnTo>
                    <a:pt x="33" y="226"/>
                  </a:lnTo>
                  <a:lnTo>
                    <a:pt x="33" y="225"/>
                  </a:lnTo>
                  <a:lnTo>
                    <a:pt x="32" y="225"/>
                  </a:lnTo>
                  <a:lnTo>
                    <a:pt x="31" y="224"/>
                  </a:lnTo>
                  <a:lnTo>
                    <a:pt x="31" y="224"/>
                  </a:lnTo>
                  <a:lnTo>
                    <a:pt x="30" y="223"/>
                  </a:lnTo>
                  <a:lnTo>
                    <a:pt x="30" y="223"/>
                  </a:lnTo>
                  <a:lnTo>
                    <a:pt x="30" y="222"/>
                  </a:lnTo>
                  <a:lnTo>
                    <a:pt x="29" y="221"/>
                  </a:lnTo>
                  <a:lnTo>
                    <a:pt x="29" y="220"/>
                  </a:lnTo>
                  <a:lnTo>
                    <a:pt x="29" y="219"/>
                  </a:lnTo>
                  <a:lnTo>
                    <a:pt x="29" y="219"/>
                  </a:lnTo>
                  <a:lnTo>
                    <a:pt x="29" y="217"/>
                  </a:lnTo>
                  <a:lnTo>
                    <a:pt x="29" y="215"/>
                  </a:lnTo>
                  <a:lnTo>
                    <a:pt x="29" y="214"/>
                  </a:lnTo>
                  <a:lnTo>
                    <a:pt x="28" y="214"/>
                  </a:lnTo>
                  <a:lnTo>
                    <a:pt x="28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5" y="210"/>
                  </a:lnTo>
                  <a:lnTo>
                    <a:pt x="24" y="209"/>
                  </a:lnTo>
                  <a:lnTo>
                    <a:pt x="23" y="208"/>
                  </a:lnTo>
                  <a:lnTo>
                    <a:pt x="22" y="207"/>
                  </a:lnTo>
                  <a:lnTo>
                    <a:pt x="22" y="207"/>
                  </a:lnTo>
                  <a:lnTo>
                    <a:pt x="21" y="205"/>
                  </a:lnTo>
                  <a:lnTo>
                    <a:pt x="20" y="205"/>
                  </a:lnTo>
                  <a:lnTo>
                    <a:pt x="20" y="204"/>
                  </a:lnTo>
                  <a:lnTo>
                    <a:pt x="19" y="204"/>
                  </a:lnTo>
                  <a:lnTo>
                    <a:pt x="18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5" y="202"/>
                  </a:lnTo>
                  <a:lnTo>
                    <a:pt x="12" y="202"/>
                  </a:lnTo>
                  <a:lnTo>
                    <a:pt x="11" y="202"/>
                  </a:lnTo>
                  <a:lnTo>
                    <a:pt x="10" y="202"/>
                  </a:lnTo>
                  <a:lnTo>
                    <a:pt x="10" y="202"/>
                  </a:lnTo>
                  <a:lnTo>
                    <a:pt x="9" y="201"/>
                  </a:lnTo>
                  <a:lnTo>
                    <a:pt x="9" y="201"/>
                  </a:lnTo>
                  <a:lnTo>
                    <a:pt x="8" y="201"/>
                  </a:lnTo>
                  <a:lnTo>
                    <a:pt x="7" y="200"/>
                  </a:lnTo>
                  <a:lnTo>
                    <a:pt x="6" y="200"/>
                  </a:lnTo>
                  <a:lnTo>
                    <a:pt x="6" y="199"/>
                  </a:lnTo>
                  <a:lnTo>
                    <a:pt x="5" y="199"/>
                  </a:lnTo>
                  <a:lnTo>
                    <a:pt x="5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3" y="194"/>
                  </a:lnTo>
                  <a:lnTo>
                    <a:pt x="3" y="193"/>
                  </a:lnTo>
                  <a:lnTo>
                    <a:pt x="2" y="192"/>
                  </a:lnTo>
                  <a:lnTo>
                    <a:pt x="1" y="190"/>
                  </a:lnTo>
                  <a:lnTo>
                    <a:pt x="1" y="189"/>
                  </a:lnTo>
                  <a:lnTo>
                    <a:pt x="1" y="189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1" y="185"/>
                  </a:lnTo>
                  <a:lnTo>
                    <a:pt x="1" y="185"/>
                  </a:lnTo>
                  <a:lnTo>
                    <a:pt x="1" y="184"/>
                  </a:lnTo>
                  <a:lnTo>
                    <a:pt x="2" y="183"/>
                  </a:lnTo>
                  <a:lnTo>
                    <a:pt x="2" y="183"/>
                  </a:lnTo>
                  <a:lnTo>
                    <a:pt x="3" y="183"/>
                  </a:lnTo>
                  <a:lnTo>
                    <a:pt x="5" y="181"/>
                  </a:lnTo>
                  <a:lnTo>
                    <a:pt x="6" y="181"/>
                  </a:lnTo>
                  <a:lnTo>
                    <a:pt x="6" y="180"/>
                  </a:lnTo>
                  <a:lnTo>
                    <a:pt x="7" y="180"/>
                  </a:lnTo>
                  <a:lnTo>
                    <a:pt x="7" y="180"/>
                  </a:lnTo>
                  <a:lnTo>
                    <a:pt x="7" y="179"/>
                  </a:lnTo>
                  <a:lnTo>
                    <a:pt x="8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2" y="170"/>
                  </a:lnTo>
                  <a:lnTo>
                    <a:pt x="12" y="169"/>
                  </a:lnTo>
                  <a:lnTo>
                    <a:pt x="13" y="168"/>
                  </a:lnTo>
                  <a:lnTo>
                    <a:pt x="13" y="166"/>
                  </a:lnTo>
                  <a:lnTo>
                    <a:pt x="13" y="165"/>
                  </a:lnTo>
                  <a:lnTo>
                    <a:pt x="13" y="164"/>
                  </a:lnTo>
                  <a:lnTo>
                    <a:pt x="12" y="162"/>
                  </a:lnTo>
                  <a:lnTo>
                    <a:pt x="11" y="159"/>
                  </a:lnTo>
                  <a:lnTo>
                    <a:pt x="11" y="158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9" y="155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2"/>
                  </a:lnTo>
                  <a:lnTo>
                    <a:pt x="7" y="151"/>
                  </a:lnTo>
                  <a:lnTo>
                    <a:pt x="7" y="150"/>
                  </a:lnTo>
                  <a:lnTo>
                    <a:pt x="7" y="149"/>
                  </a:lnTo>
                  <a:lnTo>
                    <a:pt x="7" y="144"/>
                  </a:lnTo>
                  <a:lnTo>
                    <a:pt x="7" y="142"/>
                  </a:lnTo>
                  <a:lnTo>
                    <a:pt x="7" y="141"/>
                  </a:lnTo>
                  <a:lnTo>
                    <a:pt x="7" y="141"/>
                  </a:lnTo>
                  <a:lnTo>
                    <a:pt x="7" y="140"/>
                  </a:lnTo>
                  <a:lnTo>
                    <a:pt x="6" y="138"/>
                  </a:lnTo>
                  <a:lnTo>
                    <a:pt x="5" y="136"/>
                  </a:lnTo>
                  <a:lnTo>
                    <a:pt x="5" y="135"/>
                  </a:lnTo>
                  <a:lnTo>
                    <a:pt x="4" y="133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3" y="127"/>
                  </a:lnTo>
                  <a:lnTo>
                    <a:pt x="3" y="126"/>
                  </a:lnTo>
                  <a:lnTo>
                    <a:pt x="4" y="125"/>
                  </a:lnTo>
                  <a:lnTo>
                    <a:pt x="5" y="124"/>
                  </a:lnTo>
                  <a:lnTo>
                    <a:pt x="6" y="123"/>
                  </a:lnTo>
                  <a:lnTo>
                    <a:pt x="8" y="121"/>
                  </a:lnTo>
                  <a:lnTo>
                    <a:pt x="9" y="120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20"/>
                  </a:lnTo>
                  <a:lnTo>
                    <a:pt x="11" y="121"/>
                  </a:lnTo>
                  <a:lnTo>
                    <a:pt x="13" y="121"/>
                  </a:lnTo>
                  <a:lnTo>
                    <a:pt x="15" y="123"/>
                  </a:lnTo>
                  <a:lnTo>
                    <a:pt x="17" y="124"/>
                  </a:lnTo>
                  <a:lnTo>
                    <a:pt x="21" y="126"/>
                  </a:lnTo>
                  <a:lnTo>
                    <a:pt x="22" y="127"/>
                  </a:lnTo>
                  <a:lnTo>
                    <a:pt x="24" y="127"/>
                  </a:lnTo>
                  <a:lnTo>
                    <a:pt x="25" y="128"/>
                  </a:lnTo>
                  <a:lnTo>
                    <a:pt x="27" y="129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Freeform 24">
              <a:extLst>
                <a:ext uri="{FF2B5EF4-FFF2-40B4-BE49-F238E27FC236}">
                  <a16:creationId xmlns:a16="http://schemas.microsoft.com/office/drawing/2014/main" id="{88A46074-5AEB-4F0B-D971-F1A33FE9CF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2" y="2993"/>
              <a:ext cx="124" cy="138"/>
            </a:xfrm>
            <a:custGeom>
              <a:avLst/>
              <a:gdLst>
                <a:gd name="T0" fmla="*/ 3 w 124"/>
                <a:gd name="T1" fmla="*/ 131 h 138"/>
                <a:gd name="T2" fmla="*/ 7 w 124"/>
                <a:gd name="T3" fmla="*/ 131 h 138"/>
                <a:gd name="T4" fmla="*/ 9 w 124"/>
                <a:gd name="T5" fmla="*/ 130 h 138"/>
                <a:gd name="T6" fmla="*/ 15 w 124"/>
                <a:gd name="T7" fmla="*/ 123 h 138"/>
                <a:gd name="T8" fmla="*/ 18 w 124"/>
                <a:gd name="T9" fmla="*/ 121 h 138"/>
                <a:gd name="T10" fmla="*/ 20 w 124"/>
                <a:gd name="T11" fmla="*/ 120 h 138"/>
                <a:gd name="T12" fmla="*/ 24 w 124"/>
                <a:gd name="T13" fmla="*/ 120 h 138"/>
                <a:gd name="T14" fmla="*/ 29 w 124"/>
                <a:gd name="T15" fmla="*/ 123 h 138"/>
                <a:gd name="T16" fmla="*/ 35 w 124"/>
                <a:gd name="T17" fmla="*/ 124 h 138"/>
                <a:gd name="T18" fmla="*/ 39 w 124"/>
                <a:gd name="T19" fmla="*/ 126 h 138"/>
                <a:gd name="T20" fmla="*/ 46 w 124"/>
                <a:gd name="T21" fmla="*/ 129 h 138"/>
                <a:gd name="T22" fmla="*/ 50 w 124"/>
                <a:gd name="T23" fmla="*/ 129 h 138"/>
                <a:gd name="T24" fmla="*/ 52 w 124"/>
                <a:gd name="T25" fmla="*/ 130 h 138"/>
                <a:gd name="T26" fmla="*/ 53 w 124"/>
                <a:gd name="T27" fmla="*/ 133 h 138"/>
                <a:gd name="T28" fmla="*/ 54 w 124"/>
                <a:gd name="T29" fmla="*/ 136 h 138"/>
                <a:gd name="T30" fmla="*/ 56 w 124"/>
                <a:gd name="T31" fmla="*/ 138 h 138"/>
                <a:gd name="T32" fmla="*/ 59 w 124"/>
                <a:gd name="T33" fmla="*/ 138 h 138"/>
                <a:gd name="T34" fmla="*/ 63 w 124"/>
                <a:gd name="T35" fmla="*/ 138 h 138"/>
                <a:gd name="T36" fmla="*/ 66 w 124"/>
                <a:gd name="T37" fmla="*/ 136 h 138"/>
                <a:gd name="T38" fmla="*/ 70 w 124"/>
                <a:gd name="T39" fmla="*/ 133 h 138"/>
                <a:gd name="T40" fmla="*/ 71 w 124"/>
                <a:gd name="T41" fmla="*/ 130 h 138"/>
                <a:gd name="T42" fmla="*/ 70 w 124"/>
                <a:gd name="T43" fmla="*/ 124 h 138"/>
                <a:gd name="T44" fmla="*/ 71 w 124"/>
                <a:gd name="T45" fmla="*/ 121 h 138"/>
                <a:gd name="T46" fmla="*/ 75 w 124"/>
                <a:gd name="T47" fmla="*/ 117 h 138"/>
                <a:gd name="T48" fmla="*/ 80 w 124"/>
                <a:gd name="T49" fmla="*/ 112 h 138"/>
                <a:gd name="T50" fmla="*/ 82 w 124"/>
                <a:gd name="T51" fmla="*/ 111 h 138"/>
                <a:gd name="T52" fmla="*/ 85 w 124"/>
                <a:gd name="T53" fmla="*/ 112 h 138"/>
                <a:gd name="T54" fmla="*/ 88 w 124"/>
                <a:gd name="T55" fmla="*/ 117 h 138"/>
                <a:gd name="T56" fmla="*/ 91 w 124"/>
                <a:gd name="T57" fmla="*/ 120 h 138"/>
                <a:gd name="T58" fmla="*/ 96 w 124"/>
                <a:gd name="T59" fmla="*/ 122 h 138"/>
                <a:gd name="T60" fmla="*/ 99 w 124"/>
                <a:gd name="T61" fmla="*/ 122 h 138"/>
                <a:gd name="T62" fmla="*/ 105 w 124"/>
                <a:gd name="T63" fmla="*/ 120 h 138"/>
                <a:gd name="T64" fmla="*/ 110 w 124"/>
                <a:gd name="T65" fmla="*/ 121 h 138"/>
                <a:gd name="T66" fmla="*/ 113 w 124"/>
                <a:gd name="T67" fmla="*/ 121 h 138"/>
                <a:gd name="T68" fmla="*/ 119 w 124"/>
                <a:gd name="T69" fmla="*/ 120 h 138"/>
                <a:gd name="T70" fmla="*/ 122 w 124"/>
                <a:gd name="T71" fmla="*/ 118 h 138"/>
                <a:gd name="T72" fmla="*/ 124 w 124"/>
                <a:gd name="T73" fmla="*/ 117 h 138"/>
                <a:gd name="T74" fmla="*/ 123 w 124"/>
                <a:gd name="T75" fmla="*/ 113 h 138"/>
                <a:gd name="T76" fmla="*/ 120 w 124"/>
                <a:gd name="T77" fmla="*/ 109 h 138"/>
                <a:gd name="T78" fmla="*/ 114 w 124"/>
                <a:gd name="T79" fmla="*/ 99 h 138"/>
                <a:gd name="T80" fmla="*/ 111 w 124"/>
                <a:gd name="T81" fmla="*/ 92 h 138"/>
                <a:gd name="T82" fmla="*/ 111 w 124"/>
                <a:gd name="T83" fmla="*/ 88 h 138"/>
                <a:gd name="T84" fmla="*/ 113 w 124"/>
                <a:gd name="T85" fmla="*/ 79 h 138"/>
                <a:gd name="T86" fmla="*/ 113 w 124"/>
                <a:gd name="T87" fmla="*/ 76 h 138"/>
                <a:gd name="T88" fmla="*/ 111 w 124"/>
                <a:gd name="T89" fmla="*/ 72 h 138"/>
                <a:gd name="T90" fmla="*/ 109 w 124"/>
                <a:gd name="T91" fmla="*/ 65 h 138"/>
                <a:gd name="T92" fmla="*/ 109 w 124"/>
                <a:gd name="T93" fmla="*/ 59 h 138"/>
                <a:gd name="T94" fmla="*/ 107 w 124"/>
                <a:gd name="T95" fmla="*/ 51 h 138"/>
                <a:gd name="T96" fmla="*/ 105 w 124"/>
                <a:gd name="T97" fmla="*/ 43 h 138"/>
                <a:gd name="T98" fmla="*/ 105 w 124"/>
                <a:gd name="T99" fmla="*/ 29 h 138"/>
                <a:gd name="T100" fmla="*/ 106 w 124"/>
                <a:gd name="T101" fmla="*/ 20 h 138"/>
                <a:gd name="T102" fmla="*/ 104 w 124"/>
                <a:gd name="T103" fmla="*/ 16 h 138"/>
                <a:gd name="T104" fmla="*/ 99 w 124"/>
                <a:gd name="T105" fmla="*/ 8 h 138"/>
                <a:gd name="T106" fmla="*/ 97 w 124"/>
                <a:gd name="T107" fmla="*/ 3 h 138"/>
                <a:gd name="T108" fmla="*/ 98 w 124"/>
                <a:gd name="T10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4" h="138">
                  <a:moveTo>
                    <a:pt x="0" y="130"/>
                  </a:moveTo>
                  <a:lnTo>
                    <a:pt x="1" y="130"/>
                  </a:lnTo>
                  <a:lnTo>
                    <a:pt x="3" y="131"/>
                  </a:lnTo>
                  <a:lnTo>
                    <a:pt x="3" y="131"/>
                  </a:lnTo>
                  <a:lnTo>
                    <a:pt x="4" y="131"/>
                  </a:lnTo>
                  <a:lnTo>
                    <a:pt x="5" y="131"/>
                  </a:lnTo>
                  <a:lnTo>
                    <a:pt x="6" y="131"/>
                  </a:lnTo>
                  <a:lnTo>
                    <a:pt x="7" y="131"/>
                  </a:lnTo>
                  <a:lnTo>
                    <a:pt x="7" y="131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9" y="130"/>
                  </a:lnTo>
                  <a:lnTo>
                    <a:pt x="10" y="129"/>
                  </a:lnTo>
                  <a:lnTo>
                    <a:pt x="11" y="128"/>
                  </a:lnTo>
                  <a:lnTo>
                    <a:pt x="13" y="125"/>
                  </a:lnTo>
                  <a:lnTo>
                    <a:pt x="15" y="123"/>
                  </a:lnTo>
                  <a:lnTo>
                    <a:pt x="16" y="122"/>
                  </a:lnTo>
                  <a:lnTo>
                    <a:pt x="17" y="122"/>
                  </a:lnTo>
                  <a:lnTo>
                    <a:pt x="17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9" y="120"/>
                  </a:lnTo>
                  <a:lnTo>
                    <a:pt x="19" y="120"/>
                  </a:lnTo>
                  <a:lnTo>
                    <a:pt x="20" y="120"/>
                  </a:lnTo>
                  <a:lnTo>
                    <a:pt x="21" y="120"/>
                  </a:lnTo>
                  <a:lnTo>
                    <a:pt x="22" y="120"/>
                  </a:lnTo>
                  <a:lnTo>
                    <a:pt x="23" y="120"/>
                  </a:lnTo>
                  <a:lnTo>
                    <a:pt x="24" y="120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27" y="122"/>
                  </a:lnTo>
                  <a:lnTo>
                    <a:pt x="29" y="123"/>
                  </a:lnTo>
                  <a:lnTo>
                    <a:pt x="31" y="123"/>
                  </a:lnTo>
                  <a:lnTo>
                    <a:pt x="32" y="124"/>
                  </a:lnTo>
                  <a:lnTo>
                    <a:pt x="34" y="124"/>
                  </a:lnTo>
                  <a:lnTo>
                    <a:pt x="35" y="124"/>
                  </a:lnTo>
                  <a:lnTo>
                    <a:pt x="36" y="125"/>
                  </a:lnTo>
                  <a:lnTo>
                    <a:pt x="37" y="125"/>
                  </a:lnTo>
                  <a:lnTo>
                    <a:pt x="38" y="125"/>
                  </a:lnTo>
                  <a:lnTo>
                    <a:pt x="39" y="126"/>
                  </a:lnTo>
                  <a:lnTo>
                    <a:pt x="41" y="127"/>
                  </a:lnTo>
                  <a:lnTo>
                    <a:pt x="42" y="128"/>
                  </a:lnTo>
                  <a:lnTo>
                    <a:pt x="44" y="129"/>
                  </a:lnTo>
                  <a:lnTo>
                    <a:pt x="46" y="129"/>
                  </a:lnTo>
                  <a:lnTo>
                    <a:pt x="47" y="130"/>
                  </a:lnTo>
                  <a:lnTo>
                    <a:pt x="47" y="130"/>
                  </a:lnTo>
                  <a:lnTo>
                    <a:pt x="48" y="130"/>
                  </a:lnTo>
                  <a:lnTo>
                    <a:pt x="50" y="129"/>
                  </a:lnTo>
                  <a:lnTo>
                    <a:pt x="51" y="129"/>
                  </a:lnTo>
                  <a:lnTo>
                    <a:pt x="51" y="130"/>
                  </a:lnTo>
                  <a:lnTo>
                    <a:pt x="51" y="130"/>
                  </a:lnTo>
                  <a:lnTo>
                    <a:pt x="52" y="130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3" y="132"/>
                  </a:lnTo>
                  <a:lnTo>
                    <a:pt x="53" y="133"/>
                  </a:lnTo>
                  <a:lnTo>
                    <a:pt x="53" y="134"/>
                  </a:lnTo>
                  <a:lnTo>
                    <a:pt x="54" y="135"/>
                  </a:lnTo>
                  <a:lnTo>
                    <a:pt x="54" y="135"/>
                  </a:lnTo>
                  <a:lnTo>
                    <a:pt x="54" y="136"/>
                  </a:lnTo>
                  <a:lnTo>
                    <a:pt x="55" y="137"/>
                  </a:lnTo>
                  <a:lnTo>
                    <a:pt x="56" y="137"/>
                  </a:lnTo>
                  <a:lnTo>
                    <a:pt x="56" y="137"/>
                  </a:lnTo>
                  <a:lnTo>
                    <a:pt x="56" y="138"/>
                  </a:lnTo>
                  <a:lnTo>
                    <a:pt x="57" y="138"/>
                  </a:lnTo>
                  <a:lnTo>
                    <a:pt x="58" y="138"/>
                  </a:lnTo>
                  <a:lnTo>
                    <a:pt x="58" y="138"/>
                  </a:lnTo>
                  <a:lnTo>
                    <a:pt x="59" y="138"/>
                  </a:lnTo>
                  <a:lnTo>
                    <a:pt x="60" y="138"/>
                  </a:lnTo>
                  <a:lnTo>
                    <a:pt x="61" y="138"/>
                  </a:lnTo>
                  <a:lnTo>
                    <a:pt x="62" y="138"/>
                  </a:lnTo>
                  <a:lnTo>
                    <a:pt x="63" y="138"/>
                  </a:lnTo>
                  <a:lnTo>
                    <a:pt x="64" y="137"/>
                  </a:lnTo>
                  <a:lnTo>
                    <a:pt x="65" y="137"/>
                  </a:lnTo>
                  <a:lnTo>
                    <a:pt x="66" y="136"/>
                  </a:lnTo>
                  <a:lnTo>
                    <a:pt x="66" y="136"/>
                  </a:lnTo>
                  <a:lnTo>
                    <a:pt x="69" y="135"/>
                  </a:lnTo>
                  <a:lnTo>
                    <a:pt x="69" y="134"/>
                  </a:lnTo>
                  <a:lnTo>
                    <a:pt x="69" y="134"/>
                  </a:lnTo>
                  <a:lnTo>
                    <a:pt x="70" y="133"/>
                  </a:lnTo>
                  <a:lnTo>
                    <a:pt x="70" y="132"/>
                  </a:lnTo>
                  <a:lnTo>
                    <a:pt x="71" y="131"/>
                  </a:lnTo>
                  <a:lnTo>
                    <a:pt x="71" y="130"/>
                  </a:lnTo>
                  <a:lnTo>
                    <a:pt x="71" y="130"/>
                  </a:lnTo>
                  <a:lnTo>
                    <a:pt x="71" y="129"/>
                  </a:lnTo>
                  <a:lnTo>
                    <a:pt x="70" y="126"/>
                  </a:lnTo>
                  <a:lnTo>
                    <a:pt x="70" y="125"/>
                  </a:lnTo>
                  <a:lnTo>
                    <a:pt x="70" y="124"/>
                  </a:lnTo>
                  <a:lnTo>
                    <a:pt x="70" y="123"/>
                  </a:lnTo>
                  <a:lnTo>
                    <a:pt x="70" y="122"/>
                  </a:lnTo>
                  <a:lnTo>
                    <a:pt x="70" y="122"/>
                  </a:lnTo>
                  <a:lnTo>
                    <a:pt x="71" y="121"/>
                  </a:lnTo>
                  <a:lnTo>
                    <a:pt x="71" y="120"/>
                  </a:lnTo>
                  <a:lnTo>
                    <a:pt x="72" y="119"/>
                  </a:lnTo>
                  <a:lnTo>
                    <a:pt x="73" y="119"/>
                  </a:lnTo>
                  <a:lnTo>
                    <a:pt x="75" y="117"/>
                  </a:lnTo>
                  <a:lnTo>
                    <a:pt x="77" y="115"/>
                  </a:lnTo>
                  <a:lnTo>
                    <a:pt x="79" y="113"/>
                  </a:lnTo>
                  <a:lnTo>
                    <a:pt x="80" y="113"/>
                  </a:lnTo>
                  <a:lnTo>
                    <a:pt x="80" y="112"/>
                  </a:lnTo>
                  <a:lnTo>
                    <a:pt x="81" y="111"/>
                  </a:lnTo>
                  <a:lnTo>
                    <a:pt x="81" y="111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3" y="111"/>
                  </a:lnTo>
                  <a:lnTo>
                    <a:pt x="84" y="111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5" y="113"/>
                  </a:lnTo>
                  <a:lnTo>
                    <a:pt x="87" y="115"/>
                  </a:lnTo>
                  <a:lnTo>
                    <a:pt x="88" y="117"/>
                  </a:lnTo>
                  <a:lnTo>
                    <a:pt x="89" y="118"/>
                  </a:lnTo>
                  <a:lnTo>
                    <a:pt x="90" y="118"/>
                  </a:lnTo>
                  <a:lnTo>
                    <a:pt x="91" y="119"/>
                  </a:lnTo>
                  <a:lnTo>
                    <a:pt x="91" y="120"/>
                  </a:lnTo>
                  <a:lnTo>
                    <a:pt x="93" y="120"/>
                  </a:lnTo>
                  <a:lnTo>
                    <a:pt x="94" y="121"/>
                  </a:lnTo>
                  <a:lnTo>
                    <a:pt x="95" y="121"/>
                  </a:lnTo>
                  <a:lnTo>
                    <a:pt x="96" y="122"/>
                  </a:lnTo>
                  <a:lnTo>
                    <a:pt x="97" y="122"/>
                  </a:lnTo>
                  <a:lnTo>
                    <a:pt x="98" y="122"/>
                  </a:lnTo>
                  <a:lnTo>
                    <a:pt x="98" y="122"/>
                  </a:lnTo>
                  <a:lnTo>
                    <a:pt x="99" y="122"/>
                  </a:lnTo>
                  <a:lnTo>
                    <a:pt x="100" y="121"/>
                  </a:lnTo>
                  <a:lnTo>
                    <a:pt x="103" y="121"/>
                  </a:lnTo>
                  <a:lnTo>
                    <a:pt x="104" y="120"/>
                  </a:lnTo>
                  <a:lnTo>
                    <a:pt x="105" y="120"/>
                  </a:lnTo>
                  <a:lnTo>
                    <a:pt x="106" y="120"/>
                  </a:lnTo>
                  <a:lnTo>
                    <a:pt x="107" y="120"/>
                  </a:lnTo>
                  <a:lnTo>
                    <a:pt x="109" y="120"/>
                  </a:lnTo>
                  <a:lnTo>
                    <a:pt x="110" y="121"/>
                  </a:lnTo>
                  <a:lnTo>
                    <a:pt x="112" y="121"/>
                  </a:lnTo>
                  <a:lnTo>
                    <a:pt x="112" y="121"/>
                  </a:lnTo>
                  <a:lnTo>
                    <a:pt x="113" y="121"/>
                  </a:lnTo>
                  <a:lnTo>
                    <a:pt x="113" y="121"/>
                  </a:lnTo>
                  <a:lnTo>
                    <a:pt x="115" y="121"/>
                  </a:lnTo>
                  <a:lnTo>
                    <a:pt x="116" y="121"/>
                  </a:lnTo>
                  <a:lnTo>
                    <a:pt x="117" y="121"/>
                  </a:lnTo>
                  <a:lnTo>
                    <a:pt x="119" y="120"/>
                  </a:lnTo>
                  <a:lnTo>
                    <a:pt x="120" y="120"/>
                  </a:lnTo>
                  <a:lnTo>
                    <a:pt x="121" y="119"/>
                  </a:lnTo>
                  <a:lnTo>
                    <a:pt x="122" y="119"/>
                  </a:lnTo>
                  <a:lnTo>
                    <a:pt x="122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3" y="117"/>
                  </a:lnTo>
                  <a:lnTo>
                    <a:pt x="124" y="117"/>
                  </a:lnTo>
                  <a:lnTo>
                    <a:pt x="124" y="116"/>
                  </a:lnTo>
                  <a:lnTo>
                    <a:pt x="124" y="115"/>
                  </a:lnTo>
                  <a:lnTo>
                    <a:pt x="123" y="114"/>
                  </a:lnTo>
                  <a:lnTo>
                    <a:pt x="123" y="113"/>
                  </a:lnTo>
                  <a:lnTo>
                    <a:pt x="123" y="113"/>
                  </a:lnTo>
                  <a:lnTo>
                    <a:pt x="122" y="112"/>
                  </a:lnTo>
                  <a:lnTo>
                    <a:pt x="122" y="111"/>
                  </a:lnTo>
                  <a:lnTo>
                    <a:pt x="120" y="109"/>
                  </a:lnTo>
                  <a:lnTo>
                    <a:pt x="118" y="105"/>
                  </a:lnTo>
                  <a:lnTo>
                    <a:pt x="116" y="103"/>
                  </a:lnTo>
                  <a:lnTo>
                    <a:pt x="116" y="103"/>
                  </a:lnTo>
                  <a:lnTo>
                    <a:pt x="114" y="99"/>
                  </a:lnTo>
                  <a:lnTo>
                    <a:pt x="113" y="96"/>
                  </a:lnTo>
                  <a:lnTo>
                    <a:pt x="111" y="93"/>
                  </a:lnTo>
                  <a:lnTo>
                    <a:pt x="111" y="93"/>
                  </a:lnTo>
                  <a:lnTo>
                    <a:pt x="111" y="92"/>
                  </a:lnTo>
                  <a:lnTo>
                    <a:pt x="111" y="91"/>
                  </a:lnTo>
                  <a:lnTo>
                    <a:pt x="110" y="90"/>
                  </a:lnTo>
                  <a:lnTo>
                    <a:pt x="111" y="89"/>
                  </a:lnTo>
                  <a:lnTo>
                    <a:pt x="111" y="88"/>
                  </a:lnTo>
                  <a:lnTo>
                    <a:pt x="111" y="86"/>
                  </a:lnTo>
                  <a:lnTo>
                    <a:pt x="112" y="84"/>
                  </a:lnTo>
                  <a:lnTo>
                    <a:pt x="113" y="80"/>
                  </a:lnTo>
                  <a:lnTo>
                    <a:pt x="113" y="79"/>
                  </a:lnTo>
                  <a:lnTo>
                    <a:pt x="114" y="78"/>
                  </a:lnTo>
                  <a:lnTo>
                    <a:pt x="114" y="78"/>
                  </a:lnTo>
                  <a:lnTo>
                    <a:pt x="114" y="77"/>
                  </a:lnTo>
                  <a:lnTo>
                    <a:pt x="113" y="76"/>
                  </a:lnTo>
                  <a:lnTo>
                    <a:pt x="113" y="76"/>
                  </a:lnTo>
                  <a:lnTo>
                    <a:pt x="113" y="75"/>
                  </a:lnTo>
                  <a:lnTo>
                    <a:pt x="113" y="74"/>
                  </a:lnTo>
                  <a:lnTo>
                    <a:pt x="111" y="72"/>
                  </a:lnTo>
                  <a:lnTo>
                    <a:pt x="109" y="67"/>
                  </a:lnTo>
                  <a:lnTo>
                    <a:pt x="109" y="67"/>
                  </a:lnTo>
                  <a:lnTo>
                    <a:pt x="109" y="66"/>
                  </a:lnTo>
                  <a:lnTo>
                    <a:pt x="109" y="65"/>
                  </a:lnTo>
                  <a:lnTo>
                    <a:pt x="109" y="64"/>
                  </a:lnTo>
                  <a:lnTo>
                    <a:pt x="109" y="63"/>
                  </a:lnTo>
                  <a:lnTo>
                    <a:pt x="109" y="60"/>
                  </a:lnTo>
                  <a:lnTo>
                    <a:pt x="109" y="59"/>
                  </a:lnTo>
                  <a:lnTo>
                    <a:pt x="109" y="59"/>
                  </a:lnTo>
                  <a:lnTo>
                    <a:pt x="108" y="57"/>
                  </a:lnTo>
                  <a:lnTo>
                    <a:pt x="107" y="54"/>
                  </a:lnTo>
                  <a:lnTo>
                    <a:pt x="107" y="51"/>
                  </a:lnTo>
                  <a:lnTo>
                    <a:pt x="106" y="48"/>
                  </a:lnTo>
                  <a:lnTo>
                    <a:pt x="106" y="46"/>
                  </a:lnTo>
                  <a:lnTo>
                    <a:pt x="106" y="45"/>
                  </a:lnTo>
                  <a:lnTo>
                    <a:pt x="105" y="43"/>
                  </a:lnTo>
                  <a:lnTo>
                    <a:pt x="105" y="36"/>
                  </a:lnTo>
                  <a:lnTo>
                    <a:pt x="105" y="31"/>
                  </a:lnTo>
                  <a:lnTo>
                    <a:pt x="105" y="30"/>
                  </a:lnTo>
                  <a:lnTo>
                    <a:pt x="105" y="29"/>
                  </a:lnTo>
                  <a:lnTo>
                    <a:pt x="106" y="25"/>
                  </a:lnTo>
                  <a:lnTo>
                    <a:pt x="106" y="23"/>
                  </a:lnTo>
                  <a:lnTo>
                    <a:pt x="106" y="22"/>
                  </a:lnTo>
                  <a:lnTo>
                    <a:pt x="106" y="20"/>
                  </a:lnTo>
                  <a:lnTo>
                    <a:pt x="105" y="20"/>
                  </a:lnTo>
                  <a:lnTo>
                    <a:pt x="105" y="19"/>
                  </a:lnTo>
                  <a:lnTo>
                    <a:pt x="105" y="18"/>
                  </a:lnTo>
                  <a:lnTo>
                    <a:pt x="104" y="16"/>
                  </a:lnTo>
                  <a:lnTo>
                    <a:pt x="103" y="15"/>
                  </a:lnTo>
                  <a:lnTo>
                    <a:pt x="101" y="11"/>
                  </a:lnTo>
                  <a:lnTo>
                    <a:pt x="100" y="10"/>
                  </a:lnTo>
                  <a:lnTo>
                    <a:pt x="99" y="8"/>
                  </a:lnTo>
                  <a:lnTo>
                    <a:pt x="98" y="6"/>
                  </a:lnTo>
                  <a:lnTo>
                    <a:pt x="97" y="5"/>
                  </a:lnTo>
                  <a:lnTo>
                    <a:pt x="97" y="4"/>
                  </a:lnTo>
                  <a:lnTo>
                    <a:pt x="97" y="3"/>
                  </a:lnTo>
                  <a:lnTo>
                    <a:pt x="96" y="2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100" y="1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Freeform 25">
              <a:extLst>
                <a:ext uri="{FF2B5EF4-FFF2-40B4-BE49-F238E27FC236}">
                  <a16:creationId xmlns:a16="http://schemas.microsoft.com/office/drawing/2014/main" id="{50CFA49A-6FE1-D408-791D-6E98F4FD5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" y="3255"/>
              <a:ext cx="442" cy="291"/>
            </a:xfrm>
            <a:custGeom>
              <a:avLst/>
              <a:gdLst>
                <a:gd name="T0" fmla="*/ 131 w 442"/>
                <a:gd name="T1" fmla="*/ 34 h 291"/>
                <a:gd name="T2" fmla="*/ 150 w 442"/>
                <a:gd name="T3" fmla="*/ 29 h 291"/>
                <a:gd name="T4" fmla="*/ 179 w 442"/>
                <a:gd name="T5" fmla="*/ 25 h 291"/>
                <a:gd name="T6" fmla="*/ 192 w 442"/>
                <a:gd name="T7" fmla="*/ 43 h 291"/>
                <a:gd name="T8" fmla="*/ 213 w 442"/>
                <a:gd name="T9" fmla="*/ 58 h 291"/>
                <a:gd name="T10" fmla="*/ 242 w 442"/>
                <a:gd name="T11" fmla="*/ 75 h 291"/>
                <a:gd name="T12" fmla="*/ 261 w 442"/>
                <a:gd name="T13" fmla="*/ 74 h 291"/>
                <a:gd name="T14" fmla="*/ 282 w 442"/>
                <a:gd name="T15" fmla="*/ 75 h 291"/>
                <a:gd name="T16" fmla="*/ 287 w 442"/>
                <a:gd name="T17" fmla="*/ 63 h 291"/>
                <a:gd name="T18" fmla="*/ 298 w 442"/>
                <a:gd name="T19" fmla="*/ 47 h 291"/>
                <a:gd name="T20" fmla="*/ 325 w 442"/>
                <a:gd name="T21" fmla="*/ 31 h 291"/>
                <a:gd name="T22" fmla="*/ 336 w 442"/>
                <a:gd name="T23" fmla="*/ 20 h 291"/>
                <a:gd name="T24" fmla="*/ 359 w 442"/>
                <a:gd name="T25" fmla="*/ 29 h 291"/>
                <a:gd name="T26" fmla="*/ 389 w 442"/>
                <a:gd name="T27" fmla="*/ 47 h 291"/>
                <a:gd name="T28" fmla="*/ 408 w 442"/>
                <a:gd name="T29" fmla="*/ 34 h 291"/>
                <a:gd name="T30" fmla="*/ 427 w 442"/>
                <a:gd name="T31" fmla="*/ 6 h 291"/>
                <a:gd name="T32" fmla="*/ 441 w 442"/>
                <a:gd name="T33" fmla="*/ 1 h 291"/>
                <a:gd name="T34" fmla="*/ 430 w 442"/>
                <a:gd name="T35" fmla="*/ 40 h 291"/>
                <a:gd name="T36" fmla="*/ 426 w 442"/>
                <a:gd name="T37" fmla="*/ 62 h 291"/>
                <a:gd name="T38" fmla="*/ 416 w 442"/>
                <a:gd name="T39" fmla="*/ 87 h 291"/>
                <a:gd name="T40" fmla="*/ 402 w 442"/>
                <a:gd name="T41" fmla="*/ 96 h 291"/>
                <a:gd name="T42" fmla="*/ 412 w 442"/>
                <a:gd name="T43" fmla="*/ 133 h 291"/>
                <a:gd name="T44" fmla="*/ 409 w 442"/>
                <a:gd name="T45" fmla="*/ 161 h 291"/>
                <a:gd name="T46" fmla="*/ 416 w 442"/>
                <a:gd name="T47" fmla="*/ 185 h 291"/>
                <a:gd name="T48" fmla="*/ 429 w 442"/>
                <a:gd name="T49" fmla="*/ 210 h 291"/>
                <a:gd name="T50" fmla="*/ 436 w 442"/>
                <a:gd name="T51" fmla="*/ 220 h 291"/>
                <a:gd name="T52" fmla="*/ 440 w 442"/>
                <a:gd name="T53" fmla="*/ 241 h 291"/>
                <a:gd name="T54" fmla="*/ 433 w 442"/>
                <a:gd name="T55" fmla="*/ 265 h 291"/>
                <a:gd name="T56" fmla="*/ 423 w 442"/>
                <a:gd name="T57" fmla="*/ 278 h 291"/>
                <a:gd name="T58" fmla="*/ 390 w 442"/>
                <a:gd name="T59" fmla="*/ 267 h 291"/>
                <a:gd name="T60" fmla="*/ 363 w 442"/>
                <a:gd name="T61" fmla="*/ 268 h 291"/>
                <a:gd name="T62" fmla="*/ 351 w 442"/>
                <a:gd name="T63" fmla="*/ 283 h 291"/>
                <a:gd name="T64" fmla="*/ 325 w 442"/>
                <a:gd name="T65" fmla="*/ 284 h 291"/>
                <a:gd name="T66" fmla="*/ 311 w 442"/>
                <a:gd name="T67" fmla="*/ 290 h 291"/>
                <a:gd name="T68" fmla="*/ 290 w 442"/>
                <a:gd name="T69" fmla="*/ 275 h 291"/>
                <a:gd name="T70" fmla="*/ 261 w 442"/>
                <a:gd name="T71" fmla="*/ 255 h 291"/>
                <a:gd name="T72" fmla="*/ 224 w 442"/>
                <a:gd name="T73" fmla="*/ 242 h 291"/>
                <a:gd name="T74" fmla="*/ 207 w 442"/>
                <a:gd name="T75" fmla="*/ 230 h 291"/>
                <a:gd name="T76" fmla="*/ 188 w 442"/>
                <a:gd name="T77" fmla="*/ 221 h 291"/>
                <a:gd name="T78" fmla="*/ 173 w 442"/>
                <a:gd name="T79" fmla="*/ 241 h 291"/>
                <a:gd name="T80" fmla="*/ 148 w 442"/>
                <a:gd name="T81" fmla="*/ 233 h 291"/>
                <a:gd name="T82" fmla="*/ 143 w 442"/>
                <a:gd name="T83" fmla="*/ 218 h 291"/>
                <a:gd name="T84" fmla="*/ 123 w 442"/>
                <a:gd name="T85" fmla="*/ 209 h 291"/>
                <a:gd name="T86" fmla="*/ 109 w 442"/>
                <a:gd name="T87" fmla="*/ 199 h 291"/>
                <a:gd name="T88" fmla="*/ 89 w 442"/>
                <a:gd name="T89" fmla="*/ 186 h 291"/>
                <a:gd name="T90" fmla="*/ 68 w 442"/>
                <a:gd name="T91" fmla="*/ 186 h 291"/>
                <a:gd name="T92" fmla="*/ 38 w 442"/>
                <a:gd name="T93" fmla="*/ 157 h 291"/>
                <a:gd name="T94" fmla="*/ 46 w 442"/>
                <a:gd name="T95" fmla="*/ 131 h 291"/>
                <a:gd name="T96" fmla="*/ 41 w 442"/>
                <a:gd name="T97" fmla="*/ 114 h 291"/>
                <a:gd name="T98" fmla="*/ 28 w 442"/>
                <a:gd name="T99" fmla="*/ 99 h 291"/>
                <a:gd name="T100" fmla="*/ 15 w 442"/>
                <a:gd name="T101" fmla="*/ 93 h 291"/>
                <a:gd name="T102" fmla="*/ 0 w 442"/>
                <a:gd name="T103" fmla="*/ 82 h 291"/>
                <a:gd name="T104" fmla="*/ 4 w 442"/>
                <a:gd name="T105" fmla="*/ 74 h 291"/>
                <a:gd name="T106" fmla="*/ 11 w 442"/>
                <a:gd name="T107" fmla="*/ 61 h 291"/>
                <a:gd name="T108" fmla="*/ 11 w 442"/>
                <a:gd name="T109" fmla="*/ 52 h 291"/>
                <a:gd name="T110" fmla="*/ 22 w 442"/>
                <a:gd name="T111" fmla="*/ 51 h 291"/>
                <a:gd name="T112" fmla="*/ 40 w 442"/>
                <a:gd name="T113" fmla="*/ 45 h 291"/>
                <a:gd name="T114" fmla="*/ 57 w 442"/>
                <a:gd name="T115" fmla="*/ 32 h 291"/>
                <a:gd name="T116" fmla="*/ 73 w 442"/>
                <a:gd name="T117" fmla="*/ 36 h 291"/>
                <a:gd name="T118" fmla="*/ 94 w 442"/>
                <a:gd name="T119" fmla="*/ 38 h 291"/>
                <a:gd name="T120" fmla="*/ 111 w 442"/>
                <a:gd name="T121" fmla="*/ 24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2" h="291">
                  <a:moveTo>
                    <a:pt x="121" y="18"/>
                  </a:moveTo>
                  <a:lnTo>
                    <a:pt x="121" y="18"/>
                  </a:lnTo>
                  <a:lnTo>
                    <a:pt x="122" y="19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5" y="22"/>
                  </a:lnTo>
                  <a:lnTo>
                    <a:pt x="126" y="24"/>
                  </a:lnTo>
                  <a:lnTo>
                    <a:pt x="126" y="25"/>
                  </a:lnTo>
                  <a:lnTo>
                    <a:pt x="127" y="27"/>
                  </a:lnTo>
                  <a:lnTo>
                    <a:pt x="128" y="30"/>
                  </a:lnTo>
                  <a:lnTo>
                    <a:pt x="128" y="31"/>
                  </a:lnTo>
                  <a:lnTo>
                    <a:pt x="129" y="32"/>
                  </a:lnTo>
                  <a:lnTo>
                    <a:pt x="129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8" y="35"/>
                  </a:lnTo>
                  <a:lnTo>
                    <a:pt x="139" y="35"/>
                  </a:lnTo>
                  <a:lnTo>
                    <a:pt x="140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5" y="31"/>
                  </a:lnTo>
                  <a:lnTo>
                    <a:pt x="148" y="30"/>
                  </a:lnTo>
                  <a:lnTo>
                    <a:pt x="149" y="29"/>
                  </a:lnTo>
                  <a:lnTo>
                    <a:pt x="150" y="29"/>
                  </a:lnTo>
                  <a:lnTo>
                    <a:pt x="150" y="28"/>
                  </a:lnTo>
                  <a:lnTo>
                    <a:pt x="151" y="28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4"/>
                  </a:lnTo>
                  <a:lnTo>
                    <a:pt x="156" y="23"/>
                  </a:lnTo>
                  <a:lnTo>
                    <a:pt x="158" y="23"/>
                  </a:lnTo>
                  <a:lnTo>
                    <a:pt x="160" y="22"/>
                  </a:lnTo>
                  <a:lnTo>
                    <a:pt x="161" y="21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70" y="23"/>
                  </a:lnTo>
                  <a:lnTo>
                    <a:pt x="174" y="24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0" y="26"/>
                  </a:lnTo>
                  <a:lnTo>
                    <a:pt x="181" y="26"/>
                  </a:lnTo>
                  <a:lnTo>
                    <a:pt x="182" y="27"/>
                  </a:lnTo>
                  <a:lnTo>
                    <a:pt x="183" y="27"/>
                  </a:lnTo>
                  <a:lnTo>
                    <a:pt x="183" y="28"/>
                  </a:lnTo>
                  <a:lnTo>
                    <a:pt x="185" y="31"/>
                  </a:lnTo>
                  <a:lnTo>
                    <a:pt x="186" y="31"/>
                  </a:lnTo>
                  <a:lnTo>
                    <a:pt x="186" y="32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88" y="35"/>
                  </a:lnTo>
                  <a:lnTo>
                    <a:pt x="189" y="39"/>
                  </a:lnTo>
                  <a:lnTo>
                    <a:pt x="190" y="40"/>
                  </a:lnTo>
                  <a:lnTo>
                    <a:pt x="190" y="41"/>
                  </a:lnTo>
                  <a:lnTo>
                    <a:pt x="191" y="42"/>
                  </a:lnTo>
                  <a:lnTo>
                    <a:pt x="191" y="43"/>
                  </a:lnTo>
                  <a:lnTo>
                    <a:pt x="192" y="43"/>
                  </a:lnTo>
                  <a:lnTo>
                    <a:pt x="192" y="44"/>
                  </a:lnTo>
                  <a:lnTo>
                    <a:pt x="193" y="44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6"/>
                  </a:lnTo>
                  <a:lnTo>
                    <a:pt x="200" y="46"/>
                  </a:lnTo>
                  <a:lnTo>
                    <a:pt x="201" y="47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4" y="49"/>
                  </a:lnTo>
                  <a:lnTo>
                    <a:pt x="206" y="50"/>
                  </a:lnTo>
                  <a:lnTo>
                    <a:pt x="208" y="53"/>
                  </a:lnTo>
                  <a:lnTo>
                    <a:pt x="209" y="54"/>
                  </a:lnTo>
                  <a:lnTo>
                    <a:pt x="210" y="55"/>
                  </a:lnTo>
                  <a:lnTo>
                    <a:pt x="211" y="56"/>
                  </a:lnTo>
                  <a:lnTo>
                    <a:pt x="212" y="57"/>
                  </a:lnTo>
                  <a:lnTo>
                    <a:pt x="213" y="58"/>
                  </a:lnTo>
                  <a:lnTo>
                    <a:pt x="215" y="58"/>
                  </a:lnTo>
                  <a:lnTo>
                    <a:pt x="218" y="60"/>
                  </a:lnTo>
                  <a:lnTo>
                    <a:pt x="219" y="60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2"/>
                  </a:lnTo>
                  <a:lnTo>
                    <a:pt x="224" y="64"/>
                  </a:lnTo>
                  <a:lnTo>
                    <a:pt x="225" y="65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8" y="67"/>
                  </a:lnTo>
                  <a:lnTo>
                    <a:pt x="231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6" y="70"/>
                  </a:lnTo>
                  <a:lnTo>
                    <a:pt x="237" y="71"/>
                  </a:lnTo>
                  <a:lnTo>
                    <a:pt x="238" y="72"/>
                  </a:lnTo>
                  <a:lnTo>
                    <a:pt x="242" y="75"/>
                  </a:lnTo>
                  <a:lnTo>
                    <a:pt x="243" y="75"/>
                  </a:lnTo>
                  <a:lnTo>
                    <a:pt x="244" y="76"/>
                  </a:lnTo>
                  <a:lnTo>
                    <a:pt x="245" y="76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7" y="77"/>
                  </a:lnTo>
                  <a:lnTo>
                    <a:pt x="248" y="77"/>
                  </a:lnTo>
                  <a:lnTo>
                    <a:pt x="249" y="77"/>
                  </a:lnTo>
                  <a:lnTo>
                    <a:pt x="251" y="76"/>
                  </a:lnTo>
                  <a:lnTo>
                    <a:pt x="254" y="76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1" y="74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6" y="75"/>
                  </a:lnTo>
                  <a:lnTo>
                    <a:pt x="269" y="75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4" y="74"/>
                  </a:lnTo>
                  <a:lnTo>
                    <a:pt x="275" y="75"/>
                  </a:lnTo>
                  <a:lnTo>
                    <a:pt x="277" y="75"/>
                  </a:lnTo>
                  <a:lnTo>
                    <a:pt x="278" y="76"/>
                  </a:lnTo>
                  <a:lnTo>
                    <a:pt x="279" y="76"/>
                  </a:lnTo>
                  <a:lnTo>
                    <a:pt x="280" y="76"/>
                  </a:lnTo>
                  <a:lnTo>
                    <a:pt x="281" y="76"/>
                  </a:lnTo>
                  <a:lnTo>
                    <a:pt x="281" y="75"/>
                  </a:lnTo>
                  <a:lnTo>
                    <a:pt x="282" y="75"/>
                  </a:lnTo>
                  <a:lnTo>
                    <a:pt x="282" y="75"/>
                  </a:lnTo>
                  <a:lnTo>
                    <a:pt x="283" y="75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2" y="70"/>
                  </a:lnTo>
                  <a:lnTo>
                    <a:pt x="282" y="69"/>
                  </a:lnTo>
                  <a:lnTo>
                    <a:pt x="282" y="69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7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4" y="65"/>
                  </a:lnTo>
                  <a:lnTo>
                    <a:pt x="286" y="64"/>
                  </a:lnTo>
                  <a:lnTo>
                    <a:pt x="287" y="63"/>
                  </a:lnTo>
                  <a:lnTo>
                    <a:pt x="288" y="62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0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5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1" y="52"/>
                  </a:lnTo>
                  <a:lnTo>
                    <a:pt x="292" y="51"/>
                  </a:lnTo>
                  <a:lnTo>
                    <a:pt x="293" y="50"/>
                  </a:lnTo>
                  <a:lnTo>
                    <a:pt x="294" y="50"/>
                  </a:lnTo>
                  <a:lnTo>
                    <a:pt x="296" y="48"/>
                  </a:lnTo>
                  <a:lnTo>
                    <a:pt x="298" y="47"/>
                  </a:lnTo>
                  <a:lnTo>
                    <a:pt x="300" y="46"/>
                  </a:lnTo>
                  <a:lnTo>
                    <a:pt x="302" y="44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6" y="42"/>
                  </a:lnTo>
                  <a:lnTo>
                    <a:pt x="309" y="41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20" y="35"/>
                  </a:lnTo>
                  <a:lnTo>
                    <a:pt x="321" y="34"/>
                  </a:lnTo>
                  <a:lnTo>
                    <a:pt x="322" y="33"/>
                  </a:lnTo>
                  <a:lnTo>
                    <a:pt x="323" y="32"/>
                  </a:lnTo>
                  <a:lnTo>
                    <a:pt x="324" y="31"/>
                  </a:lnTo>
                  <a:lnTo>
                    <a:pt x="325" y="31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7" y="27"/>
                  </a:lnTo>
                  <a:lnTo>
                    <a:pt x="329" y="24"/>
                  </a:lnTo>
                  <a:lnTo>
                    <a:pt x="329" y="23"/>
                  </a:lnTo>
                  <a:lnTo>
                    <a:pt x="329" y="22"/>
                  </a:lnTo>
                  <a:lnTo>
                    <a:pt x="330" y="21"/>
                  </a:lnTo>
                  <a:lnTo>
                    <a:pt x="330" y="21"/>
                  </a:lnTo>
                  <a:lnTo>
                    <a:pt x="331" y="21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39" y="22"/>
                  </a:lnTo>
                  <a:lnTo>
                    <a:pt x="342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7" y="26"/>
                  </a:lnTo>
                  <a:lnTo>
                    <a:pt x="352" y="28"/>
                  </a:lnTo>
                  <a:lnTo>
                    <a:pt x="353" y="28"/>
                  </a:lnTo>
                  <a:lnTo>
                    <a:pt x="355" y="29"/>
                  </a:lnTo>
                  <a:lnTo>
                    <a:pt x="356" y="29"/>
                  </a:lnTo>
                  <a:lnTo>
                    <a:pt x="357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9" y="29"/>
                  </a:lnTo>
                  <a:lnTo>
                    <a:pt x="359" y="29"/>
                  </a:lnTo>
                  <a:lnTo>
                    <a:pt x="360" y="30"/>
                  </a:lnTo>
                  <a:lnTo>
                    <a:pt x="362" y="31"/>
                  </a:lnTo>
                  <a:lnTo>
                    <a:pt x="363" y="32"/>
                  </a:lnTo>
                  <a:lnTo>
                    <a:pt x="365" y="33"/>
                  </a:lnTo>
                  <a:lnTo>
                    <a:pt x="366" y="34"/>
                  </a:lnTo>
                  <a:lnTo>
                    <a:pt x="367" y="35"/>
                  </a:lnTo>
                  <a:lnTo>
                    <a:pt x="370" y="38"/>
                  </a:lnTo>
                  <a:lnTo>
                    <a:pt x="371" y="39"/>
                  </a:lnTo>
                  <a:lnTo>
                    <a:pt x="373" y="40"/>
                  </a:lnTo>
                  <a:lnTo>
                    <a:pt x="374" y="41"/>
                  </a:lnTo>
                  <a:lnTo>
                    <a:pt x="375" y="41"/>
                  </a:lnTo>
                  <a:lnTo>
                    <a:pt x="376" y="42"/>
                  </a:lnTo>
                  <a:lnTo>
                    <a:pt x="377" y="43"/>
                  </a:lnTo>
                  <a:lnTo>
                    <a:pt x="378" y="43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9" y="47"/>
                  </a:lnTo>
                  <a:lnTo>
                    <a:pt x="390" y="47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3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5" y="47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8" y="46"/>
                  </a:lnTo>
                  <a:lnTo>
                    <a:pt x="399" y="45"/>
                  </a:lnTo>
                  <a:lnTo>
                    <a:pt x="400" y="45"/>
                  </a:lnTo>
                  <a:lnTo>
                    <a:pt x="401" y="44"/>
                  </a:lnTo>
                  <a:lnTo>
                    <a:pt x="402" y="42"/>
                  </a:lnTo>
                  <a:lnTo>
                    <a:pt x="406" y="37"/>
                  </a:lnTo>
                  <a:lnTo>
                    <a:pt x="407" y="35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9" y="33"/>
                  </a:lnTo>
                  <a:lnTo>
                    <a:pt x="412" y="30"/>
                  </a:lnTo>
                  <a:lnTo>
                    <a:pt x="414" y="28"/>
                  </a:lnTo>
                  <a:lnTo>
                    <a:pt x="416" y="27"/>
                  </a:lnTo>
                  <a:lnTo>
                    <a:pt x="417" y="26"/>
                  </a:lnTo>
                  <a:lnTo>
                    <a:pt x="418" y="24"/>
                  </a:lnTo>
                  <a:lnTo>
                    <a:pt x="419" y="22"/>
                  </a:lnTo>
                  <a:lnTo>
                    <a:pt x="420" y="21"/>
                  </a:lnTo>
                  <a:lnTo>
                    <a:pt x="421" y="20"/>
                  </a:lnTo>
                  <a:lnTo>
                    <a:pt x="421" y="18"/>
                  </a:lnTo>
                  <a:lnTo>
                    <a:pt x="422" y="17"/>
                  </a:lnTo>
                  <a:lnTo>
                    <a:pt x="424" y="12"/>
                  </a:lnTo>
                  <a:lnTo>
                    <a:pt x="424" y="11"/>
                  </a:lnTo>
                  <a:lnTo>
                    <a:pt x="425" y="10"/>
                  </a:lnTo>
                  <a:lnTo>
                    <a:pt x="426" y="9"/>
                  </a:lnTo>
                  <a:lnTo>
                    <a:pt x="426" y="7"/>
                  </a:lnTo>
                  <a:lnTo>
                    <a:pt x="427" y="6"/>
                  </a:lnTo>
                  <a:lnTo>
                    <a:pt x="428" y="6"/>
                  </a:lnTo>
                  <a:lnTo>
                    <a:pt x="429" y="5"/>
                  </a:lnTo>
                  <a:lnTo>
                    <a:pt x="430" y="4"/>
                  </a:lnTo>
                  <a:lnTo>
                    <a:pt x="431" y="3"/>
                  </a:lnTo>
                  <a:lnTo>
                    <a:pt x="432" y="2"/>
                  </a:lnTo>
                  <a:lnTo>
                    <a:pt x="433" y="2"/>
                  </a:lnTo>
                  <a:lnTo>
                    <a:pt x="434" y="1"/>
                  </a:lnTo>
                  <a:lnTo>
                    <a:pt x="435" y="1"/>
                  </a:lnTo>
                  <a:lnTo>
                    <a:pt x="436" y="0"/>
                  </a:lnTo>
                  <a:lnTo>
                    <a:pt x="437" y="0"/>
                  </a:lnTo>
                  <a:lnTo>
                    <a:pt x="438" y="0"/>
                  </a:lnTo>
                  <a:lnTo>
                    <a:pt x="439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2" y="1"/>
                  </a:lnTo>
                  <a:lnTo>
                    <a:pt x="442" y="1"/>
                  </a:lnTo>
                  <a:lnTo>
                    <a:pt x="442" y="3"/>
                  </a:lnTo>
                  <a:lnTo>
                    <a:pt x="442" y="4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0" y="11"/>
                  </a:lnTo>
                  <a:lnTo>
                    <a:pt x="440" y="13"/>
                  </a:lnTo>
                  <a:lnTo>
                    <a:pt x="439" y="17"/>
                  </a:lnTo>
                  <a:lnTo>
                    <a:pt x="437" y="20"/>
                  </a:lnTo>
                  <a:lnTo>
                    <a:pt x="435" y="28"/>
                  </a:lnTo>
                  <a:lnTo>
                    <a:pt x="433" y="32"/>
                  </a:lnTo>
                  <a:lnTo>
                    <a:pt x="433" y="33"/>
                  </a:lnTo>
                  <a:lnTo>
                    <a:pt x="431" y="35"/>
                  </a:lnTo>
                  <a:lnTo>
                    <a:pt x="430" y="39"/>
                  </a:lnTo>
                  <a:lnTo>
                    <a:pt x="430" y="40"/>
                  </a:lnTo>
                  <a:lnTo>
                    <a:pt x="429" y="42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6"/>
                  </a:lnTo>
                  <a:lnTo>
                    <a:pt x="428" y="47"/>
                  </a:lnTo>
                  <a:lnTo>
                    <a:pt x="428" y="51"/>
                  </a:lnTo>
                  <a:lnTo>
                    <a:pt x="428" y="52"/>
                  </a:lnTo>
                  <a:lnTo>
                    <a:pt x="428" y="53"/>
                  </a:lnTo>
                  <a:lnTo>
                    <a:pt x="428" y="54"/>
                  </a:lnTo>
                  <a:lnTo>
                    <a:pt x="428" y="55"/>
                  </a:lnTo>
                  <a:lnTo>
                    <a:pt x="427" y="58"/>
                  </a:lnTo>
                  <a:lnTo>
                    <a:pt x="427" y="59"/>
                  </a:lnTo>
                  <a:lnTo>
                    <a:pt x="426" y="60"/>
                  </a:lnTo>
                  <a:lnTo>
                    <a:pt x="426" y="61"/>
                  </a:lnTo>
                  <a:lnTo>
                    <a:pt x="426" y="62"/>
                  </a:lnTo>
                  <a:lnTo>
                    <a:pt x="426" y="62"/>
                  </a:lnTo>
                  <a:lnTo>
                    <a:pt x="427" y="63"/>
                  </a:lnTo>
                  <a:lnTo>
                    <a:pt x="427" y="66"/>
                  </a:lnTo>
                  <a:lnTo>
                    <a:pt x="427" y="67"/>
                  </a:lnTo>
                  <a:lnTo>
                    <a:pt x="428" y="70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8" y="74"/>
                  </a:lnTo>
                  <a:lnTo>
                    <a:pt x="427" y="75"/>
                  </a:lnTo>
                  <a:lnTo>
                    <a:pt x="427" y="76"/>
                  </a:lnTo>
                  <a:lnTo>
                    <a:pt x="426" y="77"/>
                  </a:lnTo>
                  <a:lnTo>
                    <a:pt x="426" y="78"/>
                  </a:lnTo>
                  <a:lnTo>
                    <a:pt x="426" y="78"/>
                  </a:lnTo>
                  <a:lnTo>
                    <a:pt x="425" y="79"/>
                  </a:lnTo>
                  <a:lnTo>
                    <a:pt x="424" y="79"/>
                  </a:lnTo>
                  <a:lnTo>
                    <a:pt x="423" y="81"/>
                  </a:lnTo>
                  <a:lnTo>
                    <a:pt x="420" y="83"/>
                  </a:lnTo>
                  <a:lnTo>
                    <a:pt x="419" y="84"/>
                  </a:lnTo>
                  <a:lnTo>
                    <a:pt x="416" y="87"/>
                  </a:lnTo>
                  <a:lnTo>
                    <a:pt x="416" y="88"/>
                  </a:lnTo>
                  <a:lnTo>
                    <a:pt x="415" y="89"/>
                  </a:lnTo>
                  <a:lnTo>
                    <a:pt x="414" y="90"/>
                  </a:lnTo>
                  <a:lnTo>
                    <a:pt x="413" y="91"/>
                  </a:lnTo>
                  <a:lnTo>
                    <a:pt x="412" y="91"/>
                  </a:lnTo>
                  <a:lnTo>
                    <a:pt x="412" y="92"/>
                  </a:lnTo>
                  <a:lnTo>
                    <a:pt x="411" y="92"/>
                  </a:lnTo>
                  <a:lnTo>
                    <a:pt x="410" y="93"/>
                  </a:lnTo>
                  <a:lnTo>
                    <a:pt x="410" y="93"/>
                  </a:lnTo>
                  <a:lnTo>
                    <a:pt x="409" y="93"/>
                  </a:lnTo>
                  <a:lnTo>
                    <a:pt x="406" y="94"/>
                  </a:lnTo>
                  <a:lnTo>
                    <a:pt x="405" y="94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2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2" y="97"/>
                  </a:lnTo>
                  <a:lnTo>
                    <a:pt x="401" y="98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2" y="101"/>
                  </a:lnTo>
                  <a:lnTo>
                    <a:pt x="404" y="105"/>
                  </a:lnTo>
                  <a:lnTo>
                    <a:pt x="405" y="108"/>
                  </a:lnTo>
                  <a:lnTo>
                    <a:pt x="405" y="110"/>
                  </a:lnTo>
                  <a:lnTo>
                    <a:pt x="406" y="115"/>
                  </a:lnTo>
                  <a:lnTo>
                    <a:pt x="407" y="117"/>
                  </a:lnTo>
                  <a:lnTo>
                    <a:pt x="407" y="119"/>
                  </a:lnTo>
                  <a:lnTo>
                    <a:pt x="408" y="121"/>
                  </a:lnTo>
                  <a:lnTo>
                    <a:pt x="410" y="126"/>
                  </a:lnTo>
                  <a:lnTo>
                    <a:pt x="411" y="131"/>
                  </a:lnTo>
                  <a:lnTo>
                    <a:pt x="412" y="132"/>
                  </a:lnTo>
                  <a:lnTo>
                    <a:pt x="412" y="133"/>
                  </a:lnTo>
                  <a:lnTo>
                    <a:pt x="412" y="135"/>
                  </a:lnTo>
                  <a:lnTo>
                    <a:pt x="413" y="139"/>
                  </a:lnTo>
                  <a:lnTo>
                    <a:pt x="413" y="142"/>
                  </a:lnTo>
                  <a:lnTo>
                    <a:pt x="413" y="143"/>
                  </a:lnTo>
                  <a:lnTo>
                    <a:pt x="413" y="145"/>
                  </a:lnTo>
                  <a:lnTo>
                    <a:pt x="414" y="148"/>
                  </a:lnTo>
                  <a:lnTo>
                    <a:pt x="414" y="150"/>
                  </a:lnTo>
                  <a:lnTo>
                    <a:pt x="414" y="151"/>
                  </a:lnTo>
                  <a:lnTo>
                    <a:pt x="414" y="151"/>
                  </a:lnTo>
                  <a:lnTo>
                    <a:pt x="414" y="152"/>
                  </a:lnTo>
                  <a:lnTo>
                    <a:pt x="414" y="153"/>
                  </a:lnTo>
                  <a:lnTo>
                    <a:pt x="413" y="154"/>
                  </a:lnTo>
                  <a:lnTo>
                    <a:pt x="413" y="154"/>
                  </a:lnTo>
                  <a:lnTo>
                    <a:pt x="411" y="157"/>
                  </a:lnTo>
                  <a:lnTo>
                    <a:pt x="410" y="158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09" y="161"/>
                  </a:lnTo>
                  <a:lnTo>
                    <a:pt x="409" y="162"/>
                  </a:lnTo>
                  <a:lnTo>
                    <a:pt x="409" y="163"/>
                  </a:lnTo>
                  <a:lnTo>
                    <a:pt x="408" y="164"/>
                  </a:lnTo>
                  <a:lnTo>
                    <a:pt x="408" y="165"/>
                  </a:lnTo>
                  <a:lnTo>
                    <a:pt x="408" y="166"/>
                  </a:lnTo>
                  <a:lnTo>
                    <a:pt x="408" y="167"/>
                  </a:lnTo>
                  <a:lnTo>
                    <a:pt x="408" y="169"/>
                  </a:lnTo>
                  <a:lnTo>
                    <a:pt x="409" y="170"/>
                  </a:lnTo>
                  <a:lnTo>
                    <a:pt x="409" y="171"/>
                  </a:lnTo>
                  <a:lnTo>
                    <a:pt x="409" y="172"/>
                  </a:lnTo>
                  <a:lnTo>
                    <a:pt x="410" y="173"/>
                  </a:lnTo>
                  <a:lnTo>
                    <a:pt x="412" y="176"/>
                  </a:lnTo>
                  <a:lnTo>
                    <a:pt x="413" y="177"/>
                  </a:lnTo>
                  <a:lnTo>
                    <a:pt x="413" y="178"/>
                  </a:lnTo>
                  <a:lnTo>
                    <a:pt x="413" y="179"/>
                  </a:lnTo>
                  <a:lnTo>
                    <a:pt x="414" y="180"/>
                  </a:lnTo>
                  <a:lnTo>
                    <a:pt x="415" y="183"/>
                  </a:lnTo>
                  <a:lnTo>
                    <a:pt x="416" y="185"/>
                  </a:lnTo>
                  <a:lnTo>
                    <a:pt x="416" y="187"/>
                  </a:lnTo>
                  <a:lnTo>
                    <a:pt x="417" y="189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21" y="193"/>
                  </a:lnTo>
                  <a:lnTo>
                    <a:pt x="422" y="195"/>
                  </a:lnTo>
                  <a:lnTo>
                    <a:pt x="425" y="198"/>
                  </a:lnTo>
                  <a:lnTo>
                    <a:pt x="425" y="199"/>
                  </a:lnTo>
                  <a:lnTo>
                    <a:pt x="426" y="199"/>
                  </a:lnTo>
                  <a:lnTo>
                    <a:pt x="426" y="200"/>
                  </a:lnTo>
                  <a:lnTo>
                    <a:pt x="427" y="201"/>
                  </a:lnTo>
                  <a:lnTo>
                    <a:pt x="427" y="202"/>
                  </a:lnTo>
                  <a:lnTo>
                    <a:pt x="427" y="205"/>
                  </a:lnTo>
                  <a:lnTo>
                    <a:pt x="427" y="206"/>
                  </a:lnTo>
                  <a:lnTo>
                    <a:pt x="428" y="206"/>
                  </a:lnTo>
                  <a:lnTo>
                    <a:pt x="429" y="209"/>
                  </a:lnTo>
                  <a:lnTo>
                    <a:pt x="429" y="210"/>
                  </a:lnTo>
                  <a:lnTo>
                    <a:pt x="429" y="210"/>
                  </a:lnTo>
                  <a:lnTo>
                    <a:pt x="429" y="211"/>
                  </a:lnTo>
                  <a:lnTo>
                    <a:pt x="429" y="212"/>
                  </a:lnTo>
                  <a:lnTo>
                    <a:pt x="429" y="213"/>
                  </a:lnTo>
                  <a:lnTo>
                    <a:pt x="428" y="215"/>
                  </a:lnTo>
                  <a:lnTo>
                    <a:pt x="428" y="216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8"/>
                  </a:lnTo>
                  <a:lnTo>
                    <a:pt x="428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0" y="218"/>
                  </a:lnTo>
                  <a:lnTo>
                    <a:pt x="431" y="218"/>
                  </a:lnTo>
                  <a:lnTo>
                    <a:pt x="432" y="219"/>
                  </a:lnTo>
                  <a:lnTo>
                    <a:pt x="435" y="219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7" y="220"/>
                  </a:lnTo>
                  <a:lnTo>
                    <a:pt x="438" y="221"/>
                  </a:lnTo>
                  <a:lnTo>
                    <a:pt x="439" y="221"/>
                  </a:lnTo>
                  <a:lnTo>
                    <a:pt x="439" y="222"/>
                  </a:lnTo>
                  <a:lnTo>
                    <a:pt x="440" y="223"/>
                  </a:lnTo>
                  <a:lnTo>
                    <a:pt x="440" y="223"/>
                  </a:lnTo>
                  <a:lnTo>
                    <a:pt x="441" y="224"/>
                  </a:lnTo>
                  <a:lnTo>
                    <a:pt x="441" y="225"/>
                  </a:lnTo>
                  <a:lnTo>
                    <a:pt x="441" y="226"/>
                  </a:lnTo>
                  <a:lnTo>
                    <a:pt x="441" y="227"/>
                  </a:lnTo>
                  <a:lnTo>
                    <a:pt x="442" y="231"/>
                  </a:lnTo>
                  <a:lnTo>
                    <a:pt x="442" y="232"/>
                  </a:lnTo>
                  <a:lnTo>
                    <a:pt x="442" y="233"/>
                  </a:lnTo>
                  <a:lnTo>
                    <a:pt x="442" y="235"/>
                  </a:lnTo>
                  <a:lnTo>
                    <a:pt x="442" y="237"/>
                  </a:lnTo>
                  <a:lnTo>
                    <a:pt x="441" y="238"/>
                  </a:lnTo>
                  <a:lnTo>
                    <a:pt x="441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0" y="242"/>
                  </a:lnTo>
                  <a:lnTo>
                    <a:pt x="439" y="243"/>
                  </a:lnTo>
                  <a:lnTo>
                    <a:pt x="437" y="246"/>
                  </a:lnTo>
                  <a:lnTo>
                    <a:pt x="434" y="249"/>
                  </a:lnTo>
                  <a:lnTo>
                    <a:pt x="434" y="250"/>
                  </a:lnTo>
                  <a:lnTo>
                    <a:pt x="433" y="251"/>
                  </a:lnTo>
                  <a:lnTo>
                    <a:pt x="432" y="252"/>
                  </a:lnTo>
                  <a:lnTo>
                    <a:pt x="432" y="253"/>
                  </a:lnTo>
                  <a:lnTo>
                    <a:pt x="431" y="254"/>
                  </a:lnTo>
                  <a:lnTo>
                    <a:pt x="431" y="255"/>
                  </a:lnTo>
                  <a:lnTo>
                    <a:pt x="431" y="256"/>
                  </a:lnTo>
                  <a:lnTo>
                    <a:pt x="431" y="258"/>
                  </a:lnTo>
                  <a:lnTo>
                    <a:pt x="431" y="259"/>
                  </a:lnTo>
                  <a:lnTo>
                    <a:pt x="431" y="259"/>
                  </a:lnTo>
                  <a:lnTo>
                    <a:pt x="431" y="260"/>
                  </a:lnTo>
                  <a:lnTo>
                    <a:pt x="432" y="262"/>
                  </a:lnTo>
                  <a:lnTo>
                    <a:pt x="433" y="265"/>
                  </a:lnTo>
                  <a:lnTo>
                    <a:pt x="433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9"/>
                  </a:lnTo>
                  <a:lnTo>
                    <a:pt x="432" y="271"/>
                  </a:lnTo>
                  <a:lnTo>
                    <a:pt x="431" y="274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1" y="279"/>
                  </a:lnTo>
                  <a:lnTo>
                    <a:pt x="430" y="279"/>
                  </a:lnTo>
                  <a:lnTo>
                    <a:pt x="430" y="279"/>
                  </a:lnTo>
                  <a:lnTo>
                    <a:pt x="429" y="279"/>
                  </a:lnTo>
                  <a:lnTo>
                    <a:pt x="427" y="279"/>
                  </a:lnTo>
                  <a:lnTo>
                    <a:pt x="426" y="279"/>
                  </a:lnTo>
                  <a:lnTo>
                    <a:pt x="425" y="279"/>
                  </a:lnTo>
                  <a:lnTo>
                    <a:pt x="423" y="278"/>
                  </a:lnTo>
                  <a:lnTo>
                    <a:pt x="421" y="278"/>
                  </a:lnTo>
                  <a:lnTo>
                    <a:pt x="420" y="277"/>
                  </a:lnTo>
                  <a:lnTo>
                    <a:pt x="418" y="277"/>
                  </a:lnTo>
                  <a:lnTo>
                    <a:pt x="416" y="276"/>
                  </a:lnTo>
                  <a:lnTo>
                    <a:pt x="415" y="275"/>
                  </a:lnTo>
                  <a:lnTo>
                    <a:pt x="413" y="275"/>
                  </a:lnTo>
                  <a:lnTo>
                    <a:pt x="406" y="271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9"/>
                  </a:lnTo>
                  <a:lnTo>
                    <a:pt x="400" y="269"/>
                  </a:lnTo>
                  <a:lnTo>
                    <a:pt x="398" y="268"/>
                  </a:lnTo>
                  <a:lnTo>
                    <a:pt x="397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2" y="267"/>
                  </a:lnTo>
                  <a:lnTo>
                    <a:pt x="391" y="267"/>
                  </a:lnTo>
                  <a:lnTo>
                    <a:pt x="390" y="267"/>
                  </a:lnTo>
                  <a:lnTo>
                    <a:pt x="388" y="268"/>
                  </a:lnTo>
                  <a:lnTo>
                    <a:pt x="386" y="268"/>
                  </a:lnTo>
                  <a:lnTo>
                    <a:pt x="385" y="268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3" y="268"/>
                  </a:lnTo>
                  <a:lnTo>
                    <a:pt x="380" y="267"/>
                  </a:lnTo>
                  <a:lnTo>
                    <a:pt x="379" y="267"/>
                  </a:lnTo>
                  <a:lnTo>
                    <a:pt x="378" y="267"/>
                  </a:lnTo>
                  <a:lnTo>
                    <a:pt x="377" y="267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70" y="268"/>
                  </a:lnTo>
                  <a:lnTo>
                    <a:pt x="368" y="268"/>
                  </a:lnTo>
                  <a:lnTo>
                    <a:pt x="365" y="268"/>
                  </a:lnTo>
                  <a:lnTo>
                    <a:pt x="363" y="268"/>
                  </a:lnTo>
                  <a:lnTo>
                    <a:pt x="362" y="267"/>
                  </a:lnTo>
                  <a:lnTo>
                    <a:pt x="359" y="267"/>
                  </a:lnTo>
                  <a:lnTo>
                    <a:pt x="358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6" y="267"/>
                  </a:lnTo>
                  <a:lnTo>
                    <a:pt x="356" y="268"/>
                  </a:lnTo>
                  <a:lnTo>
                    <a:pt x="355" y="269"/>
                  </a:lnTo>
                  <a:lnTo>
                    <a:pt x="355" y="271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2" y="281"/>
                  </a:lnTo>
                  <a:lnTo>
                    <a:pt x="352" y="282"/>
                  </a:lnTo>
                  <a:lnTo>
                    <a:pt x="351" y="283"/>
                  </a:lnTo>
                  <a:lnTo>
                    <a:pt x="351" y="283"/>
                  </a:lnTo>
                  <a:lnTo>
                    <a:pt x="350" y="283"/>
                  </a:lnTo>
                  <a:lnTo>
                    <a:pt x="350" y="283"/>
                  </a:lnTo>
                  <a:lnTo>
                    <a:pt x="349" y="284"/>
                  </a:lnTo>
                  <a:lnTo>
                    <a:pt x="348" y="284"/>
                  </a:lnTo>
                  <a:lnTo>
                    <a:pt x="346" y="284"/>
                  </a:lnTo>
                  <a:lnTo>
                    <a:pt x="344" y="284"/>
                  </a:lnTo>
                  <a:lnTo>
                    <a:pt x="343" y="284"/>
                  </a:lnTo>
                  <a:lnTo>
                    <a:pt x="341" y="284"/>
                  </a:lnTo>
                  <a:lnTo>
                    <a:pt x="337" y="283"/>
                  </a:lnTo>
                  <a:lnTo>
                    <a:pt x="336" y="283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4" y="283"/>
                  </a:lnTo>
                  <a:lnTo>
                    <a:pt x="331" y="283"/>
                  </a:lnTo>
                  <a:lnTo>
                    <a:pt x="329" y="284"/>
                  </a:lnTo>
                  <a:lnTo>
                    <a:pt x="327" y="284"/>
                  </a:lnTo>
                  <a:lnTo>
                    <a:pt x="326" y="284"/>
                  </a:lnTo>
                  <a:lnTo>
                    <a:pt x="325" y="284"/>
                  </a:lnTo>
                  <a:lnTo>
                    <a:pt x="324" y="284"/>
                  </a:lnTo>
                  <a:lnTo>
                    <a:pt x="324" y="284"/>
                  </a:lnTo>
                  <a:lnTo>
                    <a:pt x="323" y="283"/>
                  </a:lnTo>
                  <a:lnTo>
                    <a:pt x="322" y="283"/>
                  </a:lnTo>
                  <a:lnTo>
                    <a:pt x="322" y="283"/>
                  </a:lnTo>
                  <a:lnTo>
                    <a:pt x="321" y="283"/>
                  </a:lnTo>
                  <a:lnTo>
                    <a:pt x="321" y="283"/>
                  </a:lnTo>
                  <a:lnTo>
                    <a:pt x="320" y="283"/>
                  </a:lnTo>
                  <a:lnTo>
                    <a:pt x="319" y="283"/>
                  </a:lnTo>
                  <a:lnTo>
                    <a:pt x="318" y="283"/>
                  </a:lnTo>
                  <a:lnTo>
                    <a:pt x="317" y="284"/>
                  </a:lnTo>
                  <a:lnTo>
                    <a:pt x="316" y="284"/>
                  </a:lnTo>
                  <a:lnTo>
                    <a:pt x="316" y="285"/>
                  </a:lnTo>
                  <a:lnTo>
                    <a:pt x="315" y="285"/>
                  </a:lnTo>
                  <a:lnTo>
                    <a:pt x="314" y="287"/>
                  </a:lnTo>
                  <a:lnTo>
                    <a:pt x="313" y="288"/>
                  </a:lnTo>
                  <a:lnTo>
                    <a:pt x="311" y="289"/>
                  </a:lnTo>
                  <a:lnTo>
                    <a:pt x="311" y="290"/>
                  </a:lnTo>
                  <a:lnTo>
                    <a:pt x="310" y="290"/>
                  </a:lnTo>
                  <a:lnTo>
                    <a:pt x="310" y="291"/>
                  </a:lnTo>
                  <a:lnTo>
                    <a:pt x="309" y="291"/>
                  </a:lnTo>
                  <a:lnTo>
                    <a:pt x="309" y="291"/>
                  </a:lnTo>
                  <a:lnTo>
                    <a:pt x="308" y="291"/>
                  </a:lnTo>
                  <a:lnTo>
                    <a:pt x="308" y="291"/>
                  </a:lnTo>
                  <a:lnTo>
                    <a:pt x="307" y="291"/>
                  </a:lnTo>
                  <a:lnTo>
                    <a:pt x="307" y="290"/>
                  </a:lnTo>
                  <a:lnTo>
                    <a:pt x="307" y="290"/>
                  </a:lnTo>
                  <a:lnTo>
                    <a:pt x="303" y="284"/>
                  </a:lnTo>
                  <a:lnTo>
                    <a:pt x="302" y="283"/>
                  </a:lnTo>
                  <a:lnTo>
                    <a:pt x="301" y="282"/>
                  </a:lnTo>
                  <a:lnTo>
                    <a:pt x="300" y="281"/>
                  </a:lnTo>
                  <a:lnTo>
                    <a:pt x="299" y="281"/>
                  </a:lnTo>
                  <a:lnTo>
                    <a:pt x="296" y="279"/>
                  </a:lnTo>
                  <a:lnTo>
                    <a:pt x="293" y="277"/>
                  </a:lnTo>
                  <a:lnTo>
                    <a:pt x="292" y="276"/>
                  </a:lnTo>
                  <a:lnTo>
                    <a:pt x="290" y="275"/>
                  </a:lnTo>
                  <a:lnTo>
                    <a:pt x="289" y="275"/>
                  </a:lnTo>
                  <a:lnTo>
                    <a:pt x="285" y="274"/>
                  </a:lnTo>
                  <a:lnTo>
                    <a:pt x="281" y="272"/>
                  </a:lnTo>
                  <a:lnTo>
                    <a:pt x="280" y="272"/>
                  </a:lnTo>
                  <a:lnTo>
                    <a:pt x="278" y="272"/>
                  </a:lnTo>
                  <a:lnTo>
                    <a:pt x="277" y="271"/>
                  </a:lnTo>
                  <a:lnTo>
                    <a:pt x="276" y="271"/>
                  </a:lnTo>
                  <a:lnTo>
                    <a:pt x="276" y="271"/>
                  </a:lnTo>
                  <a:lnTo>
                    <a:pt x="275" y="270"/>
                  </a:lnTo>
                  <a:lnTo>
                    <a:pt x="273" y="269"/>
                  </a:lnTo>
                  <a:lnTo>
                    <a:pt x="272" y="267"/>
                  </a:lnTo>
                  <a:lnTo>
                    <a:pt x="271" y="266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2"/>
                  </a:lnTo>
                  <a:lnTo>
                    <a:pt x="264" y="258"/>
                  </a:lnTo>
                  <a:lnTo>
                    <a:pt x="262" y="256"/>
                  </a:lnTo>
                  <a:lnTo>
                    <a:pt x="261" y="255"/>
                  </a:lnTo>
                  <a:lnTo>
                    <a:pt x="260" y="254"/>
                  </a:lnTo>
                  <a:lnTo>
                    <a:pt x="258" y="254"/>
                  </a:lnTo>
                  <a:lnTo>
                    <a:pt x="257" y="253"/>
                  </a:lnTo>
                  <a:lnTo>
                    <a:pt x="256" y="252"/>
                  </a:lnTo>
                  <a:lnTo>
                    <a:pt x="252" y="250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6" y="247"/>
                  </a:lnTo>
                  <a:lnTo>
                    <a:pt x="243" y="246"/>
                  </a:lnTo>
                  <a:lnTo>
                    <a:pt x="239" y="245"/>
                  </a:lnTo>
                  <a:lnTo>
                    <a:pt x="235" y="244"/>
                  </a:lnTo>
                  <a:lnTo>
                    <a:pt x="234" y="244"/>
                  </a:lnTo>
                  <a:lnTo>
                    <a:pt x="232" y="243"/>
                  </a:lnTo>
                  <a:lnTo>
                    <a:pt x="231" y="243"/>
                  </a:lnTo>
                  <a:lnTo>
                    <a:pt x="230" y="242"/>
                  </a:lnTo>
                  <a:lnTo>
                    <a:pt x="229" y="242"/>
                  </a:lnTo>
                  <a:lnTo>
                    <a:pt x="228" y="242"/>
                  </a:lnTo>
                  <a:lnTo>
                    <a:pt x="224" y="242"/>
                  </a:lnTo>
                  <a:lnTo>
                    <a:pt x="222" y="242"/>
                  </a:lnTo>
                  <a:lnTo>
                    <a:pt x="221" y="242"/>
                  </a:lnTo>
                  <a:lnTo>
                    <a:pt x="221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19" y="241"/>
                  </a:lnTo>
                  <a:lnTo>
                    <a:pt x="219" y="240"/>
                  </a:lnTo>
                  <a:lnTo>
                    <a:pt x="218" y="240"/>
                  </a:lnTo>
                  <a:lnTo>
                    <a:pt x="216" y="238"/>
                  </a:lnTo>
                  <a:lnTo>
                    <a:pt x="214" y="236"/>
                  </a:lnTo>
                  <a:lnTo>
                    <a:pt x="213" y="235"/>
                  </a:lnTo>
                  <a:lnTo>
                    <a:pt x="212" y="233"/>
                  </a:lnTo>
                  <a:lnTo>
                    <a:pt x="211" y="233"/>
                  </a:lnTo>
                  <a:lnTo>
                    <a:pt x="210" y="232"/>
                  </a:lnTo>
                  <a:lnTo>
                    <a:pt x="209" y="232"/>
                  </a:lnTo>
                  <a:lnTo>
                    <a:pt x="209" y="231"/>
                  </a:lnTo>
                  <a:lnTo>
                    <a:pt x="208" y="231"/>
                  </a:lnTo>
                  <a:lnTo>
                    <a:pt x="207" y="230"/>
                  </a:lnTo>
                  <a:lnTo>
                    <a:pt x="205" y="230"/>
                  </a:lnTo>
                  <a:lnTo>
                    <a:pt x="202" y="230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6" y="227"/>
                  </a:lnTo>
                  <a:lnTo>
                    <a:pt x="195" y="227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3" y="225"/>
                  </a:lnTo>
                  <a:lnTo>
                    <a:pt x="192" y="224"/>
                  </a:lnTo>
                  <a:lnTo>
                    <a:pt x="191" y="223"/>
                  </a:lnTo>
                  <a:lnTo>
                    <a:pt x="190" y="222"/>
                  </a:lnTo>
                  <a:lnTo>
                    <a:pt x="190" y="221"/>
                  </a:lnTo>
                  <a:lnTo>
                    <a:pt x="189" y="221"/>
                  </a:lnTo>
                  <a:lnTo>
                    <a:pt x="189" y="221"/>
                  </a:lnTo>
                  <a:lnTo>
                    <a:pt x="188" y="221"/>
                  </a:lnTo>
                  <a:lnTo>
                    <a:pt x="188" y="221"/>
                  </a:lnTo>
                  <a:lnTo>
                    <a:pt x="187" y="221"/>
                  </a:lnTo>
                  <a:lnTo>
                    <a:pt x="186" y="222"/>
                  </a:lnTo>
                  <a:lnTo>
                    <a:pt x="185" y="223"/>
                  </a:lnTo>
                  <a:lnTo>
                    <a:pt x="184" y="224"/>
                  </a:lnTo>
                  <a:lnTo>
                    <a:pt x="183" y="225"/>
                  </a:lnTo>
                  <a:lnTo>
                    <a:pt x="182" y="226"/>
                  </a:lnTo>
                  <a:lnTo>
                    <a:pt x="181" y="228"/>
                  </a:lnTo>
                  <a:lnTo>
                    <a:pt x="180" y="230"/>
                  </a:lnTo>
                  <a:lnTo>
                    <a:pt x="179" y="233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8" y="235"/>
                  </a:lnTo>
                  <a:lnTo>
                    <a:pt x="176" y="237"/>
                  </a:lnTo>
                  <a:lnTo>
                    <a:pt x="175" y="240"/>
                  </a:lnTo>
                  <a:lnTo>
                    <a:pt x="174" y="240"/>
                  </a:lnTo>
                  <a:lnTo>
                    <a:pt x="174" y="241"/>
                  </a:lnTo>
                  <a:lnTo>
                    <a:pt x="173" y="241"/>
                  </a:lnTo>
                  <a:lnTo>
                    <a:pt x="173" y="241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6" y="242"/>
                  </a:lnTo>
                  <a:lnTo>
                    <a:pt x="165" y="242"/>
                  </a:lnTo>
                  <a:lnTo>
                    <a:pt x="164" y="242"/>
                  </a:lnTo>
                  <a:lnTo>
                    <a:pt x="164" y="241"/>
                  </a:lnTo>
                  <a:lnTo>
                    <a:pt x="163" y="241"/>
                  </a:lnTo>
                  <a:lnTo>
                    <a:pt x="161" y="240"/>
                  </a:lnTo>
                  <a:lnTo>
                    <a:pt x="158" y="239"/>
                  </a:lnTo>
                  <a:lnTo>
                    <a:pt x="152" y="236"/>
                  </a:lnTo>
                  <a:lnTo>
                    <a:pt x="150" y="235"/>
                  </a:lnTo>
                  <a:lnTo>
                    <a:pt x="150" y="234"/>
                  </a:lnTo>
                  <a:lnTo>
                    <a:pt x="149" y="234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6" y="231"/>
                  </a:lnTo>
                  <a:lnTo>
                    <a:pt x="146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5" y="227"/>
                  </a:lnTo>
                  <a:lnTo>
                    <a:pt x="146" y="226"/>
                  </a:lnTo>
                  <a:lnTo>
                    <a:pt x="146" y="225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5" y="219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7"/>
                  </a:lnTo>
                  <a:lnTo>
                    <a:pt x="140" y="217"/>
                  </a:lnTo>
                  <a:lnTo>
                    <a:pt x="139" y="216"/>
                  </a:lnTo>
                  <a:lnTo>
                    <a:pt x="138" y="216"/>
                  </a:lnTo>
                  <a:lnTo>
                    <a:pt x="137" y="215"/>
                  </a:lnTo>
                  <a:lnTo>
                    <a:pt x="135" y="214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1" y="212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7" y="211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3" y="210"/>
                  </a:lnTo>
                  <a:lnTo>
                    <a:pt x="123" y="209"/>
                  </a:lnTo>
                  <a:lnTo>
                    <a:pt x="122" y="209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3"/>
                  </a:lnTo>
                  <a:lnTo>
                    <a:pt x="120" y="203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19" y="202"/>
                  </a:lnTo>
                  <a:lnTo>
                    <a:pt x="119" y="201"/>
                  </a:lnTo>
                  <a:lnTo>
                    <a:pt x="118" y="201"/>
                  </a:lnTo>
                  <a:lnTo>
                    <a:pt x="115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9" y="199"/>
                  </a:lnTo>
                  <a:lnTo>
                    <a:pt x="108" y="198"/>
                  </a:lnTo>
                  <a:lnTo>
                    <a:pt x="107" y="198"/>
                  </a:lnTo>
                  <a:lnTo>
                    <a:pt x="106" y="197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4" y="195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0" y="191"/>
                  </a:lnTo>
                  <a:lnTo>
                    <a:pt x="99" y="191"/>
                  </a:lnTo>
                  <a:lnTo>
                    <a:pt x="98" y="190"/>
                  </a:lnTo>
                  <a:lnTo>
                    <a:pt x="95" y="189"/>
                  </a:lnTo>
                  <a:lnTo>
                    <a:pt x="94" y="189"/>
                  </a:lnTo>
                  <a:lnTo>
                    <a:pt x="93" y="188"/>
                  </a:lnTo>
                  <a:lnTo>
                    <a:pt x="93" y="187"/>
                  </a:lnTo>
                  <a:lnTo>
                    <a:pt x="92" y="187"/>
                  </a:lnTo>
                  <a:lnTo>
                    <a:pt x="91" y="187"/>
                  </a:lnTo>
                  <a:lnTo>
                    <a:pt x="89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7" y="186"/>
                  </a:lnTo>
                  <a:lnTo>
                    <a:pt x="73" y="186"/>
                  </a:lnTo>
                  <a:lnTo>
                    <a:pt x="72" y="186"/>
                  </a:lnTo>
                  <a:lnTo>
                    <a:pt x="71" y="186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7" y="186"/>
                  </a:lnTo>
                  <a:lnTo>
                    <a:pt x="66" y="186"/>
                  </a:lnTo>
                  <a:lnTo>
                    <a:pt x="66" y="185"/>
                  </a:lnTo>
                  <a:lnTo>
                    <a:pt x="64" y="184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0"/>
                  </a:lnTo>
                  <a:lnTo>
                    <a:pt x="59" y="179"/>
                  </a:lnTo>
                  <a:lnTo>
                    <a:pt x="52" y="174"/>
                  </a:lnTo>
                  <a:lnTo>
                    <a:pt x="49" y="172"/>
                  </a:lnTo>
                  <a:lnTo>
                    <a:pt x="47" y="171"/>
                  </a:lnTo>
                  <a:lnTo>
                    <a:pt x="42" y="167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8" y="161"/>
                  </a:lnTo>
                  <a:lnTo>
                    <a:pt x="38" y="157"/>
                  </a:lnTo>
                  <a:lnTo>
                    <a:pt x="39" y="154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9" y="148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4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6" y="131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19"/>
                  </a:lnTo>
                  <a:lnTo>
                    <a:pt x="46" y="118"/>
                  </a:lnTo>
                  <a:lnTo>
                    <a:pt x="45" y="118"/>
                  </a:lnTo>
                  <a:lnTo>
                    <a:pt x="45" y="117"/>
                  </a:lnTo>
                  <a:lnTo>
                    <a:pt x="44" y="116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1" y="114"/>
                  </a:lnTo>
                  <a:lnTo>
                    <a:pt x="38" y="113"/>
                  </a:lnTo>
                  <a:lnTo>
                    <a:pt x="37" y="112"/>
                  </a:lnTo>
                  <a:lnTo>
                    <a:pt x="35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29" y="106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5" y="98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3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8"/>
                  </a:lnTo>
                  <a:lnTo>
                    <a:pt x="5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2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3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8" y="46"/>
                  </a:lnTo>
                  <a:lnTo>
                    <a:pt x="39" y="46"/>
                  </a:lnTo>
                  <a:lnTo>
                    <a:pt x="40" y="45"/>
                  </a:lnTo>
                  <a:lnTo>
                    <a:pt x="42" y="44"/>
                  </a:lnTo>
                  <a:lnTo>
                    <a:pt x="42" y="43"/>
                  </a:lnTo>
                  <a:lnTo>
                    <a:pt x="43" y="42"/>
                  </a:lnTo>
                  <a:lnTo>
                    <a:pt x="43" y="42"/>
                  </a:lnTo>
                  <a:lnTo>
                    <a:pt x="44" y="40"/>
                  </a:lnTo>
                  <a:lnTo>
                    <a:pt x="44" y="39"/>
                  </a:lnTo>
                  <a:lnTo>
                    <a:pt x="45" y="39"/>
                  </a:lnTo>
                  <a:lnTo>
                    <a:pt x="45" y="38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47" y="36"/>
                  </a:lnTo>
                  <a:lnTo>
                    <a:pt x="48" y="36"/>
                  </a:lnTo>
                  <a:lnTo>
                    <a:pt x="49" y="35"/>
                  </a:lnTo>
                  <a:lnTo>
                    <a:pt x="50" y="35"/>
                  </a:lnTo>
                  <a:lnTo>
                    <a:pt x="52" y="35"/>
                  </a:lnTo>
                  <a:lnTo>
                    <a:pt x="53" y="35"/>
                  </a:lnTo>
                  <a:lnTo>
                    <a:pt x="54" y="34"/>
                  </a:lnTo>
                  <a:lnTo>
                    <a:pt x="57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9" y="32"/>
                  </a:lnTo>
                  <a:lnTo>
                    <a:pt x="59" y="32"/>
                  </a:lnTo>
                  <a:lnTo>
                    <a:pt x="60" y="33"/>
                  </a:lnTo>
                  <a:lnTo>
                    <a:pt x="60" y="33"/>
                  </a:lnTo>
                  <a:lnTo>
                    <a:pt x="61" y="33"/>
                  </a:lnTo>
                  <a:lnTo>
                    <a:pt x="62" y="35"/>
                  </a:lnTo>
                  <a:lnTo>
                    <a:pt x="63" y="35"/>
                  </a:lnTo>
                  <a:lnTo>
                    <a:pt x="64" y="35"/>
                  </a:lnTo>
                  <a:lnTo>
                    <a:pt x="65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8" y="36"/>
                  </a:lnTo>
                  <a:lnTo>
                    <a:pt x="69" y="36"/>
                  </a:lnTo>
                  <a:lnTo>
                    <a:pt x="70" y="36"/>
                  </a:lnTo>
                  <a:lnTo>
                    <a:pt x="73" y="36"/>
                  </a:lnTo>
                  <a:lnTo>
                    <a:pt x="74" y="36"/>
                  </a:lnTo>
                  <a:lnTo>
                    <a:pt x="75" y="36"/>
                  </a:lnTo>
                  <a:lnTo>
                    <a:pt x="77" y="36"/>
                  </a:lnTo>
                  <a:lnTo>
                    <a:pt x="78" y="36"/>
                  </a:lnTo>
                  <a:lnTo>
                    <a:pt x="80" y="36"/>
                  </a:lnTo>
                  <a:lnTo>
                    <a:pt x="81" y="36"/>
                  </a:lnTo>
                  <a:lnTo>
                    <a:pt x="82" y="36"/>
                  </a:lnTo>
                  <a:lnTo>
                    <a:pt x="83" y="36"/>
                  </a:lnTo>
                  <a:lnTo>
                    <a:pt x="83" y="37"/>
                  </a:lnTo>
                  <a:lnTo>
                    <a:pt x="85" y="37"/>
                  </a:lnTo>
                  <a:lnTo>
                    <a:pt x="87" y="38"/>
                  </a:lnTo>
                  <a:lnTo>
                    <a:pt x="89" y="39"/>
                  </a:lnTo>
                  <a:lnTo>
                    <a:pt x="89" y="39"/>
                  </a:lnTo>
                  <a:lnTo>
                    <a:pt x="90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3" y="39"/>
                  </a:lnTo>
                  <a:lnTo>
                    <a:pt x="94" y="38"/>
                  </a:lnTo>
                  <a:lnTo>
                    <a:pt x="97" y="37"/>
                  </a:lnTo>
                  <a:lnTo>
                    <a:pt x="98" y="36"/>
                  </a:lnTo>
                  <a:lnTo>
                    <a:pt x="100" y="36"/>
                  </a:lnTo>
                  <a:lnTo>
                    <a:pt x="102" y="35"/>
                  </a:lnTo>
                  <a:lnTo>
                    <a:pt x="103" y="35"/>
                  </a:lnTo>
                  <a:lnTo>
                    <a:pt x="104" y="35"/>
                  </a:lnTo>
                  <a:lnTo>
                    <a:pt x="105" y="34"/>
                  </a:lnTo>
                  <a:lnTo>
                    <a:pt x="106" y="33"/>
                  </a:lnTo>
                  <a:lnTo>
                    <a:pt x="106" y="33"/>
                  </a:lnTo>
                  <a:lnTo>
                    <a:pt x="107" y="32"/>
                  </a:lnTo>
                  <a:lnTo>
                    <a:pt x="107" y="31"/>
                  </a:lnTo>
                  <a:lnTo>
                    <a:pt x="108" y="31"/>
                  </a:lnTo>
                  <a:lnTo>
                    <a:pt x="108" y="30"/>
                  </a:lnTo>
                  <a:lnTo>
                    <a:pt x="109" y="27"/>
                  </a:lnTo>
                  <a:lnTo>
                    <a:pt x="110" y="26"/>
                  </a:lnTo>
                  <a:lnTo>
                    <a:pt x="110" y="26"/>
                  </a:lnTo>
                  <a:lnTo>
                    <a:pt x="111" y="25"/>
                  </a:lnTo>
                  <a:lnTo>
                    <a:pt x="111" y="24"/>
                  </a:lnTo>
                  <a:lnTo>
                    <a:pt x="112" y="24"/>
                  </a:lnTo>
                  <a:lnTo>
                    <a:pt x="113" y="23"/>
                  </a:lnTo>
                  <a:lnTo>
                    <a:pt x="114" y="22"/>
                  </a:lnTo>
                  <a:lnTo>
                    <a:pt x="115" y="21"/>
                  </a:lnTo>
                  <a:lnTo>
                    <a:pt x="116" y="20"/>
                  </a:lnTo>
                  <a:lnTo>
                    <a:pt x="118" y="19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1" y="18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Freeform 26">
              <a:extLst>
                <a:ext uri="{FF2B5EF4-FFF2-40B4-BE49-F238E27FC236}">
                  <a16:creationId xmlns:a16="http://schemas.microsoft.com/office/drawing/2014/main" id="{107976D1-510B-6CDB-4F99-1EA7D1F1B4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" y="3255"/>
              <a:ext cx="442" cy="291"/>
            </a:xfrm>
            <a:custGeom>
              <a:avLst/>
              <a:gdLst>
                <a:gd name="T0" fmla="*/ 131 w 442"/>
                <a:gd name="T1" fmla="*/ 34 h 291"/>
                <a:gd name="T2" fmla="*/ 148 w 442"/>
                <a:gd name="T3" fmla="*/ 30 h 291"/>
                <a:gd name="T4" fmla="*/ 170 w 442"/>
                <a:gd name="T5" fmla="*/ 23 h 291"/>
                <a:gd name="T6" fmla="*/ 190 w 442"/>
                <a:gd name="T7" fmla="*/ 40 h 291"/>
                <a:gd name="T8" fmla="*/ 208 w 442"/>
                <a:gd name="T9" fmla="*/ 53 h 291"/>
                <a:gd name="T10" fmla="*/ 231 w 442"/>
                <a:gd name="T11" fmla="*/ 68 h 291"/>
                <a:gd name="T12" fmla="*/ 255 w 442"/>
                <a:gd name="T13" fmla="*/ 75 h 291"/>
                <a:gd name="T14" fmla="*/ 274 w 442"/>
                <a:gd name="T15" fmla="*/ 74 h 291"/>
                <a:gd name="T16" fmla="*/ 282 w 442"/>
                <a:gd name="T17" fmla="*/ 69 h 291"/>
                <a:gd name="T18" fmla="*/ 289 w 442"/>
                <a:gd name="T19" fmla="*/ 56 h 291"/>
                <a:gd name="T20" fmla="*/ 312 w 442"/>
                <a:gd name="T21" fmla="*/ 39 h 291"/>
                <a:gd name="T22" fmla="*/ 329 w 442"/>
                <a:gd name="T23" fmla="*/ 22 h 291"/>
                <a:gd name="T24" fmla="*/ 343 w 442"/>
                <a:gd name="T25" fmla="*/ 24 h 291"/>
                <a:gd name="T26" fmla="*/ 365 w 442"/>
                <a:gd name="T27" fmla="*/ 33 h 291"/>
                <a:gd name="T28" fmla="*/ 392 w 442"/>
                <a:gd name="T29" fmla="*/ 48 h 291"/>
                <a:gd name="T30" fmla="*/ 409 w 442"/>
                <a:gd name="T31" fmla="*/ 33 h 291"/>
                <a:gd name="T32" fmla="*/ 428 w 442"/>
                <a:gd name="T33" fmla="*/ 6 h 291"/>
                <a:gd name="T34" fmla="*/ 441 w 442"/>
                <a:gd name="T35" fmla="*/ 1 h 291"/>
                <a:gd name="T36" fmla="*/ 430 w 442"/>
                <a:gd name="T37" fmla="*/ 39 h 291"/>
                <a:gd name="T38" fmla="*/ 426 w 442"/>
                <a:gd name="T39" fmla="*/ 61 h 291"/>
                <a:gd name="T40" fmla="*/ 423 w 442"/>
                <a:gd name="T41" fmla="*/ 81 h 291"/>
                <a:gd name="T42" fmla="*/ 403 w 442"/>
                <a:gd name="T43" fmla="*/ 95 h 291"/>
                <a:gd name="T44" fmla="*/ 407 w 442"/>
                <a:gd name="T45" fmla="*/ 119 h 291"/>
                <a:gd name="T46" fmla="*/ 413 w 442"/>
                <a:gd name="T47" fmla="*/ 154 h 291"/>
                <a:gd name="T48" fmla="*/ 410 w 442"/>
                <a:gd name="T49" fmla="*/ 173 h 291"/>
                <a:gd name="T50" fmla="*/ 426 w 442"/>
                <a:gd name="T51" fmla="*/ 200 h 291"/>
                <a:gd name="T52" fmla="*/ 428 w 442"/>
                <a:gd name="T53" fmla="*/ 218 h 291"/>
                <a:gd name="T54" fmla="*/ 441 w 442"/>
                <a:gd name="T55" fmla="*/ 225 h 291"/>
                <a:gd name="T56" fmla="*/ 433 w 442"/>
                <a:gd name="T57" fmla="*/ 251 h 291"/>
                <a:gd name="T58" fmla="*/ 431 w 442"/>
                <a:gd name="T59" fmla="*/ 274 h 291"/>
                <a:gd name="T60" fmla="*/ 415 w 442"/>
                <a:gd name="T61" fmla="*/ 275 h 291"/>
                <a:gd name="T62" fmla="*/ 384 w 442"/>
                <a:gd name="T63" fmla="*/ 268 h 291"/>
                <a:gd name="T64" fmla="*/ 358 w 442"/>
                <a:gd name="T65" fmla="*/ 266 h 291"/>
                <a:gd name="T66" fmla="*/ 350 w 442"/>
                <a:gd name="T67" fmla="*/ 283 h 291"/>
                <a:gd name="T68" fmla="*/ 324 w 442"/>
                <a:gd name="T69" fmla="*/ 284 h 291"/>
                <a:gd name="T70" fmla="*/ 311 w 442"/>
                <a:gd name="T71" fmla="*/ 290 h 291"/>
                <a:gd name="T72" fmla="*/ 292 w 442"/>
                <a:gd name="T73" fmla="*/ 276 h 291"/>
                <a:gd name="T74" fmla="*/ 264 w 442"/>
                <a:gd name="T75" fmla="*/ 258 h 291"/>
                <a:gd name="T76" fmla="*/ 230 w 442"/>
                <a:gd name="T77" fmla="*/ 242 h 291"/>
                <a:gd name="T78" fmla="*/ 210 w 442"/>
                <a:gd name="T79" fmla="*/ 232 h 291"/>
                <a:gd name="T80" fmla="*/ 191 w 442"/>
                <a:gd name="T81" fmla="*/ 223 h 291"/>
                <a:gd name="T82" fmla="*/ 179 w 442"/>
                <a:gd name="T83" fmla="*/ 234 h 291"/>
                <a:gd name="T84" fmla="*/ 163 w 442"/>
                <a:gd name="T85" fmla="*/ 241 h 291"/>
                <a:gd name="T86" fmla="*/ 147 w 442"/>
                <a:gd name="T87" fmla="*/ 222 h 291"/>
                <a:gd name="T88" fmla="*/ 132 w 442"/>
                <a:gd name="T89" fmla="*/ 213 h 291"/>
                <a:gd name="T90" fmla="*/ 120 w 442"/>
                <a:gd name="T91" fmla="*/ 203 h 291"/>
                <a:gd name="T92" fmla="*/ 101 w 442"/>
                <a:gd name="T93" fmla="*/ 192 h 291"/>
                <a:gd name="T94" fmla="*/ 84 w 442"/>
                <a:gd name="T95" fmla="*/ 187 h 291"/>
                <a:gd name="T96" fmla="*/ 64 w 442"/>
                <a:gd name="T97" fmla="*/ 184 h 291"/>
                <a:gd name="T98" fmla="*/ 39 w 442"/>
                <a:gd name="T99" fmla="*/ 149 h 291"/>
                <a:gd name="T100" fmla="*/ 45 w 442"/>
                <a:gd name="T101" fmla="*/ 127 h 291"/>
                <a:gd name="T102" fmla="*/ 37 w 442"/>
                <a:gd name="T103" fmla="*/ 112 h 291"/>
                <a:gd name="T104" fmla="*/ 28 w 442"/>
                <a:gd name="T105" fmla="*/ 99 h 291"/>
                <a:gd name="T106" fmla="*/ 15 w 442"/>
                <a:gd name="T107" fmla="*/ 93 h 291"/>
                <a:gd name="T108" fmla="*/ 0 w 442"/>
                <a:gd name="T109" fmla="*/ 83 h 291"/>
                <a:gd name="T110" fmla="*/ 5 w 442"/>
                <a:gd name="T111" fmla="*/ 76 h 291"/>
                <a:gd name="T112" fmla="*/ 10 w 442"/>
                <a:gd name="T113" fmla="*/ 66 h 291"/>
                <a:gd name="T114" fmla="*/ 10 w 442"/>
                <a:gd name="T115" fmla="*/ 54 h 291"/>
                <a:gd name="T116" fmla="*/ 19 w 442"/>
                <a:gd name="T117" fmla="*/ 49 h 291"/>
                <a:gd name="T118" fmla="*/ 33 w 442"/>
                <a:gd name="T119" fmla="*/ 49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2" h="291">
                  <a:moveTo>
                    <a:pt x="121" y="18"/>
                  </a:moveTo>
                  <a:lnTo>
                    <a:pt x="121" y="18"/>
                  </a:lnTo>
                  <a:lnTo>
                    <a:pt x="122" y="19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5" y="22"/>
                  </a:lnTo>
                  <a:lnTo>
                    <a:pt x="126" y="24"/>
                  </a:lnTo>
                  <a:lnTo>
                    <a:pt x="126" y="25"/>
                  </a:lnTo>
                  <a:lnTo>
                    <a:pt x="127" y="27"/>
                  </a:lnTo>
                  <a:lnTo>
                    <a:pt x="128" y="30"/>
                  </a:lnTo>
                  <a:lnTo>
                    <a:pt x="128" y="31"/>
                  </a:lnTo>
                  <a:lnTo>
                    <a:pt x="129" y="32"/>
                  </a:lnTo>
                  <a:lnTo>
                    <a:pt x="129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8" y="35"/>
                  </a:lnTo>
                  <a:lnTo>
                    <a:pt x="139" y="35"/>
                  </a:lnTo>
                  <a:lnTo>
                    <a:pt x="140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5" y="31"/>
                  </a:lnTo>
                  <a:lnTo>
                    <a:pt x="148" y="30"/>
                  </a:lnTo>
                  <a:lnTo>
                    <a:pt x="149" y="29"/>
                  </a:lnTo>
                  <a:lnTo>
                    <a:pt x="150" y="29"/>
                  </a:lnTo>
                  <a:lnTo>
                    <a:pt x="150" y="28"/>
                  </a:lnTo>
                  <a:lnTo>
                    <a:pt x="151" y="28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4"/>
                  </a:lnTo>
                  <a:lnTo>
                    <a:pt x="156" y="23"/>
                  </a:lnTo>
                  <a:lnTo>
                    <a:pt x="158" y="23"/>
                  </a:lnTo>
                  <a:lnTo>
                    <a:pt x="160" y="22"/>
                  </a:lnTo>
                  <a:lnTo>
                    <a:pt x="161" y="21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70" y="23"/>
                  </a:lnTo>
                  <a:lnTo>
                    <a:pt x="174" y="24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0" y="26"/>
                  </a:lnTo>
                  <a:lnTo>
                    <a:pt x="181" y="26"/>
                  </a:lnTo>
                  <a:lnTo>
                    <a:pt x="182" y="27"/>
                  </a:lnTo>
                  <a:lnTo>
                    <a:pt x="183" y="27"/>
                  </a:lnTo>
                  <a:lnTo>
                    <a:pt x="183" y="28"/>
                  </a:lnTo>
                  <a:lnTo>
                    <a:pt x="185" y="31"/>
                  </a:lnTo>
                  <a:lnTo>
                    <a:pt x="186" y="31"/>
                  </a:lnTo>
                  <a:lnTo>
                    <a:pt x="186" y="32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88" y="35"/>
                  </a:lnTo>
                  <a:lnTo>
                    <a:pt x="189" y="39"/>
                  </a:lnTo>
                  <a:lnTo>
                    <a:pt x="190" y="40"/>
                  </a:lnTo>
                  <a:lnTo>
                    <a:pt x="190" y="41"/>
                  </a:lnTo>
                  <a:lnTo>
                    <a:pt x="191" y="42"/>
                  </a:lnTo>
                  <a:lnTo>
                    <a:pt x="191" y="43"/>
                  </a:lnTo>
                  <a:lnTo>
                    <a:pt x="192" y="43"/>
                  </a:lnTo>
                  <a:lnTo>
                    <a:pt x="192" y="44"/>
                  </a:lnTo>
                  <a:lnTo>
                    <a:pt x="193" y="44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6"/>
                  </a:lnTo>
                  <a:lnTo>
                    <a:pt x="200" y="46"/>
                  </a:lnTo>
                  <a:lnTo>
                    <a:pt x="201" y="47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4" y="49"/>
                  </a:lnTo>
                  <a:lnTo>
                    <a:pt x="206" y="50"/>
                  </a:lnTo>
                  <a:lnTo>
                    <a:pt x="208" y="53"/>
                  </a:lnTo>
                  <a:lnTo>
                    <a:pt x="209" y="54"/>
                  </a:lnTo>
                  <a:lnTo>
                    <a:pt x="210" y="55"/>
                  </a:lnTo>
                  <a:lnTo>
                    <a:pt x="211" y="56"/>
                  </a:lnTo>
                  <a:lnTo>
                    <a:pt x="212" y="57"/>
                  </a:lnTo>
                  <a:lnTo>
                    <a:pt x="213" y="58"/>
                  </a:lnTo>
                  <a:lnTo>
                    <a:pt x="215" y="58"/>
                  </a:lnTo>
                  <a:lnTo>
                    <a:pt x="218" y="60"/>
                  </a:lnTo>
                  <a:lnTo>
                    <a:pt x="219" y="60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2"/>
                  </a:lnTo>
                  <a:lnTo>
                    <a:pt x="224" y="64"/>
                  </a:lnTo>
                  <a:lnTo>
                    <a:pt x="225" y="65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8" y="67"/>
                  </a:lnTo>
                  <a:lnTo>
                    <a:pt x="231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6" y="70"/>
                  </a:lnTo>
                  <a:lnTo>
                    <a:pt x="237" y="71"/>
                  </a:lnTo>
                  <a:lnTo>
                    <a:pt x="238" y="72"/>
                  </a:lnTo>
                  <a:lnTo>
                    <a:pt x="242" y="75"/>
                  </a:lnTo>
                  <a:lnTo>
                    <a:pt x="243" y="75"/>
                  </a:lnTo>
                  <a:lnTo>
                    <a:pt x="244" y="76"/>
                  </a:lnTo>
                  <a:lnTo>
                    <a:pt x="245" y="76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7" y="77"/>
                  </a:lnTo>
                  <a:lnTo>
                    <a:pt x="248" y="77"/>
                  </a:lnTo>
                  <a:lnTo>
                    <a:pt x="249" y="77"/>
                  </a:lnTo>
                  <a:lnTo>
                    <a:pt x="251" y="76"/>
                  </a:lnTo>
                  <a:lnTo>
                    <a:pt x="254" y="76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1" y="74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6" y="75"/>
                  </a:lnTo>
                  <a:lnTo>
                    <a:pt x="269" y="75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4" y="74"/>
                  </a:lnTo>
                  <a:lnTo>
                    <a:pt x="275" y="75"/>
                  </a:lnTo>
                  <a:lnTo>
                    <a:pt x="277" y="75"/>
                  </a:lnTo>
                  <a:lnTo>
                    <a:pt x="278" y="76"/>
                  </a:lnTo>
                  <a:lnTo>
                    <a:pt x="279" y="76"/>
                  </a:lnTo>
                  <a:lnTo>
                    <a:pt x="280" y="76"/>
                  </a:lnTo>
                  <a:lnTo>
                    <a:pt x="281" y="76"/>
                  </a:lnTo>
                  <a:lnTo>
                    <a:pt x="281" y="75"/>
                  </a:lnTo>
                  <a:lnTo>
                    <a:pt x="282" y="75"/>
                  </a:lnTo>
                  <a:lnTo>
                    <a:pt x="282" y="75"/>
                  </a:lnTo>
                  <a:lnTo>
                    <a:pt x="283" y="75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2" y="70"/>
                  </a:lnTo>
                  <a:lnTo>
                    <a:pt x="282" y="69"/>
                  </a:lnTo>
                  <a:lnTo>
                    <a:pt x="282" y="69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7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4" y="65"/>
                  </a:lnTo>
                  <a:lnTo>
                    <a:pt x="286" y="64"/>
                  </a:lnTo>
                  <a:lnTo>
                    <a:pt x="287" y="63"/>
                  </a:lnTo>
                  <a:lnTo>
                    <a:pt x="288" y="62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0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5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1" y="52"/>
                  </a:lnTo>
                  <a:lnTo>
                    <a:pt x="292" y="51"/>
                  </a:lnTo>
                  <a:lnTo>
                    <a:pt x="293" y="50"/>
                  </a:lnTo>
                  <a:lnTo>
                    <a:pt x="294" y="50"/>
                  </a:lnTo>
                  <a:lnTo>
                    <a:pt x="296" y="48"/>
                  </a:lnTo>
                  <a:lnTo>
                    <a:pt x="298" y="47"/>
                  </a:lnTo>
                  <a:lnTo>
                    <a:pt x="300" y="46"/>
                  </a:lnTo>
                  <a:lnTo>
                    <a:pt x="302" y="44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6" y="42"/>
                  </a:lnTo>
                  <a:lnTo>
                    <a:pt x="309" y="41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20" y="35"/>
                  </a:lnTo>
                  <a:lnTo>
                    <a:pt x="321" y="34"/>
                  </a:lnTo>
                  <a:lnTo>
                    <a:pt x="322" y="33"/>
                  </a:lnTo>
                  <a:lnTo>
                    <a:pt x="323" y="32"/>
                  </a:lnTo>
                  <a:lnTo>
                    <a:pt x="324" y="31"/>
                  </a:lnTo>
                  <a:lnTo>
                    <a:pt x="325" y="31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7" y="27"/>
                  </a:lnTo>
                  <a:lnTo>
                    <a:pt x="329" y="24"/>
                  </a:lnTo>
                  <a:lnTo>
                    <a:pt x="329" y="23"/>
                  </a:lnTo>
                  <a:lnTo>
                    <a:pt x="329" y="22"/>
                  </a:lnTo>
                  <a:lnTo>
                    <a:pt x="330" y="21"/>
                  </a:lnTo>
                  <a:lnTo>
                    <a:pt x="330" y="21"/>
                  </a:lnTo>
                  <a:lnTo>
                    <a:pt x="331" y="21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39" y="22"/>
                  </a:lnTo>
                  <a:lnTo>
                    <a:pt x="342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7" y="26"/>
                  </a:lnTo>
                  <a:lnTo>
                    <a:pt x="352" y="28"/>
                  </a:lnTo>
                  <a:lnTo>
                    <a:pt x="353" y="28"/>
                  </a:lnTo>
                  <a:lnTo>
                    <a:pt x="355" y="29"/>
                  </a:lnTo>
                  <a:lnTo>
                    <a:pt x="356" y="29"/>
                  </a:lnTo>
                  <a:lnTo>
                    <a:pt x="357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9" y="29"/>
                  </a:lnTo>
                  <a:lnTo>
                    <a:pt x="359" y="29"/>
                  </a:lnTo>
                  <a:lnTo>
                    <a:pt x="360" y="30"/>
                  </a:lnTo>
                  <a:lnTo>
                    <a:pt x="362" y="31"/>
                  </a:lnTo>
                  <a:lnTo>
                    <a:pt x="363" y="32"/>
                  </a:lnTo>
                  <a:lnTo>
                    <a:pt x="365" y="33"/>
                  </a:lnTo>
                  <a:lnTo>
                    <a:pt x="366" y="34"/>
                  </a:lnTo>
                  <a:lnTo>
                    <a:pt x="367" y="35"/>
                  </a:lnTo>
                  <a:lnTo>
                    <a:pt x="370" y="38"/>
                  </a:lnTo>
                  <a:lnTo>
                    <a:pt x="371" y="39"/>
                  </a:lnTo>
                  <a:lnTo>
                    <a:pt x="373" y="40"/>
                  </a:lnTo>
                  <a:lnTo>
                    <a:pt x="374" y="41"/>
                  </a:lnTo>
                  <a:lnTo>
                    <a:pt x="375" y="41"/>
                  </a:lnTo>
                  <a:lnTo>
                    <a:pt x="376" y="42"/>
                  </a:lnTo>
                  <a:lnTo>
                    <a:pt x="377" y="43"/>
                  </a:lnTo>
                  <a:lnTo>
                    <a:pt x="378" y="43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9" y="47"/>
                  </a:lnTo>
                  <a:lnTo>
                    <a:pt x="390" y="47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3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5" y="47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8" y="46"/>
                  </a:lnTo>
                  <a:lnTo>
                    <a:pt x="399" y="45"/>
                  </a:lnTo>
                  <a:lnTo>
                    <a:pt x="400" y="45"/>
                  </a:lnTo>
                  <a:lnTo>
                    <a:pt x="401" y="44"/>
                  </a:lnTo>
                  <a:lnTo>
                    <a:pt x="402" y="42"/>
                  </a:lnTo>
                  <a:lnTo>
                    <a:pt x="406" y="37"/>
                  </a:lnTo>
                  <a:lnTo>
                    <a:pt x="407" y="35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9" y="33"/>
                  </a:lnTo>
                  <a:lnTo>
                    <a:pt x="412" y="30"/>
                  </a:lnTo>
                  <a:lnTo>
                    <a:pt x="414" y="28"/>
                  </a:lnTo>
                  <a:lnTo>
                    <a:pt x="416" y="27"/>
                  </a:lnTo>
                  <a:lnTo>
                    <a:pt x="417" y="26"/>
                  </a:lnTo>
                  <a:lnTo>
                    <a:pt x="418" y="24"/>
                  </a:lnTo>
                  <a:lnTo>
                    <a:pt x="419" y="22"/>
                  </a:lnTo>
                  <a:lnTo>
                    <a:pt x="420" y="21"/>
                  </a:lnTo>
                  <a:lnTo>
                    <a:pt x="421" y="20"/>
                  </a:lnTo>
                  <a:lnTo>
                    <a:pt x="421" y="18"/>
                  </a:lnTo>
                  <a:lnTo>
                    <a:pt x="422" y="17"/>
                  </a:lnTo>
                  <a:lnTo>
                    <a:pt x="424" y="12"/>
                  </a:lnTo>
                  <a:lnTo>
                    <a:pt x="424" y="11"/>
                  </a:lnTo>
                  <a:lnTo>
                    <a:pt x="425" y="10"/>
                  </a:lnTo>
                  <a:lnTo>
                    <a:pt x="426" y="9"/>
                  </a:lnTo>
                  <a:lnTo>
                    <a:pt x="426" y="7"/>
                  </a:lnTo>
                  <a:lnTo>
                    <a:pt x="427" y="6"/>
                  </a:lnTo>
                  <a:lnTo>
                    <a:pt x="428" y="6"/>
                  </a:lnTo>
                  <a:lnTo>
                    <a:pt x="429" y="5"/>
                  </a:lnTo>
                  <a:lnTo>
                    <a:pt x="430" y="4"/>
                  </a:lnTo>
                  <a:lnTo>
                    <a:pt x="431" y="3"/>
                  </a:lnTo>
                  <a:lnTo>
                    <a:pt x="432" y="2"/>
                  </a:lnTo>
                  <a:lnTo>
                    <a:pt x="433" y="2"/>
                  </a:lnTo>
                  <a:lnTo>
                    <a:pt x="434" y="1"/>
                  </a:lnTo>
                  <a:lnTo>
                    <a:pt x="435" y="1"/>
                  </a:lnTo>
                  <a:lnTo>
                    <a:pt x="436" y="0"/>
                  </a:lnTo>
                  <a:lnTo>
                    <a:pt x="437" y="0"/>
                  </a:lnTo>
                  <a:lnTo>
                    <a:pt x="438" y="0"/>
                  </a:lnTo>
                  <a:lnTo>
                    <a:pt x="439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2" y="1"/>
                  </a:lnTo>
                  <a:lnTo>
                    <a:pt x="442" y="1"/>
                  </a:lnTo>
                  <a:lnTo>
                    <a:pt x="442" y="3"/>
                  </a:lnTo>
                  <a:lnTo>
                    <a:pt x="442" y="4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0" y="11"/>
                  </a:lnTo>
                  <a:lnTo>
                    <a:pt x="440" y="13"/>
                  </a:lnTo>
                  <a:lnTo>
                    <a:pt x="439" y="17"/>
                  </a:lnTo>
                  <a:lnTo>
                    <a:pt x="437" y="20"/>
                  </a:lnTo>
                  <a:lnTo>
                    <a:pt x="435" y="28"/>
                  </a:lnTo>
                  <a:lnTo>
                    <a:pt x="433" y="32"/>
                  </a:lnTo>
                  <a:lnTo>
                    <a:pt x="433" y="33"/>
                  </a:lnTo>
                  <a:lnTo>
                    <a:pt x="431" y="35"/>
                  </a:lnTo>
                  <a:lnTo>
                    <a:pt x="430" y="39"/>
                  </a:lnTo>
                  <a:lnTo>
                    <a:pt x="430" y="40"/>
                  </a:lnTo>
                  <a:lnTo>
                    <a:pt x="429" y="42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6"/>
                  </a:lnTo>
                  <a:lnTo>
                    <a:pt x="428" y="47"/>
                  </a:lnTo>
                  <a:lnTo>
                    <a:pt x="428" y="51"/>
                  </a:lnTo>
                  <a:lnTo>
                    <a:pt x="428" y="52"/>
                  </a:lnTo>
                  <a:lnTo>
                    <a:pt x="428" y="53"/>
                  </a:lnTo>
                  <a:lnTo>
                    <a:pt x="428" y="54"/>
                  </a:lnTo>
                  <a:lnTo>
                    <a:pt x="428" y="55"/>
                  </a:lnTo>
                  <a:lnTo>
                    <a:pt x="427" y="58"/>
                  </a:lnTo>
                  <a:lnTo>
                    <a:pt x="427" y="59"/>
                  </a:lnTo>
                  <a:lnTo>
                    <a:pt x="426" y="60"/>
                  </a:lnTo>
                  <a:lnTo>
                    <a:pt x="426" y="61"/>
                  </a:lnTo>
                  <a:lnTo>
                    <a:pt x="426" y="62"/>
                  </a:lnTo>
                  <a:lnTo>
                    <a:pt x="426" y="62"/>
                  </a:lnTo>
                  <a:lnTo>
                    <a:pt x="427" y="63"/>
                  </a:lnTo>
                  <a:lnTo>
                    <a:pt x="427" y="66"/>
                  </a:lnTo>
                  <a:lnTo>
                    <a:pt x="427" y="67"/>
                  </a:lnTo>
                  <a:lnTo>
                    <a:pt x="428" y="70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8" y="74"/>
                  </a:lnTo>
                  <a:lnTo>
                    <a:pt x="427" y="75"/>
                  </a:lnTo>
                  <a:lnTo>
                    <a:pt x="427" y="76"/>
                  </a:lnTo>
                  <a:lnTo>
                    <a:pt x="426" y="77"/>
                  </a:lnTo>
                  <a:lnTo>
                    <a:pt x="426" y="78"/>
                  </a:lnTo>
                  <a:lnTo>
                    <a:pt x="426" y="78"/>
                  </a:lnTo>
                  <a:lnTo>
                    <a:pt x="425" y="79"/>
                  </a:lnTo>
                  <a:lnTo>
                    <a:pt x="424" y="79"/>
                  </a:lnTo>
                  <a:lnTo>
                    <a:pt x="423" y="81"/>
                  </a:lnTo>
                  <a:lnTo>
                    <a:pt x="420" y="83"/>
                  </a:lnTo>
                  <a:lnTo>
                    <a:pt x="419" y="84"/>
                  </a:lnTo>
                  <a:lnTo>
                    <a:pt x="416" y="87"/>
                  </a:lnTo>
                  <a:lnTo>
                    <a:pt x="416" y="88"/>
                  </a:lnTo>
                  <a:lnTo>
                    <a:pt x="415" y="89"/>
                  </a:lnTo>
                  <a:lnTo>
                    <a:pt x="414" y="90"/>
                  </a:lnTo>
                  <a:lnTo>
                    <a:pt x="413" y="91"/>
                  </a:lnTo>
                  <a:lnTo>
                    <a:pt x="412" y="91"/>
                  </a:lnTo>
                  <a:lnTo>
                    <a:pt x="412" y="92"/>
                  </a:lnTo>
                  <a:lnTo>
                    <a:pt x="411" y="92"/>
                  </a:lnTo>
                  <a:lnTo>
                    <a:pt x="410" y="93"/>
                  </a:lnTo>
                  <a:lnTo>
                    <a:pt x="410" y="93"/>
                  </a:lnTo>
                  <a:lnTo>
                    <a:pt x="409" y="93"/>
                  </a:lnTo>
                  <a:lnTo>
                    <a:pt x="406" y="94"/>
                  </a:lnTo>
                  <a:lnTo>
                    <a:pt x="405" y="94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2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2" y="97"/>
                  </a:lnTo>
                  <a:lnTo>
                    <a:pt x="401" y="98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2" y="101"/>
                  </a:lnTo>
                  <a:lnTo>
                    <a:pt x="404" y="105"/>
                  </a:lnTo>
                  <a:lnTo>
                    <a:pt x="405" y="108"/>
                  </a:lnTo>
                  <a:lnTo>
                    <a:pt x="405" y="110"/>
                  </a:lnTo>
                  <a:lnTo>
                    <a:pt x="406" y="115"/>
                  </a:lnTo>
                  <a:lnTo>
                    <a:pt x="407" y="117"/>
                  </a:lnTo>
                  <a:lnTo>
                    <a:pt x="407" y="119"/>
                  </a:lnTo>
                  <a:lnTo>
                    <a:pt x="408" y="121"/>
                  </a:lnTo>
                  <a:lnTo>
                    <a:pt x="410" y="126"/>
                  </a:lnTo>
                  <a:lnTo>
                    <a:pt x="411" y="131"/>
                  </a:lnTo>
                  <a:lnTo>
                    <a:pt x="412" y="132"/>
                  </a:lnTo>
                  <a:lnTo>
                    <a:pt x="412" y="133"/>
                  </a:lnTo>
                  <a:lnTo>
                    <a:pt x="412" y="135"/>
                  </a:lnTo>
                  <a:lnTo>
                    <a:pt x="413" y="139"/>
                  </a:lnTo>
                  <a:lnTo>
                    <a:pt x="413" y="142"/>
                  </a:lnTo>
                  <a:lnTo>
                    <a:pt x="413" y="143"/>
                  </a:lnTo>
                  <a:lnTo>
                    <a:pt x="413" y="145"/>
                  </a:lnTo>
                  <a:lnTo>
                    <a:pt x="414" y="148"/>
                  </a:lnTo>
                  <a:lnTo>
                    <a:pt x="414" y="150"/>
                  </a:lnTo>
                  <a:lnTo>
                    <a:pt x="414" y="151"/>
                  </a:lnTo>
                  <a:lnTo>
                    <a:pt x="414" y="151"/>
                  </a:lnTo>
                  <a:lnTo>
                    <a:pt x="414" y="152"/>
                  </a:lnTo>
                  <a:lnTo>
                    <a:pt x="414" y="153"/>
                  </a:lnTo>
                  <a:lnTo>
                    <a:pt x="413" y="154"/>
                  </a:lnTo>
                  <a:lnTo>
                    <a:pt x="413" y="154"/>
                  </a:lnTo>
                  <a:lnTo>
                    <a:pt x="411" y="157"/>
                  </a:lnTo>
                  <a:lnTo>
                    <a:pt x="410" y="158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09" y="161"/>
                  </a:lnTo>
                  <a:lnTo>
                    <a:pt x="409" y="162"/>
                  </a:lnTo>
                  <a:lnTo>
                    <a:pt x="409" y="163"/>
                  </a:lnTo>
                  <a:lnTo>
                    <a:pt x="408" y="164"/>
                  </a:lnTo>
                  <a:lnTo>
                    <a:pt x="408" y="165"/>
                  </a:lnTo>
                  <a:lnTo>
                    <a:pt x="408" y="166"/>
                  </a:lnTo>
                  <a:lnTo>
                    <a:pt x="408" y="167"/>
                  </a:lnTo>
                  <a:lnTo>
                    <a:pt x="408" y="169"/>
                  </a:lnTo>
                  <a:lnTo>
                    <a:pt x="409" y="170"/>
                  </a:lnTo>
                  <a:lnTo>
                    <a:pt x="409" y="171"/>
                  </a:lnTo>
                  <a:lnTo>
                    <a:pt x="409" y="172"/>
                  </a:lnTo>
                  <a:lnTo>
                    <a:pt x="410" y="173"/>
                  </a:lnTo>
                  <a:lnTo>
                    <a:pt x="412" y="176"/>
                  </a:lnTo>
                  <a:lnTo>
                    <a:pt x="413" y="177"/>
                  </a:lnTo>
                  <a:lnTo>
                    <a:pt x="413" y="178"/>
                  </a:lnTo>
                  <a:lnTo>
                    <a:pt x="413" y="179"/>
                  </a:lnTo>
                  <a:lnTo>
                    <a:pt x="414" y="180"/>
                  </a:lnTo>
                  <a:lnTo>
                    <a:pt x="415" y="183"/>
                  </a:lnTo>
                  <a:lnTo>
                    <a:pt x="416" y="185"/>
                  </a:lnTo>
                  <a:lnTo>
                    <a:pt x="416" y="187"/>
                  </a:lnTo>
                  <a:lnTo>
                    <a:pt x="417" y="189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21" y="193"/>
                  </a:lnTo>
                  <a:lnTo>
                    <a:pt x="422" y="195"/>
                  </a:lnTo>
                  <a:lnTo>
                    <a:pt x="425" y="198"/>
                  </a:lnTo>
                  <a:lnTo>
                    <a:pt x="425" y="199"/>
                  </a:lnTo>
                  <a:lnTo>
                    <a:pt x="426" y="199"/>
                  </a:lnTo>
                  <a:lnTo>
                    <a:pt x="426" y="200"/>
                  </a:lnTo>
                  <a:lnTo>
                    <a:pt x="427" y="201"/>
                  </a:lnTo>
                  <a:lnTo>
                    <a:pt x="427" y="202"/>
                  </a:lnTo>
                  <a:lnTo>
                    <a:pt x="427" y="205"/>
                  </a:lnTo>
                  <a:lnTo>
                    <a:pt x="427" y="206"/>
                  </a:lnTo>
                  <a:lnTo>
                    <a:pt x="428" y="206"/>
                  </a:lnTo>
                  <a:lnTo>
                    <a:pt x="429" y="209"/>
                  </a:lnTo>
                  <a:lnTo>
                    <a:pt x="429" y="210"/>
                  </a:lnTo>
                  <a:lnTo>
                    <a:pt x="429" y="210"/>
                  </a:lnTo>
                  <a:lnTo>
                    <a:pt x="429" y="211"/>
                  </a:lnTo>
                  <a:lnTo>
                    <a:pt x="429" y="212"/>
                  </a:lnTo>
                  <a:lnTo>
                    <a:pt x="429" y="213"/>
                  </a:lnTo>
                  <a:lnTo>
                    <a:pt x="428" y="215"/>
                  </a:lnTo>
                  <a:lnTo>
                    <a:pt x="428" y="216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8"/>
                  </a:lnTo>
                  <a:lnTo>
                    <a:pt x="428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0" y="218"/>
                  </a:lnTo>
                  <a:lnTo>
                    <a:pt x="431" y="218"/>
                  </a:lnTo>
                  <a:lnTo>
                    <a:pt x="432" y="219"/>
                  </a:lnTo>
                  <a:lnTo>
                    <a:pt x="435" y="219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7" y="220"/>
                  </a:lnTo>
                  <a:lnTo>
                    <a:pt x="438" y="221"/>
                  </a:lnTo>
                  <a:lnTo>
                    <a:pt x="439" y="221"/>
                  </a:lnTo>
                  <a:lnTo>
                    <a:pt x="439" y="222"/>
                  </a:lnTo>
                  <a:lnTo>
                    <a:pt x="440" y="223"/>
                  </a:lnTo>
                  <a:lnTo>
                    <a:pt x="440" y="223"/>
                  </a:lnTo>
                  <a:lnTo>
                    <a:pt x="441" y="224"/>
                  </a:lnTo>
                  <a:lnTo>
                    <a:pt x="441" y="225"/>
                  </a:lnTo>
                  <a:lnTo>
                    <a:pt x="441" y="226"/>
                  </a:lnTo>
                  <a:lnTo>
                    <a:pt x="441" y="227"/>
                  </a:lnTo>
                  <a:lnTo>
                    <a:pt x="442" y="231"/>
                  </a:lnTo>
                  <a:lnTo>
                    <a:pt x="442" y="232"/>
                  </a:lnTo>
                  <a:lnTo>
                    <a:pt x="442" y="233"/>
                  </a:lnTo>
                  <a:lnTo>
                    <a:pt x="442" y="235"/>
                  </a:lnTo>
                  <a:lnTo>
                    <a:pt x="442" y="237"/>
                  </a:lnTo>
                  <a:lnTo>
                    <a:pt x="441" y="238"/>
                  </a:lnTo>
                  <a:lnTo>
                    <a:pt x="441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0" y="242"/>
                  </a:lnTo>
                  <a:lnTo>
                    <a:pt x="439" y="243"/>
                  </a:lnTo>
                  <a:lnTo>
                    <a:pt x="437" y="246"/>
                  </a:lnTo>
                  <a:lnTo>
                    <a:pt x="434" y="249"/>
                  </a:lnTo>
                  <a:lnTo>
                    <a:pt x="434" y="250"/>
                  </a:lnTo>
                  <a:lnTo>
                    <a:pt x="433" y="251"/>
                  </a:lnTo>
                  <a:lnTo>
                    <a:pt x="432" y="252"/>
                  </a:lnTo>
                  <a:lnTo>
                    <a:pt x="432" y="253"/>
                  </a:lnTo>
                  <a:lnTo>
                    <a:pt x="431" y="254"/>
                  </a:lnTo>
                  <a:lnTo>
                    <a:pt x="431" y="255"/>
                  </a:lnTo>
                  <a:lnTo>
                    <a:pt x="431" y="256"/>
                  </a:lnTo>
                  <a:lnTo>
                    <a:pt x="431" y="258"/>
                  </a:lnTo>
                  <a:lnTo>
                    <a:pt x="431" y="259"/>
                  </a:lnTo>
                  <a:lnTo>
                    <a:pt x="431" y="259"/>
                  </a:lnTo>
                  <a:lnTo>
                    <a:pt x="431" y="260"/>
                  </a:lnTo>
                  <a:lnTo>
                    <a:pt x="432" y="262"/>
                  </a:lnTo>
                  <a:lnTo>
                    <a:pt x="433" y="265"/>
                  </a:lnTo>
                  <a:lnTo>
                    <a:pt x="433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9"/>
                  </a:lnTo>
                  <a:lnTo>
                    <a:pt x="432" y="271"/>
                  </a:lnTo>
                  <a:lnTo>
                    <a:pt x="431" y="274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1" y="279"/>
                  </a:lnTo>
                  <a:lnTo>
                    <a:pt x="430" y="279"/>
                  </a:lnTo>
                  <a:lnTo>
                    <a:pt x="430" y="279"/>
                  </a:lnTo>
                  <a:lnTo>
                    <a:pt x="429" y="279"/>
                  </a:lnTo>
                  <a:lnTo>
                    <a:pt x="427" y="279"/>
                  </a:lnTo>
                  <a:lnTo>
                    <a:pt x="426" y="279"/>
                  </a:lnTo>
                  <a:lnTo>
                    <a:pt x="425" y="279"/>
                  </a:lnTo>
                  <a:lnTo>
                    <a:pt x="423" y="278"/>
                  </a:lnTo>
                  <a:lnTo>
                    <a:pt x="421" y="278"/>
                  </a:lnTo>
                  <a:lnTo>
                    <a:pt x="420" y="277"/>
                  </a:lnTo>
                  <a:lnTo>
                    <a:pt x="418" y="277"/>
                  </a:lnTo>
                  <a:lnTo>
                    <a:pt x="416" y="276"/>
                  </a:lnTo>
                  <a:lnTo>
                    <a:pt x="415" y="275"/>
                  </a:lnTo>
                  <a:lnTo>
                    <a:pt x="413" y="275"/>
                  </a:lnTo>
                  <a:lnTo>
                    <a:pt x="406" y="271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9"/>
                  </a:lnTo>
                  <a:lnTo>
                    <a:pt x="400" y="269"/>
                  </a:lnTo>
                  <a:lnTo>
                    <a:pt x="398" y="268"/>
                  </a:lnTo>
                  <a:lnTo>
                    <a:pt x="397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2" y="267"/>
                  </a:lnTo>
                  <a:lnTo>
                    <a:pt x="391" y="267"/>
                  </a:lnTo>
                  <a:lnTo>
                    <a:pt x="390" y="267"/>
                  </a:lnTo>
                  <a:lnTo>
                    <a:pt x="388" y="268"/>
                  </a:lnTo>
                  <a:lnTo>
                    <a:pt x="386" y="268"/>
                  </a:lnTo>
                  <a:lnTo>
                    <a:pt x="385" y="268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3" y="268"/>
                  </a:lnTo>
                  <a:lnTo>
                    <a:pt x="380" y="267"/>
                  </a:lnTo>
                  <a:lnTo>
                    <a:pt x="379" y="267"/>
                  </a:lnTo>
                  <a:lnTo>
                    <a:pt x="378" y="267"/>
                  </a:lnTo>
                  <a:lnTo>
                    <a:pt x="377" y="267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70" y="268"/>
                  </a:lnTo>
                  <a:lnTo>
                    <a:pt x="368" y="268"/>
                  </a:lnTo>
                  <a:lnTo>
                    <a:pt x="365" y="268"/>
                  </a:lnTo>
                  <a:lnTo>
                    <a:pt x="363" y="268"/>
                  </a:lnTo>
                  <a:lnTo>
                    <a:pt x="362" y="267"/>
                  </a:lnTo>
                  <a:lnTo>
                    <a:pt x="359" y="267"/>
                  </a:lnTo>
                  <a:lnTo>
                    <a:pt x="358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6" y="267"/>
                  </a:lnTo>
                  <a:lnTo>
                    <a:pt x="356" y="268"/>
                  </a:lnTo>
                  <a:lnTo>
                    <a:pt x="355" y="269"/>
                  </a:lnTo>
                  <a:lnTo>
                    <a:pt x="355" y="271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2" y="281"/>
                  </a:lnTo>
                  <a:lnTo>
                    <a:pt x="352" y="282"/>
                  </a:lnTo>
                  <a:lnTo>
                    <a:pt x="351" y="283"/>
                  </a:lnTo>
                  <a:lnTo>
                    <a:pt x="351" y="283"/>
                  </a:lnTo>
                  <a:lnTo>
                    <a:pt x="350" y="283"/>
                  </a:lnTo>
                  <a:lnTo>
                    <a:pt x="350" y="283"/>
                  </a:lnTo>
                  <a:lnTo>
                    <a:pt x="349" y="284"/>
                  </a:lnTo>
                  <a:lnTo>
                    <a:pt x="348" y="284"/>
                  </a:lnTo>
                  <a:lnTo>
                    <a:pt x="346" y="284"/>
                  </a:lnTo>
                  <a:lnTo>
                    <a:pt x="344" y="284"/>
                  </a:lnTo>
                  <a:lnTo>
                    <a:pt x="343" y="284"/>
                  </a:lnTo>
                  <a:lnTo>
                    <a:pt x="341" y="284"/>
                  </a:lnTo>
                  <a:lnTo>
                    <a:pt x="337" y="283"/>
                  </a:lnTo>
                  <a:lnTo>
                    <a:pt x="336" y="283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4" y="283"/>
                  </a:lnTo>
                  <a:lnTo>
                    <a:pt x="331" y="283"/>
                  </a:lnTo>
                  <a:lnTo>
                    <a:pt x="329" y="284"/>
                  </a:lnTo>
                  <a:lnTo>
                    <a:pt x="327" y="284"/>
                  </a:lnTo>
                  <a:lnTo>
                    <a:pt x="326" y="284"/>
                  </a:lnTo>
                  <a:lnTo>
                    <a:pt x="325" y="284"/>
                  </a:lnTo>
                  <a:lnTo>
                    <a:pt x="324" y="284"/>
                  </a:lnTo>
                  <a:lnTo>
                    <a:pt x="324" y="284"/>
                  </a:lnTo>
                  <a:lnTo>
                    <a:pt x="323" y="283"/>
                  </a:lnTo>
                  <a:lnTo>
                    <a:pt x="322" y="283"/>
                  </a:lnTo>
                  <a:lnTo>
                    <a:pt x="322" y="283"/>
                  </a:lnTo>
                  <a:lnTo>
                    <a:pt x="321" y="283"/>
                  </a:lnTo>
                  <a:lnTo>
                    <a:pt x="321" y="283"/>
                  </a:lnTo>
                  <a:lnTo>
                    <a:pt x="320" y="283"/>
                  </a:lnTo>
                  <a:lnTo>
                    <a:pt x="319" y="283"/>
                  </a:lnTo>
                  <a:lnTo>
                    <a:pt x="318" y="283"/>
                  </a:lnTo>
                  <a:lnTo>
                    <a:pt x="317" y="284"/>
                  </a:lnTo>
                  <a:lnTo>
                    <a:pt x="316" y="284"/>
                  </a:lnTo>
                  <a:lnTo>
                    <a:pt x="316" y="285"/>
                  </a:lnTo>
                  <a:lnTo>
                    <a:pt x="315" y="285"/>
                  </a:lnTo>
                  <a:lnTo>
                    <a:pt x="314" y="287"/>
                  </a:lnTo>
                  <a:lnTo>
                    <a:pt x="313" y="288"/>
                  </a:lnTo>
                  <a:lnTo>
                    <a:pt x="311" y="289"/>
                  </a:lnTo>
                  <a:lnTo>
                    <a:pt x="311" y="290"/>
                  </a:lnTo>
                  <a:lnTo>
                    <a:pt x="310" y="290"/>
                  </a:lnTo>
                  <a:lnTo>
                    <a:pt x="310" y="291"/>
                  </a:lnTo>
                  <a:lnTo>
                    <a:pt x="309" y="291"/>
                  </a:lnTo>
                  <a:lnTo>
                    <a:pt x="309" y="291"/>
                  </a:lnTo>
                  <a:lnTo>
                    <a:pt x="308" y="291"/>
                  </a:lnTo>
                  <a:lnTo>
                    <a:pt x="308" y="291"/>
                  </a:lnTo>
                  <a:lnTo>
                    <a:pt x="307" y="291"/>
                  </a:lnTo>
                  <a:lnTo>
                    <a:pt x="307" y="290"/>
                  </a:lnTo>
                  <a:lnTo>
                    <a:pt x="307" y="290"/>
                  </a:lnTo>
                  <a:lnTo>
                    <a:pt x="303" y="284"/>
                  </a:lnTo>
                  <a:lnTo>
                    <a:pt x="302" y="283"/>
                  </a:lnTo>
                  <a:lnTo>
                    <a:pt x="301" y="282"/>
                  </a:lnTo>
                  <a:lnTo>
                    <a:pt x="300" y="281"/>
                  </a:lnTo>
                  <a:lnTo>
                    <a:pt x="299" y="281"/>
                  </a:lnTo>
                  <a:lnTo>
                    <a:pt x="296" y="279"/>
                  </a:lnTo>
                  <a:lnTo>
                    <a:pt x="293" y="277"/>
                  </a:lnTo>
                  <a:lnTo>
                    <a:pt x="292" y="276"/>
                  </a:lnTo>
                  <a:lnTo>
                    <a:pt x="290" y="275"/>
                  </a:lnTo>
                  <a:lnTo>
                    <a:pt x="289" y="275"/>
                  </a:lnTo>
                  <a:lnTo>
                    <a:pt x="285" y="274"/>
                  </a:lnTo>
                  <a:lnTo>
                    <a:pt x="281" y="272"/>
                  </a:lnTo>
                  <a:lnTo>
                    <a:pt x="280" y="272"/>
                  </a:lnTo>
                  <a:lnTo>
                    <a:pt x="278" y="272"/>
                  </a:lnTo>
                  <a:lnTo>
                    <a:pt x="277" y="271"/>
                  </a:lnTo>
                  <a:lnTo>
                    <a:pt x="276" y="271"/>
                  </a:lnTo>
                  <a:lnTo>
                    <a:pt x="276" y="271"/>
                  </a:lnTo>
                  <a:lnTo>
                    <a:pt x="275" y="270"/>
                  </a:lnTo>
                  <a:lnTo>
                    <a:pt x="273" y="269"/>
                  </a:lnTo>
                  <a:lnTo>
                    <a:pt x="272" y="267"/>
                  </a:lnTo>
                  <a:lnTo>
                    <a:pt x="271" y="266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2"/>
                  </a:lnTo>
                  <a:lnTo>
                    <a:pt x="264" y="258"/>
                  </a:lnTo>
                  <a:lnTo>
                    <a:pt x="262" y="256"/>
                  </a:lnTo>
                  <a:lnTo>
                    <a:pt x="261" y="255"/>
                  </a:lnTo>
                  <a:lnTo>
                    <a:pt x="260" y="254"/>
                  </a:lnTo>
                  <a:lnTo>
                    <a:pt x="258" y="254"/>
                  </a:lnTo>
                  <a:lnTo>
                    <a:pt x="257" y="253"/>
                  </a:lnTo>
                  <a:lnTo>
                    <a:pt x="256" y="252"/>
                  </a:lnTo>
                  <a:lnTo>
                    <a:pt x="252" y="250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6" y="247"/>
                  </a:lnTo>
                  <a:lnTo>
                    <a:pt x="243" y="246"/>
                  </a:lnTo>
                  <a:lnTo>
                    <a:pt x="239" y="245"/>
                  </a:lnTo>
                  <a:lnTo>
                    <a:pt x="235" y="244"/>
                  </a:lnTo>
                  <a:lnTo>
                    <a:pt x="234" y="244"/>
                  </a:lnTo>
                  <a:lnTo>
                    <a:pt x="232" y="243"/>
                  </a:lnTo>
                  <a:lnTo>
                    <a:pt x="231" y="243"/>
                  </a:lnTo>
                  <a:lnTo>
                    <a:pt x="230" y="242"/>
                  </a:lnTo>
                  <a:lnTo>
                    <a:pt x="229" y="242"/>
                  </a:lnTo>
                  <a:lnTo>
                    <a:pt x="228" y="242"/>
                  </a:lnTo>
                  <a:lnTo>
                    <a:pt x="224" y="242"/>
                  </a:lnTo>
                  <a:lnTo>
                    <a:pt x="222" y="242"/>
                  </a:lnTo>
                  <a:lnTo>
                    <a:pt x="221" y="242"/>
                  </a:lnTo>
                  <a:lnTo>
                    <a:pt x="221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19" y="241"/>
                  </a:lnTo>
                  <a:lnTo>
                    <a:pt x="219" y="240"/>
                  </a:lnTo>
                  <a:lnTo>
                    <a:pt x="218" y="240"/>
                  </a:lnTo>
                  <a:lnTo>
                    <a:pt x="216" y="238"/>
                  </a:lnTo>
                  <a:lnTo>
                    <a:pt x="214" y="236"/>
                  </a:lnTo>
                  <a:lnTo>
                    <a:pt x="213" y="235"/>
                  </a:lnTo>
                  <a:lnTo>
                    <a:pt x="212" y="233"/>
                  </a:lnTo>
                  <a:lnTo>
                    <a:pt x="211" y="233"/>
                  </a:lnTo>
                  <a:lnTo>
                    <a:pt x="210" y="232"/>
                  </a:lnTo>
                  <a:lnTo>
                    <a:pt x="209" y="232"/>
                  </a:lnTo>
                  <a:lnTo>
                    <a:pt x="209" y="231"/>
                  </a:lnTo>
                  <a:lnTo>
                    <a:pt x="208" y="231"/>
                  </a:lnTo>
                  <a:lnTo>
                    <a:pt x="207" y="230"/>
                  </a:lnTo>
                  <a:lnTo>
                    <a:pt x="205" y="230"/>
                  </a:lnTo>
                  <a:lnTo>
                    <a:pt x="202" y="230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6" y="227"/>
                  </a:lnTo>
                  <a:lnTo>
                    <a:pt x="195" y="227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3" y="225"/>
                  </a:lnTo>
                  <a:lnTo>
                    <a:pt x="192" y="224"/>
                  </a:lnTo>
                  <a:lnTo>
                    <a:pt x="191" y="223"/>
                  </a:lnTo>
                  <a:lnTo>
                    <a:pt x="190" y="222"/>
                  </a:lnTo>
                  <a:lnTo>
                    <a:pt x="190" y="221"/>
                  </a:lnTo>
                  <a:lnTo>
                    <a:pt x="189" y="221"/>
                  </a:lnTo>
                  <a:lnTo>
                    <a:pt x="189" y="221"/>
                  </a:lnTo>
                  <a:lnTo>
                    <a:pt x="188" y="221"/>
                  </a:lnTo>
                  <a:lnTo>
                    <a:pt x="188" y="221"/>
                  </a:lnTo>
                  <a:lnTo>
                    <a:pt x="187" y="221"/>
                  </a:lnTo>
                  <a:lnTo>
                    <a:pt x="186" y="222"/>
                  </a:lnTo>
                  <a:lnTo>
                    <a:pt x="185" y="223"/>
                  </a:lnTo>
                  <a:lnTo>
                    <a:pt x="184" y="224"/>
                  </a:lnTo>
                  <a:lnTo>
                    <a:pt x="183" y="225"/>
                  </a:lnTo>
                  <a:lnTo>
                    <a:pt x="182" y="226"/>
                  </a:lnTo>
                  <a:lnTo>
                    <a:pt x="181" y="228"/>
                  </a:lnTo>
                  <a:lnTo>
                    <a:pt x="180" y="230"/>
                  </a:lnTo>
                  <a:lnTo>
                    <a:pt x="179" y="233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8" y="235"/>
                  </a:lnTo>
                  <a:lnTo>
                    <a:pt x="176" y="237"/>
                  </a:lnTo>
                  <a:lnTo>
                    <a:pt x="175" y="240"/>
                  </a:lnTo>
                  <a:lnTo>
                    <a:pt x="174" y="240"/>
                  </a:lnTo>
                  <a:lnTo>
                    <a:pt x="174" y="241"/>
                  </a:lnTo>
                  <a:lnTo>
                    <a:pt x="173" y="241"/>
                  </a:lnTo>
                  <a:lnTo>
                    <a:pt x="173" y="241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6" y="242"/>
                  </a:lnTo>
                  <a:lnTo>
                    <a:pt x="165" y="242"/>
                  </a:lnTo>
                  <a:lnTo>
                    <a:pt x="164" y="242"/>
                  </a:lnTo>
                  <a:lnTo>
                    <a:pt x="164" y="241"/>
                  </a:lnTo>
                  <a:lnTo>
                    <a:pt x="163" y="241"/>
                  </a:lnTo>
                  <a:lnTo>
                    <a:pt x="161" y="240"/>
                  </a:lnTo>
                  <a:lnTo>
                    <a:pt x="158" y="239"/>
                  </a:lnTo>
                  <a:lnTo>
                    <a:pt x="152" y="236"/>
                  </a:lnTo>
                  <a:lnTo>
                    <a:pt x="150" y="235"/>
                  </a:lnTo>
                  <a:lnTo>
                    <a:pt x="150" y="234"/>
                  </a:lnTo>
                  <a:lnTo>
                    <a:pt x="149" y="234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6" y="231"/>
                  </a:lnTo>
                  <a:lnTo>
                    <a:pt x="146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5" y="227"/>
                  </a:lnTo>
                  <a:lnTo>
                    <a:pt x="146" y="226"/>
                  </a:lnTo>
                  <a:lnTo>
                    <a:pt x="146" y="225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5" y="219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7"/>
                  </a:lnTo>
                  <a:lnTo>
                    <a:pt x="140" y="217"/>
                  </a:lnTo>
                  <a:lnTo>
                    <a:pt x="139" y="216"/>
                  </a:lnTo>
                  <a:lnTo>
                    <a:pt x="138" y="216"/>
                  </a:lnTo>
                  <a:lnTo>
                    <a:pt x="137" y="215"/>
                  </a:lnTo>
                  <a:lnTo>
                    <a:pt x="135" y="214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1" y="212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7" y="211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3" y="210"/>
                  </a:lnTo>
                  <a:lnTo>
                    <a:pt x="123" y="209"/>
                  </a:lnTo>
                  <a:lnTo>
                    <a:pt x="122" y="209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3"/>
                  </a:lnTo>
                  <a:lnTo>
                    <a:pt x="120" y="203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19" y="202"/>
                  </a:lnTo>
                  <a:lnTo>
                    <a:pt x="119" y="201"/>
                  </a:lnTo>
                  <a:lnTo>
                    <a:pt x="118" y="201"/>
                  </a:lnTo>
                  <a:lnTo>
                    <a:pt x="115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9" y="199"/>
                  </a:lnTo>
                  <a:lnTo>
                    <a:pt x="108" y="198"/>
                  </a:lnTo>
                  <a:lnTo>
                    <a:pt x="107" y="198"/>
                  </a:lnTo>
                  <a:lnTo>
                    <a:pt x="106" y="197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4" y="195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0" y="191"/>
                  </a:lnTo>
                  <a:lnTo>
                    <a:pt x="99" y="191"/>
                  </a:lnTo>
                  <a:lnTo>
                    <a:pt x="98" y="190"/>
                  </a:lnTo>
                  <a:lnTo>
                    <a:pt x="95" y="189"/>
                  </a:lnTo>
                  <a:lnTo>
                    <a:pt x="94" y="189"/>
                  </a:lnTo>
                  <a:lnTo>
                    <a:pt x="93" y="188"/>
                  </a:lnTo>
                  <a:lnTo>
                    <a:pt x="93" y="187"/>
                  </a:lnTo>
                  <a:lnTo>
                    <a:pt x="92" y="187"/>
                  </a:lnTo>
                  <a:lnTo>
                    <a:pt x="91" y="187"/>
                  </a:lnTo>
                  <a:lnTo>
                    <a:pt x="89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7" y="186"/>
                  </a:lnTo>
                  <a:lnTo>
                    <a:pt x="73" y="186"/>
                  </a:lnTo>
                  <a:lnTo>
                    <a:pt x="72" y="186"/>
                  </a:lnTo>
                  <a:lnTo>
                    <a:pt x="71" y="186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7" y="186"/>
                  </a:lnTo>
                  <a:lnTo>
                    <a:pt x="66" y="186"/>
                  </a:lnTo>
                  <a:lnTo>
                    <a:pt x="66" y="185"/>
                  </a:lnTo>
                  <a:lnTo>
                    <a:pt x="64" y="184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0"/>
                  </a:lnTo>
                  <a:lnTo>
                    <a:pt x="59" y="179"/>
                  </a:lnTo>
                  <a:lnTo>
                    <a:pt x="52" y="174"/>
                  </a:lnTo>
                  <a:lnTo>
                    <a:pt x="49" y="172"/>
                  </a:lnTo>
                  <a:lnTo>
                    <a:pt x="47" y="171"/>
                  </a:lnTo>
                  <a:lnTo>
                    <a:pt x="42" y="167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8" y="161"/>
                  </a:lnTo>
                  <a:lnTo>
                    <a:pt x="38" y="157"/>
                  </a:lnTo>
                  <a:lnTo>
                    <a:pt x="39" y="154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9" y="148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4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6" y="131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19"/>
                  </a:lnTo>
                  <a:lnTo>
                    <a:pt x="46" y="118"/>
                  </a:lnTo>
                  <a:lnTo>
                    <a:pt x="45" y="118"/>
                  </a:lnTo>
                  <a:lnTo>
                    <a:pt x="45" y="117"/>
                  </a:lnTo>
                  <a:lnTo>
                    <a:pt x="44" y="116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1" y="114"/>
                  </a:lnTo>
                  <a:lnTo>
                    <a:pt x="38" y="113"/>
                  </a:lnTo>
                  <a:lnTo>
                    <a:pt x="37" y="112"/>
                  </a:lnTo>
                  <a:lnTo>
                    <a:pt x="35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29" y="106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5" y="98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3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8"/>
                  </a:lnTo>
                  <a:lnTo>
                    <a:pt x="5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2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3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8" y="46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Freeform 27">
              <a:extLst>
                <a:ext uri="{FF2B5EF4-FFF2-40B4-BE49-F238E27FC236}">
                  <a16:creationId xmlns:a16="http://schemas.microsoft.com/office/drawing/2014/main" id="{35274914-0144-62C7-682E-DEAF82A930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" y="3273"/>
              <a:ext cx="83" cy="28"/>
            </a:xfrm>
            <a:custGeom>
              <a:avLst/>
              <a:gdLst>
                <a:gd name="T0" fmla="*/ 1 w 83"/>
                <a:gd name="T1" fmla="*/ 28 h 28"/>
                <a:gd name="T2" fmla="*/ 4 w 83"/>
                <a:gd name="T3" fmla="*/ 26 h 28"/>
                <a:gd name="T4" fmla="*/ 5 w 83"/>
                <a:gd name="T5" fmla="*/ 24 h 28"/>
                <a:gd name="T6" fmla="*/ 6 w 83"/>
                <a:gd name="T7" fmla="*/ 22 h 28"/>
                <a:gd name="T8" fmla="*/ 7 w 83"/>
                <a:gd name="T9" fmla="*/ 21 h 28"/>
                <a:gd name="T10" fmla="*/ 8 w 83"/>
                <a:gd name="T11" fmla="*/ 19 h 28"/>
                <a:gd name="T12" fmla="*/ 9 w 83"/>
                <a:gd name="T13" fmla="*/ 18 h 28"/>
                <a:gd name="T14" fmla="*/ 11 w 83"/>
                <a:gd name="T15" fmla="*/ 17 h 28"/>
                <a:gd name="T16" fmla="*/ 14 w 83"/>
                <a:gd name="T17" fmla="*/ 17 h 28"/>
                <a:gd name="T18" fmla="*/ 16 w 83"/>
                <a:gd name="T19" fmla="*/ 16 h 28"/>
                <a:gd name="T20" fmla="*/ 20 w 83"/>
                <a:gd name="T21" fmla="*/ 14 h 28"/>
                <a:gd name="T22" fmla="*/ 20 w 83"/>
                <a:gd name="T23" fmla="*/ 14 h 28"/>
                <a:gd name="T24" fmla="*/ 21 w 83"/>
                <a:gd name="T25" fmla="*/ 14 h 28"/>
                <a:gd name="T26" fmla="*/ 22 w 83"/>
                <a:gd name="T27" fmla="*/ 15 h 28"/>
                <a:gd name="T28" fmla="*/ 24 w 83"/>
                <a:gd name="T29" fmla="*/ 17 h 28"/>
                <a:gd name="T30" fmla="*/ 26 w 83"/>
                <a:gd name="T31" fmla="*/ 17 h 28"/>
                <a:gd name="T32" fmla="*/ 28 w 83"/>
                <a:gd name="T33" fmla="*/ 18 h 28"/>
                <a:gd name="T34" fmla="*/ 30 w 83"/>
                <a:gd name="T35" fmla="*/ 18 h 28"/>
                <a:gd name="T36" fmla="*/ 32 w 83"/>
                <a:gd name="T37" fmla="*/ 18 h 28"/>
                <a:gd name="T38" fmla="*/ 36 w 83"/>
                <a:gd name="T39" fmla="*/ 18 h 28"/>
                <a:gd name="T40" fmla="*/ 39 w 83"/>
                <a:gd name="T41" fmla="*/ 18 h 28"/>
                <a:gd name="T42" fmla="*/ 42 w 83"/>
                <a:gd name="T43" fmla="*/ 18 h 28"/>
                <a:gd name="T44" fmla="*/ 44 w 83"/>
                <a:gd name="T45" fmla="*/ 18 h 28"/>
                <a:gd name="T46" fmla="*/ 45 w 83"/>
                <a:gd name="T47" fmla="*/ 19 h 28"/>
                <a:gd name="T48" fmla="*/ 49 w 83"/>
                <a:gd name="T49" fmla="*/ 20 h 28"/>
                <a:gd name="T50" fmla="*/ 51 w 83"/>
                <a:gd name="T51" fmla="*/ 21 h 28"/>
                <a:gd name="T52" fmla="*/ 54 w 83"/>
                <a:gd name="T53" fmla="*/ 21 h 28"/>
                <a:gd name="T54" fmla="*/ 55 w 83"/>
                <a:gd name="T55" fmla="*/ 21 h 28"/>
                <a:gd name="T56" fmla="*/ 59 w 83"/>
                <a:gd name="T57" fmla="*/ 19 h 28"/>
                <a:gd name="T58" fmla="*/ 62 w 83"/>
                <a:gd name="T59" fmla="*/ 18 h 28"/>
                <a:gd name="T60" fmla="*/ 65 w 83"/>
                <a:gd name="T61" fmla="*/ 17 h 28"/>
                <a:gd name="T62" fmla="*/ 67 w 83"/>
                <a:gd name="T63" fmla="*/ 16 h 28"/>
                <a:gd name="T64" fmla="*/ 68 w 83"/>
                <a:gd name="T65" fmla="*/ 15 h 28"/>
                <a:gd name="T66" fmla="*/ 69 w 83"/>
                <a:gd name="T67" fmla="*/ 13 h 28"/>
                <a:gd name="T68" fmla="*/ 70 w 83"/>
                <a:gd name="T69" fmla="*/ 12 h 28"/>
                <a:gd name="T70" fmla="*/ 72 w 83"/>
                <a:gd name="T71" fmla="*/ 8 h 28"/>
                <a:gd name="T72" fmla="*/ 73 w 83"/>
                <a:gd name="T73" fmla="*/ 7 h 28"/>
                <a:gd name="T74" fmla="*/ 74 w 83"/>
                <a:gd name="T75" fmla="*/ 6 h 28"/>
                <a:gd name="T76" fmla="*/ 76 w 83"/>
                <a:gd name="T77" fmla="*/ 4 h 28"/>
                <a:gd name="T78" fmla="*/ 78 w 83"/>
                <a:gd name="T79" fmla="*/ 2 h 28"/>
                <a:gd name="T80" fmla="*/ 82 w 83"/>
                <a:gd name="T81" fmla="*/ 0 h 28"/>
                <a:gd name="T82" fmla="*/ 82 w 83"/>
                <a:gd name="T8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3" h="28">
                  <a:moveTo>
                    <a:pt x="0" y="28"/>
                  </a:moveTo>
                  <a:lnTo>
                    <a:pt x="1" y="28"/>
                  </a:lnTo>
                  <a:lnTo>
                    <a:pt x="2" y="27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6" y="22"/>
                  </a:lnTo>
                  <a:lnTo>
                    <a:pt x="6" y="21"/>
                  </a:lnTo>
                  <a:lnTo>
                    <a:pt x="7" y="21"/>
                  </a:lnTo>
                  <a:lnTo>
                    <a:pt x="7" y="20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10" y="18"/>
                  </a:lnTo>
                  <a:lnTo>
                    <a:pt x="11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5" y="17"/>
                  </a:lnTo>
                  <a:lnTo>
                    <a:pt x="16" y="16"/>
                  </a:lnTo>
                  <a:lnTo>
                    <a:pt x="19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4" y="17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30" y="18"/>
                  </a:lnTo>
                  <a:lnTo>
                    <a:pt x="31" y="18"/>
                  </a:lnTo>
                  <a:lnTo>
                    <a:pt x="32" y="18"/>
                  </a:lnTo>
                  <a:lnTo>
                    <a:pt x="35" y="18"/>
                  </a:lnTo>
                  <a:lnTo>
                    <a:pt x="36" y="18"/>
                  </a:lnTo>
                  <a:lnTo>
                    <a:pt x="37" y="18"/>
                  </a:lnTo>
                  <a:lnTo>
                    <a:pt x="39" y="18"/>
                  </a:lnTo>
                  <a:lnTo>
                    <a:pt x="40" y="18"/>
                  </a:lnTo>
                  <a:lnTo>
                    <a:pt x="42" y="18"/>
                  </a:lnTo>
                  <a:lnTo>
                    <a:pt x="43" y="18"/>
                  </a:lnTo>
                  <a:lnTo>
                    <a:pt x="44" y="18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7" y="19"/>
                  </a:lnTo>
                  <a:lnTo>
                    <a:pt x="49" y="20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52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5" y="21"/>
                  </a:lnTo>
                  <a:lnTo>
                    <a:pt x="56" y="20"/>
                  </a:lnTo>
                  <a:lnTo>
                    <a:pt x="59" y="19"/>
                  </a:lnTo>
                  <a:lnTo>
                    <a:pt x="60" y="18"/>
                  </a:lnTo>
                  <a:lnTo>
                    <a:pt x="62" y="18"/>
                  </a:lnTo>
                  <a:lnTo>
                    <a:pt x="64" y="17"/>
                  </a:lnTo>
                  <a:lnTo>
                    <a:pt x="65" y="17"/>
                  </a:lnTo>
                  <a:lnTo>
                    <a:pt x="66" y="17"/>
                  </a:lnTo>
                  <a:lnTo>
                    <a:pt x="67" y="16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9" y="14"/>
                  </a:lnTo>
                  <a:lnTo>
                    <a:pt x="69" y="13"/>
                  </a:lnTo>
                  <a:lnTo>
                    <a:pt x="70" y="13"/>
                  </a:lnTo>
                  <a:lnTo>
                    <a:pt x="70" y="12"/>
                  </a:lnTo>
                  <a:lnTo>
                    <a:pt x="71" y="9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3" y="7"/>
                  </a:lnTo>
                  <a:lnTo>
                    <a:pt x="73" y="6"/>
                  </a:lnTo>
                  <a:lnTo>
                    <a:pt x="74" y="6"/>
                  </a:lnTo>
                  <a:lnTo>
                    <a:pt x="75" y="5"/>
                  </a:lnTo>
                  <a:lnTo>
                    <a:pt x="76" y="4"/>
                  </a:lnTo>
                  <a:lnTo>
                    <a:pt x="77" y="3"/>
                  </a:lnTo>
                  <a:lnTo>
                    <a:pt x="78" y="2"/>
                  </a:lnTo>
                  <a:lnTo>
                    <a:pt x="80" y="1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3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Freeform 28">
              <a:extLst>
                <a:ext uri="{FF2B5EF4-FFF2-40B4-BE49-F238E27FC236}">
                  <a16:creationId xmlns:a16="http://schemas.microsoft.com/office/drawing/2014/main" id="{EB4A1B39-A433-D3A4-B1E9-74FA974A2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" y="3418"/>
              <a:ext cx="457" cy="425"/>
            </a:xfrm>
            <a:custGeom>
              <a:avLst/>
              <a:gdLst>
                <a:gd name="T0" fmla="*/ 224 w 457"/>
                <a:gd name="T1" fmla="*/ 24 h 425"/>
                <a:gd name="T2" fmla="*/ 248 w 457"/>
                <a:gd name="T3" fmla="*/ 33 h 425"/>
                <a:gd name="T4" fmla="*/ 266 w 457"/>
                <a:gd name="T5" fmla="*/ 47 h 425"/>
                <a:gd name="T6" fmla="*/ 290 w 457"/>
                <a:gd name="T7" fmla="*/ 57 h 425"/>
                <a:gd name="T8" fmla="*/ 309 w 457"/>
                <a:gd name="T9" fmla="*/ 79 h 425"/>
                <a:gd name="T10" fmla="*/ 330 w 457"/>
                <a:gd name="T11" fmla="*/ 58 h 425"/>
                <a:gd name="T12" fmla="*/ 352 w 457"/>
                <a:gd name="T13" fmla="*/ 69 h 425"/>
                <a:gd name="T14" fmla="*/ 382 w 457"/>
                <a:gd name="T15" fmla="*/ 82 h 425"/>
                <a:gd name="T16" fmla="*/ 421 w 457"/>
                <a:gd name="T17" fmla="*/ 109 h 425"/>
                <a:gd name="T18" fmla="*/ 447 w 457"/>
                <a:gd name="T19" fmla="*/ 140 h 425"/>
                <a:gd name="T20" fmla="*/ 456 w 457"/>
                <a:gd name="T21" fmla="*/ 155 h 425"/>
                <a:gd name="T22" fmla="*/ 443 w 457"/>
                <a:gd name="T23" fmla="*/ 168 h 425"/>
                <a:gd name="T24" fmla="*/ 444 w 457"/>
                <a:gd name="T25" fmla="*/ 186 h 425"/>
                <a:gd name="T26" fmla="*/ 430 w 457"/>
                <a:gd name="T27" fmla="*/ 181 h 425"/>
                <a:gd name="T28" fmla="*/ 432 w 457"/>
                <a:gd name="T29" fmla="*/ 192 h 425"/>
                <a:gd name="T30" fmla="*/ 411 w 457"/>
                <a:gd name="T31" fmla="*/ 204 h 425"/>
                <a:gd name="T32" fmla="*/ 403 w 457"/>
                <a:gd name="T33" fmla="*/ 234 h 425"/>
                <a:gd name="T34" fmla="*/ 415 w 457"/>
                <a:gd name="T35" fmla="*/ 248 h 425"/>
                <a:gd name="T36" fmla="*/ 414 w 457"/>
                <a:gd name="T37" fmla="*/ 266 h 425"/>
                <a:gd name="T38" fmla="*/ 409 w 457"/>
                <a:gd name="T39" fmla="*/ 285 h 425"/>
                <a:gd name="T40" fmla="*/ 415 w 457"/>
                <a:gd name="T41" fmla="*/ 304 h 425"/>
                <a:gd name="T42" fmla="*/ 405 w 457"/>
                <a:gd name="T43" fmla="*/ 320 h 425"/>
                <a:gd name="T44" fmla="*/ 400 w 457"/>
                <a:gd name="T45" fmla="*/ 334 h 425"/>
                <a:gd name="T46" fmla="*/ 405 w 457"/>
                <a:gd name="T47" fmla="*/ 353 h 425"/>
                <a:gd name="T48" fmla="*/ 381 w 457"/>
                <a:gd name="T49" fmla="*/ 365 h 425"/>
                <a:gd name="T50" fmla="*/ 362 w 457"/>
                <a:gd name="T51" fmla="*/ 380 h 425"/>
                <a:gd name="T52" fmla="*/ 334 w 457"/>
                <a:gd name="T53" fmla="*/ 383 h 425"/>
                <a:gd name="T54" fmla="*/ 316 w 457"/>
                <a:gd name="T55" fmla="*/ 377 h 425"/>
                <a:gd name="T56" fmla="*/ 300 w 457"/>
                <a:gd name="T57" fmla="*/ 386 h 425"/>
                <a:gd name="T58" fmla="*/ 275 w 457"/>
                <a:gd name="T59" fmla="*/ 400 h 425"/>
                <a:gd name="T60" fmla="*/ 253 w 457"/>
                <a:gd name="T61" fmla="*/ 419 h 425"/>
                <a:gd name="T62" fmla="*/ 229 w 457"/>
                <a:gd name="T63" fmla="*/ 424 h 425"/>
                <a:gd name="T64" fmla="*/ 211 w 457"/>
                <a:gd name="T65" fmla="*/ 422 h 425"/>
                <a:gd name="T66" fmla="*/ 193 w 457"/>
                <a:gd name="T67" fmla="*/ 408 h 425"/>
                <a:gd name="T68" fmla="*/ 183 w 457"/>
                <a:gd name="T69" fmla="*/ 397 h 425"/>
                <a:gd name="T70" fmla="*/ 199 w 457"/>
                <a:gd name="T71" fmla="*/ 369 h 425"/>
                <a:gd name="T72" fmla="*/ 211 w 457"/>
                <a:gd name="T73" fmla="*/ 355 h 425"/>
                <a:gd name="T74" fmla="*/ 200 w 457"/>
                <a:gd name="T75" fmla="*/ 339 h 425"/>
                <a:gd name="T76" fmla="*/ 173 w 457"/>
                <a:gd name="T77" fmla="*/ 342 h 425"/>
                <a:gd name="T78" fmla="*/ 142 w 457"/>
                <a:gd name="T79" fmla="*/ 330 h 425"/>
                <a:gd name="T80" fmla="*/ 134 w 457"/>
                <a:gd name="T81" fmla="*/ 301 h 425"/>
                <a:gd name="T82" fmla="*/ 107 w 457"/>
                <a:gd name="T83" fmla="*/ 299 h 425"/>
                <a:gd name="T84" fmla="*/ 77 w 457"/>
                <a:gd name="T85" fmla="*/ 296 h 425"/>
                <a:gd name="T86" fmla="*/ 58 w 457"/>
                <a:gd name="T87" fmla="*/ 284 h 425"/>
                <a:gd name="T88" fmla="*/ 52 w 457"/>
                <a:gd name="T89" fmla="*/ 272 h 425"/>
                <a:gd name="T90" fmla="*/ 26 w 457"/>
                <a:gd name="T91" fmla="*/ 269 h 425"/>
                <a:gd name="T92" fmla="*/ 5 w 457"/>
                <a:gd name="T93" fmla="*/ 242 h 425"/>
                <a:gd name="T94" fmla="*/ 0 w 457"/>
                <a:gd name="T95" fmla="*/ 222 h 425"/>
                <a:gd name="T96" fmla="*/ 8 w 457"/>
                <a:gd name="T97" fmla="*/ 188 h 425"/>
                <a:gd name="T98" fmla="*/ 5 w 457"/>
                <a:gd name="T99" fmla="*/ 160 h 425"/>
                <a:gd name="T100" fmla="*/ 11 w 457"/>
                <a:gd name="T101" fmla="*/ 145 h 425"/>
                <a:gd name="T102" fmla="*/ 26 w 457"/>
                <a:gd name="T103" fmla="*/ 129 h 425"/>
                <a:gd name="T104" fmla="*/ 39 w 457"/>
                <a:gd name="T105" fmla="*/ 122 h 425"/>
                <a:gd name="T106" fmla="*/ 74 w 457"/>
                <a:gd name="T107" fmla="*/ 121 h 425"/>
                <a:gd name="T108" fmla="*/ 88 w 457"/>
                <a:gd name="T109" fmla="*/ 115 h 425"/>
                <a:gd name="T110" fmla="*/ 105 w 457"/>
                <a:gd name="T111" fmla="*/ 105 h 425"/>
                <a:gd name="T112" fmla="*/ 87 w 457"/>
                <a:gd name="T113" fmla="*/ 86 h 425"/>
                <a:gd name="T114" fmla="*/ 99 w 457"/>
                <a:gd name="T115" fmla="*/ 53 h 425"/>
                <a:gd name="T116" fmla="*/ 113 w 457"/>
                <a:gd name="T117" fmla="*/ 49 h 425"/>
                <a:gd name="T118" fmla="*/ 146 w 457"/>
                <a:gd name="T119" fmla="*/ 32 h 425"/>
                <a:gd name="T120" fmla="*/ 160 w 457"/>
                <a:gd name="T121" fmla="*/ 25 h 425"/>
                <a:gd name="T122" fmla="*/ 169 w 457"/>
                <a:gd name="T123" fmla="*/ 9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7" h="425">
                  <a:moveTo>
                    <a:pt x="185" y="4"/>
                  </a:moveTo>
                  <a:lnTo>
                    <a:pt x="190" y="8"/>
                  </a:lnTo>
                  <a:lnTo>
                    <a:pt x="192" y="9"/>
                  </a:lnTo>
                  <a:lnTo>
                    <a:pt x="195" y="11"/>
                  </a:lnTo>
                  <a:lnTo>
                    <a:pt x="202" y="16"/>
                  </a:lnTo>
                  <a:lnTo>
                    <a:pt x="203" y="17"/>
                  </a:lnTo>
                  <a:lnTo>
                    <a:pt x="205" y="19"/>
                  </a:lnTo>
                  <a:lnTo>
                    <a:pt x="206" y="19"/>
                  </a:lnTo>
                  <a:lnTo>
                    <a:pt x="207" y="21"/>
                  </a:lnTo>
                  <a:lnTo>
                    <a:pt x="209" y="22"/>
                  </a:lnTo>
                  <a:lnTo>
                    <a:pt x="209" y="23"/>
                  </a:lnTo>
                  <a:lnTo>
                    <a:pt x="210" y="23"/>
                  </a:lnTo>
                  <a:lnTo>
                    <a:pt x="211" y="23"/>
                  </a:lnTo>
                  <a:lnTo>
                    <a:pt x="211" y="23"/>
                  </a:lnTo>
                  <a:lnTo>
                    <a:pt x="212" y="23"/>
                  </a:lnTo>
                  <a:lnTo>
                    <a:pt x="214" y="23"/>
                  </a:lnTo>
                  <a:lnTo>
                    <a:pt x="215" y="23"/>
                  </a:lnTo>
                  <a:lnTo>
                    <a:pt x="216" y="23"/>
                  </a:lnTo>
                  <a:lnTo>
                    <a:pt x="220" y="23"/>
                  </a:lnTo>
                  <a:lnTo>
                    <a:pt x="221" y="23"/>
                  </a:lnTo>
                  <a:lnTo>
                    <a:pt x="221" y="23"/>
                  </a:lnTo>
                  <a:lnTo>
                    <a:pt x="222" y="23"/>
                  </a:lnTo>
                  <a:lnTo>
                    <a:pt x="224" y="24"/>
                  </a:lnTo>
                  <a:lnTo>
                    <a:pt x="225" y="24"/>
                  </a:lnTo>
                  <a:lnTo>
                    <a:pt x="226" y="24"/>
                  </a:lnTo>
                  <a:lnTo>
                    <a:pt x="227" y="24"/>
                  </a:lnTo>
                  <a:lnTo>
                    <a:pt x="227" y="23"/>
                  </a:lnTo>
                  <a:lnTo>
                    <a:pt x="229" y="23"/>
                  </a:lnTo>
                  <a:lnTo>
                    <a:pt x="230" y="23"/>
                  </a:lnTo>
                  <a:lnTo>
                    <a:pt x="230" y="23"/>
                  </a:lnTo>
                  <a:lnTo>
                    <a:pt x="231" y="23"/>
                  </a:lnTo>
                  <a:lnTo>
                    <a:pt x="232" y="23"/>
                  </a:lnTo>
                  <a:lnTo>
                    <a:pt x="234" y="24"/>
                  </a:lnTo>
                  <a:lnTo>
                    <a:pt x="235" y="24"/>
                  </a:lnTo>
                  <a:lnTo>
                    <a:pt x="236" y="24"/>
                  </a:lnTo>
                  <a:lnTo>
                    <a:pt x="236" y="25"/>
                  </a:lnTo>
                  <a:lnTo>
                    <a:pt x="237" y="26"/>
                  </a:lnTo>
                  <a:lnTo>
                    <a:pt x="238" y="26"/>
                  </a:lnTo>
                  <a:lnTo>
                    <a:pt x="241" y="27"/>
                  </a:lnTo>
                  <a:lnTo>
                    <a:pt x="242" y="28"/>
                  </a:lnTo>
                  <a:lnTo>
                    <a:pt x="243" y="28"/>
                  </a:lnTo>
                  <a:lnTo>
                    <a:pt x="244" y="29"/>
                  </a:lnTo>
                  <a:lnTo>
                    <a:pt x="244" y="29"/>
                  </a:lnTo>
                  <a:lnTo>
                    <a:pt x="247" y="32"/>
                  </a:lnTo>
                  <a:lnTo>
                    <a:pt x="248" y="33"/>
                  </a:lnTo>
                  <a:lnTo>
                    <a:pt x="248" y="33"/>
                  </a:lnTo>
                  <a:lnTo>
                    <a:pt x="249" y="34"/>
                  </a:lnTo>
                  <a:lnTo>
                    <a:pt x="250" y="35"/>
                  </a:lnTo>
                  <a:lnTo>
                    <a:pt x="251" y="35"/>
                  </a:lnTo>
                  <a:lnTo>
                    <a:pt x="252" y="36"/>
                  </a:lnTo>
                  <a:lnTo>
                    <a:pt x="254" y="36"/>
                  </a:lnTo>
                  <a:lnTo>
                    <a:pt x="254" y="36"/>
                  </a:lnTo>
                  <a:lnTo>
                    <a:pt x="257" y="37"/>
                  </a:lnTo>
                  <a:lnTo>
                    <a:pt x="258" y="37"/>
                  </a:lnTo>
                  <a:lnTo>
                    <a:pt x="261" y="38"/>
                  </a:lnTo>
                  <a:lnTo>
                    <a:pt x="262" y="38"/>
                  </a:lnTo>
                  <a:lnTo>
                    <a:pt x="262" y="39"/>
                  </a:lnTo>
                  <a:lnTo>
                    <a:pt x="263" y="39"/>
                  </a:lnTo>
                  <a:lnTo>
                    <a:pt x="263" y="39"/>
                  </a:lnTo>
                  <a:lnTo>
                    <a:pt x="263" y="40"/>
                  </a:lnTo>
                  <a:lnTo>
                    <a:pt x="264" y="40"/>
                  </a:lnTo>
                  <a:lnTo>
                    <a:pt x="264" y="41"/>
                  </a:lnTo>
                  <a:lnTo>
                    <a:pt x="264" y="41"/>
                  </a:lnTo>
                  <a:lnTo>
                    <a:pt x="264" y="43"/>
                  </a:lnTo>
                  <a:lnTo>
                    <a:pt x="265" y="45"/>
                  </a:lnTo>
                  <a:lnTo>
                    <a:pt x="265" y="45"/>
                  </a:lnTo>
                  <a:lnTo>
                    <a:pt x="265" y="46"/>
                  </a:lnTo>
                  <a:lnTo>
                    <a:pt x="266" y="46"/>
                  </a:lnTo>
                  <a:lnTo>
                    <a:pt x="266" y="47"/>
                  </a:lnTo>
                  <a:lnTo>
                    <a:pt x="267" y="47"/>
                  </a:lnTo>
                  <a:lnTo>
                    <a:pt x="268" y="47"/>
                  </a:lnTo>
                  <a:lnTo>
                    <a:pt x="268" y="47"/>
                  </a:lnTo>
                  <a:lnTo>
                    <a:pt x="270" y="48"/>
                  </a:lnTo>
                  <a:lnTo>
                    <a:pt x="271" y="48"/>
                  </a:lnTo>
                  <a:lnTo>
                    <a:pt x="273" y="48"/>
                  </a:lnTo>
                  <a:lnTo>
                    <a:pt x="274" y="49"/>
                  </a:lnTo>
                  <a:lnTo>
                    <a:pt x="275" y="50"/>
                  </a:lnTo>
                  <a:lnTo>
                    <a:pt x="277" y="50"/>
                  </a:lnTo>
                  <a:lnTo>
                    <a:pt x="278" y="51"/>
                  </a:lnTo>
                  <a:lnTo>
                    <a:pt x="280" y="52"/>
                  </a:lnTo>
                  <a:lnTo>
                    <a:pt x="281" y="53"/>
                  </a:lnTo>
                  <a:lnTo>
                    <a:pt x="282" y="53"/>
                  </a:lnTo>
                  <a:lnTo>
                    <a:pt x="283" y="54"/>
                  </a:lnTo>
                  <a:lnTo>
                    <a:pt x="284" y="54"/>
                  </a:lnTo>
                  <a:lnTo>
                    <a:pt x="286" y="55"/>
                  </a:lnTo>
                  <a:lnTo>
                    <a:pt x="286" y="55"/>
                  </a:lnTo>
                  <a:lnTo>
                    <a:pt x="288" y="56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90" y="58"/>
                  </a:lnTo>
                  <a:lnTo>
                    <a:pt x="290" y="59"/>
                  </a:lnTo>
                  <a:lnTo>
                    <a:pt x="290" y="59"/>
                  </a:lnTo>
                  <a:lnTo>
                    <a:pt x="289" y="62"/>
                  </a:lnTo>
                  <a:lnTo>
                    <a:pt x="289" y="63"/>
                  </a:lnTo>
                  <a:lnTo>
                    <a:pt x="288" y="64"/>
                  </a:lnTo>
                  <a:lnTo>
                    <a:pt x="288" y="65"/>
                  </a:lnTo>
                  <a:lnTo>
                    <a:pt x="289" y="66"/>
                  </a:lnTo>
                  <a:lnTo>
                    <a:pt x="289" y="67"/>
                  </a:lnTo>
                  <a:lnTo>
                    <a:pt x="289" y="68"/>
                  </a:lnTo>
                  <a:lnTo>
                    <a:pt x="290" y="69"/>
                  </a:lnTo>
                  <a:lnTo>
                    <a:pt x="291" y="70"/>
                  </a:lnTo>
                  <a:lnTo>
                    <a:pt x="292" y="71"/>
                  </a:lnTo>
                  <a:lnTo>
                    <a:pt x="293" y="71"/>
                  </a:lnTo>
                  <a:lnTo>
                    <a:pt x="293" y="72"/>
                  </a:lnTo>
                  <a:lnTo>
                    <a:pt x="295" y="73"/>
                  </a:lnTo>
                  <a:lnTo>
                    <a:pt x="301" y="76"/>
                  </a:lnTo>
                  <a:lnTo>
                    <a:pt x="304" y="77"/>
                  </a:lnTo>
                  <a:lnTo>
                    <a:pt x="306" y="78"/>
                  </a:lnTo>
                  <a:lnTo>
                    <a:pt x="307" y="78"/>
                  </a:lnTo>
                  <a:lnTo>
                    <a:pt x="307" y="79"/>
                  </a:lnTo>
                  <a:lnTo>
                    <a:pt x="308" y="79"/>
                  </a:lnTo>
                  <a:lnTo>
                    <a:pt x="309" y="79"/>
                  </a:lnTo>
                  <a:lnTo>
                    <a:pt x="310" y="79"/>
                  </a:lnTo>
                  <a:lnTo>
                    <a:pt x="312" y="79"/>
                  </a:lnTo>
                  <a:lnTo>
                    <a:pt x="313" y="79"/>
                  </a:lnTo>
                  <a:lnTo>
                    <a:pt x="314" y="79"/>
                  </a:lnTo>
                  <a:lnTo>
                    <a:pt x="315" y="79"/>
                  </a:lnTo>
                  <a:lnTo>
                    <a:pt x="316" y="78"/>
                  </a:lnTo>
                  <a:lnTo>
                    <a:pt x="316" y="78"/>
                  </a:lnTo>
                  <a:lnTo>
                    <a:pt x="317" y="78"/>
                  </a:lnTo>
                  <a:lnTo>
                    <a:pt x="317" y="77"/>
                  </a:lnTo>
                  <a:lnTo>
                    <a:pt x="318" y="77"/>
                  </a:lnTo>
                  <a:lnTo>
                    <a:pt x="319" y="74"/>
                  </a:lnTo>
                  <a:lnTo>
                    <a:pt x="321" y="72"/>
                  </a:lnTo>
                  <a:lnTo>
                    <a:pt x="322" y="71"/>
                  </a:lnTo>
                  <a:lnTo>
                    <a:pt x="322" y="71"/>
                  </a:lnTo>
                  <a:lnTo>
                    <a:pt x="322" y="70"/>
                  </a:lnTo>
                  <a:lnTo>
                    <a:pt x="323" y="67"/>
                  </a:lnTo>
                  <a:lnTo>
                    <a:pt x="324" y="65"/>
                  </a:lnTo>
                  <a:lnTo>
                    <a:pt x="325" y="63"/>
                  </a:lnTo>
                  <a:lnTo>
                    <a:pt x="326" y="62"/>
                  </a:lnTo>
                  <a:lnTo>
                    <a:pt x="327" y="61"/>
                  </a:lnTo>
                  <a:lnTo>
                    <a:pt x="328" y="60"/>
                  </a:lnTo>
                  <a:lnTo>
                    <a:pt x="329" y="59"/>
                  </a:lnTo>
                  <a:lnTo>
                    <a:pt x="330" y="58"/>
                  </a:lnTo>
                  <a:lnTo>
                    <a:pt x="331" y="58"/>
                  </a:lnTo>
                  <a:lnTo>
                    <a:pt x="331" y="58"/>
                  </a:lnTo>
                  <a:lnTo>
                    <a:pt x="332" y="58"/>
                  </a:lnTo>
                  <a:lnTo>
                    <a:pt x="332" y="58"/>
                  </a:lnTo>
                  <a:lnTo>
                    <a:pt x="333" y="58"/>
                  </a:lnTo>
                  <a:lnTo>
                    <a:pt x="333" y="59"/>
                  </a:lnTo>
                  <a:lnTo>
                    <a:pt x="334" y="60"/>
                  </a:lnTo>
                  <a:lnTo>
                    <a:pt x="335" y="61"/>
                  </a:lnTo>
                  <a:lnTo>
                    <a:pt x="336" y="62"/>
                  </a:lnTo>
                  <a:lnTo>
                    <a:pt x="337" y="63"/>
                  </a:lnTo>
                  <a:lnTo>
                    <a:pt x="337" y="63"/>
                  </a:lnTo>
                  <a:lnTo>
                    <a:pt x="338" y="64"/>
                  </a:lnTo>
                  <a:lnTo>
                    <a:pt x="339" y="64"/>
                  </a:lnTo>
                  <a:lnTo>
                    <a:pt x="340" y="65"/>
                  </a:lnTo>
                  <a:lnTo>
                    <a:pt x="341" y="65"/>
                  </a:lnTo>
                  <a:lnTo>
                    <a:pt x="342" y="66"/>
                  </a:lnTo>
                  <a:lnTo>
                    <a:pt x="343" y="66"/>
                  </a:lnTo>
                  <a:lnTo>
                    <a:pt x="345" y="67"/>
                  </a:lnTo>
                  <a:lnTo>
                    <a:pt x="348" y="67"/>
                  </a:lnTo>
                  <a:lnTo>
                    <a:pt x="350" y="67"/>
                  </a:lnTo>
                  <a:lnTo>
                    <a:pt x="351" y="68"/>
                  </a:lnTo>
                  <a:lnTo>
                    <a:pt x="352" y="68"/>
                  </a:lnTo>
                  <a:lnTo>
                    <a:pt x="352" y="69"/>
                  </a:lnTo>
                  <a:lnTo>
                    <a:pt x="353" y="69"/>
                  </a:lnTo>
                  <a:lnTo>
                    <a:pt x="354" y="70"/>
                  </a:lnTo>
                  <a:lnTo>
                    <a:pt x="355" y="70"/>
                  </a:lnTo>
                  <a:lnTo>
                    <a:pt x="356" y="72"/>
                  </a:lnTo>
                  <a:lnTo>
                    <a:pt x="357" y="73"/>
                  </a:lnTo>
                  <a:lnTo>
                    <a:pt x="359" y="75"/>
                  </a:lnTo>
                  <a:lnTo>
                    <a:pt x="361" y="77"/>
                  </a:lnTo>
                  <a:lnTo>
                    <a:pt x="362" y="77"/>
                  </a:lnTo>
                  <a:lnTo>
                    <a:pt x="362" y="78"/>
                  </a:lnTo>
                  <a:lnTo>
                    <a:pt x="363" y="78"/>
                  </a:lnTo>
                  <a:lnTo>
                    <a:pt x="363" y="78"/>
                  </a:lnTo>
                  <a:lnTo>
                    <a:pt x="364" y="78"/>
                  </a:lnTo>
                  <a:lnTo>
                    <a:pt x="364" y="79"/>
                  </a:lnTo>
                  <a:lnTo>
                    <a:pt x="365" y="79"/>
                  </a:lnTo>
                  <a:lnTo>
                    <a:pt x="367" y="79"/>
                  </a:lnTo>
                  <a:lnTo>
                    <a:pt x="371" y="79"/>
                  </a:lnTo>
                  <a:lnTo>
                    <a:pt x="372" y="79"/>
                  </a:lnTo>
                  <a:lnTo>
                    <a:pt x="373" y="79"/>
                  </a:lnTo>
                  <a:lnTo>
                    <a:pt x="374" y="80"/>
                  </a:lnTo>
                  <a:lnTo>
                    <a:pt x="375" y="80"/>
                  </a:lnTo>
                  <a:lnTo>
                    <a:pt x="377" y="81"/>
                  </a:lnTo>
                  <a:lnTo>
                    <a:pt x="378" y="81"/>
                  </a:lnTo>
                  <a:lnTo>
                    <a:pt x="382" y="82"/>
                  </a:lnTo>
                  <a:lnTo>
                    <a:pt x="386" y="83"/>
                  </a:lnTo>
                  <a:lnTo>
                    <a:pt x="389" y="84"/>
                  </a:lnTo>
                  <a:lnTo>
                    <a:pt x="390" y="85"/>
                  </a:lnTo>
                  <a:lnTo>
                    <a:pt x="390" y="85"/>
                  </a:lnTo>
                  <a:lnTo>
                    <a:pt x="395" y="87"/>
                  </a:lnTo>
                  <a:lnTo>
                    <a:pt x="399" y="89"/>
                  </a:lnTo>
                  <a:lnTo>
                    <a:pt x="400" y="90"/>
                  </a:lnTo>
                  <a:lnTo>
                    <a:pt x="401" y="91"/>
                  </a:lnTo>
                  <a:lnTo>
                    <a:pt x="403" y="91"/>
                  </a:lnTo>
                  <a:lnTo>
                    <a:pt x="404" y="92"/>
                  </a:lnTo>
                  <a:lnTo>
                    <a:pt x="405" y="93"/>
                  </a:lnTo>
                  <a:lnTo>
                    <a:pt x="407" y="95"/>
                  </a:lnTo>
                  <a:lnTo>
                    <a:pt x="410" y="99"/>
                  </a:lnTo>
                  <a:lnTo>
                    <a:pt x="412" y="100"/>
                  </a:lnTo>
                  <a:lnTo>
                    <a:pt x="413" y="101"/>
                  </a:lnTo>
                  <a:lnTo>
                    <a:pt x="414" y="103"/>
                  </a:lnTo>
                  <a:lnTo>
                    <a:pt x="415" y="104"/>
                  </a:lnTo>
                  <a:lnTo>
                    <a:pt x="416" y="106"/>
                  </a:lnTo>
                  <a:lnTo>
                    <a:pt x="418" y="107"/>
                  </a:lnTo>
                  <a:lnTo>
                    <a:pt x="419" y="108"/>
                  </a:lnTo>
                  <a:lnTo>
                    <a:pt x="419" y="108"/>
                  </a:lnTo>
                  <a:lnTo>
                    <a:pt x="420" y="108"/>
                  </a:lnTo>
                  <a:lnTo>
                    <a:pt x="421" y="109"/>
                  </a:lnTo>
                  <a:lnTo>
                    <a:pt x="423" y="109"/>
                  </a:lnTo>
                  <a:lnTo>
                    <a:pt x="424" y="109"/>
                  </a:lnTo>
                  <a:lnTo>
                    <a:pt x="428" y="111"/>
                  </a:lnTo>
                  <a:lnTo>
                    <a:pt x="432" y="112"/>
                  </a:lnTo>
                  <a:lnTo>
                    <a:pt x="433" y="112"/>
                  </a:lnTo>
                  <a:lnTo>
                    <a:pt x="435" y="113"/>
                  </a:lnTo>
                  <a:lnTo>
                    <a:pt x="436" y="114"/>
                  </a:lnTo>
                  <a:lnTo>
                    <a:pt x="439" y="116"/>
                  </a:lnTo>
                  <a:lnTo>
                    <a:pt x="442" y="118"/>
                  </a:lnTo>
                  <a:lnTo>
                    <a:pt x="443" y="118"/>
                  </a:lnTo>
                  <a:lnTo>
                    <a:pt x="444" y="119"/>
                  </a:lnTo>
                  <a:lnTo>
                    <a:pt x="445" y="120"/>
                  </a:lnTo>
                  <a:lnTo>
                    <a:pt x="446" y="121"/>
                  </a:lnTo>
                  <a:lnTo>
                    <a:pt x="450" y="127"/>
                  </a:lnTo>
                  <a:lnTo>
                    <a:pt x="450" y="127"/>
                  </a:lnTo>
                  <a:lnTo>
                    <a:pt x="450" y="128"/>
                  </a:lnTo>
                  <a:lnTo>
                    <a:pt x="450" y="129"/>
                  </a:lnTo>
                  <a:lnTo>
                    <a:pt x="450" y="131"/>
                  </a:lnTo>
                  <a:lnTo>
                    <a:pt x="449" y="132"/>
                  </a:lnTo>
                  <a:lnTo>
                    <a:pt x="449" y="134"/>
                  </a:lnTo>
                  <a:lnTo>
                    <a:pt x="447" y="138"/>
                  </a:lnTo>
                  <a:lnTo>
                    <a:pt x="447" y="139"/>
                  </a:lnTo>
                  <a:lnTo>
                    <a:pt x="447" y="140"/>
                  </a:lnTo>
                  <a:lnTo>
                    <a:pt x="447" y="140"/>
                  </a:lnTo>
                  <a:lnTo>
                    <a:pt x="447" y="141"/>
                  </a:lnTo>
                  <a:lnTo>
                    <a:pt x="447" y="141"/>
                  </a:lnTo>
                  <a:lnTo>
                    <a:pt x="447" y="142"/>
                  </a:lnTo>
                  <a:lnTo>
                    <a:pt x="448" y="143"/>
                  </a:lnTo>
                  <a:lnTo>
                    <a:pt x="448" y="144"/>
                  </a:lnTo>
                  <a:lnTo>
                    <a:pt x="449" y="144"/>
                  </a:lnTo>
                  <a:lnTo>
                    <a:pt x="450" y="145"/>
                  </a:lnTo>
                  <a:lnTo>
                    <a:pt x="450" y="145"/>
                  </a:lnTo>
                  <a:lnTo>
                    <a:pt x="453" y="147"/>
                  </a:lnTo>
                  <a:lnTo>
                    <a:pt x="454" y="147"/>
                  </a:lnTo>
                  <a:lnTo>
                    <a:pt x="454" y="148"/>
                  </a:lnTo>
                  <a:lnTo>
                    <a:pt x="455" y="149"/>
                  </a:lnTo>
                  <a:lnTo>
                    <a:pt x="455" y="149"/>
                  </a:lnTo>
                  <a:lnTo>
                    <a:pt x="456" y="150"/>
                  </a:lnTo>
                  <a:lnTo>
                    <a:pt x="456" y="150"/>
                  </a:lnTo>
                  <a:lnTo>
                    <a:pt x="456" y="151"/>
                  </a:lnTo>
                  <a:lnTo>
                    <a:pt x="456" y="151"/>
                  </a:lnTo>
                  <a:lnTo>
                    <a:pt x="457" y="152"/>
                  </a:lnTo>
                  <a:lnTo>
                    <a:pt x="457" y="153"/>
                  </a:lnTo>
                  <a:lnTo>
                    <a:pt x="457" y="154"/>
                  </a:lnTo>
                  <a:lnTo>
                    <a:pt x="456" y="154"/>
                  </a:lnTo>
                  <a:lnTo>
                    <a:pt x="456" y="155"/>
                  </a:lnTo>
                  <a:lnTo>
                    <a:pt x="456" y="156"/>
                  </a:lnTo>
                  <a:lnTo>
                    <a:pt x="455" y="157"/>
                  </a:lnTo>
                  <a:lnTo>
                    <a:pt x="455" y="158"/>
                  </a:lnTo>
                  <a:lnTo>
                    <a:pt x="454" y="160"/>
                  </a:lnTo>
                  <a:lnTo>
                    <a:pt x="453" y="161"/>
                  </a:lnTo>
                  <a:lnTo>
                    <a:pt x="452" y="162"/>
                  </a:lnTo>
                  <a:lnTo>
                    <a:pt x="451" y="164"/>
                  </a:lnTo>
                  <a:lnTo>
                    <a:pt x="450" y="164"/>
                  </a:lnTo>
                  <a:lnTo>
                    <a:pt x="449" y="165"/>
                  </a:lnTo>
                  <a:lnTo>
                    <a:pt x="448" y="165"/>
                  </a:lnTo>
                  <a:lnTo>
                    <a:pt x="447" y="166"/>
                  </a:lnTo>
                  <a:lnTo>
                    <a:pt x="446" y="166"/>
                  </a:lnTo>
                  <a:lnTo>
                    <a:pt x="446" y="166"/>
                  </a:lnTo>
                  <a:lnTo>
                    <a:pt x="445" y="166"/>
                  </a:lnTo>
                  <a:lnTo>
                    <a:pt x="443" y="166"/>
                  </a:lnTo>
                  <a:lnTo>
                    <a:pt x="443" y="166"/>
                  </a:lnTo>
                  <a:lnTo>
                    <a:pt x="443" y="166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2" y="167"/>
                  </a:lnTo>
                  <a:lnTo>
                    <a:pt x="442" y="167"/>
                  </a:lnTo>
                  <a:lnTo>
                    <a:pt x="443" y="168"/>
                  </a:lnTo>
                  <a:lnTo>
                    <a:pt x="443" y="169"/>
                  </a:lnTo>
                  <a:lnTo>
                    <a:pt x="443" y="169"/>
                  </a:lnTo>
                  <a:lnTo>
                    <a:pt x="444" y="170"/>
                  </a:lnTo>
                  <a:lnTo>
                    <a:pt x="444" y="171"/>
                  </a:lnTo>
                  <a:lnTo>
                    <a:pt x="446" y="172"/>
                  </a:lnTo>
                  <a:lnTo>
                    <a:pt x="446" y="173"/>
                  </a:lnTo>
                  <a:lnTo>
                    <a:pt x="447" y="174"/>
                  </a:lnTo>
                  <a:lnTo>
                    <a:pt x="448" y="175"/>
                  </a:lnTo>
                  <a:lnTo>
                    <a:pt x="448" y="176"/>
                  </a:lnTo>
                  <a:lnTo>
                    <a:pt x="448" y="177"/>
                  </a:lnTo>
                  <a:lnTo>
                    <a:pt x="448" y="177"/>
                  </a:lnTo>
                  <a:lnTo>
                    <a:pt x="448" y="178"/>
                  </a:lnTo>
                  <a:lnTo>
                    <a:pt x="448" y="178"/>
                  </a:lnTo>
                  <a:lnTo>
                    <a:pt x="448" y="179"/>
                  </a:lnTo>
                  <a:lnTo>
                    <a:pt x="448" y="180"/>
                  </a:lnTo>
                  <a:lnTo>
                    <a:pt x="447" y="181"/>
                  </a:lnTo>
                  <a:lnTo>
                    <a:pt x="447" y="183"/>
                  </a:lnTo>
                  <a:lnTo>
                    <a:pt x="446" y="184"/>
                  </a:lnTo>
                  <a:lnTo>
                    <a:pt x="446" y="185"/>
                  </a:lnTo>
                  <a:lnTo>
                    <a:pt x="446" y="185"/>
                  </a:lnTo>
                  <a:lnTo>
                    <a:pt x="445" y="185"/>
                  </a:lnTo>
                  <a:lnTo>
                    <a:pt x="444" y="186"/>
                  </a:lnTo>
                  <a:lnTo>
                    <a:pt x="444" y="186"/>
                  </a:lnTo>
                  <a:lnTo>
                    <a:pt x="443" y="186"/>
                  </a:lnTo>
                  <a:lnTo>
                    <a:pt x="443" y="186"/>
                  </a:lnTo>
                  <a:lnTo>
                    <a:pt x="442" y="186"/>
                  </a:lnTo>
                  <a:lnTo>
                    <a:pt x="441" y="186"/>
                  </a:lnTo>
                  <a:lnTo>
                    <a:pt x="441" y="186"/>
                  </a:lnTo>
                  <a:lnTo>
                    <a:pt x="440" y="185"/>
                  </a:lnTo>
                  <a:lnTo>
                    <a:pt x="440" y="185"/>
                  </a:lnTo>
                  <a:lnTo>
                    <a:pt x="439" y="184"/>
                  </a:lnTo>
                  <a:lnTo>
                    <a:pt x="439" y="184"/>
                  </a:lnTo>
                  <a:lnTo>
                    <a:pt x="439" y="183"/>
                  </a:lnTo>
                  <a:lnTo>
                    <a:pt x="438" y="182"/>
                  </a:lnTo>
                  <a:lnTo>
                    <a:pt x="438" y="181"/>
                  </a:lnTo>
                  <a:lnTo>
                    <a:pt x="437" y="181"/>
                  </a:lnTo>
                  <a:lnTo>
                    <a:pt x="437" y="180"/>
                  </a:lnTo>
                  <a:lnTo>
                    <a:pt x="436" y="180"/>
                  </a:lnTo>
                  <a:lnTo>
                    <a:pt x="436" y="180"/>
                  </a:lnTo>
                  <a:lnTo>
                    <a:pt x="435" y="180"/>
                  </a:lnTo>
                  <a:lnTo>
                    <a:pt x="434" y="180"/>
                  </a:lnTo>
                  <a:lnTo>
                    <a:pt x="433" y="180"/>
                  </a:lnTo>
                  <a:lnTo>
                    <a:pt x="433" y="180"/>
                  </a:lnTo>
                  <a:lnTo>
                    <a:pt x="432" y="180"/>
                  </a:lnTo>
                  <a:lnTo>
                    <a:pt x="431" y="180"/>
                  </a:lnTo>
                  <a:lnTo>
                    <a:pt x="430" y="181"/>
                  </a:lnTo>
                  <a:lnTo>
                    <a:pt x="429" y="182"/>
                  </a:lnTo>
                  <a:lnTo>
                    <a:pt x="428" y="182"/>
                  </a:lnTo>
                  <a:lnTo>
                    <a:pt x="428" y="183"/>
                  </a:lnTo>
                  <a:lnTo>
                    <a:pt x="426" y="184"/>
                  </a:lnTo>
                  <a:lnTo>
                    <a:pt x="425" y="185"/>
                  </a:lnTo>
                  <a:lnTo>
                    <a:pt x="425" y="186"/>
                  </a:lnTo>
                  <a:lnTo>
                    <a:pt x="424" y="186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25" y="188"/>
                  </a:lnTo>
                  <a:lnTo>
                    <a:pt x="425" y="188"/>
                  </a:lnTo>
                  <a:lnTo>
                    <a:pt x="426" y="188"/>
                  </a:lnTo>
                  <a:lnTo>
                    <a:pt x="428" y="189"/>
                  </a:lnTo>
                  <a:lnTo>
                    <a:pt x="429" y="189"/>
                  </a:lnTo>
                  <a:lnTo>
                    <a:pt x="430" y="189"/>
                  </a:lnTo>
                  <a:lnTo>
                    <a:pt x="430" y="190"/>
                  </a:lnTo>
                  <a:lnTo>
                    <a:pt x="431" y="190"/>
                  </a:lnTo>
                  <a:lnTo>
                    <a:pt x="431" y="190"/>
                  </a:lnTo>
                  <a:lnTo>
                    <a:pt x="432" y="191"/>
                  </a:lnTo>
                  <a:lnTo>
                    <a:pt x="432" y="191"/>
                  </a:lnTo>
                  <a:lnTo>
                    <a:pt x="432" y="192"/>
                  </a:lnTo>
                  <a:lnTo>
                    <a:pt x="432" y="192"/>
                  </a:lnTo>
                  <a:lnTo>
                    <a:pt x="432" y="193"/>
                  </a:lnTo>
                  <a:lnTo>
                    <a:pt x="432" y="193"/>
                  </a:lnTo>
                  <a:lnTo>
                    <a:pt x="432" y="194"/>
                  </a:lnTo>
                  <a:lnTo>
                    <a:pt x="431" y="194"/>
                  </a:lnTo>
                  <a:lnTo>
                    <a:pt x="431" y="195"/>
                  </a:lnTo>
                  <a:lnTo>
                    <a:pt x="430" y="195"/>
                  </a:lnTo>
                  <a:lnTo>
                    <a:pt x="429" y="196"/>
                  </a:lnTo>
                  <a:lnTo>
                    <a:pt x="428" y="196"/>
                  </a:lnTo>
                  <a:lnTo>
                    <a:pt x="427" y="196"/>
                  </a:lnTo>
                  <a:lnTo>
                    <a:pt x="425" y="197"/>
                  </a:lnTo>
                  <a:lnTo>
                    <a:pt x="423" y="197"/>
                  </a:lnTo>
                  <a:lnTo>
                    <a:pt x="420" y="197"/>
                  </a:lnTo>
                  <a:lnTo>
                    <a:pt x="419" y="198"/>
                  </a:lnTo>
                  <a:lnTo>
                    <a:pt x="418" y="198"/>
                  </a:lnTo>
                  <a:lnTo>
                    <a:pt x="417" y="198"/>
                  </a:lnTo>
                  <a:lnTo>
                    <a:pt x="415" y="199"/>
                  </a:lnTo>
                  <a:lnTo>
                    <a:pt x="415" y="199"/>
                  </a:lnTo>
                  <a:lnTo>
                    <a:pt x="414" y="200"/>
                  </a:lnTo>
                  <a:lnTo>
                    <a:pt x="414" y="200"/>
                  </a:lnTo>
                  <a:lnTo>
                    <a:pt x="413" y="201"/>
                  </a:lnTo>
                  <a:lnTo>
                    <a:pt x="413" y="202"/>
                  </a:lnTo>
                  <a:lnTo>
                    <a:pt x="412" y="203"/>
                  </a:lnTo>
                  <a:lnTo>
                    <a:pt x="411" y="204"/>
                  </a:lnTo>
                  <a:lnTo>
                    <a:pt x="410" y="207"/>
                  </a:lnTo>
                  <a:lnTo>
                    <a:pt x="409" y="208"/>
                  </a:lnTo>
                  <a:lnTo>
                    <a:pt x="409" y="208"/>
                  </a:lnTo>
                  <a:lnTo>
                    <a:pt x="407" y="211"/>
                  </a:lnTo>
                  <a:lnTo>
                    <a:pt x="406" y="212"/>
                  </a:lnTo>
                  <a:lnTo>
                    <a:pt x="405" y="213"/>
                  </a:lnTo>
                  <a:lnTo>
                    <a:pt x="404" y="214"/>
                  </a:lnTo>
                  <a:lnTo>
                    <a:pt x="404" y="215"/>
                  </a:lnTo>
                  <a:lnTo>
                    <a:pt x="404" y="216"/>
                  </a:lnTo>
                  <a:lnTo>
                    <a:pt x="404" y="217"/>
                  </a:lnTo>
                  <a:lnTo>
                    <a:pt x="404" y="220"/>
                  </a:lnTo>
                  <a:lnTo>
                    <a:pt x="403" y="222"/>
                  </a:lnTo>
                  <a:lnTo>
                    <a:pt x="403" y="224"/>
                  </a:lnTo>
                  <a:lnTo>
                    <a:pt x="403" y="226"/>
                  </a:lnTo>
                  <a:lnTo>
                    <a:pt x="402" y="229"/>
                  </a:lnTo>
                  <a:lnTo>
                    <a:pt x="402" y="230"/>
                  </a:lnTo>
                  <a:lnTo>
                    <a:pt x="402" y="231"/>
                  </a:lnTo>
                  <a:lnTo>
                    <a:pt x="402" y="232"/>
                  </a:lnTo>
                  <a:lnTo>
                    <a:pt x="402" y="232"/>
                  </a:lnTo>
                  <a:lnTo>
                    <a:pt x="402" y="233"/>
                  </a:lnTo>
                  <a:lnTo>
                    <a:pt x="402" y="233"/>
                  </a:lnTo>
                  <a:lnTo>
                    <a:pt x="403" y="234"/>
                  </a:lnTo>
                  <a:lnTo>
                    <a:pt x="403" y="234"/>
                  </a:lnTo>
                  <a:lnTo>
                    <a:pt x="404" y="235"/>
                  </a:lnTo>
                  <a:lnTo>
                    <a:pt x="407" y="237"/>
                  </a:lnTo>
                  <a:lnTo>
                    <a:pt x="412" y="241"/>
                  </a:lnTo>
                  <a:lnTo>
                    <a:pt x="412" y="241"/>
                  </a:lnTo>
                  <a:lnTo>
                    <a:pt x="413" y="241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2" y="243"/>
                  </a:lnTo>
                  <a:lnTo>
                    <a:pt x="411" y="243"/>
                  </a:lnTo>
                  <a:lnTo>
                    <a:pt x="411" y="244"/>
                  </a:lnTo>
                  <a:lnTo>
                    <a:pt x="411" y="244"/>
                  </a:lnTo>
                  <a:lnTo>
                    <a:pt x="410" y="244"/>
                  </a:lnTo>
                  <a:lnTo>
                    <a:pt x="410" y="245"/>
                  </a:lnTo>
                  <a:lnTo>
                    <a:pt x="410" y="245"/>
                  </a:lnTo>
                  <a:lnTo>
                    <a:pt x="410" y="245"/>
                  </a:lnTo>
                  <a:lnTo>
                    <a:pt x="411" y="246"/>
                  </a:lnTo>
                  <a:lnTo>
                    <a:pt x="411" y="246"/>
                  </a:lnTo>
                  <a:lnTo>
                    <a:pt x="412" y="247"/>
                  </a:lnTo>
                  <a:lnTo>
                    <a:pt x="413" y="247"/>
                  </a:lnTo>
                  <a:lnTo>
                    <a:pt x="413" y="247"/>
                  </a:lnTo>
                  <a:lnTo>
                    <a:pt x="414" y="248"/>
                  </a:lnTo>
                  <a:lnTo>
                    <a:pt x="415" y="248"/>
                  </a:lnTo>
                  <a:lnTo>
                    <a:pt x="418" y="249"/>
                  </a:lnTo>
                  <a:lnTo>
                    <a:pt x="419" y="249"/>
                  </a:lnTo>
                  <a:lnTo>
                    <a:pt x="419" y="249"/>
                  </a:lnTo>
                  <a:lnTo>
                    <a:pt x="419" y="250"/>
                  </a:lnTo>
                  <a:lnTo>
                    <a:pt x="420" y="250"/>
                  </a:lnTo>
                  <a:lnTo>
                    <a:pt x="420" y="250"/>
                  </a:lnTo>
                  <a:lnTo>
                    <a:pt x="420" y="251"/>
                  </a:lnTo>
                  <a:lnTo>
                    <a:pt x="420" y="252"/>
                  </a:lnTo>
                  <a:lnTo>
                    <a:pt x="420" y="252"/>
                  </a:lnTo>
                  <a:lnTo>
                    <a:pt x="420" y="253"/>
                  </a:lnTo>
                  <a:lnTo>
                    <a:pt x="420" y="253"/>
                  </a:lnTo>
                  <a:lnTo>
                    <a:pt x="420" y="254"/>
                  </a:lnTo>
                  <a:lnTo>
                    <a:pt x="419" y="255"/>
                  </a:lnTo>
                  <a:lnTo>
                    <a:pt x="419" y="256"/>
                  </a:lnTo>
                  <a:lnTo>
                    <a:pt x="418" y="258"/>
                  </a:lnTo>
                  <a:lnTo>
                    <a:pt x="415" y="261"/>
                  </a:lnTo>
                  <a:lnTo>
                    <a:pt x="415" y="262"/>
                  </a:lnTo>
                  <a:lnTo>
                    <a:pt x="414" y="262"/>
                  </a:lnTo>
                  <a:lnTo>
                    <a:pt x="414" y="263"/>
                  </a:lnTo>
                  <a:lnTo>
                    <a:pt x="414" y="264"/>
                  </a:lnTo>
                  <a:lnTo>
                    <a:pt x="414" y="265"/>
                  </a:lnTo>
                  <a:lnTo>
                    <a:pt x="414" y="266"/>
                  </a:lnTo>
                  <a:lnTo>
                    <a:pt x="414" y="266"/>
                  </a:lnTo>
                  <a:lnTo>
                    <a:pt x="414" y="267"/>
                  </a:lnTo>
                  <a:lnTo>
                    <a:pt x="414" y="268"/>
                  </a:lnTo>
                  <a:lnTo>
                    <a:pt x="415" y="269"/>
                  </a:lnTo>
                  <a:lnTo>
                    <a:pt x="415" y="269"/>
                  </a:lnTo>
                  <a:lnTo>
                    <a:pt x="417" y="271"/>
                  </a:lnTo>
                  <a:lnTo>
                    <a:pt x="418" y="272"/>
                  </a:lnTo>
                  <a:lnTo>
                    <a:pt x="418" y="273"/>
                  </a:lnTo>
                  <a:lnTo>
                    <a:pt x="418" y="274"/>
                  </a:lnTo>
                  <a:lnTo>
                    <a:pt x="419" y="274"/>
                  </a:lnTo>
                  <a:lnTo>
                    <a:pt x="419" y="275"/>
                  </a:lnTo>
                  <a:lnTo>
                    <a:pt x="419" y="275"/>
                  </a:lnTo>
                  <a:lnTo>
                    <a:pt x="419" y="276"/>
                  </a:lnTo>
                  <a:lnTo>
                    <a:pt x="418" y="276"/>
                  </a:lnTo>
                  <a:lnTo>
                    <a:pt x="418" y="277"/>
                  </a:lnTo>
                  <a:lnTo>
                    <a:pt x="418" y="277"/>
                  </a:lnTo>
                  <a:lnTo>
                    <a:pt x="417" y="278"/>
                  </a:lnTo>
                  <a:lnTo>
                    <a:pt x="416" y="278"/>
                  </a:lnTo>
                  <a:lnTo>
                    <a:pt x="414" y="280"/>
                  </a:lnTo>
                  <a:lnTo>
                    <a:pt x="413" y="281"/>
                  </a:lnTo>
                  <a:lnTo>
                    <a:pt x="412" y="281"/>
                  </a:lnTo>
                  <a:lnTo>
                    <a:pt x="411" y="283"/>
                  </a:lnTo>
                  <a:lnTo>
                    <a:pt x="410" y="284"/>
                  </a:lnTo>
                  <a:lnTo>
                    <a:pt x="409" y="285"/>
                  </a:lnTo>
                  <a:lnTo>
                    <a:pt x="409" y="286"/>
                  </a:lnTo>
                  <a:lnTo>
                    <a:pt x="409" y="287"/>
                  </a:lnTo>
                  <a:lnTo>
                    <a:pt x="408" y="288"/>
                  </a:lnTo>
                  <a:lnTo>
                    <a:pt x="408" y="289"/>
                  </a:lnTo>
                  <a:lnTo>
                    <a:pt x="407" y="290"/>
                  </a:lnTo>
                  <a:lnTo>
                    <a:pt x="407" y="291"/>
                  </a:lnTo>
                  <a:lnTo>
                    <a:pt x="407" y="292"/>
                  </a:lnTo>
                  <a:lnTo>
                    <a:pt x="407" y="293"/>
                  </a:lnTo>
                  <a:lnTo>
                    <a:pt x="407" y="294"/>
                  </a:lnTo>
                  <a:lnTo>
                    <a:pt x="407" y="295"/>
                  </a:lnTo>
                  <a:lnTo>
                    <a:pt x="407" y="295"/>
                  </a:lnTo>
                  <a:lnTo>
                    <a:pt x="407" y="296"/>
                  </a:lnTo>
                  <a:lnTo>
                    <a:pt x="407" y="296"/>
                  </a:lnTo>
                  <a:lnTo>
                    <a:pt x="408" y="297"/>
                  </a:lnTo>
                  <a:lnTo>
                    <a:pt x="408" y="297"/>
                  </a:lnTo>
                  <a:lnTo>
                    <a:pt x="409" y="298"/>
                  </a:lnTo>
                  <a:lnTo>
                    <a:pt x="410" y="299"/>
                  </a:lnTo>
                  <a:lnTo>
                    <a:pt x="412" y="301"/>
                  </a:lnTo>
                  <a:lnTo>
                    <a:pt x="414" y="301"/>
                  </a:lnTo>
                  <a:lnTo>
                    <a:pt x="414" y="302"/>
                  </a:lnTo>
                  <a:lnTo>
                    <a:pt x="414" y="303"/>
                  </a:lnTo>
                  <a:lnTo>
                    <a:pt x="415" y="303"/>
                  </a:lnTo>
                  <a:lnTo>
                    <a:pt x="415" y="304"/>
                  </a:lnTo>
                  <a:lnTo>
                    <a:pt x="415" y="304"/>
                  </a:lnTo>
                  <a:lnTo>
                    <a:pt x="416" y="305"/>
                  </a:lnTo>
                  <a:lnTo>
                    <a:pt x="416" y="305"/>
                  </a:lnTo>
                  <a:lnTo>
                    <a:pt x="416" y="306"/>
                  </a:lnTo>
                  <a:lnTo>
                    <a:pt x="416" y="308"/>
                  </a:lnTo>
                  <a:lnTo>
                    <a:pt x="416" y="309"/>
                  </a:lnTo>
                  <a:lnTo>
                    <a:pt x="416" y="310"/>
                  </a:lnTo>
                  <a:lnTo>
                    <a:pt x="416" y="311"/>
                  </a:lnTo>
                  <a:lnTo>
                    <a:pt x="416" y="311"/>
                  </a:lnTo>
                  <a:lnTo>
                    <a:pt x="415" y="312"/>
                  </a:lnTo>
                  <a:lnTo>
                    <a:pt x="414" y="313"/>
                  </a:lnTo>
                  <a:lnTo>
                    <a:pt x="413" y="314"/>
                  </a:lnTo>
                  <a:lnTo>
                    <a:pt x="412" y="314"/>
                  </a:lnTo>
                  <a:lnTo>
                    <a:pt x="411" y="315"/>
                  </a:lnTo>
                  <a:lnTo>
                    <a:pt x="409" y="316"/>
                  </a:lnTo>
                  <a:lnTo>
                    <a:pt x="408" y="316"/>
                  </a:lnTo>
                  <a:lnTo>
                    <a:pt x="408" y="317"/>
                  </a:lnTo>
                  <a:lnTo>
                    <a:pt x="407" y="317"/>
                  </a:lnTo>
                  <a:lnTo>
                    <a:pt x="407" y="318"/>
                  </a:lnTo>
                  <a:lnTo>
                    <a:pt x="406" y="318"/>
                  </a:lnTo>
                  <a:lnTo>
                    <a:pt x="406" y="319"/>
                  </a:lnTo>
                  <a:lnTo>
                    <a:pt x="406" y="320"/>
                  </a:lnTo>
                  <a:lnTo>
                    <a:pt x="405" y="320"/>
                  </a:lnTo>
                  <a:lnTo>
                    <a:pt x="405" y="321"/>
                  </a:lnTo>
                  <a:lnTo>
                    <a:pt x="405" y="322"/>
                  </a:lnTo>
                  <a:lnTo>
                    <a:pt x="405" y="322"/>
                  </a:lnTo>
                  <a:lnTo>
                    <a:pt x="406" y="325"/>
                  </a:lnTo>
                  <a:lnTo>
                    <a:pt x="406" y="326"/>
                  </a:lnTo>
                  <a:lnTo>
                    <a:pt x="407" y="327"/>
                  </a:lnTo>
                  <a:lnTo>
                    <a:pt x="407" y="327"/>
                  </a:lnTo>
                  <a:lnTo>
                    <a:pt x="407" y="328"/>
                  </a:lnTo>
                  <a:lnTo>
                    <a:pt x="406" y="329"/>
                  </a:lnTo>
                  <a:lnTo>
                    <a:pt x="406" y="329"/>
                  </a:lnTo>
                  <a:lnTo>
                    <a:pt x="406" y="330"/>
                  </a:lnTo>
                  <a:lnTo>
                    <a:pt x="405" y="330"/>
                  </a:lnTo>
                  <a:lnTo>
                    <a:pt x="405" y="331"/>
                  </a:lnTo>
                  <a:lnTo>
                    <a:pt x="404" y="331"/>
                  </a:lnTo>
                  <a:lnTo>
                    <a:pt x="404" y="332"/>
                  </a:lnTo>
                  <a:lnTo>
                    <a:pt x="403" y="332"/>
                  </a:lnTo>
                  <a:lnTo>
                    <a:pt x="402" y="333"/>
                  </a:lnTo>
                  <a:lnTo>
                    <a:pt x="401" y="333"/>
                  </a:lnTo>
                  <a:lnTo>
                    <a:pt x="400" y="333"/>
                  </a:lnTo>
                  <a:lnTo>
                    <a:pt x="400" y="333"/>
                  </a:lnTo>
                  <a:lnTo>
                    <a:pt x="400" y="334"/>
                  </a:lnTo>
                  <a:lnTo>
                    <a:pt x="400" y="334"/>
                  </a:lnTo>
                  <a:lnTo>
                    <a:pt x="400" y="334"/>
                  </a:lnTo>
                  <a:lnTo>
                    <a:pt x="399" y="334"/>
                  </a:lnTo>
                  <a:lnTo>
                    <a:pt x="400" y="335"/>
                  </a:lnTo>
                  <a:lnTo>
                    <a:pt x="400" y="336"/>
                  </a:lnTo>
                  <a:lnTo>
                    <a:pt x="400" y="336"/>
                  </a:lnTo>
                  <a:lnTo>
                    <a:pt x="401" y="337"/>
                  </a:lnTo>
                  <a:lnTo>
                    <a:pt x="402" y="339"/>
                  </a:lnTo>
                  <a:lnTo>
                    <a:pt x="404" y="339"/>
                  </a:lnTo>
                  <a:lnTo>
                    <a:pt x="406" y="342"/>
                  </a:lnTo>
                  <a:lnTo>
                    <a:pt x="407" y="343"/>
                  </a:lnTo>
                  <a:lnTo>
                    <a:pt x="408" y="344"/>
                  </a:lnTo>
                  <a:lnTo>
                    <a:pt x="409" y="344"/>
                  </a:lnTo>
                  <a:lnTo>
                    <a:pt x="409" y="345"/>
                  </a:lnTo>
                  <a:lnTo>
                    <a:pt x="409" y="346"/>
                  </a:lnTo>
                  <a:lnTo>
                    <a:pt x="409" y="346"/>
                  </a:lnTo>
                  <a:lnTo>
                    <a:pt x="409" y="347"/>
                  </a:lnTo>
                  <a:lnTo>
                    <a:pt x="409" y="348"/>
                  </a:lnTo>
                  <a:lnTo>
                    <a:pt x="409" y="348"/>
                  </a:lnTo>
                  <a:lnTo>
                    <a:pt x="409" y="349"/>
                  </a:lnTo>
                  <a:lnTo>
                    <a:pt x="408" y="349"/>
                  </a:lnTo>
                  <a:lnTo>
                    <a:pt x="408" y="350"/>
                  </a:lnTo>
                  <a:lnTo>
                    <a:pt x="407" y="350"/>
                  </a:lnTo>
                  <a:lnTo>
                    <a:pt x="405" y="352"/>
                  </a:lnTo>
                  <a:lnTo>
                    <a:pt x="405" y="353"/>
                  </a:lnTo>
                  <a:lnTo>
                    <a:pt x="404" y="353"/>
                  </a:lnTo>
                  <a:lnTo>
                    <a:pt x="404" y="354"/>
                  </a:lnTo>
                  <a:lnTo>
                    <a:pt x="404" y="354"/>
                  </a:lnTo>
                  <a:lnTo>
                    <a:pt x="403" y="356"/>
                  </a:lnTo>
                  <a:lnTo>
                    <a:pt x="403" y="357"/>
                  </a:lnTo>
                  <a:lnTo>
                    <a:pt x="402" y="358"/>
                  </a:lnTo>
                  <a:lnTo>
                    <a:pt x="401" y="359"/>
                  </a:lnTo>
                  <a:lnTo>
                    <a:pt x="401" y="359"/>
                  </a:lnTo>
                  <a:lnTo>
                    <a:pt x="400" y="360"/>
                  </a:lnTo>
                  <a:lnTo>
                    <a:pt x="400" y="360"/>
                  </a:lnTo>
                  <a:lnTo>
                    <a:pt x="399" y="361"/>
                  </a:lnTo>
                  <a:lnTo>
                    <a:pt x="399" y="361"/>
                  </a:lnTo>
                  <a:lnTo>
                    <a:pt x="398" y="362"/>
                  </a:lnTo>
                  <a:lnTo>
                    <a:pt x="397" y="362"/>
                  </a:lnTo>
                  <a:lnTo>
                    <a:pt x="397" y="362"/>
                  </a:lnTo>
                  <a:lnTo>
                    <a:pt x="395" y="363"/>
                  </a:lnTo>
                  <a:lnTo>
                    <a:pt x="393" y="363"/>
                  </a:lnTo>
                  <a:lnTo>
                    <a:pt x="390" y="363"/>
                  </a:lnTo>
                  <a:lnTo>
                    <a:pt x="386" y="364"/>
                  </a:lnTo>
                  <a:lnTo>
                    <a:pt x="385" y="364"/>
                  </a:lnTo>
                  <a:lnTo>
                    <a:pt x="383" y="364"/>
                  </a:lnTo>
                  <a:lnTo>
                    <a:pt x="382" y="365"/>
                  </a:lnTo>
                  <a:lnTo>
                    <a:pt x="381" y="365"/>
                  </a:lnTo>
                  <a:lnTo>
                    <a:pt x="380" y="366"/>
                  </a:lnTo>
                  <a:lnTo>
                    <a:pt x="379" y="366"/>
                  </a:lnTo>
                  <a:lnTo>
                    <a:pt x="378" y="367"/>
                  </a:lnTo>
                  <a:lnTo>
                    <a:pt x="378" y="368"/>
                  </a:lnTo>
                  <a:lnTo>
                    <a:pt x="377" y="368"/>
                  </a:lnTo>
                  <a:lnTo>
                    <a:pt x="377" y="369"/>
                  </a:lnTo>
                  <a:lnTo>
                    <a:pt x="377" y="370"/>
                  </a:lnTo>
                  <a:lnTo>
                    <a:pt x="377" y="371"/>
                  </a:lnTo>
                  <a:lnTo>
                    <a:pt x="377" y="373"/>
                  </a:lnTo>
                  <a:lnTo>
                    <a:pt x="377" y="373"/>
                  </a:lnTo>
                  <a:lnTo>
                    <a:pt x="377" y="374"/>
                  </a:lnTo>
                  <a:lnTo>
                    <a:pt x="377" y="374"/>
                  </a:lnTo>
                  <a:lnTo>
                    <a:pt x="376" y="375"/>
                  </a:lnTo>
                  <a:lnTo>
                    <a:pt x="376" y="375"/>
                  </a:lnTo>
                  <a:lnTo>
                    <a:pt x="376" y="376"/>
                  </a:lnTo>
                  <a:lnTo>
                    <a:pt x="375" y="376"/>
                  </a:lnTo>
                  <a:lnTo>
                    <a:pt x="372" y="378"/>
                  </a:lnTo>
                  <a:lnTo>
                    <a:pt x="372" y="378"/>
                  </a:lnTo>
                  <a:lnTo>
                    <a:pt x="371" y="378"/>
                  </a:lnTo>
                  <a:lnTo>
                    <a:pt x="370" y="379"/>
                  </a:lnTo>
                  <a:lnTo>
                    <a:pt x="368" y="379"/>
                  </a:lnTo>
                  <a:lnTo>
                    <a:pt x="364" y="380"/>
                  </a:lnTo>
                  <a:lnTo>
                    <a:pt x="362" y="380"/>
                  </a:lnTo>
                  <a:lnTo>
                    <a:pt x="361" y="380"/>
                  </a:lnTo>
                  <a:lnTo>
                    <a:pt x="360" y="380"/>
                  </a:lnTo>
                  <a:lnTo>
                    <a:pt x="358" y="380"/>
                  </a:lnTo>
                  <a:lnTo>
                    <a:pt x="356" y="380"/>
                  </a:lnTo>
                  <a:lnTo>
                    <a:pt x="355" y="379"/>
                  </a:lnTo>
                  <a:lnTo>
                    <a:pt x="352" y="379"/>
                  </a:lnTo>
                  <a:lnTo>
                    <a:pt x="351" y="379"/>
                  </a:lnTo>
                  <a:lnTo>
                    <a:pt x="349" y="378"/>
                  </a:lnTo>
                  <a:lnTo>
                    <a:pt x="348" y="378"/>
                  </a:lnTo>
                  <a:lnTo>
                    <a:pt x="347" y="378"/>
                  </a:lnTo>
                  <a:lnTo>
                    <a:pt x="346" y="378"/>
                  </a:lnTo>
                  <a:lnTo>
                    <a:pt x="346" y="379"/>
                  </a:lnTo>
                  <a:lnTo>
                    <a:pt x="345" y="379"/>
                  </a:lnTo>
                  <a:lnTo>
                    <a:pt x="344" y="380"/>
                  </a:lnTo>
                  <a:lnTo>
                    <a:pt x="343" y="381"/>
                  </a:lnTo>
                  <a:lnTo>
                    <a:pt x="341" y="382"/>
                  </a:lnTo>
                  <a:lnTo>
                    <a:pt x="340" y="382"/>
                  </a:lnTo>
                  <a:lnTo>
                    <a:pt x="339" y="383"/>
                  </a:lnTo>
                  <a:lnTo>
                    <a:pt x="338" y="383"/>
                  </a:lnTo>
                  <a:lnTo>
                    <a:pt x="336" y="383"/>
                  </a:lnTo>
                  <a:lnTo>
                    <a:pt x="335" y="383"/>
                  </a:lnTo>
                  <a:lnTo>
                    <a:pt x="335" y="383"/>
                  </a:lnTo>
                  <a:lnTo>
                    <a:pt x="334" y="383"/>
                  </a:lnTo>
                  <a:lnTo>
                    <a:pt x="333" y="382"/>
                  </a:lnTo>
                  <a:lnTo>
                    <a:pt x="332" y="382"/>
                  </a:lnTo>
                  <a:lnTo>
                    <a:pt x="331" y="381"/>
                  </a:lnTo>
                  <a:lnTo>
                    <a:pt x="329" y="379"/>
                  </a:lnTo>
                  <a:lnTo>
                    <a:pt x="328" y="379"/>
                  </a:lnTo>
                  <a:lnTo>
                    <a:pt x="327" y="378"/>
                  </a:lnTo>
                  <a:lnTo>
                    <a:pt x="327" y="378"/>
                  </a:lnTo>
                  <a:lnTo>
                    <a:pt x="326" y="376"/>
                  </a:lnTo>
                  <a:lnTo>
                    <a:pt x="325" y="375"/>
                  </a:lnTo>
                  <a:lnTo>
                    <a:pt x="325" y="375"/>
                  </a:lnTo>
                  <a:lnTo>
                    <a:pt x="324" y="374"/>
                  </a:lnTo>
                  <a:lnTo>
                    <a:pt x="324" y="374"/>
                  </a:lnTo>
                  <a:lnTo>
                    <a:pt x="323" y="374"/>
                  </a:lnTo>
                  <a:lnTo>
                    <a:pt x="323" y="374"/>
                  </a:lnTo>
                  <a:lnTo>
                    <a:pt x="322" y="374"/>
                  </a:lnTo>
                  <a:lnTo>
                    <a:pt x="322" y="374"/>
                  </a:lnTo>
                  <a:lnTo>
                    <a:pt x="320" y="374"/>
                  </a:lnTo>
                  <a:lnTo>
                    <a:pt x="320" y="375"/>
                  </a:lnTo>
                  <a:lnTo>
                    <a:pt x="318" y="375"/>
                  </a:lnTo>
                  <a:lnTo>
                    <a:pt x="317" y="376"/>
                  </a:lnTo>
                  <a:lnTo>
                    <a:pt x="317" y="376"/>
                  </a:lnTo>
                  <a:lnTo>
                    <a:pt x="316" y="376"/>
                  </a:lnTo>
                  <a:lnTo>
                    <a:pt x="316" y="377"/>
                  </a:lnTo>
                  <a:lnTo>
                    <a:pt x="314" y="379"/>
                  </a:lnTo>
                  <a:lnTo>
                    <a:pt x="313" y="380"/>
                  </a:lnTo>
                  <a:lnTo>
                    <a:pt x="312" y="380"/>
                  </a:lnTo>
                  <a:lnTo>
                    <a:pt x="312" y="381"/>
                  </a:lnTo>
                  <a:lnTo>
                    <a:pt x="311" y="381"/>
                  </a:lnTo>
                  <a:lnTo>
                    <a:pt x="310" y="382"/>
                  </a:lnTo>
                  <a:lnTo>
                    <a:pt x="310" y="382"/>
                  </a:lnTo>
                  <a:lnTo>
                    <a:pt x="309" y="382"/>
                  </a:lnTo>
                  <a:lnTo>
                    <a:pt x="309" y="382"/>
                  </a:lnTo>
                  <a:lnTo>
                    <a:pt x="308" y="382"/>
                  </a:lnTo>
                  <a:lnTo>
                    <a:pt x="307" y="382"/>
                  </a:lnTo>
                  <a:lnTo>
                    <a:pt x="305" y="382"/>
                  </a:lnTo>
                  <a:lnTo>
                    <a:pt x="304" y="382"/>
                  </a:lnTo>
                  <a:lnTo>
                    <a:pt x="304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2" y="383"/>
                  </a:lnTo>
                  <a:lnTo>
                    <a:pt x="302" y="383"/>
                  </a:lnTo>
                  <a:lnTo>
                    <a:pt x="301" y="383"/>
                  </a:lnTo>
                  <a:lnTo>
                    <a:pt x="301" y="384"/>
                  </a:lnTo>
                  <a:lnTo>
                    <a:pt x="300" y="385"/>
                  </a:lnTo>
                  <a:lnTo>
                    <a:pt x="300" y="386"/>
                  </a:lnTo>
                  <a:lnTo>
                    <a:pt x="299" y="389"/>
                  </a:lnTo>
                  <a:lnTo>
                    <a:pt x="298" y="390"/>
                  </a:lnTo>
                  <a:lnTo>
                    <a:pt x="298" y="390"/>
                  </a:lnTo>
                  <a:lnTo>
                    <a:pt x="298" y="391"/>
                  </a:lnTo>
                  <a:lnTo>
                    <a:pt x="297" y="392"/>
                  </a:lnTo>
                  <a:lnTo>
                    <a:pt x="297" y="392"/>
                  </a:lnTo>
                  <a:lnTo>
                    <a:pt x="296" y="392"/>
                  </a:lnTo>
                  <a:lnTo>
                    <a:pt x="295" y="393"/>
                  </a:lnTo>
                  <a:lnTo>
                    <a:pt x="295" y="393"/>
                  </a:lnTo>
                  <a:lnTo>
                    <a:pt x="293" y="393"/>
                  </a:lnTo>
                  <a:lnTo>
                    <a:pt x="291" y="393"/>
                  </a:lnTo>
                  <a:lnTo>
                    <a:pt x="290" y="393"/>
                  </a:lnTo>
                  <a:lnTo>
                    <a:pt x="288" y="393"/>
                  </a:lnTo>
                  <a:lnTo>
                    <a:pt x="286" y="393"/>
                  </a:lnTo>
                  <a:lnTo>
                    <a:pt x="285" y="394"/>
                  </a:lnTo>
                  <a:lnTo>
                    <a:pt x="282" y="395"/>
                  </a:lnTo>
                  <a:lnTo>
                    <a:pt x="281" y="395"/>
                  </a:lnTo>
                  <a:lnTo>
                    <a:pt x="279" y="396"/>
                  </a:lnTo>
                  <a:lnTo>
                    <a:pt x="278" y="397"/>
                  </a:lnTo>
                  <a:lnTo>
                    <a:pt x="277" y="397"/>
                  </a:lnTo>
                  <a:lnTo>
                    <a:pt x="277" y="398"/>
                  </a:lnTo>
                  <a:lnTo>
                    <a:pt x="276" y="399"/>
                  </a:lnTo>
                  <a:lnTo>
                    <a:pt x="275" y="400"/>
                  </a:lnTo>
                  <a:lnTo>
                    <a:pt x="274" y="402"/>
                  </a:lnTo>
                  <a:lnTo>
                    <a:pt x="272" y="403"/>
                  </a:lnTo>
                  <a:lnTo>
                    <a:pt x="271" y="404"/>
                  </a:lnTo>
                  <a:lnTo>
                    <a:pt x="270" y="405"/>
                  </a:lnTo>
                  <a:lnTo>
                    <a:pt x="269" y="406"/>
                  </a:lnTo>
                  <a:lnTo>
                    <a:pt x="268" y="407"/>
                  </a:lnTo>
                  <a:lnTo>
                    <a:pt x="266" y="408"/>
                  </a:lnTo>
                  <a:lnTo>
                    <a:pt x="265" y="409"/>
                  </a:lnTo>
                  <a:lnTo>
                    <a:pt x="264" y="409"/>
                  </a:lnTo>
                  <a:lnTo>
                    <a:pt x="263" y="410"/>
                  </a:lnTo>
                  <a:lnTo>
                    <a:pt x="263" y="410"/>
                  </a:lnTo>
                  <a:lnTo>
                    <a:pt x="261" y="412"/>
                  </a:lnTo>
                  <a:lnTo>
                    <a:pt x="259" y="414"/>
                  </a:lnTo>
                  <a:lnTo>
                    <a:pt x="259" y="414"/>
                  </a:lnTo>
                  <a:lnTo>
                    <a:pt x="258" y="416"/>
                  </a:lnTo>
                  <a:lnTo>
                    <a:pt x="256" y="418"/>
                  </a:lnTo>
                  <a:lnTo>
                    <a:pt x="256" y="418"/>
                  </a:lnTo>
                  <a:lnTo>
                    <a:pt x="255" y="419"/>
                  </a:lnTo>
                  <a:lnTo>
                    <a:pt x="255" y="419"/>
                  </a:lnTo>
                  <a:lnTo>
                    <a:pt x="254" y="419"/>
                  </a:lnTo>
                  <a:lnTo>
                    <a:pt x="254" y="419"/>
                  </a:lnTo>
                  <a:lnTo>
                    <a:pt x="253" y="419"/>
                  </a:lnTo>
                  <a:lnTo>
                    <a:pt x="253" y="419"/>
                  </a:lnTo>
                  <a:lnTo>
                    <a:pt x="252" y="419"/>
                  </a:lnTo>
                  <a:lnTo>
                    <a:pt x="251" y="419"/>
                  </a:lnTo>
                  <a:lnTo>
                    <a:pt x="249" y="417"/>
                  </a:lnTo>
                  <a:lnTo>
                    <a:pt x="248" y="417"/>
                  </a:lnTo>
                  <a:lnTo>
                    <a:pt x="247" y="416"/>
                  </a:lnTo>
                  <a:lnTo>
                    <a:pt x="246" y="416"/>
                  </a:lnTo>
                  <a:lnTo>
                    <a:pt x="245" y="415"/>
                  </a:lnTo>
                  <a:lnTo>
                    <a:pt x="244" y="415"/>
                  </a:lnTo>
                  <a:lnTo>
                    <a:pt x="243" y="415"/>
                  </a:lnTo>
                  <a:lnTo>
                    <a:pt x="242" y="415"/>
                  </a:lnTo>
                  <a:lnTo>
                    <a:pt x="238" y="416"/>
                  </a:lnTo>
                  <a:lnTo>
                    <a:pt x="237" y="416"/>
                  </a:lnTo>
                  <a:lnTo>
                    <a:pt x="236" y="416"/>
                  </a:lnTo>
                  <a:lnTo>
                    <a:pt x="236" y="416"/>
                  </a:lnTo>
                  <a:lnTo>
                    <a:pt x="235" y="416"/>
                  </a:lnTo>
                  <a:lnTo>
                    <a:pt x="235" y="417"/>
                  </a:lnTo>
                  <a:lnTo>
                    <a:pt x="235" y="417"/>
                  </a:lnTo>
                  <a:lnTo>
                    <a:pt x="234" y="417"/>
                  </a:lnTo>
                  <a:lnTo>
                    <a:pt x="232" y="420"/>
                  </a:lnTo>
                  <a:lnTo>
                    <a:pt x="231" y="422"/>
                  </a:lnTo>
                  <a:lnTo>
                    <a:pt x="231" y="422"/>
                  </a:lnTo>
                  <a:lnTo>
                    <a:pt x="230" y="423"/>
                  </a:lnTo>
                  <a:lnTo>
                    <a:pt x="229" y="424"/>
                  </a:lnTo>
                  <a:lnTo>
                    <a:pt x="229" y="424"/>
                  </a:lnTo>
                  <a:lnTo>
                    <a:pt x="228" y="425"/>
                  </a:lnTo>
                  <a:lnTo>
                    <a:pt x="228" y="425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26" y="425"/>
                  </a:lnTo>
                  <a:lnTo>
                    <a:pt x="225" y="425"/>
                  </a:lnTo>
                  <a:lnTo>
                    <a:pt x="224" y="424"/>
                  </a:lnTo>
                  <a:lnTo>
                    <a:pt x="223" y="424"/>
                  </a:lnTo>
                  <a:lnTo>
                    <a:pt x="222" y="424"/>
                  </a:lnTo>
                  <a:lnTo>
                    <a:pt x="222" y="423"/>
                  </a:lnTo>
                  <a:lnTo>
                    <a:pt x="220" y="422"/>
                  </a:lnTo>
                  <a:lnTo>
                    <a:pt x="219" y="421"/>
                  </a:lnTo>
                  <a:lnTo>
                    <a:pt x="218" y="421"/>
                  </a:lnTo>
                  <a:lnTo>
                    <a:pt x="217" y="421"/>
                  </a:lnTo>
                  <a:lnTo>
                    <a:pt x="217" y="421"/>
                  </a:lnTo>
                  <a:lnTo>
                    <a:pt x="216" y="421"/>
                  </a:lnTo>
                  <a:lnTo>
                    <a:pt x="215" y="421"/>
                  </a:lnTo>
                  <a:lnTo>
                    <a:pt x="214" y="421"/>
                  </a:lnTo>
                  <a:lnTo>
                    <a:pt x="213" y="421"/>
                  </a:lnTo>
                  <a:lnTo>
                    <a:pt x="212" y="421"/>
                  </a:lnTo>
                  <a:lnTo>
                    <a:pt x="211" y="422"/>
                  </a:lnTo>
                  <a:lnTo>
                    <a:pt x="211" y="422"/>
                  </a:lnTo>
                  <a:lnTo>
                    <a:pt x="210" y="422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2"/>
                  </a:lnTo>
                  <a:lnTo>
                    <a:pt x="209" y="421"/>
                  </a:lnTo>
                  <a:lnTo>
                    <a:pt x="208" y="419"/>
                  </a:lnTo>
                  <a:lnTo>
                    <a:pt x="208" y="418"/>
                  </a:lnTo>
                  <a:lnTo>
                    <a:pt x="207" y="418"/>
                  </a:lnTo>
                  <a:lnTo>
                    <a:pt x="207" y="417"/>
                  </a:lnTo>
                  <a:lnTo>
                    <a:pt x="206" y="416"/>
                  </a:lnTo>
                  <a:lnTo>
                    <a:pt x="206" y="416"/>
                  </a:lnTo>
                  <a:lnTo>
                    <a:pt x="205" y="415"/>
                  </a:lnTo>
                  <a:lnTo>
                    <a:pt x="203" y="414"/>
                  </a:lnTo>
                  <a:lnTo>
                    <a:pt x="202" y="413"/>
                  </a:lnTo>
                  <a:lnTo>
                    <a:pt x="201" y="412"/>
                  </a:lnTo>
                  <a:lnTo>
                    <a:pt x="199" y="412"/>
                  </a:lnTo>
                  <a:lnTo>
                    <a:pt x="197" y="411"/>
                  </a:lnTo>
                  <a:lnTo>
                    <a:pt x="196" y="410"/>
                  </a:lnTo>
                  <a:lnTo>
                    <a:pt x="195" y="410"/>
                  </a:lnTo>
                  <a:lnTo>
                    <a:pt x="194" y="409"/>
                  </a:lnTo>
                  <a:lnTo>
                    <a:pt x="193" y="408"/>
                  </a:lnTo>
                  <a:lnTo>
                    <a:pt x="192" y="407"/>
                  </a:lnTo>
                  <a:lnTo>
                    <a:pt x="192" y="407"/>
                  </a:lnTo>
                  <a:lnTo>
                    <a:pt x="191" y="404"/>
                  </a:lnTo>
                  <a:lnTo>
                    <a:pt x="190" y="404"/>
                  </a:lnTo>
                  <a:lnTo>
                    <a:pt x="190" y="403"/>
                  </a:lnTo>
                  <a:lnTo>
                    <a:pt x="189" y="402"/>
                  </a:lnTo>
                  <a:lnTo>
                    <a:pt x="189" y="402"/>
                  </a:lnTo>
                  <a:lnTo>
                    <a:pt x="188" y="402"/>
                  </a:lnTo>
                  <a:lnTo>
                    <a:pt x="187" y="402"/>
                  </a:lnTo>
                  <a:lnTo>
                    <a:pt x="187" y="402"/>
                  </a:lnTo>
                  <a:lnTo>
                    <a:pt x="186" y="402"/>
                  </a:lnTo>
                  <a:lnTo>
                    <a:pt x="184" y="401"/>
                  </a:lnTo>
                  <a:lnTo>
                    <a:pt x="183" y="401"/>
                  </a:lnTo>
                  <a:lnTo>
                    <a:pt x="183" y="401"/>
                  </a:lnTo>
                  <a:lnTo>
                    <a:pt x="183" y="401"/>
                  </a:lnTo>
                  <a:lnTo>
                    <a:pt x="182" y="401"/>
                  </a:lnTo>
                  <a:lnTo>
                    <a:pt x="182" y="400"/>
                  </a:lnTo>
                  <a:lnTo>
                    <a:pt x="182" y="400"/>
                  </a:lnTo>
                  <a:lnTo>
                    <a:pt x="182" y="399"/>
                  </a:lnTo>
                  <a:lnTo>
                    <a:pt x="182" y="399"/>
                  </a:lnTo>
                  <a:lnTo>
                    <a:pt x="182" y="398"/>
                  </a:lnTo>
                  <a:lnTo>
                    <a:pt x="182" y="398"/>
                  </a:lnTo>
                  <a:lnTo>
                    <a:pt x="183" y="397"/>
                  </a:lnTo>
                  <a:lnTo>
                    <a:pt x="184" y="396"/>
                  </a:lnTo>
                  <a:lnTo>
                    <a:pt x="185" y="394"/>
                  </a:lnTo>
                  <a:lnTo>
                    <a:pt x="186" y="393"/>
                  </a:lnTo>
                  <a:lnTo>
                    <a:pt x="187" y="392"/>
                  </a:lnTo>
                  <a:lnTo>
                    <a:pt x="188" y="391"/>
                  </a:lnTo>
                  <a:lnTo>
                    <a:pt x="190" y="388"/>
                  </a:lnTo>
                  <a:lnTo>
                    <a:pt x="191" y="388"/>
                  </a:lnTo>
                  <a:lnTo>
                    <a:pt x="191" y="387"/>
                  </a:lnTo>
                  <a:lnTo>
                    <a:pt x="192" y="386"/>
                  </a:lnTo>
                  <a:lnTo>
                    <a:pt x="192" y="385"/>
                  </a:lnTo>
                  <a:lnTo>
                    <a:pt x="193" y="383"/>
                  </a:lnTo>
                  <a:lnTo>
                    <a:pt x="193" y="382"/>
                  </a:lnTo>
                  <a:lnTo>
                    <a:pt x="194" y="381"/>
                  </a:lnTo>
                  <a:lnTo>
                    <a:pt x="196" y="379"/>
                  </a:lnTo>
                  <a:lnTo>
                    <a:pt x="196" y="378"/>
                  </a:lnTo>
                  <a:lnTo>
                    <a:pt x="196" y="377"/>
                  </a:lnTo>
                  <a:lnTo>
                    <a:pt x="196" y="377"/>
                  </a:lnTo>
                  <a:lnTo>
                    <a:pt x="197" y="376"/>
                  </a:lnTo>
                  <a:lnTo>
                    <a:pt x="197" y="374"/>
                  </a:lnTo>
                  <a:lnTo>
                    <a:pt x="197" y="373"/>
                  </a:lnTo>
                  <a:lnTo>
                    <a:pt x="198" y="372"/>
                  </a:lnTo>
                  <a:lnTo>
                    <a:pt x="198" y="371"/>
                  </a:lnTo>
                  <a:lnTo>
                    <a:pt x="199" y="369"/>
                  </a:lnTo>
                  <a:lnTo>
                    <a:pt x="200" y="368"/>
                  </a:lnTo>
                  <a:lnTo>
                    <a:pt x="201" y="367"/>
                  </a:lnTo>
                  <a:lnTo>
                    <a:pt x="201" y="366"/>
                  </a:lnTo>
                  <a:lnTo>
                    <a:pt x="202" y="366"/>
                  </a:lnTo>
                  <a:lnTo>
                    <a:pt x="202" y="366"/>
                  </a:lnTo>
                  <a:lnTo>
                    <a:pt x="202" y="365"/>
                  </a:lnTo>
                  <a:lnTo>
                    <a:pt x="203" y="365"/>
                  </a:lnTo>
                  <a:lnTo>
                    <a:pt x="206" y="365"/>
                  </a:lnTo>
                  <a:lnTo>
                    <a:pt x="208" y="364"/>
                  </a:lnTo>
                  <a:lnTo>
                    <a:pt x="209" y="364"/>
                  </a:lnTo>
                  <a:lnTo>
                    <a:pt x="210" y="363"/>
                  </a:lnTo>
                  <a:lnTo>
                    <a:pt x="210" y="363"/>
                  </a:lnTo>
                  <a:lnTo>
                    <a:pt x="211" y="363"/>
                  </a:lnTo>
                  <a:lnTo>
                    <a:pt x="211" y="362"/>
                  </a:lnTo>
                  <a:lnTo>
                    <a:pt x="211" y="362"/>
                  </a:lnTo>
                  <a:lnTo>
                    <a:pt x="212" y="361"/>
                  </a:lnTo>
                  <a:lnTo>
                    <a:pt x="212" y="360"/>
                  </a:lnTo>
                  <a:lnTo>
                    <a:pt x="212" y="359"/>
                  </a:lnTo>
                  <a:lnTo>
                    <a:pt x="212" y="358"/>
                  </a:lnTo>
                  <a:lnTo>
                    <a:pt x="212" y="358"/>
                  </a:lnTo>
                  <a:lnTo>
                    <a:pt x="212" y="357"/>
                  </a:lnTo>
                  <a:lnTo>
                    <a:pt x="212" y="356"/>
                  </a:lnTo>
                  <a:lnTo>
                    <a:pt x="211" y="355"/>
                  </a:lnTo>
                  <a:lnTo>
                    <a:pt x="209" y="352"/>
                  </a:lnTo>
                  <a:lnTo>
                    <a:pt x="209" y="352"/>
                  </a:lnTo>
                  <a:lnTo>
                    <a:pt x="208" y="351"/>
                  </a:lnTo>
                  <a:lnTo>
                    <a:pt x="207" y="351"/>
                  </a:lnTo>
                  <a:lnTo>
                    <a:pt x="206" y="349"/>
                  </a:lnTo>
                  <a:lnTo>
                    <a:pt x="204" y="349"/>
                  </a:lnTo>
                  <a:lnTo>
                    <a:pt x="204" y="348"/>
                  </a:lnTo>
                  <a:lnTo>
                    <a:pt x="203" y="347"/>
                  </a:lnTo>
                  <a:lnTo>
                    <a:pt x="203" y="347"/>
                  </a:lnTo>
                  <a:lnTo>
                    <a:pt x="202" y="346"/>
                  </a:lnTo>
                  <a:lnTo>
                    <a:pt x="202" y="346"/>
                  </a:lnTo>
                  <a:lnTo>
                    <a:pt x="202" y="345"/>
                  </a:lnTo>
                  <a:lnTo>
                    <a:pt x="202" y="345"/>
                  </a:lnTo>
                  <a:lnTo>
                    <a:pt x="202" y="344"/>
                  </a:lnTo>
                  <a:lnTo>
                    <a:pt x="202" y="343"/>
                  </a:lnTo>
                  <a:lnTo>
                    <a:pt x="203" y="343"/>
                  </a:lnTo>
                  <a:lnTo>
                    <a:pt x="202" y="342"/>
                  </a:lnTo>
                  <a:lnTo>
                    <a:pt x="202" y="342"/>
                  </a:lnTo>
                  <a:lnTo>
                    <a:pt x="202" y="341"/>
                  </a:lnTo>
                  <a:lnTo>
                    <a:pt x="202" y="340"/>
                  </a:lnTo>
                  <a:lnTo>
                    <a:pt x="201" y="340"/>
                  </a:lnTo>
                  <a:lnTo>
                    <a:pt x="201" y="340"/>
                  </a:lnTo>
                  <a:lnTo>
                    <a:pt x="200" y="339"/>
                  </a:lnTo>
                  <a:lnTo>
                    <a:pt x="199" y="339"/>
                  </a:lnTo>
                  <a:lnTo>
                    <a:pt x="198" y="338"/>
                  </a:lnTo>
                  <a:lnTo>
                    <a:pt x="198" y="338"/>
                  </a:lnTo>
                  <a:lnTo>
                    <a:pt x="197" y="338"/>
                  </a:lnTo>
                  <a:lnTo>
                    <a:pt x="197" y="338"/>
                  </a:lnTo>
                  <a:lnTo>
                    <a:pt x="196" y="338"/>
                  </a:lnTo>
                  <a:lnTo>
                    <a:pt x="196" y="338"/>
                  </a:lnTo>
                  <a:lnTo>
                    <a:pt x="195" y="338"/>
                  </a:lnTo>
                  <a:lnTo>
                    <a:pt x="195" y="338"/>
                  </a:lnTo>
                  <a:lnTo>
                    <a:pt x="193" y="339"/>
                  </a:lnTo>
                  <a:lnTo>
                    <a:pt x="193" y="339"/>
                  </a:lnTo>
                  <a:lnTo>
                    <a:pt x="192" y="339"/>
                  </a:lnTo>
                  <a:lnTo>
                    <a:pt x="190" y="340"/>
                  </a:lnTo>
                  <a:lnTo>
                    <a:pt x="188" y="340"/>
                  </a:lnTo>
                  <a:lnTo>
                    <a:pt x="187" y="340"/>
                  </a:lnTo>
                  <a:lnTo>
                    <a:pt x="184" y="341"/>
                  </a:lnTo>
                  <a:lnTo>
                    <a:pt x="183" y="342"/>
                  </a:lnTo>
                  <a:lnTo>
                    <a:pt x="182" y="342"/>
                  </a:lnTo>
                  <a:lnTo>
                    <a:pt x="181" y="342"/>
                  </a:lnTo>
                  <a:lnTo>
                    <a:pt x="179" y="342"/>
                  </a:lnTo>
                  <a:lnTo>
                    <a:pt x="177" y="342"/>
                  </a:lnTo>
                  <a:lnTo>
                    <a:pt x="175" y="342"/>
                  </a:lnTo>
                  <a:lnTo>
                    <a:pt x="173" y="342"/>
                  </a:lnTo>
                  <a:lnTo>
                    <a:pt x="172" y="342"/>
                  </a:lnTo>
                  <a:lnTo>
                    <a:pt x="171" y="342"/>
                  </a:lnTo>
                  <a:lnTo>
                    <a:pt x="168" y="341"/>
                  </a:lnTo>
                  <a:lnTo>
                    <a:pt x="167" y="341"/>
                  </a:lnTo>
                  <a:lnTo>
                    <a:pt x="166" y="340"/>
                  </a:lnTo>
                  <a:lnTo>
                    <a:pt x="166" y="340"/>
                  </a:lnTo>
                  <a:lnTo>
                    <a:pt x="165" y="340"/>
                  </a:lnTo>
                  <a:lnTo>
                    <a:pt x="164" y="341"/>
                  </a:lnTo>
                  <a:lnTo>
                    <a:pt x="163" y="341"/>
                  </a:lnTo>
                  <a:lnTo>
                    <a:pt x="161" y="341"/>
                  </a:lnTo>
                  <a:lnTo>
                    <a:pt x="161" y="342"/>
                  </a:lnTo>
                  <a:lnTo>
                    <a:pt x="161" y="342"/>
                  </a:lnTo>
                  <a:lnTo>
                    <a:pt x="160" y="342"/>
                  </a:lnTo>
                  <a:lnTo>
                    <a:pt x="160" y="342"/>
                  </a:lnTo>
                  <a:lnTo>
                    <a:pt x="159" y="342"/>
                  </a:lnTo>
                  <a:lnTo>
                    <a:pt x="159" y="341"/>
                  </a:lnTo>
                  <a:lnTo>
                    <a:pt x="156" y="340"/>
                  </a:lnTo>
                  <a:lnTo>
                    <a:pt x="152" y="337"/>
                  </a:lnTo>
                  <a:lnTo>
                    <a:pt x="150" y="336"/>
                  </a:lnTo>
                  <a:lnTo>
                    <a:pt x="148" y="335"/>
                  </a:lnTo>
                  <a:lnTo>
                    <a:pt x="148" y="334"/>
                  </a:lnTo>
                  <a:lnTo>
                    <a:pt x="145" y="332"/>
                  </a:lnTo>
                  <a:lnTo>
                    <a:pt x="142" y="330"/>
                  </a:lnTo>
                  <a:lnTo>
                    <a:pt x="141" y="329"/>
                  </a:lnTo>
                  <a:lnTo>
                    <a:pt x="139" y="327"/>
                  </a:lnTo>
                  <a:lnTo>
                    <a:pt x="139" y="327"/>
                  </a:lnTo>
                  <a:lnTo>
                    <a:pt x="138" y="326"/>
                  </a:lnTo>
                  <a:lnTo>
                    <a:pt x="138" y="325"/>
                  </a:lnTo>
                  <a:lnTo>
                    <a:pt x="137" y="324"/>
                  </a:lnTo>
                  <a:lnTo>
                    <a:pt x="136" y="323"/>
                  </a:lnTo>
                  <a:lnTo>
                    <a:pt x="136" y="321"/>
                  </a:lnTo>
                  <a:lnTo>
                    <a:pt x="136" y="320"/>
                  </a:lnTo>
                  <a:lnTo>
                    <a:pt x="136" y="319"/>
                  </a:lnTo>
                  <a:lnTo>
                    <a:pt x="136" y="317"/>
                  </a:lnTo>
                  <a:lnTo>
                    <a:pt x="136" y="316"/>
                  </a:lnTo>
                  <a:lnTo>
                    <a:pt x="136" y="313"/>
                  </a:lnTo>
                  <a:lnTo>
                    <a:pt x="137" y="311"/>
                  </a:lnTo>
                  <a:lnTo>
                    <a:pt x="137" y="310"/>
                  </a:lnTo>
                  <a:lnTo>
                    <a:pt x="137" y="309"/>
                  </a:lnTo>
                  <a:lnTo>
                    <a:pt x="136" y="308"/>
                  </a:lnTo>
                  <a:lnTo>
                    <a:pt x="136" y="307"/>
                  </a:lnTo>
                  <a:lnTo>
                    <a:pt x="136" y="305"/>
                  </a:lnTo>
                  <a:lnTo>
                    <a:pt x="136" y="304"/>
                  </a:lnTo>
                  <a:lnTo>
                    <a:pt x="135" y="303"/>
                  </a:lnTo>
                  <a:lnTo>
                    <a:pt x="135" y="302"/>
                  </a:lnTo>
                  <a:lnTo>
                    <a:pt x="134" y="301"/>
                  </a:lnTo>
                  <a:lnTo>
                    <a:pt x="134" y="301"/>
                  </a:lnTo>
                  <a:lnTo>
                    <a:pt x="133" y="300"/>
                  </a:lnTo>
                  <a:lnTo>
                    <a:pt x="133" y="300"/>
                  </a:lnTo>
                  <a:lnTo>
                    <a:pt x="132" y="300"/>
                  </a:lnTo>
                  <a:lnTo>
                    <a:pt x="132" y="299"/>
                  </a:lnTo>
                  <a:lnTo>
                    <a:pt x="131" y="299"/>
                  </a:lnTo>
                  <a:lnTo>
                    <a:pt x="130" y="299"/>
                  </a:lnTo>
                  <a:lnTo>
                    <a:pt x="129" y="299"/>
                  </a:lnTo>
                  <a:lnTo>
                    <a:pt x="128" y="299"/>
                  </a:lnTo>
                  <a:lnTo>
                    <a:pt x="127" y="299"/>
                  </a:lnTo>
                  <a:lnTo>
                    <a:pt x="124" y="299"/>
                  </a:lnTo>
                  <a:lnTo>
                    <a:pt x="121" y="300"/>
                  </a:lnTo>
                  <a:lnTo>
                    <a:pt x="120" y="300"/>
                  </a:lnTo>
                  <a:lnTo>
                    <a:pt x="119" y="300"/>
                  </a:lnTo>
                  <a:lnTo>
                    <a:pt x="116" y="300"/>
                  </a:lnTo>
                  <a:lnTo>
                    <a:pt x="115" y="301"/>
                  </a:lnTo>
                  <a:lnTo>
                    <a:pt x="111" y="301"/>
                  </a:lnTo>
                  <a:lnTo>
                    <a:pt x="111" y="301"/>
                  </a:lnTo>
                  <a:lnTo>
                    <a:pt x="110" y="301"/>
                  </a:lnTo>
                  <a:lnTo>
                    <a:pt x="109" y="301"/>
                  </a:lnTo>
                  <a:lnTo>
                    <a:pt x="109" y="301"/>
                  </a:lnTo>
                  <a:lnTo>
                    <a:pt x="109" y="300"/>
                  </a:lnTo>
                  <a:lnTo>
                    <a:pt x="107" y="299"/>
                  </a:lnTo>
                  <a:lnTo>
                    <a:pt x="107" y="299"/>
                  </a:lnTo>
                  <a:lnTo>
                    <a:pt x="106" y="298"/>
                  </a:lnTo>
                  <a:lnTo>
                    <a:pt x="105" y="297"/>
                  </a:lnTo>
                  <a:lnTo>
                    <a:pt x="104" y="297"/>
                  </a:lnTo>
                  <a:lnTo>
                    <a:pt x="101" y="296"/>
                  </a:lnTo>
                  <a:lnTo>
                    <a:pt x="98" y="295"/>
                  </a:lnTo>
                  <a:lnTo>
                    <a:pt x="93" y="293"/>
                  </a:lnTo>
                  <a:lnTo>
                    <a:pt x="92" y="293"/>
                  </a:lnTo>
                  <a:lnTo>
                    <a:pt x="91" y="293"/>
                  </a:lnTo>
                  <a:lnTo>
                    <a:pt x="91" y="293"/>
                  </a:lnTo>
                  <a:lnTo>
                    <a:pt x="90" y="293"/>
                  </a:lnTo>
                  <a:lnTo>
                    <a:pt x="90" y="293"/>
                  </a:lnTo>
                  <a:lnTo>
                    <a:pt x="89" y="294"/>
                  </a:lnTo>
                  <a:lnTo>
                    <a:pt x="88" y="294"/>
                  </a:lnTo>
                  <a:lnTo>
                    <a:pt x="85" y="295"/>
                  </a:lnTo>
                  <a:lnTo>
                    <a:pt x="84" y="296"/>
                  </a:lnTo>
                  <a:lnTo>
                    <a:pt x="83" y="296"/>
                  </a:lnTo>
                  <a:lnTo>
                    <a:pt x="82" y="296"/>
                  </a:lnTo>
                  <a:lnTo>
                    <a:pt x="81" y="297"/>
                  </a:lnTo>
                  <a:lnTo>
                    <a:pt x="80" y="297"/>
                  </a:lnTo>
                  <a:lnTo>
                    <a:pt x="79" y="296"/>
                  </a:lnTo>
                  <a:lnTo>
                    <a:pt x="78" y="296"/>
                  </a:lnTo>
                  <a:lnTo>
                    <a:pt x="77" y="296"/>
                  </a:lnTo>
                  <a:lnTo>
                    <a:pt x="76" y="295"/>
                  </a:lnTo>
                  <a:lnTo>
                    <a:pt x="75" y="295"/>
                  </a:lnTo>
                  <a:lnTo>
                    <a:pt x="75" y="295"/>
                  </a:lnTo>
                  <a:lnTo>
                    <a:pt x="75" y="294"/>
                  </a:lnTo>
                  <a:lnTo>
                    <a:pt x="74" y="293"/>
                  </a:lnTo>
                  <a:lnTo>
                    <a:pt x="72" y="291"/>
                  </a:lnTo>
                  <a:lnTo>
                    <a:pt x="71" y="290"/>
                  </a:lnTo>
                  <a:lnTo>
                    <a:pt x="70" y="288"/>
                  </a:lnTo>
                  <a:lnTo>
                    <a:pt x="69" y="288"/>
                  </a:lnTo>
                  <a:lnTo>
                    <a:pt x="68" y="287"/>
                  </a:lnTo>
                  <a:lnTo>
                    <a:pt x="68" y="287"/>
                  </a:lnTo>
                  <a:lnTo>
                    <a:pt x="67" y="287"/>
                  </a:lnTo>
                  <a:lnTo>
                    <a:pt x="66" y="287"/>
                  </a:lnTo>
                  <a:lnTo>
                    <a:pt x="66" y="286"/>
                  </a:lnTo>
                  <a:lnTo>
                    <a:pt x="65" y="286"/>
                  </a:lnTo>
                  <a:lnTo>
                    <a:pt x="62" y="286"/>
                  </a:lnTo>
                  <a:lnTo>
                    <a:pt x="61" y="286"/>
                  </a:lnTo>
                  <a:lnTo>
                    <a:pt x="61" y="286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8" y="285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3"/>
                  </a:lnTo>
                  <a:lnTo>
                    <a:pt x="59" y="283"/>
                  </a:lnTo>
                  <a:lnTo>
                    <a:pt x="60" y="282"/>
                  </a:lnTo>
                  <a:lnTo>
                    <a:pt x="60" y="282"/>
                  </a:lnTo>
                  <a:lnTo>
                    <a:pt x="61" y="282"/>
                  </a:lnTo>
                  <a:lnTo>
                    <a:pt x="61" y="281"/>
                  </a:lnTo>
                  <a:lnTo>
                    <a:pt x="61" y="281"/>
                  </a:lnTo>
                  <a:lnTo>
                    <a:pt x="61" y="280"/>
                  </a:lnTo>
                  <a:lnTo>
                    <a:pt x="61" y="279"/>
                  </a:lnTo>
                  <a:lnTo>
                    <a:pt x="61" y="278"/>
                  </a:lnTo>
                  <a:lnTo>
                    <a:pt x="61" y="278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9" y="275"/>
                  </a:lnTo>
                  <a:lnTo>
                    <a:pt x="57" y="274"/>
                  </a:lnTo>
                  <a:lnTo>
                    <a:pt x="56" y="274"/>
                  </a:lnTo>
                  <a:lnTo>
                    <a:pt x="52" y="272"/>
                  </a:lnTo>
                  <a:lnTo>
                    <a:pt x="51" y="272"/>
                  </a:lnTo>
                  <a:lnTo>
                    <a:pt x="51" y="271"/>
                  </a:lnTo>
                  <a:lnTo>
                    <a:pt x="49" y="271"/>
                  </a:lnTo>
                  <a:lnTo>
                    <a:pt x="48" y="270"/>
                  </a:lnTo>
                  <a:lnTo>
                    <a:pt x="46" y="269"/>
                  </a:lnTo>
                  <a:lnTo>
                    <a:pt x="44" y="267"/>
                  </a:lnTo>
                  <a:lnTo>
                    <a:pt x="44" y="266"/>
                  </a:lnTo>
                  <a:lnTo>
                    <a:pt x="43" y="266"/>
                  </a:lnTo>
                  <a:lnTo>
                    <a:pt x="42" y="266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30" y="269"/>
                  </a:lnTo>
                  <a:lnTo>
                    <a:pt x="29" y="269"/>
                  </a:lnTo>
                  <a:lnTo>
                    <a:pt x="28" y="270"/>
                  </a:lnTo>
                  <a:lnTo>
                    <a:pt x="27" y="270"/>
                  </a:lnTo>
                  <a:lnTo>
                    <a:pt x="26" y="269"/>
                  </a:lnTo>
                  <a:lnTo>
                    <a:pt x="25" y="269"/>
                  </a:lnTo>
                  <a:lnTo>
                    <a:pt x="25" y="269"/>
                  </a:lnTo>
                  <a:lnTo>
                    <a:pt x="24" y="269"/>
                  </a:lnTo>
                  <a:lnTo>
                    <a:pt x="23" y="268"/>
                  </a:lnTo>
                  <a:lnTo>
                    <a:pt x="21" y="266"/>
                  </a:lnTo>
                  <a:lnTo>
                    <a:pt x="18" y="264"/>
                  </a:lnTo>
                  <a:lnTo>
                    <a:pt x="17" y="262"/>
                  </a:lnTo>
                  <a:lnTo>
                    <a:pt x="15" y="260"/>
                  </a:lnTo>
                  <a:lnTo>
                    <a:pt x="15" y="259"/>
                  </a:lnTo>
                  <a:lnTo>
                    <a:pt x="11" y="256"/>
                  </a:lnTo>
                  <a:lnTo>
                    <a:pt x="11" y="255"/>
                  </a:lnTo>
                  <a:lnTo>
                    <a:pt x="10" y="255"/>
                  </a:lnTo>
                  <a:lnTo>
                    <a:pt x="8" y="252"/>
                  </a:lnTo>
                  <a:lnTo>
                    <a:pt x="6" y="249"/>
                  </a:lnTo>
                  <a:lnTo>
                    <a:pt x="5" y="248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5" y="243"/>
                  </a:lnTo>
                  <a:lnTo>
                    <a:pt x="5" y="242"/>
                  </a:lnTo>
                  <a:lnTo>
                    <a:pt x="6" y="241"/>
                  </a:lnTo>
                  <a:lnTo>
                    <a:pt x="7" y="240"/>
                  </a:lnTo>
                  <a:lnTo>
                    <a:pt x="8" y="239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4"/>
                  </a:lnTo>
                  <a:lnTo>
                    <a:pt x="8" y="233"/>
                  </a:lnTo>
                  <a:lnTo>
                    <a:pt x="8" y="232"/>
                  </a:lnTo>
                  <a:lnTo>
                    <a:pt x="7" y="232"/>
                  </a:lnTo>
                  <a:lnTo>
                    <a:pt x="7" y="231"/>
                  </a:lnTo>
                  <a:lnTo>
                    <a:pt x="6" y="230"/>
                  </a:lnTo>
                  <a:lnTo>
                    <a:pt x="4" y="228"/>
                  </a:lnTo>
                  <a:lnTo>
                    <a:pt x="3" y="228"/>
                  </a:lnTo>
                  <a:lnTo>
                    <a:pt x="2" y="227"/>
                  </a:lnTo>
                  <a:lnTo>
                    <a:pt x="1" y="226"/>
                  </a:lnTo>
                  <a:lnTo>
                    <a:pt x="0" y="225"/>
                  </a:lnTo>
                  <a:lnTo>
                    <a:pt x="0" y="224"/>
                  </a:lnTo>
                  <a:lnTo>
                    <a:pt x="0" y="223"/>
                  </a:lnTo>
                  <a:lnTo>
                    <a:pt x="0" y="222"/>
                  </a:lnTo>
                  <a:lnTo>
                    <a:pt x="0" y="221"/>
                  </a:lnTo>
                  <a:lnTo>
                    <a:pt x="0" y="221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1" y="215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09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1"/>
                  </a:lnTo>
                  <a:lnTo>
                    <a:pt x="4" y="200"/>
                  </a:lnTo>
                  <a:lnTo>
                    <a:pt x="5" y="198"/>
                  </a:lnTo>
                  <a:lnTo>
                    <a:pt x="6" y="195"/>
                  </a:lnTo>
                  <a:lnTo>
                    <a:pt x="7" y="192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7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9" y="180"/>
                  </a:lnTo>
                  <a:lnTo>
                    <a:pt x="9" y="179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9" y="172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8" y="169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7" y="166"/>
                  </a:lnTo>
                  <a:lnTo>
                    <a:pt x="5" y="163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9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1" y="156"/>
                  </a:lnTo>
                  <a:lnTo>
                    <a:pt x="11" y="155"/>
                  </a:lnTo>
                  <a:lnTo>
                    <a:pt x="12" y="155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1" y="146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3" y="141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7" y="133"/>
                  </a:lnTo>
                  <a:lnTo>
                    <a:pt x="22" y="131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9" y="120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0"/>
                  </a:lnTo>
                  <a:lnTo>
                    <a:pt x="32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22"/>
                  </a:lnTo>
                  <a:lnTo>
                    <a:pt x="43" y="122"/>
                  </a:lnTo>
                  <a:lnTo>
                    <a:pt x="47" y="123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8" y="121"/>
                  </a:lnTo>
                  <a:lnTo>
                    <a:pt x="61" y="120"/>
                  </a:lnTo>
                  <a:lnTo>
                    <a:pt x="63" y="119"/>
                  </a:lnTo>
                  <a:lnTo>
                    <a:pt x="64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20"/>
                  </a:lnTo>
                  <a:lnTo>
                    <a:pt x="70" y="120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7" y="124"/>
                  </a:lnTo>
                  <a:lnTo>
                    <a:pt x="78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1" y="123"/>
                  </a:lnTo>
                  <a:lnTo>
                    <a:pt x="81" y="122"/>
                  </a:lnTo>
                  <a:lnTo>
                    <a:pt x="82" y="121"/>
                  </a:lnTo>
                  <a:lnTo>
                    <a:pt x="82" y="120"/>
                  </a:lnTo>
                  <a:lnTo>
                    <a:pt x="83" y="118"/>
                  </a:lnTo>
                  <a:lnTo>
                    <a:pt x="84" y="118"/>
                  </a:lnTo>
                  <a:lnTo>
                    <a:pt x="84" y="117"/>
                  </a:lnTo>
                  <a:lnTo>
                    <a:pt x="84" y="117"/>
                  </a:lnTo>
                  <a:lnTo>
                    <a:pt x="85" y="117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9" y="115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5" y="115"/>
                  </a:lnTo>
                  <a:lnTo>
                    <a:pt x="96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100" y="114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4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5" y="101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3" y="97"/>
                  </a:lnTo>
                  <a:lnTo>
                    <a:pt x="102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3"/>
                  </a:lnTo>
                  <a:lnTo>
                    <a:pt x="98" y="93"/>
                  </a:lnTo>
                  <a:lnTo>
                    <a:pt x="97" y="92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6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3"/>
                  </a:lnTo>
                  <a:lnTo>
                    <a:pt x="85" y="81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5" y="78"/>
                  </a:lnTo>
                  <a:lnTo>
                    <a:pt x="86" y="77"/>
                  </a:lnTo>
                  <a:lnTo>
                    <a:pt x="86" y="76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8" y="71"/>
                  </a:lnTo>
                  <a:lnTo>
                    <a:pt x="88" y="70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7" y="58"/>
                  </a:lnTo>
                  <a:lnTo>
                    <a:pt x="98" y="56"/>
                  </a:lnTo>
                  <a:lnTo>
                    <a:pt x="98" y="55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3" y="49"/>
                  </a:lnTo>
                  <a:lnTo>
                    <a:pt x="104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6" y="48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4" y="49"/>
                  </a:lnTo>
                  <a:lnTo>
                    <a:pt x="115" y="48"/>
                  </a:lnTo>
                  <a:lnTo>
                    <a:pt x="118" y="47"/>
                  </a:lnTo>
                  <a:lnTo>
                    <a:pt x="119" y="46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4" y="44"/>
                  </a:lnTo>
                  <a:lnTo>
                    <a:pt x="126" y="44"/>
                  </a:lnTo>
                  <a:lnTo>
                    <a:pt x="129" y="43"/>
                  </a:lnTo>
                  <a:lnTo>
                    <a:pt x="131" y="42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6" y="41"/>
                  </a:lnTo>
                  <a:lnTo>
                    <a:pt x="137" y="41"/>
                  </a:lnTo>
                  <a:lnTo>
                    <a:pt x="138" y="40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41" y="38"/>
                  </a:lnTo>
                  <a:lnTo>
                    <a:pt x="142" y="37"/>
                  </a:lnTo>
                  <a:lnTo>
                    <a:pt x="143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7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4" y="31"/>
                  </a:lnTo>
                  <a:lnTo>
                    <a:pt x="155" y="31"/>
                  </a:lnTo>
                  <a:lnTo>
                    <a:pt x="156" y="31"/>
                  </a:lnTo>
                  <a:lnTo>
                    <a:pt x="157" y="31"/>
                  </a:lnTo>
                  <a:lnTo>
                    <a:pt x="158" y="31"/>
                  </a:lnTo>
                  <a:lnTo>
                    <a:pt x="158" y="30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7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5"/>
                  </a:lnTo>
                  <a:lnTo>
                    <a:pt x="160" y="24"/>
                  </a:lnTo>
                  <a:lnTo>
                    <a:pt x="159" y="23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7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4"/>
                  </a:lnTo>
                  <a:lnTo>
                    <a:pt x="160" y="13"/>
                  </a:lnTo>
                  <a:lnTo>
                    <a:pt x="162" y="12"/>
                  </a:lnTo>
                  <a:lnTo>
                    <a:pt x="162" y="11"/>
                  </a:lnTo>
                  <a:lnTo>
                    <a:pt x="163" y="11"/>
                  </a:lnTo>
                  <a:lnTo>
                    <a:pt x="163" y="10"/>
                  </a:lnTo>
                  <a:lnTo>
                    <a:pt x="164" y="10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9"/>
                  </a:lnTo>
                  <a:lnTo>
                    <a:pt x="170" y="9"/>
                  </a:lnTo>
                  <a:lnTo>
                    <a:pt x="171" y="9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8" y="4"/>
                  </a:lnTo>
                  <a:lnTo>
                    <a:pt x="179" y="3"/>
                  </a:lnTo>
                  <a:lnTo>
                    <a:pt x="179" y="2"/>
                  </a:lnTo>
                  <a:lnTo>
                    <a:pt x="180" y="2"/>
                  </a:lnTo>
                  <a:lnTo>
                    <a:pt x="180" y="1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80" y="1"/>
                  </a:lnTo>
                  <a:lnTo>
                    <a:pt x="185" y="4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Freeform 29">
              <a:extLst>
                <a:ext uri="{FF2B5EF4-FFF2-40B4-BE49-F238E27FC236}">
                  <a16:creationId xmlns:a16="http://schemas.microsoft.com/office/drawing/2014/main" id="{BE0A36EF-EC70-1B36-1750-F0B0C7EAB9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8" y="3422"/>
              <a:ext cx="399" cy="421"/>
            </a:xfrm>
            <a:custGeom>
              <a:avLst/>
              <a:gdLst>
                <a:gd name="T0" fmla="*/ 157 w 399"/>
                <a:gd name="T1" fmla="*/ 19 h 421"/>
                <a:gd name="T2" fmla="*/ 177 w 399"/>
                <a:gd name="T3" fmla="*/ 20 h 421"/>
                <a:gd name="T4" fmla="*/ 196 w 399"/>
                <a:gd name="T5" fmla="*/ 32 h 421"/>
                <a:gd name="T6" fmla="*/ 208 w 399"/>
                <a:gd name="T7" fmla="*/ 42 h 421"/>
                <a:gd name="T8" fmla="*/ 228 w 399"/>
                <a:gd name="T9" fmla="*/ 51 h 421"/>
                <a:gd name="T10" fmla="*/ 231 w 399"/>
                <a:gd name="T11" fmla="*/ 64 h 421"/>
                <a:gd name="T12" fmla="*/ 256 w 399"/>
                <a:gd name="T13" fmla="*/ 75 h 421"/>
                <a:gd name="T14" fmla="*/ 270 w 399"/>
                <a:gd name="T15" fmla="*/ 56 h 421"/>
                <a:gd name="T16" fmla="*/ 283 w 399"/>
                <a:gd name="T17" fmla="*/ 61 h 421"/>
                <a:gd name="T18" fmla="*/ 304 w 399"/>
                <a:gd name="T19" fmla="*/ 74 h 421"/>
                <a:gd name="T20" fmla="*/ 332 w 399"/>
                <a:gd name="T21" fmla="*/ 81 h 421"/>
                <a:gd name="T22" fmla="*/ 361 w 399"/>
                <a:gd name="T23" fmla="*/ 104 h 421"/>
                <a:gd name="T24" fmla="*/ 392 w 399"/>
                <a:gd name="T25" fmla="*/ 123 h 421"/>
                <a:gd name="T26" fmla="*/ 392 w 399"/>
                <a:gd name="T27" fmla="*/ 141 h 421"/>
                <a:gd name="T28" fmla="*/ 397 w 399"/>
                <a:gd name="T29" fmla="*/ 153 h 421"/>
                <a:gd name="T30" fmla="*/ 384 w 399"/>
                <a:gd name="T31" fmla="*/ 162 h 421"/>
                <a:gd name="T32" fmla="*/ 390 w 399"/>
                <a:gd name="T33" fmla="*/ 174 h 421"/>
                <a:gd name="T34" fmla="*/ 382 w 399"/>
                <a:gd name="T35" fmla="*/ 181 h 421"/>
                <a:gd name="T36" fmla="*/ 371 w 399"/>
                <a:gd name="T37" fmla="*/ 178 h 421"/>
                <a:gd name="T38" fmla="*/ 373 w 399"/>
                <a:gd name="T39" fmla="*/ 186 h 421"/>
                <a:gd name="T40" fmla="*/ 362 w 399"/>
                <a:gd name="T41" fmla="*/ 193 h 421"/>
                <a:gd name="T42" fmla="*/ 347 w 399"/>
                <a:gd name="T43" fmla="*/ 209 h 421"/>
                <a:gd name="T44" fmla="*/ 345 w 399"/>
                <a:gd name="T45" fmla="*/ 230 h 421"/>
                <a:gd name="T46" fmla="*/ 353 w 399"/>
                <a:gd name="T47" fmla="*/ 242 h 421"/>
                <a:gd name="T48" fmla="*/ 362 w 399"/>
                <a:gd name="T49" fmla="*/ 249 h 421"/>
                <a:gd name="T50" fmla="*/ 359 w 399"/>
                <a:gd name="T51" fmla="*/ 267 h 421"/>
                <a:gd name="T52" fmla="*/ 352 w 399"/>
                <a:gd name="T53" fmla="*/ 280 h 421"/>
                <a:gd name="T54" fmla="*/ 351 w 399"/>
                <a:gd name="T55" fmla="*/ 294 h 421"/>
                <a:gd name="T56" fmla="*/ 357 w 399"/>
                <a:gd name="T57" fmla="*/ 308 h 421"/>
                <a:gd name="T58" fmla="*/ 348 w 399"/>
                <a:gd name="T59" fmla="*/ 321 h 421"/>
                <a:gd name="T60" fmla="*/ 342 w 399"/>
                <a:gd name="T61" fmla="*/ 330 h 421"/>
                <a:gd name="T62" fmla="*/ 351 w 399"/>
                <a:gd name="T63" fmla="*/ 343 h 421"/>
                <a:gd name="T64" fmla="*/ 342 w 399"/>
                <a:gd name="T65" fmla="*/ 356 h 421"/>
                <a:gd name="T66" fmla="*/ 320 w 399"/>
                <a:gd name="T67" fmla="*/ 363 h 421"/>
                <a:gd name="T68" fmla="*/ 312 w 399"/>
                <a:gd name="T69" fmla="*/ 375 h 421"/>
                <a:gd name="T70" fmla="*/ 286 w 399"/>
                <a:gd name="T71" fmla="*/ 376 h 421"/>
                <a:gd name="T72" fmla="*/ 268 w 399"/>
                <a:gd name="T73" fmla="*/ 372 h 421"/>
                <a:gd name="T74" fmla="*/ 255 w 399"/>
                <a:gd name="T75" fmla="*/ 376 h 421"/>
                <a:gd name="T76" fmla="*/ 244 w 399"/>
                <a:gd name="T77" fmla="*/ 379 h 421"/>
                <a:gd name="T78" fmla="*/ 230 w 399"/>
                <a:gd name="T79" fmla="*/ 389 h 421"/>
                <a:gd name="T80" fmla="*/ 208 w 399"/>
                <a:gd name="T81" fmla="*/ 404 h 421"/>
                <a:gd name="T82" fmla="*/ 194 w 399"/>
                <a:gd name="T83" fmla="*/ 415 h 421"/>
                <a:gd name="T84" fmla="*/ 176 w 399"/>
                <a:gd name="T85" fmla="*/ 413 h 421"/>
                <a:gd name="T86" fmla="*/ 162 w 399"/>
                <a:gd name="T87" fmla="*/ 418 h 421"/>
                <a:gd name="T88" fmla="*/ 152 w 399"/>
                <a:gd name="T89" fmla="*/ 418 h 421"/>
                <a:gd name="T90" fmla="*/ 135 w 399"/>
                <a:gd name="T91" fmla="*/ 404 h 421"/>
                <a:gd name="T92" fmla="*/ 124 w 399"/>
                <a:gd name="T93" fmla="*/ 396 h 421"/>
                <a:gd name="T94" fmla="*/ 135 w 399"/>
                <a:gd name="T95" fmla="*/ 379 h 421"/>
                <a:gd name="T96" fmla="*/ 144 w 399"/>
                <a:gd name="T97" fmla="*/ 362 h 421"/>
                <a:gd name="T98" fmla="*/ 154 w 399"/>
                <a:gd name="T99" fmla="*/ 352 h 421"/>
                <a:gd name="T100" fmla="*/ 145 w 399"/>
                <a:gd name="T101" fmla="*/ 339 h 421"/>
                <a:gd name="T102" fmla="*/ 135 w 399"/>
                <a:gd name="T103" fmla="*/ 335 h 421"/>
                <a:gd name="T104" fmla="*/ 109 w 399"/>
                <a:gd name="T105" fmla="*/ 337 h 421"/>
                <a:gd name="T106" fmla="*/ 90 w 399"/>
                <a:gd name="T107" fmla="*/ 330 h 421"/>
                <a:gd name="T108" fmla="*/ 79 w 399"/>
                <a:gd name="T109" fmla="*/ 306 h 421"/>
                <a:gd name="T110" fmla="*/ 70 w 399"/>
                <a:gd name="T111" fmla="*/ 295 h 421"/>
                <a:gd name="T112" fmla="*/ 47 w 399"/>
                <a:gd name="T113" fmla="*/ 293 h 421"/>
                <a:gd name="T114" fmla="*/ 22 w 399"/>
                <a:gd name="T115" fmla="*/ 293 h 421"/>
                <a:gd name="T116" fmla="*/ 8 w 399"/>
                <a:gd name="T117" fmla="*/ 282 h 421"/>
                <a:gd name="T118" fmla="*/ 3 w 399"/>
                <a:gd name="T119" fmla="*/ 277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9" h="421">
                  <a:moveTo>
                    <a:pt x="127" y="0"/>
                  </a:moveTo>
                  <a:lnTo>
                    <a:pt x="132" y="4"/>
                  </a:lnTo>
                  <a:lnTo>
                    <a:pt x="134" y="5"/>
                  </a:lnTo>
                  <a:lnTo>
                    <a:pt x="137" y="7"/>
                  </a:lnTo>
                  <a:lnTo>
                    <a:pt x="144" y="12"/>
                  </a:lnTo>
                  <a:lnTo>
                    <a:pt x="145" y="13"/>
                  </a:lnTo>
                  <a:lnTo>
                    <a:pt x="147" y="15"/>
                  </a:lnTo>
                  <a:lnTo>
                    <a:pt x="148" y="15"/>
                  </a:lnTo>
                  <a:lnTo>
                    <a:pt x="149" y="17"/>
                  </a:lnTo>
                  <a:lnTo>
                    <a:pt x="151" y="18"/>
                  </a:lnTo>
                  <a:lnTo>
                    <a:pt x="151" y="19"/>
                  </a:lnTo>
                  <a:lnTo>
                    <a:pt x="152" y="1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54" y="19"/>
                  </a:lnTo>
                  <a:lnTo>
                    <a:pt x="156" y="19"/>
                  </a:lnTo>
                  <a:lnTo>
                    <a:pt x="157" y="19"/>
                  </a:lnTo>
                  <a:lnTo>
                    <a:pt x="158" y="19"/>
                  </a:lnTo>
                  <a:lnTo>
                    <a:pt x="162" y="19"/>
                  </a:lnTo>
                  <a:lnTo>
                    <a:pt x="163" y="19"/>
                  </a:lnTo>
                  <a:lnTo>
                    <a:pt x="163" y="19"/>
                  </a:lnTo>
                  <a:lnTo>
                    <a:pt x="164" y="19"/>
                  </a:lnTo>
                  <a:lnTo>
                    <a:pt x="166" y="20"/>
                  </a:lnTo>
                  <a:lnTo>
                    <a:pt x="167" y="20"/>
                  </a:lnTo>
                  <a:lnTo>
                    <a:pt x="168" y="20"/>
                  </a:lnTo>
                  <a:lnTo>
                    <a:pt x="169" y="20"/>
                  </a:lnTo>
                  <a:lnTo>
                    <a:pt x="169" y="19"/>
                  </a:lnTo>
                  <a:lnTo>
                    <a:pt x="171" y="19"/>
                  </a:lnTo>
                  <a:lnTo>
                    <a:pt x="172" y="19"/>
                  </a:lnTo>
                  <a:lnTo>
                    <a:pt x="172" y="19"/>
                  </a:lnTo>
                  <a:lnTo>
                    <a:pt x="173" y="19"/>
                  </a:lnTo>
                  <a:lnTo>
                    <a:pt x="174" y="19"/>
                  </a:lnTo>
                  <a:lnTo>
                    <a:pt x="176" y="20"/>
                  </a:lnTo>
                  <a:lnTo>
                    <a:pt x="177" y="20"/>
                  </a:lnTo>
                  <a:lnTo>
                    <a:pt x="178" y="20"/>
                  </a:lnTo>
                  <a:lnTo>
                    <a:pt x="178" y="21"/>
                  </a:lnTo>
                  <a:lnTo>
                    <a:pt x="179" y="22"/>
                  </a:lnTo>
                  <a:lnTo>
                    <a:pt x="180" y="22"/>
                  </a:lnTo>
                  <a:lnTo>
                    <a:pt x="183" y="23"/>
                  </a:lnTo>
                  <a:lnTo>
                    <a:pt x="184" y="24"/>
                  </a:lnTo>
                  <a:lnTo>
                    <a:pt x="185" y="24"/>
                  </a:lnTo>
                  <a:lnTo>
                    <a:pt x="186" y="25"/>
                  </a:lnTo>
                  <a:lnTo>
                    <a:pt x="186" y="25"/>
                  </a:lnTo>
                  <a:lnTo>
                    <a:pt x="189" y="28"/>
                  </a:lnTo>
                  <a:lnTo>
                    <a:pt x="190" y="29"/>
                  </a:lnTo>
                  <a:lnTo>
                    <a:pt x="190" y="29"/>
                  </a:lnTo>
                  <a:lnTo>
                    <a:pt x="191" y="30"/>
                  </a:lnTo>
                  <a:lnTo>
                    <a:pt x="192" y="31"/>
                  </a:lnTo>
                  <a:lnTo>
                    <a:pt x="193" y="31"/>
                  </a:lnTo>
                  <a:lnTo>
                    <a:pt x="194" y="32"/>
                  </a:lnTo>
                  <a:lnTo>
                    <a:pt x="196" y="32"/>
                  </a:lnTo>
                  <a:lnTo>
                    <a:pt x="196" y="32"/>
                  </a:lnTo>
                  <a:lnTo>
                    <a:pt x="199" y="33"/>
                  </a:lnTo>
                  <a:lnTo>
                    <a:pt x="200" y="33"/>
                  </a:lnTo>
                  <a:lnTo>
                    <a:pt x="203" y="34"/>
                  </a:lnTo>
                  <a:lnTo>
                    <a:pt x="204" y="34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5" y="36"/>
                  </a:lnTo>
                  <a:lnTo>
                    <a:pt x="206" y="36"/>
                  </a:lnTo>
                  <a:lnTo>
                    <a:pt x="206" y="37"/>
                  </a:lnTo>
                  <a:lnTo>
                    <a:pt x="206" y="37"/>
                  </a:lnTo>
                  <a:lnTo>
                    <a:pt x="206" y="39"/>
                  </a:lnTo>
                  <a:lnTo>
                    <a:pt x="207" y="41"/>
                  </a:lnTo>
                  <a:lnTo>
                    <a:pt x="207" y="41"/>
                  </a:lnTo>
                  <a:lnTo>
                    <a:pt x="207" y="42"/>
                  </a:lnTo>
                  <a:lnTo>
                    <a:pt x="208" y="42"/>
                  </a:lnTo>
                  <a:lnTo>
                    <a:pt x="208" y="43"/>
                  </a:lnTo>
                  <a:lnTo>
                    <a:pt x="209" y="43"/>
                  </a:lnTo>
                  <a:lnTo>
                    <a:pt x="210" y="43"/>
                  </a:lnTo>
                  <a:lnTo>
                    <a:pt x="210" y="43"/>
                  </a:lnTo>
                  <a:lnTo>
                    <a:pt x="212" y="44"/>
                  </a:lnTo>
                  <a:lnTo>
                    <a:pt x="213" y="44"/>
                  </a:lnTo>
                  <a:lnTo>
                    <a:pt x="215" y="44"/>
                  </a:lnTo>
                  <a:lnTo>
                    <a:pt x="216" y="45"/>
                  </a:lnTo>
                  <a:lnTo>
                    <a:pt x="217" y="46"/>
                  </a:lnTo>
                  <a:lnTo>
                    <a:pt x="219" y="46"/>
                  </a:lnTo>
                  <a:lnTo>
                    <a:pt x="220" y="47"/>
                  </a:lnTo>
                  <a:lnTo>
                    <a:pt x="222" y="48"/>
                  </a:lnTo>
                  <a:lnTo>
                    <a:pt x="223" y="49"/>
                  </a:lnTo>
                  <a:lnTo>
                    <a:pt x="224" y="49"/>
                  </a:lnTo>
                  <a:lnTo>
                    <a:pt x="225" y="50"/>
                  </a:lnTo>
                  <a:lnTo>
                    <a:pt x="226" y="50"/>
                  </a:lnTo>
                  <a:lnTo>
                    <a:pt x="228" y="51"/>
                  </a:lnTo>
                  <a:lnTo>
                    <a:pt x="228" y="51"/>
                  </a:lnTo>
                  <a:lnTo>
                    <a:pt x="230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2" y="53"/>
                  </a:lnTo>
                  <a:lnTo>
                    <a:pt x="232" y="53"/>
                  </a:lnTo>
                  <a:lnTo>
                    <a:pt x="232" y="54"/>
                  </a:lnTo>
                  <a:lnTo>
                    <a:pt x="232" y="55"/>
                  </a:lnTo>
                  <a:lnTo>
                    <a:pt x="232" y="55"/>
                  </a:lnTo>
                  <a:lnTo>
                    <a:pt x="231" y="58"/>
                  </a:lnTo>
                  <a:lnTo>
                    <a:pt x="231" y="59"/>
                  </a:lnTo>
                  <a:lnTo>
                    <a:pt x="230" y="60"/>
                  </a:lnTo>
                  <a:lnTo>
                    <a:pt x="230" y="61"/>
                  </a:lnTo>
                  <a:lnTo>
                    <a:pt x="231" y="62"/>
                  </a:lnTo>
                  <a:lnTo>
                    <a:pt x="231" y="63"/>
                  </a:lnTo>
                  <a:lnTo>
                    <a:pt x="231" y="64"/>
                  </a:lnTo>
                  <a:lnTo>
                    <a:pt x="232" y="65"/>
                  </a:lnTo>
                  <a:lnTo>
                    <a:pt x="233" y="66"/>
                  </a:lnTo>
                  <a:lnTo>
                    <a:pt x="234" y="67"/>
                  </a:lnTo>
                  <a:lnTo>
                    <a:pt x="235" y="67"/>
                  </a:lnTo>
                  <a:lnTo>
                    <a:pt x="235" y="68"/>
                  </a:lnTo>
                  <a:lnTo>
                    <a:pt x="237" y="69"/>
                  </a:lnTo>
                  <a:lnTo>
                    <a:pt x="243" y="72"/>
                  </a:lnTo>
                  <a:lnTo>
                    <a:pt x="246" y="73"/>
                  </a:lnTo>
                  <a:lnTo>
                    <a:pt x="248" y="74"/>
                  </a:lnTo>
                  <a:lnTo>
                    <a:pt x="249" y="74"/>
                  </a:lnTo>
                  <a:lnTo>
                    <a:pt x="249" y="75"/>
                  </a:lnTo>
                  <a:lnTo>
                    <a:pt x="250" y="75"/>
                  </a:lnTo>
                  <a:lnTo>
                    <a:pt x="251" y="75"/>
                  </a:lnTo>
                  <a:lnTo>
                    <a:pt x="252" y="75"/>
                  </a:lnTo>
                  <a:lnTo>
                    <a:pt x="254" y="75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7" y="75"/>
                  </a:lnTo>
                  <a:lnTo>
                    <a:pt x="258" y="74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3"/>
                  </a:lnTo>
                  <a:lnTo>
                    <a:pt x="260" y="73"/>
                  </a:lnTo>
                  <a:lnTo>
                    <a:pt x="261" y="70"/>
                  </a:lnTo>
                  <a:lnTo>
                    <a:pt x="263" y="68"/>
                  </a:lnTo>
                  <a:lnTo>
                    <a:pt x="264" y="67"/>
                  </a:lnTo>
                  <a:lnTo>
                    <a:pt x="264" y="67"/>
                  </a:lnTo>
                  <a:lnTo>
                    <a:pt x="264" y="66"/>
                  </a:lnTo>
                  <a:lnTo>
                    <a:pt x="265" y="63"/>
                  </a:lnTo>
                  <a:lnTo>
                    <a:pt x="266" y="61"/>
                  </a:lnTo>
                  <a:lnTo>
                    <a:pt x="267" y="59"/>
                  </a:lnTo>
                  <a:lnTo>
                    <a:pt x="268" y="58"/>
                  </a:lnTo>
                  <a:lnTo>
                    <a:pt x="269" y="57"/>
                  </a:lnTo>
                  <a:lnTo>
                    <a:pt x="270" y="56"/>
                  </a:lnTo>
                  <a:lnTo>
                    <a:pt x="271" y="55"/>
                  </a:lnTo>
                  <a:lnTo>
                    <a:pt x="272" y="54"/>
                  </a:lnTo>
                  <a:lnTo>
                    <a:pt x="273" y="54"/>
                  </a:lnTo>
                  <a:lnTo>
                    <a:pt x="273" y="54"/>
                  </a:lnTo>
                  <a:lnTo>
                    <a:pt x="274" y="54"/>
                  </a:lnTo>
                  <a:lnTo>
                    <a:pt x="274" y="54"/>
                  </a:lnTo>
                  <a:lnTo>
                    <a:pt x="275" y="54"/>
                  </a:lnTo>
                  <a:lnTo>
                    <a:pt x="275" y="55"/>
                  </a:lnTo>
                  <a:lnTo>
                    <a:pt x="276" y="56"/>
                  </a:lnTo>
                  <a:lnTo>
                    <a:pt x="277" y="57"/>
                  </a:lnTo>
                  <a:lnTo>
                    <a:pt x="278" y="58"/>
                  </a:lnTo>
                  <a:lnTo>
                    <a:pt x="279" y="59"/>
                  </a:lnTo>
                  <a:lnTo>
                    <a:pt x="279" y="59"/>
                  </a:lnTo>
                  <a:lnTo>
                    <a:pt x="280" y="60"/>
                  </a:lnTo>
                  <a:lnTo>
                    <a:pt x="281" y="60"/>
                  </a:lnTo>
                  <a:lnTo>
                    <a:pt x="282" y="61"/>
                  </a:lnTo>
                  <a:lnTo>
                    <a:pt x="283" y="61"/>
                  </a:lnTo>
                  <a:lnTo>
                    <a:pt x="284" y="62"/>
                  </a:lnTo>
                  <a:lnTo>
                    <a:pt x="285" y="62"/>
                  </a:lnTo>
                  <a:lnTo>
                    <a:pt x="287" y="63"/>
                  </a:lnTo>
                  <a:lnTo>
                    <a:pt x="290" y="63"/>
                  </a:lnTo>
                  <a:lnTo>
                    <a:pt x="292" y="63"/>
                  </a:lnTo>
                  <a:lnTo>
                    <a:pt x="293" y="64"/>
                  </a:lnTo>
                  <a:lnTo>
                    <a:pt x="294" y="64"/>
                  </a:lnTo>
                  <a:lnTo>
                    <a:pt x="294" y="65"/>
                  </a:lnTo>
                  <a:lnTo>
                    <a:pt x="295" y="65"/>
                  </a:lnTo>
                  <a:lnTo>
                    <a:pt x="296" y="66"/>
                  </a:lnTo>
                  <a:lnTo>
                    <a:pt x="297" y="66"/>
                  </a:lnTo>
                  <a:lnTo>
                    <a:pt x="298" y="68"/>
                  </a:lnTo>
                  <a:lnTo>
                    <a:pt x="299" y="69"/>
                  </a:lnTo>
                  <a:lnTo>
                    <a:pt x="301" y="71"/>
                  </a:lnTo>
                  <a:lnTo>
                    <a:pt x="303" y="73"/>
                  </a:lnTo>
                  <a:lnTo>
                    <a:pt x="304" y="73"/>
                  </a:lnTo>
                  <a:lnTo>
                    <a:pt x="304" y="74"/>
                  </a:lnTo>
                  <a:lnTo>
                    <a:pt x="305" y="74"/>
                  </a:lnTo>
                  <a:lnTo>
                    <a:pt x="305" y="74"/>
                  </a:lnTo>
                  <a:lnTo>
                    <a:pt x="306" y="74"/>
                  </a:lnTo>
                  <a:lnTo>
                    <a:pt x="306" y="75"/>
                  </a:lnTo>
                  <a:lnTo>
                    <a:pt x="307" y="75"/>
                  </a:lnTo>
                  <a:lnTo>
                    <a:pt x="309" y="75"/>
                  </a:lnTo>
                  <a:lnTo>
                    <a:pt x="313" y="75"/>
                  </a:lnTo>
                  <a:lnTo>
                    <a:pt x="314" y="75"/>
                  </a:lnTo>
                  <a:lnTo>
                    <a:pt x="315" y="75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9" y="77"/>
                  </a:lnTo>
                  <a:lnTo>
                    <a:pt x="320" y="77"/>
                  </a:lnTo>
                  <a:lnTo>
                    <a:pt x="324" y="78"/>
                  </a:lnTo>
                  <a:lnTo>
                    <a:pt x="328" y="79"/>
                  </a:lnTo>
                  <a:lnTo>
                    <a:pt x="331" y="80"/>
                  </a:lnTo>
                  <a:lnTo>
                    <a:pt x="332" y="81"/>
                  </a:lnTo>
                  <a:lnTo>
                    <a:pt x="332" y="81"/>
                  </a:lnTo>
                  <a:lnTo>
                    <a:pt x="337" y="83"/>
                  </a:lnTo>
                  <a:lnTo>
                    <a:pt x="341" y="85"/>
                  </a:lnTo>
                  <a:lnTo>
                    <a:pt x="342" y="86"/>
                  </a:lnTo>
                  <a:lnTo>
                    <a:pt x="343" y="87"/>
                  </a:lnTo>
                  <a:lnTo>
                    <a:pt x="345" y="87"/>
                  </a:lnTo>
                  <a:lnTo>
                    <a:pt x="346" y="88"/>
                  </a:lnTo>
                  <a:lnTo>
                    <a:pt x="347" y="89"/>
                  </a:lnTo>
                  <a:lnTo>
                    <a:pt x="349" y="91"/>
                  </a:lnTo>
                  <a:lnTo>
                    <a:pt x="352" y="95"/>
                  </a:lnTo>
                  <a:lnTo>
                    <a:pt x="354" y="96"/>
                  </a:lnTo>
                  <a:lnTo>
                    <a:pt x="355" y="97"/>
                  </a:lnTo>
                  <a:lnTo>
                    <a:pt x="356" y="99"/>
                  </a:lnTo>
                  <a:lnTo>
                    <a:pt x="357" y="100"/>
                  </a:lnTo>
                  <a:lnTo>
                    <a:pt x="358" y="102"/>
                  </a:lnTo>
                  <a:lnTo>
                    <a:pt x="360" y="103"/>
                  </a:lnTo>
                  <a:lnTo>
                    <a:pt x="361" y="104"/>
                  </a:lnTo>
                  <a:lnTo>
                    <a:pt x="361" y="104"/>
                  </a:lnTo>
                  <a:lnTo>
                    <a:pt x="362" y="104"/>
                  </a:lnTo>
                  <a:lnTo>
                    <a:pt x="363" y="105"/>
                  </a:lnTo>
                  <a:lnTo>
                    <a:pt x="365" y="105"/>
                  </a:lnTo>
                  <a:lnTo>
                    <a:pt x="366" y="105"/>
                  </a:lnTo>
                  <a:lnTo>
                    <a:pt x="370" y="107"/>
                  </a:lnTo>
                  <a:lnTo>
                    <a:pt x="374" y="108"/>
                  </a:lnTo>
                  <a:lnTo>
                    <a:pt x="375" y="108"/>
                  </a:lnTo>
                  <a:lnTo>
                    <a:pt x="377" y="109"/>
                  </a:lnTo>
                  <a:lnTo>
                    <a:pt x="378" y="110"/>
                  </a:lnTo>
                  <a:lnTo>
                    <a:pt x="381" y="112"/>
                  </a:lnTo>
                  <a:lnTo>
                    <a:pt x="384" y="114"/>
                  </a:lnTo>
                  <a:lnTo>
                    <a:pt x="385" y="114"/>
                  </a:lnTo>
                  <a:lnTo>
                    <a:pt x="386" y="115"/>
                  </a:lnTo>
                  <a:lnTo>
                    <a:pt x="387" y="116"/>
                  </a:lnTo>
                  <a:lnTo>
                    <a:pt x="388" y="117"/>
                  </a:lnTo>
                  <a:lnTo>
                    <a:pt x="392" y="123"/>
                  </a:lnTo>
                  <a:lnTo>
                    <a:pt x="392" y="123"/>
                  </a:lnTo>
                  <a:lnTo>
                    <a:pt x="392" y="124"/>
                  </a:lnTo>
                  <a:lnTo>
                    <a:pt x="392" y="125"/>
                  </a:lnTo>
                  <a:lnTo>
                    <a:pt x="392" y="127"/>
                  </a:lnTo>
                  <a:lnTo>
                    <a:pt x="391" y="128"/>
                  </a:lnTo>
                  <a:lnTo>
                    <a:pt x="391" y="130"/>
                  </a:lnTo>
                  <a:lnTo>
                    <a:pt x="389" y="134"/>
                  </a:lnTo>
                  <a:lnTo>
                    <a:pt x="389" y="135"/>
                  </a:lnTo>
                  <a:lnTo>
                    <a:pt x="389" y="136"/>
                  </a:lnTo>
                  <a:lnTo>
                    <a:pt x="389" y="136"/>
                  </a:lnTo>
                  <a:lnTo>
                    <a:pt x="389" y="137"/>
                  </a:lnTo>
                  <a:lnTo>
                    <a:pt x="389" y="137"/>
                  </a:lnTo>
                  <a:lnTo>
                    <a:pt x="389" y="138"/>
                  </a:lnTo>
                  <a:lnTo>
                    <a:pt x="390" y="139"/>
                  </a:lnTo>
                  <a:lnTo>
                    <a:pt x="390" y="140"/>
                  </a:lnTo>
                  <a:lnTo>
                    <a:pt x="391" y="140"/>
                  </a:lnTo>
                  <a:lnTo>
                    <a:pt x="392" y="141"/>
                  </a:lnTo>
                  <a:lnTo>
                    <a:pt x="392" y="141"/>
                  </a:lnTo>
                  <a:lnTo>
                    <a:pt x="395" y="143"/>
                  </a:lnTo>
                  <a:lnTo>
                    <a:pt x="396" y="143"/>
                  </a:lnTo>
                  <a:lnTo>
                    <a:pt x="396" y="144"/>
                  </a:lnTo>
                  <a:lnTo>
                    <a:pt x="397" y="145"/>
                  </a:lnTo>
                  <a:lnTo>
                    <a:pt x="397" y="145"/>
                  </a:lnTo>
                  <a:lnTo>
                    <a:pt x="398" y="146"/>
                  </a:lnTo>
                  <a:lnTo>
                    <a:pt x="398" y="146"/>
                  </a:lnTo>
                  <a:lnTo>
                    <a:pt x="398" y="147"/>
                  </a:lnTo>
                  <a:lnTo>
                    <a:pt x="398" y="147"/>
                  </a:lnTo>
                  <a:lnTo>
                    <a:pt x="399" y="148"/>
                  </a:lnTo>
                  <a:lnTo>
                    <a:pt x="399" y="149"/>
                  </a:lnTo>
                  <a:lnTo>
                    <a:pt x="399" y="150"/>
                  </a:lnTo>
                  <a:lnTo>
                    <a:pt x="398" y="150"/>
                  </a:lnTo>
                  <a:lnTo>
                    <a:pt x="398" y="151"/>
                  </a:lnTo>
                  <a:lnTo>
                    <a:pt x="398" y="152"/>
                  </a:lnTo>
                  <a:lnTo>
                    <a:pt x="397" y="153"/>
                  </a:lnTo>
                  <a:lnTo>
                    <a:pt x="397" y="154"/>
                  </a:lnTo>
                  <a:lnTo>
                    <a:pt x="396" y="156"/>
                  </a:lnTo>
                  <a:lnTo>
                    <a:pt x="395" y="157"/>
                  </a:lnTo>
                  <a:lnTo>
                    <a:pt x="394" y="158"/>
                  </a:lnTo>
                  <a:lnTo>
                    <a:pt x="393" y="160"/>
                  </a:lnTo>
                  <a:lnTo>
                    <a:pt x="392" y="160"/>
                  </a:lnTo>
                  <a:lnTo>
                    <a:pt x="391" y="161"/>
                  </a:lnTo>
                  <a:lnTo>
                    <a:pt x="390" y="161"/>
                  </a:lnTo>
                  <a:lnTo>
                    <a:pt x="389" y="162"/>
                  </a:lnTo>
                  <a:lnTo>
                    <a:pt x="388" y="162"/>
                  </a:lnTo>
                  <a:lnTo>
                    <a:pt x="388" y="162"/>
                  </a:lnTo>
                  <a:lnTo>
                    <a:pt x="387" y="162"/>
                  </a:lnTo>
                  <a:lnTo>
                    <a:pt x="385" y="162"/>
                  </a:lnTo>
                  <a:lnTo>
                    <a:pt x="385" y="162"/>
                  </a:lnTo>
                  <a:lnTo>
                    <a:pt x="385" y="162"/>
                  </a:lnTo>
                  <a:lnTo>
                    <a:pt x="384" y="162"/>
                  </a:lnTo>
                  <a:lnTo>
                    <a:pt x="384" y="162"/>
                  </a:lnTo>
                  <a:lnTo>
                    <a:pt x="384" y="162"/>
                  </a:lnTo>
                  <a:lnTo>
                    <a:pt x="384" y="163"/>
                  </a:lnTo>
                  <a:lnTo>
                    <a:pt x="384" y="163"/>
                  </a:lnTo>
                  <a:lnTo>
                    <a:pt x="385" y="164"/>
                  </a:lnTo>
                  <a:lnTo>
                    <a:pt x="385" y="165"/>
                  </a:lnTo>
                  <a:lnTo>
                    <a:pt x="385" y="165"/>
                  </a:lnTo>
                  <a:lnTo>
                    <a:pt x="386" y="166"/>
                  </a:lnTo>
                  <a:lnTo>
                    <a:pt x="386" y="167"/>
                  </a:lnTo>
                  <a:lnTo>
                    <a:pt x="388" y="168"/>
                  </a:lnTo>
                  <a:lnTo>
                    <a:pt x="388" y="169"/>
                  </a:lnTo>
                  <a:lnTo>
                    <a:pt x="389" y="170"/>
                  </a:lnTo>
                  <a:lnTo>
                    <a:pt x="390" y="171"/>
                  </a:lnTo>
                  <a:lnTo>
                    <a:pt x="390" y="172"/>
                  </a:lnTo>
                  <a:lnTo>
                    <a:pt x="390" y="173"/>
                  </a:lnTo>
                  <a:lnTo>
                    <a:pt x="390" y="173"/>
                  </a:lnTo>
                  <a:lnTo>
                    <a:pt x="390" y="174"/>
                  </a:lnTo>
                  <a:lnTo>
                    <a:pt x="390" y="174"/>
                  </a:lnTo>
                  <a:lnTo>
                    <a:pt x="390" y="175"/>
                  </a:lnTo>
                  <a:lnTo>
                    <a:pt x="390" y="176"/>
                  </a:lnTo>
                  <a:lnTo>
                    <a:pt x="389" y="177"/>
                  </a:lnTo>
                  <a:lnTo>
                    <a:pt x="389" y="179"/>
                  </a:lnTo>
                  <a:lnTo>
                    <a:pt x="388" y="180"/>
                  </a:lnTo>
                  <a:lnTo>
                    <a:pt x="388" y="181"/>
                  </a:lnTo>
                  <a:lnTo>
                    <a:pt x="388" y="181"/>
                  </a:lnTo>
                  <a:lnTo>
                    <a:pt x="387" y="181"/>
                  </a:lnTo>
                  <a:lnTo>
                    <a:pt x="386" y="182"/>
                  </a:lnTo>
                  <a:lnTo>
                    <a:pt x="386" y="182"/>
                  </a:lnTo>
                  <a:lnTo>
                    <a:pt x="385" y="182"/>
                  </a:lnTo>
                  <a:lnTo>
                    <a:pt x="385" y="182"/>
                  </a:lnTo>
                  <a:lnTo>
                    <a:pt x="384" y="182"/>
                  </a:lnTo>
                  <a:lnTo>
                    <a:pt x="383" y="182"/>
                  </a:lnTo>
                  <a:lnTo>
                    <a:pt x="383" y="182"/>
                  </a:lnTo>
                  <a:lnTo>
                    <a:pt x="382" y="181"/>
                  </a:lnTo>
                  <a:lnTo>
                    <a:pt x="382" y="181"/>
                  </a:lnTo>
                  <a:lnTo>
                    <a:pt x="381" y="180"/>
                  </a:lnTo>
                  <a:lnTo>
                    <a:pt x="381" y="180"/>
                  </a:lnTo>
                  <a:lnTo>
                    <a:pt x="381" y="179"/>
                  </a:lnTo>
                  <a:lnTo>
                    <a:pt x="380" y="178"/>
                  </a:lnTo>
                  <a:lnTo>
                    <a:pt x="380" y="177"/>
                  </a:lnTo>
                  <a:lnTo>
                    <a:pt x="379" y="177"/>
                  </a:lnTo>
                  <a:lnTo>
                    <a:pt x="379" y="176"/>
                  </a:lnTo>
                  <a:lnTo>
                    <a:pt x="378" y="176"/>
                  </a:lnTo>
                  <a:lnTo>
                    <a:pt x="378" y="176"/>
                  </a:lnTo>
                  <a:lnTo>
                    <a:pt x="377" y="176"/>
                  </a:lnTo>
                  <a:lnTo>
                    <a:pt x="376" y="176"/>
                  </a:lnTo>
                  <a:lnTo>
                    <a:pt x="375" y="176"/>
                  </a:lnTo>
                  <a:lnTo>
                    <a:pt x="375" y="176"/>
                  </a:lnTo>
                  <a:lnTo>
                    <a:pt x="374" y="176"/>
                  </a:lnTo>
                  <a:lnTo>
                    <a:pt x="373" y="176"/>
                  </a:lnTo>
                  <a:lnTo>
                    <a:pt x="372" y="177"/>
                  </a:lnTo>
                  <a:lnTo>
                    <a:pt x="371" y="178"/>
                  </a:lnTo>
                  <a:lnTo>
                    <a:pt x="370" y="178"/>
                  </a:lnTo>
                  <a:lnTo>
                    <a:pt x="370" y="179"/>
                  </a:lnTo>
                  <a:lnTo>
                    <a:pt x="368" y="180"/>
                  </a:lnTo>
                  <a:lnTo>
                    <a:pt x="367" y="181"/>
                  </a:lnTo>
                  <a:lnTo>
                    <a:pt x="367" y="182"/>
                  </a:lnTo>
                  <a:lnTo>
                    <a:pt x="366" y="182"/>
                  </a:lnTo>
                  <a:lnTo>
                    <a:pt x="366" y="183"/>
                  </a:lnTo>
                  <a:lnTo>
                    <a:pt x="366" y="183"/>
                  </a:lnTo>
                  <a:lnTo>
                    <a:pt x="366" y="183"/>
                  </a:lnTo>
                  <a:lnTo>
                    <a:pt x="367" y="184"/>
                  </a:lnTo>
                  <a:lnTo>
                    <a:pt x="367" y="184"/>
                  </a:lnTo>
                  <a:lnTo>
                    <a:pt x="368" y="184"/>
                  </a:lnTo>
                  <a:lnTo>
                    <a:pt x="370" y="185"/>
                  </a:lnTo>
                  <a:lnTo>
                    <a:pt x="371" y="185"/>
                  </a:lnTo>
                  <a:lnTo>
                    <a:pt x="372" y="185"/>
                  </a:lnTo>
                  <a:lnTo>
                    <a:pt x="372" y="186"/>
                  </a:lnTo>
                  <a:lnTo>
                    <a:pt x="373" y="186"/>
                  </a:lnTo>
                  <a:lnTo>
                    <a:pt x="373" y="186"/>
                  </a:lnTo>
                  <a:lnTo>
                    <a:pt x="374" y="187"/>
                  </a:lnTo>
                  <a:lnTo>
                    <a:pt x="374" y="187"/>
                  </a:lnTo>
                  <a:lnTo>
                    <a:pt x="374" y="188"/>
                  </a:lnTo>
                  <a:lnTo>
                    <a:pt x="374" y="188"/>
                  </a:lnTo>
                  <a:lnTo>
                    <a:pt x="374" y="189"/>
                  </a:lnTo>
                  <a:lnTo>
                    <a:pt x="374" y="189"/>
                  </a:lnTo>
                  <a:lnTo>
                    <a:pt x="374" y="190"/>
                  </a:lnTo>
                  <a:lnTo>
                    <a:pt x="373" y="190"/>
                  </a:lnTo>
                  <a:lnTo>
                    <a:pt x="373" y="191"/>
                  </a:lnTo>
                  <a:lnTo>
                    <a:pt x="372" y="191"/>
                  </a:lnTo>
                  <a:lnTo>
                    <a:pt x="371" y="192"/>
                  </a:lnTo>
                  <a:lnTo>
                    <a:pt x="370" y="192"/>
                  </a:lnTo>
                  <a:lnTo>
                    <a:pt x="369" y="192"/>
                  </a:lnTo>
                  <a:lnTo>
                    <a:pt x="367" y="193"/>
                  </a:lnTo>
                  <a:lnTo>
                    <a:pt x="365" y="193"/>
                  </a:lnTo>
                  <a:lnTo>
                    <a:pt x="362" y="193"/>
                  </a:lnTo>
                  <a:lnTo>
                    <a:pt x="361" y="194"/>
                  </a:lnTo>
                  <a:lnTo>
                    <a:pt x="360" y="194"/>
                  </a:lnTo>
                  <a:lnTo>
                    <a:pt x="359" y="194"/>
                  </a:lnTo>
                  <a:lnTo>
                    <a:pt x="357" y="195"/>
                  </a:lnTo>
                  <a:lnTo>
                    <a:pt x="357" y="195"/>
                  </a:lnTo>
                  <a:lnTo>
                    <a:pt x="356" y="196"/>
                  </a:lnTo>
                  <a:lnTo>
                    <a:pt x="356" y="196"/>
                  </a:lnTo>
                  <a:lnTo>
                    <a:pt x="355" y="197"/>
                  </a:lnTo>
                  <a:lnTo>
                    <a:pt x="355" y="198"/>
                  </a:lnTo>
                  <a:lnTo>
                    <a:pt x="354" y="199"/>
                  </a:lnTo>
                  <a:lnTo>
                    <a:pt x="353" y="200"/>
                  </a:lnTo>
                  <a:lnTo>
                    <a:pt x="352" y="203"/>
                  </a:lnTo>
                  <a:lnTo>
                    <a:pt x="351" y="204"/>
                  </a:lnTo>
                  <a:lnTo>
                    <a:pt x="351" y="204"/>
                  </a:lnTo>
                  <a:lnTo>
                    <a:pt x="349" y="207"/>
                  </a:lnTo>
                  <a:lnTo>
                    <a:pt x="348" y="208"/>
                  </a:lnTo>
                  <a:lnTo>
                    <a:pt x="347" y="209"/>
                  </a:lnTo>
                  <a:lnTo>
                    <a:pt x="346" y="210"/>
                  </a:lnTo>
                  <a:lnTo>
                    <a:pt x="346" y="211"/>
                  </a:lnTo>
                  <a:lnTo>
                    <a:pt x="346" y="212"/>
                  </a:lnTo>
                  <a:lnTo>
                    <a:pt x="346" y="213"/>
                  </a:lnTo>
                  <a:lnTo>
                    <a:pt x="346" y="216"/>
                  </a:lnTo>
                  <a:lnTo>
                    <a:pt x="345" y="218"/>
                  </a:lnTo>
                  <a:lnTo>
                    <a:pt x="345" y="220"/>
                  </a:lnTo>
                  <a:lnTo>
                    <a:pt x="345" y="222"/>
                  </a:lnTo>
                  <a:lnTo>
                    <a:pt x="344" y="225"/>
                  </a:lnTo>
                  <a:lnTo>
                    <a:pt x="344" y="226"/>
                  </a:lnTo>
                  <a:lnTo>
                    <a:pt x="344" y="227"/>
                  </a:lnTo>
                  <a:lnTo>
                    <a:pt x="344" y="228"/>
                  </a:lnTo>
                  <a:lnTo>
                    <a:pt x="344" y="228"/>
                  </a:lnTo>
                  <a:lnTo>
                    <a:pt x="344" y="229"/>
                  </a:lnTo>
                  <a:lnTo>
                    <a:pt x="344" y="229"/>
                  </a:lnTo>
                  <a:lnTo>
                    <a:pt x="345" y="230"/>
                  </a:lnTo>
                  <a:lnTo>
                    <a:pt x="345" y="230"/>
                  </a:lnTo>
                  <a:lnTo>
                    <a:pt x="346" y="231"/>
                  </a:lnTo>
                  <a:lnTo>
                    <a:pt x="349" y="233"/>
                  </a:lnTo>
                  <a:lnTo>
                    <a:pt x="354" y="237"/>
                  </a:lnTo>
                  <a:lnTo>
                    <a:pt x="354" y="237"/>
                  </a:lnTo>
                  <a:lnTo>
                    <a:pt x="355" y="237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4" y="239"/>
                  </a:lnTo>
                  <a:lnTo>
                    <a:pt x="353" y="239"/>
                  </a:lnTo>
                  <a:lnTo>
                    <a:pt x="353" y="240"/>
                  </a:lnTo>
                  <a:lnTo>
                    <a:pt x="353" y="240"/>
                  </a:lnTo>
                  <a:lnTo>
                    <a:pt x="352" y="240"/>
                  </a:lnTo>
                  <a:lnTo>
                    <a:pt x="352" y="241"/>
                  </a:lnTo>
                  <a:lnTo>
                    <a:pt x="352" y="241"/>
                  </a:lnTo>
                  <a:lnTo>
                    <a:pt x="352" y="241"/>
                  </a:lnTo>
                  <a:lnTo>
                    <a:pt x="353" y="242"/>
                  </a:lnTo>
                  <a:lnTo>
                    <a:pt x="353" y="242"/>
                  </a:lnTo>
                  <a:lnTo>
                    <a:pt x="354" y="243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6" y="244"/>
                  </a:lnTo>
                  <a:lnTo>
                    <a:pt x="357" y="244"/>
                  </a:lnTo>
                  <a:lnTo>
                    <a:pt x="360" y="245"/>
                  </a:lnTo>
                  <a:lnTo>
                    <a:pt x="361" y="245"/>
                  </a:lnTo>
                  <a:lnTo>
                    <a:pt x="361" y="245"/>
                  </a:lnTo>
                  <a:lnTo>
                    <a:pt x="361" y="246"/>
                  </a:lnTo>
                  <a:lnTo>
                    <a:pt x="362" y="246"/>
                  </a:lnTo>
                  <a:lnTo>
                    <a:pt x="362" y="246"/>
                  </a:lnTo>
                  <a:lnTo>
                    <a:pt x="362" y="247"/>
                  </a:lnTo>
                  <a:lnTo>
                    <a:pt x="362" y="248"/>
                  </a:lnTo>
                  <a:lnTo>
                    <a:pt x="362" y="248"/>
                  </a:lnTo>
                  <a:lnTo>
                    <a:pt x="362" y="249"/>
                  </a:lnTo>
                  <a:lnTo>
                    <a:pt x="362" y="249"/>
                  </a:lnTo>
                  <a:lnTo>
                    <a:pt x="362" y="250"/>
                  </a:lnTo>
                  <a:lnTo>
                    <a:pt x="361" y="251"/>
                  </a:lnTo>
                  <a:lnTo>
                    <a:pt x="361" y="252"/>
                  </a:lnTo>
                  <a:lnTo>
                    <a:pt x="360" y="254"/>
                  </a:lnTo>
                  <a:lnTo>
                    <a:pt x="357" y="257"/>
                  </a:lnTo>
                  <a:lnTo>
                    <a:pt x="357" y="258"/>
                  </a:lnTo>
                  <a:lnTo>
                    <a:pt x="356" y="258"/>
                  </a:lnTo>
                  <a:lnTo>
                    <a:pt x="356" y="259"/>
                  </a:lnTo>
                  <a:lnTo>
                    <a:pt x="356" y="260"/>
                  </a:lnTo>
                  <a:lnTo>
                    <a:pt x="356" y="261"/>
                  </a:lnTo>
                  <a:lnTo>
                    <a:pt x="356" y="262"/>
                  </a:lnTo>
                  <a:lnTo>
                    <a:pt x="356" y="262"/>
                  </a:lnTo>
                  <a:lnTo>
                    <a:pt x="356" y="263"/>
                  </a:lnTo>
                  <a:lnTo>
                    <a:pt x="356" y="264"/>
                  </a:lnTo>
                  <a:lnTo>
                    <a:pt x="357" y="265"/>
                  </a:lnTo>
                  <a:lnTo>
                    <a:pt x="357" y="265"/>
                  </a:lnTo>
                  <a:lnTo>
                    <a:pt x="359" y="267"/>
                  </a:lnTo>
                  <a:lnTo>
                    <a:pt x="360" y="268"/>
                  </a:lnTo>
                  <a:lnTo>
                    <a:pt x="360" y="269"/>
                  </a:lnTo>
                  <a:lnTo>
                    <a:pt x="360" y="270"/>
                  </a:lnTo>
                  <a:lnTo>
                    <a:pt x="361" y="270"/>
                  </a:lnTo>
                  <a:lnTo>
                    <a:pt x="361" y="271"/>
                  </a:lnTo>
                  <a:lnTo>
                    <a:pt x="361" y="271"/>
                  </a:lnTo>
                  <a:lnTo>
                    <a:pt x="361" y="272"/>
                  </a:lnTo>
                  <a:lnTo>
                    <a:pt x="360" y="272"/>
                  </a:lnTo>
                  <a:lnTo>
                    <a:pt x="360" y="273"/>
                  </a:lnTo>
                  <a:lnTo>
                    <a:pt x="360" y="273"/>
                  </a:lnTo>
                  <a:lnTo>
                    <a:pt x="359" y="274"/>
                  </a:lnTo>
                  <a:lnTo>
                    <a:pt x="358" y="274"/>
                  </a:lnTo>
                  <a:lnTo>
                    <a:pt x="356" y="276"/>
                  </a:lnTo>
                  <a:lnTo>
                    <a:pt x="355" y="277"/>
                  </a:lnTo>
                  <a:lnTo>
                    <a:pt x="354" y="277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1" y="281"/>
                  </a:lnTo>
                  <a:lnTo>
                    <a:pt x="351" y="282"/>
                  </a:lnTo>
                  <a:lnTo>
                    <a:pt x="351" y="283"/>
                  </a:lnTo>
                  <a:lnTo>
                    <a:pt x="350" y="284"/>
                  </a:lnTo>
                  <a:lnTo>
                    <a:pt x="350" y="285"/>
                  </a:lnTo>
                  <a:lnTo>
                    <a:pt x="349" y="286"/>
                  </a:lnTo>
                  <a:lnTo>
                    <a:pt x="349" y="287"/>
                  </a:lnTo>
                  <a:lnTo>
                    <a:pt x="349" y="288"/>
                  </a:lnTo>
                  <a:lnTo>
                    <a:pt x="349" y="289"/>
                  </a:lnTo>
                  <a:lnTo>
                    <a:pt x="349" y="290"/>
                  </a:lnTo>
                  <a:lnTo>
                    <a:pt x="349" y="291"/>
                  </a:lnTo>
                  <a:lnTo>
                    <a:pt x="349" y="291"/>
                  </a:lnTo>
                  <a:lnTo>
                    <a:pt x="349" y="292"/>
                  </a:lnTo>
                  <a:lnTo>
                    <a:pt x="349" y="292"/>
                  </a:lnTo>
                  <a:lnTo>
                    <a:pt x="350" y="293"/>
                  </a:lnTo>
                  <a:lnTo>
                    <a:pt x="350" y="293"/>
                  </a:lnTo>
                  <a:lnTo>
                    <a:pt x="351" y="294"/>
                  </a:lnTo>
                  <a:lnTo>
                    <a:pt x="352" y="295"/>
                  </a:lnTo>
                  <a:lnTo>
                    <a:pt x="354" y="297"/>
                  </a:lnTo>
                  <a:lnTo>
                    <a:pt x="356" y="297"/>
                  </a:lnTo>
                  <a:lnTo>
                    <a:pt x="356" y="298"/>
                  </a:lnTo>
                  <a:lnTo>
                    <a:pt x="356" y="299"/>
                  </a:lnTo>
                  <a:lnTo>
                    <a:pt x="357" y="299"/>
                  </a:lnTo>
                  <a:lnTo>
                    <a:pt x="357" y="300"/>
                  </a:lnTo>
                  <a:lnTo>
                    <a:pt x="357" y="300"/>
                  </a:lnTo>
                  <a:lnTo>
                    <a:pt x="358" y="301"/>
                  </a:lnTo>
                  <a:lnTo>
                    <a:pt x="358" y="301"/>
                  </a:lnTo>
                  <a:lnTo>
                    <a:pt x="358" y="302"/>
                  </a:lnTo>
                  <a:lnTo>
                    <a:pt x="358" y="304"/>
                  </a:lnTo>
                  <a:lnTo>
                    <a:pt x="358" y="305"/>
                  </a:lnTo>
                  <a:lnTo>
                    <a:pt x="358" y="306"/>
                  </a:lnTo>
                  <a:lnTo>
                    <a:pt x="358" y="307"/>
                  </a:lnTo>
                  <a:lnTo>
                    <a:pt x="358" y="307"/>
                  </a:lnTo>
                  <a:lnTo>
                    <a:pt x="357" y="308"/>
                  </a:lnTo>
                  <a:lnTo>
                    <a:pt x="356" y="309"/>
                  </a:lnTo>
                  <a:lnTo>
                    <a:pt x="355" y="310"/>
                  </a:lnTo>
                  <a:lnTo>
                    <a:pt x="354" y="310"/>
                  </a:lnTo>
                  <a:lnTo>
                    <a:pt x="353" y="311"/>
                  </a:lnTo>
                  <a:lnTo>
                    <a:pt x="351" y="312"/>
                  </a:lnTo>
                  <a:lnTo>
                    <a:pt x="350" y="312"/>
                  </a:lnTo>
                  <a:lnTo>
                    <a:pt x="350" y="313"/>
                  </a:lnTo>
                  <a:lnTo>
                    <a:pt x="349" y="313"/>
                  </a:lnTo>
                  <a:lnTo>
                    <a:pt x="349" y="314"/>
                  </a:lnTo>
                  <a:lnTo>
                    <a:pt x="348" y="314"/>
                  </a:lnTo>
                  <a:lnTo>
                    <a:pt x="348" y="315"/>
                  </a:lnTo>
                  <a:lnTo>
                    <a:pt x="348" y="316"/>
                  </a:lnTo>
                  <a:lnTo>
                    <a:pt x="347" y="316"/>
                  </a:lnTo>
                  <a:lnTo>
                    <a:pt x="347" y="317"/>
                  </a:lnTo>
                  <a:lnTo>
                    <a:pt x="347" y="318"/>
                  </a:lnTo>
                  <a:lnTo>
                    <a:pt x="347" y="318"/>
                  </a:lnTo>
                  <a:lnTo>
                    <a:pt x="348" y="321"/>
                  </a:lnTo>
                  <a:lnTo>
                    <a:pt x="348" y="322"/>
                  </a:lnTo>
                  <a:lnTo>
                    <a:pt x="349" y="323"/>
                  </a:lnTo>
                  <a:lnTo>
                    <a:pt x="349" y="323"/>
                  </a:lnTo>
                  <a:lnTo>
                    <a:pt x="349" y="324"/>
                  </a:lnTo>
                  <a:lnTo>
                    <a:pt x="348" y="325"/>
                  </a:lnTo>
                  <a:lnTo>
                    <a:pt x="348" y="325"/>
                  </a:lnTo>
                  <a:lnTo>
                    <a:pt x="348" y="326"/>
                  </a:lnTo>
                  <a:lnTo>
                    <a:pt x="347" y="326"/>
                  </a:lnTo>
                  <a:lnTo>
                    <a:pt x="347" y="327"/>
                  </a:lnTo>
                  <a:lnTo>
                    <a:pt x="346" y="327"/>
                  </a:lnTo>
                  <a:lnTo>
                    <a:pt x="346" y="328"/>
                  </a:lnTo>
                  <a:lnTo>
                    <a:pt x="345" y="328"/>
                  </a:lnTo>
                  <a:lnTo>
                    <a:pt x="344" y="329"/>
                  </a:lnTo>
                  <a:lnTo>
                    <a:pt x="343" y="329"/>
                  </a:lnTo>
                  <a:lnTo>
                    <a:pt x="342" y="329"/>
                  </a:lnTo>
                  <a:lnTo>
                    <a:pt x="342" y="329"/>
                  </a:lnTo>
                  <a:lnTo>
                    <a:pt x="342" y="330"/>
                  </a:lnTo>
                  <a:lnTo>
                    <a:pt x="342" y="330"/>
                  </a:lnTo>
                  <a:lnTo>
                    <a:pt x="342" y="330"/>
                  </a:lnTo>
                  <a:lnTo>
                    <a:pt x="341" y="330"/>
                  </a:lnTo>
                  <a:lnTo>
                    <a:pt x="342" y="331"/>
                  </a:lnTo>
                  <a:lnTo>
                    <a:pt x="342" y="332"/>
                  </a:lnTo>
                  <a:lnTo>
                    <a:pt x="342" y="332"/>
                  </a:lnTo>
                  <a:lnTo>
                    <a:pt x="343" y="333"/>
                  </a:lnTo>
                  <a:lnTo>
                    <a:pt x="344" y="335"/>
                  </a:lnTo>
                  <a:lnTo>
                    <a:pt x="346" y="335"/>
                  </a:lnTo>
                  <a:lnTo>
                    <a:pt x="348" y="338"/>
                  </a:lnTo>
                  <a:lnTo>
                    <a:pt x="349" y="339"/>
                  </a:lnTo>
                  <a:lnTo>
                    <a:pt x="350" y="340"/>
                  </a:lnTo>
                  <a:lnTo>
                    <a:pt x="351" y="340"/>
                  </a:lnTo>
                  <a:lnTo>
                    <a:pt x="351" y="341"/>
                  </a:lnTo>
                  <a:lnTo>
                    <a:pt x="351" y="342"/>
                  </a:lnTo>
                  <a:lnTo>
                    <a:pt x="351" y="342"/>
                  </a:lnTo>
                  <a:lnTo>
                    <a:pt x="351" y="343"/>
                  </a:lnTo>
                  <a:lnTo>
                    <a:pt x="351" y="344"/>
                  </a:lnTo>
                  <a:lnTo>
                    <a:pt x="351" y="344"/>
                  </a:lnTo>
                  <a:lnTo>
                    <a:pt x="351" y="345"/>
                  </a:lnTo>
                  <a:lnTo>
                    <a:pt x="350" y="345"/>
                  </a:lnTo>
                  <a:lnTo>
                    <a:pt x="350" y="346"/>
                  </a:lnTo>
                  <a:lnTo>
                    <a:pt x="349" y="346"/>
                  </a:lnTo>
                  <a:lnTo>
                    <a:pt x="347" y="348"/>
                  </a:lnTo>
                  <a:lnTo>
                    <a:pt x="347" y="349"/>
                  </a:lnTo>
                  <a:lnTo>
                    <a:pt x="346" y="349"/>
                  </a:lnTo>
                  <a:lnTo>
                    <a:pt x="346" y="350"/>
                  </a:lnTo>
                  <a:lnTo>
                    <a:pt x="346" y="350"/>
                  </a:lnTo>
                  <a:lnTo>
                    <a:pt x="345" y="352"/>
                  </a:lnTo>
                  <a:lnTo>
                    <a:pt x="345" y="353"/>
                  </a:lnTo>
                  <a:lnTo>
                    <a:pt x="344" y="354"/>
                  </a:lnTo>
                  <a:lnTo>
                    <a:pt x="343" y="355"/>
                  </a:lnTo>
                  <a:lnTo>
                    <a:pt x="343" y="355"/>
                  </a:lnTo>
                  <a:lnTo>
                    <a:pt x="342" y="356"/>
                  </a:lnTo>
                  <a:lnTo>
                    <a:pt x="342" y="356"/>
                  </a:lnTo>
                  <a:lnTo>
                    <a:pt x="341" y="357"/>
                  </a:lnTo>
                  <a:lnTo>
                    <a:pt x="341" y="357"/>
                  </a:lnTo>
                  <a:lnTo>
                    <a:pt x="340" y="358"/>
                  </a:lnTo>
                  <a:lnTo>
                    <a:pt x="339" y="358"/>
                  </a:lnTo>
                  <a:lnTo>
                    <a:pt x="339" y="358"/>
                  </a:lnTo>
                  <a:lnTo>
                    <a:pt x="337" y="359"/>
                  </a:lnTo>
                  <a:lnTo>
                    <a:pt x="335" y="359"/>
                  </a:lnTo>
                  <a:lnTo>
                    <a:pt x="332" y="359"/>
                  </a:lnTo>
                  <a:lnTo>
                    <a:pt x="328" y="360"/>
                  </a:lnTo>
                  <a:lnTo>
                    <a:pt x="327" y="360"/>
                  </a:lnTo>
                  <a:lnTo>
                    <a:pt x="325" y="360"/>
                  </a:lnTo>
                  <a:lnTo>
                    <a:pt x="324" y="361"/>
                  </a:lnTo>
                  <a:lnTo>
                    <a:pt x="323" y="361"/>
                  </a:lnTo>
                  <a:lnTo>
                    <a:pt x="322" y="362"/>
                  </a:lnTo>
                  <a:lnTo>
                    <a:pt x="321" y="362"/>
                  </a:lnTo>
                  <a:lnTo>
                    <a:pt x="320" y="363"/>
                  </a:lnTo>
                  <a:lnTo>
                    <a:pt x="320" y="364"/>
                  </a:lnTo>
                  <a:lnTo>
                    <a:pt x="319" y="364"/>
                  </a:lnTo>
                  <a:lnTo>
                    <a:pt x="319" y="365"/>
                  </a:lnTo>
                  <a:lnTo>
                    <a:pt x="319" y="366"/>
                  </a:lnTo>
                  <a:lnTo>
                    <a:pt x="319" y="367"/>
                  </a:lnTo>
                  <a:lnTo>
                    <a:pt x="319" y="369"/>
                  </a:lnTo>
                  <a:lnTo>
                    <a:pt x="319" y="369"/>
                  </a:lnTo>
                  <a:lnTo>
                    <a:pt x="319" y="370"/>
                  </a:lnTo>
                  <a:lnTo>
                    <a:pt x="319" y="370"/>
                  </a:lnTo>
                  <a:lnTo>
                    <a:pt x="318" y="371"/>
                  </a:lnTo>
                  <a:lnTo>
                    <a:pt x="318" y="371"/>
                  </a:lnTo>
                  <a:lnTo>
                    <a:pt x="318" y="372"/>
                  </a:lnTo>
                  <a:lnTo>
                    <a:pt x="317" y="372"/>
                  </a:lnTo>
                  <a:lnTo>
                    <a:pt x="314" y="374"/>
                  </a:lnTo>
                  <a:lnTo>
                    <a:pt x="314" y="374"/>
                  </a:lnTo>
                  <a:lnTo>
                    <a:pt x="313" y="374"/>
                  </a:lnTo>
                  <a:lnTo>
                    <a:pt x="312" y="375"/>
                  </a:lnTo>
                  <a:lnTo>
                    <a:pt x="310" y="375"/>
                  </a:lnTo>
                  <a:lnTo>
                    <a:pt x="306" y="376"/>
                  </a:lnTo>
                  <a:lnTo>
                    <a:pt x="304" y="376"/>
                  </a:lnTo>
                  <a:lnTo>
                    <a:pt x="303" y="376"/>
                  </a:lnTo>
                  <a:lnTo>
                    <a:pt x="302" y="376"/>
                  </a:lnTo>
                  <a:lnTo>
                    <a:pt x="300" y="376"/>
                  </a:lnTo>
                  <a:lnTo>
                    <a:pt x="298" y="376"/>
                  </a:lnTo>
                  <a:lnTo>
                    <a:pt x="297" y="375"/>
                  </a:lnTo>
                  <a:lnTo>
                    <a:pt x="294" y="375"/>
                  </a:lnTo>
                  <a:lnTo>
                    <a:pt x="293" y="375"/>
                  </a:lnTo>
                  <a:lnTo>
                    <a:pt x="291" y="374"/>
                  </a:lnTo>
                  <a:lnTo>
                    <a:pt x="290" y="374"/>
                  </a:lnTo>
                  <a:lnTo>
                    <a:pt x="289" y="374"/>
                  </a:lnTo>
                  <a:lnTo>
                    <a:pt x="288" y="374"/>
                  </a:lnTo>
                  <a:lnTo>
                    <a:pt x="288" y="375"/>
                  </a:lnTo>
                  <a:lnTo>
                    <a:pt x="287" y="375"/>
                  </a:lnTo>
                  <a:lnTo>
                    <a:pt x="286" y="376"/>
                  </a:lnTo>
                  <a:lnTo>
                    <a:pt x="285" y="377"/>
                  </a:lnTo>
                  <a:lnTo>
                    <a:pt x="283" y="378"/>
                  </a:lnTo>
                  <a:lnTo>
                    <a:pt x="282" y="378"/>
                  </a:lnTo>
                  <a:lnTo>
                    <a:pt x="281" y="379"/>
                  </a:lnTo>
                  <a:lnTo>
                    <a:pt x="280" y="379"/>
                  </a:lnTo>
                  <a:lnTo>
                    <a:pt x="278" y="379"/>
                  </a:lnTo>
                  <a:lnTo>
                    <a:pt x="277" y="379"/>
                  </a:lnTo>
                  <a:lnTo>
                    <a:pt x="277" y="379"/>
                  </a:lnTo>
                  <a:lnTo>
                    <a:pt x="276" y="379"/>
                  </a:lnTo>
                  <a:lnTo>
                    <a:pt x="275" y="378"/>
                  </a:lnTo>
                  <a:lnTo>
                    <a:pt x="274" y="378"/>
                  </a:lnTo>
                  <a:lnTo>
                    <a:pt x="273" y="377"/>
                  </a:lnTo>
                  <a:lnTo>
                    <a:pt x="271" y="375"/>
                  </a:lnTo>
                  <a:lnTo>
                    <a:pt x="270" y="375"/>
                  </a:lnTo>
                  <a:lnTo>
                    <a:pt x="269" y="374"/>
                  </a:lnTo>
                  <a:lnTo>
                    <a:pt x="269" y="374"/>
                  </a:lnTo>
                  <a:lnTo>
                    <a:pt x="268" y="372"/>
                  </a:lnTo>
                  <a:lnTo>
                    <a:pt x="267" y="371"/>
                  </a:lnTo>
                  <a:lnTo>
                    <a:pt x="267" y="371"/>
                  </a:lnTo>
                  <a:lnTo>
                    <a:pt x="266" y="370"/>
                  </a:lnTo>
                  <a:lnTo>
                    <a:pt x="266" y="370"/>
                  </a:lnTo>
                  <a:lnTo>
                    <a:pt x="265" y="370"/>
                  </a:lnTo>
                  <a:lnTo>
                    <a:pt x="265" y="370"/>
                  </a:lnTo>
                  <a:lnTo>
                    <a:pt x="264" y="370"/>
                  </a:lnTo>
                  <a:lnTo>
                    <a:pt x="264" y="370"/>
                  </a:lnTo>
                  <a:lnTo>
                    <a:pt x="262" y="370"/>
                  </a:lnTo>
                  <a:lnTo>
                    <a:pt x="262" y="371"/>
                  </a:lnTo>
                  <a:lnTo>
                    <a:pt x="260" y="371"/>
                  </a:lnTo>
                  <a:lnTo>
                    <a:pt x="259" y="372"/>
                  </a:lnTo>
                  <a:lnTo>
                    <a:pt x="259" y="372"/>
                  </a:lnTo>
                  <a:lnTo>
                    <a:pt x="258" y="372"/>
                  </a:lnTo>
                  <a:lnTo>
                    <a:pt x="258" y="373"/>
                  </a:lnTo>
                  <a:lnTo>
                    <a:pt x="256" y="375"/>
                  </a:lnTo>
                  <a:lnTo>
                    <a:pt x="255" y="376"/>
                  </a:lnTo>
                  <a:lnTo>
                    <a:pt x="254" y="376"/>
                  </a:lnTo>
                  <a:lnTo>
                    <a:pt x="254" y="377"/>
                  </a:lnTo>
                  <a:lnTo>
                    <a:pt x="253" y="377"/>
                  </a:lnTo>
                  <a:lnTo>
                    <a:pt x="252" y="378"/>
                  </a:lnTo>
                  <a:lnTo>
                    <a:pt x="252" y="378"/>
                  </a:lnTo>
                  <a:lnTo>
                    <a:pt x="251" y="378"/>
                  </a:lnTo>
                  <a:lnTo>
                    <a:pt x="251" y="378"/>
                  </a:lnTo>
                  <a:lnTo>
                    <a:pt x="250" y="378"/>
                  </a:lnTo>
                  <a:lnTo>
                    <a:pt x="249" y="378"/>
                  </a:lnTo>
                  <a:lnTo>
                    <a:pt x="247" y="378"/>
                  </a:lnTo>
                  <a:lnTo>
                    <a:pt x="246" y="378"/>
                  </a:lnTo>
                  <a:lnTo>
                    <a:pt x="246" y="378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4" y="379"/>
                  </a:lnTo>
                  <a:lnTo>
                    <a:pt x="244" y="379"/>
                  </a:lnTo>
                  <a:lnTo>
                    <a:pt x="243" y="379"/>
                  </a:lnTo>
                  <a:lnTo>
                    <a:pt x="243" y="380"/>
                  </a:lnTo>
                  <a:lnTo>
                    <a:pt x="242" y="381"/>
                  </a:lnTo>
                  <a:lnTo>
                    <a:pt x="242" y="382"/>
                  </a:lnTo>
                  <a:lnTo>
                    <a:pt x="241" y="385"/>
                  </a:lnTo>
                  <a:lnTo>
                    <a:pt x="240" y="386"/>
                  </a:lnTo>
                  <a:lnTo>
                    <a:pt x="240" y="386"/>
                  </a:lnTo>
                  <a:lnTo>
                    <a:pt x="240" y="387"/>
                  </a:lnTo>
                  <a:lnTo>
                    <a:pt x="239" y="388"/>
                  </a:lnTo>
                  <a:lnTo>
                    <a:pt x="239" y="388"/>
                  </a:lnTo>
                  <a:lnTo>
                    <a:pt x="238" y="388"/>
                  </a:lnTo>
                  <a:lnTo>
                    <a:pt x="237" y="389"/>
                  </a:lnTo>
                  <a:lnTo>
                    <a:pt x="237" y="389"/>
                  </a:lnTo>
                  <a:lnTo>
                    <a:pt x="235" y="389"/>
                  </a:lnTo>
                  <a:lnTo>
                    <a:pt x="233" y="389"/>
                  </a:lnTo>
                  <a:lnTo>
                    <a:pt x="232" y="389"/>
                  </a:lnTo>
                  <a:lnTo>
                    <a:pt x="230" y="389"/>
                  </a:lnTo>
                  <a:lnTo>
                    <a:pt x="228" y="389"/>
                  </a:lnTo>
                  <a:lnTo>
                    <a:pt x="227" y="390"/>
                  </a:lnTo>
                  <a:lnTo>
                    <a:pt x="224" y="391"/>
                  </a:lnTo>
                  <a:lnTo>
                    <a:pt x="223" y="391"/>
                  </a:lnTo>
                  <a:lnTo>
                    <a:pt x="221" y="392"/>
                  </a:lnTo>
                  <a:lnTo>
                    <a:pt x="220" y="393"/>
                  </a:lnTo>
                  <a:lnTo>
                    <a:pt x="219" y="393"/>
                  </a:lnTo>
                  <a:lnTo>
                    <a:pt x="219" y="394"/>
                  </a:lnTo>
                  <a:lnTo>
                    <a:pt x="218" y="395"/>
                  </a:lnTo>
                  <a:lnTo>
                    <a:pt x="217" y="396"/>
                  </a:lnTo>
                  <a:lnTo>
                    <a:pt x="216" y="398"/>
                  </a:lnTo>
                  <a:lnTo>
                    <a:pt x="214" y="399"/>
                  </a:lnTo>
                  <a:lnTo>
                    <a:pt x="213" y="400"/>
                  </a:lnTo>
                  <a:lnTo>
                    <a:pt x="212" y="401"/>
                  </a:lnTo>
                  <a:lnTo>
                    <a:pt x="211" y="402"/>
                  </a:lnTo>
                  <a:lnTo>
                    <a:pt x="210" y="403"/>
                  </a:lnTo>
                  <a:lnTo>
                    <a:pt x="208" y="404"/>
                  </a:lnTo>
                  <a:lnTo>
                    <a:pt x="207" y="405"/>
                  </a:lnTo>
                  <a:lnTo>
                    <a:pt x="206" y="405"/>
                  </a:lnTo>
                  <a:lnTo>
                    <a:pt x="205" y="406"/>
                  </a:lnTo>
                  <a:lnTo>
                    <a:pt x="205" y="406"/>
                  </a:lnTo>
                  <a:lnTo>
                    <a:pt x="203" y="408"/>
                  </a:lnTo>
                  <a:lnTo>
                    <a:pt x="201" y="410"/>
                  </a:lnTo>
                  <a:lnTo>
                    <a:pt x="201" y="410"/>
                  </a:lnTo>
                  <a:lnTo>
                    <a:pt x="200" y="412"/>
                  </a:lnTo>
                  <a:lnTo>
                    <a:pt x="198" y="414"/>
                  </a:lnTo>
                  <a:lnTo>
                    <a:pt x="198" y="414"/>
                  </a:lnTo>
                  <a:lnTo>
                    <a:pt x="197" y="415"/>
                  </a:lnTo>
                  <a:lnTo>
                    <a:pt x="197" y="415"/>
                  </a:lnTo>
                  <a:lnTo>
                    <a:pt x="196" y="415"/>
                  </a:lnTo>
                  <a:lnTo>
                    <a:pt x="196" y="415"/>
                  </a:lnTo>
                  <a:lnTo>
                    <a:pt x="195" y="415"/>
                  </a:lnTo>
                  <a:lnTo>
                    <a:pt x="195" y="415"/>
                  </a:lnTo>
                  <a:lnTo>
                    <a:pt x="194" y="415"/>
                  </a:lnTo>
                  <a:lnTo>
                    <a:pt x="193" y="415"/>
                  </a:lnTo>
                  <a:lnTo>
                    <a:pt x="191" y="413"/>
                  </a:lnTo>
                  <a:lnTo>
                    <a:pt x="190" y="413"/>
                  </a:lnTo>
                  <a:lnTo>
                    <a:pt x="189" y="412"/>
                  </a:lnTo>
                  <a:lnTo>
                    <a:pt x="188" y="412"/>
                  </a:lnTo>
                  <a:lnTo>
                    <a:pt x="187" y="411"/>
                  </a:lnTo>
                  <a:lnTo>
                    <a:pt x="186" y="411"/>
                  </a:lnTo>
                  <a:lnTo>
                    <a:pt x="185" y="411"/>
                  </a:lnTo>
                  <a:lnTo>
                    <a:pt x="184" y="411"/>
                  </a:lnTo>
                  <a:lnTo>
                    <a:pt x="180" y="412"/>
                  </a:lnTo>
                  <a:lnTo>
                    <a:pt x="179" y="412"/>
                  </a:lnTo>
                  <a:lnTo>
                    <a:pt x="178" y="412"/>
                  </a:lnTo>
                  <a:lnTo>
                    <a:pt x="178" y="412"/>
                  </a:lnTo>
                  <a:lnTo>
                    <a:pt x="177" y="412"/>
                  </a:lnTo>
                  <a:lnTo>
                    <a:pt x="177" y="413"/>
                  </a:lnTo>
                  <a:lnTo>
                    <a:pt x="177" y="413"/>
                  </a:lnTo>
                  <a:lnTo>
                    <a:pt x="176" y="413"/>
                  </a:lnTo>
                  <a:lnTo>
                    <a:pt x="174" y="416"/>
                  </a:lnTo>
                  <a:lnTo>
                    <a:pt x="173" y="418"/>
                  </a:lnTo>
                  <a:lnTo>
                    <a:pt x="173" y="418"/>
                  </a:lnTo>
                  <a:lnTo>
                    <a:pt x="172" y="419"/>
                  </a:lnTo>
                  <a:lnTo>
                    <a:pt x="171" y="420"/>
                  </a:lnTo>
                  <a:lnTo>
                    <a:pt x="171" y="420"/>
                  </a:lnTo>
                  <a:lnTo>
                    <a:pt x="170" y="421"/>
                  </a:lnTo>
                  <a:lnTo>
                    <a:pt x="170" y="421"/>
                  </a:lnTo>
                  <a:lnTo>
                    <a:pt x="169" y="421"/>
                  </a:lnTo>
                  <a:lnTo>
                    <a:pt x="169" y="421"/>
                  </a:lnTo>
                  <a:lnTo>
                    <a:pt x="168" y="421"/>
                  </a:lnTo>
                  <a:lnTo>
                    <a:pt x="167" y="421"/>
                  </a:lnTo>
                  <a:lnTo>
                    <a:pt x="166" y="420"/>
                  </a:lnTo>
                  <a:lnTo>
                    <a:pt x="165" y="420"/>
                  </a:lnTo>
                  <a:lnTo>
                    <a:pt x="164" y="420"/>
                  </a:lnTo>
                  <a:lnTo>
                    <a:pt x="164" y="419"/>
                  </a:lnTo>
                  <a:lnTo>
                    <a:pt x="162" y="418"/>
                  </a:lnTo>
                  <a:lnTo>
                    <a:pt x="161" y="417"/>
                  </a:lnTo>
                  <a:lnTo>
                    <a:pt x="160" y="417"/>
                  </a:lnTo>
                  <a:lnTo>
                    <a:pt x="159" y="417"/>
                  </a:lnTo>
                  <a:lnTo>
                    <a:pt x="159" y="417"/>
                  </a:lnTo>
                  <a:lnTo>
                    <a:pt x="158" y="417"/>
                  </a:lnTo>
                  <a:lnTo>
                    <a:pt x="157" y="417"/>
                  </a:lnTo>
                  <a:lnTo>
                    <a:pt x="156" y="417"/>
                  </a:lnTo>
                  <a:lnTo>
                    <a:pt x="155" y="417"/>
                  </a:lnTo>
                  <a:lnTo>
                    <a:pt x="154" y="417"/>
                  </a:lnTo>
                  <a:lnTo>
                    <a:pt x="153" y="418"/>
                  </a:lnTo>
                  <a:lnTo>
                    <a:pt x="153" y="418"/>
                  </a:lnTo>
                  <a:lnTo>
                    <a:pt x="152" y="418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8"/>
                  </a:lnTo>
                  <a:lnTo>
                    <a:pt x="151" y="417"/>
                  </a:lnTo>
                  <a:lnTo>
                    <a:pt x="150" y="415"/>
                  </a:lnTo>
                  <a:lnTo>
                    <a:pt x="150" y="414"/>
                  </a:lnTo>
                  <a:lnTo>
                    <a:pt x="149" y="414"/>
                  </a:lnTo>
                  <a:lnTo>
                    <a:pt x="149" y="413"/>
                  </a:lnTo>
                  <a:lnTo>
                    <a:pt x="148" y="412"/>
                  </a:lnTo>
                  <a:lnTo>
                    <a:pt x="148" y="412"/>
                  </a:lnTo>
                  <a:lnTo>
                    <a:pt x="147" y="411"/>
                  </a:lnTo>
                  <a:lnTo>
                    <a:pt x="145" y="410"/>
                  </a:lnTo>
                  <a:lnTo>
                    <a:pt x="144" y="409"/>
                  </a:lnTo>
                  <a:lnTo>
                    <a:pt x="143" y="408"/>
                  </a:lnTo>
                  <a:lnTo>
                    <a:pt x="141" y="408"/>
                  </a:lnTo>
                  <a:lnTo>
                    <a:pt x="139" y="407"/>
                  </a:lnTo>
                  <a:lnTo>
                    <a:pt x="138" y="406"/>
                  </a:lnTo>
                  <a:lnTo>
                    <a:pt x="137" y="406"/>
                  </a:lnTo>
                  <a:lnTo>
                    <a:pt x="136" y="405"/>
                  </a:lnTo>
                  <a:lnTo>
                    <a:pt x="135" y="404"/>
                  </a:lnTo>
                  <a:lnTo>
                    <a:pt x="134" y="403"/>
                  </a:lnTo>
                  <a:lnTo>
                    <a:pt x="134" y="403"/>
                  </a:lnTo>
                  <a:lnTo>
                    <a:pt x="133" y="400"/>
                  </a:lnTo>
                  <a:lnTo>
                    <a:pt x="132" y="400"/>
                  </a:lnTo>
                  <a:lnTo>
                    <a:pt x="132" y="399"/>
                  </a:lnTo>
                  <a:lnTo>
                    <a:pt x="131" y="398"/>
                  </a:lnTo>
                  <a:lnTo>
                    <a:pt x="131" y="398"/>
                  </a:lnTo>
                  <a:lnTo>
                    <a:pt x="130" y="398"/>
                  </a:lnTo>
                  <a:lnTo>
                    <a:pt x="129" y="398"/>
                  </a:lnTo>
                  <a:lnTo>
                    <a:pt x="129" y="398"/>
                  </a:lnTo>
                  <a:lnTo>
                    <a:pt x="128" y="398"/>
                  </a:lnTo>
                  <a:lnTo>
                    <a:pt x="126" y="397"/>
                  </a:lnTo>
                  <a:lnTo>
                    <a:pt x="125" y="397"/>
                  </a:lnTo>
                  <a:lnTo>
                    <a:pt x="125" y="397"/>
                  </a:lnTo>
                  <a:lnTo>
                    <a:pt x="125" y="397"/>
                  </a:lnTo>
                  <a:lnTo>
                    <a:pt x="124" y="397"/>
                  </a:lnTo>
                  <a:lnTo>
                    <a:pt x="124" y="396"/>
                  </a:lnTo>
                  <a:lnTo>
                    <a:pt x="124" y="396"/>
                  </a:lnTo>
                  <a:lnTo>
                    <a:pt x="124" y="395"/>
                  </a:lnTo>
                  <a:lnTo>
                    <a:pt x="124" y="395"/>
                  </a:lnTo>
                  <a:lnTo>
                    <a:pt x="124" y="394"/>
                  </a:lnTo>
                  <a:lnTo>
                    <a:pt x="124" y="394"/>
                  </a:lnTo>
                  <a:lnTo>
                    <a:pt x="125" y="393"/>
                  </a:lnTo>
                  <a:lnTo>
                    <a:pt x="126" y="392"/>
                  </a:lnTo>
                  <a:lnTo>
                    <a:pt x="127" y="390"/>
                  </a:lnTo>
                  <a:lnTo>
                    <a:pt x="128" y="389"/>
                  </a:lnTo>
                  <a:lnTo>
                    <a:pt x="129" y="388"/>
                  </a:lnTo>
                  <a:lnTo>
                    <a:pt x="130" y="387"/>
                  </a:lnTo>
                  <a:lnTo>
                    <a:pt x="132" y="384"/>
                  </a:lnTo>
                  <a:lnTo>
                    <a:pt x="133" y="384"/>
                  </a:lnTo>
                  <a:lnTo>
                    <a:pt x="133" y="383"/>
                  </a:lnTo>
                  <a:lnTo>
                    <a:pt x="134" y="382"/>
                  </a:lnTo>
                  <a:lnTo>
                    <a:pt x="134" y="381"/>
                  </a:lnTo>
                  <a:lnTo>
                    <a:pt x="135" y="379"/>
                  </a:lnTo>
                  <a:lnTo>
                    <a:pt x="135" y="378"/>
                  </a:lnTo>
                  <a:lnTo>
                    <a:pt x="136" y="377"/>
                  </a:lnTo>
                  <a:lnTo>
                    <a:pt x="138" y="375"/>
                  </a:lnTo>
                  <a:lnTo>
                    <a:pt x="138" y="374"/>
                  </a:lnTo>
                  <a:lnTo>
                    <a:pt x="138" y="373"/>
                  </a:lnTo>
                  <a:lnTo>
                    <a:pt x="138" y="373"/>
                  </a:lnTo>
                  <a:lnTo>
                    <a:pt x="139" y="372"/>
                  </a:lnTo>
                  <a:lnTo>
                    <a:pt x="139" y="370"/>
                  </a:lnTo>
                  <a:lnTo>
                    <a:pt x="139" y="369"/>
                  </a:lnTo>
                  <a:lnTo>
                    <a:pt x="140" y="368"/>
                  </a:lnTo>
                  <a:lnTo>
                    <a:pt x="140" y="367"/>
                  </a:lnTo>
                  <a:lnTo>
                    <a:pt x="141" y="365"/>
                  </a:lnTo>
                  <a:lnTo>
                    <a:pt x="142" y="364"/>
                  </a:lnTo>
                  <a:lnTo>
                    <a:pt x="143" y="363"/>
                  </a:lnTo>
                  <a:lnTo>
                    <a:pt x="143" y="362"/>
                  </a:lnTo>
                  <a:lnTo>
                    <a:pt x="144" y="362"/>
                  </a:lnTo>
                  <a:lnTo>
                    <a:pt x="144" y="362"/>
                  </a:lnTo>
                  <a:lnTo>
                    <a:pt x="144" y="361"/>
                  </a:lnTo>
                  <a:lnTo>
                    <a:pt x="145" y="361"/>
                  </a:lnTo>
                  <a:lnTo>
                    <a:pt x="148" y="361"/>
                  </a:lnTo>
                  <a:lnTo>
                    <a:pt x="150" y="360"/>
                  </a:lnTo>
                  <a:lnTo>
                    <a:pt x="151" y="360"/>
                  </a:lnTo>
                  <a:lnTo>
                    <a:pt x="152" y="359"/>
                  </a:lnTo>
                  <a:lnTo>
                    <a:pt x="152" y="359"/>
                  </a:lnTo>
                  <a:lnTo>
                    <a:pt x="153" y="359"/>
                  </a:lnTo>
                  <a:lnTo>
                    <a:pt x="153" y="358"/>
                  </a:lnTo>
                  <a:lnTo>
                    <a:pt x="153" y="358"/>
                  </a:lnTo>
                  <a:lnTo>
                    <a:pt x="154" y="357"/>
                  </a:lnTo>
                  <a:lnTo>
                    <a:pt x="154" y="356"/>
                  </a:lnTo>
                  <a:lnTo>
                    <a:pt x="154" y="355"/>
                  </a:lnTo>
                  <a:lnTo>
                    <a:pt x="154" y="354"/>
                  </a:lnTo>
                  <a:lnTo>
                    <a:pt x="154" y="354"/>
                  </a:lnTo>
                  <a:lnTo>
                    <a:pt x="154" y="353"/>
                  </a:lnTo>
                  <a:lnTo>
                    <a:pt x="154" y="352"/>
                  </a:lnTo>
                  <a:lnTo>
                    <a:pt x="153" y="351"/>
                  </a:lnTo>
                  <a:lnTo>
                    <a:pt x="151" y="348"/>
                  </a:lnTo>
                  <a:lnTo>
                    <a:pt x="151" y="348"/>
                  </a:lnTo>
                  <a:lnTo>
                    <a:pt x="150" y="347"/>
                  </a:lnTo>
                  <a:lnTo>
                    <a:pt x="149" y="347"/>
                  </a:lnTo>
                  <a:lnTo>
                    <a:pt x="148" y="345"/>
                  </a:lnTo>
                  <a:lnTo>
                    <a:pt x="146" y="345"/>
                  </a:lnTo>
                  <a:lnTo>
                    <a:pt x="146" y="344"/>
                  </a:lnTo>
                  <a:lnTo>
                    <a:pt x="145" y="343"/>
                  </a:lnTo>
                  <a:lnTo>
                    <a:pt x="145" y="343"/>
                  </a:lnTo>
                  <a:lnTo>
                    <a:pt x="144" y="342"/>
                  </a:lnTo>
                  <a:lnTo>
                    <a:pt x="144" y="342"/>
                  </a:lnTo>
                  <a:lnTo>
                    <a:pt x="144" y="341"/>
                  </a:lnTo>
                  <a:lnTo>
                    <a:pt x="144" y="341"/>
                  </a:lnTo>
                  <a:lnTo>
                    <a:pt x="144" y="340"/>
                  </a:lnTo>
                  <a:lnTo>
                    <a:pt x="144" y="339"/>
                  </a:lnTo>
                  <a:lnTo>
                    <a:pt x="145" y="339"/>
                  </a:lnTo>
                  <a:lnTo>
                    <a:pt x="144" y="338"/>
                  </a:lnTo>
                  <a:lnTo>
                    <a:pt x="144" y="338"/>
                  </a:lnTo>
                  <a:lnTo>
                    <a:pt x="144" y="337"/>
                  </a:lnTo>
                  <a:lnTo>
                    <a:pt x="144" y="336"/>
                  </a:lnTo>
                  <a:lnTo>
                    <a:pt x="143" y="336"/>
                  </a:lnTo>
                  <a:lnTo>
                    <a:pt x="143" y="336"/>
                  </a:lnTo>
                  <a:lnTo>
                    <a:pt x="142" y="335"/>
                  </a:lnTo>
                  <a:lnTo>
                    <a:pt x="141" y="335"/>
                  </a:lnTo>
                  <a:lnTo>
                    <a:pt x="140" y="334"/>
                  </a:lnTo>
                  <a:lnTo>
                    <a:pt x="140" y="334"/>
                  </a:lnTo>
                  <a:lnTo>
                    <a:pt x="139" y="334"/>
                  </a:lnTo>
                  <a:lnTo>
                    <a:pt x="139" y="334"/>
                  </a:lnTo>
                  <a:lnTo>
                    <a:pt x="138" y="334"/>
                  </a:lnTo>
                  <a:lnTo>
                    <a:pt x="138" y="334"/>
                  </a:lnTo>
                  <a:lnTo>
                    <a:pt x="137" y="334"/>
                  </a:lnTo>
                  <a:lnTo>
                    <a:pt x="137" y="334"/>
                  </a:lnTo>
                  <a:lnTo>
                    <a:pt x="135" y="335"/>
                  </a:lnTo>
                  <a:lnTo>
                    <a:pt x="135" y="335"/>
                  </a:lnTo>
                  <a:lnTo>
                    <a:pt x="134" y="335"/>
                  </a:lnTo>
                  <a:lnTo>
                    <a:pt x="132" y="336"/>
                  </a:lnTo>
                  <a:lnTo>
                    <a:pt x="130" y="336"/>
                  </a:lnTo>
                  <a:lnTo>
                    <a:pt x="129" y="336"/>
                  </a:lnTo>
                  <a:lnTo>
                    <a:pt x="126" y="337"/>
                  </a:lnTo>
                  <a:lnTo>
                    <a:pt x="125" y="338"/>
                  </a:lnTo>
                  <a:lnTo>
                    <a:pt x="124" y="338"/>
                  </a:lnTo>
                  <a:lnTo>
                    <a:pt x="123" y="338"/>
                  </a:lnTo>
                  <a:lnTo>
                    <a:pt x="121" y="338"/>
                  </a:lnTo>
                  <a:lnTo>
                    <a:pt x="119" y="338"/>
                  </a:lnTo>
                  <a:lnTo>
                    <a:pt x="117" y="338"/>
                  </a:lnTo>
                  <a:lnTo>
                    <a:pt x="115" y="338"/>
                  </a:lnTo>
                  <a:lnTo>
                    <a:pt x="114" y="338"/>
                  </a:lnTo>
                  <a:lnTo>
                    <a:pt x="113" y="338"/>
                  </a:lnTo>
                  <a:lnTo>
                    <a:pt x="110" y="337"/>
                  </a:lnTo>
                  <a:lnTo>
                    <a:pt x="109" y="337"/>
                  </a:lnTo>
                  <a:lnTo>
                    <a:pt x="108" y="336"/>
                  </a:lnTo>
                  <a:lnTo>
                    <a:pt x="108" y="336"/>
                  </a:lnTo>
                  <a:lnTo>
                    <a:pt x="107" y="336"/>
                  </a:lnTo>
                  <a:lnTo>
                    <a:pt x="106" y="337"/>
                  </a:lnTo>
                  <a:lnTo>
                    <a:pt x="105" y="337"/>
                  </a:lnTo>
                  <a:lnTo>
                    <a:pt x="103" y="337"/>
                  </a:lnTo>
                  <a:lnTo>
                    <a:pt x="103" y="338"/>
                  </a:lnTo>
                  <a:lnTo>
                    <a:pt x="103" y="338"/>
                  </a:lnTo>
                  <a:lnTo>
                    <a:pt x="102" y="338"/>
                  </a:lnTo>
                  <a:lnTo>
                    <a:pt x="102" y="338"/>
                  </a:lnTo>
                  <a:lnTo>
                    <a:pt x="101" y="338"/>
                  </a:lnTo>
                  <a:lnTo>
                    <a:pt x="101" y="337"/>
                  </a:lnTo>
                  <a:lnTo>
                    <a:pt x="98" y="336"/>
                  </a:lnTo>
                  <a:lnTo>
                    <a:pt x="94" y="333"/>
                  </a:lnTo>
                  <a:lnTo>
                    <a:pt x="92" y="332"/>
                  </a:lnTo>
                  <a:lnTo>
                    <a:pt x="90" y="331"/>
                  </a:lnTo>
                  <a:lnTo>
                    <a:pt x="90" y="330"/>
                  </a:lnTo>
                  <a:lnTo>
                    <a:pt x="87" y="328"/>
                  </a:lnTo>
                  <a:lnTo>
                    <a:pt x="84" y="326"/>
                  </a:lnTo>
                  <a:lnTo>
                    <a:pt x="83" y="325"/>
                  </a:lnTo>
                  <a:lnTo>
                    <a:pt x="81" y="323"/>
                  </a:lnTo>
                  <a:lnTo>
                    <a:pt x="81" y="323"/>
                  </a:lnTo>
                  <a:lnTo>
                    <a:pt x="80" y="322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8" y="319"/>
                  </a:lnTo>
                  <a:lnTo>
                    <a:pt x="78" y="317"/>
                  </a:lnTo>
                  <a:lnTo>
                    <a:pt x="78" y="316"/>
                  </a:lnTo>
                  <a:lnTo>
                    <a:pt x="78" y="315"/>
                  </a:lnTo>
                  <a:lnTo>
                    <a:pt x="78" y="313"/>
                  </a:lnTo>
                  <a:lnTo>
                    <a:pt x="78" y="312"/>
                  </a:lnTo>
                  <a:lnTo>
                    <a:pt x="78" y="309"/>
                  </a:lnTo>
                  <a:lnTo>
                    <a:pt x="79" y="307"/>
                  </a:lnTo>
                  <a:lnTo>
                    <a:pt x="79" y="306"/>
                  </a:lnTo>
                  <a:lnTo>
                    <a:pt x="79" y="305"/>
                  </a:lnTo>
                  <a:lnTo>
                    <a:pt x="78" y="304"/>
                  </a:lnTo>
                  <a:lnTo>
                    <a:pt x="78" y="303"/>
                  </a:lnTo>
                  <a:lnTo>
                    <a:pt x="78" y="301"/>
                  </a:lnTo>
                  <a:lnTo>
                    <a:pt x="78" y="300"/>
                  </a:lnTo>
                  <a:lnTo>
                    <a:pt x="77" y="299"/>
                  </a:lnTo>
                  <a:lnTo>
                    <a:pt x="77" y="298"/>
                  </a:lnTo>
                  <a:lnTo>
                    <a:pt x="76" y="297"/>
                  </a:lnTo>
                  <a:lnTo>
                    <a:pt x="76" y="297"/>
                  </a:lnTo>
                  <a:lnTo>
                    <a:pt x="75" y="296"/>
                  </a:lnTo>
                  <a:lnTo>
                    <a:pt x="75" y="296"/>
                  </a:lnTo>
                  <a:lnTo>
                    <a:pt x="74" y="296"/>
                  </a:lnTo>
                  <a:lnTo>
                    <a:pt x="74" y="295"/>
                  </a:lnTo>
                  <a:lnTo>
                    <a:pt x="73" y="295"/>
                  </a:lnTo>
                  <a:lnTo>
                    <a:pt x="72" y="295"/>
                  </a:lnTo>
                  <a:lnTo>
                    <a:pt x="71" y="295"/>
                  </a:lnTo>
                  <a:lnTo>
                    <a:pt x="70" y="295"/>
                  </a:lnTo>
                  <a:lnTo>
                    <a:pt x="69" y="295"/>
                  </a:lnTo>
                  <a:lnTo>
                    <a:pt x="66" y="295"/>
                  </a:lnTo>
                  <a:lnTo>
                    <a:pt x="63" y="296"/>
                  </a:lnTo>
                  <a:lnTo>
                    <a:pt x="62" y="296"/>
                  </a:lnTo>
                  <a:lnTo>
                    <a:pt x="61" y="296"/>
                  </a:lnTo>
                  <a:lnTo>
                    <a:pt x="58" y="296"/>
                  </a:lnTo>
                  <a:lnTo>
                    <a:pt x="57" y="297"/>
                  </a:lnTo>
                  <a:lnTo>
                    <a:pt x="53" y="297"/>
                  </a:lnTo>
                  <a:lnTo>
                    <a:pt x="53" y="297"/>
                  </a:lnTo>
                  <a:lnTo>
                    <a:pt x="52" y="297"/>
                  </a:lnTo>
                  <a:lnTo>
                    <a:pt x="51" y="297"/>
                  </a:lnTo>
                  <a:lnTo>
                    <a:pt x="51" y="297"/>
                  </a:lnTo>
                  <a:lnTo>
                    <a:pt x="51" y="296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8" y="294"/>
                  </a:lnTo>
                  <a:lnTo>
                    <a:pt x="47" y="293"/>
                  </a:lnTo>
                  <a:lnTo>
                    <a:pt x="46" y="293"/>
                  </a:lnTo>
                  <a:lnTo>
                    <a:pt x="43" y="292"/>
                  </a:lnTo>
                  <a:lnTo>
                    <a:pt x="40" y="291"/>
                  </a:lnTo>
                  <a:lnTo>
                    <a:pt x="35" y="289"/>
                  </a:lnTo>
                  <a:lnTo>
                    <a:pt x="34" y="289"/>
                  </a:lnTo>
                  <a:lnTo>
                    <a:pt x="33" y="289"/>
                  </a:lnTo>
                  <a:lnTo>
                    <a:pt x="33" y="289"/>
                  </a:lnTo>
                  <a:lnTo>
                    <a:pt x="32" y="289"/>
                  </a:lnTo>
                  <a:lnTo>
                    <a:pt x="32" y="289"/>
                  </a:lnTo>
                  <a:lnTo>
                    <a:pt x="31" y="290"/>
                  </a:lnTo>
                  <a:lnTo>
                    <a:pt x="30" y="290"/>
                  </a:lnTo>
                  <a:lnTo>
                    <a:pt x="27" y="291"/>
                  </a:lnTo>
                  <a:lnTo>
                    <a:pt x="26" y="292"/>
                  </a:lnTo>
                  <a:lnTo>
                    <a:pt x="25" y="292"/>
                  </a:lnTo>
                  <a:lnTo>
                    <a:pt x="24" y="292"/>
                  </a:lnTo>
                  <a:lnTo>
                    <a:pt x="23" y="293"/>
                  </a:lnTo>
                  <a:lnTo>
                    <a:pt x="22" y="293"/>
                  </a:lnTo>
                  <a:lnTo>
                    <a:pt x="21" y="292"/>
                  </a:lnTo>
                  <a:lnTo>
                    <a:pt x="20" y="292"/>
                  </a:lnTo>
                  <a:lnTo>
                    <a:pt x="19" y="292"/>
                  </a:lnTo>
                  <a:lnTo>
                    <a:pt x="18" y="291"/>
                  </a:lnTo>
                  <a:lnTo>
                    <a:pt x="17" y="291"/>
                  </a:lnTo>
                  <a:lnTo>
                    <a:pt x="17" y="291"/>
                  </a:lnTo>
                  <a:lnTo>
                    <a:pt x="17" y="290"/>
                  </a:lnTo>
                  <a:lnTo>
                    <a:pt x="16" y="289"/>
                  </a:lnTo>
                  <a:lnTo>
                    <a:pt x="14" y="287"/>
                  </a:lnTo>
                  <a:lnTo>
                    <a:pt x="13" y="286"/>
                  </a:lnTo>
                  <a:lnTo>
                    <a:pt x="12" y="284"/>
                  </a:lnTo>
                  <a:lnTo>
                    <a:pt x="11" y="284"/>
                  </a:lnTo>
                  <a:lnTo>
                    <a:pt x="10" y="283"/>
                  </a:lnTo>
                  <a:lnTo>
                    <a:pt x="10" y="283"/>
                  </a:lnTo>
                  <a:lnTo>
                    <a:pt x="9" y="283"/>
                  </a:lnTo>
                  <a:lnTo>
                    <a:pt x="8" y="283"/>
                  </a:lnTo>
                  <a:lnTo>
                    <a:pt x="8" y="282"/>
                  </a:lnTo>
                  <a:lnTo>
                    <a:pt x="7" y="282"/>
                  </a:lnTo>
                  <a:lnTo>
                    <a:pt x="4" y="282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2" y="281"/>
                  </a:lnTo>
                  <a:lnTo>
                    <a:pt x="1" y="281"/>
                  </a:lnTo>
                  <a:lnTo>
                    <a:pt x="0" y="281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79"/>
                  </a:lnTo>
                  <a:lnTo>
                    <a:pt x="1" y="279"/>
                  </a:lnTo>
                  <a:lnTo>
                    <a:pt x="2" y="278"/>
                  </a:lnTo>
                  <a:lnTo>
                    <a:pt x="2" y="278"/>
                  </a:lnTo>
                  <a:lnTo>
                    <a:pt x="3" y="278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6"/>
                  </a:lnTo>
                  <a:lnTo>
                    <a:pt x="3" y="275"/>
                  </a:lnTo>
                  <a:lnTo>
                    <a:pt x="3" y="274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Freeform 30">
              <a:extLst>
                <a:ext uri="{FF2B5EF4-FFF2-40B4-BE49-F238E27FC236}">
                  <a16:creationId xmlns:a16="http://schemas.microsoft.com/office/drawing/2014/main" id="{0288C28E-0091-9909-959A-9958519CCE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" y="3418"/>
              <a:ext cx="185" cy="278"/>
            </a:xfrm>
            <a:custGeom>
              <a:avLst/>
              <a:gdLst>
                <a:gd name="T0" fmla="*/ 60 w 185"/>
                <a:gd name="T1" fmla="*/ 275 h 278"/>
                <a:gd name="T2" fmla="*/ 51 w 185"/>
                <a:gd name="T3" fmla="*/ 271 h 278"/>
                <a:gd name="T4" fmla="*/ 42 w 185"/>
                <a:gd name="T5" fmla="*/ 266 h 278"/>
                <a:gd name="T6" fmla="*/ 36 w 185"/>
                <a:gd name="T7" fmla="*/ 266 h 278"/>
                <a:gd name="T8" fmla="*/ 26 w 185"/>
                <a:gd name="T9" fmla="*/ 269 h 278"/>
                <a:gd name="T10" fmla="*/ 17 w 185"/>
                <a:gd name="T11" fmla="*/ 262 h 278"/>
                <a:gd name="T12" fmla="*/ 6 w 185"/>
                <a:gd name="T13" fmla="*/ 249 h 278"/>
                <a:gd name="T14" fmla="*/ 5 w 185"/>
                <a:gd name="T15" fmla="*/ 244 h 278"/>
                <a:gd name="T16" fmla="*/ 9 w 185"/>
                <a:gd name="T17" fmla="*/ 237 h 278"/>
                <a:gd name="T18" fmla="*/ 8 w 185"/>
                <a:gd name="T19" fmla="*/ 232 h 278"/>
                <a:gd name="T20" fmla="*/ 1 w 185"/>
                <a:gd name="T21" fmla="*/ 226 h 278"/>
                <a:gd name="T22" fmla="*/ 0 w 185"/>
                <a:gd name="T23" fmla="*/ 220 h 278"/>
                <a:gd name="T24" fmla="*/ 4 w 185"/>
                <a:gd name="T25" fmla="*/ 205 h 278"/>
                <a:gd name="T26" fmla="*/ 3 w 185"/>
                <a:gd name="T27" fmla="*/ 201 h 278"/>
                <a:gd name="T28" fmla="*/ 8 w 185"/>
                <a:gd name="T29" fmla="*/ 187 h 278"/>
                <a:gd name="T30" fmla="*/ 9 w 185"/>
                <a:gd name="T31" fmla="*/ 176 h 278"/>
                <a:gd name="T32" fmla="*/ 8 w 185"/>
                <a:gd name="T33" fmla="*/ 168 h 278"/>
                <a:gd name="T34" fmla="*/ 5 w 185"/>
                <a:gd name="T35" fmla="*/ 161 h 278"/>
                <a:gd name="T36" fmla="*/ 7 w 185"/>
                <a:gd name="T37" fmla="*/ 158 h 278"/>
                <a:gd name="T38" fmla="*/ 12 w 185"/>
                <a:gd name="T39" fmla="*/ 155 h 278"/>
                <a:gd name="T40" fmla="*/ 11 w 185"/>
                <a:gd name="T41" fmla="*/ 146 h 278"/>
                <a:gd name="T42" fmla="*/ 13 w 185"/>
                <a:gd name="T43" fmla="*/ 138 h 278"/>
                <a:gd name="T44" fmla="*/ 15 w 185"/>
                <a:gd name="T45" fmla="*/ 133 h 278"/>
                <a:gd name="T46" fmla="*/ 24 w 185"/>
                <a:gd name="T47" fmla="*/ 130 h 278"/>
                <a:gd name="T48" fmla="*/ 26 w 185"/>
                <a:gd name="T49" fmla="*/ 128 h 278"/>
                <a:gd name="T50" fmla="*/ 26 w 185"/>
                <a:gd name="T51" fmla="*/ 122 h 278"/>
                <a:gd name="T52" fmla="*/ 30 w 185"/>
                <a:gd name="T53" fmla="*/ 120 h 278"/>
                <a:gd name="T54" fmla="*/ 39 w 185"/>
                <a:gd name="T55" fmla="*/ 122 h 278"/>
                <a:gd name="T56" fmla="*/ 52 w 185"/>
                <a:gd name="T57" fmla="*/ 123 h 278"/>
                <a:gd name="T58" fmla="*/ 64 w 185"/>
                <a:gd name="T59" fmla="*/ 119 h 278"/>
                <a:gd name="T60" fmla="*/ 71 w 185"/>
                <a:gd name="T61" fmla="*/ 121 h 278"/>
                <a:gd name="T62" fmla="*/ 79 w 185"/>
                <a:gd name="T63" fmla="*/ 124 h 278"/>
                <a:gd name="T64" fmla="*/ 81 w 185"/>
                <a:gd name="T65" fmla="*/ 122 h 278"/>
                <a:gd name="T66" fmla="*/ 85 w 185"/>
                <a:gd name="T67" fmla="*/ 117 h 278"/>
                <a:gd name="T68" fmla="*/ 90 w 185"/>
                <a:gd name="T69" fmla="*/ 115 h 278"/>
                <a:gd name="T70" fmla="*/ 99 w 185"/>
                <a:gd name="T71" fmla="*/ 115 h 278"/>
                <a:gd name="T72" fmla="*/ 104 w 185"/>
                <a:gd name="T73" fmla="*/ 110 h 278"/>
                <a:gd name="T74" fmla="*/ 105 w 185"/>
                <a:gd name="T75" fmla="*/ 103 h 278"/>
                <a:gd name="T76" fmla="*/ 102 w 185"/>
                <a:gd name="T77" fmla="*/ 96 h 278"/>
                <a:gd name="T78" fmla="*/ 97 w 185"/>
                <a:gd name="T79" fmla="*/ 92 h 278"/>
                <a:gd name="T80" fmla="*/ 87 w 185"/>
                <a:gd name="T81" fmla="*/ 87 h 278"/>
                <a:gd name="T82" fmla="*/ 85 w 185"/>
                <a:gd name="T83" fmla="*/ 79 h 278"/>
                <a:gd name="T84" fmla="*/ 87 w 185"/>
                <a:gd name="T85" fmla="*/ 72 h 278"/>
                <a:gd name="T86" fmla="*/ 97 w 185"/>
                <a:gd name="T87" fmla="*/ 58 h 278"/>
                <a:gd name="T88" fmla="*/ 100 w 185"/>
                <a:gd name="T89" fmla="*/ 51 h 278"/>
                <a:gd name="T90" fmla="*/ 105 w 185"/>
                <a:gd name="T91" fmla="*/ 48 h 278"/>
                <a:gd name="T92" fmla="*/ 109 w 185"/>
                <a:gd name="T93" fmla="*/ 50 h 278"/>
                <a:gd name="T94" fmla="*/ 115 w 185"/>
                <a:gd name="T95" fmla="*/ 48 h 278"/>
                <a:gd name="T96" fmla="*/ 129 w 185"/>
                <a:gd name="T97" fmla="*/ 43 h 278"/>
                <a:gd name="T98" fmla="*/ 140 w 185"/>
                <a:gd name="T99" fmla="*/ 39 h 278"/>
                <a:gd name="T100" fmla="*/ 146 w 185"/>
                <a:gd name="T101" fmla="*/ 32 h 278"/>
                <a:gd name="T102" fmla="*/ 154 w 185"/>
                <a:gd name="T103" fmla="*/ 31 h 278"/>
                <a:gd name="T104" fmla="*/ 159 w 185"/>
                <a:gd name="T105" fmla="*/ 30 h 278"/>
                <a:gd name="T106" fmla="*/ 160 w 185"/>
                <a:gd name="T107" fmla="*/ 26 h 278"/>
                <a:gd name="T108" fmla="*/ 158 w 185"/>
                <a:gd name="T109" fmla="*/ 19 h 278"/>
                <a:gd name="T110" fmla="*/ 159 w 185"/>
                <a:gd name="T111" fmla="*/ 15 h 278"/>
                <a:gd name="T112" fmla="*/ 164 w 185"/>
                <a:gd name="T113" fmla="*/ 10 h 278"/>
                <a:gd name="T114" fmla="*/ 172 w 185"/>
                <a:gd name="T115" fmla="*/ 8 h 278"/>
                <a:gd name="T116" fmla="*/ 179 w 185"/>
                <a:gd name="T117" fmla="*/ 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5" h="278">
                  <a:moveTo>
                    <a:pt x="61" y="278"/>
                  </a:moveTo>
                  <a:lnTo>
                    <a:pt x="61" y="278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9" y="275"/>
                  </a:lnTo>
                  <a:lnTo>
                    <a:pt x="57" y="274"/>
                  </a:lnTo>
                  <a:lnTo>
                    <a:pt x="56" y="274"/>
                  </a:lnTo>
                  <a:lnTo>
                    <a:pt x="52" y="272"/>
                  </a:lnTo>
                  <a:lnTo>
                    <a:pt x="51" y="272"/>
                  </a:lnTo>
                  <a:lnTo>
                    <a:pt x="51" y="271"/>
                  </a:lnTo>
                  <a:lnTo>
                    <a:pt x="49" y="271"/>
                  </a:lnTo>
                  <a:lnTo>
                    <a:pt x="48" y="270"/>
                  </a:lnTo>
                  <a:lnTo>
                    <a:pt x="46" y="269"/>
                  </a:lnTo>
                  <a:lnTo>
                    <a:pt x="44" y="267"/>
                  </a:lnTo>
                  <a:lnTo>
                    <a:pt x="44" y="266"/>
                  </a:lnTo>
                  <a:lnTo>
                    <a:pt x="43" y="266"/>
                  </a:lnTo>
                  <a:lnTo>
                    <a:pt x="42" y="266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30" y="269"/>
                  </a:lnTo>
                  <a:lnTo>
                    <a:pt x="29" y="269"/>
                  </a:lnTo>
                  <a:lnTo>
                    <a:pt x="28" y="270"/>
                  </a:lnTo>
                  <a:lnTo>
                    <a:pt x="27" y="270"/>
                  </a:lnTo>
                  <a:lnTo>
                    <a:pt x="26" y="269"/>
                  </a:lnTo>
                  <a:lnTo>
                    <a:pt x="25" y="269"/>
                  </a:lnTo>
                  <a:lnTo>
                    <a:pt x="25" y="269"/>
                  </a:lnTo>
                  <a:lnTo>
                    <a:pt x="24" y="269"/>
                  </a:lnTo>
                  <a:lnTo>
                    <a:pt x="23" y="268"/>
                  </a:lnTo>
                  <a:lnTo>
                    <a:pt x="21" y="266"/>
                  </a:lnTo>
                  <a:lnTo>
                    <a:pt x="18" y="264"/>
                  </a:lnTo>
                  <a:lnTo>
                    <a:pt x="17" y="262"/>
                  </a:lnTo>
                  <a:lnTo>
                    <a:pt x="15" y="260"/>
                  </a:lnTo>
                  <a:lnTo>
                    <a:pt x="15" y="259"/>
                  </a:lnTo>
                  <a:lnTo>
                    <a:pt x="11" y="256"/>
                  </a:lnTo>
                  <a:lnTo>
                    <a:pt x="11" y="255"/>
                  </a:lnTo>
                  <a:lnTo>
                    <a:pt x="10" y="255"/>
                  </a:lnTo>
                  <a:lnTo>
                    <a:pt x="8" y="252"/>
                  </a:lnTo>
                  <a:lnTo>
                    <a:pt x="6" y="249"/>
                  </a:lnTo>
                  <a:lnTo>
                    <a:pt x="5" y="248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5" y="243"/>
                  </a:lnTo>
                  <a:lnTo>
                    <a:pt x="5" y="242"/>
                  </a:lnTo>
                  <a:lnTo>
                    <a:pt x="6" y="241"/>
                  </a:lnTo>
                  <a:lnTo>
                    <a:pt x="7" y="240"/>
                  </a:lnTo>
                  <a:lnTo>
                    <a:pt x="8" y="239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4"/>
                  </a:lnTo>
                  <a:lnTo>
                    <a:pt x="8" y="233"/>
                  </a:lnTo>
                  <a:lnTo>
                    <a:pt x="8" y="232"/>
                  </a:lnTo>
                  <a:lnTo>
                    <a:pt x="7" y="232"/>
                  </a:lnTo>
                  <a:lnTo>
                    <a:pt x="7" y="231"/>
                  </a:lnTo>
                  <a:lnTo>
                    <a:pt x="6" y="230"/>
                  </a:lnTo>
                  <a:lnTo>
                    <a:pt x="4" y="228"/>
                  </a:lnTo>
                  <a:lnTo>
                    <a:pt x="3" y="228"/>
                  </a:lnTo>
                  <a:lnTo>
                    <a:pt x="2" y="227"/>
                  </a:lnTo>
                  <a:lnTo>
                    <a:pt x="1" y="226"/>
                  </a:lnTo>
                  <a:lnTo>
                    <a:pt x="0" y="225"/>
                  </a:lnTo>
                  <a:lnTo>
                    <a:pt x="0" y="224"/>
                  </a:lnTo>
                  <a:lnTo>
                    <a:pt x="0" y="223"/>
                  </a:lnTo>
                  <a:lnTo>
                    <a:pt x="0" y="222"/>
                  </a:lnTo>
                  <a:lnTo>
                    <a:pt x="0" y="221"/>
                  </a:lnTo>
                  <a:lnTo>
                    <a:pt x="0" y="221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1" y="215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09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1"/>
                  </a:lnTo>
                  <a:lnTo>
                    <a:pt x="4" y="200"/>
                  </a:lnTo>
                  <a:lnTo>
                    <a:pt x="5" y="198"/>
                  </a:lnTo>
                  <a:lnTo>
                    <a:pt x="6" y="195"/>
                  </a:lnTo>
                  <a:lnTo>
                    <a:pt x="7" y="192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7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9" y="180"/>
                  </a:lnTo>
                  <a:lnTo>
                    <a:pt x="9" y="179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9" y="172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8" y="169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7" y="166"/>
                  </a:lnTo>
                  <a:lnTo>
                    <a:pt x="5" y="163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9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1" y="156"/>
                  </a:lnTo>
                  <a:lnTo>
                    <a:pt x="11" y="155"/>
                  </a:lnTo>
                  <a:lnTo>
                    <a:pt x="12" y="155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1" y="146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3" y="141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7" y="133"/>
                  </a:lnTo>
                  <a:lnTo>
                    <a:pt x="22" y="131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9" y="120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0"/>
                  </a:lnTo>
                  <a:lnTo>
                    <a:pt x="32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22"/>
                  </a:lnTo>
                  <a:lnTo>
                    <a:pt x="43" y="122"/>
                  </a:lnTo>
                  <a:lnTo>
                    <a:pt x="47" y="123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8" y="121"/>
                  </a:lnTo>
                  <a:lnTo>
                    <a:pt x="61" y="120"/>
                  </a:lnTo>
                  <a:lnTo>
                    <a:pt x="63" y="119"/>
                  </a:lnTo>
                  <a:lnTo>
                    <a:pt x="64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20"/>
                  </a:lnTo>
                  <a:lnTo>
                    <a:pt x="70" y="120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7" y="124"/>
                  </a:lnTo>
                  <a:lnTo>
                    <a:pt x="78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1" y="123"/>
                  </a:lnTo>
                  <a:lnTo>
                    <a:pt x="81" y="122"/>
                  </a:lnTo>
                  <a:lnTo>
                    <a:pt x="82" y="121"/>
                  </a:lnTo>
                  <a:lnTo>
                    <a:pt x="82" y="120"/>
                  </a:lnTo>
                  <a:lnTo>
                    <a:pt x="83" y="118"/>
                  </a:lnTo>
                  <a:lnTo>
                    <a:pt x="84" y="118"/>
                  </a:lnTo>
                  <a:lnTo>
                    <a:pt x="84" y="117"/>
                  </a:lnTo>
                  <a:lnTo>
                    <a:pt x="84" y="117"/>
                  </a:lnTo>
                  <a:lnTo>
                    <a:pt x="85" y="117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9" y="115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5" y="115"/>
                  </a:lnTo>
                  <a:lnTo>
                    <a:pt x="96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100" y="114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4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5" y="101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3" y="97"/>
                  </a:lnTo>
                  <a:lnTo>
                    <a:pt x="102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3"/>
                  </a:lnTo>
                  <a:lnTo>
                    <a:pt x="98" y="93"/>
                  </a:lnTo>
                  <a:lnTo>
                    <a:pt x="97" y="92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6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3"/>
                  </a:lnTo>
                  <a:lnTo>
                    <a:pt x="85" y="81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5" y="78"/>
                  </a:lnTo>
                  <a:lnTo>
                    <a:pt x="86" y="77"/>
                  </a:lnTo>
                  <a:lnTo>
                    <a:pt x="86" y="76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8" y="71"/>
                  </a:lnTo>
                  <a:lnTo>
                    <a:pt x="88" y="70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7" y="58"/>
                  </a:lnTo>
                  <a:lnTo>
                    <a:pt x="98" y="56"/>
                  </a:lnTo>
                  <a:lnTo>
                    <a:pt x="98" y="55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3" y="49"/>
                  </a:lnTo>
                  <a:lnTo>
                    <a:pt x="104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6" y="48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4" y="49"/>
                  </a:lnTo>
                  <a:lnTo>
                    <a:pt x="115" y="48"/>
                  </a:lnTo>
                  <a:lnTo>
                    <a:pt x="118" y="47"/>
                  </a:lnTo>
                  <a:lnTo>
                    <a:pt x="119" y="46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4" y="44"/>
                  </a:lnTo>
                  <a:lnTo>
                    <a:pt x="126" y="44"/>
                  </a:lnTo>
                  <a:lnTo>
                    <a:pt x="129" y="43"/>
                  </a:lnTo>
                  <a:lnTo>
                    <a:pt x="131" y="42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6" y="41"/>
                  </a:lnTo>
                  <a:lnTo>
                    <a:pt x="137" y="41"/>
                  </a:lnTo>
                  <a:lnTo>
                    <a:pt x="138" y="40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41" y="38"/>
                  </a:lnTo>
                  <a:lnTo>
                    <a:pt x="142" y="37"/>
                  </a:lnTo>
                  <a:lnTo>
                    <a:pt x="143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7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4" y="31"/>
                  </a:lnTo>
                  <a:lnTo>
                    <a:pt x="155" y="31"/>
                  </a:lnTo>
                  <a:lnTo>
                    <a:pt x="156" y="31"/>
                  </a:lnTo>
                  <a:lnTo>
                    <a:pt x="157" y="31"/>
                  </a:lnTo>
                  <a:lnTo>
                    <a:pt x="158" y="31"/>
                  </a:lnTo>
                  <a:lnTo>
                    <a:pt x="158" y="30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7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5"/>
                  </a:lnTo>
                  <a:lnTo>
                    <a:pt x="160" y="24"/>
                  </a:lnTo>
                  <a:lnTo>
                    <a:pt x="159" y="23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7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4"/>
                  </a:lnTo>
                  <a:lnTo>
                    <a:pt x="160" y="13"/>
                  </a:lnTo>
                  <a:lnTo>
                    <a:pt x="162" y="12"/>
                  </a:lnTo>
                  <a:lnTo>
                    <a:pt x="162" y="11"/>
                  </a:lnTo>
                  <a:lnTo>
                    <a:pt x="163" y="11"/>
                  </a:lnTo>
                  <a:lnTo>
                    <a:pt x="163" y="10"/>
                  </a:lnTo>
                  <a:lnTo>
                    <a:pt x="164" y="10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9"/>
                  </a:lnTo>
                  <a:lnTo>
                    <a:pt x="170" y="9"/>
                  </a:lnTo>
                  <a:lnTo>
                    <a:pt x="171" y="9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8" y="4"/>
                  </a:lnTo>
                  <a:lnTo>
                    <a:pt x="179" y="3"/>
                  </a:lnTo>
                  <a:lnTo>
                    <a:pt x="179" y="2"/>
                  </a:lnTo>
                  <a:lnTo>
                    <a:pt x="180" y="2"/>
                  </a:lnTo>
                  <a:lnTo>
                    <a:pt x="180" y="1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80" y="1"/>
                  </a:lnTo>
                  <a:lnTo>
                    <a:pt x="185" y="4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Freeform 31">
              <a:extLst>
                <a:ext uri="{FF2B5EF4-FFF2-40B4-BE49-F238E27FC236}">
                  <a16:creationId xmlns:a16="http://schemas.microsoft.com/office/drawing/2014/main" id="{9BD4A4A8-02D7-06D8-95F6-79172992F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21"/>
              <a:ext cx="642" cy="464"/>
            </a:xfrm>
            <a:custGeom>
              <a:avLst/>
              <a:gdLst>
                <a:gd name="T0" fmla="*/ 339 w 642"/>
                <a:gd name="T1" fmla="*/ 2 h 464"/>
                <a:gd name="T2" fmla="*/ 375 w 642"/>
                <a:gd name="T3" fmla="*/ 17 h 464"/>
                <a:gd name="T4" fmla="*/ 360 w 642"/>
                <a:gd name="T5" fmla="*/ 32 h 464"/>
                <a:gd name="T6" fmla="*/ 381 w 642"/>
                <a:gd name="T7" fmla="*/ 46 h 464"/>
                <a:gd name="T8" fmla="*/ 384 w 642"/>
                <a:gd name="T9" fmla="*/ 87 h 464"/>
                <a:gd name="T10" fmla="*/ 390 w 642"/>
                <a:gd name="T11" fmla="*/ 109 h 464"/>
                <a:gd name="T12" fmla="*/ 410 w 642"/>
                <a:gd name="T13" fmla="*/ 87 h 464"/>
                <a:gd name="T14" fmla="*/ 403 w 642"/>
                <a:gd name="T15" fmla="*/ 62 h 464"/>
                <a:gd name="T16" fmla="*/ 430 w 642"/>
                <a:gd name="T17" fmla="*/ 77 h 464"/>
                <a:gd name="T18" fmla="*/ 448 w 642"/>
                <a:gd name="T19" fmla="*/ 106 h 464"/>
                <a:gd name="T20" fmla="*/ 452 w 642"/>
                <a:gd name="T21" fmla="*/ 121 h 464"/>
                <a:gd name="T22" fmla="*/ 483 w 642"/>
                <a:gd name="T23" fmla="*/ 146 h 464"/>
                <a:gd name="T24" fmla="*/ 488 w 642"/>
                <a:gd name="T25" fmla="*/ 200 h 464"/>
                <a:gd name="T26" fmla="*/ 500 w 642"/>
                <a:gd name="T27" fmla="*/ 213 h 464"/>
                <a:gd name="T28" fmla="*/ 478 w 642"/>
                <a:gd name="T29" fmla="*/ 242 h 464"/>
                <a:gd name="T30" fmla="*/ 504 w 642"/>
                <a:gd name="T31" fmla="*/ 246 h 464"/>
                <a:gd name="T32" fmla="*/ 517 w 642"/>
                <a:gd name="T33" fmla="*/ 270 h 464"/>
                <a:gd name="T34" fmla="*/ 551 w 642"/>
                <a:gd name="T35" fmla="*/ 287 h 464"/>
                <a:gd name="T36" fmla="*/ 578 w 642"/>
                <a:gd name="T37" fmla="*/ 304 h 464"/>
                <a:gd name="T38" fmla="*/ 610 w 642"/>
                <a:gd name="T39" fmla="*/ 313 h 464"/>
                <a:gd name="T40" fmla="*/ 641 w 642"/>
                <a:gd name="T41" fmla="*/ 348 h 464"/>
                <a:gd name="T42" fmla="*/ 611 w 642"/>
                <a:gd name="T43" fmla="*/ 367 h 464"/>
                <a:gd name="T44" fmla="*/ 583 w 642"/>
                <a:gd name="T45" fmla="*/ 358 h 464"/>
                <a:gd name="T46" fmla="*/ 546 w 642"/>
                <a:gd name="T47" fmla="*/ 362 h 464"/>
                <a:gd name="T48" fmla="*/ 503 w 642"/>
                <a:gd name="T49" fmla="*/ 347 h 464"/>
                <a:gd name="T50" fmla="*/ 462 w 642"/>
                <a:gd name="T51" fmla="*/ 396 h 464"/>
                <a:gd name="T52" fmla="*/ 435 w 642"/>
                <a:gd name="T53" fmla="*/ 458 h 464"/>
                <a:gd name="T54" fmla="*/ 422 w 642"/>
                <a:gd name="T55" fmla="*/ 442 h 464"/>
                <a:gd name="T56" fmla="*/ 403 w 642"/>
                <a:gd name="T57" fmla="*/ 421 h 464"/>
                <a:gd name="T58" fmla="*/ 358 w 642"/>
                <a:gd name="T59" fmla="*/ 413 h 464"/>
                <a:gd name="T60" fmla="*/ 342 w 642"/>
                <a:gd name="T61" fmla="*/ 394 h 464"/>
                <a:gd name="T62" fmla="*/ 304 w 642"/>
                <a:gd name="T63" fmla="*/ 381 h 464"/>
                <a:gd name="T64" fmla="*/ 269 w 642"/>
                <a:gd name="T65" fmla="*/ 405 h 464"/>
                <a:gd name="T66" fmla="*/ 242 w 642"/>
                <a:gd name="T67" fmla="*/ 415 h 464"/>
                <a:gd name="T68" fmla="*/ 181 w 642"/>
                <a:gd name="T69" fmla="*/ 412 h 464"/>
                <a:gd name="T70" fmla="*/ 127 w 642"/>
                <a:gd name="T71" fmla="*/ 385 h 464"/>
                <a:gd name="T72" fmla="*/ 110 w 642"/>
                <a:gd name="T73" fmla="*/ 370 h 464"/>
                <a:gd name="T74" fmla="*/ 92 w 642"/>
                <a:gd name="T75" fmla="*/ 356 h 464"/>
                <a:gd name="T76" fmla="*/ 61 w 642"/>
                <a:gd name="T77" fmla="*/ 362 h 464"/>
                <a:gd name="T78" fmla="*/ 7 w 642"/>
                <a:gd name="T79" fmla="*/ 341 h 464"/>
                <a:gd name="T80" fmla="*/ 8 w 642"/>
                <a:gd name="T81" fmla="*/ 323 h 464"/>
                <a:gd name="T82" fmla="*/ 27 w 642"/>
                <a:gd name="T83" fmla="*/ 321 h 464"/>
                <a:gd name="T84" fmla="*/ 51 w 642"/>
                <a:gd name="T85" fmla="*/ 314 h 464"/>
                <a:gd name="T86" fmla="*/ 78 w 642"/>
                <a:gd name="T87" fmla="*/ 297 h 464"/>
                <a:gd name="T88" fmla="*/ 105 w 642"/>
                <a:gd name="T89" fmla="*/ 280 h 464"/>
                <a:gd name="T90" fmla="*/ 125 w 642"/>
                <a:gd name="T91" fmla="*/ 271 h 464"/>
                <a:gd name="T92" fmla="*/ 149 w 642"/>
                <a:gd name="T93" fmla="*/ 275 h 464"/>
                <a:gd name="T94" fmla="*/ 180 w 642"/>
                <a:gd name="T95" fmla="*/ 267 h 464"/>
                <a:gd name="T96" fmla="*/ 207 w 642"/>
                <a:gd name="T97" fmla="*/ 251 h 464"/>
                <a:gd name="T98" fmla="*/ 203 w 642"/>
                <a:gd name="T99" fmla="*/ 231 h 464"/>
                <a:gd name="T100" fmla="*/ 210 w 642"/>
                <a:gd name="T101" fmla="*/ 214 h 464"/>
                <a:gd name="T102" fmla="*/ 211 w 642"/>
                <a:gd name="T103" fmla="*/ 194 h 464"/>
                <a:gd name="T104" fmla="*/ 222 w 642"/>
                <a:gd name="T105" fmla="*/ 172 h 464"/>
                <a:gd name="T106" fmla="*/ 223 w 642"/>
                <a:gd name="T107" fmla="*/ 147 h 464"/>
                <a:gd name="T108" fmla="*/ 210 w 642"/>
                <a:gd name="T109" fmla="*/ 134 h 464"/>
                <a:gd name="T110" fmla="*/ 216 w 642"/>
                <a:gd name="T111" fmla="*/ 99 h 464"/>
                <a:gd name="T112" fmla="*/ 233 w 642"/>
                <a:gd name="T113" fmla="*/ 87 h 464"/>
                <a:gd name="T114" fmla="*/ 240 w 642"/>
                <a:gd name="T115" fmla="*/ 78 h 464"/>
                <a:gd name="T116" fmla="*/ 251 w 642"/>
                <a:gd name="T117" fmla="*/ 73 h 464"/>
                <a:gd name="T118" fmla="*/ 256 w 642"/>
                <a:gd name="T119" fmla="*/ 58 h 464"/>
                <a:gd name="T120" fmla="*/ 250 w 642"/>
                <a:gd name="T121" fmla="*/ 37 h 464"/>
                <a:gd name="T122" fmla="*/ 266 w 642"/>
                <a:gd name="T123" fmla="*/ 17 h 464"/>
                <a:gd name="T124" fmla="*/ 297 w 642"/>
                <a:gd name="T125" fmla="*/ 17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42" h="464">
                  <a:moveTo>
                    <a:pt x="303" y="0"/>
                  </a:moveTo>
                  <a:lnTo>
                    <a:pt x="303" y="0"/>
                  </a:lnTo>
                  <a:lnTo>
                    <a:pt x="304" y="0"/>
                  </a:lnTo>
                  <a:lnTo>
                    <a:pt x="305" y="1"/>
                  </a:lnTo>
                  <a:lnTo>
                    <a:pt x="308" y="1"/>
                  </a:lnTo>
                  <a:lnTo>
                    <a:pt x="309" y="2"/>
                  </a:lnTo>
                  <a:lnTo>
                    <a:pt x="311" y="2"/>
                  </a:lnTo>
                  <a:lnTo>
                    <a:pt x="314" y="2"/>
                  </a:lnTo>
                  <a:lnTo>
                    <a:pt x="316" y="2"/>
                  </a:lnTo>
                  <a:lnTo>
                    <a:pt x="317" y="2"/>
                  </a:lnTo>
                  <a:lnTo>
                    <a:pt x="319" y="2"/>
                  </a:lnTo>
                  <a:lnTo>
                    <a:pt x="322" y="1"/>
                  </a:lnTo>
                  <a:lnTo>
                    <a:pt x="322" y="1"/>
                  </a:lnTo>
                  <a:lnTo>
                    <a:pt x="323" y="1"/>
                  </a:lnTo>
                  <a:lnTo>
                    <a:pt x="324" y="1"/>
                  </a:lnTo>
                  <a:lnTo>
                    <a:pt x="325" y="1"/>
                  </a:lnTo>
                  <a:lnTo>
                    <a:pt x="326" y="1"/>
                  </a:lnTo>
                  <a:lnTo>
                    <a:pt x="329" y="2"/>
                  </a:lnTo>
                  <a:lnTo>
                    <a:pt x="329" y="2"/>
                  </a:lnTo>
                  <a:lnTo>
                    <a:pt x="330" y="2"/>
                  </a:lnTo>
                  <a:lnTo>
                    <a:pt x="331" y="2"/>
                  </a:lnTo>
                  <a:lnTo>
                    <a:pt x="332" y="2"/>
                  </a:lnTo>
                  <a:lnTo>
                    <a:pt x="334" y="2"/>
                  </a:lnTo>
                  <a:lnTo>
                    <a:pt x="336" y="1"/>
                  </a:lnTo>
                  <a:lnTo>
                    <a:pt x="337" y="1"/>
                  </a:lnTo>
                  <a:lnTo>
                    <a:pt x="338" y="1"/>
                  </a:lnTo>
                  <a:lnTo>
                    <a:pt x="339" y="2"/>
                  </a:lnTo>
                  <a:lnTo>
                    <a:pt x="342" y="2"/>
                  </a:lnTo>
                  <a:lnTo>
                    <a:pt x="343" y="2"/>
                  </a:lnTo>
                  <a:lnTo>
                    <a:pt x="344" y="2"/>
                  </a:lnTo>
                  <a:lnTo>
                    <a:pt x="346" y="3"/>
                  </a:lnTo>
                  <a:lnTo>
                    <a:pt x="347" y="3"/>
                  </a:lnTo>
                  <a:lnTo>
                    <a:pt x="348" y="4"/>
                  </a:lnTo>
                  <a:lnTo>
                    <a:pt x="350" y="4"/>
                  </a:lnTo>
                  <a:lnTo>
                    <a:pt x="352" y="5"/>
                  </a:lnTo>
                  <a:lnTo>
                    <a:pt x="359" y="9"/>
                  </a:lnTo>
                  <a:lnTo>
                    <a:pt x="361" y="9"/>
                  </a:lnTo>
                  <a:lnTo>
                    <a:pt x="362" y="10"/>
                  </a:lnTo>
                  <a:lnTo>
                    <a:pt x="364" y="11"/>
                  </a:lnTo>
                  <a:lnTo>
                    <a:pt x="366" y="11"/>
                  </a:lnTo>
                  <a:lnTo>
                    <a:pt x="367" y="12"/>
                  </a:lnTo>
                  <a:lnTo>
                    <a:pt x="369" y="12"/>
                  </a:lnTo>
                  <a:lnTo>
                    <a:pt x="371" y="13"/>
                  </a:lnTo>
                  <a:lnTo>
                    <a:pt x="372" y="13"/>
                  </a:lnTo>
                  <a:lnTo>
                    <a:pt x="373" y="13"/>
                  </a:lnTo>
                  <a:lnTo>
                    <a:pt x="375" y="13"/>
                  </a:lnTo>
                  <a:lnTo>
                    <a:pt x="376" y="13"/>
                  </a:lnTo>
                  <a:lnTo>
                    <a:pt x="376" y="13"/>
                  </a:lnTo>
                  <a:lnTo>
                    <a:pt x="377" y="13"/>
                  </a:lnTo>
                  <a:lnTo>
                    <a:pt x="376" y="13"/>
                  </a:lnTo>
                  <a:lnTo>
                    <a:pt x="376" y="14"/>
                  </a:lnTo>
                  <a:lnTo>
                    <a:pt x="376" y="15"/>
                  </a:lnTo>
                  <a:lnTo>
                    <a:pt x="375" y="16"/>
                  </a:lnTo>
                  <a:lnTo>
                    <a:pt x="375" y="17"/>
                  </a:lnTo>
                  <a:lnTo>
                    <a:pt x="374" y="20"/>
                  </a:lnTo>
                  <a:lnTo>
                    <a:pt x="374" y="20"/>
                  </a:lnTo>
                  <a:lnTo>
                    <a:pt x="374" y="21"/>
                  </a:lnTo>
                  <a:lnTo>
                    <a:pt x="374" y="21"/>
                  </a:lnTo>
                  <a:lnTo>
                    <a:pt x="373" y="22"/>
                  </a:lnTo>
                  <a:lnTo>
                    <a:pt x="373" y="22"/>
                  </a:lnTo>
                  <a:lnTo>
                    <a:pt x="372" y="22"/>
                  </a:lnTo>
                  <a:lnTo>
                    <a:pt x="372" y="23"/>
                  </a:lnTo>
                  <a:lnTo>
                    <a:pt x="372" y="23"/>
                  </a:lnTo>
                  <a:lnTo>
                    <a:pt x="371" y="23"/>
                  </a:lnTo>
                  <a:lnTo>
                    <a:pt x="370" y="23"/>
                  </a:lnTo>
                  <a:lnTo>
                    <a:pt x="369" y="23"/>
                  </a:lnTo>
                  <a:lnTo>
                    <a:pt x="365" y="22"/>
                  </a:lnTo>
                  <a:lnTo>
                    <a:pt x="362" y="21"/>
                  </a:lnTo>
                  <a:lnTo>
                    <a:pt x="362" y="21"/>
                  </a:lnTo>
                  <a:lnTo>
                    <a:pt x="361" y="21"/>
                  </a:lnTo>
                  <a:lnTo>
                    <a:pt x="361" y="22"/>
                  </a:lnTo>
                  <a:lnTo>
                    <a:pt x="360" y="22"/>
                  </a:lnTo>
                  <a:lnTo>
                    <a:pt x="360" y="22"/>
                  </a:lnTo>
                  <a:lnTo>
                    <a:pt x="360" y="23"/>
                  </a:lnTo>
                  <a:lnTo>
                    <a:pt x="360" y="24"/>
                  </a:lnTo>
                  <a:lnTo>
                    <a:pt x="359" y="25"/>
                  </a:lnTo>
                  <a:lnTo>
                    <a:pt x="359" y="26"/>
                  </a:lnTo>
                  <a:lnTo>
                    <a:pt x="359" y="27"/>
                  </a:lnTo>
                  <a:lnTo>
                    <a:pt x="360" y="30"/>
                  </a:lnTo>
                  <a:lnTo>
                    <a:pt x="360" y="31"/>
                  </a:lnTo>
                  <a:lnTo>
                    <a:pt x="360" y="32"/>
                  </a:lnTo>
                  <a:lnTo>
                    <a:pt x="360" y="34"/>
                  </a:lnTo>
                  <a:lnTo>
                    <a:pt x="360" y="35"/>
                  </a:lnTo>
                  <a:lnTo>
                    <a:pt x="360" y="36"/>
                  </a:lnTo>
                  <a:lnTo>
                    <a:pt x="360" y="36"/>
                  </a:lnTo>
                  <a:lnTo>
                    <a:pt x="360" y="37"/>
                  </a:lnTo>
                  <a:lnTo>
                    <a:pt x="360" y="37"/>
                  </a:lnTo>
                  <a:lnTo>
                    <a:pt x="361" y="37"/>
                  </a:lnTo>
                  <a:lnTo>
                    <a:pt x="361" y="38"/>
                  </a:lnTo>
                  <a:lnTo>
                    <a:pt x="362" y="38"/>
                  </a:lnTo>
                  <a:lnTo>
                    <a:pt x="362" y="38"/>
                  </a:lnTo>
                  <a:lnTo>
                    <a:pt x="365" y="39"/>
                  </a:lnTo>
                  <a:lnTo>
                    <a:pt x="368" y="40"/>
                  </a:lnTo>
                  <a:lnTo>
                    <a:pt x="372" y="41"/>
                  </a:lnTo>
                  <a:lnTo>
                    <a:pt x="374" y="42"/>
                  </a:lnTo>
                  <a:lnTo>
                    <a:pt x="376" y="42"/>
                  </a:lnTo>
                  <a:lnTo>
                    <a:pt x="377" y="42"/>
                  </a:lnTo>
                  <a:lnTo>
                    <a:pt x="379" y="42"/>
                  </a:lnTo>
                  <a:lnTo>
                    <a:pt x="381" y="43"/>
                  </a:lnTo>
                  <a:lnTo>
                    <a:pt x="382" y="43"/>
                  </a:lnTo>
                  <a:lnTo>
                    <a:pt x="382" y="43"/>
                  </a:lnTo>
                  <a:lnTo>
                    <a:pt x="383" y="43"/>
                  </a:lnTo>
                  <a:lnTo>
                    <a:pt x="383" y="44"/>
                  </a:lnTo>
                  <a:lnTo>
                    <a:pt x="383" y="44"/>
                  </a:lnTo>
                  <a:lnTo>
                    <a:pt x="382" y="44"/>
                  </a:lnTo>
                  <a:lnTo>
                    <a:pt x="382" y="45"/>
                  </a:lnTo>
                  <a:lnTo>
                    <a:pt x="381" y="45"/>
                  </a:lnTo>
                  <a:lnTo>
                    <a:pt x="381" y="46"/>
                  </a:lnTo>
                  <a:lnTo>
                    <a:pt x="380" y="47"/>
                  </a:lnTo>
                  <a:lnTo>
                    <a:pt x="379" y="47"/>
                  </a:lnTo>
                  <a:lnTo>
                    <a:pt x="379" y="48"/>
                  </a:lnTo>
                  <a:lnTo>
                    <a:pt x="377" y="50"/>
                  </a:lnTo>
                  <a:lnTo>
                    <a:pt x="377" y="51"/>
                  </a:lnTo>
                  <a:lnTo>
                    <a:pt x="375" y="54"/>
                  </a:lnTo>
                  <a:lnTo>
                    <a:pt x="374" y="55"/>
                  </a:lnTo>
                  <a:lnTo>
                    <a:pt x="374" y="56"/>
                  </a:lnTo>
                  <a:lnTo>
                    <a:pt x="374" y="58"/>
                  </a:lnTo>
                  <a:lnTo>
                    <a:pt x="374" y="59"/>
                  </a:lnTo>
                  <a:lnTo>
                    <a:pt x="374" y="61"/>
                  </a:lnTo>
                  <a:lnTo>
                    <a:pt x="374" y="62"/>
                  </a:lnTo>
                  <a:lnTo>
                    <a:pt x="374" y="64"/>
                  </a:lnTo>
                  <a:lnTo>
                    <a:pt x="374" y="65"/>
                  </a:lnTo>
                  <a:lnTo>
                    <a:pt x="375" y="68"/>
                  </a:lnTo>
                  <a:lnTo>
                    <a:pt x="376" y="72"/>
                  </a:lnTo>
                  <a:lnTo>
                    <a:pt x="377" y="75"/>
                  </a:lnTo>
                  <a:lnTo>
                    <a:pt x="377" y="76"/>
                  </a:lnTo>
                  <a:lnTo>
                    <a:pt x="378" y="77"/>
                  </a:lnTo>
                  <a:lnTo>
                    <a:pt x="378" y="78"/>
                  </a:lnTo>
                  <a:lnTo>
                    <a:pt x="379" y="79"/>
                  </a:lnTo>
                  <a:lnTo>
                    <a:pt x="381" y="82"/>
                  </a:lnTo>
                  <a:lnTo>
                    <a:pt x="382" y="83"/>
                  </a:lnTo>
                  <a:lnTo>
                    <a:pt x="382" y="84"/>
                  </a:lnTo>
                  <a:lnTo>
                    <a:pt x="383" y="85"/>
                  </a:lnTo>
                  <a:lnTo>
                    <a:pt x="383" y="86"/>
                  </a:lnTo>
                  <a:lnTo>
                    <a:pt x="384" y="87"/>
                  </a:lnTo>
                  <a:lnTo>
                    <a:pt x="384" y="88"/>
                  </a:lnTo>
                  <a:lnTo>
                    <a:pt x="383" y="88"/>
                  </a:lnTo>
                  <a:lnTo>
                    <a:pt x="383" y="89"/>
                  </a:lnTo>
                  <a:lnTo>
                    <a:pt x="383" y="89"/>
                  </a:lnTo>
                  <a:lnTo>
                    <a:pt x="383" y="90"/>
                  </a:lnTo>
                  <a:lnTo>
                    <a:pt x="382" y="90"/>
                  </a:lnTo>
                  <a:lnTo>
                    <a:pt x="380" y="92"/>
                  </a:lnTo>
                  <a:lnTo>
                    <a:pt x="379" y="93"/>
                  </a:lnTo>
                  <a:lnTo>
                    <a:pt x="379" y="93"/>
                  </a:lnTo>
                  <a:lnTo>
                    <a:pt x="379" y="94"/>
                  </a:lnTo>
                  <a:lnTo>
                    <a:pt x="379" y="94"/>
                  </a:lnTo>
                  <a:lnTo>
                    <a:pt x="378" y="95"/>
                  </a:lnTo>
                  <a:lnTo>
                    <a:pt x="378" y="96"/>
                  </a:lnTo>
                  <a:lnTo>
                    <a:pt x="378" y="96"/>
                  </a:lnTo>
                  <a:lnTo>
                    <a:pt x="378" y="97"/>
                  </a:lnTo>
                  <a:lnTo>
                    <a:pt x="378" y="98"/>
                  </a:lnTo>
                  <a:lnTo>
                    <a:pt x="378" y="99"/>
                  </a:lnTo>
                  <a:lnTo>
                    <a:pt x="378" y="99"/>
                  </a:lnTo>
                  <a:lnTo>
                    <a:pt x="379" y="100"/>
                  </a:lnTo>
                  <a:lnTo>
                    <a:pt x="379" y="100"/>
                  </a:lnTo>
                  <a:lnTo>
                    <a:pt x="381" y="102"/>
                  </a:lnTo>
                  <a:lnTo>
                    <a:pt x="381" y="102"/>
                  </a:lnTo>
                  <a:lnTo>
                    <a:pt x="382" y="103"/>
                  </a:lnTo>
                  <a:lnTo>
                    <a:pt x="384" y="104"/>
                  </a:lnTo>
                  <a:lnTo>
                    <a:pt x="387" y="107"/>
                  </a:lnTo>
                  <a:lnTo>
                    <a:pt x="389" y="108"/>
                  </a:lnTo>
                  <a:lnTo>
                    <a:pt x="390" y="109"/>
                  </a:lnTo>
                  <a:lnTo>
                    <a:pt x="392" y="109"/>
                  </a:lnTo>
                  <a:lnTo>
                    <a:pt x="393" y="110"/>
                  </a:lnTo>
                  <a:lnTo>
                    <a:pt x="394" y="110"/>
                  </a:lnTo>
                  <a:lnTo>
                    <a:pt x="395" y="110"/>
                  </a:lnTo>
                  <a:lnTo>
                    <a:pt x="396" y="110"/>
                  </a:lnTo>
                  <a:lnTo>
                    <a:pt x="397" y="109"/>
                  </a:lnTo>
                  <a:lnTo>
                    <a:pt x="398" y="109"/>
                  </a:lnTo>
                  <a:lnTo>
                    <a:pt x="399" y="108"/>
                  </a:lnTo>
                  <a:lnTo>
                    <a:pt x="400" y="107"/>
                  </a:lnTo>
                  <a:lnTo>
                    <a:pt x="401" y="106"/>
                  </a:lnTo>
                  <a:lnTo>
                    <a:pt x="403" y="105"/>
                  </a:lnTo>
                  <a:lnTo>
                    <a:pt x="403" y="104"/>
                  </a:lnTo>
                  <a:lnTo>
                    <a:pt x="404" y="103"/>
                  </a:lnTo>
                  <a:lnTo>
                    <a:pt x="405" y="102"/>
                  </a:lnTo>
                  <a:lnTo>
                    <a:pt x="405" y="100"/>
                  </a:lnTo>
                  <a:lnTo>
                    <a:pt x="406" y="97"/>
                  </a:lnTo>
                  <a:lnTo>
                    <a:pt x="407" y="95"/>
                  </a:lnTo>
                  <a:lnTo>
                    <a:pt x="408" y="94"/>
                  </a:lnTo>
                  <a:lnTo>
                    <a:pt x="409" y="92"/>
                  </a:lnTo>
                  <a:lnTo>
                    <a:pt x="410" y="91"/>
                  </a:lnTo>
                  <a:lnTo>
                    <a:pt x="410" y="91"/>
                  </a:lnTo>
                  <a:lnTo>
                    <a:pt x="410" y="90"/>
                  </a:lnTo>
                  <a:lnTo>
                    <a:pt x="410" y="90"/>
                  </a:lnTo>
                  <a:lnTo>
                    <a:pt x="410" y="89"/>
                  </a:lnTo>
                  <a:lnTo>
                    <a:pt x="410" y="88"/>
                  </a:lnTo>
                  <a:lnTo>
                    <a:pt x="410" y="88"/>
                  </a:lnTo>
                  <a:lnTo>
                    <a:pt x="410" y="87"/>
                  </a:lnTo>
                  <a:lnTo>
                    <a:pt x="409" y="86"/>
                  </a:lnTo>
                  <a:lnTo>
                    <a:pt x="409" y="85"/>
                  </a:lnTo>
                  <a:lnTo>
                    <a:pt x="408" y="83"/>
                  </a:lnTo>
                  <a:lnTo>
                    <a:pt x="407" y="82"/>
                  </a:lnTo>
                  <a:lnTo>
                    <a:pt x="407" y="81"/>
                  </a:lnTo>
                  <a:lnTo>
                    <a:pt x="406" y="80"/>
                  </a:lnTo>
                  <a:lnTo>
                    <a:pt x="406" y="79"/>
                  </a:lnTo>
                  <a:lnTo>
                    <a:pt x="406" y="78"/>
                  </a:lnTo>
                  <a:lnTo>
                    <a:pt x="405" y="77"/>
                  </a:lnTo>
                  <a:lnTo>
                    <a:pt x="405" y="77"/>
                  </a:lnTo>
                  <a:lnTo>
                    <a:pt x="400" y="72"/>
                  </a:lnTo>
                  <a:lnTo>
                    <a:pt x="399" y="72"/>
                  </a:lnTo>
                  <a:lnTo>
                    <a:pt x="399" y="71"/>
                  </a:lnTo>
                  <a:lnTo>
                    <a:pt x="399" y="71"/>
                  </a:lnTo>
                  <a:lnTo>
                    <a:pt x="398" y="70"/>
                  </a:lnTo>
                  <a:lnTo>
                    <a:pt x="398" y="69"/>
                  </a:lnTo>
                  <a:lnTo>
                    <a:pt x="397" y="69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397" y="67"/>
                  </a:lnTo>
                  <a:lnTo>
                    <a:pt x="397" y="67"/>
                  </a:lnTo>
                  <a:lnTo>
                    <a:pt x="398" y="67"/>
                  </a:lnTo>
                  <a:lnTo>
                    <a:pt x="399" y="65"/>
                  </a:lnTo>
                  <a:lnTo>
                    <a:pt x="401" y="64"/>
                  </a:lnTo>
                  <a:lnTo>
                    <a:pt x="402" y="63"/>
                  </a:lnTo>
                  <a:lnTo>
                    <a:pt x="403" y="62"/>
                  </a:lnTo>
                  <a:lnTo>
                    <a:pt x="405" y="61"/>
                  </a:lnTo>
                  <a:lnTo>
                    <a:pt x="406" y="60"/>
                  </a:lnTo>
                  <a:lnTo>
                    <a:pt x="408" y="60"/>
                  </a:lnTo>
                  <a:lnTo>
                    <a:pt x="409" y="60"/>
                  </a:lnTo>
                  <a:lnTo>
                    <a:pt x="410" y="60"/>
                  </a:lnTo>
                  <a:lnTo>
                    <a:pt x="411" y="60"/>
                  </a:lnTo>
                  <a:lnTo>
                    <a:pt x="412" y="60"/>
                  </a:lnTo>
                  <a:lnTo>
                    <a:pt x="414" y="60"/>
                  </a:lnTo>
                  <a:lnTo>
                    <a:pt x="416" y="61"/>
                  </a:lnTo>
                  <a:lnTo>
                    <a:pt x="418" y="61"/>
                  </a:lnTo>
                  <a:lnTo>
                    <a:pt x="419" y="61"/>
                  </a:lnTo>
                  <a:lnTo>
                    <a:pt x="420" y="62"/>
                  </a:lnTo>
                  <a:lnTo>
                    <a:pt x="420" y="62"/>
                  </a:lnTo>
                  <a:lnTo>
                    <a:pt x="421" y="63"/>
                  </a:lnTo>
                  <a:lnTo>
                    <a:pt x="422" y="64"/>
                  </a:lnTo>
                  <a:lnTo>
                    <a:pt x="423" y="65"/>
                  </a:lnTo>
                  <a:lnTo>
                    <a:pt x="423" y="66"/>
                  </a:lnTo>
                  <a:lnTo>
                    <a:pt x="424" y="67"/>
                  </a:lnTo>
                  <a:lnTo>
                    <a:pt x="425" y="69"/>
                  </a:lnTo>
                  <a:lnTo>
                    <a:pt x="425" y="70"/>
                  </a:lnTo>
                  <a:lnTo>
                    <a:pt x="426" y="71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9" y="74"/>
                  </a:lnTo>
                  <a:lnTo>
                    <a:pt x="430" y="75"/>
                  </a:lnTo>
                  <a:lnTo>
                    <a:pt x="430" y="76"/>
                  </a:lnTo>
                  <a:lnTo>
                    <a:pt x="430" y="77"/>
                  </a:lnTo>
                  <a:lnTo>
                    <a:pt x="431" y="78"/>
                  </a:lnTo>
                  <a:lnTo>
                    <a:pt x="432" y="79"/>
                  </a:lnTo>
                  <a:lnTo>
                    <a:pt x="432" y="80"/>
                  </a:lnTo>
                  <a:lnTo>
                    <a:pt x="433" y="81"/>
                  </a:lnTo>
                  <a:lnTo>
                    <a:pt x="434" y="83"/>
                  </a:lnTo>
                  <a:lnTo>
                    <a:pt x="435" y="87"/>
                  </a:lnTo>
                  <a:lnTo>
                    <a:pt x="435" y="90"/>
                  </a:lnTo>
                  <a:lnTo>
                    <a:pt x="436" y="90"/>
                  </a:lnTo>
                  <a:lnTo>
                    <a:pt x="436" y="91"/>
                  </a:lnTo>
                  <a:lnTo>
                    <a:pt x="437" y="92"/>
                  </a:lnTo>
                  <a:lnTo>
                    <a:pt x="437" y="93"/>
                  </a:lnTo>
                  <a:lnTo>
                    <a:pt x="438" y="94"/>
                  </a:lnTo>
                  <a:lnTo>
                    <a:pt x="440" y="95"/>
                  </a:lnTo>
                  <a:lnTo>
                    <a:pt x="440" y="95"/>
                  </a:lnTo>
                  <a:lnTo>
                    <a:pt x="441" y="96"/>
                  </a:lnTo>
                  <a:lnTo>
                    <a:pt x="441" y="97"/>
                  </a:lnTo>
                  <a:lnTo>
                    <a:pt x="441" y="97"/>
                  </a:lnTo>
                  <a:lnTo>
                    <a:pt x="443" y="100"/>
                  </a:lnTo>
                  <a:lnTo>
                    <a:pt x="443" y="101"/>
                  </a:lnTo>
                  <a:lnTo>
                    <a:pt x="444" y="101"/>
                  </a:lnTo>
                  <a:lnTo>
                    <a:pt x="444" y="102"/>
                  </a:lnTo>
                  <a:lnTo>
                    <a:pt x="445" y="104"/>
                  </a:lnTo>
                  <a:lnTo>
                    <a:pt x="446" y="104"/>
                  </a:lnTo>
                  <a:lnTo>
                    <a:pt x="447" y="105"/>
                  </a:lnTo>
                  <a:lnTo>
                    <a:pt x="447" y="105"/>
                  </a:lnTo>
                  <a:lnTo>
                    <a:pt x="448" y="106"/>
                  </a:lnTo>
                  <a:lnTo>
                    <a:pt x="448" y="106"/>
                  </a:lnTo>
                  <a:lnTo>
                    <a:pt x="448" y="106"/>
                  </a:lnTo>
                  <a:lnTo>
                    <a:pt x="449" y="106"/>
                  </a:lnTo>
                  <a:lnTo>
                    <a:pt x="449" y="106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1" y="106"/>
                  </a:lnTo>
                  <a:lnTo>
                    <a:pt x="451" y="105"/>
                  </a:lnTo>
                  <a:lnTo>
                    <a:pt x="452" y="104"/>
                  </a:lnTo>
                  <a:lnTo>
                    <a:pt x="452" y="103"/>
                  </a:lnTo>
                  <a:lnTo>
                    <a:pt x="453" y="103"/>
                  </a:lnTo>
                  <a:lnTo>
                    <a:pt x="453" y="103"/>
                  </a:lnTo>
                  <a:lnTo>
                    <a:pt x="453" y="103"/>
                  </a:lnTo>
                  <a:lnTo>
                    <a:pt x="454" y="103"/>
                  </a:lnTo>
                  <a:lnTo>
                    <a:pt x="454" y="103"/>
                  </a:lnTo>
                  <a:lnTo>
                    <a:pt x="454" y="104"/>
                  </a:lnTo>
                  <a:lnTo>
                    <a:pt x="454" y="104"/>
                  </a:lnTo>
                  <a:lnTo>
                    <a:pt x="454" y="105"/>
                  </a:lnTo>
                  <a:lnTo>
                    <a:pt x="455" y="107"/>
                  </a:lnTo>
                  <a:lnTo>
                    <a:pt x="454" y="108"/>
                  </a:lnTo>
                  <a:lnTo>
                    <a:pt x="454" y="110"/>
                  </a:lnTo>
                  <a:lnTo>
                    <a:pt x="454" y="111"/>
                  </a:lnTo>
                  <a:lnTo>
                    <a:pt x="454" y="113"/>
                  </a:lnTo>
                  <a:lnTo>
                    <a:pt x="453" y="116"/>
                  </a:lnTo>
                  <a:lnTo>
                    <a:pt x="453" y="119"/>
                  </a:lnTo>
                  <a:lnTo>
                    <a:pt x="452" y="121"/>
                  </a:lnTo>
                  <a:lnTo>
                    <a:pt x="452" y="121"/>
                  </a:lnTo>
                  <a:lnTo>
                    <a:pt x="452" y="122"/>
                  </a:lnTo>
                  <a:lnTo>
                    <a:pt x="452" y="122"/>
                  </a:lnTo>
                  <a:lnTo>
                    <a:pt x="453" y="123"/>
                  </a:lnTo>
                  <a:lnTo>
                    <a:pt x="453" y="123"/>
                  </a:lnTo>
                  <a:lnTo>
                    <a:pt x="453" y="123"/>
                  </a:lnTo>
                  <a:lnTo>
                    <a:pt x="454" y="124"/>
                  </a:lnTo>
                  <a:lnTo>
                    <a:pt x="454" y="124"/>
                  </a:lnTo>
                  <a:lnTo>
                    <a:pt x="455" y="125"/>
                  </a:lnTo>
                  <a:lnTo>
                    <a:pt x="458" y="126"/>
                  </a:lnTo>
                  <a:lnTo>
                    <a:pt x="459" y="127"/>
                  </a:lnTo>
                  <a:lnTo>
                    <a:pt x="461" y="128"/>
                  </a:lnTo>
                  <a:lnTo>
                    <a:pt x="463" y="128"/>
                  </a:lnTo>
                  <a:lnTo>
                    <a:pt x="465" y="129"/>
                  </a:lnTo>
                  <a:lnTo>
                    <a:pt x="468" y="130"/>
                  </a:lnTo>
                  <a:lnTo>
                    <a:pt x="469" y="131"/>
                  </a:lnTo>
                  <a:lnTo>
                    <a:pt x="471" y="131"/>
                  </a:lnTo>
                  <a:lnTo>
                    <a:pt x="473" y="132"/>
                  </a:lnTo>
                  <a:lnTo>
                    <a:pt x="474" y="133"/>
                  </a:lnTo>
                  <a:lnTo>
                    <a:pt x="475" y="134"/>
                  </a:lnTo>
                  <a:lnTo>
                    <a:pt x="478" y="136"/>
                  </a:lnTo>
                  <a:lnTo>
                    <a:pt x="479" y="137"/>
                  </a:lnTo>
                  <a:lnTo>
                    <a:pt x="480" y="138"/>
                  </a:lnTo>
                  <a:lnTo>
                    <a:pt x="480" y="138"/>
                  </a:lnTo>
                  <a:lnTo>
                    <a:pt x="481" y="139"/>
                  </a:lnTo>
                  <a:lnTo>
                    <a:pt x="481" y="140"/>
                  </a:lnTo>
                  <a:lnTo>
                    <a:pt x="481" y="141"/>
                  </a:lnTo>
                  <a:lnTo>
                    <a:pt x="483" y="146"/>
                  </a:lnTo>
                  <a:lnTo>
                    <a:pt x="484" y="149"/>
                  </a:lnTo>
                  <a:lnTo>
                    <a:pt x="484" y="150"/>
                  </a:lnTo>
                  <a:lnTo>
                    <a:pt x="486" y="153"/>
                  </a:lnTo>
                  <a:lnTo>
                    <a:pt x="488" y="158"/>
                  </a:lnTo>
                  <a:lnTo>
                    <a:pt x="488" y="160"/>
                  </a:lnTo>
                  <a:lnTo>
                    <a:pt x="484" y="166"/>
                  </a:lnTo>
                  <a:lnTo>
                    <a:pt x="483" y="168"/>
                  </a:lnTo>
                  <a:lnTo>
                    <a:pt x="483" y="170"/>
                  </a:lnTo>
                  <a:lnTo>
                    <a:pt x="483" y="171"/>
                  </a:lnTo>
                  <a:lnTo>
                    <a:pt x="482" y="172"/>
                  </a:lnTo>
                  <a:lnTo>
                    <a:pt x="482" y="173"/>
                  </a:lnTo>
                  <a:lnTo>
                    <a:pt x="482" y="174"/>
                  </a:lnTo>
                  <a:lnTo>
                    <a:pt x="482" y="175"/>
                  </a:lnTo>
                  <a:lnTo>
                    <a:pt x="482" y="176"/>
                  </a:lnTo>
                  <a:lnTo>
                    <a:pt x="483" y="179"/>
                  </a:lnTo>
                  <a:lnTo>
                    <a:pt x="483" y="181"/>
                  </a:lnTo>
                  <a:lnTo>
                    <a:pt x="483" y="182"/>
                  </a:lnTo>
                  <a:lnTo>
                    <a:pt x="483" y="186"/>
                  </a:lnTo>
                  <a:lnTo>
                    <a:pt x="483" y="187"/>
                  </a:lnTo>
                  <a:lnTo>
                    <a:pt x="484" y="188"/>
                  </a:lnTo>
                  <a:lnTo>
                    <a:pt x="484" y="189"/>
                  </a:lnTo>
                  <a:lnTo>
                    <a:pt x="485" y="191"/>
                  </a:lnTo>
                  <a:lnTo>
                    <a:pt x="487" y="195"/>
                  </a:lnTo>
                  <a:lnTo>
                    <a:pt x="488" y="198"/>
                  </a:lnTo>
                  <a:lnTo>
                    <a:pt x="488" y="199"/>
                  </a:lnTo>
                  <a:lnTo>
                    <a:pt x="488" y="199"/>
                  </a:lnTo>
                  <a:lnTo>
                    <a:pt x="488" y="200"/>
                  </a:lnTo>
                  <a:lnTo>
                    <a:pt x="488" y="201"/>
                  </a:lnTo>
                  <a:lnTo>
                    <a:pt x="488" y="202"/>
                  </a:lnTo>
                  <a:lnTo>
                    <a:pt x="488" y="203"/>
                  </a:lnTo>
                  <a:lnTo>
                    <a:pt x="488" y="204"/>
                  </a:lnTo>
                  <a:lnTo>
                    <a:pt x="488" y="204"/>
                  </a:lnTo>
                  <a:lnTo>
                    <a:pt x="488" y="205"/>
                  </a:lnTo>
                  <a:lnTo>
                    <a:pt x="489" y="205"/>
                  </a:lnTo>
                  <a:lnTo>
                    <a:pt x="489" y="205"/>
                  </a:lnTo>
                  <a:lnTo>
                    <a:pt x="490" y="205"/>
                  </a:lnTo>
                  <a:lnTo>
                    <a:pt x="491" y="205"/>
                  </a:lnTo>
                  <a:lnTo>
                    <a:pt x="493" y="205"/>
                  </a:lnTo>
                  <a:lnTo>
                    <a:pt x="495" y="205"/>
                  </a:lnTo>
                  <a:lnTo>
                    <a:pt x="496" y="205"/>
                  </a:lnTo>
                  <a:lnTo>
                    <a:pt x="497" y="205"/>
                  </a:lnTo>
                  <a:lnTo>
                    <a:pt x="498" y="205"/>
                  </a:lnTo>
                  <a:lnTo>
                    <a:pt x="499" y="205"/>
                  </a:lnTo>
                  <a:lnTo>
                    <a:pt x="499" y="205"/>
                  </a:lnTo>
                  <a:lnTo>
                    <a:pt x="500" y="206"/>
                  </a:lnTo>
                  <a:lnTo>
                    <a:pt x="500" y="206"/>
                  </a:lnTo>
                  <a:lnTo>
                    <a:pt x="500" y="207"/>
                  </a:lnTo>
                  <a:lnTo>
                    <a:pt x="501" y="207"/>
                  </a:lnTo>
                  <a:lnTo>
                    <a:pt x="501" y="208"/>
                  </a:lnTo>
                  <a:lnTo>
                    <a:pt x="501" y="209"/>
                  </a:lnTo>
                  <a:lnTo>
                    <a:pt x="501" y="210"/>
                  </a:lnTo>
                  <a:lnTo>
                    <a:pt x="501" y="211"/>
                  </a:lnTo>
                  <a:lnTo>
                    <a:pt x="501" y="212"/>
                  </a:lnTo>
                  <a:lnTo>
                    <a:pt x="500" y="213"/>
                  </a:lnTo>
                  <a:lnTo>
                    <a:pt x="500" y="214"/>
                  </a:lnTo>
                  <a:lnTo>
                    <a:pt x="499" y="216"/>
                  </a:lnTo>
                  <a:lnTo>
                    <a:pt x="499" y="217"/>
                  </a:lnTo>
                  <a:lnTo>
                    <a:pt x="498" y="218"/>
                  </a:lnTo>
                  <a:lnTo>
                    <a:pt x="498" y="219"/>
                  </a:lnTo>
                  <a:lnTo>
                    <a:pt x="497" y="220"/>
                  </a:lnTo>
                  <a:lnTo>
                    <a:pt x="497" y="221"/>
                  </a:lnTo>
                  <a:lnTo>
                    <a:pt x="497" y="221"/>
                  </a:lnTo>
                  <a:lnTo>
                    <a:pt x="495" y="222"/>
                  </a:lnTo>
                  <a:lnTo>
                    <a:pt x="493" y="224"/>
                  </a:lnTo>
                  <a:lnTo>
                    <a:pt x="491" y="226"/>
                  </a:lnTo>
                  <a:lnTo>
                    <a:pt x="490" y="226"/>
                  </a:lnTo>
                  <a:lnTo>
                    <a:pt x="489" y="227"/>
                  </a:lnTo>
                  <a:lnTo>
                    <a:pt x="488" y="227"/>
                  </a:lnTo>
                  <a:lnTo>
                    <a:pt x="488" y="229"/>
                  </a:lnTo>
                  <a:lnTo>
                    <a:pt x="487" y="230"/>
                  </a:lnTo>
                  <a:lnTo>
                    <a:pt x="486" y="231"/>
                  </a:lnTo>
                  <a:lnTo>
                    <a:pt x="484" y="235"/>
                  </a:lnTo>
                  <a:lnTo>
                    <a:pt x="483" y="236"/>
                  </a:lnTo>
                  <a:lnTo>
                    <a:pt x="483" y="237"/>
                  </a:lnTo>
                  <a:lnTo>
                    <a:pt x="482" y="238"/>
                  </a:lnTo>
                  <a:lnTo>
                    <a:pt x="481" y="239"/>
                  </a:lnTo>
                  <a:lnTo>
                    <a:pt x="481" y="239"/>
                  </a:lnTo>
                  <a:lnTo>
                    <a:pt x="479" y="241"/>
                  </a:lnTo>
                  <a:lnTo>
                    <a:pt x="479" y="241"/>
                  </a:lnTo>
                  <a:lnTo>
                    <a:pt x="478" y="241"/>
                  </a:lnTo>
                  <a:lnTo>
                    <a:pt x="478" y="242"/>
                  </a:lnTo>
                  <a:lnTo>
                    <a:pt x="478" y="243"/>
                  </a:lnTo>
                  <a:lnTo>
                    <a:pt x="477" y="244"/>
                  </a:lnTo>
                  <a:lnTo>
                    <a:pt x="477" y="245"/>
                  </a:lnTo>
                  <a:lnTo>
                    <a:pt x="477" y="246"/>
                  </a:lnTo>
                  <a:lnTo>
                    <a:pt x="477" y="247"/>
                  </a:lnTo>
                  <a:lnTo>
                    <a:pt x="478" y="249"/>
                  </a:lnTo>
                  <a:lnTo>
                    <a:pt x="478" y="250"/>
                  </a:lnTo>
                  <a:lnTo>
                    <a:pt x="478" y="250"/>
                  </a:lnTo>
                  <a:lnTo>
                    <a:pt x="478" y="250"/>
                  </a:lnTo>
                  <a:lnTo>
                    <a:pt x="479" y="251"/>
                  </a:lnTo>
                  <a:lnTo>
                    <a:pt x="479" y="251"/>
                  </a:lnTo>
                  <a:lnTo>
                    <a:pt x="480" y="251"/>
                  </a:lnTo>
                  <a:lnTo>
                    <a:pt x="481" y="251"/>
                  </a:lnTo>
                  <a:lnTo>
                    <a:pt x="482" y="252"/>
                  </a:lnTo>
                  <a:lnTo>
                    <a:pt x="483" y="252"/>
                  </a:lnTo>
                  <a:lnTo>
                    <a:pt x="484" y="251"/>
                  </a:lnTo>
                  <a:lnTo>
                    <a:pt x="485" y="251"/>
                  </a:lnTo>
                  <a:lnTo>
                    <a:pt x="486" y="251"/>
                  </a:lnTo>
                  <a:lnTo>
                    <a:pt x="488" y="251"/>
                  </a:lnTo>
                  <a:lnTo>
                    <a:pt x="490" y="250"/>
                  </a:lnTo>
                  <a:lnTo>
                    <a:pt x="497" y="247"/>
                  </a:lnTo>
                  <a:lnTo>
                    <a:pt x="499" y="247"/>
                  </a:lnTo>
                  <a:lnTo>
                    <a:pt x="500" y="246"/>
                  </a:lnTo>
                  <a:lnTo>
                    <a:pt x="501" y="246"/>
                  </a:lnTo>
                  <a:lnTo>
                    <a:pt x="502" y="246"/>
                  </a:lnTo>
                  <a:lnTo>
                    <a:pt x="503" y="246"/>
                  </a:lnTo>
                  <a:lnTo>
                    <a:pt x="504" y="246"/>
                  </a:lnTo>
                  <a:lnTo>
                    <a:pt x="505" y="246"/>
                  </a:lnTo>
                  <a:lnTo>
                    <a:pt x="505" y="246"/>
                  </a:lnTo>
                  <a:lnTo>
                    <a:pt x="506" y="247"/>
                  </a:lnTo>
                  <a:lnTo>
                    <a:pt x="506" y="247"/>
                  </a:lnTo>
                  <a:lnTo>
                    <a:pt x="507" y="248"/>
                  </a:lnTo>
                  <a:lnTo>
                    <a:pt x="507" y="249"/>
                  </a:lnTo>
                  <a:lnTo>
                    <a:pt x="509" y="250"/>
                  </a:lnTo>
                  <a:lnTo>
                    <a:pt x="510" y="252"/>
                  </a:lnTo>
                  <a:lnTo>
                    <a:pt x="510" y="253"/>
                  </a:lnTo>
                  <a:lnTo>
                    <a:pt x="511" y="254"/>
                  </a:lnTo>
                  <a:lnTo>
                    <a:pt x="511" y="256"/>
                  </a:lnTo>
                  <a:lnTo>
                    <a:pt x="511" y="256"/>
                  </a:lnTo>
                  <a:lnTo>
                    <a:pt x="511" y="258"/>
                  </a:lnTo>
                  <a:lnTo>
                    <a:pt x="511" y="259"/>
                  </a:lnTo>
                  <a:lnTo>
                    <a:pt x="511" y="260"/>
                  </a:lnTo>
                  <a:lnTo>
                    <a:pt x="511" y="264"/>
                  </a:lnTo>
                  <a:lnTo>
                    <a:pt x="511" y="265"/>
                  </a:lnTo>
                  <a:lnTo>
                    <a:pt x="511" y="266"/>
                  </a:lnTo>
                  <a:lnTo>
                    <a:pt x="511" y="267"/>
                  </a:lnTo>
                  <a:lnTo>
                    <a:pt x="511" y="267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3" y="269"/>
                  </a:lnTo>
                  <a:lnTo>
                    <a:pt x="516" y="269"/>
                  </a:lnTo>
                  <a:lnTo>
                    <a:pt x="517" y="270"/>
                  </a:lnTo>
                  <a:lnTo>
                    <a:pt x="517" y="270"/>
                  </a:lnTo>
                  <a:lnTo>
                    <a:pt x="518" y="270"/>
                  </a:lnTo>
                  <a:lnTo>
                    <a:pt x="520" y="271"/>
                  </a:lnTo>
                  <a:lnTo>
                    <a:pt x="522" y="272"/>
                  </a:lnTo>
                  <a:lnTo>
                    <a:pt x="522" y="272"/>
                  </a:lnTo>
                  <a:lnTo>
                    <a:pt x="523" y="273"/>
                  </a:lnTo>
                  <a:lnTo>
                    <a:pt x="524" y="273"/>
                  </a:lnTo>
                  <a:lnTo>
                    <a:pt x="525" y="274"/>
                  </a:lnTo>
                  <a:lnTo>
                    <a:pt x="527" y="276"/>
                  </a:lnTo>
                  <a:lnTo>
                    <a:pt x="527" y="276"/>
                  </a:lnTo>
                  <a:lnTo>
                    <a:pt x="528" y="277"/>
                  </a:lnTo>
                  <a:lnTo>
                    <a:pt x="529" y="277"/>
                  </a:lnTo>
                  <a:lnTo>
                    <a:pt x="529" y="277"/>
                  </a:lnTo>
                  <a:lnTo>
                    <a:pt x="531" y="278"/>
                  </a:lnTo>
                  <a:lnTo>
                    <a:pt x="536" y="278"/>
                  </a:lnTo>
                  <a:lnTo>
                    <a:pt x="539" y="279"/>
                  </a:lnTo>
                  <a:lnTo>
                    <a:pt x="544" y="280"/>
                  </a:lnTo>
                  <a:lnTo>
                    <a:pt x="545" y="280"/>
                  </a:lnTo>
                  <a:lnTo>
                    <a:pt x="546" y="280"/>
                  </a:lnTo>
                  <a:lnTo>
                    <a:pt x="546" y="281"/>
                  </a:lnTo>
                  <a:lnTo>
                    <a:pt x="547" y="281"/>
                  </a:lnTo>
                  <a:lnTo>
                    <a:pt x="549" y="282"/>
                  </a:lnTo>
                  <a:lnTo>
                    <a:pt x="550" y="283"/>
                  </a:lnTo>
                  <a:lnTo>
                    <a:pt x="550" y="284"/>
                  </a:lnTo>
                  <a:lnTo>
                    <a:pt x="551" y="284"/>
                  </a:lnTo>
                  <a:lnTo>
                    <a:pt x="551" y="284"/>
                  </a:lnTo>
                  <a:lnTo>
                    <a:pt x="551" y="285"/>
                  </a:lnTo>
                  <a:lnTo>
                    <a:pt x="551" y="287"/>
                  </a:lnTo>
                  <a:lnTo>
                    <a:pt x="552" y="288"/>
                  </a:lnTo>
                  <a:lnTo>
                    <a:pt x="552" y="291"/>
                  </a:lnTo>
                  <a:lnTo>
                    <a:pt x="552" y="292"/>
                  </a:lnTo>
                  <a:lnTo>
                    <a:pt x="552" y="292"/>
                  </a:lnTo>
                  <a:lnTo>
                    <a:pt x="553" y="293"/>
                  </a:lnTo>
                  <a:lnTo>
                    <a:pt x="553" y="294"/>
                  </a:lnTo>
                  <a:lnTo>
                    <a:pt x="553" y="294"/>
                  </a:lnTo>
                  <a:lnTo>
                    <a:pt x="554" y="294"/>
                  </a:lnTo>
                  <a:lnTo>
                    <a:pt x="554" y="294"/>
                  </a:lnTo>
                  <a:lnTo>
                    <a:pt x="555" y="295"/>
                  </a:lnTo>
                  <a:lnTo>
                    <a:pt x="556" y="295"/>
                  </a:lnTo>
                  <a:lnTo>
                    <a:pt x="558" y="295"/>
                  </a:lnTo>
                  <a:lnTo>
                    <a:pt x="560" y="295"/>
                  </a:lnTo>
                  <a:lnTo>
                    <a:pt x="561" y="296"/>
                  </a:lnTo>
                  <a:lnTo>
                    <a:pt x="562" y="296"/>
                  </a:lnTo>
                  <a:lnTo>
                    <a:pt x="563" y="296"/>
                  </a:lnTo>
                  <a:lnTo>
                    <a:pt x="563" y="297"/>
                  </a:lnTo>
                  <a:lnTo>
                    <a:pt x="564" y="297"/>
                  </a:lnTo>
                  <a:lnTo>
                    <a:pt x="570" y="301"/>
                  </a:lnTo>
                  <a:lnTo>
                    <a:pt x="571" y="302"/>
                  </a:lnTo>
                  <a:lnTo>
                    <a:pt x="572" y="303"/>
                  </a:lnTo>
                  <a:lnTo>
                    <a:pt x="574" y="304"/>
                  </a:lnTo>
                  <a:lnTo>
                    <a:pt x="575" y="304"/>
                  </a:lnTo>
                  <a:lnTo>
                    <a:pt x="575" y="304"/>
                  </a:lnTo>
                  <a:lnTo>
                    <a:pt x="576" y="304"/>
                  </a:lnTo>
                  <a:lnTo>
                    <a:pt x="577" y="305"/>
                  </a:lnTo>
                  <a:lnTo>
                    <a:pt x="578" y="304"/>
                  </a:lnTo>
                  <a:lnTo>
                    <a:pt x="579" y="304"/>
                  </a:lnTo>
                  <a:lnTo>
                    <a:pt x="580" y="304"/>
                  </a:lnTo>
                  <a:lnTo>
                    <a:pt x="584" y="303"/>
                  </a:lnTo>
                  <a:lnTo>
                    <a:pt x="586" y="303"/>
                  </a:lnTo>
                  <a:lnTo>
                    <a:pt x="587" y="303"/>
                  </a:lnTo>
                  <a:lnTo>
                    <a:pt x="590" y="303"/>
                  </a:lnTo>
                  <a:lnTo>
                    <a:pt x="594" y="302"/>
                  </a:lnTo>
                  <a:lnTo>
                    <a:pt x="594" y="302"/>
                  </a:lnTo>
                  <a:lnTo>
                    <a:pt x="595" y="302"/>
                  </a:lnTo>
                  <a:lnTo>
                    <a:pt x="596" y="302"/>
                  </a:lnTo>
                  <a:lnTo>
                    <a:pt x="596" y="302"/>
                  </a:lnTo>
                  <a:lnTo>
                    <a:pt x="597" y="303"/>
                  </a:lnTo>
                  <a:lnTo>
                    <a:pt x="600" y="304"/>
                  </a:lnTo>
                  <a:lnTo>
                    <a:pt x="602" y="304"/>
                  </a:lnTo>
                  <a:lnTo>
                    <a:pt x="603" y="305"/>
                  </a:lnTo>
                  <a:lnTo>
                    <a:pt x="604" y="305"/>
                  </a:lnTo>
                  <a:lnTo>
                    <a:pt x="605" y="306"/>
                  </a:lnTo>
                  <a:lnTo>
                    <a:pt x="607" y="307"/>
                  </a:lnTo>
                  <a:lnTo>
                    <a:pt x="608" y="308"/>
                  </a:lnTo>
                  <a:lnTo>
                    <a:pt x="608" y="308"/>
                  </a:lnTo>
                  <a:lnTo>
                    <a:pt x="608" y="309"/>
                  </a:lnTo>
                  <a:lnTo>
                    <a:pt x="609" y="309"/>
                  </a:lnTo>
                  <a:lnTo>
                    <a:pt x="609" y="310"/>
                  </a:lnTo>
                  <a:lnTo>
                    <a:pt x="609" y="310"/>
                  </a:lnTo>
                  <a:lnTo>
                    <a:pt x="609" y="311"/>
                  </a:lnTo>
                  <a:lnTo>
                    <a:pt x="610" y="312"/>
                  </a:lnTo>
                  <a:lnTo>
                    <a:pt x="610" y="313"/>
                  </a:lnTo>
                  <a:lnTo>
                    <a:pt x="610" y="315"/>
                  </a:lnTo>
                  <a:lnTo>
                    <a:pt x="610" y="316"/>
                  </a:lnTo>
                  <a:lnTo>
                    <a:pt x="610" y="317"/>
                  </a:lnTo>
                  <a:lnTo>
                    <a:pt x="611" y="317"/>
                  </a:lnTo>
                  <a:lnTo>
                    <a:pt x="611" y="318"/>
                  </a:lnTo>
                  <a:lnTo>
                    <a:pt x="611" y="318"/>
                  </a:lnTo>
                  <a:lnTo>
                    <a:pt x="612" y="319"/>
                  </a:lnTo>
                  <a:lnTo>
                    <a:pt x="612" y="319"/>
                  </a:lnTo>
                  <a:lnTo>
                    <a:pt x="613" y="319"/>
                  </a:lnTo>
                  <a:lnTo>
                    <a:pt x="614" y="320"/>
                  </a:lnTo>
                  <a:lnTo>
                    <a:pt x="616" y="321"/>
                  </a:lnTo>
                  <a:lnTo>
                    <a:pt x="617" y="321"/>
                  </a:lnTo>
                  <a:lnTo>
                    <a:pt x="624" y="324"/>
                  </a:lnTo>
                  <a:lnTo>
                    <a:pt x="625" y="325"/>
                  </a:lnTo>
                  <a:lnTo>
                    <a:pt x="626" y="326"/>
                  </a:lnTo>
                  <a:lnTo>
                    <a:pt x="627" y="327"/>
                  </a:lnTo>
                  <a:lnTo>
                    <a:pt x="628" y="328"/>
                  </a:lnTo>
                  <a:lnTo>
                    <a:pt x="630" y="329"/>
                  </a:lnTo>
                  <a:lnTo>
                    <a:pt x="631" y="330"/>
                  </a:lnTo>
                  <a:lnTo>
                    <a:pt x="632" y="332"/>
                  </a:lnTo>
                  <a:lnTo>
                    <a:pt x="635" y="337"/>
                  </a:lnTo>
                  <a:lnTo>
                    <a:pt x="638" y="340"/>
                  </a:lnTo>
                  <a:lnTo>
                    <a:pt x="638" y="341"/>
                  </a:lnTo>
                  <a:lnTo>
                    <a:pt x="639" y="342"/>
                  </a:lnTo>
                  <a:lnTo>
                    <a:pt x="639" y="343"/>
                  </a:lnTo>
                  <a:lnTo>
                    <a:pt x="641" y="346"/>
                  </a:lnTo>
                  <a:lnTo>
                    <a:pt x="641" y="348"/>
                  </a:lnTo>
                  <a:lnTo>
                    <a:pt x="642" y="349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1" y="350"/>
                  </a:lnTo>
                  <a:lnTo>
                    <a:pt x="641" y="350"/>
                  </a:lnTo>
                  <a:lnTo>
                    <a:pt x="640" y="350"/>
                  </a:lnTo>
                  <a:lnTo>
                    <a:pt x="638" y="351"/>
                  </a:lnTo>
                  <a:lnTo>
                    <a:pt x="635" y="354"/>
                  </a:lnTo>
                  <a:lnTo>
                    <a:pt x="630" y="357"/>
                  </a:lnTo>
                  <a:lnTo>
                    <a:pt x="629" y="358"/>
                  </a:lnTo>
                  <a:lnTo>
                    <a:pt x="626" y="361"/>
                  </a:lnTo>
                  <a:lnTo>
                    <a:pt x="625" y="361"/>
                  </a:lnTo>
                  <a:lnTo>
                    <a:pt x="624" y="362"/>
                  </a:lnTo>
                  <a:lnTo>
                    <a:pt x="623" y="362"/>
                  </a:lnTo>
                  <a:lnTo>
                    <a:pt x="623" y="362"/>
                  </a:lnTo>
                  <a:lnTo>
                    <a:pt x="622" y="363"/>
                  </a:lnTo>
                  <a:lnTo>
                    <a:pt x="621" y="363"/>
                  </a:lnTo>
                  <a:lnTo>
                    <a:pt x="619" y="363"/>
                  </a:lnTo>
                  <a:lnTo>
                    <a:pt x="616" y="364"/>
                  </a:lnTo>
                  <a:lnTo>
                    <a:pt x="615" y="364"/>
                  </a:lnTo>
                  <a:lnTo>
                    <a:pt x="615" y="364"/>
                  </a:lnTo>
                  <a:lnTo>
                    <a:pt x="614" y="365"/>
                  </a:lnTo>
                  <a:lnTo>
                    <a:pt x="613" y="366"/>
                  </a:lnTo>
                  <a:lnTo>
                    <a:pt x="612" y="367"/>
                  </a:lnTo>
                  <a:lnTo>
                    <a:pt x="611" y="367"/>
                  </a:lnTo>
                  <a:lnTo>
                    <a:pt x="611" y="367"/>
                  </a:lnTo>
                  <a:lnTo>
                    <a:pt x="610" y="367"/>
                  </a:lnTo>
                  <a:lnTo>
                    <a:pt x="608" y="368"/>
                  </a:lnTo>
                  <a:lnTo>
                    <a:pt x="607" y="368"/>
                  </a:lnTo>
                  <a:lnTo>
                    <a:pt x="607" y="368"/>
                  </a:lnTo>
                  <a:lnTo>
                    <a:pt x="606" y="368"/>
                  </a:lnTo>
                  <a:lnTo>
                    <a:pt x="605" y="368"/>
                  </a:lnTo>
                  <a:lnTo>
                    <a:pt x="605" y="367"/>
                  </a:lnTo>
                  <a:lnTo>
                    <a:pt x="604" y="367"/>
                  </a:lnTo>
                  <a:lnTo>
                    <a:pt x="603" y="366"/>
                  </a:lnTo>
                  <a:lnTo>
                    <a:pt x="603" y="366"/>
                  </a:lnTo>
                  <a:lnTo>
                    <a:pt x="602" y="366"/>
                  </a:lnTo>
                  <a:lnTo>
                    <a:pt x="600" y="365"/>
                  </a:lnTo>
                  <a:lnTo>
                    <a:pt x="600" y="365"/>
                  </a:lnTo>
                  <a:lnTo>
                    <a:pt x="599" y="364"/>
                  </a:lnTo>
                  <a:lnTo>
                    <a:pt x="598" y="363"/>
                  </a:lnTo>
                  <a:lnTo>
                    <a:pt x="594" y="361"/>
                  </a:lnTo>
                  <a:lnTo>
                    <a:pt x="593" y="360"/>
                  </a:lnTo>
                  <a:lnTo>
                    <a:pt x="591" y="359"/>
                  </a:lnTo>
                  <a:lnTo>
                    <a:pt x="590" y="359"/>
                  </a:lnTo>
                  <a:lnTo>
                    <a:pt x="589" y="358"/>
                  </a:lnTo>
                  <a:lnTo>
                    <a:pt x="587" y="358"/>
                  </a:lnTo>
                  <a:lnTo>
                    <a:pt x="586" y="358"/>
                  </a:lnTo>
                  <a:lnTo>
                    <a:pt x="585" y="358"/>
                  </a:lnTo>
                  <a:lnTo>
                    <a:pt x="584" y="358"/>
                  </a:lnTo>
                  <a:lnTo>
                    <a:pt x="583" y="358"/>
                  </a:lnTo>
                  <a:lnTo>
                    <a:pt x="583" y="358"/>
                  </a:lnTo>
                  <a:lnTo>
                    <a:pt x="582" y="358"/>
                  </a:lnTo>
                  <a:lnTo>
                    <a:pt x="581" y="358"/>
                  </a:lnTo>
                  <a:lnTo>
                    <a:pt x="579" y="359"/>
                  </a:lnTo>
                  <a:lnTo>
                    <a:pt x="579" y="360"/>
                  </a:lnTo>
                  <a:lnTo>
                    <a:pt x="578" y="361"/>
                  </a:lnTo>
                  <a:lnTo>
                    <a:pt x="575" y="363"/>
                  </a:lnTo>
                  <a:lnTo>
                    <a:pt x="574" y="364"/>
                  </a:lnTo>
                  <a:lnTo>
                    <a:pt x="569" y="367"/>
                  </a:lnTo>
                  <a:lnTo>
                    <a:pt x="568" y="368"/>
                  </a:lnTo>
                  <a:lnTo>
                    <a:pt x="567" y="369"/>
                  </a:lnTo>
                  <a:lnTo>
                    <a:pt x="566" y="369"/>
                  </a:lnTo>
                  <a:lnTo>
                    <a:pt x="565" y="369"/>
                  </a:lnTo>
                  <a:lnTo>
                    <a:pt x="565" y="369"/>
                  </a:lnTo>
                  <a:lnTo>
                    <a:pt x="564" y="369"/>
                  </a:lnTo>
                  <a:lnTo>
                    <a:pt x="562" y="370"/>
                  </a:lnTo>
                  <a:lnTo>
                    <a:pt x="559" y="370"/>
                  </a:lnTo>
                  <a:lnTo>
                    <a:pt x="558" y="370"/>
                  </a:lnTo>
                  <a:lnTo>
                    <a:pt x="557" y="370"/>
                  </a:lnTo>
                  <a:lnTo>
                    <a:pt x="556" y="369"/>
                  </a:lnTo>
                  <a:lnTo>
                    <a:pt x="555" y="369"/>
                  </a:lnTo>
                  <a:lnTo>
                    <a:pt x="555" y="369"/>
                  </a:lnTo>
                  <a:lnTo>
                    <a:pt x="553" y="368"/>
                  </a:lnTo>
                  <a:lnTo>
                    <a:pt x="552" y="367"/>
                  </a:lnTo>
                  <a:lnTo>
                    <a:pt x="551" y="367"/>
                  </a:lnTo>
                  <a:lnTo>
                    <a:pt x="549" y="365"/>
                  </a:lnTo>
                  <a:lnTo>
                    <a:pt x="548" y="364"/>
                  </a:lnTo>
                  <a:lnTo>
                    <a:pt x="546" y="362"/>
                  </a:lnTo>
                  <a:lnTo>
                    <a:pt x="543" y="360"/>
                  </a:lnTo>
                  <a:lnTo>
                    <a:pt x="542" y="359"/>
                  </a:lnTo>
                  <a:lnTo>
                    <a:pt x="542" y="359"/>
                  </a:lnTo>
                  <a:lnTo>
                    <a:pt x="541" y="358"/>
                  </a:lnTo>
                  <a:lnTo>
                    <a:pt x="538" y="357"/>
                  </a:lnTo>
                  <a:lnTo>
                    <a:pt x="537" y="357"/>
                  </a:lnTo>
                  <a:lnTo>
                    <a:pt x="533" y="354"/>
                  </a:lnTo>
                  <a:lnTo>
                    <a:pt x="530" y="352"/>
                  </a:lnTo>
                  <a:lnTo>
                    <a:pt x="529" y="351"/>
                  </a:lnTo>
                  <a:lnTo>
                    <a:pt x="528" y="351"/>
                  </a:lnTo>
                  <a:lnTo>
                    <a:pt x="527" y="351"/>
                  </a:lnTo>
                  <a:lnTo>
                    <a:pt x="523" y="349"/>
                  </a:lnTo>
                  <a:lnTo>
                    <a:pt x="520" y="348"/>
                  </a:lnTo>
                  <a:lnTo>
                    <a:pt x="518" y="348"/>
                  </a:lnTo>
                  <a:lnTo>
                    <a:pt x="517" y="347"/>
                  </a:lnTo>
                  <a:lnTo>
                    <a:pt x="515" y="347"/>
                  </a:lnTo>
                  <a:lnTo>
                    <a:pt x="514" y="346"/>
                  </a:lnTo>
                  <a:lnTo>
                    <a:pt x="512" y="346"/>
                  </a:lnTo>
                  <a:lnTo>
                    <a:pt x="511" y="346"/>
                  </a:lnTo>
                  <a:lnTo>
                    <a:pt x="509" y="345"/>
                  </a:lnTo>
                  <a:lnTo>
                    <a:pt x="508" y="345"/>
                  </a:lnTo>
                  <a:lnTo>
                    <a:pt x="507" y="345"/>
                  </a:lnTo>
                  <a:lnTo>
                    <a:pt x="506" y="346"/>
                  </a:lnTo>
                  <a:lnTo>
                    <a:pt x="505" y="346"/>
                  </a:lnTo>
                  <a:lnTo>
                    <a:pt x="505" y="346"/>
                  </a:lnTo>
                  <a:lnTo>
                    <a:pt x="504" y="347"/>
                  </a:lnTo>
                  <a:lnTo>
                    <a:pt x="503" y="347"/>
                  </a:lnTo>
                  <a:lnTo>
                    <a:pt x="502" y="348"/>
                  </a:lnTo>
                  <a:lnTo>
                    <a:pt x="501" y="348"/>
                  </a:lnTo>
                  <a:lnTo>
                    <a:pt x="499" y="350"/>
                  </a:lnTo>
                  <a:lnTo>
                    <a:pt x="497" y="353"/>
                  </a:lnTo>
                  <a:lnTo>
                    <a:pt x="492" y="357"/>
                  </a:lnTo>
                  <a:lnTo>
                    <a:pt x="490" y="358"/>
                  </a:lnTo>
                  <a:lnTo>
                    <a:pt x="486" y="361"/>
                  </a:lnTo>
                  <a:lnTo>
                    <a:pt x="484" y="363"/>
                  </a:lnTo>
                  <a:lnTo>
                    <a:pt x="483" y="364"/>
                  </a:lnTo>
                  <a:lnTo>
                    <a:pt x="482" y="365"/>
                  </a:lnTo>
                  <a:lnTo>
                    <a:pt x="481" y="366"/>
                  </a:lnTo>
                  <a:lnTo>
                    <a:pt x="480" y="367"/>
                  </a:lnTo>
                  <a:lnTo>
                    <a:pt x="480" y="367"/>
                  </a:lnTo>
                  <a:lnTo>
                    <a:pt x="479" y="368"/>
                  </a:lnTo>
                  <a:lnTo>
                    <a:pt x="479" y="369"/>
                  </a:lnTo>
                  <a:lnTo>
                    <a:pt x="478" y="370"/>
                  </a:lnTo>
                  <a:lnTo>
                    <a:pt x="477" y="375"/>
                  </a:lnTo>
                  <a:lnTo>
                    <a:pt x="476" y="376"/>
                  </a:lnTo>
                  <a:lnTo>
                    <a:pt x="476" y="377"/>
                  </a:lnTo>
                  <a:lnTo>
                    <a:pt x="475" y="378"/>
                  </a:lnTo>
                  <a:lnTo>
                    <a:pt x="474" y="380"/>
                  </a:lnTo>
                  <a:lnTo>
                    <a:pt x="473" y="383"/>
                  </a:lnTo>
                  <a:lnTo>
                    <a:pt x="472" y="385"/>
                  </a:lnTo>
                  <a:lnTo>
                    <a:pt x="471" y="386"/>
                  </a:lnTo>
                  <a:lnTo>
                    <a:pt x="470" y="387"/>
                  </a:lnTo>
                  <a:lnTo>
                    <a:pt x="466" y="391"/>
                  </a:lnTo>
                  <a:lnTo>
                    <a:pt x="462" y="396"/>
                  </a:lnTo>
                  <a:lnTo>
                    <a:pt x="461" y="397"/>
                  </a:lnTo>
                  <a:lnTo>
                    <a:pt x="459" y="399"/>
                  </a:lnTo>
                  <a:lnTo>
                    <a:pt x="459" y="400"/>
                  </a:lnTo>
                  <a:lnTo>
                    <a:pt x="455" y="406"/>
                  </a:lnTo>
                  <a:lnTo>
                    <a:pt x="454" y="408"/>
                  </a:lnTo>
                  <a:lnTo>
                    <a:pt x="452" y="412"/>
                  </a:lnTo>
                  <a:lnTo>
                    <a:pt x="451" y="414"/>
                  </a:lnTo>
                  <a:lnTo>
                    <a:pt x="449" y="418"/>
                  </a:lnTo>
                  <a:lnTo>
                    <a:pt x="448" y="421"/>
                  </a:lnTo>
                  <a:lnTo>
                    <a:pt x="447" y="423"/>
                  </a:lnTo>
                  <a:lnTo>
                    <a:pt x="446" y="425"/>
                  </a:lnTo>
                  <a:lnTo>
                    <a:pt x="445" y="429"/>
                  </a:lnTo>
                  <a:lnTo>
                    <a:pt x="444" y="431"/>
                  </a:lnTo>
                  <a:lnTo>
                    <a:pt x="444" y="432"/>
                  </a:lnTo>
                  <a:lnTo>
                    <a:pt x="442" y="435"/>
                  </a:lnTo>
                  <a:lnTo>
                    <a:pt x="441" y="436"/>
                  </a:lnTo>
                  <a:lnTo>
                    <a:pt x="440" y="438"/>
                  </a:lnTo>
                  <a:lnTo>
                    <a:pt x="439" y="440"/>
                  </a:lnTo>
                  <a:lnTo>
                    <a:pt x="439" y="442"/>
                  </a:lnTo>
                  <a:lnTo>
                    <a:pt x="439" y="443"/>
                  </a:lnTo>
                  <a:lnTo>
                    <a:pt x="438" y="444"/>
                  </a:lnTo>
                  <a:lnTo>
                    <a:pt x="438" y="447"/>
                  </a:lnTo>
                  <a:lnTo>
                    <a:pt x="437" y="451"/>
                  </a:lnTo>
                  <a:lnTo>
                    <a:pt x="436" y="453"/>
                  </a:lnTo>
                  <a:lnTo>
                    <a:pt x="436" y="455"/>
                  </a:lnTo>
                  <a:lnTo>
                    <a:pt x="436" y="456"/>
                  </a:lnTo>
                  <a:lnTo>
                    <a:pt x="435" y="458"/>
                  </a:lnTo>
                  <a:lnTo>
                    <a:pt x="435" y="458"/>
                  </a:lnTo>
                  <a:lnTo>
                    <a:pt x="434" y="460"/>
                  </a:lnTo>
                  <a:lnTo>
                    <a:pt x="434" y="461"/>
                  </a:lnTo>
                  <a:lnTo>
                    <a:pt x="433" y="461"/>
                  </a:lnTo>
                  <a:lnTo>
                    <a:pt x="432" y="462"/>
                  </a:lnTo>
                  <a:lnTo>
                    <a:pt x="431" y="463"/>
                  </a:lnTo>
                  <a:lnTo>
                    <a:pt x="431" y="463"/>
                  </a:lnTo>
                  <a:lnTo>
                    <a:pt x="430" y="464"/>
                  </a:lnTo>
                  <a:lnTo>
                    <a:pt x="429" y="464"/>
                  </a:lnTo>
                  <a:lnTo>
                    <a:pt x="429" y="464"/>
                  </a:lnTo>
                  <a:lnTo>
                    <a:pt x="428" y="464"/>
                  </a:lnTo>
                  <a:lnTo>
                    <a:pt x="428" y="464"/>
                  </a:lnTo>
                  <a:lnTo>
                    <a:pt x="427" y="464"/>
                  </a:lnTo>
                  <a:lnTo>
                    <a:pt x="426" y="464"/>
                  </a:lnTo>
                  <a:lnTo>
                    <a:pt x="426" y="463"/>
                  </a:lnTo>
                  <a:lnTo>
                    <a:pt x="425" y="463"/>
                  </a:lnTo>
                  <a:lnTo>
                    <a:pt x="425" y="462"/>
                  </a:lnTo>
                  <a:lnTo>
                    <a:pt x="425" y="462"/>
                  </a:lnTo>
                  <a:lnTo>
                    <a:pt x="425" y="461"/>
                  </a:lnTo>
                  <a:lnTo>
                    <a:pt x="425" y="460"/>
                  </a:lnTo>
                  <a:lnTo>
                    <a:pt x="425" y="460"/>
                  </a:lnTo>
                  <a:lnTo>
                    <a:pt x="424" y="456"/>
                  </a:lnTo>
                  <a:lnTo>
                    <a:pt x="423" y="452"/>
                  </a:lnTo>
                  <a:lnTo>
                    <a:pt x="423" y="450"/>
                  </a:lnTo>
                  <a:lnTo>
                    <a:pt x="423" y="447"/>
                  </a:lnTo>
                  <a:lnTo>
                    <a:pt x="423" y="445"/>
                  </a:lnTo>
                  <a:lnTo>
                    <a:pt x="422" y="442"/>
                  </a:lnTo>
                  <a:lnTo>
                    <a:pt x="421" y="439"/>
                  </a:lnTo>
                  <a:lnTo>
                    <a:pt x="421" y="438"/>
                  </a:lnTo>
                  <a:lnTo>
                    <a:pt x="421" y="436"/>
                  </a:lnTo>
                  <a:lnTo>
                    <a:pt x="421" y="432"/>
                  </a:lnTo>
                  <a:lnTo>
                    <a:pt x="420" y="431"/>
                  </a:lnTo>
                  <a:lnTo>
                    <a:pt x="420" y="429"/>
                  </a:lnTo>
                  <a:lnTo>
                    <a:pt x="420" y="428"/>
                  </a:lnTo>
                  <a:lnTo>
                    <a:pt x="420" y="427"/>
                  </a:lnTo>
                  <a:lnTo>
                    <a:pt x="419" y="426"/>
                  </a:lnTo>
                  <a:lnTo>
                    <a:pt x="419" y="425"/>
                  </a:lnTo>
                  <a:lnTo>
                    <a:pt x="418" y="424"/>
                  </a:lnTo>
                  <a:lnTo>
                    <a:pt x="417" y="423"/>
                  </a:lnTo>
                  <a:lnTo>
                    <a:pt x="416" y="422"/>
                  </a:lnTo>
                  <a:lnTo>
                    <a:pt x="416" y="421"/>
                  </a:lnTo>
                  <a:lnTo>
                    <a:pt x="415" y="421"/>
                  </a:lnTo>
                  <a:lnTo>
                    <a:pt x="415" y="421"/>
                  </a:lnTo>
                  <a:lnTo>
                    <a:pt x="414" y="421"/>
                  </a:lnTo>
                  <a:lnTo>
                    <a:pt x="413" y="420"/>
                  </a:lnTo>
                  <a:lnTo>
                    <a:pt x="412" y="420"/>
                  </a:lnTo>
                  <a:lnTo>
                    <a:pt x="411" y="420"/>
                  </a:lnTo>
                  <a:lnTo>
                    <a:pt x="410" y="420"/>
                  </a:lnTo>
                  <a:lnTo>
                    <a:pt x="410" y="420"/>
                  </a:lnTo>
                  <a:lnTo>
                    <a:pt x="409" y="420"/>
                  </a:lnTo>
                  <a:lnTo>
                    <a:pt x="408" y="420"/>
                  </a:lnTo>
                  <a:lnTo>
                    <a:pt x="406" y="421"/>
                  </a:lnTo>
                  <a:lnTo>
                    <a:pt x="405" y="421"/>
                  </a:lnTo>
                  <a:lnTo>
                    <a:pt x="403" y="421"/>
                  </a:lnTo>
                  <a:lnTo>
                    <a:pt x="401" y="422"/>
                  </a:lnTo>
                  <a:lnTo>
                    <a:pt x="399" y="422"/>
                  </a:lnTo>
                  <a:lnTo>
                    <a:pt x="396" y="422"/>
                  </a:lnTo>
                  <a:lnTo>
                    <a:pt x="392" y="423"/>
                  </a:lnTo>
                  <a:lnTo>
                    <a:pt x="390" y="423"/>
                  </a:lnTo>
                  <a:lnTo>
                    <a:pt x="387" y="424"/>
                  </a:lnTo>
                  <a:lnTo>
                    <a:pt x="386" y="424"/>
                  </a:lnTo>
                  <a:lnTo>
                    <a:pt x="385" y="424"/>
                  </a:lnTo>
                  <a:lnTo>
                    <a:pt x="383" y="423"/>
                  </a:lnTo>
                  <a:lnTo>
                    <a:pt x="379" y="423"/>
                  </a:lnTo>
                  <a:lnTo>
                    <a:pt x="378" y="422"/>
                  </a:lnTo>
                  <a:lnTo>
                    <a:pt x="376" y="421"/>
                  </a:lnTo>
                  <a:lnTo>
                    <a:pt x="374" y="420"/>
                  </a:lnTo>
                  <a:lnTo>
                    <a:pt x="373" y="420"/>
                  </a:lnTo>
                  <a:lnTo>
                    <a:pt x="372" y="419"/>
                  </a:lnTo>
                  <a:lnTo>
                    <a:pt x="369" y="417"/>
                  </a:lnTo>
                  <a:lnTo>
                    <a:pt x="368" y="416"/>
                  </a:lnTo>
                  <a:lnTo>
                    <a:pt x="368" y="416"/>
                  </a:lnTo>
                  <a:lnTo>
                    <a:pt x="367" y="415"/>
                  </a:lnTo>
                  <a:lnTo>
                    <a:pt x="365" y="414"/>
                  </a:lnTo>
                  <a:lnTo>
                    <a:pt x="364" y="414"/>
                  </a:lnTo>
                  <a:lnTo>
                    <a:pt x="362" y="414"/>
                  </a:lnTo>
                  <a:lnTo>
                    <a:pt x="362" y="413"/>
                  </a:lnTo>
                  <a:lnTo>
                    <a:pt x="361" y="413"/>
                  </a:lnTo>
                  <a:lnTo>
                    <a:pt x="360" y="413"/>
                  </a:lnTo>
                  <a:lnTo>
                    <a:pt x="359" y="413"/>
                  </a:lnTo>
                  <a:lnTo>
                    <a:pt x="358" y="413"/>
                  </a:lnTo>
                  <a:lnTo>
                    <a:pt x="357" y="413"/>
                  </a:lnTo>
                  <a:lnTo>
                    <a:pt x="354" y="413"/>
                  </a:lnTo>
                  <a:lnTo>
                    <a:pt x="353" y="413"/>
                  </a:lnTo>
                  <a:lnTo>
                    <a:pt x="352" y="413"/>
                  </a:lnTo>
                  <a:lnTo>
                    <a:pt x="352" y="413"/>
                  </a:lnTo>
                  <a:lnTo>
                    <a:pt x="351" y="413"/>
                  </a:lnTo>
                  <a:lnTo>
                    <a:pt x="351" y="413"/>
                  </a:lnTo>
                  <a:lnTo>
                    <a:pt x="350" y="413"/>
                  </a:lnTo>
                  <a:lnTo>
                    <a:pt x="350" y="412"/>
                  </a:lnTo>
                  <a:lnTo>
                    <a:pt x="350" y="412"/>
                  </a:lnTo>
                  <a:lnTo>
                    <a:pt x="349" y="412"/>
                  </a:lnTo>
                  <a:lnTo>
                    <a:pt x="349" y="411"/>
                  </a:lnTo>
                  <a:lnTo>
                    <a:pt x="349" y="411"/>
                  </a:lnTo>
                  <a:lnTo>
                    <a:pt x="348" y="410"/>
                  </a:lnTo>
                  <a:lnTo>
                    <a:pt x="348" y="409"/>
                  </a:lnTo>
                  <a:lnTo>
                    <a:pt x="348" y="409"/>
                  </a:lnTo>
                  <a:lnTo>
                    <a:pt x="347" y="405"/>
                  </a:lnTo>
                  <a:lnTo>
                    <a:pt x="347" y="402"/>
                  </a:lnTo>
                  <a:lnTo>
                    <a:pt x="347" y="401"/>
                  </a:lnTo>
                  <a:lnTo>
                    <a:pt x="347" y="401"/>
                  </a:lnTo>
                  <a:lnTo>
                    <a:pt x="346" y="400"/>
                  </a:lnTo>
                  <a:lnTo>
                    <a:pt x="346" y="399"/>
                  </a:lnTo>
                  <a:lnTo>
                    <a:pt x="345" y="398"/>
                  </a:lnTo>
                  <a:lnTo>
                    <a:pt x="345" y="397"/>
                  </a:lnTo>
                  <a:lnTo>
                    <a:pt x="344" y="396"/>
                  </a:lnTo>
                  <a:lnTo>
                    <a:pt x="343" y="394"/>
                  </a:lnTo>
                  <a:lnTo>
                    <a:pt x="342" y="394"/>
                  </a:lnTo>
                  <a:lnTo>
                    <a:pt x="341" y="393"/>
                  </a:lnTo>
                  <a:lnTo>
                    <a:pt x="340" y="393"/>
                  </a:lnTo>
                  <a:lnTo>
                    <a:pt x="339" y="392"/>
                  </a:lnTo>
                  <a:lnTo>
                    <a:pt x="338" y="392"/>
                  </a:lnTo>
                  <a:lnTo>
                    <a:pt x="337" y="392"/>
                  </a:lnTo>
                  <a:lnTo>
                    <a:pt x="336" y="391"/>
                  </a:lnTo>
                  <a:lnTo>
                    <a:pt x="335" y="391"/>
                  </a:lnTo>
                  <a:lnTo>
                    <a:pt x="331" y="392"/>
                  </a:lnTo>
                  <a:lnTo>
                    <a:pt x="330" y="392"/>
                  </a:lnTo>
                  <a:lnTo>
                    <a:pt x="328" y="392"/>
                  </a:lnTo>
                  <a:lnTo>
                    <a:pt x="327" y="391"/>
                  </a:lnTo>
                  <a:lnTo>
                    <a:pt x="326" y="391"/>
                  </a:lnTo>
                  <a:lnTo>
                    <a:pt x="325" y="391"/>
                  </a:lnTo>
                  <a:lnTo>
                    <a:pt x="323" y="391"/>
                  </a:lnTo>
                  <a:lnTo>
                    <a:pt x="322" y="390"/>
                  </a:lnTo>
                  <a:lnTo>
                    <a:pt x="321" y="390"/>
                  </a:lnTo>
                  <a:lnTo>
                    <a:pt x="315" y="386"/>
                  </a:lnTo>
                  <a:lnTo>
                    <a:pt x="313" y="385"/>
                  </a:lnTo>
                  <a:lnTo>
                    <a:pt x="310" y="383"/>
                  </a:lnTo>
                  <a:lnTo>
                    <a:pt x="309" y="382"/>
                  </a:lnTo>
                  <a:lnTo>
                    <a:pt x="307" y="382"/>
                  </a:lnTo>
                  <a:lnTo>
                    <a:pt x="307" y="381"/>
                  </a:lnTo>
                  <a:lnTo>
                    <a:pt x="306" y="381"/>
                  </a:lnTo>
                  <a:lnTo>
                    <a:pt x="305" y="381"/>
                  </a:lnTo>
                  <a:lnTo>
                    <a:pt x="305" y="381"/>
                  </a:lnTo>
                  <a:lnTo>
                    <a:pt x="304" y="381"/>
                  </a:lnTo>
                  <a:lnTo>
                    <a:pt x="304" y="381"/>
                  </a:lnTo>
                  <a:lnTo>
                    <a:pt x="302" y="381"/>
                  </a:lnTo>
                  <a:lnTo>
                    <a:pt x="300" y="382"/>
                  </a:lnTo>
                  <a:lnTo>
                    <a:pt x="299" y="382"/>
                  </a:lnTo>
                  <a:lnTo>
                    <a:pt x="297" y="382"/>
                  </a:lnTo>
                  <a:lnTo>
                    <a:pt x="296" y="383"/>
                  </a:lnTo>
                  <a:lnTo>
                    <a:pt x="293" y="383"/>
                  </a:lnTo>
                  <a:lnTo>
                    <a:pt x="291" y="383"/>
                  </a:lnTo>
                  <a:lnTo>
                    <a:pt x="288" y="383"/>
                  </a:lnTo>
                  <a:lnTo>
                    <a:pt x="285" y="382"/>
                  </a:lnTo>
                  <a:lnTo>
                    <a:pt x="284" y="382"/>
                  </a:lnTo>
                  <a:lnTo>
                    <a:pt x="283" y="382"/>
                  </a:lnTo>
                  <a:lnTo>
                    <a:pt x="282" y="382"/>
                  </a:lnTo>
                  <a:lnTo>
                    <a:pt x="282" y="383"/>
                  </a:lnTo>
                  <a:lnTo>
                    <a:pt x="281" y="383"/>
                  </a:lnTo>
                  <a:lnTo>
                    <a:pt x="280" y="383"/>
                  </a:lnTo>
                  <a:lnTo>
                    <a:pt x="280" y="384"/>
                  </a:lnTo>
                  <a:lnTo>
                    <a:pt x="279" y="385"/>
                  </a:lnTo>
                  <a:lnTo>
                    <a:pt x="278" y="386"/>
                  </a:lnTo>
                  <a:lnTo>
                    <a:pt x="277" y="387"/>
                  </a:lnTo>
                  <a:lnTo>
                    <a:pt x="276" y="389"/>
                  </a:lnTo>
                  <a:lnTo>
                    <a:pt x="275" y="392"/>
                  </a:lnTo>
                  <a:lnTo>
                    <a:pt x="274" y="394"/>
                  </a:lnTo>
                  <a:lnTo>
                    <a:pt x="273" y="397"/>
                  </a:lnTo>
                  <a:lnTo>
                    <a:pt x="272" y="399"/>
                  </a:lnTo>
                  <a:lnTo>
                    <a:pt x="272" y="400"/>
                  </a:lnTo>
                  <a:lnTo>
                    <a:pt x="271" y="401"/>
                  </a:lnTo>
                  <a:lnTo>
                    <a:pt x="269" y="405"/>
                  </a:lnTo>
                  <a:lnTo>
                    <a:pt x="266" y="409"/>
                  </a:lnTo>
                  <a:lnTo>
                    <a:pt x="265" y="410"/>
                  </a:lnTo>
                  <a:lnTo>
                    <a:pt x="264" y="411"/>
                  </a:lnTo>
                  <a:lnTo>
                    <a:pt x="264" y="412"/>
                  </a:lnTo>
                  <a:lnTo>
                    <a:pt x="262" y="413"/>
                  </a:lnTo>
                  <a:lnTo>
                    <a:pt x="261" y="413"/>
                  </a:lnTo>
                  <a:lnTo>
                    <a:pt x="259" y="415"/>
                  </a:lnTo>
                  <a:lnTo>
                    <a:pt x="258" y="416"/>
                  </a:lnTo>
                  <a:lnTo>
                    <a:pt x="256" y="416"/>
                  </a:lnTo>
                  <a:lnTo>
                    <a:pt x="256" y="417"/>
                  </a:lnTo>
                  <a:lnTo>
                    <a:pt x="255" y="417"/>
                  </a:lnTo>
                  <a:lnTo>
                    <a:pt x="254" y="417"/>
                  </a:lnTo>
                  <a:lnTo>
                    <a:pt x="253" y="417"/>
                  </a:lnTo>
                  <a:lnTo>
                    <a:pt x="252" y="416"/>
                  </a:lnTo>
                  <a:lnTo>
                    <a:pt x="251" y="416"/>
                  </a:lnTo>
                  <a:lnTo>
                    <a:pt x="250" y="416"/>
                  </a:lnTo>
                  <a:lnTo>
                    <a:pt x="250" y="416"/>
                  </a:lnTo>
                  <a:lnTo>
                    <a:pt x="248" y="414"/>
                  </a:lnTo>
                  <a:lnTo>
                    <a:pt x="248" y="414"/>
                  </a:lnTo>
                  <a:lnTo>
                    <a:pt x="247" y="414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5" y="413"/>
                  </a:lnTo>
                  <a:lnTo>
                    <a:pt x="245" y="413"/>
                  </a:lnTo>
                  <a:lnTo>
                    <a:pt x="244" y="414"/>
                  </a:lnTo>
                  <a:lnTo>
                    <a:pt x="242" y="415"/>
                  </a:lnTo>
                  <a:lnTo>
                    <a:pt x="242" y="415"/>
                  </a:lnTo>
                  <a:lnTo>
                    <a:pt x="241" y="415"/>
                  </a:lnTo>
                  <a:lnTo>
                    <a:pt x="241" y="415"/>
                  </a:lnTo>
                  <a:lnTo>
                    <a:pt x="240" y="415"/>
                  </a:lnTo>
                  <a:lnTo>
                    <a:pt x="239" y="415"/>
                  </a:lnTo>
                  <a:lnTo>
                    <a:pt x="238" y="415"/>
                  </a:lnTo>
                  <a:lnTo>
                    <a:pt x="237" y="415"/>
                  </a:lnTo>
                  <a:lnTo>
                    <a:pt x="236" y="415"/>
                  </a:lnTo>
                  <a:lnTo>
                    <a:pt x="233" y="415"/>
                  </a:lnTo>
                  <a:lnTo>
                    <a:pt x="231" y="414"/>
                  </a:lnTo>
                  <a:lnTo>
                    <a:pt x="229" y="414"/>
                  </a:lnTo>
                  <a:lnTo>
                    <a:pt x="227" y="414"/>
                  </a:lnTo>
                  <a:lnTo>
                    <a:pt x="226" y="414"/>
                  </a:lnTo>
                  <a:lnTo>
                    <a:pt x="224" y="414"/>
                  </a:lnTo>
                  <a:lnTo>
                    <a:pt x="220" y="414"/>
                  </a:lnTo>
                  <a:lnTo>
                    <a:pt x="218" y="414"/>
                  </a:lnTo>
                  <a:lnTo>
                    <a:pt x="215" y="414"/>
                  </a:lnTo>
                  <a:lnTo>
                    <a:pt x="212" y="413"/>
                  </a:lnTo>
                  <a:lnTo>
                    <a:pt x="207" y="413"/>
                  </a:lnTo>
                  <a:lnTo>
                    <a:pt x="195" y="412"/>
                  </a:lnTo>
                  <a:lnTo>
                    <a:pt x="192" y="411"/>
                  </a:lnTo>
                  <a:lnTo>
                    <a:pt x="191" y="411"/>
                  </a:lnTo>
                  <a:lnTo>
                    <a:pt x="189" y="411"/>
                  </a:lnTo>
                  <a:lnTo>
                    <a:pt x="188" y="411"/>
                  </a:lnTo>
                  <a:lnTo>
                    <a:pt x="185" y="412"/>
                  </a:lnTo>
                  <a:lnTo>
                    <a:pt x="183" y="412"/>
                  </a:lnTo>
                  <a:lnTo>
                    <a:pt x="181" y="412"/>
                  </a:lnTo>
                  <a:lnTo>
                    <a:pt x="178" y="411"/>
                  </a:lnTo>
                  <a:lnTo>
                    <a:pt x="173" y="411"/>
                  </a:lnTo>
                  <a:lnTo>
                    <a:pt x="172" y="411"/>
                  </a:lnTo>
                  <a:lnTo>
                    <a:pt x="171" y="411"/>
                  </a:lnTo>
                  <a:lnTo>
                    <a:pt x="169" y="411"/>
                  </a:lnTo>
                  <a:lnTo>
                    <a:pt x="168" y="410"/>
                  </a:lnTo>
                  <a:lnTo>
                    <a:pt x="167" y="410"/>
                  </a:lnTo>
                  <a:lnTo>
                    <a:pt x="165" y="409"/>
                  </a:lnTo>
                  <a:lnTo>
                    <a:pt x="164" y="409"/>
                  </a:lnTo>
                  <a:lnTo>
                    <a:pt x="162" y="408"/>
                  </a:lnTo>
                  <a:lnTo>
                    <a:pt x="161" y="407"/>
                  </a:lnTo>
                  <a:lnTo>
                    <a:pt x="159" y="406"/>
                  </a:lnTo>
                  <a:lnTo>
                    <a:pt x="153" y="403"/>
                  </a:lnTo>
                  <a:lnTo>
                    <a:pt x="144" y="399"/>
                  </a:lnTo>
                  <a:lnTo>
                    <a:pt x="141" y="397"/>
                  </a:lnTo>
                  <a:lnTo>
                    <a:pt x="140" y="396"/>
                  </a:lnTo>
                  <a:lnTo>
                    <a:pt x="139" y="396"/>
                  </a:lnTo>
                  <a:lnTo>
                    <a:pt x="138" y="395"/>
                  </a:lnTo>
                  <a:lnTo>
                    <a:pt x="136" y="394"/>
                  </a:lnTo>
                  <a:lnTo>
                    <a:pt x="135" y="392"/>
                  </a:lnTo>
                  <a:lnTo>
                    <a:pt x="133" y="391"/>
                  </a:lnTo>
                  <a:lnTo>
                    <a:pt x="131" y="390"/>
                  </a:lnTo>
                  <a:lnTo>
                    <a:pt x="130" y="388"/>
                  </a:lnTo>
                  <a:lnTo>
                    <a:pt x="129" y="387"/>
                  </a:lnTo>
                  <a:lnTo>
                    <a:pt x="128" y="386"/>
                  </a:lnTo>
                  <a:lnTo>
                    <a:pt x="128" y="386"/>
                  </a:lnTo>
                  <a:lnTo>
                    <a:pt x="127" y="385"/>
                  </a:lnTo>
                  <a:lnTo>
                    <a:pt x="127" y="384"/>
                  </a:lnTo>
                  <a:lnTo>
                    <a:pt x="127" y="384"/>
                  </a:lnTo>
                  <a:lnTo>
                    <a:pt x="126" y="382"/>
                  </a:lnTo>
                  <a:lnTo>
                    <a:pt x="125" y="380"/>
                  </a:lnTo>
                  <a:lnTo>
                    <a:pt x="125" y="379"/>
                  </a:lnTo>
                  <a:lnTo>
                    <a:pt x="125" y="379"/>
                  </a:lnTo>
                  <a:lnTo>
                    <a:pt x="125" y="378"/>
                  </a:lnTo>
                  <a:lnTo>
                    <a:pt x="125" y="378"/>
                  </a:lnTo>
                  <a:lnTo>
                    <a:pt x="124" y="377"/>
                  </a:lnTo>
                  <a:lnTo>
                    <a:pt x="124" y="377"/>
                  </a:lnTo>
                  <a:lnTo>
                    <a:pt x="123" y="377"/>
                  </a:lnTo>
                  <a:lnTo>
                    <a:pt x="123" y="376"/>
                  </a:lnTo>
                  <a:lnTo>
                    <a:pt x="122" y="376"/>
                  </a:lnTo>
                  <a:lnTo>
                    <a:pt x="121" y="376"/>
                  </a:lnTo>
                  <a:lnTo>
                    <a:pt x="120" y="376"/>
                  </a:lnTo>
                  <a:lnTo>
                    <a:pt x="120" y="376"/>
                  </a:lnTo>
                  <a:lnTo>
                    <a:pt x="119" y="375"/>
                  </a:lnTo>
                  <a:lnTo>
                    <a:pt x="119" y="375"/>
                  </a:lnTo>
                  <a:lnTo>
                    <a:pt x="118" y="374"/>
                  </a:lnTo>
                  <a:lnTo>
                    <a:pt x="117" y="373"/>
                  </a:lnTo>
                  <a:lnTo>
                    <a:pt x="116" y="372"/>
                  </a:lnTo>
                  <a:lnTo>
                    <a:pt x="115" y="372"/>
                  </a:lnTo>
                  <a:lnTo>
                    <a:pt x="115" y="371"/>
                  </a:lnTo>
                  <a:lnTo>
                    <a:pt x="114" y="371"/>
                  </a:lnTo>
                  <a:lnTo>
                    <a:pt x="113" y="371"/>
                  </a:lnTo>
                  <a:lnTo>
                    <a:pt x="110" y="370"/>
                  </a:lnTo>
                  <a:lnTo>
                    <a:pt x="110" y="370"/>
                  </a:lnTo>
                  <a:lnTo>
                    <a:pt x="109" y="370"/>
                  </a:lnTo>
                  <a:lnTo>
                    <a:pt x="109" y="369"/>
                  </a:lnTo>
                  <a:lnTo>
                    <a:pt x="109" y="369"/>
                  </a:lnTo>
                  <a:lnTo>
                    <a:pt x="109" y="369"/>
                  </a:lnTo>
                  <a:lnTo>
                    <a:pt x="108" y="368"/>
                  </a:lnTo>
                  <a:lnTo>
                    <a:pt x="108" y="368"/>
                  </a:lnTo>
                  <a:lnTo>
                    <a:pt x="108" y="367"/>
                  </a:lnTo>
                  <a:lnTo>
                    <a:pt x="107" y="367"/>
                  </a:lnTo>
                  <a:lnTo>
                    <a:pt x="107" y="366"/>
                  </a:lnTo>
                  <a:lnTo>
                    <a:pt x="106" y="366"/>
                  </a:lnTo>
                  <a:lnTo>
                    <a:pt x="105" y="365"/>
                  </a:lnTo>
                  <a:lnTo>
                    <a:pt x="104" y="365"/>
                  </a:lnTo>
                  <a:lnTo>
                    <a:pt x="103" y="363"/>
                  </a:lnTo>
                  <a:lnTo>
                    <a:pt x="102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99" y="361"/>
                  </a:lnTo>
                  <a:lnTo>
                    <a:pt x="98" y="361"/>
                  </a:lnTo>
                  <a:lnTo>
                    <a:pt x="96" y="360"/>
                  </a:lnTo>
                  <a:lnTo>
                    <a:pt x="96" y="360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4" y="358"/>
                  </a:lnTo>
                  <a:lnTo>
                    <a:pt x="94" y="358"/>
                  </a:lnTo>
                  <a:lnTo>
                    <a:pt x="93" y="356"/>
                  </a:lnTo>
                  <a:lnTo>
                    <a:pt x="92" y="356"/>
                  </a:lnTo>
                  <a:lnTo>
                    <a:pt x="92" y="356"/>
                  </a:lnTo>
                  <a:lnTo>
                    <a:pt x="92" y="355"/>
                  </a:lnTo>
                  <a:lnTo>
                    <a:pt x="91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90" y="354"/>
                  </a:lnTo>
                  <a:lnTo>
                    <a:pt x="89" y="354"/>
                  </a:lnTo>
                  <a:lnTo>
                    <a:pt x="88" y="354"/>
                  </a:lnTo>
                  <a:lnTo>
                    <a:pt x="85" y="354"/>
                  </a:lnTo>
                  <a:lnTo>
                    <a:pt x="83" y="354"/>
                  </a:lnTo>
                  <a:lnTo>
                    <a:pt x="81" y="354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6" y="355"/>
                  </a:lnTo>
                  <a:lnTo>
                    <a:pt x="75" y="355"/>
                  </a:lnTo>
                  <a:lnTo>
                    <a:pt x="74" y="355"/>
                  </a:lnTo>
                  <a:lnTo>
                    <a:pt x="73" y="356"/>
                  </a:lnTo>
                  <a:lnTo>
                    <a:pt x="72" y="356"/>
                  </a:lnTo>
                  <a:lnTo>
                    <a:pt x="71" y="357"/>
                  </a:lnTo>
                  <a:lnTo>
                    <a:pt x="68" y="359"/>
                  </a:lnTo>
                  <a:lnTo>
                    <a:pt x="67" y="360"/>
                  </a:lnTo>
                  <a:lnTo>
                    <a:pt x="66" y="360"/>
                  </a:lnTo>
                  <a:lnTo>
                    <a:pt x="65" y="361"/>
                  </a:lnTo>
                  <a:lnTo>
                    <a:pt x="64" y="361"/>
                  </a:lnTo>
                  <a:lnTo>
                    <a:pt x="63" y="361"/>
                  </a:lnTo>
                  <a:lnTo>
                    <a:pt x="62" y="362"/>
                  </a:lnTo>
                  <a:lnTo>
                    <a:pt x="61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7" y="362"/>
                  </a:lnTo>
                  <a:lnTo>
                    <a:pt x="54" y="362"/>
                  </a:lnTo>
                  <a:lnTo>
                    <a:pt x="48" y="361"/>
                  </a:lnTo>
                  <a:lnTo>
                    <a:pt x="47" y="360"/>
                  </a:lnTo>
                  <a:lnTo>
                    <a:pt x="45" y="360"/>
                  </a:lnTo>
                  <a:lnTo>
                    <a:pt x="44" y="359"/>
                  </a:lnTo>
                  <a:lnTo>
                    <a:pt x="43" y="359"/>
                  </a:lnTo>
                  <a:lnTo>
                    <a:pt x="42" y="358"/>
                  </a:lnTo>
                  <a:lnTo>
                    <a:pt x="40" y="357"/>
                  </a:lnTo>
                  <a:lnTo>
                    <a:pt x="39" y="356"/>
                  </a:lnTo>
                  <a:lnTo>
                    <a:pt x="35" y="352"/>
                  </a:lnTo>
                  <a:lnTo>
                    <a:pt x="34" y="351"/>
                  </a:lnTo>
                  <a:lnTo>
                    <a:pt x="33" y="350"/>
                  </a:lnTo>
                  <a:lnTo>
                    <a:pt x="31" y="350"/>
                  </a:lnTo>
                  <a:lnTo>
                    <a:pt x="30" y="349"/>
                  </a:lnTo>
                  <a:lnTo>
                    <a:pt x="27" y="348"/>
                  </a:lnTo>
                  <a:lnTo>
                    <a:pt x="24" y="346"/>
                  </a:lnTo>
                  <a:lnTo>
                    <a:pt x="23" y="345"/>
                  </a:lnTo>
                  <a:lnTo>
                    <a:pt x="21" y="344"/>
                  </a:lnTo>
                  <a:lnTo>
                    <a:pt x="20" y="344"/>
                  </a:lnTo>
                  <a:lnTo>
                    <a:pt x="18" y="343"/>
                  </a:lnTo>
                  <a:lnTo>
                    <a:pt x="12" y="342"/>
                  </a:lnTo>
                  <a:lnTo>
                    <a:pt x="10" y="342"/>
                  </a:lnTo>
                  <a:lnTo>
                    <a:pt x="9" y="342"/>
                  </a:lnTo>
                  <a:lnTo>
                    <a:pt x="7" y="341"/>
                  </a:lnTo>
                  <a:lnTo>
                    <a:pt x="5" y="341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1" y="336"/>
                  </a:lnTo>
                  <a:lnTo>
                    <a:pt x="2" y="333"/>
                  </a:lnTo>
                  <a:lnTo>
                    <a:pt x="2" y="332"/>
                  </a:lnTo>
                  <a:lnTo>
                    <a:pt x="3" y="332"/>
                  </a:lnTo>
                  <a:lnTo>
                    <a:pt x="3" y="332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5" y="331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6" y="329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7" y="327"/>
                  </a:lnTo>
                  <a:lnTo>
                    <a:pt x="8" y="326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9" y="323"/>
                  </a:lnTo>
                  <a:lnTo>
                    <a:pt x="10" y="323"/>
                  </a:lnTo>
                  <a:lnTo>
                    <a:pt x="10" y="323"/>
                  </a:lnTo>
                  <a:lnTo>
                    <a:pt x="11" y="323"/>
                  </a:lnTo>
                  <a:lnTo>
                    <a:pt x="11" y="323"/>
                  </a:lnTo>
                  <a:lnTo>
                    <a:pt x="11" y="322"/>
                  </a:lnTo>
                  <a:lnTo>
                    <a:pt x="13" y="321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19"/>
                  </a:lnTo>
                  <a:lnTo>
                    <a:pt x="14" y="319"/>
                  </a:lnTo>
                  <a:lnTo>
                    <a:pt x="14" y="319"/>
                  </a:lnTo>
                  <a:lnTo>
                    <a:pt x="15" y="318"/>
                  </a:lnTo>
                  <a:lnTo>
                    <a:pt x="16" y="318"/>
                  </a:lnTo>
                  <a:lnTo>
                    <a:pt x="17" y="318"/>
                  </a:lnTo>
                  <a:lnTo>
                    <a:pt x="18" y="318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2" y="318"/>
                  </a:lnTo>
                  <a:lnTo>
                    <a:pt x="23" y="319"/>
                  </a:lnTo>
                  <a:lnTo>
                    <a:pt x="25" y="320"/>
                  </a:lnTo>
                  <a:lnTo>
                    <a:pt x="25" y="321"/>
                  </a:lnTo>
                  <a:lnTo>
                    <a:pt x="26" y="321"/>
                  </a:lnTo>
                  <a:lnTo>
                    <a:pt x="27" y="321"/>
                  </a:lnTo>
                  <a:lnTo>
                    <a:pt x="28" y="322"/>
                  </a:lnTo>
                  <a:lnTo>
                    <a:pt x="29" y="322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2" y="321"/>
                  </a:lnTo>
                  <a:lnTo>
                    <a:pt x="32" y="321"/>
                  </a:lnTo>
                  <a:lnTo>
                    <a:pt x="33" y="320"/>
                  </a:lnTo>
                  <a:lnTo>
                    <a:pt x="34" y="319"/>
                  </a:lnTo>
                  <a:lnTo>
                    <a:pt x="34" y="319"/>
                  </a:lnTo>
                  <a:lnTo>
                    <a:pt x="35" y="317"/>
                  </a:lnTo>
                  <a:lnTo>
                    <a:pt x="37" y="314"/>
                  </a:lnTo>
                  <a:lnTo>
                    <a:pt x="38" y="314"/>
                  </a:lnTo>
                  <a:lnTo>
                    <a:pt x="38" y="314"/>
                  </a:lnTo>
                  <a:lnTo>
                    <a:pt x="38" y="313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0" y="313"/>
                  </a:lnTo>
                  <a:lnTo>
                    <a:pt x="41" y="313"/>
                  </a:lnTo>
                  <a:lnTo>
                    <a:pt x="45" y="312"/>
                  </a:lnTo>
                  <a:lnTo>
                    <a:pt x="46" y="312"/>
                  </a:lnTo>
                  <a:lnTo>
                    <a:pt x="47" y="312"/>
                  </a:lnTo>
                  <a:lnTo>
                    <a:pt x="48" y="312"/>
                  </a:lnTo>
                  <a:lnTo>
                    <a:pt x="49" y="313"/>
                  </a:lnTo>
                  <a:lnTo>
                    <a:pt x="50" y="313"/>
                  </a:lnTo>
                  <a:lnTo>
                    <a:pt x="51" y="314"/>
                  </a:lnTo>
                  <a:lnTo>
                    <a:pt x="52" y="314"/>
                  </a:lnTo>
                  <a:lnTo>
                    <a:pt x="54" y="316"/>
                  </a:lnTo>
                  <a:lnTo>
                    <a:pt x="55" y="316"/>
                  </a:lnTo>
                  <a:lnTo>
                    <a:pt x="56" y="316"/>
                  </a:lnTo>
                  <a:lnTo>
                    <a:pt x="56" y="316"/>
                  </a:lnTo>
                  <a:lnTo>
                    <a:pt x="57" y="316"/>
                  </a:lnTo>
                  <a:lnTo>
                    <a:pt x="57" y="316"/>
                  </a:lnTo>
                  <a:lnTo>
                    <a:pt x="58" y="316"/>
                  </a:lnTo>
                  <a:lnTo>
                    <a:pt x="58" y="316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1" y="313"/>
                  </a:lnTo>
                  <a:lnTo>
                    <a:pt x="62" y="311"/>
                  </a:lnTo>
                  <a:lnTo>
                    <a:pt x="62" y="311"/>
                  </a:lnTo>
                  <a:lnTo>
                    <a:pt x="64" y="309"/>
                  </a:lnTo>
                  <a:lnTo>
                    <a:pt x="66" y="307"/>
                  </a:lnTo>
                  <a:lnTo>
                    <a:pt x="66" y="307"/>
                  </a:lnTo>
                  <a:lnTo>
                    <a:pt x="67" y="306"/>
                  </a:lnTo>
                  <a:lnTo>
                    <a:pt x="68" y="306"/>
                  </a:lnTo>
                  <a:lnTo>
                    <a:pt x="69" y="305"/>
                  </a:lnTo>
                  <a:lnTo>
                    <a:pt x="71" y="304"/>
                  </a:lnTo>
                  <a:lnTo>
                    <a:pt x="72" y="303"/>
                  </a:lnTo>
                  <a:lnTo>
                    <a:pt x="73" y="302"/>
                  </a:lnTo>
                  <a:lnTo>
                    <a:pt x="74" y="301"/>
                  </a:lnTo>
                  <a:lnTo>
                    <a:pt x="75" y="300"/>
                  </a:lnTo>
                  <a:lnTo>
                    <a:pt x="77" y="299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81" y="294"/>
                  </a:lnTo>
                  <a:lnTo>
                    <a:pt x="82" y="293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8" y="291"/>
                  </a:lnTo>
                  <a:lnTo>
                    <a:pt x="89" y="290"/>
                  </a:lnTo>
                  <a:lnTo>
                    <a:pt x="91" y="290"/>
                  </a:lnTo>
                  <a:lnTo>
                    <a:pt x="93" y="290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9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1" y="288"/>
                  </a:lnTo>
                  <a:lnTo>
                    <a:pt x="101" y="287"/>
                  </a:lnTo>
                  <a:lnTo>
                    <a:pt x="101" y="287"/>
                  </a:lnTo>
                  <a:lnTo>
                    <a:pt x="102" y="286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4" y="281"/>
                  </a:lnTo>
                  <a:lnTo>
                    <a:pt x="104" y="280"/>
                  </a:lnTo>
                  <a:lnTo>
                    <a:pt x="105" y="280"/>
                  </a:lnTo>
                  <a:lnTo>
                    <a:pt x="105" y="280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4" y="278"/>
                  </a:lnTo>
                  <a:lnTo>
                    <a:pt x="115" y="278"/>
                  </a:lnTo>
                  <a:lnTo>
                    <a:pt x="115" y="277"/>
                  </a:lnTo>
                  <a:lnTo>
                    <a:pt x="116" y="277"/>
                  </a:lnTo>
                  <a:lnTo>
                    <a:pt x="117" y="276"/>
                  </a:lnTo>
                  <a:lnTo>
                    <a:pt x="119" y="274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3"/>
                  </a:lnTo>
                  <a:lnTo>
                    <a:pt x="121" y="272"/>
                  </a:lnTo>
                  <a:lnTo>
                    <a:pt x="123" y="272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6" y="271"/>
                  </a:lnTo>
                  <a:lnTo>
                    <a:pt x="126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29" y="273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1" y="276"/>
                  </a:lnTo>
                  <a:lnTo>
                    <a:pt x="132" y="276"/>
                  </a:lnTo>
                  <a:lnTo>
                    <a:pt x="134" y="278"/>
                  </a:lnTo>
                  <a:lnTo>
                    <a:pt x="135" y="279"/>
                  </a:lnTo>
                  <a:lnTo>
                    <a:pt x="136" y="279"/>
                  </a:lnTo>
                  <a:lnTo>
                    <a:pt x="137" y="280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9" y="280"/>
                  </a:lnTo>
                  <a:lnTo>
                    <a:pt x="141" y="280"/>
                  </a:lnTo>
                  <a:lnTo>
                    <a:pt x="142" y="280"/>
                  </a:lnTo>
                  <a:lnTo>
                    <a:pt x="143" y="279"/>
                  </a:lnTo>
                  <a:lnTo>
                    <a:pt x="144" y="279"/>
                  </a:lnTo>
                  <a:lnTo>
                    <a:pt x="146" y="278"/>
                  </a:lnTo>
                  <a:lnTo>
                    <a:pt x="147" y="277"/>
                  </a:lnTo>
                  <a:lnTo>
                    <a:pt x="148" y="276"/>
                  </a:lnTo>
                  <a:lnTo>
                    <a:pt x="149" y="276"/>
                  </a:lnTo>
                  <a:lnTo>
                    <a:pt x="149" y="275"/>
                  </a:lnTo>
                  <a:lnTo>
                    <a:pt x="150" y="275"/>
                  </a:lnTo>
                  <a:lnTo>
                    <a:pt x="151" y="275"/>
                  </a:lnTo>
                  <a:lnTo>
                    <a:pt x="152" y="275"/>
                  </a:lnTo>
                  <a:lnTo>
                    <a:pt x="154" y="276"/>
                  </a:lnTo>
                  <a:lnTo>
                    <a:pt x="155" y="276"/>
                  </a:lnTo>
                  <a:lnTo>
                    <a:pt x="158" y="276"/>
                  </a:lnTo>
                  <a:lnTo>
                    <a:pt x="159" y="277"/>
                  </a:lnTo>
                  <a:lnTo>
                    <a:pt x="161" y="277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4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8" y="273"/>
                  </a:lnTo>
                  <a:lnTo>
                    <a:pt x="179" y="273"/>
                  </a:lnTo>
                  <a:lnTo>
                    <a:pt x="179" y="272"/>
                  </a:lnTo>
                  <a:lnTo>
                    <a:pt x="179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68"/>
                  </a:lnTo>
                  <a:lnTo>
                    <a:pt x="180" y="267"/>
                  </a:lnTo>
                  <a:lnTo>
                    <a:pt x="180" y="266"/>
                  </a:lnTo>
                  <a:lnTo>
                    <a:pt x="180" y="265"/>
                  </a:lnTo>
                  <a:lnTo>
                    <a:pt x="181" y="265"/>
                  </a:lnTo>
                  <a:lnTo>
                    <a:pt x="181" y="264"/>
                  </a:lnTo>
                  <a:lnTo>
                    <a:pt x="182" y="263"/>
                  </a:lnTo>
                  <a:lnTo>
                    <a:pt x="183" y="263"/>
                  </a:lnTo>
                  <a:lnTo>
                    <a:pt x="184" y="262"/>
                  </a:lnTo>
                  <a:lnTo>
                    <a:pt x="185" y="262"/>
                  </a:lnTo>
                  <a:lnTo>
                    <a:pt x="186" y="261"/>
                  </a:lnTo>
                  <a:lnTo>
                    <a:pt x="188" y="261"/>
                  </a:lnTo>
                  <a:lnTo>
                    <a:pt x="189" y="261"/>
                  </a:lnTo>
                  <a:lnTo>
                    <a:pt x="193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1" y="259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3" y="257"/>
                  </a:lnTo>
                  <a:lnTo>
                    <a:pt x="203" y="257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05" y="255"/>
                  </a:lnTo>
                  <a:lnTo>
                    <a:pt x="206" y="254"/>
                  </a:lnTo>
                  <a:lnTo>
                    <a:pt x="206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7" y="250"/>
                  </a:lnTo>
                  <a:lnTo>
                    <a:pt x="208" y="250"/>
                  </a:lnTo>
                  <a:lnTo>
                    <a:pt x="208" y="249"/>
                  </a:lnTo>
                  <a:lnTo>
                    <a:pt x="210" y="247"/>
                  </a:lnTo>
                  <a:lnTo>
                    <a:pt x="211" y="247"/>
                  </a:lnTo>
                  <a:lnTo>
                    <a:pt x="211" y="246"/>
                  </a:lnTo>
                  <a:lnTo>
                    <a:pt x="212" y="246"/>
                  </a:lnTo>
                  <a:lnTo>
                    <a:pt x="212" y="245"/>
                  </a:lnTo>
                  <a:lnTo>
                    <a:pt x="212" y="245"/>
                  </a:lnTo>
                  <a:lnTo>
                    <a:pt x="212" y="244"/>
                  </a:lnTo>
                  <a:lnTo>
                    <a:pt x="212" y="243"/>
                  </a:lnTo>
                  <a:lnTo>
                    <a:pt x="212" y="243"/>
                  </a:lnTo>
                  <a:lnTo>
                    <a:pt x="212" y="242"/>
                  </a:lnTo>
                  <a:lnTo>
                    <a:pt x="212" y="241"/>
                  </a:lnTo>
                  <a:lnTo>
                    <a:pt x="211" y="241"/>
                  </a:lnTo>
                  <a:lnTo>
                    <a:pt x="210" y="240"/>
                  </a:lnTo>
                  <a:lnTo>
                    <a:pt x="209" y="239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4" y="234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3" y="232"/>
                  </a:lnTo>
                  <a:lnTo>
                    <a:pt x="202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30"/>
                  </a:lnTo>
                  <a:lnTo>
                    <a:pt x="205" y="230"/>
                  </a:lnTo>
                  <a:lnTo>
                    <a:pt x="206" y="229"/>
                  </a:lnTo>
                  <a:lnTo>
                    <a:pt x="207" y="229"/>
                  </a:lnTo>
                  <a:lnTo>
                    <a:pt x="207" y="228"/>
                  </a:lnTo>
                  <a:lnTo>
                    <a:pt x="208" y="228"/>
                  </a:lnTo>
                  <a:lnTo>
                    <a:pt x="208" y="227"/>
                  </a:lnTo>
                  <a:lnTo>
                    <a:pt x="209" y="227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0" y="225"/>
                  </a:lnTo>
                  <a:lnTo>
                    <a:pt x="210" y="224"/>
                  </a:lnTo>
                  <a:lnTo>
                    <a:pt x="210" y="224"/>
                  </a:lnTo>
                  <a:lnTo>
                    <a:pt x="209" y="223"/>
                  </a:lnTo>
                  <a:lnTo>
                    <a:pt x="209" y="222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08" y="218"/>
                  </a:lnTo>
                  <a:lnTo>
                    <a:pt x="208" y="217"/>
                  </a:lnTo>
                  <a:lnTo>
                    <a:pt x="209" y="217"/>
                  </a:lnTo>
                  <a:lnTo>
                    <a:pt x="209" y="216"/>
                  </a:lnTo>
                  <a:lnTo>
                    <a:pt x="209" y="215"/>
                  </a:lnTo>
                  <a:lnTo>
                    <a:pt x="210" y="215"/>
                  </a:lnTo>
                  <a:lnTo>
                    <a:pt x="210" y="214"/>
                  </a:lnTo>
                  <a:lnTo>
                    <a:pt x="211" y="214"/>
                  </a:lnTo>
                  <a:lnTo>
                    <a:pt x="211" y="213"/>
                  </a:lnTo>
                  <a:lnTo>
                    <a:pt x="212" y="213"/>
                  </a:lnTo>
                  <a:lnTo>
                    <a:pt x="214" y="212"/>
                  </a:lnTo>
                  <a:lnTo>
                    <a:pt x="215" y="211"/>
                  </a:lnTo>
                  <a:lnTo>
                    <a:pt x="216" y="211"/>
                  </a:lnTo>
                  <a:lnTo>
                    <a:pt x="217" y="210"/>
                  </a:lnTo>
                  <a:lnTo>
                    <a:pt x="218" y="209"/>
                  </a:lnTo>
                  <a:lnTo>
                    <a:pt x="219" y="208"/>
                  </a:lnTo>
                  <a:lnTo>
                    <a:pt x="219" y="208"/>
                  </a:lnTo>
                  <a:lnTo>
                    <a:pt x="219" y="207"/>
                  </a:lnTo>
                  <a:lnTo>
                    <a:pt x="219" y="206"/>
                  </a:lnTo>
                  <a:lnTo>
                    <a:pt x="219" y="205"/>
                  </a:lnTo>
                  <a:lnTo>
                    <a:pt x="219" y="203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18" y="201"/>
                  </a:lnTo>
                  <a:lnTo>
                    <a:pt x="218" y="201"/>
                  </a:lnTo>
                  <a:lnTo>
                    <a:pt x="218" y="200"/>
                  </a:lnTo>
                  <a:lnTo>
                    <a:pt x="217" y="200"/>
                  </a:lnTo>
                  <a:lnTo>
                    <a:pt x="217" y="199"/>
                  </a:lnTo>
                  <a:lnTo>
                    <a:pt x="217" y="198"/>
                  </a:lnTo>
                  <a:lnTo>
                    <a:pt x="215" y="198"/>
                  </a:lnTo>
                  <a:lnTo>
                    <a:pt x="213" y="196"/>
                  </a:lnTo>
                  <a:lnTo>
                    <a:pt x="212" y="195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10" y="191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0" y="188"/>
                  </a:lnTo>
                  <a:lnTo>
                    <a:pt x="210" y="187"/>
                  </a:lnTo>
                  <a:lnTo>
                    <a:pt x="211" y="186"/>
                  </a:lnTo>
                  <a:lnTo>
                    <a:pt x="211" y="185"/>
                  </a:lnTo>
                  <a:lnTo>
                    <a:pt x="212" y="184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3" y="181"/>
                  </a:lnTo>
                  <a:lnTo>
                    <a:pt x="214" y="180"/>
                  </a:lnTo>
                  <a:lnTo>
                    <a:pt x="215" y="178"/>
                  </a:lnTo>
                  <a:lnTo>
                    <a:pt x="216" y="178"/>
                  </a:lnTo>
                  <a:lnTo>
                    <a:pt x="217" y="177"/>
                  </a:lnTo>
                  <a:lnTo>
                    <a:pt x="219" y="175"/>
                  </a:lnTo>
                  <a:lnTo>
                    <a:pt x="220" y="175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3"/>
                  </a:lnTo>
                  <a:lnTo>
                    <a:pt x="222" y="173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2" y="171"/>
                  </a:lnTo>
                  <a:lnTo>
                    <a:pt x="221" y="171"/>
                  </a:lnTo>
                  <a:lnTo>
                    <a:pt x="221" y="170"/>
                  </a:lnTo>
                  <a:lnTo>
                    <a:pt x="221" y="169"/>
                  </a:lnTo>
                  <a:lnTo>
                    <a:pt x="220" y="168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7" y="165"/>
                  </a:lnTo>
                  <a:lnTo>
                    <a:pt x="217" y="164"/>
                  </a:lnTo>
                  <a:lnTo>
                    <a:pt x="217" y="163"/>
                  </a:lnTo>
                  <a:lnTo>
                    <a:pt x="217" y="163"/>
                  </a:lnTo>
                  <a:lnTo>
                    <a:pt x="217" y="162"/>
                  </a:lnTo>
                  <a:lnTo>
                    <a:pt x="217" y="161"/>
                  </a:lnTo>
                  <a:lnTo>
                    <a:pt x="217" y="160"/>
                  </a:lnTo>
                  <a:lnTo>
                    <a:pt x="217" y="159"/>
                  </a:lnTo>
                  <a:lnTo>
                    <a:pt x="218" y="159"/>
                  </a:lnTo>
                  <a:lnTo>
                    <a:pt x="218" y="158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3" y="151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8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2" y="147"/>
                  </a:lnTo>
                  <a:lnTo>
                    <a:pt x="222" y="146"/>
                  </a:lnTo>
                  <a:lnTo>
                    <a:pt x="222" y="146"/>
                  </a:lnTo>
                  <a:lnTo>
                    <a:pt x="221" y="146"/>
                  </a:lnTo>
                  <a:lnTo>
                    <a:pt x="218" y="145"/>
                  </a:lnTo>
                  <a:lnTo>
                    <a:pt x="217" y="145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5" y="144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0"/>
                  </a:lnTo>
                  <a:lnTo>
                    <a:pt x="215" y="140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8"/>
                  </a:lnTo>
                  <a:lnTo>
                    <a:pt x="215" y="138"/>
                  </a:lnTo>
                  <a:lnTo>
                    <a:pt x="215" y="138"/>
                  </a:lnTo>
                  <a:lnTo>
                    <a:pt x="210" y="134"/>
                  </a:lnTo>
                  <a:lnTo>
                    <a:pt x="207" y="132"/>
                  </a:lnTo>
                  <a:lnTo>
                    <a:pt x="206" y="131"/>
                  </a:lnTo>
                  <a:lnTo>
                    <a:pt x="206" y="131"/>
                  </a:lnTo>
                  <a:lnTo>
                    <a:pt x="205" y="130"/>
                  </a:lnTo>
                  <a:lnTo>
                    <a:pt x="205" y="130"/>
                  </a:lnTo>
                  <a:lnTo>
                    <a:pt x="205" y="129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7"/>
                  </a:lnTo>
                  <a:lnTo>
                    <a:pt x="205" y="126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6" y="119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3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8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4"/>
                  </a:lnTo>
                  <a:lnTo>
                    <a:pt x="214" y="101"/>
                  </a:lnTo>
                  <a:lnTo>
                    <a:pt x="215" y="100"/>
                  </a:lnTo>
                  <a:lnTo>
                    <a:pt x="216" y="99"/>
                  </a:lnTo>
                  <a:lnTo>
                    <a:pt x="216" y="98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20" y="95"/>
                  </a:lnTo>
                  <a:lnTo>
                    <a:pt x="221" y="95"/>
                  </a:lnTo>
                  <a:lnTo>
                    <a:pt x="222" y="95"/>
                  </a:lnTo>
                  <a:lnTo>
                    <a:pt x="223" y="94"/>
                  </a:lnTo>
                  <a:lnTo>
                    <a:pt x="226" y="94"/>
                  </a:lnTo>
                  <a:lnTo>
                    <a:pt x="228" y="94"/>
                  </a:lnTo>
                  <a:lnTo>
                    <a:pt x="230" y="93"/>
                  </a:lnTo>
                  <a:lnTo>
                    <a:pt x="231" y="93"/>
                  </a:lnTo>
                  <a:lnTo>
                    <a:pt x="232" y="93"/>
                  </a:lnTo>
                  <a:lnTo>
                    <a:pt x="233" y="92"/>
                  </a:lnTo>
                  <a:lnTo>
                    <a:pt x="234" y="92"/>
                  </a:lnTo>
                  <a:lnTo>
                    <a:pt x="234" y="91"/>
                  </a:lnTo>
                  <a:lnTo>
                    <a:pt x="235" y="91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8"/>
                  </a:lnTo>
                  <a:lnTo>
                    <a:pt x="235" y="88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3" y="87"/>
                  </a:lnTo>
                  <a:lnTo>
                    <a:pt x="233" y="86"/>
                  </a:lnTo>
                  <a:lnTo>
                    <a:pt x="232" y="86"/>
                  </a:lnTo>
                  <a:lnTo>
                    <a:pt x="231" y="86"/>
                  </a:lnTo>
                  <a:lnTo>
                    <a:pt x="229" y="85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3"/>
                  </a:lnTo>
                  <a:lnTo>
                    <a:pt x="228" y="83"/>
                  </a:lnTo>
                  <a:lnTo>
                    <a:pt x="228" y="82"/>
                  </a:lnTo>
                  <a:lnTo>
                    <a:pt x="229" y="81"/>
                  </a:lnTo>
                  <a:lnTo>
                    <a:pt x="231" y="80"/>
                  </a:lnTo>
                  <a:lnTo>
                    <a:pt x="231" y="79"/>
                  </a:lnTo>
                  <a:lnTo>
                    <a:pt x="232" y="79"/>
                  </a:lnTo>
                  <a:lnTo>
                    <a:pt x="233" y="78"/>
                  </a:lnTo>
                  <a:lnTo>
                    <a:pt x="234" y="77"/>
                  </a:lnTo>
                  <a:lnTo>
                    <a:pt x="235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7" y="77"/>
                  </a:lnTo>
                  <a:lnTo>
                    <a:pt x="238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0" y="77"/>
                  </a:lnTo>
                  <a:lnTo>
                    <a:pt x="240" y="78"/>
                  </a:lnTo>
                  <a:lnTo>
                    <a:pt x="241" y="78"/>
                  </a:lnTo>
                  <a:lnTo>
                    <a:pt x="241" y="79"/>
                  </a:lnTo>
                  <a:lnTo>
                    <a:pt x="242" y="80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3" y="82"/>
                  </a:lnTo>
                  <a:lnTo>
                    <a:pt x="243" y="82"/>
                  </a:lnTo>
                  <a:lnTo>
                    <a:pt x="244" y="83"/>
                  </a:lnTo>
                  <a:lnTo>
                    <a:pt x="244" y="83"/>
                  </a:lnTo>
                  <a:lnTo>
                    <a:pt x="245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8" y="82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1"/>
                  </a:lnTo>
                  <a:lnTo>
                    <a:pt x="250" y="80"/>
                  </a:lnTo>
                  <a:lnTo>
                    <a:pt x="250" y="78"/>
                  </a:lnTo>
                  <a:lnTo>
                    <a:pt x="251" y="77"/>
                  </a:lnTo>
                  <a:lnTo>
                    <a:pt x="251" y="76"/>
                  </a:lnTo>
                  <a:lnTo>
                    <a:pt x="251" y="75"/>
                  </a:lnTo>
                  <a:lnTo>
                    <a:pt x="251" y="75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3"/>
                  </a:lnTo>
                  <a:lnTo>
                    <a:pt x="251" y="72"/>
                  </a:lnTo>
                  <a:lnTo>
                    <a:pt x="250" y="71"/>
                  </a:lnTo>
                  <a:lnTo>
                    <a:pt x="249" y="70"/>
                  </a:lnTo>
                  <a:lnTo>
                    <a:pt x="249" y="69"/>
                  </a:lnTo>
                  <a:lnTo>
                    <a:pt x="247" y="68"/>
                  </a:lnTo>
                  <a:lnTo>
                    <a:pt x="247" y="67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5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3"/>
                  </a:lnTo>
                  <a:lnTo>
                    <a:pt x="249" y="63"/>
                  </a:lnTo>
                  <a:lnTo>
                    <a:pt x="249" y="63"/>
                  </a:lnTo>
                  <a:lnTo>
                    <a:pt x="250" y="63"/>
                  </a:lnTo>
                  <a:lnTo>
                    <a:pt x="251" y="62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4" y="61"/>
                  </a:lnTo>
                  <a:lnTo>
                    <a:pt x="255" y="59"/>
                  </a:lnTo>
                  <a:lnTo>
                    <a:pt x="256" y="58"/>
                  </a:lnTo>
                  <a:lnTo>
                    <a:pt x="257" y="57"/>
                  </a:lnTo>
                  <a:lnTo>
                    <a:pt x="258" y="55"/>
                  </a:lnTo>
                  <a:lnTo>
                    <a:pt x="258" y="54"/>
                  </a:lnTo>
                  <a:lnTo>
                    <a:pt x="259" y="53"/>
                  </a:lnTo>
                  <a:lnTo>
                    <a:pt x="259" y="52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7" y="45"/>
                  </a:lnTo>
                  <a:lnTo>
                    <a:pt x="257" y="44"/>
                  </a:lnTo>
                  <a:lnTo>
                    <a:pt x="256" y="44"/>
                  </a:lnTo>
                  <a:lnTo>
                    <a:pt x="253" y="42"/>
                  </a:lnTo>
                  <a:lnTo>
                    <a:pt x="253" y="42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51" y="40"/>
                  </a:lnTo>
                  <a:lnTo>
                    <a:pt x="250" y="39"/>
                  </a:lnTo>
                  <a:lnTo>
                    <a:pt x="250" y="38"/>
                  </a:lnTo>
                  <a:lnTo>
                    <a:pt x="250" y="38"/>
                  </a:lnTo>
                  <a:lnTo>
                    <a:pt x="250" y="37"/>
                  </a:lnTo>
                  <a:lnTo>
                    <a:pt x="250" y="37"/>
                  </a:lnTo>
                  <a:lnTo>
                    <a:pt x="250" y="36"/>
                  </a:lnTo>
                  <a:lnTo>
                    <a:pt x="250" y="35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6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57" y="23"/>
                  </a:lnTo>
                  <a:lnTo>
                    <a:pt x="259" y="22"/>
                  </a:lnTo>
                  <a:lnTo>
                    <a:pt x="260" y="21"/>
                  </a:lnTo>
                  <a:lnTo>
                    <a:pt x="261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8"/>
                  </a:lnTo>
                  <a:lnTo>
                    <a:pt x="264" y="17"/>
                  </a:lnTo>
                  <a:lnTo>
                    <a:pt x="265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1" y="18"/>
                  </a:lnTo>
                  <a:lnTo>
                    <a:pt x="272" y="18"/>
                  </a:lnTo>
                  <a:lnTo>
                    <a:pt x="273" y="18"/>
                  </a:lnTo>
                  <a:lnTo>
                    <a:pt x="275" y="18"/>
                  </a:lnTo>
                  <a:lnTo>
                    <a:pt x="277" y="17"/>
                  </a:lnTo>
                  <a:lnTo>
                    <a:pt x="280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7" y="18"/>
                  </a:lnTo>
                  <a:lnTo>
                    <a:pt x="289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5" y="18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8" y="16"/>
                  </a:lnTo>
                  <a:lnTo>
                    <a:pt x="298" y="15"/>
                  </a:lnTo>
                  <a:lnTo>
                    <a:pt x="298" y="14"/>
                  </a:lnTo>
                  <a:lnTo>
                    <a:pt x="299" y="13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2" y="2"/>
                  </a:lnTo>
                  <a:lnTo>
                    <a:pt x="302" y="1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Freeform 32">
              <a:extLst>
                <a:ext uri="{FF2B5EF4-FFF2-40B4-BE49-F238E27FC236}">
                  <a16:creationId xmlns:a16="http://schemas.microsoft.com/office/drawing/2014/main" id="{99FC762D-3CFE-5973-4264-FF153F3FF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1" y="3521"/>
              <a:ext cx="548" cy="464"/>
            </a:xfrm>
            <a:custGeom>
              <a:avLst/>
              <a:gdLst>
                <a:gd name="T0" fmla="*/ 232 w 548"/>
                <a:gd name="T1" fmla="*/ 1 h 464"/>
                <a:gd name="T2" fmla="*/ 256 w 548"/>
                <a:gd name="T3" fmla="*/ 4 h 464"/>
                <a:gd name="T4" fmla="*/ 282 w 548"/>
                <a:gd name="T5" fmla="*/ 14 h 464"/>
                <a:gd name="T6" fmla="*/ 268 w 548"/>
                <a:gd name="T7" fmla="*/ 21 h 464"/>
                <a:gd name="T8" fmla="*/ 266 w 548"/>
                <a:gd name="T9" fmla="*/ 36 h 464"/>
                <a:gd name="T10" fmla="*/ 289 w 548"/>
                <a:gd name="T11" fmla="*/ 43 h 464"/>
                <a:gd name="T12" fmla="*/ 280 w 548"/>
                <a:gd name="T13" fmla="*/ 61 h 464"/>
                <a:gd name="T14" fmla="*/ 290 w 548"/>
                <a:gd name="T15" fmla="*/ 88 h 464"/>
                <a:gd name="T16" fmla="*/ 284 w 548"/>
                <a:gd name="T17" fmla="*/ 99 h 464"/>
                <a:gd name="T18" fmla="*/ 305 w 548"/>
                <a:gd name="T19" fmla="*/ 108 h 464"/>
                <a:gd name="T20" fmla="*/ 316 w 548"/>
                <a:gd name="T21" fmla="*/ 88 h 464"/>
                <a:gd name="T22" fmla="*/ 304 w 548"/>
                <a:gd name="T23" fmla="*/ 70 h 464"/>
                <a:gd name="T24" fmla="*/ 316 w 548"/>
                <a:gd name="T25" fmla="*/ 60 h 464"/>
                <a:gd name="T26" fmla="*/ 334 w 548"/>
                <a:gd name="T27" fmla="*/ 72 h 464"/>
                <a:gd name="T28" fmla="*/ 344 w 548"/>
                <a:gd name="T29" fmla="*/ 94 h 464"/>
                <a:gd name="T30" fmla="*/ 355 w 548"/>
                <a:gd name="T31" fmla="*/ 106 h 464"/>
                <a:gd name="T32" fmla="*/ 361 w 548"/>
                <a:gd name="T33" fmla="*/ 107 h 464"/>
                <a:gd name="T34" fmla="*/ 364 w 548"/>
                <a:gd name="T35" fmla="*/ 126 h 464"/>
                <a:gd name="T36" fmla="*/ 387 w 548"/>
                <a:gd name="T37" fmla="*/ 141 h 464"/>
                <a:gd name="T38" fmla="*/ 389 w 548"/>
                <a:gd name="T39" fmla="*/ 181 h 464"/>
                <a:gd name="T40" fmla="*/ 394 w 548"/>
                <a:gd name="T41" fmla="*/ 205 h 464"/>
                <a:gd name="T42" fmla="*/ 407 w 548"/>
                <a:gd name="T43" fmla="*/ 209 h 464"/>
                <a:gd name="T44" fmla="*/ 395 w 548"/>
                <a:gd name="T45" fmla="*/ 227 h 464"/>
                <a:gd name="T46" fmla="*/ 383 w 548"/>
                <a:gd name="T47" fmla="*/ 245 h 464"/>
                <a:gd name="T48" fmla="*/ 396 w 548"/>
                <a:gd name="T49" fmla="*/ 250 h 464"/>
                <a:gd name="T50" fmla="*/ 417 w 548"/>
                <a:gd name="T51" fmla="*/ 254 h 464"/>
                <a:gd name="T52" fmla="*/ 423 w 548"/>
                <a:gd name="T53" fmla="*/ 270 h 464"/>
                <a:gd name="T54" fmla="*/ 451 w 548"/>
                <a:gd name="T55" fmla="*/ 280 h 464"/>
                <a:gd name="T56" fmla="*/ 459 w 548"/>
                <a:gd name="T57" fmla="*/ 294 h 464"/>
                <a:gd name="T58" fmla="*/ 481 w 548"/>
                <a:gd name="T59" fmla="*/ 304 h 464"/>
                <a:gd name="T60" fmla="*/ 508 w 548"/>
                <a:gd name="T61" fmla="*/ 304 h 464"/>
                <a:gd name="T62" fmla="*/ 517 w 548"/>
                <a:gd name="T63" fmla="*/ 317 h 464"/>
                <a:gd name="T64" fmla="*/ 541 w 548"/>
                <a:gd name="T65" fmla="*/ 337 h 464"/>
                <a:gd name="T66" fmla="*/ 536 w 548"/>
                <a:gd name="T67" fmla="*/ 357 h 464"/>
                <a:gd name="T68" fmla="*/ 517 w 548"/>
                <a:gd name="T69" fmla="*/ 367 h 464"/>
                <a:gd name="T70" fmla="*/ 499 w 548"/>
                <a:gd name="T71" fmla="*/ 360 h 464"/>
                <a:gd name="T72" fmla="*/ 475 w 548"/>
                <a:gd name="T73" fmla="*/ 367 h 464"/>
                <a:gd name="T74" fmla="*/ 455 w 548"/>
                <a:gd name="T75" fmla="*/ 365 h 464"/>
                <a:gd name="T76" fmla="*/ 423 w 548"/>
                <a:gd name="T77" fmla="*/ 347 h 464"/>
                <a:gd name="T78" fmla="*/ 398 w 548"/>
                <a:gd name="T79" fmla="*/ 357 h 464"/>
                <a:gd name="T80" fmla="*/ 379 w 548"/>
                <a:gd name="T81" fmla="*/ 383 h 464"/>
                <a:gd name="T82" fmla="*/ 351 w 548"/>
                <a:gd name="T83" fmla="*/ 429 h 464"/>
                <a:gd name="T84" fmla="*/ 340 w 548"/>
                <a:gd name="T85" fmla="*/ 460 h 464"/>
                <a:gd name="T86" fmla="*/ 331 w 548"/>
                <a:gd name="T87" fmla="*/ 461 h 464"/>
                <a:gd name="T88" fmla="*/ 325 w 548"/>
                <a:gd name="T89" fmla="*/ 426 h 464"/>
                <a:gd name="T90" fmla="*/ 311 w 548"/>
                <a:gd name="T91" fmla="*/ 421 h 464"/>
                <a:gd name="T92" fmla="*/ 275 w 548"/>
                <a:gd name="T93" fmla="*/ 417 h 464"/>
                <a:gd name="T94" fmla="*/ 257 w 548"/>
                <a:gd name="T95" fmla="*/ 413 h 464"/>
                <a:gd name="T96" fmla="*/ 251 w 548"/>
                <a:gd name="T97" fmla="*/ 398 h 464"/>
                <a:gd name="T98" fmla="*/ 231 w 548"/>
                <a:gd name="T99" fmla="*/ 391 h 464"/>
                <a:gd name="T100" fmla="*/ 205 w 548"/>
                <a:gd name="T101" fmla="*/ 382 h 464"/>
                <a:gd name="T102" fmla="*/ 182 w 548"/>
                <a:gd name="T103" fmla="*/ 389 h 464"/>
                <a:gd name="T104" fmla="*/ 162 w 548"/>
                <a:gd name="T105" fmla="*/ 417 h 464"/>
                <a:gd name="T106" fmla="*/ 148 w 548"/>
                <a:gd name="T107" fmla="*/ 415 h 464"/>
                <a:gd name="T108" fmla="*/ 121 w 548"/>
                <a:gd name="T109" fmla="*/ 414 h 464"/>
                <a:gd name="T110" fmla="*/ 73 w 548"/>
                <a:gd name="T111" fmla="*/ 410 h 464"/>
                <a:gd name="T112" fmla="*/ 35 w 548"/>
                <a:gd name="T113" fmla="*/ 387 h 464"/>
                <a:gd name="T114" fmla="*/ 27 w 548"/>
                <a:gd name="T115" fmla="*/ 376 h 464"/>
                <a:gd name="T116" fmla="*/ 15 w 548"/>
                <a:gd name="T117" fmla="*/ 369 h 464"/>
                <a:gd name="T118" fmla="*/ 2 w 548"/>
                <a:gd name="T119" fmla="*/ 36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8" h="464">
                  <a:moveTo>
                    <a:pt x="209" y="0"/>
                  </a:moveTo>
                  <a:lnTo>
                    <a:pt x="209" y="0"/>
                  </a:lnTo>
                  <a:lnTo>
                    <a:pt x="210" y="0"/>
                  </a:lnTo>
                  <a:lnTo>
                    <a:pt x="211" y="1"/>
                  </a:lnTo>
                  <a:lnTo>
                    <a:pt x="214" y="1"/>
                  </a:lnTo>
                  <a:lnTo>
                    <a:pt x="215" y="2"/>
                  </a:lnTo>
                  <a:lnTo>
                    <a:pt x="217" y="2"/>
                  </a:lnTo>
                  <a:lnTo>
                    <a:pt x="220" y="2"/>
                  </a:lnTo>
                  <a:lnTo>
                    <a:pt x="222" y="2"/>
                  </a:lnTo>
                  <a:lnTo>
                    <a:pt x="223" y="2"/>
                  </a:lnTo>
                  <a:lnTo>
                    <a:pt x="225" y="2"/>
                  </a:lnTo>
                  <a:lnTo>
                    <a:pt x="228" y="1"/>
                  </a:lnTo>
                  <a:lnTo>
                    <a:pt x="228" y="1"/>
                  </a:lnTo>
                  <a:lnTo>
                    <a:pt x="229" y="1"/>
                  </a:lnTo>
                  <a:lnTo>
                    <a:pt x="230" y="1"/>
                  </a:lnTo>
                  <a:lnTo>
                    <a:pt x="231" y="1"/>
                  </a:lnTo>
                  <a:lnTo>
                    <a:pt x="232" y="1"/>
                  </a:lnTo>
                  <a:lnTo>
                    <a:pt x="235" y="2"/>
                  </a:lnTo>
                  <a:lnTo>
                    <a:pt x="235" y="2"/>
                  </a:lnTo>
                  <a:lnTo>
                    <a:pt x="236" y="2"/>
                  </a:lnTo>
                  <a:lnTo>
                    <a:pt x="237" y="2"/>
                  </a:lnTo>
                  <a:lnTo>
                    <a:pt x="238" y="2"/>
                  </a:lnTo>
                  <a:lnTo>
                    <a:pt x="240" y="2"/>
                  </a:lnTo>
                  <a:lnTo>
                    <a:pt x="242" y="1"/>
                  </a:lnTo>
                  <a:lnTo>
                    <a:pt x="243" y="1"/>
                  </a:lnTo>
                  <a:lnTo>
                    <a:pt x="244" y="1"/>
                  </a:lnTo>
                  <a:lnTo>
                    <a:pt x="245" y="2"/>
                  </a:lnTo>
                  <a:lnTo>
                    <a:pt x="248" y="2"/>
                  </a:lnTo>
                  <a:lnTo>
                    <a:pt x="249" y="2"/>
                  </a:lnTo>
                  <a:lnTo>
                    <a:pt x="250" y="2"/>
                  </a:lnTo>
                  <a:lnTo>
                    <a:pt x="252" y="3"/>
                  </a:lnTo>
                  <a:lnTo>
                    <a:pt x="253" y="3"/>
                  </a:lnTo>
                  <a:lnTo>
                    <a:pt x="254" y="4"/>
                  </a:lnTo>
                  <a:lnTo>
                    <a:pt x="256" y="4"/>
                  </a:lnTo>
                  <a:lnTo>
                    <a:pt x="258" y="5"/>
                  </a:lnTo>
                  <a:lnTo>
                    <a:pt x="265" y="9"/>
                  </a:lnTo>
                  <a:lnTo>
                    <a:pt x="267" y="9"/>
                  </a:lnTo>
                  <a:lnTo>
                    <a:pt x="268" y="10"/>
                  </a:lnTo>
                  <a:lnTo>
                    <a:pt x="270" y="11"/>
                  </a:lnTo>
                  <a:lnTo>
                    <a:pt x="272" y="11"/>
                  </a:lnTo>
                  <a:lnTo>
                    <a:pt x="273" y="12"/>
                  </a:lnTo>
                  <a:lnTo>
                    <a:pt x="275" y="12"/>
                  </a:lnTo>
                  <a:lnTo>
                    <a:pt x="277" y="13"/>
                  </a:lnTo>
                  <a:lnTo>
                    <a:pt x="278" y="13"/>
                  </a:lnTo>
                  <a:lnTo>
                    <a:pt x="279" y="13"/>
                  </a:lnTo>
                  <a:lnTo>
                    <a:pt x="281" y="13"/>
                  </a:lnTo>
                  <a:lnTo>
                    <a:pt x="282" y="13"/>
                  </a:lnTo>
                  <a:lnTo>
                    <a:pt x="282" y="13"/>
                  </a:lnTo>
                  <a:lnTo>
                    <a:pt x="283" y="13"/>
                  </a:lnTo>
                  <a:lnTo>
                    <a:pt x="282" y="13"/>
                  </a:lnTo>
                  <a:lnTo>
                    <a:pt x="282" y="14"/>
                  </a:lnTo>
                  <a:lnTo>
                    <a:pt x="282" y="15"/>
                  </a:lnTo>
                  <a:lnTo>
                    <a:pt x="281" y="16"/>
                  </a:lnTo>
                  <a:lnTo>
                    <a:pt x="281" y="17"/>
                  </a:lnTo>
                  <a:lnTo>
                    <a:pt x="280" y="20"/>
                  </a:lnTo>
                  <a:lnTo>
                    <a:pt x="280" y="20"/>
                  </a:lnTo>
                  <a:lnTo>
                    <a:pt x="280" y="21"/>
                  </a:lnTo>
                  <a:lnTo>
                    <a:pt x="280" y="21"/>
                  </a:lnTo>
                  <a:lnTo>
                    <a:pt x="279" y="22"/>
                  </a:lnTo>
                  <a:lnTo>
                    <a:pt x="279" y="22"/>
                  </a:lnTo>
                  <a:lnTo>
                    <a:pt x="278" y="22"/>
                  </a:lnTo>
                  <a:lnTo>
                    <a:pt x="278" y="23"/>
                  </a:lnTo>
                  <a:lnTo>
                    <a:pt x="278" y="23"/>
                  </a:lnTo>
                  <a:lnTo>
                    <a:pt x="277" y="23"/>
                  </a:lnTo>
                  <a:lnTo>
                    <a:pt x="276" y="23"/>
                  </a:lnTo>
                  <a:lnTo>
                    <a:pt x="275" y="23"/>
                  </a:lnTo>
                  <a:lnTo>
                    <a:pt x="271" y="22"/>
                  </a:lnTo>
                  <a:lnTo>
                    <a:pt x="268" y="21"/>
                  </a:lnTo>
                  <a:lnTo>
                    <a:pt x="268" y="21"/>
                  </a:lnTo>
                  <a:lnTo>
                    <a:pt x="267" y="21"/>
                  </a:lnTo>
                  <a:lnTo>
                    <a:pt x="267" y="22"/>
                  </a:lnTo>
                  <a:lnTo>
                    <a:pt x="266" y="22"/>
                  </a:lnTo>
                  <a:lnTo>
                    <a:pt x="266" y="22"/>
                  </a:lnTo>
                  <a:lnTo>
                    <a:pt x="266" y="23"/>
                  </a:lnTo>
                  <a:lnTo>
                    <a:pt x="266" y="24"/>
                  </a:lnTo>
                  <a:lnTo>
                    <a:pt x="265" y="25"/>
                  </a:lnTo>
                  <a:lnTo>
                    <a:pt x="265" y="26"/>
                  </a:lnTo>
                  <a:lnTo>
                    <a:pt x="265" y="27"/>
                  </a:lnTo>
                  <a:lnTo>
                    <a:pt x="266" y="30"/>
                  </a:lnTo>
                  <a:lnTo>
                    <a:pt x="266" y="31"/>
                  </a:lnTo>
                  <a:lnTo>
                    <a:pt x="266" y="32"/>
                  </a:lnTo>
                  <a:lnTo>
                    <a:pt x="266" y="34"/>
                  </a:lnTo>
                  <a:lnTo>
                    <a:pt x="266" y="35"/>
                  </a:lnTo>
                  <a:lnTo>
                    <a:pt x="266" y="36"/>
                  </a:lnTo>
                  <a:lnTo>
                    <a:pt x="266" y="36"/>
                  </a:lnTo>
                  <a:lnTo>
                    <a:pt x="266" y="37"/>
                  </a:lnTo>
                  <a:lnTo>
                    <a:pt x="266" y="37"/>
                  </a:lnTo>
                  <a:lnTo>
                    <a:pt x="267" y="37"/>
                  </a:lnTo>
                  <a:lnTo>
                    <a:pt x="267" y="38"/>
                  </a:lnTo>
                  <a:lnTo>
                    <a:pt x="268" y="38"/>
                  </a:lnTo>
                  <a:lnTo>
                    <a:pt x="268" y="38"/>
                  </a:lnTo>
                  <a:lnTo>
                    <a:pt x="271" y="39"/>
                  </a:lnTo>
                  <a:lnTo>
                    <a:pt x="274" y="40"/>
                  </a:lnTo>
                  <a:lnTo>
                    <a:pt x="278" y="41"/>
                  </a:lnTo>
                  <a:lnTo>
                    <a:pt x="280" y="42"/>
                  </a:lnTo>
                  <a:lnTo>
                    <a:pt x="282" y="42"/>
                  </a:lnTo>
                  <a:lnTo>
                    <a:pt x="283" y="42"/>
                  </a:lnTo>
                  <a:lnTo>
                    <a:pt x="285" y="42"/>
                  </a:lnTo>
                  <a:lnTo>
                    <a:pt x="287" y="43"/>
                  </a:lnTo>
                  <a:lnTo>
                    <a:pt x="288" y="43"/>
                  </a:lnTo>
                  <a:lnTo>
                    <a:pt x="288" y="43"/>
                  </a:lnTo>
                  <a:lnTo>
                    <a:pt x="289" y="43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8" y="44"/>
                  </a:lnTo>
                  <a:lnTo>
                    <a:pt x="288" y="45"/>
                  </a:lnTo>
                  <a:lnTo>
                    <a:pt x="287" y="45"/>
                  </a:lnTo>
                  <a:lnTo>
                    <a:pt x="287" y="46"/>
                  </a:lnTo>
                  <a:lnTo>
                    <a:pt x="286" y="47"/>
                  </a:lnTo>
                  <a:lnTo>
                    <a:pt x="285" y="47"/>
                  </a:lnTo>
                  <a:lnTo>
                    <a:pt x="285" y="48"/>
                  </a:lnTo>
                  <a:lnTo>
                    <a:pt x="283" y="50"/>
                  </a:lnTo>
                  <a:lnTo>
                    <a:pt x="283" y="51"/>
                  </a:lnTo>
                  <a:lnTo>
                    <a:pt x="281" y="54"/>
                  </a:lnTo>
                  <a:lnTo>
                    <a:pt x="280" y="55"/>
                  </a:lnTo>
                  <a:lnTo>
                    <a:pt x="280" y="56"/>
                  </a:lnTo>
                  <a:lnTo>
                    <a:pt x="280" y="58"/>
                  </a:lnTo>
                  <a:lnTo>
                    <a:pt x="280" y="59"/>
                  </a:lnTo>
                  <a:lnTo>
                    <a:pt x="280" y="61"/>
                  </a:lnTo>
                  <a:lnTo>
                    <a:pt x="280" y="62"/>
                  </a:lnTo>
                  <a:lnTo>
                    <a:pt x="280" y="64"/>
                  </a:lnTo>
                  <a:lnTo>
                    <a:pt x="280" y="65"/>
                  </a:lnTo>
                  <a:lnTo>
                    <a:pt x="281" y="68"/>
                  </a:lnTo>
                  <a:lnTo>
                    <a:pt x="282" y="72"/>
                  </a:lnTo>
                  <a:lnTo>
                    <a:pt x="283" y="75"/>
                  </a:lnTo>
                  <a:lnTo>
                    <a:pt x="283" y="76"/>
                  </a:lnTo>
                  <a:lnTo>
                    <a:pt x="284" y="77"/>
                  </a:lnTo>
                  <a:lnTo>
                    <a:pt x="284" y="78"/>
                  </a:lnTo>
                  <a:lnTo>
                    <a:pt x="285" y="79"/>
                  </a:lnTo>
                  <a:lnTo>
                    <a:pt x="287" y="82"/>
                  </a:lnTo>
                  <a:lnTo>
                    <a:pt x="288" y="83"/>
                  </a:lnTo>
                  <a:lnTo>
                    <a:pt x="288" y="84"/>
                  </a:lnTo>
                  <a:lnTo>
                    <a:pt x="289" y="85"/>
                  </a:lnTo>
                  <a:lnTo>
                    <a:pt x="289" y="86"/>
                  </a:lnTo>
                  <a:lnTo>
                    <a:pt x="290" y="87"/>
                  </a:lnTo>
                  <a:lnTo>
                    <a:pt x="290" y="88"/>
                  </a:lnTo>
                  <a:lnTo>
                    <a:pt x="289" y="88"/>
                  </a:lnTo>
                  <a:lnTo>
                    <a:pt x="289" y="89"/>
                  </a:lnTo>
                  <a:lnTo>
                    <a:pt x="289" y="89"/>
                  </a:lnTo>
                  <a:lnTo>
                    <a:pt x="289" y="90"/>
                  </a:lnTo>
                  <a:lnTo>
                    <a:pt x="288" y="90"/>
                  </a:lnTo>
                  <a:lnTo>
                    <a:pt x="286" y="92"/>
                  </a:lnTo>
                  <a:lnTo>
                    <a:pt x="285" y="93"/>
                  </a:lnTo>
                  <a:lnTo>
                    <a:pt x="285" y="93"/>
                  </a:lnTo>
                  <a:lnTo>
                    <a:pt x="285" y="94"/>
                  </a:lnTo>
                  <a:lnTo>
                    <a:pt x="285" y="94"/>
                  </a:lnTo>
                  <a:lnTo>
                    <a:pt x="284" y="95"/>
                  </a:lnTo>
                  <a:lnTo>
                    <a:pt x="284" y="96"/>
                  </a:lnTo>
                  <a:lnTo>
                    <a:pt x="284" y="96"/>
                  </a:lnTo>
                  <a:lnTo>
                    <a:pt x="284" y="97"/>
                  </a:lnTo>
                  <a:lnTo>
                    <a:pt x="284" y="98"/>
                  </a:lnTo>
                  <a:lnTo>
                    <a:pt x="284" y="99"/>
                  </a:lnTo>
                  <a:lnTo>
                    <a:pt x="284" y="99"/>
                  </a:lnTo>
                  <a:lnTo>
                    <a:pt x="285" y="100"/>
                  </a:lnTo>
                  <a:lnTo>
                    <a:pt x="285" y="100"/>
                  </a:lnTo>
                  <a:lnTo>
                    <a:pt x="287" y="102"/>
                  </a:lnTo>
                  <a:lnTo>
                    <a:pt x="287" y="102"/>
                  </a:lnTo>
                  <a:lnTo>
                    <a:pt x="288" y="103"/>
                  </a:lnTo>
                  <a:lnTo>
                    <a:pt x="290" y="104"/>
                  </a:lnTo>
                  <a:lnTo>
                    <a:pt x="293" y="107"/>
                  </a:lnTo>
                  <a:lnTo>
                    <a:pt x="295" y="108"/>
                  </a:lnTo>
                  <a:lnTo>
                    <a:pt x="296" y="109"/>
                  </a:lnTo>
                  <a:lnTo>
                    <a:pt x="298" y="109"/>
                  </a:lnTo>
                  <a:lnTo>
                    <a:pt x="299" y="110"/>
                  </a:lnTo>
                  <a:lnTo>
                    <a:pt x="300" y="110"/>
                  </a:lnTo>
                  <a:lnTo>
                    <a:pt x="301" y="110"/>
                  </a:lnTo>
                  <a:lnTo>
                    <a:pt x="302" y="110"/>
                  </a:lnTo>
                  <a:lnTo>
                    <a:pt x="303" y="109"/>
                  </a:lnTo>
                  <a:lnTo>
                    <a:pt x="304" y="109"/>
                  </a:lnTo>
                  <a:lnTo>
                    <a:pt x="305" y="108"/>
                  </a:lnTo>
                  <a:lnTo>
                    <a:pt x="306" y="107"/>
                  </a:lnTo>
                  <a:lnTo>
                    <a:pt x="307" y="106"/>
                  </a:lnTo>
                  <a:lnTo>
                    <a:pt x="309" y="105"/>
                  </a:lnTo>
                  <a:lnTo>
                    <a:pt x="309" y="104"/>
                  </a:lnTo>
                  <a:lnTo>
                    <a:pt x="310" y="103"/>
                  </a:lnTo>
                  <a:lnTo>
                    <a:pt x="311" y="102"/>
                  </a:lnTo>
                  <a:lnTo>
                    <a:pt x="311" y="100"/>
                  </a:lnTo>
                  <a:lnTo>
                    <a:pt x="312" y="97"/>
                  </a:lnTo>
                  <a:lnTo>
                    <a:pt x="313" y="95"/>
                  </a:lnTo>
                  <a:lnTo>
                    <a:pt x="314" y="94"/>
                  </a:lnTo>
                  <a:lnTo>
                    <a:pt x="315" y="92"/>
                  </a:lnTo>
                  <a:lnTo>
                    <a:pt x="316" y="91"/>
                  </a:lnTo>
                  <a:lnTo>
                    <a:pt x="316" y="91"/>
                  </a:lnTo>
                  <a:lnTo>
                    <a:pt x="316" y="90"/>
                  </a:lnTo>
                  <a:lnTo>
                    <a:pt x="316" y="90"/>
                  </a:lnTo>
                  <a:lnTo>
                    <a:pt x="316" y="89"/>
                  </a:lnTo>
                  <a:lnTo>
                    <a:pt x="316" y="88"/>
                  </a:lnTo>
                  <a:lnTo>
                    <a:pt x="316" y="88"/>
                  </a:lnTo>
                  <a:lnTo>
                    <a:pt x="316" y="87"/>
                  </a:lnTo>
                  <a:lnTo>
                    <a:pt x="315" y="86"/>
                  </a:lnTo>
                  <a:lnTo>
                    <a:pt x="315" y="85"/>
                  </a:lnTo>
                  <a:lnTo>
                    <a:pt x="314" y="83"/>
                  </a:lnTo>
                  <a:lnTo>
                    <a:pt x="313" y="82"/>
                  </a:lnTo>
                  <a:lnTo>
                    <a:pt x="313" y="81"/>
                  </a:lnTo>
                  <a:lnTo>
                    <a:pt x="312" y="80"/>
                  </a:lnTo>
                  <a:lnTo>
                    <a:pt x="312" y="79"/>
                  </a:lnTo>
                  <a:lnTo>
                    <a:pt x="312" y="78"/>
                  </a:lnTo>
                  <a:lnTo>
                    <a:pt x="311" y="77"/>
                  </a:lnTo>
                  <a:lnTo>
                    <a:pt x="311" y="77"/>
                  </a:lnTo>
                  <a:lnTo>
                    <a:pt x="306" y="72"/>
                  </a:lnTo>
                  <a:lnTo>
                    <a:pt x="305" y="72"/>
                  </a:lnTo>
                  <a:lnTo>
                    <a:pt x="305" y="71"/>
                  </a:lnTo>
                  <a:lnTo>
                    <a:pt x="305" y="71"/>
                  </a:lnTo>
                  <a:lnTo>
                    <a:pt x="304" y="70"/>
                  </a:lnTo>
                  <a:lnTo>
                    <a:pt x="304" y="69"/>
                  </a:lnTo>
                  <a:lnTo>
                    <a:pt x="303" y="69"/>
                  </a:lnTo>
                  <a:lnTo>
                    <a:pt x="303" y="68"/>
                  </a:lnTo>
                  <a:lnTo>
                    <a:pt x="303" y="68"/>
                  </a:lnTo>
                  <a:lnTo>
                    <a:pt x="303" y="68"/>
                  </a:lnTo>
                  <a:lnTo>
                    <a:pt x="303" y="67"/>
                  </a:lnTo>
                  <a:lnTo>
                    <a:pt x="303" y="67"/>
                  </a:lnTo>
                  <a:lnTo>
                    <a:pt x="304" y="67"/>
                  </a:lnTo>
                  <a:lnTo>
                    <a:pt x="305" y="65"/>
                  </a:lnTo>
                  <a:lnTo>
                    <a:pt x="307" y="64"/>
                  </a:lnTo>
                  <a:lnTo>
                    <a:pt x="308" y="63"/>
                  </a:lnTo>
                  <a:lnTo>
                    <a:pt x="309" y="62"/>
                  </a:lnTo>
                  <a:lnTo>
                    <a:pt x="311" y="61"/>
                  </a:lnTo>
                  <a:lnTo>
                    <a:pt x="312" y="60"/>
                  </a:lnTo>
                  <a:lnTo>
                    <a:pt x="314" y="60"/>
                  </a:lnTo>
                  <a:lnTo>
                    <a:pt x="315" y="60"/>
                  </a:lnTo>
                  <a:lnTo>
                    <a:pt x="316" y="60"/>
                  </a:lnTo>
                  <a:lnTo>
                    <a:pt x="317" y="60"/>
                  </a:lnTo>
                  <a:lnTo>
                    <a:pt x="318" y="60"/>
                  </a:lnTo>
                  <a:lnTo>
                    <a:pt x="320" y="60"/>
                  </a:lnTo>
                  <a:lnTo>
                    <a:pt x="322" y="61"/>
                  </a:lnTo>
                  <a:lnTo>
                    <a:pt x="324" y="61"/>
                  </a:lnTo>
                  <a:lnTo>
                    <a:pt x="325" y="61"/>
                  </a:lnTo>
                  <a:lnTo>
                    <a:pt x="326" y="62"/>
                  </a:lnTo>
                  <a:lnTo>
                    <a:pt x="326" y="62"/>
                  </a:lnTo>
                  <a:lnTo>
                    <a:pt x="327" y="63"/>
                  </a:lnTo>
                  <a:lnTo>
                    <a:pt x="328" y="64"/>
                  </a:lnTo>
                  <a:lnTo>
                    <a:pt x="329" y="65"/>
                  </a:lnTo>
                  <a:lnTo>
                    <a:pt x="329" y="66"/>
                  </a:lnTo>
                  <a:lnTo>
                    <a:pt x="330" y="67"/>
                  </a:lnTo>
                  <a:lnTo>
                    <a:pt x="331" y="69"/>
                  </a:lnTo>
                  <a:lnTo>
                    <a:pt x="331" y="70"/>
                  </a:lnTo>
                  <a:lnTo>
                    <a:pt x="332" y="71"/>
                  </a:lnTo>
                  <a:lnTo>
                    <a:pt x="334" y="72"/>
                  </a:lnTo>
                  <a:lnTo>
                    <a:pt x="334" y="73"/>
                  </a:lnTo>
                  <a:lnTo>
                    <a:pt x="335" y="74"/>
                  </a:lnTo>
                  <a:lnTo>
                    <a:pt x="336" y="75"/>
                  </a:lnTo>
                  <a:lnTo>
                    <a:pt x="336" y="76"/>
                  </a:lnTo>
                  <a:lnTo>
                    <a:pt x="336" y="77"/>
                  </a:lnTo>
                  <a:lnTo>
                    <a:pt x="337" y="78"/>
                  </a:lnTo>
                  <a:lnTo>
                    <a:pt x="338" y="79"/>
                  </a:lnTo>
                  <a:lnTo>
                    <a:pt x="338" y="80"/>
                  </a:lnTo>
                  <a:lnTo>
                    <a:pt x="339" y="81"/>
                  </a:lnTo>
                  <a:lnTo>
                    <a:pt x="340" y="83"/>
                  </a:lnTo>
                  <a:lnTo>
                    <a:pt x="341" y="87"/>
                  </a:lnTo>
                  <a:lnTo>
                    <a:pt x="341" y="90"/>
                  </a:lnTo>
                  <a:lnTo>
                    <a:pt x="342" y="90"/>
                  </a:lnTo>
                  <a:lnTo>
                    <a:pt x="342" y="91"/>
                  </a:lnTo>
                  <a:lnTo>
                    <a:pt x="343" y="92"/>
                  </a:lnTo>
                  <a:lnTo>
                    <a:pt x="343" y="93"/>
                  </a:lnTo>
                  <a:lnTo>
                    <a:pt x="344" y="94"/>
                  </a:lnTo>
                  <a:lnTo>
                    <a:pt x="346" y="95"/>
                  </a:lnTo>
                  <a:lnTo>
                    <a:pt x="346" y="95"/>
                  </a:lnTo>
                  <a:lnTo>
                    <a:pt x="347" y="96"/>
                  </a:lnTo>
                  <a:lnTo>
                    <a:pt x="347" y="97"/>
                  </a:lnTo>
                  <a:lnTo>
                    <a:pt x="347" y="97"/>
                  </a:lnTo>
                  <a:lnTo>
                    <a:pt x="349" y="100"/>
                  </a:lnTo>
                  <a:lnTo>
                    <a:pt x="349" y="101"/>
                  </a:lnTo>
                  <a:lnTo>
                    <a:pt x="350" y="101"/>
                  </a:lnTo>
                  <a:lnTo>
                    <a:pt x="350" y="102"/>
                  </a:lnTo>
                  <a:lnTo>
                    <a:pt x="351" y="104"/>
                  </a:lnTo>
                  <a:lnTo>
                    <a:pt x="352" y="104"/>
                  </a:lnTo>
                  <a:lnTo>
                    <a:pt x="353" y="105"/>
                  </a:lnTo>
                  <a:lnTo>
                    <a:pt x="353" y="105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5" y="106"/>
                  </a:lnTo>
                  <a:lnTo>
                    <a:pt x="355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7" y="106"/>
                  </a:lnTo>
                  <a:lnTo>
                    <a:pt x="357" y="105"/>
                  </a:lnTo>
                  <a:lnTo>
                    <a:pt x="358" y="104"/>
                  </a:lnTo>
                  <a:lnTo>
                    <a:pt x="358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60" y="103"/>
                  </a:lnTo>
                  <a:lnTo>
                    <a:pt x="360" y="103"/>
                  </a:lnTo>
                  <a:lnTo>
                    <a:pt x="360" y="104"/>
                  </a:lnTo>
                  <a:lnTo>
                    <a:pt x="360" y="104"/>
                  </a:lnTo>
                  <a:lnTo>
                    <a:pt x="360" y="105"/>
                  </a:lnTo>
                  <a:lnTo>
                    <a:pt x="361" y="107"/>
                  </a:lnTo>
                  <a:lnTo>
                    <a:pt x="360" y="108"/>
                  </a:lnTo>
                  <a:lnTo>
                    <a:pt x="360" y="110"/>
                  </a:lnTo>
                  <a:lnTo>
                    <a:pt x="360" y="111"/>
                  </a:lnTo>
                  <a:lnTo>
                    <a:pt x="360" y="113"/>
                  </a:lnTo>
                  <a:lnTo>
                    <a:pt x="359" y="116"/>
                  </a:lnTo>
                  <a:lnTo>
                    <a:pt x="359" y="119"/>
                  </a:lnTo>
                  <a:lnTo>
                    <a:pt x="358" y="121"/>
                  </a:lnTo>
                  <a:lnTo>
                    <a:pt x="358" y="121"/>
                  </a:lnTo>
                  <a:lnTo>
                    <a:pt x="358" y="122"/>
                  </a:lnTo>
                  <a:lnTo>
                    <a:pt x="358" y="122"/>
                  </a:lnTo>
                  <a:lnTo>
                    <a:pt x="359" y="123"/>
                  </a:lnTo>
                  <a:lnTo>
                    <a:pt x="359" y="123"/>
                  </a:lnTo>
                  <a:lnTo>
                    <a:pt x="359" y="123"/>
                  </a:lnTo>
                  <a:lnTo>
                    <a:pt x="360" y="124"/>
                  </a:lnTo>
                  <a:lnTo>
                    <a:pt x="360" y="124"/>
                  </a:lnTo>
                  <a:lnTo>
                    <a:pt x="361" y="125"/>
                  </a:lnTo>
                  <a:lnTo>
                    <a:pt x="364" y="126"/>
                  </a:lnTo>
                  <a:lnTo>
                    <a:pt x="365" y="127"/>
                  </a:lnTo>
                  <a:lnTo>
                    <a:pt x="367" y="128"/>
                  </a:lnTo>
                  <a:lnTo>
                    <a:pt x="369" y="128"/>
                  </a:lnTo>
                  <a:lnTo>
                    <a:pt x="371" y="129"/>
                  </a:lnTo>
                  <a:lnTo>
                    <a:pt x="374" y="130"/>
                  </a:lnTo>
                  <a:lnTo>
                    <a:pt x="375" y="131"/>
                  </a:lnTo>
                  <a:lnTo>
                    <a:pt x="377" y="131"/>
                  </a:lnTo>
                  <a:lnTo>
                    <a:pt x="379" y="132"/>
                  </a:lnTo>
                  <a:lnTo>
                    <a:pt x="380" y="133"/>
                  </a:lnTo>
                  <a:lnTo>
                    <a:pt x="381" y="134"/>
                  </a:lnTo>
                  <a:lnTo>
                    <a:pt x="384" y="136"/>
                  </a:lnTo>
                  <a:lnTo>
                    <a:pt x="385" y="137"/>
                  </a:lnTo>
                  <a:lnTo>
                    <a:pt x="386" y="138"/>
                  </a:lnTo>
                  <a:lnTo>
                    <a:pt x="386" y="138"/>
                  </a:lnTo>
                  <a:lnTo>
                    <a:pt x="387" y="139"/>
                  </a:lnTo>
                  <a:lnTo>
                    <a:pt x="387" y="140"/>
                  </a:lnTo>
                  <a:lnTo>
                    <a:pt x="387" y="141"/>
                  </a:lnTo>
                  <a:lnTo>
                    <a:pt x="389" y="146"/>
                  </a:lnTo>
                  <a:lnTo>
                    <a:pt x="390" y="149"/>
                  </a:lnTo>
                  <a:lnTo>
                    <a:pt x="390" y="150"/>
                  </a:lnTo>
                  <a:lnTo>
                    <a:pt x="392" y="153"/>
                  </a:lnTo>
                  <a:lnTo>
                    <a:pt x="394" y="158"/>
                  </a:lnTo>
                  <a:lnTo>
                    <a:pt x="394" y="160"/>
                  </a:lnTo>
                  <a:lnTo>
                    <a:pt x="390" y="166"/>
                  </a:lnTo>
                  <a:lnTo>
                    <a:pt x="389" y="168"/>
                  </a:lnTo>
                  <a:lnTo>
                    <a:pt x="389" y="170"/>
                  </a:lnTo>
                  <a:lnTo>
                    <a:pt x="389" y="171"/>
                  </a:lnTo>
                  <a:lnTo>
                    <a:pt x="388" y="172"/>
                  </a:lnTo>
                  <a:lnTo>
                    <a:pt x="388" y="173"/>
                  </a:lnTo>
                  <a:lnTo>
                    <a:pt x="388" y="174"/>
                  </a:lnTo>
                  <a:lnTo>
                    <a:pt x="388" y="175"/>
                  </a:lnTo>
                  <a:lnTo>
                    <a:pt x="388" y="176"/>
                  </a:lnTo>
                  <a:lnTo>
                    <a:pt x="389" y="179"/>
                  </a:lnTo>
                  <a:lnTo>
                    <a:pt x="389" y="181"/>
                  </a:lnTo>
                  <a:lnTo>
                    <a:pt x="389" y="182"/>
                  </a:lnTo>
                  <a:lnTo>
                    <a:pt x="389" y="186"/>
                  </a:lnTo>
                  <a:lnTo>
                    <a:pt x="389" y="187"/>
                  </a:lnTo>
                  <a:lnTo>
                    <a:pt x="390" y="188"/>
                  </a:lnTo>
                  <a:lnTo>
                    <a:pt x="390" y="189"/>
                  </a:lnTo>
                  <a:lnTo>
                    <a:pt x="391" y="191"/>
                  </a:lnTo>
                  <a:lnTo>
                    <a:pt x="393" y="195"/>
                  </a:lnTo>
                  <a:lnTo>
                    <a:pt x="394" y="198"/>
                  </a:lnTo>
                  <a:lnTo>
                    <a:pt x="394" y="199"/>
                  </a:lnTo>
                  <a:lnTo>
                    <a:pt x="394" y="199"/>
                  </a:lnTo>
                  <a:lnTo>
                    <a:pt x="394" y="200"/>
                  </a:lnTo>
                  <a:lnTo>
                    <a:pt x="394" y="201"/>
                  </a:lnTo>
                  <a:lnTo>
                    <a:pt x="394" y="202"/>
                  </a:lnTo>
                  <a:lnTo>
                    <a:pt x="394" y="203"/>
                  </a:lnTo>
                  <a:lnTo>
                    <a:pt x="394" y="204"/>
                  </a:lnTo>
                  <a:lnTo>
                    <a:pt x="394" y="204"/>
                  </a:lnTo>
                  <a:lnTo>
                    <a:pt x="394" y="205"/>
                  </a:lnTo>
                  <a:lnTo>
                    <a:pt x="395" y="205"/>
                  </a:lnTo>
                  <a:lnTo>
                    <a:pt x="395" y="205"/>
                  </a:lnTo>
                  <a:lnTo>
                    <a:pt x="396" y="205"/>
                  </a:lnTo>
                  <a:lnTo>
                    <a:pt x="397" y="205"/>
                  </a:lnTo>
                  <a:lnTo>
                    <a:pt x="399" y="205"/>
                  </a:lnTo>
                  <a:lnTo>
                    <a:pt x="401" y="205"/>
                  </a:lnTo>
                  <a:lnTo>
                    <a:pt x="402" y="205"/>
                  </a:lnTo>
                  <a:lnTo>
                    <a:pt x="403" y="205"/>
                  </a:lnTo>
                  <a:lnTo>
                    <a:pt x="404" y="205"/>
                  </a:lnTo>
                  <a:lnTo>
                    <a:pt x="405" y="205"/>
                  </a:lnTo>
                  <a:lnTo>
                    <a:pt x="405" y="205"/>
                  </a:lnTo>
                  <a:lnTo>
                    <a:pt x="406" y="206"/>
                  </a:lnTo>
                  <a:lnTo>
                    <a:pt x="406" y="206"/>
                  </a:lnTo>
                  <a:lnTo>
                    <a:pt x="406" y="207"/>
                  </a:lnTo>
                  <a:lnTo>
                    <a:pt x="407" y="207"/>
                  </a:lnTo>
                  <a:lnTo>
                    <a:pt x="407" y="208"/>
                  </a:lnTo>
                  <a:lnTo>
                    <a:pt x="407" y="209"/>
                  </a:lnTo>
                  <a:lnTo>
                    <a:pt x="407" y="210"/>
                  </a:lnTo>
                  <a:lnTo>
                    <a:pt x="407" y="211"/>
                  </a:lnTo>
                  <a:lnTo>
                    <a:pt x="407" y="212"/>
                  </a:lnTo>
                  <a:lnTo>
                    <a:pt x="406" y="213"/>
                  </a:lnTo>
                  <a:lnTo>
                    <a:pt x="406" y="214"/>
                  </a:lnTo>
                  <a:lnTo>
                    <a:pt x="405" y="216"/>
                  </a:lnTo>
                  <a:lnTo>
                    <a:pt x="405" y="217"/>
                  </a:lnTo>
                  <a:lnTo>
                    <a:pt x="404" y="218"/>
                  </a:lnTo>
                  <a:lnTo>
                    <a:pt x="404" y="219"/>
                  </a:lnTo>
                  <a:lnTo>
                    <a:pt x="403" y="220"/>
                  </a:lnTo>
                  <a:lnTo>
                    <a:pt x="403" y="221"/>
                  </a:lnTo>
                  <a:lnTo>
                    <a:pt x="403" y="221"/>
                  </a:lnTo>
                  <a:lnTo>
                    <a:pt x="401" y="222"/>
                  </a:lnTo>
                  <a:lnTo>
                    <a:pt x="399" y="224"/>
                  </a:lnTo>
                  <a:lnTo>
                    <a:pt x="397" y="226"/>
                  </a:lnTo>
                  <a:lnTo>
                    <a:pt x="396" y="226"/>
                  </a:lnTo>
                  <a:lnTo>
                    <a:pt x="395" y="227"/>
                  </a:lnTo>
                  <a:lnTo>
                    <a:pt x="394" y="227"/>
                  </a:lnTo>
                  <a:lnTo>
                    <a:pt x="394" y="229"/>
                  </a:lnTo>
                  <a:lnTo>
                    <a:pt x="393" y="230"/>
                  </a:lnTo>
                  <a:lnTo>
                    <a:pt x="392" y="231"/>
                  </a:lnTo>
                  <a:lnTo>
                    <a:pt x="390" y="235"/>
                  </a:lnTo>
                  <a:lnTo>
                    <a:pt x="389" y="236"/>
                  </a:lnTo>
                  <a:lnTo>
                    <a:pt x="389" y="237"/>
                  </a:lnTo>
                  <a:lnTo>
                    <a:pt x="388" y="238"/>
                  </a:lnTo>
                  <a:lnTo>
                    <a:pt x="387" y="239"/>
                  </a:lnTo>
                  <a:lnTo>
                    <a:pt x="387" y="239"/>
                  </a:lnTo>
                  <a:lnTo>
                    <a:pt x="385" y="241"/>
                  </a:lnTo>
                  <a:lnTo>
                    <a:pt x="385" y="241"/>
                  </a:lnTo>
                  <a:lnTo>
                    <a:pt x="384" y="241"/>
                  </a:lnTo>
                  <a:lnTo>
                    <a:pt x="384" y="242"/>
                  </a:lnTo>
                  <a:lnTo>
                    <a:pt x="384" y="243"/>
                  </a:lnTo>
                  <a:lnTo>
                    <a:pt x="383" y="244"/>
                  </a:lnTo>
                  <a:lnTo>
                    <a:pt x="383" y="245"/>
                  </a:lnTo>
                  <a:lnTo>
                    <a:pt x="383" y="246"/>
                  </a:lnTo>
                  <a:lnTo>
                    <a:pt x="383" y="247"/>
                  </a:lnTo>
                  <a:lnTo>
                    <a:pt x="384" y="249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5" y="251"/>
                  </a:lnTo>
                  <a:lnTo>
                    <a:pt x="385" y="251"/>
                  </a:lnTo>
                  <a:lnTo>
                    <a:pt x="386" y="251"/>
                  </a:lnTo>
                  <a:lnTo>
                    <a:pt x="387" y="251"/>
                  </a:lnTo>
                  <a:lnTo>
                    <a:pt x="388" y="252"/>
                  </a:lnTo>
                  <a:lnTo>
                    <a:pt x="389" y="252"/>
                  </a:lnTo>
                  <a:lnTo>
                    <a:pt x="390" y="251"/>
                  </a:lnTo>
                  <a:lnTo>
                    <a:pt x="391" y="251"/>
                  </a:lnTo>
                  <a:lnTo>
                    <a:pt x="392" y="251"/>
                  </a:lnTo>
                  <a:lnTo>
                    <a:pt x="394" y="251"/>
                  </a:lnTo>
                  <a:lnTo>
                    <a:pt x="396" y="250"/>
                  </a:lnTo>
                  <a:lnTo>
                    <a:pt x="403" y="247"/>
                  </a:lnTo>
                  <a:lnTo>
                    <a:pt x="405" y="247"/>
                  </a:lnTo>
                  <a:lnTo>
                    <a:pt x="406" y="246"/>
                  </a:lnTo>
                  <a:lnTo>
                    <a:pt x="407" y="246"/>
                  </a:lnTo>
                  <a:lnTo>
                    <a:pt x="408" y="246"/>
                  </a:lnTo>
                  <a:lnTo>
                    <a:pt x="409" y="246"/>
                  </a:lnTo>
                  <a:lnTo>
                    <a:pt x="410" y="246"/>
                  </a:lnTo>
                  <a:lnTo>
                    <a:pt x="411" y="246"/>
                  </a:lnTo>
                  <a:lnTo>
                    <a:pt x="411" y="246"/>
                  </a:lnTo>
                  <a:lnTo>
                    <a:pt x="412" y="247"/>
                  </a:lnTo>
                  <a:lnTo>
                    <a:pt x="412" y="247"/>
                  </a:lnTo>
                  <a:lnTo>
                    <a:pt x="413" y="248"/>
                  </a:lnTo>
                  <a:lnTo>
                    <a:pt x="413" y="249"/>
                  </a:lnTo>
                  <a:lnTo>
                    <a:pt x="415" y="250"/>
                  </a:lnTo>
                  <a:lnTo>
                    <a:pt x="416" y="252"/>
                  </a:lnTo>
                  <a:lnTo>
                    <a:pt x="416" y="253"/>
                  </a:lnTo>
                  <a:lnTo>
                    <a:pt x="417" y="254"/>
                  </a:lnTo>
                  <a:lnTo>
                    <a:pt x="417" y="256"/>
                  </a:lnTo>
                  <a:lnTo>
                    <a:pt x="417" y="256"/>
                  </a:lnTo>
                  <a:lnTo>
                    <a:pt x="417" y="258"/>
                  </a:lnTo>
                  <a:lnTo>
                    <a:pt x="417" y="259"/>
                  </a:lnTo>
                  <a:lnTo>
                    <a:pt x="417" y="260"/>
                  </a:lnTo>
                  <a:lnTo>
                    <a:pt x="417" y="264"/>
                  </a:lnTo>
                  <a:lnTo>
                    <a:pt x="417" y="265"/>
                  </a:lnTo>
                  <a:lnTo>
                    <a:pt x="417" y="266"/>
                  </a:lnTo>
                  <a:lnTo>
                    <a:pt x="417" y="267"/>
                  </a:lnTo>
                  <a:lnTo>
                    <a:pt x="417" y="267"/>
                  </a:lnTo>
                  <a:lnTo>
                    <a:pt x="418" y="268"/>
                  </a:lnTo>
                  <a:lnTo>
                    <a:pt x="418" y="268"/>
                  </a:lnTo>
                  <a:lnTo>
                    <a:pt x="418" y="268"/>
                  </a:lnTo>
                  <a:lnTo>
                    <a:pt x="419" y="269"/>
                  </a:lnTo>
                  <a:lnTo>
                    <a:pt x="422" y="269"/>
                  </a:lnTo>
                  <a:lnTo>
                    <a:pt x="423" y="270"/>
                  </a:lnTo>
                  <a:lnTo>
                    <a:pt x="423" y="270"/>
                  </a:lnTo>
                  <a:lnTo>
                    <a:pt x="424" y="270"/>
                  </a:lnTo>
                  <a:lnTo>
                    <a:pt x="426" y="271"/>
                  </a:lnTo>
                  <a:lnTo>
                    <a:pt x="428" y="272"/>
                  </a:lnTo>
                  <a:lnTo>
                    <a:pt x="428" y="272"/>
                  </a:lnTo>
                  <a:lnTo>
                    <a:pt x="429" y="273"/>
                  </a:lnTo>
                  <a:lnTo>
                    <a:pt x="430" y="273"/>
                  </a:lnTo>
                  <a:lnTo>
                    <a:pt x="431" y="274"/>
                  </a:lnTo>
                  <a:lnTo>
                    <a:pt x="433" y="276"/>
                  </a:lnTo>
                  <a:lnTo>
                    <a:pt x="433" y="276"/>
                  </a:lnTo>
                  <a:lnTo>
                    <a:pt x="434" y="277"/>
                  </a:lnTo>
                  <a:lnTo>
                    <a:pt x="435" y="277"/>
                  </a:lnTo>
                  <a:lnTo>
                    <a:pt x="435" y="277"/>
                  </a:lnTo>
                  <a:lnTo>
                    <a:pt x="437" y="278"/>
                  </a:lnTo>
                  <a:lnTo>
                    <a:pt x="442" y="278"/>
                  </a:lnTo>
                  <a:lnTo>
                    <a:pt x="445" y="279"/>
                  </a:lnTo>
                  <a:lnTo>
                    <a:pt x="450" y="280"/>
                  </a:lnTo>
                  <a:lnTo>
                    <a:pt x="451" y="280"/>
                  </a:lnTo>
                  <a:lnTo>
                    <a:pt x="452" y="280"/>
                  </a:lnTo>
                  <a:lnTo>
                    <a:pt x="452" y="281"/>
                  </a:lnTo>
                  <a:lnTo>
                    <a:pt x="453" y="281"/>
                  </a:lnTo>
                  <a:lnTo>
                    <a:pt x="455" y="282"/>
                  </a:lnTo>
                  <a:lnTo>
                    <a:pt x="456" y="283"/>
                  </a:lnTo>
                  <a:lnTo>
                    <a:pt x="456" y="284"/>
                  </a:lnTo>
                  <a:lnTo>
                    <a:pt x="457" y="284"/>
                  </a:lnTo>
                  <a:lnTo>
                    <a:pt x="457" y="284"/>
                  </a:lnTo>
                  <a:lnTo>
                    <a:pt x="457" y="285"/>
                  </a:lnTo>
                  <a:lnTo>
                    <a:pt x="457" y="287"/>
                  </a:lnTo>
                  <a:lnTo>
                    <a:pt x="458" y="288"/>
                  </a:lnTo>
                  <a:lnTo>
                    <a:pt x="458" y="291"/>
                  </a:lnTo>
                  <a:lnTo>
                    <a:pt x="458" y="292"/>
                  </a:lnTo>
                  <a:lnTo>
                    <a:pt x="458" y="292"/>
                  </a:lnTo>
                  <a:lnTo>
                    <a:pt x="459" y="293"/>
                  </a:lnTo>
                  <a:lnTo>
                    <a:pt x="459" y="294"/>
                  </a:lnTo>
                  <a:lnTo>
                    <a:pt x="459" y="294"/>
                  </a:lnTo>
                  <a:lnTo>
                    <a:pt x="460" y="294"/>
                  </a:lnTo>
                  <a:lnTo>
                    <a:pt x="460" y="294"/>
                  </a:lnTo>
                  <a:lnTo>
                    <a:pt x="461" y="295"/>
                  </a:lnTo>
                  <a:lnTo>
                    <a:pt x="462" y="295"/>
                  </a:lnTo>
                  <a:lnTo>
                    <a:pt x="464" y="295"/>
                  </a:lnTo>
                  <a:lnTo>
                    <a:pt x="466" y="295"/>
                  </a:lnTo>
                  <a:lnTo>
                    <a:pt x="467" y="296"/>
                  </a:lnTo>
                  <a:lnTo>
                    <a:pt x="468" y="296"/>
                  </a:lnTo>
                  <a:lnTo>
                    <a:pt x="469" y="296"/>
                  </a:lnTo>
                  <a:lnTo>
                    <a:pt x="469" y="297"/>
                  </a:lnTo>
                  <a:lnTo>
                    <a:pt x="470" y="297"/>
                  </a:lnTo>
                  <a:lnTo>
                    <a:pt x="476" y="301"/>
                  </a:lnTo>
                  <a:lnTo>
                    <a:pt x="477" y="302"/>
                  </a:lnTo>
                  <a:lnTo>
                    <a:pt x="478" y="303"/>
                  </a:lnTo>
                  <a:lnTo>
                    <a:pt x="480" y="304"/>
                  </a:lnTo>
                  <a:lnTo>
                    <a:pt x="481" y="304"/>
                  </a:lnTo>
                  <a:lnTo>
                    <a:pt x="481" y="304"/>
                  </a:lnTo>
                  <a:lnTo>
                    <a:pt x="482" y="304"/>
                  </a:lnTo>
                  <a:lnTo>
                    <a:pt x="483" y="305"/>
                  </a:lnTo>
                  <a:lnTo>
                    <a:pt x="484" y="304"/>
                  </a:lnTo>
                  <a:lnTo>
                    <a:pt x="485" y="304"/>
                  </a:lnTo>
                  <a:lnTo>
                    <a:pt x="486" y="304"/>
                  </a:lnTo>
                  <a:lnTo>
                    <a:pt x="490" y="303"/>
                  </a:lnTo>
                  <a:lnTo>
                    <a:pt x="492" y="303"/>
                  </a:lnTo>
                  <a:lnTo>
                    <a:pt x="493" y="303"/>
                  </a:lnTo>
                  <a:lnTo>
                    <a:pt x="496" y="303"/>
                  </a:lnTo>
                  <a:lnTo>
                    <a:pt x="500" y="302"/>
                  </a:lnTo>
                  <a:lnTo>
                    <a:pt x="500" y="302"/>
                  </a:lnTo>
                  <a:lnTo>
                    <a:pt x="501" y="302"/>
                  </a:lnTo>
                  <a:lnTo>
                    <a:pt x="502" y="302"/>
                  </a:lnTo>
                  <a:lnTo>
                    <a:pt x="502" y="302"/>
                  </a:lnTo>
                  <a:lnTo>
                    <a:pt x="503" y="303"/>
                  </a:lnTo>
                  <a:lnTo>
                    <a:pt x="506" y="304"/>
                  </a:lnTo>
                  <a:lnTo>
                    <a:pt x="508" y="304"/>
                  </a:lnTo>
                  <a:lnTo>
                    <a:pt x="509" y="305"/>
                  </a:lnTo>
                  <a:lnTo>
                    <a:pt x="510" y="305"/>
                  </a:lnTo>
                  <a:lnTo>
                    <a:pt x="511" y="306"/>
                  </a:lnTo>
                  <a:lnTo>
                    <a:pt x="513" y="307"/>
                  </a:lnTo>
                  <a:lnTo>
                    <a:pt x="514" y="308"/>
                  </a:lnTo>
                  <a:lnTo>
                    <a:pt x="514" y="308"/>
                  </a:lnTo>
                  <a:lnTo>
                    <a:pt x="514" y="309"/>
                  </a:lnTo>
                  <a:lnTo>
                    <a:pt x="515" y="309"/>
                  </a:lnTo>
                  <a:lnTo>
                    <a:pt x="515" y="310"/>
                  </a:lnTo>
                  <a:lnTo>
                    <a:pt x="515" y="310"/>
                  </a:lnTo>
                  <a:lnTo>
                    <a:pt x="515" y="311"/>
                  </a:lnTo>
                  <a:lnTo>
                    <a:pt x="516" y="312"/>
                  </a:lnTo>
                  <a:lnTo>
                    <a:pt x="516" y="313"/>
                  </a:lnTo>
                  <a:lnTo>
                    <a:pt x="516" y="315"/>
                  </a:lnTo>
                  <a:lnTo>
                    <a:pt x="516" y="316"/>
                  </a:lnTo>
                  <a:lnTo>
                    <a:pt x="516" y="317"/>
                  </a:lnTo>
                  <a:lnTo>
                    <a:pt x="517" y="317"/>
                  </a:lnTo>
                  <a:lnTo>
                    <a:pt x="517" y="318"/>
                  </a:lnTo>
                  <a:lnTo>
                    <a:pt x="517" y="318"/>
                  </a:lnTo>
                  <a:lnTo>
                    <a:pt x="518" y="319"/>
                  </a:lnTo>
                  <a:lnTo>
                    <a:pt x="518" y="319"/>
                  </a:lnTo>
                  <a:lnTo>
                    <a:pt x="519" y="319"/>
                  </a:lnTo>
                  <a:lnTo>
                    <a:pt x="520" y="320"/>
                  </a:lnTo>
                  <a:lnTo>
                    <a:pt x="522" y="321"/>
                  </a:lnTo>
                  <a:lnTo>
                    <a:pt x="523" y="321"/>
                  </a:lnTo>
                  <a:lnTo>
                    <a:pt x="530" y="324"/>
                  </a:lnTo>
                  <a:lnTo>
                    <a:pt x="531" y="325"/>
                  </a:lnTo>
                  <a:lnTo>
                    <a:pt x="532" y="326"/>
                  </a:lnTo>
                  <a:lnTo>
                    <a:pt x="533" y="327"/>
                  </a:lnTo>
                  <a:lnTo>
                    <a:pt x="534" y="328"/>
                  </a:lnTo>
                  <a:lnTo>
                    <a:pt x="536" y="329"/>
                  </a:lnTo>
                  <a:lnTo>
                    <a:pt x="537" y="330"/>
                  </a:lnTo>
                  <a:lnTo>
                    <a:pt x="538" y="332"/>
                  </a:lnTo>
                  <a:lnTo>
                    <a:pt x="541" y="337"/>
                  </a:lnTo>
                  <a:lnTo>
                    <a:pt x="544" y="340"/>
                  </a:lnTo>
                  <a:lnTo>
                    <a:pt x="544" y="341"/>
                  </a:lnTo>
                  <a:lnTo>
                    <a:pt x="545" y="342"/>
                  </a:lnTo>
                  <a:lnTo>
                    <a:pt x="545" y="343"/>
                  </a:lnTo>
                  <a:lnTo>
                    <a:pt x="547" y="346"/>
                  </a:lnTo>
                  <a:lnTo>
                    <a:pt x="547" y="348"/>
                  </a:lnTo>
                  <a:lnTo>
                    <a:pt x="548" y="349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7" y="350"/>
                  </a:lnTo>
                  <a:lnTo>
                    <a:pt x="547" y="350"/>
                  </a:lnTo>
                  <a:lnTo>
                    <a:pt x="546" y="350"/>
                  </a:lnTo>
                  <a:lnTo>
                    <a:pt x="544" y="351"/>
                  </a:lnTo>
                  <a:lnTo>
                    <a:pt x="541" y="354"/>
                  </a:lnTo>
                  <a:lnTo>
                    <a:pt x="536" y="357"/>
                  </a:lnTo>
                  <a:lnTo>
                    <a:pt x="535" y="358"/>
                  </a:lnTo>
                  <a:lnTo>
                    <a:pt x="532" y="361"/>
                  </a:lnTo>
                  <a:lnTo>
                    <a:pt x="531" y="361"/>
                  </a:lnTo>
                  <a:lnTo>
                    <a:pt x="530" y="362"/>
                  </a:lnTo>
                  <a:lnTo>
                    <a:pt x="529" y="362"/>
                  </a:lnTo>
                  <a:lnTo>
                    <a:pt x="529" y="362"/>
                  </a:lnTo>
                  <a:lnTo>
                    <a:pt x="528" y="363"/>
                  </a:lnTo>
                  <a:lnTo>
                    <a:pt x="527" y="363"/>
                  </a:lnTo>
                  <a:lnTo>
                    <a:pt x="525" y="363"/>
                  </a:lnTo>
                  <a:lnTo>
                    <a:pt x="522" y="364"/>
                  </a:lnTo>
                  <a:lnTo>
                    <a:pt x="521" y="364"/>
                  </a:lnTo>
                  <a:lnTo>
                    <a:pt x="521" y="364"/>
                  </a:lnTo>
                  <a:lnTo>
                    <a:pt x="520" y="365"/>
                  </a:lnTo>
                  <a:lnTo>
                    <a:pt x="519" y="366"/>
                  </a:lnTo>
                  <a:lnTo>
                    <a:pt x="518" y="367"/>
                  </a:lnTo>
                  <a:lnTo>
                    <a:pt x="517" y="367"/>
                  </a:lnTo>
                  <a:lnTo>
                    <a:pt x="517" y="367"/>
                  </a:lnTo>
                  <a:lnTo>
                    <a:pt x="516" y="367"/>
                  </a:lnTo>
                  <a:lnTo>
                    <a:pt x="514" y="368"/>
                  </a:lnTo>
                  <a:lnTo>
                    <a:pt x="513" y="368"/>
                  </a:lnTo>
                  <a:lnTo>
                    <a:pt x="513" y="368"/>
                  </a:lnTo>
                  <a:lnTo>
                    <a:pt x="512" y="368"/>
                  </a:lnTo>
                  <a:lnTo>
                    <a:pt x="511" y="368"/>
                  </a:lnTo>
                  <a:lnTo>
                    <a:pt x="511" y="367"/>
                  </a:lnTo>
                  <a:lnTo>
                    <a:pt x="510" y="367"/>
                  </a:lnTo>
                  <a:lnTo>
                    <a:pt x="509" y="366"/>
                  </a:lnTo>
                  <a:lnTo>
                    <a:pt x="509" y="366"/>
                  </a:lnTo>
                  <a:lnTo>
                    <a:pt x="508" y="366"/>
                  </a:lnTo>
                  <a:lnTo>
                    <a:pt x="506" y="365"/>
                  </a:lnTo>
                  <a:lnTo>
                    <a:pt x="506" y="365"/>
                  </a:lnTo>
                  <a:lnTo>
                    <a:pt x="505" y="364"/>
                  </a:lnTo>
                  <a:lnTo>
                    <a:pt x="504" y="363"/>
                  </a:lnTo>
                  <a:lnTo>
                    <a:pt x="500" y="361"/>
                  </a:lnTo>
                  <a:lnTo>
                    <a:pt x="499" y="360"/>
                  </a:lnTo>
                  <a:lnTo>
                    <a:pt x="497" y="359"/>
                  </a:lnTo>
                  <a:lnTo>
                    <a:pt x="496" y="359"/>
                  </a:lnTo>
                  <a:lnTo>
                    <a:pt x="495" y="358"/>
                  </a:lnTo>
                  <a:lnTo>
                    <a:pt x="493" y="358"/>
                  </a:lnTo>
                  <a:lnTo>
                    <a:pt x="492" y="358"/>
                  </a:lnTo>
                  <a:lnTo>
                    <a:pt x="491" y="358"/>
                  </a:lnTo>
                  <a:lnTo>
                    <a:pt x="490" y="358"/>
                  </a:lnTo>
                  <a:lnTo>
                    <a:pt x="489" y="358"/>
                  </a:lnTo>
                  <a:lnTo>
                    <a:pt x="489" y="358"/>
                  </a:lnTo>
                  <a:lnTo>
                    <a:pt x="488" y="358"/>
                  </a:lnTo>
                  <a:lnTo>
                    <a:pt x="487" y="358"/>
                  </a:lnTo>
                  <a:lnTo>
                    <a:pt x="485" y="359"/>
                  </a:lnTo>
                  <a:lnTo>
                    <a:pt x="485" y="360"/>
                  </a:lnTo>
                  <a:lnTo>
                    <a:pt x="484" y="361"/>
                  </a:lnTo>
                  <a:lnTo>
                    <a:pt x="481" y="363"/>
                  </a:lnTo>
                  <a:lnTo>
                    <a:pt x="480" y="364"/>
                  </a:lnTo>
                  <a:lnTo>
                    <a:pt x="475" y="367"/>
                  </a:lnTo>
                  <a:lnTo>
                    <a:pt x="474" y="368"/>
                  </a:lnTo>
                  <a:lnTo>
                    <a:pt x="473" y="369"/>
                  </a:lnTo>
                  <a:lnTo>
                    <a:pt x="472" y="369"/>
                  </a:lnTo>
                  <a:lnTo>
                    <a:pt x="471" y="369"/>
                  </a:lnTo>
                  <a:lnTo>
                    <a:pt x="471" y="369"/>
                  </a:lnTo>
                  <a:lnTo>
                    <a:pt x="470" y="369"/>
                  </a:lnTo>
                  <a:lnTo>
                    <a:pt x="468" y="370"/>
                  </a:lnTo>
                  <a:lnTo>
                    <a:pt x="465" y="370"/>
                  </a:lnTo>
                  <a:lnTo>
                    <a:pt x="464" y="370"/>
                  </a:lnTo>
                  <a:lnTo>
                    <a:pt x="463" y="370"/>
                  </a:lnTo>
                  <a:lnTo>
                    <a:pt x="462" y="369"/>
                  </a:lnTo>
                  <a:lnTo>
                    <a:pt x="461" y="369"/>
                  </a:lnTo>
                  <a:lnTo>
                    <a:pt x="461" y="369"/>
                  </a:lnTo>
                  <a:lnTo>
                    <a:pt x="459" y="368"/>
                  </a:lnTo>
                  <a:lnTo>
                    <a:pt x="458" y="367"/>
                  </a:lnTo>
                  <a:lnTo>
                    <a:pt x="457" y="367"/>
                  </a:lnTo>
                  <a:lnTo>
                    <a:pt x="455" y="365"/>
                  </a:lnTo>
                  <a:lnTo>
                    <a:pt x="454" y="364"/>
                  </a:lnTo>
                  <a:lnTo>
                    <a:pt x="452" y="362"/>
                  </a:lnTo>
                  <a:lnTo>
                    <a:pt x="449" y="360"/>
                  </a:lnTo>
                  <a:lnTo>
                    <a:pt x="448" y="359"/>
                  </a:lnTo>
                  <a:lnTo>
                    <a:pt x="448" y="359"/>
                  </a:lnTo>
                  <a:lnTo>
                    <a:pt x="447" y="358"/>
                  </a:lnTo>
                  <a:lnTo>
                    <a:pt x="444" y="357"/>
                  </a:lnTo>
                  <a:lnTo>
                    <a:pt x="443" y="357"/>
                  </a:lnTo>
                  <a:lnTo>
                    <a:pt x="439" y="354"/>
                  </a:lnTo>
                  <a:lnTo>
                    <a:pt x="436" y="352"/>
                  </a:lnTo>
                  <a:lnTo>
                    <a:pt x="435" y="351"/>
                  </a:lnTo>
                  <a:lnTo>
                    <a:pt x="434" y="351"/>
                  </a:lnTo>
                  <a:lnTo>
                    <a:pt x="433" y="351"/>
                  </a:lnTo>
                  <a:lnTo>
                    <a:pt x="429" y="349"/>
                  </a:lnTo>
                  <a:lnTo>
                    <a:pt x="426" y="348"/>
                  </a:lnTo>
                  <a:lnTo>
                    <a:pt x="424" y="348"/>
                  </a:lnTo>
                  <a:lnTo>
                    <a:pt x="423" y="347"/>
                  </a:lnTo>
                  <a:lnTo>
                    <a:pt x="421" y="347"/>
                  </a:lnTo>
                  <a:lnTo>
                    <a:pt x="420" y="346"/>
                  </a:lnTo>
                  <a:lnTo>
                    <a:pt x="418" y="346"/>
                  </a:lnTo>
                  <a:lnTo>
                    <a:pt x="417" y="346"/>
                  </a:lnTo>
                  <a:lnTo>
                    <a:pt x="415" y="345"/>
                  </a:lnTo>
                  <a:lnTo>
                    <a:pt x="414" y="345"/>
                  </a:lnTo>
                  <a:lnTo>
                    <a:pt x="413" y="345"/>
                  </a:lnTo>
                  <a:lnTo>
                    <a:pt x="412" y="346"/>
                  </a:lnTo>
                  <a:lnTo>
                    <a:pt x="411" y="346"/>
                  </a:lnTo>
                  <a:lnTo>
                    <a:pt x="411" y="346"/>
                  </a:lnTo>
                  <a:lnTo>
                    <a:pt x="410" y="347"/>
                  </a:lnTo>
                  <a:lnTo>
                    <a:pt x="409" y="347"/>
                  </a:lnTo>
                  <a:lnTo>
                    <a:pt x="408" y="348"/>
                  </a:lnTo>
                  <a:lnTo>
                    <a:pt x="407" y="348"/>
                  </a:lnTo>
                  <a:lnTo>
                    <a:pt x="405" y="350"/>
                  </a:lnTo>
                  <a:lnTo>
                    <a:pt x="403" y="353"/>
                  </a:lnTo>
                  <a:lnTo>
                    <a:pt x="398" y="357"/>
                  </a:lnTo>
                  <a:lnTo>
                    <a:pt x="396" y="358"/>
                  </a:lnTo>
                  <a:lnTo>
                    <a:pt x="392" y="361"/>
                  </a:lnTo>
                  <a:lnTo>
                    <a:pt x="390" y="363"/>
                  </a:lnTo>
                  <a:lnTo>
                    <a:pt x="389" y="364"/>
                  </a:lnTo>
                  <a:lnTo>
                    <a:pt x="388" y="365"/>
                  </a:lnTo>
                  <a:lnTo>
                    <a:pt x="387" y="366"/>
                  </a:lnTo>
                  <a:lnTo>
                    <a:pt x="386" y="367"/>
                  </a:lnTo>
                  <a:lnTo>
                    <a:pt x="386" y="367"/>
                  </a:lnTo>
                  <a:lnTo>
                    <a:pt x="385" y="368"/>
                  </a:lnTo>
                  <a:lnTo>
                    <a:pt x="385" y="369"/>
                  </a:lnTo>
                  <a:lnTo>
                    <a:pt x="384" y="370"/>
                  </a:lnTo>
                  <a:lnTo>
                    <a:pt x="383" y="375"/>
                  </a:lnTo>
                  <a:lnTo>
                    <a:pt x="382" y="376"/>
                  </a:lnTo>
                  <a:lnTo>
                    <a:pt x="382" y="377"/>
                  </a:lnTo>
                  <a:lnTo>
                    <a:pt x="381" y="378"/>
                  </a:lnTo>
                  <a:lnTo>
                    <a:pt x="380" y="380"/>
                  </a:lnTo>
                  <a:lnTo>
                    <a:pt x="379" y="383"/>
                  </a:lnTo>
                  <a:lnTo>
                    <a:pt x="378" y="385"/>
                  </a:lnTo>
                  <a:lnTo>
                    <a:pt x="377" y="386"/>
                  </a:lnTo>
                  <a:lnTo>
                    <a:pt x="376" y="387"/>
                  </a:lnTo>
                  <a:lnTo>
                    <a:pt x="372" y="391"/>
                  </a:lnTo>
                  <a:lnTo>
                    <a:pt x="368" y="396"/>
                  </a:lnTo>
                  <a:lnTo>
                    <a:pt x="367" y="397"/>
                  </a:lnTo>
                  <a:lnTo>
                    <a:pt x="365" y="399"/>
                  </a:lnTo>
                  <a:lnTo>
                    <a:pt x="365" y="400"/>
                  </a:lnTo>
                  <a:lnTo>
                    <a:pt x="361" y="406"/>
                  </a:lnTo>
                  <a:lnTo>
                    <a:pt x="360" y="408"/>
                  </a:lnTo>
                  <a:lnTo>
                    <a:pt x="358" y="412"/>
                  </a:lnTo>
                  <a:lnTo>
                    <a:pt x="357" y="414"/>
                  </a:lnTo>
                  <a:lnTo>
                    <a:pt x="355" y="418"/>
                  </a:lnTo>
                  <a:lnTo>
                    <a:pt x="354" y="421"/>
                  </a:lnTo>
                  <a:lnTo>
                    <a:pt x="353" y="423"/>
                  </a:lnTo>
                  <a:lnTo>
                    <a:pt x="352" y="425"/>
                  </a:lnTo>
                  <a:lnTo>
                    <a:pt x="351" y="429"/>
                  </a:lnTo>
                  <a:lnTo>
                    <a:pt x="350" y="431"/>
                  </a:lnTo>
                  <a:lnTo>
                    <a:pt x="350" y="432"/>
                  </a:lnTo>
                  <a:lnTo>
                    <a:pt x="348" y="435"/>
                  </a:lnTo>
                  <a:lnTo>
                    <a:pt x="347" y="436"/>
                  </a:lnTo>
                  <a:lnTo>
                    <a:pt x="346" y="438"/>
                  </a:lnTo>
                  <a:lnTo>
                    <a:pt x="345" y="440"/>
                  </a:lnTo>
                  <a:lnTo>
                    <a:pt x="345" y="442"/>
                  </a:lnTo>
                  <a:lnTo>
                    <a:pt x="345" y="443"/>
                  </a:lnTo>
                  <a:lnTo>
                    <a:pt x="344" y="444"/>
                  </a:lnTo>
                  <a:lnTo>
                    <a:pt x="344" y="447"/>
                  </a:lnTo>
                  <a:lnTo>
                    <a:pt x="343" y="451"/>
                  </a:lnTo>
                  <a:lnTo>
                    <a:pt x="342" y="453"/>
                  </a:lnTo>
                  <a:lnTo>
                    <a:pt x="342" y="455"/>
                  </a:lnTo>
                  <a:lnTo>
                    <a:pt x="342" y="456"/>
                  </a:lnTo>
                  <a:lnTo>
                    <a:pt x="341" y="458"/>
                  </a:lnTo>
                  <a:lnTo>
                    <a:pt x="341" y="458"/>
                  </a:lnTo>
                  <a:lnTo>
                    <a:pt x="340" y="460"/>
                  </a:lnTo>
                  <a:lnTo>
                    <a:pt x="340" y="461"/>
                  </a:lnTo>
                  <a:lnTo>
                    <a:pt x="339" y="461"/>
                  </a:lnTo>
                  <a:lnTo>
                    <a:pt x="338" y="462"/>
                  </a:lnTo>
                  <a:lnTo>
                    <a:pt x="337" y="463"/>
                  </a:lnTo>
                  <a:lnTo>
                    <a:pt x="337" y="463"/>
                  </a:lnTo>
                  <a:lnTo>
                    <a:pt x="336" y="464"/>
                  </a:lnTo>
                  <a:lnTo>
                    <a:pt x="335" y="464"/>
                  </a:lnTo>
                  <a:lnTo>
                    <a:pt x="335" y="464"/>
                  </a:lnTo>
                  <a:lnTo>
                    <a:pt x="334" y="464"/>
                  </a:lnTo>
                  <a:lnTo>
                    <a:pt x="334" y="464"/>
                  </a:lnTo>
                  <a:lnTo>
                    <a:pt x="333" y="464"/>
                  </a:lnTo>
                  <a:lnTo>
                    <a:pt x="332" y="464"/>
                  </a:lnTo>
                  <a:lnTo>
                    <a:pt x="332" y="463"/>
                  </a:lnTo>
                  <a:lnTo>
                    <a:pt x="331" y="463"/>
                  </a:lnTo>
                  <a:lnTo>
                    <a:pt x="331" y="462"/>
                  </a:lnTo>
                  <a:lnTo>
                    <a:pt x="331" y="462"/>
                  </a:lnTo>
                  <a:lnTo>
                    <a:pt x="331" y="461"/>
                  </a:lnTo>
                  <a:lnTo>
                    <a:pt x="331" y="460"/>
                  </a:lnTo>
                  <a:lnTo>
                    <a:pt x="331" y="460"/>
                  </a:lnTo>
                  <a:lnTo>
                    <a:pt x="330" y="456"/>
                  </a:lnTo>
                  <a:lnTo>
                    <a:pt x="329" y="452"/>
                  </a:lnTo>
                  <a:lnTo>
                    <a:pt x="329" y="450"/>
                  </a:lnTo>
                  <a:lnTo>
                    <a:pt x="329" y="447"/>
                  </a:lnTo>
                  <a:lnTo>
                    <a:pt x="329" y="445"/>
                  </a:lnTo>
                  <a:lnTo>
                    <a:pt x="328" y="442"/>
                  </a:lnTo>
                  <a:lnTo>
                    <a:pt x="327" y="439"/>
                  </a:lnTo>
                  <a:lnTo>
                    <a:pt x="327" y="438"/>
                  </a:lnTo>
                  <a:lnTo>
                    <a:pt x="327" y="436"/>
                  </a:lnTo>
                  <a:lnTo>
                    <a:pt x="327" y="432"/>
                  </a:lnTo>
                  <a:lnTo>
                    <a:pt x="326" y="431"/>
                  </a:lnTo>
                  <a:lnTo>
                    <a:pt x="326" y="429"/>
                  </a:lnTo>
                  <a:lnTo>
                    <a:pt x="326" y="428"/>
                  </a:lnTo>
                  <a:lnTo>
                    <a:pt x="326" y="427"/>
                  </a:lnTo>
                  <a:lnTo>
                    <a:pt x="325" y="426"/>
                  </a:lnTo>
                  <a:lnTo>
                    <a:pt x="325" y="425"/>
                  </a:lnTo>
                  <a:lnTo>
                    <a:pt x="324" y="424"/>
                  </a:lnTo>
                  <a:lnTo>
                    <a:pt x="323" y="423"/>
                  </a:lnTo>
                  <a:lnTo>
                    <a:pt x="322" y="422"/>
                  </a:lnTo>
                  <a:lnTo>
                    <a:pt x="322" y="421"/>
                  </a:lnTo>
                  <a:lnTo>
                    <a:pt x="321" y="421"/>
                  </a:lnTo>
                  <a:lnTo>
                    <a:pt x="321" y="421"/>
                  </a:lnTo>
                  <a:lnTo>
                    <a:pt x="320" y="421"/>
                  </a:lnTo>
                  <a:lnTo>
                    <a:pt x="319" y="420"/>
                  </a:lnTo>
                  <a:lnTo>
                    <a:pt x="318" y="420"/>
                  </a:lnTo>
                  <a:lnTo>
                    <a:pt x="317" y="420"/>
                  </a:lnTo>
                  <a:lnTo>
                    <a:pt x="316" y="420"/>
                  </a:lnTo>
                  <a:lnTo>
                    <a:pt x="316" y="420"/>
                  </a:lnTo>
                  <a:lnTo>
                    <a:pt x="315" y="420"/>
                  </a:lnTo>
                  <a:lnTo>
                    <a:pt x="314" y="420"/>
                  </a:lnTo>
                  <a:lnTo>
                    <a:pt x="312" y="421"/>
                  </a:lnTo>
                  <a:lnTo>
                    <a:pt x="311" y="421"/>
                  </a:lnTo>
                  <a:lnTo>
                    <a:pt x="309" y="421"/>
                  </a:lnTo>
                  <a:lnTo>
                    <a:pt x="307" y="422"/>
                  </a:lnTo>
                  <a:lnTo>
                    <a:pt x="305" y="422"/>
                  </a:lnTo>
                  <a:lnTo>
                    <a:pt x="302" y="422"/>
                  </a:lnTo>
                  <a:lnTo>
                    <a:pt x="298" y="423"/>
                  </a:lnTo>
                  <a:lnTo>
                    <a:pt x="296" y="423"/>
                  </a:lnTo>
                  <a:lnTo>
                    <a:pt x="293" y="424"/>
                  </a:lnTo>
                  <a:lnTo>
                    <a:pt x="292" y="424"/>
                  </a:lnTo>
                  <a:lnTo>
                    <a:pt x="291" y="424"/>
                  </a:lnTo>
                  <a:lnTo>
                    <a:pt x="289" y="423"/>
                  </a:lnTo>
                  <a:lnTo>
                    <a:pt x="285" y="423"/>
                  </a:lnTo>
                  <a:lnTo>
                    <a:pt x="284" y="422"/>
                  </a:lnTo>
                  <a:lnTo>
                    <a:pt x="282" y="421"/>
                  </a:lnTo>
                  <a:lnTo>
                    <a:pt x="280" y="420"/>
                  </a:lnTo>
                  <a:lnTo>
                    <a:pt x="279" y="420"/>
                  </a:lnTo>
                  <a:lnTo>
                    <a:pt x="278" y="419"/>
                  </a:lnTo>
                  <a:lnTo>
                    <a:pt x="275" y="417"/>
                  </a:lnTo>
                  <a:lnTo>
                    <a:pt x="274" y="416"/>
                  </a:lnTo>
                  <a:lnTo>
                    <a:pt x="274" y="416"/>
                  </a:lnTo>
                  <a:lnTo>
                    <a:pt x="273" y="415"/>
                  </a:lnTo>
                  <a:lnTo>
                    <a:pt x="271" y="414"/>
                  </a:lnTo>
                  <a:lnTo>
                    <a:pt x="270" y="414"/>
                  </a:lnTo>
                  <a:lnTo>
                    <a:pt x="268" y="414"/>
                  </a:lnTo>
                  <a:lnTo>
                    <a:pt x="268" y="413"/>
                  </a:lnTo>
                  <a:lnTo>
                    <a:pt x="267" y="413"/>
                  </a:lnTo>
                  <a:lnTo>
                    <a:pt x="266" y="413"/>
                  </a:lnTo>
                  <a:lnTo>
                    <a:pt x="265" y="413"/>
                  </a:lnTo>
                  <a:lnTo>
                    <a:pt x="264" y="413"/>
                  </a:lnTo>
                  <a:lnTo>
                    <a:pt x="263" y="413"/>
                  </a:lnTo>
                  <a:lnTo>
                    <a:pt x="260" y="413"/>
                  </a:lnTo>
                  <a:lnTo>
                    <a:pt x="259" y="413"/>
                  </a:lnTo>
                  <a:lnTo>
                    <a:pt x="258" y="413"/>
                  </a:lnTo>
                  <a:lnTo>
                    <a:pt x="258" y="413"/>
                  </a:lnTo>
                  <a:lnTo>
                    <a:pt x="257" y="413"/>
                  </a:lnTo>
                  <a:lnTo>
                    <a:pt x="257" y="413"/>
                  </a:lnTo>
                  <a:lnTo>
                    <a:pt x="256" y="413"/>
                  </a:lnTo>
                  <a:lnTo>
                    <a:pt x="256" y="412"/>
                  </a:lnTo>
                  <a:lnTo>
                    <a:pt x="256" y="412"/>
                  </a:lnTo>
                  <a:lnTo>
                    <a:pt x="255" y="412"/>
                  </a:lnTo>
                  <a:lnTo>
                    <a:pt x="255" y="411"/>
                  </a:lnTo>
                  <a:lnTo>
                    <a:pt x="255" y="411"/>
                  </a:lnTo>
                  <a:lnTo>
                    <a:pt x="254" y="410"/>
                  </a:lnTo>
                  <a:lnTo>
                    <a:pt x="254" y="409"/>
                  </a:lnTo>
                  <a:lnTo>
                    <a:pt x="254" y="409"/>
                  </a:lnTo>
                  <a:lnTo>
                    <a:pt x="253" y="405"/>
                  </a:lnTo>
                  <a:lnTo>
                    <a:pt x="253" y="402"/>
                  </a:lnTo>
                  <a:lnTo>
                    <a:pt x="253" y="401"/>
                  </a:lnTo>
                  <a:lnTo>
                    <a:pt x="253" y="401"/>
                  </a:lnTo>
                  <a:lnTo>
                    <a:pt x="252" y="400"/>
                  </a:lnTo>
                  <a:lnTo>
                    <a:pt x="252" y="399"/>
                  </a:lnTo>
                  <a:lnTo>
                    <a:pt x="251" y="398"/>
                  </a:lnTo>
                  <a:lnTo>
                    <a:pt x="251" y="397"/>
                  </a:lnTo>
                  <a:lnTo>
                    <a:pt x="250" y="396"/>
                  </a:lnTo>
                  <a:lnTo>
                    <a:pt x="249" y="394"/>
                  </a:lnTo>
                  <a:lnTo>
                    <a:pt x="248" y="394"/>
                  </a:lnTo>
                  <a:lnTo>
                    <a:pt x="247" y="393"/>
                  </a:lnTo>
                  <a:lnTo>
                    <a:pt x="246" y="393"/>
                  </a:lnTo>
                  <a:lnTo>
                    <a:pt x="245" y="392"/>
                  </a:lnTo>
                  <a:lnTo>
                    <a:pt x="244" y="392"/>
                  </a:lnTo>
                  <a:lnTo>
                    <a:pt x="243" y="392"/>
                  </a:lnTo>
                  <a:lnTo>
                    <a:pt x="242" y="391"/>
                  </a:lnTo>
                  <a:lnTo>
                    <a:pt x="241" y="391"/>
                  </a:lnTo>
                  <a:lnTo>
                    <a:pt x="237" y="392"/>
                  </a:lnTo>
                  <a:lnTo>
                    <a:pt x="236" y="392"/>
                  </a:lnTo>
                  <a:lnTo>
                    <a:pt x="234" y="392"/>
                  </a:lnTo>
                  <a:lnTo>
                    <a:pt x="233" y="391"/>
                  </a:lnTo>
                  <a:lnTo>
                    <a:pt x="232" y="391"/>
                  </a:lnTo>
                  <a:lnTo>
                    <a:pt x="231" y="391"/>
                  </a:lnTo>
                  <a:lnTo>
                    <a:pt x="229" y="391"/>
                  </a:lnTo>
                  <a:lnTo>
                    <a:pt x="228" y="390"/>
                  </a:lnTo>
                  <a:lnTo>
                    <a:pt x="227" y="390"/>
                  </a:lnTo>
                  <a:lnTo>
                    <a:pt x="221" y="386"/>
                  </a:lnTo>
                  <a:lnTo>
                    <a:pt x="219" y="385"/>
                  </a:lnTo>
                  <a:lnTo>
                    <a:pt x="216" y="383"/>
                  </a:lnTo>
                  <a:lnTo>
                    <a:pt x="215" y="382"/>
                  </a:lnTo>
                  <a:lnTo>
                    <a:pt x="213" y="382"/>
                  </a:lnTo>
                  <a:lnTo>
                    <a:pt x="213" y="381"/>
                  </a:lnTo>
                  <a:lnTo>
                    <a:pt x="212" y="381"/>
                  </a:lnTo>
                  <a:lnTo>
                    <a:pt x="211" y="381"/>
                  </a:lnTo>
                  <a:lnTo>
                    <a:pt x="211" y="381"/>
                  </a:lnTo>
                  <a:lnTo>
                    <a:pt x="210" y="381"/>
                  </a:lnTo>
                  <a:lnTo>
                    <a:pt x="210" y="381"/>
                  </a:lnTo>
                  <a:lnTo>
                    <a:pt x="208" y="381"/>
                  </a:lnTo>
                  <a:lnTo>
                    <a:pt x="206" y="382"/>
                  </a:lnTo>
                  <a:lnTo>
                    <a:pt x="205" y="382"/>
                  </a:lnTo>
                  <a:lnTo>
                    <a:pt x="203" y="382"/>
                  </a:lnTo>
                  <a:lnTo>
                    <a:pt x="202" y="383"/>
                  </a:lnTo>
                  <a:lnTo>
                    <a:pt x="199" y="383"/>
                  </a:lnTo>
                  <a:lnTo>
                    <a:pt x="197" y="383"/>
                  </a:lnTo>
                  <a:lnTo>
                    <a:pt x="194" y="383"/>
                  </a:lnTo>
                  <a:lnTo>
                    <a:pt x="191" y="382"/>
                  </a:lnTo>
                  <a:lnTo>
                    <a:pt x="190" y="382"/>
                  </a:lnTo>
                  <a:lnTo>
                    <a:pt x="189" y="382"/>
                  </a:lnTo>
                  <a:lnTo>
                    <a:pt x="188" y="382"/>
                  </a:lnTo>
                  <a:lnTo>
                    <a:pt x="188" y="383"/>
                  </a:lnTo>
                  <a:lnTo>
                    <a:pt x="187" y="383"/>
                  </a:lnTo>
                  <a:lnTo>
                    <a:pt x="186" y="383"/>
                  </a:lnTo>
                  <a:lnTo>
                    <a:pt x="186" y="384"/>
                  </a:lnTo>
                  <a:lnTo>
                    <a:pt x="185" y="385"/>
                  </a:lnTo>
                  <a:lnTo>
                    <a:pt x="184" y="386"/>
                  </a:lnTo>
                  <a:lnTo>
                    <a:pt x="183" y="387"/>
                  </a:lnTo>
                  <a:lnTo>
                    <a:pt x="182" y="389"/>
                  </a:lnTo>
                  <a:lnTo>
                    <a:pt x="181" y="392"/>
                  </a:lnTo>
                  <a:lnTo>
                    <a:pt x="180" y="394"/>
                  </a:lnTo>
                  <a:lnTo>
                    <a:pt x="179" y="397"/>
                  </a:lnTo>
                  <a:lnTo>
                    <a:pt x="178" y="399"/>
                  </a:lnTo>
                  <a:lnTo>
                    <a:pt x="178" y="400"/>
                  </a:lnTo>
                  <a:lnTo>
                    <a:pt x="177" y="401"/>
                  </a:lnTo>
                  <a:lnTo>
                    <a:pt x="175" y="405"/>
                  </a:lnTo>
                  <a:lnTo>
                    <a:pt x="172" y="409"/>
                  </a:lnTo>
                  <a:lnTo>
                    <a:pt x="171" y="410"/>
                  </a:lnTo>
                  <a:lnTo>
                    <a:pt x="170" y="411"/>
                  </a:lnTo>
                  <a:lnTo>
                    <a:pt x="170" y="412"/>
                  </a:lnTo>
                  <a:lnTo>
                    <a:pt x="168" y="413"/>
                  </a:lnTo>
                  <a:lnTo>
                    <a:pt x="167" y="413"/>
                  </a:lnTo>
                  <a:lnTo>
                    <a:pt x="165" y="415"/>
                  </a:lnTo>
                  <a:lnTo>
                    <a:pt x="164" y="416"/>
                  </a:lnTo>
                  <a:lnTo>
                    <a:pt x="162" y="416"/>
                  </a:lnTo>
                  <a:lnTo>
                    <a:pt x="162" y="417"/>
                  </a:lnTo>
                  <a:lnTo>
                    <a:pt x="161" y="417"/>
                  </a:lnTo>
                  <a:lnTo>
                    <a:pt x="160" y="417"/>
                  </a:lnTo>
                  <a:lnTo>
                    <a:pt x="159" y="417"/>
                  </a:lnTo>
                  <a:lnTo>
                    <a:pt x="158" y="416"/>
                  </a:lnTo>
                  <a:lnTo>
                    <a:pt x="157" y="416"/>
                  </a:lnTo>
                  <a:lnTo>
                    <a:pt x="156" y="416"/>
                  </a:lnTo>
                  <a:lnTo>
                    <a:pt x="156" y="416"/>
                  </a:lnTo>
                  <a:lnTo>
                    <a:pt x="154" y="414"/>
                  </a:lnTo>
                  <a:lnTo>
                    <a:pt x="154" y="414"/>
                  </a:lnTo>
                  <a:lnTo>
                    <a:pt x="153" y="414"/>
                  </a:lnTo>
                  <a:lnTo>
                    <a:pt x="152" y="413"/>
                  </a:lnTo>
                  <a:lnTo>
                    <a:pt x="152" y="413"/>
                  </a:lnTo>
                  <a:lnTo>
                    <a:pt x="152" y="413"/>
                  </a:lnTo>
                  <a:lnTo>
                    <a:pt x="151" y="413"/>
                  </a:lnTo>
                  <a:lnTo>
                    <a:pt x="151" y="413"/>
                  </a:lnTo>
                  <a:lnTo>
                    <a:pt x="150" y="414"/>
                  </a:lnTo>
                  <a:lnTo>
                    <a:pt x="148" y="415"/>
                  </a:lnTo>
                  <a:lnTo>
                    <a:pt x="148" y="415"/>
                  </a:lnTo>
                  <a:lnTo>
                    <a:pt x="147" y="415"/>
                  </a:lnTo>
                  <a:lnTo>
                    <a:pt x="147" y="415"/>
                  </a:lnTo>
                  <a:lnTo>
                    <a:pt x="146" y="415"/>
                  </a:lnTo>
                  <a:lnTo>
                    <a:pt x="145" y="415"/>
                  </a:lnTo>
                  <a:lnTo>
                    <a:pt x="144" y="415"/>
                  </a:lnTo>
                  <a:lnTo>
                    <a:pt x="143" y="415"/>
                  </a:lnTo>
                  <a:lnTo>
                    <a:pt x="142" y="415"/>
                  </a:lnTo>
                  <a:lnTo>
                    <a:pt x="139" y="415"/>
                  </a:lnTo>
                  <a:lnTo>
                    <a:pt x="137" y="414"/>
                  </a:lnTo>
                  <a:lnTo>
                    <a:pt x="135" y="414"/>
                  </a:lnTo>
                  <a:lnTo>
                    <a:pt x="133" y="414"/>
                  </a:lnTo>
                  <a:lnTo>
                    <a:pt x="132" y="414"/>
                  </a:lnTo>
                  <a:lnTo>
                    <a:pt x="130" y="414"/>
                  </a:lnTo>
                  <a:lnTo>
                    <a:pt x="126" y="414"/>
                  </a:lnTo>
                  <a:lnTo>
                    <a:pt x="124" y="414"/>
                  </a:lnTo>
                  <a:lnTo>
                    <a:pt x="121" y="414"/>
                  </a:lnTo>
                  <a:lnTo>
                    <a:pt x="118" y="413"/>
                  </a:lnTo>
                  <a:lnTo>
                    <a:pt x="113" y="413"/>
                  </a:lnTo>
                  <a:lnTo>
                    <a:pt x="101" y="412"/>
                  </a:lnTo>
                  <a:lnTo>
                    <a:pt x="98" y="411"/>
                  </a:lnTo>
                  <a:lnTo>
                    <a:pt x="97" y="411"/>
                  </a:lnTo>
                  <a:lnTo>
                    <a:pt x="95" y="411"/>
                  </a:lnTo>
                  <a:lnTo>
                    <a:pt x="94" y="411"/>
                  </a:lnTo>
                  <a:lnTo>
                    <a:pt x="91" y="412"/>
                  </a:lnTo>
                  <a:lnTo>
                    <a:pt x="89" y="412"/>
                  </a:lnTo>
                  <a:lnTo>
                    <a:pt x="87" y="412"/>
                  </a:lnTo>
                  <a:lnTo>
                    <a:pt x="84" y="411"/>
                  </a:lnTo>
                  <a:lnTo>
                    <a:pt x="79" y="411"/>
                  </a:lnTo>
                  <a:lnTo>
                    <a:pt x="78" y="411"/>
                  </a:lnTo>
                  <a:lnTo>
                    <a:pt x="77" y="411"/>
                  </a:lnTo>
                  <a:lnTo>
                    <a:pt x="75" y="411"/>
                  </a:lnTo>
                  <a:lnTo>
                    <a:pt x="74" y="410"/>
                  </a:lnTo>
                  <a:lnTo>
                    <a:pt x="73" y="410"/>
                  </a:lnTo>
                  <a:lnTo>
                    <a:pt x="71" y="409"/>
                  </a:lnTo>
                  <a:lnTo>
                    <a:pt x="70" y="409"/>
                  </a:lnTo>
                  <a:lnTo>
                    <a:pt x="68" y="408"/>
                  </a:lnTo>
                  <a:lnTo>
                    <a:pt x="67" y="407"/>
                  </a:lnTo>
                  <a:lnTo>
                    <a:pt x="65" y="406"/>
                  </a:lnTo>
                  <a:lnTo>
                    <a:pt x="59" y="403"/>
                  </a:lnTo>
                  <a:lnTo>
                    <a:pt x="50" y="399"/>
                  </a:lnTo>
                  <a:lnTo>
                    <a:pt x="47" y="397"/>
                  </a:lnTo>
                  <a:lnTo>
                    <a:pt x="46" y="396"/>
                  </a:lnTo>
                  <a:lnTo>
                    <a:pt x="45" y="396"/>
                  </a:lnTo>
                  <a:lnTo>
                    <a:pt x="44" y="395"/>
                  </a:lnTo>
                  <a:lnTo>
                    <a:pt x="42" y="394"/>
                  </a:lnTo>
                  <a:lnTo>
                    <a:pt x="41" y="392"/>
                  </a:lnTo>
                  <a:lnTo>
                    <a:pt x="39" y="391"/>
                  </a:lnTo>
                  <a:lnTo>
                    <a:pt x="37" y="390"/>
                  </a:lnTo>
                  <a:lnTo>
                    <a:pt x="36" y="388"/>
                  </a:lnTo>
                  <a:lnTo>
                    <a:pt x="35" y="387"/>
                  </a:lnTo>
                  <a:lnTo>
                    <a:pt x="34" y="386"/>
                  </a:lnTo>
                  <a:lnTo>
                    <a:pt x="34" y="386"/>
                  </a:lnTo>
                  <a:lnTo>
                    <a:pt x="33" y="385"/>
                  </a:lnTo>
                  <a:lnTo>
                    <a:pt x="33" y="384"/>
                  </a:lnTo>
                  <a:lnTo>
                    <a:pt x="33" y="384"/>
                  </a:lnTo>
                  <a:lnTo>
                    <a:pt x="32" y="382"/>
                  </a:lnTo>
                  <a:lnTo>
                    <a:pt x="31" y="380"/>
                  </a:lnTo>
                  <a:lnTo>
                    <a:pt x="31" y="379"/>
                  </a:lnTo>
                  <a:lnTo>
                    <a:pt x="31" y="379"/>
                  </a:lnTo>
                  <a:lnTo>
                    <a:pt x="31" y="378"/>
                  </a:lnTo>
                  <a:lnTo>
                    <a:pt x="31" y="378"/>
                  </a:lnTo>
                  <a:lnTo>
                    <a:pt x="30" y="377"/>
                  </a:lnTo>
                  <a:lnTo>
                    <a:pt x="30" y="377"/>
                  </a:lnTo>
                  <a:lnTo>
                    <a:pt x="29" y="377"/>
                  </a:lnTo>
                  <a:lnTo>
                    <a:pt x="29" y="376"/>
                  </a:lnTo>
                  <a:lnTo>
                    <a:pt x="28" y="376"/>
                  </a:lnTo>
                  <a:lnTo>
                    <a:pt x="27" y="376"/>
                  </a:lnTo>
                  <a:lnTo>
                    <a:pt x="26" y="376"/>
                  </a:lnTo>
                  <a:lnTo>
                    <a:pt x="26" y="376"/>
                  </a:lnTo>
                  <a:lnTo>
                    <a:pt x="25" y="375"/>
                  </a:lnTo>
                  <a:lnTo>
                    <a:pt x="25" y="375"/>
                  </a:lnTo>
                  <a:lnTo>
                    <a:pt x="24" y="374"/>
                  </a:lnTo>
                  <a:lnTo>
                    <a:pt x="23" y="373"/>
                  </a:lnTo>
                  <a:lnTo>
                    <a:pt x="22" y="372"/>
                  </a:lnTo>
                  <a:lnTo>
                    <a:pt x="21" y="372"/>
                  </a:lnTo>
                  <a:lnTo>
                    <a:pt x="21" y="371"/>
                  </a:lnTo>
                  <a:lnTo>
                    <a:pt x="20" y="371"/>
                  </a:lnTo>
                  <a:lnTo>
                    <a:pt x="19" y="371"/>
                  </a:lnTo>
                  <a:lnTo>
                    <a:pt x="16" y="370"/>
                  </a:lnTo>
                  <a:lnTo>
                    <a:pt x="16" y="370"/>
                  </a:lnTo>
                  <a:lnTo>
                    <a:pt x="15" y="370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14" y="368"/>
                  </a:lnTo>
                  <a:lnTo>
                    <a:pt x="14" y="368"/>
                  </a:lnTo>
                  <a:lnTo>
                    <a:pt x="14" y="367"/>
                  </a:lnTo>
                  <a:lnTo>
                    <a:pt x="13" y="367"/>
                  </a:lnTo>
                  <a:lnTo>
                    <a:pt x="13" y="366"/>
                  </a:lnTo>
                  <a:lnTo>
                    <a:pt x="12" y="366"/>
                  </a:lnTo>
                  <a:lnTo>
                    <a:pt x="11" y="365"/>
                  </a:lnTo>
                  <a:lnTo>
                    <a:pt x="10" y="365"/>
                  </a:lnTo>
                  <a:lnTo>
                    <a:pt x="9" y="363"/>
                  </a:lnTo>
                  <a:lnTo>
                    <a:pt x="8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5" y="361"/>
                  </a:lnTo>
                  <a:lnTo>
                    <a:pt x="4" y="361"/>
                  </a:lnTo>
                  <a:lnTo>
                    <a:pt x="2" y="360"/>
                  </a:lnTo>
                  <a:lnTo>
                    <a:pt x="2" y="360"/>
                  </a:lnTo>
                  <a:lnTo>
                    <a:pt x="1" y="359"/>
                  </a:lnTo>
                  <a:lnTo>
                    <a:pt x="1" y="359"/>
                  </a:lnTo>
                  <a:lnTo>
                    <a:pt x="0" y="358"/>
                  </a:lnTo>
                  <a:lnTo>
                    <a:pt x="0" y="358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Freeform 33">
              <a:extLst>
                <a:ext uri="{FF2B5EF4-FFF2-40B4-BE49-F238E27FC236}">
                  <a16:creationId xmlns:a16="http://schemas.microsoft.com/office/drawing/2014/main" id="{153C335B-6DA2-B20A-BE7A-301911AD1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21"/>
              <a:ext cx="303" cy="362"/>
            </a:xfrm>
            <a:custGeom>
              <a:avLst/>
              <a:gdLst>
                <a:gd name="T0" fmla="*/ 88 w 303"/>
                <a:gd name="T1" fmla="*/ 354 h 362"/>
                <a:gd name="T2" fmla="*/ 71 w 303"/>
                <a:gd name="T3" fmla="*/ 357 h 362"/>
                <a:gd name="T4" fmla="*/ 57 w 303"/>
                <a:gd name="T5" fmla="*/ 362 h 362"/>
                <a:gd name="T6" fmla="*/ 34 w 303"/>
                <a:gd name="T7" fmla="*/ 351 h 362"/>
                <a:gd name="T8" fmla="*/ 10 w 303"/>
                <a:gd name="T9" fmla="*/ 342 h 362"/>
                <a:gd name="T10" fmla="*/ 4 w 303"/>
                <a:gd name="T11" fmla="*/ 331 h 362"/>
                <a:gd name="T12" fmla="*/ 6 w 303"/>
                <a:gd name="T13" fmla="*/ 328 h 362"/>
                <a:gd name="T14" fmla="*/ 11 w 303"/>
                <a:gd name="T15" fmla="*/ 323 h 362"/>
                <a:gd name="T16" fmla="*/ 16 w 303"/>
                <a:gd name="T17" fmla="*/ 318 h 362"/>
                <a:gd name="T18" fmla="*/ 26 w 303"/>
                <a:gd name="T19" fmla="*/ 321 h 362"/>
                <a:gd name="T20" fmla="*/ 34 w 303"/>
                <a:gd name="T21" fmla="*/ 319 h 362"/>
                <a:gd name="T22" fmla="*/ 45 w 303"/>
                <a:gd name="T23" fmla="*/ 312 h 362"/>
                <a:gd name="T24" fmla="*/ 56 w 303"/>
                <a:gd name="T25" fmla="*/ 316 h 362"/>
                <a:gd name="T26" fmla="*/ 66 w 303"/>
                <a:gd name="T27" fmla="*/ 307 h 362"/>
                <a:gd name="T28" fmla="*/ 78 w 303"/>
                <a:gd name="T29" fmla="*/ 297 h 362"/>
                <a:gd name="T30" fmla="*/ 93 w 303"/>
                <a:gd name="T31" fmla="*/ 290 h 362"/>
                <a:gd name="T32" fmla="*/ 102 w 303"/>
                <a:gd name="T33" fmla="*/ 286 h 362"/>
                <a:gd name="T34" fmla="*/ 107 w 303"/>
                <a:gd name="T35" fmla="*/ 279 h 362"/>
                <a:gd name="T36" fmla="*/ 116 w 303"/>
                <a:gd name="T37" fmla="*/ 277 h 362"/>
                <a:gd name="T38" fmla="*/ 126 w 303"/>
                <a:gd name="T39" fmla="*/ 271 h 362"/>
                <a:gd name="T40" fmla="*/ 134 w 303"/>
                <a:gd name="T41" fmla="*/ 278 h 362"/>
                <a:gd name="T42" fmla="*/ 146 w 303"/>
                <a:gd name="T43" fmla="*/ 278 h 362"/>
                <a:gd name="T44" fmla="*/ 159 w 303"/>
                <a:gd name="T45" fmla="*/ 277 h 362"/>
                <a:gd name="T46" fmla="*/ 178 w 303"/>
                <a:gd name="T47" fmla="*/ 273 h 362"/>
                <a:gd name="T48" fmla="*/ 180 w 303"/>
                <a:gd name="T49" fmla="*/ 265 h 362"/>
                <a:gd name="T50" fmla="*/ 196 w 303"/>
                <a:gd name="T51" fmla="*/ 260 h 362"/>
                <a:gd name="T52" fmla="*/ 205 w 303"/>
                <a:gd name="T53" fmla="*/ 255 h 362"/>
                <a:gd name="T54" fmla="*/ 212 w 303"/>
                <a:gd name="T55" fmla="*/ 246 h 362"/>
                <a:gd name="T56" fmla="*/ 207 w 303"/>
                <a:gd name="T57" fmla="*/ 236 h 362"/>
                <a:gd name="T58" fmla="*/ 203 w 303"/>
                <a:gd name="T59" fmla="*/ 230 h 362"/>
                <a:gd name="T60" fmla="*/ 210 w 303"/>
                <a:gd name="T61" fmla="*/ 225 h 362"/>
                <a:gd name="T62" fmla="*/ 209 w 303"/>
                <a:gd name="T63" fmla="*/ 215 h 362"/>
                <a:gd name="T64" fmla="*/ 219 w 303"/>
                <a:gd name="T65" fmla="*/ 208 h 362"/>
                <a:gd name="T66" fmla="*/ 217 w 303"/>
                <a:gd name="T67" fmla="*/ 200 h 362"/>
                <a:gd name="T68" fmla="*/ 210 w 303"/>
                <a:gd name="T69" fmla="*/ 192 h 362"/>
                <a:gd name="T70" fmla="*/ 213 w 303"/>
                <a:gd name="T71" fmla="*/ 181 h 362"/>
                <a:gd name="T72" fmla="*/ 222 w 303"/>
                <a:gd name="T73" fmla="*/ 172 h 362"/>
                <a:gd name="T74" fmla="*/ 217 w 303"/>
                <a:gd name="T75" fmla="*/ 163 h 362"/>
                <a:gd name="T76" fmla="*/ 223 w 303"/>
                <a:gd name="T77" fmla="*/ 151 h 362"/>
                <a:gd name="T78" fmla="*/ 221 w 303"/>
                <a:gd name="T79" fmla="*/ 146 h 362"/>
                <a:gd name="T80" fmla="*/ 213 w 303"/>
                <a:gd name="T81" fmla="*/ 141 h 362"/>
                <a:gd name="T82" fmla="*/ 210 w 303"/>
                <a:gd name="T83" fmla="*/ 134 h 362"/>
                <a:gd name="T84" fmla="*/ 206 w 303"/>
                <a:gd name="T85" fmla="*/ 123 h 362"/>
                <a:gd name="T86" fmla="*/ 212 w 303"/>
                <a:gd name="T87" fmla="*/ 105 h 362"/>
                <a:gd name="T88" fmla="*/ 220 w 303"/>
                <a:gd name="T89" fmla="*/ 95 h 362"/>
                <a:gd name="T90" fmla="*/ 234 w 303"/>
                <a:gd name="T91" fmla="*/ 91 h 362"/>
                <a:gd name="T92" fmla="*/ 233 w 303"/>
                <a:gd name="T93" fmla="*/ 86 h 362"/>
                <a:gd name="T94" fmla="*/ 228 w 303"/>
                <a:gd name="T95" fmla="*/ 82 h 362"/>
                <a:gd name="T96" fmla="*/ 238 w 303"/>
                <a:gd name="T97" fmla="*/ 77 h 362"/>
                <a:gd name="T98" fmla="*/ 243 w 303"/>
                <a:gd name="T99" fmla="*/ 82 h 362"/>
                <a:gd name="T100" fmla="*/ 249 w 303"/>
                <a:gd name="T101" fmla="*/ 81 h 362"/>
                <a:gd name="T102" fmla="*/ 250 w 303"/>
                <a:gd name="T103" fmla="*/ 71 h 362"/>
                <a:gd name="T104" fmla="*/ 245 w 303"/>
                <a:gd name="T105" fmla="*/ 63 h 362"/>
                <a:gd name="T106" fmla="*/ 253 w 303"/>
                <a:gd name="T107" fmla="*/ 61 h 362"/>
                <a:gd name="T108" fmla="*/ 260 w 303"/>
                <a:gd name="T109" fmla="*/ 50 h 362"/>
                <a:gd name="T110" fmla="*/ 253 w 303"/>
                <a:gd name="T111" fmla="*/ 42 h 362"/>
                <a:gd name="T112" fmla="*/ 250 w 303"/>
                <a:gd name="T113" fmla="*/ 35 h 362"/>
                <a:gd name="T114" fmla="*/ 255 w 303"/>
                <a:gd name="T115" fmla="*/ 25 h 362"/>
                <a:gd name="T116" fmla="*/ 264 w 303"/>
                <a:gd name="T117" fmla="*/ 17 h 362"/>
                <a:gd name="T118" fmla="*/ 272 w 303"/>
                <a:gd name="T119" fmla="*/ 18 h 362"/>
                <a:gd name="T120" fmla="*/ 290 w 303"/>
                <a:gd name="T121" fmla="*/ 18 h 362"/>
                <a:gd name="T122" fmla="*/ 299 w 303"/>
                <a:gd name="T123" fmla="*/ 13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3" h="362">
                  <a:moveTo>
                    <a:pt x="94" y="358"/>
                  </a:moveTo>
                  <a:lnTo>
                    <a:pt x="93" y="356"/>
                  </a:lnTo>
                  <a:lnTo>
                    <a:pt x="92" y="356"/>
                  </a:lnTo>
                  <a:lnTo>
                    <a:pt x="92" y="356"/>
                  </a:lnTo>
                  <a:lnTo>
                    <a:pt x="92" y="355"/>
                  </a:lnTo>
                  <a:lnTo>
                    <a:pt x="91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90" y="354"/>
                  </a:lnTo>
                  <a:lnTo>
                    <a:pt x="89" y="354"/>
                  </a:lnTo>
                  <a:lnTo>
                    <a:pt x="88" y="354"/>
                  </a:lnTo>
                  <a:lnTo>
                    <a:pt x="85" y="354"/>
                  </a:lnTo>
                  <a:lnTo>
                    <a:pt x="83" y="354"/>
                  </a:lnTo>
                  <a:lnTo>
                    <a:pt x="81" y="354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6" y="355"/>
                  </a:lnTo>
                  <a:lnTo>
                    <a:pt x="75" y="355"/>
                  </a:lnTo>
                  <a:lnTo>
                    <a:pt x="74" y="355"/>
                  </a:lnTo>
                  <a:lnTo>
                    <a:pt x="73" y="356"/>
                  </a:lnTo>
                  <a:lnTo>
                    <a:pt x="72" y="356"/>
                  </a:lnTo>
                  <a:lnTo>
                    <a:pt x="71" y="357"/>
                  </a:lnTo>
                  <a:lnTo>
                    <a:pt x="68" y="359"/>
                  </a:lnTo>
                  <a:lnTo>
                    <a:pt x="67" y="360"/>
                  </a:lnTo>
                  <a:lnTo>
                    <a:pt x="66" y="360"/>
                  </a:lnTo>
                  <a:lnTo>
                    <a:pt x="65" y="361"/>
                  </a:lnTo>
                  <a:lnTo>
                    <a:pt x="64" y="361"/>
                  </a:lnTo>
                  <a:lnTo>
                    <a:pt x="63" y="361"/>
                  </a:lnTo>
                  <a:lnTo>
                    <a:pt x="62" y="362"/>
                  </a:lnTo>
                  <a:lnTo>
                    <a:pt x="61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7" y="362"/>
                  </a:lnTo>
                  <a:lnTo>
                    <a:pt x="54" y="362"/>
                  </a:lnTo>
                  <a:lnTo>
                    <a:pt x="48" y="361"/>
                  </a:lnTo>
                  <a:lnTo>
                    <a:pt x="47" y="360"/>
                  </a:lnTo>
                  <a:lnTo>
                    <a:pt x="45" y="360"/>
                  </a:lnTo>
                  <a:lnTo>
                    <a:pt x="44" y="359"/>
                  </a:lnTo>
                  <a:lnTo>
                    <a:pt x="43" y="359"/>
                  </a:lnTo>
                  <a:lnTo>
                    <a:pt x="42" y="358"/>
                  </a:lnTo>
                  <a:lnTo>
                    <a:pt x="40" y="357"/>
                  </a:lnTo>
                  <a:lnTo>
                    <a:pt x="39" y="356"/>
                  </a:lnTo>
                  <a:lnTo>
                    <a:pt x="35" y="352"/>
                  </a:lnTo>
                  <a:lnTo>
                    <a:pt x="34" y="351"/>
                  </a:lnTo>
                  <a:lnTo>
                    <a:pt x="33" y="350"/>
                  </a:lnTo>
                  <a:lnTo>
                    <a:pt x="31" y="350"/>
                  </a:lnTo>
                  <a:lnTo>
                    <a:pt x="30" y="349"/>
                  </a:lnTo>
                  <a:lnTo>
                    <a:pt x="27" y="348"/>
                  </a:lnTo>
                  <a:lnTo>
                    <a:pt x="24" y="346"/>
                  </a:lnTo>
                  <a:lnTo>
                    <a:pt x="23" y="345"/>
                  </a:lnTo>
                  <a:lnTo>
                    <a:pt x="21" y="344"/>
                  </a:lnTo>
                  <a:lnTo>
                    <a:pt x="20" y="344"/>
                  </a:lnTo>
                  <a:lnTo>
                    <a:pt x="18" y="343"/>
                  </a:lnTo>
                  <a:lnTo>
                    <a:pt x="12" y="342"/>
                  </a:lnTo>
                  <a:lnTo>
                    <a:pt x="10" y="342"/>
                  </a:lnTo>
                  <a:lnTo>
                    <a:pt x="9" y="342"/>
                  </a:lnTo>
                  <a:lnTo>
                    <a:pt x="7" y="341"/>
                  </a:lnTo>
                  <a:lnTo>
                    <a:pt x="5" y="341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1" y="336"/>
                  </a:lnTo>
                  <a:lnTo>
                    <a:pt x="2" y="333"/>
                  </a:lnTo>
                  <a:lnTo>
                    <a:pt x="2" y="332"/>
                  </a:lnTo>
                  <a:lnTo>
                    <a:pt x="3" y="332"/>
                  </a:lnTo>
                  <a:lnTo>
                    <a:pt x="3" y="332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5" y="331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6" y="329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7" y="327"/>
                  </a:lnTo>
                  <a:lnTo>
                    <a:pt x="8" y="326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9" y="323"/>
                  </a:lnTo>
                  <a:lnTo>
                    <a:pt x="10" y="323"/>
                  </a:lnTo>
                  <a:lnTo>
                    <a:pt x="10" y="323"/>
                  </a:lnTo>
                  <a:lnTo>
                    <a:pt x="11" y="323"/>
                  </a:lnTo>
                  <a:lnTo>
                    <a:pt x="11" y="323"/>
                  </a:lnTo>
                  <a:lnTo>
                    <a:pt x="11" y="322"/>
                  </a:lnTo>
                  <a:lnTo>
                    <a:pt x="13" y="321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19"/>
                  </a:lnTo>
                  <a:lnTo>
                    <a:pt x="14" y="319"/>
                  </a:lnTo>
                  <a:lnTo>
                    <a:pt x="14" y="319"/>
                  </a:lnTo>
                  <a:lnTo>
                    <a:pt x="15" y="318"/>
                  </a:lnTo>
                  <a:lnTo>
                    <a:pt x="16" y="318"/>
                  </a:lnTo>
                  <a:lnTo>
                    <a:pt x="17" y="318"/>
                  </a:lnTo>
                  <a:lnTo>
                    <a:pt x="18" y="318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2" y="318"/>
                  </a:lnTo>
                  <a:lnTo>
                    <a:pt x="23" y="319"/>
                  </a:lnTo>
                  <a:lnTo>
                    <a:pt x="25" y="320"/>
                  </a:lnTo>
                  <a:lnTo>
                    <a:pt x="25" y="321"/>
                  </a:lnTo>
                  <a:lnTo>
                    <a:pt x="26" y="321"/>
                  </a:lnTo>
                  <a:lnTo>
                    <a:pt x="27" y="321"/>
                  </a:lnTo>
                  <a:lnTo>
                    <a:pt x="28" y="322"/>
                  </a:lnTo>
                  <a:lnTo>
                    <a:pt x="29" y="322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2" y="321"/>
                  </a:lnTo>
                  <a:lnTo>
                    <a:pt x="32" y="321"/>
                  </a:lnTo>
                  <a:lnTo>
                    <a:pt x="33" y="320"/>
                  </a:lnTo>
                  <a:lnTo>
                    <a:pt x="34" y="319"/>
                  </a:lnTo>
                  <a:lnTo>
                    <a:pt x="34" y="319"/>
                  </a:lnTo>
                  <a:lnTo>
                    <a:pt x="35" y="317"/>
                  </a:lnTo>
                  <a:lnTo>
                    <a:pt x="37" y="314"/>
                  </a:lnTo>
                  <a:lnTo>
                    <a:pt x="38" y="314"/>
                  </a:lnTo>
                  <a:lnTo>
                    <a:pt x="38" y="314"/>
                  </a:lnTo>
                  <a:lnTo>
                    <a:pt x="38" y="313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0" y="313"/>
                  </a:lnTo>
                  <a:lnTo>
                    <a:pt x="41" y="313"/>
                  </a:lnTo>
                  <a:lnTo>
                    <a:pt x="45" y="312"/>
                  </a:lnTo>
                  <a:lnTo>
                    <a:pt x="46" y="312"/>
                  </a:lnTo>
                  <a:lnTo>
                    <a:pt x="47" y="312"/>
                  </a:lnTo>
                  <a:lnTo>
                    <a:pt x="48" y="312"/>
                  </a:lnTo>
                  <a:lnTo>
                    <a:pt x="49" y="313"/>
                  </a:lnTo>
                  <a:lnTo>
                    <a:pt x="50" y="313"/>
                  </a:lnTo>
                  <a:lnTo>
                    <a:pt x="51" y="314"/>
                  </a:lnTo>
                  <a:lnTo>
                    <a:pt x="52" y="314"/>
                  </a:lnTo>
                  <a:lnTo>
                    <a:pt x="54" y="316"/>
                  </a:lnTo>
                  <a:lnTo>
                    <a:pt x="55" y="316"/>
                  </a:lnTo>
                  <a:lnTo>
                    <a:pt x="56" y="316"/>
                  </a:lnTo>
                  <a:lnTo>
                    <a:pt x="56" y="316"/>
                  </a:lnTo>
                  <a:lnTo>
                    <a:pt x="57" y="316"/>
                  </a:lnTo>
                  <a:lnTo>
                    <a:pt x="57" y="316"/>
                  </a:lnTo>
                  <a:lnTo>
                    <a:pt x="58" y="316"/>
                  </a:lnTo>
                  <a:lnTo>
                    <a:pt x="58" y="316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1" y="313"/>
                  </a:lnTo>
                  <a:lnTo>
                    <a:pt x="62" y="311"/>
                  </a:lnTo>
                  <a:lnTo>
                    <a:pt x="62" y="311"/>
                  </a:lnTo>
                  <a:lnTo>
                    <a:pt x="64" y="309"/>
                  </a:lnTo>
                  <a:lnTo>
                    <a:pt x="66" y="307"/>
                  </a:lnTo>
                  <a:lnTo>
                    <a:pt x="66" y="307"/>
                  </a:lnTo>
                  <a:lnTo>
                    <a:pt x="67" y="306"/>
                  </a:lnTo>
                  <a:lnTo>
                    <a:pt x="68" y="306"/>
                  </a:lnTo>
                  <a:lnTo>
                    <a:pt x="69" y="305"/>
                  </a:lnTo>
                  <a:lnTo>
                    <a:pt x="71" y="304"/>
                  </a:lnTo>
                  <a:lnTo>
                    <a:pt x="72" y="303"/>
                  </a:lnTo>
                  <a:lnTo>
                    <a:pt x="73" y="302"/>
                  </a:lnTo>
                  <a:lnTo>
                    <a:pt x="74" y="301"/>
                  </a:lnTo>
                  <a:lnTo>
                    <a:pt x="75" y="300"/>
                  </a:lnTo>
                  <a:lnTo>
                    <a:pt x="77" y="299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81" y="294"/>
                  </a:lnTo>
                  <a:lnTo>
                    <a:pt x="82" y="293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8" y="291"/>
                  </a:lnTo>
                  <a:lnTo>
                    <a:pt x="89" y="290"/>
                  </a:lnTo>
                  <a:lnTo>
                    <a:pt x="91" y="290"/>
                  </a:lnTo>
                  <a:lnTo>
                    <a:pt x="93" y="290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9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1" y="288"/>
                  </a:lnTo>
                  <a:lnTo>
                    <a:pt x="101" y="287"/>
                  </a:lnTo>
                  <a:lnTo>
                    <a:pt x="101" y="287"/>
                  </a:lnTo>
                  <a:lnTo>
                    <a:pt x="102" y="286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4" y="281"/>
                  </a:lnTo>
                  <a:lnTo>
                    <a:pt x="104" y="280"/>
                  </a:lnTo>
                  <a:lnTo>
                    <a:pt x="105" y="280"/>
                  </a:lnTo>
                  <a:lnTo>
                    <a:pt x="105" y="280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4" y="278"/>
                  </a:lnTo>
                  <a:lnTo>
                    <a:pt x="115" y="278"/>
                  </a:lnTo>
                  <a:lnTo>
                    <a:pt x="115" y="277"/>
                  </a:lnTo>
                  <a:lnTo>
                    <a:pt x="116" y="277"/>
                  </a:lnTo>
                  <a:lnTo>
                    <a:pt x="117" y="276"/>
                  </a:lnTo>
                  <a:lnTo>
                    <a:pt x="119" y="274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3"/>
                  </a:lnTo>
                  <a:lnTo>
                    <a:pt x="121" y="272"/>
                  </a:lnTo>
                  <a:lnTo>
                    <a:pt x="123" y="272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6" y="271"/>
                  </a:lnTo>
                  <a:lnTo>
                    <a:pt x="126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29" y="273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1" y="276"/>
                  </a:lnTo>
                  <a:lnTo>
                    <a:pt x="132" y="276"/>
                  </a:lnTo>
                  <a:lnTo>
                    <a:pt x="134" y="278"/>
                  </a:lnTo>
                  <a:lnTo>
                    <a:pt x="135" y="279"/>
                  </a:lnTo>
                  <a:lnTo>
                    <a:pt x="136" y="279"/>
                  </a:lnTo>
                  <a:lnTo>
                    <a:pt x="137" y="280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9" y="280"/>
                  </a:lnTo>
                  <a:lnTo>
                    <a:pt x="141" y="280"/>
                  </a:lnTo>
                  <a:lnTo>
                    <a:pt x="142" y="280"/>
                  </a:lnTo>
                  <a:lnTo>
                    <a:pt x="143" y="279"/>
                  </a:lnTo>
                  <a:lnTo>
                    <a:pt x="144" y="279"/>
                  </a:lnTo>
                  <a:lnTo>
                    <a:pt x="146" y="278"/>
                  </a:lnTo>
                  <a:lnTo>
                    <a:pt x="147" y="277"/>
                  </a:lnTo>
                  <a:lnTo>
                    <a:pt x="148" y="276"/>
                  </a:lnTo>
                  <a:lnTo>
                    <a:pt x="149" y="276"/>
                  </a:lnTo>
                  <a:lnTo>
                    <a:pt x="149" y="275"/>
                  </a:lnTo>
                  <a:lnTo>
                    <a:pt x="150" y="275"/>
                  </a:lnTo>
                  <a:lnTo>
                    <a:pt x="151" y="275"/>
                  </a:lnTo>
                  <a:lnTo>
                    <a:pt x="152" y="275"/>
                  </a:lnTo>
                  <a:lnTo>
                    <a:pt x="154" y="276"/>
                  </a:lnTo>
                  <a:lnTo>
                    <a:pt x="155" y="276"/>
                  </a:lnTo>
                  <a:lnTo>
                    <a:pt x="158" y="276"/>
                  </a:lnTo>
                  <a:lnTo>
                    <a:pt x="159" y="277"/>
                  </a:lnTo>
                  <a:lnTo>
                    <a:pt x="161" y="277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4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8" y="273"/>
                  </a:lnTo>
                  <a:lnTo>
                    <a:pt x="179" y="273"/>
                  </a:lnTo>
                  <a:lnTo>
                    <a:pt x="179" y="272"/>
                  </a:lnTo>
                  <a:lnTo>
                    <a:pt x="179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68"/>
                  </a:lnTo>
                  <a:lnTo>
                    <a:pt x="180" y="267"/>
                  </a:lnTo>
                  <a:lnTo>
                    <a:pt x="180" y="266"/>
                  </a:lnTo>
                  <a:lnTo>
                    <a:pt x="180" y="265"/>
                  </a:lnTo>
                  <a:lnTo>
                    <a:pt x="181" y="265"/>
                  </a:lnTo>
                  <a:lnTo>
                    <a:pt x="181" y="264"/>
                  </a:lnTo>
                  <a:lnTo>
                    <a:pt x="182" y="263"/>
                  </a:lnTo>
                  <a:lnTo>
                    <a:pt x="183" y="263"/>
                  </a:lnTo>
                  <a:lnTo>
                    <a:pt x="184" y="262"/>
                  </a:lnTo>
                  <a:lnTo>
                    <a:pt x="185" y="262"/>
                  </a:lnTo>
                  <a:lnTo>
                    <a:pt x="186" y="261"/>
                  </a:lnTo>
                  <a:lnTo>
                    <a:pt x="188" y="261"/>
                  </a:lnTo>
                  <a:lnTo>
                    <a:pt x="189" y="261"/>
                  </a:lnTo>
                  <a:lnTo>
                    <a:pt x="193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1" y="259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3" y="257"/>
                  </a:lnTo>
                  <a:lnTo>
                    <a:pt x="203" y="257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05" y="255"/>
                  </a:lnTo>
                  <a:lnTo>
                    <a:pt x="206" y="254"/>
                  </a:lnTo>
                  <a:lnTo>
                    <a:pt x="206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7" y="250"/>
                  </a:lnTo>
                  <a:lnTo>
                    <a:pt x="208" y="250"/>
                  </a:lnTo>
                  <a:lnTo>
                    <a:pt x="208" y="249"/>
                  </a:lnTo>
                  <a:lnTo>
                    <a:pt x="210" y="247"/>
                  </a:lnTo>
                  <a:lnTo>
                    <a:pt x="211" y="247"/>
                  </a:lnTo>
                  <a:lnTo>
                    <a:pt x="211" y="246"/>
                  </a:lnTo>
                  <a:lnTo>
                    <a:pt x="212" y="246"/>
                  </a:lnTo>
                  <a:lnTo>
                    <a:pt x="212" y="245"/>
                  </a:lnTo>
                  <a:lnTo>
                    <a:pt x="212" y="245"/>
                  </a:lnTo>
                  <a:lnTo>
                    <a:pt x="212" y="244"/>
                  </a:lnTo>
                  <a:lnTo>
                    <a:pt x="212" y="243"/>
                  </a:lnTo>
                  <a:lnTo>
                    <a:pt x="212" y="243"/>
                  </a:lnTo>
                  <a:lnTo>
                    <a:pt x="212" y="242"/>
                  </a:lnTo>
                  <a:lnTo>
                    <a:pt x="212" y="241"/>
                  </a:lnTo>
                  <a:lnTo>
                    <a:pt x="211" y="241"/>
                  </a:lnTo>
                  <a:lnTo>
                    <a:pt x="210" y="240"/>
                  </a:lnTo>
                  <a:lnTo>
                    <a:pt x="209" y="239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4" y="234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3" y="232"/>
                  </a:lnTo>
                  <a:lnTo>
                    <a:pt x="202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30"/>
                  </a:lnTo>
                  <a:lnTo>
                    <a:pt x="205" y="230"/>
                  </a:lnTo>
                  <a:lnTo>
                    <a:pt x="206" y="229"/>
                  </a:lnTo>
                  <a:lnTo>
                    <a:pt x="207" y="229"/>
                  </a:lnTo>
                  <a:lnTo>
                    <a:pt x="207" y="228"/>
                  </a:lnTo>
                  <a:lnTo>
                    <a:pt x="208" y="228"/>
                  </a:lnTo>
                  <a:lnTo>
                    <a:pt x="208" y="227"/>
                  </a:lnTo>
                  <a:lnTo>
                    <a:pt x="209" y="227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0" y="225"/>
                  </a:lnTo>
                  <a:lnTo>
                    <a:pt x="210" y="224"/>
                  </a:lnTo>
                  <a:lnTo>
                    <a:pt x="210" y="224"/>
                  </a:lnTo>
                  <a:lnTo>
                    <a:pt x="209" y="223"/>
                  </a:lnTo>
                  <a:lnTo>
                    <a:pt x="209" y="222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08" y="218"/>
                  </a:lnTo>
                  <a:lnTo>
                    <a:pt x="208" y="217"/>
                  </a:lnTo>
                  <a:lnTo>
                    <a:pt x="209" y="217"/>
                  </a:lnTo>
                  <a:lnTo>
                    <a:pt x="209" y="216"/>
                  </a:lnTo>
                  <a:lnTo>
                    <a:pt x="209" y="215"/>
                  </a:lnTo>
                  <a:lnTo>
                    <a:pt x="210" y="215"/>
                  </a:lnTo>
                  <a:lnTo>
                    <a:pt x="210" y="214"/>
                  </a:lnTo>
                  <a:lnTo>
                    <a:pt x="211" y="214"/>
                  </a:lnTo>
                  <a:lnTo>
                    <a:pt x="211" y="213"/>
                  </a:lnTo>
                  <a:lnTo>
                    <a:pt x="212" y="213"/>
                  </a:lnTo>
                  <a:lnTo>
                    <a:pt x="214" y="212"/>
                  </a:lnTo>
                  <a:lnTo>
                    <a:pt x="215" y="211"/>
                  </a:lnTo>
                  <a:lnTo>
                    <a:pt x="216" y="211"/>
                  </a:lnTo>
                  <a:lnTo>
                    <a:pt x="217" y="210"/>
                  </a:lnTo>
                  <a:lnTo>
                    <a:pt x="218" y="209"/>
                  </a:lnTo>
                  <a:lnTo>
                    <a:pt x="219" y="208"/>
                  </a:lnTo>
                  <a:lnTo>
                    <a:pt x="219" y="208"/>
                  </a:lnTo>
                  <a:lnTo>
                    <a:pt x="219" y="207"/>
                  </a:lnTo>
                  <a:lnTo>
                    <a:pt x="219" y="206"/>
                  </a:lnTo>
                  <a:lnTo>
                    <a:pt x="219" y="205"/>
                  </a:lnTo>
                  <a:lnTo>
                    <a:pt x="219" y="203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18" y="201"/>
                  </a:lnTo>
                  <a:lnTo>
                    <a:pt x="218" y="201"/>
                  </a:lnTo>
                  <a:lnTo>
                    <a:pt x="218" y="200"/>
                  </a:lnTo>
                  <a:lnTo>
                    <a:pt x="217" y="200"/>
                  </a:lnTo>
                  <a:lnTo>
                    <a:pt x="217" y="199"/>
                  </a:lnTo>
                  <a:lnTo>
                    <a:pt x="217" y="198"/>
                  </a:lnTo>
                  <a:lnTo>
                    <a:pt x="215" y="198"/>
                  </a:lnTo>
                  <a:lnTo>
                    <a:pt x="213" y="196"/>
                  </a:lnTo>
                  <a:lnTo>
                    <a:pt x="212" y="195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10" y="191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0" y="188"/>
                  </a:lnTo>
                  <a:lnTo>
                    <a:pt x="210" y="187"/>
                  </a:lnTo>
                  <a:lnTo>
                    <a:pt x="211" y="186"/>
                  </a:lnTo>
                  <a:lnTo>
                    <a:pt x="211" y="185"/>
                  </a:lnTo>
                  <a:lnTo>
                    <a:pt x="212" y="184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3" y="181"/>
                  </a:lnTo>
                  <a:lnTo>
                    <a:pt x="214" y="180"/>
                  </a:lnTo>
                  <a:lnTo>
                    <a:pt x="215" y="178"/>
                  </a:lnTo>
                  <a:lnTo>
                    <a:pt x="216" y="178"/>
                  </a:lnTo>
                  <a:lnTo>
                    <a:pt x="217" y="177"/>
                  </a:lnTo>
                  <a:lnTo>
                    <a:pt x="219" y="175"/>
                  </a:lnTo>
                  <a:lnTo>
                    <a:pt x="220" y="175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3"/>
                  </a:lnTo>
                  <a:lnTo>
                    <a:pt x="222" y="173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2" y="171"/>
                  </a:lnTo>
                  <a:lnTo>
                    <a:pt x="221" y="171"/>
                  </a:lnTo>
                  <a:lnTo>
                    <a:pt x="221" y="170"/>
                  </a:lnTo>
                  <a:lnTo>
                    <a:pt x="221" y="169"/>
                  </a:lnTo>
                  <a:lnTo>
                    <a:pt x="220" y="168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7" y="165"/>
                  </a:lnTo>
                  <a:lnTo>
                    <a:pt x="217" y="164"/>
                  </a:lnTo>
                  <a:lnTo>
                    <a:pt x="217" y="163"/>
                  </a:lnTo>
                  <a:lnTo>
                    <a:pt x="217" y="163"/>
                  </a:lnTo>
                  <a:lnTo>
                    <a:pt x="217" y="162"/>
                  </a:lnTo>
                  <a:lnTo>
                    <a:pt x="217" y="161"/>
                  </a:lnTo>
                  <a:lnTo>
                    <a:pt x="217" y="160"/>
                  </a:lnTo>
                  <a:lnTo>
                    <a:pt x="217" y="159"/>
                  </a:lnTo>
                  <a:lnTo>
                    <a:pt x="218" y="159"/>
                  </a:lnTo>
                  <a:lnTo>
                    <a:pt x="218" y="158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3" y="151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8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2" y="147"/>
                  </a:lnTo>
                  <a:lnTo>
                    <a:pt x="222" y="146"/>
                  </a:lnTo>
                  <a:lnTo>
                    <a:pt x="222" y="146"/>
                  </a:lnTo>
                  <a:lnTo>
                    <a:pt x="221" y="146"/>
                  </a:lnTo>
                  <a:lnTo>
                    <a:pt x="218" y="145"/>
                  </a:lnTo>
                  <a:lnTo>
                    <a:pt x="217" y="145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5" y="144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0"/>
                  </a:lnTo>
                  <a:lnTo>
                    <a:pt x="215" y="140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8"/>
                  </a:lnTo>
                  <a:lnTo>
                    <a:pt x="215" y="138"/>
                  </a:lnTo>
                  <a:lnTo>
                    <a:pt x="215" y="138"/>
                  </a:lnTo>
                  <a:lnTo>
                    <a:pt x="210" y="134"/>
                  </a:lnTo>
                  <a:lnTo>
                    <a:pt x="207" y="132"/>
                  </a:lnTo>
                  <a:lnTo>
                    <a:pt x="206" y="131"/>
                  </a:lnTo>
                  <a:lnTo>
                    <a:pt x="206" y="131"/>
                  </a:lnTo>
                  <a:lnTo>
                    <a:pt x="205" y="130"/>
                  </a:lnTo>
                  <a:lnTo>
                    <a:pt x="205" y="130"/>
                  </a:lnTo>
                  <a:lnTo>
                    <a:pt x="205" y="129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7"/>
                  </a:lnTo>
                  <a:lnTo>
                    <a:pt x="205" y="126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6" y="119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3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8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4"/>
                  </a:lnTo>
                  <a:lnTo>
                    <a:pt x="214" y="101"/>
                  </a:lnTo>
                  <a:lnTo>
                    <a:pt x="215" y="100"/>
                  </a:lnTo>
                  <a:lnTo>
                    <a:pt x="216" y="99"/>
                  </a:lnTo>
                  <a:lnTo>
                    <a:pt x="216" y="98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20" y="95"/>
                  </a:lnTo>
                  <a:lnTo>
                    <a:pt x="221" y="95"/>
                  </a:lnTo>
                  <a:lnTo>
                    <a:pt x="222" y="95"/>
                  </a:lnTo>
                  <a:lnTo>
                    <a:pt x="223" y="94"/>
                  </a:lnTo>
                  <a:lnTo>
                    <a:pt x="226" y="94"/>
                  </a:lnTo>
                  <a:lnTo>
                    <a:pt x="228" y="94"/>
                  </a:lnTo>
                  <a:lnTo>
                    <a:pt x="230" y="93"/>
                  </a:lnTo>
                  <a:lnTo>
                    <a:pt x="231" y="93"/>
                  </a:lnTo>
                  <a:lnTo>
                    <a:pt x="232" y="93"/>
                  </a:lnTo>
                  <a:lnTo>
                    <a:pt x="233" y="92"/>
                  </a:lnTo>
                  <a:lnTo>
                    <a:pt x="234" y="92"/>
                  </a:lnTo>
                  <a:lnTo>
                    <a:pt x="234" y="91"/>
                  </a:lnTo>
                  <a:lnTo>
                    <a:pt x="235" y="91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8"/>
                  </a:lnTo>
                  <a:lnTo>
                    <a:pt x="235" y="88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3" y="87"/>
                  </a:lnTo>
                  <a:lnTo>
                    <a:pt x="233" y="86"/>
                  </a:lnTo>
                  <a:lnTo>
                    <a:pt x="232" y="86"/>
                  </a:lnTo>
                  <a:lnTo>
                    <a:pt x="231" y="86"/>
                  </a:lnTo>
                  <a:lnTo>
                    <a:pt x="229" y="85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3"/>
                  </a:lnTo>
                  <a:lnTo>
                    <a:pt x="228" y="83"/>
                  </a:lnTo>
                  <a:lnTo>
                    <a:pt x="228" y="82"/>
                  </a:lnTo>
                  <a:lnTo>
                    <a:pt x="229" y="81"/>
                  </a:lnTo>
                  <a:lnTo>
                    <a:pt x="231" y="80"/>
                  </a:lnTo>
                  <a:lnTo>
                    <a:pt x="231" y="79"/>
                  </a:lnTo>
                  <a:lnTo>
                    <a:pt x="232" y="79"/>
                  </a:lnTo>
                  <a:lnTo>
                    <a:pt x="233" y="78"/>
                  </a:lnTo>
                  <a:lnTo>
                    <a:pt x="234" y="77"/>
                  </a:lnTo>
                  <a:lnTo>
                    <a:pt x="235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7" y="77"/>
                  </a:lnTo>
                  <a:lnTo>
                    <a:pt x="238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0" y="77"/>
                  </a:lnTo>
                  <a:lnTo>
                    <a:pt x="240" y="78"/>
                  </a:lnTo>
                  <a:lnTo>
                    <a:pt x="241" y="78"/>
                  </a:lnTo>
                  <a:lnTo>
                    <a:pt x="241" y="79"/>
                  </a:lnTo>
                  <a:lnTo>
                    <a:pt x="242" y="80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3" y="82"/>
                  </a:lnTo>
                  <a:lnTo>
                    <a:pt x="243" y="82"/>
                  </a:lnTo>
                  <a:lnTo>
                    <a:pt x="244" y="83"/>
                  </a:lnTo>
                  <a:lnTo>
                    <a:pt x="244" y="83"/>
                  </a:lnTo>
                  <a:lnTo>
                    <a:pt x="245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8" y="82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1"/>
                  </a:lnTo>
                  <a:lnTo>
                    <a:pt x="250" y="80"/>
                  </a:lnTo>
                  <a:lnTo>
                    <a:pt x="250" y="78"/>
                  </a:lnTo>
                  <a:lnTo>
                    <a:pt x="251" y="77"/>
                  </a:lnTo>
                  <a:lnTo>
                    <a:pt x="251" y="76"/>
                  </a:lnTo>
                  <a:lnTo>
                    <a:pt x="251" y="75"/>
                  </a:lnTo>
                  <a:lnTo>
                    <a:pt x="251" y="75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3"/>
                  </a:lnTo>
                  <a:lnTo>
                    <a:pt x="251" y="72"/>
                  </a:lnTo>
                  <a:lnTo>
                    <a:pt x="250" y="71"/>
                  </a:lnTo>
                  <a:lnTo>
                    <a:pt x="249" y="70"/>
                  </a:lnTo>
                  <a:lnTo>
                    <a:pt x="249" y="69"/>
                  </a:lnTo>
                  <a:lnTo>
                    <a:pt x="247" y="68"/>
                  </a:lnTo>
                  <a:lnTo>
                    <a:pt x="247" y="67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5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3"/>
                  </a:lnTo>
                  <a:lnTo>
                    <a:pt x="249" y="63"/>
                  </a:lnTo>
                  <a:lnTo>
                    <a:pt x="249" y="63"/>
                  </a:lnTo>
                  <a:lnTo>
                    <a:pt x="250" y="63"/>
                  </a:lnTo>
                  <a:lnTo>
                    <a:pt x="251" y="62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4" y="61"/>
                  </a:lnTo>
                  <a:lnTo>
                    <a:pt x="255" y="59"/>
                  </a:lnTo>
                  <a:lnTo>
                    <a:pt x="256" y="58"/>
                  </a:lnTo>
                  <a:lnTo>
                    <a:pt x="257" y="57"/>
                  </a:lnTo>
                  <a:lnTo>
                    <a:pt x="258" y="55"/>
                  </a:lnTo>
                  <a:lnTo>
                    <a:pt x="258" y="54"/>
                  </a:lnTo>
                  <a:lnTo>
                    <a:pt x="259" y="53"/>
                  </a:lnTo>
                  <a:lnTo>
                    <a:pt x="259" y="52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7" y="45"/>
                  </a:lnTo>
                  <a:lnTo>
                    <a:pt x="257" y="44"/>
                  </a:lnTo>
                  <a:lnTo>
                    <a:pt x="256" y="44"/>
                  </a:lnTo>
                  <a:lnTo>
                    <a:pt x="253" y="42"/>
                  </a:lnTo>
                  <a:lnTo>
                    <a:pt x="253" y="42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51" y="40"/>
                  </a:lnTo>
                  <a:lnTo>
                    <a:pt x="250" y="39"/>
                  </a:lnTo>
                  <a:lnTo>
                    <a:pt x="250" y="38"/>
                  </a:lnTo>
                  <a:lnTo>
                    <a:pt x="250" y="38"/>
                  </a:lnTo>
                  <a:lnTo>
                    <a:pt x="250" y="37"/>
                  </a:lnTo>
                  <a:lnTo>
                    <a:pt x="250" y="37"/>
                  </a:lnTo>
                  <a:lnTo>
                    <a:pt x="250" y="36"/>
                  </a:lnTo>
                  <a:lnTo>
                    <a:pt x="250" y="35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6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57" y="23"/>
                  </a:lnTo>
                  <a:lnTo>
                    <a:pt x="259" y="22"/>
                  </a:lnTo>
                  <a:lnTo>
                    <a:pt x="260" y="21"/>
                  </a:lnTo>
                  <a:lnTo>
                    <a:pt x="261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8"/>
                  </a:lnTo>
                  <a:lnTo>
                    <a:pt x="264" y="17"/>
                  </a:lnTo>
                  <a:lnTo>
                    <a:pt x="265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1" y="18"/>
                  </a:lnTo>
                  <a:lnTo>
                    <a:pt x="272" y="18"/>
                  </a:lnTo>
                  <a:lnTo>
                    <a:pt x="273" y="18"/>
                  </a:lnTo>
                  <a:lnTo>
                    <a:pt x="275" y="18"/>
                  </a:lnTo>
                  <a:lnTo>
                    <a:pt x="277" y="17"/>
                  </a:lnTo>
                  <a:lnTo>
                    <a:pt x="280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7" y="18"/>
                  </a:lnTo>
                  <a:lnTo>
                    <a:pt x="289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5" y="18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8" y="16"/>
                  </a:lnTo>
                  <a:lnTo>
                    <a:pt x="298" y="15"/>
                  </a:lnTo>
                  <a:lnTo>
                    <a:pt x="298" y="14"/>
                  </a:lnTo>
                  <a:lnTo>
                    <a:pt x="299" y="13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2" y="2"/>
                  </a:lnTo>
                  <a:lnTo>
                    <a:pt x="302" y="1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Freeform 34">
              <a:extLst>
                <a:ext uri="{FF2B5EF4-FFF2-40B4-BE49-F238E27FC236}">
                  <a16:creationId xmlns:a16="http://schemas.microsoft.com/office/drawing/2014/main" id="{E105C7DB-F2D2-8B20-CF42-3528726D76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140"/>
              <a:ext cx="365" cy="541"/>
            </a:xfrm>
            <a:custGeom>
              <a:avLst/>
              <a:gdLst>
                <a:gd name="T0" fmla="*/ 183 w 365"/>
                <a:gd name="T1" fmla="*/ 74 h 541"/>
                <a:gd name="T2" fmla="*/ 199 w 365"/>
                <a:gd name="T3" fmla="*/ 75 h 541"/>
                <a:gd name="T4" fmla="*/ 205 w 365"/>
                <a:gd name="T5" fmla="*/ 104 h 541"/>
                <a:gd name="T6" fmla="*/ 178 w 365"/>
                <a:gd name="T7" fmla="*/ 117 h 541"/>
                <a:gd name="T8" fmla="*/ 153 w 365"/>
                <a:gd name="T9" fmla="*/ 151 h 541"/>
                <a:gd name="T10" fmla="*/ 137 w 365"/>
                <a:gd name="T11" fmla="*/ 197 h 541"/>
                <a:gd name="T12" fmla="*/ 143 w 365"/>
                <a:gd name="T13" fmla="*/ 226 h 541"/>
                <a:gd name="T14" fmla="*/ 133 w 365"/>
                <a:gd name="T15" fmla="*/ 253 h 541"/>
                <a:gd name="T16" fmla="*/ 143 w 365"/>
                <a:gd name="T17" fmla="*/ 275 h 541"/>
                <a:gd name="T18" fmla="*/ 152 w 365"/>
                <a:gd name="T19" fmla="*/ 287 h 541"/>
                <a:gd name="T20" fmla="*/ 184 w 365"/>
                <a:gd name="T21" fmla="*/ 270 h 541"/>
                <a:gd name="T22" fmla="*/ 195 w 365"/>
                <a:gd name="T23" fmla="*/ 287 h 541"/>
                <a:gd name="T24" fmla="*/ 208 w 365"/>
                <a:gd name="T25" fmla="*/ 288 h 541"/>
                <a:gd name="T26" fmla="*/ 222 w 365"/>
                <a:gd name="T27" fmla="*/ 279 h 541"/>
                <a:gd name="T28" fmla="*/ 229 w 365"/>
                <a:gd name="T29" fmla="*/ 270 h 541"/>
                <a:gd name="T30" fmla="*/ 240 w 365"/>
                <a:gd name="T31" fmla="*/ 299 h 541"/>
                <a:gd name="T32" fmla="*/ 269 w 365"/>
                <a:gd name="T33" fmla="*/ 317 h 541"/>
                <a:gd name="T34" fmla="*/ 294 w 365"/>
                <a:gd name="T35" fmla="*/ 318 h 541"/>
                <a:gd name="T36" fmla="*/ 297 w 365"/>
                <a:gd name="T37" fmla="*/ 350 h 541"/>
                <a:gd name="T38" fmla="*/ 314 w 365"/>
                <a:gd name="T39" fmla="*/ 355 h 541"/>
                <a:gd name="T40" fmla="*/ 347 w 365"/>
                <a:gd name="T41" fmla="*/ 394 h 541"/>
                <a:gd name="T42" fmla="*/ 355 w 365"/>
                <a:gd name="T43" fmla="*/ 401 h 541"/>
                <a:gd name="T44" fmla="*/ 361 w 365"/>
                <a:gd name="T45" fmla="*/ 419 h 541"/>
                <a:gd name="T46" fmla="*/ 341 w 365"/>
                <a:gd name="T47" fmla="*/ 426 h 541"/>
                <a:gd name="T48" fmla="*/ 324 w 365"/>
                <a:gd name="T49" fmla="*/ 456 h 541"/>
                <a:gd name="T50" fmla="*/ 299 w 365"/>
                <a:gd name="T51" fmla="*/ 451 h 541"/>
                <a:gd name="T52" fmla="*/ 282 w 365"/>
                <a:gd name="T53" fmla="*/ 457 h 541"/>
                <a:gd name="T54" fmla="*/ 282 w 365"/>
                <a:gd name="T55" fmla="*/ 476 h 541"/>
                <a:gd name="T56" fmla="*/ 256 w 365"/>
                <a:gd name="T57" fmla="*/ 477 h 541"/>
                <a:gd name="T58" fmla="*/ 239 w 365"/>
                <a:gd name="T59" fmla="*/ 496 h 541"/>
                <a:gd name="T60" fmla="*/ 208 w 365"/>
                <a:gd name="T61" fmla="*/ 488 h 541"/>
                <a:gd name="T62" fmla="*/ 198 w 365"/>
                <a:gd name="T63" fmla="*/ 479 h 541"/>
                <a:gd name="T64" fmla="*/ 196 w 365"/>
                <a:gd name="T65" fmla="*/ 508 h 541"/>
                <a:gd name="T66" fmla="*/ 165 w 365"/>
                <a:gd name="T67" fmla="*/ 530 h 541"/>
                <a:gd name="T68" fmla="*/ 141 w 365"/>
                <a:gd name="T69" fmla="*/ 541 h 541"/>
                <a:gd name="T70" fmla="*/ 111 w 365"/>
                <a:gd name="T71" fmla="*/ 507 h 541"/>
                <a:gd name="T72" fmla="*/ 106 w 365"/>
                <a:gd name="T73" fmla="*/ 484 h 541"/>
                <a:gd name="T74" fmla="*/ 94 w 365"/>
                <a:gd name="T75" fmla="*/ 477 h 541"/>
                <a:gd name="T76" fmla="*/ 77 w 365"/>
                <a:gd name="T77" fmla="*/ 448 h 541"/>
                <a:gd name="T78" fmla="*/ 50 w 365"/>
                <a:gd name="T79" fmla="*/ 448 h 541"/>
                <a:gd name="T80" fmla="*/ 63 w 365"/>
                <a:gd name="T81" fmla="*/ 470 h 541"/>
                <a:gd name="T82" fmla="*/ 43 w 365"/>
                <a:gd name="T83" fmla="*/ 490 h 541"/>
                <a:gd name="T84" fmla="*/ 36 w 365"/>
                <a:gd name="T85" fmla="*/ 470 h 541"/>
                <a:gd name="T86" fmla="*/ 28 w 365"/>
                <a:gd name="T87" fmla="*/ 435 h 541"/>
                <a:gd name="T88" fmla="*/ 15 w 365"/>
                <a:gd name="T89" fmla="*/ 419 h 541"/>
                <a:gd name="T90" fmla="*/ 22 w 365"/>
                <a:gd name="T91" fmla="*/ 404 h 541"/>
                <a:gd name="T92" fmla="*/ 32 w 365"/>
                <a:gd name="T93" fmla="*/ 384 h 541"/>
                <a:gd name="T94" fmla="*/ 40 w 365"/>
                <a:gd name="T95" fmla="*/ 353 h 541"/>
                <a:gd name="T96" fmla="*/ 27 w 365"/>
                <a:gd name="T97" fmla="*/ 333 h 541"/>
                <a:gd name="T98" fmla="*/ 18 w 365"/>
                <a:gd name="T99" fmla="*/ 306 h 541"/>
                <a:gd name="T100" fmla="*/ 9 w 365"/>
                <a:gd name="T101" fmla="*/ 274 h 541"/>
                <a:gd name="T102" fmla="*/ 4 w 365"/>
                <a:gd name="T103" fmla="*/ 225 h 541"/>
                <a:gd name="T104" fmla="*/ 12 w 365"/>
                <a:gd name="T105" fmla="*/ 206 h 541"/>
                <a:gd name="T106" fmla="*/ 25 w 365"/>
                <a:gd name="T107" fmla="*/ 176 h 541"/>
                <a:gd name="T108" fmla="*/ 39 w 365"/>
                <a:gd name="T109" fmla="*/ 128 h 541"/>
                <a:gd name="T110" fmla="*/ 53 w 365"/>
                <a:gd name="T111" fmla="*/ 105 h 541"/>
                <a:gd name="T112" fmla="*/ 80 w 365"/>
                <a:gd name="T113" fmla="*/ 103 h 541"/>
                <a:gd name="T114" fmla="*/ 85 w 365"/>
                <a:gd name="T115" fmla="*/ 78 h 541"/>
                <a:gd name="T116" fmla="*/ 57 w 365"/>
                <a:gd name="T117" fmla="*/ 44 h 541"/>
                <a:gd name="T118" fmla="*/ 40 w 365"/>
                <a:gd name="T119" fmla="*/ 14 h 541"/>
                <a:gd name="T120" fmla="*/ 69 w 365"/>
                <a:gd name="T121" fmla="*/ 10 h 541"/>
                <a:gd name="T122" fmla="*/ 113 w 365"/>
                <a:gd name="T123" fmla="*/ 22 h 541"/>
                <a:gd name="T124" fmla="*/ 143 w 365"/>
                <a:gd name="T125" fmla="*/ 4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5" h="541">
                  <a:moveTo>
                    <a:pt x="169" y="56"/>
                  </a:moveTo>
                  <a:lnTo>
                    <a:pt x="170" y="55"/>
                  </a:lnTo>
                  <a:lnTo>
                    <a:pt x="171" y="55"/>
                  </a:lnTo>
                  <a:lnTo>
                    <a:pt x="172" y="55"/>
                  </a:lnTo>
                  <a:lnTo>
                    <a:pt x="176" y="54"/>
                  </a:lnTo>
                  <a:lnTo>
                    <a:pt x="177" y="54"/>
                  </a:lnTo>
                  <a:lnTo>
                    <a:pt x="178" y="54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5"/>
                  </a:lnTo>
                  <a:lnTo>
                    <a:pt x="181" y="55"/>
                  </a:lnTo>
                  <a:lnTo>
                    <a:pt x="181" y="56"/>
                  </a:lnTo>
                  <a:lnTo>
                    <a:pt x="182" y="58"/>
                  </a:lnTo>
                  <a:lnTo>
                    <a:pt x="183" y="61"/>
                  </a:lnTo>
                  <a:lnTo>
                    <a:pt x="183" y="62"/>
                  </a:lnTo>
                  <a:lnTo>
                    <a:pt x="183" y="62"/>
                  </a:lnTo>
                  <a:lnTo>
                    <a:pt x="183" y="63"/>
                  </a:lnTo>
                  <a:lnTo>
                    <a:pt x="183" y="64"/>
                  </a:lnTo>
                  <a:lnTo>
                    <a:pt x="182" y="72"/>
                  </a:lnTo>
                  <a:lnTo>
                    <a:pt x="182" y="73"/>
                  </a:lnTo>
                  <a:lnTo>
                    <a:pt x="183" y="74"/>
                  </a:lnTo>
                  <a:lnTo>
                    <a:pt x="183" y="76"/>
                  </a:lnTo>
                  <a:lnTo>
                    <a:pt x="183" y="77"/>
                  </a:lnTo>
                  <a:lnTo>
                    <a:pt x="184" y="77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5" y="79"/>
                  </a:lnTo>
                  <a:lnTo>
                    <a:pt x="185" y="79"/>
                  </a:lnTo>
                  <a:lnTo>
                    <a:pt x="186" y="79"/>
                  </a:lnTo>
                  <a:lnTo>
                    <a:pt x="186" y="79"/>
                  </a:lnTo>
                  <a:lnTo>
                    <a:pt x="187" y="78"/>
                  </a:lnTo>
                  <a:lnTo>
                    <a:pt x="187" y="78"/>
                  </a:lnTo>
                  <a:lnTo>
                    <a:pt x="189" y="77"/>
                  </a:lnTo>
                  <a:lnTo>
                    <a:pt x="190" y="76"/>
                  </a:lnTo>
                  <a:lnTo>
                    <a:pt x="190" y="76"/>
                  </a:lnTo>
                  <a:lnTo>
                    <a:pt x="191" y="75"/>
                  </a:lnTo>
                  <a:lnTo>
                    <a:pt x="192" y="75"/>
                  </a:lnTo>
                  <a:lnTo>
                    <a:pt x="192" y="75"/>
                  </a:lnTo>
                  <a:lnTo>
                    <a:pt x="194" y="75"/>
                  </a:lnTo>
                  <a:lnTo>
                    <a:pt x="194" y="74"/>
                  </a:lnTo>
                  <a:lnTo>
                    <a:pt x="195" y="74"/>
                  </a:lnTo>
                  <a:lnTo>
                    <a:pt x="197" y="75"/>
                  </a:lnTo>
                  <a:lnTo>
                    <a:pt x="198" y="75"/>
                  </a:lnTo>
                  <a:lnTo>
                    <a:pt x="199" y="75"/>
                  </a:lnTo>
                  <a:lnTo>
                    <a:pt x="200" y="76"/>
                  </a:lnTo>
                  <a:lnTo>
                    <a:pt x="201" y="76"/>
                  </a:lnTo>
                  <a:lnTo>
                    <a:pt x="202" y="77"/>
                  </a:lnTo>
                  <a:lnTo>
                    <a:pt x="203" y="77"/>
                  </a:lnTo>
                  <a:lnTo>
                    <a:pt x="204" y="78"/>
                  </a:lnTo>
                  <a:lnTo>
                    <a:pt x="204" y="78"/>
                  </a:lnTo>
                  <a:lnTo>
                    <a:pt x="205" y="79"/>
                  </a:lnTo>
                  <a:lnTo>
                    <a:pt x="206" y="80"/>
                  </a:lnTo>
                  <a:lnTo>
                    <a:pt x="206" y="81"/>
                  </a:lnTo>
                  <a:lnTo>
                    <a:pt x="207" y="82"/>
                  </a:lnTo>
                  <a:lnTo>
                    <a:pt x="207" y="82"/>
                  </a:lnTo>
                  <a:lnTo>
                    <a:pt x="208" y="83"/>
                  </a:lnTo>
                  <a:lnTo>
                    <a:pt x="208" y="84"/>
                  </a:lnTo>
                  <a:lnTo>
                    <a:pt x="208" y="85"/>
                  </a:lnTo>
                  <a:lnTo>
                    <a:pt x="208" y="85"/>
                  </a:lnTo>
                  <a:lnTo>
                    <a:pt x="208" y="94"/>
                  </a:lnTo>
                  <a:lnTo>
                    <a:pt x="207" y="97"/>
                  </a:lnTo>
                  <a:lnTo>
                    <a:pt x="207" y="98"/>
                  </a:lnTo>
                  <a:lnTo>
                    <a:pt x="207" y="100"/>
                  </a:lnTo>
                  <a:lnTo>
                    <a:pt x="206" y="101"/>
                  </a:lnTo>
                  <a:lnTo>
                    <a:pt x="206" y="102"/>
                  </a:lnTo>
                  <a:lnTo>
                    <a:pt x="206" y="103"/>
                  </a:lnTo>
                  <a:lnTo>
                    <a:pt x="205" y="104"/>
                  </a:lnTo>
                  <a:lnTo>
                    <a:pt x="205" y="104"/>
                  </a:lnTo>
                  <a:lnTo>
                    <a:pt x="204" y="104"/>
                  </a:lnTo>
                  <a:lnTo>
                    <a:pt x="204" y="105"/>
                  </a:lnTo>
                  <a:lnTo>
                    <a:pt x="203" y="105"/>
                  </a:lnTo>
                  <a:lnTo>
                    <a:pt x="202" y="105"/>
                  </a:lnTo>
                  <a:lnTo>
                    <a:pt x="201" y="105"/>
                  </a:lnTo>
                  <a:lnTo>
                    <a:pt x="201" y="105"/>
                  </a:lnTo>
                  <a:lnTo>
                    <a:pt x="199" y="105"/>
                  </a:lnTo>
                  <a:lnTo>
                    <a:pt x="198" y="105"/>
                  </a:lnTo>
                  <a:lnTo>
                    <a:pt x="197" y="104"/>
                  </a:lnTo>
                  <a:lnTo>
                    <a:pt x="195" y="104"/>
                  </a:lnTo>
                  <a:lnTo>
                    <a:pt x="194" y="104"/>
                  </a:lnTo>
                  <a:lnTo>
                    <a:pt x="194" y="104"/>
                  </a:lnTo>
                  <a:lnTo>
                    <a:pt x="193" y="105"/>
                  </a:lnTo>
                  <a:lnTo>
                    <a:pt x="193" y="105"/>
                  </a:lnTo>
                  <a:lnTo>
                    <a:pt x="191" y="106"/>
                  </a:lnTo>
                  <a:lnTo>
                    <a:pt x="190" y="107"/>
                  </a:lnTo>
                  <a:lnTo>
                    <a:pt x="189" y="109"/>
                  </a:lnTo>
                  <a:lnTo>
                    <a:pt x="185" y="113"/>
                  </a:lnTo>
                  <a:lnTo>
                    <a:pt x="184" y="114"/>
                  </a:lnTo>
                  <a:lnTo>
                    <a:pt x="183" y="115"/>
                  </a:lnTo>
                  <a:lnTo>
                    <a:pt x="182" y="115"/>
                  </a:lnTo>
                  <a:lnTo>
                    <a:pt x="181" y="116"/>
                  </a:lnTo>
                  <a:lnTo>
                    <a:pt x="180" y="116"/>
                  </a:lnTo>
                  <a:lnTo>
                    <a:pt x="178" y="117"/>
                  </a:lnTo>
                  <a:lnTo>
                    <a:pt x="177" y="118"/>
                  </a:lnTo>
                  <a:lnTo>
                    <a:pt x="176" y="118"/>
                  </a:lnTo>
                  <a:lnTo>
                    <a:pt x="175" y="119"/>
                  </a:lnTo>
                  <a:lnTo>
                    <a:pt x="174" y="120"/>
                  </a:lnTo>
                  <a:lnTo>
                    <a:pt x="173" y="120"/>
                  </a:lnTo>
                  <a:lnTo>
                    <a:pt x="171" y="123"/>
                  </a:lnTo>
                  <a:lnTo>
                    <a:pt x="170" y="123"/>
                  </a:lnTo>
                  <a:lnTo>
                    <a:pt x="169" y="124"/>
                  </a:lnTo>
                  <a:lnTo>
                    <a:pt x="167" y="126"/>
                  </a:lnTo>
                  <a:lnTo>
                    <a:pt x="166" y="126"/>
                  </a:lnTo>
                  <a:lnTo>
                    <a:pt x="165" y="128"/>
                  </a:lnTo>
                  <a:lnTo>
                    <a:pt x="163" y="130"/>
                  </a:lnTo>
                  <a:lnTo>
                    <a:pt x="158" y="136"/>
                  </a:lnTo>
                  <a:lnTo>
                    <a:pt x="156" y="138"/>
                  </a:lnTo>
                  <a:lnTo>
                    <a:pt x="156" y="139"/>
                  </a:lnTo>
                  <a:lnTo>
                    <a:pt x="155" y="140"/>
                  </a:lnTo>
                  <a:lnTo>
                    <a:pt x="155" y="141"/>
                  </a:lnTo>
                  <a:lnTo>
                    <a:pt x="155" y="142"/>
                  </a:lnTo>
                  <a:lnTo>
                    <a:pt x="155" y="145"/>
                  </a:lnTo>
                  <a:lnTo>
                    <a:pt x="154" y="147"/>
                  </a:lnTo>
                  <a:lnTo>
                    <a:pt x="154" y="148"/>
                  </a:lnTo>
                  <a:lnTo>
                    <a:pt x="154" y="149"/>
                  </a:lnTo>
                  <a:lnTo>
                    <a:pt x="154" y="150"/>
                  </a:lnTo>
                  <a:lnTo>
                    <a:pt x="153" y="151"/>
                  </a:lnTo>
                  <a:lnTo>
                    <a:pt x="152" y="155"/>
                  </a:lnTo>
                  <a:lnTo>
                    <a:pt x="151" y="156"/>
                  </a:lnTo>
                  <a:lnTo>
                    <a:pt x="151" y="157"/>
                  </a:lnTo>
                  <a:lnTo>
                    <a:pt x="150" y="158"/>
                  </a:lnTo>
                  <a:lnTo>
                    <a:pt x="150" y="160"/>
                  </a:lnTo>
                  <a:lnTo>
                    <a:pt x="150" y="161"/>
                  </a:lnTo>
                  <a:lnTo>
                    <a:pt x="151" y="166"/>
                  </a:lnTo>
                  <a:lnTo>
                    <a:pt x="151" y="170"/>
                  </a:lnTo>
                  <a:lnTo>
                    <a:pt x="151" y="172"/>
                  </a:lnTo>
                  <a:lnTo>
                    <a:pt x="151" y="174"/>
                  </a:lnTo>
                  <a:lnTo>
                    <a:pt x="151" y="175"/>
                  </a:lnTo>
                  <a:lnTo>
                    <a:pt x="150" y="176"/>
                  </a:lnTo>
                  <a:lnTo>
                    <a:pt x="150" y="178"/>
                  </a:lnTo>
                  <a:lnTo>
                    <a:pt x="150" y="179"/>
                  </a:lnTo>
                  <a:lnTo>
                    <a:pt x="149" y="180"/>
                  </a:lnTo>
                  <a:lnTo>
                    <a:pt x="149" y="181"/>
                  </a:lnTo>
                  <a:lnTo>
                    <a:pt x="148" y="182"/>
                  </a:lnTo>
                  <a:lnTo>
                    <a:pt x="147" y="184"/>
                  </a:lnTo>
                  <a:lnTo>
                    <a:pt x="146" y="184"/>
                  </a:lnTo>
                  <a:lnTo>
                    <a:pt x="141" y="191"/>
                  </a:lnTo>
                  <a:lnTo>
                    <a:pt x="140" y="192"/>
                  </a:lnTo>
                  <a:lnTo>
                    <a:pt x="139" y="194"/>
                  </a:lnTo>
                  <a:lnTo>
                    <a:pt x="138" y="195"/>
                  </a:lnTo>
                  <a:lnTo>
                    <a:pt x="137" y="197"/>
                  </a:lnTo>
                  <a:lnTo>
                    <a:pt x="136" y="199"/>
                  </a:lnTo>
                  <a:lnTo>
                    <a:pt x="135" y="200"/>
                  </a:lnTo>
                  <a:lnTo>
                    <a:pt x="135" y="201"/>
                  </a:lnTo>
                  <a:lnTo>
                    <a:pt x="135" y="202"/>
                  </a:lnTo>
                  <a:lnTo>
                    <a:pt x="135" y="203"/>
                  </a:lnTo>
                  <a:lnTo>
                    <a:pt x="134" y="204"/>
                  </a:lnTo>
                  <a:lnTo>
                    <a:pt x="134" y="208"/>
                  </a:lnTo>
                  <a:lnTo>
                    <a:pt x="133" y="212"/>
                  </a:lnTo>
                  <a:lnTo>
                    <a:pt x="133" y="212"/>
                  </a:lnTo>
                  <a:lnTo>
                    <a:pt x="133" y="213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4" y="215"/>
                  </a:lnTo>
                  <a:lnTo>
                    <a:pt x="135" y="216"/>
                  </a:lnTo>
                  <a:lnTo>
                    <a:pt x="135" y="216"/>
                  </a:lnTo>
                  <a:lnTo>
                    <a:pt x="136" y="218"/>
                  </a:lnTo>
                  <a:lnTo>
                    <a:pt x="140" y="222"/>
                  </a:lnTo>
                  <a:lnTo>
                    <a:pt x="141" y="223"/>
                  </a:lnTo>
                  <a:lnTo>
                    <a:pt x="141" y="224"/>
                  </a:lnTo>
                  <a:lnTo>
                    <a:pt x="142" y="224"/>
                  </a:lnTo>
                  <a:lnTo>
                    <a:pt x="142" y="225"/>
                  </a:lnTo>
                  <a:lnTo>
                    <a:pt x="142" y="226"/>
                  </a:lnTo>
                  <a:lnTo>
                    <a:pt x="143" y="226"/>
                  </a:lnTo>
                  <a:lnTo>
                    <a:pt x="143" y="227"/>
                  </a:lnTo>
                  <a:lnTo>
                    <a:pt x="143" y="228"/>
                  </a:lnTo>
                  <a:lnTo>
                    <a:pt x="143" y="228"/>
                  </a:lnTo>
                  <a:lnTo>
                    <a:pt x="143" y="229"/>
                  </a:lnTo>
                  <a:lnTo>
                    <a:pt x="143" y="230"/>
                  </a:lnTo>
                  <a:lnTo>
                    <a:pt x="143" y="231"/>
                  </a:lnTo>
                  <a:lnTo>
                    <a:pt x="142" y="232"/>
                  </a:lnTo>
                  <a:lnTo>
                    <a:pt x="141" y="233"/>
                  </a:lnTo>
                  <a:lnTo>
                    <a:pt x="141" y="234"/>
                  </a:lnTo>
                  <a:lnTo>
                    <a:pt x="140" y="235"/>
                  </a:lnTo>
                  <a:lnTo>
                    <a:pt x="138" y="238"/>
                  </a:lnTo>
                  <a:lnTo>
                    <a:pt x="137" y="240"/>
                  </a:lnTo>
                  <a:lnTo>
                    <a:pt x="136" y="242"/>
                  </a:lnTo>
                  <a:lnTo>
                    <a:pt x="135" y="242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35" y="244"/>
                  </a:lnTo>
                  <a:lnTo>
                    <a:pt x="135" y="245"/>
                  </a:lnTo>
                  <a:lnTo>
                    <a:pt x="135" y="247"/>
                  </a:lnTo>
                  <a:lnTo>
                    <a:pt x="135" y="248"/>
                  </a:lnTo>
                  <a:lnTo>
                    <a:pt x="135" y="249"/>
                  </a:lnTo>
                  <a:lnTo>
                    <a:pt x="134" y="250"/>
                  </a:lnTo>
                  <a:lnTo>
                    <a:pt x="134" y="251"/>
                  </a:lnTo>
                  <a:lnTo>
                    <a:pt x="133" y="253"/>
                  </a:lnTo>
                  <a:lnTo>
                    <a:pt x="132" y="256"/>
                  </a:lnTo>
                  <a:lnTo>
                    <a:pt x="131" y="257"/>
                  </a:lnTo>
                  <a:lnTo>
                    <a:pt x="131" y="258"/>
                  </a:lnTo>
                  <a:lnTo>
                    <a:pt x="131" y="259"/>
                  </a:lnTo>
                  <a:lnTo>
                    <a:pt x="131" y="260"/>
                  </a:lnTo>
                  <a:lnTo>
                    <a:pt x="131" y="261"/>
                  </a:lnTo>
                  <a:lnTo>
                    <a:pt x="131" y="261"/>
                  </a:lnTo>
                  <a:lnTo>
                    <a:pt x="131" y="262"/>
                  </a:lnTo>
                  <a:lnTo>
                    <a:pt x="131" y="262"/>
                  </a:lnTo>
                  <a:lnTo>
                    <a:pt x="131" y="263"/>
                  </a:lnTo>
                  <a:lnTo>
                    <a:pt x="132" y="265"/>
                  </a:lnTo>
                  <a:lnTo>
                    <a:pt x="133" y="266"/>
                  </a:lnTo>
                  <a:lnTo>
                    <a:pt x="134" y="267"/>
                  </a:lnTo>
                  <a:lnTo>
                    <a:pt x="134" y="267"/>
                  </a:lnTo>
                  <a:lnTo>
                    <a:pt x="136" y="269"/>
                  </a:lnTo>
                  <a:lnTo>
                    <a:pt x="137" y="272"/>
                  </a:lnTo>
                  <a:lnTo>
                    <a:pt x="138" y="272"/>
                  </a:lnTo>
                  <a:lnTo>
                    <a:pt x="139" y="273"/>
                  </a:lnTo>
                  <a:lnTo>
                    <a:pt x="140" y="274"/>
                  </a:lnTo>
                  <a:lnTo>
                    <a:pt x="140" y="274"/>
                  </a:lnTo>
                  <a:lnTo>
                    <a:pt x="141" y="274"/>
                  </a:lnTo>
                  <a:lnTo>
                    <a:pt x="141" y="275"/>
                  </a:lnTo>
                  <a:lnTo>
                    <a:pt x="142" y="275"/>
                  </a:lnTo>
                  <a:lnTo>
                    <a:pt x="143" y="275"/>
                  </a:lnTo>
                  <a:lnTo>
                    <a:pt x="144" y="274"/>
                  </a:lnTo>
                  <a:lnTo>
                    <a:pt x="146" y="274"/>
                  </a:lnTo>
                  <a:lnTo>
                    <a:pt x="147" y="274"/>
                  </a:lnTo>
                  <a:lnTo>
                    <a:pt x="148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1" y="273"/>
                  </a:lnTo>
                  <a:lnTo>
                    <a:pt x="151" y="274"/>
                  </a:lnTo>
                  <a:lnTo>
                    <a:pt x="151" y="274"/>
                  </a:lnTo>
                  <a:lnTo>
                    <a:pt x="151" y="275"/>
                  </a:lnTo>
                  <a:lnTo>
                    <a:pt x="151" y="276"/>
                  </a:lnTo>
                  <a:lnTo>
                    <a:pt x="151" y="278"/>
                  </a:lnTo>
                  <a:lnTo>
                    <a:pt x="150" y="281"/>
                  </a:lnTo>
                  <a:lnTo>
                    <a:pt x="150" y="282"/>
                  </a:lnTo>
                  <a:lnTo>
                    <a:pt x="150" y="283"/>
                  </a:lnTo>
                  <a:lnTo>
                    <a:pt x="150" y="284"/>
                  </a:lnTo>
                  <a:lnTo>
                    <a:pt x="151" y="285"/>
                  </a:lnTo>
                  <a:lnTo>
                    <a:pt x="151" y="285"/>
                  </a:lnTo>
                  <a:lnTo>
                    <a:pt x="151" y="286"/>
                  </a:lnTo>
                  <a:lnTo>
                    <a:pt x="151" y="286"/>
                  </a:lnTo>
                  <a:lnTo>
                    <a:pt x="152" y="286"/>
                  </a:lnTo>
                  <a:lnTo>
                    <a:pt x="152" y="287"/>
                  </a:lnTo>
                  <a:lnTo>
                    <a:pt x="153" y="287"/>
                  </a:lnTo>
                  <a:lnTo>
                    <a:pt x="153" y="287"/>
                  </a:lnTo>
                  <a:lnTo>
                    <a:pt x="154" y="287"/>
                  </a:lnTo>
                  <a:lnTo>
                    <a:pt x="158" y="287"/>
                  </a:lnTo>
                  <a:lnTo>
                    <a:pt x="161" y="287"/>
                  </a:lnTo>
                  <a:lnTo>
                    <a:pt x="162" y="287"/>
                  </a:lnTo>
                  <a:lnTo>
                    <a:pt x="163" y="286"/>
                  </a:lnTo>
                  <a:lnTo>
                    <a:pt x="163" y="286"/>
                  </a:lnTo>
                  <a:lnTo>
                    <a:pt x="164" y="286"/>
                  </a:lnTo>
                  <a:lnTo>
                    <a:pt x="164" y="285"/>
                  </a:lnTo>
                  <a:lnTo>
                    <a:pt x="165" y="284"/>
                  </a:lnTo>
                  <a:lnTo>
                    <a:pt x="166" y="283"/>
                  </a:lnTo>
                  <a:lnTo>
                    <a:pt x="167" y="282"/>
                  </a:lnTo>
                  <a:lnTo>
                    <a:pt x="168" y="281"/>
                  </a:lnTo>
                  <a:lnTo>
                    <a:pt x="169" y="280"/>
                  </a:lnTo>
                  <a:lnTo>
                    <a:pt x="172" y="278"/>
                  </a:lnTo>
                  <a:lnTo>
                    <a:pt x="175" y="275"/>
                  </a:lnTo>
                  <a:lnTo>
                    <a:pt x="176" y="274"/>
                  </a:lnTo>
                  <a:lnTo>
                    <a:pt x="178" y="273"/>
                  </a:lnTo>
                  <a:lnTo>
                    <a:pt x="179" y="272"/>
                  </a:lnTo>
                  <a:lnTo>
                    <a:pt x="180" y="272"/>
                  </a:lnTo>
                  <a:lnTo>
                    <a:pt x="181" y="272"/>
                  </a:lnTo>
                  <a:lnTo>
                    <a:pt x="182" y="271"/>
                  </a:lnTo>
                  <a:lnTo>
                    <a:pt x="184" y="270"/>
                  </a:lnTo>
                  <a:lnTo>
                    <a:pt x="185" y="270"/>
                  </a:lnTo>
                  <a:lnTo>
                    <a:pt x="185" y="270"/>
                  </a:lnTo>
                  <a:lnTo>
                    <a:pt x="187" y="269"/>
                  </a:lnTo>
                  <a:lnTo>
                    <a:pt x="189" y="269"/>
                  </a:lnTo>
                  <a:lnTo>
                    <a:pt x="190" y="269"/>
                  </a:lnTo>
                  <a:lnTo>
                    <a:pt x="191" y="269"/>
                  </a:lnTo>
                  <a:lnTo>
                    <a:pt x="192" y="269"/>
                  </a:lnTo>
                  <a:lnTo>
                    <a:pt x="192" y="269"/>
                  </a:lnTo>
                  <a:lnTo>
                    <a:pt x="193" y="270"/>
                  </a:lnTo>
                  <a:lnTo>
                    <a:pt x="194" y="270"/>
                  </a:lnTo>
                  <a:lnTo>
                    <a:pt x="194" y="271"/>
                  </a:lnTo>
                  <a:lnTo>
                    <a:pt x="195" y="271"/>
                  </a:lnTo>
                  <a:lnTo>
                    <a:pt x="196" y="272"/>
                  </a:lnTo>
                  <a:lnTo>
                    <a:pt x="196" y="272"/>
                  </a:lnTo>
                  <a:lnTo>
                    <a:pt x="197" y="273"/>
                  </a:lnTo>
                  <a:lnTo>
                    <a:pt x="197" y="274"/>
                  </a:lnTo>
                  <a:lnTo>
                    <a:pt x="197" y="275"/>
                  </a:lnTo>
                  <a:lnTo>
                    <a:pt x="197" y="275"/>
                  </a:lnTo>
                  <a:lnTo>
                    <a:pt x="197" y="276"/>
                  </a:lnTo>
                  <a:lnTo>
                    <a:pt x="197" y="278"/>
                  </a:lnTo>
                  <a:lnTo>
                    <a:pt x="196" y="280"/>
                  </a:lnTo>
                  <a:lnTo>
                    <a:pt x="195" y="284"/>
                  </a:lnTo>
                  <a:lnTo>
                    <a:pt x="195" y="287"/>
                  </a:lnTo>
                  <a:lnTo>
                    <a:pt x="195" y="287"/>
                  </a:lnTo>
                  <a:lnTo>
                    <a:pt x="195" y="288"/>
                  </a:lnTo>
                  <a:lnTo>
                    <a:pt x="195" y="289"/>
                  </a:lnTo>
                  <a:lnTo>
                    <a:pt x="195" y="290"/>
                  </a:lnTo>
                  <a:lnTo>
                    <a:pt x="196" y="291"/>
                  </a:lnTo>
                  <a:lnTo>
                    <a:pt x="196" y="293"/>
                  </a:lnTo>
                  <a:lnTo>
                    <a:pt x="197" y="294"/>
                  </a:lnTo>
                  <a:lnTo>
                    <a:pt x="198" y="295"/>
                  </a:lnTo>
                  <a:lnTo>
                    <a:pt x="199" y="296"/>
                  </a:lnTo>
                  <a:lnTo>
                    <a:pt x="199" y="296"/>
                  </a:lnTo>
                  <a:lnTo>
                    <a:pt x="200" y="296"/>
                  </a:lnTo>
                  <a:lnTo>
                    <a:pt x="200" y="296"/>
                  </a:lnTo>
                  <a:lnTo>
                    <a:pt x="201" y="296"/>
                  </a:lnTo>
                  <a:lnTo>
                    <a:pt x="201" y="296"/>
                  </a:lnTo>
                  <a:lnTo>
                    <a:pt x="202" y="296"/>
                  </a:lnTo>
                  <a:lnTo>
                    <a:pt x="202" y="296"/>
                  </a:lnTo>
                  <a:lnTo>
                    <a:pt x="202" y="296"/>
                  </a:lnTo>
                  <a:lnTo>
                    <a:pt x="203" y="295"/>
                  </a:lnTo>
                  <a:lnTo>
                    <a:pt x="204" y="293"/>
                  </a:lnTo>
                  <a:lnTo>
                    <a:pt x="205" y="292"/>
                  </a:lnTo>
                  <a:lnTo>
                    <a:pt x="205" y="292"/>
                  </a:lnTo>
                  <a:lnTo>
                    <a:pt x="207" y="290"/>
                  </a:lnTo>
                  <a:lnTo>
                    <a:pt x="208" y="289"/>
                  </a:lnTo>
                  <a:lnTo>
                    <a:pt x="208" y="288"/>
                  </a:lnTo>
                  <a:lnTo>
                    <a:pt x="208" y="288"/>
                  </a:lnTo>
                  <a:lnTo>
                    <a:pt x="209" y="287"/>
                  </a:lnTo>
                  <a:lnTo>
                    <a:pt x="209" y="286"/>
                  </a:lnTo>
                  <a:lnTo>
                    <a:pt x="210" y="285"/>
                  </a:lnTo>
                  <a:lnTo>
                    <a:pt x="210" y="285"/>
                  </a:lnTo>
                  <a:lnTo>
                    <a:pt x="211" y="284"/>
                  </a:lnTo>
                  <a:lnTo>
                    <a:pt x="211" y="284"/>
                  </a:lnTo>
                  <a:lnTo>
                    <a:pt x="213" y="283"/>
                  </a:lnTo>
                  <a:lnTo>
                    <a:pt x="213" y="283"/>
                  </a:lnTo>
                  <a:lnTo>
                    <a:pt x="214" y="282"/>
                  </a:lnTo>
                  <a:lnTo>
                    <a:pt x="215" y="282"/>
                  </a:lnTo>
                  <a:lnTo>
                    <a:pt x="215" y="282"/>
                  </a:lnTo>
                  <a:lnTo>
                    <a:pt x="215" y="282"/>
                  </a:lnTo>
                  <a:lnTo>
                    <a:pt x="216" y="282"/>
                  </a:lnTo>
                  <a:lnTo>
                    <a:pt x="216" y="282"/>
                  </a:lnTo>
                  <a:lnTo>
                    <a:pt x="217" y="282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9" y="282"/>
                  </a:lnTo>
                  <a:lnTo>
                    <a:pt x="220" y="282"/>
                  </a:lnTo>
                  <a:lnTo>
                    <a:pt x="220" y="281"/>
                  </a:lnTo>
                  <a:lnTo>
                    <a:pt x="221" y="280"/>
                  </a:lnTo>
                  <a:lnTo>
                    <a:pt x="222" y="279"/>
                  </a:lnTo>
                  <a:lnTo>
                    <a:pt x="222" y="279"/>
                  </a:lnTo>
                  <a:lnTo>
                    <a:pt x="222" y="278"/>
                  </a:lnTo>
                  <a:lnTo>
                    <a:pt x="223" y="278"/>
                  </a:lnTo>
                  <a:lnTo>
                    <a:pt x="223" y="277"/>
                  </a:lnTo>
                  <a:lnTo>
                    <a:pt x="223" y="276"/>
                  </a:lnTo>
                  <a:lnTo>
                    <a:pt x="223" y="275"/>
                  </a:lnTo>
                  <a:lnTo>
                    <a:pt x="222" y="274"/>
                  </a:lnTo>
                  <a:lnTo>
                    <a:pt x="221" y="267"/>
                  </a:lnTo>
                  <a:lnTo>
                    <a:pt x="220" y="266"/>
                  </a:lnTo>
                  <a:lnTo>
                    <a:pt x="220" y="265"/>
                  </a:lnTo>
                  <a:lnTo>
                    <a:pt x="220" y="265"/>
                  </a:lnTo>
                  <a:lnTo>
                    <a:pt x="221" y="264"/>
                  </a:lnTo>
                  <a:lnTo>
                    <a:pt x="221" y="263"/>
                  </a:lnTo>
                  <a:lnTo>
                    <a:pt x="222" y="263"/>
                  </a:lnTo>
                  <a:lnTo>
                    <a:pt x="222" y="263"/>
                  </a:lnTo>
                  <a:lnTo>
                    <a:pt x="223" y="263"/>
                  </a:lnTo>
                  <a:lnTo>
                    <a:pt x="224" y="263"/>
                  </a:lnTo>
                  <a:lnTo>
                    <a:pt x="225" y="263"/>
                  </a:lnTo>
                  <a:lnTo>
                    <a:pt x="225" y="263"/>
                  </a:lnTo>
                  <a:lnTo>
                    <a:pt x="226" y="264"/>
                  </a:lnTo>
                  <a:lnTo>
                    <a:pt x="226" y="264"/>
                  </a:lnTo>
                  <a:lnTo>
                    <a:pt x="226" y="264"/>
                  </a:lnTo>
                  <a:lnTo>
                    <a:pt x="227" y="265"/>
                  </a:lnTo>
                  <a:lnTo>
                    <a:pt x="228" y="268"/>
                  </a:lnTo>
                  <a:lnTo>
                    <a:pt x="229" y="270"/>
                  </a:lnTo>
                  <a:lnTo>
                    <a:pt x="230" y="272"/>
                  </a:lnTo>
                  <a:lnTo>
                    <a:pt x="230" y="273"/>
                  </a:lnTo>
                  <a:lnTo>
                    <a:pt x="231" y="274"/>
                  </a:lnTo>
                  <a:lnTo>
                    <a:pt x="231" y="276"/>
                  </a:lnTo>
                  <a:lnTo>
                    <a:pt x="231" y="278"/>
                  </a:lnTo>
                  <a:lnTo>
                    <a:pt x="231" y="278"/>
                  </a:lnTo>
                  <a:lnTo>
                    <a:pt x="231" y="280"/>
                  </a:lnTo>
                  <a:lnTo>
                    <a:pt x="231" y="281"/>
                  </a:lnTo>
                  <a:lnTo>
                    <a:pt x="232" y="283"/>
                  </a:lnTo>
                  <a:lnTo>
                    <a:pt x="232" y="284"/>
                  </a:lnTo>
                  <a:lnTo>
                    <a:pt x="234" y="286"/>
                  </a:lnTo>
                  <a:lnTo>
                    <a:pt x="234" y="287"/>
                  </a:lnTo>
                  <a:lnTo>
                    <a:pt x="235" y="288"/>
                  </a:lnTo>
                  <a:lnTo>
                    <a:pt x="235" y="288"/>
                  </a:lnTo>
                  <a:lnTo>
                    <a:pt x="235" y="289"/>
                  </a:lnTo>
                  <a:lnTo>
                    <a:pt x="236" y="290"/>
                  </a:lnTo>
                  <a:lnTo>
                    <a:pt x="236" y="290"/>
                  </a:lnTo>
                  <a:lnTo>
                    <a:pt x="236" y="292"/>
                  </a:lnTo>
                  <a:lnTo>
                    <a:pt x="236" y="293"/>
                  </a:lnTo>
                  <a:lnTo>
                    <a:pt x="236" y="294"/>
                  </a:lnTo>
                  <a:lnTo>
                    <a:pt x="237" y="295"/>
                  </a:lnTo>
                  <a:lnTo>
                    <a:pt x="237" y="296"/>
                  </a:lnTo>
                  <a:lnTo>
                    <a:pt x="237" y="296"/>
                  </a:lnTo>
                  <a:lnTo>
                    <a:pt x="240" y="299"/>
                  </a:lnTo>
                  <a:lnTo>
                    <a:pt x="241" y="300"/>
                  </a:lnTo>
                  <a:lnTo>
                    <a:pt x="242" y="301"/>
                  </a:lnTo>
                  <a:lnTo>
                    <a:pt x="243" y="303"/>
                  </a:lnTo>
                  <a:lnTo>
                    <a:pt x="243" y="304"/>
                  </a:lnTo>
                  <a:lnTo>
                    <a:pt x="244" y="305"/>
                  </a:lnTo>
                  <a:lnTo>
                    <a:pt x="245" y="306"/>
                  </a:lnTo>
                  <a:lnTo>
                    <a:pt x="245" y="306"/>
                  </a:lnTo>
                  <a:lnTo>
                    <a:pt x="246" y="307"/>
                  </a:lnTo>
                  <a:lnTo>
                    <a:pt x="247" y="307"/>
                  </a:lnTo>
                  <a:lnTo>
                    <a:pt x="249" y="308"/>
                  </a:lnTo>
                  <a:lnTo>
                    <a:pt x="250" y="309"/>
                  </a:lnTo>
                  <a:lnTo>
                    <a:pt x="251" y="309"/>
                  </a:lnTo>
                  <a:lnTo>
                    <a:pt x="252" y="310"/>
                  </a:lnTo>
                  <a:lnTo>
                    <a:pt x="253" y="311"/>
                  </a:lnTo>
                  <a:lnTo>
                    <a:pt x="254" y="312"/>
                  </a:lnTo>
                  <a:lnTo>
                    <a:pt x="255" y="313"/>
                  </a:lnTo>
                  <a:lnTo>
                    <a:pt x="256" y="313"/>
                  </a:lnTo>
                  <a:lnTo>
                    <a:pt x="260" y="315"/>
                  </a:lnTo>
                  <a:lnTo>
                    <a:pt x="262" y="316"/>
                  </a:lnTo>
                  <a:lnTo>
                    <a:pt x="263" y="316"/>
                  </a:lnTo>
                  <a:lnTo>
                    <a:pt x="264" y="316"/>
                  </a:lnTo>
                  <a:lnTo>
                    <a:pt x="267" y="317"/>
                  </a:lnTo>
                  <a:lnTo>
                    <a:pt x="268" y="317"/>
                  </a:lnTo>
                  <a:lnTo>
                    <a:pt x="269" y="317"/>
                  </a:lnTo>
                  <a:lnTo>
                    <a:pt x="269" y="317"/>
                  </a:lnTo>
                  <a:lnTo>
                    <a:pt x="270" y="317"/>
                  </a:lnTo>
                  <a:lnTo>
                    <a:pt x="271" y="317"/>
                  </a:lnTo>
                  <a:lnTo>
                    <a:pt x="273" y="316"/>
                  </a:lnTo>
                  <a:lnTo>
                    <a:pt x="275" y="315"/>
                  </a:lnTo>
                  <a:lnTo>
                    <a:pt x="277" y="314"/>
                  </a:lnTo>
                  <a:lnTo>
                    <a:pt x="278" y="314"/>
                  </a:lnTo>
                  <a:lnTo>
                    <a:pt x="283" y="312"/>
                  </a:lnTo>
                  <a:lnTo>
                    <a:pt x="284" y="312"/>
                  </a:lnTo>
                  <a:lnTo>
                    <a:pt x="287" y="311"/>
                  </a:lnTo>
                  <a:lnTo>
                    <a:pt x="287" y="311"/>
                  </a:lnTo>
                  <a:lnTo>
                    <a:pt x="288" y="311"/>
                  </a:lnTo>
                  <a:lnTo>
                    <a:pt x="289" y="311"/>
                  </a:lnTo>
                  <a:lnTo>
                    <a:pt x="289" y="311"/>
                  </a:lnTo>
                  <a:lnTo>
                    <a:pt x="290" y="311"/>
                  </a:lnTo>
                  <a:lnTo>
                    <a:pt x="290" y="311"/>
                  </a:lnTo>
                  <a:lnTo>
                    <a:pt x="291" y="312"/>
                  </a:lnTo>
                  <a:lnTo>
                    <a:pt x="291" y="312"/>
                  </a:lnTo>
                  <a:lnTo>
                    <a:pt x="292" y="313"/>
                  </a:lnTo>
                  <a:lnTo>
                    <a:pt x="292" y="314"/>
                  </a:lnTo>
                  <a:lnTo>
                    <a:pt x="293" y="315"/>
                  </a:lnTo>
                  <a:lnTo>
                    <a:pt x="293" y="316"/>
                  </a:lnTo>
                  <a:lnTo>
                    <a:pt x="294" y="317"/>
                  </a:lnTo>
                  <a:lnTo>
                    <a:pt x="294" y="318"/>
                  </a:lnTo>
                  <a:lnTo>
                    <a:pt x="295" y="320"/>
                  </a:lnTo>
                  <a:lnTo>
                    <a:pt x="295" y="321"/>
                  </a:lnTo>
                  <a:lnTo>
                    <a:pt x="295" y="323"/>
                  </a:lnTo>
                  <a:lnTo>
                    <a:pt x="295" y="324"/>
                  </a:lnTo>
                  <a:lnTo>
                    <a:pt x="295" y="325"/>
                  </a:lnTo>
                  <a:lnTo>
                    <a:pt x="295" y="326"/>
                  </a:lnTo>
                  <a:lnTo>
                    <a:pt x="295" y="327"/>
                  </a:lnTo>
                  <a:lnTo>
                    <a:pt x="295" y="328"/>
                  </a:lnTo>
                  <a:lnTo>
                    <a:pt x="294" y="332"/>
                  </a:lnTo>
                  <a:lnTo>
                    <a:pt x="293" y="334"/>
                  </a:lnTo>
                  <a:lnTo>
                    <a:pt x="293" y="335"/>
                  </a:lnTo>
                  <a:lnTo>
                    <a:pt x="293" y="336"/>
                  </a:lnTo>
                  <a:lnTo>
                    <a:pt x="293" y="337"/>
                  </a:lnTo>
                  <a:lnTo>
                    <a:pt x="293" y="338"/>
                  </a:lnTo>
                  <a:lnTo>
                    <a:pt x="293" y="340"/>
                  </a:lnTo>
                  <a:lnTo>
                    <a:pt x="293" y="341"/>
                  </a:lnTo>
                  <a:lnTo>
                    <a:pt x="294" y="343"/>
                  </a:lnTo>
                  <a:lnTo>
                    <a:pt x="294" y="345"/>
                  </a:lnTo>
                  <a:lnTo>
                    <a:pt x="294" y="346"/>
                  </a:lnTo>
                  <a:lnTo>
                    <a:pt x="295" y="347"/>
                  </a:lnTo>
                  <a:lnTo>
                    <a:pt x="295" y="348"/>
                  </a:lnTo>
                  <a:lnTo>
                    <a:pt x="296" y="349"/>
                  </a:lnTo>
                  <a:lnTo>
                    <a:pt x="296" y="349"/>
                  </a:lnTo>
                  <a:lnTo>
                    <a:pt x="297" y="350"/>
                  </a:lnTo>
                  <a:lnTo>
                    <a:pt x="298" y="351"/>
                  </a:lnTo>
                  <a:lnTo>
                    <a:pt x="299" y="351"/>
                  </a:lnTo>
                  <a:lnTo>
                    <a:pt x="300" y="352"/>
                  </a:lnTo>
                  <a:lnTo>
                    <a:pt x="301" y="353"/>
                  </a:lnTo>
                  <a:lnTo>
                    <a:pt x="302" y="353"/>
                  </a:lnTo>
                  <a:lnTo>
                    <a:pt x="303" y="354"/>
                  </a:lnTo>
                  <a:lnTo>
                    <a:pt x="304" y="354"/>
                  </a:lnTo>
                  <a:lnTo>
                    <a:pt x="304" y="354"/>
                  </a:lnTo>
                  <a:lnTo>
                    <a:pt x="305" y="354"/>
                  </a:lnTo>
                  <a:lnTo>
                    <a:pt x="306" y="353"/>
                  </a:lnTo>
                  <a:lnTo>
                    <a:pt x="306" y="353"/>
                  </a:lnTo>
                  <a:lnTo>
                    <a:pt x="307" y="353"/>
                  </a:lnTo>
                  <a:lnTo>
                    <a:pt x="308" y="352"/>
                  </a:lnTo>
                  <a:lnTo>
                    <a:pt x="309" y="352"/>
                  </a:lnTo>
                  <a:lnTo>
                    <a:pt x="309" y="351"/>
                  </a:lnTo>
                  <a:lnTo>
                    <a:pt x="310" y="351"/>
                  </a:lnTo>
                  <a:lnTo>
                    <a:pt x="310" y="351"/>
                  </a:lnTo>
                  <a:lnTo>
                    <a:pt x="310" y="351"/>
                  </a:lnTo>
                  <a:lnTo>
                    <a:pt x="311" y="351"/>
                  </a:lnTo>
                  <a:lnTo>
                    <a:pt x="311" y="352"/>
                  </a:lnTo>
                  <a:lnTo>
                    <a:pt x="312" y="352"/>
                  </a:lnTo>
                  <a:lnTo>
                    <a:pt x="313" y="353"/>
                  </a:lnTo>
                  <a:lnTo>
                    <a:pt x="313" y="354"/>
                  </a:lnTo>
                  <a:lnTo>
                    <a:pt x="314" y="355"/>
                  </a:lnTo>
                  <a:lnTo>
                    <a:pt x="316" y="356"/>
                  </a:lnTo>
                  <a:lnTo>
                    <a:pt x="317" y="358"/>
                  </a:lnTo>
                  <a:lnTo>
                    <a:pt x="317" y="359"/>
                  </a:lnTo>
                  <a:lnTo>
                    <a:pt x="318" y="360"/>
                  </a:lnTo>
                  <a:lnTo>
                    <a:pt x="319" y="362"/>
                  </a:lnTo>
                  <a:lnTo>
                    <a:pt x="320" y="363"/>
                  </a:lnTo>
                  <a:lnTo>
                    <a:pt x="321" y="365"/>
                  </a:lnTo>
                  <a:lnTo>
                    <a:pt x="322" y="366"/>
                  </a:lnTo>
                  <a:lnTo>
                    <a:pt x="322" y="367"/>
                  </a:lnTo>
                  <a:lnTo>
                    <a:pt x="323" y="367"/>
                  </a:lnTo>
                  <a:lnTo>
                    <a:pt x="324" y="368"/>
                  </a:lnTo>
                  <a:lnTo>
                    <a:pt x="331" y="374"/>
                  </a:lnTo>
                  <a:lnTo>
                    <a:pt x="333" y="374"/>
                  </a:lnTo>
                  <a:lnTo>
                    <a:pt x="334" y="376"/>
                  </a:lnTo>
                  <a:lnTo>
                    <a:pt x="337" y="379"/>
                  </a:lnTo>
                  <a:lnTo>
                    <a:pt x="339" y="381"/>
                  </a:lnTo>
                  <a:lnTo>
                    <a:pt x="340" y="382"/>
                  </a:lnTo>
                  <a:lnTo>
                    <a:pt x="342" y="384"/>
                  </a:lnTo>
                  <a:lnTo>
                    <a:pt x="343" y="386"/>
                  </a:lnTo>
                  <a:lnTo>
                    <a:pt x="345" y="389"/>
                  </a:lnTo>
                  <a:lnTo>
                    <a:pt x="346" y="392"/>
                  </a:lnTo>
                  <a:lnTo>
                    <a:pt x="347" y="393"/>
                  </a:lnTo>
                  <a:lnTo>
                    <a:pt x="347" y="393"/>
                  </a:lnTo>
                  <a:lnTo>
                    <a:pt x="347" y="394"/>
                  </a:lnTo>
                  <a:lnTo>
                    <a:pt x="347" y="395"/>
                  </a:lnTo>
                  <a:lnTo>
                    <a:pt x="347" y="395"/>
                  </a:lnTo>
                  <a:lnTo>
                    <a:pt x="347" y="396"/>
                  </a:lnTo>
                  <a:lnTo>
                    <a:pt x="347" y="397"/>
                  </a:lnTo>
                  <a:lnTo>
                    <a:pt x="346" y="398"/>
                  </a:lnTo>
                  <a:lnTo>
                    <a:pt x="346" y="399"/>
                  </a:lnTo>
                  <a:lnTo>
                    <a:pt x="345" y="400"/>
                  </a:lnTo>
                  <a:lnTo>
                    <a:pt x="345" y="401"/>
                  </a:lnTo>
                  <a:lnTo>
                    <a:pt x="345" y="401"/>
                  </a:lnTo>
                  <a:lnTo>
                    <a:pt x="345" y="402"/>
                  </a:lnTo>
                  <a:lnTo>
                    <a:pt x="346" y="403"/>
                  </a:lnTo>
                  <a:lnTo>
                    <a:pt x="346" y="404"/>
                  </a:lnTo>
                  <a:lnTo>
                    <a:pt x="347" y="404"/>
                  </a:lnTo>
                  <a:lnTo>
                    <a:pt x="347" y="405"/>
                  </a:lnTo>
                  <a:lnTo>
                    <a:pt x="347" y="405"/>
                  </a:lnTo>
                  <a:lnTo>
                    <a:pt x="348" y="405"/>
                  </a:lnTo>
                  <a:lnTo>
                    <a:pt x="349" y="405"/>
                  </a:lnTo>
                  <a:lnTo>
                    <a:pt x="349" y="405"/>
                  </a:lnTo>
                  <a:lnTo>
                    <a:pt x="349" y="405"/>
                  </a:lnTo>
                  <a:lnTo>
                    <a:pt x="350" y="405"/>
                  </a:lnTo>
                  <a:lnTo>
                    <a:pt x="352" y="403"/>
                  </a:lnTo>
                  <a:lnTo>
                    <a:pt x="353" y="402"/>
                  </a:lnTo>
                  <a:lnTo>
                    <a:pt x="354" y="401"/>
                  </a:lnTo>
                  <a:lnTo>
                    <a:pt x="355" y="401"/>
                  </a:lnTo>
                  <a:lnTo>
                    <a:pt x="356" y="401"/>
                  </a:lnTo>
                  <a:lnTo>
                    <a:pt x="357" y="400"/>
                  </a:lnTo>
                  <a:lnTo>
                    <a:pt x="357" y="400"/>
                  </a:lnTo>
                  <a:lnTo>
                    <a:pt x="358" y="400"/>
                  </a:lnTo>
                  <a:lnTo>
                    <a:pt x="358" y="401"/>
                  </a:lnTo>
                  <a:lnTo>
                    <a:pt x="359" y="401"/>
                  </a:lnTo>
                  <a:lnTo>
                    <a:pt x="359" y="401"/>
                  </a:lnTo>
                  <a:lnTo>
                    <a:pt x="359" y="401"/>
                  </a:lnTo>
                  <a:lnTo>
                    <a:pt x="360" y="402"/>
                  </a:lnTo>
                  <a:lnTo>
                    <a:pt x="361" y="403"/>
                  </a:lnTo>
                  <a:lnTo>
                    <a:pt x="362" y="404"/>
                  </a:lnTo>
                  <a:lnTo>
                    <a:pt x="362" y="405"/>
                  </a:lnTo>
                  <a:lnTo>
                    <a:pt x="364" y="408"/>
                  </a:lnTo>
                  <a:lnTo>
                    <a:pt x="365" y="411"/>
                  </a:lnTo>
                  <a:lnTo>
                    <a:pt x="365" y="411"/>
                  </a:lnTo>
                  <a:lnTo>
                    <a:pt x="365" y="412"/>
                  </a:lnTo>
                  <a:lnTo>
                    <a:pt x="365" y="412"/>
                  </a:lnTo>
                  <a:lnTo>
                    <a:pt x="365" y="413"/>
                  </a:lnTo>
                  <a:lnTo>
                    <a:pt x="365" y="413"/>
                  </a:lnTo>
                  <a:lnTo>
                    <a:pt x="364" y="414"/>
                  </a:lnTo>
                  <a:lnTo>
                    <a:pt x="364" y="415"/>
                  </a:lnTo>
                  <a:lnTo>
                    <a:pt x="363" y="416"/>
                  </a:lnTo>
                  <a:lnTo>
                    <a:pt x="362" y="418"/>
                  </a:lnTo>
                  <a:lnTo>
                    <a:pt x="361" y="419"/>
                  </a:lnTo>
                  <a:lnTo>
                    <a:pt x="361" y="420"/>
                  </a:lnTo>
                  <a:lnTo>
                    <a:pt x="360" y="421"/>
                  </a:lnTo>
                  <a:lnTo>
                    <a:pt x="360" y="421"/>
                  </a:lnTo>
                  <a:lnTo>
                    <a:pt x="359" y="422"/>
                  </a:lnTo>
                  <a:lnTo>
                    <a:pt x="358" y="422"/>
                  </a:lnTo>
                  <a:lnTo>
                    <a:pt x="358" y="422"/>
                  </a:lnTo>
                  <a:lnTo>
                    <a:pt x="357" y="423"/>
                  </a:lnTo>
                  <a:lnTo>
                    <a:pt x="357" y="423"/>
                  </a:lnTo>
                  <a:lnTo>
                    <a:pt x="356" y="423"/>
                  </a:lnTo>
                  <a:lnTo>
                    <a:pt x="355" y="423"/>
                  </a:lnTo>
                  <a:lnTo>
                    <a:pt x="355" y="423"/>
                  </a:lnTo>
                  <a:lnTo>
                    <a:pt x="354" y="423"/>
                  </a:lnTo>
                  <a:lnTo>
                    <a:pt x="353" y="423"/>
                  </a:lnTo>
                  <a:lnTo>
                    <a:pt x="351" y="422"/>
                  </a:lnTo>
                  <a:lnTo>
                    <a:pt x="348" y="422"/>
                  </a:lnTo>
                  <a:lnTo>
                    <a:pt x="347" y="421"/>
                  </a:lnTo>
                  <a:lnTo>
                    <a:pt x="346" y="421"/>
                  </a:lnTo>
                  <a:lnTo>
                    <a:pt x="345" y="421"/>
                  </a:lnTo>
                  <a:lnTo>
                    <a:pt x="344" y="421"/>
                  </a:lnTo>
                  <a:lnTo>
                    <a:pt x="344" y="421"/>
                  </a:lnTo>
                  <a:lnTo>
                    <a:pt x="344" y="422"/>
                  </a:lnTo>
                  <a:lnTo>
                    <a:pt x="343" y="423"/>
                  </a:lnTo>
                  <a:lnTo>
                    <a:pt x="342" y="424"/>
                  </a:lnTo>
                  <a:lnTo>
                    <a:pt x="341" y="426"/>
                  </a:lnTo>
                  <a:lnTo>
                    <a:pt x="341" y="426"/>
                  </a:lnTo>
                  <a:lnTo>
                    <a:pt x="340" y="427"/>
                  </a:lnTo>
                  <a:lnTo>
                    <a:pt x="340" y="428"/>
                  </a:lnTo>
                  <a:lnTo>
                    <a:pt x="339" y="428"/>
                  </a:lnTo>
                  <a:lnTo>
                    <a:pt x="338" y="429"/>
                  </a:lnTo>
                  <a:lnTo>
                    <a:pt x="336" y="430"/>
                  </a:lnTo>
                  <a:lnTo>
                    <a:pt x="335" y="431"/>
                  </a:lnTo>
                  <a:lnTo>
                    <a:pt x="334" y="432"/>
                  </a:lnTo>
                  <a:lnTo>
                    <a:pt x="333" y="434"/>
                  </a:lnTo>
                  <a:lnTo>
                    <a:pt x="331" y="436"/>
                  </a:lnTo>
                  <a:lnTo>
                    <a:pt x="330" y="436"/>
                  </a:lnTo>
                  <a:lnTo>
                    <a:pt x="330" y="437"/>
                  </a:lnTo>
                  <a:lnTo>
                    <a:pt x="330" y="438"/>
                  </a:lnTo>
                  <a:lnTo>
                    <a:pt x="330" y="438"/>
                  </a:lnTo>
                  <a:lnTo>
                    <a:pt x="329" y="439"/>
                  </a:lnTo>
                  <a:lnTo>
                    <a:pt x="329" y="442"/>
                  </a:lnTo>
                  <a:lnTo>
                    <a:pt x="329" y="443"/>
                  </a:lnTo>
                  <a:lnTo>
                    <a:pt x="329" y="444"/>
                  </a:lnTo>
                  <a:lnTo>
                    <a:pt x="329" y="446"/>
                  </a:lnTo>
                  <a:lnTo>
                    <a:pt x="328" y="447"/>
                  </a:lnTo>
                  <a:lnTo>
                    <a:pt x="327" y="450"/>
                  </a:lnTo>
                  <a:lnTo>
                    <a:pt x="326" y="453"/>
                  </a:lnTo>
                  <a:lnTo>
                    <a:pt x="325" y="456"/>
                  </a:lnTo>
                  <a:lnTo>
                    <a:pt x="324" y="456"/>
                  </a:lnTo>
                  <a:lnTo>
                    <a:pt x="324" y="457"/>
                  </a:lnTo>
                  <a:lnTo>
                    <a:pt x="323" y="457"/>
                  </a:lnTo>
                  <a:lnTo>
                    <a:pt x="323" y="458"/>
                  </a:lnTo>
                  <a:lnTo>
                    <a:pt x="322" y="458"/>
                  </a:lnTo>
                  <a:lnTo>
                    <a:pt x="322" y="458"/>
                  </a:lnTo>
                  <a:lnTo>
                    <a:pt x="321" y="459"/>
                  </a:lnTo>
                  <a:lnTo>
                    <a:pt x="318" y="460"/>
                  </a:lnTo>
                  <a:lnTo>
                    <a:pt x="316" y="460"/>
                  </a:lnTo>
                  <a:lnTo>
                    <a:pt x="315" y="460"/>
                  </a:lnTo>
                  <a:lnTo>
                    <a:pt x="314" y="460"/>
                  </a:lnTo>
                  <a:lnTo>
                    <a:pt x="312" y="460"/>
                  </a:lnTo>
                  <a:lnTo>
                    <a:pt x="311" y="460"/>
                  </a:lnTo>
                  <a:lnTo>
                    <a:pt x="310" y="459"/>
                  </a:lnTo>
                  <a:lnTo>
                    <a:pt x="309" y="459"/>
                  </a:lnTo>
                  <a:lnTo>
                    <a:pt x="308" y="458"/>
                  </a:lnTo>
                  <a:lnTo>
                    <a:pt x="307" y="458"/>
                  </a:lnTo>
                  <a:lnTo>
                    <a:pt x="306" y="457"/>
                  </a:lnTo>
                  <a:lnTo>
                    <a:pt x="306" y="457"/>
                  </a:lnTo>
                  <a:lnTo>
                    <a:pt x="304" y="455"/>
                  </a:lnTo>
                  <a:lnTo>
                    <a:pt x="303" y="454"/>
                  </a:lnTo>
                  <a:lnTo>
                    <a:pt x="302" y="453"/>
                  </a:lnTo>
                  <a:lnTo>
                    <a:pt x="301" y="452"/>
                  </a:lnTo>
                  <a:lnTo>
                    <a:pt x="300" y="452"/>
                  </a:lnTo>
                  <a:lnTo>
                    <a:pt x="299" y="451"/>
                  </a:lnTo>
                  <a:lnTo>
                    <a:pt x="298" y="451"/>
                  </a:lnTo>
                  <a:lnTo>
                    <a:pt x="297" y="451"/>
                  </a:lnTo>
                  <a:lnTo>
                    <a:pt x="296" y="451"/>
                  </a:lnTo>
                  <a:lnTo>
                    <a:pt x="296" y="451"/>
                  </a:lnTo>
                  <a:lnTo>
                    <a:pt x="295" y="452"/>
                  </a:lnTo>
                  <a:lnTo>
                    <a:pt x="294" y="452"/>
                  </a:lnTo>
                  <a:lnTo>
                    <a:pt x="294" y="452"/>
                  </a:lnTo>
                  <a:lnTo>
                    <a:pt x="293" y="453"/>
                  </a:lnTo>
                  <a:lnTo>
                    <a:pt x="292" y="456"/>
                  </a:lnTo>
                  <a:lnTo>
                    <a:pt x="291" y="456"/>
                  </a:lnTo>
                  <a:lnTo>
                    <a:pt x="291" y="456"/>
                  </a:lnTo>
                  <a:lnTo>
                    <a:pt x="291" y="457"/>
                  </a:lnTo>
                  <a:lnTo>
                    <a:pt x="290" y="457"/>
                  </a:lnTo>
                  <a:lnTo>
                    <a:pt x="290" y="457"/>
                  </a:lnTo>
                  <a:lnTo>
                    <a:pt x="290" y="457"/>
                  </a:lnTo>
                  <a:lnTo>
                    <a:pt x="289" y="457"/>
                  </a:lnTo>
                  <a:lnTo>
                    <a:pt x="288" y="457"/>
                  </a:lnTo>
                  <a:lnTo>
                    <a:pt x="287" y="457"/>
                  </a:lnTo>
                  <a:lnTo>
                    <a:pt x="286" y="457"/>
                  </a:lnTo>
                  <a:lnTo>
                    <a:pt x="285" y="456"/>
                  </a:lnTo>
                  <a:lnTo>
                    <a:pt x="285" y="456"/>
                  </a:lnTo>
                  <a:lnTo>
                    <a:pt x="284" y="456"/>
                  </a:lnTo>
                  <a:lnTo>
                    <a:pt x="283" y="457"/>
                  </a:lnTo>
                  <a:lnTo>
                    <a:pt x="282" y="457"/>
                  </a:lnTo>
                  <a:lnTo>
                    <a:pt x="282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8"/>
                  </a:lnTo>
                  <a:lnTo>
                    <a:pt x="281" y="458"/>
                  </a:lnTo>
                  <a:lnTo>
                    <a:pt x="281" y="458"/>
                  </a:lnTo>
                  <a:lnTo>
                    <a:pt x="281" y="459"/>
                  </a:lnTo>
                  <a:lnTo>
                    <a:pt x="281" y="459"/>
                  </a:lnTo>
                  <a:lnTo>
                    <a:pt x="281" y="460"/>
                  </a:lnTo>
                  <a:lnTo>
                    <a:pt x="281" y="461"/>
                  </a:lnTo>
                  <a:lnTo>
                    <a:pt x="283" y="465"/>
                  </a:lnTo>
                  <a:lnTo>
                    <a:pt x="284" y="467"/>
                  </a:lnTo>
                  <a:lnTo>
                    <a:pt x="284" y="468"/>
                  </a:lnTo>
                  <a:lnTo>
                    <a:pt x="285" y="469"/>
                  </a:lnTo>
                  <a:lnTo>
                    <a:pt x="285" y="470"/>
                  </a:lnTo>
                  <a:lnTo>
                    <a:pt x="285" y="471"/>
                  </a:lnTo>
                  <a:lnTo>
                    <a:pt x="285" y="471"/>
                  </a:lnTo>
                  <a:lnTo>
                    <a:pt x="284" y="472"/>
                  </a:lnTo>
                  <a:lnTo>
                    <a:pt x="284" y="473"/>
                  </a:lnTo>
                  <a:lnTo>
                    <a:pt x="284" y="474"/>
                  </a:lnTo>
                  <a:lnTo>
                    <a:pt x="283" y="475"/>
                  </a:lnTo>
                  <a:lnTo>
                    <a:pt x="282" y="476"/>
                  </a:lnTo>
                  <a:lnTo>
                    <a:pt x="282" y="476"/>
                  </a:lnTo>
                  <a:lnTo>
                    <a:pt x="281" y="477"/>
                  </a:lnTo>
                  <a:lnTo>
                    <a:pt x="280" y="478"/>
                  </a:lnTo>
                  <a:lnTo>
                    <a:pt x="280" y="478"/>
                  </a:lnTo>
                  <a:lnTo>
                    <a:pt x="279" y="478"/>
                  </a:lnTo>
                  <a:lnTo>
                    <a:pt x="278" y="479"/>
                  </a:lnTo>
                  <a:lnTo>
                    <a:pt x="277" y="479"/>
                  </a:lnTo>
                  <a:lnTo>
                    <a:pt x="276" y="479"/>
                  </a:lnTo>
                  <a:lnTo>
                    <a:pt x="275" y="479"/>
                  </a:lnTo>
                  <a:lnTo>
                    <a:pt x="274" y="479"/>
                  </a:lnTo>
                  <a:lnTo>
                    <a:pt x="273" y="479"/>
                  </a:lnTo>
                  <a:lnTo>
                    <a:pt x="273" y="479"/>
                  </a:lnTo>
                  <a:lnTo>
                    <a:pt x="272" y="479"/>
                  </a:lnTo>
                  <a:lnTo>
                    <a:pt x="271" y="479"/>
                  </a:lnTo>
                  <a:lnTo>
                    <a:pt x="270" y="478"/>
                  </a:lnTo>
                  <a:lnTo>
                    <a:pt x="268" y="478"/>
                  </a:lnTo>
                  <a:lnTo>
                    <a:pt x="268" y="477"/>
                  </a:lnTo>
                  <a:lnTo>
                    <a:pt x="267" y="477"/>
                  </a:lnTo>
                  <a:lnTo>
                    <a:pt x="266" y="477"/>
                  </a:lnTo>
                  <a:lnTo>
                    <a:pt x="265" y="477"/>
                  </a:lnTo>
                  <a:lnTo>
                    <a:pt x="263" y="477"/>
                  </a:lnTo>
                  <a:lnTo>
                    <a:pt x="262" y="477"/>
                  </a:lnTo>
                  <a:lnTo>
                    <a:pt x="260" y="477"/>
                  </a:lnTo>
                  <a:lnTo>
                    <a:pt x="258" y="477"/>
                  </a:lnTo>
                  <a:lnTo>
                    <a:pt x="256" y="477"/>
                  </a:lnTo>
                  <a:lnTo>
                    <a:pt x="255" y="478"/>
                  </a:lnTo>
                  <a:lnTo>
                    <a:pt x="253" y="478"/>
                  </a:lnTo>
                  <a:lnTo>
                    <a:pt x="251" y="479"/>
                  </a:lnTo>
                  <a:lnTo>
                    <a:pt x="248" y="480"/>
                  </a:lnTo>
                  <a:lnTo>
                    <a:pt x="247" y="480"/>
                  </a:lnTo>
                  <a:lnTo>
                    <a:pt x="247" y="480"/>
                  </a:lnTo>
                  <a:lnTo>
                    <a:pt x="247" y="480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2"/>
                  </a:lnTo>
                  <a:lnTo>
                    <a:pt x="246" y="483"/>
                  </a:lnTo>
                  <a:lnTo>
                    <a:pt x="245" y="485"/>
                  </a:lnTo>
                  <a:lnTo>
                    <a:pt x="245" y="487"/>
                  </a:lnTo>
                  <a:lnTo>
                    <a:pt x="245" y="488"/>
                  </a:lnTo>
                  <a:lnTo>
                    <a:pt x="244" y="488"/>
                  </a:lnTo>
                  <a:lnTo>
                    <a:pt x="244" y="489"/>
                  </a:lnTo>
                  <a:lnTo>
                    <a:pt x="243" y="490"/>
                  </a:lnTo>
                  <a:lnTo>
                    <a:pt x="242" y="492"/>
                  </a:lnTo>
                  <a:lnTo>
                    <a:pt x="242" y="493"/>
                  </a:lnTo>
                  <a:lnTo>
                    <a:pt x="241" y="494"/>
                  </a:lnTo>
                  <a:lnTo>
                    <a:pt x="240" y="495"/>
                  </a:lnTo>
                  <a:lnTo>
                    <a:pt x="240" y="495"/>
                  </a:lnTo>
                  <a:lnTo>
                    <a:pt x="239" y="496"/>
                  </a:lnTo>
                  <a:lnTo>
                    <a:pt x="238" y="497"/>
                  </a:lnTo>
                  <a:lnTo>
                    <a:pt x="237" y="497"/>
                  </a:lnTo>
                  <a:lnTo>
                    <a:pt x="236" y="497"/>
                  </a:lnTo>
                  <a:lnTo>
                    <a:pt x="236" y="497"/>
                  </a:lnTo>
                  <a:lnTo>
                    <a:pt x="235" y="497"/>
                  </a:lnTo>
                  <a:lnTo>
                    <a:pt x="234" y="497"/>
                  </a:lnTo>
                  <a:lnTo>
                    <a:pt x="233" y="496"/>
                  </a:lnTo>
                  <a:lnTo>
                    <a:pt x="230" y="494"/>
                  </a:lnTo>
                  <a:lnTo>
                    <a:pt x="229" y="493"/>
                  </a:lnTo>
                  <a:lnTo>
                    <a:pt x="228" y="492"/>
                  </a:lnTo>
                  <a:lnTo>
                    <a:pt x="227" y="492"/>
                  </a:lnTo>
                  <a:lnTo>
                    <a:pt x="227" y="491"/>
                  </a:lnTo>
                  <a:lnTo>
                    <a:pt x="226" y="491"/>
                  </a:lnTo>
                  <a:lnTo>
                    <a:pt x="225" y="491"/>
                  </a:lnTo>
                  <a:lnTo>
                    <a:pt x="224" y="491"/>
                  </a:lnTo>
                  <a:lnTo>
                    <a:pt x="223" y="491"/>
                  </a:lnTo>
                  <a:lnTo>
                    <a:pt x="221" y="491"/>
                  </a:lnTo>
                  <a:lnTo>
                    <a:pt x="219" y="490"/>
                  </a:lnTo>
                  <a:lnTo>
                    <a:pt x="217" y="490"/>
                  </a:lnTo>
                  <a:lnTo>
                    <a:pt x="215" y="489"/>
                  </a:lnTo>
                  <a:lnTo>
                    <a:pt x="213" y="489"/>
                  </a:lnTo>
                  <a:lnTo>
                    <a:pt x="212" y="488"/>
                  </a:lnTo>
                  <a:lnTo>
                    <a:pt x="211" y="488"/>
                  </a:lnTo>
                  <a:lnTo>
                    <a:pt x="208" y="488"/>
                  </a:lnTo>
                  <a:lnTo>
                    <a:pt x="208" y="488"/>
                  </a:lnTo>
                  <a:lnTo>
                    <a:pt x="207" y="488"/>
                  </a:lnTo>
                  <a:lnTo>
                    <a:pt x="207" y="487"/>
                  </a:lnTo>
                  <a:lnTo>
                    <a:pt x="206" y="487"/>
                  </a:lnTo>
                  <a:lnTo>
                    <a:pt x="206" y="486"/>
                  </a:lnTo>
                  <a:lnTo>
                    <a:pt x="206" y="486"/>
                  </a:lnTo>
                  <a:lnTo>
                    <a:pt x="205" y="485"/>
                  </a:lnTo>
                  <a:lnTo>
                    <a:pt x="205" y="484"/>
                  </a:lnTo>
                  <a:lnTo>
                    <a:pt x="205" y="481"/>
                  </a:lnTo>
                  <a:lnTo>
                    <a:pt x="205" y="480"/>
                  </a:lnTo>
                  <a:lnTo>
                    <a:pt x="204" y="480"/>
                  </a:lnTo>
                  <a:lnTo>
                    <a:pt x="204" y="479"/>
                  </a:lnTo>
                  <a:lnTo>
                    <a:pt x="204" y="478"/>
                  </a:lnTo>
                  <a:lnTo>
                    <a:pt x="203" y="478"/>
                  </a:lnTo>
                  <a:lnTo>
                    <a:pt x="203" y="477"/>
                  </a:lnTo>
                  <a:lnTo>
                    <a:pt x="202" y="477"/>
                  </a:lnTo>
                  <a:lnTo>
                    <a:pt x="202" y="477"/>
                  </a:lnTo>
                  <a:lnTo>
                    <a:pt x="201" y="477"/>
                  </a:lnTo>
                  <a:lnTo>
                    <a:pt x="201" y="477"/>
                  </a:lnTo>
                  <a:lnTo>
                    <a:pt x="200" y="477"/>
                  </a:lnTo>
                  <a:lnTo>
                    <a:pt x="199" y="478"/>
                  </a:lnTo>
                  <a:lnTo>
                    <a:pt x="199" y="478"/>
                  </a:lnTo>
                  <a:lnTo>
                    <a:pt x="199" y="478"/>
                  </a:lnTo>
                  <a:lnTo>
                    <a:pt x="198" y="479"/>
                  </a:lnTo>
                  <a:lnTo>
                    <a:pt x="198" y="479"/>
                  </a:lnTo>
                  <a:lnTo>
                    <a:pt x="197" y="480"/>
                  </a:lnTo>
                  <a:lnTo>
                    <a:pt x="195" y="484"/>
                  </a:lnTo>
                  <a:lnTo>
                    <a:pt x="194" y="486"/>
                  </a:lnTo>
                  <a:lnTo>
                    <a:pt x="194" y="487"/>
                  </a:lnTo>
                  <a:lnTo>
                    <a:pt x="193" y="488"/>
                  </a:lnTo>
                  <a:lnTo>
                    <a:pt x="193" y="489"/>
                  </a:lnTo>
                  <a:lnTo>
                    <a:pt x="193" y="490"/>
                  </a:lnTo>
                  <a:lnTo>
                    <a:pt x="193" y="491"/>
                  </a:lnTo>
                  <a:lnTo>
                    <a:pt x="193" y="493"/>
                  </a:lnTo>
                  <a:lnTo>
                    <a:pt x="194" y="494"/>
                  </a:lnTo>
                  <a:lnTo>
                    <a:pt x="194" y="496"/>
                  </a:lnTo>
                  <a:lnTo>
                    <a:pt x="195" y="497"/>
                  </a:lnTo>
                  <a:lnTo>
                    <a:pt x="196" y="499"/>
                  </a:lnTo>
                  <a:lnTo>
                    <a:pt x="197" y="501"/>
                  </a:lnTo>
                  <a:lnTo>
                    <a:pt x="197" y="502"/>
                  </a:lnTo>
                  <a:lnTo>
                    <a:pt x="197" y="503"/>
                  </a:lnTo>
                  <a:lnTo>
                    <a:pt x="197" y="504"/>
                  </a:lnTo>
                  <a:lnTo>
                    <a:pt x="197" y="505"/>
                  </a:lnTo>
                  <a:lnTo>
                    <a:pt x="197" y="506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6" y="508"/>
                  </a:lnTo>
                  <a:lnTo>
                    <a:pt x="195" y="509"/>
                  </a:lnTo>
                  <a:lnTo>
                    <a:pt x="193" y="511"/>
                  </a:lnTo>
                  <a:lnTo>
                    <a:pt x="191" y="513"/>
                  </a:lnTo>
                  <a:lnTo>
                    <a:pt x="190" y="514"/>
                  </a:lnTo>
                  <a:lnTo>
                    <a:pt x="189" y="514"/>
                  </a:lnTo>
                  <a:lnTo>
                    <a:pt x="189" y="515"/>
                  </a:lnTo>
                  <a:lnTo>
                    <a:pt x="188" y="516"/>
                  </a:lnTo>
                  <a:lnTo>
                    <a:pt x="186" y="519"/>
                  </a:lnTo>
                  <a:lnTo>
                    <a:pt x="184" y="521"/>
                  </a:lnTo>
                  <a:lnTo>
                    <a:pt x="182" y="524"/>
                  </a:lnTo>
                  <a:lnTo>
                    <a:pt x="181" y="525"/>
                  </a:lnTo>
                  <a:lnTo>
                    <a:pt x="180" y="526"/>
                  </a:lnTo>
                  <a:lnTo>
                    <a:pt x="180" y="527"/>
                  </a:lnTo>
                  <a:lnTo>
                    <a:pt x="179" y="527"/>
                  </a:lnTo>
                  <a:lnTo>
                    <a:pt x="178" y="528"/>
                  </a:lnTo>
                  <a:lnTo>
                    <a:pt x="177" y="528"/>
                  </a:lnTo>
                  <a:lnTo>
                    <a:pt x="177" y="529"/>
                  </a:lnTo>
                  <a:lnTo>
                    <a:pt x="176" y="529"/>
                  </a:lnTo>
                  <a:lnTo>
                    <a:pt x="175" y="529"/>
                  </a:lnTo>
                  <a:lnTo>
                    <a:pt x="174" y="529"/>
                  </a:lnTo>
                  <a:lnTo>
                    <a:pt x="174" y="529"/>
                  </a:lnTo>
                  <a:lnTo>
                    <a:pt x="170" y="529"/>
                  </a:lnTo>
                  <a:lnTo>
                    <a:pt x="169" y="530"/>
                  </a:lnTo>
                  <a:lnTo>
                    <a:pt x="165" y="530"/>
                  </a:lnTo>
                  <a:lnTo>
                    <a:pt x="163" y="530"/>
                  </a:lnTo>
                  <a:lnTo>
                    <a:pt x="162" y="531"/>
                  </a:lnTo>
                  <a:lnTo>
                    <a:pt x="156" y="532"/>
                  </a:lnTo>
                  <a:lnTo>
                    <a:pt x="155" y="532"/>
                  </a:lnTo>
                  <a:lnTo>
                    <a:pt x="153" y="532"/>
                  </a:lnTo>
                  <a:lnTo>
                    <a:pt x="152" y="532"/>
                  </a:lnTo>
                  <a:lnTo>
                    <a:pt x="151" y="533"/>
                  </a:lnTo>
                  <a:lnTo>
                    <a:pt x="151" y="533"/>
                  </a:lnTo>
                  <a:lnTo>
                    <a:pt x="150" y="533"/>
                  </a:lnTo>
                  <a:lnTo>
                    <a:pt x="149" y="534"/>
                  </a:lnTo>
                  <a:lnTo>
                    <a:pt x="148" y="535"/>
                  </a:lnTo>
                  <a:lnTo>
                    <a:pt x="148" y="536"/>
                  </a:lnTo>
                  <a:lnTo>
                    <a:pt x="147" y="536"/>
                  </a:lnTo>
                  <a:lnTo>
                    <a:pt x="146" y="539"/>
                  </a:lnTo>
                  <a:lnTo>
                    <a:pt x="145" y="539"/>
                  </a:lnTo>
                  <a:lnTo>
                    <a:pt x="145" y="540"/>
                  </a:lnTo>
                  <a:lnTo>
                    <a:pt x="144" y="541"/>
                  </a:lnTo>
                  <a:lnTo>
                    <a:pt x="144" y="541"/>
                  </a:lnTo>
                  <a:lnTo>
                    <a:pt x="143" y="541"/>
                  </a:lnTo>
                  <a:lnTo>
                    <a:pt x="143" y="541"/>
                  </a:lnTo>
                  <a:lnTo>
                    <a:pt x="142" y="541"/>
                  </a:lnTo>
                  <a:lnTo>
                    <a:pt x="142" y="541"/>
                  </a:lnTo>
                  <a:lnTo>
                    <a:pt x="141" y="541"/>
                  </a:lnTo>
                  <a:lnTo>
                    <a:pt x="141" y="541"/>
                  </a:lnTo>
                  <a:lnTo>
                    <a:pt x="141" y="541"/>
                  </a:lnTo>
                  <a:lnTo>
                    <a:pt x="141" y="539"/>
                  </a:lnTo>
                  <a:lnTo>
                    <a:pt x="139" y="534"/>
                  </a:lnTo>
                  <a:lnTo>
                    <a:pt x="137" y="531"/>
                  </a:lnTo>
                  <a:lnTo>
                    <a:pt x="137" y="530"/>
                  </a:lnTo>
                  <a:lnTo>
                    <a:pt x="136" y="527"/>
                  </a:lnTo>
                  <a:lnTo>
                    <a:pt x="134" y="522"/>
                  </a:lnTo>
                  <a:lnTo>
                    <a:pt x="134" y="521"/>
                  </a:lnTo>
                  <a:lnTo>
                    <a:pt x="134" y="520"/>
                  </a:lnTo>
                  <a:lnTo>
                    <a:pt x="133" y="519"/>
                  </a:lnTo>
                  <a:lnTo>
                    <a:pt x="133" y="519"/>
                  </a:lnTo>
                  <a:lnTo>
                    <a:pt x="132" y="518"/>
                  </a:lnTo>
                  <a:lnTo>
                    <a:pt x="131" y="517"/>
                  </a:lnTo>
                  <a:lnTo>
                    <a:pt x="128" y="515"/>
                  </a:lnTo>
                  <a:lnTo>
                    <a:pt x="127" y="514"/>
                  </a:lnTo>
                  <a:lnTo>
                    <a:pt x="126" y="513"/>
                  </a:lnTo>
                  <a:lnTo>
                    <a:pt x="124" y="512"/>
                  </a:lnTo>
                  <a:lnTo>
                    <a:pt x="122" y="512"/>
                  </a:lnTo>
                  <a:lnTo>
                    <a:pt x="121" y="511"/>
                  </a:lnTo>
                  <a:lnTo>
                    <a:pt x="118" y="510"/>
                  </a:lnTo>
                  <a:lnTo>
                    <a:pt x="116" y="509"/>
                  </a:lnTo>
                  <a:lnTo>
                    <a:pt x="114" y="509"/>
                  </a:lnTo>
                  <a:lnTo>
                    <a:pt x="112" y="508"/>
                  </a:lnTo>
                  <a:lnTo>
                    <a:pt x="111" y="507"/>
                  </a:lnTo>
                  <a:lnTo>
                    <a:pt x="108" y="506"/>
                  </a:lnTo>
                  <a:lnTo>
                    <a:pt x="107" y="505"/>
                  </a:lnTo>
                  <a:lnTo>
                    <a:pt x="107" y="505"/>
                  </a:lnTo>
                  <a:lnTo>
                    <a:pt x="106" y="504"/>
                  </a:lnTo>
                  <a:lnTo>
                    <a:pt x="106" y="504"/>
                  </a:lnTo>
                  <a:lnTo>
                    <a:pt x="106" y="504"/>
                  </a:lnTo>
                  <a:lnTo>
                    <a:pt x="105" y="503"/>
                  </a:lnTo>
                  <a:lnTo>
                    <a:pt x="105" y="503"/>
                  </a:lnTo>
                  <a:lnTo>
                    <a:pt x="105" y="502"/>
                  </a:lnTo>
                  <a:lnTo>
                    <a:pt x="105" y="502"/>
                  </a:lnTo>
                  <a:lnTo>
                    <a:pt x="106" y="500"/>
                  </a:lnTo>
                  <a:lnTo>
                    <a:pt x="106" y="497"/>
                  </a:lnTo>
                  <a:lnTo>
                    <a:pt x="107" y="494"/>
                  </a:lnTo>
                  <a:lnTo>
                    <a:pt x="107" y="492"/>
                  </a:lnTo>
                  <a:lnTo>
                    <a:pt x="107" y="491"/>
                  </a:lnTo>
                  <a:lnTo>
                    <a:pt x="107" y="489"/>
                  </a:lnTo>
                  <a:lnTo>
                    <a:pt x="108" y="488"/>
                  </a:lnTo>
                  <a:lnTo>
                    <a:pt x="107" y="486"/>
                  </a:lnTo>
                  <a:lnTo>
                    <a:pt x="107" y="485"/>
                  </a:lnTo>
                  <a:lnTo>
                    <a:pt x="107" y="485"/>
                  </a:lnTo>
                  <a:lnTo>
                    <a:pt x="107" y="484"/>
                  </a:lnTo>
                  <a:lnTo>
                    <a:pt x="107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5" y="484"/>
                  </a:lnTo>
                  <a:lnTo>
                    <a:pt x="105" y="485"/>
                  </a:lnTo>
                  <a:lnTo>
                    <a:pt x="104" y="486"/>
                  </a:lnTo>
                  <a:lnTo>
                    <a:pt x="104" y="487"/>
                  </a:lnTo>
                  <a:lnTo>
                    <a:pt x="103" y="487"/>
                  </a:lnTo>
                  <a:lnTo>
                    <a:pt x="103" y="487"/>
                  </a:lnTo>
                  <a:lnTo>
                    <a:pt x="103" y="487"/>
                  </a:lnTo>
                  <a:lnTo>
                    <a:pt x="102" y="487"/>
                  </a:lnTo>
                  <a:lnTo>
                    <a:pt x="102" y="487"/>
                  </a:lnTo>
                  <a:lnTo>
                    <a:pt x="101" y="487"/>
                  </a:lnTo>
                  <a:lnTo>
                    <a:pt x="101" y="487"/>
                  </a:lnTo>
                  <a:lnTo>
                    <a:pt x="101" y="487"/>
                  </a:lnTo>
                  <a:lnTo>
                    <a:pt x="100" y="486"/>
                  </a:lnTo>
                  <a:lnTo>
                    <a:pt x="100" y="486"/>
                  </a:lnTo>
                  <a:lnTo>
                    <a:pt x="99" y="485"/>
                  </a:lnTo>
                  <a:lnTo>
                    <a:pt x="98" y="485"/>
                  </a:lnTo>
                  <a:lnTo>
                    <a:pt x="97" y="483"/>
                  </a:lnTo>
                  <a:lnTo>
                    <a:pt x="97" y="482"/>
                  </a:lnTo>
                  <a:lnTo>
                    <a:pt x="96" y="482"/>
                  </a:lnTo>
                  <a:lnTo>
                    <a:pt x="96" y="481"/>
                  </a:lnTo>
                  <a:lnTo>
                    <a:pt x="94" y="478"/>
                  </a:lnTo>
                  <a:lnTo>
                    <a:pt x="94" y="478"/>
                  </a:lnTo>
                  <a:lnTo>
                    <a:pt x="94" y="477"/>
                  </a:lnTo>
                  <a:lnTo>
                    <a:pt x="93" y="476"/>
                  </a:lnTo>
                  <a:lnTo>
                    <a:pt x="93" y="476"/>
                  </a:lnTo>
                  <a:lnTo>
                    <a:pt x="91" y="475"/>
                  </a:lnTo>
                  <a:lnTo>
                    <a:pt x="90" y="474"/>
                  </a:lnTo>
                  <a:lnTo>
                    <a:pt x="90" y="473"/>
                  </a:lnTo>
                  <a:lnTo>
                    <a:pt x="89" y="472"/>
                  </a:lnTo>
                  <a:lnTo>
                    <a:pt x="89" y="471"/>
                  </a:lnTo>
                  <a:lnTo>
                    <a:pt x="88" y="471"/>
                  </a:lnTo>
                  <a:lnTo>
                    <a:pt x="88" y="468"/>
                  </a:lnTo>
                  <a:lnTo>
                    <a:pt x="87" y="464"/>
                  </a:lnTo>
                  <a:lnTo>
                    <a:pt x="86" y="462"/>
                  </a:lnTo>
                  <a:lnTo>
                    <a:pt x="85" y="461"/>
                  </a:lnTo>
                  <a:lnTo>
                    <a:pt x="85" y="460"/>
                  </a:lnTo>
                  <a:lnTo>
                    <a:pt x="84" y="459"/>
                  </a:lnTo>
                  <a:lnTo>
                    <a:pt x="83" y="458"/>
                  </a:lnTo>
                  <a:lnTo>
                    <a:pt x="83" y="457"/>
                  </a:lnTo>
                  <a:lnTo>
                    <a:pt x="83" y="456"/>
                  </a:lnTo>
                  <a:lnTo>
                    <a:pt x="82" y="455"/>
                  </a:lnTo>
                  <a:lnTo>
                    <a:pt x="81" y="454"/>
                  </a:lnTo>
                  <a:lnTo>
                    <a:pt x="81" y="453"/>
                  </a:lnTo>
                  <a:lnTo>
                    <a:pt x="79" y="452"/>
                  </a:lnTo>
                  <a:lnTo>
                    <a:pt x="78" y="451"/>
                  </a:lnTo>
                  <a:lnTo>
                    <a:pt x="78" y="450"/>
                  </a:lnTo>
                  <a:lnTo>
                    <a:pt x="77" y="448"/>
                  </a:lnTo>
                  <a:lnTo>
                    <a:pt x="76" y="447"/>
                  </a:lnTo>
                  <a:lnTo>
                    <a:pt x="76" y="446"/>
                  </a:lnTo>
                  <a:lnTo>
                    <a:pt x="75" y="445"/>
                  </a:lnTo>
                  <a:lnTo>
                    <a:pt x="74" y="444"/>
                  </a:lnTo>
                  <a:lnTo>
                    <a:pt x="73" y="443"/>
                  </a:lnTo>
                  <a:lnTo>
                    <a:pt x="73" y="443"/>
                  </a:lnTo>
                  <a:lnTo>
                    <a:pt x="72" y="442"/>
                  </a:lnTo>
                  <a:lnTo>
                    <a:pt x="71" y="442"/>
                  </a:lnTo>
                  <a:lnTo>
                    <a:pt x="69" y="442"/>
                  </a:lnTo>
                  <a:lnTo>
                    <a:pt x="67" y="441"/>
                  </a:lnTo>
                  <a:lnTo>
                    <a:pt x="65" y="441"/>
                  </a:lnTo>
                  <a:lnTo>
                    <a:pt x="64" y="441"/>
                  </a:lnTo>
                  <a:lnTo>
                    <a:pt x="63" y="441"/>
                  </a:lnTo>
                  <a:lnTo>
                    <a:pt x="62" y="441"/>
                  </a:lnTo>
                  <a:lnTo>
                    <a:pt x="61" y="441"/>
                  </a:lnTo>
                  <a:lnTo>
                    <a:pt x="59" y="441"/>
                  </a:lnTo>
                  <a:lnTo>
                    <a:pt x="58" y="442"/>
                  </a:lnTo>
                  <a:lnTo>
                    <a:pt x="56" y="443"/>
                  </a:lnTo>
                  <a:lnTo>
                    <a:pt x="55" y="444"/>
                  </a:lnTo>
                  <a:lnTo>
                    <a:pt x="54" y="445"/>
                  </a:lnTo>
                  <a:lnTo>
                    <a:pt x="52" y="446"/>
                  </a:lnTo>
                  <a:lnTo>
                    <a:pt x="51" y="448"/>
                  </a:lnTo>
                  <a:lnTo>
                    <a:pt x="50" y="448"/>
                  </a:lnTo>
                  <a:lnTo>
                    <a:pt x="50" y="448"/>
                  </a:lnTo>
                  <a:lnTo>
                    <a:pt x="50" y="449"/>
                  </a:lnTo>
                  <a:lnTo>
                    <a:pt x="50" y="449"/>
                  </a:lnTo>
                  <a:lnTo>
                    <a:pt x="50" y="449"/>
                  </a:lnTo>
                  <a:lnTo>
                    <a:pt x="50" y="450"/>
                  </a:lnTo>
                  <a:lnTo>
                    <a:pt x="51" y="450"/>
                  </a:lnTo>
                  <a:lnTo>
                    <a:pt x="51" y="451"/>
                  </a:lnTo>
                  <a:lnTo>
                    <a:pt x="52" y="452"/>
                  </a:lnTo>
                  <a:lnTo>
                    <a:pt x="52" y="452"/>
                  </a:lnTo>
                  <a:lnTo>
                    <a:pt x="52" y="453"/>
                  </a:lnTo>
                  <a:lnTo>
                    <a:pt x="53" y="453"/>
                  </a:lnTo>
                  <a:lnTo>
                    <a:pt x="58" y="458"/>
                  </a:lnTo>
                  <a:lnTo>
                    <a:pt x="58" y="458"/>
                  </a:lnTo>
                  <a:lnTo>
                    <a:pt x="59" y="459"/>
                  </a:lnTo>
                  <a:lnTo>
                    <a:pt x="59" y="460"/>
                  </a:lnTo>
                  <a:lnTo>
                    <a:pt x="59" y="461"/>
                  </a:lnTo>
                  <a:lnTo>
                    <a:pt x="60" y="462"/>
                  </a:lnTo>
                  <a:lnTo>
                    <a:pt x="60" y="463"/>
                  </a:lnTo>
                  <a:lnTo>
                    <a:pt x="61" y="464"/>
                  </a:lnTo>
                  <a:lnTo>
                    <a:pt x="62" y="466"/>
                  </a:lnTo>
                  <a:lnTo>
                    <a:pt x="62" y="467"/>
                  </a:lnTo>
                  <a:lnTo>
                    <a:pt x="63" y="468"/>
                  </a:lnTo>
                  <a:lnTo>
                    <a:pt x="63" y="469"/>
                  </a:lnTo>
                  <a:lnTo>
                    <a:pt x="63" y="469"/>
                  </a:lnTo>
                  <a:lnTo>
                    <a:pt x="63" y="470"/>
                  </a:lnTo>
                  <a:lnTo>
                    <a:pt x="63" y="471"/>
                  </a:lnTo>
                  <a:lnTo>
                    <a:pt x="63" y="471"/>
                  </a:lnTo>
                  <a:lnTo>
                    <a:pt x="63" y="472"/>
                  </a:lnTo>
                  <a:lnTo>
                    <a:pt x="63" y="472"/>
                  </a:lnTo>
                  <a:lnTo>
                    <a:pt x="62" y="473"/>
                  </a:lnTo>
                  <a:lnTo>
                    <a:pt x="61" y="475"/>
                  </a:lnTo>
                  <a:lnTo>
                    <a:pt x="60" y="476"/>
                  </a:lnTo>
                  <a:lnTo>
                    <a:pt x="59" y="478"/>
                  </a:lnTo>
                  <a:lnTo>
                    <a:pt x="58" y="481"/>
                  </a:lnTo>
                  <a:lnTo>
                    <a:pt x="58" y="483"/>
                  </a:lnTo>
                  <a:lnTo>
                    <a:pt x="57" y="484"/>
                  </a:lnTo>
                  <a:lnTo>
                    <a:pt x="56" y="485"/>
                  </a:lnTo>
                  <a:lnTo>
                    <a:pt x="56" y="486"/>
                  </a:lnTo>
                  <a:lnTo>
                    <a:pt x="54" y="487"/>
                  </a:lnTo>
                  <a:lnTo>
                    <a:pt x="53" y="488"/>
                  </a:lnTo>
                  <a:lnTo>
                    <a:pt x="52" y="489"/>
                  </a:lnTo>
                  <a:lnTo>
                    <a:pt x="51" y="490"/>
                  </a:lnTo>
                  <a:lnTo>
                    <a:pt x="50" y="490"/>
                  </a:lnTo>
                  <a:lnTo>
                    <a:pt x="49" y="491"/>
                  </a:lnTo>
                  <a:lnTo>
                    <a:pt x="48" y="491"/>
                  </a:lnTo>
                  <a:lnTo>
                    <a:pt x="47" y="491"/>
                  </a:lnTo>
                  <a:lnTo>
                    <a:pt x="46" y="491"/>
                  </a:lnTo>
                  <a:lnTo>
                    <a:pt x="45" y="490"/>
                  </a:lnTo>
                  <a:lnTo>
                    <a:pt x="43" y="490"/>
                  </a:lnTo>
                  <a:lnTo>
                    <a:pt x="42" y="489"/>
                  </a:lnTo>
                  <a:lnTo>
                    <a:pt x="40" y="488"/>
                  </a:lnTo>
                  <a:lnTo>
                    <a:pt x="37" y="485"/>
                  </a:lnTo>
                  <a:lnTo>
                    <a:pt x="35" y="484"/>
                  </a:lnTo>
                  <a:lnTo>
                    <a:pt x="34" y="483"/>
                  </a:lnTo>
                  <a:lnTo>
                    <a:pt x="34" y="483"/>
                  </a:lnTo>
                  <a:lnTo>
                    <a:pt x="32" y="481"/>
                  </a:lnTo>
                  <a:lnTo>
                    <a:pt x="32" y="481"/>
                  </a:lnTo>
                  <a:lnTo>
                    <a:pt x="31" y="480"/>
                  </a:lnTo>
                  <a:lnTo>
                    <a:pt x="31" y="480"/>
                  </a:lnTo>
                  <a:lnTo>
                    <a:pt x="31" y="479"/>
                  </a:lnTo>
                  <a:lnTo>
                    <a:pt x="31" y="478"/>
                  </a:lnTo>
                  <a:lnTo>
                    <a:pt x="31" y="477"/>
                  </a:lnTo>
                  <a:lnTo>
                    <a:pt x="31" y="477"/>
                  </a:lnTo>
                  <a:lnTo>
                    <a:pt x="31" y="476"/>
                  </a:lnTo>
                  <a:lnTo>
                    <a:pt x="32" y="475"/>
                  </a:lnTo>
                  <a:lnTo>
                    <a:pt x="32" y="475"/>
                  </a:lnTo>
                  <a:lnTo>
                    <a:pt x="32" y="474"/>
                  </a:lnTo>
                  <a:lnTo>
                    <a:pt x="32" y="474"/>
                  </a:lnTo>
                  <a:lnTo>
                    <a:pt x="33" y="473"/>
                  </a:lnTo>
                  <a:lnTo>
                    <a:pt x="35" y="471"/>
                  </a:lnTo>
                  <a:lnTo>
                    <a:pt x="36" y="471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9"/>
                  </a:lnTo>
                  <a:lnTo>
                    <a:pt x="37" y="469"/>
                  </a:lnTo>
                  <a:lnTo>
                    <a:pt x="37" y="468"/>
                  </a:lnTo>
                  <a:lnTo>
                    <a:pt x="36" y="467"/>
                  </a:lnTo>
                  <a:lnTo>
                    <a:pt x="36" y="466"/>
                  </a:lnTo>
                  <a:lnTo>
                    <a:pt x="35" y="465"/>
                  </a:lnTo>
                  <a:lnTo>
                    <a:pt x="35" y="464"/>
                  </a:lnTo>
                  <a:lnTo>
                    <a:pt x="34" y="463"/>
                  </a:lnTo>
                  <a:lnTo>
                    <a:pt x="32" y="460"/>
                  </a:lnTo>
                  <a:lnTo>
                    <a:pt x="31" y="459"/>
                  </a:lnTo>
                  <a:lnTo>
                    <a:pt x="31" y="458"/>
                  </a:lnTo>
                  <a:lnTo>
                    <a:pt x="30" y="457"/>
                  </a:lnTo>
                  <a:lnTo>
                    <a:pt x="30" y="456"/>
                  </a:lnTo>
                  <a:lnTo>
                    <a:pt x="29" y="453"/>
                  </a:lnTo>
                  <a:lnTo>
                    <a:pt x="28" y="449"/>
                  </a:lnTo>
                  <a:lnTo>
                    <a:pt x="27" y="446"/>
                  </a:lnTo>
                  <a:lnTo>
                    <a:pt x="27" y="445"/>
                  </a:lnTo>
                  <a:lnTo>
                    <a:pt x="27" y="443"/>
                  </a:lnTo>
                  <a:lnTo>
                    <a:pt x="27" y="442"/>
                  </a:lnTo>
                  <a:lnTo>
                    <a:pt x="27" y="440"/>
                  </a:lnTo>
                  <a:lnTo>
                    <a:pt x="27" y="439"/>
                  </a:lnTo>
                  <a:lnTo>
                    <a:pt x="27" y="437"/>
                  </a:lnTo>
                  <a:lnTo>
                    <a:pt x="27" y="436"/>
                  </a:lnTo>
                  <a:lnTo>
                    <a:pt x="28" y="435"/>
                  </a:lnTo>
                  <a:lnTo>
                    <a:pt x="30" y="432"/>
                  </a:lnTo>
                  <a:lnTo>
                    <a:pt x="30" y="431"/>
                  </a:lnTo>
                  <a:lnTo>
                    <a:pt x="32" y="429"/>
                  </a:lnTo>
                  <a:lnTo>
                    <a:pt x="32" y="428"/>
                  </a:lnTo>
                  <a:lnTo>
                    <a:pt x="33" y="428"/>
                  </a:lnTo>
                  <a:lnTo>
                    <a:pt x="34" y="427"/>
                  </a:lnTo>
                  <a:lnTo>
                    <a:pt x="34" y="426"/>
                  </a:lnTo>
                  <a:lnTo>
                    <a:pt x="35" y="426"/>
                  </a:lnTo>
                  <a:lnTo>
                    <a:pt x="35" y="425"/>
                  </a:lnTo>
                  <a:lnTo>
                    <a:pt x="36" y="425"/>
                  </a:lnTo>
                  <a:lnTo>
                    <a:pt x="36" y="425"/>
                  </a:lnTo>
                  <a:lnTo>
                    <a:pt x="36" y="424"/>
                  </a:lnTo>
                  <a:lnTo>
                    <a:pt x="35" y="424"/>
                  </a:lnTo>
                  <a:lnTo>
                    <a:pt x="35" y="424"/>
                  </a:lnTo>
                  <a:lnTo>
                    <a:pt x="34" y="424"/>
                  </a:lnTo>
                  <a:lnTo>
                    <a:pt x="32" y="423"/>
                  </a:lnTo>
                  <a:lnTo>
                    <a:pt x="30" y="423"/>
                  </a:lnTo>
                  <a:lnTo>
                    <a:pt x="29" y="423"/>
                  </a:lnTo>
                  <a:lnTo>
                    <a:pt x="27" y="423"/>
                  </a:lnTo>
                  <a:lnTo>
                    <a:pt x="25" y="422"/>
                  </a:lnTo>
                  <a:lnTo>
                    <a:pt x="21" y="421"/>
                  </a:lnTo>
                  <a:lnTo>
                    <a:pt x="18" y="420"/>
                  </a:lnTo>
                  <a:lnTo>
                    <a:pt x="15" y="419"/>
                  </a:lnTo>
                  <a:lnTo>
                    <a:pt x="15" y="419"/>
                  </a:lnTo>
                  <a:lnTo>
                    <a:pt x="14" y="419"/>
                  </a:lnTo>
                  <a:lnTo>
                    <a:pt x="14" y="418"/>
                  </a:lnTo>
                  <a:lnTo>
                    <a:pt x="13" y="418"/>
                  </a:lnTo>
                  <a:lnTo>
                    <a:pt x="13" y="418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3" y="416"/>
                  </a:lnTo>
                  <a:lnTo>
                    <a:pt x="13" y="415"/>
                  </a:lnTo>
                  <a:lnTo>
                    <a:pt x="13" y="413"/>
                  </a:lnTo>
                  <a:lnTo>
                    <a:pt x="13" y="412"/>
                  </a:lnTo>
                  <a:lnTo>
                    <a:pt x="13" y="411"/>
                  </a:lnTo>
                  <a:lnTo>
                    <a:pt x="12" y="408"/>
                  </a:lnTo>
                  <a:lnTo>
                    <a:pt x="12" y="407"/>
                  </a:lnTo>
                  <a:lnTo>
                    <a:pt x="12" y="406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4" y="403"/>
                  </a:lnTo>
                  <a:lnTo>
                    <a:pt x="14" y="402"/>
                  </a:lnTo>
                  <a:lnTo>
                    <a:pt x="15" y="402"/>
                  </a:lnTo>
                  <a:lnTo>
                    <a:pt x="15" y="402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3" y="404"/>
                  </a:lnTo>
                  <a:lnTo>
                    <a:pt x="24" y="404"/>
                  </a:lnTo>
                  <a:lnTo>
                    <a:pt x="25" y="404"/>
                  </a:lnTo>
                  <a:lnTo>
                    <a:pt x="25" y="404"/>
                  </a:lnTo>
                  <a:lnTo>
                    <a:pt x="25" y="403"/>
                  </a:lnTo>
                  <a:lnTo>
                    <a:pt x="26" y="403"/>
                  </a:lnTo>
                  <a:lnTo>
                    <a:pt x="26" y="403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8" y="397"/>
                  </a:lnTo>
                  <a:lnTo>
                    <a:pt x="29" y="396"/>
                  </a:lnTo>
                  <a:lnTo>
                    <a:pt x="29" y="395"/>
                  </a:lnTo>
                  <a:lnTo>
                    <a:pt x="29" y="394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0" y="389"/>
                  </a:lnTo>
                  <a:lnTo>
                    <a:pt x="31" y="386"/>
                  </a:lnTo>
                  <a:lnTo>
                    <a:pt x="32" y="384"/>
                  </a:lnTo>
                  <a:lnTo>
                    <a:pt x="32" y="382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80"/>
                  </a:lnTo>
                  <a:lnTo>
                    <a:pt x="31" y="377"/>
                  </a:lnTo>
                  <a:lnTo>
                    <a:pt x="30" y="375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3"/>
                  </a:lnTo>
                  <a:lnTo>
                    <a:pt x="30" y="371"/>
                  </a:lnTo>
                  <a:lnTo>
                    <a:pt x="30" y="370"/>
                  </a:lnTo>
                  <a:lnTo>
                    <a:pt x="30" y="369"/>
                  </a:lnTo>
                  <a:lnTo>
                    <a:pt x="31" y="368"/>
                  </a:lnTo>
                  <a:lnTo>
                    <a:pt x="31" y="367"/>
                  </a:lnTo>
                  <a:lnTo>
                    <a:pt x="32" y="366"/>
                  </a:lnTo>
                  <a:lnTo>
                    <a:pt x="33" y="365"/>
                  </a:lnTo>
                  <a:lnTo>
                    <a:pt x="33" y="364"/>
                  </a:lnTo>
                  <a:lnTo>
                    <a:pt x="36" y="361"/>
                  </a:lnTo>
                  <a:lnTo>
                    <a:pt x="38" y="358"/>
                  </a:lnTo>
                  <a:lnTo>
                    <a:pt x="39" y="357"/>
                  </a:lnTo>
                  <a:lnTo>
                    <a:pt x="39" y="356"/>
                  </a:lnTo>
                  <a:lnTo>
                    <a:pt x="39" y="356"/>
                  </a:lnTo>
                  <a:lnTo>
                    <a:pt x="40" y="355"/>
                  </a:lnTo>
                  <a:lnTo>
                    <a:pt x="40" y="353"/>
                  </a:lnTo>
                  <a:lnTo>
                    <a:pt x="41" y="352"/>
                  </a:lnTo>
                  <a:lnTo>
                    <a:pt x="41" y="350"/>
                  </a:lnTo>
                  <a:lnTo>
                    <a:pt x="41" y="348"/>
                  </a:lnTo>
                  <a:lnTo>
                    <a:pt x="41" y="347"/>
                  </a:lnTo>
                  <a:lnTo>
                    <a:pt x="41" y="346"/>
                  </a:lnTo>
                  <a:lnTo>
                    <a:pt x="40" y="342"/>
                  </a:lnTo>
                  <a:lnTo>
                    <a:pt x="40" y="341"/>
                  </a:lnTo>
                  <a:lnTo>
                    <a:pt x="40" y="340"/>
                  </a:lnTo>
                  <a:lnTo>
                    <a:pt x="40" y="339"/>
                  </a:lnTo>
                  <a:lnTo>
                    <a:pt x="39" y="338"/>
                  </a:lnTo>
                  <a:lnTo>
                    <a:pt x="39" y="338"/>
                  </a:lnTo>
                  <a:lnTo>
                    <a:pt x="38" y="337"/>
                  </a:lnTo>
                  <a:lnTo>
                    <a:pt x="38" y="336"/>
                  </a:lnTo>
                  <a:lnTo>
                    <a:pt x="37" y="336"/>
                  </a:lnTo>
                  <a:lnTo>
                    <a:pt x="36" y="335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4" y="334"/>
                  </a:lnTo>
                  <a:lnTo>
                    <a:pt x="31" y="334"/>
                  </a:lnTo>
                  <a:lnTo>
                    <a:pt x="30" y="333"/>
                  </a:lnTo>
                  <a:lnTo>
                    <a:pt x="29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7" y="333"/>
                  </a:lnTo>
                  <a:lnTo>
                    <a:pt x="27" y="333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1"/>
                  </a:lnTo>
                  <a:lnTo>
                    <a:pt x="27" y="330"/>
                  </a:lnTo>
                  <a:lnTo>
                    <a:pt x="28" y="328"/>
                  </a:lnTo>
                  <a:lnTo>
                    <a:pt x="28" y="327"/>
                  </a:lnTo>
                  <a:lnTo>
                    <a:pt x="28" y="326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8" y="324"/>
                  </a:lnTo>
                  <a:lnTo>
                    <a:pt x="27" y="321"/>
                  </a:lnTo>
                  <a:lnTo>
                    <a:pt x="26" y="321"/>
                  </a:lnTo>
                  <a:lnTo>
                    <a:pt x="26" y="320"/>
                  </a:lnTo>
                  <a:lnTo>
                    <a:pt x="26" y="317"/>
                  </a:lnTo>
                  <a:lnTo>
                    <a:pt x="26" y="316"/>
                  </a:lnTo>
                  <a:lnTo>
                    <a:pt x="25" y="315"/>
                  </a:lnTo>
                  <a:lnTo>
                    <a:pt x="25" y="314"/>
                  </a:lnTo>
                  <a:lnTo>
                    <a:pt x="24" y="314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7" y="305"/>
                  </a:lnTo>
                  <a:lnTo>
                    <a:pt x="16" y="304"/>
                  </a:lnTo>
                  <a:lnTo>
                    <a:pt x="15" y="302"/>
                  </a:lnTo>
                  <a:lnTo>
                    <a:pt x="15" y="300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12" y="294"/>
                  </a:lnTo>
                  <a:lnTo>
                    <a:pt x="12" y="293"/>
                  </a:lnTo>
                  <a:lnTo>
                    <a:pt x="12" y="292"/>
                  </a:lnTo>
                  <a:lnTo>
                    <a:pt x="11" y="291"/>
                  </a:lnTo>
                  <a:lnTo>
                    <a:pt x="9" y="288"/>
                  </a:lnTo>
                  <a:lnTo>
                    <a:pt x="8" y="287"/>
                  </a:lnTo>
                  <a:lnTo>
                    <a:pt x="8" y="286"/>
                  </a:lnTo>
                  <a:lnTo>
                    <a:pt x="8" y="285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6"/>
                  </a:lnTo>
                  <a:lnTo>
                    <a:pt x="9" y="275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2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8"/>
                  </a:lnTo>
                  <a:lnTo>
                    <a:pt x="13" y="267"/>
                  </a:lnTo>
                  <a:lnTo>
                    <a:pt x="13" y="266"/>
                  </a:lnTo>
                  <a:lnTo>
                    <a:pt x="13" y="266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2" y="260"/>
                  </a:lnTo>
                  <a:lnTo>
                    <a:pt x="12" y="258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7"/>
                  </a:lnTo>
                  <a:lnTo>
                    <a:pt x="10" y="246"/>
                  </a:lnTo>
                  <a:lnTo>
                    <a:pt x="9" y="241"/>
                  </a:lnTo>
                  <a:lnTo>
                    <a:pt x="7" y="236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5" y="230"/>
                  </a:lnTo>
                  <a:lnTo>
                    <a:pt x="4" y="225"/>
                  </a:lnTo>
                  <a:lnTo>
                    <a:pt x="4" y="223"/>
                  </a:lnTo>
                  <a:lnTo>
                    <a:pt x="3" y="220"/>
                  </a:lnTo>
                  <a:lnTo>
                    <a:pt x="1" y="216"/>
                  </a:lnTo>
                  <a:lnTo>
                    <a:pt x="1" y="215"/>
                  </a:lnTo>
                  <a:lnTo>
                    <a:pt x="1" y="214"/>
                  </a:lnTo>
                  <a:lnTo>
                    <a:pt x="0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1" y="210"/>
                  </a:lnTo>
                  <a:lnTo>
                    <a:pt x="1" y="210"/>
                  </a:lnTo>
                  <a:lnTo>
                    <a:pt x="2" y="210"/>
                  </a:lnTo>
                  <a:lnTo>
                    <a:pt x="2" y="210"/>
                  </a:lnTo>
                  <a:lnTo>
                    <a:pt x="3" y="209"/>
                  </a:lnTo>
                  <a:lnTo>
                    <a:pt x="4" y="209"/>
                  </a:lnTo>
                  <a:lnTo>
                    <a:pt x="5" y="209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0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3" y="205"/>
                  </a:lnTo>
                  <a:lnTo>
                    <a:pt x="14" y="204"/>
                  </a:lnTo>
                  <a:lnTo>
                    <a:pt x="15" y="203"/>
                  </a:lnTo>
                  <a:lnTo>
                    <a:pt x="15" y="202"/>
                  </a:lnTo>
                  <a:lnTo>
                    <a:pt x="18" y="199"/>
                  </a:lnTo>
                  <a:lnTo>
                    <a:pt x="19" y="198"/>
                  </a:lnTo>
                  <a:lnTo>
                    <a:pt x="22" y="196"/>
                  </a:lnTo>
                  <a:lnTo>
                    <a:pt x="23" y="194"/>
                  </a:lnTo>
                  <a:lnTo>
                    <a:pt x="24" y="194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2"/>
                  </a:lnTo>
                  <a:lnTo>
                    <a:pt x="26" y="191"/>
                  </a:lnTo>
                  <a:lnTo>
                    <a:pt x="26" y="190"/>
                  </a:lnTo>
                  <a:lnTo>
                    <a:pt x="27" y="189"/>
                  </a:lnTo>
                  <a:lnTo>
                    <a:pt x="27" y="188"/>
                  </a:lnTo>
                  <a:lnTo>
                    <a:pt x="27" y="187"/>
                  </a:lnTo>
                  <a:lnTo>
                    <a:pt x="27" y="185"/>
                  </a:lnTo>
                  <a:lnTo>
                    <a:pt x="26" y="182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0"/>
                  </a:lnTo>
                  <a:lnTo>
                    <a:pt x="27" y="169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6"/>
                  </a:lnTo>
                  <a:lnTo>
                    <a:pt x="27" y="162"/>
                  </a:lnTo>
                  <a:lnTo>
                    <a:pt x="27" y="161"/>
                  </a:lnTo>
                  <a:lnTo>
                    <a:pt x="27" y="160"/>
                  </a:lnTo>
                  <a:lnTo>
                    <a:pt x="27" y="159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30" y="150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4" y="143"/>
                  </a:lnTo>
                  <a:lnTo>
                    <a:pt x="36" y="135"/>
                  </a:lnTo>
                  <a:lnTo>
                    <a:pt x="38" y="132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40" y="125"/>
                  </a:lnTo>
                  <a:lnTo>
                    <a:pt x="40" y="123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4" y="114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9" y="108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5" y="105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3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1"/>
                  </a:lnTo>
                  <a:lnTo>
                    <a:pt x="69" y="100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6" y="99"/>
                  </a:lnTo>
                  <a:lnTo>
                    <a:pt x="79" y="102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1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3"/>
                  </a:lnTo>
                  <a:lnTo>
                    <a:pt x="85" y="103"/>
                  </a:lnTo>
                  <a:lnTo>
                    <a:pt x="85" y="102"/>
                  </a:lnTo>
                  <a:lnTo>
                    <a:pt x="86" y="102"/>
                  </a:lnTo>
                  <a:lnTo>
                    <a:pt x="86" y="101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6" y="97"/>
                  </a:lnTo>
                  <a:lnTo>
                    <a:pt x="85" y="94"/>
                  </a:lnTo>
                  <a:lnTo>
                    <a:pt x="85" y="92"/>
                  </a:lnTo>
                  <a:lnTo>
                    <a:pt x="84" y="91"/>
                  </a:lnTo>
                  <a:lnTo>
                    <a:pt x="84" y="89"/>
                  </a:lnTo>
                  <a:lnTo>
                    <a:pt x="84" y="88"/>
                  </a:lnTo>
                  <a:lnTo>
                    <a:pt x="84" y="87"/>
                  </a:lnTo>
                  <a:lnTo>
                    <a:pt x="85" y="83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5" y="78"/>
                  </a:lnTo>
                  <a:lnTo>
                    <a:pt x="84" y="77"/>
                  </a:lnTo>
                  <a:lnTo>
                    <a:pt x="84" y="75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79" y="68"/>
                  </a:lnTo>
                  <a:lnTo>
                    <a:pt x="78" y="67"/>
                  </a:lnTo>
                  <a:lnTo>
                    <a:pt x="77" y="66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68" y="62"/>
                  </a:lnTo>
                  <a:lnTo>
                    <a:pt x="67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1" y="54"/>
                  </a:lnTo>
                  <a:lnTo>
                    <a:pt x="59" y="49"/>
                  </a:lnTo>
                  <a:lnTo>
                    <a:pt x="57" y="44"/>
                  </a:lnTo>
                  <a:lnTo>
                    <a:pt x="56" y="42"/>
                  </a:lnTo>
                  <a:lnTo>
                    <a:pt x="55" y="40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3" y="32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8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4" y="6"/>
                  </a:lnTo>
                  <a:lnTo>
                    <a:pt x="45" y="5"/>
                  </a:lnTo>
                  <a:lnTo>
                    <a:pt x="46" y="4"/>
                  </a:lnTo>
                  <a:lnTo>
                    <a:pt x="47" y="3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9" y="5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0" y="12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6" y="14"/>
                  </a:lnTo>
                  <a:lnTo>
                    <a:pt x="92" y="16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8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3" y="22"/>
                  </a:lnTo>
                  <a:lnTo>
                    <a:pt x="113" y="23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5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8" y="31"/>
                  </a:lnTo>
                  <a:lnTo>
                    <a:pt x="140" y="35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3" y="40"/>
                  </a:lnTo>
                  <a:lnTo>
                    <a:pt x="144" y="41"/>
                  </a:lnTo>
                  <a:lnTo>
                    <a:pt x="145" y="43"/>
                  </a:lnTo>
                  <a:lnTo>
                    <a:pt x="146" y="44"/>
                  </a:lnTo>
                  <a:lnTo>
                    <a:pt x="147" y="45"/>
                  </a:lnTo>
                  <a:lnTo>
                    <a:pt x="148" y="46"/>
                  </a:lnTo>
                  <a:lnTo>
                    <a:pt x="149" y="47"/>
                  </a:lnTo>
                  <a:lnTo>
                    <a:pt x="151" y="49"/>
                  </a:lnTo>
                  <a:lnTo>
                    <a:pt x="153" y="50"/>
                  </a:lnTo>
                  <a:lnTo>
                    <a:pt x="154" y="51"/>
                  </a:lnTo>
                  <a:lnTo>
                    <a:pt x="155" y="52"/>
                  </a:lnTo>
                  <a:lnTo>
                    <a:pt x="156" y="52"/>
                  </a:lnTo>
                  <a:lnTo>
                    <a:pt x="158" y="53"/>
                  </a:lnTo>
                  <a:lnTo>
                    <a:pt x="160" y="54"/>
                  </a:lnTo>
                  <a:lnTo>
                    <a:pt x="161" y="54"/>
                  </a:lnTo>
                  <a:lnTo>
                    <a:pt x="162" y="55"/>
                  </a:lnTo>
                  <a:lnTo>
                    <a:pt x="163" y="55"/>
                  </a:lnTo>
                  <a:lnTo>
                    <a:pt x="164" y="55"/>
                  </a:lnTo>
                  <a:lnTo>
                    <a:pt x="165" y="55"/>
                  </a:lnTo>
                  <a:lnTo>
                    <a:pt x="166" y="56"/>
                  </a:lnTo>
                  <a:lnTo>
                    <a:pt x="167" y="56"/>
                  </a:lnTo>
                  <a:lnTo>
                    <a:pt x="169" y="56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Freeform 35">
              <a:extLst>
                <a:ext uri="{FF2B5EF4-FFF2-40B4-BE49-F238E27FC236}">
                  <a16:creationId xmlns:a16="http://schemas.microsoft.com/office/drawing/2014/main" id="{0F49A5AF-1099-8F89-CCF8-DEFA5AC8B8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5" y="3194"/>
              <a:ext cx="334" cy="487"/>
            </a:xfrm>
            <a:custGeom>
              <a:avLst/>
              <a:gdLst>
                <a:gd name="T0" fmla="*/ 152 w 334"/>
                <a:gd name="T1" fmla="*/ 7 h 487"/>
                <a:gd name="T2" fmla="*/ 155 w 334"/>
                <a:gd name="T3" fmla="*/ 25 h 487"/>
                <a:gd name="T4" fmla="*/ 171 w 334"/>
                <a:gd name="T5" fmla="*/ 23 h 487"/>
                <a:gd name="T6" fmla="*/ 175 w 334"/>
                <a:gd name="T7" fmla="*/ 47 h 487"/>
                <a:gd name="T8" fmla="*/ 162 w 334"/>
                <a:gd name="T9" fmla="*/ 51 h 487"/>
                <a:gd name="T10" fmla="*/ 140 w 334"/>
                <a:gd name="T11" fmla="*/ 69 h 487"/>
                <a:gd name="T12" fmla="*/ 123 w 334"/>
                <a:gd name="T13" fmla="*/ 96 h 487"/>
                <a:gd name="T14" fmla="*/ 118 w 334"/>
                <a:gd name="T15" fmla="*/ 127 h 487"/>
                <a:gd name="T16" fmla="*/ 102 w 334"/>
                <a:gd name="T17" fmla="*/ 158 h 487"/>
                <a:gd name="T18" fmla="*/ 112 w 334"/>
                <a:gd name="T19" fmla="*/ 174 h 487"/>
                <a:gd name="T20" fmla="*/ 104 w 334"/>
                <a:gd name="T21" fmla="*/ 193 h 487"/>
                <a:gd name="T22" fmla="*/ 102 w 334"/>
                <a:gd name="T23" fmla="*/ 212 h 487"/>
                <a:gd name="T24" fmla="*/ 119 w 334"/>
                <a:gd name="T25" fmla="*/ 219 h 487"/>
                <a:gd name="T26" fmla="*/ 120 w 334"/>
                <a:gd name="T27" fmla="*/ 232 h 487"/>
                <a:gd name="T28" fmla="*/ 138 w 334"/>
                <a:gd name="T29" fmla="*/ 226 h 487"/>
                <a:gd name="T30" fmla="*/ 161 w 334"/>
                <a:gd name="T31" fmla="*/ 215 h 487"/>
                <a:gd name="T32" fmla="*/ 164 w 334"/>
                <a:gd name="T33" fmla="*/ 234 h 487"/>
                <a:gd name="T34" fmla="*/ 173 w 334"/>
                <a:gd name="T35" fmla="*/ 239 h 487"/>
                <a:gd name="T36" fmla="*/ 184 w 334"/>
                <a:gd name="T37" fmla="*/ 228 h 487"/>
                <a:gd name="T38" fmla="*/ 192 w 334"/>
                <a:gd name="T39" fmla="*/ 222 h 487"/>
                <a:gd name="T40" fmla="*/ 195 w 334"/>
                <a:gd name="T41" fmla="*/ 210 h 487"/>
                <a:gd name="T42" fmla="*/ 204 w 334"/>
                <a:gd name="T43" fmla="*/ 234 h 487"/>
                <a:gd name="T44" fmla="*/ 214 w 334"/>
                <a:gd name="T45" fmla="*/ 252 h 487"/>
                <a:gd name="T46" fmla="*/ 238 w 334"/>
                <a:gd name="T47" fmla="*/ 263 h 487"/>
                <a:gd name="T48" fmla="*/ 260 w 334"/>
                <a:gd name="T49" fmla="*/ 258 h 487"/>
                <a:gd name="T50" fmla="*/ 262 w 334"/>
                <a:gd name="T51" fmla="*/ 280 h 487"/>
                <a:gd name="T52" fmla="*/ 269 w 334"/>
                <a:gd name="T53" fmla="*/ 298 h 487"/>
                <a:gd name="T54" fmla="*/ 280 w 334"/>
                <a:gd name="T55" fmla="*/ 298 h 487"/>
                <a:gd name="T56" fmla="*/ 302 w 334"/>
                <a:gd name="T57" fmla="*/ 320 h 487"/>
                <a:gd name="T58" fmla="*/ 315 w 334"/>
                <a:gd name="T59" fmla="*/ 345 h 487"/>
                <a:gd name="T60" fmla="*/ 323 w 334"/>
                <a:gd name="T61" fmla="*/ 347 h 487"/>
                <a:gd name="T62" fmla="*/ 334 w 334"/>
                <a:gd name="T63" fmla="*/ 358 h 487"/>
                <a:gd name="T64" fmla="*/ 325 w 334"/>
                <a:gd name="T65" fmla="*/ 369 h 487"/>
                <a:gd name="T66" fmla="*/ 309 w 334"/>
                <a:gd name="T67" fmla="*/ 373 h 487"/>
                <a:gd name="T68" fmla="*/ 298 w 334"/>
                <a:gd name="T69" fmla="*/ 392 h 487"/>
                <a:gd name="T70" fmla="*/ 280 w 334"/>
                <a:gd name="T71" fmla="*/ 406 h 487"/>
                <a:gd name="T72" fmla="*/ 264 w 334"/>
                <a:gd name="T73" fmla="*/ 398 h 487"/>
                <a:gd name="T74" fmla="*/ 253 w 334"/>
                <a:gd name="T75" fmla="*/ 402 h 487"/>
                <a:gd name="T76" fmla="*/ 254 w 334"/>
                <a:gd name="T77" fmla="*/ 415 h 487"/>
                <a:gd name="T78" fmla="*/ 244 w 334"/>
                <a:gd name="T79" fmla="*/ 425 h 487"/>
                <a:gd name="T80" fmla="*/ 224 w 334"/>
                <a:gd name="T81" fmla="*/ 424 h 487"/>
                <a:gd name="T82" fmla="*/ 212 w 334"/>
                <a:gd name="T83" fmla="*/ 436 h 487"/>
                <a:gd name="T84" fmla="*/ 196 w 334"/>
                <a:gd name="T85" fmla="*/ 438 h 487"/>
                <a:gd name="T86" fmla="*/ 175 w 334"/>
                <a:gd name="T87" fmla="*/ 433 h 487"/>
                <a:gd name="T88" fmla="*/ 168 w 334"/>
                <a:gd name="T89" fmla="*/ 424 h 487"/>
                <a:gd name="T90" fmla="*/ 165 w 334"/>
                <a:gd name="T91" fmla="*/ 445 h 487"/>
                <a:gd name="T92" fmla="*/ 157 w 334"/>
                <a:gd name="T93" fmla="*/ 462 h 487"/>
                <a:gd name="T94" fmla="*/ 134 w 334"/>
                <a:gd name="T95" fmla="*/ 476 h 487"/>
                <a:gd name="T96" fmla="*/ 113 w 334"/>
                <a:gd name="T97" fmla="*/ 487 h 487"/>
                <a:gd name="T98" fmla="*/ 102 w 334"/>
                <a:gd name="T99" fmla="*/ 465 h 487"/>
                <a:gd name="T100" fmla="*/ 76 w 334"/>
                <a:gd name="T101" fmla="*/ 451 h 487"/>
                <a:gd name="T102" fmla="*/ 76 w 334"/>
                <a:gd name="T103" fmla="*/ 431 h 487"/>
                <a:gd name="T104" fmla="*/ 70 w 334"/>
                <a:gd name="T105" fmla="*/ 433 h 487"/>
                <a:gd name="T106" fmla="*/ 58 w 334"/>
                <a:gd name="T107" fmla="*/ 418 h 487"/>
                <a:gd name="T108" fmla="*/ 47 w 334"/>
                <a:gd name="T109" fmla="*/ 396 h 487"/>
                <a:gd name="T110" fmla="*/ 28 w 334"/>
                <a:gd name="T111" fmla="*/ 387 h 487"/>
                <a:gd name="T112" fmla="*/ 21 w 334"/>
                <a:gd name="T113" fmla="*/ 399 h 487"/>
                <a:gd name="T114" fmla="*/ 32 w 334"/>
                <a:gd name="T115" fmla="*/ 417 h 487"/>
                <a:gd name="T116" fmla="*/ 18 w 334"/>
                <a:gd name="T117" fmla="*/ 437 h 487"/>
                <a:gd name="T118" fmla="*/ 0 w 334"/>
                <a:gd name="T119" fmla="*/ 424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4" h="487">
                  <a:moveTo>
                    <a:pt x="138" y="2"/>
                  </a:moveTo>
                  <a:lnTo>
                    <a:pt x="139" y="1"/>
                  </a:lnTo>
                  <a:lnTo>
                    <a:pt x="140" y="1"/>
                  </a:lnTo>
                  <a:lnTo>
                    <a:pt x="141" y="1"/>
                  </a:lnTo>
                  <a:lnTo>
                    <a:pt x="145" y="0"/>
                  </a:lnTo>
                  <a:lnTo>
                    <a:pt x="146" y="0"/>
                  </a:lnTo>
                  <a:lnTo>
                    <a:pt x="147" y="0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9" y="1"/>
                  </a:lnTo>
                  <a:lnTo>
                    <a:pt x="150" y="1"/>
                  </a:lnTo>
                  <a:lnTo>
                    <a:pt x="150" y="2"/>
                  </a:lnTo>
                  <a:lnTo>
                    <a:pt x="151" y="4"/>
                  </a:lnTo>
                  <a:lnTo>
                    <a:pt x="152" y="7"/>
                  </a:lnTo>
                  <a:lnTo>
                    <a:pt x="152" y="8"/>
                  </a:lnTo>
                  <a:lnTo>
                    <a:pt x="152" y="8"/>
                  </a:lnTo>
                  <a:lnTo>
                    <a:pt x="152" y="9"/>
                  </a:lnTo>
                  <a:lnTo>
                    <a:pt x="152" y="10"/>
                  </a:lnTo>
                  <a:lnTo>
                    <a:pt x="151" y="18"/>
                  </a:lnTo>
                  <a:lnTo>
                    <a:pt x="151" y="19"/>
                  </a:lnTo>
                  <a:lnTo>
                    <a:pt x="152" y="20"/>
                  </a:lnTo>
                  <a:lnTo>
                    <a:pt x="152" y="22"/>
                  </a:lnTo>
                  <a:lnTo>
                    <a:pt x="152" y="23"/>
                  </a:lnTo>
                  <a:lnTo>
                    <a:pt x="153" y="23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5"/>
                  </a:lnTo>
                  <a:lnTo>
                    <a:pt x="155" y="25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8" y="23"/>
                  </a:lnTo>
                  <a:lnTo>
                    <a:pt x="159" y="22"/>
                  </a:lnTo>
                  <a:lnTo>
                    <a:pt x="159" y="22"/>
                  </a:lnTo>
                  <a:lnTo>
                    <a:pt x="160" y="21"/>
                  </a:lnTo>
                  <a:lnTo>
                    <a:pt x="161" y="21"/>
                  </a:lnTo>
                  <a:lnTo>
                    <a:pt x="161" y="21"/>
                  </a:lnTo>
                  <a:lnTo>
                    <a:pt x="163" y="21"/>
                  </a:lnTo>
                  <a:lnTo>
                    <a:pt x="163" y="20"/>
                  </a:lnTo>
                  <a:lnTo>
                    <a:pt x="164" y="20"/>
                  </a:lnTo>
                  <a:lnTo>
                    <a:pt x="166" y="21"/>
                  </a:lnTo>
                  <a:lnTo>
                    <a:pt x="167" y="21"/>
                  </a:lnTo>
                  <a:lnTo>
                    <a:pt x="168" y="21"/>
                  </a:lnTo>
                  <a:lnTo>
                    <a:pt x="169" y="22"/>
                  </a:lnTo>
                  <a:lnTo>
                    <a:pt x="170" y="22"/>
                  </a:lnTo>
                  <a:lnTo>
                    <a:pt x="171" y="23"/>
                  </a:lnTo>
                  <a:lnTo>
                    <a:pt x="172" y="23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4" y="25"/>
                  </a:lnTo>
                  <a:lnTo>
                    <a:pt x="175" y="26"/>
                  </a:lnTo>
                  <a:lnTo>
                    <a:pt x="175" y="27"/>
                  </a:lnTo>
                  <a:lnTo>
                    <a:pt x="176" y="28"/>
                  </a:lnTo>
                  <a:lnTo>
                    <a:pt x="176" y="28"/>
                  </a:lnTo>
                  <a:lnTo>
                    <a:pt x="177" y="29"/>
                  </a:lnTo>
                  <a:lnTo>
                    <a:pt x="177" y="30"/>
                  </a:lnTo>
                  <a:lnTo>
                    <a:pt x="177" y="31"/>
                  </a:lnTo>
                  <a:lnTo>
                    <a:pt x="177" y="31"/>
                  </a:lnTo>
                  <a:lnTo>
                    <a:pt x="177" y="40"/>
                  </a:lnTo>
                  <a:lnTo>
                    <a:pt x="176" y="43"/>
                  </a:lnTo>
                  <a:lnTo>
                    <a:pt x="176" y="44"/>
                  </a:lnTo>
                  <a:lnTo>
                    <a:pt x="176" y="46"/>
                  </a:lnTo>
                  <a:lnTo>
                    <a:pt x="175" y="47"/>
                  </a:lnTo>
                  <a:lnTo>
                    <a:pt x="175" y="48"/>
                  </a:lnTo>
                  <a:lnTo>
                    <a:pt x="175" y="49"/>
                  </a:lnTo>
                  <a:lnTo>
                    <a:pt x="174" y="50"/>
                  </a:lnTo>
                  <a:lnTo>
                    <a:pt x="174" y="50"/>
                  </a:lnTo>
                  <a:lnTo>
                    <a:pt x="173" y="50"/>
                  </a:lnTo>
                  <a:lnTo>
                    <a:pt x="173" y="51"/>
                  </a:lnTo>
                  <a:lnTo>
                    <a:pt x="172" y="51"/>
                  </a:lnTo>
                  <a:lnTo>
                    <a:pt x="171" y="51"/>
                  </a:lnTo>
                  <a:lnTo>
                    <a:pt x="170" y="51"/>
                  </a:lnTo>
                  <a:lnTo>
                    <a:pt x="170" y="51"/>
                  </a:lnTo>
                  <a:lnTo>
                    <a:pt x="168" y="51"/>
                  </a:lnTo>
                  <a:lnTo>
                    <a:pt x="167" y="51"/>
                  </a:lnTo>
                  <a:lnTo>
                    <a:pt x="166" y="50"/>
                  </a:lnTo>
                  <a:lnTo>
                    <a:pt x="164" y="50"/>
                  </a:lnTo>
                  <a:lnTo>
                    <a:pt x="163" y="50"/>
                  </a:lnTo>
                  <a:lnTo>
                    <a:pt x="163" y="50"/>
                  </a:lnTo>
                  <a:lnTo>
                    <a:pt x="162" y="51"/>
                  </a:lnTo>
                  <a:lnTo>
                    <a:pt x="162" y="51"/>
                  </a:lnTo>
                  <a:lnTo>
                    <a:pt x="160" y="52"/>
                  </a:lnTo>
                  <a:lnTo>
                    <a:pt x="159" y="53"/>
                  </a:lnTo>
                  <a:lnTo>
                    <a:pt x="158" y="55"/>
                  </a:lnTo>
                  <a:lnTo>
                    <a:pt x="154" y="59"/>
                  </a:lnTo>
                  <a:lnTo>
                    <a:pt x="153" y="60"/>
                  </a:lnTo>
                  <a:lnTo>
                    <a:pt x="152" y="61"/>
                  </a:lnTo>
                  <a:lnTo>
                    <a:pt x="151" y="61"/>
                  </a:lnTo>
                  <a:lnTo>
                    <a:pt x="150" y="62"/>
                  </a:lnTo>
                  <a:lnTo>
                    <a:pt x="149" y="62"/>
                  </a:lnTo>
                  <a:lnTo>
                    <a:pt x="147" y="63"/>
                  </a:lnTo>
                  <a:lnTo>
                    <a:pt x="146" y="64"/>
                  </a:lnTo>
                  <a:lnTo>
                    <a:pt x="145" y="64"/>
                  </a:lnTo>
                  <a:lnTo>
                    <a:pt x="144" y="65"/>
                  </a:lnTo>
                  <a:lnTo>
                    <a:pt x="143" y="66"/>
                  </a:lnTo>
                  <a:lnTo>
                    <a:pt x="142" y="66"/>
                  </a:lnTo>
                  <a:lnTo>
                    <a:pt x="140" y="69"/>
                  </a:lnTo>
                  <a:lnTo>
                    <a:pt x="139" y="69"/>
                  </a:lnTo>
                  <a:lnTo>
                    <a:pt x="138" y="70"/>
                  </a:lnTo>
                  <a:lnTo>
                    <a:pt x="136" y="72"/>
                  </a:lnTo>
                  <a:lnTo>
                    <a:pt x="135" y="72"/>
                  </a:lnTo>
                  <a:lnTo>
                    <a:pt x="134" y="74"/>
                  </a:lnTo>
                  <a:lnTo>
                    <a:pt x="132" y="76"/>
                  </a:lnTo>
                  <a:lnTo>
                    <a:pt x="127" y="82"/>
                  </a:lnTo>
                  <a:lnTo>
                    <a:pt x="125" y="84"/>
                  </a:lnTo>
                  <a:lnTo>
                    <a:pt x="125" y="85"/>
                  </a:lnTo>
                  <a:lnTo>
                    <a:pt x="124" y="86"/>
                  </a:lnTo>
                  <a:lnTo>
                    <a:pt x="124" y="87"/>
                  </a:lnTo>
                  <a:lnTo>
                    <a:pt x="124" y="88"/>
                  </a:lnTo>
                  <a:lnTo>
                    <a:pt x="124" y="91"/>
                  </a:lnTo>
                  <a:lnTo>
                    <a:pt x="123" y="93"/>
                  </a:lnTo>
                  <a:lnTo>
                    <a:pt x="123" y="94"/>
                  </a:lnTo>
                  <a:lnTo>
                    <a:pt x="123" y="95"/>
                  </a:lnTo>
                  <a:lnTo>
                    <a:pt x="123" y="96"/>
                  </a:lnTo>
                  <a:lnTo>
                    <a:pt x="122" y="97"/>
                  </a:lnTo>
                  <a:lnTo>
                    <a:pt x="121" y="101"/>
                  </a:lnTo>
                  <a:lnTo>
                    <a:pt x="120" y="102"/>
                  </a:lnTo>
                  <a:lnTo>
                    <a:pt x="120" y="103"/>
                  </a:lnTo>
                  <a:lnTo>
                    <a:pt x="119" y="104"/>
                  </a:lnTo>
                  <a:lnTo>
                    <a:pt x="119" y="106"/>
                  </a:lnTo>
                  <a:lnTo>
                    <a:pt x="119" y="107"/>
                  </a:lnTo>
                  <a:lnTo>
                    <a:pt x="120" y="112"/>
                  </a:lnTo>
                  <a:lnTo>
                    <a:pt x="120" y="116"/>
                  </a:lnTo>
                  <a:lnTo>
                    <a:pt x="120" y="118"/>
                  </a:lnTo>
                  <a:lnTo>
                    <a:pt x="120" y="120"/>
                  </a:lnTo>
                  <a:lnTo>
                    <a:pt x="120" y="121"/>
                  </a:lnTo>
                  <a:lnTo>
                    <a:pt x="119" y="122"/>
                  </a:lnTo>
                  <a:lnTo>
                    <a:pt x="119" y="124"/>
                  </a:lnTo>
                  <a:lnTo>
                    <a:pt x="119" y="125"/>
                  </a:lnTo>
                  <a:lnTo>
                    <a:pt x="118" y="126"/>
                  </a:lnTo>
                  <a:lnTo>
                    <a:pt x="118" y="127"/>
                  </a:lnTo>
                  <a:lnTo>
                    <a:pt x="117" y="128"/>
                  </a:lnTo>
                  <a:lnTo>
                    <a:pt x="116" y="130"/>
                  </a:lnTo>
                  <a:lnTo>
                    <a:pt x="115" y="130"/>
                  </a:lnTo>
                  <a:lnTo>
                    <a:pt x="110" y="137"/>
                  </a:lnTo>
                  <a:lnTo>
                    <a:pt x="109" y="138"/>
                  </a:lnTo>
                  <a:lnTo>
                    <a:pt x="108" y="140"/>
                  </a:lnTo>
                  <a:lnTo>
                    <a:pt x="107" y="141"/>
                  </a:lnTo>
                  <a:lnTo>
                    <a:pt x="106" y="143"/>
                  </a:lnTo>
                  <a:lnTo>
                    <a:pt x="105" y="145"/>
                  </a:lnTo>
                  <a:lnTo>
                    <a:pt x="104" y="146"/>
                  </a:lnTo>
                  <a:lnTo>
                    <a:pt x="104" y="147"/>
                  </a:lnTo>
                  <a:lnTo>
                    <a:pt x="104" y="148"/>
                  </a:lnTo>
                  <a:lnTo>
                    <a:pt x="104" y="149"/>
                  </a:lnTo>
                  <a:lnTo>
                    <a:pt x="103" y="150"/>
                  </a:lnTo>
                  <a:lnTo>
                    <a:pt x="103" y="154"/>
                  </a:lnTo>
                  <a:lnTo>
                    <a:pt x="102" y="158"/>
                  </a:lnTo>
                  <a:lnTo>
                    <a:pt x="102" y="158"/>
                  </a:lnTo>
                  <a:lnTo>
                    <a:pt x="102" y="159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5" y="164"/>
                  </a:lnTo>
                  <a:lnTo>
                    <a:pt x="109" y="168"/>
                  </a:lnTo>
                  <a:lnTo>
                    <a:pt x="110" y="169"/>
                  </a:lnTo>
                  <a:lnTo>
                    <a:pt x="110" y="170"/>
                  </a:lnTo>
                  <a:lnTo>
                    <a:pt x="111" y="170"/>
                  </a:lnTo>
                  <a:lnTo>
                    <a:pt x="111" y="171"/>
                  </a:lnTo>
                  <a:lnTo>
                    <a:pt x="111" y="172"/>
                  </a:lnTo>
                  <a:lnTo>
                    <a:pt x="112" y="172"/>
                  </a:lnTo>
                  <a:lnTo>
                    <a:pt x="112" y="173"/>
                  </a:lnTo>
                  <a:lnTo>
                    <a:pt x="112" y="174"/>
                  </a:lnTo>
                  <a:lnTo>
                    <a:pt x="112" y="174"/>
                  </a:lnTo>
                  <a:lnTo>
                    <a:pt x="112" y="175"/>
                  </a:lnTo>
                  <a:lnTo>
                    <a:pt x="112" y="176"/>
                  </a:lnTo>
                  <a:lnTo>
                    <a:pt x="112" y="177"/>
                  </a:lnTo>
                  <a:lnTo>
                    <a:pt x="111" y="178"/>
                  </a:lnTo>
                  <a:lnTo>
                    <a:pt x="110" y="179"/>
                  </a:lnTo>
                  <a:lnTo>
                    <a:pt x="110" y="180"/>
                  </a:lnTo>
                  <a:lnTo>
                    <a:pt x="109" y="181"/>
                  </a:lnTo>
                  <a:lnTo>
                    <a:pt x="107" y="184"/>
                  </a:lnTo>
                  <a:lnTo>
                    <a:pt x="106" y="186"/>
                  </a:lnTo>
                  <a:lnTo>
                    <a:pt x="105" y="188"/>
                  </a:lnTo>
                  <a:lnTo>
                    <a:pt x="104" y="188"/>
                  </a:lnTo>
                  <a:lnTo>
                    <a:pt x="104" y="189"/>
                  </a:lnTo>
                  <a:lnTo>
                    <a:pt x="104" y="189"/>
                  </a:lnTo>
                  <a:lnTo>
                    <a:pt x="104" y="190"/>
                  </a:lnTo>
                  <a:lnTo>
                    <a:pt x="104" y="191"/>
                  </a:lnTo>
                  <a:lnTo>
                    <a:pt x="104" y="193"/>
                  </a:lnTo>
                  <a:lnTo>
                    <a:pt x="104" y="194"/>
                  </a:lnTo>
                  <a:lnTo>
                    <a:pt x="104" y="195"/>
                  </a:lnTo>
                  <a:lnTo>
                    <a:pt x="103" y="196"/>
                  </a:lnTo>
                  <a:lnTo>
                    <a:pt x="103" y="197"/>
                  </a:lnTo>
                  <a:lnTo>
                    <a:pt x="102" y="199"/>
                  </a:lnTo>
                  <a:lnTo>
                    <a:pt x="101" y="202"/>
                  </a:lnTo>
                  <a:lnTo>
                    <a:pt x="100" y="203"/>
                  </a:lnTo>
                  <a:lnTo>
                    <a:pt x="100" y="204"/>
                  </a:lnTo>
                  <a:lnTo>
                    <a:pt x="100" y="205"/>
                  </a:lnTo>
                  <a:lnTo>
                    <a:pt x="100" y="206"/>
                  </a:lnTo>
                  <a:lnTo>
                    <a:pt x="100" y="207"/>
                  </a:lnTo>
                  <a:lnTo>
                    <a:pt x="100" y="207"/>
                  </a:lnTo>
                  <a:lnTo>
                    <a:pt x="100" y="208"/>
                  </a:lnTo>
                  <a:lnTo>
                    <a:pt x="100" y="208"/>
                  </a:lnTo>
                  <a:lnTo>
                    <a:pt x="100" y="209"/>
                  </a:lnTo>
                  <a:lnTo>
                    <a:pt x="101" y="211"/>
                  </a:lnTo>
                  <a:lnTo>
                    <a:pt x="102" y="212"/>
                  </a:lnTo>
                  <a:lnTo>
                    <a:pt x="103" y="213"/>
                  </a:lnTo>
                  <a:lnTo>
                    <a:pt x="103" y="213"/>
                  </a:lnTo>
                  <a:lnTo>
                    <a:pt x="105" y="215"/>
                  </a:lnTo>
                  <a:lnTo>
                    <a:pt x="106" y="218"/>
                  </a:lnTo>
                  <a:lnTo>
                    <a:pt x="107" y="218"/>
                  </a:lnTo>
                  <a:lnTo>
                    <a:pt x="108" y="219"/>
                  </a:lnTo>
                  <a:lnTo>
                    <a:pt x="109" y="220"/>
                  </a:lnTo>
                  <a:lnTo>
                    <a:pt x="109" y="220"/>
                  </a:lnTo>
                  <a:lnTo>
                    <a:pt x="110" y="220"/>
                  </a:lnTo>
                  <a:lnTo>
                    <a:pt x="110" y="221"/>
                  </a:lnTo>
                  <a:lnTo>
                    <a:pt x="111" y="221"/>
                  </a:lnTo>
                  <a:lnTo>
                    <a:pt x="112" y="221"/>
                  </a:lnTo>
                  <a:lnTo>
                    <a:pt x="113" y="220"/>
                  </a:lnTo>
                  <a:lnTo>
                    <a:pt x="115" y="220"/>
                  </a:lnTo>
                  <a:lnTo>
                    <a:pt x="116" y="220"/>
                  </a:lnTo>
                  <a:lnTo>
                    <a:pt x="117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20" y="219"/>
                  </a:lnTo>
                  <a:lnTo>
                    <a:pt x="120" y="220"/>
                  </a:lnTo>
                  <a:lnTo>
                    <a:pt x="120" y="220"/>
                  </a:lnTo>
                  <a:lnTo>
                    <a:pt x="120" y="221"/>
                  </a:lnTo>
                  <a:lnTo>
                    <a:pt x="120" y="222"/>
                  </a:lnTo>
                  <a:lnTo>
                    <a:pt x="120" y="224"/>
                  </a:lnTo>
                  <a:lnTo>
                    <a:pt x="119" y="227"/>
                  </a:lnTo>
                  <a:lnTo>
                    <a:pt x="119" y="228"/>
                  </a:lnTo>
                  <a:lnTo>
                    <a:pt x="119" y="229"/>
                  </a:lnTo>
                  <a:lnTo>
                    <a:pt x="119" y="230"/>
                  </a:lnTo>
                  <a:lnTo>
                    <a:pt x="120" y="231"/>
                  </a:lnTo>
                  <a:lnTo>
                    <a:pt x="120" y="231"/>
                  </a:lnTo>
                  <a:lnTo>
                    <a:pt x="120" y="232"/>
                  </a:lnTo>
                  <a:lnTo>
                    <a:pt x="120" y="232"/>
                  </a:lnTo>
                  <a:lnTo>
                    <a:pt x="121" y="232"/>
                  </a:lnTo>
                  <a:lnTo>
                    <a:pt x="121" y="233"/>
                  </a:lnTo>
                  <a:lnTo>
                    <a:pt x="122" y="233"/>
                  </a:lnTo>
                  <a:lnTo>
                    <a:pt x="122" y="233"/>
                  </a:lnTo>
                  <a:lnTo>
                    <a:pt x="123" y="233"/>
                  </a:lnTo>
                  <a:lnTo>
                    <a:pt x="127" y="233"/>
                  </a:lnTo>
                  <a:lnTo>
                    <a:pt x="130" y="233"/>
                  </a:lnTo>
                  <a:lnTo>
                    <a:pt x="131" y="233"/>
                  </a:lnTo>
                  <a:lnTo>
                    <a:pt x="132" y="232"/>
                  </a:lnTo>
                  <a:lnTo>
                    <a:pt x="132" y="232"/>
                  </a:lnTo>
                  <a:lnTo>
                    <a:pt x="133" y="232"/>
                  </a:lnTo>
                  <a:lnTo>
                    <a:pt x="133" y="231"/>
                  </a:lnTo>
                  <a:lnTo>
                    <a:pt x="134" y="230"/>
                  </a:lnTo>
                  <a:lnTo>
                    <a:pt x="135" y="229"/>
                  </a:lnTo>
                  <a:lnTo>
                    <a:pt x="136" y="228"/>
                  </a:lnTo>
                  <a:lnTo>
                    <a:pt x="137" y="227"/>
                  </a:lnTo>
                  <a:lnTo>
                    <a:pt x="138" y="226"/>
                  </a:lnTo>
                  <a:lnTo>
                    <a:pt x="141" y="224"/>
                  </a:lnTo>
                  <a:lnTo>
                    <a:pt x="144" y="221"/>
                  </a:lnTo>
                  <a:lnTo>
                    <a:pt x="145" y="220"/>
                  </a:lnTo>
                  <a:lnTo>
                    <a:pt x="147" y="219"/>
                  </a:lnTo>
                  <a:lnTo>
                    <a:pt x="148" y="218"/>
                  </a:lnTo>
                  <a:lnTo>
                    <a:pt x="149" y="218"/>
                  </a:lnTo>
                  <a:lnTo>
                    <a:pt x="150" y="218"/>
                  </a:lnTo>
                  <a:lnTo>
                    <a:pt x="151" y="217"/>
                  </a:lnTo>
                  <a:lnTo>
                    <a:pt x="153" y="216"/>
                  </a:lnTo>
                  <a:lnTo>
                    <a:pt x="154" y="216"/>
                  </a:lnTo>
                  <a:lnTo>
                    <a:pt x="154" y="216"/>
                  </a:lnTo>
                  <a:lnTo>
                    <a:pt x="156" y="215"/>
                  </a:lnTo>
                  <a:lnTo>
                    <a:pt x="158" y="215"/>
                  </a:lnTo>
                  <a:lnTo>
                    <a:pt x="159" y="215"/>
                  </a:lnTo>
                  <a:lnTo>
                    <a:pt x="160" y="215"/>
                  </a:lnTo>
                  <a:lnTo>
                    <a:pt x="161" y="215"/>
                  </a:lnTo>
                  <a:lnTo>
                    <a:pt x="161" y="215"/>
                  </a:lnTo>
                  <a:lnTo>
                    <a:pt x="162" y="216"/>
                  </a:lnTo>
                  <a:lnTo>
                    <a:pt x="163" y="216"/>
                  </a:lnTo>
                  <a:lnTo>
                    <a:pt x="163" y="217"/>
                  </a:lnTo>
                  <a:lnTo>
                    <a:pt x="164" y="217"/>
                  </a:lnTo>
                  <a:lnTo>
                    <a:pt x="165" y="218"/>
                  </a:lnTo>
                  <a:lnTo>
                    <a:pt x="165" y="218"/>
                  </a:lnTo>
                  <a:lnTo>
                    <a:pt x="166" y="219"/>
                  </a:lnTo>
                  <a:lnTo>
                    <a:pt x="166" y="220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2"/>
                  </a:lnTo>
                  <a:lnTo>
                    <a:pt x="166" y="224"/>
                  </a:lnTo>
                  <a:lnTo>
                    <a:pt x="165" y="226"/>
                  </a:lnTo>
                  <a:lnTo>
                    <a:pt x="164" y="230"/>
                  </a:lnTo>
                  <a:lnTo>
                    <a:pt x="164" y="233"/>
                  </a:lnTo>
                  <a:lnTo>
                    <a:pt x="164" y="233"/>
                  </a:lnTo>
                  <a:lnTo>
                    <a:pt x="164" y="234"/>
                  </a:lnTo>
                  <a:lnTo>
                    <a:pt x="164" y="235"/>
                  </a:lnTo>
                  <a:lnTo>
                    <a:pt x="164" y="236"/>
                  </a:lnTo>
                  <a:lnTo>
                    <a:pt x="165" y="237"/>
                  </a:lnTo>
                  <a:lnTo>
                    <a:pt x="165" y="239"/>
                  </a:lnTo>
                  <a:lnTo>
                    <a:pt x="166" y="240"/>
                  </a:lnTo>
                  <a:lnTo>
                    <a:pt x="167" y="241"/>
                  </a:lnTo>
                  <a:lnTo>
                    <a:pt x="168" y="242"/>
                  </a:lnTo>
                  <a:lnTo>
                    <a:pt x="168" y="242"/>
                  </a:lnTo>
                  <a:lnTo>
                    <a:pt x="169" y="242"/>
                  </a:lnTo>
                  <a:lnTo>
                    <a:pt x="169" y="242"/>
                  </a:lnTo>
                  <a:lnTo>
                    <a:pt x="170" y="242"/>
                  </a:lnTo>
                  <a:lnTo>
                    <a:pt x="170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72" y="241"/>
                  </a:lnTo>
                  <a:lnTo>
                    <a:pt x="173" y="239"/>
                  </a:lnTo>
                  <a:lnTo>
                    <a:pt x="174" y="238"/>
                  </a:lnTo>
                  <a:lnTo>
                    <a:pt x="174" y="238"/>
                  </a:lnTo>
                  <a:lnTo>
                    <a:pt x="176" y="236"/>
                  </a:lnTo>
                  <a:lnTo>
                    <a:pt x="177" y="235"/>
                  </a:lnTo>
                  <a:lnTo>
                    <a:pt x="177" y="234"/>
                  </a:lnTo>
                  <a:lnTo>
                    <a:pt x="177" y="234"/>
                  </a:lnTo>
                  <a:lnTo>
                    <a:pt x="178" y="233"/>
                  </a:lnTo>
                  <a:lnTo>
                    <a:pt x="178" y="232"/>
                  </a:lnTo>
                  <a:lnTo>
                    <a:pt x="179" y="231"/>
                  </a:lnTo>
                  <a:lnTo>
                    <a:pt x="179" y="231"/>
                  </a:lnTo>
                  <a:lnTo>
                    <a:pt x="180" y="230"/>
                  </a:lnTo>
                  <a:lnTo>
                    <a:pt x="180" y="230"/>
                  </a:lnTo>
                  <a:lnTo>
                    <a:pt x="182" y="229"/>
                  </a:lnTo>
                  <a:lnTo>
                    <a:pt x="182" y="229"/>
                  </a:lnTo>
                  <a:lnTo>
                    <a:pt x="183" y="228"/>
                  </a:lnTo>
                  <a:lnTo>
                    <a:pt x="184" y="228"/>
                  </a:lnTo>
                  <a:lnTo>
                    <a:pt x="184" y="228"/>
                  </a:lnTo>
                  <a:lnTo>
                    <a:pt x="184" y="228"/>
                  </a:lnTo>
                  <a:lnTo>
                    <a:pt x="185" y="228"/>
                  </a:lnTo>
                  <a:lnTo>
                    <a:pt x="185" y="228"/>
                  </a:lnTo>
                  <a:lnTo>
                    <a:pt x="186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8" y="228"/>
                  </a:lnTo>
                  <a:lnTo>
                    <a:pt x="189" y="228"/>
                  </a:lnTo>
                  <a:lnTo>
                    <a:pt x="189" y="227"/>
                  </a:lnTo>
                  <a:lnTo>
                    <a:pt x="190" y="226"/>
                  </a:lnTo>
                  <a:lnTo>
                    <a:pt x="191" y="225"/>
                  </a:lnTo>
                  <a:lnTo>
                    <a:pt x="191" y="225"/>
                  </a:lnTo>
                  <a:lnTo>
                    <a:pt x="191" y="224"/>
                  </a:lnTo>
                  <a:lnTo>
                    <a:pt x="192" y="224"/>
                  </a:lnTo>
                  <a:lnTo>
                    <a:pt x="192" y="223"/>
                  </a:lnTo>
                  <a:lnTo>
                    <a:pt x="192" y="222"/>
                  </a:lnTo>
                  <a:lnTo>
                    <a:pt x="192" y="221"/>
                  </a:lnTo>
                  <a:lnTo>
                    <a:pt x="191" y="220"/>
                  </a:lnTo>
                  <a:lnTo>
                    <a:pt x="190" y="213"/>
                  </a:lnTo>
                  <a:lnTo>
                    <a:pt x="189" y="212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90" y="210"/>
                  </a:lnTo>
                  <a:lnTo>
                    <a:pt x="190" y="209"/>
                  </a:lnTo>
                  <a:lnTo>
                    <a:pt x="191" y="209"/>
                  </a:lnTo>
                  <a:lnTo>
                    <a:pt x="191" y="209"/>
                  </a:lnTo>
                  <a:lnTo>
                    <a:pt x="192" y="209"/>
                  </a:lnTo>
                  <a:lnTo>
                    <a:pt x="193" y="209"/>
                  </a:lnTo>
                  <a:lnTo>
                    <a:pt x="194" y="209"/>
                  </a:lnTo>
                  <a:lnTo>
                    <a:pt x="194" y="209"/>
                  </a:lnTo>
                  <a:lnTo>
                    <a:pt x="195" y="210"/>
                  </a:lnTo>
                  <a:lnTo>
                    <a:pt x="195" y="210"/>
                  </a:lnTo>
                  <a:lnTo>
                    <a:pt x="195" y="210"/>
                  </a:lnTo>
                  <a:lnTo>
                    <a:pt x="196" y="211"/>
                  </a:lnTo>
                  <a:lnTo>
                    <a:pt x="197" y="214"/>
                  </a:lnTo>
                  <a:lnTo>
                    <a:pt x="198" y="216"/>
                  </a:lnTo>
                  <a:lnTo>
                    <a:pt x="199" y="218"/>
                  </a:lnTo>
                  <a:lnTo>
                    <a:pt x="199" y="219"/>
                  </a:lnTo>
                  <a:lnTo>
                    <a:pt x="200" y="220"/>
                  </a:lnTo>
                  <a:lnTo>
                    <a:pt x="200" y="222"/>
                  </a:lnTo>
                  <a:lnTo>
                    <a:pt x="200" y="224"/>
                  </a:lnTo>
                  <a:lnTo>
                    <a:pt x="200" y="224"/>
                  </a:lnTo>
                  <a:lnTo>
                    <a:pt x="200" y="226"/>
                  </a:lnTo>
                  <a:lnTo>
                    <a:pt x="200" y="227"/>
                  </a:lnTo>
                  <a:lnTo>
                    <a:pt x="201" y="229"/>
                  </a:lnTo>
                  <a:lnTo>
                    <a:pt x="201" y="230"/>
                  </a:lnTo>
                  <a:lnTo>
                    <a:pt x="203" y="232"/>
                  </a:lnTo>
                  <a:lnTo>
                    <a:pt x="203" y="233"/>
                  </a:lnTo>
                  <a:lnTo>
                    <a:pt x="204" y="234"/>
                  </a:lnTo>
                  <a:lnTo>
                    <a:pt x="204" y="234"/>
                  </a:lnTo>
                  <a:lnTo>
                    <a:pt x="204" y="235"/>
                  </a:lnTo>
                  <a:lnTo>
                    <a:pt x="205" y="236"/>
                  </a:lnTo>
                  <a:lnTo>
                    <a:pt x="205" y="236"/>
                  </a:lnTo>
                  <a:lnTo>
                    <a:pt x="205" y="238"/>
                  </a:lnTo>
                  <a:lnTo>
                    <a:pt x="205" y="239"/>
                  </a:lnTo>
                  <a:lnTo>
                    <a:pt x="205" y="240"/>
                  </a:lnTo>
                  <a:lnTo>
                    <a:pt x="206" y="241"/>
                  </a:lnTo>
                  <a:lnTo>
                    <a:pt x="206" y="242"/>
                  </a:lnTo>
                  <a:lnTo>
                    <a:pt x="206" y="242"/>
                  </a:lnTo>
                  <a:lnTo>
                    <a:pt x="209" y="245"/>
                  </a:lnTo>
                  <a:lnTo>
                    <a:pt x="210" y="246"/>
                  </a:lnTo>
                  <a:lnTo>
                    <a:pt x="211" y="247"/>
                  </a:lnTo>
                  <a:lnTo>
                    <a:pt x="212" y="249"/>
                  </a:lnTo>
                  <a:lnTo>
                    <a:pt x="212" y="250"/>
                  </a:lnTo>
                  <a:lnTo>
                    <a:pt x="213" y="251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5" y="253"/>
                  </a:lnTo>
                  <a:lnTo>
                    <a:pt x="216" y="253"/>
                  </a:lnTo>
                  <a:lnTo>
                    <a:pt x="218" y="254"/>
                  </a:lnTo>
                  <a:lnTo>
                    <a:pt x="219" y="255"/>
                  </a:lnTo>
                  <a:lnTo>
                    <a:pt x="220" y="255"/>
                  </a:lnTo>
                  <a:lnTo>
                    <a:pt x="221" y="256"/>
                  </a:lnTo>
                  <a:lnTo>
                    <a:pt x="222" y="257"/>
                  </a:lnTo>
                  <a:lnTo>
                    <a:pt x="223" y="258"/>
                  </a:lnTo>
                  <a:lnTo>
                    <a:pt x="224" y="259"/>
                  </a:lnTo>
                  <a:lnTo>
                    <a:pt x="225" y="259"/>
                  </a:lnTo>
                  <a:lnTo>
                    <a:pt x="229" y="261"/>
                  </a:lnTo>
                  <a:lnTo>
                    <a:pt x="231" y="262"/>
                  </a:lnTo>
                  <a:lnTo>
                    <a:pt x="232" y="262"/>
                  </a:lnTo>
                  <a:lnTo>
                    <a:pt x="233" y="262"/>
                  </a:lnTo>
                  <a:lnTo>
                    <a:pt x="236" y="263"/>
                  </a:lnTo>
                  <a:lnTo>
                    <a:pt x="237" y="263"/>
                  </a:lnTo>
                  <a:lnTo>
                    <a:pt x="238" y="263"/>
                  </a:lnTo>
                  <a:lnTo>
                    <a:pt x="238" y="263"/>
                  </a:lnTo>
                  <a:lnTo>
                    <a:pt x="239" y="263"/>
                  </a:lnTo>
                  <a:lnTo>
                    <a:pt x="240" y="263"/>
                  </a:lnTo>
                  <a:lnTo>
                    <a:pt x="242" y="262"/>
                  </a:lnTo>
                  <a:lnTo>
                    <a:pt x="244" y="261"/>
                  </a:lnTo>
                  <a:lnTo>
                    <a:pt x="246" y="260"/>
                  </a:lnTo>
                  <a:lnTo>
                    <a:pt x="247" y="260"/>
                  </a:lnTo>
                  <a:lnTo>
                    <a:pt x="252" y="258"/>
                  </a:lnTo>
                  <a:lnTo>
                    <a:pt x="253" y="258"/>
                  </a:lnTo>
                  <a:lnTo>
                    <a:pt x="256" y="257"/>
                  </a:lnTo>
                  <a:lnTo>
                    <a:pt x="256" y="257"/>
                  </a:lnTo>
                  <a:lnTo>
                    <a:pt x="257" y="257"/>
                  </a:lnTo>
                  <a:lnTo>
                    <a:pt x="258" y="257"/>
                  </a:lnTo>
                  <a:lnTo>
                    <a:pt x="258" y="257"/>
                  </a:lnTo>
                  <a:lnTo>
                    <a:pt x="259" y="257"/>
                  </a:lnTo>
                  <a:lnTo>
                    <a:pt x="259" y="257"/>
                  </a:lnTo>
                  <a:lnTo>
                    <a:pt x="260" y="258"/>
                  </a:lnTo>
                  <a:lnTo>
                    <a:pt x="260" y="258"/>
                  </a:lnTo>
                  <a:lnTo>
                    <a:pt x="261" y="259"/>
                  </a:lnTo>
                  <a:lnTo>
                    <a:pt x="261" y="260"/>
                  </a:lnTo>
                  <a:lnTo>
                    <a:pt x="262" y="261"/>
                  </a:lnTo>
                  <a:lnTo>
                    <a:pt x="262" y="262"/>
                  </a:lnTo>
                  <a:lnTo>
                    <a:pt x="263" y="263"/>
                  </a:lnTo>
                  <a:lnTo>
                    <a:pt x="263" y="264"/>
                  </a:lnTo>
                  <a:lnTo>
                    <a:pt x="264" y="266"/>
                  </a:lnTo>
                  <a:lnTo>
                    <a:pt x="264" y="267"/>
                  </a:lnTo>
                  <a:lnTo>
                    <a:pt x="264" y="269"/>
                  </a:lnTo>
                  <a:lnTo>
                    <a:pt x="264" y="270"/>
                  </a:lnTo>
                  <a:lnTo>
                    <a:pt x="264" y="271"/>
                  </a:lnTo>
                  <a:lnTo>
                    <a:pt x="264" y="272"/>
                  </a:lnTo>
                  <a:lnTo>
                    <a:pt x="264" y="273"/>
                  </a:lnTo>
                  <a:lnTo>
                    <a:pt x="264" y="274"/>
                  </a:lnTo>
                  <a:lnTo>
                    <a:pt x="263" y="278"/>
                  </a:lnTo>
                  <a:lnTo>
                    <a:pt x="262" y="280"/>
                  </a:lnTo>
                  <a:lnTo>
                    <a:pt x="262" y="281"/>
                  </a:lnTo>
                  <a:lnTo>
                    <a:pt x="262" y="282"/>
                  </a:lnTo>
                  <a:lnTo>
                    <a:pt x="262" y="283"/>
                  </a:lnTo>
                  <a:lnTo>
                    <a:pt x="262" y="284"/>
                  </a:lnTo>
                  <a:lnTo>
                    <a:pt x="262" y="286"/>
                  </a:lnTo>
                  <a:lnTo>
                    <a:pt x="262" y="287"/>
                  </a:lnTo>
                  <a:lnTo>
                    <a:pt x="263" y="289"/>
                  </a:lnTo>
                  <a:lnTo>
                    <a:pt x="263" y="291"/>
                  </a:lnTo>
                  <a:lnTo>
                    <a:pt x="263" y="292"/>
                  </a:lnTo>
                  <a:lnTo>
                    <a:pt x="264" y="293"/>
                  </a:lnTo>
                  <a:lnTo>
                    <a:pt x="264" y="294"/>
                  </a:lnTo>
                  <a:lnTo>
                    <a:pt x="265" y="295"/>
                  </a:lnTo>
                  <a:lnTo>
                    <a:pt x="265" y="295"/>
                  </a:lnTo>
                  <a:lnTo>
                    <a:pt x="266" y="296"/>
                  </a:lnTo>
                  <a:lnTo>
                    <a:pt x="267" y="297"/>
                  </a:lnTo>
                  <a:lnTo>
                    <a:pt x="268" y="297"/>
                  </a:lnTo>
                  <a:lnTo>
                    <a:pt x="269" y="298"/>
                  </a:lnTo>
                  <a:lnTo>
                    <a:pt x="270" y="299"/>
                  </a:lnTo>
                  <a:lnTo>
                    <a:pt x="271" y="299"/>
                  </a:lnTo>
                  <a:lnTo>
                    <a:pt x="272" y="300"/>
                  </a:lnTo>
                  <a:lnTo>
                    <a:pt x="273" y="300"/>
                  </a:lnTo>
                  <a:lnTo>
                    <a:pt x="273" y="300"/>
                  </a:lnTo>
                  <a:lnTo>
                    <a:pt x="274" y="300"/>
                  </a:lnTo>
                  <a:lnTo>
                    <a:pt x="275" y="299"/>
                  </a:lnTo>
                  <a:lnTo>
                    <a:pt x="275" y="299"/>
                  </a:lnTo>
                  <a:lnTo>
                    <a:pt x="276" y="299"/>
                  </a:lnTo>
                  <a:lnTo>
                    <a:pt x="277" y="298"/>
                  </a:lnTo>
                  <a:lnTo>
                    <a:pt x="278" y="298"/>
                  </a:lnTo>
                  <a:lnTo>
                    <a:pt x="278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80" y="297"/>
                  </a:lnTo>
                  <a:lnTo>
                    <a:pt x="280" y="298"/>
                  </a:lnTo>
                  <a:lnTo>
                    <a:pt x="281" y="298"/>
                  </a:lnTo>
                  <a:lnTo>
                    <a:pt x="282" y="299"/>
                  </a:lnTo>
                  <a:lnTo>
                    <a:pt x="282" y="300"/>
                  </a:lnTo>
                  <a:lnTo>
                    <a:pt x="283" y="301"/>
                  </a:lnTo>
                  <a:lnTo>
                    <a:pt x="285" y="302"/>
                  </a:lnTo>
                  <a:lnTo>
                    <a:pt x="286" y="304"/>
                  </a:lnTo>
                  <a:lnTo>
                    <a:pt x="286" y="305"/>
                  </a:lnTo>
                  <a:lnTo>
                    <a:pt x="287" y="306"/>
                  </a:lnTo>
                  <a:lnTo>
                    <a:pt x="288" y="308"/>
                  </a:lnTo>
                  <a:lnTo>
                    <a:pt x="289" y="309"/>
                  </a:lnTo>
                  <a:lnTo>
                    <a:pt x="290" y="311"/>
                  </a:lnTo>
                  <a:lnTo>
                    <a:pt x="291" y="312"/>
                  </a:lnTo>
                  <a:lnTo>
                    <a:pt x="291" y="313"/>
                  </a:lnTo>
                  <a:lnTo>
                    <a:pt x="292" y="313"/>
                  </a:lnTo>
                  <a:lnTo>
                    <a:pt x="293" y="314"/>
                  </a:lnTo>
                  <a:lnTo>
                    <a:pt x="300" y="320"/>
                  </a:lnTo>
                  <a:lnTo>
                    <a:pt x="302" y="320"/>
                  </a:lnTo>
                  <a:lnTo>
                    <a:pt x="303" y="322"/>
                  </a:lnTo>
                  <a:lnTo>
                    <a:pt x="306" y="325"/>
                  </a:lnTo>
                  <a:lnTo>
                    <a:pt x="308" y="327"/>
                  </a:lnTo>
                  <a:lnTo>
                    <a:pt x="309" y="328"/>
                  </a:lnTo>
                  <a:lnTo>
                    <a:pt x="311" y="330"/>
                  </a:lnTo>
                  <a:lnTo>
                    <a:pt x="312" y="332"/>
                  </a:lnTo>
                  <a:lnTo>
                    <a:pt x="314" y="335"/>
                  </a:lnTo>
                  <a:lnTo>
                    <a:pt x="315" y="338"/>
                  </a:lnTo>
                  <a:lnTo>
                    <a:pt x="316" y="339"/>
                  </a:lnTo>
                  <a:lnTo>
                    <a:pt x="316" y="339"/>
                  </a:lnTo>
                  <a:lnTo>
                    <a:pt x="316" y="340"/>
                  </a:lnTo>
                  <a:lnTo>
                    <a:pt x="316" y="341"/>
                  </a:lnTo>
                  <a:lnTo>
                    <a:pt x="316" y="341"/>
                  </a:lnTo>
                  <a:lnTo>
                    <a:pt x="316" y="342"/>
                  </a:lnTo>
                  <a:lnTo>
                    <a:pt x="316" y="343"/>
                  </a:lnTo>
                  <a:lnTo>
                    <a:pt x="315" y="344"/>
                  </a:lnTo>
                  <a:lnTo>
                    <a:pt x="315" y="345"/>
                  </a:lnTo>
                  <a:lnTo>
                    <a:pt x="314" y="346"/>
                  </a:lnTo>
                  <a:lnTo>
                    <a:pt x="314" y="347"/>
                  </a:lnTo>
                  <a:lnTo>
                    <a:pt x="314" y="347"/>
                  </a:lnTo>
                  <a:lnTo>
                    <a:pt x="314" y="348"/>
                  </a:lnTo>
                  <a:lnTo>
                    <a:pt x="315" y="349"/>
                  </a:lnTo>
                  <a:lnTo>
                    <a:pt x="315" y="350"/>
                  </a:lnTo>
                  <a:lnTo>
                    <a:pt x="316" y="350"/>
                  </a:lnTo>
                  <a:lnTo>
                    <a:pt x="316" y="351"/>
                  </a:lnTo>
                  <a:lnTo>
                    <a:pt x="316" y="351"/>
                  </a:lnTo>
                  <a:lnTo>
                    <a:pt x="317" y="351"/>
                  </a:lnTo>
                  <a:lnTo>
                    <a:pt x="318" y="351"/>
                  </a:lnTo>
                  <a:lnTo>
                    <a:pt x="318" y="351"/>
                  </a:lnTo>
                  <a:lnTo>
                    <a:pt x="318" y="351"/>
                  </a:lnTo>
                  <a:lnTo>
                    <a:pt x="319" y="351"/>
                  </a:lnTo>
                  <a:lnTo>
                    <a:pt x="321" y="349"/>
                  </a:lnTo>
                  <a:lnTo>
                    <a:pt x="322" y="348"/>
                  </a:lnTo>
                  <a:lnTo>
                    <a:pt x="323" y="347"/>
                  </a:lnTo>
                  <a:lnTo>
                    <a:pt x="324" y="347"/>
                  </a:lnTo>
                  <a:lnTo>
                    <a:pt x="325" y="347"/>
                  </a:lnTo>
                  <a:lnTo>
                    <a:pt x="326" y="346"/>
                  </a:lnTo>
                  <a:lnTo>
                    <a:pt x="326" y="346"/>
                  </a:lnTo>
                  <a:lnTo>
                    <a:pt x="327" y="346"/>
                  </a:lnTo>
                  <a:lnTo>
                    <a:pt x="327" y="347"/>
                  </a:lnTo>
                  <a:lnTo>
                    <a:pt x="328" y="347"/>
                  </a:lnTo>
                  <a:lnTo>
                    <a:pt x="328" y="347"/>
                  </a:lnTo>
                  <a:lnTo>
                    <a:pt x="328" y="347"/>
                  </a:lnTo>
                  <a:lnTo>
                    <a:pt x="329" y="348"/>
                  </a:lnTo>
                  <a:lnTo>
                    <a:pt x="330" y="349"/>
                  </a:lnTo>
                  <a:lnTo>
                    <a:pt x="331" y="350"/>
                  </a:lnTo>
                  <a:lnTo>
                    <a:pt x="331" y="351"/>
                  </a:lnTo>
                  <a:lnTo>
                    <a:pt x="333" y="354"/>
                  </a:lnTo>
                  <a:lnTo>
                    <a:pt x="334" y="357"/>
                  </a:lnTo>
                  <a:lnTo>
                    <a:pt x="334" y="357"/>
                  </a:lnTo>
                  <a:lnTo>
                    <a:pt x="334" y="358"/>
                  </a:lnTo>
                  <a:lnTo>
                    <a:pt x="334" y="358"/>
                  </a:lnTo>
                  <a:lnTo>
                    <a:pt x="334" y="359"/>
                  </a:lnTo>
                  <a:lnTo>
                    <a:pt x="334" y="359"/>
                  </a:lnTo>
                  <a:lnTo>
                    <a:pt x="333" y="360"/>
                  </a:lnTo>
                  <a:lnTo>
                    <a:pt x="333" y="361"/>
                  </a:lnTo>
                  <a:lnTo>
                    <a:pt x="332" y="362"/>
                  </a:lnTo>
                  <a:lnTo>
                    <a:pt x="331" y="364"/>
                  </a:lnTo>
                  <a:lnTo>
                    <a:pt x="330" y="365"/>
                  </a:lnTo>
                  <a:lnTo>
                    <a:pt x="330" y="366"/>
                  </a:lnTo>
                  <a:lnTo>
                    <a:pt x="329" y="367"/>
                  </a:lnTo>
                  <a:lnTo>
                    <a:pt x="329" y="367"/>
                  </a:lnTo>
                  <a:lnTo>
                    <a:pt x="328" y="368"/>
                  </a:lnTo>
                  <a:lnTo>
                    <a:pt x="327" y="368"/>
                  </a:lnTo>
                  <a:lnTo>
                    <a:pt x="327" y="368"/>
                  </a:lnTo>
                  <a:lnTo>
                    <a:pt x="326" y="369"/>
                  </a:lnTo>
                  <a:lnTo>
                    <a:pt x="326" y="369"/>
                  </a:lnTo>
                  <a:lnTo>
                    <a:pt x="325" y="369"/>
                  </a:lnTo>
                  <a:lnTo>
                    <a:pt x="324" y="369"/>
                  </a:lnTo>
                  <a:lnTo>
                    <a:pt x="324" y="369"/>
                  </a:lnTo>
                  <a:lnTo>
                    <a:pt x="323" y="369"/>
                  </a:lnTo>
                  <a:lnTo>
                    <a:pt x="322" y="369"/>
                  </a:lnTo>
                  <a:lnTo>
                    <a:pt x="320" y="368"/>
                  </a:lnTo>
                  <a:lnTo>
                    <a:pt x="317" y="368"/>
                  </a:lnTo>
                  <a:lnTo>
                    <a:pt x="316" y="367"/>
                  </a:lnTo>
                  <a:lnTo>
                    <a:pt x="315" y="367"/>
                  </a:lnTo>
                  <a:lnTo>
                    <a:pt x="314" y="367"/>
                  </a:lnTo>
                  <a:lnTo>
                    <a:pt x="313" y="367"/>
                  </a:lnTo>
                  <a:lnTo>
                    <a:pt x="313" y="367"/>
                  </a:lnTo>
                  <a:lnTo>
                    <a:pt x="313" y="368"/>
                  </a:lnTo>
                  <a:lnTo>
                    <a:pt x="312" y="369"/>
                  </a:lnTo>
                  <a:lnTo>
                    <a:pt x="311" y="370"/>
                  </a:lnTo>
                  <a:lnTo>
                    <a:pt x="310" y="372"/>
                  </a:lnTo>
                  <a:lnTo>
                    <a:pt x="310" y="372"/>
                  </a:lnTo>
                  <a:lnTo>
                    <a:pt x="309" y="373"/>
                  </a:lnTo>
                  <a:lnTo>
                    <a:pt x="309" y="374"/>
                  </a:lnTo>
                  <a:lnTo>
                    <a:pt x="308" y="374"/>
                  </a:lnTo>
                  <a:lnTo>
                    <a:pt x="307" y="375"/>
                  </a:lnTo>
                  <a:lnTo>
                    <a:pt x="305" y="376"/>
                  </a:lnTo>
                  <a:lnTo>
                    <a:pt x="304" y="377"/>
                  </a:lnTo>
                  <a:lnTo>
                    <a:pt x="303" y="378"/>
                  </a:lnTo>
                  <a:lnTo>
                    <a:pt x="302" y="380"/>
                  </a:lnTo>
                  <a:lnTo>
                    <a:pt x="300" y="382"/>
                  </a:lnTo>
                  <a:lnTo>
                    <a:pt x="299" y="382"/>
                  </a:lnTo>
                  <a:lnTo>
                    <a:pt x="299" y="383"/>
                  </a:lnTo>
                  <a:lnTo>
                    <a:pt x="299" y="384"/>
                  </a:lnTo>
                  <a:lnTo>
                    <a:pt x="299" y="384"/>
                  </a:lnTo>
                  <a:lnTo>
                    <a:pt x="298" y="385"/>
                  </a:lnTo>
                  <a:lnTo>
                    <a:pt x="298" y="388"/>
                  </a:lnTo>
                  <a:lnTo>
                    <a:pt x="298" y="389"/>
                  </a:lnTo>
                  <a:lnTo>
                    <a:pt x="298" y="390"/>
                  </a:lnTo>
                  <a:lnTo>
                    <a:pt x="298" y="392"/>
                  </a:lnTo>
                  <a:lnTo>
                    <a:pt x="297" y="393"/>
                  </a:lnTo>
                  <a:lnTo>
                    <a:pt x="296" y="396"/>
                  </a:lnTo>
                  <a:lnTo>
                    <a:pt x="295" y="399"/>
                  </a:lnTo>
                  <a:lnTo>
                    <a:pt x="294" y="402"/>
                  </a:lnTo>
                  <a:lnTo>
                    <a:pt x="293" y="402"/>
                  </a:lnTo>
                  <a:lnTo>
                    <a:pt x="293" y="403"/>
                  </a:lnTo>
                  <a:lnTo>
                    <a:pt x="292" y="403"/>
                  </a:lnTo>
                  <a:lnTo>
                    <a:pt x="292" y="404"/>
                  </a:lnTo>
                  <a:lnTo>
                    <a:pt x="291" y="404"/>
                  </a:lnTo>
                  <a:lnTo>
                    <a:pt x="291" y="404"/>
                  </a:lnTo>
                  <a:lnTo>
                    <a:pt x="290" y="405"/>
                  </a:lnTo>
                  <a:lnTo>
                    <a:pt x="287" y="406"/>
                  </a:lnTo>
                  <a:lnTo>
                    <a:pt x="285" y="406"/>
                  </a:lnTo>
                  <a:lnTo>
                    <a:pt x="284" y="406"/>
                  </a:lnTo>
                  <a:lnTo>
                    <a:pt x="283" y="406"/>
                  </a:lnTo>
                  <a:lnTo>
                    <a:pt x="281" y="406"/>
                  </a:lnTo>
                  <a:lnTo>
                    <a:pt x="280" y="406"/>
                  </a:lnTo>
                  <a:lnTo>
                    <a:pt x="279" y="405"/>
                  </a:lnTo>
                  <a:lnTo>
                    <a:pt x="278" y="405"/>
                  </a:lnTo>
                  <a:lnTo>
                    <a:pt x="277" y="404"/>
                  </a:lnTo>
                  <a:lnTo>
                    <a:pt x="276" y="404"/>
                  </a:lnTo>
                  <a:lnTo>
                    <a:pt x="275" y="403"/>
                  </a:lnTo>
                  <a:lnTo>
                    <a:pt x="275" y="403"/>
                  </a:lnTo>
                  <a:lnTo>
                    <a:pt x="273" y="401"/>
                  </a:lnTo>
                  <a:lnTo>
                    <a:pt x="272" y="400"/>
                  </a:lnTo>
                  <a:lnTo>
                    <a:pt x="271" y="399"/>
                  </a:lnTo>
                  <a:lnTo>
                    <a:pt x="270" y="398"/>
                  </a:lnTo>
                  <a:lnTo>
                    <a:pt x="269" y="398"/>
                  </a:lnTo>
                  <a:lnTo>
                    <a:pt x="268" y="397"/>
                  </a:lnTo>
                  <a:lnTo>
                    <a:pt x="267" y="397"/>
                  </a:lnTo>
                  <a:lnTo>
                    <a:pt x="266" y="397"/>
                  </a:lnTo>
                  <a:lnTo>
                    <a:pt x="265" y="397"/>
                  </a:lnTo>
                  <a:lnTo>
                    <a:pt x="265" y="397"/>
                  </a:lnTo>
                  <a:lnTo>
                    <a:pt x="264" y="398"/>
                  </a:lnTo>
                  <a:lnTo>
                    <a:pt x="263" y="398"/>
                  </a:lnTo>
                  <a:lnTo>
                    <a:pt x="263" y="398"/>
                  </a:lnTo>
                  <a:lnTo>
                    <a:pt x="262" y="399"/>
                  </a:lnTo>
                  <a:lnTo>
                    <a:pt x="261" y="402"/>
                  </a:lnTo>
                  <a:lnTo>
                    <a:pt x="260" y="402"/>
                  </a:lnTo>
                  <a:lnTo>
                    <a:pt x="260" y="402"/>
                  </a:lnTo>
                  <a:lnTo>
                    <a:pt x="260" y="403"/>
                  </a:lnTo>
                  <a:lnTo>
                    <a:pt x="259" y="403"/>
                  </a:lnTo>
                  <a:lnTo>
                    <a:pt x="259" y="403"/>
                  </a:lnTo>
                  <a:lnTo>
                    <a:pt x="259" y="403"/>
                  </a:lnTo>
                  <a:lnTo>
                    <a:pt x="258" y="403"/>
                  </a:lnTo>
                  <a:lnTo>
                    <a:pt x="257" y="403"/>
                  </a:lnTo>
                  <a:lnTo>
                    <a:pt x="256" y="403"/>
                  </a:lnTo>
                  <a:lnTo>
                    <a:pt x="255" y="403"/>
                  </a:lnTo>
                  <a:lnTo>
                    <a:pt x="254" y="402"/>
                  </a:lnTo>
                  <a:lnTo>
                    <a:pt x="254" y="402"/>
                  </a:lnTo>
                  <a:lnTo>
                    <a:pt x="253" y="402"/>
                  </a:lnTo>
                  <a:lnTo>
                    <a:pt x="252" y="403"/>
                  </a:lnTo>
                  <a:lnTo>
                    <a:pt x="251" y="403"/>
                  </a:lnTo>
                  <a:lnTo>
                    <a:pt x="251" y="403"/>
                  </a:lnTo>
                  <a:lnTo>
                    <a:pt x="250" y="403"/>
                  </a:lnTo>
                  <a:lnTo>
                    <a:pt x="250" y="403"/>
                  </a:lnTo>
                  <a:lnTo>
                    <a:pt x="250" y="403"/>
                  </a:lnTo>
                  <a:lnTo>
                    <a:pt x="250" y="404"/>
                  </a:lnTo>
                  <a:lnTo>
                    <a:pt x="250" y="404"/>
                  </a:lnTo>
                  <a:lnTo>
                    <a:pt x="250" y="404"/>
                  </a:lnTo>
                  <a:lnTo>
                    <a:pt x="250" y="405"/>
                  </a:lnTo>
                  <a:lnTo>
                    <a:pt x="250" y="405"/>
                  </a:lnTo>
                  <a:lnTo>
                    <a:pt x="250" y="406"/>
                  </a:lnTo>
                  <a:lnTo>
                    <a:pt x="250" y="407"/>
                  </a:lnTo>
                  <a:lnTo>
                    <a:pt x="252" y="411"/>
                  </a:lnTo>
                  <a:lnTo>
                    <a:pt x="253" y="413"/>
                  </a:lnTo>
                  <a:lnTo>
                    <a:pt x="253" y="414"/>
                  </a:lnTo>
                  <a:lnTo>
                    <a:pt x="254" y="415"/>
                  </a:lnTo>
                  <a:lnTo>
                    <a:pt x="254" y="416"/>
                  </a:lnTo>
                  <a:lnTo>
                    <a:pt x="254" y="417"/>
                  </a:lnTo>
                  <a:lnTo>
                    <a:pt x="254" y="417"/>
                  </a:lnTo>
                  <a:lnTo>
                    <a:pt x="253" y="418"/>
                  </a:lnTo>
                  <a:lnTo>
                    <a:pt x="253" y="419"/>
                  </a:lnTo>
                  <a:lnTo>
                    <a:pt x="253" y="420"/>
                  </a:lnTo>
                  <a:lnTo>
                    <a:pt x="252" y="421"/>
                  </a:lnTo>
                  <a:lnTo>
                    <a:pt x="251" y="422"/>
                  </a:lnTo>
                  <a:lnTo>
                    <a:pt x="251" y="422"/>
                  </a:lnTo>
                  <a:lnTo>
                    <a:pt x="250" y="423"/>
                  </a:lnTo>
                  <a:lnTo>
                    <a:pt x="249" y="424"/>
                  </a:lnTo>
                  <a:lnTo>
                    <a:pt x="249" y="424"/>
                  </a:lnTo>
                  <a:lnTo>
                    <a:pt x="248" y="424"/>
                  </a:lnTo>
                  <a:lnTo>
                    <a:pt x="247" y="425"/>
                  </a:lnTo>
                  <a:lnTo>
                    <a:pt x="246" y="425"/>
                  </a:lnTo>
                  <a:lnTo>
                    <a:pt x="245" y="425"/>
                  </a:lnTo>
                  <a:lnTo>
                    <a:pt x="244" y="425"/>
                  </a:lnTo>
                  <a:lnTo>
                    <a:pt x="243" y="425"/>
                  </a:lnTo>
                  <a:lnTo>
                    <a:pt x="242" y="425"/>
                  </a:lnTo>
                  <a:lnTo>
                    <a:pt x="242" y="425"/>
                  </a:lnTo>
                  <a:lnTo>
                    <a:pt x="241" y="425"/>
                  </a:lnTo>
                  <a:lnTo>
                    <a:pt x="240" y="425"/>
                  </a:lnTo>
                  <a:lnTo>
                    <a:pt x="239" y="424"/>
                  </a:lnTo>
                  <a:lnTo>
                    <a:pt x="237" y="424"/>
                  </a:lnTo>
                  <a:lnTo>
                    <a:pt x="237" y="423"/>
                  </a:lnTo>
                  <a:lnTo>
                    <a:pt x="236" y="423"/>
                  </a:lnTo>
                  <a:lnTo>
                    <a:pt x="235" y="423"/>
                  </a:lnTo>
                  <a:lnTo>
                    <a:pt x="234" y="423"/>
                  </a:lnTo>
                  <a:lnTo>
                    <a:pt x="232" y="423"/>
                  </a:lnTo>
                  <a:lnTo>
                    <a:pt x="231" y="423"/>
                  </a:lnTo>
                  <a:lnTo>
                    <a:pt x="229" y="423"/>
                  </a:lnTo>
                  <a:lnTo>
                    <a:pt x="227" y="423"/>
                  </a:lnTo>
                  <a:lnTo>
                    <a:pt x="225" y="423"/>
                  </a:lnTo>
                  <a:lnTo>
                    <a:pt x="224" y="424"/>
                  </a:lnTo>
                  <a:lnTo>
                    <a:pt x="222" y="424"/>
                  </a:lnTo>
                  <a:lnTo>
                    <a:pt x="220" y="425"/>
                  </a:lnTo>
                  <a:lnTo>
                    <a:pt x="217" y="426"/>
                  </a:lnTo>
                  <a:lnTo>
                    <a:pt x="216" y="426"/>
                  </a:lnTo>
                  <a:lnTo>
                    <a:pt x="216" y="426"/>
                  </a:lnTo>
                  <a:lnTo>
                    <a:pt x="216" y="426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8"/>
                  </a:lnTo>
                  <a:lnTo>
                    <a:pt x="215" y="429"/>
                  </a:lnTo>
                  <a:lnTo>
                    <a:pt x="214" y="431"/>
                  </a:lnTo>
                  <a:lnTo>
                    <a:pt x="214" y="433"/>
                  </a:lnTo>
                  <a:lnTo>
                    <a:pt x="214" y="434"/>
                  </a:lnTo>
                  <a:lnTo>
                    <a:pt x="213" y="434"/>
                  </a:lnTo>
                  <a:lnTo>
                    <a:pt x="213" y="435"/>
                  </a:lnTo>
                  <a:lnTo>
                    <a:pt x="212" y="436"/>
                  </a:lnTo>
                  <a:lnTo>
                    <a:pt x="211" y="438"/>
                  </a:lnTo>
                  <a:lnTo>
                    <a:pt x="211" y="439"/>
                  </a:lnTo>
                  <a:lnTo>
                    <a:pt x="210" y="440"/>
                  </a:lnTo>
                  <a:lnTo>
                    <a:pt x="209" y="441"/>
                  </a:lnTo>
                  <a:lnTo>
                    <a:pt x="209" y="441"/>
                  </a:lnTo>
                  <a:lnTo>
                    <a:pt x="208" y="442"/>
                  </a:lnTo>
                  <a:lnTo>
                    <a:pt x="207" y="443"/>
                  </a:lnTo>
                  <a:lnTo>
                    <a:pt x="206" y="443"/>
                  </a:lnTo>
                  <a:lnTo>
                    <a:pt x="205" y="443"/>
                  </a:lnTo>
                  <a:lnTo>
                    <a:pt x="205" y="443"/>
                  </a:lnTo>
                  <a:lnTo>
                    <a:pt x="204" y="443"/>
                  </a:lnTo>
                  <a:lnTo>
                    <a:pt x="203" y="443"/>
                  </a:lnTo>
                  <a:lnTo>
                    <a:pt x="202" y="442"/>
                  </a:lnTo>
                  <a:lnTo>
                    <a:pt x="199" y="440"/>
                  </a:lnTo>
                  <a:lnTo>
                    <a:pt x="198" y="439"/>
                  </a:lnTo>
                  <a:lnTo>
                    <a:pt x="197" y="438"/>
                  </a:lnTo>
                  <a:lnTo>
                    <a:pt x="196" y="438"/>
                  </a:lnTo>
                  <a:lnTo>
                    <a:pt x="196" y="437"/>
                  </a:lnTo>
                  <a:lnTo>
                    <a:pt x="195" y="437"/>
                  </a:lnTo>
                  <a:lnTo>
                    <a:pt x="194" y="437"/>
                  </a:lnTo>
                  <a:lnTo>
                    <a:pt x="193" y="437"/>
                  </a:lnTo>
                  <a:lnTo>
                    <a:pt x="192" y="437"/>
                  </a:lnTo>
                  <a:lnTo>
                    <a:pt x="190" y="437"/>
                  </a:lnTo>
                  <a:lnTo>
                    <a:pt x="188" y="436"/>
                  </a:lnTo>
                  <a:lnTo>
                    <a:pt x="186" y="436"/>
                  </a:lnTo>
                  <a:lnTo>
                    <a:pt x="184" y="435"/>
                  </a:lnTo>
                  <a:lnTo>
                    <a:pt x="182" y="435"/>
                  </a:lnTo>
                  <a:lnTo>
                    <a:pt x="181" y="434"/>
                  </a:lnTo>
                  <a:lnTo>
                    <a:pt x="180" y="434"/>
                  </a:lnTo>
                  <a:lnTo>
                    <a:pt x="177" y="434"/>
                  </a:lnTo>
                  <a:lnTo>
                    <a:pt x="177" y="434"/>
                  </a:lnTo>
                  <a:lnTo>
                    <a:pt x="176" y="434"/>
                  </a:lnTo>
                  <a:lnTo>
                    <a:pt x="176" y="433"/>
                  </a:lnTo>
                  <a:lnTo>
                    <a:pt x="175" y="433"/>
                  </a:lnTo>
                  <a:lnTo>
                    <a:pt x="175" y="432"/>
                  </a:lnTo>
                  <a:lnTo>
                    <a:pt x="175" y="432"/>
                  </a:lnTo>
                  <a:lnTo>
                    <a:pt x="174" y="431"/>
                  </a:lnTo>
                  <a:lnTo>
                    <a:pt x="174" y="430"/>
                  </a:lnTo>
                  <a:lnTo>
                    <a:pt x="174" y="427"/>
                  </a:lnTo>
                  <a:lnTo>
                    <a:pt x="174" y="426"/>
                  </a:lnTo>
                  <a:lnTo>
                    <a:pt x="173" y="426"/>
                  </a:lnTo>
                  <a:lnTo>
                    <a:pt x="173" y="425"/>
                  </a:lnTo>
                  <a:lnTo>
                    <a:pt x="173" y="424"/>
                  </a:lnTo>
                  <a:lnTo>
                    <a:pt x="172" y="424"/>
                  </a:lnTo>
                  <a:lnTo>
                    <a:pt x="172" y="423"/>
                  </a:lnTo>
                  <a:lnTo>
                    <a:pt x="171" y="423"/>
                  </a:lnTo>
                  <a:lnTo>
                    <a:pt x="171" y="423"/>
                  </a:lnTo>
                  <a:lnTo>
                    <a:pt x="170" y="423"/>
                  </a:lnTo>
                  <a:lnTo>
                    <a:pt x="170" y="423"/>
                  </a:lnTo>
                  <a:lnTo>
                    <a:pt x="169" y="423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67" y="425"/>
                  </a:lnTo>
                  <a:lnTo>
                    <a:pt x="167" y="425"/>
                  </a:lnTo>
                  <a:lnTo>
                    <a:pt x="166" y="426"/>
                  </a:lnTo>
                  <a:lnTo>
                    <a:pt x="164" y="430"/>
                  </a:lnTo>
                  <a:lnTo>
                    <a:pt x="163" y="432"/>
                  </a:lnTo>
                  <a:lnTo>
                    <a:pt x="163" y="433"/>
                  </a:lnTo>
                  <a:lnTo>
                    <a:pt x="162" y="434"/>
                  </a:lnTo>
                  <a:lnTo>
                    <a:pt x="162" y="435"/>
                  </a:lnTo>
                  <a:lnTo>
                    <a:pt x="162" y="436"/>
                  </a:lnTo>
                  <a:lnTo>
                    <a:pt x="162" y="437"/>
                  </a:lnTo>
                  <a:lnTo>
                    <a:pt x="162" y="439"/>
                  </a:lnTo>
                  <a:lnTo>
                    <a:pt x="163" y="440"/>
                  </a:lnTo>
                  <a:lnTo>
                    <a:pt x="163" y="442"/>
                  </a:lnTo>
                  <a:lnTo>
                    <a:pt x="164" y="443"/>
                  </a:lnTo>
                  <a:lnTo>
                    <a:pt x="165" y="445"/>
                  </a:lnTo>
                  <a:lnTo>
                    <a:pt x="166" y="447"/>
                  </a:lnTo>
                  <a:lnTo>
                    <a:pt x="166" y="448"/>
                  </a:lnTo>
                  <a:lnTo>
                    <a:pt x="166" y="449"/>
                  </a:lnTo>
                  <a:lnTo>
                    <a:pt x="166" y="450"/>
                  </a:lnTo>
                  <a:lnTo>
                    <a:pt x="166" y="451"/>
                  </a:lnTo>
                  <a:lnTo>
                    <a:pt x="166" y="452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65" y="454"/>
                  </a:lnTo>
                  <a:lnTo>
                    <a:pt x="164" y="455"/>
                  </a:lnTo>
                  <a:lnTo>
                    <a:pt x="162" y="457"/>
                  </a:lnTo>
                  <a:lnTo>
                    <a:pt x="160" y="459"/>
                  </a:lnTo>
                  <a:lnTo>
                    <a:pt x="159" y="460"/>
                  </a:lnTo>
                  <a:lnTo>
                    <a:pt x="158" y="460"/>
                  </a:lnTo>
                  <a:lnTo>
                    <a:pt x="158" y="461"/>
                  </a:lnTo>
                  <a:lnTo>
                    <a:pt x="157" y="462"/>
                  </a:lnTo>
                  <a:lnTo>
                    <a:pt x="155" y="465"/>
                  </a:lnTo>
                  <a:lnTo>
                    <a:pt x="153" y="467"/>
                  </a:lnTo>
                  <a:lnTo>
                    <a:pt x="151" y="470"/>
                  </a:lnTo>
                  <a:lnTo>
                    <a:pt x="150" y="471"/>
                  </a:lnTo>
                  <a:lnTo>
                    <a:pt x="149" y="472"/>
                  </a:lnTo>
                  <a:lnTo>
                    <a:pt x="149" y="473"/>
                  </a:lnTo>
                  <a:lnTo>
                    <a:pt x="148" y="473"/>
                  </a:lnTo>
                  <a:lnTo>
                    <a:pt x="147" y="474"/>
                  </a:lnTo>
                  <a:lnTo>
                    <a:pt x="146" y="474"/>
                  </a:lnTo>
                  <a:lnTo>
                    <a:pt x="146" y="475"/>
                  </a:lnTo>
                  <a:lnTo>
                    <a:pt x="145" y="475"/>
                  </a:lnTo>
                  <a:lnTo>
                    <a:pt x="144" y="475"/>
                  </a:lnTo>
                  <a:lnTo>
                    <a:pt x="143" y="475"/>
                  </a:lnTo>
                  <a:lnTo>
                    <a:pt x="143" y="475"/>
                  </a:lnTo>
                  <a:lnTo>
                    <a:pt x="139" y="475"/>
                  </a:lnTo>
                  <a:lnTo>
                    <a:pt x="138" y="476"/>
                  </a:lnTo>
                  <a:lnTo>
                    <a:pt x="134" y="476"/>
                  </a:lnTo>
                  <a:lnTo>
                    <a:pt x="132" y="476"/>
                  </a:lnTo>
                  <a:lnTo>
                    <a:pt x="131" y="477"/>
                  </a:lnTo>
                  <a:lnTo>
                    <a:pt x="125" y="478"/>
                  </a:lnTo>
                  <a:lnTo>
                    <a:pt x="124" y="478"/>
                  </a:lnTo>
                  <a:lnTo>
                    <a:pt x="122" y="478"/>
                  </a:lnTo>
                  <a:lnTo>
                    <a:pt x="121" y="478"/>
                  </a:lnTo>
                  <a:lnTo>
                    <a:pt x="120" y="479"/>
                  </a:lnTo>
                  <a:lnTo>
                    <a:pt x="120" y="479"/>
                  </a:lnTo>
                  <a:lnTo>
                    <a:pt x="119" y="479"/>
                  </a:lnTo>
                  <a:lnTo>
                    <a:pt x="118" y="480"/>
                  </a:lnTo>
                  <a:lnTo>
                    <a:pt x="117" y="481"/>
                  </a:lnTo>
                  <a:lnTo>
                    <a:pt x="117" y="482"/>
                  </a:lnTo>
                  <a:lnTo>
                    <a:pt x="116" y="482"/>
                  </a:lnTo>
                  <a:lnTo>
                    <a:pt x="115" y="485"/>
                  </a:lnTo>
                  <a:lnTo>
                    <a:pt x="114" y="485"/>
                  </a:lnTo>
                  <a:lnTo>
                    <a:pt x="114" y="486"/>
                  </a:lnTo>
                  <a:lnTo>
                    <a:pt x="113" y="487"/>
                  </a:lnTo>
                  <a:lnTo>
                    <a:pt x="113" y="487"/>
                  </a:lnTo>
                  <a:lnTo>
                    <a:pt x="112" y="487"/>
                  </a:lnTo>
                  <a:lnTo>
                    <a:pt x="112" y="487"/>
                  </a:lnTo>
                  <a:lnTo>
                    <a:pt x="111" y="487"/>
                  </a:lnTo>
                  <a:lnTo>
                    <a:pt x="111" y="487"/>
                  </a:lnTo>
                  <a:lnTo>
                    <a:pt x="110" y="487"/>
                  </a:lnTo>
                  <a:lnTo>
                    <a:pt x="110" y="487"/>
                  </a:lnTo>
                  <a:lnTo>
                    <a:pt x="110" y="487"/>
                  </a:lnTo>
                  <a:lnTo>
                    <a:pt x="110" y="485"/>
                  </a:lnTo>
                  <a:lnTo>
                    <a:pt x="108" y="480"/>
                  </a:lnTo>
                  <a:lnTo>
                    <a:pt x="106" y="477"/>
                  </a:lnTo>
                  <a:lnTo>
                    <a:pt x="106" y="476"/>
                  </a:lnTo>
                  <a:lnTo>
                    <a:pt x="105" y="473"/>
                  </a:lnTo>
                  <a:lnTo>
                    <a:pt x="103" y="468"/>
                  </a:lnTo>
                  <a:lnTo>
                    <a:pt x="103" y="467"/>
                  </a:lnTo>
                  <a:lnTo>
                    <a:pt x="103" y="466"/>
                  </a:lnTo>
                  <a:lnTo>
                    <a:pt x="102" y="465"/>
                  </a:lnTo>
                  <a:lnTo>
                    <a:pt x="102" y="465"/>
                  </a:lnTo>
                  <a:lnTo>
                    <a:pt x="101" y="464"/>
                  </a:lnTo>
                  <a:lnTo>
                    <a:pt x="100" y="463"/>
                  </a:lnTo>
                  <a:lnTo>
                    <a:pt x="97" y="461"/>
                  </a:lnTo>
                  <a:lnTo>
                    <a:pt x="96" y="460"/>
                  </a:lnTo>
                  <a:lnTo>
                    <a:pt x="95" y="459"/>
                  </a:lnTo>
                  <a:lnTo>
                    <a:pt x="93" y="458"/>
                  </a:lnTo>
                  <a:lnTo>
                    <a:pt x="91" y="458"/>
                  </a:lnTo>
                  <a:lnTo>
                    <a:pt x="90" y="457"/>
                  </a:lnTo>
                  <a:lnTo>
                    <a:pt x="87" y="456"/>
                  </a:lnTo>
                  <a:lnTo>
                    <a:pt x="85" y="455"/>
                  </a:lnTo>
                  <a:lnTo>
                    <a:pt x="83" y="455"/>
                  </a:lnTo>
                  <a:lnTo>
                    <a:pt x="81" y="454"/>
                  </a:lnTo>
                  <a:lnTo>
                    <a:pt x="80" y="453"/>
                  </a:lnTo>
                  <a:lnTo>
                    <a:pt x="77" y="452"/>
                  </a:lnTo>
                  <a:lnTo>
                    <a:pt x="76" y="451"/>
                  </a:lnTo>
                  <a:lnTo>
                    <a:pt x="76" y="451"/>
                  </a:lnTo>
                  <a:lnTo>
                    <a:pt x="75" y="450"/>
                  </a:lnTo>
                  <a:lnTo>
                    <a:pt x="75" y="450"/>
                  </a:lnTo>
                  <a:lnTo>
                    <a:pt x="75" y="450"/>
                  </a:lnTo>
                  <a:lnTo>
                    <a:pt x="74" y="449"/>
                  </a:lnTo>
                  <a:lnTo>
                    <a:pt x="74" y="449"/>
                  </a:lnTo>
                  <a:lnTo>
                    <a:pt x="74" y="448"/>
                  </a:lnTo>
                  <a:lnTo>
                    <a:pt x="74" y="448"/>
                  </a:lnTo>
                  <a:lnTo>
                    <a:pt x="75" y="446"/>
                  </a:lnTo>
                  <a:lnTo>
                    <a:pt x="75" y="443"/>
                  </a:lnTo>
                  <a:lnTo>
                    <a:pt x="76" y="440"/>
                  </a:lnTo>
                  <a:lnTo>
                    <a:pt x="76" y="438"/>
                  </a:lnTo>
                  <a:lnTo>
                    <a:pt x="76" y="437"/>
                  </a:lnTo>
                  <a:lnTo>
                    <a:pt x="76" y="435"/>
                  </a:lnTo>
                  <a:lnTo>
                    <a:pt x="77" y="434"/>
                  </a:lnTo>
                  <a:lnTo>
                    <a:pt x="76" y="432"/>
                  </a:lnTo>
                  <a:lnTo>
                    <a:pt x="76" y="431"/>
                  </a:lnTo>
                  <a:lnTo>
                    <a:pt x="76" y="431"/>
                  </a:lnTo>
                  <a:lnTo>
                    <a:pt x="76" y="430"/>
                  </a:lnTo>
                  <a:lnTo>
                    <a:pt x="76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4" y="430"/>
                  </a:lnTo>
                  <a:lnTo>
                    <a:pt x="74" y="431"/>
                  </a:lnTo>
                  <a:lnTo>
                    <a:pt x="73" y="432"/>
                  </a:lnTo>
                  <a:lnTo>
                    <a:pt x="73" y="433"/>
                  </a:lnTo>
                  <a:lnTo>
                    <a:pt x="72" y="433"/>
                  </a:lnTo>
                  <a:lnTo>
                    <a:pt x="72" y="433"/>
                  </a:lnTo>
                  <a:lnTo>
                    <a:pt x="72" y="433"/>
                  </a:lnTo>
                  <a:lnTo>
                    <a:pt x="71" y="433"/>
                  </a:lnTo>
                  <a:lnTo>
                    <a:pt x="71" y="433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69" y="432"/>
                  </a:lnTo>
                  <a:lnTo>
                    <a:pt x="69" y="432"/>
                  </a:lnTo>
                  <a:lnTo>
                    <a:pt x="68" y="431"/>
                  </a:lnTo>
                  <a:lnTo>
                    <a:pt x="67" y="431"/>
                  </a:lnTo>
                  <a:lnTo>
                    <a:pt x="66" y="429"/>
                  </a:lnTo>
                  <a:lnTo>
                    <a:pt x="66" y="428"/>
                  </a:lnTo>
                  <a:lnTo>
                    <a:pt x="65" y="428"/>
                  </a:lnTo>
                  <a:lnTo>
                    <a:pt x="65" y="427"/>
                  </a:lnTo>
                  <a:lnTo>
                    <a:pt x="63" y="424"/>
                  </a:lnTo>
                  <a:lnTo>
                    <a:pt x="63" y="424"/>
                  </a:lnTo>
                  <a:lnTo>
                    <a:pt x="63" y="423"/>
                  </a:lnTo>
                  <a:lnTo>
                    <a:pt x="62" y="422"/>
                  </a:lnTo>
                  <a:lnTo>
                    <a:pt x="62" y="422"/>
                  </a:lnTo>
                  <a:lnTo>
                    <a:pt x="60" y="421"/>
                  </a:lnTo>
                  <a:lnTo>
                    <a:pt x="59" y="420"/>
                  </a:lnTo>
                  <a:lnTo>
                    <a:pt x="59" y="419"/>
                  </a:lnTo>
                  <a:lnTo>
                    <a:pt x="58" y="418"/>
                  </a:lnTo>
                  <a:lnTo>
                    <a:pt x="58" y="417"/>
                  </a:lnTo>
                  <a:lnTo>
                    <a:pt x="57" y="417"/>
                  </a:lnTo>
                  <a:lnTo>
                    <a:pt x="57" y="414"/>
                  </a:lnTo>
                  <a:lnTo>
                    <a:pt x="56" y="410"/>
                  </a:lnTo>
                  <a:lnTo>
                    <a:pt x="55" y="408"/>
                  </a:lnTo>
                  <a:lnTo>
                    <a:pt x="54" y="407"/>
                  </a:lnTo>
                  <a:lnTo>
                    <a:pt x="54" y="406"/>
                  </a:lnTo>
                  <a:lnTo>
                    <a:pt x="53" y="405"/>
                  </a:lnTo>
                  <a:lnTo>
                    <a:pt x="52" y="404"/>
                  </a:lnTo>
                  <a:lnTo>
                    <a:pt x="52" y="403"/>
                  </a:lnTo>
                  <a:lnTo>
                    <a:pt x="52" y="402"/>
                  </a:lnTo>
                  <a:lnTo>
                    <a:pt x="51" y="401"/>
                  </a:lnTo>
                  <a:lnTo>
                    <a:pt x="50" y="400"/>
                  </a:lnTo>
                  <a:lnTo>
                    <a:pt x="50" y="399"/>
                  </a:lnTo>
                  <a:lnTo>
                    <a:pt x="48" y="398"/>
                  </a:lnTo>
                  <a:lnTo>
                    <a:pt x="47" y="397"/>
                  </a:lnTo>
                  <a:lnTo>
                    <a:pt x="47" y="396"/>
                  </a:lnTo>
                  <a:lnTo>
                    <a:pt x="46" y="394"/>
                  </a:lnTo>
                  <a:lnTo>
                    <a:pt x="45" y="393"/>
                  </a:lnTo>
                  <a:lnTo>
                    <a:pt x="45" y="392"/>
                  </a:lnTo>
                  <a:lnTo>
                    <a:pt x="44" y="391"/>
                  </a:lnTo>
                  <a:lnTo>
                    <a:pt x="43" y="390"/>
                  </a:lnTo>
                  <a:lnTo>
                    <a:pt x="42" y="389"/>
                  </a:lnTo>
                  <a:lnTo>
                    <a:pt x="42" y="389"/>
                  </a:lnTo>
                  <a:lnTo>
                    <a:pt x="41" y="388"/>
                  </a:lnTo>
                  <a:lnTo>
                    <a:pt x="40" y="388"/>
                  </a:lnTo>
                  <a:lnTo>
                    <a:pt x="38" y="388"/>
                  </a:lnTo>
                  <a:lnTo>
                    <a:pt x="36" y="387"/>
                  </a:lnTo>
                  <a:lnTo>
                    <a:pt x="34" y="387"/>
                  </a:lnTo>
                  <a:lnTo>
                    <a:pt x="33" y="387"/>
                  </a:lnTo>
                  <a:lnTo>
                    <a:pt x="32" y="387"/>
                  </a:lnTo>
                  <a:lnTo>
                    <a:pt x="31" y="387"/>
                  </a:lnTo>
                  <a:lnTo>
                    <a:pt x="30" y="387"/>
                  </a:lnTo>
                  <a:lnTo>
                    <a:pt x="28" y="387"/>
                  </a:lnTo>
                  <a:lnTo>
                    <a:pt x="27" y="388"/>
                  </a:lnTo>
                  <a:lnTo>
                    <a:pt x="25" y="389"/>
                  </a:lnTo>
                  <a:lnTo>
                    <a:pt x="24" y="390"/>
                  </a:lnTo>
                  <a:lnTo>
                    <a:pt x="23" y="391"/>
                  </a:lnTo>
                  <a:lnTo>
                    <a:pt x="21" y="392"/>
                  </a:lnTo>
                  <a:lnTo>
                    <a:pt x="20" y="394"/>
                  </a:lnTo>
                  <a:lnTo>
                    <a:pt x="19" y="394"/>
                  </a:lnTo>
                  <a:lnTo>
                    <a:pt x="19" y="394"/>
                  </a:lnTo>
                  <a:lnTo>
                    <a:pt x="19" y="395"/>
                  </a:lnTo>
                  <a:lnTo>
                    <a:pt x="19" y="395"/>
                  </a:lnTo>
                  <a:lnTo>
                    <a:pt x="19" y="395"/>
                  </a:lnTo>
                  <a:lnTo>
                    <a:pt x="19" y="396"/>
                  </a:lnTo>
                  <a:lnTo>
                    <a:pt x="20" y="396"/>
                  </a:lnTo>
                  <a:lnTo>
                    <a:pt x="20" y="397"/>
                  </a:lnTo>
                  <a:lnTo>
                    <a:pt x="21" y="398"/>
                  </a:lnTo>
                  <a:lnTo>
                    <a:pt x="21" y="398"/>
                  </a:lnTo>
                  <a:lnTo>
                    <a:pt x="21" y="399"/>
                  </a:lnTo>
                  <a:lnTo>
                    <a:pt x="22" y="399"/>
                  </a:lnTo>
                  <a:lnTo>
                    <a:pt x="27" y="404"/>
                  </a:lnTo>
                  <a:lnTo>
                    <a:pt x="27" y="404"/>
                  </a:lnTo>
                  <a:lnTo>
                    <a:pt x="28" y="405"/>
                  </a:lnTo>
                  <a:lnTo>
                    <a:pt x="28" y="406"/>
                  </a:lnTo>
                  <a:lnTo>
                    <a:pt x="28" y="407"/>
                  </a:lnTo>
                  <a:lnTo>
                    <a:pt x="29" y="408"/>
                  </a:lnTo>
                  <a:lnTo>
                    <a:pt x="29" y="409"/>
                  </a:lnTo>
                  <a:lnTo>
                    <a:pt x="30" y="410"/>
                  </a:lnTo>
                  <a:lnTo>
                    <a:pt x="31" y="412"/>
                  </a:lnTo>
                  <a:lnTo>
                    <a:pt x="31" y="413"/>
                  </a:lnTo>
                  <a:lnTo>
                    <a:pt x="32" y="414"/>
                  </a:lnTo>
                  <a:lnTo>
                    <a:pt x="32" y="415"/>
                  </a:lnTo>
                  <a:lnTo>
                    <a:pt x="32" y="415"/>
                  </a:lnTo>
                  <a:lnTo>
                    <a:pt x="32" y="416"/>
                  </a:lnTo>
                  <a:lnTo>
                    <a:pt x="32" y="417"/>
                  </a:lnTo>
                  <a:lnTo>
                    <a:pt x="32" y="417"/>
                  </a:lnTo>
                  <a:lnTo>
                    <a:pt x="32" y="418"/>
                  </a:lnTo>
                  <a:lnTo>
                    <a:pt x="32" y="418"/>
                  </a:lnTo>
                  <a:lnTo>
                    <a:pt x="31" y="419"/>
                  </a:lnTo>
                  <a:lnTo>
                    <a:pt x="30" y="421"/>
                  </a:lnTo>
                  <a:lnTo>
                    <a:pt x="29" y="422"/>
                  </a:lnTo>
                  <a:lnTo>
                    <a:pt x="28" y="424"/>
                  </a:lnTo>
                  <a:lnTo>
                    <a:pt x="27" y="427"/>
                  </a:lnTo>
                  <a:lnTo>
                    <a:pt x="27" y="429"/>
                  </a:lnTo>
                  <a:lnTo>
                    <a:pt x="26" y="430"/>
                  </a:lnTo>
                  <a:lnTo>
                    <a:pt x="25" y="431"/>
                  </a:lnTo>
                  <a:lnTo>
                    <a:pt x="25" y="432"/>
                  </a:lnTo>
                  <a:lnTo>
                    <a:pt x="23" y="433"/>
                  </a:lnTo>
                  <a:lnTo>
                    <a:pt x="22" y="434"/>
                  </a:lnTo>
                  <a:lnTo>
                    <a:pt x="21" y="435"/>
                  </a:lnTo>
                  <a:lnTo>
                    <a:pt x="20" y="436"/>
                  </a:lnTo>
                  <a:lnTo>
                    <a:pt x="19" y="436"/>
                  </a:lnTo>
                  <a:lnTo>
                    <a:pt x="18" y="437"/>
                  </a:lnTo>
                  <a:lnTo>
                    <a:pt x="17" y="437"/>
                  </a:lnTo>
                  <a:lnTo>
                    <a:pt x="16" y="437"/>
                  </a:lnTo>
                  <a:lnTo>
                    <a:pt x="15" y="437"/>
                  </a:lnTo>
                  <a:lnTo>
                    <a:pt x="14" y="436"/>
                  </a:lnTo>
                  <a:lnTo>
                    <a:pt x="12" y="436"/>
                  </a:lnTo>
                  <a:lnTo>
                    <a:pt x="11" y="435"/>
                  </a:lnTo>
                  <a:lnTo>
                    <a:pt x="9" y="434"/>
                  </a:lnTo>
                  <a:lnTo>
                    <a:pt x="6" y="431"/>
                  </a:lnTo>
                  <a:lnTo>
                    <a:pt x="4" y="430"/>
                  </a:lnTo>
                  <a:lnTo>
                    <a:pt x="3" y="429"/>
                  </a:lnTo>
                  <a:lnTo>
                    <a:pt x="3" y="429"/>
                  </a:lnTo>
                  <a:lnTo>
                    <a:pt x="1" y="427"/>
                  </a:lnTo>
                  <a:lnTo>
                    <a:pt x="1" y="427"/>
                  </a:lnTo>
                  <a:lnTo>
                    <a:pt x="0" y="426"/>
                  </a:lnTo>
                  <a:lnTo>
                    <a:pt x="0" y="426"/>
                  </a:lnTo>
                  <a:lnTo>
                    <a:pt x="0" y="425"/>
                  </a:lnTo>
                  <a:lnTo>
                    <a:pt x="0" y="424"/>
                  </a:lnTo>
                  <a:lnTo>
                    <a:pt x="0" y="423"/>
                  </a:lnTo>
                  <a:lnTo>
                    <a:pt x="0" y="423"/>
                  </a:lnTo>
                  <a:lnTo>
                    <a:pt x="0" y="422"/>
                  </a:lnTo>
                  <a:lnTo>
                    <a:pt x="1" y="421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Freeform 36">
              <a:extLst>
                <a:ext uri="{FF2B5EF4-FFF2-40B4-BE49-F238E27FC236}">
                  <a16:creationId xmlns:a16="http://schemas.microsoft.com/office/drawing/2014/main" id="{45872B3A-B518-434C-86E6-ECD9EBB989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140"/>
              <a:ext cx="169" cy="475"/>
            </a:xfrm>
            <a:custGeom>
              <a:avLst/>
              <a:gdLst>
                <a:gd name="T0" fmla="*/ 36 w 169"/>
                <a:gd name="T1" fmla="*/ 470 h 475"/>
                <a:gd name="T2" fmla="*/ 35 w 169"/>
                <a:gd name="T3" fmla="*/ 464 h 475"/>
                <a:gd name="T4" fmla="*/ 28 w 169"/>
                <a:gd name="T5" fmla="*/ 449 h 475"/>
                <a:gd name="T6" fmla="*/ 27 w 169"/>
                <a:gd name="T7" fmla="*/ 436 h 475"/>
                <a:gd name="T8" fmla="*/ 34 w 169"/>
                <a:gd name="T9" fmla="*/ 426 h 475"/>
                <a:gd name="T10" fmla="*/ 34 w 169"/>
                <a:gd name="T11" fmla="*/ 424 h 475"/>
                <a:gd name="T12" fmla="*/ 15 w 169"/>
                <a:gd name="T13" fmla="*/ 419 h 475"/>
                <a:gd name="T14" fmla="*/ 13 w 169"/>
                <a:gd name="T15" fmla="*/ 416 h 475"/>
                <a:gd name="T16" fmla="*/ 13 w 169"/>
                <a:gd name="T17" fmla="*/ 405 h 475"/>
                <a:gd name="T18" fmla="*/ 18 w 169"/>
                <a:gd name="T19" fmla="*/ 403 h 475"/>
                <a:gd name="T20" fmla="*/ 26 w 169"/>
                <a:gd name="T21" fmla="*/ 403 h 475"/>
                <a:gd name="T22" fmla="*/ 29 w 169"/>
                <a:gd name="T23" fmla="*/ 395 h 475"/>
                <a:gd name="T24" fmla="*/ 31 w 169"/>
                <a:gd name="T25" fmla="*/ 386 h 475"/>
                <a:gd name="T26" fmla="*/ 30 w 169"/>
                <a:gd name="T27" fmla="*/ 374 h 475"/>
                <a:gd name="T28" fmla="*/ 32 w 169"/>
                <a:gd name="T29" fmla="*/ 366 h 475"/>
                <a:gd name="T30" fmla="*/ 40 w 169"/>
                <a:gd name="T31" fmla="*/ 355 h 475"/>
                <a:gd name="T32" fmla="*/ 40 w 169"/>
                <a:gd name="T33" fmla="*/ 341 h 475"/>
                <a:gd name="T34" fmla="*/ 36 w 169"/>
                <a:gd name="T35" fmla="*/ 335 h 475"/>
                <a:gd name="T36" fmla="*/ 28 w 169"/>
                <a:gd name="T37" fmla="*/ 333 h 475"/>
                <a:gd name="T38" fmla="*/ 28 w 169"/>
                <a:gd name="T39" fmla="*/ 328 h 475"/>
                <a:gd name="T40" fmla="*/ 26 w 169"/>
                <a:gd name="T41" fmla="*/ 320 h 475"/>
                <a:gd name="T42" fmla="*/ 20 w 169"/>
                <a:gd name="T43" fmla="*/ 308 h 475"/>
                <a:gd name="T44" fmla="*/ 12 w 169"/>
                <a:gd name="T45" fmla="*/ 294 h 475"/>
                <a:gd name="T46" fmla="*/ 7 w 169"/>
                <a:gd name="T47" fmla="*/ 284 h 475"/>
                <a:gd name="T48" fmla="*/ 9 w 169"/>
                <a:gd name="T49" fmla="*/ 275 h 475"/>
                <a:gd name="T50" fmla="*/ 13 w 169"/>
                <a:gd name="T51" fmla="*/ 266 h 475"/>
                <a:gd name="T52" fmla="*/ 11 w 169"/>
                <a:gd name="T53" fmla="*/ 250 h 475"/>
                <a:gd name="T54" fmla="*/ 5 w 169"/>
                <a:gd name="T55" fmla="*/ 230 h 475"/>
                <a:gd name="T56" fmla="*/ 1 w 169"/>
                <a:gd name="T57" fmla="*/ 212 h 475"/>
                <a:gd name="T58" fmla="*/ 3 w 169"/>
                <a:gd name="T59" fmla="*/ 209 h 475"/>
                <a:gd name="T60" fmla="*/ 11 w 169"/>
                <a:gd name="T61" fmla="*/ 206 h 475"/>
                <a:gd name="T62" fmla="*/ 22 w 169"/>
                <a:gd name="T63" fmla="*/ 196 h 475"/>
                <a:gd name="T64" fmla="*/ 27 w 169"/>
                <a:gd name="T65" fmla="*/ 189 h 475"/>
                <a:gd name="T66" fmla="*/ 25 w 169"/>
                <a:gd name="T67" fmla="*/ 177 h 475"/>
                <a:gd name="T68" fmla="*/ 27 w 169"/>
                <a:gd name="T69" fmla="*/ 167 h 475"/>
                <a:gd name="T70" fmla="*/ 28 w 169"/>
                <a:gd name="T71" fmla="*/ 157 h 475"/>
                <a:gd name="T72" fmla="*/ 38 w 169"/>
                <a:gd name="T73" fmla="*/ 132 h 475"/>
                <a:gd name="T74" fmla="*/ 41 w 169"/>
                <a:gd name="T75" fmla="*/ 118 h 475"/>
                <a:gd name="T76" fmla="*/ 43 w 169"/>
                <a:gd name="T77" fmla="*/ 115 h 475"/>
                <a:gd name="T78" fmla="*/ 53 w 169"/>
                <a:gd name="T79" fmla="*/ 106 h 475"/>
                <a:gd name="T80" fmla="*/ 64 w 169"/>
                <a:gd name="T81" fmla="*/ 103 h 475"/>
                <a:gd name="T82" fmla="*/ 72 w 169"/>
                <a:gd name="T83" fmla="*/ 98 h 475"/>
                <a:gd name="T84" fmla="*/ 80 w 169"/>
                <a:gd name="T85" fmla="*/ 103 h 475"/>
                <a:gd name="T86" fmla="*/ 85 w 169"/>
                <a:gd name="T87" fmla="*/ 103 h 475"/>
                <a:gd name="T88" fmla="*/ 85 w 169"/>
                <a:gd name="T89" fmla="*/ 94 h 475"/>
                <a:gd name="T90" fmla="*/ 85 w 169"/>
                <a:gd name="T91" fmla="*/ 80 h 475"/>
                <a:gd name="T92" fmla="*/ 80 w 169"/>
                <a:gd name="T93" fmla="*/ 69 h 475"/>
                <a:gd name="T94" fmla="*/ 66 w 169"/>
                <a:gd name="T95" fmla="*/ 60 h 475"/>
                <a:gd name="T96" fmla="*/ 59 w 169"/>
                <a:gd name="T97" fmla="*/ 49 h 475"/>
                <a:gd name="T98" fmla="*/ 52 w 169"/>
                <a:gd name="T99" fmla="*/ 30 h 475"/>
                <a:gd name="T100" fmla="*/ 42 w 169"/>
                <a:gd name="T101" fmla="*/ 21 h 475"/>
                <a:gd name="T102" fmla="*/ 39 w 169"/>
                <a:gd name="T103" fmla="*/ 15 h 475"/>
                <a:gd name="T104" fmla="*/ 45 w 169"/>
                <a:gd name="T105" fmla="*/ 5 h 475"/>
                <a:gd name="T106" fmla="*/ 51 w 169"/>
                <a:gd name="T107" fmla="*/ 0 h 475"/>
                <a:gd name="T108" fmla="*/ 68 w 169"/>
                <a:gd name="T109" fmla="*/ 10 h 475"/>
                <a:gd name="T110" fmla="*/ 79 w 169"/>
                <a:gd name="T111" fmla="*/ 11 h 475"/>
                <a:gd name="T112" fmla="*/ 98 w 169"/>
                <a:gd name="T113" fmla="*/ 18 h 475"/>
                <a:gd name="T114" fmla="*/ 111 w 169"/>
                <a:gd name="T115" fmla="*/ 21 h 475"/>
                <a:gd name="T116" fmla="*/ 124 w 169"/>
                <a:gd name="T117" fmla="*/ 28 h 475"/>
                <a:gd name="T118" fmla="*/ 136 w 169"/>
                <a:gd name="T119" fmla="*/ 28 h 475"/>
                <a:gd name="T120" fmla="*/ 141 w 169"/>
                <a:gd name="T121" fmla="*/ 38 h 475"/>
                <a:gd name="T122" fmla="*/ 151 w 169"/>
                <a:gd name="T123" fmla="*/ 49 h 475"/>
                <a:gd name="T124" fmla="*/ 162 w 169"/>
                <a:gd name="T125" fmla="*/ 55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9" h="475">
                  <a:moveTo>
                    <a:pt x="32" y="475"/>
                  </a:moveTo>
                  <a:lnTo>
                    <a:pt x="32" y="475"/>
                  </a:lnTo>
                  <a:lnTo>
                    <a:pt x="32" y="474"/>
                  </a:lnTo>
                  <a:lnTo>
                    <a:pt x="32" y="474"/>
                  </a:lnTo>
                  <a:lnTo>
                    <a:pt x="33" y="473"/>
                  </a:lnTo>
                  <a:lnTo>
                    <a:pt x="35" y="471"/>
                  </a:lnTo>
                  <a:lnTo>
                    <a:pt x="36" y="471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9"/>
                  </a:lnTo>
                  <a:lnTo>
                    <a:pt x="37" y="469"/>
                  </a:lnTo>
                  <a:lnTo>
                    <a:pt x="37" y="468"/>
                  </a:lnTo>
                  <a:lnTo>
                    <a:pt x="36" y="467"/>
                  </a:lnTo>
                  <a:lnTo>
                    <a:pt x="36" y="466"/>
                  </a:lnTo>
                  <a:lnTo>
                    <a:pt x="35" y="465"/>
                  </a:lnTo>
                  <a:lnTo>
                    <a:pt x="35" y="464"/>
                  </a:lnTo>
                  <a:lnTo>
                    <a:pt x="34" y="463"/>
                  </a:lnTo>
                  <a:lnTo>
                    <a:pt x="32" y="460"/>
                  </a:lnTo>
                  <a:lnTo>
                    <a:pt x="31" y="459"/>
                  </a:lnTo>
                  <a:lnTo>
                    <a:pt x="31" y="458"/>
                  </a:lnTo>
                  <a:lnTo>
                    <a:pt x="30" y="457"/>
                  </a:lnTo>
                  <a:lnTo>
                    <a:pt x="30" y="456"/>
                  </a:lnTo>
                  <a:lnTo>
                    <a:pt x="29" y="453"/>
                  </a:lnTo>
                  <a:lnTo>
                    <a:pt x="28" y="449"/>
                  </a:lnTo>
                  <a:lnTo>
                    <a:pt x="27" y="446"/>
                  </a:lnTo>
                  <a:lnTo>
                    <a:pt x="27" y="445"/>
                  </a:lnTo>
                  <a:lnTo>
                    <a:pt x="27" y="443"/>
                  </a:lnTo>
                  <a:lnTo>
                    <a:pt x="27" y="442"/>
                  </a:lnTo>
                  <a:lnTo>
                    <a:pt x="27" y="440"/>
                  </a:lnTo>
                  <a:lnTo>
                    <a:pt x="27" y="439"/>
                  </a:lnTo>
                  <a:lnTo>
                    <a:pt x="27" y="437"/>
                  </a:lnTo>
                  <a:lnTo>
                    <a:pt x="27" y="436"/>
                  </a:lnTo>
                  <a:lnTo>
                    <a:pt x="28" y="435"/>
                  </a:lnTo>
                  <a:lnTo>
                    <a:pt x="30" y="432"/>
                  </a:lnTo>
                  <a:lnTo>
                    <a:pt x="30" y="431"/>
                  </a:lnTo>
                  <a:lnTo>
                    <a:pt x="32" y="429"/>
                  </a:lnTo>
                  <a:lnTo>
                    <a:pt x="32" y="428"/>
                  </a:lnTo>
                  <a:lnTo>
                    <a:pt x="33" y="428"/>
                  </a:lnTo>
                  <a:lnTo>
                    <a:pt x="34" y="427"/>
                  </a:lnTo>
                  <a:lnTo>
                    <a:pt x="34" y="426"/>
                  </a:lnTo>
                  <a:lnTo>
                    <a:pt x="35" y="426"/>
                  </a:lnTo>
                  <a:lnTo>
                    <a:pt x="35" y="425"/>
                  </a:lnTo>
                  <a:lnTo>
                    <a:pt x="36" y="425"/>
                  </a:lnTo>
                  <a:lnTo>
                    <a:pt x="36" y="425"/>
                  </a:lnTo>
                  <a:lnTo>
                    <a:pt x="36" y="424"/>
                  </a:lnTo>
                  <a:lnTo>
                    <a:pt x="35" y="424"/>
                  </a:lnTo>
                  <a:lnTo>
                    <a:pt x="35" y="424"/>
                  </a:lnTo>
                  <a:lnTo>
                    <a:pt x="34" y="424"/>
                  </a:lnTo>
                  <a:lnTo>
                    <a:pt x="32" y="423"/>
                  </a:lnTo>
                  <a:lnTo>
                    <a:pt x="30" y="423"/>
                  </a:lnTo>
                  <a:lnTo>
                    <a:pt x="29" y="423"/>
                  </a:lnTo>
                  <a:lnTo>
                    <a:pt x="27" y="423"/>
                  </a:lnTo>
                  <a:lnTo>
                    <a:pt x="25" y="422"/>
                  </a:lnTo>
                  <a:lnTo>
                    <a:pt x="21" y="421"/>
                  </a:lnTo>
                  <a:lnTo>
                    <a:pt x="18" y="420"/>
                  </a:lnTo>
                  <a:lnTo>
                    <a:pt x="15" y="419"/>
                  </a:lnTo>
                  <a:lnTo>
                    <a:pt x="15" y="419"/>
                  </a:lnTo>
                  <a:lnTo>
                    <a:pt x="14" y="419"/>
                  </a:lnTo>
                  <a:lnTo>
                    <a:pt x="14" y="418"/>
                  </a:lnTo>
                  <a:lnTo>
                    <a:pt x="13" y="418"/>
                  </a:lnTo>
                  <a:lnTo>
                    <a:pt x="13" y="418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3" y="416"/>
                  </a:lnTo>
                  <a:lnTo>
                    <a:pt x="13" y="415"/>
                  </a:lnTo>
                  <a:lnTo>
                    <a:pt x="13" y="413"/>
                  </a:lnTo>
                  <a:lnTo>
                    <a:pt x="13" y="412"/>
                  </a:lnTo>
                  <a:lnTo>
                    <a:pt x="13" y="411"/>
                  </a:lnTo>
                  <a:lnTo>
                    <a:pt x="12" y="408"/>
                  </a:lnTo>
                  <a:lnTo>
                    <a:pt x="12" y="407"/>
                  </a:lnTo>
                  <a:lnTo>
                    <a:pt x="12" y="406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4" y="403"/>
                  </a:lnTo>
                  <a:lnTo>
                    <a:pt x="14" y="402"/>
                  </a:lnTo>
                  <a:lnTo>
                    <a:pt x="15" y="402"/>
                  </a:lnTo>
                  <a:lnTo>
                    <a:pt x="15" y="402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3" y="404"/>
                  </a:lnTo>
                  <a:lnTo>
                    <a:pt x="24" y="404"/>
                  </a:lnTo>
                  <a:lnTo>
                    <a:pt x="25" y="404"/>
                  </a:lnTo>
                  <a:lnTo>
                    <a:pt x="25" y="404"/>
                  </a:lnTo>
                  <a:lnTo>
                    <a:pt x="25" y="403"/>
                  </a:lnTo>
                  <a:lnTo>
                    <a:pt x="26" y="403"/>
                  </a:lnTo>
                  <a:lnTo>
                    <a:pt x="26" y="403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8" y="397"/>
                  </a:lnTo>
                  <a:lnTo>
                    <a:pt x="29" y="396"/>
                  </a:lnTo>
                  <a:lnTo>
                    <a:pt x="29" y="395"/>
                  </a:lnTo>
                  <a:lnTo>
                    <a:pt x="29" y="394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0" y="389"/>
                  </a:lnTo>
                  <a:lnTo>
                    <a:pt x="31" y="386"/>
                  </a:lnTo>
                  <a:lnTo>
                    <a:pt x="32" y="384"/>
                  </a:lnTo>
                  <a:lnTo>
                    <a:pt x="32" y="382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80"/>
                  </a:lnTo>
                  <a:lnTo>
                    <a:pt x="31" y="377"/>
                  </a:lnTo>
                  <a:lnTo>
                    <a:pt x="30" y="375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3"/>
                  </a:lnTo>
                  <a:lnTo>
                    <a:pt x="30" y="371"/>
                  </a:lnTo>
                  <a:lnTo>
                    <a:pt x="30" y="370"/>
                  </a:lnTo>
                  <a:lnTo>
                    <a:pt x="30" y="369"/>
                  </a:lnTo>
                  <a:lnTo>
                    <a:pt x="31" y="368"/>
                  </a:lnTo>
                  <a:lnTo>
                    <a:pt x="31" y="367"/>
                  </a:lnTo>
                  <a:lnTo>
                    <a:pt x="32" y="366"/>
                  </a:lnTo>
                  <a:lnTo>
                    <a:pt x="33" y="365"/>
                  </a:lnTo>
                  <a:lnTo>
                    <a:pt x="33" y="364"/>
                  </a:lnTo>
                  <a:lnTo>
                    <a:pt x="36" y="361"/>
                  </a:lnTo>
                  <a:lnTo>
                    <a:pt x="38" y="358"/>
                  </a:lnTo>
                  <a:lnTo>
                    <a:pt x="39" y="357"/>
                  </a:lnTo>
                  <a:lnTo>
                    <a:pt x="39" y="356"/>
                  </a:lnTo>
                  <a:lnTo>
                    <a:pt x="39" y="356"/>
                  </a:lnTo>
                  <a:lnTo>
                    <a:pt x="40" y="355"/>
                  </a:lnTo>
                  <a:lnTo>
                    <a:pt x="40" y="353"/>
                  </a:lnTo>
                  <a:lnTo>
                    <a:pt x="41" y="352"/>
                  </a:lnTo>
                  <a:lnTo>
                    <a:pt x="41" y="350"/>
                  </a:lnTo>
                  <a:lnTo>
                    <a:pt x="41" y="348"/>
                  </a:lnTo>
                  <a:lnTo>
                    <a:pt x="41" y="347"/>
                  </a:lnTo>
                  <a:lnTo>
                    <a:pt x="41" y="346"/>
                  </a:lnTo>
                  <a:lnTo>
                    <a:pt x="40" y="342"/>
                  </a:lnTo>
                  <a:lnTo>
                    <a:pt x="40" y="341"/>
                  </a:lnTo>
                  <a:lnTo>
                    <a:pt x="40" y="340"/>
                  </a:lnTo>
                  <a:lnTo>
                    <a:pt x="40" y="339"/>
                  </a:lnTo>
                  <a:lnTo>
                    <a:pt x="39" y="338"/>
                  </a:lnTo>
                  <a:lnTo>
                    <a:pt x="39" y="338"/>
                  </a:lnTo>
                  <a:lnTo>
                    <a:pt x="38" y="337"/>
                  </a:lnTo>
                  <a:lnTo>
                    <a:pt x="38" y="336"/>
                  </a:lnTo>
                  <a:lnTo>
                    <a:pt x="37" y="336"/>
                  </a:lnTo>
                  <a:lnTo>
                    <a:pt x="36" y="335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4" y="334"/>
                  </a:lnTo>
                  <a:lnTo>
                    <a:pt x="31" y="334"/>
                  </a:lnTo>
                  <a:lnTo>
                    <a:pt x="30" y="333"/>
                  </a:lnTo>
                  <a:lnTo>
                    <a:pt x="29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7" y="333"/>
                  </a:lnTo>
                  <a:lnTo>
                    <a:pt x="27" y="333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1"/>
                  </a:lnTo>
                  <a:lnTo>
                    <a:pt x="27" y="330"/>
                  </a:lnTo>
                  <a:lnTo>
                    <a:pt x="28" y="328"/>
                  </a:lnTo>
                  <a:lnTo>
                    <a:pt x="28" y="327"/>
                  </a:lnTo>
                  <a:lnTo>
                    <a:pt x="28" y="326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8" y="324"/>
                  </a:lnTo>
                  <a:lnTo>
                    <a:pt x="27" y="321"/>
                  </a:lnTo>
                  <a:lnTo>
                    <a:pt x="26" y="321"/>
                  </a:lnTo>
                  <a:lnTo>
                    <a:pt x="26" y="320"/>
                  </a:lnTo>
                  <a:lnTo>
                    <a:pt x="26" y="317"/>
                  </a:lnTo>
                  <a:lnTo>
                    <a:pt x="26" y="316"/>
                  </a:lnTo>
                  <a:lnTo>
                    <a:pt x="25" y="315"/>
                  </a:lnTo>
                  <a:lnTo>
                    <a:pt x="25" y="314"/>
                  </a:lnTo>
                  <a:lnTo>
                    <a:pt x="24" y="314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7" y="305"/>
                  </a:lnTo>
                  <a:lnTo>
                    <a:pt x="16" y="304"/>
                  </a:lnTo>
                  <a:lnTo>
                    <a:pt x="15" y="302"/>
                  </a:lnTo>
                  <a:lnTo>
                    <a:pt x="15" y="300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12" y="294"/>
                  </a:lnTo>
                  <a:lnTo>
                    <a:pt x="12" y="293"/>
                  </a:lnTo>
                  <a:lnTo>
                    <a:pt x="12" y="292"/>
                  </a:lnTo>
                  <a:lnTo>
                    <a:pt x="11" y="291"/>
                  </a:lnTo>
                  <a:lnTo>
                    <a:pt x="9" y="288"/>
                  </a:lnTo>
                  <a:lnTo>
                    <a:pt x="8" y="287"/>
                  </a:lnTo>
                  <a:lnTo>
                    <a:pt x="8" y="286"/>
                  </a:lnTo>
                  <a:lnTo>
                    <a:pt x="8" y="285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6"/>
                  </a:lnTo>
                  <a:lnTo>
                    <a:pt x="9" y="275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2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8"/>
                  </a:lnTo>
                  <a:lnTo>
                    <a:pt x="13" y="267"/>
                  </a:lnTo>
                  <a:lnTo>
                    <a:pt x="13" y="266"/>
                  </a:lnTo>
                  <a:lnTo>
                    <a:pt x="13" y="266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2" y="260"/>
                  </a:lnTo>
                  <a:lnTo>
                    <a:pt x="12" y="258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7"/>
                  </a:lnTo>
                  <a:lnTo>
                    <a:pt x="10" y="246"/>
                  </a:lnTo>
                  <a:lnTo>
                    <a:pt x="9" y="241"/>
                  </a:lnTo>
                  <a:lnTo>
                    <a:pt x="7" y="236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5" y="230"/>
                  </a:lnTo>
                  <a:lnTo>
                    <a:pt x="4" y="225"/>
                  </a:lnTo>
                  <a:lnTo>
                    <a:pt x="4" y="223"/>
                  </a:lnTo>
                  <a:lnTo>
                    <a:pt x="3" y="220"/>
                  </a:lnTo>
                  <a:lnTo>
                    <a:pt x="1" y="216"/>
                  </a:lnTo>
                  <a:lnTo>
                    <a:pt x="1" y="215"/>
                  </a:lnTo>
                  <a:lnTo>
                    <a:pt x="1" y="214"/>
                  </a:lnTo>
                  <a:lnTo>
                    <a:pt x="0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1" y="210"/>
                  </a:lnTo>
                  <a:lnTo>
                    <a:pt x="1" y="210"/>
                  </a:lnTo>
                  <a:lnTo>
                    <a:pt x="2" y="210"/>
                  </a:lnTo>
                  <a:lnTo>
                    <a:pt x="2" y="210"/>
                  </a:lnTo>
                  <a:lnTo>
                    <a:pt x="3" y="209"/>
                  </a:lnTo>
                  <a:lnTo>
                    <a:pt x="4" y="209"/>
                  </a:lnTo>
                  <a:lnTo>
                    <a:pt x="5" y="209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0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3" y="205"/>
                  </a:lnTo>
                  <a:lnTo>
                    <a:pt x="14" y="204"/>
                  </a:lnTo>
                  <a:lnTo>
                    <a:pt x="15" y="203"/>
                  </a:lnTo>
                  <a:lnTo>
                    <a:pt x="15" y="202"/>
                  </a:lnTo>
                  <a:lnTo>
                    <a:pt x="18" y="199"/>
                  </a:lnTo>
                  <a:lnTo>
                    <a:pt x="19" y="198"/>
                  </a:lnTo>
                  <a:lnTo>
                    <a:pt x="22" y="196"/>
                  </a:lnTo>
                  <a:lnTo>
                    <a:pt x="23" y="194"/>
                  </a:lnTo>
                  <a:lnTo>
                    <a:pt x="24" y="194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2"/>
                  </a:lnTo>
                  <a:lnTo>
                    <a:pt x="26" y="191"/>
                  </a:lnTo>
                  <a:lnTo>
                    <a:pt x="26" y="190"/>
                  </a:lnTo>
                  <a:lnTo>
                    <a:pt x="27" y="189"/>
                  </a:lnTo>
                  <a:lnTo>
                    <a:pt x="27" y="188"/>
                  </a:lnTo>
                  <a:lnTo>
                    <a:pt x="27" y="187"/>
                  </a:lnTo>
                  <a:lnTo>
                    <a:pt x="27" y="185"/>
                  </a:lnTo>
                  <a:lnTo>
                    <a:pt x="26" y="182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0"/>
                  </a:lnTo>
                  <a:lnTo>
                    <a:pt x="27" y="169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6"/>
                  </a:lnTo>
                  <a:lnTo>
                    <a:pt x="27" y="162"/>
                  </a:lnTo>
                  <a:lnTo>
                    <a:pt x="27" y="161"/>
                  </a:lnTo>
                  <a:lnTo>
                    <a:pt x="27" y="160"/>
                  </a:lnTo>
                  <a:lnTo>
                    <a:pt x="27" y="159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30" y="150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4" y="143"/>
                  </a:lnTo>
                  <a:lnTo>
                    <a:pt x="36" y="135"/>
                  </a:lnTo>
                  <a:lnTo>
                    <a:pt x="38" y="132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40" y="125"/>
                  </a:lnTo>
                  <a:lnTo>
                    <a:pt x="40" y="123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4" y="114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9" y="108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5" y="105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3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1"/>
                  </a:lnTo>
                  <a:lnTo>
                    <a:pt x="69" y="100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6" y="99"/>
                  </a:lnTo>
                  <a:lnTo>
                    <a:pt x="79" y="102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1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3"/>
                  </a:lnTo>
                  <a:lnTo>
                    <a:pt x="85" y="103"/>
                  </a:lnTo>
                  <a:lnTo>
                    <a:pt x="85" y="102"/>
                  </a:lnTo>
                  <a:lnTo>
                    <a:pt x="86" y="102"/>
                  </a:lnTo>
                  <a:lnTo>
                    <a:pt x="86" y="101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6" y="97"/>
                  </a:lnTo>
                  <a:lnTo>
                    <a:pt x="85" y="94"/>
                  </a:lnTo>
                  <a:lnTo>
                    <a:pt x="85" y="92"/>
                  </a:lnTo>
                  <a:lnTo>
                    <a:pt x="84" y="91"/>
                  </a:lnTo>
                  <a:lnTo>
                    <a:pt x="84" y="89"/>
                  </a:lnTo>
                  <a:lnTo>
                    <a:pt x="84" y="88"/>
                  </a:lnTo>
                  <a:lnTo>
                    <a:pt x="84" y="87"/>
                  </a:lnTo>
                  <a:lnTo>
                    <a:pt x="85" y="83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5" y="78"/>
                  </a:lnTo>
                  <a:lnTo>
                    <a:pt x="84" y="77"/>
                  </a:lnTo>
                  <a:lnTo>
                    <a:pt x="84" y="75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79" y="68"/>
                  </a:lnTo>
                  <a:lnTo>
                    <a:pt x="78" y="67"/>
                  </a:lnTo>
                  <a:lnTo>
                    <a:pt x="77" y="66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68" y="62"/>
                  </a:lnTo>
                  <a:lnTo>
                    <a:pt x="67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1" y="54"/>
                  </a:lnTo>
                  <a:lnTo>
                    <a:pt x="59" y="49"/>
                  </a:lnTo>
                  <a:lnTo>
                    <a:pt x="57" y="44"/>
                  </a:lnTo>
                  <a:lnTo>
                    <a:pt x="56" y="42"/>
                  </a:lnTo>
                  <a:lnTo>
                    <a:pt x="55" y="40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3" y="32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8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4" y="6"/>
                  </a:lnTo>
                  <a:lnTo>
                    <a:pt x="45" y="5"/>
                  </a:lnTo>
                  <a:lnTo>
                    <a:pt x="46" y="4"/>
                  </a:lnTo>
                  <a:lnTo>
                    <a:pt x="47" y="3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9" y="5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0" y="12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6" y="14"/>
                  </a:lnTo>
                  <a:lnTo>
                    <a:pt x="92" y="16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8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3" y="22"/>
                  </a:lnTo>
                  <a:lnTo>
                    <a:pt x="113" y="23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5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8" y="31"/>
                  </a:lnTo>
                  <a:lnTo>
                    <a:pt x="140" y="35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3" y="40"/>
                  </a:lnTo>
                  <a:lnTo>
                    <a:pt x="144" y="41"/>
                  </a:lnTo>
                  <a:lnTo>
                    <a:pt x="145" y="43"/>
                  </a:lnTo>
                  <a:lnTo>
                    <a:pt x="146" y="44"/>
                  </a:lnTo>
                  <a:lnTo>
                    <a:pt x="147" y="45"/>
                  </a:lnTo>
                  <a:lnTo>
                    <a:pt x="148" y="46"/>
                  </a:lnTo>
                  <a:lnTo>
                    <a:pt x="149" y="47"/>
                  </a:lnTo>
                  <a:lnTo>
                    <a:pt x="151" y="49"/>
                  </a:lnTo>
                  <a:lnTo>
                    <a:pt x="153" y="50"/>
                  </a:lnTo>
                  <a:lnTo>
                    <a:pt x="154" y="51"/>
                  </a:lnTo>
                  <a:lnTo>
                    <a:pt x="155" y="52"/>
                  </a:lnTo>
                  <a:lnTo>
                    <a:pt x="156" y="52"/>
                  </a:lnTo>
                  <a:lnTo>
                    <a:pt x="158" y="53"/>
                  </a:lnTo>
                  <a:lnTo>
                    <a:pt x="160" y="54"/>
                  </a:lnTo>
                  <a:lnTo>
                    <a:pt x="161" y="54"/>
                  </a:lnTo>
                  <a:lnTo>
                    <a:pt x="162" y="55"/>
                  </a:lnTo>
                  <a:lnTo>
                    <a:pt x="163" y="55"/>
                  </a:lnTo>
                  <a:lnTo>
                    <a:pt x="164" y="55"/>
                  </a:lnTo>
                  <a:lnTo>
                    <a:pt x="165" y="55"/>
                  </a:lnTo>
                  <a:lnTo>
                    <a:pt x="166" y="56"/>
                  </a:lnTo>
                  <a:lnTo>
                    <a:pt x="167" y="56"/>
                  </a:lnTo>
                  <a:lnTo>
                    <a:pt x="169" y="56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Freeform 37">
              <a:extLst>
                <a:ext uri="{FF2B5EF4-FFF2-40B4-BE49-F238E27FC236}">
                  <a16:creationId xmlns:a16="http://schemas.microsoft.com/office/drawing/2014/main" id="{8B8AA6C0-45B6-EDFD-B774-3704C03F3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4" y="3551"/>
              <a:ext cx="387" cy="320"/>
            </a:xfrm>
            <a:custGeom>
              <a:avLst/>
              <a:gdLst>
                <a:gd name="T0" fmla="*/ 257 w 387"/>
                <a:gd name="T1" fmla="*/ 7 h 320"/>
                <a:gd name="T2" fmla="*/ 275 w 387"/>
                <a:gd name="T3" fmla="*/ 11 h 320"/>
                <a:gd name="T4" fmla="*/ 308 w 387"/>
                <a:gd name="T5" fmla="*/ 10 h 320"/>
                <a:gd name="T6" fmla="*/ 331 w 387"/>
                <a:gd name="T7" fmla="*/ 19 h 320"/>
                <a:gd name="T8" fmla="*/ 349 w 387"/>
                <a:gd name="T9" fmla="*/ 20 h 320"/>
                <a:gd name="T10" fmla="*/ 366 w 387"/>
                <a:gd name="T11" fmla="*/ 38 h 320"/>
                <a:gd name="T12" fmla="*/ 377 w 387"/>
                <a:gd name="T13" fmla="*/ 55 h 320"/>
                <a:gd name="T14" fmla="*/ 387 w 387"/>
                <a:gd name="T15" fmla="*/ 65 h 320"/>
                <a:gd name="T16" fmla="*/ 379 w 387"/>
                <a:gd name="T17" fmla="*/ 89 h 320"/>
                <a:gd name="T18" fmla="*/ 340 w 387"/>
                <a:gd name="T19" fmla="*/ 108 h 320"/>
                <a:gd name="T20" fmla="*/ 319 w 387"/>
                <a:gd name="T21" fmla="*/ 121 h 320"/>
                <a:gd name="T22" fmla="*/ 312 w 387"/>
                <a:gd name="T23" fmla="*/ 144 h 320"/>
                <a:gd name="T24" fmla="*/ 306 w 387"/>
                <a:gd name="T25" fmla="*/ 171 h 320"/>
                <a:gd name="T26" fmla="*/ 303 w 387"/>
                <a:gd name="T27" fmla="*/ 192 h 320"/>
                <a:gd name="T28" fmla="*/ 296 w 387"/>
                <a:gd name="T29" fmla="*/ 221 h 320"/>
                <a:gd name="T30" fmla="*/ 276 w 387"/>
                <a:gd name="T31" fmla="*/ 237 h 320"/>
                <a:gd name="T32" fmla="*/ 250 w 387"/>
                <a:gd name="T33" fmla="*/ 240 h 320"/>
                <a:gd name="T34" fmla="*/ 242 w 387"/>
                <a:gd name="T35" fmla="*/ 258 h 320"/>
                <a:gd name="T36" fmla="*/ 234 w 387"/>
                <a:gd name="T37" fmla="*/ 282 h 320"/>
                <a:gd name="T38" fmla="*/ 210 w 387"/>
                <a:gd name="T39" fmla="*/ 286 h 320"/>
                <a:gd name="T40" fmla="*/ 192 w 387"/>
                <a:gd name="T41" fmla="*/ 305 h 320"/>
                <a:gd name="T42" fmla="*/ 165 w 387"/>
                <a:gd name="T43" fmla="*/ 320 h 320"/>
                <a:gd name="T44" fmla="*/ 149 w 387"/>
                <a:gd name="T45" fmla="*/ 296 h 320"/>
                <a:gd name="T46" fmla="*/ 133 w 387"/>
                <a:gd name="T47" fmla="*/ 285 h 320"/>
                <a:gd name="T48" fmla="*/ 125 w 387"/>
                <a:gd name="T49" fmla="*/ 274 h 320"/>
                <a:gd name="T50" fmla="*/ 101 w 387"/>
                <a:gd name="T51" fmla="*/ 274 h 320"/>
                <a:gd name="T52" fmla="*/ 83 w 387"/>
                <a:gd name="T53" fmla="*/ 265 h 320"/>
                <a:gd name="T54" fmla="*/ 74 w 387"/>
                <a:gd name="T55" fmla="*/ 255 h 320"/>
                <a:gd name="T56" fmla="*/ 52 w 387"/>
                <a:gd name="T57" fmla="*/ 247 h 320"/>
                <a:gd name="T58" fmla="*/ 39 w 387"/>
                <a:gd name="T59" fmla="*/ 239 h 320"/>
                <a:gd name="T60" fmla="*/ 34 w 387"/>
                <a:gd name="T61" fmla="*/ 226 h 320"/>
                <a:gd name="T62" fmla="*/ 24 w 387"/>
                <a:gd name="T63" fmla="*/ 216 h 320"/>
                <a:gd name="T64" fmla="*/ 2 w 387"/>
                <a:gd name="T65" fmla="*/ 221 h 320"/>
                <a:gd name="T66" fmla="*/ 4 w 387"/>
                <a:gd name="T67" fmla="*/ 209 h 320"/>
                <a:gd name="T68" fmla="*/ 18 w 387"/>
                <a:gd name="T69" fmla="*/ 192 h 320"/>
                <a:gd name="T70" fmla="*/ 24 w 387"/>
                <a:gd name="T71" fmla="*/ 178 h 320"/>
                <a:gd name="T72" fmla="*/ 12 w 387"/>
                <a:gd name="T73" fmla="*/ 175 h 320"/>
                <a:gd name="T74" fmla="*/ 7 w 387"/>
                <a:gd name="T75" fmla="*/ 159 h 320"/>
                <a:gd name="T76" fmla="*/ 6 w 387"/>
                <a:gd name="T77" fmla="*/ 138 h 320"/>
                <a:gd name="T78" fmla="*/ 17 w 387"/>
                <a:gd name="T79" fmla="*/ 125 h 320"/>
                <a:gd name="T80" fmla="*/ 39 w 387"/>
                <a:gd name="T81" fmla="*/ 119 h 320"/>
                <a:gd name="T82" fmla="*/ 54 w 387"/>
                <a:gd name="T83" fmla="*/ 110 h 320"/>
                <a:gd name="T84" fmla="*/ 67 w 387"/>
                <a:gd name="T85" fmla="*/ 94 h 320"/>
                <a:gd name="T86" fmla="*/ 64 w 387"/>
                <a:gd name="T87" fmla="*/ 76 h 320"/>
                <a:gd name="T88" fmla="*/ 73 w 387"/>
                <a:gd name="T89" fmla="*/ 66 h 320"/>
                <a:gd name="T90" fmla="*/ 78 w 387"/>
                <a:gd name="T91" fmla="*/ 77 h 320"/>
                <a:gd name="T92" fmla="*/ 97 w 387"/>
                <a:gd name="T93" fmla="*/ 81 h 320"/>
                <a:gd name="T94" fmla="*/ 111 w 387"/>
                <a:gd name="T95" fmla="*/ 83 h 320"/>
                <a:gd name="T96" fmla="*/ 117 w 387"/>
                <a:gd name="T97" fmla="*/ 69 h 320"/>
                <a:gd name="T98" fmla="*/ 137 w 387"/>
                <a:gd name="T99" fmla="*/ 66 h 320"/>
                <a:gd name="T100" fmla="*/ 150 w 387"/>
                <a:gd name="T101" fmla="*/ 67 h 320"/>
                <a:gd name="T102" fmla="*/ 154 w 387"/>
                <a:gd name="T103" fmla="*/ 56 h 320"/>
                <a:gd name="T104" fmla="*/ 153 w 387"/>
                <a:gd name="T105" fmla="*/ 46 h 320"/>
                <a:gd name="T106" fmla="*/ 162 w 387"/>
                <a:gd name="T107" fmla="*/ 45 h 320"/>
                <a:gd name="T108" fmla="*/ 174 w 387"/>
                <a:gd name="T109" fmla="*/ 44 h 320"/>
                <a:gd name="T110" fmla="*/ 192 w 387"/>
                <a:gd name="T111" fmla="*/ 47 h 320"/>
                <a:gd name="T112" fmla="*/ 199 w 387"/>
                <a:gd name="T113" fmla="*/ 28 h 320"/>
                <a:gd name="T114" fmla="*/ 211 w 387"/>
                <a:gd name="T115" fmla="*/ 15 h 320"/>
                <a:gd name="T116" fmla="*/ 225 w 387"/>
                <a:gd name="T117" fmla="*/ 12 h 320"/>
                <a:gd name="T118" fmla="*/ 234 w 387"/>
                <a:gd name="T119" fmla="*/ 4 h 320"/>
                <a:gd name="T120" fmla="*/ 240 w 387"/>
                <a:gd name="T121" fmla="*/ 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87" h="320">
                  <a:moveTo>
                    <a:pt x="241" y="0"/>
                  </a:moveTo>
                  <a:lnTo>
                    <a:pt x="243" y="0"/>
                  </a:lnTo>
                  <a:lnTo>
                    <a:pt x="244" y="0"/>
                  </a:lnTo>
                  <a:lnTo>
                    <a:pt x="246" y="0"/>
                  </a:lnTo>
                  <a:lnTo>
                    <a:pt x="248" y="1"/>
                  </a:lnTo>
                  <a:lnTo>
                    <a:pt x="249" y="1"/>
                  </a:lnTo>
                  <a:lnTo>
                    <a:pt x="250" y="2"/>
                  </a:lnTo>
                  <a:lnTo>
                    <a:pt x="251" y="2"/>
                  </a:lnTo>
                  <a:lnTo>
                    <a:pt x="253" y="3"/>
                  </a:lnTo>
                  <a:lnTo>
                    <a:pt x="254" y="4"/>
                  </a:lnTo>
                  <a:lnTo>
                    <a:pt x="255" y="5"/>
                  </a:lnTo>
                  <a:lnTo>
                    <a:pt x="256" y="6"/>
                  </a:lnTo>
                  <a:lnTo>
                    <a:pt x="256" y="7"/>
                  </a:lnTo>
                  <a:lnTo>
                    <a:pt x="257" y="7"/>
                  </a:lnTo>
                  <a:lnTo>
                    <a:pt x="258" y="10"/>
                  </a:lnTo>
                  <a:lnTo>
                    <a:pt x="259" y="11"/>
                  </a:lnTo>
                  <a:lnTo>
                    <a:pt x="259" y="12"/>
                  </a:lnTo>
                  <a:lnTo>
                    <a:pt x="260" y="12"/>
                  </a:lnTo>
                  <a:lnTo>
                    <a:pt x="260" y="12"/>
                  </a:lnTo>
                  <a:lnTo>
                    <a:pt x="261" y="13"/>
                  </a:lnTo>
                  <a:lnTo>
                    <a:pt x="262" y="13"/>
                  </a:lnTo>
                  <a:lnTo>
                    <a:pt x="262" y="13"/>
                  </a:lnTo>
                  <a:lnTo>
                    <a:pt x="263" y="14"/>
                  </a:lnTo>
                  <a:lnTo>
                    <a:pt x="264" y="13"/>
                  </a:lnTo>
                  <a:lnTo>
                    <a:pt x="265" y="13"/>
                  </a:lnTo>
                  <a:lnTo>
                    <a:pt x="267" y="13"/>
                  </a:lnTo>
                  <a:lnTo>
                    <a:pt x="268" y="13"/>
                  </a:lnTo>
                  <a:lnTo>
                    <a:pt x="275" y="11"/>
                  </a:lnTo>
                  <a:lnTo>
                    <a:pt x="279" y="10"/>
                  </a:lnTo>
                  <a:lnTo>
                    <a:pt x="282" y="9"/>
                  </a:lnTo>
                  <a:lnTo>
                    <a:pt x="286" y="8"/>
                  </a:lnTo>
                  <a:lnTo>
                    <a:pt x="288" y="8"/>
                  </a:lnTo>
                  <a:lnTo>
                    <a:pt x="291" y="8"/>
                  </a:lnTo>
                  <a:lnTo>
                    <a:pt x="294" y="8"/>
                  </a:lnTo>
                  <a:lnTo>
                    <a:pt x="296" y="8"/>
                  </a:lnTo>
                  <a:lnTo>
                    <a:pt x="297" y="8"/>
                  </a:lnTo>
                  <a:lnTo>
                    <a:pt x="298" y="8"/>
                  </a:lnTo>
                  <a:lnTo>
                    <a:pt x="302" y="9"/>
                  </a:lnTo>
                  <a:lnTo>
                    <a:pt x="303" y="9"/>
                  </a:lnTo>
                  <a:lnTo>
                    <a:pt x="304" y="9"/>
                  </a:lnTo>
                  <a:lnTo>
                    <a:pt x="307" y="9"/>
                  </a:lnTo>
                  <a:lnTo>
                    <a:pt x="308" y="10"/>
                  </a:lnTo>
                  <a:lnTo>
                    <a:pt x="309" y="10"/>
                  </a:lnTo>
                  <a:lnTo>
                    <a:pt x="310" y="10"/>
                  </a:lnTo>
                  <a:lnTo>
                    <a:pt x="311" y="11"/>
                  </a:lnTo>
                  <a:lnTo>
                    <a:pt x="312" y="11"/>
                  </a:lnTo>
                  <a:lnTo>
                    <a:pt x="313" y="12"/>
                  </a:lnTo>
                  <a:lnTo>
                    <a:pt x="317" y="15"/>
                  </a:lnTo>
                  <a:lnTo>
                    <a:pt x="319" y="16"/>
                  </a:lnTo>
                  <a:lnTo>
                    <a:pt x="320" y="16"/>
                  </a:lnTo>
                  <a:lnTo>
                    <a:pt x="320" y="17"/>
                  </a:lnTo>
                  <a:lnTo>
                    <a:pt x="322" y="17"/>
                  </a:lnTo>
                  <a:lnTo>
                    <a:pt x="323" y="18"/>
                  </a:lnTo>
                  <a:lnTo>
                    <a:pt x="324" y="18"/>
                  </a:lnTo>
                  <a:lnTo>
                    <a:pt x="330" y="19"/>
                  </a:lnTo>
                  <a:lnTo>
                    <a:pt x="331" y="19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7" y="20"/>
                  </a:lnTo>
                  <a:lnTo>
                    <a:pt x="338" y="20"/>
                  </a:lnTo>
                  <a:lnTo>
                    <a:pt x="339" y="19"/>
                  </a:lnTo>
                  <a:lnTo>
                    <a:pt x="342" y="19"/>
                  </a:lnTo>
                  <a:lnTo>
                    <a:pt x="344" y="18"/>
                  </a:lnTo>
                  <a:lnTo>
                    <a:pt x="344" y="18"/>
                  </a:lnTo>
                  <a:lnTo>
                    <a:pt x="345" y="18"/>
                  </a:lnTo>
                  <a:lnTo>
                    <a:pt x="346" y="18"/>
                  </a:lnTo>
                  <a:lnTo>
                    <a:pt x="347" y="19"/>
                  </a:lnTo>
                  <a:lnTo>
                    <a:pt x="348" y="19"/>
                  </a:lnTo>
                  <a:lnTo>
                    <a:pt x="349" y="20"/>
                  </a:lnTo>
                  <a:lnTo>
                    <a:pt x="350" y="20"/>
                  </a:lnTo>
                  <a:lnTo>
                    <a:pt x="351" y="21"/>
                  </a:lnTo>
                  <a:lnTo>
                    <a:pt x="352" y="21"/>
                  </a:lnTo>
                  <a:lnTo>
                    <a:pt x="352" y="22"/>
                  </a:lnTo>
                  <a:lnTo>
                    <a:pt x="353" y="23"/>
                  </a:lnTo>
                  <a:lnTo>
                    <a:pt x="355" y="27"/>
                  </a:lnTo>
                  <a:lnTo>
                    <a:pt x="356" y="29"/>
                  </a:lnTo>
                  <a:lnTo>
                    <a:pt x="357" y="30"/>
                  </a:lnTo>
                  <a:lnTo>
                    <a:pt x="358" y="31"/>
                  </a:lnTo>
                  <a:lnTo>
                    <a:pt x="358" y="32"/>
                  </a:lnTo>
                  <a:lnTo>
                    <a:pt x="359" y="33"/>
                  </a:lnTo>
                  <a:lnTo>
                    <a:pt x="360" y="34"/>
                  </a:lnTo>
                  <a:lnTo>
                    <a:pt x="361" y="35"/>
                  </a:lnTo>
                  <a:lnTo>
                    <a:pt x="366" y="38"/>
                  </a:lnTo>
                  <a:lnTo>
                    <a:pt x="367" y="39"/>
                  </a:lnTo>
                  <a:lnTo>
                    <a:pt x="368" y="40"/>
                  </a:lnTo>
                  <a:lnTo>
                    <a:pt x="369" y="40"/>
                  </a:lnTo>
                  <a:lnTo>
                    <a:pt x="370" y="41"/>
                  </a:lnTo>
                  <a:lnTo>
                    <a:pt x="372" y="44"/>
                  </a:lnTo>
                  <a:lnTo>
                    <a:pt x="372" y="45"/>
                  </a:lnTo>
                  <a:lnTo>
                    <a:pt x="373" y="46"/>
                  </a:lnTo>
                  <a:lnTo>
                    <a:pt x="373" y="46"/>
                  </a:lnTo>
                  <a:lnTo>
                    <a:pt x="373" y="47"/>
                  </a:lnTo>
                  <a:lnTo>
                    <a:pt x="375" y="51"/>
                  </a:lnTo>
                  <a:lnTo>
                    <a:pt x="376" y="53"/>
                  </a:lnTo>
                  <a:lnTo>
                    <a:pt x="376" y="53"/>
                  </a:lnTo>
                  <a:lnTo>
                    <a:pt x="377" y="54"/>
                  </a:lnTo>
                  <a:lnTo>
                    <a:pt x="377" y="55"/>
                  </a:lnTo>
                  <a:lnTo>
                    <a:pt x="378" y="55"/>
                  </a:lnTo>
                  <a:lnTo>
                    <a:pt x="378" y="56"/>
                  </a:lnTo>
                  <a:lnTo>
                    <a:pt x="379" y="57"/>
                  </a:lnTo>
                  <a:lnTo>
                    <a:pt x="380" y="57"/>
                  </a:lnTo>
                  <a:lnTo>
                    <a:pt x="381" y="58"/>
                  </a:lnTo>
                  <a:lnTo>
                    <a:pt x="382" y="59"/>
                  </a:lnTo>
                  <a:lnTo>
                    <a:pt x="383" y="59"/>
                  </a:lnTo>
                  <a:lnTo>
                    <a:pt x="384" y="60"/>
                  </a:lnTo>
                  <a:lnTo>
                    <a:pt x="384" y="60"/>
                  </a:lnTo>
                  <a:lnTo>
                    <a:pt x="385" y="60"/>
                  </a:lnTo>
                  <a:lnTo>
                    <a:pt x="385" y="60"/>
                  </a:lnTo>
                  <a:lnTo>
                    <a:pt x="385" y="61"/>
                  </a:lnTo>
                  <a:lnTo>
                    <a:pt x="386" y="63"/>
                  </a:lnTo>
                  <a:lnTo>
                    <a:pt x="387" y="65"/>
                  </a:lnTo>
                  <a:lnTo>
                    <a:pt x="387" y="67"/>
                  </a:lnTo>
                  <a:lnTo>
                    <a:pt x="387" y="68"/>
                  </a:lnTo>
                  <a:lnTo>
                    <a:pt x="387" y="70"/>
                  </a:lnTo>
                  <a:lnTo>
                    <a:pt x="387" y="71"/>
                  </a:lnTo>
                  <a:lnTo>
                    <a:pt x="387" y="73"/>
                  </a:lnTo>
                  <a:lnTo>
                    <a:pt x="387" y="75"/>
                  </a:lnTo>
                  <a:lnTo>
                    <a:pt x="386" y="76"/>
                  </a:lnTo>
                  <a:lnTo>
                    <a:pt x="386" y="78"/>
                  </a:lnTo>
                  <a:lnTo>
                    <a:pt x="385" y="80"/>
                  </a:lnTo>
                  <a:lnTo>
                    <a:pt x="384" y="81"/>
                  </a:lnTo>
                  <a:lnTo>
                    <a:pt x="383" y="82"/>
                  </a:lnTo>
                  <a:lnTo>
                    <a:pt x="383" y="84"/>
                  </a:lnTo>
                  <a:lnTo>
                    <a:pt x="380" y="87"/>
                  </a:lnTo>
                  <a:lnTo>
                    <a:pt x="379" y="89"/>
                  </a:lnTo>
                  <a:lnTo>
                    <a:pt x="378" y="90"/>
                  </a:lnTo>
                  <a:lnTo>
                    <a:pt x="376" y="91"/>
                  </a:lnTo>
                  <a:lnTo>
                    <a:pt x="375" y="92"/>
                  </a:lnTo>
                  <a:lnTo>
                    <a:pt x="374" y="93"/>
                  </a:lnTo>
                  <a:lnTo>
                    <a:pt x="372" y="94"/>
                  </a:lnTo>
                  <a:lnTo>
                    <a:pt x="370" y="95"/>
                  </a:lnTo>
                  <a:lnTo>
                    <a:pt x="364" y="98"/>
                  </a:lnTo>
                  <a:lnTo>
                    <a:pt x="358" y="101"/>
                  </a:lnTo>
                  <a:lnTo>
                    <a:pt x="355" y="102"/>
                  </a:lnTo>
                  <a:lnTo>
                    <a:pt x="353" y="103"/>
                  </a:lnTo>
                  <a:lnTo>
                    <a:pt x="351" y="104"/>
                  </a:lnTo>
                  <a:lnTo>
                    <a:pt x="345" y="106"/>
                  </a:lnTo>
                  <a:lnTo>
                    <a:pt x="342" y="107"/>
                  </a:lnTo>
                  <a:lnTo>
                    <a:pt x="340" y="108"/>
                  </a:lnTo>
                  <a:lnTo>
                    <a:pt x="339" y="108"/>
                  </a:lnTo>
                  <a:lnTo>
                    <a:pt x="332" y="109"/>
                  </a:lnTo>
                  <a:lnTo>
                    <a:pt x="330" y="110"/>
                  </a:lnTo>
                  <a:lnTo>
                    <a:pt x="328" y="111"/>
                  </a:lnTo>
                  <a:lnTo>
                    <a:pt x="327" y="111"/>
                  </a:lnTo>
                  <a:lnTo>
                    <a:pt x="326" y="112"/>
                  </a:lnTo>
                  <a:lnTo>
                    <a:pt x="325" y="112"/>
                  </a:lnTo>
                  <a:lnTo>
                    <a:pt x="324" y="113"/>
                  </a:lnTo>
                  <a:lnTo>
                    <a:pt x="323" y="114"/>
                  </a:lnTo>
                  <a:lnTo>
                    <a:pt x="323" y="114"/>
                  </a:lnTo>
                  <a:lnTo>
                    <a:pt x="322" y="115"/>
                  </a:lnTo>
                  <a:lnTo>
                    <a:pt x="321" y="117"/>
                  </a:lnTo>
                  <a:lnTo>
                    <a:pt x="320" y="120"/>
                  </a:lnTo>
                  <a:lnTo>
                    <a:pt x="319" y="121"/>
                  </a:lnTo>
                  <a:lnTo>
                    <a:pt x="318" y="123"/>
                  </a:lnTo>
                  <a:lnTo>
                    <a:pt x="315" y="126"/>
                  </a:lnTo>
                  <a:lnTo>
                    <a:pt x="314" y="128"/>
                  </a:lnTo>
                  <a:lnTo>
                    <a:pt x="313" y="130"/>
                  </a:lnTo>
                  <a:lnTo>
                    <a:pt x="312" y="131"/>
                  </a:lnTo>
                  <a:lnTo>
                    <a:pt x="312" y="133"/>
                  </a:lnTo>
                  <a:lnTo>
                    <a:pt x="311" y="134"/>
                  </a:lnTo>
                  <a:lnTo>
                    <a:pt x="311" y="135"/>
                  </a:lnTo>
                  <a:lnTo>
                    <a:pt x="311" y="137"/>
                  </a:lnTo>
                  <a:lnTo>
                    <a:pt x="311" y="138"/>
                  </a:lnTo>
                  <a:lnTo>
                    <a:pt x="311" y="139"/>
                  </a:lnTo>
                  <a:lnTo>
                    <a:pt x="312" y="142"/>
                  </a:lnTo>
                  <a:lnTo>
                    <a:pt x="312" y="143"/>
                  </a:lnTo>
                  <a:lnTo>
                    <a:pt x="312" y="144"/>
                  </a:lnTo>
                  <a:lnTo>
                    <a:pt x="312" y="145"/>
                  </a:lnTo>
                  <a:lnTo>
                    <a:pt x="311" y="146"/>
                  </a:lnTo>
                  <a:lnTo>
                    <a:pt x="311" y="149"/>
                  </a:lnTo>
                  <a:lnTo>
                    <a:pt x="311" y="151"/>
                  </a:lnTo>
                  <a:lnTo>
                    <a:pt x="310" y="152"/>
                  </a:lnTo>
                  <a:lnTo>
                    <a:pt x="310" y="154"/>
                  </a:lnTo>
                  <a:lnTo>
                    <a:pt x="308" y="158"/>
                  </a:lnTo>
                  <a:lnTo>
                    <a:pt x="308" y="160"/>
                  </a:lnTo>
                  <a:lnTo>
                    <a:pt x="308" y="161"/>
                  </a:lnTo>
                  <a:lnTo>
                    <a:pt x="307" y="162"/>
                  </a:lnTo>
                  <a:lnTo>
                    <a:pt x="307" y="164"/>
                  </a:lnTo>
                  <a:lnTo>
                    <a:pt x="307" y="166"/>
                  </a:lnTo>
                  <a:lnTo>
                    <a:pt x="306" y="170"/>
                  </a:lnTo>
                  <a:lnTo>
                    <a:pt x="306" y="171"/>
                  </a:lnTo>
                  <a:lnTo>
                    <a:pt x="306" y="172"/>
                  </a:lnTo>
                  <a:lnTo>
                    <a:pt x="306" y="173"/>
                  </a:lnTo>
                  <a:lnTo>
                    <a:pt x="306" y="174"/>
                  </a:lnTo>
                  <a:lnTo>
                    <a:pt x="304" y="177"/>
                  </a:lnTo>
                  <a:lnTo>
                    <a:pt x="304" y="178"/>
                  </a:lnTo>
                  <a:lnTo>
                    <a:pt x="303" y="182"/>
                  </a:lnTo>
                  <a:lnTo>
                    <a:pt x="302" y="183"/>
                  </a:lnTo>
                  <a:lnTo>
                    <a:pt x="302" y="184"/>
                  </a:lnTo>
                  <a:lnTo>
                    <a:pt x="302" y="185"/>
                  </a:lnTo>
                  <a:lnTo>
                    <a:pt x="302" y="186"/>
                  </a:lnTo>
                  <a:lnTo>
                    <a:pt x="302" y="187"/>
                  </a:lnTo>
                  <a:lnTo>
                    <a:pt x="303" y="190"/>
                  </a:lnTo>
                  <a:lnTo>
                    <a:pt x="303" y="191"/>
                  </a:lnTo>
                  <a:lnTo>
                    <a:pt x="303" y="192"/>
                  </a:lnTo>
                  <a:lnTo>
                    <a:pt x="303" y="192"/>
                  </a:lnTo>
                  <a:lnTo>
                    <a:pt x="303" y="196"/>
                  </a:lnTo>
                  <a:lnTo>
                    <a:pt x="303" y="201"/>
                  </a:lnTo>
                  <a:lnTo>
                    <a:pt x="302" y="202"/>
                  </a:lnTo>
                  <a:lnTo>
                    <a:pt x="302" y="204"/>
                  </a:lnTo>
                  <a:lnTo>
                    <a:pt x="302" y="206"/>
                  </a:lnTo>
                  <a:lnTo>
                    <a:pt x="302" y="206"/>
                  </a:lnTo>
                  <a:lnTo>
                    <a:pt x="301" y="208"/>
                  </a:lnTo>
                  <a:lnTo>
                    <a:pt x="301" y="209"/>
                  </a:lnTo>
                  <a:lnTo>
                    <a:pt x="301" y="211"/>
                  </a:lnTo>
                  <a:lnTo>
                    <a:pt x="299" y="213"/>
                  </a:lnTo>
                  <a:lnTo>
                    <a:pt x="298" y="217"/>
                  </a:lnTo>
                  <a:lnTo>
                    <a:pt x="297" y="220"/>
                  </a:lnTo>
                  <a:lnTo>
                    <a:pt x="296" y="221"/>
                  </a:lnTo>
                  <a:lnTo>
                    <a:pt x="296" y="222"/>
                  </a:lnTo>
                  <a:lnTo>
                    <a:pt x="294" y="225"/>
                  </a:lnTo>
                  <a:lnTo>
                    <a:pt x="293" y="227"/>
                  </a:lnTo>
                  <a:lnTo>
                    <a:pt x="292" y="228"/>
                  </a:lnTo>
                  <a:lnTo>
                    <a:pt x="291" y="230"/>
                  </a:lnTo>
                  <a:lnTo>
                    <a:pt x="289" y="231"/>
                  </a:lnTo>
                  <a:lnTo>
                    <a:pt x="287" y="232"/>
                  </a:lnTo>
                  <a:lnTo>
                    <a:pt x="286" y="233"/>
                  </a:lnTo>
                  <a:lnTo>
                    <a:pt x="285" y="234"/>
                  </a:lnTo>
                  <a:lnTo>
                    <a:pt x="282" y="235"/>
                  </a:lnTo>
                  <a:lnTo>
                    <a:pt x="281" y="235"/>
                  </a:lnTo>
                  <a:lnTo>
                    <a:pt x="278" y="236"/>
                  </a:lnTo>
                  <a:lnTo>
                    <a:pt x="277" y="237"/>
                  </a:lnTo>
                  <a:lnTo>
                    <a:pt x="276" y="237"/>
                  </a:lnTo>
                  <a:lnTo>
                    <a:pt x="275" y="237"/>
                  </a:lnTo>
                  <a:lnTo>
                    <a:pt x="274" y="237"/>
                  </a:lnTo>
                  <a:lnTo>
                    <a:pt x="272" y="237"/>
                  </a:lnTo>
                  <a:lnTo>
                    <a:pt x="268" y="237"/>
                  </a:lnTo>
                  <a:lnTo>
                    <a:pt x="266" y="237"/>
                  </a:lnTo>
                  <a:lnTo>
                    <a:pt x="265" y="237"/>
                  </a:lnTo>
                  <a:lnTo>
                    <a:pt x="259" y="237"/>
                  </a:lnTo>
                  <a:lnTo>
                    <a:pt x="257" y="238"/>
                  </a:lnTo>
                  <a:lnTo>
                    <a:pt x="256" y="238"/>
                  </a:lnTo>
                  <a:lnTo>
                    <a:pt x="254" y="238"/>
                  </a:lnTo>
                  <a:lnTo>
                    <a:pt x="253" y="239"/>
                  </a:lnTo>
                  <a:lnTo>
                    <a:pt x="252" y="239"/>
                  </a:lnTo>
                  <a:lnTo>
                    <a:pt x="251" y="239"/>
                  </a:lnTo>
                  <a:lnTo>
                    <a:pt x="250" y="240"/>
                  </a:lnTo>
                  <a:lnTo>
                    <a:pt x="250" y="240"/>
                  </a:lnTo>
                  <a:lnTo>
                    <a:pt x="249" y="240"/>
                  </a:lnTo>
                  <a:lnTo>
                    <a:pt x="248" y="241"/>
                  </a:lnTo>
                  <a:lnTo>
                    <a:pt x="248" y="242"/>
                  </a:lnTo>
                  <a:lnTo>
                    <a:pt x="247" y="242"/>
                  </a:lnTo>
                  <a:lnTo>
                    <a:pt x="246" y="243"/>
                  </a:lnTo>
                  <a:lnTo>
                    <a:pt x="246" y="244"/>
                  </a:lnTo>
                  <a:lnTo>
                    <a:pt x="245" y="245"/>
                  </a:lnTo>
                  <a:lnTo>
                    <a:pt x="245" y="246"/>
                  </a:lnTo>
                  <a:lnTo>
                    <a:pt x="244" y="247"/>
                  </a:lnTo>
                  <a:lnTo>
                    <a:pt x="244" y="249"/>
                  </a:lnTo>
                  <a:lnTo>
                    <a:pt x="243" y="252"/>
                  </a:lnTo>
                  <a:lnTo>
                    <a:pt x="242" y="256"/>
                  </a:lnTo>
                  <a:lnTo>
                    <a:pt x="242" y="258"/>
                  </a:lnTo>
                  <a:lnTo>
                    <a:pt x="241" y="259"/>
                  </a:lnTo>
                  <a:lnTo>
                    <a:pt x="241" y="261"/>
                  </a:lnTo>
                  <a:lnTo>
                    <a:pt x="240" y="266"/>
                  </a:lnTo>
                  <a:lnTo>
                    <a:pt x="240" y="267"/>
                  </a:lnTo>
                  <a:lnTo>
                    <a:pt x="240" y="269"/>
                  </a:lnTo>
                  <a:lnTo>
                    <a:pt x="239" y="271"/>
                  </a:lnTo>
                  <a:lnTo>
                    <a:pt x="239" y="273"/>
                  </a:lnTo>
                  <a:lnTo>
                    <a:pt x="238" y="275"/>
                  </a:lnTo>
                  <a:lnTo>
                    <a:pt x="238" y="277"/>
                  </a:lnTo>
                  <a:lnTo>
                    <a:pt x="237" y="278"/>
                  </a:lnTo>
                  <a:lnTo>
                    <a:pt x="236" y="279"/>
                  </a:lnTo>
                  <a:lnTo>
                    <a:pt x="236" y="280"/>
                  </a:lnTo>
                  <a:lnTo>
                    <a:pt x="235" y="281"/>
                  </a:lnTo>
                  <a:lnTo>
                    <a:pt x="234" y="282"/>
                  </a:lnTo>
                  <a:lnTo>
                    <a:pt x="234" y="282"/>
                  </a:lnTo>
                  <a:lnTo>
                    <a:pt x="233" y="282"/>
                  </a:lnTo>
                  <a:lnTo>
                    <a:pt x="233" y="283"/>
                  </a:lnTo>
                  <a:lnTo>
                    <a:pt x="232" y="283"/>
                  </a:lnTo>
                  <a:lnTo>
                    <a:pt x="231" y="284"/>
                  </a:lnTo>
                  <a:lnTo>
                    <a:pt x="230" y="284"/>
                  </a:lnTo>
                  <a:lnTo>
                    <a:pt x="229" y="284"/>
                  </a:lnTo>
                  <a:lnTo>
                    <a:pt x="228" y="284"/>
                  </a:lnTo>
                  <a:lnTo>
                    <a:pt x="219" y="284"/>
                  </a:lnTo>
                  <a:lnTo>
                    <a:pt x="217" y="285"/>
                  </a:lnTo>
                  <a:lnTo>
                    <a:pt x="216" y="285"/>
                  </a:lnTo>
                  <a:lnTo>
                    <a:pt x="213" y="285"/>
                  </a:lnTo>
                  <a:lnTo>
                    <a:pt x="211" y="286"/>
                  </a:lnTo>
                  <a:lnTo>
                    <a:pt x="210" y="286"/>
                  </a:lnTo>
                  <a:lnTo>
                    <a:pt x="209" y="286"/>
                  </a:lnTo>
                  <a:lnTo>
                    <a:pt x="208" y="287"/>
                  </a:lnTo>
                  <a:lnTo>
                    <a:pt x="208" y="287"/>
                  </a:lnTo>
                  <a:lnTo>
                    <a:pt x="207" y="287"/>
                  </a:lnTo>
                  <a:lnTo>
                    <a:pt x="206" y="288"/>
                  </a:lnTo>
                  <a:lnTo>
                    <a:pt x="205" y="289"/>
                  </a:lnTo>
                  <a:lnTo>
                    <a:pt x="202" y="292"/>
                  </a:lnTo>
                  <a:lnTo>
                    <a:pt x="200" y="294"/>
                  </a:lnTo>
                  <a:lnTo>
                    <a:pt x="199" y="295"/>
                  </a:lnTo>
                  <a:lnTo>
                    <a:pt x="197" y="297"/>
                  </a:lnTo>
                  <a:lnTo>
                    <a:pt x="196" y="298"/>
                  </a:lnTo>
                  <a:lnTo>
                    <a:pt x="195" y="301"/>
                  </a:lnTo>
                  <a:lnTo>
                    <a:pt x="193" y="304"/>
                  </a:lnTo>
                  <a:lnTo>
                    <a:pt x="192" y="305"/>
                  </a:lnTo>
                  <a:lnTo>
                    <a:pt x="191" y="306"/>
                  </a:lnTo>
                  <a:lnTo>
                    <a:pt x="190" y="308"/>
                  </a:lnTo>
                  <a:lnTo>
                    <a:pt x="187" y="311"/>
                  </a:lnTo>
                  <a:lnTo>
                    <a:pt x="185" y="312"/>
                  </a:lnTo>
                  <a:lnTo>
                    <a:pt x="184" y="313"/>
                  </a:lnTo>
                  <a:lnTo>
                    <a:pt x="183" y="314"/>
                  </a:lnTo>
                  <a:lnTo>
                    <a:pt x="181" y="315"/>
                  </a:lnTo>
                  <a:lnTo>
                    <a:pt x="179" y="316"/>
                  </a:lnTo>
                  <a:lnTo>
                    <a:pt x="177" y="317"/>
                  </a:lnTo>
                  <a:lnTo>
                    <a:pt x="173" y="318"/>
                  </a:lnTo>
                  <a:lnTo>
                    <a:pt x="170" y="319"/>
                  </a:lnTo>
                  <a:lnTo>
                    <a:pt x="168" y="319"/>
                  </a:lnTo>
                  <a:lnTo>
                    <a:pt x="165" y="320"/>
                  </a:lnTo>
                  <a:lnTo>
                    <a:pt x="165" y="320"/>
                  </a:lnTo>
                  <a:lnTo>
                    <a:pt x="165" y="319"/>
                  </a:lnTo>
                  <a:lnTo>
                    <a:pt x="164" y="318"/>
                  </a:lnTo>
                  <a:lnTo>
                    <a:pt x="164" y="316"/>
                  </a:lnTo>
                  <a:lnTo>
                    <a:pt x="162" y="313"/>
                  </a:lnTo>
                  <a:lnTo>
                    <a:pt x="162" y="312"/>
                  </a:lnTo>
                  <a:lnTo>
                    <a:pt x="161" y="311"/>
                  </a:lnTo>
                  <a:lnTo>
                    <a:pt x="161" y="310"/>
                  </a:lnTo>
                  <a:lnTo>
                    <a:pt x="158" y="307"/>
                  </a:lnTo>
                  <a:lnTo>
                    <a:pt x="155" y="302"/>
                  </a:lnTo>
                  <a:lnTo>
                    <a:pt x="154" y="300"/>
                  </a:lnTo>
                  <a:lnTo>
                    <a:pt x="153" y="299"/>
                  </a:lnTo>
                  <a:lnTo>
                    <a:pt x="151" y="298"/>
                  </a:lnTo>
                  <a:lnTo>
                    <a:pt x="150" y="297"/>
                  </a:lnTo>
                  <a:lnTo>
                    <a:pt x="149" y="296"/>
                  </a:lnTo>
                  <a:lnTo>
                    <a:pt x="148" y="295"/>
                  </a:lnTo>
                  <a:lnTo>
                    <a:pt x="147" y="294"/>
                  </a:lnTo>
                  <a:lnTo>
                    <a:pt x="140" y="291"/>
                  </a:lnTo>
                  <a:lnTo>
                    <a:pt x="139" y="291"/>
                  </a:lnTo>
                  <a:lnTo>
                    <a:pt x="137" y="290"/>
                  </a:lnTo>
                  <a:lnTo>
                    <a:pt x="136" y="289"/>
                  </a:lnTo>
                  <a:lnTo>
                    <a:pt x="135" y="289"/>
                  </a:lnTo>
                  <a:lnTo>
                    <a:pt x="135" y="289"/>
                  </a:lnTo>
                  <a:lnTo>
                    <a:pt x="134" y="288"/>
                  </a:lnTo>
                  <a:lnTo>
                    <a:pt x="134" y="288"/>
                  </a:lnTo>
                  <a:lnTo>
                    <a:pt x="134" y="287"/>
                  </a:lnTo>
                  <a:lnTo>
                    <a:pt x="133" y="287"/>
                  </a:lnTo>
                  <a:lnTo>
                    <a:pt x="133" y="286"/>
                  </a:lnTo>
                  <a:lnTo>
                    <a:pt x="133" y="285"/>
                  </a:lnTo>
                  <a:lnTo>
                    <a:pt x="133" y="283"/>
                  </a:lnTo>
                  <a:lnTo>
                    <a:pt x="133" y="282"/>
                  </a:lnTo>
                  <a:lnTo>
                    <a:pt x="132" y="281"/>
                  </a:lnTo>
                  <a:lnTo>
                    <a:pt x="132" y="280"/>
                  </a:lnTo>
                  <a:lnTo>
                    <a:pt x="132" y="280"/>
                  </a:lnTo>
                  <a:lnTo>
                    <a:pt x="132" y="279"/>
                  </a:lnTo>
                  <a:lnTo>
                    <a:pt x="131" y="279"/>
                  </a:lnTo>
                  <a:lnTo>
                    <a:pt x="131" y="278"/>
                  </a:lnTo>
                  <a:lnTo>
                    <a:pt x="131" y="278"/>
                  </a:lnTo>
                  <a:lnTo>
                    <a:pt x="130" y="277"/>
                  </a:lnTo>
                  <a:lnTo>
                    <a:pt x="128" y="276"/>
                  </a:lnTo>
                  <a:lnTo>
                    <a:pt x="127" y="275"/>
                  </a:lnTo>
                  <a:lnTo>
                    <a:pt x="126" y="275"/>
                  </a:lnTo>
                  <a:lnTo>
                    <a:pt x="125" y="274"/>
                  </a:lnTo>
                  <a:lnTo>
                    <a:pt x="123" y="274"/>
                  </a:lnTo>
                  <a:lnTo>
                    <a:pt x="120" y="273"/>
                  </a:lnTo>
                  <a:lnTo>
                    <a:pt x="119" y="272"/>
                  </a:lnTo>
                  <a:lnTo>
                    <a:pt x="119" y="272"/>
                  </a:lnTo>
                  <a:lnTo>
                    <a:pt x="118" y="272"/>
                  </a:lnTo>
                  <a:lnTo>
                    <a:pt x="117" y="272"/>
                  </a:lnTo>
                  <a:lnTo>
                    <a:pt x="117" y="272"/>
                  </a:lnTo>
                  <a:lnTo>
                    <a:pt x="113" y="273"/>
                  </a:lnTo>
                  <a:lnTo>
                    <a:pt x="110" y="273"/>
                  </a:lnTo>
                  <a:lnTo>
                    <a:pt x="109" y="273"/>
                  </a:lnTo>
                  <a:lnTo>
                    <a:pt x="107" y="273"/>
                  </a:lnTo>
                  <a:lnTo>
                    <a:pt x="103" y="274"/>
                  </a:lnTo>
                  <a:lnTo>
                    <a:pt x="102" y="274"/>
                  </a:lnTo>
                  <a:lnTo>
                    <a:pt x="101" y="274"/>
                  </a:lnTo>
                  <a:lnTo>
                    <a:pt x="100" y="275"/>
                  </a:lnTo>
                  <a:lnTo>
                    <a:pt x="99" y="274"/>
                  </a:lnTo>
                  <a:lnTo>
                    <a:pt x="98" y="274"/>
                  </a:lnTo>
                  <a:lnTo>
                    <a:pt x="98" y="274"/>
                  </a:lnTo>
                  <a:lnTo>
                    <a:pt x="97" y="274"/>
                  </a:lnTo>
                  <a:lnTo>
                    <a:pt x="95" y="273"/>
                  </a:lnTo>
                  <a:lnTo>
                    <a:pt x="94" y="272"/>
                  </a:lnTo>
                  <a:lnTo>
                    <a:pt x="93" y="271"/>
                  </a:lnTo>
                  <a:lnTo>
                    <a:pt x="87" y="267"/>
                  </a:lnTo>
                  <a:lnTo>
                    <a:pt x="86" y="267"/>
                  </a:lnTo>
                  <a:lnTo>
                    <a:pt x="86" y="266"/>
                  </a:lnTo>
                  <a:lnTo>
                    <a:pt x="85" y="266"/>
                  </a:lnTo>
                  <a:lnTo>
                    <a:pt x="84" y="266"/>
                  </a:lnTo>
                  <a:lnTo>
                    <a:pt x="83" y="265"/>
                  </a:lnTo>
                  <a:lnTo>
                    <a:pt x="81" y="265"/>
                  </a:lnTo>
                  <a:lnTo>
                    <a:pt x="79" y="265"/>
                  </a:lnTo>
                  <a:lnTo>
                    <a:pt x="78" y="265"/>
                  </a:lnTo>
                  <a:lnTo>
                    <a:pt x="77" y="264"/>
                  </a:lnTo>
                  <a:lnTo>
                    <a:pt x="77" y="264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6" y="263"/>
                  </a:lnTo>
                  <a:lnTo>
                    <a:pt x="75" y="262"/>
                  </a:lnTo>
                  <a:lnTo>
                    <a:pt x="75" y="262"/>
                  </a:lnTo>
                  <a:lnTo>
                    <a:pt x="75" y="261"/>
                  </a:lnTo>
                  <a:lnTo>
                    <a:pt x="75" y="258"/>
                  </a:lnTo>
                  <a:lnTo>
                    <a:pt x="74" y="257"/>
                  </a:lnTo>
                  <a:lnTo>
                    <a:pt x="74" y="255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3" y="253"/>
                  </a:lnTo>
                  <a:lnTo>
                    <a:pt x="72" y="252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69" y="250"/>
                  </a:lnTo>
                  <a:lnTo>
                    <a:pt x="68" y="250"/>
                  </a:lnTo>
                  <a:lnTo>
                    <a:pt x="67" y="250"/>
                  </a:lnTo>
                  <a:lnTo>
                    <a:pt x="62" y="249"/>
                  </a:lnTo>
                  <a:lnTo>
                    <a:pt x="59" y="248"/>
                  </a:lnTo>
                  <a:lnTo>
                    <a:pt x="54" y="248"/>
                  </a:lnTo>
                  <a:lnTo>
                    <a:pt x="52" y="247"/>
                  </a:lnTo>
                  <a:lnTo>
                    <a:pt x="52" y="247"/>
                  </a:lnTo>
                  <a:lnTo>
                    <a:pt x="51" y="247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48" y="244"/>
                  </a:lnTo>
                  <a:lnTo>
                    <a:pt x="47" y="243"/>
                  </a:lnTo>
                  <a:lnTo>
                    <a:pt x="46" y="243"/>
                  </a:lnTo>
                  <a:lnTo>
                    <a:pt x="45" y="242"/>
                  </a:lnTo>
                  <a:lnTo>
                    <a:pt x="45" y="242"/>
                  </a:lnTo>
                  <a:lnTo>
                    <a:pt x="43" y="241"/>
                  </a:lnTo>
                  <a:lnTo>
                    <a:pt x="41" y="240"/>
                  </a:lnTo>
                  <a:lnTo>
                    <a:pt x="40" y="240"/>
                  </a:lnTo>
                  <a:lnTo>
                    <a:pt x="40" y="240"/>
                  </a:lnTo>
                  <a:lnTo>
                    <a:pt x="39" y="239"/>
                  </a:lnTo>
                  <a:lnTo>
                    <a:pt x="36" y="239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4" y="237"/>
                  </a:lnTo>
                  <a:lnTo>
                    <a:pt x="34" y="237"/>
                  </a:lnTo>
                  <a:lnTo>
                    <a:pt x="34" y="236"/>
                  </a:lnTo>
                  <a:lnTo>
                    <a:pt x="34" y="235"/>
                  </a:lnTo>
                  <a:lnTo>
                    <a:pt x="34" y="234"/>
                  </a:lnTo>
                  <a:lnTo>
                    <a:pt x="34" y="230"/>
                  </a:lnTo>
                  <a:lnTo>
                    <a:pt x="34" y="229"/>
                  </a:lnTo>
                  <a:lnTo>
                    <a:pt x="34" y="228"/>
                  </a:lnTo>
                  <a:lnTo>
                    <a:pt x="34" y="226"/>
                  </a:lnTo>
                  <a:lnTo>
                    <a:pt x="34" y="226"/>
                  </a:lnTo>
                  <a:lnTo>
                    <a:pt x="34" y="224"/>
                  </a:lnTo>
                  <a:lnTo>
                    <a:pt x="33" y="223"/>
                  </a:lnTo>
                  <a:lnTo>
                    <a:pt x="33" y="222"/>
                  </a:lnTo>
                  <a:lnTo>
                    <a:pt x="32" y="220"/>
                  </a:lnTo>
                  <a:lnTo>
                    <a:pt x="30" y="219"/>
                  </a:lnTo>
                  <a:lnTo>
                    <a:pt x="30" y="218"/>
                  </a:lnTo>
                  <a:lnTo>
                    <a:pt x="29" y="217"/>
                  </a:lnTo>
                  <a:lnTo>
                    <a:pt x="29" y="217"/>
                  </a:lnTo>
                  <a:lnTo>
                    <a:pt x="28" y="216"/>
                  </a:lnTo>
                  <a:lnTo>
                    <a:pt x="28" y="216"/>
                  </a:lnTo>
                  <a:lnTo>
                    <a:pt x="27" y="216"/>
                  </a:lnTo>
                  <a:lnTo>
                    <a:pt x="26" y="216"/>
                  </a:lnTo>
                  <a:lnTo>
                    <a:pt x="25" y="216"/>
                  </a:lnTo>
                  <a:lnTo>
                    <a:pt x="24" y="216"/>
                  </a:lnTo>
                  <a:lnTo>
                    <a:pt x="23" y="216"/>
                  </a:lnTo>
                  <a:lnTo>
                    <a:pt x="22" y="217"/>
                  </a:lnTo>
                  <a:lnTo>
                    <a:pt x="20" y="217"/>
                  </a:lnTo>
                  <a:lnTo>
                    <a:pt x="13" y="220"/>
                  </a:lnTo>
                  <a:lnTo>
                    <a:pt x="11" y="221"/>
                  </a:lnTo>
                  <a:lnTo>
                    <a:pt x="9" y="221"/>
                  </a:lnTo>
                  <a:lnTo>
                    <a:pt x="8" y="221"/>
                  </a:lnTo>
                  <a:lnTo>
                    <a:pt x="7" y="221"/>
                  </a:lnTo>
                  <a:lnTo>
                    <a:pt x="6" y="222"/>
                  </a:lnTo>
                  <a:lnTo>
                    <a:pt x="5" y="222"/>
                  </a:lnTo>
                  <a:lnTo>
                    <a:pt x="4" y="221"/>
                  </a:lnTo>
                  <a:lnTo>
                    <a:pt x="3" y="221"/>
                  </a:lnTo>
                  <a:lnTo>
                    <a:pt x="2" y="221"/>
                  </a:lnTo>
                  <a:lnTo>
                    <a:pt x="2" y="221"/>
                  </a:lnTo>
                  <a:lnTo>
                    <a:pt x="1" y="220"/>
                  </a:lnTo>
                  <a:lnTo>
                    <a:pt x="1" y="220"/>
                  </a:lnTo>
                  <a:lnTo>
                    <a:pt x="1" y="220"/>
                  </a:lnTo>
                  <a:lnTo>
                    <a:pt x="1" y="219"/>
                  </a:lnTo>
                  <a:lnTo>
                    <a:pt x="0" y="217"/>
                  </a:lnTo>
                  <a:lnTo>
                    <a:pt x="0" y="216"/>
                  </a:lnTo>
                  <a:lnTo>
                    <a:pt x="0" y="215"/>
                  </a:lnTo>
                  <a:lnTo>
                    <a:pt x="0" y="214"/>
                  </a:lnTo>
                  <a:lnTo>
                    <a:pt x="1" y="213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2" y="211"/>
                  </a:lnTo>
                  <a:lnTo>
                    <a:pt x="2" y="211"/>
                  </a:lnTo>
                  <a:lnTo>
                    <a:pt x="4" y="209"/>
                  </a:lnTo>
                  <a:lnTo>
                    <a:pt x="4" y="209"/>
                  </a:lnTo>
                  <a:lnTo>
                    <a:pt x="5" y="208"/>
                  </a:lnTo>
                  <a:lnTo>
                    <a:pt x="6" y="207"/>
                  </a:lnTo>
                  <a:lnTo>
                    <a:pt x="6" y="206"/>
                  </a:lnTo>
                  <a:lnTo>
                    <a:pt x="7" y="205"/>
                  </a:lnTo>
                  <a:lnTo>
                    <a:pt x="9" y="201"/>
                  </a:lnTo>
                  <a:lnTo>
                    <a:pt x="10" y="200"/>
                  </a:lnTo>
                  <a:lnTo>
                    <a:pt x="11" y="199"/>
                  </a:lnTo>
                  <a:lnTo>
                    <a:pt x="11" y="197"/>
                  </a:lnTo>
                  <a:lnTo>
                    <a:pt x="12" y="197"/>
                  </a:lnTo>
                  <a:lnTo>
                    <a:pt x="13" y="196"/>
                  </a:lnTo>
                  <a:lnTo>
                    <a:pt x="14" y="196"/>
                  </a:lnTo>
                  <a:lnTo>
                    <a:pt x="16" y="194"/>
                  </a:lnTo>
                  <a:lnTo>
                    <a:pt x="18" y="192"/>
                  </a:lnTo>
                  <a:lnTo>
                    <a:pt x="20" y="191"/>
                  </a:lnTo>
                  <a:lnTo>
                    <a:pt x="20" y="191"/>
                  </a:lnTo>
                  <a:lnTo>
                    <a:pt x="20" y="190"/>
                  </a:lnTo>
                  <a:lnTo>
                    <a:pt x="21" y="189"/>
                  </a:lnTo>
                  <a:lnTo>
                    <a:pt x="21" y="188"/>
                  </a:lnTo>
                  <a:lnTo>
                    <a:pt x="22" y="187"/>
                  </a:lnTo>
                  <a:lnTo>
                    <a:pt x="22" y="186"/>
                  </a:lnTo>
                  <a:lnTo>
                    <a:pt x="23" y="184"/>
                  </a:lnTo>
                  <a:lnTo>
                    <a:pt x="23" y="183"/>
                  </a:lnTo>
                  <a:lnTo>
                    <a:pt x="24" y="182"/>
                  </a:lnTo>
                  <a:lnTo>
                    <a:pt x="24" y="181"/>
                  </a:lnTo>
                  <a:lnTo>
                    <a:pt x="24" y="180"/>
                  </a:lnTo>
                  <a:lnTo>
                    <a:pt x="24" y="179"/>
                  </a:lnTo>
                  <a:lnTo>
                    <a:pt x="24" y="178"/>
                  </a:lnTo>
                  <a:lnTo>
                    <a:pt x="24" y="177"/>
                  </a:lnTo>
                  <a:lnTo>
                    <a:pt x="23" y="177"/>
                  </a:lnTo>
                  <a:lnTo>
                    <a:pt x="23" y="176"/>
                  </a:lnTo>
                  <a:lnTo>
                    <a:pt x="23" y="176"/>
                  </a:lnTo>
                  <a:lnTo>
                    <a:pt x="22" y="175"/>
                  </a:lnTo>
                  <a:lnTo>
                    <a:pt x="22" y="175"/>
                  </a:lnTo>
                  <a:lnTo>
                    <a:pt x="21" y="175"/>
                  </a:lnTo>
                  <a:lnTo>
                    <a:pt x="20" y="175"/>
                  </a:lnTo>
                  <a:lnTo>
                    <a:pt x="19" y="175"/>
                  </a:lnTo>
                  <a:lnTo>
                    <a:pt x="18" y="175"/>
                  </a:lnTo>
                  <a:lnTo>
                    <a:pt x="16" y="175"/>
                  </a:lnTo>
                  <a:lnTo>
                    <a:pt x="14" y="175"/>
                  </a:lnTo>
                  <a:lnTo>
                    <a:pt x="13" y="175"/>
                  </a:lnTo>
                  <a:lnTo>
                    <a:pt x="12" y="175"/>
                  </a:lnTo>
                  <a:lnTo>
                    <a:pt x="12" y="175"/>
                  </a:lnTo>
                  <a:lnTo>
                    <a:pt x="11" y="175"/>
                  </a:lnTo>
                  <a:lnTo>
                    <a:pt x="11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1" y="170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1" y="168"/>
                  </a:lnTo>
                  <a:lnTo>
                    <a:pt x="10" y="165"/>
                  </a:lnTo>
                  <a:lnTo>
                    <a:pt x="8" y="161"/>
                  </a:lnTo>
                  <a:lnTo>
                    <a:pt x="7" y="159"/>
                  </a:lnTo>
                  <a:lnTo>
                    <a:pt x="7" y="158"/>
                  </a:lnTo>
                  <a:lnTo>
                    <a:pt x="6" y="157"/>
                  </a:lnTo>
                  <a:lnTo>
                    <a:pt x="6" y="156"/>
                  </a:lnTo>
                  <a:lnTo>
                    <a:pt x="6" y="152"/>
                  </a:lnTo>
                  <a:lnTo>
                    <a:pt x="6" y="151"/>
                  </a:lnTo>
                  <a:lnTo>
                    <a:pt x="6" y="149"/>
                  </a:lnTo>
                  <a:lnTo>
                    <a:pt x="5" y="146"/>
                  </a:lnTo>
                  <a:lnTo>
                    <a:pt x="5" y="145"/>
                  </a:lnTo>
                  <a:lnTo>
                    <a:pt x="5" y="144"/>
                  </a:lnTo>
                  <a:lnTo>
                    <a:pt x="5" y="143"/>
                  </a:lnTo>
                  <a:lnTo>
                    <a:pt x="5" y="142"/>
                  </a:lnTo>
                  <a:lnTo>
                    <a:pt x="6" y="141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7" y="136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5" y="129"/>
                  </a:lnTo>
                  <a:lnTo>
                    <a:pt x="15" y="128"/>
                  </a:lnTo>
                  <a:lnTo>
                    <a:pt x="16" y="128"/>
                  </a:lnTo>
                  <a:lnTo>
                    <a:pt x="17" y="125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19" y="123"/>
                  </a:lnTo>
                  <a:lnTo>
                    <a:pt x="20" y="122"/>
                  </a:lnTo>
                  <a:lnTo>
                    <a:pt x="21" y="122"/>
                  </a:lnTo>
                  <a:lnTo>
                    <a:pt x="21" y="122"/>
                  </a:lnTo>
                  <a:lnTo>
                    <a:pt x="22" y="121"/>
                  </a:lnTo>
                  <a:lnTo>
                    <a:pt x="23" y="121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32" y="120"/>
                  </a:lnTo>
                  <a:lnTo>
                    <a:pt x="33" y="119"/>
                  </a:lnTo>
                  <a:lnTo>
                    <a:pt x="35" y="119"/>
                  </a:lnTo>
                  <a:lnTo>
                    <a:pt x="39" y="119"/>
                  </a:lnTo>
                  <a:lnTo>
                    <a:pt x="40" y="118"/>
                  </a:lnTo>
                  <a:lnTo>
                    <a:pt x="44" y="118"/>
                  </a:lnTo>
                  <a:lnTo>
                    <a:pt x="44" y="118"/>
                  </a:lnTo>
                  <a:lnTo>
                    <a:pt x="45" y="118"/>
                  </a:lnTo>
                  <a:lnTo>
                    <a:pt x="46" y="118"/>
                  </a:lnTo>
                  <a:lnTo>
                    <a:pt x="47" y="118"/>
                  </a:lnTo>
                  <a:lnTo>
                    <a:pt x="47" y="117"/>
                  </a:lnTo>
                  <a:lnTo>
                    <a:pt x="48" y="117"/>
                  </a:lnTo>
                  <a:lnTo>
                    <a:pt x="49" y="116"/>
                  </a:lnTo>
                  <a:lnTo>
                    <a:pt x="50" y="116"/>
                  </a:lnTo>
                  <a:lnTo>
                    <a:pt x="50" y="115"/>
                  </a:lnTo>
                  <a:lnTo>
                    <a:pt x="51" y="114"/>
                  </a:lnTo>
                  <a:lnTo>
                    <a:pt x="52" y="113"/>
                  </a:lnTo>
                  <a:lnTo>
                    <a:pt x="54" y="110"/>
                  </a:lnTo>
                  <a:lnTo>
                    <a:pt x="56" y="108"/>
                  </a:lnTo>
                  <a:lnTo>
                    <a:pt x="58" y="105"/>
                  </a:lnTo>
                  <a:lnTo>
                    <a:pt x="59" y="104"/>
                  </a:lnTo>
                  <a:lnTo>
                    <a:pt x="59" y="103"/>
                  </a:lnTo>
                  <a:lnTo>
                    <a:pt x="60" y="103"/>
                  </a:lnTo>
                  <a:lnTo>
                    <a:pt x="61" y="102"/>
                  </a:lnTo>
                  <a:lnTo>
                    <a:pt x="63" y="100"/>
                  </a:lnTo>
                  <a:lnTo>
                    <a:pt x="65" y="98"/>
                  </a:lnTo>
                  <a:lnTo>
                    <a:pt x="66" y="97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5"/>
                  </a:lnTo>
                  <a:lnTo>
                    <a:pt x="67" y="94"/>
                  </a:lnTo>
                  <a:lnTo>
                    <a:pt x="67" y="93"/>
                  </a:lnTo>
                  <a:lnTo>
                    <a:pt x="67" y="92"/>
                  </a:lnTo>
                  <a:lnTo>
                    <a:pt x="67" y="91"/>
                  </a:lnTo>
                  <a:lnTo>
                    <a:pt x="67" y="90"/>
                  </a:lnTo>
                  <a:lnTo>
                    <a:pt x="66" y="88"/>
                  </a:lnTo>
                  <a:lnTo>
                    <a:pt x="65" y="86"/>
                  </a:lnTo>
                  <a:lnTo>
                    <a:pt x="64" y="85"/>
                  </a:lnTo>
                  <a:lnTo>
                    <a:pt x="64" y="83"/>
                  </a:lnTo>
                  <a:lnTo>
                    <a:pt x="63" y="82"/>
                  </a:lnTo>
                  <a:lnTo>
                    <a:pt x="63" y="80"/>
                  </a:lnTo>
                  <a:lnTo>
                    <a:pt x="63" y="79"/>
                  </a:lnTo>
                  <a:lnTo>
                    <a:pt x="63" y="78"/>
                  </a:lnTo>
                  <a:lnTo>
                    <a:pt x="63" y="77"/>
                  </a:lnTo>
                  <a:lnTo>
                    <a:pt x="64" y="76"/>
                  </a:lnTo>
                  <a:lnTo>
                    <a:pt x="64" y="75"/>
                  </a:lnTo>
                  <a:lnTo>
                    <a:pt x="65" y="73"/>
                  </a:lnTo>
                  <a:lnTo>
                    <a:pt x="67" y="69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70" y="66"/>
                  </a:lnTo>
                  <a:lnTo>
                    <a:pt x="71" y="66"/>
                  </a:lnTo>
                  <a:lnTo>
                    <a:pt x="71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3" y="66"/>
                  </a:lnTo>
                  <a:lnTo>
                    <a:pt x="73" y="67"/>
                  </a:lnTo>
                  <a:lnTo>
                    <a:pt x="74" y="67"/>
                  </a:lnTo>
                  <a:lnTo>
                    <a:pt x="74" y="68"/>
                  </a:lnTo>
                  <a:lnTo>
                    <a:pt x="74" y="69"/>
                  </a:lnTo>
                  <a:lnTo>
                    <a:pt x="75" y="69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4"/>
                  </a:lnTo>
                  <a:lnTo>
                    <a:pt x="76" y="75"/>
                  </a:lnTo>
                  <a:lnTo>
                    <a:pt x="76" y="75"/>
                  </a:lnTo>
                  <a:lnTo>
                    <a:pt x="76" y="76"/>
                  </a:lnTo>
                  <a:lnTo>
                    <a:pt x="77" y="76"/>
                  </a:lnTo>
                  <a:lnTo>
                    <a:pt x="77" y="77"/>
                  </a:lnTo>
                  <a:lnTo>
                    <a:pt x="78" y="77"/>
                  </a:lnTo>
                  <a:lnTo>
                    <a:pt x="78" y="77"/>
                  </a:lnTo>
                  <a:lnTo>
                    <a:pt x="81" y="77"/>
                  </a:lnTo>
                  <a:lnTo>
                    <a:pt x="82" y="77"/>
                  </a:lnTo>
                  <a:lnTo>
                    <a:pt x="83" y="78"/>
                  </a:lnTo>
                  <a:lnTo>
                    <a:pt x="85" y="78"/>
                  </a:lnTo>
                  <a:lnTo>
                    <a:pt x="87" y="79"/>
                  </a:lnTo>
                  <a:lnTo>
                    <a:pt x="89" y="79"/>
                  </a:lnTo>
                  <a:lnTo>
                    <a:pt x="91" y="80"/>
                  </a:lnTo>
                  <a:lnTo>
                    <a:pt x="93" y="80"/>
                  </a:lnTo>
                  <a:lnTo>
                    <a:pt x="94" y="80"/>
                  </a:lnTo>
                  <a:lnTo>
                    <a:pt x="95" y="80"/>
                  </a:lnTo>
                  <a:lnTo>
                    <a:pt x="96" y="80"/>
                  </a:lnTo>
                  <a:lnTo>
                    <a:pt x="97" y="80"/>
                  </a:lnTo>
                  <a:lnTo>
                    <a:pt x="97" y="81"/>
                  </a:lnTo>
                  <a:lnTo>
                    <a:pt x="98" y="81"/>
                  </a:lnTo>
                  <a:lnTo>
                    <a:pt x="99" y="82"/>
                  </a:lnTo>
                  <a:lnTo>
                    <a:pt x="100" y="83"/>
                  </a:lnTo>
                  <a:lnTo>
                    <a:pt x="103" y="85"/>
                  </a:lnTo>
                  <a:lnTo>
                    <a:pt x="104" y="86"/>
                  </a:lnTo>
                  <a:lnTo>
                    <a:pt x="105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7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11" y="83"/>
                  </a:lnTo>
                  <a:lnTo>
                    <a:pt x="112" y="82"/>
                  </a:lnTo>
                  <a:lnTo>
                    <a:pt x="112" y="81"/>
                  </a:lnTo>
                  <a:lnTo>
                    <a:pt x="113" y="79"/>
                  </a:lnTo>
                  <a:lnTo>
                    <a:pt x="114" y="78"/>
                  </a:lnTo>
                  <a:lnTo>
                    <a:pt x="114" y="77"/>
                  </a:lnTo>
                  <a:lnTo>
                    <a:pt x="115" y="77"/>
                  </a:lnTo>
                  <a:lnTo>
                    <a:pt x="115" y="76"/>
                  </a:lnTo>
                  <a:lnTo>
                    <a:pt x="115" y="74"/>
                  </a:lnTo>
                  <a:lnTo>
                    <a:pt x="116" y="72"/>
                  </a:lnTo>
                  <a:lnTo>
                    <a:pt x="116" y="71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8" y="69"/>
                  </a:lnTo>
                  <a:lnTo>
                    <a:pt x="121" y="68"/>
                  </a:lnTo>
                  <a:lnTo>
                    <a:pt x="123" y="67"/>
                  </a:lnTo>
                  <a:lnTo>
                    <a:pt x="125" y="67"/>
                  </a:lnTo>
                  <a:lnTo>
                    <a:pt x="126" y="66"/>
                  </a:lnTo>
                  <a:lnTo>
                    <a:pt x="128" y="66"/>
                  </a:lnTo>
                  <a:lnTo>
                    <a:pt x="130" y="66"/>
                  </a:lnTo>
                  <a:lnTo>
                    <a:pt x="132" y="66"/>
                  </a:lnTo>
                  <a:lnTo>
                    <a:pt x="133" y="66"/>
                  </a:lnTo>
                  <a:lnTo>
                    <a:pt x="135" y="66"/>
                  </a:lnTo>
                  <a:lnTo>
                    <a:pt x="136" y="66"/>
                  </a:lnTo>
                  <a:lnTo>
                    <a:pt x="137" y="66"/>
                  </a:lnTo>
                  <a:lnTo>
                    <a:pt x="138" y="66"/>
                  </a:lnTo>
                  <a:lnTo>
                    <a:pt x="138" y="67"/>
                  </a:lnTo>
                  <a:lnTo>
                    <a:pt x="140" y="67"/>
                  </a:lnTo>
                  <a:lnTo>
                    <a:pt x="141" y="68"/>
                  </a:lnTo>
                  <a:lnTo>
                    <a:pt x="142" y="68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44" y="68"/>
                  </a:lnTo>
                  <a:lnTo>
                    <a:pt x="145" y="68"/>
                  </a:lnTo>
                  <a:lnTo>
                    <a:pt x="146" y="68"/>
                  </a:lnTo>
                  <a:lnTo>
                    <a:pt x="147" y="68"/>
                  </a:lnTo>
                  <a:lnTo>
                    <a:pt x="148" y="68"/>
                  </a:lnTo>
                  <a:lnTo>
                    <a:pt x="149" y="67"/>
                  </a:lnTo>
                  <a:lnTo>
                    <a:pt x="150" y="67"/>
                  </a:lnTo>
                  <a:lnTo>
                    <a:pt x="150" y="67"/>
                  </a:lnTo>
                  <a:lnTo>
                    <a:pt x="151" y="66"/>
                  </a:lnTo>
                  <a:lnTo>
                    <a:pt x="152" y="65"/>
                  </a:lnTo>
                  <a:lnTo>
                    <a:pt x="152" y="65"/>
                  </a:lnTo>
                  <a:lnTo>
                    <a:pt x="153" y="64"/>
                  </a:lnTo>
                  <a:lnTo>
                    <a:pt x="154" y="63"/>
                  </a:lnTo>
                  <a:lnTo>
                    <a:pt x="154" y="62"/>
                  </a:lnTo>
                  <a:lnTo>
                    <a:pt x="154" y="61"/>
                  </a:lnTo>
                  <a:lnTo>
                    <a:pt x="155" y="60"/>
                  </a:lnTo>
                  <a:lnTo>
                    <a:pt x="155" y="60"/>
                  </a:lnTo>
                  <a:lnTo>
                    <a:pt x="155" y="59"/>
                  </a:lnTo>
                  <a:lnTo>
                    <a:pt x="155" y="58"/>
                  </a:lnTo>
                  <a:lnTo>
                    <a:pt x="154" y="57"/>
                  </a:lnTo>
                  <a:lnTo>
                    <a:pt x="154" y="56"/>
                  </a:lnTo>
                  <a:lnTo>
                    <a:pt x="153" y="54"/>
                  </a:lnTo>
                  <a:lnTo>
                    <a:pt x="151" y="50"/>
                  </a:lnTo>
                  <a:lnTo>
                    <a:pt x="151" y="49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52" y="46"/>
                  </a:lnTo>
                  <a:lnTo>
                    <a:pt x="152" y="46"/>
                  </a:lnTo>
                  <a:lnTo>
                    <a:pt x="153" y="46"/>
                  </a:lnTo>
                  <a:lnTo>
                    <a:pt x="154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6" y="46"/>
                  </a:lnTo>
                  <a:lnTo>
                    <a:pt x="157" y="46"/>
                  </a:lnTo>
                  <a:lnTo>
                    <a:pt x="158" y="46"/>
                  </a:lnTo>
                  <a:lnTo>
                    <a:pt x="159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1" y="46"/>
                  </a:lnTo>
                  <a:lnTo>
                    <a:pt x="161" y="45"/>
                  </a:lnTo>
                  <a:lnTo>
                    <a:pt x="161" y="45"/>
                  </a:lnTo>
                  <a:lnTo>
                    <a:pt x="162" y="45"/>
                  </a:lnTo>
                  <a:lnTo>
                    <a:pt x="163" y="42"/>
                  </a:lnTo>
                  <a:lnTo>
                    <a:pt x="164" y="41"/>
                  </a:lnTo>
                  <a:lnTo>
                    <a:pt x="164" y="41"/>
                  </a:lnTo>
                  <a:lnTo>
                    <a:pt x="165" y="41"/>
                  </a:lnTo>
                  <a:lnTo>
                    <a:pt x="166" y="40"/>
                  </a:lnTo>
                  <a:lnTo>
                    <a:pt x="166" y="40"/>
                  </a:lnTo>
                  <a:lnTo>
                    <a:pt x="167" y="40"/>
                  </a:lnTo>
                  <a:lnTo>
                    <a:pt x="168" y="40"/>
                  </a:lnTo>
                  <a:lnTo>
                    <a:pt x="169" y="40"/>
                  </a:lnTo>
                  <a:lnTo>
                    <a:pt x="170" y="41"/>
                  </a:lnTo>
                  <a:lnTo>
                    <a:pt x="171" y="41"/>
                  </a:lnTo>
                  <a:lnTo>
                    <a:pt x="172" y="42"/>
                  </a:lnTo>
                  <a:lnTo>
                    <a:pt x="173" y="43"/>
                  </a:lnTo>
                  <a:lnTo>
                    <a:pt x="174" y="44"/>
                  </a:lnTo>
                  <a:lnTo>
                    <a:pt x="176" y="46"/>
                  </a:lnTo>
                  <a:lnTo>
                    <a:pt x="176" y="46"/>
                  </a:lnTo>
                  <a:lnTo>
                    <a:pt x="177" y="47"/>
                  </a:lnTo>
                  <a:lnTo>
                    <a:pt x="178" y="47"/>
                  </a:lnTo>
                  <a:lnTo>
                    <a:pt x="179" y="48"/>
                  </a:lnTo>
                  <a:lnTo>
                    <a:pt x="180" y="48"/>
                  </a:lnTo>
                  <a:lnTo>
                    <a:pt x="181" y="49"/>
                  </a:lnTo>
                  <a:lnTo>
                    <a:pt x="182" y="49"/>
                  </a:lnTo>
                  <a:lnTo>
                    <a:pt x="184" y="49"/>
                  </a:lnTo>
                  <a:lnTo>
                    <a:pt x="185" y="49"/>
                  </a:lnTo>
                  <a:lnTo>
                    <a:pt x="186" y="49"/>
                  </a:lnTo>
                  <a:lnTo>
                    <a:pt x="188" y="49"/>
                  </a:lnTo>
                  <a:lnTo>
                    <a:pt x="191" y="48"/>
                  </a:lnTo>
                  <a:lnTo>
                    <a:pt x="192" y="47"/>
                  </a:lnTo>
                  <a:lnTo>
                    <a:pt x="192" y="47"/>
                  </a:lnTo>
                  <a:lnTo>
                    <a:pt x="193" y="47"/>
                  </a:lnTo>
                  <a:lnTo>
                    <a:pt x="193" y="46"/>
                  </a:lnTo>
                  <a:lnTo>
                    <a:pt x="194" y="46"/>
                  </a:lnTo>
                  <a:lnTo>
                    <a:pt x="194" y="45"/>
                  </a:lnTo>
                  <a:lnTo>
                    <a:pt x="195" y="45"/>
                  </a:lnTo>
                  <a:lnTo>
                    <a:pt x="196" y="42"/>
                  </a:lnTo>
                  <a:lnTo>
                    <a:pt x="197" y="39"/>
                  </a:lnTo>
                  <a:lnTo>
                    <a:pt x="198" y="36"/>
                  </a:lnTo>
                  <a:lnTo>
                    <a:pt x="199" y="35"/>
                  </a:lnTo>
                  <a:lnTo>
                    <a:pt x="199" y="33"/>
                  </a:lnTo>
                  <a:lnTo>
                    <a:pt x="199" y="32"/>
                  </a:lnTo>
                  <a:lnTo>
                    <a:pt x="199" y="31"/>
                  </a:lnTo>
                  <a:lnTo>
                    <a:pt x="199" y="28"/>
                  </a:lnTo>
                  <a:lnTo>
                    <a:pt x="200" y="27"/>
                  </a:lnTo>
                  <a:lnTo>
                    <a:pt x="200" y="27"/>
                  </a:lnTo>
                  <a:lnTo>
                    <a:pt x="200" y="26"/>
                  </a:lnTo>
                  <a:lnTo>
                    <a:pt x="200" y="25"/>
                  </a:lnTo>
                  <a:lnTo>
                    <a:pt x="201" y="25"/>
                  </a:lnTo>
                  <a:lnTo>
                    <a:pt x="203" y="23"/>
                  </a:lnTo>
                  <a:lnTo>
                    <a:pt x="204" y="21"/>
                  </a:lnTo>
                  <a:lnTo>
                    <a:pt x="205" y="20"/>
                  </a:lnTo>
                  <a:lnTo>
                    <a:pt x="206" y="19"/>
                  </a:lnTo>
                  <a:lnTo>
                    <a:pt x="208" y="18"/>
                  </a:lnTo>
                  <a:lnTo>
                    <a:pt x="209" y="17"/>
                  </a:lnTo>
                  <a:lnTo>
                    <a:pt x="210" y="17"/>
                  </a:lnTo>
                  <a:lnTo>
                    <a:pt x="210" y="16"/>
                  </a:lnTo>
                  <a:lnTo>
                    <a:pt x="211" y="15"/>
                  </a:lnTo>
                  <a:lnTo>
                    <a:pt x="211" y="15"/>
                  </a:lnTo>
                  <a:lnTo>
                    <a:pt x="212" y="13"/>
                  </a:lnTo>
                  <a:lnTo>
                    <a:pt x="213" y="12"/>
                  </a:lnTo>
                  <a:lnTo>
                    <a:pt x="214" y="11"/>
                  </a:lnTo>
                  <a:lnTo>
                    <a:pt x="214" y="10"/>
                  </a:lnTo>
                  <a:lnTo>
                    <a:pt x="214" y="10"/>
                  </a:lnTo>
                  <a:lnTo>
                    <a:pt x="215" y="10"/>
                  </a:lnTo>
                  <a:lnTo>
                    <a:pt x="216" y="10"/>
                  </a:lnTo>
                  <a:lnTo>
                    <a:pt x="217" y="10"/>
                  </a:lnTo>
                  <a:lnTo>
                    <a:pt x="218" y="11"/>
                  </a:lnTo>
                  <a:lnTo>
                    <a:pt x="221" y="11"/>
                  </a:lnTo>
                  <a:lnTo>
                    <a:pt x="223" y="12"/>
                  </a:lnTo>
                  <a:lnTo>
                    <a:pt x="224" y="12"/>
                  </a:lnTo>
                  <a:lnTo>
                    <a:pt x="225" y="12"/>
                  </a:lnTo>
                  <a:lnTo>
                    <a:pt x="225" y="12"/>
                  </a:lnTo>
                  <a:lnTo>
                    <a:pt x="226" y="12"/>
                  </a:lnTo>
                  <a:lnTo>
                    <a:pt x="227" y="12"/>
                  </a:lnTo>
                  <a:lnTo>
                    <a:pt x="227" y="12"/>
                  </a:lnTo>
                  <a:lnTo>
                    <a:pt x="228" y="11"/>
                  </a:lnTo>
                  <a:lnTo>
                    <a:pt x="228" y="11"/>
                  </a:lnTo>
                  <a:lnTo>
                    <a:pt x="229" y="11"/>
                  </a:lnTo>
                  <a:lnTo>
                    <a:pt x="230" y="10"/>
                  </a:lnTo>
                  <a:lnTo>
                    <a:pt x="230" y="10"/>
                  </a:lnTo>
                  <a:lnTo>
                    <a:pt x="231" y="9"/>
                  </a:lnTo>
                  <a:lnTo>
                    <a:pt x="231" y="8"/>
                  </a:lnTo>
                  <a:lnTo>
                    <a:pt x="232" y="7"/>
                  </a:lnTo>
                  <a:lnTo>
                    <a:pt x="233" y="5"/>
                  </a:lnTo>
                  <a:lnTo>
                    <a:pt x="234" y="4"/>
                  </a:lnTo>
                  <a:lnTo>
                    <a:pt x="234" y="3"/>
                  </a:lnTo>
                  <a:lnTo>
                    <a:pt x="235" y="2"/>
                  </a:lnTo>
                  <a:lnTo>
                    <a:pt x="235" y="2"/>
                  </a:lnTo>
                  <a:lnTo>
                    <a:pt x="235" y="1"/>
                  </a:lnTo>
                  <a:lnTo>
                    <a:pt x="235" y="1"/>
                  </a:lnTo>
                  <a:lnTo>
                    <a:pt x="235" y="0"/>
                  </a:lnTo>
                  <a:lnTo>
                    <a:pt x="236" y="1"/>
                  </a:lnTo>
                  <a:lnTo>
                    <a:pt x="236" y="1"/>
                  </a:lnTo>
                  <a:lnTo>
                    <a:pt x="238" y="0"/>
                  </a:lnTo>
                  <a:lnTo>
                    <a:pt x="238" y="0"/>
                  </a:lnTo>
                  <a:lnTo>
                    <a:pt x="239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1" y="0"/>
                  </a:lnTo>
                  <a:close/>
                </a:path>
              </a:pathLst>
            </a:custGeom>
            <a:solidFill>
              <a:srgbClr val="CCCCCC"/>
            </a:solidFill>
            <a:ln w="63500">
              <a:solidFill>
                <a:srgbClr val="CCCCC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9" name="Freeform 38">
              <a:extLst>
                <a:ext uri="{FF2B5EF4-FFF2-40B4-BE49-F238E27FC236}">
                  <a16:creationId xmlns:a16="http://schemas.microsoft.com/office/drawing/2014/main" id="{D9F55AFD-52CD-E032-4AEB-8C65A41A6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192"/>
              <a:ext cx="516" cy="419"/>
            </a:xfrm>
            <a:custGeom>
              <a:avLst/>
              <a:gdLst>
                <a:gd name="T0" fmla="*/ 169 w 516"/>
                <a:gd name="T1" fmla="*/ 9 h 419"/>
                <a:gd name="T2" fmla="*/ 172 w 516"/>
                <a:gd name="T3" fmla="*/ 35 h 419"/>
                <a:gd name="T4" fmla="*/ 169 w 516"/>
                <a:gd name="T5" fmla="*/ 53 h 419"/>
                <a:gd name="T6" fmla="*/ 134 w 516"/>
                <a:gd name="T7" fmla="*/ 70 h 419"/>
                <a:gd name="T8" fmla="*/ 139 w 516"/>
                <a:gd name="T9" fmla="*/ 88 h 419"/>
                <a:gd name="T10" fmla="*/ 161 w 516"/>
                <a:gd name="T11" fmla="*/ 97 h 419"/>
                <a:gd name="T12" fmla="*/ 182 w 516"/>
                <a:gd name="T13" fmla="*/ 131 h 419"/>
                <a:gd name="T14" fmla="*/ 204 w 516"/>
                <a:gd name="T15" fmla="*/ 152 h 419"/>
                <a:gd name="T16" fmla="*/ 235 w 516"/>
                <a:gd name="T17" fmla="*/ 147 h 419"/>
                <a:gd name="T18" fmla="*/ 263 w 516"/>
                <a:gd name="T19" fmla="*/ 138 h 419"/>
                <a:gd name="T20" fmla="*/ 254 w 516"/>
                <a:gd name="T21" fmla="*/ 127 h 419"/>
                <a:gd name="T22" fmla="*/ 262 w 516"/>
                <a:gd name="T23" fmla="*/ 116 h 419"/>
                <a:gd name="T24" fmla="*/ 284 w 516"/>
                <a:gd name="T25" fmla="*/ 143 h 419"/>
                <a:gd name="T26" fmla="*/ 305 w 516"/>
                <a:gd name="T27" fmla="*/ 144 h 419"/>
                <a:gd name="T28" fmla="*/ 326 w 516"/>
                <a:gd name="T29" fmla="*/ 157 h 419"/>
                <a:gd name="T30" fmla="*/ 343 w 516"/>
                <a:gd name="T31" fmla="*/ 176 h 419"/>
                <a:gd name="T32" fmla="*/ 354 w 516"/>
                <a:gd name="T33" fmla="*/ 167 h 419"/>
                <a:gd name="T34" fmla="*/ 388 w 516"/>
                <a:gd name="T35" fmla="*/ 175 h 419"/>
                <a:gd name="T36" fmla="*/ 413 w 516"/>
                <a:gd name="T37" fmla="*/ 181 h 419"/>
                <a:gd name="T38" fmla="*/ 423 w 516"/>
                <a:gd name="T39" fmla="*/ 178 h 419"/>
                <a:gd name="T40" fmla="*/ 430 w 516"/>
                <a:gd name="T41" fmla="*/ 200 h 419"/>
                <a:gd name="T42" fmla="*/ 429 w 516"/>
                <a:gd name="T43" fmla="*/ 225 h 419"/>
                <a:gd name="T44" fmla="*/ 449 w 516"/>
                <a:gd name="T45" fmla="*/ 269 h 419"/>
                <a:gd name="T46" fmla="*/ 479 w 516"/>
                <a:gd name="T47" fmla="*/ 282 h 419"/>
                <a:gd name="T48" fmla="*/ 499 w 516"/>
                <a:gd name="T49" fmla="*/ 288 h 419"/>
                <a:gd name="T50" fmla="*/ 516 w 516"/>
                <a:gd name="T51" fmla="*/ 341 h 419"/>
                <a:gd name="T52" fmla="*/ 499 w 516"/>
                <a:gd name="T53" fmla="*/ 362 h 419"/>
                <a:gd name="T54" fmla="*/ 463 w 516"/>
                <a:gd name="T55" fmla="*/ 366 h 419"/>
                <a:gd name="T56" fmla="*/ 431 w 516"/>
                <a:gd name="T57" fmla="*/ 366 h 419"/>
                <a:gd name="T58" fmla="*/ 422 w 516"/>
                <a:gd name="T59" fmla="*/ 385 h 419"/>
                <a:gd name="T60" fmla="*/ 395 w 516"/>
                <a:gd name="T61" fmla="*/ 418 h 419"/>
                <a:gd name="T62" fmla="*/ 376 w 516"/>
                <a:gd name="T63" fmla="*/ 413 h 419"/>
                <a:gd name="T64" fmla="*/ 354 w 516"/>
                <a:gd name="T65" fmla="*/ 386 h 419"/>
                <a:gd name="T66" fmla="*/ 329 w 516"/>
                <a:gd name="T67" fmla="*/ 378 h 419"/>
                <a:gd name="T68" fmla="*/ 293 w 516"/>
                <a:gd name="T69" fmla="*/ 367 h 419"/>
                <a:gd name="T70" fmla="*/ 255 w 516"/>
                <a:gd name="T71" fmla="*/ 366 h 419"/>
                <a:gd name="T72" fmla="*/ 234 w 516"/>
                <a:gd name="T73" fmla="*/ 359 h 419"/>
                <a:gd name="T74" fmla="*/ 218 w 516"/>
                <a:gd name="T75" fmla="*/ 353 h 419"/>
                <a:gd name="T76" fmla="*/ 215 w 516"/>
                <a:gd name="T77" fmla="*/ 340 h 419"/>
                <a:gd name="T78" fmla="*/ 183 w 516"/>
                <a:gd name="T79" fmla="*/ 303 h 419"/>
                <a:gd name="T80" fmla="*/ 169 w 516"/>
                <a:gd name="T81" fmla="*/ 300 h 419"/>
                <a:gd name="T82" fmla="*/ 164 w 516"/>
                <a:gd name="T83" fmla="*/ 274 h 419"/>
                <a:gd name="T84" fmla="*/ 153 w 516"/>
                <a:gd name="T85" fmla="*/ 260 h 419"/>
                <a:gd name="T86" fmla="*/ 120 w 516"/>
                <a:gd name="T87" fmla="*/ 257 h 419"/>
                <a:gd name="T88" fmla="*/ 104 w 516"/>
                <a:gd name="T89" fmla="*/ 237 h 419"/>
                <a:gd name="T90" fmla="*/ 94 w 516"/>
                <a:gd name="T91" fmla="*/ 211 h 419"/>
                <a:gd name="T92" fmla="*/ 89 w 516"/>
                <a:gd name="T93" fmla="*/ 229 h 419"/>
                <a:gd name="T94" fmla="*/ 77 w 516"/>
                <a:gd name="T95" fmla="*/ 236 h 419"/>
                <a:gd name="T96" fmla="*/ 64 w 516"/>
                <a:gd name="T97" fmla="*/ 238 h 419"/>
                <a:gd name="T98" fmla="*/ 60 w 516"/>
                <a:gd name="T99" fmla="*/ 217 h 419"/>
                <a:gd name="T100" fmla="*/ 33 w 516"/>
                <a:gd name="T101" fmla="*/ 234 h 419"/>
                <a:gd name="T102" fmla="*/ 20 w 516"/>
                <a:gd name="T103" fmla="*/ 223 h 419"/>
                <a:gd name="T104" fmla="*/ 5 w 516"/>
                <a:gd name="T105" fmla="*/ 217 h 419"/>
                <a:gd name="T106" fmla="*/ 4 w 516"/>
                <a:gd name="T107" fmla="*/ 193 h 419"/>
                <a:gd name="T108" fmla="*/ 11 w 516"/>
                <a:gd name="T109" fmla="*/ 172 h 419"/>
                <a:gd name="T110" fmla="*/ 6 w 516"/>
                <a:gd name="T111" fmla="*/ 145 h 419"/>
                <a:gd name="T112" fmla="*/ 20 w 516"/>
                <a:gd name="T113" fmla="*/ 105 h 419"/>
                <a:gd name="T114" fmla="*/ 40 w 516"/>
                <a:gd name="T115" fmla="*/ 71 h 419"/>
                <a:gd name="T116" fmla="*/ 66 w 516"/>
                <a:gd name="T117" fmla="*/ 52 h 419"/>
                <a:gd name="T118" fmla="*/ 77 w 516"/>
                <a:gd name="T119" fmla="*/ 34 h 419"/>
                <a:gd name="T120" fmla="*/ 113 w 516"/>
                <a:gd name="T121" fmla="*/ 24 h 419"/>
                <a:gd name="T122" fmla="*/ 142 w 516"/>
                <a:gd name="T123" fmla="*/ 1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16" h="419">
                  <a:moveTo>
                    <a:pt x="156" y="0"/>
                  </a:moveTo>
                  <a:lnTo>
                    <a:pt x="157" y="0"/>
                  </a:lnTo>
                  <a:lnTo>
                    <a:pt x="158" y="0"/>
                  </a:lnTo>
                  <a:lnTo>
                    <a:pt x="158" y="1"/>
                  </a:lnTo>
                  <a:lnTo>
                    <a:pt x="159" y="1"/>
                  </a:lnTo>
                  <a:lnTo>
                    <a:pt x="160" y="1"/>
                  </a:lnTo>
                  <a:lnTo>
                    <a:pt x="160" y="2"/>
                  </a:lnTo>
                  <a:lnTo>
                    <a:pt x="161" y="2"/>
                  </a:lnTo>
                  <a:lnTo>
                    <a:pt x="162" y="3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64" y="5"/>
                  </a:lnTo>
                  <a:lnTo>
                    <a:pt x="164" y="6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6" y="7"/>
                  </a:lnTo>
                  <a:lnTo>
                    <a:pt x="167" y="8"/>
                  </a:lnTo>
                  <a:lnTo>
                    <a:pt x="167" y="8"/>
                  </a:lnTo>
                  <a:lnTo>
                    <a:pt x="168" y="8"/>
                  </a:lnTo>
                  <a:lnTo>
                    <a:pt x="169" y="9"/>
                  </a:lnTo>
                  <a:lnTo>
                    <a:pt x="169" y="9"/>
                  </a:lnTo>
                  <a:lnTo>
                    <a:pt x="169" y="10"/>
                  </a:lnTo>
                  <a:lnTo>
                    <a:pt x="169" y="10"/>
                  </a:lnTo>
                  <a:lnTo>
                    <a:pt x="169" y="11"/>
                  </a:lnTo>
                  <a:lnTo>
                    <a:pt x="169" y="11"/>
                  </a:lnTo>
                  <a:lnTo>
                    <a:pt x="169" y="12"/>
                  </a:lnTo>
                  <a:lnTo>
                    <a:pt x="169" y="13"/>
                  </a:lnTo>
                  <a:lnTo>
                    <a:pt x="169" y="14"/>
                  </a:lnTo>
                  <a:lnTo>
                    <a:pt x="167" y="18"/>
                  </a:lnTo>
                  <a:lnTo>
                    <a:pt x="167" y="20"/>
                  </a:lnTo>
                  <a:lnTo>
                    <a:pt x="166" y="21"/>
                  </a:lnTo>
                  <a:lnTo>
                    <a:pt x="166" y="22"/>
                  </a:lnTo>
                  <a:lnTo>
                    <a:pt x="166" y="23"/>
                  </a:lnTo>
                  <a:lnTo>
                    <a:pt x="166" y="24"/>
                  </a:lnTo>
                  <a:lnTo>
                    <a:pt x="166" y="26"/>
                  </a:lnTo>
                  <a:lnTo>
                    <a:pt x="166" y="27"/>
                  </a:lnTo>
                  <a:lnTo>
                    <a:pt x="167" y="28"/>
                  </a:lnTo>
                  <a:lnTo>
                    <a:pt x="167" y="29"/>
                  </a:lnTo>
                  <a:lnTo>
                    <a:pt x="168" y="30"/>
                  </a:lnTo>
                  <a:lnTo>
                    <a:pt x="168" y="31"/>
                  </a:lnTo>
                  <a:lnTo>
                    <a:pt x="169" y="32"/>
                  </a:lnTo>
                  <a:lnTo>
                    <a:pt x="172" y="35"/>
                  </a:lnTo>
                  <a:lnTo>
                    <a:pt x="173" y="37"/>
                  </a:lnTo>
                  <a:lnTo>
                    <a:pt x="173" y="38"/>
                  </a:lnTo>
                  <a:lnTo>
                    <a:pt x="174" y="38"/>
                  </a:lnTo>
                  <a:lnTo>
                    <a:pt x="174" y="39"/>
                  </a:lnTo>
                  <a:lnTo>
                    <a:pt x="174" y="40"/>
                  </a:lnTo>
                  <a:lnTo>
                    <a:pt x="174" y="41"/>
                  </a:lnTo>
                  <a:lnTo>
                    <a:pt x="175" y="42"/>
                  </a:lnTo>
                  <a:lnTo>
                    <a:pt x="175" y="43"/>
                  </a:lnTo>
                  <a:lnTo>
                    <a:pt x="175" y="45"/>
                  </a:lnTo>
                  <a:lnTo>
                    <a:pt x="174" y="46"/>
                  </a:lnTo>
                  <a:lnTo>
                    <a:pt x="174" y="47"/>
                  </a:lnTo>
                  <a:lnTo>
                    <a:pt x="174" y="49"/>
                  </a:lnTo>
                  <a:lnTo>
                    <a:pt x="174" y="49"/>
                  </a:lnTo>
                  <a:lnTo>
                    <a:pt x="173" y="50"/>
                  </a:lnTo>
                  <a:lnTo>
                    <a:pt x="173" y="50"/>
                  </a:lnTo>
                  <a:lnTo>
                    <a:pt x="173" y="51"/>
                  </a:lnTo>
                  <a:lnTo>
                    <a:pt x="172" y="52"/>
                  </a:lnTo>
                  <a:lnTo>
                    <a:pt x="171" y="52"/>
                  </a:lnTo>
                  <a:lnTo>
                    <a:pt x="170" y="53"/>
                  </a:lnTo>
                  <a:lnTo>
                    <a:pt x="169" y="53"/>
                  </a:lnTo>
                  <a:lnTo>
                    <a:pt x="169" y="53"/>
                  </a:lnTo>
                  <a:lnTo>
                    <a:pt x="166" y="54"/>
                  </a:lnTo>
                  <a:lnTo>
                    <a:pt x="165" y="54"/>
                  </a:lnTo>
                  <a:lnTo>
                    <a:pt x="164" y="55"/>
                  </a:lnTo>
                  <a:lnTo>
                    <a:pt x="164" y="55"/>
                  </a:lnTo>
                  <a:lnTo>
                    <a:pt x="163" y="56"/>
                  </a:lnTo>
                  <a:lnTo>
                    <a:pt x="162" y="57"/>
                  </a:lnTo>
                  <a:lnTo>
                    <a:pt x="162" y="57"/>
                  </a:lnTo>
                  <a:lnTo>
                    <a:pt x="160" y="59"/>
                  </a:lnTo>
                  <a:lnTo>
                    <a:pt x="160" y="60"/>
                  </a:lnTo>
                  <a:lnTo>
                    <a:pt x="159" y="61"/>
                  </a:lnTo>
                  <a:lnTo>
                    <a:pt x="159" y="61"/>
                  </a:lnTo>
                  <a:lnTo>
                    <a:pt x="158" y="62"/>
                  </a:lnTo>
                  <a:lnTo>
                    <a:pt x="158" y="62"/>
                  </a:lnTo>
                  <a:lnTo>
                    <a:pt x="157" y="63"/>
                  </a:lnTo>
                  <a:lnTo>
                    <a:pt x="156" y="63"/>
                  </a:lnTo>
                  <a:lnTo>
                    <a:pt x="155" y="63"/>
                  </a:lnTo>
                  <a:lnTo>
                    <a:pt x="153" y="64"/>
                  </a:lnTo>
                  <a:lnTo>
                    <a:pt x="148" y="66"/>
                  </a:lnTo>
                  <a:lnTo>
                    <a:pt x="142" y="68"/>
                  </a:lnTo>
                  <a:lnTo>
                    <a:pt x="139" y="69"/>
                  </a:lnTo>
                  <a:lnTo>
                    <a:pt x="134" y="70"/>
                  </a:lnTo>
                  <a:lnTo>
                    <a:pt x="133" y="71"/>
                  </a:lnTo>
                  <a:lnTo>
                    <a:pt x="132" y="71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0" y="73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5"/>
                  </a:lnTo>
                  <a:lnTo>
                    <a:pt x="129" y="76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30" y="78"/>
                  </a:lnTo>
                  <a:lnTo>
                    <a:pt x="130" y="79"/>
                  </a:lnTo>
                  <a:lnTo>
                    <a:pt x="131" y="80"/>
                  </a:lnTo>
                  <a:lnTo>
                    <a:pt x="131" y="81"/>
                  </a:lnTo>
                  <a:lnTo>
                    <a:pt x="132" y="82"/>
                  </a:lnTo>
                  <a:lnTo>
                    <a:pt x="132" y="82"/>
                  </a:lnTo>
                  <a:lnTo>
                    <a:pt x="133" y="83"/>
                  </a:lnTo>
                  <a:lnTo>
                    <a:pt x="134" y="84"/>
                  </a:lnTo>
                  <a:lnTo>
                    <a:pt x="135" y="85"/>
                  </a:lnTo>
                  <a:lnTo>
                    <a:pt x="139" y="88"/>
                  </a:lnTo>
                  <a:lnTo>
                    <a:pt x="140" y="89"/>
                  </a:lnTo>
                  <a:lnTo>
                    <a:pt x="141" y="91"/>
                  </a:lnTo>
                  <a:lnTo>
                    <a:pt x="143" y="93"/>
                  </a:lnTo>
                  <a:lnTo>
                    <a:pt x="144" y="94"/>
                  </a:lnTo>
                  <a:lnTo>
                    <a:pt x="145" y="95"/>
                  </a:lnTo>
                  <a:lnTo>
                    <a:pt x="146" y="96"/>
                  </a:lnTo>
                  <a:lnTo>
                    <a:pt x="147" y="97"/>
                  </a:lnTo>
                  <a:lnTo>
                    <a:pt x="149" y="97"/>
                  </a:lnTo>
                  <a:lnTo>
                    <a:pt x="150" y="98"/>
                  </a:lnTo>
                  <a:lnTo>
                    <a:pt x="151" y="98"/>
                  </a:lnTo>
                  <a:lnTo>
                    <a:pt x="152" y="98"/>
                  </a:lnTo>
                  <a:lnTo>
                    <a:pt x="152" y="98"/>
                  </a:lnTo>
                  <a:lnTo>
                    <a:pt x="153" y="97"/>
                  </a:lnTo>
                  <a:lnTo>
                    <a:pt x="155" y="97"/>
                  </a:lnTo>
                  <a:lnTo>
                    <a:pt x="156" y="97"/>
                  </a:lnTo>
                  <a:lnTo>
                    <a:pt x="157" y="97"/>
                  </a:lnTo>
                  <a:lnTo>
                    <a:pt x="158" y="97"/>
                  </a:lnTo>
                  <a:lnTo>
                    <a:pt x="159" y="97"/>
                  </a:lnTo>
                  <a:lnTo>
                    <a:pt x="159" y="97"/>
                  </a:lnTo>
                  <a:lnTo>
                    <a:pt x="160" y="97"/>
                  </a:lnTo>
                  <a:lnTo>
                    <a:pt x="161" y="97"/>
                  </a:lnTo>
                  <a:lnTo>
                    <a:pt x="161" y="98"/>
                  </a:lnTo>
                  <a:lnTo>
                    <a:pt x="163" y="98"/>
                  </a:lnTo>
                  <a:lnTo>
                    <a:pt x="163" y="99"/>
                  </a:lnTo>
                  <a:lnTo>
                    <a:pt x="164" y="99"/>
                  </a:lnTo>
                  <a:lnTo>
                    <a:pt x="165" y="100"/>
                  </a:lnTo>
                  <a:lnTo>
                    <a:pt x="166" y="101"/>
                  </a:lnTo>
                  <a:lnTo>
                    <a:pt x="167" y="102"/>
                  </a:lnTo>
                  <a:lnTo>
                    <a:pt x="168" y="103"/>
                  </a:lnTo>
                  <a:lnTo>
                    <a:pt x="170" y="106"/>
                  </a:lnTo>
                  <a:lnTo>
                    <a:pt x="171" y="108"/>
                  </a:lnTo>
                  <a:lnTo>
                    <a:pt x="174" y="112"/>
                  </a:lnTo>
                  <a:lnTo>
                    <a:pt x="175" y="113"/>
                  </a:lnTo>
                  <a:lnTo>
                    <a:pt x="176" y="115"/>
                  </a:lnTo>
                  <a:lnTo>
                    <a:pt x="177" y="116"/>
                  </a:lnTo>
                  <a:lnTo>
                    <a:pt x="177" y="117"/>
                  </a:lnTo>
                  <a:lnTo>
                    <a:pt x="178" y="119"/>
                  </a:lnTo>
                  <a:lnTo>
                    <a:pt x="178" y="120"/>
                  </a:lnTo>
                  <a:lnTo>
                    <a:pt x="180" y="124"/>
                  </a:lnTo>
                  <a:lnTo>
                    <a:pt x="181" y="126"/>
                  </a:lnTo>
                  <a:lnTo>
                    <a:pt x="181" y="127"/>
                  </a:lnTo>
                  <a:lnTo>
                    <a:pt x="182" y="131"/>
                  </a:lnTo>
                  <a:lnTo>
                    <a:pt x="184" y="134"/>
                  </a:lnTo>
                  <a:lnTo>
                    <a:pt x="184" y="135"/>
                  </a:lnTo>
                  <a:lnTo>
                    <a:pt x="185" y="136"/>
                  </a:lnTo>
                  <a:lnTo>
                    <a:pt x="185" y="137"/>
                  </a:lnTo>
                  <a:lnTo>
                    <a:pt x="186" y="137"/>
                  </a:lnTo>
                  <a:lnTo>
                    <a:pt x="187" y="138"/>
                  </a:lnTo>
                  <a:lnTo>
                    <a:pt x="188" y="138"/>
                  </a:lnTo>
                  <a:lnTo>
                    <a:pt x="190" y="140"/>
                  </a:lnTo>
                  <a:lnTo>
                    <a:pt x="192" y="141"/>
                  </a:lnTo>
                  <a:lnTo>
                    <a:pt x="195" y="142"/>
                  </a:lnTo>
                  <a:lnTo>
                    <a:pt x="196" y="142"/>
                  </a:lnTo>
                  <a:lnTo>
                    <a:pt x="197" y="143"/>
                  </a:lnTo>
                  <a:lnTo>
                    <a:pt x="198" y="144"/>
                  </a:lnTo>
                  <a:lnTo>
                    <a:pt x="198" y="145"/>
                  </a:lnTo>
                  <a:lnTo>
                    <a:pt x="199" y="146"/>
                  </a:lnTo>
                  <a:lnTo>
                    <a:pt x="200" y="147"/>
                  </a:lnTo>
                  <a:lnTo>
                    <a:pt x="201" y="148"/>
                  </a:lnTo>
                  <a:lnTo>
                    <a:pt x="201" y="149"/>
                  </a:lnTo>
                  <a:lnTo>
                    <a:pt x="202" y="150"/>
                  </a:lnTo>
                  <a:lnTo>
                    <a:pt x="202" y="151"/>
                  </a:lnTo>
                  <a:lnTo>
                    <a:pt x="204" y="152"/>
                  </a:lnTo>
                  <a:lnTo>
                    <a:pt x="205" y="153"/>
                  </a:lnTo>
                  <a:lnTo>
                    <a:pt x="207" y="154"/>
                  </a:lnTo>
                  <a:lnTo>
                    <a:pt x="208" y="155"/>
                  </a:lnTo>
                  <a:lnTo>
                    <a:pt x="209" y="156"/>
                  </a:lnTo>
                  <a:lnTo>
                    <a:pt x="211" y="156"/>
                  </a:lnTo>
                  <a:lnTo>
                    <a:pt x="212" y="157"/>
                  </a:lnTo>
                  <a:lnTo>
                    <a:pt x="213" y="157"/>
                  </a:lnTo>
                  <a:lnTo>
                    <a:pt x="213" y="157"/>
                  </a:lnTo>
                  <a:lnTo>
                    <a:pt x="214" y="157"/>
                  </a:lnTo>
                  <a:lnTo>
                    <a:pt x="215" y="157"/>
                  </a:lnTo>
                  <a:lnTo>
                    <a:pt x="216" y="157"/>
                  </a:lnTo>
                  <a:lnTo>
                    <a:pt x="220" y="156"/>
                  </a:lnTo>
                  <a:lnTo>
                    <a:pt x="222" y="156"/>
                  </a:lnTo>
                  <a:lnTo>
                    <a:pt x="223" y="156"/>
                  </a:lnTo>
                  <a:lnTo>
                    <a:pt x="224" y="155"/>
                  </a:lnTo>
                  <a:lnTo>
                    <a:pt x="225" y="155"/>
                  </a:lnTo>
                  <a:lnTo>
                    <a:pt x="227" y="154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0" y="152"/>
                  </a:lnTo>
                  <a:lnTo>
                    <a:pt x="235" y="147"/>
                  </a:lnTo>
                  <a:lnTo>
                    <a:pt x="236" y="146"/>
                  </a:lnTo>
                  <a:lnTo>
                    <a:pt x="237" y="145"/>
                  </a:lnTo>
                  <a:lnTo>
                    <a:pt x="238" y="145"/>
                  </a:lnTo>
                  <a:lnTo>
                    <a:pt x="239" y="144"/>
                  </a:lnTo>
                  <a:lnTo>
                    <a:pt x="241" y="143"/>
                  </a:lnTo>
                  <a:lnTo>
                    <a:pt x="242" y="142"/>
                  </a:lnTo>
                  <a:lnTo>
                    <a:pt x="245" y="141"/>
                  </a:lnTo>
                  <a:lnTo>
                    <a:pt x="247" y="140"/>
                  </a:lnTo>
                  <a:lnTo>
                    <a:pt x="248" y="140"/>
                  </a:lnTo>
                  <a:lnTo>
                    <a:pt x="249" y="139"/>
                  </a:lnTo>
                  <a:lnTo>
                    <a:pt x="251" y="139"/>
                  </a:lnTo>
                  <a:lnTo>
                    <a:pt x="252" y="139"/>
                  </a:lnTo>
                  <a:lnTo>
                    <a:pt x="252" y="139"/>
                  </a:lnTo>
                  <a:lnTo>
                    <a:pt x="257" y="139"/>
                  </a:lnTo>
                  <a:lnTo>
                    <a:pt x="259" y="139"/>
                  </a:lnTo>
                  <a:lnTo>
                    <a:pt x="260" y="139"/>
                  </a:lnTo>
                  <a:lnTo>
                    <a:pt x="261" y="139"/>
                  </a:lnTo>
                  <a:lnTo>
                    <a:pt x="262" y="139"/>
                  </a:lnTo>
                  <a:lnTo>
                    <a:pt x="262" y="139"/>
                  </a:lnTo>
                  <a:lnTo>
                    <a:pt x="263" y="139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7"/>
                  </a:lnTo>
                  <a:lnTo>
                    <a:pt x="264" y="136"/>
                  </a:lnTo>
                  <a:lnTo>
                    <a:pt x="264" y="135"/>
                  </a:lnTo>
                  <a:lnTo>
                    <a:pt x="263" y="134"/>
                  </a:lnTo>
                  <a:lnTo>
                    <a:pt x="263" y="133"/>
                  </a:lnTo>
                  <a:lnTo>
                    <a:pt x="263" y="132"/>
                  </a:lnTo>
                  <a:lnTo>
                    <a:pt x="263" y="132"/>
                  </a:lnTo>
                  <a:lnTo>
                    <a:pt x="262" y="131"/>
                  </a:lnTo>
                  <a:lnTo>
                    <a:pt x="262" y="130"/>
                  </a:lnTo>
                  <a:lnTo>
                    <a:pt x="261" y="130"/>
                  </a:lnTo>
                  <a:lnTo>
                    <a:pt x="261" y="129"/>
                  </a:lnTo>
                  <a:lnTo>
                    <a:pt x="260" y="129"/>
                  </a:lnTo>
                  <a:lnTo>
                    <a:pt x="259" y="129"/>
                  </a:lnTo>
                  <a:lnTo>
                    <a:pt x="258" y="128"/>
                  </a:lnTo>
                  <a:lnTo>
                    <a:pt x="256" y="128"/>
                  </a:lnTo>
                  <a:lnTo>
                    <a:pt x="256" y="128"/>
                  </a:lnTo>
                  <a:lnTo>
                    <a:pt x="255" y="128"/>
                  </a:lnTo>
                  <a:lnTo>
                    <a:pt x="255" y="127"/>
                  </a:lnTo>
                  <a:lnTo>
                    <a:pt x="254" y="127"/>
                  </a:lnTo>
                  <a:lnTo>
                    <a:pt x="254" y="127"/>
                  </a:lnTo>
                  <a:lnTo>
                    <a:pt x="254" y="126"/>
                  </a:lnTo>
                  <a:lnTo>
                    <a:pt x="253" y="126"/>
                  </a:lnTo>
                  <a:lnTo>
                    <a:pt x="253" y="125"/>
                  </a:lnTo>
                  <a:lnTo>
                    <a:pt x="253" y="124"/>
                  </a:lnTo>
                  <a:lnTo>
                    <a:pt x="253" y="124"/>
                  </a:lnTo>
                  <a:lnTo>
                    <a:pt x="253" y="123"/>
                  </a:lnTo>
                  <a:lnTo>
                    <a:pt x="253" y="122"/>
                  </a:lnTo>
                  <a:lnTo>
                    <a:pt x="253" y="121"/>
                  </a:lnTo>
                  <a:lnTo>
                    <a:pt x="254" y="121"/>
                  </a:lnTo>
                  <a:lnTo>
                    <a:pt x="254" y="120"/>
                  </a:lnTo>
                  <a:lnTo>
                    <a:pt x="255" y="119"/>
                  </a:lnTo>
                  <a:lnTo>
                    <a:pt x="255" y="118"/>
                  </a:lnTo>
                  <a:lnTo>
                    <a:pt x="256" y="118"/>
                  </a:lnTo>
                  <a:lnTo>
                    <a:pt x="257" y="117"/>
                  </a:lnTo>
                  <a:lnTo>
                    <a:pt x="257" y="117"/>
                  </a:lnTo>
                  <a:lnTo>
                    <a:pt x="258" y="117"/>
                  </a:lnTo>
                  <a:lnTo>
                    <a:pt x="259" y="116"/>
                  </a:lnTo>
                  <a:lnTo>
                    <a:pt x="260" y="116"/>
                  </a:lnTo>
                  <a:lnTo>
                    <a:pt x="261" y="116"/>
                  </a:lnTo>
                  <a:lnTo>
                    <a:pt x="261" y="116"/>
                  </a:lnTo>
                  <a:lnTo>
                    <a:pt x="262" y="116"/>
                  </a:lnTo>
                  <a:lnTo>
                    <a:pt x="263" y="117"/>
                  </a:lnTo>
                  <a:lnTo>
                    <a:pt x="265" y="117"/>
                  </a:lnTo>
                  <a:lnTo>
                    <a:pt x="266" y="118"/>
                  </a:lnTo>
                  <a:lnTo>
                    <a:pt x="267" y="118"/>
                  </a:lnTo>
                  <a:lnTo>
                    <a:pt x="268" y="119"/>
                  </a:lnTo>
                  <a:lnTo>
                    <a:pt x="269" y="120"/>
                  </a:lnTo>
                  <a:lnTo>
                    <a:pt x="272" y="122"/>
                  </a:lnTo>
                  <a:lnTo>
                    <a:pt x="273" y="123"/>
                  </a:lnTo>
                  <a:lnTo>
                    <a:pt x="274" y="124"/>
                  </a:lnTo>
                  <a:lnTo>
                    <a:pt x="275" y="125"/>
                  </a:lnTo>
                  <a:lnTo>
                    <a:pt x="276" y="126"/>
                  </a:lnTo>
                  <a:lnTo>
                    <a:pt x="278" y="132"/>
                  </a:lnTo>
                  <a:lnTo>
                    <a:pt x="279" y="133"/>
                  </a:lnTo>
                  <a:lnTo>
                    <a:pt x="279" y="134"/>
                  </a:lnTo>
                  <a:lnTo>
                    <a:pt x="280" y="137"/>
                  </a:lnTo>
                  <a:lnTo>
                    <a:pt x="281" y="138"/>
                  </a:lnTo>
                  <a:lnTo>
                    <a:pt x="281" y="139"/>
                  </a:lnTo>
                  <a:lnTo>
                    <a:pt x="282" y="140"/>
                  </a:lnTo>
                  <a:lnTo>
                    <a:pt x="282" y="142"/>
                  </a:lnTo>
                  <a:lnTo>
                    <a:pt x="283" y="142"/>
                  </a:lnTo>
                  <a:lnTo>
                    <a:pt x="284" y="143"/>
                  </a:lnTo>
                  <a:lnTo>
                    <a:pt x="285" y="143"/>
                  </a:lnTo>
                  <a:lnTo>
                    <a:pt x="285" y="144"/>
                  </a:lnTo>
                  <a:lnTo>
                    <a:pt x="286" y="144"/>
                  </a:lnTo>
                  <a:lnTo>
                    <a:pt x="287" y="145"/>
                  </a:lnTo>
                  <a:lnTo>
                    <a:pt x="287" y="145"/>
                  </a:lnTo>
                  <a:lnTo>
                    <a:pt x="290" y="146"/>
                  </a:lnTo>
                  <a:lnTo>
                    <a:pt x="295" y="148"/>
                  </a:lnTo>
                  <a:lnTo>
                    <a:pt x="296" y="148"/>
                  </a:lnTo>
                  <a:lnTo>
                    <a:pt x="297" y="148"/>
                  </a:lnTo>
                  <a:lnTo>
                    <a:pt x="297" y="148"/>
                  </a:lnTo>
                  <a:lnTo>
                    <a:pt x="298" y="148"/>
                  </a:lnTo>
                  <a:lnTo>
                    <a:pt x="299" y="148"/>
                  </a:lnTo>
                  <a:lnTo>
                    <a:pt x="299" y="147"/>
                  </a:lnTo>
                  <a:lnTo>
                    <a:pt x="300" y="147"/>
                  </a:lnTo>
                  <a:lnTo>
                    <a:pt x="300" y="147"/>
                  </a:lnTo>
                  <a:lnTo>
                    <a:pt x="302" y="146"/>
                  </a:lnTo>
                  <a:lnTo>
                    <a:pt x="303" y="145"/>
                  </a:lnTo>
                  <a:lnTo>
                    <a:pt x="304" y="145"/>
                  </a:lnTo>
                  <a:lnTo>
                    <a:pt x="304" y="145"/>
                  </a:lnTo>
                  <a:lnTo>
                    <a:pt x="305" y="144"/>
                  </a:lnTo>
                  <a:lnTo>
                    <a:pt x="305" y="144"/>
                  </a:lnTo>
                  <a:lnTo>
                    <a:pt x="306" y="144"/>
                  </a:lnTo>
                  <a:lnTo>
                    <a:pt x="307" y="144"/>
                  </a:lnTo>
                  <a:lnTo>
                    <a:pt x="308" y="144"/>
                  </a:lnTo>
                  <a:lnTo>
                    <a:pt x="309" y="145"/>
                  </a:lnTo>
                  <a:lnTo>
                    <a:pt x="310" y="145"/>
                  </a:lnTo>
                  <a:lnTo>
                    <a:pt x="310" y="145"/>
                  </a:lnTo>
                  <a:lnTo>
                    <a:pt x="311" y="146"/>
                  </a:lnTo>
                  <a:lnTo>
                    <a:pt x="311" y="146"/>
                  </a:lnTo>
                  <a:lnTo>
                    <a:pt x="312" y="146"/>
                  </a:lnTo>
                  <a:lnTo>
                    <a:pt x="313" y="147"/>
                  </a:lnTo>
                  <a:lnTo>
                    <a:pt x="313" y="148"/>
                  </a:lnTo>
                  <a:lnTo>
                    <a:pt x="314" y="149"/>
                  </a:lnTo>
                  <a:lnTo>
                    <a:pt x="315" y="151"/>
                  </a:lnTo>
                  <a:lnTo>
                    <a:pt x="316" y="152"/>
                  </a:lnTo>
                  <a:lnTo>
                    <a:pt x="317" y="153"/>
                  </a:lnTo>
                  <a:lnTo>
                    <a:pt x="318" y="153"/>
                  </a:lnTo>
                  <a:lnTo>
                    <a:pt x="318" y="154"/>
                  </a:lnTo>
                  <a:lnTo>
                    <a:pt x="319" y="154"/>
                  </a:lnTo>
                  <a:lnTo>
                    <a:pt x="320" y="155"/>
                  </a:lnTo>
                  <a:lnTo>
                    <a:pt x="321" y="155"/>
                  </a:lnTo>
                  <a:lnTo>
                    <a:pt x="326" y="157"/>
                  </a:lnTo>
                  <a:lnTo>
                    <a:pt x="327" y="157"/>
                  </a:lnTo>
                  <a:lnTo>
                    <a:pt x="328" y="157"/>
                  </a:lnTo>
                  <a:lnTo>
                    <a:pt x="329" y="158"/>
                  </a:lnTo>
                  <a:lnTo>
                    <a:pt x="330" y="159"/>
                  </a:lnTo>
                  <a:lnTo>
                    <a:pt x="331" y="159"/>
                  </a:lnTo>
                  <a:lnTo>
                    <a:pt x="332" y="160"/>
                  </a:lnTo>
                  <a:lnTo>
                    <a:pt x="332" y="160"/>
                  </a:lnTo>
                  <a:lnTo>
                    <a:pt x="333" y="161"/>
                  </a:lnTo>
                  <a:lnTo>
                    <a:pt x="334" y="162"/>
                  </a:lnTo>
                  <a:lnTo>
                    <a:pt x="334" y="163"/>
                  </a:lnTo>
                  <a:lnTo>
                    <a:pt x="335" y="164"/>
                  </a:lnTo>
                  <a:lnTo>
                    <a:pt x="336" y="168"/>
                  </a:lnTo>
                  <a:lnTo>
                    <a:pt x="337" y="169"/>
                  </a:lnTo>
                  <a:lnTo>
                    <a:pt x="337" y="170"/>
                  </a:lnTo>
                  <a:lnTo>
                    <a:pt x="338" y="171"/>
                  </a:lnTo>
                  <a:lnTo>
                    <a:pt x="339" y="172"/>
                  </a:lnTo>
                  <a:lnTo>
                    <a:pt x="339" y="173"/>
                  </a:lnTo>
                  <a:lnTo>
                    <a:pt x="340" y="173"/>
                  </a:lnTo>
                  <a:lnTo>
                    <a:pt x="341" y="174"/>
                  </a:lnTo>
                  <a:lnTo>
                    <a:pt x="342" y="175"/>
                  </a:lnTo>
                  <a:lnTo>
                    <a:pt x="343" y="176"/>
                  </a:lnTo>
                  <a:lnTo>
                    <a:pt x="343" y="176"/>
                  </a:lnTo>
                  <a:lnTo>
                    <a:pt x="344" y="176"/>
                  </a:lnTo>
                  <a:lnTo>
                    <a:pt x="345" y="177"/>
                  </a:lnTo>
                  <a:lnTo>
                    <a:pt x="346" y="177"/>
                  </a:lnTo>
                  <a:lnTo>
                    <a:pt x="347" y="177"/>
                  </a:lnTo>
                  <a:lnTo>
                    <a:pt x="348" y="177"/>
                  </a:lnTo>
                  <a:lnTo>
                    <a:pt x="348" y="177"/>
                  </a:lnTo>
                  <a:lnTo>
                    <a:pt x="349" y="177"/>
                  </a:lnTo>
                  <a:lnTo>
                    <a:pt x="350" y="176"/>
                  </a:lnTo>
                  <a:lnTo>
                    <a:pt x="351" y="175"/>
                  </a:lnTo>
                  <a:lnTo>
                    <a:pt x="353" y="174"/>
                  </a:lnTo>
                  <a:lnTo>
                    <a:pt x="353" y="174"/>
                  </a:lnTo>
                  <a:lnTo>
                    <a:pt x="354" y="173"/>
                  </a:lnTo>
                  <a:lnTo>
                    <a:pt x="354" y="172"/>
                  </a:lnTo>
                  <a:lnTo>
                    <a:pt x="354" y="172"/>
                  </a:lnTo>
                  <a:lnTo>
                    <a:pt x="354" y="171"/>
                  </a:lnTo>
                  <a:lnTo>
                    <a:pt x="354" y="170"/>
                  </a:lnTo>
                  <a:lnTo>
                    <a:pt x="354" y="169"/>
                  </a:lnTo>
                  <a:lnTo>
                    <a:pt x="354" y="168"/>
                  </a:lnTo>
                  <a:lnTo>
                    <a:pt x="354" y="168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5" y="167"/>
                  </a:lnTo>
                  <a:lnTo>
                    <a:pt x="356" y="167"/>
                  </a:lnTo>
                  <a:lnTo>
                    <a:pt x="357" y="167"/>
                  </a:lnTo>
                  <a:lnTo>
                    <a:pt x="358" y="167"/>
                  </a:lnTo>
                  <a:lnTo>
                    <a:pt x="362" y="168"/>
                  </a:lnTo>
                  <a:lnTo>
                    <a:pt x="364" y="169"/>
                  </a:lnTo>
                  <a:lnTo>
                    <a:pt x="365" y="169"/>
                  </a:lnTo>
                  <a:lnTo>
                    <a:pt x="367" y="169"/>
                  </a:lnTo>
                  <a:lnTo>
                    <a:pt x="369" y="169"/>
                  </a:lnTo>
                  <a:lnTo>
                    <a:pt x="374" y="169"/>
                  </a:lnTo>
                  <a:lnTo>
                    <a:pt x="375" y="169"/>
                  </a:lnTo>
                  <a:lnTo>
                    <a:pt x="377" y="170"/>
                  </a:lnTo>
                  <a:lnTo>
                    <a:pt x="378" y="170"/>
                  </a:lnTo>
                  <a:lnTo>
                    <a:pt x="379" y="170"/>
                  </a:lnTo>
                  <a:lnTo>
                    <a:pt x="379" y="170"/>
                  </a:lnTo>
                  <a:lnTo>
                    <a:pt x="380" y="171"/>
                  </a:lnTo>
                  <a:lnTo>
                    <a:pt x="385" y="173"/>
                  </a:lnTo>
                  <a:lnTo>
                    <a:pt x="388" y="175"/>
                  </a:lnTo>
                  <a:lnTo>
                    <a:pt x="390" y="176"/>
                  </a:lnTo>
                  <a:lnTo>
                    <a:pt x="391" y="176"/>
                  </a:lnTo>
                  <a:lnTo>
                    <a:pt x="397" y="181"/>
                  </a:lnTo>
                  <a:lnTo>
                    <a:pt x="398" y="181"/>
                  </a:lnTo>
                  <a:lnTo>
                    <a:pt x="398" y="181"/>
                  </a:lnTo>
                  <a:lnTo>
                    <a:pt x="400" y="182"/>
                  </a:lnTo>
                  <a:lnTo>
                    <a:pt x="401" y="183"/>
                  </a:lnTo>
                  <a:lnTo>
                    <a:pt x="403" y="183"/>
                  </a:lnTo>
                  <a:lnTo>
                    <a:pt x="404" y="183"/>
                  </a:lnTo>
                  <a:lnTo>
                    <a:pt x="406" y="183"/>
                  </a:lnTo>
                  <a:lnTo>
                    <a:pt x="407" y="184"/>
                  </a:lnTo>
                  <a:lnTo>
                    <a:pt x="408" y="184"/>
                  </a:lnTo>
                  <a:lnTo>
                    <a:pt x="409" y="183"/>
                  </a:lnTo>
                  <a:lnTo>
                    <a:pt x="410" y="183"/>
                  </a:lnTo>
                  <a:lnTo>
                    <a:pt x="410" y="183"/>
                  </a:lnTo>
                  <a:lnTo>
                    <a:pt x="411" y="183"/>
                  </a:lnTo>
                  <a:lnTo>
                    <a:pt x="411" y="182"/>
                  </a:lnTo>
                  <a:lnTo>
                    <a:pt x="412" y="182"/>
                  </a:lnTo>
                  <a:lnTo>
                    <a:pt x="412" y="181"/>
                  </a:lnTo>
                  <a:lnTo>
                    <a:pt x="413" y="181"/>
                  </a:lnTo>
                  <a:lnTo>
                    <a:pt x="413" y="181"/>
                  </a:lnTo>
                  <a:lnTo>
                    <a:pt x="413" y="180"/>
                  </a:lnTo>
                  <a:lnTo>
                    <a:pt x="414" y="179"/>
                  </a:lnTo>
                  <a:lnTo>
                    <a:pt x="414" y="177"/>
                  </a:lnTo>
                  <a:lnTo>
                    <a:pt x="415" y="176"/>
                  </a:lnTo>
                  <a:lnTo>
                    <a:pt x="415" y="176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7" y="174"/>
                  </a:lnTo>
                  <a:lnTo>
                    <a:pt x="417" y="174"/>
                  </a:lnTo>
                  <a:lnTo>
                    <a:pt x="418" y="174"/>
                  </a:lnTo>
                  <a:lnTo>
                    <a:pt x="419" y="175"/>
                  </a:lnTo>
                  <a:lnTo>
                    <a:pt x="420" y="175"/>
                  </a:lnTo>
                  <a:lnTo>
                    <a:pt x="420" y="175"/>
                  </a:lnTo>
                  <a:lnTo>
                    <a:pt x="421" y="175"/>
                  </a:lnTo>
                  <a:lnTo>
                    <a:pt x="421" y="176"/>
                  </a:lnTo>
                  <a:lnTo>
                    <a:pt x="422" y="176"/>
                  </a:lnTo>
                  <a:lnTo>
                    <a:pt x="422" y="176"/>
                  </a:lnTo>
                  <a:lnTo>
                    <a:pt x="423" y="177"/>
                  </a:lnTo>
                  <a:lnTo>
                    <a:pt x="423" y="178"/>
                  </a:lnTo>
                  <a:lnTo>
                    <a:pt x="423" y="178"/>
                  </a:lnTo>
                  <a:lnTo>
                    <a:pt x="424" y="179"/>
                  </a:lnTo>
                  <a:lnTo>
                    <a:pt x="424" y="181"/>
                  </a:lnTo>
                  <a:lnTo>
                    <a:pt x="424" y="182"/>
                  </a:lnTo>
                  <a:lnTo>
                    <a:pt x="424" y="183"/>
                  </a:lnTo>
                  <a:lnTo>
                    <a:pt x="424" y="187"/>
                  </a:lnTo>
                  <a:lnTo>
                    <a:pt x="424" y="189"/>
                  </a:lnTo>
                  <a:lnTo>
                    <a:pt x="424" y="191"/>
                  </a:lnTo>
                  <a:lnTo>
                    <a:pt x="424" y="191"/>
                  </a:lnTo>
                  <a:lnTo>
                    <a:pt x="424" y="192"/>
                  </a:lnTo>
                  <a:lnTo>
                    <a:pt x="424" y="192"/>
                  </a:lnTo>
                  <a:lnTo>
                    <a:pt x="425" y="193"/>
                  </a:lnTo>
                  <a:lnTo>
                    <a:pt x="425" y="194"/>
                  </a:lnTo>
                  <a:lnTo>
                    <a:pt x="425" y="195"/>
                  </a:lnTo>
                  <a:lnTo>
                    <a:pt x="426" y="195"/>
                  </a:lnTo>
                  <a:lnTo>
                    <a:pt x="426" y="196"/>
                  </a:lnTo>
                  <a:lnTo>
                    <a:pt x="427" y="196"/>
                  </a:lnTo>
                  <a:lnTo>
                    <a:pt x="427" y="197"/>
                  </a:lnTo>
                  <a:lnTo>
                    <a:pt x="428" y="198"/>
                  </a:lnTo>
                  <a:lnTo>
                    <a:pt x="429" y="199"/>
                  </a:lnTo>
                  <a:lnTo>
                    <a:pt x="430" y="200"/>
                  </a:lnTo>
                  <a:lnTo>
                    <a:pt x="431" y="200"/>
                  </a:lnTo>
                  <a:lnTo>
                    <a:pt x="431" y="201"/>
                  </a:lnTo>
                  <a:lnTo>
                    <a:pt x="431" y="201"/>
                  </a:lnTo>
                  <a:lnTo>
                    <a:pt x="431" y="201"/>
                  </a:lnTo>
                  <a:lnTo>
                    <a:pt x="431" y="202"/>
                  </a:lnTo>
                  <a:lnTo>
                    <a:pt x="431" y="202"/>
                  </a:lnTo>
                  <a:lnTo>
                    <a:pt x="431" y="203"/>
                  </a:lnTo>
                  <a:lnTo>
                    <a:pt x="431" y="204"/>
                  </a:lnTo>
                  <a:lnTo>
                    <a:pt x="429" y="206"/>
                  </a:lnTo>
                  <a:lnTo>
                    <a:pt x="428" y="209"/>
                  </a:lnTo>
                  <a:lnTo>
                    <a:pt x="427" y="212"/>
                  </a:lnTo>
                  <a:lnTo>
                    <a:pt x="427" y="213"/>
                  </a:lnTo>
                  <a:lnTo>
                    <a:pt x="427" y="214"/>
                  </a:lnTo>
                  <a:lnTo>
                    <a:pt x="426" y="215"/>
                  </a:lnTo>
                  <a:lnTo>
                    <a:pt x="426" y="216"/>
                  </a:lnTo>
                  <a:lnTo>
                    <a:pt x="426" y="217"/>
                  </a:lnTo>
                  <a:lnTo>
                    <a:pt x="427" y="219"/>
                  </a:lnTo>
                  <a:lnTo>
                    <a:pt x="427" y="220"/>
                  </a:lnTo>
                  <a:lnTo>
                    <a:pt x="428" y="223"/>
                  </a:lnTo>
                  <a:lnTo>
                    <a:pt x="429" y="224"/>
                  </a:lnTo>
                  <a:lnTo>
                    <a:pt x="429" y="225"/>
                  </a:lnTo>
                  <a:lnTo>
                    <a:pt x="430" y="227"/>
                  </a:lnTo>
                  <a:lnTo>
                    <a:pt x="431" y="230"/>
                  </a:lnTo>
                  <a:lnTo>
                    <a:pt x="433" y="233"/>
                  </a:lnTo>
                  <a:lnTo>
                    <a:pt x="434" y="237"/>
                  </a:lnTo>
                  <a:lnTo>
                    <a:pt x="437" y="243"/>
                  </a:lnTo>
                  <a:lnTo>
                    <a:pt x="440" y="249"/>
                  </a:lnTo>
                  <a:lnTo>
                    <a:pt x="441" y="253"/>
                  </a:lnTo>
                  <a:lnTo>
                    <a:pt x="442" y="254"/>
                  </a:lnTo>
                  <a:lnTo>
                    <a:pt x="442" y="255"/>
                  </a:lnTo>
                  <a:lnTo>
                    <a:pt x="443" y="256"/>
                  </a:lnTo>
                  <a:lnTo>
                    <a:pt x="444" y="261"/>
                  </a:lnTo>
                  <a:lnTo>
                    <a:pt x="444" y="262"/>
                  </a:lnTo>
                  <a:lnTo>
                    <a:pt x="445" y="263"/>
                  </a:lnTo>
                  <a:lnTo>
                    <a:pt x="445" y="264"/>
                  </a:lnTo>
                  <a:lnTo>
                    <a:pt x="445" y="265"/>
                  </a:lnTo>
                  <a:lnTo>
                    <a:pt x="446" y="265"/>
                  </a:lnTo>
                  <a:lnTo>
                    <a:pt x="446" y="266"/>
                  </a:lnTo>
                  <a:lnTo>
                    <a:pt x="447" y="267"/>
                  </a:lnTo>
                  <a:lnTo>
                    <a:pt x="448" y="267"/>
                  </a:lnTo>
                  <a:lnTo>
                    <a:pt x="449" y="268"/>
                  </a:lnTo>
                  <a:lnTo>
                    <a:pt x="449" y="269"/>
                  </a:lnTo>
                  <a:lnTo>
                    <a:pt x="450" y="269"/>
                  </a:lnTo>
                  <a:lnTo>
                    <a:pt x="451" y="269"/>
                  </a:lnTo>
                  <a:lnTo>
                    <a:pt x="452" y="270"/>
                  </a:lnTo>
                  <a:lnTo>
                    <a:pt x="453" y="270"/>
                  </a:lnTo>
                  <a:lnTo>
                    <a:pt x="457" y="272"/>
                  </a:lnTo>
                  <a:lnTo>
                    <a:pt x="459" y="272"/>
                  </a:lnTo>
                  <a:lnTo>
                    <a:pt x="463" y="273"/>
                  </a:lnTo>
                  <a:lnTo>
                    <a:pt x="464" y="273"/>
                  </a:lnTo>
                  <a:lnTo>
                    <a:pt x="465" y="273"/>
                  </a:lnTo>
                  <a:lnTo>
                    <a:pt x="465" y="273"/>
                  </a:lnTo>
                  <a:lnTo>
                    <a:pt x="467" y="274"/>
                  </a:lnTo>
                  <a:lnTo>
                    <a:pt x="468" y="274"/>
                  </a:lnTo>
                  <a:lnTo>
                    <a:pt x="469" y="275"/>
                  </a:lnTo>
                  <a:lnTo>
                    <a:pt x="470" y="277"/>
                  </a:lnTo>
                  <a:lnTo>
                    <a:pt x="472" y="279"/>
                  </a:lnTo>
                  <a:lnTo>
                    <a:pt x="473" y="279"/>
                  </a:lnTo>
                  <a:lnTo>
                    <a:pt x="474" y="280"/>
                  </a:lnTo>
                  <a:lnTo>
                    <a:pt x="474" y="280"/>
                  </a:lnTo>
                  <a:lnTo>
                    <a:pt x="476" y="281"/>
                  </a:lnTo>
                  <a:lnTo>
                    <a:pt x="477" y="282"/>
                  </a:lnTo>
                  <a:lnTo>
                    <a:pt x="479" y="282"/>
                  </a:lnTo>
                  <a:lnTo>
                    <a:pt x="479" y="282"/>
                  </a:lnTo>
                  <a:lnTo>
                    <a:pt x="481" y="282"/>
                  </a:lnTo>
                  <a:lnTo>
                    <a:pt x="481" y="282"/>
                  </a:lnTo>
                  <a:lnTo>
                    <a:pt x="482" y="282"/>
                  </a:lnTo>
                  <a:lnTo>
                    <a:pt x="483" y="282"/>
                  </a:lnTo>
                  <a:lnTo>
                    <a:pt x="486" y="282"/>
                  </a:lnTo>
                  <a:lnTo>
                    <a:pt x="488" y="282"/>
                  </a:lnTo>
                  <a:lnTo>
                    <a:pt x="489" y="282"/>
                  </a:lnTo>
                  <a:lnTo>
                    <a:pt x="490" y="282"/>
                  </a:lnTo>
                  <a:lnTo>
                    <a:pt x="491" y="282"/>
                  </a:lnTo>
                  <a:lnTo>
                    <a:pt x="492" y="282"/>
                  </a:lnTo>
                  <a:lnTo>
                    <a:pt x="493" y="282"/>
                  </a:lnTo>
                  <a:lnTo>
                    <a:pt x="494" y="283"/>
                  </a:lnTo>
                  <a:lnTo>
                    <a:pt x="495" y="283"/>
                  </a:lnTo>
                  <a:lnTo>
                    <a:pt x="496" y="284"/>
                  </a:lnTo>
                  <a:lnTo>
                    <a:pt x="496" y="284"/>
                  </a:lnTo>
                  <a:lnTo>
                    <a:pt x="497" y="285"/>
                  </a:lnTo>
                  <a:lnTo>
                    <a:pt x="498" y="285"/>
                  </a:lnTo>
                  <a:lnTo>
                    <a:pt x="498" y="286"/>
                  </a:lnTo>
                  <a:lnTo>
                    <a:pt x="498" y="287"/>
                  </a:lnTo>
                  <a:lnTo>
                    <a:pt x="499" y="288"/>
                  </a:lnTo>
                  <a:lnTo>
                    <a:pt x="499" y="290"/>
                  </a:lnTo>
                  <a:lnTo>
                    <a:pt x="500" y="292"/>
                  </a:lnTo>
                  <a:lnTo>
                    <a:pt x="501" y="296"/>
                  </a:lnTo>
                  <a:lnTo>
                    <a:pt x="502" y="301"/>
                  </a:lnTo>
                  <a:lnTo>
                    <a:pt x="504" y="310"/>
                  </a:lnTo>
                  <a:lnTo>
                    <a:pt x="506" y="315"/>
                  </a:lnTo>
                  <a:lnTo>
                    <a:pt x="506" y="317"/>
                  </a:lnTo>
                  <a:lnTo>
                    <a:pt x="507" y="318"/>
                  </a:lnTo>
                  <a:lnTo>
                    <a:pt x="507" y="319"/>
                  </a:lnTo>
                  <a:lnTo>
                    <a:pt x="508" y="321"/>
                  </a:lnTo>
                  <a:lnTo>
                    <a:pt x="509" y="322"/>
                  </a:lnTo>
                  <a:lnTo>
                    <a:pt x="509" y="324"/>
                  </a:lnTo>
                  <a:lnTo>
                    <a:pt x="510" y="328"/>
                  </a:lnTo>
                  <a:lnTo>
                    <a:pt x="510" y="329"/>
                  </a:lnTo>
                  <a:lnTo>
                    <a:pt x="510" y="331"/>
                  </a:lnTo>
                  <a:lnTo>
                    <a:pt x="511" y="333"/>
                  </a:lnTo>
                  <a:lnTo>
                    <a:pt x="512" y="335"/>
                  </a:lnTo>
                  <a:lnTo>
                    <a:pt x="513" y="336"/>
                  </a:lnTo>
                  <a:lnTo>
                    <a:pt x="514" y="338"/>
                  </a:lnTo>
                  <a:lnTo>
                    <a:pt x="515" y="340"/>
                  </a:lnTo>
                  <a:lnTo>
                    <a:pt x="516" y="341"/>
                  </a:lnTo>
                  <a:lnTo>
                    <a:pt x="516" y="343"/>
                  </a:lnTo>
                  <a:lnTo>
                    <a:pt x="516" y="344"/>
                  </a:lnTo>
                  <a:lnTo>
                    <a:pt x="516" y="345"/>
                  </a:lnTo>
                  <a:lnTo>
                    <a:pt x="516" y="346"/>
                  </a:lnTo>
                  <a:lnTo>
                    <a:pt x="516" y="346"/>
                  </a:lnTo>
                  <a:lnTo>
                    <a:pt x="515" y="348"/>
                  </a:lnTo>
                  <a:lnTo>
                    <a:pt x="515" y="350"/>
                  </a:lnTo>
                  <a:lnTo>
                    <a:pt x="514" y="352"/>
                  </a:lnTo>
                  <a:lnTo>
                    <a:pt x="513" y="355"/>
                  </a:lnTo>
                  <a:lnTo>
                    <a:pt x="513" y="355"/>
                  </a:lnTo>
                  <a:lnTo>
                    <a:pt x="513" y="356"/>
                  </a:lnTo>
                  <a:lnTo>
                    <a:pt x="513" y="356"/>
                  </a:lnTo>
                  <a:lnTo>
                    <a:pt x="512" y="356"/>
                  </a:lnTo>
                  <a:lnTo>
                    <a:pt x="511" y="357"/>
                  </a:lnTo>
                  <a:lnTo>
                    <a:pt x="511" y="357"/>
                  </a:lnTo>
                  <a:lnTo>
                    <a:pt x="510" y="357"/>
                  </a:lnTo>
                  <a:lnTo>
                    <a:pt x="507" y="358"/>
                  </a:lnTo>
                  <a:lnTo>
                    <a:pt x="505" y="359"/>
                  </a:lnTo>
                  <a:lnTo>
                    <a:pt x="504" y="359"/>
                  </a:lnTo>
                  <a:lnTo>
                    <a:pt x="503" y="360"/>
                  </a:lnTo>
                  <a:lnTo>
                    <a:pt x="499" y="362"/>
                  </a:lnTo>
                  <a:lnTo>
                    <a:pt x="497" y="363"/>
                  </a:lnTo>
                  <a:lnTo>
                    <a:pt x="495" y="364"/>
                  </a:lnTo>
                  <a:lnTo>
                    <a:pt x="491" y="367"/>
                  </a:lnTo>
                  <a:lnTo>
                    <a:pt x="490" y="368"/>
                  </a:lnTo>
                  <a:lnTo>
                    <a:pt x="489" y="368"/>
                  </a:lnTo>
                  <a:lnTo>
                    <a:pt x="487" y="369"/>
                  </a:lnTo>
                  <a:lnTo>
                    <a:pt x="486" y="369"/>
                  </a:lnTo>
                  <a:lnTo>
                    <a:pt x="485" y="369"/>
                  </a:lnTo>
                  <a:lnTo>
                    <a:pt x="484" y="369"/>
                  </a:lnTo>
                  <a:lnTo>
                    <a:pt x="484" y="369"/>
                  </a:lnTo>
                  <a:lnTo>
                    <a:pt x="483" y="369"/>
                  </a:lnTo>
                  <a:lnTo>
                    <a:pt x="482" y="369"/>
                  </a:lnTo>
                  <a:lnTo>
                    <a:pt x="480" y="369"/>
                  </a:lnTo>
                  <a:lnTo>
                    <a:pt x="476" y="367"/>
                  </a:lnTo>
                  <a:lnTo>
                    <a:pt x="475" y="367"/>
                  </a:lnTo>
                  <a:lnTo>
                    <a:pt x="474" y="367"/>
                  </a:lnTo>
                  <a:lnTo>
                    <a:pt x="472" y="367"/>
                  </a:lnTo>
                  <a:lnTo>
                    <a:pt x="469" y="366"/>
                  </a:lnTo>
                  <a:lnTo>
                    <a:pt x="466" y="366"/>
                  </a:lnTo>
                  <a:lnTo>
                    <a:pt x="464" y="366"/>
                  </a:lnTo>
                  <a:lnTo>
                    <a:pt x="463" y="366"/>
                  </a:lnTo>
                  <a:lnTo>
                    <a:pt x="461" y="366"/>
                  </a:lnTo>
                  <a:lnTo>
                    <a:pt x="458" y="366"/>
                  </a:lnTo>
                  <a:lnTo>
                    <a:pt x="452" y="368"/>
                  </a:lnTo>
                  <a:lnTo>
                    <a:pt x="450" y="368"/>
                  </a:lnTo>
                  <a:lnTo>
                    <a:pt x="448" y="368"/>
                  </a:lnTo>
                  <a:lnTo>
                    <a:pt x="447" y="368"/>
                  </a:lnTo>
                  <a:lnTo>
                    <a:pt x="446" y="368"/>
                  </a:lnTo>
                  <a:lnTo>
                    <a:pt x="445" y="368"/>
                  </a:lnTo>
                  <a:lnTo>
                    <a:pt x="444" y="368"/>
                  </a:lnTo>
                  <a:lnTo>
                    <a:pt x="443" y="368"/>
                  </a:lnTo>
                  <a:lnTo>
                    <a:pt x="442" y="367"/>
                  </a:lnTo>
                  <a:lnTo>
                    <a:pt x="440" y="366"/>
                  </a:lnTo>
                  <a:lnTo>
                    <a:pt x="439" y="366"/>
                  </a:lnTo>
                  <a:lnTo>
                    <a:pt x="438" y="366"/>
                  </a:lnTo>
                  <a:lnTo>
                    <a:pt x="437" y="366"/>
                  </a:lnTo>
                  <a:lnTo>
                    <a:pt x="436" y="366"/>
                  </a:lnTo>
                  <a:lnTo>
                    <a:pt x="435" y="366"/>
                  </a:lnTo>
                  <a:lnTo>
                    <a:pt x="434" y="366"/>
                  </a:lnTo>
                  <a:lnTo>
                    <a:pt x="433" y="366"/>
                  </a:lnTo>
                  <a:lnTo>
                    <a:pt x="432" y="366"/>
                  </a:lnTo>
                  <a:lnTo>
                    <a:pt x="431" y="366"/>
                  </a:lnTo>
                  <a:lnTo>
                    <a:pt x="430" y="366"/>
                  </a:lnTo>
                  <a:lnTo>
                    <a:pt x="430" y="367"/>
                  </a:lnTo>
                  <a:lnTo>
                    <a:pt x="429" y="367"/>
                  </a:lnTo>
                  <a:lnTo>
                    <a:pt x="428" y="368"/>
                  </a:lnTo>
                  <a:lnTo>
                    <a:pt x="427" y="369"/>
                  </a:lnTo>
                  <a:lnTo>
                    <a:pt x="426" y="370"/>
                  </a:lnTo>
                  <a:lnTo>
                    <a:pt x="425" y="370"/>
                  </a:lnTo>
                  <a:lnTo>
                    <a:pt x="425" y="371"/>
                  </a:lnTo>
                  <a:lnTo>
                    <a:pt x="424" y="372"/>
                  </a:lnTo>
                  <a:lnTo>
                    <a:pt x="424" y="373"/>
                  </a:lnTo>
                  <a:lnTo>
                    <a:pt x="424" y="374"/>
                  </a:lnTo>
                  <a:lnTo>
                    <a:pt x="423" y="374"/>
                  </a:lnTo>
                  <a:lnTo>
                    <a:pt x="423" y="375"/>
                  </a:lnTo>
                  <a:lnTo>
                    <a:pt x="423" y="376"/>
                  </a:lnTo>
                  <a:lnTo>
                    <a:pt x="423" y="377"/>
                  </a:lnTo>
                  <a:lnTo>
                    <a:pt x="423" y="380"/>
                  </a:lnTo>
                  <a:lnTo>
                    <a:pt x="423" y="381"/>
                  </a:lnTo>
                  <a:lnTo>
                    <a:pt x="423" y="382"/>
                  </a:lnTo>
                  <a:lnTo>
                    <a:pt x="423" y="383"/>
                  </a:lnTo>
                  <a:lnTo>
                    <a:pt x="423" y="384"/>
                  </a:lnTo>
                  <a:lnTo>
                    <a:pt x="422" y="385"/>
                  </a:lnTo>
                  <a:lnTo>
                    <a:pt x="422" y="386"/>
                  </a:lnTo>
                  <a:lnTo>
                    <a:pt x="421" y="387"/>
                  </a:lnTo>
                  <a:lnTo>
                    <a:pt x="420" y="389"/>
                  </a:lnTo>
                  <a:lnTo>
                    <a:pt x="418" y="392"/>
                  </a:lnTo>
                  <a:lnTo>
                    <a:pt x="417" y="393"/>
                  </a:lnTo>
                  <a:lnTo>
                    <a:pt x="414" y="397"/>
                  </a:lnTo>
                  <a:lnTo>
                    <a:pt x="411" y="400"/>
                  </a:lnTo>
                  <a:lnTo>
                    <a:pt x="410" y="401"/>
                  </a:lnTo>
                  <a:lnTo>
                    <a:pt x="409" y="403"/>
                  </a:lnTo>
                  <a:lnTo>
                    <a:pt x="407" y="406"/>
                  </a:lnTo>
                  <a:lnTo>
                    <a:pt x="405" y="410"/>
                  </a:lnTo>
                  <a:lnTo>
                    <a:pt x="404" y="411"/>
                  </a:lnTo>
                  <a:lnTo>
                    <a:pt x="403" y="412"/>
                  </a:lnTo>
                  <a:lnTo>
                    <a:pt x="402" y="413"/>
                  </a:lnTo>
                  <a:lnTo>
                    <a:pt x="401" y="414"/>
                  </a:lnTo>
                  <a:lnTo>
                    <a:pt x="400" y="415"/>
                  </a:lnTo>
                  <a:lnTo>
                    <a:pt x="399" y="416"/>
                  </a:lnTo>
                  <a:lnTo>
                    <a:pt x="398" y="416"/>
                  </a:lnTo>
                  <a:lnTo>
                    <a:pt x="397" y="417"/>
                  </a:lnTo>
                  <a:lnTo>
                    <a:pt x="396" y="418"/>
                  </a:lnTo>
                  <a:lnTo>
                    <a:pt x="395" y="418"/>
                  </a:lnTo>
                  <a:lnTo>
                    <a:pt x="394" y="418"/>
                  </a:lnTo>
                  <a:lnTo>
                    <a:pt x="392" y="419"/>
                  </a:lnTo>
                  <a:lnTo>
                    <a:pt x="391" y="419"/>
                  </a:lnTo>
                  <a:lnTo>
                    <a:pt x="390" y="419"/>
                  </a:lnTo>
                  <a:lnTo>
                    <a:pt x="389" y="419"/>
                  </a:lnTo>
                  <a:lnTo>
                    <a:pt x="388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3" y="419"/>
                  </a:lnTo>
                  <a:lnTo>
                    <a:pt x="383" y="419"/>
                  </a:lnTo>
                  <a:lnTo>
                    <a:pt x="382" y="418"/>
                  </a:lnTo>
                  <a:lnTo>
                    <a:pt x="381" y="418"/>
                  </a:lnTo>
                  <a:lnTo>
                    <a:pt x="380" y="417"/>
                  </a:lnTo>
                  <a:lnTo>
                    <a:pt x="379" y="416"/>
                  </a:lnTo>
                  <a:lnTo>
                    <a:pt x="378" y="416"/>
                  </a:lnTo>
                  <a:lnTo>
                    <a:pt x="377" y="415"/>
                  </a:lnTo>
                  <a:lnTo>
                    <a:pt x="377" y="414"/>
                  </a:lnTo>
                  <a:lnTo>
                    <a:pt x="376" y="414"/>
                  </a:lnTo>
                  <a:lnTo>
                    <a:pt x="376" y="413"/>
                  </a:lnTo>
                  <a:lnTo>
                    <a:pt x="375" y="412"/>
                  </a:lnTo>
                  <a:lnTo>
                    <a:pt x="375" y="412"/>
                  </a:lnTo>
                  <a:lnTo>
                    <a:pt x="374" y="410"/>
                  </a:lnTo>
                  <a:lnTo>
                    <a:pt x="372" y="406"/>
                  </a:lnTo>
                  <a:lnTo>
                    <a:pt x="372" y="405"/>
                  </a:lnTo>
                  <a:lnTo>
                    <a:pt x="372" y="405"/>
                  </a:lnTo>
                  <a:lnTo>
                    <a:pt x="371" y="404"/>
                  </a:lnTo>
                  <a:lnTo>
                    <a:pt x="371" y="403"/>
                  </a:lnTo>
                  <a:lnTo>
                    <a:pt x="369" y="400"/>
                  </a:lnTo>
                  <a:lnTo>
                    <a:pt x="368" y="399"/>
                  </a:lnTo>
                  <a:lnTo>
                    <a:pt x="367" y="399"/>
                  </a:lnTo>
                  <a:lnTo>
                    <a:pt x="366" y="398"/>
                  </a:lnTo>
                  <a:lnTo>
                    <a:pt x="365" y="397"/>
                  </a:lnTo>
                  <a:lnTo>
                    <a:pt x="360" y="394"/>
                  </a:lnTo>
                  <a:lnTo>
                    <a:pt x="359" y="393"/>
                  </a:lnTo>
                  <a:lnTo>
                    <a:pt x="358" y="392"/>
                  </a:lnTo>
                  <a:lnTo>
                    <a:pt x="357" y="391"/>
                  </a:lnTo>
                  <a:lnTo>
                    <a:pt x="357" y="390"/>
                  </a:lnTo>
                  <a:lnTo>
                    <a:pt x="356" y="389"/>
                  </a:lnTo>
                  <a:lnTo>
                    <a:pt x="355" y="388"/>
                  </a:lnTo>
                  <a:lnTo>
                    <a:pt x="354" y="386"/>
                  </a:lnTo>
                  <a:lnTo>
                    <a:pt x="352" y="382"/>
                  </a:lnTo>
                  <a:lnTo>
                    <a:pt x="351" y="381"/>
                  </a:lnTo>
                  <a:lnTo>
                    <a:pt x="351" y="380"/>
                  </a:lnTo>
                  <a:lnTo>
                    <a:pt x="350" y="380"/>
                  </a:lnTo>
                  <a:lnTo>
                    <a:pt x="349" y="379"/>
                  </a:lnTo>
                  <a:lnTo>
                    <a:pt x="348" y="379"/>
                  </a:lnTo>
                  <a:lnTo>
                    <a:pt x="347" y="378"/>
                  </a:lnTo>
                  <a:lnTo>
                    <a:pt x="346" y="378"/>
                  </a:lnTo>
                  <a:lnTo>
                    <a:pt x="345" y="377"/>
                  </a:lnTo>
                  <a:lnTo>
                    <a:pt x="344" y="377"/>
                  </a:lnTo>
                  <a:lnTo>
                    <a:pt x="343" y="377"/>
                  </a:lnTo>
                  <a:lnTo>
                    <a:pt x="343" y="377"/>
                  </a:lnTo>
                  <a:lnTo>
                    <a:pt x="341" y="378"/>
                  </a:lnTo>
                  <a:lnTo>
                    <a:pt x="338" y="378"/>
                  </a:lnTo>
                  <a:lnTo>
                    <a:pt x="337" y="379"/>
                  </a:lnTo>
                  <a:lnTo>
                    <a:pt x="336" y="379"/>
                  </a:lnTo>
                  <a:lnTo>
                    <a:pt x="335" y="379"/>
                  </a:lnTo>
                  <a:lnTo>
                    <a:pt x="334" y="379"/>
                  </a:lnTo>
                  <a:lnTo>
                    <a:pt x="333" y="379"/>
                  </a:lnTo>
                  <a:lnTo>
                    <a:pt x="330" y="378"/>
                  </a:lnTo>
                  <a:lnTo>
                    <a:pt x="329" y="378"/>
                  </a:lnTo>
                  <a:lnTo>
                    <a:pt x="323" y="377"/>
                  </a:lnTo>
                  <a:lnTo>
                    <a:pt x="322" y="377"/>
                  </a:lnTo>
                  <a:lnTo>
                    <a:pt x="321" y="376"/>
                  </a:lnTo>
                  <a:lnTo>
                    <a:pt x="319" y="376"/>
                  </a:lnTo>
                  <a:lnTo>
                    <a:pt x="319" y="375"/>
                  </a:lnTo>
                  <a:lnTo>
                    <a:pt x="318" y="375"/>
                  </a:lnTo>
                  <a:lnTo>
                    <a:pt x="316" y="374"/>
                  </a:lnTo>
                  <a:lnTo>
                    <a:pt x="312" y="371"/>
                  </a:lnTo>
                  <a:lnTo>
                    <a:pt x="311" y="370"/>
                  </a:lnTo>
                  <a:lnTo>
                    <a:pt x="310" y="370"/>
                  </a:lnTo>
                  <a:lnTo>
                    <a:pt x="309" y="369"/>
                  </a:lnTo>
                  <a:lnTo>
                    <a:pt x="308" y="369"/>
                  </a:lnTo>
                  <a:lnTo>
                    <a:pt x="307" y="369"/>
                  </a:lnTo>
                  <a:lnTo>
                    <a:pt x="306" y="368"/>
                  </a:lnTo>
                  <a:lnTo>
                    <a:pt x="303" y="368"/>
                  </a:lnTo>
                  <a:lnTo>
                    <a:pt x="302" y="368"/>
                  </a:lnTo>
                  <a:lnTo>
                    <a:pt x="301" y="368"/>
                  </a:lnTo>
                  <a:lnTo>
                    <a:pt x="297" y="367"/>
                  </a:lnTo>
                  <a:lnTo>
                    <a:pt x="296" y="367"/>
                  </a:lnTo>
                  <a:lnTo>
                    <a:pt x="295" y="367"/>
                  </a:lnTo>
                  <a:lnTo>
                    <a:pt x="293" y="367"/>
                  </a:lnTo>
                  <a:lnTo>
                    <a:pt x="290" y="367"/>
                  </a:lnTo>
                  <a:lnTo>
                    <a:pt x="287" y="367"/>
                  </a:lnTo>
                  <a:lnTo>
                    <a:pt x="285" y="367"/>
                  </a:lnTo>
                  <a:lnTo>
                    <a:pt x="281" y="368"/>
                  </a:lnTo>
                  <a:lnTo>
                    <a:pt x="278" y="369"/>
                  </a:lnTo>
                  <a:lnTo>
                    <a:pt x="274" y="370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2" y="373"/>
                  </a:lnTo>
                  <a:lnTo>
                    <a:pt x="261" y="372"/>
                  </a:lnTo>
                  <a:lnTo>
                    <a:pt x="261" y="372"/>
                  </a:lnTo>
                  <a:lnTo>
                    <a:pt x="260" y="372"/>
                  </a:lnTo>
                  <a:lnTo>
                    <a:pt x="259" y="371"/>
                  </a:lnTo>
                  <a:lnTo>
                    <a:pt x="259" y="371"/>
                  </a:lnTo>
                  <a:lnTo>
                    <a:pt x="258" y="371"/>
                  </a:lnTo>
                  <a:lnTo>
                    <a:pt x="258" y="370"/>
                  </a:lnTo>
                  <a:lnTo>
                    <a:pt x="257" y="369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5" y="365"/>
                  </a:lnTo>
                  <a:lnTo>
                    <a:pt x="254" y="364"/>
                  </a:lnTo>
                  <a:lnTo>
                    <a:pt x="253" y="363"/>
                  </a:lnTo>
                  <a:lnTo>
                    <a:pt x="252" y="362"/>
                  </a:lnTo>
                  <a:lnTo>
                    <a:pt x="250" y="361"/>
                  </a:lnTo>
                  <a:lnTo>
                    <a:pt x="249" y="361"/>
                  </a:lnTo>
                  <a:lnTo>
                    <a:pt x="248" y="360"/>
                  </a:lnTo>
                  <a:lnTo>
                    <a:pt x="247" y="360"/>
                  </a:lnTo>
                  <a:lnTo>
                    <a:pt x="245" y="359"/>
                  </a:lnTo>
                  <a:lnTo>
                    <a:pt x="243" y="359"/>
                  </a:lnTo>
                  <a:lnTo>
                    <a:pt x="242" y="359"/>
                  </a:lnTo>
                  <a:lnTo>
                    <a:pt x="240" y="359"/>
                  </a:lnTo>
                  <a:lnTo>
                    <a:pt x="239" y="359"/>
                  </a:lnTo>
                  <a:lnTo>
                    <a:pt x="239" y="359"/>
                  </a:lnTo>
                  <a:lnTo>
                    <a:pt x="239" y="359"/>
                  </a:lnTo>
                  <a:lnTo>
                    <a:pt x="238" y="359"/>
                  </a:lnTo>
                  <a:lnTo>
                    <a:pt x="237" y="359"/>
                  </a:lnTo>
                  <a:lnTo>
                    <a:pt x="237" y="359"/>
                  </a:lnTo>
                  <a:lnTo>
                    <a:pt x="235" y="360"/>
                  </a:lnTo>
                  <a:lnTo>
                    <a:pt x="235" y="360"/>
                  </a:lnTo>
                  <a:lnTo>
                    <a:pt x="234" y="359"/>
                  </a:lnTo>
                  <a:lnTo>
                    <a:pt x="234" y="359"/>
                  </a:lnTo>
                  <a:lnTo>
                    <a:pt x="233" y="356"/>
                  </a:lnTo>
                  <a:lnTo>
                    <a:pt x="231" y="353"/>
                  </a:lnTo>
                  <a:lnTo>
                    <a:pt x="231" y="352"/>
                  </a:lnTo>
                  <a:lnTo>
                    <a:pt x="230" y="351"/>
                  </a:lnTo>
                  <a:lnTo>
                    <a:pt x="229" y="350"/>
                  </a:lnTo>
                  <a:lnTo>
                    <a:pt x="228" y="349"/>
                  </a:lnTo>
                  <a:lnTo>
                    <a:pt x="228" y="349"/>
                  </a:lnTo>
                  <a:lnTo>
                    <a:pt x="228" y="349"/>
                  </a:lnTo>
                  <a:lnTo>
                    <a:pt x="227" y="349"/>
                  </a:lnTo>
                  <a:lnTo>
                    <a:pt x="227" y="348"/>
                  </a:lnTo>
                  <a:lnTo>
                    <a:pt x="226" y="348"/>
                  </a:lnTo>
                  <a:lnTo>
                    <a:pt x="226" y="348"/>
                  </a:lnTo>
                  <a:lnTo>
                    <a:pt x="225" y="349"/>
                  </a:lnTo>
                  <a:lnTo>
                    <a:pt x="224" y="349"/>
                  </a:lnTo>
                  <a:lnTo>
                    <a:pt x="223" y="349"/>
                  </a:lnTo>
                  <a:lnTo>
                    <a:pt x="222" y="350"/>
                  </a:lnTo>
                  <a:lnTo>
                    <a:pt x="221" y="351"/>
                  </a:lnTo>
                  <a:lnTo>
                    <a:pt x="219" y="353"/>
                  </a:lnTo>
                  <a:lnTo>
                    <a:pt x="218" y="353"/>
                  </a:lnTo>
                  <a:lnTo>
                    <a:pt x="218" y="353"/>
                  </a:lnTo>
                  <a:lnTo>
                    <a:pt x="218" y="353"/>
                  </a:lnTo>
                  <a:lnTo>
                    <a:pt x="217" y="353"/>
                  </a:lnTo>
                  <a:lnTo>
                    <a:pt x="216" y="353"/>
                  </a:lnTo>
                  <a:lnTo>
                    <a:pt x="216" y="353"/>
                  </a:lnTo>
                  <a:lnTo>
                    <a:pt x="216" y="352"/>
                  </a:lnTo>
                  <a:lnTo>
                    <a:pt x="215" y="352"/>
                  </a:lnTo>
                  <a:lnTo>
                    <a:pt x="215" y="351"/>
                  </a:lnTo>
                  <a:lnTo>
                    <a:pt x="214" y="350"/>
                  </a:lnTo>
                  <a:lnTo>
                    <a:pt x="214" y="349"/>
                  </a:lnTo>
                  <a:lnTo>
                    <a:pt x="214" y="349"/>
                  </a:lnTo>
                  <a:lnTo>
                    <a:pt x="214" y="348"/>
                  </a:lnTo>
                  <a:lnTo>
                    <a:pt x="215" y="347"/>
                  </a:lnTo>
                  <a:lnTo>
                    <a:pt x="215" y="346"/>
                  </a:lnTo>
                  <a:lnTo>
                    <a:pt x="216" y="345"/>
                  </a:lnTo>
                  <a:lnTo>
                    <a:pt x="216" y="344"/>
                  </a:lnTo>
                  <a:lnTo>
                    <a:pt x="216" y="343"/>
                  </a:lnTo>
                  <a:lnTo>
                    <a:pt x="216" y="343"/>
                  </a:lnTo>
                  <a:lnTo>
                    <a:pt x="216" y="342"/>
                  </a:lnTo>
                  <a:lnTo>
                    <a:pt x="216" y="341"/>
                  </a:lnTo>
                  <a:lnTo>
                    <a:pt x="216" y="341"/>
                  </a:lnTo>
                  <a:lnTo>
                    <a:pt x="215" y="340"/>
                  </a:lnTo>
                  <a:lnTo>
                    <a:pt x="214" y="337"/>
                  </a:lnTo>
                  <a:lnTo>
                    <a:pt x="212" y="334"/>
                  </a:lnTo>
                  <a:lnTo>
                    <a:pt x="211" y="332"/>
                  </a:lnTo>
                  <a:lnTo>
                    <a:pt x="209" y="330"/>
                  </a:lnTo>
                  <a:lnTo>
                    <a:pt x="208" y="329"/>
                  </a:lnTo>
                  <a:lnTo>
                    <a:pt x="206" y="327"/>
                  </a:lnTo>
                  <a:lnTo>
                    <a:pt x="203" y="324"/>
                  </a:lnTo>
                  <a:lnTo>
                    <a:pt x="202" y="322"/>
                  </a:lnTo>
                  <a:lnTo>
                    <a:pt x="200" y="322"/>
                  </a:lnTo>
                  <a:lnTo>
                    <a:pt x="193" y="316"/>
                  </a:lnTo>
                  <a:lnTo>
                    <a:pt x="192" y="315"/>
                  </a:lnTo>
                  <a:lnTo>
                    <a:pt x="191" y="315"/>
                  </a:lnTo>
                  <a:lnTo>
                    <a:pt x="191" y="314"/>
                  </a:lnTo>
                  <a:lnTo>
                    <a:pt x="190" y="313"/>
                  </a:lnTo>
                  <a:lnTo>
                    <a:pt x="189" y="311"/>
                  </a:lnTo>
                  <a:lnTo>
                    <a:pt x="188" y="310"/>
                  </a:lnTo>
                  <a:lnTo>
                    <a:pt x="187" y="308"/>
                  </a:lnTo>
                  <a:lnTo>
                    <a:pt x="186" y="307"/>
                  </a:lnTo>
                  <a:lnTo>
                    <a:pt x="186" y="306"/>
                  </a:lnTo>
                  <a:lnTo>
                    <a:pt x="185" y="304"/>
                  </a:lnTo>
                  <a:lnTo>
                    <a:pt x="183" y="303"/>
                  </a:lnTo>
                  <a:lnTo>
                    <a:pt x="182" y="302"/>
                  </a:lnTo>
                  <a:lnTo>
                    <a:pt x="182" y="301"/>
                  </a:lnTo>
                  <a:lnTo>
                    <a:pt x="181" y="300"/>
                  </a:lnTo>
                  <a:lnTo>
                    <a:pt x="180" y="300"/>
                  </a:lnTo>
                  <a:lnTo>
                    <a:pt x="180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78" y="299"/>
                  </a:lnTo>
                  <a:lnTo>
                    <a:pt x="178" y="300"/>
                  </a:lnTo>
                  <a:lnTo>
                    <a:pt x="177" y="300"/>
                  </a:lnTo>
                  <a:lnTo>
                    <a:pt x="176" y="301"/>
                  </a:lnTo>
                  <a:lnTo>
                    <a:pt x="175" y="301"/>
                  </a:lnTo>
                  <a:lnTo>
                    <a:pt x="175" y="301"/>
                  </a:lnTo>
                  <a:lnTo>
                    <a:pt x="174" y="302"/>
                  </a:lnTo>
                  <a:lnTo>
                    <a:pt x="173" y="302"/>
                  </a:lnTo>
                  <a:lnTo>
                    <a:pt x="173" y="302"/>
                  </a:lnTo>
                  <a:lnTo>
                    <a:pt x="172" y="302"/>
                  </a:lnTo>
                  <a:lnTo>
                    <a:pt x="171" y="301"/>
                  </a:lnTo>
                  <a:lnTo>
                    <a:pt x="170" y="301"/>
                  </a:lnTo>
                  <a:lnTo>
                    <a:pt x="169" y="300"/>
                  </a:lnTo>
                  <a:lnTo>
                    <a:pt x="168" y="299"/>
                  </a:lnTo>
                  <a:lnTo>
                    <a:pt x="167" y="299"/>
                  </a:lnTo>
                  <a:lnTo>
                    <a:pt x="166" y="298"/>
                  </a:lnTo>
                  <a:lnTo>
                    <a:pt x="165" y="297"/>
                  </a:lnTo>
                  <a:lnTo>
                    <a:pt x="165" y="297"/>
                  </a:lnTo>
                  <a:lnTo>
                    <a:pt x="164" y="296"/>
                  </a:lnTo>
                  <a:lnTo>
                    <a:pt x="164" y="295"/>
                  </a:lnTo>
                  <a:lnTo>
                    <a:pt x="163" y="294"/>
                  </a:lnTo>
                  <a:lnTo>
                    <a:pt x="163" y="293"/>
                  </a:lnTo>
                  <a:lnTo>
                    <a:pt x="163" y="291"/>
                  </a:lnTo>
                  <a:lnTo>
                    <a:pt x="162" y="289"/>
                  </a:lnTo>
                  <a:lnTo>
                    <a:pt x="162" y="288"/>
                  </a:lnTo>
                  <a:lnTo>
                    <a:pt x="162" y="286"/>
                  </a:lnTo>
                  <a:lnTo>
                    <a:pt x="162" y="285"/>
                  </a:lnTo>
                  <a:lnTo>
                    <a:pt x="162" y="284"/>
                  </a:lnTo>
                  <a:lnTo>
                    <a:pt x="162" y="283"/>
                  </a:lnTo>
                  <a:lnTo>
                    <a:pt x="162" y="282"/>
                  </a:lnTo>
                  <a:lnTo>
                    <a:pt x="163" y="280"/>
                  </a:lnTo>
                  <a:lnTo>
                    <a:pt x="164" y="276"/>
                  </a:lnTo>
                  <a:lnTo>
                    <a:pt x="164" y="275"/>
                  </a:lnTo>
                  <a:lnTo>
                    <a:pt x="164" y="274"/>
                  </a:lnTo>
                  <a:lnTo>
                    <a:pt x="164" y="273"/>
                  </a:lnTo>
                  <a:lnTo>
                    <a:pt x="164" y="272"/>
                  </a:lnTo>
                  <a:lnTo>
                    <a:pt x="164" y="271"/>
                  </a:lnTo>
                  <a:lnTo>
                    <a:pt x="164" y="269"/>
                  </a:lnTo>
                  <a:lnTo>
                    <a:pt x="164" y="268"/>
                  </a:lnTo>
                  <a:lnTo>
                    <a:pt x="163" y="266"/>
                  </a:lnTo>
                  <a:lnTo>
                    <a:pt x="163" y="265"/>
                  </a:lnTo>
                  <a:lnTo>
                    <a:pt x="162" y="264"/>
                  </a:lnTo>
                  <a:lnTo>
                    <a:pt x="162" y="263"/>
                  </a:lnTo>
                  <a:lnTo>
                    <a:pt x="161" y="262"/>
                  </a:lnTo>
                  <a:lnTo>
                    <a:pt x="161" y="261"/>
                  </a:lnTo>
                  <a:lnTo>
                    <a:pt x="160" y="260"/>
                  </a:lnTo>
                  <a:lnTo>
                    <a:pt x="160" y="260"/>
                  </a:lnTo>
                  <a:lnTo>
                    <a:pt x="159" y="259"/>
                  </a:lnTo>
                  <a:lnTo>
                    <a:pt x="159" y="259"/>
                  </a:lnTo>
                  <a:lnTo>
                    <a:pt x="158" y="259"/>
                  </a:lnTo>
                  <a:lnTo>
                    <a:pt x="158" y="259"/>
                  </a:lnTo>
                  <a:lnTo>
                    <a:pt x="157" y="259"/>
                  </a:lnTo>
                  <a:lnTo>
                    <a:pt x="156" y="259"/>
                  </a:lnTo>
                  <a:lnTo>
                    <a:pt x="156" y="259"/>
                  </a:lnTo>
                  <a:lnTo>
                    <a:pt x="153" y="260"/>
                  </a:lnTo>
                  <a:lnTo>
                    <a:pt x="152" y="260"/>
                  </a:lnTo>
                  <a:lnTo>
                    <a:pt x="147" y="262"/>
                  </a:lnTo>
                  <a:lnTo>
                    <a:pt x="146" y="262"/>
                  </a:lnTo>
                  <a:lnTo>
                    <a:pt x="144" y="263"/>
                  </a:lnTo>
                  <a:lnTo>
                    <a:pt x="142" y="264"/>
                  </a:lnTo>
                  <a:lnTo>
                    <a:pt x="140" y="265"/>
                  </a:lnTo>
                  <a:lnTo>
                    <a:pt x="139" y="265"/>
                  </a:lnTo>
                  <a:lnTo>
                    <a:pt x="138" y="265"/>
                  </a:lnTo>
                  <a:lnTo>
                    <a:pt x="138" y="265"/>
                  </a:lnTo>
                  <a:lnTo>
                    <a:pt x="137" y="265"/>
                  </a:lnTo>
                  <a:lnTo>
                    <a:pt x="136" y="265"/>
                  </a:lnTo>
                  <a:lnTo>
                    <a:pt x="133" y="264"/>
                  </a:lnTo>
                  <a:lnTo>
                    <a:pt x="132" y="264"/>
                  </a:lnTo>
                  <a:lnTo>
                    <a:pt x="131" y="264"/>
                  </a:lnTo>
                  <a:lnTo>
                    <a:pt x="129" y="263"/>
                  </a:lnTo>
                  <a:lnTo>
                    <a:pt x="125" y="261"/>
                  </a:lnTo>
                  <a:lnTo>
                    <a:pt x="124" y="261"/>
                  </a:lnTo>
                  <a:lnTo>
                    <a:pt x="123" y="260"/>
                  </a:lnTo>
                  <a:lnTo>
                    <a:pt x="122" y="259"/>
                  </a:lnTo>
                  <a:lnTo>
                    <a:pt x="121" y="258"/>
                  </a:lnTo>
                  <a:lnTo>
                    <a:pt x="120" y="257"/>
                  </a:lnTo>
                  <a:lnTo>
                    <a:pt x="119" y="257"/>
                  </a:lnTo>
                  <a:lnTo>
                    <a:pt x="118" y="256"/>
                  </a:lnTo>
                  <a:lnTo>
                    <a:pt x="116" y="255"/>
                  </a:lnTo>
                  <a:lnTo>
                    <a:pt x="115" y="255"/>
                  </a:lnTo>
                  <a:lnTo>
                    <a:pt x="114" y="254"/>
                  </a:lnTo>
                  <a:lnTo>
                    <a:pt x="114" y="254"/>
                  </a:lnTo>
                  <a:lnTo>
                    <a:pt x="113" y="253"/>
                  </a:lnTo>
                  <a:lnTo>
                    <a:pt x="112" y="252"/>
                  </a:lnTo>
                  <a:lnTo>
                    <a:pt x="112" y="251"/>
                  </a:lnTo>
                  <a:lnTo>
                    <a:pt x="111" y="249"/>
                  </a:lnTo>
                  <a:lnTo>
                    <a:pt x="110" y="248"/>
                  </a:lnTo>
                  <a:lnTo>
                    <a:pt x="109" y="247"/>
                  </a:lnTo>
                  <a:lnTo>
                    <a:pt x="106" y="244"/>
                  </a:lnTo>
                  <a:lnTo>
                    <a:pt x="106" y="244"/>
                  </a:lnTo>
                  <a:lnTo>
                    <a:pt x="106" y="243"/>
                  </a:lnTo>
                  <a:lnTo>
                    <a:pt x="105" y="242"/>
                  </a:lnTo>
                  <a:lnTo>
                    <a:pt x="105" y="241"/>
                  </a:lnTo>
                  <a:lnTo>
                    <a:pt x="105" y="240"/>
                  </a:lnTo>
                  <a:lnTo>
                    <a:pt x="105" y="238"/>
                  </a:lnTo>
                  <a:lnTo>
                    <a:pt x="105" y="238"/>
                  </a:lnTo>
                  <a:lnTo>
                    <a:pt x="104" y="237"/>
                  </a:lnTo>
                  <a:lnTo>
                    <a:pt x="104" y="236"/>
                  </a:lnTo>
                  <a:lnTo>
                    <a:pt x="104" y="236"/>
                  </a:lnTo>
                  <a:lnTo>
                    <a:pt x="103" y="235"/>
                  </a:lnTo>
                  <a:lnTo>
                    <a:pt x="103" y="234"/>
                  </a:lnTo>
                  <a:lnTo>
                    <a:pt x="101" y="232"/>
                  </a:lnTo>
                  <a:lnTo>
                    <a:pt x="101" y="231"/>
                  </a:lnTo>
                  <a:lnTo>
                    <a:pt x="100" y="229"/>
                  </a:lnTo>
                  <a:lnTo>
                    <a:pt x="100" y="228"/>
                  </a:lnTo>
                  <a:lnTo>
                    <a:pt x="100" y="226"/>
                  </a:lnTo>
                  <a:lnTo>
                    <a:pt x="100" y="226"/>
                  </a:lnTo>
                  <a:lnTo>
                    <a:pt x="100" y="224"/>
                  </a:lnTo>
                  <a:lnTo>
                    <a:pt x="100" y="222"/>
                  </a:lnTo>
                  <a:lnTo>
                    <a:pt x="99" y="221"/>
                  </a:lnTo>
                  <a:lnTo>
                    <a:pt x="99" y="220"/>
                  </a:lnTo>
                  <a:lnTo>
                    <a:pt x="98" y="218"/>
                  </a:lnTo>
                  <a:lnTo>
                    <a:pt x="97" y="216"/>
                  </a:lnTo>
                  <a:lnTo>
                    <a:pt x="96" y="213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4" y="211"/>
                  </a:lnTo>
                  <a:lnTo>
                    <a:pt x="94" y="211"/>
                  </a:lnTo>
                  <a:lnTo>
                    <a:pt x="93" y="211"/>
                  </a:lnTo>
                  <a:lnTo>
                    <a:pt x="92" y="211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0" y="211"/>
                  </a:lnTo>
                  <a:lnTo>
                    <a:pt x="90" y="212"/>
                  </a:lnTo>
                  <a:lnTo>
                    <a:pt x="89" y="213"/>
                  </a:lnTo>
                  <a:lnTo>
                    <a:pt x="89" y="213"/>
                  </a:lnTo>
                  <a:lnTo>
                    <a:pt x="89" y="214"/>
                  </a:lnTo>
                  <a:lnTo>
                    <a:pt x="90" y="215"/>
                  </a:lnTo>
                  <a:lnTo>
                    <a:pt x="91" y="222"/>
                  </a:lnTo>
                  <a:lnTo>
                    <a:pt x="92" y="223"/>
                  </a:lnTo>
                  <a:lnTo>
                    <a:pt x="92" y="224"/>
                  </a:lnTo>
                  <a:lnTo>
                    <a:pt x="92" y="225"/>
                  </a:lnTo>
                  <a:lnTo>
                    <a:pt x="92" y="226"/>
                  </a:lnTo>
                  <a:lnTo>
                    <a:pt x="91" y="226"/>
                  </a:lnTo>
                  <a:lnTo>
                    <a:pt x="91" y="227"/>
                  </a:lnTo>
                  <a:lnTo>
                    <a:pt x="91" y="227"/>
                  </a:lnTo>
                  <a:lnTo>
                    <a:pt x="90" y="228"/>
                  </a:lnTo>
                  <a:lnTo>
                    <a:pt x="89" y="229"/>
                  </a:lnTo>
                  <a:lnTo>
                    <a:pt x="89" y="230"/>
                  </a:lnTo>
                  <a:lnTo>
                    <a:pt x="88" y="230"/>
                  </a:lnTo>
                  <a:lnTo>
                    <a:pt x="87" y="230"/>
                  </a:lnTo>
                  <a:lnTo>
                    <a:pt x="87" y="230"/>
                  </a:lnTo>
                  <a:lnTo>
                    <a:pt x="87" y="230"/>
                  </a:lnTo>
                  <a:lnTo>
                    <a:pt x="86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3" y="230"/>
                  </a:lnTo>
                  <a:lnTo>
                    <a:pt x="82" y="231"/>
                  </a:lnTo>
                  <a:lnTo>
                    <a:pt x="82" y="231"/>
                  </a:lnTo>
                  <a:lnTo>
                    <a:pt x="80" y="232"/>
                  </a:lnTo>
                  <a:lnTo>
                    <a:pt x="80" y="232"/>
                  </a:lnTo>
                  <a:lnTo>
                    <a:pt x="79" y="233"/>
                  </a:lnTo>
                  <a:lnTo>
                    <a:pt x="79" y="233"/>
                  </a:lnTo>
                  <a:lnTo>
                    <a:pt x="78" y="234"/>
                  </a:lnTo>
                  <a:lnTo>
                    <a:pt x="78" y="235"/>
                  </a:lnTo>
                  <a:lnTo>
                    <a:pt x="77" y="236"/>
                  </a:lnTo>
                  <a:lnTo>
                    <a:pt x="77" y="236"/>
                  </a:lnTo>
                  <a:lnTo>
                    <a:pt x="77" y="237"/>
                  </a:lnTo>
                  <a:lnTo>
                    <a:pt x="76" y="238"/>
                  </a:lnTo>
                  <a:lnTo>
                    <a:pt x="74" y="240"/>
                  </a:lnTo>
                  <a:lnTo>
                    <a:pt x="74" y="240"/>
                  </a:lnTo>
                  <a:lnTo>
                    <a:pt x="73" y="241"/>
                  </a:lnTo>
                  <a:lnTo>
                    <a:pt x="72" y="243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0" y="244"/>
                  </a:lnTo>
                  <a:lnTo>
                    <a:pt x="70" y="244"/>
                  </a:lnTo>
                  <a:lnTo>
                    <a:pt x="69" y="244"/>
                  </a:lnTo>
                  <a:lnTo>
                    <a:pt x="69" y="244"/>
                  </a:lnTo>
                  <a:lnTo>
                    <a:pt x="68" y="244"/>
                  </a:lnTo>
                  <a:lnTo>
                    <a:pt x="68" y="244"/>
                  </a:lnTo>
                  <a:lnTo>
                    <a:pt x="67" y="243"/>
                  </a:lnTo>
                  <a:lnTo>
                    <a:pt x="66" y="242"/>
                  </a:lnTo>
                  <a:lnTo>
                    <a:pt x="65" y="241"/>
                  </a:lnTo>
                  <a:lnTo>
                    <a:pt x="65" y="239"/>
                  </a:lnTo>
                  <a:lnTo>
                    <a:pt x="64" y="238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2"/>
                  </a:lnTo>
                  <a:lnTo>
                    <a:pt x="65" y="228"/>
                  </a:lnTo>
                  <a:lnTo>
                    <a:pt x="66" y="226"/>
                  </a:lnTo>
                  <a:lnTo>
                    <a:pt x="66" y="224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2"/>
                  </a:lnTo>
                  <a:lnTo>
                    <a:pt x="66" y="221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8" y="217"/>
                  </a:lnTo>
                  <a:lnTo>
                    <a:pt x="56" y="217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3" y="218"/>
                  </a:lnTo>
                  <a:lnTo>
                    <a:pt x="51" y="219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8" y="220"/>
                  </a:lnTo>
                  <a:lnTo>
                    <a:pt x="47" y="221"/>
                  </a:lnTo>
                  <a:lnTo>
                    <a:pt x="45" y="222"/>
                  </a:lnTo>
                  <a:lnTo>
                    <a:pt x="44" y="223"/>
                  </a:lnTo>
                  <a:lnTo>
                    <a:pt x="41" y="226"/>
                  </a:lnTo>
                  <a:lnTo>
                    <a:pt x="38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5" y="231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3" y="234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1" y="235"/>
                  </a:lnTo>
                  <a:lnTo>
                    <a:pt x="30" y="235"/>
                  </a:lnTo>
                  <a:lnTo>
                    <a:pt x="27" y="235"/>
                  </a:lnTo>
                  <a:lnTo>
                    <a:pt x="23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1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19" y="232"/>
                  </a:lnTo>
                  <a:lnTo>
                    <a:pt x="19" y="231"/>
                  </a:lnTo>
                  <a:lnTo>
                    <a:pt x="19" y="230"/>
                  </a:lnTo>
                  <a:lnTo>
                    <a:pt x="19" y="229"/>
                  </a:lnTo>
                  <a:lnTo>
                    <a:pt x="20" y="226"/>
                  </a:lnTo>
                  <a:lnTo>
                    <a:pt x="20" y="224"/>
                  </a:lnTo>
                  <a:lnTo>
                    <a:pt x="20" y="223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0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6" y="222"/>
                  </a:lnTo>
                  <a:lnTo>
                    <a:pt x="15" y="222"/>
                  </a:lnTo>
                  <a:lnTo>
                    <a:pt x="13" y="222"/>
                  </a:lnTo>
                  <a:lnTo>
                    <a:pt x="12" y="223"/>
                  </a:lnTo>
                  <a:lnTo>
                    <a:pt x="11" y="223"/>
                  </a:lnTo>
                  <a:lnTo>
                    <a:pt x="10" y="223"/>
                  </a:lnTo>
                  <a:lnTo>
                    <a:pt x="10" y="222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8" y="221"/>
                  </a:lnTo>
                  <a:lnTo>
                    <a:pt x="7" y="220"/>
                  </a:lnTo>
                  <a:lnTo>
                    <a:pt x="6" y="220"/>
                  </a:lnTo>
                  <a:lnTo>
                    <a:pt x="5" y="217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0" y="206"/>
                  </a:lnTo>
                  <a:lnTo>
                    <a:pt x="0" y="205"/>
                  </a:lnTo>
                  <a:lnTo>
                    <a:pt x="1" y="204"/>
                  </a:lnTo>
                  <a:lnTo>
                    <a:pt x="2" y="201"/>
                  </a:lnTo>
                  <a:lnTo>
                    <a:pt x="3" y="199"/>
                  </a:lnTo>
                  <a:lnTo>
                    <a:pt x="3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4" y="193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6" y="188"/>
                  </a:lnTo>
                  <a:lnTo>
                    <a:pt x="7" y="186"/>
                  </a:lnTo>
                  <a:lnTo>
                    <a:pt x="9" y="183"/>
                  </a:lnTo>
                  <a:lnTo>
                    <a:pt x="10" y="182"/>
                  </a:lnTo>
                  <a:lnTo>
                    <a:pt x="10" y="181"/>
                  </a:lnTo>
                  <a:lnTo>
                    <a:pt x="11" y="180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7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5"/>
                  </a:lnTo>
                  <a:lnTo>
                    <a:pt x="12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0" y="172"/>
                  </a:lnTo>
                  <a:lnTo>
                    <a:pt x="10" y="171"/>
                  </a:lnTo>
                  <a:lnTo>
                    <a:pt x="9" y="170"/>
                  </a:lnTo>
                  <a:lnTo>
                    <a:pt x="5" y="166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3" y="156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7"/>
                  </a:lnTo>
                  <a:lnTo>
                    <a:pt x="6" y="145"/>
                  </a:lnTo>
                  <a:lnTo>
                    <a:pt x="7" y="143"/>
                  </a:lnTo>
                  <a:lnTo>
                    <a:pt x="8" y="142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18" y="129"/>
                  </a:lnTo>
                  <a:lnTo>
                    <a:pt x="18" y="128"/>
                  </a:lnTo>
                  <a:lnTo>
                    <a:pt x="19" y="127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20" y="123"/>
                  </a:lnTo>
                  <a:lnTo>
                    <a:pt x="20" y="122"/>
                  </a:lnTo>
                  <a:lnTo>
                    <a:pt x="20" y="120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9" y="106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3"/>
                  </a:lnTo>
                  <a:lnTo>
                    <a:pt x="22" y="99"/>
                  </a:lnTo>
                  <a:lnTo>
                    <a:pt x="23" y="98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7" y="84"/>
                  </a:lnTo>
                  <a:lnTo>
                    <a:pt x="32" y="78"/>
                  </a:lnTo>
                  <a:lnTo>
                    <a:pt x="34" y="76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8" y="72"/>
                  </a:lnTo>
                  <a:lnTo>
                    <a:pt x="39" y="71"/>
                  </a:lnTo>
                  <a:lnTo>
                    <a:pt x="40" y="71"/>
                  </a:lnTo>
                  <a:lnTo>
                    <a:pt x="42" y="68"/>
                  </a:lnTo>
                  <a:lnTo>
                    <a:pt x="43" y="68"/>
                  </a:lnTo>
                  <a:lnTo>
                    <a:pt x="44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8" y="57"/>
                  </a:lnTo>
                  <a:lnTo>
                    <a:pt x="59" y="55"/>
                  </a:lnTo>
                  <a:lnTo>
                    <a:pt x="60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49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5"/>
                  </a:lnTo>
                  <a:lnTo>
                    <a:pt x="77" y="42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8" y="27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7" y="23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8" y="24"/>
                  </a:lnTo>
                  <a:lnTo>
                    <a:pt x="129" y="24"/>
                  </a:lnTo>
                  <a:lnTo>
                    <a:pt x="131" y="24"/>
                  </a:lnTo>
                  <a:lnTo>
                    <a:pt x="132" y="24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6" y="23"/>
                  </a:lnTo>
                  <a:lnTo>
                    <a:pt x="137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2" y="19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9" y="12"/>
                  </a:lnTo>
                  <a:lnTo>
                    <a:pt x="150" y="11"/>
                  </a:lnTo>
                  <a:lnTo>
                    <a:pt x="151" y="10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7"/>
                  </a:lnTo>
                  <a:lnTo>
                    <a:pt x="153" y="2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0" name="Freeform 39">
              <a:extLst>
                <a:ext uri="{FF2B5EF4-FFF2-40B4-BE49-F238E27FC236}">
                  <a16:creationId xmlns:a16="http://schemas.microsoft.com/office/drawing/2014/main" id="{D70D6A38-9B50-3AFC-86A7-BA152A71E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3" y="3192"/>
              <a:ext cx="448" cy="419"/>
            </a:xfrm>
            <a:custGeom>
              <a:avLst/>
              <a:gdLst>
                <a:gd name="T0" fmla="*/ 99 w 448"/>
                <a:gd name="T1" fmla="*/ 8 h 419"/>
                <a:gd name="T2" fmla="*/ 98 w 448"/>
                <a:gd name="T3" fmla="*/ 24 h 419"/>
                <a:gd name="T4" fmla="*/ 107 w 448"/>
                <a:gd name="T5" fmla="*/ 45 h 419"/>
                <a:gd name="T6" fmla="*/ 95 w 448"/>
                <a:gd name="T7" fmla="*/ 56 h 419"/>
                <a:gd name="T8" fmla="*/ 65 w 448"/>
                <a:gd name="T9" fmla="*/ 71 h 419"/>
                <a:gd name="T10" fmla="*/ 65 w 448"/>
                <a:gd name="T11" fmla="*/ 83 h 419"/>
                <a:gd name="T12" fmla="*/ 87 w 448"/>
                <a:gd name="T13" fmla="*/ 97 h 419"/>
                <a:gd name="T14" fmla="*/ 103 w 448"/>
                <a:gd name="T15" fmla="*/ 108 h 419"/>
                <a:gd name="T16" fmla="*/ 119 w 448"/>
                <a:gd name="T17" fmla="*/ 138 h 419"/>
                <a:gd name="T18" fmla="*/ 139 w 448"/>
                <a:gd name="T19" fmla="*/ 154 h 419"/>
                <a:gd name="T20" fmla="*/ 161 w 448"/>
                <a:gd name="T21" fmla="*/ 153 h 419"/>
                <a:gd name="T22" fmla="*/ 191 w 448"/>
                <a:gd name="T23" fmla="*/ 139 h 419"/>
                <a:gd name="T24" fmla="*/ 193 w 448"/>
                <a:gd name="T25" fmla="*/ 130 h 419"/>
                <a:gd name="T26" fmla="*/ 185 w 448"/>
                <a:gd name="T27" fmla="*/ 122 h 419"/>
                <a:gd name="T28" fmla="*/ 198 w 448"/>
                <a:gd name="T29" fmla="*/ 118 h 419"/>
                <a:gd name="T30" fmla="*/ 215 w 448"/>
                <a:gd name="T31" fmla="*/ 142 h 419"/>
                <a:gd name="T32" fmla="*/ 234 w 448"/>
                <a:gd name="T33" fmla="*/ 146 h 419"/>
                <a:gd name="T34" fmla="*/ 246 w 448"/>
                <a:gd name="T35" fmla="*/ 149 h 419"/>
                <a:gd name="T36" fmla="*/ 265 w 448"/>
                <a:gd name="T37" fmla="*/ 161 h 419"/>
                <a:gd name="T38" fmla="*/ 278 w 448"/>
                <a:gd name="T39" fmla="*/ 177 h 419"/>
                <a:gd name="T40" fmla="*/ 286 w 448"/>
                <a:gd name="T41" fmla="*/ 167 h 419"/>
                <a:gd name="T42" fmla="*/ 311 w 448"/>
                <a:gd name="T43" fmla="*/ 170 h 419"/>
                <a:gd name="T44" fmla="*/ 341 w 448"/>
                <a:gd name="T45" fmla="*/ 183 h 419"/>
                <a:gd name="T46" fmla="*/ 348 w 448"/>
                <a:gd name="T47" fmla="*/ 175 h 419"/>
                <a:gd name="T48" fmla="*/ 356 w 448"/>
                <a:gd name="T49" fmla="*/ 183 h 419"/>
                <a:gd name="T50" fmla="*/ 363 w 448"/>
                <a:gd name="T51" fmla="*/ 200 h 419"/>
                <a:gd name="T52" fmla="*/ 359 w 448"/>
                <a:gd name="T53" fmla="*/ 220 h 419"/>
                <a:gd name="T54" fmla="*/ 377 w 448"/>
                <a:gd name="T55" fmla="*/ 264 h 419"/>
                <a:gd name="T56" fmla="*/ 397 w 448"/>
                <a:gd name="T57" fmla="*/ 273 h 419"/>
                <a:gd name="T58" fmla="*/ 418 w 448"/>
                <a:gd name="T59" fmla="*/ 282 h 419"/>
                <a:gd name="T60" fmla="*/ 432 w 448"/>
                <a:gd name="T61" fmla="*/ 292 h 419"/>
                <a:gd name="T62" fmla="*/ 446 w 448"/>
                <a:gd name="T63" fmla="*/ 338 h 419"/>
                <a:gd name="T64" fmla="*/ 443 w 448"/>
                <a:gd name="T65" fmla="*/ 357 h 419"/>
                <a:gd name="T66" fmla="*/ 415 w 448"/>
                <a:gd name="T67" fmla="*/ 369 h 419"/>
                <a:gd name="T68" fmla="*/ 378 w 448"/>
                <a:gd name="T69" fmla="*/ 368 h 419"/>
                <a:gd name="T70" fmla="*/ 361 w 448"/>
                <a:gd name="T71" fmla="*/ 367 h 419"/>
                <a:gd name="T72" fmla="*/ 355 w 448"/>
                <a:gd name="T73" fmla="*/ 384 h 419"/>
                <a:gd name="T74" fmla="*/ 332 w 448"/>
                <a:gd name="T75" fmla="*/ 415 h 419"/>
                <a:gd name="T76" fmla="*/ 315 w 448"/>
                <a:gd name="T77" fmla="*/ 419 h 419"/>
                <a:gd name="T78" fmla="*/ 303 w 448"/>
                <a:gd name="T79" fmla="*/ 403 h 419"/>
                <a:gd name="T80" fmla="*/ 282 w 448"/>
                <a:gd name="T81" fmla="*/ 380 h 419"/>
                <a:gd name="T82" fmla="*/ 261 w 448"/>
                <a:gd name="T83" fmla="*/ 378 h 419"/>
                <a:gd name="T84" fmla="*/ 233 w 448"/>
                <a:gd name="T85" fmla="*/ 368 h 419"/>
                <a:gd name="T86" fmla="*/ 193 w 448"/>
                <a:gd name="T87" fmla="*/ 372 h 419"/>
                <a:gd name="T88" fmla="*/ 177 w 448"/>
                <a:gd name="T89" fmla="*/ 359 h 419"/>
                <a:gd name="T90" fmla="*/ 162 w 448"/>
                <a:gd name="T91" fmla="*/ 351 h 419"/>
                <a:gd name="T92" fmla="*/ 150 w 448"/>
                <a:gd name="T93" fmla="*/ 353 h 419"/>
                <a:gd name="T94" fmla="*/ 148 w 448"/>
                <a:gd name="T95" fmla="*/ 342 h 419"/>
                <a:gd name="T96" fmla="*/ 122 w 448"/>
                <a:gd name="T97" fmla="*/ 313 h 419"/>
                <a:gd name="T98" fmla="*/ 110 w 448"/>
                <a:gd name="T99" fmla="*/ 300 h 419"/>
                <a:gd name="T100" fmla="*/ 96 w 448"/>
                <a:gd name="T101" fmla="*/ 296 h 419"/>
                <a:gd name="T102" fmla="*/ 96 w 448"/>
                <a:gd name="T103" fmla="*/ 272 h 419"/>
                <a:gd name="T104" fmla="*/ 88 w 448"/>
                <a:gd name="T105" fmla="*/ 259 h 419"/>
                <a:gd name="T106" fmla="*/ 61 w 448"/>
                <a:gd name="T107" fmla="*/ 263 h 419"/>
                <a:gd name="T108" fmla="*/ 42 w 448"/>
                <a:gd name="T109" fmla="*/ 248 h 419"/>
                <a:gd name="T110" fmla="*/ 32 w 448"/>
                <a:gd name="T111" fmla="*/ 229 h 419"/>
                <a:gd name="T112" fmla="*/ 24 w 448"/>
                <a:gd name="T113" fmla="*/ 211 h 419"/>
                <a:gd name="T114" fmla="*/ 22 w 448"/>
                <a:gd name="T115" fmla="*/ 228 h 419"/>
                <a:gd name="T116" fmla="*/ 12 w 448"/>
                <a:gd name="T117" fmla="*/ 232 h 419"/>
                <a:gd name="T118" fmla="*/ 2 w 448"/>
                <a:gd name="T119" fmla="*/ 244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8" h="419">
                  <a:moveTo>
                    <a:pt x="88" y="0"/>
                  </a:moveTo>
                  <a:lnTo>
                    <a:pt x="89" y="0"/>
                  </a:lnTo>
                  <a:lnTo>
                    <a:pt x="90" y="0"/>
                  </a:lnTo>
                  <a:lnTo>
                    <a:pt x="90" y="1"/>
                  </a:lnTo>
                  <a:lnTo>
                    <a:pt x="91" y="1"/>
                  </a:lnTo>
                  <a:lnTo>
                    <a:pt x="92" y="1"/>
                  </a:lnTo>
                  <a:lnTo>
                    <a:pt x="92" y="2"/>
                  </a:lnTo>
                  <a:lnTo>
                    <a:pt x="93" y="2"/>
                  </a:lnTo>
                  <a:lnTo>
                    <a:pt x="94" y="3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6" y="5"/>
                  </a:lnTo>
                  <a:lnTo>
                    <a:pt x="96" y="6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8" y="7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100" y="8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2"/>
                  </a:lnTo>
                  <a:lnTo>
                    <a:pt x="101" y="13"/>
                  </a:lnTo>
                  <a:lnTo>
                    <a:pt x="101" y="14"/>
                  </a:lnTo>
                  <a:lnTo>
                    <a:pt x="99" y="18"/>
                  </a:lnTo>
                  <a:lnTo>
                    <a:pt x="99" y="20"/>
                  </a:lnTo>
                  <a:lnTo>
                    <a:pt x="98" y="21"/>
                  </a:lnTo>
                  <a:lnTo>
                    <a:pt x="98" y="22"/>
                  </a:lnTo>
                  <a:lnTo>
                    <a:pt x="98" y="23"/>
                  </a:lnTo>
                  <a:lnTo>
                    <a:pt x="98" y="24"/>
                  </a:lnTo>
                  <a:lnTo>
                    <a:pt x="98" y="26"/>
                  </a:lnTo>
                  <a:lnTo>
                    <a:pt x="98" y="27"/>
                  </a:lnTo>
                  <a:lnTo>
                    <a:pt x="99" y="28"/>
                  </a:lnTo>
                  <a:lnTo>
                    <a:pt x="99" y="29"/>
                  </a:lnTo>
                  <a:lnTo>
                    <a:pt x="100" y="30"/>
                  </a:lnTo>
                  <a:lnTo>
                    <a:pt x="100" y="31"/>
                  </a:lnTo>
                  <a:lnTo>
                    <a:pt x="101" y="32"/>
                  </a:lnTo>
                  <a:lnTo>
                    <a:pt x="104" y="35"/>
                  </a:lnTo>
                  <a:lnTo>
                    <a:pt x="105" y="37"/>
                  </a:lnTo>
                  <a:lnTo>
                    <a:pt x="105" y="38"/>
                  </a:lnTo>
                  <a:lnTo>
                    <a:pt x="106" y="38"/>
                  </a:lnTo>
                  <a:lnTo>
                    <a:pt x="106" y="39"/>
                  </a:lnTo>
                  <a:lnTo>
                    <a:pt x="106" y="40"/>
                  </a:lnTo>
                  <a:lnTo>
                    <a:pt x="106" y="41"/>
                  </a:lnTo>
                  <a:lnTo>
                    <a:pt x="107" y="42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06" y="46"/>
                  </a:lnTo>
                  <a:lnTo>
                    <a:pt x="106" y="47"/>
                  </a:lnTo>
                  <a:lnTo>
                    <a:pt x="106" y="49"/>
                  </a:lnTo>
                  <a:lnTo>
                    <a:pt x="106" y="49"/>
                  </a:lnTo>
                  <a:lnTo>
                    <a:pt x="105" y="50"/>
                  </a:lnTo>
                  <a:lnTo>
                    <a:pt x="105" y="50"/>
                  </a:lnTo>
                  <a:lnTo>
                    <a:pt x="105" y="51"/>
                  </a:lnTo>
                  <a:lnTo>
                    <a:pt x="104" y="52"/>
                  </a:lnTo>
                  <a:lnTo>
                    <a:pt x="103" y="52"/>
                  </a:lnTo>
                  <a:lnTo>
                    <a:pt x="102" y="53"/>
                  </a:lnTo>
                  <a:lnTo>
                    <a:pt x="101" y="53"/>
                  </a:lnTo>
                  <a:lnTo>
                    <a:pt x="101" y="53"/>
                  </a:lnTo>
                  <a:lnTo>
                    <a:pt x="98" y="54"/>
                  </a:lnTo>
                  <a:lnTo>
                    <a:pt x="97" y="54"/>
                  </a:lnTo>
                  <a:lnTo>
                    <a:pt x="96" y="55"/>
                  </a:lnTo>
                  <a:lnTo>
                    <a:pt x="96" y="55"/>
                  </a:lnTo>
                  <a:lnTo>
                    <a:pt x="95" y="56"/>
                  </a:lnTo>
                  <a:lnTo>
                    <a:pt x="94" y="57"/>
                  </a:lnTo>
                  <a:lnTo>
                    <a:pt x="94" y="57"/>
                  </a:lnTo>
                  <a:lnTo>
                    <a:pt x="92" y="59"/>
                  </a:lnTo>
                  <a:lnTo>
                    <a:pt x="92" y="60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90" y="62"/>
                  </a:lnTo>
                  <a:lnTo>
                    <a:pt x="90" y="62"/>
                  </a:lnTo>
                  <a:lnTo>
                    <a:pt x="89" y="63"/>
                  </a:lnTo>
                  <a:lnTo>
                    <a:pt x="88" y="63"/>
                  </a:lnTo>
                  <a:lnTo>
                    <a:pt x="87" y="63"/>
                  </a:lnTo>
                  <a:lnTo>
                    <a:pt x="85" y="64"/>
                  </a:lnTo>
                  <a:lnTo>
                    <a:pt x="80" y="66"/>
                  </a:lnTo>
                  <a:lnTo>
                    <a:pt x="74" y="68"/>
                  </a:lnTo>
                  <a:lnTo>
                    <a:pt x="71" y="69"/>
                  </a:lnTo>
                  <a:lnTo>
                    <a:pt x="66" y="70"/>
                  </a:lnTo>
                  <a:lnTo>
                    <a:pt x="65" y="71"/>
                  </a:lnTo>
                  <a:lnTo>
                    <a:pt x="64" y="71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2" y="73"/>
                  </a:lnTo>
                  <a:lnTo>
                    <a:pt x="62" y="74"/>
                  </a:lnTo>
                  <a:lnTo>
                    <a:pt x="62" y="74"/>
                  </a:lnTo>
                  <a:lnTo>
                    <a:pt x="62" y="75"/>
                  </a:lnTo>
                  <a:lnTo>
                    <a:pt x="61" y="76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8"/>
                  </a:lnTo>
                  <a:lnTo>
                    <a:pt x="62" y="79"/>
                  </a:lnTo>
                  <a:lnTo>
                    <a:pt x="63" y="80"/>
                  </a:lnTo>
                  <a:lnTo>
                    <a:pt x="63" y="81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5" y="83"/>
                  </a:lnTo>
                  <a:lnTo>
                    <a:pt x="66" y="84"/>
                  </a:lnTo>
                  <a:lnTo>
                    <a:pt x="67" y="85"/>
                  </a:lnTo>
                  <a:lnTo>
                    <a:pt x="71" y="88"/>
                  </a:lnTo>
                  <a:lnTo>
                    <a:pt x="72" y="89"/>
                  </a:lnTo>
                  <a:lnTo>
                    <a:pt x="73" y="91"/>
                  </a:lnTo>
                  <a:lnTo>
                    <a:pt x="75" y="93"/>
                  </a:lnTo>
                  <a:lnTo>
                    <a:pt x="76" y="94"/>
                  </a:lnTo>
                  <a:lnTo>
                    <a:pt x="77" y="95"/>
                  </a:lnTo>
                  <a:lnTo>
                    <a:pt x="78" y="96"/>
                  </a:lnTo>
                  <a:lnTo>
                    <a:pt x="79" y="97"/>
                  </a:lnTo>
                  <a:lnTo>
                    <a:pt x="81" y="97"/>
                  </a:lnTo>
                  <a:lnTo>
                    <a:pt x="82" y="98"/>
                  </a:lnTo>
                  <a:lnTo>
                    <a:pt x="83" y="98"/>
                  </a:lnTo>
                  <a:lnTo>
                    <a:pt x="84" y="98"/>
                  </a:lnTo>
                  <a:lnTo>
                    <a:pt x="84" y="98"/>
                  </a:lnTo>
                  <a:lnTo>
                    <a:pt x="85" y="97"/>
                  </a:lnTo>
                  <a:lnTo>
                    <a:pt x="87" y="97"/>
                  </a:lnTo>
                  <a:lnTo>
                    <a:pt x="88" y="97"/>
                  </a:lnTo>
                  <a:lnTo>
                    <a:pt x="89" y="97"/>
                  </a:lnTo>
                  <a:lnTo>
                    <a:pt x="90" y="97"/>
                  </a:lnTo>
                  <a:lnTo>
                    <a:pt x="91" y="97"/>
                  </a:lnTo>
                  <a:lnTo>
                    <a:pt x="91" y="97"/>
                  </a:lnTo>
                  <a:lnTo>
                    <a:pt x="92" y="97"/>
                  </a:lnTo>
                  <a:lnTo>
                    <a:pt x="93" y="97"/>
                  </a:lnTo>
                  <a:lnTo>
                    <a:pt x="93" y="98"/>
                  </a:lnTo>
                  <a:lnTo>
                    <a:pt x="95" y="98"/>
                  </a:lnTo>
                  <a:lnTo>
                    <a:pt x="95" y="99"/>
                  </a:lnTo>
                  <a:lnTo>
                    <a:pt x="96" y="99"/>
                  </a:lnTo>
                  <a:lnTo>
                    <a:pt x="97" y="100"/>
                  </a:lnTo>
                  <a:lnTo>
                    <a:pt x="98" y="101"/>
                  </a:lnTo>
                  <a:lnTo>
                    <a:pt x="99" y="102"/>
                  </a:lnTo>
                  <a:lnTo>
                    <a:pt x="100" y="103"/>
                  </a:lnTo>
                  <a:lnTo>
                    <a:pt x="102" y="106"/>
                  </a:lnTo>
                  <a:lnTo>
                    <a:pt x="103" y="108"/>
                  </a:lnTo>
                  <a:lnTo>
                    <a:pt x="106" y="112"/>
                  </a:lnTo>
                  <a:lnTo>
                    <a:pt x="107" y="113"/>
                  </a:lnTo>
                  <a:lnTo>
                    <a:pt x="108" y="115"/>
                  </a:lnTo>
                  <a:lnTo>
                    <a:pt x="109" y="116"/>
                  </a:lnTo>
                  <a:lnTo>
                    <a:pt x="109" y="117"/>
                  </a:lnTo>
                  <a:lnTo>
                    <a:pt x="110" y="119"/>
                  </a:lnTo>
                  <a:lnTo>
                    <a:pt x="110" y="120"/>
                  </a:lnTo>
                  <a:lnTo>
                    <a:pt x="112" y="124"/>
                  </a:lnTo>
                  <a:lnTo>
                    <a:pt x="113" y="126"/>
                  </a:lnTo>
                  <a:lnTo>
                    <a:pt x="113" y="127"/>
                  </a:lnTo>
                  <a:lnTo>
                    <a:pt x="114" y="131"/>
                  </a:lnTo>
                  <a:lnTo>
                    <a:pt x="116" y="134"/>
                  </a:lnTo>
                  <a:lnTo>
                    <a:pt x="116" y="135"/>
                  </a:lnTo>
                  <a:lnTo>
                    <a:pt x="117" y="136"/>
                  </a:lnTo>
                  <a:lnTo>
                    <a:pt x="117" y="137"/>
                  </a:lnTo>
                  <a:lnTo>
                    <a:pt x="118" y="137"/>
                  </a:lnTo>
                  <a:lnTo>
                    <a:pt x="119" y="138"/>
                  </a:lnTo>
                  <a:lnTo>
                    <a:pt x="120" y="138"/>
                  </a:lnTo>
                  <a:lnTo>
                    <a:pt x="122" y="140"/>
                  </a:lnTo>
                  <a:lnTo>
                    <a:pt x="124" y="141"/>
                  </a:lnTo>
                  <a:lnTo>
                    <a:pt x="127" y="142"/>
                  </a:lnTo>
                  <a:lnTo>
                    <a:pt x="128" y="142"/>
                  </a:lnTo>
                  <a:lnTo>
                    <a:pt x="129" y="143"/>
                  </a:lnTo>
                  <a:lnTo>
                    <a:pt x="130" y="144"/>
                  </a:lnTo>
                  <a:lnTo>
                    <a:pt x="130" y="145"/>
                  </a:lnTo>
                  <a:lnTo>
                    <a:pt x="131" y="146"/>
                  </a:lnTo>
                  <a:lnTo>
                    <a:pt x="132" y="147"/>
                  </a:lnTo>
                  <a:lnTo>
                    <a:pt x="133" y="148"/>
                  </a:lnTo>
                  <a:lnTo>
                    <a:pt x="133" y="149"/>
                  </a:lnTo>
                  <a:lnTo>
                    <a:pt x="134" y="150"/>
                  </a:lnTo>
                  <a:lnTo>
                    <a:pt x="134" y="151"/>
                  </a:lnTo>
                  <a:lnTo>
                    <a:pt x="136" y="152"/>
                  </a:lnTo>
                  <a:lnTo>
                    <a:pt x="137" y="153"/>
                  </a:lnTo>
                  <a:lnTo>
                    <a:pt x="139" y="154"/>
                  </a:lnTo>
                  <a:lnTo>
                    <a:pt x="140" y="155"/>
                  </a:lnTo>
                  <a:lnTo>
                    <a:pt x="141" y="156"/>
                  </a:lnTo>
                  <a:lnTo>
                    <a:pt x="143" y="156"/>
                  </a:lnTo>
                  <a:lnTo>
                    <a:pt x="144" y="157"/>
                  </a:lnTo>
                  <a:lnTo>
                    <a:pt x="145" y="157"/>
                  </a:lnTo>
                  <a:lnTo>
                    <a:pt x="145" y="157"/>
                  </a:lnTo>
                  <a:lnTo>
                    <a:pt x="146" y="157"/>
                  </a:lnTo>
                  <a:lnTo>
                    <a:pt x="147" y="157"/>
                  </a:lnTo>
                  <a:lnTo>
                    <a:pt x="148" y="157"/>
                  </a:lnTo>
                  <a:lnTo>
                    <a:pt x="152" y="156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5"/>
                  </a:lnTo>
                  <a:lnTo>
                    <a:pt x="157" y="155"/>
                  </a:lnTo>
                  <a:lnTo>
                    <a:pt x="159" y="154"/>
                  </a:lnTo>
                  <a:lnTo>
                    <a:pt x="160" y="153"/>
                  </a:lnTo>
                  <a:lnTo>
                    <a:pt x="161" y="153"/>
                  </a:lnTo>
                  <a:lnTo>
                    <a:pt x="162" y="152"/>
                  </a:lnTo>
                  <a:lnTo>
                    <a:pt x="167" y="147"/>
                  </a:lnTo>
                  <a:lnTo>
                    <a:pt x="168" y="146"/>
                  </a:lnTo>
                  <a:lnTo>
                    <a:pt x="169" y="145"/>
                  </a:lnTo>
                  <a:lnTo>
                    <a:pt x="170" y="145"/>
                  </a:lnTo>
                  <a:lnTo>
                    <a:pt x="171" y="144"/>
                  </a:lnTo>
                  <a:lnTo>
                    <a:pt x="173" y="143"/>
                  </a:lnTo>
                  <a:lnTo>
                    <a:pt x="174" y="142"/>
                  </a:lnTo>
                  <a:lnTo>
                    <a:pt x="177" y="141"/>
                  </a:lnTo>
                  <a:lnTo>
                    <a:pt x="179" y="140"/>
                  </a:lnTo>
                  <a:lnTo>
                    <a:pt x="180" y="140"/>
                  </a:lnTo>
                  <a:lnTo>
                    <a:pt x="181" y="139"/>
                  </a:lnTo>
                  <a:lnTo>
                    <a:pt x="183" y="139"/>
                  </a:lnTo>
                  <a:lnTo>
                    <a:pt x="184" y="139"/>
                  </a:lnTo>
                  <a:lnTo>
                    <a:pt x="184" y="139"/>
                  </a:lnTo>
                  <a:lnTo>
                    <a:pt x="189" y="139"/>
                  </a:lnTo>
                  <a:lnTo>
                    <a:pt x="191" y="139"/>
                  </a:lnTo>
                  <a:lnTo>
                    <a:pt x="192" y="139"/>
                  </a:lnTo>
                  <a:lnTo>
                    <a:pt x="193" y="139"/>
                  </a:lnTo>
                  <a:lnTo>
                    <a:pt x="194" y="139"/>
                  </a:lnTo>
                  <a:lnTo>
                    <a:pt x="194" y="139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7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5" y="134"/>
                  </a:lnTo>
                  <a:lnTo>
                    <a:pt x="195" y="133"/>
                  </a:lnTo>
                  <a:lnTo>
                    <a:pt x="195" y="132"/>
                  </a:lnTo>
                  <a:lnTo>
                    <a:pt x="195" y="132"/>
                  </a:lnTo>
                  <a:lnTo>
                    <a:pt x="194" y="131"/>
                  </a:lnTo>
                  <a:lnTo>
                    <a:pt x="194" y="130"/>
                  </a:lnTo>
                  <a:lnTo>
                    <a:pt x="193" y="130"/>
                  </a:lnTo>
                  <a:lnTo>
                    <a:pt x="193" y="129"/>
                  </a:lnTo>
                  <a:lnTo>
                    <a:pt x="192" y="129"/>
                  </a:lnTo>
                  <a:lnTo>
                    <a:pt x="191" y="129"/>
                  </a:lnTo>
                  <a:lnTo>
                    <a:pt x="190" y="128"/>
                  </a:lnTo>
                  <a:lnTo>
                    <a:pt x="188" y="128"/>
                  </a:lnTo>
                  <a:lnTo>
                    <a:pt x="188" y="128"/>
                  </a:lnTo>
                  <a:lnTo>
                    <a:pt x="187" y="128"/>
                  </a:lnTo>
                  <a:lnTo>
                    <a:pt x="187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6"/>
                  </a:lnTo>
                  <a:lnTo>
                    <a:pt x="185" y="126"/>
                  </a:lnTo>
                  <a:lnTo>
                    <a:pt x="185" y="125"/>
                  </a:lnTo>
                  <a:lnTo>
                    <a:pt x="185" y="124"/>
                  </a:lnTo>
                  <a:lnTo>
                    <a:pt x="185" y="124"/>
                  </a:lnTo>
                  <a:lnTo>
                    <a:pt x="185" y="123"/>
                  </a:lnTo>
                  <a:lnTo>
                    <a:pt x="185" y="122"/>
                  </a:lnTo>
                  <a:lnTo>
                    <a:pt x="185" y="121"/>
                  </a:lnTo>
                  <a:lnTo>
                    <a:pt x="186" y="121"/>
                  </a:lnTo>
                  <a:lnTo>
                    <a:pt x="186" y="120"/>
                  </a:lnTo>
                  <a:lnTo>
                    <a:pt x="187" y="119"/>
                  </a:lnTo>
                  <a:lnTo>
                    <a:pt x="187" y="118"/>
                  </a:lnTo>
                  <a:lnTo>
                    <a:pt x="188" y="118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90" y="117"/>
                  </a:lnTo>
                  <a:lnTo>
                    <a:pt x="191" y="116"/>
                  </a:lnTo>
                  <a:lnTo>
                    <a:pt x="192" y="116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4" y="116"/>
                  </a:lnTo>
                  <a:lnTo>
                    <a:pt x="195" y="117"/>
                  </a:lnTo>
                  <a:lnTo>
                    <a:pt x="197" y="117"/>
                  </a:lnTo>
                  <a:lnTo>
                    <a:pt x="198" y="118"/>
                  </a:lnTo>
                  <a:lnTo>
                    <a:pt x="199" y="118"/>
                  </a:lnTo>
                  <a:lnTo>
                    <a:pt x="200" y="119"/>
                  </a:lnTo>
                  <a:lnTo>
                    <a:pt x="201" y="120"/>
                  </a:lnTo>
                  <a:lnTo>
                    <a:pt x="204" y="122"/>
                  </a:lnTo>
                  <a:lnTo>
                    <a:pt x="205" y="123"/>
                  </a:lnTo>
                  <a:lnTo>
                    <a:pt x="206" y="124"/>
                  </a:lnTo>
                  <a:lnTo>
                    <a:pt x="207" y="125"/>
                  </a:lnTo>
                  <a:lnTo>
                    <a:pt x="208" y="126"/>
                  </a:lnTo>
                  <a:lnTo>
                    <a:pt x="210" y="132"/>
                  </a:lnTo>
                  <a:lnTo>
                    <a:pt x="211" y="133"/>
                  </a:lnTo>
                  <a:lnTo>
                    <a:pt x="211" y="134"/>
                  </a:lnTo>
                  <a:lnTo>
                    <a:pt x="212" y="137"/>
                  </a:lnTo>
                  <a:lnTo>
                    <a:pt x="213" y="138"/>
                  </a:lnTo>
                  <a:lnTo>
                    <a:pt x="213" y="139"/>
                  </a:lnTo>
                  <a:lnTo>
                    <a:pt x="214" y="140"/>
                  </a:lnTo>
                  <a:lnTo>
                    <a:pt x="214" y="142"/>
                  </a:lnTo>
                  <a:lnTo>
                    <a:pt x="215" y="142"/>
                  </a:lnTo>
                  <a:lnTo>
                    <a:pt x="216" y="143"/>
                  </a:lnTo>
                  <a:lnTo>
                    <a:pt x="217" y="143"/>
                  </a:lnTo>
                  <a:lnTo>
                    <a:pt x="217" y="144"/>
                  </a:lnTo>
                  <a:lnTo>
                    <a:pt x="218" y="144"/>
                  </a:lnTo>
                  <a:lnTo>
                    <a:pt x="219" y="145"/>
                  </a:lnTo>
                  <a:lnTo>
                    <a:pt x="219" y="145"/>
                  </a:lnTo>
                  <a:lnTo>
                    <a:pt x="222" y="146"/>
                  </a:lnTo>
                  <a:lnTo>
                    <a:pt x="227" y="148"/>
                  </a:lnTo>
                  <a:lnTo>
                    <a:pt x="228" y="148"/>
                  </a:lnTo>
                  <a:lnTo>
                    <a:pt x="229" y="148"/>
                  </a:lnTo>
                  <a:lnTo>
                    <a:pt x="229" y="148"/>
                  </a:lnTo>
                  <a:lnTo>
                    <a:pt x="230" y="148"/>
                  </a:lnTo>
                  <a:lnTo>
                    <a:pt x="231" y="148"/>
                  </a:lnTo>
                  <a:lnTo>
                    <a:pt x="231" y="147"/>
                  </a:lnTo>
                  <a:lnTo>
                    <a:pt x="232" y="147"/>
                  </a:lnTo>
                  <a:lnTo>
                    <a:pt x="232" y="147"/>
                  </a:lnTo>
                  <a:lnTo>
                    <a:pt x="234" y="146"/>
                  </a:lnTo>
                  <a:lnTo>
                    <a:pt x="235" y="145"/>
                  </a:lnTo>
                  <a:lnTo>
                    <a:pt x="236" y="145"/>
                  </a:lnTo>
                  <a:lnTo>
                    <a:pt x="236" y="145"/>
                  </a:lnTo>
                  <a:lnTo>
                    <a:pt x="237" y="144"/>
                  </a:lnTo>
                  <a:lnTo>
                    <a:pt x="237" y="144"/>
                  </a:lnTo>
                  <a:lnTo>
                    <a:pt x="238" y="144"/>
                  </a:lnTo>
                  <a:lnTo>
                    <a:pt x="239" y="144"/>
                  </a:lnTo>
                  <a:lnTo>
                    <a:pt x="240" y="144"/>
                  </a:lnTo>
                  <a:lnTo>
                    <a:pt x="241" y="145"/>
                  </a:lnTo>
                  <a:lnTo>
                    <a:pt x="242" y="145"/>
                  </a:lnTo>
                  <a:lnTo>
                    <a:pt x="242" y="145"/>
                  </a:lnTo>
                  <a:lnTo>
                    <a:pt x="243" y="146"/>
                  </a:lnTo>
                  <a:lnTo>
                    <a:pt x="243" y="146"/>
                  </a:lnTo>
                  <a:lnTo>
                    <a:pt x="244" y="146"/>
                  </a:lnTo>
                  <a:lnTo>
                    <a:pt x="245" y="147"/>
                  </a:lnTo>
                  <a:lnTo>
                    <a:pt x="245" y="148"/>
                  </a:lnTo>
                  <a:lnTo>
                    <a:pt x="246" y="149"/>
                  </a:lnTo>
                  <a:lnTo>
                    <a:pt x="247" y="151"/>
                  </a:lnTo>
                  <a:lnTo>
                    <a:pt x="248" y="152"/>
                  </a:lnTo>
                  <a:lnTo>
                    <a:pt x="249" y="153"/>
                  </a:lnTo>
                  <a:lnTo>
                    <a:pt x="250" y="153"/>
                  </a:lnTo>
                  <a:lnTo>
                    <a:pt x="250" y="154"/>
                  </a:lnTo>
                  <a:lnTo>
                    <a:pt x="251" y="154"/>
                  </a:lnTo>
                  <a:lnTo>
                    <a:pt x="252" y="155"/>
                  </a:lnTo>
                  <a:lnTo>
                    <a:pt x="253" y="155"/>
                  </a:lnTo>
                  <a:lnTo>
                    <a:pt x="258" y="157"/>
                  </a:lnTo>
                  <a:lnTo>
                    <a:pt x="259" y="157"/>
                  </a:lnTo>
                  <a:lnTo>
                    <a:pt x="260" y="157"/>
                  </a:lnTo>
                  <a:lnTo>
                    <a:pt x="261" y="158"/>
                  </a:lnTo>
                  <a:lnTo>
                    <a:pt x="262" y="159"/>
                  </a:lnTo>
                  <a:lnTo>
                    <a:pt x="263" y="159"/>
                  </a:lnTo>
                  <a:lnTo>
                    <a:pt x="264" y="160"/>
                  </a:lnTo>
                  <a:lnTo>
                    <a:pt x="264" y="160"/>
                  </a:lnTo>
                  <a:lnTo>
                    <a:pt x="265" y="161"/>
                  </a:lnTo>
                  <a:lnTo>
                    <a:pt x="266" y="162"/>
                  </a:lnTo>
                  <a:lnTo>
                    <a:pt x="266" y="163"/>
                  </a:lnTo>
                  <a:lnTo>
                    <a:pt x="267" y="164"/>
                  </a:lnTo>
                  <a:lnTo>
                    <a:pt x="268" y="168"/>
                  </a:lnTo>
                  <a:lnTo>
                    <a:pt x="269" y="169"/>
                  </a:lnTo>
                  <a:lnTo>
                    <a:pt x="269" y="170"/>
                  </a:lnTo>
                  <a:lnTo>
                    <a:pt x="270" y="171"/>
                  </a:lnTo>
                  <a:lnTo>
                    <a:pt x="271" y="172"/>
                  </a:lnTo>
                  <a:lnTo>
                    <a:pt x="271" y="173"/>
                  </a:lnTo>
                  <a:lnTo>
                    <a:pt x="272" y="173"/>
                  </a:lnTo>
                  <a:lnTo>
                    <a:pt x="273" y="174"/>
                  </a:lnTo>
                  <a:lnTo>
                    <a:pt x="274" y="175"/>
                  </a:lnTo>
                  <a:lnTo>
                    <a:pt x="275" y="176"/>
                  </a:lnTo>
                  <a:lnTo>
                    <a:pt x="275" y="176"/>
                  </a:lnTo>
                  <a:lnTo>
                    <a:pt x="276" y="176"/>
                  </a:lnTo>
                  <a:lnTo>
                    <a:pt x="277" y="177"/>
                  </a:lnTo>
                  <a:lnTo>
                    <a:pt x="278" y="177"/>
                  </a:lnTo>
                  <a:lnTo>
                    <a:pt x="279" y="177"/>
                  </a:lnTo>
                  <a:lnTo>
                    <a:pt x="280" y="177"/>
                  </a:lnTo>
                  <a:lnTo>
                    <a:pt x="280" y="177"/>
                  </a:lnTo>
                  <a:lnTo>
                    <a:pt x="281" y="177"/>
                  </a:lnTo>
                  <a:lnTo>
                    <a:pt x="282" y="176"/>
                  </a:lnTo>
                  <a:lnTo>
                    <a:pt x="283" y="175"/>
                  </a:lnTo>
                  <a:lnTo>
                    <a:pt x="285" y="174"/>
                  </a:lnTo>
                  <a:lnTo>
                    <a:pt x="285" y="174"/>
                  </a:lnTo>
                  <a:lnTo>
                    <a:pt x="286" y="173"/>
                  </a:lnTo>
                  <a:lnTo>
                    <a:pt x="286" y="172"/>
                  </a:lnTo>
                  <a:lnTo>
                    <a:pt x="286" y="172"/>
                  </a:lnTo>
                  <a:lnTo>
                    <a:pt x="286" y="171"/>
                  </a:lnTo>
                  <a:lnTo>
                    <a:pt x="286" y="170"/>
                  </a:lnTo>
                  <a:lnTo>
                    <a:pt x="286" y="169"/>
                  </a:lnTo>
                  <a:lnTo>
                    <a:pt x="286" y="168"/>
                  </a:lnTo>
                  <a:lnTo>
                    <a:pt x="286" y="168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7" y="167"/>
                  </a:lnTo>
                  <a:lnTo>
                    <a:pt x="288" y="167"/>
                  </a:lnTo>
                  <a:lnTo>
                    <a:pt x="289" y="167"/>
                  </a:lnTo>
                  <a:lnTo>
                    <a:pt x="290" y="167"/>
                  </a:lnTo>
                  <a:lnTo>
                    <a:pt x="294" y="168"/>
                  </a:lnTo>
                  <a:lnTo>
                    <a:pt x="296" y="169"/>
                  </a:lnTo>
                  <a:lnTo>
                    <a:pt x="297" y="169"/>
                  </a:lnTo>
                  <a:lnTo>
                    <a:pt x="299" y="169"/>
                  </a:lnTo>
                  <a:lnTo>
                    <a:pt x="301" y="169"/>
                  </a:lnTo>
                  <a:lnTo>
                    <a:pt x="306" y="169"/>
                  </a:lnTo>
                  <a:lnTo>
                    <a:pt x="307" y="169"/>
                  </a:lnTo>
                  <a:lnTo>
                    <a:pt x="309" y="170"/>
                  </a:lnTo>
                  <a:lnTo>
                    <a:pt x="310" y="170"/>
                  </a:lnTo>
                  <a:lnTo>
                    <a:pt x="311" y="170"/>
                  </a:lnTo>
                  <a:lnTo>
                    <a:pt x="311" y="170"/>
                  </a:lnTo>
                  <a:lnTo>
                    <a:pt x="312" y="171"/>
                  </a:lnTo>
                  <a:lnTo>
                    <a:pt x="317" y="173"/>
                  </a:lnTo>
                  <a:lnTo>
                    <a:pt x="320" y="175"/>
                  </a:lnTo>
                  <a:lnTo>
                    <a:pt x="322" y="176"/>
                  </a:lnTo>
                  <a:lnTo>
                    <a:pt x="323" y="176"/>
                  </a:lnTo>
                  <a:lnTo>
                    <a:pt x="329" y="181"/>
                  </a:lnTo>
                  <a:lnTo>
                    <a:pt x="330" y="181"/>
                  </a:lnTo>
                  <a:lnTo>
                    <a:pt x="330" y="181"/>
                  </a:lnTo>
                  <a:lnTo>
                    <a:pt x="332" y="182"/>
                  </a:lnTo>
                  <a:lnTo>
                    <a:pt x="333" y="183"/>
                  </a:lnTo>
                  <a:lnTo>
                    <a:pt x="335" y="183"/>
                  </a:lnTo>
                  <a:lnTo>
                    <a:pt x="336" y="183"/>
                  </a:lnTo>
                  <a:lnTo>
                    <a:pt x="338" y="183"/>
                  </a:lnTo>
                  <a:lnTo>
                    <a:pt x="339" y="184"/>
                  </a:lnTo>
                  <a:lnTo>
                    <a:pt x="340" y="184"/>
                  </a:lnTo>
                  <a:lnTo>
                    <a:pt x="341" y="183"/>
                  </a:lnTo>
                  <a:lnTo>
                    <a:pt x="342" y="183"/>
                  </a:lnTo>
                  <a:lnTo>
                    <a:pt x="342" y="183"/>
                  </a:lnTo>
                  <a:lnTo>
                    <a:pt x="343" y="183"/>
                  </a:lnTo>
                  <a:lnTo>
                    <a:pt x="343" y="182"/>
                  </a:lnTo>
                  <a:lnTo>
                    <a:pt x="344" y="182"/>
                  </a:lnTo>
                  <a:lnTo>
                    <a:pt x="344" y="181"/>
                  </a:lnTo>
                  <a:lnTo>
                    <a:pt x="345" y="181"/>
                  </a:lnTo>
                  <a:lnTo>
                    <a:pt x="345" y="181"/>
                  </a:lnTo>
                  <a:lnTo>
                    <a:pt x="345" y="180"/>
                  </a:lnTo>
                  <a:lnTo>
                    <a:pt x="346" y="179"/>
                  </a:lnTo>
                  <a:lnTo>
                    <a:pt x="346" y="177"/>
                  </a:lnTo>
                  <a:lnTo>
                    <a:pt x="347" y="176"/>
                  </a:lnTo>
                  <a:lnTo>
                    <a:pt x="347" y="176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9" y="174"/>
                  </a:lnTo>
                  <a:lnTo>
                    <a:pt x="349" y="174"/>
                  </a:lnTo>
                  <a:lnTo>
                    <a:pt x="350" y="174"/>
                  </a:lnTo>
                  <a:lnTo>
                    <a:pt x="351" y="175"/>
                  </a:lnTo>
                  <a:lnTo>
                    <a:pt x="352" y="175"/>
                  </a:lnTo>
                  <a:lnTo>
                    <a:pt x="352" y="175"/>
                  </a:lnTo>
                  <a:lnTo>
                    <a:pt x="353" y="175"/>
                  </a:lnTo>
                  <a:lnTo>
                    <a:pt x="353" y="176"/>
                  </a:lnTo>
                  <a:lnTo>
                    <a:pt x="354" y="176"/>
                  </a:lnTo>
                  <a:lnTo>
                    <a:pt x="354" y="176"/>
                  </a:lnTo>
                  <a:lnTo>
                    <a:pt x="355" y="177"/>
                  </a:lnTo>
                  <a:lnTo>
                    <a:pt x="355" y="178"/>
                  </a:lnTo>
                  <a:lnTo>
                    <a:pt x="355" y="178"/>
                  </a:lnTo>
                  <a:lnTo>
                    <a:pt x="356" y="179"/>
                  </a:lnTo>
                  <a:lnTo>
                    <a:pt x="356" y="181"/>
                  </a:lnTo>
                  <a:lnTo>
                    <a:pt x="356" y="182"/>
                  </a:lnTo>
                  <a:lnTo>
                    <a:pt x="356" y="183"/>
                  </a:lnTo>
                  <a:lnTo>
                    <a:pt x="356" y="187"/>
                  </a:lnTo>
                  <a:lnTo>
                    <a:pt x="356" y="189"/>
                  </a:lnTo>
                  <a:lnTo>
                    <a:pt x="356" y="191"/>
                  </a:lnTo>
                  <a:lnTo>
                    <a:pt x="356" y="191"/>
                  </a:lnTo>
                  <a:lnTo>
                    <a:pt x="356" y="192"/>
                  </a:lnTo>
                  <a:lnTo>
                    <a:pt x="356" y="192"/>
                  </a:lnTo>
                  <a:lnTo>
                    <a:pt x="357" y="193"/>
                  </a:lnTo>
                  <a:lnTo>
                    <a:pt x="357" y="194"/>
                  </a:lnTo>
                  <a:lnTo>
                    <a:pt x="357" y="195"/>
                  </a:lnTo>
                  <a:lnTo>
                    <a:pt x="358" y="195"/>
                  </a:lnTo>
                  <a:lnTo>
                    <a:pt x="358" y="196"/>
                  </a:lnTo>
                  <a:lnTo>
                    <a:pt x="359" y="196"/>
                  </a:lnTo>
                  <a:lnTo>
                    <a:pt x="359" y="197"/>
                  </a:lnTo>
                  <a:lnTo>
                    <a:pt x="360" y="198"/>
                  </a:lnTo>
                  <a:lnTo>
                    <a:pt x="361" y="199"/>
                  </a:lnTo>
                  <a:lnTo>
                    <a:pt x="362" y="200"/>
                  </a:lnTo>
                  <a:lnTo>
                    <a:pt x="363" y="200"/>
                  </a:lnTo>
                  <a:lnTo>
                    <a:pt x="363" y="201"/>
                  </a:lnTo>
                  <a:lnTo>
                    <a:pt x="363" y="201"/>
                  </a:lnTo>
                  <a:lnTo>
                    <a:pt x="363" y="201"/>
                  </a:lnTo>
                  <a:lnTo>
                    <a:pt x="363" y="202"/>
                  </a:lnTo>
                  <a:lnTo>
                    <a:pt x="363" y="202"/>
                  </a:lnTo>
                  <a:lnTo>
                    <a:pt x="363" y="203"/>
                  </a:lnTo>
                  <a:lnTo>
                    <a:pt x="363" y="204"/>
                  </a:lnTo>
                  <a:lnTo>
                    <a:pt x="361" y="206"/>
                  </a:lnTo>
                  <a:lnTo>
                    <a:pt x="360" y="209"/>
                  </a:lnTo>
                  <a:lnTo>
                    <a:pt x="359" y="212"/>
                  </a:lnTo>
                  <a:lnTo>
                    <a:pt x="359" y="213"/>
                  </a:lnTo>
                  <a:lnTo>
                    <a:pt x="359" y="214"/>
                  </a:lnTo>
                  <a:lnTo>
                    <a:pt x="358" y="215"/>
                  </a:lnTo>
                  <a:lnTo>
                    <a:pt x="358" y="216"/>
                  </a:lnTo>
                  <a:lnTo>
                    <a:pt x="358" y="217"/>
                  </a:lnTo>
                  <a:lnTo>
                    <a:pt x="359" y="219"/>
                  </a:lnTo>
                  <a:lnTo>
                    <a:pt x="359" y="220"/>
                  </a:lnTo>
                  <a:lnTo>
                    <a:pt x="360" y="223"/>
                  </a:lnTo>
                  <a:lnTo>
                    <a:pt x="361" y="224"/>
                  </a:lnTo>
                  <a:lnTo>
                    <a:pt x="361" y="225"/>
                  </a:lnTo>
                  <a:lnTo>
                    <a:pt x="362" y="227"/>
                  </a:lnTo>
                  <a:lnTo>
                    <a:pt x="363" y="230"/>
                  </a:lnTo>
                  <a:lnTo>
                    <a:pt x="365" y="233"/>
                  </a:lnTo>
                  <a:lnTo>
                    <a:pt x="366" y="237"/>
                  </a:lnTo>
                  <a:lnTo>
                    <a:pt x="369" y="243"/>
                  </a:lnTo>
                  <a:lnTo>
                    <a:pt x="372" y="249"/>
                  </a:lnTo>
                  <a:lnTo>
                    <a:pt x="373" y="253"/>
                  </a:lnTo>
                  <a:lnTo>
                    <a:pt x="374" y="254"/>
                  </a:lnTo>
                  <a:lnTo>
                    <a:pt x="374" y="255"/>
                  </a:lnTo>
                  <a:lnTo>
                    <a:pt x="375" y="256"/>
                  </a:lnTo>
                  <a:lnTo>
                    <a:pt x="376" y="261"/>
                  </a:lnTo>
                  <a:lnTo>
                    <a:pt x="376" y="262"/>
                  </a:lnTo>
                  <a:lnTo>
                    <a:pt x="377" y="263"/>
                  </a:lnTo>
                  <a:lnTo>
                    <a:pt x="377" y="264"/>
                  </a:lnTo>
                  <a:lnTo>
                    <a:pt x="377" y="265"/>
                  </a:lnTo>
                  <a:lnTo>
                    <a:pt x="378" y="265"/>
                  </a:lnTo>
                  <a:lnTo>
                    <a:pt x="378" y="266"/>
                  </a:lnTo>
                  <a:lnTo>
                    <a:pt x="379" y="267"/>
                  </a:lnTo>
                  <a:lnTo>
                    <a:pt x="380" y="267"/>
                  </a:lnTo>
                  <a:lnTo>
                    <a:pt x="381" y="268"/>
                  </a:lnTo>
                  <a:lnTo>
                    <a:pt x="381" y="269"/>
                  </a:lnTo>
                  <a:lnTo>
                    <a:pt x="382" y="269"/>
                  </a:lnTo>
                  <a:lnTo>
                    <a:pt x="383" y="269"/>
                  </a:lnTo>
                  <a:lnTo>
                    <a:pt x="384" y="270"/>
                  </a:lnTo>
                  <a:lnTo>
                    <a:pt x="385" y="270"/>
                  </a:lnTo>
                  <a:lnTo>
                    <a:pt x="389" y="272"/>
                  </a:lnTo>
                  <a:lnTo>
                    <a:pt x="391" y="272"/>
                  </a:lnTo>
                  <a:lnTo>
                    <a:pt x="395" y="273"/>
                  </a:lnTo>
                  <a:lnTo>
                    <a:pt x="396" y="273"/>
                  </a:lnTo>
                  <a:lnTo>
                    <a:pt x="397" y="273"/>
                  </a:lnTo>
                  <a:lnTo>
                    <a:pt x="397" y="273"/>
                  </a:lnTo>
                  <a:lnTo>
                    <a:pt x="399" y="274"/>
                  </a:lnTo>
                  <a:lnTo>
                    <a:pt x="400" y="274"/>
                  </a:lnTo>
                  <a:lnTo>
                    <a:pt x="401" y="275"/>
                  </a:lnTo>
                  <a:lnTo>
                    <a:pt x="402" y="277"/>
                  </a:lnTo>
                  <a:lnTo>
                    <a:pt x="404" y="279"/>
                  </a:lnTo>
                  <a:lnTo>
                    <a:pt x="405" y="279"/>
                  </a:lnTo>
                  <a:lnTo>
                    <a:pt x="406" y="280"/>
                  </a:lnTo>
                  <a:lnTo>
                    <a:pt x="406" y="280"/>
                  </a:lnTo>
                  <a:lnTo>
                    <a:pt x="408" y="281"/>
                  </a:lnTo>
                  <a:lnTo>
                    <a:pt x="409" y="282"/>
                  </a:lnTo>
                  <a:lnTo>
                    <a:pt x="411" y="282"/>
                  </a:lnTo>
                  <a:lnTo>
                    <a:pt x="411" y="282"/>
                  </a:lnTo>
                  <a:lnTo>
                    <a:pt x="413" y="282"/>
                  </a:lnTo>
                  <a:lnTo>
                    <a:pt x="413" y="282"/>
                  </a:lnTo>
                  <a:lnTo>
                    <a:pt x="414" y="282"/>
                  </a:lnTo>
                  <a:lnTo>
                    <a:pt x="415" y="282"/>
                  </a:lnTo>
                  <a:lnTo>
                    <a:pt x="418" y="282"/>
                  </a:lnTo>
                  <a:lnTo>
                    <a:pt x="420" y="282"/>
                  </a:lnTo>
                  <a:lnTo>
                    <a:pt x="421" y="282"/>
                  </a:lnTo>
                  <a:lnTo>
                    <a:pt x="422" y="282"/>
                  </a:lnTo>
                  <a:lnTo>
                    <a:pt x="423" y="282"/>
                  </a:lnTo>
                  <a:lnTo>
                    <a:pt x="424" y="282"/>
                  </a:lnTo>
                  <a:lnTo>
                    <a:pt x="425" y="282"/>
                  </a:lnTo>
                  <a:lnTo>
                    <a:pt x="426" y="283"/>
                  </a:lnTo>
                  <a:lnTo>
                    <a:pt x="427" y="283"/>
                  </a:lnTo>
                  <a:lnTo>
                    <a:pt x="428" y="284"/>
                  </a:lnTo>
                  <a:lnTo>
                    <a:pt x="428" y="284"/>
                  </a:lnTo>
                  <a:lnTo>
                    <a:pt x="429" y="285"/>
                  </a:lnTo>
                  <a:lnTo>
                    <a:pt x="430" y="285"/>
                  </a:lnTo>
                  <a:lnTo>
                    <a:pt x="430" y="286"/>
                  </a:lnTo>
                  <a:lnTo>
                    <a:pt x="430" y="287"/>
                  </a:lnTo>
                  <a:lnTo>
                    <a:pt x="431" y="288"/>
                  </a:lnTo>
                  <a:lnTo>
                    <a:pt x="431" y="290"/>
                  </a:lnTo>
                  <a:lnTo>
                    <a:pt x="432" y="292"/>
                  </a:lnTo>
                  <a:lnTo>
                    <a:pt x="433" y="296"/>
                  </a:lnTo>
                  <a:lnTo>
                    <a:pt x="434" y="301"/>
                  </a:lnTo>
                  <a:lnTo>
                    <a:pt x="436" y="310"/>
                  </a:lnTo>
                  <a:lnTo>
                    <a:pt x="438" y="315"/>
                  </a:lnTo>
                  <a:lnTo>
                    <a:pt x="438" y="317"/>
                  </a:lnTo>
                  <a:lnTo>
                    <a:pt x="439" y="318"/>
                  </a:lnTo>
                  <a:lnTo>
                    <a:pt x="439" y="319"/>
                  </a:lnTo>
                  <a:lnTo>
                    <a:pt x="440" y="321"/>
                  </a:lnTo>
                  <a:lnTo>
                    <a:pt x="441" y="322"/>
                  </a:lnTo>
                  <a:lnTo>
                    <a:pt x="441" y="324"/>
                  </a:lnTo>
                  <a:lnTo>
                    <a:pt x="442" y="328"/>
                  </a:lnTo>
                  <a:lnTo>
                    <a:pt x="442" y="329"/>
                  </a:lnTo>
                  <a:lnTo>
                    <a:pt x="442" y="331"/>
                  </a:lnTo>
                  <a:lnTo>
                    <a:pt x="443" y="333"/>
                  </a:lnTo>
                  <a:lnTo>
                    <a:pt x="444" y="335"/>
                  </a:lnTo>
                  <a:lnTo>
                    <a:pt x="445" y="336"/>
                  </a:lnTo>
                  <a:lnTo>
                    <a:pt x="446" y="338"/>
                  </a:lnTo>
                  <a:lnTo>
                    <a:pt x="447" y="340"/>
                  </a:lnTo>
                  <a:lnTo>
                    <a:pt x="448" y="341"/>
                  </a:lnTo>
                  <a:lnTo>
                    <a:pt x="448" y="343"/>
                  </a:lnTo>
                  <a:lnTo>
                    <a:pt x="448" y="344"/>
                  </a:lnTo>
                  <a:lnTo>
                    <a:pt x="448" y="345"/>
                  </a:lnTo>
                  <a:lnTo>
                    <a:pt x="448" y="346"/>
                  </a:lnTo>
                  <a:lnTo>
                    <a:pt x="448" y="346"/>
                  </a:lnTo>
                  <a:lnTo>
                    <a:pt x="447" y="348"/>
                  </a:lnTo>
                  <a:lnTo>
                    <a:pt x="447" y="350"/>
                  </a:lnTo>
                  <a:lnTo>
                    <a:pt x="446" y="352"/>
                  </a:lnTo>
                  <a:lnTo>
                    <a:pt x="445" y="355"/>
                  </a:lnTo>
                  <a:lnTo>
                    <a:pt x="445" y="355"/>
                  </a:lnTo>
                  <a:lnTo>
                    <a:pt x="445" y="356"/>
                  </a:lnTo>
                  <a:lnTo>
                    <a:pt x="445" y="356"/>
                  </a:lnTo>
                  <a:lnTo>
                    <a:pt x="444" y="356"/>
                  </a:lnTo>
                  <a:lnTo>
                    <a:pt x="443" y="357"/>
                  </a:lnTo>
                  <a:lnTo>
                    <a:pt x="443" y="357"/>
                  </a:lnTo>
                  <a:lnTo>
                    <a:pt x="442" y="357"/>
                  </a:lnTo>
                  <a:lnTo>
                    <a:pt x="439" y="358"/>
                  </a:lnTo>
                  <a:lnTo>
                    <a:pt x="437" y="359"/>
                  </a:lnTo>
                  <a:lnTo>
                    <a:pt x="436" y="359"/>
                  </a:lnTo>
                  <a:lnTo>
                    <a:pt x="435" y="360"/>
                  </a:lnTo>
                  <a:lnTo>
                    <a:pt x="431" y="362"/>
                  </a:lnTo>
                  <a:lnTo>
                    <a:pt x="429" y="363"/>
                  </a:lnTo>
                  <a:lnTo>
                    <a:pt x="427" y="364"/>
                  </a:lnTo>
                  <a:lnTo>
                    <a:pt x="423" y="367"/>
                  </a:lnTo>
                  <a:lnTo>
                    <a:pt x="422" y="368"/>
                  </a:lnTo>
                  <a:lnTo>
                    <a:pt x="421" y="368"/>
                  </a:lnTo>
                  <a:lnTo>
                    <a:pt x="419" y="369"/>
                  </a:lnTo>
                  <a:lnTo>
                    <a:pt x="418" y="369"/>
                  </a:lnTo>
                  <a:lnTo>
                    <a:pt x="417" y="369"/>
                  </a:lnTo>
                  <a:lnTo>
                    <a:pt x="416" y="369"/>
                  </a:lnTo>
                  <a:lnTo>
                    <a:pt x="416" y="369"/>
                  </a:lnTo>
                  <a:lnTo>
                    <a:pt x="415" y="369"/>
                  </a:lnTo>
                  <a:lnTo>
                    <a:pt x="414" y="369"/>
                  </a:lnTo>
                  <a:lnTo>
                    <a:pt x="412" y="369"/>
                  </a:lnTo>
                  <a:lnTo>
                    <a:pt x="408" y="367"/>
                  </a:lnTo>
                  <a:lnTo>
                    <a:pt x="407" y="367"/>
                  </a:lnTo>
                  <a:lnTo>
                    <a:pt x="406" y="367"/>
                  </a:lnTo>
                  <a:lnTo>
                    <a:pt x="404" y="367"/>
                  </a:lnTo>
                  <a:lnTo>
                    <a:pt x="401" y="366"/>
                  </a:lnTo>
                  <a:lnTo>
                    <a:pt x="398" y="366"/>
                  </a:lnTo>
                  <a:lnTo>
                    <a:pt x="396" y="366"/>
                  </a:lnTo>
                  <a:lnTo>
                    <a:pt x="395" y="366"/>
                  </a:lnTo>
                  <a:lnTo>
                    <a:pt x="393" y="366"/>
                  </a:lnTo>
                  <a:lnTo>
                    <a:pt x="390" y="366"/>
                  </a:lnTo>
                  <a:lnTo>
                    <a:pt x="384" y="368"/>
                  </a:lnTo>
                  <a:lnTo>
                    <a:pt x="382" y="368"/>
                  </a:lnTo>
                  <a:lnTo>
                    <a:pt x="380" y="368"/>
                  </a:lnTo>
                  <a:lnTo>
                    <a:pt x="379" y="368"/>
                  </a:lnTo>
                  <a:lnTo>
                    <a:pt x="378" y="368"/>
                  </a:lnTo>
                  <a:lnTo>
                    <a:pt x="377" y="368"/>
                  </a:lnTo>
                  <a:lnTo>
                    <a:pt x="376" y="368"/>
                  </a:lnTo>
                  <a:lnTo>
                    <a:pt x="375" y="368"/>
                  </a:lnTo>
                  <a:lnTo>
                    <a:pt x="374" y="367"/>
                  </a:lnTo>
                  <a:lnTo>
                    <a:pt x="372" y="366"/>
                  </a:lnTo>
                  <a:lnTo>
                    <a:pt x="371" y="366"/>
                  </a:lnTo>
                  <a:lnTo>
                    <a:pt x="370" y="366"/>
                  </a:lnTo>
                  <a:lnTo>
                    <a:pt x="369" y="366"/>
                  </a:lnTo>
                  <a:lnTo>
                    <a:pt x="368" y="366"/>
                  </a:lnTo>
                  <a:lnTo>
                    <a:pt x="367" y="366"/>
                  </a:lnTo>
                  <a:lnTo>
                    <a:pt x="366" y="366"/>
                  </a:lnTo>
                  <a:lnTo>
                    <a:pt x="365" y="366"/>
                  </a:lnTo>
                  <a:lnTo>
                    <a:pt x="364" y="366"/>
                  </a:lnTo>
                  <a:lnTo>
                    <a:pt x="363" y="366"/>
                  </a:lnTo>
                  <a:lnTo>
                    <a:pt x="362" y="366"/>
                  </a:lnTo>
                  <a:lnTo>
                    <a:pt x="362" y="367"/>
                  </a:lnTo>
                  <a:lnTo>
                    <a:pt x="361" y="367"/>
                  </a:lnTo>
                  <a:lnTo>
                    <a:pt x="360" y="368"/>
                  </a:lnTo>
                  <a:lnTo>
                    <a:pt x="359" y="369"/>
                  </a:lnTo>
                  <a:lnTo>
                    <a:pt x="358" y="370"/>
                  </a:lnTo>
                  <a:lnTo>
                    <a:pt x="357" y="370"/>
                  </a:lnTo>
                  <a:lnTo>
                    <a:pt x="357" y="371"/>
                  </a:lnTo>
                  <a:lnTo>
                    <a:pt x="356" y="372"/>
                  </a:lnTo>
                  <a:lnTo>
                    <a:pt x="356" y="373"/>
                  </a:lnTo>
                  <a:lnTo>
                    <a:pt x="356" y="374"/>
                  </a:lnTo>
                  <a:lnTo>
                    <a:pt x="355" y="374"/>
                  </a:lnTo>
                  <a:lnTo>
                    <a:pt x="355" y="375"/>
                  </a:lnTo>
                  <a:lnTo>
                    <a:pt x="355" y="376"/>
                  </a:lnTo>
                  <a:lnTo>
                    <a:pt x="355" y="377"/>
                  </a:lnTo>
                  <a:lnTo>
                    <a:pt x="355" y="380"/>
                  </a:lnTo>
                  <a:lnTo>
                    <a:pt x="355" y="381"/>
                  </a:lnTo>
                  <a:lnTo>
                    <a:pt x="355" y="382"/>
                  </a:lnTo>
                  <a:lnTo>
                    <a:pt x="355" y="383"/>
                  </a:lnTo>
                  <a:lnTo>
                    <a:pt x="355" y="384"/>
                  </a:lnTo>
                  <a:lnTo>
                    <a:pt x="354" y="385"/>
                  </a:lnTo>
                  <a:lnTo>
                    <a:pt x="354" y="386"/>
                  </a:lnTo>
                  <a:lnTo>
                    <a:pt x="353" y="387"/>
                  </a:lnTo>
                  <a:lnTo>
                    <a:pt x="352" y="389"/>
                  </a:lnTo>
                  <a:lnTo>
                    <a:pt x="350" y="392"/>
                  </a:lnTo>
                  <a:lnTo>
                    <a:pt x="349" y="393"/>
                  </a:lnTo>
                  <a:lnTo>
                    <a:pt x="346" y="397"/>
                  </a:lnTo>
                  <a:lnTo>
                    <a:pt x="343" y="400"/>
                  </a:lnTo>
                  <a:lnTo>
                    <a:pt x="342" y="401"/>
                  </a:lnTo>
                  <a:lnTo>
                    <a:pt x="341" y="403"/>
                  </a:lnTo>
                  <a:lnTo>
                    <a:pt x="339" y="406"/>
                  </a:lnTo>
                  <a:lnTo>
                    <a:pt x="337" y="410"/>
                  </a:lnTo>
                  <a:lnTo>
                    <a:pt x="336" y="411"/>
                  </a:lnTo>
                  <a:lnTo>
                    <a:pt x="335" y="412"/>
                  </a:lnTo>
                  <a:lnTo>
                    <a:pt x="334" y="413"/>
                  </a:lnTo>
                  <a:lnTo>
                    <a:pt x="333" y="414"/>
                  </a:lnTo>
                  <a:lnTo>
                    <a:pt x="332" y="415"/>
                  </a:lnTo>
                  <a:lnTo>
                    <a:pt x="331" y="416"/>
                  </a:lnTo>
                  <a:lnTo>
                    <a:pt x="330" y="416"/>
                  </a:lnTo>
                  <a:lnTo>
                    <a:pt x="329" y="417"/>
                  </a:lnTo>
                  <a:lnTo>
                    <a:pt x="328" y="418"/>
                  </a:lnTo>
                  <a:lnTo>
                    <a:pt x="327" y="418"/>
                  </a:lnTo>
                  <a:lnTo>
                    <a:pt x="326" y="418"/>
                  </a:lnTo>
                  <a:lnTo>
                    <a:pt x="324" y="419"/>
                  </a:lnTo>
                  <a:lnTo>
                    <a:pt x="323" y="419"/>
                  </a:lnTo>
                  <a:lnTo>
                    <a:pt x="322" y="419"/>
                  </a:lnTo>
                  <a:lnTo>
                    <a:pt x="321" y="419"/>
                  </a:lnTo>
                  <a:lnTo>
                    <a:pt x="320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5" y="419"/>
                  </a:lnTo>
                  <a:lnTo>
                    <a:pt x="315" y="419"/>
                  </a:lnTo>
                  <a:lnTo>
                    <a:pt x="314" y="418"/>
                  </a:lnTo>
                  <a:lnTo>
                    <a:pt x="313" y="418"/>
                  </a:lnTo>
                  <a:lnTo>
                    <a:pt x="312" y="417"/>
                  </a:lnTo>
                  <a:lnTo>
                    <a:pt x="311" y="416"/>
                  </a:lnTo>
                  <a:lnTo>
                    <a:pt x="310" y="416"/>
                  </a:lnTo>
                  <a:lnTo>
                    <a:pt x="309" y="415"/>
                  </a:lnTo>
                  <a:lnTo>
                    <a:pt x="309" y="414"/>
                  </a:lnTo>
                  <a:lnTo>
                    <a:pt x="308" y="414"/>
                  </a:lnTo>
                  <a:lnTo>
                    <a:pt x="308" y="413"/>
                  </a:lnTo>
                  <a:lnTo>
                    <a:pt x="307" y="412"/>
                  </a:lnTo>
                  <a:lnTo>
                    <a:pt x="307" y="412"/>
                  </a:lnTo>
                  <a:lnTo>
                    <a:pt x="306" y="410"/>
                  </a:lnTo>
                  <a:lnTo>
                    <a:pt x="304" y="406"/>
                  </a:lnTo>
                  <a:lnTo>
                    <a:pt x="304" y="405"/>
                  </a:lnTo>
                  <a:lnTo>
                    <a:pt x="304" y="405"/>
                  </a:lnTo>
                  <a:lnTo>
                    <a:pt x="303" y="404"/>
                  </a:lnTo>
                  <a:lnTo>
                    <a:pt x="303" y="403"/>
                  </a:lnTo>
                  <a:lnTo>
                    <a:pt x="301" y="400"/>
                  </a:lnTo>
                  <a:lnTo>
                    <a:pt x="300" y="399"/>
                  </a:lnTo>
                  <a:lnTo>
                    <a:pt x="299" y="399"/>
                  </a:lnTo>
                  <a:lnTo>
                    <a:pt x="298" y="398"/>
                  </a:lnTo>
                  <a:lnTo>
                    <a:pt x="297" y="397"/>
                  </a:lnTo>
                  <a:lnTo>
                    <a:pt x="292" y="394"/>
                  </a:lnTo>
                  <a:lnTo>
                    <a:pt x="291" y="393"/>
                  </a:lnTo>
                  <a:lnTo>
                    <a:pt x="290" y="392"/>
                  </a:lnTo>
                  <a:lnTo>
                    <a:pt x="289" y="391"/>
                  </a:lnTo>
                  <a:lnTo>
                    <a:pt x="289" y="390"/>
                  </a:lnTo>
                  <a:lnTo>
                    <a:pt x="288" y="389"/>
                  </a:lnTo>
                  <a:lnTo>
                    <a:pt x="287" y="388"/>
                  </a:lnTo>
                  <a:lnTo>
                    <a:pt x="286" y="386"/>
                  </a:lnTo>
                  <a:lnTo>
                    <a:pt x="284" y="382"/>
                  </a:lnTo>
                  <a:lnTo>
                    <a:pt x="283" y="381"/>
                  </a:lnTo>
                  <a:lnTo>
                    <a:pt x="283" y="380"/>
                  </a:lnTo>
                  <a:lnTo>
                    <a:pt x="282" y="380"/>
                  </a:lnTo>
                  <a:lnTo>
                    <a:pt x="281" y="379"/>
                  </a:lnTo>
                  <a:lnTo>
                    <a:pt x="280" y="379"/>
                  </a:lnTo>
                  <a:lnTo>
                    <a:pt x="279" y="378"/>
                  </a:lnTo>
                  <a:lnTo>
                    <a:pt x="278" y="378"/>
                  </a:lnTo>
                  <a:lnTo>
                    <a:pt x="277" y="377"/>
                  </a:lnTo>
                  <a:lnTo>
                    <a:pt x="276" y="377"/>
                  </a:lnTo>
                  <a:lnTo>
                    <a:pt x="275" y="377"/>
                  </a:lnTo>
                  <a:lnTo>
                    <a:pt x="275" y="377"/>
                  </a:lnTo>
                  <a:lnTo>
                    <a:pt x="273" y="378"/>
                  </a:lnTo>
                  <a:lnTo>
                    <a:pt x="270" y="378"/>
                  </a:lnTo>
                  <a:lnTo>
                    <a:pt x="269" y="379"/>
                  </a:lnTo>
                  <a:lnTo>
                    <a:pt x="268" y="379"/>
                  </a:lnTo>
                  <a:lnTo>
                    <a:pt x="267" y="379"/>
                  </a:lnTo>
                  <a:lnTo>
                    <a:pt x="266" y="379"/>
                  </a:lnTo>
                  <a:lnTo>
                    <a:pt x="265" y="379"/>
                  </a:lnTo>
                  <a:lnTo>
                    <a:pt x="262" y="378"/>
                  </a:lnTo>
                  <a:lnTo>
                    <a:pt x="261" y="378"/>
                  </a:lnTo>
                  <a:lnTo>
                    <a:pt x="255" y="377"/>
                  </a:lnTo>
                  <a:lnTo>
                    <a:pt x="254" y="377"/>
                  </a:lnTo>
                  <a:lnTo>
                    <a:pt x="253" y="376"/>
                  </a:lnTo>
                  <a:lnTo>
                    <a:pt x="251" y="376"/>
                  </a:lnTo>
                  <a:lnTo>
                    <a:pt x="251" y="375"/>
                  </a:lnTo>
                  <a:lnTo>
                    <a:pt x="250" y="375"/>
                  </a:lnTo>
                  <a:lnTo>
                    <a:pt x="248" y="374"/>
                  </a:lnTo>
                  <a:lnTo>
                    <a:pt x="244" y="371"/>
                  </a:lnTo>
                  <a:lnTo>
                    <a:pt x="243" y="370"/>
                  </a:lnTo>
                  <a:lnTo>
                    <a:pt x="242" y="370"/>
                  </a:lnTo>
                  <a:lnTo>
                    <a:pt x="241" y="369"/>
                  </a:lnTo>
                  <a:lnTo>
                    <a:pt x="240" y="369"/>
                  </a:lnTo>
                  <a:lnTo>
                    <a:pt x="239" y="369"/>
                  </a:lnTo>
                  <a:lnTo>
                    <a:pt x="238" y="368"/>
                  </a:lnTo>
                  <a:lnTo>
                    <a:pt x="235" y="368"/>
                  </a:lnTo>
                  <a:lnTo>
                    <a:pt x="234" y="368"/>
                  </a:lnTo>
                  <a:lnTo>
                    <a:pt x="233" y="368"/>
                  </a:lnTo>
                  <a:lnTo>
                    <a:pt x="229" y="367"/>
                  </a:lnTo>
                  <a:lnTo>
                    <a:pt x="228" y="367"/>
                  </a:lnTo>
                  <a:lnTo>
                    <a:pt x="227" y="367"/>
                  </a:lnTo>
                  <a:lnTo>
                    <a:pt x="225" y="367"/>
                  </a:lnTo>
                  <a:lnTo>
                    <a:pt x="222" y="367"/>
                  </a:lnTo>
                  <a:lnTo>
                    <a:pt x="219" y="367"/>
                  </a:lnTo>
                  <a:lnTo>
                    <a:pt x="217" y="367"/>
                  </a:lnTo>
                  <a:lnTo>
                    <a:pt x="213" y="368"/>
                  </a:lnTo>
                  <a:lnTo>
                    <a:pt x="210" y="369"/>
                  </a:lnTo>
                  <a:lnTo>
                    <a:pt x="206" y="370"/>
                  </a:lnTo>
                  <a:lnTo>
                    <a:pt x="199" y="372"/>
                  </a:lnTo>
                  <a:lnTo>
                    <a:pt x="198" y="372"/>
                  </a:lnTo>
                  <a:lnTo>
                    <a:pt x="196" y="372"/>
                  </a:lnTo>
                  <a:lnTo>
                    <a:pt x="195" y="372"/>
                  </a:lnTo>
                  <a:lnTo>
                    <a:pt x="194" y="373"/>
                  </a:lnTo>
                  <a:lnTo>
                    <a:pt x="193" y="372"/>
                  </a:lnTo>
                  <a:lnTo>
                    <a:pt x="193" y="372"/>
                  </a:lnTo>
                  <a:lnTo>
                    <a:pt x="192" y="372"/>
                  </a:lnTo>
                  <a:lnTo>
                    <a:pt x="191" y="371"/>
                  </a:lnTo>
                  <a:lnTo>
                    <a:pt x="191" y="371"/>
                  </a:lnTo>
                  <a:lnTo>
                    <a:pt x="190" y="371"/>
                  </a:lnTo>
                  <a:lnTo>
                    <a:pt x="190" y="370"/>
                  </a:lnTo>
                  <a:lnTo>
                    <a:pt x="189" y="369"/>
                  </a:lnTo>
                  <a:lnTo>
                    <a:pt x="188" y="366"/>
                  </a:lnTo>
                  <a:lnTo>
                    <a:pt x="187" y="366"/>
                  </a:lnTo>
                  <a:lnTo>
                    <a:pt x="187" y="365"/>
                  </a:lnTo>
                  <a:lnTo>
                    <a:pt x="186" y="364"/>
                  </a:lnTo>
                  <a:lnTo>
                    <a:pt x="185" y="363"/>
                  </a:lnTo>
                  <a:lnTo>
                    <a:pt x="184" y="362"/>
                  </a:lnTo>
                  <a:lnTo>
                    <a:pt x="182" y="361"/>
                  </a:lnTo>
                  <a:lnTo>
                    <a:pt x="181" y="361"/>
                  </a:lnTo>
                  <a:lnTo>
                    <a:pt x="180" y="360"/>
                  </a:lnTo>
                  <a:lnTo>
                    <a:pt x="179" y="360"/>
                  </a:lnTo>
                  <a:lnTo>
                    <a:pt x="177" y="359"/>
                  </a:lnTo>
                  <a:lnTo>
                    <a:pt x="175" y="359"/>
                  </a:lnTo>
                  <a:lnTo>
                    <a:pt x="174" y="359"/>
                  </a:lnTo>
                  <a:lnTo>
                    <a:pt x="172" y="359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0" y="359"/>
                  </a:lnTo>
                  <a:lnTo>
                    <a:pt x="169" y="359"/>
                  </a:lnTo>
                  <a:lnTo>
                    <a:pt x="169" y="359"/>
                  </a:lnTo>
                  <a:lnTo>
                    <a:pt x="167" y="360"/>
                  </a:lnTo>
                  <a:lnTo>
                    <a:pt x="167" y="360"/>
                  </a:lnTo>
                  <a:lnTo>
                    <a:pt x="166" y="359"/>
                  </a:lnTo>
                  <a:lnTo>
                    <a:pt x="166" y="359"/>
                  </a:lnTo>
                  <a:lnTo>
                    <a:pt x="165" y="356"/>
                  </a:lnTo>
                  <a:lnTo>
                    <a:pt x="163" y="353"/>
                  </a:lnTo>
                  <a:lnTo>
                    <a:pt x="163" y="352"/>
                  </a:lnTo>
                  <a:lnTo>
                    <a:pt x="162" y="351"/>
                  </a:lnTo>
                  <a:lnTo>
                    <a:pt x="161" y="350"/>
                  </a:lnTo>
                  <a:lnTo>
                    <a:pt x="160" y="349"/>
                  </a:lnTo>
                  <a:lnTo>
                    <a:pt x="160" y="349"/>
                  </a:lnTo>
                  <a:lnTo>
                    <a:pt x="160" y="349"/>
                  </a:lnTo>
                  <a:lnTo>
                    <a:pt x="159" y="349"/>
                  </a:lnTo>
                  <a:lnTo>
                    <a:pt x="159" y="348"/>
                  </a:lnTo>
                  <a:lnTo>
                    <a:pt x="158" y="348"/>
                  </a:lnTo>
                  <a:lnTo>
                    <a:pt x="158" y="348"/>
                  </a:lnTo>
                  <a:lnTo>
                    <a:pt x="157" y="349"/>
                  </a:lnTo>
                  <a:lnTo>
                    <a:pt x="156" y="349"/>
                  </a:lnTo>
                  <a:lnTo>
                    <a:pt x="155" y="349"/>
                  </a:lnTo>
                  <a:lnTo>
                    <a:pt x="154" y="350"/>
                  </a:lnTo>
                  <a:lnTo>
                    <a:pt x="153" y="351"/>
                  </a:lnTo>
                  <a:lnTo>
                    <a:pt x="151" y="353"/>
                  </a:lnTo>
                  <a:lnTo>
                    <a:pt x="150" y="353"/>
                  </a:lnTo>
                  <a:lnTo>
                    <a:pt x="150" y="353"/>
                  </a:lnTo>
                  <a:lnTo>
                    <a:pt x="150" y="353"/>
                  </a:lnTo>
                  <a:lnTo>
                    <a:pt x="149" y="353"/>
                  </a:lnTo>
                  <a:lnTo>
                    <a:pt x="148" y="353"/>
                  </a:lnTo>
                  <a:lnTo>
                    <a:pt x="148" y="353"/>
                  </a:lnTo>
                  <a:lnTo>
                    <a:pt x="148" y="352"/>
                  </a:lnTo>
                  <a:lnTo>
                    <a:pt x="147" y="352"/>
                  </a:lnTo>
                  <a:lnTo>
                    <a:pt x="147" y="351"/>
                  </a:lnTo>
                  <a:lnTo>
                    <a:pt x="146" y="350"/>
                  </a:lnTo>
                  <a:lnTo>
                    <a:pt x="146" y="349"/>
                  </a:lnTo>
                  <a:lnTo>
                    <a:pt x="146" y="349"/>
                  </a:lnTo>
                  <a:lnTo>
                    <a:pt x="146" y="348"/>
                  </a:lnTo>
                  <a:lnTo>
                    <a:pt x="147" y="347"/>
                  </a:lnTo>
                  <a:lnTo>
                    <a:pt x="147" y="346"/>
                  </a:lnTo>
                  <a:lnTo>
                    <a:pt x="148" y="345"/>
                  </a:lnTo>
                  <a:lnTo>
                    <a:pt x="148" y="344"/>
                  </a:lnTo>
                  <a:lnTo>
                    <a:pt x="148" y="343"/>
                  </a:lnTo>
                  <a:lnTo>
                    <a:pt x="148" y="343"/>
                  </a:lnTo>
                  <a:lnTo>
                    <a:pt x="148" y="342"/>
                  </a:lnTo>
                  <a:lnTo>
                    <a:pt x="148" y="341"/>
                  </a:lnTo>
                  <a:lnTo>
                    <a:pt x="148" y="341"/>
                  </a:lnTo>
                  <a:lnTo>
                    <a:pt x="147" y="340"/>
                  </a:lnTo>
                  <a:lnTo>
                    <a:pt x="146" y="337"/>
                  </a:lnTo>
                  <a:lnTo>
                    <a:pt x="144" y="334"/>
                  </a:lnTo>
                  <a:lnTo>
                    <a:pt x="143" y="332"/>
                  </a:lnTo>
                  <a:lnTo>
                    <a:pt x="141" y="330"/>
                  </a:lnTo>
                  <a:lnTo>
                    <a:pt x="140" y="329"/>
                  </a:lnTo>
                  <a:lnTo>
                    <a:pt x="138" y="327"/>
                  </a:lnTo>
                  <a:lnTo>
                    <a:pt x="135" y="324"/>
                  </a:lnTo>
                  <a:lnTo>
                    <a:pt x="134" y="322"/>
                  </a:lnTo>
                  <a:lnTo>
                    <a:pt x="132" y="322"/>
                  </a:lnTo>
                  <a:lnTo>
                    <a:pt x="125" y="316"/>
                  </a:lnTo>
                  <a:lnTo>
                    <a:pt x="124" y="315"/>
                  </a:lnTo>
                  <a:lnTo>
                    <a:pt x="123" y="315"/>
                  </a:lnTo>
                  <a:lnTo>
                    <a:pt x="123" y="314"/>
                  </a:lnTo>
                  <a:lnTo>
                    <a:pt x="122" y="313"/>
                  </a:lnTo>
                  <a:lnTo>
                    <a:pt x="121" y="311"/>
                  </a:lnTo>
                  <a:lnTo>
                    <a:pt x="120" y="310"/>
                  </a:lnTo>
                  <a:lnTo>
                    <a:pt x="119" y="308"/>
                  </a:lnTo>
                  <a:lnTo>
                    <a:pt x="118" y="307"/>
                  </a:lnTo>
                  <a:lnTo>
                    <a:pt x="118" y="306"/>
                  </a:lnTo>
                  <a:lnTo>
                    <a:pt x="117" y="304"/>
                  </a:lnTo>
                  <a:lnTo>
                    <a:pt x="115" y="303"/>
                  </a:lnTo>
                  <a:lnTo>
                    <a:pt x="114" y="302"/>
                  </a:lnTo>
                  <a:lnTo>
                    <a:pt x="114" y="301"/>
                  </a:lnTo>
                  <a:lnTo>
                    <a:pt x="113" y="300"/>
                  </a:lnTo>
                  <a:lnTo>
                    <a:pt x="112" y="300"/>
                  </a:lnTo>
                  <a:lnTo>
                    <a:pt x="112" y="299"/>
                  </a:lnTo>
                  <a:lnTo>
                    <a:pt x="111" y="299"/>
                  </a:lnTo>
                  <a:lnTo>
                    <a:pt x="111" y="299"/>
                  </a:lnTo>
                  <a:lnTo>
                    <a:pt x="111" y="299"/>
                  </a:lnTo>
                  <a:lnTo>
                    <a:pt x="110" y="299"/>
                  </a:lnTo>
                  <a:lnTo>
                    <a:pt x="110" y="300"/>
                  </a:lnTo>
                  <a:lnTo>
                    <a:pt x="109" y="300"/>
                  </a:lnTo>
                  <a:lnTo>
                    <a:pt x="108" y="301"/>
                  </a:lnTo>
                  <a:lnTo>
                    <a:pt x="107" y="301"/>
                  </a:lnTo>
                  <a:lnTo>
                    <a:pt x="107" y="301"/>
                  </a:lnTo>
                  <a:lnTo>
                    <a:pt x="106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4" y="302"/>
                  </a:lnTo>
                  <a:lnTo>
                    <a:pt x="103" y="301"/>
                  </a:lnTo>
                  <a:lnTo>
                    <a:pt x="102" y="301"/>
                  </a:lnTo>
                  <a:lnTo>
                    <a:pt x="101" y="300"/>
                  </a:lnTo>
                  <a:lnTo>
                    <a:pt x="100" y="299"/>
                  </a:lnTo>
                  <a:lnTo>
                    <a:pt x="99" y="299"/>
                  </a:lnTo>
                  <a:lnTo>
                    <a:pt x="98" y="298"/>
                  </a:lnTo>
                  <a:lnTo>
                    <a:pt x="97" y="297"/>
                  </a:lnTo>
                  <a:lnTo>
                    <a:pt x="97" y="297"/>
                  </a:lnTo>
                  <a:lnTo>
                    <a:pt x="96" y="296"/>
                  </a:lnTo>
                  <a:lnTo>
                    <a:pt x="96" y="295"/>
                  </a:lnTo>
                  <a:lnTo>
                    <a:pt x="95" y="294"/>
                  </a:lnTo>
                  <a:lnTo>
                    <a:pt x="95" y="293"/>
                  </a:lnTo>
                  <a:lnTo>
                    <a:pt x="95" y="291"/>
                  </a:lnTo>
                  <a:lnTo>
                    <a:pt x="94" y="289"/>
                  </a:lnTo>
                  <a:lnTo>
                    <a:pt x="94" y="288"/>
                  </a:lnTo>
                  <a:lnTo>
                    <a:pt x="94" y="286"/>
                  </a:lnTo>
                  <a:lnTo>
                    <a:pt x="94" y="285"/>
                  </a:lnTo>
                  <a:lnTo>
                    <a:pt x="94" y="284"/>
                  </a:lnTo>
                  <a:lnTo>
                    <a:pt x="94" y="283"/>
                  </a:lnTo>
                  <a:lnTo>
                    <a:pt x="94" y="282"/>
                  </a:lnTo>
                  <a:lnTo>
                    <a:pt x="95" y="280"/>
                  </a:lnTo>
                  <a:lnTo>
                    <a:pt x="96" y="276"/>
                  </a:lnTo>
                  <a:lnTo>
                    <a:pt x="96" y="275"/>
                  </a:lnTo>
                  <a:lnTo>
                    <a:pt x="96" y="274"/>
                  </a:lnTo>
                  <a:lnTo>
                    <a:pt x="96" y="273"/>
                  </a:lnTo>
                  <a:lnTo>
                    <a:pt x="96" y="272"/>
                  </a:lnTo>
                  <a:lnTo>
                    <a:pt x="96" y="271"/>
                  </a:lnTo>
                  <a:lnTo>
                    <a:pt x="96" y="269"/>
                  </a:lnTo>
                  <a:lnTo>
                    <a:pt x="96" y="268"/>
                  </a:lnTo>
                  <a:lnTo>
                    <a:pt x="95" y="266"/>
                  </a:lnTo>
                  <a:lnTo>
                    <a:pt x="95" y="265"/>
                  </a:lnTo>
                  <a:lnTo>
                    <a:pt x="94" y="264"/>
                  </a:lnTo>
                  <a:lnTo>
                    <a:pt x="94" y="263"/>
                  </a:lnTo>
                  <a:lnTo>
                    <a:pt x="93" y="262"/>
                  </a:lnTo>
                  <a:lnTo>
                    <a:pt x="93" y="261"/>
                  </a:lnTo>
                  <a:lnTo>
                    <a:pt x="92" y="260"/>
                  </a:lnTo>
                  <a:lnTo>
                    <a:pt x="92" y="260"/>
                  </a:lnTo>
                  <a:lnTo>
                    <a:pt x="91" y="259"/>
                  </a:lnTo>
                  <a:lnTo>
                    <a:pt x="91" y="259"/>
                  </a:lnTo>
                  <a:lnTo>
                    <a:pt x="90" y="259"/>
                  </a:lnTo>
                  <a:lnTo>
                    <a:pt x="90" y="259"/>
                  </a:lnTo>
                  <a:lnTo>
                    <a:pt x="89" y="259"/>
                  </a:lnTo>
                  <a:lnTo>
                    <a:pt x="88" y="259"/>
                  </a:lnTo>
                  <a:lnTo>
                    <a:pt x="88" y="259"/>
                  </a:lnTo>
                  <a:lnTo>
                    <a:pt x="85" y="260"/>
                  </a:lnTo>
                  <a:lnTo>
                    <a:pt x="84" y="260"/>
                  </a:lnTo>
                  <a:lnTo>
                    <a:pt x="79" y="262"/>
                  </a:lnTo>
                  <a:lnTo>
                    <a:pt x="78" y="262"/>
                  </a:lnTo>
                  <a:lnTo>
                    <a:pt x="76" y="263"/>
                  </a:lnTo>
                  <a:lnTo>
                    <a:pt x="74" y="264"/>
                  </a:lnTo>
                  <a:lnTo>
                    <a:pt x="72" y="265"/>
                  </a:lnTo>
                  <a:lnTo>
                    <a:pt x="71" y="265"/>
                  </a:lnTo>
                  <a:lnTo>
                    <a:pt x="70" y="265"/>
                  </a:lnTo>
                  <a:lnTo>
                    <a:pt x="70" y="265"/>
                  </a:lnTo>
                  <a:lnTo>
                    <a:pt x="69" y="265"/>
                  </a:lnTo>
                  <a:lnTo>
                    <a:pt x="68" y="265"/>
                  </a:lnTo>
                  <a:lnTo>
                    <a:pt x="65" y="264"/>
                  </a:lnTo>
                  <a:lnTo>
                    <a:pt x="64" y="264"/>
                  </a:lnTo>
                  <a:lnTo>
                    <a:pt x="63" y="264"/>
                  </a:lnTo>
                  <a:lnTo>
                    <a:pt x="61" y="263"/>
                  </a:lnTo>
                  <a:lnTo>
                    <a:pt x="57" y="261"/>
                  </a:lnTo>
                  <a:lnTo>
                    <a:pt x="56" y="261"/>
                  </a:lnTo>
                  <a:lnTo>
                    <a:pt x="55" y="260"/>
                  </a:lnTo>
                  <a:lnTo>
                    <a:pt x="54" y="259"/>
                  </a:lnTo>
                  <a:lnTo>
                    <a:pt x="53" y="258"/>
                  </a:lnTo>
                  <a:lnTo>
                    <a:pt x="52" y="257"/>
                  </a:lnTo>
                  <a:lnTo>
                    <a:pt x="51" y="257"/>
                  </a:lnTo>
                  <a:lnTo>
                    <a:pt x="50" y="256"/>
                  </a:lnTo>
                  <a:lnTo>
                    <a:pt x="48" y="255"/>
                  </a:lnTo>
                  <a:lnTo>
                    <a:pt x="47" y="255"/>
                  </a:lnTo>
                  <a:lnTo>
                    <a:pt x="46" y="254"/>
                  </a:lnTo>
                  <a:lnTo>
                    <a:pt x="46" y="254"/>
                  </a:lnTo>
                  <a:lnTo>
                    <a:pt x="45" y="253"/>
                  </a:lnTo>
                  <a:lnTo>
                    <a:pt x="44" y="252"/>
                  </a:lnTo>
                  <a:lnTo>
                    <a:pt x="44" y="251"/>
                  </a:lnTo>
                  <a:lnTo>
                    <a:pt x="43" y="249"/>
                  </a:lnTo>
                  <a:lnTo>
                    <a:pt x="42" y="248"/>
                  </a:lnTo>
                  <a:lnTo>
                    <a:pt x="41" y="247"/>
                  </a:lnTo>
                  <a:lnTo>
                    <a:pt x="38" y="244"/>
                  </a:lnTo>
                  <a:lnTo>
                    <a:pt x="38" y="244"/>
                  </a:lnTo>
                  <a:lnTo>
                    <a:pt x="38" y="243"/>
                  </a:lnTo>
                  <a:lnTo>
                    <a:pt x="37" y="242"/>
                  </a:lnTo>
                  <a:lnTo>
                    <a:pt x="37" y="241"/>
                  </a:lnTo>
                  <a:lnTo>
                    <a:pt x="37" y="240"/>
                  </a:lnTo>
                  <a:lnTo>
                    <a:pt x="37" y="238"/>
                  </a:lnTo>
                  <a:lnTo>
                    <a:pt x="37" y="238"/>
                  </a:lnTo>
                  <a:lnTo>
                    <a:pt x="36" y="237"/>
                  </a:lnTo>
                  <a:lnTo>
                    <a:pt x="36" y="236"/>
                  </a:lnTo>
                  <a:lnTo>
                    <a:pt x="36" y="236"/>
                  </a:lnTo>
                  <a:lnTo>
                    <a:pt x="35" y="235"/>
                  </a:lnTo>
                  <a:lnTo>
                    <a:pt x="35" y="234"/>
                  </a:lnTo>
                  <a:lnTo>
                    <a:pt x="33" y="232"/>
                  </a:lnTo>
                  <a:lnTo>
                    <a:pt x="33" y="231"/>
                  </a:lnTo>
                  <a:lnTo>
                    <a:pt x="32" y="229"/>
                  </a:lnTo>
                  <a:lnTo>
                    <a:pt x="32" y="228"/>
                  </a:lnTo>
                  <a:lnTo>
                    <a:pt x="32" y="226"/>
                  </a:lnTo>
                  <a:lnTo>
                    <a:pt x="32" y="226"/>
                  </a:lnTo>
                  <a:lnTo>
                    <a:pt x="32" y="224"/>
                  </a:lnTo>
                  <a:lnTo>
                    <a:pt x="32" y="222"/>
                  </a:lnTo>
                  <a:lnTo>
                    <a:pt x="31" y="221"/>
                  </a:lnTo>
                  <a:lnTo>
                    <a:pt x="31" y="220"/>
                  </a:lnTo>
                  <a:lnTo>
                    <a:pt x="30" y="218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6" y="211"/>
                  </a:lnTo>
                  <a:lnTo>
                    <a:pt x="26" y="211"/>
                  </a:lnTo>
                  <a:lnTo>
                    <a:pt x="25" y="211"/>
                  </a:lnTo>
                  <a:lnTo>
                    <a:pt x="24" y="211"/>
                  </a:lnTo>
                  <a:lnTo>
                    <a:pt x="23" y="211"/>
                  </a:lnTo>
                  <a:lnTo>
                    <a:pt x="23" y="211"/>
                  </a:lnTo>
                  <a:lnTo>
                    <a:pt x="22" y="211"/>
                  </a:lnTo>
                  <a:lnTo>
                    <a:pt x="22" y="212"/>
                  </a:lnTo>
                  <a:lnTo>
                    <a:pt x="21" y="213"/>
                  </a:lnTo>
                  <a:lnTo>
                    <a:pt x="21" y="213"/>
                  </a:lnTo>
                  <a:lnTo>
                    <a:pt x="21" y="214"/>
                  </a:lnTo>
                  <a:lnTo>
                    <a:pt x="22" y="215"/>
                  </a:lnTo>
                  <a:lnTo>
                    <a:pt x="23" y="222"/>
                  </a:lnTo>
                  <a:lnTo>
                    <a:pt x="24" y="223"/>
                  </a:lnTo>
                  <a:lnTo>
                    <a:pt x="24" y="224"/>
                  </a:lnTo>
                  <a:lnTo>
                    <a:pt x="24" y="225"/>
                  </a:lnTo>
                  <a:lnTo>
                    <a:pt x="24" y="226"/>
                  </a:lnTo>
                  <a:lnTo>
                    <a:pt x="23" y="226"/>
                  </a:lnTo>
                  <a:lnTo>
                    <a:pt x="23" y="227"/>
                  </a:lnTo>
                  <a:lnTo>
                    <a:pt x="23" y="227"/>
                  </a:lnTo>
                  <a:lnTo>
                    <a:pt x="22" y="228"/>
                  </a:lnTo>
                  <a:lnTo>
                    <a:pt x="21" y="229"/>
                  </a:lnTo>
                  <a:lnTo>
                    <a:pt x="21" y="230"/>
                  </a:lnTo>
                  <a:lnTo>
                    <a:pt x="20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8" y="230"/>
                  </a:lnTo>
                  <a:lnTo>
                    <a:pt x="17" y="230"/>
                  </a:lnTo>
                  <a:lnTo>
                    <a:pt x="17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5" y="230"/>
                  </a:lnTo>
                  <a:lnTo>
                    <a:pt x="14" y="231"/>
                  </a:lnTo>
                  <a:lnTo>
                    <a:pt x="14" y="231"/>
                  </a:lnTo>
                  <a:lnTo>
                    <a:pt x="12" y="232"/>
                  </a:lnTo>
                  <a:lnTo>
                    <a:pt x="12" y="232"/>
                  </a:lnTo>
                  <a:lnTo>
                    <a:pt x="11" y="233"/>
                  </a:lnTo>
                  <a:lnTo>
                    <a:pt x="11" y="233"/>
                  </a:lnTo>
                  <a:lnTo>
                    <a:pt x="10" y="234"/>
                  </a:lnTo>
                  <a:lnTo>
                    <a:pt x="10" y="235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7"/>
                  </a:lnTo>
                  <a:lnTo>
                    <a:pt x="8" y="238"/>
                  </a:lnTo>
                  <a:lnTo>
                    <a:pt x="6" y="240"/>
                  </a:lnTo>
                  <a:lnTo>
                    <a:pt x="6" y="240"/>
                  </a:lnTo>
                  <a:lnTo>
                    <a:pt x="5" y="241"/>
                  </a:lnTo>
                  <a:lnTo>
                    <a:pt x="4" y="243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2" y="244"/>
                  </a:lnTo>
                  <a:lnTo>
                    <a:pt x="2" y="244"/>
                  </a:lnTo>
                  <a:lnTo>
                    <a:pt x="1" y="244"/>
                  </a:lnTo>
                  <a:lnTo>
                    <a:pt x="1" y="244"/>
                  </a:lnTo>
                  <a:lnTo>
                    <a:pt x="0" y="244"/>
                  </a:lnTo>
                  <a:lnTo>
                    <a:pt x="0" y="244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1" name="Freeform 40">
              <a:extLst>
                <a:ext uri="{FF2B5EF4-FFF2-40B4-BE49-F238E27FC236}">
                  <a16:creationId xmlns:a16="http://schemas.microsoft.com/office/drawing/2014/main" id="{95D70570-1CD6-5B92-D854-B78E8739CF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192"/>
              <a:ext cx="156" cy="244"/>
            </a:xfrm>
            <a:custGeom>
              <a:avLst/>
              <a:gdLst>
                <a:gd name="T0" fmla="*/ 65 w 156"/>
                <a:gd name="T1" fmla="*/ 239 h 244"/>
                <a:gd name="T2" fmla="*/ 64 w 156"/>
                <a:gd name="T3" fmla="*/ 235 h 244"/>
                <a:gd name="T4" fmla="*/ 66 w 156"/>
                <a:gd name="T5" fmla="*/ 223 h 244"/>
                <a:gd name="T6" fmla="*/ 65 w 156"/>
                <a:gd name="T7" fmla="*/ 220 h 244"/>
                <a:gd name="T8" fmla="*/ 61 w 156"/>
                <a:gd name="T9" fmla="*/ 217 h 244"/>
                <a:gd name="T10" fmla="*/ 56 w 156"/>
                <a:gd name="T11" fmla="*/ 217 h 244"/>
                <a:gd name="T12" fmla="*/ 50 w 156"/>
                <a:gd name="T13" fmla="*/ 220 h 244"/>
                <a:gd name="T14" fmla="*/ 44 w 156"/>
                <a:gd name="T15" fmla="*/ 223 h 244"/>
                <a:gd name="T16" fmla="*/ 35 w 156"/>
                <a:gd name="T17" fmla="*/ 231 h 244"/>
                <a:gd name="T18" fmla="*/ 32 w 156"/>
                <a:gd name="T19" fmla="*/ 234 h 244"/>
                <a:gd name="T20" fmla="*/ 22 w 156"/>
                <a:gd name="T21" fmla="*/ 235 h 244"/>
                <a:gd name="T22" fmla="*/ 20 w 156"/>
                <a:gd name="T23" fmla="*/ 234 h 244"/>
                <a:gd name="T24" fmla="*/ 19 w 156"/>
                <a:gd name="T25" fmla="*/ 230 h 244"/>
                <a:gd name="T26" fmla="*/ 20 w 156"/>
                <a:gd name="T27" fmla="*/ 222 h 244"/>
                <a:gd name="T28" fmla="*/ 19 w 156"/>
                <a:gd name="T29" fmla="*/ 221 h 244"/>
                <a:gd name="T30" fmla="*/ 13 w 156"/>
                <a:gd name="T31" fmla="*/ 222 h 244"/>
                <a:gd name="T32" fmla="*/ 9 w 156"/>
                <a:gd name="T33" fmla="*/ 222 h 244"/>
                <a:gd name="T34" fmla="*/ 5 w 156"/>
                <a:gd name="T35" fmla="*/ 217 h 244"/>
                <a:gd name="T36" fmla="*/ 0 w 156"/>
                <a:gd name="T37" fmla="*/ 211 h 244"/>
                <a:gd name="T38" fmla="*/ 0 w 156"/>
                <a:gd name="T39" fmla="*/ 208 h 244"/>
                <a:gd name="T40" fmla="*/ 2 w 156"/>
                <a:gd name="T41" fmla="*/ 201 h 244"/>
                <a:gd name="T42" fmla="*/ 4 w 156"/>
                <a:gd name="T43" fmla="*/ 195 h 244"/>
                <a:gd name="T44" fmla="*/ 4 w 156"/>
                <a:gd name="T45" fmla="*/ 190 h 244"/>
                <a:gd name="T46" fmla="*/ 10 w 156"/>
                <a:gd name="T47" fmla="*/ 182 h 244"/>
                <a:gd name="T48" fmla="*/ 12 w 156"/>
                <a:gd name="T49" fmla="*/ 177 h 244"/>
                <a:gd name="T50" fmla="*/ 11 w 156"/>
                <a:gd name="T51" fmla="*/ 174 h 244"/>
                <a:gd name="T52" fmla="*/ 9 w 156"/>
                <a:gd name="T53" fmla="*/ 170 h 244"/>
                <a:gd name="T54" fmla="*/ 3 w 156"/>
                <a:gd name="T55" fmla="*/ 162 h 244"/>
                <a:gd name="T56" fmla="*/ 2 w 156"/>
                <a:gd name="T57" fmla="*/ 160 h 244"/>
                <a:gd name="T58" fmla="*/ 4 w 156"/>
                <a:gd name="T59" fmla="*/ 149 h 244"/>
                <a:gd name="T60" fmla="*/ 8 w 156"/>
                <a:gd name="T61" fmla="*/ 142 h 244"/>
                <a:gd name="T62" fmla="*/ 17 w 156"/>
                <a:gd name="T63" fmla="*/ 130 h 244"/>
                <a:gd name="T64" fmla="*/ 19 w 156"/>
                <a:gd name="T65" fmla="*/ 124 h 244"/>
                <a:gd name="T66" fmla="*/ 20 w 156"/>
                <a:gd name="T67" fmla="*/ 114 h 244"/>
                <a:gd name="T68" fmla="*/ 20 w 156"/>
                <a:gd name="T69" fmla="*/ 104 h 244"/>
                <a:gd name="T70" fmla="*/ 23 w 156"/>
                <a:gd name="T71" fmla="*/ 96 h 244"/>
                <a:gd name="T72" fmla="*/ 24 w 156"/>
                <a:gd name="T73" fmla="*/ 88 h 244"/>
                <a:gd name="T74" fmla="*/ 34 w 156"/>
                <a:gd name="T75" fmla="*/ 76 h 244"/>
                <a:gd name="T76" fmla="*/ 40 w 156"/>
                <a:gd name="T77" fmla="*/ 71 h 244"/>
                <a:gd name="T78" fmla="*/ 46 w 156"/>
                <a:gd name="T79" fmla="*/ 66 h 244"/>
                <a:gd name="T80" fmla="*/ 52 w 156"/>
                <a:gd name="T81" fmla="*/ 63 h 244"/>
                <a:gd name="T82" fmla="*/ 60 w 156"/>
                <a:gd name="T83" fmla="*/ 54 h 244"/>
                <a:gd name="T84" fmla="*/ 64 w 156"/>
                <a:gd name="T85" fmla="*/ 52 h 244"/>
                <a:gd name="T86" fmla="*/ 70 w 156"/>
                <a:gd name="T87" fmla="*/ 53 h 244"/>
                <a:gd name="T88" fmla="*/ 74 w 156"/>
                <a:gd name="T89" fmla="*/ 52 h 244"/>
                <a:gd name="T90" fmla="*/ 76 w 156"/>
                <a:gd name="T91" fmla="*/ 48 h 244"/>
                <a:gd name="T92" fmla="*/ 77 w 156"/>
                <a:gd name="T93" fmla="*/ 34 h 244"/>
                <a:gd name="T94" fmla="*/ 79 w 156"/>
                <a:gd name="T95" fmla="*/ 33 h 244"/>
                <a:gd name="T96" fmla="*/ 86 w 156"/>
                <a:gd name="T97" fmla="*/ 28 h 244"/>
                <a:gd name="T98" fmla="*/ 96 w 156"/>
                <a:gd name="T99" fmla="*/ 24 h 244"/>
                <a:gd name="T100" fmla="*/ 104 w 156"/>
                <a:gd name="T101" fmla="*/ 24 h 244"/>
                <a:gd name="T102" fmla="*/ 116 w 156"/>
                <a:gd name="T103" fmla="*/ 24 h 244"/>
                <a:gd name="T104" fmla="*/ 124 w 156"/>
                <a:gd name="T105" fmla="*/ 22 h 244"/>
                <a:gd name="T106" fmla="*/ 129 w 156"/>
                <a:gd name="T107" fmla="*/ 24 h 244"/>
                <a:gd name="T108" fmla="*/ 136 w 156"/>
                <a:gd name="T109" fmla="*/ 23 h 244"/>
                <a:gd name="T110" fmla="*/ 144 w 156"/>
                <a:gd name="T111" fmla="*/ 18 h 244"/>
                <a:gd name="T112" fmla="*/ 150 w 156"/>
                <a:gd name="T113" fmla="*/ 11 h 244"/>
                <a:gd name="T114" fmla="*/ 153 w 156"/>
                <a:gd name="T115" fmla="*/ 2 h 244"/>
                <a:gd name="T116" fmla="*/ 155 w 156"/>
                <a:gd name="T117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6" h="244">
                  <a:moveTo>
                    <a:pt x="68" y="244"/>
                  </a:moveTo>
                  <a:lnTo>
                    <a:pt x="67" y="243"/>
                  </a:lnTo>
                  <a:lnTo>
                    <a:pt x="66" y="242"/>
                  </a:lnTo>
                  <a:lnTo>
                    <a:pt x="65" y="241"/>
                  </a:lnTo>
                  <a:lnTo>
                    <a:pt x="65" y="239"/>
                  </a:lnTo>
                  <a:lnTo>
                    <a:pt x="64" y="238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2"/>
                  </a:lnTo>
                  <a:lnTo>
                    <a:pt x="65" y="228"/>
                  </a:lnTo>
                  <a:lnTo>
                    <a:pt x="66" y="226"/>
                  </a:lnTo>
                  <a:lnTo>
                    <a:pt x="66" y="224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2"/>
                  </a:lnTo>
                  <a:lnTo>
                    <a:pt x="66" y="221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8" y="217"/>
                  </a:lnTo>
                  <a:lnTo>
                    <a:pt x="56" y="217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3" y="218"/>
                  </a:lnTo>
                  <a:lnTo>
                    <a:pt x="51" y="219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8" y="220"/>
                  </a:lnTo>
                  <a:lnTo>
                    <a:pt x="47" y="221"/>
                  </a:lnTo>
                  <a:lnTo>
                    <a:pt x="45" y="222"/>
                  </a:lnTo>
                  <a:lnTo>
                    <a:pt x="44" y="223"/>
                  </a:lnTo>
                  <a:lnTo>
                    <a:pt x="41" y="226"/>
                  </a:lnTo>
                  <a:lnTo>
                    <a:pt x="38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5" y="231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3" y="234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1" y="235"/>
                  </a:lnTo>
                  <a:lnTo>
                    <a:pt x="30" y="235"/>
                  </a:lnTo>
                  <a:lnTo>
                    <a:pt x="27" y="235"/>
                  </a:lnTo>
                  <a:lnTo>
                    <a:pt x="23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1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19" y="232"/>
                  </a:lnTo>
                  <a:lnTo>
                    <a:pt x="19" y="231"/>
                  </a:lnTo>
                  <a:lnTo>
                    <a:pt x="19" y="230"/>
                  </a:lnTo>
                  <a:lnTo>
                    <a:pt x="19" y="229"/>
                  </a:lnTo>
                  <a:lnTo>
                    <a:pt x="20" y="226"/>
                  </a:lnTo>
                  <a:lnTo>
                    <a:pt x="20" y="224"/>
                  </a:lnTo>
                  <a:lnTo>
                    <a:pt x="20" y="223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0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6" y="222"/>
                  </a:lnTo>
                  <a:lnTo>
                    <a:pt x="15" y="222"/>
                  </a:lnTo>
                  <a:lnTo>
                    <a:pt x="13" y="222"/>
                  </a:lnTo>
                  <a:lnTo>
                    <a:pt x="12" y="223"/>
                  </a:lnTo>
                  <a:lnTo>
                    <a:pt x="11" y="223"/>
                  </a:lnTo>
                  <a:lnTo>
                    <a:pt x="10" y="223"/>
                  </a:lnTo>
                  <a:lnTo>
                    <a:pt x="10" y="222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8" y="221"/>
                  </a:lnTo>
                  <a:lnTo>
                    <a:pt x="7" y="220"/>
                  </a:lnTo>
                  <a:lnTo>
                    <a:pt x="6" y="220"/>
                  </a:lnTo>
                  <a:lnTo>
                    <a:pt x="5" y="217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0" y="206"/>
                  </a:lnTo>
                  <a:lnTo>
                    <a:pt x="0" y="205"/>
                  </a:lnTo>
                  <a:lnTo>
                    <a:pt x="1" y="204"/>
                  </a:lnTo>
                  <a:lnTo>
                    <a:pt x="2" y="201"/>
                  </a:lnTo>
                  <a:lnTo>
                    <a:pt x="3" y="199"/>
                  </a:lnTo>
                  <a:lnTo>
                    <a:pt x="3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4" y="193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6" y="188"/>
                  </a:lnTo>
                  <a:lnTo>
                    <a:pt x="7" y="186"/>
                  </a:lnTo>
                  <a:lnTo>
                    <a:pt x="9" y="183"/>
                  </a:lnTo>
                  <a:lnTo>
                    <a:pt x="10" y="182"/>
                  </a:lnTo>
                  <a:lnTo>
                    <a:pt x="10" y="181"/>
                  </a:lnTo>
                  <a:lnTo>
                    <a:pt x="11" y="180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7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5"/>
                  </a:lnTo>
                  <a:lnTo>
                    <a:pt x="12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0" y="172"/>
                  </a:lnTo>
                  <a:lnTo>
                    <a:pt x="10" y="171"/>
                  </a:lnTo>
                  <a:lnTo>
                    <a:pt x="9" y="170"/>
                  </a:lnTo>
                  <a:lnTo>
                    <a:pt x="5" y="166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3" y="156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7"/>
                  </a:lnTo>
                  <a:lnTo>
                    <a:pt x="6" y="145"/>
                  </a:lnTo>
                  <a:lnTo>
                    <a:pt x="7" y="143"/>
                  </a:lnTo>
                  <a:lnTo>
                    <a:pt x="8" y="142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18" y="129"/>
                  </a:lnTo>
                  <a:lnTo>
                    <a:pt x="18" y="128"/>
                  </a:lnTo>
                  <a:lnTo>
                    <a:pt x="19" y="127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20" y="123"/>
                  </a:lnTo>
                  <a:lnTo>
                    <a:pt x="20" y="122"/>
                  </a:lnTo>
                  <a:lnTo>
                    <a:pt x="20" y="120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9" y="106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3"/>
                  </a:lnTo>
                  <a:lnTo>
                    <a:pt x="22" y="99"/>
                  </a:lnTo>
                  <a:lnTo>
                    <a:pt x="23" y="98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7" y="84"/>
                  </a:lnTo>
                  <a:lnTo>
                    <a:pt x="32" y="78"/>
                  </a:lnTo>
                  <a:lnTo>
                    <a:pt x="34" y="76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8" y="72"/>
                  </a:lnTo>
                  <a:lnTo>
                    <a:pt x="39" y="71"/>
                  </a:lnTo>
                  <a:lnTo>
                    <a:pt x="40" y="71"/>
                  </a:lnTo>
                  <a:lnTo>
                    <a:pt x="42" y="68"/>
                  </a:lnTo>
                  <a:lnTo>
                    <a:pt x="43" y="68"/>
                  </a:lnTo>
                  <a:lnTo>
                    <a:pt x="44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8" y="57"/>
                  </a:lnTo>
                  <a:lnTo>
                    <a:pt x="59" y="55"/>
                  </a:lnTo>
                  <a:lnTo>
                    <a:pt x="60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49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5"/>
                  </a:lnTo>
                  <a:lnTo>
                    <a:pt x="77" y="42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8" y="27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7" y="23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8" y="24"/>
                  </a:lnTo>
                  <a:lnTo>
                    <a:pt x="129" y="24"/>
                  </a:lnTo>
                  <a:lnTo>
                    <a:pt x="131" y="24"/>
                  </a:lnTo>
                  <a:lnTo>
                    <a:pt x="132" y="24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6" y="23"/>
                  </a:lnTo>
                  <a:lnTo>
                    <a:pt x="137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2" y="19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9" y="12"/>
                  </a:lnTo>
                  <a:lnTo>
                    <a:pt x="150" y="11"/>
                  </a:lnTo>
                  <a:lnTo>
                    <a:pt x="151" y="10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7"/>
                  </a:lnTo>
                  <a:lnTo>
                    <a:pt x="153" y="2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6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2" name="Freeform 42">
              <a:extLst>
                <a:ext uri="{FF2B5EF4-FFF2-40B4-BE49-F238E27FC236}">
                  <a16:creationId xmlns:a16="http://schemas.microsoft.com/office/drawing/2014/main" id="{5C6B5FE2-9D66-62CC-564F-6A138C6CBE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6" y="3069"/>
              <a:ext cx="633" cy="513"/>
            </a:xfrm>
            <a:custGeom>
              <a:avLst/>
              <a:gdLst>
                <a:gd name="T0" fmla="*/ 487 w 633"/>
                <a:gd name="T1" fmla="*/ 20 h 513"/>
                <a:gd name="T2" fmla="*/ 512 w 633"/>
                <a:gd name="T3" fmla="*/ 53 h 513"/>
                <a:gd name="T4" fmla="*/ 516 w 633"/>
                <a:gd name="T5" fmla="*/ 105 h 513"/>
                <a:gd name="T6" fmla="*/ 525 w 633"/>
                <a:gd name="T7" fmla="*/ 128 h 513"/>
                <a:gd name="T8" fmla="*/ 553 w 633"/>
                <a:gd name="T9" fmla="*/ 151 h 513"/>
                <a:gd name="T10" fmla="*/ 587 w 633"/>
                <a:gd name="T11" fmla="*/ 174 h 513"/>
                <a:gd name="T12" fmla="*/ 583 w 633"/>
                <a:gd name="T13" fmla="*/ 217 h 513"/>
                <a:gd name="T14" fmla="*/ 599 w 633"/>
                <a:gd name="T15" fmla="*/ 238 h 513"/>
                <a:gd name="T16" fmla="*/ 591 w 633"/>
                <a:gd name="T17" fmla="*/ 260 h 513"/>
                <a:gd name="T18" fmla="*/ 603 w 633"/>
                <a:gd name="T19" fmla="*/ 280 h 513"/>
                <a:gd name="T20" fmla="*/ 632 w 633"/>
                <a:gd name="T21" fmla="*/ 303 h 513"/>
                <a:gd name="T22" fmla="*/ 624 w 633"/>
                <a:gd name="T23" fmla="*/ 350 h 513"/>
                <a:gd name="T24" fmla="*/ 604 w 633"/>
                <a:gd name="T25" fmla="*/ 375 h 513"/>
                <a:gd name="T26" fmla="*/ 566 w 633"/>
                <a:gd name="T27" fmla="*/ 394 h 513"/>
                <a:gd name="T28" fmla="*/ 532 w 633"/>
                <a:gd name="T29" fmla="*/ 420 h 513"/>
                <a:gd name="T30" fmla="*/ 549 w 633"/>
                <a:gd name="T31" fmla="*/ 455 h 513"/>
                <a:gd name="T32" fmla="*/ 524 w 633"/>
                <a:gd name="T33" fmla="*/ 473 h 513"/>
                <a:gd name="T34" fmla="*/ 473 w 633"/>
                <a:gd name="T35" fmla="*/ 469 h 513"/>
                <a:gd name="T36" fmla="*/ 455 w 633"/>
                <a:gd name="T37" fmla="*/ 494 h 513"/>
                <a:gd name="T38" fmla="*/ 430 w 633"/>
                <a:gd name="T39" fmla="*/ 479 h 513"/>
                <a:gd name="T40" fmla="*/ 394 w 633"/>
                <a:gd name="T41" fmla="*/ 475 h 513"/>
                <a:gd name="T42" fmla="*/ 369 w 633"/>
                <a:gd name="T43" fmla="*/ 512 h 513"/>
                <a:gd name="T44" fmla="*/ 342 w 633"/>
                <a:gd name="T45" fmla="*/ 501 h 513"/>
                <a:gd name="T46" fmla="*/ 298 w 633"/>
                <a:gd name="T47" fmla="*/ 492 h 513"/>
                <a:gd name="T48" fmla="*/ 273 w 633"/>
                <a:gd name="T49" fmla="*/ 499 h 513"/>
                <a:gd name="T50" fmla="*/ 239 w 633"/>
                <a:gd name="T51" fmla="*/ 498 h 513"/>
                <a:gd name="T52" fmla="*/ 195 w 633"/>
                <a:gd name="T53" fmla="*/ 493 h 513"/>
                <a:gd name="T54" fmla="*/ 164 w 633"/>
                <a:gd name="T55" fmla="*/ 508 h 513"/>
                <a:gd name="T56" fmla="*/ 127 w 633"/>
                <a:gd name="T57" fmla="*/ 508 h 513"/>
                <a:gd name="T58" fmla="*/ 101 w 633"/>
                <a:gd name="T59" fmla="*/ 493 h 513"/>
                <a:gd name="T60" fmla="*/ 87 w 633"/>
                <a:gd name="T61" fmla="*/ 456 h 513"/>
                <a:gd name="T62" fmla="*/ 84 w 633"/>
                <a:gd name="T63" fmla="*/ 439 h 513"/>
                <a:gd name="T64" fmla="*/ 78 w 633"/>
                <a:gd name="T65" fmla="*/ 424 h 513"/>
                <a:gd name="T66" fmla="*/ 111 w 633"/>
                <a:gd name="T67" fmla="*/ 404 h 513"/>
                <a:gd name="T68" fmla="*/ 117 w 633"/>
                <a:gd name="T69" fmla="*/ 367 h 513"/>
                <a:gd name="T70" fmla="*/ 110 w 633"/>
                <a:gd name="T71" fmla="*/ 311 h 513"/>
                <a:gd name="T72" fmla="*/ 74 w 633"/>
                <a:gd name="T73" fmla="*/ 283 h 513"/>
                <a:gd name="T74" fmla="*/ 33 w 633"/>
                <a:gd name="T75" fmla="*/ 269 h 513"/>
                <a:gd name="T76" fmla="*/ 2 w 633"/>
                <a:gd name="T77" fmla="*/ 265 h 513"/>
                <a:gd name="T78" fmla="*/ 5 w 633"/>
                <a:gd name="T79" fmla="*/ 235 h 513"/>
                <a:gd name="T80" fmla="*/ 27 w 633"/>
                <a:gd name="T81" fmla="*/ 212 h 513"/>
                <a:gd name="T82" fmla="*/ 69 w 633"/>
                <a:gd name="T83" fmla="*/ 184 h 513"/>
                <a:gd name="T84" fmla="*/ 113 w 633"/>
                <a:gd name="T85" fmla="*/ 171 h 513"/>
                <a:gd name="T86" fmla="*/ 149 w 633"/>
                <a:gd name="T87" fmla="*/ 158 h 513"/>
                <a:gd name="T88" fmla="*/ 176 w 633"/>
                <a:gd name="T89" fmla="*/ 133 h 513"/>
                <a:gd name="T90" fmla="*/ 236 w 633"/>
                <a:gd name="T91" fmla="*/ 127 h 513"/>
                <a:gd name="T92" fmla="*/ 287 w 633"/>
                <a:gd name="T93" fmla="*/ 120 h 513"/>
                <a:gd name="T94" fmla="*/ 299 w 633"/>
                <a:gd name="T95" fmla="*/ 88 h 513"/>
                <a:gd name="T96" fmla="*/ 318 w 633"/>
                <a:gd name="T97" fmla="*/ 59 h 513"/>
                <a:gd name="T98" fmla="*/ 340 w 633"/>
                <a:gd name="T99" fmla="*/ 53 h 513"/>
                <a:gd name="T100" fmla="*/ 361 w 633"/>
                <a:gd name="T101" fmla="*/ 65 h 513"/>
                <a:gd name="T102" fmla="*/ 404 w 633"/>
                <a:gd name="T103" fmla="*/ 32 h 513"/>
                <a:gd name="T104" fmla="*/ 435 w 633"/>
                <a:gd name="T105" fmla="*/ 21 h 513"/>
                <a:gd name="T106" fmla="*/ 306 w 633"/>
                <a:gd name="T107" fmla="*/ 213 h 513"/>
                <a:gd name="T108" fmla="*/ 269 w 633"/>
                <a:gd name="T109" fmla="*/ 227 h 513"/>
                <a:gd name="T110" fmla="*/ 258 w 633"/>
                <a:gd name="T111" fmla="*/ 252 h 513"/>
                <a:gd name="T112" fmla="*/ 269 w 633"/>
                <a:gd name="T113" fmla="*/ 285 h 513"/>
                <a:gd name="T114" fmla="*/ 280 w 633"/>
                <a:gd name="T115" fmla="*/ 308 h 513"/>
                <a:gd name="T116" fmla="*/ 326 w 633"/>
                <a:gd name="T117" fmla="*/ 289 h 513"/>
                <a:gd name="T118" fmla="*/ 368 w 633"/>
                <a:gd name="T119" fmla="*/ 286 h 513"/>
                <a:gd name="T120" fmla="*/ 383 w 633"/>
                <a:gd name="T121" fmla="*/ 252 h 513"/>
                <a:gd name="T122" fmla="*/ 356 w 633"/>
                <a:gd name="T123" fmla="*/ 222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3" h="513">
                  <a:moveTo>
                    <a:pt x="451" y="0"/>
                  </a:moveTo>
                  <a:lnTo>
                    <a:pt x="451" y="0"/>
                  </a:lnTo>
                  <a:lnTo>
                    <a:pt x="452" y="0"/>
                  </a:lnTo>
                  <a:lnTo>
                    <a:pt x="452" y="1"/>
                  </a:lnTo>
                  <a:lnTo>
                    <a:pt x="453" y="1"/>
                  </a:lnTo>
                  <a:lnTo>
                    <a:pt x="455" y="3"/>
                  </a:lnTo>
                  <a:lnTo>
                    <a:pt x="456" y="4"/>
                  </a:lnTo>
                  <a:lnTo>
                    <a:pt x="457" y="5"/>
                  </a:lnTo>
                  <a:lnTo>
                    <a:pt x="459" y="6"/>
                  </a:lnTo>
                  <a:lnTo>
                    <a:pt x="460" y="7"/>
                  </a:lnTo>
                  <a:lnTo>
                    <a:pt x="460" y="7"/>
                  </a:lnTo>
                  <a:lnTo>
                    <a:pt x="461" y="8"/>
                  </a:lnTo>
                  <a:lnTo>
                    <a:pt x="461" y="9"/>
                  </a:lnTo>
                  <a:lnTo>
                    <a:pt x="462" y="9"/>
                  </a:lnTo>
                  <a:lnTo>
                    <a:pt x="463" y="9"/>
                  </a:lnTo>
                  <a:lnTo>
                    <a:pt x="463" y="10"/>
                  </a:lnTo>
                  <a:lnTo>
                    <a:pt x="464" y="10"/>
                  </a:lnTo>
                  <a:lnTo>
                    <a:pt x="465" y="10"/>
                  </a:lnTo>
                  <a:lnTo>
                    <a:pt x="465" y="10"/>
                  </a:lnTo>
                  <a:lnTo>
                    <a:pt x="465" y="9"/>
                  </a:lnTo>
                  <a:lnTo>
                    <a:pt x="466" y="9"/>
                  </a:lnTo>
                  <a:lnTo>
                    <a:pt x="467" y="8"/>
                  </a:lnTo>
                  <a:lnTo>
                    <a:pt x="468" y="8"/>
                  </a:lnTo>
                  <a:lnTo>
                    <a:pt x="468" y="8"/>
                  </a:lnTo>
                  <a:lnTo>
                    <a:pt x="469" y="7"/>
                  </a:lnTo>
                  <a:lnTo>
                    <a:pt x="470" y="7"/>
                  </a:lnTo>
                  <a:lnTo>
                    <a:pt x="471" y="7"/>
                  </a:lnTo>
                  <a:lnTo>
                    <a:pt x="471" y="7"/>
                  </a:lnTo>
                  <a:lnTo>
                    <a:pt x="474" y="8"/>
                  </a:lnTo>
                  <a:lnTo>
                    <a:pt x="475" y="8"/>
                  </a:lnTo>
                  <a:lnTo>
                    <a:pt x="476" y="8"/>
                  </a:lnTo>
                  <a:lnTo>
                    <a:pt x="476" y="8"/>
                  </a:lnTo>
                  <a:lnTo>
                    <a:pt x="476" y="9"/>
                  </a:lnTo>
                  <a:lnTo>
                    <a:pt x="477" y="9"/>
                  </a:lnTo>
                  <a:lnTo>
                    <a:pt x="479" y="10"/>
                  </a:lnTo>
                  <a:lnTo>
                    <a:pt x="481" y="14"/>
                  </a:lnTo>
                  <a:lnTo>
                    <a:pt x="485" y="18"/>
                  </a:lnTo>
                  <a:lnTo>
                    <a:pt x="487" y="20"/>
                  </a:lnTo>
                  <a:lnTo>
                    <a:pt x="488" y="21"/>
                  </a:lnTo>
                  <a:lnTo>
                    <a:pt x="488" y="21"/>
                  </a:lnTo>
                  <a:lnTo>
                    <a:pt x="489" y="22"/>
                  </a:lnTo>
                  <a:lnTo>
                    <a:pt x="490" y="22"/>
                  </a:lnTo>
                  <a:lnTo>
                    <a:pt x="491" y="22"/>
                  </a:lnTo>
                  <a:lnTo>
                    <a:pt x="493" y="23"/>
                  </a:lnTo>
                  <a:lnTo>
                    <a:pt x="494" y="24"/>
                  </a:lnTo>
                  <a:lnTo>
                    <a:pt x="495" y="24"/>
                  </a:lnTo>
                  <a:lnTo>
                    <a:pt x="496" y="25"/>
                  </a:lnTo>
                  <a:lnTo>
                    <a:pt x="497" y="26"/>
                  </a:lnTo>
                  <a:lnTo>
                    <a:pt x="499" y="27"/>
                  </a:lnTo>
                  <a:lnTo>
                    <a:pt x="500" y="28"/>
                  </a:lnTo>
                  <a:lnTo>
                    <a:pt x="501" y="29"/>
                  </a:lnTo>
                  <a:lnTo>
                    <a:pt x="501" y="30"/>
                  </a:lnTo>
                  <a:lnTo>
                    <a:pt x="502" y="31"/>
                  </a:lnTo>
                  <a:lnTo>
                    <a:pt x="503" y="32"/>
                  </a:lnTo>
                  <a:lnTo>
                    <a:pt x="505" y="35"/>
                  </a:lnTo>
                  <a:lnTo>
                    <a:pt x="505" y="36"/>
                  </a:lnTo>
                  <a:lnTo>
                    <a:pt x="505" y="37"/>
                  </a:lnTo>
                  <a:lnTo>
                    <a:pt x="506" y="37"/>
                  </a:lnTo>
                  <a:lnTo>
                    <a:pt x="507" y="38"/>
                  </a:lnTo>
                  <a:lnTo>
                    <a:pt x="508" y="38"/>
                  </a:lnTo>
                  <a:lnTo>
                    <a:pt x="508" y="39"/>
                  </a:lnTo>
                  <a:lnTo>
                    <a:pt x="509" y="39"/>
                  </a:lnTo>
                  <a:lnTo>
                    <a:pt x="511" y="40"/>
                  </a:lnTo>
                  <a:lnTo>
                    <a:pt x="512" y="41"/>
                  </a:lnTo>
                  <a:lnTo>
                    <a:pt x="517" y="43"/>
                  </a:lnTo>
                  <a:lnTo>
                    <a:pt x="518" y="43"/>
                  </a:lnTo>
                  <a:lnTo>
                    <a:pt x="519" y="44"/>
                  </a:lnTo>
                  <a:lnTo>
                    <a:pt x="518" y="45"/>
                  </a:lnTo>
                  <a:lnTo>
                    <a:pt x="517" y="46"/>
                  </a:lnTo>
                  <a:lnTo>
                    <a:pt x="515" y="48"/>
                  </a:lnTo>
                  <a:lnTo>
                    <a:pt x="514" y="49"/>
                  </a:lnTo>
                  <a:lnTo>
                    <a:pt x="513" y="50"/>
                  </a:lnTo>
                  <a:lnTo>
                    <a:pt x="512" y="51"/>
                  </a:lnTo>
                  <a:lnTo>
                    <a:pt x="512" y="52"/>
                  </a:lnTo>
                  <a:lnTo>
                    <a:pt x="512" y="52"/>
                  </a:lnTo>
                  <a:lnTo>
                    <a:pt x="512" y="53"/>
                  </a:lnTo>
                  <a:lnTo>
                    <a:pt x="512" y="54"/>
                  </a:lnTo>
                  <a:lnTo>
                    <a:pt x="512" y="54"/>
                  </a:lnTo>
                  <a:lnTo>
                    <a:pt x="512" y="55"/>
                  </a:lnTo>
                  <a:lnTo>
                    <a:pt x="512" y="56"/>
                  </a:lnTo>
                  <a:lnTo>
                    <a:pt x="513" y="58"/>
                  </a:lnTo>
                  <a:lnTo>
                    <a:pt x="514" y="60"/>
                  </a:lnTo>
                  <a:lnTo>
                    <a:pt x="514" y="61"/>
                  </a:lnTo>
                  <a:lnTo>
                    <a:pt x="515" y="63"/>
                  </a:lnTo>
                  <a:lnTo>
                    <a:pt x="516" y="65"/>
                  </a:lnTo>
                  <a:lnTo>
                    <a:pt x="516" y="66"/>
                  </a:lnTo>
                  <a:lnTo>
                    <a:pt x="516" y="66"/>
                  </a:lnTo>
                  <a:lnTo>
                    <a:pt x="516" y="67"/>
                  </a:lnTo>
                  <a:lnTo>
                    <a:pt x="516" y="69"/>
                  </a:lnTo>
                  <a:lnTo>
                    <a:pt x="516" y="74"/>
                  </a:lnTo>
                  <a:lnTo>
                    <a:pt x="516" y="75"/>
                  </a:lnTo>
                  <a:lnTo>
                    <a:pt x="516" y="76"/>
                  </a:lnTo>
                  <a:lnTo>
                    <a:pt x="517" y="77"/>
                  </a:lnTo>
                  <a:lnTo>
                    <a:pt x="517" y="78"/>
                  </a:lnTo>
                  <a:lnTo>
                    <a:pt x="517" y="78"/>
                  </a:lnTo>
                  <a:lnTo>
                    <a:pt x="518" y="80"/>
                  </a:lnTo>
                  <a:lnTo>
                    <a:pt x="519" y="81"/>
                  </a:lnTo>
                  <a:lnTo>
                    <a:pt x="519" y="82"/>
                  </a:lnTo>
                  <a:lnTo>
                    <a:pt x="520" y="83"/>
                  </a:lnTo>
                  <a:lnTo>
                    <a:pt x="520" y="84"/>
                  </a:lnTo>
                  <a:lnTo>
                    <a:pt x="521" y="87"/>
                  </a:lnTo>
                  <a:lnTo>
                    <a:pt x="522" y="89"/>
                  </a:lnTo>
                  <a:lnTo>
                    <a:pt x="522" y="90"/>
                  </a:lnTo>
                  <a:lnTo>
                    <a:pt x="522" y="91"/>
                  </a:lnTo>
                  <a:lnTo>
                    <a:pt x="522" y="93"/>
                  </a:lnTo>
                  <a:lnTo>
                    <a:pt x="521" y="94"/>
                  </a:lnTo>
                  <a:lnTo>
                    <a:pt x="521" y="95"/>
                  </a:lnTo>
                  <a:lnTo>
                    <a:pt x="520" y="96"/>
                  </a:lnTo>
                  <a:lnTo>
                    <a:pt x="520" y="97"/>
                  </a:lnTo>
                  <a:lnTo>
                    <a:pt x="518" y="99"/>
                  </a:lnTo>
                  <a:lnTo>
                    <a:pt x="518" y="100"/>
                  </a:lnTo>
                  <a:lnTo>
                    <a:pt x="517" y="101"/>
                  </a:lnTo>
                  <a:lnTo>
                    <a:pt x="516" y="104"/>
                  </a:lnTo>
                  <a:lnTo>
                    <a:pt x="516" y="105"/>
                  </a:lnTo>
                  <a:lnTo>
                    <a:pt x="516" y="105"/>
                  </a:lnTo>
                  <a:lnTo>
                    <a:pt x="515" y="105"/>
                  </a:lnTo>
                  <a:lnTo>
                    <a:pt x="515" y="106"/>
                  </a:lnTo>
                  <a:lnTo>
                    <a:pt x="514" y="106"/>
                  </a:lnTo>
                  <a:lnTo>
                    <a:pt x="512" y="108"/>
                  </a:lnTo>
                  <a:lnTo>
                    <a:pt x="511" y="108"/>
                  </a:lnTo>
                  <a:lnTo>
                    <a:pt x="511" y="108"/>
                  </a:lnTo>
                  <a:lnTo>
                    <a:pt x="510" y="109"/>
                  </a:lnTo>
                  <a:lnTo>
                    <a:pt x="510" y="110"/>
                  </a:lnTo>
                  <a:lnTo>
                    <a:pt x="510" y="110"/>
                  </a:lnTo>
                  <a:lnTo>
                    <a:pt x="509" y="111"/>
                  </a:lnTo>
                  <a:lnTo>
                    <a:pt x="509" y="111"/>
                  </a:lnTo>
                  <a:lnTo>
                    <a:pt x="509" y="112"/>
                  </a:lnTo>
                  <a:lnTo>
                    <a:pt x="509" y="113"/>
                  </a:lnTo>
                  <a:lnTo>
                    <a:pt x="510" y="114"/>
                  </a:lnTo>
                  <a:lnTo>
                    <a:pt x="510" y="114"/>
                  </a:lnTo>
                  <a:lnTo>
                    <a:pt x="510" y="115"/>
                  </a:lnTo>
                  <a:lnTo>
                    <a:pt x="511" y="117"/>
                  </a:lnTo>
                  <a:lnTo>
                    <a:pt x="512" y="118"/>
                  </a:lnTo>
                  <a:lnTo>
                    <a:pt x="512" y="119"/>
                  </a:lnTo>
                  <a:lnTo>
                    <a:pt x="513" y="120"/>
                  </a:lnTo>
                  <a:lnTo>
                    <a:pt x="513" y="121"/>
                  </a:lnTo>
                  <a:lnTo>
                    <a:pt x="513" y="122"/>
                  </a:lnTo>
                  <a:lnTo>
                    <a:pt x="514" y="123"/>
                  </a:lnTo>
                  <a:lnTo>
                    <a:pt x="514" y="124"/>
                  </a:lnTo>
                  <a:lnTo>
                    <a:pt x="515" y="124"/>
                  </a:lnTo>
                  <a:lnTo>
                    <a:pt x="515" y="125"/>
                  </a:lnTo>
                  <a:lnTo>
                    <a:pt x="516" y="125"/>
                  </a:lnTo>
                  <a:lnTo>
                    <a:pt x="517" y="126"/>
                  </a:lnTo>
                  <a:lnTo>
                    <a:pt x="518" y="126"/>
                  </a:lnTo>
                  <a:lnTo>
                    <a:pt x="518" y="126"/>
                  </a:lnTo>
                  <a:lnTo>
                    <a:pt x="519" y="127"/>
                  </a:lnTo>
                  <a:lnTo>
                    <a:pt x="519" y="127"/>
                  </a:lnTo>
                  <a:lnTo>
                    <a:pt x="520" y="127"/>
                  </a:lnTo>
                  <a:lnTo>
                    <a:pt x="521" y="127"/>
                  </a:lnTo>
                  <a:lnTo>
                    <a:pt x="524" y="127"/>
                  </a:lnTo>
                  <a:lnTo>
                    <a:pt x="525" y="128"/>
                  </a:lnTo>
                  <a:lnTo>
                    <a:pt x="525" y="128"/>
                  </a:lnTo>
                  <a:lnTo>
                    <a:pt x="527" y="128"/>
                  </a:lnTo>
                  <a:lnTo>
                    <a:pt x="528" y="129"/>
                  </a:lnTo>
                  <a:lnTo>
                    <a:pt x="529" y="129"/>
                  </a:lnTo>
                  <a:lnTo>
                    <a:pt x="529" y="130"/>
                  </a:lnTo>
                  <a:lnTo>
                    <a:pt x="530" y="130"/>
                  </a:lnTo>
                  <a:lnTo>
                    <a:pt x="531" y="132"/>
                  </a:lnTo>
                  <a:lnTo>
                    <a:pt x="531" y="132"/>
                  </a:lnTo>
                  <a:lnTo>
                    <a:pt x="532" y="133"/>
                  </a:lnTo>
                  <a:lnTo>
                    <a:pt x="533" y="134"/>
                  </a:lnTo>
                  <a:lnTo>
                    <a:pt x="534" y="135"/>
                  </a:lnTo>
                  <a:lnTo>
                    <a:pt x="536" y="137"/>
                  </a:lnTo>
                  <a:lnTo>
                    <a:pt x="536" y="137"/>
                  </a:lnTo>
                  <a:lnTo>
                    <a:pt x="537" y="138"/>
                  </a:lnTo>
                  <a:lnTo>
                    <a:pt x="537" y="139"/>
                  </a:lnTo>
                  <a:lnTo>
                    <a:pt x="538" y="139"/>
                  </a:lnTo>
                  <a:lnTo>
                    <a:pt x="538" y="140"/>
                  </a:lnTo>
                  <a:lnTo>
                    <a:pt x="538" y="142"/>
                  </a:lnTo>
                  <a:lnTo>
                    <a:pt x="538" y="144"/>
                  </a:lnTo>
                  <a:lnTo>
                    <a:pt x="538" y="144"/>
                  </a:lnTo>
                  <a:lnTo>
                    <a:pt x="538" y="145"/>
                  </a:lnTo>
                  <a:lnTo>
                    <a:pt x="538" y="146"/>
                  </a:lnTo>
                  <a:lnTo>
                    <a:pt x="539" y="147"/>
                  </a:lnTo>
                  <a:lnTo>
                    <a:pt x="539" y="148"/>
                  </a:lnTo>
                  <a:lnTo>
                    <a:pt x="539" y="148"/>
                  </a:lnTo>
                  <a:lnTo>
                    <a:pt x="540" y="149"/>
                  </a:lnTo>
                  <a:lnTo>
                    <a:pt x="540" y="149"/>
                  </a:lnTo>
                  <a:lnTo>
                    <a:pt x="541" y="150"/>
                  </a:lnTo>
                  <a:lnTo>
                    <a:pt x="542" y="150"/>
                  </a:lnTo>
                  <a:lnTo>
                    <a:pt x="542" y="151"/>
                  </a:lnTo>
                  <a:lnTo>
                    <a:pt x="543" y="151"/>
                  </a:lnTo>
                  <a:lnTo>
                    <a:pt x="544" y="151"/>
                  </a:lnTo>
                  <a:lnTo>
                    <a:pt x="545" y="152"/>
                  </a:lnTo>
                  <a:lnTo>
                    <a:pt x="545" y="152"/>
                  </a:lnTo>
                  <a:lnTo>
                    <a:pt x="546" y="152"/>
                  </a:lnTo>
                  <a:lnTo>
                    <a:pt x="547" y="152"/>
                  </a:lnTo>
                  <a:lnTo>
                    <a:pt x="548" y="152"/>
                  </a:lnTo>
                  <a:lnTo>
                    <a:pt x="552" y="151"/>
                  </a:lnTo>
                  <a:lnTo>
                    <a:pt x="553" y="151"/>
                  </a:lnTo>
                  <a:lnTo>
                    <a:pt x="554" y="151"/>
                  </a:lnTo>
                  <a:lnTo>
                    <a:pt x="558" y="152"/>
                  </a:lnTo>
                  <a:lnTo>
                    <a:pt x="561" y="152"/>
                  </a:lnTo>
                  <a:lnTo>
                    <a:pt x="564" y="153"/>
                  </a:lnTo>
                  <a:lnTo>
                    <a:pt x="565" y="153"/>
                  </a:lnTo>
                  <a:lnTo>
                    <a:pt x="566" y="153"/>
                  </a:lnTo>
                  <a:lnTo>
                    <a:pt x="567" y="153"/>
                  </a:lnTo>
                  <a:lnTo>
                    <a:pt x="568" y="152"/>
                  </a:lnTo>
                  <a:lnTo>
                    <a:pt x="572" y="151"/>
                  </a:lnTo>
                  <a:lnTo>
                    <a:pt x="574" y="150"/>
                  </a:lnTo>
                  <a:lnTo>
                    <a:pt x="575" y="150"/>
                  </a:lnTo>
                  <a:lnTo>
                    <a:pt x="577" y="149"/>
                  </a:lnTo>
                  <a:lnTo>
                    <a:pt x="577" y="149"/>
                  </a:lnTo>
                  <a:lnTo>
                    <a:pt x="578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80" y="149"/>
                  </a:lnTo>
                  <a:lnTo>
                    <a:pt x="581" y="149"/>
                  </a:lnTo>
                  <a:lnTo>
                    <a:pt x="581" y="150"/>
                  </a:lnTo>
                  <a:lnTo>
                    <a:pt x="582" y="151"/>
                  </a:lnTo>
                  <a:lnTo>
                    <a:pt x="584" y="152"/>
                  </a:lnTo>
                  <a:lnTo>
                    <a:pt x="584" y="153"/>
                  </a:lnTo>
                  <a:lnTo>
                    <a:pt x="585" y="153"/>
                  </a:lnTo>
                  <a:lnTo>
                    <a:pt x="586" y="154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7" y="156"/>
                  </a:lnTo>
                  <a:lnTo>
                    <a:pt x="587" y="158"/>
                  </a:lnTo>
                  <a:lnTo>
                    <a:pt x="587" y="158"/>
                  </a:lnTo>
                  <a:lnTo>
                    <a:pt x="587" y="160"/>
                  </a:lnTo>
                  <a:lnTo>
                    <a:pt x="587" y="162"/>
                  </a:lnTo>
                  <a:lnTo>
                    <a:pt x="588" y="165"/>
                  </a:lnTo>
                  <a:lnTo>
                    <a:pt x="588" y="167"/>
                  </a:lnTo>
                  <a:lnTo>
                    <a:pt x="587" y="168"/>
                  </a:lnTo>
                  <a:lnTo>
                    <a:pt x="587" y="171"/>
                  </a:lnTo>
                  <a:lnTo>
                    <a:pt x="587" y="172"/>
                  </a:lnTo>
                  <a:lnTo>
                    <a:pt x="587" y="173"/>
                  </a:lnTo>
                  <a:lnTo>
                    <a:pt x="587" y="174"/>
                  </a:lnTo>
                  <a:lnTo>
                    <a:pt x="587" y="176"/>
                  </a:lnTo>
                  <a:lnTo>
                    <a:pt x="587" y="178"/>
                  </a:lnTo>
                  <a:lnTo>
                    <a:pt x="587" y="179"/>
                  </a:lnTo>
                  <a:lnTo>
                    <a:pt x="587" y="179"/>
                  </a:lnTo>
                  <a:lnTo>
                    <a:pt x="587" y="180"/>
                  </a:lnTo>
                  <a:lnTo>
                    <a:pt x="588" y="182"/>
                  </a:lnTo>
                  <a:lnTo>
                    <a:pt x="589" y="183"/>
                  </a:lnTo>
                  <a:lnTo>
                    <a:pt x="591" y="185"/>
                  </a:lnTo>
                  <a:lnTo>
                    <a:pt x="591" y="186"/>
                  </a:lnTo>
                  <a:lnTo>
                    <a:pt x="592" y="188"/>
                  </a:lnTo>
                  <a:lnTo>
                    <a:pt x="592" y="189"/>
                  </a:lnTo>
                  <a:lnTo>
                    <a:pt x="593" y="191"/>
                  </a:lnTo>
                  <a:lnTo>
                    <a:pt x="593" y="191"/>
                  </a:lnTo>
                  <a:lnTo>
                    <a:pt x="593" y="192"/>
                  </a:lnTo>
                  <a:lnTo>
                    <a:pt x="593" y="192"/>
                  </a:lnTo>
                  <a:lnTo>
                    <a:pt x="593" y="193"/>
                  </a:lnTo>
                  <a:lnTo>
                    <a:pt x="593" y="194"/>
                  </a:lnTo>
                  <a:lnTo>
                    <a:pt x="592" y="195"/>
                  </a:lnTo>
                  <a:lnTo>
                    <a:pt x="592" y="196"/>
                  </a:lnTo>
                  <a:lnTo>
                    <a:pt x="591" y="198"/>
                  </a:lnTo>
                  <a:lnTo>
                    <a:pt x="591" y="199"/>
                  </a:lnTo>
                  <a:lnTo>
                    <a:pt x="590" y="200"/>
                  </a:lnTo>
                  <a:lnTo>
                    <a:pt x="589" y="202"/>
                  </a:lnTo>
                  <a:lnTo>
                    <a:pt x="588" y="203"/>
                  </a:lnTo>
                  <a:lnTo>
                    <a:pt x="587" y="204"/>
                  </a:lnTo>
                  <a:lnTo>
                    <a:pt x="586" y="206"/>
                  </a:lnTo>
                  <a:lnTo>
                    <a:pt x="585" y="207"/>
                  </a:lnTo>
                  <a:lnTo>
                    <a:pt x="584" y="208"/>
                  </a:lnTo>
                  <a:lnTo>
                    <a:pt x="584" y="209"/>
                  </a:lnTo>
                  <a:lnTo>
                    <a:pt x="583" y="210"/>
                  </a:lnTo>
                  <a:lnTo>
                    <a:pt x="583" y="210"/>
                  </a:lnTo>
                  <a:lnTo>
                    <a:pt x="583" y="211"/>
                  </a:lnTo>
                  <a:lnTo>
                    <a:pt x="584" y="212"/>
                  </a:lnTo>
                  <a:lnTo>
                    <a:pt x="584" y="213"/>
                  </a:lnTo>
                  <a:lnTo>
                    <a:pt x="584" y="214"/>
                  </a:lnTo>
                  <a:lnTo>
                    <a:pt x="584" y="214"/>
                  </a:lnTo>
                  <a:lnTo>
                    <a:pt x="583" y="217"/>
                  </a:lnTo>
                  <a:lnTo>
                    <a:pt x="583" y="217"/>
                  </a:lnTo>
                  <a:lnTo>
                    <a:pt x="583" y="217"/>
                  </a:lnTo>
                  <a:lnTo>
                    <a:pt x="583" y="218"/>
                  </a:lnTo>
                  <a:lnTo>
                    <a:pt x="583" y="218"/>
                  </a:lnTo>
                  <a:lnTo>
                    <a:pt x="584" y="218"/>
                  </a:lnTo>
                  <a:lnTo>
                    <a:pt x="585" y="219"/>
                  </a:lnTo>
                  <a:lnTo>
                    <a:pt x="588" y="220"/>
                  </a:lnTo>
                  <a:lnTo>
                    <a:pt x="592" y="221"/>
                  </a:lnTo>
                  <a:lnTo>
                    <a:pt x="593" y="221"/>
                  </a:lnTo>
                  <a:lnTo>
                    <a:pt x="594" y="221"/>
                  </a:lnTo>
                  <a:lnTo>
                    <a:pt x="596" y="222"/>
                  </a:lnTo>
                  <a:lnTo>
                    <a:pt x="597" y="222"/>
                  </a:lnTo>
                  <a:lnTo>
                    <a:pt x="598" y="222"/>
                  </a:lnTo>
                  <a:lnTo>
                    <a:pt x="599" y="223"/>
                  </a:lnTo>
                  <a:lnTo>
                    <a:pt x="600" y="223"/>
                  </a:lnTo>
                  <a:lnTo>
                    <a:pt x="602" y="225"/>
                  </a:lnTo>
                  <a:lnTo>
                    <a:pt x="603" y="226"/>
                  </a:lnTo>
                  <a:lnTo>
                    <a:pt x="605" y="226"/>
                  </a:lnTo>
                  <a:lnTo>
                    <a:pt x="605" y="227"/>
                  </a:lnTo>
                  <a:lnTo>
                    <a:pt x="605" y="227"/>
                  </a:lnTo>
                  <a:lnTo>
                    <a:pt x="606" y="228"/>
                  </a:lnTo>
                  <a:lnTo>
                    <a:pt x="606" y="228"/>
                  </a:lnTo>
                  <a:lnTo>
                    <a:pt x="606" y="229"/>
                  </a:lnTo>
                  <a:lnTo>
                    <a:pt x="606" y="229"/>
                  </a:lnTo>
                  <a:lnTo>
                    <a:pt x="606" y="230"/>
                  </a:lnTo>
                  <a:lnTo>
                    <a:pt x="606" y="231"/>
                  </a:lnTo>
                  <a:lnTo>
                    <a:pt x="606" y="231"/>
                  </a:lnTo>
                  <a:lnTo>
                    <a:pt x="606" y="233"/>
                  </a:lnTo>
                  <a:lnTo>
                    <a:pt x="606" y="234"/>
                  </a:lnTo>
                  <a:lnTo>
                    <a:pt x="606" y="235"/>
                  </a:lnTo>
                  <a:lnTo>
                    <a:pt x="605" y="235"/>
                  </a:lnTo>
                  <a:lnTo>
                    <a:pt x="605" y="236"/>
                  </a:lnTo>
                  <a:lnTo>
                    <a:pt x="605" y="236"/>
                  </a:lnTo>
                  <a:lnTo>
                    <a:pt x="604" y="236"/>
                  </a:lnTo>
                  <a:lnTo>
                    <a:pt x="603" y="236"/>
                  </a:lnTo>
                  <a:lnTo>
                    <a:pt x="603" y="237"/>
                  </a:lnTo>
                  <a:lnTo>
                    <a:pt x="602" y="237"/>
                  </a:lnTo>
                  <a:lnTo>
                    <a:pt x="600" y="237"/>
                  </a:lnTo>
                  <a:lnTo>
                    <a:pt x="599" y="238"/>
                  </a:lnTo>
                  <a:lnTo>
                    <a:pt x="599" y="238"/>
                  </a:lnTo>
                  <a:lnTo>
                    <a:pt x="598" y="238"/>
                  </a:lnTo>
                  <a:lnTo>
                    <a:pt x="598" y="239"/>
                  </a:lnTo>
                  <a:lnTo>
                    <a:pt x="597" y="239"/>
                  </a:lnTo>
                  <a:lnTo>
                    <a:pt x="597" y="239"/>
                  </a:lnTo>
                  <a:lnTo>
                    <a:pt x="597" y="240"/>
                  </a:lnTo>
                  <a:lnTo>
                    <a:pt x="597" y="240"/>
                  </a:lnTo>
                  <a:lnTo>
                    <a:pt x="597" y="241"/>
                  </a:lnTo>
                  <a:lnTo>
                    <a:pt x="597" y="241"/>
                  </a:lnTo>
                  <a:lnTo>
                    <a:pt x="597" y="241"/>
                  </a:lnTo>
                  <a:lnTo>
                    <a:pt x="598" y="242"/>
                  </a:lnTo>
                  <a:lnTo>
                    <a:pt x="599" y="243"/>
                  </a:lnTo>
                  <a:lnTo>
                    <a:pt x="599" y="243"/>
                  </a:lnTo>
                  <a:lnTo>
                    <a:pt x="599" y="244"/>
                  </a:lnTo>
                  <a:lnTo>
                    <a:pt x="599" y="244"/>
                  </a:lnTo>
                  <a:lnTo>
                    <a:pt x="599" y="245"/>
                  </a:lnTo>
                  <a:lnTo>
                    <a:pt x="599" y="245"/>
                  </a:lnTo>
                  <a:lnTo>
                    <a:pt x="598" y="246"/>
                  </a:lnTo>
                  <a:lnTo>
                    <a:pt x="598" y="247"/>
                  </a:lnTo>
                  <a:lnTo>
                    <a:pt x="598" y="247"/>
                  </a:lnTo>
                  <a:lnTo>
                    <a:pt x="598" y="249"/>
                  </a:lnTo>
                  <a:lnTo>
                    <a:pt x="597" y="251"/>
                  </a:lnTo>
                  <a:lnTo>
                    <a:pt x="597" y="252"/>
                  </a:lnTo>
                  <a:lnTo>
                    <a:pt x="597" y="253"/>
                  </a:lnTo>
                  <a:lnTo>
                    <a:pt x="597" y="254"/>
                  </a:lnTo>
                  <a:lnTo>
                    <a:pt x="596" y="254"/>
                  </a:lnTo>
                  <a:lnTo>
                    <a:pt x="596" y="255"/>
                  </a:lnTo>
                  <a:lnTo>
                    <a:pt x="596" y="255"/>
                  </a:lnTo>
                  <a:lnTo>
                    <a:pt x="595" y="256"/>
                  </a:lnTo>
                  <a:lnTo>
                    <a:pt x="594" y="256"/>
                  </a:lnTo>
                  <a:lnTo>
                    <a:pt x="592" y="258"/>
                  </a:lnTo>
                  <a:lnTo>
                    <a:pt x="591" y="259"/>
                  </a:lnTo>
                  <a:lnTo>
                    <a:pt x="591" y="259"/>
                  </a:lnTo>
                  <a:lnTo>
                    <a:pt x="591" y="259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1"/>
                  </a:lnTo>
                  <a:lnTo>
                    <a:pt x="592" y="262"/>
                  </a:lnTo>
                  <a:lnTo>
                    <a:pt x="592" y="262"/>
                  </a:lnTo>
                  <a:lnTo>
                    <a:pt x="593" y="263"/>
                  </a:lnTo>
                  <a:lnTo>
                    <a:pt x="593" y="263"/>
                  </a:lnTo>
                  <a:lnTo>
                    <a:pt x="592" y="263"/>
                  </a:lnTo>
                  <a:lnTo>
                    <a:pt x="592" y="263"/>
                  </a:lnTo>
                  <a:lnTo>
                    <a:pt x="592" y="264"/>
                  </a:lnTo>
                  <a:lnTo>
                    <a:pt x="591" y="264"/>
                  </a:lnTo>
                  <a:lnTo>
                    <a:pt x="589" y="265"/>
                  </a:lnTo>
                  <a:lnTo>
                    <a:pt x="589" y="265"/>
                  </a:lnTo>
                  <a:lnTo>
                    <a:pt x="588" y="265"/>
                  </a:lnTo>
                  <a:lnTo>
                    <a:pt x="588" y="266"/>
                  </a:lnTo>
                  <a:lnTo>
                    <a:pt x="587" y="266"/>
                  </a:lnTo>
                  <a:lnTo>
                    <a:pt x="587" y="267"/>
                  </a:lnTo>
                  <a:lnTo>
                    <a:pt x="587" y="267"/>
                  </a:lnTo>
                  <a:lnTo>
                    <a:pt x="587" y="267"/>
                  </a:lnTo>
                  <a:lnTo>
                    <a:pt x="587" y="268"/>
                  </a:lnTo>
                  <a:lnTo>
                    <a:pt x="587" y="269"/>
                  </a:lnTo>
                  <a:lnTo>
                    <a:pt x="587" y="269"/>
                  </a:lnTo>
                  <a:lnTo>
                    <a:pt x="587" y="270"/>
                  </a:lnTo>
                  <a:lnTo>
                    <a:pt x="588" y="271"/>
                  </a:lnTo>
                  <a:lnTo>
                    <a:pt x="588" y="272"/>
                  </a:lnTo>
                  <a:lnTo>
                    <a:pt x="589" y="272"/>
                  </a:lnTo>
                  <a:lnTo>
                    <a:pt x="590" y="273"/>
                  </a:lnTo>
                  <a:lnTo>
                    <a:pt x="591" y="274"/>
                  </a:lnTo>
                  <a:lnTo>
                    <a:pt x="592" y="274"/>
                  </a:lnTo>
                  <a:lnTo>
                    <a:pt x="593" y="275"/>
                  </a:lnTo>
                  <a:lnTo>
                    <a:pt x="594" y="275"/>
                  </a:lnTo>
                  <a:lnTo>
                    <a:pt x="595" y="276"/>
                  </a:lnTo>
                  <a:lnTo>
                    <a:pt x="598" y="276"/>
                  </a:lnTo>
                  <a:lnTo>
                    <a:pt x="598" y="277"/>
                  </a:lnTo>
                  <a:lnTo>
                    <a:pt x="599" y="277"/>
                  </a:lnTo>
                  <a:lnTo>
                    <a:pt x="601" y="278"/>
                  </a:lnTo>
                  <a:lnTo>
                    <a:pt x="601" y="278"/>
                  </a:lnTo>
                  <a:lnTo>
                    <a:pt x="602" y="279"/>
                  </a:lnTo>
                  <a:lnTo>
                    <a:pt x="603" y="279"/>
                  </a:lnTo>
                  <a:lnTo>
                    <a:pt x="603" y="280"/>
                  </a:lnTo>
                  <a:lnTo>
                    <a:pt x="604" y="280"/>
                  </a:lnTo>
                  <a:lnTo>
                    <a:pt x="604" y="280"/>
                  </a:lnTo>
                  <a:lnTo>
                    <a:pt x="605" y="281"/>
                  </a:lnTo>
                  <a:lnTo>
                    <a:pt x="607" y="281"/>
                  </a:lnTo>
                  <a:lnTo>
                    <a:pt x="608" y="282"/>
                  </a:lnTo>
                  <a:lnTo>
                    <a:pt x="610" y="282"/>
                  </a:lnTo>
                  <a:lnTo>
                    <a:pt x="610" y="282"/>
                  </a:lnTo>
                  <a:lnTo>
                    <a:pt x="611" y="282"/>
                  </a:lnTo>
                  <a:lnTo>
                    <a:pt x="611" y="282"/>
                  </a:lnTo>
                  <a:lnTo>
                    <a:pt x="611" y="283"/>
                  </a:lnTo>
                  <a:lnTo>
                    <a:pt x="612" y="284"/>
                  </a:lnTo>
                  <a:lnTo>
                    <a:pt x="613" y="284"/>
                  </a:lnTo>
                  <a:lnTo>
                    <a:pt x="613" y="284"/>
                  </a:lnTo>
                  <a:lnTo>
                    <a:pt x="614" y="285"/>
                  </a:lnTo>
                  <a:lnTo>
                    <a:pt x="615" y="285"/>
                  </a:lnTo>
                  <a:lnTo>
                    <a:pt x="615" y="285"/>
                  </a:lnTo>
                  <a:lnTo>
                    <a:pt x="615" y="285"/>
                  </a:lnTo>
                  <a:lnTo>
                    <a:pt x="615" y="286"/>
                  </a:lnTo>
                  <a:lnTo>
                    <a:pt x="616" y="286"/>
                  </a:lnTo>
                  <a:lnTo>
                    <a:pt x="616" y="287"/>
                  </a:lnTo>
                  <a:lnTo>
                    <a:pt x="616" y="290"/>
                  </a:lnTo>
                  <a:lnTo>
                    <a:pt x="616" y="290"/>
                  </a:lnTo>
                  <a:lnTo>
                    <a:pt x="616" y="291"/>
                  </a:lnTo>
                  <a:lnTo>
                    <a:pt x="616" y="291"/>
                  </a:lnTo>
                  <a:lnTo>
                    <a:pt x="616" y="292"/>
                  </a:lnTo>
                  <a:lnTo>
                    <a:pt x="617" y="293"/>
                  </a:lnTo>
                  <a:lnTo>
                    <a:pt x="617" y="293"/>
                  </a:lnTo>
                  <a:lnTo>
                    <a:pt x="618" y="294"/>
                  </a:lnTo>
                  <a:lnTo>
                    <a:pt x="620" y="295"/>
                  </a:lnTo>
                  <a:lnTo>
                    <a:pt x="621" y="296"/>
                  </a:lnTo>
                  <a:lnTo>
                    <a:pt x="622" y="297"/>
                  </a:lnTo>
                  <a:lnTo>
                    <a:pt x="624" y="298"/>
                  </a:lnTo>
                  <a:lnTo>
                    <a:pt x="625" y="299"/>
                  </a:lnTo>
                  <a:lnTo>
                    <a:pt x="628" y="300"/>
                  </a:lnTo>
                  <a:lnTo>
                    <a:pt x="629" y="301"/>
                  </a:lnTo>
                  <a:lnTo>
                    <a:pt x="630" y="301"/>
                  </a:lnTo>
                  <a:lnTo>
                    <a:pt x="631" y="302"/>
                  </a:lnTo>
                  <a:lnTo>
                    <a:pt x="632" y="303"/>
                  </a:lnTo>
                  <a:lnTo>
                    <a:pt x="632" y="304"/>
                  </a:lnTo>
                  <a:lnTo>
                    <a:pt x="633" y="304"/>
                  </a:lnTo>
                  <a:lnTo>
                    <a:pt x="633" y="305"/>
                  </a:lnTo>
                  <a:lnTo>
                    <a:pt x="633" y="306"/>
                  </a:lnTo>
                  <a:lnTo>
                    <a:pt x="633" y="307"/>
                  </a:lnTo>
                  <a:lnTo>
                    <a:pt x="633" y="307"/>
                  </a:lnTo>
                  <a:lnTo>
                    <a:pt x="633" y="309"/>
                  </a:lnTo>
                  <a:lnTo>
                    <a:pt x="632" y="311"/>
                  </a:lnTo>
                  <a:lnTo>
                    <a:pt x="632" y="312"/>
                  </a:lnTo>
                  <a:lnTo>
                    <a:pt x="632" y="312"/>
                  </a:lnTo>
                  <a:lnTo>
                    <a:pt x="632" y="313"/>
                  </a:lnTo>
                  <a:lnTo>
                    <a:pt x="632" y="314"/>
                  </a:lnTo>
                  <a:lnTo>
                    <a:pt x="632" y="314"/>
                  </a:lnTo>
                  <a:lnTo>
                    <a:pt x="633" y="317"/>
                  </a:lnTo>
                  <a:lnTo>
                    <a:pt x="633" y="318"/>
                  </a:lnTo>
                  <a:lnTo>
                    <a:pt x="633" y="319"/>
                  </a:lnTo>
                  <a:lnTo>
                    <a:pt x="633" y="320"/>
                  </a:lnTo>
                  <a:lnTo>
                    <a:pt x="633" y="321"/>
                  </a:lnTo>
                  <a:lnTo>
                    <a:pt x="633" y="322"/>
                  </a:lnTo>
                  <a:lnTo>
                    <a:pt x="632" y="324"/>
                  </a:lnTo>
                  <a:lnTo>
                    <a:pt x="631" y="325"/>
                  </a:lnTo>
                  <a:lnTo>
                    <a:pt x="630" y="329"/>
                  </a:lnTo>
                  <a:lnTo>
                    <a:pt x="629" y="330"/>
                  </a:lnTo>
                  <a:lnTo>
                    <a:pt x="629" y="331"/>
                  </a:lnTo>
                  <a:lnTo>
                    <a:pt x="627" y="333"/>
                  </a:lnTo>
                  <a:lnTo>
                    <a:pt x="627" y="333"/>
                  </a:lnTo>
                  <a:lnTo>
                    <a:pt x="626" y="334"/>
                  </a:lnTo>
                  <a:lnTo>
                    <a:pt x="626" y="335"/>
                  </a:lnTo>
                  <a:lnTo>
                    <a:pt x="626" y="336"/>
                  </a:lnTo>
                  <a:lnTo>
                    <a:pt x="626" y="336"/>
                  </a:lnTo>
                  <a:lnTo>
                    <a:pt x="626" y="340"/>
                  </a:lnTo>
                  <a:lnTo>
                    <a:pt x="625" y="343"/>
                  </a:lnTo>
                  <a:lnTo>
                    <a:pt x="625" y="347"/>
                  </a:lnTo>
                  <a:lnTo>
                    <a:pt x="624" y="349"/>
                  </a:lnTo>
                  <a:lnTo>
                    <a:pt x="624" y="349"/>
                  </a:lnTo>
                  <a:lnTo>
                    <a:pt x="624" y="350"/>
                  </a:lnTo>
                  <a:lnTo>
                    <a:pt x="624" y="349"/>
                  </a:lnTo>
                  <a:lnTo>
                    <a:pt x="624" y="350"/>
                  </a:lnTo>
                  <a:lnTo>
                    <a:pt x="624" y="350"/>
                  </a:lnTo>
                  <a:lnTo>
                    <a:pt x="624" y="351"/>
                  </a:lnTo>
                  <a:lnTo>
                    <a:pt x="623" y="351"/>
                  </a:lnTo>
                  <a:lnTo>
                    <a:pt x="623" y="352"/>
                  </a:lnTo>
                  <a:lnTo>
                    <a:pt x="622" y="353"/>
                  </a:lnTo>
                  <a:lnTo>
                    <a:pt x="619" y="354"/>
                  </a:lnTo>
                  <a:lnTo>
                    <a:pt x="617" y="356"/>
                  </a:lnTo>
                  <a:lnTo>
                    <a:pt x="616" y="357"/>
                  </a:lnTo>
                  <a:lnTo>
                    <a:pt x="616" y="357"/>
                  </a:lnTo>
                  <a:lnTo>
                    <a:pt x="616" y="357"/>
                  </a:lnTo>
                  <a:lnTo>
                    <a:pt x="615" y="358"/>
                  </a:lnTo>
                  <a:lnTo>
                    <a:pt x="614" y="358"/>
                  </a:lnTo>
                  <a:lnTo>
                    <a:pt x="613" y="358"/>
                  </a:lnTo>
                  <a:lnTo>
                    <a:pt x="611" y="358"/>
                  </a:lnTo>
                  <a:lnTo>
                    <a:pt x="610" y="358"/>
                  </a:lnTo>
                  <a:lnTo>
                    <a:pt x="609" y="359"/>
                  </a:lnTo>
                  <a:lnTo>
                    <a:pt x="608" y="359"/>
                  </a:lnTo>
                  <a:lnTo>
                    <a:pt x="607" y="359"/>
                  </a:lnTo>
                  <a:lnTo>
                    <a:pt x="607" y="360"/>
                  </a:lnTo>
                  <a:lnTo>
                    <a:pt x="606" y="360"/>
                  </a:lnTo>
                  <a:lnTo>
                    <a:pt x="606" y="361"/>
                  </a:lnTo>
                  <a:lnTo>
                    <a:pt x="604" y="362"/>
                  </a:lnTo>
                  <a:lnTo>
                    <a:pt x="603" y="363"/>
                  </a:lnTo>
                  <a:lnTo>
                    <a:pt x="603" y="364"/>
                  </a:lnTo>
                  <a:lnTo>
                    <a:pt x="603" y="364"/>
                  </a:lnTo>
                  <a:lnTo>
                    <a:pt x="602" y="365"/>
                  </a:lnTo>
                  <a:lnTo>
                    <a:pt x="602" y="365"/>
                  </a:lnTo>
                  <a:lnTo>
                    <a:pt x="602" y="366"/>
                  </a:lnTo>
                  <a:lnTo>
                    <a:pt x="602" y="367"/>
                  </a:lnTo>
                  <a:lnTo>
                    <a:pt x="602" y="367"/>
                  </a:lnTo>
                  <a:lnTo>
                    <a:pt x="602" y="368"/>
                  </a:lnTo>
                  <a:lnTo>
                    <a:pt x="602" y="369"/>
                  </a:lnTo>
                  <a:lnTo>
                    <a:pt x="602" y="369"/>
                  </a:lnTo>
                  <a:lnTo>
                    <a:pt x="603" y="372"/>
                  </a:lnTo>
                  <a:lnTo>
                    <a:pt x="604" y="373"/>
                  </a:lnTo>
                  <a:lnTo>
                    <a:pt x="604" y="374"/>
                  </a:lnTo>
                  <a:lnTo>
                    <a:pt x="604" y="375"/>
                  </a:lnTo>
                  <a:lnTo>
                    <a:pt x="604" y="375"/>
                  </a:lnTo>
                  <a:lnTo>
                    <a:pt x="604" y="376"/>
                  </a:lnTo>
                  <a:lnTo>
                    <a:pt x="604" y="377"/>
                  </a:lnTo>
                  <a:lnTo>
                    <a:pt x="604" y="377"/>
                  </a:lnTo>
                  <a:lnTo>
                    <a:pt x="604" y="377"/>
                  </a:lnTo>
                  <a:lnTo>
                    <a:pt x="604" y="378"/>
                  </a:lnTo>
                  <a:lnTo>
                    <a:pt x="604" y="378"/>
                  </a:lnTo>
                  <a:lnTo>
                    <a:pt x="603" y="379"/>
                  </a:lnTo>
                  <a:lnTo>
                    <a:pt x="603" y="379"/>
                  </a:lnTo>
                  <a:lnTo>
                    <a:pt x="602" y="379"/>
                  </a:lnTo>
                  <a:lnTo>
                    <a:pt x="602" y="380"/>
                  </a:lnTo>
                  <a:lnTo>
                    <a:pt x="601" y="380"/>
                  </a:lnTo>
                  <a:lnTo>
                    <a:pt x="600" y="380"/>
                  </a:lnTo>
                  <a:lnTo>
                    <a:pt x="599" y="380"/>
                  </a:lnTo>
                  <a:lnTo>
                    <a:pt x="598" y="380"/>
                  </a:lnTo>
                  <a:lnTo>
                    <a:pt x="597" y="380"/>
                  </a:lnTo>
                  <a:lnTo>
                    <a:pt x="594" y="380"/>
                  </a:lnTo>
                  <a:lnTo>
                    <a:pt x="592" y="380"/>
                  </a:lnTo>
                  <a:lnTo>
                    <a:pt x="592" y="380"/>
                  </a:lnTo>
                  <a:lnTo>
                    <a:pt x="591" y="380"/>
                  </a:lnTo>
                  <a:lnTo>
                    <a:pt x="590" y="381"/>
                  </a:lnTo>
                  <a:lnTo>
                    <a:pt x="590" y="381"/>
                  </a:lnTo>
                  <a:lnTo>
                    <a:pt x="589" y="382"/>
                  </a:lnTo>
                  <a:lnTo>
                    <a:pt x="588" y="382"/>
                  </a:lnTo>
                  <a:lnTo>
                    <a:pt x="587" y="383"/>
                  </a:lnTo>
                  <a:lnTo>
                    <a:pt x="586" y="386"/>
                  </a:lnTo>
                  <a:lnTo>
                    <a:pt x="585" y="387"/>
                  </a:lnTo>
                  <a:lnTo>
                    <a:pt x="584" y="387"/>
                  </a:lnTo>
                  <a:lnTo>
                    <a:pt x="584" y="388"/>
                  </a:lnTo>
                  <a:lnTo>
                    <a:pt x="582" y="389"/>
                  </a:lnTo>
                  <a:lnTo>
                    <a:pt x="581" y="390"/>
                  </a:lnTo>
                  <a:lnTo>
                    <a:pt x="580" y="390"/>
                  </a:lnTo>
                  <a:lnTo>
                    <a:pt x="578" y="391"/>
                  </a:lnTo>
                  <a:lnTo>
                    <a:pt x="576" y="391"/>
                  </a:lnTo>
                  <a:lnTo>
                    <a:pt x="575" y="391"/>
                  </a:lnTo>
                  <a:lnTo>
                    <a:pt x="573" y="392"/>
                  </a:lnTo>
                  <a:lnTo>
                    <a:pt x="570" y="393"/>
                  </a:lnTo>
                  <a:lnTo>
                    <a:pt x="568" y="393"/>
                  </a:lnTo>
                  <a:lnTo>
                    <a:pt x="566" y="394"/>
                  </a:lnTo>
                  <a:lnTo>
                    <a:pt x="565" y="394"/>
                  </a:lnTo>
                  <a:lnTo>
                    <a:pt x="563" y="395"/>
                  </a:lnTo>
                  <a:lnTo>
                    <a:pt x="562" y="396"/>
                  </a:lnTo>
                  <a:lnTo>
                    <a:pt x="559" y="397"/>
                  </a:lnTo>
                  <a:lnTo>
                    <a:pt x="558" y="398"/>
                  </a:lnTo>
                  <a:lnTo>
                    <a:pt x="557" y="398"/>
                  </a:lnTo>
                  <a:lnTo>
                    <a:pt x="556" y="399"/>
                  </a:lnTo>
                  <a:lnTo>
                    <a:pt x="555" y="399"/>
                  </a:lnTo>
                  <a:lnTo>
                    <a:pt x="555" y="399"/>
                  </a:lnTo>
                  <a:lnTo>
                    <a:pt x="554" y="399"/>
                  </a:lnTo>
                  <a:lnTo>
                    <a:pt x="553" y="399"/>
                  </a:lnTo>
                  <a:lnTo>
                    <a:pt x="553" y="398"/>
                  </a:lnTo>
                  <a:lnTo>
                    <a:pt x="552" y="398"/>
                  </a:lnTo>
                  <a:lnTo>
                    <a:pt x="552" y="398"/>
                  </a:lnTo>
                  <a:lnTo>
                    <a:pt x="551" y="398"/>
                  </a:lnTo>
                  <a:lnTo>
                    <a:pt x="550" y="397"/>
                  </a:lnTo>
                  <a:lnTo>
                    <a:pt x="549" y="397"/>
                  </a:lnTo>
                  <a:lnTo>
                    <a:pt x="549" y="397"/>
                  </a:lnTo>
                  <a:lnTo>
                    <a:pt x="548" y="397"/>
                  </a:lnTo>
                  <a:lnTo>
                    <a:pt x="547" y="398"/>
                  </a:lnTo>
                  <a:lnTo>
                    <a:pt x="546" y="398"/>
                  </a:lnTo>
                  <a:lnTo>
                    <a:pt x="546" y="398"/>
                  </a:lnTo>
                  <a:lnTo>
                    <a:pt x="545" y="399"/>
                  </a:lnTo>
                  <a:lnTo>
                    <a:pt x="544" y="399"/>
                  </a:lnTo>
                  <a:lnTo>
                    <a:pt x="544" y="400"/>
                  </a:lnTo>
                  <a:lnTo>
                    <a:pt x="543" y="400"/>
                  </a:lnTo>
                  <a:lnTo>
                    <a:pt x="543" y="401"/>
                  </a:lnTo>
                  <a:lnTo>
                    <a:pt x="543" y="401"/>
                  </a:lnTo>
                  <a:lnTo>
                    <a:pt x="543" y="402"/>
                  </a:lnTo>
                  <a:lnTo>
                    <a:pt x="542" y="404"/>
                  </a:lnTo>
                  <a:lnTo>
                    <a:pt x="542" y="405"/>
                  </a:lnTo>
                  <a:lnTo>
                    <a:pt x="541" y="407"/>
                  </a:lnTo>
                  <a:lnTo>
                    <a:pt x="539" y="410"/>
                  </a:lnTo>
                  <a:lnTo>
                    <a:pt x="539" y="411"/>
                  </a:lnTo>
                  <a:lnTo>
                    <a:pt x="539" y="412"/>
                  </a:lnTo>
                  <a:lnTo>
                    <a:pt x="538" y="412"/>
                  </a:lnTo>
                  <a:lnTo>
                    <a:pt x="532" y="419"/>
                  </a:lnTo>
                  <a:lnTo>
                    <a:pt x="532" y="420"/>
                  </a:lnTo>
                  <a:lnTo>
                    <a:pt x="531" y="421"/>
                  </a:lnTo>
                  <a:lnTo>
                    <a:pt x="531" y="422"/>
                  </a:lnTo>
                  <a:lnTo>
                    <a:pt x="530" y="423"/>
                  </a:lnTo>
                  <a:lnTo>
                    <a:pt x="530" y="424"/>
                  </a:lnTo>
                  <a:lnTo>
                    <a:pt x="530" y="425"/>
                  </a:lnTo>
                  <a:lnTo>
                    <a:pt x="530" y="426"/>
                  </a:lnTo>
                  <a:lnTo>
                    <a:pt x="529" y="427"/>
                  </a:lnTo>
                  <a:lnTo>
                    <a:pt x="529" y="428"/>
                  </a:lnTo>
                  <a:lnTo>
                    <a:pt x="529" y="429"/>
                  </a:lnTo>
                  <a:lnTo>
                    <a:pt x="529" y="430"/>
                  </a:lnTo>
                  <a:lnTo>
                    <a:pt x="530" y="432"/>
                  </a:lnTo>
                  <a:lnTo>
                    <a:pt x="530" y="433"/>
                  </a:lnTo>
                  <a:lnTo>
                    <a:pt x="530" y="434"/>
                  </a:lnTo>
                  <a:lnTo>
                    <a:pt x="531" y="435"/>
                  </a:lnTo>
                  <a:lnTo>
                    <a:pt x="531" y="436"/>
                  </a:lnTo>
                  <a:lnTo>
                    <a:pt x="531" y="436"/>
                  </a:lnTo>
                  <a:lnTo>
                    <a:pt x="532" y="437"/>
                  </a:lnTo>
                  <a:lnTo>
                    <a:pt x="533" y="437"/>
                  </a:lnTo>
                  <a:lnTo>
                    <a:pt x="533" y="438"/>
                  </a:lnTo>
                  <a:lnTo>
                    <a:pt x="537" y="440"/>
                  </a:lnTo>
                  <a:lnTo>
                    <a:pt x="539" y="440"/>
                  </a:lnTo>
                  <a:lnTo>
                    <a:pt x="541" y="441"/>
                  </a:lnTo>
                  <a:lnTo>
                    <a:pt x="542" y="442"/>
                  </a:lnTo>
                  <a:lnTo>
                    <a:pt x="543" y="442"/>
                  </a:lnTo>
                  <a:lnTo>
                    <a:pt x="544" y="443"/>
                  </a:lnTo>
                  <a:lnTo>
                    <a:pt x="544" y="443"/>
                  </a:lnTo>
                  <a:lnTo>
                    <a:pt x="545" y="444"/>
                  </a:lnTo>
                  <a:lnTo>
                    <a:pt x="545" y="444"/>
                  </a:lnTo>
                  <a:lnTo>
                    <a:pt x="546" y="445"/>
                  </a:lnTo>
                  <a:lnTo>
                    <a:pt x="547" y="446"/>
                  </a:lnTo>
                  <a:lnTo>
                    <a:pt x="548" y="448"/>
                  </a:lnTo>
                  <a:lnTo>
                    <a:pt x="548" y="449"/>
                  </a:lnTo>
                  <a:lnTo>
                    <a:pt x="549" y="450"/>
                  </a:lnTo>
                  <a:lnTo>
                    <a:pt x="549" y="451"/>
                  </a:lnTo>
                  <a:lnTo>
                    <a:pt x="549" y="451"/>
                  </a:lnTo>
                  <a:lnTo>
                    <a:pt x="549" y="452"/>
                  </a:lnTo>
                  <a:lnTo>
                    <a:pt x="549" y="454"/>
                  </a:lnTo>
                  <a:lnTo>
                    <a:pt x="549" y="455"/>
                  </a:lnTo>
                  <a:lnTo>
                    <a:pt x="549" y="456"/>
                  </a:lnTo>
                  <a:lnTo>
                    <a:pt x="549" y="457"/>
                  </a:lnTo>
                  <a:lnTo>
                    <a:pt x="549" y="457"/>
                  </a:lnTo>
                  <a:lnTo>
                    <a:pt x="548" y="458"/>
                  </a:lnTo>
                  <a:lnTo>
                    <a:pt x="548" y="459"/>
                  </a:lnTo>
                  <a:lnTo>
                    <a:pt x="548" y="460"/>
                  </a:lnTo>
                  <a:lnTo>
                    <a:pt x="547" y="460"/>
                  </a:lnTo>
                  <a:lnTo>
                    <a:pt x="547" y="461"/>
                  </a:lnTo>
                  <a:lnTo>
                    <a:pt x="546" y="461"/>
                  </a:lnTo>
                  <a:lnTo>
                    <a:pt x="544" y="463"/>
                  </a:lnTo>
                  <a:lnTo>
                    <a:pt x="543" y="463"/>
                  </a:lnTo>
                  <a:lnTo>
                    <a:pt x="543" y="464"/>
                  </a:lnTo>
                  <a:lnTo>
                    <a:pt x="542" y="464"/>
                  </a:lnTo>
                  <a:lnTo>
                    <a:pt x="541" y="464"/>
                  </a:lnTo>
                  <a:lnTo>
                    <a:pt x="540" y="464"/>
                  </a:lnTo>
                  <a:lnTo>
                    <a:pt x="539" y="464"/>
                  </a:lnTo>
                  <a:lnTo>
                    <a:pt x="537" y="464"/>
                  </a:lnTo>
                  <a:lnTo>
                    <a:pt x="536" y="464"/>
                  </a:lnTo>
                  <a:lnTo>
                    <a:pt x="534" y="464"/>
                  </a:lnTo>
                  <a:lnTo>
                    <a:pt x="533" y="464"/>
                  </a:lnTo>
                  <a:lnTo>
                    <a:pt x="532" y="464"/>
                  </a:lnTo>
                  <a:lnTo>
                    <a:pt x="532" y="464"/>
                  </a:lnTo>
                  <a:lnTo>
                    <a:pt x="531" y="464"/>
                  </a:lnTo>
                  <a:lnTo>
                    <a:pt x="531" y="464"/>
                  </a:lnTo>
                  <a:lnTo>
                    <a:pt x="530" y="464"/>
                  </a:lnTo>
                  <a:lnTo>
                    <a:pt x="529" y="466"/>
                  </a:lnTo>
                  <a:lnTo>
                    <a:pt x="528" y="466"/>
                  </a:lnTo>
                  <a:lnTo>
                    <a:pt x="528" y="466"/>
                  </a:lnTo>
                  <a:lnTo>
                    <a:pt x="528" y="467"/>
                  </a:lnTo>
                  <a:lnTo>
                    <a:pt x="527" y="467"/>
                  </a:lnTo>
                  <a:lnTo>
                    <a:pt x="526" y="469"/>
                  </a:lnTo>
                  <a:lnTo>
                    <a:pt x="526" y="470"/>
                  </a:lnTo>
                  <a:lnTo>
                    <a:pt x="525" y="471"/>
                  </a:lnTo>
                  <a:lnTo>
                    <a:pt x="525" y="472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3" y="473"/>
                  </a:lnTo>
                  <a:lnTo>
                    <a:pt x="523" y="473"/>
                  </a:lnTo>
                  <a:lnTo>
                    <a:pt x="522" y="473"/>
                  </a:lnTo>
                  <a:lnTo>
                    <a:pt x="521" y="473"/>
                  </a:lnTo>
                  <a:lnTo>
                    <a:pt x="519" y="471"/>
                  </a:lnTo>
                  <a:lnTo>
                    <a:pt x="519" y="471"/>
                  </a:lnTo>
                  <a:lnTo>
                    <a:pt x="518" y="470"/>
                  </a:lnTo>
                  <a:lnTo>
                    <a:pt x="517" y="470"/>
                  </a:lnTo>
                  <a:lnTo>
                    <a:pt x="515" y="470"/>
                  </a:lnTo>
                  <a:lnTo>
                    <a:pt x="514" y="469"/>
                  </a:lnTo>
                  <a:lnTo>
                    <a:pt x="512" y="469"/>
                  </a:lnTo>
                  <a:lnTo>
                    <a:pt x="510" y="468"/>
                  </a:lnTo>
                  <a:lnTo>
                    <a:pt x="510" y="468"/>
                  </a:lnTo>
                  <a:lnTo>
                    <a:pt x="509" y="468"/>
                  </a:lnTo>
                  <a:lnTo>
                    <a:pt x="509" y="468"/>
                  </a:lnTo>
                  <a:lnTo>
                    <a:pt x="508" y="468"/>
                  </a:lnTo>
                  <a:lnTo>
                    <a:pt x="507" y="468"/>
                  </a:lnTo>
                  <a:lnTo>
                    <a:pt x="505" y="469"/>
                  </a:lnTo>
                  <a:lnTo>
                    <a:pt x="502" y="470"/>
                  </a:lnTo>
                  <a:lnTo>
                    <a:pt x="500" y="471"/>
                  </a:lnTo>
                  <a:lnTo>
                    <a:pt x="500" y="471"/>
                  </a:lnTo>
                  <a:lnTo>
                    <a:pt x="498" y="471"/>
                  </a:lnTo>
                  <a:lnTo>
                    <a:pt x="496" y="472"/>
                  </a:lnTo>
                  <a:lnTo>
                    <a:pt x="495" y="472"/>
                  </a:lnTo>
                  <a:lnTo>
                    <a:pt x="494" y="472"/>
                  </a:lnTo>
                  <a:lnTo>
                    <a:pt x="492" y="472"/>
                  </a:lnTo>
                  <a:lnTo>
                    <a:pt x="491" y="472"/>
                  </a:lnTo>
                  <a:lnTo>
                    <a:pt x="487" y="471"/>
                  </a:lnTo>
                  <a:lnTo>
                    <a:pt x="486" y="471"/>
                  </a:lnTo>
                  <a:lnTo>
                    <a:pt x="483" y="471"/>
                  </a:lnTo>
                  <a:lnTo>
                    <a:pt x="482" y="471"/>
                  </a:lnTo>
                  <a:lnTo>
                    <a:pt x="481" y="470"/>
                  </a:lnTo>
                  <a:lnTo>
                    <a:pt x="480" y="470"/>
                  </a:lnTo>
                  <a:lnTo>
                    <a:pt x="476" y="469"/>
                  </a:lnTo>
                  <a:lnTo>
                    <a:pt x="475" y="469"/>
                  </a:lnTo>
                  <a:lnTo>
                    <a:pt x="474" y="469"/>
                  </a:lnTo>
                  <a:lnTo>
                    <a:pt x="474" y="469"/>
                  </a:lnTo>
                  <a:lnTo>
                    <a:pt x="473" y="469"/>
                  </a:lnTo>
                  <a:lnTo>
                    <a:pt x="472" y="469"/>
                  </a:lnTo>
                  <a:lnTo>
                    <a:pt x="471" y="469"/>
                  </a:lnTo>
                  <a:lnTo>
                    <a:pt x="471" y="470"/>
                  </a:lnTo>
                  <a:lnTo>
                    <a:pt x="470" y="470"/>
                  </a:lnTo>
                  <a:lnTo>
                    <a:pt x="470" y="471"/>
                  </a:lnTo>
                  <a:lnTo>
                    <a:pt x="470" y="471"/>
                  </a:lnTo>
                  <a:lnTo>
                    <a:pt x="469" y="472"/>
                  </a:lnTo>
                  <a:lnTo>
                    <a:pt x="469" y="472"/>
                  </a:lnTo>
                  <a:lnTo>
                    <a:pt x="469" y="473"/>
                  </a:lnTo>
                  <a:lnTo>
                    <a:pt x="469" y="473"/>
                  </a:lnTo>
                  <a:lnTo>
                    <a:pt x="469" y="474"/>
                  </a:lnTo>
                  <a:lnTo>
                    <a:pt x="470" y="476"/>
                  </a:lnTo>
                  <a:lnTo>
                    <a:pt x="470" y="477"/>
                  </a:lnTo>
                  <a:lnTo>
                    <a:pt x="470" y="477"/>
                  </a:lnTo>
                  <a:lnTo>
                    <a:pt x="470" y="478"/>
                  </a:lnTo>
                  <a:lnTo>
                    <a:pt x="470" y="478"/>
                  </a:lnTo>
                  <a:lnTo>
                    <a:pt x="470" y="478"/>
                  </a:lnTo>
                  <a:lnTo>
                    <a:pt x="469" y="479"/>
                  </a:lnTo>
                  <a:lnTo>
                    <a:pt x="469" y="479"/>
                  </a:lnTo>
                  <a:lnTo>
                    <a:pt x="468" y="479"/>
                  </a:lnTo>
                  <a:lnTo>
                    <a:pt x="468" y="480"/>
                  </a:lnTo>
                  <a:lnTo>
                    <a:pt x="467" y="480"/>
                  </a:lnTo>
                  <a:lnTo>
                    <a:pt x="466" y="480"/>
                  </a:lnTo>
                  <a:lnTo>
                    <a:pt x="461" y="482"/>
                  </a:lnTo>
                  <a:lnTo>
                    <a:pt x="460" y="482"/>
                  </a:lnTo>
                  <a:lnTo>
                    <a:pt x="460" y="482"/>
                  </a:lnTo>
                  <a:lnTo>
                    <a:pt x="459" y="482"/>
                  </a:lnTo>
                  <a:lnTo>
                    <a:pt x="459" y="483"/>
                  </a:lnTo>
                  <a:lnTo>
                    <a:pt x="459" y="483"/>
                  </a:lnTo>
                  <a:lnTo>
                    <a:pt x="458" y="484"/>
                  </a:lnTo>
                  <a:lnTo>
                    <a:pt x="458" y="484"/>
                  </a:lnTo>
                  <a:lnTo>
                    <a:pt x="458" y="485"/>
                  </a:lnTo>
                  <a:lnTo>
                    <a:pt x="457" y="486"/>
                  </a:lnTo>
                  <a:lnTo>
                    <a:pt x="457" y="487"/>
                  </a:lnTo>
                  <a:lnTo>
                    <a:pt x="457" y="490"/>
                  </a:lnTo>
                  <a:lnTo>
                    <a:pt x="456" y="491"/>
                  </a:lnTo>
                  <a:lnTo>
                    <a:pt x="456" y="492"/>
                  </a:lnTo>
                  <a:lnTo>
                    <a:pt x="455" y="494"/>
                  </a:lnTo>
                  <a:lnTo>
                    <a:pt x="455" y="494"/>
                  </a:lnTo>
                  <a:lnTo>
                    <a:pt x="455" y="494"/>
                  </a:lnTo>
                  <a:lnTo>
                    <a:pt x="454" y="495"/>
                  </a:lnTo>
                  <a:lnTo>
                    <a:pt x="453" y="495"/>
                  </a:lnTo>
                  <a:lnTo>
                    <a:pt x="453" y="495"/>
                  </a:lnTo>
                  <a:lnTo>
                    <a:pt x="452" y="495"/>
                  </a:lnTo>
                  <a:lnTo>
                    <a:pt x="451" y="495"/>
                  </a:lnTo>
                  <a:lnTo>
                    <a:pt x="451" y="495"/>
                  </a:lnTo>
                  <a:lnTo>
                    <a:pt x="450" y="495"/>
                  </a:lnTo>
                  <a:lnTo>
                    <a:pt x="449" y="495"/>
                  </a:lnTo>
                  <a:lnTo>
                    <a:pt x="449" y="495"/>
                  </a:lnTo>
                  <a:lnTo>
                    <a:pt x="447" y="494"/>
                  </a:lnTo>
                  <a:lnTo>
                    <a:pt x="447" y="494"/>
                  </a:lnTo>
                  <a:lnTo>
                    <a:pt x="446" y="494"/>
                  </a:lnTo>
                  <a:lnTo>
                    <a:pt x="445" y="493"/>
                  </a:lnTo>
                  <a:lnTo>
                    <a:pt x="445" y="492"/>
                  </a:lnTo>
                  <a:lnTo>
                    <a:pt x="444" y="492"/>
                  </a:lnTo>
                  <a:lnTo>
                    <a:pt x="443" y="491"/>
                  </a:lnTo>
                  <a:lnTo>
                    <a:pt x="442" y="489"/>
                  </a:lnTo>
                  <a:lnTo>
                    <a:pt x="441" y="487"/>
                  </a:lnTo>
                  <a:lnTo>
                    <a:pt x="440" y="484"/>
                  </a:lnTo>
                  <a:lnTo>
                    <a:pt x="439" y="482"/>
                  </a:lnTo>
                  <a:lnTo>
                    <a:pt x="438" y="481"/>
                  </a:lnTo>
                  <a:lnTo>
                    <a:pt x="438" y="479"/>
                  </a:lnTo>
                  <a:lnTo>
                    <a:pt x="437" y="478"/>
                  </a:lnTo>
                  <a:lnTo>
                    <a:pt x="437" y="478"/>
                  </a:lnTo>
                  <a:lnTo>
                    <a:pt x="437" y="477"/>
                  </a:lnTo>
                  <a:lnTo>
                    <a:pt x="437" y="477"/>
                  </a:lnTo>
                  <a:lnTo>
                    <a:pt x="436" y="477"/>
                  </a:lnTo>
                  <a:lnTo>
                    <a:pt x="436" y="477"/>
                  </a:lnTo>
                  <a:lnTo>
                    <a:pt x="435" y="477"/>
                  </a:lnTo>
                  <a:lnTo>
                    <a:pt x="435" y="477"/>
                  </a:lnTo>
                  <a:lnTo>
                    <a:pt x="434" y="477"/>
                  </a:lnTo>
                  <a:lnTo>
                    <a:pt x="433" y="478"/>
                  </a:lnTo>
                  <a:lnTo>
                    <a:pt x="432" y="478"/>
                  </a:lnTo>
                  <a:lnTo>
                    <a:pt x="431" y="479"/>
                  </a:lnTo>
                  <a:lnTo>
                    <a:pt x="430" y="479"/>
                  </a:lnTo>
                  <a:lnTo>
                    <a:pt x="430" y="479"/>
                  </a:lnTo>
                  <a:lnTo>
                    <a:pt x="429" y="479"/>
                  </a:lnTo>
                  <a:lnTo>
                    <a:pt x="429" y="479"/>
                  </a:lnTo>
                  <a:lnTo>
                    <a:pt x="428" y="479"/>
                  </a:lnTo>
                  <a:lnTo>
                    <a:pt x="428" y="479"/>
                  </a:lnTo>
                  <a:lnTo>
                    <a:pt x="427" y="478"/>
                  </a:lnTo>
                  <a:lnTo>
                    <a:pt x="426" y="477"/>
                  </a:lnTo>
                  <a:lnTo>
                    <a:pt x="425" y="477"/>
                  </a:lnTo>
                  <a:lnTo>
                    <a:pt x="423" y="475"/>
                  </a:lnTo>
                  <a:lnTo>
                    <a:pt x="420" y="473"/>
                  </a:lnTo>
                  <a:lnTo>
                    <a:pt x="419" y="472"/>
                  </a:lnTo>
                  <a:lnTo>
                    <a:pt x="418" y="471"/>
                  </a:lnTo>
                  <a:lnTo>
                    <a:pt x="417" y="471"/>
                  </a:lnTo>
                  <a:lnTo>
                    <a:pt x="416" y="470"/>
                  </a:lnTo>
                  <a:lnTo>
                    <a:pt x="412" y="468"/>
                  </a:lnTo>
                  <a:lnTo>
                    <a:pt x="411" y="467"/>
                  </a:lnTo>
                  <a:lnTo>
                    <a:pt x="410" y="467"/>
                  </a:lnTo>
                  <a:lnTo>
                    <a:pt x="408" y="465"/>
                  </a:lnTo>
                  <a:lnTo>
                    <a:pt x="407" y="465"/>
                  </a:lnTo>
                  <a:lnTo>
                    <a:pt x="406" y="464"/>
                  </a:lnTo>
                  <a:lnTo>
                    <a:pt x="405" y="464"/>
                  </a:lnTo>
                  <a:lnTo>
                    <a:pt x="405" y="464"/>
                  </a:lnTo>
                  <a:lnTo>
                    <a:pt x="405" y="464"/>
                  </a:lnTo>
                  <a:lnTo>
                    <a:pt x="404" y="465"/>
                  </a:lnTo>
                  <a:lnTo>
                    <a:pt x="404" y="465"/>
                  </a:lnTo>
                  <a:lnTo>
                    <a:pt x="402" y="466"/>
                  </a:lnTo>
                  <a:lnTo>
                    <a:pt x="400" y="467"/>
                  </a:lnTo>
                  <a:lnTo>
                    <a:pt x="399" y="468"/>
                  </a:lnTo>
                  <a:lnTo>
                    <a:pt x="399" y="469"/>
                  </a:lnTo>
                  <a:lnTo>
                    <a:pt x="398" y="469"/>
                  </a:lnTo>
                  <a:lnTo>
                    <a:pt x="398" y="471"/>
                  </a:lnTo>
                  <a:lnTo>
                    <a:pt x="397" y="471"/>
                  </a:lnTo>
                  <a:lnTo>
                    <a:pt x="397" y="472"/>
                  </a:lnTo>
                  <a:lnTo>
                    <a:pt x="396" y="473"/>
                  </a:lnTo>
                  <a:lnTo>
                    <a:pt x="395" y="473"/>
                  </a:lnTo>
                  <a:lnTo>
                    <a:pt x="395" y="474"/>
                  </a:lnTo>
                  <a:lnTo>
                    <a:pt x="394" y="474"/>
                  </a:lnTo>
                  <a:lnTo>
                    <a:pt x="394" y="475"/>
                  </a:lnTo>
                  <a:lnTo>
                    <a:pt x="394" y="475"/>
                  </a:lnTo>
                  <a:lnTo>
                    <a:pt x="394" y="477"/>
                  </a:lnTo>
                  <a:lnTo>
                    <a:pt x="394" y="478"/>
                  </a:lnTo>
                  <a:lnTo>
                    <a:pt x="394" y="479"/>
                  </a:lnTo>
                  <a:lnTo>
                    <a:pt x="393" y="481"/>
                  </a:lnTo>
                  <a:lnTo>
                    <a:pt x="393" y="482"/>
                  </a:lnTo>
                  <a:lnTo>
                    <a:pt x="393" y="484"/>
                  </a:lnTo>
                  <a:lnTo>
                    <a:pt x="393" y="484"/>
                  </a:lnTo>
                  <a:lnTo>
                    <a:pt x="393" y="485"/>
                  </a:lnTo>
                  <a:lnTo>
                    <a:pt x="394" y="487"/>
                  </a:lnTo>
                  <a:lnTo>
                    <a:pt x="394" y="489"/>
                  </a:lnTo>
                  <a:lnTo>
                    <a:pt x="395" y="491"/>
                  </a:lnTo>
                  <a:lnTo>
                    <a:pt x="395" y="492"/>
                  </a:lnTo>
                  <a:lnTo>
                    <a:pt x="395" y="492"/>
                  </a:lnTo>
                  <a:lnTo>
                    <a:pt x="395" y="493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3" y="495"/>
                  </a:lnTo>
                  <a:lnTo>
                    <a:pt x="393" y="495"/>
                  </a:lnTo>
                  <a:lnTo>
                    <a:pt x="391" y="496"/>
                  </a:lnTo>
                  <a:lnTo>
                    <a:pt x="390" y="496"/>
                  </a:lnTo>
                  <a:lnTo>
                    <a:pt x="389" y="497"/>
                  </a:lnTo>
                  <a:lnTo>
                    <a:pt x="386" y="498"/>
                  </a:lnTo>
                  <a:lnTo>
                    <a:pt x="385" y="498"/>
                  </a:lnTo>
                  <a:lnTo>
                    <a:pt x="384" y="498"/>
                  </a:lnTo>
                  <a:lnTo>
                    <a:pt x="383" y="499"/>
                  </a:lnTo>
                  <a:lnTo>
                    <a:pt x="381" y="500"/>
                  </a:lnTo>
                  <a:lnTo>
                    <a:pt x="379" y="502"/>
                  </a:lnTo>
                  <a:lnTo>
                    <a:pt x="376" y="504"/>
                  </a:lnTo>
                  <a:lnTo>
                    <a:pt x="375" y="505"/>
                  </a:lnTo>
                  <a:lnTo>
                    <a:pt x="374" y="507"/>
                  </a:lnTo>
                  <a:lnTo>
                    <a:pt x="373" y="508"/>
                  </a:lnTo>
                  <a:lnTo>
                    <a:pt x="372" y="509"/>
                  </a:lnTo>
                  <a:lnTo>
                    <a:pt x="371" y="511"/>
                  </a:lnTo>
                  <a:lnTo>
                    <a:pt x="370" y="511"/>
                  </a:lnTo>
                  <a:lnTo>
                    <a:pt x="370" y="512"/>
                  </a:lnTo>
                  <a:lnTo>
                    <a:pt x="369" y="512"/>
                  </a:lnTo>
                  <a:lnTo>
                    <a:pt x="369" y="512"/>
                  </a:lnTo>
                  <a:lnTo>
                    <a:pt x="369" y="512"/>
                  </a:lnTo>
                  <a:lnTo>
                    <a:pt x="368" y="512"/>
                  </a:lnTo>
                  <a:lnTo>
                    <a:pt x="368" y="512"/>
                  </a:lnTo>
                  <a:lnTo>
                    <a:pt x="368" y="512"/>
                  </a:lnTo>
                  <a:lnTo>
                    <a:pt x="367" y="512"/>
                  </a:lnTo>
                  <a:lnTo>
                    <a:pt x="367" y="512"/>
                  </a:lnTo>
                  <a:lnTo>
                    <a:pt x="365" y="510"/>
                  </a:lnTo>
                  <a:lnTo>
                    <a:pt x="364" y="510"/>
                  </a:lnTo>
                  <a:lnTo>
                    <a:pt x="363" y="509"/>
                  </a:lnTo>
                  <a:lnTo>
                    <a:pt x="361" y="509"/>
                  </a:lnTo>
                  <a:lnTo>
                    <a:pt x="360" y="508"/>
                  </a:lnTo>
                  <a:lnTo>
                    <a:pt x="358" y="508"/>
                  </a:lnTo>
                  <a:lnTo>
                    <a:pt x="357" y="508"/>
                  </a:lnTo>
                  <a:lnTo>
                    <a:pt x="355" y="507"/>
                  </a:lnTo>
                  <a:lnTo>
                    <a:pt x="353" y="507"/>
                  </a:lnTo>
                  <a:lnTo>
                    <a:pt x="353" y="507"/>
                  </a:lnTo>
                  <a:lnTo>
                    <a:pt x="352" y="507"/>
                  </a:lnTo>
                  <a:lnTo>
                    <a:pt x="352" y="506"/>
                  </a:lnTo>
                  <a:lnTo>
                    <a:pt x="351" y="506"/>
                  </a:lnTo>
                  <a:lnTo>
                    <a:pt x="351" y="506"/>
                  </a:lnTo>
                  <a:lnTo>
                    <a:pt x="350" y="505"/>
                  </a:lnTo>
                  <a:lnTo>
                    <a:pt x="350" y="505"/>
                  </a:lnTo>
                  <a:lnTo>
                    <a:pt x="350" y="505"/>
                  </a:lnTo>
                  <a:lnTo>
                    <a:pt x="350" y="504"/>
                  </a:lnTo>
                  <a:lnTo>
                    <a:pt x="350" y="504"/>
                  </a:lnTo>
                  <a:lnTo>
                    <a:pt x="351" y="501"/>
                  </a:lnTo>
                  <a:lnTo>
                    <a:pt x="351" y="500"/>
                  </a:lnTo>
                  <a:lnTo>
                    <a:pt x="351" y="500"/>
                  </a:lnTo>
                  <a:lnTo>
                    <a:pt x="351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48" y="500"/>
                  </a:lnTo>
                  <a:lnTo>
                    <a:pt x="346" y="500"/>
                  </a:lnTo>
                  <a:lnTo>
                    <a:pt x="345" y="500"/>
                  </a:lnTo>
                  <a:lnTo>
                    <a:pt x="343" y="501"/>
                  </a:lnTo>
                  <a:lnTo>
                    <a:pt x="342" y="501"/>
                  </a:lnTo>
                  <a:lnTo>
                    <a:pt x="341" y="501"/>
                  </a:lnTo>
                  <a:lnTo>
                    <a:pt x="339" y="501"/>
                  </a:lnTo>
                  <a:lnTo>
                    <a:pt x="338" y="501"/>
                  </a:lnTo>
                  <a:lnTo>
                    <a:pt x="334" y="500"/>
                  </a:lnTo>
                  <a:lnTo>
                    <a:pt x="332" y="500"/>
                  </a:lnTo>
                  <a:lnTo>
                    <a:pt x="331" y="500"/>
                  </a:lnTo>
                  <a:lnTo>
                    <a:pt x="330" y="499"/>
                  </a:lnTo>
                  <a:lnTo>
                    <a:pt x="329" y="499"/>
                  </a:lnTo>
                  <a:lnTo>
                    <a:pt x="327" y="498"/>
                  </a:lnTo>
                  <a:lnTo>
                    <a:pt x="327" y="498"/>
                  </a:lnTo>
                  <a:lnTo>
                    <a:pt x="326" y="498"/>
                  </a:lnTo>
                  <a:lnTo>
                    <a:pt x="325" y="498"/>
                  </a:lnTo>
                  <a:lnTo>
                    <a:pt x="324" y="497"/>
                  </a:lnTo>
                  <a:lnTo>
                    <a:pt x="322" y="497"/>
                  </a:lnTo>
                  <a:lnTo>
                    <a:pt x="321" y="497"/>
                  </a:lnTo>
                  <a:lnTo>
                    <a:pt x="320" y="497"/>
                  </a:lnTo>
                  <a:lnTo>
                    <a:pt x="320" y="497"/>
                  </a:lnTo>
                  <a:lnTo>
                    <a:pt x="319" y="498"/>
                  </a:lnTo>
                  <a:lnTo>
                    <a:pt x="318" y="498"/>
                  </a:lnTo>
                  <a:lnTo>
                    <a:pt x="317" y="499"/>
                  </a:lnTo>
                  <a:lnTo>
                    <a:pt x="316" y="500"/>
                  </a:lnTo>
                  <a:lnTo>
                    <a:pt x="315" y="500"/>
                  </a:lnTo>
                  <a:lnTo>
                    <a:pt x="315" y="500"/>
                  </a:lnTo>
                  <a:lnTo>
                    <a:pt x="314" y="500"/>
                  </a:lnTo>
                  <a:lnTo>
                    <a:pt x="314" y="500"/>
                  </a:lnTo>
                  <a:lnTo>
                    <a:pt x="313" y="500"/>
                  </a:lnTo>
                  <a:lnTo>
                    <a:pt x="312" y="499"/>
                  </a:lnTo>
                  <a:lnTo>
                    <a:pt x="311" y="499"/>
                  </a:lnTo>
                  <a:lnTo>
                    <a:pt x="308" y="496"/>
                  </a:lnTo>
                  <a:lnTo>
                    <a:pt x="307" y="496"/>
                  </a:lnTo>
                  <a:lnTo>
                    <a:pt x="306" y="495"/>
                  </a:lnTo>
                  <a:lnTo>
                    <a:pt x="304" y="495"/>
                  </a:lnTo>
                  <a:lnTo>
                    <a:pt x="303" y="494"/>
                  </a:lnTo>
                  <a:lnTo>
                    <a:pt x="302" y="494"/>
                  </a:lnTo>
                  <a:lnTo>
                    <a:pt x="300" y="492"/>
                  </a:lnTo>
                  <a:lnTo>
                    <a:pt x="299" y="492"/>
                  </a:lnTo>
                  <a:lnTo>
                    <a:pt x="298" y="492"/>
                  </a:lnTo>
                  <a:lnTo>
                    <a:pt x="298" y="492"/>
                  </a:lnTo>
                  <a:lnTo>
                    <a:pt x="297" y="492"/>
                  </a:lnTo>
                  <a:lnTo>
                    <a:pt x="297" y="492"/>
                  </a:lnTo>
                  <a:lnTo>
                    <a:pt x="297" y="493"/>
                  </a:lnTo>
                  <a:lnTo>
                    <a:pt x="297" y="493"/>
                  </a:lnTo>
                  <a:lnTo>
                    <a:pt x="297" y="493"/>
                  </a:lnTo>
                  <a:lnTo>
                    <a:pt x="297" y="494"/>
                  </a:lnTo>
                  <a:lnTo>
                    <a:pt x="297" y="496"/>
                  </a:lnTo>
                  <a:lnTo>
                    <a:pt x="297" y="497"/>
                  </a:lnTo>
                  <a:lnTo>
                    <a:pt x="297" y="497"/>
                  </a:lnTo>
                  <a:lnTo>
                    <a:pt x="297" y="498"/>
                  </a:lnTo>
                  <a:lnTo>
                    <a:pt x="297" y="498"/>
                  </a:lnTo>
                  <a:lnTo>
                    <a:pt x="296" y="498"/>
                  </a:lnTo>
                  <a:lnTo>
                    <a:pt x="296" y="498"/>
                  </a:lnTo>
                  <a:lnTo>
                    <a:pt x="296" y="498"/>
                  </a:lnTo>
                  <a:lnTo>
                    <a:pt x="294" y="498"/>
                  </a:lnTo>
                  <a:lnTo>
                    <a:pt x="293" y="498"/>
                  </a:lnTo>
                  <a:lnTo>
                    <a:pt x="292" y="498"/>
                  </a:lnTo>
                  <a:lnTo>
                    <a:pt x="291" y="498"/>
                  </a:lnTo>
                  <a:lnTo>
                    <a:pt x="290" y="499"/>
                  </a:lnTo>
                  <a:lnTo>
                    <a:pt x="289" y="499"/>
                  </a:lnTo>
                  <a:lnTo>
                    <a:pt x="288" y="500"/>
                  </a:lnTo>
                  <a:lnTo>
                    <a:pt x="285" y="502"/>
                  </a:lnTo>
                  <a:lnTo>
                    <a:pt x="285" y="502"/>
                  </a:lnTo>
                  <a:lnTo>
                    <a:pt x="284" y="502"/>
                  </a:lnTo>
                  <a:lnTo>
                    <a:pt x="284" y="503"/>
                  </a:lnTo>
                  <a:lnTo>
                    <a:pt x="282" y="503"/>
                  </a:lnTo>
                  <a:lnTo>
                    <a:pt x="281" y="503"/>
                  </a:lnTo>
                  <a:lnTo>
                    <a:pt x="280" y="503"/>
                  </a:lnTo>
                  <a:lnTo>
                    <a:pt x="279" y="503"/>
                  </a:lnTo>
                  <a:lnTo>
                    <a:pt x="277" y="503"/>
                  </a:lnTo>
                  <a:lnTo>
                    <a:pt x="276" y="503"/>
                  </a:lnTo>
                  <a:lnTo>
                    <a:pt x="275" y="502"/>
                  </a:lnTo>
                  <a:lnTo>
                    <a:pt x="275" y="502"/>
                  </a:lnTo>
                  <a:lnTo>
                    <a:pt x="275" y="502"/>
                  </a:lnTo>
                  <a:lnTo>
                    <a:pt x="274" y="502"/>
                  </a:lnTo>
                  <a:lnTo>
                    <a:pt x="274" y="501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3" y="498"/>
                  </a:lnTo>
                  <a:lnTo>
                    <a:pt x="272" y="497"/>
                  </a:lnTo>
                  <a:lnTo>
                    <a:pt x="271" y="497"/>
                  </a:lnTo>
                  <a:lnTo>
                    <a:pt x="270" y="496"/>
                  </a:lnTo>
                  <a:lnTo>
                    <a:pt x="270" y="496"/>
                  </a:lnTo>
                  <a:lnTo>
                    <a:pt x="268" y="495"/>
                  </a:lnTo>
                  <a:lnTo>
                    <a:pt x="267" y="494"/>
                  </a:lnTo>
                  <a:lnTo>
                    <a:pt x="265" y="494"/>
                  </a:lnTo>
                  <a:lnTo>
                    <a:pt x="265" y="494"/>
                  </a:lnTo>
                  <a:lnTo>
                    <a:pt x="264" y="493"/>
                  </a:lnTo>
                  <a:lnTo>
                    <a:pt x="264" y="493"/>
                  </a:lnTo>
                  <a:lnTo>
                    <a:pt x="263" y="492"/>
                  </a:lnTo>
                  <a:lnTo>
                    <a:pt x="263" y="492"/>
                  </a:lnTo>
                  <a:lnTo>
                    <a:pt x="262" y="490"/>
                  </a:lnTo>
                  <a:lnTo>
                    <a:pt x="261" y="489"/>
                  </a:lnTo>
                  <a:lnTo>
                    <a:pt x="260" y="489"/>
                  </a:lnTo>
                  <a:lnTo>
                    <a:pt x="259" y="488"/>
                  </a:lnTo>
                  <a:lnTo>
                    <a:pt x="258" y="487"/>
                  </a:lnTo>
                  <a:lnTo>
                    <a:pt x="257" y="487"/>
                  </a:lnTo>
                  <a:lnTo>
                    <a:pt x="255" y="486"/>
                  </a:lnTo>
                  <a:lnTo>
                    <a:pt x="254" y="486"/>
                  </a:lnTo>
                  <a:lnTo>
                    <a:pt x="254" y="486"/>
                  </a:lnTo>
                  <a:lnTo>
                    <a:pt x="253" y="486"/>
                  </a:lnTo>
                  <a:lnTo>
                    <a:pt x="252" y="486"/>
                  </a:lnTo>
                  <a:lnTo>
                    <a:pt x="251" y="486"/>
                  </a:lnTo>
                  <a:lnTo>
                    <a:pt x="249" y="487"/>
                  </a:lnTo>
                  <a:lnTo>
                    <a:pt x="246" y="488"/>
                  </a:lnTo>
                  <a:lnTo>
                    <a:pt x="245" y="488"/>
                  </a:lnTo>
                  <a:lnTo>
                    <a:pt x="244" y="488"/>
                  </a:lnTo>
                  <a:lnTo>
                    <a:pt x="244" y="489"/>
                  </a:lnTo>
                  <a:lnTo>
                    <a:pt x="243" y="490"/>
                  </a:lnTo>
                  <a:lnTo>
                    <a:pt x="243" y="490"/>
                  </a:lnTo>
                  <a:lnTo>
                    <a:pt x="242" y="492"/>
                  </a:lnTo>
                  <a:lnTo>
                    <a:pt x="241" y="494"/>
                  </a:lnTo>
                  <a:lnTo>
                    <a:pt x="240" y="495"/>
                  </a:lnTo>
                  <a:lnTo>
                    <a:pt x="239" y="496"/>
                  </a:lnTo>
                  <a:lnTo>
                    <a:pt x="239" y="498"/>
                  </a:lnTo>
                  <a:lnTo>
                    <a:pt x="238" y="499"/>
                  </a:lnTo>
                  <a:lnTo>
                    <a:pt x="238" y="499"/>
                  </a:lnTo>
                  <a:lnTo>
                    <a:pt x="237" y="499"/>
                  </a:lnTo>
                  <a:lnTo>
                    <a:pt x="237" y="499"/>
                  </a:lnTo>
                  <a:lnTo>
                    <a:pt x="236" y="499"/>
                  </a:lnTo>
                  <a:lnTo>
                    <a:pt x="236" y="499"/>
                  </a:lnTo>
                  <a:lnTo>
                    <a:pt x="234" y="499"/>
                  </a:lnTo>
                  <a:lnTo>
                    <a:pt x="233" y="499"/>
                  </a:lnTo>
                  <a:lnTo>
                    <a:pt x="231" y="499"/>
                  </a:lnTo>
                  <a:lnTo>
                    <a:pt x="228" y="500"/>
                  </a:lnTo>
                  <a:lnTo>
                    <a:pt x="220" y="500"/>
                  </a:lnTo>
                  <a:lnTo>
                    <a:pt x="219" y="500"/>
                  </a:lnTo>
                  <a:lnTo>
                    <a:pt x="215" y="500"/>
                  </a:lnTo>
                  <a:lnTo>
                    <a:pt x="214" y="500"/>
                  </a:lnTo>
                  <a:lnTo>
                    <a:pt x="213" y="500"/>
                  </a:lnTo>
                  <a:lnTo>
                    <a:pt x="211" y="501"/>
                  </a:lnTo>
                  <a:lnTo>
                    <a:pt x="210" y="501"/>
                  </a:lnTo>
                  <a:lnTo>
                    <a:pt x="208" y="501"/>
                  </a:lnTo>
                  <a:lnTo>
                    <a:pt x="206" y="501"/>
                  </a:lnTo>
                  <a:lnTo>
                    <a:pt x="206" y="501"/>
                  </a:lnTo>
                  <a:lnTo>
                    <a:pt x="205" y="501"/>
                  </a:lnTo>
                  <a:lnTo>
                    <a:pt x="204" y="501"/>
                  </a:lnTo>
                  <a:lnTo>
                    <a:pt x="203" y="501"/>
                  </a:lnTo>
                  <a:lnTo>
                    <a:pt x="202" y="502"/>
                  </a:lnTo>
                  <a:lnTo>
                    <a:pt x="200" y="501"/>
                  </a:lnTo>
                  <a:lnTo>
                    <a:pt x="200" y="501"/>
                  </a:lnTo>
                  <a:lnTo>
                    <a:pt x="199" y="501"/>
                  </a:lnTo>
                  <a:lnTo>
                    <a:pt x="198" y="501"/>
                  </a:lnTo>
                  <a:lnTo>
                    <a:pt x="197" y="500"/>
                  </a:lnTo>
                  <a:lnTo>
                    <a:pt x="197" y="500"/>
                  </a:lnTo>
                  <a:lnTo>
                    <a:pt x="196" y="499"/>
                  </a:lnTo>
                  <a:lnTo>
                    <a:pt x="196" y="499"/>
                  </a:lnTo>
                  <a:lnTo>
                    <a:pt x="195" y="498"/>
                  </a:lnTo>
                  <a:lnTo>
                    <a:pt x="195" y="498"/>
                  </a:lnTo>
                  <a:lnTo>
                    <a:pt x="195" y="497"/>
                  </a:lnTo>
                  <a:lnTo>
                    <a:pt x="195" y="496"/>
                  </a:lnTo>
                  <a:lnTo>
                    <a:pt x="195" y="495"/>
                  </a:lnTo>
                  <a:lnTo>
                    <a:pt x="195" y="493"/>
                  </a:lnTo>
                  <a:lnTo>
                    <a:pt x="195" y="489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2" y="487"/>
                  </a:lnTo>
                  <a:lnTo>
                    <a:pt x="190" y="488"/>
                  </a:lnTo>
                  <a:lnTo>
                    <a:pt x="189" y="488"/>
                  </a:lnTo>
                  <a:lnTo>
                    <a:pt x="188" y="489"/>
                  </a:lnTo>
                  <a:lnTo>
                    <a:pt x="185" y="490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80" y="493"/>
                  </a:lnTo>
                  <a:lnTo>
                    <a:pt x="180" y="493"/>
                  </a:lnTo>
                  <a:lnTo>
                    <a:pt x="179" y="494"/>
                  </a:lnTo>
                  <a:lnTo>
                    <a:pt x="179" y="494"/>
                  </a:lnTo>
                  <a:lnTo>
                    <a:pt x="179" y="495"/>
                  </a:lnTo>
                  <a:lnTo>
                    <a:pt x="178" y="497"/>
                  </a:lnTo>
                  <a:lnTo>
                    <a:pt x="177" y="499"/>
                  </a:lnTo>
                  <a:lnTo>
                    <a:pt x="176" y="500"/>
                  </a:lnTo>
                  <a:lnTo>
                    <a:pt x="176" y="501"/>
                  </a:lnTo>
                  <a:lnTo>
                    <a:pt x="175" y="502"/>
                  </a:lnTo>
                  <a:lnTo>
                    <a:pt x="175" y="503"/>
                  </a:lnTo>
                  <a:lnTo>
                    <a:pt x="174" y="503"/>
                  </a:lnTo>
                  <a:lnTo>
                    <a:pt x="174" y="504"/>
                  </a:lnTo>
                  <a:lnTo>
                    <a:pt x="173" y="504"/>
                  </a:lnTo>
                  <a:lnTo>
                    <a:pt x="173" y="504"/>
                  </a:lnTo>
                  <a:lnTo>
                    <a:pt x="171" y="505"/>
                  </a:lnTo>
                  <a:lnTo>
                    <a:pt x="171" y="505"/>
                  </a:lnTo>
                  <a:lnTo>
                    <a:pt x="170" y="505"/>
                  </a:lnTo>
                  <a:lnTo>
                    <a:pt x="168" y="507"/>
                  </a:lnTo>
                  <a:lnTo>
                    <a:pt x="167" y="507"/>
                  </a:lnTo>
                  <a:lnTo>
                    <a:pt x="166" y="508"/>
                  </a:lnTo>
                  <a:lnTo>
                    <a:pt x="166" y="508"/>
                  </a:lnTo>
                  <a:lnTo>
                    <a:pt x="165" y="508"/>
                  </a:lnTo>
                  <a:lnTo>
                    <a:pt x="164" y="508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59" y="509"/>
                  </a:lnTo>
                  <a:lnTo>
                    <a:pt x="158" y="510"/>
                  </a:lnTo>
                  <a:lnTo>
                    <a:pt x="157" y="510"/>
                  </a:lnTo>
                  <a:lnTo>
                    <a:pt x="155" y="511"/>
                  </a:lnTo>
                  <a:lnTo>
                    <a:pt x="155" y="512"/>
                  </a:lnTo>
                  <a:lnTo>
                    <a:pt x="154" y="512"/>
                  </a:lnTo>
                  <a:lnTo>
                    <a:pt x="153" y="513"/>
                  </a:lnTo>
                  <a:lnTo>
                    <a:pt x="152" y="513"/>
                  </a:lnTo>
                  <a:lnTo>
                    <a:pt x="151" y="513"/>
                  </a:lnTo>
                  <a:lnTo>
                    <a:pt x="150" y="513"/>
                  </a:lnTo>
                  <a:lnTo>
                    <a:pt x="149" y="513"/>
                  </a:lnTo>
                  <a:lnTo>
                    <a:pt x="148" y="512"/>
                  </a:lnTo>
                  <a:lnTo>
                    <a:pt x="147" y="512"/>
                  </a:lnTo>
                  <a:lnTo>
                    <a:pt x="147" y="512"/>
                  </a:lnTo>
                  <a:lnTo>
                    <a:pt x="145" y="511"/>
                  </a:lnTo>
                  <a:lnTo>
                    <a:pt x="144" y="511"/>
                  </a:lnTo>
                  <a:lnTo>
                    <a:pt x="144" y="510"/>
                  </a:lnTo>
                  <a:lnTo>
                    <a:pt x="143" y="510"/>
                  </a:lnTo>
                  <a:lnTo>
                    <a:pt x="143" y="509"/>
                  </a:lnTo>
                  <a:lnTo>
                    <a:pt x="142" y="509"/>
                  </a:lnTo>
                  <a:lnTo>
                    <a:pt x="142" y="509"/>
                  </a:lnTo>
                  <a:lnTo>
                    <a:pt x="140" y="508"/>
                  </a:lnTo>
                  <a:lnTo>
                    <a:pt x="140" y="507"/>
                  </a:lnTo>
                  <a:lnTo>
                    <a:pt x="137" y="506"/>
                  </a:lnTo>
                  <a:lnTo>
                    <a:pt x="137" y="505"/>
                  </a:lnTo>
                  <a:lnTo>
                    <a:pt x="136" y="505"/>
                  </a:lnTo>
                  <a:lnTo>
                    <a:pt x="136" y="505"/>
                  </a:lnTo>
                  <a:lnTo>
                    <a:pt x="135" y="505"/>
                  </a:lnTo>
                  <a:lnTo>
                    <a:pt x="134" y="505"/>
                  </a:lnTo>
                  <a:lnTo>
                    <a:pt x="133" y="505"/>
                  </a:lnTo>
                  <a:lnTo>
                    <a:pt x="132" y="505"/>
                  </a:lnTo>
                  <a:lnTo>
                    <a:pt x="130" y="507"/>
                  </a:lnTo>
                  <a:lnTo>
                    <a:pt x="129" y="507"/>
                  </a:lnTo>
                  <a:lnTo>
                    <a:pt x="128" y="507"/>
                  </a:lnTo>
                  <a:lnTo>
                    <a:pt x="128" y="508"/>
                  </a:lnTo>
                  <a:lnTo>
                    <a:pt x="127" y="508"/>
                  </a:lnTo>
                  <a:lnTo>
                    <a:pt x="127" y="508"/>
                  </a:lnTo>
                  <a:lnTo>
                    <a:pt x="126" y="507"/>
                  </a:lnTo>
                  <a:lnTo>
                    <a:pt x="125" y="507"/>
                  </a:lnTo>
                  <a:lnTo>
                    <a:pt x="125" y="507"/>
                  </a:lnTo>
                  <a:lnTo>
                    <a:pt x="124" y="507"/>
                  </a:lnTo>
                  <a:lnTo>
                    <a:pt x="122" y="505"/>
                  </a:lnTo>
                  <a:lnTo>
                    <a:pt x="122" y="504"/>
                  </a:lnTo>
                  <a:lnTo>
                    <a:pt x="121" y="504"/>
                  </a:lnTo>
                  <a:lnTo>
                    <a:pt x="121" y="504"/>
                  </a:lnTo>
                  <a:lnTo>
                    <a:pt x="120" y="504"/>
                  </a:lnTo>
                  <a:lnTo>
                    <a:pt x="120" y="504"/>
                  </a:lnTo>
                  <a:lnTo>
                    <a:pt x="119" y="504"/>
                  </a:lnTo>
                  <a:lnTo>
                    <a:pt x="119" y="504"/>
                  </a:lnTo>
                  <a:lnTo>
                    <a:pt x="117" y="505"/>
                  </a:lnTo>
                  <a:lnTo>
                    <a:pt x="115" y="506"/>
                  </a:lnTo>
                  <a:lnTo>
                    <a:pt x="112" y="507"/>
                  </a:lnTo>
                  <a:lnTo>
                    <a:pt x="109" y="508"/>
                  </a:lnTo>
                  <a:lnTo>
                    <a:pt x="108" y="508"/>
                  </a:lnTo>
                  <a:lnTo>
                    <a:pt x="106" y="508"/>
                  </a:lnTo>
                  <a:lnTo>
                    <a:pt x="105" y="508"/>
                  </a:lnTo>
                  <a:lnTo>
                    <a:pt x="105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7"/>
                  </a:lnTo>
                  <a:lnTo>
                    <a:pt x="104" y="506"/>
                  </a:lnTo>
                  <a:lnTo>
                    <a:pt x="104" y="505"/>
                  </a:lnTo>
                  <a:lnTo>
                    <a:pt x="104" y="503"/>
                  </a:lnTo>
                  <a:lnTo>
                    <a:pt x="104" y="502"/>
                  </a:lnTo>
                  <a:lnTo>
                    <a:pt x="104" y="501"/>
                  </a:lnTo>
                  <a:lnTo>
                    <a:pt x="104" y="500"/>
                  </a:lnTo>
                  <a:lnTo>
                    <a:pt x="104" y="499"/>
                  </a:lnTo>
                  <a:lnTo>
                    <a:pt x="103" y="497"/>
                  </a:lnTo>
                  <a:lnTo>
                    <a:pt x="103" y="496"/>
                  </a:lnTo>
                  <a:lnTo>
                    <a:pt x="103" y="495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1" y="493"/>
                  </a:lnTo>
                  <a:lnTo>
                    <a:pt x="100" y="492"/>
                  </a:lnTo>
                  <a:lnTo>
                    <a:pt x="99" y="492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7" y="490"/>
                  </a:lnTo>
                  <a:lnTo>
                    <a:pt x="97" y="490"/>
                  </a:lnTo>
                  <a:lnTo>
                    <a:pt x="97" y="489"/>
                  </a:lnTo>
                  <a:lnTo>
                    <a:pt x="97" y="489"/>
                  </a:lnTo>
                  <a:lnTo>
                    <a:pt x="97" y="485"/>
                  </a:lnTo>
                  <a:lnTo>
                    <a:pt x="97" y="484"/>
                  </a:lnTo>
                  <a:lnTo>
                    <a:pt x="97" y="481"/>
                  </a:lnTo>
                  <a:lnTo>
                    <a:pt x="98" y="478"/>
                  </a:lnTo>
                  <a:lnTo>
                    <a:pt x="98" y="476"/>
                  </a:lnTo>
                  <a:lnTo>
                    <a:pt x="98" y="474"/>
                  </a:lnTo>
                  <a:lnTo>
                    <a:pt x="99" y="471"/>
                  </a:lnTo>
                  <a:lnTo>
                    <a:pt x="99" y="469"/>
                  </a:lnTo>
                  <a:lnTo>
                    <a:pt x="99" y="468"/>
                  </a:lnTo>
                  <a:lnTo>
                    <a:pt x="99" y="466"/>
                  </a:lnTo>
                  <a:lnTo>
                    <a:pt x="99" y="464"/>
                  </a:lnTo>
                  <a:lnTo>
                    <a:pt x="99" y="462"/>
                  </a:lnTo>
                  <a:lnTo>
                    <a:pt x="99" y="461"/>
                  </a:lnTo>
                  <a:lnTo>
                    <a:pt x="99" y="460"/>
                  </a:lnTo>
                  <a:lnTo>
                    <a:pt x="99" y="460"/>
                  </a:lnTo>
                  <a:lnTo>
                    <a:pt x="98" y="459"/>
                  </a:lnTo>
                  <a:lnTo>
                    <a:pt x="98" y="459"/>
                  </a:lnTo>
                  <a:lnTo>
                    <a:pt x="98" y="458"/>
                  </a:lnTo>
                  <a:lnTo>
                    <a:pt x="97" y="458"/>
                  </a:lnTo>
                  <a:lnTo>
                    <a:pt x="96" y="457"/>
                  </a:lnTo>
                  <a:lnTo>
                    <a:pt x="95" y="457"/>
                  </a:lnTo>
                  <a:lnTo>
                    <a:pt x="94" y="456"/>
                  </a:lnTo>
                  <a:lnTo>
                    <a:pt x="93" y="456"/>
                  </a:lnTo>
                  <a:lnTo>
                    <a:pt x="92" y="456"/>
                  </a:lnTo>
                  <a:lnTo>
                    <a:pt x="91" y="456"/>
                  </a:lnTo>
                  <a:lnTo>
                    <a:pt x="89" y="456"/>
                  </a:lnTo>
                  <a:lnTo>
                    <a:pt x="88" y="456"/>
                  </a:lnTo>
                  <a:lnTo>
                    <a:pt x="87" y="456"/>
                  </a:lnTo>
                  <a:lnTo>
                    <a:pt x="87" y="456"/>
                  </a:lnTo>
                  <a:lnTo>
                    <a:pt x="87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4"/>
                  </a:lnTo>
                  <a:lnTo>
                    <a:pt x="86" y="453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1"/>
                  </a:lnTo>
                  <a:lnTo>
                    <a:pt x="86" y="451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49"/>
                  </a:lnTo>
                  <a:lnTo>
                    <a:pt x="82" y="449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7"/>
                  </a:lnTo>
                  <a:lnTo>
                    <a:pt x="84" y="447"/>
                  </a:lnTo>
                  <a:lnTo>
                    <a:pt x="85" y="447"/>
                  </a:lnTo>
                  <a:lnTo>
                    <a:pt x="86" y="447"/>
                  </a:lnTo>
                  <a:lnTo>
                    <a:pt x="86" y="447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8" y="445"/>
                  </a:lnTo>
                  <a:lnTo>
                    <a:pt x="88" y="445"/>
                  </a:lnTo>
                  <a:lnTo>
                    <a:pt x="88" y="444"/>
                  </a:lnTo>
                  <a:lnTo>
                    <a:pt x="87" y="443"/>
                  </a:lnTo>
                  <a:lnTo>
                    <a:pt x="87" y="443"/>
                  </a:lnTo>
                  <a:lnTo>
                    <a:pt x="86" y="442"/>
                  </a:lnTo>
                  <a:lnTo>
                    <a:pt x="86" y="441"/>
                  </a:lnTo>
                  <a:lnTo>
                    <a:pt x="84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4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5"/>
                  </a:lnTo>
                  <a:lnTo>
                    <a:pt x="88" y="434"/>
                  </a:lnTo>
                  <a:lnTo>
                    <a:pt x="89" y="433"/>
                  </a:lnTo>
                  <a:lnTo>
                    <a:pt x="90" y="433"/>
                  </a:lnTo>
                  <a:lnTo>
                    <a:pt x="90" y="432"/>
                  </a:lnTo>
                  <a:lnTo>
                    <a:pt x="90" y="432"/>
                  </a:lnTo>
                  <a:lnTo>
                    <a:pt x="91" y="431"/>
                  </a:lnTo>
                  <a:lnTo>
                    <a:pt x="90" y="431"/>
                  </a:lnTo>
                  <a:lnTo>
                    <a:pt x="90" y="431"/>
                  </a:lnTo>
                  <a:lnTo>
                    <a:pt x="90" y="430"/>
                  </a:lnTo>
                  <a:lnTo>
                    <a:pt x="90" y="430"/>
                  </a:lnTo>
                  <a:lnTo>
                    <a:pt x="89" y="430"/>
                  </a:lnTo>
                  <a:lnTo>
                    <a:pt x="89" y="430"/>
                  </a:lnTo>
                  <a:lnTo>
                    <a:pt x="88" y="429"/>
                  </a:lnTo>
                  <a:lnTo>
                    <a:pt x="86" y="429"/>
                  </a:lnTo>
                  <a:lnTo>
                    <a:pt x="85" y="429"/>
                  </a:lnTo>
                  <a:lnTo>
                    <a:pt x="84" y="429"/>
                  </a:lnTo>
                  <a:lnTo>
                    <a:pt x="83" y="429"/>
                  </a:lnTo>
                  <a:lnTo>
                    <a:pt x="81" y="430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8"/>
                  </a:lnTo>
                  <a:lnTo>
                    <a:pt x="78" y="428"/>
                  </a:lnTo>
                  <a:lnTo>
                    <a:pt x="78" y="427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8" y="425"/>
                  </a:lnTo>
                  <a:lnTo>
                    <a:pt x="78" y="424"/>
                  </a:lnTo>
                  <a:lnTo>
                    <a:pt x="79" y="423"/>
                  </a:lnTo>
                  <a:lnTo>
                    <a:pt x="79" y="422"/>
                  </a:lnTo>
                  <a:lnTo>
                    <a:pt x="79" y="421"/>
                  </a:lnTo>
                  <a:lnTo>
                    <a:pt x="80" y="420"/>
                  </a:lnTo>
                  <a:lnTo>
                    <a:pt x="83" y="417"/>
                  </a:lnTo>
                  <a:lnTo>
                    <a:pt x="84" y="415"/>
                  </a:lnTo>
                  <a:lnTo>
                    <a:pt x="84" y="414"/>
                  </a:lnTo>
                  <a:lnTo>
                    <a:pt x="85" y="414"/>
                  </a:lnTo>
                  <a:lnTo>
                    <a:pt x="86" y="413"/>
                  </a:lnTo>
                  <a:lnTo>
                    <a:pt x="87" y="412"/>
                  </a:lnTo>
                  <a:lnTo>
                    <a:pt x="88" y="411"/>
                  </a:lnTo>
                  <a:lnTo>
                    <a:pt x="89" y="411"/>
                  </a:lnTo>
                  <a:lnTo>
                    <a:pt x="90" y="410"/>
                  </a:lnTo>
                  <a:lnTo>
                    <a:pt x="92" y="409"/>
                  </a:lnTo>
                  <a:lnTo>
                    <a:pt x="93" y="409"/>
                  </a:lnTo>
                  <a:lnTo>
                    <a:pt x="94" y="408"/>
                  </a:lnTo>
                  <a:lnTo>
                    <a:pt x="95" y="408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7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101" y="410"/>
                  </a:lnTo>
                  <a:lnTo>
                    <a:pt x="102" y="410"/>
                  </a:lnTo>
                  <a:lnTo>
                    <a:pt x="103" y="411"/>
                  </a:lnTo>
                  <a:lnTo>
                    <a:pt x="103" y="411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7" y="409"/>
                  </a:lnTo>
                  <a:lnTo>
                    <a:pt x="108" y="408"/>
                  </a:lnTo>
                  <a:lnTo>
                    <a:pt x="109" y="406"/>
                  </a:lnTo>
                  <a:lnTo>
                    <a:pt x="110" y="405"/>
                  </a:lnTo>
                  <a:lnTo>
                    <a:pt x="111" y="404"/>
                  </a:lnTo>
                  <a:lnTo>
                    <a:pt x="112" y="403"/>
                  </a:lnTo>
                  <a:lnTo>
                    <a:pt x="115" y="400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17" y="398"/>
                  </a:lnTo>
                  <a:lnTo>
                    <a:pt x="117" y="398"/>
                  </a:lnTo>
                  <a:lnTo>
                    <a:pt x="118" y="397"/>
                  </a:lnTo>
                  <a:lnTo>
                    <a:pt x="118" y="397"/>
                  </a:lnTo>
                  <a:lnTo>
                    <a:pt x="118" y="396"/>
                  </a:lnTo>
                  <a:lnTo>
                    <a:pt x="118" y="395"/>
                  </a:lnTo>
                  <a:lnTo>
                    <a:pt x="117" y="395"/>
                  </a:lnTo>
                  <a:lnTo>
                    <a:pt x="117" y="394"/>
                  </a:lnTo>
                  <a:lnTo>
                    <a:pt x="116" y="394"/>
                  </a:lnTo>
                  <a:lnTo>
                    <a:pt x="116" y="393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3" y="392"/>
                  </a:lnTo>
                  <a:lnTo>
                    <a:pt x="113" y="391"/>
                  </a:lnTo>
                  <a:lnTo>
                    <a:pt x="113" y="390"/>
                  </a:lnTo>
                  <a:lnTo>
                    <a:pt x="114" y="388"/>
                  </a:lnTo>
                  <a:lnTo>
                    <a:pt x="114" y="387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5" y="384"/>
                  </a:lnTo>
                  <a:lnTo>
                    <a:pt x="115" y="383"/>
                  </a:lnTo>
                  <a:lnTo>
                    <a:pt x="115" y="380"/>
                  </a:lnTo>
                  <a:lnTo>
                    <a:pt x="115" y="379"/>
                  </a:lnTo>
                  <a:lnTo>
                    <a:pt x="115" y="378"/>
                  </a:lnTo>
                  <a:lnTo>
                    <a:pt x="115" y="377"/>
                  </a:lnTo>
                  <a:lnTo>
                    <a:pt x="115" y="376"/>
                  </a:lnTo>
                  <a:lnTo>
                    <a:pt x="115" y="376"/>
                  </a:lnTo>
                  <a:lnTo>
                    <a:pt x="116" y="373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7" y="369"/>
                  </a:lnTo>
                  <a:lnTo>
                    <a:pt x="117" y="368"/>
                  </a:lnTo>
                  <a:lnTo>
                    <a:pt x="117" y="367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7" y="361"/>
                  </a:lnTo>
                  <a:lnTo>
                    <a:pt x="118" y="356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9" y="351"/>
                  </a:lnTo>
                  <a:lnTo>
                    <a:pt x="120" y="349"/>
                  </a:lnTo>
                  <a:lnTo>
                    <a:pt x="120" y="348"/>
                  </a:lnTo>
                  <a:lnTo>
                    <a:pt x="121" y="347"/>
                  </a:lnTo>
                  <a:lnTo>
                    <a:pt x="121" y="346"/>
                  </a:lnTo>
                  <a:lnTo>
                    <a:pt x="122" y="346"/>
                  </a:lnTo>
                  <a:lnTo>
                    <a:pt x="122" y="345"/>
                  </a:lnTo>
                  <a:lnTo>
                    <a:pt x="124" y="344"/>
                  </a:lnTo>
                  <a:lnTo>
                    <a:pt x="124" y="343"/>
                  </a:lnTo>
                  <a:lnTo>
                    <a:pt x="125" y="343"/>
                  </a:lnTo>
                  <a:lnTo>
                    <a:pt x="125" y="342"/>
                  </a:lnTo>
                  <a:lnTo>
                    <a:pt x="125" y="341"/>
                  </a:lnTo>
                  <a:lnTo>
                    <a:pt x="125" y="341"/>
                  </a:lnTo>
                  <a:lnTo>
                    <a:pt x="125" y="340"/>
                  </a:lnTo>
                  <a:lnTo>
                    <a:pt x="125" y="339"/>
                  </a:lnTo>
                  <a:lnTo>
                    <a:pt x="125" y="335"/>
                  </a:lnTo>
                  <a:lnTo>
                    <a:pt x="125" y="333"/>
                  </a:lnTo>
                  <a:lnTo>
                    <a:pt x="125" y="329"/>
                  </a:lnTo>
                  <a:lnTo>
                    <a:pt x="124" y="326"/>
                  </a:lnTo>
                  <a:lnTo>
                    <a:pt x="124" y="324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8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7"/>
                  </a:lnTo>
                  <a:lnTo>
                    <a:pt x="122" y="317"/>
                  </a:lnTo>
                  <a:lnTo>
                    <a:pt x="116" y="313"/>
                  </a:lnTo>
                  <a:lnTo>
                    <a:pt x="113" y="312"/>
                  </a:lnTo>
                  <a:lnTo>
                    <a:pt x="112" y="311"/>
                  </a:lnTo>
                  <a:lnTo>
                    <a:pt x="110" y="311"/>
                  </a:lnTo>
                  <a:lnTo>
                    <a:pt x="107" y="310"/>
                  </a:lnTo>
                  <a:lnTo>
                    <a:pt x="104" y="309"/>
                  </a:lnTo>
                  <a:lnTo>
                    <a:pt x="104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2" y="308"/>
                  </a:lnTo>
                  <a:lnTo>
                    <a:pt x="102" y="307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1" y="303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0" y="301"/>
                  </a:lnTo>
                  <a:lnTo>
                    <a:pt x="100" y="301"/>
                  </a:lnTo>
                  <a:lnTo>
                    <a:pt x="99" y="300"/>
                  </a:lnTo>
                  <a:lnTo>
                    <a:pt x="98" y="300"/>
                  </a:lnTo>
                  <a:lnTo>
                    <a:pt x="98" y="299"/>
                  </a:lnTo>
                  <a:lnTo>
                    <a:pt x="97" y="299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2" y="298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6"/>
                  </a:lnTo>
                  <a:lnTo>
                    <a:pt x="85" y="294"/>
                  </a:lnTo>
                  <a:lnTo>
                    <a:pt x="83" y="292"/>
                  </a:lnTo>
                  <a:lnTo>
                    <a:pt x="82" y="291"/>
                  </a:lnTo>
                  <a:lnTo>
                    <a:pt x="80" y="289"/>
                  </a:lnTo>
                  <a:lnTo>
                    <a:pt x="78" y="286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0" y="283"/>
                  </a:lnTo>
                  <a:lnTo>
                    <a:pt x="69" y="283"/>
                  </a:lnTo>
                  <a:lnTo>
                    <a:pt x="68" y="283"/>
                  </a:lnTo>
                  <a:lnTo>
                    <a:pt x="65" y="284"/>
                  </a:lnTo>
                  <a:lnTo>
                    <a:pt x="64" y="284"/>
                  </a:lnTo>
                  <a:lnTo>
                    <a:pt x="63" y="285"/>
                  </a:lnTo>
                  <a:lnTo>
                    <a:pt x="61" y="285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7" y="285"/>
                  </a:lnTo>
                  <a:lnTo>
                    <a:pt x="56" y="285"/>
                  </a:lnTo>
                  <a:lnTo>
                    <a:pt x="55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1" y="284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48" y="282"/>
                  </a:lnTo>
                  <a:lnTo>
                    <a:pt x="47" y="281"/>
                  </a:lnTo>
                  <a:lnTo>
                    <a:pt x="44" y="279"/>
                  </a:lnTo>
                  <a:lnTo>
                    <a:pt x="42" y="277"/>
                  </a:lnTo>
                  <a:lnTo>
                    <a:pt x="40" y="276"/>
                  </a:lnTo>
                  <a:lnTo>
                    <a:pt x="37" y="275"/>
                  </a:lnTo>
                  <a:lnTo>
                    <a:pt x="36" y="274"/>
                  </a:lnTo>
                  <a:lnTo>
                    <a:pt x="35" y="273"/>
                  </a:lnTo>
                  <a:lnTo>
                    <a:pt x="34" y="273"/>
                  </a:lnTo>
                  <a:lnTo>
                    <a:pt x="33" y="272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2" y="271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6" y="267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5" y="265"/>
                  </a:lnTo>
                  <a:lnTo>
                    <a:pt x="34" y="264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0" y="263"/>
                  </a:lnTo>
                  <a:lnTo>
                    <a:pt x="19" y="263"/>
                  </a:lnTo>
                  <a:lnTo>
                    <a:pt x="17" y="263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4" y="264"/>
                  </a:lnTo>
                  <a:lnTo>
                    <a:pt x="12" y="264"/>
                  </a:lnTo>
                  <a:lnTo>
                    <a:pt x="10" y="265"/>
                  </a:lnTo>
                  <a:lnTo>
                    <a:pt x="9" y="266"/>
                  </a:lnTo>
                  <a:lnTo>
                    <a:pt x="8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5"/>
                  </a:lnTo>
                  <a:lnTo>
                    <a:pt x="2" y="265"/>
                  </a:lnTo>
                  <a:lnTo>
                    <a:pt x="1" y="265"/>
                  </a:lnTo>
                  <a:lnTo>
                    <a:pt x="1" y="265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1" y="260"/>
                  </a:lnTo>
                  <a:lnTo>
                    <a:pt x="1" y="259"/>
                  </a:lnTo>
                  <a:lnTo>
                    <a:pt x="2" y="257"/>
                  </a:lnTo>
                  <a:lnTo>
                    <a:pt x="3" y="255"/>
                  </a:lnTo>
                  <a:lnTo>
                    <a:pt x="4" y="254"/>
                  </a:lnTo>
                  <a:lnTo>
                    <a:pt x="5" y="252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0"/>
                  </a:lnTo>
                  <a:lnTo>
                    <a:pt x="6" y="249"/>
                  </a:lnTo>
                  <a:lnTo>
                    <a:pt x="6" y="248"/>
                  </a:lnTo>
                  <a:lnTo>
                    <a:pt x="6" y="247"/>
                  </a:lnTo>
                  <a:lnTo>
                    <a:pt x="6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4" y="243"/>
                  </a:lnTo>
                  <a:lnTo>
                    <a:pt x="3" y="242"/>
                  </a:lnTo>
                  <a:lnTo>
                    <a:pt x="2" y="241"/>
                  </a:lnTo>
                  <a:lnTo>
                    <a:pt x="2" y="240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8"/>
                  </a:lnTo>
                  <a:lnTo>
                    <a:pt x="2" y="237"/>
                  </a:lnTo>
                  <a:lnTo>
                    <a:pt x="3" y="237"/>
                  </a:lnTo>
                  <a:lnTo>
                    <a:pt x="4" y="236"/>
                  </a:lnTo>
                  <a:lnTo>
                    <a:pt x="5" y="235"/>
                  </a:lnTo>
                  <a:lnTo>
                    <a:pt x="6" y="234"/>
                  </a:lnTo>
                  <a:lnTo>
                    <a:pt x="7" y="233"/>
                  </a:lnTo>
                  <a:lnTo>
                    <a:pt x="8" y="233"/>
                  </a:lnTo>
                  <a:lnTo>
                    <a:pt x="9" y="232"/>
                  </a:lnTo>
                  <a:lnTo>
                    <a:pt x="10" y="232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3" y="231"/>
                  </a:lnTo>
                  <a:lnTo>
                    <a:pt x="14" y="231"/>
                  </a:lnTo>
                  <a:lnTo>
                    <a:pt x="15" y="231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7" y="231"/>
                  </a:lnTo>
                  <a:lnTo>
                    <a:pt x="17" y="230"/>
                  </a:lnTo>
                  <a:lnTo>
                    <a:pt x="18" y="230"/>
                  </a:lnTo>
                  <a:lnTo>
                    <a:pt x="19" y="228"/>
                  </a:lnTo>
                  <a:lnTo>
                    <a:pt x="19" y="227"/>
                  </a:lnTo>
                  <a:lnTo>
                    <a:pt x="20" y="226"/>
                  </a:lnTo>
                  <a:lnTo>
                    <a:pt x="21" y="224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2" y="223"/>
                  </a:lnTo>
                  <a:lnTo>
                    <a:pt x="22" y="222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6"/>
                  </a:lnTo>
                  <a:lnTo>
                    <a:pt x="26" y="215"/>
                  </a:lnTo>
                  <a:lnTo>
                    <a:pt x="26" y="215"/>
                  </a:lnTo>
                  <a:lnTo>
                    <a:pt x="26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6"/>
                  </a:lnTo>
                  <a:lnTo>
                    <a:pt x="29" y="206"/>
                  </a:lnTo>
                  <a:lnTo>
                    <a:pt x="29" y="205"/>
                  </a:lnTo>
                  <a:lnTo>
                    <a:pt x="31" y="203"/>
                  </a:lnTo>
                  <a:lnTo>
                    <a:pt x="33" y="202"/>
                  </a:lnTo>
                  <a:lnTo>
                    <a:pt x="34" y="201"/>
                  </a:lnTo>
                  <a:lnTo>
                    <a:pt x="36" y="200"/>
                  </a:lnTo>
                  <a:lnTo>
                    <a:pt x="36" y="199"/>
                  </a:lnTo>
                  <a:lnTo>
                    <a:pt x="38" y="198"/>
                  </a:lnTo>
                  <a:lnTo>
                    <a:pt x="40" y="197"/>
                  </a:lnTo>
                  <a:lnTo>
                    <a:pt x="41" y="196"/>
                  </a:lnTo>
                  <a:lnTo>
                    <a:pt x="42" y="195"/>
                  </a:lnTo>
                  <a:lnTo>
                    <a:pt x="43" y="195"/>
                  </a:lnTo>
                  <a:lnTo>
                    <a:pt x="44" y="194"/>
                  </a:lnTo>
                  <a:lnTo>
                    <a:pt x="45" y="194"/>
                  </a:lnTo>
                  <a:lnTo>
                    <a:pt x="47" y="194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51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4"/>
                  </a:lnTo>
                  <a:lnTo>
                    <a:pt x="57" y="193"/>
                  </a:lnTo>
                  <a:lnTo>
                    <a:pt x="59" y="193"/>
                  </a:lnTo>
                  <a:lnTo>
                    <a:pt x="60" y="192"/>
                  </a:lnTo>
                  <a:lnTo>
                    <a:pt x="61" y="192"/>
                  </a:lnTo>
                  <a:lnTo>
                    <a:pt x="62" y="191"/>
                  </a:lnTo>
                  <a:lnTo>
                    <a:pt x="63" y="190"/>
                  </a:lnTo>
                  <a:lnTo>
                    <a:pt x="64" y="190"/>
                  </a:lnTo>
                  <a:lnTo>
                    <a:pt x="65" y="188"/>
                  </a:lnTo>
                  <a:lnTo>
                    <a:pt x="66" y="18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9" y="184"/>
                  </a:lnTo>
                  <a:lnTo>
                    <a:pt x="72" y="182"/>
                  </a:lnTo>
                  <a:lnTo>
                    <a:pt x="76" y="178"/>
                  </a:lnTo>
                  <a:lnTo>
                    <a:pt x="77" y="177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2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4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7" y="178"/>
                  </a:lnTo>
                  <a:lnTo>
                    <a:pt x="99" y="178"/>
                  </a:lnTo>
                  <a:lnTo>
                    <a:pt x="100" y="178"/>
                  </a:lnTo>
                  <a:lnTo>
                    <a:pt x="101" y="178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1" y="173"/>
                  </a:lnTo>
                  <a:lnTo>
                    <a:pt x="111" y="173"/>
                  </a:lnTo>
                  <a:lnTo>
                    <a:pt x="113" y="172"/>
                  </a:lnTo>
                  <a:lnTo>
                    <a:pt x="113" y="171"/>
                  </a:lnTo>
                  <a:lnTo>
                    <a:pt x="115" y="170"/>
                  </a:lnTo>
                  <a:lnTo>
                    <a:pt x="118" y="167"/>
                  </a:lnTo>
                  <a:lnTo>
                    <a:pt x="119" y="166"/>
                  </a:lnTo>
                  <a:lnTo>
                    <a:pt x="120" y="165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3"/>
                  </a:lnTo>
                  <a:lnTo>
                    <a:pt x="123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7" y="164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69"/>
                  </a:lnTo>
                  <a:lnTo>
                    <a:pt x="136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8" y="167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2" y="162"/>
                  </a:lnTo>
                  <a:lnTo>
                    <a:pt x="143" y="161"/>
                  </a:lnTo>
                  <a:lnTo>
                    <a:pt x="144" y="161"/>
                  </a:lnTo>
                  <a:lnTo>
                    <a:pt x="145" y="160"/>
                  </a:lnTo>
                  <a:lnTo>
                    <a:pt x="146" y="159"/>
                  </a:lnTo>
                  <a:lnTo>
                    <a:pt x="147" y="159"/>
                  </a:lnTo>
                  <a:lnTo>
                    <a:pt x="147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1" y="157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6"/>
                  </a:lnTo>
                  <a:lnTo>
                    <a:pt x="157" y="155"/>
                  </a:lnTo>
                  <a:lnTo>
                    <a:pt x="158" y="154"/>
                  </a:lnTo>
                  <a:lnTo>
                    <a:pt x="160" y="153"/>
                  </a:lnTo>
                  <a:lnTo>
                    <a:pt x="160" y="153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4" y="150"/>
                  </a:lnTo>
                  <a:lnTo>
                    <a:pt x="164" y="149"/>
                  </a:lnTo>
                  <a:lnTo>
                    <a:pt x="165" y="148"/>
                  </a:lnTo>
                  <a:lnTo>
                    <a:pt x="165" y="147"/>
                  </a:lnTo>
                  <a:lnTo>
                    <a:pt x="166" y="146"/>
                  </a:lnTo>
                  <a:lnTo>
                    <a:pt x="166" y="145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68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4" y="143"/>
                  </a:lnTo>
                  <a:lnTo>
                    <a:pt x="174" y="142"/>
                  </a:lnTo>
                  <a:lnTo>
                    <a:pt x="175" y="142"/>
                  </a:lnTo>
                  <a:lnTo>
                    <a:pt x="175" y="142"/>
                  </a:lnTo>
                  <a:lnTo>
                    <a:pt x="175" y="141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39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6" y="134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1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7" y="129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9" y="127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4" y="125"/>
                  </a:lnTo>
                  <a:lnTo>
                    <a:pt x="185" y="125"/>
                  </a:lnTo>
                  <a:lnTo>
                    <a:pt x="186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4" y="126"/>
                  </a:lnTo>
                  <a:lnTo>
                    <a:pt x="198" y="127"/>
                  </a:lnTo>
                  <a:lnTo>
                    <a:pt x="202" y="128"/>
                  </a:lnTo>
                  <a:lnTo>
                    <a:pt x="205" y="129"/>
                  </a:lnTo>
                  <a:lnTo>
                    <a:pt x="207" y="129"/>
                  </a:lnTo>
                  <a:lnTo>
                    <a:pt x="209" y="129"/>
                  </a:lnTo>
                  <a:lnTo>
                    <a:pt x="215" y="130"/>
                  </a:lnTo>
                  <a:lnTo>
                    <a:pt x="217" y="130"/>
                  </a:lnTo>
                  <a:lnTo>
                    <a:pt x="219" y="130"/>
                  </a:lnTo>
                  <a:lnTo>
                    <a:pt x="222" y="130"/>
                  </a:lnTo>
                  <a:lnTo>
                    <a:pt x="224" y="130"/>
                  </a:lnTo>
                  <a:lnTo>
                    <a:pt x="226" y="130"/>
                  </a:lnTo>
                  <a:lnTo>
                    <a:pt x="228" y="129"/>
                  </a:lnTo>
                  <a:lnTo>
                    <a:pt x="230" y="129"/>
                  </a:lnTo>
                  <a:lnTo>
                    <a:pt x="232" y="129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5" y="127"/>
                  </a:lnTo>
                  <a:lnTo>
                    <a:pt x="236" y="127"/>
                  </a:lnTo>
                  <a:lnTo>
                    <a:pt x="236" y="127"/>
                  </a:lnTo>
                  <a:lnTo>
                    <a:pt x="237" y="127"/>
                  </a:lnTo>
                  <a:lnTo>
                    <a:pt x="239" y="128"/>
                  </a:lnTo>
                  <a:lnTo>
                    <a:pt x="241" y="128"/>
                  </a:lnTo>
                  <a:lnTo>
                    <a:pt x="245" y="129"/>
                  </a:lnTo>
                  <a:lnTo>
                    <a:pt x="248" y="130"/>
                  </a:lnTo>
                  <a:lnTo>
                    <a:pt x="250" y="130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6" y="128"/>
                  </a:lnTo>
                  <a:lnTo>
                    <a:pt x="257" y="127"/>
                  </a:lnTo>
                  <a:lnTo>
                    <a:pt x="259" y="125"/>
                  </a:lnTo>
                  <a:lnTo>
                    <a:pt x="260" y="124"/>
                  </a:lnTo>
                  <a:lnTo>
                    <a:pt x="260" y="124"/>
                  </a:lnTo>
                  <a:lnTo>
                    <a:pt x="261" y="124"/>
                  </a:lnTo>
                  <a:lnTo>
                    <a:pt x="262" y="123"/>
                  </a:lnTo>
                  <a:lnTo>
                    <a:pt x="263" y="123"/>
                  </a:lnTo>
                  <a:lnTo>
                    <a:pt x="264" y="123"/>
                  </a:lnTo>
                  <a:lnTo>
                    <a:pt x="270" y="122"/>
                  </a:lnTo>
                  <a:lnTo>
                    <a:pt x="272" y="121"/>
                  </a:lnTo>
                  <a:lnTo>
                    <a:pt x="276" y="121"/>
                  </a:lnTo>
                  <a:lnTo>
                    <a:pt x="277" y="121"/>
                  </a:lnTo>
                  <a:lnTo>
                    <a:pt x="279" y="121"/>
                  </a:lnTo>
                  <a:lnTo>
                    <a:pt x="280" y="121"/>
                  </a:lnTo>
                  <a:lnTo>
                    <a:pt x="282" y="122"/>
                  </a:lnTo>
                  <a:lnTo>
                    <a:pt x="284" y="122"/>
                  </a:lnTo>
                  <a:lnTo>
                    <a:pt x="284" y="122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0"/>
                  </a:lnTo>
                  <a:lnTo>
                    <a:pt x="288" y="120"/>
                  </a:lnTo>
                  <a:lnTo>
                    <a:pt x="288" y="119"/>
                  </a:lnTo>
                  <a:lnTo>
                    <a:pt x="289" y="118"/>
                  </a:lnTo>
                  <a:lnTo>
                    <a:pt x="289" y="117"/>
                  </a:lnTo>
                  <a:lnTo>
                    <a:pt x="289" y="116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91" y="109"/>
                  </a:lnTo>
                  <a:lnTo>
                    <a:pt x="291" y="108"/>
                  </a:lnTo>
                  <a:lnTo>
                    <a:pt x="291" y="106"/>
                  </a:lnTo>
                  <a:lnTo>
                    <a:pt x="291" y="105"/>
                  </a:lnTo>
                  <a:lnTo>
                    <a:pt x="291" y="104"/>
                  </a:lnTo>
                  <a:lnTo>
                    <a:pt x="291" y="103"/>
                  </a:lnTo>
                  <a:lnTo>
                    <a:pt x="290" y="102"/>
                  </a:lnTo>
                  <a:lnTo>
                    <a:pt x="290" y="99"/>
                  </a:lnTo>
                  <a:lnTo>
                    <a:pt x="289" y="98"/>
                  </a:lnTo>
                  <a:lnTo>
                    <a:pt x="289" y="97"/>
                  </a:lnTo>
                  <a:lnTo>
                    <a:pt x="289" y="96"/>
                  </a:lnTo>
                  <a:lnTo>
                    <a:pt x="289" y="95"/>
                  </a:lnTo>
                  <a:lnTo>
                    <a:pt x="289" y="94"/>
                  </a:lnTo>
                  <a:lnTo>
                    <a:pt x="289" y="93"/>
                  </a:lnTo>
                  <a:lnTo>
                    <a:pt x="289" y="91"/>
                  </a:lnTo>
                  <a:lnTo>
                    <a:pt x="289" y="89"/>
                  </a:lnTo>
                  <a:lnTo>
                    <a:pt x="289" y="88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90" y="86"/>
                  </a:lnTo>
                  <a:lnTo>
                    <a:pt x="291" y="86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7" y="88"/>
                  </a:lnTo>
                  <a:lnTo>
                    <a:pt x="298" y="88"/>
                  </a:lnTo>
                  <a:lnTo>
                    <a:pt x="299" y="88"/>
                  </a:lnTo>
                  <a:lnTo>
                    <a:pt x="300" y="88"/>
                  </a:lnTo>
                  <a:lnTo>
                    <a:pt x="301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3" y="88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3" y="86"/>
                  </a:lnTo>
                  <a:lnTo>
                    <a:pt x="303" y="85"/>
                  </a:lnTo>
                  <a:lnTo>
                    <a:pt x="305" y="83"/>
                  </a:lnTo>
                  <a:lnTo>
                    <a:pt x="306" y="80"/>
                  </a:lnTo>
                  <a:lnTo>
                    <a:pt x="306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8" y="78"/>
                  </a:lnTo>
                  <a:lnTo>
                    <a:pt x="311" y="78"/>
                  </a:lnTo>
                  <a:lnTo>
                    <a:pt x="314" y="77"/>
                  </a:lnTo>
                  <a:lnTo>
                    <a:pt x="316" y="76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7" y="75"/>
                  </a:lnTo>
                  <a:lnTo>
                    <a:pt x="318" y="75"/>
                  </a:lnTo>
                  <a:lnTo>
                    <a:pt x="318" y="75"/>
                  </a:lnTo>
                  <a:lnTo>
                    <a:pt x="318" y="74"/>
                  </a:lnTo>
                  <a:lnTo>
                    <a:pt x="319" y="74"/>
                  </a:lnTo>
                  <a:lnTo>
                    <a:pt x="319" y="73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1"/>
                  </a:lnTo>
                  <a:lnTo>
                    <a:pt x="319" y="70"/>
                  </a:lnTo>
                  <a:lnTo>
                    <a:pt x="319" y="67"/>
                  </a:lnTo>
                  <a:lnTo>
                    <a:pt x="319" y="66"/>
                  </a:lnTo>
                  <a:lnTo>
                    <a:pt x="319" y="64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8" y="58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19" y="55"/>
                  </a:lnTo>
                  <a:lnTo>
                    <a:pt x="319" y="54"/>
                  </a:lnTo>
                  <a:lnTo>
                    <a:pt x="320" y="53"/>
                  </a:lnTo>
                  <a:lnTo>
                    <a:pt x="321" y="53"/>
                  </a:lnTo>
                  <a:lnTo>
                    <a:pt x="321" y="52"/>
                  </a:lnTo>
                  <a:lnTo>
                    <a:pt x="322" y="52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5" y="53"/>
                  </a:lnTo>
                  <a:lnTo>
                    <a:pt x="325" y="53"/>
                  </a:lnTo>
                  <a:lnTo>
                    <a:pt x="326" y="53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7" y="54"/>
                  </a:lnTo>
                  <a:lnTo>
                    <a:pt x="328" y="54"/>
                  </a:lnTo>
                  <a:lnTo>
                    <a:pt x="328" y="53"/>
                  </a:lnTo>
                  <a:lnTo>
                    <a:pt x="329" y="53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2" y="51"/>
                  </a:lnTo>
                  <a:lnTo>
                    <a:pt x="333" y="51"/>
                  </a:lnTo>
                  <a:lnTo>
                    <a:pt x="334" y="51"/>
                  </a:lnTo>
                  <a:lnTo>
                    <a:pt x="335" y="51"/>
                  </a:lnTo>
                  <a:lnTo>
                    <a:pt x="335" y="52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0" y="53"/>
                  </a:lnTo>
                  <a:lnTo>
                    <a:pt x="340" y="53"/>
                  </a:lnTo>
                  <a:lnTo>
                    <a:pt x="341" y="53"/>
                  </a:lnTo>
                  <a:lnTo>
                    <a:pt x="341" y="53"/>
                  </a:lnTo>
                  <a:lnTo>
                    <a:pt x="342" y="53"/>
                  </a:lnTo>
                  <a:lnTo>
                    <a:pt x="343" y="53"/>
                  </a:lnTo>
                  <a:lnTo>
                    <a:pt x="344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7" y="51"/>
                  </a:lnTo>
                  <a:lnTo>
                    <a:pt x="348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49" y="51"/>
                  </a:lnTo>
                  <a:lnTo>
                    <a:pt x="350" y="51"/>
                  </a:lnTo>
                  <a:lnTo>
                    <a:pt x="350" y="52"/>
                  </a:lnTo>
                  <a:lnTo>
                    <a:pt x="350" y="52"/>
                  </a:lnTo>
                  <a:lnTo>
                    <a:pt x="350" y="53"/>
                  </a:lnTo>
                  <a:lnTo>
                    <a:pt x="351" y="54"/>
                  </a:lnTo>
                  <a:lnTo>
                    <a:pt x="351" y="55"/>
                  </a:lnTo>
                  <a:lnTo>
                    <a:pt x="352" y="57"/>
                  </a:lnTo>
                  <a:lnTo>
                    <a:pt x="352" y="59"/>
                  </a:lnTo>
                  <a:lnTo>
                    <a:pt x="352" y="60"/>
                  </a:lnTo>
                  <a:lnTo>
                    <a:pt x="353" y="61"/>
                  </a:lnTo>
                  <a:lnTo>
                    <a:pt x="353" y="62"/>
                  </a:lnTo>
                  <a:lnTo>
                    <a:pt x="353" y="62"/>
                  </a:lnTo>
                  <a:lnTo>
                    <a:pt x="354" y="63"/>
                  </a:lnTo>
                  <a:lnTo>
                    <a:pt x="354" y="63"/>
                  </a:lnTo>
                  <a:lnTo>
                    <a:pt x="355" y="64"/>
                  </a:lnTo>
                  <a:lnTo>
                    <a:pt x="355" y="64"/>
                  </a:lnTo>
                  <a:lnTo>
                    <a:pt x="356" y="64"/>
                  </a:lnTo>
                  <a:lnTo>
                    <a:pt x="356" y="65"/>
                  </a:lnTo>
                  <a:lnTo>
                    <a:pt x="357" y="65"/>
                  </a:lnTo>
                  <a:lnTo>
                    <a:pt x="358" y="65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7" y="63"/>
                  </a:lnTo>
                  <a:lnTo>
                    <a:pt x="368" y="62"/>
                  </a:lnTo>
                  <a:lnTo>
                    <a:pt x="369" y="62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81" y="61"/>
                  </a:lnTo>
                  <a:lnTo>
                    <a:pt x="382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6" y="58"/>
                  </a:lnTo>
                  <a:lnTo>
                    <a:pt x="389" y="56"/>
                  </a:lnTo>
                  <a:lnTo>
                    <a:pt x="391" y="55"/>
                  </a:lnTo>
                  <a:lnTo>
                    <a:pt x="391" y="54"/>
                  </a:lnTo>
                  <a:lnTo>
                    <a:pt x="392" y="53"/>
                  </a:lnTo>
                  <a:lnTo>
                    <a:pt x="393" y="52"/>
                  </a:lnTo>
                  <a:lnTo>
                    <a:pt x="395" y="49"/>
                  </a:lnTo>
                  <a:lnTo>
                    <a:pt x="395" y="49"/>
                  </a:lnTo>
                  <a:lnTo>
                    <a:pt x="396" y="48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9" y="46"/>
                  </a:lnTo>
                  <a:lnTo>
                    <a:pt x="400" y="45"/>
                  </a:lnTo>
                  <a:lnTo>
                    <a:pt x="400" y="44"/>
                  </a:lnTo>
                  <a:lnTo>
                    <a:pt x="401" y="44"/>
                  </a:lnTo>
                  <a:lnTo>
                    <a:pt x="401" y="43"/>
                  </a:lnTo>
                  <a:lnTo>
                    <a:pt x="402" y="42"/>
                  </a:lnTo>
                  <a:lnTo>
                    <a:pt x="402" y="41"/>
                  </a:lnTo>
                  <a:lnTo>
                    <a:pt x="402" y="40"/>
                  </a:lnTo>
                  <a:lnTo>
                    <a:pt x="403" y="39"/>
                  </a:lnTo>
                  <a:lnTo>
                    <a:pt x="403" y="35"/>
                  </a:lnTo>
                  <a:lnTo>
                    <a:pt x="403" y="34"/>
                  </a:lnTo>
                  <a:lnTo>
                    <a:pt x="403" y="33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1"/>
                  </a:lnTo>
                  <a:lnTo>
                    <a:pt x="406" y="31"/>
                  </a:lnTo>
                  <a:lnTo>
                    <a:pt x="407" y="30"/>
                  </a:lnTo>
                  <a:lnTo>
                    <a:pt x="407" y="30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1" y="30"/>
                  </a:lnTo>
                  <a:lnTo>
                    <a:pt x="413" y="31"/>
                  </a:lnTo>
                  <a:lnTo>
                    <a:pt x="415" y="31"/>
                  </a:lnTo>
                  <a:lnTo>
                    <a:pt x="417" y="32"/>
                  </a:lnTo>
                  <a:lnTo>
                    <a:pt x="420" y="33"/>
                  </a:lnTo>
                  <a:lnTo>
                    <a:pt x="422" y="33"/>
                  </a:lnTo>
                  <a:lnTo>
                    <a:pt x="423" y="33"/>
                  </a:lnTo>
                  <a:lnTo>
                    <a:pt x="423" y="33"/>
                  </a:lnTo>
                  <a:lnTo>
                    <a:pt x="424" y="33"/>
                  </a:lnTo>
                  <a:lnTo>
                    <a:pt x="425" y="33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29" y="31"/>
                  </a:lnTo>
                  <a:lnTo>
                    <a:pt x="430" y="31"/>
                  </a:lnTo>
                  <a:lnTo>
                    <a:pt x="430" y="30"/>
                  </a:lnTo>
                  <a:lnTo>
                    <a:pt x="431" y="29"/>
                  </a:lnTo>
                  <a:lnTo>
                    <a:pt x="431" y="29"/>
                  </a:lnTo>
                  <a:lnTo>
                    <a:pt x="432" y="28"/>
                  </a:lnTo>
                  <a:lnTo>
                    <a:pt x="432" y="28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3" y="24"/>
                  </a:lnTo>
                  <a:lnTo>
                    <a:pt x="433" y="23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4" y="22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7" y="20"/>
                  </a:lnTo>
                  <a:lnTo>
                    <a:pt x="437" y="19"/>
                  </a:lnTo>
                  <a:lnTo>
                    <a:pt x="439" y="18"/>
                  </a:lnTo>
                  <a:lnTo>
                    <a:pt x="443" y="16"/>
                  </a:lnTo>
                  <a:lnTo>
                    <a:pt x="444" y="16"/>
                  </a:lnTo>
                  <a:lnTo>
                    <a:pt x="445" y="15"/>
                  </a:lnTo>
                  <a:lnTo>
                    <a:pt x="445" y="15"/>
                  </a:lnTo>
                  <a:lnTo>
                    <a:pt x="446" y="14"/>
                  </a:lnTo>
                  <a:lnTo>
                    <a:pt x="446" y="14"/>
                  </a:lnTo>
                  <a:lnTo>
                    <a:pt x="447" y="13"/>
                  </a:lnTo>
                  <a:lnTo>
                    <a:pt x="447" y="12"/>
                  </a:lnTo>
                  <a:lnTo>
                    <a:pt x="447" y="11"/>
                  </a:lnTo>
                  <a:lnTo>
                    <a:pt x="447" y="9"/>
                  </a:lnTo>
                  <a:lnTo>
                    <a:pt x="447" y="8"/>
                  </a:lnTo>
                  <a:lnTo>
                    <a:pt x="448" y="6"/>
                  </a:lnTo>
                  <a:lnTo>
                    <a:pt x="449" y="4"/>
                  </a:lnTo>
                  <a:lnTo>
                    <a:pt x="450" y="3"/>
                  </a:lnTo>
                  <a:lnTo>
                    <a:pt x="45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1" y="0"/>
                  </a:lnTo>
                  <a:lnTo>
                    <a:pt x="451" y="0"/>
                  </a:lnTo>
                  <a:close/>
                  <a:moveTo>
                    <a:pt x="335" y="203"/>
                  </a:moveTo>
                  <a:lnTo>
                    <a:pt x="335" y="204"/>
                  </a:lnTo>
                  <a:lnTo>
                    <a:pt x="334" y="204"/>
                  </a:lnTo>
                  <a:lnTo>
                    <a:pt x="332" y="204"/>
                  </a:lnTo>
                  <a:lnTo>
                    <a:pt x="327" y="205"/>
                  </a:lnTo>
                  <a:lnTo>
                    <a:pt x="325" y="206"/>
                  </a:lnTo>
                  <a:lnTo>
                    <a:pt x="323" y="206"/>
                  </a:lnTo>
                  <a:lnTo>
                    <a:pt x="321" y="207"/>
                  </a:lnTo>
                  <a:lnTo>
                    <a:pt x="319" y="208"/>
                  </a:lnTo>
                  <a:lnTo>
                    <a:pt x="318" y="208"/>
                  </a:lnTo>
                  <a:lnTo>
                    <a:pt x="315" y="210"/>
                  </a:lnTo>
                  <a:lnTo>
                    <a:pt x="314" y="211"/>
                  </a:lnTo>
                  <a:lnTo>
                    <a:pt x="312" y="212"/>
                  </a:lnTo>
                  <a:lnTo>
                    <a:pt x="309" y="212"/>
                  </a:lnTo>
                  <a:lnTo>
                    <a:pt x="307" y="213"/>
                  </a:lnTo>
                  <a:lnTo>
                    <a:pt x="306" y="213"/>
                  </a:lnTo>
                  <a:lnTo>
                    <a:pt x="302" y="215"/>
                  </a:lnTo>
                  <a:lnTo>
                    <a:pt x="301" y="216"/>
                  </a:lnTo>
                  <a:lnTo>
                    <a:pt x="300" y="217"/>
                  </a:lnTo>
                  <a:lnTo>
                    <a:pt x="297" y="217"/>
                  </a:lnTo>
                  <a:lnTo>
                    <a:pt x="296" y="217"/>
                  </a:lnTo>
                  <a:lnTo>
                    <a:pt x="295" y="218"/>
                  </a:lnTo>
                  <a:lnTo>
                    <a:pt x="292" y="218"/>
                  </a:lnTo>
                  <a:lnTo>
                    <a:pt x="291" y="218"/>
                  </a:lnTo>
                  <a:lnTo>
                    <a:pt x="289" y="218"/>
                  </a:lnTo>
                  <a:lnTo>
                    <a:pt x="289" y="219"/>
                  </a:lnTo>
                  <a:lnTo>
                    <a:pt x="288" y="219"/>
                  </a:lnTo>
                  <a:lnTo>
                    <a:pt x="287" y="219"/>
                  </a:lnTo>
                  <a:lnTo>
                    <a:pt x="287" y="220"/>
                  </a:lnTo>
                  <a:lnTo>
                    <a:pt x="286" y="220"/>
                  </a:lnTo>
                  <a:lnTo>
                    <a:pt x="286" y="221"/>
                  </a:lnTo>
                  <a:lnTo>
                    <a:pt x="285" y="222"/>
                  </a:lnTo>
                  <a:lnTo>
                    <a:pt x="285" y="223"/>
                  </a:lnTo>
                  <a:lnTo>
                    <a:pt x="285" y="224"/>
                  </a:lnTo>
                  <a:lnTo>
                    <a:pt x="284" y="226"/>
                  </a:lnTo>
                  <a:lnTo>
                    <a:pt x="284" y="227"/>
                  </a:lnTo>
                  <a:lnTo>
                    <a:pt x="283" y="228"/>
                  </a:lnTo>
                  <a:lnTo>
                    <a:pt x="283" y="229"/>
                  </a:lnTo>
                  <a:lnTo>
                    <a:pt x="283" y="229"/>
                  </a:lnTo>
                  <a:lnTo>
                    <a:pt x="282" y="229"/>
                  </a:lnTo>
                  <a:lnTo>
                    <a:pt x="282" y="230"/>
                  </a:lnTo>
                  <a:lnTo>
                    <a:pt x="281" y="230"/>
                  </a:lnTo>
                  <a:lnTo>
                    <a:pt x="279" y="230"/>
                  </a:lnTo>
                  <a:lnTo>
                    <a:pt x="278" y="230"/>
                  </a:lnTo>
                  <a:lnTo>
                    <a:pt x="276" y="230"/>
                  </a:lnTo>
                  <a:lnTo>
                    <a:pt x="275" y="230"/>
                  </a:lnTo>
                  <a:lnTo>
                    <a:pt x="275" y="229"/>
                  </a:lnTo>
                  <a:lnTo>
                    <a:pt x="274" y="229"/>
                  </a:lnTo>
                  <a:lnTo>
                    <a:pt x="272" y="228"/>
                  </a:lnTo>
                  <a:lnTo>
                    <a:pt x="271" y="228"/>
                  </a:lnTo>
                  <a:lnTo>
                    <a:pt x="271" y="227"/>
                  </a:lnTo>
                  <a:lnTo>
                    <a:pt x="270" y="227"/>
                  </a:lnTo>
                  <a:lnTo>
                    <a:pt x="269" y="227"/>
                  </a:lnTo>
                  <a:lnTo>
                    <a:pt x="269" y="227"/>
                  </a:lnTo>
                  <a:lnTo>
                    <a:pt x="268" y="227"/>
                  </a:lnTo>
                  <a:lnTo>
                    <a:pt x="268" y="227"/>
                  </a:lnTo>
                  <a:lnTo>
                    <a:pt x="267" y="228"/>
                  </a:lnTo>
                  <a:lnTo>
                    <a:pt x="264" y="229"/>
                  </a:lnTo>
                  <a:lnTo>
                    <a:pt x="263" y="230"/>
                  </a:lnTo>
                  <a:lnTo>
                    <a:pt x="262" y="230"/>
                  </a:lnTo>
                  <a:lnTo>
                    <a:pt x="259" y="231"/>
                  </a:lnTo>
                  <a:lnTo>
                    <a:pt x="257" y="231"/>
                  </a:lnTo>
                  <a:lnTo>
                    <a:pt x="254" y="232"/>
                  </a:lnTo>
                  <a:lnTo>
                    <a:pt x="252" y="233"/>
                  </a:lnTo>
                  <a:lnTo>
                    <a:pt x="251" y="234"/>
                  </a:lnTo>
                  <a:lnTo>
                    <a:pt x="250" y="234"/>
                  </a:lnTo>
                  <a:lnTo>
                    <a:pt x="249" y="235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7"/>
                  </a:lnTo>
                  <a:lnTo>
                    <a:pt x="249" y="237"/>
                  </a:lnTo>
                  <a:lnTo>
                    <a:pt x="249" y="237"/>
                  </a:lnTo>
                  <a:lnTo>
                    <a:pt x="251" y="238"/>
                  </a:lnTo>
                  <a:lnTo>
                    <a:pt x="252" y="238"/>
                  </a:lnTo>
                  <a:lnTo>
                    <a:pt x="253" y="239"/>
                  </a:lnTo>
                  <a:lnTo>
                    <a:pt x="253" y="240"/>
                  </a:lnTo>
                  <a:lnTo>
                    <a:pt x="255" y="241"/>
                  </a:lnTo>
                  <a:lnTo>
                    <a:pt x="257" y="243"/>
                  </a:lnTo>
                  <a:lnTo>
                    <a:pt x="259" y="246"/>
                  </a:lnTo>
                  <a:lnTo>
                    <a:pt x="260" y="247"/>
                  </a:lnTo>
                  <a:lnTo>
                    <a:pt x="261" y="247"/>
                  </a:lnTo>
                  <a:lnTo>
                    <a:pt x="261" y="248"/>
                  </a:lnTo>
                  <a:lnTo>
                    <a:pt x="261" y="248"/>
                  </a:lnTo>
                  <a:lnTo>
                    <a:pt x="261" y="249"/>
                  </a:lnTo>
                  <a:lnTo>
                    <a:pt x="261" y="250"/>
                  </a:lnTo>
                  <a:lnTo>
                    <a:pt x="261" y="250"/>
                  </a:lnTo>
                  <a:lnTo>
                    <a:pt x="260" y="251"/>
                  </a:lnTo>
                  <a:lnTo>
                    <a:pt x="260" y="251"/>
                  </a:lnTo>
                  <a:lnTo>
                    <a:pt x="258" y="252"/>
                  </a:lnTo>
                  <a:lnTo>
                    <a:pt x="257" y="253"/>
                  </a:lnTo>
                  <a:lnTo>
                    <a:pt x="256" y="253"/>
                  </a:lnTo>
                  <a:lnTo>
                    <a:pt x="256" y="254"/>
                  </a:lnTo>
                  <a:lnTo>
                    <a:pt x="255" y="255"/>
                  </a:lnTo>
                  <a:lnTo>
                    <a:pt x="255" y="255"/>
                  </a:lnTo>
                  <a:lnTo>
                    <a:pt x="254" y="256"/>
                  </a:lnTo>
                  <a:lnTo>
                    <a:pt x="254" y="257"/>
                  </a:lnTo>
                  <a:lnTo>
                    <a:pt x="254" y="257"/>
                  </a:lnTo>
                  <a:lnTo>
                    <a:pt x="255" y="257"/>
                  </a:lnTo>
                  <a:lnTo>
                    <a:pt x="255" y="258"/>
                  </a:lnTo>
                  <a:lnTo>
                    <a:pt x="255" y="259"/>
                  </a:lnTo>
                  <a:lnTo>
                    <a:pt x="257" y="261"/>
                  </a:lnTo>
                  <a:lnTo>
                    <a:pt x="257" y="261"/>
                  </a:lnTo>
                  <a:lnTo>
                    <a:pt x="258" y="262"/>
                  </a:lnTo>
                  <a:lnTo>
                    <a:pt x="259" y="265"/>
                  </a:lnTo>
                  <a:lnTo>
                    <a:pt x="259" y="265"/>
                  </a:lnTo>
                  <a:lnTo>
                    <a:pt x="260" y="267"/>
                  </a:lnTo>
                  <a:lnTo>
                    <a:pt x="261" y="268"/>
                  </a:lnTo>
                  <a:lnTo>
                    <a:pt x="262" y="269"/>
                  </a:lnTo>
                  <a:lnTo>
                    <a:pt x="263" y="270"/>
                  </a:lnTo>
                  <a:lnTo>
                    <a:pt x="265" y="272"/>
                  </a:lnTo>
                  <a:lnTo>
                    <a:pt x="268" y="274"/>
                  </a:lnTo>
                  <a:lnTo>
                    <a:pt x="268" y="275"/>
                  </a:lnTo>
                  <a:lnTo>
                    <a:pt x="269" y="276"/>
                  </a:lnTo>
                  <a:lnTo>
                    <a:pt x="269" y="276"/>
                  </a:lnTo>
                  <a:lnTo>
                    <a:pt x="269" y="277"/>
                  </a:lnTo>
                  <a:lnTo>
                    <a:pt x="269" y="278"/>
                  </a:lnTo>
                  <a:lnTo>
                    <a:pt x="269" y="278"/>
                  </a:lnTo>
                  <a:lnTo>
                    <a:pt x="269" y="279"/>
                  </a:lnTo>
                  <a:lnTo>
                    <a:pt x="269" y="280"/>
                  </a:lnTo>
                  <a:lnTo>
                    <a:pt x="268" y="281"/>
                  </a:lnTo>
                  <a:lnTo>
                    <a:pt x="268" y="282"/>
                  </a:lnTo>
                  <a:lnTo>
                    <a:pt x="268" y="282"/>
                  </a:lnTo>
                  <a:lnTo>
                    <a:pt x="268" y="283"/>
                  </a:lnTo>
                  <a:lnTo>
                    <a:pt x="268" y="284"/>
                  </a:lnTo>
                  <a:lnTo>
                    <a:pt x="268" y="284"/>
                  </a:lnTo>
                  <a:lnTo>
                    <a:pt x="268" y="285"/>
                  </a:lnTo>
                  <a:lnTo>
                    <a:pt x="269" y="285"/>
                  </a:lnTo>
                  <a:lnTo>
                    <a:pt x="269" y="286"/>
                  </a:lnTo>
                  <a:lnTo>
                    <a:pt x="270" y="286"/>
                  </a:lnTo>
                  <a:lnTo>
                    <a:pt x="271" y="287"/>
                  </a:lnTo>
                  <a:lnTo>
                    <a:pt x="271" y="287"/>
                  </a:lnTo>
                  <a:lnTo>
                    <a:pt x="272" y="288"/>
                  </a:lnTo>
                  <a:lnTo>
                    <a:pt x="273" y="288"/>
                  </a:lnTo>
                  <a:lnTo>
                    <a:pt x="275" y="289"/>
                  </a:lnTo>
                  <a:lnTo>
                    <a:pt x="276" y="289"/>
                  </a:lnTo>
                  <a:lnTo>
                    <a:pt x="276" y="290"/>
                  </a:lnTo>
                  <a:lnTo>
                    <a:pt x="277" y="290"/>
                  </a:lnTo>
                  <a:lnTo>
                    <a:pt x="277" y="291"/>
                  </a:lnTo>
                  <a:lnTo>
                    <a:pt x="277" y="291"/>
                  </a:lnTo>
                  <a:lnTo>
                    <a:pt x="277" y="292"/>
                  </a:lnTo>
                  <a:lnTo>
                    <a:pt x="277" y="292"/>
                  </a:lnTo>
                  <a:lnTo>
                    <a:pt x="277" y="293"/>
                  </a:lnTo>
                  <a:lnTo>
                    <a:pt x="277" y="294"/>
                  </a:lnTo>
                  <a:lnTo>
                    <a:pt x="277" y="296"/>
                  </a:lnTo>
                  <a:lnTo>
                    <a:pt x="277" y="296"/>
                  </a:lnTo>
                  <a:lnTo>
                    <a:pt x="277" y="297"/>
                  </a:lnTo>
                  <a:lnTo>
                    <a:pt x="277" y="297"/>
                  </a:lnTo>
                  <a:lnTo>
                    <a:pt x="278" y="298"/>
                  </a:lnTo>
                  <a:lnTo>
                    <a:pt x="278" y="298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8" y="300"/>
                  </a:lnTo>
                  <a:lnTo>
                    <a:pt x="277" y="302"/>
                  </a:lnTo>
                  <a:lnTo>
                    <a:pt x="277" y="302"/>
                  </a:lnTo>
                  <a:lnTo>
                    <a:pt x="277" y="303"/>
                  </a:lnTo>
                  <a:lnTo>
                    <a:pt x="277" y="304"/>
                  </a:lnTo>
                  <a:lnTo>
                    <a:pt x="277" y="304"/>
                  </a:lnTo>
                  <a:lnTo>
                    <a:pt x="277" y="305"/>
                  </a:lnTo>
                  <a:lnTo>
                    <a:pt x="278" y="305"/>
                  </a:lnTo>
                  <a:lnTo>
                    <a:pt x="278" y="306"/>
                  </a:lnTo>
                  <a:lnTo>
                    <a:pt x="279" y="306"/>
                  </a:lnTo>
                  <a:lnTo>
                    <a:pt x="279" y="307"/>
                  </a:lnTo>
                  <a:lnTo>
                    <a:pt x="279" y="307"/>
                  </a:lnTo>
                  <a:lnTo>
                    <a:pt x="280" y="308"/>
                  </a:lnTo>
                  <a:lnTo>
                    <a:pt x="281" y="308"/>
                  </a:lnTo>
                  <a:lnTo>
                    <a:pt x="282" y="308"/>
                  </a:lnTo>
                  <a:lnTo>
                    <a:pt x="282" y="308"/>
                  </a:lnTo>
                  <a:lnTo>
                    <a:pt x="283" y="309"/>
                  </a:lnTo>
                  <a:lnTo>
                    <a:pt x="284" y="309"/>
                  </a:lnTo>
                  <a:lnTo>
                    <a:pt x="288" y="309"/>
                  </a:lnTo>
                  <a:lnTo>
                    <a:pt x="289" y="309"/>
                  </a:lnTo>
                  <a:lnTo>
                    <a:pt x="292" y="309"/>
                  </a:lnTo>
                  <a:lnTo>
                    <a:pt x="292" y="309"/>
                  </a:lnTo>
                  <a:lnTo>
                    <a:pt x="293" y="309"/>
                  </a:lnTo>
                  <a:lnTo>
                    <a:pt x="293" y="309"/>
                  </a:lnTo>
                  <a:lnTo>
                    <a:pt x="294" y="309"/>
                  </a:lnTo>
                  <a:lnTo>
                    <a:pt x="294" y="308"/>
                  </a:lnTo>
                  <a:lnTo>
                    <a:pt x="294" y="308"/>
                  </a:lnTo>
                  <a:lnTo>
                    <a:pt x="295" y="307"/>
                  </a:lnTo>
                  <a:lnTo>
                    <a:pt x="296" y="305"/>
                  </a:lnTo>
                  <a:lnTo>
                    <a:pt x="297" y="304"/>
                  </a:lnTo>
                  <a:lnTo>
                    <a:pt x="297" y="303"/>
                  </a:lnTo>
                  <a:lnTo>
                    <a:pt x="297" y="303"/>
                  </a:lnTo>
                  <a:lnTo>
                    <a:pt x="298" y="302"/>
                  </a:lnTo>
                  <a:lnTo>
                    <a:pt x="298" y="302"/>
                  </a:lnTo>
                  <a:lnTo>
                    <a:pt x="299" y="302"/>
                  </a:lnTo>
                  <a:lnTo>
                    <a:pt x="300" y="301"/>
                  </a:lnTo>
                  <a:lnTo>
                    <a:pt x="303" y="301"/>
                  </a:lnTo>
                  <a:lnTo>
                    <a:pt x="304" y="300"/>
                  </a:lnTo>
                  <a:lnTo>
                    <a:pt x="306" y="300"/>
                  </a:lnTo>
                  <a:lnTo>
                    <a:pt x="307" y="299"/>
                  </a:lnTo>
                  <a:lnTo>
                    <a:pt x="310" y="298"/>
                  </a:lnTo>
                  <a:lnTo>
                    <a:pt x="312" y="298"/>
                  </a:lnTo>
                  <a:lnTo>
                    <a:pt x="313" y="297"/>
                  </a:lnTo>
                  <a:lnTo>
                    <a:pt x="314" y="297"/>
                  </a:lnTo>
                  <a:lnTo>
                    <a:pt x="315" y="296"/>
                  </a:lnTo>
                  <a:lnTo>
                    <a:pt x="316" y="296"/>
                  </a:lnTo>
                  <a:lnTo>
                    <a:pt x="321" y="292"/>
                  </a:lnTo>
                  <a:lnTo>
                    <a:pt x="323" y="290"/>
                  </a:lnTo>
                  <a:lnTo>
                    <a:pt x="324" y="289"/>
                  </a:lnTo>
                  <a:lnTo>
                    <a:pt x="325" y="289"/>
                  </a:lnTo>
                  <a:lnTo>
                    <a:pt x="326" y="289"/>
                  </a:lnTo>
                  <a:lnTo>
                    <a:pt x="327" y="288"/>
                  </a:lnTo>
                  <a:lnTo>
                    <a:pt x="329" y="287"/>
                  </a:lnTo>
                  <a:lnTo>
                    <a:pt x="330" y="287"/>
                  </a:lnTo>
                  <a:lnTo>
                    <a:pt x="331" y="286"/>
                  </a:lnTo>
                  <a:lnTo>
                    <a:pt x="332" y="286"/>
                  </a:lnTo>
                  <a:lnTo>
                    <a:pt x="333" y="285"/>
                  </a:lnTo>
                  <a:lnTo>
                    <a:pt x="334" y="285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6" y="282"/>
                  </a:lnTo>
                  <a:lnTo>
                    <a:pt x="336" y="282"/>
                  </a:lnTo>
                  <a:lnTo>
                    <a:pt x="337" y="282"/>
                  </a:lnTo>
                  <a:lnTo>
                    <a:pt x="338" y="281"/>
                  </a:lnTo>
                  <a:lnTo>
                    <a:pt x="338" y="281"/>
                  </a:lnTo>
                  <a:lnTo>
                    <a:pt x="339" y="281"/>
                  </a:lnTo>
                  <a:lnTo>
                    <a:pt x="342" y="281"/>
                  </a:lnTo>
                  <a:lnTo>
                    <a:pt x="343" y="280"/>
                  </a:lnTo>
                  <a:lnTo>
                    <a:pt x="345" y="280"/>
                  </a:lnTo>
                  <a:lnTo>
                    <a:pt x="347" y="280"/>
                  </a:lnTo>
                  <a:lnTo>
                    <a:pt x="349" y="280"/>
                  </a:lnTo>
                  <a:lnTo>
                    <a:pt x="350" y="280"/>
                  </a:lnTo>
                  <a:lnTo>
                    <a:pt x="350" y="280"/>
                  </a:lnTo>
                  <a:lnTo>
                    <a:pt x="351" y="280"/>
                  </a:lnTo>
                  <a:lnTo>
                    <a:pt x="352" y="281"/>
                  </a:lnTo>
                  <a:lnTo>
                    <a:pt x="354" y="281"/>
                  </a:lnTo>
                  <a:lnTo>
                    <a:pt x="355" y="282"/>
                  </a:lnTo>
                  <a:lnTo>
                    <a:pt x="356" y="283"/>
                  </a:lnTo>
                  <a:lnTo>
                    <a:pt x="358" y="284"/>
                  </a:lnTo>
                  <a:lnTo>
                    <a:pt x="360" y="285"/>
                  </a:lnTo>
                  <a:lnTo>
                    <a:pt x="360" y="285"/>
                  </a:lnTo>
                  <a:lnTo>
                    <a:pt x="361" y="285"/>
                  </a:lnTo>
                  <a:lnTo>
                    <a:pt x="362" y="286"/>
                  </a:lnTo>
                  <a:lnTo>
                    <a:pt x="363" y="286"/>
                  </a:lnTo>
                  <a:lnTo>
                    <a:pt x="365" y="286"/>
                  </a:lnTo>
                  <a:lnTo>
                    <a:pt x="366" y="286"/>
                  </a:lnTo>
                  <a:lnTo>
                    <a:pt x="366" y="286"/>
                  </a:lnTo>
                  <a:lnTo>
                    <a:pt x="367" y="286"/>
                  </a:lnTo>
                  <a:lnTo>
                    <a:pt x="368" y="286"/>
                  </a:lnTo>
                  <a:lnTo>
                    <a:pt x="368" y="285"/>
                  </a:lnTo>
                  <a:lnTo>
                    <a:pt x="369" y="285"/>
                  </a:lnTo>
                  <a:lnTo>
                    <a:pt x="370" y="284"/>
                  </a:lnTo>
                  <a:lnTo>
                    <a:pt x="372" y="282"/>
                  </a:lnTo>
                  <a:lnTo>
                    <a:pt x="373" y="282"/>
                  </a:lnTo>
                  <a:lnTo>
                    <a:pt x="374" y="281"/>
                  </a:lnTo>
                  <a:lnTo>
                    <a:pt x="374" y="280"/>
                  </a:lnTo>
                  <a:lnTo>
                    <a:pt x="375" y="279"/>
                  </a:lnTo>
                  <a:lnTo>
                    <a:pt x="375" y="278"/>
                  </a:lnTo>
                  <a:lnTo>
                    <a:pt x="375" y="277"/>
                  </a:lnTo>
                  <a:lnTo>
                    <a:pt x="375" y="276"/>
                  </a:lnTo>
                  <a:lnTo>
                    <a:pt x="375" y="275"/>
                  </a:lnTo>
                  <a:lnTo>
                    <a:pt x="374" y="271"/>
                  </a:lnTo>
                  <a:lnTo>
                    <a:pt x="374" y="269"/>
                  </a:lnTo>
                  <a:lnTo>
                    <a:pt x="374" y="268"/>
                  </a:lnTo>
                  <a:lnTo>
                    <a:pt x="374" y="267"/>
                  </a:lnTo>
                  <a:lnTo>
                    <a:pt x="373" y="267"/>
                  </a:lnTo>
                  <a:lnTo>
                    <a:pt x="373" y="266"/>
                  </a:lnTo>
                  <a:lnTo>
                    <a:pt x="373" y="266"/>
                  </a:lnTo>
                  <a:lnTo>
                    <a:pt x="372" y="265"/>
                  </a:lnTo>
                  <a:lnTo>
                    <a:pt x="371" y="264"/>
                  </a:lnTo>
                  <a:lnTo>
                    <a:pt x="371" y="264"/>
                  </a:lnTo>
                  <a:lnTo>
                    <a:pt x="371" y="263"/>
                  </a:lnTo>
                  <a:lnTo>
                    <a:pt x="370" y="263"/>
                  </a:lnTo>
                  <a:lnTo>
                    <a:pt x="370" y="262"/>
                  </a:lnTo>
                  <a:lnTo>
                    <a:pt x="370" y="261"/>
                  </a:lnTo>
                  <a:lnTo>
                    <a:pt x="371" y="261"/>
                  </a:lnTo>
                  <a:lnTo>
                    <a:pt x="371" y="260"/>
                  </a:lnTo>
                  <a:lnTo>
                    <a:pt x="371" y="260"/>
                  </a:lnTo>
                  <a:lnTo>
                    <a:pt x="371" y="259"/>
                  </a:lnTo>
                  <a:lnTo>
                    <a:pt x="372" y="259"/>
                  </a:lnTo>
                  <a:lnTo>
                    <a:pt x="373" y="258"/>
                  </a:lnTo>
                  <a:lnTo>
                    <a:pt x="374" y="257"/>
                  </a:lnTo>
                  <a:lnTo>
                    <a:pt x="374" y="257"/>
                  </a:lnTo>
                  <a:lnTo>
                    <a:pt x="379" y="254"/>
                  </a:lnTo>
                  <a:lnTo>
                    <a:pt x="382" y="253"/>
                  </a:lnTo>
                  <a:lnTo>
                    <a:pt x="382" y="252"/>
                  </a:lnTo>
                  <a:lnTo>
                    <a:pt x="383" y="252"/>
                  </a:lnTo>
                  <a:lnTo>
                    <a:pt x="384" y="251"/>
                  </a:lnTo>
                  <a:lnTo>
                    <a:pt x="384" y="251"/>
                  </a:lnTo>
                  <a:lnTo>
                    <a:pt x="385" y="250"/>
                  </a:lnTo>
                  <a:lnTo>
                    <a:pt x="385" y="249"/>
                  </a:lnTo>
                  <a:lnTo>
                    <a:pt x="386" y="248"/>
                  </a:lnTo>
                  <a:lnTo>
                    <a:pt x="386" y="247"/>
                  </a:lnTo>
                  <a:lnTo>
                    <a:pt x="386" y="246"/>
                  </a:lnTo>
                  <a:lnTo>
                    <a:pt x="386" y="246"/>
                  </a:lnTo>
                  <a:lnTo>
                    <a:pt x="386" y="245"/>
                  </a:lnTo>
                  <a:lnTo>
                    <a:pt x="386" y="245"/>
                  </a:lnTo>
                  <a:lnTo>
                    <a:pt x="385" y="244"/>
                  </a:lnTo>
                  <a:lnTo>
                    <a:pt x="385" y="243"/>
                  </a:lnTo>
                  <a:lnTo>
                    <a:pt x="384" y="242"/>
                  </a:lnTo>
                  <a:lnTo>
                    <a:pt x="383" y="241"/>
                  </a:lnTo>
                  <a:lnTo>
                    <a:pt x="383" y="240"/>
                  </a:lnTo>
                  <a:lnTo>
                    <a:pt x="382" y="240"/>
                  </a:lnTo>
                  <a:lnTo>
                    <a:pt x="381" y="239"/>
                  </a:lnTo>
                  <a:lnTo>
                    <a:pt x="378" y="237"/>
                  </a:lnTo>
                  <a:lnTo>
                    <a:pt x="377" y="236"/>
                  </a:lnTo>
                  <a:lnTo>
                    <a:pt x="376" y="235"/>
                  </a:lnTo>
                  <a:lnTo>
                    <a:pt x="376" y="235"/>
                  </a:lnTo>
                  <a:lnTo>
                    <a:pt x="375" y="234"/>
                  </a:lnTo>
                  <a:lnTo>
                    <a:pt x="374" y="232"/>
                  </a:lnTo>
                  <a:lnTo>
                    <a:pt x="373" y="231"/>
                  </a:lnTo>
                  <a:lnTo>
                    <a:pt x="372" y="231"/>
                  </a:lnTo>
                  <a:lnTo>
                    <a:pt x="372" y="230"/>
                  </a:lnTo>
                  <a:lnTo>
                    <a:pt x="371" y="230"/>
                  </a:lnTo>
                  <a:lnTo>
                    <a:pt x="370" y="229"/>
                  </a:lnTo>
                  <a:lnTo>
                    <a:pt x="366" y="227"/>
                  </a:lnTo>
                  <a:lnTo>
                    <a:pt x="365" y="226"/>
                  </a:lnTo>
                  <a:lnTo>
                    <a:pt x="362" y="226"/>
                  </a:lnTo>
                  <a:lnTo>
                    <a:pt x="360" y="225"/>
                  </a:lnTo>
                  <a:lnTo>
                    <a:pt x="360" y="225"/>
                  </a:lnTo>
                  <a:lnTo>
                    <a:pt x="359" y="224"/>
                  </a:lnTo>
                  <a:lnTo>
                    <a:pt x="358" y="224"/>
                  </a:lnTo>
                  <a:lnTo>
                    <a:pt x="357" y="223"/>
                  </a:lnTo>
                  <a:lnTo>
                    <a:pt x="357" y="222"/>
                  </a:lnTo>
                  <a:lnTo>
                    <a:pt x="356" y="222"/>
                  </a:lnTo>
                  <a:lnTo>
                    <a:pt x="355" y="221"/>
                  </a:lnTo>
                  <a:lnTo>
                    <a:pt x="355" y="220"/>
                  </a:lnTo>
                  <a:lnTo>
                    <a:pt x="355" y="219"/>
                  </a:lnTo>
                  <a:lnTo>
                    <a:pt x="354" y="217"/>
                  </a:lnTo>
                  <a:lnTo>
                    <a:pt x="353" y="216"/>
                  </a:lnTo>
                  <a:lnTo>
                    <a:pt x="353" y="216"/>
                  </a:lnTo>
                  <a:lnTo>
                    <a:pt x="353" y="216"/>
                  </a:lnTo>
                  <a:lnTo>
                    <a:pt x="352" y="215"/>
                  </a:lnTo>
                  <a:lnTo>
                    <a:pt x="351" y="215"/>
                  </a:lnTo>
                  <a:lnTo>
                    <a:pt x="349" y="215"/>
                  </a:lnTo>
                  <a:lnTo>
                    <a:pt x="348" y="214"/>
                  </a:lnTo>
                  <a:lnTo>
                    <a:pt x="347" y="214"/>
                  </a:lnTo>
                  <a:lnTo>
                    <a:pt x="346" y="213"/>
                  </a:lnTo>
                  <a:lnTo>
                    <a:pt x="343" y="211"/>
                  </a:lnTo>
                  <a:lnTo>
                    <a:pt x="342" y="210"/>
                  </a:lnTo>
                  <a:lnTo>
                    <a:pt x="339" y="208"/>
                  </a:lnTo>
                  <a:lnTo>
                    <a:pt x="338" y="207"/>
                  </a:lnTo>
                  <a:lnTo>
                    <a:pt x="338" y="207"/>
                  </a:lnTo>
                  <a:lnTo>
                    <a:pt x="337" y="207"/>
                  </a:lnTo>
                  <a:lnTo>
                    <a:pt x="337" y="206"/>
                  </a:lnTo>
                  <a:lnTo>
                    <a:pt x="337" y="205"/>
                  </a:lnTo>
                  <a:lnTo>
                    <a:pt x="336" y="205"/>
                  </a:lnTo>
                  <a:lnTo>
                    <a:pt x="336" y="204"/>
                  </a:lnTo>
                  <a:lnTo>
                    <a:pt x="336" y="204"/>
                  </a:lnTo>
                  <a:lnTo>
                    <a:pt x="336" y="204"/>
                  </a:lnTo>
                  <a:lnTo>
                    <a:pt x="337" y="203"/>
                  </a:lnTo>
                  <a:lnTo>
                    <a:pt x="336" y="203"/>
                  </a:lnTo>
                  <a:lnTo>
                    <a:pt x="336" y="203"/>
                  </a:lnTo>
                  <a:lnTo>
                    <a:pt x="335" y="203"/>
                  </a:lnTo>
                  <a:close/>
                </a:path>
              </a:pathLst>
            </a:custGeom>
            <a:solidFill>
              <a:srgbClr val="8282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3" name="Freeform 43">
              <a:extLst>
                <a:ext uri="{FF2B5EF4-FFF2-40B4-BE49-F238E27FC236}">
                  <a16:creationId xmlns:a16="http://schemas.microsoft.com/office/drawing/2014/main" id="{D98DDA3C-3659-2AA1-83FE-462BD958B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1" y="3069"/>
              <a:ext cx="438" cy="512"/>
            </a:xfrm>
            <a:custGeom>
              <a:avLst/>
              <a:gdLst>
                <a:gd name="T0" fmla="*/ 269 w 438"/>
                <a:gd name="T1" fmla="*/ 10 h 512"/>
                <a:gd name="T2" fmla="*/ 282 w 438"/>
                <a:gd name="T3" fmla="*/ 9 h 512"/>
                <a:gd name="T4" fmla="*/ 306 w 438"/>
                <a:gd name="T5" fmla="*/ 29 h 512"/>
                <a:gd name="T6" fmla="*/ 323 w 438"/>
                <a:gd name="T7" fmla="*/ 45 h 512"/>
                <a:gd name="T8" fmla="*/ 321 w 438"/>
                <a:gd name="T9" fmla="*/ 65 h 512"/>
                <a:gd name="T10" fmla="*/ 327 w 438"/>
                <a:gd name="T11" fmla="*/ 89 h 512"/>
                <a:gd name="T12" fmla="*/ 317 w 438"/>
                <a:gd name="T13" fmla="*/ 108 h 512"/>
                <a:gd name="T14" fmla="*/ 318 w 438"/>
                <a:gd name="T15" fmla="*/ 121 h 512"/>
                <a:gd name="T16" fmla="*/ 332 w 438"/>
                <a:gd name="T17" fmla="*/ 128 h 512"/>
                <a:gd name="T18" fmla="*/ 343 w 438"/>
                <a:gd name="T19" fmla="*/ 144 h 512"/>
                <a:gd name="T20" fmla="*/ 352 w 438"/>
                <a:gd name="T21" fmla="*/ 152 h 512"/>
                <a:gd name="T22" fmla="*/ 383 w 438"/>
                <a:gd name="T23" fmla="*/ 149 h 512"/>
                <a:gd name="T24" fmla="*/ 392 w 438"/>
                <a:gd name="T25" fmla="*/ 162 h 512"/>
                <a:gd name="T26" fmla="*/ 397 w 438"/>
                <a:gd name="T27" fmla="*/ 188 h 512"/>
                <a:gd name="T28" fmla="*/ 390 w 438"/>
                <a:gd name="T29" fmla="*/ 207 h 512"/>
                <a:gd name="T30" fmla="*/ 393 w 438"/>
                <a:gd name="T31" fmla="*/ 220 h 512"/>
                <a:gd name="T32" fmla="*/ 411 w 438"/>
                <a:gd name="T33" fmla="*/ 229 h 512"/>
                <a:gd name="T34" fmla="*/ 403 w 438"/>
                <a:gd name="T35" fmla="*/ 238 h 512"/>
                <a:gd name="T36" fmla="*/ 403 w 438"/>
                <a:gd name="T37" fmla="*/ 247 h 512"/>
                <a:gd name="T38" fmla="*/ 396 w 438"/>
                <a:gd name="T39" fmla="*/ 260 h 512"/>
                <a:gd name="T40" fmla="*/ 392 w 438"/>
                <a:gd name="T41" fmla="*/ 267 h 512"/>
                <a:gd name="T42" fmla="*/ 403 w 438"/>
                <a:gd name="T43" fmla="*/ 277 h 512"/>
                <a:gd name="T44" fmla="*/ 417 w 438"/>
                <a:gd name="T45" fmla="*/ 284 h 512"/>
                <a:gd name="T46" fmla="*/ 423 w 438"/>
                <a:gd name="T47" fmla="*/ 294 h 512"/>
                <a:gd name="T48" fmla="*/ 438 w 438"/>
                <a:gd name="T49" fmla="*/ 309 h 512"/>
                <a:gd name="T50" fmla="*/ 434 w 438"/>
                <a:gd name="T51" fmla="*/ 331 h 512"/>
                <a:gd name="T52" fmla="*/ 428 w 438"/>
                <a:gd name="T53" fmla="*/ 351 h 512"/>
                <a:gd name="T54" fmla="*/ 411 w 438"/>
                <a:gd name="T55" fmla="*/ 360 h 512"/>
                <a:gd name="T56" fmla="*/ 409 w 438"/>
                <a:gd name="T57" fmla="*/ 375 h 512"/>
                <a:gd name="T58" fmla="*/ 399 w 438"/>
                <a:gd name="T59" fmla="*/ 380 h 512"/>
                <a:gd name="T60" fmla="*/ 381 w 438"/>
                <a:gd name="T61" fmla="*/ 391 h 512"/>
                <a:gd name="T62" fmla="*/ 358 w 438"/>
                <a:gd name="T63" fmla="*/ 398 h 512"/>
                <a:gd name="T64" fmla="*/ 348 w 438"/>
                <a:gd name="T65" fmla="*/ 402 h 512"/>
                <a:gd name="T66" fmla="*/ 334 w 438"/>
                <a:gd name="T67" fmla="*/ 428 h 512"/>
                <a:gd name="T68" fmla="*/ 349 w 438"/>
                <a:gd name="T69" fmla="*/ 443 h 512"/>
                <a:gd name="T70" fmla="*/ 353 w 438"/>
                <a:gd name="T71" fmla="*/ 458 h 512"/>
                <a:gd name="T72" fmla="*/ 337 w 438"/>
                <a:gd name="T73" fmla="*/ 464 h 512"/>
                <a:gd name="T74" fmla="*/ 329 w 438"/>
                <a:gd name="T75" fmla="*/ 473 h 512"/>
                <a:gd name="T76" fmla="*/ 312 w 438"/>
                <a:gd name="T77" fmla="*/ 468 h 512"/>
                <a:gd name="T78" fmla="*/ 281 w 438"/>
                <a:gd name="T79" fmla="*/ 469 h 512"/>
                <a:gd name="T80" fmla="*/ 275 w 438"/>
                <a:gd name="T81" fmla="*/ 477 h 512"/>
                <a:gd name="T82" fmla="*/ 263 w 438"/>
                <a:gd name="T83" fmla="*/ 484 h 512"/>
                <a:gd name="T84" fmla="*/ 255 w 438"/>
                <a:gd name="T85" fmla="*/ 495 h 512"/>
                <a:gd name="T86" fmla="*/ 242 w 438"/>
                <a:gd name="T87" fmla="*/ 478 h 512"/>
                <a:gd name="T88" fmla="*/ 232 w 438"/>
                <a:gd name="T89" fmla="*/ 478 h 512"/>
                <a:gd name="T90" fmla="*/ 210 w 438"/>
                <a:gd name="T91" fmla="*/ 464 h 512"/>
                <a:gd name="T92" fmla="*/ 199 w 438"/>
                <a:gd name="T93" fmla="*/ 477 h 512"/>
                <a:gd name="T94" fmla="*/ 198 w 438"/>
                <a:gd name="T95" fmla="*/ 495 h 512"/>
                <a:gd name="T96" fmla="*/ 175 w 438"/>
                <a:gd name="T97" fmla="*/ 511 h 512"/>
                <a:gd name="T98" fmla="*/ 160 w 438"/>
                <a:gd name="T99" fmla="*/ 507 h 512"/>
                <a:gd name="T100" fmla="*/ 155 w 438"/>
                <a:gd name="T101" fmla="*/ 499 h 512"/>
                <a:gd name="T102" fmla="*/ 132 w 438"/>
                <a:gd name="T103" fmla="*/ 498 h 512"/>
                <a:gd name="T104" fmla="*/ 117 w 438"/>
                <a:gd name="T105" fmla="*/ 499 h 512"/>
                <a:gd name="T106" fmla="*/ 102 w 438"/>
                <a:gd name="T107" fmla="*/ 494 h 512"/>
                <a:gd name="T108" fmla="*/ 90 w 438"/>
                <a:gd name="T109" fmla="*/ 502 h 512"/>
                <a:gd name="T110" fmla="*/ 78 w 438"/>
                <a:gd name="T111" fmla="*/ 498 h 512"/>
                <a:gd name="T112" fmla="*/ 63 w 438"/>
                <a:gd name="T113" fmla="*/ 487 h 512"/>
                <a:gd name="T114" fmla="*/ 45 w 438"/>
                <a:gd name="T115" fmla="*/ 495 h 512"/>
                <a:gd name="T116" fmla="*/ 18 w 438"/>
                <a:gd name="T117" fmla="*/ 500 h 512"/>
                <a:gd name="T118" fmla="*/ 1 w 438"/>
                <a:gd name="T119" fmla="*/ 499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8" h="512">
                  <a:moveTo>
                    <a:pt x="256" y="0"/>
                  </a:moveTo>
                  <a:lnTo>
                    <a:pt x="256" y="0"/>
                  </a:lnTo>
                  <a:lnTo>
                    <a:pt x="257" y="0"/>
                  </a:lnTo>
                  <a:lnTo>
                    <a:pt x="257" y="1"/>
                  </a:lnTo>
                  <a:lnTo>
                    <a:pt x="258" y="1"/>
                  </a:lnTo>
                  <a:lnTo>
                    <a:pt x="260" y="3"/>
                  </a:lnTo>
                  <a:lnTo>
                    <a:pt x="261" y="4"/>
                  </a:lnTo>
                  <a:lnTo>
                    <a:pt x="262" y="5"/>
                  </a:lnTo>
                  <a:lnTo>
                    <a:pt x="264" y="6"/>
                  </a:lnTo>
                  <a:lnTo>
                    <a:pt x="265" y="7"/>
                  </a:lnTo>
                  <a:lnTo>
                    <a:pt x="265" y="7"/>
                  </a:lnTo>
                  <a:lnTo>
                    <a:pt x="266" y="8"/>
                  </a:lnTo>
                  <a:lnTo>
                    <a:pt x="266" y="9"/>
                  </a:lnTo>
                  <a:lnTo>
                    <a:pt x="267" y="9"/>
                  </a:lnTo>
                  <a:lnTo>
                    <a:pt x="268" y="9"/>
                  </a:lnTo>
                  <a:lnTo>
                    <a:pt x="268" y="10"/>
                  </a:lnTo>
                  <a:lnTo>
                    <a:pt x="269" y="10"/>
                  </a:lnTo>
                  <a:lnTo>
                    <a:pt x="270" y="10"/>
                  </a:lnTo>
                  <a:lnTo>
                    <a:pt x="270" y="10"/>
                  </a:lnTo>
                  <a:lnTo>
                    <a:pt x="270" y="9"/>
                  </a:lnTo>
                  <a:lnTo>
                    <a:pt x="271" y="9"/>
                  </a:lnTo>
                  <a:lnTo>
                    <a:pt x="272" y="8"/>
                  </a:lnTo>
                  <a:lnTo>
                    <a:pt x="273" y="8"/>
                  </a:lnTo>
                  <a:lnTo>
                    <a:pt x="273" y="8"/>
                  </a:lnTo>
                  <a:lnTo>
                    <a:pt x="274" y="7"/>
                  </a:lnTo>
                  <a:lnTo>
                    <a:pt x="275" y="7"/>
                  </a:lnTo>
                  <a:lnTo>
                    <a:pt x="276" y="7"/>
                  </a:lnTo>
                  <a:lnTo>
                    <a:pt x="276" y="7"/>
                  </a:lnTo>
                  <a:lnTo>
                    <a:pt x="279" y="8"/>
                  </a:lnTo>
                  <a:lnTo>
                    <a:pt x="280" y="8"/>
                  </a:lnTo>
                  <a:lnTo>
                    <a:pt x="281" y="8"/>
                  </a:lnTo>
                  <a:lnTo>
                    <a:pt x="281" y="8"/>
                  </a:lnTo>
                  <a:lnTo>
                    <a:pt x="281" y="9"/>
                  </a:lnTo>
                  <a:lnTo>
                    <a:pt x="282" y="9"/>
                  </a:lnTo>
                  <a:lnTo>
                    <a:pt x="284" y="10"/>
                  </a:lnTo>
                  <a:lnTo>
                    <a:pt x="286" y="14"/>
                  </a:lnTo>
                  <a:lnTo>
                    <a:pt x="290" y="18"/>
                  </a:lnTo>
                  <a:lnTo>
                    <a:pt x="292" y="20"/>
                  </a:lnTo>
                  <a:lnTo>
                    <a:pt x="293" y="21"/>
                  </a:lnTo>
                  <a:lnTo>
                    <a:pt x="293" y="21"/>
                  </a:lnTo>
                  <a:lnTo>
                    <a:pt x="294" y="22"/>
                  </a:lnTo>
                  <a:lnTo>
                    <a:pt x="295" y="22"/>
                  </a:lnTo>
                  <a:lnTo>
                    <a:pt x="296" y="22"/>
                  </a:lnTo>
                  <a:lnTo>
                    <a:pt x="298" y="23"/>
                  </a:lnTo>
                  <a:lnTo>
                    <a:pt x="299" y="24"/>
                  </a:lnTo>
                  <a:lnTo>
                    <a:pt x="300" y="24"/>
                  </a:lnTo>
                  <a:lnTo>
                    <a:pt x="301" y="25"/>
                  </a:lnTo>
                  <a:lnTo>
                    <a:pt x="302" y="26"/>
                  </a:lnTo>
                  <a:lnTo>
                    <a:pt x="304" y="27"/>
                  </a:lnTo>
                  <a:lnTo>
                    <a:pt x="305" y="28"/>
                  </a:lnTo>
                  <a:lnTo>
                    <a:pt x="306" y="29"/>
                  </a:lnTo>
                  <a:lnTo>
                    <a:pt x="306" y="30"/>
                  </a:lnTo>
                  <a:lnTo>
                    <a:pt x="307" y="31"/>
                  </a:lnTo>
                  <a:lnTo>
                    <a:pt x="308" y="32"/>
                  </a:lnTo>
                  <a:lnTo>
                    <a:pt x="310" y="35"/>
                  </a:lnTo>
                  <a:lnTo>
                    <a:pt x="310" y="36"/>
                  </a:lnTo>
                  <a:lnTo>
                    <a:pt x="310" y="37"/>
                  </a:lnTo>
                  <a:lnTo>
                    <a:pt x="311" y="37"/>
                  </a:lnTo>
                  <a:lnTo>
                    <a:pt x="312" y="38"/>
                  </a:lnTo>
                  <a:lnTo>
                    <a:pt x="313" y="38"/>
                  </a:lnTo>
                  <a:lnTo>
                    <a:pt x="313" y="39"/>
                  </a:lnTo>
                  <a:lnTo>
                    <a:pt x="314" y="39"/>
                  </a:lnTo>
                  <a:lnTo>
                    <a:pt x="316" y="40"/>
                  </a:lnTo>
                  <a:lnTo>
                    <a:pt x="317" y="41"/>
                  </a:lnTo>
                  <a:lnTo>
                    <a:pt x="322" y="43"/>
                  </a:lnTo>
                  <a:lnTo>
                    <a:pt x="323" y="43"/>
                  </a:lnTo>
                  <a:lnTo>
                    <a:pt x="324" y="44"/>
                  </a:lnTo>
                  <a:lnTo>
                    <a:pt x="323" y="45"/>
                  </a:lnTo>
                  <a:lnTo>
                    <a:pt x="322" y="46"/>
                  </a:lnTo>
                  <a:lnTo>
                    <a:pt x="320" y="48"/>
                  </a:lnTo>
                  <a:lnTo>
                    <a:pt x="319" y="49"/>
                  </a:lnTo>
                  <a:lnTo>
                    <a:pt x="318" y="50"/>
                  </a:lnTo>
                  <a:lnTo>
                    <a:pt x="317" y="51"/>
                  </a:lnTo>
                  <a:lnTo>
                    <a:pt x="317" y="52"/>
                  </a:lnTo>
                  <a:lnTo>
                    <a:pt x="317" y="52"/>
                  </a:lnTo>
                  <a:lnTo>
                    <a:pt x="317" y="53"/>
                  </a:lnTo>
                  <a:lnTo>
                    <a:pt x="317" y="54"/>
                  </a:lnTo>
                  <a:lnTo>
                    <a:pt x="317" y="54"/>
                  </a:lnTo>
                  <a:lnTo>
                    <a:pt x="317" y="55"/>
                  </a:lnTo>
                  <a:lnTo>
                    <a:pt x="317" y="56"/>
                  </a:lnTo>
                  <a:lnTo>
                    <a:pt x="318" y="58"/>
                  </a:lnTo>
                  <a:lnTo>
                    <a:pt x="319" y="60"/>
                  </a:lnTo>
                  <a:lnTo>
                    <a:pt x="319" y="61"/>
                  </a:lnTo>
                  <a:lnTo>
                    <a:pt x="320" y="63"/>
                  </a:lnTo>
                  <a:lnTo>
                    <a:pt x="321" y="65"/>
                  </a:lnTo>
                  <a:lnTo>
                    <a:pt x="321" y="66"/>
                  </a:lnTo>
                  <a:lnTo>
                    <a:pt x="321" y="66"/>
                  </a:lnTo>
                  <a:lnTo>
                    <a:pt x="321" y="67"/>
                  </a:lnTo>
                  <a:lnTo>
                    <a:pt x="321" y="69"/>
                  </a:lnTo>
                  <a:lnTo>
                    <a:pt x="321" y="74"/>
                  </a:lnTo>
                  <a:lnTo>
                    <a:pt x="321" y="75"/>
                  </a:lnTo>
                  <a:lnTo>
                    <a:pt x="321" y="76"/>
                  </a:lnTo>
                  <a:lnTo>
                    <a:pt x="322" y="77"/>
                  </a:lnTo>
                  <a:lnTo>
                    <a:pt x="322" y="78"/>
                  </a:lnTo>
                  <a:lnTo>
                    <a:pt x="322" y="78"/>
                  </a:lnTo>
                  <a:lnTo>
                    <a:pt x="323" y="80"/>
                  </a:lnTo>
                  <a:lnTo>
                    <a:pt x="324" y="81"/>
                  </a:lnTo>
                  <a:lnTo>
                    <a:pt x="324" y="82"/>
                  </a:lnTo>
                  <a:lnTo>
                    <a:pt x="325" y="83"/>
                  </a:lnTo>
                  <a:lnTo>
                    <a:pt x="325" y="84"/>
                  </a:lnTo>
                  <a:lnTo>
                    <a:pt x="326" y="87"/>
                  </a:lnTo>
                  <a:lnTo>
                    <a:pt x="327" y="89"/>
                  </a:lnTo>
                  <a:lnTo>
                    <a:pt x="327" y="90"/>
                  </a:lnTo>
                  <a:lnTo>
                    <a:pt x="327" y="91"/>
                  </a:lnTo>
                  <a:lnTo>
                    <a:pt x="327" y="93"/>
                  </a:lnTo>
                  <a:lnTo>
                    <a:pt x="326" y="94"/>
                  </a:lnTo>
                  <a:lnTo>
                    <a:pt x="326" y="95"/>
                  </a:lnTo>
                  <a:lnTo>
                    <a:pt x="325" y="96"/>
                  </a:lnTo>
                  <a:lnTo>
                    <a:pt x="325" y="97"/>
                  </a:lnTo>
                  <a:lnTo>
                    <a:pt x="323" y="99"/>
                  </a:lnTo>
                  <a:lnTo>
                    <a:pt x="323" y="100"/>
                  </a:lnTo>
                  <a:lnTo>
                    <a:pt x="322" y="101"/>
                  </a:lnTo>
                  <a:lnTo>
                    <a:pt x="321" y="104"/>
                  </a:lnTo>
                  <a:lnTo>
                    <a:pt x="321" y="105"/>
                  </a:lnTo>
                  <a:lnTo>
                    <a:pt x="321" y="105"/>
                  </a:lnTo>
                  <a:lnTo>
                    <a:pt x="320" y="105"/>
                  </a:lnTo>
                  <a:lnTo>
                    <a:pt x="320" y="106"/>
                  </a:lnTo>
                  <a:lnTo>
                    <a:pt x="319" y="106"/>
                  </a:lnTo>
                  <a:lnTo>
                    <a:pt x="317" y="108"/>
                  </a:lnTo>
                  <a:lnTo>
                    <a:pt x="316" y="108"/>
                  </a:lnTo>
                  <a:lnTo>
                    <a:pt x="316" y="108"/>
                  </a:lnTo>
                  <a:lnTo>
                    <a:pt x="315" y="109"/>
                  </a:lnTo>
                  <a:lnTo>
                    <a:pt x="315" y="110"/>
                  </a:lnTo>
                  <a:lnTo>
                    <a:pt x="315" y="110"/>
                  </a:lnTo>
                  <a:lnTo>
                    <a:pt x="314" y="111"/>
                  </a:lnTo>
                  <a:lnTo>
                    <a:pt x="314" y="111"/>
                  </a:lnTo>
                  <a:lnTo>
                    <a:pt x="314" y="112"/>
                  </a:lnTo>
                  <a:lnTo>
                    <a:pt x="314" y="113"/>
                  </a:lnTo>
                  <a:lnTo>
                    <a:pt x="315" y="114"/>
                  </a:lnTo>
                  <a:lnTo>
                    <a:pt x="315" y="114"/>
                  </a:lnTo>
                  <a:lnTo>
                    <a:pt x="315" y="115"/>
                  </a:lnTo>
                  <a:lnTo>
                    <a:pt x="316" y="117"/>
                  </a:lnTo>
                  <a:lnTo>
                    <a:pt x="317" y="118"/>
                  </a:lnTo>
                  <a:lnTo>
                    <a:pt x="317" y="119"/>
                  </a:lnTo>
                  <a:lnTo>
                    <a:pt x="318" y="120"/>
                  </a:lnTo>
                  <a:lnTo>
                    <a:pt x="318" y="121"/>
                  </a:lnTo>
                  <a:lnTo>
                    <a:pt x="318" y="122"/>
                  </a:lnTo>
                  <a:lnTo>
                    <a:pt x="319" y="123"/>
                  </a:lnTo>
                  <a:lnTo>
                    <a:pt x="319" y="124"/>
                  </a:lnTo>
                  <a:lnTo>
                    <a:pt x="320" y="124"/>
                  </a:lnTo>
                  <a:lnTo>
                    <a:pt x="320" y="125"/>
                  </a:lnTo>
                  <a:lnTo>
                    <a:pt x="321" y="125"/>
                  </a:lnTo>
                  <a:lnTo>
                    <a:pt x="322" y="126"/>
                  </a:lnTo>
                  <a:lnTo>
                    <a:pt x="323" y="126"/>
                  </a:lnTo>
                  <a:lnTo>
                    <a:pt x="323" y="126"/>
                  </a:lnTo>
                  <a:lnTo>
                    <a:pt x="324" y="127"/>
                  </a:lnTo>
                  <a:lnTo>
                    <a:pt x="324" y="127"/>
                  </a:lnTo>
                  <a:lnTo>
                    <a:pt x="325" y="127"/>
                  </a:lnTo>
                  <a:lnTo>
                    <a:pt x="326" y="127"/>
                  </a:lnTo>
                  <a:lnTo>
                    <a:pt x="329" y="127"/>
                  </a:lnTo>
                  <a:lnTo>
                    <a:pt x="330" y="128"/>
                  </a:lnTo>
                  <a:lnTo>
                    <a:pt x="330" y="128"/>
                  </a:lnTo>
                  <a:lnTo>
                    <a:pt x="332" y="128"/>
                  </a:lnTo>
                  <a:lnTo>
                    <a:pt x="333" y="129"/>
                  </a:lnTo>
                  <a:lnTo>
                    <a:pt x="334" y="129"/>
                  </a:lnTo>
                  <a:lnTo>
                    <a:pt x="334" y="130"/>
                  </a:lnTo>
                  <a:lnTo>
                    <a:pt x="335" y="130"/>
                  </a:lnTo>
                  <a:lnTo>
                    <a:pt x="336" y="132"/>
                  </a:lnTo>
                  <a:lnTo>
                    <a:pt x="336" y="132"/>
                  </a:lnTo>
                  <a:lnTo>
                    <a:pt x="337" y="133"/>
                  </a:lnTo>
                  <a:lnTo>
                    <a:pt x="338" y="134"/>
                  </a:lnTo>
                  <a:lnTo>
                    <a:pt x="339" y="135"/>
                  </a:lnTo>
                  <a:lnTo>
                    <a:pt x="341" y="137"/>
                  </a:lnTo>
                  <a:lnTo>
                    <a:pt x="341" y="137"/>
                  </a:lnTo>
                  <a:lnTo>
                    <a:pt x="342" y="138"/>
                  </a:lnTo>
                  <a:lnTo>
                    <a:pt x="342" y="139"/>
                  </a:lnTo>
                  <a:lnTo>
                    <a:pt x="343" y="139"/>
                  </a:lnTo>
                  <a:lnTo>
                    <a:pt x="343" y="140"/>
                  </a:lnTo>
                  <a:lnTo>
                    <a:pt x="343" y="142"/>
                  </a:lnTo>
                  <a:lnTo>
                    <a:pt x="343" y="144"/>
                  </a:lnTo>
                  <a:lnTo>
                    <a:pt x="343" y="144"/>
                  </a:lnTo>
                  <a:lnTo>
                    <a:pt x="343" y="145"/>
                  </a:lnTo>
                  <a:lnTo>
                    <a:pt x="343" y="146"/>
                  </a:lnTo>
                  <a:lnTo>
                    <a:pt x="344" y="147"/>
                  </a:lnTo>
                  <a:lnTo>
                    <a:pt x="344" y="148"/>
                  </a:lnTo>
                  <a:lnTo>
                    <a:pt x="344" y="148"/>
                  </a:lnTo>
                  <a:lnTo>
                    <a:pt x="345" y="149"/>
                  </a:lnTo>
                  <a:lnTo>
                    <a:pt x="345" y="149"/>
                  </a:lnTo>
                  <a:lnTo>
                    <a:pt x="346" y="150"/>
                  </a:lnTo>
                  <a:lnTo>
                    <a:pt x="347" y="150"/>
                  </a:lnTo>
                  <a:lnTo>
                    <a:pt x="347" y="151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50" y="152"/>
                  </a:lnTo>
                  <a:lnTo>
                    <a:pt x="350" y="152"/>
                  </a:lnTo>
                  <a:lnTo>
                    <a:pt x="351" y="152"/>
                  </a:lnTo>
                  <a:lnTo>
                    <a:pt x="352" y="152"/>
                  </a:lnTo>
                  <a:lnTo>
                    <a:pt x="353" y="152"/>
                  </a:lnTo>
                  <a:lnTo>
                    <a:pt x="357" y="151"/>
                  </a:lnTo>
                  <a:lnTo>
                    <a:pt x="358" y="151"/>
                  </a:lnTo>
                  <a:lnTo>
                    <a:pt x="359" y="151"/>
                  </a:lnTo>
                  <a:lnTo>
                    <a:pt x="363" y="152"/>
                  </a:lnTo>
                  <a:lnTo>
                    <a:pt x="366" y="152"/>
                  </a:lnTo>
                  <a:lnTo>
                    <a:pt x="369" y="153"/>
                  </a:lnTo>
                  <a:lnTo>
                    <a:pt x="370" y="153"/>
                  </a:lnTo>
                  <a:lnTo>
                    <a:pt x="371" y="153"/>
                  </a:lnTo>
                  <a:lnTo>
                    <a:pt x="372" y="153"/>
                  </a:lnTo>
                  <a:lnTo>
                    <a:pt x="373" y="152"/>
                  </a:lnTo>
                  <a:lnTo>
                    <a:pt x="377" y="151"/>
                  </a:lnTo>
                  <a:lnTo>
                    <a:pt x="379" y="150"/>
                  </a:lnTo>
                  <a:lnTo>
                    <a:pt x="380" y="150"/>
                  </a:lnTo>
                  <a:lnTo>
                    <a:pt x="382" y="149"/>
                  </a:lnTo>
                  <a:lnTo>
                    <a:pt x="382" y="149"/>
                  </a:lnTo>
                  <a:lnTo>
                    <a:pt x="383" y="149"/>
                  </a:lnTo>
                  <a:lnTo>
                    <a:pt x="384" y="149"/>
                  </a:lnTo>
                  <a:lnTo>
                    <a:pt x="384" y="149"/>
                  </a:lnTo>
                  <a:lnTo>
                    <a:pt x="385" y="149"/>
                  </a:lnTo>
                  <a:lnTo>
                    <a:pt x="386" y="149"/>
                  </a:lnTo>
                  <a:lnTo>
                    <a:pt x="386" y="150"/>
                  </a:lnTo>
                  <a:lnTo>
                    <a:pt x="387" y="151"/>
                  </a:lnTo>
                  <a:lnTo>
                    <a:pt x="389" y="152"/>
                  </a:lnTo>
                  <a:lnTo>
                    <a:pt x="389" y="153"/>
                  </a:lnTo>
                  <a:lnTo>
                    <a:pt x="390" y="153"/>
                  </a:lnTo>
                  <a:lnTo>
                    <a:pt x="391" y="154"/>
                  </a:lnTo>
                  <a:lnTo>
                    <a:pt x="391" y="155"/>
                  </a:lnTo>
                  <a:lnTo>
                    <a:pt x="391" y="155"/>
                  </a:lnTo>
                  <a:lnTo>
                    <a:pt x="392" y="156"/>
                  </a:lnTo>
                  <a:lnTo>
                    <a:pt x="392" y="158"/>
                  </a:lnTo>
                  <a:lnTo>
                    <a:pt x="392" y="158"/>
                  </a:lnTo>
                  <a:lnTo>
                    <a:pt x="392" y="160"/>
                  </a:lnTo>
                  <a:lnTo>
                    <a:pt x="392" y="162"/>
                  </a:lnTo>
                  <a:lnTo>
                    <a:pt x="393" y="165"/>
                  </a:lnTo>
                  <a:lnTo>
                    <a:pt x="393" y="167"/>
                  </a:lnTo>
                  <a:lnTo>
                    <a:pt x="392" y="168"/>
                  </a:lnTo>
                  <a:lnTo>
                    <a:pt x="392" y="171"/>
                  </a:lnTo>
                  <a:lnTo>
                    <a:pt x="392" y="172"/>
                  </a:lnTo>
                  <a:lnTo>
                    <a:pt x="392" y="173"/>
                  </a:lnTo>
                  <a:lnTo>
                    <a:pt x="392" y="174"/>
                  </a:lnTo>
                  <a:lnTo>
                    <a:pt x="392" y="176"/>
                  </a:lnTo>
                  <a:lnTo>
                    <a:pt x="392" y="178"/>
                  </a:lnTo>
                  <a:lnTo>
                    <a:pt x="392" y="179"/>
                  </a:lnTo>
                  <a:lnTo>
                    <a:pt x="392" y="179"/>
                  </a:lnTo>
                  <a:lnTo>
                    <a:pt x="392" y="180"/>
                  </a:lnTo>
                  <a:lnTo>
                    <a:pt x="393" y="182"/>
                  </a:lnTo>
                  <a:lnTo>
                    <a:pt x="394" y="183"/>
                  </a:lnTo>
                  <a:lnTo>
                    <a:pt x="396" y="185"/>
                  </a:lnTo>
                  <a:lnTo>
                    <a:pt x="396" y="186"/>
                  </a:lnTo>
                  <a:lnTo>
                    <a:pt x="397" y="188"/>
                  </a:lnTo>
                  <a:lnTo>
                    <a:pt x="397" y="189"/>
                  </a:lnTo>
                  <a:lnTo>
                    <a:pt x="398" y="191"/>
                  </a:lnTo>
                  <a:lnTo>
                    <a:pt x="398" y="191"/>
                  </a:lnTo>
                  <a:lnTo>
                    <a:pt x="398" y="192"/>
                  </a:lnTo>
                  <a:lnTo>
                    <a:pt x="398" y="192"/>
                  </a:lnTo>
                  <a:lnTo>
                    <a:pt x="398" y="193"/>
                  </a:lnTo>
                  <a:lnTo>
                    <a:pt x="398" y="194"/>
                  </a:lnTo>
                  <a:lnTo>
                    <a:pt x="397" y="195"/>
                  </a:lnTo>
                  <a:lnTo>
                    <a:pt x="397" y="196"/>
                  </a:lnTo>
                  <a:lnTo>
                    <a:pt x="396" y="198"/>
                  </a:lnTo>
                  <a:lnTo>
                    <a:pt x="396" y="199"/>
                  </a:lnTo>
                  <a:lnTo>
                    <a:pt x="395" y="200"/>
                  </a:lnTo>
                  <a:lnTo>
                    <a:pt x="394" y="202"/>
                  </a:lnTo>
                  <a:lnTo>
                    <a:pt x="393" y="203"/>
                  </a:lnTo>
                  <a:lnTo>
                    <a:pt x="392" y="204"/>
                  </a:lnTo>
                  <a:lnTo>
                    <a:pt x="391" y="206"/>
                  </a:lnTo>
                  <a:lnTo>
                    <a:pt x="390" y="207"/>
                  </a:lnTo>
                  <a:lnTo>
                    <a:pt x="389" y="208"/>
                  </a:lnTo>
                  <a:lnTo>
                    <a:pt x="389" y="209"/>
                  </a:lnTo>
                  <a:lnTo>
                    <a:pt x="388" y="210"/>
                  </a:lnTo>
                  <a:lnTo>
                    <a:pt x="388" y="210"/>
                  </a:lnTo>
                  <a:lnTo>
                    <a:pt x="388" y="211"/>
                  </a:lnTo>
                  <a:lnTo>
                    <a:pt x="389" y="212"/>
                  </a:lnTo>
                  <a:lnTo>
                    <a:pt x="389" y="213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8" y="217"/>
                  </a:lnTo>
                  <a:lnTo>
                    <a:pt x="388" y="217"/>
                  </a:lnTo>
                  <a:lnTo>
                    <a:pt x="388" y="217"/>
                  </a:lnTo>
                  <a:lnTo>
                    <a:pt x="388" y="218"/>
                  </a:lnTo>
                  <a:lnTo>
                    <a:pt x="388" y="218"/>
                  </a:lnTo>
                  <a:lnTo>
                    <a:pt x="389" y="218"/>
                  </a:lnTo>
                  <a:lnTo>
                    <a:pt x="390" y="219"/>
                  </a:lnTo>
                  <a:lnTo>
                    <a:pt x="393" y="220"/>
                  </a:lnTo>
                  <a:lnTo>
                    <a:pt x="397" y="221"/>
                  </a:lnTo>
                  <a:lnTo>
                    <a:pt x="398" y="221"/>
                  </a:lnTo>
                  <a:lnTo>
                    <a:pt x="399" y="221"/>
                  </a:lnTo>
                  <a:lnTo>
                    <a:pt x="401" y="222"/>
                  </a:lnTo>
                  <a:lnTo>
                    <a:pt x="402" y="222"/>
                  </a:lnTo>
                  <a:lnTo>
                    <a:pt x="403" y="222"/>
                  </a:lnTo>
                  <a:lnTo>
                    <a:pt x="404" y="223"/>
                  </a:lnTo>
                  <a:lnTo>
                    <a:pt x="405" y="223"/>
                  </a:lnTo>
                  <a:lnTo>
                    <a:pt x="407" y="225"/>
                  </a:lnTo>
                  <a:lnTo>
                    <a:pt x="408" y="226"/>
                  </a:lnTo>
                  <a:lnTo>
                    <a:pt x="410" y="226"/>
                  </a:lnTo>
                  <a:lnTo>
                    <a:pt x="410" y="227"/>
                  </a:lnTo>
                  <a:lnTo>
                    <a:pt x="410" y="227"/>
                  </a:lnTo>
                  <a:lnTo>
                    <a:pt x="411" y="228"/>
                  </a:lnTo>
                  <a:lnTo>
                    <a:pt x="411" y="228"/>
                  </a:lnTo>
                  <a:lnTo>
                    <a:pt x="411" y="229"/>
                  </a:lnTo>
                  <a:lnTo>
                    <a:pt x="411" y="229"/>
                  </a:lnTo>
                  <a:lnTo>
                    <a:pt x="411" y="230"/>
                  </a:lnTo>
                  <a:lnTo>
                    <a:pt x="411" y="231"/>
                  </a:lnTo>
                  <a:lnTo>
                    <a:pt x="411" y="231"/>
                  </a:lnTo>
                  <a:lnTo>
                    <a:pt x="411" y="233"/>
                  </a:lnTo>
                  <a:lnTo>
                    <a:pt x="411" y="234"/>
                  </a:lnTo>
                  <a:lnTo>
                    <a:pt x="411" y="235"/>
                  </a:lnTo>
                  <a:lnTo>
                    <a:pt x="410" y="235"/>
                  </a:lnTo>
                  <a:lnTo>
                    <a:pt x="410" y="236"/>
                  </a:lnTo>
                  <a:lnTo>
                    <a:pt x="410" y="236"/>
                  </a:lnTo>
                  <a:lnTo>
                    <a:pt x="409" y="236"/>
                  </a:lnTo>
                  <a:lnTo>
                    <a:pt x="408" y="236"/>
                  </a:lnTo>
                  <a:lnTo>
                    <a:pt x="408" y="237"/>
                  </a:lnTo>
                  <a:lnTo>
                    <a:pt x="407" y="237"/>
                  </a:lnTo>
                  <a:lnTo>
                    <a:pt x="405" y="237"/>
                  </a:lnTo>
                  <a:lnTo>
                    <a:pt x="404" y="238"/>
                  </a:lnTo>
                  <a:lnTo>
                    <a:pt x="404" y="238"/>
                  </a:lnTo>
                  <a:lnTo>
                    <a:pt x="403" y="238"/>
                  </a:lnTo>
                  <a:lnTo>
                    <a:pt x="403" y="239"/>
                  </a:lnTo>
                  <a:lnTo>
                    <a:pt x="402" y="239"/>
                  </a:lnTo>
                  <a:lnTo>
                    <a:pt x="402" y="239"/>
                  </a:lnTo>
                  <a:lnTo>
                    <a:pt x="402" y="240"/>
                  </a:lnTo>
                  <a:lnTo>
                    <a:pt x="402" y="240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403" y="242"/>
                  </a:lnTo>
                  <a:lnTo>
                    <a:pt x="404" y="243"/>
                  </a:lnTo>
                  <a:lnTo>
                    <a:pt x="404" y="243"/>
                  </a:lnTo>
                  <a:lnTo>
                    <a:pt x="404" y="244"/>
                  </a:lnTo>
                  <a:lnTo>
                    <a:pt x="404" y="244"/>
                  </a:lnTo>
                  <a:lnTo>
                    <a:pt x="404" y="245"/>
                  </a:lnTo>
                  <a:lnTo>
                    <a:pt x="404" y="245"/>
                  </a:lnTo>
                  <a:lnTo>
                    <a:pt x="403" y="246"/>
                  </a:lnTo>
                  <a:lnTo>
                    <a:pt x="403" y="247"/>
                  </a:lnTo>
                  <a:lnTo>
                    <a:pt x="403" y="247"/>
                  </a:lnTo>
                  <a:lnTo>
                    <a:pt x="403" y="249"/>
                  </a:lnTo>
                  <a:lnTo>
                    <a:pt x="402" y="251"/>
                  </a:lnTo>
                  <a:lnTo>
                    <a:pt x="402" y="252"/>
                  </a:lnTo>
                  <a:lnTo>
                    <a:pt x="402" y="253"/>
                  </a:lnTo>
                  <a:lnTo>
                    <a:pt x="402" y="254"/>
                  </a:lnTo>
                  <a:lnTo>
                    <a:pt x="401" y="254"/>
                  </a:lnTo>
                  <a:lnTo>
                    <a:pt x="401" y="255"/>
                  </a:lnTo>
                  <a:lnTo>
                    <a:pt x="401" y="255"/>
                  </a:lnTo>
                  <a:lnTo>
                    <a:pt x="400" y="256"/>
                  </a:lnTo>
                  <a:lnTo>
                    <a:pt x="399" y="256"/>
                  </a:lnTo>
                  <a:lnTo>
                    <a:pt x="397" y="258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1"/>
                  </a:lnTo>
                  <a:lnTo>
                    <a:pt x="397" y="262"/>
                  </a:lnTo>
                  <a:lnTo>
                    <a:pt x="397" y="262"/>
                  </a:lnTo>
                  <a:lnTo>
                    <a:pt x="398" y="263"/>
                  </a:lnTo>
                  <a:lnTo>
                    <a:pt x="398" y="263"/>
                  </a:lnTo>
                  <a:lnTo>
                    <a:pt x="397" y="263"/>
                  </a:lnTo>
                  <a:lnTo>
                    <a:pt x="397" y="263"/>
                  </a:lnTo>
                  <a:lnTo>
                    <a:pt x="397" y="264"/>
                  </a:lnTo>
                  <a:lnTo>
                    <a:pt x="396" y="264"/>
                  </a:lnTo>
                  <a:lnTo>
                    <a:pt x="394" y="265"/>
                  </a:lnTo>
                  <a:lnTo>
                    <a:pt x="394" y="265"/>
                  </a:lnTo>
                  <a:lnTo>
                    <a:pt x="393" y="265"/>
                  </a:lnTo>
                  <a:lnTo>
                    <a:pt x="393" y="266"/>
                  </a:lnTo>
                  <a:lnTo>
                    <a:pt x="392" y="266"/>
                  </a:lnTo>
                  <a:lnTo>
                    <a:pt x="392" y="267"/>
                  </a:lnTo>
                  <a:lnTo>
                    <a:pt x="392" y="267"/>
                  </a:lnTo>
                  <a:lnTo>
                    <a:pt x="392" y="267"/>
                  </a:lnTo>
                  <a:lnTo>
                    <a:pt x="392" y="268"/>
                  </a:lnTo>
                  <a:lnTo>
                    <a:pt x="392" y="269"/>
                  </a:lnTo>
                  <a:lnTo>
                    <a:pt x="392" y="269"/>
                  </a:lnTo>
                  <a:lnTo>
                    <a:pt x="392" y="270"/>
                  </a:lnTo>
                  <a:lnTo>
                    <a:pt x="393" y="271"/>
                  </a:lnTo>
                  <a:lnTo>
                    <a:pt x="393" y="272"/>
                  </a:lnTo>
                  <a:lnTo>
                    <a:pt x="394" y="272"/>
                  </a:lnTo>
                  <a:lnTo>
                    <a:pt x="395" y="273"/>
                  </a:lnTo>
                  <a:lnTo>
                    <a:pt x="396" y="274"/>
                  </a:lnTo>
                  <a:lnTo>
                    <a:pt x="397" y="274"/>
                  </a:lnTo>
                  <a:lnTo>
                    <a:pt x="398" y="275"/>
                  </a:lnTo>
                  <a:lnTo>
                    <a:pt x="399" y="275"/>
                  </a:lnTo>
                  <a:lnTo>
                    <a:pt x="400" y="276"/>
                  </a:lnTo>
                  <a:lnTo>
                    <a:pt x="403" y="276"/>
                  </a:lnTo>
                  <a:lnTo>
                    <a:pt x="403" y="277"/>
                  </a:lnTo>
                  <a:lnTo>
                    <a:pt x="404" y="277"/>
                  </a:lnTo>
                  <a:lnTo>
                    <a:pt x="406" y="278"/>
                  </a:lnTo>
                  <a:lnTo>
                    <a:pt x="406" y="278"/>
                  </a:lnTo>
                  <a:lnTo>
                    <a:pt x="407" y="279"/>
                  </a:lnTo>
                  <a:lnTo>
                    <a:pt x="408" y="279"/>
                  </a:lnTo>
                  <a:lnTo>
                    <a:pt x="408" y="280"/>
                  </a:lnTo>
                  <a:lnTo>
                    <a:pt x="409" y="280"/>
                  </a:lnTo>
                  <a:lnTo>
                    <a:pt x="409" y="280"/>
                  </a:lnTo>
                  <a:lnTo>
                    <a:pt x="410" y="281"/>
                  </a:lnTo>
                  <a:lnTo>
                    <a:pt x="412" y="281"/>
                  </a:lnTo>
                  <a:lnTo>
                    <a:pt x="413" y="282"/>
                  </a:lnTo>
                  <a:lnTo>
                    <a:pt x="415" y="282"/>
                  </a:lnTo>
                  <a:lnTo>
                    <a:pt x="415" y="282"/>
                  </a:lnTo>
                  <a:lnTo>
                    <a:pt x="416" y="282"/>
                  </a:lnTo>
                  <a:lnTo>
                    <a:pt x="416" y="282"/>
                  </a:lnTo>
                  <a:lnTo>
                    <a:pt x="416" y="283"/>
                  </a:lnTo>
                  <a:lnTo>
                    <a:pt x="417" y="284"/>
                  </a:lnTo>
                  <a:lnTo>
                    <a:pt x="418" y="284"/>
                  </a:lnTo>
                  <a:lnTo>
                    <a:pt x="418" y="284"/>
                  </a:lnTo>
                  <a:lnTo>
                    <a:pt x="419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6"/>
                  </a:lnTo>
                  <a:lnTo>
                    <a:pt x="421" y="286"/>
                  </a:lnTo>
                  <a:lnTo>
                    <a:pt x="421" y="287"/>
                  </a:lnTo>
                  <a:lnTo>
                    <a:pt x="421" y="290"/>
                  </a:lnTo>
                  <a:lnTo>
                    <a:pt x="421" y="290"/>
                  </a:lnTo>
                  <a:lnTo>
                    <a:pt x="421" y="291"/>
                  </a:lnTo>
                  <a:lnTo>
                    <a:pt x="421" y="291"/>
                  </a:lnTo>
                  <a:lnTo>
                    <a:pt x="421" y="292"/>
                  </a:lnTo>
                  <a:lnTo>
                    <a:pt x="422" y="293"/>
                  </a:lnTo>
                  <a:lnTo>
                    <a:pt x="422" y="293"/>
                  </a:lnTo>
                  <a:lnTo>
                    <a:pt x="423" y="294"/>
                  </a:lnTo>
                  <a:lnTo>
                    <a:pt x="425" y="295"/>
                  </a:lnTo>
                  <a:lnTo>
                    <a:pt x="426" y="296"/>
                  </a:lnTo>
                  <a:lnTo>
                    <a:pt x="427" y="297"/>
                  </a:lnTo>
                  <a:lnTo>
                    <a:pt x="429" y="298"/>
                  </a:lnTo>
                  <a:lnTo>
                    <a:pt x="430" y="299"/>
                  </a:lnTo>
                  <a:lnTo>
                    <a:pt x="433" y="300"/>
                  </a:lnTo>
                  <a:lnTo>
                    <a:pt x="434" y="301"/>
                  </a:lnTo>
                  <a:lnTo>
                    <a:pt x="435" y="301"/>
                  </a:lnTo>
                  <a:lnTo>
                    <a:pt x="436" y="302"/>
                  </a:lnTo>
                  <a:lnTo>
                    <a:pt x="437" y="303"/>
                  </a:lnTo>
                  <a:lnTo>
                    <a:pt x="437" y="304"/>
                  </a:lnTo>
                  <a:lnTo>
                    <a:pt x="438" y="304"/>
                  </a:lnTo>
                  <a:lnTo>
                    <a:pt x="438" y="305"/>
                  </a:lnTo>
                  <a:lnTo>
                    <a:pt x="438" y="306"/>
                  </a:lnTo>
                  <a:lnTo>
                    <a:pt x="438" y="307"/>
                  </a:lnTo>
                  <a:lnTo>
                    <a:pt x="438" y="307"/>
                  </a:lnTo>
                  <a:lnTo>
                    <a:pt x="438" y="309"/>
                  </a:lnTo>
                  <a:lnTo>
                    <a:pt x="437" y="311"/>
                  </a:lnTo>
                  <a:lnTo>
                    <a:pt x="437" y="312"/>
                  </a:lnTo>
                  <a:lnTo>
                    <a:pt x="437" y="312"/>
                  </a:lnTo>
                  <a:lnTo>
                    <a:pt x="437" y="313"/>
                  </a:lnTo>
                  <a:lnTo>
                    <a:pt x="437" y="314"/>
                  </a:lnTo>
                  <a:lnTo>
                    <a:pt x="437" y="314"/>
                  </a:lnTo>
                  <a:lnTo>
                    <a:pt x="438" y="317"/>
                  </a:lnTo>
                  <a:lnTo>
                    <a:pt x="438" y="318"/>
                  </a:lnTo>
                  <a:lnTo>
                    <a:pt x="438" y="319"/>
                  </a:lnTo>
                  <a:lnTo>
                    <a:pt x="438" y="320"/>
                  </a:lnTo>
                  <a:lnTo>
                    <a:pt x="438" y="321"/>
                  </a:lnTo>
                  <a:lnTo>
                    <a:pt x="438" y="322"/>
                  </a:lnTo>
                  <a:lnTo>
                    <a:pt x="437" y="324"/>
                  </a:lnTo>
                  <a:lnTo>
                    <a:pt x="436" y="325"/>
                  </a:lnTo>
                  <a:lnTo>
                    <a:pt x="435" y="329"/>
                  </a:lnTo>
                  <a:lnTo>
                    <a:pt x="434" y="330"/>
                  </a:lnTo>
                  <a:lnTo>
                    <a:pt x="434" y="331"/>
                  </a:lnTo>
                  <a:lnTo>
                    <a:pt x="432" y="333"/>
                  </a:lnTo>
                  <a:lnTo>
                    <a:pt x="432" y="333"/>
                  </a:lnTo>
                  <a:lnTo>
                    <a:pt x="431" y="334"/>
                  </a:lnTo>
                  <a:lnTo>
                    <a:pt x="431" y="335"/>
                  </a:lnTo>
                  <a:lnTo>
                    <a:pt x="431" y="336"/>
                  </a:lnTo>
                  <a:lnTo>
                    <a:pt x="431" y="336"/>
                  </a:lnTo>
                  <a:lnTo>
                    <a:pt x="431" y="340"/>
                  </a:lnTo>
                  <a:lnTo>
                    <a:pt x="430" y="343"/>
                  </a:lnTo>
                  <a:lnTo>
                    <a:pt x="430" y="347"/>
                  </a:lnTo>
                  <a:lnTo>
                    <a:pt x="429" y="349"/>
                  </a:lnTo>
                  <a:lnTo>
                    <a:pt x="429" y="349"/>
                  </a:lnTo>
                  <a:lnTo>
                    <a:pt x="429" y="350"/>
                  </a:lnTo>
                  <a:lnTo>
                    <a:pt x="429" y="349"/>
                  </a:lnTo>
                  <a:lnTo>
                    <a:pt x="429" y="350"/>
                  </a:lnTo>
                  <a:lnTo>
                    <a:pt x="429" y="350"/>
                  </a:lnTo>
                  <a:lnTo>
                    <a:pt x="429" y="351"/>
                  </a:lnTo>
                  <a:lnTo>
                    <a:pt x="428" y="351"/>
                  </a:lnTo>
                  <a:lnTo>
                    <a:pt x="428" y="352"/>
                  </a:lnTo>
                  <a:lnTo>
                    <a:pt x="427" y="353"/>
                  </a:lnTo>
                  <a:lnTo>
                    <a:pt x="424" y="354"/>
                  </a:lnTo>
                  <a:lnTo>
                    <a:pt x="422" y="356"/>
                  </a:lnTo>
                  <a:lnTo>
                    <a:pt x="421" y="357"/>
                  </a:lnTo>
                  <a:lnTo>
                    <a:pt x="421" y="357"/>
                  </a:lnTo>
                  <a:lnTo>
                    <a:pt x="421" y="357"/>
                  </a:lnTo>
                  <a:lnTo>
                    <a:pt x="420" y="358"/>
                  </a:lnTo>
                  <a:lnTo>
                    <a:pt x="419" y="358"/>
                  </a:lnTo>
                  <a:lnTo>
                    <a:pt x="418" y="358"/>
                  </a:lnTo>
                  <a:lnTo>
                    <a:pt x="416" y="358"/>
                  </a:lnTo>
                  <a:lnTo>
                    <a:pt x="415" y="358"/>
                  </a:lnTo>
                  <a:lnTo>
                    <a:pt x="414" y="359"/>
                  </a:lnTo>
                  <a:lnTo>
                    <a:pt x="413" y="359"/>
                  </a:lnTo>
                  <a:lnTo>
                    <a:pt x="412" y="359"/>
                  </a:lnTo>
                  <a:lnTo>
                    <a:pt x="412" y="360"/>
                  </a:lnTo>
                  <a:lnTo>
                    <a:pt x="411" y="360"/>
                  </a:lnTo>
                  <a:lnTo>
                    <a:pt x="411" y="361"/>
                  </a:lnTo>
                  <a:lnTo>
                    <a:pt x="409" y="362"/>
                  </a:lnTo>
                  <a:lnTo>
                    <a:pt x="408" y="363"/>
                  </a:lnTo>
                  <a:lnTo>
                    <a:pt x="408" y="364"/>
                  </a:lnTo>
                  <a:lnTo>
                    <a:pt x="408" y="364"/>
                  </a:lnTo>
                  <a:lnTo>
                    <a:pt x="407" y="365"/>
                  </a:lnTo>
                  <a:lnTo>
                    <a:pt x="407" y="365"/>
                  </a:lnTo>
                  <a:lnTo>
                    <a:pt x="407" y="366"/>
                  </a:lnTo>
                  <a:lnTo>
                    <a:pt x="407" y="367"/>
                  </a:lnTo>
                  <a:lnTo>
                    <a:pt x="407" y="367"/>
                  </a:lnTo>
                  <a:lnTo>
                    <a:pt x="407" y="368"/>
                  </a:lnTo>
                  <a:lnTo>
                    <a:pt x="407" y="369"/>
                  </a:lnTo>
                  <a:lnTo>
                    <a:pt x="407" y="369"/>
                  </a:lnTo>
                  <a:lnTo>
                    <a:pt x="408" y="372"/>
                  </a:lnTo>
                  <a:lnTo>
                    <a:pt x="409" y="373"/>
                  </a:lnTo>
                  <a:lnTo>
                    <a:pt x="409" y="374"/>
                  </a:lnTo>
                  <a:lnTo>
                    <a:pt x="409" y="375"/>
                  </a:lnTo>
                  <a:lnTo>
                    <a:pt x="409" y="375"/>
                  </a:lnTo>
                  <a:lnTo>
                    <a:pt x="409" y="376"/>
                  </a:lnTo>
                  <a:lnTo>
                    <a:pt x="409" y="377"/>
                  </a:lnTo>
                  <a:lnTo>
                    <a:pt x="409" y="377"/>
                  </a:lnTo>
                  <a:lnTo>
                    <a:pt x="409" y="377"/>
                  </a:lnTo>
                  <a:lnTo>
                    <a:pt x="409" y="378"/>
                  </a:lnTo>
                  <a:lnTo>
                    <a:pt x="409" y="378"/>
                  </a:lnTo>
                  <a:lnTo>
                    <a:pt x="408" y="379"/>
                  </a:lnTo>
                  <a:lnTo>
                    <a:pt x="408" y="379"/>
                  </a:lnTo>
                  <a:lnTo>
                    <a:pt x="407" y="379"/>
                  </a:lnTo>
                  <a:lnTo>
                    <a:pt x="407" y="380"/>
                  </a:lnTo>
                  <a:lnTo>
                    <a:pt x="406" y="380"/>
                  </a:lnTo>
                  <a:lnTo>
                    <a:pt x="405" y="380"/>
                  </a:lnTo>
                  <a:lnTo>
                    <a:pt x="404" y="380"/>
                  </a:lnTo>
                  <a:lnTo>
                    <a:pt x="403" y="380"/>
                  </a:lnTo>
                  <a:lnTo>
                    <a:pt x="402" y="380"/>
                  </a:lnTo>
                  <a:lnTo>
                    <a:pt x="399" y="380"/>
                  </a:lnTo>
                  <a:lnTo>
                    <a:pt x="397" y="380"/>
                  </a:lnTo>
                  <a:lnTo>
                    <a:pt x="397" y="380"/>
                  </a:lnTo>
                  <a:lnTo>
                    <a:pt x="396" y="380"/>
                  </a:lnTo>
                  <a:lnTo>
                    <a:pt x="395" y="381"/>
                  </a:lnTo>
                  <a:lnTo>
                    <a:pt x="395" y="381"/>
                  </a:lnTo>
                  <a:lnTo>
                    <a:pt x="394" y="382"/>
                  </a:lnTo>
                  <a:lnTo>
                    <a:pt x="393" y="382"/>
                  </a:lnTo>
                  <a:lnTo>
                    <a:pt x="392" y="383"/>
                  </a:lnTo>
                  <a:lnTo>
                    <a:pt x="391" y="386"/>
                  </a:lnTo>
                  <a:lnTo>
                    <a:pt x="390" y="387"/>
                  </a:lnTo>
                  <a:lnTo>
                    <a:pt x="389" y="387"/>
                  </a:lnTo>
                  <a:lnTo>
                    <a:pt x="389" y="388"/>
                  </a:lnTo>
                  <a:lnTo>
                    <a:pt x="387" y="389"/>
                  </a:lnTo>
                  <a:lnTo>
                    <a:pt x="386" y="390"/>
                  </a:lnTo>
                  <a:lnTo>
                    <a:pt x="385" y="390"/>
                  </a:lnTo>
                  <a:lnTo>
                    <a:pt x="383" y="391"/>
                  </a:lnTo>
                  <a:lnTo>
                    <a:pt x="381" y="391"/>
                  </a:lnTo>
                  <a:lnTo>
                    <a:pt x="380" y="391"/>
                  </a:lnTo>
                  <a:lnTo>
                    <a:pt x="378" y="392"/>
                  </a:lnTo>
                  <a:lnTo>
                    <a:pt x="375" y="393"/>
                  </a:lnTo>
                  <a:lnTo>
                    <a:pt x="373" y="393"/>
                  </a:lnTo>
                  <a:lnTo>
                    <a:pt x="371" y="394"/>
                  </a:lnTo>
                  <a:lnTo>
                    <a:pt x="370" y="394"/>
                  </a:lnTo>
                  <a:lnTo>
                    <a:pt x="368" y="395"/>
                  </a:lnTo>
                  <a:lnTo>
                    <a:pt x="367" y="396"/>
                  </a:lnTo>
                  <a:lnTo>
                    <a:pt x="364" y="397"/>
                  </a:lnTo>
                  <a:lnTo>
                    <a:pt x="363" y="398"/>
                  </a:lnTo>
                  <a:lnTo>
                    <a:pt x="362" y="398"/>
                  </a:lnTo>
                  <a:lnTo>
                    <a:pt x="361" y="399"/>
                  </a:lnTo>
                  <a:lnTo>
                    <a:pt x="360" y="399"/>
                  </a:lnTo>
                  <a:lnTo>
                    <a:pt x="360" y="399"/>
                  </a:lnTo>
                  <a:lnTo>
                    <a:pt x="359" y="399"/>
                  </a:lnTo>
                  <a:lnTo>
                    <a:pt x="358" y="399"/>
                  </a:lnTo>
                  <a:lnTo>
                    <a:pt x="358" y="398"/>
                  </a:lnTo>
                  <a:lnTo>
                    <a:pt x="357" y="398"/>
                  </a:lnTo>
                  <a:lnTo>
                    <a:pt x="357" y="398"/>
                  </a:lnTo>
                  <a:lnTo>
                    <a:pt x="356" y="398"/>
                  </a:lnTo>
                  <a:lnTo>
                    <a:pt x="355" y="397"/>
                  </a:lnTo>
                  <a:lnTo>
                    <a:pt x="354" y="397"/>
                  </a:lnTo>
                  <a:lnTo>
                    <a:pt x="354" y="397"/>
                  </a:lnTo>
                  <a:lnTo>
                    <a:pt x="353" y="397"/>
                  </a:lnTo>
                  <a:lnTo>
                    <a:pt x="352" y="398"/>
                  </a:lnTo>
                  <a:lnTo>
                    <a:pt x="351" y="398"/>
                  </a:lnTo>
                  <a:lnTo>
                    <a:pt x="351" y="398"/>
                  </a:lnTo>
                  <a:lnTo>
                    <a:pt x="350" y="399"/>
                  </a:lnTo>
                  <a:lnTo>
                    <a:pt x="349" y="399"/>
                  </a:lnTo>
                  <a:lnTo>
                    <a:pt x="349" y="400"/>
                  </a:lnTo>
                  <a:lnTo>
                    <a:pt x="348" y="400"/>
                  </a:lnTo>
                  <a:lnTo>
                    <a:pt x="348" y="401"/>
                  </a:lnTo>
                  <a:lnTo>
                    <a:pt x="348" y="401"/>
                  </a:lnTo>
                  <a:lnTo>
                    <a:pt x="348" y="402"/>
                  </a:lnTo>
                  <a:lnTo>
                    <a:pt x="347" y="404"/>
                  </a:lnTo>
                  <a:lnTo>
                    <a:pt x="347" y="405"/>
                  </a:lnTo>
                  <a:lnTo>
                    <a:pt x="346" y="407"/>
                  </a:lnTo>
                  <a:lnTo>
                    <a:pt x="344" y="410"/>
                  </a:lnTo>
                  <a:lnTo>
                    <a:pt x="344" y="411"/>
                  </a:lnTo>
                  <a:lnTo>
                    <a:pt x="344" y="412"/>
                  </a:lnTo>
                  <a:lnTo>
                    <a:pt x="343" y="412"/>
                  </a:lnTo>
                  <a:lnTo>
                    <a:pt x="337" y="419"/>
                  </a:lnTo>
                  <a:lnTo>
                    <a:pt x="337" y="420"/>
                  </a:lnTo>
                  <a:lnTo>
                    <a:pt x="336" y="421"/>
                  </a:lnTo>
                  <a:lnTo>
                    <a:pt x="336" y="422"/>
                  </a:lnTo>
                  <a:lnTo>
                    <a:pt x="335" y="423"/>
                  </a:lnTo>
                  <a:lnTo>
                    <a:pt x="335" y="424"/>
                  </a:lnTo>
                  <a:lnTo>
                    <a:pt x="335" y="425"/>
                  </a:lnTo>
                  <a:lnTo>
                    <a:pt x="335" y="426"/>
                  </a:lnTo>
                  <a:lnTo>
                    <a:pt x="334" y="427"/>
                  </a:lnTo>
                  <a:lnTo>
                    <a:pt x="334" y="428"/>
                  </a:lnTo>
                  <a:lnTo>
                    <a:pt x="334" y="429"/>
                  </a:lnTo>
                  <a:lnTo>
                    <a:pt x="334" y="430"/>
                  </a:lnTo>
                  <a:lnTo>
                    <a:pt x="335" y="432"/>
                  </a:lnTo>
                  <a:lnTo>
                    <a:pt x="335" y="433"/>
                  </a:lnTo>
                  <a:lnTo>
                    <a:pt x="335" y="434"/>
                  </a:lnTo>
                  <a:lnTo>
                    <a:pt x="336" y="435"/>
                  </a:lnTo>
                  <a:lnTo>
                    <a:pt x="336" y="436"/>
                  </a:lnTo>
                  <a:lnTo>
                    <a:pt x="336" y="436"/>
                  </a:lnTo>
                  <a:lnTo>
                    <a:pt x="337" y="437"/>
                  </a:lnTo>
                  <a:lnTo>
                    <a:pt x="338" y="437"/>
                  </a:lnTo>
                  <a:lnTo>
                    <a:pt x="338" y="438"/>
                  </a:lnTo>
                  <a:lnTo>
                    <a:pt x="342" y="440"/>
                  </a:lnTo>
                  <a:lnTo>
                    <a:pt x="344" y="440"/>
                  </a:lnTo>
                  <a:lnTo>
                    <a:pt x="346" y="441"/>
                  </a:lnTo>
                  <a:lnTo>
                    <a:pt x="347" y="442"/>
                  </a:lnTo>
                  <a:lnTo>
                    <a:pt x="348" y="442"/>
                  </a:lnTo>
                  <a:lnTo>
                    <a:pt x="349" y="443"/>
                  </a:lnTo>
                  <a:lnTo>
                    <a:pt x="349" y="443"/>
                  </a:lnTo>
                  <a:lnTo>
                    <a:pt x="350" y="444"/>
                  </a:lnTo>
                  <a:lnTo>
                    <a:pt x="350" y="444"/>
                  </a:lnTo>
                  <a:lnTo>
                    <a:pt x="351" y="445"/>
                  </a:lnTo>
                  <a:lnTo>
                    <a:pt x="352" y="446"/>
                  </a:lnTo>
                  <a:lnTo>
                    <a:pt x="353" y="448"/>
                  </a:lnTo>
                  <a:lnTo>
                    <a:pt x="353" y="449"/>
                  </a:lnTo>
                  <a:lnTo>
                    <a:pt x="354" y="450"/>
                  </a:lnTo>
                  <a:lnTo>
                    <a:pt x="354" y="451"/>
                  </a:lnTo>
                  <a:lnTo>
                    <a:pt x="354" y="451"/>
                  </a:lnTo>
                  <a:lnTo>
                    <a:pt x="354" y="452"/>
                  </a:lnTo>
                  <a:lnTo>
                    <a:pt x="354" y="454"/>
                  </a:lnTo>
                  <a:lnTo>
                    <a:pt x="354" y="455"/>
                  </a:lnTo>
                  <a:lnTo>
                    <a:pt x="354" y="456"/>
                  </a:lnTo>
                  <a:lnTo>
                    <a:pt x="354" y="457"/>
                  </a:lnTo>
                  <a:lnTo>
                    <a:pt x="354" y="457"/>
                  </a:lnTo>
                  <a:lnTo>
                    <a:pt x="353" y="458"/>
                  </a:lnTo>
                  <a:lnTo>
                    <a:pt x="353" y="459"/>
                  </a:lnTo>
                  <a:lnTo>
                    <a:pt x="353" y="460"/>
                  </a:lnTo>
                  <a:lnTo>
                    <a:pt x="352" y="460"/>
                  </a:lnTo>
                  <a:lnTo>
                    <a:pt x="352" y="461"/>
                  </a:lnTo>
                  <a:lnTo>
                    <a:pt x="351" y="461"/>
                  </a:lnTo>
                  <a:lnTo>
                    <a:pt x="349" y="463"/>
                  </a:lnTo>
                  <a:lnTo>
                    <a:pt x="348" y="463"/>
                  </a:lnTo>
                  <a:lnTo>
                    <a:pt x="348" y="464"/>
                  </a:lnTo>
                  <a:lnTo>
                    <a:pt x="347" y="464"/>
                  </a:lnTo>
                  <a:lnTo>
                    <a:pt x="346" y="464"/>
                  </a:lnTo>
                  <a:lnTo>
                    <a:pt x="345" y="464"/>
                  </a:lnTo>
                  <a:lnTo>
                    <a:pt x="344" y="464"/>
                  </a:lnTo>
                  <a:lnTo>
                    <a:pt x="342" y="464"/>
                  </a:lnTo>
                  <a:lnTo>
                    <a:pt x="341" y="464"/>
                  </a:lnTo>
                  <a:lnTo>
                    <a:pt x="339" y="464"/>
                  </a:lnTo>
                  <a:lnTo>
                    <a:pt x="338" y="464"/>
                  </a:lnTo>
                  <a:lnTo>
                    <a:pt x="337" y="464"/>
                  </a:lnTo>
                  <a:lnTo>
                    <a:pt x="337" y="464"/>
                  </a:lnTo>
                  <a:lnTo>
                    <a:pt x="336" y="464"/>
                  </a:lnTo>
                  <a:lnTo>
                    <a:pt x="336" y="464"/>
                  </a:lnTo>
                  <a:lnTo>
                    <a:pt x="335" y="464"/>
                  </a:lnTo>
                  <a:lnTo>
                    <a:pt x="334" y="466"/>
                  </a:lnTo>
                  <a:lnTo>
                    <a:pt x="333" y="466"/>
                  </a:lnTo>
                  <a:lnTo>
                    <a:pt x="333" y="466"/>
                  </a:lnTo>
                  <a:lnTo>
                    <a:pt x="333" y="467"/>
                  </a:lnTo>
                  <a:lnTo>
                    <a:pt x="332" y="467"/>
                  </a:lnTo>
                  <a:lnTo>
                    <a:pt x="331" y="469"/>
                  </a:lnTo>
                  <a:lnTo>
                    <a:pt x="331" y="470"/>
                  </a:lnTo>
                  <a:lnTo>
                    <a:pt x="330" y="471"/>
                  </a:lnTo>
                  <a:lnTo>
                    <a:pt x="330" y="472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8" y="473"/>
                  </a:lnTo>
                  <a:lnTo>
                    <a:pt x="328" y="473"/>
                  </a:lnTo>
                  <a:lnTo>
                    <a:pt x="327" y="473"/>
                  </a:lnTo>
                  <a:lnTo>
                    <a:pt x="326" y="473"/>
                  </a:lnTo>
                  <a:lnTo>
                    <a:pt x="324" y="471"/>
                  </a:lnTo>
                  <a:lnTo>
                    <a:pt x="324" y="471"/>
                  </a:lnTo>
                  <a:lnTo>
                    <a:pt x="323" y="470"/>
                  </a:lnTo>
                  <a:lnTo>
                    <a:pt x="322" y="470"/>
                  </a:lnTo>
                  <a:lnTo>
                    <a:pt x="320" y="470"/>
                  </a:lnTo>
                  <a:lnTo>
                    <a:pt x="319" y="469"/>
                  </a:lnTo>
                  <a:lnTo>
                    <a:pt x="317" y="469"/>
                  </a:lnTo>
                  <a:lnTo>
                    <a:pt x="315" y="468"/>
                  </a:lnTo>
                  <a:lnTo>
                    <a:pt x="315" y="468"/>
                  </a:lnTo>
                  <a:lnTo>
                    <a:pt x="314" y="468"/>
                  </a:lnTo>
                  <a:lnTo>
                    <a:pt x="314" y="468"/>
                  </a:lnTo>
                  <a:lnTo>
                    <a:pt x="313" y="468"/>
                  </a:lnTo>
                  <a:lnTo>
                    <a:pt x="312" y="468"/>
                  </a:lnTo>
                  <a:lnTo>
                    <a:pt x="310" y="469"/>
                  </a:lnTo>
                  <a:lnTo>
                    <a:pt x="307" y="470"/>
                  </a:lnTo>
                  <a:lnTo>
                    <a:pt x="305" y="471"/>
                  </a:lnTo>
                  <a:lnTo>
                    <a:pt x="305" y="471"/>
                  </a:lnTo>
                  <a:lnTo>
                    <a:pt x="303" y="471"/>
                  </a:lnTo>
                  <a:lnTo>
                    <a:pt x="301" y="472"/>
                  </a:lnTo>
                  <a:lnTo>
                    <a:pt x="300" y="472"/>
                  </a:lnTo>
                  <a:lnTo>
                    <a:pt x="299" y="472"/>
                  </a:lnTo>
                  <a:lnTo>
                    <a:pt x="297" y="472"/>
                  </a:lnTo>
                  <a:lnTo>
                    <a:pt x="296" y="472"/>
                  </a:lnTo>
                  <a:lnTo>
                    <a:pt x="292" y="471"/>
                  </a:lnTo>
                  <a:lnTo>
                    <a:pt x="291" y="471"/>
                  </a:lnTo>
                  <a:lnTo>
                    <a:pt x="288" y="471"/>
                  </a:lnTo>
                  <a:lnTo>
                    <a:pt x="287" y="471"/>
                  </a:lnTo>
                  <a:lnTo>
                    <a:pt x="286" y="470"/>
                  </a:lnTo>
                  <a:lnTo>
                    <a:pt x="285" y="470"/>
                  </a:lnTo>
                  <a:lnTo>
                    <a:pt x="281" y="469"/>
                  </a:lnTo>
                  <a:lnTo>
                    <a:pt x="280" y="469"/>
                  </a:lnTo>
                  <a:lnTo>
                    <a:pt x="279" y="469"/>
                  </a:lnTo>
                  <a:lnTo>
                    <a:pt x="279" y="469"/>
                  </a:lnTo>
                  <a:lnTo>
                    <a:pt x="278" y="469"/>
                  </a:lnTo>
                  <a:lnTo>
                    <a:pt x="277" y="469"/>
                  </a:lnTo>
                  <a:lnTo>
                    <a:pt x="276" y="469"/>
                  </a:lnTo>
                  <a:lnTo>
                    <a:pt x="276" y="470"/>
                  </a:lnTo>
                  <a:lnTo>
                    <a:pt x="275" y="470"/>
                  </a:lnTo>
                  <a:lnTo>
                    <a:pt x="275" y="471"/>
                  </a:lnTo>
                  <a:lnTo>
                    <a:pt x="275" y="471"/>
                  </a:lnTo>
                  <a:lnTo>
                    <a:pt x="274" y="472"/>
                  </a:lnTo>
                  <a:lnTo>
                    <a:pt x="274" y="472"/>
                  </a:lnTo>
                  <a:lnTo>
                    <a:pt x="274" y="473"/>
                  </a:lnTo>
                  <a:lnTo>
                    <a:pt x="274" y="473"/>
                  </a:lnTo>
                  <a:lnTo>
                    <a:pt x="274" y="474"/>
                  </a:lnTo>
                  <a:lnTo>
                    <a:pt x="275" y="476"/>
                  </a:lnTo>
                  <a:lnTo>
                    <a:pt x="275" y="477"/>
                  </a:lnTo>
                  <a:lnTo>
                    <a:pt x="275" y="477"/>
                  </a:lnTo>
                  <a:lnTo>
                    <a:pt x="275" y="478"/>
                  </a:lnTo>
                  <a:lnTo>
                    <a:pt x="275" y="478"/>
                  </a:lnTo>
                  <a:lnTo>
                    <a:pt x="275" y="478"/>
                  </a:lnTo>
                  <a:lnTo>
                    <a:pt x="274" y="479"/>
                  </a:lnTo>
                  <a:lnTo>
                    <a:pt x="274" y="479"/>
                  </a:lnTo>
                  <a:lnTo>
                    <a:pt x="273" y="479"/>
                  </a:lnTo>
                  <a:lnTo>
                    <a:pt x="273" y="480"/>
                  </a:lnTo>
                  <a:lnTo>
                    <a:pt x="272" y="480"/>
                  </a:lnTo>
                  <a:lnTo>
                    <a:pt x="271" y="480"/>
                  </a:lnTo>
                  <a:lnTo>
                    <a:pt x="266" y="482"/>
                  </a:lnTo>
                  <a:lnTo>
                    <a:pt x="265" y="482"/>
                  </a:lnTo>
                  <a:lnTo>
                    <a:pt x="265" y="482"/>
                  </a:lnTo>
                  <a:lnTo>
                    <a:pt x="264" y="482"/>
                  </a:lnTo>
                  <a:lnTo>
                    <a:pt x="264" y="483"/>
                  </a:lnTo>
                  <a:lnTo>
                    <a:pt x="264" y="483"/>
                  </a:lnTo>
                  <a:lnTo>
                    <a:pt x="263" y="484"/>
                  </a:lnTo>
                  <a:lnTo>
                    <a:pt x="263" y="484"/>
                  </a:lnTo>
                  <a:lnTo>
                    <a:pt x="263" y="485"/>
                  </a:lnTo>
                  <a:lnTo>
                    <a:pt x="262" y="486"/>
                  </a:lnTo>
                  <a:lnTo>
                    <a:pt x="262" y="487"/>
                  </a:lnTo>
                  <a:lnTo>
                    <a:pt x="262" y="490"/>
                  </a:lnTo>
                  <a:lnTo>
                    <a:pt x="261" y="491"/>
                  </a:lnTo>
                  <a:lnTo>
                    <a:pt x="261" y="492"/>
                  </a:lnTo>
                  <a:lnTo>
                    <a:pt x="260" y="494"/>
                  </a:lnTo>
                  <a:lnTo>
                    <a:pt x="260" y="494"/>
                  </a:lnTo>
                  <a:lnTo>
                    <a:pt x="260" y="494"/>
                  </a:lnTo>
                  <a:lnTo>
                    <a:pt x="259" y="495"/>
                  </a:lnTo>
                  <a:lnTo>
                    <a:pt x="258" y="495"/>
                  </a:lnTo>
                  <a:lnTo>
                    <a:pt x="258" y="495"/>
                  </a:lnTo>
                  <a:lnTo>
                    <a:pt x="257" y="495"/>
                  </a:lnTo>
                  <a:lnTo>
                    <a:pt x="256" y="495"/>
                  </a:lnTo>
                  <a:lnTo>
                    <a:pt x="256" y="495"/>
                  </a:lnTo>
                  <a:lnTo>
                    <a:pt x="255" y="495"/>
                  </a:lnTo>
                  <a:lnTo>
                    <a:pt x="254" y="495"/>
                  </a:lnTo>
                  <a:lnTo>
                    <a:pt x="254" y="495"/>
                  </a:lnTo>
                  <a:lnTo>
                    <a:pt x="252" y="494"/>
                  </a:lnTo>
                  <a:lnTo>
                    <a:pt x="252" y="494"/>
                  </a:lnTo>
                  <a:lnTo>
                    <a:pt x="251" y="494"/>
                  </a:lnTo>
                  <a:lnTo>
                    <a:pt x="250" y="493"/>
                  </a:lnTo>
                  <a:lnTo>
                    <a:pt x="250" y="492"/>
                  </a:lnTo>
                  <a:lnTo>
                    <a:pt x="249" y="492"/>
                  </a:lnTo>
                  <a:lnTo>
                    <a:pt x="248" y="491"/>
                  </a:lnTo>
                  <a:lnTo>
                    <a:pt x="247" y="489"/>
                  </a:lnTo>
                  <a:lnTo>
                    <a:pt x="246" y="487"/>
                  </a:lnTo>
                  <a:lnTo>
                    <a:pt x="245" y="484"/>
                  </a:lnTo>
                  <a:lnTo>
                    <a:pt x="244" y="482"/>
                  </a:lnTo>
                  <a:lnTo>
                    <a:pt x="243" y="481"/>
                  </a:lnTo>
                  <a:lnTo>
                    <a:pt x="243" y="479"/>
                  </a:lnTo>
                  <a:lnTo>
                    <a:pt x="242" y="478"/>
                  </a:lnTo>
                  <a:lnTo>
                    <a:pt x="242" y="478"/>
                  </a:lnTo>
                  <a:lnTo>
                    <a:pt x="242" y="477"/>
                  </a:lnTo>
                  <a:lnTo>
                    <a:pt x="242" y="477"/>
                  </a:lnTo>
                  <a:lnTo>
                    <a:pt x="241" y="477"/>
                  </a:lnTo>
                  <a:lnTo>
                    <a:pt x="241" y="477"/>
                  </a:lnTo>
                  <a:lnTo>
                    <a:pt x="240" y="477"/>
                  </a:lnTo>
                  <a:lnTo>
                    <a:pt x="240" y="477"/>
                  </a:lnTo>
                  <a:lnTo>
                    <a:pt x="239" y="477"/>
                  </a:lnTo>
                  <a:lnTo>
                    <a:pt x="238" y="478"/>
                  </a:lnTo>
                  <a:lnTo>
                    <a:pt x="237" y="478"/>
                  </a:lnTo>
                  <a:lnTo>
                    <a:pt x="236" y="479"/>
                  </a:lnTo>
                  <a:lnTo>
                    <a:pt x="235" y="479"/>
                  </a:lnTo>
                  <a:lnTo>
                    <a:pt x="235" y="479"/>
                  </a:lnTo>
                  <a:lnTo>
                    <a:pt x="234" y="479"/>
                  </a:lnTo>
                  <a:lnTo>
                    <a:pt x="234" y="479"/>
                  </a:lnTo>
                  <a:lnTo>
                    <a:pt x="233" y="479"/>
                  </a:lnTo>
                  <a:lnTo>
                    <a:pt x="233" y="479"/>
                  </a:lnTo>
                  <a:lnTo>
                    <a:pt x="232" y="478"/>
                  </a:lnTo>
                  <a:lnTo>
                    <a:pt x="231" y="477"/>
                  </a:lnTo>
                  <a:lnTo>
                    <a:pt x="230" y="477"/>
                  </a:lnTo>
                  <a:lnTo>
                    <a:pt x="228" y="475"/>
                  </a:lnTo>
                  <a:lnTo>
                    <a:pt x="225" y="473"/>
                  </a:lnTo>
                  <a:lnTo>
                    <a:pt x="224" y="472"/>
                  </a:lnTo>
                  <a:lnTo>
                    <a:pt x="223" y="471"/>
                  </a:lnTo>
                  <a:lnTo>
                    <a:pt x="222" y="471"/>
                  </a:lnTo>
                  <a:lnTo>
                    <a:pt x="221" y="470"/>
                  </a:lnTo>
                  <a:lnTo>
                    <a:pt x="217" y="468"/>
                  </a:lnTo>
                  <a:lnTo>
                    <a:pt x="216" y="467"/>
                  </a:lnTo>
                  <a:lnTo>
                    <a:pt x="215" y="467"/>
                  </a:lnTo>
                  <a:lnTo>
                    <a:pt x="213" y="465"/>
                  </a:lnTo>
                  <a:lnTo>
                    <a:pt x="212" y="465"/>
                  </a:lnTo>
                  <a:lnTo>
                    <a:pt x="211" y="464"/>
                  </a:lnTo>
                  <a:lnTo>
                    <a:pt x="210" y="464"/>
                  </a:lnTo>
                  <a:lnTo>
                    <a:pt x="210" y="464"/>
                  </a:lnTo>
                  <a:lnTo>
                    <a:pt x="210" y="464"/>
                  </a:lnTo>
                  <a:lnTo>
                    <a:pt x="209" y="465"/>
                  </a:lnTo>
                  <a:lnTo>
                    <a:pt x="209" y="465"/>
                  </a:lnTo>
                  <a:lnTo>
                    <a:pt x="207" y="466"/>
                  </a:lnTo>
                  <a:lnTo>
                    <a:pt x="205" y="467"/>
                  </a:lnTo>
                  <a:lnTo>
                    <a:pt x="204" y="468"/>
                  </a:lnTo>
                  <a:lnTo>
                    <a:pt x="204" y="469"/>
                  </a:lnTo>
                  <a:lnTo>
                    <a:pt x="203" y="469"/>
                  </a:lnTo>
                  <a:lnTo>
                    <a:pt x="203" y="471"/>
                  </a:lnTo>
                  <a:lnTo>
                    <a:pt x="202" y="471"/>
                  </a:lnTo>
                  <a:lnTo>
                    <a:pt x="202" y="472"/>
                  </a:lnTo>
                  <a:lnTo>
                    <a:pt x="201" y="473"/>
                  </a:lnTo>
                  <a:lnTo>
                    <a:pt x="200" y="473"/>
                  </a:lnTo>
                  <a:lnTo>
                    <a:pt x="200" y="474"/>
                  </a:lnTo>
                  <a:lnTo>
                    <a:pt x="199" y="474"/>
                  </a:lnTo>
                  <a:lnTo>
                    <a:pt x="199" y="475"/>
                  </a:lnTo>
                  <a:lnTo>
                    <a:pt x="199" y="475"/>
                  </a:lnTo>
                  <a:lnTo>
                    <a:pt x="199" y="477"/>
                  </a:lnTo>
                  <a:lnTo>
                    <a:pt x="199" y="478"/>
                  </a:lnTo>
                  <a:lnTo>
                    <a:pt x="199" y="479"/>
                  </a:lnTo>
                  <a:lnTo>
                    <a:pt x="198" y="481"/>
                  </a:lnTo>
                  <a:lnTo>
                    <a:pt x="198" y="482"/>
                  </a:lnTo>
                  <a:lnTo>
                    <a:pt x="198" y="484"/>
                  </a:lnTo>
                  <a:lnTo>
                    <a:pt x="198" y="484"/>
                  </a:lnTo>
                  <a:lnTo>
                    <a:pt x="198" y="485"/>
                  </a:lnTo>
                  <a:lnTo>
                    <a:pt x="199" y="487"/>
                  </a:lnTo>
                  <a:lnTo>
                    <a:pt x="199" y="489"/>
                  </a:lnTo>
                  <a:lnTo>
                    <a:pt x="200" y="491"/>
                  </a:lnTo>
                  <a:lnTo>
                    <a:pt x="200" y="492"/>
                  </a:lnTo>
                  <a:lnTo>
                    <a:pt x="200" y="492"/>
                  </a:lnTo>
                  <a:lnTo>
                    <a:pt x="200" y="493"/>
                  </a:lnTo>
                  <a:lnTo>
                    <a:pt x="199" y="494"/>
                  </a:lnTo>
                  <a:lnTo>
                    <a:pt x="199" y="494"/>
                  </a:lnTo>
                  <a:lnTo>
                    <a:pt x="199" y="494"/>
                  </a:lnTo>
                  <a:lnTo>
                    <a:pt x="198" y="495"/>
                  </a:lnTo>
                  <a:lnTo>
                    <a:pt x="198" y="495"/>
                  </a:lnTo>
                  <a:lnTo>
                    <a:pt x="196" y="496"/>
                  </a:lnTo>
                  <a:lnTo>
                    <a:pt x="195" y="496"/>
                  </a:lnTo>
                  <a:lnTo>
                    <a:pt x="194" y="497"/>
                  </a:lnTo>
                  <a:lnTo>
                    <a:pt x="191" y="498"/>
                  </a:lnTo>
                  <a:lnTo>
                    <a:pt x="190" y="498"/>
                  </a:lnTo>
                  <a:lnTo>
                    <a:pt x="189" y="498"/>
                  </a:lnTo>
                  <a:lnTo>
                    <a:pt x="188" y="499"/>
                  </a:lnTo>
                  <a:lnTo>
                    <a:pt x="186" y="500"/>
                  </a:lnTo>
                  <a:lnTo>
                    <a:pt x="184" y="502"/>
                  </a:lnTo>
                  <a:lnTo>
                    <a:pt x="181" y="504"/>
                  </a:lnTo>
                  <a:lnTo>
                    <a:pt x="180" y="505"/>
                  </a:lnTo>
                  <a:lnTo>
                    <a:pt x="179" y="507"/>
                  </a:lnTo>
                  <a:lnTo>
                    <a:pt x="178" y="508"/>
                  </a:lnTo>
                  <a:lnTo>
                    <a:pt x="177" y="509"/>
                  </a:lnTo>
                  <a:lnTo>
                    <a:pt x="176" y="511"/>
                  </a:lnTo>
                  <a:lnTo>
                    <a:pt x="175" y="511"/>
                  </a:lnTo>
                  <a:lnTo>
                    <a:pt x="175" y="512"/>
                  </a:lnTo>
                  <a:lnTo>
                    <a:pt x="174" y="512"/>
                  </a:lnTo>
                  <a:lnTo>
                    <a:pt x="174" y="512"/>
                  </a:lnTo>
                  <a:lnTo>
                    <a:pt x="174" y="512"/>
                  </a:lnTo>
                  <a:lnTo>
                    <a:pt x="173" y="512"/>
                  </a:lnTo>
                  <a:lnTo>
                    <a:pt x="173" y="512"/>
                  </a:lnTo>
                  <a:lnTo>
                    <a:pt x="173" y="512"/>
                  </a:lnTo>
                  <a:lnTo>
                    <a:pt x="172" y="512"/>
                  </a:lnTo>
                  <a:lnTo>
                    <a:pt x="172" y="512"/>
                  </a:lnTo>
                  <a:lnTo>
                    <a:pt x="170" y="510"/>
                  </a:lnTo>
                  <a:lnTo>
                    <a:pt x="169" y="510"/>
                  </a:lnTo>
                  <a:lnTo>
                    <a:pt x="168" y="509"/>
                  </a:lnTo>
                  <a:lnTo>
                    <a:pt x="166" y="509"/>
                  </a:lnTo>
                  <a:lnTo>
                    <a:pt x="165" y="508"/>
                  </a:lnTo>
                  <a:lnTo>
                    <a:pt x="163" y="508"/>
                  </a:lnTo>
                  <a:lnTo>
                    <a:pt x="162" y="508"/>
                  </a:lnTo>
                  <a:lnTo>
                    <a:pt x="160" y="507"/>
                  </a:lnTo>
                  <a:lnTo>
                    <a:pt x="158" y="507"/>
                  </a:lnTo>
                  <a:lnTo>
                    <a:pt x="158" y="507"/>
                  </a:lnTo>
                  <a:lnTo>
                    <a:pt x="157" y="507"/>
                  </a:lnTo>
                  <a:lnTo>
                    <a:pt x="157" y="506"/>
                  </a:lnTo>
                  <a:lnTo>
                    <a:pt x="156" y="506"/>
                  </a:lnTo>
                  <a:lnTo>
                    <a:pt x="156" y="506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5" y="504"/>
                  </a:lnTo>
                  <a:lnTo>
                    <a:pt x="155" y="504"/>
                  </a:lnTo>
                  <a:lnTo>
                    <a:pt x="156" y="501"/>
                  </a:lnTo>
                  <a:lnTo>
                    <a:pt x="156" y="500"/>
                  </a:lnTo>
                  <a:lnTo>
                    <a:pt x="156" y="500"/>
                  </a:lnTo>
                  <a:lnTo>
                    <a:pt x="156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3" y="500"/>
                  </a:lnTo>
                  <a:lnTo>
                    <a:pt x="151" y="500"/>
                  </a:lnTo>
                  <a:lnTo>
                    <a:pt x="150" y="500"/>
                  </a:lnTo>
                  <a:lnTo>
                    <a:pt x="148" y="501"/>
                  </a:lnTo>
                  <a:lnTo>
                    <a:pt x="147" y="501"/>
                  </a:lnTo>
                  <a:lnTo>
                    <a:pt x="146" y="501"/>
                  </a:lnTo>
                  <a:lnTo>
                    <a:pt x="144" y="501"/>
                  </a:lnTo>
                  <a:lnTo>
                    <a:pt x="143" y="501"/>
                  </a:lnTo>
                  <a:lnTo>
                    <a:pt x="139" y="500"/>
                  </a:lnTo>
                  <a:lnTo>
                    <a:pt x="137" y="500"/>
                  </a:lnTo>
                  <a:lnTo>
                    <a:pt x="136" y="500"/>
                  </a:lnTo>
                  <a:lnTo>
                    <a:pt x="135" y="499"/>
                  </a:lnTo>
                  <a:lnTo>
                    <a:pt x="134" y="499"/>
                  </a:lnTo>
                  <a:lnTo>
                    <a:pt x="132" y="498"/>
                  </a:lnTo>
                  <a:lnTo>
                    <a:pt x="132" y="498"/>
                  </a:lnTo>
                  <a:lnTo>
                    <a:pt x="131" y="498"/>
                  </a:lnTo>
                  <a:lnTo>
                    <a:pt x="130" y="498"/>
                  </a:lnTo>
                  <a:lnTo>
                    <a:pt x="129" y="497"/>
                  </a:lnTo>
                  <a:lnTo>
                    <a:pt x="127" y="497"/>
                  </a:lnTo>
                  <a:lnTo>
                    <a:pt x="126" y="497"/>
                  </a:lnTo>
                  <a:lnTo>
                    <a:pt x="125" y="497"/>
                  </a:lnTo>
                  <a:lnTo>
                    <a:pt x="125" y="497"/>
                  </a:lnTo>
                  <a:lnTo>
                    <a:pt x="124" y="498"/>
                  </a:lnTo>
                  <a:lnTo>
                    <a:pt x="123" y="498"/>
                  </a:lnTo>
                  <a:lnTo>
                    <a:pt x="122" y="499"/>
                  </a:lnTo>
                  <a:lnTo>
                    <a:pt x="121" y="500"/>
                  </a:lnTo>
                  <a:lnTo>
                    <a:pt x="120" y="500"/>
                  </a:lnTo>
                  <a:lnTo>
                    <a:pt x="120" y="500"/>
                  </a:lnTo>
                  <a:lnTo>
                    <a:pt x="119" y="500"/>
                  </a:lnTo>
                  <a:lnTo>
                    <a:pt x="119" y="500"/>
                  </a:lnTo>
                  <a:lnTo>
                    <a:pt x="118" y="500"/>
                  </a:lnTo>
                  <a:lnTo>
                    <a:pt x="117" y="499"/>
                  </a:lnTo>
                  <a:lnTo>
                    <a:pt x="116" y="499"/>
                  </a:lnTo>
                  <a:lnTo>
                    <a:pt x="113" y="496"/>
                  </a:lnTo>
                  <a:lnTo>
                    <a:pt x="112" y="496"/>
                  </a:lnTo>
                  <a:lnTo>
                    <a:pt x="111" y="495"/>
                  </a:lnTo>
                  <a:lnTo>
                    <a:pt x="109" y="495"/>
                  </a:lnTo>
                  <a:lnTo>
                    <a:pt x="108" y="494"/>
                  </a:lnTo>
                  <a:lnTo>
                    <a:pt x="107" y="494"/>
                  </a:lnTo>
                  <a:lnTo>
                    <a:pt x="105" y="492"/>
                  </a:lnTo>
                  <a:lnTo>
                    <a:pt x="104" y="492"/>
                  </a:lnTo>
                  <a:lnTo>
                    <a:pt x="103" y="492"/>
                  </a:lnTo>
                  <a:lnTo>
                    <a:pt x="103" y="492"/>
                  </a:lnTo>
                  <a:lnTo>
                    <a:pt x="102" y="492"/>
                  </a:lnTo>
                  <a:lnTo>
                    <a:pt x="102" y="492"/>
                  </a:lnTo>
                  <a:lnTo>
                    <a:pt x="102" y="493"/>
                  </a:lnTo>
                  <a:lnTo>
                    <a:pt x="102" y="493"/>
                  </a:lnTo>
                  <a:lnTo>
                    <a:pt x="102" y="493"/>
                  </a:lnTo>
                  <a:lnTo>
                    <a:pt x="102" y="494"/>
                  </a:lnTo>
                  <a:lnTo>
                    <a:pt x="102" y="496"/>
                  </a:lnTo>
                  <a:lnTo>
                    <a:pt x="102" y="497"/>
                  </a:lnTo>
                  <a:lnTo>
                    <a:pt x="102" y="497"/>
                  </a:lnTo>
                  <a:lnTo>
                    <a:pt x="102" y="498"/>
                  </a:lnTo>
                  <a:lnTo>
                    <a:pt x="102" y="498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99" y="498"/>
                  </a:lnTo>
                  <a:lnTo>
                    <a:pt x="98" y="498"/>
                  </a:lnTo>
                  <a:lnTo>
                    <a:pt x="97" y="498"/>
                  </a:lnTo>
                  <a:lnTo>
                    <a:pt x="96" y="498"/>
                  </a:lnTo>
                  <a:lnTo>
                    <a:pt x="95" y="499"/>
                  </a:lnTo>
                  <a:lnTo>
                    <a:pt x="94" y="499"/>
                  </a:lnTo>
                  <a:lnTo>
                    <a:pt x="93" y="500"/>
                  </a:lnTo>
                  <a:lnTo>
                    <a:pt x="90" y="502"/>
                  </a:lnTo>
                  <a:lnTo>
                    <a:pt x="90" y="502"/>
                  </a:lnTo>
                  <a:lnTo>
                    <a:pt x="89" y="502"/>
                  </a:lnTo>
                  <a:lnTo>
                    <a:pt x="89" y="503"/>
                  </a:lnTo>
                  <a:lnTo>
                    <a:pt x="87" y="503"/>
                  </a:lnTo>
                  <a:lnTo>
                    <a:pt x="86" y="503"/>
                  </a:lnTo>
                  <a:lnTo>
                    <a:pt x="85" y="503"/>
                  </a:lnTo>
                  <a:lnTo>
                    <a:pt x="84" y="503"/>
                  </a:lnTo>
                  <a:lnTo>
                    <a:pt x="82" y="503"/>
                  </a:lnTo>
                  <a:lnTo>
                    <a:pt x="81" y="503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79" y="502"/>
                  </a:lnTo>
                  <a:lnTo>
                    <a:pt x="79" y="501"/>
                  </a:lnTo>
                  <a:lnTo>
                    <a:pt x="78" y="499"/>
                  </a:lnTo>
                  <a:lnTo>
                    <a:pt x="78" y="499"/>
                  </a:lnTo>
                  <a:lnTo>
                    <a:pt x="78" y="499"/>
                  </a:lnTo>
                  <a:lnTo>
                    <a:pt x="78" y="498"/>
                  </a:lnTo>
                  <a:lnTo>
                    <a:pt x="77" y="497"/>
                  </a:lnTo>
                  <a:lnTo>
                    <a:pt x="76" y="497"/>
                  </a:lnTo>
                  <a:lnTo>
                    <a:pt x="75" y="496"/>
                  </a:lnTo>
                  <a:lnTo>
                    <a:pt x="75" y="496"/>
                  </a:lnTo>
                  <a:lnTo>
                    <a:pt x="73" y="495"/>
                  </a:lnTo>
                  <a:lnTo>
                    <a:pt x="72" y="494"/>
                  </a:lnTo>
                  <a:lnTo>
                    <a:pt x="70" y="494"/>
                  </a:lnTo>
                  <a:lnTo>
                    <a:pt x="70" y="494"/>
                  </a:lnTo>
                  <a:lnTo>
                    <a:pt x="69" y="493"/>
                  </a:lnTo>
                  <a:lnTo>
                    <a:pt x="69" y="493"/>
                  </a:lnTo>
                  <a:lnTo>
                    <a:pt x="68" y="492"/>
                  </a:lnTo>
                  <a:lnTo>
                    <a:pt x="68" y="492"/>
                  </a:lnTo>
                  <a:lnTo>
                    <a:pt x="67" y="490"/>
                  </a:lnTo>
                  <a:lnTo>
                    <a:pt x="66" y="489"/>
                  </a:lnTo>
                  <a:lnTo>
                    <a:pt x="65" y="489"/>
                  </a:lnTo>
                  <a:lnTo>
                    <a:pt x="64" y="488"/>
                  </a:lnTo>
                  <a:lnTo>
                    <a:pt x="63" y="487"/>
                  </a:lnTo>
                  <a:lnTo>
                    <a:pt x="62" y="487"/>
                  </a:lnTo>
                  <a:lnTo>
                    <a:pt x="60" y="486"/>
                  </a:lnTo>
                  <a:lnTo>
                    <a:pt x="59" y="486"/>
                  </a:lnTo>
                  <a:lnTo>
                    <a:pt x="59" y="486"/>
                  </a:lnTo>
                  <a:lnTo>
                    <a:pt x="58" y="486"/>
                  </a:lnTo>
                  <a:lnTo>
                    <a:pt x="57" y="486"/>
                  </a:lnTo>
                  <a:lnTo>
                    <a:pt x="56" y="486"/>
                  </a:lnTo>
                  <a:lnTo>
                    <a:pt x="54" y="487"/>
                  </a:lnTo>
                  <a:lnTo>
                    <a:pt x="51" y="488"/>
                  </a:lnTo>
                  <a:lnTo>
                    <a:pt x="50" y="488"/>
                  </a:lnTo>
                  <a:lnTo>
                    <a:pt x="49" y="488"/>
                  </a:lnTo>
                  <a:lnTo>
                    <a:pt x="49" y="489"/>
                  </a:lnTo>
                  <a:lnTo>
                    <a:pt x="48" y="490"/>
                  </a:lnTo>
                  <a:lnTo>
                    <a:pt x="48" y="490"/>
                  </a:lnTo>
                  <a:lnTo>
                    <a:pt x="47" y="492"/>
                  </a:lnTo>
                  <a:lnTo>
                    <a:pt x="46" y="494"/>
                  </a:lnTo>
                  <a:lnTo>
                    <a:pt x="45" y="495"/>
                  </a:lnTo>
                  <a:lnTo>
                    <a:pt x="44" y="496"/>
                  </a:lnTo>
                  <a:lnTo>
                    <a:pt x="44" y="498"/>
                  </a:lnTo>
                  <a:lnTo>
                    <a:pt x="43" y="499"/>
                  </a:lnTo>
                  <a:lnTo>
                    <a:pt x="43" y="499"/>
                  </a:lnTo>
                  <a:lnTo>
                    <a:pt x="42" y="499"/>
                  </a:lnTo>
                  <a:lnTo>
                    <a:pt x="42" y="499"/>
                  </a:lnTo>
                  <a:lnTo>
                    <a:pt x="41" y="499"/>
                  </a:lnTo>
                  <a:lnTo>
                    <a:pt x="41" y="499"/>
                  </a:lnTo>
                  <a:lnTo>
                    <a:pt x="39" y="499"/>
                  </a:lnTo>
                  <a:lnTo>
                    <a:pt x="38" y="499"/>
                  </a:lnTo>
                  <a:lnTo>
                    <a:pt x="36" y="499"/>
                  </a:lnTo>
                  <a:lnTo>
                    <a:pt x="33" y="500"/>
                  </a:lnTo>
                  <a:lnTo>
                    <a:pt x="25" y="500"/>
                  </a:lnTo>
                  <a:lnTo>
                    <a:pt x="24" y="500"/>
                  </a:lnTo>
                  <a:lnTo>
                    <a:pt x="20" y="500"/>
                  </a:lnTo>
                  <a:lnTo>
                    <a:pt x="19" y="500"/>
                  </a:lnTo>
                  <a:lnTo>
                    <a:pt x="18" y="500"/>
                  </a:lnTo>
                  <a:lnTo>
                    <a:pt x="16" y="501"/>
                  </a:lnTo>
                  <a:lnTo>
                    <a:pt x="15" y="501"/>
                  </a:lnTo>
                  <a:lnTo>
                    <a:pt x="13" y="501"/>
                  </a:lnTo>
                  <a:lnTo>
                    <a:pt x="11" y="501"/>
                  </a:lnTo>
                  <a:lnTo>
                    <a:pt x="11" y="501"/>
                  </a:lnTo>
                  <a:lnTo>
                    <a:pt x="10" y="501"/>
                  </a:lnTo>
                  <a:lnTo>
                    <a:pt x="9" y="501"/>
                  </a:lnTo>
                  <a:lnTo>
                    <a:pt x="8" y="501"/>
                  </a:lnTo>
                  <a:lnTo>
                    <a:pt x="7" y="502"/>
                  </a:lnTo>
                  <a:lnTo>
                    <a:pt x="5" y="501"/>
                  </a:lnTo>
                  <a:lnTo>
                    <a:pt x="5" y="501"/>
                  </a:lnTo>
                  <a:lnTo>
                    <a:pt x="4" y="501"/>
                  </a:lnTo>
                  <a:lnTo>
                    <a:pt x="3" y="501"/>
                  </a:lnTo>
                  <a:lnTo>
                    <a:pt x="2" y="500"/>
                  </a:lnTo>
                  <a:lnTo>
                    <a:pt x="2" y="500"/>
                  </a:lnTo>
                  <a:lnTo>
                    <a:pt x="1" y="499"/>
                  </a:lnTo>
                  <a:lnTo>
                    <a:pt x="1" y="499"/>
                  </a:lnTo>
                  <a:lnTo>
                    <a:pt x="0" y="498"/>
                  </a:lnTo>
                  <a:lnTo>
                    <a:pt x="0" y="498"/>
                  </a:lnTo>
                  <a:lnTo>
                    <a:pt x="0" y="497"/>
                  </a:lnTo>
                  <a:lnTo>
                    <a:pt x="0" y="496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4" name="Freeform 44">
              <a:extLst>
                <a:ext uri="{FF2B5EF4-FFF2-40B4-BE49-F238E27FC236}">
                  <a16:creationId xmlns:a16="http://schemas.microsoft.com/office/drawing/2014/main" id="{7B0CF0D7-1495-E177-659D-4028C072EA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" y="3069"/>
              <a:ext cx="451" cy="513"/>
            </a:xfrm>
            <a:custGeom>
              <a:avLst/>
              <a:gdLst>
                <a:gd name="T0" fmla="*/ 182 w 451"/>
                <a:gd name="T1" fmla="*/ 492 h 513"/>
                <a:gd name="T2" fmla="*/ 173 w 451"/>
                <a:gd name="T3" fmla="*/ 504 h 513"/>
                <a:gd name="T4" fmla="*/ 155 w 451"/>
                <a:gd name="T5" fmla="*/ 512 h 513"/>
                <a:gd name="T6" fmla="*/ 142 w 451"/>
                <a:gd name="T7" fmla="*/ 509 h 513"/>
                <a:gd name="T8" fmla="*/ 127 w 451"/>
                <a:gd name="T9" fmla="*/ 508 h 513"/>
                <a:gd name="T10" fmla="*/ 109 w 451"/>
                <a:gd name="T11" fmla="*/ 508 h 513"/>
                <a:gd name="T12" fmla="*/ 103 w 451"/>
                <a:gd name="T13" fmla="*/ 497 h 513"/>
                <a:gd name="T14" fmla="*/ 97 w 451"/>
                <a:gd name="T15" fmla="*/ 484 h 513"/>
                <a:gd name="T16" fmla="*/ 98 w 451"/>
                <a:gd name="T17" fmla="*/ 458 h 513"/>
                <a:gd name="T18" fmla="*/ 86 w 451"/>
                <a:gd name="T19" fmla="*/ 455 h 513"/>
                <a:gd name="T20" fmla="*/ 83 w 451"/>
                <a:gd name="T21" fmla="*/ 447 h 513"/>
                <a:gd name="T22" fmla="*/ 84 w 451"/>
                <a:gd name="T23" fmla="*/ 439 h 513"/>
                <a:gd name="T24" fmla="*/ 90 w 451"/>
                <a:gd name="T25" fmla="*/ 431 h 513"/>
                <a:gd name="T26" fmla="*/ 79 w 451"/>
                <a:gd name="T27" fmla="*/ 429 h 513"/>
                <a:gd name="T28" fmla="*/ 86 w 451"/>
                <a:gd name="T29" fmla="*/ 413 h 513"/>
                <a:gd name="T30" fmla="*/ 102 w 451"/>
                <a:gd name="T31" fmla="*/ 410 h 513"/>
                <a:gd name="T32" fmla="*/ 116 w 451"/>
                <a:gd name="T33" fmla="*/ 399 h 513"/>
                <a:gd name="T34" fmla="*/ 113 w 451"/>
                <a:gd name="T35" fmla="*/ 391 h 513"/>
                <a:gd name="T36" fmla="*/ 117 w 451"/>
                <a:gd name="T37" fmla="*/ 370 h 513"/>
                <a:gd name="T38" fmla="*/ 122 w 451"/>
                <a:gd name="T39" fmla="*/ 346 h 513"/>
                <a:gd name="T40" fmla="*/ 124 w 451"/>
                <a:gd name="T41" fmla="*/ 319 h 513"/>
                <a:gd name="T42" fmla="*/ 103 w 451"/>
                <a:gd name="T43" fmla="*/ 308 h 513"/>
                <a:gd name="T44" fmla="*/ 92 w 451"/>
                <a:gd name="T45" fmla="*/ 298 h 513"/>
                <a:gd name="T46" fmla="*/ 72 w 451"/>
                <a:gd name="T47" fmla="*/ 283 h 513"/>
                <a:gd name="T48" fmla="*/ 51 w 451"/>
                <a:gd name="T49" fmla="*/ 284 h 513"/>
                <a:gd name="T50" fmla="*/ 32 w 451"/>
                <a:gd name="T51" fmla="*/ 270 h 513"/>
                <a:gd name="T52" fmla="*/ 35 w 451"/>
                <a:gd name="T53" fmla="*/ 265 h 513"/>
                <a:gd name="T54" fmla="*/ 15 w 451"/>
                <a:gd name="T55" fmla="*/ 264 h 513"/>
                <a:gd name="T56" fmla="*/ 0 w 451"/>
                <a:gd name="T57" fmla="*/ 264 h 513"/>
                <a:gd name="T58" fmla="*/ 6 w 451"/>
                <a:gd name="T59" fmla="*/ 249 h 513"/>
                <a:gd name="T60" fmla="*/ 4 w 451"/>
                <a:gd name="T61" fmla="*/ 236 h 513"/>
                <a:gd name="T62" fmla="*/ 18 w 451"/>
                <a:gd name="T63" fmla="*/ 230 h 513"/>
                <a:gd name="T64" fmla="*/ 26 w 451"/>
                <a:gd name="T65" fmla="*/ 218 h 513"/>
                <a:gd name="T66" fmla="*/ 33 w 451"/>
                <a:gd name="T67" fmla="*/ 202 h 513"/>
                <a:gd name="T68" fmla="*/ 54 w 451"/>
                <a:gd name="T69" fmla="*/ 194 h 513"/>
                <a:gd name="T70" fmla="*/ 77 w 451"/>
                <a:gd name="T71" fmla="*/ 177 h 513"/>
                <a:gd name="T72" fmla="*/ 90 w 451"/>
                <a:gd name="T73" fmla="*/ 179 h 513"/>
                <a:gd name="T74" fmla="*/ 111 w 451"/>
                <a:gd name="T75" fmla="*/ 173 h 513"/>
                <a:gd name="T76" fmla="*/ 128 w 451"/>
                <a:gd name="T77" fmla="*/ 165 h 513"/>
                <a:gd name="T78" fmla="*/ 139 w 451"/>
                <a:gd name="T79" fmla="*/ 166 h 513"/>
                <a:gd name="T80" fmla="*/ 158 w 451"/>
                <a:gd name="T81" fmla="*/ 154 h 513"/>
                <a:gd name="T82" fmla="*/ 170 w 451"/>
                <a:gd name="T83" fmla="*/ 143 h 513"/>
                <a:gd name="T84" fmla="*/ 176 w 451"/>
                <a:gd name="T85" fmla="*/ 132 h 513"/>
                <a:gd name="T86" fmla="*/ 186 w 451"/>
                <a:gd name="T87" fmla="*/ 125 h 513"/>
                <a:gd name="T88" fmla="*/ 230 w 451"/>
                <a:gd name="T89" fmla="*/ 129 h 513"/>
                <a:gd name="T90" fmla="*/ 253 w 451"/>
                <a:gd name="T91" fmla="*/ 130 h 513"/>
                <a:gd name="T92" fmla="*/ 277 w 451"/>
                <a:gd name="T93" fmla="*/ 121 h 513"/>
                <a:gd name="T94" fmla="*/ 289 w 451"/>
                <a:gd name="T95" fmla="*/ 116 h 513"/>
                <a:gd name="T96" fmla="*/ 289 w 451"/>
                <a:gd name="T97" fmla="*/ 93 h 513"/>
                <a:gd name="T98" fmla="*/ 298 w 451"/>
                <a:gd name="T99" fmla="*/ 88 h 513"/>
                <a:gd name="T100" fmla="*/ 307 w 451"/>
                <a:gd name="T101" fmla="*/ 79 h 513"/>
                <a:gd name="T102" fmla="*/ 319 w 451"/>
                <a:gd name="T103" fmla="*/ 71 h 513"/>
                <a:gd name="T104" fmla="*/ 321 w 451"/>
                <a:gd name="T105" fmla="*/ 53 h 513"/>
                <a:gd name="T106" fmla="*/ 327 w 451"/>
                <a:gd name="T107" fmla="*/ 54 h 513"/>
                <a:gd name="T108" fmla="*/ 341 w 451"/>
                <a:gd name="T109" fmla="*/ 53 h 513"/>
                <a:gd name="T110" fmla="*/ 351 w 451"/>
                <a:gd name="T111" fmla="*/ 55 h 513"/>
                <a:gd name="T112" fmla="*/ 360 w 451"/>
                <a:gd name="T113" fmla="*/ 65 h 513"/>
                <a:gd name="T114" fmla="*/ 383 w 451"/>
                <a:gd name="T115" fmla="*/ 61 h 513"/>
                <a:gd name="T116" fmla="*/ 401 w 451"/>
                <a:gd name="T117" fmla="*/ 44 h 513"/>
                <a:gd name="T118" fmla="*/ 409 w 451"/>
                <a:gd name="T119" fmla="*/ 30 h 513"/>
                <a:gd name="T120" fmla="*/ 429 w 451"/>
                <a:gd name="T121" fmla="*/ 31 h 513"/>
                <a:gd name="T122" fmla="*/ 437 w 451"/>
                <a:gd name="T123" fmla="*/ 20 h 513"/>
                <a:gd name="T124" fmla="*/ 450 w 451"/>
                <a:gd name="T125" fmla="*/ 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1" h="513">
                  <a:moveTo>
                    <a:pt x="195" y="496"/>
                  </a:moveTo>
                  <a:lnTo>
                    <a:pt x="195" y="495"/>
                  </a:lnTo>
                  <a:lnTo>
                    <a:pt x="195" y="493"/>
                  </a:lnTo>
                  <a:lnTo>
                    <a:pt x="195" y="489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2" y="487"/>
                  </a:lnTo>
                  <a:lnTo>
                    <a:pt x="190" y="488"/>
                  </a:lnTo>
                  <a:lnTo>
                    <a:pt x="189" y="488"/>
                  </a:lnTo>
                  <a:lnTo>
                    <a:pt x="188" y="489"/>
                  </a:lnTo>
                  <a:lnTo>
                    <a:pt x="185" y="490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80" y="493"/>
                  </a:lnTo>
                  <a:lnTo>
                    <a:pt x="180" y="493"/>
                  </a:lnTo>
                  <a:lnTo>
                    <a:pt x="179" y="494"/>
                  </a:lnTo>
                  <a:lnTo>
                    <a:pt x="179" y="494"/>
                  </a:lnTo>
                  <a:lnTo>
                    <a:pt x="179" y="495"/>
                  </a:lnTo>
                  <a:lnTo>
                    <a:pt x="178" y="497"/>
                  </a:lnTo>
                  <a:lnTo>
                    <a:pt x="177" y="499"/>
                  </a:lnTo>
                  <a:lnTo>
                    <a:pt x="176" y="500"/>
                  </a:lnTo>
                  <a:lnTo>
                    <a:pt x="176" y="501"/>
                  </a:lnTo>
                  <a:lnTo>
                    <a:pt x="175" y="502"/>
                  </a:lnTo>
                  <a:lnTo>
                    <a:pt x="175" y="503"/>
                  </a:lnTo>
                  <a:lnTo>
                    <a:pt x="174" y="503"/>
                  </a:lnTo>
                  <a:lnTo>
                    <a:pt x="174" y="504"/>
                  </a:lnTo>
                  <a:lnTo>
                    <a:pt x="173" y="504"/>
                  </a:lnTo>
                  <a:lnTo>
                    <a:pt x="173" y="504"/>
                  </a:lnTo>
                  <a:lnTo>
                    <a:pt x="171" y="505"/>
                  </a:lnTo>
                  <a:lnTo>
                    <a:pt x="171" y="505"/>
                  </a:lnTo>
                  <a:lnTo>
                    <a:pt x="170" y="505"/>
                  </a:lnTo>
                  <a:lnTo>
                    <a:pt x="168" y="507"/>
                  </a:lnTo>
                  <a:lnTo>
                    <a:pt x="167" y="507"/>
                  </a:lnTo>
                  <a:lnTo>
                    <a:pt x="166" y="508"/>
                  </a:lnTo>
                  <a:lnTo>
                    <a:pt x="166" y="508"/>
                  </a:lnTo>
                  <a:lnTo>
                    <a:pt x="165" y="508"/>
                  </a:lnTo>
                  <a:lnTo>
                    <a:pt x="164" y="508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59" y="509"/>
                  </a:lnTo>
                  <a:lnTo>
                    <a:pt x="158" y="510"/>
                  </a:lnTo>
                  <a:lnTo>
                    <a:pt x="157" y="510"/>
                  </a:lnTo>
                  <a:lnTo>
                    <a:pt x="155" y="511"/>
                  </a:lnTo>
                  <a:lnTo>
                    <a:pt x="155" y="512"/>
                  </a:lnTo>
                  <a:lnTo>
                    <a:pt x="154" y="512"/>
                  </a:lnTo>
                  <a:lnTo>
                    <a:pt x="153" y="513"/>
                  </a:lnTo>
                  <a:lnTo>
                    <a:pt x="152" y="513"/>
                  </a:lnTo>
                  <a:lnTo>
                    <a:pt x="151" y="513"/>
                  </a:lnTo>
                  <a:lnTo>
                    <a:pt x="150" y="513"/>
                  </a:lnTo>
                  <a:lnTo>
                    <a:pt x="149" y="513"/>
                  </a:lnTo>
                  <a:lnTo>
                    <a:pt x="148" y="512"/>
                  </a:lnTo>
                  <a:lnTo>
                    <a:pt x="147" y="512"/>
                  </a:lnTo>
                  <a:lnTo>
                    <a:pt x="147" y="512"/>
                  </a:lnTo>
                  <a:lnTo>
                    <a:pt x="145" y="511"/>
                  </a:lnTo>
                  <a:lnTo>
                    <a:pt x="144" y="511"/>
                  </a:lnTo>
                  <a:lnTo>
                    <a:pt x="144" y="510"/>
                  </a:lnTo>
                  <a:lnTo>
                    <a:pt x="143" y="510"/>
                  </a:lnTo>
                  <a:lnTo>
                    <a:pt x="143" y="509"/>
                  </a:lnTo>
                  <a:lnTo>
                    <a:pt x="142" y="509"/>
                  </a:lnTo>
                  <a:lnTo>
                    <a:pt x="142" y="509"/>
                  </a:lnTo>
                  <a:lnTo>
                    <a:pt x="140" y="508"/>
                  </a:lnTo>
                  <a:lnTo>
                    <a:pt x="140" y="507"/>
                  </a:lnTo>
                  <a:lnTo>
                    <a:pt x="137" y="506"/>
                  </a:lnTo>
                  <a:lnTo>
                    <a:pt x="137" y="505"/>
                  </a:lnTo>
                  <a:lnTo>
                    <a:pt x="136" y="505"/>
                  </a:lnTo>
                  <a:lnTo>
                    <a:pt x="136" y="505"/>
                  </a:lnTo>
                  <a:lnTo>
                    <a:pt x="135" y="505"/>
                  </a:lnTo>
                  <a:lnTo>
                    <a:pt x="134" y="505"/>
                  </a:lnTo>
                  <a:lnTo>
                    <a:pt x="133" y="505"/>
                  </a:lnTo>
                  <a:lnTo>
                    <a:pt x="132" y="505"/>
                  </a:lnTo>
                  <a:lnTo>
                    <a:pt x="130" y="507"/>
                  </a:lnTo>
                  <a:lnTo>
                    <a:pt x="129" y="507"/>
                  </a:lnTo>
                  <a:lnTo>
                    <a:pt x="128" y="507"/>
                  </a:lnTo>
                  <a:lnTo>
                    <a:pt x="128" y="508"/>
                  </a:lnTo>
                  <a:lnTo>
                    <a:pt x="127" y="508"/>
                  </a:lnTo>
                  <a:lnTo>
                    <a:pt x="127" y="508"/>
                  </a:lnTo>
                  <a:lnTo>
                    <a:pt x="126" y="507"/>
                  </a:lnTo>
                  <a:lnTo>
                    <a:pt x="125" y="507"/>
                  </a:lnTo>
                  <a:lnTo>
                    <a:pt x="125" y="507"/>
                  </a:lnTo>
                  <a:lnTo>
                    <a:pt x="124" y="507"/>
                  </a:lnTo>
                  <a:lnTo>
                    <a:pt x="122" y="505"/>
                  </a:lnTo>
                  <a:lnTo>
                    <a:pt x="122" y="504"/>
                  </a:lnTo>
                  <a:lnTo>
                    <a:pt x="121" y="504"/>
                  </a:lnTo>
                  <a:lnTo>
                    <a:pt x="121" y="504"/>
                  </a:lnTo>
                  <a:lnTo>
                    <a:pt x="120" y="504"/>
                  </a:lnTo>
                  <a:lnTo>
                    <a:pt x="120" y="504"/>
                  </a:lnTo>
                  <a:lnTo>
                    <a:pt x="119" y="504"/>
                  </a:lnTo>
                  <a:lnTo>
                    <a:pt x="119" y="504"/>
                  </a:lnTo>
                  <a:lnTo>
                    <a:pt x="117" y="505"/>
                  </a:lnTo>
                  <a:lnTo>
                    <a:pt x="115" y="506"/>
                  </a:lnTo>
                  <a:lnTo>
                    <a:pt x="112" y="507"/>
                  </a:lnTo>
                  <a:lnTo>
                    <a:pt x="109" y="508"/>
                  </a:lnTo>
                  <a:lnTo>
                    <a:pt x="108" y="508"/>
                  </a:lnTo>
                  <a:lnTo>
                    <a:pt x="106" y="508"/>
                  </a:lnTo>
                  <a:lnTo>
                    <a:pt x="105" y="508"/>
                  </a:lnTo>
                  <a:lnTo>
                    <a:pt x="105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7"/>
                  </a:lnTo>
                  <a:lnTo>
                    <a:pt x="104" y="506"/>
                  </a:lnTo>
                  <a:lnTo>
                    <a:pt x="104" y="505"/>
                  </a:lnTo>
                  <a:lnTo>
                    <a:pt x="104" y="503"/>
                  </a:lnTo>
                  <a:lnTo>
                    <a:pt x="104" y="502"/>
                  </a:lnTo>
                  <a:lnTo>
                    <a:pt x="104" y="501"/>
                  </a:lnTo>
                  <a:lnTo>
                    <a:pt x="104" y="500"/>
                  </a:lnTo>
                  <a:lnTo>
                    <a:pt x="104" y="499"/>
                  </a:lnTo>
                  <a:lnTo>
                    <a:pt x="103" y="497"/>
                  </a:lnTo>
                  <a:lnTo>
                    <a:pt x="103" y="496"/>
                  </a:lnTo>
                  <a:lnTo>
                    <a:pt x="103" y="495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1" y="493"/>
                  </a:lnTo>
                  <a:lnTo>
                    <a:pt x="100" y="492"/>
                  </a:lnTo>
                  <a:lnTo>
                    <a:pt x="99" y="492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7" y="490"/>
                  </a:lnTo>
                  <a:lnTo>
                    <a:pt x="97" y="490"/>
                  </a:lnTo>
                  <a:lnTo>
                    <a:pt x="97" y="489"/>
                  </a:lnTo>
                  <a:lnTo>
                    <a:pt x="97" y="489"/>
                  </a:lnTo>
                  <a:lnTo>
                    <a:pt x="97" y="485"/>
                  </a:lnTo>
                  <a:lnTo>
                    <a:pt x="97" y="484"/>
                  </a:lnTo>
                  <a:lnTo>
                    <a:pt x="97" y="481"/>
                  </a:lnTo>
                  <a:lnTo>
                    <a:pt x="98" y="478"/>
                  </a:lnTo>
                  <a:lnTo>
                    <a:pt x="98" y="476"/>
                  </a:lnTo>
                  <a:lnTo>
                    <a:pt x="98" y="474"/>
                  </a:lnTo>
                  <a:lnTo>
                    <a:pt x="99" y="471"/>
                  </a:lnTo>
                  <a:lnTo>
                    <a:pt x="99" y="469"/>
                  </a:lnTo>
                  <a:lnTo>
                    <a:pt x="99" y="468"/>
                  </a:lnTo>
                  <a:lnTo>
                    <a:pt x="99" y="466"/>
                  </a:lnTo>
                  <a:lnTo>
                    <a:pt x="99" y="464"/>
                  </a:lnTo>
                  <a:lnTo>
                    <a:pt x="99" y="462"/>
                  </a:lnTo>
                  <a:lnTo>
                    <a:pt x="99" y="461"/>
                  </a:lnTo>
                  <a:lnTo>
                    <a:pt x="99" y="460"/>
                  </a:lnTo>
                  <a:lnTo>
                    <a:pt x="99" y="460"/>
                  </a:lnTo>
                  <a:lnTo>
                    <a:pt x="98" y="459"/>
                  </a:lnTo>
                  <a:lnTo>
                    <a:pt x="98" y="459"/>
                  </a:lnTo>
                  <a:lnTo>
                    <a:pt x="98" y="458"/>
                  </a:lnTo>
                  <a:lnTo>
                    <a:pt x="97" y="458"/>
                  </a:lnTo>
                  <a:lnTo>
                    <a:pt x="96" y="457"/>
                  </a:lnTo>
                  <a:lnTo>
                    <a:pt x="95" y="457"/>
                  </a:lnTo>
                  <a:lnTo>
                    <a:pt x="94" y="456"/>
                  </a:lnTo>
                  <a:lnTo>
                    <a:pt x="93" y="456"/>
                  </a:lnTo>
                  <a:lnTo>
                    <a:pt x="92" y="456"/>
                  </a:lnTo>
                  <a:lnTo>
                    <a:pt x="91" y="456"/>
                  </a:lnTo>
                  <a:lnTo>
                    <a:pt x="89" y="456"/>
                  </a:lnTo>
                  <a:lnTo>
                    <a:pt x="88" y="456"/>
                  </a:lnTo>
                  <a:lnTo>
                    <a:pt x="87" y="456"/>
                  </a:lnTo>
                  <a:lnTo>
                    <a:pt x="87" y="456"/>
                  </a:lnTo>
                  <a:lnTo>
                    <a:pt x="87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4"/>
                  </a:lnTo>
                  <a:lnTo>
                    <a:pt x="86" y="453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1"/>
                  </a:lnTo>
                  <a:lnTo>
                    <a:pt x="86" y="451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49"/>
                  </a:lnTo>
                  <a:lnTo>
                    <a:pt x="82" y="449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7"/>
                  </a:lnTo>
                  <a:lnTo>
                    <a:pt x="84" y="447"/>
                  </a:lnTo>
                  <a:lnTo>
                    <a:pt x="85" y="447"/>
                  </a:lnTo>
                  <a:lnTo>
                    <a:pt x="86" y="447"/>
                  </a:lnTo>
                  <a:lnTo>
                    <a:pt x="86" y="447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8" y="445"/>
                  </a:lnTo>
                  <a:lnTo>
                    <a:pt x="88" y="445"/>
                  </a:lnTo>
                  <a:lnTo>
                    <a:pt x="88" y="444"/>
                  </a:lnTo>
                  <a:lnTo>
                    <a:pt x="87" y="443"/>
                  </a:lnTo>
                  <a:lnTo>
                    <a:pt x="87" y="443"/>
                  </a:lnTo>
                  <a:lnTo>
                    <a:pt x="86" y="442"/>
                  </a:lnTo>
                  <a:lnTo>
                    <a:pt x="86" y="441"/>
                  </a:lnTo>
                  <a:lnTo>
                    <a:pt x="84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4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5"/>
                  </a:lnTo>
                  <a:lnTo>
                    <a:pt x="88" y="434"/>
                  </a:lnTo>
                  <a:lnTo>
                    <a:pt x="89" y="433"/>
                  </a:lnTo>
                  <a:lnTo>
                    <a:pt x="90" y="433"/>
                  </a:lnTo>
                  <a:lnTo>
                    <a:pt x="90" y="432"/>
                  </a:lnTo>
                  <a:lnTo>
                    <a:pt x="90" y="432"/>
                  </a:lnTo>
                  <a:lnTo>
                    <a:pt x="91" y="431"/>
                  </a:lnTo>
                  <a:lnTo>
                    <a:pt x="90" y="431"/>
                  </a:lnTo>
                  <a:lnTo>
                    <a:pt x="90" y="431"/>
                  </a:lnTo>
                  <a:lnTo>
                    <a:pt x="90" y="430"/>
                  </a:lnTo>
                  <a:lnTo>
                    <a:pt x="90" y="430"/>
                  </a:lnTo>
                  <a:lnTo>
                    <a:pt x="89" y="430"/>
                  </a:lnTo>
                  <a:lnTo>
                    <a:pt x="89" y="430"/>
                  </a:lnTo>
                  <a:lnTo>
                    <a:pt x="88" y="429"/>
                  </a:lnTo>
                  <a:lnTo>
                    <a:pt x="86" y="429"/>
                  </a:lnTo>
                  <a:lnTo>
                    <a:pt x="85" y="429"/>
                  </a:lnTo>
                  <a:lnTo>
                    <a:pt x="84" y="429"/>
                  </a:lnTo>
                  <a:lnTo>
                    <a:pt x="83" y="429"/>
                  </a:lnTo>
                  <a:lnTo>
                    <a:pt x="81" y="430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8"/>
                  </a:lnTo>
                  <a:lnTo>
                    <a:pt x="78" y="428"/>
                  </a:lnTo>
                  <a:lnTo>
                    <a:pt x="78" y="427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8" y="425"/>
                  </a:lnTo>
                  <a:lnTo>
                    <a:pt x="78" y="424"/>
                  </a:lnTo>
                  <a:lnTo>
                    <a:pt x="79" y="423"/>
                  </a:lnTo>
                  <a:lnTo>
                    <a:pt x="79" y="422"/>
                  </a:lnTo>
                  <a:lnTo>
                    <a:pt x="79" y="421"/>
                  </a:lnTo>
                  <a:lnTo>
                    <a:pt x="80" y="420"/>
                  </a:lnTo>
                  <a:lnTo>
                    <a:pt x="83" y="417"/>
                  </a:lnTo>
                  <a:lnTo>
                    <a:pt x="84" y="415"/>
                  </a:lnTo>
                  <a:lnTo>
                    <a:pt x="84" y="414"/>
                  </a:lnTo>
                  <a:lnTo>
                    <a:pt x="85" y="414"/>
                  </a:lnTo>
                  <a:lnTo>
                    <a:pt x="86" y="413"/>
                  </a:lnTo>
                  <a:lnTo>
                    <a:pt x="87" y="412"/>
                  </a:lnTo>
                  <a:lnTo>
                    <a:pt x="88" y="411"/>
                  </a:lnTo>
                  <a:lnTo>
                    <a:pt x="89" y="411"/>
                  </a:lnTo>
                  <a:lnTo>
                    <a:pt x="90" y="410"/>
                  </a:lnTo>
                  <a:lnTo>
                    <a:pt x="92" y="409"/>
                  </a:lnTo>
                  <a:lnTo>
                    <a:pt x="93" y="409"/>
                  </a:lnTo>
                  <a:lnTo>
                    <a:pt x="94" y="408"/>
                  </a:lnTo>
                  <a:lnTo>
                    <a:pt x="95" y="408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7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101" y="410"/>
                  </a:lnTo>
                  <a:lnTo>
                    <a:pt x="102" y="410"/>
                  </a:lnTo>
                  <a:lnTo>
                    <a:pt x="103" y="411"/>
                  </a:lnTo>
                  <a:lnTo>
                    <a:pt x="103" y="411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7" y="409"/>
                  </a:lnTo>
                  <a:lnTo>
                    <a:pt x="108" y="408"/>
                  </a:lnTo>
                  <a:lnTo>
                    <a:pt x="109" y="406"/>
                  </a:lnTo>
                  <a:lnTo>
                    <a:pt x="110" y="405"/>
                  </a:lnTo>
                  <a:lnTo>
                    <a:pt x="111" y="404"/>
                  </a:lnTo>
                  <a:lnTo>
                    <a:pt x="112" y="403"/>
                  </a:lnTo>
                  <a:lnTo>
                    <a:pt x="115" y="400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17" y="398"/>
                  </a:lnTo>
                  <a:lnTo>
                    <a:pt x="117" y="398"/>
                  </a:lnTo>
                  <a:lnTo>
                    <a:pt x="118" y="397"/>
                  </a:lnTo>
                  <a:lnTo>
                    <a:pt x="118" y="397"/>
                  </a:lnTo>
                  <a:lnTo>
                    <a:pt x="118" y="396"/>
                  </a:lnTo>
                  <a:lnTo>
                    <a:pt x="118" y="395"/>
                  </a:lnTo>
                  <a:lnTo>
                    <a:pt x="117" y="395"/>
                  </a:lnTo>
                  <a:lnTo>
                    <a:pt x="117" y="394"/>
                  </a:lnTo>
                  <a:lnTo>
                    <a:pt x="116" y="394"/>
                  </a:lnTo>
                  <a:lnTo>
                    <a:pt x="116" y="393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3" y="392"/>
                  </a:lnTo>
                  <a:lnTo>
                    <a:pt x="113" y="391"/>
                  </a:lnTo>
                  <a:lnTo>
                    <a:pt x="113" y="390"/>
                  </a:lnTo>
                  <a:lnTo>
                    <a:pt x="114" y="388"/>
                  </a:lnTo>
                  <a:lnTo>
                    <a:pt x="114" y="387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5" y="384"/>
                  </a:lnTo>
                  <a:lnTo>
                    <a:pt x="115" y="383"/>
                  </a:lnTo>
                  <a:lnTo>
                    <a:pt x="115" y="380"/>
                  </a:lnTo>
                  <a:lnTo>
                    <a:pt x="115" y="379"/>
                  </a:lnTo>
                  <a:lnTo>
                    <a:pt x="115" y="378"/>
                  </a:lnTo>
                  <a:lnTo>
                    <a:pt x="115" y="377"/>
                  </a:lnTo>
                  <a:lnTo>
                    <a:pt x="115" y="376"/>
                  </a:lnTo>
                  <a:lnTo>
                    <a:pt x="115" y="376"/>
                  </a:lnTo>
                  <a:lnTo>
                    <a:pt x="116" y="373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7" y="369"/>
                  </a:lnTo>
                  <a:lnTo>
                    <a:pt x="117" y="368"/>
                  </a:lnTo>
                  <a:lnTo>
                    <a:pt x="117" y="367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7" y="361"/>
                  </a:lnTo>
                  <a:lnTo>
                    <a:pt x="118" y="356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9" y="351"/>
                  </a:lnTo>
                  <a:lnTo>
                    <a:pt x="120" y="349"/>
                  </a:lnTo>
                  <a:lnTo>
                    <a:pt x="120" y="348"/>
                  </a:lnTo>
                  <a:lnTo>
                    <a:pt x="121" y="347"/>
                  </a:lnTo>
                  <a:lnTo>
                    <a:pt x="121" y="346"/>
                  </a:lnTo>
                  <a:lnTo>
                    <a:pt x="122" y="346"/>
                  </a:lnTo>
                  <a:lnTo>
                    <a:pt x="122" y="345"/>
                  </a:lnTo>
                  <a:lnTo>
                    <a:pt x="124" y="344"/>
                  </a:lnTo>
                  <a:lnTo>
                    <a:pt x="124" y="343"/>
                  </a:lnTo>
                  <a:lnTo>
                    <a:pt x="125" y="343"/>
                  </a:lnTo>
                  <a:lnTo>
                    <a:pt x="125" y="342"/>
                  </a:lnTo>
                  <a:lnTo>
                    <a:pt x="125" y="341"/>
                  </a:lnTo>
                  <a:lnTo>
                    <a:pt x="125" y="341"/>
                  </a:lnTo>
                  <a:lnTo>
                    <a:pt x="125" y="340"/>
                  </a:lnTo>
                  <a:lnTo>
                    <a:pt x="125" y="339"/>
                  </a:lnTo>
                  <a:lnTo>
                    <a:pt x="125" y="335"/>
                  </a:lnTo>
                  <a:lnTo>
                    <a:pt x="125" y="333"/>
                  </a:lnTo>
                  <a:lnTo>
                    <a:pt x="125" y="329"/>
                  </a:lnTo>
                  <a:lnTo>
                    <a:pt x="124" y="326"/>
                  </a:lnTo>
                  <a:lnTo>
                    <a:pt x="124" y="324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8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7"/>
                  </a:lnTo>
                  <a:lnTo>
                    <a:pt x="122" y="317"/>
                  </a:lnTo>
                  <a:lnTo>
                    <a:pt x="116" y="313"/>
                  </a:lnTo>
                  <a:lnTo>
                    <a:pt x="113" y="312"/>
                  </a:lnTo>
                  <a:lnTo>
                    <a:pt x="112" y="311"/>
                  </a:lnTo>
                  <a:lnTo>
                    <a:pt x="110" y="311"/>
                  </a:lnTo>
                  <a:lnTo>
                    <a:pt x="107" y="310"/>
                  </a:lnTo>
                  <a:lnTo>
                    <a:pt x="104" y="309"/>
                  </a:lnTo>
                  <a:lnTo>
                    <a:pt x="104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2" y="308"/>
                  </a:lnTo>
                  <a:lnTo>
                    <a:pt x="102" y="307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1" y="303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0" y="301"/>
                  </a:lnTo>
                  <a:lnTo>
                    <a:pt x="100" y="301"/>
                  </a:lnTo>
                  <a:lnTo>
                    <a:pt x="99" y="300"/>
                  </a:lnTo>
                  <a:lnTo>
                    <a:pt x="98" y="300"/>
                  </a:lnTo>
                  <a:lnTo>
                    <a:pt x="98" y="299"/>
                  </a:lnTo>
                  <a:lnTo>
                    <a:pt x="97" y="299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2" y="298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6"/>
                  </a:lnTo>
                  <a:lnTo>
                    <a:pt x="85" y="294"/>
                  </a:lnTo>
                  <a:lnTo>
                    <a:pt x="83" y="292"/>
                  </a:lnTo>
                  <a:lnTo>
                    <a:pt x="82" y="291"/>
                  </a:lnTo>
                  <a:lnTo>
                    <a:pt x="80" y="289"/>
                  </a:lnTo>
                  <a:lnTo>
                    <a:pt x="78" y="286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0" y="283"/>
                  </a:lnTo>
                  <a:lnTo>
                    <a:pt x="69" y="283"/>
                  </a:lnTo>
                  <a:lnTo>
                    <a:pt x="68" y="283"/>
                  </a:lnTo>
                  <a:lnTo>
                    <a:pt x="65" y="284"/>
                  </a:lnTo>
                  <a:lnTo>
                    <a:pt x="64" y="284"/>
                  </a:lnTo>
                  <a:lnTo>
                    <a:pt x="63" y="285"/>
                  </a:lnTo>
                  <a:lnTo>
                    <a:pt x="61" y="285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7" y="285"/>
                  </a:lnTo>
                  <a:lnTo>
                    <a:pt x="56" y="285"/>
                  </a:lnTo>
                  <a:lnTo>
                    <a:pt x="55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1" y="284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48" y="282"/>
                  </a:lnTo>
                  <a:lnTo>
                    <a:pt x="47" y="281"/>
                  </a:lnTo>
                  <a:lnTo>
                    <a:pt x="44" y="279"/>
                  </a:lnTo>
                  <a:lnTo>
                    <a:pt x="42" y="277"/>
                  </a:lnTo>
                  <a:lnTo>
                    <a:pt x="40" y="276"/>
                  </a:lnTo>
                  <a:lnTo>
                    <a:pt x="37" y="275"/>
                  </a:lnTo>
                  <a:lnTo>
                    <a:pt x="36" y="274"/>
                  </a:lnTo>
                  <a:lnTo>
                    <a:pt x="35" y="273"/>
                  </a:lnTo>
                  <a:lnTo>
                    <a:pt x="34" y="273"/>
                  </a:lnTo>
                  <a:lnTo>
                    <a:pt x="33" y="272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2" y="271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6" y="267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5" y="265"/>
                  </a:lnTo>
                  <a:lnTo>
                    <a:pt x="34" y="264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0" y="263"/>
                  </a:lnTo>
                  <a:lnTo>
                    <a:pt x="19" y="263"/>
                  </a:lnTo>
                  <a:lnTo>
                    <a:pt x="17" y="263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4" y="264"/>
                  </a:lnTo>
                  <a:lnTo>
                    <a:pt x="12" y="264"/>
                  </a:lnTo>
                  <a:lnTo>
                    <a:pt x="10" y="265"/>
                  </a:lnTo>
                  <a:lnTo>
                    <a:pt x="9" y="266"/>
                  </a:lnTo>
                  <a:lnTo>
                    <a:pt x="8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5"/>
                  </a:lnTo>
                  <a:lnTo>
                    <a:pt x="2" y="265"/>
                  </a:lnTo>
                  <a:lnTo>
                    <a:pt x="1" y="265"/>
                  </a:lnTo>
                  <a:lnTo>
                    <a:pt x="1" y="265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1" y="260"/>
                  </a:lnTo>
                  <a:lnTo>
                    <a:pt x="1" y="259"/>
                  </a:lnTo>
                  <a:lnTo>
                    <a:pt x="2" y="257"/>
                  </a:lnTo>
                  <a:lnTo>
                    <a:pt x="3" y="255"/>
                  </a:lnTo>
                  <a:lnTo>
                    <a:pt x="4" y="254"/>
                  </a:lnTo>
                  <a:lnTo>
                    <a:pt x="5" y="252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0"/>
                  </a:lnTo>
                  <a:lnTo>
                    <a:pt x="6" y="249"/>
                  </a:lnTo>
                  <a:lnTo>
                    <a:pt x="6" y="248"/>
                  </a:lnTo>
                  <a:lnTo>
                    <a:pt x="6" y="247"/>
                  </a:lnTo>
                  <a:lnTo>
                    <a:pt x="6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4" y="243"/>
                  </a:lnTo>
                  <a:lnTo>
                    <a:pt x="3" y="242"/>
                  </a:lnTo>
                  <a:lnTo>
                    <a:pt x="2" y="241"/>
                  </a:lnTo>
                  <a:lnTo>
                    <a:pt x="2" y="240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8"/>
                  </a:lnTo>
                  <a:lnTo>
                    <a:pt x="2" y="237"/>
                  </a:lnTo>
                  <a:lnTo>
                    <a:pt x="3" y="237"/>
                  </a:lnTo>
                  <a:lnTo>
                    <a:pt x="4" y="236"/>
                  </a:lnTo>
                  <a:lnTo>
                    <a:pt x="5" y="235"/>
                  </a:lnTo>
                  <a:lnTo>
                    <a:pt x="6" y="234"/>
                  </a:lnTo>
                  <a:lnTo>
                    <a:pt x="7" y="233"/>
                  </a:lnTo>
                  <a:lnTo>
                    <a:pt x="8" y="233"/>
                  </a:lnTo>
                  <a:lnTo>
                    <a:pt x="9" y="232"/>
                  </a:lnTo>
                  <a:lnTo>
                    <a:pt x="10" y="232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3" y="231"/>
                  </a:lnTo>
                  <a:lnTo>
                    <a:pt x="14" y="231"/>
                  </a:lnTo>
                  <a:lnTo>
                    <a:pt x="15" y="231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7" y="231"/>
                  </a:lnTo>
                  <a:lnTo>
                    <a:pt x="17" y="230"/>
                  </a:lnTo>
                  <a:lnTo>
                    <a:pt x="18" y="230"/>
                  </a:lnTo>
                  <a:lnTo>
                    <a:pt x="19" y="228"/>
                  </a:lnTo>
                  <a:lnTo>
                    <a:pt x="19" y="227"/>
                  </a:lnTo>
                  <a:lnTo>
                    <a:pt x="20" y="226"/>
                  </a:lnTo>
                  <a:lnTo>
                    <a:pt x="21" y="224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2" y="223"/>
                  </a:lnTo>
                  <a:lnTo>
                    <a:pt x="22" y="222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6"/>
                  </a:lnTo>
                  <a:lnTo>
                    <a:pt x="26" y="215"/>
                  </a:lnTo>
                  <a:lnTo>
                    <a:pt x="26" y="215"/>
                  </a:lnTo>
                  <a:lnTo>
                    <a:pt x="26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6"/>
                  </a:lnTo>
                  <a:lnTo>
                    <a:pt x="29" y="206"/>
                  </a:lnTo>
                  <a:lnTo>
                    <a:pt x="29" y="205"/>
                  </a:lnTo>
                  <a:lnTo>
                    <a:pt x="31" y="203"/>
                  </a:lnTo>
                  <a:lnTo>
                    <a:pt x="33" y="202"/>
                  </a:lnTo>
                  <a:lnTo>
                    <a:pt x="34" y="201"/>
                  </a:lnTo>
                  <a:lnTo>
                    <a:pt x="36" y="200"/>
                  </a:lnTo>
                  <a:lnTo>
                    <a:pt x="36" y="199"/>
                  </a:lnTo>
                  <a:lnTo>
                    <a:pt x="38" y="198"/>
                  </a:lnTo>
                  <a:lnTo>
                    <a:pt x="40" y="197"/>
                  </a:lnTo>
                  <a:lnTo>
                    <a:pt x="41" y="196"/>
                  </a:lnTo>
                  <a:lnTo>
                    <a:pt x="42" y="195"/>
                  </a:lnTo>
                  <a:lnTo>
                    <a:pt x="43" y="195"/>
                  </a:lnTo>
                  <a:lnTo>
                    <a:pt x="44" y="194"/>
                  </a:lnTo>
                  <a:lnTo>
                    <a:pt x="45" y="194"/>
                  </a:lnTo>
                  <a:lnTo>
                    <a:pt x="47" y="194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51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4"/>
                  </a:lnTo>
                  <a:lnTo>
                    <a:pt x="57" y="193"/>
                  </a:lnTo>
                  <a:lnTo>
                    <a:pt x="59" y="193"/>
                  </a:lnTo>
                  <a:lnTo>
                    <a:pt x="60" y="192"/>
                  </a:lnTo>
                  <a:lnTo>
                    <a:pt x="61" y="192"/>
                  </a:lnTo>
                  <a:lnTo>
                    <a:pt x="62" y="191"/>
                  </a:lnTo>
                  <a:lnTo>
                    <a:pt x="63" y="190"/>
                  </a:lnTo>
                  <a:lnTo>
                    <a:pt x="64" y="190"/>
                  </a:lnTo>
                  <a:lnTo>
                    <a:pt x="65" y="188"/>
                  </a:lnTo>
                  <a:lnTo>
                    <a:pt x="66" y="18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9" y="184"/>
                  </a:lnTo>
                  <a:lnTo>
                    <a:pt x="72" y="182"/>
                  </a:lnTo>
                  <a:lnTo>
                    <a:pt x="76" y="178"/>
                  </a:lnTo>
                  <a:lnTo>
                    <a:pt x="77" y="177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2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4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7" y="178"/>
                  </a:lnTo>
                  <a:lnTo>
                    <a:pt x="99" y="178"/>
                  </a:lnTo>
                  <a:lnTo>
                    <a:pt x="100" y="178"/>
                  </a:lnTo>
                  <a:lnTo>
                    <a:pt x="101" y="178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1" y="173"/>
                  </a:lnTo>
                  <a:lnTo>
                    <a:pt x="111" y="173"/>
                  </a:lnTo>
                  <a:lnTo>
                    <a:pt x="113" y="172"/>
                  </a:lnTo>
                  <a:lnTo>
                    <a:pt x="113" y="171"/>
                  </a:lnTo>
                  <a:lnTo>
                    <a:pt x="115" y="170"/>
                  </a:lnTo>
                  <a:lnTo>
                    <a:pt x="118" y="167"/>
                  </a:lnTo>
                  <a:lnTo>
                    <a:pt x="119" y="166"/>
                  </a:lnTo>
                  <a:lnTo>
                    <a:pt x="120" y="165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3"/>
                  </a:lnTo>
                  <a:lnTo>
                    <a:pt x="123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7" y="164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69"/>
                  </a:lnTo>
                  <a:lnTo>
                    <a:pt x="136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8" y="167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2" y="162"/>
                  </a:lnTo>
                  <a:lnTo>
                    <a:pt x="143" y="161"/>
                  </a:lnTo>
                  <a:lnTo>
                    <a:pt x="144" y="161"/>
                  </a:lnTo>
                  <a:lnTo>
                    <a:pt x="145" y="160"/>
                  </a:lnTo>
                  <a:lnTo>
                    <a:pt x="146" y="159"/>
                  </a:lnTo>
                  <a:lnTo>
                    <a:pt x="147" y="159"/>
                  </a:lnTo>
                  <a:lnTo>
                    <a:pt x="147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1" y="157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6"/>
                  </a:lnTo>
                  <a:lnTo>
                    <a:pt x="157" y="155"/>
                  </a:lnTo>
                  <a:lnTo>
                    <a:pt x="158" y="154"/>
                  </a:lnTo>
                  <a:lnTo>
                    <a:pt x="160" y="153"/>
                  </a:lnTo>
                  <a:lnTo>
                    <a:pt x="160" y="153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4" y="150"/>
                  </a:lnTo>
                  <a:lnTo>
                    <a:pt x="164" y="149"/>
                  </a:lnTo>
                  <a:lnTo>
                    <a:pt x="165" y="148"/>
                  </a:lnTo>
                  <a:lnTo>
                    <a:pt x="165" y="147"/>
                  </a:lnTo>
                  <a:lnTo>
                    <a:pt x="166" y="146"/>
                  </a:lnTo>
                  <a:lnTo>
                    <a:pt x="166" y="145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68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4" y="143"/>
                  </a:lnTo>
                  <a:lnTo>
                    <a:pt x="174" y="142"/>
                  </a:lnTo>
                  <a:lnTo>
                    <a:pt x="175" y="142"/>
                  </a:lnTo>
                  <a:lnTo>
                    <a:pt x="175" y="142"/>
                  </a:lnTo>
                  <a:lnTo>
                    <a:pt x="175" y="141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39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6" y="134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1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7" y="129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9" y="127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4" y="125"/>
                  </a:lnTo>
                  <a:lnTo>
                    <a:pt x="185" y="125"/>
                  </a:lnTo>
                  <a:lnTo>
                    <a:pt x="186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4" y="126"/>
                  </a:lnTo>
                  <a:lnTo>
                    <a:pt x="198" y="127"/>
                  </a:lnTo>
                  <a:lnTo>
                    <a:pt x="202" y="128"/>
                  </a:lnTo>
                  <a:lnTo>
                    <a:pt x="205" y="129"/>
                  </a:lnTo>
                  <a:lnTo>
                    <a:pt x="207" y="129"/>
                  </a:lnTo>
                  <a:lnTo>
                    <a:pt x="209" y="129"/>
                  </a:lnTo>
                  <a:lnTo>
                    <a:pt x="215" y="130"/>
                  </a:lnTo>
                  <a:lnTo>
                    <a:pt x="217" y="130"/>
                  </a:lnTo>
                  <a:lnTo>
                    <a:pt x="219" y="130"/>
                  </a:lnTo>
                  <a:lnTo>
                    <a:pt x="222" y="130"/>
                  </a:lnTo>
                  <a:lnTo>
                    <a:pt x="224" y="130"/>
                  </a:lnTo>
                  <a:lnTo>
                    <a:pt x="226" y="130"/>
                  </a:lnTo>
                  <a:lnTo>
                    <a:pt x="228" y="129"/>
                  </a:lnTo>
                  <a:lnTo>
                    <a:pt x="230" y="129"/>
                  </a:lnTo>
                  <a:lnTo>
                    <a:pt x="232" y="129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5" y="127"/>
                  </a:lnTo>
                  <a:lnTo>
                    <a:pt x="236" y="127"/>
                  </a:lnTo>
                  <a:lnTo>
                    <a:pt x="236" y="127"/>
                  </a:lnTo>
                  <a:lnTo>
                    <a:pt x="237" y="127"/>
                  </a:lnTo>
                  <a:lnTo>
                    <a:pt x="239" y="128"/>
                  </a:lnTo>
                  <a:lnTo>
                    <a:pt x="241" y="128"/>
                  </a:lnTo>
                  <a:lnTo>
                    <a:pt x="245" y="129"/>
                  </a:lnTo>
                  <a:lnTo>
                    <a:pt x="248" y="130"/>
                  </a:lnTo>
                  <a:lnTo>
                    <a:pt x="250" y="130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6" y="128"/>
                  </a:lnTo>
                  <a:lnTo>
                    <a:pt x="257" y="127"/>
                  </a:lnTo>
                  <a:lnTo>
                    <a:pt x="259" y="125"/>
                  </a:lnTo>
                  <a:lnTo>
                    <a:pt x="260" y="124"/>
                  </a:lnTo>
                  <a:lnTo>
                    <a:pt x="260" y="124"/>
                  </a:lnTo>
                  <a:lnTo>
                    <a:pt x="261" y="124"/>
                  </a:lnTo>
                  <a:lnTo>
                    <a:pt x="262" y="123"/>
                  </a:lnTo>
                  <a:lnTo>
                    <a:pt x="263" y="123"/>
                  </a:lnTo>
                  <a:lnTo>
                    <a:pt x="264" y="123"/>
                  </a:lnTo>
                  <a:lnTo>
                    <a:pt x="270" y="122"/>
                  </a:lnTo>
                  <a:lnTo>
                    <a:pt x="272" y="121"/>
                  </a:lnTo>
                  <a:lnTo>
                    <a:pt x="276" y="121"/>
                  </a:lnTo>
                  <a:lnTo>
                    <a:pt x="277" y="121"/>
                  </a:lnTo>
                  <a:lnTo>
                    <a:pt x="279" y="121"/>
                  </a:lnTo>
                  <a:lnTo>
                    <a:pt x="280" y="121"/>
                  </a:lnTo>
                  <a:lnTo>
                    <a:pt x="282" y="122"/>
                  </a:lnTo>
                  <a:lnTo>
                    <a:pt x="284" y="122"/>
                  </a:lnTo>
                  <a:lnTo>
                    <a:pt x="284" y="122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0"/>
                  </a:lnTo>
                  <a:lnTo>
                    <a:pt x="288" y="120"/>
                  </a:lnTo>
                  <a:lnTo>
                    <a:pt x="288" y="119"/>
                  </a:lnTo>
                  <a:lnTo>
                    <a:pt x="289" y="118"/>
                  </a:lnTo>
                  <a:lnTo>
                    <a:pt x="289" y="117"/>
                  </a:lnTo>
                  <a:lnTo>
                    <a:pt x="289" y="116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91" y="109"/>
                  </a:lnTo>
                  <a:lnTo>
                    <a:pt x="291" y="108"/>
                  </a:lnTo>
                  <a:lnTo>
                    <a:pt x="291" y="106"/>
                  </a:lnTo>
                  <a:lnTo>
                    <a:pt x="291" y="105"/>
                  </a:lnTo>
                  <a:lnTo>
                    <a:pt x="291" y="104"/>
                  </a:lnTo>
                  <a:lnTo>
                    <a:pt x="291" y="103"/>
                  </a:lnTo>
                  <a:lnTo>
                    <a:pt x="290" y="102"/>
                  </a:lnTo>
                  <a:lnTo>
                    <a:pt x="290" y="99"/>
                  </a:lnTo>
                  <a:lnTo>
                    <a:pt x="289" y="98"/>
                  </a:lnTo>
                  <a:lnTo>
                    <a:pt x="289" y="97"/>
                  </a:lnTo>
                  <a:lnTo>
                    <a:pt x="289" y="96"/>
                  </a:lnTo>
                  <a:lnTo>
                    <a:pt x="289" y="95"/>
                  </a:lnTo>
                  <a:lnTo>
                    <a:pt x="289" y="94"/>
                  </a:lnTo>
                  <a:lnTo>
                    <a:pt x="289" y="93"/>
                  </a:lnTo>
                  <a:lnTo>
                    <a:pt x="289" y="91"/>
                  </a:lnTo>
                  <a:lnTo>
                    <a:pt x="289" y="89"/>
                  </a:lnTo>
                  <a:lnTo>
                    <a:pt x="289" y="88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90" y="86"/>
                  </a:lnTo>
                  <a:lnTo>
                    <a:pt x="291" y="86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7" y="88"/>
                  </a:lnTo>
                  <a:lnTo>
                    <a:pt x="298" y="88"/>
                  </a:lnTo>
                  <a:lnTo>
                    <a:pt x="299" y="88"/>
                  </a:lnTo>
                  <a:lnTo>
                    <a:pt x="300" y="88"/>
                  </a:lnTo>
                  <a:lnTo>
                    <a:pt x="301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3" y="88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3" y="86"/>
                  </a:lnTo>
                  <a:lnTo>
                    <a:pt x="303" y="85"/>
                  </a:lnTo>
                  <a:lnTo>
                    <a:pt x="305" y="83"/>
                  </a:lnTo>
                  <a:lnTo>
                    <a:pt x="306" y="80"/>
                  </a:lnTo>
                  <a:lnTo>
                    <a:pt x="306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8" y="78"/>
                  </a:lnTo>
                  <a:lnTo>
                    <a:pt x="311" y="78"/>
                  </a:lnTo>
                  <a:lnTo>
                    <a:pt x="314" y="77"/>
                  </a:lnTo>
                  <a:lnTo>
                    <a:pt x="316" y="76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7" y="75"/>
                  </a:lnTo>
                  <a:lnTo>
                    <a:pt x="318" y="75"/>
                  </a:lnTo>
                  <a:lnTo>
                    <a:pt x="318" y="75"/>
                  </a:lnTo>
                  <a:lnTo>
                    <a:pt x="318" y="74"/>
                  </a:lnTo>
                  <a:lnTo>
                    <a:pt x="319" y="74"/>
                  </a:lnTo>
                  <a:lnTo>
                    <a:pt x="319" y="73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1"/>
                  </a:lnTo>
                  <a:lnTo>
                    <a:pt x="319" y="70"/>
                  </a:lnTo>
                  <a:lnTo>
                    <a:pt x="319" y="67"/>
                  </a:lnTo>
                  <a:lnTo>
                    <a:pt x="319" y="66"/>
                  </a:lnTo>
                  <a:lnTo>
                    <a:pt x="319" y="64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8" y="58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19" y="55"/>
                  </a:lnTo>
                  <a:lnTo>
                    <a:pt x="319" y="54"/>
                  </a:lnTo>
                  <a:lnTo>
                    <a:pt x="320" y="53"/>
                  </a:lnTo>
                  <a:lnTo>
                    <a:pt x="321" y="53"/>
                  </a:lnTo>
                  <a:lnTo>
                    <a:pt x="321" y="52"/>
                  </a:lnTo>
                  <a:lnTo>
                    <a:pt x="322" y="52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5" y="53"/>
                  </a:lnTo>
                  <a:lnTo>
                    <a:pt x="325" y="53"/>
                  </a:lnTo>
                  <a:lnTo>
                    <a:pt x="326" y="53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7" y="54"/>
                  </a:lnTo>
                  <a:lnTo>
                    <a:pt x="328" y="54"/>
                  </a:lnTo>
                  <a:lnTo>
                    <a:pt x="328" y="53"/>
                  </a:lnTo>
                  <a:lnTo>
                    <a:pt x="329" y="53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2" y="51"/>
                  </a:lnTo>
                  <a:lnTo>
                    <a:pt x="333" y="51"/>
                  </a:lnTo>
                  <a:lnTo>
                    <a:pt x="334" y="51"/>
                  </a:lnTo>
                  <a:lnTo>
                    <a:pt x="335" y="51"/>
                  </a:lnTo>
                  <a:lnTo>
                    <a:pt x="335" y="52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0" y="53"/>
                  </a:lnTo>
                  <a:lnTo>
                    <a:pt x="340" y="53"/>
                  </a:lnTo>
                  <a:lnTo>
                    <a:pt x="341" y="53"/>
                  </a:lnTo>
                  <a:lnTo>
                    <a:pt x="341" y="53"/>
                  </a:lnTo>
                  <a:lnTo>
                    <a:pt x="342" y="53"/>
                  </a:lnTo>
                  <a:lnTo>
                    <a:pt x="343" y="53"/>
                  </a:lnTo>
                  <a:lnTo>
                    <a:pt x="344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7" y="51"/>
                  </a:lnTo>
                  <a:lnTo>
                    <a:pt x="348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49" y="51"/>
                  </a:lnTo>
                  <a:lnTo>
                    <a:pt x="350" y="51"/>
                  </a:lnTo>
                  <a:lnTo>
                    <a:pt x="350" y="52"/>
                  </a:lnTo>
                  <a:lnTo>
                    <a:pt x="350" y="52"/>
                  </a:lnTo>
                  <a:lnTo>
                    <a:pt x="350" y="53"/>
                  </a:lnTo>
                  <a:lnTo>
                    <a:pt x="351" y="54"/>
                  </a:lnTo>
                  <a:lnTo>
                    <a:pt x="351" y="55"/>
                  </a:lnTo>
                  <a:lnTo>
                    <a:pt x="352" y="57"/>
                  </a:lnTo>
                  <a:lnTo>
                    <a:pt x="352" y="59"/>
                  </a:lnTo>
                  <a:lnTo>
                    <a:pt x="352" y="60"/>
                  </a:lnTo>
                  <a:lnTo>
                    <a:pt x="353" y="61"/>
                  </a:lnTo>
                  <a:lnTo>
                    <a:pt x="353" y="62"/>
                  </a:lnTo>
                  <a:lnTo>
                    <a:pt x="353" y="62"/>
                  </a:lnTo>
                  <a:lnTo>
                    <a:pt x="354" y="63"/>
                  </a:lnTo>
                  <a:lnTo>
                    <a:pt x="354" y="63"/>
                  </a:lnTo>
                  <a:lnTo>
                    <a:pt x="355" y="64"/>
                  </a:lnTo>
                  <a:lnTo>
                    <a:pt x="355" y="64"/>
                  </a:lnTo>
                  <a:lnTo>
                    <a:pt x="356" y="64"/>
                  </a:lnTo>
                  <a:lnTo>
                    <a:pt x="356" y="65"/>
                  </a:lnTo>
                  <a:lnTo>
                    <a:pt x="357" y="65"/>
                  </a:lnTo>
                  <a:lnTo>
                    <a:pt x="358" y="65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7" y="63"/>
                  </a:lnTo>
                  <a:lnTo>
                    <a:pt x="368" y="62"/>
                  </a:lnTo>
                  <a:lnTo>
                    <a:pt x="369" y="62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81" y="61"/>
                  </a:lnTo>
                  <a:lnTo>
                    <a:pt x="382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6" y="58"/>
                  </a:lnTo>
                  <a:lnTo>
                    <a:pt x="389" y="56"/>
                  </a:lnTo>
                  <a:lnTo>
                    <a:pt x="391" y="55"/>
                  </a:lnTo>
                  <a:lnTo>
                    <a:pt x="391" y="54"/>
                  </a:lnTo>
                  <a:lnTo>
                    <a:pt x="392" y="53"/>
                  </a:lnTo>
                  <a:lnTo>
                    <a:pt x="393" y="52"/>
                  </a:lnTo>
                  <a:lnTo>
                    <a:pt x="395" y="49"/>
                  </a:lnTo>
                  <a:lnTo>
                    <a:pt x="395" y="49"/>
                  </a:lnTo>
                  <a:lnTo>
                    <a:pt x="396" y="48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9" y="46"/>
                  </a:lnTo>
                  <a:lnTo>
                    <a:pt x="400" y="45"/>
                  </a:lnTo>
                  <a:lnTo>
                    <a:pt x="400" y="44"/>
                  </a:lnTo>
                  <a:lnTo>
                    <a:pt x="401" y="44"/>
                  </a:lnTo>
                  <a:lnTo>
                    <a:pt x="401" y="43"/>
                  </a:lnTo>
                  <a:lnTo>
                    <a:pt x="402" y="42"/>
                  </a:lnTo>
                  <a:lnTo>
                    <a:pt x="402" y="41"/>
                  </a:lnTo>
                  <a:lnTo>
                    <a:pt x="402" y="40"/>
                  </a:lnTo>
                  <a:lnTo>
                    <a:pt x="403" y="39"/>
                  </a:lnTo>
                  <a:lnTo>
                    <a:pt x="403" y="35"/>
                  </a:lnTo>
                  <a:lnTo>
                    <a:pt x="403" y="34"/>
                  </a:lnTo>
                  <a:lnTo>
                    <a:pt x="403" y="33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1"/>
                  </a:lnTo>
                  <a:lnTo>
                    <a:pt x="406" y="31"/>
                  </a:lnTo>
                  <a:lnTo>
                    <a:pt x="407" y="30"/>
                  </a:lnTo>
                  <a:lnTo>
                    <a:pt x="407" y="30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1" y="30"/>
                  </a:lnTo>
                  <a:lnTo>
                    <a:pt x="413" y="31"/>
                  </a:lnTo>
                  <a:lnTo>
                    <a:pt x="415" y="31"/>
                  </a:lnTo>
                  <a:lnTo>
                    <a:pt x="417" y="32"/>
                  </a:lnTo>
                  <a:lnTo>
                    <a:pt x="420" y="33"/>
                  </a:lnTo>
                  <a:lnTo>
                    <a:pt x="422" y="33"/>
                  </a:lnTo>
                  <a:lnTo>
                    <a:pt x="423" y="33"/>
                  </a:lnTo>
                  <a:lnTo>
                    <a:pt x="423" y="33"/>
                  </a:lnTo>
                  <a:lnTo>
                    <a:pt x="424" y="33"/>
                  </a:lnTo>
                  <a:lnTo>
                    <a:pt x="425" y="33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29" y="31"/>
                  </a:lnTo>
                  <a:lnTo>
                    <a:pt x="430" y="31"/>
                  </a:lnTo>
                  <a:lnTo>
                    <a:pt x="430" y="30"/>
                  </a:lnTo>
                  <a:lnTo>
                    <a:pt x="431" y="29"/>
                  </a:lnTo>
                  <a:lnTo>
                    <a:pt x="431" y="29"/>
                  </a:lnTo>
                  <a:lnTo>
                    <a:pt x="432" y="28"/>
                  </a:lnTo>
                  <a:lnTo>
                    <a:pt x="432" y="28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3" y="24"/>
                  </a:lnTo>
                  <a:lnTo>
                    <a:pt x="433" y="23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4" y="22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7" y="20"/>
                  </a:lnTo>
                  <a:lnTo>
                    <a:pt x="437" y="19"/>
                  </a:lnTo>
                  <a:lnTo>
                    <a:pt x="439" y="18"/>
                  </a:lnTo>
                  <a:lnTo>
                    <a:pt x="443" y="16"/>
                  </a:lnTo>
                  <a:lnTo>
                    <a:pt x="444" y="16"/>
                  </a:lnTo>
                  <a:lnTo>
                    <a:pt x="445" y="15"/>
                  </a:lnTo>
                  <a:lnTo>
                    <a:pt x="445" y="15"/>
                  </a:lnTo>
                  <a:lnTo>
                    <a:pt x="446" y="14"/>
                  </a:lnTo>
                  <a:lnTo>
                    <a:pt x="446" y="14"/>
                  </a:lnTo>
                  <a:lnTo>
                    <a:pt x="447" y="13"/>
                  </a:lnTo>
                  <a:lnTo>
                    <a:pt x="447" y="12"/>
                  </a:lnTo>
                  <a:lnTo>
                    <a:pt x="447" y="11"/>
                  </a:lnTo>
                  <a:lnTo>
                    <a:pt x="447" y="9"/>
                  </a:lnTo>
                  <a:lnTo>
                    <a:pt x="447" y="8"/>
                  </a:lnTo>
                  <a:lnTo>
                    <a:pt x="448" y="6"/>
                  </a:lnTo>
                  <a:lnTo>
                    <a:pt x="449" y="4"/>
                  </a:lnTo>
                  <a:lnTo>
                    <a:pt x="450" y="3"/>
                  </a:lnTo>
                  <a:lnTo>
                    <a:pt x="45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1" y="0"/>
                  </a:lnTo>
                  <a:lnTo>
                    <a:pt x="451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5" name="Freeform 45">
              <a:extLst>
                <a:ext uri="{FF2B5EF4-FFF2-40B4-BE49-F238E27FC236}">
                  <a16:creationId xmlns:a16="http://schemas.microsoft.com/office/drawing/2014/main" id="{EDBD2ECE-D590-3256-1C9A-7CBB194C8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4" y="3272"/>
              <a:ext cx="138" cy="106"/>
            </a:xfrm>
            <a:custGeom>
              <a:avLst/>
              <a:gdLst>
                <a:gd name="T0" fmla="*/ 77 w 138"/>
                <a:gd name="T1" fmla="*/ 3 h 106"/>
                <a:gd name="T2" fmla="*/ 66 w 138"/>
                <a:gd name="T3" fmla="*/ 8 h 106"/>
                <a:gd name="T4" fmla="*/ 53 w 138"/>
                <a:gd name="T5" fmla="*/ 13 h 106"/>
                <a:gd name="T6" fmla="*/ 43 w 138"/>
                <a:gd name="T7" fmla="*/ 15 h 106"/>
                <a:gd name="T8" fmla="*/ 38 w 138"/>
                <a:gd name="T9" fmla="*/ 17 h 106"/>
                <a:gd name="T10" fmla="*/ 36 w 138"/>
                <a:gd name="T11" fmla="*/ 24 h 106"/>
                <a:gd name="T12" fmla="*/ 33 w 138"/>
                <a:gd name="T13" fmla="*/ 27 h 106"/>
                <a:gd name="T14" fmla="*/ 26 w 138"/>
                <a:gd name="T15" fmla="*/ 26 h 106"/>
                <a:gd name="T16" fmla="*/ 21 w 138"/>
                <a:gd name="T17" fmla="*/ 24 h 106"/>
                <a:gd name="T18" fmla="*/ 14 w 138"/>
                <a:gd name="T19" fmla="*/ 27 h 106"/>
                <a:gd name="T20" fmla="*/ 2 w 138"/>
                <a:gd name="T21" fmla="*/ 31 h 106"/>
                <a:gd name="T22" fmla="*/ 0 w 138"/>
                <a:gd name="T23" fmla="*/ 33 h 106"/>
                <a:gd name="T24" fmla="*/ 5 w 138"/>
                <a:gd name="T25" fmla="*/ 36 h 106"/>
                <a:gd name="T26" fmla="*/ 13 w 138"/>
                <a:gd name="T27" fmla="*/ 44 h 106"/>
                <a:gd name="T28" fmla="*/ 12 w 138"/>
                <a:gd name="T29" fmla="*/ 48 h 106"/>
                <a:gd name="T30" fmla="*/ 7 w 138"/>
                <a:gd name="T31" fmla="*/ 52 h 106"/>
                <a:gd name="T32" fmla="*/ 7 w 138"/>
                <a:gd name="T33" fmla="*/ 55 h 106"/>
                <a:gd name="T34" fmla="*/ 11 w 138"/>
                <a:gd name="T35" fmla="*/ 62 h 106"/>
                <a:gd name="T36" fmla="*/ 20 w 138"/>
                <a:gd name="T37" fmla="*/ 71 h 106"/>
                <a:gd name="T38" fmla="*/ 21 w 138"/>
                <a:gd name="T39" fmla="*/ 75 h 106"/>
                <a:gd name="T40" fmla="*/ 20 w 138"/>
                <a:gd name="T41" fmla="*/ 80 h 106"/>
                <a:gd name="T42" fmla="*/ 22 w 138"/>
                <a:gd name="T43" fmla="*/ 83 h 106"/>
                <a:gd name="T44" fmla="*/ 28 w 138"/>
                <a:gd name="T45" fmla="*/ 86 h 106"/>
                <a:gd name="T46" fmla="*/ 29 w 138"/>
                <a:gd name="T47" fmla="*/ 89 h 106"/>
                <a:gd name="T48" fmla="*/ 29 w 138"/>
                <a:gd name="T49" fmla="*/ 94 h 106"/>
                <a:gd name="T50" fmla="*/ 30 w 138"/>
                <a:gd name="T51" fmla="*/ 97 h 106"/>
                <a:gd name="T52" fmla="*/ 29 w 138"/>
                <a:gd name="T53" fmla="*/ 102 h 106"/>
                <a:gd name="T54" fmla="*/ 32 w 138"/>
                <a:gd name="T55" fmla="*/ 105 h 106"/>
                <a:gd name="T56" fmla="*/ 40 w 138"/>
                <a:gd name="T57" fmla="*/ 106 h 106"/>
                <a:gd name="T58" fmla="*/ 46 w 138"/>
                <a:gd name="T59" fmla="*/ 106 h 106"/>
                <a:gd name="T60" fmla="*/ 49 w 138"/>
                <a:gd name="T61" fmla="*/ 100 h 106"/>
                <a:gd name="T62" fmla="*/ 55 w 138"/>
                <a:gd name="T63" fmla="*/ 98 h 106"/>
                <a:gd name="T64" fmla="*/ 65 w 138"/>
                <a:gd name="T65" fmla="*/ 94 h 106"/>
                <a:gd name="T66" fmla="*/ 76 w 138"/>
                <a:gd name="T67" fmla="*/ 86 h 106"/>
                <a:gd name="T68" fmla="*/ 83 w 138"/>
                <a:gd name="T69" fmla="*/ 83 h 106"/>
                <a:gd name="T70" fmla="*/ 88 w 138"/>
                <a:gd name="T71" fmla="*/ 79 h 106"/>
                <a:gd name="T72" fmla="*/ 94 w 138"/>
                <a:gd name="T73" fmla="*/ 78 h 106"/>
                <a:gd name="T74" fmla="*/ 102 w 138"/>
                <a:gd name="T75" fmla="*/ 77 h 106"/>
                <a:gd name="T76" fmla="*/ 110 w 138"/>
                <a:gd name="T77" fmla="*/ 81 h 106"/>
                <a:gd name="T78" fmla="*/ 117 w 138"/>
                <a:gd name="T79" fmla="*/ 83 h 106"/>
                <a:gd name="T80" fmla="*/ 121 w 138"/>
                <a:gd name="T81" fmla="*/ 82 h 106"/>
                <a:gd name="T82" fmla="*/ 127 w 138"/>
                <a:gd name="T83" fmla="*/ 76 h 106"/>
                <a:gd name="T84" fmla="*/ 126 w 138"/>
                <a:gd name="T85" fmla="*/ 66 h 106"/>
                <a:gd name="T86" fmla="*/ 124 w 138"/>
                <a:gd name="T87" fmla="*/ 62 h 106"/>
                <a:gd name="T88" fmla="*/ 122 w 138"/>
                <a:gd name="T89" fmla="*/ 58 h 106"/>
                <a:gd name="T90" fmla="*/ 125 w 138"/>
                <a:gd name="T91" fmla="*/ 55 h 106"/>
                <a:gd name="T92" fmla="*/ 135 w 138"/>
                <a:gd name="T93" fmla="*/ 49 h 106"/>
                <a:gd name="T94" fmla="*/ 138 w 138"/>
                <a:gd name="T95" fmla="*/ 44 h 106"/>
                <a:gd name="T96" fmla="*/ 137 w 138"/>
                <a:gd name="T97" fmla="*/ 40 h 106"/>
                <a:gd name="T98" fmla="*/ 130 w 138"/>
                <a:gd name="T99" fmla="*/ 34 h 106"/>
                <a:gd name="T100" fmla="*/ 125 w 138"/>
                <a:gd name="T101" fmla="*/ 28 h 106"/>
                <a:gd name="T102" fmla="*/ 117 w 138"/>
                <a:gd name="T103" fmla="*/ 23 h 106"/>
                <a:gd name="T104" fmla="*/ 109 w 138"/>
                <a:gd name="T105" fmla="*/ 20 h 106"/>
                <a:gd name="T106" fmla="*/ 106 w 138"/>
                <a:gd name="T107" fmla="*/ 14 h 106"/>
                <a:gd name="T108" fmla="*/ 101 w 138"/>
                <a:gd name="T109" fmla="*/ 12 h 106"/>
                <a:gd name="T110" fmla="*/ 91 w 138"/>
                <a:gd name="T111" fmla="*/ 5 h 106"/>
                <a:gd name="T112" fmla="*/ 88 w 138"/>
                <a:gd name="T113" fmla="*/ 2 h 106"/>
                <a:gd name="T114" fmla="*/ 88 w 138"/>
                <a:gd name="T11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8" h="106">
                  <a:moveTo>
                    <a:pt x="87" y="0"/>
                  </a:moveTo>
                  <a:lnTo>
                    <a:pt x="87" y="1"/>
                  </a:lnTo>
                  <a:lnTo>
                    <a:pt x="86" y="1"/>
                  </a:lnTo>
                  <a:lnTo>
                    <a:pt x="84" y="1"/>
                  </a:lnTo>
                  <a:lnTo>
                    <a:pt x="79" y="2"/>
                  </a:lnTo>
                  <a:lnTo>
                    <a:pt x="77" y="3"/>
                  </a:lnTo>
                  <a:lnTo>
                    <a:pt x="75" y="3"/>
                  </a:lnTo>
                  <a:lnTo>
                    <a:pt x="73" y="4"/>
                  </a:lnTo>
                  <a:lnTo>
                    <a:pt x="71" y="5"/>
                  </a:lnTo>
                  <a:lnTo>
                    <a:pt x="70" y="5"/>
                  </a:lnTo>
                  <a:lnTo>
                    <a:pt x="67" y="7"/>
                  </a:lnTo>
                  <a:lnTo>
                    <a:pt x="66" y="8"/>
                  </a:lnTo>
                  <a:lnTo>
                    <a:pt x="64" y="9"/>
                  </a:lnTo>
                  <a:lnTo>
                    <a:pt x="61" y="9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4" y="12"/>
                  </a:lnTo>
                  <a:lnTo>
                    <a:pt x="53" y="13"/>
                  </a:lnTo>
                  <a:lnTo>
                    <a:pt x="52" y="14"/>
                  </a:lnTo>
                  <a:lnTo>
                    <a:pt x="49" y="14"/>
                  </a:lnTo>
                  <a:lnTo>
                    <a:pt x="48" y="14"/>
                  </a:lnTo>
                  <a:lnTo>
                    <a:pt x="47" y="15"/>
                  </a:lnTo>
                  <a:lnTo>
                    <a:pt x="44" y="15"/>
                  </a:lnTo>
                  <a:lnTo>
                    <a:pt x="43" y="15"/>
                  </a:lnTo>
                  <a:lnTo>
                    <a:pt x="41" y="15"/>
                  </a:lnTo>
                  <a:lnTo>
                    <a:pt x="41" y="16"/>
                  </a:lnTo>
                  <a:lnTo>
                    <a:pt x="40" y="16"/>
                  </a:lnTo>
                  <a:lnTo>
                    <a:pt x="39" y="16"/>
                  </a:lnTo>
                  <a:lnTo>
                    <a:pt x="39" y="17"/>
                  </a:lnTo>
                  <a:lnTo>
                    <a:pt x="38" y="17"/>
                  </a:lnTo>
                  <a:lnTo>
                    <a:pt x="38" y="18"/>
                  </a:lnTo>
                  <a:lnTo>
                    <a:pt x="37" y="19"/>
                  </a:lnTo>
                  <a:lnTo>
                    <a:pt x="37" y="20"/>
                  </a:lnTo>
                  <a:lnTo>
                    <a:pt x="37" y="21"/>
                  </a:lnTo>
                  <a:lnTo>
                    <a:pt x="36" y="23"/>
                  </a:lnTo>
                  <a:lnTo>
                    <a:pt x="36" y="24"/>
                  </a:lnTo>
                  <a:lnTo>
                    <a:pt x="35" y="25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4" y="26"/>
                  </a:lnTo>
                  <a:lnTo>
                    <a:pt x="34" y="27"/>
                  </a:lnTo>
                  <a:lnTo>
                    <a:pt x="33" y="27"/>
                  </a:lnTo>
                  <a:lnTo>
                    <a:pt x="31" y="27"/>
                  </a:lnTo>
                  <a:lnTo>
                    <a:pt x="30" y="27"/>
                  </a:lnTo>
                  <a:lnTo>
                    <a:pt x="28" y="27"/>
                  </a:lnTo>
                  <a:lnTo>
                    <a:pt x="27" y="27"/>
                  </a:lnTo>
                  <a:lnTo>
                    <a:pt x="27" y="26"/>
                  </a:lnTo>
                  <a:lnTo>
                    <a:pt x="26" y="26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3" y="24"/>
                  </a:lnTo>
                  <a:lnTo>
                    <a:pt x="22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9" y="25"/>
                  </a:lnTo>
                  <a:lnTo>
                    <a:pt x="16" y="26"/>
                  </a:lnTo>
                  <a:lnTo>
                    <a:pt x="15" y="27"/>
                  </a:lnTo>
                  <a:lnTo>
                    <a:pt x="14" y="27"/>
                  </a:lnTo>
                  <a:lnTo>
                    <a:pt x="11" y="28"/>
                  </a:lnTo>
                  <a:lnTo>
                    <a:pt x="9" y="28"/>
                  </a:lnTo>
                  <a:lnTo>
                    <a:pt x="6" y="29"/>
                  </a:lnTo>
                  <a:lnTo>
                    <a:pt x="4" y="30"/>
                  </a:lnTo>
                  <a:lnTo>
                    <a:pt x="3" y="31"/>
                  </a:lnTo>
                  <a:lnTo>
                    <a:pt x="2" y="31"/>
                  </a:lnTo>
                  <a:lnTo>
                    <a:pt x="1" y="32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4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3" y="35"/>
                  </a:lnTo>
                  <a:lnTo>
                    <a:pt x="4" y="35"/>
                  </a:lnTo>
                  <a:lnTo>
                    <a:pt x="5" y="36"/>
                  </a:lnTo>
                  <a:lnTo>
                    <a:pt x="5" y="37"/>
                  </a:lnTo>
                  <a:lnTo>
                    <a:pt x="7" y="38"/>
                  </a:lnTo>
                  <a:lnTo>
                    <a:pt x="9" y="40"/>
                  </a:lnTo>
                  <a:lnTo>
                    <a:pt x="11" y="43"/>
                  </a:lnTo>
                  <a:lnTo>
                    <a:pt x="12" y="44"/>
                  </a:lnTo>
                  <a:lnTo>
                    <a:pt x="13" y="44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6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0" y="49"/>
                  </a:lnTo>
                  <a:lnTo>
                    <a:pt x="9" y="50"/>
                  </a:lnTo>
                  <a:lnTo>
                    <a:pt x="8" y="50"/>
                  </a:lnTo>
                  <a:lnTo>
                    <a:pt x="8" y="51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6" y="53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7" y="54"/>
                  </a:lnTo>
                  <a:lnTo>
                    <a:pt x="7" y="55"/>
                  </a:lnTo>
                  <a:lnTo>
                    <a:pt x="7" y="56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10" y="59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2" y="64"/>
                  </a:lnTo>
                  <a:lnTo>
                    <a:pt x="13" y="65"/>
                  </a:lnTo>
                  <a:lnTo>
                    <a:pt x="14" y="66"/>
                  </a:lnTo>
                  <a:lnTo>
                    <a:pt x="15" y="67"/>
                  </a:lnTo>
                  <a:lnTo>
                    <a:pt x="17" y="69"/>
                  </a:lnTo>
                  <a:lnTo>
                    <a:pt x="20" y="71"/>
                  </a:lnTo>
                  <a:lnTo>
                    <a:pt x="20" y="72"/>
                  </a:lnTo>
                  <a:lnTo>
                    <a:pt x="21" y="73"/>
                  </a:lnTo>
                  <a:lnTo>
                    <a:pt x="21" y="73"/>
                  </a:lnTo>
                  <a:lnTo>
                    <a:pt x="21" y="74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6"/>
                  </a:lnTo>
                  <a:lnTo>
                    <a:pt x="21" y="77"/>
                  </a:lnTo>
                  <a:lnTo>
                    <a:pt x="20" y="78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80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2"/>
                  </a:lnTo>
                  <a:lnTo>
                    <a:pt x="21" y="82"/>
                  </a:lnTo>
                  <a:lnTo>
                    <a:pt x="21" y="83"/>
                  </a:lnTo>
                  <a:lnTo>
                    <a:pt x="22" y="83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4" y="85"/>
                  </a:lnTo>
                  <a:lnTo>
                    <a:pt x="25" y="85"/>
                  </a:lnTo>
                  <a:lnTo>
                    <a:pt x="27" y="86"/>
                  </a:lnTo>
                  <a:lnTo>
                    <a:pt x="28" y="86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29" y="90"/>
                  </a:lnTo>
                  <a:lnTo>
                    <a:pt x="29" y="91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7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29" y="100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102"/>
                  </a:lnTo>
                  <a:lnTo>
                    <a:pt x="30" y="102"/>
                  </a:lnTo>
                  <a:lnTo>
                    <a:pt x="30" y="103"/>
                  </a:lnTo>
                  <a:lnTo>
                    <a:pt x="31" y="103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2" y="105"/>
                  </a:lnTo>
                  <a:lnTo>
                    <a:pt x="33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5" y="106"/>
                  </a:lnTo>
                  <a:lnTo>
                    <a:pt x="36" y="106"/>
                  </a:lnTo>
                  <a:lnTo>
                    <a:pt x="40" y="106"/>
                  </a:lnTo>
                  <a:lnTo>
                    <a:pt x="41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6" y="106"/>
                  </a:lnTo>
                  <a:lnTo>
                    <a:pt x="46" y="105"/>
                  </a:lnTo>
                  <a:lnTo>
                    <a:pt x="46" y="105"/>
                  </a:lnTo>
                  <a:lnTo>
                    <a:pt x="47" y="104"/>
                  </a:lnTo>
                  <a:lnTo>
                    <a:pt x="48" y="102"/>
                  </a:lnTo>
                  <a:lnTo>
                    <a:pt x="49" y="101"/>
                  </a:lnTo>
                  <a:lnTo>
                    <a:pt x="49" y="100"/>
                  </a:lnTo>
                  <a:lnTo>
                    <a:pt x="49" y="100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1" y="99"/>
                  </a:lnTo>
                  <a:lnTo>
                    <a:pt x="52" y="98"/>
                  </a:lnTo>
                  <a:lnTo>
                    <a:pt x="55" y="98"/>
                  </a:lnTo>
                  <a:lnTo>
                    <a:pt x="56" y="97"/>
                  </a:lnTo>
                  <a:lnTo>
                    <a:pt x="58" y="97"/>
                  </a:lnTo>
                  <a:lnTo>
                    <a:pt x="59" y="96"/>
                  </a:lnTo>
                  <a:lnTo>
                    <a:pt x="62" y="95"/>
                  </a:lnTo>
                  <a:lnTo>
                    <a:pt x="64" y="95"/>
                  </a:lnTo>
                  <a:lnTo>
                    <a:pt x="65" y="94"/>
                  </a:lnTo>
                  <a:lnTo>
                    <a:pt x="66" y="94"/>
                  </a:lnTo>
                  <a:lnTo>
                    <a:pt x="67" y="93"/>
                  </a:lnTo>
                  <a:lnTo>
                    <a:pt x="68" y="93"/>
                  </a:lnTo>
                  <a:lnTo>
                    <a:pt x="73" y="89"/>
                  </a:lnTo>
                  <a:lnTo>
                    <a:pt x="75" y="87"/>
                  </a:lnTo>
                  <a:lnTo>
                    <a:pt x="76" y="86"/>
                  </a:lnTo>
                  <a:lnTo>
                    <a:pt x="77" y="86"/>
                  </a:lnTo>
                  <a:lnTo>
                    <a:pt x="78" y="86"/>
                  </a:lnTo>
                  <a:lnTo>
                    <a:pt x="79" y="85"/>
                  </a:lnTo>
                  <a:lnTo>
                    <a:pt x="81" y="84"/>
                  </a:lnTo>
                  <a:lnTo>
                    <a:pt x="82" y="84"/>
                  </a:lnTo>
                  <a:lnTo>
                    <a:pt x="83" y="83"/>
                  </a:lnTo>
                  <a:lnTo>
                    <a:pt x="84" y="83"/>
                  </a:lnTo>
                  <a:lnTo>
                    <a:pt x="85" y="82"/>
                  </a:lnTo>
                  <a:lnTo>
                    <a:pt x="86" y="82"/>
                  </a:lnTo>
                  <a:lnTo>
                    <a:pt x="87" y="80"/>
                  </a:lnTo>
                  <a:lnTo>
                    <a:pt x="87" y="80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9" y="79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91" y="78"/>
                  </a:lnTo>
                  <a:lnTo>
                    <a:pt x="94" y="78"/>
                  </a:lnTo>
                  <a:lnTo>
                    <a:pt x="95" y="77"/>
                  </a:lnTo>
                  <a:lnTo>
                    <a:pt x="97" y="77"/>
                  </a:lnTo>
                  <a:lnTo>
                    <a:pt x="99" y="77"/>
                  </a:lnTo>
                  <a:lnTo>
                    <a:pt x="101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3" y="77"/>
                  </a:lnTo>
                  <a:lnTo>
                    <a:pt x="104" y="78"/>
                  </a:lnTo>
                  <a:lnTo>
                    <a:pt x="106" y="78"/>
                  </a:lnTo>
                  <a:lnTo>
                    <a:pt x="107" y="79"/>
                  </a:lnTo>
                  <a:lnTo>
                    <a:pt x="108" y="80"/>
                  </a:lnTo>
                  <a:lnTo>
                    <a:pt x="110" y="81"/>
                  </a:lnTo>
                  <a:lnTo>
                    <a:pt x="112" y="82"/>
                  </a:lnTo>
                  <a:lnTo>
                    <a:pt x="112" y="82"/>
                  </a:lnTo>
                  <a:lnTo>
                    <a:pt x="113" y="82"/>
                  </a:lnTo>
                  <a:lnTo>
                    <a:pt x="114" y="83"/>
                  </a:lnTo>
                  <a:lnTo>
                    <a:pt x="115" y="83"/>
                  </a:lnTo>
                  <a:lnTo>
                    <a:pt x="117" y="83"/>
                  </a:lnTo>
                  <a:lnTo>
                    <a:pt x="118" y="83"/>
                  </a:lnTo>
                  <a:lnTo>
                    <a:pt x="118" y="83"/>
                  </a:lnTo>
                  <a:lnTo>
                    <a:pt x="119" y="83"/>
                  </a:lnTo>
                  <a:lnTo>
                    <a:pt x="120" y="83"/>
                  </a:lnTo>
                  <a:lnTo>
                    <a:pt x="120" y="82"/>
                  </a:lnTo>
                  <a:lnTo>
                    <a:pt x="121" y="82"/>
                  </a:lnTo>
                  <a:lnTo>
                    <a:pt x="122" y="81"/>
                  </a:lnTo>
                  <a:lnTo>
                    <a:pt x="124" y="79"/>
                  </a:lnTo>
                  <a:lnTo>
                    <a:pt x="125" y="79"/>
                  </a:lnTo>
                  <a:lnTo>
                    <a:pt x="126" y="78"/>
                  </a:lnTo>
                  <a:lnTo>
                    <a:pt x="126" y="77"/>
                  </a:lnTo>
                  <a:lnTo>
                    <a:pt x="127" y="76"/>
                  </a:lnTo>
                  <a:lnTo>
                    <a:pt x="127" y="75"/>
                  </a:lnTo>
                  <a:lnTo>
                    <a:pt x="127" y="74"/>
                  </a:lnTo>
                  <a:lnTo>
                    <a:pt x="127" y="73"/>
                  </a:lnTo>
                  <a:lnTo>
                    <a:pt x="127" y="72"/>
                  </a:lnTo>
                  <a:lnTo>
                    <a:pt x="126" y="68"/>
                  </a:lnTo>
                  <a:lnTo>
                    <a:pt x="126" y="66"/>
                  </a:lnTo>
                  <a:lnTo>
                    <a:pt x="126" y="65"/>
                  </a:lnTo>
                  <a:lnTo>
                    <a:pt x="126" y="64"/>
                  </a:lnTo>
                  <a:lnTo>
                    <a:pt x="125" y="64"/>
                  </a:lnTo>
                  <a:lnTo>
                    <a:pt x="125" y="63"/>
                  </a:lnTo>
                  <a:lnTo>
                    <a:pt x="125" y="63"/>
                  </a:lnTo>
                  <a:lnTo>
                    <a:pt x="124" y="62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3" y="60"/>
                  </a:lnTo>
                  <a:lnTo>
                    <a:pt x="122" y="60"/>
                  </a:lnTo>
                  <a:lnTo>
                    <a:pt x="122" y="59"/>
                  </a:lnTo>
                  <a:lnTo>
                    <a:pt x="122" y="58"/>
                  </a:lnTo>
                  <a:lnTo>
                    <a:pt x="123" y="58"/>
                  </a:lnTo>
                  <a:lnTo>
                    <a:pt x="123" y="57"/>
                  </a:lnTo>
                  <a:lnTo>
                    <a:pt x="123" y="57"/>
                  </a:lnTo>
                  <a:lnTo>
                    <a:pt x="123" y="56"/>
                  </a:lnTo>
                  <a:lnTo>
                    <a:pt x="124" y="56"/>
                  </a:lnTo>
                  <a:lnTo>
                    <a:pt x="125" y="55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31" y="51"/>
                  </a:lnTo>
                  <a:lnTo>
                    <a:pt x="134" y="50"/>
                  </a:lnTo>
                  <a:lnTo>
                    <a:pt x="134" y="49"/>
                  </a:lnTo>
                  <a:lnTo>
                    <a:pt x="135" y="49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7" y="47"/>
                  </a:lnTo>
                  <a:lnTo>
                    <a:pt x="137" y="46"/>
                  </a:lnTo>
                  <a:lnTo>
                    <a:pt x="138" y="45"/>
                  </a:lnTo>
                  <a:lnTo>
                    <a:pt x="138" y="44"/>
                  </a:lnTo>
                  <a:lnTo>
                    <a:pt x="138" y="43"/>
                  </a:lnTo>
                  <a:lnTo>
                    <a:pt x="138" y="43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37" y="41"/>
                  </a:lnTo>
                  <a:lnTo>
                    <a:pt x="137" y="40"/>
                  </a:lnTo>
                  <a:lnTo>
                    <a:pt x="136" y="39"/>
                  </a:lnTo>
                  <a:lnTo>
                    <a:pt x="135" y="38"/>
                  </a:lnTo>
                  <a:lnTo>
                    <a:pt x="135" y="37"/>
                  </a:lnTo>
                  <a:lnTo>
                    <a:pt x="134" y="37"/>
                  </a:lnTo>
                  <a:lnTo>
                    <a:pt x="133" y="36"/>
                  </a:lnTo>
                  <a:lnTo>
                    <a:pt x="130" y="34"/>
                  </a:lnTo>
                  <a:lnTo>
                    <a:pt x="129" y="33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7" y="31"/>
                  </a:lnTo>
                  <a:lnTo>
                    <a:pt x="126" y="29"/>
                  </a:lnTo>
                  <a:lnTo>
                    <a:pt x="125" y="28"/>
                  </a:lnTo>
                  <a:lnTo>
                    <a:pt x="124" y="28"/>
                  </a:lnTo>
                  <a:lnTo>
                    <a:pt x="124" y="27"/>
                  </a:lnTo>
                  <a:lnTo>
                    <a:pt x="123" y="27"/>
                  </a:lnTo>
                  <a:lnTo>
                    <a:pt x="122" y="26"/>
                  </a:lnTo>
                  <a:lnTo>
                    <a:pt x="118" y="24"/>
                  </a:lnTo>
                  <a:lnTo>
                    <a:pt x="117" y="23"/>
                  </a:lnTo>
                  <a:lnTo>
                    <a:pt x="114" y="23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1" y="21"/>
                  </a:lnTo>
                  <a:lnTo>
                    <a:pt x="110" y="21"/>
                  </a:lnTo>
                  <a:lnTo>
                    <a:pt x="109" y="20"/>
                  </a:lnTo>
                  <a:lnTo>
                    <a:pt x="109" y="19"/>
                  </a:lnTo>
                  <a:lnTo>
                    <a:pt x="108" y="19"/>
                  </a:lnTo>
                  <a:lnTo>
                    <a:pt x="107" y="18"/>
                  </a:lnTo>
                  <a:lnTo>
                    <a:pt x="107" y="17"/>
                  </a:lnTo>
                  <a:lnTo>
                    <a:pt x="107" y="16"/>
                  </a:lnTo>
                  <a:lnTo>
                    <a:pt x="106" y="14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4" y="12"/>
                  </a:lnTo>
                  <a:lnTo>
                    <a:pt x="103" y="12"/>
                  </a:lnTo>
                  <a:lnTo>
                    <a:pt x="101" y="12"/>
                  </a:lnTo>
                  <a:lnTo>
                    <a:pt x="100" y="11"/>
                  </a:lnTo>
                  <a:lnTo>
                    <a:pt x="99" y="11"/>
                  </a:lnTo>
                  <a:lnTo>
                    <a:pt x="98" y="10"/>
                  </a:lnTo>
                  <a:lnTo>
                    <a:pt x="95" y="8"/>
                  </a:lnTo>
                  <a:lnTo>
                    <a:pt x="94" y="7"/>
                  </a:lnTo>
                  <a:lnTo>
                    <a:pt x="91" y="5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89" y="4"/>
                  </a:lnTo>
                  <a:lnTo>
                    <a:pt x="89" y="3"/>
                  </a:lnTo>
                  <a:lnTo>
                    <a:pt x="89" y="2"/>
                  </a:lnTo>
                  <a:lnTo>
                    <a:pt x="88" y="2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9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7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Freeform 46">
              <a:extLst>
                <a:ext uri="{FF2B5EF4-FFF2-40B4-BE49-F238E27FC236}">
                  <a16:creationId xmlns:a16="http://schemas.microsoft.com/office/drawing/2014/main" id="{DAAD85D5-8A92-16E5-E71A-A034DB26D2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3533"/>
              <a:ext cx="624" cy="488"/>
            </a:xfrm>
            <a:custGeom>
              <a:avLst/>
              <a:gdLst>
                <a:gd name="T0" fmla="*/ 178 w 624"/>
                <a:gd name="T1" fmla="*/ 37 h 488"/>
                <a:gd name="T2" fmla="*/ 217 w 624"/>
                <a:gd name="T3" fmla="*/ 23 h 488"/>
                <a:gd name="T4" fmla="*/ 241 w 624"/>
                <a:gd name="T5" fmla="*/ 35 h 488"/>
                <a:gd name="T6" fmla="*/ 265 w 624"/>
                <a:gd name="T7" fmla="*/ 33 h 488"/>
                <a:gd name="T8" fmla="*/ 286 w 624"/>
                <a:gd name="T9" fmla="*/ 34 h 488"/>
                <a:gd name="T10" fmla="*/ 319 w 624"/>
                <a:gd name="T11" fmla="*/ 35 h 488"/>
                <a:gd name="T12" fmla="*/ 337 w 624"/>
                <a:gd name="T13" fmla="*/ 48 h 488"/>
                <a:gd name="T14" fmla="*/ 363 w 624"/>
                <a:gd name="T15" fmla="*/ 27 h 488"/>
                <a:gd name="T16" fmla="*/ 373 w 624"/>
                <a:gd name="T17" fmla="*/ 0 h 488"/>
                <a:gd name="T18" fmla="*/ 403 w 624"/>
                <a:gd name="T19" fmla="*/ 13 h 488"/>
                <a:gd name="T20" fmla="*/ 422 w 624"/>
                <a:gd name="T21" fmla="*/ 31 h 488"/>
                <a:gd name="T22" fmla="*/ 417 w 624"/>
                <a:gd name="T23" fmla="*/ 47 h 488"/>
                <a:gd name="T24" fmla="*/ 415 w 624"/>
                <a:gd name="T25" fmla="*/ 88 h 488"/>
                <a:gd name="T26" fmla="*/ 421 w 624"/>
                <a:gd name="T27" fmla="*/ 120 h 488"/>
                <a:gd name="T28" fmla="*/ 435 w 624"/>
                <a:gd name="T29" fmla="*/ 153 h 488"/>
                <a:gd name="T30" fmla="*/ 468 w 624"/>
                <a:gd name="T31" fmla="*/ 159 h 488"/>
                <a:gd name="T32" fmla="*/ 473 w 624"/>
                <a:gd name="T33" fmla="*/ 171 h 488"/>
                <a:gd name="T34" fmla="*/ 502 w 624"/>
                <a:gd name="T35" fmla="*/ 178 h 488"/>
                <a:gd name="T36" fmla="*/ 542 w 624"/>
                <a:gd name="T37" fmla="*/ 184 h 488"/>
                <a:gd name="T38" fmla="*/ 551 w 624"/>
                <a:gd name="T39" fmla="*/ 212 h 488"/>
                <a:gd name="T40" fmla="*/ 591 w 624"/>
                <a:gd name="T41" fmla="*/ 227 h 488"/>
                <a:gd name="T42" fmla="*/ 614 w 624"/>
                <a:gd name="T43" fmla="*/ 228 h 488"/>
                <a:gd name="T44" fmla="*/ 621 w 624"/>
                <a:gd name="T45" fmla="*/ 249 h 488"/>
                <a:gd name="T46" fmla="*/ 600 w 624"/>
                <a:gd name="T47" fmla="*/ 276 h 488"/>
                <a:gd name="T48" fmla="*/ 605 w 624"/>
                <a:gd name="T49" fmla="*/ 293 h 488"/>
                <a:gd name="T50" fmla="*/ 617 w 624"/>
                <a:gd name="T51" fmla="*/ 312 h 488"/>
                <a:gd name="T52" fmla="*/ 606 w 624"/>
                <a:gd name="T53" fmla="*/ 325 h 488"/>
                <a:gd name="T54" fmla="*/ 560 w 624"/>
                <a:gd name="T55" fmla="*/ 297 h 488"/>
                <a:gd name="T56" fmla="*/ 529 w 624"/>
                <a:gd name="T57" fmla="*/ 291 h 488"/>
                <a:gd name="T58" fmla="*/ 496 w 624"/>
                <a:gd name="T59" fmla="*/ 309 h 488"/>
                <a:gd name="T60" fmla="*/ 484 w 624"/>
                <a:gd name="T61" fmla="*/ 286 h 488"/>
                <a:gd name="T62" fmla="*/ 448 w 624"/>
                <a:gd name="T63" fmla="*/ 277 h 488"/>
                <a:gd name="T64" fmla="*/ 438 w 624"/>
                <a:gd name="T65" fmla="*/ 313 h 488"/>
                <a:gd name="T66" fmla="*/ 432 w 624"/>
                <a:gd name="T67" fmla="*/ 370 h 488"/>
                <a:gd name="T68" fmla="*/ 425 w 624"/>
                <a:gd name="T69" fmla="*/ 394 h 488"/>
                <a:gd name="T70" fmla="*/ 386 w 624"/>
                <a:gd name="T71" fmla="*/ 391 h 488"/>
                <a:gd name="T72" fmla="*/ 358 w 624"/>
                <a:gd name="T73" fmla="*/ 437 h 488"/>
                <a:gd name="T74" fmla="*/ 350 w 624"/>
                <a:gd name="T75" fmla="*/ 476 h 488"/>
                <a:gd name="T76" fmla="*/ 326 w 624"/>
                <a:gd name="T77" fmla="*/ 461 h 488"/>
                <a:gd name="T78" fmla="*/ 291 w 624"/>
                <a:gd name="T79" fmla="*/ 458 h 488"/>
                <a:gd name="T80" fmla="*/ 273 w 624"/>
                <a:gd name="T81" fmla="*/ 465 h 488"/>
                <a:gd name="T82" fmla="*/ 253 w 624"/>
                <a:gd name="T83" fmla="*/ 481 h 488"/>
                <a:gd name="T84" fmla="*/ 211 w 624"/>
                <a:gd name="T85" fmla="*/ 477 h 488"/>
                <a:gd name="T86" fmla="*/ 158 w 624"/>
                <a:gd name="T87" fmla="*/ 467 h 488"/>
                <a:gd name="T88" fmla="*/ 145 w 624"/>
                <a:gd name="T89" fmla="*/ 446 h 488"/>
                <a:gd name="T90" fmla="*/ 142 w 624"/>
                <a:gd name="T91" fmla="*/ 422 h 488"/>
                <a:gd name="T92" fmla="*/ 101 w 624"/>
                <a:gd name="T93" fmla="*/ 392 h 488"/>
                <a:gd name="T94" fmla="*/ 73 w 624"/>
                <a:gd name="T95" fmla="*/ 361 h 488"/>
                <a:gd name="T96" fmla="*/ 46 w 624"/>
                <a:gd name="T97" fmla="*/ 336 h 488"/>
                <a:gd name="T98" fmla="*/ 20 w 624"/>
                <a:gd name="T99" fmla="*/ 306 h 488"/>
                <a:gd name="T100" fmla="*/ 0 w 624"/>
                <a:gd name="T101" fmla="*/ 286 h 488"/>
                <a:gd name="T102" fmla="*/ 17 w 624"/>
                <a:gd name="T103" fmla="*/ 255 h 488"/>
                <a:gd name="T104" fmla="*/ 18 w 624"/>
                <a:gd name="T105" fmla="*/ 214 h 488"/>
                <a:gd name="T106" fmla="*/ 47 w 624"/>
                <a:gd name="T107" fmla="*/ 201 h 488"/>
                <a:gd name="T108" fmla="*/ 49 w 624"/>
                <a:gd name="T109" fmla="*/ 174 h 488"/>
                <a:gd name="T110" fmla="*/ 52 w 624"/>
                <a:gd name="T111" fmla="*/ 157 h 488"/>
                <a:gd name="T112" fmla="*/ 59 w 624"/>
                <a:gd name="T113" fmla="*/ 140 h 488"/>
                <a:gd name="T114" fmla="*/ 74 w 624"/>
                <a:gd name="T115" fmla="*/ 107 h 488"/>
                <a:gd name="T116" fmla="*/ 71 w 624"/>
                <a:gd name="T117" fmla="*/ 67 h 488"/>
                <a:gd name="T118" fmla="*/ 73 w 624"/>
                <a:gd name="T119" fmla="*/ 44 h 488"/>
                <a:gd name="T120" fmla="*/ 102 w 624"/>
                <a:gd name="T121" fmla="*/ 41 h 488"/>
                <a:gd name="T122" fmla="*/ 127 w 624"/>
                <a:gd name="T123" fmla="*/ 45 h 488"/>
                <a:gd name="T124" fmla="*/ 150 w 624"/>
                <a:gd name="T125" fmla="*/ 28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24" h="488">
                  <a:moveTo>
                    <a:pt x="162" y="23"/>
                  </a:moveTo>
                  <a:lnTo>
                    <a:pt x="162" y="23"/>
                  </a:lnTo>
                  <a:lnTo>
                    <a:pt x="162" y="23"/>
                  </a:lnTo>
                  <a:lnTo>
                    <a:pt x="163" y="24"/>
                  </a:lnTo>
                  <a:lnTo>
                    <a:pt x="163" y="24"/>
                  </a:lnTo>
                  <a:lnTo>
                    <a:pt x="163" y="25"/>
                  </a:lnTo>
                  <a:lnTo>
                    <a:pt x="163" y="29"/>
                  </a:lnTo>
                  <a:lnTo>
                    <a:pt x="163" y="31"/>
                  </a:lnTo>
                  <a:lnTo>
                    <a:pt x="163" y="32"/>
                  </a:lnTo>
                  <a:lnTo>
                    <a:pt x="163" y="33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4" y="35"/>
                  </a:lnTo>
                  <a:lnTo>
                    <a:pt x="164" y="35"/>
                  </a:lnTo>
                  <a:lnTo>
                    <a:pt x="165" y="36"/>
                  </a:lnTo>
                  <a:lnTo>
                    <a:pt x="165" y="36"/>
                  </a:lnTo>
                  <a:lnTo>
                    <a:pt x="166" y="37"/>
                  </a:lnTo>
                  <a:lnTo>
                    <a:pt x="167" y="37"/>
                  </a:lnTo>
                  <a:lnTo>
                    <a:pt x="168" y="37"/>
                  </a:lnTo>
                  <a:lnTo>
                    <a:pt x="168" y="37"/>
                  </a:lnTo>
                  <a:lnTo>
                    <a:pt x="170" y="38"/>
                  </a:lnTo>
                  <a:lnTo>
                    <a:pt x="171" y="37"/>
                  </a:lnTo>
                  <a:lnTo>
                    <a:pt x="172" y="37"/>
                  </a:lnTo>
                  <a:lnTo>
                    <a:pt x="173" y="37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6" y="37"/>
                  </a:lnTo>
                  <a:lnTo>
                    <a:pt x="178" y="37"/>
                  </a:lnTo>
                  <a:lnTo>
                    <a:pt x="179" y="37"/>
                  </a:lnTo>
                  <a:lnTo>
                    <a:pt x="181" y="36"/>
                  </a:lnTo>
                  <a:lnTo>
                    <a:pt x="182" y="36"/>
                  </a:lnTo>
                  <a:lnTo>
                    <a:pt x="183" y="36"/>
                  </a:lnTo>
                  <a:lnTo>
                    <a:pt x="187" y="36"/>
                  </a:lnTo>
                  <a:lnTo>
                    <a:pt x="188" y="36"/>
                  </a:lnTo>
                  <a:lnTo>
                    <a:pt x="196" y="36"/>
                  </a:lnTo>
                  <a:lnTo>
                    <a:pt x="199" y="35"/>
                  </a:lnTo>
                  <a:lnTo>
                    <a:pt x="201" y="35"/>
                  </a:lnTo>
                  <a:lnTo>
                    <a:pt x="202" y="35"/>
                  </a:lnTo>
                  <a:lnTo>
                    <a:pt x="204" y="35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6" y="35"/>
                  </a:lnTo>
                  <a:lnTo>
                    <a:pt x="206" y="35"/>
                  </a:lnTo>
                  <a:lnTo>
                    <a:pt x="207" y="34"/>
                  </a:lnTo>
                  <a:lnTo>
                    <a:pt x="207" y="32"/>
                  </a:lnTo>
                  <a:lnTo>
                    <a:pt x="208" y="31"/>
                  </a:lnTo>
                  <a:lnTo>
                    <a:pt x="209" y="30"/>
                  </a:lnTo>
                  <a:lnTo>
                    <a:pt x="210" y="28"/>
                  </a:lnTo>
                  <a:lnTo>
                    <a:pt x="211" y="26"/>
                  </a:lnTo>
                  <a:lnTo>
                    <a:pt x="211" y="26"/>
                  </a:lnTo>
                  <a:lnTo>
                    <a:pt x="212" y="25"/>
                  </a:lnTo>
                  <a:lnTo>
                    <a:pt x="212" y="24"/>
                  </a:lnTo>
                  <a:lnTo>
                    <a:pt x="213" y="24"/>
                  </a:lnTo>
                  <a:lnTo>
                    <a:pt x="214" y="24"/>
                  </a:lnTo>
                  <a:lnTo>
                    <a:pt x="217" y="23"/>
                  </a:lnTo>
                  <a:lnTo>
                    <a:pt x="219" y="22"/>
                  </a:lnTo>
                  <a:lnTo>
                    <a:pt x="220" y="22"/>
                  </a:lnTo>
                  <a:lnTo>
                    <a:pt x="221" y="22"/>
                  </a:lnTo>
                  <a:lnTo>
                    <a:pt x="222" y="22"/>
                  </a:lnTo>
                  <a:lnTo>
                    <a:pt x="222" y="22"/>
                  </a:lnTo>
                  <a:lnTo>
                    <a:pt x="223" y="22"/>
                  </a:lnTo>
                  <a:lnTo>
                    <a:pt x="225" y="23"/>
                  </a:lnTo>
                  <a:lnTo>
                    <a:pt x="226" y="23"/>
                  </a:lnTo>
                  <a:lnTo>
                    <a:pt x="227" y="24"/>
                  </a:lnTo>
                  <a:lnTo>
                    <a:pt x="228" y="25"/>
                  </a:lnTo>
                  <a:lnTo>
                    <a:pt x="229" y="25"/>
                  </a:lnTo>
                  <a:lnTo>
                    <a:pt x="230" y="26"/>
                  </a:lnTo>
                  <a:lnTo>
                    <a:pt x="231" y="28"/>
                  </a:lnTo>
                  <a:lnTo>
                    <a:pt x="231" y="28"/>
                  </a:lnTo>
                  <a:lnTo>
                    <a:pt x="232" y="29"/>
                  </a:lnTo>
                  <a:lnTo>
                    <a:pt x="232" y="29"/>
                  </a:lnTo>
                  <a:lnTo>
                    <a:pt x="233" y="30"/>
                  </a:lnTo>
                  <a:lnTo>
                    <a:pt x="233" y="30"/>
                  </a:lnTo>
                  <a:lnTo>
                    <a:pt x="235" y="30"/>
                  </a:lnTo>
                  <a:lnTo>
                    <a:pt x="236" y="31"/>
                  </a:lnTo>
                  <a:lnTo>
                    <a:pt x="238" y="32"/>
                  </a:lnTo>
                  <a:lnTo>
                    <a:pt x="238" y="32"/>
                  </a:lnTo>
                  <a:lnTo>
                    <a:pt x="239" y="33"/>
                  </a:lnTo>
                  <a:lnTo>
                    <a:pt x="240" y="33"/>
                  </a:lnTo>
                  <a:lnTo>
                    <a:pt x="241" y="34"/>
                  </a:lnTo>
                  <a:lnTo>
                    <a:pt x="241" y="35"/>
                  </a:lnTo>
                  <a:lnTo>
                    <a:pt x="241" y="35"/>
                  </a:lnTo>
                  <a:lnTo>
                    <a:pt x="241" y="35"/>
                  </a:lnTo>
                  <a:lnTo>
                    <a:pt x="242" y="37"/>
                  </a:lnTo>
                  <a:lnTo>
                    <a:pt x="242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4" y="39"/>
                  </a:lnTo>
                  <a:lnTo>
                    <a:pt x="245" y="39"/>
                  </a:lnTo>
                  <a:lnTo>
                    <a:pt x="247" y="39"/>
                  </a:lnTo>
                  <a:lnTo>
                    <a:pt x="248" y="39"/>
                  </a:lnTo>
                  <a:lnTo>
                    <a:pt x="249" y="39"/>
                  </a:lnTo>
                  <a:lnTo>
                    <a:pt x="250" y="39"/>
                  </a:lnTo>
                  <a:lnTo>
                    <a:pt x="252" y="39"/>
                  </a:lnTo>
                  <a:lnTo>
                    <a:pt x="252" y="38"/>
                  </a:lnTo>
                  <a:lnTo>
                    <a:pt x="253" y="38"/>
                  </a:lnTo>
                  <a:lnTo>
                    <a:pt x="253" y="38"/>
                  </a:lnTo>
                  <a:lnTo>
                    <a:pt x="256" y="36"/>
                  </a:lnTo>
                  <a:lnTo>
                    <a:pt x="257" y="35"/>
                  </a:lnTo>
                  <a:lnTo>
                    <a:pt x="258" y="35"/>
                  </a:lnTo>
                  <a:lnTo>
                    <a:pt x="259" y="34"/>
                  </a:lnTo>
                  <a:lnTo>
                    <a:pt x="260" y="34"/>
                  </a:lnTo>
                  <a:lnTo>
                    <a:pt x="261" y="34"/>
                  </a:lnTo>
                  <a:lnTo>
                    <a:pt x="262" y="34"/>
                  </a:lnTo>
                  <a:lnTo>
                    <a:pt x="264" y="34"/>
                  </a:lnTo>
                  <a:lnTo>
                    <a:pt x="264" y="34"/>
                  </a:lnTo>
                  <a:lnTo>
                    <a:pt x="264" y="34"/>
                  </a:lnTo>
                  <a:lnTo>
                    <a:pt x="265" y="34"/>
                  </a:lnTo>
                  <a:lnTo>
                    <a:pt x="265" y="34"/>
                  </a:lnTo>
                  <a:lnTo>
                    <a:pt x="265" y="33"/>
                  </a:lnTo>
                  <a:lnTo>
                    <a:pt x="265" y="33"/>
                  </a:lnTo>
                  <a:lnTo>
                    <a:pt x="265" y="32"/>
                  </a:lnTo>
                  <a:lnTo>
                    <a:pt x="265" y="30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8"/>
                  </a:lnTo>
                  <a:lnTo>
                    <a:pt x="265" y="28"/>
                  </a:lnTo>
                  <a:lnTo>
                    <a:pt x="266" y="28"/>
                  </a:lnTo>
                  <a:lnTo>
                    <a:pt x="266" y="28"/>
                  </a:lnTo>
                  <a:lnTo>
                    <a:pt x="267" y="28"/>
                  </a:lnTo>
                  <a:lnTo>
                    <a:pt x="268" y="28"/>
                  </a:lnTo>
                  <a:lnTo>
                    <a:pt x="270" y="30"/>
                  </a:lnTo>
                  <a:lnTo>
                    <a:pt x="271" y="30"/>
                  </a:lnTo>
                  <a:lnTo>
                    <a:pt x="272" y="31"/>
                  </a:lnTo>
                  <a:lnTo>
                    <a:pt x="274" y="31"/>
                  </a:lnTo>
                  <a:lnTo>
                    <a:pt x="275" y="32"/>
                  </a:lnTo>
                  <a:lnTo>
                    <a:pt x="276" y="32"/>
                  </a:lnTo>
                  <a:lnTo>
                    <a:pt x="279" y="35"/>
                  </a:lnTo>
                  <a:lnTo>
                    <a:pt x="280" y="35"/>
                  </a:lnTo>
                  <a:lnTo>
                    <a:pt x="281" y="36"/>
                  </a:lnTo>
                  <a:lnTo>
                    <a:pt x="282" y="36"/>
                  </a:lnTo>
                  <a:lnTo>
                    <a:pt x="282" y="36"/>
                  </a:lnTo>
                  <a:lnTo>
                    <a:pt x="283" y="36"/>
                  </a:lnTo>
                  <a:lnTo>
                    <a:pt x="283" y="36"/>
                  </a:lnTo>
                  <a:lnTo>
                    <a:pt x="284" y="36"/>
                  </a:lnTo>
                  <a:lnTo>
                    <a:pt x="285" y="35"/>
                  </a:lnTo>
                  <a:lnTo>
                    <a:pt x="286" y="34"/>
                  </a:lnTo>
                  <a:lnTo>
                    <a:pt x="287" y="34"/>
                  </a:lnTo>
                  <a:lnTo>
                    <a:pt x="288" y="33"/>
                  </a:lnTo>
                  <a:lnTo>
                    <a:pt x="288" y="33"/>
                  </a:lnTo>
                  <a:lnTo>
                    <a:pt x="289" y="33"/>
                  </a:lnTo>
                  <a:lnTo>
                    <a:pt x="290" y="33"/>
                  </a:lnTo>
                  <a:lnTo>
                    <a:pt x="292" y="33"/>
                  </a:lnTo>
                  <a:lnTo>
                    <a:pt x="293" y="34"/>
                  </a:lnTo>
                  <a:lnTo>
                    <a:pt x="294" y="34"/>
                  </a:lnTo>
                  <a:lnTo>
                    <a:pt x="295" y="34"/>
                  </a:lnTo>
                  <a:lnTo>
                    <a:pt x="295" y="34"/>
                  </a:lnTo>
                  <a:lnTo>
                    <a:pt x="297" y="35"/>
                  </a:lnTo>
                  <a:lnTo>
                    <a:pt x="298" y="35"/>
                  </a:lnTo>
                  <a:lnTo>
                    <a:pt x="299" y="36"/>
                  </a:lnTo>
                  <a:lnTo>
                    <a:pt x="300" y="36"/>
                  </a:lnTo>
                  <a:lnTo>
                    <a:pt x="302" y="36"/>
                  </a:lnTo>
                  <a:lnTo>
                    <a:pt x="306" y="37"/>
                  </a:lnTo>
                  <a:lnTo>
                    <a:pt x="307" y="37"/>
                  </a:lnTo>
                  <a:lnTo>
                    <a:pt x="309" y="37"/>
                  </a:lnTo>
                  <a:lnTo>
                    <a:pt x="310" y="37"/>
                  </a:lnTo>
                  <a:lnTo>
                    <a:pt x="311" y="37"/>
                  </a:lnTo>
                  <a:lnTo>
                    <a:pt x="313" y="36"/>
                  </a:lnTo>
                  <a:lnTo>
                    <a:pt x="314" y="36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9" y="35"/>
                  </a:lnTo>
                  <a:lnTo>
                    <a:pt x="319" y="36"/>
                  </a:lnTo>
                  <a:lnTo>
                    <a:pt x="319" y="36"/>
                  </a:lnTo>
                  <a:lnTo>
                    <a:pt x="319" y="37"/>
                  </a:lnTo>
                  <a:lnTo>
                    <a:pt x="318" y="40"/>
                  </a:lnTo>
                  <a:lnTo>
                    <a:pt x="318" y="40"/>
                  </a:lnTo>
                  <a:lnTo>
                    <a:pt x="318" y="41"/>
                  </a:lnTo>
                  <a:lnTo>
                    <a:pt x="318" y="41"/>
                  </a:lnTo>
                  <a:lnTo>
                    <a:pt x="318" y="41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20" y="42"/>
                  </a:lnTo>
                  <a:lnTo>
                    <a:pt x="320" y="43"/>
                  </a:lnTo>
                  <a:lnTo>
                    <a:pt x="321" y="43"/>
                  </a:lnTo>
                  <a:lnTo>
                    <a:pt x="321" y="43"/>
                  </a:lnTo>
                  <a:lnTo>
                    <a:pt x="323" y="43"/>
                  </a:lnTo>
                  <a:lnTo>
                    <a:pt x="325" y="44"/>
                  </a:lnTo>
                  <a:lnTo>
                    <a:pt x="326" y="44"/>
                  </a:lnTo>
                  <a:lnTo>
                    <a:pt x="328" y="44"/>
                  </a:lnTo>
                  <a:lnTo>
                    <a:pt x="329" y="45"/>
                  </a:lnTo>
                  <a:lnTo>
                    <a:pt x="331" y="45"/>
                  </a:lnTo>
                  <a:lnTo>
                    <a:pt x="332" y="46"/>
                  </a:lnTo>
                  <a:lnTo>
                    <a:pt x="333" y="46"/>
                  </a:lnTo>
                  <a:lnTo>
                    <a:pt x="335" y="48"/>
                  </a:lnTo>
                  <a:lnTo>
                    <a:pt x="335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8" y="48"/>
                  </a:lnTo>
                  <a:lnTo>
                    <a:pt x="338" y="47"/>
                  </a:lnTo>
                  <a:lnTo>
                    <a:pt x="339" y="47"/>
                  </a:lnTo>
                  <a:lnTo>
                    <a:pt x="340" y="45"/>
                  </a:lnTo>
                  <a:lnTo>
                    <a:pt x="341" y="44"/>
                  </a:lnTo>
                  <a:lnTo>
                    <a:pt x="342" y="43"/>
                  </a:lnTo>
                  <a:lnTo>
                    <a:pt x="343" y="41"/>
                  </a:lnTo>
                  <a:lnTo>
                    <a:pt x="344" y="40"/>
                  </a:lnTo>
                  <a:lnTo>
                    <a:pt x="347" y="38"/>
                  </a:lnTo>
                  <a:lnTo>
                    <a:pt x="349" y="36"/>
                  </a:lnTo>
                  <a:lnTo>
                    <a:pt x="351" y="35"/>
                  </a:lnTo>
                  <a:lnTo>
                    <a:pt x="352" y="34"/>
                  </a:lnTo>
                  <a:lnTo>
                    <a:pt x="353" y="34"/>
                  </a:lnTo>
                  <a:lnTo>
                    <a:pt x="354" y="34"/>
                  </a:lnTo>
                  <a:lnTo>
                    <a:pt x="357" y="33"/>
                  </a:lnTo>
                  <a:lnTo>
                    <a:pt x="358" y="32"/>
                  </a:lnTo>
                  <a:lnTo>
                    <a:pt x="359" y="32"/>
                  </a:lnTo>
                  <a:lnTo>
                    <a:pt x="361" y="31"/>
                  </a:lnTo>
                  <a:lnTo>
                    <a:pt x="361" y="31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3" y="29"/>
                  </a:lnTo>
                  <a:lnTo>
                    <a:pt x="363" y="28"/>
                  </a:lnTo>
                  <a:lnTo>
                    <a:pt x="363" y="28"/>
                  </a:lnTo>
                  <a:lnTo>
                    <a:pt x="363" y="27"/>
                  </a:lnTo>
                  <a:lnTo>
                    <a:pt x="362" y="25"/>
                  </a:lnTo>
                  <a:lnTo>
                    <a:pt x="362" y="23"/>
                  </a:lnTo>
                  <a:lnTo>
                    <a:pt x="361" y="21"/>
                  </a:lnTo>
                  <a:lnTo>
                    <a:pt x="361" y="20"/>
                  </a:lnTo>
                  <a:lnTo>
                    <a:pt x="361" y="20"/>
                  </a:lnTo>
                  <a:lnTo>
                    <a:pt x="361" y="18"/>
                  </a:lnTo>
                  <a:lnTo>
                    <a:pt x="361" y="17"/>
                  </a:lnTo>
                  <a:lnTo>
                    <a:pt x="362" y="15"/>
                  </a:lnTo>
                  <a:lnTo>
                    <a:pt x="362" y="14"/>
                  </a:lnTo>
                  <a:lnTo>
                    <a:pt x="362" y="13"/>
                  </a:lnTo>
                  <a:lnTo>
                    <a:pt x="362" y="11"/>
                  </a:lnTo>
                  <a:lnTo>
                    <a:pt x="362" y="11"/>
                  </a:lnTo>
                  <a:lnTo>
                    <a:pt x="362" y="10"/>
                  </a:lnTo>
                  <a:lnTo>
                    <a:pt x="363" y="10"/>
                  </a:lnTo>
                  <a:lnTo>
                    <a:pt x="363" y="9"/>
                  </a:lnTo>
                  <a:lnTo>
                    <a:pt x="364" y="9"/>
                  </a:lnTo>
                  <a:lnTo>
                    <a:pt x="365" y="8"/>
                  </a:lnTo>
                  <a:lnTo>
                    <a:pt x="365" y="7"/>
                  </a:lnTo>
                  <a:lnTo>
                    <a:pt x="366" y="7"/>
                  </a:lnTo>
                  <a:lnTo>
                    <a:pt x="366" y="5"/>
                  </a:lnTo>
                  <a:lnTo>
                    <a:pt x="367" y="5"/>
                  </a:lnTo>
                  <a:lnTo>
                    <a:pt x="367" y="4"/>
                  </a:lnTo>
                  <a:lnTo>
                    <a:pt x="368" y="3"/>
                  </a:lnTo>
                  <a:lnTo>
                    <a:pt x="370" y="2"/>
                  </a:lnTo>
                  <a:lnTo>
                    <a:pt x="372" y="1"/>
                  </a:lnTo>
                  <a:lnTo>
                    <a:pt x="372" y="1"/>
                  </a:lnTo>
                  <a:lnTo>
                    <a:pt x="373" y="0"/>
                  </a:lnTo>
                  <a:lnTo>
                    <a:pt x="373" y="0"/>
                  </a:lnTo>
                  <a:lnTo>
                    <a:pt x="373" y="0"/>
                  </a:lnTo>
                  <a:lnTo>
                    <a:pt x="374" y="0"/>
                  </a:lnTo>
                  <a:lnTo>
                    <a:pt x="375" y="1"/>
                  </a:lnTo>
                  <a:lnTo>
                    <a:pt x="376" y="1"/>
                  </a:lnTo>
                  <a:lnTo>
                    <a:pt x="378" y="3"/>
                  </a:lnTo>
                  <a:lnTo>
                    <a:pt x="379" y="3"/>
                  </a:lnTo>
                  <a:lnTo>
                    <a:pt x="380" y="4"/>
                  </a:lnTo>
                  <a:lnTo>
                    <a:pt x="384" y="6"/>
                  </a:lnTo>
                  <a:lnTo>
                    <a:pt x="385" y="7"/>
                  </a:lnTo>
                  <a:lnTo>
                    <a:pt x="386" y="7"/>
                  </a:lnTo>
                  <a:lnTo>
                    <a:pt x="387" y="8"/>
                  </a:lnTo>
                  <a:lnTo>
                    <a:pt x="388" y="9"/>
                  </a:lnTo>
                  <a:lnTo>
                    <a:pt x="391" y="11"/>
                  </a:lnTo>
                  <a:lnTo>
                    <a:pt x="393" y="13"/>
                  </a:lnTo>
                  <a:lnTo>
                    <a:pt x="394" y="13"/>
                  </a:lnTo>
                  <a:lnTo>
                    <a:pt x="395" y="14"/>
                  </a:lnTo>
                  <a:lnTo>
                    <a:pt x="396" y="15"/>
                  </a:lnTo>
                  <a:lnTo>
                    <a:pt x="396" y="15"/>
                  </a:lnTo>
                  <a:lnTo>
                    <a:pt x="397" y="15"/>
                  </a:lnTo>
                  <a:lnTo>
                    <a:pt x="397" y="15"/>
                  </a:lnTo>
                  <a:lnTo>
                    <a:pt x="398" y="15"/>
                  </a:lnTo>
                  <a:lnTo>
                    <a:pt x="398" y="15"/>
                  </a:lnTo>
                  <a:lnTo>
                    <a:pt x="399" y="15"/>
                  </a:lnTo>
                  <a:lnTo>
                    <a:pt x="400" y="14"/>
                  </a:lnTo>
                  <a:lnTo>
                    <a:pt x="401" y="14"/>
                  </a:lnTo>
                  <a:lnTo>
                    <a:pt x="402" y="13"/>
                  </a:lnTo>
                  <a:lnTo>
                    <a:pt x="403" y="13"/>
                  </a:lnTo>
                  <a:lnTo>
                    <a:pt x="403" y="13"/>
                  </a:lnTo>
                  <a:lnTo>
                    <a:pt x="404" y="13"/>
                  </a:lnTo>
                  <a:lnTo>
                    <a:pt x="404" y="13"/>
                  </a:lnTo>
                  <a:lnTo>
                    <a:pt x="405" y="13"/>
                  </a:lnTo>
                  <a:lnTo>
                    <a:pt x="405" y="13"/>
                  </a:lnTo>
                  <a:lnTo>
                    <a:pt x="405" y="14"/>
                  </a:lnTo>
                  <a:lnTo>
                    <a:pt x="405" y="14"/>
                  </a:lnTo>
                  <a:lnTo>
                    <a:pt x="406" y="15"/>
                  </a:lnTo>
                  <a:lnTo>
                    <a:pt x="406" y="17"/>
                  </a:lnTo>
                  <a:lnTo>
                    <a:pt x="407" y="18"/>
                  </a:lnTo>
                  <a:lnTo>
                    <a:pt x="408" y="20"/>
                  </a:lnTo>
                  <a:lnTo>
                    <a:pt x="409" y="23"/>
                  </a:lnTo>
                  <a:lnTo>
                    <a:pt x="410" y="25"/>
                  </a:lnTo>
                  <a:lnTo>
                    <a:pt x="411" y="27"/>
                  </a:lnTo>
                  <a:lnTo>
                    <a:pt x="412" y="28"/>
                  </a:lnTo>
                  <a:lnTo>
                    <a:pt x="413" y="28"/>
                  </a:lnTo>
                  <a:lnTo>
                    <a:pt x="413" y="29"/>
                  </a:lnTo>
                  <a:lnTo>
                    <a:pt x="414" y="30"/>
                  </a:lnTo>
                  <a:lnTo>
                    <a:pt x="415" y="30"/>
                  </a:lnTo>
                  <a:lnTo>
                    <a:pt x="415" y="30"/>
                  </a:lnTo>
                  <a:lnTo>
                    <a:pt x="417" y="31"/>
                  </a:lnTo>
                  <a:lnTo>
                    <a:pt x="417" y="31"/>
                  </a:lnTo>
                  <a:lnTo>
                    <a:pt x="418" y="31"/>
                  </a:lnTo>
                  <a:lnTo>
                    <a:pt x="419" y="31"/>
                  </a:lnTo>
                  <a:lnTo>
                    <a:pt x="419" y="31"/>
                  </a:lnTo>
                  <a:lnTo>
                    <a:pt x="420" y="31"/>
                  </a:lnTo>
                  <a:lnTo>
                    <a:pt x="421" y="31"/>
                  </a:lnTo>
                  <a:lnTo>
                    <a:pt x="421" y="31"/>
                  </a:lnTo>
                  <a:lnTo>
                    <a:pt x="422" y="31"/>
                  </a:lnTo>
                  <a:lnTo>
                    <a:pt x="423" y="30"/>
                  </a:lnTo>
                  <a:lnTo>
                    <a:pt x="423" y="30"/>
                  </a:lnTo>
                  <a:lnTo>
                    <a:pt x="423" y="30"/>
                  </a:lnTo>
                  <a:lnTo>
                    <a:pt x="423" y="31"/>
                  </a:lnTo>
                  <a:lnTo>
                    <a:pt x="424" y="35"/>
                  </a:lnTo>
                  <a:lnTo>
                    <a:pt x="424" y="36"/>
                  </a:lnTo>
                  <a:lnTo>
                    <a:pt x="424" y="37"/>
                  </a:lnTo>
                  <a:lnTo>
                    <a:pt x="424" y="38"/>
                  </a:lnTo>
                  <a:lnTo>
                    <a:pt x="424" y="39"/>
                  </a:lnTo>
                  <a:lnTo>
                    <a:pt x="424" y="39"/>
                  </a:lnTo>
                  <a:lnTo>
                    <a:pt x="424" y="40"/>
                  </a:lnTo>
                  <a:lnTo>
                    <a:pt x="423" y="40"/>
                  </a:lnTo>
                  <a:lnTo>
                    <a:pt x="423" y="41"/>
                  </a:lnTo>
                  <a:lnTo>
                    <a:pt x="422" y="41"/>
                  </a:lnTo>
                  <a:lnTo>
                    <a:pt x="422" y="42"/>
                  </a:lnTo>
                  <a:lnTo>
                    <a:pt x="421" y="42"/>
                  </a:lnTo>
                  <a:lnTo>
                    <a:pt x="420" y="43"/>
                  </a:lnTo>
                  <a:lnTo>
                    <a:pt x="419" y="43"/>
                  </a:lnTo>
                  <a:lnTo>
                    <a:pt x="418" y="43"/>
                  </a:lnTo>
                  <a:lnTo>
                    <a:pt x="418" y="44"/>
                  </a:lnTo>
                  <a:lnTo>
                    <a:pt x="417" y="44"/>
                  </a:lnTo>
                  <a:lnTo>
                    <a:pt x="417" y="44"/>
                  </a:lnTo>
                  <a:lnTo>
                    <a:pt x="417" y="45"/>
                  </a:lnTo>
                  <a:lnTo>
                    <a:pt x="417" y="45"/>
                  </a:lnTo>
                  <a:lnTo>
                    <a:pt x="417" y="46"/>
                  </a:lnTo>
                  <a:lnTo>
                    <a:pt x="417" y="46"/>
                  </a:lnTo>
                  <a:lnTo>
                    <a:pt x="417" y="47"/>
                  </a:lnTo>
                  <a:lnTo>
                    <a:pt x="417" y="47"/>
                  </a:lnTo>
                  <a:lnTo>
                    <a:pt x="417" y="48"/>
                  </a:lnTo>
                  <a:lnTo>
                    <a:pt x="419" y="51"/>
                  </a:lnTo>
                  <a:lnTo>
                    <a:pt x="420" y="52"/>
                  </a:lnTo>
                  <a:lnTo>
                    <a:pt x="420" y="53"/>
                  </a:lnTo>
                  <a:lnTo>
                    <a:pt x="420" y="54"/>
                  </a:lnTo>
                  <a:lnTo>
                    <a:pt x="421" y="55"/>
                  </a:lnTo>
                  <a:lnTo>
                    <a:pt x="421" y="56"/>
                  </a:lnTo>
                  <a:lnTo>
                    <a:pt x="421" y="57"/>
                  </a:lnTo>
                  <a:lnTo>
                    <a:pt x="421" y="59"/>
                  </a:lnTo>
                  <a:lnTo>
                    <a:pt x="421" y="60"/>
                  </a:lnTo>
                  <a:lnTo>
                    <a:pt x="421" y="61"/>
                  </a:lnTo>
                  <a:lnTo>
                    <a:pt x="421" y="64"/>
                  </a:lnTo>
                  <a:lnTo>
                    <a:pt x="421" y="65"/>
                  </a:lnTo>
                  <a:lnTo>
                    <a:pt x="421" y="66"/>
                  </a:lnTo>
                  <a:lnTo>
                    <a:pt x="421" y="68"/>
                  </a:lnTo>
                  <a:lnTo>
                    <a:pt x="421" y="69"/>
                  </a:lnTo>
                  <a:lnTo>
                    <a:pt x="421" y="71"/>
                  </a:lnTo>
                  <a:lnTo>
                    <a:pt x="420" y="72"/>
                  </a:lnTo>
                  <a:lnTo>
                    <a:pt x="420" y="73"/>
                  </a:lnTo>
                  <a:lnTo>
                    <a:pt x="420" y="75"/>
                  </a:lnTo>
                  <a:lnTo>
                    <a:pt x="419" y="77"/>
                  </a:lnTo>
                  <a:lnTo>
                    <a:pt x="418" y="80"/>
                  </a:lnTo>
                  <a:lnTo>
                    <a:pt x="417" y="83"/>
                  </a:lnTo>
                  <a:lnTo>
                    <a:pt x="416" y="85"/>
                  </a:lnTo>
                  <a:lnTo>
                    <a:pt x="415" y="86"/>
                  </a:lnTo>
                  <a:lnTo>
                    <a:pt x="415" y="87"/>
                  </a:lnTo>
                  <a:lnTo>
                    <a:pt x="415" y="88"/>
                  </a:lnTo>
                  <a:lnTo>
                    <a:pt x="415" y="88"/>
                  </a:lnTo>
                  <a:lnTo>
                    <a:pt x="416" y="89"/>
                  </a:lnTo>
                  <a:lnTo>
                    <a:pt x="416" y="89"/>
                  </a:lnTo>
                  <a:lnTo>
                    <a:pt x="416" y="90"/>
                  </a:lnTo>
                  <a:lnTo>
                    <a:pt x="416" y="90"/>
                  </a:lnTo>
                  <a:lnTo>
                    <a:pt x="415" y="94"/>
                  </a:lnTo>
                  <a:lnTo>
                    <a:pt x="414" y="97"/>
                  </a:lnTo>
                  <a:lnTo>
                    <a:pt x="414" y="98"/>
                  </a:lnTo>
                  <a:lnTo>
                    <a:pt x="413" y="100"/>
                  </a:lnTo>
                  <a:lnTo>
                    <a:pt x="412" y="102"/>
                  </a:lnTo>
                  <a:lnTo>
                    <a:pt x="412" y="103"/>
                  </a:lnTo>
                  <a:lnTo>
                    <a:pt x="412" y="105"/>
                  </a:lnTo>
                  <a:lnTo>
                    <a:pt x="412" y="106"/>
                  </a:lnTo>
                  <a:lnTo>
                    <a:pt x="412" y="106"/>
                  </a:lnTo>
                  <a:lnTo>
                    <a:pt x="412" y="107"/>
                  </a:lnTo>
                  <a:lnTo>
                    <a:pt x="412" y="108"/>
                  </a:lnTo>
                  <a:lnTo>
                    <a:pt x="412" y="109"/>
                  </a:lnTo>
                  <a:lnTo>
                    <a:pt x="412" y="110"/>
                  </a:lnTo>
                  <a:lnTo>
                    <a:pt x="413" y="111"/>
                  </a:lnTo>
                  <a:lnTo>
                    <a:pt x="414" y="112"/>
                  </a:lnTo>
                  <a:lnTo>
                    <a:pt x="415" y="113"/>
                  </a:lnTo>
                  <a:lnTo>
                    <a:pt x="416" y="113"/>
                  </a:lnTo>
                  <a:lnTo>
                    <a:pt x="418" y="115"/>
                  </a:lnTo>
                  <a:lnTo>
                    <a:pt x="419" y="116"/>
                  </a:lnTo>
                  <a:lnTo>
                    <a:pt x="419" y="117"/>
                  </a:lnTo>
                  <a:lnTo>
                    <a:pt x="420" y="117"/>
                  </a:lnTo>
                  <a:lnTo>
                    <a:pt x="420" y="118"/>
                  </a:lnTo>
                  <a:lnTo>
                    <a:pt x="421" y="119"/>
                  </a:lnTo>
                  <a:lnTo>
                    <a:pt x="421" y="120"/>
                  </a:lnTo>
                  <a:lnTo>
                    <a:pt x="421" y="120"/>
                  </a:lnTo>
                  <a:lnTo>
                    <a:pt x="421" y="121"/>
                  </a:lnTo>
                  <a:lnTo>
                    <a:pt x="421" y="121"/>
                  </a:lnTo>
                  <a:lnTo>
                    <a:pt x="421" y="122"/>
                  </a:lnTo>
                  <a:lnTo>
                    <a:pt x="421" y="122"/>
                  </a:lnTo>
                  <a:lnTo>
                    <a:pt x="420" y="124"/>
                  </a:lnTo>
                  <a:lnTo>
                    <a:pt x="419" y="125"/>
                  </a:lnTo>
                  <a:lnTo>
                    <a:pt x="418" y="126"/>
                  </a:lnTo>
                  <a:lnTo>
                    <a:pt x="417" y="127"/>
                  </a:lnTo>
                  <a:lnTo>
                    <a:pt x="417" y="128"/>
                  </a:lnTo>
                  <a:lnTo>
                    <a:pt x="417" y="129"/>
                  </a:lnTo>
                  <a:lnTo>
                    <a:pt x="417" y="129"/>
                  </a:lnTo>
                  <a:lnTo>
                    <a:pt x="417" y="130"/>
                  </a:lnTo>
                  <a:lnTo>
                    <a:pt x="417" y="131"/>
                  </a:lnTo>
                  <a:lnTo>
                    <a:pt x="417" y="131"/>
                  </a:lnTo>
                  <a:lnTo>
                    <a:pt x="417" y="132"/>
                  </a:lnTo>
                  <a:lnTo>
                    <a:pt x="417" y="133"/>
                  </a:lnTo>
                  <a:lnTo>
                    <a:pt x="418" y="134"/>
                  </a:lnTo>
                  <a:lnTo>
                    <a:pt x="420" y="137"/>
                  </a:lnTo>
                  <a:lnTo>
                    <a:pt x="422" y="140"/>
                  </a:lnTo>
                  <a:lnTo>
                    <a:pt x="423" y="140"/>
                  </a:lnTo>
                  <a:lnTo>
                    <a:pt x="423" y="141"/>
                  </a:lnTo>
                  <a:lnTo>
                    <a:pt x="427" y="144"/>
                  </a:lnTo>
                  <a:lnTo>
                    <a:pt x="427" y="145"/>
                  </a:lnTo>
                  <a:lnTo>
                    <a:pt x="429" y="147"/>
                  </a:lnTo>
                  <a:lnTo>
                    <a:pt x="430" y="149"/>
                  </a:lnTo>
                  <a:lnTo>
                    <a:pt x="433" y="151"/>
                  </a:lnTo>
                  <a:lnTo>
                    <a:pt x="435" y="153"/>
                  </a:lnTo>
                  <a:lnTo>
                    <a:pt x="436" y="154"/>
                  </a:lnTo>
                  <a:lnTo>
                    <a:pt x="437" y="154"/>
                  </a:lnTo>
                  <a:lnTo>
                    <a:pt x="437" y="154"/>
                  </a:lnTo>
                  <a:lnTo>
                    <a:pt x="438" y="154"/>
                  </a:lnTo>
                  <a:lnTo>
                    <a:pt x="439" y="155"/>
                  </a:lnTo>
                  <a:lnTo>
                    <a:pt x="440" y="155"/>
                  </a:lnTo>
                  <a:lnTo>
                    <a:pt x="441" y="154"/>
                  </a:lnTo>
                  <a:lnTo>
                    <a:pt x="442" y="154"/>
                  </a:lnTo>
                  <a:lnTo>
                    <a:pt x="443" y="154"/>
                  </a:lnTo>
                  <a:lnTo>
                    <a:pt x="447" y="152"/>
                  </a:lnTo>
                  <a:lnTo>
                    <a:pt x="448" y="151"/>
                  </a:lnTo>
                  <a:lnTo>
                    <a:pt x="449" y="151"/>
                  </a:lnTo>
                  <a:lnTo>
                    <a:pt x="450" y="150"/>
                  </a:lnTo>
                  <a:lnTo>
                    <a:pt x="451" y="150"/>
                  </a:lnTo>
                  <a:lnTo>
                    <a:pt x="452" y="150"/>
                  </a:lnTo>
                  <a:lnTo>
                    <a:pt x="453" y="150"/>
                  </a:lnTo>
                  <a:lnTo>
                    <a:pt x="453" y="150"/>
                  </a:lnTo>
                  <a:lnTo>
                    <a:pt x="454" y="151"/>
                  </a:lnTo>
                  <a:lnTo>
                    <a:pt x="455" y="151"/>
                  </a:lnTo>
                  <a:lnTo>
                    <a:pt x="456" y="151"/>
                  </a:lnTo>
                  <a:lnTo>
                    <a:pt x="456" y="152"/>
                  </a:lnTo>
                  <a:lnTo>
                    <a:pt x="458" y="154"/>
                  </a:lnTo>
                  <a:lnTo>
                    <a:pt x="460" y="155"/>
                  </a:lnTo>
                  <a:lnTo>
                    <a:pt x="461" y="156"/>
                  </a:lnTo>
                  <a:lnTo>
                    <a:pt x="463" y="156"/>
                  </a:lnTo>
                  <a:lnTo>
                    <a:pt x="463" y="157"/>
                  </a:lnTo>
                  <a:lnTo>
                    <a:pt x="464" y="157"/>
                  </a:lnTo>
                  <a:lnTo>
                    <a:pt x="468" y="159"/>
                  </a:lnTo>
                  <a:lnTo>
                    <a:pt x="469" y="159"/>
                  </a:lnTo>
                  <a:lnTo>
                    <a:pt x="471" y="160"/>
                  </a:lnTo>
                  <a:lnTo>
                    <a:pt x="472" y="160"/>
                  </a:lnTo>
                  <a:lnTo>
                    <a:pt x="472" y="160"/>
                  </a:lnTo>
                  <a:lnTo>
                    <a:pt x="473" y="161"/>
                  </a:lnTo>
                  <a:lnTo>
                    <a:pt x="473" y="161"/>
                  </a:lnTo>
                  <a:lnTo>
                    <a:pt x="473" y="162"/>
                  </a:lnTo>
                  <a:lnTo>
                    <a:pt x="473" y="162"/>
                  </a:lnTo>
                  <a:lnTo>
                    <a:pt x="473" y="163"/>
                  </a:lnTo>
                  <a:lnTo>
                    <a:pt x="473" y="163"/>
                  </a:lnTo>
                  <a:lnTo>
                    <a:pt x="473" y="164"/>
                  </a:lnTo>
                  <a:lnTo>
                    <a:pt x="473" y="165"/>
                  </a:lnTo>
                  <a:lnTo>
                    <a:pt x="473" y="166"/>
                  </a:lnTo>
                  <a:lnTo>
                    <a:pt x="473" y="166"/>
                  </a:lnTo>
                  <a:lnTo>
                    <a:pt x="473" y="167"/>
                  </a:lnTo>
                  <a:lnTo>
                    <a:pt x="472" y="167"/>
                  </a:lnTo>
                  <a:lnTo>
                    <a:pt x="472" y="167"/>
                  </a:lnTo>
                  <a:lnTo>
                    <a:pt x="471" y="168"/>
                  </a:lnTo>
                  <a:lnTo>
                    <a:pt x="470" y="168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70"/>
                  </a:lnTo>
                  <a:lnTo>
                    <a:pt x="471" y="170"/>
                  </a:lnTo>
                  <a:lnTo>
                    <a:pt x="472" y="170"/>
                  </a:lnTo>
                  <a:lnTo>
                    <a:pt x="473" y="171"/>
                  </a:lnTo>
                  <a:lnTo>
                    <a:pt x="473" y="171"/>
                  </a:lnTo>
                  <a:lnTo>
                    <a:pt x="474" y="171"/>
                  </a:lnTo>
                  <a:lnTo>
                    <a:pt x="477" y="171"/>
                  </a:lnTo>
                  <a:lnTo>
                    <a:pt x="478" y="171"/>
                  </a:lnTo>
                  <a:lnTo>
                    <a:pt x="478" y="172"/>
                  </a:lnTo>
                  <a:lnTo>
                    <a:pt x="479" y="172"/>
                  </a:lnTo>
                  <a:lnTo>
                    <a:pt x="480" y="172"/>
                  </a:lnTo>
                  <a:lnTo>
                    <a:pt x="480" y="172"/>
                  </a:lnTo>
                  <a:lnTo>
                    <a:pt x="481" y="173"/>
                  </a:lnTo>
                  <a:lnTo>
                    <a:pt x="482" y="173"/>
                  </a:lnTo>
                  <a:lnTo>
                    <a:pt x="483" y="175"/>
                  </a:lnTo>
                  <a:lnTo>
                    <a:pt x="484" y="176"/>
                  </a:lnTo>
                  <a:lnTo>
                    <a:pt x="486" y="178"/>
                  </a:lnTo>
                  <a:lnTo>
                    <a:pt x="487" y="179"/>
                  </a:lnTo>
                  <a:lnTo>
                    <a:pt x="487" y="180"/>
                  </a:lnTo>
                  <a:lnTo>
                    <a:pt x="487" y="180"/>
                  </a:lnTo>
                  <a:lnTo>
                    <a:pt x="488" y="180"/>
                  </a:lnTo>
                  <a:lnTo>
                    <a:pt x="489" y="181"/>
                  </a:lnTo>
                  <a:lnTo>
                    <a:pt x="490" y="181"/>
                  </a:lnTo>
                  <a:lnTo>
                    <a:pt x="491" y="181"/>
                  </a:lnTo>
                  <a:lnTo>
                    <a:pt x="492" y="182"/>
                  </a:lnTo>
                  <a:lnTo>
                    <a:pt x="493" y="182"/>
                  </a:lnTo>
                  <a:lnTo>
                    <a:pt x="494" y="181"/>
                  </a:lnTo>
                  <a:lnTo>
                    <a:pt x="495" y="181"/>
                  </a:lnTo>
                  <a:lnTo>
                    <a:pt x="496" y="181"/>
                  </a:lnTo>
                  <a:lnTo>
                    <a:pt x="497" y="180"/>
                  </a:lnTo>
                  <a:lnTo>
                    <a:pt x="500" y="179"/>
                  </a:lnTo>
                  <a:lnTo>
                    <a:pt x="501" y="179"/>
                  </a:lnTo>
                  <a:lnTo>
                    <a:pt x="502" y="178"/>
                  </a:lnTo>
                  <a:lnTo>
                    <a:pt x="502" y="178"/>
                  </a:lnTo>
                  <a:lnTo>
                    <a:pt x="503" y="178"/>
                  </a:lnTo>
                  <a:lnTo>
                    <a:pt x="503" y="178"/>
                  </a:lnTo>
                  <a:lnTo>
                    <a:pt x="504" y="178"/>
                  </a:lnTo>
                  <a:lnTo>
                    <a:pt x="505" y="178"/>
                  </a:lnTo>
                  <a:lnTo>
                    <a:pt x="510" y="180"/>
                  </a:lnTo>
                  <a:lnTo>
                    <a:pt x="513" y="181"/>
                  </a:lnTo>
                  <a:lnTo>
                    <a:pt x="516" y="182"/>
                  </a:lnTo>
                  <a:lnTo>
                    <a:pt x="517" y="182"/>
                  </a:lnTo>
                  <a:lnTo>
                    <a:pt x="518" y="183"/>
                  </a:lnTo>
                  <a:lnTo>
                    <a:pt x="519" y="184"/>
                  </a:lnTo>
                  <a:lnTo>
                    <a:pt x="519" y="184"/>
                  </a:lnTo>
                  <a:lnTo>
                    <a:pt x="521" y="185"/>
                  </a:lnTo>
                  <a:lnTo>
                    <a:pt x="521" y="186"/>
                  </a:lnTo>
                  <a:lnTo>
                    <a:pt x="521" y="186"/>
                  </a:lnTo>
                  <a:lnTo>
                    <a:pt x="522" y="186"/>
                  </a:lnTo>
                  <a:lnTo>
                    <a:pt x="523" y="186"/>
                  </a:lnTo>
                  <a:lnTo>
                    <a:pt x="523" y="186"/>
                  </a:lnTo>
                  <a:lnTo>
                    <a:pt x="527" y="186"/>
                  </a:lnTo>
                  <a:lnTo>
                    <a:pt x="528" y="185"/>
                  </a:lnTo>
                  <a:lnTo>
                    <a:pt x="531" y="185"/>
                  </a:lnTo>
                  <a:lnTo>
                    <a:pt x="532" y="185"/>
                  </a:lnTo>
                  <a:lnTo>
                    <a:pt x="533" y="185"/>
                  </a:lnTo>
                  <a:lnTo>
                    <a:pt x="536" y="184"/>
                  </a:lnTo>
                  <a:lnTo>
                    <a:pt x="539" y="184"/>
                  </a:lnTo>
                  <a:lnTo>
                    <a:pt x="540" y="184"/>
                  </a:lnTo>
                  <a:lnTo>
                    <a:pt x="541" y="184"/>
                  </a:lnTo>
                  <a:lnTo>
                    <a:pt x="542" y="184"/>
                  </a:lnTo>
                  <a:lnTo>
                    <a:pt x="543" y="184"/>
                  </a:lnTo>
                  <a:lnTo>
                    <a:pt x="544" y="184"/>
                  </a:lnTo>
                  <a:lnTo>
                    <a:pt x="544" y="185"/>
                  </a:lnTo>
                  <a:lnTo>
                    <a:pt x="545" y="185"/>
                  </a:lnTo>
                  <a:lnTo>
                    <a:pt x="545" y="185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7" y="187"/>
                  </a:lnTo>
                  <a:lnTo>
                    <a:pt x="547" y="188"/>
                  </a:lnTo>
                  <a:lnTo>
                    <a:pt x="548" y="189"/>
                  </a:lnTo>
                  <a:lnTo>
                    <a:pt x="548" y="190"/>
                  </a:lnTo>
                  <a:lnTo>
                    <a:pt x="548" y="192"/>
                  </a:lnTo>
                  <a:lnTo>
                    <a:pt x="548" y="193"/>
                  </a:lnTo>
                  <a:lnTo>
                    <a:pt x="549" y="194"/>
                  </a:lnTo>
                  <a:lnTo>
                    <a:pt x="549" y="195"/>
                  </a:lnTo>
                  <a:lnTo>
                    <a:pt x="549" y="196"/>
                  </a:lnTo>
                  <a:lnTo>
                    <a:pt x="548" y="198"/>
                  </a:lnTo>
                  <a:lnTo>
                    <a:pt x="548" y="201"/>
                  </a:lnTo>
                  <a:lnTo>
                    <a:pt x="548" y="202"/>
                  </a:lnTo>
                  <a:lnTo>
                    <a:pt x="548" y="204"/>
                  </a:lnTo>
                  <a:lnTo>
                    <a:pt x="548" y="205"/>
                  </a:lnTo>
                  <a:lnTo>
                    <a:pt x="548" y="206"/>
                  </a:lnTo>
                  <a:lnTo>
                    <a:pt x="548" y="208"/>
                  </a:lnTo>
                  <a:lnTo>
                    <a:pt x="549" y="209"/>
                  </a:lnTo>
                  <a:lnTo>
                    <a:pt x="550" y="210"/>
                  </a:lnTo>
                  <a:lnTo>
                    <a:pt x="550" y="211"/>
                  </a:lnTo>
                  <a:lnTo>
                    <a:pt x="551" y="212"/>
                  </a:lnTo>
                  <a:lnTo>
                    <a:pt x="551" y="212"/>
                  </a:lnTo>
                  <a:lnTo>
                    <a:pt x="553" y="214"/>
                  </a:lnTo>
                  <a:lnTo>
                    <a:pt x="554" y="215"/>
                  </a:lnTo>
                  <a:lnTo>
                    <a:pt x="557" y="217"/>
                  </a:lnTo>
                  <a:lnTo>
                    <a:pt x="560" y="219"/>
                  </a:lnTo>
                  <a:lnTo>
                    <a:pt x="560" y="220"/>
                  </a:lnTo>
                  <a:lnTo>
                    <a:pt x="562" y="221"/>
                  </a:lnTo>
                  <a:lnTo>
                    <a:pt x="564" y="222"/>
                  </a:lnTo>
                  <a:lnTo>
                    <a:pt x="568" y="225"/>
                  </a:lnTo>
                  <a:lnTo>
                    <a:pt x="571" y="226"/>
                  </a:lnTo>
                  <a:lnTo>
                    <a:pt x="571" y="227"/>
                  </a:lnTo>
                  <a:lnTo>
                    <a:pt x="572" y="227"/>
                  </a:lnTo>
                  <a:lnTo>
                    <a:pt x="572" y="227"/>
                  </a:lnTo>
                  <a:lnTo>
                    <a:pt x="573" y="227"/>
                  </a:lnTo>
                  <a:lnTo>
                    <a:pt x="573" y="227"/>
                  </a:lnTo>
                  <a:lnTo>
                    <a:pt x="573" y="226"/>
                  </a:lnTo>
                  <a:lnTo>
                    <a:pt x="575" y="226"/>
                  </a:lnTo>
                  <a:lnTo>
                    <a:pt x="576" y="226"/>
                  </a:lnTo>
                  <a:lnTo>
                    <a:pt x="577" y="225"/>
                  </a:lnTo>
                  <a:lnTo>
                    <a:pt x="578" y="225"/>
                  </a:lnTo>
                  <a:lnTo>
                    <a:pt x="578" y="225"/>
                  </a:lnTo>
                  <a:lnTo>
                    <a:pt x="579" y="226"/>
                  </a:lnTo>
                  <a:lnTo>
                    <a:pt x="580" y="226"/>
                  </a:lnTo>
                  <a:lnTo>
                    <a:pt x="583" y="227"/>
                  </a:lnTo>
                  <a:lnTo>
                    <a:pt x="584" y="227"/>
                  </a:lnTo>
                  <a:lnTo>
                    <a:pt x="585" y="227"/>
                  </a:lnTo>
                  <a:lnTo>
                    <a:pt x="587" y="227"/>
                  </a:lnTo>
                  <a:lnTo>
                    <a:pt x="589" y="227"/>
                  </a:lnTo>
                  <a:lnTo>
                    <a:pt x="591" y="227"/>
                  </a:lnTo>
                  <a:lnTo>
                    <a:pt x="593" y="227"/>
                  </a:lnTo>
                  <a:lnTo>
                    <a:pt x="594" y="227"/>
                  </a:lnTo>
                  <a:lnTo>
                    <a:pt x="595" y="227"/>
                  </a:lnTo>
                  <a:lnTo>
                    <a:pt x="596" y="226"/>
                  </a:lnTo>
                  <a:lnTo>
                    <a:pt x="599" y="225"/>
                  </a:lnTo>
                  <a:lnTo>
                    <a:pt x="600" y="225"/>
                  </a:lnTo>
                  <a:lnTo>
                    <a:pt x="602" y="225"/>
                  </a:lnTo>
                  <a:lnTo>
                    <a:pt x="604" y="224"/>
                  </a:lnTo>
                  <a:lnTo>
                    <a:pt x="605" y="224"/>
                  </a:lnTo>
                  <a:lnTo>
                    <a:pt x="605" y="224"/>
                  </a:lnTo>
                  <a:lnTo>
                    <a:pt x="607" y="223"/>
                  </a:lnTo>
                  <a:lnTo>
                    <a:pt x="607" y="223"/>
                  </a:lnTo>
                  <a:lnTo>
                    <a:pt x="608" y="223"/>
                  </a:lnTo>
                  <a:lnTo>
                    <a:pt x="608" y="223"/>
                  </a:lnTo>
                  <a:lnTo>
                    <a:pt x="609" y="223"/>
                  </a:lnTo>
                  <a:lnTo>
                    <a:pt x="609" y="223"/>
                  </a:lnTo>
                  <a:lnTo>
                    <a:pt x="610" y="223"/>
                  </a:lnTo>
                  <a:lnTo>
                    <a:pt x="610" y="223"/>
                  </a:lnTo>
                  <a:lnTo>
                    <a:pt x="611" y="224"/>
                  </a:lnTo>
                  <a:lnTo>
                    <a:pt x="612" y="224"/>
                  </a:lnTo>
                  <a:lnTo>
                    <a:pt x="613" y="225"/>
                  </a:lnTo>
                  <a:lnTo>
                    <a:pt x="613" y="225"/>
                  </a:lnTo>
                  <a:lnTo>
                    <a:pt x="614" y="225"/>
                  </a:lnTo>
                  <a:lnTo>
                    <a:pt x="614" y="226"/>
                  </a:lnTo>
                  <a:lnTo>
                    <a:pt x="614" y="227"/>
                  </a:lnTo>
                  <a:lnTo>
                    <a:pt x="614" y="227"/>
                  </a:lnTo>
                  <a:lnTo>
                    <a:pt x="615" y="228"/>
                  </a:lnTo>
                  <a:lnTo>
                    <a:pt x="614" y="228"/>
                  </a:lnTo>
                  <a:lnTo>
                    <a:pt x="614" y="229"/>
                  </a:lnTo>
                  <a:lnTo>
                    <a:pt x="614" y="230"/>
                  </a:lnTo>
                  <a:lnTo>
                    <a:pt x="614" y="230"/>
                  </a:lnTo>
                  <a:lnTo>
                    <a:pt x="614" y="231"/>
                  </a:lnTo>
                  <a:lnTo>
                    <a:pt x="614" y="231"/>
                  </a:lnTo>
                  <a:lnTo>
                    <a:pt x="615" y="232"/>
                  </a:lnTo>
                  <a:lnTo>
                    <a:pt x="615" y="232"/>
                  </a:lnTo>
                  <a:lnTo>
                    <a:pt x="616" y="233"/>
                  </a:lnTo>
                  <a:lnTo>
                    <a:pt x="616" y="234"/>
                  </a:lnTo>
                  <a:lnTo>
                    <a:pt x="618" y="234"/>
                  </a:lnTo>
                  <a:lnTo>
                    <a:pt x="619" y="236"/>
                  </a:lnTo>
                  <a:lnTo>
                    <a:pt x="620" y="236"/>
                  </a:lnTo>
                  <a:lnTo>
                    <a:pt x="621" y="237"/>
                  </a:lnTo>
                  <a:lnTo>
                    <a:pt x="621" y="237"/>
                  </a:lnTo>
                  <a:lnTo>
                    <a:pt x="623" y="240"/>
                  </a:lnTo>
                  <a:lnTo>
                    <a:pt x="624" y="241"/>
                  </a:lnTo>
                  <a:lnTo>
                    <a:pt x="624" y="242"/>
                  </a:lnTo>
                  <a:lnTo>
                    <a:pt x="624" y="243"/>
                  </a:lnTo>
                  <a:lnTo>
                    <a:pt x="624" y="243"/>
                  </a:lnTo>
                  <a:lnTo>
                    <a:pt x="624" y="244"/>
                  </a:lnTo>
                  <a:lnTo>
                    <a:pt x="624" y="245"/>
                  </a:lnTo>
                  <a:lnTo>
                    <a:pt x="624" y="246"/>
                  </a:lnTo>
                  <a:lnTo>
                    <a:pt x="623" y="247"/>
                  </a:lnTo>
                  <a:lnTo>
                    <a:pt x="623" y="247"/>
                  </a:lnTo>
                  <a:lnTo>
                    <a:pt x="623" y="248"/>
                  </a:lnTo>
                  <a:lnTo>
                    <a:pt x="622" y="248"/>
                  </a:lnTo>
                  <a:lnTo>
                    <a:pt x="622" y="248"/>
                  </a:lnTo>
                  <a:lnTo>
                    <a:pt x="621" y="249"/>
                  </a:lnTo>
                  <a:lnTo>
                    <a:pt x="620" y="249"/>
                  </a:lnTo>
                  <a:lnTo>
                    <a:pt x="618" y="250"/>
                  </a:lnTo>
                  <a:lnTo>
                    <a:pt x="615" y="250"/>
                  </a:lnTo>
                  <a:lnTo>
                    <a:pt x="614" y="250"/>
                  </a:lnTo>
                  <a:lnTo>
                    <a:pt x="614" y="251"/>
                  </a:lnTo>
                  <a:lnTo>
                    <a:pt x="614" y="251"/>
                  </a:lnTo>
                  <a:lnTo>
                    <a:pt x="613" y="251"/>
                  </a:lnTo>
                  <a:lnTo>
                    <a:pt x="613" y="252"/>
                  </a:lnTo>
                  <a:lnTo>
                    <a:pt x="612" y="253"/>
                  </a:lnTo>
                  <a:lnTo>
                    <a:pt x="611" y="254"/>
                  </a:lnTo>
                  <a:lnTo>
                    <a:pt x="610" y="256"/>
                  </a:lnTo>
                  <a:lnTo>
                    <a:pt x="610" y="257"/>
                  </a:lnTo>
                  <a:lnTo>
                    <a:pt x="609" y="258"/>
                  </a:lnTo>
                  <a:lnTo>
                    <a:pt x="609" y="259"/>
                  </a:lnTo>
                  <a:lnTo>
                    <a:pt x="609" y="261"/>
                  </a:lnTo>
                  <a:lnTo>
                    <a:pt x="608" y="262"/>
                  </a:lnTo>
                  <a:lnTo>
                    <a:pt x="608" y="262"/>
                  </a:lnTo>
                  <a:lnTo>
                    <a:pt x="608" y="263"/>
                  </a:lnTo>
                  <a:lnTo>
                    <a:pt x="608" y="264"/>
                  </a:lnTo>
                  <a:lnTo>
                    <a:pt x="606" y="266"/>
                  </a:lnTo>
                  <a:lnTo>
                    <a:pt x="605" y="267"/>
                  </a:lnTo>
                  <a:lnTo>
                    <a:pt x="605" y="268"/>
                  </a:lnTo>
                  <a:lnTo>
                    <a:pt x="604" y="270"/>
                  </a:lnTo>
                  <a:lnTo>
                    <a:pt x="604" y="271"/>
                  </a:lnTo>
                  <a:lnTo>
                    <a:pt x="603" y="272"/>
                  </a:lnTo>
                  <a:lnTo>
                    <a:pt x="603" y="273"/>
                  </a:lnTo>
                  <a:lnTo>
                    <a:pt x="602" y="273"/>
                  </a:lnTo>
                  <a:lnTo>
                    <a:pt x="600" y="276"/>
                  </a:lnTo>
                  <a:lnTo>
                    <a:pt x="599" y="277"/>
                  </a:lnTo>
                  <a:lnTo>
                    <a:pt x="598" y="278"/>
                  </a:lnTo>
                  <a:lnTo>
                    <a:pt x="597" y="279"/>
                  </a:lnTo>
                  <a:lnTo>
                    <a:pt x="596" y="281"/>
                  </a:lnTo>
                  <a:lnTo>
                    <a:pt x="595" y="282"/>
                  </a:lnTo>
                  <a:lnTo>
                    <a:pt x="594" y="283"/>
                  </a:lnTo>
                  <a:lnTo>
                    <a:pt x="594" y="283"/>
                  </a:lnTo>
                  <a:lnTo>
                    <a:pt x="594" y="284"/>
                  </a:lnTo>
                  <a:lnTo>
                    <a:pt x="594" y="284"/>
                  </a:lnTo>
                  <a:lnTo>
                    <a:pt x="594" y="285"/>
                  </a:lnTo>
                  <a:lnTo>
                    <a:pt x="594" y="285"/>
                  </a:lnTo>
                  <a:lnTo>
                    <a:pt x="594" y="286"/>
                  </a:lnTo>
                  <a:lnTo>
                    <a:pt x="595" y="286"/>
                  </a:lnTo>
                  <a:lnTo>
                    <a:pt x="595" y="286"/>
                  </a:lnTo>
                  <a:lnTo>
                    <a:pt x="595" y="286"/>
                  </a:lnTo>
                  <a:lnTo>
                    <a:pt x="596" y="286"/>
                  </a:lnTo>
                  <a:lnTo>
                    <a:pt x="598" y="287"/>
                  </a:lnTo>
                  <a:lnTo>
                    <a:pt x="599" y="287"/>
                  </a:lnTo>
                  <a:lnTo>
                    <a:pt x="599" y="287"/>
                  </a:lnTo>
                  <a:lnTo>
                    <a:pt x="600" y="287"/>
                  </a:lnTo>
                  <a:lnTo>
                    <a:pt x="601" y="287"/>
                  </a:lnTo>
                  <a:lnTo>
                    <a:pt x="601" y="287"/>
                  </a:lnTo>
                  <a:lnTo>
                    <a:pt x="602" y="288"/>
                  </a:lnTo>
                  <a:lnTo>
                    <a:pt x="602" y="289"/>
                  </a:lnTo>
                  <a:lnTo>
                    <a:pt x="603" y="289"/>
                  </a:lnTo>
                  <a:lnTo>
                    <a:pt x="604" y="292"/>
                  </a:lnTo>
                  <a:lnTo>
                    <a:pt x="604" y="292"/>
                  </a:lnTo>
                  <a:lnTo>
                    <a:pt x="605" y="293"/>
                  </a:lnTo>
                  <a:lnTo>
                    <a:pt x="606" y="294"/>
                  </a:lnTo>
                  <a:lnTo>
                    <a:pt x="607" y="295"/>
                  </a:lnTo>
                  <a:lnTo>
                    <a:pt x="608" y="295"/>
                  </a:lnTo>
                  <a:lnTo>
                    <a:pt x="609" y="296"/>
                  </a:lnTo>
                  <a:lnTo>
                    <a:pt x="611" y="297"/>
                  </a:lnTo>
                  <a:lnTo>
                    <a:pt x="613" y="297"/>
                  </a:lnTo>
                  <a:lnTo>
                    <a:pt x="614" y="298"/>
                  </a:lnTo>
                  <a:lnTo>
                    <a:pt x="615" y="299"/>
                  </a:lnTo>
                  <a:lnTo>
                    <a:pt x="617" y="300"/>
                  </a:lnTo>
                  <a:lnTo>
                    <a:pt x="618" y="301"/>
                  </a:lnTo>
                  <a:lnTo>
                    <a:pt x="618" y="301"/>
                  </a:lnTo>
                  <a:lnTo>
                    <a:pt x="619" y="302"/>
                  </a:lnTo>
                  <a:lnTo>
                    <a:pt x="619" y="303"/>
                  </a:lnTo>
                  <a:lnTo>
                    <a:pt x="620" y="303"/>
                  </a:lnTo>
                  <a:lnTo>
                    <a:pt x="620" y="304"/>
                  </a:lnTo>
                  <a:lnTo>
                    <a:pt x="621" y="306"/>
                  </a:lnTo>
                  <a:lnTo>
                    <a:pt x="622" y="307"/>
                  </a:lnTo>
                  <a:lnTo>
                    <a:pt x="622" y="308"/>
                  </a:lnTo>
                  <a:lnTo>
                    <a:pt x="622" y="308"/>
                  </a:lnTo>
                  <a:lnTo>
                    <a:pt x="622" y="309"/>
                  </a:lnTo>
                  <a:lnTo>
                    <a:pt x="620" y="310"/>
                  </a:lnTo>
                  <a:lnTo>
                    <a:pt x="620" y="311"/>
                  </a:lnTo>
                  <a:lnTo>
                    <a:pt x="620" y="311"/>
                  </a:lnTo>
                  <a:lnTo>
                    <a:pt x="619" y="311"/>
                  </a:lnTo>
                  <a:lnTo>
                    <a:pt x="619" y="311"/>
                  </a:lnTo>
                  <a:lnTo>
                    <a:pt x="618" y="311"/>
                  </a:lnTo>
                  <a:lnTo>
                    <a:pt x="617" y="311"/>
                  </a:lnTo>
                  <a:lnTo>
                    <a:pt x="617" y="312"/>
                  </a:lnTo>
                  <a:lnTo>
                    <a:pt x="617" y="312"/>
                  </a:lnTo>
                  <a:lnTo>
                    <a:pt x="617" y="313"/>
                  </a:lnTo>
                  <a:lnTo>
                    <a:pt x="617" y="313"/>
                  </a:lnTo>
                  <a:lnTo>
                    <a:pt x="617" y="314"/>
                  </a:lnTo>
                  <a:lnTo>
                    <a:pt x="616" y="315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7"/>
                  </a:lnTo>
                  <a:lnTo>
                    <a:pt x="616" y="317"/>
                  </a:lnTo>
                  <a:lnTo>
                    <a:pt x="616" y="317"/>
                  </a:lnTo>
                  <a:lnTo>
                    <a:pt x="615" y="317"/>
                  </a:lnTo>
                  <a:lnTo>
                    <a:pt x="615" y="318"/>
                  </a:lnTo>
                  <a:lnTo>
                    <a:pt x="614" y="319"/>
                  </a:lnTo>
                  <a:lnTo>
                    <a:pt x="613" y="319"/>
                  </a:lnTo>
                  <a:lnTo>
                    <a:pt x="613" y="319"/>
                  </a:lnTo>
                  <a:lnTo>
                    <a:pt x="612" y="320"/>
                  </a:lnTo>
                  <a:lnTo>
                    <a:pt x="612" y="320"/>
                  </a:lnTo>
                  <a:lnTo>
                    <a:pt x="611" y="320"/>
                  </a:lnTo>
                  <a:lnTo>
                    <a:pt x="611" y="321"/>
                  </a:lnTo>
                  <a:lnTo>
                    <a:pt x="610" y="324"/>
                  </a:lnTo>
                  <a:lnTo>
                    <a:pt x="609" y="326"/>
                  </a:lnTo>
                  <a:lnTo>
                    <a:pt x="609" y="326"/>
                  </a:lnTo>
                  <a:lnTo>
                    <a:pt x="608" y="326"/>
                  </a:lnTo>
                  <a:lnTo>
                    <a:pt x="608" y="326"/>
                  </a:lnTo>
                  <a:lnTo>
                    <a:pt x="607" y="326"/>
                  </a:lnTo>
                  <a:lnTo>
                    <a:pt x="606" y="325"/>
                  </a:lnTo>
                  <a:lnTo>
                    <a:pt x="604" y="324"/>
                  </a:lnTo>
                  <a:lnTo>
                    <a:pt x="603" y="323"/>
                  </a:lnTo>
                  <a:lnTo>
                    <a:pt x="601" y="321"/>
                  </a:lnTo>
                  <a:lnTo>
                    <a:pt x="600" y="320"/>
                  </a:lnTo>
                  <a:lnTo>
                    <a:pt x="599" y="319"/>
                  </a:lnTo>
                  <a:lnTo>
                    <a:pt x="596" y="315"/>
                  </a:lnTo>
                  <a:lnTo>
                    <a:pt x="595" y="314"/>
                  </a:lnTo>
                  <a:lnTo>
                    <a:pt x="594" y="313"/>
                  </a:lnTo>
                  <a:lnTo>
                    <a:pt x="593" y="312"/>
                  </a:lnTo>
                  <a:lnTo>
                    <a:pt x="592" y="311"/>
                  </a:lnTo>
                  <a:lnTo>
                    <a:pt x="590" y="310"/>
                  </a:lnTo>
                  <a:lnTo>
                    <a:pt x="589" y="310"/>
                  </a:lnTo>
                  <a:lnTo>
                    <a:pt x="588" y="309"/>
                  </a:lnTo>
                  <a:lnTo>
                    <a:pt x="587" y="309"/>
                  </a:lnTo>
                  <a:lnTo>
                    <a:pt x="586" y="308"/>
                  </a:lnTo>
                  <a:lnTo>
                    <a:pt x="585" y="308"/>
                  </a:lnTo>
                  <a:lnTo>
                    <a:pt x="583" y="308"/>
                  </a:lnTo>
                  <a:lnTo>
                    <a:pt x="582" y="307"/>
                  </a:lnTo>
                  <a:lnTo>
                    <a:pt x="577" y="307"/>
                  </a:lnTo>
                  <a:lnTo>
                    <a:pt x="576" y="306"/>
                  </a:lnTo>
                  <a:lnTo>
                    <a:pt x="575" y="306"/>
                  </a:lnTo>
                  <a:lnTo>
                    <a:pt x="574" y="305"/>
                  </a:lnTo>
                  <a:lnTo>
                    <a:pt x="573" y="305"/>
                  </a:lnTo>
                  <a:lnTo>
                    <a:pt x="572" y="304"/>
                  </a:lnTo>
                  <a:lnTo>
                    <a:pt x="571" y="304"/>
                  </a:lnTo>
                  <a:lnTo>
                    <a:pt x="569" y="302"/>
                  </a:lnTo>
                  <a:lnTo>
                    <a:pt x="564" y="300"/>
                  </a:lnTo>
                  <a:lnTo>
                    <a:pt x="560" y="297"/>
                  </a:lnTo>
                  <a:lnTo>
                    <a:pt x="559" y="296"/>
                  </a:lnTo>
                  <a:lnTo>
                    <a:pt x="558" y="295"/>
                  </a:lnTo>
                  <a:lnTo>
                    <a:pt x="556" y="294"/>
                  </a:lnTo>
                  <a:lnTo>
                    <a:pt x="554" y="293"/>
                  </a:lnTo>
                  <a:lnTo>
                    <a:pt x="552" y="293"/>
                  </a:lnTo>
                  <a:lnTo>
                    <a:pt x="551" y="293"/>
                  </a:lnTo>
                  <a:lnTo>
                    <a:pt x="550" y="292"/>
                  </a:lnTo>
                  <a:lnTo>
                    <a:pt x="549" y="292"/>
                  </a:lnTo>
                  <a:lnTo>
                    <a:pt x="547" y="292"/>
                  </a:lnTo>
                  <a:lnTo>
                    <a:pt x="545" y="292"/>
                  </a:lnTo>
                  <a:lnTo>
                    <a:pt x="542" y="293"/>
                  </a:lnTo>
                  <a:lnTo>
                    <a:pt x="541" y="293"/>
                  </a:lnTo>
                  <a:lnTo>
                    <a:pt x="540" y="293"/>
                  </a:lnTo>
                  <a:lnTo>
                    <a:pt x="539" y="292"/>
                  </a:lnTo>
                  <a:lnTo>
                    <a:pt x="537" y="292"/>
                  </a:lnTo>
                  <a:lnTo>
                    <a:pt x="536" y="292"/>
                  </a:lnTo>
                  <a:lnTo>
                    <a:pt x="536" y="292"/>
                  </a:lnTo>
                  <a:lnTo>
                    <a:pt x="534" y="291"/>
                  </a:lnTo>
                  <a:lnTo>
                    <a:pt x="532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0" y="290"/>
                  </a:lnTo>
                  <a:lnTo>
                    <a:pt x="530" y="290"/>
                  </a:lnTo>
                  <a:lnTo>
                    <a:pt x="529" y="290"/>
                  </a:lnTo>
                  <a:lnTo>
                    <a:pt x="529" y="291"/>
                  </a:lnTo>
                  <a:lnTo>
                    <a:pt x="529" y="291"/>
                  </a:lnTo>
                  <a:lnTo>
                    <a:pt x="528" y="292"/>
                  </a:lnTo>
                  <a:lnTo>
                    <a:pt x="528" y="295"/>
                  </a:lnTo>
                  <a:lnTo>
                    <a:pt x="527" y="296"/>
                  </a:lnTo>
                  <a:lnTo>
                    <a:pt x="526" y="298"/>
                  </a:lnTo>
                  <a:lnTo>
                    <a:pt x="525" y="300"/>
                  </a:lnTo>
                  <a:lnTo>
                    <a:pt x="524" y="301"/>
                  </a:lnTo>
                  <a:lnTo>
                    <a:pt x="524" y="302"/>
                  </a:lnTo>
                  <a:lnTo>
                    <a:pt x="523" y="302"/>
                  </a:lnTo>
                  <a:lnTo>
                    <a:pt x="522" y="303"/>
                  </a:lnTo>
                  <a:lnTo>
                    <a:pt x="522" y="303"/>
                  </a:lnTo>
                  <a:lnTo>
                    <a:pt x="521" y="303"/>
                  </a:lnTo>
                  <a:lnTo>
                    <a:pt x="521" y="304"/>
                  </a:lnTo>
                  <a:lnTo>
                    <a:pt x="519" y="304"/>
                  </a:lnTo>
                  <a:lnTo>
                    <a:pt x="517" y="304"/>
                  </a:lnTo>
                  <a:lnTo>
                    <a:pt x="514" y="304"/>
                  </a:lnTo>
                  <a:lnTo>
                    <a:pt x="513" y="304"/>
                  </a:lnTo>
                  <a:lnTo>
                    <a:pt x="511" y="305"/>
                  </a:lnTo>
                  <a:lnTo>
                    <a:pt x="510" y="305"/>
                  </a:lnTo>
                  <a:lnTo>
                    <a:pt x="508" y="306"/>
                  </a:lnTo>
                  <a:lnTo>
                    <a:pt x="506" y="307"/>
                  </a:lnTo>
                  <a:lnTo>
                    <a:pt x="503" y="308"/>
                  </a:lnTo>
                  <a:lnTo>
                    <a:pt x="502" y="309"/>
                  </a:lnTo>
                  <a:lnTo>
                    <a:pt x="501" y="309"/>
                  </a:lnTo>
                  <a:lnTo>
                    <a:pt x="500" y="309"/>
                  </a:lnTo>
                  <a:lnTo>
                    <a:pt x="499" y="309"/>
                  </a:lnTo>
                  <a:lnTo>
                    <a:pt x="497" y="309"/>
                  </a:lnTo>
                  <a:lnTo>
                    <a:pt x="496" y="309"/>
                  </a:lnTo>
                  <a:lnTo>
                    <a:pt x="496" y="309"/>
                  </a:lnTo>
                  <a:lnTo>
                    <a:pt x="495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4" y="308"/>
                  </a:lnTo>
                  <a:lnTo>
                    <a:pt x="493" y="308"/>
                  </a:lnTo>
                  <a:lnTo>
                    <a:pt x="493" y="308"/>
                  </a:lnTo>
                  <a:lnTo>
                    <a:pt x="493" y="307"/>
                  </a:lnTo>
                  <a:lnTo>
                    <a:pt x="493" y="307"/>
                  </a:lnTo>
                  <a:lnTo>
                    <a:pt x="493" y="306"/>
                  </a:lnTo>
                  <a:lnTo>
                    <a:pt x="493" y="302"/>
                  </a:lnTo>
                  <a:lnTo>
                    <a:pt x="493" y="302"/>
                  </a:lnTo>
                  <a:lnTo>
                    <a:pt x="493" y="301"/>
                  </a:lnTo>
                  <a:lnTo>
                    <a:pt x="493" y="300"/>
                  </a:lnTo>
                  <a:lnTo>
                    <a:pt x="493" y="299"/>
                  </a:lnTo>
                  <a:lnTo>
                    <a:pt x="492" y="297"/>
                  </a:lnTo>
                  <a:lnTo>
                    <a:pt x="492" y="296"/>
                  </a:lnTo>
                  <a:lnTo>
                    <a:pt x="491" y="293"/>
                  </a:lnTo>
                  <a:lnTo>
                    <a:pt x="491" y="291"/>
                  </a:lnTo>
                  <a:lnTo>
                    <a:pt x="490" y="290"/>
                  </a:lnTo>
                  <a:lnTo>
                    <a:pt x="490" y="290"/>
                  </a:lnTo>
                  <a:lnTo>
                    <a:pt x="490" y="289"/>
                  </a:lnTo>
                  <a:lnTo>
                    <a:pt x="489" y="288"/>
                  </a:lnTo>
                  <a:lnTo>
                    <a:pt x="488" y="288"/>
                  </a:lnTo>
                  <a:lnTo>
                    <a:pt x="487" y="287"/>
                  </a:lnTo>
                  <a:lnTo>
                    <a:pt x="487" y="287"/>
                  </a:lnTo>
                  <a:lnTo>
                    <a:pt x="485" y="286"/>
                  </a:lnTo>
                  <a:lnTo>
                    <a:pt x="484" y="286"/>
                  </a:lnTo>
                  <a:lnTo>
                    <a:pt x="483" y="286"/>
                  </a:lnTo>
                  <a:lnTo>
                    <a:pt x="481" y="285"/>
                  </a:lnTo>
                  <a:lnTo>
                    <a:pt x="479" y="285"/>
                  </a:lnTo>
                  <a:lnTo>
                    <a:pt x="478" y="285"/>
                  </a:lnTo>
                  <a:lnTo>
                    <a:pt x="475" y="285"/>
                  </a:lnTo>
                  <a:lnTo>
                    <a:pt x="473" y="285"/>
                  </a:lnTo>
                  <a:lnTo>
                    <a:pt x="472" y="285"/>
                  </a:lnTo>
                  <a:lnTo>
                    <a:pt x="471" y="285"/>
                  </a:lnTo>
                  <a:lnTo>
                    <a:pt x="470" y="284"/>
                  </a:lnTo>
                  <a:lnTo>
                    <a:pt x="468" y="284"/>
                  </a:lnTo>
                  <a:lnTo>
                    <a:pt x="468" y="284"/>
                  </a:lnTo>
                  <a:lnTo>
                    <a:pt x="467" y="283"/>
                  </a:lnTo>
                  <a:lnTo>
                    <a:pt x="466" y="283"/>
                  </a:lnTo>
                  <a:lnTo>
                    <a:pt x="465" y="283"/>
                  </a:lnTo>
                  <a:lnTo>
                    <a:pt x="464" y="282"/>
                  </a:lnTo>
                  <a:lnTo>
                    <a:pt x="462" y="280"/>
                  </a:lnTo>
                  <a:lnTo>
                    <a:pt x="462" y="280"/>
                  </a:lnTo>
                  <a:lnTo>
                    <a:pt x="461" y="279"/>
                  </a:lnTo>
                  <a:lnTo>
                    <a:pt x="461" y="279"/>
                  </a:lnTo>
                  <a:lnTo>
                    <a:pt x="460" y="279"/>
                  </a:lnTo>
                  <a:lnTo>
                    <a:pt x="459" y="278"/>
                  </a:lnTo>
                  <a:lnTo>
                    <a:pt x="459" y="278"/>
                  </a:lnTo>
                  <a:lnTo>
                    <a:pt x="455" y="278"/>
                  </a:lnTo>
                  <a:lnTo>
                    <a:pt x="452" y="277"/>
                  </a:lnTo>
                  <a:lnTo>
                    <a:pt x="451" y="277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8" y="277"/>
                  </a:lnTo>
                  <a:lnTo>
                    <a:pt x="447" y="277"/>
                  </a:lnTo>
                  <a:lnTo>
                    <a:pt x="446" y="278"/>
                  </a:lnTo>
                  <a:lnTo>
                    <a:pt x="445" y="278"/>
                  </a:lnTo>
                  <a:lnTo>
                    <a:pt x="444" y="279"/>
                  </a:lnTo>
                  <a:lnTo>
                    <a:pt x="444" y="279"/>
                  </a:lnTo>
                  <a:lnTo>
                    <a:pt x="443" y="280"/>
                  </a:lnTo>
                  <a:lnTo>
                    <a:pt x="443" y="280"/>
                  </a:lnTo>
                  <a:lnTo>
                    <a:pt x="443" y="280"/>
                  </a:lnTo>
                  <a:lnTo>
                    <a:pt x="443" y="281"/>
                  </a:lnTo>
                  <a:lnTo>
                    <a:pt x="442" y="283"/>
                  </a:lnTo>
                  <a:lnTo>
                    <a:pt x="442" y="284"/>
                  </a:lnTo>
                  <a:lnTo>
                    <a:pt x="442" y="286"/>
                  </a:lnTo>
                  <a:lnTo>
                    <a:pt x="441" y="287"/>
                  </a:lnTo>
                  <a:lnTo>
                    <a:pt x="440" y="288"/>
                  </a:lnTo>
                  <a:lnTo>
                    <a:pt x="439" y="290"/>
                  </a:lnTo>
                  <a:lnTo>
                    <a:pt x="439" y="292"/>
                  </a:lnTo>
                  <a:lnTo>
                    <a:pt x="439" y="292"/>
                  </a:lnTo>
                  <a:lnTo>
                    <a:pt x="438" y="294"/>
                  </a:lnTo>
                  <a:lnTo>
                    <a:pt x="438" y="295"/>
                  </a:lnTo>
                  <a:lnTo>
                    <a:pt x="437" y="296"/>
                  </a:lnTo>
                  <a:lnTo>
                    <a:pt x="437" y="297"/>
                  </a:lnTo>
                  <a:lnTo>
                    <a:pt x="437" y="298"/>
                  </a:lnTo>
                  <a:lnTo>
                    <a:pt x="437" y="300"/>
                  </a:lnTo>
                  <a:lnTo>
                    <a:pt x="437" y="302"/>
                  </a:lnTo>
                  <a:lnTo>
                    <a:pt x="437" y="304"/>
                  </a:lnTo>
                  <a:lnTo>
                    <a:pt x="437" y="305"/>
                  </a:lnTo>
                  <a:lnTo>
                    <a:pt x="438" y="308"/>
                  </a:lnTo>
                  <a:lnTo>
                    <a:pt x="438" y="313"/>
                  </a:lnTo>
                  <a:lnTo>
                    <a:pt x="439" y="316"/>
                  </a:lnTo>
                  <a:lnTo>
                    <a:pt x="439" y="318"/>
                  </a:lnTo>
                  <a:lnTo>
                    <a:pt x="440" y="323"/>
                  </a:lnTo>
                  <a:lnTo>
                    <a:pt x="440" y="325"/>
                  </a:lnTo>
                  <a:lnTo>
                    <a:pt x="440" y="326"/>
                  </a:lnTo>
                  <a:lnTo>
                    <a:pt x="440" y="328"/>
                  </a:lnTo>
                  <a:lnTo>
                    <a:pt x="440" y="329"/>
                  </a:lnTo>
                  <a:lnTo>
                    <a:pt x="440" y="330"/>
                  </a:lnTo>
                  <a:lnTo>
                    <a:pt x="440" y="332"/>
                  </a:lnTo>
                  <a:lnTo>
                    <a:pt x="439" y="334"/>
                  </a:lnTo>
                  <a:lnTo>
                    <a:pt x="438" y="340"/>
                  </a:lnTo>
                  <a:lnTo>
                    <a:pt x="438" y="341"/>
                  </a:lnTo>
                  <a:lnTo>
                    <a:pt x="437" y="343"/>
                  </a:lnTo>
                  <a:lnTo>
                    <a:pt x="437" y="344"/>
                  </a:lnTo>
                  <a:lnTo>
                    <a:pt x="436" y="346"/>
                  </a:lnTo>
                  <a:lnTo>
                    <a:pt x="436" y="347"/>
                  </a:lnTo>
                  <a:lnTo>
                    <a:pt x="436" y="349"/>
                  </a:lnTo>
                  <a:lnTo>
                    <a:pt x="436" y="350"/>
                  </a:lnTo>
                  <a:lnTo>
                    <a:pt x="436" y="354"/>
                  </a:lnTo>
                  <a:lnTo>
                    <a:pt x="436" y="355"/>
                  </a:lnTo>
                  <a:lnTo>
                    <a:pt x="436" y="356"/>
                  </a:lnTo>
                  <a:lnTo>
                    <a:pt x="436" y="357"/>
                  </a:lnTo>
                  <a:lnTo>
                    <a:pt x="436" y="357"/>
                  </a:lnTo>
                  <a:lnTo>
                    <a:pt x="435" y="360"/>
                  </a:lnTo>
                  <a:lnTo>
                    <a:pt x="434" y="361"/>
                  </a:lnTo>
                  <a:lnTo>
                    <a:pt x="433" y="366"/>
                  </a:lnTo>
                  <a:lnTo>
                    <a:pt x="432" y="369"/>
                  </a:lnTo>
                  <a:lnTo>
                    <a:pt x="432" y="370"/>
                  </a:lnTo>
                  <a:lnTo>
                    <a:pt x="431" y="372"/>
                  </a:lnTo>
                  <a:lnTo>
                    <a:pt x="431" y="374"/>
                  </a:lnTo>
                  <a:lnTo>
                    <a:pt x="431" y="376"/>
                  </a:lnTo>
                  <a:lnTo>
                    <a:pt x="431" y="377"/>
                  </a:lnTo>
                  <a:lnTo>
                    <a:pt x="431" y="378"/>
                  </a:lnTo>
                  <a:lnTo>
                    <a:pt x="431" y="379"/>
                  </a:lnTo>
                  <a:lnTo>
                    <a:pt x="431" y="380"/>
                  </a:lnTo>
                  <a:lnTo>
                    <a:pt x="431" y="381"/>
                  </a:lnTo>
                  <a:lnTo>
                    <a:pt x="432" y="382"/>
                  </a:lnTo>
                  <a:lnTo>
                    <a:pt x="432" y="383"/>
                  </a:lnTo>
                  <a:lnTo>
                    <a:pt x="434" y="385"/>
                  </a:lnTo>
                  <a:lnTo>
                    <a:pt x="434" y="386"/>
                  </a:lnTo>
                  <a:lnTo>
                    <a:pt x="434" y="386"/>
                  </a:lnTo>
                  <a:lnTo>
                    <a:pt x="435" y="387"/>
                  </a:lnTo>
                  <a:lnTo>
                    <a:pt x="435" y="388"/>
                  </a:lnTo>
                  <a:lnTo>
                    <a:pt x="435" y="389"/>
                  </a:lnTo>
                  <a:lnTo>
                    <a:pt x="435" y="390"/>
                  </a:lnTo>
                  <a:lnTo>
                    <a:pt x="434" y="390"/>
                  </a:lnTo>
                  <a:lnTo>
                    <a:pt x="434" y="391"/>
                  </a:lnTo>
                  <a:lnTo>
                    <a:pt x="433" y="392"/>
                  </a:lnTo>
                  <a:lnTo>
                    <a:pt x="433" y="393"/>
                  </a:lnTo>
                  <a:lnTo>
                    <a:pt x="432" y="393"/>
                  </a:lnTo>
                  <a:lnTo>
                    <a:pt x="431" y="394"/>
                  </a:lnTo>
                  <a:lnTo>
                    <a:pt x="430" y="394"/>
                  </a:lnTo>
                  <a:lnTo>
                    <a:pt x="429" y="394"/>
                  </a:lnTo>
                  <a:lnTo>
                    <a:pt x="428" y="394"/>
                  </a:lnTo>
                  <a:lnTo>
                    <a:pt x="426" y="394"/>
                  </a:lnTo>
                  <a:lnTo>
                    <a:pt x="425" y="394"/>
                  </a:lnTo>
                  <a:lnTo>
                    <a:pt x="420" y="392"/>
                  </a:lnTo>
                  <a:lnTo>
                    <a:pt x="417" y="391"/>
                  </a:lnTo>
                  <a:lnTo>
                    <a:pt x="415" y="391"/>
                  </a:lnTo>
                  <a:lnTo>
                    <a:pt x="414" y="391"/>
                  </a:lnTo>
                  <a:lnTo>
                    <a:pt x="410" y="389"/>
                  </a:lnTo>
                  <a:lnTo>
                    <a:pt x="409" y="389"/>
                  </a:lnTo>
                  <a:lnTo>
                    <a:pt x="407" y="388"/>
                  </a:lnTo>
                  <a:lnTo>
                    <a:pt x="406" y="388"/>
                  </a:lnTo>
                  <a:lnTo>
                    <a:pt x="405" y="387"/>
                  </a:lnTo>
                  <a:lnTo>
                    <a:pt x="404" y="387"/>
                  </a:lnTo>
                  <a:lnTo>
                    <a:pt x="400" y="386"/>
                  </a:lnTo>
                  <a:lnTo>
                    <a:pt x="397" y="386"/>
                  </a:lnTo>
                  <a:lnTo>
                    <a:pt x="395" y="385"/>
                  </a:lnTo>
                  <a:lnTo>
                    <a:pt x="394" y="385"/>
                  </a:lnTo>
                  <a:lnTo>
                    <a:pt x="393" y="385"/>
                  </a:lnTo>
                  <a:lnTo>
                    <a:pt x="392" y="385"/>
                  </a:lnTo>
                  <a:lnTo>
                    <a:pt x="391" y="386"/>
                  </a:lnTo>
                  <a:lnTo>
                    <a:pt x="391" y="386"/>
                  </a:lnTo>
                  <a:lnTo>
                    <a:pt x="390" y="386"/>
                  </a:lnTo>
                  <a:lnTo>
                    <a:pt x="389" y="386"/>
                  </a:lnTo>
                  <a:lnTo>
                    <a:pt x="389" y="387"/>
                  </a:lnTo>
                  <a:lnTo>
                    <a:pt x="388" y="387"/>
                  </a:lnTo>
                  <a:lnTo>
                    <a:pt x="387" y="388"/>
                  </a:lnTo>
                  <a:lnTo>
                    <a:pt x="387" y="388"/>
                  </a:lnTo>
                  <a:lnTo>
                    <a:pt x="386" y="389"/>
                  </a:lnTo>
                  <a:lnTo>
                    <a:pt x="386" y="389"/>
                  </a:lnTo>
                  <a:lnTo>
                    <a:pt x="386" y="390"/>
                  </a:lnTo>
                  <a:lnTo>
                    <a:pt x="386" y="391"/>
                  </a:lnTo>
                  <a:lnTo>
                    <a:pt x="385" y="394"/>
                  </a:lnTo>
                  <a:lnTo>
                    <a:pt x="384" y="399"/>
                  </a:lnTo>
                  <a:lnTo>
                    <a:pt x="384" y="401"/>
                  </a:lnTo>
                  <a:lnTo>
                    <a:pt x="383" y="404"/>
                  </a:lnTo>
                  <a:lnTo>
                    <a:pt x="383" y="405"/>
                  </a:lnTo>
                  <a:lnTo>
                    <a:pt x="383" y="406"/>
                  </a:lnTo>
                  <a:lnTo>
                    <a:pt x="382" y="407"/>
                  </a:lnTo>
                  <a:lnTo>
                    <a:pt x="382" y="408"/>
                  </a:lnTo>
                  <a:lnTo>
                    <a:pt x="381" y="409"/>
                  </a:lnTo>
                  <a:lnTo>
                    <a:pt x="380" y="410"/>
                  </a:lnTo>
                  <a:lnTo>
                    <a:pt x="379" y="412"/>
                  </a:lnTo>
                  <a:lnTo>
                    <a:pt x="377" y="414"/>
                  </a:lnTo>
                  <a:lnTo>
                    <a:pt x="376" y="415"/>
                  </a:lnTo>
                  <a:lnTo>
                    <a:pt x="375" y="416"/>
                  </a:lnTo>
                  <a:lnTo>
                    <a:pt x="374" y="416"/>
                  </a:lnTo>
                  <a:lnTo>
                    <a:pt x="373" y="417"/>
                  </a:lnTo>
                  <a:lnTo>
                    <a:pt x="370" y="419"/>
                  </a:lnTo>
                  <a:lnTo>
                    <a:pt x="367" y="422"/>
                  </a:lnTo>
                  <a:lnTo>
                    <a:pt x="365" y="423"/>
                  </a:lnTo>
                  <a:lnTo>
                    <a:pt x="364" y="424"/>
                  </a:lnTo>
                  <a:lnTo>
                    <a:pt x="364" y="425"/>
                  </a:lnTo>
                  <a:lnTo>
                    <a:pt x="363" y="426"/>
                  </a:lnTo>
                  <a:lnTo>
                    <a:pt x="362" y="427"/>
                  </a:lnTo>
                  <a:lnTo>
                    <a:pt x="361" y="429"/>
                  </a:lnTo>
                  <a:lnTo>
                    <a:pt x="360" y="431"/>
                  </a:lnTo>
                  <a:lnTo>
                    <a:pt x="360" y="432"/>
                  </a:lnTo>
                  <a:lnTo>
                    <a:pt x="359" y="434"/>
                  </a:lnTo>
                  <a:lnTo>
                    <a:pt x="358" y="437"/>
                  </a:lnTo>
                  <a:lnTo>
                    <a:pt x="358" y="438"/>
                  </a:lnTo>
                  <a:lnTo>
                    <a:pt x="357" y="440"/>
                  </a:lnTo>
                  <a:lnTo>
                    <a:pt x="357" y="441"/>
                  </a:lnTo>
                  <a:lnTo>
                    <a:pt x="357" y="443"/>
                  </a:lnTo>
                  <a:lnTo>
                    <a:pt x="357" y="444"/>
                  </a:lnTo>
                  <a:lnTo>
                    <a:pt x="357" y="445"/>
                  </a:lnTo>
                  <a:lnTo>
                    <a:pt x="357" y="451"/>
                  </a:lnTo>
                  <a:lnTo>
                    <a:pt x="357" y="453"/>
                  </a:lnTo>
                  <a:lnTo>
                    <a:pt x="357" y="454"/>
                  </a:lnTo>
                  <a:lnTo>
                    <a:pt x="357" y="456"/>
                  </a:lnTo>
                  <a:lnTo>
                    <a:pt x="357" y="461"/>
                  </a:lnTo>
                  <a:lnTo>
                    <a:pt x="357" y="464"/>
                  </a:lnTo>
                  <a:lnTo>
                    <a:pt x="357" y="465"/>
                  </a:lnTo>
                  <a:lnTo>
                    <a:pt x="356" y="467"/>
                  </a:lnTo>
                  <a:lnTo>
                    <a:pt x="356" y="468"/>
                  </a:lnTo>
                  <a:lnTo>
                    <a:pt x="356" y="469"/>
                  </a:lnTo>
                  <a:lnTo>
                    <a:pt x="356" y="469"/>
                  </a:lnTo>
                  <a:lnTo>
                    <a:pt x="355" y="471"/>
                  </a:lnTo>
                  <a:lnTo>
                    <a:pt x="355" y="472"/>
                  </a:lnTo>
                  <a:lnTo>
                    <a:pt x="354" y="473"/>
                  </a:lnTo>
                  <a:lnTo>
                    <a:pt x="353" y="473"/>
                  </a:lnTo>
                  <a:lnTo>
                    <a:pt x="353" y="474"/>
                  </a:lnTo>
                  <a:lnTo>
                    <a:pt x="352" y="475"/>
                  </a:lnTo>
                  <a:lnTo>
                    <a:pt x="352" y="475"/>
                  </a:lnTo>
                  <a:lnTo>
                    <a:pt x="351" y="475"/>
                  </a:lnTo>
                  <a:lnTo>
                    <a:pt x="351" y="476"/>
                  </a:lnTo>
                  <a:lnTo>
                    <a:pt x="350" y="476"/>
                  </a:lnTo>
                  <a:lnTo>
                    <a:pt x="350" y="476"/>
                  </a:lnTo>
                  <a:lnTo>
                    <a:pt x="349" y="476"/>
                  </a:lnTo>
                  <a:lnTo>
                    <a:pt x="348" y="476"/>
                  </a:lnTo>
                  <a:lnTo>
                    <a:pt x="347" y="476"/>
                  </a:lnTo>
                  <a:lnTo>
                    <a:pt x="346" y="476"/>
                  </a:lnTo>
                  <a:lnTo>
                    <a:pt x="345" y="476"/>
                  </a:lnTo>
                  <a:lnTo>
                    <a:pt x="344" y="476"/>
                  </a:lnTo>
                  <a:lnTo>
                    <a:pt x="344" y="476"/>
                  </a:lnTo>
                  <a:lnTo>
                    <a:pt x="343" y="476"/>
                  </a:lnTo>
                  <a:lnTo>
                    <a:pt x="342" y="475"/>
                  </a:lnTo>
                  <a:lnTo>
                    <a:pt x="342" y="475"/>
                  </a:lnTo>
                  <a:lnTo>
                    <a:pt x="342" y="475"/>
                  </a:lnTo>
                  <a:lnTo>
                    <a:pt x="341" y="474"/>
                  </a:lnTo>
                  <a:lnTo>
                    <a:pt x="340" y="474"/>
                  </a:lnTo>
                  <a:lnTo>
                    <a:pt x="340" y="473"/>
                  </a:lnTo>
                  <a:lnTo>
                    <a:pt x="337" y="470"/>
                  </a:lnTo>
                  <a:lnTo>
                    <a:pt x="337" y="469"/>
                  </a:lnTo>
                  <a:lnTo>
                    <a:pt x="336" y="468"/>
                  </a:lnTo>
                  <a:lnTo>
                    <a:pt x="335" y="467"/>
                  </a:lnTo>
                  <a:lnTo>
                    <a:pt x="334" y="467"/>
                  </a:lnTo>
                  <a:lnTo>
                    <a:pt x="333" y="467"/>
                  </a:lnTo>
                  <a:lnTo>
                    <a:pt x="332" y="466"/>
                  </a:lnTo>
                  <a:lnTo>
                    <a:pt x="331" y="466"/>
                  </a:lnTo>
                  <a:lnTo>
                    <a:pt x="330" y="465"/>
                  </a:lnTo>
                  <a:lnTo>
                    <a:pt x="330" y="465"/>
                  </a:lnTo>
                  <a:lnTo>
                    <a:pt x="329" y="464"/>
                  </a:lnTo>
                  <a:lnTo>
                    <a:pt x="328" y="463"/>
                  </a:lnTo>
                  <a:lnTo>
                    <a:pt x="328" y="463"/>
                  </a:lnTo>
                  <a:lnTo>
                    <a:pt x="326" y="461"/>
                  </a:lnTo>
                  <a:lnTo>
                    <a:pt x="326" y="459"/>
                  </a:lnTo>
                  <a:lnTo>
                    <a:pt x="325" y="459"/>
                  </a:lnTo>
                  <a:lnTo>
                    <a:pt x="324" y="458"/>
                  </a:lnTo>
                  <a:lnTo>
                    <a:pt x="324" y="458"/>
                  </a:lnTo>
                  <a:lnTo>
                    <a:pt x="323" y="458"/>
                  </a:lnTo>
                  <a:lnTo>
                    <a:pt x="323" y="458"/>
                  </a:lnTo>
                  <a:lnTo>
                    <a:pt x="322" y="458"/>
                  </a:lnTo>
                  <a:lnTo>
                    <a:pt x="322" y="458"/>
                  </a:lnTo>
                  <a:lnTo>
                    <a:pt x="321" y="458"/>
                  </a:lnTo>
                  <a:lnTo>
                    <a:pt x="320" y="459"/>
                  </a:lnTo>
                  <a:lnTo>
                    <a:pt x="314" y="462"/>
                  </a:lnTo>
                  <a:lnTo>
                    <a:pt x="313" y="463"/>
                  </a:lnTo>
                  <a:lnTo>
                    <a:pt x="312" y="464"/>
                  </a:lnTo>
                  <a:lnTo>
                    <a:pt x="311" y="464"/>
                  </a:lnTo>
                  <a:lnTo>
                    <a:pt x="310" y="464"/>
                  </a:lnTo>
                  <a:lnTo>
                    <a:pt x="309" y="465"/>
                  </a:lnTo>
                  <a:lnTo>
                    <a:pt x="308" y="465"/>
                  </a:lnTo>
                  <a:lnTo>
                    <a:pt x="308" y="465"/>
                  </a:lnTo>
                  <a:lnTo>
                    <a:pt x="307" y="465"/>
                  </a:lnTo>
                  <a:lnTo>
                    <a:pt x="307" y="464"/>
                  </a:lnTo>
                  <a:lnTo>
                    <a:pt x="306" y="464"/>
                  </a:lnTo>
                  <a:lnTo>
                    <a:pt x="303" y="463"/>
                  </a:lnTo>
                  <a:lnTo>
                    <a:pt x="299" y="462"/>
                  </a:lnTo>
                  <a:lnTo>
                    <a:pt x="297" y="461"/>
                  </a:lnTo>
                  <a:lnTo>
                    <a:pt x="294" y="460"/>
                  </a:lnTo>
                  <a:lnTo>
                    <a:pt x="293" y="459"/>
                  </a:lnTo>
                  <a:lnTo>
                    <a:pt x="292" y="459"/>
                  </a:lnTo>
                  <a:lnTo>
                    <a:pt x="291" y="458"/>
                  </a:lnTo>
                  <a:lnTo>
                    <a:pt x="290" y="457"/>
                  </a:lnTo>
                  <a:lnTo>
                    <a:pt x="289" y="457"/>
                  </a:lnTo>
                  <a:lnTo>
                    <a:pt x="288" y="455"/>
                  </a:lnTo>
                  <a:lnTo>
                    <a:pt x="287" y="454"/>
                  </a:lnTo>
                  <a:lnTo>
                    <a:pt x="284" y="451"/>
                  </a:lnTo>
                  <a:lnTo>
                    <a:pt x="283" y="450"/>
                  </a:lnTo>
                  <a:lnTo>
                    <a:pt x="282" y="449"/>
                  </a:lnTo>
                  <a:lnTo>
                    <a:pt x="281" y="449"/>
                  </a:lnTo>
                  <a:lnTo>
                    <a:pt x="280" y="448"/>
                  </a:lnTo>
                  <a:lnTo>
                    <a:pt x="280" y="448"/>
                  </a:lnTo>
                  <a:lnTo>
                    <a:pt x="279" y="448"/>
                  </a:lnTo>
                  <a:lnTo>
                    <a:pt x="279" y="449"/>
                  </a:lnTo>
                  <a:lnTo>
                    <a:pt x="278" y="449"/>
                  </a:lnTo>
                  <a:lnTo>
                    <a:pt x="278" y="449"/>
                  </a:lnTo>
                  <a:lnTo>
                    <a:pt x="277" y="449"/>
                  </a:lnTo>
                  <a:lnTo>
                    <a:pt x="277" y="450"/>
                  </a:lnTo>
                  <a:lnTo>
                    <a:pt x="276" y="450"/>
                  </a:lnTo>
                  <a:lnTo>
                    <a:pt x="276" y="450"/>
                  </a:lnTo>
                  <a:lnTo>
                    <a:pt x="276" y="451"/>
                  </a:lnTo>
                  <a:lnTo>
                    <a:pt x="275" y="451"/>
                  </a:lnTo>
                  <a:lnTo>
                    <a:pt x="275" y="452"/>
                  </a:lnTo>
                  <a:lnTo>
                    <a:pt x="275" y="456"/>
                  </a:lnTo>
                  <a:lnTo>
                    <a:pt x="275" y="457"/>
                  </a:lnTo>
                  <a:lnTo>
                    <a:pt x="275" y="458"/>
                  </a:lnTo>
                  <a:lnTo>
                    <a:pt x="274" y="460"/>
                  </a:lnTo>
                  <a:lnTo>
                    <a:pt x="274" y="463"/>
                  </a:lnTo>
                  <a:lnTo>
                    <a:pt x="273" y="464"/>
                  </a:lnTo>
                  <a:lnTo>
                    <a:pt x="273" y="465"/>
                  </a:lnTo>
                  <a:lnTo>
                    <a:pt x="272" y="466"/>
                  </a:lnTo>
                  <a:lnTo>
                    <a:pt x="272" y="467"/>
                  </a:lnTo>
                  <a:lnTo>
                    <a:pt x="271" y="468"/>
                  </a:lnTo>
                  <a:lnTo>
                    <a:pt x="270" y="469"/>
                  </a:lnTo>
                  <a:lnTo>
                    <a:pt x="270" y="470"/>
                  </a:lnTo>
                  <a:lnTo>
                    <a:pt x="269" y="470"/>
                  </a:lnTo>
                  <a:lnTo>
                    <a:pt x="269" y="471"/>
                  </a:lnTo>
                  <a:lnTo>
                    <a:pt x="268" y="472"/>
                  </a:lnTo>
                  <a:lnTo>
                    <a:pt x="267" y="472"/>
                  </a:lnTo>
                  <a:lnTo>
                    <a:pt x="267" y="472"/>
                  </a:lnTo>
                  <a:lnTo>
                    <a:pt x="266" y="472"/>
                  </a:lnTo>
                  <a:lnTo>
                    <a:pt x="265" y="472"/>
                  </a:lnTo>
                  <a:lnTo>
                    <a:pt x="262" y="472"/>
                  </a:lnTo>
                  <a:lnTo>
                    <a:pt x="260" y="473"/>
                  </a:lnTo>
                  <a:lnTo>
                    <a:pt x="259" y="473"/>
                  </a:lnTo>
                  <a:lnTo>
                    <a:pt x="259" y="473"/>
                  </a:lnTo>
                  <a:lnTo>
                    <a:pt x="258" y="473"/>
                  </a:lnTo>
                  <a:lnTo>
                    <a:pt x="257" y="474"/>
                  </a:lnTo>
                  <a:lnTo>
                    <a:pt x="257" y="474"/>
                  </a:lnTo>
                  <a:lnTo>
                    <a:pt x="257" y="475"/>
                  </a:lnTo>
                  <a:lnTo>
                    <a:pt x="256" y="476"/>
                  </a:lnTo>
                  <a:lnTo>
                    <a:pt x="256" y="477"/>
                  </a:lnTo>
                  <a:lnTo>
                    <a:pt x="255" y="478"/>
                  </a:lnTo>
                  <a:lnTo>
                    <a:pt x="255" y="479"/>
                  </a:lnTo>
                  <a:lnTo>
                    <a:pt x="255" y="479"/>
                  </a:lnTo>
                  <a:lnTo>
                    <a:pt x="254" y="480"/>
                  </a:lnTo>
                  <a:lnTo>
                    <a:pt x="254" y="480"/>
                  </a:lnTo>
                  <a:lnTo>
                    <a:pt x="253" y="481"/>
                  </a:lnTo>
                  <a:lnTo>
                    <a:pt x="252" y="481"/>
                  </a:lnTo>
                  <a:lnTo>
                    <a:pt x="251" y="482"/>
                  </a:lnTo>
                  <a:lnTo>
                    <a:pt x="249" y="482"/>
                  </a:lnTo>
                  <a:lnTo>
                    <a:pt x="248" y="482"/>
                  </a:lnTo>
                  <a:lnTo>
                    <a:pt x="248" y="482"/>
                  </a:lnTo>
                  <a:lnTo>
                    <a:pt x="247" y="483"/>
                  </a:lnTo>
                  <a:lnTo>
                    <a:pt x="246" y="483"/>
                  </a:lnTo>
                  <a:lnTo>
                    <a:pt x="245" y="484"/>
                  </a:lnTo>
                  <a:lnTo>
                    <a:pt x="244" y="486"/>
                  </a:lnTo>
                  <a:lnTo>
                    <a:pt x="243" y="487"/>
                  </a:lnTo>
                  <a:lnTo>
                    <a:pt x="242" y="487"/>
                  </a:lnTo>
                  <a:lnTo>
                    <a:pt x="241" y="487"/>
                  </a:lnTo>
                  <a:lnTo>
                    <a:pt x="241" y="488"/>
                  </a:lnTo>
                  <a:lnTo>
                    <a:pt x="240" y="488"/>
                  </a:lnTo>
                  <a:lnTo>
                    <a:pt x="239" y="488"/>
                  </a:lnTo>
                  <a:lnTo>
                    <a:pt x="239" y="488"/>
                  </a:lnTo>
                  <a:lnTo>
                    <a:pt x="238" y="488"/>
                  </a:lnTo>
                  <a:lnTo>
                    <a:pt x="237" y="487"/>
                  </a:lnTo>
                  <a:lnTo>
                    <a:pt x="235" y="486"/>
                  </a:lnTo>
                  <a:lnTo>
                    <a:pt x="231" y="485"/>
                  </a:lnTo>
                  <a:lnTo>
                    <a:pt x="228" y="483"/>
                  </a:lnTo>
                  <a:lnTo>
                    <a:pt x="221" y="479"/>
                  </a:lnTo>
                  <a:lnTo>
                    <a:pt x="219" y="478"/>
                  </a:lnTo>
                  <a:lnTo>
                    <a:pt x="218" y="478"/>
                  </a:lnTo>
                  <a:lnTo>
                    <a:pt x="217" y="478"/>
                  </a:lnTo>
                  <a:lnTo>
                    <a:pt x="216" y="477"/>
                  </a:lnTo>
                  <a:lnTo>
                    <a:pt x="212" y="477"/>
                  </a:lnTo>
                  <a:lnTo>
                    <a:pt x="211" y="477"/>
                  </a:lnTo>
                  <a:lnTo>
                    <a:pt x="209" y="476"/>
                  </a:lnTo>
                  <a:lnTo>
                    <a:pt x="205" y="475"/>
                  </a:lnTo>
                  <a:lnTo>
                    <a:pt x="200" y="473"/>
                  </a:lnTo>
                  <a:lnTo>
                    <a:pt x="197" y="472"/>
                  </a:lnTo>
                  <a:lnTo>
                    <a:pt x="196" y="472"/>
                  </a:lnTo>
                  <a:lnTo>
                    <a:pt x="195" y="472"/>
                  </a:lnTo>
                  <a:lnTo>
                    <a:pt x="193" y="472"/>
                  </a:lnTo>
                  <a:lnTo>
                    <a:pt x="190" y="472"/>
                  </a:lnTo>
                  <a:lnTo>
                    <a:pt x="188" y="472"/>
                  </a:lnTo>
                  <a:lnTo>
                    <a:pt x="187" y="471"/>
                  </a:lnTo>
                  <a:lnTo>
                    <a:pt x="183" y="471"/>
                  </a:lnTo>
                  <a:lnTo>
                    <a:pt x="181" y="471"/>
                  </a:lnTo>
                  <a:lnTo>
                    <a:pt x="179" y="470"/>
                  </a:lnTo>
                  <a:lnTo>
                    <a:pt x="178" y="470"/>
                  </a:lnTo>
                  <a:lnTo>
                    <a:pt x="177" y="470"/>
                  </a:lnTo>
                  <a:lnTo>
                    <a:pt x="173" y="471"/>
                  </a:lnTo>
                  <a:lnTo>
                    <a:pt x="172" y="471"/>
                  </a:lnTo>
                  <a:lnTo>
                    <a:pt x="171" y="471"/>
                  </a:lnTo>
                  <a:lnTo>
                    <a:pt x="170" y="471"/>
                  </a:lnTo>
                  <a:lnTo>
                    <a:pt x="169" y="471"/>
                  </a:lnTo>
                  <a:lnTo>
                    <a:pt x="168" y="471"/>
                  </a:lnTo>
                  <a:lnTo>
                    <a:pt x="168" y="471"/>
                  </a:lnTo>
                  <a:lnTo>
                    <a:pt x="165" y="470"/>
                  </a:lnTo>
                  <a:lnTo>
                    <a:pt x="164" y="469"/>
                  </a:lnTo>
                  <a:lnTo>
                    <a:pt x="163" y="469"/>
                  </a:lnTo>
                  <a:lnTo>
                    <a:pt x="160" y="468"/>
                  </a:lnTo>
                  <a:lnTo>
                    <a:pt x="159" y="468"/>
                  </a:lnTo>
                  <a:lnTo>
                    <a:pt x="158" y="467"/>
                  </a:lnTo>
                  <a:lnTo>
                    <a:pt x="158" y="467"/>
                  </a:lnTo>
                  <a:lnTo>
                    <a:pt x="156" y="466"/>
                  </a:lnTo>
                  <a:lnTo>
                    <a:pt x="154" y="464"/>
                  </a:lnTo>
                  <a:lnTo>
                    <a:pt x="154" y="464"/>
                  </a:lnTo>
                  <a:lnTo>
                    <a:pt x="153" y="463"/>
                  </a:lnTo>
                  <a:lnTo>
                    <a:pt x="152" y="462"/>
                  </a:lnTo>
                  <a:lnTo>
                    <a:pt x="152" y="461"/>
                  </a:lnTo>
                  <a:lnTo>
                    <a:pt x="151" y="461"/>
                  </a:lnTo>
                  <a:lnTo>
                    <a:pt x="151" y="460"/>
                  </a:lnTo>
                  <a:lnTo>
                    <a:pt x="150" y="457"/>
                  </a:lnTo>
                  <a:lnTo>
                    <a:pt x="149" y="457"/>
                  </a:lnTo>
                  <a:lnTo>
                    <a:pt x="149" y="456"/>
                  </a:lnTo>
                  <a:lnTo>
                    <a:pt x="149" y="456"/>
                  </a:lnTo>
                  <a:lnTo>
                    <a:pt x="148" y="455"/>
                  </a:lnTo>
                  <a:lnTo>
                    <a:pt x="147" y="454"/>
                  </a:lnTo>
                  <a:lnTo>
                    <a:pt x="146" y="454"/>
                  </a:lnTo>
                  <a:lnTo>
                    <a:pt x="145" y="453"/>
                  </a:lnTo>
                  <a:lnTo>
                    <a:pt x="145" y="452"/>
                  </a:lnTo>
                  <a:lnTo>
                    <a:pt x="144" y="451"/>
                  </a:lnTo>
                  <a:lnTo>
                    <a:pt x="144" y="451"/>
                  </a:lnTo>
                  <a:lnTo>
                    <a:pt x="144" y="450"/>
                  </a:lnTo>
                  <a:lnTo>
                    <a:pt x="144" y="449"/>
                  </a:lnTo>
                  <a:lnTo>
                    <a:pt x="144" y="449"/>
                  </a:lnTo>
                  <a:lnTo>
                    <a:pt x="144" y="448"/>
                  </a:lnTo>
                  <a:lnTo>
                    <a:pt x="144" y="448"/>
                  </a:lnTo>
                  <a:lnTo>
                    <a:pt x="144" y="447"/>
                  </a:lnTo>
                  <a:lnTo>
                    <a:pt x="144" y="447"/>
                  </a:lnTo>
                  <a:lnTo>
                    <a:pt x="145" y="446"/>
                  </a:lnTo>
                  <a:lnTo>
                    <a:pt x="145" y="445"/>
                  </a:lnTo>
                  <a:lnTo>
                    <a:pt x="146" y="445"/>
                  </a:lnTo>
                  <a:lnTo>
                    <a:pt x="147" y="444"/>
                  </a:lnTo>
                  <a:lnTo>
                    <a:pt x="148" y="443"/>
                  </a:lnTo>
                  <a:lnTo>
                    <a:pt x="149" y="443"/>
                  </a:lnTo>
                  <a:lnTo>
                    <a:pt x="151" y="442"/>
                  </a:lnTo>
                  <a:lnTo>
                    <a:pt x="152" y="442"/>
                  </a:lnTo>
                  <a:lnTo>
                    <a:pt x="152" y="441"/>
                  </a:lnTo>
                  <a:lnTo>
                    <a:pt x="153" y="441"/>
                  </a:lnTo>
                  <a:lnTo>
                    <a:pt x="153" y="440"/>
                  </a:lnTo>
                  <a:lnTo>
                    <a:pt x="153" y="440"/>
                  </a:lnTo>
                  <a:lnTo>
                    <a:pt x="154" y="439"/>
                  </a:lnTo>
                  <a:lnTo>
                    <a:pt x="154" y="438"/>
                  </a:lnTo>
                  <a:lnTo>
                    <a:pt x="154" y="438"/>
                  </a:lnTo>
                  <a:lnTo>
                    <a:pt x="154" y="437"/>
                  </a:lnTo>
                  <a:lnTo>
                    <a:pt x="154" y="436"/>
                  </a:lnTo>
                  <a:lnTo>
                    <a:pt x="154" y="435"/>
                  </a:lnTo>
                  <a:lnTo>
                    <a:pt x="153" y="434"/>
                  </a:lnTo>
                  <a:lnTo>
                    <a:pt x="153" y="434"/>
                  </a:lnTo>
                  <a:lnTo>
                    <a:pt x="152" y="433"/>
                  </a:lnTo>
                  <a:lnTo>
                    <a:pt x="152" y="433"/>
                  </a:lnTo>
                  <a:lnTo>
                    <a:pt x="149" y="431"/>
                  </a:lnTo>
                  <a:lnTo>
                    <a:pt x="148" y="430"/>
                  </a:lnTo>
                  <a:lnTo>
                    <a:pt x="147" y="429"/>
                  </a:lnTo>
                  <a:lnTo>
                    <a:pt x="146" y="428"/>
                  </a:lnTo>
                  <a:lnTo>
                    <a:pt x="144" y="425"/>
                  </a:lnTo>
                  <a:lnTo>
                    <a:pt x="143" y="424"/>
                  </a:lnTo>
                  <a:lnTo>
                    <a:pt x="142" y="422"/>
                  </a:lnTo>
                  <a:lnTo>
                    <a:pt x="140" y="421"/>
                  </a:lnTo>
                  <a:lnTo>
                    <a:pt x="139" y="420"/>
                  </a:lnTo>
                  <a:lnTo>
                    <a:pt x="139" y="419"/>
                  </a:lnTo>
                  <a:lnTo>
                    <a:pt x="138" y="419"/>
                  </a:lnTo>
                  <a:lnTo>
                    <a:pt x="137" y="418"/>
                  </a:lnTo>
                  <a:lnTo>
                    <a:pt x="136" y="418"/>
                  </a:lnTo>
                  <a:lnTo>
                    <a:pt x="136" y="418"/>
                  </a:lnTo>
                  <a:lnTo>
                    <a:pt x="134" y="417"/>
                  </a:lnTo>
                  <a:lnTo>
                    <a:pt x="131" y="416"/>
                  </a:lnTo>
                  <a:lnTo>
                    <a:pt x="129" y="415"/>
                  </a:lnTo>
                  <a:lnTo>
                    <a:pt x="128" y="414"/>
                  </a:lnTo>
                  <a:lnTo>
                    <a:pt x="126" y="414"/>
                  </a:lnTo>
                  <a:lnTo>
                    <a:pt x="125" y="414"/>
                  </a:lnTo>
                  <a:lnTo>
                    <a:pt x="125" y="413"/>
                  </a:lnTo>
                  <a:lnTo>
                    <a:pt x="121" y="410"/>
                  </a:lnTo>
                  <a:lnTo>
                    <a:pt x="120" y="410"/>
                  </a:lnTo>
                  <a:lnTo>
                    <a:pt x="119" y="409"/>
                  </a:lnTo>
                  <a:lnTo>
                    <a:pt x="118" y="408"/>
                  </a:lnTo>
                  <a:lnTo>
                    <a:pt x="117" y="407"/>
                  </a:lnTo>
                  <a:lnTo>
                    <a:pt x="116" y="405"/>
                  </a:lnTo>
                  <a:lnTo>
                    <a:pt x="111" y="401"/>
                  </a:lnTo>
                  <a:lnTo>
                    <a:pt x="110" y="399"/>
                  </a:lnTo>
                  <a:lnTo>
                    <a:pt x="108" y="398"/>
                  </a:lnTo>
                  <a:lnTo>
                    <a:pt x="107" y="396"/>
                  </a:lnTo>
                  <a:lnTo>
                    <a:pt x="105" y="395"/>
                  </a:lnTo>
                  <a:lnTo>
                    <a:pt x="104" y="394"/>
                  </a:lnTo>
                  <a:lnTo>
                    <a:pt x="103" y="393"/>
                  </a:lnTo>
                  <a:lnTo>
                    <a:pt x="101" y="392"/>
                  </a:lnTo>
                  <a:lnTo>
                    <a:pt x="100" y="391"/>
                  </a:lnTo>
                  <a:lnTo>
                    <a:pt x="99" y="390"/>
                  </a:lnTo>
                  <a:lnTo>
                    <a:pt x="97" y="390"/>
                  </a:lnTo>
                  <a:lnTo>
                    <a:pt x="96" y="389"/>
                  </a:lnTo>
                  <a:lnTo>
                    <a:pt x="94" y="389"/>
                  </a:lnTo>
                  <a:lnTo>
                    <a:pt x="88" y="387"/>
                  </a:lnTo>
                  <a:lnTo>
                    <a:pt x="86" y="386"/>
                  </a:lnTo>
                  <a:lnTo>
                    <a:pt x="85" y="386"/>
                  </a:lnTo>
                  <a:lnTo>
                    <a:pt x="84" y="385"/>
                  </a:lnTo>
                  <a:lnTo>
                    <a:pt x="83" y="385"/>
                  </a:lnTo>
                  <a:lnTo>
                    <a:pt x="82" y="384"/>
                  </a:lnTo>
                  <a:lnTo>
                    <a:pt x="82" y="384"/>
                  </a:lnTo>
                  <a:lnTo>
                    <a:pt x="81" y="383"/>
                  </a:lnTo>
                  <a:lnTo>
                    <a:pt x="81" y="383"/>
                  </a:lnTo>
                  <a:lnTo>
                    <a:pt x="81" y="382"/>
                  </a:lnTo>
                  <a:lnTo>
                    <a:pt x="80" y="380"/>
                  </a:lnTo>
                  <a:lnTo>
                    <a:pt x="80" y="379"/>
                  </a:lnTo>
                  <a:lnTo>
                    <a:pt x="80" y="376"/>
                  </a:lnTo>
                  <a:lnTo>
                    <a:pt x="79" y="375"/>
                  </a:lnTo>
                  <a:lnTo>
                    <a:pt x="79" y="374"/>
                  </a:lnTo>
                  <a:lnTo>
                    <a:pt x="79" y="373"/>
                  </a:lnTo>
                  <a:lnTo>
                    <a:pt x="78" y="371"/>
                  </a:lnTo>
                  <a:lnTo>
                    <a:pt x="76" y="366"/>
                  </a:lnTo>
                  <a:lnTo>
                    <a:pt x="75" y="365"/>
                  </a:lnTo>
                  <a:lnTo>
                    <a:pt x="75" y="364"/>
                  </a:lnTo>
                  <a:lnTo>
                    <a:pt x="74" y="362"/>
                  </a:lnTo>
                  <a:lnTo>
                    <a:pt x="73" y="362"/>
                  </a:lnTo>
                  <a:lnTo>
                    <a:pt x="73" y="361"/>
                  </a:lnTo>
                  <a:lnTo>
                    <a:pt x="72" y="361"/>
                  </a:lnTo>
                  <a:lnTo>
                    <a:pt x="72" y="360"/>
                  </a:lnTo>
                  <a:lnTo>
                    <a:pt x="70" y="359"/>
                  </a:lnTo>
                  <a:lnTo>
                    <a:pt x="69" y="358"/>
                  </a:lnTo>
                  <a:lnTo>
                    <a:pt x="68" y="357"/>
                  </a:lnTo>
                  <a:lnTo>
                    <a:pt x="68" y="357"/>
                  </a:lnTo>
                  <a:lnTo>
                    <a:pt x="67" y="356"/>
                  </a:lnTo>
                  <a:lnTo>
                    <a:pt x="67" y="355"/>
                  </a:lnTo>
                  <a:lnTo>
                    <a:pt x="66" y="355"/>
                  </a:lnTo>
                  <a:lnTo>
                    <a:pt x="66" y="353"/>
                  </a:lnTo>
                  <a:lnTo>
                    <a:pt x="65" y="352"/>
                  </a:lnTo>
                  <a:lnTo>
                    <a:pt x="65" y="351"/>
                  </a:lnTo>
                  <a:lnTo>
                    <a:pt x="63" y="347"/>
                  </a:lnTo>
                  <a:lnTo>
                    <a:pt x="62" y="343"/>
                  </a:lnTo>
                  <a:lnTo>
                    <a:pt x="61" y="341"/>
                  </a:lnTo>
                  <a:lnTo>
                    <a:pt x="60" y="340"/>
                  </a:lnTo>
                  <a:lnTo>
                    <a:pt x="60" y="339"/>
                  </a:lnTo>
                  <a:lnTo>
                    <a:pt x="59" y="338"/>
                  </a:lnTo>
                  <a:lnTo>
                    <a:pt x="58" y="337"/>
                  </a:lnTo>
                  <a:lnTo>
                    <a:pt x="58" y="336"/>
                  </a:lnTo>
                  <a:lnTo>
                    <a:pt x="57" y="336"/>
                  </a:lnTo>
                  <a:lnTo>
                    <a:pt x="57" y="336"/>
                  </a:lnTo>
                  <a:lnTo>
                    <a:pt x="56" y="336"/>
                  </a:lnTo>
                  <a:lnTo>
                    <a:pt x="55" y="336"/>
                  </a:lnTo>
                  <a:lnTo>
                    <a:pt x="52" y="336"/>
                  </a:lnTo>
                  <a:lnTo>
                    <a:pt x="51" y="336"/>
                  </a:lnTo>
                  <a:lnTo>
                    <a:pt x="49" y="336"/>
                  </a:lnTo>
                  <a:lnTo>
                    <a:pt x="46" y="336"/>
                  </a:lnTo>
                  <a:lnTo>
                    <a:pt x="45" y="336"/>
                  </a:lnTo>
                  <a:lnTo>
                    <a:pt x="44" y="336"/>
                  </a:lnTo>
                  <a:lnTo>
                    <a:pt x="43" y="336"/>
                  </a:lnTo>
                  <a:lnTo>
                    <a:pt x="42" y="335"/>
                  </a:lnTo>
                  <a:lnTo>
                    <a:pt x="41" y="335"/>
                  </a:lnTo>
                  <a:lnTo>
                    <a:pt x="40" y="335"/>
                  </a:lnTo>
                  <a:lnTo>
                    <a:pt x="40" y="334"/>
                  </a:lnTo>
                  <a:lnTo>
                    <a:pt x="39" y="334"/>
                  </a:lnTo>
                  <a:lnTo>
                    <a:pt x="38" y="333"/>
                  </a:lnTo>
                  <a:lnTo>
                    <a:pt x="35" y="330"/>
                  </a:lnTo>
                  <a:lnTo>
                    <a:pt x="34" y="329"/>
                  </a:lnTo>
                  <a:lnTo>
                    <a:pt x="34" y="328"/>
                  </a:lnTo>
                  <a:lnTo>
                    <a:pt x="33" y="326"/>
                  </a:lnTo>
                  <a:lnTo>
                    <a:pt x="32" y="324"/>
                  </a:lnTo>
                  <a:lnTo>
                    <a:pt x="30" y="321"/>
                  </a:lnTo>
                  <a:lnTo>
                    <a:pt x="29" y="318"/>
                  </a:lnTo>
                  <a:lnTo>
                    <a:pt x="28" y="315"/>
                  </a:lnTo>
                  <a:lnTo>
                    <a:pt x="26" y="311"/>
                  </a:lnTo>
                  <a:lnTo>
                    <a:pt x="25" y="308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2" y="306"/>
                  </a:lnTo>
                  <a:lnTo>
                    <a:pt x="20" y="306"/>
                  </a:lnTo>
                  <a:lnTo>
                    <a:pt x="20" y="306"/>
                  </a:lnTo>
                  <a:lnTo>
                    <a:pt x="19" y="305"/>
                  </a:lnTo>
                  <a:lnTo>
                    <a:pt x="18" y="305"/>
                  </a:lnTo>
                  <a:lnTo>
                    <a:pt x="17" y="304"/>
                  </a:lnTo>
                  <a:lnTo>
                    <a:pt x="16" y="303"/>
                  </a:lnTo>
                  <a:lnTo>
                    <a:pt x="16" y="302"/>
                  </a:lnTo>
                  <a:lnTo>
                    <a:pt x="14" y="300"/>
                  </a:lnTo>
                  <a:lnTo>
                    <a:pt x="13" y="299"/>
                  </a:lnTo>
                  <a:lnTo>
                    <a:pt x="13" y="299"/>
                  </a:lnTo>
                  <a:lnTo>
                    <a:pt x="12" y="298"/>
                  </a:lnTo>
                  <a:lnTo>
                    <a:pt x="12" y="297"/>
                  </a:lnTo>
                  <a:lnTo>
                    <a:pt x="11" y="297"/>
                  </a:lnTo>
                  <a:lnTo>
                    <a:pt x="10" y="296"/>
                  </a:lnTo>
                  <a:lnTo>
                    <a:pt x="9" y="296"/>
                  </a:lnTo>
                  <a:lnTo>
                    <a:pt x="9" y="296"/>
                  </a:lnTo>
                  <a:lnTo>
                    <a:pt x="8" y="296"/>
                  </a:lnTo>
                  <a:lnTo>
                    <a:pt x="7" y="295"/>
                  </a:lnTo>
                  <a:lnTo>
                    <a:pt x="5" y="295"/>
                  </a:lnTo>
                  <a:lnTo>
                    <a:pt x="4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2" y="295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1" y="290"/>
                  </a:lnTo>
                  <a:lnTo>
                    <a:pt x="0" y="289"/>
                  </a:lnTo>
                  <a:lnTo>
                    <a:pt x="0" y="288"/>
                  </a:lnTo>
                  <a:lnTo>
                    <a:pt x="0" y="287"/>
                  </a:lnTo>
                  <a:lnTo>
                    <a:pt x="0" y="286"/>
                  </a:lnTo>
                  <a:lnTo>
                    <a:pt x="0" y="285"/>
                  </a:lnTo>
                  <a:lnTo>
                    <a:pt x="0" y="284"/>
                  </a:lnTo>
                  <a:lnTo>
                    <a:pt x="0" y="282"/>
                  </a:lnTo>
                  <a:lnTo>
                    <a:pt x="0" y="281"/>
                  </a:lnTo>
                  <a:lnTo>
                    <a:pt x="0" y="279"/>
                  </a:lnTo>
                  <a:lnTo>
                    <a:pt x="0" y="278"/>
                  </a:lnTo>
                  <a:lnTo>
                    <a:pt x="1" y="276"/>
                  </a:lnTo>
                  <a:lnTo>
                    <a:pt x="1" y="274"/>
                  </a:lnTo>
                  <a:lnTo>
                    <a:pt x="2" y="272"/>
                  </a:lnTo>
                  <a:lnTo>
                    <a:pt x="2" y="271"/>
                  </a:lnTo>
                  <a:lnTo>
                    <a:pt x="2" y="270"/>
                  </a:lnTo>
                  <a:lnTo>
                    <a:pt x="3" y="269"/>
                  </a:lnTo>
                  <a:lnTo>
                    <a:pt x="4" y="266"/>
                  </a:lnTo>
                  <a:lnTo>
                    <a:pt x="5" y="264"/>
                  </a:lnTo>
                  <a:lnTo>
                    <a:pt x="6" y="263"/>
                  </a:lnTo>
                  <a:lnTo>
                    <a:pt x="7" y="262"/>
                  </a:lnTo>
                  <a:lnTo>
                    <a:pt x="8" y="261"/>
                  </a:lnTo>
                  <a:lnTo>
                    <a:pt x="8" y="261"/>
                  </a:lnTo>
                  <a:lnTo>
                    <a:pt x="9" y="260"/>
                  </a:lnTo>
                  <a:lnTo>
                    <a:pt x="9" y="260"/>
                  </a:lnTo>
                  <a:lnTo>
                    <a:pt x="10" y="259"/>
                  </a:lnTo>
                  <a:lnTo>
                    <a:pt x="11" y="259"/>
                  </a:lnTo>
                  <a:lnTo>
                    <a:pt x="13" y="258"/>
                  </a:lnTo>
                  <a:lnTo>
                    <a:pt x="14" y="258"/>
                  </a:lnTo>
                  <a:lnTo>
                    <a:pt x="14" y="257"/>
                  </a:lnTo>
                  <a:lnTo>
                    <a:pt x="15" y="256"/>
                  </a:lnTo>
                  <a:lnTo>
                    <a:pt x="16" y="256"/>
                  </a:lnTo>
                  <a:lnTo>
                    <a:pt x="17" y="255"/>
                  </a:lnTo>
                  <a:lnTo>
                    <a:pt x="17" y="255"/>
                  </a:lnTo>
                  <a:lnTo>
                    <a:pt x="17" y="254"/>
                  </a:lnTo>
                  <a:lnTo>
                    <a:pt x="18" y="253"/>
                  </a:lnTo>
                  <a:lnTo>
                    <a:pt x="18" y="253"/>
                  </a:lnTo>
                  <a:lnTo>
                    <a:pt x="18" y="252"/>
                  </a:lnTo>
                  <a:lnTo>
                    <a:pt x="18" y="251"/>
                  </a:lnTo>
                  <a:lnTo>
                    <a:pt x="18" y="250"/>
                  </a:lnTo>
                  <a:lnTo>
                    <a:pt x="18" y="249"/>
                  </a:lnTo>
                  <a:lnTo>
                    <a:pt x="18" y="248"/>
                  </a:lnTo>
                  <a:lnTo>
                    <a:pt x="18" y="246"/>
                  </a:lnTo>
                  <a:lnTo>
                    <a:pt x="17" y="242"/>
                  </a:lnTo>
                  <a:lnTo>
                    <a:pt x="17" y="241"/>
                  </a:lnTo>
                  <a:lnTo>
                    <a:pt x="17" y="239"/>
                  </a:lnTo>
                  <a:lnTo>
                    <a:pt x="15" y="237"/>
                  </a:lnTo>
                  <a:lnTo>
                    <a:pt x="15" y="235"/>
                  </a:lnTo>
                  <a:lnTo>
                    <a:pt x="15" y="234"/>
                  </a:lnTo>
                  <a:lnTo>
                    <a:pt x="15" y="233"/>
                  </a:lnTo>
                  <a:lnTo>
                    <a:pt x="15" y="233"/>
                  </a:lnTo>
                  <a:lnTo>
                    <a:pt x="15" y="232"/>
                  </a:lnTo>
                  <a:lnTo>
                    <a:pt x="16" y="229"/>
                  </a:lnTo>
                  <a:lnTo>
                    <a:pt x="16" y="228"/>
                  </a:lnTo>
                  <a:lnTo>
                    <a:pt x="16" y="226"/>
                  </a:lnTo>
                  <a:lnTo>
                    <a:pt x="16" y="223"/>
                  </a:lnTo>
                  <a:lnTo>
                    <a:pt x="17" y="221"/>
                  </a:lnTo>
                  <a:lnTo>
                    <a:pt x="17" y="219"/>
                  </a:lnTo>
                  <a:lnTo>
                    <a:pt x="18" y="215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9" y="214"/>
                  </a:lnTo>
                  <a:lnTo>
                    <a:pt x="19" y="214"/>
                  </a:lnTo>
                  <a:lnTo>
                    <a:pt x="20" y="214"/>
                  </a:lnTo>
                  <a:lnTo>
                    <a:pt x="21" y="214"/>
                  </a:lnTo>
                  <a:lnTo>
                    <a:pt x="24" y="214"/>
                  </a:lnTo>
                  <a:lnTo>
                    <a:pt x="25" y="215"/>
                  </a:lnTo>
                  <a:lnTo>
                    <a:pt x="26" y="215"/>
                  </a:lnTo>
                  <a:lnTo>
                    <a:pt x="27" y="215"/>
                  </a:lnTo>
                  <a:lnTo>
                    <a:pt x="28" y="215"/>
                  </a:lnTo>
                  <a:lnTo>
                    <a:pt x="29" y="214"/>
                  </a:lnTo>
                  <a:lnTo>
                    <a:pt x="29" y="214"/>
                  </a:lnTo>
                  <a:lnTo>
                    <a:pt x="30" y="214"/>
                  </a:lnTo>
                  <a:lnTo>
                    <a:pt x="31" y="214"/>
                  </a:lnTo>
                  <a:lnTo>
                    <a:pt x="32" y="213"/>
                  </a:lnTo>
                  <a:lnTo>
                    <a:pt x="33" y="212"/>
                  </a:lnTo>
                  <a:lnTo>
                    <a:pt x="35" y="211"/>
                  </a:lnTo>
                  <a:lnTo>
                    <a:pt x="38" y="209"/>
                  </a:lnTo>
                  <a:lnTo>
                    <a:pt x="38" y="208"/>
                  </a:lnTo>
                  <a:lnTo>
                    <a:pt x="40" y="208"/>
                  </a:lnTo>
                  <a:lnTo>
                    <a:pt x="41" y="207"/>
                  </a:lnTo>
                  <a:lnTo>
                    <a:pt x="44" y="206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6" y="205"/>
                  </a:lnTo>
                  <a:lnTo>
                    <a:pt x="46" y="204"/>
                  </a:lnTo>
                  <a:lnTo>
                    <a:pt x="47" y="201"/>
                  </a:lnTo>
                  <a:lnTo>
                    <a:pt x="48" y="198"/>
                  </a:lnTo>
                  <a:lnTo>
                    <a:pt x="48" y="197"/>
                  </a:lnTo>
                  <a:lnTo>
                    <a:pt x="49" y="196"/>
                  </a:lnTo>
                  <a:lnTo>
                    <a:pt x="49" y="195"/>
                  </a:lnTo>
                  <a:lnTo>
                    <a:pt x="50" y="194"/>
                  </a:lnTo>
                  <a:lnTo>
                    <a:pt x="51" y="193"/>
                  </a:lnTo>
                  <a:lnTo>
                    <a:pt x="52" y="192"/>
                  </a:lnTo>
                  <a:lnTo>
                    <a:pt x="53" y="191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3" y="189"/>
                  </a:lnTo>
                  <a:lnTo>
                    <a:pt x="53" y="188"/>
                  </a:lnTo>
                  <a:lnTo>
                    <a:pt x="53" y="187"/>
                  </a:lnTo>
                  <a:lnTo>
                    <a:pt x="53" y="186"/>
                  </a:lnTo>
                  <a:lnTo>
                    <a:pt x="52" y="185"/>
                  </a:lnTo>
                  <a:lnTo>
                    <a:pt x="52" y="185"/>
                  </a:lnTo>
                  <a:lnTo>
                    <a:pt x="52" y="184"/>
                  </a:lnTo>
                  <a:lnTo>
                    <a:pt x="50" y="182"/>
                  </a:lnTo>
                  <a:lnTo>
                    <a:pt x="50" y="181"/>
                  </a:lnTo>
                  <a:lnTo>
                    <a:pt x="49" y="179"/>
                  </a:lnTo>
                  <a:lnTo>
                    <a:pt x="48" y="178"/>
                  </a:lnTo>
                  <a:lnTo>
                    <a:pt x="48" y="177"/>
                  </a:lnTo>
                  <a:lnTo>
                    <a:pt x="48" y="176"/>
                  </a:lnTo>
                  <a:lnTo>
                    <a:pt x="48" y="176"/>
                  </a:lnTo>
                  <a:lnTo>
                    <a:pt x="48" y="175"/>
                  </a:lnTo>
                  <a:lnTo>
                    <a:pt x="48" y="174"/>
                  </a:lnTo>
                  <a:lnTo>
                    <a:pt x="49" y="174"/>
                  </a:lnTo>
                  <a:lnTo>
                    <a:pt x="49" y="173"/>
                  </a:lnTo>
                  <a:lnTo>
                    <a:pt x="49" y="172"/>
                  </a:lnTo>
                  <a:lnTo>
                    <a:pt x="50" y="172"/>
                  </a:lnTo>
                  <a:lnTo>
                    <a:pt x="51" y="171"/>
                  </a:lnTo>
                  <a:lnTo>
                    <a:pt x="52" y="169"/>
                  </a:lnTo>
                  <a:lnTo>
                    <a:pt x="53" y="169"/>
                  </a:lnTo>
                  <a:lnTo>
                    <a:pt x="53" y="168"/>
                  </a:lnTo>
                  <a:lnTo>
                    <a:pt x="55" y="168"/>
                  </a:lnTo>
                  <a:lnTo>
                    <a:pt x="55" y="167"/>
                  </a:lnTo>
                  <a:lnTo>
                    <a:pt x="56" y="167"/>
                  </a:lnTo>
                  <a:lnTo>
                    <a:pt x="56" y="167"/>
                  </a:lnTo>
                  <a:lnTo>
                    <a:pt x="56" y="166"/>
                  </a:lnTo>
                  <a:lnTo>
                    <a:pt x="57" y="166"/>
                  </a:lnTo>
                  <a:lnTo>
                    <a:pt x="57" y="165"/>
                  </a:lnTo>
                  <a:lnTo>
                    <a:pt x="57" y="164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2"/>
                  </a:lnTo>
                  <a:lnTo>
                    <a:pt x="55" y="161"/>
                  </a:lnTo>
                  <a:lnTo>
                    <a:pt x="54" y="161"/>
                  </a:lnTo>
                  <a:lnTo>
                    <a:pt x="54" y="160"/>
                  </a:lnTo>
                  <a:lnTo>
                    <a:pt x="53" y="159"/>
                  </a:lnTo>
                  <a:lnTo>
                    <a:pt x="53" y="159"/>
                  </a:lnTo>
                  <a:lnTo>
                    <a:pt x="53" y="158"/>
                  </a:lnTo>
                  <a:lnTo>
                    <a:pt x="52" y="158"/>
                  </a:lnTo>
                  <a:lnTo>
                    <a:pt x="52" y="157"/>
                  </a:lnTo>
                  <a:lnTo>
                    <a:pt x="52" y="156"/>
                  </a:lnTo>
                  <a:lnTo>
                    <a:pt x="52" y="156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2" y="154"/>
                  </a:lnTo>
                  <a:lnTo>
                    <a:pt x="52" y="154"/>
                  </a:lnTo>
                  <a:lnTo>
                    <a:pt x="53" y="154"/>
                  </a:lnTo>
                  <a:lnTo>
                    <a:pt x="53" y="153"/>
                  </a:lnTo>
                  <a:lnTo>
                    <a:pt x="53" y="153"/>
                  </a:lnTo>
                  <a:lnTo>
                    <a:pt x="54" y="153"/>
                  </a:lnTo>
                  <a:lnTo>
                    <a:pt x="56" y="152"/>
                  </a:lnTo>
                  <a:lnTo>
                    <a:pt x="56" y="151"/>
                  </a:lnTo>
                  <a:lnTo>
                    <a:pt x="57" y="151"/>
                  </a:lnTo>
                  <a:lnTo>
                    <a:pt x="57" y="151"/>
                  </a:lnTo>
                  <a:lnTo>
                    <a:pt x="57" y="150"/>
                  </a:lnTo>
                  <a:lnTo>
                    <a:pt x="58" y="150"/>
                  </a:lnTo>
                  <a:lnTo>
                    <a:pt x="58" y="149"/>
                  </a:lnTo>
                  <a:lnTo>
                    <a:pt x="58" y="149"/>
                  </a:lnTo>
                  <a:lnTo>
                    <a:pt x="59" y="148"/>
                  </a:lnTo>
                  <a:lnTo>
                    <a:pt x="59" y="147"/>
                  </a:lnTo>
                  <a:lnTo>
                    <a:pt x="59" y="147"/>
                  </a:lnTo>
                  <a:lnTo>
                    <a:pt x="59" y="146"/>
                  </a:lnTo>
                  <a:lnTo>
                    <a:pt x="58" y="145"/>
                  </a:lnTo>
                  <a:lnTo>
                    <a:pt x="58" y="144"/>
                  </a:lnTo>
                  <a:lnTo>
                    <a:pt x="58" y="143"/>
                  </a:lnTo>
                  <a:lnTo>
                    <a:pt x="58" y="142"/>
                  </a:lnTo>
                  <a:lnTo>
                    <a:pt x="59" y="141"/>
                  </a:lnTo>
                  <a:lnTo>
                    <a:pt x="59" y="140"/>
                  </a:lnTo>
                  <a:lnTo>
                    <a:pt x="59" y="139"/>
                  </a:lnTo>
                  <a:lnTo>
                    <a:pt x="59" y="139"/>
                  </a:lnTo>
                  <a:lnTo>
                    <a:pt x="60" y="138"/>
                  </a:lnTo>
                  <a:lnTo>
                    <a:pt x="62" y="136"/>
                  </a:lnTo>
                  <a:lnTo>
                    <a:pt x="62" y="135"/>
                  </a:lnTo>
                  <a:lnTo>
                    <a:pt x="64" y="135"/>
                  </a:lnTo>
                  <a:lnTo>
                    <a:pt x="66" y="133"/>
                  </a:lnTo>
                  <a:lnTo>
                    <a:pt x="69" y="131"/>
                  </a:lnTo>
                  <a:lnTo>
                    <a:pt x="69" y="130"/>
                  </a:lnTo>
                  <a:lnTo>
                    <a:pt x="70" y="130"/>
                  </a:lnTo>
                  <a:lnTo>
                    <a:pt x="70" y="129"/>
                  </a:lnTo>
                  <a:lnTo>
                    <a:pt x="71" y="128"/>
                  </a:lnTo>
                  <a:lnTo>
                    <a:pt x="71" y="126"/>
                  </a:lnTo>
                  <a:lnTo>
                    <a:pt x="72" y="124"/>
                  </a:lnTo>
                  <a:lnTo>
                    <a:pt x="73" y="122"/>
                  </a:lnTo>
                  <a:lnTo>
                    <a:pt x="74" y="121"/>
                  </a:lnTo>
                  <a:lnTo>
                    <a:pt x="75" y="119"/>
                  </a:lnTo>
                  <a:lnTo>
                    <a:pt x="76" y="118"/>
                  </a:lnTo>
                  <a:lnTo>
                    <a:pt x="76" y="117"/>
                  </a:lnTo>
                  <a:lnTo>
                    <a:pt x="76" y="116"/>
                  </a:lnTo>
                  <a:lnTo>
                    <a:pt x="77" y="114"/>
                  </a:lnTo>
                  <a:lnTo>
                    <a:pt x="77" y="113"/>
                  </a:lnTo>
                  <a:lnTo>
                    <a:pt x="77" y="112"/>
                  </a:lnTo>
                  <a:lnTo>
                    <a:pt x="77" y="111"/>
                  </a:lnTo>
                  <a:lnTo>
                    <a:pt x="77" y="110"/>
                  </a:lnTo>
                  <a:lnTo>
                    <a:pt x="76" y="110"/>
                  </a:lnTo>
                  <a:lnTo>
                    <a:pt x="76" y="109"/>
                  </a:lnTo>
                  <a:lnTo>
                    <a:pt x="74" y="107"/>
                  </a:lnTo>
                  <a:lnTo>
                    <a:pt x="74" y="106"/>
                  </a:lnTo>
                  <a:lnTo>
                    <a:pt x="73" y="105"/>
                  </a:lnTo>
                  <a:lnTo>
                    <a:pt x="71" y="102"/>
                  </a:lnTo>
                  <a:lnTo>
                    <a:pt x="71" y="101"/>
                  </a:lnTo>
                  <a:lnTo>
                    <a:pt x="71" y="99"/>
                  </a:lnTo>
                  <a:lnTo>
                    <a:pt x="70" y="98"/>
                  </a:lnTo>
                  <a:lnTo>
                    <a:pt x="70" y="96"/>
                  </a:lnTo>
                  <a:lnTo>
                    <a:pt x="70" y="95"/>
                  </a:lnTo>
                  <a:lnTo>
                    <a:pt x="70" y="93"/>
                  </a:lnTo>
                  <a:lnTo>
                    <a:pt x="71" y="90"/>
                  </a:lnTo>
                  <a:lnTo>
                    <a:pt x="71" y="89"/>
                  </a:lnTo>
                  <a:lnTo>
                    <a:pt x="71" y="88"/>
                  </a:lnTo>
                  <a:lnTo>
                    <a:pt x="72" y="87"/>
                  </a:lnTo>
                  <a:lnTo>
                    <a:pt x="72" y="86"/>
                  </a:lnTo>
                  <a:lnTo>
                    <a:pt x="73" y="84"/>
                  </a:lnTo>
                  <a:lnTo>
                    <a:pt x="75" y="81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5" y="79"/>
                  </a:lnTo>
                  <a:lnTo>
                    <a:pt x="75" y="78"/>
                  </a:lnTo>
                  <a:lnTo>
                    <a:pt x="75" y="77"/>
                  </a:lnTo>
                  <a:lnTo>
                    <a:pt x="74" y="75"/>
                  </a:lnTo>
                  <a:lnTo>
                    <a:pt x="73" y="73"/>
                  </a:lnTo>
                  <a:lnTo>
                    <a:pt x="72" y="72"/>
                  </a:lnTo>
                  <a:lnTo>
                    <a:pt x="72" y="71"/>
                  </a:lnTo>
                  <a:lnTo>
                    <a:pt x="71" y="68"/>
                  </a:lnTo>
                  <a:lnTo>
                    <a:pt x="71" y="67"/>
                  </a:lnTo>
                  <a:lnTo>
                    <a:pt x="71" y="63"/>
                  </a:lnTo>
                  <a:lnTo>
                    <a:pt x="71" y="62"/>
                  </a:lnTo>
                  <a:lnTo>
                    <a:pt x="71" y="61"/>
                  </a:lnTo>
                  <a:lnTo>
                    <a:pt x="71" y="59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69" y="57"/>
                  </a:lnTo>
                  <a:lnTo>
                    <a:pt x="68" y="56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4"/>
                  </a:lnTo>
                  <a:lnTo>
                    <a:pt x="68" y="54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68" y="52"/>
                  </a:lnTo>
                  <a:lnTo>
                    <a:pt x="69" y="47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70" y="45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4" y="44"/>
                  </a:lnTo>
                  <a:lnTo>
                    <a:pt x="76" y="44"/>
                  </a:lnTo>
                  <a:lnTo>
                    <a:pt x="77" y="44"/>
                  </a:lnTo>
                  <a:lnTo>
                    <a:pt x="80" y="43"/>
                  </a:lnTo>
                  <a:lnTo>
                    <a:pt x="83" y="42"/>
                  </a:lnTo>
                  <a:lnTo>
                    <a:pt x="85" y="41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90" y="40"/>
                  </a:lnTo>
                  <a:lnTo>
                    <a:pt x="90" y="41"/>
                  </a:lnTo>
                  <a:lnTo>
                    <a:pt x="92" y="43"/>
                  </a:lnTo>
                  <a:lnTo>
                    <a:pt x="93" y="43"/>
                  </a:lnTo>
                  <a:lnTo>
                    <a:pt x="93" y="43"/>
                  </a:lnTo>
                  <a:lnTo>
                    <a:pt x="94" y="43"/>
                  </a:lnTo>
                  <a:lnTo>
                    <a:pt x="95" y="44"/>
                  </a:lnTo>
                  <a:lnTo>
                    <a:pt x="95" y="44"/>
                  </a:lnTo>
                  <a:lnTo>
                    <a:pt x="96" y="44"/>
                  </a:lnTo>
                  <a:lnTo>
                    <a:pt x="96" y="43"/>
                  </a:lnTo>
                  <a:lnTo>
                    <a:pt x="97" y="43"/>
                  </a:lnTo>
                  <a:lnTo>
                    <a:pt x="98" y="43"/>
                  </a:lnTo>
                  <a:lnTo>
                    <a:pt x="100" y="41"/>
                  </a:lnTo>
                  <a:lnTo>
                    <a:pt x="101" y="41"/>
                  </a:lnTo>
                  <a:lnTo>
                    <a:pt x="102" y="41"/>
                  </a:lnTo>
                  <a:lnTo>
                    <a:pt x="103" y="41"/>
                  </a:lnTo>
                  <a:lnTo>
                    <a:pt x="104" y="41"/>
                  </a:lnTo>
                  <a:lnTo>
                    <a:pt x="104" y="41"/>
                  </a:lnTo>
                  <a:lnTo>
                    <a:pt x="105" y="41"/>
                  </a:lnTo>
                  <a:lnTo>
                    <a:pt x="105" y="42"/>
                  </a:lnTo>
                  <a:lnTo>
                    <a:pt x="108" y="43"/>
                  </a:lnTo>
                  <a:lnTo>
                    <a:pt x="108" y="44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1" y="45"/>
                  </a:lnTo>
                  <a:lnTo>
                    <a:pt x="111" y="46"/>
                  </a:lnTo>
                  <a:lnTo>
                    <a:pt x="112" y="46"/>
                  </a:lnTo>
                  <a:lnTo>
                    <a:pt x="112" y="47"/>
                  </a:lnTo>
                  <a:lnTo>
                    <a:pt x="113" y="47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6" y="48"/>
                  </a:lnTo>
                  <a:lnTo>
                    <a:pt x="117" y="49"/>
                  </a:lnTo>
                  <a:lnTo>
                    <a:pt x="118" y="49"/>
                  </a:lnTo>
                  <a:lnTo>
                    <a:pt x="119" y="49"/>
                  </a:lnTo>
                  <a:lnTo>
                    <a:pt x="120" y="49"/>
                  </a:lnTo>
                  <a:lnTo>
                    <a:pt x="121" y="49"/>
                  </a:lnTo>
                  <a:lnTo>
                    <a:pt x="122" y="48"/>
                  </a:lnTo>
                  <a:lnTo>
                    <a:pt x="123" y="48"/>
                  </a:lnTo>
                  <a:lnTo>
                    <a:pt x="123" y="47"/>
                  </a:lnTo>
                  <a:lnTo>
                    <a:pt x="125" y="46"/>
                  </a:lnTo>
                  <a:lnTo>
                    <a:pt x="126" y="46"/>
                  </a:lnTo>
                  <a:lnTo>
                    <a:pt x="127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32" y="44"/>
                  </a:lnTo>
                  <a:lnTo>
                    <a:pt x="133" y="44"/>
                  </a:lnTo>
                  <a:lnTo>
                    <a:pt x="134" y="44"/>
                  </a:lnTo>
                  <a:lnTo>
                    <a:pt x="134" y="44"/>
                  </a:lnTo>
                  <a:lnTo>
                    <a:pt x="135" y="43"/>
                  </a:lnTo>
                  <a:lnTo>
                    <a:pt x="136" y="43"/>
                  </a:lnTo>
                  <a:lnTo>
                    <a:pt x="138" y="41"/>
                  </a:lnTo>
                  <a:lnTo>
                    <a:pt x="139" y="41"/>
                  </a:lnTo>
                  <a:lnTo>
                    <a:pt x="139" y="41"/>
                  </a:lnTo>
                  <a:lnTo>
                    <a:pt x="141" y="40"/>
                  </a:lnTo>
                  <a:lnTo>
                    <a:pt x="141" y="40"/>
                  </a:lnTo>
                  <a:lnTo>
                    <a:pt x="142" y="40"/>
                  </a:lnTo>
                  <a:lnTo>
                    <a:pt x="142" y="39"/>
                  </a:lnTo>
                  <a:lnTo>
                    <a:pt x="143" y="39"/>
                  </a:lnTo>
                  <a:lnTo>
                    <a:pt x="143" y="38"/>
                  </a:lnTo>
                  <a:lnTo>
                    <a:pt x="144" y="37"/>
                  </a:lnTo>
                  <a:lnTo>
                    <a:pt x="144" y="36"/>
                  </a:lnTo>
                  <a:lnTo>
                    <a:pt x="145" y="35"/>
                  </a:lnTo>
                  <a:lnTo>
                    <a:pt x="146" y="33"/>
                  </a:lnTo>
                  <a:lnTo>
                    <a:pt x="147" y="31"/>
                  </a:lnTo>
                  <a:lnTo>
                    <a:pt x="147" y="30"/>
                  </a:lnTo>
                  <a:lnTo>
                    <a:pt x="147" y="30"/>
                  </a:lnTo>
                  <a:lnTo>
                    <a:pt x="148" y="29"/>
                  </a:lnTo>
                  <a:lnTo>
                    <a:pt x="148" y="29"/>
                  </a:lnTo>
                  <a:lnTo>
                    <a:pt x="149" y="28"/>
                  </a:lnTo>
                  <a:lnTo>
                    <a:pt x="150" y="28"/>
                  </a:lnTo>
                  <a:lnTo>
                    <a:pt x="153" y="26"/>
                  </a:lnTo>
                  <a:lnTo>
                    <a:pt x="156" y="25"/>
                  </a:lnTo>
                  <a:lnTo>
                    <a:pt x="157" y="24"/>
                  </a:lnTo>
                  <a:lnTo>
                    <a:pt x="158" y="24"/>
                  </a:lnTo>
                  <a:lnTo>
                    <a:pt x="160" y="23"/>
                  </a:lnTo>
                  <a:lnTo>
                    <a:pt x="162" y="23"/>
                  </a:lnTo>
                  <a:lnTo>
                    <a:pt x="162" y="23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Freeform 47">
              <a:extLst>
                <a:ext uri="{FF2B5EF4-FFF2-40B4-BE49-F238E27FC236}">
                  <a16:creationId xmlns:a16="http://schemas.microsoft.com/office/drawing/2014/main" id="{14C94EAA-88AD-D5CB-1403-69C1DDF9F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0" y="3533"/>
              <a:ext cx="462" cy="417"/>
            </a:xfrm>
            <a:custGeom>
              <a:avLst/>
              <a:gdLst>
                <a:gd name="T0" fmla="*/ 4 w 462"/>
                <a:gd name="T1" fmla="*/ 37 h 417"/>
                <a:gd name="T2" fmla="*/ 26 w 462"/>
                <a:gd name="T3" fmla="*/ 36 h 417"/>
                <a:gd name="T4" fmla="*/ 49 w 462"/>
                <a:gd name="T5" fmla="*/ 26 h 417"/>
                <a:gd name="T6" fmla="*/ 68 w 462"/>
                <a:gd name="T7" fmla="*/ 26 h 417"/>
                <a:gd name="T8" fmla="*/ 80 w 462"/>
                <a:gd name="T9" fmla="*/ 37 h 417"/>
                <a:gd name="T10" fmla="*/ 96 w 462"/>
                <a:gd name="T11" fmla="*/ 35 h 417"/>
                <a:gd name="T12" fmla="*/ 103 w 462"/>
                <a:gd name="T13" fmla="*/ 28 h 417"/>
                <a:gd name="T14" fmla="*/ 121 w 462"/>
                <a:gd name="T15" fmla="*/ 36 h 417"/>
                <a:gd name="T16" fmla="*/ 137 w 462"/>
                <a:gd name="T17" fmla="*/ 36 h 417"/>
                <a:gd name="T18" fmla="*/ 157 w 462"/>
                <a:gd name="T19" fmla="*/ 36 h 417"/>
                <a:gd name="T20" fmla="*/ 167 w 462"/>
                <a:gd name="T21" fmla="*/ 45 h 417"/>
                <a:gd name="T22" fmla="*/ 180 w 462"/>
                <a:gd name="T23" fmla="*/ 43 h 417"/>
                <a:gd name="T24" fmla="*/ 201 w 462"/>
                <a:gd name="T25" fmla="*/ 29 h 417"/>
                <a:gd name="T26" fmla="*/ 201 w 462"/>
                <a:gd name="T27" fmla="*/ 10 h 417"/>
                <a:gd name="T28" fmla="*/ 213 w 462"/>
                <a:gd name="T29" fmla="*/ 1 h 417"/>
                <a:gd name="T30" fmla="*/ 235 w 462"/>
                <a:gd name="T31" fmla="*/ 15 h 417"/>
                <a:gd name="T32" fmla="*/ 245 w 462"/>
                <a:gd name="T33" fmla="*/ 18 h 417"/>
                <a:gd name="T34" fmla="*/ 259 w 462"/>
                <a:gd name="T35" fmla="*/ 31 h 417"/>
                <a:gd name="T36" fmla="*/ 260 w 462"/>
                <a:gd name="T37" fmla="*/ 42 h 417"/>
                <a:gd name="T38" fmla="*/ 258 w 462"/>
                <a:gd name="T39" fmla="*/ 53 h 417"/>
                <a:gd name="T40" fmla="*/ 257 w 462"/>
                <a:gd name="T41" fmla="*/ 77 h 417"/>
                <a:gd name="T42" fmla="*/ 250 w 462"/>
                <a:gd name="T43" fmla="*/ 103 h 417"/>
                <a:gd name="T44" fmla="*/ 259 w 462"/>
                <a:gd name="T45" fmla="*/ 119 h 417"/>
                <a:gd name="T46" fmla="*/ 255 w 462"/>
                <a:gd name="T47" fmla="*/ 132 h 417"/>
                <a:gd name="T48" fmla="*/ 277 w 462"/>
                <a:gd name="T49" fmla="*/ 155 h 417"/>
                <a:gd name="T50" fmla="*/ 296 w 462"/>
                <a:gd name="T51" fmla="*/ 154 h 417"/>
                <a:gd name="T52" fmla="*/ 311 w 462"/>
                <a:gd name="T53" fmla="*/ 164 h 417"/>
                <a:gd name="T54" fmla="*/ 311 w 462"/>
                <a:gd name="T55" fmla="*/ 171 h 417"/>
                <a:gd name="T56" fmla="*/ 327 w 462"/>
                <a:gd name="T57" fmla="*/ 181 h 417"/>
                <a:gd name="T58" fmla="*/ 348 w 462"/>
                <a:gd name="T59" fmla="*/ 180 h 417"/>
                <a:gd name="T60" fmla="*/ 371 w 462"/>
                <a:gd name="T61" fmla="*/ 185 h 417"/>
                <a:gd name="T62" fmla="*/ 386 w 462"/>
                <a:gd name="T63" fmla="*/ 192 h 417"/>
                <a:gd name="T64" fmla="*/ 391 w 462"/>
                <a:gd name="T65" fmla="*/ 214 h 417"/>
                <a:gd name="T66" fmla="*/ 415 w 462"/>
                <a:gd name="T67" fmla="*/ 225 h 417"/>
                <a:gd name="T68" fmla="*/ 440 w 462"/>
                <a:gd name="T69" fmla="*/ 225 h 417"/>
                <a:gd name="T70" fmla="*/ 452 w 462"/>
                <a:gd name="T71" fmla="*/ 226 h 417"/>
                <a:gd name="T72" fmla="*/ 459 w 462"/>
                <a:gd name="T73" fmla="*/ 237 h 417"/>
                <a:gd name="T74" fmla="*/ 456 w 462"/>
                <a:gd name="T75" fmla="*/ 250 h 417"/>
                <a:gd name="T76" fmla="*/ 446 w 462"/>
                <a:gd name="T77" fmla="*/ 264 h 417"/>
                <a:gd name="T78" fmla="*/ 432 w 462"/>
                <a:gd name="T79" fmla="*/ 284 h 417"/>
                <a:gd name="T80" fmla="*/ 441 w 462"/>
                <a:gd name="T81" fmla="*/ 289 h 417"/>
                <a:gd name="T82" fmla="*/ 458 w 462"/>
                <a:gd name="T83" fmla="*/ 303 h 417"/>
                <a:gd name="T84" fmla="*/ 455 w 462"/>
                <a:gd name="T85" fmla="*/ 313 h 417"/>
                <a:gd name="T86" fmla="*/ 449 w 462"/>
                <a:gd name="T87" fmla="*/ 320 h 417"/>
                <a:gd name="T88" fmla="*/ 431 w 462"/>
                <a:gd name="T89" fmla="*/ 312 h 417"/>
                <a:gd name="T90" fmla="*/ 407 w 462"/>
                <a:gd name="T91" fmla="*/ 302 h 417"/>
                <a:gd name="T92" fmla="*/ 375 w 462"/>
                <a:gd name="T93" fmla="*/ 292 h 417"/>
                <a:gd name="T94" fmla="*/ 364 w 462"/>
                <a:gd name="T95" fmla="*/ 298 h 417"/>
                <a:gd name="T96" fmla="*/ 341 w 462"/>
                <a:gd name="T97" fmla="*/ 308 h 417"/>
                <a:gd name="T98" fmla="*/ 331 w 462"/>
                <a:gd name="T99" fmla="*/ 306 h 417"/>
                <a:gd name="T100" fmla="*/ 323 w 462"/>
                <a:gd name="T101" fmla="*/ 286 h 417"/>
                <a:gd name="T102" fmla="*/ 300 w 462"/>
                <a:gd name="T103" fmla="*/ 280 h 417"/>
                <a:gd name="T104" fmla="*/ 282 w 462"/>
                <a:gd name="T105" fmla="*/ 279 h 417"/>
                <a:gd name="T106" fmla="*/ 275 w 462"/>
                <a:gd name="T107" fmla="*/ 298 h 417"/>
                <a:gd name="T108" fmla="*/ 276 w 462"/>
                <a:gd name="T109" fmla="*/ 340 h 417"/>
                <a:gd name="T110" fmla="*/ 270 w 462"/>
                <a:gd name="T111" fmla="*/ 370 h 417"/>
                <a:gd name="T112" fmla="*/ 273 w 462"/>
                <a:gd name="T113" fmla="*/ 390 h 417"/>
                <a:gd name="T114" fmla="*/ 247 w 462"/>
                <a:gd name="T115" fmla="*/ 389 h 417"/>
                <a:gd name="T116" fmla="*/ 225 w 462"/>
                <a:gd name="T117" fmla="*/ 388 h 417"/>
                <a:gd name="T118" fmla="*/ 215 w 462"/>
                <a:gd name="T119" fmla="*/ 414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62" h="417">
                  <a:moveTo>
                    <a:pt x="0" y="23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5"/>
                  </a:lnTo>
                  <a:lnTo>
                    <a:pt x="1" y="29"/>
                  </a:lnTo>
                  <a:lnTo>
                    <a:pt x="1" y="31"/>
                  </a:lnTo>
                  <a:lnTo>
                    <a:pt x="1" y="32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4" y="37"/>
                  </a:lnTo>
                  <a:lnTo>
                    <a:pt x="5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8" y="38"/>
                  </a:lnTo>
                  <a:lnTo>
                    <a:pt x="9" y="37"/>
                  </a:lnTo>
                  <a:lnTo>
                    <a:pt x="10" y="37"/>
                  </a:lnTo>
                  <a:lnTo>
                    <a:pt x="11" y="37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4" y="37"/>
                  </a:lnTo>
                  <a:lnTo>
                    <a:pt x="16" y="37"/>
                  </a:lnTo>
                  <a:lnTo>
                    <a:pt x="17" y="37"/>
                  </a:lnTo>
                  <a:lnTo>
                    <a:pt x="19" y="36"/>
                  </a:lnTo>
                  <a:lnTo>
                    <a:pt x="20" y="36"/>
                  </a:lnTo>
                  <a:lnTo>
                    <a:pt x="21" y="36"/>
                  </a:lnTo>
                  <a:lnTo>
                    <a:pt x="25" y="36"/>
                  </a:lnTo>
                  <a:lnTo>
                    <a:pt x="26" y="36"/>
                  </a:lnTo>
                  <a:lnTo>
                    <a:pt x="34" y="36"/>
                  </a:lnTo>
                  <a:lnTo>
                    <a:pt x="37" y="35"/>
                  </a:lnTo>
                  <a:lnTo>
                    <a:pt x="39" y="35"/>
                  </a:lnTo>
                  <a:lnTo>
                    <a:pt x="40" y="35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5" y="34"/>
                  </a:lnTo>
                  <a:lnTo>
                    <a:pt x="45" y="32"/>
                  </a:lnTo>
                  <a:lnTo>
                    <a:pt x="46" y="31"/>
                  </a:lnTo>
                  <a:lnTo>
                    <a:pt x="47" y="30"/>
                  </a:lnTo>
                  <a:lnTo>
                    <a:pt x="48" y="28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50" y="25"/>
                  </a:lnTo>
                  <a:lnTo>
                    <a:pt x="50" y="24"/>
                  </a:lnTo>
                  <a:lnTo>
                    <a:pt x="51" y="24"/>
                  </a:lnTo>
                  <a:lnTo>
                    <a:pt x="52" y="24"/>
                  </a:lnTo>
                  <a:lnTo>
                    <a:pt x="55" y="23"/>
                  </a:lnTo>
                  <a:lnTo>
                    <a:pt x="57" y="22"/>
                  </a:lnTo>
                  <a:lnTo>
                    <a:pt x="58" y="22"/>
                  </a:lnTo>
                  <a:lnTo>
                    <a:pt x="59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1" y="22"/>
                  </a:lnTo>
                  <a:lnTo>
                    <a:pt x="63" y="23"/>
                  </a:lnTo>
                  <a:lnTo>
                    <a:pt x="64" y="23"/>
                  </a:lnTo>
                  <a:lnTo>
                    <a:pt x="65" y="24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8" y="26"/>
                  </a:lnTo>
                  <a:lnTo>
                    <a:pt x="69" y="28"/>
                  </a:lnTo>
                  <a:lnTo>
                    <a:pt x="69" y="28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3" y="30"/>
                  </a:lnTo>
                  <a:lnTo>
                    <a:pt x="74" y="31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7" y="33"/>
                  </a:lnTo>
                  <a:lnTo>
                    <a:pt x="78" y="33"/>
                  </a:lnTo>
                  <a:lnTo>
                    <a:pt x="79" y="34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80" y="37"/>
                  </a:lnTo>
                  <a:lnTo>
                    <a:pt x="80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2" y="39"/>
                  </a:lnTo>
                  <a:lnTo>
                    <a:pt x="83" y="39"/>
                  </a:lnTo>
                  <a:lnTo>
                    <a:pt x="85" y="39"/>
                  </a:lnTo>
                  <a:lnTo>
                    <a:pt x="86" y="39"/>
                  </a:lnTo>
                  <a:lnTo>
                    <a:pt x="87" y="39"/>
                  </a:lnTo>
                  <a:lnTo>
                    <a:pt x="88" y="39"/>
                  </a:lnTo>
                  <a:lnTo>
                    <a:pt x="90" y="39"/>
                  </a:lnTo>
                  <a:lnTo>
                    <a:pt x="90" y="38"/>
                  </a:lnTo>
                  <a:lnTo>
                    <a:pt x="91" y="38"/>
                  </a:lnTo>
                  <a:lnTo>
                    <a:pt x="91" y="38"/>
                  </a:lnTo>
                  <a:lnTo>
                    <a:pt x="94" y="36"/>
                  </a:lnTo>
                  <a:lnTo>
                    <a:pt x="95" y="35"/>
                  </a:lnTo>
                  <a:lnTo>
                    <a:pt x="96" y="35"/>
                  </a:lnTo>
                  <a:lnTo>
                    <a:pt x="97" y="34"/>
                  </a:lnTo>
                  <a:lnTo>
                    <a:pt x="98" y="34"/>
                  </a:lnTo>
                  <a:lnTo>
                    <a:pt x="99" y="34"/>
                  </a:lnTo>
                  <a:lnTo>
                    <a:pt x="100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3"/>
                  </a:lnTo>
                  <a:lnTo>
                    <a:pt x="103" y="33"/>
                  </a:lnTo>
                  <a:lnTo>
                    <a:pt x="103" y="32"/>
                  </a:lnTo>
                  <a:lnTo>
                    <a:pt x="103" y="30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5" y="28"/>
                  </a:lnTo>
                  <a:lnTo>
                    <a:pt x="106" y="28"/>
                  </a:lnTo>
                  <a:lnTo>
                    <a:pt x="108" y="30"/>
                  </a:lnTo>
                  <a:lnTo>
                    <a:pt x="109" y="30"/>
                  </a:lnTo>
                  <a:lnTo>
                    <a:pt x="110" y="31"/>
                  </a:lnTo>
                  <a:lnTo>
                    <a:pt x="112" y="31"/>
                  </a:lnTo>
                  <a:lnTo>
                    <a:pt x="113" y="32"/>
                  </a:lnTo>
                  <a:lnTo>
                    <a:pt x="114" y="32"/>
                  </a:lnTo>
                  <a:lnTo>
                    <a:pt x="117" y="35"/>
                  </a:lnTo>
                  <a:lnTo>
                    <a:pt x="118" y="35"/>
                  </a:lnTo>
                  <a:lnTo>
                    <a:pt x="119" y="36"/>
                  </a:lnTo>
                  <a:lnTo>
                    <a:pt x="120" y="36"/>
                  </a:lnTo>
                  <a:lnTo>
                    <a:pt x="120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2" y="36"/>
                  </a:lnTo>
                  <a:lnTo>
                    <a:pt x="123" y="35"/>
                  </a:lnTo>
                  <a:lnTo>
                    <a:pt x="124" y="34"/>
                  </a:lnTo>
                  <a:lnTo>
                    <a:pt x="125" y="34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7" y="33"/>
                  </a:lnTo>
                  <a:lnTo>
                    <a:pt x="128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2" y="34"/>
                  </a:lnTo>
                  <a:lnTo>
                    <a:pt x="133" y="34"/>
                  </a:lnTo>
                  <a:lnTo>
                    <a:pt x="133" y="34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7" y="36"/>
                  </a:lnTo>
                  <a:lnTo>
                    <a:pt x="138" y="36"/>
                  </a:lnTo>
                  <a:lnTo>
                    <a:pt x="140" y="36"/>
                  </a:lnTo>
                  <a:lnTo>
                    <a:pt x="144" y="37"/>
                  </a:lnTo>
                  <a:lnTo>
                    <a:pt x="145" y="37"/>
                  </a:lnTo>
                  <a:lnTo>
                    <a:pt x="147" y="37"/>
                  </a:lnTo>
                  <a:lnTo>
                    <a:pt x="148" y="37"/>
                  </a:lnTo>
                  <a:lnTo>
                    <a:pt x="149" y="37"/>
                  </a:lnTo>
                  <a:lnTo>
                    <a:pt x="151" y="36"/>
                  </a:lnTo>
                  <a:lnTo>
                    <a:pt x="152" y="36"/>
                  </a:lnTo>
                  <a:lnTo>
                    <a:pt x="154" y="36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7" y="35"/>
                  </a:lnTo>
                  <a:lnTo>
                    <a:pt x="157" y="36"/>
                  </a:lnTo>
                  <a:lnTo>
                    <a:pt x="157" y="36"/>
                  </a:lnTo>
                  <a:lnTo>
                    <a:pt x="157" y="37"/>
                  </a:lnTo>
                  <a:lnTo>
                    <a:pt x="156" y="40"/>
                  </a:lnTo>
                  <a:lnTo>
                    <a:pt x="156" y="40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7" y="42"/>
                  </a:lnTo>
                  <a:lnTo>
                    <a:pt x="157" y="42"/>
                  </a:lnTo>
                  <a:lnTo>
                    <a:pt x="158" y="42"/>
                  </a:lnTo>
                  <a:lnTo>
                    <a:pt x="158" y="43"/>
                  </a:lnTo>
                  <a:lnTo>
                    <a:pt x="159" y="43"/>
                  </a:lnTo>
                  <a:lnTo>
                    <a:pt x="159" y="43"/>
                  </a:lnTo>
                  <a:lnTo>
                    <a:pt x="161" y="43"/>
                  </a:lnTo>
                  <a:lnTo>
                    <a:pt x="163" y="44"/>
                  </a:lnTo>
                  <a:lnTo>
                    <a:pt x="164" y="44"/>
                  </a:lnTo>
                  <a:lnTo>
                    <a:pt x="166" y="44"/>
                  </a:lnTo>
                  <a:lnTo>
                    <a:pt x="167" y="45"/>
                  </a:lnTo>
                  <a:lnTo>
                    <a:pt x="169" y="45"/>
                  </a:lnTo>
                  <a:lnTo>
                    <a:pt x="170" y="46"/>
                  </a:lnTo>
                  <a:lnTo>
                    <a:pt x="171" y="46"/>
                  </a:lnTo>
                  <a:lnTo>
                    <a:pt x="173" y="48"/>
                  </a:lnTo>
                  <a:lnTo>
                    <a:pt x="173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6" y="48"/>
                  </a:lnTo>
                  <a:lnTo>
                    <a:pt x="176" y="47"/>
                  </a:lnTo>
                  <a:lnTo>
                    <a:pt x="177" y="47"/>
                  </a:lnTo>
                  <a:lnTo>
                    <a:pt x="178" y="45"/>
                  </a:lnTo>
                  <a:lnTo>
                    <a:pt x="179" y="44"/>
                  </a:lnTo>
                  <a:lnTo>
                    <a:pt x="180" y="43"/>
                  </a:lnTo>
                  <a:lnTo>
                    <a:pt x="181" y="41"/>
                  </a:lnTo>
                  <a:lnTo>
                    <a:pt x="182" y="40"/>
                  </a:lnTo>
                  <a:lnTo>
                    <a:pt x="185" y="38"/>
                  </a:lnTo>
                  <a:lnTo>
                    <a:pt x="187" y="36"/>
                  </a:lnTo>
                  <a:lnTo>
                    <a:pt x="189" y="35"/>
                  </a:lnTo>
                  <a:lnTo>
                    <a:pt x="190" y="34"/>
                  </a:lnTo>
                  <a:lnTo>
                    <a:pt x="191" y="34"/>
                  </a:lnTo>
                  <a:lnTo>
                    <a:pt x="192" y="34"/>
                  </a:lnTo>
                  <a:lnTo>
                    <a:pt x="195" y="33"/>
                  </a:lnTo>
                  <a:lnTo>
                    <a:pt x="196" y="32"/>
                  </a:lnTo>
                  <a:lnTo>
                    <a:pt x="197" y="32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1" y="29"/>
                  </a:lnTo>
                  <a:lnTo>
                    <a:pt x="201" y="28"/>
                  </a:lnTo>
                  <a:lnTo>
                    <a:pt x="201" y="28"/>
                  </a:lnTo>
                  <a:lnTo>
                    <a:pt x="201" y="27"/>
                  </a:lnTo>
                  <a:lnTo>
                    <a:pt x="200" y="25"/>
                  </a:lnTo>
                  <a:lnTo>
                    <a:pt x="200" y="23"/>
                  </a:lnTo>
                  <a:lnTo>
                    <a:pt x="199" y="21"/>
                  </a:lnTo>
                  <a:lnTo>
                    <a:pt x="199" y="20"/>
                  </a:lnTo>
                  <a:lnTo>
                    <a:pt x="199" y="20"/>
                  </a:lnTo>
                  <a:lnTo>
                    <a:pt x="199" y="18"/>
                  </a:lnTo>
                  <a:lnTo>
                    <a:pt x="199" y="17"/>
                  </a:lnTo>
                  <a:lnTo>
                    <a:pt x="200" y="15"/>
                  </a:lnTo>
                  <a:lnTo>
                    <a:pt x="200" y="14"/>
                  </a:lnTo>
                  <a:lnTo>
                    <a:pt x="200" y="13"/>
                  </a:lnTo>
                  <a:lnTo>
                    <a:pt x="200" y="11"/>
                  </a:lnTo>
                  <a:lnTo>
                    <a:pt x="200" y="11"/>
                  </a:lnTo>
                  <a:lnTo>
                    <a:pt x="200" y="10"/>
                  </a:lnTo>
                  <a:lnTo>
                    <a:pt x="201" y="10"/>
                  </a:lnTo>
                  <a:lnTo>
                    <a:pt x="201" y="9"/>
                  </a:lnTo>
                  <a:lnTo>
                    <a:pt x="202" y="9"/>
                  </a:lnTo>
                  <a:lnTo>
                    <a:pt x="203" y="8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4" y="5"/>
                  </a:lnTo>
                  <a:lnTo>
                    <a:pt x="205" y="5"/>
                  </a:lnTo>
                  <a:lnTo>
                    <a:pt x="205" y="4"/>
                  </a:lnTo>
                  <a:lnTo>
                    <a:pt x="206" y="3"/>
                  </a:lnTo>
                  <a:lnTo>
                    <a:pt x="208" y="2"/>
                  </a:lnTo>
                  <a:lnTo>
                    <a:pt x="210" y="1"/>
                  </a:lnTo>
                  <a:lnTo>
                    <a:pt x="210" y="1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2" y="0"/>
                  </a:lnTo>
                  <a:lnTo>
                    <a:pt x="213" y="1"/>
                  </a:lnTo>
                  <a:lnTo>
                    <a:pt x="214" y="1"/>
                  </a:lnTo>
                  <a:lnTo>
                    <a:pt x="216" y="3"/>
                  </a:lnTo>
                  <a:lnTo>
                    <a:pt x="217" y="3"/>
                  </a:lnTo>
                  <a:lnTo>
                    <a:pt x="218" y="4"/>
                  </a:lnTo>
                  <a:lnTo>
                    <a:pt x="222" y="6"/>
                  </a:lnTo>
                  <a:lnTo>
                    <a:pt x="223" y="7"/>
                  </a:lnTo>
                  <a:lnTo>
                    <a:pt x="224" y="7"/>
                  </a:lnTo>
                  <a:lnTo>
                    <a:pt x="225" y="8"/>
                  </a:lnTo>
                  <a:lnTo>
                    <a:pt x="226" y="9"/>
                  </a:lnTo>
                  <a:lnTo>
                    <a:pt x="229" y="11"/>
                  </a:lnTo>
                  <a:lnTo>
                    <a:pt x="231" y="13"/>
                  </a:lnTo>
                  <a:lnTo>
                    <a:pt x="232" y="13"/>
                  </a:lnTo>
                  <a:lnTo>
                    <a:pt x="233" y="14"/>
                  </a:lnTo>
                  <a:lnTo>
                    <a:pt x="234" y="15"/>
                  </a:lnTo>
                  <a:lnTo>
                    <a:pt x="234" y="15"/>
                  </a:lnTo>
                  <a:lnTo>
                    <a:pt x="235" y="15"/>
                  </a:lnTo>
                  <a:lnTo>
                    <a:pt x="235" y="15"/>
                  </a:lnTo>
                  <a:lnTo>
                    <a:pt x="236" y="15"/>
                  </a:lnTo>
                  <a:lnTo>
                    <a:pt x="236" y="15"/>
                  </a:lnTo>
                  <a:lnTo>
                    <a:pt x="237" y="15"/>
                  </a:lnTo>
                  <a:lnTo>
                    <a:pt x="238" y="14"/>
                  </a:lnTo>
                  <a:lnTo>
                    <a:pt x="239" y="14"/>
                  </a:lnTo>
                  <a:lnTo>
                    <a:pt x="240" y="13"/>
                  </a:lnTo>
                  <a:lnTo>
                    <a:pt x="241" y="13"/>
                  </a:lnTo>
                  <a:lnTo>
                    <a:pt x="241" y="13"/>
                  </a:lnTo>
                  <a:lnTo>
                    <a:pt x="242" y="13"/>
                  </a:lnTo>
                  <a:lnTo>
                    <a:pt x="242" y="13"/>
                  </a:lnTo>
                  <a:lnTo>
                    <a:pt x="243" y="13"/>
                  </a:lnTo>
                  <a:lnTo>
                    <a:pt x="243" y="13"/>
                  </a:lnTo>
                  <a:lnTo>
                    <a:pt x="243" y="14"/>
                  </a:lnTo>
                  <a:lnTo>
                    <a:pt x="243" y="14"/>
                  </a:lnTo>
                  <a:lnTo>
                    <a:pt x="244" y="15"/>
                  </a:lnTo>
                  <a:lnTo>
                    <a:pt x="244" y="17"/>
                  </a:lnTo>
                  <a:lnTo>
                    <a:pt x="245" y="18"/>
                  </a:lnTo>
                  <a:lnTo>
                    <a:pt x="246" y="20"/>
                  </a:lnTo>
                  <a:lnTo>
                    <a:pt x="247" y="23"/>
                  </a:lnTo>
                  <a:lnTo>
                    <a:pt x="248" y="25"/>
                  </a:lnTo>
                  <a:lnTo>
                    <a:pt x="249" y="27"/>
                  </a:lnTo>
                  <a:lnTo>
                    <a:pt x="250" y="28"/>
                  </a:lnTo>
                  <a:lnTo>
                    <a:pt x="251" y="28"/>
                  </a:lnTo>
                  <a:lnTo>
                    <a:pt x="251" y="29"/>
                  </a:lnTo>
                  <a:lnTo>
                    <a:pt x="252" y="30"/>
                  </a:lnTo>
                  <a:lnTo>
                    <a:pt x="253" y="30"/>
                  </a:lnTo>
                  <a:lnTo>
                    <a:pt x="253" y="30"/>
                  </a:lnTo>
                  <a:lnTo>
                    <a:pt x="255" y="31"/>
                  </a:lnTo>
                  <a:lnTo>
                    <a:pt x="255" y="31"/>
                  </a:lnTo>
                  <a:lnTo>
                    <a:pt x="256" y="31"/>
                  </a:lnTo>
                  <a:lnTo>
                    <a:pt x="257" y="31"/>
                  </a:lnTo>
                  <a:lnTo>
                    <a:pt x="257" y="31"/>
                  </a:lnTo>
                  <a:lnTo>
                    <a:pt x="258" y="31"/>
                  </a:lnTo>
                  <a:lnTo>
                    <a:pt x="259" y="31"/>
                  </a:lnTo>
                  <a:lnTo>
                    <a:pt x="259" y="31"/>
                  </a:lnTo>
                  <a:lnTo>
                    <a:pt x="260" y="31"/>
                  </a:lnTo>
                  <a:lnTo>
                    <a:pt x="261" y="30"/>
                  </a:lnTo>
                  <a:lnTo>
                    <a:pt x="261" y="30"/>
                  </a:lnTo>
                  <a:lnTo>
                    <a:pt x="261" y="30"/>
                  </a:lnTo>
                  <a:lnTo>
                    <a:pt x="261" y="31"/>
                  </a:lnTo>
                  <a:lnTo>
                    <a:pt x="262" y="35"/>
                  </a:lnTo>
                  <a:lnTo>
                    <a:pt x="262" y="36"/>
                  </a:lnTo>
                  <a:lnTo>
                    <a:pt x="262" y="37"/>
                  </a:lnTo>
                  <a:lnTo>
                    <a:pt x="262" y="38"/>
                  </a:lnTo>
                  <a:lnTo>
                    <a:pt x="262" y="39"/>
                  </a:lnTo>
                  <a:lnTo>
                    <a:pt x="262" y="39"/>
                  </a:lnTo>
                  <a:lnTo>
                    <a:pt x="262" y="40"/>
                  </a:lnTo>
                  <a:lnTo>
                    <a:pt x="261" y="40"/>
                  </a:lnTo>
                  <a:lnTo>
                    <a:pt x="261" y="41"/>
                  </a:lnTo>
                  <a:lnTo>
                    <a:pt x="260" y="41"/>
                  </a:lnTo>
                  <a:lnTo>
                    <a:pt x="260" y="42"/>
                  </a:lnTo>
                  <a:lnTo>
                    <a:pt x="259" y="42"/>
                  </a:lnTo>
                  <a:lnTo>
                    <a:pt x="258" y="43"/>
                  </a:lnTo>
                  <a:lnTo>
                    <a:pt x="257" y="43"/>
                  </a:lnTo>
                  <a:lnTo>
                    <a:pt x="256" y="43"/>
                  </a:lnTo>
                  <a:lnTo>
                    <a:pt x="256" y="44"/>
                  </a:lnTo>
                  <a:lnTo>
                    <a:pt x="255" y="44"/>
                  </a:lnTo>
                  <a:lnTo>
                    <a:pt x="255" y="44"/>
                  </a:lnTo>
                  <a:lnTo>
                    <a:pt x="255" y="45"/>
                  </a:lnTo>
                  <a:lnTo>
                    <a:pt x="255" y="45"/>
                  </a:lnTo>
                  <a:lnTo>
                    <a:pt x="255" y="46"/>
                  </a:lnTo>
                  <a:lnTo>
                    <a:pt x="255" y="46"/>
                  </a:lnTo>
                  <a:lnTo>
                    <a:pt x="255" y="47"/>
                  </a:lnTo>
                  <a:lnTo>
                    <a:pt x="255" y="47"/>
                  </a:lnTo>
                  <a:lnTo>
                    <a:pt x="255" y="48"/>
                  </a:lnTo>
                  <a:lnTo>
                    <a:pt x="257" y="51"/>
                  </a:lnTo>
                  <a:lnTo>
                    <a:pt x="258" y="52"/>
                  </a:lnTo>
                  <a:lnTo>
                    <a:pt x="258" y="53"/>
                  </a:lnTo>
                  <a:lnTo>
                    <a:pt x="258" y="54"/>
                  </a:lnTo>
                  <a:lnTo>
                    <a:pt x="259" y="55"/>
                  </a:lnTo>
                  <a:lnTo>
                    <a:pt x="259" y="56"/>
                  </a:lnTo>
                  <a:lnTo>
                    <a:pt x="259" y="57"/>
                  </a:lnTo>
                  <a:lnTo>
                    <a:pt x="259" y="59"/>
                  </a:lnTo>
                  <a:lnTo>
                    <a:pt x="259" y="60"/>
                  </a:lnTo>
                  <a:lnTo>
                    <a:pt x="259" y="61"/>
                  </a:lnTo>
                  <a:lnTo>
                    <a:pt x="259" y="64"/>
                  </a:lnTo>
                  <a:lnTo>
                    <a:pt x="259" y="65"/>
                  </a:lnTo>
                  <a:lnTo>
                    <a:pt x="259" y="66"/>
                  </a:lnTo>
                  <a:lnTo>
                    <a:pt x="259" y="68"/>
                  </a:lnTo>
                  <a:lnTo>
                    <a:pt x="259" y="69"/>
                  </a:lnTo>
                  <a:lnTo>
                    <a:pt x="259" y="71"/>
                  </a:lnTo>
                  <a:lnTo>
                    <a:pt x="258" y="72"/>
                  </a:lnTo>
                  <a:lnTo>
                    <a:pt x="258" y="73"/>
                  </a:lnTo>
                  <a:lnTo>
                    <a:pt x="258" y="75"/>
                  </a:lnTo>
                  <a:lnTo>
                    <a:pt x="257" y="77"/>
                  </a:lnTo>
                  <a:lnTo>
                    <a:pt x="256" y="80"/>
                  </a:lnTo>
                  <a:lnTo>
                    <a:pt x="255" y="83"/>
                  </a:lnTo>
                  <a:lnTo>
                    <a:pt x="254" y="85"/>
                  </a:lnTo>
                  <a:lnTo>
                    <a:pt x="253" y="86"/>
                  </a:lnTo>
                  <a:lnTo>
                    <a:pt x="253" y="87"/>
                  </a:lnTo>
                  <a:lnTo>
                    <a:pt x="253" y="88"/>
                  </a:lnTo>
                  <a:lnTo>
                    <a:pt x="253" y="88"/>
                  </a:lnTo>
                  <a:lnTo>
                    <a:pt x="254" y="89"/>
                  </a:lnTo>
                  <a:lnTo>
                    <a:pt x="254" y="89"/>
                  </a:lnTo>
                  <a:lnTo>
                    <a:pt x="254" y="90"/>
                  </a:lnTo>
                  <a:lnTo>
                    <a:pt x="254" y="90"/>
                  </a:lnTo>
                  <a:lnTo>
                    <a:pt x="253" y="94"/>
                  </a:lnTo>
                  <a:lnTo>
                    <a:pt x="252" y="97"/>
                  </a:lnTo>
                  <a:lnTo>
                    <a:pt x="252" y="98"/>
                  </a:lnTo>
                  <a:lnTo>
                    <a:pt x="251" y="100"/>
                  </a:lnTo>
                  <a:lnTo>
                    <a:pt x="250" y="102"/>
                  </a:lnTo>
                  <a:lnTo>
                    <a:pt x="250" y="103"/>
                  </a:lnTo>
                  <a:lnTo>
                    <a:pt x="250" y="105"/>
                  </a:lnTo>
                  <a:lnTo>
                    <a:pt x="250" y="106"/>
                  </a:lnTo>
                  <a:lnTo>
                    <a:pt x="250" y="106"/>
                  </a:lnTo>
                  <a:lnTo>
                    <a:pt x="250" y="107"/>
                  </a:lnTo>
                  <a:lnTo>
                    <a:pt x="250" y="108"/>
                  </a:lnTo>
                  <a:lnTo>
                    <a:pt x="250" y="109"/>
                  </a:lnTo>
                  <a:lnTo>
                    <a:pt x="250" y="110"/>
                  </a:lnTo>
                  <a:lnTo>
                    <a:pt x="251" y="111"/>
                  </a:lnTo>
                  <a:lnTo>
                    <a:pt x="252" y="112"/>
                  </a:lnTo>
                  <a:lnTo>
                    <a:pt x="253" y="113"/>
                  </a:lnTo>
                  <a:lnTo>
                    <a:pt x="254" y="113"/>
                  </a:lnTo>
                  <a:lnTo>
                    <a:pt x="256" y="115"/>
                  </a:lnTo>
                  <a:lnTo>
                    <a:pt x="257" y="116"/>
                  </a:lnTo>
                  <a:lnTo>
                    <a:pt x="257" y="117"/>
                  </a:lnTo>
                  <a:lnTo>
                    <a:pt x="258" y="117"/>
                  </a:lnTo>
                  <a:lnTo>
                    <a:pt x="258" y="118"/>
                  </a:lnTo>
                  <a:lnTo>
                    <a:pt x="259" y="119"/>
                  </a:lnTo>
                  <a:lnTo>
                    <a:pt x="259" y="120"/>
                  </a:lnTo>
                  <a:lnTo>
                    <a:pt x="259" y="120"/>
                  </a:lnTo>
                  <a:lnTo>
                    <a:pt x="259" y="121"/>
                  </a:lnTo>
                  <a:lnTo>
                    <a:pt x="259" y="121"/>
                  </a:lnTo>
                  <a:lnTo>
                    <a:pt x="259" y="122"/>
                  </a:lnTo>
                  <a:lnTo>
                    <a:pt x="259" y="122"/>
                  </a:lnTo>
                  <a:lnTo>
                    <a:pt x="258" y="124"/>
                  </a:lnTo>
                  <a:lnTo>
                    <a:pt x="257" y="125"/>
                  </a:lnTo>
                  <a:lnTo>
                    <a:pt x="256" y="126"/>
                  </a:lnTo>
                  <a:lnTo>
                    <a:pt x="255" y="127"/>
                  </a:lnTo>
                  <a:lnTo>
                    <a:pt x="255" y="128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5" y="130"/>
                  </a:lnTo>
                  <a:lnTo>
                    <a:pt x="255" y="131"/>
                  </a:lnTo>
                  <a:lnTo>
                    <a:pt x="255" y="131"/>
                  </a:lnTo>
                  <a:lnTo>
                    <a:pt x="255" y="132"/>
                  </a:lnTo>
                  <a:lnTo>
                    <a:pt x="255" y="133"/>
                  </a:lnTo>
                  <a:lnTo>
                    <a:pt x="256" y="134"/>
                  </a:lnTo>
                  <a:lnTo>
                    <a:pt x="258" y="137"/>
                  </a:lnTo>
                  <a:lnTo>
                    <a:pt x="260" y="140"/>
                  </a:lnTo>
                  <a:lnTo>
                    <a:pt x="261" y="140"/>
                  </a:lnTo>
                  <a:lnTo>
                    <a:pt x="261" y="141"/>
                  </a:lnTo>
                  <a:lnTo>
                    <a:pt x="265" y="144"/>
                  </a:lnTo>
                  <a:lnTo>
                    <a:pt x="265" y="145"/>
                  </a:lnTo>
                  <a:lnTo>
                    <a:pt x="267" y="147"/>
                  </a:lnTo>
                  <a:lnTo>
                    <a:pt x="268" y="149"/>
                  </a:lnTo>
                  <a:lnTo>
                    <a:pt x="271" y="151"/>
                  </a:lnTo>
                  <a:lnTo>
                    <a:pt x="273" y="153"/>
                  </a:lnTo>
                  <a:lnTo>
                    <a:pt x="274" y="154"/>
                  </a:lnTo>
                  <a:lnTo>
                    <a:pt x="275" y="154"/>
                  </a:lnTo>
                  <a:lnTo>
                    <a:pt x="275" y="154"/>
                  </a:lnTo>
                  <a:lnTo>
                    <a:pt x="276" y="154"/>
                  </a:lnTo>
                  <a:lnTo>
                    <a:pt x="277" y="155"/>
                  </a:lnTo>
                  <a:lnTo>
                    <a:pt x="278" y="155"/>
                  </a:lnTo>
                  <a:lnTo>
                    <a:pt x="279" y="154"/>
                  </a:lnTo>
                  <a:lnTo>
                    <a:pt x="280" y="154"/>
                  </a:lnTo>
                  <a:lnTo>
                    <a:pt x="281" y="154"/>
                  </a:lnTo>
                  <a:lnTo>
                    <a:pt x="285" y="152"/>
                  </a:lnTo>
                  <a:lnTo>
                    <a:pt x="286" y="151"/>
                  </a:lnTo>
                  <a:lnTo>
                    <a:pt x="287" y="151"/>
                  </a:lnTo>
                  <a:lnTo>
                    <a:pt x="288" y="150"/>
                  </a:lnTo>
                  <a:lnTo>
                    <a:pt x="289" y="150"/>
                  </a:lnTo>
                  <a:lnTo>
                    <a:pt x="290" y="150"/>
                  </a:lnTo>
                  <a:lnTo>
                    <a:pt x="291" y="150"/>
                  </a:lnTo>
                  <a:lnTo>
                    <a:pt x="291" y="150"/>
                  </a:lnTo>
                  <a:lnTo>
                    <a:pt x="292" y="151"/>
                  </a:lnTo>
                  <a:lnTo>
                    <a:pt x="293" y="151"/>
                  </a:lnTo>
                  <a:lnTo>
                    <a:pt x="294" y="151"/>
                  </a:lnTo>
                  <a:lnTo>
                    <a:pt x="294" y="152"/>
                  </a:lnTo>
                  <a:lnTo>
                    <a:pt x="296" y="154"/>
                  </a:lnTo>
                  <a:lnTo>
                    <a:pt x="298" y="155"/>
                  </a:lnTo>
                  <a:lnTo>
                    <a:pt x="299" y="156"/>
                  </a:lnTo>
                  <a:lnTo>
                    <a:pt x="301" y="156"/>
                  </a:lnTo>
                  <a:lnTo>
                    <a:pt x="301" y="157"/>
                  </a:lnTo>
                  <a:lnTo>
                    <a:pt x="302" y="157"/>
                  </a:lnTo>
                  <a:lnTo>
                    <a:pt x="306" y="159"/>
                  </a:lnTo>
                  <a:lnTo>
                    <a:pt x="307" y="159"/>
                  </a:lnTo>
                  <a:lnTo>
                    <a:pt x="309" y="160"/>
                  </a:lnTo>
                  <a:lnTo>
                    <a:pt x="310" y="160"/>
                  </a:lnTo>
                  <a:lnTo>
                    <a:pt x="310" y="160"/>
                  </a:lnTo>
                  <a:lnTo>
                    <a:pt x="311" y="161"/>
                  </a:lnTo>
                  <a:lnTo>
                    <a:pt x="311" y="161"/>
                  </a:lnTo>
                  <a:lnTo>
                    <a:pt x="311" y="162"/>
                  </a:lnTo>
                  <a:lnTo>
                    <a:pt x="311" y="162"/>
                  </a:lnTo>
                  <a:lnTo>
                    <a:pt x="311" y="163"/>
                  </a:lnTo>
                  <a:lnTo>
                    <a:pt x="311" y="163"/>
                  </a:lnTo>
                  <a:lnTo>
                    <a:pt x="311" y="164"/>
                  </a:lnTo>
                  <a:lnTo>
                    <a:pt x="311" y="165"/>
                  </a:lnTo>
                  <a:lnTo>
                    <a:pt x="311" y="166"/>
                  </a:lnTo>
                  <a:lnTo>
                    <a:pt x="311" y="166"/>
                  </a:lnTo>
                  <a:lnTo>
                    <a:pt x="311" y="167"/>
                  </a:lnTo>
                  <a:lnTo>
                    <a:pt x="310" y="167"/>
                  </a:lnTo>
                  <a:lnTo>
                    <a:pt x="310" y="167"/>
                  </a:lnTo>
                  <a:lnTo>
                    <a:pt x="309" y="168"/>
                  </a:lnTo>
                  <a:lnTo>
                    <a:pt x="308" y="168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70"/>
                  </a:lnTo>
                  <a:lnTo>
                    <a:pt x="309" y="170"/>
                  </a:lnTo>
                  <a:lnTo>
                    <a:pt x="310" y="170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2" y="171"/>
                  </a:lnTo>
                  <a:lnTo>
                    <a:pt x="315" y="171"/>
                  </a:lnTo>
                  <a:lnTo>
                    <a:pt x="316" y="171"/>
                  </a:lnTo>
                  <a:lnTo>
                    <a:pt x="316" y="172"/>
                  </a:lnTo>
                  <a:lnTo>
                    <a:pt x="317" y="172"/>
                  </a:lnTo>
                  <a:lnTo>
                    <a:pt x="318" y="172"/>
                  </a:lnTo>
                  <a:lnTo>
                    <a:pt x="318" y="172"/>
                  </a:lnTo>
                  <a:lnTo>
                    <a:pt x="319" y="173"/>
                  </a:lnTo>
                  <a:lnTo>
                    <a:pt x="320" y="173"/>
                  </a:lnTo>
                  <a:lnTo>
                    <a:pt x="321" y="175"/>
                  </a:lnTo>
                  <a:lnTo>
                    <a:pt x="322" y="176"/>
                  </a:lnTo>
                  <a:lnTo>
                    <a:pt x="324" y="178"/>
                  </a:lnTo>
                  <a:lnTo>
                    <a:pt x="325" y="179"/>
                  </a:lnTo>
                  <a:lnTo>
                    <a:pt x="325" y="180"/>
                  </a:lnTo>
                  <a:lnTo>
                    <a:pt x="325" y="180"/>
                  </a:lnTo>
                  <a:lnTo>
                    <a:pt x="326" y="180"/>
                  </a:lnTo>
                  <a:lnTo>
                    <a:pt x="327" y="181"/>
                  </a:lnTo>
                  <a:lnTo>
                    <a:pt x="328" y="181"/>
                  </a:lnTo>
                  <a:lnTo>
                    <a:pt x="329" y="181"/>
                  </a:lnTo>
                  <a:lnTo>
                    <a:pt x="330" y="182"/>
                  </a:lnTo>
                  <a:lnTo>
                    <a:pt x="331" y="182"/>
                  </a:lnTo>
                  <a:lnTo>
                    <a:pt x="332" y="181"/>
                  </a:lnTo>
                  <a:lnTo>
                    <a:pt x="333" y="181"/>
                  </a:lnTo>
                  <a:lnTo>
                    <a:pt x="334" y="181"/>
                  </a:lnTo>
                  <a:lnTo>
                    <a:pt x="335" y="180"/>
                  </a:lnTo>
                  <a:lnTo>
                    <a:pt x="338" y="179"/>
                  </a:lnTo>
                  <a:lnTo>
                    <a:pt x="339" y="179"/>
                  </a:lnTo>
                  <a:lnTo>
                    <a:pt x="340" y="178"/>
                  </a:lnTo>
                  <a:lnTo>
                    <a:pt x="340" y="178"/>
                  </a:lnTo>
                  <a:lnTo>
                    <a:pt x="341" y="178"/>
                  </a:lnTo>
                  <a:lnTo>
                    <a:pt x="341" y="178"/>
                  </a:lnTo>
                  <a:lnTo>
                    <a:pt x="342" y="178"/>
                  </a:lnTo>
                  <a:lnTo>
                    <a:pt x="343" y="178"/>
                  </a:lnTo>
                  <a:lnTo>
                    <a:pt x="348" y="180"/>
                  </a:lnTo>
                  <a:lnTo>
                    <a:pt x="351" y="181"/>
                  </a:lnTo>
                  <a:lnTo>
                    <a:pt x="354" y="182"/>
                  </a:lnTo>
                  <a:lnTo>
                    <a:pt x="355" y="182"/>
                  </a:lnTo>
                  <a:lnTo>
                    <a:pt x="356" y="183"/>
                  </a:lnTo>
                  <a:lnTo>
                    <a:pt x="357" y="184"/>
                  </a:lnTo>
                  <a:lnTo>
                    <a:pt x="357" y="184"/>
                  </a:lnTo>
                  <a:lnTo>
                    <a:pt x="359" y="185"/>
                  </a:lnTo>
                  <a:lnTo>
                    <a:pt x="359" y="186"/>
                  </a:lnTo>
                  <a:lnTo>
                    <a:pt x="359" y="186"/>
                  </a:lnTo>
                  <a:lnTo>
                    <a:pt x="360" y="186"/>
                  </a:lnTo>
                  <a:lnTo>
                    <a:pt x="361" y="186"/>
                  </a:lnTo>
                  <a:lnTo>
                    <a:pt x="361" y="186"/>
                  </a:lnTo>
                  <a:lnTo>
                    <a:pt x="365" y="186"/>
                  </a:lnTo>
                  <a:lnTo>
                    <a:pt x="366" y="185"/>
                  </a:lnTo>
                  <a:lnTo>
                    <a:pt x="369" y="185"/>
                  </a:lnTo>
                  <a:lnTo>
                    <a:pt x="370" y="185"/>
                  </a:lnTo>
                  <a:lnTo>
                    <a:pt x="371" y="185"/>
                  </a:lnTo>
                  <a:lnTo>
                    <a:pt x="374" y="184"/>
                  </a:lnTo>
                  <a:lnTo>
                    <a:pt x="377" y="184"/>
                  </a:lnTo>
                  <a:lnTo>
                    <a:pt x="378" y="184"/>
                  </a:lnTo>
                  <a:lnTo>
                    <a:pt x="379" y="184"/>
                  </a:lnTo>
                  <a:lnTo>
                    <a:pt x="380" y="184"/>
                  </a:lnTo>
                  <a:lnTo>
                    <a:pt x="381" y="184"/>
                  </a:lnTo>
                  <a:lnTo>
                    <a:pt x="382" y="184"/>
                  </a:lnTo>
                  <a:lnTo>
                    <a:pt x="382" y="185"/>
                  </a:lnTo>
                  <a:lnTo>
                    <a:pt x="383" y="185"/>
                  </a:lnTo>
                  <a:lnTo>
                    <a:pt x="383" y="185"/>
                  </a:lnTo>
                  <a:lnTo>
                    <a:pt x="384" y="186"/>
                  </a:lnTo>
                  <a:lnTo>
                    <a:pt x="384" y="186"/>
                  </a:lnTo>
                  <a:lnTo>
                    <a:pt x="385" y="187"/>
                  </a:lnTo>
                  <a:lnTo>
                    <a:pt x="385" y="188"/>
                  </a:lnTo>
                  <a:lnTo>
                    <a:pt x="386" y="189"/>
                  </a:lnTo>
                  <a:lnTo>
                    <a:pt x="386" y="190"/>
                  </a:lnTo>
                  <a:lnTo>
                    <a:pt x="386" y="192"/>
                  </a:lnTo>
                  <a:lnTo>
                    <a:pt x="386" y="193"/>
                  </a:lnTo>
                  <a:lnTo>
                    <a:pt x="387" y="194"/>
                  </a:lnTo>
                  <a:lnTo>
                    <a:pt x="387" y="195"/>
                  </a:lnTo>
                  <a:lnTo>
                    <a:pt x="387" y="196"/>
                  </a:lnTo>
                  <a:lnTo>
                    <a:pt x="386" y="198"/>
                  </a:lnTo>
                  <a:lnTo>
                    <a:pt x="386" y="201"/>
                  </a:lnTo>
                  <a:lnTo>
                    <a:pt x="386" y="202"/>
                  </a:lnTo>
                  <a:lnTo>
                    <a:pt x="386" y="204"/>
                  </a:lnTo>
                  <a:lnTo>
                    <a:pt x="386" y="205"/>
                  </a:lnTo>
                  <a:lnTo>
                    <a:pt x="386" y="206"/>
                  </a:lnTo>
                  <a:lnTo>
                    <a:pt x="386" y="208"/>
                  </a:lnTo>
                  <a:lnTo>
                    <a:pt x="387" y="209"/>
                  </a:lnTo>
                  <a:lnTo>
                    <a:pt x="388" y="210"/>
                  </a:lnTo>
                  <a:lnTo>
                    <a:pt x="388" y="211"/>
                  </a:lnTo>
                  <a:lnTo>
                    <a:pt x="389" y="212"/>
                  </a:lnTo>
                  <a:lnTo>
                    <a:pt x="389" y="212"/>
                  </a:lnTo>
                  <a:lnTo>
                    <a:pt x="391" y="214"/>
                  </a:lnTo>
                  <a:lnTo>
                    <a:pt x="392" y="215"/>
                  </a:lnTo>
                  <a:lnTo>
                    <a:pt x="395" y="217"/>
                  </a:lnTo>
                  <a:lnTo>
                    <a:pt x="398" y="219"/>
                  </a:lnTo>
                  <a:lnTo>
                    <a:pt x="398" y="220"/>
                  </a:lnTo>
                  <a:lnTo>
                    <a:pt x="400" y="221"/>
                  </a:lnTo>
                  <a:lnTo>
                    <a:pt x="402" y="222"/>
                  </a:lnTo>
                  <a:lnTo>
                    <a:pt x="406" y="225"/>
                  </a:lnTo>
                  <a:lnTo>
                    <a:pt x="409" y="226"/>
                  </a:lnTo>
                  <a:lnTo>
                    <a:pt x="409" y="227"/>
                  </a:lnTo>
                  <a:lnTo>
                    <a:pt x="410" y="227"/>
                  </a:lnTo>
                  <a:lnTo>
                    <a:pt x="410" y="227"/>
                  </a:lnTo>
                  <a:lnTo>
                    <a:pt x="411" y="227"/>
                  </a:lnTo>
                  <a:lnTo>
                    <a:pt x="411" y="227"/>
                  </a:lnTo>
                  <a:lnTo>
                    <a:pt x="411" y="226"/>
                  </a:lnTo>
                  <a:lnTo>
                    <a:pt x="413" y="226"/>
                  </a:lnTo>
                  <a:lnTo>
                    <a:pt x="414" y="226"/>
                  </a:lnTo>
                  <a:lnTo>
                    <a:pt x="415" y="225"/>
                  </a:lnTo>
                  <a:lnTo>
                    <a:pt x="416" y="225"/>
                  </a:lnTo>
                  <a:lnTo>
                    <a:pt x="416" y="225"/>
                  </a:lnTo>
                  <a:lnTo>
                    <a:pt x="417" y="226"/>
                  </a:lnTo>
                  <a:lnTo>
                    <a:pt x="418" y="226"/>
                  </a:lnTo>
                  <a:lnTo>
                    <a:pt x="421" y="227"/>
                  </a:lnTo>
                  <a:lnTo>
                    <a:pt x="422" y="227"/>
                  </a:lnTo>
                  <a:lnTo>
                    <a:pt x="423" y="227"/>
                  </a:lnTo>
                  <a:lnTo>
                    <a:pt x="425" y="227"/>
                  </a:lnTo>
                  <a:lnTo>
                    <a:pt x="427" y="227"/>
                  </a:lnTo>
                  <a:lnTo>
                    <a:pt x="429" y="227"/>
                  </a:lnTo>
                  <a:lnTo>
                    <a:pt x="431" y="227"/>
                  </a:lnTo>
                  <a:lnTo>
                    <a:pt x="432" y="227"/>
                  </a:lnTo>
                  <a:lnTo>
                    <a:pt x="433" y="227"/>
                  </a:lnTo>
                  <a:lnTo>
                    <a:pt x="434" y="226"/>
                  </a:lnTo>
                  <a:lnTo>
                    <a:pt x="437" y="225"/>
                  </a:lnTo>
                  <a:lnTo>
                    <a:pt x="438" y="225"/>
                  </a:lnTo>
                  <a:lnTo>
                    <a:pt x="440" y="225"/>
                  </a:lnTo>
                  <a:lnTo>
                    <a:pt x="442" y="224"/>
                  </a:lnTo>
                  <a:lnTo>
                    <a:pt x="443" y="224"/>
                  </a:lnTo>
                  <a:lnTo>
                    <a:pt x="443" y="224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6" y="223"/>
                  </a:lnTo>
                  <a:lnTo>
                    <a:pt x="446" y="223"/>
                  </a:lnTo>
                  <a:lnTo>
                    <a:pt x="447" y="223"/>
                  </a:lnTo>
                  <a:lnTo>
                    <a:pt x="447" y="223"/>
                  </a:lnTo>
                  <a:lnTo>
                    <a:pt x="448" y="223"/>
                  </a:lnTo>
                  <a:lnTo>
                    <a:pt x="448" y="223"/>
                  </a:lnTo>
                  <a:lnTo>
                    <a:pt x="449" y="224"/>
                  </a:lnTo>
                  <a:lnTo>
                    <a:pt x="450" y="224"/>
                  </a:lnTo>
                  <a:lnTo>
                    <a:pt x="451" y="225"/>
                  </a:lnTo>
                  <a:lnTo>
                    <a:pt x="451" y="225"/>
                  </a:lnTo>
                  <a:lnTo>
                    <a:pt x="452" y="225"/>
                  </a:lnTo>
                  <a:lnTo>
                    <a:pt x="452" y="226"/>
                  </a:lnTo>
                  <a:lnTo>
                    <a:pt x="452" y="227"/>
                  </a:lnTo>
                  <a:lnTo>
                    <a:pt x="452" y="227"/>
                  </a:lnTo>
                  <a:lnTo>
                    <a:pt x="453" y="228"/>
                  </a:lnTo>
                  <a:lnTo>
                    <a:pt x="452" y="228"/>
                  </a:lnTo>
                  <a:lnTo>
                    <a:pt x="452" y="229"/>
                  </a:lnTo>
                  <a:lnTo>
                    <a:pt x="452" y="230"/>
                  </a:lnTo>
                  <a:lnTo>
                    <a:pt x="452" y="230"/>
                  </a:lnTo>
                  <a:lnTo>
                    <a:pt x="452" y="231"/>
                  </a:lnTo>
                  <a:lnTo>
                    <a:pt x="452" y="231"/>
                  </a:lnTo>
                  <a:lnTo>
                    <a:pt x="453" y="232"/>
                  </a:lnTo>
                  <a:lnTo>
                    <a:pt x="453" y="232"/>
                  </a:lnTo>
                  <a:lnTo>
                    <a:pt x="454" y="233"/>
                  </a:lnTo>
                  <a:lnTo>
                    <a:pt x="454" y="234"/>
                  </a:lnTo>
                  <a:lnTo>
                    <a:pt x="456" y="234"/>
                  </a:lnTo>
                  <a:lnTo>
                    <a:pt x="457" y="236"/>
                  </a:lnTo>
                  <a:lnTo>
                    <a:pt x="458" y="236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61" y="240"/>
                  </a:lnTo>
                  <a:lnTo>
                    <a:pt x="462" y="241"/>
                  </a:lnTo>
                  <a:lnTo>
                    <a:pt x="462" y="242"/>
                  </a:lnTo>
                  <a:lnTo>
                    <a:pt x="462" y="243"/>
                  </a:lnTo>
                  <a:lnTo>
                    <a:pt x="462" y="243"/>
                  </a:lnTo>
                  <a:lnTo>
                    <a:pt x="462" y="244"/>
                  </a:lnTo>
                  <a:lnTo>
                    <a:pt x="462" y="245"/>
                  </a:lnTo>
                  <a:lnTo>
                    <a:pt x="462" y="246"/>
                  </a:lnTo>
                  <a:lnTo>
                    <a:pt x="461" y="247"/>
                  </a:lnTo>
                  <a:lnTo>
                    <a:pt x="461" y="247"/>
                  </a:lnTo>
                  <a:lnTo>
                    <a:pt x="461" y="248"/>
                  </a:lnTo>
                  <a:lnTo>
                    <a:pt x="460" y="248"/>
                  </a:lnTo>
                  <a:lnTo>
                    <a:pt x="460" y="248"/>
                  </a:lnTo>
                  <a:lnTo>
                    <a:pt x="459" y="249"/>
                  </a:lnTo>
                  <a:lnTo>
                    <a:pt x="458" y="249"/>
                  </a:lnTo>
                  <a:lnTo>
                    <a:pt x="456" y="250"/>
                  </a:lnTo>
                  <a:lnTo>
                    <a:pt x="453" y="250"/>
                  </a:lnTo>
                  <a:lnTo>
                    <a:pt x="452" y="250"/>
                  </a:lnTo>
                  <a:lnTo>
                    <a:pt x="452" y="251"/>
                  </a:lnTo>
                  <a:lnTo>
                    <a:pt x="452" y="251"/>
                  </a:lnTo>
                  <a:lnTo>
                    <a:pt x="451" y="251"/>
                  </a:lnTo>
                  <a:lnTo>
                    <a:pt x="451" y="252"/>
                  </a:lnTo>
                  <a:lnTo>
                    <a:pt x="450" y="253"/>
                  </a:lnTo>
                  <a:lnTo>
                    <a:pt x="449" y="254"/>
                  </a:lnTo>
                  <a:lnTo>
                    <a:pt x="448" y="256"/>
                  </a:lnTo>
                  <a:lnTo>
                    <a:pt x="448" y="257"/>
                  </a:lnTo>
                  <a:lnTo>
                    <a:pt x="447" y="258"/>
                  </a:lnTo>
                  <a:lnTo>
                    <a:pt x="447" y="259"/>
                  </a:lnTo>
                  <a:lnTo>
                    <a:pt x="447" y="261"/>
                  </a:lnTo>
                  <a:lnTo>
                    <a:pt x="446" y="262"/>
                  </a:lnTo>
                  <a:lnTo>
                    <a:pt x="446" y="262"/>
                  </a:lnTo>
                  <a:lnTo>
                    <a:pt x="446" y="263"/>
                  </a:lnTo>
                  <a:lnTo>
                    <a:pt x="446" y="264"/>
                  </a:lnTo>
                  <a:lnTo>
                    <a:pt x="444" y="266"/>
                  </a:lnTo>
                  <a:lnTo>
                    <a:pt x="443" y="267"/>
                  </a:lnTo>
                  <a:lnTo>
                    <a:pt x="443" y="268"/>
                  </a:lnTo>
                  <a:lnTo>
                    <a:pt x="442" y="270"/>
                  </a:lnTo>
                  <a:lnTo>
                    <a:pt x="442" y="271"/>
                  </a:lnTo>
                  <a:lnTo>
                    <a:pt x="441" y="272"/>
                  </a:lnTo>
                  <a:lnTo>
                    <a:pt x="441" y="273"/>
                  </a:lnTo>
                  <a:lnTo>
                    <a:pt x="440" y="273"/>
                  </a:lnTo>
                  <a:lnTo>
                    <a:pt x="438" y="276"/>
                  </a:lnTo>
                  <a:lnTo>
                    <a:pt x="437" y="277"/>
                  </a:lnTo>
                  <a:lnTo>
                    <a:pt x="436" y="278"/>
                  </a:lnTo>
                  <a:lnTo>
                    <a:pt x="435" y="279"/>
                  </a:lnTo>
                  <a:lnTo>
                    <a:pt x="434" y="281"/>
                  </a:lnTo>
                  <a:lnTo>
                    <a:pt x="433" y="282"/>
                  </a:lnTo>
                  <a:lnTo>
                    <a:pt x="432" y="283"/>
                  </a:lnTo>
                  <a:lnTo>
                    <a:pt x="432" y="283"/>
                  </a:lnTo>
                  <a:lnTo>
                    <a:pt x="432" y="284"/>
                  </a:lnTo>
                  <a:lnTo>
                    <a:pt x="432" y="284"/>
                  </a:lnTo>
                  <a:lnTo>
                    <a:pt x="432" y="285"/>
                  </a:lnTo>
                  <a:lnTo>
                    <a:pt x="432" y="285"/>
                  </a:lnTo>
                  <a:lnTo>
                    <a:pt x="432" y="286"/>
                  </a:lnTo>
                  <a:lnTo>
                    <a:pt x="433" y="286"/>
                  </a:lnTo>
                  <a:lnTo>
                    <a:pt x="433" y="286"/>
                  </a:lnTo>
                  <a:lnTo>
                    <a:pt x="433" y="286"/>
                  </a:lnTo>
                  <a:lnTo>
                    <a:pt x="434" y="286"/>
                  </a:lnTo>
                  <a:lnTo>
                    <a:pt x="436" y="287"/>
                  </a:lnTo>
                  <a:lnTo>
                    <a:pt x="437" y="287"/>
                  </a:lnTo>
                  <a:lnTo>
                    <a:pt x="437" y="287"/>
                  </a:lnTo>
                  <a:lnTo>
                    <a:pt x="438" y="287"/>
                  </a:lnTo>
                  <a:lnTo>
                    <a:pt x="439" y="287"/>
                  </a:lnTo>
                  <a:lnTo>
                    <a:pt x="439" y="287"/>
                  </a:lnTo>
                  <a:lnTo>
                    <a:pt x="440" y="288"/>
                  </a:lnTo>
                  <a:lnTo>
                    <a:pt x="440" y="289"/>
                  </a:lnTo>
                  <a:lnTo>
                    <a:pt x="441" y="289"/>
                  </a:lnTo>
                  <a:lnTo>
                    <a:pt x="442" y="292"/>
                  </a:lnTo>
                  <a:lnTo>
                    <a:pt x="442" y="292"/>
                  </a:lnTo>
                  <a:lnTo>
                    <a:pt x="443" y="293"/>
                  </a:lnTo>
                  <a:lnTo>
                    <a:pt x="444" y="294"/>
                  </a:lnTo>
                  <a:lnTo>
                    <a:pt x="445" y="295"/>
                  </a:lnTo>
                  <a:lnTo>
                    <a:pt x="446" y="295"/>
                  </a:lnTo>
                  <a:lnTo>
                    <a:pt x="447" y="296"/>
                  </a:lnTo>
                  <a:lnTo>
                    <a:pt x="449" y="297"/>
                  </a:lnTo>
                  <a:lnTo>
                    <a:pt x="451" y="297"/>
                  </a:lnTo>
                  <a:lnTo>
                    <a:pt x="452" y="298"/>
                  </a:lnTo>
                  <a:lnTo>
                    <a:pt x="453" y="299"/>
                  </a:lnTo>
                  <a:lnTo>
                    <a:pt x="455" y="300"/>
                  </a:lnTo>
                  <a:lnTo>
                    <a:pt x="456" y="301"/>
                  </a:lnTo>
                  <a:lnTo>
                    <a:pt x="456" y="301"/>
                  </a:lnTo>
                  <a:lnTo>
                    <a:pt x="457" y="302"/>
                  </a:lnTo>
                  <a:lnTo>
                    <a:pt x="457" y="303"/>
                  </a:lnTo>
                  <a:lnTo>
                    <a:pt x="458" y="303"/>
                  </a:lnTo>
                  <a:lnTo>
                    <a:pt x="458" y="304"/>
                  </a:lnTo>
                  <a:lnTo>
                    <a:pt x="459" y="306"/>
                  </a:lnTo>
                  <a:lnTo>
                    <a:pt x="460" y="307"/>
                  </a:lnTo>
                  <a:lnTo>
                    <a:pt x="460" y="308"/>
                  </a:lnTo>
                  <a:lnTo>
                    <a:pt x="460" y="308"/>
                  </a:lnTo>
                  <a:lnTo>
                    <a:pt x="460" y="309"/>
                  </a:lnTo>
                  <a:lnTo>
                    <a:pt x="458" y="310"/>
                  </a:lnTo>
                  <a:lnTo>
                    <a:pt x="458" y="311"/>
                  </a:lnTo>
                  <a:lnTo>
                    <a:pt x="458" y="311"/>
                  </a:lnTo>
                  <a:lnTo>
                    <a:pt x="457" y="311"/>
                  </a:lnTo>
                  <a:lnTo>
                    <a:pt x="457" y="311"/>
                  </a:lnTo>
                  <a:lnTo>
                    <a:pt x="456" y="311"/>
                  </a:lnTo>
                  <a:lnTo>
                    <a:pt x="455" y="311"/>
                  </a:lnTo>
                  <a:lnTo>
                    <a:pt x="455" y="312"/>
                  </a:lnTo>
                  <a:lnTo>
                    <a:pt x="455" y="312"/>
                  </a:lnTo>
                  <a:lnTo>
                    <a:pt x="455" y="313"/>
                  </a:lnTo>
                  <a:lnTo>
                    <a:pt x="455" y="313"/>
                  </a:lnTo>
                  <a:lnTo>
                    <a:pt x="455" y="314"/>
                  </a:lnTo>
                  <a:lnTo>
                    <a:pt x="454" y="315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7"/>
                  </a:lnTo>
                  <a:lnTo>
                    <a:pt x="454" y="317"/>
                  </a:lnTo>
                  <a:lnTo>
                    <a:pt x="454" y="317"/>
                  </a:lnTo>
                  <a:lnTo>
                    <a:pt x="453" y="317"/>
                  </a:lnTo>
                  <a:lnTo>
                    <a:pt x="453" y="318"/>
                  </a:lnTo>
                  <a:lnTo>
                    <a:pt x="452" y="319"/>
                  </a:lnTo>
                  <a:lnTo>
                    <a:pt x="451" y="319"/>
                  </a:lnTo>
                  <a:lnTo>
                    <a:pt x="451" y="319"/>
                  </a:lnTo>
                  <a:lnTo>
                    <a:pt x="450" y="320"/>
                  </a:lnTo>
                  <a:lnTo>
                    <a:pt x="450" y="320"/>
                  </a:lnTo>
                  <a:lnTo>
                    <a:pt x="449" y="320"/>
                  </a:lnTo>
                  <a:lnTo>
                    <a:pt x="449" y="321"/>
                  </a:lnTo>
                  <a:lnTo>
                    <a:pt x="448" y="324"/>
                  </a:lnTo>
                  <a:lnTo>
                    <a:pt x="447" y="326"/>
                  </a:lnTo>
                  <a:lnTo>
                    <a:pt x="447" y="326"/>
                  </a:lnTo>
                  <a:lnTo>
                    <a:pt x="446" y="326"/>
                  </a:lnTo>
                  <a:lnTo>
                    <a:pt x="446" y="326"/>
                  </a:lnTo>
                  <a:lnTo>
                    <a:pt x="445" y="326"/>
                  </a:lnTo>
                  <a:lnTo>
                    <a:pt x="444" y="325"/>
                  </a:lnTo>
                  <a:lnTo>
                    <a:pt x="442" y="324"/>
                  </a:lnTo>
                  <a:lnTo>
                    <a:pt x="441" y="323"/>
                  </a:lnTo>
                  <a:lnTo>
                    <a:pt x="439" y="321"/>
                  </a:lnTo>
                  <a:lnTo>
                    <a:pt x="438" y="320"/>
                  </a:lnTo>
                  <a:lnTo>
                    <a:pt x="437" y="319"/>
                  </a:lnTo>
                  <a:lnTo>
                    <a:pt x="434" y="315"/>
                  </a:lnTo>
                  <a:lnTo>
                    <a:pt x="433" y="314"/>
                  </a:lnTo>
                  <a:lnTo>
                    <a:pt x="432" y="313"/>
                  </a:lnTo>
                  <a:lnTo>
                    <a:pt x="431" y="312"/>
                  </a:lnTo>
                  <a:lnTo>
                    <a:pt x="430" y="311"/>
                  </a:lnTo>
                  <a:lnTo>
                    <a:pt x="428" y="310"/>
                  </a:lnTo>
                  <a:lnTo>
                    <a:pt x="427" y="310"/>
                  </a:lnTo>
                  <a:lnTo>
                    <a:pt x="426" y="309"/>
                  </a:lnTo>
                  <a:lnTo>
                    <a:pt x="425" y="309"/>
                  </a:lnTo>
                  <a:lnTo>
                    <a:pt x="424" y="308"/>
                  </a:lnTo>
                  <a:lnTo>
                    <a:pt x="423" y="308"/>
                  </a:lnTo>
                  <a:lnTo>
                    <a:pt x="421" y="308"/>
                  </a:lnTo>
                  <a:lnTo>
                    <a:pt x="420" y="307"/>
                  </a:lnTo>
                  <a:lnTo>
                    <a:pt x="415" y="307"/>
                  </a:lnTo>
                  <a:lnTo>
                    <a:pt x="414" y="306"/>
                  </a:lnTo>
                  <a:lnTo>
                    <a:pt x="413" y="306"/>
                  </a:lnTo>
                  <a:lnTo>
                    <a:pt x="412" y="305"/>
                  </a:lnTo>
                  <a:lnTo>
                    <a:pt x="411" y="305"/>
                  </a:lnTo>
                  <a:lnTo>
                    <a:pt x="410" y="304"/>
                  </a:lnTo>
                  <a:lnTo>
                    <a:pt x="409" y="304"/>
                  </a:lnTo>
                  <a:lnTo>
                    <a:pt x="407" y="302"/>
                  </a:lnTo>
                  <a:lnTo>
                    <a:pt x="402" y="300"/>
                  </a:lnTo>
                  <a:lnTo>
                    <a:pt x="398" y="297"/>
                  </a:lnTo>
                  <a:lnTo>
                    <a:pt x="397" y="296"/>
                  </a:lnTo>
                  <a:lnTo>
                    <a:pt x="396" y="295"/>
                  </a:lnTo>
                  <a:lnTo>
                    <a:pt x="394" y="294"/>
                  </a:lnTo>
                  <a:lnTo>
                    <a:pt x="392" y="293"/>
                  </a:lnTo>
                  <a:lnTo>
                    <a:pt x="390" y="293"/>
                  </a:lnTo>
                  <a:lnTo>
                    <a:pt x="389" y="293"/>
                  </a:lnTo>
                  <a:lnTo>
                    <a:pt x="388" y="292"/>
                  </a:lnTo>
                  <a:lnTo>
                    <a:pt x="387" y="292"/>
                  </a:lnTo>
                  <a:lnTo>
                    <a:pt x="385" y="292"/>
                  </a:lnTo>
                  <a:lnTo>
                    <a:pt x="383" y="292"/>
                  </a:lnTo>
                  <a:lnTo>
                    <a:pt x="380" y="293"/>
                  </a:lnTo>
                  <a:lnTo>
                    <a:pt x="379" y="293"/>
                  </a:lnTo>
                  <a:lnTo>
                    <a:pt x="378" y="293"/>
                  </a:lnTo>
                  <a:lnTo>
                    <a:pt x="377" y="292"/>
                  </a:lnTo>
                  <a:lnTo>
                    <a:pt x="375" y="292"/>
                  </a:lnTo>
                  <a:lnTo>
                    <a:pt x="374" y="292"/>
                  </a:lnTo>
                  <a:lnTo>
                    <a:pt x="374" y="292"/>
                  </a:lnTo>
                  <a:lnTo>
                    <a:pt x="372" y="291"/>
                  </a:lnTo>
                  <a:lnTo>
                    <a:pt x="370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8" y="290"/>
                  </a:lnTo>
                  <a:lnTo>
                    <a:pt x="368" y="290"/>
                  </a:lnTo>
                  <a:lnTo>
                    <a:pt x="367" y="290"/>
                  </a:lnTo>
                  <a:lnTo>
                    <a:pt x="367" y="291"/>
                  </a:lnTo>
                  <a:lnTo>
                    <a:pt x="367" y="291"/>
                  </a:lnTo>
                  <a:lnTo>
                    <a:pt x="366" y="292"/>
                  </a:lnTo>
                  <a:lnTo>
                    <a:pt x="366" y="295"/>
                  </a:lnTo>
                  <a:lnTo>
                    <a:pt x="365" y="296"/>
                  </a:lnTo>
                  <a:lnTo>
                    <a:pt x="364" y="298"/>
                  </a:lnTo>
                  <a:lnTo>
                    <a:pt x="363" y="300"/>
                  </a:lnTo>
                  <a:lnTo>
                    <a:pt x="362" y="301"/>
                  </a:lnTo>
                  <a:lnTo>
                    <a:pt x="362" y="302"/>
                  </a:lnTo>
                  <a:lnTo>
                    <a:pt x="361" y="302"/>
                  </a:lnTo>
                  <a:lnTo>
                    <a:pt x="360" y="303"/>
                  </a:lnTo>
                  <a:lnTo>
                    <a:pt x="360" y="303"/>
                  </a:lnTo>
                  <a:lnTo>
                    <a:pt x="359" y="303"/>
                  </a:lnTo>
                  <a:lnTo>
                    <a:pt x="359" y="304"/>
                  </a:lnTo>
                  <a:lnTo>
                    <a:pt x="357" y="304"/>
                  </a:lnTo>
                  <a:lnTo>
                    <a:pt x="355" y="304"/>
                  </a:lnTo>
                  <a:lnTo>
                    <a:pt x="352" y="304"/>
                  </a:lnTo>
                  <a:lnTo>
                    <a:pt x="351" y="304"/>
                  </a:lnTo>
                  <a:lnTo>
                    <a:pt x="349" y="305"/>
                  </a:lnTo>
                  <a:lnTo>
                    <a:pt x="348" y="305"/>
                  </a:lnTo>
                  <a:lnTo>
                    <a:pt x="346" y="306"/>
                  </a:lnTo>
                  <a:lnTo>
                    <a:pt x="344" y="307"/>
                  </a:lnTo>
                  <a:lnTo>
                    <a:pt x="341" y="308"/>
                  </a:lnTo>
                  <a:lnTo>
                    <a:pt x="340" y="309"/>
                  </a:lnTo>
                  <a:lnTo>
                    <a:pt x="339" y="309"/>
                  </a:lnTo>
                  <a:lnTo>
                    <a:pt x="338" y="309"/>
                  </a:lnTo>
                  <a:lnTo>
                    <a:pt x="337" y="309"/>
                  </a:lnTo>
                  <a:lnTo>
                    <a:pt x="335" y="309"/>
                  </a:lnTo>
                  <a:lnTo>
                    <a:pt x="334" y="309"/>
                  </a:lnTo>
                  <a:lnTo>
                    <a:pt x="334" y="309"/>
                  </a:lnTo>
                  <a:lnTo>
                    <a:pt x="333" y="309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2" y="308"/>
                  </a:lnTo>
                  <a:lnTo>
                    <a:pt x="331" y="308"/>
                  </a:lnTo>
                  <a:lnTo>
                    <a:pt x="331" y="308"/>
                  </a:lnTo>
                  <a:lnTo>
                    <a:pt x="331" y="307"/>
                  </a:lnTo>
                  <a:lnTo>
                    <a:pt x="331" y="307"/>
                  </a:lnTo>
                  <a:lnTo>
                    <a:pt x="331" y="306"/>
                  </a:lnTo>
                  <a:lnTo>
                    <a:pt x="331" y="302"/>
                  </a:lnTo>
                  <a:lnTo>
                    <a:pt x="331" y="302"/>
                  </a:lnTo>
                  <a:lnTo>
                    <a:pt x="331" y="301"/>
                  </a:lnTo>
                  <a:lnTo>
                    <a:pt x="331" y="300"/>
                  </a:lnTo>
                  <a:lnTo>
                    <a:pt x="331" y="299"/>
                  </a:lnTo>
                  <a:lnTo>
                    <a:pt x="330" y="297"/>
                  </a:lnTo>
                  <a:lnTo>
                    <a:pt x="330" y="296"/>
                  </a:lnTo>
                  <a:lnTo>
                    <a:pt x="329" y="293"/>
                  </a:lnTo>
                  <a:lnTo>
                    <a:pt x="329" y="291"/>
                  </a:lnTo>
                  <a:lnTo>
                    <a:pt x="328" y="290"/>
                  </a:lnTo>
                  <a:lnTo>
                    <a:pt x="328" y="290"/>
                  </a:lnTo>
                  <a:lnTo>
                    <a:pt x="328" y="289"/>
                  </a:lnTo>
                  <a:lnTo>
                    <a:pt x="327" y="288"/>
                  </a:lnTo>
                  <a:lnTo>
                    <a:pt x="326" y="288"/>
                  </a:lnTo>
                  <a:lnTo>
                    <a:pt x="325" y="287"/>
                  </a:lnTo>
                  <a:lnTo>
                    <a:pt x="325" y="287"/>
                  </a:lnTo>
                  <a:lnTo>
                    <a:pt x="323" y="286"/>
                  </a:lnTo>
                  <a:lnTo>
                    <a:pt x="322" y="286"/>
                  </a:lnTo>
                  <a:lnTo>
                    <a:pt x="321" y="286"/>
                  </a:lnTo>
                  <a:lnTo>
                    <a:pt x="319" y="285"/>
                  </a:lnTo>
                  <a:lnTo>
                    <a:pt x="317" y="285"/>
                  </a:lnTo>
                  <a:lnTo>
                    <a:pt x="316" y="285"/>
                  </a:lnTo>
                  <a:lnTo>
                    <a:pt x="313" y="285"/>
                  </a:lnTo>
                  <a:lnTo>
                    <a:pt x="311" y="285"/>
                  </a:lnTo>
                  <a:lnTo>
                    <a:pt x="310" y="285"/>
                  </a:lnTo>
                  <a:lnTo>
                    <a:pt x="309" y="285"/>
                  </a:lnTo>
                  <a:lnTo>
                    <a:pt x="308" y="284"/>
                  </a:lnTo>
                  <a:lnTo>
                    <a:pt x="306" y="284"/>
                  </a:lnTo>
                  <a:lnTo>
                    <a:pt x="306" y="284"/>
                  </a:lnTo>
                  <a:lnTo>
                    <a:pt x="305" y="283"/>
                  </a:lnTo>
                  <a:lnTo>
                    <a:pt x="304" y="283"/>
                  </a:lnTo>
                  <a:lnTo>
                    <a:pt x="303" y="283"/>
                  </a:lnTo>
                  <a:lnTo>
                    <a:pt x="302" y="282"/>
                  </a:lnTo>
                  <a:lnTo>
                    <a:pt x="300" y="280"/>
                  </a:lnTo>
                  <a:lnTo>
                    <a:pt x="300" y="280"/>
                  </a:lnTo>
                  <a:lnTo>
                    <a:pt x="299" y="279"/>
                  </a:lnTo>
                  <a:lnTo>
                    <a:pt x="299" y="279"/>
                  </a:lnTo>
                  <a:lnTo>
                    <a:pt x="298" y="279"/>
                  </a:lnTo>
                  <a:lnTo>
                    <a:pt x="297" y="278"/>
                  </a:lnTo>
                  <a:lnTo>
                    <a:pt x="297" y="278"/>
                  </a:lnTo>
                  <a:lnTo>
                    <a:pt x="293" y="278"/>
                  </a:lnTo>
                  <a:lnTo>
                    <a:pt x="290" y="277"/>
                  </a:lnTo>
                  <a:lnTo>
                    <a:pt x="289" y="277"/>
                  </a:lnTo>
                  <a:lnTo>
                    <a:pt x="288" y="277"/>
                  </a:lnTo>
                  <a:lnTo>
                    <a:pt x="287" y="277"/>
                  </a:lnTo>
                  <a:lnTo>
                    <a:pt x="286" y="277"/>
                  </a:lnTo>
                  <a:lnTo>
                    <a:pt x="285" y="277"/>
                  </a:lnTo>
                  <a:lnTo>
                    <a:pt x="284" y="278"/>
                  </a:lnTo>
                  <a:lnTo>
                    <a:pt x="283" y="278"/>
                  </a:lnTo>
                  <a:lnTo>
                    <a:pt x="282" y="279"/>
                  </a:lnTo>
                  <a:lnTo>
                    <a:pt x="282" y="279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1"/>
                  </a:lnTo>
                  <a:lnTo>
                    <a:pt x="280" y="283"/>
                  </a:lnTo>
                  <a:lnTo>
                    <a:pt x="280" y="284"/>
                  </a:lnTo>
                  <a:lnTo>
                    <a:pt x="280" y="286"/>
                  </a:lnTo>
                  <a:lnTo>
                    <a:pt x="279" y="287"/>
                  </a:lnTo>
                  <a:lnTo>
                    <a:pt x="278" y="288"/>
                  </a:lnTo>
                  <a:lnTo>
                    <a:pt x="277" y="290"/>
                  </a:lnTo>
                  <a:lnTo>
                    <a:pt x="277" y="292"/>
                  </a:lnTo>
                  <a:lnTo>
                    <a:pt x="277" y="292"/>
                  </a:lnTo>
                  <a:lnTo>
                    <a:pt x="276" y="294"/>
                  </a:lnTo>
                  <a:lnTo>
                    <a:pt x="276" y="295"/>
                  </a:lnTo>
                  <a:lnTo>
                    <a:pt x="275" y="296"/>
                  </a:lnTo>
                  <a:lnTo>
                    <a:pt x="275" y="297"/>
                  </a:lnTo>
                  <a:lnTo>
                    <a:pt x="275" y="298"/>
                  </a:lnTo>
                  <a:lnTo>
                    <a:pt x="275" y="300"/>
                  </a:lnTo>
                  <a:lnTo>
                    <a:pt x="275" y="302"/>
                  </a:lnTo>
                  <a:lnTo>
                    <a:pt x="275" y="304"/>
                  </a:lnTo>
                  <a:lnTo>
                    <a:pt x="275" y="305"/>
                  </a:lnTo>
                  <a:lnTo>
                    <a:pt x="276" y="308"/>
                  </a:lnTo>
                  <a:lnTo>
                    <a:pt x="276" y="313"/>
                  </a:lnTo>
                  <a:lnTo>
                    <a:pt x="277" y="316"/>
                  </a:lnTo>
                  <a:lnTo>
                    <a:pt x="277" y="318"/>
                  </a:lnTo>
                  <a:lnTo>
                    <a:pt x="278" y="323"/>
                  </a:lnTo>
                  <a:lnTo>
                    <a:pt x="278" y="325"/>
                  </a:lnTo>
                  <a:lnTo>
                    <a:pt x="278" y="326"/>
                  </a:lnTo>
                  <a:lnTo>
                    <a:pt x="278" y="328"/>
                  </a:lnTo>
                  <a:lnTo>
                    <a:pt x="278" y="329"/>
                  </a:lnTo>
                  <a:lnTo>
                    <a:pt x="278" y="330"/>
                  </a:lnTo>
                  <a:lnTo>
                    <a:pt x="278" y="332"/>
                  </a:lnTo>
                  <a:lnTo>
                    <a:pt x="277" y="334"/>
                  </a:lnTo>
                  <a:lnTo>
                    <a:pt x="276" y="340"/>
                  </a:lnTo>
                  <a:lnTo>
                    <a:pt x="276" y="341"/>
                  </a:lnTo>
                  <a:lnTo>
                    <a:pt x="275" y="343"/>
                  </a:lnTo>
                  <a:lnTo>
                    <a:pt x="275" y="344"/>
                  </a:lnTo>
                  <a:lnTo>
                    <a:pt x="274" y="346"/>
                  </a:lnTo>
                  <a:lnTo>
                    <a:pt x="274" y="347"/>
                  </a:lnTo>
                  <a:lnTo>
                    <a:pt x="274" y="349"/>
                  </a:lnTo>
                  <a:lnTo>
                    <a:pt x="274" y="350"/>
                  </a:lnTo>
                  <a:lnTo>
                    <a:pt x="274" y="354"/>
                  </a:lnTo>
                  <a:lnTo>
                    <a:pt x="274" y="355"/>
                  </a:lnTo>
                  <a:lnTo>
                    <a:pt x="274" y="356"/>
                  </a:lnTo>
                  <a:lnTo>
                    <a:pt x="274" y="357"/>
                  </a:lnTo>
                  <a:lnTo>
                    <a:pt x="274" y="357"/>
                  </a:lnTo>
                  <a:lnTo>
                    <a:pt x="273" y="360"/>
                  </a:lnTo>
                  <a:lnTo>
                    <a:pt x="272" y="361"/>
                  </a:lnTo>
                  <a:lnTo>
                    <a:pt x="271" y="366"/>
                  </a:lnTo>
                  <a:lnTo>
                    <a:pt x="270" y="369"/>
                  </a:lnTo>
                  <a:lnTo>
                    <a:pt x="270" y="370"/>
                  </a:lnTo>
                  <a:lnTo>
                    <a:pt x="269" y="372"/>
                  </a:lnTo>
                  <a:lnTo>
                    <a:pt x="269" y="374"/>
                  </a:lnTo>
                  <a:lnTo>
                    <a:pt x="269" y="376"/>
                  </a:lnTo>
                  <a:lnTo>
                    <a:pt x="269" y="377"/>
                  </a:lnTo>
                  <a:lnTo>
                    <a:pt x="269" y="378"/>
                  </a:lnTo>
                  <a:lnTo>
                    <a:pt x="269" y="379"/>
                  </a:lnTo>
                  <a:lnTo>
                    <a:pt x="269" y="380"/>
                  </a:lnTo>
                  <a:lnTo>
                    <a:pt x="269" y="381"/>
                  </a:lnTo>
                  <a:lnTo>
                    <a:pt x="270" y="382"/>
                  </a:lnTo>
                  <a:lnTo>
                    <a:pt x="270" y="383"/>
                  </a:lnTo>
                  <a:lnTo>
                    <a:pt x="272" y="385"/>
                  </a:lnTo>
                  <a:lnTo>
                    <a:pt x="272" y="386"/>
                  </a:lnTo>
                  <a:lnTo>
                    <a:pt x="272" y="386"/>
                  </a:lnTo>
                  <a:lnTo>
                    <a:pt x="273" y="387"/>
                  </a:lnTo>
                  <a:lnTo>
                    <a:pt x="273" y="388"/>
                  </a:lnTo>
                  <a:lnTo>
                    <a:pt x="273" y="389"/>
                  </a:lnTo>
                  <a:lnTo>
                    <a:pt x="273" y="390"/>
                  </a:lnTo>
                  <a:lnTo>
                    <a:pt x="272" y="390"/>
                  </a:lnTo>
                  <a:lnTo>
                    <a:pt x="272" y="391"/>
                  </a:lnTo>
                  <a:lnTo>
                    <a:pt x="271" y="392"/>
                  </a:lnTo>
                  <a:lnTo>
                    <a:pt x="271" y="393"/>
                  </a:lnTo>
                  <a:lnTo>
                    <a:pt x="270" y="393"/>
                  </a:lnTo>
                  <a:lnTo>
                    <a:pt x="269" y="394"/>
                  </a:lnTo>
                  <a:lnTo>
                    <a:pt x="268" y="394"/>
                  </a:lnTo>
                  <a:lnTo>
                    <a:pt x="267" y="394"/>
                  </a:lnTo>
                  <a:lnTo>
                    <a:pt x="266" y="394"/>
                  </a:lnTo>
                  <a:lnTo>
                    <a:pt x="264" y="394"/>
                  </a:lnTo>
                  <a:lnTo>
                    <a:pt x="263" y="394"/>
                  </a:lnTo>
                  <a:lnTo>
                    <a:pt x="258" y="392"/>
                  </a:lnTo>
                  <a:lnTo>
                    <a:pt x="255" y="391"/>
                  </a:lnTo>
                  <a:lnTo>
                    <a:pt x="253" y="391"/>
                  </a:lnTo>
                  <a:lnTo>
                    <a:pt x="252" y="391"/>
                  </a:lnTo>
                  <a:lnTo>
                    <a:pt x="248" y="389"/>
                  </a:lnTo>
                  <a:lnTo>
                    <a:pt x="247" y="389"/>
                  </a:lnTo>
                  <a:lnTo>
                    <a:pt x="245" y="388"/>
                  </a:lnTo>
                  <a:lnTo>
                    <a:pt x="244" y="388"/>
                  </a:lnTo>
                  <a:lnTo>
                    <a:pt x="243" y="387"/>
                  </a:lnTo>
                  <a:lnTo>
                    <a:pt x="242" y="387"/>
                  </a:lnTo>
                  <a:lnTo>
                    <a:pt x="238" y="386"/>
                  </a:lnTo>
                  <a:lnTo>
                    <a:pt x="235" y="386"/>
                  </a:lnTo>
                  <a:lnTo>
                    <a:pt x="233" y="385"/>
                  </a:lnTo>
                  <a:lnTo>
                    <a:pt x="232" y="385"/>
                  </a:lnTo>
                  <a:lnTo>
                    <a:pt x="231" y="385"/>
                  </a:lnTo>
                  <a:lnTo>
                    <a:pt x="230" y="385"/>
                  </a:lnTo>
                  <a:lnTo>
                    <a:pt x="229" y="386"/>
                  </a:lnTo>
                  <a:lnTo>
                    <a:pt x="229" y="386"/>
                  </a:lnTo>
                  <a:lnTo>
                    <a:pt x="228" y="386"/>
                  </a:lnTo>
                  <a:lnTo>
                    <a:pt x="227" y="386"/>
                  </a:lnTo>
                  <a:lnTo>
                    <a:pt x="227" y="387"/>
                  </a:lnTo>
                  <a:lnTo>
                    <a:pt x="226" y="387"/>
                  </a:lnTo>
                  <a:lnTo>
                    <a:pt x="225" y="388"/>
                  </a:lnTo>
                  <a:lnTo>
                    <a:pt x="225" y="388"/>
                  </a:lnTo>
                  <a:lnTo>
                    <a:pt x="224" y="389"/>
                  </a:lnTo>
                  <a:lnTo>
                    <a:pt x="224" y="389"/>
                  </a:lnTo>
                  <a:lnTo>
                    <a:pt x="224" y="390"/>
                  </a:lnTo>
                  <a:lnTo>
                    <a:pt x="224" y="391"/>
                  </a:lnTo>
                  <a:lnTo>
                    <a:pt x="223" y="394"/>
                  </a:lnTo>
                  <a:lnTo>
                    <a:pt x="222" y="399"/>
                  </a:lnTo>
                  <a:lnTo>
                    <a:pt x="222" y="401"/>
                  </a:lnTo>
                  <a:lnTo>
                    <a:pt x="221" y="404"/>
                  </a:lnTo>
                  <a:lnTo>
                    <a:pt x="221" y="405"/>
                  </a:lnTo>
                  <a:lnTo>
                    <a:pt x="221" y="406"/>
                  </a:lnTo>
                  <a:lnTo>
                    <a:pt x="220" y="407"/>
                  </a:lnTo>
                  <a:lnTo>
                    <a:pt x="220" y="408"/>
                  </a:lnTo>
                  <a:lnTo>
                    <a:pt x="219" y="409"/>
                  </a:lnTo>
                  <a:lnTo>
                    <a:pt x="218" y="410"/>
                  </a:lnTo>
                  <a:lnTo>
                    <a:pt x="217" y="412"/>
                  </a:lnTo>
                  <a:lnTo>
                    <a:pt x="215" y="414"/>
                  </a:lnTo>
                  <a:lnTo>
                    <a:pt x="214" y="415"/>
                  </a:lnTo>
                  <a:lnTo>
                    <a:pt x="213" y="416"/>
                  </a:lnTo>
                  <a:lnTo>
                    <a:pt x="212" y="416"/>
                  </a:lnTo>
                  <a:lnTo>
                    <a:pt x="211" y="417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Freeform 48">
              <a:extLst>
                <a:ext uri="{FF2B5EF4-FFF2-40B4-BE49-F238E27FC236}">
                  <a16:creationId xmlns:a16="http://schemas.microsoft.com/office/drawing/2014/main" id="{4E08A60D-CA27-873A-4BFD-453579634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3556"/>
              <a:ext cx="373" cy="465"/>
            </a:xfrm>
            <a:custGeom>
              <a:avLst/>
              <a:gdLst>
                <a:gd name="T0" fmla="*/ 359 w 373"/>
                <a:gd name="T1" fmla="*/ 411 h 465"/>
                <a:gd name="T2" fmla="*/ 357 w 373"/>
                <a:gd name="T3" fmla="*/ 438 h 465"/>
                <a:gd name="T4" fmla="*/ 352 w 373"/>
                <a:gd name="T5" fmla="*/ 452 h 465"/>
                <a:gd name="T6" fmla="*/ 344 w 373"/>
                <a:gd name="T7" fmla="*/ 453 h 465"/>
                <a:gd name="T8" fmla="*/ 334 w 373"/>
                <a:gd name="T9" fmla="*/ 444 h 465"/>
                <a:gd name="T10" fmla="*/ 324 w 373"/>
                <a:gd name="T11" fmla="*/ 435 h 465"/>
                <a:gd name="T12" fmla="*/ 310 w 373"/>
                <a:gd name="T13" fmla="*/ 441 h 465"/>
                <a:gd name="T14" fmla="*/ 292 w 373"/>
                <a:gd name="T15" fmla="*/ 436 h 465"/>
                <a:gd name="T16" fmla="*/ 279 w 373"/>
                <a:gd name="T17" fmla="*/ 425 h 465"/>
                <a:gd name="T18" fmla="*/ 275 w 373"/>
                <a:gd name="T19" fmla="*/ 434 h 465"/>
                <a:gd name="T20" fmla="*/ 269 w 373"/>
                <a:gd name="T21" fmla="*/ 448 h 465"/>
                <a:gd name="T22" fmla="*/ 257 w 373"/>
                <a:gd name="T23" fmla="*/ 451 h 465"/>
                <a:gd name="T24" fmla="*/ 249 w 373"/>
                <a:gd name="T25" fmla="*/ 459 h 465"/>
                <a:gd name="T26" fmla="*/ 239 w 373"/>
                <a:gd name="T27" fmla="*/ 465 h 465"/>
                <a:gd name="T28" fmla="*/ 212 w 373"/>
                <a:gd name="T29" fmla="*/ 454 h 465"/>
                <a:gd name="T30" fmla="*/ 183 w 373"/>
                <a:gd name="T31" fmla="*/ 448 h 465"/>
                <a:gd name="T32" fmla="*/ 165 w 373"/>
                <a:gd name="T33" fmla="*/ 447 h 465"/>
                <a:gd name="T34" fmla="*/ 152 w 373"/>
                <a:gd name="T35" fmla="*/ 438 h 465"/>
                <a:gd name="T36" fmla="*/ 144 w 373"/>
                <a:gd name="T37" fmla="*/ 428 h 465"/>
                <a:gd name="T38" fmla="*/ 147 w 373"/>
                <a:gd name="T39" fmla="*/ 421 h 465"/>
                <a:gd name="T40" fmla="*/ 154 w 373"/>
                <a:gd name="T41" fmla="*/ 414 h 465"/>
                <a:gd name="T42" fmla="*/ 143 w 373"/>
                <a:gd name="T43" fmla="*/ 401 h 465"/>
                <a:gd name="T44" fmla="*/ 128 w 373"/>
                <a:gd name="T45" fmla="*/ 391 h 465"/>
                <a:gd name="T46" fmla="*/ 108 w 373"/>
                <a:gd name="T47" fmla="*/ 375 h 465"/>
                <a:gd name="T48" fmla="*/ 86 w 373"/>
                <a:gd name="T49" fmla="*/ 363 h 465"/>
                <a:gd name="T50" fmla="*/ 79 w 373"/>
                <a:gd name="T51" fmla="*/ 352 h 465"/>
                <a:gd name="T52" fmla="*/ 70 w 373"/>
                <a:gd name="T53" fmla="*/ 336 h 465"/>
                <a:gd name="T54" fmla="*/ 61 w 373"/>
                <a:gd name="T55" fmla="*/ 318 h 465"/>
                <a:gd name="T56" fmla="*/ 49 w 373"/>
                <a:gd name="T57" fmla="*/ 313 h 465"/>
                <a:gd name="T58" fmla="*/ 34 w 373"/>
                <a:gd name="T59" fmla="*/ 306 h 465"/>
                <a:gd name="T60" fmla="*/ 23 w 373"/>
                <a:gd name="T61" fmla="*/ 283 h 465"/>
                <a:gd name="T62" fmla="*/ 13 w 373"/>
                <a:gd name="T63" fmla="*/ 276 h 465"/>
                <a:gd name="T64" fmla="*/ 3 w 373"/>
                <a:gd name="T65" fmla="*/ 272 h 465"/>
                <a:gd name="T66" fmla="*/ 0 w 373"/>
                <a:gd name="T67" fmla="*/ 259 h 465"/>
                <a:gd name="T68" fmla="*/ 6 w 373"/>
                <a:gd name="T69" fmla="*/ 240 h 465"/>
                <a:gd name="T70" fmla="*/ 16 w 373"/>
                <a:gd name="T71" fmla="*/ 233 h 465"/>
                <a:gd name="T72" fmla="*/ 17 w 373"/>
                <a:gd name="T73" fmla="*/ 219 h 465"/>
                <a:gd name="T74" fmla="*/ 16 w 373"/>
                <a:gd name="T75" fmla="*/ 200 h 465"/>
                <a:gd name="T76" fmla="*/ 25 w 373"/>
                <a:gd name="T77" fmla="*/ 192 h 465"/>
                <a:gd name="T78" fmla="*/ 38 w 373"/>
                <a:gd name="T79" fmla="*/ 185 h 465"/>
                <a:gd name="T80" fmla="*/ 49 w 373"/>
                <a:gd name="T81" fmla="*/ 173 h 465"/>
                <a:gd name="T82" fmla="*/ 53 w 373"/>
                <a:gd name="T83" fmla="*/ 163 h 465"/>
                <a:gd name="T84" fmla="*/ 48 w 373"/>
                <a:gd name="T85" fmla="*/ 151 h 465"/>
                <a:gd name="T86" fmla="*/ 56 w 373"/>
                <a:gd name="T87" fmla="*/ 144 h 465"/>
                <a:gd name="T88" fmla="*/ 54 w 373"/>
                <a:gd name="T89" fmla="*/ 137 h 465"/>
                <a:gd name="T90" fmla="*/ 53 w 373"/>
                <a:gd name="T91" fmla="*/ 131 h 465"/>
                <a:gd name="T92" fmla="*/ 59 w 373"/>
                <a:gd name="T93" fmla="*/ 125 h 465"/>
                <a:gd name="T94" fmla="*/ 60 w 373"/>
                <a:gd name="T95" fmla="*/ 115 h 465"/>
                <a:gd name="T96" fmla="*/ 73 w 373"/>
                <a:gd name="T97" fmla="*/ 99 h 465"/>
                <a:gd name="T98" fmla="*/ 76 w 373"/>
                <a:gd name="T99" fmla="*/ 86 h 465"/>
                <a:gd name="T100" fmla="*/ 71 w 373"/>
                <a:gd name="T101" fmla="*/ 66 h 465"/>
                <a:gd name="T102" fmla="*/ 74 w 373"/>
                <a:gd name="T103" fmla="*/ 52 h 465"/>
                <a:gd name="T104" fmla="*/ 70 w 373"/>
                <a:gd name="T105" fmla="*/ 35 h 465"/>
                <a:gd name="T106" fmla="*/ 70 w 373"/>
                <a:gd name="T107" fmla="*/ 23 h 465"/>
                <a:gd name="T108" fmla="*/ 76 w 373"/>
                <a:gd name="T109" fmla="*/ 21 h 465"/>
                <a:gd name="T110" fmla="*/ 90 w 373"/>
                <a:gd name="T111" fmla="*/ 18 h 465"/>
                <a:gd name="T112" fmla="*/ 101 w 373"/>
                <a:gd name="T113" fmla="*/ 18 h 465"/>
                <a:gd name="T114" fmla="*/ 111 w 373"/>
                <a:gd name="T115" fmla="*/ 23 h 465"/>
                <a:gd name="T116" fmla="*/ 122 w 373"/>
                <a:gd name="T117" fmla="*/ 25 h 465"/>
                <a:gd name="T118" fmla="*/ 135 w 373"/>
                <a:gd name="T119" fmla="*/ 20 h 465"/>
                <a:gd name="T120" fmla="*/ 144 w 373"/>
                <a:gd name="T121" fmla="*/ 13 h 465"/>
                <a:gd name="T122" fmla="*/ 157 w 373"/>
                <a:gd name="T123" fmla="*/ 1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" h="465">
                  <a:moveTo>
                    <a:pt x="373" y="394"/>
                  </a:moveTo>
                  <a:lnTo>
                    <a:pt x="370" y="396"/>
                  </a:lnTo>
                  <a:lnTo>
                    <a:pt x="367" y="399"/>
                  </a:lnTo>
                  <a:lnTo>
                    <a:pt x="365" y="400"/>
                  </a:lnTo>
                  <a:lnTo>
                    <a:pt x="364" y="401"/>
                  </a:lnTo>
                  <a:lnTo>
                    <a:pt x="364" y="402"/>
                  </a:lnTo>
                  <a:lnTo>
                    <a:pt x="363" y="403"/>
                  </a:lnTo>
                  <a:lnTo>
                    <a:pt x="362" y="404"/>
                  </a:lnTo>
                  <a:lnTo>
                    <a:pt x="361" y="406"/>
                  </a:lnTo>
                  <a:lnTo>
                    <a:pt x="360" y="408"/>
                  </a:lnTo>
                  <a:lnTo>
                    <a:pt x="360" y="409"/>
                  </a:lnTo>
                  <a:lnTo>
                    <a:pt x="359" y="411"/>
                  </a:lnTo>
                  <a:lnTo>
                    <a:pt x="358" y="414"/>
                  </a:lnTo>
                  <a:lnTo>
                    <a:pt x="358" y="415"/>
                  </a:lnTo>
                  <a:lnTo>
                    <a:pt x="357" y="417"/>
                  </a:lnTo>
                  <a:lnTo>
                    <a:pt x="357" y="418"/>
                  </a:lnTo>
                  <a:lnTo>
                    <a:pt x="357" y="420"/>
                  </a:lnTo>
                  <a:lnTo>
                    <a:pt x="357" y="421"/>
                  </a:lnTo>
                  <a:lnTo>
                    <a:pt x="357" y="422"/>
                  </a:lnTo>
                  <a:lnTo>
                    <a:pt x="357" y="428"/>
                  </a:lnTo>
                  <a:lnTo>
                    <a:pt x="357" y="430"/>
                  </a:lnTo>
                  <a:lnTo>
                    <a:pt x="357" y="431"/>
                  </a:lnTo>
                  <a:lnTo>
                    <a:pt x="357" y="433"/>
                  </a:lnTo>
                  <a:lnTo>
                    <a:pt x="357" y="438"/>
                  </a:lnTo>
                  <a:lnTo>
                    <a:pt x="357" y="441"/>
                  </a:lnTo>
                  <a:lnTo>
                    <a:pt x="357" y="442"/>
                  </a:lnTo>
                  <a:lnTo>
                    <a:pt x="356" y="444"/>
                  </a:lnTo>
                  <a:lnTo>
                    <a:pt x="356" y="445"/>
                  </a:lnTo>
                  <a:lnTo>
                    <a:pt x="356" y="446"/>
                  </a:lnTo>
                  <a:lnTo>
                    <a:pt x="356" y="446"/>
                  </a:lnTo>
                  <a:lnTo>
                    <a:pt x="355" y="448"/>
                  </a:lnTo>
                  <a:lnTo>
                    <a:pt x="355" y="449"/>
                  </a:lnTo>
                  <a:lnTo>
                    <a:pt x="354" y="450"/>
                  </a:lnTo>
                  <a:lnTo>
                    <a:pt x="353" y="450"/>
                  </a:lnTo>
                  <a:lnTo>
                    <a:pt x="353" y="451"/>
                  </a:lnTo>
                  <a:lnTo>
                    <a:pt x="352" y="452"/>
                  </a:lnTo>
                  <a:lnTo>
                    <a:pt x="352" y="452"/>
                  </a:lnTo>
                  <a:lnTo>
                    <a:pt x="351" y="452"/>
                  </a:lnTo>
                  <a:lnTo>
                    <a:pt x="351" y="453"/>
                  </a:lnTo>
                  <a:lnTo>
                    <a:pt x="350" y="453"/>
                  </a:lnTo>
                  <a:lnTo>
                    <a:pt x="350" y="453"/>
                  </a:lnTo>
                  <a:lnTo>
                    <a:pt x="349" y="453"/>
                  </a:lnTo>
                  <a:lnTo>
                    <a:pt x="348" y="453"/>
                  </a:lnTo>
                  <a:lnTo>
                    <a:pt x="347" y="453"/>
                  </a:lnTo>
                  <a:lnTo>
                    <a:pt x="346" y="453"/>
                  </a:lnTo>
                  <a:lnTo>
                    <a:pt x="345" y="453"/>
                  </a:lnTo>
                  <a:lnTo>
                    <a:pt x="344" y="453"/>
                  </a:lnTo>
                  <a:lnTo>
                    <a:pt x="344" y="453"/>
                  </a:lnTo>
                  <a:lnTo>
                    <a:pt x="343" y="453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1" y="451"/>
                  </a:lnTo>
                  <a:lnTo>
                    <a:pt x="340" y="451"/>
                  </a:lnTo>
                  <a:lnTo>
                    <a:pt x="340" y="450"/>
                  </a:lnTo>
                  <a:lnTo>
                    <a:pt x="337" y="447"/>
                  </a:lnTo>
                  <a:lnTo>
                    <a:pt x="337" y="446"/>
                  </a:lnTo>
                  <a:lnTo>
                    <a:pt x="336" y="445"/>
                  </a:lnTo>
                  <a:lnTo>
                    <a:pt x="335" y="444"/>
                  </a:lnTo>
                  <a:lnTo>
                    <a:pt x="334" y="444"/>
                  </a:lnTo>
                  <a:lnTo>
                    <a:pt x="333" y="444"/>
                  </a:lnTo>
                  <a:lnTo>
                    <a:pt x="332" y="443"/>
                  </a:lnTo>
                  <a:lnTo>
                    <a:pt x="331" y="443"/>
                  </a:lnTo>
                  <a:lnTo>
                    <a:pt x="330" y="442"/>
                  </a:lnTo>
                  <a:lnTo>
                    <a:pt x="330" y="442"/>
                  </a:lnTo>
                  <a:lnTo>
                    <a:pt x="329" y="441"/>
                  </a:lnTo>
                  <a:lnTo>
                    <a:pt x="328" y="440"/>
                  </a:lnTo>
                  <a:lnTo>
                    <a:pt x="328" y="440"/>
                  </a:lnTo>
                  <a:lnTo>
                    <a:pt x="326" y="438"/>
                  </a:lnTo>
                  <a:lnTo>
                    <a:pt x="326" y="436"/>
                  </a:lnTo>
                  <a:lnTo>
                    <a:pt x="325" y="436"/>
                  </a:lnTo>
                  <a:lnTo>
                    <a:pt x="324" y="435"/>
                  </a:lnTo>
                  <a:lnTo>
                    <a:pt x="324" y="435"/>
                  </a:lnTo>
                  <a:lnTo>
                    <a:pt x="323" y="435"/>
                  </a:lnTo>
                  <a:lnTo>
                    <a:pt x="323" y="435"/>
                  </a:lnTo>
                  <a:lnTo>
                    <a:pt x="322" y="435"/>
                  </a:lnTo>
                  <a:lnTo>
                    <a:pt x="322" y="435"/>
                  </a:lnTo>
                  <a:lnTo>
                    <a:pt x="321" y="435"/>
                  </a:lnTo>
                  <a:lnTo>
                    <a:pt x="320" y="436"/>
                  </a:lnTo>
                  <a:lnTo>
                    <a:pt x="314" y="439"/>
                  </a:lnTo>
                  <a:lnTo>
                    <a:pt x="313" y="440"/>
                  </a:lnTo>
                  <a:lnTo>
                    <a:pt x="312" y="441"/>
                  </a:lnTo>
                  <a:lnTo>
                    <a:pt x="311" y="441"/>
                  </a:lnTo>
                  <a:lnTo>
                    <a:pt x="310" y="441"/>
                  </a:lnTo>
                  <a:lnTo>
                    <a:pt x="309" y="442"/>
                  </a:lnTo>
                  <a:lnTo>
                    <a:pt x="308" y="442"/>
                  </a:lnTo>
                  <a:lnTo>
                    <a:pt x="308" y="442"/>
                  </a:lnTo>
                  <a:lnTo>
                    <a:pt x="307" y="442"/>
                  </a:lnTo>
                  <a:lnTo>
                    <a:pt x="307" y="441"/>
                  </a:lnTo>
                  <a:lnTo>
                    <a:pt x="306" y="441"/>
                  </a:lnTo>
                  <a:lnTo>
                    <a:pt x="303" y="440"/>
                  </a:lnTo>
                  <a:lnTo>
                    <a:pt x="299" y="439"/>
                  </a:lnTo>
                  <a:lnTo>
                    <a:pt x="297" y="438"/>
                  </a:lnTo>
                  <a:lnTo>
                    <a:pt x="294" y="437"/>
                  </a:lnTo>
                  <a:lnTo>
                    <a:pt x="293" y="436"/>
                  </a:lnTo>
                  <a:lnTo>
                    <a:pt x="292" y="436"/>
                  </a:lnTo>
                  <a:lnTo>
                    <a:pt x="291" y="435"/>
                  </a:lnTo>
                  <a:lnTo>
                    <a:pt x="290" y="434"/>
                  </a:lnTo>
                  <a:lnTo>
                    <a:pt x="289" y="434"/>
                  </a:lnTo>
                  <a:lnTo>
                    <a:pt x="288" y="432"/>
                  </a:lnTo>
                  <a:lnTo>
                    <a:pt x="287" y="431"/>
                  </a:lnTo>
                  <a:lnTo>
                    <a:pt x="284" y="428"/>
                  </a:lnTo>
                  <a:lnTo>
                    <a:pt x="283" y="427"/>
                  </a:lnTo>
                  <a:lnTo>
                    <a:pt x="282" y="426"/>
                  </a:lnTo>
                  <a:lnTo>
                    <a:pt x="281" y="426"/>
                  </a:lnTo>
                  <a:lnTo>
                    <a:pt x="280" y="425"/>
                  </a:lnTo>
                  <a:lnTo>
                    <a:pt x="280" y="425"/>
                  </a:lnTo>
                  <a:lnTo>
                    <a:pt x="279" y="425"/>
                  </a:lnTo>
                  <a:lnTo>
                    <a:pt x="279" y="426"/>
                  </a:lnTo>
                  <a:lnTo>
                    <a:pt x="278" y="426"/>
                  </a:lnTo>
                  <a:lnTo>
                    <a:pt x="278" y="426"/>
                  </a:lnTo>
                  <a:lnTo>
                    <a:pt x="277" y="426"/>
                  </a:lnTo>
                  <a:lnTo>
                    <a:pt x="277" y="427"/>
                  </a:lnTo>
                  <a:lnTo>
                    <a:pt x="276" y="427"/>
                  </a:lnTo>
                  <a:lnTo>
                    <a:pt x="276" y="427"/>
                  </a:lnTo>
                  <a:lnTo>
                    <a:pt x="276" y="428"/>
                  </a:lnTo>
                  <a:lnTo>
                    <a:pt x="275" y="428"/>
                  </a:lnTo>
                  <a:lnTo>
                    <a:pt x="275" y="429"/>
                  </a:lnTo>
                  <a:lnTo>
                    <a:pt x="275" y="433"/>
                  </a:lnTo>
                  <a:lnTo>
                    <a:pt x="275" y="434"/>
                  </a:lnTo>
                  <a:lnTo>
                    <a:pt x="275" y="435"/>
                  </a:lnTo>
                  <a:lnTo>
                    <a:pt x="274" y="437"/>
                  </a:lnTo>
                  <a:lnTo>
                    <a:pt x="274" y="440"/>
                  </a:lnTo>
                  <a:lnTo>
                    <a:pt x="273" y="441"/>
                  </a:lnTo>
                  <a:lnTo>
                    <a:pt x="273" y="442"/>
                  </a:lnTo>
                  <a:lnTo>
                    <a:pt x="272" y="443"/>
                  </a:lnTo>
                  <a:lnTo>
                    <a:pt x="272" y="444"/>
                  </a:lnTo>
                  <a:lnTo>
                    <a:pt x="271" y="445"/>
                  </a:lnTo>
                  <a:lnTo>
                    <a:pt x="270" y="446"/>
                  </a:lnTo>
                  <a:lnTo>
                    <a:pt x="270" y="447"/>
                  </a:lnTo>
                  <a:lnTo>
                    <a:pt x="269" y="447"/>
                  </a:lnTo>
                  <a:lnTo>
                    <a:pt x="269" y="448"/>
                  </a:lnTo>
                  <a:lnTo>
                    <a:pt x="268" y="449"/>
                  </a:lnTo>
                  <a:lnTo>
                    <a:pt x="267" y="449"/>
                  </a:lnTo>
                  <a:lnTo>
                    <a:pt x="267" y="449"/>
                  </a:lnTo>
                  <a:lnTo>
                    <a:pt x="266" y="449"/>
                  </a:lnTo>
                  <a:lnTo>
                    <a:pt x="265" y="449"/>
                  </a:lnTo>
                  <a:lnTo>
                    <a:pt x="262" y="449"/>
                  </a:lnTo>
                  <a:lnTo>
                    <a:pt x="260" y="450"/>
                  </a:lnTo>
                  <a:lnTo>
                    <a:pt x="259" y="450"/>
                  </a:lnTo>
                  <a:lnTo>
                    <a:pt x="259" y="450"/>
                  </a:lnTo>
                  <a:lnTo>
                    <a:pt x="258" y="450"/>
                  </a:lnTo>
                  <a:lnTo>
                    <a:pt x="257" y="451"/>
                  </a:lnTo>
                  <a:lnTo>
                    <a:pt x="257" y="451"/>
                  </a:lnTo>
                  <a:lnTo>
                    <a:pt x="257" y="452"/>
                  </a:lnTo>
                  <a:lnTo>
                    <a:pt x="256" y="453"/>
                  </a:lnTo>
                  <a:lnTo>
                    <a:pt x="256" y="454"/>
                  </a:lnTo>
                  <a:lnTo>
                    <a:pt x="255" y="455"/>
                  </a:lnTo>
                  <a:lnTo>
                    <a:pt x="255" y="456"/>
                  </a:lnTo>
                  <a:lnTo>
                    <a:pt x="255" y="456"/>
                  </a:lnTo>
                  <a:lnTo>
                    <a:pt x="254" y="457"/>
                  </a:lnTo>
                  <a:lnTo>
                    <a:pt x="254" y="457"/>
                  </a:lnTo>
                  <a:lnTo>
                    <a:pt x="253" y="458"/>
                  </a:lnTo>
                  <a:lnTo>
                    <a:pt x="252" y="458"/>
                  </a:lnTo>
                  <a:lnTo>
                    <a:pt x="251" y="459"/>
                  </a:lnTo>
                  <a:lnTo>
                    <a:pt x="249" y="459"/>
                  </a:lnTo>
                  <a:lnTo>
                    <a:pt x="248" y="459"/>
                  </a:lnTo>
                  <a:lnTo>
                    <a:pt x="248" y="459"/>
                  </a:lnTo>
                  <a:lnTo>
                    <a:pt x="247" y="460"/>
                  </a:lnTo>
                  <a:lnTo>
                    <a:pt x="246" y="460"/>
                  </a:lnTo>
                  <a:lnTo>
                    <a:pt x="245" y="461"/>
                  </a:lnTo>
                  <a:lnTo>
                    <a:pt x="244" y="463"/>
                  </a:lnTo>
                  <a:lnTo>
                    <a:pt x="243" y="464"/>
                  </a:lnTo>
                  <a:lnTo>
                    <a:pt x="242" y="464"/>
                  </a:lnTo>
                  <a:lnTo>
                    <a:pt x="241" y="464"/>
                  </a:lnTo>
                  <a:lnTo>
                    <a:pt x="241" y="465"/>
                  </a:lnTo>
                  <a:lnTo>
                    <a:pt x="240" y="465"/>
                  </a:lnTo>
                  <a:lnTo>
                    <a:pt x="239" y="465"/>
                  </a:lnTo>
                  <a:lnTo>
                    <a:pt x="239" y="465"/>
                  </a:lnTo>
                  <a:lnTo>
                    <a:pt x="238" y="465"/>
                  </a:lnTo>
                  <a:lnTo>
                    <a:pt x="237" y="464"/>
                  </a:lnTo>
                  <a:lnTo>
                    <a:pt x="235" y="463"/>
                  </a:lnTo>
                  <a:lnTo>
                    <a:pt x="231" y="462"/>
                  </a:lnTo>
                  <a:lnTo>
                    <a:pt x="228" y="460"/>
                  </a:lnTo>
                  <a:lnTo>
                    <a:pt x="221" y="456"/>
                  </a:lnTo>
                  <a:lnTo>
                    <a:pt x="219" y="455"/>
                  </a:lnTo>
                  <a:lnTo>
                    <a:pt x="218" y="455"/>
                  </a:lnTo>
                  <a:lnTo>
                    <a:pt x="217" y="455"/>
                  </a:lnTo>
                  <a:lnTo>
                    <a:pt x="216" y="454"/>
                  </a:lnTo>
                  <a:lnTo>
                    <a:pt x="212" y="454"/>
                  </a:lnTo>
                  <a:lnTo>
                    <a:pt x="211" y="454"/>
                  </a:lnTo>
                  <a:lnTo>
                    <a:pt x="209" y="453"/>
                  </a:lnTo>
                  <a:lnTo>
                    <a:pt x="205" y="452"/>
                  </a:lnTo>
                  <a:lnTo>
                    <a:pt x="200" y="450"/>
                  </a:lnTo>
                  <a:lnTo>
                    <a:pt x="197" y="449"/>
                  </a:lnTo>
                  <a:lnTo>
                    <a:pt x="196" y="449"/>
                  </a:lnTo>
                  <a:lnTo>
                    <a:pt x="195" y="449"/>
                  </a:lnTo>
                  <a:lnTo>
                    <a:pt x="193" y="449"/>
                  </a:lnTo>
                  <a:lnTo>
                    <a:pt x="190" y="449"/>
                  </a:lnTo>
                  <a:lnTo>
                    <a:pt x="188" y="449"/>
                  </a:lnTo>
                  <a:lnTo>
                    <a:pt x="187" y="448"/>
                  </a:lnTo>
                  <a:lnTo>
                    <a:pt x="183" y="448"/>
                  </a:lnTo>
                  <a:lnTo>
                    <a:pt x="181" y="448"/>
                  </a:lnTo>
                  <a:lnTo>
                    <a:pt x="179" y="447"/>
                  </a:lnTo>
                  <a:lnTo>
                    <a:pt x="178" y="447"/>
                  </a:lnTo>
                  <a:lnTo>
                    <a:pt x="177" y="447"/>
                  </a:lnTo>
                  <a:lnTo>
                    <a:pt x="173" y="448"/>
                  </a:lnTo>
                  <a:lnTo>
                    <a:pt x="172" y="448"/>
                  </a:lnTo>
                  <a:lnTo>
                    <a:pt x="171" y="448"/>
                  </a:lnTo>
                  <a:lnTo>
                    <a:pt x="170" y="448"/>
                  </a:lnTo>
                  <a:lnTo>
                    <a:pt x="169" y="448"/>
                  </a:lnTo>
                  <a:lnTo>
                    <a:pt x="168" y="448"/>
                  </a:lnTo>
                  <a:lnTo>
                    <a:pt x="168" y="448"/>
                  </a:lnTo>
                  <a:lnTo>
                    <a:pt x="165" y="447"/>
                  </a:lnTo>
                  <a:lnTo>
                    <a:pt x="164" y="446"/>
                  </a:lnTo>
                  <a:lnTo>
                    <a:pt x="163" y="446"/>
                  </a:lnTo>
                  <a:lnTo>
                    <a:pt x="160" y="445"/>
                  </a:lnTo>
                  <a:lnTo>
                    <a:pt x="159" y="445"/>
                  </a:lnTo>
                  <a:lnTo>
                    <a:pt x="158" y="444"/>
                  </a:lnTo>
                  <a:lnTo>
                    <a:pt x="158" y="444"/>
                  </a:lnTo>
                  <a:lnTo>
                    <a:pt x="156" y="443"/>
                  </a:lnTo>
                  <a:lnTo>
                    <a:pt x="154" y="441"/>
                  </a:lnTo>
                  <a:lnTo>
                    <a:pt x="154" y="441"/>
                  </a:lnTo>
                  <a:lnTo>
                    <a:pt x="153" y="440"/>
                  </a:lnTo>
                  <a:lnTo>
                    <a:pt x="152" y="439"/>
                  </a:lnTo>
                  <a:lnTo>
                    <a:pt x="152" y="438"/>
                  </a:lnTo>
                  <a:lnTo>
                    <a:pt x="151" y="438"/>
                  </a:lnTo>
                  <a:lnTo>
                    <a:pt x="151" y="437"/>
                  </a:lnTo>
                  <a:lnTo>
                    <a:pt x="150" y="434"/>
                  </a:lnTo>
                  <a:lnTo>
                    <a:pt x="149" y="434"/>
                  </a:lnTo>
                  <a:lnTo>
                    <a:pt x="149" y="433"/>
                  </a:lnTo>
                  <a:lnTo>
                    <a:pt x="149" y="433"/>
                  </a:lnTo>
                  <a:lnTo>
                    <a:pt x="148" y="432"/>
                  </a:lnTo>
                  <a:lnTo>
                    <a:pt x="147" y="431"/>
                  </a:lnTo>
                  <a:lnTo>
                    <a:pt x="146" y="431"/>
                  </a:lnTo>
                  <a:lnTo>
                    <a:pt x="145" y="430"/>
                  </a:lnTo>
                  <a:lnTo>
                    <a:pt x="145" y="429"/>
                  </a:lnTo>
                  <a:lnTo>
                    <a:pt x="144" y="428"/>
                  </a:lnTo>
                  <a:lnTo>
                    <a:pt x="144" y="428"/>
                  </a:lnTo>
                  <a:lnTo>
                    <a:pt x="144" y="427"/>
                  </a:lnTo>
                  <a:lnTo>
                    <a:pt x="144" y="426"/>
                  </a:lnTo>
                  <a:lnTo>
                    <a:pt x="144" y="426"/>
                  </a:lnTo>
                  <a:lnTo>
                    <a:pt x="144" y="425"/>
                  </a:lnTo>
                  <a:lnTo>
                    <a:pt x="144" y="425"/>
                  </a:lnTo>
                  <a:lnTo>
                    <a:pt x="144" y="424"/>
                  </a:lnTo>
                  <a:lnTo>
                    <a:pt x="144" y="424"/>
                  </a:lnTo>
                  <a:lnTo>
                    <a:pt x="145" y="423"/>
                  </a:lnTo>
                  <a:lnTo>
                    <a:pt x="145" y="422"/>
                  </a:lnTo>
                  <a:lnTo>
                    <a:pt x="146" y="422"/>
                  </a:lnTo>
                  <a:lnTo>
                    <a:pt x="147" y="421"/>
                  </a:lnTo>
                  <a:lnTo>
                    <a:pt x="148" y="420"/>
                  </a:lnTo>
                  <a:lnTo>
                    <a:pt x="149" y="420"/>
                  </a:lnTo>
                  <a:lnTo>
                    <a:pt x="151" y="419"/>
                  </a:lnTo>
                  <a:lnTo>
                    <a:pt x="152" y="419"/>
                  </a:lnTo>
                  <a:lnTo>
                    <a:pt x="152" y="418"/>
                  </a:lnTo>
                  <a:lnTo>
                    <a:pt x="153" y="418"/>
                  </a:lnTo>
                  <a:lnTo>
                    <a:pt x="153" y="417"/>
                  </a:lnTo>
                  <a:lnTo>
                    <a:pt x="153" y="417"/>
                  </a:lnTo>
                  <a:lnTo>
                    <a:pt x="154" y="416"/>
                  </a:lnTo>
                  <a:lnTo>
                    <a:pt x="154" y="415"/>
                  </a:lnTo>
                  <a:lnTo>
                    <a:pt x="154" y="415"/>
                  </a:lnTo>
                  <a:lnTo>
                    <a:pt x="154" y="414"/>
                  </a:lnTo>
                  <a:lnTo>
                    <a:pt x="154" y="413"/>
                  </a:lnTo>
                  <a:lnTo>
                    <a:pt x="154" y="412"/>
                  </a:lnTo>
                  <a:lnTo>
                    <a:pt x="153" y="411"/>
                  </a:lnTo>
                  <a:lnTo>
                    <a:pt x="153" y="411"/>
                  </a:lnTo>
                  <a:lnTo>
                    <a:pt x="152" y="410"/>
                  </a:lnTo>
                  <a:lnTo>
                    <a:pt x="152" y="410"/>
                  </a:lnTo>
                  <a:lnTo>
                    <a:pt x="149" y="408"/>
                  </a:lnTo>
                  <a:lnTo>
                    <a:pt x="148" y="407"/>
                  </a:lnTo>
                  <a:lnTo>
                    <a:pt x="147" y="406"/>
                  </a:lnTo>
                  <a:lnTo>
                    <a:pt x="146" y="405"/>
                  </a:lnTo>
                  <a:lnTo>
                    <a:pt x="144" y="402"/>
                  </a:lnTo>
                  <a:lnTo>
                    <a:pt x="143" y="401"/>
                  </a:lnTo>
                  <a:lnTo>
                    <a:pt x="142" y="399"/>
                  </a:lnTo>
                  <a:lnTo>
                    <a:pt x="140" y="398"/>
                  </a:lnTo>
                  <a:lnTo>
                    <a:pt x="139" y="397"/>
                  </a:lnTo>
                  <a:lnTo>
                    <a:pt x="139" y="396"/>
                  </a:lnTo>
                  <a:lnTo>
                    <a:pt x="138" y="396"/>
                  </a:lnTo>
                  <a:lnTo>
                    <a:pt x="137" y="395"/>
                  </a:lnTo>
                  <a:lnTo>
                    <a:pt x="136" y="395"/>
                  </a:lnTo>
                  <a:lnTo>
                    <a:pt x="136" y="395"/>
                  </a:lnTo>
                  <a:lnTo>
                    <a:pt x="134" y="394"/>
                  </a:lnTo>
                  <a:lnTo>
                    <a:pt x="131" y="393"/>
                  </a:lnTo>
                  <a:lnTo>
                    <a:pt x="129" y="392"/>
                  </a:lnTo>
                  <a:lnTo>
                    <a:pt x="128" y="391"/>
                  </a:lnTo>
                  <a:lnTo>
                    <a:pt x="126" y="391"/>
                  </a:lnTo>
                  <a:lnTo>
                    <a:pt x="125" y="391"/>
                  </a:lnTo>
                  <a:lnTo>
                    <a:pt x="125" y="390"/>
                  </a:lnTo>
                  <a:lnTo>
                    <a:pt x="121" y="387"/>
                  </a:lnTo>
                  <a:lnTo>
                    <a:pt x="120" y="387"/>
                  </a:lnTo>
                  <a:lnTo>
                    <a:pt x="119" y="386"/>
                  </a:lnTo>
                  <a:lnTo>
                    <a:pt x="118" y="385"/>
                  </a:lnTo>
                  <a:lnTo>
                    <a:pt x="117" y="384"/>
                  </a:lnTo>
                  <a:lnTo>
                    <a:pt x="116" y="382"/>
                  </a:lnTo>
                  <a:lnTo>
                    <a:pt x="111" y="378"/>
                  </a:lnTo>
                  <a:lnTo>
                    <a:pt x="110" y="376"/>
                  </a:lnTo>
                  <a:lnTo>
                    <a:pt x="108" y="375"/>
                  </a:lnTo>
                  <a:lnTo>
                    <a:pt x="107" y="373"/>
                  </a:lnTo>
                  <a:lnTo>
                    <a:pt x="105" y="372"/>
                  </a:lnTo>
                  <a:lnTo>
                    <a:pt x="104" y="371"/>
                  </a:lnTo>
                  <a:lnTo>
                    <a:pt x="103" y="370"/>
                  </a:lnTo>
                  <a:lnTo>
                    <a:pt x="101" y="369"/>
                  </a:lnTo>
                  <a:lnTo>
                    <a:pt x="100" y="368"/>
                  </a:lnTo>
                  <a:lnTo>
                    <a:pt x="99" y="367"/>
                  </a:lnTo>
                  <a:lnTo>
                    <a:pt x="97" y="367"/>
                  </a:lnTo>
                  <a:lnTo>
                    <a:pt x="96" y="366"/>
                  </a:lnTo>
                  <a:lnTo>
                    <a:pt x="94" y="366"/>
                  </a:lnTo>
                  <a:lnTo>
                    <a:pt x="88" y="364"/>
                  </a:lnTo>
                  <a:lnTo>
                    <a:pt x="86" y="363"/>
                  </a:lnTo>
                  <a:lnTo>
                    <a:pt x="85" y="363"/>
                  </a:lnTo>
                  <a:lnTo>
                    <a:pt x="84" y="362"/>
                  </a:lnTo>
                  <a:lnTo>
                    <a:pt x="83" y="362"/>
                  </a:lnTo>
                  <a:lnTo>
                    <a:pt x="82" y="361"/>
                  </a:lnTo>
                  <a:lnTo>
                    <a:pt x="82" y="361"/>
                  </a:lnTo>
                  <a:lnTo>
                    <a:pt x="81" y="360"/>
                  </a:lnTo>
                  <a:lnTo>
                    <a:pt x="81" y="360"/>
                  </a:lnTo>
                  <a:lnTo>
                    <a:pt x="81" y="359"/>
                  </a:lnTo>
                  <a:lnTo>
                    <a:pt x="80" y="357"/>
                  </a:lnTo>
                  <a:lnTo>
                    <a:pt x="80" y="356"/>
                  </a:lnTo>
                  <a:lnTo>
                    <a:pt x="80" y="353"/>
                  </a:lnTo>
                  <a:lnTo>
                    <a:pt x="79" y="352"/>
                  </a:lnTo>
                  <a:lnTo>
                    <a:pt x="79" y="351"/>
                  </a:lnTo>
                  <a:lnTo>
                    <a:pt x="79" y="350"/>
                  </a:lnTo>
                  <a:lnTo>
                    <a:pt x="78" y="348"/>
                  </a:lnTo>
                  <a:lnTo>
                    <a:pt x="76" y="343"/>
                  </a:lnTo>
                  <a:lnTo>
                    <a:pt x="75" y="342"/>
                  </a:lnTo>
                  <a:lnTo>
                    <a:pt x="75" y="341"/>
                  </a:lnTo>
                  <a:lnTo>
                    <a:pt x="74" y="339"/>
                  </a:lnTo>
                  <a:lnTo>
                    <a:pt x="73" y="339"/>
                  </a:lnTo>
                  <a:lnTo>
                    <a:pt x="73" y="338"/>
                  </a:lnTo>
                  <a:lnTo>
                    <a:pt x="72" y="338"/>
                  </a:lnTo>
                  <a:lnTo>
                    <a:pt x="72" y="337"/>
                  </a:lnTo>
                  <a:lnTo>
                    <a:pt x="70" y="336"/>
                  </a:lnTo>
                  <a:lnTo>
                    <a:pt x="69" y="335"/>
                  </a:lnTo>
                  <a:lnTo>
                    <a:pt x="68" y="334"/>
                  </a:lnTo>
                  <a:lnTo>
                    <a:pt x="68" y="334"/>
                  </a:lnTo>
                  <a:lnTo>
                    <a:pt x="67" y="333"/>
                  </a:lnTo>
                  <a:lnTo>
                    <a:pt x="67" y="332"/>
                  </a:lnTo>
                  <a:lnTo>
                    <a:pt x="66" y="332"/>
                  </a:lnTo>
                  <a:lnTo>
                    <a:pt x="66" y="330"/>
                  </a:lnTo>
                  <a:lnTo>
                    <a:pt x="65" y="329"/>
                  </a:lnTo>
                  <a:lnTo>
                    <a:pt x="65" y="328"/>
                  </a:lnTo>
                  <a:lnTo>
                    <a:pt x="63" y="324"/>
                  </a:lnTo>
                  <a:lnTo>
                    <a:pt x="62" y="320"/>
                  </a:lnTo>
                  <a:lnTo>
                    <a:pt x="61" y="318"/>
                  </a:lnTo>
                  <a:lnTo>
                    <a:pt x="60" y="317"/>
                  </a:lnTo>
                  <a:lnTo>
                    <a:pt x="60" y="316"/>
                  </a:lnTo>
                  <a:lnTo>
                    <a:pt x="59" y="315"/>
                  </a:lnTo>
                  <a:lnTo>
                    <a:pt x="58" y="314"/>
                  </a:lnTo>
                  <a:lnTo>
                    <a:pt x="58" y="313"/>
                  </a:lnTo>
                  <a:lnTo>
                    <a:pt x="57" y="313"/>
                  </a:lnTo>
                  <a:lnTo>
                    <a:pt x="57" y="313"/>
                  </a:lnTo>
                  <a:lnTo>
                    <a:pt x="56" y="313"/>
                  </a:lnTo>
                  <a:lnTo>
                    <a:pt x="55" y="313"/>
                  </a:lnTo>
                  <a:lnTo>
                    <a:pt x="52" y="313"/>
                  </a:lnTo>
                  <a:lnTo>
                    <a:pt x="51" y="313"/>
                  </a:lnTo>
                  <a:lnTo>
                    <a:pt x="49" y="313"/>
                  </a:lnTo>
                  <a:lnTo>
                    <a:pt x="46" y="313"/>
                  </a:lnTo>
                  <a:lnTo>
                    <a:pt x="45" y="313"/>
                  </a:lnTo>
                  <a:lnTo>
                    <a:pt x="44" y="313"/>
                  </a:lnTo>
                  <a:lnTo>
                    <a:pt x="43" y="313"/>
                  </a:lnTo>
                  <a:lnTo>
                    <a:pt x="42" y="312"/>
                  </a:lnTo>
                  <a:lnTo>
                    <a:pt x="41" y="312"/>
                  </a:lnTo>
                  <a:lnTo>
                    <a:pt x="40" y="312"/>
                  </a:lnTo>
                  <a:lnTo>
                    <a:pt x="40" y="311"/>
                  </a:lnTo>
                  <a:lnTo>
                    <a:pt x="39" y="311"/>
                  </a:lnTo>
                  <a:lnTo>
                    <a:pt x="38" y="310"/>
                  </a:lnTo>
                  <a:lnTo>
                    <a:pt x="35" y="307"/>
                  </a:lnTo>
                  <a:lnTo>
                    <a:pt x="34" y="306"/>
                  </a:lnTo>
                  <a:lnTo>
                    <a:pt x="34" y="305"/>
                  </a:lnTo>
                  <a:lnTo>
                    <a:pt x="33" y="303"/>
                  </a:lnTo>
                  <a:lnTo>
                    <a:pt x="32" y="301"/>
                  </a:lnTo>
                  <a:lnTo>
                    <a:pt x="30" y="298"/>
                  </a:lnTo>
                  <a:lnTo>
                    <a:pt x="29" y="295"/>
                  </a:lnTo>
                  <a:lnTo>
                    <a:pt x="28" y="292"/>
                  </a:lnTo>
                  <a:lnTo>
                    <a:pt x="26" y="288"/>
                  </a:lnTo>
                  <a:lnTo>
                    <a:pt x="25" y="285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2" y="283"/>
                  </a:lnTo>
                  <a:lnTo>
                    <a:pt x="20" y="283"/>
                  </a:lnTo>
                  <a:lnTo>
                    <a:pt x="20" y="283"/>
                  </a:lnTo>
                  <a:lnTo>
                    <a:pt x="19" y="282"/>
                  </a:lnTo>
                  <a:lnTo>
                    <a:pt x="18" y="282"/>
                  </a:lnTo>
                  <a:lnTo>
                    <a:pt x="17" y="281"/>
                  </a:lnTo>
                  <a:lnTo>
                    <a:pt x="16" y="280"/>
                  </a:lnTo>
                  <a:lnTo>
                    <a:pt x="16" y="279"/>
                  </a:lnTo>
                  <a:lnTo>
                    <a:pt x="14" y="277"/>
                  </a:lnTo>
                  <a:lnTo>
                    <a:pt x="13" y="276"/>
                  </a:lnTo>
                  <a:lnTo>
                    <a:pt x="13" y="276"/>
                  </a:lnTo>
                  <a:lnTo>
                    <a:pt x="12" y="275"/>
                  </a:lnTo>
                  <a:lnTo>
                    <a:pt x="12" y="274"/>
                  </a:lnTo>
                  <a:lnTo>
                    <a:pt x="11" y="274"/>
                  </a:lnTo>
                  <a:lnTo>
                    <a:pt x="10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8" y="273"/>
                  </a:lnTo>
                  <a:lnTo>
                    <a:pt x="7" y="272"/>
                  </a:lnTo>
                  <a:lnTo>
                    <a:pt x="5" y="272"/>
                  </a:lnTo>
                  <a:lnTo>
                    <a:pt x="4" y="272"/>
                  </a:lnTo>
                  <a:lnTo>
                    <a:pt x="3" y="272"/>
                  </a:lnTo>
                  <a:lnTo>
                    <a:pt x="3" y="272"/>
                  </a:lnTo>
                  <a:lnTo>
                    <a:pt x="2" y="272"/>
                  </a:lnTo>
                  <a:lnTo>
                    <a:pt x="2" y="272"/>
                  </a:lnTo>
                  <a:lnTo>
                    <a:pt x="2" y="271"/>
                  </a:lnTo>
                  <a:lnTo>
                    <a:pt x="1" y="267"/>
                  </a:lnTo>
                  <a:lnTo>
                    <a:pt x="0" y="266"/>
                  </a:lnTo>
                  <a:lnTo>
                    <a:pt x="0" y="265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59"/>
                  </a:lnTo>
                  <a:lnTo>
                    <a:pt x="0" y="258"/>
                  </a:lnTo>
                  <a:lnTo>
                    <a:pt x="0" y="256"/>
                  </a:lnTo>
                  <a:lnTo>
                    <a:pt x="0" y="255"/>
                  </a:lnTo>
                  <a:lnTo>
                    <a:pt x="1" y="253"/>
                  </a:lnTo>
                  <a:lnTo>
                    <a:pt x="1" y="251"/>
                  </a:lnTo>
                  <a:lnTo>
                    <a:pt x="2" y="249"/>
                  </a:lnTo>
                  <a:lnTo>
                    <a:pt x="2" y="248"/>
                  </a:lnTo>
                  <a:lnTo>
                    <a:pt x="2" y="247"/>
                  </a:lnTo>
                  <a:lnTo>
                    <a:pt x="3" y="246"/>
                  </a:lnTo>
                  <a:lnTo>
                    <a:pt x="4" y="243"/>
                  </a:lnTo>
                  <a:lnTo>
                    <a:pt x="5" y="241"/>
                  </a:lnTo>
                  <a:lnTo>
                    <a:pt x="6" y="240"/>
                  </a:lnTo>
                  <a:lnTo>
                    <a:pt x="7" y="239"/>
                  </a:lnTo>
                  <a:lnTo>
                    <a:pt x="8" y="238"/>
                  </a:lnTo>
                  <a:lnTo>
                    <a:pt x="8" y="238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10" y="236"/>
                  </a:lnTo>
                  <a:lnTo>
                    <a:pt x="11" y="236"/>
                  </a:lnTo>
                  <a:lnTo>
                    <a:pt x="13" y="235"/>
                  </a:lnTo>
                  <a:lnTo>
                    <a:pt x="14" y="235"/>
                  </a:lnTo>
                  <a:lnTo>
                    <a:pt x="14" y="234"/>
                  </a:lnTo>
                  <a:lnTo>
                    <a:pt x="15" y="233"/>
                  </a:lnTo>
                  <a:lnTo>
                    <a:pt x="16" y="233"/>
                  </a:lnTo>
                  <a:lnTo>
                    <a:pt x="17" y="232"/>
                  </a:lnTo>
                  <a:lnTo>
                    <a:pt x="17" y="232"/>
                  </a:lnTo>
                  <a:lnTo>
                    <a:pt x="17" y="231"/>
                  </a:lnTo>
                  <a:lnTo>
                    <a:pt x="18" y="230"/>
                  </a:lnTo>
                  <a:lnTo>
                    <a:pt x="18" y="230"/>
                  </a:lnTo>
                  <a:lnTo>
                    <a:pt x="18" y="229"/>
                  </a:lnTo>
                  <a:lnTo>
                    <a:pt x="18" y="228"/>
                  </a:lnTo>
                  <a:lnTo>
                    <a:pt x="18" y="227"/>
                  </a:lnTo>
                  <a:lnTo>
                    <a:pt x="18" y="226"/>
                  </a:lnTo>
                  <a:lnTo>
                    <a:pt x="18" y="225"/>
                  </a:lnTo>
                  <a:lnTo>
                    <a:pt x="18" y="223"/>
                  </a:lnTo>
                  <a:lnTo>
                    <a:pt x="17" y="219"/>
                  </a:lnTo>
                  <a:lnTo>
                    <a:pt x="17" y="218"/>
                  </a:lnTo>
                  <a:lnTo>
                    <a:pt x="17" y="216"/>
                  </a:lnTo>
                  <a:lnTo>
                    <a:pt x="15" y="214"/>
                  </a:lnTo>
                  <a:lnTo>
                    <a:pt x="15" y="212"/>
                  </a:lnTo>
                  <a:lnTo>
                    <a:pt x="15" y="211"/>
                  </a:lnTo>
                  <a:lnTo>
                    <a:pt x="15" y="210"/>
                  </a:lnTo>
                  <a:lnTo>
                    <a:pt x="15" y="210"/>
                  </a:lnTo>
                  <a:lnTo>
                    <a:pt x="15" y="209"/>
                  </a:lnTo>
                  <a:lnTo>
                    <a:pt x="16" y="206"/>
                  </a:lnTo>
                  <a:lnTo>
                    <a:pt x="16" y="205"/>
                  </a:lnTo>
                  <a:lnTo>
                    <a:pt x="16" y="203"/>
                  </a:lnTo>
                  <a:lnTo>
                    <a:pt x="16" y="200"/>
                  </a:lnTo>
                  <a:lnTo>
                    <a:pt x="17" y="198"/>
                  </a:lnTo>
                  <a:lnTo>
                    <a:pt x="17" y="196"/>
                  </a:lnTo>
                  <a:lnTo>
                    <a:pt x="18" y="192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9" y="191"/>
                  </a:lnTo>
                  <a:lnTo>
                    <a:pt x="19" y="191"/>
                  </a:lnTo>
                  <a:lnTo>
                    <a:pt x="20" y="191"/>
                  </a:lnTo>
                  <a:lnTo>
                    <a:pt x="21" y="191"/>
                  </a:lnTo>
                  <a:lnTo>
                    <a:pt x="24" y="191"/>
                  </a:lnTo>
                  <a:lnTo>
                    <a:pt x="25" y="192"/>
                  </a:lnTo>
                  <a:lnTo>
                    <a:pt x="26" y="192"/>
                  </a:lnTo>
                  <a:lnTo>
                    <a:pt x="27" y="192"/>
                  </a:lnTo>
                  <a:lnTo>
                    <a:pt x="28" y="192"/>
                  </a:lnTo>
                  <a:lnTo>
                    <a:pt x="29" y="191"/>
                  </a:lnTo>
                  <a:lnTo>
                    <a:pt x="29" y="191"/>
                  </a:lnTo>
                  <a:lnTo>
                    <a:pt x="30" y="191"/>
                  </a:lnTo>
                  <a:lnTo>
                    <a:pt x="31" y="191"/>
                  </a:lnTo>
                  <a:lnTo>
                    <a:pt x="32" y="190"/>
                  </a:lnTo>
                  <a:lnTo>
                    <a:pt x="33" y="189"/>
                  </a:lnTo>
                  <a:lnTo>
                    <a:pt x="35" y="188"/>
                  </a:lnTo>
                  <a:lnTo>
                    <a:pt x="38" y="186"/>
                  </a:lnTo>
                  <a:lnTo>
                    <a:pt x="38" y="185"/>
                  </a:lnTo>
                  <a:lnTo>
                    <a:pt x="40" y="185"/>
                  </a:lnTo>
                  <a:lnTo>
                    <a:pt x="41" y="184"/>
                  </a:lnTo>
                  <a:lnTo>
                    <a:pt x="44" y="183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6" y="182"/>
                  </a:lnTo>
                  <a:lnTo>
                    <a:pt x="46" y="181"/>
                  </a:lnTo>
                  <a:lnTo>
                    <a:pt x="47" y="178"/>
                  </a:lnTo>
                  <a:lnTo>
                    <a:pt x="48" y="175"/>
                  </a:lnTo>
                  <a:lnTo>
                    <a:pt x="48" y="174"/>
                  </a:lnTo>
                  <a:lnTo>
                    <a:pt x="49" y="173"/>
                  </a:lnTo>
                  <a:lnTo>
                    <a:pt x="49" y="172"/>
                  </a:lnTo>
                  <a:lnTo>
                    <a:pt x="50" y="171"/>
                  </a:lnTo>
                  <a:lnTo>
                    <a:pt x="51" y="170"/>
                  </a:lnTo>
                  <a:lnTo>
                    <a:pt x="52" y="169"/>
                  </a:lnTo>
                  <a:lnTo>
                    <a:pt x="53" y="168"/>
                  </a:lnTo>
                  <a:lnTo>
                    <a:pt x="53" y="167"/>
                  </a:lnTo>
                  <a:lnTo>
                    <a:pt x="53" y="167"/>
                  </a:lnTo>
                  <a:lnTo>
                    <a:pt x="53" y="167"/>
                  </a:lnTo>
                  <a:lnTo>
                    <a:pt x="53" y="166"/>
                  </a:lnTo>
                  <a:lnTo>
                    <a:pt x="53" y="165"/>
                  </a:lnTo>
                  <a:lnTo>
                    <a:pt x="53" y="164"/>
                  </a:lnTo>
                  <a:lnTo>
                    <a:pt x="53" y="163"/>
                  </a:lnTo>
                  <a:lnTo>
                    <a:pt x="52" y="162"/>
                  </a:lnTo>
                  <a:lnTo>
                    <a:pt x="52" y="162"/>
                  </a:lnTo>
                  <a:lnTo>
                    <a:pt x="52" y="161"/>
                  </a:lnTo>
                  <a:lnTo>
                    <a:pt x="50" y="159"/>
                  </a:lnTo>
                  <a:lnTo>
                    <a:pt x="50" y="158"/>
                  </a:lnTo>
                  <a:lnTo>
                    <a:pt x="49" y="156"/>
                  </a:lnTo>
                  <a:lnTo>
                    <a:pt x="48" y="155"/>
                  </a:lnTo>
                  <a:lnTo>
                    <a:pt x="48" y="154"/>
                  </a:lnTo>
                  <a:lnTo>
                    <a:pt x="48" y="153"/>
                  </a:lnTo>
                  <a:lnTo>
                    <a:pt x="48" y="153"/>
                  </a:lnTo>
                  <a:lnTo>
                    <a:pt x="48" y="152"/>
                  </a:lnTo>
                  <a:lnTo>
                    <a:pt x="48" y="151"/>
                  </a:lnTo>
                  <a:lnTo>
                    <a:pt x="49" y="151"/>
                  </a:lnTo>
                  <a:lnTo>
                    <a:pt x="49" y="150"/>
                  </a:lnTo>
                  <a:lnTo>
                    <a:pt x="49" y="149"/>
                  </a:lnTo>
                  <a:lnTo>
                    <a:pt x="50" y="149"/>
                  </a:lnTo>
                  <a:lnTo>
                    <a:pt x="51" y="148"/>
                  </a:lnTo>
                  <a:lnTo>
                    <a:pt x="52" y="146"/>
                  </a:lnTo>
                  <a:lnTo>
                    <a:pt x="53" y="146"/>
                  </a:lnTo>
                  <a:lnTo>
                    <a:pt x="53" y="145"/>
                  </a:lnTo>
                  <a:lnTo>
                    <a:pt x="55" y="145"/>
                  </a:lnTo>
                  <a:lnTo>
                    <a:pt x="55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3"/>
                  </a:lnTo>
                  <a:lnTo>
                    <a:pt x="57" y="143"/>
                  </a:lnTo>
                  <a:lnTo>
                    <a:pt x="57" y="142"/>
                  </a:lnTo>
                  <a:lnTo>
                    <a:pt x="57" y="141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39"/>
                  </a:lnTo>
                  <a:lnTo>
                    <a:pt x="55" y="138"/>
                  </a:lnTo>
                  <a:lnTo>
                    <a:pt x="54" y="138"/>
                  </a:lnTo>
                  <a:lnTo>
                    <a:pt x="54" y="137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5"/>
                  </a:lnTo>
                  <a:lnTo>
                    <a:pt x="52" y="135"/>
                  </a:lnTo>
                  <a:lnTo>
                    <a:pt x="52" y="134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3" y="131"/>
                  </a:lnTo>
                  <a:lnTo>
                    <a:pt x="53" y="130"/>
                  </a:lnTo>
                  <a:lnTo>
                    <a:pt x="53" y="130"/>
                  </a:lnTo>
                  <a:lnTo>
                    <a:pt x="54" y="130"/>
                  </a:lnTo>
                  <a:lnTo>
                    <a:pt x="56" y="129"/>
                  </a:lnTo>
                  <a:lnTo>
                    <a:pt x="56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7"/>
                  </a:lnTo>
                  <a:lnTo>
                    <a:pt x="58" y="127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5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3"/>
                  </a:lnTo>
                  <a:lnTo>
                    <a:pt x="58" y="122"/>
                  </a:lnTo>
                  <a:lnTo>
                    <a:pt x="58" y="121"/>
                  </a:lnTo>
                  <a:lnTo>
                    <a:pt x="58" y="120"/>
                  </a:lnTo>
                  <a:lnTo>
                    <a:pt x="58" y="119"/>
                  </a:lnTo>
                  <a:lnTo>
                    <a:pt x="59" y="118"/>
                  </a:lnTo>
                  <a:lnTo>
                    <a:pt x="59" y="117"/>
                  </a:lnTo>
                  <a:lnTo>
                    <a:pt x="59" y="116"/>
                  </a:lnTo>
                  <a:lnTo>
                    <a:pt x="59" y="116"/>
                  </a:lnTo>
                  <a:lnTo>
                    <a:pt x="60" y="115"/>
                  </a:lnTo>
                  <a:lnTo>
                    <a:pt x="62" y="113"/>
                  </a:lnTo>
                  <a:lnTo>
                    <a:pt x="62" y="112"/>
                  </a:lnTo>
                  <a:lnTo>
                    <a:pt x="64" y="112"/>
                  </a:lnTo>
                  <a:lnTo>
                    <a:pt x="66" y="110"/>
                  </a:lnTo>
                  <a:lnTo>
                    <a:pt x="69" y="108"/>
                  </a:lnTo>
                  <a:lnTo>
                    <a:pt x="69" y="107"/>
                  </a:lnTo>
                  <a:lnTo>
                    <a:pt x="70" y="107"/>
                  </a:lnTo>
                  <a:lnTo>
                    <a:pt x="70" y="106"/>
                  </a:lnTo>
                  <a:lnTo>
                    <a:pt x="71" y="105"/>
                  </a:lnTo>
                  <a:lnTo>
                    <a:pt x="71" y="103"/>
                  </a:lnTo>
                  <a:lnTo>
                    <a:pt x="72" y="101"/>
                  </a:lnTo>
                  <a:lnTo>
                    <a:pt x="73" y="99"/>
                  </a:lnTo>
                  <a:lnTo>
                    <a:pt x="74" y="98"/>
                  </a:lnTo>
                  <a:lnTo>
                    <a:pt x="75" y="96"/>
                  </a:lnTo>
                  <a:lnTo>
                    <a:pt x="76" y="95"/>
                  </a:lnTo>
                  <a:lnTo>
                    <a:pt x="76" y="94"/>
                  </a:lnTo>
                  <a:lnTo>
                    <a:pt x="76" y="93"/>
                  </a:lnTo>
                  <a:lnTo>
                    <a:pt x="77" y="91"/>
                  </a:lnTo>
                  <a:lnTo>
                    <a:pt x="77" y="90"/>
                  </a:lnTo>
                  <a:lnTo>
                    <a:pt x="77" y="89"/>
                  </a:lnTo>
                  <a:lnTo>
                    <a:pt x="77" y="88"/>
                  </a:lnTo>
                  <a:lnTo>
                    <a:pt x="77" y="87"/>
                  </a:lnTo>
                  <a:lnTo>
                    <a:pt x="76" y="87"/>
                  </a:lnTo>
                  <a:lnTo>
                    <a:pt x="76" y="86"/>
                  </a:lnTo>
                  <a:lnTo>
                    <a:pt x="74" y="84"/>
                  </a:lnTo>
                  <a:lnTo>
                    <a:pt x="74" y="83"/>
                  </a:lnTo>
                  <a:lnTo>
                    <a:pt x="73" y="82"/>
                  </a:lnTo>
                  <a:lnTo>
                    <a:pt x="71" y="79"/>
                  </a:lnTo>
                  <a:lnTo>
                    <a:pt x="71" y="78"/>
                  </a:lnTo>
                  <a:lnTo>
                    <a:pt x="71" y="76"/>
                  </a:lnTo>
                  <a:lnTo>
                    <a:pt x="70" y="75"/>
                  </a:lnTo>
                  <a:lnTo>
                    <a:pt x="70" y="73"/>
                  </a:lnTo>
                  <a:lnTo>
                    <a:pt x="70" y="72"/>
                  </a:lnTo>
                  <a:lnTo>
                    <a:pt x="70" y="70"/>
                  </a:lnTo>
                  <a:lnTo>
                    <a:pt x="71" y="67"/>
                  </a:lnTo>
                  <a:lnTo>
                    <a:pt x="71" y="66"/>
                  </a:lnTo>
                  <a:lnTo>
                    <a:pt x="71" y="65"/>
                  </a:lnTo>
                  <a:lnTo>
                    <a:pt x="72" y="64"/>
                  </a:lnTo>
                  <a:lnTo>
                    <a:pt x="72" y="63"/>
                  </a:lnTo>
                  <a:lnTo>
                    <a:pt x="73" y="61"/>
                  </a:lnTo>
                  <a:lnTo>
                    <a:pt x="75" y="58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5" y="56"/>
                  </a:lnTo>
                  <a:lnTo>
                    <a:pt x="75" y="55"/>
                  </a:lnTo>
                  <a:lnTo>
                    <a:pt x="75" y="54"/>
                  </a:lnTo>
                  <a:lnTo>
                    <a:pt x="74" y="52"/>
                  </a:lnTo>
                  <a:lnTo>
                    <a:pt x="73" y="50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1" y="45"/>
                  </a:lnTo>
                  <a:lnTo>
                    <a:pt x="71" y="44"/>
                  </a:lnTo>
                  <a:lnTo>
                    <a:pt x="71" y="40"/>
                  </a:lnTo>
                  <a:lnTo>
                    <a:pt x="71" y="39"/>
                  </a:lnTo>
                  <a:lnTo>
                    <a:pt x="71" y="38"/>
                  </a:lnTo>
                  <a:lnTo>
                    <a:pt x="71" y="36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69" y="34"/>
                  </a:lnTo>
                  <a:lnTo>
                    <a:pt x="68" y="33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8" y="29"/>
                  </a:lnTo>
                  <a:lnTo>
                    <a:pt x="69" y="24"/>
                  </a:lnTo>
                  <a:lnTo>
                    <a:pt x="70" y="23"/>
                  </a:lnTo>
                  <a:lnTo>
                    <a:pt x="70" y="23"/>
                  </a:lnTo>
                  <a:lnTo>
                    <a:pt x="70" y="22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3" y="21"/>
                  </a:lnTo>
                  <a:lnTo>
                    <a:pt x="73" y="21"/>
                  </a:lnTo>
                  <a:lnTo>
                    <a:pt x="74" y="21"/>
                  </a:lnTo>
                  <a:lnTo>
                    <a:pt x="76" y="21"/>
                  </a:lnTo>
                  <a:lnTo>
                    <a:pt x="77" y="21"/>
                  </a:lnTo>
                  <a:lnTo>
                    <a:pt x="80" y="20"/>
                  </a:lnTo>
                  <a:lnTo>
                    <a:pt x="83" y="19"/>
                  </a:lnTo>
                  <a:lnTo>
                    <a:pt x="85" y="18"/>
                  </a:lnTo>
                  <a:lnTo>
                    <a:pt x="87" y="17"/>
                  </a:lnTo>
                  <a:lnTo>
                    <a:pt x="87" y="17"/>
                  </a:lnTo>
                  <a:lnTo>
                    <a:pt x="88" y="17"/>
                  </a:lnTo>
                  <a:lnTo>
                    <a:pt x="88" y="17"/>
                  </a:lnTo>
                  <a:lnTo>
                    <a:pt x="89" y="17"/>
                  </a:lnTo>
                  <a:lnTo>
                    <a:pt x="89" y="17"/>
                  </a:lnTo>
                  <a:lnTo>
                    <a:pt x="90" y="17"/>
                  </a:lnTo>
                  <a:lnTo>
                    <a:pt x="90" y="18"/>
                  </a:lnTo>
                  <a:lnTo>
                    <a:pt x="92" y="20"/>
                  </a:lnTo>
                  <a:lnTo>
                    <a:pt x="93" y="20"/>
                  </a:lnTo>
                  <a:lnTo>
                    <a:pt x="93" y="20"/>
                  </a:lnTo>
                  <a:lnTo>
                    <a:pt x="94" y="20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6" y="21"/>
                  </a:lnTo>
                  <a:lnTo>
                    <a:pt x="96" y="20"/>
                  </a:lnTo>
                  <a:lnTo>
                    <a:pt x="97" y="20"/>
                  </a:lnTo>
                  <a:lnTo>
                    <a:pt x="98" y="20"/>
                  </a:lnTo>
                  <a:lnTo>
                    <a:pt x="100" y="18"/>
                  </a:lnTo>
                  <a:lnTo>
                    <a:pt x="101" y="18"/>
                  </a:lnTo>
                  <a:lnTo>
                    <a:pt x="102" y="18"/>
                  </a:lnTo>
                  <a:lnTo>
                    <a:pt x="103" y="18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5" y="18"/>
                  </a:lnTo>
                  <a:lnTo>
                    <a:pt x="105" y="19"/>
                  </a:lnTo>
                  <a:lnTo>
                    <a:pt x="108" y="20"/>
                  </a:lnTo>
                  <a:lnTo>
                    <a:pt x="108" y="21"/>
                  </a:lnTo>
                  <a:lnTo>
                    <a:pt x="110" y="22"/>
                  </a:lnTo>
                  <a:lnTo>
                    <a:pt x="110" y="22"/>
                  </a:lnTo>
                  <a:lnTo>
                    <a:pt x="111" y="22"/>
                  </a:lnTo>
                  <a:lnTo>
                    <a:pt x="111" y="23"/>
                  </a:lnTo>
                  <a:lnTo>
                    <a:pt x="112" y="23"/>
                  </a:lnTo>
                  <a:lnTo>
                    <a:pt x="112" y="24"/>
                  </a:lnTo>
                  <a:lnTo>
                    <a:pt x="113" y="24"/>
                  </a:lnTo>
                  <a:lnTo>
                    <a:pt x="115" y="25"/>
                  </a:lnTo>
                  <a:lnTo>
                    <a:pt x="115" y="25"/>
                  </a:lnTo>
                  <a:lnTo>
                    <a:pt x="116" y="25"/>
                  </a:lnTo>
                  <a:lnTo>
                    <a:pt x="117" y="26"/>
                  </a:lnTo>
                  <a:lnTo>
                    <a:pt x="118" y="26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6"/>
                  </a:lnTo>
                  <a:lnTo>
                    <a:pt x="122" y="25"/>
                  </a:lnTo>
                  <a:lnTo>
                    <a:pt x="123" y="25"/>
                  </a:lnTo>
                  <a:lnTo>
                    <a:pt x="123" y="24"/>
                  </a:lnTo>
                  <a:lnTo>
                    <a:pt x="125" y="23"/>
                  </a:lnTo>
                  <a:lnTo>
                    <a:pt x="126" y="23"/>
                  </a:lnTo>
                  <a:lnTo>
                    <a:pt x="127" y="22"/>
                  </a:lnTo>
                  <a:lnTo>
                    <a:pt x="128" y="22"/>
                  </a:lnTo>
                  <a:lnTo>
                    <a:pt x="128" y="22"/>
                  </a:lnTo>
                  <a:lnTo>
                    <a:pt x="132" y="21"/>
                  </a:lnTo>
                  <a:lnTo>
                    <a:pt x="133" y="21"/>
                  </a:lnTo>
                  <a:lnTo>
                    <a:pt x="134" y="21"/>
                  </a:lnTo>
                  <a:lnTo>
                    <a:pt x="134" y="21"/>
                  </a:lnTo>
                  <a:lnTo>
                    <a:pt x="135" y="20"/>
                  </a:lnTo>
                  <a:lnTo>
                    <a:pt x="136" y="20"/>
                  </a:lnTo>
                  <a:lnTo>
                    <a:pt x="138" y="18"/>
                  </a:lnTo>
                  <a:lnTo>
                    <a:pt x="139" y="18"/>
                  </a:lnTo>
                  <a:lnTo>
                    <a:pt x="139" y="18"/>
                  </a:lnTo>
                  <a:lnTo>
                    <a:pt x="141" y="17"/>
                  </a:lnTo>
                  <a:lnTo>
                    <a:pt x="141" y="17"/>
                  </a:lnTo>
                  <a:lnTo>
                    <a:pt x="142" y="17"/>
                  </a:lnTo>
                  <a:lnTo>
                    <a:pt x="142" y="16"/>
                  </a:lnTo>
                  <a:lnTo>
                    <a:pt x="143" y="16"/>
                  </a:lnTo>
                  <a:lnTo>
                    <a:pt x="143" y="15"/>
                  </a:lnTo>
                  <a:lnTo>
                    <a:pt x="144" y="14"/>
                  </a:lnTo>
                  <a:lnTo>
                    <a:pt x="144" y="13"/>
                  </a:lnTo>
                  <a:lnTo>
                    <a:pt x="145" y="12"/>
                  </a:lnTo>
                  <a:lnTo>
                    <a:pt x="146" y="10"/>
                  </a:lnTo>
                  <a:lnTo>
                    <a:pt x="147" y="8"/>
                  </a:lnTo>
                  <a:lnTo>
                    <a:pt x="147" y="7"/>
                  </a:lnTo>
                  <a:lnTo>
                    <a:pt x="147" y="7"/>
                  </a:lnTo>
                  <a:lnTo>
                    <a:pt x="148" y="6"/>
                  </a:lnTo>
                  <a:lnTo>
                    <a:pt x="148" y="6"/>
                  </a:lnTo>
                  <a:lnTo>
                    <a:pt x="149" y="5"/>
                  </a:lnTo>
                  <a:lnTo>
                    <a:pt x="150" y="5"/>
                  </a:lnTo>
                  <a:lnTo>
                    <a:pt x="153" y="3"/>
                  </a:lnTo>
                  <a:lnTo>
                    <a:pt x="156" y="2"/>
                  </a:lnTo>
                  <a:lnTo>
                    <a:pt x="157" y="1"/>
                  </a:lnTo>
                  <a:lnTo>
                    <a:pt x="158" y="1"/>
                  </a:lnTo>
                  <a:lnTo>
                    <a:pt x="160" y="0"/>
                  </a:lnTo>
                  <a:lnTo>
                    <a:pt x="162" y="0"/>
                  </a:lnTo>
                  <a:lnTo>
                    <a:pt x="162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Freeform 49">
              <a:extLst>
                <a:ext uri="{FF2B5EF4-FFF2-40B4-BE49-F238E27FC236}">
                  <a16:creationId xmlns:a16="http://schemas.microsoft.com/office/drawing/2014/main" id="{14B658D5-6B2A-D1C0-87D7-1E6F5529B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301"/>
              <a:ext cx="427" cy="537"/>
            </a:xfrm>
            <a:custGeom>
              <a:avLst/>
              <a:gdLst>
                <a:gd name="T0" fmla="*/ 287 w 427"/>
                <a:gd name="T1" fmla="*/ 2 h 537"/>
                <a:gd name="T2" fmla="*/ 301 w 427"/>
                <a:gd name="T3" fmla="*/ 10 h 537"/>
                <a:gd name="T4" fmla="*/ 305 w 427"/>
                <a:gd name="T5" fmla="*/ 23 h 537"/>
                <a:gd name="T6" fmla="*/ 311 w 427"/>
                <a:gd name="T7" fmla="*/ 34 h 537"/>
                <a:gd name="T8" fmla="*/ 338 w 427"/>
                <a:gd name="T9" fmla="*/ 34 h 537"/>
                <a:gd name="T10" fmla="*/ 337 w 427"/>
                <a:gd name="T11" fmla="*/ 41 h 537"/>
                <a:gd name="T12" fmla="*/ 367 w 427"/>
                <a:gd name="T13" fmla="*/ 52 h 537"/>
                <a:gd name="T14" fmla="*/ 394 w 427"/>
                <a:gd name="T15" fmla="*/ 66 h 537"/>
                <a:gd name="T16" fmla="*/ 406 w 427"/>
                <a:gd name="T17" fmla="*/ 77 h 537"/>
                <a:gd name="T18" fmla="*/ 427 w 427"/>
                <a:gd name="T19" fmla="*/ 109 h 537"/>
                <a:gd name="T20" fmla="*/ 419 w 427"/>
                <a:gd name="T21" fmla="*/ 137 h 537"/>
                <a:gd name="T22" fmla="*/ 416 w 427"/>
                <a:gd name="T23" fmla="*/ 160 h 537"/>
                <a:gd name="T24" fmla="*/ 408 w 427"/>
                <a:gd name="T25" fmla="*/ 178 h 537"/>
                <a:gd name="T26" fmla="*/ 390 w 427"/>
                <a:gd name="T27" fmla="*/ 179 h 537"/>
                <a:gd name="T28" fmla="*/ 382 w 427"/>
                <a:gd name="T29" fmla="*/ 198 h 537"/>
                <a:gd name="T30" fmla="*/ 386 w 427"/>
                <a:gd name="T31" fmla="*/ 204 h 537"/>
                <a:gd name="T32" fmla="*/ 388 w 427"/>
                <a:gd name="T33" fmla="*/ 215 h 537"/>
                <a:gd name="T34" fmla="*/ 388 w 427"/>
                <a:gd name="T35" fmla="*/ 223 h 537"/>
                <a:gd name="T36" fmla="*/ 401 w 427"/>
                <a:gd name="T37" fmla="*/ 232 h 537"/>
                <a:gd name="T38" fmla="*/ 404 w 427"/>
                <a:gd name="T39" fmla="*/ 262 h 537"/>
                <a:gd name="T40" fmla="*/ 403 w 427"/>
                <a:gd name="T41" fmla="*/ 279 h 537"/>
                <a:gd name="T42" fmla="*/ 407 w 427"/>
                <a:gd name="T43" fmla="*/ 305 h 537"/>
                <a:gd name="T44" fmla="*/ 405 w 427"/>
                <a:gd name="T45" fmla="*/ 334 h 537"/>
                <a:gd name="T46" fmla="*/ 404 w 427"/>
                <a:gd name="T47" fmla="*/ 362 h 537"/>
                <a:gd name="T48" fmla="*/ 392 w 427"/>
                <a:gd name="T49" fmla="*/ 381 h 537"/>
                <a:gd name="T50" fmla="*/ 387 w 427"/>
                <a:gd name="T51" fmla="*/ 391 h 537"/>
                <a:gd name="T52" fmla="*/ 384 w 427"/>
                <a:gd name="T53" fmla="*/ 404 h 537"/>
                <a:gd name="T54" fmla="*/ 387 w 427"/>
                <a:gd name="T55" fmla="*/ 422 h 537"/>
                <a:gd name="T56" fmla="*/ 369 w 427"/>
                <a:gd name="T57" fmla="*/ 443 h 537"/>
                <a:gd name="T58" fmla="*/ 351 w 427"/>
                <a:gd name="T59" fmla="*/ 453 h 537"/>
                <a:gd name="T60" fmla="*/ 352 w 427"/>
                <a:gd name="T61" fmla="*/ 485 h 537"/>
                <a:gd name="T62" fmla="*/ 336 w 427"/>
                <a:gd name="T63" fmla="*/ 503 h 537"/>
                <a:gd name="T64" fmla="*/ 334 w 427"/>
                <a:gd name="T65" fmla="*/ 526 h 537"/>
                <a:gd name="T66" fmla="*/ 318 w 427"/>
                <a:gd name="T67" fmla="*/ 537 h 537"/>
                <a:gd name="T68" fmla="*/ 292 w 427"/>
                <a:gd name="T69" fmla="*/ 509 h 537"/>
                <a:gd name="T70" fmla="*/ 269 w 427"/>
                <a:gd name="T71" fmla="*/ 465 h 537"/>
                <a:gd name="T72" fmla="*/ 236 w 427"/>
                <a:gd name="T73" fmla="*/ 454 h 537"/>
                <a:gd name="T74" fmla="*/ 220 w 427"/>
                <a:gd name="T75" fmla="*/ 429 h 537"/>
                <a:gd name="T76" fmla="*/ 191 w 427"/>
                <a:gd name="T77" fmla="*/ 392 h 537"/>
                <a:gd name="T78" fmla="*/ 176 w 427"/>
                <a:gd name="T79" fmla="*/ 366 h 537"/>
                <a:gd name="T80" fmla="*/ 141 w 427"/>
                <a:gd name="T81" fmla="*/ 347 h 537"/>
                <a:gd name="T82" fmla="*/ 117 w 427"/>
                <a:gd name="T83" fmla="*/ 349 h 537"/>
                <a:gd name="T84" fmla="*/ 98 w 427"/>
                <a:gd name="T85" fmla="*/ 322 h 537"/>
                <a:gd name="T86" fmla="*/ 71 w 427"/>
                <a:gd name="T87" fmla="*/ 300 h 537"/>
                <a:gd name="T88" fmla="*/ 66 w 427"/>
                <a:gd name="T89" fmla="*/ 263 h 537"/>
                <a:gd name="T90" fmla="*/ 48 w 427"/>
                <a:gd name="T91" fmla="*/ 242 h 537"/>
                <a:gd name="T92" fmla="*/ 35 w 427"/>
                <a:gd name="T93" fmla="*/ 213 h 537"/>
                <a:gd name="T94" fmla="*/ 32 w 427"/>
                <a:gd name="T95" fmla="*/ 188 h 537"/>
                <a:gd name="T96" fmla="*/ 1 w 427"/>
                <a:gd name="T97" fmla="*/ 160 h 537"/>
                <a:gd name="T98" fmla="*/ 18 w 427"/>
                <a:gd name="T99" fmla="*/ 138 h 537"/>
                <a:gd name="T100" fmla="*/ 35 w 427"/>
                <a:gd name="T101" fmla="*/ 103 h 537"/>
                <a:gd name="T102" fmla="*/ 63 w 427"/>
                <a:gd name="T103" fmla="*/ 87 h 537"/>
                <a:gd name="T104" fmla="*/ 83 w 427"/>
                <a:gd name="T105" fmla="*/ 91 h 537"/>
                <a:gd name="T106" fmla="*/ 95 w 427"/>
                <a:gd name="T107" fmla="*/ 79 h 537"/>
                <a:gd name="T108" fmla="*/ 124 w 427"/>
                <a:gd name="T109" fmla="*/ 74 h 537"/>
                <a:gd name="T110" fmla="*/ 156 w 427"/>
                <a:gd name="T111" fmla="*/ 80 h 537"/>
                <a:gd name="T112" fmla="*/ 170 w 427"/>
                <a:gd name="T113" fmla="*/ 60 h 537"/>
                <a:gd name="T114" fmla="*/ 200 w 427"/>
                <a:gd name="T115" fmla="*/ 41 h 537"/>
                <a:gd name="T116" fmla="*/ 229 w 427"/>
                <a:gd name="T117" fmla="*/ 36 h 537"/>
                <a:gd name="T118" fmla="*/ 250 w 427"/>
                <a:gd name="T119" fmla="*/ 46 h 537"/>
                <a:gd name="T120" fmla="*/ 259 w 427"/>
                <a:gd name="T121" fmla="*/ 24 h 537"/>
                <a:gd name="T122" fmla="*/ 267 w 427"/>
                <a:gd name="T123" fmla="*/ 11 h 537"/>
                <a:gd name="T124" fmla="*/ 278 w 427"/>
                <a:gd name="T125" fmla="*/ 1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537">
                  <a:moveTo>
                    <a:pt x="279" y="1"/>
                  </a:moveTo>
                  <a:lnTo>
                    <a:pt x="279" y="1"/>
                  </a:lnTo>
                  <a:lnTo>
                    <a:pt x="279" y="1"/>
                  </a:lnTo>
                  <a:lnTo>
                    <a:pt x="279" y="2"/>
                  </a:lnTo>
                  <a:lnTo>
                    <a:pt x="279" y="4"/>
                  </a:lnTo>
                  <a:lnTo>
                    <a:pt x="279" y="4"/>
                  </a:lnTo>
                  <a:lnTo>
                    <a:pt x="280" y="5"/>
                  </a:lnTo>
                  <a:lnTo>
                    <a:pt x="280" y="5"/>
                  </a:lnTo>
                  <a:lnTo>
                    <a:pt x="280" y="6"/>
                  </a:lnTo>
                  <a:lnTo>
                    <a:pt x="281" y="6"/>
                  </a:lnTo>
                  <a:lnTo>
                    <a:pt x="281" y="6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83" y="5"/>
                  </a:lnTo>
                  <a:lnTo>
                    <a:pt x="283" y="5"/>
                  </a:lnTo>
                  <a:lnTo>
                    <a:pt x="285" y="3"/>
                  </a:lnTo>
                  <a:lnTo>
                    <a:pt x="285" y="3"/>
                  </a:lnTo>
                  <a:lnTo>
                    <a:pt x="286" y="2"/>
                  </a:lnTo>
                  <a:lnTo>
                    <a:pt x="286" y="2"/>
                  </a:lnTo>
                  <a:lnTo>
                    <a:pt x="287" y="2"/>
                  </a:lnTo>
                  <a:lnTo>
                    <a:pt x="288" y="1"/>
                  </a:lnTo>
                  <a:lnTo>
                    <a:pt x="288" y="2"/>
                  </a:lnTo>
                  <a:lnTo>
                    <a:pt x="288" y="2"/>
                  </a:lnTo>
                  <a:lnTo>
                    <a:pt x="289" y="3"/>
                  </a:lnTo>
                  <a:lnTo>
                    <a:pt x="289" y="4"/>
                  </a:lnTo>
                  <a:lnTo>
                    <a:pt x="291" y="6"/>
                  </a:lnTo>
                  <a:lnTo>
                    <a:pt x="292" y="7"/>
                  </a:lnTo>
                  <a:lnTo>
                    <a:pt x="292" y="8"/>
                  </a:lnTo>
                  <a:lnTo>
                    <a:pt x="293" y="10"/>
                  </a:lnTo>
                  <a:lnTo>
                    <a:pt x="293" y="11"/>
                  </a:lnTo>
                  <a:lnTo>
                    <a:pt x="293" y="11"/>
                  </a:lnTo>
                  <a:lnTo>
                    <a:pt x="294" y="11"/>
                  </a:lnTo>
                  <a:lnTo>
                    <a:pt x="294" y="12"/>
                  </a:lnTo>
                  <a:lnTo>
                    <a:pt x="294" y="12"/>
                  </a:lnTo>
                  <a:lnTo>
                    <a:pt x="295" y="12"/>
                  </a:lnTo>
                  <a:lnTo>
                    <a:pt x="295" y="12"/>
                  </a:lnTo>
                  <a:lnTo>
                    <a:pt x="296" y="12"/>
                  </a:lnTo>
                  <a:lnTo>
                    <a:pt x="299" y="11"/>
                  </a:lnTo>
                  <a:lnTo>
                    <a:pt x="299" y="11"/>
                  </a:lnTo>
                  <a:lnTo>
                    <a:pt x="299" y="11"/>
                  </a:lnTo>
                  <a:lnTo>
                    <a:pt x="301" y="10"/>
                  </a:lnTo>
                  <a:lnTo>
                    <a:pt x="302" y="9"/>
                  </a:lnTo>
                  <a:lnTo>
                    <a:pt x="302" y="9"/>
                  </a:lnTo>
                  <a:lnTo>
                    <a:pt x="303" y="8"/>
                  </a:lnTo>
                  <a:lnTo>
                    <a:pt x="304" y="7"/>
                  </a:lnTo>
                  <a:lnTo>
                    <a:pt x="304" y="8"/>
                  </a:lnTo>
                  <a:lnTo>
                    <a:pt x="304" y="9"/>
                  </a:lnTo>
                  <a:lnTo>
                    <a:pt x="305" y="10"/>
                  </a:lnTo>
                  <a:lnTo>
                    <a:pt x="306" y="11"/>
                  </a:lnTo>
                  <a:lnTo>
                    <a:pt x="307" y="13"/>
                  </a:lnTo>
                  <a:lnTo>
                    <a:pt x="307" y="14"/>
                  </a:lnTo>
                  <a:lnTo>
                    <a:pt x="308" y="14"/>
                  </a:lnTo>
                  <a:lnTo>
                    <a:pt x="308" y="15"/>
                  </a:lnTo>
                  <a:lnTo>
                    <a:pt x="308" y="16"/>
                  </a:lnTo>
                  <a:lnTo>
                    <a:pt x="308" y="17"/>
                  </a:lnTo>
                  <a:lnTo>
                    <a:pt x="308" y="18"/>
                  </a:lnTo>
                  <a:lnTo>
                    <a:pt x="308" y="19"/>
                  </a:lnTo>
                  <a:lnTo>
                    <a:pt x="308" y="19"/>
                  </a:lnTo>
                  <a:lnTo>
                    <a:pt x="308" y="19"/>
                  </a:lnTo>
                  <a:lnTo>
                    <a:pt x="307" y="20"/>
                  </a:lnTo>
                  <a:lnTo>
                    <a:pt x="306" y="22"/>
                  </a:lnTo>
                  <a:lnTo>
                    <a:pt x="305" y="23"/>
                  </a:lnTo>
                  <a:lnTo>
                    <a:pt x="304" y="25"/>
                  </a:lnTo>
                  <a:lnTo>
                    <a:pt x="303" y="27"/>
                  </a:lnTo>
                  <a:lnTo>
                    <a:pt x="303" y="28"/>
                  </a:lnTo>
                  <a:lnTo>
                    <a:pt x="302" y="28"/>
                  </a:lnTo>
                  <a:lnTo>
                    <a:pt x="302" y="29"/>
                  </a:lnTo>
                  <a:lnTo>
                    <a:pt x="302" y="30"/>
                  </a:lnTo>
                  <a:lnTo>
                    <a:pt x="302" y="30"/>
                  </a:lnTo>
                  <a:lnTo>
                    <a:pt x="302" y="31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3" y="33"/>
                  </a:lnTo>
                  <a:lnTo>
                    <a:pt x="303" y="33"/>
                  </a:lnTo>
                  <a:lnTo>
                    <a:pt x="304" y="33"/>
                  </a:lnTo>
                  <a:lnTo>
                    <a:pt x="305" y="33"/>
                  </a:lnTo>
                  <a:lnTo>
                    <a:pt x="308" y="34"/>
                  </a:lnTo>
                  <a:lnTo>
                    <a:pt x="308" y="34"/>
                  </a:lnTo>
                  <a:lnTo>
                    <a:pt x="309" y="34"/>
                  </a:lnTo>
                  <a:lnTo>
                    <a:pt x="309" y="34"/>
                  </a:lnTo>
                  <a:lnTo>
                    <a:pt x="310" y="34"/>
                  </a:lnTo>
                  <a:lnTo>
                    <a:pt x="311" y="34"/>
                  </a:lnTo>
                  <a:lnTo>
                    <a:pt x="312" y="33"/>
                  </a:lnTo>
                  <a:lnTo>
                    <a:pt x="314" y="32"/>
                  </a:lnTo>
                  <a:lnTo>
                    <a:pt x="316" y="32"/>
                  </a:lnTo>
                  <a:lnTo>
                    <a:pt x="317" y="32"/>
                  </a:lnTo>
                  <a:lnTo>
                    <a:pt x="317" y="31"/>
                  </a:lnTo>
                  <a:lnTo>
                    <a:pt x="319" y="31"/>
                  </a:lnTo>
                  <a:lnTo>
                    <a:pt x="321" y="31"/>
                  </a:lnTo>
                  <a:lnTo>
                    <a:pt x="322" y="31"/>
                  </a:lnTo>
                  <a:lnTo>
                    <a:pt x="323" y="32"/>
                  </a:lnTo>
                  <a:lnTo>
                    <a:pt x="326" y="32"/>
                  </a:lnTo>
                  <a:lnTo>
                    <a:pt x="327" y="32"/>
                  </a:lnTo>
                  <a:lnTo>
                    <a:pt x="328" y="32"/>
                  </a:lnTo>
                  <a:lnTo>
                    <a:pt x="328" y="32"/>
                  </a:lnTo>
                  <a:lnTo>
                    <a:pt x="331" y="32"/>
                  </a:lnTo>
                  <a:lnTo>
                    <a:pt x="333" y="32"/>
                  </a:lnTo>
                  <a:lnTo>
                    <a:pt x="334" y="32"/>
                  </a:lnTo>
                  <a:lnTo>
                    <a:pt x="334" y="32"/>
                  </a:lnTo>
                  <a:lnTo>
                    <a:pt x="335" y="32"/>
                  </a:lnTo>
                  <a:lnTo>
                    <a:pt x="336" y="32"/>
                  </a:lnTo>
                  <a:lnTo>
                    <a:pt x="337" y="33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9" y="34"/>
                  </a:lnTo>
                  <a:lnTo>
                    <a:pt x="338" y="35"/>
                  </a:lnTo>
                  <a:lnTo>
                    <a:pt x="338" y="35"/>
                  </a:lnTo>
                  <a:lnTo>
                    <a:pt x="336" y="36"/>
                  </a:lnTo>
                  <a:lnTo>
                    <a:pt x="336" y="36"/>
                  </a:lnTo>
                  <a:lnTo>
                    <a:pt x="335" y="37"/>
                  </a:lnTo>
                  <a:lnTo>
                    <a:pt x="335" y="37"/>
                  </a:lnTo>
                  <a:lnTo>
                    <a:pt x="334" y="37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9"/>
                  </a:lnTo>
                  <a:lnTo>
                    <a:pt x="335" y="39"/>
                  </a:lnTo>
                  <a:lnTo>
                    <a:pt x="335" y="39"/>
                  </a:lnTo>
                  <a:lnTo>
                    <a:pt x="335" y="40"/>
                  </a:lnTo>
                  <a:lnTo>
                    <a:pt x="336" y="41"/>
                  </a:lnTo>
                  <a:lnTo>
                    <a:pt x="337" y="41"/>
                  </a:lnTo>
                  <a:lnTo>
                    <a:pt x="338" y="42"/>
                  </a:lnTo>
                  <a:lnTo>
                    <a:pt x="339" y="43"/>
                  </a:lnTo>
                  <a:lnTo>
                    <a:pt x="342" y="44"/>
                  </a:lnTo>
                  <a:lnTo>
                    <a:pt x="344" y="45"/>
                  </a:lnTo>
                  <a:lnTo>
                    <a:pt x="346" y="47"/>
                  </a:lnTo>
                  <a:lnTo>
                    <a:pt x="349" y="49"/>
                  </a:lnTo>
                  <a:lnTo>
                    <a:pt x="350" y="50"/>
                  </a:lnTo>
                  <a:lnTo>
                    <a:pt x="352" y="51"/>
                  </a:lnTo>
                  <a:lnTo>
                    <a:pt x="352" y="51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6" y="52"/>
                  </a:lnTo>
                  <a:lnTo>
                    <a:pt x="357" y="52"/>
                  </a:lnTo>
                  <a:lnTo>
                    <a:pt x="358" y="53"/>
                  </a:lnTo>
                  <a:lnTo>
                    <a:pt x="359" y="53"/>
                  </a:lnTo>
                  <a:lnTo>
                    <a:pt x="361" y="53"/>
                  </a:lnTo>
                  <a:lnTo>
                    <a:pt x="362" y="53"/>
                  </a:lnTo>
                  <a:lnTo>
                    <a:pt x="363" y="53"/>
                  </a:lnTo>
                  <a:lnTo>
                    <a:pt x="365" y="53"/>
                  </a:lnTo>
                  <a:lnTo>
                    <a:pt x="366" y="52"/>
                  </a:lnTo>
                  <a:lnTo>
                    <a:pt x="367" y="52"/>
                  </a:lnTo>
                  <a:lnTo>
                    <a:pt x="370" y="51"/>
                  </a:lnTo>
                  <a:lnTo>
                    <a:pt x="371" y="51"/>
                  </a:lnTo>
                  <a:lnTo>
                    <a:pt x="372" y="51"/>
                  </a:lnTo>
                  <a:lnTo>
                    <a:pt x="374" y="51"/>
                  </a:lnTo>
                  <a:lnTo>
                    <a:pt x="374" y="51"/>
                  </a:lnTo>
                  <a:lnTo>
                    <a:pt x="376" y="51"/>
                  </a:lnTo>
                  <a:lnTo>
                    <a:pt x="376" y="52"/>
                  </a:lnTo>
                  <a:lnTo>
                    <a:pt x="377" y="52"/>
                  </a:lnTo>
                  <a:lnTo>
                    <a:pt x="378" y="52"/>
                  </a:lnTo>
                  <a:lnTo>
                    <a:pt x="378" y="53"/>
                  </a:lnTo>
                  <a:lnTo>
                    <a:pt x="379" y="53"/>
                  </a:lnTo>
                  <a:lnTo>
                    <a:pt x="380" y="54"/>
                  </a:lnTo>
                  <a:lnTo>
                    <a:pt x="382" y="57"/>
                  </a:lnTo>
                  <a:lnTo>
                    <a:pt x="384" y="59"/>
                  </a:lnTo>
                  <a:lnTo>
                    <a:pt x="385" y="60"/>
                  </a:lnTo>
                  <a:lnTo>
                    <a:pt x="387" y="62"/>
                  </a:lnTo>
                  <a:lnTo>
                    <a:pt x="390" y="64"/>
                  </a:lnTo>
                  <a:lnTo>
                    <a:pt x="391" y="65"/>
                  </a:lnTo>
                  <a:lnTo>
                    <a:pt x="392" y="66"/>
                  </a:lnTo>
                  <a:lnTo>
                    <a:pt x="393" y="66"/>
                  </a:lnTo>
                  <a:lnTo>
                    <a:pt x="394" y="66"/>
                  </a:lnTo>
                  <a:lnTo>
                    <a:pt x="397" y="67"/>
                  </a:lnTo>
                  <a:lnTo>
                    <a:pt x="398" y="67"/>
                  </a:lnTo>
                  <a:lnTo>
                    <a:pt x="399" y="67"/>
                  </a:lnTo>
                  <a:lnTo>
                    <a:pt x="400" y="67"/>
                  </a:lnTo>
                  <a:lnTo>
                    <a:pt x="400" y="68"/>
                  </a:lnTo>
                  <a:lnTo>
                    <a:pt x="401" y="68"/>
                  </a:lnTo>
                  <a:lnTo>
                    <a:pt x="402" y="69"/>
                  </a:lnTo>
                  <a:lnTo>
                    <a:pt x="402" y="69"/>
                  </a:lnTo>
                  <a:lnTo>
                    <a:pt x="403" y="70"/>
                  </a:lnTo>
                  <a:lnTo>
                    <a:pt x="403" y="70"/>
                  </a:lnTo>
                  <a:lnTo>
                    <a:pt x="403" y="71"/>
                  </a:lnTo>
                  <a:lnTo>
                    <a:pt x="404" y="72"/>
                  </a:lnTo>
                  <a:lnTo>
                    <a:pt x="404" y="72"/>
                  </a:lnTo>
                  <a:lnTo>
                    <a:pt x="404" y="75"/>
                  </a:lnTo>
                  <a:lnTo>
                    <a:pt x="404" y="76"/>
                  </a:lnTo>
                  <a:lnTo>
                    <a:pt x="405" y="76"/>
                  </a:lnTo>
                  <a:lnTo>
                    <a:pt x="405" y="76"/>
                  </a:lnTo>
                  <a:lnTo>
                    <a:pt x="405" y="77"/>
                  </a:lnTo>
                  <a:lnTo>
                    <a:pt x="405" y="77"/>
                  </a:lnTo>
                  <a:lnTo>
                    <a:pt x="406" y="77"/>
                  </a:lnTo>
                  <a:lnTo>
                    <a:pt x="406" y="77"/>
                  </a:lnTo>
                  <a:lnTo>
                    <a:pt x="409" y="78"/>
                  </a:lnTo>
                  <a:lnTo>
                    <a:pt x="412" y="79"/>
                  </a:lnTo>
                  <a:lnTo>
                    <a:pt x="414" y="79"/>
                  </a:lnTo>
                  <a:lnTo>
                    <a:pt x="415" y="80"/>
                  </a:lnTo>
                  <a:lnTo>
                    <a:pt x="418" y="81"/>
                  </a:lnTo>
                  <a:lnTo>
                    <a:pt x="424" y="85"/>
                  </a:lnTo>
                  <a:lnTo>
                    <a:pt x="425" y="85"/>
                  </a:lnTo>
                  <a:lnTo>
                    <a:pt x="425" y="86"/>
                  </a:lnTo>
                  <a:lnTo>
                    <a:pt x="425" y="86"/>
                  </a:lnTo>
                  <a:lnTo>
                    <a:pt x="426" y="86"/>
                  </a:lnTo>
                  <a:lnTo>
                    <a:pt x="426" y="87"/>
                  </a:lnTo>
                  <a:lnTo>
                    <a:pt x="426" y="87"/>
                  </a:lnTo>
                  <a:lnTo>
                    <a:pt x="426" y="92"/>
                  </a:lnTo>
                  <a:lnTo>
                    <a:pt x="426" y="94"/>
                  </a:lnTo>
                  <a:lnTo>
                    <a:pt x="427" y="97"/>
                  </a:lnTo>
                  <a:lnTo>
                    <a:pt x="427" y="101"/>
                  </a:lnTo>
                  <a:lnTo>
                    <a:pt x="427" y="103"/>
                  </a:lnTo>
                  <a:lnTo>
                    <a:pt x="427" y="107"/>
                  </a:lnTo>
                  <a:lnTo>
                    <a:pt x="427" y="108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7" y="110"/>
                  </a:lnTo>
                  <a:lnTo>
                    <a:pt x="427" y="111"/>
                  </a:lnTo>
                  <a:lnTo>
                    <a:pt x="426" y="111"/>
                  </a:lnTo>
                  <a:lnTo>
                    <a:pt x="426" y="112"/>
                  </a:lnTo>
                  <a:lnTo>
                    <a:pt x="424" y="113"/>
                  </a:lnTo>
                  <a:lnTo>
                    <a:pt x="424" y="114"/>
                  </a:lnTo>
                  <a:lnTo>
                    <a:pt x="423" y="114"/>
                  </a:lnTo>
                  <a:lnTo>
                    <a:pt x="423" y="115"/>
                  </a:lnTo>
                  <a:lnTo>
                    <a:pt x="422" y="116"/>
                  </a:lnTo>
                  <a:lnTo>
                    <a:pt x="422" y="117"/>
                  </a:lnTo>
                  <a:lnTo>
                    <a:pt x="421" y="119"/>
                  </a:lnTo>
                  <a:lnTo>
                    <a:pt x="420" y="122"/>
                  </a:lnTo>
                  <a:lnTo>
                    <a:pt x="420" y="123"/>
                  </a:lnTo>
                  <a:lnTo>
                    <a:pt x="420" y="124"/>
                  </a:lnTo>
                  <a:lnTo>
                    <a:pt x="419" y="129"/>
                  </a:lnTo>
                  <a:lnTo>
                    <a:pt x="419" y="130"/>
                  </a:lnTo>
                  <a:lnTo>
                    <a:pt x="419" y="131"/>
                  </a:lnTo>
                  <a:lnTo>
                    <a:pt x="419" y="134"/>
                  </a:lnTo>
                  <a:lnTo>
                    <a:pt x="419" y="135"/>
                  </a:lnTo>
                  <a:lnTo>
                    <a:pt x="419" y="136"/>
                  </a:lnTo>
                  <a:lnTo>
                    <a:pt x="419" y="137"/>
                  </a:lnTo>
                  <a:lnTo>
                    <a:pt x="419" y="138"/>
                  </a:lnTo>
                  <a:lnTo>
                    <a:pt x="419" y="139"/>
                  </a:lnTo>
                  <a:lnTo>
                    <a:pt x="418" y="141"/>
                  </a:lnTo>
                  <a:lnTo>
                    <a:pt x="417" y="144"/>
                  </a:lnTo>
                  <a:lnTo>
                    <a:pt x="417" y="144"/>
                  </a:lnTo>
                  <a:lnTo>
                    <a:pt x="417" y="145"/>
                  </a:lnTo>
                  <a:lnTo>
                    <a:pt x="417" y="146"/>
                  </a:lnTo>
                  <a:lnTo>
                    <a:pt x="417" y="147"/>
                  </a:lnTo>
                  <a:lnTo>
                    <a:pt x="417" y="148"/>
                  </a:lnTo>
                  <a:lnTo>
                    <a:pt x="417" y="151"/>
                  </a:lnTo>
                  <a:lnTo>
                    <a:pt x="417" y="152"/>
                  </a:lnTo>
                  <a:lnTo>
                    <a:pt x="416" y="153"/>
                  </a:lnTo>
                  <a:lnTo>
                    <a:pt x="416" y="154"/>
                  </a:lnTo>
                  <a:lnTo>
                    <a:pt x="416" y="155"/>
                  </a:lnTo>
                  <a:lnTo>
                    <a:pt x="416" y="156"/>
                  </a:lnTo>
                  <a:lnTo>
                    <a:pt x="415" y="158"/>
                  </a:lnTo>
                  <a:lnTo>
                    <a:pt x="415" y="159"/>
                  </a:lnTo>
                  <a:lnTo>
                    <a:pt x="415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8" y="161"/>
                  </a:lnTo>
                  <a:lnTo>
                    <a:pt x="418" y="162"/>
                  </a:lnTo>
                  <a:lnTo>
                    <a:pt x="419" y="162"/>
                  </a:lnTo>
                  <a:lnTo>
                    <a:pt x="419" y="163"/>
                  </a:lnTo>
                  <a:lnTo>
                    <a:pt x="420" y="163"/>
                  </a:lnTo>
                  <a:lnTo>
                    <a:pt x="420" y="164"/>
                  </a:lnTo>
                  <a:lnTo>
                    <a:pt x="420" y="165"/>
                  </a:lnTo>
                  <a:lnTo>
                    <a:pt x="420" y="165"/>
                  </a:lnTo>
                  <a:lnTo>
                    <a:pt x="419" y="166"/>
                  </a:lnTo>
                  <a:lnTo>
                    <a:pt x="419" y="166"/>
                  </a:lnTo>
                  <a:lnTo>
                    <a:pt x="419" y="167"/>
                  </a:lnTo>
                  <a:lnTo>
                    <a:pt x="418" y="167"/>
                  </a:lnTo>
                  <a:lnTo>
                    <a:pt x="417" y="168"/>
                  </a:lnTo>
                  <a:lnTo>
                    <a:pt x="414" y="171"/>
                  </a:lnTo>
                  <a:lnTo>
                    <a:pt x="413" y="172"/>
                  </a:lnTo>
                  <a:lnTo>
                    <a:pt x="412" y="173"/>
                  </a:lnTo>
                  <a:lnTo>
                    <a:pt x="411" y="174"/>
                  </a:lnTo>
                  <a:lnTo>
                    <a:pt x="410" y="176"/>
                  </a:lnTo>
                  <a:lnTo>
                    <a:pt x="409" y="177"/>
                  </a:lnTo>
                  <a:lnTo>
                    <a:pt x="408" y="177"/>
                  </a:lnTo>
                  <a:lnTo>
                    <a:pt x="408" y="178"/>
                  </a:lnTo>
                  <a:lnTo>
                    <a:pt x="407" y="178"/>
                  </a:lnTo>
                  <a:lnTo>
                    <a:pt x="407" y="178"/>
                  </a:lnTo>
                  <a:lnTo>
                    <a:pt x="406" y="179"/>
                  </a:lnTo>
                  <a:lnTo>
                    <a:pt x="406" y="179"/>
                  </a:lnTo>
                  <a:lnTo>
                    <a:pt x="405" y="179"/>
                  </a:lnTo>
                  <a:lnTo>
                    <a:pt x="405" y="179"/>
                  </a:lnTo>
                  <a:lnTo>
                    <a:pt x="404" y="178"/>
                  </a:lnTo>
                  <a:lnTo>
                    <a:pt x="403" y="178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399" y="176"/>
                  </a:lnTo>
                  <a:lnTo>
                    <a:pt x="398" y="176"/>
                  </a:lnTo>
                  <a:lnTo>
                    <a:pt x="397" y="176"/>
                  </a:lnTo>
                  <a:lnTo>
                    <a:pt x="397" y="176"/>
                  </a:lnTo>
                  <a:lnTo>
                    <a:pt x="396" y="176"/>
                  </a:lnTo>
                  <a:lnTo>
                    <a:pt x="395" y="177"/>
                  </a:lnTo>
                  <a:lnTo>
                    <a:pt x="394" y="177"/>
                  </a:lnTo>
                  <a:lnTo>
                    <a:pt x="392" y="178"/>
                  </a:lnTo>
                  <a:lnTo>
                    <a:pt x="391" y="179"/>
                  </a:lnTo>
                  <a:lnTo>
                    <a:pt x="390" y="179"/>
                  </a:lnTo>
                  <a:lnTo>
                    <a:pt x="389" y="180"/>
                  </a:lnTo>
                  <a:lnTo>
                    <a:pt x="388" y="181"/>
                  </a:lnTo>
                  <a:lnTo>
                    <a:pt x="387" y="182"/>
                  </a:lnTo>
                  <a:lnTo>
                    <a:pt x="386" y="182"/>
                  </a:lnTo>
                  <a:lnTo>
                    <a:pt x="386" y="183"/>
                  </a:lnTo>
                  <a:lnTo>
                    <a:pt x="385" y="185"/>
                  </a:lnTo>
                  <a:lnTo>
                    <a:pt x="382" y="188"/>
                  </a:lnTo>
                  <a:lnTo>
                    <a:pt x="381" y="189"/>
                  </a:lnTo>
                  <a:lnTo>
                    <a:pt x="381" y="190"/>
                  </a:lnTo>
                  <a:lnTo>
                    <a:pt x="381" y="191"/>
                  </a:lnTo>
                  <a:lnTo>
                    <a:pt x="380" y="192"/>
                  </a:lnTo>
                  <a:lnTo>
                    <a:pt x="380" y="193"/>
                  </a:lnTo>
                  <a:lnTo>
                    <a:pt x="380" y="194"/>
                  </a:lnTo>
                  <a:lnTo>
                    <a:pt x="380" y="195"/>
                  </a:lnTo>
                  <a:lnTo>
                    <a:pt x="380" y="195"/>
                  </a:lnTo>
                  <a:lnTo>
                    <a:pt x="380" y="196"/>
                  </a:lnTo>
                  <a:lnTo>
                    <a:pt x="381" y="196"/>
                  </a:lnTo>
                  <a:lnTo>
                    <a:pt x="381" y="197"/>
                  </a:lnTo>
                  <a:lnTo>
                    <a:pt x="381" y="197"/>
                  </a:lnTo>
                  <a:lnTo>
                    <a:pt x="381" y="197"/>
                  </a:lnTo>
                  <a:lnTo>
                    <a:pt x="382" y="198"/>
                  </a:lnTo>
                  <a:lnTo>
                    <a:pt x="382" y="198"/>
                  </a:lnTo>
                  <a:lnTo>
                    <a:pt x="383" y="198"/>
                  </a:lnTo>
                  <a:lnTo>
                    <a:pt x="385" y="197"/>
                  </a:lnTo>
                  <a:lnTo>
                    <a:pt x="386" y="197"/>
                  </a:lnTo>
                  <a:lnTo>
                    <a:pt x="387" y="197"/>
                  </a:lnTo>
                  <a:lnTo>
                    <a:pt x="388" y="197"/>
                  </a:lnTo>
                  <a:lnTo>
                    <a:pt x="390" y="197"/>
                  </a:lnTo>
                  <a:lnTo>
                    <a:pt x="391" y="198"/>
                  </a:lnTo>
                  <a:lnTo>
                    <a:pt x="391" y="198"/>
                  </a:lnTo>
                  <a:lnTo>
                    <a:pt x="392" y="198"/>
                  </a:lnTo>
                  <a:lnTo>
                    <a:pt x="392" y="198"/>
                  </a:lnTo>
                  <a:lnTo>
                    <a:pt x="392" y="199"/>
                  </a:lnTo>
                  <a:lnTo>
                    <a:pt x="392" y="199"/>
                  </a:lnTo>
                  <a:lnTo>
                    <a:pt x="393" y="199"/>
                  </a:lnTo>
                  <a:lnTo>
                    <a:pt x="392" y="200"/>
                  </a:lnTo>
                  <a:lnTo>
                    <a:pt x="392" y="200"/>
                  </a:lnTo>
                  <a:lnTo>
                    <a:pt x="392" y="201"/>
                  </a:lnTo>
                  <a:lnTo>
                    <a:pt x="391" y="201"/>
                  </a:lnTo>
                  <a:lnTo>
                    <a:pt x="390" y="202"/>
                  </a:lnTo>
                  <a:lnTo>
                    <a:pt x="386" y="203"/>
                  </a:lnTo>
                  <a:lnTo>
                    <a:pt x="386" y="204"/>
                  </a:lnTo>
                  <a:lnTo>
                    <a:pt x="386" y="204"/>
                  </a:lnTo>
                  <a:lnTo>
                    <a:pt x="386" y="204"/>
                  </a:lnTo>
                  <a:lnTo>
                    <a:pt x="385" y="204"/>
                  </a:lnTo>
                  <a:lnTo>
                    <a:pt x="385" y="205"/>
                  </a:lnTo>
                  <a:lnTo>
                    <a:pt x="385" y="206"/>
                  </a:lnTo>
                  <a:lnTo>
                    <a:pt x="386" y="206"/>
                  </a:lnTo>
                  <a:lnTo>
                    <a:pt x="386" y="207"/>
                  </a:lnTo>
                  <a:lnTo>
                    <a:pt x="386" y="207"/>
                  </a:lnTo>
                  <a:lnTo>
                    <a:pt x="386" y="208"/>
                  </a:lnTo>
                  <a:lnTo>
                    <a:pt x="388" y="209"/>
                  </a:lnTo>
                  <a:lnTo>
                    <a:pt x="388" y="210"/>
                  </a:lnTo>
                  <a:lnTo>
                    <a:pt x="389" y="211"/>
                  </a:lnTo>
                  <a:lnTo>
                    <a:pt x="389" y="211"/>
                  </a:lnTo>
                  <a:lnTo>
                    <a:pt x="390" y="212"/>
                  </a:lnTo>
                  <a:lnTo>
                    <a:pt x="390" y="213"/>
                  </a:lnTo>
                  <a:lnTo>
                    <a:pt x="390" y="213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8" y="215"/>
                  </a:lnTo>
                  <a:lnTo>
                    <a:pt x="388" y="215"/>
                  </a:lnTo>
                  <a:lnTo>
                    <a:pt x="387" y="215"/>
                  </a:lnTo>
                  <a:lnTo>
                    <a:pt x="386" y="215"/>
                  </a:lnTo>
                  <a:lnTo>
                    <a:pt x="385" y="215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7"/>
                  </a:lnTo>
                  <a:lnTo>
                    <a:pt x="385" y="217"/>
                  </a:lnTo>
                  <a:lnTo>
                    <a:pt x="386" y="218"/>
                  </a:lnTo>
                  <a:lnTo>
                    <a:pt x="387" y="219"/>
                  </a:lnTo>
                  <a:lnTo>
                    <a:pt x="388" y="219"/>
                  </a:lnTo>
                  <a:lnTo>
                    <a:pt x="388" y="219"/>
                  </a:lnTo>
                  <a:lnTo>
                    <a:pt x="388" y="220"/>
                  </a:lnTo>
                  <a:lnTo>
                    <a:pt x="388" y="220"/>
                  </a:lnTo>
                  <a:lnTo>
                    <a:pt x="388" y="221"/>
                  </a:lnTo>
                  <a:lnTo>
                    <a:pt x="388" y="222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9" y="223"/>
                  </a:lnTo>
                  <a:lnTo>
                    <a:pt x="389" y="224"/>
                  </a:lnTo>
                  <a:lnTo>
                    <a:pt x="389" y="224"/>
                  </a:lnTo>
                  <a:lnTo>
                    <a:pt x="390" y="224"/>
                  </a:lnTo>
                  <a:lnTo>
                    <a:pt x="391" y="224"/>
                  </a:lnTo>
                  <a:lnTo>
                    <a:pt x="393" y="224"/>
                  </a:lnTo>
                  <a:lnTo>
                    <a:pt x="394" y="224"/>
                  </a:lnTo>
                  <a:lnTo>
                    <a:pt x="395" y="224"/>
                  </a:lnTo>
                  <a:lnTo>
                    <a:pt x="396" y="224"/>
                  </a:lnTo>
                  <a:lnTo>
                    <a:pt x="397" y="225"/>
                  </a:lnTo>
                  <a:lnTo>
                    <a:pt x="398" y="225"/>
                  </a:lnTo>
                  <a:lnTo>
                    <a:pt x="399" y="226"/>
                  </a:lnTo>
                  <a:lnTo>
                    <a:pt x="400" y="226"/>
                  </a:lnTo>
                  <a:lnTo>
                    <a:pt x="400" y="227"/>
                  </a:lnTo>
                  <a:lnTo>
                    <a:pt x="400" y="227"/>
                  </a:lnTo>
                  <a:lnTo>
                    <a:pt x="401" y="228"/>
                  </a:lnTo>
                  <a:lnTo>
                    <a:pt x="401" y="228"/>
                  </a:lnTo>
                  <a:lnTo>
                    <a:pt x="401" y="229"/>
                  </a:lnTo>
                  <a:lnTo>
                    <a:pt x="401" y="230"/>
                  </a:lnTo>
                  <a:lnTo>
                    <a:pt x="401" y="232"/>
                  </a:lnTo>
                  <a:lnTo>
                    <a:pt x="401" y="234"/>
                  </a:lnTo>
                  <a:lnTo>
                    <a:pt x="401" y="236"/>
                  </a:lnTo>
                  <a:lnTo>
                    <a:pt x="401" y="237"/>
                  </a:lnTo>
                  <a:lnTo>
                    <a:pt x="401" y="239"/>
                  </a:lnTo>
                  <a:lnTo>
                    <a:pt x="400" y="242"/>
                  </a:lnTo>
                  <a:lnTo>
                    <a:pt x="400" y="244"/>
                  </a:lnTo>
                  <a:lnTo>
                    <a:pt x="400" y="246"/>
                  </a:lnTo>
                  <a:lnTo>
                    <a:pt x="399" y="249"/>
                  </a:lnTo>
                  <a:lnTo>
                    <a:pt x="399" y="252"/>
                  </a:lnTo>
                  <a:lnTo>
                    <a:pt x="399" y="253"/>
                  </a:lnTo>
                  <a:lnTo>
                    <a:pt x="399" y="257"/>
                  </a:lnTo>
                  <a:lnTo>
                    <a:pt x="399" y="257"/>
                  </a:lnTo>
                  <a:lnTo>
                    <a:pt x="399" y="258"/>
                  </a:lnTo>
                  <a:lnTo>
                    <a:pt x="399" y="258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1" y="260"/>
                  </a:lnTo>
                  <a:lnTo>
                    <a:pt x="402" y="260"/>
                  </a:lnTo>
                  <a:lnTo>
                    <a:pt x="403" y="261"/>
                  </a:lnTo>
                  <a:lnTo>
                    <a:pt x="404" y="262"/>
                  </a:lnTo>
                  <a:lnTo>
                    <a:pt x="404" y="262"/>
                  </a:lnTo>
                  <a:lnTo>
                    <a:pt x="405" y="263"/>
                  </a:lnTo>
                  <a:lnTo>
                    <a:pt x="405" y="264"/>
                  </a:lnTo>
                  <a:lnTo>
                    <a:pt x="405" y="265"/>
                  </a:lnTo>
                  <a:lnTo>
                    <a:pt x="406" y="267"/>
                  </a:lnTo>
                  <a:lnTo>
                    <a:pt x="406" y="268"/>
                  </a:lnTo>
                  <a:lnTo>
                    <a:pt x="406" y="269"/>
                  </a:lnTo>
                  <a:lnTo>
                    <a:pt x="406" y="270"/>
                  </a:lnTo>
                  <a:lnTo>
                    <a:pt x="406" y="271"/>
                  </a:lnTo>
                  <a:lnTo>
                    <a:pt x="406" y="273"/>
                  </a:lnTo>
                  <a:lnTo>
                    <a:pt x="406" y="274"/>
                  </a:lnTo>
                  <a:lnTo>
                    <a:pt x="406" y="275"/>
                  </a:lnTo>
                  <a:lnTo>
                    <a:pt x="406" y="276"/>
                  </a:lnTo>
                  <a:lnTo>
                    <a:pt x="406" y="276"/>
                  </a:lnTo>
                  <a:lnTo>
                    <a:pt x="405" y="276"/>
                  </a:lnTo>
                  <a:lnTo>
                    <a:pt x="405" y="276"/>
                  </a:lnTo>
                  <a:lnTo>
                    <a:pt x="405" y="276"/>
                  </a:lnTo>
                  <a:lnTo>
                    <a:pt x="404" y="277"/>
                  </a:lnTo>
                  <a:lnTo>
                    <a:pt x="404" y="278"/>
                  </a:lnTo>
                  <a:lnTo>
                    <a:pt x="404" y="278"/>
                  </a:lnTo>
                  <a:lnTo>
                    <a:pt x="403" y="279"/>
                  </a:lnTo>
                  <a:lnTo>
                    <a:pt x="402" y="284"/>
                  </a:lnTo>
                  <a:lnTo>
                    <a:pt x="402" y="285"/>
                  </a:lnTo>
                  <a:lnTo>
                    <a:pt x="402" y="285"/>
                  </a:lnTo>
                  <a:lnTo>
                    <a:pt x="402" y="286"/>
                  </a:lnTo>
                  <a:lnTo>
                    <a:pt x="402" y="286"/>
                  </a:lnTo>
                  <a:lnTo>
                    <a:pt x="402" y="287"/>
                  </a:lnTo>
                  <a:lnTo>
                    <a:pt x="402" y="287"/>
                  </a:lnTo>
                  <a:lnTo>
                    <a:pt x="402" y="288"/>
                  </a:lnTo>
                  <a:lnTo>
                    <a:pt x="403" y="289"/>
                  </a:lnTo>
                  <a:lnTo>
                    <a:pt x="404" y="290"/>
                  </a:lnTo>
                  <a:lnTo>
                    <a:pt x="404" y="290"/>
                  </a:lnTo>
                  <a:lnTo>
                    <a:pt x="404" y="290"/>
                  </a:lnTo>
                  <a:lnTo>
                    <a:pt x="405" y="291"/>
                  </a:lnTo>
                  <a:lnTo>
                    <a:pt x="405" y="293"/>
                  </a:lnTo>
                  <a:lnTo>
                    <a:pt x="405" y="294"/>
                  </a:lnTo>
                  <a:lnTo>
                    <a:pt x="405" y="295"/>
                  </a:lnTo>
                  <a:lnTo>
                    <a:pt x="405" y="299"/>
                  </a:lnTo>
                  <a:lnTo>
                    <a:pt x="405" y="300"/>
                  </a:lnTo>
                  <a:lnTo>
                    <a:pt x="406" y="303"/>
                  </a:lnTo>
                  <a:lnTo>
                    <a:pt x="406" y="304"/>
                  </a:lnTo>
                  <a:lnTo>
                    <a:pt x="407" y="305"/>
                  </a:lnTo>
                  <a:lnTo>
                    <a:pt x="408" y="307"/>
                  </a:lnTo>
                  <a:lnTo>
                    <a:pt x="409" y="309"/>
                  </a:lnTo>
                  <a:lnTo>
                    <a:pt x="409" y="310"/>
                  </a:lnTo>
                  <a:lnTo>
                    <a:pt x="409" y="311"/>
                  </a:lnTo>
                  <a:lnTo>
                    <a:pt x="410" y="312"/>
                  </a:lnTo>
                  <a:lnTo>
                    <a:pt x="410" y="312"/>
                  </a:lnTo>
                  <a:lnTo>
                    <a:pt x="410" y="312"/>
                  </a:lnTo>
                  <a:lnTo>
                    <a:pt x="409" y="313"/>
                  </a:lnTo>
                  <a:lnTo>
                    <a:pt x="407" y="316"/>
                  </a:lnTo>
                  <a:lnTo>
                    <a:pt x="406" y="318"/>
                  </a:lnTo>
                  <a:lnTo>
                    <a:pt x="406" y="319"/>
                  </a:lnTo>
                  <a:lnTo>
                    <a:pt x="405" y="320"/>
                  </a:lnTo>
                  <a:lnTo>
                    <a:pt x="405" y="321"/>
                  </a:lnTo>
                  <a:lnTo>
                    <a:pt x="405" y="322"/>
                  </a:lnTo>
                  <a:lnTo>
                    <a:pt x="404" y="325"/>
                  </a:lnTo>
                  <a:lnTo>
                    <a:pt x="404" y="327"/>
                  </a:lnTo>
                  <a:lnTo>
                    <a:pt x="404" y="328"/>
                  </a:lnTo>
                  <a:lnTo>
                    <a:pt x="404" y="330"/>
                  </a:lnTo>
                  <a:lnTo>
                    <a:pt x="405" y="331"/>
                  </a:lnTo>
                  <a:lnTo>
                    <a:pt x="405" y="333"/>
                  </a:lnTo>
                  <a:lnTo>
                    <a:pt x="405" y="334"/>
                  </a:lnTo>
                  <a:lnTo>
                    <a:pt x="407" y="337"/>
                  </a:lnTo>
                  <a:lnTo>
                    <a:pt x="408" y="338"/>
                  </a:lnTo>
                  <a:lnTo>
                    <a:pt x="408" y="339"/>
                  </a:lnTo>
                  <a:lnTo>
                    <a:pt x="410" y="341"/>
                  </a:lnTo>
                  <a:lnTo>
                    <a:pt x="410" y="342"/>
                  </a:lnTo>
                  <a:lnTo>
                    <a:pt x="411" y="342"/>
                  </a:lnTo>
                  <a:lnTo>
                    <a:pt x="411" y="343"/>
                  </a:lnTo>
                  <a:lnTo>
                    <a:pt x="411" y="344"/>
                  </a:lnTo>
                  <a:lnTo>
                    <a:pt x="411" y="345"/>
                  </a:lnTo>
                  <a:lnTo>
                    <a:pt x="411" y="346"/>
                  </a:lnTo>
                  <a:lnTo>
                    <a:pt x="410" y="348"/>
                  </a:lnTo>
                  <a:lnTo>
                    <a:pt x="410" y="349"/>
                  </a:lnTo>
                  <a:lnTo>
                    <a:pt x="410" y="350"/>
                  </a:lnTo>
                  <a:lnTo>
                    <a:pt x="409" y="351"/>
                  </a:lnTo>
                  <a:lnTo>
                    <a:pt x="408" y="353"/>
                  </a:lnTo>
                  <a:lnTo>
                    <a:pt x="407" y="354"/>
                  </a:lnTo>
                  <a:lnTo>
                    <a:pt x="406" y="356"/>
                  </a:lnTo>
                  <a:lnTo>
                    <a:pt x="405" y="358"/>
                  </a:lnTo>
                  <a:lnTo>
                    <a:pt x="405" y="360"/>
                  </a:lnTo>
                  <a:lnTo>
                    <a:pt x="404" y="361"/>
                  </a:lnTo>
                  <a:lnTo>
                    <a:pt x="404" y="362"/>
                  </a:lnTo>
                  <a:lnTo>
                    <a:pt x="403" y="362"/>
                  </a:lnTo>
                  <a:lnTo>
                    <a:pt x="403" y="363"/>
                  </a:lnTo>
                  <a:lnTo>
                    <a:pt x="400" y="365"/>
                  </a:lnTo>
                  <a:lnTo>
                    <a:pt x="398" y="367"/>
                  </a:lnTo>
                  <a:lnTo>
                    <a:pt x="396" y="367"/>
                  </a:lnTo>
                  <a:lnTo>
                    <a:pt x="396" y="368"/>
                  </a:lnTo>
                  <a:lnTo>
                    <a:pt x="394" y="370"/>
                  </a:lnTo>
                  <a:lnTo>
                    <a:pt x="393" y="371"/>
                  </a:lnTo>
                  <a:lnTo>
                    <a:pt x="393" y="371"/>
                  </a:lnTo>
                  <a:lnTo>
                    <a:pt x="393" y="372"/>
                  </a:lnTo>
                  <a:lnTo>
                    <a:pt x="393" y="373"/>
                  </a:lnTo>
                  <a:lnTo>
                    <a:pt x="392" y="374"/>
                  </a:lnTo>
                  <a:lnTo>
                    <a:pt x="392" y="375"/>
                  </a:lnTo>
                  <a:lnTo>
                    <a:pt x="392" y="376"/>
                  </a:lnTo>
                  <a:lnTo>
                    <a:pt x="392" y="377"/>
                  </a:lnTo>
                  <a:lnTo>
                    <a:pt x="393" y="378"/>
                  </a:lnTo>
                  <a:lnTo>
                    <a:pt x="393" y="379"/>
                  </a:lnTo>
                  <a:lnTo>
                    <a:pt x="393" y="379"/>
                  </a:lnTo>
                  <a:lnTo>
                    <a:pt x="393" y="380"/>
                  </a:lnTo>
                  <a:lnTo>
                    <a:pt x="392" y="381"/>
                  </a:lnTo>
                  <a:lnTo>
                    <a:pt x="392" y="381"/>
                  </a:lnTo>
                  <a:lnTo>
                    <a:pt x="392" y="382"/>
                  </a:lnTo>
                  <a:lnTo>
                    <a:pt x="391" y="382"/>
                  </a:lnTo>
                  <a:lnTo>
                    <a:pt x="391" y="383"/>
                  </a:lnTo>
                  <a:lnTo>
                    <a:pt x="391" y="383"/>
                  </a:lnTo>
                  <a:lnTo>
                    <a:pt x="390" y="383"/>
                  </a:lnTo>
                  <a:lnTo>
                    <a:pt x="390" y="384"/>
                  </a:lnTo>
                  <a:lnTo>
                    <a:pt x="388" y="385"/>
                  </a:lnTo>
                  <a:lnTo>
                    <a:pt x="387" y="385"/>
                  </a:lnTo>
                  <a:lnTo>
                    <a:pt x="387" y="385"/>
                  </a:lnTo>
                  <a:lnTo>
                    <a:pt x="387" y="386"/>
                  </a:lnTo>
                  <a:lnTo>
                    <a:pt x="386" y="386"/>
                  </a:lnTo>
                  <a:lnTo>
                    <a:pt x="386" y="386"/>
                  </a:lnTo>
                  <a:lnTo>
                    <a:pt x="386" y="387"/>
                  </a:lnTo>
                  <a:lnTo>
                    <a:pt x="386" y="387"/>
                  </a:lnTo>
                  <a:lnTo>
                    <a:pt x="386" y="388"/>
                  </a:lnTo>
                  <a:lnTo>
                    <a:pt x="386" y="388"/>
                  </a:lnTo>
                  <a:lnTo>
                    <a:pt x="386" y="389"/>
                  </a:lnTo>
                  <a:lnTo>
                    <a:pt x="386" y="390"/>
                  </a:lnTo>
                  <a:lnTo>
                    <a:pt x="387" y="390"/>
                  </a:lnTo>
                  <a:lnTo>
                    <a:pt x="387" y="391"/>
                  </a:lnTo>
                  <a:lnTo>
                    <a:pt x="387" y="391"/>
                  </a:lnTo>
                  <a:lnTo>
                    <a:pt x="388" y="392"/>
                  </a:lnTo>
                  <a:lnTo>
                    <a:pt x="388" y="393"/>
                  </a:lnTo>
                  <a:lnTo>
                    <a:pt x="389" y="393"/>
                  </a:lnTo>
                  <a:lnTo>
                    <a:pt x="391" y="394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6"/>
                  </a:lnTo>
                  <a:lnTo>
                    <a:pt x="391" y="397"/>
                  </a:lnTo>
                  <a:lnTo>
                    <a:pt x="391" y="398"/>
                  </a:lnTo>
                  <a:lnTo>
                    <a:pt x="390" y="398"/>
                  </a:lnTo>
                  <a:lnTo>
                    <a:pt x="390" y="399"/>
                  </a:lnTo>
                  <a:lnTo>
                    <a:pt x="390" y="399"/>
                  </a:lnTo>
                  <a:lnTo>
                    <a:pt x="389" y="399"/>
                  </a:lnTo>
                  <a:lnTo>
                    <a:pt x="389" y="400"/>
                  </a:lnTo>
                  <a:lnTo>
                    <a:pt x="387" y="400"/>
                  </a:lnTo>
                  <a:lnTo>
                    <a:pt x="387" y="401"/>
                  </a:lnTo>
                  <a:lnTo>
                    <a:pt x="386" y="401"/>
                  </a:lnTo>
                  <a:lnTo>
                    <a:pt x="385" y="403"/>
                  </a:lnTo>
                  <a:lnTo>
                    <a:pt x="384" y="404"/>
                  </a:lnTo>
                  <a:lnTo>
                    <a:pt x="383" y="404"/>
                  </a:lnTo>
                  <a:lnTo>
                    <a:pt x="383" y="405"/>
                  </a:lnTo>
                  <a:lnTo>
                    <a:pt x="383" y="406"/>
                  </a:lnTo>
                  <a:lnTo>
                    <a:pt x="382" y="406"/>
                  </a:lnTo>
                  <a:lnTo>
                    <a:pt x="382" y="407"/>
                  </a:lnTo>
                  <a:lnTo>
                    <a:pt x="382" y="408"/>
                  </a:lnTo>
                  <a:lnTo>
                    <a:pt x="382" y="408"/>
                  </a:lnTo>
                  <a:lnTo>
                    <a:pt x="382" y="409"/>
                  </a:lnTo>
                  <a:lnTo>
                    <a:pt x="382" y="410"/>
                  </a:lnTo>
                  <a:lnTo>
                    <a:pt x="383" y="411"/>
                  </a:lnTo>
                  <a:lnTo>
                    <a:pt x="384" y="413"/>
                  </a:lnTo>
                  <a:lnTo>
                    <a:pt x="384" y="414"/>
                  </a:lnTo>
                  <a:lnTo>
                    <a:pt x="386" y="416"/>
                  </a:lnTo>
                  <a:lnTo>
                    <a:pt x="386" y="417"/>
                  </a:lnTo>
                  <a:lnTo>
                    <a:pt x="386" y="417"/>
                  </a:lnTo>
                  <a:lnTo>
                    <a:pt x="387" y="418"/>
                  </a:lnTo>
                  <a:lnTo>
                    <a:pt x="387" y="419"/>
                  </a:lnTo>
                  <a:lnTo>
                    <a:pt x="387" y="420"/>
                  </a:lnTo>
                  <a:lnTo>
                    <a:pt x="387" y="421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3"/>
                  </a:lnTo>
                  <a:lnTo>
                    <a:pt x="386" y="424"/>
                  </a:lnTo>
                  <a:lnTo>
                    <a:pt x="385" y="425"/>
                  </a:lnTo>
                  <a:lnTo>
                    <a:pt x="384" y="426"/>
                  </a:lnTo>
                  <a:lnTo>
                    <a:pt x="383" y="427"/>
                  </a:lnTo>
                  <a:lnTo>
                    <a:pt x="383" y="428"/>
                  </a:lnTo>
                  <a:lnTo>
                    <a:pt x="382" y="429"/>
                  </a:lnTo>
                  <a:lnTo>
                    <a:pt x="382" y="430"/>
                  </a:lnTo>
                  <a:lnTo>
                    <a:pt x="381" y="433"/>
                  </a:lnTo>
                  <a:lnTo>
                    <a:pt x="380" y="436"/>
                  </a:lnTo>
                  <a:lnTo>
                    <a:pt x="380" y="437"/>
                  </a:lnTo>
                  <a:lnTo>
                    <a:pt x="379" y="437"/>
                  </a:lnTo>
                  <a:lnTo>
                    <a:pt x="379" y="437"/>
                  </a:lnTo>
                  <a:lnTo>
                    <a:pt x="379" y="437"/>
                  </a:lnTo>
                  <a:lnTo>
                    <a:pt x="378" y="438"/>
                  </a:lnTo>
                  <a:lnTo>
                    <a:pt x="375" y="439"/>
                  </a:lnTo>
                  <a:lnTo>
                    <a:pt x="374" y="440"/>
                  </a:lnTo>
                  <a:lnTo>
                    <a:pt x="372" y="440"/>
                  </a:lnTo>
                  <a:lnTo>
                    <a:pt x="372" y="441"/>
                  </a:lnTo>
                  <a:lnTo>
                    <a:pt x="369" y="443"/>
                  </a:lnTo>
                  <a:lnTo>
                    <a:pt x="367" y="444"/>
                  </a:lnTo>
                  <a:lnTo>
                    <a:pt x="366" y="445"/>
                  </a:lnTo>
                  <a:lnTo>
                    <a:pt x="365" y="446"/>
                  </a:lnTo>
                  <a:lnTo>
                    <a:pt x="364" y="446"/>
                  </a:lnTo>
                  <a:lnTo>
                    <a:pt x="363" y="446"/>
                  </a:lnTo>
                  <a:lnTo>
                    <a:pt x="363" y="446"/>
                  </a:lnTo>
                  <a:lnTo>
                    <a:pt x="362" y="447"/>
                  </a:lnTo>
                  <a:lnTo>
                    <a:pt x="361" y="447"/>
                  </a:lnTo>
                  <a:lnTo>
                    <a:pt x="360" y="447"/>
                  </a:lnTo>
                  <a:lnTo>
                    <a:pt x="359" y="447"/>
                  </a:lnTo>
                  <a:lnTo>
                    <a:pt x="358" y="446"/>
                  </a:lnTo>
                  <a:lnTo>
                    <a:pt x="355" y="446"/>
                  </a:lnTo>
                  <a:lnTo>
                    <a:pt x="354" y="446"/>
                  </a:lnTo>
                  <a:lnTo>
                    <a:pt x="353" y="446"/>
                  </a:lnTo>
                  <a:lnTo>
                    <a:pt x="353" y="446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2" y="447"/>
                  </a:lnTo>
                  <a:lnTo>
                    <a:pt x="351" y="451"/>
                  </a:lnTo>
                  <a:lnTo>
                    <a:pt x="351" y="453"/>
                  </a:lnTo>
                  <a:lnTo>
                    <a:pt x="350" y="455"/>
                  </a:lnTo>
                  <a:lnTo>
                    <a:pt x="350" y="458"/>
                  </a:lnTo>
                  <a:lnTo>
                    <a:pt x="350" y="460"/>
                  </a:lnTo>
                  <a:lnTo>
                    <a:pt x="350" y="461"/>
                  </a:lnTo>
                  <a:lnTo>
                    <a:pt x="349" y="464"/>
                  </a:lnTo>
                  <a:lnTo>
                    <a:pt x="349" y="465"/>
                  </a:lnTo>
                  <a:lnTo>
                    <a:pt x="349" y="465"/>
                  </a:lnTo>
                  <a:lnTo>
                    <a:pt x="349" y="466"/>
                  </a:lnTo>
                  <a:lnTo>
                    <a:pt x="349" y="467"/>
                  </a:lnTo>
                  <a:lnTo>
                    <a:pt x="349" y="469"/>
                  </a:lnTo>
                  <a:lnTo>
                    <a:pt x="351" y="471"/>
                  </a:lnTo>
                  <a:lnTo>
                    <a:pt x="351" y="473"/>
                  </a:lnTo>
                  <a:lnTo>
                    <a:pt x="351" y="474"/>
                  </a:lnTo>
                  <a:lnTo>
                    <a:pt x="352" y="478"/>
                  </a:lnTo>
                  <a:lnTo>
                    <a:pt x="352" y="480"/>
                  </a:lnTo>
                  <a:lnTo>
                    <a:pt x="352" y="481"/>
                  </a:lnTo>
                  <a:lnTo>
                    <a:pt x="352" y="482"/>
                  </a:lnTo>
                  <a:lnTo>
                    <a:pt x="352" y="483"/>
                  </a:lnTo>
                  <a:lnTo>
                    <a:pt x="352" y="484"/>
                  </a:lnTo>
                  <a:lnTo>
                    <a:pt x="352" y="485"/>
                  </a:lnTo>
                  <a:lnTo>
                    <a:pt x="352" y="485"/>
                  </a:lnTo>
                  <a:lnTo>
                    <a:pt x="351" y="486"/>
                  </a:lnTo>
                  <a:lnTo>
                    <a:pt x="351" y="487"/>
                  </a:lnTo>
                  <a:lnTo>
                    <a:pt x="351" y="487"/>
                  </a:lnTo>
                  <a:lnTo>
                    <a:pt x="350" y="488"/>
                  </a:lnTo>
                  <a:lnTo>
                    <a:pt x="349" y="488"/>
                  </a:lnTo>
                  <a:lnTo>
                    <a:pt x="348" y="489"/>
                  </a:lnTo>
                  <a:lnTo>
                    <a:pt x="348" y="490"/>
                  </a:lnTo>
                  <a:lnTo>
                    <a:pt x="347" y="490"/>
                  </a:lnTo>
                  <a:lnTo>
                    <a:pt x="345" y="491"/>
                  </a:lnTo>
                  <a:lnTo>
                    <a:pt x="344" y="491"/>
                  </a:lnTo>
                  <a:lnTo>
                    <a:pt x="343" y="492"/>
                  </a:lnTo>
                  <a:lnTo>
                    <a:pt x="343" y="492"/>
                  </a:lnTo>
                  <a:lnTo>
                    <a:pt x="342" y="493"/>
                  </a:lnTo>
                  <a:lnTo>
                    <a:pt x="342" y="493"/>
                  </a:lnTo>
                  <a:lnTo>
                    <a:pt x="341" y="494"/>
                  </a:lnTo>
                  <a:lnTo>
                    <a:pt x="340" y="495"/>
                  </a:lnTo>
                  <a:lnTo>
                    <a:pt x="339" y="496"/>
                  </a:lnTo>
                  <a:lnTo>
                    <a:pt x="338" y="498"/>
                  </a:lnTo>
                  <a:lnTo>
                    <a:pt x="337" y="501"/>
                  </a:lnTo>
                  <a:lnTo>
                    <a:pt x="336" y="502"/>
                  </a:lnTo>
                  <a:lnTo>
                    <a:pt x="336" y="503"/>
                  </a:lnTo>
                  <a:lnTo>
                    <a:pt x="336" y="504"/>
                  </a:lnTo>
                  <a:lnTo>
                    <a:pt x="335" y="506"/>
                  </a:lnTo>
                  <a:lnTo>
                    <a:pt x="335" y="508"/>
                  </a:lnTo>
                  <a:lnTo>
                    <a:pt x="334" y="510"/>
                  </a:lnTo>
                  <a:lnTo>
                    <a:pt x="334" y="511"/>
                  </a:lnTo>
                  <a:lnTo>
                    <a:pt x="334" y="513"/>
                  </a:lnTo>
                  <a:lnTo>
                    <a:pt x="334" y="514"/>
                  </a:lnTo>
                  <a:lnTo>
                    <a:pt x="334" y="516"/>
                  </a:lnTo>
                  <a:lnTo>
                    <a:pt x="334" y="517"/>
                  </a:lnTo>
                  <a:lnTo>
                    <a:pt x="334" y="518"/>
                  </a:lnTo>
                  <a:lnTo>
                    <a:pt x="334" y="519"/>
                  </a:lnTo>
                  <a:lnTo>
                    <a:pt x="334" y="520"/>
                  </a:lnTo>
                  <a:lnTo>
                    <a:pt x="334" y="521"/>
                  </a:lnTo>
                  <a:lnTo>
                    <a:pt x="335" y="522"/>
                  </a:lnTo>
                  <a:lnTo>
                    <a:pt x="336" y="526"/>
                  </a:lnTo>
                  <a:lnTo>
                    <a:pt x="336" y="527"/>
                  </a:lnTo>
                  <a:lnTo>
                    <a:pt x="336" y="527"/>
                  </a:lnTo>
                  <a:lnTo>
                    <a:pt x="336" y="527"/>
                  </a:lnTo>
                  <a:lnTo>
                    <a:pt x="335" y="527"/>
                  </a:lnTo>
                  <a:lnTo>
                    <a:pt x="334" y="526"/>
                  </a:lnTo>
                  <a:lnTo>
                    <a:pt x="334" y="526"/>
                  </a:lnTo>
                  <a:lnTo>
                    <a:pt x="333" y="526"/>
                  </a:lnTo>
                  <a:lnTo>
                    <a:pt x="331" y="527"/>
                  </a:lnTo>
                  <a:lnTo>
                    <a:pt x="331" y="527"/>
                  </a:lnTo>
                  <a:lnTo>
                    <a:pt x="329" y="527"/>
                  </a:lnTo>
                  <a:lnTo>
                    <a:pt x="328" y="528"/>
                  </a:lnTo>
                  <a:lnTo>
                    <a:pt x="328" y="528"/>
                  </a:lnTo>
                  <a:lnTo>
                    <a:pt x="327" y="529"/>
                  </a:lnTo>
                  <a:lnTo>
                    <a:pt x="326" y="529"/>
                  </a:lnTo>
                  <a:lnTo>
                    <a:pt x="325" y="530"/>
                  </a:lnTo>
                  <a:lnTo>
                    <a:pt x="325" y="531"/>
                  </a:lnTo>
                  <a:lnTo>
                    <a:pt x="324" y="531"/>
                  </a:lnTo>
                  <a:lnTo>
                    <a:pt x="324" y="532"/>
                  </a:lnTo>
                  <a:lnTo>
                    <a:pt x="322" y="535"/>
                  </a:lnTo>
                  <a:lnTo>
                    <a:pt x="322" y="535"/>
                  </a:lnTo>
                  <a:lnTo>
                    <a:pt x="322" y="536"/>
                  </a:lnTo>
                  <a:lnTo>
                    <a:pt x="321" y="536"/>
                  </a:lnTo>
                  <a:lnTo>
                    <a:pt x="321" y="536"/>
                  </a:lnTo>
                  <a:lnTo>
                    <a:pt x="321" y="536"/>
                  </a:lnTo>
                  <a:lnTo>
                    <a:pt x="320" y="537"/>
                  </a:lnTo>
                  <a:lnTo>
                    <a:pt x="319" y="537"/>
                  </a:lnTo>
                  <a:lnTo>
                    <a:pt x="318" y="537"/>
                  </a:lnTo>
                  <a:lnTo>
                    <a:pt x="318" y="536"/>
                  </a:lnTo>
                  <a:lnTo>
                    <a:pt x="317" y="536"/>
                  </a:lnTo>
                  <a:lnTo>
                    <a:pt x="317" y="536"/>
                  </a:lnTo>
                  <a:lnTo>
                    <a:pt x="315" y="535"/>
                  </a:lnTo>
                  <a:lnTo>
                    <a:pt x="312" y="533"/>
                  </a:lnTo>
                  <a:lnTo>
                    <a:pt x="311" y="532"/>
                  </a:lnTo>
                  <a:lnTo>
                    <a:pt x="308" y="530"/>
                  </a:lnTo>
                  <a:lnTo>
                    <a:pt x="304" y="527"/>
                  </a:lnTo>
                  <a:lnTo>
                    <a:pt x="302" y="526"/>
                  </a:lnTo>
                  <a:lnTo>
                    <a:pt x="300" y="524"/>
                  </a:lnTo>
                  <a:lnTo>
                    <a:pt x="299" y="523"/>
                  </a:lnTo>
                  <a:lnTo>
                    <a:pt x="298" y="522"/>
                  </a:lnTo>
                  <a:lnTo>
                    <a:pt x="296" y="521"/>
                  </a:lnTo>
                  <a:lnTo>
                    <a:pt x="295" y="520"/>
                  </a:lnTo>
                  <a:lnTo>
                    <a:pt x="295" y="519"/>
                  </a:lnTo>
                  <a:lnTo>
                    <a:pt x="294" y="518"/>
                  </a:lnTo>
                  <a:lnTo>
                    <a:pt x="294" y="517"/>
                  </a:lnTo>
                  <a:lnTo>
                    <a:pt x="293" y="516"/>
                  </a:lnTo>
                  <a:lnTo>
                    <a:pt x="293" y="514"/>
                  </a:lnTo>
                  <a:lnTo>
                    <a:pt x="293" y="513"/>
                  </a:lnTo>
                  <a:lnTo>
                    <a:pt x="292" y="509"/>
                  </a:lnTo>
                  <a:lnTo>
                    <a:pt x="292" y="505"/>
                  </a:lnTo>
                  <a:lnTo>
                    <a:pt x="292" y="501"/>
                  </a:lnTo>
                  <a:lnTo>
                    <a:pt x="291" y="500"/>
                  </a:lnTo>
                  <a:lnTo>
                    <a:pt x="291" y="497"/>
                  </a:lnTo>
                  <a:lnTo>
                    <a:pt x="291" y="496"/>
                  </a:lnTo>
                  <a:lnTo>
                    <a:pt x="290" y="494"/>
                  </a:lnTo>
                  <a:lnTo>
                    <a:pt x="289" y="491"/>
                  </a:lnTo>
                  <a:lnTo>
                    <a:pt x="289" y="489"/>
                  </a:lnTo>
                  <a:lnTo>
                    <a:pt x="289" y="488"/>
                  </a:lnTo>
                  <a:lnTo>
                    <a:pt x="288" y="488"/>
                  </a:lnTo>
                  <a:lnTo>
                    <a:pt x="288" y="487"/>
                  </a:lnTo>
                  <a:lnTo>
                    <a:pt x="287" y="486"/>
                  </a:lnTo>
                  <a:lnTo>
                    <a:pt x="284" y="483"/>
                  </a:lnTo>
                  <a:lnTo>
                    <a:pt x="282" y="480"/>
                  </a:lnTo>
                  <a:lnTo>
                    <a:pt x="279" y="476"/>
                  </a:lnTo>
                  <a:lnTo>
                    <a:pt x="275" y="471"/>
                  </a:lnTo>
                  <a:lnTo>
                    <a:pt x="274" y="470"/>
                  </a:lnTo>
                  <a:lnTo>
                    <a:pt x="272" y="468"/>
                  </a:lnTo>
                  <a:lnTo>
                    <a:pt x="271" y="467"/>
                  </a:lnTo>
                  <a:lnTo>
                    <a:pt x="270" y="466"/>
                  </a:lnTo>
                  <a:lnTo>
                    <a:pt x="269" y="465"/>
                  </a:lnTo>
                  <a:lnTo>
                    <a:pt x="267" y="463"/>
                  </a:lnTo>
                  <a:lnTo>
                    <a:pt x="266" y="462"/>
                  </a:lnTo>
                  <a:lnTo>
                    <a:pt x="265" y="461"/>
                  </a:lnTo>
                  <a:lnTo>
                    <a:pt x="263" y="460"/>
                  </a:lnTo>
                  <a:lnTo>
                    <a:pt x="262" y="459"/>
                  </a:lnTo>
                  <a:lnTo>
                    <a:pt x="260" y="458"/>
                  </a:lnTo>
                  <a:lnTo>
                    <a:pt x="258" y="457"/>
                  </a:lnTo>
                  <a:lnTo>
                    <a:pt x="258" y="457"/>
                  </a:lnTo>
                  <a:lnTo>
                    <a:pt x="256" y="457"/>
                  </a:lnTo>
                  <a:lnTo>
                    <a:pt x="255" y="456"/>
                  </a:lnTo>
                  <a:lnTo>
                    <a:pt x="253" y="456"/>
                  </a:lnTo>
                  <a:lnTo>
                    <a:pt x="252" y="456"/>
                  </a:lnTo>
                  <a:lnTo>
                    <a:pt x="250" y="456"/>
                  </a:lnTo>
                  <a:lnTo>
                    <a:pt x="246" y="456"/>
                  </a:lnTo>
                  <a:lnTo>
                    <a:pt x="243" y="456"/>
                  </a:lnTo>
                  <a:lnTo>
                    <a:pt x="242" y="456"/>
                  </a:lnTo>
                  <a:lnTo>
                    <a:pt x="241" y="456"/>
                  </a:lnTo>
                  <a:lnTo>
                    <a:pt x="240" y="455"/>
                  </a:lnTo>
                  <a:lnTo>
                    <a:pt x="239" y="455"/>
                  </a:lnTo>
                  <a:lnTo>
                    <a:pt x="237" y="454"/>
                  </a:lnTo>
                  <a:lnTo>
                    <a:pt x="236" y="454"/>
                  </a:lnTo>
                  <a:lnTo>
                    <a:pt x="235" y="453"/>
                  </a:lnTo>
                  <a:lnTo>
                    <a:pt x="233" y="452"/>
                  </a:lnTo>
                  <a:lnTo>
                    <a:pt x="231" y="451"/>
                  </a:lnTo>
                  <a:lnTo>
                    <a:pt x="231" y="451"/>
                  </a:lnTo>
                  <a:lnTo>
                    <a:pt x="229" y="449"/>
                  </a:lnTo>
                  <a:lnTo>
                    <a:pt x="228" y="448"/>
                  </a:lnTo>
                  <a:lnTo>
                    <a:pt x="227" y="447"/>
                  </a:lnTo>
                  <a:lnTo>
                    <a:pt x="226" y="446"/>
                  </a:lnTo>
                  <a:lnTo>
                    <a:pt x="226" y="446"/>
                  </a:lnTo>
                  <a:lnTo>
                    <a:pt x="225" y="444"/>
                  </a:lnTo>
                  <a:lnTo>
                    <a:pt x="225" y="443"/>
                  </a:lnTo>
                  <a:lnTo>
                    <a:pt x="224" y="442"/>
                  </a:lnTo>
                  <a:lnTo>
                    <a:pt x="224" y="441"/>
                  </a:lnTo>
                  <a:lnTo>
                    <a:pt x="223" y="436"/>
                  </a:lnTo>
                  <a:lnTo>
                    <a:pt x="223" y="434"/>
                  </a:lnTo>
                  <a:lnTo>
                    <a:pt x="222" y="433"/>
                  </a:lnTo>
                  <a:lnTo>
                    <a:pt x="222" y="432"/>
                  </a:lnTo>
                  <a:lnTo>
                    <a:pt x="222" y="431"/>
                  </a:lnTo>
                  <a:lnTo>
                    <a:pt x="221" y="430"/>
                  </a:lnTo>
                  <a:lnTo>
                    <a:pt x="221" y="430"/>
                  </a:lnTo>
                  <a:lnTo>
                    <a:pt x="220" y="429"/>
                  </a:lnTo>
                  <a:lnTo>
                    <a:pt x="217" y="426"/>
                  </a:lnTo>
                  <a:lnTo>
                    <a:pt x="214" y="422"/>
                  </a:lnTo>
                  <a:lnTo>
                    <a:pt x="209" y="417"/>
                  </a:lnTo>
                  <a:lnTo>
                    <a:pt x="208" y="416"/>
                  </a:lnTo>
                  <a:lnTo>
                    <a:pt x="208" y="416"/>
                  </a:lnTo>
                  <a:lnTo>
                    <a:pt x="207" y="415"/>
                  </a:lnTo>
                  <a:lnTo>
                    <a:pt x="207" y="414"/>
                  </a:lnTo>
                  <a:lnTo>
                    <a:pt x="206" y="413"/>
                  </a:lnTo>
                  <a:lnTo>
                    <a:pt x="205" y="410"/>
                  </a:lnTo>
                  <a:lnTo>
                    <a:pt x="204" y="409"/>
                  </a:lnTo>
                  <a:lnTo>
                    <a:pt x="203" y="407"/>
                  </a:lnTo>
                  <a:lnTo>
                    <a:pt x="201" y="404"/>
                  </a:lnTo>
                  <a:lnTo>
                    <a:pt x="200" y="403"/>
                  </a:lnTo>
                  <a:lnTo>
                    <a:pt x="199" y="402"/>
                  </a:lnTo>
                  <a:lnTo>
                    <a:pt x="197" y="399"/>
                  </a:lnTo>
                  <a:lnTo>
                    <a:pt x="197" y="398"/>
                  </a:lnTo>
                  <a:lnTo>
                    <a:pt x="196" y="397"/>
                  </a:lnTo>
                  <a:lnTo>
                    <a:pt x="196" y="396"/>
                  </a:lnTo>
                  <a:lnTo>
                    <a:pt x="195" y="396"/>
                  </a:lnTo>
                  <a:lnTo>
                    <a:pt x="192" y="393"/>
                  </a:lnTo>
                  <a:lnTo>
                    <a:pt x="191" y="392"/>
                  </a:lnTo>
                  <a:lnTo>
                    <a:pt x="190" y="391"/>
                  </a:lnTo>
                  <a:lnTo>
                    <a:pt x="189" y="389"/>
                  </a:lnTo>
                  <a:lnTo>
                    <a:pt x="188" y="388"/>
                  </a:lnTo>
                  <a:lnTo>
                    <a:pt x="187" y="388"/>
                  </a:lnTo>
                  <a:lnTo>
                    <a:pt x="185" y="385"/>
                  </a:lnTo>
                  <a:lnTo>
                    <a:pt x="184" y="385"/>
                  </a:lnTo>
                  <a:lnTo>
                    <a:pt x="184" y="384"/>
                  </a:lnTo>
                  <a:lnTo>
                    <a:pt x="183" y="383"/>
                  </a:lnTo>
                  <a:lnTo>
                    <a:pt x="183" y="382"/>
                  </a:lnTo>
                  <a:lnTo>
                    <a:pt x="182" y="381"/>
                  </a:lnTo>
                  <a:lnTo>
                    <a:pt x="182" y="380"/>
                  </a:lnTo>
                  <a:lnTo>
                    <a:pt x="182" y="379"/>
                  </a:lnTo>
                  <a:lnTo>
                    <a:pt x="181" y="375"/>
                  </a:lnTo>
                  <a:lnTo>
                    <a:pt x="181" y="373"/>
                  </a:lnTo>
                  <a:lnTo>
                    <a:pt x="181" y="372"/>
                  </a:lnTo>
                  <a:lnTo>
                    <a:pt x="180" y="371"/>
                  </a:lnTo>
                  <a:lnTo>
                    <a:pt x="180" y="370"/>
                  </a:lnTo>
                  <a:lnTo>
                    <a:pt x="179" y="370"/>
                  </a:lnTo>
                  <a:lnTo>
                    <a:pt x="179" y="369"/>
                  </a:lnTo>
                  <a:lnTo>
                    <a:pt x="178" y="368"/>
                  </a:lnTo>
                  <a:lnTo>
                    <a:pt x="176" y="366"/>
                  </a:lnTo>
                  <a:lnTo>
                    <a:pt x="173" y="363"/>
                  </a:lnTo>
                  <a:lnTo>
                    <a:pt x="170" y="359"/>
                  </a:lnTo>
                  <a:lnTo>
                    <a:pt x="168" y="358"/>
                  </a:lnTo>
                  <a:lnTo>
                    <a:pt x="167" y="356"/>
                  </a:lnTo>
                  <a:lnTo>
                    <a:pt x="166" y="355"/>
                  </a:lnTo>
                  <a:lnTo>
                    <a:pt x="164" y="354"/>
                  </a:lnTo>
                  <a:lnTo>
                    <a:pt x="163" y="354"/>
                  </a:lnTo>
                  <a:lnTo>
                    <a:pt x="163" y="353"/>
                  </a:lnTo>
                  <a:lnTo>
                    <a:pt x="161" y="352"/>
                  </a:lnTo>
                  <a:lnTo>
                    <a:pt x="159" y="351"/>
                  </a:lnTo>
                  <a:lnTo>
                    <a:pt x="158" y="351"/>
                  </a:lnTo>
                  <a:lnTo>
                    <a:pt x="157" y="350"/>
                  </a:lnTo>
                  <a:lnTo>
                    <a:pt x="156" y="350"/>
                  </a:lnTo>
                  <a:lnTo>
                    <a:pt x="153" y="349"/>
                  </a:lnTo>
                  <a:lnTo>
                    <a:pt x="151" y="348"/>
                  </a:lnTo>
                  <a:lnTo>
                    <a:pt x="146" y="347"/>
                  </a:lnTo>
                  <a:lnTo>
                    <a:pt x="144" y="347"/>
                  </a:lnTo>
                  <a:lnTo>
                    <a:pt x="142" y="347"/>
                  </a:lnTo>
                  <a:lnTo>
                    <a:pt x="142" y="347"/>
                  </a:lnTo>
                  <a:lnTo>
                    <a:pt x="141" y="347"/>
                  </a:lnTo>
                  <a:lnTo>
                    <a:pt x="141" y="347"/>
                  </a:lnTo>
                  <a:lnTo>
                    <a:pt x="140" y="347"/>
                  </a:lnTo>
                  <a:lnTo>
                    <a:pt x="139" y="348"/>
                  </a:lnTo>
                  <a:lnTo>
                    <a:pt x="139" y="348"/>
                  </a:lnTo>
                  <a:lnTo>
                    <a:pt x="139" y="349"/>
                  </a:lnTo>
                  <a:lnTo>
                    <a:pt x="138" y="350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36" y="351"/>
                  </a:lnTo>
                  <a:lnTo>
                    <a:pt x="135" y="352"/>
                  </a:lnTo>
                  <a:lnTo>
                    <a:pt x="135" y="352"/>
                  </a:lnTo>
                  <a:lnTo>
                    <a:pt x="134" y="351"/>
                  </a:lnTo>
                  <a:lnTo>
                    <a:pt x="133" y="351"/>
                  </a:lnTo>
                  <a:lnTo>
                    <a:pt x="130" y="351"/>
                  </a:lnTo>
                  <a:lnTo>
                    <a:pt x="128" y="350"/>
                  </a:lnTo>
                  <a:lnTo>
                    <a:pt x="126" y="350"/>
                  </a:lnTo>
                  <a:lnTo>
                    <a:pt x="125" y="349"/>
                  </a:lnTo>
                  <a:lnTo>
                    <a:pt x="122" y="349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7" y="349"/>
                  </a:lnTo>
                  <a:lnTo>
                    <a:pt x="115" y="348"/>
                  </a:lnTo>
                  <a:lnTo>
                    <a:pt x="114" y="348"/>
                  </a:lnTo>
                  <a:lnTo>
                    <a:pt x="113" y="347"/>
                  </a:lnTo>
                  <a:lnTo>
                    <a:pt x="111" y="347"/>
                  </a:lnTo>
                  <a:lnTo>
                    <a:pt x="110" y="346"/>
                  </a:lnTo>
                  <a:lnTo>
                    <a:pt x="110" y="346"/>
                  </a:lnTo>
                  <a:lnTo>
                    <a:pt x="109" y="345"/>
                  </a:lnTo>
                  <a:lnTo>
                    <a:pt x="108" y="344"/>
                  </a:lnTo>
                  <a:lnTo>
                    <a:pt x="108" y="343"/>
                  </a:lnTo>
                  <a:lnTo>
                    <a:pt x="107" y="343"/>
                  </a:lnTo>
                  <a:lnTo>
                    <a:pt x="106" y="340"/>
                  </a:lnTo>
                  <a:lnTo>
                    <a:pt x="104" y="336"/>
                  </a:lnTo>
                  <a:lnTo>
                    <a:pt x="103" y="335"/>
                  </a:lnTo>
                  <a:lnTo>
                    <a:pt x="102" y="333"/>
                  </a:lnTo>
                  <a:lnTo>
                    <a:pt x="102" y="332"/>
                  </a:lnTo>
                  <a:lnTo>
                    <a:pt x="101" y="329"/>
                  </a:lnTo>
                  <a:lnTo>
                    <a:pt x="100" y="327"/>
                  </a:lnTo>
                  <a:lnTo>
                    <a:pt x="100" y="326"/>
                  </a:lnTo>
                  <a:lnTo>
                    <a:pt x="99" y="325"/>
                  </a:lnTo>
                  <a:lnTo>
                    <a:pt x="99" y="324"/>
                  </a:lnTo>
                  <a:lnTo>
                    <a:pt x="98" y="322"/>
                  </a:lnTo>
                  <a:lnTo>
                    <a:pt x="97" y="321"/>
                  </a:lnTo>
                  <a:lnTo>
                    <a:pt x="96" y="320"/>
                  </a:lnTo>
                  <a:lnTo>
                    <a:pt x="94" y="318"/>
                  </a:lnTo>
                  <a:lnTo>
                    <a:pt x="93" y="317"/>
                  </a:lnTo>
                  <a:lnTo>
                    <a:pt x="87" y="313"/>
                  </a:lnTo>
                  <a:lnTo>
                    <a:pt x="86" y="312"/>
                  </a:lnTo>
                  <a:lnTo>
                    <a:pt x="85" y="311"/>
                  </a:lnTo>
                  <a:lnTo>
                    <a:pt x="84" y="310"/>
                  </a:lnTo>
                  <a:lnTo>
                    <a:pt x="82" y="310"/>
                  </a:lnTo>
                  <a:lnTo>
                    <a:pt x="79" y="308"/>
                  </a:lnTo>
                  <a:lnTo>
                    <a:pt x="77" y="307"/>
                  </a:lnTo>
                  <a:lnTo>
                    <a:pt x="76" y="307"/>
                  </a:lnTo>
                  <a:lnTo>
                    <a:pt x="75" y="306"/>
                  </a:lnTo>
                  <a:lnTo>
                    <a:pt x="74" y="305"/>
                  </a:lnTo>
                  <a:lnTo>
                    <a:pt x="73" y="304"/>
                  </a:lnTo>
                  <a:lnTo>
                    <a:pt x="73" y="304"/>
                  </a:lnTo>
                  <a:lnTo>
                    <a:pt x="73" y="303"/>
                  </a:lnTo>
                  <a:lnTo>
                    <a:pt x="72" y="303"/>
                  </a:lnTo>
                  <a:lnTo>
                    <a:pt x="72" y="302"/>
                  </a:lnTo>
                  <a:lnTo>
                    <a:pt x="72" y="301"/>
                  </a:lnTo>
                  <a:lnTo>
                    <a:pt x="71" y="300"/>
                  </a:lnTo>
                  <a:lnTo>
                    <a:pt x="71" y="299"/>
                  </a:lnTo>
                  <a:lnTo>
                    <a:pt x="70" y="295"/>
                  </a:lnTo>
                  <a:lnTo>
                    <a:pt x="69" y="293"/>
                  </a:lnTo>
                  <a:lnTo>
                    <a:pt x="68" y="291"/>
                  </a:lnTo>
                  <a:lnTo>
                    <a:pt x="67" y="287"/>
                  </a:lnTo>
                  <a:lnTo>
                    <a:pt x="67" y="286"/>
                  </a:lnTo>
                  <a:lnTo>
                    <a:pt x="67" y="285"/>
                  </a:lnTo>
                  <a:lnTo>
                    <a:pt x="67" y="284"/>
                  </a:lnTo>
                  <a:lnTo>
                    <a:pt x="67" y="283"/>
                  </a:lnTo>
                  <a:lnTo>
                    <a:pt x="67" y="282"/>
                  </a:lnTo>
                  <a:lnTo>
                    <a:pt x="67" y="280"/>
                  </a:lnTo>
                  <a:lnTo>
                    <a:pt x="67" y="278"/>
                  </a:lnTo>
                  <a:lnTo>
                    <a:pt x="67" y="276"/>
                  </a:lnTo>
                  <a:lnTo>
                    <a:pt x="67" y="273"/>
                  </a:lnTo>
                  <a:lnTo>
                    <a:pt x="67" y="270"/>
                  </a:lnTo>
                  <a:lnTo>
                    <a:pt x="67" y="268"/>
                  </a:lnTo>
                  <a:lnTo>
                    <a:pt x="67" y="267"/>
                  </a:lnTo>
                  <a:lnTo>
                    <a:pt x="67" y="266"/>
                  </a:lnTo>
                  <a:lnTo>
                    <a:pt x="67" y="265"/>
                  </a:lnTo>
                  <a:lnTo>
                    <a:pt x="66" y="264"/>
                  </a:lnTo>
                  <a:lnTo>
                    <a:pt x="66" y="263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4" y="261"/>
                  </a:lnTo>
                  <a:lnTo>
                    <a:pt x="62" y="260"/>
                  </a:lnTo>
                  <a:lnTo>
                    <a:pt x="60" y="260"/>
                  </a:lnTo>
                  <a:lnTo>
                    <a:pt x="58" y="259"/>
                  </a:lnTo>
                  <a:lnTo>
                    <a:pt x="57" y="258"/>
                  </a:lnTo>
                  <a:lnTo>
                    <a:pt x="57" y="258"/>
                  </a:lnTo>
                  <a:lnTo>
                    <a:pt x="56" y="257"/>
                  </a:lnTo>
                  <a:lnTo>
                    <a:pt x="55" y="257"/>
                  </a:lnTo>
                  <a:lnTo>
                    <a:pt x="55" y="256"/>
                  </a:lnTo>
                  <a:lnTo>
                    <a:pt x="54" y="255"/>
                  </a:lnTo>
                  <a:lnTo>
                    <a:pt x="53" y="254"/>
                  </a:lnTo>
                  <a:lnTo>
                    <a:pt x="52" y="252"/>
                  </a:lnTo>
                  <a:lnTo>
                    <a:pt x="51" y="250"/>
                  </a:lnTo>
                  <a:lnTo>
                    <a:pt x="50" y="249"/>
                  </a:lnTo>
                  <a:lnTo>
                    <a:pt x="50" y="247"/>
                  </a:lnTo>
                  <a:lnTo>
                    <a:pt x="49" y="246"/>
                  </a:lnTo>
                  <a:lnTo>
                    <a:pt x="49" y="245"/>
                  </a:lnTo>
                  <a:lnTo>
                    <a:pt x="48" y="243"/>
                  </a:lnTo>
                  <a:lnTo>
                    <a:pt x="48" y="242"/>
                  </a:lnTo>
                  <a:lnTo>
                    <a:pt x="48" y="241"/>
                  </a:lnTo>
                  <a:lnTo>
                    <a:pt x="47" y="235"/>
                  </a:lnTo>
                  <a:lnTo>
                    <a:pt x="47" y="234"/>
                  </a:lnTo>
                  <a:lnTo>
                    <a:pt x="47" y="232"/>
                  </a:lnTo>
                  <a:lnTo>
                    <a:pt x="47" y="230"/>
                  </a:lnTo>
                  <a:lnTo>
                    <a:pt x="45" y="226"/>
                  </a:lnTo>
                  <a:lnTo>
                    <a:pt x="45" y="224"/>
                  </a:lnTo>
                  <a:lnTo>
                    <a:pt x="44" y="223"/>
                  </a:lnTo>
                  <a:lnTo>
                    <a:pt x="43" y="222"/>
                  </a:lnTo>
                  <a:lnTo>
                    <a:pt x="43" y="221"/>
                  </a:lnTo>
                  <a:lnTo>
                    <a:pt x="42" y="220"/>
                  </a:lnTo>
                  <a:lnTo>
                    <a:pt x="42" y="219"/>
                  </a:lnTo>
                  <a:lnTo>
                    <a:pt x="41" y="219"/>
                  </a:lnTo>
                  <a:lnTo>
                    <a:pt x="40" y="218"/>
                  </a:lnTo>
                  <a:lnTo>
                    <a:pt x="38" y="217"/>
                  </a:lnTo>
                  <a:lnTo>
                    <a:pt x="38" y="217"/>
                  </a:lnTo>
                  <a:lnTo>
                    <a:pt x="37" y="217"/>
                  </a:lnTo>
                  <a:lnTo>
                    <a:pt x="37" y="216"/>
                  </a:lnTo>
                  <a:lnTo>
                    <a:pt x="36" y="215"/>
                  </a:lnTo>
                  <a:lnTo>
                    <a:pt x="35" y="214"/>
                  </a:lnTo>
                  <a:lnTo>
                    <a:pt x="35" y="213"/>
                  </a:lnTo>
                  <a:lnTo>
                    <a:pt x="34" y="212"/>
                  </a:lnTo>
                  <a:lnTo>
                    <a:pt x="34" y="211"/>
                  </a:lnTo>
                  <a:lnTo>
                    <a:pt x="34" y="209"/>
                  </a:lnTo>
                  <a:lnTo>
                    <a:pt x="34" y="208"/>
                  </a:lnTo>
                  <a:lnTo>
                    <a:pt x="33" y="206"/>
                  </a:lnTo>
                  <a:lnTo>
                    <a:pt x="33" y="206"/>
                  </a:lnTo>
                  <a:lnTo>
                    <a:pt x="33" y="205"/>
                  </a:lnTo>
                  <a:lnTo>
                    <a:pt x="34" y="204"/>
                  </a:lnTo>
                  <a:lnTo>
                    <a:pt x="34" y="202"/>
                  </a:lnTo>
                  <a:lnTo>
                    <a:pt x="34" y="199"/>
                  </a:lnTo>
                  <a:lnTo>
                    <a:pt x="35" y="197"/>
                  </a:lnTo>
                  <a:lnTo>
                    <a:pt x="35" y="196"/>
                  </a:lnTo>
                  <a:lnTo>
                    <a:pt x="35" y="195"/>
                  </a:lnTo>
                  <a:lnTo>
                    <a:pt x="35" y="194"/>
                  </a:lnTo>
                  <a:lnTo>
                    <a:pt x="35" y="193"/>
                  </a:lnTo>
                  <a:lnTo>
                    <a:pt x="34" y="192"/>
                  </a:lnTo>
                  <a:lnTo>
                    <a:pt x="34" y="190"/>
                  </a:lnTo>
                  <a:lnTo>
                    <a:pt x="33" y="189"/>
                  </a:lnTo>
                  <a:lnTo>
                    <a:pt x="33" y="189"/>
                  </a:lnTo>
                  <a:lnTo>
                    <a:pt x="32" y="188"/>
                  </a:lnTo>
                  <a:lnTo>
                    <a:pt x="32" y="188"/>
                  </a:lnTo>
                  <a:lnTo>
                    <a:pt x="31" y="187"/>
                  </a:lnTo>
                  <a:lnTo>
                    <a:pt x="30" y="187"/>
                  </a:lnTo>
                  <a:lnTo>
                    <a:pt x="26" y="185"/>
                  </a:lnTo>
                  <a:lnTo>
                    <a:pt x="25" y="185"/>
                  </a:lnTo>
                  <a:lnTo>
                    <a:pt x="24" y="184"/>
                  </a:lnTo>
                  <a:lnTo>
                    <a:pt x="21" y="183"/>
                  </a:lnTo>
                  <a:lnTo>
                    <a:pt x="17" y="180"/>
                  </a:lnTo>
                  <a:lnTo>
                    <a:pt x="14" y="179"/>
                  </a:lnTo>
                  <a:lnTo>
                    <a:pt x="14" y="178"/>
                  </a:lnTo>
                  <a:lnTo>
                    <a:pt x="13" y="177"/>
                  </a:lnTo>
                  <a:lnTo>
                    <a:pt x="12" y="177"/>
                  </a:lnTo>
                  <a:lnTo>
                    <a:pt x="11" y="176"/>
                  </a:lnTo>
                  <a:lnTo>
                    <a:pt x="10" y="175"/>
                  </a:lnTo>
                  <a:lnTo>
                    <a:pt x="10" y="174"/>
                  </a:lnTo>
                  <a:lnTo>
                    <a:pt x="9" y="174"/>
                  </a:lnTo>
                  <a:lnTo>
                    <a:pt x="8" y="173"/>
                  </a:lnTo>
                  <a:lnTo>
                    <a:pt x="7" y="170"/>
                  </a:lnTo>
                  <a:lnTo>
                    <a:pt x="5" y="167"/>
                  </a:lnTo>
                  <a:lnTo>
                    <a:pt x="3" y="163"/>
                  </a:lnTo>
                  <a:lnTo>
                    <a:pt x="2" y="162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6"/>
                  </a:lnTo>
                  <a:lnTo>
                    <a:pt x="0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6" y="147"/>
                  </a:lnTo>
                  <a:lnTo>
                    <a:pt x="9" y="146"/>
                  </a:lnTo>
                  <a:lnTo>
                    <a:pt x="14" y="143"/>
                  </a:lnTo>
                  <a:lnTo>
                    <a:pt x="15" y="142"/>
                  </a:lnTo>
                  <a:lnTo>
                    <a:pt x="16" y="141"/>
                  </a:lnTo>
                  <a:lnTo>
                    <a:pt x="17" y="140"/>
                  </a:lnTo>
                  <a:lnTo>
                    <a:pt x="18" y="140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9" y="138"/>
                  </a:lnTo>
                  <a:lnTo>
                    <a:pt x="19" y="137"/>
                  </a:lnTo>
                  <a:lnTo>
                    <a:pt x="19" y="136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21" y="128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3" y="119"/>
                  </a:lnTo>
                  <a:lnTo>
                    <a:pt x="24" y="118"/>
                  </a:lnTo>
                  <a:lnTo>
                    <a:pt x="25" y="117"/>
                  </a:lnTo>
                  <a:lnTo>
                    <a:pt x="26" y="116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9" y="112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3" y="106"/>
                  </a:lnTo>
                  <a:lnTo>
                    <a:pt x="34" y="105"/>
                  </a:lnTo>
                  <a:lnTo>
                    <a:pt x="35" y="103"/>
                  </a:lnTo>
                  <a:lnTo>
                    <a:pt x="37" y="98"/>
                  </a:lnTo>
                  <a:lnTo>
                    <a:pt x="38" y="96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2"/>
                  </a:lnTo>
                  <a:lnTo>
                    <a:pt x="44" y="88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2" y="87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89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5" y="86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8" y="84"/>
                  </a:lnTo>
                  <a:lnTo>
                    <a:pt x="69" y="84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8" y="85"/>
                  </a:lnTo>
                  <a:lnTo>
                    <a:pt x="79" y="86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1" y="89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89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7"/>
                  </a:lnTo>
                  <a:lnTo>
                    <a:pt x="86" y="86"/>
                  </a:lnTo>
                  <a:lnTo>
                    <a:pt x="87" y="86"/>
                  </a:lnTo>
                  <a:lnTo>
                    <a:pt x="88" y="85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1" y="77"/>
                  </a:lnTo>
                  <a:lnTo>
                    <a:pt x="103" y="77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9" y="75"/>
                  </a:lnTo>
                  <a:lnTo>
                    <a:pt x="110" y="75"/>
                  </a:lnTo>
                  <a:lnTo>
                    <a:pt x="112" y="75"/>
                  </a:lnTo>
                  <a:lnTo>
                    <a:pt x="113" y="75"/>
                  </a:lnTo>
                  <a:lnTo>
                    <a:pt x="114" y="75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0" y="73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7" y="75"/>
                  </a:lnTo>
                  <a:lnTo>
                    <a:pt x="132" y="76"/>
                  </a:lnTo>
                  <a:lnTo>
                    <a:pt x="133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8"/>
                  </a:lnTo>
                  <a:lnTo>
                    <a:pt x="142" y="78"/>
                  </a:lnTo>
                  <a:lnTo>
                    <a:pt x="144" y="78"/>
                  </a:lnTo>
                  <a:lnTo>
                    <a:pt x="146" y="78"/>
                  </a:lnTo>
                  <a:lnTo>
                    <a:pt x="147" y="78"/>
                  </a:lnTo>
                  <a:lnTo>
                    <a:pt x="148" y="77"/>
                  </a:lnTo>
                  <a:lnTo>
                    <a:pt x="149" y="77"/>
                  </a:lnTo>
                  <a:lnTo>
                    <a:pt x="150" y="78"/>
                  </a:lnTo>
                  <a:lnTo>
                    <a:pt x="151" y="78"/>
                  </a:lnTo>
                  <a:lnTo>
                    <a:pt x="152" y="78"/>
                  </a:lnTo>
                  <a:lnTo>
                    <a:pt x="155" y="79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7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7" y="74"/>
                  </a:lnTo>
                  <a:lnTo>
                    <a:pt x="168" y="73"/>
                  </a:lnTo>
                  <a:lnTo>
                    <a:pt x="168" y="72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70" y="66"/>
                  </a:lnTo>
                  <a:lnTo>
                    <a:pt x="170" y="65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1" y="59"/>
                  </a:lnTo>
                  <a:lnTo>
                    <a:pt x="171" y="58"/>
                  </a:lnTo>
                  <a:lnTo>
                    <a:pt x="172" y="58"/>
                  </a:lnTo>
                  <a:lnTo>
                    <a:pt x="172" y="57"/>
                  </a:lnTo>
                  <a:lnTo>
                    <a:pt x="173" y="57"/>
                  </a:lnTo>
                  <a:lnTo>
                    <a:pt x="174" y="57"/>
                  </a:lnTo>
                  <a:lnTo>
                    <a:pt x="176" y="56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92" y="47"/>
                  </a:lnTo>
                  <a:lnTo>
                    <a:pt x="194" y="45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0" y="42"/>
                  </a:lnTo>
                  <a:lnTo>
                    <a:pt x="200" y="41"/>
                  </a:lnTo>
                  <a:lnTo>
                    <a:pt x="202" y="40"/>
                  </a:lnTo>
                  <a:lnTo>
                    <a:pt x="203" y="38"/>
                  </a:lnTo>
                  <a:lnTo>
                    <a:pt x="205" y="37"/>
                  </a:lnTo>
                  <a:lnTo>
                    <a:pt x="207" y="35"/>
                  </a:lnTo>
                  <a:lnTo>
                    <a:pt x="207" y="34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7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6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2" y="38"/>
                  </a:lnTo>
                  <a:lnTo>
                    <a:pt x="233" y="39"/>
                  </a:lnTo>
                  <a:lnTo>
                    <a:pt x="235" y="41"/>
                  </a:lnTo>
                  <a:lnTo>
                    <a:pt x="236" y="41"/>
                  </a:lnTo>
                  <a:lnTo>
                    <a:pt x="237" y="42"/>
                  </a:lnTo>
                  <a:lnTo>
                    <a:pt x="240" y="44"/>
                  </a:lnTo>
                  <a:lnTo>
                    <a:pt x="241" y="45"/>
                  </a:lnTo>
                  <a:lnTo>
                    <a:pt x="242" y="46"/>
                  </a:lnTo>
                  <a:lnTo>
                    <a:pt x="243" y="46"/>
                  </a:lnTo>
                  <a:lnTo>
                    <a:pt x="244" y="47"/>
                  </a:lnTo>
                  <a:lnTo>
                    <a:pt x="245" y="47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7"/>
                  </a:lnTo>
                  <a:lnTo>
                    <a:pt x="249" y="47"/>
                  </a:lnTo>
                  <a:lnTo>
                    <a:pt x="249" y="46"/>
                  </a:lnTo>
                  <a:lnTo>
                    <a:pt x="250" y="46"/>
                  </a:lnTo>
                  <a:lnTo>
                    <a:pt x="250" y="45"/>
                  </a:lnTo>
                  <a:lnTo>
                    <a:pt x="250" y="44"/>
                  </a:lnTo>
                  <a:lnTo>
                    <a:pt x="250" y="43"/>
                  </a:lnTo>
                  <a:lnTo>
                    <a:pt x="252" y="37"/>
                  </a:lnTo>
                  <a:lnTo>
                    <a:pt x="252" y="36"/>
                  </a:lnTo>
                  <a:lnTo>
                    <a:pt x="252" y="35"/>
                  </a:lnTo>
                  <a:lnTo>
                    <a:pt x="252" y="34"/>
                  </a:lnTo>
                  <a:lnTo>
                    <a:pt x="252" y="32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2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3" y="26"/>
                  </a:lnTo>
                  <a:lnTo>
                    <a:pt x="254" y="26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7" y="25"/>
                  </a:lnTo>
                  <a:lnTo>
                    <a:pt x="259" y="24"/>
                  </a:lnTo>
                  <a:lnTo>
                    <a:pt x="262" y="23"/>
                  </a:lnTo>
                  <a:lnTo>
                    <a:pt x="263" y="23"/>
                  </a:lnTo>
                  <a:lnTo>
                    <a:pt x="264" y="22"/>
                  </a:lnTo>
                  <a:lnTo>
                    <a:pt x="265" y="21"/>
                  </a:lnTo>
                  <a:lnTo>
                    <a:pt x="266" y="21"/>
                  </a:lnTo>
                  <a:lnTo>
                    <a:pt x="267" y="20"/>
                  </a:lnTo>
                  <a:lnTo>
                    <a:pt x="268" y="20"/>
                  </a:lnTo>
                  <a:lnTo>
                    <a:pt x="268" y="19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7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4"/>
                  </a:lnTo>
                  <a:lnTo>
                    <a:pt x="268" y="14"/>
                  </a:lnTo>
                  <a:lnTo>
                    <a:pt x="268" y="12"/>
                  </a:lnTo>
                  <a:lnTo>
                    <a:pt x="267" y="12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0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8" y="7"/>
                  </a:lnTo>
                  <a:lnTo>
                    <a:pt x="268" y="6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70" y="3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6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79" y="0"/>
                  </a:lnTo>
                  <a:lnTo>
                    <a:pt x="279" y="1"/>
                  </a:lnTo>
                  <a:close/>
                </a:path>
              </a:pathLst>
            </a:custGeom>
            <a:solidFill>
              <a:srgbClr val="A8A8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Freeform 50">
              <a:extLst>
                <a:ext uri="{FF2B5EF4-FFF2-40B4-BE49-F238E27FC236}">
                  <a16:creationId xmlns:a16="http://schemas.microsoft.com/office/drawing/2014/main" id="{2BE2C606-BF98-D2FD-124B-C22F52B0E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" y="3302"/>
              <a:ext cx="419" cy="536"/>
            </a:xfrm>
            <a:custGeom>
              <a:avLst/>
              <a:gdLst>
                <a:gd name="T0" fmla="*/ 277 w 419"/>
                <a:gd name="T1" fmla="*/ 2 h 536"/>
                <a:gd name="T2" fmla="*/ 286 w 419"/>
                <a:gd name="T3" fmla="*/ 11 h 536"/>
                <a:gd name="T4" fmla="*/ 299 w 419"/>
                <a:gd name="T5" fmla="*/ 12 h 536"/>
                <a:gd name="T6" fmla="*/ 294 w 419"/>
                <a:gd name="T7" fmla="*/ 28 h 536"/>
                <a:gd name="T8" fmla="*/ 304 w 419"/>
                <a:gd name="T9" fmla="*/ 32 h 536"/>
                <a:gd name="T10" fmla="*/ 327 w 419"/>
                <a:gd name="T11" fmla="*/ 31 h 536"/>
                <a:gd name="T12" fmla="*/ 326 w 419"/>
                <a:gd name="T13" fmla="*/ 37 h 536"/>
                <a:gd name="T14" fmla="*/ 345 w 419"/>
                <a:gd name="T15" fmla="*/ 51 h 536"/>
                <a:gd name="T16" fmla="*/ 368 w 419"/>
                <a:gd name="T17" fmla="*/ 50 h 536"/>
                <a:gd name="T18" fmla="*/ 390 w 419"/>
                <a:gd name="T19" fmla="*/ 66 h 536"/>
                <a:gd name="T20" fmla="*/ 397 w 419"/>
                <a:gd name="T21" fmla="*/ 76 h 536"/>
                <a:gd name="T22" fmla="*/ 419 w 419"/>
                <a:gd name="T23" fmla="*/ 96 h 536"/>
                <a:gd name="T24" fmla="*/ 413 w 419"/>
                <a:gd name="T25" fmla="*/ 118 h 536"/>
                <a:gd name="T26" fmla="*/ 409 w 419"/>
                <a:gd name="T27" fmla="*/ 145 h 536"/>
                <a:gd name="T28" fmla="*/ 411 w 419"/>
                <a:gd name="T29" fmla="*/ 161 h 536"/>
                <a:gd name="T30" fmla="*/ 400 w 419"/>
                <a:gd name="T31" fmla="*/ 176 h 536"/>
                <a:gd name="T32" fmla="*/ 388 w 419"/>
                <a:gd name="T33" fmla="*/ 175 h 536"/>
                <a:gd name="T34" fmla="*/ 372 w 419"/>
                <a:gd name="T35" fmla="*/ 192 h 536"/>
                <a:gd name="T36" fmla="*/ 383 w 419"/>
                <a:gd name="T37" fmla="*/ 197 h 536"/>
                <a:gd name="T38" fmla="*/ 377 w 419"/>
                <a:gd name="T39" fmla="*/ 204 h 536"/>
                <a:gd name="T40" fmla="*/ 380 w 419"/>
                <a:gd name="T41" fmla="*/ 214 h 536"/>
                <a:gd name="T42" fmla="*/ 380 w 419"/>
                <a:gd name="T43" fmla="*/ 220 h 536"/>
                <a:gd name="T44" fmla="*/ 391 w 419"/>
                <a:gd name="T45" fmla="*/ 225 h 536"/>
                <a:gd name="T46" fmla="*/ 391 w 419"/>
                <a:gd name="T47" fmla="*/ 251 h 536"/>
                <a:gd name="T48" fmla="*/ 398 w 419"/>
                <a:gd name="T49" fmla="*/ 266 h 536"/>
                <a:gd name="T50" fmla="*/ 394 w 419"/>
                <a:gd name="T51" fmla="*/ 283 h 536"/>
                <a:gd name="T52" fmla="*/ 397 w 419"/>
                <a:gd name="T53" fmla="*/ 299 h 536"/>
                <a:gd name="T54" fmla="*/ 397 w 419"/>
                <a:gd name="T55" fmla="*/ 321 h 536"/>
                <a:gd name="T56" fmla="*/ 403 w 419"/>
                <a:gd name="T57" fmla="*/ 345 h 536"/>
                <a:gd name="T58" fmla="*/ 388 w 419"/>
                <a:gd name="T59" fmla="*/ 367 h 536"/>
                <a:gd name="T60" fmla="*/ 383 w 419"/>
                <a:gd name="T61" fmla="*/ 381 h 536"/>
                <a:gd name="T62" fmla="*/ 379 w 419"/>
                <a:gd name="T63" fmla="*/ 389 h 536"/>
                <a:gd name="T64" fmla="*/ 381 w 419"/>
                <a:gd name="T65" fmla="*/ 398 h 536"/>
                <a:gd name="T66" fmla="*/ 376 w 419"/>
                <a:gd name="T67" fmla="*/ 412 h 536"/>
                <a:gd name="T68" fmla="*/ 375 w 419"/>
                <a:gd name="T69" fmla="*/ 427 h 536"/>
                <a:gd name="T70" fmla="*/ 357 w 419"/>
                <a:gd name="T71" fmla="*/ 445 h 536"/>
                <a:gd name="T72" fmla="*/ 343 w 419"/>
                <a:gd name="T73" fmla="*/ 450 h 536"/>
                <a:gd name="T74" fmla="*/ 344 w 419"/>
                <a:gd name="T75" fmla="*/ 480 h 536"/>
                <a:gd name="T76" fmla="*/ 335 w 419"/>
                <a:gd name="T77" fmla="*/ 491 h 536"/>
                <a:gd name="T78" fmla="*/ 326 w 419"/>
                <a:gd name="T79" fmla="*/ 515 h 536"/>
                <a:gd name="T80" fmla="*/ 321 w 419"/>
                <a:gd name="T81" fmla="*/ 526 h 536"/>
                <a:gd name="T82" fmla="*/ 310 w 419"/>
                <a:gd name="T83" fmla="*/ 536 h 536"/>
                <a:gd name="T84" fmla="*/ 286 w 419"/>
                <a:gd name="T85" fmla="*/ 516 h 536"/>
                <a:gd name="T86" fmla="*/ 276 w 419"/>
                <a:gd name="T87" fmla="*/ 482 h 536"/>
                <a:gd name="T88" fmla="*/ 248 w 419"/>
                <a:gd name="T89" fmla="*/ 456 h 536"/>
                <a:gd name="T90" fmla="*/ 221 w 419"/>
                <a:gd name="T91" fmla="*/ 448 h 536"/>
                <a:gd name="T92" fmla="*/ 209 w 419"/>
                <a:gd name="T93" fmla="*/ 425 h 536"/>
                <a:gd name="T94" fmla="*/ 188 w 419"/>
                <a:gd name="T95" fmla="*/ 395 h 536"/>
                <a:gd name="T96" fmla="*/ 173 w 419"/>
                <a:gd name="T97" fmla="*/ 372 h 536"/>
                <a:gd name="T98" fmla="*/ 151 w 419"/>
                <a:gd name="T99" fmla="*/ 350 h 536"/>
                <a:gd name="T100" fmla="*/ 129 w 419"/>
                <a:gd name="T101" fmla="*/ 350 h 536"/>
                <a:gd name="T102" fmla="*/ 106 w 419"/>
                <a:gd name="T103" fmla="*/ 347 h 536"/>
                <a:gd name="T104" fmla="*/ 91 w 419"/>
                <a:gd name="T105" fmla="*/ 324 h 536"/>
                <a:gd name="T106" fmla="*/ 65 w 419"/>
                <a:gd name="T107" fmla="*/ 303 h 536"/>
                <a:gd name="T108" fmla="*/ 59 w 419"/>
                <a:gd name="T109" fmla="*/ 279 h 536"/>
                <a:gd name="T110" fmla="*/ 49 w 419"/>
                <a:gd name="T111" fmla="*/ 257 h 536"/>
                <a:gd name="T112" fmla="*/ 39 w 419"/>
                <a:gd name="T113" fmla="*/ 233 h 536"/>
                <a:gd name="T114" fmla="*/ 27 w 419"/>
                <a:gd name="T115" fmla="*/ 213 h 536"/>
                <a:gd name="T116" fmla="*/ 26 w 419"/>
                <a:gd name="T117" fmla="*/ 191 h 536"/>
                <a:gd name="T118" fmla="*/ 3 w 419"/>
                <a:gd name="T119" fmla="*/ 175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9" h="536">
                  <a:moveTo>
                    <a:pt x="271" y="0"/>
                  </a:moveTo>
                  <a:lnTo>
                    <a:pt x="271" y="0"/>
                  </a:lnTo>
                  <a:lnTo>
                    <a:pt x="271" y="0"/>
                  </a:lnTo>
                  <a:lnTo>
                    <a:pt x="271" y="1"/>
                  </a:lnTo>
                  <a:lnTo>
                    <a:pt x="271" y="3"/>
                  </a:lnTo>
                  <a:lnTo>
                    <a:pt x="271" y="3"/>
                  </a:lnTo>
                  <a:lnTo>
                    <a:pt x="272" y="4"/>
                  </a:lnTo>
                  <a:lnTo>
                    <a:pt x="272" y="4"/>
                  </a:lnTo>
                  <a:lnTo>
                    <a:pt x="272" y="5"/>
                  </a:lnTo>
                  <a:lnTo>
                    <a:pt x="273" y="5"/>
                  </a:lnTo>
                  <a:lnTo>
                    <a:pt x="273" y="5"/>
                  </a:lnTo>
                  <a:lnTo>
                    <a:pt x="274" y="5"/>
                  </a:lnTo>
                  <a:lnTo>
                    <a:pt x="274" y="5"/>
                  </a:lnTo>
                  <a:lnTo>
                    <a:pt x="274" y="5"/>
                  </a:lnTo>
                  <a:lnTo>
                    <a:pt x="275" y="4"/>
                  </a:lnTo>
                  <a:lnTo>
                    <a:pt x="275" y="4"/>
                  </a:lnTo>
                  <a:lnTo>
                    <a:pt x="277" y="2"/>
                  </a:lnTo>
                  <a:lnTo>
                    <a:pt x="277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80" y="0"/>
                  </a:lnTo>
                  <a:lnTo>
                    <a:pt x="280" y="1"/>
                  </a:lnTo>
                  <a:lnTo>
                    <a:pt x="280" y="1"/>
                  </a:lnTo>
                  <a:lnTo>
                    <a:pt x="281" y="2"/>
                  </a:lnTo>
                  <a:lnTo>
                    <a:pt x="281" y="3"/>
                  </a:lnTo>
                  <a:lnTo>
                    <a:pt x="283" y="5"/>
                  </a:lnTo>
                  <a:lnTo>
                    <a:pt x="284" y="6"/>
                  </a:lnTo>
                  <a:lnTo>
                    <a:pt x="284" y="7"/>
                  </a:lnTo>
                  <a:lnTo>
                    <a:pt x="285" y="9"/>
                  </a:lnTo>
                  <a:lnTo>
                    <a:pt x="285" y="10"/>
                  </a:lnTo>
                  <a:lnTo>
                    <a:pt x="285" y="10"/>
                  </a:lnTo>
                  <a:lnTo>
                    <a:pt x="286" y="10"/>
                  </a:lnTo>
                  <a:lnTo>
                    <a:pt x="286" y="11"/>
                  </a:lnTo>
                  <a:lnTo>
                    <a:pt x="286" y="11"/>
                  </a:lnTo>
                  <a:lnTo>
                    <a:pt x="287" y="11"/>
                  </a:lnTo>
                  <a:lnTo>
                    <a:pt x="287" y="11"/>
                  </a:lnTo>
                  <a:lnTo>
                    <a:pt x="288" y="11"/>
                  </a:lnTo>
                  <a:lnTo>
                    <a:pt x="291" y="10"/>
                  </a:lnTo>
                  <a:lnTo>
                    <a:pt x="291" y="10"/>
                  </a:lnTo>
                  <a:lnTo>
                    <a:pt x="291" y="10"/>
                  </a:lnTo>
                  <a:lnTo>
                    <a:pt x="293" y="9"/>
                  </a:lnTo>
                  <a:lnTo>
                    <a:pt x="294" y="8"/>
                  </a:lnTo>
                  <a:lnTo>
                    <a:pt x="294" y="8"/>
                  </a:lnTo>
                  <a:lnTo>
                    <a:pt x="295" y="7"/>
                  </a:lnTo>
                  <a:lnTo>
                    <a:pt x="296" y="6"/>
                  </a:lnTo>
                  <a:lnTo>
                    <a:pt x="296" y="7"/>
                  </a:lnTo>
                  <a:lnTo>
                    <a:pt x="296" y="8"/>
                  </a:lnTo>
                  <a:lnTo>
                    <a:pt x="297" y="9"/>
                  </a:lnTo>
                  <a:lnTo>
                    <a:pt x="298" y="10"/>
                  </a:lnTo>
                  <a:lnTo>
                    <a:pt x="299" y="12"/>
                  </a:lnTo>
                  <a:lnTo>
                    <a:pt x="299" y="13"/>
                  </a:lnTo>
                  <a:lnTo>
                    <a:pt x="300" y="13"/>
                  </a:lnTo>
                  <a:lnTo>
                    <a:pt x="300" y="14"/>
                  </a:lnTo>
                  <a:lnTo>
                    <a:pt x="300" y="15"/>
                  </a:lnTo>
                  <a:lnTo>
                    <a:pt x="300" y="16"/>
                  </a:lnTo>
                  <a:lnTo>
                    <a:pt x="300" y="17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299" y="19"/>
                  </a:lnTo>
                  <a:lnTo>
                    <a:pt x="298" y="21"/>
                  </a:lnTo>
                  <a:lnTo>
                    <a:pt x="297" y="22"/>
                  </a:lnTo>
                  <a:lnTo>
                    <a:pt x="296" y="24"/>
                  </a:lnTo>
                  <a:lnTo>
                    <a:pt x="295" y="26"/>
                  </a:lnTo>
                  <a:lnTo>
                    <a:pt x="295" y="27"/>
                  </a:lnTo>
                  <a:lnTo>
                    <a:pt x="294" y="27"/>
                  </a:lnTo>
                  <a:lnTo>
                    <a:pt x="294" y="28"/>
                  </a:lnTo>
                  <a:lnTo>
                    <a:pt x="294" y="29"/>
                  </a:lnTo>
                  <a:lnTo>
                    <a:pt x="294" y="29"/>
                  </a:lnTo>
                  <a:lnTo>
                    <a:pt x="294" y="30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5" y="32"/>
                  </a:lnTo>
                  <a:lnTo>
                    <a:pt x="295" y="32"/>
                  </a:lnTo>
                  <a:lnTo>
                    <a:pt x="296" y="32"/>
                  </a:lnTo>
                  <a:lnTo>
                    <a:pt x="297" y="32"/>
                  </a:lnTo>
                  <a:lnTo>
                    <a:pt x="300" y="33"/>
                  </a:lnTo>
                  <a:lnTo>
                    <a:pt x="300" y="33"/>
                  </a:lnTo>
                  <a:lnTo>
                    <a:pt x="301" y="33"/>
                  </a:lnTo>
                  <a:lnTo>
                    <a:pt x="301" y="33"/>
                  </a:lnTo>
                  <a:lnTo>
                    <a:pt x="302" y="33"/>
                  </a:lnTo>
                  <a:lnTo>
                    <a:pt x="303" y="33"/>
                  </a:lnTo>
                  <a:lnTo>
                    <a:pt x="304" y="32"/>
                  </a:lnTo>
                  <a:lnTo>
                    <a:pt x="306" y="31"/>
                  </a:lnTo>
                  <a:lnTo>
                    <a:pt x="308" y="31"/>
                  </a:lnTo>
                  <a:lnTo>
                    <a:pt x="309" y="31"/>
                  </a:lnTo>
                  <a:lnTo>
                    <a:pt x="309" y="30"/>
                  </a:lnTo>
                  <a:lnTo>
                    <a:pt x="311" y="30"/>
                  </a:lnTo>
                  <a:lnTo>
                    <a:pt x="313" y="30"/>
                  </a:lnTo>
                  <a:lnTo>
                    <a:pt x="314" y="30"/>
                  </a:lnTo>
                  <a:lnTo>
                    <a:pt x="315" y="31"/>
                  </a:lnTo>
                  <a:lnTo>
                    <a:pt x="318" y="31"/>
                  </a:lnTo>
                  <a:lnTo>
                    <a:pt x="319" y="31"/>
                  </a:lnTo>
                  <a:lnTo>
                    <a:pt x="320" y="31"/>
                  </a:lnTo>
                  <a:lnTo>
                    <a:pt x="320" y="31"/>
                  </a:lnTo>
                  <a:lnTo>
                    <a:pt x="323" y="31"/>
                  </a:lnTo>
                  <a:lnTo>
                    <a:pt x="325" y="31"/>
                  </a:lnTo>
                  <a:lnTo>
                    <a:pt x="326" y="31"/>
                  </a:lnTo>
                  <a:lnTo>
                    <a:pt x="326" y="31"/>
                  </a:lnTo>
                  <a:lnTo>
                    <a:pt x="327" y="31"/>
                  </a:lnTo>
                  <a:lnTo>
                    <a:pt x="328" y="31"/>
                  </a:lnTo>
                  <a:lnTo>
                    <a:pt x="329" y="32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1" y="33"/>
                  </a:lnTo>
                  <a:lnTo>
                    <a:pt x="330" y="34"/>
                  </a:lnTo>
                  <a:lnTo>
                    <a:pt x="330" y="34"/>
                  </a:lnTo>
                  <a:lnTo>
                    <a:pt x="328" y="35"/>
                  </a:lnTo>
                  <a:lnTo>
                    <a:pt x="328" y="35"/>
                  </a:lnTo>
                  <a:lnTo>
                    <a:pt x="327" y="36"/>
                  </a:lnTo>
                  <a:lnTo>
                    <a:pt x="327" y="36"/>
                  </a:lnTo>
                  <a:lnTo>
                    <a:pt x="326" y="36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8"/>
                  </a:lnTo>
                  <a:lnTo>
                    <a:pt x="327" y="38"/>
                  </a:lnTo>
                  <a:lnTo>
                    <a:pt x="327" y="38"/>
                  </a:lnTo>
                  <a:lnTo>
                    <a:pt x="327" y="39"/>
                  </a:lnTo>
                  <a:lnTo>
                    <a:pt x="328" y="40"/>
                  </a:lnTo>
                  <a:lnTo>
                    <a:pt x="329" y="40"/>
                  </a:lnTo>
                  <a:lnTo>
                    <a:pt x="330" y="41"/>
                  </a:lnTo>
                  <a:lnTo>
                    <a:pt x="331" y="42"/>
                  </a:lnTo>
                  <a:lnTo>
                    <a:pt x="334" y="43"/>
                  </a:lnTo>
                  <a:lnTo>
                    <a:pt x="336" y="44"/>
                  </a:lnTo>
                  <a:lnTo>
                    <a:pt x="338" y="46"/>
                  </a:lnTo>
                  <a:lnTo>
                    <a:pt x="341" y="48"/>
                  </a:lnTo>
                  <a:lnTo>
                    <a:pt x="342" y="49"/>
                  </a:lnTo>
                  <a:lnTo>
                    <a:pt x="344" y="50"/>
                  </a:lnTo>
                  <a:lnTo>
                    <a:pt x="344" y="50"/>
                  </a:lnTo>
                  <a:lnTo>
                    <a:pt x="345" y="51"/>
                  </a:lnTo>
                  <a:lnTo>
                    <a:pt x="346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50" y="52"/>
                  </a:lnTo>
                  <a:lnTo>
                    <a:pt x="351" y="52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5" y="52"/>
                  </a:lnTo>
                  <a:lnTo>
                    <a:pt x="357" y="52"/>
                  </a:lnTo>
                  <a:lnTo>
                    <a:pt x="358" y="51"/>
                  </a:lnTo>
                  <a:lnTo>
                    <a:pt x="359" y="51"/>
                  </a:lnTo>
                  <a:lnTo>
                    <a:pt x="362" y="50"/>
                  </a:lnTo>
                  <a:lnTo>
                    <a:pt x="363" y="50"/>
                  </a:lnTo>
                  <a:lnTo>
                    <a:pt x="364" y="50"/>
                  </a:lnTo>
                  <a:lnTo>
                    <a:pt x="366" y="50"/>
                  </a:lnTo>
                  <a:lnTo>
                    <a:pt x="366" y="50"/>
                  </a:lnTo>
                  <a:lnTo>
                    <a:pt x="368" y="50"/>
                  </a:lnTo>
                  <a:lnTo>
                    <a:pt x="368" y="51"/>
                  </a:lnTo>
                  <a:lnTo>
                    <a:pt x="369" y="51"/>
                  </a:lnTo>
                  <a:lnTo>
                    <a:pt x="370" y="51"/>
                  </a:lnTo>
                  <a:lnTo>
                    <a:pt x="370" y="52"/>
                  </a:lnTo>
                  <a:lnTo>
                    <a:pt x="371" y="52"/>
                  </a:lnTo>
                  <a:lnTo>
                    <a:pt x="372" y="53"/>
                  </a:lnTo>
                  <a:lnTo>
                    <a:pt x="374" y="56"/>
                  </a:lnTo>
                  <a:lnTo>
                    <a:pt x="376" y="58"/>
                  </a:lnTo>
                  <a:lnTo>
                    <a:pt x="377" y="59"/>
                  </a:lnTo>
                  <a:lnTo>
                    <a:pt x="379" y="61"/>
                  </a:lnTo>
                  <a:lnTo>
                    <a:pt x="382" y="63"/>
                  </a:lnTo>
                  <a:lnTo>
                    <a:pt x="383" y="64"/>
                  </a:lnTo>
                  <a:lnTo>
                    <a:pt x="384" y="65"/>
                  </a:lnTo>
                  <a:lnTo>
                    <a:pt x="385" y="65"/>
                  </a:lnTo>
                  <a:lnTo>
                    <a:pt x="386" y="65"/>
                  </a:lnTo>
                  <a:lnTo>
                    <a:pt x="389" y="66"/>
                  </a:lnTo>
                  <a:lnTo>
                    <a:pt x="390" y="66"/>
                  </a:lnTo>
                  <a:lnTo>
                    <a:pt x="391" y="66"/>
                  </a:lnTo>
                  <a:lnTo>
                    <a:pt x="392" y="66"/>
                  </a:lnTo>
                  <a:lnTo>
                    <a:pt x="392" y="67"/>
                  </a:lnTo>
                  <a:lnTo>
                    <a:pt x="393" y="67"/>
                  </a:lnTo>
                  <a:lnTo>
                    <a:pt x="394" y="68"/>
                  </a:lnTo>
                  <a:lnTo>
                    <a:pt x="394" y="68"/>
                  </a:lnTo>
                  <a:lnTo>
                    <a:pt x="395" y="69"/>
                  </a:lnTo>
                  <a:lnTo>
                    <a:pt x="395" y="69"/>
                  </a:lnTo>
                  <a:lnTo>
                    <a:pt x="395" y="70"/>
                  </a:lnTo>
                  <a:lnTo>
                    <a:pt x="396" y="71"/>
                  </a:lnTo>
                  <a:lnTo>
                    <a:pt x="396" y="71"/>
                  </a:lnTo>
                  <a:lnTo>
                    <a:pt x="396" y="74"/>
                  </a:lnTo>
                  <a:lnTo>
                    <a:pt x="396" y="75"/>
                  </a:lnTo>
                  <a:lnTo>
                    <a:pt x="397" y="75"/>
                  </a:lnTo>
                  <a:lnTo>
                    <a:pt x="397" y="75"/>
                  </a:lnTo>
                  <a:lnTo>
                    <a:pt x="397" y="76"/>
                  </a:lnTo>
                  <a:lnTo>
                    <a:pt x="397" y="76"/>
                  </a:lnTo>
                  <a:lnTo>
                    <a:pt x="398" y="76"/>
                  </a:lnTo>
                  <a:lnTo>
                    <a:pt x="398" y="76"/>
                  </a:lnTo>
                  <a:lnTo>
                    <a:pt x="401" y="77"/>
                  </a:lnTo>
                  <a:lnTo>
                    <a:pt x="404" y="78"/>
                  </a:lnTo>
                  <a:lnTo>
                    <a:pt x="406" y="78"/>
                  </a:lnTo>
                  <a:lnTo>
                    <a:pt x="407" y="79"/>
                  </a:lnTo>
                  <a:lnTo>
                    <a:pt x="410" y="80"/>
                  </a:lnTo>
                  <a:lnTo>
                    <a:pt x="416" y="84"/>
                  </a:lnTo>
                  <a:lnTo>
                    <a:pt x="417" y="84"/>
                  </a:lnTo>
                  <a:lnTo>
                    <a:pt x="417" y="85"/>
                  </a:lnTo>
                  <a:lnTo>
                    <a:pt x="417" y="85"/>
                  </a:lnTo>
                  <a:lnTo>
                    <a:pt x="418" y="85"/>
                  </a:lnTo>
                  <a:lnTo>
                    <a:pt x="418" y="86"/>
                  </a:lnTo>
                  <a:lnTo>
                    <a:pt x="418" y="86"/>
                  </a:lnTo>
                  <a:lnTo>
                    <a:pt x="418" y="91"/>
                  </a:lnTo>
                  <a:lnTo>
                    <a:pt x="418" y="93"/>
                  </a:lnTo>
                  <a:lnTo>
                    <a:pt x="419" y="96"/>
                  </a:lnTo>
                  <a:lnTo>
                    <a:pt x="419" y="100"/>
                  </a:lnTo>
                  <a:lnTo>
                    <a:pt x="419" y="102"/>
                  </a:lnTo>
                  <a:lnTo>
                    <a:pt x="419" y="106"/>
                  </a:lnTo>
                  <a:lnTo>
                    <a:pt x="419" y="107"/>
                  </a:lnTo>
                  <a:lnTo>
                    <a:pt x="419" y="108"/>
                  </a:lnTo>
                  <a:lnTo>
                    <a:pt x="419" y="108"/>
                  </a:lnTo>
                  <a:lnTo>
                    <a:pt x="419" y="109"/>
                  </a:lnTo>
                  <a:lnTo>
                    <a:pt x="419" y="110"/>
                  </a:lnTo>
                  <a:lnTo>
                    <a:pt x="418" y="110"/>
                  </a:lnTo>
                  <a:lnTo>
                    <a:pt x="418" y="111"/>
                  </a:lnTo>
                  <a:lnTo>
                    <a:pt x="416" y="112"/>
                  </a:lnTo>
                  <a:lnTo>
                    <a:pt x="416" y="113"/>
                  </a:lnTo>
                  <a:lnTo>
                    <a:pt x="415" y="113"/>
                  </a:lnTo>
                  <a:lnTo>
                    <a:pt x="415" y="114"/>
                  </a:lnTo>
                  <a:lnTo>
                    <a:pt x="414" y="115"/>
                  </a:lnTo>
                  <a:lnTo>
                    <a:pt x="414" y="116"/>
                  </a:lnTo>
                  <a:lnTo>
                    <a:pt x="413" y="118"/>
                  </a:lnTo>
                  <a:lnTo>
                    <a:pt x="412" y="121"/>
                  </a:lnTo>
                  <a:lnTo>
                    <a:pt x="412" y="122"/>
                  </a:lnTo>
                  <a:lnTo>
                    <a:pt x="412" y="123"/>
                  </a:lnTo>
                  <a:lnTo>
                    <a:pt x="411" y="128"/>
                  </a:lnTo>
                  <a:lnTo>
                    <a:pt x="411" y="129"/>
                  </a:lnTo>
                  <a:lnTo>
                    <a:pt x="411" y="130"/>
                  </a:lnTo>
                  <a:lnTo>
                    <a:pt x="411" y="133"/>
                  </a:lnTo>
                  <a:lnTo>
                    <a:pt x="411" y="134"/>
                  </a:lnTo>
                  <a:lnTo>
                    <a:pt x="411" y="135"/>
                  </a:lnTo>
                  <a:lnTo>
                    <a:pt x="411" y="136"/>
                  </a:lnTo>
                  <a:lnTo>
                    <a:pt x="411" y="137"/>
                  </a:lnTo>
                  <a:lnTo>
                    <a:pt x="411" y="138"/>
                  </a:lnTo>
                  <a:lnTo>
                    <a:pt x="410" y="140"/>
                  </a:lnTo>
                  <a:lnTo>
                    <a:pt x="409" y="143"/>
                  </a:lnTo>
                  <a:lnTo>
                    <a:pt x="409" y="143"/>
                  </a:lnTo>
                  <a:lnTo>
                    <a:pt x="409" y="144"/>
                  </a:lnTo>
                  <a:lnTo>
                    <a:pt x="409" y="145"/>
                  </a:lnTo>
                  <a:lnTo>
                    <a:pt x="409" y="146"/>
                  </a:lnTo>
                  <a:lnTo>
                    <a:pt x="409" y="147"/>
                  </a:lnTo>
                  <a:lnTo>
                    <a:pt x="409" y="150"/>
                  </a:lnTo>
                  <a:lnTo>
                    <a:pt x="409" y="151"/>
                  </a:lnTo>
                  <a:lnTo>
                    <a:pt x="408" y="152"/>
                  </a:lnTo>
                  <a:lnTo>
                    <a:pt x="408" y="153"/>
                  </a:lnTo>
                  <a:lnTo>
                    <a:pt x="408" y="154"/>
                  </a:lnTo>
                  <a:lnTo>
                    <a:pt x="408" y="155"/>
                  </a:lnTo>
                  <a:lnTo>
                    <a:pt x="407" y="157"/>
                  </a:lnTo>
                  <a:lnTo>
                    <a:pt x="407" y="158"/>
                  </a:lnTo>
                  <a:lnTo>
                    <a:pt x="407" y="159"/>
                  </a:lnTo>
                  <a:lnTo>
                    <a:pt x="408" y="159"/>
                  </a:lnTo>
                  <a:lnTo>
                    <a:pt x="408" y="159"/>
                  </a:lnTo>
                  <a:lnTo>
                    <a:pt x="408" y="159"/>
                  </a:lnTo>
                  <a:lnTo>
                    <a:pt x="410" y="160"/>
                  </a:lnTo>
                  <a:lnTo>
                    <a:pt x="410" y="161"/>
                  </a:lnTo>
                  <a:lnTo>
                    <a:pt x="411" y="161"/>
                  </a:lnTo>
                  <a:lnTo>
                    <a:pt x="411" y="162"/>
                  </a:lnTo>
                  <a:lnTo>
                    <a:pt x="412" y="162"/>
                  </a:lnTo>
                  <a:lnTo>
                    <a:pt x="412" y="163"/>
                  </a:lnTo>
                  <a:lnTo>
                    <a:pt x="412" y="164"/>
                  </a:lnTo>
                  <a:lnTo>
                    <a:pt x="412" y="164"/>
                  </a:lnTo>
                  <a:lnTo>
                    <a:pt x="411" y="165"/>
                  </a:lnTo>
                  <a:lnTo>
                    <a:pt x="411" y="165"/>
                  </a:lnTo>
                  <a:lnTo>
                    <a:pt x="411" y="166"/>
                  </a:lnTo>
                  <a:lnTo>
                    <a:pt x="410" y="166"/>
                  </a:lnTo>
                  <a:lnTo>
                    <a:pt x="409" y="167"/>
                  </a:lnTo>
                  <a:lnTo>
                    <a:pt x="406" y="170"/>
                  </a:lnTo>
                  <a:lnTo>
                    <a:pt x="405" y="171"/>
                  </a:lnTo>
                  <a:lnTo>
                    <a:pt x="404" y="172"/>
                  </a:lnTo>
                  <a:lnTo>
                    <a:pt x="403" y="173"/>
                  </a:lnTo>
                  <a:lnTo>
                    <a:pt x="402" y="175"/>
                  </a:lnTo>
                  <a:lnTo>
                    <a:pt x="401" y="176"/>
                  </a:lnTo>
                  <a:lnTo>
                    <a:pt x="400" y="176"/>
                  </a:lnTo>
                  <a:lnTo>
                    <a:pt x="400" y="177"/>
                  </a:lnTo>
                  <a:lnTo>
                    <a:pt x="399" y="177"/>
                  </a:lnTo>
                  <a:lnTo>
                    <a:pt x="399" y="177"/>
                  </a:lnTo>
                  <a:lnTo>
                    <a:pt x="398" y="178"/>
                  </a:lnTo>
                  <a:lnTo>
                    <a:pt x="398" y="178"/>
                  </a:lnTo>
                  <a:lnTo>
                    <a:pt x="397" y="178"/>
                  </a:lnTo>
                  <a:lnTo>
                    <a:pt x="397" y="178"/>
                  </a:lnTo>
                  <a:lnTo>
                    <a:pt x="396" y="177"/>
                  </a:lnTo>
                  <a:lnTo>
                    <a:pt x="395" y="177"/>
                  </a:lnTo>
                  <a:lnTo>
                    <a:pt x="392" y="175"/>
                  </a:lnTo>
                  <a:lnTo>
                    <a:pt x="392" y="175"/>
                  </a:lnTo>
                  <a:lnTo>
                    <a:pt x="392" y="175"/>
                  </a:lnTo>
                  <a:lnTo>
                    <a:pt x="391" y="175"/>
                  </a:lnTo>
                  <a:lnTo>
                    <a:pt x="390" y="175"/>
                  </a:lnTo>
                  <a:lnTo>
                    <a:pt x="389" y="175"/>
                  </a:lnTo>
                  <a:lnTo>
                    <a:pt x="389" y="175"/>
                  </a:lnTo>
                  <a:lnTo>
                    <a:pt x="388" y="175"/>
                  </a:lnTo>
                  <a:lnTo>
                    <a:pt x="387" y="176"/>
                  </a:lnTo>
                  <a:lnTo>
                    <a:pt x="386" y="176"/>
                  </a:lnTo>
                  <a:lnTo>
                    <a:pt x="384" y="177"/>
                  </a:lnTo>
                  <a:lnTo>
                    <a:pt x="383" y="178"/>
                  </a:lnTo>
                  <a:lnTo>
                    <a:pt x="382" y="178"/>
                  </a:lnTo>
                  <a:lnTo>
                    <a:pt x="381" y="179"/>
                  </a:lnTo>
                  <a:lnTo>
                    <a:pt x="380" y="180"/>
                  </a:lnTo>
                  <a:lnTo>
                    <a:pt x="379" y="181"/>
                  </a:lnTo>
                  <a:lnTo>
                    <a:pt x="378" y="181"/>
                  </a:lnTo>
                  <a:lnTo>
                    <a:pt x="378" y="182"/>
                  </a:lnTo>
                  <a:lnTo>
                    <a:pt x="377" y="184"/>
                  </a:lnTo>
                  <a:lnTo>
                    <a:pt x="374" y="187"/>
                  </a:lnTo>
                  <a:lnTo>
                    <a:pt x="373" y="188"/>
                  </a:lnTo>
                  <a:lnTo>
                    <a:pt x="373" y="189"/>
                  </a:lnTo>
                  <a:lnTo>
                    <a:pt x="373" y="190"/>
                  </a:lnTo>
                  <a:lnTo>
                    <a:pt x="372" y="191"/>
                  </a:lnTo>
                  <a:lnTo>
                    <a:pt x="372" y="192"/>
                  </a:lnTo>
                  <a:lnTo>
                    <a:pt x="372" y="193"/>
                  </a:lnTo>
                  <a:lnTo>
                    <a:pt x="372" y="194"/>
                  </a:lnTo>
                  <a:lnTo>
                    <a:pt x="372" y="194"/>
                  </a:lnTo>
                  <a:lnTo>
                    <a:pt x="372" y="195"/>
                  </a:lnTo>
                  <a:lnTo>
                    <a:pt x="373" y="195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4" y="197"/>
                  </a:lnTo>
                  <a:lnTo>
                    <a:pt x="374" y="197"/>
                  </a:lnTo>
                  <a:lnTo>
                    <a:pt x="375" y="197"/>
                  </a:lnTo>
                  <a:lnTo>
                    <a:pt x="377" y="196"/>
                  </a:lnTo>
                  <a:lnTo>
                    <a:pt x="378" y="196"/>
                  </a:lnTo>
                  <a:lnTo>
                    <a:pt x="379" y="196"/>
                  </a:lnTo>
                  <a:lnTo>
                    <a:pt x="380" y="196"/>
                  </a:lnTo>
                  <a:lnTo>
                    <a:pt x="382" y="196"/>
                  </a:lnTo>
                  <a:lnTo>
                    <a:pt x="383" y="197"/>
                  </a:lnTo>
                  <a:lnTo>
                    <a:pt x="383" y="197"/>
                  </a:lnTo>
                  <a:lnTo>
                    <a:pt x="384" y="197"/>
                  </a:lnTo>
                  <a:lnTo>
                    <a:pt x="384" y="197"/>
                  </a:lnTo>
                  <a:lnTo>
                    <a:pt x="384" y="198"/>
                  </a:lnTo>
                  <a:lnTo>
                    <a:pt x="384" y="198"/>
                  </a:lnTo>
                  <a:lnTo>
                    <a:pt x="385" y="198"/>
                  </a:lnTo>
                  <a:lnTo>
                    <a:pt x="384" y="199"/>
                  </a:lnTo>
                  <a:lnTo>
                    <a:pt x="384" y="199"/>
                  </a:lnTo>
                  <a:lnTo>
                    <a:pt x="384" y="200"/>
                  </a:lnTo>
                  <a:lnTo>
                    <a:pt x="383" y="200"/>
                  </a:lnTo>
                  <a:lnTo>
                    <a:pt x="382" y="201"/>
                  </a:lnTo>
                  <a:lnTo>
                    <a:pt x="378" y="202"/>
                  </a:lnTo>
                  <a:lnTo>
                    <a:pt x="378" y="203"/>
                  </a:lnTo>
                  <a:lnTo>
                    <a:pt x="378" y="203"/>
                  </a:lnTo>
                  <a:lnTo>
                    <a:pt x="378" y="203"/>
                  </a:lnTo>
                  <a:lnTo>
                    <a:pt x="377" y="203"/>
                  </a:lnTo>
                  <a:lnTo>
                    <a:pt x="377" y="204"/>
                  </a:lnTo>
                  <a:lnTo>
                    <a:pt x="377" y="205"/>
                  </a:lnTo>
                  <a:lnTo>
                    <a:pt x="378" y="205"/>
                  </a:lnTo>
                  <a:lnTo>
                    <a:pt x="378" y="206"/>
                  </a:lnTo>
                  <a:lnTo>
                    <a:pt x="378" y="206"/>
                  </a:lnTo>
                  <a:lnTo>
                    <a:pt x="378" y="207"/>
                  </a:lnTo>
                  <a:lnTo>
                    <a:pt x="380" y="208"/>
                  </a:lnTo>
                  <a:lnTo>
                    <a:pt x="380" y="209"/>
                  </a:lnTo>
                  <a:lnTo>
                    <a:pt x="381" y="210"/>
                  </a:lnTo>
                  <a:lnTo>
                    <a:pt x="381" y="210"/>
                  </a:lnTo>
                  <a:lnTo>
                    <a:pt x="382" y="211"/>
                  </a:lnTo>
                  <a:lnTo>
                    <a:pt x="382" y="212"/>
                  </a:lnTo>
                  <a:lnTo>
                    <a:pt x="382" y="212"/>
                  </a:lnTo>
                  <a:lnTo>
                    <a:pt x="381" y="213"/>
                  </a:lnTo>
                  <a:lnTo>
                    <a:pt x="381" y="213"/>
                  </a:lnTo>
                  <a:lnTo>
                    <a:pt x="381" y="213"/>
                  </a:lnTo>
                  <a:lnTo>
                    <a:pt x="380" y="214"/>
                  </a:lnTo>
                  <a:lnTo>
                    <a:pt x="380" y="214"/>
                  </a:lnTo>
                  <a:lnTo>
                    <a:pt x="379" y="214"/>
                  </a:lnTo>
                  <a:lnTo>
                    <a:pt x="378" y="214"/>
                  </a:lnTo>
                  <a:lnTo>
                    <a:pt x="377" y="214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6"/>
                  </a:lnTo>
                  <a:lnTo>
                    <a:pt x="377" y="216"/>
                  </a:lnTo>
                  <a:lnTo>
                    <a:pt x="378" y="217"/>
                  </a:lnTo>
                  <a:lnTo>
                    <a:pt x="379" y="218"/>
                  </a:lnTo>
                  <a:lnTo>
                    <a:pt x="380" y="218"/>
                  </a:lnTo>
                  <a:lnTo>
                    <a:pt x="380" y="218"/>
                  </a:lnTo>
                  <a:lnTo>
                    <a:pt x="380" y="219"/>
                  </a:lnTo>
                  <a:lnTo>
                    <a:pt x="380" y="219"/>
                  </a:lnTo>
                  <a:lnTo>
                    <a:pt x="380" y="220"/>
                  </a:lnTo>
                  <a:lnTo>
                    <a:pt x="380" y="221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1" y="222"/>
                  </a:lnTo>
                  <a:lnTo>
                    <a:pt x="381" y="223"/>
                  </a:lnTo>
                  <a:lnTo>
                    <a:pt x="381" y="223"/>
                  </a:lnTo>
                  <a:lnTo>
                    <a:pt x="382" y="223"/>
                  </a:lnTo>
                  <a:lnTo>
                    <a:pt x="383" y="223"/>
                  </a:lnTo>
                  <a:lnTo>
                    <a:pt x="385" y="223"/>
                  </a:lnTo>
                  <a:lnTo>
                    <a:pt x="386" y="223"/>
                  </a:lnTo>
                  <a:lnTo>
                    <a:pt x="387" y="223"/>
                  </a:lnTo>
                  <a:lnTo>
                    <a:pt x="388" y="223"/>
                  </a:lnTo>
                  <a:lnTo>
                    <a:pt x="389" y="224"/>
                  </a:lnTo>
                  <a:lnTo>
                    <a:pt x="390" y="224"/>
                  </a:lnTo>
                  <a:lnTo>
                    <a:pt x="391" y="225"/>
                  </a:lnTo>
                  <a:lnTo>
                    <a:pt x="392" y="225"/>
                  </a:lnTo>
                  <a:lnTo>
                    <a:pt x="392" y="226"/>
                  </a:lnTo>
                  <a:lnTo>
                    <a:pt x="392" y="226"/>
                  </a:lnTo>
                  <a:lnTo>
                    <a:pt x="393" y="227"/>
                  </a:lnTo>
                  <a:lnTo>
                    <a:pt x="393" y="227"/>
                  </a:lnTo>
                  <a:lnTo>
                    <a:pt x="393" y="228"/>
                  </a:lnTo>
                  <a:lnTo>
                    <a:pt x="393" y="229"/>
                  </a:lnTo>
                  <a:lnTo>
                    <a:pt x="393" y="231"/>
                  </a:lnTo>
                  <a:lnTo>
                    <a:pt x="393" y="233"/>
                  </a:lnTo>
                  <a:lnTo>
                    <a:pt x="393" y="235"/>
                  </a:lnTo>
                  <a:lnTo>
                    <a:pt x="393" y="236"/>
                  </a:lnTo>
                  <a:lnTo>
                    <a:pt x="393" y="238"/>
                  </a:lnTo>
                  <a:lnTo>
                    <a:pt x="392" y="241"/>
                  </a:lnTo>
                  <a:lnTo>
                    <a:pt x="392" y="243"/>
                  </a:lnTo>
                  <a:lnTo>
                    <a:pt x="392" y="245"/>
                  </a:lnTo>
                  <a:lnTo>
                    <a:pt x="391" y="248"/>
                  </a:lnTo>
                  <a:lnTo>
                    <a:pt x="391" y="251"/>
                  </a:lnTo>
                  <a:lnTo>
                    <a:pt x="391" y="252"/>
                  </a:lnTo>
                  <a:lnTo>
                    <a:pt x="391" y="256"/>
                  </a:lnTo>
                  <a:lnTo>
                    <a:pt x="391" y="256"/>
                  </a:lnTo>
                  <a:lnTo>
                    <a:pt x="391" y="257"/>
                  </a:lnTo>
                  <a:lnTo>
                    <a:pt x="391" y="257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3" y="259"/>
                  </a:lnTo>
                  <a:lnTo>
                    <a:pt x="394" y="259"/>
                  </a:lnTo>
                  <a:lnTo>
                    <a:pt x="395" y="260"/>
                  </a:lnTo>
                  <a:lnTo>
                    <a:pt x="396" y="261"/>
                  </a:lnTo>
                  <a:lnTo>
                    <a:pt x="396" y="261"/>
                  </a:lnTo>
                  <a:lnTo>
                    <a:pt x="397" y="262"/>
                  </a:lnTo>
                  <a:lnTo>
                    <a:pt x="397" y="263"/>
                  </a:lnTo>
                  <a:lnTo>
                    <a:pt x="397" y="264"/>
                  </a:lnTo>
                  <a:lnTo>
                    <a:pt x="398" y="266"/>
                  </a:lnTo>
                  <a:lnTo>
                    <a:pt x="398" y="267"/>
                  </a:lnTo>
                  <a:lnTo>
                    <a:pt x="398" y="268"/>
                  </a:lnTo>
                  <a:lnTo>
                    <a:pt x="398" y="269"/>
                  </a:lnTo>
                  <a:lnTo>
                    <a:pt x="398" y="270"/>
                  </a:lnTo>
                  <a:lnTo>
                    <a:pt x="398" y="272"/>
                  </a:lnTo>
                  <a:lnTo>
                    <a:pt x="398" y="273"/>
                  </a:lnTo>
                  <a:lnTo>
                    <a:pt x="398" y="274"/>
                  </a:lnTo>
                  <a:lnTo>
                    <a:pt x="398" y="275"/>
                  </a:lnTo>
                  <a:lnTo>
                    <a:pt x="398" y="275"/>
                  </a:lnTo>
                  <a:lnTo>
                    <a:pt x="397" y="275"/>
                  </a:lnTo>
                  <a:lnTo>
                    <a:pt x="397" y="275"/>
                  </a:lnTo>
                  <a:lnTo>
                    <a:pt x="397" y="275"/>
                  </a:lnTo>
                  <a:lnTo>
                    <a:pt x="396" y="276"/>
                  </a:lnTo>
                  <a:lnTo>
                    <a:pt x="396" y="277"/>
                  </a:lnTo>
                  <a:lnTo>
                    <a:pt x="396" y="277"/>
                  </a:lnTo>
                  <a:lnTo>
                    <a:pt x="395" y="278"/>
                  </a:lnTo>
                  <a:lnTo>
                    <a:pt x="394" y="283"/>
                  </a:lnTo>
                  <a:lnTo>
                    <a:pt x="394" y="284"/>
                  </a:lnTo>
                  <a:lnTo>
                    <a:pt x="394" y="284"/>
                  </a:lnTo>
                  <a:lnTo>
                    <a:pt x="394" y="285"/>
                  </a:lnTo>
                  <a:lnTo>
                    <a:pt x="394" y="285"/>
                  </a:lnTo>
                  <a:lnTo>
                    <a:pt x="394" y="286"/>
                  </a:lnTo>
                  <a:lnTo>
                    <a:pt x="394" y="286"/>
                  </a:lnTo>
                  <a:lnTo>
                    <a:pt x="394" y="287"/>
                  </a:lnTo>
                  <a:lnTo>
                    <a:pt x="395" y="288"/>
                  </a:lnTo>
                  <a:lnTo>
                    <a:pt x="396" y="289"/>
                  </a:lnTo>
                  <a:lnTo>
                    <a:pt x="396" y="289"/>
                  </a:lnTo>
                  <a:lnTo>
                    <a:pt x="396" y="289"/>
                  </a:lnTo>
                  <a:lnTo>
                    <a:pt x="397" y="290"/>
                  </a:lnTo>
                  <a:lnTo>
                    <a:pt x="397" y="292"/>
                  </a:lnTo>
                  <a:lnTo>
                    <a:pt x="397" y="293"/>
                  </a:lnTo>
                  <a:lnTo>
                    <a:pt x="397" y="294"/>
                  </a:lnTo>
                  <a:lnTo>
                    <a:pt x="397" y="298"/>
                  </a:lnTo>
                  <a:lnTo>
                    <a:pt x="397" y="299"/>
                  </a:lnTo>
                  <a:lnTo>
                    <a:pt x="398" y="302"/>
                  </a:lnTo>
                  <a:lnTo>
                    <a:pt x="398" y="303"/>
                  </a:lnTo>
                  <a:lnTo>
                    <a:pt x="399" y="304"/>
                  </a:lnTo>
                  <a:lnTo>
                    <a:pt x="400" y="306"/>
                  </a:lnTo>
                  <a:lnTo>
                    <a:pt x="401" y="308"/>
                  </a:lnTo>
                  <a:lnTo>
                    <a:pt x="401" y="309"/>
                  </a:lnTo>
                  <a:lnTo>
                    <a:pt x="401" y="310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1" y="312"/>
                  </a:lnTo>
                  <a:lnTo>
                    <a:pt x="399" y="315"/>
                  </a:lnTo>
                  <a:lnTo>
                    <a:pt x="398" y="317"/>
                  </a:lnTo>
                  <a:lnTo>
                    <a:pt x="398" y="318"/>
                  </a:lnTo>
                  <a:lnTo>
                    <a:pt x="397" y="319"/>
                  </a:lnTo>
                  <a:lnTo>
                    <a:pt x="397" y="320"/>
                  </a:lnTo>
                  <a:lnTo>
                    <a:pt x="397" y="321"/>
                  </a:lnTo>
                  <a:lnTo>
                    <a:pt x="396" y="324"/>
                  </a:lnTo>
                  <a:lnTo>
                    <a:pt x="396" y="326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7" y="330"/>
                  </a:lnTo>
                  <a:lnTo>
                    <a:pt x="397" y="332"/>
                  </a:lnTo>
                  <a:lnTo>
                    <a:pt x="397" y="333"/>
                  </a:lnTo>
                  <a:lnTo>
                    <a:pt x="399" y="336"/>
                  </a:lnTo>
                  <a:lnTo>
                    <a:pt x="400" y="337"/>
                  </a:lnTo>
                  <a:lnTo>
                    <a:pt x="400" y="338"/>
                  </a:lnTo>
                  <a:lnTo>
                    <a:pt x="402" y="340"/>
                  </a:lnTo>
                  <a:lnTo>
                    <a:pt x="402" y="341"/>
                  </a:lnTo>
                  <a:lnTo>
                    <a:pt x="403" y="341"/>
                  </a:lnTo>
                  <a:lnTo>
                    <a:pt x="403" y="342"/>
                  </a:lnTo>
                  <a:lnTo>
                    <a:pt x="403" y="343"/>
                  </a:lnTo>
                  <a:lnTo>
                    <a:pt x="403" y="344"/>
                  </a:lnTo>
                  <a:lnTo>
                    <a:pt x="403" y="345"/>
                  </a:lnTo>
                  <a:lnTo>
                    <a:pt x="402" y="347"/>
                  </a:lnTo>
                  <a:lnTo>
                    <a:pt x="402" y="348"/>
                  </a:lnTo>
                  <a:lnTo>
                    <a:pt x="402" y="349"/>
                  </a:lnTo>
                  <a:lnTo>
                    <a:pt x="401" y="350"/>
                  </a:lnTo>
                  <a:lnTo>
                    <a:pt x="400" y="352"/>
                  </a:lnTo>
                  <a:lnTo>
                    <a:pt x="399" y="353"/>
                  </a:lnTo>
                  <a:lnTo>
                    <a:pt x="398" y="355"/>
                  </a:lnTo>
                  <a:lnTo>
                    <a:pt x="397" y="357"/>
                  </a:lnTo>
                  <a:lnTo>
                    <a:pt x="397" y="359"/>
                  </a:lnTo>
                  <a:lnTo>
                    <a:pt x="396" y="360"/>
                  </a:lnTo>
                  <a:lnTo>
                    <a:pt x="396" y="361"/>
                  </a:lnTo>
                  <a:lnTo>
                    <a:pt x="395" y="361"/>
                  </a:lnTo>
                  <a:lnTo>
                    <a:pt x="395" y="362"/>
                  </a:lnTo>
                  <a:lnTo>
                    <a:pt x="392" y="364"/>
                  </a:lnTo>
                  <a:lnTo>
                    <a:pt x="390" y="366"/>
                  </a:lnTo>
                  <a:lnTo>
                    <a:pt x="388" y="366"/>
                  </a:lnTo>
                  <a:lnTo>
                    <a:pt x="388" y="367"/>
                  </a:lnTo>
                  <a:lnTo>
                    <a:pt x="386" y="369"/>
                  </a:lnTo>
                  <a:lnTo>
                    <a:pt x="385" y="370"/>
                  </a:lnTo>
                  <a:lnTo>
                    <a:pt x="385" y="370"/>
                  </a:lnTo>
                  <a:lnTo>
                    <a:pt x="385" y="371"/>
                  </a:lnTo>
                  <a:lnTo>
                    <a:pt x="385" y="372"/>
                  </a:lnTo>
                  <a:lnTo>
                    <a:pt x="384" y="373"/>
                  </a:lnTo>
                  <a:lnTo>
                    <a:pt x="384" y="374"/>
                  </a:lnTo>
                  <a:lnTo>
                    <a:pt x="384" y="375"/>
                  </a:lnTo>
                  <a:lnTo>
                    <a:pt x="384" y="376"/>
                  </a:lnTo>
                  <a:lnTo>
                    <a:pt x="385" y="377"/>
                  </a:lnTo>
                  <a:lnTo>
                    <a:pt x="385" y="378"/>
                  </a:lnTo>
                  <a:lnTo>
                    <a:pt x="385" y="378"/>
                  </a:lnTo>
                  <a:lnTo>
                    <a:pt x="385" y="379"/>
                  </a:lnTo>
                  <a:lnTo>
                    <a:pt x="384" y="380"/>
                  </a:lnTo>
                  <a:lnTo>
                    <a:pt x="384" y="380"/>
                  </a:lnTo>
                  <a:lnTo>
                    <a:pt x="384" y="381"/>
                  </a:lnTo>
                  <a:lnTo>
                    <a:pt x="383" y="381"/>
                  </a:lnTo>
                  <a:lnTo>
                    <a:pt x="383" y="382"/>
                  </a:lnTo>
                  <a:lnTo>
                    <a:pt x="383" y="382"/>
                  </a:lnTo>
                  <a:lnTo>
                    <a:pt x="382" y="382"/>
                  </a:lnTo>
                  <a:lnTo>
                    <a:pt x="382" y="383"/>
                  </a:lnTo>
                  <a:lnTo>
                    <a:pt x="380" y="384"/>
                  </a:lnTo>
                  <a:lnTo>
                    <a:pt x="379" y="384"/>
                  </a:lnTo>
                  <a:lnTo>
                    <a:pt x="379" y="384"/>
                  </a:lnTo>
                  <a:lnTo>
                    <a:pt x="379" y="385"/>
                  </a:lnTo>
                  <a:lnTo>
                    <a:pt x="378" y="385"/>
                  </a:lnTo>
                  <a:lnTo>
                    <a:pt x="378" y="385"/>
                  </a:lnTo>
                  <a:lnTo>
                    <a:pt x="378" y="386"/>
                  </a:lnTo>
                  <a:lnTo>
                    <a:pt x="378" y="386"/>
                  </a:lnTo>
                  <a:lnTo>
                    <a:pt x="378" y="387"/>
                  </a:lnTo>
                  <a:lnTo>
                    <a:pt x="378" y="387"/>
                  </a:lnTo>
                  <a:lnTo>
                    <a:pt x="378" y="388"/>
                  </a:lnTo>
                  <a:lnTo>
                    <a:pt x="378" y="389"/>
                  </a:lnTo>
                  <a:lnTo>
                    <a:pt x="379" y="389"/>
                  </a:lnTo>
                  <a:lnTo>
                    <a:pt x="379" y="390"/>
                  </a:lnTo>
                  <a:lnTo>
                    <a:pt x="379" y="390"/>
                  </a:lnTo>
                  <a:lnTo>
                    <a:pt x="380" y="391"/>
                  </a:lnTo>
                  <a:lnTo>
                    <a:pt x="380" y="392"/>
                  </a:lnTo>
                  <a:lnTo>
                    <a:pt x="381" y="392"/>
                  </a:lnTo>
                  <a:lnTo>
                    <a:pt x="383" y="393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5"/>
                  </a:lnTo>
                  <a:lnTo>
                    <a:pt x="383" y="396"/>
                  </a:lnTo>
                  <a:lnTo>
                    <a:pt x="383" y="397"/>
                  </a:lnTo>
                  <a:lnTo>
                    <a:pt x="382" y="397"/>
                  </a:lnTo>
                  <a:lnTo>
                    <a:pt x="382" y="398"/>
                  </a:lnTo>
                  <a:lnTo>
                    <a:pt x="382" y="398"/>
                  </a:lnTo>
                  <a:lnTo>
                    <a:pt x="381" y="398"/>
                  </a:lnTo>
                  <a:lnTo>
                    <a:pt x="381" y="399"/>
                  </a:lnTo>
                  <a:lnTo>
                    <a:pt x="379" y="399"/>
                  </a:lnTo>
                  <a:lnTo>
                    <a:pt x="379" y="400"/>
                  </a:lnTo>
                  <a:lnTo>
                    <a:pt x="378" y="400"/>
                  </a:lnTo>
                  <a:lnTo>
                    <a:pt x="377" y="402"/>
                  </a:lnTo>
                  <a:lnTo>
                    <a:pt x="376" y="403"/>
                  </a:lnTo>
                  <a:lnTo>
                    <a:pt x="375" y="403"/>
                  </a:lnTo>
                  <a:lnTo>
                    <a:pt x="375" y="404"/>
                  </a:lnTo>
                  <a:lnTo>
                    <a:pt x="375" y="405"/>
                  </a:lnTo>
                  <a:lnTo>
                    <a:pt x="374" y="405"/>
                  </a:lnTo>
                  <a:lnTo>
                    <a:pt x="374" y="406"/>
                  </a:lnTo>
                  <a:lnTo>
                    <a:pt x="374" y="407"/>
                  </a:lnTo>
                  <a:lnTo>
                    <a:pt x="374" y="407"/>
                  </a:lnTo>
                  <a:lnTo>
                    <a:pt x="374" y="408"/>
                  </a:lnTo>
                  <a:lnTo>
                    <a:pt x="374" y="409"/>
                  </a:lnTo>
                  <a:lnTo>
                    <a:pt x="375" y="410"/>
                  </a:lnTo>
                  <a:lnTo>
                    <a:pt x="376" y="412"/>
                  </a:lnTo>
                  <a:lnTo>
                    <a:pt x="376" y="413"/>
                  </a:lnTo>
                  <a:lnTo>
                    <a:pt x="378" y="415"/>
                  </a:lnTo>
                  <a:lnTo>
                    <a:pt x="378" y="416"/>
                  </a:lnTo>
                  <a:lnTo>
                    <a:pt x="378" y="416"/>
                  </a:lnTo>
                  <a:lnTo>
                    <a:pt x="379" y="417"/>
                  </a:lnTo>
                  <a:lnTo>
                    <a:pt x="379" y="418"/>
                  </a:lnTo>
                  <a:lnTo>
                    <a:pt x="379" y="419"/>
                  </a:lnTo>
                  <a:lnTo>
                    <a:pt x="379" y="420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2"/>
                  </a:lnTo>
                  <a:lnTo>
                    <a:pt x="378" y="423"/>
                  </a:lnTo>
                  <a:lnTo>
                    <a:pt x="377" y="424"/>
                  </a:lnTo>
                  <a:lnTo>
                    <a:pt x="376" y="425"/>
                  </a:lnTo>
                  <a:lnTo>
                    <a:pt x="375" y="426"/>
                  </a:lnTo>
                  <a:lnTo>
                    <a:pt x="375" y="427"/>
                  </a:lnTo>
                  <a:lnTo>
                    <a:pt x="374" y="428"/>
                  </a:lnTo>
                  <a:lnTo>
                    <a:pt x="374" y="429"/>
                  </a:lnTo>
                  <a:lnTo>
                    <a:pt x="373" y="432"/>
                  </a:lnTo>
                  <a:lnTo>
                    <a:pt x="372" y="435"/>
                  </a:lnTo>
                  <a:lnTo>
                    <a:pt x="372" y="436"/>
                  </a:lnTo>
                  <a:lnTo>
                    <a:pt x="371" y="436"/>
                  </a:lnTo>
                  <a:lnTo>
                    <a:pt x="371" y="436"/>
                  </a:lnTo>
                  <a:lnTo>
                    <a:pt x="371" y="436"/>
                  </a:lnTo>
                  <a:lnTo>
                    <a:pt x="370" y="437"/>
                  </a:lnTo>
                  <a:lnTo>
                    <a:pt x="367" y="438"/>
                  </a:lnTo>
                  <a:lnTo>
                    <a:pt x="366" y="439"/>
                  </a:lnTo>
                  <a:lnTo>
                    <a:pt x="364" y="439"/>
                  </a:lnTo>
                  <a:lnTo>
                    <a:pt x="364" y="440"/>
                  </a:lnTo>
                  <a:lnTo>
                    <a:pt x="361" y="442"/>
                  </a:lnTo>
                  <a:lnTo>
                    <a:pt x="359" y="443"/>
                  </a:lnTo>
                  <a:lnTo>
                    <a:pt x="358" y="444"/>
                  </a:lnTo>
                  <a:lnTo>
                    <a:pt x="357" y="445"/>
                  </a:lnTo>
                  <a:lnTo>
                    <a:pt x="356" y="445"/>
                  </a:lnTo>
                  <a:lnTo>
                    <a:pt x="355" y="445"/>
                  </a:lnTo>
                  <a:lnTo>
                    <a:pt x="355" y="445"/>
                  </a:lnTo>
                  <a:lnTo>
                    <a:pt x="354" y="446"/>
                  </a:lnTo>
                  <a:lnTo>
                    <a:pt x="353" y="446"/>
                  </a:lnTo>
                  <a:lnTo>
                    <a:pt x="352" y="446"/>
                  </a:lnTo>
                  <a:lnTo>
                    <a:pt x="351" y="446"/>
                  </a:lnTo>
                  <a:lnTo>
                    <a:pt x="350" y="445"/>
                  </a:lnTo>
                  <a:lnTo>
                    <a:pt x="347" y="445"/>
                  </a:lnTo>
                  <a:lnTo>
                    <a:pt x="346" y="445"/>
                  </a:lnTo>
                  <a:lnTo>
                    <a:pt x="345" y="445"/>
                  </a:lnTo>
                  <a:lnTo>
                    <a:pt x="345" y="445"/>
                  </a:lnTo>
                  <a:lnTo>
                    <a:pt x="344" y="445"/>
                  </a:lnTo>
                  <a:lnTo>
                    <a:pt x="344" y="445"/>
                  </a:lnTo>
                  <a:lnTo>
                    <a:pt x="344" y="445"/>
                  </a:lnTo>
                  <a:lnTo>
                    <a:pt x="344" y="446"/>
                  </a:lnTo>
                  <a:lnTo>
                    <a:pt x="343" y="450"/>
                  </a:lnTo>
                  <a:lnTo>
                    <a:pt x="343" y="452"/>
                  </a:lnTo>
                  <a:lnTo>
                    <a:pt x="342" y="454"/>
                  </a:lnTo>
                  <a:lnTo>
                    <a:pt x="342" y="457"/>
                  </a:lnTo>
                  <a:lnTo>
                    <a:pt x="342" y="459"/>
                  </a:lnTo>
                  <a:lnTo>
                    <a:pt x="342" y="460"/>
                  </a:lnTo>
                  <a:lnTo>
                    <a:pt x="341" y="463"/>
                  </a:lnTo>
                  <a:lnTo>
                    <a:pt x="341" y="464"/>
                  </a:lnTo>
                  <a:lnTo>
                    <a:pt x="341" y="464"/>
                  </a:lnTo>
                  <a:lnTo>
                    <a:pt x="341" y="465"/>
                  </a:lnTo>
                  <a:lnTo>
                    <a:pt x="341" y="466"/>
                  </a:lnTo>
                  <a:lnTo>
                    <a:pt x="341" y="468"/>
                  </a:lnTo>
                  <a:lnTo>
                    <a:pt x="343" y="470"/>
                  </a:lnTo>
                  <a:lnTo>
                    <a:pt x="343" y="472"/>
                  </a:lnTo>
                  <a:lnTo>
                    <a:pt x="343" y="473"/>
                  </a:lnTo>
                  <a:lnTo>
                    <a:pt x="344" y="477"/>
                  </a:lnTo>
                  <a:lnTo>
                    <a:pt x="344" y="479"/>
                  </a:lnTo>
                  <a:lnTo>
                    <a:pt x="344" y="480"/>
                  </a:lnTo>
                  <a:lnTo>
                    <a:pt x="344" y="481"/>
                  </a:lnTo>
                  <a:lnTo>
                    <a:pt x="344" y="482"/>
                  </a:lnTo>
                  <a:lnTo>
                    <a:pt x="344" y="483"/>
                  </a:lnTo>
                  <a:lnTo>
                    <a:pt x="344" y="484"/>
                  </a:lnTo>
                  <a:lnTo>
                    <a:pt x="344" y="484"/>
                  </a:lnTo>
                  <a:lnTo>
                    <a:pt x="343" y="485"/>
                  </a:lnTo>
                  <a:lnTo>
                    <a:pt x="343" y="486"/>
                  </a:lnTo>
                  <a:lnTo>
                    <a:pt x="343" y="486"/>
                  </a:lnTo>
                  <a:lnTo>
                    <a:pt x="342" y="487"/>
                  </a:lnTo>
                  <a:lnTo>
                    <a:pt x="341" y="487"/>
                  </a:lnTo>
                  <a:lnTo>
                    <a:pt x="340" y="488"/>
                  </a:lnTo>
                  <a:lnTo>
                    <a:pt x="340" y="489"/>
                  </a:lnTo>
                  <a:lnTo>
                    <a:pt x="339" y="489"/>
                  </a:lnTo>
                  <a:lnTo>
                    <a:pt x="337" y="490"/>
                  </a:lnTo>
                  <a:lnTo>
                    <a:pt x="336" y="490"/>
                  </a:lnTo>
                  <a:lnTo>
                    <a:pt x="335" y="491"/>
                  </a:lnTo>
                  <a:lnTo>
                    <a:pt x="335" y="491"/>
                  </a:lnTo>
                  <a:lnTo>
                    <a:pt x="334" y="492"/>
                  </a:lnTo>
                  <a:lnTo>
                    <a:pt x="334" y="492"/>
                  </a:lnTo>
                  <a:lnTo>
                    <a:pt x="333" y="493"/>
                  </a:lnTo>
                  <a:lnTo>
                    <a:pt x="332" y="494"/>
                  </a:lnTo>
                  <a:lnTo>
                    <a:pt x="331" y="495"/>
                  </a:lnTo>
                  <a:lnTo>
                    <a:pt x="330" y="497"/>
                  </a:lnTo>
                  <a:lnTo>
                    <a:pt x="329" y="500"/>
                  </a:lnTo>
                  <a:lnTo>
                    <a:pt x="328" y="501"/>
                  </a:lnTo>
                  <a:lnTo>
                    <a:pt x="328" y="502"/>
                  </a:lnTo>
                  <a:lnTo>
                    <a:pt x="328" y="503"/>
                  </a:lnTo>
                  <a:lnTo>
                    <a:pt x="327" y="505"/>
                  </a:lnTo>
                  <a:lnTo>
                    <a:pt x="327" y="507"/>
                  </a:lnTo>
                  <a:lnTo>
                    <a:pt x="326" y="509"/>
                  </a:lnTo>
                  <a:lnTo>
                    <a:pt x="326" y="510"/>
                  </a:lnTo>
                  <a:lnTo>
                    <a:pt x="326" y="512"/>
                  </a:lnTo>
                  <a:lnTo>
                    <a:pt x="326" y="513"/>
                  </a:lnTo>
                  <a:lnTo>
                    <a:pt x="326" y="515"/>
                  </a:lnTo>
                  <a:lnTo>
                    <a:pt x="326" y="516"/>
                  </a:lnTo>
                  <a:lnTo>
                    <a:pt x="326" y="517"/>
                  </a:lnTo>
                  <a:lnTo>
                    <a:pt x="326" y="518"/>
                  </a:lnTo>
                  <a:lnTo>
                    <a:pt x="326" y="519"/>
                  </a:lnTo>
                  <a:lnTo>
                    <a:pt x="326" y="520"/>
                  </a:lnTo>
                  <a:lnTo>
                    <a:pt x="327" y="521"/>
                  </a:lnTo>
                  <a:lnTo>
                    <a:pt x="328" y="525"/>
                  </a:lnTo>
                  <a:lnTo>
                    <a:pt x="328" y="526"/>
                  </a:lnTo>
                  <a:lnTo>
                    <a:pt x="328" y="526"/>
                  </a:lnTo>
                  <a:lnTo>
                    <a:pt x="328" y="526"/>
                  </a:lnTo>
                  <a:lnTo>
                    <a:pt x="327" y="526"/>
                  </a:lnTo>
                  <a:lnTo>
                    <a:pt x="326" y="525"/>
                  </a:lnTo>
                  <a:lnTo>
                    <a:pt x="326" y="525"/>
                  </a:lnTo>
                  <a:lnTo>
                    <a:pt x="325" y="525"/>
                  </a:lnTo>
                  <a:lnTo>
                    <a:pt x="323" y="526"/>
                  </a:lnTo>
                  <a:lnTo>
                    <a:pt x="323" y="526"/>
                  </a:lnTo>
                  <a:lnTo>
                    <a:pt x="321" y="526"/>
                  </a:lnTo>
                  <a:lnTo>
                    <a:pt x="320" y="527"/>
                  </a:lnTo>
                  <a:lnTo>
                    <a:pt x="320" y="527"/>
                  </a:lnTo>
                  <a:lnTo>
                    <a:pt x="319" y="528"/>
                  </a:lnTo>
                  <a:lnTo>
                    <a:pt x="318" y="528"/>
                  </a:lnTo>
                  <a:lnTo>
                    <a:pt x="317" y="529"/>
                  </a:lnTo>
                  <a:lnTo>
                    <a:pt x="317" y="530"/>
                  </a:lnTo>
                  <a:lnTo>
                    <a:pt x="316" y="530"/>
                  </a:lnTo>
                  <a:lnTo>
                    <a:pt x="316" y="531"/>
                  </a:lnTo>
                  <a:lnTo>
                    <a:pt x="314" y="534"/>
                  </a:lnTo>
                  <a:lnTo>
                    <a:pt x="314" y="534"/>
                  </a:lnTo>
                  <a:lnTo>
                    <a:pt x="314" y="535"/>
                  </a:lnTo>
                  <a:lnTo>
                    <a:pt x="313" y="535"/>
                  </a:lnTo>
                  <a:lnTo>
                    <a:pt x="313" y="535"/>
                  </a:lnTo>
                  <a:lnTo>
                    <a:pt x="313" y="535"/>
                  </a:lnTo>
                  <a:lnTo>
                    <a:pt x="312" y="536"/>
                  </a:lnTo>
                  <a:lnTo>
                    <a:pt x="311" y="536"/>
                  </a:lnTo>
                  <a:lnTo>
                    <a:pt x="310" y="536"/>
                  </a:lnTo>
                  <a:lnTo>
                    <a:pt x="310" y="535"/>
                  </a:lnTo>
                  <a:lnTo>
                    <a:pt x="309" y="535"/>
                  </a:lnTo>
                  <a:lnTo>
                    <a:pt x="309" y="535"/>
                  </a:lnTo>
                  <a:lnTo>
                    <a:pt x="307" y="534"/>
                  </a:lnTo>
                  <a:lnTo>
                    <a:pt x="304" y="532"/>
                  </a:lnTo>
                  <a:lnTo>
                    <a:pt x="303" y="531"/>
                  </a:lnTo>
                  <a:lnTo>
                    <a:pt x="300" y="529"/>
                  </a:lnTo>
                  <a:lnTo>
                    <a:pt x="296" y="526"/>
                  </a:lnTo>
                  <a:lnTo>
                    <a:pt x="294" y="525"/>
                  </a:lnTo>
                  <a:lnTo>
                    <a:pt x="292" y="523"/>
                  </a:lnTo>
                  <a:lnTo>
                    <a:pt x="291" y="522"/>
                  </a:lnTo>
                  <a:lnTo>
                    <a:pt x="290" y="521"/>
                  </a:lnTo>
                  <a:lnTo>
                    <a:pt x="288" y="520"/>
                  </a:lnTo>
                  <a:lnTo>
                    <a:pt x="287" y="519"/>
                  </a:lnTo>
                  <a:lnTo>
                    <a:pt x="287" y="518"/>
                  </a:lnTo>
                  <a:lnTo>
                    <a:pt x="286" y="517"/>
                  </a:lnTo>
                  <a:lnTo>
                    <a:pt x="286" y="516"/>
                  </a:lnTo>
                  <a:lnTo>
                    <a:pt x="285" y="515"/>
                  </a:lnTo>
                  <a:lnTo>
                    <a:pt x="285" y="513"/>
                  </a:lnTo>
                  <a:lnTo>
                    <a:pt x="285" y="512"/>
                  </a:lnTo>
                  <a:lnTo>
                    <a:pt x="284" y="508"/>
                  </a:lnTo>
                  <a:lnTo>
                    <a:pt x="284" y="504"/>
                  </a:lnTo>
                  <a:lnTo>
                    <a:pt x="284" y="500"/>
                  </a:lnTo>
                  <a:lnTo>
                    <a:pt x="283" y="499"/>
                  </a:lnTo>
                  <a:lnTo>
                    <a:pt x="283" y="496"/>
                  </a:lnTo>
                  <a:lnTo>
                    <a:pt x="283" y="495"/>
                  </a:lnTo>
                  <a:lnTo>
                    <a:pt x="282" y="493"/>
                  </a:lnTo>
                  <a:lnTo>
                    <a:pt x="281" y="490"/>
                  </a:lnTo>
                  <a:lnTo>
                    <a:pt x="281" y="488"/>
                  </a:lnTo>
                  <a:lnTo>
                    <a:pt x="281" y="487"/>
                  </a:lnTo>
                  <a:lnTo>
                    <a:pt x="280" y="487"/>
                  </a:lnTo>
                  <a:lnTo>
                    <a:pt x="280" y="486"/>
                  </a:lnTo>
                  <a:lnTo>
                    <a:pt x="279" y="485"/>
                  </a:lnTo>
                  <a:lnTo>
                    <a:pt x="276" y="482"/>
                  </a:lnTo>
                  <a:lnTo>
                    <a:pt x="274" y="479"/>
                  </a:lnTo>
                  <a:lnTo>
                    <a:pt x="271" y="475"/>
                  </a:lnTo>
                  <a:lnTo>
                    <a:pt x="267" y="470"/>
                  </a:lnTo>
                  <a:lnTo>
                    <a:pt x="266" y="469"/>
                  </a:lnTo>
                  <a:lnTo>
                    <a:pt x="264" y="467"/>
                  </a:lnTo>
                  <a:lnTo>
                    <a:pt x="263" y="466"/>
                  </a:lnTo>
                  <a:lnTo>
                    <a:pt x="262" y="465"/>
                  </a:lnTo>
                  <a:lnTo>
                    <a:pt x="261" y="464"/>
                  </a:lnTo>
                  <a:lnTo>
                    <a:pt x="259" y="462"/>
                  </a:lnTo>
                  <a:lnTo>
                    <a:pt x="258" y="461"/>
                  </a:lnTo>
                  <a:lnTo>
                    <a:pt x="257" y="460"/>
                  </a:lnTo>
                  <a:lnTo>
                    <a:pt x="255" y="459"/>
                  </a:lnTo>
                  <a:lnTo>
                    <a:pt x="254" y="458"/>
                  </a:lnTo>
                  <a:lnTo>
                    <a:pt x="252" y="457"/>
                  </a:lnTo>
                  <a:lnTo>
                    <a:pt x="250" y="456"/>
                  </a:lnTo>
                  <a:lnTo>
                    <a:pt x="250" y="456"/>
                  </a:lnTo>
                  <a:lnTo>
                    <a:pt x="248" y="456"/>
                  </a:lnTo>
                  <a:lnTo>
                    <a:pt x="247" y="455"/>
                  </a:lnTo>
                  <a:lnTo>
                    <a:pt x="245" y="455"/>
                  </a:lnTo>
                  <a:lnTo>
                    <a:pt x="244" y="455"/>
                  </a:lnTo>
                  <a:lnTo>
                    <a:pt x="242" y="455"/>
                  </a:lnTo>
                  <a:lnTo>
                    <a:pt x="238" y="455"/>
                  </a:lnTo>
                  <a:lnTo>
                    <a:pt x="235" y="455"/>
                  </a:lnTo>
                  <a:lnTo>
                    <a:pt x="234" y="455"/>
                  </a:lnTo>
                  <a:lnTo>
                    <a:pt x="233" y="455"/>
                  </a:lnTo>
                  <a:lnTo>
                    <a:pt x="232" y="454"/>
                  </a:lnTo>
                  <a:lnTo>
                    <a:pt x="231" y="454"/>
                  </a:lnTo>
                  <a:lnTo>
                    <a:pt x="229" y="453"/>
                  </a:lnTo>
                  <a:lnTo>
                    <a:pt x="228" y="453"/>
                  </a:lnTo>
                  <a:lnTo>
                    <a:pt x="227" y="452"/>
                  </a:lnTo>
                  <a:lnTo>
                    <a:pt x="225" y="451"/>
                  </a:lnTo>
                  <a:lnTo>
                    <a:pt x="223" y="450"/>
                  </a:lnTo>
                  <a:lnTo>
                    <a:pt x="223" y="450"/>
                  </a:lnTo>
                  <a:lnTo>
                    <a:pt x="221" y="448"/>
                  </a:lnTo>
                  <a:lnTo>
                    <a:pt x="220" y="447"/>
                  </a:lnTo>
                  <a:lnTo>
                    <a:pt x="219" y="446"/>
                  </a:lnTo>
                  <a:lnTo>
                    <a:pt x="218" y="445"/>
                  </a:lnTo>
                  <a:lnTo>
                    <a:pt x="218" y="445"/>
                  </a:lnTo>
                  <a:lnTo>
                    <a:pt x="217" y="443"/>
                  </a:lnTo>
                  <a:lnTo>
                    <a:pt x="217" y="442"/>
                  </a:lnTo>
                  <a:lnTo>
                    <a:pt x="216" y="441"/>
                  </a:lnTo>
                  <a:lnTo>
                    <a:pt x="216" y="440"/>
                  </a:lnTo>
                  <a:lnTo>
                    <a:pt x="215" y="435"/>
                  </a:lnTo>
                  <a:lnTo>
                    <a:pt x="215" y="433"/>
                  </a:lnTo>
                  <a:lnTo>
                    <a:pt x="214" y="432"/>
                  </a:lnTo>
                  <a:lnTo>
                    <a:pt x="214" y="431"/>
                  </a:lnTo>
                  <a:lnTo>
                    <a:pt x="214" y="430"/>
                  </a:lnTo>
                  <a:lnTo>
                    <a:pt x="213" y="429"/>
                  </a:lnTo>
                  <a:lnTo>
                    <a:pt x="213" y="429"/>
                  </a:lnTo>
                  <a:lnTo>
                    <a:pt x="212" y="428"/>
                  </a:lnTo>
                  <a:lnTo>
                    <a:pt x="209" y="425"/>
                  </a:lnTo>
                  <a:lnTo>
                    <a:pt x="206" y="421"/>
                  </a:lnTo>
                  <a:lnTo>
                    <a:pt x="201" y="416"/>
                  </a:lnTo>
                  <a:lnTo>
                    <a:pt x="200" y="415"/>
                  </a:lnTo>
                  <a:lnTo>
                    <a:pt x="200" y="415"/>
                  </a:lnTo>
                  <a:lnTo>
                    <a:pt x="199" y="414"/>
                  </a:lnTo>
                  <a:lnTo>
                    <a:pt x="199" y="413"/>
                  </a:lnTo>
                  <a:lnTo>
                    <a:pt x="198" y="412"/>
                  </a:lnTo>
                  <a:lnTo>
                    <a:pt x="197" y="409"/>
                  </a:lnTo>
                  <a:lnTo>
                    <a:pt x="196" y="408"/>
                  </a:lnTo>
                  <a:lnTo>
                    <a:pt x="195" y="406"/>
                  </a:lnTo>
                  <a:lnTo>
                    <a:pt x="193" y="403"/>
                  </a:lnTo>
                  <a:lnTo>
                    <a:pt x="192" y="402"/>
                  </a:lnTo>
                  <a:lnTo>
                    <a:pt x="191" y="401"/>
                  </a:lnTo>
                  <a:lnTo>
                    <a:pt x="189" y="398"/>
                  </a:lnTo>
                  <a:lnTo>
                    <a:pt x="189" y="397"/>
                  </a:lnTo>
                  <a:lnTo>
                    <a:pt x="188" y="396"/>
                  </a:lnTo>
                  <a:lnTo>
                    <a:pt x="188" y="395"/>
                  </a:lnTo>
                  <a:lnTo>
                    <a:pt x="187" y="395"/>
                  </a:lnTo>
                  <a:lnTo>
                    <a:pt x="184" y="392"/>
                  </a:lnTo>
                  <a:lnTo>
                    <a:pt x="183" y="391"/>
                  </a:lnTo>
                  <a:lnTo>
                    <a:pt x="182" y="390"/>
                  </a:lnTo>
                  <a:lnTo>
                    <a:pt x="181" y="388"/>
                  </a:lnTo>
                  <a:lnTo>
                    <a:pt x="180" y="387"/>
                  </a:lnTo>
                  <a:lnTo>
                    <a:pt x="179" y="387"/>
                  </a:lnTo>
                  <a:lnTo>
                    <a:pt x="177" y="384"/>
                  </a:lnTo>
                  <a:lnTo>
                    <a:pt x="176" y="384"/>
                  </a:lnTo>
                  <a:lnTo>
                    <a:pt x="176" y="383"/>
                  </a:lnTo>
                  <a:lnTo>
                    <a:pt x="175" y="382"/>
                  </a:lnTo>
                  <a:lnTo>
                    <a:pt x="175" y="381"/>
                  </a:lnTo>
                  <a:lnTo>
                    <a:pt x="174" y="380"/>
                  </a:lnTo>
                  <a:lnTo>
                    <a:pt x="174" y="379"/>
                  </a:lnTo>
                  <a:lnTo>
                    <a:pt x="174" y="378"/>
                  </a:lnTo>
                  <a:lnTo>
                    <a:pt x="173" y="374"/>
                  </a:lnTo>
                  <a:lnTo>
                    <a:pt x="173" y="372"/>
                  </a:lnTo>
                  <a:lnTo>
                    <a:pt x="173" y="371"/>
                  </a:lnTo>
                  <a:lnTo>
                    <a:pt x="172" y="370"/>
                  </a:lnTo>
                  <a:lnTo>
                    <a:pt x="172" y="369"/>
                  </a:lnTo>
                  <a:lnTo>
                    <a:pt x="171" y="369"/>
                  </a:lnTo>
                  <a:lnTo>
                    <a:pt x="171" y="368"/>
                  </a:lnTo>
                  <a:lnTo>
                    <a:pt x="170" y="367"/>
                  </a:lnTo>
                  <a:lnTo>
                    <a:pt x="168" y="365"/>
                  </a:lnTo>
                  <a:lnTo>
                    <a:pt x="165" y="362"/>
                  </a:lnTo>
                  <a:lnTo>
                    <a:pt x="162" y="358"/>
                  </a:lnTo>
                  <a:lnTo>
                    <a:pt x="160" y="357"/>
                  </a:lnTo>
                  <a:lnTo>
                    <a:pt x="159" y="355"/>
                  </a:lnTo>
                  <a:lnTo>
                    <a:pt x="158" y="354"/>
                  </a:lnTo>
                  <a:lnTo>
                    <a:pt x="156" y="353"/>
                  </a:lnTo>
                  <a:lnTo>
                    <a:pt x="155" y="353"/>
                  </a:lnTo>
                  <a:lnTo>
                    <a:pt x="155" y="352"/>
                  </a:lnTo>
                  <a:lnTo>
                    <a:pt x="153" y="351"/>
                  </a:lnTo>
                  <a:lnTo>
                    <a:pt x="151" y="350"/>
                  </a:lnTo>
                  <a:lnTo>
                    <a:pt x="150" y="350"/>
                  </a:lnTo>
                  <a:lnTo>
                    <a:pt x="149" y="349"/>
                  </a:lnTo>
                  <a:lnTo>
                    <a:pt x="148" y="349"/>
                  </a:lnTo>
                  <a:lnTo>
                    <a:pt x="145" y="348"/>
                  </a:lnTo>
                  <a:lnTo>
                    <a:pt x="143" y="347"/>
                  </a:lnTo>
                  <a:lnTo>
                    <a:pt x="138" y="346"/>
                  </a:lnTo>
                  <a:lnTo>
                    <a:pt x="136" y="346"/>
                  </a:lnTo>
                  <a:lnTo>
                    <a:pt x="134" y="346"/>
                  </a:lnTo>
                  <a:lnTo>
                    <a:pt x="134" y="346"/>
                  </a:lnTo>
                  <a:lnTo>
                    <a:pt x="133" y="346"/>
                  </a:lnTo>
                  <a:lnTo>
                    <a:pt x="133" y="346"/>
                  </a:lnTo>
                  <a:lnTo>
                    <a:pt x="132" y="346"/>
                  </a:lnTo>
                  <a:lnTo>
                    <a:pt x="131" y="347"/>
                  </a:lnTo>
                  <a:lnTo>
                    <a:pt x="131" y="347"/>
                  </a:lnTo>
                  <a:lnTo>
                    <a:pt x="131" y="348"/>
                  </a:lnTo>
                  <a:lnTo>
                    <a:pt x="130" y="349"/>
                  </a:lnTo>
                  <a:lnTo>
                    <a:pt x="129" y="350"/>
                  </a:lnTo>
                  <a:lnTo>
                    <a:pt x="129" y="350"/>
                  </a:lnTo>
                  <a:lnTo>
                    <a:pt x="129" y="350"/>
                  </a:lnTo>
                  <a:lnTo>
                    <a:pt x="128" y="350"/>
                  </a:lnTo>
                  <a:lnTo>
                    <a:pt x="127" y="351"/>
                  </a:lnTo>
                  <a:lnTo>
                    <a:pt x="127" y="351"/>
                  </a:lnTo>
                  <a:lnTo>
                    <a:pt x="126" y="350"/>
                  </a:lnTo>
                  <a:lnTo>
                    <a:pt x="125" y="350"/>
                  </a:lnTo>
                  <a:lnTo>
                    <a:pt x="122" y="350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7" y="348"/>
                  </a:lnTo>
                  <a:lnTo>
                    <a:pt x="114" y="348"/>
                  </a:lnTo>
                  <a:lnTo>
                    <a:pt x="112" y="348"/>
                  </a:lnTo>
                  <a:lnTo>
                    <a:pt x="110" y="348"/>
                  </a:lnTo>
                  <a:lnTo>
                    <a:pt x="109" y="348"/>
                  </a:lnTo>
                  <a:lnTo>
                    <a:pt x="107" y="347"/>
                  </a:lnTo>
                  <a:lnTo>
                    <a:pt x="106" y="347"/>
                  </a:lnTo>
                  <a:lnTo>
                    <a:pt x="105" y="346"/>
                  </a:lnTo>
                  <a:lnTo>
                    <a:pt x="103" y="346"/>
                  </a:lnTo>
                  <a:lnTo>
                    <a:pt x="102" y="345"/>
                  </a:lnTo>
                  <a:lnTo>
                    <a:pt x="102" y="345"/>
                  </a:lnTo>
                  <a:lnTo>
                    <a:pt x="101" y="344"/>
                  </a:lnTo>
                  <a:lnTo>
                    <a:pt x="100" y="343"/>
                  </a:lnTo>
                  <a:lnTo>
                    <a:pt x="100" y="342"/>
                  </a:lnTo>
                  <a:lnTo>
                    <a:pt x="99" y="342"/>
                  </a:lnTo>
                  <a:lnTo>
                    <a:pt x="98" y="339"/>
                  </a:lnTo>
                  <a:lnTo>
                    <a:pt x="96" y="335"/>
                  </a:lnTo>
                  <a:lnTo>
                    <a:pt x="95" y="334"/>
                  </a:lnTo>
                  <a:lnTo>
                    <a:pt x="94" y="332"/>
                  </a:lnTo>
                  <a:lnTo>
                    <a:pt x="94" y="331"/>
                  </a:lnTo>
                  <a:lnTo>
                    <a:pt x="93" y="328"/>
                  </a:lnTo>
                  <a:lnTo>
                    <a:pt x="92" y="326"/>
                  </a:lnTo>
                  <a:lnTo>
                    <a:pt x="92" y="325"/>
                  </a:lnTo>
                  <a:lnTo>
                    <a:pt x="91" y="324"/>
                  </a:lnTo>
                  <a:lnTo>
                    <a:pt x="91" y="323"/>
                  </a:lnTo>
                  <a:lnTo>
                    <a:pt x="90" y="321"/>
                  </a:lnTo>
                  <a:lnTo>
                    <a:pt x="89" y="320"/>
                  </a:lnTo>
                  <a:lnTo>
                    <a:pt x="88" y="319"/>
                  </a:lnTo>
                  <a:lnTo>
                    <a:pt x="86" y="317"/>
                  </a:lnTo>
                  <a:lnTo>
                    <a:pt x="85" y="316"/>
                  </a:lnTo>
                  <a:lnTo>
                    <a:pt x="79" y="312"/>
                  </a:lnTo>
                  <a:lnTo>
                    <a:pt x="78" y="311"/>
                  </a:lnTo>
                  <a:lnTo>
                    <a:pt x="77" y="310"/>
                  </a:lnTo>
                  <a:lnTo>
                    <a:pt x="76" y="309"/>
                  </a:lnTo>
                  <a:lnTo>
                    <a:pt x="74" y="309"/>
                  </a:lnTo>
                  <a:lnTo>
                    <a:pt x="71" y="307"/>
                  </a:lnTo>
                  <a:lnTo>
                    <a:pt x="69" y="306"/>
                  </a:lnTo>
                  <a:lnTo>
                    <a:pt x="68" y="306"/>
                  </a:lnTo>
                  <a:lnTo>
                    <a:pt x="67" y="305"/>
                  </a:lnTo>
                  <a:lnTo>
                    <a:pt x="66" y="304"/>
                  </a:lnTo>
                  <a:lnTo>
                    <a:pt x="65" y="303"/>
                  </a:lnTo>
                  <a:lnTo>
                    <a:pt x="65" y="303"/>
                  </a:lnTo>
                  <a:lnTo>
                    <a:pt x="65" y="302"/>
                  </a:lnTo>
                  <a:lnTo>
                    <a:pt x="64" y="302"/>
                  </a:lnTo>
                  <a:lnTo>
                    <a:pt x="64" y="301"/>
                  </a:lnTo>
                  <a:lnTo>
                    <a:pt x="64" y="300"/>
                  </a:lnTo>
                  <a:lnTo>
                    <a:pt x="63" y="299"/>
                  </a:lnTo>
                  <a:lnTo>
                    <a:pt x="63" y="298"/>
                  </a:lnTo>
                  <a:lnTo>
                    <a:pt x="62" y="294"/>
                  </a:lnTo>
                  <a:lnTo>
                    <a:pt x="61" y="292"/>
                  </a:lnTo>
                  <a:lnTo>
                    <a:pt x="60" y="290"/>
                  </a:lnTo>
                  <a:lnTo>
                    <a:pt x="59" y="286"/>
                  </a:lnTo>
                  <a:lnTo>
                    <a:pt x="59" y="285"/>
                  </a:lnTo>
                  <a:lnTo>
                    <a:pt x="59" y="284"/>
                  </a:lnTo>
                  <a:lnTo>
                    <a:pt x="59" y="283"/>
                  </a:lnTo>
                  <a:lnTo>
                    <a:pt x="59" y="282"/>
                  </a:lnTo>
                  <a:lnTo>
                    <a:pt x="59" y="281"/>
                  </a:lnTo>
                  <a:lnTo>
                    <a:pt x="59" y="279"/>
                  </a:lnTo>
                  <a:lnTo>
                    <a:pt x="59" y="277"/>
                  </a:lnTo>
                  <a:lnTo>
                    <a:pt x="59" y="275"/>
                  </a:lnTo>
                  <a:lnTo>
                    <a:pt x="59" y="272"/>
                  </a:lnTo>
                  <a:lnTo>
                    <a:pt x="59" y="269"/>
                  </a:lnTo>
                  <a:lnTo>
                    <a:pt x="59" y="267"/>
                  </a:lnTo>
                  <a:lnTo>
                    <a:pt x="59" y="266"/>
                  </a:lnTo>
                  <a:lnTo>
                    <a:pt x="59" y="265"/>
                  </a:lnTo>
                  <a:lnTo>
                    <a:pt x="59" y="264"/>
                  </a:lnTo>
                  <a:lnTo>
                    <a:pt x="58" y="263"/>
                  </a:lnTo>
                  <a:lnTo>
                    <a:pt x="58" y="262"/>
                  </a:lnTo>
                  <a:lnTo>
                    <a:pt x="57" y="261"/>
                  </a:lnTo>
                  <a:lnTo>
                    <a:pt x="57" y="261"/>
                  </a:lnTo>
                  <a:lnTo>
                    <a:pt x="56" y="260"/>
                  </a:lnTo>
                  <a:lnTo>
                    <a:pt x="54" y="259"/>
                  </a:lnTo>
                  <a:lnTo>
                    <a:pt x="52" y="259"/>
                  </a:lnTo>
                  <a:lnTo>
                    <a:pt x="50" y="258"/>
                  </a:lnTo>
                  <a:lnTo>
                    <a:pt x="49" y="257"/>
                  </a:lnTo>
                  <a:lnTo>
                    <a:pt x="49" y="257"/>
                  </a:lnTo>
                  <a:lnTo>
                    <a:pt x="48" y="256"/>
                  </a:lnTo>
                  <a:lnTo>
                    <a:pt x="47" y="256"/>
                  </a:lnTo>
                  <a:lnTo>
                    <a:pt x="47" y="255"/>
                  </a:lnTo>
                  <a:lnTo>
                    <a:pt x="46" y="254"/>
                  </a:lnTo>
                  <a:lnTo>
                    <a:pt x="45" y="253"/>
                  </a:lnTo>
                  <a:lnTo>
                    <a:pt x="44" y="251"/>
                  </a:lnTo>
                  <a:lnTo>
                    <a:pt x="43" y="249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1" y="245"/>
                  </a:lnTo>
                  <a:lnTo>
                    <a:pt x="41" y="244"/>
                  </a:lnTo>
                  <a:lnTo>
                    <a:pt x="40" y="242"/>
                  </a:lnTo>
                  <a:lnTo>
                    <a:pt x="40" y="241"/>
                  </a:lnTo>
                  <a:lnTo>
                    <a:pt x="40" y="240"/>
                  </a:lnTo>
                  <a:lnTo>
                    <a:pt x="39" y="234"/>
                  </a:lnTo>
                  <a:lnTo>
                    <a:pt x="39" y="233"/>
                  </a:lnTo>
                  <a:lnTo>
                    <a:pt x="39" y="231"/>
                  </a:lnTo>
                  <a:lnTo>
                    <a:pt x="39" y="229"/>
                  </a:lnTo>
                  <a:lnTo>
                    <a:pt x="37" y="225"/>
                  </a:lnTo>
                  <a:lnTo>
                    <a:pt x="37" y="223"/>
                  </a:lnTo>
                  <a:lnTo>
                    <a:pt x="36" y="222"/>
                  </a:lnTo>
                  <a:lnTo>
                    <a:pt x="35" y="221"/>
                  </a:lnTo>
                  <a:lnTo>
                    <a:pt x="35" y="220"/>
                  </a:lnTo>
                  <a:lnTo>
                    <a:pt x="34" y="219"/>
                  </a:lnTo>
                  <a:lnTo>
                    <a:pt x="34" y="218"/>
                  </a:lnTo>
                  <a:lnTo>
                    <a:pt x="33" y="218"/>
                  </a:lnTo>
                  <a:lnTo>
                    <a:pt x="32" y="217"/>
                  </a:lnTo>
                  <a:lnTo>
                    <a:pt x="30" y="216"/>
                  </a:lnTo>
                  <a:lnTo>
                    <a:pt x="30" y="216"/>
                  </a:lnTo>
                  <a:lnTo>
                    <a:pt x="29" y="216"/>
                  </a:lnTo>
                  <a:lnTo>
                    <a:pt x="29" y="215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27" y="212"/>
                  </a:lnTo>
                  <a:lnTo>
                    <a:pt x="26" y="211"/>
                  </a:lnTo>
                  <a:lnTo>
                    <a:pt x="26" y="210"/>
                  </a:lnTo>
                  <a:lnTo>
                    <a:pt x="26" y="208"/>
                  </a:lnTo>
                  <a:lnTo>
                    <a:pt x="26" y="207"/>
                  </a:lnTo>
                  <a:lnTo>
                    <a:pt x="25" y="205"/>
                  </a:lnTo>
                  <a:lnTo>
                    <a:pt x="25" y="205"/>
                  </a:lnTo>
                  <a:lnTo>
                    <a:pt x="25" y="204"/>
                  </a:lnTo>
                  <a:lnTo>
                    <a:pt x="26" y="203"/>
                  </a:lnTo>
                  <a:lnTo>
                    <a:pt x="26" y="201"/>
                  </a:lnTo>
                  <a:lnTo>
                    <a:pt x="26" y="198"/>
                  </a:lnTo>
                  <a:lnTo>
                    <a:pt x="27" y="196"/>
                  </a:lnTo>
                  <a:lnTo>
                    <a:pt x="27" y="195"/>
                  </a:lnTo>
                  <a:lnTo>
                    <a:pt x="27" y="194"/>
                  </a:lnTo>
                  <a:lnTo>
                    <a:pt x="27" y="193"/>
                  </a:lnTo>
                  <a:lnTo>
                    <a:pt x="27" y="192"/>
                  </a:lnTo>
                  <a:lnTo>
                    <a:pt x="26" y="191"/>
                  </a:lnTo>
                  <a:lnTo>
                    <a:pt x="26" y="189"/>
                  </a:lnTo>
                  <a:lnTo>
                    <a:pt x="25" y="188"/>
                  </a:lnTo>
                  <a:lnTo>
                    <a:pt x="25" y="188"/>
                  </a:lnTo>
                  <a:lnTo>
                    <a:pt x="24" y="187"/>
                  </a:lnTo>
                  <a:lnTo>
                    <a:pt x="24" y="187"/>
                  </a:lnTo>
                  <a:lnTo>
                    <a:pt x="23" y="186"/>
                  </a:lnTo>
                  <a:lnTo>
                    <a:pt x="22" y="186"/>
                  </a:lnTo>
                  <a:lnTo>
                    <a:pt x="18" y="184"/>
                  </a:lnTo>
                  <a:lnTo>
                    <a:pt x="17" y="184"/>
                  </a:lnTo>
                  <a:lnTo>
                    <a:pt x="16" y="183"/>
                  </a:lnTo>
                  <a:lnTo>
                    <a:pt x="13" y="182"/>
                  </a:lnTo>
                  <a:lnTo>
                    <a:pt x="9" y="179"/>
                  </a:lnTo>
                  <a:lnTo>
                    <a:pt x="6" y="178"/>
                  </a:lnTo>
                  <a:lnTo>
                    <a:pt x="6" y="177"/>
                  </a:lnTo>
                  <a:lnTo>
                    <a:pt x="5" y="176"/>
                  </a:lnTo>
                  <a:lnTo>
                    <a:pt x="4" y="176"/>
                  </a:lnTo>
                  <a:lnTo>
                    <a:pt x="3" y="175"/>
                  </a:lnTo>
                  <a:lnTo>
                    <a:pt x="2" y="174"/>
                  </a:lnTo>
                  <a:lnTo>
                    <a:pt x="2" y="173"/>
                  </a:lnTo>
                  <a:lnTo>
                    <a:pt x="1" y="173"/>
                  </a:lnTo>
                  <a:lnTo>
                    <a:pt x="0" y="172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Freeform 51">
              <a:extLst>
                <a:ext uri="{FF2B5EF4-FFF2-40B4-BE49-F238E27FC236}">
                  <a16:creationId xmlns:a16="http://schemas.microsoft.com/office/drawing/2014/main" id="{343B9CDF-61A9-C498-702F-B63C3E317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301"/>
              <a:ext cx="279" cy="173"/>
            </a:xfrm>
            <a:custGeom>
              <a:avLst/>
              <a:gdLst>
                <a:gd name="T0" fmla="*/ 2 w 279"/>
                <a:gd name="T1" fmla="*/ 162 h 173"/>
                <a:gd name="T2" fmla="*/ 0 w 279"/>
                <a:gd name="T3" fmla="*/ 155 h 173"/>
                <a:gd name="T4" fmla="*/ 2 w 279"/>
                <a:gd name="T5" fmla="*/ 151 h 173"/>
                <a:gd name="T6" fmla="*/ 9 w 279"/>
                <a:gd name="T7" fmla="*/ 146 h 173"/>
                <a:gd name="T8" fmla="*/ 18 w 279"/>
                <a:gd name="T9" fmla="*/ 140 h 173"/>
                <a:gd name="T10" fmla="*/ 19 w 279"/>
                <a:gd name="T11" fmla="*/ 136 h 173"/>
                <a:gd name="T12" fmla="*/ 23 w 279"/>
                <a:gd name="T13" fmla="*/ 120 h 173"/>
                <a:gd name="T14" fmla="*/ 27 w 279"/>
                <a:gd name="T15" fmla="*/ 114 h 173"/>
                <a:gd name="T16" fmla="*/ 31 w 279"/>
                <a:gd name="T17" fmla="*/ 108 h 173"/>
                <a:gd name="T18" fmla="*/ 38 w 279"/>
                <a:gd name="T19" fmla="*/ 96 h 173"/>
                <a:gd name="T20" fmla="*/ 45 w 279"/>
                <a:gd name="T21" fmla="*/ 87 h 173"/>
                <a:gd name="T22" fmla="*/ 52 w 279"/>
                <a:gd name="T23" fmla="*/ 87 h 173"/>
                <a:gd name="T24" fmla="*/ 60 w 279"/>
                <a:gd name="T25" fmla="*/ 89 h 173"/>
                <a:gd name="T26" fmla="*/ 65 w 279"/>
                <a:gd name="T27" fmla="*/ 86 h 173"/>
                <a:gd name="T28" fmla="*/ 71 w 279"/>
                <a:gd name="T29" fmla="*/ 83 h 173"/>
                <a:gd name="T30" fmla="*/ 76 w 279"/>
                <a:gd name="T31" fmla="*/ 84 h 173"/>
                <a:gd name="T32" fmla="*/ 80 w 279"/>
                <a:gd name="T33" fmla="*/ 87 h 173"/>
                <a:gd name="T34" fmla="*/ 83 w 279"/>
                <a:gd name="T35" fmla="*/ 91 h 173"/>
                <a:gd name="T36" fmla="*/ 84 w 279"/>
                <a:gd name="T37" fmla="*/ 90 h 173"/>
                <a:gd name="T38" fmla="*/ 86 w 279"/>
                <a:gd name="T39" fmla="*/ 86 h 173"/>
                <a:gd name="T40" fmla="*/ 91 w 279"/>
                <a:gd name="T41" fmla="*/ 83 h 173"/>
                <a:gd name="T42" fmla="*/ 94 w 279"/>
                <a:gd name="T43" fmla="*/ 80 h 173"/>
                <a:gd name="T44" fmla="*/ 101 w 279"/>
                <a:gd name="T45" fmla="*/ 77 h 173"/>
                <a:gd name="T46" fmla="*/ 110 w 279"/>
                <a:gd name="T47" fmla="*/ 75 h 173"/>
                <a:gd name="T48" fmla="*/ 118 w 279"/>
                <a:gd name="T49" fmla="*/ 73 h 173"/>
                <a:gd name="T50" fmla="*/ 123 w 279"/>
                <a:gd name="T51" fmla="*/ 73 h 173"/>
                <a:gd name="T52" fmla="*/ 132 w 279"/>
                <a:gd name="T53" fmla="*/ 76 h 173"/>
                <a:gd name="T54" fmla="*/ 139 w 279"/>
                <a:gd name="T55" fmla="*/ 78 h 173"/>
                <a:gd name="T56" fmla="*/ 146 w 279"/>
                <a:gd name="T57" fmla="*/ 78 h 173"/>
                <a:gd name="T58" fmla="*/ 151 w 279"/>
                <a:gd name="T59" fmla="*/ 78 h 173"/>
                <a:gd name="T60" fmla="*/ 157 w 279"/>
                <a:gd name="T61" fmla="*/ 80 h 173"/>
                <a:gd name="T62" fmla="*/ 162 w 279"/>
                <a:gd name="T63" fmla="*/ 78 h 173"/>
                <a:gd name="T64" fmla="*/ 168 w 279"/>
                <a:gd name="T65" fmla="*/ 73 h 173"/>
                <a:gd name="T66" fmla="*/ 170 w 279"/>
                <a:gd name="T67" fmla="*/ 65 h 173"/>
                <a:gd name="T68" fmla="*/ 170 w 279"/>
                <a:gd name="T69" fmla="*/ 60 h 173"/>
                <a:gd name="T70" fmla="*/ 173 w 279"/>
                <a:gd name="T71" fmla="*/ 57 h 173"/>
                <a:gd name="T72" fmla="*/ 182 w 279"/>
                <a:gd name="T73" fmla="*/ 53 h 173"/>
                <a:gd name="T74" fmla="*/ 192 w 279"/>
                <a:gd name="T75" fmla="*/ 47 h 173"/>
                <a:gd name="T76" fmla="*/ 200 w 279"/>
                <a:gd name="T77" fmla="*/ 41 h 173"/>
                <a:gd name="T78" fmla="*/ 207 w 279"/>
                <a:gd name="T79" fmla="*/ 34 h 173"/>
                <a:gd name="T80" fmla="*/ 210 w 279"/>
                <a:gd name="T81" fmla="*/ 33 h 173"/>
                <a:gd name="T82" fmla="*/ 217 w 279"/>
                <a:gd name="T83" fmla="*/ 35 h 173"/>
                <a:gd name="T84" fmla="*/ 228 w 279"/>
                <a:gd name="T85" fmla="*/ 36 h 173"/>
                <a:gd name="T86" fmla="*/ 233 w 279"/>
                <a:gd name="T87" fmla="*/ 39 h 173"/>
                <a:gd name="T88" fmla="*/ 241 w 279"/>
                <a:gd name="T89" fmla="*/ 45 h 173"/>
                <a:gd name="T90" fmla="*/ 245 w 279"/>
                <a:gd name="T91" fmla="*/ 47 h 173"/>
                <a:gd name="T92" fmla="*/ 249 w 279"/>
                <a:gd name="T93" fmla="*/ 47 h 173"/>
                <a:gd name="T94" fmla="*/ 250 w 279"/>
                <a:gd name="T95" fmla="*/ 43 h 173"/>
                <a:gd name="T96" fmla="*/ 252 w 279"/>
                <a:gd name="T97" fmla="*/ 32 h 173"/>
                <a:gd name="T98" fmla="*/ 252 w 279"/>
                <a:gd name="T99" fmla="*/ 27 h 173"/>
                <a:gd name="T100" fmla="*/ 255 w 279"/>
                <a:gd name="T101" fmla="*/ 25 h 173"/>
                <a:gd name="T102" fmla="*/ 263 w 279"/>
                <a:gd name="T103" fmla="*/ 23 h 173"/>
                <a:gd name="T104" fmla="*/ 268 w 279"/>
                <a:gd name="T105" fmla="*/ 20 h 173"/>
                <a:gd name="T106" fmla="*/ 269 w 279"/>
                <a:gd name="T107" fmla="*/ 16 h 173"/>
                <a:gd name="T108" fmla="*/ 268 w 279"/>
                <a:gd name="T109" fmla="*/ 14 h 173"/>
                <a:gd name="T110" fmla="*/ 267 w 279"/>
                <a:gd name="T111" fmla="*/ 10 h 173"/>
                <a:gd name="T112" fmla="*/ 269 w 279"/>
                <a:gd name="T113" fmla="*/ 4 h 173"/>
                <a:gd name="T114" fmla="*/ 271 w 279"/>
                <a:gd name="T115" fmla="*/ 2 h 173"/>
                <a:gd name="T116" fmla="*/ 274 w 279"/>
                <a:gd name="T117" fmla="*/ 2 h 173"/>
                <a:gd name="T118" fmla="*/ 278 w 279"/>
                <a:gd name="T119" fmla="*/ 1 h 173"/>
                <a:gd name="T120" fmla="*/ 279 w 279"/>
                <a:gd name="T121" fmla="*/ 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9" h="173">
                  <a:moveTo>
                    <a:pt x="8" y="173"/>
                  </a:moveTo>
                  <a:lnTo>
                    <a:pt x="7" y="170"/>
                  </a:lnTo>
                  <a:lnTo>
                    <a:pt x="5" y="167"/>
                  </a:lnTo>
                  <a:lnTo>
                    <a:pt x="3" y="163"/>
                  </a:lnTo>
                  <a:lnTo>
                    <a:pt x="2" y="162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6"/>
                  </a:lnTo>
                  <a:lnTo>
                    <a:pt x="0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6" y="147"/>
                  </a:lnTo>
                  <a:lnTo>
                    <a:pt x="9" y="146"/>
                  </a:lnTo>
                  <a:lnTo>
                    <a:pt x="14" y="143"/>
                  </a:lnTo>
                  <a:lnTo>
                    <a:pt x="15" y="142"/>
                  </a:lnTo>
                  <a:lnTo>
                    <a:pt x="16" y="141"/>
                  </a:lnTo>
                  <a:lnTo>
                    <a:pt x="17" y="140"/>
                  </a:lnTo>
                  <a:lnTo>
                    <a:pt x="18" y="140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9" y="138"/>
                  </a:lnTo>
                  <a:lnTo>
                    <a:pt x="19" y="137"/>
                  </a:lnTo>
                  <a:lnTo>
                    <a:pt x="19" y="136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21" y="128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3" y="119"/>
                  </a:lnTo>
                  <a:lnTo>
                    <a:pt x="24" y="118"/>
                  </a:lnTo>
                  <a:lnTo>
                    <a:pt x="25" y="117"/>
                  </a:lnTo>
                  <a:lnTo>
                    <a:pt x="26" y="116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9" y="112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3" y="106"/>
                  </a:lnTo>
                  <a:lnTo>
                    <a:pt x="34" y="105"/>
                  </a:lnTo>
                  <a:lnTo>
                    <a:pt x="35" y="103"/>
                  </a:lnTo>
                  <a:lnTo>
                    <a:pt x="37" y="98"/>
                  </a:lnTo>
                  <a:lnTo>
                    <a:pt x="38" y="96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2"/>
                  </a:lnTo>
                  <a:lnTo>
                    <a:pt x="44" y="88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2" y="87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89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5" y="86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8" y="84"/>
                  </a:lnTo>
                  <a:lnTo>
                    <a:pt x="69" y="84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8" y="85"/>
                  </a:lnTo>
                  <a:lnTo>
                    <a:pt x="79" y="86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1" y="89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89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7"/>
                  </a:lnTo>
                  <a:lnTo>
                    <a:pt x="86" y="86"/>
                  </a:lnTo>
                  <a:lnTo>
                    <a:pt x="87" y="86"/>
                  </a:lnTo>
                  <a:lnTo>
                    <a:pt x="88" y="85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1" y="77"/>
                  </a:lnTo>
                  <a:lnTo>
                    <a:pt x="103" y="77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9" y="75"/>
                  </a:lnTo>
                  <a:lnTo>
                    <a:pt x="110" y="75"/>
                  </a:lnTo>
                  <a:lnTo>
                    <a:pt x="112" y="75"/>
                  </a:lnTo>
                  <a:lnTo>
                    <a:pt x="113" y="75"/>
                  </a:lnTo>
                  <a:lnTo>
                    <a:pt x="114" y="75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0" y="73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7" y="75"/>
                  </a:lnTo>
                  <a:lnTo>
                    <a:pt x="132" y="76"/>
                  </a:lnTo>
                  <a:lnTo>
                    <a:pt x="133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8"/>
                  </a:lnTo>
                  <a:lnTo>
                    <a:pt x="142" y="78"/>
                  </a:lnTo>
                  <a:lnTo>
                    <a:pt x="144" y="78"/>
                  </a:lnTo>
                  <a:lnTo>
                    <a:pt x="146" y="78"/>
                  </a:lnTo>
                  <a:lnTo>
                    <a:pt x="147" y="78"/>
                  </a:lnTo>
                  <a:lnTo>
                    <a:pt x="148" y="77"/>
                  </a:lnTo>
                  <a:lnTo>
                    <a:pt x="149" y="77"/>
                  </a:lnTo>
                  <a:lnTo>
                    <a:pt x="150" y="78"/>
                  </a:lnTo>
                  <a:lnTo>
                    <a:pt x="151" y="78"/>
                  </a:lnTo>
                  <a:lnTo>
                    <a:pt x="152" y="78"/>
                  </a:lnTo>
                  <a:lnTo>
                    <a:pt x="155" y="79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7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7" y="74"/>
                  </a:lnTo>
                  <a:lnTo>
                    <a:pt x="168" y="73"/>
                  </a:lnTo>
                  <a:lnTo>
                    <a:pt x="168" y="72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70" y="66"/>
                  </a:lnTo>
                  <a:lnTo>
                    <a:pt x="170" y="65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1" y="59"/>
                  </a:lnTo>
                  <a:lnTo>
                    <a:pt x="171" y="58"/>
                  </a:lnTo>
                  <a:lnTo>
                    <a:pt x="172" y="58"/>
                  </a:lnTo>
                  <a:lnTo>
                    <a:pt x="172" y="57"/>
                  </a:lnTo>
                  <a:lnTo>
                    <a:pt x="173" y="57"/>
                  </a:lnTo>
                  <a:lnTo>
                    <a:pt x="174" y="57"/>
                  </a:lnTo>
                  <a:lnTo>
                    <a:pt x="176" y="56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92" y="47"/>
                  </a:lnTo>
                  <a:lnTo>
                    <a:pt x="194" y="45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0" y="42"/>
                  </a:lnTo>
                  <a:lnTo>
                    <a:pt x="200" y="41"/>
                  </a:lnTo>
                  <a:lnTo>
                    <a:pt x="202" y="40"/>
                  </a:lnTo>
                  <a:lnTo>
                    <a:pt x="203" y="38"/>
                  </a:lnTo>
                  <a:lnTo>
                    <a:pt x="205" y="37"/>
                  </a:lnTo>
                  <a:lnTo>
                    <a:pt x="207" y="35"/>
                  </a:lnTo>
                  <a:lnTo>
                    <a:pt x="207" y="34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7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6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2" y="38"/>
                  </a:lnTo>
                  <a:lnTo>
                    <a:pt x="233" y="39"/>
                  </a:lnTo>
                  <a:lnTo>
                    <a:pt x="235" y="41"/>
                  </a:lnTo>
                  <a:lnTo>
                    <a:pt x="236" y="41"/>
                  </a:lnTo>
                  <a:lnTo>
                    <a:pt x="237" y="42"/>
                  </a:lnTo>
                  <a:lnTo>
                    <a:pt x="240" y="44"/>
                  </a:lnTo>
                  <a:lnTo>
                    <a:pt x="241" y="45"/>
                  </a:lnTo>
                  <a:lnTo>
                    <a:pt x="242" y="46"/>
                  </a:lnTo>
                  <a:lnTo>
                    <a:pt x="243" y="46"/>
                  </a:lnTo>
                  <a:lnTo>
                    <a:pt x="244" y="47"/>
                  </a:lnTo>
                  <a:lnTo>
                    <a:pt x="245" y="47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7"/>
                  </a:lnTo>
                  <a:lnTo>
                    <a:pt x="249" y="47"/>
                  </a:lnTo>
                  <a:lnTo>
                    <a:pt x="249" y="46"/>
                  </a:lnTo>
                  <a:lnTo>
                    <a:pt x="250" y="46"/>
                  </a:lnTo>
                  <a:lnTo>
                    <a:pt x="250" y="45"/>
                  </a:lnTo>
                  <a:lnTo>
                    <a:pt x="250" y="44"/>
                  </a:lnTo>
                  <a:lnTo>
                    <a:pt x="250" y="43"/>
                  </a:lnTo>
                  <a:lnTo>
                    <a:pt x="252" y="37"/>
                  </a:lnTo>
                  <a:lnTo>
                    <a:pt x="252" y="36"/>
                  </a:lnTo>
                  <a:lnTo>
                    <a:pt x="252" y="35"/>
                  </a:lnTo>
                  <a:lnTo>
                    <a:pt x="252" y="34"/>
                  </a:lnTo>
                  <a:lnTo>
                    <a:pt x="252" y="32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2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3" y="26"/>
                  </a:lnTo>
                  <a:lnTo>
                    <a:pt x="254" y="26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7" y="25"/>
                  </a:lnTo>
                  <a:lnTo>
                    <a:pt x="259" y="24"/>
                  </a:lnTo>
                  <a:lnTo>
                    <a:pt x="262" y="23"/>
                  </a:lnTo>
                  <a:lnTo>
                    <a:pt x="263" y="23"/>
                  </a:lnTo>
                  <a:lnTo>
                    <a:pt x="264" y="22"/>
                  </a:lnTo>
                  <a:lnTo>
                    <a:pt x="265" y="21"/>
                  </a:lnTo>
                  <a:lnTo>
                    <a:pt x="266" y="21"/>
                  </a:lnTo>
                  <a:lnTo>
                    <a:pt x="267" y="20"/>
                  </a:lnTo>
                  <a:lnTo>
                    <a:pt x="268" y="20"/>
                  </a:lnTo>
                  <a:lnTo>
                    <a:pt x="268" y="19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7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4"/>
                  </a:lnTo>
                  <a:lnTo>
                    <a:pt x="268" y="14"/>
                  </a:lnTo>
                  <a:lnTo>
                    <a:pt x="268" y="12"/>
                  </a:lnTo>
                  <a:lnTo>
                    <a:pt x="267" y="12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0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8" y="7"/>
                  </a:lnTo>
                  <a:lnTo>
                    <a:pt x="268" y="6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70" y="3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6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79" y="0"/>
                  </a:lnTo>
                  <a:lnTo>
                    <a:pt x="279" y="1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Freeform 52">
              <a:extLst>
                <a:ext uri="{FF2B5EF4-FFF2-40B4-BE49-F238E27FC236}">
                  <a16:creationId xmlns:a16="http://schemas.microsoft.com/office/drawing/2014/main" id="{C60A51FF-F85E-C2E6-70A6-042AD6995B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" y="3133"/>
              <a:ext cx="354" cy="259"/>
            </a:xfrm>
            <a:custGeom>
              <a:avLst/>
              <a:gdLst>
                <a:gd name="T0" fmla="*/ 244 w 354"/>
                <a:gd name="T1" fmla="*/ 19 h 259"/>
                <a:gd name="T2" fmla="*/ 262 w 354"/>
                <a:gd name="T3" fmla="*/ 31 h 259"/>
                <a:gd name="T4" fmla="*/ 289 w 354"/>
                <a:gd name="T5" fmla="*/ 36 h 259"/>
                <a:gd name="T6" fmla="*/ 298 w 354"/>
                <a:gd name="T7" fmla="*/ 48 h 259"/>
                <a:gd name="T8" fmla="*/ 305 w 354"/>
                <a:gd name="T9" fmla="*/ 51 h 259"/>
                <a:gd name="T10" fmla="*/ 329 w 354"/>
                <a:gd name="T11" fmla="*/ 51 h 259"/>
                <a:gd name="T12" fmla="*/ 336 w 354"/>
                <a:gd name="T13" fmla="*/ 63 h 259"/>
                <a:gd name="T14" fmla="*/ 333 w 354"/>
                <a:gd name="T15" fmla="*/ 85 h 259"/>
                <a:gd name="T16" fmla="*/ 335 w 354"/>
                <a:gd name="T17" fmla="*/ 104 h 259"/>
                <a:gd name="T18" fmla="*/ 340 w 354"/>
                <a:gd name="T19" fmla="*/ 118 h 259"/>
                <a:gd name="T20" fmla="*/ 349 w 354"/>
                <a:gd name="T21" fmla="*/ 141 h 259"/>
                <a:gd name="T22" fmla="*/ 347 w 354"/>
                <a:gd name="T23" fmla="*/ 150 h 259"/>
                <a:gd name="T24" fmla="*/ 336 w 354"/>
                <a:gd name="T25" fmla="*/ 152 h 259"/>
                <a:gd name="T26" fmla="*/ 345 w 354"/>
                <a:gd name="T27" fmla="*/ 158 h 259"/>
                <a:gd name="T28" fmla="*/ 352 w 354"/>
                <a:gd name="T29" fmla="*/ 171 h 259"/>
                <a:gd name="T30" fmla="*/ 351 w 354"/>
                <a:gd name="T31" fmla="*/ 182 h 259"/>
                <a:gd name="T32" fmla="*/ 344 w 354"/>
                <a:gd name="T33" fmla="*/ 191 h 259"/>
                <a:gd name="T34" fmla="*/ 334 w 354"/>
                <a:gd name="T35" fmla="*/ 202 h 259"/>
                <a:gd name="T36" fmla="*/ 327 w 354"/>
                <a:gd name="T37" fmla="*/ 215 h 259"/>
                <a:gd name="T38" fmla="*/ 308 w 354"/>
                <a:gd name="T39" fmla="*/ 204 h 259"/>
                <a:gd name="T40" fmla="*/ 289 w 354"/>
                <a:gd name="T41" fmla="*/ 203 h 259"/>
                <a:gd name="T42" fmla="*/ 262 w 354"/>
                <a:gd name="T43" fmla="*/ 222 h 259"/>
                <a:gd name="T44" fmla="*/ 252 w 354"/>
                <a:gd name="T45" fmla="*/ 234 h 259"/>
                <a:gd name="T46" fmla="*/ 238 w 354"/>
                <a:gd name="T47" fmla="*/ 248 h 259"/>
                <a:gd name="T48" fmla="*/ 220 w 354"/>
                <a:gd name="T49" fmla="*/ 246 h 259"/>
                <a:gd name="T50" fmla="*/ 199 w 354"/>
                <a:gd name="T51" fmla="*/ 242 h 259"/>
                <a:gd name="T52" fmla="*/ 176 w 354"/>
                <a:gd name="T53" fmla="*/ 248 h 259"/>
                <a:gd name="T54" fmla="*/ 166 w 354"/>
                <a:gd name="T55" fmla="*/ 258 h 259"/>
                <a:gd name="T56" fmla="*/ 157 w 354"/>
                <a:gd name="T57" fmla="*/ 251 h 259"/>
                <a:gd name="T58" fmla="*/ 141 w 354"/>
                <a:gd name="T59" fmla="*/ 257 h 259"/>
                <a:gd name="T60" fmla="*/ 124 w 354"/>
                <a:gd name="T61" fmla="*/ 247 h 259"/>
                <a:gd name="T62" fmla="*/ 107 w 354"/>
                <a:gd name="T63" fmla="*/ 233 h 259"/>
                <a:gd name="T64" fmla="*/ 110 w 354"/>
                <a:gd name="T65" fmla="*/ 220 h 259"/>
                <a:gd name="T66" fmla="*/ 95 w 354"/>
                <a:gd name="T67" fmla="*/ 213 h 259"/>
                <a:gd name="T68" fmla="*/ 80 w 354"/>
                <a:gd name="T69" fmla="*/ 201 h 259"/>
                <a:gd name="T70" fmla="*/ 61 w 354"/>
                <a:gd name="T71" fmla="*/ 187 h 259"/>
                <a:gd name="T72" fmla="*/ 46 w 354"/>
                <a:gd name="T73" fmla="*/ 177 h 259"/>
                <a:gd name="T74" fmla="*/ 39 w 354"/>
                <a:gd name="T75" fmla="*/ 163 h 259"/>
                <a:gd name="T76" fmla="*/ 27 w 354"/>
                <a:gd name="T77" fmla="*/ 150 h 259"/>
                <a:gd name="T78" fmla="*/ 30 w 354"/>
                <a:gd name="T79" fmla="*/ 125 h 259"/>
                <a:gd name="T80" fmla="*/ 18 w 354"/>
                <a:gd name="T81" fmla="*/ 106 h 259"/>
                <a:gd name="T82" fmla="*/ 3 w 354"/>
                <a:gd name="T83" fmla="*/ 94 h 259"/>
                <a:gd name="T84" fmla="*/ 2 w 354"/>
                <a:gd name="T85" fmla="*/ 84 h 259"/>
                <a:gd name="T86" fmla="*/ 9 w 354"/>
                <a:gd name="T87" fmla="*/ 73 h 259"/>
                <a:gd name="T88" fmla="*/ 4 w 354"/>
                <a:gd name="T89" fmla="*/ 58 h 259"/>
                <a:gd name="T90" fmla="*/ 23 w 354"/>
                <a:gd name="T91" fmla="*/ 58 h 259"/>
                <a:gd name="T92" fmla="*/ 32 w 354"/>
                <a:gd name="T93" fmla="*/ 77 h 259"/>
                <a:gd name="T94" fmla="*/ 47 w 354"/>
                <a:gd name="T95" fmla="*/ 87 h 259"/>
                <a:gd name="T96" fmla="*/ 45 w 354"/>
                <a:gd name="T97" fmla="*/ 94 h 259"/>
                <a:gd name="T98" fmla="*/ 54 w 354"/>
                <a:gd name="T99" fmla="*/ 112 h 259"/>
                <a:gd name="T100" fmla="*/ 58 w 354"/>
                <a:gd name="T101" fmla="*/ 126 h 259"/>
                <a:gd name="T102" fmla="*/ 67 w 354"/>
                <a:gd name="T103" fmla="*/ 121 h 259"/>
                <a:gd name="T104" fmla="*/ 69 w 354"/>
                <a:gd name="T105" fmla="*/ 99 h 259"/>
                <a:gd name="T106" fmla="*/ 75 w 354"/>
                <a:gd name="T107" fmla="*/ 90 h 259"/>
                <a:gd name="T108" fmla="*/ 88 w 354"/>
                <a:gd name="T109" fmla="*/ 69 h 259"/>
                <a:gd name="T110" fmla="*/ 100 w 354"/>
                <a:gd name="T111" fmla="*/ 55 h 259"/>
                <a:gd name="T112" fmla="*/ 116 w 354"/>
                <a:gd name="T113" fmla="*/ 43 h 259"/>
                <a:gd name="T114" fmla="*/ 128 w 354"/>
                <a:gd name="T115" fmla="*/ 26 h 259"/>
                <a:gd name="T116" fmla="*/ 171 w 354"/>
                <a:gd name="T117" fmla="*/ 21 h 259"/>
                <a:gd name="T118" fmla="*/ 191 w 354"/>
                <a:gd name="T119" fmla="*/ 14 h 259"/>
                <a:gd name="T120" fmla="*/ 208 w 354"/>
                <a:gd name="T121" fmla="*/ 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4" h="259">
                  <a:moveTo>
                    <a:pt x="217" y="0"/>
                  </a:moveTo>
                  <a:lnTo>
                    <a:pt x="218" y="1"/>
                  </a:lnTo>
                  <a:lnTo>
                    <a:pt x="220" y="2"/>
                  </a:lnTo>
                  <a:lnTo>
                    <a:pt x="221" y="3"/>
                  </a:lnTo>
                  <a:lnTo>
                    <a:pt x="226" y="6"/>
                  </a:lnTo>
                  <a:lnTo>
                    <a:pt x="231" y="10"/>
                  </a:lnTo>
                  <a:lnTo>
                    <a:pt x="233" y="12"/>
                  </a:lnTo>
                  <a:lnTo>
                    <a:pt x="235" y="12"/>
                  </a:lnTo>
                  <a:lnTo>
                    <a:pt x="237" y="14"/>
                  </a:lnTo>
                  <a:lnTo>
                    <a:pt x="239" y="16"/>
                  </a:lnTo>
                  <a:lnTo>
                    <a:pt x="240" y="16"/>
                  </a:lnTo>
                  <a:lnTo>
                    <a:pt x="241" y="17"/>
                  </a:lnTo>
                  <a:lnTo>
                    <a:pt x="242" y="18"/>
                  </a:lnTo>
                  <a:lnTo>
                    <a:pt x="243" y="18"/>
                  </a:lnTo>
                  <a:lnTo>
                    <a:pt x="244" y="19"/>
                  </a:lnTo>
                  <a:lnTo>
                    <a:pt x="246" y="20"/>
                  </a:lnTo>
                  <a:lnTo>
                    <a:pt x="248" y="22"/>
                  </a:lnTo>
                  <a:lnTo>
                    <a:pt x="249" y="23"/>
                  </a:lnTo>
                  <a:lnTo>
                    <a:pt x="251" y="25"/>
                  </a:lnTo>
                  <a:lnTo>
                    <a:pt x="251" y="26"/>
                  </a:lnTo>
                  <a:lnTo>
                    <a:pt x="252" y="26"/>
                  </a:lnTo>
                  <a:lnTo>
                    <a:pt x="252" y="26"/>
                  </a:lnTo>
                  <a:lnTo>
                    <a:pt x="253" y="26"/>
                  </a:lnTo>
                  <a:lnTo>
                    <a:pt x="253" y="26"/>
                  </a:lnTo>
                  <a:lnTo>
                    <a:pt x="253" y="26"/>
                  </a:lnTo>
                  <a:lnTo>
                    <a:pt x="257" y="29"/>
                  </a:lnTo>
                  <a:lnTo>
                    <a:pt x="259" y="30"/>
                  </a:lnTo>
                  <a:lnTo>
                    <a:pt x="260" y="30"/>
                  </a:lnTo>
                  <a:lnTo>
                    <a:pt x="260" y="31"/>
                  </a:lnTo>
                  <a:lnTo>
                    <a:pt x="262" y="31"/>
                  </a:lnTo>
                  <a:lnTo>
                    <a:pt x="265" y="32"/>
                  </a:lnTo>
                  <a:lnTo>
                    <a:pt x="267" y="32"/>
                  </a:lnTo>
                  <a:lnTo>
                    <a:pt x="269" y="32"/>
                  </a:lnTo>
                  <a:lnTo>
                    <a:pt x="272" y="32"/>
                  </a:lnTo>
                  <a:lnTo>
                    <a:pt x="273" y="33"/>
                  </a:lnTo>
                  <a:lnTo>
                    <a:pt x="275" y="33"/>
                  </a:lnTo>
                  <a:lnTo>
                    <a:pt x="278" y="34"/>
                  </a:lnTo>
                  <a:lnTo>
                    <a:pt x="280" y="35"/>
                  </a:lnTo>
                  <a:lnTo>
                    <a:pt x="281" y="35"/>
                  </a:lnTo>
                  <a:lnTo>
                    <a:pt x="283" y="35"/>
                  </a:lnTo>
                  <a:lnTo>
                    <a:pt x="285" y="35"/>
                  </a:lnTo>
                  <a:lnTo>
                    <a:pt x="287" y="35"/>
                  </a:lnTo>
                  <a:lnTo>
                    <a:pt x="288" y="36"/>
                  </a:lnTo>
                  <a:lnTo>
                    <a:pt x="289" y="36"/>
                  </a:lnTo>
                  <a:lnTo>
                    <a:pt x="289" y="36"/>
                  </a:lnTo>
                  <a:lnTo>
                    <a:pt x="291" y="37"/>
                  </a:lnTo>
                  <a:lnTo>
                    <a:pt x="294" y="38"/>
                  </a:lnTo>
                  <a:lnTo>
                    <a:pt x="295" y="39"/>
                  </a:lnTo>
                  <a:lnTo>
                    <a:pt x="295" y="39"/>
                  </a:lnTo>
                  <a:lnTo>
                    <a:pt x="296" y="40"/>
                  </a:lnTo>
                  <a:lnTo>
                    <a:pt x="296" y="40"/>
                  </a:lnTo>
                  <a:lnTo>
                    <a:pt x="296" y="41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7" y="42"/>
                  </a:lnTo>
                  <a:lnTo>
                    <a:pt x="297" y="43"/>
                  </a:lnTo>
                  <a:lnTo>
                    <a:pt x="298" y="44"/>
                  </a:lnTo>
                  <a:lnTo>
                    <a:pt x="298" y="46"/>
                  </a:lnTo>
                  <a:lnTo>
                    <a:pt x="298" y="47"/>
                  </a:lnTo>
                  <a:lnTo>
                    <a:pt x="298" y="48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9" y="50"/>
                  </a:lnTo>
                  <a:lnTo>
                    <a:pt x="299" y="50"/>
                  </a:lnTo>
                  <a:lnTo>
                    <a:pt x="299" y="51"/>
                  </a:lnTo>
                  <a:lnTo>
                    <a:pt x="300" y="51"/>
                  </a:lnTo>
                  <a:lnTo>
                    <a:pt x="300" y="51"/>
                  </a:lnTo>
                  <a:lnTo>
                    <a:pt x="301" y="51"/>
                  </a:lnTo>
                  <a:lnTo>
                    <a:pt x="301" y="51"/>
                  </a:lnTo>
                  <a:lnTo>
                    <a:pt x="302" y="51"/>
                  </a:lnTo>
                  <a:lnTo>
                    <a:pt x="302" y="51"/>
                  </a:lnTo>
                  <a:lnTo>
                    <a:pt x="303" y="51"/>
                  </a:lnTo>
                  <a:lnTo>
                    <a:pt x="304" y="51"/>
                  </a:lnTo>
                  <a:lnTo>
                    <a:pt x="305" y="51"/>
                  </a:lnTo>
                  <a:lnTo>
                    <a:pt x="307" y="51"/>
                  </a:lnTo>
                  <a:lnTo>
                    <a:pt x="308" y="50"/>
                  </a:lnTo>
                  <a:lnTo>
                    <a:pt x="308" y="50"/>
                  </a:lnTo>
                  <a:lnTo>
                    <a:pt x="310" y="50"/>
                  </a:lnTo>
                  <a:lnTo>
                    <a:pt x="311" y="51"/>
                  </a:lnTo>
                  <a:lnTo>
                    <a:pt x="315" y="51"/>
                  </a:lnTo>
                  <a:lnTo>
                    <a:pt x="317" y="51"/>
                  </a:lnTo>
                  <a:lnTo>
                    <a:pt x="318" y="51"/>
                  </a:lnTo>
                  <a:lnTo>
                    <a:pt x="321" y="51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7" y="51"/>
                  </a:lnTo>
                  <a:lnTo>
                    <a:pt x="328" y="51"/>
                  </a:lnTo>
                  <a:lnTo>
                    <a:pt x="328" y="51"/>
                  </a:lnTo>
                  <a:lnTo>
                    <a:pt x="329" y="51"/>
                  </a:lnTo>
                  <a:lnTo>
                    <a:pt x="329" y="51"/>
                  </a:lnTo>
                  <a:lnTo>
                    <a:pt x="330" y="51"/>
                  </a:lnTo>
                  <a:lnTo>
                    <a:pt x="331" y="52"/>
                  </a:lnTo>
                  <a:lnTo>
                    <a:pt x="332" y="52"/>
                  </a:lnTo>
                  <a:lnTo>
                    <a:pt x="332" y="53"/>
                  </a:lnTo>
                  <a:lnTo>
                    <a:pt x="333" y="54"/>
                  </a:lnTo>
                  <a:lnTo>
                    <a:pt x="333" y="54"/>
                  </a:lnTo>
                  <a:lnTo>
                    <a:pt x="334" y="55"/>
                  </a:lnTo>
                  <a:lnTo>
                    <a:pt x="334" y="56"/>
                  </a:lnTo>
                  <a:lnTo>
                    <a:pt x="335" y="58"/>
                  </a:lnTo>
                  <a:lnTo>
                    <a:pt x="336" y="59"/>
                  </a:lnTo>
                  <a:lnTo>
                    <a:pt x="336" y="60"/>
                  </a:lnTo>
                  <a:lnTo>
                    <a:pt x="336" y="61"/>
                  </a:lnTo>
                  <a:lnTo>
                    <a:pt x="336" y="62"/>
                  </a:lnTo>
                  <a:lnTo>
                    <a:pt x="336" y="63"/>
                  </a:lnTo>
                  <a:lnTo>
                    <a:pt x="336" y="64"/>
                  </a:lnTo>
                  <a:lnTo>
                    <a:pt x="336" y="66"/>
                  </a:lnTo>
                  <a:lnTo>
                    <a:pt x="336" y="67"/>
                  </a:lnTo>
                  <a:lnTo>
                    <a:pt x="335" y="69"/>
                  </a:lnTo>
                  <a:lnTo>
                    <a:pt x="335" y="70"/>
                  </a:lnTo>
                  <a:lnTo>
                    <a:pt x="335" y="71"/>
                  </a:lnTo>
                  <a:lnTo>
                    <a:pt x="335" y="72"/>
                  </a:lnTo>
                  <a:lnTo>
                    <a:pt x="335" y="73"/>
                  </a:lnTo>
                  <a:lnTo>
                    <a:pt x="335" y="76"/>
                  </a:lnTo>
                  <a:lnTo>
                    <a:pt x="335" y="76"/>
                  </a:lnTo>
                  <a:lnTo>
                    <a:pt x="335" y="77"/>
                  </a:lnTo>
                  <a:lnTo>
                    <a:pt x="334" y="78"/>
                  </a:lnTo>
                  <a:lnTo>
                    <a:pt x="334" y="80"/>
                  </a:lnTo>
                  <a:lnTo>
                    <a:pt x="333" y="84"/>
                  </a:lnTo>
                  <a:lnTo>
                    <a:pt x="333" y="85"/>
                  </a:lnTo>
                  <a:lnTo>
                    <a:pt x="333" y="86"/>
                  </a:lnTo>
                  <a:lnTo>
                    <a:pt x="333" y="87"/>
                  </a:lnTo>
                  <a:lnTo>
                    <a:pt x="333" y="88"/>
                  </a:lnTo>
                  <a:lnTo>
                    <a:pt x="333" y="89"/>
                  </a:lnTo>
                  <a:lnTo>
                    <a:pt x="334" y="91"/>
                  </a:lnTo>
                  <a:lnTo>
                    <a:pt x="334" y="92"/>
                  </a:lnTo>
                  <a:lnTo>
                    <a:pt x="335" y="94"/>
                  </a:lnTo>
                  <a:lnTo>
                    <a:pt x="335" y="96"/>
                  </a:lnTo>
                  <a:lnTo>
                    <a:pt x="335" y="98"/>
                  </a:lnTo>
                  <a:lnTo>
                    <a:pt x="335" y="99"/>
                  </a:lnTo>
                  <a:lnTo>
                    <a:pt x="335" y="100"/>
                  </a:lnTo>
                  <a:lnTo>
                    <a:pt x="335" y="102"/>
                  </a:lnTo>
                  <a:lnTo>
                    <a:pt x="335" y="103"/>
                  </a:lnTo>
                  <a:lnTo>
                    <a:pt x="334" y="103"/>
                  </a:lnTo>
                  <a:lnTo>
                    <a:pt x="335" y="104"/>
                  </a:lnTo>
                  <a:lnTo>
                    <a:pt x="335" y="105"/>
                  </a:lnTo>
                  <a:lnTo>
                    <a:pt x="335" y="105"/>
                  </a:lnTo>
                  <a:lnTo>
                    <a:pt x="335" y="106"/>
                  </a:lnTo>
                  <a:lnTo>
                    <a:pt x="336" y="106"/>
                  </a:lnTo>
                  <a:lnTo>
                    <a:pt x="336" y="107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9" y="110"/>
                  </a:lnTo>
                  <a:lnTo>
                    <a:pt x="339" y="111"/>
                  </a:lnTo>
                  <a:lnTo>
                    <a:pt x="339" y="111"/>
                  </a:lnTo>
                  <a:lnTo>
                    <a:pt x="340" y="113"/>
                  </a:lnTo>
                  <a:lnTo>
                    <a:pt x="340" y="114"/>
                  </a:lnTo>
                  <a:lnTo>
                    <a:pt x="340" y="117"/>
                  </a:lnTo>
                  <a:lnTo>
                    <a:pt x="340" y="118"/>
                  </a:lnTo>
                  <a:lnTo>
                    <a:pt x="340" y="118"/>
                  </a:lnTo>
                  <a:lnTo>
                    <a:pt x="340" y="119"/>
                  </a:lnTo>
                  <a:lnTo>
                    <a:pt x="340" y="119"/>
                  </a:lnTo>
                  <a:lnTo>
                    <a:pt x="342" y="122"/>
                  </a:lnTo>
                  <a:lnTo>
                    <a:pt x="343" y="123"/>
                  </a:lnTo>
                  <a:lnTo>
                    <a:pt x="344" y="125"/>
                  </a:lnTo>
                  <a:lnTo>
                    <a:pt x="345" y="127"/>
                  </a:lnTo>
                  <a:lnTo>
                    <a:pt x="347" y="131"/>
                  </a:lnTo>
                  <a:lnTo>
                    <a:pt x="347" y="133"/>
                  </a:lnTo>
                  <a:lnTo>
                    <a:pt x="348" y="134"/>
                  </a:lnTo>
                  <a:lnTo>
                    <a:pt x="348" y="137"/>
                  </a:lnTo>
                  <a:lnTo>
                    <a:pt x="349" y="138"/>
                  </a:lnTo>
                  <a:lnTo>
                    <a:pt x="349" y="139"/>
                  </a:lnTo>
                  <a:lnTo>
                    <a:pt x="349" y="139"/>
                  </a:lnTo>
                  <a:lnTo>
                    <a:pt x="349" y="140"/>
                  </a:lnTo>
                  <a:lnTo>
                    <a:pt x="349" y="141"/>
                  </a:lnTo>
                  <a:lnTo>
                    <a:pt x="348" y="141"/>
                  </a:lnTo>
                  <a:lnTo>
                    <a:pt x="348" y="142"/>
                  </a:lnTo>
                  <a:lnTo>
                    <a:pt x="348" y="142"/>
                  </a:lnTo>
                  <a:lnTo>
                    <a:pt x="347" y="143"/>
                  </a:lnTo>
                  <a:lnTo>
                    <a:pt x="347" y="144"/>
                  </a:lnTo>
                  <a:lnTo>
                    <a:pt x="347" y="144"/>
                  </a:lnTo>
                  <a:lnTo>
                    <a:pt x="347" y="145"/>
                  </a:lnTo>
                  <a:lnTo>
                    <a:pt x="347" y="146"/>
                  </a:lnTo>
                  <a:lnTo>
                    <a:pt x="347" y="148"/>
                  </a:lnTo>
                  <a:lnTo>
                    <a:pt x="348" y="149"/>
                  </a:lnTo>
                  <a:lnTo>
                    <a:pt x="348" y="149"/>
                  </a:lnTo>
                  <a:lnTo>
                    <a:pt x="348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1"/>
                  </a:lnTo>
                  <a:lnTo>
                    <a:pt x="346" y="151"/>
                  </a:lnTo>
                  <a:lnTo>
                    <a:pt x="346" y="151"/>
                  </a:lnTo>
                  <a:lnTo>
                    <a:pt x="343" y="150"/>
                  </a:lnTo>
                  <a:lnTo>
                    <a:pt x="342" y="150"/>
                  </a:lnTo>
                  <a:lnTo>
                    <a:pt x="341" y="150"/>
                  </a:lnTo>
                  <a:lnTo>
                    <a:pt x="340" y="150"/>
                  </a:lnTo>
                  <a:lnTo>
                    <a:pt x="340" y="150"/>
                  </a:lnTo>
                  <a:lnTo>
                    <a:pt x="339" y="150"/>
                  </a:lnTo>
                  <a:lnTo>
                    <a:pt x="338" y="151"/>
                  </a:lnTo>
                  <a:lnTo>
                    <a:pt x="337" y="151"/>
                  </a:lnTo>
                  <a:lnTo>
                    <a:pt x="337" y="151"/>
                  </a:lnTo>
                  <a:lnTo>
                    <a:pt x="337" y="152"/>
                  </a:lnTo>
                  <a:lnTo>
                    <a:pt x="336" y="152"/>
                  </a:lnTo>
                  <a:lnTo>
                    <a:pt x="336" y="153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7" y="156"/>
                  </a:lnTo>
                  <a:lnTo>
                    <a:pt x="338" y="156"/>
                  </a:lnTo>
                  <a:lnTo>
                    <a:pt x="338" y="157"/>
                  </a:lnTo>
                  <a:lnTo>
                    <a:pt x="339" y="157"/>
                  </a:lnTo>
                  <a:lnTo>
                    <a:pt x="343" y="157"/>
                  </a:lnTo>
                  <a:lnTo>
                    <a:pt x="344" y="158"/>
                  </a:lnTo>
                  <a:lnTo>
                    <a:pt x="344" y="158"/>
                  </a:lnTo>
                  <a:lnTo>
                    <a:pt x="345" y="158"/>
                  </a:lnTo>
                  <a:lnTo>
                    <a:pt x="346" y="159"/>
                  </a:lnTo>
                  <a:lnTo>
                    <a:pt x="347" y="159"/>
                  </a:lnTo>
                  <a:lnTo>
                    <a:pt x="348" y="160"/>
                  </a:lnTo>
                  <a:lnTo>
                    <a:pt x="348" y="161"/>
                  </a:lnTo>
                  <a:lnTo>
                    <a:pt x="349" y="162"/>
                  </a:lnTo>
                  <a:lnTo>
                    <a:pt x="351" y="164"/>
                  </a:lnTo>
                  <a:lnTo>
                    <a:pt x="352" y="165"/>
                  </a:lnTo>
                  <a:lnTo>
                    <a:pt x="352" y="166"/>
                  </a:lnTo>
                  <a:lnTo>
                    <a:pt x="353" y="167"/>
                  </a:lnTo>
                  <a:lnTo>
                    <a:pt x="353" y="168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3" y="170"/>
                  </a:lnTo>
                  <a:lnTo>
                    <a:pt x="352" y="171"/>
                  </a:lnTo>
                  <a:lnTo>
                    <a:pt x="352" y="171"/>
                  </a:lnTo>
                  <a:lnTo>
                    <a:pt x="351" y="172"/>
                  </a:lnTo>
                  <a:lnTo>
                    <a:pt x="351" y="172"/>
                  </a:lnTo>
                  <a:lnTo>
                    <a:pt x="351" y="172"/>
                  </a:lnTo>
                  <a:lnTo>
                    <a:pt x="350" y="174"/>
                  </a:lnTo>
                  <a:lnTo>
                    <a:pt x="350" y="175"/>
                  </a:lnTo>
                  <a:lnTo>
                    <a:pt x="349" y="177"/>
                  </a:lnTo>
                  <a:lnTo>
                    <a:pt x="349" y="177"/>
                  </a:lnTo>
                  <a:lnTo>
                    <a:pt x="349" y="178"/>
                  </a:lnTo>
                  <a:lnTo>
                    <a:pt x="349" y="179"/>
                  </a:lnTo>
                  <a:lnTo>
                    <a:pt x="349" y="179"/>
                  </a:lnTo>
                  <a:lnTo>
                    <a:pt x="349" y="180"/>
                  </a:lnTo>
                  <a:lnTo>
                    <a:pt x="350" y="180"/>
                  </a:lnTo>
                  <a:lnTo>
                    <a:pt x="350" y="182"/>
                  </a:lnTo>
                  <a:lnTo>
                    <a:pt x="351" y="182"/>
                  </a:lnTo>
                  <a:lnTo>
                    <a:pt x="351" y="183"/>
                  </a:lnTo>
                  <a:lnTo>
                    <a:pt x="351" y="183"/>
                  </a:lnTo>
                  <a:lnTo>
                    <a:pt x="351" y="184"/>
                  </a:lnTo>
                  <a:lnTo>
                    <a:pt x="351" y="184"/>
                  </a:lnTo>
                  <a:lnTo>
                    <a:pt x="351" y="185"/>
                  </a:lnTo>
                  <a:lnTo>
                    <a:pt x="351" y="186"/>
                  </a:lnTo>
                  <a:lnTo>
                    <a:pt x="351" y="186"/>
                  </a:lnTo>
                  <a:lnTo>
                    <a:pt x="350" y="187"/>
                  </a:lnTo>
                  <a:lnTo>
                    <a:pt x="350" y="188"/>
                  </a:lnTo>
                  <a:lnTo>
                    <a:pt x="349" y="188"/>
                  </a:lnTo>
                  <a:lnTo>
                    <a:pt x="348" y="189"/>
                  </a:lnTo>
                  <a:lnTo>
                    <a:pt x="347" y="189"/>
                  </a:lnTo>
                  <a:lnTo>
                    <a:pt x="346" y="190"/>
                  </a:lnTo>
                  <a:lnTo>
                    <a:pt x="345" y="191"/>
                  </a:lnTo>
                  <a:lnTo>
                    <a:pt x="344" y="191"/>
                  </a:lnTo>
                  <a:lnTo>
                    <a:pt x="341" y="192"/>
                  </a:lnTo>
                  <a:lnTo>
                    <a:pt x="339" y="193"/>
                  </a:lnTo>
                  <a:lnTo>
                    <a:pt x="339" y="193"/>
                  </a:lnTo>
                  <a:lnTo>
                    <a:pt x="337" y="193"/>
                  </a:lnTo>
                  <a:lnTo>
                    <a:pt x="336" y="194"/>
                  </a:lnTo>
                  <a:lnTo>
                    <a:pt x="335" y="194"/>
                  </a:lnTo>
                  <a:lnTo>
                    <a:pt x="335" y="195"/>
                  </a:lnTo>
                  <a:lnTo>
                    <a:pt x="335" y="195"/>
                  </a:lnTo>
                  <a:lnTo>
                    <a:pt x="334" y="195"/>
                  </a:lnTo>
                  <a:lnTo>
                    <a:pt x="334" y="196"/>
                  </a:lnTo>
                  <a:lnTo>
                    <a:pt x="334" y="196"/>
                  </a:lnTo>
                  <a:lnTo>
                    <a:pt x="334" y="197"/>
                  </a:lnTo>
                  <a:lnTo>
                    <a:pt x="334" y="199"/>
                  </a:lnTo>
                  <a:lnTo>
                    <a:pt x="334" y="200"/>
                  </a:lnTo>
                  <a:lnTo>
                    <a:pt x="334" y="202"/>
                  </a:lnTo>
                  <a:lnTo>
                    <a:pt x="334" y="203"/>
                  </a:lnTo>
                  <a:lnTo>
                    <a:pt x="334" y="204"/>
                  </a:lnTo>
                  <a:lnTo>
                    <a:pt x="334" y="205"/>
                  </a:lnTo>
                  <a:lnTo>
                    <a:pt x="332" y="211"/>
                  </a:lnTo>
                  <a:lnTo>
                    <a:pt x="332" y="212"/>
                  </a:lnTo>
                  <a:lnTo>
                    <a:pt x="332" y="213"/>
                  </a:lnTo>
                  <a:lnTo>
                    <a:pt x="332" y="214"/>
                  </a:lnTo>
                  <a:lnTo>
                    <a:pt x="331" y="214"/>
                  </a:lnTo>
                  <a:lnTo>
                    <a:pt x="331" y="215"/>
                  </a:lnTo>
                  <a:lnTo>
                    <a:pt x="330" y="215"/>
                  </a:lnTo>
                  <a:lnTo>
                    <a:pt x="329" y="215"/>
                  </a:lnTo>
                  <a:lnTo>
                    <a:pt x="329" y="215"/>
                  </a:lnTo>
                  <a:lnTo>
                    <a:pt x="328" y="215"/>
                  </a:lnTo>
                  <a:lnTo>
                    <a:pt x="327" y="215"/>
                  </a:lnTo>
                  <a:lnTo>
                    <a:pt x="327" y="215"/>
                  </a:lnTo>
                  <a:lnTo>
                    <a:pt x="326" y="215"/>
                  </a:lnTo>
                  <a:lnTo>
                    <a:pt x="325" y="214"/>
                  </a:lnTo>
                  <a:lnTo>
                    <a:pt x="324" y="214"/>
                  </a:lnTo>
                  <a:lnTo>
                    <a:pt x="323" y="213"/>
                  </a:lnTo>
                  <a:lnTo>
                    <a:pt x="322" y="212"/>
                  </a:lnTo>
                  <a:lnTo>
                    <a:pt x="319" y="210"/>
                  </a:lnTo>
                  <a:lnTo>
                    <a:pt x="318" y="209"/>
                  </a:lnTo>
                  <a:lnTo>
                    <a:pt x="317" y="209"/>
                  </a:lnTo>
                  <a:lnTo>
                    <a:pt x="315" y="207"/>
                  </a:lnTo>
                  <a:lnTo>
                    <a:pt x="314" y="206"/>
                  </a:lnTo>
                  <a:lnTo>
                    <a:pt x="313" y="205"/>
                  </a:lnTo>
                  <a:lnTo>
                    <a:pt x="312" y="205"/>
                  </a:lnTo>
                  <a:lnTo>
                    <a:pt x="311" y="204"/>
                  </a:lnTo>
                  <a:lnTo>
                    <a:pt x="310" y="204"/>
                  </a:lnTo>
                  <a:lnTo>
                    <a:pt x="308" y="204"/>
                  </a:lnTo>
                  <a:lnTo>
                    <a:pt x="307" y="203"/>
                  </a:lnTo>
                  <a:lnTo>
                    <a:pt x="306" y="203"/>
                  </a:lnTo>
                  <a:lnTo>
                    <a:pt x="303" y="203"/>
                  </a:lnTo>
                  <a:lnTo>
                    <a:pt x="299" y="203"/>
                  </a:lnTo>
                  <a:lnTo>
                    <a:pt x="299" y="202"/>
                  </a:lnTo>
                  <a:lnTo>
                    <a:pt x="296" y="202"/>
                  </a:lnTo>
                  <a:lnTo>
                    <a:pt x="294" y="201"/>
                  </a:lnTo>
                  <a:lnTo>
                    <a:pt x="293" y="201"/>
                  </a:lnTo>
                  <a:lnTo>
                    <a:pt x="292" y="201"/>
                  </a:lnTo>
                  <a:lnTo>
                    <a:pt x="292" y="201"/>
                  </a:lnTo>
                  <a:lnTo>
                    <a:pt x="291" y="201"/>
                  </a:lnTo>
                  <a:lnTo>
                    <a:pt x="291" y="202"/>
                  </a:lnTo>
                  <a:lnTo>
                    <a:pt x="290" y="202"/>
                  </a:lnTo>
                  <a:lnTo>
                    <a:pt x="289" y="202"/>
                  </a:lnTo>
                  <a:lnTo>
                    <a:pt x="289" y="203"/>
                  </a:lnTo>
                  <a:lnTo>
                    <a:pt x="287" y="205"/>
                  </a:lnTo>
                  <a:lnTo>
                    <a:pt x="285" y="206"/>
                  </a:lnTo>
                  <a:lnTo>
                    <a:pt x="284" y="208"/>
                  </a:lnTo>
                  <a:lnTo>
                    <a:pt x="282" y="209"/>
                  </a:lnTo>
                  <a:lnTo>
                    <a:pt x="282" y="210"/>
                  </a:lnTo>
                  <a:lnTo>
                    <a:pt x="279" y="211"/>
                  </a:lnTo>
                  <a:lnTo>
                    <a:pt x="277" y="212"/>
                  </a:lnTo>
                  <a:lnTo>
                    <a:pt x="276" y="213"/>
                  </a:lnTo>
                  <a:lnTo>
                    <a:pt x="274" y="215"/>
                  </a:lnTo>
                  <a:lnTo>
                    <a:pt x="269" y="218"/>
                  </a:lnTo>
                  <a:lnTo>
                    <a:pt x="268" y="218"/>
                  </a:lnTo>
                  <a:lnTo>
                    <a:pt x="266" y="219"/>
                  </a:lnTo>
                  <a:lnTo>
                    <a:pt x="265" y="220"/>
                  </a:lnTo>
                  <a:lnTo>
                    <a:pt x="264" y="221"/>
                  </a:lnTo>
                  <a:lnTo>
                    <a:pt x="262" y="222"/>
                  </a:lnTo>
                  <a:lnTo>
                    <a:pt x="262" y="222"/>
                  </a:lnTo>
                  <a:lnTo>
                    <a:pt x="258" y="224"/>
                  </a:lnTo>
                  <a:lnTo>
                    <a:pt x="256" y="225"/>
                  </a:lnTo>
                  <a:lnTo>
                    <a:pt x="255" y="225"/>
                  </a:lnTo>
                  <a:lnTo>
                    <a:pt x="254" y="225"/>
                  </a:lnTo>
                  <a:lnTo>
                    <a:pt x="254" y="226"/>
                  </a:lnTo>
                  <a:lnTo>
                    <a:pt x="253" y="226"/>
                  </a:lnTo>
                  <a:lnTo>
                    <a:pt x="253" y="227"/>
                  </a:lnTo>
                  <a:lnTo>
                    <a:pt x="252" y="228"/>
                  </a:lnTo>
                  <a:lnTo>
                    <a:pt x="252" y="228"/>
                  </a:lnTo>
                  <a:lnTo>
                    <a:pt x="252" y="229"/>
                  </a:lnTo>
                  <a:lnTo>
                    <a:pt x="252" y="229"/>
                  </a:lnTo>
                  <a:lnTo>
                    <a:pt x="252" y="232"/>
                  </a:lnTo>
                  <a:lnTo>
                    <a:pt x="252" y="233"/>
                  </a:lnTo>
                  <a:lnTo>
                    <a:pt x="252" y="234"/>
                  </a:lnTo>
                  <a:lnTo>
                    <a:pt x="251" y="239"/>
                  </a:lnTo>
                  <a:lnTo>
                    <a:pt x="251" y="239"/>
                  </a:lnTo>
                  <a:lnTo>
                    <a:pt x="250" y="240"/>
                  </a:lnTo>
                  <a:lnTo>
                    <a:pt x="250" y="241"/>
                  </a:lnTo>
                  <a:lnTo>
                    <a:pt x="249" y="242"/>
                  </a:lnTo>
                  <a:lnTo>
                    <a:pt x="248" y="243"/>
                  </a:lnTo>
                  <a:lnTo>
                    <a:pt x="247" y="244"/>
                  </a:lnTo>
                  <a:lnTo>
                    <a:pt x="245" y="245"/>
                  </a:lnTo>
                  <a:lnTo>
                    <a:pt x="244" y="246"/>
                  </a:lnTo>
                  <a:lnTo>
                    <a:pt x="243" y="247"/>
                  </a:lnTo>
                  <a:lnTo>
                    <a:pt x="242" y="247"/>
                  </a:lnTo>
                  <a:lnTo>
                    <a:pt x="241" y="248"/>
                  </a:lnTo>
                  <a:lnTo>
                    <a:pt x="240" y="248"/>
                  </a:lnTo>
                  <a:lnTo>
                    <a:pt x="239" y="248"/>
                  </a:lnTo>
                  <a:lnTo>
                    <a:pt x="238" y="248"/>
                  </a:lnTo>
                  <a:lnTo>
                    <a:pt x="238" y="248"/>
                  </a:lnTo>
                  <a:lnTo>
                    <a:pt x="237" y="247"/>
                  </a:lnTo>
                  <a:lnTo>
                    <a:pt x="234" y="246"/>
                  </a:lnTo>
                  <a:lnTo>
                    <a:pt x="233" y="246"/>
                  </a:lnTo>
                  <a:lnTo>
                    <a:pt x="232" y="246"/>
                  </a:lnTo>
                  <a:lnTo>
                    <a:pt x="231" y="245"/>
                  </a:lnTo>
                  <a:lnTo>
                    <a:pt x="230" y="245"/>
                  </a:lnTo>
                  <a:lnTo>
                    <a:pt x="229" y="246"/>
                  </a:lnTo>
                  <a:lnTo>
                    <a:pt x="228" y="246"/>
                  </a:lnTo>
                  <a:lnTo>
                    <a:pt x="226" y="246"/>
                  </a:lnTo>
                  <a:lnTo>
                    <a:pt x="224" y="246"/>
                  </a:lnTo>
                  <a:lnTo>
                    <a:pt x="223" y="246"/>
                  </a:lnTo>
                  <a:lnTo>
                    <a:pt x="222" y="246"/>
                  </a:lnTo>
                  <a:lnTo>
                    <a:pt x="221" y="246"/>
                  </a:lnTo>
                  <a:lnTo>
                    <a:pt x="220" y="246"/>
                  </a:lnTo>
                  <a:lnTo>
                    <a:pt x="219" y="246"/>
                  </a:lnTo>
                  <a:lnTo>
                    <a:pt x="218" y="246"/>
                  </a:lnTo>
                  <a:lnTo>
                    <a:pt x="215" y="245"/>
                  </a:lnTo>
                  <a:lnTo>
                    <a:pt x="214" y="244"/>
                  </a:lnTo>
                  <a:lnTo>
                    <a:pt x="209" y="243"/>
                  </a:lnTo>
                  <a:lnTo>
                    <a:pt x="208" y="242"/>
                  </a:lnTo>
                  <a:lnTo>
                    <a:pt x="206" y="242"/>
                  </a:lnTo>
                  <a:lnTo>
                    <a:pt x="205" y="241"/>
                  </a:lnTo>
                  <a:lnTo>
                    <a:pt x="205" y="241"/>
                  </a:lnTo>
                  <a:lnTo>
                    <a:pt x="203" y="241"/>
                  </a:lnTo>
                  <a:lnTo>
                    <a:pt x="202" y="241"/>
                  </a:lnTo>
                  <a:lnTo>
                    <a:pt x="201" y="241"/>
                  </a:lnTo>
                  <a:lnTo>
                    <a:pt x="201" y="241"/>
                  </a:lnTo>
                  <a:lnTo>
                    <a:pt x="200" y="241"/>
                  </a:lnTo>
                  <a:lnTo>
                    <a:pt x="199" y="242"/>
                  </a:lnTo>
                  <a:lnTo>
                    <a:pt x="196" y="243"/>
                  </a:lnTo>
                  <a:lnTo>
                    <a:pt x="195" y="243"/>
                  </a:lnTo>
                  <a:lnTo>
                    <a:pt x="194" y="243"/>
                  </a:lnTo>
                  <a:lnTo>
                    <a:pt x="192" y="243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6" y="244"/>
                  </a:lnTo>
                  <a:lnTo>
                    <a:pt x="185" y="245"/>
                  </a:lnTo>
                  <a:lnTo>
                    <a:pt x="183" y="245"/>
                  </a:lnTo>
                  <a:lnTo>
                    <a:pt x="182" y="246"/>
                  </a:lnTo>
                  <a:lnTo>
                    <a:pt x="180" y="246"/>
                  </a:lnTo>
                  <a:lnTo>
                    <a:pt x="178" y="247"/>
                  </a:lnTo>
                  <a:lnTo>
                    <a:pt x="177" y="247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4" y="250"/>
                  </a:lnTo>
                  <a:lnTo>
                    <a:pt x="174" y="250"/>
                  </a:lnTo>
                  <a:lnTo>
                    <a:pt x="173" y="251"/>
                  </a:lnTo>
                  <a:lnTo>
                    <a:pt x="173" y="251"/>
                  </a:lnTo>
                  <a:lnTo>
                    <a:pt x="171" y="253"/>
                  </a:lnTo>
                  <a:lnTo>
                    <a:pt x="170" y="253"/>
                  </a:lnTo>
                  <a:lnTo>
                    <a:pt x="169" y="254"/>
                  </a:lnTo>
                  <a:lnTo>
                    <a:pt x="168" y="254"/>
                  </a:lnTo>
                  <a:lnTo>
                    <a:pt x="168" y="255"/>
                  </a:lnTo>
                  <a:lnTo>
                    <a:pt x="167" y="255"/>
                  </a:lnTo>
                  <a:lnTo>
                    <a:pt x="167" y="256"/>
                  </a:lnTo>
                  <a:lnTo>
                    <a:pt x="167" y="257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5" y="259"/>
                  </a:lnTo>
                  <a:lnTo>
                    <a:pt x="165" y="259"/>
                  </a:lnTo>
                  <a:lnTo>
                    <a:pt x="165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3" y="257"/>
                  </a:lnTo>
                  <a:lnTo>
                    <a:pt x="162" y="255"/>
                  </a:lnTo>
                  <a:lnTo>
                    <a:pt x="162" y="255"/>
                  </a:lnTo>
                  <a:lnTo>
                    <a:pt x="161" y="254"/>
                  </a:lnTo>
                  <a:lnTo>
                    <a:pt x="160" y="253"/>
                  </a:lnTo>
                  <a:lnTo>
                    <a:pt x="159" y="252"/>
                  </a:lnTo>
                  <a:lnTo>
                    <a:pt x="158" y="252"/>
                  </a:lnTo>
                  <a:lnTo>
                    <a:pt x="157" y="251"/>
                  </a:lnTo>
                  <a:lnTo>
                    <a:pt x="155" y="251"/>
                  </a:lnTo>
                  <a:lnTo>
                    <a:pt x="155" y="251"/>
                  </a:lnTo>
                  <a:lnTo>
                    <a:pt x="154" y="251"/>
                  </a:lnTo>
                  <a:lnTo>
                    <a:pt x="153" y="251"/>
                  </a:lnTo>
                  <a:lnTo>
                    <a:pt x="151" y="252"/>
                  </a:lnTo>
                  <a:lnTo>
                    <a:pt x="150" y="252"/>
                  </a:lnTo>
                  <a:lnTo>
                    <a:pt x="149" y="253"/>
                  </a:lnTo>
                  <a:lnTo>
                    <a:pt x="148" y="253"/>
                  </a:lnTo>
                  <a:lnTo>
                    <a:pt x="147" y="254"/>
                  </a:lnTo>
                  <a:lnTo>
                    <a:pt x="145" y="255"/>
                  </a:lnTo>
                  <a:lnTo>
                    <a:pt x="144" y="256"/>
                  </a:lnTo>
                  <a:lnTo>
                    <a:pt x="144" y="256"/>
                  </a:lnTo>
                  <a:lnTo>
                    <a:pt x="143" y="257"/>
                  </a:lnTo>
                  <a:lnTo>
                    <a:pt x="142" y="257"/>
                  </a:lnTo>
                  <a:lnTo>
                    <a:pt x="141" y="257"/>
                  </a:lnTo>
                  <a:lnTo>
                    <a:pt x="140" y="257"/>
                  </a:lnTo>
                  <a:lnTo>
                    <a:pt x="140" y="257"/>
                  </a:lnTo>
                  <a:lnTo>
                    <a:pt x="139" y="257"/>
                  </a:lnTo>
                  <a:lnTo>
                    <a:pt x="134" y="255"/>
                  </a:lnTo>
                  <a:lnTo>
                    <a:pt x="130" y="254"/>
                  </a:lnTo>
                  <a:lnTo>
                    <a:pt x="128" y="254"/>
                  </a:lnTo>
                  <a:lnTo>
                    <a:pt x="128" y="253"/>
                  </a:lnTo>
                  <a:lnTo>
                    <a:pt x="128" y="253"/>
                  </a:lnTo>
                  <a:lnTo>
                    <a:pt x="128" y="252"/>
                  </a:lnTo>
                  <a:lnTo>
                    <a:pt x="127" y="251"/>
                  </a:lnTo>
                  <a:lnTo>
                    <a:pt x="127" y="250"/>
                  </a:lnTo>
                  <a:lnTo>
                    <a:pt x="126" y="250"/>
                  </a:lnTo>
                  <a:lnTo>
                    <a:pt x="125" y="249"/>
                  </a:lnTo>
                  <a:lnTo>
                    <a:pt x="125" y="248"/>
                  </a:lnTo>
                  <a:lnTo>
                    <a:pt x="124" y="247"/>
                  </a:lnTo>
                  <a:lnTo>
                    <a:pt x="123" y="246"/>
                  </a:lnTo>
                  <a:lnTo>
                    <a:pt x="120" y="245"/>
                  </a:lnTo>
                  <a:lnTo>
                    <a:pt x="119" y="244"/>
                  </a:lnTo>
                  <a:lnTo>
                    <a:pt x="114" y="241"/>
                  </a:lnTo>
                  <a:lnTo>
                    <a:pt x="112" y="240"/>
                  </a:lnTo>
                  <a:lnTo>
                    <a:pt x="110" y="239"/>
                  </a:lnTo>
                  <a:lnTo>
                    <a:pt x="109" y="238"/>
                  </a:lnTo>
                  <a:lnTo>
                    <a:pt x="108" y="237"/>
                  </a:lnTo>
                  <a:lnTo>
                    <a:pt x="108" y="237"/>
                  </a:lnTo>
                  <a:lnTo>
                    <a:pt x="108" y="236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4"/>
                  </a:lnTo>
                  <a:lnTo>
                    <a:pt x="107" y="233"/>
                  </a:lnTo>
                  <a:lnTo>
                    <a:pt x="107" y="232"/>
                  </a:lnTo>
                  <a:lnTo>
                    <a:pt x="108" y="231"/>
                  </a:lnTo>
                  <a:lnTo>
                    <a:pt x="108" y="230"/>
                  </a:lnTo>
                  <a:lnTo>
                    <a:pt x="108" y="230"/>
                  </a:lnTo>
                  <a:lnTo>
                    <a:pt x="110" y="227"/>
                  </a:lnTo>
                  <a:lnTo>
                    <a:pt x="110" y="226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1" y="224"/>
                  </a:lnTo>
                  <a:lnTo>
                    <a:pt x="111" y="223"/>
                  </a:lnTo>
                  <a:lnTo>
                    <a:pt x="111" y="222"/>
                  </a:lnTo>
                  <a:lnTo>
                    <a:pt x="111" y="222"/>
                  </a:lnTo>
                  <a:lnTo>
                    <a:pt x="110" y="221"/>
                  </a:lnTo>
                  <a:lnTo>
                    <a:pt x="110" y="220"/>
                  </a:lnTo>
                  <a:lnTo>
                    <a:pt x="110" y="220"/>
                  </a:lnTo>
                  <a:lnTo>
                    <a:pt x="110" y="219"/>
                  </a:lnTo>
                  <a:lnTo>
                    <a:pt x="109" y="219"/>
                  </a:lnTo>
                  <a:lnTo>
                    <a:pt x="109" y="218"/>
                  </a:lnTo>
                  <a:lnTo>
                    <a:pt x="107" y="216"/>
                  </a:lnTo>
                  <a:lnTo>
                    <a:pt x="105" y="215"/>
                  </a:lnTo>
                  <a:lnTo>
                    <a:pt x="104" y="215"/>
                  </a:lnTo>
                  <a:lnTo>
                    <a:pt x="104" y="214"/>
                  </a:lnTo>
                  <a:lnTo>
                    <a:pt x="103" y="214"/>
                  </a:lnTo>
                  <a:lnTo>
                    <a:pt x="102" y="214"/>
                  </a:lnTo>
                  <a:lnTo>
                    <a:pt x="101" y="213"/>
                  </a:lnTo>
                  <a:lnTo>
                    <a:pt x="100" y="213"/>
                  </a:lnTo>
                  <a:lnTo>
                    <a:pt x="98" y="213"/>
                  </a:lnTo>
                  <a:lnTo>
                    <a:pt x="97" y="213"/>
                  </a:lnTo>
                  <a:lnTo>
                    <a:pt x="96" y="213"/>
                  </a:lnTo>
                  <a:lnTo>
                    <a:pt x="95" y="213"/>
                  </a:lnTo>
                  <a:lnTo>
                    <a:pt x="95" y="212"/>
                  </a:lnTo>
                  <a:lnTo>
                    <a:pt x="94" y="212"/>
                  </a:lnTo>
                  <a:lnTo>
                    <a:pt x="94" y="212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2" y="209"/>
                  </a:lnTo>
                  <a:lnTo>
                    <a:pt x="91" y="208"/>
                  </a:lnTo>
                  <a:lnTo>
                    <a:pt x="90" y="207"/>
                  </a:lnTo>
                  <a:lnTo>
                    <a:pt x="87" y="205"/>
                  </a:lnTo>
                  <a:lnTo>
                    <a:pt x="85" y="204"/>
                  </a:lnTo>
                  <a:lnTo>
                    <a:pt x="84" y="203"/>
                  </a:lnTo>
                  <a:lnTo>
                    <a:pt x="83" y="203"/>
                  </a:lnTo>
                  <a:lnTo>
                    <a:pt x="83" y="202"/>
                  </a:lnTo>
                  <a:lnTo>
                    <a:pt x="81" y="201"/>
                  </a:lnTo>
                  <a:lnTo>
                    <a:pt x="80" y="201"/>
                  </a:lnTo>
                  <a:lnTo>
                    <a:pt x="79" y="200"/>
                  </a:lnTo>
                  <a:lnTo>
                    <a:pt x="76" y="199"/>
                  </a:lnTo>
                  <a:lnTo>
                    <a:pt x="75" y="198"/>
                  </a:lnTo>
                  <a:lnTo>
                    <a:pt x="73" y="196"/>
                  </a:lnTo>
                  <a:lnTo>
                    <a:pt x="70" y="193"/>
                  </a:lnTo>
                  <a:lnTo>
                    <a:pt x="69" y="192"/>
                  </a:lnTo>
                  <a:lnTo>
                    <a:pt x="68" y="192"/>
                  </a:lnTo>
                  <a:lnTo>
                    <a:pt x="68" y="192"/>
                  </a:lnTo>
                  <a:lnTo>
                    <a:pt x="67" y="191"/>
                  </a:lnTo>
                  <a:lnTo>
                    <a:pt x="65" y="190"/>
                  </a:lnTo>
                  <a:lnTo>
                    <a:pt x="64" y="190"/>
                  </a:lnTo>
                  <a:lnTo>
                    <a:pt x="64" y="190"/>
                  </a:lnTo>
                  <a:lnTo>
                    <a:pt x="63" y="189"/>
                  </a:lnTo>
                  <a:lnTo>
                    <a:pt x="62" y="188"/>
                  </a:lnTo>
                  <a:lnTo>
                    <a:pt x="61" y="187"/>
                  </a:lnTo>
                  <a:lnTo>
                    <a:pt x="60" y="185"/>
                  </a:lnTo>
                  <a:lnTo>
                    <a:pt x="59" y="185"/>
                  </a:lnTo>
                  <a:lnTo>
                    <a:pt x="59" y="184"/>
                  </a:lnTo>
                  <a:lnTo>
                    <a:pt x="58" y="183"/>
                  </a:lnTo>
                  <a:lnTo>
                    <a:pt x="57" y="182"/>
                  </a:lnTo>
                  <a:lnTo>
                    <a:pt x="55" y="182"/>
                  </a:lnTo>
                  <a:lnTo>
                    <a:pt x="54" y="181"/>
                  </a:lnTo>
                  <a:lnTo>
                    <a:pt x="51" y="180"/>
                  </a:lnTo>
                  <a:lnTo>
                    <a:pt x="50" y="180"/>
                  </a:lnTo>
                  <a:lnTo>
                    <a:pt x="48" y="179"/>
                  </a:lnTo>
                  <a:lnTo>
                    <a:pt x="47" y="179"/>
                  </a:lnTo>
                  <a:lnTo>
                    <a:pt x="47" y="178"/>
                  </a:lnTo>
                  <a:lnTo>
                    <a:pt x="47" y="178"/>
                  </a:lnTo>
                  <a:lnTo>
                    <a:pt x="46" y="178"/>
                  </a:lnTo>
                  <a:lnTo>
                    <a:pt x="46" y="177"/>
                  </a:lnTo>
                  <a:lnTo>
                    <a:pt x="46" y="177"/>
                  </a:lnTo>
                  <a:lnTo>
                    <a:pt x="46" y="176"/>
                  </a:lnTo>
                  <a:lnTo>
                    <a:pt x="46" y="176"/>
                  </a:lnTo>
                  <a:lnTo>
                    <a:pt x="46" y="174"/>
                  </a:lnTo>
                  <a:lnTo>
                    <a:pt x="46" y="173"/>
                  </a:lnTo>
                  <a:lnTo>
                    <a:pt x="46" y="172"/>
                  </a:lnTo>
                  <a:lnTo>
                    <a:pt x="46" y="171"/>
                  </a:lnTo>
                  <a:lnTo>
                    <a:pt x="45" y="170"/>
                  </a:lnTo>
                  <a:lnTo>
                    <a:pt x="44" y="169"/>
                  </a:lnTo>
                  <a:lnTo>
                    <a:pt x="43" y="167"/>
                  </a:lnTo>
                  <a:lnTo>
                    <a:pt x="42" y="166"/>
                  </a:lnTo>
                  <a:lnTo>
                    <a:pt x="41" y="165"/>
                  </a:lnTo>
                  <a:lnTo>
                    <a:pt x="40" y="164"/>
                  </a:lnTo>
                  <a:lnTo>
                    <a:pt x="40" y="163"/>
                  </a:lnTo>
                  <a:lnTo>
                    <a:pt x="39" y="163"/>
                  </a:lnTo>
                  <a:lnTo>
                    <a:pt x="38" y="162"/>
                  </a:lnTo>
                  <a:lnTo>
                    <a:pt x="37" y="162"/>
                  </a:lnTo>
                  <a:lnTo>
                    <a:pt x="36" y="161"/>
                  </a:lnTo>
                  <a:lnTo>
                    <a:pt x="35" y="161"/>
                  </a:lnTo>
                  <a:lnTo>
                    <a:pt x="34" y="160"/>
                  </a:lnTo>
                  <a:lnTo>
                    <a:pt x="32" y="158"/>
                  </a:lnTo>
                  <a:lnTo>
                    <a:pt x="31" y="158"/>
                  </a:lnTo>
                  <a:lnTo>
                    <a:pt x="30" y="157"/>
                  </a:lnTo>
                  <a:lnTo>
                    <a:pt x="30" y="157"/>
                  </a:lnTo>
                  <a:lnTo>
                    <a:pt x="29" y="156"/>
                  </a:lnTo>
                  <a:lnTo>
                    <a:pt x="29" y="155"/>
                  </a:lnTo>
                  <a:lnTo>
                    <a:pt x="28" y="154"/>
                  </a:lnTo>
                  <a:lnTo>
                    <a:pt x="28" y="153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7" y="149"/>
                  </a:lnTo>
                  <a:lnTo>
                    <a:pt x="27" y="148"/>
                  </a:lnTo>
                  <a:lnTo>
                    <a:pt x="27" y="146"/>
                  </a:lnTo>
                  <a:lnTo>
                    <a:pt x="27" y="145"/>
                  </a:lnTo>
                  <a:lnTo>
                    <a:pt x="27" y="143"/>
                  </a:lnTo>
                  <a:lnTo>
                    <a:pt x="27" y="142"/>
                  </a:lnTo>
                  <a:lnTo>
                    <a:pt x="27" y="141"/>
                  </a:lnTo>
                  <a:lnTo>
                    <a:pt x="28" y="136"/>
                  </a:lnTo>
                  <a:lnTo>
                    <a:pt x="30" y="133"/>
                  </a:lnTo>
                  <a:lnTo>
                    <a:pt x="30" y="131"/>
                  </a:lnTo>
                  <a:lnTo>
                    <a:pt x="30" y="130"/>
                  </a:lnTo>
                  <a:lnTo>
                    <a:pt x="30" y="129"/>
                  </a:lnTo>
                  <a:lnTo>
                    <a:pt x="30" y="128"/>
                  </a:lnTo>
                  <a:lnTo>
                    <a:pt x="30" y="127"/>
                  </a:lnTo>
                  <a:lnTo>
                    <a:pt x="30" y="125"/>
                  </a:lnTo>
                  <a:lnTo>
                    <a:pt x="29" y="124"/>
                  </a:lnTo>
                  <a:lnTo>
                    <a:pt x="29" y="122"/>
                  </a:lnTo>
                  <a:lnTo>
                    <a:pt x="28" y="121"/>
                  </a:lnTo>
                  <a:lnTo>
                    <a:pt x="28" y="120"/>
                  </a:lnTo>
                  <a:lnTo>
                    <a:pt x="27" y="117"/>
                  </a:lnTo>
                  <a:lnTo>
                    <a:pt x="26" y="115"/>
                  </a:lnTo>
                  <a:lnTo>
                    <a:pt x="26" y="115"/>
                  </a:lnTo>
                  <a:lnTo>
                    <a:pt x="25" y="114"/>
                  </a:lnTo>
                  <a:lnTo>
                    <a:pt x="24" y="113"/>
                  </a:lnTo>
                  <a:lnTo>
                    <a:pt x="23" y="111"/>
                  </a:lnTo>
                  <a:lnTo>
                    <a:pt x="21" y="109"/>
                  </a:lnTo>
                  <a:lnTo>
                    <a:pt x="21" y="109"/>
                  </a:lnTo>
                  <a:lnTo>
                    <a:pt x="19" y="107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7" y="103"/>
                  </a:lnTo>
                  <a:lnTo>
                    <a:pt x="16" y="102"/>
                  </a:lnTo>
                  <a:lnTo>
                    <a:pt x="15" y="101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2" y="98"/>
                  </a:lnTo>
                  <a:lnTo>
                    <a:pt x="11" y="98"/>
                  </a:lnTo>
                  <a:lnTo>
                    <a:pt x="9" y="97"/>
                  </a:lnTo>
                  <a:lnTo>
                    <a:pt x="8" y="97"/>
                  </a:lnTo>
                  <a:lnTo>
                    <a:pt x="7" y="96"/>
                  </a:lnTo>
                  <a:lnTo>
                    <a:pt x="6" y="96"/>
                  </a:lnTo>
                  <a:lnTo>
                    <a:pt x="5" y="95"/>
                  </a:lnTo>
                  <a:lnTo>
                    <a:pt x="4" y="95"/>
                  </a:lnTo>
                  <a:lnTo>
                    <a:pt x="4" y="94"/>
                  </a:lnTo>
                  <a:lnTo>
                    <a:pt x="3" y="94"/>
                  </a:lnTo>
                  <a:lnTo>
                    <a:pt x="2" y="93"/>
                  </a:lnTo>
                  <a:lnTo>
                    <a:pt x="1" y="92"/>
                  </a:lnTo>
                  <a:lnTo>
                    <a:pt x="1" y="91"/>
                  </a:lnTo>
                  <a:lnTo>
                    <a:pt x="0" y="91"/>
                  </a:lnTo>
                  <a:lnTo>
                    <a:pt x="0" y="90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8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6"/>
                  </a:lnTo>
                  <a:lnTo>
                    <a:pt x="1" y="85"/>
                  </a:lnTo>
                  <a:lnTo>
                    <a:pt x="1" y="85"/>
                  </a:lnTo>
                  <a:lnTo>
                    <a:pt x="2" y="84"/>
                  </a:lnTo>
                  <a:lnTo>
                    <a:pt x="3" y="83"/>
                  </a:lnTo>
                  <a:lnTo>
                    <a:pt x="4" y="82"/>
                  </a:lnTo>
                  <a:lnTo>
                    <a:pt x="5" y="81"/>
                  </a:lnTo>
                  <a:lnTo>
                    <a:pt x="6" y="80"/>
                  </a:lnTo>
                  <a:lnTo>
                    <a:pt x="7" y="80"/>
                  </a:lnTo>
                  <a:lnTo>
                    <a:pt x="8" y="79"/>
                  </a:lnTo>
                  <a:lnTo>
                    <a:pt x="8" y="78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9" y="76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3"/>
                  </a:lnTo>
                  <a:lnTo>
                    <a:pt x="8" y="70"/>
                  </a:lnTo>
                  <a:lnTo>
                    <a:pt x="8" y="69"/>
                  </a:lnTo>
                  <a:lnTo>
                    <a:pt x="7" y="67"/>
                  </a:lnTo>
                  <a:lnTo>
                    <a:pt x="7" y="65"/>
                  </a:lnTo>
                  <a:lnTo>
                    <a:pt x="7" y="64"/>
                  </a:lnTo>
                  <a:lnTo>
                    <a:pt x="6" y="63"/>
                  </a:lnTo>
                  <a:lnTo>
                    <a:pt x="6" y="62"/>
                  </a:lnTo>
                  <a:lnTo>
                    <a:pt x="5" y="61"/>
                  </a:lnTo>
                  <a:lnTo>
                    <a:pt x="4" y="60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5" y="58"/>
                  </a:lnTo>
                  <a:lnTo>
                    <a:pt x="6" y="58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12" y="57"/>
                  </a:lnTo>
                  <a:lnTo>
                    <a:pt x="14" y="57"/>
                  </a:lnTo>
                  <a:lnTo>
                    <a:pt x="16" y="57"/>
                  </a:lnTo>
                  <a:lnTo>
                    <a:pt x="18" y="57"/>
                  </a:lnTo>
                  <a:lnTo>
                    <a:pt x="19" y="57"/>
                  </a:lnTo>
                  <a:lnTo>
                    <a:pt x="21" y="57"/>
                  </a:lnTo>
                  <a:lnTo>
                    <a:pt x="22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4" y="59"/>
                  </a:lnTo>
                  <a:lnTo>
                    <a:pt x="25" y="59"/>
                  </a:lnTo>
                  <a:lnTo>
                    <a:pt x="26" y="60"/>
                  </a:lnTo>
                  <a:lnTo>
                    <a:pt x="27" y="61"/>
                  </a:lnTo>
                  <a:lnTo>
                    <a:pt x="28" y="63"/>
                  </a:lnTo>
                  <a:lnTo>
                    <a:pt x="28" y="64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6"/>
                  </a:lnTo>
                  <a:lnTo>
                    <a:pt x="30" y="70"/>
                  </a:lnTo>
                  <a:lnTo>
                    <a:pt x="30" y="71"/>
                  </a:lnTo>
                  <a:lnTo>
                    <a:pt x="31" y="74"/>
                  </a:lnTo>
                  <a:lnTo>
                    <a:pt x="31" y="75"/>
                  </a:lnTo>
                  <a:lnTo>
                    <a:pt x="32" y="76"/>
                  </a:lnTo>
                  <a:lnTo>
                    <a:pt x="32" y="77"/>
                  </a:lnTo>
                  <a:lnTo>
                    <a:pt x="33" y="78"/>
                  </a:lnTo>
                  <a:lnTo>
                    <a:pt x="33" y="79"/>
                  </a:lnTo>
                  <a:lnTo>
                    <a:pt x="34" y="79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6" y="80"/>
                  </a:lnTo>
                  <a:lnTo>
                    <a:pt x="37" y="81"/>
                  </a:lnTo>
                  <a:lnTo>
                    <a:pt x="42" y="83"/>
                  </a:lnTo>
                  <a:lnTo>
                    <a:pt x="43" y="83"/>
                  </a:lnTo>
                  <a:lnTo>
                    <a:pt x="44" y="83"/>
                  </a:lnTo>
                  <a:lnTo>
                    <a:pt x="45" y="84"/>
                  </a:lnTo>
                  <a:lnTo>
                    <a:pt x="45" y="85"/>
                  </a:lnTo>
                  <a:lnTo>
                    <a:pt x="46" y="85"/>
                  </a:lnTo>
                  <a:lnTo>
                    <a:pt x="46" y="86"/>
                  </a:lnTo>
                  <a:lnTo>
                    <a:pt x="47" y="87"/>
                  </a:lnTo>
                  <a:lnTo>
                    <a:pt x="47" y="87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7" y="89"/>
                  </a:lnTo>
                  <a:lnTo>
                    <a:pt x="46" y="89"/>
                  </a:lnTo>
                  <a:lnTo>
                    <a:pt x="46" y="89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4" y="90"/>
                  </a:lnTo>
                  <a:lnTo>
                    <a:pt x="44" y="91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3"/>
                  </a:lnTo>
                  <a:lnTo>
                    <a:pt x="44" y="94"/>
                  </a:lnTo>
                  <a:lnTo>
                    <a:pt x="45" y="94"/>
                  </a:lnTo>
                  <a:lnTo>
                    <a:pt x="45" y="95"/>
                  </a:lnTo>
                  <a:lnTo>
                    <a:pt x="46" y="96"/>
                  </a:lnTo>
                  <a:lnTo>
                    <a:pt x="47" y="97"/>
                  </a:lnTo>
                  <a:lnTo>
                    <a:pt x="48" y="98"/>
                  </a:lnTo>
                  <a:lnTo>
                    <a:pt x="51" y="100"/>
                  </a:lnTo>
                  <a:lnTo>
                    <a:pt x="51" y="101"/>
                  </a:lnTo>
                  <a:lnTo>
                    <a:pt x="52" y="102"/>
                  </a:lnTo>
                  <a:lnTo>
                    <a:pt x="53" y="103"/>
                  </a:lnTo>
                  <a:lnTo>
                    <a:pt x="54" y="104"/>
                  </a:lnTo>
                  <a:lnTo>
                    <a:pt x="54" y="105"/>
                  </a:lnTo>
                  <a:lnTo>
                    <a:pt x="54" y="105"/>
                  </a:lnTo>
                  <a:lnTo>
                    <a:pt x="54" y="106"/>
                  </a:lnTo>
                  <a:lnTo>
                    <a:pt x="54" y="107"/>
                  </a:lnTo>
                  <a:lnTo>
                    <a:pt x="54" y="109"/>
                  </a:lnTo>
                  <a:lnTo>
                    <a:pt x="54" y="112"/>
                  </a:lnTo>
                  <a:lnTo>
                    <a:pt x="53" y="113"/>
                  </a:lnTo>
                  <a:lnTo>
                    <a:pt x="53" y="115"/>
                  </a:lnTo>
                  <a:lnTo>
                    <a:pt x="53" y="116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8"/>
                  </a:lnTo>
                  <a:lnTo>
                    <a:pt x="53" y="119"/>
                  </a:lnTo>
                  <a:lnTo>
                    <a:pt x="54" y="121"/>
                  </a:lnTo>
                  <a:lnTo>
                    <a:pt x="55" y="122"/>
                  </a:lnTo>
                  <a:lnTo>
                    <a:pt x="56" y="123"/>
                  </a:lnTo>
                  <a:lnTo>
                    <a:pt x="56" y="124"/>
                  </a:lnTo>
                  <a:lnTo>
                    <a:pt x="57" y="125"/>
                  </a:lnTo>
                  <a:lnTo>
                    <a:pt x="57" y="125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6"/>
                  </a:lnTo>
                  <a:lnTo>
                    <a:pt x="60" y="127"/>
                  </a:lnTo>
                  <a:lnTo>
                    <a:pt x="61" y="127"/>
                  </a:lnTo>
                  <a:lnTo>
                    <a:pt x="62" y="127"/>
                  </a:lnTo>
                  <a:lnTo>
                    <a:pt x="63" y="127"/>
                  </a:lnTo>
                  <a:lnTo>
                    <a:pt x="64" y="128"/>
                  </a:lnTo>
                  <a:lnTo>
                    <a:pt x="64" y="127"/>
                  </a:lnTo>
                  <a:lnTo>
                    <a:pt x="65" y="127"/>
                  </a:lnTo>
                  <a:lnTo>
                    <a:pt x="65" y="127"/>
                  </a:lnTo>
                  <a:lnTo>
                    <a:pt x="66" y="127"/>
                  </a:lnTo>
                  <a:lnTo>
                    <a:pt x="66" y="127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7" y="123"/>
                  </a:lnTo>
                  <a:lnTo>
                    <a:pt x="67" y="121"/>
                  </a:lnTo>
                  <a:lnTo>
                    <a:pt x="67" y="120"/>
                  </a:lnTo>
                  <a:lnTo>
                    <a:pt x="67" y="119"/>
                  </a:lnTo>
                  <a:lnTo>
                    <a:pt x="67" y="118"/>
                  </a:lnTo>
                  <a:lnTo>
                    <a:pt x="67" y="116"/>
                  </a:lnTo>
                  <a:lnTo>
                    <a:pt x="67" y="114"/>
                  </a:lnTo>
                  <a:lnTo>
                    <a:pt x="67" y="113"/>
                  </a:lnTo>
                  <a:lnTo>
                    <a:pt x="67" y="112"/>
                  </a:lnTo>
                  <a:lnTo>
                    <a:pt x="67" y="110"/>
                  </a:lnTo>
                  <a:lnTo>
                    <a:pt x="67" y="109"/>
                  </a:lnTo>
                  <a:lnTo>
                    <a:pt x="67" y="105"/>
                  </a:lnTo>
                  <a:lnTo>
                    <a:pt x="68" y="102"/>
                  </a:lnTo>
                  <a:lnTo>
                    <a:pt x="68" y="101"/>
                  </a:lnTo>
                  <a:lnTo>
                    <a:pt x="68" y="100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8"/>
                  </a:lnTo>
                  <a:lnTo>
                    <a:pt x="70" y="98"/>
                  </a:lnTo>
                  <a:lnTo>
                    <a:pt x="70" y="98"/>
                  </a:lnTo>
                  <a:lnTo>
                    <a:pt x="70" y="97"/>
                  </a:lnTo>
                  <a:lnTo>
                    <a:pt x="72" y="97"/>
                  </a:lnTo>
                  <a:lnTo>
                    <a:pt x="73" y="97"/>
                  </a:lnTo>
                  <a:lnTo>
                    <a:pt x="73" y="96"/>
                  </a:lnTo>
                  <a:lnTo>
                    <a:pt x="73" y="96"/>
                  </a:lnTo>
                  <a:lnTo>
                    <a:pt x="74" y="96"/>
                  </a:lnTo>
                  <a:lnTo>
                    <a:pt x="74" y="95"/>
                  </a:lnTo>
                  <a:lnTo>
                    <a:pt x="74" y="94"/>
                  </a:lnTo>
                  <a:lnTo>
                    <a:pt x="74" y="94"/>
                  </a:lnTo>
                  <a:lnTo>
                    <a:pt x="75" y="93"/>
                  </a:lnTo>
                  <a:lnTo>
                    <a:pt x="75" y="91"/>
                  </a:lnTo>
                  <a:lnTo>
                    <a:pt x="75" y="90"/>
                  </a:lnTo>
                  <a:lnTo>
                    <a:pt x="75" y="89"/>
                  </a:lnTo>
                  <a:lnTo>
                    <a:pt x="76" y="87"/>
                  </a:lnTo>
                  <a:lnTo>
                    <a:pt x="76" y="86"/>
                  </a:lnTo>
                  <a:lnTo>
                    <a:pt x="77" y="84"/>
                  </a:lnTo>
                  <a:lnTo>
                    <a:pt x="78" y="82"/>
                  </a:lnTo>
                  <a:lnTo>
                    <a:pt x="78" y="81"/>
                  </a:lnTo>
                  <a:lnTo>
                    <a:pt x="79" y="80"/>
                  </a:lnTo>
                  <a:lnTo>
                    <a:pt x="80" y="79"/>
                  </a:lnTo>
                  <a:lnTo>
                    <a:pt x="81" y="78"/>
                  </a:lnTo>
                  <a:lnTo>
                    <a:pt x="82" y="76"/>
                  </a:lnTo>
                  <a:lnTo>
                    <a:pt x="86" y="73"/>
                  </a:lnTo>
                  <a:lnTo>
                    <a:pt x="86" y="72"/>
                  </a:lnTo>
                  <a:lnTo>
                    <a:pt x="87" y="71"/>
                  </a:lnTo>
                  <a:lnTo>
                    <a:pt x="88" y="70"/>
                  </a:lnTo>
                  <a:lnTo>
                    <a:pt x="88" y="69"/>
                  </a:lnTo>
                  <a:lnTo>
                    <a:pt x="89" y="68"/>
                  </a:lnTo>
                  <a:lnTo>
                    <a:pt x="90" y="65"/>
                  </a:lnTo>
                  <a:lnTo>
                    <a:pt x="91" y="63"/>
                  </a:lnTo>
                  <a:lnTo>
                    <a:pt x="91" y="62"/>
                  </a:lnTo>
                  <a:lnTo>
                    <a:pt x="91" y="62"/>
                  </a:lnTo>
                  <a:lnTo>
                    <a:pt x="91" y="61"/>
                  </a:lnTo>
                  <a:lnTo>
                    <a:pt x="92" y="61"/>
                  </a:lnTo>
                  <a:lnTo>
                    <a:pt x="93" y="60"/>
                  </a:lnTo>
                  <a:lnTo>
                    <a:pt x="94" y="60"/>
                  </a:lnTo>
                  <a:lnTo>
                    <a:pt x="94" y="59"/>
                  </a:lnTo>
                  <a:lnTo>
                    <a:pt x="97" y="58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9" y="56"/>
                  </a:lnTo>
                  <a:lnTo>
                    <a:pt x="100" y="55"/>
                  </a:lnTo>
                  <a:lnTo>
                    <a:pt x="102" y="53"/>
                  </a:lnTo>
                  <a:lnTo>
                    <a:pt x="103" y="51"/>
                  </a:lnTo>
                  <a:lnTo>
                    <a:pt x="105" y="50"/>
                  </a:lnTo>
                  <a:lnTo>
                    <a:pt x="106" y="49"/>
                  </a:lnTo>
                  <a:lnTo>
                    <a:pt x="108" y="48"/>
                  </a:lnTo>
                  <a:lnTo>
                    <a:pt x="109" y="47"/>
                  </a:lnTo>
                  <a:lnTo>
                    <a:pt x="110" y="47"/>
                  </a:lnTo>
                  <a:lnTo>
                    <a:pt x="112" y="46"/>
                  </a:lnTo>
                  <a:lnTo>
                    <a:pt x="113" y="46"/>
                  </a:lnTo>
                  <a:lnTo>
                    <a:pt x="114" y="46"/>
                  </a:lnTo>
                  <a:lnTo>
                    <a:pt x="114" y="46"/>
                  </a:lnTo>
                  <a:lnTo>
                    <a:pt x="115" y="45"/>
                  </a:lnTo>
                  <a:lnTo>
                    <a:pt x="115" y="45"/>
                  </a:lnTo>
                  <a:lnTo>
                    <a:pt x="115" y="44"/>
                  </a:lnTo>
                  <a:lnTo>
                    <a:pt x="116" y="43"/>
                  </a:lnTo>
                  <a:lnTo>
                    <a:pt x="116" y="42"/>
                  </a:lnTo>
                  <a:lnTo>
                    <a:pt x="117" y="39"/>
                  </a:lnTo>
                  <a:lnTo>
                    <a:pt x="118" y="38"/>
                  </a:lnTo>
                  <a:lnTo>
                    <a:pt x="118" y="37"/>
                  </a:lnTo>
                  <a:lnTo>
                    <a:pt x="119" y="35"/>
                  </a:lnTo>
                  <a:lnTo>
                    <a:pt x="120" y="33"/>
                  </a:lnTo>
                  <a:lnTo>
                    <a:pt x="121" y="31"/>
                  </a:lnTo>
                  <a:lnTo>
                    <a:pt x="122" y="31"/>
                  </a:lnTo>
                  <a:lnTo>
                    <a:pt x="123" y="30"/>
                  </a:lnTo>
                  <a:lnTo>
                    <a:pt x="123" y="29"/>
                  </a:lnTo>
                  <a:lnTo>
                    <a:pt x="124" y="29"/>
                  </a:lnTo>
                  <a:lnTo>
                    <a:pt x="125" y="28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8" y="26"/>
                  </a:lnTo>
                  <a:lnTo>
                    <a:pt x="130" y="26"/>
                  </a:lnTo>
                  <a:lnTo>
                    <a:pt x="133" y="25"/>
                  </a:lnTo>
                  <a:lnTo>
                    <a:pt x="137" y="24"/>
                  </a:lnTo>
                  <a:lnTo>
                    <a:pt x="139" y="24"/>
                  </a:lnTo>
                  <a:lnTo>
                    <a:pt x="145" y="22"/>
                  </a:lnTo>
                  <a:lnTo>
                    <a:pt x="150" y="21"/>
                  </a:lnTo>
                  <a:lnTo>
                    <a:pt x="154" y="20"/>
                  </a:lnTo>
                  <a:lnTo>
                    <a:pt x="155" y="20"/>
                  </a:lnTo>
                  <a:lnTo>
                    <a:pt x="156" y="20"/>
                  </a:lnTo>
                  <a:lnTo>
                    <a:pt x="157" y="20"/>
                  </a:lnTo>
                  <a:lnTo>
                    <a:pt x="159" y="20"/>
                  </a:lnTo>
                  <a:lnTo>
                    <a:pt x="160" y="20"/>
                  </a:lnTo>
                  <a:lnTo>
                    <a:pt x="164" y="20"/>
                  </a:lnTo>
                  <a:lnTo>
                    <a:pt x="169" y="20"/>
                  </a:lnTo>
                  <a:lnTo>
                    <a:pt x="171" y="21"/>
                  </a:lnTo>
                  <a:lnTo>
                    <a:pt x="172" y="21"/>
                  </a:lnTo>
                  <a:lnTo>
                    <a:pt x="173" y="21"/>
                  </a:lnTo>
                  <a:lnTo>
                    <a:pt x="174" y="22"/>
                  </a:lnTo>
                  <a:lnTo>
                    <a:pt x="177" y="23"/>
                  </a:lnTo>
                  <a:lnTo>
                    <a:pt x="178" y="24"/>
                  </a:lnTo>
                  <a:lnTo>
                    <a:pt x="179" y="24"/>
                  </a:lnTo>
                  <a:lnTo>
                    <a:pt x="179" y="24"/>
                  </a:lnTo>
                  <a:lnTo>
                    <a:pt x="180" y="24"/>
                  </a:lnTo>
                  <a:lnTo>
                    <a:pt x="181" y="24"/>
                  </a:lnTo>
                  <a:lnTo>
                    <a:pt x="181" y="24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90" y="15"/>
                  </a:lnTo>
                  <a:lnTo>
                    <a:pt x="191" y="14"/>
                  </a:lnTo>
                  <a:lnTo>
                    <a:pt x="192" y="13"/>
                  </a:lnTo>
                  <a:lnTo>
                    <a:pt x="192" y="12"/>
                  </a:lnTo>
                  <a:lnTo>
                    <a:pt x="194" y="12"/>
                  </a:lnTo>
                  <a:lnTo>
                    <a:pt x="195" y="11"/>
                  </a:lnTo>
                  <a:lnTo>
                    <a:pt x="197" y="10"/>
                  </a:lnTo>
                  <a:lnTo>
                    <a:pt x="199" y="9"/>
                  </a:lnTo>
                  <a:lnTo>
                    <a:pt x="201" y="8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5" y="7"/>
                  </a:lnTo>
                  <a:lnTo>
                    <a:pt x="206" y="7"/>
                  </a:lnTo>
                  <a:lnTo>
                    <a:pt x="207" y="7"/>
                  </a:lnTo>
                  <a:lnTo>
                    <a:pt x="207" y="7"/>
                  </a:lnTo>
                  <a:lnTo>
                    <a:pt x="207" y="7"/>
                  </a:lnTo>
                  <a:lnTo>
                    <a:pt x="208" y="7"/>
                  </a:lnTo>
                  <a:lnTo>
                    <a:pt x="210" y="8"/>
                  </a:lnTo>
                  <a:lnTo>
                    <a:pt x="211" y="8"/>
                  </a:lnTo>
                  <a:lnTo>
                    <a:pt x="211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3" y="7"/>
                  </a:lnTo>
                  <a:lnTo>
                    <a:pt x="213" y="7"/>
                  </a:lnTo>
                  <a:lnTo>
                    <a:pt x="213" y="7"/>
                  </a:lnTo>
                  <a:lnTo>
                    <a:pt x="215" y="3"/>
                  </a:lnTo>
                  <a:lnTo>
                    <a:pt x="216" y="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595959"/>
            </a:solidFill>
            <a:ln w="20638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Freeform 53">
              <a:extLst>
                <a:ext uri="{FF2B5EF4-FFF2-40B4-BE49-F238E27FC236}">
                  <a16:creationId xmlns:a16="http://schemas.microsoft.com/office/drawing/2014/main" id="{65148A5F-12BD-2020-E251-20C3F46B25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2866"/>
              <a:ext cx="504" cy="447"/>
            </a:xfrm>
            <a:custGeom>
              <a:avLst/>
              <a:gdLst>
                <a:gd name="T0" fmla="*/ 434 w 504"/>
                <a:gd name="T1" fmla="*/ 15 h 447"/>
                <a:gd name="T2" fmla="*/ 459 w 504"/>
                <a:gd name="T3" fmla="*/ 8 h 447"/>
                <a:gd name="T4" fmla="*/ 472 w 504"/>
                <a:gd name="T5" fmla="*/ 21 h 447"/>
                <a:gd name="T6" fmla="*/ 486 w 504"/>
                <a:gd name="T7" fmla="*/ 47 h 447"/>
                <a:gd name="T8" fmla="*/ 489 w 504"/>
                <a:gd name="T9" fmla="*/ 63 h 447"/>
                <a:gd name="T10" fmla="*/ 497 w 504"/>
                <a:gd name="T11" fmla="*/ 84 h 447"/>
                <a:gd name="T12" fmla="*/ 479 w 504"/>
                <a:gd name="T13" fmla="*/ 108 h 447"/>
                <a:gd name="T14" fmla="*/ 458 w 504"/>
                <a:gd name="T15" fmla="*/ 114 h 447"/>
                <a:gd name="T16" fmla="*/ 445 w 504"/>
                <a:gd name="T17" fmla="*/ 127 h 447"/>
                <a:gd name="T18" fmla="*/ 436 w 504"/>
                <a:gd name="T19" fmla="*/ 148 h 447"/>
                <a:gd name="T20" fmla="*/ 417 w 504"/>
                <a:gd name="T21" fmla="*/ 176 h 447"/>
                <a:gd name="T22" fmla="*/ 425 w 504"/>
                <a:gd name="T23" fmla="*/ 209 h 447"/>
                <a:gd name="T24" fmla="*/ 450 w 504"/>
                <a:gd name="T25" fmla="*/ 247 h 447"/>
                <a:gd name="T26" fmla="*/ 449 w 504"/>
                <a:gd name="T27" fmla="*/ 259 h 447"/>
                <a:gd name="T28" fmla="*/ 445 w 504"/>
                <a:gd name="T29" fmla="*/ 280 h 447"/>
                <a:gd name="T30" fmla="*/ 423 w 504"/>
                <a:gd name="T31" fmla="*/ 289 h 447"/>
                <a:gd name="T32" fmla="*/ 422 w 504"/>
                <a:gd name="T33" fmla="*/ 308 h 447"/>
                <a:gd name="T34" fmla="*/ 407 w 504"/>
                <a:gd name="T35" fmla="*/ 324 h 447"/>
                <a:gd name="T36" fmla="*/ 370 w 504"/>
                <a:gd name="T37" fmla="*/ 331 h 447"/>
                <a:gd name="T38" fmla="*/ 322 w 504"/>
                <a:gd name="T39" fmla="*/ 328 h 447"/>
                <a:gd name="T40" fmla="*/ 307 w 504"/>
                <a:gd name="T41" fmla="*/ 343 h 447"/>
                <a:gd name="T42" fmla="*/ 292 w 504"/>
                <a:gd name="T43" fmla="*/ 355 h 447"/>
                <a:gd name="T44" fmla="*/ 267 w 504"/>
                <a:gd name="T45" fmla="*/ 371 h 447"/>
                <a:gd name="T46" fmla="*/ 249 w 504"/>
                <a:gd name="T47" fmla="*/ 370 h 447"/>
                <a:gd name="T48" fmla="*/ 218 w 504"/>
                <a:gd name="T49" fmla="*/ 381 h 447"/>
                <a:gd name="T50" fmla="*/ 194 w 504"/>
                <a:gd name="T51" fmla="*/ 393 h 447"/>
                <a:gd name="T52" fmla="*/ 164 w 504"/>
                <a:gd name="T53" fmla="*/ 405 h 447"/>
                <a:gd name="T54" fmla="*/ 155 w 504"/>
                <a:gd name="T55" fmla="*/ 424 h 447"/>
                <a:gd name="T56" fmla="*/ 137 w 504"/>
                <a:gd name="T57" fmla="*/ 437 h 447"/>
                <a:gd name="T58" fmla="*/ 122 w 504"/>
                <a:gd name="T59" fmla="*/ 446 h 447"/>
                <a:gd name="T60" fmla="*/ 109 w 504"/>
                <a:gd name="T61" fmla="*/ 440 h 447"/>
                <a:gd name="T62" fmla="*/ 101 w 504"/>
                <a:gd name="T63" fmla="*/ 437 h 447"/>
                <a:gd name="T64" fmla="*/ 83 w 504"/>
                <a:gd name="T65" fmla="*/ 421 h 447"/>
                <a:gd name="T66" fmla="*/ 95 w 504"/>
                <a:gd name="T67" fmla="*/ 416 h 447"/>
                <a:gd name="T68" fmla="*/ 87 w 504"/>
                <a:gd name="T69" fmla="*/ 386 h 447"/>
                <a:gd name="T70" fmla="*/ 82 w 504"/>
                <a:gd name="T71" fmla="*/ 365 h 447"/>
                <a:gd name="T72" fmla="*/ 83 w 504"/>
                <a:gd name="T73" fmla="*/ 331 h 447"/>
                <a:gd name="T74" fmla="*/ 65 w 504"/>
                <a:gd name="T75" fmla="*/ 318 h 447"/>
                <a:gd name="T76" fmla="*/ 45 w 504"/>
                <a:gd name="T77" fmla="*/ 315 h 447"/>
                <a:gd name="T78" fmla="*/ 25 w 504"/>
                <a:gd name="T79" fmla="*/ 301 h 447"/>
                <a:gd name="T80" fmla="*/ 8 w 504"/>
                <a:gd name="T81" fmla="*/ 287 h 447"/>
                <a:gd name="T82" fmla="*/ 26 w 504"/>
                <a:gd name="T83" fmla="*/ 249 h 447"/>
                <a:gd name="T84" fmla="*/ 54 w 504"/>
                <a:gd name="T85" fmla="*/ 245 h 447"/>
                <a:gd name="T86" fmla="*/ 78 w 504"/>
                <a:gd name="T87" fmla="*/ 240 h 447"/>
                <a:gd name="T88" fmla="*/ 94 w 504"/>
                <a:gd name="T89" fmla="*/ 210 h 447"/>
                <a:gd name="T90" fmla="*/ 111 w 504"/>
                <a:gd name="T91" fmla="*/ 211 h 447"/>
                <a:gd name="T92" fmla="*/ 129 w 504"/>
                <a:gd name="T93" fmla="*/ 186 h 447"/>
                <a:gd name="T94" fmla="*/ 151 w 504"/>
                <a:gd name="T95" fmla="*/ 203 h 447"/>
                <a:gd name="T96" fmla="*/ 171 w 504"/>
                <a:gd name="T97" fmla="*/ 182 h 447"/>
                <a:gd name="T98" fmla="*/ 178 w 504"/>
                <a:gd name="T99" fmla="*/ 158 h 447"/>
                <a:gd name="T100" fmla="*/ 209 w 504"/>
                <a:gd name="T101" fmla="*/ 149 h 447"/>
                <a:gd name="T102" fmla="*/ 232 w 504"/>
                <a:gd name="T103" fmla="*/ 149 h 447"/>
                <a:gd name="T104" fmla="*/ 270 w 504"/>
                <a:gd name="T105" fmla="*/ 148 h 447"/>
                <a:gd name="T106" fmla="*/ 283 w 504"/>
                <a:gd name="T107" fmla="*/ 126 h 447"/>
                <a:gd name="T108" fmla="*/ 308 w 504"/>
                <a:gd name="T109" fmla="*/ 110 h 447"/>
                <a:gd name="T110" fmla="*/ 345 w 504"/>
                <a:gd name="T111" fmla="*/ 104 h 447"/>
                <a:gd name="T112" fmla="*/ 388 w 504"/>
                <a:gd name="T113" fmla="*/ 77 h 447"/>
                <a:gd name="T114" fmla="*/ 423 w 504"/>
                <a:gd name="T115" fmla="*/ 72 h 447"/>
                <a:gd name="T116" fmla="*/ 426 w 504"/>
                <a:gd name="T117" fmla="*/ 54 h 447"/>
                <a:gd name="T118" fmla="*/ 408 w 504"/>
                <a:gd name="T119" fmla="*/ 37 h 447"/>
                <a:gd name="T120" fmla="*/ 393 w 504"/>
                <a:gd name="T121" fmla="*/ 30 h 447"/>
                <a:gd name="T122" fmla="*/ 402 w 504"/>
                <a:gd name="T123" fmla="*/ 1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4" h="447">
                  <a:moveTo>
                    <a:pt x="404" y="0"/>
                  </a:moveTo>
                  <a:lnTo>
                    <a:pt x="405" y="0"/>
                  </a:lnTo>
                  <a:lnTo>
                    <a:pt x="405" y="0"/>
                  </a:lnTo>
                  <a:lnTo>
                    <a:pt x="406" y="1"/>
                  </a:lnTo>
                  <a:lnTo>
                    <a:pt x="410" y="3"/>
                  </a:lnTo>
                  <a:lnTo>
                    <a:pt x="411" y="4"/>
                  </a:lnTo>
                  <a:lnTo>
                    <a:pt x="413" y="5"/>
                  </a:lnTo>
                  <a:lnTo>
                    <a:pt x="414" y="5"/>
                  </a:lnTo>
                  <a:lnTo>
                    <a:pt x="415" y="5"/>
                  </a:lnTo>
                  <a:lnTo>
                    <a:pt x="419" y="6"/>
                  </a:lnTo>
                  <a:lnTo>
                    <a:pt x="420" y="6"/>
                  </a:lnTo>
                  <a:lnTo>
                    <a:pt x="421" y="7"/>
                  </a:lnTo>
                  <a:lnTo>
                    <a:pt x="422" y="7"/>
                  </a:lnTo>
                  <a:lnTo>
                    <a:pt x="423" y="8"/>
                  </a:lnTo>
                  <a:lnTo>
                    <a:pt x="425" y="9"/>
                  </a:lnTo>
                  <a:lnTo>
                    <a:pt x="426" y="10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0" y="13"/>
                  </a:lnTo>
                  <a:lnTo>
                    <a:pt x="431" y="14"/>
                  </a:lnTo>
                  <a:lnTo>
                    <a:pt x="432" y="14"/>
                  </a:lnTo>
                  <a:lnTo>
                    <a:pt x="433" y="15"/>
                  </a:lnTo>
                  <a:lnTo>
                    <a:pt x="434" y="15"/>
                  </a:lnTo>
                  <a:lnTo>
                    <a:pt x="435" y="15"/>
                  </a:lnTo>
                  <a:lnTo>
                    <a:pt x="436" y="15"/>
                  </a:lnTo>
                  <a:lnTo>
                    <a:pt x="437" y="15"/>
                  </a:lnTo>
                  <a:lnTo>
                    <a:pt x="438" y="14"/>
                  </a:lnTo>
                  <a:lnTo>
                    <a:pt x="439" y="14"/>
                  </a:lnTo>
                  <a:lnTo>
                    <a:pt x="440" y="14"/>
                  </a:lnTo>
                  <a:lnTo>
                    <a:pt x="444" y="12"/>
                  </a:lnTo>
                  <a:lnTo>
                    <a:pt x="445" y="12"/>
                  </a:lnTo>
                  <a:lnTo>
                    <a:pt x="447" y="11"/>
                  </a:lnTo>
                  <a:lnTo>
                    <a:pt x="448" y="11"/>
                  </a:lnTo>
                  <a:lnTo>
                    <a:pt x="449" y="11"/>
                  </a:lnTo>
                  <a:lnTo>
                    <a:pt x="450" y="11"/>
                  </a:lnTo>
                  <a:lnTo>
                    <a:pt x="451" y="11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5" y="12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8" y="10"/>
                  </a:lnTo>
                  <a:lnTo>
                    <a:pt x="459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2" y="9"/>
                  </a:lnTo>
                  <a:lnTo>
                    <a:pt x="462" y="9"/>
                  </a:lnTo>
                  <a:lnTo>
                    <a:pt x="462" y="11"/>
                  </a:lnTo>
                  <a:lnTo>
                    <a:pt x="462" y="12"/>
                  </a:lnTo>
                  <a:lnTo>
                    <a:pt x="462" y="12"/>
                  </a:lnTo>
                  <a:lnTo>
                    <a:pt x="463" y="13"/>
                  </a:lnTo>
                  <a:lnTo>
                    <a:pt x="463" y="14"/>
                  </a:lnTo>
                  <a:lnTo>
                    <a:pt x="464" y="14"/>
                  </a:lnTo>
                  <a:lnTo>
                    <a:pt x="464" y="15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9" y="18"/>
                  </a:lnTo>
                  <a:lnTo>
                    <a:pt x="470" y="19"/>
                  </a:lnTo>
                  <a:lnTo>
                    <a:pt x="471" y="21"/>
                  </a:lnTo>
                  <a:lnTo>
                    <a:pt x="472" y="21"/>
                  </a:lnTo>
                  <a:lnTo>
                    <a:pt x="473" y="22"/>
                  </a:lnTo>
                  <a:lnTo>
                    <a:pt x="474" y="22"/>
                  </a:lnTo>
                  <a:lnTo>
                    <a:pt x="475" y="22"/>
                  </a:lnTo>
                  <a:lnTo>
                    <a:pt x="478" y="23"/>
                  </a:lnTo>
                  <a:lnTo>
                    <a:pt x="478" y="23"/>
                  </a:lnTo>
                  <a:lnTo>
                    <a:pt x="479" y="24"/>
                  </a:lnTo>
                  <a:lnTo>
                    <a:pt x="480" y="24"/>
                  </a:lnTo>
                  <a:lnTo>
                    <a:pt x="481" y="25"/>
                  </a:lnTo>
                  <a:lnTo>
                    <a:pt x="482" y="26"/>
                  </a:lnTo>
                  <a:lnTo>
                    <a:pt x="483" y="26"/>
                  </a:lnTo>
                  <a:lnTo>
                    <a:pt x="484" y="28"/>
                  </a:lnTo>
                  <a:lnTo>
                    <a:pt x="486" y="30"/>
                  </a:lnTo>
                  <a:lnTo>
                    <a:pt x="487" y="31"/>
                  </a:lnTo>
                  <a:lnTo>
                    <a:pt x="487" y="32"/>
                  </a:lnTo>
                  <a:lnTo>
                    <a:pt x="488" y="34"/>
                  </a:lnTo>
                  <a:lnTo>
                    <a:pt x="488" y="35"/>
                  </a:lnTo>
                  <a:lnTo>
                    <a:pt x="488" y="36"/>
                  </a:lnTo>
                  <a:lnTo>
                    <a:pt x="488" y="38"/>
                  </a:lnTo>
                  <a:lnTo>
                    <a:pt x="488" y="39"/>
                  </a:lnTo>
                  <a:lnTo>
                    <a:pt x="488" y="41"/>
                  </a:lnTo>
                  <a:lnTo>
                    <a:pt x="487" y="43"/>
                  </a:lnTo>
                  <a:lnTo>
                    <a:pt x="487" y="45"/>
                  </a:lnTo>
                  <a:lnTo>
                    <a:pt x="486" y="47"/>
                  </a:lnTo>
                  <a:lnTo>
                    <a:pt x="485" y="50"/>
                  </a:lnTo>
                  <a:lnTo>
                    <a:pt x="484" y="51"/>
                  </a:lnTo>
                  <a:lnTo>
                    <a:pt x="482" y="55"/>
                  </a:lnTo>
                  <a:lnTo>
                    <a:pt x="482" y="56"/>
                  </a:lnTo>
                  <a:lnTo>
                    <a:pt x="481" y="57"/>
                  </a:lnTo>
                  <a:lnTo>
                    <a:pt x="481" y="57"/>
                  </a:lnTo>
                  <a:lnTo>
                    <a:pt x="481" y="59"/>
                  </a:lnTo>
                  <a:lnTo>
                    <a:pt x="481" y="59"/>
                  </a:lnTo>
                  <a:lnTo>
                    <a:pt x="481" y="60"/>
                  </a:lnTo>
                  <a:lnTo>
                    <a:pt x="481" y="60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4" y="63"/>
                  </a:lnTo>
                  <a:lnTo>
                    <a:pt x="485" y="64"/>
                  </a:lnTo>
                  <a:lnTo>
                    <a:pt x="485" y="64"/>
                  </a:lnTo>
                  <a:lnTo>
                    <a:pt x="486" y="64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2"/>
                  </a:lnTo>
                  <a:lnTo>
                    <a:pt x="495" y="61"/>
                  </a:lnTo>
                  <a:lnTo>
                    <a:pt x="497" y="61"/>
                  </a:lnTo>
                  <a:lnTo>
                    <a:pt x="498" y="60"/>
                  </a:lnTo>
                  <a:lnTo>
                    <a:pt x="499" y="60"/>
                  </a:lnTo>
                  <a:lnTo>
                    <a:pt x="500" y="60"/>
                  </a:lnTo>
                  <a:lnTo>
                    <a:pt x="501" y="60"/>
                  </a:lnTo>
                  <a:lnTo>
                    <a:pt x="501" y="60"/>
                  </a:lnTo>
                  <a:lnTo>
                    <a:pt x="502" y="60"/>
                  </a:lnTo>
                  <a:lnTo>
                    <a:pt x="502" y="61"/>
                  </a:lnTo>
                  <a:lnTo>
                    <a:pt x="503" y="61"/>
                  </a:lnTo>
                  <a:lnTo>
                    <a:pt x="503" y="62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4"/>
                  </a:lnTo>
                  <a:lnTo>
                    <a:pt x="504" y="65"/>
                  </a:lnTo>
                  <a:lnTo>
                    <a:pt x="504" y="66"/>
                  </a:lnTo>
                  <a:lnTo>
                    <a:pt x="504" y="68"/>
                  </a:lnTo>
                  <a:lnTo>
                    <a:pt x="504" y="69"/>
                  </a:lnTo>
                  <a:lnTo>
                    <a:pt x="503" y="70"/>
                  </a:lnTo>
                  <a:lnTo>
                    <a:pt x="502" y="73"/>
                  </a:lnTo>
                  <a:lnTo>
                    <a:pt x="501" y="75"/>
                  </a:lnTo>
                  <a:lnTo>
                    <a:pt x="497" y="84"/>
                  </a:lnTo>
                  <a:lnTo>
                    <a:pt x="495" y="90"/>
                  </a:lnTo>
                  <a:lnTo>
                    <a:pt x="495" y="91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4" y="93"/>
                  </a:lnTo>
                  <a:lnTo>
                    <a:pt x="494" y="93"/>
                  </a:lnTo>
                  <a:lnTo>
                    <a:pt x="493" y="95"/>
                  </a:lnTo>
                  <a:lnTo>
                    <a:pt x="491" y="96"/>
                  </a:lnTo>
                  <a:lnTo>
                    <a:pt x="490" y="97"/>
                  </a:lnTo>
                  <a:lnTo>
                    <a:pt x="489" y="98"/>
                  </a:lnTo>
                  <a:lnTo>
                    <a:pt x="487" y="99"/>
                  </a:lnTo>
                  <a:lnTo>
                    <a:pt x="485" y="100"/>
                  </a:lnTo>
                  <a:lnTo>
                    <a:pt x="484" y="101"/>
                  </a:lnTo>
                  <a:lnTo>
                    <a:pt x="482" y="102"/>
                  </a:lnTo>
                  <a:lnTo>
                    <a:pt x="482" y="102"/>
                  </a:lnTo>
                  <a:lnTo>
                    <a:pt x="482" y="103"/>
                  </a:lnTo>
                  <a:lnTo>
                    <a:pt x="481" y="104"/>
                  </a:lnTo>
                  <a:lnTo>
                    <a:pt x="481" y="104"/>
                  </a:lnTo>
                  <a:lnTo>
                    <a:pt x="480" y="105"/>
                  </a:lnTo>
                  <a:lnTo>
                    <a:pt x="480" y="107"/>
                  </a:lnTo>
                  <a:lnTo>
                    <a:pt x="479" y="108"/>
                  </a:lnTo>
                  <a:lnTo>
                    <a:pt x="478" y="114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6" y="116"/>
                  </a:lnTo>
                  <a:lnTo>
                    <a:pt x="476" y="117"/>
                  </a:lnTo>
                  <a:lnTo>
                    <a:pt x="476" y="117"/>
                  </a:lnTo>
                  <a:lnTo>
                    <a:pt x="475" y="118"/>
                  </a:lnTo>
                  <a:lnTo>
                    <a:pt x="475" y="118"/>
                  </a:lnTo>
                  <a:lnTo>
                    <a:pt x="474" y="118"/>
                  </a:lnTo>
                  <a:lnTo>
                    <a:pt x="474" y="119"/>
                  </a:lnTo>
                  <a:lnTo>
                    <a:pt x="473" y="119"/>
                  </a:lnTo>
                  <a:lnTo>
                    <a:pt x="472" y="119"/>
                  </a:lnTo>
                  <a:lnTo>
                    <a:pt x="471" y="119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69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6" y="118"/>
                  </a:lnTo>
                  <a:lnTo>
                    <a:pt x="464" y="118"/>
                  </a:lnTo>
                  <a:lnTo>
                    <a:pt x="463" y="117"/>
                  </a:lnTo>
                  <a:lnTo>
                    <a:pt x="460" y="115"/>
                  </a:lnTo>
                  <a:lnTo>
                    <a:pt x="458" y="114"/>
                  </a:lnTo>
                  <a:lnTo>
                    <a:pt x="457" y="114"/>
                  </a:lnTo>
                  <a:lnTo>
                    <a:pt x="455" y="113"/>
                  </a:lnTo>
                  <a:lnTo>
                    <a:pt x="454" y="112"/>
                  </a:lnTo>
                  <a:lnTo>
                    <a:pt x="453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1" y="112"/>
                  </a:lnTo>
                  <a:lnTo>
                    <a:pt x="450" y="112"/>
                  </a:lnTo>
                  <a:lnTo>
                    <a:pt x="448" y="113"/>
                  </a:lnTo>
                  <a:lnTo>
                    <a:pt x="447" y="113"/>
                  </a:lnTo>
                  <a:lnTo>
                    <a:pt x="447" y="113"/>
                  </a:lnTo>
                  <a:lnTo>
                    <a:pt x="446" y="113"/>
                  </a:lnTo>
                  <a:lnTo>
                    <a:pt x="446" y="113"/>
                  </a:lnTo>
                  <a:lnTo>
                    <a:pt x="446" y="114"/>
                  </a:lnTo>
                  <a:lnTo>
                    <a:pt x="446" y="114"/>
                  </a:lnTo>
                  <a:lnTo>
                    <a:pt x="446" y="115"/>
                  </a:lnTo>
                  <a:lnTo>
                    <a:pt x="446" y="116"/>
                  </a:lnTo>
                  <a:lnTo>
                    <a:pt x="446" y="119"/>
                  </a:lnTo>
                  <a:lnTo>
                    <a:pt x="446" y="121"/>
                  </a:lnTo>
                  <a:lnTo>
                    <a:pt x="446" y="122"/>
                  </a:lnTo>
                  <a:lnTo>
                    <a:pt x="446" y="123"/>
                  </a:lnTo>
                  <a:lnTo>
                    <a:pt x="446" y="126"/>
                  </a:lnTo>
                  <a:lnTo>
                    <a:pt x="445" y="127"/>
                  </a:lnTo>
                  <a:lnTo>
                    <a:pt x="445" y="128"/>
                  </a:lnTo>
                  <a:lnTo>
                    <a:pt x="445" y="128"/>
                  </a:lnTo>
                  <a:lnTo>
                    <a:pt x="444" y="129"/>
                  </a:lnTo>
                  <a:lnTo>
                    <a:pt x="444" y="130"/>
                  </a:lnTo>
                  <a:lnTo>
                    <a:pt x="442" y="132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0" y="134"/>
                  </a:lnTo>
                  <a:lnTo>
                    <a:pt x="440" y="135"/>
                  </a:lnTo>
                  <a:lnTo>
                    <a:pt x="439" y="136"/>
                  </a:lnTo>
                  <a:lnTo>
                    <a:pt x="439" y="137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7" y="141"/>
                  </a:lnTo>
                  <a:lnTo>
                    <a:pt x="437" y="142"/>
                  </a:lnTo>
                  <a:lnTo>
                    <a:pt x="437" y="143"/>
                  </a:lnTo>
                  <a:lnTo>
                    <a:pt x="437" y="144"/>
                  </a:lnTo>
                  <a:lnTo>
                    <a:pt x="437" y="146"/>
                  </a:lnTo>
                  <a:lnTo>
                    <a:pt x="437" y="146"/>
                  </a:lnTo>
                  <a:lnTo>
                    <a:pt x="437" y="147"/>
                  </a:lnTo>
                  <a:lnTo>
                    <a:pt x="436" y="147"/>
                  </a:lnTo>
                  <a:lnTo>
                    <a:pt x="436" y="147"/>
                  </a:lnTo>
                  <a:lnTo>
                    <a:pt x="436" y="148"/>
                  </a:lnTo>
                  <a:lnTo>
                    <a:pt x="435" y="148"/>
                  </a:lnTo>
                  <a:lnTo>
                    <a:pt x="434" y="149"/>
                  </a:lnTo>
                  <a:lnTo>
                    <a:pt x="433" y="149"/>
                  </a:lnTo>
                  <a:lnTo>
                    <a:pt x="433" y="149"/>
                  </a:lnTo>
                  <a:lnTo>
                    <a:pt x="430" y="152"/>
                  </a:lnTo>
                  <a:lnTo>
                    <a:pt x="427" y="154"/>
                  </a:lnTo>
                  <a:lnTo>
                    <a:pt x="426" y="155"/>
                  </a:lnTo>
                  <a:lnTo>
                    <a:pt x="425" y="156"/>
                  </a:lnTo>
                  <a:lnTo>
                    <a:pt x="425" y="156"/>
                  </a:lnTo>
                  <a:lnTo>
                    <a:pt x="424" y="157"/>
                  </a:lnTo>
                  <a:lnTo>
                    <a:pt x="424" y="158"/>
                  </a:lnTo>
                  <a:lnTo>
                    <a:pt x="423" y="159"/>
                  </a:lnTo>
                  <a:lnTo>
                    <a:pt x="423" y="160"/>
                  </a:lnTo>
                  <a:lnTo>
                    <a:pt x="422" y="162"/>
                  </a:lnTo>
                  <a:lnTo>
                    <a:pt x="422" y="163"/>
                  </a:lnTo>
                  <a:lnTo>
                    <a:pt x="422" y="164"/>
                  </a:lnTo>
                  <a:lnTo>
                    <a:pt x="421" y="167"/>
                  </a:lnTo>
                  <a:lnTo>
                    <a:pt x="421" y="168"/>
                  </a:lnTo>
                  <a:lnTo>
                    <a:pt x="421" y="169"/>
                  </a:lnTo>
                  <a:lnTo>
                    <a:pt x="420" y="170"/>
                  </a:lnTo>
                  <a:lnTo>
                    <a:pt x="420" y="171"/>
                  </a:lnTo>
                  <a:lnTo>
                    <a:pt x="418" y="174"/>
                  </a:lnTo>
                  <a:lnTo>
                    <a:pt x="417" y="176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8"/>
                  </a:lnTo>
                  <a:lnTo>
                    <a:pt x="415" y="178"/>
                  </a:lnTo>
                  <a:lnTo>
                    <a:pt x="415" y="179"/>
                  </a:lnTo>
                  <a:lnTo>
                    <a:pt x="415" y="180"/>
                  </a:lnTo>
                  <a:lnTo>
                    <a:pt x="415" y="181"/>
                  </a:lnTo>
                  <a:lnTo>
                    <a:pt x="415" y="182"/>
                  </a:lnTo>
                  <a:lnTo>
                    <a:pt x="416" y="182"/>
                  </a:lnTo>
                  <a:lnTo>
                    <a:pt x="416" y="183"/>
                  </a:lnTo>
                  <a:lnTo>
                    <a:pt x="417" y="185"/>
                  </a:lnTo>
                  <a:lnTo>
                    <a:pt x="417" y="186"/>
                  </a:lnTo>
                  <a:lnTo>
                    <a:pt x="418" y="187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19" y="193"/>
                  </a:lnTo>
                  <a:lnTo>
                    <a:pt x="419" y="196"/>
                  </a:lnTo>
                  <a:lnTo>
                    <a:pt x="420" y="196"/>
                  </a:lnTo>
                  <a:lnTo>
                    <a:pt x="420" y="198"/>
                  </a:lnTo>
                  <a:lnTo>
                    <a:pt x="421" y="199"/>
                  </a:lnTo>
                  <a:lnTo>
                    <a:pt x="422" y="201"/>
                  </a:lnTo>
                  <a:lnTo>
                    <a:pt x="423" y="205"/>
                  </a:lnTo>
                  <a:lnTo>
                    <a:pt x="425" y="209"/>
                  </a:lnTo>
                  <a:lnTo>
                    <a:pt x="426" y="210"/>
                  </a:lnTo>
                  <a:lnTo>
                    <a:pt x="427" y="211"/>
                  </a:lnTo>
                  <a:lnTo>
                    <a:pt x="428" y="213"/>
                  </a:lnTo>
                  <a:lnTo>
                    <a:pt x="428" y="214"/>
                  </a:lnTo>
                  <a:lnTo>
                    <a:pt x="430" y="216"/>
                  </a:lnTo>
                  <a:lnTo>
                    <a:pt x="430" y="217"/>
                  </a:lnTo>
                  <a:lnTo>
                    <a:pt x="431" y="218"/>
                  </a:lnTo>
                  <a:lnTo>
                    <a:pt x="432" y="220"/>
                  </a:lnTo>
                  <a:lnTo>
                    <a:pt x="433" y="222"/>
                  </a:lnTo>
                  <a:lnTo>
                    <a:pt x="433" y="223"/>
                  </a:lnTo>
                  <a:lnTo>
                    <a:pt x="436" y="230"/>
                  </a:lnTo>
                  <a:lnTo>
                    <a:pt x="436" y="230"/>
                  </a:lnTo>
                  <a:lnTo>
                    <a:pt x="437" y="231"/>
                  </a:lnTo>
                  <a:lnTo>
                    <a:pt x="439" y="236"/>
                  </a:lnTo>
                  <a:lnTo>
                    <a:pt x="441" y="240"/>
                  </a:lnTo>
                  <a:lnTo>
                    <a:pt x="442" y="240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44" y="243"/>
                  </a:lnTo>
                  <a:lnTo>
                    <a:pt x="445" y="243"/>
                  </a:lnTo>
                  <a:lnTo>
                    <a:pt x="447" y="245"/>
                  </a:lnTo>
                  <a:lnTo>
                    <a:pt x="448" y="246"/>
                  </a:lnTo>
                  <a:lnTo>
                    <a:pt x="450" y="247"/>
                  </a:lnTo>
                  <a:lnTo>
                    <a:pt x="451" y="248"/>
                  </a:lnTo>
                  <a:lnTo>
                    <a:pt x="451" y="249"/>
                  </a:lnTo>
                  <a:lnTo>
                    <a:pt x="452" y="249"/>
                  </a:lnTo>
                  <a:lnTo>
                    <a:pt x="453" y="250"/>
                  </a:lnTo>
                  <a:lnTo>
                    <a:pt x="453" y="251"/>
                  </a:lnTo>
                  <a:lnTo>
                    <a:pt x="454" y="252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5"/>
                  </a:lnTo>
                  <a:lnTo>
                    <a:pt x="455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3" y="254"/>
                  </a:lnTo>
                  <a:lnTo>
                    <a:pt x="453" y="255"/>
                  </a:lnTo>
                  <a:lnTo>
                    <a:pt x="452" y="255"/>
                  </a:lnTo>
                  <a:lnTo>
                    <a:pt x="452" y="256"/>
                  </a:lnTo>
                  <a:lnTo>
                    <a:pt x="451" y="256"/>
                  </a:lnTo>
                  <a:lnTo>
                    <a:pt x="450" y="257"/>
                  </a:lnTo>
                  <a:lnTo>
                    <a:pt x="450" y="258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60"/>
                  </a:lnTo>
                  <a:lnTo>
                    <a:pt x="449" y="260"/>
                  </a:lnTo>
                  <a:lnTo>
                    <a:pt x="449" y="261"/>
                  </a:lnTo>
                  <a:lnTo>
                    <a:pt x="449" y="262"/>
                  </a:lnTo>
                  <a:lnTo>
                    <a:pt x="449" y="262"/>
                  </a:lnTo>
                  <a:lnTo>
                    <a:pt x="449" y="264"/>
                  </a:lnTo>
                  <a:lnTo>
                    <a:pt x="450" y="267"/>
                  </a:lnTo>
                  <a:lnTo>
                    <a:pt x="450" y="269"/>
                  </a:lnTo>
                  <a:lnTo>
                    <a:pt x="450" y="270"/>
                  </a:lnTo>
                  <a:lnTo>
                    <a:pt x="450" y="273"/>
                  </a:lnTo>
                  <a:lnTo>
                    <a:pt x="450" y="274"/>
                  </a:lnTo>
                  <a:lnTo>
                    <a:pt x="450" y="275"/>
                  </a:lnTo>
                  <a:lnTo>
                    <a:pt x="450" y="275"/>
                  </a:lnTo>
                  <a:lnTo>
                    <a:pt x="450" y="276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7" y="279"/>
                  </a:lnTo>
                  <a:lnTo>
                    <a:pt x="445" y="280"/>
                  </a:lnTo>
                  <a:lnTo>
                    <a:pt x="442" y="281"/>
                  </a:lnTo>
                  <a:lnTo>
                    <a:pt x="439" y="281"/>
                  </a:lnTo>
                  <a:lnTo>
                    <a:pt x="438" y="282"/>
                  </a:lnTo>
                  <a:lnTo>
                    <a:pt x="438" y="282"/>
                  </a:lnTo>
                  <a:lnTo>
                    <a:pt x="437" y="282"/>
                  </a:lnTo>
                  <a:lnTo>
                    <a:pt x="437" y="283"/>
                  </a:lnTo>
                  <a:lnTo>
                    <a:pt x="436" y="286"/>
                  </a:lnTo>
                  <a:lnTo>
                    <a:pt x="434" y="288"/>
                  </a:lnTo>
                  <a:lnTo>
                    <a:pt x="434" y="289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2" y="291"/>
                  </a:lnTo>
                  <a:lnTo>
                    <a:pt x="431" y="291"/>
                  </a:lnTo>
                  <a:lnTo>
                    <a:pt x="430" y="291"/>
                  </a:lnTo>
                  <a:lnTo>
                    <a:pt x="429" y="291"/>
                  </a:lnTo>
                  <a:lnTo>
                    <a:pt x="428" y="291"/>
                  </a:lnTo>
                  <a:lnTo>
                    <a:pt x="424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2" y="289"/>
                  </a:lnTo>
                  <a:lnTo>
                    <a:pt x="422" y="289"/>
                  </a:lnTo>
                  <a:lnTo>
                    <a:pt x="421" y="289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1"/>
                  </a:lnTo>
                  <a:lnTo>
                    <a:pt x="420" y="292"/>
                  </a:lnTo>
                  <a:lnTo>
                    <a:pt x="420" y="294"/>
                  </a:lnTo>
                  <a:lnTo>
                    <a:pt x="420" y="296"/>
                  </a:lnTo>
                  <a:lnTo>
                    <a:pt x="420" y="297"/>
                  </a:lnTo>
                  <a:lnTo>
                    <a:pt x="420" y="298"/>
                  </a:lnTo>
                  <a:lnTo>
                    <a:pt x="420" y="299"/>
                  </a:lnTo>
                  <a:lnTo>
                    <a:pt x="420" y="300"/>
                  </a:lnTo>
                  <a:lnTo>
                    <a:pt x="420" y="301"/>
                  </a:lnTo>
                  <a:lnTo>
                    <a:pt x="421" y="302"/>
                  </a:lnTo>
                  <a:lnTo>
                    <a:pt x="421" y="305"/>
                  </a:lnTo>
                  <a:lnTo>
                    <a:pt x="422" y="306"/>
                  </a:lnTo>
                  <a:lnTo>
                    <a:pt x="422" y="307"/>
                  </a:lnTo>
                  <a:lnTo>
                    <a:pt x="422" y="308"/>
                  </a:lnTo>
                  <a:lnTo>
                    <a:pt x="422" y="309"/>
                  </a:lnTo>
                  <a:lnTo>
                    <a:pt x="422" y="311"/>
                  </a:lnTo>
                  <a:lnTo>
                    <a:pt x="422" y="312"/>
                  </a:lnTo>
                  <a:lnTo>
                    <a:pt x="421" y="313"/>
                  </a:lnTo>
                  <a:lnTo>
                    <a:pt x="421" y="315"/>
                  </a:lnTo>
                  <a:lnTo>
                    <a:pt x="420" y="319"/>
                  </a:lnTo>
                  <a:lnTo>
                    <a:pt x="420" y="320"/>
                  </a:lnTo>
                  <a:lnTo>
                    <a:pt x="420" y="321"/>
                  </a:lnTo>
                  <a:lnTo>
                    <a:pt x="419" y="322"/>
                  </a:lnTo>
                  <a:lnTo>
                    <a:pt x="419" y="323"/>
                  </a:lnTo>
                  <a:lnTo>
                    <a:pt x="418" y="323"/>
                  </a:lnTo>
                  <a:lnTo>
                    <a:pt x="418" y="324"/>
                  </a:lnTo>
                  <a:lnTo>
                    <a:pt x="418" y="324"/>
                  </a:lnTo>
                  <a:lnTo>
                    <a:pt x="417" y="324"/>
                  </a:lnTo>
                  <a:lnTo>
                    <a:pt x="417" y="325"/>
                  </a:lnTo>
                  <a:lnTo>
                    <a:pt x="416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3" y="325"/>
                  </a:lnTo>
                  <a:lnTo>
                    <a:pt x="411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4"/>
                  </a:lnTo>
                  <a:lnTo>
                    <a:pt x="401" y="325"/>
                  </a:lnTo>
                  <a:lnTo>
                    <a:pt x="395" y="326"/>
                  </a:lnTo>
                  <a:lnTo>
                    <a:pt x="394" y="326"/>
                  </a:lnTo>
                  <a:lnTo>
                    <a:pt x="393" y="326"/>
                  </a:lnTo>
                  <a:lnTo>
                    <a:pt x="392" y="327"/>
                  </a:lnTo>
                  <a:lnTo>
                    <a:pt x="391" y="327"/>
                  </a:lnTo>
                  <a:lnTo>
                    <a:pt x="391" y="327"/>
                  </a:lnTo>
                  <a:lnTo>
                    <a:pt x="390" y="328"/>
                  </a:lnTo>
                  <a:lnTo>
                    <a:pt x="388" y="330"/>
                  </a:lnTo>
                  <a:lnTo>
                    <a:pt x="387" y="331"/>
                  </a:lnTo>
                  <a:lnTo>
                    <a:pt x="386" y="332"/>
                  </a:lnTo>
                  <a:lnTo>
                    <a:pt x="385" y="332"/>
                  </a:lnTo>
                  <a:lnTo>
                    <a:pt x="384" y="333"/>
                  </a:lnTo>
                  <a:lnTo>
                    <a:pt x="384" y="333"/>
                  </a:lnTo>
                  <a:lnTo>
                    <a:pt x="383" y="333"/>
                  </a:lnTo>
                  <a:lnTo>
                    <a:pt x="383" y="333"/>
                  </a:lnTo>
                  <a:lnTo>
                    <a:pt x="382" y="333"/>
                  </a:lnTo>
                  <a:lnTo>
                    <a:pt x="381" y="333"/>
                  </a:lnTo>
                  <a:lnTo>
                    <a:pt x="379" y="333"/>
                  </a:lnTo>
                  <a:lnTo>
                    <a:pt x="376" y="332"/>
                  </a:lnTo>
                  <a:lnTo>
                    <a:pt x="372" y="331"/>
                  </a:lnTo>
                  <a:lnTo>
                    <a:pt x="370" y="331"/>
                  </a:lnTo>
                  <a:lnTo>
                    <a:pt x="368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6" y="330"/>
                  </a:lnTo>
                  <a:lnTo>
                    <a:pt x="365" y="330"/>
                  </a:lnTo>
                  <a:lnTo>
                    <a:pt x="365" y="331"/>
                  </a:lnTo>
                  <a:lnTo>
                    <a:pt x="363" y="332"/>
                  </a:lnTo>
                  <a:lnTo>
                    <a:pt x="361" y="332"/>
                  </a:lnTo>
                  <a:lnTo>
                    <a:pt x="359" y="332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3" y="333"/>
                  </a:lnTo>
                  <a:lnTo>
                    <a:pt x="350" y="333"/>
                  </a:lnTo>
                  <a:lnTo>
                    <a:pt x="348" y="333"/>
                  </a:lnTo>
                  <a:lnTo>
                    <a:pt x="346" y="333"/>
                  </a:lnTo>
                  <a:lnTo>
                    <a:pt x="340" y="332"/>
                  </a:lnTo>
                  <a:lnTo>
                    <a:pt x="338" y="332"/>
                  </a:lnTo>
                  <a:lnTo>
                    <a:pt x="336" y="332"/>
                  </a:lnTo>
                  <a:lnTo>
                    <a:pt x="333" y="331"/>
                  </a:lnTo>
                  <a:lnTo>
                    <a:pt x="329" y="330"/>
                  </a:lnTo>
                  <a:lnTo>
                    <a:pt x="325" y="329"/>
                  </a:lnTo>
                  <a:lnTo>
                    <a:pt x="323" y="328"/>
                  </a:lnTo>
                  <a:lnTo>
                    <a:pt x="322" y="328"/>
                  </a:lnTo>
                  <a:lnTo>
                    <a:pt x="317" y="328"/>
                  </a:lnTo>
                  <a:lnTo>
                    <a:pt x="316" y="328"/>
                  </a:lnTo>
                  <a:lnTo>
                    <a:pt x="315" y="328"/>
                  </a:lnTo>
                  <a:lnTo>
                    <a:pt x="314" y="328"/>
                  </a:lnTo>
                  <a:lnTo>
                    <a:pt x="313" y="328"/>
                  </a:lnTo>
                  <a:lnTo>
                    <a:pt x="313" y="328"/>
                  </a:lnTo>
                  <a:lnTo>
                    <a:pt x="312" y="329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09" y="331"/>
                  </a:lnTo>
                  <a:lnTo>
                    <a:pt x="309" y="331"/>
                  </a:lnTo>
                  <a:lnTo>
                    <a:pt x="308" y="332"/>
                  </a:lnTo>
                  <a:lnTo>
                    <a:pt x="307" y="333"/>
                  </a:lnTo>
                  <a:lnTo>
                    <a:pt x="307" y="333"/>
                  </a:lnTo>
                  <a:lnTo>
                    <a:pt x="307" y="334"/>
                  </a:lnTo>
                  <a:lnTo>
                    <a:pt x="307" y="335"/>
                  </a:lnTo>
                  <a:lnTo>
                    <a:pt x="307" y="335"/>
                  </a:lnTo>
                  <a:lnTo>
                    <a:pt x="307" y="336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4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4" y="346"/>
                  </a:lnTo>
                  <a:lnTo>
                    <a:pt x="304" y="346"/>
                  </a:lnTo>
                  <a:lnTo>
                    <a:pt x="302" y="346"/>
                  </a:lnTo>
                  <a:lnTo>
                    <a:pt x="301" y="346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298" y="347"/>
                  </a:lnTo>
                  <a:lnTo>
                    <a:pt x="298" y="347"/>
                  </a:lnTo>
                  <a:lnTo>
                    <a:pt x="297" y="347"/>
                  </a:lnTo>
                  <a:lnTo>
                    <a:pt x="297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2"/>
                  </a:lnTo>
                  <a:lnTo>
                    <a:pt x="295" y="353"/>
                  </a:lnTo>
                  <a:lnTo>
                    <a:pt x="294" y="353"/>
                  </a:lnTo>
                  <a:lnTo>
                    <a:pt x="292" y="355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89" y="357"/>
                  </a:lnTo>
                  <a:lnTo>
                    <a:pt x="288" y="358"/>
                  </a:lnTo>
                  <a:lnTo>
                    <a:pt x="287" y="359"/>
                  </a:lnTo>
                  <a:lnTo>
                    <a:pt x="286" y="359"/>
                  </a:lnTo>
                  <a:lnTo>
                    <a:pt x="285" y="359"/>
                  </a:lnTo>
                  <a:lnTo>
                    <a:pt x="282" y="360"/>
                  </a:lnTo>
                  <a:lnTo>
                    <a:pt x="281" y="361"/>
                  </a:lnTo>
                  <a:lnTo>
                    <a:pt x="280" y="361"/>
                  </a:lnTo>
                  <a:lnTo>
                    <a:pt x="278" y="361"/>
                  </a:lnTo>
                  <a:lnTo>
                    <a:pt x="278" y="362"/>
                  </a:lnTo>
                  <a:lnTo>
                    <a:pt x="277" y="362"/>
                  </a:lnTo>
                  <a:lnTo>
                    <a:pt x="276" y="363"/>
                  </a:lnTo>
                  <a:lnTo>
                    <a:pt x="275" y="364"/>
                  </a:lnTo>
                  <a:lnTo>
                    <a:pt x="274" y="364"/>
                  </a:lnTo>
                  <a:lnTo>
                    <a:pt x="273" y="365"/>
                  </a:lnTo>
                  <a:lnTo>
                    <a:pt x="272" y="367"/>
                  </a:lnTo>
                  <a:lnTo>
                    <a:pt x="270" y="369"/>
                  </a:lnTo>
                  <a:lnTo>
                    <a:pt x="269" y="370"/>
                  </a:lnTo>
                  <a:lnTo>
                    <a:pt x="268" y="371"/>
                  </a:lnTo>
                  <a:lnTo>
                    <a:pt x="268" y="371"/>
                  </a:lnTo>
                  <a:lnTo>
                    <a:pt x="267" y="371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5" y="372"/>
                  </a:lnTo>
                  <a:lnTo>
                    <a:pt x="265" y="372"/>
                  </a:lnTo>
                  <a:lnTo>
                    <a:pt x="264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3" y="371"/>
                  </a:lnTo>
                  <a:lnTo>
                    <a:pt x="262" y="371"/>
                  </a:lnTo>
                  <a:lnTo>
                    <a:pt x="261" y="370"/>
                  </a:lnTo>
                  <a:lnTo>
                    <a:pt x="259" y="368"/>
                  </a:lnTo>
                  <a:lnTo>
                    <a:pt x="259" y="368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4" y="366"/>
                  </a:lnTo>
                  <a:lnTo>
                    <a:pt x="253" y="366"/>
                  </a:lnTo>
                  <a:lnTo>
                    <a:pt x="253" y="367"/>
                  </a:lnTo>
                  <a:lnTo>
                    <a:pt x="252" y="367"/>
                  </a:lnTo>
                  <a:lnTo>
                    <a:pt x="251" y="368"/>
                  </a:lnTo>
                  <a:lnTo>
                    <a:pt x="250" y="369"/>
                  </a:lnTo>
                  <a:lnTo>
                    <a:pt x="249" y="370"/>
                  </a:lnTo>
                  <a:lnTo>
                    <a:pt x="246" y="373"/>
                  </a:lnTo>
                  <a:lnTo>
                    <a:pt x="244" y="374"/>
                  </a:lnTo>
                  <a:lnTo>
                    <a:pt x="244" y="375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8" y="378"/>
                  </a:lnTo>
                  <a:lnTo>
                    <a:pt x="236" y="380"/>
                  </a:lnTo>
                  <a:lnTo>
                    <a:pt x="235" y="380"/>
                  </a:lnTo>
                  <a:lnTo>
                    <a:pt x="234" y="381"/>
                  </a:lnTo>
                  <a:lnTo>
                    <a:pt x="233" y="381"/>
                  </a:lnTo>
                  <a:lnTo>
                    <a:pt x="232" y="381"/>
                  </a:lnTo>
                  <a:lnTo>
                    <a:pt x="231" y="381"/>
                  </a:lnTo>
                  <a:lnTo>
                    <a:pt x="230" y="381"/>
                  </a:lnTo>
                  <a:lnTo>
                    <a:pt x="228" y="381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2"/>
                  </a:lnTo>
                  <a:lnTo>
                    <a:pt x="220" y="382"/>
                  </a:lnTo>
                  <a:lnTo>
                    <a:pt x="218" y="381"/>
                  </a:lnTo>
                  <a:lnTo>
                    <a:pt x="217" y="381"/>
                  </a:lnTo>
                  <a:lnTo>
                    <a:pt x="215" y="381"/>
                  </a:lnTo>
                  <a:lnTo>
                    <a:pt x="214" y="380"/>
                  </a:lnTo>
                  <a:lnTo>
                    <a:pt x="214" y="380"/>
                  </a:lnTo>
                  <a:lnTo>
                    <a:pt x="213" y="380"/>
                  </a:lnTo>
                  <a:lnTo>
                    <a:pt x="212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09" y="379"/>
                  </a:lnTo>
                  <a:lnTo>
                    <a:pt x="208" y="380"/>
                  </a:lnTo>
                  <a:lnTo>
                    <a:pt x="207" y="381"/>
                  </a:lnTo>
                  <a:lnTo>
                    <a:pt x="203" y="385"/>
                  </a:lnTo>
                  <a:lnTo>
                    <a:pt x="200" y="387"/>
                  </a:lnTo>
                  <a:lnTo>
                    <a:pt x="198" y="389"/>
                  </a:lnTo>
                  <a:lnTo>
                    <a:pt x="198" y="389"/>
                  </a:lnTo>
                  <a:lnTo>
                    <a:pt x="197" y="390"/>
                  </a:lnTo>
                  <a:lnTo>
                    <a:pt x="196" y="391"/>
                  </a:lnTo>
                  <a:lnTo>
                    <a:pt x="195" y="393"/>
                  </a:lnTo>
                  <a:lnTo>
                    <a:pt x="194" y="393"/>
                  </a:lnTo>
                  <a:lnTo>
                    <a:pt x="193" y="394"/>
                  </a:lnTo>
                  <a:lnTo>
                    <a:pt x="192" y="395"/>
                  </a:lnTo>
                  <a:lnTo>
                    <a:pt x="191" y="395"/>
                  </a:lnTo>
                  <a:lnTo>
                    <a:pt x="190" y="396"/>
                  </a:lnTo>
                  <a:lnTo>
                    <a:pt x="188" y="396"/>
                  </a:lnTo>
                  <a:lnTo>
                    <a:pt x="186" y="397"/>
                  </a:lnTo>
                  <a:lnTo>
                    <a:pt x="185" y="397"/>
                  </a:lnTo>
                  <a:lnTo>
                    <a:pt x="183" y="397"/>
                  </a:lnTo>
                  <a:lnTo>
                    <a:pt x="182" y="397"/>
                  </a:lnTo>
                  <a:lnTo>
                    <a:pt x="181" y="397"/>
                  </a:lnTo>
                  <a:lnTo>
                    <a:pt x="179" y="397"/>
                  </a:lnTo>
                  <a:lnTo>
                    <a:pt x="178" y="397"/>
                  </a:lnTo>
                  <a:lnTo>
                    <a:pt x="176" y="397"/>
                  </a:lnTo>
                  <a:lnTo>
                    <a:pt x="175" y="397"/>
                  </a:lnTo>
                  <a:lnTo>
                    <a:pt x="174" y="398"/>
                  </a:lnTo>
                  <a:lnTo>
                    <a:pt x="173" y="398"/>
                  </a:lnTo>
                  <a:lnTo>
                    <a:pt x="172" y="399"/>
                  </a:lnTo>
                  <a:lnTo>
                    <a:pt x="171" y="400"/>
                  </a:lnTo>
                  <a:lnTo>
                    <a:pt x="169" y="401"/>
                  </a:lnTo>
                  <a:lnTo>
                    <a:pt x="167" y="402"/>
                  </a:lnTo>
                  <a:lnTo>
                    <a:pt x="167" y="403"/>
                  </a:lnTo>
                  <a:lnTo>
                    <a:pt x="165" y="404"/>
                  </a:lnTo>
                  <a:lnTo>
                    <a:pt x="164" y="405"/>
                  </a:lnTo>
                  <a:lnTo>
                    <a:pt x="162" y="406"/>
                  </a:lnTo>
                  <a:lnTo>
                    <a:pt x="160" y="408"/>
                  </a:lnTo>
                  <a:lnTo>
                    <a:pt x="160" y="409"/>
                  </a:lnTo>
                  <a:lnTo>
                    <a:pt x="159" y="409"/>
                  </a:lnTo>
                  <a:lnTo>
                    <a:pt x="159" y="410"/>
                  </a:lnTo>
                  <a:lnTo>
                    <a:pt x="159" y="410"/>
                  </a:lnTo>
                  <a:lnTo>
                    <a:pt x="158" y="411"/>
                  </a:lnTo>
                  <a:lnTo>
                    <a:pt x="158" y="412"/>
                  </a:lnTo>
                  <a:lnTo>
                    <a:pt x="158" y="415"/>
                  </a:lnTo>
                  <a:lnTo>
                    <a:pt x="158" y="415"/>
                  </a:lnTo>
                  <a:lnTo>
                    <a:pt x="157" y="416"/>
                  </a:lnTo>
                  <a:lnTo>
                    <a:pt x="157" y="418"/>
                  </a:lnTo>
                  <a:lnTo>
                    <a:pt x="157" y="418"/>
                  </a:lnTo>
                  <a:lnTo>
                    <a:pt x="157" y="419"/>
                  </a:lnTo>
                  <a:lnTo>
                    <a:pt x="157" y="420"/>
                  </a:lnTo>
                  <a:lnTo>
                    <a:pt x="157" y="421"/>
                  </a:lnTo>
                  <a:lnTo>
                    <a:pt x="157" y="422"/>
                  </a:lnTo>
                  <a:lnTo>
                    <a:pt x="156" y="423"/>
                  </a:lnTo>
                  <a:lnTo>
                    <a:pt x="156" y="423"/>
                  </a:lnTo>
                  <a:lnTo>
                    <a:pt x="156" y="424"/>
                  </a:lnTo>
                  <a:lnTo>
                    <a:pt x="156" y="424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3" y="425"/>
                  </a:lnTo>
                  <a:lnTo>
                    <a:pt x="153" y="426"/>
                  </a:lnTo>
                  <a:lnTo>
                    <a:pt x="152" y="426"/>
                  </a:lnTo>
                  <a:lnTo>
                    <a:pt x="152" y="426"/>
                  </a:lnTo>
                  <a:lnTo>
                    <a:pt x="152" y="427"/>
                  </a:lnTo>
                  <a:lnTo>
                    <a:pt x="151" y="429"/>
                  </a:lnTo>
                  <a:lnTo>
                    <a:pt x="150" y="430"/>
                  </a:lnTo>
                  <a:lnTo>
                    <a:pt x="150" y="431"/>
                  </a:lnTo>
                  <a:lnTo>
                    <a:pt x="149" y="433"/>
                  </a:lnTo>
                  <a:lnTo>
                    <a:pt x="148" y="433"/>
                  </a:lnTo>
                  <a:lnTo>
                    <a:pt x="148" y="434"/>
                  </a:lnTo>
                  <a:lnTo>
                    <a:pt x="147" y="434"/>
                  </a:lnTo>
                  <a:lnTo>
                    <a:pt x="147" y="434"/>
                  </a:lnTo>
                  <a:lnTo>
                    <a:pt x="146" y="434"/>
                  </a:lnTo>
                  <a:lnTo>
                    <a:pt x="145" y="434"/>
                  </a:lnTo>
                  <a:lnTo>
                    <a:pt x="144" y="434"/>
                  </a:lnTo>
                  <a:lnTo>
                    <a:pt x="143" y="434"/>
                  </a:lnTo>
                  <a:lnTo>
                    <a:pt x="142" y="435"/>
                  </a:lnTo>
                  <a:lnTo>
                    <a:pt x="141" y="435"/>
                  </a:lnTo>
                  <a:lnTo>
                    <a:pt x="140" y="435"/>
                  </a:lnTo>
                  <a:lnTo>
                    <a:pt x="139" y="436"/>
                  </a:lnTo>
                  <a:lnTo>
                    <a:pt x="138" y="436"/>
                  </a:lnTo>
                  <a:lnTo>
                    <a:pt x="137" y="437"/>
                  </a:lnTo>
                  <a:lnTo>
                    <a:pt x="136" y="438"/>
                  </a:lnTo>
                  <a:lnTo>
                    <a:pt x="135" y="439"/>
                  </a:lnTo>
                  <a:lnTo>
                    <a:pt x="134" y="440"/>
                  </a:lnTo>
                  <a:lnTo>
                    <a:pt x="133" y="440"/>
                  </a:lnTo>
                  <a:lnTo>
                    <a:pt x="133" y="441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2" y="443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0" y="445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5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3" y="447"/>
                  </a:lnTo>
                  <a:lnTo>
                    <a:pt x="123" y="447"/>
                  </a:lnTo>
                  <a:lnTo>
                    <a:pt x="123" y="446"/>
                  </a:lnTo>
                  <a:lnTo>
                    <a:pt x="122" y="446"/>
                  </a:lnTo>
                  <a:lnTo>
                    <a:pt x="122" y="446"/>
                  </a:lnTo>
                  <a:lnTo>
                    <a:pt x="122" y="445"/>
                  </a:lnTo>
                  <a:lnTo>
                    <a:pt x="121" y="443"/>
                  </a:lnTo>
                  <a:lnTo>
                    <a:pt x="121" y="442"/>
                  </a:lnTo>
                  <a:lnTo>
                    <a:pt x="120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7" y="436"/>
                  </a:lnTo>
                  <a:lnTo>
                    <a:pt x="116" y="437"/>
                  </a:lnTo>
                  <a:lnTo>
                    <a:pt x="115" y="437"/>
                  </a:lnTo>
                  <a:lnTo>
                    <a:pt x="115" y="437"/>
                  </a:lnTo>
                  <a:lnTo>
                    <a:pt x="114" y="438"/>
                  </a:lnTo>
                  <a:lnTo>
                    <a:pt x="114" y="438"/>
                  </a:lnTo>
                  <a:lnTo>
                    <a:pt x="112" y="440"/>
                  </a:lnTo>
                  <a:lnTo>
                    <a:pt x="112" y="440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0" y="441"/>
                  </a:lnTo>
                  <a:lnTo>
                    <a:pt x="110" y="441"/>
                  </a:lnTo>
                  <a:lnTo>
                    <a:pt x="109" y="441"/>
                  </a:lnTo>
                  <a:lnTo>
                    <a:pt x="109" y="440"/>
                  </a:lnTo>
                  <a:lnTo>
                    <a:pt x="109" y="440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8" y="437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5"/>
                  </a:lnTo>
                  <a:lnTo>
                    <a:pt x="108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5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0" y="435"/>
                  </a:lnTo>
                  <a:lnTo>
                    <a:pt x="100" y="434"/>
                  </a:lnTo>
                  <a:lnTo>
                    <a:pt x="99" y="433"/>
                  </a:lnTo>
                  <a:lnTo>
                    <a:pt x="99" y="432"/>
                  </a:lnTo>
                  <a:lnTo>
                    <a:pt x="98" y="431"/>
                  </a:lnTo>
                  <a:lnTo>
                    <a:pt x="96" y="429"/>
                  </a:lnTo>
                  <a:lnTo>
                    <a:pt x="95" y="428"/>
                  </a:lnTo>
                  <a:lnTo>
                    <a:pt x="95" y="427"/>
                  </a:lnTo>
                  <a:lnTo>
                    <a:pt x="94" y="426"/>
                  </a:lnTo>
                  <a:lnTo>
                    <a:pt x="93" y="426"/>
                  </a:lnTo>
                  <a:lnTo>
                    <a:pt x="92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0" y="424"/>
                  </a:lnTo>
                  <a:lnTo>
                    <a:pt x="86" y="424"/>
                  </a:lnTo>
                  <a:lnTo>
                    <a:pt x="85" y="424"/>
                  </a:lnTo>
                  <a:lnTo>
                    <a:pt x="85" y="423"/>
                  </a:lnTo>
                  <a:lnTo>
                    <a:pt x="84" y="423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4" y="419"/>
                  </a:lnTo>
                  <a:lnTo>
                    <a:pt x="84" y="418"/>
                  </a:lnTo>
                  <a:lnTo>
                    <a:pt x="84" y="418"/>
                  </a:lnTo>
                  <a:lnTo>
                    <a:pt x="85" y="418"/>
                  </a:lnTo>
                  <a:lnTo>
                    <a:pt x="86" y="417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8" y="417"/>
                  </a:lnTo>
                  <a:lnTo>
                    <a:pt x="89" y="417"/>
                  </a:lnTo>
                  <a:lnTo>
                    <a:pt x="90" y="417"/>
                  </a:lnTo>
                  <a:lnTo>
                    <a:pt x="93" y="418"/>
                  </a:lnTo>
                  <a:lnTo>
                    <a:pt x="93" y="418"/>
                  </a:lnTo>
                  <a:lnTo>
                    <a:pt x="94" y="418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5" y="417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4" y="415"/>
                  </a:lnTo>
                  <a:lnTo>
                    <a:pt x="94" y="413"/>
                  </a:lnTo>
                  <a:lnTo>
                    <a:pt x="94" y="412"/>
                  </a:lnTo>
                  <a:lnTo>
                    <a:pt x="94" y="411"/>
                  </a:lnTo>
                  <a:lnTo>
                    <a:pt x="94" y="411"/>
                  </a:lnTo>
                  <a:lnTo>
                    <a:pt x="94" y="410"/>
                  </a:lnTo>
                  <a:lnTo>
                    <a:pt x="95" y="409"/>
                  </a:lnTo>
                  <a:lnTo>
                    <a:pt x="95" y="409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6" y="407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6" y="405"/>
                  </a:lnTo>
                  <a:lnTo>
                    <a:pt x="95" y="404"/>
                  </a:lnTo>
                  <a:lnTo>
                    <a:pt x="95" y="401"/>
                  </a:lnTo>
                  <a:lnTo>
                    <a:pt x="94" y="400"/>
                  </a:lnTo>
                  <a:lnTo>
                    <a:pt x="94" y="398"/>
                  </a:lnTo>
                  <a:lnTo>
                    <a:pt x="92" y="394"/>
                  </a:lnTo>
                  <a:lnTo>
                    <a:pt x="91" y="392"/>
                  </a:lnTo>
                  <a:lnTo>
                    <a:pt x="90" y="390"/>
                  </a:lnTo>
                  <a:lnTo>
                    <a:pt x="89" y="389"/>
                  </a:lnTo>
                  <a:lnTo>
                    <a:pt x="87" y="386"/>
                  </a:lnTo>
                  <a:lnTo>
                    <a:pt x="87" y="386"/>
                  </a:lnTo>
                  <a:lnTo>
                    <a:pt x="87" y="385"/>
                  </a:lnTo>
                  <a:lnTo>
                    <a:pt x="87" y="385"/>
                  </a:lnTo>
                  <a:lnTo>
                    <a:pt x="87" y="384"/>
                  </a:lnTo>
                  <a:lnTo>
                    <a:pt x="87" y="381"/>
                  </a:lnTo>
                  <a:lnTo>
                    <a:pt x="87" y="380"/>
                  </a:lnTo>
                  <a:lnTo>
                    <a:pt x="86" y="378"/>
                  </a:lnTo>
                  <a:lnTo>
                    <a:pt x="86" y="378"/>
                  </a:lnTo>
                  <a:lnTo>
                    <a:pt x="86" y="377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3" y="374"/>
                  </a:lnTo>
                  <a:lnTo>
                    <a:pt x="83" y="373"/>
                  </a:lnTo>
                  <a:lnTo>
                    <a:pt x="82" y="373"/>
                  </a:lnTo>
                  <a:lnTo>
                    <a:pt x="82" y="372"/>
                  </a:lnTo>
                  <a:lnTo>
                    <a:pt x="82" y="372"/>
                  </a:lnTo>
                  <a:lnTo>
                    <a:pt x="82" y="371"/>
                  </a:lnTo>
                  <a:lnTo>
                    <a:pt x="81" y="370"/>
                  </a:lnTo>
                  <a:lnTo>
                    <a:pt x="82" y="370"/>
                  </a:lnTo>
                  <a:lnTo>
                    <a:pt x="82" y="369"/>
                  </a:lnTo>
                  <a:lnTo>
                    <a:pt x="82" y="367"/>
                  </a:lnTo>
                  <a:lnTo>
                    <a:pt x="82" y="366"/>
                  </a:lnTo>
                  <a:lnTo>
                    <a:pt x="82" y="365"/>
                  </a:lnTo>
                  <a:lnTo>
                    <a:pt x="82" y="363"/>
                  </a:lnTo>
                  <a:lnTo>
                    <a:pt x="82" y="361"/>
                  </a:lnTo>
                  <a:lnTo>
                    <a:pt x="81" y="359"/>
                  </a:lnTo>
                  <a:lnTo>
                    <a:pt x="81" y="358"/>
                  </a:lnTo>
                  <a:lnTo>
                    <a:pt x="80" y="356"/>
                  </a:lnTo>
                  <a:lnTo>
                    <a:pt x="80" y="355"/>
                  </a:lnTo>
                  <a:lnTo>
                    <a:pt x="80" y="354"/>
                  </a:lnTo>
                  <a:lnTo>
                    <a:pt x="80" y="353"/>
                  </a:lnTo>
                  <a:lnTo>
                    <a:pt x="80" y="352"/>
                  </a:lnTo>
                  <a:lnTo>
                    <a:pt x="80" y="351"/>
                  </a:lnTo>
                  <a:lnTo>
                    <a:pt x="81" y="347"/>
                  </a:lnTo>
                  <a:lnTo>
                    <a:pt x="81" y="345"/>
                  </a:lnTo>
                  <a:lnTo>
                    <a:pt x="82" y="344"/>
                  </a:lnTo>
                  <a:lnTo>
                    <a:pt x="82" y="343"/>
                  </a:lnTo>
                  <a:lnTo>
                    <a:pt x="82" y="343"/>
                  </a:lnTo>
                  <a:lnTo>
                    <a:pt x="82" y="340"/>
                  </a:lnTo>
                  <a:lnTo>
                    <a:pt x="82" y="339"/>
                  </a:lnTo>
                  <a:lnTo>
                    <a:pt x="82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3" y="334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0"/>
                  </a:lnTo>
                  <a:lnTo>
                    <a:pt x="83" y="329"/>
                  </a:lnTo>
                  <a:lnTo>
                    <a:pt x="83" y="328"/>
                  </a:lnTo>
                  <a:lnTo>
                    <a:pt x="83" y="327"/>
                  </a:lnTo>
                  <a:lnTo>
                    <a:pt x="83" y="326"/>
                  </a:lnTo>
                  <a:lnTo>
                    <a:pt x="82" y="325"/>
                  </a:lnTo>
                  <a:lnTo>
                    <a:pt x="81" y="323"/>
                  </a:lnTo>
                  <a:lnTo>
                    <a:pt x="81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9" y="319"/>
                  </a:lnTo>
                  <a:lnTo>
                    <a:pt x="78" y="319"/>
                  </a:lnTo>
                  <a:lnTo>
                    <a:pt x="77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4" y="318"/>
                  </a:lnTo>
                  <a:lnTo>
                    <a:pt x="70" y="318"/>
                  </a:lnTo>
                  <a:lnTo>
                    <a:pt x="69" y="318"/>
                  </a:lnTo>
                  <a:lnTo>
                    <a:pt x="68" y="318"/>
                  </a:lnTo>
                  <a:lnTo>
                    <a:pt x="65" y="318"/>
                  </a:lnTo>
                  <a:lnTo>
                    <a:pt x="64" y="318"/>
                  </a:lnTo>
                  <a:lnTo>
                    <a:pt x="62" y="318"/>
                  </a:lnTo>
                  <a:lnTo>
                    <a:pt x="58" y="318"/>
                  </a:lnTo>
                  <a:lnTo>
                    <a:pt x="57" y="317"/>
                  </a:lnTo>
                  <a:lnTo>
                    <a:pt x="55" y="317"/>
                  </a:lnTo>
                  <a:lnTo>
                    <a:pt x="55" y="317"/>
                  </a:lnTo>
                  <a:lnTo>
                    <a:pt x="54" y="318"/>
                  </a:lnTo>
                  <a:lnTo>
                    <a:pt x="52" y="318"/>
                  </a:lnTo>
                  <a:lnTo>
                    <a:pt x="51" y="318"/>
                  </a:lnTo>
                  <a:lnTo>
                    <a:pt x="50" y="318"/>
                  </a:lnTo>
                  <a:lnTo>
                    <a:pt x="49" y="318"/>
                  </a:lnTo>
                  <a:lnTo>
                    <a:pt x="49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6" y="318"/>
                  </a:lnTo>
                  <a:lnTo>
                    <a:pt x="46" y="317"/>
                  </a:lnTo>
                  <a:lnTo>
                    <a:pt x="46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5"/>
                  </a:lnTo>
                  <a:lnTo>
                    <a:pt x="45" y="314"/>
                  </a:lnTo>
                  <a:lnTo>
                    <a:pt x="45" y="313"/>
                  </a:lnTo>
                  <a:lnTo>
                    <a:pt x="45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4" y="309"/>
                  </a:lnTo>
                  <a:lnTo>
                    <a:pt x="44" y="308"/>
                  </a:lnTo>
                  <a:lnTo>
                    <a:pt x="43" y="308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1" y="305"/>
                  </a:lnTo>
                  <a:lnTo>
                    <a:pt x="38" y="304"/>
                  </a:lnTo>
                  <a:lnTo>
                    <a:pt x="36" y="303"/>
                  </a:lnTo>
                  <a:lnTo>
                    <a:pt x="36" y="303"/>
                  </a:lnTo>
                  <a:lnTo>
                    <a:pt x="35" y="303"/>
                  </a:lnTo>
                  <a:lnTo>
                    <a:pt x="34" y="302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5" y="301"/>
                  </a:lnTo>
                  <a:lnTo>
                    <a:pt x="22" y="300"/>
                  </a:lnTo>
                  <a:lnTo>
                    <a:pt x="20" y="300"/>
                  </a:lnTo>
                  <a:lnTo>
                    <a:pt x="19" y="299"/>
                  </a:lnTo>
                  <a:lnTo>
                    <a:pt x="16" y="299"/>
                  </a:lnTo>
                  <a:lnTo>
                    <a:pt x="14" y="299"/>
                  </a:lnTo>
                  <a:lnTo>
                    <a:pt x="12" y="299"/>
                  </a:lnTo>
                  <a:lnTo>
                    <a:pt x="9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6" y="297"/>
                  </a:lnTo>
                  <a:lnTo>
                    <a:pt x="4" y="296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1" y="291"/>
                  </a:lnTo>
                  <a:lnTo>
                    <a:pt x="1" y="291"/>
                  </a:lnTo>
                  <a:lnTo>
                    <a:pt x="2" y="290"/>
                  </a:lnTo>
                  <a:lnTo>
                    <a:pt x="6" y="288"/>
                  </a:lnTo>
                  <a:lnTo>
                    <a:pt x="8" y="287"/>
                  </a:lnTo>
                  <a:lnTo>
                    <a:pt x="10" y="286"/>
                  </a:lnTo>
                  <a:lnTo>
                    <a:pt x="11" y="285"/>
                  </a:lnTo>
                  <a:lnTo>
                    <a:pt x="12" y="284"/>
                  </a:lnTo>
                  <a:lnTo>
                    <a:pt x="13" y="283"/>
                  </a:lnTo>
                  <a:lnTo>
                    <a:pt x="18" y="278"/>
                  </a:lnTo>
                  <a:lnTo>
                    <a:pt x="19" y="276"/>
                  </a:lnTo>
                  <a:lnTo>
                    <a:pt x="20" y="275"/>
                  </a:lnTo>
                  <a:lnTo>
                    <a:pt x="21" y="274"/>
                  </a:lnTo>
                  <a:lnTo>
                    <a:pt x="21" y="273"/>
                  </a:lnTo>
                  <a:lnTo>
                    <a:pt x="21" y="272"/>
                  </a:lnTo>
                  <a:lnTo>
                    <a:pt x="22" y="271"/>
                  </a:lnTo>
                  <a:lnTo>
                    <a:pt x="22" y="269"/>
                  </a:lnTo>
                  <a:lnTo>
                    <a:pt x="22" y="264"/>
                  </a:lnTo>
                  <a:lnTo>
                    <a:pt x="22" y="261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4" y="254"/>
                  </a:lnTo>
                  <a:lnTo>
                    <a:pt x="24" y="253"/>
                  </a:lnTo>
                  <a:lnTo>
                    <a:pt x="25" y="252"/>
                  </a:lnTo>
                  <a:lnTo>
                    <a:pt x="25" y="251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8" y="248"/>
                  </a:lnTo>
                  <a:lnTo>
                    <a:pt x="28" y="248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8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7" y="247"/>
                  </a:lnTo>
                  <a:lnTo>
                    <a:pt x="51" y="246"/>
                  </a:lnTo>
                  <a:lnTo>
                    <a:pt x="52" y="245"/>
                  </a:lnTo>
                  <a:lnTo>
                    <a:pt x="53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5" y="245"/>
                  </a:lnTo>
                  <a:lnTo>
                    <a:pt x="56" y="245"/>
                  </a:lnTo>
                  <a:lnTo>
                    <a:pt x="57" y="246"/>
                  </a:lnTo>
                  <a:lnTo>
                    <a:pt x="59" y="246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4" y="246"/>
                  </a:lnTo>
                  <a:lnTo>
                    <a:pt x="75" y="245"/>
                  </a:lnTo>
                  <a:lnTo>
                    <a:pt x="77" y="241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81" y="235"/>
                  </a:lnTo>
                  <a:lnTo>
                    <a:pt x="81" y="233"/>
                  </a:lnTo>
                  <a:lnTo>
                    <a:pt x="82" y="232"/>
                  </a:lnTo>
                  <a:lnTo>
                    <a:pt x="83" y="230"/>
                  </a:lnTo>
                  <a:lnTo>
                    <a:pt x="83" y="228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4" y="222"/>
                  </a:lnTo>
                  <a:lnTo>
                    <a:pt x="85" y="221"/>
                  </a:lnTo>
                  <a:lnTo>
                    <a:pt x="87" y="216"/>
                  </a:lnTo>
                  <a:lnTo>
                    <a:pt x="87" y="215"/>
                  </a:lnTo>
                  <a:lnTo>
                    <a:pt x="88" y="215"/>
                  </a:lnTo>
                  <a:lnTo>
                    <a:pt x="88" y="214"/>
                  </a:lnTo>
                  <a:lnTo>
                    <a:pt x="89" y="213"/>
                  </a:lnTo>
                  <a:lnTo>
                    <a:pt x="89" y="212"/>
                  </a:lnTo>
                  <a:lnTo>
                    <a:pt x="90" y="212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2" y="210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4" y="210"/>
                  </a:lnTo>
                  <a:lnTo>
                    <a:pt x="95" y="210"/>
                  </a:lnTo>
                  <a:lnTo>
                    <a:pt x="95" y="210"/>
                  </a:lnTo>
                  <a:lnTo>
                    <a:pt x="96" y="210"/>
                  </a:lnTo>
                  <a:lnTo>
                    <a:pt x="98" y="210"/>
                  </a:lnTo>
                  <a:lnTo>
                    <a:pt x="99" y="211"/>
                  </a:lnTo>
                  <a:lnTo>
                    <a:pt x="99" y="211"/>
                  </a:lnTo>
                  <a:lnTo>
                    <a:pt x="100" y="211"/>
                  </a:lnTo>
                  <a:lnTo>
                    <a:pt x="102" y="213"/>
                  </a:lnTo>
                  <a:lnTo>
                    <a:pt x="103" y="213"/>
                  </a:lnTo>
                  <a:lnTo>
                    <a:pt x="104" y="214"/>
                  </a:lnTo>
                  <a:lnTo>
                    <a:pt x="104" y="214"/>
                  </a:lnTo>
                  <a:lnTo>
                    <a:pt x="105" y="214"/>
                  </a:lnTo>
                  <a:lnTo>
                    <a:pt x="106" y="214"/>
                  </a:lnTo>
                  <a:lnTo>
                    <a:pt x="107" y="214"/>
                  </a:lnTo>
                  <a:lnTo>
                    <a:pt x="107" y="214"/>
                  </a:lnTo>
                  <a:lnTo>
                    <a:pt x="108" y="214"/>
                  </a:lnTo>
                  <a:lnTo>
                    <a:pt x="109" y="214"/>
                  </a:lnTo>
                  <a:lnTo>
                    <a:pt x="109" y="213"/>
                  </a:lnTo>
                  <a:lnTo>
                    <a:pt x="110" y="213"/>
                  </a:lnTo>
                  <a:lnTo>
                    <a:pt x="110" y="213"/>
                  </a:lnTo>
                  <a:lnTo>
                    <a:pt x="111" y="212"/>
                  </a:lnTo>
                  <a:lnTo>
                    <a:pt x="111" y="212"/>
                  </a:lnTo>
                  <a:lnTo>
                    <a:pt x="111" y="211"/>
                  </a:lnTo>
                  <a:lnTo>
                    <a:pt x="112" y="210"/>
                  </a:lnTo>
                  <a:lnTo>
                    <a:pt x="113" y="207"/>
                  </a:lnTo>
                  <a:lnTo>
                    <a:pt x="113" y="206"/>
                  </a:lnTo>
                  <a:lnTo>
                    <a:pt x="114" y="205"/>
                  </a:lnTo>
                  <a:lnTo>
                    <a:pt x="115" y="204"/>
                  </a:lnTo>
                  <a:lnTo>
                    <a:pt x="115" y="204"/>
                  </a:lnTo>
                  <a:lnTo>
                    <a:pt x="116" y="202"/>
                  </a:lnTo>
                  <a:lnTo>
                    <a:pt x="118" y="201"/>
                  </a:lnTo>
                  <a:lnTo>
                    <a:pt x="119" y="200"/>
                  </a:lnTo>
                  <a:lnTo>
                    <a:pt x="122" y="198"/>
                  </a:lnTo>
                  <a:lnTo>
                    <a:pt x="123" y="197"/>
                  </a:lnTo>
                  <a:lnTo>
                    <a:pt x="124" y="196"/>
                  </a:lnTo>
                  <a:lnTo>
                    <a:pt x="125" y="196"/>
                  </a:lnTo>
                  <a:lnTo>
                    <a:pt x="125" y="195"/>
                  </a:lnTo>
                  <a:lnTo>
                    <a:pt x="126" y="195"/>
                  </a:lnTo>
                  <a:lnTo>
                    <a:pt x="127" y="193"/>
                  </a:lnTo>
                  <a:lnTo>
                    <a:pt x="127" y="192"/>
                  </a:lnTo>
                  <a:lnTo>
                    <a:pt x="128" y="191"/>
                  </a:lnTo>
                  <a:lnTo>
                    <a:pt x="128" y="188"/>
                  </a:lnTo>
                  <a:lnTo>
                    <a:pt x="129" y="187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1" y="185"/>
                  </a:lnTo>
                  <a:lnTo>
                    <a:pt x="132" y="186"/>
                  </a:lnTo>
                  <a:lnTo>
                    <a:pt x="132" y="186"/>
                  </a:lnTo>
                  <a:lnTo>
                    <a:pt x="133" y="186"/>
                  </a:lnTo>
                  <a:lnTo>
                    <a:pt x="133" y="186"/>
                  </a:lnTo>
                  <a:lnTo>
                    <a:pt x="133" y="187"/>
                  </a:lnTo>
                  <a:lnTo>
                    <a:pt x="135" y="188"/>
                  </a:lnTo>
                  <a:lnTo>
                    <a:pt x="136" y="190"/>
                  </a:lnTo>
                  <a:lnTo>
                    <a:pt x="137" y="191"/>
                  </a:lnTo>
                  <a:lnTo>
                    <a:pt x="139" y="195"/>
                  </a:lnTo>
                  <a:lnTo>
                    <a:pt x="140" y="196"/>
                  </a:lnTo>
                  <a:lnTo>
                    <a:pt x="141" y="197"/>
                  </a:lnTo>
                  <a:lnTo>
                    <a:pt x="142" y="198"/>
                  </a:lnTo>
                  <a:lnTo>
                    <a:pt x="142" y="199"/>
                  </a:lnTo>
                  <a:lnTo>
                    <a:pt x="144" y="200"/>
                  </a:lnTo>
                  <a:lnTo>
                    <a:pt x="145" y="201"/>
                  </a:lnTo>
                  <a:lnTo>
                    <a:pt x="146" y="201"/>
                  </a:lnTo>
                  <a:lnTo>
                    <a:pt x="147" y="201"/>
                  </a:lnTo>
                  <a:lnTo>
                    <a:pt x="149" y="202"/>
                  </a:lnTo>
                  <a:lnTo>
                    <a:pt x="151" y="203"/>
                  </a:lnTo>
                  <a:lnTo>
                    <a:pt x="152" y="203"/>
                  </a:lnTo>
                  <a:lnTo>
                    <a:pt x="152" y="203"/>
                  </a:lnTo>
                  <a:lnTo>
                    <a:pt x="153" y="203"/>
                  </a:lnTo>
                  <a:lnTo>
                    <a:pt x="153" y="203"/>
                  </a:lnTo>
                  <a:lnTo>
                    <a:pt x="154" y="203"/>
                  </a:lnTo>
                  <a:lnTo>
                    <a:pt x="154" y="203"/>
                  </a:lnTo>
                  <a:lnTo>
                    <a:pt x="155" y="203"/>
                  </a:lnTo>
                  <a:lnTo>
                    <a:pt x="156" y="202"/>
                  </a:lnTo>
                  <a:lnTo>
                    <a:pt x="156" y="202"/>
                  </a:lnTo>
                  <a:lnTo>
                    <a:pt x="157" y="201"/>
                  </a:lnTo>
                  <a:lnTo>
                    <a:pt x="158" y="201"/>
                  </a:lnTo>
                  <a:lnTo>
                    <a:pt x="159" y="199"/>
                  </a:lnTo>
                  <a:lnTo>
                    <a:pt x="163" y="196"/>
                  </a:lnTo>
                  <a:lnTo>
                    <a:pt x="166" y="193"/>
                  </a:lnTo>
                  <a:lnTo>
                    <a:pt x="169" y="190"/>
                  </a:lnTo>
                  <a:lnTo>
                    <a:pt x="170" y="189"/>
                  </a:lnTo>
                  <a:lnTo>
                    <a:pt x="170" y="188"/>
                  </a:lnTo>
                  <a:lnTo>
                    <a:pt x="171" y="188"/>
                  </a:lnTo>
                  <a:lnTo>
                    <a:pt x="171" y="187"/>
                  </a:lnTo>
                  <a:lnTo>
                    <a:pt x="171" y="186"/>
                  </a:lnTo>
                  <a:lnTo>
                    <a:pt x="171" y="185"/>
                  </a:lnTo>
                  <a:lnTo>
                    <a:pt x="171" y="183"/>
                  </a:lnTo>
                  <a:lnTo>
                    <a:pt x="171" y="182"/>
                  </a:lnTo>
                  <a:lnTo>
                    <a:pt x="172" y="181"/>
                  </a:lnTo>
                  <a:lnTo>
                    <a:pt x="172" y="181"/>
                  </a:lnTo>
                  <a:lnTo>
                    <a:pt x="172" y="180"/>
                  </a:lnTo>
                  <a:lnTo>
                    <a:pt x="173" y="179"/>
                  </a:lnTo>
                  <a:lnTo>
                    <a:pt x="174" y="177"/>
                  </a:lnTo>
                  <a:lnTo>
                    <a:pt x="175" y="175"/>
                  </a:lnTo>
                  <a:lnTo>
                    <a:pt x="176" y="174"/>
                  </a:lnTo>
                  <a:lnTo>
                    <a:pt x="176" y="174"/>
                  </a:lnTo>
                  <a:lnTo>
                    <a:pt x="176" y="173"/>
                  </a:lnTo>
                  <a:lnTo>
                    <a:pt x="176" y="172"/>
                  </a:lnTo>
                  <a:lnTo>
                    <a:pt x="177" y="171"/>
                  </a:lnTo>
                  <a:lnTo>
                    <a:pt x="177" y="170"/>
                  </a:lnTo>
                  <a:lnTo>
                    <a:pt x="177" y="170"/>
                  </a:lnTo>
                  <a:lnTo>
                    <a:pt x="177" y="168"/>
                  </a:lnTo>
                  <a:lnTo>
                    <a:pt x="177" y="166"/>
                  </a:lnTo>
                  <a:lnTo>
                    <a:pt x="176" y="163"/>
                  </a:lnTo>
                  <a:lnTo>
                    <a:pt x="176" y="162"/>
                  </a:lnTo>
                  <a:lnTo>
                    <a:pt x="176" y="161"/>
                  </a:lnTo>
                  <a:lnTo>
                    <a:pt x="176" y="160"/>
                  </a:lnTo>
                  <a:lnTo>
                    <a:pt x="176" y="160"/>
                  </a:lnTo>
                  <a:lnTo>
                    <a:pt x="177" y="159"/>
                  </a:lnTo>
                  <a:lnTo>
                    <a:pt x="177" y="159"/>
                  </a:lnTo>
                  <a:lnTo>
                    <a:pt x="178" y="158"/>
                  </a:lnTo>
                  <a:lnTo>
                    <a:pt x="178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80" y="156"/>
                  </a:lnTo>
                  <a:lnTo>
                    <a:pt x="181" y="156"/>
                  </a:lnTo>
                  <a:lnTo>
                    <a:pt x="182" y="156"/>
                  </a:lnTo>
                  <a:lnTo>
                    <a:pt x="183" y="155"/>
                  </a:lnTo>
                  <a:lnTo>
                    <a:pt x="184" y="155"/>
                  </a:lnTo>
                  <a:lnTo>
                    <a:pt x="185" y="155"/>
                  </a:lnTo>
                  <a:lnTo>
                    <a:pt x="187" y="155"/>
                  </a:lnTo>
                  <a:lnTo>
                    <a:pt x="192" y="155"/>
                  </a:lnTo>
                  <a:lnTo>
                    <a:pt x="194" y="155"/>
                  </a:lnTo>
                  <a:lnTo>
                    <a:pt x="196" y="155"/>
                  </a:lnTo>
                  <a:lnTo>
                    <a:pt x="197" y="154"/>
                  </a:lnTo>
                  <a:lnTo>
                    <a:pt x="199" y="154"/>
                  </a:lnTo>
                  <a:lnTo>
                    <a:pt x="200" y="153"/>
                  </a:lnTo>
                  <a:lnTo>
                    <a:pt x="201" y="153"/>
                  </a:lnTo>
                  <a:lnTo>
                    <a:pt x="202" y="152"/>
                  </a:lnTo>
                  <a:lnTo>
                    <a:pt x="204" y="151"/>
                  </a:lnTo>
                  <a:lnTo>
                    <a:pt x="205" y="151"/>
                  </a:lnTo>
                  <a:lnTo>
                    <a:pt x="206" y="150"/>
                  </a:lnTo>
                  <a:lnTo>
                    <a:pt x="208" y="149"/>
                  </a:lnTo>
                  <a:lnTo>
                    <a:pt x="209" y="149"/>
                  </a:lnTo>
                  <a:lnTo>
                    <a:pt x="210" y="148"/>
                  </a:lnTo>
                  <a:lnTo>
                    <a:pt x="211" y="148"/>
                  </a:lnTo>
                  <a:lnTo>
                    <a:pt x="212" y="148"/>
                  </a:lnTo>
                  <a:lnTo>
                    <a:pt x="213" y="148"/>
                  </a:lnTo>
                  <a:lnTo>
                    <a:pt x="214" y="148"/>
                  </a:lnTo>
                  <a:lnTo>
                    <a:pt x="215" y="148"/>
                  </a:lnTo>
                  <a:lnTo>
                    <a:pt x="215" y="148"/>
                  </a:lnTo>
                  <a:lnTo>
                    <a:pt x="216" y="149"/>
                  </a:lnTo>
                  <a:lnTo>
                    <a:pt x="217" y="149"/>
                  </a:lnTo>
                  <a:lnTo>
                    <a:pt x="220" y="151"/>
                  </a:lnTo>
                  <a:lnTo>
                    <a:pt x="222" y="151"/>
                  </a:lnTo>
                  <a:lnTo>
                    <a:pt x="223" y="151"/>
                  </a:lnTo>
                  <a:lnTo>
                    <a:pt x="223" y="152"/>
                  </a:lnTo>
                  <a:lnTo>
                    <a:pt x="224" y="152"/>
                  </a:lnTo>
                  <a:lnTo>
                    <a:pt x="225" y="152"/>
                  </a:lnTo>
                  <a:lnTo>
                    <a:pt x="225" y="152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7" y="151"/>
                  </a:lnTo>
                  <a:lnTo>
                    <a:pt x="228" y="151"/>
                  </a:lnTo>
                  <a:lnTo>
                    <a:pt x="229" y="150"/>
                  </a:lnTo>
                  <a:lnTo>
                    <a:pt x="231" y="149"/>
                  </a:lnTo>
                  <a:lnTo>
                    <a:pt x="232" y="149"/>
                  </a:lnTo>
                  <a:lnTo>
                    <a:pt x="233" y="148"/>
                  </a:lnTo>
                  <a:lnTo>
                    <a:pt x="234" y="148"/>
                  </a:lnTo>
                  <a:lnTo>
                    <a:pt x="238" y="148"/>
                  </a:lnTo>
                  <a:lnTo>
                    <a:pt x="242" y="147"/>
                  </a:lnTo>
                  <a:lnTo>
                    <a:pt x="243" y="147"/>
                  </a:lnTo>
                  <a:lnTo>
                    <a:pt x="244" y="147"/>
                  </a:lnTo>
                  <a:lnTo>
                    <a:pt x="247" y="147"/>
                  </a:lnTo>
                  <a:lnTo>
                    <a:pt x="248" y="147"/>
                  </a:lnTo>
                  <a:lnTo>
                    <a:pt x="250" y="147"/>
                  </a:lnTo>
                  <a:lnTo>
                    <a:pt x="252" y="147"/>
                  </a:lnTo>
                  <a:lnTo>
                    <a:pt x="254" y="147"/>
                  </a:lnTo>
                  <a:lnTo>
                    <a:pt x="255" y="147"/>
                  </a:lnTo>
                  <a:lnTo>
                    <a:pt x="256" y="148"/>
                  </a:lnTo>
                  <a:lnTo>
                    <a:pt x="259" y="149"/>
                  </a:lnTo>
                  <a:lnTo>
                    <a:pt x="260" y="149"/>
                  </a:lnTo>
                  <a:lnTo>
                    <a:pt x="261" y="149"/>
                  </a:lnTo>
                  <a:lnTo>
                    <a:pt x="263" y="150"/>
                  </a:lnTo>
                  <a:lnTo>
                    <a:pt x="264" y="150"/>
                  </a:lnTo>
                  <a:lnTo>
                    <a:pt x="266" y="150"/>
                  </a:lnTo>
                  <a:lnTo>
                    <a:pt x="267" y="149"/>
                  </a:lnTo>
                  <a:lnTo>
                    <a:pt x="268" y="149"/>
                  </a:lnTo>
                  <a:lnTo>
                    <a:pt x="269" y="149"/>
                  </a:lnTo>
                  <a:lnTo>
                    <a:pt x="270" y="148"/>
                  </a:lnTo>
                  <a:lnTo>
                    <a:pt x="271" y="147"/>
                  </a:lnTo>
                  <a:lnTo>
                    <a:pt x="273" y="146"/>
                  </a:lnTo>
                  <a:lnTo>
                    <a:pt x="274" y="145"/>
                  </a:lnTo>
                  <a:lnTo>
                    <a:pt x="275" y="145"/>
                  </a:lnTo>
                  <a:lnTo>
                    <a:pt x="278" y="144"/>
                  </a:lnTo>
                  <a:lnTo>
                    <a:pt x="278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80" y="142"/>
                  </a:lnTo>
                  <a:lnTo>
                    <a:pt x="281" y="142"/>
                  </a:lnTo>
                  <a:lnTo>
                    <a:pt x="281" y="141"/>
                  </a:lnTo>
                  <a:lnTo>
                    <a:pt x="282" y="140"/>
                  </a:lnTo>
                  <a:lnTo>
                    <a:pt x="282" y="139"/>
                  </a:lnTo>
                  <a:lnTo>
                    <a:pt x="282" y="138"/>
                  </a:lnTo>
                  <a:lnTo>
                    <a:pt x="282" y="138"/>
                  </a:lnTo>
                  <a:lnTo>
                    <a:pt x="282" y="136"/>
                  </a:lnTo>
                  <a:lnTo>
                    <a:pt x="282" y="133"/>
                  </a:lnTo>
                  <a:lnTo>
                    <a:pt x="282" y="132"/>
                  </a:lnTo>
                  <a:lnTo>
                    <a:pt x="282" y="130"/>
                  </a:lnTo>
                  <a:lnTo>
                    <a:pt x="282" y="129"/>
                  </a:lnTo>
                  <a:lnTo>
                    <a:pt x="282" y="128"/>
                  </a:lnTo>
                  <a:lnTo>
                    <a:pt x="283" y="127"/>
                  </a:lnTo>
                  <a:lnTo>
                    <a:pt x="283" y="126"/>
                  </a:lnTo>
                  <a:lnTo>
                    <a:pt x="283" y="125"/>
                  </a:lnTo>
                  <a:lnTo>
                    <a:pt x="284" y="124"/>
                  </a:lnTo>
                  <a:lnTo>
                    <a:pt x="284" y="124"/>
                  </a:lnTo>
                  <a:lnTo>
                    <a:pt x="284" y="123"/>
                  </a:lnTo>
                  <a:lnTo>
                    <a:pt x="285" y="123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2"/>
                  </a:lnTo>
                  <a:lnTo>
                    <a:pt x="287" y="121"/>
                  </a:lnTo>
                  <a:lnTo>
                    <a:pt x="288" y="121"/>
                  </a:lnTo>
                  <a:lnTo>
                    <a:pt x="291" y="120"/>
                  </a:lnTo>
                  <a:lnTo>
                    <a:pt x="292" y="120"/>
                  </a:lnTo>
                  <a:lnTo>
                    <a:pt x="294" y="119"/>
                  </a:lnTo>
                  <a:lnTo>
                    <a:pt x="295" y="119"/>
                  </a:lnTo>
                  <a:lnTo>
                    <a:pt x="297" y="118"/>
                  </a:lnTo>
                  <a:lnTo>
                    <a:pt x="298" y="117"/>
                  </a:lnTo>
                  <a:lnTo>
                    <a:pt x="299" y="116"/>
                  </a:lnTo>
                  <a:lnTo>
                    <a:pt x="301" y="114"/>
                  </a:lnTo>
                  <a:lnTo>
                    <a:pt x="302" y="113"/>
                  </a:lnTo>
                  <a:lnTo>
                    <a:pt x="303" y="113"/>
                  </a:lnTo>
                  <a:lnTo>
                    <a:pt x="305" y="112"/>
                  </a:lnTo>
                  <a:lnTo>
                    <a:pt x="306" y="111"/>
                  </a:lnTo>
                  <a:lnTo>
                    <a:pt x="308" y="110"/>
                  </a:lnTo>
                  <a:lnTo>
                    <a:pt x="309" y="110"/>
                  </a:lnTo>
                  <a:lnTo>
                    <a:pt x="310" y="110"/>
                  </a:lnTo>
                  <a:lnTo>
                    <a:pt x="311" y="110"/>
                  </a:lnTo>
                  <a:lnTo>
                    <a:pt x="312" y="110"/>
                  </a:lnTo>
                  <a:lnTo>
                    <a:pt x="313" y="110"/>
                  </a:lnTo>
                  <a:lnTo>
                    <a:pt x="314" y="110"/>
                  </a:lnTo>
                  <a:lnTo>
                    <a:pt x="316" y="111"/>
                  </a:lnTo>
                  <a:lnTo>
                    <a:pt x="319" y="112"/>
                  </a:lnTo>
                  <a:lnTo>
                    <a:pt x="321" y="113"/>
                  </a:lnTo>
                  <a:lnTo>
                    <a:pt x="322" y="113"/>
                  </a:lnTo>
                  <a:lnTo>
                    <a:pt x="323" y="113"/>
                  </a:lnTo>
                  <a:lnTo>
                    <a:pt x="324" y="113"/>
                  </a:lnTo>
                  <a:lnTo>
                    <a:pt x="327" y="112"/>
                  </a:lnTo>
                  <a:lnTo>
                    <a:pt x="331" y="112"/>
                  </a:lnTo>
                  <a:lnTo>
                    <a:pt x="331" y="111"/>
                  </a:lnTo>
                  <a:lnTo>
                    <a:pt x="332" y="111"/>
                  </a:lnTo>
                  <a:lnTo>
                    <a:pt x="334" y="111"/>
                  </a:lnTo>
                  <a:lnTo>
                    <a:pt x="335" y="110"/>
                  </a:lnTo>
                  <a:lnTo>
                    <a:pt x="336" y="109"/>
                  </a:lnTo>
                  <a:lnTo>
                    <a:pt x="339" y="107"/>
                  </a:lnTo>
                  <a:lnTo>
                    <a:pt x="340" y="106"/>
                  </a:lnTo>
                  <a:lnTo>
                    <a:pt x="342" y="105"/>
                  </a:lnTo>
                  <a:lnTo>
                    <a:pt x="345" y="104"/>
                  </a:lnTo>
                  <a:lnTo>
                    <a:pt x="352" y="101"/>
                  </a:lnTo>
                  <a:lnTo>
                    <a:pt x="357" y="98"/>
                  </a:lnTo>
                  <a:lnTo>
                    <a:pt x="360" y="97"/>
                  </a:lnTo>
                  <a:lnTo>
                    <a:pt x="362" y="96"/>
                  </a:lnTo>
                  <a:lnTo>
                    <a:pt x="368" y="94"/>
                  </a:lnTo>
                  <a:lnTo>
                    <a:pt x="370" y="94"/>
                  </a:lnTo>
                  <a:lnTo>
                    <a:pt x="372" y="93"/>
                  </a:lnTo>
                  <a:lnTo>
                    <a:pt x="373" y="92"/>
                  </a:lnTo>
                  <a:lnTo>
                    <a:pt x="374" y="92"/>
                  </a:lnTo>
                  <a:lnTo>
                    <a:pt x="375" y="91"/>
                  </a:lnTo>
                  <a:lnTo>
                    <a:pt x="377" y="89"/>
                  </a:lnTo>
                  <a:lnTo>
                    <a:pt x="378" y="88"/>
                  </a:lnTo>
                  <a:lnTo>
                    <a:pt x="379" y="87"/>
                  </a:lnTo>
                  <a:lnTo>
                    <a:pt x="380" y="86"/>
                  </a:lnTo>
                  <a:lnTo>
                    <a:pt x="381" y="85"/>
                  </a:lnTo>
                  <a:lnTo>
                    <a:pt x="382" y="84"/>
                  </a:lnTo>
                  <a:lnTo>
                    <a:pt x="384" y="81"/>
                  </a:lnTo>
                  <a:lnTo>
                    <a:pt x="384" y="80"/>
                  </a:lnTo>
                  <a:lnTo>
                    <a:pt x="384" y="79"/>
                  </a:lnTo>
                  <a:lnTo>
                    <a:pt x="385" y="79"/>
                  </a:lnTo>
                  <a:lnTo>
                    <a:pt x="386" y="78"/>
                  </a:lnTo>
                  <a:lnTo>
                    <a:pt x="387" y="78"/>
                  </a:lnTo>
                  <a:lnTo>
                    <a:pt x="388" y="77"/>
                  </a:lnTo>
                  <a:lnTo>
                    <a:pt x="389" y="76"/>
                  </a:lnTo>
                  <a:lnTo>
                    <a:pt x="391" y="76"/>
                  </a:lnTo>
                  <a:lnTo>
                    <a:pt x="392" y="76"/>
                  </a:lnTo>
                  <a:lnTo>
                    <a:pt x="393" y="76"/>
                  </a:lnTo>
                  <a:lnTo>
                    <a:pt x="394" y="76"/>
                  </a:lnTo>
                  <a:lnTo>
                    <a:pt x="395" y="76"/>
                  </a:lnTo>
                  <a:lnTo>
                    <a:pt x="397" y="76"/>
                  </a:lnTo>
                  <a:lnTo>
                    <a:pt x="399" y="77"/>
                  </a:lnTo>
                  <a:lnTo>
                    <a:pt x="401" y="77"/>
                  </a:lnTo>
                  <a:lnTo>
                    <a:pt x="402" y="77"/>
                  </a:lnTo>
                  <a:lnTo>
                    <a:pt x="403" y="77"/>
                  </a:lnTo>
                  <a:lnTo>
                    <a:pt x="404" y="77"/>
                  </a:lnTo>
                  <a:lnTo>
                    <a:pt x="405" y="77"/>
                  </a:lnTo>
                  <a:lnTo>
                    <a:pt x="407" y="77"/>
                  </a:lnTo>
                  <a:lnTo>
                    <a:pt x="410" y="76"/>
                  </a:lnTo>
                  <a:lnTo>
                    <a:pt x="411" y="76"/>
                  </a:lnTo>
                  <a:lnTo>
                    <a:pt x="412" y="75"/>
                  </a:lnTo>
                  <a:lnTo>
                    <a:pt x="414" y="75"/>
                  </a:lnTo>
                  <a:lnTo>
                    <a:pt x="417" y="74"/>
                  </a:lnTo>
                  <a:lnTo>
                    <a:pt x="418" y="73"/>
                  </a:lnTo>
                  <a:lnTo>
                    <a:pt x="419" y="73"/>
                  </a:lnTo>
                  <a:lnTo>
                    <a:pt x="422" y="72"/>
                  </a:lnTo>
                  <a:lnTo>
                    <a:pt x="423" y="72"/>
                  </a:lnTo>
                  <a:lnTo>
                    <a:pt x="424" y="72"/>
                  </a:lnTo>
                  <a:lnTo>
                    <a:pt x="425" y="71"/>
                  </a:lnTo>
                  <a:lnTo>
                    <a:pt x="425" y="71"/>
                  </a:lnTo>
                  <a:lnTo>
                    <a:pt x="426" y="70"/>
                  </a:lnTo>
                  <a:lnTo>
                    <a:pt x="426" y="70"/>
                  </a:lnTo>
                  <a:lnTo>
                    <a:pt x="427" y="69"/>
                  </a:lnTo>
                  <a:lnTo>
                    <a:pt x="427" y="69"/>
                  </a:lnTo>
                  <a:lnTo>
                    <a:pt x="428" y="68"/>
                  </a:lnTo>
                  <a:lnTo>
                    <a:pt x="428" y="65"/>
                  </a:lnTo>
                  <a:lnTo>
                    <a:pt x="429" y="63"/>
                  </a:lnTo>
                  <a:lnTo>
                    <a:pt x="430" y="61"/>
                  </a:lnTo>
                  <a:lnTo>
                    <a:pt x="430" y="60"/>
                  </a:lnTo>
                  <a:lnTo>
                    <a:pt x="430" y="60"/>
                  </a:lnTo>
                  <a:lnTo>
                    <a:pt x="430" y="59"/>
                  </a:lnTo>
                  <a:lnTo>
                    <a:pt x="430" y="58"/>
                  </a:lnTo>
                  <a:lnTo>
                    <a:pt x="430" y="58"/>
                  </a:lnTo>
                  <a:lnTo>
                    <a:pt x="430" y="57"/>
                  </a:lnTo>
                  <a:lnTo>
                    <a:pt x="429" y="57"/>
                  </a:lnTo>
                  <a:lnTo>
                    <a:pt x="429" y="56"/>
                  </a:lnTo>
                  <a:lnTo>
                    <a:pt x="428" y="55"/>
                  </a:lnTo>
                  <a:lnTo>
                    <a:pt x="428" y="55"/>
                  </a:lnTo>
                  <a:lnTo>
                    <a:pt x="427" y="55"/>
                  </a:lnTo>
                  <a:lnTo>
                    <a:pt x="426" y="54"/>
                  </a:lnTo>
                  <a:lnTo>
                    <a:pt x="425" y="54"/>
                  </a:lnTo>
                  <a:lnTo>
                    <a:pt x="423" y="53"/>
                  </a:lnTo>
                  <a:lnTo>
                    <a:pt x="419" y="51"/>
                  </a:lnTo>
                  <a:lnTo>
                    <a:pt x="417" y="50"/>
                  </a:lnTo>
                  <a:lnTo>
                    <a:pt x="412" y="49"/>
                  </a:lnTo>
                  <a:lnTo>
                    <a:pt x="411" y="48"/>
                  </a:lnTo>
                  <a:lnTo>
                    <a:pt x="410" y="48"/>
                  </a:lnTo>
                  <a:lnTo>
                    <a:pt x="409" y="47"/>
                  </a:lnTo>
                  <a:lnTo>
                    <a:pt x="409" y="47"/>
                  </a:lnTo>
                  <a:lnTo>
                    <a:pt x="408" y="46"/>
                  </a:lnTo>
                  <a:lnTo>
                    <a:pt x="408" y="46"/>
                  </a:lnTo>
                  <a:lnTo>
                    <a:pt x="408" y="45"/>
                  </a:lnTo>
                  <a:lnTo>
                    <a:pt x="407" y="45"/>
                  </a:lnTo>
                  <a:lnTo>
                    <a:pt x="407" y="44"/>
                  </a:lnTo>
                  <a:lnTo>
                    <a:pt x="406" y="43"/>
                  </a:lnTo>
                  <a:lnTo>
                    <a:pt x="406" y="42"/>
                  </a:lnTo>
                  <a:lnTo>
                    <a:pt x="406" y="42"/>
                  </a:lnTo>
                  <a:lnTo>
                    <a:pt x="406" y="41"/>
                  </a:lnTo>
                  <a:lnTo>
                    <a:pt x="406" y="41"/>
                  </a:lnTo>
                  <a:lnTo>
                    <a:pt x="406" y="40"/>
                  </a:lnTo>
                  <a:lnTo>
                    <a:pt x="406" y="40"/>
                  </a:lnTo>
                  <a:lnTo>
                    <a:pt x="407" y="39"/>
                  </a:lnTo>
                  <a:lnTo>
                    <a:pt x="408" y="37"/>
                  </a:lnTo>
                  <a:lnTo>
                    <a:pt x="408" y="37"/>
                  </a:lnTo>
                  <a:lnTo>
                    <a:pt x="408" y="37"/>
                  </a:lnTo>
                  <a:lnTo>
                    <a:pt x="408" y="36"/>
                  </a:lnTo>
                  <a:lnTo>
                    <a:pt x="408" y="36"/>
                  </a:lnTo>
                  <a:lnTo>
                    <a:pt x="408" y="35"/>
                  </a:lnTo>
                  <a:lnTo>
                    <a:pt x="407" y="35"/>
                  </a:lnTo>
                  <a:lnTo>
                    <a:pt x="407" y="35"/>
                  </a:lnTo>
                  <a:lnTo>
                    <a:pt x="407" y="34"/>
                  </a:lnTo>
                  <a:lnTo>
                    <a:pt x="406" y="34"/>
                  </a:lnTo>
                  <a:lnTo>
                    <a:pt x="405" y="34"/>
                  </a:lnTo>
                  <a:lnTo>
                    <a:pt x="404" y="34"/>
                  </a:lnTo>
                  <a:lnTo>
                    <a:pt x="401" y="34"/>
                  </a:lnTo>
                  <a:lnTo>
                    <a:pt x="400" y="34"/>
                  </a:lnTo>
                  <a:lnTo>
                    <a:pt x="399" y="34"/>
                  </a:lnTo>
                  <a:lnTo>
                    <a:pt x="398" y="34"/>
                  </a:lnTo>
                  <a:lnTo>
                    <a:pt x="397" y="33"/>
                  </a:lnTo>
                  <a:lnTo>
                    <a:pt x="396" y="33"/>
                  </a:lnTo>
                  <a:lnTo>
                    <a:pt x="395" y="32"/>
                  </a:lnTo>
                  <a:lnTo>
                    <a:pt x="394" y="32"/>
                  </a:lnTo>
                  <a:lnTo>
                    <a:pt x="394" y="31"/>
                  </a:lnTo>
                  <a:lnTo>
                    <a:pt x="393" y="31"/>
                  </a:lnTo>
                  <a:lnTo>
                    <a:pt x="393" y="30"/>
                  </a:lnTo>
                  <a:lnTo>
                    <a:pt x="393" y="30"/>
                  </a:lnTo>
                  <a:lnTo>
                    <a:pt x="392" y="29"/>
                  </a:lnTo>
                  <a:lnTo>
                    <a:pt x="392" y="28"/>
                  </a:lnTo>
                  <a:lnTo>
                    <a:pt x="392" y="28"/>
                  </a:lnTo>
                  <a:lnTo>
                    <a:pt x="392" y="27"/>
                  </a:lnTo>
                  <a:lnTo>
                    <a:pt x="392" y="24"/>
                  </a:lnTo>
                  <a:lnTo>
                    <a:pt x="392" y="24"/>
                  </a:lnTo>
                  <a:lnTo>
                    <a:pt x="392" y="23"/>
                  </a:lnTo>
                  <a:lnTo>
                    <a:pt x="393" y="22"/>
                  </a:lnTo>
                  <a:lnTo>
                    <a:pt x="393" y="21"/>
                  </a:lnTo>
                  <a:lnTo>
                    <a:pt x="394" y="19"/>
                  </a:lnTo>
                  <a:lnTo>
                    <a:pt x="395" y="18"/>
                  </a:lnTo>
                  <a:lnTo>
                    <a:pt x="395" y="17"/>
                  </a:lnTo>
                  <a:lnTo>
                    <a:pt x="396" y="16"/>
                  </a:lnTo>
                  <a:lnTo>
                    <a:pt x="396" y="14"/>
                  </a:lnTo>
                  <a:lnTo>
                    <a:pt x="396" y="13"/>
                  </a:lnTo>
                  <a:lnTo>
                    <a:pt x="397" y="12"/>
                  </a:lnTo>
                  <a:lnTo>
                    <a:pt x="397" y="9"/>
                  </a:lnTo>
                  <a:lnTo>
                    <a:pt x="398" y="8"/>
                  </a:lnTo>
                  <a:lnTo>
                    <a:pt x="398" y="8"/>
                  </a:lnTo>
                  <a:lnTo>
                    <a:pt x="398" y="7"/>
                  </a:lnTo>
                  <a:lnTo>
                    <a:pt x="398" y="6"/>
                  </a:lnTo>
                  <a:lnTo>
                    <a:pt x="399" y="5"/>
                  </a:lnTo>
                  <a:lnTo>
                    <a:pt x="402" y="1"/>
                  </a:lnTo>
                  <a:lnTo>
                    <a:pt x="403" y="0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04" y="0"/>
                  </a:lnTo>
                  <a:close/>
                </a:path>
              </a:pathLst>
            </a:custGeom>
            <a:solidFill>
              <a:srgbClr val="8282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 54">
              <a:extLst>
                <a:ext uri="{FF2B5EF4-FFF2-40B4-BE49-F238E27FC236}">
                  <a16:creationId xmlns:a16="http://schemas.microsoft.com/office/drawing/2014/main" id="{919F6BC6-43AA-6AA3-EEB4-16AE0A3E0E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2866"/>
              <a:ext cx="504" cy="447"/>
            </a:xfrm>
            <a:custGeom>
              <a:avLst/>
              <a:gdLst>
                <a:gd name="T0" fmla="*/ 428 w 504"/>
                <a:gd name="T1" fmla="*/ 12 h 447"/>
                <a:gd name="T2" fmla="*/ 449 w 504"/>
                <a:gd name="T3" fmla="*/ 11 h 447"/>
                <a:gd name="T4" fmla="*/ 461 w 504"/>
                <a:gd name="T5" fmla="*/ 8 h 447"/>
                <a:gd name="T6" fmla="*/ 471 w 504"/>
                <a:gd name="T7" fmla="*/ 21 h 447"/>
                <a:gd name="T8" fmla="*/ 488 w 504"/>
                <a:gd name="T9" fmla="*/ 35 h 447"/>
                <a:gd name="T10" fmla="*/ 481 w 504"/>
                <a:gd name="T11" fmla="*/ 60 h 447"/>
                <a:gd name="T12" fmla="*/ 498 w 504"/>
                <a:gd name="T13" fmla="*/ 60 h 447"/>
                <a:gd name="T14" fmla="*/ 502 w 504"/>
                <a:gd name="T15" fmla="*/ 73 h 447"/>
                <a:gd name="T16" fmla="*/ 484 w 504"/>
                <a:gd name="T17" fmla="*/ 101 h 447"/>
                <a:gd name="T18" fmla="*/ 474 w 504"/>
                <a:gd name="T19" fmla="*/ 118 h 447"/>
                <a:gd name="T20" fmla="*/ 454 w 504"/>
                <a:gd name="T21" fmla="*/ 112 h 447"/>
                <a:gd name="T22" fmla="*/ 446 w 504"/>
                <a:gd name="T23" fmla="*/ 122 h 447"/>
                <a:gd name="T24" fmla="*/ 437 w 504"/>
                <a:gd name="T25" fmla="*/ 141 h 447"/>
                <a:gd name="T26" fmla="*/ 425 w 504"/>
                <a:gd name="T27" fmla="*/ 156 h 447"/>
                <a:gd name="T28" fmla="*/ 416 w 504"/>
                <a:gd name="T29" fmla="*/ 177 h 447"/>
                <a:gd name="T30" fmla="*/ 420 w 504"/>
                <a:gd name="T31" fmla="*/ 198 h 447"/>
                <a:gd name="T32" fmla="*/ 437 w 504"/>
                <a:gd name="T33" fmla="*/ 231 h 447"/>
                <a:gd name="T34" fmla="*/ 455 w 504"/>
                <a:gd name="T35" fmla="*/ 254 h 447"/>
                <a:gd name="T36" fmla="*/ 449 w 504"/>
                <a:gd name="T37" fmla="*/ 260 h 447"/>
                <a:gd name="T38" fmla="*/ 449 w 504"/>
                <a:gd name="T39" fmla="*/ 278 h 447"/>
                <a:gd name="T40" fmla="*/ 434 w 504"/>
                <a:gd name="T41" fmla="*/ 291 h 447"/>
                <a:gd name="T42" fmla="*/ 420 w 504"/>
                <a:gd name="T43" fmla="*/ 290 h 447"/>
                <a:gd name="T44" fmla="*/ 422 w 504"/>
                <a:gd name="T45" fmla="*/ 308 h 447"/>
                <a:gd name="T46" fmla="*/ 415 w 504"/>
                <a:gd name="T47" fmla="*/ 325 h 447"/>
                <a:gd name="T48" fmla="*/ 387 w 504"/>
                <a:gd name="T49" fmla="*/ 331 h 447"/>
                <a:gd name="T50" fmla="*/ 365 w 504"/>
                <a:gd name="T51" fmla="*/ 330 h 447"/>
                <a:gd name="T52" fmla="*/ 323 w 504"/>
                <a:gd name="T53" fmla="*/ 328 h 447"/>
                <a:gd name="T54" fmla="*/ 307 w 504"/>
                <a:gd name="T55" fmla="*/ 335 h 447"/>
                <a:gd name="T56" fmla="*/ 301 w 504"/>
                <a:gd name="T57" fmla="*/ 346 h 447"/>
                <a:gd name="T58" fmla="*/ 288 w 504"/>
                <a:gd name="T59" fmla="*/ 358 h 447"/>
                <a:gd name="T60" fmla="*/ 268 w 504"/>
                <a:gd name="T61" fmla="*/ 371 h 447"/>
                <a:gd name="T62" fmla="*/ 256 w 504"/>
                <a:gd name="T63" fmla="*/ 366 h 447"/>
                <a:gd name="T64" fmla="*/ 239 w 504"/>
                <a:gd name="T65" fmla="*/ 377 h 447"/>
                <a:gd name="T66" fmla="*/ 214 w 504"/>
                <a:gd name="T67" fmla="*/ 380 h 447"/>
                <a:gd name="T68" fmla="*/ 197 w 504"/>
                <a:gd name="T69" fmla="*/ 390 h 447"/>
                <a:gd name="T70" fmla="*/ 175 w 504"/>
                <a:gd name="T71" fmla="*/ 397 h 447"/>
                <a:gd name="T72" fmla="*/ 158 w 504"/>
                <a:gd name="T73" fmla="*/ 412 h 447"/>
                <a:gd name="T74" fmla="*/ 153 w 504"/>
                <a:gd name="T75" fmla="*/ 426 h 447"/>
                <a:gd name="T76" fmla="*/ 141 w 504"/>
                <a:gd name="T77" fmla="*/ 435 h 447"/>
                <a:gd name="T78" fmla="*/ 128 w 504"/>
                <a:gd name="T79" fmla="*/ 446 h 447"/>
                <a:gd name="T80" fmla="*/ 117 w 504"/>
                <a:gd name="T81" fmla="*/ 437 h 447"/>
                <a:gd name="T82" fmla="*/ 109 w 504"/>
                <a:gd name="T83" fmla="*/ 440 h 447"/>
                <a:gd name="T84" fmla="*/ 102 w 504"/>
                <a:gd name="T85" fmla="*/ 437 h 447"/>
                <a:gd name="T86" fmla="*/ 91 w 504"/>
                <a:gd name="T87" fmla="*/ 425 h 447"/>
                <a:gd name="T88" fmla="*/ 84 w 504"/>
                <a:gd name="T89" fmla="*/ 418 h 447"/>
                <a:gd name="T90" fmla="*/ 95 w 504"/>
                <a:gd name="T91" fmla="*/ 416 h 447"/>
                <a:gd name="T92" fmla="*/ 94 w 504"/>
                <a:gd name="T93" fmla="*/ 400 h 447"/>
                <a:gd name="T94" fmla="*/ 85 w 504"/>
                <a:gd name="T95" fmla="*/ 376 h 447"/>
                <a:gd name="T96" fmla="*/ 80 w 504"/>
                <a:gd name="T97" fmla="*/ 356 h 447"/>
                <a:gd name="T98" fmla="*/ 83 w 504"/>
                <a:gd name="T99" fmla="*/ 333 h 447"/>
                <a:gd name="T100" fmla="*/ 76 w 504"/>
                <a:gd name="T101" fmla="*/ 318 h 447"/>
                <a:gd name="T102" fmla="*/ 50 w 504"/>
                <a:gd name="T103" fmla="*/ 318 h 447"/>
                <a:gd name="T104" fmla="*/ 44 w 504"/>
                <a:gd name="T105" fmla="*/ 310 h 447"/>
                <a:gd name="T106" fmla="*/ 28 w 504"/>
                <a:gd name="T107" fmla="*/ 302 h 447"/>
                <a:gd name="T108" fmla="*/ 0 w 504"/>
                <a:gd name="T109" fmla="*/ 293 h 447"/>
                <a:gd name="T110" fmla="*/ 21 w 504"/>
                <a:gd name="T111" fmla="*/ 273 h 447"/>
                <a:gd name="T112" fmla="*/ 28 w 504"/>
                <a:gd name="T113" fmla="*/ 248 h 447"/>
                <a:gd name="T114" fmla="*/ 52 w 504"/>
                <a:gd name="T115" fmla="*/ 245 h 447"/>
                <a:gd name="T116" fmla="*/ 72 w 504"/>
                <a:gd name="T117" fmla="*/ 248 h 447"/>
                <a:gd name="T118" fmla="*/ 84 w 504"/>
                <a:gd name="T119" fmla="*/ 223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4" h="447">
                  <a:moveTo>
                    <a:pt x="404" y="0"/>
                  </a:moveTo>
                  <a:lnTo>
                    <a:pt x="405" y="0"/>
                  </a:lnTo>
                  <a:lnTo>
                    <a:pt x="405" y="0"/>
                  </a:lnTo>
                  <a:lnTo>
                    <a:pt x="406" y="1"/>
                  </a:lnTo>
                  <a:lnTo>
                    <a:pt x="410" y="3"/>
                  </a:lnTo>
                  <a:lnTo>
                    <a:pt x="411" y="4"/>
                  </a:lnTo>
                  <a:lnTo>
                    <a:pt x="413" y="5"/>
                  </a:lnTo>
                  <a:lnTo>
                    <a:pt x="414" y="5"/>
                  </a:lnTo>
                  <a:lnTo>
                    <a:pt x="415" y="5"/>
                  </a:lnTo>
                  <a:lnTo>
                    <a:pt x="419" y="6"/>
                  </a:lnTo>
                  <a:lnTo>
                    <a:pt x="420" y="6"/>
                  </a:lnTo>
                  <a:lnTo>
                    <a:pt x="421" y="7"/>
                  </a:lnTo>
                  <a:lnTo>
                    <a:pt x="422" y="7"/>
                  </a:lnTo>
                  <a:lnTo>
                    <a:pt x="423" y="8"/>
                  </a:lnTo>
                  <a:lnTo>
                    <a:pt x="425" y="9"/>
                  </a:lnTo>
                  <a:lnTo>
                    <a:pt x="426" y="10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0" y="13"/>
                  </a:lnTo>
                  <a:lnTo>
                    <a:pt x="431" y="14"/>
                  </a:lnTo>
                  <a:lnTo>
                    <a:pt x="432" y="14"/>
                  </a:lnTo>
                  <a:lnTo>
                    <a:pt x="433" y="15"/>
                  </a:lnTo>
                  <a:lnTo>
                    <a:pt x="434" y="15"/>
                  </a:lnTo>
                  <a:lnTo>
                    <a:pt x="435" y="15"/>
                  </a:lnTo>
                  <a:lnTo>
                    <a:pt x="436" y="15"/>
                  </a:lnTo>
                  <a:lnTo>
                    <a:pt x="437" y="15"/>
                  </a:lnTo>
                  <a:lnTo>
                    <a:pt x="438" y="14"/>
                  </a:lnTo>
                  <a:lnTo>
                    <a:pt x="439" y="14"/>
                  </a:lnTo>
                  <a:lnTo>
                    <a:pt x="440" y="14"/>
                  </a:lnTo>
                  <a:lnTo>
                    <a:pt x="444" y="12"/>
                  </a:lnTo>
                  <a:lnTo>
                    <a:pt x="445" y="12"/>
                  </a:lnTo>
                  <a:lnTo>
                    <a:pt x="447" y="11"/>
                  </a:lnTo>
                  <a:lnTo>
                    <a:pt x="448" y="11"/>
                  </a:lnTo>
                  <a:lnTo>
                    <a:pt x="449" y="11"/>
                  </a:lnTo>
                  <a:lnTo>
                    <a:pt x="450" y="11"/>
                  </a:lnTo>
                  <a:lnTo>
                    <a:pt x="451" y="11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5" y="12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8" y="10"/>
                  </a:lnTo>
                  <a:lnTo>
                    <a:pt x="459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2" y="9"/>
                  </a:lnTo>
                  <a:lnTo>
                    <a:pt x="462" y="9"/>
                  </a:lnTo>
                  <a:lnTo>
                    <a:pt x="462" y="11"/>
                  </a:lnTo>
                  <a:lnTo>
                    <a:pt x="462" y="12"/>
                  </a:lnTo>
                  <a:lnTo>
                    <a:pt x="462" y="12"/>
                  </a:lnTo>
                  <a:lnTo>
                    <a:pt x="463" y="13"/>
                  </a:lnTo>
                  <a:lnTo>
                    <a:pt x="463" y="14"/>
                  </a:lnTo>
                  <a:lnTo>
                    <a:pt x="464" y="14"/>
                  </a:lnTo>
                  <a:lnTo>
                    <a:pt x="464" y="15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9" y="18"/>
                  </a:lnTo>
                  <a:lnTo>
                    <a:pt x="470" y="19"/>
                  </a:lnTo>
                  <a:lnTo>
                    <a:pt x="471" y="21"/>
                  </a:lnTo>
                  <a:lnTo>
                    <a:pt x="472" y="21"/>
                  </a:lnTo>
                  <a:lnTo>
                    <a:pt x="473" y="22"/>
                  </a:lnTo>
                  <a:lnTo>
                    <a:pt x="474" y="22"/>
                  </a:lnTo>
                  <a:lnTo>
                    <a:pt x="475" y="22"/>
                  </a:lnTo>
                  <a:lnTo>
                    <a:pt x="478" y="23"/>
                  </a:lnTo>
                  <a:lnTo>
                    <a:pt x="478" y="23"/>
                  </a:lnTo>
                  <a:lnTo>
                    <a:pt x="479" y="24"/>
                  </a:lnTo>
                  <a:lnTo>
                    <a:pt x="480" y="24"/>
                  </a:lnTo>
                  <a:lnTo>
                    <a:pt x="481" y="25"/>
                  </a:lnTo>
                  <a:lnTo>
                    <a:pt x="482" y="26"/>
                  </a:lnTo>
                  <a:lnTo>
                    <a:pt x="483" y="26"/>
                  </a:lnTo>
                  <a:lnTo>
                    <a:pt x="484" y="28"/>
                  </a:lnTo>
                  <a:lnTo>
                    <a:pt x="486" y="30"/>
                  </a:lnTo>
                  <a:lnTo>
                    <a:pt x="487" y="31"/>
                  </a:lnTo>
                  <a:lnTo>
                    <a:pt x="487" y="32"/>
                  </a:lnTo>
                  <a:lnTo>
                    <a:pt x="488" y="34"/>
                  </a:lnTo>
                  <a:lnTo>
                    <a:pt x="488" y="35"/>
                  </a:lnTo>
                  <a:lnTo>
                    <a:pt x="488" y="36"/>
                  </a:lnTo>
                  <a:lnTo>
                    <a:pt x="488" y="38"/>
                  </a:lnTo>
                  <a:lnTo>
                    <a:pt x="488" y="39"/>
                  </a:lnTo>
                  <a:lnTo>
                    <a:pt x="488" y="41"/>
                  </a:lnTo>
                  <a:lnTo>
                    <a:pt x="487" y="43"/>
                  </a:lnTo>
                  <a:lnTo>
                    <a:pt x="487" y="45"/>
                  </a:lnTo>
                  <a:lnTo>
                    <a:pt x="486" y="47"/>
                  </a:lnTo>
                  <a:lnTo>
                    <a:pt x="485" y="50"/>
                  </a:lnTo>
                  <a:lnTo>
                    <a:pt x="484" y="51"/>
                  </a:lnTo>
                  <a:lnTo>
                    <a:pt x="482" y="55"/>
                  </a:lnTo>
                  <a:lnTo>
                    <a:pt x="482" y="56"/>
                  </a:lnTo>
                  <a:lnTo>
                    <a:pt x="481" y="57"/>
                  </a:lnTo>
                  <a:lnTo>
                    <a:pt x="481" y="57"/>
                  </a:lnTo>
                  <a:lnTo>
                    <a:pt x="481" y="59"/>
                  </a:lnTo>
                  <a:lnTo>
                    <a:pt x="481" y="59"/>
                  </a:lnTo>
                  <a:lnTo>
                    <a:pt x="481" y="60"/>
                  </a:lnTo>
                  <a:lnTo>
                    <a:pt x="481" y="60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4" y="63"/>
                  </a:lnTo>
                  <a:lnTo>
                    <a:pt x="485" y="64"/>
                  </a:lnTo>
                  <a:lnTo>
                    <a:pt x="485" y="64"/>
                  </a:lnTo>
                  <a:lnTo>
                    <a:pt x="486" y="64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2"/>
                  </a:lnTo>
                  <a:lnTo>
                    <a:pt x="495" y="61"/>
                  </a:lnTo>
                  <a:lnTo>
                    <a:pt x="497" y="61"/>
                  </a:lnTo>
                  <a:lnTo>
                    <a:pt x="498" y="60"/>
                  </a:lnTo>
                  <a:lnTo>
                    <a:pt x="499" y="60"/>
                  </a:lnTo>
                  <a:lnTo>
                    <a:pt x="500" y="60"/>
                  </a:lnTo>
                  <a:lnTo>
                    <a:pt x="501" y="60"/>
                  </a:lnTo>
                  <a:lnTo>
                    <a:pt x="501" y="60"/>
                  </a:lnTo>
                  <a:lnTo>
                    <a:pt x="502" y="60"/>
                  </a:lnTo>
                  <a:lnTo>
                    <a:pt x="502" y="61"/>
                  </a:lnTo>
                  <a:lnTo>
                    <a:pt x="503" y="61"/>
                  </a:lnTo>
                  <a:lnTo>
                    <a:pt x="503" y="62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4"/>
                  </a:lnTo>
                  <a:lnTo>
                    <a:pt x="504" y="65"/>
                  </a:lnTo>
                  <a:lnTo>
                    <a:pt x="504" y="66"/>
                  </a:lnTo>
                  <a:lnTo>
                    <a:pt x="504" y="68"/>
                  </a:lnTo>
                  <a:lnTo>
                    <a:pt x="504" y="69"/>
                  </a:lnTo>
                  <a:lnTo>
                    <a:pt x="503" y="70"/>
                  </a:lnTo>
                  <a:lnTo>
                    <a:pt x="502" y="73"/>
                  </a:lnTo>
                  <a:lnTo>
                    <a:pt x="501" y="75"/>
                  </a:lnTo>
                  <a:lnTo>
                    <a:pt x="497" y="84"/>
                  </a:lnTo>
                  <a:lnTo>
                    <a:pt x="495" y="90"/>
                  </a:lnTo>
                  <a:lnTo>
                    <a:pt x="495" y="91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4" y="93"/>
                  </a:lnTo>
                  <a:lnTo>
                    <a:pt x="494" y="93"/>
                  </a:lnTo>
                  <a:lnTo>
                    <a:pt x="493" y="95"/>
                  </a:lnTo>
                  <a:lnTo>
                    <a:pt x="491" y="96"/>
                  </a:lnTo>
                  <a:lnTo>
                    <a:pt x="490" y="97"/>
                  </a:lnTo>
                  <a:lnTo>
                    <a:pt x="489" y="98"/>
                  </a:lnTo>
                  <a:lnTo>
                    <a:pt x="487" y="99"/>
                  </a:lnTo>
                  <a:lnTo>
                    <a:pt x="485" y="100"/>
                  </a:lnTo>
                  <a:lnTo>
                    <a:pt x="484" y="101"/>
                  </a:lnTo>
                  <a:lnTo>
                    <a:pt x="482" y="102"/>
                  </a:lnTo>
                  <a:lnTo>
                    <a:pt x="482" y="102"/>
                  </a:lnTo>
                  <a:lnTo>
                    <a:pt x="482" y="103"/>
                  </a:lnTo>
                  <a:lnTo>
                    <a:pt x="481" y="104"/>
                  </a:lnTo>
                  <a:lnTo>
                    <a:pt x="481" y="104"/>
                  </a:lnTo>
                  <a:lnTo>
                    <a:pt x="480" y="105"/>
                  </a:lnTo>
                  <a:lnTo>
                    <a:pt x="480" y="107"/>
                  </a:lnTo>
                  <a:lnTo>
                    <a:pt x="479" y="108"/>
                  </a:lnTo>
                  <a:lnTo>
                    <a:pt x="478" y="114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6" y="116"/>
                  </a:lnTo>
                  <a:lnTo>
                    <a:pt x="476" y="117"/>
                  </a:lnTo>
                  <a:lnTo>
                    <a:pt x="476" y="117"/>
                  </a:lnTo>
                  <a:lnTo>
                    <a:pt x="475" y="118"/>
                  </a:lnTo>
                  <a:lnTo>
                    <a:pt x="475" y="118"/>
                  </a:lnTo>
                  <a:lnTo>
                    <a:pt x="474" y="118"/>
                  </a:lnTo>
                  <a:lnTo>
                    <a:pt x="474" y="119"/>
                  </a:lnTo>
                  <a:lnTo>
                    <a:pt x="473" y="119"/>
                  </a:lnTo>
                  <a:lnTo>
                    <a:pt x="472" y="119"/>
                  </a:lnTo>
                  <a:lnTo>
                    <a:pt x="471" y="119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69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6" y="118"/>
                  </a:lnTo>
                  <a:lnTo>
                    <a:pt x="464" y="118"/>
                  </a:lnTo>
                  <a:lnTo>
                    <a:pt x="463" y="117"/>
                  </a:lnTo>
                  <a:lnTo>
                    <a:pt x="460" y="115"/>
                  </a:lnTo>
                  <a:lnTo>
                    <a:pt x="458" y="114"/>
                  </a:lnTo>
                  <a:lnTo>
                    <a:pt x="457" y="114"/>
                  </a:lnTo>
                  <a:lnTo>
                    <a:pt x="455" y="113"/>
                  </a:lnTo>
                  <a:lnTo>
                    <a:pt x="454" y="112"/>
                  </a:lnTo>
                  <a:lnTo>
                    <a:pt x="453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1" y="112"/>
                  </a:lnTo>
                  <a:lnTo>
                    <a:pt x="450" y="112"/>
                  </a:lnTo>
                  <a:lnTo>
                    <a:pt x="448" y="113"/>
                  </a:lnTo>
                  <a:lnTo>
                    <a:pt x="447" y="113"/>
                  </a:lnTo>
                  <a:lnTo>
                    <a:pt x="447" y="113"/>
                  </a:lnTo>
                  <a:lnTo>
                    <a:pt x="446" y="113"/>
                  </a:lnTo>
                  <a:lnTo>
                    <a:pt x="446" y="113"/>
                  </a:lnTo>
                  <a:lnTo>
                    <a:pt x="446" y="114"/>
                  </a:lnTo>
                  <a:lnTo>
                    <a:pt x="446" y="114"/>
                  </a:lnTo>
                  <a:lnTo>
                    <a:pt x="446" y="115"/>
                  </a:lnTo>
                  <a:lnTo>
                    <a:pt x="446" y="116"/>
                  </a:lnTo>
                  <a:lnTo>
                    <a:pt x="446" y="119"/>
                  </a:lnTo>
                  <a:lnTo>
                    <a:pt x="446" y="121"/>
                  </a:lnTo>
                  <a:lnTo>
                    <a:pt x="446" y="122"/>
                  </a:lnTo>
                  <a:lnTo>
                    <a:pt x="446" y="123"/>
                  </a:lnTo>
                  <a:lnTo>
                    <a:pt x="446" y="126"/>
                  </a:lnTo>
                  <a:lnTo>
                    <a:pt x="445" y="127"/>
                  </a:lnTo>
                  <a:lnTo>
                    <a:pt x="445" y="128"/>
                  </a:lnTo>
                  <a:lnTo>
                    <a:pt x="445" y="128"/>
                  </a:lnTo>
                  <a:lnTo>
                    <a:pt x="444" y="129"/>
                  </a:lnTo>
                  <a:lnTo>
                    <a:pt x="444" y="130"/>
                  </a:lnTo>
                  <a:lnTo>
                    <a:pt x="442" y="132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0" y="134"/>
                  </a:lnTo>
                  <a:lnTo>
                    <a:pt x="440" y="135"/>
                  </a:lnTo>
                  <a:lnTo>
                    <a:pt x="439" y="136"/>
                  </a:lnTo>
                  <a:lnTo>
                    <a:pt x="439" y="137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7" y="141"/>
                  </a:lnTo>
                  <a:lnTo>
                    <a:pt x="437" y="142"/>
                  </a:lnTo>
                  <a:lnTo>
                    <a:pt x="437" y="143"/>
                  </a:lnTo>
                  <a:lnTo>
                    <a:pt x="437" y="144"/>
                  </a:lnTo>
                  <a:lnTo>
                    <a:pt x="437" y="146"/>
                  </a:lnTo>
                  <a:lnTo>
                    <a:pt x="437" y="146"/>
                  </a:lnTo>
                  <a:lnTo>
                    <a:pt x="437" y="147"/>
                  </a:lnTo>
                  <a:lnTo>
                    <a:pt x="436" y="147"/>
                  </a:lnTo>
                  <a:lnTo>
                    <a:pt x="436" y="147"/>
                  </a:lnTo>
                  <a:lnTo>
                    <a:pt x="436" y="148"/>
                  </a:lnTo>
                  <a:lnTo>
                    <a:pt x="435" y="148"/>
                  </a:lnTo>
                  <a:lnTo>
                    <a:pt x="434" y="149"/>
                  </a:lnTo>
                  <a:lnTo>
                    <a:pt x="433" y="149"/>
                  </a:lnTo>
                  <a:lnTo>
                    <a:pt x="433" y="149"/>
                  </a:lnTo>
                  <a:lnTo>
                    <a:pt x="430" y="152"/>
                  </a:lnTo>
                  <a:lnTo>
                    <a:pt x="427" y="154"/>
                  </a:lnTo>
                  <a:lnTo>
                    <a:pt x="426" y="155"/>
                  </a:lnTo>
                  <a:lnTo>
                    <a:pt x="425" y="156"/>
                  </a:lnTo>
                  <a:lnTo>
                    <a:pt x="425" y="156"/>
                  </a:lnTo>
                  <a:lnTo>
                    <a:pt x="424" y="157"/>
                  </a:lnTo>
                  <a:lnTo>
                    <a:pt x="424" y="158"/>
                  </a:lnTo>
                  <a:lnTo>
                    <a:pt x="423" y="159"/>
                  </a:lnTo>
                  <a:lnTo>
                    <a:pt x="423" y="160"/>
                  </a:lnTo>
                  <a:lnTo>
                    <a:pt x="422" y="162"/>
                  </a:lnTo>
                  <a:lnTo>
                    <a:pt x="422" y="163"/>
                  </a:lnTo>
                  <a:lnTo>
                    <a:pt x="422" y="164"/>
                  </a:lnTo>
                  <a:lnTo>
                    <a:pt x="421" y="167"/>
                  </a:lnTo>
                  <a:lnTo>
                    <a:pt x="421" y="168"/>
                  </a:lnTo>
                  <a:lnTo>
                    <a:pt x="421" y="169"/>
                  </a:lnTo>
                  <a:lnTo>
                    <a:pt x="420" y="170"/>
                  </a:lnTo>
                  <a:lnTo>
                    <a:pt x="420" y="171"/>
                  </a:lnTo>
                  <a:lnTo>
                    <a:pt x="418" y="174"/>
                  </a:lnTo>
                  <a:lnTo>
                    <a:pt x="417" y="176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8"/>
                  </a:lnTo>
                  <a:lnTo>
                    <a:pt x="415" y="178"/>
                  </a:lnTo>
                  <a:lnTo>
                    <a:pt x="415" y="179"/>
                  </a:lnTo>
                  <a:lnTo>
                    <a:pt x="415" y="180"/>
                  </a:lnTo>
                  <a:lnTo>
                    <a:pt x="415" y="181"/>
                  </a:lnTo>
                  <a:lnTo>
                    <a:pt x="415" y="182"/>
                  </a:lnTo>
                  <a:lnTo>
                    <a:pt x="416" y="182"/>
                  </a:lnTo>
                  <a:lnTo>
                    <a:pt x="416" y="183"/>
                  </a:lnTo>
                  <a:lnTo>
                    <a:pt x="417" y="185"/>
                  </a:lnTo>
                  <a:lnTo>
                    <a:pt x="417" y="186"/>
                  </a:lnTo>
                  <a:lnTo>
                    <a:pt x="418" y="187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19" y="193"/>
                  </a:lnTo>
                  <a:lnTo>
                    <a:pt x="419" y="196"/>
                  </a:lnTo>
                  <a:lnTo>
                    <a:pt x="420" y="196"/>
                  </a:lnTo>
                  <a:lnTo>
                    <a:pt x="420" y="198"/>
                  </a:lnTo>
                  <a:lnTo>
                    <a:pt x="421" y="199"/>
                  </a:lnTo>
                  <a:lnTo>
                    <a:pt x="422" y="201"/>
                  </a:lnTo>
                  <a:lnTo>
                    <a:pt x="423" y="205"/>
                  </a:lnTo>
                  <a:lnTo>
                    <a:pt x="425" y="209"/>
                  </a:lnTo>
                  <a:lnTo>
                    <a:pt x="426" y="210"/>
                  </a:lnTo>
                  <a:lnTo>
                    <a:pt x="427" y="211"/>
                  </a:lnTo>
                  <a:lnTo>
                    <a:pt x="428" y="213"/>
                  </a:lnTo>
                  <a:lnTo>
                    <a:pt x="428" y="214"/>
                  </a:lnTo>
                  <a:lnTo>
                    <a:pt x="430" y="216"/>
                  </a:lnTo>
                  <a:lnTo>
                    <a:pt x="430" y="217"/>
                  </a:lnTo>
                  <a:lnTo>
                    <a:pt x="431" y="218"/>
                  </a:lnTo>
                  <a:lnTo>
                    <a:pt x="432" y="220"/>
                  </a:lnTo>
                  <a:lnTo>
                    <a:pt x="433" y="222"/>
                  </a:lnTo>
                  <a:lnTo>
                    <a:pt x="433" y="223"/>
                  </a:lnTo>
                  <a:lnTo>
                    <a:pt x="436" y="230"/>
                  </a:lnTo>
                  <a:lnTo>
                    <a:pt x="436" y="230"/>
                  </a:lnTo>
                  <a:lnTo>
                    <a:pt x="437" y="231"/>
                  </a:lnTo>
                  <a:lnTo>
                    <a:pt x="439" y="236"/>
                  </a:lnTo>
                  <a:lnTo>
                    <a:pt x="441" y="240"/>
                  </a:lnTo>
                  <a:lnTo>
                    <a:pt x="442" y="240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44" y="243"/>
                  </a:lnTo>
                  <a:lnTo>
                    <a:pt x="445" y="243"/>
                  </a:lnTo>
                  <a:lnTo>
                    <a:pt x="447" y="245"/>
                  </a:lnTo>
                  <a:lnTo>
                    <a:pt x="448" y="246"/>
                  </a:lnTo>
                  <a:lnTo>
                    <a:pt x="450" y="247"/>
                  </a:lnTo>
                  <a:lnTo>
                    <a:pt x="451" y="248"/>
                  </a:lnTo>
                  <a:lnTo>
                    <a:pt x="451" y="249"/>
                  </a:lnTo>
                  <a:lnTo>
                    <a:pt x="452" y="249"/>
                  </a:lnTo>
                  <a:lnTo>
                    <a:pt x="453" y="250"/>
                  </a:lnTo>
                  <a:lnTo>
                    <a:pt x="453" y="251"/>
                  </a:lnTo>
                  <a:lnTo>
                    <a:pt x="454" y="252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5"/>
                  </a:lnTo>
                  <a:lnTo>
                    <a:pt x="455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3" y="254"/>
                  </a:lnTo>
                  <a:lnTo>
                    <a:pt x="453" y="255"/>
                  </a:lnTo>
                  <a:lnTo>
                    <a:pt x="452" y="255"/>
                  </a:lnTo>
                  <a:lnTo>
                    <a:pt x="452" y="256"/>
                  </a:lnTo>
                  <a:lnTo>
                    <a:pt x="451" y="256"/>
                  </a:lnTo>
                  <a:lnTo>
                    <a:pt x="450" y="257"/>
                  </a:lnTo>
                  <a:lnTo>
                    <a:pt x="450" y="258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60"/>
                  </a:lnTo>
                  <a:lnTo>
                    <a:pt x="449" y="260"/>
                  </a:lnTo>
                  <a:lnTo>
                    <a:pt x="449" y="261"/>
                  </a:lnTo>
                  <a:lnTo>
                    <a:pt x="449" y="262"/>
                  </a:lnTo>
                  <a:lnTo>
                    <a:pt x="449" y="262"/>
                  </a:lnTo>
                  <a:lnTo>
                    <a:pt x="449" y="264"/>
                  </a:lnTo>
                  <a:lnTo>
                    <a:pt x="450" y="267"/>
                  </a:lnTo>
                  <a:lnTo>
                    <a:pt x="450" y="269"/>
                  </a:lnTo>
                  <a:lnTo>
                    <a:pt x="450" y="270"/>
                  </a:lnTo>
                  <a:lnTo>
                    <a:pt x="450" y="273"/>
                  </a:lnTo>
                  <a:lnTo>
                    <a:pt x="450" y="274"/>
                  </a:lnTo>
                  <a:lnTo>
                    <a:pt x="450" y="275"/>
                  </a:lnTo>
                  <a:lnTo>
                    <a:pt x="450" y="275"/>
                  </a:lnTo>
                  <a:lnTo>
                    <a:pt x="450" y="276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7" y="279"/>
                  </a:lnTo>
                  <a:lnTo>
                    <a:pt x="445" y="280"/>
                  </a:lnTo>
                  <a:lnTo>
                    <a:pt x="442" y="281"/>
                  </a:lnTo>
                  <a:lnTo>
                    <a:pt x="439" y="281"/>
                  </a:lnTo>
                  <a:lnTo>
                    <a:pt x="438" y="282"/>
                  </a:lnTo>
                  <a:lnTo>
                    <a:pt x="438" y="282"/>
                  </a:lnTo>
                  <a:lnTo>
                    <a:pt x="437" y="282"/>
                  </a:lnTo>
                  <a:lnTo>
                    <a:pt x="437" y="283"/>
                  </a:lnTo>
                  <a:lnTo>
                    <a:pt x="436" y="286"/>
                  </a:lnTo>
                  <a:lnTo>
                    <a:pt x="434" y="288"/>
                  </a:lnTo>
                  <a:lnTo>
                    <a:pt x="434" y="289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2" y="291"/>
                  </a:lnTo>
                  <a:lnTo>
                    <a:pt x="431" y="291"/>
                  </a:lnTo>
                  <a:lnTo>
                    <a:pt x="430" y="291"/>
                  </a:lnTo>
                  <a:lnTo>
                    <a:pt x="429" y="291"/>
                  </a:lnTo>
                  <a:lnTo>
                    <a:pt x="428" y="291"/>
                  </a:lnTo>
                  <a:lnTo>
                    <a:pt x="424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2" y="289"/>
                  </a:lnTo>
                  <a:lnTo>
                    <a:pt x="422" y="289"/>
                  </a:lnTo>
                  <a:lnTo>
                    <a:pt x="421" y="289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1"/>
                  </a:lnTo>
                  <a:lnTo>
                    <a:pt x="420" y="292"/>
                  </a:lnTo>
                  <a:lnTo>
                    <a:pt x="420" y="294"/>
                  </a:lnTo>
                  <a:lnTo>
                    <a:pt x="420" y="296"/>
                  </a:lnTo>
                  <a:lnTo>
                    <a:pt x="420" y="297"/>
                  </a:lnTo>
                  <a:lnTo>
                    <a:pt x="420" y="298"/>
                  </a:lnTo>
                  <a:lnTo>
                    <a:pt x="420" y="299"/>
                  </a:lnTo>
                  <a:lnTo>
                    <a:pt x="420" y="300"/>
                  </a:lnTo>
                  <a:lnTo>
                    <a:pt x="420" y="301"/>
                  </a:lnTo>
                  <a:lnTo>
                    <a:pt x="421" y="302"/>
                  </a:lnTo>
                  <a:lnTo>
                    <a:pt x="421" y="305"/>
                  </a:lnTo>
                  <a:lnTo>
                    <a:pt x="422" y="306"/>
                  </a:lnTo>
                  <a:lnTo>
                    <a:pt x="422" y="307"/>
                  </a:lnTo>
                  <a:lnTo>
                    <a:pt x="422" y="308"/>
                  </a:lnTo>
                  <a:lnTo>
                    <a:pt x="422" y="309"/>
                  </a:lnTo>
                  <a:lnTo>
                    <a:pt x="422" y="311"/>
                  </a:lnTo>
                  <a:lnTo>
                    <a:pt x="422" y="312"/>
                  </a:lnTo>
                  <a:lnTo>
                    <a:pt x="421" y="313"/>
                  </a:lnTo>
                  <a:lnTo>
                    <a:pt x="421" y="315"/>
                  </a:lnTo>
                  <a:lnTo>
                    <a:pt x="420" y="319"/>
                  </a:lnTo>
                  <a:lnTo>
                    <a:pt x="420" y="320"/>
                  </a:lnTo>
                  <a:lnTo>
                    <a:pt x="420" y="321"/>
                  </a:lnTo>
                  <a:lnTo>
                    <a:pt x="419" y="322"/>
                  </a:lnTo>
                  <a:lnTo>
                    <a:pt x="419" y="323"/>
                  </a:lnTo>
                  <a:lnTo>
                    <a:pt x="418" y="323"/>
                  </a:lnTo>
                  <a:lnTo>
                    <a:pt x="418" y="324"/>
                  </a:lnTo>
                  <a:lnTo>
                    <a:pt x="418" y="324"/>
                  </a:lnTo>
                  <a:lnTo>
                    <a:pt x="417" y="324"/>
                  </a:lnTo>
                  <a:lnTo>
                    <a:pt x="417" y="325"/>
                  </a:lnTo>
                  <a:lnTo>
                    <a:pt x="416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3" y="325"/>
                  </a:lnTo>
                  <a:lnTo>
                    <a:pt x="411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4"/>
                  </a:lnTo>
                  <a:lnTo>
                    <a:pt x="401" y="325"/>
                  </a:lnTo>
                  <a:lnTo>
                    <a:pt x="395" y="326"/>
                  </a:lnTo>
                  <a:lnTo>
                    <a:pt x="394" y="326"/>
                  </a:lnTo>
                  <a:lnTo>
                    <a:pt x="393" y="326"/>
                  </a:lnTo>
                  <a:lnTo>
                    <a:pt x="392" y="327"/>
                  </a:lnTo>
                  <a:lnTo>
                    <a:pt x="391" y="327"/>
                  </a:lnTo>
                  <a:lnTo>
                    <a:pt x="391" y="327"/>
                  </a:lnTo>
                  <a:lnTo>
                    <a:pt x="390" y="328"/>
                  </a:lnTo>
                  <a:lnTo>
                    <a:pt x="388" y="330"/>
                  </a:lnTo>
                  <a:lnTo>
                    <a:pt x="387" y="331"/>
                  </a:lnTo>
                  <a:lnTo>
                    <a:pt x="386" y="332"/>
                  </a:lnTo>
                  <a:lnTo>
                    <a:pt x="385" y="332"/>
                  </a:lnTo>
                  <a:lnTo>
                    <a:pt x="384" y="333"/>
                  </a:lnTo>
                  <a:lnTo>
                    <a:pt x="384" y="333"/>
                  </a:lnTo>
                  <a:lnTo>
                    <a:pt x="383" y="333"/>
                  </a:lnTo>
                  <a:lnTo>
                    <a:pt x="383" y="333"/>
                  </a:lnTo>
                  <a:lnTo>
                    <a:pt x="382" y="333"/>
                  </a:lnTo>
                  <a:lnTo>
                    <a:pt x="381" y="333"/>
                  </a:lnTo>
                  <a:lnTo>
                    <a:pt x="379" y="333"/>
                  </a:lnTo>
                  <a:lnTo>
                    <a:pt x="376" y="332"/>
                  </a:lnTo>
                  <a:lnTo>
                    <a:pt x="372" y="331"/>
                  </a:lnTo>
                  <a:lnTo>
                    <a:pt x="370" y="331"/>
                  </a:lnTo>
                  <a:lnTo>
                    <a:pt x="368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6" y="330"/>
                  </a:lnTo>
                  <a:lnTo>
                    <a:pt x="365" y="330"/>
                  </a:lnTo>
                  <a:lnTo>
                    <a:pt x="365" y="331"/>
                  </a:lnTo>
                  <a:lnTo>
                    <a:pt x="363" y="332"/>
                  </a:lnTo>
                  <a:lnTo>
                    <a:pt x="361" y="332"/>
                  </a:lnTo>
                  <a:lnTo>
                    <a:pt x="359" y="332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3" y="333"/>
                  </a:lnTo>
                  <a:lnTo>
                    <a:pt x="350" y="333"/>
                  </a:lnTo>
                  <a:lnTo>
                    <a:pt x="348" y="333"/>
                  </a:lnTo>
                  <a:lnTo>
                    <a:pt x="346" y="333"/>
                  </a:lnTo>
                  <a:lnTo>
                    <a:pt x="340" y="332"/>
                  </a:lnTo>
                  <a:lnTo>
                    <a:pt x="338" y="332"/>
                  </a:lnTo>
                  <a:lnTo>
                    <a:pt x="336" y="332"/>
                  </a:lnTo>
                  <a:lnTo>
                    <a:pt x="333" y="331"/>
                  </a:lnTo>
                  <a:lnTo>
                    <a:pt x="329" y="330"/>
                  </a:lnTo>
                  <a:lnTo>
                    <a:pt x="325" y="329"/>
                  </a:lnTo>
                  <a:lnTo>
                    <a:pt x="323" y="328"/>
                  </a:lnTo>
                  <a:lnTo>
                    <a:pt x="322" y="328"/>
                  </a:lnTo>
                  <a:lnTo>
                    <a:pt x="317" y="328"/>
                  </a:lnTo>
                  <a:lnTo>
                    <a:pt x="316" y="328"/>
                  </a:lnTo>
                  <a:lnTo>
                    <a:pt x="315" y="328"/>
                  </a:lnTo>
                  <a:lnTo>
                    <a:pt x="314" y="328"/>
                  </a:lnTo>
                  <a:lnTo>
                    <a:pt x="313" y="328"/>
                  </a:lnTo>
                  <a:lnTo>
                    <a:pt x="313" y="328"/>
                  </a:lnTo>
                  <a:lnTo>
                    <a:pt x="312" y="329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09" y="331"/>
                  </a:lnTo>
                  <a:lnTo>
                    <a:pt x="309" y="331"/>
                  </a:lnTo>
                  <a:lnTo>
                    <a:pt x="308" y="332"/>
                  </a:lnTo>
                  <a:lnTo>
                    <a:pt x="307" y="333"/>
                  </a:lnTo>
                  <a:lnTo>
                    <a:pt x="307" y="333"/>
                  </a:lnTo>
                  <a:lnTo>
                    <a:pt x="307" y="334"/>
                  </a:lnTo>
                  <a:lnTo>
                    <a:pt x="307" y="335"/>
                  </a:lnTo>
                  <a:lnTo>
                    <a:pt x="307" y="335"/>
                  </a:lnTo>
                  <a:lnTo>
                    <a:pt x="307" y="336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4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4" y="346"/>
                  </a:lnTo>
                  <a:lnTo>
                    <a:pt x="304" y="346"/>
                  </a:lnTo>
                  <a:lnTo>
                    <a:pt x="302" y="346"/>
                  </a:lnTo>
                  <a:lnTo>
                    <a:pt x="301" y="346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298" y="347"/>
                  </a:lnTo>
                  <a:lnTo>
                    <a:pt x="298" y="347"/>
                  </a:lnTo>
                  <a:lnTo>
                    <a:pt x="297" y="347"/>
                  </a:lnTo>
                  <a:lnTo>
                    <a:pt x="297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2"/>
                  </a:lnTo>
                  <a:lnTo>
                    <a:pt x="295" y="353"/>
                  </a:lnTo>
                  <a:lnTo>
                    <a:pt x="294" y="353"/>
                  </a:lnTo>
                  <a:lnTo>
                    <a:pt x="292" y="355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89" y="357"/>
                  </a:lnTo>
                  <a:lnTo>
                    <a:pt x="288" y="358"/>
                  </a:lnTo>
                  <a:lnTo>
                    <a:pt x="287" y="359"/>
                  </a:lnTo>
                  <a:lnTo>
                    <a:pt x="286" y="359"/>
                  </a:lnTo>
                  <a:lnTo>
                    <a:pt x="285" y="359"/>
                  </a:lnTo>
                  <a:lnTo>
                    <a:pt x="282" y="360"/>
                  </a:lnTo>
                  <a:lnTo>
                    <a:pt x="281" y="361"/>
                  </a:lnTo>
                  <a:lnTo>
                    <a:pt x="280" y="361"/>
                  </a:lnTo>
                  <a:lnTo>
                    <a:pt x="278" y="361"/>
                  </a:lnTo>
                  <a:lnTo>
                    <a:pt x="278" y="362"/>
                  </a:lnTo>
                  <a:lnTo>
                    <a:pt x="277" y="362"/>
                  </a:lnTo>
                  <a:lnTo>
                    <a:pt x="276" y="363"/>
                  </a:lnTo>
                  <a:lnTo>
                    <a:pt x="275" y="364"/>
                  </a:lnTo>
                  <a:lnTo>
                    <a:pt x="274" y="364"/>
                  </a:lnTo>
                  <a:lnTo>
                    <a:pt x="273" y="365"/>
                  </a:lnTo>
                  <a:lnTo>
                    <a:pt x="272" y="367"/>
                  </a:lnTo>
                  <a:lnTo>
                    <a:pt x="270" y="369"/>
                  </a:lnTo>
                  <a:lnTo>
                    <a:pt x="269" y="370"/>
                  </a:lnTo>
                  <a:lnTo>
                    <a:pt x="268" y="371"/>
                  </a:lnTo>
                  <a:lnTo>
                    <a:pt x="268" y="371"/>
                  </a:lnTo>
                  <a:lnTo>
                    <a:pt x="267" y="371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5" y="372"/>
                  </a:lnTo>
                  <a:lnTo>
                    <a:pt x="265" y="372"/>
                  </a:lnTo>
                  <a:lnTo>
                    <a:pt x="264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3" y="371"/>
                  </a:lnTo>
                  <a:lnTo>
                    <a:pt x="262" y="371"/>
                  </a:lnTo>
                  <a:lnTo>
                    <a:pt x="261" y="370"/>
                  </a:lnTo>
                  <a:lnTo>
                    <a:pt x="259" y="368"/>
                  </a:lnTo>
                  <a:lnTo>
                    <a:pt x="259" y="368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4" y="366"/>
                  </a:lnTo>
                  <a:lnTo>
                    <a:pt x="253" y="366"/>
                  </a:lnTo>
                  <a:lnTo>
                    <a:pt x="253" y="367"/>
                  </a:lnTo>
                  <a:lnTo>
                    <a:pt x="252" y="367"/>
                  </a:lnTo>
                  <a:lnTo>
                    <a:pt x="251" y="368"/>
                  </a:lnTo>
                  <a:lnTo>
                    <a:pt x="250" y="369"/>
                  </a:lnTo>
                  <a:lnTo>
                    <a:pt x="249" y="370"/>
                  </a:lnTo>
                  <a:lnTo>
                    <a:pt x="246" y="373"/>
                  </a:lnTo>
                  <a:lnTo>
                    <a:pt x="244" y="374"/>
                  </a:lnTo>
                  <a:lnTo>
                    <a:pt x="244" y="375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8" y="378"/>
                  </a:lnTo>
                  <a:lnTo>
                    <a:pt x="236" y="380"/>
                  </a:lnTo>
                  <a:lnTo>
                    <a:pt x="235" y="380"/>
                  </a:lnTo>
                  <a:lnTo>
                    <a:pt x="234" y="381"/>
                  </a:lnTo>
                  <a:lnTo>
                    <a:pt x="233" y="381"/>
                  </a:lnTo>
                  <a:lnTo>
                    <a:pt x="232" y="381"/>
                  </a:lnTo>
                  <a:lnTo>
                    <a:pt x="231" y="381"/>
                  </a:lnTo>
                  <a:lnTo>
                    <a:pt x="230" y="381"/>
                  </a:lnTo>
                  <a:lnTo>
                    <a:pt x="228" y="381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2"/>
                  </a:lnTo>
                  <a:lnTo>
                    <a:pt x="220" y="382"/>
                  </a:lnTo>
                  <a:lnTo>
                    <a:pt x="218" y="381"/>
                  </a:lnTo>
                  <a:lnTo>
                    <a:pt x="217" y="381"/>
                  </a:lnTo>
                  <a:lnTo>
                    <a:pt x="215" y="381"/>
                  </a:lnTo>
                  <a:lnTo>
                    <a:pt x="214" y="380"/>
                  </a:lnTo>
                  <a:lnTo>
                    <a:pt x="214" y="380"/>
                  </a:lnTo>
                  <a:lnTo>
                    <a:pt x="213" y="380"/>
                  </a:lnTo>
                  <a:lnTo>
                    <a:pt x="212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09" y="379"/>
                  </a:lnTo>
                  <a:lnTo>
                    <a:pt x="208" y="380"/>
                  </a:lnTo>
                  <a:lnTo>
                    <a:pt x="207" y="381"/>
                  </a:lnTo>
                  <a:lnTo>
                    <a:pt x="203" y="385"/>
                  </a:lnTo>
                  <a:lnTo>
                    <a:pt x="200" y="387"/>
                  </a:lnTo>
                  <a:lnTo>
                    <a:pt x="198" y="389"/>
                  </a:lnTo>
                  <a:lnTo>
                    <a:pt x="198" y="389"/>
                  </a:lnTo>
                  <a:lnTo>
                    <a:pt x="197" y="390"/>
                  </a:lnTo>
                  <a:lnTo>
                    <a:pt x="196" y="391"/>
                  </a:lnTo>
                  <a:lnTo>
                    <a:pt x="195" y="393"/>
                  </a:lnTo>
                  <a:lnTo>
                    <a:pt x="194" y="393"/>
                  </a:lnTo>
                  <a:lnTo>
                    <a:pt x="193" y="394"/>
                  </a:lnTo>
                  <a:lnTo>
                    <a:pt x="192" y="395"/>
                  </a:lnTo>
                  <a:lnTo>
                    <a:pt x="191" y="395"/>
                  </a:lnTo>
                  <a:lnTo>
                    <a:pt x="190" y="396"/>
                  </a:lnTo>
                  <a:lnTo>
                    <a:pt x="188" y="396"/>
                  </a:lnTo>
                  <a:lnTo>
                    <a:pt x="186" y="397"/>
                  </a:lnTo>
                  <a:lnTo>
                    <a:pt x="185" y="397"/>
                  </a:lnTo>
                  <a:lnTo>
                    <a:pt x="183" y="397"/>
                  </a:lnTo>
                  <a:lnTo>
                    <a:pt x="182" y="397"/>
                  </a:lnTo>
                  <a:lnTo>
                    <a:pt x="181" y="397"/>
                  </a:lnTo>
                  <a:lnTo>
                    <a:pt x="179" y="397"/>
                  </a:lnTo>
                  <a:lnTo>
                    <a:pt x="178" y="397"/>
                  </a:lnTo>
                  <a:lnTo>
                    <a:pt x="176" y="397"/>
                  </a:lnTo>
                  <a:lnTo>
                    <a:pt x="175" y="397"/>
                  </a:lnTo>
                  <a:lnTo>
                    <a:pt x="174" y="398"/>
                  </a:lnTo>
                  <a:lnTo>
                    <a:pt x="173" y="398"/>
                  </a:lnTo>
                  <a:lnTo>
                    <a:pt x="172" y="399"/>
                  </a:lnTo>
                  <a:lnTo>
                    <a:pt x="171" y="400"/>
                  </a:lnTo>
                  <a:lnTo>
                    <a:pt x="169" y="401"/>
                  </a:lnTo>
                  <a:lnTo>
                    <a:pt x="167" y="402"/>
                  </a:lnTo>
                  <a:lnTo>
                    <a:pt x="167" y="403"/>
                  </a:lnTo>
                  <a:lnTo>
                    <a:pt x="165" y="404"/>
                  </a:lnTo>
                  <a:lnTo>
                    <a:pt x="164" y="405"/>
                  </a:lnTo>
                  <a:lnTo>
                    <a:pt x="162" y="406"/>
                  </a:lnTo>
                  <a:lnTo>
                    <a:pt x="160" y="408"/>
                  </a:lnTo>
                  <a:lnTo>
                    <a:pt x="160" y="409"/>
                  </a:lnTo>
                  <a:lnTo>
                    <a:pt x="159" y="409"/>
                  </a:lnTo>
                  <a:lnTo>
                    <a:pt x="159" y="410"/>
                  </a:lnTo>
                  <a:lnTo>
                    <a:pt x="159" y="410"/>
                  </a:lnTo>
                  <a:lnTo>
                    <a:pt x="158" y="411"/>
                  </a:lnTo>
                  <a:lnTo>
                    <a:pt x="158" y="412"/>
                  </a:lnTo>
                  <a:lnTo>
                    <a:pt x="158" y="415"/>
                  </a:lnTo>
                  <a:lnTo>
                    <a:pt x="158" y="415"/>
                  </a:lnTo>
                  <a:lnTo>
                    <a:pt x="157" y="416"/>
                  </a:lnTo>
                  <a:lnTo>
                    <a:pt x="157" y="418"/>
                  </a:lnTo>
                  <a:lnTo>
                    <a:pt x="157" y="418"/>
                  </a:lnTo>
                  <a:lnTo>
                    <a:pt x="157" y="419"/>
                  </a:lnTo>
                  <a:lnTo>
                    <a:pt x="157" y="420"/>
                  </a:lnTo>
                  <a:lnTo>
                    <a:pt x="157" y="421"/>
                  </a:lnTo>
                  <a:lnTo>
                    <a:pt x="157" y="422"/>
                  </a:lnTo>
                  <a:lnTo>
                    <a:pt x="156" y="423"/>
                  </a:lnTo>
                  <a:lnTo>
                    <a:pt x="156" y="423"/>
                  </a:lnTo>
                  <a:lnTo>
                    <a:pt x="156" y="424"/>
                  </a:lnTo>
                  <a:lnTo>
                    <a:pt x="156" y="424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3" y="425"/>
                  </a:lnTo>
                  <a:lnTo>
                    <a:pt x="153" y="426"/>
                  </a:lnTo>
                  <a:lnTo>
                    <a:pt x="152" y="426"/>
                  </a:lnTo>
                  <a:lnTo>
                    <a:pt x="152" y="426"/>
                  </a:lnTo>
                  <a:lnTo>
                    <a:pt x="152" y="427"/>
                  </a:lnTo>
                  <a:lnTo>
                    <a:pt x="151" y="429"/>
                  </a:lnTo>
                  <a:lnTo>
                    <a:pt x="150" y="430"/>
                  </a:lnTo>
                  <a:lnTo>
                    <a:pt x="150" y="431"/>
                  </a:lnTo>
                  <a:lnTo>
                    <a:pt x="149" y="433"/>
                  </a:lnTo>
                  <a:lnTo>
                    <a:pt x="148" y="433"/>
                  </a:lnTo>
                  <a:lnTo>
                    <a:pt x="148" y="434"/>
                  </a:lnTo>
                  <a:lnTo>
                    <a:pt x="147" y="434"/>
                  </a:lnTo>
                  <a:lnTo>
                    <a:pt x="147" y="434"/>
                  </a:lnTo>
                  <a:lnTo>
                    <a:pt x="146" y="434"/>
                  </a:lnTo>
                  <a:lnTo>
                    <a:pt x="145" y="434"/>
                  </a:lnTo>
                  <a:lnTo>
                    <a:pt x="144" y="434"/>
                  </a:lnTo>
                  <a:lnTo>
                    <a:pt x="143" y="434"/>
                  </a:lnTo>
                  <a:lnTo>
                    <a:pt x="142" y="435"/>
                  </a:lnTo>
                  <a:lnTo>
                    <a:pt x="141" y="435"/>
                  </a:lnTo>
                  <a:lnTo>
                    <a:pt x="140" y="435"/>
                  </a:lnTo>
                  <a:lnTo>
                    <a:pt x="139" y="436"/>
                  </a:lnTo>
                  <a:lnTo>
                    <a:pt x="138" y="436"/>
                  </a:lnTo>
                  <a:lnTo>
                    <a:pt x="137" y="437"/>
                  </a:lnTo>
                  <a:lnTo>
                    <a:pt x="136" y="438"/>
                  </a:lnTo>
                  <a:lnTo>
                    <a:pt x="135" y="439"/>
                  </a:lnTo>
                  <a:lnTo>
                    <a:pt x="134" y="440"/>
                  </a:lnTo>
                  <a:lnTo>
                    <a:pt x="133" y="440"/>
                  </a:lnTo>
                  <a:lnTo>
                    <a:pt x="133" y="441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2" y="443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0" y="445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5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3" y="447"/>
                  </a:lnTo>
                  <a:lnTo>
                    <a:pt x="123" y="447"/>
                  </a:lnTo>
                  <a:lnTo>
                    <a:pt x="123" y="446"/>
                  </a:lnTo>
                  <a:lnTo>
                    <a:pt x="122" y="446"/>
                  </a:lnTo>
                  <a:lnTo>
                    <a:pt x="122" y="446"/>
                  </a:lnTo>
                  <a:lnTo>
                    <a:pt x="122" y="445"/>
                  </a:lnTo>
                  <a:lnTo>
                    <a:pt x="121" y="443"/>
                  </a:lnTo>
                  <a:lnTo>
                    <a:pt x="121" y="442"/>
                  </a:lnTo>
                  <a:lnTo>
                    <a:pt x="120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7" y="436"/>
                  </a:lnTo>
                  <a:lnTo>
                    <a:pt x="116" y="437"/>
                  </a:lnTo>
                  <a:lnTo>
                    <a:pt x="115" y="437"/>
                  </a:lnTo>
                  <a:lnTo>
                    <a:pt x="115" y="437"/>
                  </a:lnTo>
                  <a:lnTo>
                    <a:pt x="114" y="438"/>
                  </a:lnTo>
                  <a:lnTo>
                    <a:pt x="114" y="438"/>
                  </a:lnTo>
                  <a:lnTo>
                    <a:pt x="112" y="440"/>
                  </a:lnTo>
                  <a:lnTo>
                    <a:pt x="112" y="440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0" y="441"/>
                  </a:lnTo>
                  <a:lnTo>
                    <a:pt x="110" y="441"/>
                  </a:lnTo>
                  <a:lnTo>
                    <a:pt x="109" y="441"/>
                  </a:lnTo>
                  <a:lnTo>
                    <a:pt x="109" y="440"/>
                  </a:lnTo>
                  <a:lnTo>
                    <a:pt x="109" y="440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8" y="437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5"/>
                  </a:lnTo>
                  <a:lnTo>
                    <a:pt x="108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5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0" y="435"/>
                  </a:lnTo>
                  <a:lnTo>
                    <a:pt x="100" y="434"/>
                  </a:lnTo>
                  <a:lnTo>
                    <a:pt x="99" y="433"/>
                  </a:lnTo>
                  <a:lnTo>
                    <a:pt x="99" y="432"/>
                  </a:lnTo>
                  <a:lnTo>
                    <a:pt x="98" y="431"/>
                  </a:lnTo>
                  <a:lnTo>
                    <a:pt x="96" y="429"/>
                  </a:lnTo>
                  <a:lnTo>
                    <a:pt x="95" y="428"/>
                  </a:lnTo>
                  <a:lnTo>
                    <a:pt x="95" y="427"/>
                  </a:lnTo>
                  <a:lnTo>
                    <a:pt x="94" y="426"/>
                  </a:lnTo>
                  <a:lnTo>
                    <a:pt x="93" y="426"/>
                  </a:lnTo>
                  <a:lnTo>
                    <a:pt x="92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0" y="424"/>
                  </a:lnTo>
                  <a:lnTo>
                    <a:pt x="86" y="424"/>
                  </a:lnTo>
                  <a:lnTo>
                    <a:pt x="85" y="424"/>
                  </a:lnTo>
                  <a:lnTo>
                    <a:pt x="85" y="423"/>
                  </a:lnTo>
                  <a:lnTo>
                    <a:pt x="84" y="423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4" y="419"/>
                  </a:lnTo>
                  <a:lnTo>
                    <a:pt x="84" y="418"/>
                  </a:lnTo>
                  <a:lnTo>
                    <a:pt x="84" y="418"/>
                  </a:lnTo>
                  <a:lnTo>
                    <a:pt x="85" y="418"/>
                  </a:lnTo>
                  <a:lnTo>
                    <a:pt x="86" y="417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8" y="417"/>
                  </a:lnTo>
                  <a:lnTo>
                    <a:pt x="89" y="417"/>
                  </a:lnTo>
                  <a:lnTo>
                    <a:pt x="90" y="417"/>
                  </a:lnTo>
                  <a:lnTo>
                    <a:pt x="93" y="418"/>
                  </a:lnTo>
                  <a:lnTo>
                    <a:pt x="93" y="418"/>
                  </a:lnTo>
                  <a:lnTo>
                    <a:pt x="94" y="418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5" y="417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4" y="415"/>
                  </a:lnTo>
                  <a:lnTo>
                    <a:pt x="94" y="413"/>
                  </a:lnTo>
                  <a:lnTo>
                    <a:pt x="94" y="412"/>
                  </a:lnTo>
                  <a:lnTo>
                    <a:pt x="94" y="411"/>
                  </a:lnTo>
                  <a:lnTo>
                    <a:pt x="94" y="411"/>
                  </a:lnTo>
                  <a:lnTo>
                    <a:pt x="94" y="410"/>
                  </a:lnTo>
                  <a:lnTo>
                    <a:pt x="95" y="409"/>
                  </a:lnTo>
                  <a:lnTo>
                    <a:pt x="95" y="409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6" y="407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6" y="405"/>
                  </a:lnTo>
                  <a:lnTo>
                    <a:pt x="95" y="404"/>
                  </a:lnTo>
                  <a:lnTo>
                    <a:pt x="95" y="401"/>
                  </a:lnTo>
                  <a:lnTo>
                    <a:pt x="94" y="400"/>
                  </a:lnTo>
                  <a:lnTo>
                    <a:pt x="94" y="398"/>
                  </a:lnTo>
                  <a:lnTo>
                    <a:pt x="92" y="394"/>
                  </a:lnTo>
                  <a:lnTo>
                    <a:pt x="91" y="392"/>
                  </a:lnTo>
                  <a:lnTo>
                    <a:pt x="90" y="390"/>
                  </a:lnTo>
                  <a:lnTo>
                    <a:pt x="89" y="389"/>
                  </a:lnTo>
                  <a:lnTo>
                    <a:pt x="87" y="386"/>
                  </a:lnTo>
                  <a:lnTo>
                    <a:pt x="87" y="386"/>
                  </a:lnTo>
                  <a:lnTo>
                    <a:pt x="87" y="385"/>
                  </a:lnTo>
                  <a:lnTo>
                    <a:pt x="87" y="385"/>
                  </a:lnTo>
                  <a:lnTo>
                    <a:pt x="87" y="384"/>
                  </a:lnTo>
                  <a:lnTo>
                    <a:pt x="87" y="381"/>
                  </a:lnTo>
                  <a:lnTo>
                    <a:pt x="87" y="380"/>
                  </a:lnTo>
                  <a:lnTo>
                    <a:pt x="86" y="378"/>
                  </a:lnTo>
                  <a:lnTo>
                    <a:pt x="86" y="378"/>
                  </a:lnTo>
                  <a:lnTo>
                    <a:pt x="86" y="377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3" y="374"/>
                  </a:lnTo>
                  <a:lnTo>
                    <a:pt x="83" y="373"/>
                  </a:lnTo>
                  <a:lnTo>
                    <a:pt x="82" y="373"/>
                  </a:lnTo>
                  <a:lnTo>
                    <a:pt x="82" y="372"/>
                  </a:lnTo>
                  <a:lnTo>
                    <a:pt x="82" y="372"/>
                  </a:lnTo>
                  <a:lnTo>
                    <a:pt x="82" y="371"/>
                  </a:lnTo>
                  <a:lnTo>
                    <a:pt x="81" y="370"/>
                  </a:lnTo>
                  <a:lnTo>
                    <a:pt x="82" y="370"/>
                  </a:lnTo>
                  <a:lnTo>
                    <a:pt x="82" y="369"/>
                  </a:lnTo>
                  <a:lnTo>
                    <a:pt x="82" y="367"/>
                  </a:lnTo>
                  <a:lnTo>
                    <a:pt x="82" y="366"/>
                  </a:lnTo>
                  <a:lnTo>
                    <a:pt x="82" y="365"/>
                  </a:lnTo>
                  <a:lnTo>
                    <a:pt x="82" y="363"/>
                  </a:lnTo>
                  <a:lnTo>
                    <a:pt x="82" y="361"/>
                  </a:lnTo>
                  <a:lnTo>
                    <a:pt x="81" y="359"/>
                  </a:lnTo>
                  <a:lnTo>
                    <a:pt x="81" y="358"/>
                  </a:lnTo>
                  <a:lnTo>
                    <a:pt x="80" y="356"/>
                  </a:lnTo>
                  <a:lnTo>
                    <a:pt x="80" y="355"/>
                  </a:lnTo>
                  <a:lnTo>
                    <a:pt x="80" y="354"/>
                  </a:lnTo>
                  <a:lnTo>
                    <a:pt x="80" y="353"/>
                  </a:lnTo>
                  <a:lnTo>
                    <a:pt x="80" y="352"/>
                  </a:lnTo>
                  <a:lnTo>
                    <a:pt x="80" y="351"/>
                  </a:lnTo>
                  <a:lnTo>
                    <a:pt x="81" y="347"/>
                  </a:lnTo>
                  <a:lnTo>
                    <a:pt x="81" y="345"/>
                  </a:lnTo>
                  <a:lnTo>
                    <a:pt x="82" y="344"/>
                  </a:lnTo>
                  <a:lnTo>
                    <a:pt x="82" y="343"/>
                  </a:lnTo>
                  <a:lnTo>
                    <a:pt x="82" y="343"/>
                  </a:lnTo>
                  <a:lnTo>
                    <a:pt x="82" y="340"/>
                  </a:lnTo>
                  <a:lnTo>
                    <a:pt x="82" y="339"/>
                  </a:lnTo>
                  <a:lnTo>
                    <a:pt x="82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3" y="334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0"/>
                  </a:lnTo>
                  <a:lnTo>
                    <a:pt x="83" y="329"/>
                  </a:lnTo>
                  <a:lnTo>
                    <a:pt x="83" y="328"/>
                  </a:lnTo>
                  <a:lnTo>
                    <a:pt x="83" y="327"/>
                  </a:lnTo>
                  <a:lnTo>
                    <a:pt x="83" y="326"/>
                  </a:lnTo>
                  <a:lnTo>
                    <a:pt x="82" y="325"/>
                  </a:lnTo>
                  <a:lnTo>
                    <a:pt x="81" y="323"/>
                  </a:lnTo>
                  <a:lnTo>
                    <a:pt x="81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9" y="319"/>
                  </a:lnTo>
                  <a:lnTo>
                    <a:pt x="78" y="319"/>
                  </a:lnTo>
                  <a:lnTo>
                    <a:pt x="77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4" y="318"/>
                  </a:lnTo>
                  <a:lnTo>
                    <a:pt x="70" y="318"/>
                  </a:lnTo>
                  <a:lnTo>
                    <a:pt x="69" y="318"/>
                  </a:lnTo>
                  <a:lnTo>
                    <a:pt x="68" y="318"/>
                  </a:lnTo>
                  <a:lnTo>
                    <a:pt x="65" y="318"/>
                  </a:lnTo>
                  <a:lnTo>
                    <a:pt x="64" y="318"/>
                  </a:lnTo>
                  <a:lnTo>
                    <a:pt x="62" y="318"/>
                  </a:lnTo>
                  <a:lnTo>
                    <a:pt x="58" y="318"/>
                  </a:lnTo>
                  <a:lnTo>
                    <a:pt x="57" y="317"/>
                  </a:lnTo>
                  <a:lnTo>
                    <a:pt x="55" y="317"/>
                  </a:lnTo>
                  <a:lnTo>
                    <a:pt x="55" y="317"/>
                  </a:lnTo>
                  <a:lnTo>
                    <a:pt x="54" y="318"/>
                  </a:lnTo>
                  <a:lnTo>
                    <a:pt x="52" y="318"/>
                  </a:lnTo>
                  <a:lnTo>
                    <a:pt x="51" y="318"/>
                  </a:lnTo>
                  <a:lnTo>
                    <a:pt x="50" y="318"/>
                  </a:lnTo>
                  <a:lnTo>
                    <a:pt x="49" y="318"/>
                  </a:lnTo>
                  <a:lnTo>
                    <a:pt x="49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6" y="318"/>
                  </a:lnTo>
                  <a:lnTo>
                    <a:pt x="46" y="317"/>
                  </a:lnTo>
                  <a:lnTo>
                    <a:pt x="46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5"/>
                  </a:lnTo>
                  <a:lnTo>
                    <a:pt x="45" y="314"/>
                  </a:lnTo>
                  <a:lnTo>
                    <a:pt x="45" y="313"/>
                  </a:lnTo>
                  <a:lnTo>
                    <a:pt x="45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4" y="309"/>
                  </a:lnTo>
                  <a:lnTo>
                    <a:pt x="44" y="308"/>
                  </a:lnTo>
                  <a:lnTo>
                    <a:pt x="43" y="308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1" y="305"/>
                  </a:lnTo>
                  <a:lnTo>
                    <a:pt x="38" y="304"/>
                  </a:lnTo>
                  <a:lnTo>
                    <a:pt x="36" y="303"/>
                  </a:lnTo>
                  <a:lnTo>
                    <a:pt x="36" y="303"/>
                  </a:lnTo>
                  <a:lnTo>
                    <a:pt x="35" y="303"/>
                  </a:lnTo>
                  <a:lnTo>
                    <a:pt x="34" y="302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5" y="301"/>
                  </a:lnTo>
                  <a:lnTo>
                    <a:pt x="22" y="300"/>
                  </a:lnTo>
                  <a:lnTo>
                    <a:pt x="20" y="300"/>
                  </a:lnTo>
                  <a:lnTo>
                    <a:pt x="19" y="299"/>
                  </a:lnTo>
                  <a:lnTo>
                    <a:pt x="16" y="299"/>
                  </a:lnTo>
                  <a:lnTo>
                    <a:pt x="14" y="299"/>
                  </a:lnTo>
                  <a:lnTo>
                    <a:pt x="12" y="299"/>
                  </a:lnTo>
                  <a:lnTo>
                    <a:pt x="9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6" y="297"/>
                  </a:lnTo>
                  <a:lnTo>
                    <a:pt x="4" y="296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1" y="291"/>
                  </a:lnTo>
                  <a:lnTo>
                    <a:pt x="1" y="291"/>
                  </a:lnTo>
                  <a:lnTo>
                    <a:pt x="2" y="290"/>
                  </a:lnTo>
                  <a:lnTo>
                    <a:pt x="6" y="288"/>
                  </a:lnTo>
                  <a:lnTo>
                    <a:pt x="8" y="287"/>
                  </a:lnTo>
                  <a:lnTo>
                    <a:pt x="10" y="286"/>
                  </a:lnTo>
                  <a:lnTo>
                    <a:pt x="11" y="285"/>
                  </a:lnTo>
                  <a:lnTo>
                    <a:pt x="12" y="284"/>
                  </a:lnTo>
                  <a:lnTo>
                    <a:pt x="13" y="283"/>
                  </a:lnTo>
                  <a:lnTo>
                    <a:pt x="18" y="278"/>
                  </a:lnTo>
                  <a:lnTo>
                    <a:pt x="19" y="276"/>
                  </a:lnTo>
                  <a:lnTo>
                    <a:pt x="20" y="275"/>
                  </a:lnTo>
                  <a:lnTo>
                    <a:pt x="21" y="274"/>
                  </a:lnTo>
                  <a:lnTo>
                    <a:pt x="21" y="273"/>
                  </a:lnTo>
                  <a:lnTo>
                    <a:pt x="21" y="272"/>
                  </a:lnTo>
                  <a:lnTo>
                    <a:pt x="22" y="271"/>
                  </a:lnTo>
                  <a:lnTo>
                    <a:pt x="22" y="269"/>
                  </a:lnTo>
                  <a:lnTo>
                    <a:pt x="22" y="264"/>
                  </a:lnTo>
                  <a:lnTo>
                    <a:pt x="22" y="261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4" y="254"/>
                  </a:lnTo>
                  <a:lnTo>
                    <a:pt x="24" y="253"/>
                  </a:lnTo>
                  <a:lnTo>
                    <a:pt x="25" y="252"/>
                  </a:lnTo>
                  <a:lnTo>
                    <a:pt x="25" y="251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8" y="248"/>
                  </a:lnTo>
                  <a:lnTo>
                    <a:pt x="28" y="248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8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7" y="247"/>
                  </a:lnTo>
                  <a:lnTo>
                    <a:pt x="51" y="246"/>
                  </a:lnTo>
                  <a:lnTo>
                    <a:pt x="52" y="245"/>
                  </a:lnTo>
                  <a:lnTo>
                    <a:pt x="53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5" y="245"/>
                  </a:lnTo>
                  <a:lnTo>
                    <a:pt x="56" y="245"/>
                  </a:lnTo>
                  <a:lnTo>
                    <a:pt x="57" y="246"/>
                  </a:lnTo>
                  <a:lnTo>
                    <a:pt x="59" y="246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4" y="246"/>
                  </a:lnTo>
                  <a:lnTo>
                    <a:pt x="75" y="245"/>
                  </a:lnTo>
                  <a:lnTo>
                    <a:pt x="77" y="241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81" y="235"/>
                  </a:lnTo>
                  <a:lnTo>
                    <a:pt x="81" y="233"/>
                  </a:lnTo>
                  <a:lnTo>
                    <a:pt x="82" y="232"/>
                  </a:lnTo>
                  <a:lnTo>
                    <a:pt x="83" y="230"/>
                  </a:lnTo>
                  <a:lnTo>
                    <a:pt x="83" y="228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4" y="222"/>
                  </a:lnTo>
                  <a:lnTo>
                    <a:pt x="85" y="221"/>
                  </a:lnTo>
                  <a:lnTo>
                    <a:pt x="87" y="216"/>
                  </a:lnTo>
                  <a:lnTo>
                    <a:pt x="87" y="215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Freeform 55">
              <a:extLst>
                <a:ext uri="{FF2B5EF4-FFF2-40B4-BE49-F238E27FC236}">
                  <a16:creationId xmlns:a16="http://schemas.microsoft.com/office/drawing/2014/main" id="{022E9A53-72B3-1826-BF41-CD5BB3C12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" y="2866"/>
              <a:ext cx="343" cy="215"/>
            </a:xfrm>
            <a:custGeom>
              <a:avLst/>
              <a:gdLst>
                <a:gd name="T0" fmla="*/ 4 w 343"/>
                <a:gd name="T1" fmla="*/ 211 h 215"/>
                <a:gd name="T2" fmla="*/ 8 w 343"/>
                <a:gd name="T3" fmla="*/ 210 h 215"/>
                <a:gd name="T4" fmla="*/ 16 w 343"/>
                <a:gd name="T5" fmla="*/ 213 h 215"/>
                <a:gd name="T6" fmla="*/ 21 w 343"/>
                <a:gd name="T7" fmla="*/ 214 h 215"/>
                <a:gd name="T8" fmla="*/ 24 w 343"/>
                <a:gd name="T9" fmla="*/ 211 h 215"/>
                <a:gd name="T10" fmla="*/ 29 w 343"/>
                <a:gd name="T11" fmla="*/ 202 h 215"/>
                <a:gd name="T12" fmla="*/ 38 w 343"/>
                <a:gd name="T13" fmla="*/ 195 h 215"/>
                <a:gd name="T14" fmla="*/ 42 w 343"/>
                <a:gd name="T15" fmla="*/ 186 h 215"/>
                <a:gd name="T16" fmla="*/ 45 w 343"/>
                <a:gd name="T17" fmla="*/ 186 h 215"/>
                <a:gd name="T18" fmla="*/ 50 w 343"/>
                <a:gd name="T19" fmla="*/ 191 h 215"/>
                <a:gd name="T20" fmla="*/ 58 w 343"/>
                <a:gd name="T21" fmla="*/ 201 h 215"/>
                <a:gd name="T22" fmla="*/ 66 w 343"/>
                <a:gd name="T23" fmla="*/ 203 h 215"/>
                <a:gd name="T24" fmla="*/ 70 w 343"/>
                <a:gd name="T25" fmla="*/ 201 h 215"/>
                <a:gd name="T26" fmla="*/ 83 w 343"/>
                <a:gd name="T27" fmla="*/ 188 h 215"/>
                <a:gd name="T28" fmla="*/ 85 w 343"/>
                <a:gd name="T29" fmla="*/ 181 h 215"/>
                <a:gd name="T30" fmla="*/ 89 w 343"/>
                <a:gd name="T31" fmla="*/ 174 h 215"/>
                <a:gd name="T32" fmla="*/ 90 w 343"/>
                <a:gd name="T33" fmla="*/ 166 h 215"/>
                <a:gd name="T34" fmla="*/ 90 w 343"/>
                <a:gd name="T35" fmla="*/ 159 h 215"/>
                <a:gd name="T36" fmla="*/ 95 w 343"/>
                <a:gd name="T37" fmla="*/ 156 h 215"/>
                <a:gd name="T38" fmla="*/ 109 w 343"/>
                <a:gd name="T39" fmla="*/ 155 h 215"/>
                <a:gd name="T40" fmla="*/ 118 w 343"/>
                <a:gd name="T41" fmla="*/ 151 h 215"/>
                <a:gd name="T42" fmla="*/ 126 w 343"/>
                <a:gd name="T43" fmla="*/ 148 h 215"/>
                <a:gd name="T44" fmla="*/ 135 w 343"/>
                <a:gd name="T45" fmla="*/ 151 h 215"/>
                <a:gd name="T46" fmla="*/ 139 w 343"/>
                <a:gd name="T47" fmla="*/ 152 h 215"/>
                <a:gd name="T48" fmla="*/ 147 w 343"/>
                <a:gd name="T49" fmla="*/ 148 h 215"/>
                <a:gd name="T50" fmla="*/ 163 w 343"/>
                <a:gd name="T51" fmla="*/ 147 h 215"/>
                <a:gd name="T52" fmla="*/ 174 w 343"/>
                <a:gd name="T53" fmla="*/ 149 h 215"/>
                <a:gd name="T54" fmla="*/ 183 w 343"/>
                <a:gd name="T55" fmla="*/ 148 h 215"/>
                <a:gd name="T56" fmla="*/ 192 w 343"/>
                <a:gd name="T57" fmla="*/ 143 h 215"/>
                <a:gd name="T58" fmla="*/ 195 w 343"/>
                <a:gd name="T59" fmla="*/ 138 h 215"/>
                <a:gd name="T60" fmla="*/ 195 w 343"/>
                <a:gd name="T61" fmla="*/ 128 h 215"/>
                <a:gd name="T62" fmla="*/ 198 w 343"/>
                <a:gd name="T63" fmla="*/ 123 h 215"/>
                <a:gd name="T64" fmla="*/ 205 w 343"/>
                <a:gd name="T65" fmla="*/ 120 h 215"/>
                <a:gd name="T66" fmla="*/ 215 w 343"/>
                <a:gd name="T67" fmla="*/ 113 h 215"/>
                <a:gd name="T68" fmla="*/ 224 w 343"/>
                <a:gd name="T69" fmla="*/ 110 h 215"/>
                <a:gd name="T70" fmla="*/ 235 w 343"/>
                <a:gd name="T71" fmla="*/ 113 h 215"/>
                <a:gd name="T72" fmla="*/ 247 w 343"/>
                <a:gd name="T73" fmla="*/ 111 h 215"/>
                <a:gd name="T74" fmla="*/ 265 w 343"/>
                <a:gd name="T75" fmla="*/ 101 h 215"/>
                <a:gd name="T76" fmla="*/ 286 w 343"/>
                <a:gd name="T77" fmla="*/ 92 h 215"/>
                <a:gd name="T78" fmla="*/ 294 w 343"/>
                <a:gd name="T79" fmla="*/ 85 h 215"/>
                <a:gd name="T80" fmla="*/ 300 w 343"/>
                <a:gd name="T81" fmla="*/ 78 h 215"/>
                <a:gd name="T82" fmla="*/ 308 w 343"/>
                <a:gd name="T83" fmla="*/ 76 h 215"/>
                <a:gd name="T84" fmla="*/ 318 w 343"/>
                <a:gd name="T85" fmla="*/ 77 h 215"/>
                <a:gd name="T86" fmla="*/ 331 w 343"/>
                <a:gd name="T87" fmla="*/ 73 h 215"/>
                <a:gd name="T88" fmla="*/ 339 w 343"/>
                <a:gd name="T89" fmla="*/ 70 h 215"/>
                <a:gd name="T90" fmla="*/ 343 w 343"/>
                <a:gd name="T91" fmla="*/ 61 h 215"/>
                <a:gd name="T92" fmla="*/ 342 w 343"/>
                <a:gd name="T93" fmla="*/ 57 h 215"/>
                <a:gd name="T94" fmla="*/ 336 w 343"/>
                <a:gd name="T95" fmla="*/ 53 h 215"/>
                <a:gd name="T96" fmla="*/ 322 w 343"/>
                <a:gd name="T97" fmla="*/ 47 h 215"/>
                <a:gd name="T98" fmla="*/ 319 w 343"/>
                <a:gd name="T99" fmla="*/ 42 h 215"/>
                <a:gd name="T100" fmla="*/ 321 w 343"/>
                <a:gd name="T101" fmla="*/ 37 h 215"/>
                <a:gd name="T102" fmla="*/ 320 w 343"/>
                <a:gd name="T103" fmla="*/ 35 h 215"/>
                <a:gd name="T104" fmla="*/ 312 w 343"/>
                <a:gd name="T105" fmla="*/ 34 h 215"/>
                <a:gd name="T106" fmla="*/ 306 w 343"/>
                <a:gd name="T107" fmla="*/ 31 h 215"/>
                <a:gd name="T108" fmla="*/ 305 w 343"/>
                <a:gd name="T109" fmla="*/ 24 h 215"/>
                <a:gd name="T110" fmla="*/ 308 w 343"/>
                <a:gd name="T111" fmla="*/ 17 h 215"/>
                <a:gd name="T112" fmla="*/ 311 w 343"/>
                <a:gd name="T113" fmla="*/ 8 h 215"/>
                <a:gd name="T114" fmla="*/ 317 w 343"/>
                <a:gd name="T115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43" h="215">
                  <a:moveTo>
                    <a:pt x="0" y="215"/>
                  </a:moveTo>
                  <a:lnTo>
                    <a:pt x="1" y="215"/>
                  </a:lnTo>
                  <a:lnTo>
                    <a:pt x="1" y="214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12"/>
                  </a:lnTo>
                  <a:lnTo>
                    <a:pt x="4" y="211"/>
                  </a:lnTo>
                  <a:lnTo>
                    <a:pt x="4" y="211"/>
                  </a:lnTo>
                  <a:lnTo>
                    <a:pt x="5" y="210"/>
                  </a:lnTo>
                  <a:lnTo>
                    <a:pt x="6" y="210"/>
                  </a:lnTo>
                  <a:lnTo>
                    <a:pt x="6" y="210"/>
                  </a:lnTo>
                  <a:lnTo>
                    <a:pt x="7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9" y="210"/>
                  </a:lnTo>
                  <a:lnTo>
                    <a:pt x="11" y="210"/>
                  </a:lnTo>
                  <a:lnTo>
                    <a:pt x="12" y="211"/>
                  </a:lnTo>
                  <a:lnTo>
                    <a:pt x="12" y="211"/>
                  </a:lnTo>
                  <a:lnTo>
                    <a:pt x="13" y="211"/>
                  </a:lnTo>
                  <a:lnTo>
                    <a:pt x="15" y="213"/>
                  </a:lnTo>
                  <a:lnTo>
                    <a:pt x="16" y="213"/>
                  </a:lnTo>
                  <a:lnTo>
                    <a:pt x="17" y="214"/>
                  </a:lnTo>
                  <a:lnTo>
                    <a:pt x="17" y="214"/>
                  </a:lnTo>
                  <a:lnTo>
                    <a:pt x="18" y="214"/>
                  </a:lnTo>
                  <a:lnTo>
                    <a:pt x="19" y="214"/>
                  </a:lnTo>
                  <a:lnTo>
                    <a:pt x="20" y="214"/>
                  </a:lnTo>
                  <a:lnTo>
                    <a:pt x="20" y="214"/>
                  </a:lnTo>
                  <a:lnTo>
                    <a:pt x="21" y="214"/>
                  </a:lnTo>
                  <a:lnTo>
                    <a:pt x="22" y="214"/>
                  </a:lnTo>
                  <a:lnTo>
                    <a:pt x="22" y="213"/>
                  </a:lnTo>
                  <a:lnTo>
                    <a:pt x="23" y="213"/>
                  </a:lnTo>
                  <a:lnTo>
                    <a:pt x="23" y="213"/>
                  </a:lnTo>
                  <a:lnTo>
                    <a:pt x="24" y="212"/>
                  </a:lnTo>
                  <a:lnTo>
                    <a:pt x="24" y="212"/>
                  </a:lnTo>
                  <a:lnTo>
                    <a:pt x="24" y="211"/>
                  </a:lnTo>
                  <a:lnTo>
                    <a:pt x="25" y="210"/>
                  </a:lnTo>
                  <a:lnTo>
                    <a:pt x="26" y="207"/>
                  </a:lnTo>
                  <a:lnTo>
                    <a:pt x="26" y="206"/>
                  </a:lnTo>
                  <a:lnTo>
                    <a:pt x="27" y="205"/>
                  </a:lnTo>
                  <a:lnTo>
                    <a:pt x="28" y="204"/>
                  </a:lnTo>
                  <a:lnTo>
                    <a:pt x="28" y="204"/>
                  </a:lnTo>
                  <a:lnTo>
                    <a:pt x="29" y="202"/>
                  </a:lnTo>
                  <a:lnTo>
                    <a:pt x="31" y="201"/>
                  </a:lnTo>
                  <a:lnTo>
                    <a:pt x="32" y="200"/>
                  </a:lnTo>
                  <a:lnTo>
                    <a:pt x="35" y="198"/>
                  </a:lnTo>
                  <a:lnTo>
                    <a:pt x="36" y="197"/>
                  </a:lnTo>
                  <a:lnTo>
                    <a:pt x="37" y="196"/>
                  </a:lnTo>
                  <a:lnTo>
                    <a:pt x="38" y="196"/>
                  </a:lnTo>
                  <a:lnTo>
                    <a:pt x="38" y="195"/>
                  </a:lnTo>
                  <a:lnTo>
                    <a:pt x="39" y="195"/>
                  </a:lnTo>
                  <a:lnTo>
                    <a:pt x="40" y="193"/>
                  </a:lnTo>
                  <a:lnTo>
                    <a:pt x="40" y="192"/>
                  </a:lnTo>
                  <a:lnTo>
                    <a:pt x="41" y="191"/>
                  </a:lnTo>
                  <a:lnTo>
                    <a:pt x="41" y="188"/>
                  </a:lnTo>
                  <a:lnTo>
                    <a:pt x="42" y="187"/>
                  </a:lnTo>
                  <a:lnTo>
                    <a:pt x="42" y="186"/>
                  </a:lnTo>
                  <a:lnTo>
                    <a:pt x="42" y="186"/>
                  </a:lnTo>
                  <a:lnTo>
                    <a:pt x="42" y="186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4" y="185"/>
                  </a:lnTo>
                  <a:lnTo>
                    <a:pt x="45" y="186"/>
                  </a:lnTo>
                  <a:lnTo>
                    <a:pt x="45" y="186"/>
                  </a:lnTo>
                  <a:lnTo>
                    <a:pt x="46" y="186"/>
                  </a:lnTo>
                  <a:lnTo>
                    <a:pt x="46" y="186"/>
                  </a:lnTo>
                  <a:lnTo>
                    <a:pt x="46" y="187"/>
                  </a:lnTo>
                  <a:lnTo>
                    <a:pt x="48" y="188"/>
                  </a:lnTo>
                  <a:lnTo>
                    <a:pt x="49" y="190"/>
                  </a:lnTo>
                  <a:lnTo>
                    <a:pt x="50" y="191"/>
                  </a:lnTo>
                  <a:lnTo>
                    <a:pt x="52" y="195"/>
                  </a:lnTo>
                  <a:lnTo>
                    <a:pt x="53" y="196"/>
                  </a:lnTo>
                  <a:lnTo>
                    <a:pt x="54" y="197"/>
                  </a:lnTo>
                  <a:lnTo>
                    <a:pt x="55" y="198"/>
                  </a:lnTo>
                  <a:lnTo>
                    <a:pt x="55" y="199"/>
                  </a:lnTo>
                  <a:lnTo>
                    <a:pt x="57" y="200"/>
                  </a:lnTo>
                  <a:lnTo>
                    <a:pt x="58" y="201"/>
                  </a:lnTo>
                  <a:lnTo>
                    <a:pt x="59" y="201"/>
                  </a:lnTo>
                  <a:lnTo>
                    <a:pt x="60" y="201"/>
                  </a:lnTo>
                  <a:lnTo>
                    <a:pt x="62" y="202"/>
                  </a:lnTo>
                  <a:lnTo>
                    <a:pt x="64" y="203"/>
                  </a:lnTo>
                  <a:lnTo>
                    <a:pt x="65" y="203"/>
                  </a:lnTo>
                  <a:lnTo>
                    <a:pt x="65" y="203"/>
                  </a:lnTo>
                  <a:lnTo>
                    <a:pt x="66" y="203"/>
                  </a:lnTo>
                  <a:lnTo>
                    <a:pt x="66" y="203"/>
                  </a:lnTo>
                  <a:lnTo>
                    <a:pt x="67" y="203"/>
                  </a:lnTo>
                  <a:lnTo>
                    <a:pt x="67" y="203"/>
                  </a:lnTo>
                  <a:lnTo>
                    <a:pt x="68" y="203"/>
                  </a:lnTo>
                  <a:lnTo>
                    <a:pt x="69" y="202"/>
                  </a:lnTo>
                  <a:lnTo>
                    <a:pt x="69" y="202"/>
                  </a:lnTo>
                  <a:lnTo>
                    <a:pt x="70" y="201"/>
                  </a:lnTo>
                  <a:lnTo>
                    <a:pt x="71" y="201"/>
                  </a:lnTo>
                  <a:lnTo>
                    <a:pt x="72" y="199"/>
                  </a:lnTo>
                  <a:lnTo>
                    <a:pt x="76" y="196"/>
                  </a:lnTo>
                  <a:lnTo>
                    <a:pt x="79" y="193"/>
                  </a:lnTo>
                  <a:lnTo>
                    <a:pt x="82" y="190"/>
                  </a:lnTo>
                  <a:lnTo>
                    <a:pt x="83" y="189"/>
                  </a:lnTo>
                  <a:lnTo>
                    <a:pt x="83" y="188"/>
                  </a:lnTo>
                  <a:lnTo>
                    <a:pt x="84" y="188"/>
                  </a:lnTo>
                  <a:lnTo>
                    <a:pt x="84" y="187"/>
                  </a:lnTo>
                  <a:lnTo>
                    <a:pt x="84" y="186"/>
                  </a:lnTo>
                  <a:lnTo>
                    <a:pt x="84" y="185"/>
                  </a:lnTo>
                  <a:lnTo>
                    <a:pt x="84" y="183"/>
                  </a:lnTo>
                  <a:lnTo>
                    <a:pt x="84" y="182"/>
                  </a:lnTo>
                  <a:lnTo>
                    <a:pt x="85" y="181"/>
                  </a:lnTo>
                  <a:lnTo>
                    <a:pt x="85" y="181"/>
                  </a:lnTo>
                  <a:lnTo>
                    <a:pt x="85" y="180"/>
                  </a:lnTo>
                  <a:lnTo>
                    <a:pt x="86" y="179"/>
                  </a:lnTo>
                  <a:lnTo>
                    <a:pt x="87" y="177"/>
                  </a:lnTo>
                  <a:lnTo>
                    <a:pt x="88" y="175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3"/>
                  </a:lnTo>
                  <a:lnTo>
                    <a:pt x="89" y="172"/>
                  </a:lnTo>
                  <a:lnTo>
                    <a:pt x="90" y="171"/>
                  </a:lnTo>
                  <a:lnTo>
                    <a:pt x="90" y="170"/>
                  </a:lnTo>
                  <a:lnTo>
                    <a:pt x="90" y="170"/>
                  </a:lnTo>
                  <a:lnTo>
                    <a:pt x="90" y="168"/>
                  </a:lnTo>
                  <a:lnTo>
                    <a:pt x="90" y="166"/>
                  </a:lnTo>
                  <a:lnTo>
                    <a:pt x="89" y="163"/>
                  </a:lnTo>
                  <a:lnTo>
                    <a:pt x="89" y="162"/>
                  </a:lnTo>
                  <a:lnTo>
                    <a:pt x="89" y="161"/>
                  </a:lnTo>
                  <a:lnTo>
                    <a:pt x="89" y="160"/>
                  </a:lnTo>
                  <a:lnTo>
                    <a:pt x="89" y="160"/>
                  </a:lnTo>
                  <a:lnTo>
                    <a:pt x="90" y="159"/>
                  </a:lnTo>
                  <a:lnTo>
                    <a:pt x="90" y="159"/>
                  </a:lnTo>
                  <a:lnTo>
                    <a:pt x="91" y="158"/>
                  </a:lnTo>
                  <a:lnTo>
                    <a:pt x="91" y="157"/>
                  </a:lnTo>
                  <a:lnTo>
                    <a:pt x="92" y="157"/>
                  </a:lnTo>
                  <a:lnTo>
                    <a:pt x="92" y="157"/>
                  </a:lnTo>
                  <a:lnTo>
                    <a:pt x="93" y="156"/>
                  </a:lnTo>
                  <a:lnTo>
                    <a:pt x="94" y="156"/>
                  </a:lnTo>
                  <a:lnTo>
                    <a:pt x="95" y="156"/>
                  </a:lnTo>
                  <a:lnTo>
                    <a:pt x="96" y="155"/>
                  </a:lnTo>
                  <a:lnTo>
                    <a:pt x="97" y="155"/>
                  </a:lnTo>
                  <a:lnTo>
                    <a:pt x="98" y="155"/>
                  </a:lnTo>
                  <a:lnTo>
                    <a:pt x="100" y="155"/>
                  </a:lnTo>
                  <a:lnTo>
                    <a:pt x="105" y="155"/>
                  </a:lnTo>
                  <a:lnTo>
                    <a:pt x="107" y="155"/>
                  </a:lnTo>
                  <a:lnTo>
                    <a:pt x="109" y="155"/>
                  </a:lnTo>
                  <a:lnTo>
                    <a:pt x="110" y="154"/>
                  </a:lnTo>
                  <a:lnTo>
                    <a:pt x="112" y="154"/>
                  </a:lnTo>
                  <a:lnTo>
                    <a:pt x="113" y="153"/>
                  </a:lnTo>
                  <a:lnTo>
                    <a:pt x="114" y="153"/>
                  </a:lnTo>
                  <a:lnTo>
                    <a:pt x="115" y="152"/>
                  </a:lnTo>
                  <a:lnTo>
                    <a:pt x="117" y="151"/>
                  </a:lnTo>
                  <a:lnTo>
                    <a:pt x="118" y="151"/>
                  </a:lnTo>
                  <a:lnTo>
                    <a:pt x="119" y="150"/>
                  </a:lnTo>
                  <a:lnTo>
                    <a:pt x="121" y="149"/>
                  </a:lnTo>
                  <a:lnTo>
                    <a:pt x="122" y="149"/>
                  </a:lnTo>
                  <a:lnTo>
                    <a:pt x="123" y="148"/>
                  </a:lnTo>
                  <a:lnTo>
                    <a:pt x="124" y="148"/>
                  </a:lnTo>
                  <a:lnTo>
                    <a:pt x="125" y="148"/>
                  </a:lnTo>
                  <a:lnTo>
                    <a:pt x="126" y="148"/>
                  </a:lnTo>
                  <a:lnTo>
                    <a:pt x="127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9" y="149"/>
                  </a:lnTo>
                  <a:lnTo>
                    <a:pt x="130" y="149"/>
                  </a:lnTo>
                  <a:lnTo>
                    <a:pt x="133" y="151"/>
                  </a:lnTo>
                  <a:lnTo>
                    <a:pt x="135" y="151"/>
                  </a:lnTo>
                  <a:lnTo>
                    <a:pt x="136" y="151"/>
                  </a:lnTo>
                  <a:lnTo>
                    <a:pt x="136" y="152"/>
                  </a:lnTo>
                  <a:lnTo>
                    <a:pt x="137" y="152"/>
                  </a:lnTo>
                  <a:lnTo>
                    <a:pt x="138" y="152"/>
                  </a:lnTo>
                  <a:lnTo>
                    <a:pt x="138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40" y="151"/>
                  </a:lnTo>
                  <a:lnTo>
                    <a:pt x="141" y="151"/>
                  </a:lnTo>
                  <a:lnTo>
                    <a:pt x="142" y="150"/>
                  </a:lnTo>
                  <a:lnTo>
                    <a:pt x="144" y="149"/>
                  </a:lnTo>
                  <a:lnTo>
                    <a:pt x="145" y="149"/>
                  </a:lnTo>
                  <a:lnTo>
                    <a:pt x="146" y="148"/>
                  </a:lnTo>
                  <a:lnTo>
                    <a:pt x="147" y="148"/>
                  </a:lnTo>
                  <a:lnTo>
                    <a:pt x="151" y="148"/>
                  </a:lnTo>
                  <a:lnTo>
                    <a:pt x="155" y="147"/>
                  </a:lnTo>
                  <a:lnTo>
                    <a:pt x="156" y="147"/>
                  </a:lnTo>
                  <a:lnTo>
                    <a:pt x="157" y="147"/>
                  </a:lnTo>
                  <a:lnTo>
                    <a:pt x="160" y="147"/>
                  </a:lnTo>
                  <a:lnTo>
                    <a:pt x="161" y="147"/>
                  </a:lnTo>
                  <a:lnTo>
                    <a:pt x="163" y="147"/>
                  </a:lnTo>
                  <a:lnTo>
                    <a:pt x="165" y="147"/>
                  </a:lnTo>
                  <a:lnTo>
                    <a:pt x="167" y="147"/>
                  </a:lnTo>
                  <a:lnTo>
                    <a:pt x="168" y="147"/>
                  </a:lnTo>
                  <a:lnTo>
                    <a:pt x="169" y="148"/>
                  </a:lnTo>
                  <a:lnTo>
                    <a:pt x="172" y="149"/>
                  </a:lnTo>
                  <a:lnTo>
                    <a:pt x="173" y="149"/>
                  </a:lnTo>
                  <a:lnTo>
                    <a:pt x="174" y="149"/>
                  </a:lnTo>
                  <a:lnTo>
                    <a:pt x="176" y="150"/>
                  </a:lnTo>
                  <a:lnTo>
                    <a:pt x="177" y="150"/>
                  </a:lnTo>
                  <a:lnTo>
                    <a:pt x="179" y="150"/>
                  </a:lnTo>
                  <a:lnTo>
                    <a:pt x="180" y="149"/>
                  </a:lnTo>
                  <a:lnTo>
                    <a:pt x="181" y="149"/>
                  </a:lnTo>
                  <a:lnTo>
                    <a:pt x="182" y="149"/>
                  </a:lnTo>
                  <a:lnTo>
                    <a:pt x="183" y="148"/>
                  </a:lnTo>
                  <a:lnTo>
                    <a:pt x="184" y="147"/>
                  </a:lnTo>
                  <a:lnTo>
                    <a:pt x="186" y="146"/>
                  </a:lnTo>
                  <a:lnTo>
                    <a:pt x="187" y="145"/>
                  </a:lnTo>
                  <a:lnTo>
                    <a:pt x="188" y="145"/>
                  </a:lnTo>
                  <a:lnTo>
                    <a:pt x="191" y="144"/>
                  </a:lnTo>
                  <a:lnTo>
                    <a:pt x="191" y="143"/>
                  </a:lnTo>
                  <a:lnTo>
                    <a:pt x="192" y="143"/>
                  </a:lnTo>
                  <a:lnTo>
                    <a:pt x="192" y="143"/>
                  </a:lnTo>
                  <a:lnTo>
                    <a:pt x="193" y="142"/>
                  </a:lnTo>
                  <a:lnTo>
                    <a:pt x="194" y="142"/>
                  </a:lnTo>
                  <a:lnTo>
                    <a:pt x="194" y="141"/>
                  </a:lnTo>
                  <a:lnTo>
                    <a:pt x="195" y="140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6"/>
                  </a:lnTo>
                  <a:lnTo>
                    <a:pt x="195" y="133"/>
                  </a:lnTo>
                  <a:lnTo>
                    <a:pt x="195" y="132"/>
                  </a:lnTo>
                  <a:lnTo>
                    <a:pt x="195" y="130"/>
                  </a:lnTo>
                  <a:lnTo>
                    <a:pt x="195" y="129"/>
                  </a:lnTo>
                  <a:lnTo>
                    <a:pt x="195" y="128"/>
                  </a:lnTo>
                  <a:lnTo>
                    <a:pt x="196" y="127"/>
                  </a:lnTo>
                  <a:lnTo>
                    <a:pt x="196" y="126"/>
                  </a:lnTo>
                  <a:lnTo>
                    <a:pt x="196" y="125"/>
                  </a:lnTo>
                  <a:lnTo>
                    <a:pt x="197" y="124"/>
                  </a:lnTo>
                  <a:lnTo>
                    <a:pt x="197" y="124"/>
                  </a:lnTo>
                  <a:lnTo>
                    <a:pt x="197" y="123"/>
                  </a:lnTo>
                  <a:lnTo>
                    <a:pt x="198" y="123"/>
                  </a:lnTo>
                  <a:lnTo>
                    <a:pt x="198" y="122"/>
                  </a:lnTo>
                  <a:lnTo>
                    <a:pt x="199" y="122"/>
                  </a:lnTo>
                  <a:lnTo>
                    <a:pt x="199" y="122"/>
                  </a:lnTo>
                  <a:lnTo>
                    <a:pt x="200" y="121"/>
                  </a:lnTo>
                  <a:lnTo>
                    <a:pt x="201" y="121"/>
                  </a:lnTo>
                  <a:lnTo>
                    <a:pt x="204" y="120"/>
                  </a:lnTo>
                  <a:lnTo>
                    <a:pt x="205" y="120"/>
                  </a:lnTo>
                  <a:lnTo>
                    <a:pt x="207" y="119"/>
                  </a:lnTo>
                  <a:lnTo>
                    <a:pt x="208" y="119"/>
                  </a:lnTo>
                  <a:lnTo>
                    <a:pt x="210" y="118"/>
                  </a:lnTo>
                  <a:lnTo>
                    <a:pt x="211" y="117"/>
                  </a:lnTo>
                  <a:lnTo>
                    <a:pt x="212" y="116"/>
                  </a:lnTo>
                  <a:lnTo>
                    <a:pt x="214" y="114"/>
                  </a:lnTo>
                  <a:lnTo>
                    <a:pt x="215" y="113"/>
                  </a:lnTo>
                  <a:lnTo>
                    <a:pt x="216" y="113"/>
                  </a:lnTo>
                  <a:lnTo>
                    <a:pt x="218" y="112"/>
                  </a:lnTo>
                  <a:lnTo>
                    <a:pt x="219" y="111"/>
                  </a:lnTo>
                  <a:lnTo>
                    <a:pt x="221" y="110"/>
                  </a:lnTo>
                  <a:lnTo>
                    <a:pt x="222" y="110"/>
                  </a:lnTo>
                  <a:lnTo>
                    <a:pt x="223" y="110"/>
                  </a:lnTo>
                  <a:lnTo>
                    <a:pt x="224" y="110"/>
                  </a:lnTo>
                  <a:lnTo>
                    <a:pt x="225" y="110"/>
                  </a:lnTo>
                  <a:lnTo>
                    <a:pt x="226" y="110"/>
                  </a:lnTo>
                  <a:lnTo>
                    <a:pt x="227" y="110"/>
                  </a:lnTo>
                  <a:lnTo>
                    <a:pt x="229" y="111"/>
                  </a:lnTo>
                  <a:lnTo>
                    <a:pt x="232" y="112"/>
                  </a:lnTo>
                  <a:lnTo>
                    <a:pt x="234" y="113"/>
                  </a:lnTo>
                  <a:lnTo>
                    <a:pt x="235" y="113"/>
                  </a:lnTo>
                  <a:lnTo>
                    <a:pt x="236" y="113"/>
                  </a:lnTo>
                  <a:lnTo>
                    <a:pt x="237" y="113"/>
                  </a:lnTo>
                  <a:lnTo>
                    <a:pt x="240" y="112"/>
                  </a:lnTo>
                  <a:lnTo>
                    <a:pt x="244" y="112"/>
                  </a:lnTo>
                  <a:lnTo>
                    <a:pt x="244" y="111"/>
                  </a:lnTo>
                  <a:lnTo>
                    <a:pt x="245" y="111"/>
                  </a:lnTo>
                  <a:lnTo>
                    <a:pt x="247" y="111"/>
                  </a:lnTo>
                  <a:lnTo>
                    <a:pt x="248" y="110"/>
                  </a:lnTo>
                  <a:lnTo>
                    <a:pt x="249" y="109"/>
                  </a:lnTo>
                  <a:lnTo>
                    <a:pt x="252" y="107"/>
                  </a:lnTo>
                  <a:lnTo>
                    <a:pt x="253" y="106"/>
                  </a:lnTo>
                  <a:lnTo>
                    <a:pt x="255" y="105"/>
                  </a:lnTo>
                  <a:lnTo>
                    <a:pt x="258" y="104"/>
                  </a:lnTo>
                  <a:lnTo>
                    <a:pt x="265" y="101"/>
                  </a:lnTo>
                  <a:lnTo>
                    <a:pt x="270" y="98"/>
                  </a:lnTo>
                  <a:lnTo>
                    <a:pt x="273" y="97"/>
                  </a:lnTo>
                  <a:lnTo>
                    <a:pt x="275" y="96"/>
                  </a:lnTo>
                  <a:lnTo>
                    <a:pt x="281" y="94"/>
                  </a:lnTo>
                  <a:lnTo>
                    <a:pt x="283" y="94"/>
                  </a:lnTo>
                  <a:lnTo>
                    <a:pt x="285" y="93"/>
                  </a:lnTo>
                  <a:lnTo>
                    <a:pt x="286" y="92"/>
                  </a:lnTo>
                  <a:lnTo>
                    <a:pt x="287" y="92"/>
                  </a:lnTo>
                  <a:lnTo>
                    <a:pt x="288" y="91"/>
                  </a:lnTo>
                  <a:lnTo>
                    <a:pt x="290" y="89"/>
                  </a:lnTo>
                  <a:lnTo>
                    <a:pt x="291" y="88"/>
                  </a:lnTo>
                  <a:lnTo>
                    <a:pt x="292" y="87"/>
                  </a:lnTo>
                  <a:lnTo>
                    <a:pt x="293" y="86"/>
                  </a:lnTo>
                  <a:lnTo>
                    <a:pt x="294" y="85"/>
                  </a:lnTo>
                  <a:lnTo>
                    <a:pt x="295" y="84"/>
                  </a:lnTo>
                  <a:lnTo>
                    <a:pt x="297" y="81"/>
                  </a:lnTo>
                  <a:lnTo>
                    <a:pt x="297" y="80"/>
                  </a:lnTo>
                  <a:lnTo>
                    <a:pt x="297" y="79"/>
                  </a:lnTo>
                  <a:lnTo>
                    <a:pt x="298" y="79"/>
                  </a:lnTo>
                  <a:lnTo>
                    <a:pt x="299" y="78"/>
                  </a:lnTo>
                  <a:lnTo>
                    <a:pt x="300" y="78"/>
                  </a:lnTo>
                  <a:lnTo>
                    <a:pt x="301" y="77"/>
                  </a:lnTo>
                  <a:lnTo>
                    <a:pt x="302" y="76"/>
                  </a:lnTo>
                  <a:lnTo>
                    <a:pt x="304" y="76"/>
                  </a:lnTo>
                  <a:lnTo>
                    <a:pt x="305" y="76"/>
                  </a:lnTo>
                  <a:lnTo>
                    <a:pt x="306" y="76"/>
                  </a:lnTo>
                  <a:lnTo>
                    <a:pt x="307" y="76"/>
                  </a:lnTo>
                  <a:lnTo>
                    <a:pt x="308" y="76"/>
                  </a:lnTo>
                  <a:lnTo>
                    <a:pt x="310" y="76"/>
                  </a:lnTo>
                  <a:lnTo>
                    <a:pt x="312" y="77"/>
                  </a:lnTo>
                  <a:lnTo>
                    <a:pt x="314" y="77"/>
                  </a:lnTo>
                  <a:lnTo>
                    <a:pt x="315" y="77"/>
                  </a:lnTo>
                  <a:lnTo>
                    <a:pt x="316" y="77"/>
                  </a:lnTo>
                  <a:lnTo>
                    <a:pt x="317" y="77"/>
                  </a:lnTo>
                  <a:lnTo>
                    <a:pt x="318" y="77"/>
                  </a:lnTo>
                  <a:lnTo>
                    <a:pt x="320" y="77"/>
                  </a:lnTo>
                  <a:lnTo>
                    <a:pt x="323" y="76"/>
                  </a:lnTo>
                  <a:lnTo>
                    <a:pt x="324" y="76"/>
                  </a:lnTo>
                  <a:lnTo>
                    <a:pt x="325" y="75"/>
                  </a:lnTo>
                  <a:lnTo>
                    <a:pt x="327" y="75"/>
                  </a:lnTo>
                  <a:lnTo>
                    <a:pt x="330" y="74"/>
                  </a:lnTo>
                  <a:lnTo>
                    <a:pt x="331" y="73"/>
                  </a:lnTo>
                  <a:lnTo>
                    <a:pt x="332" y="73"/>
                  </a:lnTo>
                  <a:lnTo>
                    <a:pt x="335" y="72"/>
                  </a:lnTo>
                  <a:lnTo>
                    <a:pt x="336" y="72"/>
                  </a:lnTo>
                  <a:lnTo>
                    <a:pt x="337" y="72"/>
                  </a:lnTo>
                  <a:lnTo>
                    <a:pt x="338" y="71"/>
                  </a:lnTo>
                  <a:lnTo>
                    <a:pt x="338" y="71"/>
                  </a:lnTo>
                  <a:lnTo>
                    <a:pt x="339" y="70"/>
                  </a:lnTo>
                  <a:lnTo>
                    <a:pt x="339" y="70"/>
                  </a:lnTo>
                  <a:lnTo>
                    <a:pt x="340" y="69"/>
                  </a:lnTo>
                  <a:lnTo>
                    <a:pt x="340" y="69"/>
                  </a:lnTo>
                  <a:lnTo>
                    <a:pt x="341" y="68"/>
                  </a:lnTo>
                  <a:lnTo>
                    <a:pt x="341" y="65"/>
                  </a:lnTo>
                  <a:lnTo>
                    <a:pt x="342" y="63"/>
                  </a:lnTo>
                  <a:lnTo>
                    <a:pt x="343" y="61"/>
                  </a:lnTo>
                  <a:lnTo>
                    <a:pt x="343" y="60"/>
                  </a:lnTo>
                  <a:lnTo>
                    <a:pt x="343" y="60"/>
                  </a:lnTo>
                  <a:lnTo>
                    <a:pt x="343" y="59"/>
                  </a:lnTo>
                  <a:lnTo>
                    <a:pt x="343" y="58"/>
                  </a:lnTo>
                  <a:lnTo>
                    <a:pt x="343" y="58"/>
                  </a:lnTo>
                  <a:lnTo>
                    <a:pt x="343" y="57"/>
                  </a:lnTo>
                  <a:lnTo>
                    <a:pt x="342" y="57"/>
                  </a:lnTo>
                  <a:lnTo>
                    <a:pt x="342" y="56"/>
                  </a:lnTo>
                  <a:lnTo>
                    <a:pt x="341" y="55"/>
                  </a:lnTo>
                  <a:lnTo>
                    <a:pt x="341" y="55"/>
                  </a:lnTo>
                  <a:lnTo>
                    <a:pt x="340" y="55"/>
                  </a:lnTo>
                  <a:lnTo>
                    <a:pt x="339" y="54"/>
                  </a:lnTo>
                  <a:lnTo>
                    <a:pt x="338" y="54"/>
                  </a:lnTo>
                  <a:lnTo>
                    <a:pt x="336" y="53"/>
                  </a:lnTo>
                  <a:lnTo>
                    <a:pt x="332" y="51"/>
                  </a:lnTo>
                  <a:lnTo>
                    <a:pt x="330" y="50"/>
                  </a:lnTo>
                  <a:lnTo>
                    <a:pt x="325" y="49"/>
                  </a:lnTo>
                  <a:lnTo>
                    <a:pt x="324" y="48"/>
                  </a:lnTo>
                  <a:lnTo>
                    <a:pt x="323" y="48"/>
                  </a:lnTo>
                  <a:lnTo>
                    <a:pt x="322" y="47"/>
                  </a:lnTo>
                  <a:lnTo>
                    <a:pt x="322" y="47"/>
                  </a:lnTo>
                  <a:lnTo>
                    <a:pt x="321" y="46"/>
                  </a:lnTo>
                  <a:lnTo>
                    <a:pt x="321" y="46"/>
                  </a:lnTo>
                  <a:lnTo>
                    <a:pt x="321" y="45"/>
                  </a:lnTo>
                  <a:lnTo>
                    <a:pt x="320" y="45"/>
                  </a:lnTo>
                  <a:lnTo>
                    <a:pt x="320" y="44"/>
                  </a:lnTo>
                  <a:lnTo>
                    <a:pt x="319" y="43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19" y="41"/>
                  </a:lnTo>
                  <a:lnTo>
                    <a:pt x="319" y="41"/>
                  </a:lnTo>
                  <a:lnTo>
                    <a:pt x="319" y="40"/>
                  </a:lnTo>
                  <a:lnTo>
                    <a:pt x="319" y="40"/>
                  </a:lnTo>
                  <a:lnTo>
                    <a:pt x="320" y="39"/>
                  </a:lnTo>
                  <a:lnTo>
                    <a:pt x="321" y="37"/>
                  </a:lnTo>
                  <a:lnTo>
                    <a:pt x="321" y="37"/>
                  </a:lnTo>
                  <a:lnTo>
                    <a:pt x="321" y="37"/>
                  </a:lnTo>
                  <a:lnTo>
                    <a:pt x="321" y="36"/>
                  </a:lnTo>
                  <a:lnTo>
                    <a:pt x="321" y="36"/>
                  </a:lnTo>
                  <a:lnTo>
                    <a:pt x="321" y="35"/>
                  </a:lnTo>
                  <a:lnTo>
                    <a:pt x="320" y="35"/>
                  </a:lnTo>
                  <a:lnTo>
                    <a:pt x="320" y="35"/>
                  </a:lnTo>
                  <a:lnTo>
                    <a:pt x="320" y="34"/>
                  </a:lnTo>
                  <a:lnTo>
                    <a:pt x="319" y="34"/>
                  </a:lnTo>
                  <a:lnTo>
                    <a:pt x="318" y="34"/>
                  </a:lnTo>
                  <a:lnTo>
                    <a:pt x="317" y="34"/>
                  </a:lnTo>
                  <a:lnTo>
                    <a:pt x="314" y="34"/>
                  </a:lnTo>
                  <a:lnTo>
                    <a:pt x="313" y="34"/>
                  </a:lnTo>
                  <a:lnTo>
                    <a:pt x="312" y="34"/>
                  </a:lnTo>
                  <a:lnTo>
                    <a:pt x="311" y="34"/>
                  </a:lnTo>
                  <a:lnTo>
                    <a:pt x="310" y="33"/>
                  </a:lnTo>
                  <a:lnTo>
                    <a:pt x="309" y="33"/>
                  </a:lnTo>
                  <a:lnTo>
                    <a:pt x="308" y="32"/>
                  </a:lnTo>
                  <a:lnTo>
                    <a:pt x="307" y="32"/>
                  </a:lnTo>
                  <a:lnTo>
                    <a:pt x="307" y="31"/>
                  </a:lnTo>
                  <a:lnTo>
                    <a:pt x="306" y="31"/>
                  </a:lnTo>
                  <a:lnTo>
                    <a:pt x="306" y="30"/>
                  </a:lnTo>
                  <a:lnTo>
                    <a:pt x="306" y="30"/>
                  </a:lnTo>
                  <a:lnTo>
                    <a:pt x="305" y="29"/>
                  </a:lnTo>
                  <a:lnTo>
                    <a:pt x="305" y="28"/>
                  </a:lnTo>
                  <a:lnTo>
                    <a:pt x="305" y="28"/>
                  </a:lnTo>
                  <a:lnTo>
                    <a:pt x="305" y="27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3"/>
                  </a:lnTo>
                  <a:lnTo>
                    <a:pt x="306" y="22"/>
                  </a:lnTo>
                  <a:lnTo>
                    <a:pt x="306" y="21"/>
                  </a:lnTo>
                  <a:lnTo>
                    <a:pt x="307" y="19"/>
                  </a:lnTo>
                  <a:lnTo>
                    <a:pt x="308" y="18"/>
                  </a:lnTo>
                  <a:lnTo>
                    <a:pt x="308" y="17"/>
                  </a:lnTo>
                  <a:lnTo>
                    <a:pt x="309" y="16"/>
                  </a:lnTo>
                  <a:lnTo>
                    <a:pt x="309" y="14"/>
                  </a:lnTo>
                  <a:lnTo>
                    <a:pt x="309" y="13"/>
                  </a:lnTo>
                  <a:lnTo>
                    <a:pt x="310" y="12"/>
                  </a:lnTo>
                  <a:lnTo>
                    <a:pt x="310" y="9"/>
                  </a:lnTo>
                  <a:lnTo>
                    <a:pt x="311" y="8"/>
                  </a:lnTo>
                  <a:lnTo>
                    <a:pt x="311" y="8"/>
                  </a:lnTo>
                  <a:lnTo>
                    <a:pt x="311" y="7"/>
                  </a:lnTo>
                  <a:lnTo>
                    <a:pt x="311" y="6"/>
                  </a:lnTo>
                  <a:lnTo>
                    <a:pt x="312" y="5"/>
                  </a:lnTo>
                  <a:lnTo>
                    <a:pt x="315" y="1"/>
                  </a:lnTo>
                  <a:lnTo>
                    <a:pt x="316" y="0"/>
                  </a:lnTo>
                  <a:lnTo>
                    <a:pt x="317" y="0"/>
                  </a:lnTo>
                  <a:lnTo>
                    <a:pt x="317" y="0"/>
                  </a:lnTo>
                  <a:lnTo>
                    <a:pt x="317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Freeform 56">
              <a:extLst>
                <a:ext uri="{FF2B5EF4-FFF2-40B4-BE49-F238E27FC236}">
                  <a16:creationId xmlns:a16="http://schemas.microsoft.com/office/drawing/2014/main" id="{EB6469A9-CFCB-F88B-71EE-0611DAD71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0" y="2882"/>
              <a:ext cx="376" cy="252"/>
            </a:xfrm>
            <a:custGeom>
              <a:avLst/>
              <a:gdLst>
                <a:gd name="T0" fmla="*/ 210 w 376"/>
                <a:gd name="T1" fmla="*/ 2 h 252"/>
                <a:gd name="T2" fmla="*/ 222 w 376"/>
                <a:gd name="T3" fmla="*/ 11 h 252"/>
                <a:gd name="T4" fmla="*/ 231 w 376"/>
                <a:gd name="T5" fmla="*/ 11 h 252"/>
                <a:gd name="T6" fmla="*/ 240 w 376"/>
                <a:gd name="T7" fmla="*/ 5 h 252"/>
                <a:gd name="T8" fmla="*/ 247 w 376"/>
                <a:gd name="T9" fmla="*/ 16 h 252"/>
                <a:gd name="T10" fmla="*/ 261 w 376"/>
                <a:gd name="T11" fmla="*/ 14 h 252"/>
                <a:gd name="T12" fmla="*/ 274 w 376"/>
                <a:gd name="T13" fmla="*/ 32 h 252"/>
                <a:gd name="T14" fmla="*/ 272 w 376"/>
                <a:gd name="T15" fmla="*/ 55 h 252"/>
                <a:gd name="T16" fmla="*/ 285 w 376"/>
                <a:gd name="T17" fmla="*/ 74 h 252"/>
                <a:gd name="T18" fmla="*/ 300 w 376"/>
                <a:gd name="T19" fmla="*/ 94 h 252"/>
                <a:gd name="T20" fmla="*/ 305 w 376"/>
                <a:gd name="T21" fmla="*/ 111 h 252"/>
                <a:gd name="T22" fmla="*/ 318 w 376"/>
                <a:gd name="T23" fmla="*/ 101 h 252"/>
                <a:gd name="T24" fmla="*/ 342 w 376"/>
                <a:gd name="T25" fmla="*/ 109 h 252"/>
                <a:gd name="T26" fmla="*/ 353 w 376"/>
                <a:gd name="T27" fmla="*/ 122 h 252"/>
                <a:gd name="T28" fmla="*/ 358 w 376"/>
                <a:gd name="T29" fmla="*/ 156 h 252"/>
                <a:gd name="T30" fmla="*/ 363 w 376"/>
                <a:gd name="T31" fmla="*/ 183 h 252"/>
                <a:gd name="T32" fmla="*/ 363 w 376"/>
                <a:gd name="T33" fmla="*/ 202 h 252"/>
                <a:gd name="T34" fmla="*/ 376 w 376"/>
                <a:gd name="T35" fmla="*/ 226 h 252"/>
                <a:gd name="T36" fmla="*/ 365 w 376"/>
                <a:gd name="T37" fmla="*/ 232 h 252"/>
                <a:gd name="T38" fmla="*/ 348 w 376"/>
                <a:gd name="T39" fmla="*/ 233 h 252"/>
                <a:gd name="T40" fmla="*/ 334 w 376"/>
                <a:gd name="T41" fmla="*/ 222 h 252"/>
                <a:gd name="T42" fmla="*/ 322 w 376"/>
                <a:gd name="T43" fmla="*/ 233 h 252"/>
                <a:gd name="T44" fmla="*/ 318 w 376"/>
                <a:gd name="T45" fmla="*/ 247 h 252"/>
                <a:gd name="T46" fmla="*/ 306 w 376"/>
                <a:gd name="T47" fmla="*/ 247 h 252"/>
                <a:gd name="T48" fmla="*/ 299 w 376"/>
                <a:gd name="T49" fmla="*/ 241 h 252"/>
                <a:gd name="T50" fmla="*/ 278 w 376"/>
                <a:gd name="T51" fmla="*/ 232 h 252"/>
                <a:gd name="T52" fmla="*/ 265 w 376"/>
                <a:gd name="T53" fmla="*/ 236 h 252"/>
                <a:gd name="T54" fmla="*/ 250 w 376"/>
                <a:gd name="T55" fmla="*/ 240 h 252"/>
                <a:gd name="T56" fmla="*/ 227 w 376"/>
                <a:gd name="T57" fmla="*/ 227 h 252"/>
                <a:gd name="T58" fmla="*/ 213 w 376"/>
                <a:gd name="T59" fmla="*/ 213 h 252"/>
                <a:gd name="T60" fmla="*/ 192 w 376"/>
                <a:gd name="T61" fmla="*/ 196 h 252"/>
                <a:gd name="T62" fmla="*/ 181 w 376"/>
                <a:gd name="T63" fmla="*/ 197 h 252"/>
                <a:gd name="T64" fmla="*/ 168 w 376"/>
                <a:gd name="T65" fmla="*/ 187 h 252"/>
                <a:gd name="T66" fmla="*/ 162 w 376"/>
                <a:gd name="T67" fmla="*/ 201 h 252"/>
                <a:gd name="T68" fmla="*/ 149 w 376"/>
                <a:gd name="T69" fmla="*/ 211 h 252"/>
                <a:gd name="T70" fmla="*/ 141 w 376"/>
                <a:gd name="T71" fmla="*/ 220 h 252"/>
                <a:gd name="T72" fmla="*/ 121 w 376"/>
                <a:gd name="T73" fmla="*/ 218 h 252"/>
                <a:gd name="T74" fmla="*/ 113 w 376"/>
                <a:gd name="T75" fmla="*/ 234 h 252"/>
                <a:gd name="T76" fmla="*/ 97 w 376"/>
                <a:gd name="T77" fmla="*/ 248 h 252"/>
                <a:gd name="T78" fmla="*/ 74 w 376"/>
                <a:gd name="T79" fmla="*/ 252 h 252"/>
                <a:gd name="T80" fmla="*/ 67 w 376"/>
                <a:gd name="T81" fmla="*/ 241 h 252"/>
                <a:gd name="T82" fmla="*/ 57 w 376"/>
                <a:gd name="T83" fmla="*/ 240 h 252"/>
                <a:gd name="T84" fmla="*/ 44 w 376"/>
                <a:gd name="T85" fmla="*/ 241 h 252"/>
                <a:gd name="T86" fmla="*/ 38 w 376"/>
                <a:gd name="T87" fmla="*/ 234 h 252"/>
                <a:gd name="T88" fmla="*/ 21 w 376"/>
                <a:gd name="T89" fmla="*/ 214 h 252"/>
                <a:gd name="T90" fmla="*/ 6 w 376"/>
                <a:gd name="T91" fmla="*/ 183 h 252"/>
                <a:gd name="T92" fmla="*/ 0 w 376"/>
                <a:gd name="T93" fmla="*/ 163 h 252"/>
                <a:gd name="T94" fmla="*/ 8 w 376"/>
                <a:gd name="T95" fmla="*/ 144 h 252"/>
                <a:gd name="T96" fmla="*/ 21 w 376"/>
                <a:gd name="T97" fmla="*/ 131 h 252"/>
                <a:gd name="T98" fmla="*/ 26 w 376"/>
                <a:gd name="T99" fmla="*/ 117 h 252"/>
                <a:gd name="T100" fmla="*/ 31 w 376"/>
                <a:gd name="T101" fmla="*/ 98 h 252"/>
                <a:gd name="T102" fmla="*/ 45 w 376"/>
                <a:gd name="T103" fmla="*/ 99 h 252"/>
                <a:gd name="T104" fmla="*/ 60 w 376"/>
                <a:gd name="T105" fmla="*/ 102 h 252"/>
                <a:gd name="T106" fmla="*/ 69 w 376"/>
                <a:gd name="T107" fmla="*/ 85 h 252"/>
                <a:gd name="T108" fmla="*/ 92 w 376"/>
                <a:gd name="T109" fmla="*/ 80 h 252"/>
                <a:gd name="T110" fmla="*/ 117 w 376"/>
                <a:gd name="T111" fmla="*/ 91 h 252"/>
                <a:gd name="T112" fmla="*/ 134 w 376"/>
                <a:gd name="T113" fmla="*/ 86 h 252"/>
                <a:gd name="T114" fmla="*/ 153 w 376"/>
                <a:gd name="T115" fmla="*/ 69 h 252"/>
                <a:gd name="T116" fmla="*/ 179 w 376"/>
                <a:gd name="T117" fmla="*/ 72 h 252"/>
                <a:gd name="T118" fmla="*/ 191 w 376"/>
                <a:gd name="T119" fmla="*/ 67 h 252"/>
                <a:gd name="T120" fmla="*/ 194 w 376"/>
                <a:gd name="T121" fmla="*/ 37 h 252"/>
                <a:gd name="T122" fmla="*/ 193 w 376"/>
                <a:gd name="T123" fmla="*/ 19 h 252"/>
                <a:gd name="T124" fmla="*/ 185 w 376"/>
                <a:gd name="T125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6" h="252">
                  <a:moveTo>
                    <a:pt x="198" y="0"/>
                  </a:moveTo>
                  <a:lnTo>
                    <a:pt x="198" y="0"/>
                  </a:lnTo>
                  <a:lnTo>
                    <a:pt x="201" y="1"/>
                  </a:lnTo>
                  <a:lnTo>
                    <a:pt x="201" y="2"/>
                  </a:lnTo>
                  <a:lnTo>
                    <a:pt x="202" y="2"/>
                  </a:lnTo>
                  <a:lnTo>
                    <a:pt x="203" y="2"/>
                  </a:lnTo>
                  <a:lnTo>
                    <a:pt x="204" y="3"/>
                  </a:lnTo>
                  <a:lnTo>
                    <a:pt x="205" y="3"/>
                  </a:lnTo>
                  <a:lnTo>
                    <a:pt x="205" y="3"/>
                  </a:lnTo>
                  <a:lnTo>
                    <a:pt x="206" y="3"/>
                  </a:lnTo>
                  <a:lnTo>
                    <a:pt x="206" y="3"/>
                  </a:lnTo>
                  <a:lnTo>
                    <a:pt x="207" y="2"/>
                  </a:lnTo>
                  <a:lnTo>
                    <a:pt x="209" y="2"/>
                  </a:lnTo>
                  <a:lnTo>
                    <a:pt x="209" y="2"/>
                  </a:lnTo>
                  <a:lnTo>
                    <a:pt x="210" y="2"/>
                  </a:lnTo>
                  <a:lnTo>
                    <a:pt x="211" y="2"/>
                  </a:lnTo>
                  <a:lnTo>
                    <a:pt x="212" y="2"/>
                  </a:lnTo>
                  <a:lnTo>
                    <a:pt x="213" y="2"/>
                  </a:lnTo>
                  <a:lnTo>
                    <a:pt x="217" y="4"/>
                  </a:lnTo>
                  <a:lnTo>
                    <a:pt x="219" y="5"/>
                  </a:lnTo>
                  <a:lnTo>
                    <a:pt x="220" y="5"/>
                  </a:lnTo>
                  <a:lnTo>
                    <a:pt x="220" y="5"/>
                  </a:lnTo>
                  <a:lnTo>
                    <a:pt x="221" y="6"/>
                  </a:lnTo>
                  <a:lnTo>
                    <a:pt x="221" y="6"/>
                  </a:lnTo>
                  <a:lnTo>
                    <a:pt x="221" y="7"/>
                  </a:lnTo>
                  <a:lnTo>
                    <a:pt x="221" y="7"/>
                  </a:lnTo>
                  <a:lnTo>
                    <a:pt x="221" y="9"/>
                  </a:lnTo>
                  <a:lnTo>
                    <a:pt x="221" y="10"/>
                  </a:lnTo>
                  <a:lnTo>
                    <a:pt x="222" y="11"/>
                  </a:lnTo>
                  <a:lnTo>
                    <a:pt x="222" y="11"/>
                  </a:lnTo>
                  <a:lnTo>
                    <a:pt x="223" y="12"/>
                  </a:lnTo>
                  <a:lnTo>
                    <a:pt x="223" y="13"/>
                  </a:lnTo>
                  <a:lnTo>
                    <a:pt x="224" y="13"/>
                  </a:lnTo>
                  <a:lnTo>
                    <a:pt x="225" y="13"/>
                  </a:lnTo>
                  <a:lnTo>
                    <a:pt x="226" y="13"/>
                  </a:lnTo>
                  <a:lnTo>
                    <a:pt x="226" y="14"/>
                  </a:lnTo>
                  <a:lnTo>
                    <a:pt x="227" y="14"/>
                  </a:lnTo>
                  <a:lnTo>
                    <a:pt x="228" y="14"/>
                  </a:lnTo>
                  <a:lnTo>
                    <a:pt x="229" y="13"/>
                  </a:lnTo>
                  <a:lnTo>
                    <a:pt x="229" y="13"/>
                  </a:lnTo>
                  <a:lnTo>
                    <a:pt x="230" y="13"/>
                  </a:lnTo>
                  <a:lnTo>
                    <a:pt x="230" y="13"/>
                  </a:lnTo>
                  <a:lnTo>
                    <a:pt x="230" y="12"/>
                  </a:lnTo>
                  <a:lnTo>
                    <a:pt x="231" y="12"/>
                  </a:lnTo>
                  <a:lnTo>
                    <a:pt x="231" y="11"/>
                  </a:lnTo>
                  <a:lnTo>
                    <a:pt x="232" y="10"/>
                  </a:lnTo>
                  <a:lnTo>
                    <a:pt x="233" y="8"/>
                  </a:lnTo>
                  <a:lnTo>
                    <a:pt x="234" y="7"/>
                  </a:lnTo>
                  <a:lnTo>
                    <a:pt x="235" y="6"/>
                  </a:lnTo>
                  <a:lnTo>
                    <a:pt x="235" y="6"/>
                  </a:lnTo>
                  <a:lnTo>
                    <a:pt x="235" y="5"/>
                  </a:lnTo>
                  <a:lnTo>
                    <a:pt x="236" y="5"/>
                  </a:lnTo>
                  <a:lnTo>
                    <a:pt x="237" y="5"/>
                  </a:lnTo>
                  <a:lnTo>
                    <a:pt x="237" y="5"/>
                  </a:lnTo>
                  <a:lnTo>
                    <a:pt x="238" y="5"/>
                  </a:lnTo>
                  <a:lnTo>
                    <a:pt x="238" y="4"/>
                  </a:lnTo>
                  <a:lnTo>
                    <a:pt x="239" y="4"/>
                  </a:lnTo>
                  <a:lnTo>
                    <a:pt x="239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1" y="6"/>
                  </a:lnTo>
                  <a:lnTo>
                    <a:pt x="241" y="6"/>
                  </a:lnTo>
                  <a:lnTo>
                    <a:pt x="242" y="8"/>
                  </a:lnTo>
                  <a:lnTo>
                    <a:pt x="242" y="9"/>
                  </a:lnTo>
                  <a:lnTo>
                    <a:pt x="243" y="12"/>
                  </a:lnTo>
                  <a:lnTo>
                    <a:pt x="243" y="13"/>
                  </a:lnTo>
                  <a:lnTo>
                    <a:pt x="244" y="14"/>
                  </a:lnTo>
                  <a:lnTo>
                    <a:pt x="244" y="15"/>
                  </a:lnTo>
                  <a:lnTo>
                    <a:pt x="245" y="15"/>
                  </a:lnTo>
                  <a:lnTo>
                    <a:pt x="245" y="16"/>
                  </a:lnTo>
                  <a:lnTo>
                    <a:pt x="246" y="16"/>
                  </a:lnTo>
                  <a:lnTo>
                    <a:pt x="247" y="16"/>
                  </a:lnTo>
                  <a:lnTo>
                    <a:pt x="247" y="16"/>
                  </a:lnTo>
                  <a:lnTo>
                    <a:pt x="248" y="16"/>
                  </a:lnTo>
                  <a:lnTo>
                    <a:pt x="248" y="16"/>
                  </a:lnTo>
                  <a:lnTo>
                    <a:pt x="249" y="16"/>
                  </a:lnTo>
                  <a:lnTo>
                    <a:pt x="251" y="15"/>
                  </a:lnTo>
                  <a:lnTo>
                    <a:pt x="253" y="14"/>
                  </a:lnTo>
                  <a:lnTo>
                    <a:pt x="255" y="13"/>
                  </a:lnTo>
                  <a:lnTo>
                    <a:pt x="256" y="13"/>
                  </a:lnTo>
                  <a:lnTo>
                    <a:pt x="257" y="13"/>
                  </a:lnTo>
                  <a:lnTo>
                    <a:pt x="258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60" y="13"/>
                  </a:lnTo>
                  <a:lnTo>
                    <a:pt x="260" y="13"/>
                  </a:lnTo>
                  <a:lnTo>
                    <a:pt x="261" y="14"/>
                  </a:lnTo>
                  <a:lnTo>
                    <a:pt x="261" y="14"/>
                  </a:lnTo>
                  <a:lnTo>
                    <a:pt x="263" y="16"/>
                  </a:lnTo>
                  <a:lnTo>
                    <a:pt x="264" y="17"/>
                  </a:lnTo>
                  <a:lnTo>
                    <a:pt x="265" y="18"/>
                  </a:lnTo>
                  <a:lnTo>
                    <a:pt x="268" y="19"/>
                  </a:lnTo>
                  <a:lnTo>
                    <a:pt x="269" y="20"/>
                  </a:lnTo>
                  <a:lnTo>
                    <a:pt x="269" y="21"/>
                  </a:lnTo>
                  <a:lnTo>
                    <a:pt x="270" y="21"/>
                  </a:lnTo>
                  <a:lnTo>
                    <a:pt x="271" y="22"/>
                  </a:lnTo>
                  <a:lnTo>
                    <a:pt x="271" y="23"/>
                  </a:lnTo>
                  <a:lnTo>
                    <a:pt x="272" y="24"/>
                  </a:lnTo>
                  <a:lnTo>
                    <a:pt x="274" y="28"/>
                  </a:lnTo>
                  <a:lnTo>
                    <a:pt x="274" y="29"/>
                  </a:lnTo>
                  <a:lnTo>
                    <a:pt x="274" y="31"/>
                  </a:lnTo>
                  <a:lnTo>
                    <a:pt x="274" y="32"/>
                  </a:lnTo>
                  <a:lnTo>
                    <a:pt x="274" y="33"/>
                  </a:lnTo>
                  <a:lnTo>
                    <a:pt x="274" y="34"/>
                  </a:lnTo>
                  <a:lnTo>
                    <a:pt x="274" y="34"/>
                  </a:lnTo>
                  <a:lnTo>
                    <a:pt x="274" y="35"/>
                  </a:lnTo>
                  <a:lnTo>
                    <a:pt x="272" y="40"/>
                  </a:lnTo>
                  <a:lnTo>
                    <a:pt x="271" y="41"/>
                  </a:lnTo>
                  <a:lnTo>
                    <a:pt x="271" y="43"/>
                  </a:lnTo>
                  <a:lnTo>
                    <a:pt x="271" y="44"/>
                  </a:lnTo>
                  <a:lnTo>
                    <a:pt x="271" y="45"/>
                  </a:lnTo>
                  <a:lnTo>
                    <a:pt x="271" y="47"/>
                  </a:lnTo>
                  <a:lnTo>
                    <a:pt x="271" y="48"/>
                  </a:lnTo>
                  <a:lnTo>
                    <a:pt x="271" y="50"/>
                  </a:lnTo>
                  <a:lnTo>
                    <a:pt x="271" y="52"/>
                  </a:lnTo>
                  <a:lnTo>
                    <a:pt x="272" y="53"/>
                  </a:lnTo>
                  <a:lnTo>
                    <a:pt x="272" y="55"/>
                  </a:lnTo>
                  <a:lnTo>
                    <a:pt x="273" y="57"/>
                  </a:lnTo>
                  <a:lnTo>
                    <a:pt x="273" y="59"/>
                  </a:lnTo>
                  <a:lnTo>
                    <a:pt x="274" y="60"/>
                  </a:lnTo>
                  <a:lnTo>
                    <a:pt x="274" y="62"/>
                  </a:lnTo>
                  <a:lnTo>
                    <a:pt x="275" y="64"/>
                  </a:lnTo>
                  <a:lnTo>
                    <a:pt x="277" y="66"/>
                  </a:lnTo>
                  <a:lnTo>
                    <a:pt x="278" y="67"/>
                  </a:lnTo>
                  <a:lnTo>
                    <a:pt x="279" y="69"/>
                  </a:lnTo>
                  <a:lnTo>
                    <a:pt x="280" y="70"/>
                  </a:lnTo>
                  <a:lnTo>
                    <a:pt x="281" y="71"/>
                  </a:lnTo>
                  <a:lnTo>
                    <a:pt x="282" y="72"/>
                  </a:lnTo>
                  <a:lnTo>
                    <a:pt x="282" y="73"/>
                  </a:lnTo>
                  <a:lnTo>
                    <a:pt x="283" y="73"/>
                  </a:lnTo>
                  <a:lnTo>
                    <a:pt x="284" y="74"/>
                  </a:lnTo>
                  <a:lnTo>
                    <a:pt x="285" y="74"/>
                  </a:lnTo>
                  <a:lnTo>
                    <a:pt x="286" y="75"/>
                  </a:lnTo>
                  <a:lnTo>
                    <a:pt x="287" y="76"/>
                  </a:lnTo>
                  <a:lnTo>
                    <a:pt x="291" y="77"/>
                  </a:lnTo>
                  <a:lnTo>
                    <a:pt x="292" y="78"/>
                  </a:lnTo>
                  <a:lnTo>
                    <a:pt x="293" y="78"/>
                  </a:lnTo>
                  <a:lnTo>
                    <a:pt x="294" y="79"/>
                  </a:lnTo>
                  <a:lnTo>
                    <a:pt x="295" y="80"/>
                  </a:lnTo>
                  <a:lnTo>
                    <a:pt x="296" y="81"/>
                  </a:lnTo>
                  <a:lnTo>
                    <a:pt x="297" y="83"/>
                  </a:lnTo>
                  <a:lnTo>
                    <a:pt x="298" y="85"/>
                  </a:lnTo>
                  <a:lnTo>
                    <a:pt x="299" y="86"/>
                  </a:lnTo>
                  <a:lnTo>
                    <a:pt x="299" y="88"/>
                  </a:lnTo>
                  <a:lnTo>
                    <a:pt x="300" y="90"/>
                  </a:lnTo>
                  <a:lnTo>
                    <a:pt x="300" y="92"/>
                  </a:lnTo>
                  <a:lnTo>
                    <a:pt x="300" y="94"/>
                  </a:lnTo>
                  <a:lnTo>
                    <a:pt x="300" y="97"/>
                  </a:lnTo>
                  <a:lnTo>
                    <a:pt x="300" y="102"/>
                  </a:lnTo>
                  <a:lnTo>
                    <a:pt x="300" y="102"/>
                  </a:lnTo>
                  <a:lnTo>
                    <a:pt x="300" y="104"/>
                  </a:lnTo>
                  <a:lnTo>
                    <a:pt x="301" y="106"/>
                  </a:lnTo>
                  <a:lnTo>
                    <a:pt x="301" y="107"/>
                  </a:lnTo>
                  <a:lnTo>
                    <a:pt x="301" y="108"/>
                  </a:lnTo>
                  <a:lnTo>
                    <a:pt x="302" y="109"/>
                  </a:lnTo>
                  <a:lnTo>
                    <a:pt x="302" y="109"/>
                  </a:lnTo>
                  <a:lnTo>
                    <a:pt x="302" y="110"/>
                  </a:lnTo>
                  <a:lnTo>
                    <a:pt x="302" y="110"/>
                  </a:lnTo>
                  <a:lnTo>
                    <a:pt x="303" y="110"/>
                  </a:lnTo>
                  <a:lnTo>
                    <a:pt x="303" y="111"/>
                  </a:lnTo>
                  <a:lnTo>
                    <a:pt x="304" y="111"/>
                  </a:lnTo>
                  <a:lnTo>
                    <a:pt x="305" y="111"/>
                  </a:lnTo>
                  <a:lnTo>
                    <a:pt x="305" y="111"/>
                  </a:lnTo>
                  <a:lnTo>
                    <a:pt x="306" y="111"/>
                  </a:lnTo>
                  <a:lnTo>
                    <a:pt x="307" y="111"/>
                  </a:lnTo>
                  <a:lnTo>
                    <a:pt x="307" y="111"/>
                  </a:lnTo>
                  <a:lnTo>
                    <a:pt x="308" y="110"/>
                  </a:lnTo>
                  <a:lnTo>
                    <a:pt x="308" y="110"/>
                  </a:lnTo>
                  <a:lnTo>
                    <a:pt x="309" y="109"/>
                  </a:lnTo>
                  <a:lnTo>
                    <a:pt x="310" y="109"/>
                  </a:lnTo>
                  <a:lnTo>
                    <a:pt x="311" y="107"/>
                  </a:lnTo>
                  <a:lnTo>
                    <a:pt x="314" y="104"/>
                  </a:lnTo>
                  <a:lnTo>
                    <a:pt x="316" y="103"/>
                  </a:lnTo>
                  <a:lnTo>
                    <a:pt x="317" y="102"/>
                  </a:lnTo>
                  <a:lnTo>
                    <a:pt x="317" y="102"/>
                  </a:lnTo>
                  <a:lnTo>
                    <a:pt x="318" y="101"/>
                  </a:lnTo>
                  <a:lnTo>
                    <a:pt x="318" y="101"/>
                  </a:lnTo>
                  <a:lnTo>
                    <a:pt x="319" y="101"/>
                  </a:lnTo>
                  <a:lnTo>
                    <a:pt x="320" y="101"/>
                  </a:lnTo>
                  <a:lnTo>
                    <a:pt x="320" y="101"/>
                  </a:lnTo>
                  <a:lnTo>
                    <a:pt x="321" y="101"/>
                  </a:lnTo>
                  <a:lnTo>
                    <a:pt x="322" y="101"/>
                  </a:lnTo>
                  <a:lnTo>
                    <a:pt x="322" y="101"/>
                  </a:lnTo>
                  <a:lnTo>
                    <a:pt x="324" y="101"/>
                  </a:lnTo>
                  <a:lnTo>
                    <a:pt x="326" y="102"/>
                  </a:lnTo>
                  <a:lnTo>
                    <a:pt x="327" y="102"/>
                  </a:lnTo>
                  <a:lnTo>
                    <a:pt x="329" y="103"/>
                  </a:lnTo>
                  <a:lnTo>
                    <a:pt x="332" y="105"/>
                  </a:lnTo>
                  <a:lnTo>
                    <a:pt x="334" y="106"/>
                  </a:lnTo>
                  <a:lnTo>
                    <a:pt x="337" y="107"/>
                  </a:lnTo>
                  <a:lnTo>
                    <a:pt x="341" y="108"/>
                  </a:lnTo>
                  <a:lnTo>
                    <a:pt x="342" y="109"/>
                  </a:lnTo>
                  <a:lnTo>
                    <a:pt x="344" y="110"/>
                  </a:lnTo>
                  <a:lnTo>
                    <a:pt x="347" y="111"/>
                  </a:lnTo>
                  <a:lnTo>
                    <a:pt x="347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3"/>
                  </a:lnTo>
                  <a:lnTo>
                    <a:pt x="349" y="114"/>
                  </a:lnTo>
                  <a:lnTo>
                    <a:pt x="349" y="115"/>
                  </a:lnTo>
                  <a:lnTo>
                    <a:pt x="349" y="116"/>
                  </a:lnTo>
                  <a:lnTo>
                    <a:pt x="350" y="117"/>
                  </a:lnTo>
                  <a:lnTo>
                    <a:pt x="351" y="119"/>
                  </a:lnTo>
                  <a:lnTo>
                    <a:pt x="352" y="121"/>
                  </a:lnTo>
                  <a:lnTo>
                    <a:pt x="353" y="122"/>
                  </a:lnTo>
                  <a:lnTo>
                    <a:pt x="355" y="126"/>
                  </a:lnTo>
                  <a:lnTo>
                    <a:pt x="356" y="127"/>
                  </a:lnTo>
                  <a:lnTo>
                    <a:pt x="357" y="129"/>
                  </a:lnTo>
                  <a:lnTo>
                    <a:pt x="357" y="130"/>
                  </a:lnTo>
                  <a:lnTo>
                    <a:pt x="357" y="131"/>
                  </a:lnTo>
                  <a:lnTo>
                    <a:pt x="358" y="131"/>
                  </a:lnTo>
                  <a:lnTo>
                    <a:pt x="358" y="133"/>
                  </a:lnTo>
                  <a:lnTo>
                    <a:pt x="358" y="134"/>
                  </a:lnTo>
                  <a:lnTo>
                    <a:pt x="358" y="136"/>
                  </a:lnTo>
                  <a:lnTo>
                    <a:pt x="357" y="140"/>
                  </a:lnTo>
                  <a:lnTo>
                    <a:pt x="357" y="141"/>
                  </a:lnTo>
                  <a:lnTo>
                    <a:pt x="357" y="142"/>
                  </a:lnTo>
                  <a:lnTo>
                    <a:pt x="357" y="147"/>
                  </a:lnTo>
                  <a:lnTo>
                    <a:pt x="357" y="154"/>
                  </a:lnTo>
                  <a:lnTo>
                    <a:pt x="358" y="156"/>
                  </a:lnTo>
                  <a:lnTo>
                    <a:pt x="358" y="157"/>
                  </a:lnTo>
                  <a:lnTo>
                    <a:pt x="358" y="159"/>
                  </a:lnTo>
                  <a:lnTo>
                    <a:pt x="359" y="162"/>
                  </a:lnTo>
                  <a:lnTo>
                    <a:pt x="359" y="165"/>
                  </a:lnTo>
                  <a:lnTo>
                    <a:pt x="360" y="168"/>
                  </a:lnTo>
                  <a:lnTo>
                    <a:pt x="361" y="170"/>
                  </a:lnTo>
                  <a:lnTo>
                    <a:pt x="361" y="170"/>
                  </a:lnTo>
                  <a:lnTo>
                    <a:pt x="361" y="171"/>
                  </a:lnTo>
                  <a:lnTo>
                    <a:pt x="361" y="174"/>
                  </a:lnTo>
                  <a:lnTo>
                    <a:pt x="361" y="175"/>
                  </a:lnTo>
                  <a:lnTo>
                    <a:pt x="361" y="176"/>
                  </a:lnTo>
                  <a:lnTo>
                    <a:pt x="361" y="177"/>
                  </a:lnTo>
                  <a:lnTo>
                    <a:pt x="361" y="178"/>
                  </a:lnTo>
                  <a:lnTo>
                    <a:pt x="361" y="178"/>
                  </a:lnTo>
                  <a:lnTo>
                    <a:pt x="363" y="183"/>
                  </a:lnTo>
                  <a:lnTo>
                    <a:pt x="365" y="185"/>
                  </a:lnTo>
                  <a:lnTo>
                    <a:pt x="365" y="186"/>
                  </a:lnTo>
                  <a:lnTo>
                    <a:pt x="365" y="187"/>
                  </a:lnTo>
                  <a:lnTo>
                    <a:pt x="365" y="187"/>
                  </a:lnTo>
                  <a:lnTo>
                    <a:pt x="366" y="188"/>
                  </a:lnTo>
                  <a:lnTo>
                    <a:pt x="366" y="189"/>
                  </a:lnTo>
                  <a:lnTo>
                    <a:pt x="366" y="189"/>
                  </a:lnTo>
                  <a:lnTo>
                    <a:pt x="365" y="190"/>
                  </a:lnTo>
                  <a:lnTo>
                    <a:pt x="365" y="191"/>
                  </a:lnTo>
                  <a:lnTo>
                    <a:pt x="364" y="195"/>
                  </a:lnTo>
                  <a:lnTo>
                    <a:pt x="363" y="197"/>
                  </a:lnTo>
                  <a:lnTo>
                    <a:pt x="363" y="199"/>
                  </a:lnTo>
                  <a:lnTo>
                    <a:pt x="363" y="200"/>
                  </a:lnTo>
                  <a:lnTo>
                    <a:pt x="362" y="201"/>
                  </a:lnTo>
                  <a:lnTo>
                    <a:pt x="363" y="202"/>
                  </a:lnTo>
                  <a:lnTo>
                    <a:pt x="363" y="203"/>
                  </a:lnTo>
                  <a:lnTo>
                    <a:pt x="363" y="204"/>
                  </a:lnTo>
                  <a:lnTo>
                    <a:pt x="363" y="204"/>
                  </a:lnTo>
                  <a:lnTo>
                    <a:pt x="365" y="207"/>
                  </a:lnTo>
                  <a:lnTo>
                    <a:pt x="366" y="210"/>
                  </a:lnTo>
                  <a:lnTo>
                    <a:pt x="368" y="214"/>
                  </a:lnTo>
                  <a:lnTo>
                    <a:pt x="368" y="214"/>
                  </a:lnTo>
                  <a:lnTo>
                    <a:pt x="370" y="216"/>
                  </a:lnTo>
                  <a:lnTo>
                    <a:pt x="372" y="220"/>
                  </a:lnTo>
                  <a:lnTo>
                    <a:pt x="374" y="222"/>
                  </a:lnTo>
                  <a:lnTo>
                    <a:pt x="374" y="223"/>
                  </a:lnTo>
                  <a:lnTo>
                    <a:pt x="375" y="224"/>
                  </a:lnTo>
                  <a:lnTo>
                    <a:pt x="375" y="224"/>
                  </a:lnTo>
                  <a:lnTo>
                    <a:pt x="375" y="225"/>
                  </a:lnTo>
                  <a:lnTo>
                    <a:pt x="376" y="226"/>
                  </a:lnTo>
                  <a:lnTo>
                    <a:pt x="376" y="227"/>
                  </a:lnTo>
                  <a:lnTo>
                    <a:pt x="376" y="228"/>
                  </a:lnTo>
                  <a:lnTo>
                    <a:pt x="375" y="228"/>
                  </a:lnTo>
                  <a:lnTo>
                    <a:pt x="375" y="229"/>
                  </a:lnTo>
                  <a:lnTo>
                    <a:pt x="375" y="229"/>
                  </a:lnTo>
                  <a:lnTo>
                    <a:pt x="374" y="229"/>
                  </a:lnTo>
                  <a:lnTo>
                    <a:pt x="374" y="230"/>
                  </a:lnTo>
                  <a:lnTo>
                    <a:pt x="373" y="230"/>
                  </a:lnTo>
                  <a:lnTo>
                    <a:pt x="372" y="231"/>
                  </a:lnTo>
                  <a:lnTo>
                    <a:pt x="371" y="231"/>
                  </a:lnTo>
                  <a:lnTo>
                    <a:pt x="369" y="232"/>
                  </a:lnTo>
                  <a:lnTo>
                    <a:pt x="368" y="232"/>
                  </a:lnTo>
                  <a:lnTo>
                    <a:pt x="367" y="232"/>
                  </a:lnTo>
                  <a:lnTo>
                    <a:pt x="365" y="232"/>
                  </a:lnTo>
                  <a:lnTo>
                    <a:pt x="365" y="232"/>
                  </a:lnTo>
                  <a:lnTo>
                    <a:pt x="364" y="232"/>
                  </a:lnTo>
                  <a:lnTo>
                    <a:pt x="364" y="232"/>
                  </a:lnTo>
                  <a:lnTo>
                    <a:pt x="362" y="232"/>
                  </a:lnTo>
                  <a:lnTo>
                    <a:pt x="361" y="231"/>
                  </a:lnTo>
                  <a:lnTo>
                    <a:pt x="359" y="231"/>
                  </a:lnTo>
                  <a:lnTo>
                    <a:pt x="358" y="231"/>
                  </a:lnTo>
                  <a:lnTo>
                    <a:pt x="357" y="231"/>
                  </a:lnTo>
                  <a:lnTo>
                    <a:pt x="356" y="231"/>
                  </a:lnTo>
                  <a:lnTo>
                    <a:pt x="355" y="232"/>
                  </a:lnTo>
                  <a:lnTo>
                    <a:pt x="352" y="232"/>
                  </a:lnTo>
                  <a:lnTo>
                    <a:pt x="351" y="233"/>
                  </a:lnTo>
                  <a:lnTo>
                    <a:pt x="350" y="233"/>
                  </a:lnTo>
                  <a:lnTo>
                    <a:pt x="350" y="233"/>
                  </a:lnTo>
                  <a:lnTo>
                    <a:pt x="349" y="233"/>
                  </a:lnTo>
                  <a:lnTo>
                    <a:pt x="348" y="233"/>
                  </a:lnTo>
                  <a:lnTo>
                    <a:pt x="347" y="232"/>
                  </a:lnTo>
                  <a:lnTo>
                    <a:pt x="346" y="232"/>
                  </a:lnTo>
                  <a:lnTo>
                    <a:pt x="345" y="231"/>
                  </a:lnTo>
                  <a:lnTo>
                    <a:pt x="343" y="231"/>
                  </a:lnTo>
                  <a:lnTo>
                    <a:pt x="343" y="230"/>
                  </a:lnTo>
                  <a:lnTo>
                    <a:pt x="342" y="229"/>
                  </a:lnTo>
                  <a:lnTo>
                    <a:pt x="341" y="229"/>
                  </a:lnTo>
                  <a:lnTo>
                    <a:pt x="340" y="228"/>
                  </a:lnTo>
                  <a:lnTo>
                    <a:pt x="339" y="226"/>
                  </a:lnTo>
                  <a:lnTo>
                    <a:pt x="337" y="224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6" y="222"/>
                  </a:lnTo>
                  <a:lnTo>
                    <a:pt x="335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3" y="222"/>
                  </a:lnTo>
                  <a:lnTo>
                    <a:pt x="333" y="222"/>
                  </a:lnTo>
                  <a:lnTo>
                    <a:pt x="332" y="223"/>
                  </a:lnTo>
                  <a:lnTo>
                    <a:pt x="332" y="224"/>
                  </a:lnTo>
                  <a:lnTo>
                    <a:pt x="331" y="224"/>
                  </a:lnTo>
                  <a:lnTo>
                    <a:pt x="329" y="226"/>
                  </a:lnTo>
                  <a:lnTo>
                    <a:pt x="327" y="228"/>
                  </a:lnTo>
                  <a:lnTo>
                    <a:pt x="325" y="230"/>
                  </a:lnTo>
                  <a:lnTo>
                    <a:pt x="324" y="230"/>
                  </a:lnTo>
                  <a:lnTo>
                    <a:pt x="323" y="231"/>
                  </a:lnTo>
                  <a:lnTo>
                    <a:pt x="323" y="232"/>
                  </a:lnTo>
                  <a:lnTo>
                    <a:pt x="322" y="233"/>
                  </a:lnTo>
                  <a:lnTo>
                    <a:pt x="322" y="233"/>
                  </a:lnTo>
                  <a:lnTo>
                    <a:pt x="322" y="234"/>
                  </a:lnTo>
                  <a:lnTo>
                    <a:pt x="322" y="235"/>
                  </a:lnTo>
                  <a:lnTo>
                    <a:pt x="322" y="236"/>
                  </a:lnTo>
                  <a:lnTo>
                    <a:pt x="322" y="237"/>
                  </a:lnTo>
                  <a:lnTo>
                    <a:pt x="323" y="240"/>
                  </a:lnTo>
                  <a:lnTo>
                    <a:pt x="323" y="241"/>
                  </a:lnTo>
                  <a:lnTo>
                    <a:pt x="323" y="241"/>
                  </a:lnTo>
                  <a:lnTo>
                    <a:pt x="323" y="242"/>
                  </a:lnTo>
                  <a:lnTo>
                    <a:pt x="322" y="243"/>
                  </a:lnTo>
                  <a:lnTo>
                    <a:pt x="322" y="244"/>
                  </a:lnTo>
                  <a:lnTo>
                    <a:pt x="321" y="245"/>
                  </a:lnTo>
                  <a:lnTo>
                    <a:pt x="321" y="245"/>
                  </a:lnTo>
                  <a:lnTo>
                    <a:pt x="321" y="246"/>
                  </a:lnTo>
                  <a:lnTo>
                    <a:pt x="318" y="247"/>
                  </a:lnTo>
                  <a:lnTo>
                    <a:pt x="318" y="247"/>
                  </a:lnTo>
                  <a:lnTo>
                    <a:pt x="317" y="248"/>
                  </a:lnTo>
                  <a:lnTo>
                    <a:pt x="316" y="248"/>
                  </a:lnTo>
                  <a:lnTo>
                    <a:pt x="315" y="249"/>
                  </a:lnTo>
                  <a:lnTo>
                    <a:pt x="314" y="249"/>
                  </a:lnTo>
                  <a:lnTo>
                    <a:pt x="313" y="249"/>
                  </a:lnTo>
                  <a:lnTo>
                    <a:pt x="312" y="249"/>
                  </a:lnTo>
                  <a:lnTo>
                    <a:pt x="311" y="249"/>
                  </a:lnTo>
                  <a:lnTo>
                    <a:pt x="310" y="249"/>
                  </a:lnTo>
                  <a:lnTo>
                    <a:pt x="310" y="249"/>
                  </a:lnTo>
                  <a:lnTo>
                    <a:pt x="309" y="249"/>
                  </a:lnTo>
                  <a:lnTo>
                    <a:pt x="308" y="249"/>
                  </a:lnTo>
                  <a:lnTo>
                    <a:pt x="308" y="248"/>
                  </a:lnTo>
                  <a:lnTo>
                    <a:pt x="308" y="248"/>
                  </a:lnTo>
                  <a:lnTo>
                    <a:pt x="307" y="248"/>
                  </a:lnTo>
                  <a:lnTo>
                    <a:pt x="306" y="247"/>
                  </a:lnTo>
                  <a:lnTo>
                    <a:pt x="306" y="246"/>
                  </a:lnTo>
                  <a:lnTo>
                    <a:pt x="306" y="246"/>
                  </a:lnTo>
                  <a:lnTo>
                    <a:pt x="305" y="245"/>
                  </a:lnTo>
                  <a:lnTo>
                    <a:pt x="305" y="244"/>
                  </a:lnTo>
                  <a:lnTo>
                    <a:pt x="305" y="243"/>
                  </a:lnTo>
                  <a:lnTo>
                    <a:pt x="304" y="242"/>
                  </a:lnTo>
                  <a:lnTo>
                    <a:pt x="304" y="242"/>
                  </a:lnTo>
                  <a:lnTo>
                    <a:pt x="304" y="241"/>
                  </a:lnTo>
                  <a:lnTo>
                    <a:pt x="303" y="241"/>
                  </a:lnTo>
                  <a:lnTo>
                    <a:pt x="303" y="241"/>
                  </a:lnTo>
                  <a:lnTo>
                    <a:pt x="303" y="240"/>
                  </a:lnTo>
                  <a:lnTo>
                    <a:pt x="302" y="240"/>
                  </a:lnTo>
                  <a:lnTo>
                    <a:pt x="300" y="241"/>
                  </a:lnTo>
                  <a:lnTo>
                    <a:pt x="299" y="241"/>
                  </a:lnTo>
                  <a:lnTo>
                    <a:pt x="299" y="241"/>
                  </a:lnTo>
                  <a:lnTo>
                    <a:pt x="298" y="240"/>
                  </a:lnTo>
                  <a:lnTo>
                    <a:pt x="296" y="240"/>
                  </a:lnTo>
                  <a:lnTo>
                    <a:pt x="294" y="239"/>
                  </a:lnTo>
                  <a:lnTo>
                    <a:pt x="293" y="238"/>
                  </a:lnTo>
                  <a:lnTo>
                    <a:pt x="291" y="237"/>
                  </a:lnTo>
                  <a:lnTo>
                    <a:pt x="290" y="236"/>
                  </a:lnTo>
                  <a:lnTo>
                    <a:pt x="289" y="236"/>
                  </a:lnTo>
                  <a:lnTo>
                    <a:pt x="288" y="236"/>
                  </a:lnTo>
                  <a:lnTo>
                    <a:pt x="287" y="235"/>
                  </a:lnTo>
                  <a:lnTo>
                    <a:pt x="286" y="235"/>
                  </a:lnTo>
                  <a:lnTo>
                    <a:pt x="284" y="235"/>
                  </a:lnTo>
                  <a:lnTo>
                    <a:pt x="283" y="234"/>
                  </a:lnTo>
                  <a:lnTo>
                    <a:pt x="281" y="234"/>
                  </a:lnTo>
                  <a:lnTo>
                    <a:pt x="279" y="233"/>
                  </a:lnTo>
                  <a:lnTo>
                    <a:pt x="278" y="232"/>
                  </a:lnTo>
                  <a:lnTo>
                    <a:pt x="277" y="232"/>
                  </a:lnTo>
                  <a:lnTo>
                    <a:pt x="276" y="231"/>
                  </a:lnTo>
                  <a:lnTo>
                    <a:pt x="275" y="231"/>
                  </a:lnTo>
                  <a:lnTo>
                    <a:pt x="274" y="231"/>
                  </a:lnTo>
                  <a:lnTo>
                    <a:pt x="273" y="231"/>
                  </a:lnTo>
                  <a:lnTo>
                    <a:pt x="272" y="231"/>
                  </a:lnTo>
                  <a:lnTo>
                    <a:pt x="271" y="231"/>
                  </a:lnTo>
                  <a:lnTo>
                    <a:pt x="271" y="231"/>
                  </a:lnTo>
                  <a:lnTo>
                    <a:pt x="270" y="232"/>
                  </a:lnTo>
                  <a:lnTo>
                    <a:pt x="270" y="232"/>
                  </a:lnTo>
                  <a:lnTo>
                    <a:pt x="269" y="232"/>
                  </a:lnTo>
                  <a:lnTo>
                    <a:pt x="269" y="233"/>
                  </a:lnTo>
                  <a:lnTo>
                    <a:pt x="268" y="233"/>
                  </a:lnTo>
                  <a:lnTo>
                    <a:pt x="267" y="234"/>
                  </a:lnTo>
                  <a:lnTo>
                    <a:pt x="265" y="236"/>
                  </a:lnTo>
                  <a:lnTo>
                    <a:pt x="263" y="239"/>
                  </a:lnTo>
                  <a:lnTo>
                    <a:pt x="262" y="240"/>
                  </a:lnTo>
                  <a:lnTo>
                    <a:pt x="261" y="241"/>
                  </a:lnTo>
                  <a:lnTo>
                    <a:pt x="261" y="241"/>
                  </a:lnTo>
                  <a:lnTo>
                    <a:pt x="260" y="242"/>
                  </a:lnTo>
                  <a:lnTo>
                    <a:pt x="259" y="242"/>
                  </a:lnTo>
                  <a:lnTo>
                    <a:pt x="259" y="242"/>
                  </a:lnTo>
                  <a:lnTo>
                    <a:pt x="258" y="242"/>
                  </a:lnTo>
                  <a:lnTo>
                    <a:pt x="257" y="242"/>
                  </a:lnTo>
                  <a:lnTo>
                    <a:pt x="256" y="242"/>
                  </a:lnTo>
                  <a:lnTo>
                    <a:pt x="255" y="242"/>
                  </a:lnTo>
                  <a:lnTo>
                    <a:pt x="255" y="242"/>
                  </a:lnTo>
                  <a:lnTo>
                    <a:pt x="253" y="241"/>
                  </a:lnTo>
                  <a:lnTo>
                    <a:pt x="252" y="241"/>
                  </a:lnTo>
                  <a:lnTo>
                    <a:pt x="250" y="240"/>
                  </a:lnTo>
                  <a:lnTo>
                    <a:pt x="249" y="239"/>
                  </a:lnTo>
                  <a:lnTo>
                    <a:pt x="247" y="239"/>
                  </a:lnTo>
                  <a:lnTo>
                    <a:pt x="246" y="238"/>
                  </a:lnTo>
                  <a:lnTo>
                    <a:pt x="242" y="236"/>
                  </a:lnTo>
                  <a:lnTo>
                    <a:pt x="240" y="235"/>
                  </a:lnTo>
                  <a:lnTo>
                    <a:pt x="238" y="233"/>
                  </a:lnTo>
                  <a:lnTo>
                    <a:pt x="236" y="233"/>
                  </a:lnTo>
                  <a:lnTo>
                    <a:pt x="235" y="232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4" y="230"/>
                  </a:lnTo>
                  <a:lnTo>
                    <a:pt x="233" y="230"/>
                  </a:lnTo>
                  <a:lnTo>
                    <a:pt x="228" y="228"/>
                  </a:lnTo>
                  <a:lnTo>
                    <a:pt x="227" y="227"/>
                  </a:lnTo>
                  <a:lnTo>
                    <a:pt x="225" y="226"/>
                  </a:lnTo>
                  <a:lnTo>
                    <a:pt x="224" y="226"/>
                  </a:lnTo>
                  <a:lnTo>
                    <a:pt x="224" y="225"/>
                  </a:lnTo>
                  <a:lnTo>
                    <a:pt x="223" y="225"/>
                  </a:lnTo>
                  <a:lnTo>
                    <a:pt x="222" y="224"/>
                  </a:lnTo>
                  <a:lnTo>
                    <a:pt x="221" y="224"/>
                  </a:lnTo>
                  <a:lnTo>
                    <a:pt x="221" y="223"/>
                  </a:lnTo>
                  <a:lnTo>
                    <a:pt x="221" y="222"/>
                  </a:lnTo>
                  <a:lnTo>
                    <a:pt x="219" y="219"/>
                  </a:lnTo>
                  <a:lnTo>
                    <a:pt x="218" y="218"/>
                  </a:lnTo>
                  <a:lnTo>
                    <a:pt x="217" y="217"/>
                  </a:lnTo>
                  <a:lnTo>
                    <a:pt x="217" y="216"/>
                  </a:lnTo>
                  <a:lnTo>
                    <a:pt x="216" y="215"/>
                  </a:lnTo>
                  <a:lnTo>
                    <a:pt x="215" y="214"/>
                  </a:lnTo>
                  <a:lnTo>
                    <a:pt x="213" y="213"/>
                  </a:lnTo>
                  <a:lnTo>
                    <a:pt x="212" y="212"/>
                  </a:lnTo>
                  <a:lnTo>
                    <a:pt x="211" y="211"/>
                  </a:lnTo>
                  <a:lnTo>
                    <a:pt x="210" y="211"/>
                  </a:lnTo>
                  <a:lnTo>
                    <a:pt x="209" y="210"/>
                  </a:lnTo>
                  <a:lnTo>
                    <a:pt x="207" y="209"/>
                  </a:lnTo>
                  <a:lnTo>
                    <a:pt x="206" y="209"/>
                  </a:lnTo>
                  <a:lnTo>
                    <a:pt x="205" y="209"/>
                  </a:lnTo>
                  <a:lnTo>
                    <a:pt x="204" y="208"/>
                  </a:lnTo>
                  <a:lnTo>
                    <a:pt x="204" y="208"/>
                  </a:lnTo>
                  <a:lnTo>
                    <a:pt x="203" y="207"/>
                  </a:lnTo>
                  <a:lnTo>
                    <a:pt x="201" y="205"/>
                  </a:lnTo>
                  <a:lnTo>
                    <a:pt x="197" y="201"/>
                  </a:lnTo>
                  <a:lnTo>
                    <a:pt x="195" y="197"/>
                  </a:lnTo>
                  <a:lnTo>
                    <a:pt x="193" y="196"/>
                  </a:lnTo>
                  <a:lnTo>
                    <a:pt x="192" y="196"/>
                  </a:lnTo>
                  <a:lnTo>
                    <a:pt x="192" y="195"/>
                  </a:lnTo>
                  <a:lnTo>
                    <a:pt x="192" y="195"/>
                  </a:lnTo>
                  <a:lnTo>
                    <a:pt x="191" y="195"/>
                  </a:lnTo>
                  <a:lnTo>
                    <a:pt x="190" y="195"/>
                  </a:lnTo>
                  <a:lnTo>
                    <a:pt x="187" y="194"/>
                  </a:lnTo>
                  <a:lnTo>
                    <a:pt x="187" y="194"/>
                  </a:lnTo>
                  <a:lnTo>
                    <a:pt x="186" y="194"/>
                  </a:lnTo>
                  <a:lnTo>
                    <a:pt x="185" y="194"/>
                  </a:lnTo>
                  <a:lnTo>
                    <a:pt x="184" y="195"/>
                  </a:lnTo>
                  <a:lnTo>
                    <a:pt x="184" y="195"/>
                  </a:lnTo>
                  <a:lnTo>
                    <a:pt x="183" y="195"/>
                  </a:lnTo>
                  <a:lnTo>
                    <a:pt x="182" y="196"/>
                  </a:lnTo>
                  <a:lnTo>
                    <a:pt x="181" y="196"/>
                  </a:lnTo>
                  <a:lnTo>
                    <a:pt x="181" y="197"/>
                  </a:lnTo>
                  <a:lnTo>
                    <a:pt x="181" y="197"/>
                  </a:lnTo>
                  <a:lnTo>
                    <a:pt x="180" y="197"/>
                  </a:lnTo>
                  <a:lnTo>
                    <a:pt x="179" y="197"/>
                  </a:lnTo>
                  <a:lnTo>
                    <a:pt x="179" y="196"/>
                  </a:lnTo>
                  <a:lnTo>
                    <a:pt x="178" y="196"/>
                  </a:lnTo>
                  <a:lnTo>
                    <a:pt x="177" y="196"/>
                  </a:lnTo>
                  <a:lnTo>
                    <a:pt x="177" y="195"/>
                  </a:lnTo>
                  <a:lnTo>
                    <a:pt x="176" y="194"/>
                  </a:lnTo>
                  <a:lnTo>
                    <a:pt x="176" y="194"/>
                  </a:lnTo>
                  <a:lnTo>
                    <a:pt x="175" y="193"/>
                  </a:lnTo>
                  <a:lnTo>
                    <a:pt x="173" y="192"/>
                  </a:lnTo>
                  <a:lnTo>
                    <a:pt x="172" y="191"/>
                  </a:lnTo>
                  <a:lnTo>
                    <a:pt x="171" y="190"/>
                  </a:lnTo>
                  <a:lnTo>
                    <a:pt x="169" y="188"/>
                  </a:lnTo>
                  <a:lnTo>
                    <a:pt x="168" y="188"/>
                  </a:lnTo>
                  <a:lnTo>
                    <a:pt x="168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6" y="187"/>
                  </a:lnTo>
                  <a:lnTo>
                    <a:pt x="166" y="187"/>
                  </a:lnTo>
                  <a:lnTo>
                    <a:pt x="166" y="189"/>
                  </a:lnTo>
                  <a:lnTo>
                    <a:pt x="166" y="190"/>
                  </a:lnTo>
                  <a:lnTo>
                    <a:pt x="165" y="191"/>
                  </a:lnTo>
                  <a:lnTo>
                    <a:pt x="164" y="193"/>
                  </a:lnTo>
                  <a:lnTo>
                    <a:pt x="163" y="195"/>
                  </a:lnTo>
                  <a:lnTo>
                    <a:pt x="163" y="196"/>
                  </a:lnTo>
                  <a:lnTo>
                    <a:pt x="163" y="198"/>
                  </a:lnTo>
                  <a:lnTo>
                    <a:pt x="163" y="199"/>
                  </a:lnTo>
                  <a:lnTo>
                    <a:pt x="163" y="200"/>
                  </a:lnTo>
                  <a:lnTo>
                    <a:pt x="162" y="201"/>
                  </a:lnTo>
                  <a:lnTo>
                    <a:pt x="162" y="201"/>
                  </a:lnTo>
                  <a:lnTo>
                    <a:pt x="161" y="202"/>
                  </a:lnTo>
                  <a:lnTo>
                    <a:pt x="161" y="202"/>
                  </a:lnTo>
                  <a:lnTo>
                    <a:pt x="160" y="203"/>
                  </a:lnTo>
                  <a:lnTo>
                    <a:pt x="159" y="203"/>
                  </a:lnTo>
                  <a:lnTo>
                    <a:pt x="155" y="205"/>
                  </a:lnTo>
                  <a:lnTo>
                    <a:pt x="153" y="206"/>
                  </a:lnTo>
                  <a:lnTo>
                    <a:pt x="153" y="207"/>
                  </a:lnTo>
                  <a:lnTo>
                    <a:pt x="151" y="208"/>
                  </a:lnTo>
                  <a:lnTo>
                    <a:pt x="151" y="208"/>
                  </a:lnTo>
                  <a:lnTo>
                    <a:pt x="150" y="209"/>
                  </a:lnTo>
                  <a:lnTo>
                    <a:pt x="149" y="209"/>
                  </a:lnTo>
                  <a:lnTo>
                    <a:pt x="149" y="209"/>
                  </a:lnTo>
                  <a:lnTo>
                    <a:pt x="149" y="210"/>
                  </a:lnTo>
                  <a:lnTo>
                    <a:pt x="149" y="211"/>
                  </a:lnTo>
                  <a:lnTo>
                    <a:pt x="148" y="212"/>
                  </a:lnTo>
                  <a:lnTo>
                    <a:pt x="148" y="214"/>
                  </a:lnTo>
                  <a:lnTo>
                    <a:pt x="148" y="215"/>
                  </a:lnTo>
                  <a:lnTo>
                    <a:pt x="148" y="215"/>
                  </a:lnTo>
                  <a:lnTo>
                    <a:pt x="147" y="216"/>
                  </a:lnTo>
                  <a:lnTo>
                    <a:pt x="147" y="216"/>
                  </a:lnTo>
                  <a:lnTo>
                    <a:pt x="146" y="217"/>
                  </a:lnTo>
                  <a:lnTo>
                    <a:pt x="146" y="218"/>
                  </a:lnTo>
                  <a:lnTo>
                    <a:pt x="145" y="218"/>
                  </a:lnTo>
                  <a:lnTo>
                    <a:pt x="144" y="219"/>
                  </a:lnTo>
                  <a:lnTo>
                    <a:pt x="143" y="219"/>
                  </a:lnTo>
                  <a:lnTo>
                    <a:pt x="143" y="219"/>
                  </a:lnTo>
                  <a:lnTo>
                    <a:pt x="142" y="220"/>
                  </a:lnTo>
                  <a:lnTo>
                    <a:pt x="141" y="220"/>
                  </a:lnTo>
                  <a:lnTo>
                    <a:pt x="141" y="220"/>
                  </a:lnTo>
                  <a:lnTo>
                    <a:pt x="140" y="220"/>
                  </a:lnTo>
                  <a:lnTo>
                    <a:pt x="139" y="220"/>
                  </a:lnTo>
                  <a:lnTo>
                    <a:pt x="139" y="220"/>
                  </a:lnTo>
                  <a:lnTo>
                    <a:pt x="138" y="220"/>
                  </a:lnTo>
                  <a:lnTo>
                    <a:pt x="136" y="220"/>
                  </a:lnTo>
                  <a:lnTo>
                    <a:pt x="133" y="219"/>
                  </a:lnTo>
                  <a:lnTo>
                    <a:pt x="131" y="218"/>
                  </a:lnTo>
                  <a:lnTo>
                    <a:pt x="129" y="218"/>
                  </a:lnTo>
                  <a:lnTo>
                    <a:pt x="127" y="217"/>
                  </a:lnTo>
                  <a:lnTo>
                    <a:pt x="125" y="217"/>
                  </a:lnTo>
                  <a:lnTo>
                    <a:pt x="124" y="217"/>
                  </a:lnTo>
                  <a:lnTo>
                    <a:pt x="123" y="217"/>
                  </a:lnTo>
                  <a:lnTo>
                    <a:pt x="123" y="217"/>
                  </a:lnTo>
                  <a:lnTo>
                    <a:pt x="122" y="218"/>
                  </a:lnTo>
                  <a:lnTo>
                    <a:pt x="121" y="218"/>
                  </a:lnTo>
                  <a:lnTo>
                    <a:pt x="120" y="219"/>
                  </a:lnTo>
                  <a:lnTo>
                    <a:pt x="120" y="219"/>
                  </a:lnTo>
                  <a:lnTo>
                    <a:pt x="119" y="220"/>
                  </a:lnTo>
                  <a:lnTo>
                    <a:pt x="119" y="221"/>
                  </a:lnTo>
                  <a:lnTo>
                    <a:pt x="119" y="222"/>
                  </a:lnTo>
                  <a:lnTo>
                    <a:pt x="119" y="226"/>
                  </a:lnTo>
                  <a:lnTo>
                    <a:pt x="118" y="227"/>
                  </a:lnTo>
                  <a:lnTo>
                    <a:pt x="118" y="228"/>
                  </a:lnTo>
                  <a:lnTo>
                    <a:pt x="118" y="229"/>
                  </a:lnTo>
                  <a:lnTo>
                    <a:pt x="117" y="230"/>
                  </a:lnTo>
                  <a:lnTo>
                    <a:pt x="117" y="231"/>
                  </a:lnTo>
                  <a:lnTo>
                    <a:pt x="116" y="231"/>
                  </a:lnTo>
                  <a:lnTo>
                    <a:pt x="116" y="232"/>
                  </a:lnTo>
                  <a:lnTo>
                    <a:pt x="115" y="233"/>
                  </a:lnTo>
                  <a:lnTo>
                    <a:pt x="113" y="234"/>
                  </a:lnTo>
                  <a:lnTo>
                    <a:pt x="112" y="234"/>
                  </a:lnTo>
                  <a:lnTo>
                    <a:pt x="112" y="235"/>
                  </a:lnTo>
                  <a:lnTo>
                    <a:pt x="111" y="236"/>
                  </a:lnTo>
                  <a:lnTo>
                    <a:pt x="111" y="236"/>
                  </a:lnTo>
                  <a:lnTo>
                    <a:pt x="109" y="239"/>
                  </a:lnTo>
                  <a:lnTo>
                    <a:pt x="108" y="240"/>
                  </a:lnTo>
                  <a:lnTo>
                    <a:pt x="107" y="241"/>
                  </a:lnTo>
                  <a:lnTo>
                    <a:pt x="107" y="242"/>
                  </a:lnTo>
                  <a:lnTo>
                    <a:pt x="105" y="243"/>
                  </a:lnTo>
                  <a:lnTo>
                    <a:pt x="102" y="245"/>
                  </a:lnTo>
                  <a:lnTo>
                    <a:pt x="100" y="248"/>
                  </a:lnTo>
                  <a:lnTo>
                    <a:pt x="99" y="248"/>
                  </a:lnTo>
                  <a:lnTo>
                    <a:pt x="99" y="248"/>
                  </a:lnTo>
                  <a:lnTo>
                    <a:pt x="98" y="248"/>
                  </a:lnTo>
                  <a:lnTo>
                    <a:pt x="97" y="248"/>
                  </a:lnTo>
                  <a:lnTo>
                    <a:pt x="91" y="249"/>
                  </a:lnTo>
                  <a:lnTo>
                    <a:pt x="90" y="249"/>
                  </a:lnTo>
                  <a:lnTo>
                    <a:pt x="88" y="249"/>
                  </a:lnTo>
                  <a:lnTo>
                    <a:pt x="87" y="249"/>
                  </a:lnTo>
                  <a:lnTo>
                    <a:pt x="85" y="249"/>
                  </a:lnTo>
                  <a:lnTo>
                    <a:pt x="84" y="249"/>
                  </a:lnTo>
                  <a:lnTo>
                    <a:pt x="83" y="250"/>
                  </a:lnTo>
                  <a:lnTo>
                    <a:pt x="79" y="251"/>
                  </a:lnTo>
                  <a:lnTo>
                    <a:pt x="78" y="251"/>
                  </a:lnTo>
                  <a:lnTo>
                    <a:pt x="77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5" y="252"/>
                  </a:lnTo>
                  <a:lnTo>
                    <a:pt x="74" y="252"/>
                  </a:lnTo>
                  <a:lnTo>
                    <a:pt x="73" y="252"/>
                  </a:lnTo>
                  <a:lnTo>
                    <a:pt x="72" y="252"/>
                  </a:lnTo>
                  <a:lnTo>
                    <a:pt x="72" y="251"/>
                  </a:lnTo>
                  <a:lnTo>
                    <a:pt x="71" y="251"/>
                  </a:lnTo>
                  <a:lnTo>
                    <a:pt x="71" y="251"/>
                  </a:lnTo>
                  <a:lnTo>
                    <a:pt x="70" y="250"/>
                  </a:lnTo>
                  <a:lnTo>
                    <a:pt x="70" y="250"/>
                  </a:lnTo>
                  <a:lnTo>
                    <a:pt x="69" y="249"/>
                  </a:lnTo>
                  <a:lnTo>
                    <a:pt x="69" y="249"/>
                  </a:lnTo>
                  <a:lnTo>
                    <a:pt x="69" y="248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8" y="244"/>
                  </a:lnTo>
                  <a:lnTo>
                    <a:pt x="67" y="242"/>
                  </a:lnTo>
                  <a:lnTo>
                    <a:pt x="67" y="241"/>
                  </a:lnTo>
                  <a:lnTo>
                    <a:pt x="66" y="240"/>
                  </a:lnTo>
                  <a:lnTo>
                    <a:pt x="66" y="239"/>
                  </a:lnTo>
                  <a:lnTo>
                    <a:pt x="66" y="239"/>
                  </a:lnTo>
                  <a:lnTo>
                    <a:pt x="66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4" y="238"/>
                  </a:lnTo>
                  <a:lnTo>
                    <a:pt x="63" y="238"/>
                  </a:lnTo>
                  <a:lnTo>
                    <a:pt x="62" y="239"/>
                  </a:lnTo>
                  <a:lnTo>
                    <a:pt x="61" y="239"/>
                  </a:lnTo>
                  <a:lnTo>
                    <a:pt x="60" y="239"/>
                  </a:lnTo>
                  <a:lnTo>
                    <a:pt x="59" y="240"/>
                  </a:lnTo>
                  <a:lnTo>
                    <a:pt x="58" y="240"/>
                  </a:lnTo>
                  <a:lnTo>
                    <a:pt x="57" y="240"/>
                  </a:lnTo>
                  <a:lnTo>
                    <a:pt x="57" y="240"/>
                  </a:lnTo>
                  <a:lnTo>
                    <a:pt x="56" y="240"/>
                  </a:lnTo>
                  <a:lnTo>
                    <a:pt x="56" y="240"/>
                  </a:lnTo>
                  <a:lnTo>
                    <a:pt x="55" y="240"/>
                  </a:lnTo>
                  <a:lnTo>
                    <a:pt x="54" y="240"/>
                  </a:lnTo>
                  <a:lnTo>
                    <a:pt x="51" y="239"/>
                  </a:lnTo>
                  <a:lnTo>
                    <a:pt x="51" y="238"/>
                  </a:lnTo>
                  <a:lnTo>
                    <a:pt x="50" y="238"/>
                  </a:lnTo>
                  <a:lnTo>
                    <a:pt x="49" y="238"/>
                  </a:lnTo>
                  <a:lnTo>
                    <a:pt x="48" y="238"/>
                  </a:lnTo>
                  <a:lnTo>
                    <a:pt x="47" y="239"/>
                  </a:lnTo>
                  <a:lnTo>
                    <a:pt x="47" y="239"/>
                  </a:lnTo>
                  <a:lnTo>
                    <a:pt x="45" y="240"/>
                  </a:lnTo>
                  <a:lnTo>
                    <a:pt x="44" y="240"/>
                  </a:lnTo>
                  <a:lnTo>
                    <a:pt x="44" y="241"/>
                  </a:lnTo>
                  <a:lnTo>
                    <a:pt x="43" y="241"/>
                  </a:lnTo>
                  <a:lnTo>
                    <a:pt x="42" y="241"/>
                  </a:lnTo>
                  <a:lnTo>
                    <a:pt x="42" y="241"/>
                  </a:lnTo>
                  <a:lnTo>
                    <a:pt x="42" y="240"/>
                  </a:lnTo>
                  <a:lnTo>
                    <a:pt x="41" y="240"/>
                  </a:lnTo>
                  <a:lnTo>
                    <a:pt x="41" y="240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39" y="236"/>
                  </a:lnTo>
                  <a:lnTo>
                    <a:pt x="38" y="235"/>
                  </a:lnTo>
                  <a:lnTo>
                    <a:pt x="38" y="234"/>
                  </a:lnTo>
                  <a:lnTo>
                    <a:pt x="37" y="233"/>
                  </a:lnTo>
                  <a:lnTo>
                    <a:pt x="36" y="233"/>
                  </a:lnTo>
                  <a:lnTo>
                    <a:pt x="36" y="232"/>
                  </a:lnTo>
                  <a:lnTo>
                    <a:pt x="35" y="231"/>
                  </a:lnTo>
                  <a:lnTo>
                    <a:pt x="33" y="230"/>
                  </a:lnTo>
                  <a:lnTo>
                    <a:pt x="32" y="229"/>
                  </a:lnTo>
                  <a:lnTo>
                    <a:pt x="30" y="227"/>
                  </a:lnTo>
                  <a:lnTo>
                    <a:pt x="29" y="227"/>
                  </a:lnTo>
                  <a:lnTo>
                    <a:pt x="28" y="226"/>
                  </a:lnTo>
                  <a:lnTo>
                    <a:pt x="27" y="225"/>
                  </a:lnTo>
                  <a:lnTo>
                    <a:pt x="27" y="224"/>
                  </a:lnTo>
                  <a:lnTo>
                    <a:pt x="26" y="224"/>
                  </a:lnTo>
                  <a:lnTo>
                    <a:pt x="24" y="220"/>
                  </a:lnTo>
                  <a:lnTo>
                    <a:pt x="22" y="215"/>
                  </a:lnTo>
                  <a:lnTo>
                    <a:pt x="21" y="214"/>
                  </a:lnTo>
                  <a:lnTo>
                    <a:pt x="21" y="214"/>
                  </a:lnTo>
                  <a:lnTo>
                    <a:pt x="18" y="207"/>
                  </a:lnTo>
                  <a:lnTo>
                    <a:pt x="18" y="206"/>
                  </a:lnTo>
                  <a:lnTo>
                    <a:pt x="17" y="204"/>
                  </a:lnTo>
                  <a:lnTo>
                    <a:pt x="16" y="202"/>
                  </a:lnTo>
                  <a:lnTo>
                    <a:pt x="15" y="201"/>
                  </a:lnTo>
                  <a:lnTo>
                    <a:pt x="15" y="200"/>
                  </a:lnTo>
                  <a:lnTo>
                    <a:pt x="13" y="198"/>
                  </a:lnTo>
                  <a:lnTo>
                    <a:pt x="13" y="197"/>
                  </a:lnTo>
                  <a:lnTo>
                    <a:pt x="12" y="195"/>
                  </a:lnTo>
                  <a:lnTo>
                    <a:pt x="11" y="194"/>
                  </a:lnTo>
                  <a:lnTo>
                    <a:pt x="10" y="193"/>
                  </a:lnTo>
                  <a:lnTo>
                    <a:pt x="8" y="189"/>
                  </a:lnTo>
                  <a:lnTo>
                    <a:pt x="7" y="185"/>
                  </a:lnTo>
                  <a:lnTo>
                    <a:pt x="6" y="183"/>
                  </a:lnTo>
                  <a:lnTo>
                    <a:pt x="5" y="182"/>
                  </a:lnTo>
                  <a:lnTo>
                    <a:pt x="5" y="180"/>
                  </a:lnTo>
                  <a:lnTo>
                    <a:pt x="4" y="180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3" y="174"/>
                  </a:lnTo>
                  <a:lnTo>
                    <a:pt x="3" y="171"/>
                  </a:lnTo>
                  <a:lnTo>
                    <a:pt x="2" y="170"/>
                  </a:lnTo>
                  <a:lnTo>
                    <a:pt x="2" y="169"/>
                  </a:lnTo>
                  <a:lnTo>
                    <a:pt x="1" y="167"/>
                  </a:lnTo>
                  <a:lnTo>
                    <a:pt x="1" y="166"/>
                  </a:lnTo>
                  <a:lnTo>
                    <a:pt x="0" y="166"/>
                  </a:lnTo>
                  <a:lnTo>
                    <a:pt x="0" y="165"/>
                  </a:lnTo>
                  <a:lnTo>
                    <a:pt x="0" y="164"/>
                  </a:lnTo>
                  <a:lnTo>
                    <a:pt x="0" y="163"/>
                  </a:lnTo>
                  <a:lnTo>
                    <a:pt x="0" y="162"/>
                  </a:lnTo>
                  <a:lnTo>
                    <a:pt x="1" y="162"/>
                  </a:lnTo>
                  <a:lnTo>
                    <a:pt x="1" y="161"/>
                  </a:lnTo>
                  <a:lnTo>
                    <a:pt x="1" y="161"/>
                  </a:lnTo>
                  <a:lnTo>
                    <a:pt x="2" y="160"/>
                  </a:lnTo>
                  <a:lnTo>
                    <a:pt x="3" y="158"/>
                  </a:lnTo>
                  <a:lnTo>
                    <a:pt x="5" y="155"/>
                  </a:lnTo>
                  <a:lnTo>
                    <a:pt x="5" y="154"/>
                  </a:lnTo>
                  <a:lnTo>
                    <a:pt x="6" y="153"/>
                  </a:lnTo>
                  <a:lnTo>
                    <a:pt x="6" y="152"/>
                  </a:lnTo>
                  <a:lnTo>
                    <a:pt x="6" y="151"/>
                  </a:lnTo>
                  <a:lnTo>
                    <a:pt x="7" y="148"/>
                  </a:lnTo>
                  <a:lnTo>
                    <a:pt x="7" y="147"/>
                  </a:lnTo>
                  <a:lnTo>
                    <a:pt x="7" y="146"/>
                  </a:lnTo>
                  <a:lnTo>
                    <a:pt x="8" y="144"/>
                  </a:lnTo>
                  <a:lnTo>
                    <a:pt x="8" y="143"/>
                  </a:lnTo>
                  <a:lnTo>
                    <a:pt x="9" y="142"/>
                  </a:lnTo>
                  <a:lnTo>
                    <a:pt x="9" y="141"/>
                  </a:lnTo>
                  <a:lnTo>
                    <a:pt x="10" y="140"/>
                  </a:lnTo>
                  <a:lnTo>
                    <a:pt x="10" y="140"/>
                  </a:lnTo>
                  <a:lnTo>
                    <a:pt x="11" y="139"/>
                  </a:lnTo>
                  <a:lnTo>
                    <a:pt x="12" y="138"/>
                  </a:lnTo>
                  <a:lnTo>
                    <a:pt x="15" y="136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9" y="133"/>
                  </a:lnTo>
                  <a:lnTo>
                    <a:pt x="20" y="132"/>
                  </a:lnTo>
                  <a:lnTo>
                    <a:pt x="21" y="132"/>
                  </a:lnTo>
                  <a:lnTo>
                    <a:pt x="21" y="131"/>
                  </a:lnTo>
                  <a:lnTo>
                    <a:pt x="21" y="131"/>
                  </a:lnTo>
                  <a:lnTo>
                    <a:pt x="22" y="131"/>
                  </a:lnTo>
                  <a:lnTo>
                    <a:pt x="22" y="130"/>
                  </a:lnTo>
                  <a:lnTo>
                    <a:pt x="22" y="130"/>
                  </a:lnTo>
                  <a:lnTo>
                    <a:pt x="22" y="128"/>
                  </a:lnTo>
                  <a:lnTo>
                    <a:pt x="22" y="127"/>
                  </a:lnTo>
                  <a:lnTo>
                    <a:pt x="22" y="126"/>
                  </a:lnTo>
                  <a:lnTo>
                    <a:pt x="22" y="125"/>
                  </a:lnTo>
                  <a:lnTo>
                    <a:pt x="23" y="124"/>
                  </a:lnTo>
                  <a:lnTo>
                    <a:pt x="23" y="122"/>
                  </a:lnTo>
                  <a:lnTo>
                    <a:pt x="24" y="121"/>
                  </a:lnTo>
                  <a:lnTo>
                    <a:pt x="24" y="120"/>
                  </a:lnTo>
                  <a:lnTo>
                    <a:pt x="25" y="119"/>
                  </a:lnTo>
                  <a:lnTo>
                    <a:pt x="25" y="118"/>
                  </a:lnTo>
                  <a:lnTo>
                    <a:pt x="26" y="117"/>
                  </a:lnTo>
                  <a:lnTo>
                    <a:pt x="26" y="117"/>
                  </a:lnTo>
                  <a:lnTo>
                    <a:pt x="27" y="116"/>
                  </a:lnTo>
                  <a:lnTo>
                    <a:pt x="29" y="114"/>
                  </a:lnTo>
                  <a:lnTo>
                    <a:pt x="29" y="113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0" y="111"/>
                  </a:lnTo>
                  <a:lnTo>
                    <a:pt x="31" y="110"/>
                  </a:lnTo>
                  <a:lnTo>
                    <a:pt x="31" y="107"/>
                  </a:lnTo>
                  <a:lnTo>
                    <a:pt x="31" y="106"/>
                  </a:lnTo>
                  <a:lnTo>
                    <a:pt x="31" y="105"/>
                  </a:lnTo>
                  <a:lnTo>
                    <a:pt x="31" y="103"/>
                  </a:lnTo>
                  <a:lnTo>
                    <a:pt x="31" y="100"/>
                  </a:lnTo>
                  <a:lnTo>
                    <a:pt x="31" y="99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3" y="97"/>
                  </a:lnTo>
                  <a:lnTo>
                    <a:pt x="35" y="96"/>
                  </a:lnTo>
                  <a:lnTo>
                    <a:pt x="36" y="96"/>
                  </a:lnTo>
                  <a:lnTo>
                    <a:pt x="37" y="96"/>
                  </a:lnTo>
                  <a:lnTo>
                    <a:pt x="37" y="96"/>
                  </a:lnTo>
                  <a:lnTo>
                    <a:pt x="38" y="96"/>
                  </a:lnTo>
                  <a:lnTo>
                    <a:pt x="39" y="96"/>
                  </a:lnTo>
                  <a:lnTo>
                    <a:pt x="40" y="97"/>
                  </a:lnTo>
                  <a:lnTo>
                    <a:pt x="42" y="98"/>
                  </a:lnTo>
                  <a:lnTo>
                    <a:pt x="43" y="98"/>
                  </a:lnTo>
                  <a:lnTo>
                    <a:pt x="45" y="99"/>
                  </a:lnTo>
                  <a:lnTo>
                    <a:pt x="48" y="101"/>
                  </a:lnTo>
                  <a:lnTo>
                    <a:pt x="49" y="102"/>
                  </a:lnTo>
                  <a:lnTo>
                    <a:pt x="51" y="102"/>
                  </a:lnTo>
                  <a:lnTo>
                    <a:pt x="52" y="103"/>
                  </a:lnTo>
                  <a:lnTo>
                    <a:pt x="53" y="103"/>
                  </a:lnTo>
                  <a:lnTo>
                    <a:pt x="54" y="103"/>
                  </a:lnTo>
                  <a:lnTo>
                    <a:pt x="55" y="103"/>
                  </a:lnTo>
                  <a:lnTo>
                    <a:pt x="56" y="103"/>
                  </a:lnTo>
                  <a:lnTo>
                    <a:pt x="56" y="103"/>
                  </a:lnTo>
                  <a:lnTo>
                    <a:pt x="57" y="103"/>
                  </a:lnTo>
                  <a:lnTo>
                    <a:pt x="58" y="103"/>
                  </a:lnTo>
                  <a:lnTo>
                    <a:pt x="59" y="103"/>
                  </a:lnTo>
                  <a:lnTo>
                    <a:pt x="59" y="102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1" y="101"/>
                  </a:lnTo>
                  <a:lnTo>
                    <a:pt x="61" y="101"/>
                  </a:lnTo>
                  <a:lnTo>
                    <a:pt x="61" y="100"/>
                  </a:lnTo>
                  <a:lnTo>
                    <a:pt x="62" y="99"/>
                  </a:lnTo>
                  <a:lnTo>
                    <a:pt x="62" y="99"/>
                  </a:lnTo>
                  <a:lnTo>
                    <a:pt x="63" y="98"/>
                  </a:lnTo>
                  <a:lnTo>
                    <a:pt x="64" y="92"/>
                  </a:lnTo>
                  <a:lnTo>
                    <a:pt x="65" y="91"/>
                  </a:lnTo>
                  <a:lnTo>
                    <a:pt x="65" y="89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7" y="87"/>
                  </a:lnTo>
                  <a:lnTo>
                    <a:pt x="67" y="86"/>
                  </a:lnTo>
                  <a:lnTo>
                    <a:pt x="67" y="86"/>
                  </a:lnTo>
                  <a:lnTo>
                    <a:pt x="69" y="85"/>
                  </a:lnTo>
                  <a:lnTo>
                    <a:pt x="70" y="84"/>
                  </a:lnTo>
                  <a:lnTo>
                    <a:pt x="72" y="83"/>
                  </a:lnTo>
                  <a:lnTo>
                    <a:pt x="74" y="82"/>
                  </a:lnTo>
                  <a:lnTo>
                    <a:pt x="75" y="81"/>
                  </a:lnTo>
                  <a:lnTo>
                    <a:pt x="76" y="80"/>
                  </a:lnTo>
                  <a:lnTo>
                    <a:pt x="78" y="79"/>
                  </a:lnTo>
                  <a:lnTo>
                    <a:pt x="79" y="77"/>
                  </a:lnTo>
                  <a:lnTo>
                    <a:pt x="79" y="77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1" y="76"/>
                  </a:lnTo>
                  <a:lnTo>
                    <a:pt x="86" y="78"/>
                  </a:lnTo>
                  <a:lnTo>
                    <a:pt x="90" y="80"/>
                  </a:lnTo>
                  <a:lnTo>
                    <a:pt x="92" y="80"/>
                  </a:lnTo>
                  <a:lnTo>
                    <a:pt x="95" y="81"/>
                  </a:lnTo>
                  <a:lnTo>
                    <a:pt x="100" y="84"/>
                  </a:lnTo>
                  <a:lnTo>
                    <a:pt x="103" y="85"/>
                  </a:lnTo>
                  <a:lnTo>
                    <a:pt x="104" y="85"/>
                  </a:lnTo>
                  <a:lnTo>
                    <a:pt x="105" y="86"/>
                  </a:lnTo>
                  <a:lnTo>
                    <a:pt x="106" y="87"/>
                  </a:lnTo>
                  <a:lnTo>
                    <a:pt x="108" y="88"/>
                  </a:lnTo>
                  <a:lnTo>
                    <a:pt x="109" y="89"/>
                  </a:lnTo>
                  <a:lnTo>
                    <a:pt x="110" y="89"/>
                  </a:lnTo>
                  <a:lnTo>
                    <a:pt x="110" y="90"/>
                  </a:lnTo>
                  <a:lnTo>
                    <a:pt x="111" y="90"/>
                  </a:lnTo>
                  <a:lnTo>
                    <a:pt x="112" y="90"/>
                  </a:lnTo>
                  <a:lnTo>
                    <a:pt x="113" y="91"/>
                  </a:lnTo>
                  <a:lnTo>
                    <a:pt x="116" y="91"/>
                  </a:lnTo>
                  <a:lnTo>
                    <a:pt x="117" y="91"/>
                  </a:lnTo>
                  <a:lnTo>
                    <a:pt x="121" y="92"/>
                  </a:lnTo>
                  <a:lnTo>
                    <a:pt x="123" y="92"/>
                  </a:lnTo>
                  <a:lnTo>
                    <a:pt x="124" y="92"/>
                  </a:lnTo>
                  <a:lnTo>
                    <a:pt x="125" y="92"/>
                  </a:lnTo>
                  <a:lnTo>
                    <a:pt x="126" y="92"/>
                  </a:lnTo>
                  <a:lnTo>
                    <a:pt x="128" y="92"/>
                  </a:lnTo>
                  <a:lnTo>
                    <a:pt x="129" y="92"/>
                  </a:lnTo>
                  <a:lnTo>
                    <a:pt x="129" y="92"/>
                  </a:lnTo>
                  <a:lnTo>
                    <a:pt x="130" y="91"/>
                  </a:lnTo>
                  <a:lnTo>
                    <a:pt x="131" y="91"/>
                  </a:lnTo>
                  <a:lnTo>
                    <a:pt x="131" y="90"/>
                  </a:lnTo>
                  <a:lnTo>
                    <a:pt x="132" y="90"/>
                  </a:lnTo>
                  <a:lnTo>
                    <a:pt x="133" y="89"/>
                  </a:lnTo>
                  <a:lnTo>
                    <a:pt x="133" y="88"/>
                  </a:lnTo>
                  <a:lnTo>
                    <a:pt x="134" y="86"/>
                  </a:lnTo>
                  <a:lnTo>
                    <a:pt x="136" y="81"/>
                  </a:lnTo>
                  <a:lnTo>
                    <a:pt x="137" y="79"/>
                  </a:lnTo>
                  <a:lnTo>
                    <a:pt x="138" y="77"/>
                  </a:lnTo>
                  <a:lnTo>
                    <a:pt x="139" y="75"/>
                  </a:lnTo>
                  <a:lnTo>
                    <a:pt x="140" y="73"/>
                  </a:lnTo>
                  <a:lnTo>
                    <a:pt x="141" y="73"/>
                  </a:lnTo>
                  <a:lnTo>
                    <a:pt x="141" y="72"/>
                  </a:lnTo>
                  <a:lnTo>
                    <a:pt x="142" y="72"/>
                  </a:lnTo>
                  <a:lnTo>
                    <a:pt x="142" y="71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44" y="70"/>
                  </a:lnTo>
                  <a:lnTo>
                    <a:pt x="145" y="70"/>
                  </a:lnTo>
                  <a:lnTo>
                    <a:pt x="149" y="69"/>
                  </a:lnTo>
                  <a:lnTo>
                    <a:pt x="153" y="69"/>
                  </a:lnTo>
                  <a:lnTo>
                    <a:pt x="154" y="68"/>
                  </a:lnTo>
                  <a:lnTo>
                    <a:pt x="155" y="68"/>
                  </a:lnTo>
                  <a:lnTo>
                    <a:pt x="157" y="69"/>
                  </a:lnTo>
                  <a:lnTo>
                    <a:pt x="159" y="69"/>
                  </a:lnTo>
                  <a:lnTo>
                    <a:pt x="160" y="69"/>
                  </a:lnTo>
                  <a:lnTo>
                    <a:pt x="161" y="69"/>
                  </a:lnTo>
                  <a:lnTo>
                    <a:pt x="164" y="69"/>
                  </a:lnTo>
                  <a:lnTo>
                    <a:pt x="165" y="69"/>
                  </a:lnTo>
                  <a:lnTo>
                    <a:pt x="166" y="69"/>
                  </a:lnTo>
                  <a:lnTo>
                    <a:pt x="167" y="70"/>
                  </a:lnTo>
                  <a:lnTo>
                    <a:pt x="169" y="70"/>
                  </a:lnTo>
                  <a:lnTo>
                    <a:pt x="175" y="72"/>
                  </a:lnTo>
                  <a:lnTo>
                    <a:pt x="177" y="72"/>
                  </a:lnTo>
                  <a:lnTo>
                    <a:pt x="178" y="72"/>
                  </a:lnTo>
                  <a:lnTo>
                    <a:pt x="179" y="72"/>
                  </a:lnTo>
                  <a:lnTo>
                    <a:pt x="180" y="72"/>
                  </a:lnTo>
                  <a:lnTo>
                    <a:pt x="181" y="72"/>
                  </a:lnTo>
                  <a:lnTo>
                    <a:pt x="182" y="72"/>
                  </a:lnTo>
                  <a:lnTo>
                    <a:pt x="183" y="72"/>
                  </a:lnTo>
                  <a:lnTo>
                    <a:pt x="184" y="72"/>
                  </a:lnTo>
                  <a:lnTo>
                    <a:pt x="186" y="71"/>
                  </a:lnTo>
                  <a:lnTo>
                    <a:pt x="187" y="71"/>
                  </a:lnTo>
                  <a:lnTo>
                    <a:pt x="187" y="70"/>
                  </a:lnTo>
                  <a:lnTo>
                    <a:pt x="188" y="70"/>
                  </a:lnTo>
                  <a:lnTo>
                    <a:pt x="189" y="70"/>
                  </a:lnTo>
                  <a:lnTo>
                    <a:pt x="189" y="69"/>
                  </a:lnTo>
                  <a:lnTo>
                    <a:pt x="190" y="69"/>
                  </a:lnTo>
                  <a:lnTo>
                    <a:pt x="190" y="68"/>
                  </a:lnTo>
                  <a:lnTo>
                    <a:pt x="190" y="68"/>
                  </a:lnTo>
                  <a:lnTo>
                    <a:pt x="191" y="67"/>
                  </a:lnTo>
                  <a:lnTo>
                    <a:pt x="191" y="67"/>
                  </a:lnTo>
                  <a:lnTo>
                    <a:pt x="191" y="66"/>
                  </a:lnTo>
                  <a:lnTo>
                    <a:pt x="191" y="65"/>
                  </a:lnTo>
                  <a:lnTo>
                    <a:pt x="191" y="63"/>
                  </a:lnTo>
                  <a:lnTo>
                    <a:pt x="191" y="59"/>
                  </a:lnTo>
                  <a:lnTo>
                    <a:pt x="192" y="54"/>
                  </a:lnTo>
                  <a:lnTo>
                    <a:pt x="192" y="54"/>
                  </a:lnTo>
                  <a:lnTo>
                    <a:pt x="191" y="51"/>
                  </a:lnTo>
                  <a:lnTo>
                    <a:pt x="191" y="49"/>
                  </a:lnTo>
                  <a:lnTo>
                    <a:pt x="191" y="48"/>
                  </a:lnTo>
                  <a:lnTo>
                    <a:pt x="191" y="47"/>
                  </a:lnTo>
                  <a:lnTo>
                    <a:pt x="191" y="46"/>
                  </a:lnTo>
                  <a:lnTo>
                    <a:pt x="192" y="44"/>
                  </a:lnTo>
                  <a:lnTo>
                    <a:pt x="194" y="39"/>
                  </a:lnTo>
                  <a:lnTo>
                    <a:pt x="194" y="37"/>
                  </a:lnTo>
                  <a:lnTo>
                    <a:pt x="195" y="36"/>
                  </a:lnTo>
                  <a:lnTo>
                    <a:pt x="195" y="34"/>
                  </a:lnTo>
                  <a:lnTo>
                    <a:pt x="195" y="32"/>
                  </a:lnTo>
                  <a:lnTo>
                    <a:pt x="196" y="27"/>
                  </a:lnTo>
                  <a:lnTo>
                    <a:pt x="196" y="25"/>
                  </a:lnTo>
                  <a:lnTo>
                    <a:pt x="196" y="24"/>
                  </a:lnTo>
                  <a:lnTo>
                    <a:pt x="196" y="24"/>
                  </a:lnTo>
                  <a:lnTo>
                    <a:pt x="195" y="23"/>
                  </a:lnTo>
                  <a:lnTo>
                    <a:pt x="195" y="22"/>
                  </a:lnTo>
                  <a:lnTo>
                    <a:pt x="195" y="22"/>
                  </a:lnTo>
                  <a:lnTo>
                    <a:pt x="194" y="21"/>
                  </a:lnTo>
                  <a:lnTo>
                    <a:pt x="194" y="20"/>
                  </a:lnTo>
                  <a:lnTo>
                    <a:pt x="194" y="20"/>
                  </a:lnTo>
                  <a:lnTo>
                    <a:pt x="193" y="20"/>
                  </a:lnTo>
                  <a:lnTo>
                    <a:pt x="193" y="19"/>
                  </a:lnTo>
                  <a:lnTo>
                    <a:pt x="192" y="19"/>
                  </a:lnTo>
                  <a:lnTo>
                    <a:pt x="191" y="18"/>
                  </a:lnTo>
                  <a:lnTo>
                    <a:pt x="189" y="18"/>
                  </a:lnTo>
                  <a:lnTo>
                    <a:pt x="188" y="18"/>
                  </a:lnTo>
                  <a:lnTo>
                    <a:pt x="188" y="17"/>
                  </a:lnTo>
                  <a:lnTo>
                    <a:pt x="187" y="17"/>
                  </a:lnTo>
                  <a:lnTo>
                    <a:pt x="186" y="16"/>
                  </a:lnTo>
                  <a:lnTo>
                    <a:pt x="186" y="15"/>
                  </a:lnTo>
                  <a:lnTo>
                    <a:pt x="186" y="15"/>
                  </a:lnTo>
                  <a:lnTo>
                    <a:pt x="185" y="15"/>
                  </a:lnTo>
                  <a:lnTo>
                    <a:pt x="185" y="14"/>
                  </a:lnTo>
                  <a:lnTo>
                    <a:pt x="185" y="13"/>
                  </a:lnTo>
                  <a:lnTo>
                    <a:pt x="185" y="13"/>
                  </a:lnTo>
                  <a:lnTo>
                    <a:pt x="185" y="12"/>
                  </a:lnTo>
                  <a:lnTo>
                    <a:pt x="185" y="12"/>
                  </a:lnTo>
                  <a:lnTo>
                    <a:pt x="186" y="11"/>
                  </a:lnTo>
                  <a:lnTo>
                    <a:pt x="186" y="10"/>
                  </a:lnTo>
                  <a:lnTo>
                    <a:pt x="186" y="9"/>
                  </a:lnTo>
                  <a:lnTo>
                    <a:pt x="187" y="8"/>
                  </a:lnTo>
                  <a:lnTo>
                    <a:pt x="187" y="8"/>
                  </a:lnTo>
                  <a:lnTo>
                    <a:pt x="188" y="7"/>
                  </a:lnTo>
                  <a:lnTo>
                    <a:pt x="189" y="6"/>
                  </a:lnTo>
                  <a:lnTo>
                    <a:pt x="190" y="5"/>
                  </a:lnTo>
                  <a:lnTo>
                    <a:pt x="195" y="2"/>
                  </a:lnTo>
                  <a:lnTo>
                    <a:pt x="196" y="1"/>
                  </a:lnTo>
                  <a:lnTo>
                    <a:pt x="197" y="0"/>
                  </a:lnTo>
                  <a:lnTo>
                    <a:pt x="197" y="0"/>
                  </a:lnTo>
                  <a:lnTo>
                    <a:pt x="198" y="0"/>
                  </a:lnTo>
                  <a:close/>
                </a:path>
              </a:pathLst>
            </a:custGeom>
            <a:solidFill>
              <a:srgbClr val="828282"/>
            </a:solidFill>
            <a:ln w="20638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Freeform 57">
              <a:extLst>
                <a:ext uri="{FF2B5EF4-FFF2-40B4-BE49-F238E27FC236}">
                  <a16:creationId xmlns:a16="http://schemas.microsoft.com/office/drawing/2014/main" id="{CA38D769-7915-E9BE-92CA-A2A2EEEDB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993"/>
              <a:ext cx="436" cy="339"/>
            </a:xfrm>
            <a:custGeom>
              <a:avLst/>
              <a:gdLst>
                <a:gd name="T0" fmla="*/ 170 w 436"/>
                <a:gd name="T1" fmla="*/ 16 h 339"/>
                <a:gd name="T2" fmla="*/ 204 w 436"/>
                <a:gd name="T3" fmla="*/ 13 h 339"/>
                <a:gd name="T4" fmla="*/ 221 w 436"/>
                <a:gd name="T5" fmla="*/ 46 h 339"/>
                <a:gd name="T6" fmla="*/ 247 w 436"/>
                <a:gd name="T7" fmla="*/ 42 h 339"/>
                <a:gd name="T8" fmla="*/ 262 w 436"/>
                <a:gd name="T9" fmla="*/ 61 h 339"/>
                <a:gd name="T10" fmla="*/ 264 w 436"/>
                <a:gd name="T11" fmla="*/ 79 h 339"/>
                <a:gd name="T12" fmla="*/ 283 w 436"/>
                <a:gd name="T13" fmla="*/ 62 h 339"/>
                <a:gd name="T14" fmla="*/ 310 w 436"/>
                <a:gd name="T15" fmla="*/ 62 h 339"/>
                <a:gd name="T16" fmla="*/ 325 w 436"/>
                <a:gd name="T17" fmla="*/ 61 h 339"/>
                <a:gd name="T18" fmla="*/ 345 w 436"/>
                <a:gd name="T19" fmla="*/ 51 h 339"/>
                <a:gd name="T20" fmla="*/ 376 w 436"/>
                <a:gd name="T21" fmla="*/ 69 h 339"/>
                <a:gd name="T22" fmla="*/ 384 w 436"/>
                <a:gd name="T23" fmla="*/ 96 h 339"/>
                <a:gd name="T24" fmla="*/ 367 w 436"/>
                <a:gd name="T25" fmla="*/ 125 h 339"/>
                <a:gd name="T26" fmla="*/ 348 w 436"/>
                <a:gd name="T27" fmla="*/ 134 h 339"/>
                <a:gd name="T28" fmla="*/ 329 w 436"/>
                <a:gd name="T29" fmla="*/ 147 h 339"/>
                <a:gd name="T30" fmla="*/ 322 w 436"/>
                <a:gd name="T31" fmla="*/ 157 h 339"/>
                <a:gd name="T32" fmla="*/ 335 w 436"/>
                <a:gd name="T33" fmla="*/ 173 h 339"/>
                <a:gd name="T34" fmla="*/ 353 w 436"/>
                <a:gd name="T35" fmla="*/ 183 h 339"/>
                <a:gd name="T36" fmla="*/ 372 w 436"/>
                <a:gd name="T37" fmla="*/ 196 h 339"/>
                <a:gd name="T38" fmla="*/ 392 w 436"/>
                <a:gd name="T39" fmla="*/ 212 h 339"/>
                <a:gd name="T40" fmla="*/ 424 w 436"/>
                <a:gd name="T41" fmla="*/ 250 h 339"/>
                <a:gd name="T42" fmla="*/ 436 w 436"/>
                <a:gd name="T43" fmla="*/ 287 h 339"/>
                <a:gd name="T44" fmla="*/ 417 w 436"/>
                <a:gd name="T45" fmla="*/ 283 h 339"/>
                <a:gd name="T46" fmla="*/ 403 w 436"/>
                <a:gd name="T47" fmla="*/ 293 h 339"/>
                <a:gd name="T48" fmla="*/ 372 w 436"/>
                <a:gd name="T49" fmla="*/ 312 h 339"/>
                <a:gd name="T50" fmla="*/ 361 w 436"/>
                <a:gd name="T51" fmla="*/ 328 h 339"/>
                <a:gd name="T52" fmla="*/ 355 w 436"/>
                <a:gd name="T53" fmla="*/ 337 h 339"/>
                <a:gd name="T54" fmla="*/ 332 w 436"/>
                <a:gd name="T55" fmla="*/ 338 h 339"/>
                <a:gd name="T56" fmla="*/ 303 w 436"/>
                <a:gd name="T57" fmla="*/ 327 h 339"/>
                <a:gd name="T58" fmla="*/ 278 w 436"/>
                <a:gd name="T59" fmla="*/ 308 h 339"/>
                <a:gd name="T60" fmla="*/ 261 w 436"/>
                <a:gd name="T61" fmla="*/ 289 h 339"/>
                <a:gd name="T62" fmla="*/ 229 w 436"/>
                <a:gd name="T63" fmla="*/ 290 h 339"/>
                <a:gd name="T64" fmla="*/ 209 w 436"/>
                <a:gd name="T65" fmla="*/ 296 h 339"/>
                <a:gd name="T66" fmla="*/ 198 w 436"/>
                <a:gd name="T67" fmla="*/ 280 h 339"/>
                <a:gd name="T68" fmla="*/ 181 w 436"/>
                <a:gd name="T69" fmla="*/ 297 h 339"/>
                <a:gd name="T70" fmla="*/ 155 w 436"/>
                <a:gd name="T71" fmla="*/ 298 h 339"/>
                <a:gd name="T72" fmla="*/ 136 w 436"/>
                <a:gd name="T73" fmla="*/ 294 h 339"/>
                <a:gd name="T74" fmla="*/ 117 w 436"/>
                <a:gd name="T75" fmla="*/ 308 h 339"/>
                <a:gd name="T76" fmla="*/ 98 w 436"/>
                <a:gd name="T77" fmla="*/ 312 h 339"/>
                <a:gd name="T78" fmla="*/ 90 w 436"/>
                <a:gd name="T79" fmla="*/ 299 h 339"/>
                <a:gd name="T80" fmla="*/ 74 w 436"/>
                <a:gd name="T81" fmla="*/ 286 h 339"/>
                <a:gd name="T82" fmla="*/ 83 w 436"/>
                <a:gd name="T83" fmla="*/ 265 h 339"/>
                <a:gd name="T84" fmla="*/ 78 w 436"/>
                <a:gd name="T85" fmla="*/ 234 h 339"/>
                <a:gd name="T86" fmla="*/ 63 w 436"/>
                <a:gd name="T87" fmla="*/ 227 h 339"/>
                <a:gd name="T88" fmla="*/ 32 w 436"/>
                <a:gd name="T89" fmla="*/ 226 h 339"/>
                <a:gd name="T90" fmla="*/ 22 w 436"/>
                <a:gd name="T91" fmla="*/ 208 h 339"/>
                <a:gd name="T92" fmla="*/ 5 w 436"/>
                <a:gd name="T93" fmla="*/ 200 h 339"/>
                <a:gd name="T94" fmla="*/ 3 w 436"/>
                <a:gd name="T95" fmla="*/ 184 h 339"/>
                <a:gd name="T96" fmla="*/ 11 w 436"/>
                <a:gd name="T97" fmla="*/ 159 h 339"/>
                <a:gd name="T98" fmla="*/ 3 w 436"/>
                <a:gd name="T99" fmla="*/ 131 h 339"/>
                <a:gd name="T100" fmla="*/ 21 w 436"/>
                <a:gd name="T101" fmla="*/ 127 h 339"/>
                <a:gd name="T102" fmla="*/ 43 w 436"/>
                <a:gd name="T103" fmla="*/ 122 h 339"/>
                <a:gd name="T104" fmla="*/ 63 w 436"/>
                <a:gd name="T105" fmla="*/ 125 h 339"/>
                <a:gd name="T106" fmla="*/ 80 w 436"/>
                <a:gd name="T107" fmla="*/ 134 h 339"/>
                <a:gd name="T108" fmla="*/ 96 w 436"/>
                <a:gd name="T109" fmla="*/ 135 h 339"/>
                <a:gd name="T110" fmla="*/ 104 w 436"/>
                <a:gd name="T111" fmla="*/ 115 h 339"/>
                <a:gd name="T112" fmla="*/ 120 w 436"/>
                <a:gd name="T113" fmla="*/ 120 h 339"/>
                <a:gd name="T114" fmla="*/ 142 w 436"/>
                <a:gd name="T115" fmla="*/ 121 h 339"/>
                <a:gd name="T116" fmla="*/ 145 w 436"/>
                <a:gd name="T117" fmla="*/ 105 h 339"/>
                <a:gd name="T118" fmla="*/ 140 w 436"/>
                <a:gd name="T119" fmla="*/ 76 h 339"/>
                <a:gd name="T120" fmla="*/ 132 w 436"/>
                <a:gd name="T121" fmla="*/ 36 h 339"/>
                <a:gd name="T122" fmla="*/ 123 w 436"/>
                <a:gd name="T123" fmla="*/ 2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36" h="339">
                  <a:moveTo>
                    <a:pt x="127" y="1"/>
                  </a:moveTo>
                  <a:lnTo>
                    <a:pt x="129" y="1"/>
                  </a:lnTo>
                  <a:lnTo>
                    <a:pt x="135" y="1"/>
                  </a:lnTo>
                  <a:lnTo>
                    <a:pt x="137" y="2"/>
                  </a:lnTo>
                  <a:lnTo>
                    <a:pt x="139" y="2"/>
                  </a:lnTo>
                  <a:lnTo>
                    <a:pt x="141" y="2"/>
                  </a:lnTo>
                  <a:lnTo>
                    <a:pt x="143" y="3"/>
                  </a:lnTo>
                  <a:lnTo>
                    <a:pt x="144" y="3"/>
                  </a:lnTo>
                  <a:lnTo>
                    <a:pt x="145" y="4"/>
                  </a:lnTo>
                  <a:lnTo>
                    <a:pt x="146" y="4"/>
                  </a:lnTo>
                  <a:lnTo>
                    <a:pt x="150" y="6"/>
                  </a:lnTo>
                  <a:lnTo>
                    <a:pt x="152" y="7"/>
                  </a:lnTo>
                  <a:lnTo>
                    <a:pt x="155" y="9"/>
                  </a:lnTo>
                  <a:lnTo>
                    <a:pt x="160" y="10"/>
                  </a:lnTo>
                  <a:lnTo>
                    <a:pt x="161" y="11"/>
                  </a:lnTo>
                  <a:lnTo>
                    <a:pt x="163" y="12"/>
                  </a:lnTo>
                  <a:lnTo>
                    <a:pt x="164" y="12"/>
                  </a:lnTo>
                  <a:lnTo>
                    <a:pt x="165" y="13"/>
                  </a:lnTo>
                  <a:lnTo>
                    <a:pt x="166" y="14"/>
                  </a:lnTo>
                  <a:lnTo>
                    <a:pt x="170" y="16"/>
                  </a:lnTo>
                  <a:lnTo>
                    <a:pt x="170" y="17"/>
                  </a:lnTo>
                  <a:lnTo>
                    <a:pt x="171" y="17"/>
                  </a:lnTo>
                  <a:lnTo>
                    <a:pt x="173" y="18"/>
                  </a:lnTo>
                  <a:lnTo>
                    <a:pt x="174" y="18"/>
                  </a:lnTo>
                  <a:lnTo>
                    <a:pt x="175" y="18"/>
                  </a:lnTo>
                  <a:lnTo>
                    <a:pt x="175" y="19"/>
                  </a:lnTo>
                  <a:lnTo>
                    <a:pt x="176" y="19"/>
                  </a:lnTo>
                  <a:lnTo>
                    <a:pt x="178" y="19"/>
                  </a:lnTo>
                  <a:lnTo>
                    <a:pt x="181" y="19"/>
                  </a:lnTo>
                  <a:lnTo>
                    <a:pt x="183" y="19"/>
                  </a:lnTo>
                  <a:lnTo>
                    <a:pt x="184" y="19"/>
                  </a:lnTo>
                  <a:lnTo>
                    <a:pt x="184" y="19"/>
                  </a:lnTo>
                  <a:lnTo>
                    <a:pt x="187" y="18"/>
                  </a:lnTo>
                  <a:lnTo>
                    <a:pt x="194" y="16"/>
                  </a:lnTo>
                  <a:lnTo>
                    <a:pt x="196" y="16"/>
                  </a:lnTo>
                  <a:lnTo>
                    <a:pt x="199" y="14"/>
                  </a:lnTo>
                  <a:lnTo>
                    <a:pt x="200" y="14"/>
                  </a:lnTo>
                  <a:lnTo>
                    <a:pt x="201" y="14"/>
                  </a:lnTo>
                  <a:lnTo>
                    <a:pt x="203" y="13"/>
                  </a:lnTo>
                  <a:lnTo>
                    <a:pt x="204" y="13"/>
                  </a:lnTo>
                  <a:lnTo>
                    <a:pt x="204" y="14"/>
                  </a:lnTo>
                  <a:lnTo>
                    <a:pt x="205" y="14"/>
                  </a:lnTo>
                  <a:lnTo>
                    <a:pt x="206" y="14"/>
                  </a:lnTo>
                  <a:lnTo>
                    <a:pt x="206" y="15"/>
                  </a:lnTo>
                  <a:lnTo>
                    <a:pt x="207" y="15"/>
                  </a:lnTo>
                  <a:lnTo>
                    <a:pt x="208" y="16"/>
                  </a:lnTo>
                  <a:lnTo>
                    <a:pt x="209" y="17"/>
                  </a:lnTo>
                  <a:lnTo>
                    <a:pt x="209" y="18"/>
                  </a:lnTo>
                  <a:lnTo>
                    <a:pt x="210" y="19"/>
                  </a:lnTo>
                  <a:lnTo>
                    <a:pt x="210" y="20"/>
                  </a:lnTo>
                  <a:lnTo>
                    <a:pt x="211" y="24"/>
                  </a:lnTo>
                  <a:lnTo>
                    <a:pt x="212" y="26"/>
                  </a:lnTo>
                  <a:lnTo>
                    <a:pt x="213" y="28"/>
                  </a:lnTo>
                  <a:lnTo>
                    <a:pt x="216" y="34"/>
                  </a:lnTo>
                  <a:lnTo>
                    <a:pt x="217" y="38"/>
                  </a:lnTo>
                  <a:lnTo>
                    <a:pt x="219" y="41"/>
                  </a:lnTo>
                  <a:lnTo>
                    <a:pt x="219" y="43"/>
                  </a:lnTo>
                  <a:lnTo>
                    <a:pt x="220" y="44"/>
                  </a:lnTo>
                  <a:lnTo>
                    <a:pt x="221" y="45"/>
                  </a:lnTo>
                  <a:lnTo>
                    <a:pt x="221" y="46"/>
                  </a:lnTo>
                  <a:lnTo>
                    <a:pt x="222" y="46"/>
                  </a:lnTo>
                  <a:lnTo>
                    <a:pt x="222" y="46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4" y="48"/>
                  </a:lnTo>
                  <a:lnTo>
                    <a:pt x="225" y="48"/>
                  </a:lnTo>
                  <a:lnTo>
                    <a:pt x="225" y="48"/>
                  </a:lnTo>
                  <a:lnTo>
                    <a:pt x="226" y="48"/>
                  </a:lnTo>
                  <a:lnTo>
                    <a:pt x="227" y="48"/>
                  </a:lnTo>
                  <a:lnTo>
                    <a:pt x="228" y="47"/>
                  </a:lnTo>
                  <a:lnTo>
                    <a:pt x="229" y="47"/>
                  </a:lnTo>
                  <a:lnTo>
                    <a:pt x="231" y="46"/>
                  </a:lnTo>
                  <a:lnTo>
                    <a:pt x="236" y="45"/>
                  </a:lnTo>
                  <a:lnTo>
                    <a:pt x="238" y="44"/>
                  </a:lnTo>
                  <a:lnTo>
                    <a:pt x="241" y="43"/>
                  </a:lnTo>
                  <a:lnTo>
                    <a:pt x="242" y="43"/>
                  </a:lnTo>
                  <a:lnTo>
                    <a:pt x="244" y="42"/>
                  </a:lnTo>
                  <a:lnTo>
                    <a:pt x="245" y="42"/>
                  </a:lnTo>
                  <a:lnTo>
                    <a:pt x="247" y="42"/>
                  </a:lnTo>
                  <a:lnTo>
                    <a:pt x="247" y="41"/>
                  </a:lnTo>
                  <a:lnTo>
                    <a:pt x="249" y="41"/>
                  </a:lnTo>
                  <a:lnTo>
                    <a:pt x="250" y="41"/>
                  </a:lnTo>
                  <a:lnTo>
                    <a:pt x="251" y="42"/>
                  </a:lnTo>
                  <a:lnTo>
                    <a:pt x="252" y="42"/>
                  </a:lnTo>
                  <a:lnTo>
                    <a:pt x="253" y="43"/>
                  </a:lnTo>
                  <a:lnTo>
                    <a:pt x="254" y="43"/>
                  </a:lnTo>
                  <a:lnTo>
                    <a:pt x="255" y="44"/>
                  </a:lnTo>
                  <a:lnTo>
                    <a:pt x="256" y="45"/>
                  </a:lnTo>
                  <a:lnTo>
                    <a:pt x="257" y="45"/>
                  </a:lnTo>
                  <a:lnTo>
                    <a:pt x="257" y="46"/>
                  </a:lnTo>
                  <a:lnTo>
                    <a:pt x="258" y="47"/>
                  </a:lnTo>
                  <a:lnTo>
                    <a:pt x="259" y="49"/>
                  </a:lnTo>
                  <a:lnTo>
                    <a:pt x="259" y="49"/>
                  </a:lnTo>
                  <a:lnTo>
                    <a:pt x="260" y="50"/>
                  </a:lnTo>
                  <a:lnTo>
                    <a:pt x="260" y="52"/>
                  </a:lnTo>
                  <a:lnTo>
                    <a:pt x="261" y="54"/>
                  </a:lnTo>
                  <a:lnTo>
                    <a:pt x="262" y="56"/>
                  </a:lnTo>
                  <a:lnTo>
                    <a:pt x="262" y="58"/>
                  </a:lnTo>
                  <a:lnTo>
                    <a:pt x="262" y="61"/>
                  </a:lnTo>
                  <a:lnTo>
                    <a:pt x="263" y="65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3" y="68"/>
                  </a:lnTo>
                  <a:lnTo>
                    <a:pt x="263" y="68"/>
                  </a:lnTo>
                  <a:lnTo>
                    <a:pt x="263" y="69"/>
                  </a:lnTo>
                  <a:lnTo>
                    <a:pt x="263" y="69"/>
                  </a:lnTo>
                  <a:lnTo>
                    <a:pt x="263" y="70"/>
                  </a:lnTo>
                  <a:lnTo>
                    <a:pt x="261" y="73"/>
                  </a:lnTo>
                  <a:lnTo>
                    <a:pt x="261" y="74"/>
                  </a:lnTo>
                  <a:lnTo>
                    <a:pt x="261" y="74"/>
                  </a:lnTo>
                  <a:lnTo>
                    <a:pt x="260" y="75"/>
                  </a:lnTo>
                  <a:lnTo>
                    <a:pt x="260" y="76"/>
                  </a:lnTo>
                  <a:lnTo>
                    <a:pt x="261" y="76"/>
                  </a:lnTo>
                  <a:lnTo>
                    <a:pt x="261" y="77"/>
                  </a:lnTo>
                  <a:lnTo>
                    <a:pt x="261" y="77"/>
                  </a:lnTo>
                  <a:lnTo>
                    <a:pt x="262" y="78"/>
                  </a:lnTo>
                  <a:lnTo>
                    <a:pt x="262" y="79"/>
                  </a:lnTo>
                  <a:lnTo>
                    <a:pt x="263" y="79"/>
                  </a:lnTo>
                  <a:lnTo>
                    <a:pt x="264" y="79"/>
                  </a:lnTo>
                  <a:lnTo>
                    <a:pt x="265" y="80"/>
                  </a:lnTo>
                  <a:lnTo>
                    <a:pt x="266" y="80"/>
                  </a:lnTo>
                  <a:lnTo>
                    <a:pt x="267" y="80"/>
                  </a:lnTo>
                  <a:lnTo>
                    <a:pt x="267" y="80"/>
                  </a:lnTo>
                  <a:lnTo>
                    <a:pt x="268" y="80"/>
                  </a:lnTo>
                  <a:lnTo>
                    <a:pt x="269" y="79"/>
                  </a:lnTo>
                  <a:lnTo>
                    <a:pt x="270" y="79"/>
                  </a:lnTo>
                  <a:lnTo>
                    <a:pt x="272" y="78"/>
                  </a:lnTo>
                  <a:lnTo>
                    <a:pt x="274" y="76"/>
                  </a:lnTo>
                  <a:lnTo>
                    <a:pt x="275" y="76"/>
                  </a:lnTo>
                  <a:lnTo>
                    <a:pt x="276" y="75"/>
                  </a:lnTo>
                  <a:lnTo>
                    <a:pt x="276" y="75"/>
                  </a:lnTo>
                  <a:lnTo>
                    <a:pt x="276" y="74"/>
                  </a:lnTo>
                  <a:lnTo>
                    <a:pt x="277" y="74"/>
                  </a:lnTo>
                  <a:lnTo>
                    <a:pt x="277" y="73"/>
                  </a:lnTo>
                  <a:lnTo>
                    <a:pt x="278" y="72"/>
                  </a:lnTo>
                  <a:lnTo>
                    <a:pt x="280" y="68"/>
                  </a:lnTo>
                  <a:lnTo>
                    <a:pt x="281" y="65"/>
                  </a:lnTo>
                  <a:lnTo>
                    <a:pt x="282" y="64"/>
                  </a:lnTo>
                  <a:lnTo>
                    <a:pt x="283" y="62"/>
                  </a:lnTo>
                  <a:lnTo>
                    <a:pt x="285" y="61"/>
                  </a:lnTo>
                  <a:lnTo>
                    <a:pt x="286" y="59"/>
                  </a:lnTo>
                  <a:lnTo>
                    <a:pt x="287" y="58"/>
                  </a:lnTo>
                  <a:lnTo>
                    <a:pt x="289" y="57"/>
                  </a:lnTo>
                  <a:lnTo>
                    <a:pt x="290" y="56"/>
                  </a:lnTo>
                  <a:lnTo>
                    <a:pt x="291" y="55"/>
                  </a:lnTo>
                  <a:lnTo>
                    <a:pt x="291" y="55"/>
                  </a:lnTo>
                  <a:lnTo>
                    <a:pt x="292" y="55"/>
                  </a:lnTo>
                  <a:lnTo>
                    <a:pt x="293" y="54"/>
                  </a:lnTo>
                  <a:lnTo>
                    <a:pt x="295" y="54"/>
                  </a:lnTo>
                  <a:lnTo>
                    <a:pt x="296" y="55"/>
                  </a:lnTo>
                  <a:lnTo>
                    <a:pt x="297" y="55"/>
                  </a:lnTo>
                  <a:lnTo>
                    <a:pt x="298" y="55"/>
                  </a:lnTo>
                  <a:lnTo>
                    <a:pt x="299" y="56"/>
                  </a:lnTo>
                  <a:lnTo>
                    <a:pt x="304" y="58"/>
                  </a:lnTo>
                  <a:lnTo>
                    <a:pt x="305" y="58"/>
                  </a:lnTo>
                  <a:lnTo>
                    <a:pt x="306" y="59"/>
                  </a:lnTo>
                  <a:lnTo>
                    <a:pt x="307" y="60"/>
                  </a:lnTo>
                  <a:lnTo>
                    <a:pt x="309" y="61"/>
                  </a:lnTo>
                  <a:lnTo>
                    <a:pt x="310" y="62"/>
                  </a:lnTo>
                  <a:lnTo>
                    <a:pt x="313" y="65"/>
                  </a:lnTo>
                  <a:lnTo>
                    <a:pt x="314" y="65"/>
                  </a:lnTo>
                  <a:lnTo>
                    <a:pt x="315" y="66"/>
                  </a:lnTo>
                  <a:lnTo>
                    <a:pt x="315" y="66"/>
                  </a:lnTo>
                  <a:lnTo>
                    <a:pt x="316" y="66"/>
                  </a:lnTo>
                  <a:lnTo>
                    <a:pt x="316" y="66"/>
                  </a:lnTo>
                  <a:lnTo>
                    <a:pt x="317" y="66"/>
                  </a:lnTo>
                  <a:lnTo>
                    <a:pt x="318" y="66"/>
                  </a:lnTo>
                  <a:lnTo>
                    <a:pt x="319" y="66"/>
                  </a:lnTo>
                  <a:lnTo>
                    <a:pt x="319" y="66"/>
                  </a:lnTo>
                  <a:lnTo>
                    <a:pt x="320" y="66"/>
                  </a:lnTo>
                  <a:lnTo>
                    <a:pt x="321" y="66"/>
                  </a:lnTo>
                  <a:lnTo>
                    <a:pt x="322" y="65"/>
                  </a:lnTo>
                  <a:lnTo>
                    <a:pt x="322" y="65"/>
                  </a:lnTo>
                  <a:lnTo>
                    <a:pt x="323" y="64"/>
                  </a:lnTo>
                  <a:lnTo>
                    <a:pt x="323" y="64"/>
                  </a:lnTo>
                  <a:lnTo>
                    <a:pt x="324" y="63"/>
                  </a:lnTo>
                  <a:lnTo>
                    <a:pt x="324" y="63"/>
                  </a:lnTo>
                  <a:lnTo>
                    <a:pt x="325" y="62"/>
                  </a:lnTo>
                  <a:lnTo>
                    <a:pt x="325" y="61"/>
                  </a:lnTo>
                  <a:lnTo>
                    <a:pt x="326" y="57"/>
                  </a:lnTo>
                  <a:lnTo>
                    <a:pt x="327" y="55"/>
                  </a:lnTo>
                  <a:lnTo>
                    <a:pt x="328" y="54"/>
                  </a:lnTo>
                  <a:lnTo>
                    <a:pt x="329" y="53"/>
                  </a:lnTo>
                  <a:lnTo>
                    <a:pt x="329" y="53"/>
                  </a:lnTo>
                  <a:lnTo>
                    <a:pt x="330" y="52"/>
                  </a:lnTo>
                  <a:lnTo>
                    <a:pt x="330" y="52"/>
                  </a:lnTo>
                  <a:lnTo>
                    <a:pt x="330" y="51"/>
                  </a:lnTo>
                  <a:lnTo>
                    <a:pt x="331" y="51"/>
                  </a:lnTo>
                  <a:lnTo>
                    <a:pt x="332" y="50"/>
                  </a:lnTo>
                  <a:lnTo>
                    <a:pt x="332" y="50"/>
                  </a:lnTo>
                  <a:lnTo>
                    <a:pt x="333" y="50"/>
                  </a:lnTo>
                  <a:lnTo>
                    <a:pt x="334" y="50"/>
                  </a:lnTo>
                  <a:lnTo>
                    <a:pt x="335" y="50"/>
                  </a:lnTo>
                  <a:lnTo>
                    <a:pt x="336" y="50"/>
                  </a:lnTo>
                  <a:lnTo>
                    <a:pt x="338" y="50"/>
                  </a:lnTo>
                  <a:lnTo>
                    <a:pt x="339" y="50"/>
                  </a:lnTo>
                  <a:lnTo>
                    <a:pt x="340" y="50"/>
                  </a:lnTo>
                  <a:lnTo>
                    <a:pt x="341" y="50"/>
                  </a:lnTo>
                  <a:lnTo>
                    <a:pt x="345" y="51"/>
                  </a:lnTo>
                  <a:lnTo>
                    <a:pt x="346" y="51"/>
                  </a:lnTo>
                  <a:lnTo>
                    <a:pt x="347" y="51"/>
                  </a:lnTo>
                  <a:lnTo>
                    <a:pt x="348" y="52"/>
                  </a:lnTo>
                  <a:lnTo>
                    <a:pt x="350" y="52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6" y="52"/>
                  </a:lnTo>
                  <a:lnTo>
                    <a:pt x="357" y="52"/>
                  </a:lnTo>
                  <a:lnTo>
                    <a:pt x="358" y="52"/>
                  </a:lnTo>
                  <a:lnTo>
                    <a:pt x="359" y="53"/>
                  </a:lnTo>
                  <a:lnTo>
                    <a:pt x="360" y="53"/>
                  </a:lnTo>
                  <a:lnTo>
                    <a:pt x="361" y="54"/>
                  </a:lnTo>
                  <a:lnTo>
                    <a:pt x="362" y="55"/>
                  </a:lnTo>
                  <a:lnTo>
                    <a:pt x="365" y="57"/>
                  </a:lnTo>
                  <a:lnTo>
                    <a:pt x="367" y="59"/>
                  </a:lnTo>
                  <a:lnTo>
                    <a:pt x="367" y="59"/>
                  </a:lnTo>
                  <a:lnTo>
                    <a:pt x="369" y="61"/>
                  </a:lnTo>
                  <a:lnTo>
                    <a:pt x="371" y="64"/>
                  </a:lnTo>
                  <a:lnTo>
                    <a:pt x="374" y="67"/>
                  </a:lnTo>
                  <a:lnTo>
                    <a:pt x="376" y="69"/>
                  </a:lnTo>
                  <a:lnTo>
                    <a:pt x="378" y="71"/>
                  </a:lnTo>
                  <a:lnTo>
                    <a:pt x="381" y="74"/>
                  </a:lnTo>
                  <a:lnTo>
                    <a:pt x="383" y="76"/>
                  </a:lnTo>
                  <a:lnTo>
                    <a:pt x="385" y="78"/>
                  </a:lnTo>
                  <a:lnTo>
                    <a:pt x="386" y="80"/>
                  </a:lnTo>
                  <a:lnTo>
                    <a:pt x="388" y="81"/>
                  </a:lnTo>
                  <a:lnTo>
                    <a:pt x="388" y="83"/>
                  </a:lnTo>
                  <a:lnTo>
                    <a:pt x="389" y="84"/>
                  </a:lnTo>
                  <a:lnTo>
                    <a:pt x="389" y="85"/>
                  </a:lnTo>
                  <a:lnTo>
                    <a:pt x="389" y="86"/>
                  </a:lnTo>
                  <a:lnTo>
                    <a:pt x="389" y="87"/>
                  </a:lnTo>
                  <a:lnTo>
                    <a:pt x="389" y="88"/>
                  </a:lnTo>
                  <a:lnTo>
                    <a:pt x="389" y="89"/>
                  </a:lnTo>
                  <a:lnTo>
                    <a:pt x="389" y="90"/>
                  </a:lnTo>
                  <a:lnTo>
                    <a:pt x="389" y="90"/>
                  </a:lnTo>
                  <a:lnTo>
                    <a:pt x="388" y="91"/>
                  </a:lnTo>
                  <a:lnTo>
                    <a:pt x="388" y="92"/>
                  </a:lnTo>
                  <a:lnTo>
                    <a:pt x="386" y="93"/>
                  </a:lnTo>
                  <a:lnTo>
                    <a:pt x="384" y="95"/>
                  </a:lnTo>
                  <a:lnTo>
                    <a:pt x="384" y="96"/>
                  </a:lnTo>
                  <a:lnTo>
                    <a:pt x="383" y="96"/>
                  </a:lnTo>
                  <a:lnTo>
                    <a:pt x="383" y="97"/>
                  </a:lnTo>
                  <a:lnTo>
                    <a:pt x="382" y="98"/>
                  </a:lnTo>
                  <a:lnTo>
                    <a:pt x="381" y="101"/>
                  </a:lnTo>
                  <a:lnTo>
                    <a:pt x="381" y="103"/>
                  </a:lnTo>
                  <a:lnTo>
                    <a:pt x="380" y="104"/>
                  </a:lnTo>
                  <a:lnTo>
                    <a:pt x="379" y="107"/>
                  </a:lnTo>
                  <a:lnTo>
                    <a:pt x="378" y="108"/>
                  </a:lnTo>
                  <a:lnTo>
                    <a:pt x="378" y="109"/>
                  </a:lnTo>
                  <a:lnTo>
                    <a:pt x="378" y="111"/>
                  </a:lnTo>
                  <a:lnTo>
                    <a:pt x="378" y="112"/>
                  </a:lnTo>
                  <a:lnTo>
                    <a:pt x="377" y="113"/>
                  </a:lnTo>
                  <a:lnTo>
                    <a:pt x="377" y="114"/>
                  </a:lnTo>
                  <a:lnTo>
                    <a:pt x="376" y="116"/>
                  </a:lnTo>
                  <a:lnTo>
                    <a:pt x="375" y="117"/>
                  </a:lnTo>
                  <a:lnTo>
                    <a:pt x="373" y="118"/>
                  </a:lnTo>
                  <a:lnTo>
                    <a:pt x="370" y="122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7" y="125"/>
                  </a:lnTo>
                  <a:lnTo>
                    <a:pt x="366" y="125"/>
                  </a:lnTo>
                  <a:lnTo>
                    <a:pt x="366" y="126"/>
                  </a:lnTo>
                  <a:lnTo>
                    <a:pt x="365" y="126"/>
                  </a:lnTo>
                  <a:lnTo>
                    <a:pt x="364" y="126"/>
                  </a:lnTo>
                  <a:lnTo>
                    <a:pt x="363" y="127"/>
                  </a:lnTo>
                  <a:lnTo>
                    <a:pt x="362" y="127"/>
                  </a:lnTo>
                  <a:lnTo>
                    <a:pt x="361" y="127"/>
                  </a:lnTo>
                  <a:lnTo>
                    <a:pt x="359" y="126"/>
                  </a:lnTo>
                  <a:lnTo>
                    <a:pt x="357" y="126"/>
                  </a:lnTo>
                  <a:lnTo>
                    <a:pt x="357" y="126"/>
                  </a:lnTo>
                  <a:lnTo>
                    <a:pt x="356" y="126"/>
                  </a:lnTo>
                  <a:lnTo>
                    <a:pt x="356" y="127"/>
                  </a:lnTo>
                  <a:lnTo>
                    <a:pt x="355" y="127"/>
                  </a:lnTo>
                  <a:lnTo>
                    <a:pt x="355" y="127"/>
                  </a:lnTo>
                  <a:lnTo>
                    <a:pt x="354" y="128"/>
                  </a:lnTo>
                  <a:lnTo>
                    <a:pt x="354" y="128"/>
                  </a:lnTo>
                  <a:lnTo>
                    <a:pt x="352" y="130"/>
                  </a:lnTo>
                  <a:lnTo>
                    <a:pt x="350" y="132"/>
                  </a:lnTo>
                  <a:lnTo>
                    <a:pt x="349" y="133"/>
                  </a:lnTo>
                  <a:lnTo>
                    <a:pt x="348" y="134"/>
                  </a:lnTo>
                  <a:lnTo>
                    <a:pt x="347" y="135"/>
                  </a:lnTo>
                  <a:lnTo>
                    <a:pt x="346" y="135"/>
                  </a:lnTo>
                  <a:lnTo>
                    <a:pt x="345" y="135"/>
                  </a:lnTo>
                  <a:lnTo>
                    <a:pt x="343" y="136"/>
                  </a:lnTo>
                  <a:lnTo>
                    <a:pt x="343" y="136"/>
                  </a:lnTo>
                  <a:lnTo>
                    <a:pt x="342" y="136"/>
                  </a:lnTo>
                  <a:lnTo>
                    <a:pt x="341" y="137"/>
                  </a:lnTo>
                  <a:lnTo>
                    <a:pt x="339" y="138"/>
                  </a:lnTo>
                  <a:lnTo>
                    <a:pt x="338" y="139"/>
                  </a:lnTo>
                  <a:lnTo>
                    <a:pt x="337" y="139"/>
                  </a:lnTo>
                  <a:lnTo>
                    <a:pt x="337" y="140"/>
                  </a:lnTo>
                  <a:lnTo>
                    <a:pt x="335" y="141"/>
                  </a:lnTo>
                  <a:lnTo>
                    <a:pt x="335" y="142"/>
                  </a:lnTo>
                  <a:lnTo>
                    <a:pt x="334" y="143"/>
                  </a:lnTo>
                  <a:lnTo>
                    <a:pt x="332" y="144"/>
                  </a:lnTo>
                  <a:lnTo>
                    <a:pt x="332" y="144"/>
                  </a:lnTo>
                  <a:lnTo>
                    <a:pt x="331" y="145"/>
                  </a:lnTo>
                  <a:lnTo>
                    <a:pt x="330" y="146"/>
                  </a:lnTo>
                  <a:lnTo>
                    <a:pt x="330" y="147"/>
                  </a:lnTo>
                  <a:lnTo>
                    <a:pt x="329" y="147"/>
                  </a:lnTo>
                  <a:lnTo>
                    <a:pt x="329" y="148"/>
                  </a:lnTo>
                  <a:lnTo>
                    <a:pt x="329" y="149"/>
                  </a:lnTo>
                  <a:lnTo>
                    <a:pt x="329" y="150"/>
                  </a:lnTo>
                  <a:lnTo>
                    <a:pt x="329" y="151"/>
                  </a:lnTo>
                  <a:lnTo>
                    <a:pt x="328" y="151"/>
                  </a:lnTo>
                  <a:lnTo>
                    <a:pt x="328" y="152"/>
                  </a:lnTo>
                  <a:lnTo>
                    <a:pt x="327" y="152"/>
                  </a:lnTo>
                  <a:lnTo>
                    <a:pt x="327" y="152"/>
                  </a:lnTo>
                  <a:lnTo>
                    <a:pt x="326" y="152"/>
                  </a:lnTo>
                  <a:lnTo>
                    <a:pt x="325" y="152"/>
                  </a:lnTo>
                  <a:lnTo>
                    <a:pt x="325" y="152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3" y="154"/>
                  </a:lnTo>
                  <a:lnTo>
                    <a:pt x="323" y="154"/>
                  </a:lnTo>
                  <a:lnTo>
                    <a:pt x="322" y="155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9"/>
                  </a:lnTo>
                  <a:lnTo>
                    <a:pt x="322" y="160"/>
                  </a:lnTo>
                  <a:lnTo>
                    <a:pt x="322" y="160"/>
                  </a:lnTo>
                  <a:lnTo>
                    <a:pt x="323" y="161"/>
                  </a:lnTo>
                  <a:lnTo>
                    <a:pt x="324" y="164"/>
                  </a:lnTo>
                  <a:lnTo>
                    <a:pt x="325" y="166"/>
                  </a:lnTo>
                  <a:lnTo>
                    <a:pt x="326" y="167"/>
                  </a:lnTo>
                  <a:lnTo>
                    <a:pt x="326" y="167"/>
                  </a:lnTo>
                  <a:lnTo>
                    <a:pt x="327" y="168"/>
                  </a:lnTo>
                  <a:lnTo>
                    <a:pt x="327" y="168"/>
                  </a:lnTo>
                  <a:lnTo>
                    <a:pt x="328" y="168"/>
                  </a:lnTo>
                  <a:lnTo>
                    <a:pt x="329" y="169"/>
                  </a:lnTo>
                  <a:lnTo>
                    <a:pt x="331" y="169"/>
                  </a:lnTo>
                  <a:lnTo>
                    <a:pt x="331" y="169"/>
                  </a:lnTo>
                  <a:lnTo>
                    <a:pt x="332" y="170"/>
                  </a:lnTo>
                  <a:lnTo>
                    <a:pt x="333" y="171"/>
                  </a:lnTo>
                  <a:lnTo>
                    <a:pt x="334" y="171"/>
                  </a:lnTo>
                  <a:lnTo>
                    <a:pt x="335" y="172"/>
                  </a:lnTo>
                  <a:lnTo>
                    <a:pt x="335" y="173"/>
                  </a:lnTo>
                  <a:lnTo>
                    <a:pt x="337" y="176"/>
                  </a:lnTo>
                  <a:lnTo>
                    <a:pt x="338" y="176"/>
                  </a:lnTo>
                  <a:lnTo>
                    <a:pt x="339" y="178"/>
                  </a:lnTo>
                  <a:lnTo>
                    <a:pt x="339" y="178"/>
                  </a:lnTo>
                  <a:lnTo>
                    <a:pt x="340" y="180"/>
                  </a:lnTo>
                  <a:lnTo>
                    <a:pt x="342" y="181"/>
                  </a:lnTo>
                  <a:lnTo>
                    <a:pt x="342" y="182"/>
                  </a:lnTo>
                  <a:lnTo>
                    <a:pt x="343" y="183"/>
                  </a:lnTo>
                  <a:lnTo>
                    <a:pt x="344" y="184"/>
                  </a:lnTo>
                  <a:lnTo>
                    <a:pt x="344" y="185"/>
                  </a:lnTo>
                  <a:lnTo>
                    <a:pt x="345" y="185"/>
                  </a:lnTo>
                  <a:lnTo>
                    <a:pt x="346" y="186"/>
                  </a:lnTo>
                  <a:lnTo>
                    <a:pt x="346" y="186"/>
                  </a:lnTo>
                  <a:lnTo>
                    <a:pt x="347" y="186"/>
                  </a:lnTo>
                  <a:lnTo>
                    <a:pt x="348" y="186"/>
                  </a:lnTo>
                  <a:lnTo>
                    <a:pt x="348" y="186"/>
                  </a:lnTo>
                  <a:lnTo>
                    <a:pt x="349" y="185"/>
                  </a:lnTo>
                  <a:lnTo>
                    <a:pt x="352" y="184"/>
                  </a:lnTo>
                  <a:lnTo>
                    <a:pt x="353" y="183"/>
                  </a:lnTo>
                  <a:lnTo>
                    <a:pt x="353" y="183"/>
                  </a:lnTo>
                  <a:lnTo>
                    <a:pt x="354" y="183"/>
                  </a:lnTo>
                  <a:lnTo>
                    <a:pt x="355" y="183"/>
                  </a:lnTo>
                  <a:lnTo>
                    <a:pt x="356" y="183"/>
                  </a:lnTo>
                  <a:lnTo>
                    <a:pt x="358" y="183"/>
                  </a:lnTo>
                  <a:lnTo>
                    <a:pt x="359" y="183"/>
                  </a:lnTo>
                  <a:lnTo>
                    <a:pt x="361" y="183"/>
                  </a:lnTo>
                  <a:lnTo>
                    <a:pt x="362" y="183"/>
                  </a:lnTo>
                  <a:lnTo>
                    <a:pt x="363" y="183"/>
                  </a:lnTo>
                  <a:lnTo>
                    <a:pt x="365" y="183"/>
                  </a:lnTo>
                  <a:lnTo>
                    <a:pt x="365" y="184"/>
                  </a:lnTo>
                  <a:lnTo>
                    <a:pt x="366" y="184"/>
                  </a:lnTo>
                  <a:lnTo>
                    <a:pt x="367" y="185"/>
                  </a:lnTo>
                  <a:lnTo>
                    <a:pt x="368" y="185"/>
                  </a:lnTo>
                  <a:lnTo>
                    <a:pt x="368" y="185"/>
                  </a:lnTo>
                  <a:lnTo>
                    <a:pt x="368" y="186"/>
                  </a:lnTo>
                  <a:lnTo>
                    <a:pt x="369" y="187"/>
                  </a:lnTo>
                  <a:lnTo>
                    <a:pt x="370" y="189"/>
                  </a:lnTo>
                  <a:lnTo>
                    <a:pt x="370" y="190"/>
                  </a:lnTo>
                  <a:lnTo>
                    <a:pt x="371" y="194"/>
                  </a:lnTo>
                  <a:lnTo>
                    <a:pt x="372" y="196"/>
                  </a:lnTo>
                  <a:lnTo>
                    <a:pt x="372" y="197"/>
                  </a:lnTo>
                  <a:lnTo>
                    <a:pt x="373" y="198"/>
                  </a:lnTo>
                  <a:lnTo>
                    <a:pt x="373" y="200"/>
                  </a:lnTo>
                  <a:lnTo>
                    <a:pt x="374" y="201"/>
                  </a:lnTo>
                  <a:lnTo>
                    <a:pt x="375" y="203"/>
                  </a:lnTo>
                  <a:lnTo>
                    <a:pt x="376" y="203"/>
                  </a:lnTo>
                  <a:lnTo>
                    <a:pt x="377" y="205"/>
                  </a:lnTo>
                  <a:lnTo>
                    <a:pt x="378" y="205"/>
                  </a:lnTo>
                  <a:lnTo>
                    <a:pt x="379" y="206"/>
                  </a:lnTo>
                  <a:lnTo>
                    <a:pt x="380" y="207"/>
                  </a:lnTo>
                  <a:lnTo>
                    <a:pt x="381" y="208"/>
                  </a:lnTo>
                  <a:lnTo>
                    <a:pt x="382" y="208"/>
                  </a:lnTo>
                  <a:lnTo>
                    <a:pt x="383" y="208"/>
                  </a:lnTo>
                  <a:lnTo>
                    <a:pt x="386" y="208"/>
                  </a:lnTo>
                  <a:lnTo>
                    <a:pt x="387" y="209"/>
                  </a:lnTo>
                  <a:lnTo>
                    <a:pt x="388" y="209"/>
                  </a:lnTo>
                  <a:lnTo>
                    <a:pt x="389" y="210"/>
                  </a:lnTo>
                  <a:lnTo>
                    <a:pt x="390" y="210"/>
                  </a:lnTo>
                  <a:lnTo>
                    <a:pt x="391" y="211"/>
                  </a:lnTo>
                  <a:lnTo>
                    <a:pt x="392" y="212"/>
                  </a:lnTo>
                  <a:lnTo>
                    <a:pt x="394" y="213"/>
                  </a:lnTo>
                  <a:lnTo>
                    <a:pt x="395" y="215"/>
                  </a:lnTo>
                  <a:lnTo>
                    <a:pt x="397" y="218"/>
                  </a:lnTo>
                  <a:lnTo>
                    <a:pt x="399" y="220"/>
                  </a:lnTo>
                  <a:lnTo>
                    <a:pt x="400" y="222"/>
                  </a:lnTo>
                  <a:lnTo>
                    <a:pt x="402" y="225"/>
                  </a:lnTo>
                  <a:lnTo>
                    <a:pt x="404" y="229"/>
                  </a:lnTo>
                  <a:lnTo>
                    <a:pt x="406" y="231"/>
                  </a:lnTo>
                  <a:lnTo>
                    <a:pt x="408" y="234"/>
                  </a:lnTo>
                  <a:lnTo>
                    <a:pt x="409" y="234"/>
                  </a:lnTo>
                  <a:lnTo>
                    <a:pt x="410" y="235"/>
                  </a:lnTo>
                  <a:lnTo>
                    <a:pt x="413" y="238"/>
                  </a:lnTo>
                  <a:lnTo>
                    <a:pt x="416" y="243"/>
                  </a:lnTo>
                  <a:lnTo>
                    <a:pt x="417" y="244"/>
                  </a:lnTo>
                  <a:lnTo>
                    <a:pt x="418" y="245"/>
                  </a:lnTo>
                  <a:lnTo>
                    <a:pt x="419" y="246"/>
                  </a:lnTo>
                  <a:lnTo>
                    <a:pt x="422" y="248"/>
                  </a:lnTo>
                  <a:lnTo>
                    <a:pt x="423" y="249"/>
                  </a:lnTo>
                  <a:lnTo>
                    <a:pt x="423" y="249"/>
                  </a:lnTo>
                  <a:lnTo>
                    <a:pt x="424" y="250"/>
                  </a:lnTo>
                  <a:lnTo>
                    <a:pt x="425" y="252"/>
                  </a:lnTo>
                  <a:lnTo>
                    <a:pt x="426" y="253"/>
                  </a:lnTo>
                  <a:lnTo>
                    <a:pt x="426" y="254"/>
                  </a:lnTo>
                  <a:lnTo>
                    <a:pt x="427" y="255"/>
                  </a:lnTo>
                  <a:lnTo>
                    <a:pt x="428" y="256"/>
                  </a:lnTo>
                  <a:lnTo>
                    <a:pt x="428" y="259"/>
                  </a:lnTo>
                  <a:lnTo>
                    <a:pt x="429" y="260"/>
                  </a:lnTo>
                  <a:lnTo>
                    <a:pt x="429" y="262"/>
                  </a:lnTo>
                  <a:lnTo>
                    <a:pt x="429" y="266"/>
                  </a:lnTo>
                  <a:lnTo>
                    <a:pt x="429" y="269"/>
                  </a:lnTo>
                  <a:lnTo>
                    <a:pt x="430" y="271"/>
                  </a:lnTo>
                  <a:lnTo>
                    <a:pt x="430" y="273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2" y="281"/>
                  </a:lnTo>
                  <a:lnTo>
                    <a:pt x="433" y="283"/>
                  </a:lnTo>
                  <a:lnTo>
                    <a:pt x="435" y="286"/>
                  </a:lnTo>
                  <a:lnTo>
                    <a:pt x="436" y="287"/>
                  </a:lnTo>
                  <a:lnTo>
                    <a:pt x="436" y="288"/>
                  </a:lnTo>
                  <a:lnTo>
                    <a:pt x="436" y="289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5" y="291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1" y="290"/>
                  </a:lnTo>
                  <a:lnTo>
                    <a:pt x="430" y="290"/>
                  </a:lnTo>
                  <a:lnTo>
                    <a:pt x="425" y="288"/>
                  </a:lnTo>
                  <a:lnTo>
                    <a:pt x="423" y="287"/>
                  </a:lnTo>
                  <a:lnTo>
                    <a:pt x="421" y="286"/>
                  </a:lnTo>
                  <a:lnTo>
                    <a:pt x="420" y="285"/>
                  </a:lnTo>
                  <a:lnTo>
                    <a:pt x="417" y="284"/>
                  </a:lnTo>
                  <a:lnTo>
                    <a:pt x="417" y="283"/>
                  </a:lnTo>
                  <a:lnTo>
                    <a:pt x="416" y="283"/>
                  </a:lnTo>
                  <a:lnTo>
                    <a:pt x="414" y="282"/>
                  </a:lnTo>
                  <a:lnTo>
                    <a:pt x="414" y="282"/>
                  </a:lnTo>
                  <a:lnTo>
                    <a:pt x="413" y="282"/>
                  </a:lnTo>
                  <a:lnTo>
                    <a:pt x="412" y="282"/>
                  </a:lnTo>
                  <a:lnTo>
                    <a:pt x="412" y="282"/>
                  </a:lnTo>
                  <a:lnTo>
                    <a:pt x="411" y="282"/>
                  </a:lnTo>
                  <a:lnTo>
                    <a:pt x="411" y="282"/>
                  </a:lnTo>
                  <a:lnTo>
                    <a:pt x="410" y="282"/>
                  </a:lnTo>
                  <a:lnTo>
                    <a:pt x="410" y="282"/>
                  </a:lnTo>
                  <a:lnTo>
                    <a:pt x="409" y="283"/>
                  </a:lnTo>
                  <a:lnTo>
                    <a:pt x="408" y="283"/>
                  </a:lnTo>
                  <a:lnTo>
                    <a:pt x="408" y="283"/>
                  </a:lnTo>
                  <a:lnTo>
                    <a:pt x="407" y="284"/>
                  </a:lnTo>
                  <a:lnTo>
                    <a:pt x="407" y="285"/>
                  </a:lnTo>
                  <a:lnTo>
                    <a:pt x="407" y="286"/>
                  </a:lnTo>
                  <a:lnTo>
                    <a:pt x="405" y="289"/>
                  </a:lnTo>
                  <a:lnTo>
                    <a:pt x="404" y="291"/>
                  </a:lnTo>
                  <a:lnTo>
                    <a:pt x="404" y="292"/>
                  </a:lnTo>
                  <a:lnTo>
                    <a:pt x="403" y="293"/>
                  </a:lnTo>
                  <a:lnTo>
                    <a:pt x="402" y="293"/>
                  </a:lnTo>
                  <a:lnTo>
                    <a:pt x="401" y="294"/>
                  </a:lnTo>
                  <a:lnTo>
                    <a:pt x="400" y="295"/>
                  </a:lnTo>
                  <a:lnTo>
                    <a:pt x="399" y="296"/>
                  </a:lnTo>
                  <a:lnTo>
                    <a:pt x="398" y="297"/>
                  </a:lnTo>
                  <a:lnTo>
                    <a:pt x="396" y="297"/>
                  </a:lnTo>
                  <a:lnTo>
                    <a:pt x="394" y="298"/>
                  </a:lnTo>
                  <a:lnTo>
                    <a:pt x="392" y="300"/>
                  </a:lnTo>
                  <a:lnTo>
                    <a:pt x="392" y="300"/>
                  </a:lnTo>
                  <a:lnTo>
                    <a:pt x="390" y="301"/>
                  </a:lnTo>
                  <a:lnTo>
                    <a:pt x="390" y="301"/>
                  </a:lnTo>
                  <a:lnTo>
                    <a:pt x="387" y="303"/>
                  </a:lnTo>
                  <a:lnTo>
                    <a:pt x="384" y="304"/>
                  </a:lnTo>
                  <a:lnTo>
                    <a:pt x="382" y="305"/>
                  </a:lnTo>
                  <a:lnTo>
                    <a:pt x="381" y="305"/>
                  </a:lnTo>
                  <a:lnTo>
                    <a:pt x="380" y="306"/>
                  </a:lnTo>
                  <a:lnTo>
                    <a:pt x="378" y="308"/>
                  </a:lnTo>
                  <a:lnTo>
                    <a:pt x="376" y="309"/>
                  </a:lnTo>
                  <a:lnTo>
                    <a:pt x="374" y="310"/>
                  </a:lnTo>
                  <a:lnTo>
                    <a:pt x="372" y="312"/>
                  </a:lnTo>
                  <a:lnTo>
                    <a:pt x="371" y="312"/>
                  </a:lnTo>
                  <a:lnTo>
                    <a:pt x="370" y="313"/>
                  </a:lnTo>
                  <a:lnTo>
                    <a:pt x="369" y="314"/>
                  </a:lnTo>
                  <a:lnTo>
                    <a:pt x="368" y="315"/>
                  </a:lnTo>
                  <a:lnTo>
                    <a:pt x="368" y="316"/>
                  </a:lnTo>
                  <a:lnTo>
                    <a:pt x="368" y="316"/>
                  </a:lnTo>
                  <a:lnTo>
                    <a:pt x="367" y="317"/>
                  </a:lnTo>
                  <a:lnTo>
                    <a:pt x="367" y="318"/>
                  </a:lnTo>
                  <a:lnTo>
                    <a:pt x="367" y="318"/>
                  </a:lnTo>
                  <a:lnTo>
                    <a:pt x="367" y="321"/>
                  </a:lnTo>
                  <a:lnTo>
                    <a:pt x="367" y="321"/>
                  </a:lnTo>
                  <a:lnTo>
                    <a:pt x="367" y="322"/>
                  </a:lnTo>
                  <a:lnTo>
                    <a:pt x="366" y="323"/>
                  </a:lnTo>
                  <a:lnTo>
                    <a:pt x="366" y="323"/>
                  </a:lnTo>
                  <a:lnTo>
                    <a:pt x="366" y="324"/>
                  </a:lnTo>
                  <a:lnTo>
                    <a:pt x="365" y="325"/>
                  </a:lnTo>
                  <a:lnTo>
                    <a:pt x="364" y="326"/>
                  </a:lnTo>
                  <a:lnTo>
                    <a:pt x="362" y="327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60" y="329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1"/>
                  </a:lnTo>
                  <a:lnTo>
                    <a:pt x="360" y="331"/>
                  </a:lnTo>
                  <a:lnTo>
                    <a:pt x="360" y="332"/>
                  </a:lnTo>
                  <a:lnTo>
                    <a:pt x="361" y="335"/>
                  </a:lnTo>
                  <a:lnTo>
                    <a:pt x="361" y="335"/>
                  </a:lnTo>
                  <a:lnTo>
                    <a:pt x="361" y="336"/>
                  </a:lnTo>
                  <a:lnTo>
                    <a:pt x="361" y="336"/>
                  </a:lnTo>
                  <a:lnTo>
                    <a:pt x="361" y="337"/>
                  </a:lnTo>
                  <a:lnTo>
                    <a:pt x="360" y="337"/>
                  </a:lnTo>
                  <a:lnTo>
                    <a:pt x="360" y="337"/>
                  </a:lnTo>
                  <a:lnTo>
                    <a:pt x="359" y="337"/>
                  </a:lnTo>
                  <a:lnTo>
                    <a:pt x="359" y="338"/>
                  </a:lnTo>
                  <a:lnTo>
                    <a:pt x="358" y="338"/>
                  </a:lnTo>
                  <a:lnTo>
                    <a:pt x="357" y="338"/>
                  </a:lnTo>
                  <a:lnTo>
                    <a:pt x="356" y="338"/>
                  </a:lnTo>
                  <a:lnTo>
                    <a:pt x="355" y="337"/>
                  </a:lnTo>
                  <a:lnTo>
                    <a:pt x="353" y="337"/>
                  </a:lnTo>
                  <a:lnTo>
                    <a:pt x="352" y="336"/>
                  </a:lnTo>
                  <a:lnTo>
                    <a:pt x="351" y="336"/>
                  </a:lnTo>
                  <a:lnTo>
                    <a:pt x="350" y="336"/>
                  </a:lnTo>
                  <a:lnTo>
                    <a:pt x="349" y="336"/>
                  </a:lnTo>
                  <a:lnTo>
                    <a:pt x="347" y="337"/>
                  </a:lnTo>
                  <a:lnTo>
                    <a:pt x="344" y="337"/>
                  </a:lnTo>
                  <a:lnTo>
                    <a:pt x="343" y="337"/>
                  </a:lnTo>
                  <a:lnTo>
                    <a:pt x="341" y="337"/>
                  </a:lnTo>
                  <a:lnTo>
                    <a:pt x="341" y="337"/>
                  </a:lnTo>
                  <a:lnTo>
                    <a:pt x="340" y="337"/>
                  </a:lnTo>
                  <a:lnTo>
                    <a:pt x="339" y="336"/>
                  </a:lnTo>
                  <a:lnTo>
                    <a:pt x="338" y="336"/>
                  </a:lnTo>
                  <a:lnTo>
                    <a:pt x="338" y="336"/>
                  </a:lnTo>
                  <a:lnTo>
                    <a:pt x="337" y="336"/>
                  </a:lnTo>
                  <a:lnTo>
                    <a:pt x="337" y="336"/>
                  </a:lnTo>
                  <a:lnTo>
                    <a:pt x="336" y="336"/>
                  </a:lnTo>
                  <a:lnTo>
                    <a:pt x="334" y="337"/>
                  </a:lnTo>
                  <a:lnTo>
                    <a:pt x="333" y="337"/>
                  </a:lnTo>
                  <a:lnTo>
                    <a:pt x="332" y="338"/>
                  </a:lnTo>
                  <a:lnTo>
                    <a:pt x="329" y="338"/>
                  </a:lnTo>
                  <a:lnTo>
                    <a:pt x="327" y="339"/>
                  </a:lnTo>
                  <a:lnTo>
                    <a:pt x="326" y="339"/>
                  </a:lnTo>
                  <a:lnTo>
                    <a:pt x="325" y="339"/>
                  </a:lnTo>
                  <a:lnTo>
                    <a:pt x="324" y="339"/>
                  </a:lnTo>
                  <a:lnTo>
                    <a:pt x="324" y="339"/>
                  </a:lnTo>
                  <a:lnTo>
                    <a:pt x="323" y="338"/>
                  </a:lnTo>
                  <a:lnTo>
                    <a:pt x="322" y="338"/>
                  </a:lnTo>
                  <a:lnTo>
                    <a:pt x="321" y="337"/>
                  </a:lnTo>
                  <a:lnTo>
                    <a:pt x="320" y="337"/>
                  </a:lnTo>
                  <a:lnTo>
                    <a:pt x="316" y="334"/>
                  </a:lnTo>
                  <a:lnTo>
                    <a:pt x="315" y="333"/>
                  </a:lnTo>
                  <a:lnTo>
                    <a:pt x="314" y="332"/>
                  </a:lnTo>
                  <a:lnTo>
                    <a:pt x="313" y="331"/>
                  </a:lnTo>
                  <a:lnTo>
                    <a:pt x="311" y="331"/>
                  </a:lnTo>
                  <a:lnTo>
                    <a:pt x="309" y="330"/>
                  </a:lnTo>
                  <a:lnTo>
                    <a:pt x="306" y="329"/>
                  </a:lnTo>
                  <a:lnTo>
                    <a:pt x="305" y="328"/>
                  </a:lnTo>
                  <a:lnTo>
                    <a:pt x="305" y="328"/>
                  </a:lnTo>
                  <a:lnTo>
                    <a:pt x="303" y="327"/>
                  </a:lnTo>
                  <a:lnTo>
                    <a:pt x="302" y="326"/>
                  </a:lnTo>
                  <a:lnTo>
                    <a:pt x="300" y="324"/>
                  </a:lnTo>
                  <a:lnTo>
                    <a:pt x="299" y="323"/>
                  </a:lnTo>
                  <a:lnTo>
                    <a:pt x="298" y="323"/>
                  </a:lnTo>
                  <a:lnTo>
                    <a:pt x="297" y="322"/>
                  </a:lnTo>
                  <a:lnTo>
                    <a:pt x="296" y="322"/>
                  </a:lnTo>
                  <a:lnTo>
                    <a:pt x="293" y="320"/>
                  </a:lnTo>
                  <a:lnTo>
                    <a:pt x="291" y="320"/>
                  </a:lnTo>
                  <a:lnTo>
                    <a:pt x="290" y="319"/>
                  </a:lnTo>
                  <a:lnTo>
                    <a:pt x="289" y="318"/>
                  </a:lnTo>
                  <a:lnTo>
                    <a:pt x="288" y="317"/>
                  </a:lnTo>
                  <a:lnTo>
                    <a:pt x="287" y="316"/>
                  </a:lnTo>
                  <a:lnTo>
                    <a:pt x="286" y="315"/>
                  </a:lnTo>
                  <a:lnTo>
                    <a:pt x="284" y="312"/>
                  </a:lnTo>
                  <a:lnTo>
                    <a:pt x="282" y="311"/>
                  </a:lnTo>
                  <a:lnTo>
                    <a:pt x="281" y="310"/>
                  </a:lnTo>
                  <a:lnTo>
                    <a:pt x="281" y="310"/>
                  </a:lnTo>
                  <a:lnTo>
                    <a:pt x="281" y="310"/>
                  </a:lnTo>
                  <a:lnTo>
                    <a:pt x="279" y="309"/>
                  </a:lnTo>
                  <a:lnTo>
                    <a:pt x="278" y="308"/>
                  </a:lnTo>
                  <a:lnTo>
                    <a:pt x="277" y="308"/>
                  </a:lnTo>
                  <a:lnTo>
                    <a:pt x="274" y="307"/>
                  </a:lnTo>
                  <a:lnTo>
                    <a:pt x="272" y="307"/>
                  </a:lnTo>
                  <a:lnTo>
                    <a:pt x="271" y="306"/>
                  </a:lnTo>
                  <a:lnTo>
                    <a:pt x="270" y="306"/>
                  </a:lnTo>
                  <a:lnTo>
                    <a:pt x="270" y="305"/>
                  </a:lnTo>
                  <a:lnTo>
                    <a:pt x="269" y="305"/>
                  </a:lnTo>
                  <a:lnTo>
                    <a:pt x="269" y="304"/>
                  </a:lnTo>
                  <a:lnTo>
                    <a:pt x="268" y="303"/>
                  </a:lnTo>
                  <a:lnTo>
                    <a:pt x="268" y="302"/>
                  </a:lnTo>
                  <a:lnTo>
                    <a:pt x="267" y="301"/>
                  </a:lnTo>
                  <a:lnTo>
                    <a:pt x="266" y="297"/>
                  </a:lnTo>
                  <a:lnTo>
                    <a:pt x="266" y="296"/>
                  </a:lnTo>
                  <a:lnTo>
                    <a:pt x="265" y="295"/>
                  </a:lnTo>
                  <a:lnTo>
                    <a:pt x="265" y="294"/>
                  </a:lnTo>
                  <a:lnTo>
                    <a:pt x="264" y="294"/>
                  </a:lnTo>
                  <a:lnTo>
                    <a:pt x="264" y="293"/>
                  </a:lnTo>
                  <a:lnTo>
                    <a:pt x="263" y="293"/>
                  </a:lnTo>
                  <a:lnTo>
                    <a:pt x="261" y="290"/>
                  </a:lnTo>
                  <a:lnTo>
                    <a:pt x="261" y="289"/>
                  </a:lnTo>
                  <a:lnTo>
                    <a:pt x="260" y="289"/>
                  </a:lnTo>
                  <a:lnTo>
                    <a:pt x="259" y="288"/>
                  </a:lnTo>
                  <a:lnTo>
                    <a:pt x="258" y="288"/>
                  </a:lnTo>
                  <a:lnTo>
                    <a:pt x="257" y="287"/>
                  </a:lnTo>
                  <a:lnTo>
                    <a:pt x="255" y="287"/>
                  </a:lnTo>
                  <a:lnTo>
                    <a:pt x="252" y="286"/>
                  </a:lnTo>
                  <a:lnTo>
                    <a:pt x="248" y="285"/>
                  </a:lnTo>
                  <a:lnTo>
                    <a:pt x="246" y="284"/>
                  </a:lnTo>
                  <a:lnTo>
                    <a:pt x="243" y="284"/>
                  </a:lnTo>
                  <a:lnTo>
                    <a:pt x="242" y="283"/>
                  </a:lnTo>
                  <a:lnTo>
                    <a:pt x="241" y="283"/>
                  </a:lnTo>
                  <a:lnTo>
                    <a:pt x="240" y="283"/>
                  </a:lnTo>
                  <a:lnTo>
                    <a:pt x="239" y="283"/>
                  </a:lnTo>
                  <a:lnTo>
                    <a:pt x="238" y="284"/>
                  </a:lnTo>
                  <a:lnTo>
                    <a:pt x="236" y="285"/>
                  </a:lnTo>
                  <a:lnTo>
                    <a:pt x="234" y="285"/>
                  </a:lnTo>
                  <a:lnTo>
                    <a:pt x="233" y="286"/>
                  </a:lnTo>
                  <a:lnTo>
                    <a:pt x="232" y="287"/>
                  </a:lnTo>
                  <a:lnTo>
                    <a:pt x="232" y="287"/>
                  </a:lnTo>
                  <a:lnTo>
                    <a:pt x="229" y="290"/>
                  </a:lnTo>
                  <a:lnTo>
                    <a:pt x="228" y="290"/>
                  </a:lnTo>
                  <a:lnTo>
                    <a:pt x="228" y="291"/>
                  </a:lnTo>
                  <a:lnTo>
                    <a:pt x="227" y="291"/>
                  </a:lnTo>
                  <a:lnTo>
                    <a:pt x="226" y="292"/>
                  </a:lnTo>
                  <a:lnTo>
                    <a:pt x="223" y="293"/>
                  </a:lnTo>
                  <a:lnTo>
                    <a:pt x="222" y="294"/>
                  </a:lnTo>
                  <a:lnTo>
                    <a:pt x="221" y="294"/>
                  </a:lnTo>
                  <a:lnTo>
                    <a:pt x="218" y="296"/>
                  </a:lnTo>
                  <a:lnTo>
                    <a:pt x="217" y="297"/>
                  </a:lnTo>
                  <a:lnTo>
                    <a:pt x="216" y="297"/>
                  </a:lnTo>
                  <a:lnTo>
                    <a:pt x="215" y="297"/>
                  </a:lnTo>
                  <a:lnTo>
                    <a:pt x="215" y="297"/>
                  </a:lnTo>
                  <a:lnTo>
                    <a:pt x="214" y="297"/>
                  </a:lnTo>
                  <a:lnTo>
                    <a:pt x="214" y="297"/>
                  </a:lnTo>
                  <a:lnTo>
                    <a:pt x="213" y="297"/>
                  </a:lnTo>
                  <a:lnTo>
                    <a:pt x="212" y="297"/>
                  </a:lnTo>
                  <a:lnTo>
                    <a:pt x="211" y="297"/>
                  </a:lnTo>
                  <a:lnTo>
                    <a:pt x="210" y="297"/>
                  </a:lnTo>
                  <a:lnTo>
                    <a:pt x="210" y="297"/>
                  </a:lnTo>
                  <a:lnTo>
                    <a:pt x="209" y="296"/>
                  </a:lnTo>
                  <a:lnTo>
                    <a:pt x="209" y="296"/>
                  </a:lnTo>
                  <a:lnTo>
                    <a:pt x="208" y="295"/>
                  </a:lnTo>
                  <a:lnTo>
                    <a:pt x="207" y="295"/>
                  </a:lnTo>
                  <a:lnTo>
                    <a:pt x="207" y="294"/>
                  </a:lnTo>
                  <a:lnTo>
                    <a:pt x="206" y="293"/>
                  </a:lnTo>
                  <a:lnTo>
                    <a:pt x="206" y="292"/>
                  </a:lnTo>
                  <a:lnTo>
                    <a:pt x="205" y="289"/>
                  </a:lnTo>
                  <a:lnTo>
                    <a:pt x="204" y="287"/>
                  </a:lnTo>
                  <a:lnTo>
                    <a:pt x="204" y="286"/>
                  </a:lnTo>
                  <a:lnTo>
                    <a:pt x="203" y="284"/>
                  </a:lnTo>
                  <a:lnTo>
                    <a:pt x="202" y="283"/>
                  </a:lnTo>
                  <a:lnTo>
                    <a:pt x="201" y="283"/>
                  </a:lnTo>
                  <a:lnTo>
                    <a:pt x="201" y="282"/>
                  </a:lnTo>
                  <a:lnTo>
                    <a:pt x="200" y="282"/>
                  </a:lnTo>
                  <a:lnTo>
                    <a:pt x="200" y="281"/>
                  </a:lnTo>
                  <a:lnTo>
                    <a:pt x="199" y="280"/>
                  </a:lnTo>
                  <a:lnTo>
                    <a:pt x="199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6" y="281"/>
                  </a:lnTo>
                  <a:lnTo>
                    <a:pt x="194" y="282"/>
                  </a:lnTo>
                  <a:lnTo>
                    <a:pt x="193" y="283"/>
                  </a:lnTo>
                  <a:lnTo>
                    <a:pt x="192" y="284"/>
                  </a:lnTo>
                  <a:lnTo>
                    <a:pt x="191" y="285"/>
                  </a:lnTo>
                  <a:lnTo>
                    <a:pt x="190" y="286"/>
                  </a:lnTo>
                  <a:lnTo>
                    <a:pt x="189" y="286"/>
                  </a:lnTo>
                  <a:lnTo>
                    <a:pt x="189" y="287"/>
                  </a:lnTo>
                  <a:lnTo>
                    <a:pt x="188" y="288"/>
                  </a:lnTo>
                  <a:lnTo>
                    <a:pt x="188" y="288"/>
                  </a:lnTo>
                  <a:lnTo>
                    <a:pt x="187" y="289"/>
                  </a:lnTo>
                  <a:lnTo>
                    <a:pt x="186" y="292"/>
                  </a:lnTo>
                  <a:lnTo>
                    <a:pt x="186" y="293"/>
                  </a:lnTo>
                  <a:lnTo>
                    <a:pt x="185" y="293"/>
                  </a:lnTo>
                  <a:lnTo>
                    <a:pt x="185" y="294"/>
                  </a:lnTo>
                  <a:lnTo>
                    <a:pt x="184" y="295"/>
                  </a:lnTo>
                  <a:lnTo>
                    <a:pt x="184" y="295"/>
                  </a:lnTo>
                  <a:lnTo>
                    <a:pt x="183" y="296"/>
                  </a:lnTo>
                  <a:lnTo>
                    <a:pt x="182" y="297"/>
                  </a:lnTo>
                  <a:lnTo>
                    <a:pt x="181" y="297"/>
                  </a:lnTo>
                  <a:lnTo>
                    <a:pt x="180" y="297"/>
                  </a:lnTo>
                  <a:lnTo>
                    <a:pt x="178" y="298"/>
                  </a:lnTo>
                  <a:lnTo>
                    <a:pt x="176" y="298"/>
                  </a:lnTo>
                  <a:lnTo>
                    <a:pt x="175" y="299"/>
                  </a:lnTo>
                  <a:lnTo>
                    <a:pt x="172" y="300"/>
                  </a:lnTo>
                  <a:lnTo>
                    <a:pt x="171" y="301"/>
                  </a:lnTo>
                  <a:lnTo>
                    <a:pt x="170" y="301"/>
                  </a:lnTo>
                  <a:lnTo>
                    <a:pt x="170" y="301"/>
                  </a:lnTo>
                  <a:lnTo>
                    <a:pt x="168" y="301"/>
                  </a:lnTo>
                  <a:lnTo>
                    <a:pt x="167" y="301"/>
                  </a:lnTo>
                  <a:lnTo>
                    <a:pt x="167" y="301"/>
                  </a:lnTo>
                  <a:lnTo>
                    <a:pt x="165" y="300"/>
                  </a:lnTo>
                  <a:lnTo>
                    <a:pt x="163" y="299"/>
                  </a:lnTo>
                  <a:lnTo>
                    <a:pt x="161" y="299"/>
                  </a:lnTo>
                  <a:lnTo>
                    <a:pt x="161" y="298"/>
                  </a:lnTo>
                  <a:lnTo>
                    <a:pt x="160" y="298"/>
                  </a:lnTo>
                  <a:lnTo>
                    <a:pt x="159" y="298"/>
                  </a:lnTo>
                  <a:lnTo>
                    <a:pt x="158" y="298"/>
                  </a:lnTo>
                  <a:lnTo>
                    <a:pt x="156" y="298"/>
                  </a:lnTo>
                  <a:lnTo>
                    <a:pt x="155" y="298"/>
                  </a:lnTo>
                  <a:lnTo>
                    <a:pt x="153" y="298"/>
                  </a:lnTo>
                  <a:lnTo>
                    <a:pt x="152" y="298"/>
                  </a:lnTo>
                  <a:lnTo>
                    <a:pt x="151" y="298"/>
                  </a:lnTo>
                  <a:lnTo>
                    <a:pt x="148" y="298"/>
                  </a:lnTo>
                  <a:lnTo>
                    <a:pt x="147" y="298"/>
                  </a:lnTo>
                  <a:lnTo>
                    <a:pt x="146" y="298"/>
                  </a:lnTo>
                  <a:lnTo>
                    <a:pt x="144" y="298"/>
                  </a:lnTo>
                  <a:lnTo>
                    <a:pt x="144" y="298"/>
                  </a:lnTo>
                  <a:lnTo>
                    <a:pt x="143" y="298"/>
                  </a:lnTo>
                  <a:lnTo>
                    <a:pt x="142" y="297"/>
                  </a:lnTo>
                  <a:lnTo>
                    <a:pt x="141" y="297"/>
                  </a:lnTo>
                  <a:lnTo>
                    <a:pt x="140" y="297"/>
                  </a:lnTo>
                  <a:lnTo>
                    <a:pt x="139" y="295"/>
                  </a:lnTo>
                  <a:lnTo>
                    <a:pt x="138" y="295"/>
                  </a:lnTo>
                  <a:lnTo>
                    <a:pt x="138" y="295"/>
                  </a:lnTo>
                  <a:lnTo>
                    <a:pt x="137" y="294"/>
                  </a:lnTo>
                  <a:lnTo>
                    <a:pt x="137" y="294"/>
                  </a:lnTo>
                  <a:lnTo>
                    <a:pt x="136" y="294"/>
                  </a:lnTo>
                  <a:lnTo>
                    <a:pt x="136" y="294"/>
                  </a:lnTo>
                  <a:lnTo>
                    <a:pt x="136" y="294"/>
                  </a:lnTo>
                  <a:lnTo>
                    <a:pt x="135" y="294"/>
                  </a:lnTo>
                  <a:lnTo>
                    <a:pt x="132" y="296"/>
                  </a:lnTo>
                  <a:lnTo>
                    <a:pt x="131" y="297"/>
                  </a:lnTo>
                  <a:lnTo>
                    <a:pt x="130" y="297"/>
                  </a:lnTo>
                  <a:lnTo>
                    <a:pt x="128" y="297"/>
                  </a:lnTo>
                  <a:lnTo>
                    <a:pt x="127" y="297"/>
                  </a:lnTo>
                  <a:lnTo>
                    <a:pt x="126" y="298"/>
                  </a:lnTo>
                  <a:lnTo>
                    <a:pt x="125" y="298"/>
                  </a:lnTo>
                  <a:lnTo>
                    <a:pt x="125" y="299"/>
                  </a:lnTo>
                  <a:lnTo>
                    <a:pt x="124" y="299"/>
                  </a:lnTo>
                  <a:lnTo>
                    <a:pt x="123" y="300"/>
                  </a:lnTo>
                  <a:lnTo>
                    <a:pt x="123" y="301"/>
                  </a:lnTo>
                  <a:lnTo>
                    <a:pt x="122" y="301"/>
                  </a:lnTo>
                  <a:lnTo>
                    <a:pt x="122" y="302"/>
                  </a:lnTo>
                  <a:lnTo>
                    <a:pt x="121" y="304"/>
                  </a:lnTo>
                  <a:lnTo>
                    <a:pt x="121" y="304"/>
                  </a:lnTo>
                  <a:lnTo>
                    <a:pt x="120" y="305"/>
                  </a:lnTo>
                  <a:lnTo>
                    <a:pt x="120" y="306"/>
                  </a:lnTo>
                  <a:lnTo>
                    <a:pt x="118" y="307"/>
                  </a:lnTo>
                  <a:lnTo>
                    <a:pt x="117" y="308"/>
                  </a:lnTo>
                  <a:lnTo>
                    <a:pt x="116" y="308"/>
                  </a:lnTo>
                  <a:lnTo>
                    <a:pt x="115" y="309"/>
                  </a:lnTo>
                  <a:lnTo>
                    <a:pt x="114" y="309"/>
                  </a:lnTo>
                  <a:lnTo>
                    <a:pt x="112" y="311"/>
                  </a:lnTo>
                  <a:lnTo>
                    <a:pt x="111" y="311"/>
                  </a:lnTo>
                  <a:lnTo>
                    <a:pt x="110" y="312"/>
                  </a:lnTo>
                  <a:lnTo>
                    <a:pt x="109" y="312"/>
                  </a:lnTo>
                  <a:lnTo>
                    <a:pt x="108" y="313"/>
                  </a:lnTo>
                  <a:lnTo>
                    <a:pt x="107" y="313"/>
                  </a:lnTo>
                  <a:lnTo>
                    <a:pt x="106" y="313"/>
                  </a:lnTo>
                  <a:lnTo>
                    <a:pt x="105" y="313"/>
                  </a:lnTo>
                  <a:lnTo>
                    <a:pt x="104" y="314"/>
                  </a:lnTo>
                  <a:lnTo>
                    <a:pt x="103" y="314"/>
                  </a:lnTo>
                  <a:lnTo>
                    <a:pt x="102" y="314"/>
                  </a:lnTo>
                  <a:lnTo>
                    <a:pt x="102" y="314"/>
                  </a:lnTo>
                  <a:lnTo>
                    <a:pt x="101" y="313"/>
                  </a:lnTo>
                  <a:lnTo>
                    <a:pt x="100" y="313"/>
                  </a:lnTo>
                  <a:lnTo>
                    <a:pt x="99" y="313"/>
                  </a:lnTo>
                  <a:lnTo>
                    <a:pt x="98" y="312"/>
                  </a:lnTo>
                  <a:lnTo>
                    <a:pt x="98" y="312"/>
                  </a:lnTo>
                  <a:lnTo>
                    <a:pt x="97" y="312"/>
                  </a:lnTo>
                  <a:lnTo>
                    <a:pt x="97" y="311"/>
                  </a:lnTo>
                  <a:lnTo>
                    <a:pt x="97" y="311"/>
                  </a:lnTo>
                  <a:lnTo>
                    <a:pt x="97" y="311"/>
                  </a:lnTo>
                  <a:lnTo>
                    <a:pt x="97" y="310"/>
                  </a:lnTo>
                  <a:lnTo>
                    <a:pt x="97" y="309"/>
                  </a:lnTo>
                  <a:lnTo>
                    <a:pt x="97" y="307"/>
                  </a:lnTo>
                  <a:lnTo>
                    <a:pt x="97" y="307"/>
                  </a:lnTo>
                  <a:lnTo>
                    <a:pt x="97" y="306"/>
                  </a:lnTo>
                  <a:lnTo>
                    <a:pt x="97" y="305"/>
                  </a:lnTo>
                  <a:lnTo>
                    <a:pt x="97" y="305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6" y="303"/>
                  </a:lnTo>
                  <a:lnTo>
                    <a:pt x="96" y="303"/>
                  </a:lnTo>
                  <a:lnTo>
                    <a:pt x="96" y="302"/>
                  </a:lnTo>
                  <a:lnTo>
                    <a:pt x="94" y="302"/>
                  </a:lnTo>
                  <a:lnTo>
                    <a:pt x="93" y="301"/>
                  </a:lnTo>
                  <a:lnTo>
                    <a:pt x="91" y="299"/>
                  </a:lnTo>
                  <a:lnTo>
                    <a:pt x="90" y="299"/>
                  </a:lnTo>
                  <a:lnTo>
                    <a:pt x="89" y="298"/>
                  </a:lnTo>
                  <a:lnTo>
                    <a:pt x="88" y="298"/>
                  </a:lnTo>
                  <a:lnTo>
                    <a:pt x="87" y="298"/>
                  </a:lnTo>
                  <a:lnTo>
                    <a:pt x="85" y="297"/>
                  </a:lnTo>
                  <a:lnTo>
                    <a:pt x="84" y="297"/>
                  </a:lnTo>
                  <a:lnTo>
                    <a:pt x="83" y="297"/>
                  </a:lnTo>
                  <a:lnTo>
                    <a:pt x="79" y="296"/>
                  </a:lnTo>
                  <a:lnTo>
                    <a:pt x="76" y="295"/>
                  </a:lnTo>
                  <a:lnTo>
                    <a:pt x="75" y="294"/>
                  </a:lnTo>
                  <a:lnTo>
                    <a:pt x="74" y="294"/>
                  </a:lnTo>
                  <a:lnTo>
                    <a:pt x="74" y="294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5" y="290"/>
                  </a:lnTo>
                  <a:lnTo>
                    <a:pt x="75" y="290"/>
                  </a:lnTo>
                  <a:lnTo>
                    <a:pt x="75" y="289"/>
                  </a:lnTo>
                  <a:lnTo>
                    <a:pt x="75" y="288"/>
                  </a:lnTo>
                  <a:lnTo>
                    <a:pt x="74" y="287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5" y="285"/>
                  </a:lnTo>
                  <a:lnTo>
                    <a:pt x="75" y="284"/>
                  </a:lnTo>
                  <a:lnTo>
                    <a:pt x="76" y="283"/>
                  </a:lnTo>
                  <a:lnTo>
                    <a:pt x="77" y="282"/>
                  </a:lnTo>
                  <a:lnTo>
                    <a:pt x="78" y="280"/>
                  </a:lnTo>
                  <a:lnTo>
                    <a:pt x="79" y="279"/>
                  </a:lnTo>
                  <a:lnTo>
                    <a:pt x="80" y="278"/>
                  </a:lnTo>
                  <a:lnTo>
                    <a:pt x="81" y="276"/>
                  </a:lnTo>
                  <a:lnTo>
                    <a:pt x="82" y="275"/>
                  </a:lnTo>
                  <a:lnTo>
                    <a:pt x="82" y="274"/>
                  </a:lnTo>
                  <a:lnTo>
                    <a:pt x="83" y="272"/>
                  </a:lnTo>
                  <a:lnTo>
                    <a:pt x="83" y="271"/>
                  </a:lnTo>
                  <a:lnTo>
                    <a:pt x="84" y="270"/>
                  </a:lnTo>
                  <a:lnTo>
                    <a:pt x="84" y="269"/>
                  </a:lnTo>
                  <a:lnTo>
                    <a:pt x="84" y="268"/>
                  </a:lnTo>
                  <a:lnTo>
                    <a:pt x="84" y="268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3" y="265"/>
                  </a:lnTo>
                  <a:lnTo>
                    <a:pt x="83" y="264"/>
                  </a:lnTo>
                  <a:lnTo>
                    <a:pt x="82" y="262"/>
                  </a:lnTo>
                  <a:lnTo>
                    <a:pt x="82" y="261"/>
                  </a:lnTo>
                  <a:lnTo>
                    <a:pt x="80" y="259"/>
                  </a:lnTo>
                  <a:lnTo>
                    <a:pt x="79" y="258"/>
                  </a:lnTo>
                  <a:lnTo>
                    <a:pt x="78" y="256"/>
                  </a:lnTo>
                  <a:lnTo>
                    <a:pt x="78" y="255"/>
                  </a:lnTo>
                  <a:lnTo>
                    <a:pt x="78" y="255"/>
                  </a:lnTo>
                  <a:lnTo>
                    <a:pt x="78" y="254"/>
                  </a:lnTo>
                  <a:lnTo>
                    <a:pt x="78" y="252"/>
                  </a:lnTo>
                  <a:lnTo>
                    <a:pt x="78" y="250"/>
                  </a:lnTo>
                  <a:lnTo>
                    <a:pt x="78" y="249"/>
                  </a:lnTo>
                  <a:lnTo>
                    <a:pt x="78" y="248"/>
                  </a:lnTo>
                  <a:lnTo>
                    <a:pt x="78" y="247"/>
                  </a:lnTo>
                  <a:lnTo>
                    <a:pt x="78" y="244"/>
                  </a:lnTo>
                  <a:lnTo>
                    <a:pt x="79" y="243"/>
                  </a:lnTo>
                  <a:lnTo>
                    <a:pt x="79" y="241"/>
                  </a:lnTo>
                  <a:lnTo>
                    <a:pt x="78" y="238"/>
                  </a:lnTo>
                  <a:lnTo>
                    <a:pt x="78" y="236"/>
                  </a:lnTo>
                  <a:lnTo>
                    <a:pt x="78" y="234"/>
                  </a:lnTo>
                  <a:lnTo>
                    <a:pt x="78" y="234"/>
                  </a:lnTo>
                  <a:lnTo>
                    <a:pt x="78" y="232"/>
                  </a:lnTo>
                  <a:lnTo>
                    <a:pt x="77" y="231"/>
                  </a:lnTo>
                  <a:lnTo>
                    <a:pt x="77" y="231"/>
                  </a:lnTo>
                  <a:lnTo>
                    <a:pt x="77" y="230"/>
                  </a:lnTo>
                  <a:lnTo>
                    <a:pt x="76" y="229"/>
                  </a:lnTo>
                  <a:lnTo>
                    <a:pt x="75" y="229"/>
                  </a:lnTo>
                  <a:lnTo>
                    <a:pt x="75" y="228"/>
                  </a:lnTo>
                  <a:lnTo>
                    <a:pt x="73" y="227"/>
                  </a:lnTo>
                  <a:lnTo>
                    <a:pt x="72" y="226"/>
                  </a:lnTo>
                  <a:lnTo>
                    <a:pt x="72" y="225"/>
                  </a:lnTo>
                  <a:lnTo>
                    <a:pt x="71" y="225"/>
                  </a:lnTo>
                  <a:lnTo>
                    <a:pt x="70" y="225"/>
                  </a:lnTo>
                  <a:lnTo>
                    <a:pt x="70" y="225"/>
                  </a:lnTo>
                  <a:lnTo>
                    <a:pt x="69" y="225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66" y="226"/>
                  </a:lnTo>
                  <a:lnTo>
                    <a:pt x="65" y="226"/>
                  </a:lnTo>
                  <a:lnTo>
                    <a:pt x="63" y="227"/>
                  </a:lnTo>
                  <a:lnTo>
                    <a:pt x="59" y="228"/>
                  </a:lnTo>
                  <a:lnTo>
                    <a:pt x="58" y="229"/>
                  </a:lnTo>
                  <a:lnTo>
                    <a:pt x="57" y="229"/>
                  </a:lnTo>
                  <a:lnTo>
                    <a:pt x="56" y="229"/>
                  </a:lnTo>
                  <a:lnTo>
                    <a:pt x="55" y="229"/>
                  </a:lnTo>
                  <a:lnTo>
                    <a:pt x="52" y="228"/>
                  </a:lnTo>
                  <a:lnTo>
                    <a:pt x="49" y="228"/>
                  </a:lnTo>
                  <a:lnTo>
                    <a:pt x="45" y="227"/>
                  </a:lnTo>
                  <a:lnTo>
                    <a:pt x="44" y="227"/>
                  </a:lnTo>
                  <a:lnTo>
                    <a:pt x="43" y="227"/>
                  </a:lnTo>
                  <a:lnTo>
                    <a:pt x="39" y="228"/>
                  </a:lnTo>
                  <a:lnTo>
                    <a:pt x="38" y="228"/>
                  </a:lnTo>
                  <a:lnTo>
                    <a:pt x="37" y="228"/>
                  </a:lnTo>
                  <a:lnTo>
                    <a:pt x="36" y="228"/>
                  </a:lnTo>
                  <a:lnTo>
                    <a:pt x="36" y="228"/>
                  </a:lnTo>
                  <a:lnTo>
                    <a:pt x="35" y="227"/>
                  </a:lnTo>
                  <a:lnTo>
                    <a:pt x="34" y="227"/>
                  </a:lnTo>
                  <a:lnTo>
                    <a:pt x="33" y="227"/>
                  </a:lnTo>
                  <a:lnTo>
                    <a:pt x="33" y="226"/>
                  </a:lnTo>
                  <a:lnTo>
                    <a:pt x="32" y="226"/>
                  </a:lnTo>
                  <a:lnTo>
                    <a:pt x="31" y="225"/>
                  </a:lnTo>
                  <a:lnTo>
                    <a:pt x="31" y="225"/>
                  </a:lnTo>
                  <a:lnTo>
                    <a:pt x="30" y="224"/>
                  </a:lnTo>
                  <a:lnTo>
                    <a:pt x="30" y="224"/>
                  </a:lnTo>
                  <a:lnTo>
                    <a:pt x="30" y="223"/>
                  </a:lnTo>
                  <a:lnTo>
                    <a:pt x="29" y="222"/>
                  </a:lnTo>
                  <a:lnTo>
                    <a:pt x="29" y="221"/>
                  </a:lnTo>
                  <a:lnTo>
                    <a:pt x="29" y="220"/>
                  </a:lnTo>
                  <a:lnTo>
                    <a:pt x="29" y="220"/>
                  </a:lnTo>
                  <a:lnTo>
                    <a:pt x="29" y="218"/>
                  </a:lnTo>
                  <a:lnTo>
                    <a:pt x="29" y="216"/>
                  </a:lnTo>
                  <a:lnTo>
                    <a:pt x="29" y="215"/>
                  </a:lnTo>
                  <a:lnTo>
                    <a:pt x="28" y="215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27" y="213"/>
                  </a:lnTo>
                  <a:lnTo>
                    <a:pt x="25" y="211"/>
                  </a:lnTo>
                  <a:lnTo>
                    <a:pt x="24" y="210"/>
                  </a:lnTo>
                  <a:lnTo>
                    <a:pt x="23" y="209"/>
                  </a:lnTo>
                  <a:lnTo>
                    <a:pt x="22" y="208"/>
                  </a:lnTo>
                  <a:lnTo>
                    <a:pt x="22" y="208"/>
                  </a:lnTo>
                  <a:lnTo>
                    <a:pt x="21" y="206"/>
                  </a:lnTo>
                  <a:lnTo>
                    <a:pt x="20" y="206"/>
                  </a:lnTo>
                  <a:lnTo>
                    <a:pt x="20" y="205"/>
                  </a:lnTo>
                  <a:lnTo>
                    <a:pt x="19" y="205"/>
                  </a:lnTo>
                  <a:lnTo>
                    <a:pt x="18" y="204"/>
                  </a:lnTo>
                  <a:lnTo>
                    <a:pt x="16" y="204"/>
                  </a:lnTo>
                  <a:lnTo>
                    <a:pt x="16" y="204"/>
                  </a:lnTo>
                  <a:lnTo>
                    <a:pt x="15" y="203"/>
                  </a:lnTo>
                  <a:lnTo>
                    <a:pt x="12" y="203"/>
                  </a:lnTo>
                  <a:lnTo>
                    <a:pt x="11" y="203"/>
                  </a:lnTo>
                  <a:lnTo>
                    <a:pt x="10" y="203"/>
                  </a:lnTo>
                  <a:lnTo>
                    <a:pt x="10" y="203"/>
                  </a:lnTo>
                  <a:lnTo>
                    <a:pt x="9" y="202"/>
                  </a:lnTo>
                  <a:lnTo>
                    <a:pt x="9" y="202"/>
                  </a:lnTo>
                  <a:lnTo>
                    <a:pt x="8" y="202"/>
                  </a:lnTo>
                  <a:lnTo>
                    <a:pt x="7" y="201"/>
                  </a:lnTo>
                  <a:lnTo>
                    <a:pt x="6" y="201"/>
                  </a:lnTo>
                  <a:lnTo>
                    <a:pt x="6" y="200"/>
                  </a:lnTo>
                  <a:lnTo>
                    <a:pt x="5" y="200"/>
                  </a:lnTo>
                  <a:lnTo>
                    <a:pt x="5" y="199"/>
                  </a:lnTo>
                  <a:lnTo>
                    <a:pt x="4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3" y="195"/>
                  </a:lnTo>
                  <a:lnTo>
                    <a:pt x="3" y="194"/>
                  </a:lnTo>
                  <a:lnTo>
                    <a:pt x="2" y="193"/>
                  </a:lnTo>
                  <a:lnTo>
                    <a:pt x="1" y="191"/>
                  </a:lnTo>
                  <a:lnTo>
                    <a:pt x="1" y="190"/>
                  </a:lnTo>
                  <a:lnTo>
                    <a:pt x="1" y="190"/>
                  </a:lnTo>
                  <a:lnTo>
                    <a:pt x="0" y="189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0" y="187"/>
                  </a:lnTo>
                  <a:lnTo>
                    <a:pt x="1" y="186"/>
                  </a:lnTo>
                  <a:lnTo>
                    <a:pt x="1" y="186"/>
                  </a:lnTo>
                  <a:lnTo>
                    <a:pt x="1" y="185"/>
                  </a:lnTo>
                  <a:lnTo>
                    <a:pt x="2" y="184"/>
                  </a:lnTo>
                  <a:lnTo>
                    <a:pt x="2" y="184"/>
                  </a:lnTo>
                  <a:lnTo>
                    <a:pt x="3" y="184"/>
                  </a:lnTo>
                  <a:lnTo>
                    <a:pt x="5" y="182"/>
                  </a:lnTo>
                  <a:lnTo>
                    <a:pt x="6" y="182"/>
                  </a:lnTo>
                  <a:lnTo>
                    <a:pt x="6" y="181"/>
                  </a:lnTo>
                  <a:lnTo>
                    <a:pt x="7" y="181"/>
                  </a:lnTo>
                  <a:lnTo>
                    <a:pt x="7" y="181"/>
                  </a:lnTo>
                  <a:lnTo>
                    <a:pt x="7" y="180"/>
                  </a:lnTo>
                  <a:lnTo>
                    <a:pt x="8" y="177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2" y="171"/>
                  </a:lnTo>
                  <a:lnTo>
                    <a:pt x="12" y="170"/>
                  </a:lnTo>
                  <a:lnTo>
                    <a:pt x="13" y="169"/>
                  </a:lnTo>
                  <a:lnTo>
                    <a:pt x="13" y="167"/>
                  </a:lnTo>
                  <a:lnTo>
                    <a:pt x="13" y="166"/>
                  </a:lnTo>
                  <a:lnTo>
                    <a:pt x="13" y="165"/>
                  </a:lnTo>
                  <a:lnTo>
                    <a:pt x="12" y="163"/>
                  </a:lnTo>
                  <a:lnTo>
                    <a:pt x="11" y="160"/>
                  </a:lnTo>
                  <a:lnTo>
                    <a:pt x="11" y="159"/>
                  </a:lnTo>
                  <a:lnTo>
                    <a:pt x="10" y="158"/>
                  </a:lnTo>
                  <a:lnTo>
                    <a:pt x="10" y="157"/>
                  </a:lnTo>
                  <a:lnTo>
                    <a:pt x="9" y="156"/>
                  </a:lnTo>
                  <a:lnTo>
                    <a:pt x="8" y="154"/>
                  </a:lnTo>
                  <a:lnTo>
                    <a:pt x="8" y="154"/>
                  </a:lnTo>
                  <a:lnTo>
                    <a:pt x="8" y="153"/>
                  </a:lnTo>
                  <a:lnTo>
                    <a:pt x="7" y="152"/>
                  </a:lnTo>
                  <a:lnTo>
                    <a:pt x="7" y="151"/>
                  </a:lnTo>
                  <a:lnTo>
                    <a:pt x="7" y="150"/>
                  </a:lnTo>
                  <a:lnTo>
                    <a:pt x="7" y="145"/>
                  </a:lnTo>
                  <a:lnTo>
                    <a:pt x="7" y="143"/>
                  </a:lnTo>
                  <a:lnTo>
                    <a:pt x="7" y="142"/>
                  </a:lnTo>
                  <a:lnTo>
                    <a:pt x="7" y="142"/>
                  </a:lnTo>
                  <a:lnTo>
                    <a:pt x="7" y="141"/>
                  </a:lnTo>
                  <a:lnTo>
                    <a:pt x="6" y="139"/>
                  </a:lnTo>
                  <a:lnTo>
                    <a:pt x="5" y="137"/>
                  </a:lnTo>
                  <a:lnTo>
                    <a:pt x="5" y="136"/>
                  </a:lnTo>
                  <a:lnTo>
                    <a:pt x="4" y="134"/>
                  </a:lnTo>
                  <a:lnTo>
                    <a:pt x="3" y="132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4" y="126"/>
                  </a:lnTo>
                  <a:lnTo>
                    <a:pt x="5" y="125"/>
                  </a:lnTo>
                  <a:lnTo>
                    <a:pt x="6" y="124"/>
                  </a:lnTo>
                  <a:lnTo>
                    <a:pt x="8" y="122"/>
                  </a:lnTo>
                  <a:lnTo>
                    <a:pt x="9" y="121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0" y="121"/>
                  </a:lnTo>
                  <a:lnTo>
                    <a:pt x="11" y="122"/>
                  </a:lnTo>
                  <a:lnTo>
                    <a:pt x="13" y="122"/>
                  </a:lnTo>
                  <a:lnTo>
                    <a:pt x="15" y="124"/>
                  </a:lnTo>
                  <a:lnTo>
                    <a:pt x="17" y="125"/>
                  </a:lnTo>
                  <a:lnTo>
                    <a:pt x="21" y="127"/>
                  </a:lnTo>
                  <a:lnTo>
                    <a:pt x="22" y="128"/>
                  </a:lnTo>
                  <a:lnTo>
                    <a:pt x="24" y="128"/>
                  </a:lnTo>
                  <a:lnTo>
                    <a:pt x="25" y="129"/>
                  </a:lnTo>
                  <a:lnTo>
                    <a:pt x="27" y="130"/>
                  </a:lnTo>
                  <a:lnTo>
                    <a:pt x="28" y="130"/>
                  </a:lnTo>
                  <a:lnTo>
                    <a:pt x="30" y="131"/>
                  </a:lnTo>
                  <a:lnTo>
                    <a:pt x="30" y="131"/>
                  </a:lnTo>
                  <a:lnTo>
                    <a:pt x="31" y="131"/>
                  </a:lnTo>
                  <a:lnTo>
                    <a:pt x="32" y="131"/>
                  </a:lnTo>
                  <a:lnTo>
                    <a:pt x="33" y="131"/>
                  </a:lnTo>
                  <a:lnTo>
                    <a:pt x="34" y="131"/>
                  </a:lnTo>
                  <a:lnTo>
                    <a:pt x="34" y="131"/>
                  </a:lnTo>
                  <a:lnTo>
                    <a:pt x="35" y="131"/>
                  </a:lnTo>
                  <a:lnTo>
                    <a:pt x="36" y="130"/>
                  </a:lnTo>
                  <a:lnTo>
                    <a:pt x="36" y="130"/>
                  </a:lnTo>
                  <a:lnTo>
                    <a:pt x="37" y="129"/>
                  </a:lnTo>
                  <a:lnTo>
                    <a:pt x="38" y="128"/>
                  </a:lnTo>
                  <a:lnTo>
                    <a:pt x="40" y="125"/>
                  </a:lnTo>
                  <a:lnTo>
                    <a:pt x="42" y="123"/>
                  </a:lnTo>
                  <a:lnTo>
                    <a:pt x="43" y="122"/>
                  </a:lnTo>
                  <a:lnTo>
                    <a:pt x="44" y="122"/>
                  </a:lnTo>
                  <a:lnTo>
                    <a:pt x="44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6" y="120"/>
                  </a:lnTo>
                  <a:lnTo>
                    <a:pt x="46" y="120"/>
                  </a:lnTo>
                  <a:lnTo>
                    <a:pt x="47" y="120"/>
                  </a:lnTo>
                  <a:lnTo>
                    <a:pt x="48" y="120"/>
                  </a:lnTo>
                  <a:lnTo>
                    <a:pt x="49" y="120"/>
                  </a:lnTo>
                  <a:lnTo>
                    <a:pt x="50" y="120"/>
                  </a:lnTo>
                  <a:lnTo>
                    <a:pt x="51" y="120"/>
                  </a:lnTo>
                  <a:lnTo>
                    <a:pt x="52" y="121"/>
                  </a:lnTo>
                  <a:lnTo>
                    <a:pt x="53" y="121"/>
                  </a:lnTo>
                  <a:lnTo>
                    <a:pt x="54" y="122"/>
                  </a:lnTo>
                  <a:lnTo>
                    <a:pt x="56" y="123"/>
                  </a:lnTo>
                  <a:lnTo>
                    <a:pt x="58" y="123"/>
                  </a:lnTo>
                  <a:lnTo>
                    <a:pt x="59" y="124"/>
                  </a:lnTo>
                  <a:lnTo>
                    <a:pt x="61" y="124"/>
                  </a:lnTo>
                  <a:lnTo>
                    <a:pt x="62" y="124"/>
                  </a:lnTo>
                  <a:lnTo>
                    <a:pt x="63" y="125"/>
                  </a:lnTo>
                  <a:lnTo>
                    <a:pt x="64" y="125"/>
                  </a:lnTo>
                  <a:lnTo>
                    <a:pt x="65" y="125"/>
                  </a:lnTo>
                  <a:lnTo>
                    <a:pt x="66" y="126"/>
                  </a:lnTo>
                  <a:lnTo>
                    <a:pt x="68" y="127"/>
                  </a:lnTo>
                  <a:lnTo>
                    <a:pt x="69" y="128"/>
                  </a:lnTo>
                  <a:lnTo>
                    <a:pt x="71" y="129"/>
                  </a:lnTo>
                  <a:lnTo>
                    <a:pt x="73" y="129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5" y="130"/>
                  </a:lnTo>
                  <a:lnTo>
                    <a:pt x="77" y="129"/>
                  </a:lnTo>
                  <a:lnTo>
                    <a:pt x="78" y="129"/>
                  </a:lnTo>
                  <a:lnTo>
                    <a:pt x="78" y="130"/>
                  </a:lnTo>
                  <a:lnTo>
                    <a:pt x="78" y="130"/>
                  </a:lnTo>
                  <a:lnTo>
                    <a:pt x="79" y="130"/>
                  </a:lnTo>
                  <a:lnTo>
                    <a:pt x="79" y="131"/>
                  </a:lnTo>
                  <a:lnTo>
                    <a:pt x="79" y="131"/>
                  </a:lnTo>
                  <a:lnTo>
                    <a:pt x="80" y="132"/>
                  </a:lnTo>
                  <a:lnTo>
                    <a:pt x="80" y="133"/>
                  </a:lnTo>
                  <a:lnTo>
                    <a:pt x="80" y="134"/>
                  </a:lnTo>
                  <a:lnTo>
                    <a:pt x="81" y="135"/>
                  </a:lnTo>
                  <a:lnTo>
                    <a:pt x="81" y="135"/>
                  </a:lnTo>
                  <a:lnTo>
                    <a:pt x="81" y="136"/>
                  </a:lnTo>
                  <a:lnTo>
                    <a:pt x="82" y="137"/>
                  </a:lnTo>
                  <a:lnTo>
                    <a:pt x="83" y="137"/>
                  </a:lnTo>
                  <a:lnTo>
                    <a:pt x="83" y="137"/>
                  </a:lnTo>
                  <a:lnTo>
                    <a:pt x="83" y="138"/>
                  </a:lnTo>
                  <a:lnTo>
                    <a:pt x="84" y="138"/>
                  </a:lnTo>
                  <a:lnTo>
                    <a:pt x="85" y="138"/>
                  </a:lnTo>
                  <a:lnTo>
                    <a:pt x="85" y="138"/>
                  </a:lnTo>
                  <a:lnTo>
                    <a:pt x="86" y="138"/>
                  </a:lnTo>
                  <a:lnTo>
                    <a:pt x="87" y="138"/>
                  </a:lnTo>
                  <a:lnTo>
                    <a:pt x="88" y="138"/>
                  </a:lnTo>
                  <a:lnTo>
                    <a:pt x="89" y="138"/>
                  </a:lnTo>
                  <a:lnTo>
                    <a:pt x="90" y="138"/>
                  </a:lnTo>
                  <a:lnTo>
                    <a:pt x="91" y="137"/>
                  </a:lnTo>
                  <a:lnTo>
                    <a:pt x="92" y="137"/>
                  </a:lnTo>
                  <a:lnTo>
                    <a:pt x="93" y="136"/>
                  </a:lnTo>
                  <a:lnTo>
                    <a:pt x="93" y="136"/>
                  </a:lnTo>
                  <a:lnTo>
                    <a:pt x="96" y="135"/>
                  </a:lnTo>
                  <a:lnTo>
                    <a:pt x="96" y="134"/>
                  </a:lnTo>
                  <a:lnTo>
                    <a:pt x="96" y="134"/>
                  </a:lnTo>
                  <a:lnTo>
                    <a:pt x="97" y="133"/>
                  </a:lnTo>
                  <a:lnTo>
                    <a:pt x="97" y="132"/>
                  </a:lnTo>
                  <a:lnTo>
                    <a:pt x="98" y="131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98" y="129"/>
                  </a:lnTo>
                  <a:lnTo>
                    <a:pt x="97" y="126"/>
                  </a:lnTo>
                  <a:lnTo>
                    <a:pt x="97" y="125"/>
                  </a:lnTo>
                  <a:lnTo>
                    <a:pt x="97" y="124"/>
                  </a:lnTo>
                  <a:lnTo>
                    <a:pt x="97" y="123"/>
                  </a:lnTo>
                  <a:lnTo>
                    <a:pt x="97" y="122"/>
                  </a:lnTo>
                  <a:lnTo>
                    <a:pt x="97" y="122"/>
                  </a:lnTo>
                  <a:lnTo>
                    <a:pt x="98" y="121"/>
                  </a:lnTo>
                  <a:lnTo>
                    <a:pt x="98" y="120"/>
                  </a:lnTo>
                  <a:lnTo>
                    <a:pt x="99" y="119"/>
                  </a:lnTo>
                  <a:lnTo>
                    <a:pt x="100" y="119"/>
                  </a:lnTo>
                  <a:lnTo>
                    <a:pt x="102" y="117"/>
                  </a:lnTo>
                  <a:lnTo>
                    <a:pt x="104" y="115"/>
                  </a:lnTo>
                  <a:lnTo>
                    <a:pt x="106" y="113"/>
                  </a:lnTo>
                  <a:lnTo>
                    <a:pt x="107" y="113"/>
                  </a:lnTo>
                  <a:lnTo>
                    <a:pt x="107" y="112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10" y="111"/>
                  </a:lnTo>
                  <a:lnTo>
                    <a:pt x="111" y="111"/>
                  </a:lnTo>
                  <a:lnTo>
                    <a:pt x="112" y="112"/>
                  </a:lnTo>
                  <a:lnTo>
                    <a:pt x="112" y="112"/>
                  </a:lnTo>
                  <a:lnTo>
                    <a:pt x="112" y="113"/>
                  </a:lnTo>
                  <a:lnTo>
                    <a:pt x="114" y="115"/>
                  </a:lnTo>
                  <a:lnTo>
                    <a:pt x="115" y="117"/>
                  </a:lnTo>
                  <a:lnTo>
                    <a:pt x="116" y="118"/>
                  </a:lnTo>
                  <a:lnTo>
                    <a:pt x="117" y="118"/>
                  </a:lnTo>
                  <a:lnTo>
                    <a:pt x="118" y="119"/>
                  </a:lnTo>
                  <a:lnTo>
                    <a:pt x="118" y="120"/>
                  </a:lnTo>
                  <a:lnTo>
                    <a:pt x="120" y="120"/>
                  </a:lnTo>
                  <a:lnTo>
                    <a:pt x="121" y="121"/>
                  </a:lnTo>
                  <a:lnTo>
                    <a:pt x="122" y="121"/>
                  </a:lnTo>
                  <a:lnTo>
                    <a:pt x="123" y="122"/>
                  </a:lnTo>
                  <a:lnTo>
                    <a:pt x="124" y="122"/>
                  </a:lnTo>
                  <a:lnTo>
                    <a:pt x="125" y="122"/>
                  </a:lnTo>
                  <a:lnTo>
                    <a:pt x="125" y="122"/>
                  </a:lnTo>
                  <a:lnTo>
                    <a:pt x="126" y="122"/>
                  </a:lnTo>
                  <a:lnTo>
                    <a:pt x="127" y="121"/>
                  </a:lnTo>
                  <a:lnTo>
                    <a:pt x="130" y="121"/>
                  </a:lnTo>
                  <a:lnTo>
                    <a:pt x="131" y="120"/>
                  </a:lnTo>
                  <a:lnTo>
                    <a:pt x="132" y="120"/>
                  </a:lnTo>
                  <a:lnTo>
                    <a:pt x="133" y="120"/>
                  </a:lnTo>
                  <a:lnTo>
                    <a:pt x="134" y="120"/>
                  </a:lnTo>
                  <a:lnTo>
                    <a:pt x="136" y="120"/>
                  </a:lnTo>
                  <a:lnTo>
                    <a:pt x="137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40" y="121"/>
                  </a:lnTo>
                  <a:lnTo>
                    <a:pt x="140" y="121"/>
                  </a:lnTo>
                  <a:lnTo>
                    <a:pt x="142" y="121"/>
                  </a:lnTo>
                  <a:lnTo>
                    <a:pt x="143" y="121"/>
                  </a:lnTo>
                  <a:lnTo>
                    <a:pt x="144" y="121"/>
                  </a:lnTo>
                  <a:lnTo>
                    <a:pt x="146" y="120"/>
                  </a:lnTo>
                  <a:lnTo>
                    <a:pt x="147" y="120"/>
                  </a:lnTo>
                  <a:lnTo>
                    <a:pt x="148" y="119"/>
                  </a:lnTo>
                  <a:lnTo>
                    <a:pt x="149" y="119"/>
                  </a:lnTo>
                  <a:lnTo>
                    <a:pt x="149" y="118"/>
                  </a:lnTo>
                  <a:lnTo>
                    <a:pt x="150" y="118"/>
                  </a:lnTo>
                  <a:lnTo>
                    <a:pt x="150" y="118"/>
                  </a:lnTo>
                  <a:lnTo>
                    <a:pt x="150" y="117"/>
                  </a:lnTo>
                  <a:lnTo>
                    <a:pt x="151" y="117"/>
                  </a:lnTo>
                  <a:lnTo>
                    <a:pt x="151" y="116"/>
                  </a:lnTo>
                  <a:lnTo>
                    <a:pt x="151" y="115"/>
                  </a:lnTo>
                  <a:lnTo>
                    <a:pt x="150" y="114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49" y="112"/>
                  </a:lnTo>
                  <a:lnTo>
                    <a:pt x="149" y="111"/>
                  </a:lnTo>
                  <a:lnTo>
                    <a:pt x="147" y="109"/>
                  </a:lnTo>
                  <a:lnTo>
                    <a:pt x="145" y="105"/>
                  </a:lnTo>
                  <a:lnTo>
                    <a:pt x="143" y="103"/>
                  </a:lnTo>
                  <a:lnTo>
                    <a:pt x="143" y="103"/>
                  </a:lnTo>
                  <a:lnTo>
                    <a:pt x="141" y="99"/>
                  </a:lnTo>
                  <a:lnTo>
                    <a:pt x="140" y="96"/>
                  </a:lnTo>
                  <a:lnTo>
                    <a:pt x="138" y="93"/>
                  </a:lnTo>
                  <a:lnTo>
                    <a:pt x="138" y="93"/>
                  </a:lnTo>
                  <a:lnTo>
                    <a:pt x="138" y="92"/>
                  </a:lnTo>
                  <a:lnTo>
                    <a:pt x="138" y="91"/>
                  </a:lnTo>
                  <a:lnTo>
                    <a:pt x="137" y="90"/>
                  </a:lnTo>
                  <a:lnTo>
                    <a:pt x="138" y="89"/>
                  </a:lnTo>
                  <a:lnTo>
                    <a:pt x="138" y="88"/>
                  </a:lnTo>
                  <a:lnTo>
                    <a:pt x="138" y="86"/>
                  </a:lnTo>
                  <a:lnTo>
                    <a:pt x="139" y="84"/>
                  </a:lnTo>
                  <a:lnTo>
                    <a:pt x="140" y="80"/>
                  </a:lnTo>
                  <a:lnTo>
                    <a:pt x="140" y="79"/>
                  </a:lnTo>
                  <a:lnTo>
                    <a:pt x="141" y="78"/>
                  </a:lnTo>
                  <a:lnTo>
                    <a:pt x="141" y="78"/>
                  </a:lnTo>
                  <a:lnTo>
                    <a:pt x="141" y="77"/>
                  </a:lnTo>
                  <a:lnTo>
                    <a:pt x="140" y="76"/>
                  </a:lnTo>
                  <a:lnTo>
                    <a:pt x="140" y="76"/>
                  </a:lnTo>
                  <a:lnTo>
                    <a:pt x="140" y="75"/>
                  </a:lnTo>
                  <a:lnTo>
                    <a:pt x="140" y="74"/>
                  </a:lnTo>
                  <a:lnTo>
                    <a:pt x="138" y="72"/>
                  </a:lnTo>
                  <a:lnTo>
                    <a:pt x="136" y="67"/>
                  </a:lnTo>
                  <a:lnTo>
                    <a:pt x="136" y="67"/>
                  </a:lnTo>
                  <a:lnTo>
                    <a:pt x="136" y="66"/>
                  </a:lnTo>
                  <a:lnTo>
                    <a:pt x="136" y="65"/>
                  </a:lnTo>
                  <a:lnTo>
                    <a:pt x="136" y="64"/>
                  </a:lnTo>
                  <a:lnTo>
                    <a:pt x="136" y="63"/>
                  </a:lnTo>
                  <a:lnTo>
                    <a:pt x="136" y="60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5" y="57"/>
                  </a:lnTo>
                  <a:lnTo>
                    <a:pt x="134" y="54"/>
                  </a:lnTo>
                  <a:lnTo>
                    <a:pt x="134" y="51"/>
                  </a:lnTo>
                  <a:lnTo>
                    <a:pt x="133" y="48"/>
                  </a:lnTo>
                  <a:lnTo>
                    <a:pt x="133" y="46"/>
                  </a:lnTo>
                  <a:lnTo>
                    <a:pt x="133" y="45"/>
                  </a:lnTo>
                  <a:lnTo>
                    <a:pt x="132" y="43"/>
                  </a:lnTo>
                  <a:lnTo>
                    <a:pt x="132" y="36"/>
                  </a:lnTo>
                  <a:lnTo>
                    <a:pt x="132" y="31"/>
                  </a:lnTo>
                  <a:lnTo>
                    <a:pt x="132" y="30"/>
                  </a:lnTo>
                  <a:lnTo>
                    <a:pt x="132" y="29"/>
                  </a:lnTo>
                  <a:lnTo>
                    <a:pt x="133" y="25"/>
                  </a:lnTo>
                  <a:lnTo>
                    <a:pt x="133" y="23"/>
                  </a:lnTo>
                  <a:lnTo>
                    <a:pt x="133" y="22"/>
                  </a:lnTo>
                  <a:lnTo>
                    <a:pt x="133" y="20"/>
                  </a:lnTo>
                  <a:lnTo>
                    <a:pt x="132" y="20"/>
                  </a:lnTo>
                  <a:lnTo>
                    <a:pt x="132" y="19"/>
                  </a:lnTo>
                  <a:lnTo>
                    <a:pt x="132" y="18"/>
                  </a:lnTo>
                  <a:lnTo>
                    <a:pt x="131" y="16"/>
                  </a:lnTo>
                  <a:lnTo>
                    <a:pt x="130" y="15"/>
                  </a:lnTo>
                  <a:lnTo>
                    <a:pt x="128" y="11"/>
                  </a:lnTo>
                  <a:lnTo>
                    <a:pt x="127" y="10"/>
                  </a:lnTo>
                  <a:lnTo>
                    <a:pt x="126" y="8"/>
                  </a:lnTo>
                  <a:lnTo>
                    <a:pt x="125" y="6"/>
                  </a:lnTo>
                  <a:lnTo>
                    <a:pt x="124" y="5"/>
                  </a:lnTo>
                  <a:lnTo>
                    <a:pt x="124" y="4"/>
                  </a:lnTo>
                  <a:lnTo>
                    <a:pt x="124" y="3"/>
                  </a:lnTo>
                  <a:lnTo>
                    <a:pt x="123" y="2"/>
                  </a:lnTo>
                  <a:lnTo>
                    <a:pt x="123" y="1"/>
                  </a:lnTo>
                  <a:lnTo>
                    <a:pt x="123" y="1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27" y="1"/>
                  </a:lnTo>
                  <a:close/>
                </a:path>
              </a:pathLst>
            </a:custGeom>
            <a:solidFill>
              <a:srgbClr val="A8A8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 58">
              <a:extLst>
                <a:ext uri="{FF2B5EF4-FFF2-40B4-BE49-F238E27FC236}">
                  <a16:creationId xmlns:a16="http://schemas.microsoft.com/office/drawing/2014/main" id="{C2148246-71C8-16CA-44C2-3C29F3CD6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994"/>
              <a:ext cx="436" cy="338"/>
            </a:xfrm>
            <a:custGeom>
              <a:avLst/>
              <a:gdLst>
                <a:gd name="T0" fmla="*/ 164 w 436"/>
                <a:gd name="T1" fmla="*/ 11 h 338"/>
                <a:gd name="T2" fmla="*/ 194 w 436"/>
                <a:gd name="T3" fmla="*/ 15 h 338"/>
                <a:gd name="T4" fmla="*/ 211 w 436"/>
                <a:gd name="T5" fmla="*/ 23 h 338"/>
                <a:gd name="T6" fmla="*/ 225 w 436"/>
                <a:gd name="T7" fmla="*/ 47 h 338"/>
                <a:gd name="T8" fmla="*/ 252 w 436"/>
                <a:gd name="T9" fmla="*/ 41 h 338"/>
                <a:gd name="T10" fmla="*/ 263 w 436"/>
                <a:gd name="T11" fmla="*/ 65 h 338"/>
                <a:gd name="T12" fmla="*/ 263 w 436"/>
                <a:gd name="T13" fmla="*/ 78 h 338"/>
                <a:gd name="T14" fmla="*/ 278 w 436"/>
                <a:gd name="T15" fmla="*/ 71 h 338"/>
                <a:gd name="T16" fmla="*/ 298 w 436"/>
                <a:gd name="T17" fmla="*/ 54 h 338"/>
                <a:gd name="T18" fmla="*/ 319 w 436"/>
                <a:gd name="T19" fmla="*/ 65 h 338"/>
                <a:gd name="T20" fmla="*/ 330 w 436"/>
                <a:gd name="T21" fmla="*/ 51 h 338"/>
                <a:gd name="T22" fmla="*/ 350 w 436"/>
                <a:gd name="T23" fmla="*/ 51 h 338"/>
                <a:gd name="T24" fmla="*/ 378 w 436"/>
                <a:gd name="T25" fmla="*/ 70 h 338"/>
                <a:gd name="T26" fmla="*/ 386 w 436"/>
                <a:gd name="T27" fmla="*/ 92 h 338"/>
                <a:gd name="T28" fmla="*/ 375 w 436"/>
                <a:gd name="T29" fmla="*/ 116 h 338"/>
                <a:gd name="T30" fmla="*/ 356 w 436"/>
                <a:gd name="T31" fmla="*/ 126 h 338"/>
                <a:gd name="T32" fmla="*/ 338 w 436"/>
                <a:gd name="T33" fmla="*/ 138 h 338"/>
                <a:gd name="T34" fmla="*/ 328 w 436"/>
                <a:gd name="T35" fmla="*/ 151 h 338"/>
                <a:gd name="T36" fmla="*/ 322 w 436"/>
                <a:gd name="T37" fmla="*/ 159 h 338"/>
                <a:gd name="T38" fmla="*/ 335 w 436"/>
                <a:gd name="T39" fmla="*/ 172 h 338"/>
                <a:gd name="T40" fmla="*/ 349 w 436"/>
                <a:gd name="T41" fmla="*/ 184 h 338"/>
                <a:gd name="T42" fmla="*/ 368 w 436"/>
                <a:gd name="T43" fmla="*/ 184 h 338"/>
                <a:gd name="T44" fmla="*/ 381 w 436"/>
                <a:gd name="T45" fmla="*/ 207 h 338"/>
                <a:gd name="T46" fmla="*/ 406 w 436"/>
                <a:gd name="T47" fmla="*/ 230 h 338"/>
                <a:gd name="T48" fmla="*/ 428 w 436"/>
                <a:gd name="T49" fmla="*/ 255 h 338"/>
                <a:gd name="T50" fmla="*/ 436 w 436"/>
                <a:gd name="T51" fmla="*/ 288 h 338"/>
                <a:gd name="T52" fmla="*/ 417 w 436"/>
                <a:gd name="T53" fmla="*/ 283 h 338"/>
                <a:gd name="T54" fmla="*/ 407 w 436"/>
                <a:gd name="T55" fmla="*/ 285 h 338"/>
                <a:gd name="T56" fmla="*/ 384 w 436"/>
                <a:gd name="T57" fmla="*/ 303 h 338"/>
                <a:gd name="T58" fmla="*/ 367 w 436"/>
                <a:gd name="T59" fmla="*/ 320 h 338"/>
                <a:gd name="T60" fmla="*/ 360 w 436"/>
                <a:gd name="T61" fmla="*/ 331 h 338"/>
                <a:gd name="T62" fmla="*/ 350 w 436"/>
                <a:gd name="T63" fmla="*/ 335 h 338"/>
                <a:gd name="T64" fmla="*/ 329 w 436"/>
                <a:gd name="T65" fmla="*/ 337 h 338"/>
                <a:gd name="T66" fmla="*/ 305 w 436"/>
                <a:gd name="T67" fmla="*/ 327 h 338"/>
                <a:gd name="T68" fmla="*/ 282 w 436"/>
                <a:gd name="T69" fmla="*/ 310 h 338"/>
                <a:gd name="T70" fmla="*/ 266 w 436"/>
                <a:gd name="T71" fmla="*/ 296 h 338"/>
                <a:gd name="T72" fmla="*/ 243 w 436"/>
                <a:gd name="T73" fmla="*/ 283 h 338"/>
                <a:gd name="T74" fmla="*/ 222 w 436"/>
                <a:gd name="T75" fmla="*/ 293 h 338"/>
                <a:gd name="T76" fmla="*/ 207 w 436"/>
                <a:gd name="T77" fmla="*/ 294 h 338"/>
                <a:gd name="T78" fmla="*/ 198 w 436"/>
                <a:gd name="T79" fmla="*/ 279 h 338"/>
                <a:gd name="T80" fmla="*/ 184 w 436"/>
                <a:gd name="T81" fmla="*/ 294 h 338"/>
                <a:gd name="T82" fmla="*/ 161 w 436"/>
                <a:gd name="T83" fmla="*/ 298 h 338"/>
                <a:gd name="T84" fmla="*/ 141 w 436"/>
                <a:gd name="T85" fmla="*/ 296 h 338"/>
                <a:gd name="T86" fmla="*/ 125 w 436"/>
                <a:gd name="T87" fmla="*/ 297 h 338"/>
                <a:gd name="T88" fmla="*/ 111 w 436"/>
                <a:gd name="T89" fmla="*/ 310 h 338"/>
                <a:gd name="T90" fmla="*/ 97 w 436"/>
                <a:gd name="T91" fmla="*/ 310 h 338"/>
                <a:gd name="T92" fmla="*/ 91 w 436"/>
                <a:gd name="T93" fmla="*/ 298 h 338"/>
                <a:gd name="T94" fmla="*/ 75 w 436"/>
                <a:gd name="T95" fmla="*/ 289 h 338"/>
                <a:gd name="T96" fmla="*/ 83 w 436"/>
                <a:gd name="T97" fmla="*/ 270 h 338"/>
                <a:gd name="T98" fmla="*/ 78 w 436"/>
                <a:gd name="T99" fmla="*/ 251 h 338"/>
                <a:gd name="T100" fmla="*/ 75 w 436"/>
                <a:gd name="T101" fmla="*/ 228 h 338"/>
                <a:gd name="T102" fmla="*/ 56 w 436"/>
                <a:gd name="T103" fmla="*/ 228 h 338"/>
                <a:gd name="T104" fmla="*/ 31 w 436"/>
                <a:gd name="T105" fmla="*/ 224 h 338"/>
                <a:gd name="T106" fmla="*/ 24 w 436"/>
                <a:gd name="T107" fmla="*/ 209 h 338"/>
                <a:gd name="T108" fmla="*/ 9 w 436"/>
                <a:gd name="T109" fmla="*/ 201 h 338"/>
                <a:gd name="T110" fmla="*/ 0 w 436"/>
                <a:gd name="T111" fmla="*/ 187 h 338"/>
                <a:gd name="T112" fmla="*/ 9 w 436"/>
                <a:gd name="T113" fmla="*/ 174 h 338"/>
                <a:gd name="T114" fmla="*/ 8 w 436"/>
                <a:gd name="T115" fmla="*/ 152 h 338"/>
                <a:gd name="T116" fmla="*/ 3 w 436"/>
                <a:gd name="T117" fmla="*/ 128 h 338"/>
                <a:gd name="T118" fmla="*/ 21 w 436"/>
                <a:gd name="T119" fmla="*/ 126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6" h="338">
                  <a:moveTo>
                    <a:pt x="127" y="0"/>
                  </a:moveTo>
                  <a:lnTo>
                    <a:pt x="129" y="0"/>
                  </a:lnTo>
                  <a:lnTo>
                    <a:pt x="135" y="0"/>
                  </a:lnTo>
                  <a:lnTo>
                    <a:pt x="137" y="1"/>
                  </a:lnTo>
                  <a:lnTo>
                    <a:pt x="139" y="1"/>
                  </a:lnTo>
                  <a:lnTo>
                    <a:pt x="141" y="1"/>
                  </a:lnTo>
                  <a:lnTo>
                    <a:pt x="143" y="2"/>
                  </a:lnTo>
                  <a:lnTo>
                    <a:pt x="144" y="2"/>
                  </a:lnTo>
                  <a:lnTo>
                    <a:pt x="145" y="3"/>
                  </a:lnTo>
                  <a:lnTo>
                    <a:pt x="146" y="3"/>
                  </a:lnTo>
                  <a:lnTo>
                    <a:pt x="150" y="5"/>
                  </a:lnTo>
                  <a:lnTo>
                    <a:pt x="152" y="6"/>
                  </a:lnTo>
                  <a:lnTo>
                    <a:pt x="155" y="8"/>
                  </a:lnTo>
                  <a:lnTo>
                    <a:pt x="160" y="9"/>
                  </a:lnTo>
                  <a:lnTo>
                    <a:pt x="161" y="10"/>
                  </a:lnTo>
                  <a:lnTo>
                    <a:pt x="163" y="11"/>
                  </a:lnTo>
                  <a:lnTo>
                    <a:pt x="164" y="11"/>
                  </a:lnTo>
                  <a:lnTo>
                    <a:pt x="165" y="12"/>
                  </a:lnTo>
                  <a:lnTo>
                    <a:pt x="166" y="13"/>
                  </a:lnTo>
                  <a:lnTo>
                    <a:pt x="170" y="15"/>
                  </a:lnTo>
                  <a:lnTo>
                    <a:pt x="170" y="16"/>
                  </a:lnTo>
                  <a:lnTo>
                    <a:pt x="171" y="16"/>
                  </a:lnTo>
                  <a:lnTo>
                    <a:pt x="173" y="17"/>
                  </a:lnTo>
                  <a:lnTo>
                    <a:pt x="174" y="17"/>
                  </a:lnTo>
                  <a:lnTo>
                    <a:pt x="175" y="17"/>
                  </a:lnTo>
                  <a:lnTo>
                    <a:pt x="175" y="18"/>
                  </a:lnTo>
                  <a:lnTo>
                    <a:pt x="176" y="18"/>
                  </a:lnTo>
                  <a:lnTo>
                    <a:pt x="178" y="18"/>
                  </a:lnTo>
                  <a:lnTo>
                    <a:pt x="181" y="18"/>
                  </a:lnTo>
                  <a:lnTo>
                    <a:pt x="183" y="18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87" y="17"/>
                  </a:lnTo>
                  <a:lnTo>
                    <a:pt x="194" y="15"/>
                  </a:lnTo>
                  <a:lnTo>
                    <a:pt x="196" y="15"/>
                  </a:lnTo>
                  <a:lnTo>
                    <a:pt x="199" y="13"/>
                  </a:lnTo>
                  <a:lnTo>
                    <a:pt x="200" y="13"/>
                  </a:lnTo>
                  <a:lnTo>
                    <a:pt x="201" y="13"/>
                  </a:lnTo>
                  <a:lnTo>
                    <a:pt x="203" y="12"/>
                  </a:lnTo>
                  <a:lnTo>
                    <a:pt x="204" y="12"/>
                  </a:lnTo>
                  <a:lnTo>
                    <a:pt x="204" y="13"/>
                  </a:lnTo>
                  <a:lnTo>
                    <a:pt x="205" y="13"/>
                  </a:lnTo>
                  <a:lnTo>
                    <a:pt x="206" y="13"/>
                  </a:lnTo>
                  <a:lnTo>
                    <a:pt x="206" y="14"/>
                  </a:lnTo>
                  <a:lnTo>
                    <a:pt x="207" y="14"/>
                  </a:lnTo>
                  <a:lnTo>
                    <a:pt x="208" y="15"/>
                  </a:lnTo>
                  <a:lnTo>
                    <a:pt x="209" y="16"/>
                  </a:lnTo>
                  <a:lnTo>
                    <a:pt x="209" y="17"/>
                  </a:lnTo>
                  <a:lnTo>
                    <a:pt x="210" y="18"/>
                  </a:lnTo>
                  <a:lnTo>
                    <a:pt x="210" y="19"/>
                  </a:lnTo>
                  <a:lnTo>
                    <a:pt x="211" y="23"/>
                  </a:lnTo>
                  <a:lnTo>
                    <a:pt x="212" y="25"/>
                  </a:lnTo>
                  <a:lnTo>
                    <a:pt x="213" y="27"/>
                  </a:lnTo>
                  <a:lnTo>
                    <a:pt x="216" y="33"/>
                  </a:lnTo>
                  <a:lnTo>
                    <a:pt x="217" y="37"/>
                  </a:lnTo>
                  <a:lnTo>
                    <a:pt x="219" y="40"/>
                  </a:lnTo>
                  <a:lnTo>
                    <a:pt x="219" y="42"/>
                  </a:lnTo>
                  <a:lnTo>
                    <a:pt x="220" y="43"/>
                  </a:lnTo>
                  <a:lnTo>
                    <a:pt x="221" y="44"/>
                  </a:lnTo>
                  <a:lnTo>
                    <a:pt x="221" y="45"/>
                  </a:lnTo>
                  <a:lnTo>
                    <a:pt x="222" y="45"/>
                  </a:lnTo>
                  <a:lnTo>
                    <a:pt x="222" y="45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4" y="47"/>
                  </a:lnTo>
                  <a:lnTo>
                    <a:pt x="225" y="47"/>
                  </a:lnTo>
                  <a:lnTo>
                    <a:pt x="225" y="47"/>
                  </a:lnTo>
                  <a:lnTo>
                    <a:pt x="226" y="47"/>
                  </a:lnTo>
                  <a:lnTo>
                    <a:pt x="227" y="47"/>
                  </a:lnTo>
                  <a:lnTo>
                    <a:pt x="228" y="46"/>
                  </a:lnTo>
                  <a:lnTo>
                    <a:pt x="229" y="46"/>
                  </a:lnTo>
                  <a:lnTo>
                    <a:pt x="231" y="45"/>
                  </a:lnTo>
                  <a:lnTo>
                    <a:pt x="236" y="44"/>
                  </a:lnTo>
                  <a:lnTo>
                    <a:pt x="238" y="43"/>
                  </a:lnTo>
                  <a:lnTo>
                    <a:pt x="241" y="42"/>
                  </a:lnTo>
                  <a:lnTo>
                    <a:pt x="242" y="42"/>
                  </a:lnTo>
                  <a:lnTo>
                    <a:pt x="244" y="41"/>
                  </a:lnTo>
                  <a:lnTo>
                    <a:pt x="245" y="41"/>
                  </a:lnTo>
                  <a:lnTo>
                    <a:pt x="247" y="41"/>
                  </a:lnTo>
                  <a:lnTo>
                    <a:pt x="247" y="40"/>
                  </a:lnTo>
                  <a:lnTo>
                    <a:pt x="249" y="40"/>
                  </a:lnTo>
                  <a:lnTo>
                    <a:pt x="250" y="40"/>
                  </a:lnTo>
                  <a:lnTo>
                    <a:pt x="251" y="41"/>
                  </a:lnTo>
                  <a:lnTo>
                    <a:pt x="252" y="41"/>
                  </a:lnTo>
                  <a:lnTo>
                    <a:pt x="253" y="42"/>
                  </a:lnTo>
                  <a:lnTo>
                    <a:pt x="254" y="42"/>
                  </a:lnTo>
                  <a:lnTo>
                    <a:pt x="255" y="43"/>
                  </a:lnTo>
                  <a:lnTo>
                    <a:pt x="256" y="44"/>
                  </a:lnTo>
                  <a:lnTo>
                    <a:pt x="257" y="44"/>
                  </a:lnTo>
                  <a:lnTo>
                    <a:pt x="257" y="45"/>
                  </a:lnTo>
                  <a:lnTo>
                    <a:pt x="258" y="46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60" y="49"/>
                  </a:lnTo>
                  <a:lnTo>
                    <a:pt x="260" y="51"/>
                  </a:lnTo>
                  <a:lnTo>
                    <a:pt x="261" y="53"/>
                  </a:lnTo>
                  <a:lnTo>
                    <a:pt x="262" y="55"/>
                  </a:lnTo>
                  <a:lnTo>
                    <a:pt x="262" y="57"/>
                  </a:lnTo>
                  <a:lnTo>
                    <a:pt x="262" y="60"/>
                  </a:lnTo>
                  <a:lnTo>
                    <a:pt x="263" y="64"/>
                  </a:lnTo>
                  <a:lnTo>
                    <a:pt x="263" y="65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3" y="67"/>
                  </a:lnTo>
                  <a:lnTo>
                    <a:pt x="263" y="68"/>
                  </a:lnTo>
                  <a:lnTo>
                    <a:pt x="263" y="68"/>
                  </a:lnTo>
                  <a:lnTo>
                    <a:pt x="263" y="69"/>
                  </a:lnTo>
                  <a:lnTo>
                    <a:pt x="261" y="72"/>
                  </a:lnTo>
                  <a:lnTo>
                    <a:pt x="261" y="73"/>
                  </a:lnTo>
                  <a:lnTo>
                    <a:pt x="261" y="73"/>
                  </a:lnTo>
                  <a:lnTo>
                    <a:pt x="260" y="74"/>
                  </a:lnTo>
                  <a:lnTo>
                    <a:pt x="260" y="75"/>
                  </a:lnTo>
                  <a:lnTo>
                    <a:pt x="261" y="75"/>
                  </a:lnTo>
                  <a:lnTo>
                    <a:pt x="261" y="76"/>
                  </a:lnTo>
                  <a:lnTo>
                    <a:pt x="261" y="76"/>
                  </a:lnTo>
                  <a:lnTo>
                    <a:pt x="262" y="77"/>
                  </a:lnTo>
                  <a:lnTo>
                    <a:pt x="262" y="78"/>
                  </a:lnTo>
                  <a:lnTo>
                    <a:pt x="263" y="78"/>
                  </a:lnTo>
                  <a:lnTo>
                    <a:pt x="264" y="78"/>
                  </a:lnTo>
                  <a:lnTo>
                    <a:pt x="265" y="79"/>
                  </a:lnTo>
                  <a:lnTo>
                    <a:pt x="266" y="79"/>
                  </a:lnTo>
                  <a:lnTo>
                    <a:pt x="267" y="79"/>
                  </a:lnTo>
                  <a:lnTo>
                    <a:pt x="267" y="79"/>
                  </a:lnTo>
                  <a:lnTo>
                    <a:pt x="268" y="79"/>
                  </a:lnTo>
                  <a:lnTo>
                    <a:pt x="269" y="78"/>
                  </a:lnTo>
                  <a:lnTo>
                    <a:pt x="270" y="78"/>
                  </a:lnTo>
                  <a:lnTo>
                    <a:pt x="272" y="77"/>
                  </a:lnTo>
                  <a:lnTo>
                    <a:pt x="274" y="75"/>
                  </a:lnTo>
                  <a:lnTo>
                    <a:pt x="275" y="75"/>
                  </a:lnTo>
                  <a:lnTo>
                    <a:pt x="276" y="74"/>
                  </a:lnTo>
                  <a:lnTo>
                    <a:pt x="276" y="74"/>
                  </a:lnTo>
                  <a:lnTo>
                    <a:pt x="276" y="73"/>
                  </a:lnTo>
                  <a:lnTo>
                    <a:pt x="277" y="73"/>
                  </a:lnTo>
                  <a:lnTo>
                    <a:pt x="277" y="72"/>
                  </a:lnTo>
                  <a:lnTo>
                    <a:pt x="278" y="71"/>
                  </a:lnTo>
                  <a:lnTo>
                    <a:pt x="280" y="67"/>
                  </a:lnTo>
                  <a:lnTo>
                    <a:pt x="281" y="64"/>
                  </a:lnTo>
                  <a:lnTo>
                    <a:pt x="282" y="63"/>
                  </a:lnTo>
                  <a:lnTo>
                    <a:pt x="283" y="61"/>
                  </a:lnTo>
                  <a:lnTo>
                    <a:pt x="285" y="60"/>
                  </a:lnTo>
                  <a:lnTo>
                    <a:pt x="286" y="58"/>
                  </a:lnTo>
                  <a:lnTo>
                    <a:pt x="287" y="57"/>
                  </a:lnTo>
                  <a:lnTo>
                    <a:pt x="289" y="56"/>
                  </a:lnTo>
                  <a:lnTo>
                    <a:pt x="290" y="55"/>
                  </a:lnTo>
                  <a:lnTo>
                    <a:pt x="291" y="54"/>
                  </a:lnTo>
                  <a:lnTo>
                    <a:pt x="291" y="54"/>
                  </a:lnTo>
                  <a:lnTo>
                    <a:pt x="292" y="54"/>
                  </a:lnTo>
                  <a:lnTo>
                    <a:pt x="293" y="53"/>
                  </a:lnTo>
                  <a:lnTo>
                    <a:pt x="295" y="53"/>
                  </a:lnTo>
                  <a:lnTo>
                    <a:pt x="296" y="54"/>
                  </a:lnTo>
                  <a:lnTo>
                    <a:pt x="297" y="54"/>
                  </a:lnTo>
                  <a:lnTo>
                    <a:pt x="298" y="54"/>
                  </a:lnTo>
                  <a:lnTo>
                    <a:pt x="299" y="55"/>
                  </a:lnTo>
                  <a:lnTo>
                    <a:pt x="304" y="57"/>
                  </a:lnTo>
                  <a:lnTo>
                    <a:pt x="305" y="57"/>
                  </a:lnTo>
                  <a:lnTo>
                    <a:pt x="306" y="58"/>
                  </a:lnTo>
                  <a:lnTo>
                    <a:pt x="307" y="59"/>
                  </a:lnTo>
                  <a:lnTo>
                    <a:pt x="309" y="60"/>
                  </a:lnTo>
                  <a:lnTo>
                    <a:pt x="310" y="61"/>
                  </a:lnTo>
                  <a:lnTo>
                    <a:pt x="313" y="64"/>
                  </a:lnTo>
                  <a:lnTo>
                    <a:pt x="314" y="64"/>
                  </a:lnTo>
                  <a:lnTo>
                    <a:pt x="315" y="65"/>
                  </a:lnTo>
                  <a:lnTo>
                    <a:pt x="315" y="65"/>
                  </a:lnTo>
                  <a:lnTo>
                    <a:pt x="316" y="65"/>
                  </a:lnTo>
                  <a:lnTo>
                    <a:pt x="316" y="65"/>
                  </a:lnTo>
                  <a:lnTo>
                    <a:pt x="317" y="65"/>
                  </a:lnTo>
                  <a:lnTo>
                    <a:pt x="318" y="65"/>
                  </a:lnTo>
                  <a:lnTo>
                    <a:pt x="319" y="65"/>
                  </a:lnTo>
                  <a:lnTo>
                    <a:pt x="319" y="65"/>
                  </a:lnTo>
                  <a:lnTo>
                    <a:pt x="320" y="65"/>
                  </a:lnTo>
                  <a:lnTo>
                    <a:pt x="321" y="65"/>
                  </a:lnTo>
                  <a:lnTo>
                    <a:pt x="322" y="64"/>
                  </a:lnTo>
                  <a:lnTo>
                    <a:pt x="322" y="64"/>
                  </a:lnTo>
                  <a:lnTo>
                    <a:pt x="323" y="63"/>
                  </a:lnTo>
                  <a:lnTo>
                    <a:pt x="323" y="63"/>
                  </a:lnTo>
                  <a:lnTo>
                    <a:pt x="324" y="62"/>
                  </a:lnTo>
                  <a:lnTo>
                    <a:pt x="324" y="62"/>
                  </a:lnTo>
                  <a:lnTo>
                    <a:pt x="325" y="61"/>
                  </a:lnTo>
                  <a:lnTo>
                    <a:pt x="325" y="60"/>
                  </a:lnTo>
                  <a:lnTo>
                    <a:pt x="326" y="56"/>
                  </a:lnTo>
                  <a:lnTo>
                    <a:pt x="327" y="54"/>
                  </a:lnTo>
                  <a:lnTo>
                    <a:pt x="328" y="53"/>
                  </a:lnTo>
                  <a:lnTo>
                    <a:pt x="329" y="52"/>
                  </a:lnTo>
                  <a:lnTo>
                    <a:pt x="329" y="52"/>
                  </a:lnTo>
                  <a:lnTo>
                    <a:pt x="330" y="51"/>
                  </a:lnTo>
                  <a:lnTo>
                    <a:pt x="330" y="51"/>
                  </a:lnTo>
                  <a:lnTo>
                    <a:pt x="330" y="50"/>
                  </a:lnTo>
                  <a:lnTo>
                    <a:pt x="331" y="50"/>
                  </a:lnTo>
                  <a:lnTo>
                    <a:pt x="332" y="49"/>
                  </a:lnTo>
                  <a:lnTo>
                    <a:pt x="332" y="49"/>
                  </a:lnTo>
                  <a:lnTo>
                    <a:pt x="333" y="49"/>
                  </a:lnTo>
                  <a:lnTo>
                    <a:pt x="334" y="49"/>
                  </a:lnTo>
                  <a:lnTo>
                    <a:pt x="335" y="49"/>
                  </a:lnTo>
                  <a:lnTo>
                    <a:pt x="336" y="49"/>
                  </a:lnTo>
                  <a:lnTo>
                    <a:pt x="338" y="49"/>
                  </a:lnTo>
                  <a:lnTo>
                    <a:pt x="339" y="49"/>
                  </a:lnTo>
                  <a:lnTo>
                    <a:pt x="340" y="49"/>
                  </a:lnTo>
                  <a:lnTo>
                    <a:pt x="341" y="49"/>
                  </a:lnTo>
                  <a:lnTo>
                    <a:pt x="345" y="50"/>
                  </a:lnTo>
                  <a:lnTo>
                    <a:pt x="346" y="50"/>
                  </a:lnTo>
                  <a:lnTo>
                    <a:pt x="347" y="50"/>
                  </a:lnTo>
                  <a:lnTo>
                    <a:pt x="348" y="51"/>
                  </a:lnTo>
                  <a:lnTo>
                    <a:pt x="350" y="51"/>
                  </a:lnTo>
                  <a:lnTo>
                    <a:pt x="353" y="51"/>
                  </a:lnTo>
                  <a:lnTo>
                    <a:pt x="354" y="51"/>
                  </a:lnTo>
                  <a:lnTo>
                    <a:pt x="356" y="51"/>
                  </a:lnTo>
                  <a:lnTo>
                    <a:pt x="357" y="51"/>
                  </a:lnTo>
                  <a:lnTo>
                    <a:pt x="358" y="51"/>
                  </a:lnTo>
                  <a:lnTo>
                    <a:pt x="359" y="52"/>
                  </a:lnTo>
                  <a:lnTo>
                    <a:pt x="360" y="52"/>
                  </a:lnTo>
                  <a:lnTo>
                    <a:pt x="361" y="53"/>
                  </a:lnTo>
                  <a:lnTo>
                    <a:pt x="362" y="54"/>
                  </a:lnTo>
                  <a:lnTo>
                    <a:pt x="365" y="56"/>
                  </a:lnTo>
                  <a:lnTo>
                    <a:pt x="367" y="58"/>
                  </a:lnTo>
                  <a:lnTo>
                    <a:pt x="367" y="58"/>
                  </a:lnTo>
                  <a:lnTo>
                    <a:pt x="369" y="60"/>
                  </a:lnTo>
                  <a:lnTo>
                    <a:pt x="371" y="63"/>
                  </a:lnTo>
                  <a:lnTo>
                    <a:pt x="374" y="66"/>
                  </a:lnTo>
                  <a:lnTo>
                    <a:pt x="376" y="68"/>
                  </a:lnTo>
                  <a:lnTo>
                    <a:pt x="378" y="70"/>
                  </a:lnTo>
                  <a:lnTo>
                    <a:pt x="381" y="73"/>
                  </a:lnTo>
                  <a:lnTo>
                    <a:pt x="383" y="75"/>
                  </a:lnTo>
                  <a:lnTo>
                    <a:pt x="385" y="77"/>
                  </a:lnTo>
                  <a:lnTo>
                    <a:pt x="386" y="79"/>
                  </a:lnTo>
                  <a:lnTo>
                    <a:pt x="388" y="80"/>
                  </a:lnTo>
                  <a:lnTo>
                    <a:pt x="388" y="82"/>
                  </a:lnTo>
                  <a:lnTo>
                    <a:pt x="389" y="83"/>
                  </a:lnTo>
                  <a:lnTo>
                    <a:pt x="389" y="84"/>
                  </a:lnTo>
                  <a:lnTo>
                    <a:pt x="389" y="85"/>
                  </a:lnTo>
                  <a:lnTo>
                    <a:pt x="389" y="86"/>
                  </a:lnTo>
                  <a:lnTo>
                    <a:pt x="389" y="87"/>
                  </a:lnTo>
                  <a:lnTo>
                    <a:pt x="389" y="88"/>
                  </a:lnTo>
                  <a:lnTo>
                    <a:pt x="389" y="89"/>
                  </a:lnTo>
                  <a:lnTo>
                    <a:pt x="389" y="89"/>
                  </a:lnTo>
                  <a:lnTo>
                    <a:pt x="388" y="90"/>
                  </a:lnTo>
                  <a:lnTo>
                    <a:pt x="388" y="91"/>
                  </a:lnTo>
                  <a:lnTo>
                    <a:pt x="386" y="92"/>
                  </a:lnTo>
                  <a:lnTo>
                    <a:pt x="384" y="94"/>
                  </a:lnTo>
                  <a:lnTo>
                    <a:pt x="384" y="95"/>
                  </a:lnTo>
                  <a:lnTo>
                    <a:pt x="383" y="95"/>
                  </a:lnTo>
                  <a:lnTo>
                    <a:pt x="383" y="96"/>
                  </a:lnTo>
                  <a:lnTo>
                    <a:pt x="382" y="97"/>
                  </a:lnTo>
                  <a:lnTo>
                    <a:pt x="381" y="100"/>
                  </a:lnTo>
                  <a:lnTo>
                    <a:pt x="381" y="102"/>
                  </a:lnTo>
                  <a:lnTo>
                    <a:pt x="380" y="103"/>
                  </a:lnTo>
                  <a:lnTo>
                    <a:pt x="379" y="106"/>
                  </a:lnTo>
                  <a:lnTo>
                    <a:pt x="378" y="107"/>
                  </a:lnTo>
                  <a:lnTo>
                    <a:pt x="378" y="108"/>
                  </a:lnTo>
                  <a:lnTo>
                    <a:pt x="378" y="110"/>
                  </a:lnTo>
                  <a:lnTo>
                    <a:pt x="378" y="111"/>
                  </a:lnTo>
                  <a:lnTo>
                    <a:pt x="377" y="112"/>
                  </a:lnTo>
                  <a:lnTo>
                    <a:pt x="377" y="113"/>
                  </a:lnTo>
                  <a:lnTo>
                    <a:pt x="376" y="115"/>
                  </a:lnTo>
                  <a:lnTo>
                    <a:pt x="375" y="116"/>
                  </a:lnTo>
                  <a:lnTo>
                    <a:pt x="373" y="117"/>
                  </a:lnTo>
                  <a:lnTo>
                    <a:pt x="370" y="121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7" y="124"/>
                  </a:lnTo>
                  <a:lnTo>
                    <a:pt x="366" y="124"/>
                  </a:lnTo>
                  <a:lnTo>
                    <a:pt x="366" y="125"/>
                  </a:lnTo>
                  <a:lnTo>
                    <a:pt x="365" y="125"/>
                  </a:lnTo>
                  <a:lnTo>
                    <a:pt x="364" y="125"/>
                  </a:lnTo>
                  <a:lnTo>
                    <a:pt x="363" y="126"/>
                  </a:lnTo>
                  <a:lnTo>
                    <a:pt x="362" y="126"/>
                  </a:lnTo>
                  <a:lnTo>
                    <a:pt x="361" y="126"/>
                  </a:lnTo>
                  <a:lnTo>
                    <a:pt x="359" y="125"/>
                  </a:lnTo>
                  <a:lnTo>
                    <a:pt x="357" y="125"/>
                  </a:lnTo>
                  <a:lnTo>
                    <a:pt x="357" y="125"/>
                  </a:lnTo>
                  <a:lnTo>
                    <a:pt x="356" y="125"/>
                  </a:lnTo>
                  <a:lnTo>
                    <a:pt x="356" y="126"/>
                  </a:lnTo>
                  <a:lnTo>
                    <a:pt x="355" y="126"/>
                  </a:lnTo>
                  <a:lnTo>
                    <a:pt x="355" y="126"/>
                  </a:lnTo>
                  <a:lnTo>
                    <a:pt x="354" y="127"/>
                  </a:lnTo>
                  <a:lnTo>
                    <a:pt x="354" y="127"/>
                  </a:lnTo>
                  <a:lnTo>
                    <a:pt x="352" y="129"/>
                  </a:lnTo>
                  <a:lnTo>
                    <a:pt x="350" y="131"/>
                  </a:lnTo>
                  <a:lnTo>
                    <a:pt x="349" y="132"/>
                  </a:lnTo>
                  <a:lnTo>
                    <a:pt x="348" y="133"/>
                  </a:lnTo>
                  <a:lnTo>
                    <a:pt x="347" y="134"/>
                  </a:lnTo>
                  <a:lnTo>
                    <a:pt x="346" y="134"/>
                  </a:lnTo>
                  <a:lnTo>
                    <a:pt x="345" y="134"/>
                  </a:lnTo>
                  <a:lnTo>
                    <a:pt x="343" y="135"/>
                  </a:lnTo>
                  <a:lnTo>
                    <a:pt x="343" y="135"/>
                  </a:lnTo>
                  <a:lnTo>
                    <a:pt x="342" y="135"/>
                  </a:lnTo>
                  <a:lnTo>
                    <a:pt x="341" y="136"/>
                  </a:lnTo>
                  <a:lnTo>
                    <a:pt x="339" y="137"/>
                  </a:lnTo>
                  <a:lnTo>
                    <a:pt x="338" y="138"/>
                  </a:lnTo>
                  <a:lnTo>
                    <a:pt x="337" y="138"/>
                  </a:lnTo>
                  <a:lnTo>
                    <a:pt x="337" y="139"/>
                  </a:lnTo>
                  <a:lnTo>
                    <a:pt x="335" y="140"/>
                  </a:lnTo>
                  <a:lnTo>
                    <a:pt x="335" y="141"/>
                  </a:lnTo>
                  <a:lnTo>
                    <a:pt x="334" y="142"/>
                  </a:lnTo>
                  <a:lnTo>
                    <a:pt x="332" y="143"/>
                  </a:lnTo>
                  <a:lnTo>
                    <a:pt x="332" y="143"/>
                  </a:lnTo>
                  <a:lnTo>
                    <a:pt x="331" y="144"/>
                  </a:lnTo>
                  <a:lnTo>
                    <a:pt x="330" y="145"/>
                  </a:lnTo>
                  <a:lnTo>
                    <a:pt x="330" y="146"/>
                  </a:lnTo>
                  <a:lnTo>
                    <a:pt x="329" y="146"/>
                  </a:lnTo>
                  <a:lnTo>
                    <a:pt x="329" y="147"/>
                  </a:lnTo>
                  <a:lnTo>
                    <a:pt x="329" y="148"/>
                  </a:lnTo>
                  <a:lnTo>
                    <a:pt x="329" y="149"/>
                  </a:lnTo>
                  <a:lnTo>
                    <a:pt x="329" y="150"/>
                  </a:lnTo>
                  <a:lnTo>
                    <a:pt x="328" y="150"/>
                  </a:lnTo>
                  <a:lnTo>
                    <a:pt x="328" y="151"/>
                  </a:lnTo>
                  <a:lnTo>
                    <a:pt x="327" y="151"/>
                  </a:lnTo>
                  <a:lnTo>
                    <a:pt x="327" y="151"/>
                  </a:lnTo>
                  <a:lnTo>
                    <a:pt x="326" y="151"/>
                  </a:lnTo>
                  <a:lnTo>
                    <a:pt x="325" y="151"/>
                  </a:lnTo>
                  <a:lnTo>
                    <a:pt x="325" y="151"/>
                  </a:lnTo>
                  <a:lnTo>
                    <a:pt x="324" y="152"/>
                  </a:lnTo>
                  <a:lnTo>
                    <a:pt x="324" y="152"/>
                  </a:lnTo>
                  <a:lnTo>
                    <a:pt x="324" y="152"/>
                  </a:lnTo>
                  <a:lnTo>
                    <a:pt x="323" y="153"/>
                  </a:lnTo>
                  <a:lnTo>
                    <a:pt x="323" y="153"/>
                  </a:lnTo>
                  <a:lnTo>
                    <a:pt x="322" y="154"/>
                  </a:lnTo>
                  <a:lnTo>
                    <a:pt x="322" y="155"/>
                  </a:lnTo>
                  <a:lnTo>
                    <a:pt x="322" y="155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9"/>
                  </a:lnTo>
                  <a:lnTo>
                    <a:pt x="322" y="159"/>
                  </a:lnTo>
                  <a:lnTo>
                    <a:pt x="323" y="160"/>
                  </a:lnTo>
                  <a:lnTo>
                    <a:pt x="324" y="163"/>
                  </a:lnTo>
                  <a:lnTo>
                    <a:pt x="325" y="165"/>
                  </a:lnTo>
                  <a:lnTo>
                    <a:pt x="326" y="166"/>
                  </a:lnTo>
                  <a:lnTo>
                    <a:pt x="326" y="166"/>
                  </a:lnTo>
                  <a:lnTo>
                    <a:pt x="327" y="167"/>
                  </a:lnTo>
                  <a:lnTo>
                    <a:pt x="327" y="167"/>
                  </a:lnTo>
                  <a:lnTo>
                    <a:pt x="328" y="167"/>
                  </a:lnTo>
                  <a:lnTo>
                    <a:pt x="329" y="168"/>
                  </a:lnTo>
                  <a:lnTo>
                    <a:pt x="331" y="168"/>
                  </a:lnTo>
                  <a:lnTo>
                    <a:pt x="331" y="168"/>
                  </a:lnTo>
                  <a:lnTo>
                    <a:pt x="332" y="169"/>
                  </a:lnTo>
                  <a:lnTo>
                    <a:pt x="333" y="170"/>
                  </a:lnTo>
                  <a:lnTo>
                    <a:pt x="334" y="170"/>
                  </a:lnTo>
                  <a:lnTo>
                    <a:pt x="335" y="171"/>
                  </a:lnTo>
                  <a:lnTo>
                    <a:pt x="335" y="172"/>
                  </a:lnTo>
                  <a:lnTo>
                    <a:pt x="337" y="175"/>
                  </a:lnTo>
                  <a:lnTo>
                    <a:pt x="338" y="175"/>
                  </a:lnTo>
                  <a:lnTo>
                    <a:pt x="339" y="177"/>
                  </a:lnTo>
                  <a:lnTo>
                    <a:pt x="339" y="177"/>
                  </a:lnTo>
                  <a:lnTo>
                    <a:pt x="340" y="179"/>
                  </a:lnTo>
                  <a:lnTo>
                    <a:pt x="342" y="180"/>
                  </a:lnTo>
                  <a:lnTo>
                    <a:pt x="342" y="181"/>
                  </a:lnTo>
                  <a:lnTo>
                    <a:pt x="343" y="182"/>
                  </a:lnTo>
                  <a:lnTo>
                    <a:pt x="344" y="183"/>
                  </a:lnTo>
                  <a:lnTo>
                    <a:pt x="344" y="184"/>
                  </a:lnTo>
                  <a:lnTo>
                    <a:pt x="345" y="184"/>
                  </a:lnTo>
                  <a:lnTo>
                    <a:pt x="346" y="185"/>
                  </a:lnTo>
                  <a:lnTo>
                    <a:pt x="346" y="185"/>
                  </a:lnTo>
                  <a:lnTo>
                    <a:pt x="347" y="185"/>
                  </a:lnTo>
                  <a:lnTo>
                    <a:pt x="348" y="185"/>
                  </a:lnTo>
                  <a:lnTo>
                    <a:pt x="348" y="185"/>
                  </a:lnTo>
                  <a:lnTo>
                    <a:pt x="349" y="184"/>
                  </a:lnTo>
                  <a:lnTo>
                    <a:pt x="352" y="183"/>
                  </a:lnTo>
                  <a:lnTo>
                    <a:pt x="353" y="182"/>
                  </a:lnTo>
                  <a:lnTo>
                    <a:pt x="353" y="182"/>
                  </a:lnTo>
                  <a:lnTo>
                    <a:pt x="354" y="182"/>
                  </a:lnTo>
                  <a:lnTo>
                    <a:pt x="355" y="182"/>
                  </a:lnTo>
                  <a:lnTo>
                    <a:pt x="356" y="182"/>
                  </a:lnTo>
                  <a:lnTo>
                    <a:pt x="358" y="182"/>
                  </a:lnTo>
                  <a:lnTo>
                    <a:pt x="359" y="182"/>
                  </a:lnTo>
                  <a:lnTo>
                    <a:pt x="361" y="182"/>
                  </a:lnTo>
                  <a:lnTo>
                    <a:pt x="362" y="182"/>
                  </a:lnTo>
                  <a:lnTo>
                    <a:pt x="363" y="182"/>
                  </a:lnTo>
                  <a:lnTo>
                    <a:pt x="365" y="182"/>
                  </a:lnTo>
                  <a:lnTo>
                    <a:pt x="365" y="183"/>
                  </a:lnTo>
                  <a:lnTo>
                    <a:pt x="366" y="183"/>
                  </a:lnTo>
                  <a:lnTo>
                    <a:pt x="367" y="184"/>
                  </a:lnTo>
                  <a:lnTo>
                    <a:pt x="368" y="184"/>
                  </a:lnTo>
                  <a:lnTo>
                    <a:pt x="368" y="184"/>
                  </a:lnTo>
                  <a:lnTo>
                    <a:pt x="368" y="185"/>
                  </a:lnTo>
                  <a:lnTo>
                    <a:pt x="369" y="186"/>
                  </a:lnTo>
                  <a:lnTo>
                    <a:pt x="370" y="188"/>
                  </a:lnTo>
                  <a:lnTo>
                    <a:pt x="370" y="189"/>
                  </a:lnTo>
                  <a:lnTo>
                    <a:pt x="371" y="193"/>
                  </a:lnTo>
                  <a:lnTo>
                    <a:pt x="372" y="195"/>
                  </a:lnTo>
                  <a:lnTo>
                    <a:pt x="372" y="196"/>
                  </a:lnTo>
                  <a:lnTo>
                    <a:pt x="373" y="197"/>
                  </a:lnTo>
                  <a:lnTo>
                    <a:pt x="373" y="199"/>
                  </a:lnTo>
                  <a:lnTo>
                    <a:pt x="374" y="200"/>
                  </a:lnTo>
                  <a:lnTo>
                    <a:pt x="375" y="202"/>
                  </a:lnTo>
                  <a:lnTo>
                    <a:pt x="376" y="202"/>
                  </a:lnTo>
                  <a:lnTo>
                    <a:pt x="377" y="204"/>
                  </a:lnTo>
                  <a:lnTo>
                    <a:pt x="378" y="204"/>
                  </a:lnTo>
                  <a:lnTo>
                    <a:pt x="379" y="205"/>
                  </a:lnTo>
                  <a:lnTo>
                    <a:pt x="380" y="206"/>
                  </a:lnTo>
                  <a:lnTo>
                    <a:pt x="381" y="207"/>
                  </a:lnTo>
                  <a:lnTo>
                    <a:pt x="382" y="207"/>
                  </a:lnTo>
                  <a:lnTo>
                    <a:pt x="383" y="207"/>
                  </a:lnTo>
                  <a:lnTo>
                    <a:pt x="386" y="207"/>
                  </a:lnTo>
                  <a:lnTo>
                    <a:pt x="387" y="208"/>
                  </a:lnTo>
                  <a:lnTo>
                    <a:pt x="388" y="208"/>
                  </a:lnTo>
                  <a:lnTo>
                    <a:pt x="389" y="209"/>
                  </a:lnTo>
                  <a:lnTo>
                    <a:pt x="390" y="209"/>
                  </a:lnTo>
                  <a:lnTo>
                    <a:pt x="391" y="210"/>
                  </a:lnTo>
                  <a:lnTo>
                    <a:pt x="392" y="211"/>
                  </a:lnTo>
                  <a:lnTo>
                    <a:pt x="394" y="212"/>
                  </a:lnTo>
                  <a:lnTo>
                    <a:pt x="395" y="214"/>
                  </a:lnTo>
                  <a:lnTo>
                    <a:pt x="397" y="217"/>
                  </a:lnTo>
                  <a:lnTo>
                    <a:pt x="399" y="219"/>
                  </a:lnTo>
                  <a:lnTo>
                    <a:pt x="400" y="221"/>
                  </a:lnTo>
                  <a:lnTo>
                    <a:pt x="402" y="224"/>
                  </a:lnTo>
                  <a:lnTo>
                    <a:pt x="404" y="228"/>
                  </a:lnTo>
                  <a:lnTo>
                    <a:pt x="406" y="230"/>
                  </a:lnTo>
                  <a:lnTo>
                    <a:pt x="408" y="233"/>
                  </a:lnTo>
                  <a:lnTo>
                    <a:pt x="409" y="233"/>
                  </a:lnTo>
                  <a:lnTo>
                    <a:pt x="410" y="234"/>
                  </a:lnTo>
                  <a:lnTo>
                    <a:pt x="413" y="237"/>
                  </a:lnTo>
                  <a:lnTo>
                    <a:pt x="416" y="242"/>
                  </a:lnTo>
                  <a:lnTo>
                    <a:pt x="417" y="243"/>
                  </a:lnTo>
                  <a:lnTo>
                    <a:pt x="418" y="244"/>
                  </a:lnTo>
                  <a:lnTo>
                    <a:pt x="419" y="245"/>
                  </a:lnTo>
                  <a:lnTo>
                    <a:pt x="422" y="247"/>
                  </a:lnTo>
                  <a:lnTo>
                    <a:pt x="423" y="248"/>
                  </a:lnTo>
                  <a:lnTo>
                    <a:pt x="423" y="248"/>
                  </a:lnTo>
                  <a:lnTo>
                    <a:pt x="424" y="249"/>
                  </a:lnTo>
                  <a:lnTo>
                    <a:pt x="425" y="251"/>
                  </a:lnTo>
                  <a:lnTo>
                    <a:pt x="426" y="252"/>
                  </a:lnTo>
                  <a:lnTo>
                    <a:pt x="426" y="253"/>
                  </a:lnTo>
                  <a:lnTo>
                    <a:pt x="427" y="254"/>
                  </a:lnTo>
                  <a:lnTo>
                    <a:pt x="428" y="255"/>
                  </a:lnTo>
                  <a:lnTo>
                    <a:pt x="428" y="258"/>
                  </a:lnTo>
                  <a:lnTo>
                    <a:pt x="429" y="259"/>
                  </a:lnTo>
                  <a:lnTo>
                    <a:pt x="429" y="261"/>
                  </a:lnTo>
                  <a:lnTo>
                    <a:pt x="429" y="265"/>
                  </a:lnTo>
                  <a:lnTo>
                    <a:pt x="429" y="268"/>
                  </a:lnTo>
                  <a:lnTo>
                    <a:pt x="430" y="270"/>
                  </a:lnTo>
                  <a:lnTo>
                    <a:pt x="430" y="272"/>
                  </a:lnTo>
                  <a:lnTo>
                    <a:pt x="431" y="275"/>
                  </a:lnTo>
                  <a:lnTo>
                    <a:pt x="431" y="277"/>
                  </a:lnTo>
                  <a:lnTo>
                    <a:pt x="431" y="277"/>
                  </a:lnTo>
                  <a:lnTo>
                    <a:pt x="431" y="278"/>
                  </a:lnTo>
                  <a:lnTo>
                    <a:pt x="432" y="280"/>
                  </a:lnTo>
                  <a:lnTo>
                    <a:pt x="433" y="282"/>
                  </a:lnTo>
                  <a:lnTo>
                    <a:pt x="435" y="285"/>
                  </a:lnTo>
                  <a:lnTo>
                    <a:pt x="436" y="286"/>
                  </a:lnTo>
                  <a:lnTo>
                    <a:pt x="436" y="287"/>
                  </a:lnTo>
                  <a:lnTo>
                    <a:pt x="436" y="288"/>
                  </a:lnTo>
                  <a:lnTo>
                    <a:pt x="436" y="289"/>
                  </a:lnTo>
                  <a:lnTo>
                    <a:pt x="436" y="289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5" y="290"/>
                  </a:lnTo>
                  <a:lnTo>
                    <a:pt x="434" y="290"/>
                  </a:lnTo>
                  <a:lnTo>
                    <a:pt x="433" y="290"/>
                  </a:lnTo>
                  <a:lnTo>
                    <a:pt x="431" y="289"/>
                  </a:lnTo>
                  <a:lnTo>
                    <a:pt x="430" y="289"/>
                  </a:lnTo>
                  <a:lnTo>
                    <a:pt x="425" y="287"/>
                  </a:lnTo>
                  <a:lnTo>
                    <a:pt x="423" y="286"/>
                  </a:lnTo>
                  <a:lnTo>
                    <a:pt x="421" y="285"/>
                  </a:lnTo>
                  <a:lnTo>
                    <a:pt x="420" y="284"/>
                  </a:lnTo>
                  <a:lnTo>
                    <a:pt x="417" y="283"/>
                  </a:lnTo>
                  <a:lnTo>
                    <a:pt x="417" y="282"/>
                  </a:lnTo>
                  <a:lnTo>
                    <a:pt x="416" y="282"/>
                  </a:lnTo>
                  <a:lnTo>
                    <a:pt x="414" y="281"/>
                  </a:lnTo>
                  <a:lnTo>
                    <a:pt x="414" y="281"/>
                  </a:lnTo>
                  <a:lnTo>
                    <a:pt x="413" y="281"/>
                  </a:lnTo>
                  <a:lnTo>
                    <a:pt x="412" y="281"/>
                  </a:lnTo>
                  <a:lnTo>
                    <a:pt x="412" y="281"/>
                  </a:lnTo>
                  <a:lnTo>
                    <a:pt x="411" y="281"/>
                  </a:lnTo>
                  <a:lnTo>
                    <a:pt x="411" y="281"/>
                  </a:lnTo>
                  <a:lnTo>
                    <a:pt x="410" y="281"/>
                  </a:lnTo>
                  <a:lnTo>
                    <a:pt x="410" y="281"/>
                  </a:lnTo>
                  <a:lnTo>
                    <a:pt x="409" y="282"/>
                  </a:lnTo>
                  <a:lnTo>
                    <a:pt x="408" y="282"/>
                  </a:lnTo>
                  <a:lnTo>
                    <a:pt x="408" y="282"/>
                  </a:lnTo>
                  <a:lnTo>
                    <a:pt x="407" y="283"/>
                  </a:lnTo>
                  <a:lnTo>
                    <a:pt x="407" y="284"/>
                  </a:lnTo>
                  <a:lnTo>
                    <a:pt x="407" y="285"/>
                  </a:lnTo>
                  <a:lnTo>
                    <a:pt x="405" y="288"/>
                  </a:lnTo>
                  <a:lnTo>
                    <a:pt x="404" y="290"/>
                  </a:lnTo>
                  <a:lnTo>
                    <a:pt x="404" y="291"/>
                  </a:lnTo>
                  <a:lnTo>
                    <a:pt x="403" y="292"/>
                  </a:lnTo>
                  <a:lnTo>
                    <a:pt x="402" y="292"/>
                  </a:lnTo>
                  <a:lnTo>
                    <a:pt x="401" y="293"/>
                  </a:lnTo>
                  <a:lnTo>
                    <a:pt x="400" y="294"/>
                  </a:lnTo>
                  <a:lnTo>
                    <a:pt x="399" y="295"/>
                  </a:lnTo>
                  <a:lnTo>
                    <a:pt x="398" y="296"/>
                  </a:lnTo>
                  <a:lnTo>
                    <a:pt x="396" y="296"/>
                  </a:lnTo>
                  <a:lnTo>
                    <a:pt x="394" y="297"/>
                  </a:lnTo>
                  <a:lnTo>
                    <a:pt x="392" y="299"/>
                  </a:lnTo>
                  <a:lnTo>
                    <a:pt x="392" y="299"/>
                  </a:lnTo>
                  <a:lnTo>
                    <a:pt x="390" y="300"/>
                  </a:lnTo>
                  <a:lnTo>
                    <a:pt x="390" y="300"/>
                  </a:lnTo>
                  <a:lnTo>
                    <a:pt x="387" y="302"/>
                  </a:lnTo>
                  <a:lnTo>
                    <a:pt x="384" y="303"/>
                  </a:lnTo>
                  <a:lnTo>
                    <a:pt x="382" y="304"/>
                  </a:lnTo>
                  <a:lnTo>
                    <a:pt x="381" y="304"/>
                  </a:lnTo>
                  <a:lnTo>
                    <a:pt x="380" y="305"/>
                  </a:lnTo>
                  <a:lnTo>
                    <a:pt x="378" y="307"/>
                  </a:lnTo>
                  <a:lnTo>
                    <a:pt x="376" y="308"/>
                  </a:lnTo>
                  <a:lnTo>
                    <a:pt x="374" y="309"/>
                  </a:lnTo>
                  <a:lnTo>
                    <a:pt x="372" y="311"/>
                  </a:lnTo>
                  <a:lnTo>
                    <a:pt x="371" y="311"/>
                  </a:lnTo>
                  <a:lnTo>
                    <a:pt x="370" y="312"/>
                  </a:lnTo>
                  <a:lnTo>
                    <a:pt x="369" y="313"/>
                  </a:lnTo>
                  <a:lnTo>
                    <a:pt x="368" y="314"/>
                  </a:lnTo>
                  <a:lnTo>
                    <a:pt x="368" y="315"/>
                  </a:lnTo>
                  <a:lnTo>
                    <a:pt x="368" y="315"/>
                  </a:lnTo>
                  <a:lnTo>
                    <a:pt x="367" y="316"/>
                  </a:lnTo>
                  <a:lnTo>
                    <a:pt x="367" y="317"/>
                  </a:lnTo>
                  <a:lnTo>
                    <a:pt x="367" y="317"/>
                  </a:lnTo>
                  <a:lnTo>
                    <a:pt x="367" y="320"/>
                  </a:lnTo>
                  <a:lnTo>
                    <a:pt x="367" y="320"/>
                  </a:lnTo>
                  <a:lnTo>
                    <a:pt x="367" y="321"/>
                  </a:lnTo>
                  <a:lnTo>
                    <a:pt x="366" y="322"/>
                  </a:lnTo>
                  <a:lnTo>
                    <a:pt x="366" y="322"/>
                  </a:lnTo>
                  <a:lnTo>
                    <a:pt x="366" y="323"/>
                  </a:lnTo>
                  <a:lnTo>
                    <a:pt x="365" y="324"/>
                  </a:lnTo>
                  <a:lnTo>
                    <a:pt x="364" y="325"/>
                  </a:lnTo>
                  <a:lnTo>
                    <a:pt x="362" y="326"/>
                  </a:lnTo>
                  <a:lnTo>
                    <a:pt x="361" y="327"/>
                  </a:lnTo>
                  <a:lnTo>
                    <a:pt x="361" y="327"/>
                  </a:lnTo>
                  <a:lnTo>
                    <a:pt x="361" y="327"/>
                  </a:lnTo>
                  <a:lnTo>
                    <a:pt x="360" y="328"/>
                  </a:lnTo>
                  <a:lnTo>
                    <a:pt x="360" y="329"/>
                  </a:lnTo>
                  <a:lnTo>
                    <a:pt x="360" y="329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1"/>
                  </a:lnTo>
                  <a:lnTo>
                    <a:pt x="361" y="334"/>
                  </a:lnTo>
                  <a:lnTo>
                    <a:pt x="361" y="334"/>
                  </a:lnTo>
                  <a:lnTo>
                    <a:pt x="361" y="335"/>
                  </a:lnTo>
                  <a:lnTo>
                    <a:pt x="361" y="335"/>
                  </a:lnTo>
                  <a:lnTo>
                    <a:pt x="361" y="336"/>
                  </a:lnTo>
                  <a:lnTo>
                    <a:pt x="360" y="336"/>
                  </a:lnTo>
                  <a:lnTo>
                    <a:pt x="360" y="336"/>
                  </a:lnTo>
                  <a:lnTo>
                    <a:pt x="359" y="336"/>
                  </a:lnTo>
                  <a:lnTo>
                    <a:pt x="359" y="337"/>
                  </a:lnTo>
                  <a:lnTo>
                    <a:pt x="358" y="337"/>
                  </a:lnTo>
                  <a:lnTo>
                    <a:pt x="357" y="337"/>
                  </a:lnTo>
                  <a:lnTo>
                    <a:pt x="356" y="337"/>
                  </a:lnTo>
                  <a:lnTo>
                    <a:pt x="355" y="336"/>
                  </a:lnTo>
                  <a:lnTo>
                    <a:pt x="353" y="336"/>
                  </a:lnTo>
                  <a:lnTo>
                    <a:pt x="352" y="335"/>
                  </a:lnTo>
                  <a:lnTo>
                    <a:pt x="351" y="335"/>
                  </a:lnTo>
                  <a:lnTo>
                    <a:pt x="350" y="335"/>
                  </a:lnTo>
                  <a:lnTo>
                    <a:pt x="349" y="335"/>
                  </a:lnTo>
                  <a:lnTo>
                    <a:pt x="347" y="336"/>
                  </a:lnTo>
                  <a:lnTo>
                    <a:pt x="344" y="336"/>
                  </a:lnTo>
                  <a:lnTo>
                    <a:pt x="343" y="336"/>
                  </a:lnTo>
                  <a:lnTo>
                    <a:pt x="341" y="336"/>
                  </a:lnTo>
                  <a:lnTo>
                    <a:pt x="341" y="336"/>
                  </a:lnTo>
                  <a:lnTo>
                    <a:pt x="340" y="336"/>
                  </a:lnTo>
                  <a:lnTo>
                    <a:pt x="339" y="335"/>
                  </a:lnTo>
                  <a:lnTo>
                    <a:pt x="338" y="335"/>
                  </a:lnTo>
                  <a:lnTo>
                    <a:pt x="338" y="335"/>
                  </a:lnTo>
                  <a:lnTo>
                    <a:pt x="337" y="335"/>
                  </a:lnTo>
                  <a:lnTo>
                    <a:pt x="337" y="335"/>
                  </a:lnTo>
                  <a:lnTo>
                    <a:pt x="336" y="335"/>
                  </a:lnTo>
                  <a:lnTo>
                    <a:pt x="334" y="336"/>
                  </a:lnTo>
                  <a:lnTo>
                    <a:pt x="333" y="336"/>
                  </a:lnTo>
                  <a:lnTo>
                    <a:pt x="332" y="337"/>
                  </a:lnTo>
                  <a:lnTo>
                    <a:pt x="329" y="337"/>
                  </a:lnTo>
                  <a:lnTo>
                    <a:pt x="327" y="338"/>
                  </a:lnTo>
                  <a:lnTo>
                    <a:pt x="326" y="338"/>
                  </a:lnTo>
                  <a:lnTo>
                    <a:pt x="325" y="338"/>
                  </a:lnTo>
                  <a:lnTo>
                    <a:pt x="324" y="338"/>
                  </a:lnTo>
                  <a:lnTo>
                    <a:pt x="324" y="338"/>
                  </a:lnTo>
                  <a:lnTo>
                    <a:pt x="323" y="337"/>
                  </a:lnTo>
                  <a:lnTo>
                    <a:pt x="322" y="337"/>
                  </a:lnTo>
                  <a:lnTo>
                    <a:pt x="321" y="336"/>
                  </a:lnTo>
                  <a:lnTo>
                    <a:pt x="320" y="336"/>
                  </a:lnTo>
                  <a:lnTo>
                    <a:pt x="316" y="333"/>
                  </a:lnTo>
                  <a:lnTo>
                    <a:pt x="315" y="332"/>
                  </a:lnTo>
                  <a:lnTo>
                    <a:pt x="314" y="331"/>
                  </a:lnTo>
                  <a:lnTo>
                    <a:pt x="313" y="330"/>
                  </a:lnTo>
                  <a:lnTo>
                    <a:pt x="311" y="330"/>
                  </a:lnTo>
                  <a:lnTo>
                    <a:pt x="309" y="329"/>
                  </a:lnTo>
                  <a:lnTo>
                    <a:pt x="306" y="328"/>
                  </a:lnTo>
                  <a:lnTo>
                    <a:pt x="305" y="327"/>
                  </a:lnTo>
                  <a:lnTo>
                    <a:pt x="305" y="327"/>
                  </a:lnTo>
                  <a:lnTo>
                    <a:pt x="303" y="326"/>
                  </a:lnTo>
                  <a:lnTo>
                    <a:pt x="302" y="325"/>
                  </a:lnTo>
                  <a:lnTo>
                    <a:pt x="300" y="323"/>
                  </a:lnTo>
                  <a:lnTo>
                    <a:pt x="299" y="322"/>
                  </a:lnTo>
                  <a:lnTo>
                    <a:pt x="298" y="322"/>
                  </a:lnTo>
                  <a:lnTo>
                    <a:pt x="297" y="321"/>
                  </a:lnTo>
                  <a:lnTo>
                    <a:pt x="296" y="321"/>
                  </a:lnTo>
                  <a:lnTo>
                    <a:pt x="293" y="319"/>
                  </a:lnTo>
                  <a:lnTo>
                    <a:pt x="291" y="319"/>
                  </a:lnTo>
                  <a:lnTo>
                    <a:pt x="290" y="318"/>
                  </a:lnTo>
                  <a:lnTo>
                    <a:pt x="289" y="317"/>
                  </a:lnTo>
                  <a:lnTo>
                    <a:pt x="288" y="316"/>
                  </a:lnTo>
                  <a:lnTo>
                    <a:pt x="287" y="315"/>
                  </a:lnTo>
                  <a:lnTo>
                    <a:pt x="286" y="314"/>
                  </a:lnTo>
                  <a:lnTo>
                    <a:pt x="284" y="311"/>
                  </a:lnTo>
                  <a:lnTo>
                    <a:pt x="282" y="310"/>
                  </a:lnTo>
                  <a:lnTo>
                    <a:pt x="281" y="309"/>
                  </a:lnTo>
                  <a:lnTo>
                    <a:pt x="281" y="309"/>
                  </a:lnTo>
                  <a:lnTo>
                    <a:pt x="281" y="309"/>
                  </a:lnTo>
                  <a:lnTo>
                    <a:pt x="279" y="308"/>
                  </a:lnTo>
                  <a:lnTo>
                    <a:pt x="278" y="307"/>
                  </a:lnTo>
                  <a:lnTo>
                    <a:pt x="277" y="307"/>
                  </a:lnTo>
                  <a:lnTo>
                    <a:pt x="274" y="306"/>
                  </a:lnTo>
                  <a:lnTo>
                    <a:pt x="272" y="306"/>
                  </a:lnTo>
                  <a:lnTo>
                    <a:pt x="271" y="305"/>
                  </a:lnTo>
                  <a:lnTo>
                    <a:pt x="270" y="305"/>
                  </a:lnTo>
                  <a:lnTo>
                    <a:pt x="270" y="304"/>
                  </a:lnTo>
                  <a:lnTo>
                    <a:pt x="269" y="304"/>
                  </a:lnTo>
                  <a:lnTo>
                    <a:pt x="269" y="303"/>
                  </a:lnTo>
                  <a:lnTo>
                    <a:pt x="268" y="302"/>
                  </a:lnTo>
                  <a:lnTo>
                    <a:pt x="268" y="301"/>
                  </a:lnTo>
                  <a:lnTo>
                    <a:pt x="267" y="300"/>
                  </a:lnTo>
                  <a:lnTo>
                    <a:pt x="266" y="296"/>
                  </a:lnTo>
                  <a:lnTo>
                    <a:pt x="266" y="295"/>
                  </a:lnTo>
                  <a:lnTo>
                    <a:pt x="265" y="294"/>
                  </a:lnTo>
                  <a:lnTo>
                    <a:pt x="265" y="293"/>
                  </a:lnTo>
                  <a:lnTo>
                    <a:pt x="264" y="293"/>
                  </a:lnTo>
                  <a:lnTo>
                    <a:pt x="264" y="292"/>
                  </a:lnTo>
                  <a:lnTo>
                    <a:pt x="263" y="292"/>
                  </a:lnTo>
                  <a:lnTo>
                    <a:pt x="261" y="289"/>
                  </a:lnTo>
                  <a:lnTo>
                    <a:pt x="261" y="288"/>
                  </a:lnTo>
                  <a:lnTo>
                    <a:pt x="260" y="288"/>
                  </a:lnTo>
                  <a:lnTo>
                    <a:pt x="259" y="287"/>
                  </a:lnTo>
                  <a:lnTo>
                    <a:pt x="258" y="287"/>
                  </a:lnTo>
                  <a:lnTo>
                    <a:pt x="257" y="286"/>
                  </a:lnTo>
                  <a:lnTo>
                    <a:pt x="255" y="286"/>
                  </a:lnTo>
                  <a:lnTo>
                    <a:pt x="252" y="285"/>
                  </a:lnTo>
                  <a:lnTo>
                    <a:pt x="248" y="284"/>
                  </a:lnTo>
                  <a:lnTo>
                    <a:pt x="246" y="283"/>
                  </a:lnTo>
                  <a:lnTo>
                    <a:pt x="243" y="283"/>
                  </a:lnTo>
                  <a:lnTo>
                    <a:pt x="242" y="282"/>
                  </a:lnTo>
                  <a:lnTo>
                    <a:pt x="241" y="282"/>
                  </a:lnTo>
                  <a:lnTo>
                    <a:pt x="240" y="282"/>
                  </a:lnTo>
                  <a:lnTo>
                    <a:pt x="239" y="282"/>
                  </a:lnTo>
                  <a:lnTo>
                    <a:pt x="238" y="283"/>
                  </a:lnTo>
                  <a:lnTo>
                    <a:pt x="236" y="284"/>
                  </a:lnTo>
                  <a:lnTo>
                    <a:pt x="234" y="284"/>
                  </a:lnTo>
                  <a:lnTo>
                    <a:pt x="233" y="285"/>
                  </a:lnTo>
                  <a:lnTo>
                    <a:pt x="232" y="286"/>
                  </a:lnTo>
                  <a:lnTo>
                    <a:pt x="232" y="286"/>
                  </a:lnTo>
                  <a:lnTo>
                    <a:pt x="229" y="289"/>
                  </a:lnTo>
                  <a:lnTo>
                    <a:pt x="228" y="289"/>
                  </a:lnTo>
                  <a:lnTo>
                    <a:pt x="228" y="290"/>
                  </a:lnTo>
                  <a:lnTo>
                    <a:pt x="227" y="290"/>
                  </a:lnTo>
                  <a:lnTo>
                    <a:pt x="226" y="291"/>
                  </a:lnTo>
                  <a:lnTo>
                    <a:pt x="223" y="292"/>
                  </a:lnTo>
                  <a:lnTo>
                    <a:pt x="222" y="293"/>
                  </a:lnTo>
                  <a:lnTo>
                    <a:pt x="221" y="293"/>
                  </a:lnTo>
                  <a:lnTo>
                    <a:pt x="218" y="295"/>
                  </a:lnTo>
                  <a:lnTo>
                    <a:pt x="217" y="296"/>
                  </a:lnTo>
                  <a:lnTo>
                    <a:pt x="216" y="296"/>
                  </a:lnTo>
                  <a:lnTo>
                    <a:pt x="215" y="296"/>
                  </a:lnTo>
                  <a:lnTo>
                    <a:pt x="215" y="296"/>
                  </a:lnTo>
                  <a:lnTo>
                    <a:pt x="214" y="296"/>
                  </a:lnTo>
                  <a:lnTo>
                    <a:pt x="214" y="296"/>
                  </a:lnTo>
                  <a:lnTo>
                    <a:pt x="213" y="296"/>
                  </a:lnTo>
                  <a:lnTo>
                    <a:pt x="212" y="296"/>
                  </a:lnTo>
                  <a:lnTo>
                    <a:pt x="211" y="296"/>
                  </a:lnTo>
                  <a:lnTo>
                    <a:pt x="210" y="296"/>
                  </a:lnTo>
                  <a:lnTo>
                    <a:pt x="210" y="296"/>
                  </a:lnTo>
                  <a:lnTo>
                    <a:pt x="209" y="295"/>
                  </a:lnTo>
                  <a:lnTo>
                    <a:pt x="209" y="295"/>
                  </a:lnTo>
                  <a:lnTo>
                    <a:pt x="208" y="294"/>
                  </a:lnTo>
                  <a:lnTo>
                    <a:pt x="207" y="294"/>
                  </a:lnTo>
                  <a:lnTo>
                    <a:pt x="207" y="293"/>
                  </a:lnTo>
                  <a:lnTo>
                    <a:pt x="206" y="292"/>
                  </a:lnTo>
                  <a:lnTo>
                    <a:pt x="206" y="291"/>
                  </a:lnTo>
                  <a:lnTo>
                    <a:pt x="205" y="288"/>
                  </a:lnTo>
                  <a:lnTo>
                    <a:pt x="204" y="286"/>
                  </a:lnTo>
                  <a:lnTo>
                    <a:pt x="204" y="285"/>
                  </a:lnTo>
                  <a:lnTo>
                    <a:pt x="203" y="283"/>
                  </a:lnTo>
                  <a:lnTo>
                    <a:pt x="202" y="282"/>
                  </a:lnTo>
                  <a:lnTo>
                    <a:pt x="201" y="282"/>
                  </a:lnTo>
                  <a:lnTo>
                    <a:pt x="201" y="281"/>
                  </a:lnTo>
                  <a:lnTo>
                    <a:pt x="200" y="281"/>
                  </a:lnTo>
                  <a:lnTo>
                    <a:pt x="200" y="280"/>
                  </a:lnTo>
                  <a:lnTo>
                    <a:pt x="199" y="279"/>
                  </a:lnTo>
                  <a:lnTo>
                    <a:pt x="199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6" y="280"/>
                  </a:lnTo>
                  <a:lnTo>
                    <a:pt x="194" y="281"/>
                  </a:lnTo>
                  <a:lnTo>
                    <a:pt x="193" y="282"/>
                  </a:lnTo>
                  <a:lnTo>
                    <a:pt x="192" y="283"/>
                  </a:lnTo>
                  <a:lnTo>
                    <a:pt x="191" y="284"/>
                  </a:lnTo>
                  <a:lnTo>
                    <a:pt x="190" y="285"/>
                  </a:lnTo>
                  <a:lnTo>
                    <a:pt x="189" y="285"/>
                  </a:lnTo>
                  <a:lnTo>
                    <a:pt x="189" y="286"/>
                  </a:lnTo>
                  <a:lnTo>
                    <a:pt x="188" y="287"/>
                  </a:lnTo>
                  <a:lnTo>
                    <a:pt x="188" y="287"/>
                  </a:lnTo>
                  <a:lnTo>
                    <a:pt x="187" y="288"/>
                  </a:lnTo>
                  <a:lnTo>
                    <a:pt x="186" y="291"/>
                  </a:lnTo>
                  <a:lnTo>
                    <a:pt x="186" y="292"/>
                  </a:lnTo>
                  <a:lnTo>
                    <a:pt x="185" y="292"/>
                  </a:lnTo>
                  <a:lnTo>
                    <a:pt x="185" y="293"/>
                  </a:lnTo>
                  <a:lnTo>
                    <a:pt x="184" y="294"/>
                  </a:lnTo>
                  <a:lnTo>
                    <a:pt x="184" y="294"/>
                  </a:lnTo>
                  <a:lnTo>
                    <a:pt x="183" y="295"/>
                  </a:lnTo>
                  <a:lnTo>
                    <a:pt x="182" y="296"/>
                  </a:lnTo>
                  <a:lnTo>
                    <a:pt x="181" y="296"/>
                  </a:lnTo>
                  <a:lnTo>
                    <a:pt x="180" y="296"/>
                  </a:lnTo>
                  <a:lnTo>
                    <a:pt x="178" y="297"/>
                  </a:lnTo>
                  <a:lnTo>
                    <a:pt x="176" y="297"/>
                  </a:lnTo>
                  <a:lnTo>
                    <a:pt x="175" y="298"/>
                  </a:lnTo>
                  <a:lnTo>
                    <a:pt x="172" y="299"/>
                  </a:lnTo>
                  <a:lnTo>
                    <a:pt x="171" y="300"/>
                  </a:lnTo>
                  <a:lnTo>
                    <a:pt x="170" y="300"/>
                  </a:lnTo>
                  <a:lnTo>
                    <a:pt x="170" y="300"/>
                  </a:lnTo>
                  <a:lnTo>
                    <a:pt x="168" y="300"/>
                  </a:lnTo>
                  <a:lnTo>
                    <a:pt x="167" y="300"/>
                  </a:lnTo>
                  <a:lnTo>
                    <a:pt x="167" y="300"/>
                  </a:lnTo>
                  <a:lnTo>
                    <a:pt x="165" y="299"/>
                  </a:lnTo>
                  <a:lnTo>
                    <a:pt x="163" y="298"/>
                  </a:lnTo>
                  <a:lnTo>
                    <a:pt x="161" y="298"/>
                  </a:lnTo>
                  <a:lnTo>
                    <a:pt x="161" y="297"/>
                  </a:lnTo>
                  <a:lnTo>
                    <a:pt x="160" y="297"/>
                  </a:lnTo>
                  <a:lnTo>
                    <a:pt x="159" y="297"/>
                  </a:lnTo>
                  <a:lnTo>
                    <a:pt x="158" y="297"/>
                  </a:lnTo>
                  <a:lnTo>
                    <a:pt x="156" y="297"/>
                  </a:lnTo>
                  <a:lnTo>
                    <a:pt x="155" y="297"/>
                  </a:lnTo>
                  <a:lnTo>
                    <a:pt x="153" y="297"/>
                  </a:lnTo>
                  <a:lnTo>
                    <a:pt x="152" y="297"/>
                  </a:lnTo>
                  <a:lnTo>
                    <a:pt x="151" y="297"/>
                  </a:lnTo>
                  <a:lnTo>
                    <a:pt x="148" y="297"/>
                  </a:lnTo>
                  <a:lnTo>
                    <a:pt x="147" y="297"/>
                  </a:lnTo>
                  <a:lnTo>
                    <a:pt x="146" y="297"/>
                  </a:lnTo>
                  <a:lnTo>
                    <a:pt x="144" y="297"/>
                  </a:lnTo>
                  <a:lnTo>
                    <a:pt x="144" y="297"/>
                  </a:lnTo>
                  <a:lnTo>
                    <a:pt x="143" y="297"/>
                  </a:lnTo>
                  <a:lnTo>
                    <a:pt x="142" y="296"/>
                  </a:lnTo>
                  <a:lnTo>
                    <a:pt x="141" y="296"/>
                  </a:lnTo>
                  <a:lnTo>
                    <a:pt x="140" y="296"/>
                  </a:lnTo>
                  <a:lnTo>
                    <a:pt x="139" y="294"/>
                  </a:lnTo>
                  <a:lnTo>
                    <a:pt x="138" y="294"/>
                  </a:lnTo>
                  <a:lnTo>
                    <a:pt x="138" y="294"/>
                  </a:lnTo>
                  <a:lnTo>
                    <a:pt x="137" y="293"/>
                  </a:lnTo>
                  <a:lnTo>
                    <a:pt x="137" y="293"/>
                  </a:lnTo>
                  <a:lnTo>
                    <a:pt x="136" y="293"/>
                  </a:lnTo>
                  <a:lnTo>
                    <a:pt x="136" y="293"/>
                  </a:lnTo>
                  <a:lnTo>
                    <a:pt x="136" y="293"/>
                  </a:lnTo>
                  <a:lnTo>
                    <a:pt x="135" y="293"/>
                  </a:lnTo>
                  <a:lnTo>
                    <a:pt x="132" y="295"/>
                  </a:lnTo>
                  <a:lnTo>
                    <a:pt x="131" y="296"/>
                  </a:lnTo>
                  <a:lnTo>
                    <a:pt x="130" y="296"/>
                  </a:lnTo>
                  <a:lnTo>
                    <a:pt x="128" y="296"/>
                  </a:lnTo>
                  <a:lnTo>
                    <a:pt x="127" y="296"/>
                  </a:lnTo>
                  <a:lnTo>
                    <a:pt x="126" y="297"/>
                  </a:lnTo>
                  <a:lnTo>
                    <a:pt x="125" y="297"/>
                  </a:lnTo>
                  <a:lnTo>
                    <a:pt x="125" y="298"/>
                  </a:lnTo>
                  <a:lnTo>
                    <a:pt x="124" y="298"/>
                  </a:lnTo>
                  <a:lnTo>
                    <a:pt x="123" y="299"/>
                  </a:lnTo>
                  <a:lnTo>
                    <a:pt x="123" y="300"/>
                  </a:lnTo>
                  <a:lnTo>
                    <a:pt x="122" y="300"/>
                  </a:lnTo>
                  <a:lnTo>
                    <a:pt x="122" y="301"/>
                  </a:lnTo>
                  <a:lnTo>
                    <a:pt x="121" y="303"/>
                  </a:lnTo>
                  <a:lnTo>
                    <a:pt x="121" y="303"/>
                  </a:lnTo>
                  <a:lnTo>
                    <a:pt x="120" y="304"/>
                  </a:lnTo>
                  <a:lnTo>
                    <a:pt x="120" y="305"/>
                  </a:lnTo>
                  <a:lnTo>
                    <a:pt x="118" y="306"/>
                  </a:lnTo>
                  <a:lnTo>
                    <a:pt x="117" y="307"/>
                  </a:lnTo>
                  <a:lnTo>
                    <a:pt x="116" y="307"/>
                  </a:lnTo>
                  <a:lnTo>
                    <a:pt x="115" y="308"/>
                  </a:lnTo>
                  <a:lnTo>
                    <a:pt x="114" y="308"/>
                  </a:lnTo>
                  <a:lnTo>
                    <a:pt x="112" y="310"/>
                  </a:lnTo>
                  <a:lnTo>
                    <a:pt x="111" y="310"/>
                  </a:lnTo>
                  <a:lnTo>
                    <a:pt x="110" y="311"/>
                  </a:lnTo>
                  <a:lnTo>
                    <a:pt x="109" y="311"/>
                  </a:lnTo>
                  <a:lnTo>
                    <a:pt x="108" y="312"/>
                  </a:lnTo>
                  <a:lnTo>
                    <a:pt x="107" y="312"/>
                  </a:lnTo>
                  <a:lnTo>
                    <a:pt x="106" y="312"/>
                  </a:lnTo>
                  <a:lnTo>
                    <a:pt x="105" y="312"/>
                  </a:lnTo>
                  <a:lnTo>
                    <a:pt x="104" y="313"/>
                  </a:lnTo>
                  <a:lnTo>
                    <a:pt x="103" y="313"/>
                  </a:lnTo>
                  <a:lnTo>
                    <a:pt x="102" y="313"/>
                  </a:lnTo>
                  <a:lnTo>
                    <a:pt x="102" y="313"/>
                  </a:lnTo>
                  <a:lnTo>
                    <a:pt x="101" y="312"/>
                  </a:lnTo>
                  <a:lnTo>
                    <a:pt x="100" y="312"/>
                  </a:lnTo>
                  <a:lnTo>
                    <a:pt x="99" y="312"/>
                  </a:lnTo>
                  <a:lnTo>
                    <a:pt x="98" y="311"/>
                  </a:lnTo>
                  <a:lnTo>
                    <a:pt x="98" y="311"/>
                  </a:lnTo>
                  <a:lnTo>
                    <a:pt x="97" y="311"/>
                  </a:lnTo>
                  <a:lnTo>
                    <a:pt x="97" y="310"/>
                  </a:lnTo>
                  <a:lnTo>
                    <a:pt x="97" y="310"/>
                  </a:lnTo>
                  <a:lnTo>
                    <a:pt x="97" y="310"/>
                  </a:lnTo>
                  <a:lnTo>
                    <a:pt x="97" y="309"/>
                  </a:lnTo>
                  <a:lnTo>
                    <a:pt x="97" y="308"/>
                  </a:lnTo>
                  <a:lnTo>
                    <a:pt x="97" y="306"/>
                  </a:lnTo>
                  <a:lnTo>
                    <a:pt x="97" y="306"/>
                  </a:lnTo>
                  <a:lnTo>
                    <a:pt x="97" y="305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7" y="303"/>
                  </a:lnTo>
                  <a:lnTo>
                    <a:pt x="97" y="303"/>
                  </a:lnTo>
                  <a:lnTo>
                    <a:pt x="96" y="302"/>
                  </a:lnTo>
                  <a:lnTo>
                    <a:pt x="96" y="302"/>
                  </a:lnTo>
                  <a:lnTo>
                    <a:pt x="96" y="301"/>
                  </a:lnTo>
                  <a:lnTo>
                    <a:pt x="94" y="301"/>
                  </a:lnTo>
                  <a:lnTo>
                    <a:pt x="93" y="300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7"/>
                  </a:lnTo>
                  <a:lnTo>
                    <a:pt x="87" y="297"/>
                  </a:lnTo>
                  <a:lnTo>
                    <a:pt x="85" y="296"/>
                  </a:lnTo>
                  <a:lnTo>
                    <a:pt x="84" y="296"/>
                  </a:lnTo>
                  <a:lnTo>
                    <a:pt x="83" y="296"/>
                  </a:lnTo>
                  <a:lnTo>
                    <a:pt x="79" y="295"/>
                  </a:lnTo>
                  <a:lnTo>
                    <a:pt x="76" y="294"/>
                  </a:lnTo>
                  <a:lnTo>
                    <a:pt x="75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2"/>
                  </a:lnTo>
                  <a:lnTo>
                    <a:pt x="74" y="292"/>
                  </a:lnTo>
                  <a:lnTo>
                    <a:pt x="74" y="292"/>
                  </a:lnTo>
                  <a:lnTo>
                    <a:pt x="75" y="289"/>
                  </a:lnTo>
                  <a:lnTo>
                    <a:pt x="75" y="289"/>
                  </a:lnTo>
                  <a:lnTo>
                    <a:pt x="75" y="288"/>
                  </a:lnTo>
                  <a:lnTo>
                    <a:pt x="75" y="287"/>
                  </a:lnTo>
                  <a:lnTo>
                    <a:pt x="74" y="286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5" y="284"/>
                  </a:lnTo>
                  <a:lnTo>
                    <a:pt x="75" y="283"/>
                  </a:lnTo>
                  <a:lnTo>
                    <a:pt x="76" y="282"/>
                  </a:lnTo>
                  <a:lnTo>
                    <a:pt x="77" y="281"/>
                  </a:lnTo>
                  <a:lnTo>
                    <a:pt x="78" y="279"/>
                  </a:lnTo>
                  <a:lnTo>
                    <a:pt x="79" y="278"/>
                  </a:lnTo>
                  <a:lnTo>
                    <a:pt x="80" y="277"/>
                  </a:lnTo>
                  <a:lnTo>
                    <a:pt x="81" y="275"/>
                  </a:lnTo>
                  <a:lnTo>
                    <a:pt x="82" y="274"/>
                  </a:lnTo>
                  <a:lnTo>
                    <a:pt x="82" y="273"/>
                  </a:lnTo>
                  <a:lnTo>
                    <a:pt x="83" y="271"/>
                  </a:lnTo>
                  <a:lnTo>
                    <a:pt x="83" y="270"/>
                  </a:lnTo>
                  <a:lnTo>
                    <a:pt x="84" y="269"/>
                  </a:lnTo>
                  <a:lnTo>
                    <a:pt x="84" y="268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66"/>
                  </a:lnTo>
                  <a:lnTo>
                    <a:pt x="84" y="266"/>
                  </a:lnTo>
                  <a:lnTo>
                    <a:pt x="83" y="264"/>
                  </a:lnTo>
                  <a:lnTo>
                    <a:pt x="83" y="263"/>
                  </a:lnTo>
                  <a:lnTo>
                    <a:pt x="82" y="261"/>
                  </a:lnTo>
                  <a:lnTo>
                    <a:pt x="82" y="260"/>
                  </a:lnTo>
                  <a:lnTo>
                    <a:pt x="80" y="258"/>
                  </a:lnTo>
                  <a:lnTo>
                    <a:pt x="79" y="257"/>
                  </a:lnTo>
                  <a:lnTo>
                    <a:pt x="78" y="255"/>
                  </a:lnTo>
                  <a:lnTo>
                    <a:pt x="78" y="254"/>
                  </a:lnTo>
                  <a:lnTo>
                    <a:pt x="78" y="254"/>
                  </a:lnTo>
                  <a:lnTo>
                    <a:pt x="78" y="253"/>
                  </a:lnTo>
                  <a:lnTo>
                    <a:pt x="78" y="251"/>
                  </a:lnTo>
                  <a:lnTo>
                    <a:pt x="78" y="249"/>
                  </a:lnTo>
                  <a:lnTo>
                    <a:pt x="78" y="248"/>
                  </a:lnTo>
                  <a:lnTo>
                    <a:pt x="78" y="247"/>
                  </a:lnTo>
                  <a:lnTo>
                    <a:pt x="78" y="246"/>
                  </a:lnTo>
                  <a:lnTo>
                    <a:pt x="78" y="243"/>
                  </a:lnTo>
                  <a:lnTo>
                    <a:pt x="79" y="242"/>
                  </a:lnTo>
                  <a:lnTo>
                    <a:pt x="79" y="240"/>
                  </a:lnTo>
                  <a:lnTo>
                    <a:pt x="78" y="237"/>
                  </a:lnTo>
                  <a:lnTo>
                    <a:pt x="78" y="235"/>
                  </a:lnTo>
                  <a:lnTo>
                    <a:pt x="78" y="233"/>
                  </a:lnTo>
                  <a:lnTo>
                    <a:pt x="78" y="233"/>
                  </a:lnTo>
                  <a:lnTo>
                    <a:pt x="78" y="231"/>
                  </a:lnTo>
                  <a:lnTo>
                    <a:pt x="77" y="230"/>
                  </a:lnTo>
                  <a:lnTo>
                    <a:pt x="77" y="230"/>
                  </a:lnTo>
                  <a:lnTo>
                    <a:pt x="77" y="229"/>
                  </a:lnTo>
                  <a:lnTo>
                    <a:pt x="76" y="228"/>
                  </a:lnTo>
                  <a:lnTo>
                    <a:pt x="75" y="228"/>
                  </a:lnTo>
                  <a:lnTo>
                    <a:pt x="75" y="227"/>
                  </a:lnTo>
                  <a:lnTo>
                    <a:pt x="73" y="226"/>
                  </a:lnTo>
                  <a:lnTo>
                    <a:pt x="72" y="225"/>
                  </a:lnTo>
                  <a:lnTo>
                    <a:pt x="72" y="224"/>
                  </a:lnTo>
                  <a:lnTo>
                    <a:pt x="71" y="224"/>
                  </a:lnTo>
                  <a:lnTo>
                    <a:pt x="70" y="224"/>
                  </a:lnTo>
                  <a:lnTo>
                    <a:pt x="70" y="224"/>
                  </a:lnTo>
                  <a:lnTo>
                    <a:pt x="69" y="224"/>
                  </a:lnTo>
                  <a:lnTo>
                    <a:pt x="68" y="224"/>
                  </a:lnTo>
                  <a:lnTo>
                    <a:pt x="68" y="224"/>
                  </a:lnTo>
                  <a:lnTo>
                    <a:pt x="66" y="225"/>
                  </a:lnTo>
                  <a:lnTo>
                    <a:pt x="65" y="225"/>
                  </a:lnTo>
                  <a:lnTo>
                    <a:pt x="63" y="226"/>
                  </a:lnTo>
                  <a:lnTo>
                    <a:pt x="59" y="227"/>
                  </a:lnTo>
                  <a:lnTo>
                    <a:pt x="58" y="228"/>
                  </a:lnTo>
                  <a:lnTo>
                    <a:pt x="57" y="228"/>
                  </a:lnTo>
                  <a:lnTo>
                    <a:pt x="56" y="228"/>
                  </a:lnTo>
                  <a:lnTo>
                    <a:pt x="55" y="228"/>
                  </a:lnTo>
                  <a:lnTo>
                    <a:pt x="52" y="227"/>
                  </a:lnTo>
                  <a:lnTo>
                    <a:pt x="49" y="227"/>
                  </a:lnTo>
                  <a:lnTo>
                    <a:pt x="45" y="226"/>
                  </a:lnTo>
                  <a:lnTo>
                    <a:pt x="44" y="226"/>
                  </a:lnTo>
                  <a:lnTo>
                    <a:pt x="43" y="226"/>
                  </a:lnTo>
                  <a:lnTo>
                    <a:pt x="39" y="227"/>
                  </a:lnTo>
                  <a:lnTo>
                    <a:pt x="38" y="227"/>
                  </a:lnTo>
                  <a:lnTo>
                    <a:pt x="37" y="227"/>
                  </a:lnTo>
                  <a:lnTo>
                    <a:pt x="36" y="227"/>
                  </a:lnTo>
                  <a:lnTo>
                    <a:pt x="36" y="227"/>
                  </a:lnTo>
                  <a:lnTo>
                    <a:pt x="35" y="226"/>
                  </a:lnTo>
                  <a:lnTo>
                    <a:pt x="34" y="226"/>
                  </a:lnTo>
                  <a:lnTo>
                    <a:pt x="33" y="226"/>
                  </a:lnTo>
                  <a:lnTo>
                    <a:pt x="33" y="225"/>
                  </a:lnTo>
                  <a:lnTo>
                    <a:pt x="32" y="225"/>
                  </a:lnTo>
                  <a:lnTo>
                    <a:pt x="31" y="224"/>
                  </a:lnTo>
                  <a:lnTo>
                    <a:pt x="31" y="224"/>
                  </a:lnTo>
                  <a:lnTo>
                    <a:pt x="30" y="223"/>
                  </a:lnTo>
                  <a:lnTo>
                    <a:pt x="30" y="223"/>
                  </a:lnTo>
                  <a:lnTo>
                    <a:pt x="30" y="222"/>
                  </a:lnTo>
                  <a:lnTo>
                    <a:pt x="29" y="221"/>
                  </a:lnTo>
                  <a:lnTo>
                    <a:pt x="29" y="220"/>
                  </a:lnTo>
                  <a:lnTo>
                    <a:pt x="29" y="219"/>
                  </a:lnTo>
                  <a:lnTo>
                    <a:pt x="29" y="219"/>
                  </a:lnTo>
                  <a:lnTo>
                    <a:pt x="29" y="217"/>
                  </a:lnTo>
                  <a:lnTo>
                    <a:pt x="29" y="215"/>
                  </a:lnTo>
                  <a:lnTo>
                    <a:pt x="29" y="214"/>
                  </a:lnTo>
                  <a:lnTo>
                    <a:pt x="28" y="214"/>
                  </a:lnTo>
                  <a:lnTo>
                    <a:pt x="28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5" y="210"/>
                  </a:lnTo>
                  <a:lnTo>
                    <a:pt x="24" y="209"/>
                  </a:lnTo>
                  <a:lnTo>
                    <a:pt x="23" y="208"/>
                  </a:lnTo>
                  <a:lnTo>
                    <a:pt x="22" y="207"/>
                  </a:lnTo>
                  <a:lnTo>
                    <a:pt x="22" y="207"/>
                  </a:lnTo>
                  <a:lnTo>
                    <a:pt x="21" y="205"/>
                  </a:lnTo>
                  <a:lnTo>
                    <a:pt x="20" y="205"/>
                  </a:lnTo>
                  <a:lnTo>
                    <a:pt x="20" y="204"/>
                  </a:lnTo>
                  <a:lnTo>
                    <a:pt x="19" y="204"/>
                  </a:lnTo>
                  <a:lnTo>
                    <a:pt x="18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5" y="202"/>
                  </a:lnTo>
                  <a:lnTo>
                    <a:pt x="12" y="202"/>
                  </a:lnTo>
                  <a:lnTo>
                    <a:pt x="11" y="202"/>
                  </a:lnTo>
                  <a:lnTo>
                    <a:pt x="10" y="202"/>
                  </a:lnTo>
                  <a:lnTo>
                    <a:pt x="10" y="202"/>
                  </a:lnTo>
                  <a:lnTo>
                    <a:pt x="9" y="201"/>
                  </a:lnTo>
                  <a:lnTo>
                    <a:pt x="9" y="201"/>
                  </a:lnTo>
                  <a:lnTo>
                    <a:pt x="8" y="201"/>
                  </a:lnTo>
                  <a:lnTo>
                    <a:pt x="7" y="200"/>
                  </a:lnTo>
                  <a:lnTo>
                    <a:pt x="6" y="200"/>
                  </a:lnTo>
                  <a:lnTo>
                    <a:pt x="6" y="199"/>
                  </a:lnTo>
                  <a:lnTo>
                    <a:pt x="5" y="199"/>
                  </a:lnTo>
                  <a:lnTo>
                    <a:pt x="5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3" y="194"/>
                  </a:lnTo>
                  <a:lnTo>
                    <a:pt x="3" y="193"/>
                  </a:lnTo>
                  <a:lnTo>
                    <a:pt x="2" y="192"/>
                  </a:lnTo>
                  <a:lnTo>
                    <a:pt x="1" y="190"/>
                  </a:lnTo>
                  <a:lnTo>
                    <a:pt x="1" y="189"/>
                  </a:lnTo>
                  <a:lnTo>
                    <a:pt x="1" y="189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1" y="185"/>
                  </a:lnTo>
                  <a:lnTo>
                    <a:pt x="1" y="185"/>
                  </a:lnTo>
                  <a:lnTo>
                    <a:pt x="1" y="184"/>
                  </a:lnTo>
                  <a:lnTo>
                    <a:pt x="2" y="183"/>
                  </a:lnTo>
                  <a:lnTo>
                    <a:pt x="2" y="183"/>
                  </a:lnTo>
                  <a:lnTo>
                    <a:pt x="3" y="183"/>
                  </a:lnTo>
                  <a:lnTo>
                    <a:pt x="5" y="181"/>
                  </a:lnTo>
                  <a:lnTo>
                    <a:pt x="6" y="181"/>
                  </a:lnTo>
                  <a:lnTo>
                    <a:pt x="6" y="180"/>
                  </a:lnTo>
                  <a:lnTo>
                    <a:pt x="7" y="180"/>
                  </a:lnTo>
                  <a:lnTo>
                    <a:pt x="7" y="180"/>
                  </a:lnTo>
                  <a:lnTo>
                    <a:pt x="7" y="179"/>
                  </a:lnTo>
                  <a:lnTo>
                    <a:pt x="8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2" y="170"/>
                  </a:lnTo>
                  <a:lnTo>
                    <a:pt x="12" y="169"/>
                  </a:lnTo>
                  <a:lnTo>
                    <a:pt x="13" y="168"/>
                  </a:lnTo>
                  <a:lnTo>
                    <a:pt x="13" y="166"/>
                  </a:lnTo>
                  <a:lnTo>
                    <a:pt x="13" y="165"/>
                  </a:lnTo>
                  <a:lnTo>
                    <a:pt x="13" y="164"/>
                  </a:lnTo>
                  <a:lnTo>
                    <a:pt x="12" y="162"/>
                  </a:lnTo>
                  <a:lnTo>
                    <a:pt x="11" y="159"/>
                  </a:lnTo>
                  <a:lnTo>
                    <a:pt x="11" y="158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9" y="155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2"/>
                  </a:lnTo>
                  <a:lnTo>
                    <a:pt x="7" y="151"/>
                  </a:lnTo>
                  <a:lnTo>
                    <a:pt x="7" y="150"/>
                  </a:lnTo>
                  <a:lnTo>
                    <a:pt x="7" y="149"/>
                  </a:lnTo>
                  <a:lnTo>
                    <a:pt x="7" y="144"/>
                  </a:lnTo>
                  <a:lnTo>
                    <a:pt x="7" y="142"/>
                  </a:lnTo>
                  <a:lnTo>
                    <a:pt x="7" y="141"/>
                  </a:lnTo>
                  <a:lnTo>
                    <a:pt x="7" y="141"/>
                  </a:lnTo>
                  <a:lnTo>
                    <a:pt x="7" y="140"/>
                  </a:lnTo>
                  <a:lnTo>
                    <a:pt x="6" y="138"/>
                  </a:lnTo>
                  <a:lnTo>
                    <a:pt x="5" y="136"/>
                  </a:lnTo>
                  <a:lnTo>
                    <a:pt x="5" y="135"/>
                  </a:lnTo>
                  <a:lnTo>
                    <a:pt x="4" y="133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3" y="127"/>
                  </a:lnTo>
                  <a:lnTo>
                    <a:pt x="3" y="126"/>
                  </a:lnTo>
                  <a:lnTo>
                    <a:pt x="4" y="125"/>
                  </a:lnTo>
                  <a:lnTo>
                    <a:pt x="5" y="124"/>
                  </a:lnTo>
                  <a:lnTo>
                    <a:pt x="6" y="123"/>
                  </a:lnTo>
                  <a:lnTo>
                    <a:pt x="8" y="121"/>
                  </a:lnTo>
                  <a:lnTo>
                    <a:pt x="9" y="120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20"/>
                  </a:lnTo>
                  <a:lnTo>
                    <a:pt x="11" y="121"/>
                  </a:lnTo>
                  <a:lnTo>
                    <a:pt x="13" y="121"/>
                  </a:lnTo>
                  <a:lnTo>
                    <a:pt x="15" y="123"/>
                  </a:lnTo>
                  <a:lnTo>
                    <a:pt x="17" y="124"/>
                  </a:lnTo>
                  <a:lnTo>
                    <a:pt x="21" y="126"/>
                  </a:lnTo>
                  <a:lnTo>
                    <a:pt x="22" y="127"/>
                  </a:lnTo>
                  <a:lnTo>
                    <a:pt x="24" y="127"/>
                  </a:lnTo>
                  <a:lnTo>
                    <a:pt x="25" y="128"/>
                  </a:lnTo>
                  <a:lnTo>
                    <a:pt x="27" y="129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 59">
              <a:extLst>
                <a:ext uri="{FF2B5EF4-FFF2-40B4-BE49-F238E27FC236}">
                  <a16:creationId xmlns:a16="http://schemas.microsoft.com/office/drawing/2014/main" id="{FBEC1A1C-D6CE-B2DD-30F8-6DED8A6D10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2" y="2993"/>
              <a:ext cx="124" cy="138"/>
            </a:xfrm>
            <a:custGeom>
              <a:avLst/>
              <a:gdLst>
                <a:gd name="T0" fmla="*/ 3 w 124"/>
                <a:gd name="T1" fmla="*/ 131 h 138"/>
                <a:gd name="T2" fmla="*/ 7 w 124"/>
                <a:gd name="T3" fmla="*/ 131 h 138"/>
                <a:gd name="T4" fmla="*/ 9 w 124"/>
                <a:gd name="T5" fmla="*/ 130 h 138"/>
                <a:gd name="T6" fmla="*/ 15 w 124"/>
                <a:gd name="T7" fmla="*/ 123 h 138"/>
                <a:gd name="T8" fmla="*/ 18 w 124"/>
                <a:gd name="T9" fmla="*/ 121 h 138"/>
                <a:gd name="T10" fmla="*/ 20 w 124"/>
                <a:gd name="T11" fmla="*/ 120 h 138"/>
                <a:gd name="T12" fmla="*/ 24 w 124"/>
                <a:gd name="T13" fmla="*/ 120 h 138"/>
                <a:gd name="T14" fmla="*/ 29 w 124"/>
                <a:gd name="T15" fmla="*/ 123 h 138"/>
                <a:gd name="T16" fmla="*/ 35 w 124"/>
                <a:gd name="T17" fmla="*/ 124 h 138"/>
                <a:gd name="T18" fmla="*/ 39 w 124"/>
                <a:gd name="T19" fmla="*/ 126 h 138"/>
                <a:gd name="T20" fmla="*/ 46 w 124"/>
                <a:gd name="T21" fmla="*/ 129 h 138"/>
                <a:gd name="T22" fmla="*/ 50 w 124"/>
                <a:gd name="T23" fmla="*/ 129 h 138"/>
                <a:gd name="T24" fmla="*/ 52 w 124"/>
                <a:gd name="T25" fmla="*/ 130 h 138"/>
                <a:gd name="T26" fmla="*/ 53 w 124"/>
                <a:gd name="T27" fmla="*/ 133 h 138"/>
                <a:gd name="T28" fmla="*/ 54 w 124"/>
                <a:gd name="T29" fmla="*/ 136 h 138"/>
                <a:gd name="T30" fmla="*/ 56 w 124"/>
                <a:gd name="T31" fmla="*/ 138 h 138"/>
                <a:gd name="T32" fmla="*/ 59 w 124"/>
                <a:gd name="T33" fmla="*/ 138 h 138"/>
                <a:gd name="T34" fmla="*/ 63 w 124"/>
                <a:gd name="T35" fmla="*/ 138 h 138"/>
                <a:gd name="T36" fmla="*/ 66 w 124"/>
                <a:gd name="T37" fmla="*/ 136 h 138"/>
                <a:gd name="T38" fmla="*/ 70 w 124"/>
                <a:gd name="T39" fmla="*/ 133 h 138"/>
                <a:gd name="T40" fmla="*/ 71 w 124"/>
                <a:gd name="T41" fmla="*/ 130 h 138"/>
                <a:gd name="T42" fmla="*/ 70 w 124"/>
                <a:gd name="T43" fmla="*/ 124 h 138"/>
                <a:gd name="T44" fmla="*/ 71 w 124"/>
                <a:gd name="T45" fmla="*/ 121 h 138"/>
                <a:gd name="T46" fmla="*/ 75 w 124"/>
                <a:gd name="T47" fmla="*/ 117 h 138"/>
                <a:gd name="T48" fmla="*/ 80 w 124"/>
                <a:gd name="T49" fmla="*/ 112 h 138"/>
                <a:gd name="T50" fmla="*/ 82 w 124"/>
                <a:gd name="T51" fmla="*/ 111 h 138"/>
                <a:gd name="T52" fmla="*/ 85 w 124"/>
                <a:gd name="T53" fmla="*/ 112 h 138"/>
                <a:gd name="T54" fmla="*/ 88 w 124"/>
                <a:gd name="T55" fmla="*/ 117 h 138"/>
                <a:gd name="T56" fmla="*/ 91 w 124"/>
                <a:gd name="T57" fmla="*/ 120 h 138"/>
                <a:gd name="T58" fmla="*/ 96 w 124"/>
                <a:gd name="T59" fmla="*/ 122 h 138"/>
                <a:gd name="T60" fmla="*/ 99 w 124"/>
                <a:gd name="T61" fmla="*/ 122 h 138"/>
                <a:gd name="T62" fmla="*/ 105 w 124"/>
                <a:gd name="T63" fmla="*/ 120 h 138"/>
                <a:gd name="T64" fmla="*/ 110 w 124"/>
                <a:gd name="T65" fmla="*/ 121 h 138"/>
                <a:gd name="T66" fmla="*/ 113 w 124"/>
                <a:gd name="T67" fmla="*/ 121 h 138"/>
                <a:gd name="T68" fmla="*/ 119 w 124"/>
                <a:gd name="T69" fmla="*/ 120 h 138"/>
                <a:gd name="T70" fmla="*/ 122 w 124"/>
                <a:gd name="T71" fmla="*/ 118 h 138"/>
                <a:gd name="T72" fmla="*/ 124 w 124"/>
                <a:gd name="T73" fmla="*/ 117 h 138"/>
                <a:gd name="T74" fmla="*/ 123 w 124"/>
                <a:gd name="T75" fmla="*/ 113 h 138"/>
                <a:gd name="T76" fmla="*/ 120 w 124"/>
                <a:gd name="T77" fmla="*/ 109 h 138"/>
                <a:gd name="T78" fmla="*/ 114 w 124"/>
                <a:gd name="T79" fmla="*/ 99 h 138"/>
                <a:gd name="T80" fmla="*/ 111 w 124"/>
                <a:gd name="T81" fmla="*/ 92 h 138"/>
                <a:gd name="T82" fmla="*/ 111 w 124"/>
                <a:gd name="T83" fmla="*/ 88 h 138"/>
                <a:gd name="T84" fmla="*/ 113 w 124"/>
                <a:gd name="T85" fmla="*/ 79 h 138"/>
                <a:gd name="T86" fmla="*/ 113 w 124"/>
                <a:gd name="T87" fmla="*/ 76 h 138"/>
                <a:gd name="T88" fmla="*/ 111 w 124"/>
                <a:gd name="T89" fmla="*/ 72 h 138"/>
                <a:gd name="T90" fmla="*/ 109 w 124"/>
                <a:gd name="T91" fmla="*/ 65 h 138"/>
                <a:gd name="T92" fmla="*/ 109 w 124"/>
                <a:gd name="T93" fmla="*/ 59 h 138"/>
                <a:gd name="T94" fmla="*/ 107 w 124"/>
                <a:gd name="T95" fmla="*/ 51 h 138"/>
                <a:gd name="T96" fmla="*/ 105 w 124"/>
                <a:gd name="T97" fmla="*/ 43 h 138"/>
                <a:gd name="T98" fmla="*/ 105 w 124"/>
                <a:gd name="T99" fmla="*/ 29 h 138"/>
                <a:gd name="T100" fmla="*/ 106 w 124"/>
                <a:gd name="T101" fmla="*/ 20 h 138"/>
                <a:gd name="T102" fmla="*/ 104 w 124"/>
                <a:gd name="T103" fmla="*/ 16 h 138"/>
                <a:gd name="T104" fmla="*/ 99 w 124"/>
                <a:gd name="T105" fmla="*/ 8 h 138"/>
                <a:gd name="T106" fmla="*/ 97 w 124"/>
                <a:gd name="T107" fmla="*/ 3 h 138"/>
                <a:gd name="T108" fmla="*/ 98 w 124"/>
                <a:gd name="T10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4" h="138">
                  <a:moveTo>
                    <a:pt x="0" y="130"/>
                  </a:moveTo>
                  <a:lnTo>
                    <a:pt x="1" y="130"/>
                  </a:lnTo>
                  <a:lnTo>
                    <a:pt x="3" y="131"/>
                  </a:lnTo>
                  <a:lnTo>
                    <a:pt x="3" y="131"/>
                  </a:lnTo>
                  <a:lnTo>
                    <a:pt x="4" y="131"/>
                  </a:lnTo>
                  <a:lnTo>
                    <a:pt x="5" y="131"/>
                  </a:lnTo>
                  <a:lnTo>
                    <a:pt x="6" y="131"/>
                  </a:lnTo>
                  <a:lnTo>
                    <a:pt x="7" y="131"/>
                  </a:lnTo>
                  <a:lnTo>
                    <a:pt x="7" y="131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9" y="130"/>
                  </a:lnTo>
                  <a:lnTo>
                    <a:pt x="10" y="129"/>
                  </a:lnTo>
                  <a:lnTo>
                    <a:pt x="11" y="128"/>
                  </a:lnTo>
                  <a:lnTo>
                    <a:pt x="13" y="125"/>
                  </a:lnTo>
                  <a:lnTo>
                    <a:pt x="15" y="123"/>
                  </a:lnTo>
                  <a:lnTo>
                    <a:pt x="16" y="122"/>
                  </a:lnTo>
                  <a:lnTo>
                    <a:pt x="17" y="122"/>
                  </a:lnTo>
                  <a:lnTo>
                    <a:pt x="17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9" y="120"/>
                  </a:lnTo>
                  <a:lnTo>
                    <a:pt x="19" y="120"/>
                  </a:lnTo>
                  <a:lnTo>
                    <a:pt x="20" y="120"/>
                  </a:lnTo>
                  <a:lnTo>
                    <a:pt x="21" y="120"/>
                  </a:lnTo>
                  <a:lnTo>
                    <a:pt x="22" y="120"/>
                  </a:lnTo>
                  <a:lnTo>
                    <a:pt x="23" y="120"/>
                  </a:lnTo>
                  <a:lnTo>
                    <a:pt x="24" y="120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27" y="122"/>
                  </a:lnTo>
                  <a:lnTo>
                    <a:pt x="29" y="123"/>
                  </a:lnTo>
                  <a:lnTo>
                    <a:pt x="31" y="123"/>
                  </a:lnTo>
                  <a:lnTo>
                    <a:pt x="32" y="124"/>
                  </a:lnTo>
                  <a:lnTo>
                    <a:pt x="34" y="124"/>
                  </a:lnTo>
                  <a:lnTo>
                    <a:pt x="35" y="124"/>
                  </a:lnTo>
                  <a:lnTo>
                    <a:pt x="36" y="125"/>
                  </a:lnTo>
                  <a:lnTo>
                    <a:pt x="37" y="125"/>
                  </a:lnTo>
                  <a:lnTo>
                    <a:pt x="38" y="125"/>
                  </a:lnTo>
                  <a:lnTo>
                    <a:pt x="39" y="126"/>
                  </a:lnTo>
                  <a:lnTo>
                    <a:pt x="41" y="127"/>
                  </a:lnTo>
                  <a:lnTo>
                    <a:pt x="42" y="128"/>
                  </a:lnTo>
                  <a:lnTo>
                    <a:pt x="44" y="129"/>
                  </a:lnTo>
                  <a:lnTo>
                    <a:pt x="46" y="129"/>
                  </a:lnTo>
                  <a:lnTo>
                    <a:pt x="47" y="130"/>
                  </a:lnTo>
                  <a:lnTo>
                    <a:pt x="47" y="130"/>
                  </a:lnTo>
                  <a:lnTo>
                    <a:pt x="48" y="130"/>
                  </a:lnTo>
                  <a:lnTo>
                    <a:pt x="50" y="129"/>
                  </a:lnTo>
                  <a:lnTo>
                    <a:pt x="51" y="129"/>
                  </a:lnTo>
                  <a:lnTo>
                    <a:pt x="51" y="130"/>
                  </a:lnTo>
                  <a:lnTo>
                    <a:pt x="51" y="130"/>
                  </a:lnTo>
                  <a:lnTo>
                    <a:pt x="52" y="130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3" y="132"/>
                  </a:lnTo>
                  <a:lnTo>
                    <a:pt x="53" y="133"/>
                  </a:lnTo>
                  <a:lnTo>
                    <a:pt x="53" y="134"/>
                  </a:lnTo>
                  <a:lnTo>
                    <a:pt x="54" y="135"/>
                  </a:lnTo>
                  <a:lnTo>
                    <a:pt x="54" y="135"/>
                  </a:lnTo>
                  <a:lnTo>
                    <a:pt x="54" y="136"/>
                  </a:lnTo>
                  <a:lnTo>
                    <a:pt x="55" y="137"/>
                  </a:lnTo>
                  <a:lnTo>
                    <a:pt x="56" y="137"/>
                  </a:lnTo>
                  <a:lnTo>
                    <a:pt x="56" y="137"/>
                  </a:lnTo>
                  <a:lnTo>
                    <a:pt x="56" y="138"/>
                  </a:lnTo>
                  <a:lnTo>
                    <a:pt x="57" y="138"/>
                  </a:lnTo>
                  <a:lnTo>
                    <a:pt x="58" y="138"/>
                  </a:lnTo>
                  <a:lnTo>
                    <a:pt x="58" y="138"/>
                  </a:lnTo>
                  <a:lnTo>
                    <a:pt x="59" y="138"/>
                  </a:lnTo>
                  <a:lnTo>
                    <a:pt x="60" y="138"/>
                  </a:lnTo>
                  <a:lnTo>
                    <a:pt x="61" y="138"/>
                  </a:lnTo>
                  <a:lnTo>
                    <a:pt x="62" y="138"/>
                  </a:lnTo>
                  <a:lnTo>
                    <a:pt x="63" y="138"/>
                  </a:lnTo>
                  <a:lnTo>
                    <a:pt x="64" y="137"/>
                  </a:lnTo>
                  <a:lnTo>
                    <a:pt x="65" y="137"/>
                  </a:lnTo>
                  <a:lnTo>
                    <a:pt x="66" y="136"/>
                  </a:lnTo>
                  <a:lnTo>
                    <a:pt x="66" y="136"/>
                  </a:lnTo>
                  <a:lnTo>
                    <a:pt x="69" y="135"/>
                  </a:lnTo>
                  <a:lnTo>
                    <a:pt x="69" y="134"/>
                  </a:lnTo>
                  <a:lnTo>
                    <a:pt x="69" y="134"/>
                  </a:lnTo>
                  <a:lnTo>
                    <a:pt x="70" y="133"/>
                  </a:lnTo>
                  <a:lnTo>
                    <a:pt x="70" y="132"/>
                  </a:lnTo>
                  <a:lnTo>
                    <a:pt x="71" y="131"/>
                  </a:lnTo>
                  <a:lnTo>
                    <a:pt x="71" y="130"/>
                  </a:lnTo>
                  <a:lnTo>
                    <a:pt x="71" y="130"/>
                  </a:lnTo>
                  <a:lnTo>
                    <a:pt x="71" y="129"/>
                  </a:lnTo>
                  <a:lnTo>
                    <a:pt x="70" y="126"/>
                  </a:lnTo>
                  <a:lnTo>
                    <a:pt x="70" y="125"/>
                  </a:lnTo>
                  <a:lnTo>
                    <a:pt x="70" y="124"/>
                  </a:lnTo>
                  <a:lnTo>
                    <a:pt x="70" y="123"/>
                  </a:lnTo>
                  <a:lnTo>
                    <a:pt x="70" y="122"/>
                  </a:lnTo>
                  <a:lnTo>
                    <a:pt x="70" y="122"/>
                  </a:lnTo>
                  <a:lnTo>
                    <a:pt x="71" y="121"/>
                  </a:lnTo>
                  <a:lnTo>
                    <a:pt x="71" y="120"/>
                  </a:lnTo>
                  <a:lnTo>
                    <a:pt x="72" y="119"/>
                  </a:lnTo>
                  <a:lnTo>
                    <a:pt x="73" y="119"/>
                  </a:lnTo>
                  <a:lnTo>
                    <a:pt x="75" y="117"/>
                  </a:lnTo>
                  <a:lnTo>
                    <a:pt x="77" y="115"/>
                  </a:lnTo>
                  <a:lnTo>
                    <a:pt x="79" y="113"/>
                  </a:lnTo>
                  <a:lnTo>
                    <a:pt x="80" y="113"/>
                  </a:lnTo>
                  <a:lnTo>
                    <a:pt x="80" y="112"/>
                  </a:lnTo>
                  <a:lnTo>
                    <a:pt x="81" y="111"/>
                  </a:lnTo>
                  <a:lnTo>
                    <a:pt x="81" y="111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3" y="111"/>
                  </a:lnTo>
                  <a:lnTo>
                    <a:pt x="84" y="111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5" y="113"/>
                  </a:lnTo>
                  <a:lnTo>
                    <a:pt x="87" y="115"/>
                  </a:lnTo>
                  <a:lnTo>
                    <a:pt x="88" y="117"/>
                  </a:lnTo>
                  <a:lnTo>
                    <a:pt x="89" y="118"/>
                  </a:lnTo>
                  <a:lnTo>
                    <a:pt x="90" y="118"/>
                  </a:lnTo>
                  <a:lnTo>
                    <a:pt x="91" y="119"/>
                  </a:lnTo>
                  <a:lnTo>
                    <a:pt x="91" y="120"/>
                  </a:lnTo>
                  <a:lnTo>
                    <a:pt x="93" y="120"/>
                  </a:lnTo>
                  <a:lnTo>
                    <a:pt x="94" y="121"/>
                  </a:lnTo>
                  <a:lnTo>
                    <a:pt x="95" y="121"/>
                  </a:lnTo>
                  <a:lnTo>
                    <a:pt x="96" y="122"/>
                  </a:lnTo>
                  <a:lnTo>
                    <a:pt x="97" y="122"/>
                  </a:lnTo>
                  <a:lnTo>
                    <a:pt x="98" y="122"/>
                  </a:lnTo>
                  <a:lnTo>
                    <a:pt x="98" y="122"/>
                  </a:lnTo>
                  <a:lnTo>
                    <a:pt x="99" y="122"/>
                  </a:lnTo>
                  <a:lnTo>
                    <a:pt x="100" y="121"/>
                  </a:lnTo>
                  <a:lnTo>
                    <a:pt x="103" y="121"/>
                  </a:lnTo>
                  <a:lnTo>
                    <a:pt x="104" y="120"/>
                  </a:lnTo>
                  <a:lnTo>
                    <a:pt x="105" y="120"/>
                  </a:lnTo>
                  <a:lnTo>
                    <a:pt x="106" y="120"/>
                  </a:lnTo>
                  <a:lnTo>
                    <a:pt x="107" y="120"/>
                  </a:lnTo>
                  <a:lnTo>
                    <a:pt x="109" y="120"/>
                  </a:lnTo>
                  <a:lnTo>
                    <a:pt x="110" y="121"/>
                  </a:lnTo>
                  <a:lnTo>
                    <a:pt x="112" y="121"/>
                  </a:lnTo>
                  <a:lnTo>
                    <a:pt x="112" y="121"/>
                  </a:lnTo>
                  <a:lnTo>
                    <a:pt x="113" y="121"/>
                  </a:lnTo>
                  <a:lnTo>
                    <a:pt x="113" y="121"/>
                  </a:lnTo>
                  <a:lnTo>
                    <a:pt x="115" y="121"/>
                  </a:lnTo>
                  <a:lnTo>
                    <a:pt x="116" y="121"/>
                  </a:lnTo>
                  <a:lnTo>
                    <a:pt x="117" y="121"/>
                  </a:lnTo>
                  <a:lnTo>
                    <a:pt x="119" y="120"/>
                  </a:lnTo>
                  <a:lnTo>
                    <a:pt x="120" y="120"/>
                  </a:lnTo>
                  <a:lnTo>
                    <a:pt x="121" y="119"/>
                  </a:lnTo>
                  <a:lnTo>
                    <a:pt x="122" y="119"/>
                  </a:lnTo>
                  <a:lnTo>
                    <a:pt x="122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3" y="117"/>
                  </a:lnTo>
                  <a:lnTo>
                    <a:pt x="124" y="117"/>
                  </a:lnTo>
                  <a:lnTo>
                    <a:pt x="124" y="116"/>
                  </a:lnTo>
                  <a:lnTo>
                    <a:pt x="124" y="115"/>
                  </a:lnTo>
                  <a:lnTo>
                    <a:pt x="123" y="114"/>
                  </a:lnTo>
                  <a:lnTo>
                    <a:pt x="123" y="113"/>
                  </a:lnTo>
                  <a:lnTo>
                    <a:pt x="123" y="113"/>
                  </a:lnTo>
                  <a:lnTo>
                    <a:pt x="122" y="112"/>
                  </a:lnTo>
                  <a:lnTo>
                    <a:pt x="122" y="111"/>
                  </a:lnTo>
                  <a:lnTo>
                    <a:pt x="120" y="109"/>
                  </a:lnTo>
                  <a:lnTo>
                    <a:pt x="118" y="105"/>
                  </a:lnTo>
                  <a:lnTo>
                    <a:pt x="116" y="103"/>
                  </a:lnTo>
                  <a:lnTo>
                    <a:pt x="116" y="103"/>
                  </a:lnTo>
                  <a:lnTo>
                    <a:pt x="114" y="99"/>
                  </a:lnTo>
                  <a:lnTo>
                    <a:pt x="113" y="96"/>
                  </a:lnTo>
                  <a:lnTo>
                    <a:pt x="111" y="93"/>
                  </a:lnTo>
                  <a:lnTo>
                    <a:pt x="111" y="93"/>
                  </a:lnTo>
                  <a:lnTo>
                    <a:pt x="111" y="92"/>
                  </a:lnTo>
                  <a:lnTo>
                    <a:pt x="111" y="91"/>
                  </a:lnTo>
                  <a:lnTo>
                    <a:pt x="110" y="90"/>
                  </a:lnTo>
                  <a:lnTo>
                    <a:pt x="111" y="89"/>
                  </a:lnTo>
                  <a:lnTo>
                    <a:pt x="111" y="88"/>
                  </a:lnTo>
                  <a:lnTo>
                    <a:pt x="111" y="86"/>
                  </a:lnTo>
                  <a:lnTo>
                    <a:pt x="112" y="84"/>
                  </a:lnTo>
                  <a:lnTo>
                    <a:pt x="113" y="80"/>
                  </a:lnTo>
                  <a:lnTo>
                    <a:pt x="113" y="79"/>
                  </a:lnTo>
                  <a:lnTo>
                    <a:pt x="114" y="78"/>
                  </a:lnTo>
                  <a:lnTo>
                    <a:pt x="114" y="78"/>
                  </a:lnTo>
                  <a:lnTo>
                    <a:pt x="114" y="77"/>
                  </a:lnTo>
                  <a:lnTo>
                    <a:pt x="113" y="76"/>
                  </a:lnTo>
                  <a:lnTo>
                    <a:pt x="113" y="76"/>
                  </a:lnTo>
                  <a:lnTo>
                    <a:pt x="113" y="75"/>
                  </a:lnTo>
                  <a:lnTo>
                    <a:pt x="113" y="74"/>
                  </a:lnTo>
                  <a:lnTo>
                    <a:pt x="111" y="72"/>
                  </a:lnTo>
                  <a:lnTo>
                    <a:pt x="109" y="67"/>
                  </a:lnTo>
                  <a:lnTo>
                    <a:pt x="109" y="67"/>
                  </a:lnTo>
                  <a:lnTo>
                    <a:pt x="109" y="66"/>
                  </a:lnTo>
                  <a:lnTo>
                    <a:pt x="109" y="65"/>
                  </a:lnTo>
                  <a:lnTo>
                    <a:pt x="109" y="64"/>
                  </a:lnTo>
                  <a:lnTo>
                    <a:pt x="109" y="63"/>
                  </a:lnTo>
                  <a:lnTo>
                    <a:pt x="109" y="60"/>
                  </a:lnTo>
                  <a:lnTo>
                    <a:pt x="109" y="59"/>
                  </a:lnTo>
                  <a:lnTo>
                    <a:pt x="109" y="59"/>
                  </a:lnTo>
                  <a:lnTo>
                    <a:pt x="108" y="57"/>
                  </a:lnTo>
                  <a:lnTo>
                    <a:pt x="107" y="54"/>
                  </a:lnTo>
                  <a:lnTo>
                    <a:pt x="107" y="51"/>
                  </a:lnTo>
                  <a:lnTo>
                    <a:pt x="106" y="48"/>
                  </a:lnTo>
                  <a:lnTo>
                    <a:pt x="106" y="46"/>
                  </a:lnTo>
                  <a:lnTo>
                    <a:pt x="106" y="45"/>
                  </a:lnTo>
                  <a:lnTo>
                    <a:pt x="105" y="43"/>
                  </a:lnTo>
                  <a:lnTo>
                    <a:pt x="105" y="36"/>
                  </a:lnTo>
                  <a:lnTo>
                    <a:pt x="105" y="31"/>
                  </a:lnTo>
                  <a:lnTo>
                    <a:pt x="105" y="30"/>
                  </a:lnTo>
                  <a:lnTo>
                    <a:pt x="105" y="29"/>
                  </a:lnTo>
                  <a:lnTo>
                    <a:pt x="106" y="25"/>
                  </a:lnTo>
                  <a:lnTo>
                    <a:pt x="106" y="23"/>
                  </a:lnTo>
                  <a:lnTo>
                    <a:pt x="106" y="22"/>
                  </a:lnTo>
                  <a:lnTo>
                    <a:pt x="106" y="20"/>
                  </a:lnTo>
                  <a:lnTo>
                    <a:pt x="105" y="20"/>
                  </a:lnTo>
                  <a:lnTo>
                    <a:pt x="105" y="19"/>
                  </a:lnTo>
                  <a:lnTo>
                    <a:pt x="105" y="18"/>
                  </a:lnTo>
                  <a:lnTo>
                    <a:pt x="104" y="16"/>
                  </a:lnTo>
                  <a:lnTo>
                    <a:pt x="103" y="15"/>
                  </a:lnTo>
                  <a:lnTo>
                    <a:pt x="101" y="11"/>
                  </a:lnTo>
                  <a:lnTo>
                    <a:pt x="100" y="10"/>
                  </a:lnTo>
                  <a:lnTo>
                    <a:pt x="99" y="8"/>
                  </a:lnTo>
                  <a:lnTo>
                    <a:pt x="98" y="6"/>
                  </a:lnTo>
                  <a:lnTo>
                    <a:pt x="97" y="5"/>
                  </a:lnTo>
                  <a:lnTo>
                    <a:pt x="97" y="4"/>
                  </a:lnTo>
                  <a:lnTo>
                    <a:pt x="97" y="3"/>
                  </a:lnTo>
                  <a:lnTo>
                    <a:pt x="96" y="2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100" y="1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 60">
              <a:extLst>
                <a:ext uri="{FF2B5EF4-FFF2-40B4-BE49-F238E27FC236}">
                  <a16:creationId xmlns:a16="http://schemas.microsoft.com/office/drawing/2014/main" id="{1336E8A5-3392-18FE-30D2-143BC88FB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" y="3255"/>
              <a:ext cx="442" cy="291"/>
            </a:xfrm>
            <a:custGeom>
              <a:avLst/>
              <a:gdLst>
                <a:gd name="T0" fmla="*/ 131 w 442"/>
                <a:gd name="T1" fmla="*/ 34 h 291"/>
                <a:gd name="T2" fmla="*/ 150 w 442"/>
                <a:gd name="T3" fmla="*/ 29 h 291"/>
                <a:gd name="T4" fmla="*/ 179 w 442"/>
                <a:gd name="T5" fmla="*/ 25 h 291"/>
                <a:gd name="T6" fmla="*/ 192 w 442"/>
                <a:gd name="T7" fmla="*/ 43 h 291"/>
                <a:gd name="T8" fmla="*/ 213 w 442"/>
                <a:gd name="T9" fmla="*/ 58 h 291"/>
                <a:gd name="T10" fmla="*/ 242 w 442"/>
                <a:gd name="T11" fmla="*/ 75 h 291"/>
                <a:gd name="T12" fmla="*/ 261 w 442"/>
                <a:gd name="T13" fmla="*/ 74 h 291"/>
                <a:gd name="T14" fmla="*/ 282 w 442"/>
                <a:gd name="T15" fmla="*/ 75 h 291"/>
                <a:gd name="T16" fmla="*/ 287 w 442"/>
                <a:gd name="T17" fmla="*/ 63 h 291"/>
                <a:gd name="T18" fmla="*/ 298 w 442"/>
                <a:gd name="T19" fmla="*/ 47 h 291"/>
                <a:gd name="T20" fmla="*/ 325 w 442"/>
                <a:gd name="T21" fmla="*/ 31 h 291"/>
                <a:gd name="T22" fmla="*/ 336 w 442"/>
                <a:gd name="T23" fmla="*/ 20 h 291"/>
                <a:gd name="T24" fmla="*/ 359 w 442"/>
                <a:gd name="T25" fmla="*/ 29 h 291"/>
                <a:gd name="T26" fmla="*/ 389 w 442"/>
                <a:gd name="T27" fmla="*/ 47 h 291"/>
                <a:gd name="T28" fmla="*/ 408 w 442"/>
                <a:gd name="T29" fmla="*/ 34 h 291"/>
                <a:gd name="T30" fmla="*/ 427 w 442"/>
                <a:gd name="T31" fmla="*/ 6 h 291"/>
                <a:gd name="T32" fmla="*/ 441 w 442"/>
                <a:gd name="T33" fmla="*/ 1 h 291"/>
                <a:gd name="T34" fmla="*/ 430 w 442"/>
                <a:gd name="T35" fmla="*/ 40 h 291"/>
                <a:gd name="T36" fmla="*/ 426 w 442"/>
                <a:gd name="T37" fmla="*/ 62 h 291"/>
                <a:gd name="T38" fmla="*/ 416 w 442"/>
                <a:gd name="T39" fmla="*/ 87 h 291"/>
                <a:gd name="T40" fmla="*/ 402 w 442"/>
                <a:gd name="T41" fmla="*/ 96 h 291"/>
                <a:gd name="T42" fmla="*/ 412 w 442"/>
                <a:gd name="T43" fmla="*/ 133 h 291"/>
                <a:gd name="T44" fmla="*/ 409 w 442"/>
                <a:gd name="T45" fmla="*/ 161 h 291"/>
                <a:gd name="T46" fmla="*/ 416 w 442"/>
                <a:gd name="T47" fmla="*/ 185 h 291"/>
                <a:gd name="T48" fmla="*/ 429 w 442"/>
                <a:gd name="T49" fmla="*/ 210 h 291"/>
                <a:gd name="T50" fmla="*/ 436 w 442"/>
                <a:gd name="T51" fmla="*/ 220 h 291"/>
                <a:gd name="T52" fmla="*/ 440 w 442"/>
                <a:gd name="T53" fmla="*/ 241 h 291"/>
                <a:gd name="T54" fmla="*/ 433 w 442"/>
                <a:gd name="T55" fmla="*/ 265 h 291"/>
                <a:gd name="T56" fmla="*/ 423 w 442"/>
                <a:gd name="T57" fmla="*/ 278 h 291"/>
                <a:gd name="T58" fmla="*/ 390 w 442"/>
                <a:gd name="T59" fmla="*/ 267 h 291"/>
                <a:gd name="T60" fmla="*/ 363 w 442"/>
                <a:gd name="T61" fmla="*/ 268 h 291"/>
                <a:gd name="T62" fmla="*/ 351 w 442"/>
                <a:gd name="T63" fmla="*/ 283 h 291"/>
                <a:gd name="T64" fmla="*/ 325 w 442"/>
                <a:gd name="T65" fmla="*/ 284 h 291"/>
                <a:gd name="T66" fmla="*/ 311 w 442"/>
                <a:gd name="T67" fmla="*/ 290 h 291"/>
                <a:gd name="T68" fmla="*/ 290 w 442"/>
                <a:gd name="T69" fmla="*/ 275 h 291"/>
                <a:gd name="T70" fmla="*/ 261 w 442"/>
                <a:gd name="T71" fmla="*/ 255 h 291"/>
                <a:gd name="T72" fmla="*/ 224 w 442"/>
                <a:gd name="T73" fmla="*/ 242 h 291"/>
                <a:gd name="T74" fmla="*/ 207 w 442"/>
                <a:gd name="T75" fmla="*/ 230 h 291"/>
                <a:gd name="T76" fmla="*/ 188 w 442"/>
                <a:gd name="T77" fmla="*/ 221 h 291"/>
                <a:gd name="T78" fmla="*/ 173 w 442"/>
                <a:gd name="T79" fmla="*/ 241 h 291"/>
                <a:gd name="T80" fmla="*/ 148 w 442"/>
                <a:gd name="T81" fmla="*/ 233 h 291"/>
                <a:gd name="T82" fmla="*/ 143 w 442"/>
                <a:gd name="T83" fmla="*/ 218 h 291"/>
                <a:gd name="T84" fmla="*/ 123 w 442"/>
                <a:gd name="T85" fmla="*/ 209 h 291"/>
                <a:gd name="T86" fmla="*/ 109 w 442"/>
                <a:gd name="T87" fmla="*/ 199 h 291"/>
                <a:gd name="T88" fmla="*/ 89 w 442"/>
                <a:gd name="T89" fmla="*/ 186 h 291"/>
                <a:gd name="T90" fmla="*/ 68 w 442"/>
                <a:gd name="T91" fmla="*/ 186 h 291"/>
                <a:gd name="T92" fmla="*/ 38 w 442"/>
                <a:gd name="T93" fmla="*/ 157 h 291"/>
                <a:gd name="T94" fmla="*/ 46 w 442"/>
                <a:gd name="T95" fmla="*/ 131 h 291"/>
                <a:gd name="T96" fmla="*/ 41 w 442"/>
                <a:gd name="T97" fmla="*/ 114 h 291"/>
                <a:gd name="T98" fmla="*/ 28 w 442"/>
                <a:gd name="T99" fmla="*/ 99 h 291"/>
                <a:gd name="T100" fmla="*/ 15 w 442"/>
                <a:gd name="T101" fmla="*/ 93 h 291"/>
                <a:gd name="T102" fmla="*/ 0 w 442"/>
                <a:gd name="T103" fmla="*/ 82 h 291"/>
                <a:gd name="T104" fmla="*/ 4 w 442"/>
                <a:gd name="T105" fmla="*/ 74 h 291"/>
                <a:gd name="T106" fmla="*/ 11 w 442"/>
                <a:gd name="T107" fmla="*/ 61 h 291"/>
                <a:gd name="T108" fmla="*/ 11 w 442"/>
                <a:gd name="T109" fmla="*/ 52 h 291"/>
                <a:gd name="T110" fmla="*/ 22 w 442"/>
                <a:gd name="T111" fmla="*/ 51 h 291"/>
                <a:gd name="T112" fmla="*/ 40 w 442"/>
                <a:gd name="T113" fmla="*/ 45 h 291"/>
                <a:gd name="T114" fmla="*/ 57 w 442"/>
                <a:gd name="T115" fmla="*/ 32 h 291"/>
                <a:gd name="T116" fmla="*/ 73 w 442"/>
                <a:gd name="T117" fmla="*/ 36 h 291"/>
                <a:gd name="T118" fmla="*/ 94 w 442"/>
                <a:gd name="T119" fmla="*/ 38 h 291"/>
                <a:gd name="T120" fmla="*/ 111 w 442"/>
                <a:gd name="T121" fmla="*/ 24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2" h="291">
                  <a:moveTo>
                    <a:pt x="121" y="18"/>
                  </a:moveTo>
                  <a:lnTo>
                    <a:pt x="121" y="18"/>
                  </a:lnTo>
                  <a:lnTo>
                    <a:pt x="122" y="19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5" y="22"/>
                  </a:lnTo>
                  <a:lnTo>
                    <a:pt x="126" y="24"/>
                  </a:lnTo>
                  <a:lnTo>
                    <a:pt x="126" y="25"/>
                  </a:lnTo>
                  <a:lnTo>
                    <a:pt x="127" y="27"/>
                  </a:lnTo>
                  <a:lnTo>
                    <a:pt x="128" y="30"/>
                  </a:lnTo>
                  <a:lnTo>
                    <a:pt x="128" y="31"/>
                  </a:lnTo>
                  <a:lnTo>
                    <a:pt x="129" y="32"/>
                  </a:lnTo>
                  <a:lnTo>
                    <a:pt x="129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8" y="35"/>
                  </a:lnTo>
                  <a:lnTo>
                    <a:pt x="139" y="35"/>
                  </a:lnTo>
                  <a:lnTo>
                    <a:pt x="140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5" y="31"/>
                  </a:lnTo>
                  <a:lnTo>
                    <a:pt x="148" y="30"/>
                  </a:lnTo>
                  <a:lnTo>
                    <a:pt x="149" y="29"/>
                  </a:lnTo>
                  <a:lnTo>
                    <a:pt x="150" y="29"/>
                  </a:lnTo>
                  <a:lnTo>
                    <a:pt x="150" y="28"/>
                  </a:lnTo>
                  <a:lnTo>
                    <a:pt x="151" y="28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4"/>
                  </a:lnTo>
                  <a:lnTo>
                    <a:pt x="156" y="23"/>
                  </a:lnTo>
                  <a:lnTo>
                    <a:pt x="158" y="23"/>
                  </a:lnTo>
                  <a:lnTo>
                    <a:pt x="160" y="22"/>
                  </a:lnTo>
                  <a:lnTo>
                    <a:pt x="161" y="21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70" y="23"/>
                  </a:lnTo>
                  <a:lnTo>
                    <a:pt x="174" y="24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0" y="26"/>
                  </a:lnTo>
                  <a:lnTo>
                    <a:pt x="181" y="26"/>
                  </a:lnTo>
                  <a:lnTo>
                    <a:pt x="182" y="27"/>
                  </a:lnTo>
                  <a:lnTo>
                    <a:pt x="183" y="27"/>
                  </a:lnTo>
                  <a:lnTo>
                    <a:pt x="183" y="28"/>
                  </a:lnTo>
                  <a:lnTo>
                    <a:pt x="185" y="31"/>
                  </a:lnTo>
                  <a:lnTo>
                    <a:pt x="186" y="31"/>
                  </a:lnTo>
                  <a:lnTo>
                    <a:pt x="186" y="32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88" y="35"/>
                  </a:lnTo>
                  <a:lnTo>
                    <a:pt x="189" y="39"/>
                  </a:lnTo>
                  <a:lnTo>
                    <a:pt x="190" y="40"/>
                  </a:lnTo>
                  <a:lnTo>
                    <a:pt x="190" y="41"/>
                  </a:lnTo>
                  <a:lnTo>
                    <a:pt x="191" y="42"/>
                  </a:lnTo>
                  <a:lnTo>
                    <a:pt x="191" y="43"/>
                  </a:lnTo>
                  <a:lnTo>
                    <a:pt x="192" y="43"/>
                  </a:lnTo>
                  <a:lnTo>
                    <a:pt x="192" y="44"/>
                  </a:lnTo>
                  <a:lnTo>
                    <a:pt x="193" y="44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6"/>
                  </a:lnTo>
                  <a:lnTo>
                    <a:pt x="200" y="46"/>
                  </a:lnTo>
                  <a:lnTo>
                    <a:pt x="201" y="47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4" y="49"/>
                  </a:lnTo>
                  <a:lnTo>
                    <a:pt x="206" y="50"/>
                  </a:lnTo>
                  <a:lnTo>
                    <a:pt x="208" y="53"/>
                  </a:lnTo>
                  <a:lnTo>
                    <a:pt x="209" y="54"/>
                  </a:lnTo>
                  <a:lnTo>
                    <a:pt x="210" y="55"/>
                  </a:lnTo>
                  <a:lnTo>
                    <a:pt x="211" y="56"/>
                  </a:lnTo>
                  <a:lnTo>
                    <a:pt x="212" y="57"/>
                  </a:lnTo>
                  <a:lnTo>
                    <a:pt x="213" y="58"/>
                  </a:lnTo>
                  <a:lnTo>
                    <a:pt x="215" y="58"/>
                  </a:lnTo>
                  <a:lnTo>
                    <a:pt x="218" y="60"/>
                  </a:lnTo>
                  <a:lnTo>
                    <a:pt x="219" y="60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2"/>
                  </a:lnTo>
                  <a:lnTo>
                    <a:pt x="224" y="64"/>
                  </a:lnTo>
                  <a:lnTo>
                    <a:pt x="225" y="65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8" y="67"/>
                  </a:lnTo>
                  <a:lnTo>
                    <a:pt x="231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6" y="70"/>
                  </a:lnTo>
                  <a:lnTo>
                    <a:pt x="237" y="71"/>
                  </a:lnTo>
                  <a:lnTo>
                    <a:pt x="238" y="72"/>
                  </a:lnTo>
                  <a:lnTo>
                    <a:pt x="242" y="75"/>
                  </a:lnTo>
                  <a:lnTo>
                    <a:pt x="243" y="75"/>
                  </a:lnTo>
                  <a:lnTo>
                    <a:pt x="244" y="76"/>
                  </a:lnTo>
                  <a:lnTo>
                    <a:pt x="245" y="76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7" y="77"/>
                  </a:lnTo>
                  <a:lnTo>
                    <a:pt x="248" y="77"/>
                  </a:lnTo>
                  <a:lnTo>
                    <a:pt x="249" y="77"/>
                  </a:lnTo>
                  <a:lnTo>
                    <a:pt x="251" y="76"/>
                  </a:lnTo>
                  <a:lnTo>
                    <a:pt x="254" y="76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1" y="74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6" y="75"/>
                  </a:lnTo>
                  <a:lnTo>
                    <a:pt x="269" y="75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4" y="74"/>
                  </a:lnTo>
                  <a:lnTo>
                    <a:pt x="275" y="75"/>
                  </a:lnTo>
                  <a:lnTo>
                    <a:pt x="277" y="75"/>
                  </a:lnTo>
                  <a:lnTo>
                    <a:pt x="278" y="76"/>
                  </a:lnTo>
                  <a:lnTo>
                    <a:pt x="279" y="76"/>
                  </a:lnTo>
                  <a:lnTo>
                    <a:pt x="280" y="76"/>
                  </a:lnTo>
                  <a:lnTo>
                    <a:pt x="281" y="76"/>
                  </a:lnTo>
                  <a:lnTo>
                    <a:pt x="281" y="75"/>
                  </a:lnTo>
                  <a:lnTo>
                    <a:pt x="282" y="75"/>
                  </a:lnTo>
                  <a:lnTo>
                    <a:pt x="282" y="75"/>
                  </a:lnTo>
                  <a:lnTo>
                    <a:pt x="283" y="75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2" y="70"/>
                  </a:lnTo>
                  <a:lnTo>
                    <a:pt x="282" y="69"/>
                  </a:lnTo>
                  <a:lnTo>
                    <a:pt x="282" y="69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7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4" y="65"/>
                  </a:lnTo>
                  <a:lnTo>
                    <a:pt x="286" y="64"/>
                  </a:lnTo>
                  <a:lnTo>
                    <a:pt x="287" y="63"/>
                  </a:lnTo>
                  <a:lnTo>
                    <a:pt x="288" y="62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0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5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1" y="52"/>
                  </a:lnTo>
                  <a:lnTo>
                    <a:pt x="292" y="51"/>
                  </a:lnTo>
                  <a:lnTo>
                    <a:pt x="293" y="50"/>
                  </a:lnTo>
                  <a:lnTo>
                    <a:pt x="294" y="50"/>
                  </a:lnTo>
                  <a:lnTo>
                    <a:pt x="296" y="48"/>
                  </a:lnTo>
                  <a:lnTo>
                    <a:pt x="298" y="47"/>
                  </a:lnTo>
                  <a:lnTo>
                    <a:pt x="300" y="46"/>
                  </a:lnTo>
                  <a:lnTo>
                    <a:pt x="302" y="44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6" y="42"/>
                  </a:lnTo>
                  <a:lnTo>
                    <a:pt x="309" y="41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20" y="35"/>
                  </a:lnTo>
                  <a:lnTo>
                    <a:pt x="321" y="34"/>
                  </a:lnTo>
                  <a:lnTo>
                    <a:pt x="322" y="33"/>
                  </a:lnTo>
                  <a:lnTo>
                    <a:pt x="323" y="32"/>
                  </a:lnTo>
                  <a:lnTo>
                    <a:pt x="324" y="31"/>
                  </a:lnTo>
                  <a:lnTo>
                    <a:pt x="325" y="31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7" y="27"/>
                  </a:lnTo>
                  <a:lnTo>
                    <a:pt x="329" y="24"/>
                  </a:lnTo>
                  <a:lnTo>
                    <a:pt x="329" y="23"/>
                  </a:lnTo>
                  <a:lnTo>
                    <a:pt x="329" y="22"/>
                  </a:lnTo>
                  <a:lnTo>
                    <a:pt x="330" y="21"/>
                  </a:lnTo>
                  <a:lnTo>
                    <a:pt x="330" y="21"/>
                  </a:lnTo>
                  <a:lnTo>
                    <a:pt x="331" y="21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39" y="22"/>
                  </a:lnTo>
                  <a:lnTo>
                    <a:pt x="342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7" y="26"/>
                  </a:lnTo>
                  <a:lnTo>
                    <a:pt x="352" y="28"/>
                  </a:lnTo>
                  <a:lnTo>
                    <a:pt x="353" y="28"/>
                  </a:lnTo>
                  <a:lnTo>
                    <a:pt x="355" y="29"/>
                  </a:lnTo>
                  <a:lnTo>
                    <a:pt x="356" y="29"/>
                  </a:lnTo>
                  <a:lnTo>
                    <a:pt x="357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9" y="29"/>
                  </a:lnTo>
                  <a:lnTo>
                    <a:pt x="359" y="29"/>
                  </a:lnTo>
                  <a:lnTo>
                    <a:pt x="360" y="30"/>
                  </a:lnTo>
                  <a:lnTo>
                    <a:pt x="362" y="31"/>
                  </a:lnTo>
                  <a:lnTo>
                    <a:pt x="363" y="32"/>
                  </a:lnTo>
                  <a:lnTo>
                    <a:pt x="365" y="33"/>
                  </a:lnTo>
                  <a:lnTo>
                    <a:pt x="366" y="34"/>
                  </a:lnTo>
                  <a:lnTo>
                    <a:pt x="367" y="35"/>
                  </a:lnTo>
                  <a:lnTo>
                    <a:pt x="370" y="38"/>
                  </a:lnTo>
                  <a:lnTo>
                    <a:pt x="371" y="39"/>
                  </a:lnTo>
                  <a:lnTo>
                    <a:pt x="373" y="40"/>
                  </a:lnTo>
                  <a:lnTo>
                    <a:pt x="374" y="41"/>
                  </a:lnTo>
                  <a:lnTo>
                    <a:pt x="375" y="41"/>
                  </a:lnTo>
                  <a:lnTo>
                    <a:pt x="376" y="42"/>
                  </a:lnTo>
                  <a:lnTo>
                    <a:pt x="377" y="43"/>
                  </a:lnTo>
                  <a:lnTo>
                    <a:pt x="378" y="43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9" y="47"/>
                  </a:lnTo>
                  <a:lnTo>
                    <a:pt x="390" y="47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3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5" y="47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8" y="46"/>
                  </a:lnTo>
                  <a:lnTo>
                    <a:pt x="399" y="45"/>
                  </a:lnTo>
                  <a:lnTo>
                    <a:pt x="400" y="45"/>
                  </a:lnTo>
                  <a:lnTo>
                    <a:pt x="401" y="44"/>
                  </a:lnTo>
                  <a:lnTo>
                    <a:pt x="402" y="42"/>
                  </a:lnTo>
                  <a:lnTo>
                    <a:pt x="406" y="37"/>
                  </a:lnTo>
                  <a:lnTo>
                    <a:pt x="407" y="35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9" y="33"/>
                  </a:lnTo>
                  <a:lnTo>
                    <a:pt x="412" y="30"/>
                  </a:lnTo>
                  <a:lnTo>
                    <a:pt x="414" y="28"/>
                  </a:lnTo>
                  <a:lnTo>
                    <a:pt x="416" y="27"/>
                  </a:lnTo>
                  <a:lnTo>
                    <a:pt x="417" y="26"/>
                  </a:lnTo>
                  <a:lnTo>
                    <a:pt x="418" y="24"/>
                  </a:lnTo>
                  <a:lnTo>
                    <a:pt x="419" y="22"/>
                  </a:lnTo>
                  <a:lnTo>
                    <a:pt x="420" y="21"/>
                  </a:lnTo>
                  <a:lnTo>
                    <a:pt x="421" y="20"/>
                  </a:lnTo>
                  <a:lnTo>
                    <a:pt x="421" y="18"/>
                  </a:lnTo>
                  <a:lnTo>
                    <a:pt x="422" y="17"/>
                  </a:lnTo>
                  <a:lnTo>
                    <a:pt x="424" y="12"/>
                  </a:lnTo>
                  <a:lnTo>
                    <a:pt x="424" y="11"/>
                  </a:lnTo>
                  <a:lnTo>
                    <a:pt x="425" y="10"/>
                  </a:lnTo>
                  <a:lnTo>
                    <a:pt x="426" y="9"/>
                  </a:lnTo>
                  <a:lnTo>
                    <a:pt x="426" y="7"/>
                  </a:lnTo>
                  <a:lnTo>
                    <a:pt x="427" y="6"/>
                  </a:lnTo>
                  <a:lnTo>
                    <a:pt x="428" y="6"/>
                  </a:lnTo>
                  <a:lnTo>
                    <a:pt x="429" y="5"/>
                  </a:lnTo>
                  <a:lnTo>
                    <a:pt x="430" y="4"/>
                  </a:lnTo>
                  <a:lnTo>
                    <a:pt x="431" y="3"/>
                  </a:lnTo>
                  <a:lnTo>
                    <a:pt x="432" y="2"/>
                  </a:lnTo>
                  <a:lnTo>
                    <a:pt x="433" y="2"/>
                  </a:lnTo>
                  <a:lnTo>
                    <a:pt x="434" y="1"/>
                  </a:lnTo>
                  <a:lnTo>
                    <a:pt x="435" y="1"/>
                  </a:lnTo>
                  <a:lnTo>
                    <a:pt x="436" y="0"/>
                  </a:lnTo>
                  <a:lnTo>
                    <a:pt x="437" y="0"/>
                  </a:lnTo>
                  <a:lnTo>
                    <a:pt x="438" y="0"/>
                  </a:lnTo>
                  <a:lnTo>
                    <a:pt x="439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2" y="1"/>
                  </a:lnTo>
                  <a:lnTo>
                    <a:pt x="442" y="1"/>
                  </a:lnTo>
                  <a:lnTo>
                    <a:pt x="442" y="3"/>
                  </a:lnTo>
                  <a:lnTo>
                    <a:pt x="442" y="4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0" y="11"/>
                  </a:lnTo>
                  <a:lnTo>
                    <a:pt x="440" y="13"/>
                  </a:lnTo>
                  <a:lnTo>
                    <a:pt x="439" y="17"/>
                  </a:lnTo>
                  <a:lnTo>
                    <a:pt x="437" y="20"/>
                  </a:lnTo>
                  <a:lnTo>
                    <a:pt x="435" y="28"/>
                  </a:lnTo>
                  <a:lnTo>
                    <a:pt x="433" y="32"/>
                  </a:lnTo>
                  <a:lnTo>
                    <a:pt x="433" y="33"/>
                  </a:lnTo>
                  <a:lnTo>
                    <a:pt x="431" y="35"/>
                  </a:lnTo>
                  <a:lnTo>
                    <a:pt x="430" y="39"/>
                  </a:lnTo>
                  <a:lnTo>
                    <a:pt x="430" y="40"/>
                  </a:lnTo>
                  <a:lnTo>
                    <a:pt x="429" y="42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6"/>
                  </a:lnTo>
                  <a:lnTo>
                    <a:pt x="428" y="47"/>
                  </a:lnTo>
                  <a:lnTo>
                    <a:pt x="428" y="51"/>
                  </a:lnTo>
                  <a:lnTo>
                    <a:pt x="428" y="52"/>
                  </a:lnTo>
                  <a:lnTo>
                    <a:pt x="428" y="53"/>
                  </a:lnTo>
                  <a:lnTo>
                    <a:pt x="428" y="54"/>
                  </a:lnTo>
                  <a:lnTo>
                    <a:pt x="428" y="55"/>
                  </a:lnTo>
                  <a:lnTo>
                    <a:pt x="427" y="58"/>
                  </a:lnTo>
                  <a:lnTo>
                    <a:pt x="427" y="59"/>
                  </a:lnTo>
                  <a:lnTo>
                    <a:pt x="426" y="60"/>
                  </a:lnTo>
                  <a:lnTo>
                    <a:pt x="426" y="61"/>
                  </a:lnTo>
                  <a:lnTo>
                    <a:pt x="426" y="62"/>
                  </a:lnTo>
                  <a:lnTo>
                    <a:pt x="426" y="62"/>
                  </a:lnTo>
                  <a:lnTo>
                    <a:pt x="427" y="63"/>
                  </a:lnTo>
                  <a:lnTo>
                    <a:pt x="427" y="66"/>
                  </a:lnTo>
                  <a:lnTo>
                    <a:pt x="427" y="67"/>
                  </a:lnTo>
                  <a:lnTo>
                    <a:pt x="428" y="70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8" y="74"/>
                  </a:lnTo>
                  <a:lnTo>
                    <a:pt x="427" y="75"/>
                  </a:lnTo>
                  <a:lnTo>
                    <a:pt x="427" y="76"/>
                  </a:lnTo>
                  <a:lnTo>
                    <a:pt x="426" y="77"/>
                  </a:lnTo>
                  <a:lnTo>
                    <a:pt x="426" y="78"/>
                  </a:lnTo>
                  <a:lnTo>
                    <a:pt x="426" y="78"/>
                  </a:lnTo>
                  <a:lnTo>
                    <a:pt x="425" y="79"/>
                  </a:lnTo>
                  <a:lnTo>
                    <a:pt x="424" y="79"/>
                  </a:lnTo>
                  <a:lnTo>
                    <a:pt x="423" y="81"/>
                  </a:lnTo>
                  <a:lnTo>
                    <a:pt x="420" y="83"/>
                  </a:lnTo>
                  <a:lnTo>
                    <a:pt x="419" y="84"/>
                  </a:lnTo>
                  <a:lnTo>
                    <a:pt x="416" y="87"/>
                  </a:lnTo>
                  <a:lnTo>
                    <a:pt x="416" y="88"/>
                  </a:lnTo>
                  <a:lnTo>
                    <a:pt x="415" y="89"/>
                  </a:lnTo>
                  <a:lnTo>
                    <a:pt x="414" y="90"/>
                  </a:lnTo>
                  <a:lnTo>
                    <a:pt x="413" y="91"/>
                  </a:lnTo>
                  <a:lnTo>
                    <a:pt x="412" y="91"/>
                  </a:lnTo>
                  <a:lnTo>
                    <a:pt x="412" y="92"/>
                  </a:lnTo>
                  <a:lnTo>
                    <a:pt x="411" y="92"/>
                  </a:lnTo>
                  <a:lnTo>
                    <a:pt x="410" y="93"/>
                  </a:lnTo>
                  <a:lnTo>
                    <a:pt x="410" y="93"/>
                  </a:lnTo>
                  <a:lnTo>
                    <a:pt x="409" y="93"/>
                  </a:lnTo>
                  <a:lnTo>
                    <a:pt x="406" y="94"/>
                  </a:lnTo>
                  <a:lnTo>
                    <a:pt x="405" y="94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2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2" y="97"/>
                  </a:lnTo>
                  <a:lnTo>
                    <a:pt x="401" y="98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2" y="101"/>
                  </a:lnTo>
                  <a:lnTo>
                    <a:pt x="404" y="105"/>
                  </a:lnTo>
                  <a:lnTo>
                    <a:pt x="405" y="108"/>
                  </a:lnTo>
                  <a:lnTo>
                    <a:pt x="405" y="110"/>
                  </a:lnTo>
                  <a:lnTo>
                    <a:pt x="406" y="115"/>
                  </a:lnTo>
                  <a:lnTo>
                    <a:pt x="407" y="117"/>
                  </a:lnTo>
                  <a:lnTo>
                    <a:pt x="407" y="119"/>
                  </a:lnTo>
                  <a:lnTo>
                    <a:pt x="408" y="121"/>
                  </a:lnTo>
                  <a:lnTo>
                    <a:pt x="410" y="126"/>
                  </a:lnTo>
                  <a:lnTo>
                    <a:pt x="411" y="131"/>
                  </a:lnTo>
                  <a:lnTo>
                    <a:pt x="412" y="132"/>
                  </a:lnTo>
                  <a:lnTo>
                    <a:pt x="412" y="133"/>
                  </a:lnTo>
                  <a:lnTo>
                    <a:pt x="412" y="135"/>
                  </a:lnTo>
                  <a:lnTo>
                    <a:pt x="413" y="139"/>
                  </a:lnTo>
                  <a:lnTo>
                    <a:pt x="413" y="142"/>
                  </a:lnTo>
                  <a:lnTo>
                    <a:pt x="413" y="143"/>
                  </a:lnTo>
                  <a:lnTo>
                    <a:pt x="413" y="145"/>
                  </a:lnTo>
                  <a:lnTo>
                    <a:pt x="414" y="148"/>
                  </a:lnTo>
                  <a:lnTo>
                    <a:pt x="414" y="150"/>
                  </a:lnTo>
                  <a:lnTo>
                    <a:pt x="414" y="151"/>
                  </a:lnTo>
                  <a:lnTo>
                    <a:pt x="414" y="151"/>
                  </a:lnTo>
                  <a:lnTo>
                    <a:pt x="414" y="152"/>
                  </a:lnTo>
                  <a:lnTo>
                    <a:pt x="414" y="153"/>
                  </a:lnTo>
                  <a:lnTo>
                    <a:pt x="413" y="154"/>
                  </a:lnTo>
                  <a:lnTo>
                    <a:pt x="413" y="154"/>
                  </a:lnTo>
                  <a:lnTo>
                    <a:pt x="411" y="157"/>
                  </a:lnTo>
                  <a:lnTo>
                    <a:pt x="410" y="158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09" y="161"/>
                  </a:lnTo>
                  <a:lnTo>
                    <a:pt x="409" y="162"/>
                  </a:lnTo>
                  <a:lnTo>
                    <a:pt x="409" y="163"/>
                  </a:lnTo>
                  <a:lnTo>
                    <a:pt x="408" y="164"/>
                  </a:lnTo>
                  <a:lnTo>
                    <a:pt x="408" y="165"/>
                  </a:lnTo>
                  <a:lnTo>
                    <a:pt x="408" y="166"/>
                  </a:lnTo>
                  <a:lnTo>
                    <a:pt x="408" y="167"/>
                  </a:lnTo>
                  <a:lnTo>
                    <a:pt x="408" y="169"/>
                  </a:lnTo>
                  <a:lnTo>
                    <a:pt x="409" y="170"/>
                  </a:lnTo>
                  <a:lnTo>
                    <a:pt x="409" y="171"/>
                  </a:lnTo>
                  <a:lnTo>
                    <a:pt x="409" y="172"/>
                  </a:lnTo>
                  <a:lnTo>
                    <a:pt x="410" y="173"/>
                  </a:lnTo>
                  <a:lnTo>
                    <a:pt x="412" y="176"/>
                  </a:lnTo>
                  <a:lnTo>
                    <a:pt x="413" y="177"/>
                  </a:lnTo>
                  <a:lnTo>
                    <a:pt x="413" y="178"/>
                  </a:lnTo>
                  <a:lnTo>
                    <a:pt x="413" y="179"/>
                  </a:lnTo>
                  <a:lnTo>
                    <a:pt x="414" y="180"/>
                  </a:lnTo>
                  <a:lnTo>
                    <a:pt x="415" y="183"/>
                  </a:lnTo>
                  <a:lnTo>
                    <a:pt x="416" y="185"/>
                  </a:lnTo>
                  <a:lnTo>
                    <a:pt x="416" y="187"/>
                  </a:lnTo>
                  <a:lnTo>
                    <a:pt x="417" y="189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21" y="193"/>
                  </a:lnTo>
                  <a:lnTo>
                    <a:pt x="422" y="195"/>
                  </a:lnTo>
                  <a:lnTo>
                    <a:pt x="425" y="198"/>
                  </a:lnTo>
                  <a:lnTo>
                    <a:pt x="425" y="199"/>
                  </a:lnTo>
                  <a:lnTo>
                    <a:pt x="426" y="199"/>
                  </a:lnTo>
                  <a:lnTo>
                    <a:pt x="426" y="200"/>
                  </a:lnTo>
                  <a:lnTo>
                    <a:pt x="427" y="201"/>
                  </a:lnTo>
                  <a:lnTo>
                    <a:pt x="427" y="202"/>
                  </a:lnTo>
                  <a:lnTo>
                    <a:pt x="427" y="205"/>
                  </a:lnTo>
                  <a:lnTo>
                    <a:pt x="427" y="206"/>
                  </a:lnTo>
                  <a:lnTo>
                    <a:pt x="428" y="206"/>
                  </a:lnTo>
                  <a:lnTo>
                    <a:pt x="429" y="209"/>
                  </a:lnTo>
                  <a:lnTo>
                    <a:pt x="429" y="210"/>
                  </a:lnTo>
                  <a:lnTo>
                    <a:pt x="429" y="210"/>
                  </a:lnTo>
                  <a:lnTo>
                    <a:pt x="429" y="211"/>
                  </a:lnTo>
                  <a:lnTo>
                    <a:pt x="429" y="212"/>
                  </a:lnTo>
                  <a:lnTo>
                    <a:pt x="429" y="213"/>
                  </a:lnTo>
                  <a:lnTo>
                    <a:pt x="428" y="215"/>
                  </a:lnTo>
                  <a:lnTo>
                    <a:pt x="428" y="216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8"/>
                  </a:lnTo>
                  <a:lnTo>
                    <a:pt x="428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0" y="218"/>
                  </a:lnTo>
                  <a:lnTo>
                    <a:pt x="431" y="218"/>
                  </a:lnTo>
                  <a:lnTo>
                    <a:pt x="432" y="219"/>
                  </a:lnTo>
                  <a:lnTo>
                    <a:pt x="435" y="219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7" y="220"/>
                  </a:lnTo>
                  <a:lnTo>
                    <a:pt x="438" y="221"/>
                  </a:lnTo>
                  <a:lnTo>
                    <a:pt x="439" y="221"/>
                  </a:lnTo>
                  <a:lnTo>
                    <a:pt x="439" y="222"/>
                  </a:lnTo>
                  <a:lnTo>
                    <a:pt x="440" y="223"/>
                  </a:lnTo>
                  <a:lnTo>
                    <a:pt x="440" y="223"/>
                  </a:lnTo>
                  <a:lnTo>
                    <a:pt x="441" y="224"/>
                  </a:lnTo>
                  <a:lnTo>
                    <a:pt x="441" y="225"/>
                  </a:lnTo>
                  <a:lnTo>
                    <a:pt x="441" y="226"/>
                  </a:lnTo>
                  <a:lnTo>
                    <a:pt x="441" y="227"/>
                  </a:lnTo>
                  <a:lnTo>
                    <a:pt x="442" y="231"/>
                  </a:lnTo>
                  <a:lnTo>
                    <a:pt x="442" y="232"/>
                  </a:lnTo>
                  <a:lnTo>
                    <a:pt x="442" y="233"/>
                  </a:lnTo>
                  <a:lnTo>
                    <a:pt x="442" y="235"/>
                  </a:lnTo>
                  <a:lnTo>
                    <a:pt x="442" y="237"/>
                  </a:lnTo>
                  <a:lnTo>
                    <a:pt x="441" y="238"/>
                  </a:lnTo>
                  <a:lnTo>
                    <a:pt x="441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0" y="242"/>
                  </a:lnTo>
                  <a:lnTo>
                    <a:pt x="439" y="243"/>
                  </a:lnTo>
                  <a:lnTo>
                    <a:pt x="437" y="246"/>
                  </a:lnTo>
                  <a:lnTo>
                    <a:pt x="434" y="249"/>
                  </a:lnTo>
                  <a:lnTo>
                    <a:pt x="434" y="250"/>
                  </a:lnTo>
                  <a:lnTo>
                    <a:pt x="433" y="251"/>
                  </a:lnTo>
                  <a:lnTo>
                    <a:pt x="432" y="252"/>
                  </a:lnTo>
                  <a:lnTo>
                    <a:pt x="432" y="253"/>
                  </a:lnTo>
                  <a:lnTo>
                    <a:pt x="431" y="254"/>
                  </a:lnTo>
                  <a:lnTo>
                    <a:pt x="431" y="255"/>
                  </a:lnTo>
                  <a:lnTo>
                    <a:pt x="431" y="256"/>
                  </a:lnTo>
                  <a:lnTo>
                    <a:pt x="431" y="258"/>
                  </a:lnTo>
                  <a:lnTo>
                    <a:pt x="431" y="259"/>
                  </a:lnTo>
                  <a:lnTo>
                    <a:pt x="431" y="259"/>
                  </a:lnTo>
                  <a:lnTo>
                    <a:pt x="431" y="260"/>
                  </a:lnTo>
                  <a:lnTo>
                    <a:pt x="432" y="262"/>
                  </a:lnTo>
                  <a:lnTo>
                    <a:pt x="433" y="265"/>
                  </a:lnTo>
                  <a:lnTo>
                    <a:pt x="433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9"/>
                  </a:lnTo>
                  <a:lnTo>
                    <a:pt x="432" y="271"/>
                  </a:lnTo>
                  <a:lnTo>
                    <a:pt x="431" y="274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1" y="279"/>
                  </a:lnTo>
                  <a:lnTo>
                    <a:pt x="430" y="279"/>
                  </a:lnTo>
                  <a:lnTo>
                    <a:pt x="430" y="279"/>
                  </a:lnTo>
                  <a:lnTo>
                    <a:pt x="429" y="279"/>
                  </a:lnTo>
                  <a:lnTo>
                    <a:pt x="427" y="279"/>
                  </a:lnTo>
                  <a:lnTo>
                    <a:pt x="426" y="279"/>
                  </a:lnTo>
                  <a:lnTo>
                    <a:pt x="425" y="279"/>
                  </a:lnTo>
                  <a:lnTo>
                    <a:pt x="423" y="278"/>
                  </a:lnTo>
                  <a:lnTo>
                    <a:pt x="421" y="278"/>
                  </a:lnTo>
                  <a:lnTo>
                    <a:pt x="420" y="277"/>
                  </a:lnTo>
                  <a:lnTo>
                    <a:pt x="418" y="277"/>
                  </a:lnTo>
                  <a:lnTo>
                    <a:pt x="416" y="276"/>
                  </a:lnTo>
                  <a:lnTo>
                    <a:pt x="415" y="275"/>
                  </a:lnTo>
                  <a:lnTo>
                    <a:pt x="413" y="275"/>
                  </a:lnTo>
                  <a:lnTo>
                    <a:pt x="406" y="271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9"/>
                  </a:lnTo>
                  <a:lnTo>
                    <a:pt x="400" y="269"/>
                  </a:lnTo>
                  <a:lnTo>
                    <a:pt x="398" y="268"/>
                  </a:lnTo>
                  <a:lnTo>
                    <a:pt x="397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2" y="267"/>
                  </a:lnTo>
                  <a:lnTo>
                    <a:pt x="391" y="267"/>
                  </a:lnTo>
                  <a:lnTo>
                    <a:pt x="390" y="267"/>
                  </a:lnTo>
                  <a:lnTo>
                    <a:pt x="388" y="268"/>
                  </a:lnTo>
                  <a:lnTo>
                    <a:pt x="386" y="268"/>
                  </a:lnTo>
                  <a:lnTo>
                    <a:pt x="385" y="268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3" y="268"/>
                  </a:lnTo>
                  <a:lnTo>
                    <a:pt x="380" y="267"/>
                  </a:lnTo>
                  <a:lnTo>
                    <a:pt x="379" y="267"/>
                  </a:lnTo>
                  <a:lnTo>
                    <a:pt x="378" y="267"/>
                  </a:lnTo>
                  <a:lnTo>
                    <a:pt x="377" y="267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70" y="268"/>
                  </a:lnTo>
                  <a:lnTo>
                    <a:pt x="368" y="268"/>
                  </a:lnTo>
                  <a:lnTo>
                    <a:pt x="365" y="268"/>
                  </a:lnTo>
                  <a:lnTo>
                    <a:pt x="363" y="268"/>
                  </a:lnTo>
                  <a:lnTo>
                    <a:pt x="362" y="267"/>
                  </a:lnTo>
                  <a:lnTo>
                    <a:pt x="359" y="267"/>
                  </a:lnTo>
                  <a:lnTo>
                    <a:pt x="358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6" y="267"/>
                  </a:lnTo>
                  <a:lnTo>
                    <a:pt x="356" y="268"/>
                  </a:lnTo>
                  <a:lnTo>
                    <a:pt x="355" y="269"/>
                  </a:lnTo>
                  <a:lnTo>
                    <a:pt x="355" y="271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2" y="281"/>
                  </a:lnTo>
                  <a:lnTo>
                    <a:pt x="352" y="282"/>
                  </a:lnTo>
                  <a:lnTo>
                    <a:pt x="351" y="283"/>
                  </a:lnTo>
                  <a:lnTo>
                    <a:pt x="351" y="283"/>
                  </a:lnTo>
                  <a:lnTo>
                    <a:pt x="350" y="283"/>
                  </a:lnTo>
                  <a:lnTo>
                    <a:pt x="350" y="283"/>
                  </a:lnTo>
                  <a:lnTo>
                    <a:pt x="349" y="284"/>
                  </a:lnTo>
                  <a:lnTo>
                    <a:pt x="348" y="284"/>
                  </a:lnTo>
                  <a:lnTo>
                    <a:pt x="346" y="284"/>
                  </a:lnTo>
                  <a:lnTo>
                    <a:pt x="344" y="284"/>
                  </a:lnTo>
                  <a:lnTo>
                    <a:pt x="343" y="284"/>
                  </a:lnTo>
                  <a:lnTo>
                    <a:pt x="341" y="284"/>
                  </a:lnTo>
                  <a:lnTo>
                    <a:pt x="337" y="283"/>
                  </a:lnTo>
                  <a:lnTo>
                    <a:pt x="336" y="283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4" y="283"/>
                  </a:lnTo>
                  <a:lnTo>
                    <a:pt x="331" y="283"/>
                  </a:lnTo>
                  <a:lnTo>
                    <a:pt x="329" y="284"/>
                  </a:lnTo>
                  <a:lnTo>
                    <a:pt x="327" y="284"/>
                  </a:lnTo>
                  <a:lnTo>
                    <a:pt x="326" y="284"/>
                  </a:lnTo>
                  <a:lnTo>
                    <a:pt x="325" y="284"/>
                  </a:lnTo>
                  <a:lnTo>
                    <a:pt x="324" y="284"/>
                  </a:lnTo>
                  <a:lnTo>
                    <a:pt x="324" y="284"/>
                  </a:lnTo>
                  <a:lnTo>
                    <a:pt x="323" y="283"/>
                  </a:lnTo>
                  <a:lnTo>
                    <a:pt x="322" y="283"/>
                  </a:lnTo>
                  <a:lnTo>
                    <a:pt x="322" y="283"/>
                  </a:lnTo>
                  <a:lnTo>
                    <a:pt x="321" y="283"/>
                  </a:lnTo>
                  <a:lnTo>
                    <a:pt x="321" y="283"/>
                  </a:lnTo>
                  <a:lnTo>
                    <a:pt x="320" y="283"/>
                  </a:lnTo>
                  <a:lnTo>
                    <a:pt x="319" y="283"/>
                  </a:lnTo>
                  <a:lnTo>
                    <a:pt x="318" y="283"/>
                  </a:lnTo>
                  <a:lnTo>
                    <a:pt x="317" y="284"/>
                  </a:lnTo>
                  <a:lnTo>
                    <a:pt x="316" y="284"/>
                  </a:lnTo>
                  <a:lnTo>
                    <a:pt x="316" y="285"/>
                  </a:lnTo>
                  <a:lnTo>
                    <a:pt x="315" y="285"/>
                  </a:lnTo>
                  <a:lnTo>
                    <a:pt x="314" y="287"/>
                  </a:lnTo>
                  <a:lnTo>
                    <a:pt x="313" y="288"/>
                  </a:lnTo>
                  <a:lnTo>
                    <a:pt x="311" y="289"/>
                  </a:lnTo>
                  <a:lnTo>
                    <a:pt x="311" y="290"/>
                  </a:lnTo>
                  <a:lnTo>
                    <a:pt x="310" y="290"/>
                  </a:lnTo>
                  <a:lnTo>
                    <a:pt x="310" y="291"/>
                  </a:lnTo>
                  <a:lnTo>
                    <a:pt x="309" y="291"/>
                  </a:lnTo>
                  <a:lnTo>
                    <a:pt x="309" y="291"/>
                  </a:lnTo>
                  <a:lnTo>
                    <a:pt x="308" y="291"/>
                  </a:lnTo>
                  <a:lnTo>
                    <a:pt x="308" y="291"/>
                  </a:lnTo>
                  <a:lnTo>
                    <a:pt x="307" y="291"/>
                  </a:lnTo>
                  <a:lnTo>
                    <a:pt x="307" y="290"/>
                  </a:lnTo>
                  <a:lnTo>
                    <a:pt x="307" y="290"/>
                  </a:lnTo>
                  <a:lnTo>
                    <a:pt x="303" y="284"/>
                  </a:lnTo>
                  <a:lnTo>
                    <a:pt x="302" y="283"/>
                  </a:lnTo>
                  <a:lnTo>
                    <a:pt x="301" y="282"/>
                  </a:lnTo>
                  <a:lnTo>
                    <a:pt x="300" y="281"/>
                  </a:lnTo>
                  <a:lnTo>
                    <a:pt x="299" y="281"/>
                  </a:lnTo>
                  <a:lnTo>
                    <a:pt x="296" y="279"/>
                  </a:lnTo>
                  <a:lnTo>
                    <a:pt x="293" y="277"/>
                  </a:lnTo>
                  <a:lnTo>
                    <a:pt x="292" y="276"/>
                  </a:lnTo>
                  <a:lnTo>
                    <a:pt x="290" y="275"/>
                  </a:lnTo>
                  <a:lnTo>
                    <a:pt x="289" y="275"/>
                  </a:lnTo>
                  <a:lnTo>
                    <a:pt x="285" y="274"/>
                  </a:lnTo>
                  <a:lnTo>
                    <a:pt x="281" y="272"/>
                  </a:lnTo>
                  <a:lnTo>
                    <a:pt x="280" y="272"/>
                  </a:lnTo>
                  <a:lnTo>
                    <a:pt x="278" y="272"/>
                  </a:lnTo>
                  <a:lnTo>
                    <a:pt x="277" y="271"/>
                  </a:lnTo>
                  <a:lnTo>
                    <a:pt x="276" y="271"/>
                  </a:lnTo>
                  <a:lnTo>
                    <a:pt x="276" y="271"/>
                  </a:lnTo>
                  <a:lnTo>
                    <a:pt x="275" y="270"/>
                  </a:lnTo>
                  <a:lnTo>
                    <a:pt x="273" y="269"/>
                  </a:lnTo>
                  <a:lnTo>
                    <a:pt x="272" y="267"/>
                  </a:lnTo>
                  <a:lnTo>
                    <a:pt x="271" y="266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2"/>
                  </a:lnTo>
                  <a:lnTo>
                    <a:pt x="264" y="258"/>
                  </a:lnTo>
                  <a:lnTo>
                    <a:pt x="262" y="256"/>
                  </a:lnTo>
                  <a:lnTo>
                    <a:pt x="261" y="255"/>
                  </a:lnTo>
                  <a:lnTo>
                    <a:pt x="260" y="254"/>
                  </a:lnTo>
                  <a:lnTo>
                    <a:pt x="258" y="254"/>
                  </a:lnTo>
                  <a:lnTo>
                    <a:pt x="257" y="253"/>
                  </a:lnTo>
                  <a:lnTo>
                    <a:pt x="256" y="252"/>
                  </a:lnTo>
                  <a:lnTo>
                    <a:pt x="252" y="250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6" y="247"/>
                  </a:lnTo>
                  <a:lnTo>
                    <a:pt x="243" y="246"/>
                  </a:lnTo>
                  <a:lnTo>
                    <a:pt x="239" y="245"/>
                  </a:lnTo>
                  <a:lnTo>
                    <a:pt x="235" y="244"/>
                  </a:lnTo>
                  <a:lnTo>
                    <a:pt x="234" y="244"/>
                  </a:lnTo>
                  <a:lnTo>
                    <a:pt x="232" y="243"/>
                  </a:lnTo>
                  <a:lnTo>
                    <a:pt x="231" y="243"/>
                  </a:lnTo>
                  <a:lnTo>
                    <a:pt x="230" y="242"/>
                  </a:lnTo>
                  <a:lnTo>
                    <a:pt x="229" y="242"/>
                  </a:lnTo>
                  <a:lnTo>
                    <a:pt x="228" y="242"/>
                  </a:lnTo>
                  <a:lnTo>
                    <a:pt x="224" y="242"/>
                  </a:lnTo>
                  <a:lnTo>
                    <a:pt x="222" y="242"/>
                  </a:lnTo>
                  <a:lnTo>
                    <a:pt x="221" y="242"/>
                  </a:lnTo>
                  <a:lnTo>
                    <a:pt x="221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19" y="241"/>
                  </a:lnTo>
                  <a:lnTo>
                    <a:pt x="219" y="240"/>
                  </a:lnTo>
                  <a:lnTo>
                    <a:pt x="218" y="240"/>
                  </a:lnTo>
                  <a:lnTo>
                    <a:pt x="216" y="238"/>
                  </a:lnTo>
                  <a:lnTo>
                    <a:pt x="214" y="236"/>
                  </a:lnTo>
                  <a:lnTo>
                    <a:pt x="213" y="235"/>
                  </a:lnTo>
                  <a:lnTo>
                    <a:pt x="212" y="233"/>
                  </a:lnTo>
                  <a:lnTo>
                    <a:pt x="211" y="233"/>
                  </a:lnTo>
                  <a:lnTo>
                    <a:pt x="210" y="232"/>
                  </a:lnTo>
                  <a:lnTo>
                    <a:pt x="209" y="232"/>
                  </a:lnTo>
                  <a:lnTo>
                    <a:pt x="209" y="231"/>
                  </a:lnTo>
                  <a:lnTo>
                    <a:pt x="208" y="231"/>
                  </a:lnTo>
                  <a:lnTo>
                    <a:pt x="207" y="230"/>
                  </a:lnTo>
                  <a:lnTo>
                    <a:pt x="205" y="230"/>
                  </a:lnTo>
                  <a:lnTo>
                    <a:pt x="202" y="230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6" y="227"/>
                  </a:lnTo>
                  <a:lnTo>
                    <a:pt x="195" y="227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3" y="225"/>
                  </a:lnTo>
                  <a:lnTo>
                    <a:pt x="192" y="224"/>
                  </a:lnTo>
                  <a:lnTo>
                    <a:pt x="191" y="223"/>
                  </a:lnTo>
                  <a:lnTo>
                    <a:pt x="190" y="222"/>
                  </a:lnTo>
                  <a:lnTo>
                    <a:pt x="190" y="221"/>
                  </a:lnTo>
                  <a:lnTo>
                    <a:pt x="189" y="221"/>
                  </a:lnTo>
                  <a:lnTo>
                    <a:pt x="189" y="221"/>
                  </a:lnTo>
                  <a:lnTo>
                    <a:pt x="188" y="221"/>
                  </a:lnTo>
                  <a:lnTo>
                    <a:pt x="188" y="221"/>
                  </a:lnTo>
                  <a:lnTo>
                    <a:pt x="187" y="221"/>
                  </a:lnTo>
                  <a:lnTo>
                    <a:pt x="186" y="222"/>
                  </a:lnTo>
                  <a:lnTo>
                    <a:pt x="185" y="223"/>
                  </a:lnTo>
                  <a:lnTo>
                    <a:pt x="184" y="224"/>
                  </a:lnTo>
                  <a:lnTo>
                    <a:pt x="183" y="225"/>
                  </a:lnTo>
                  <a:lnTo>
                    <a:pt x="182" y="226"/>
                  </a:lnTo>
                  <a:lnTo>
                    <a:pt x="181" y="228"/>
                  </a:lnTo>
                  <a:lnTo>
                    <a:pt x="180" y="230"/>
                  </a:lnTo>
                  <a:lnTo>
                    <a:pt x="179" y="233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8" y="235"/>
                  </a:lnTo>
                  <a:lnTo>
                    <a:pt x="176" y="237"/>
                  </a:lnTo>
                  <a:lnTo>
                    <a:pt x="175" y="240"/>
                  </a:lnTo>
                  <a:lnTo>
                    <a:pt x="174" y="240"/>
                  </a:lnTo>
                  <a:lnTo>
                    <a:pt x="174" y="241"/>
                  </a:lnTo>
                  <a:lnTo>
                    <a:pt x="173" y="241"/>
                  </a:lnTo>
                  <a:lnTo>
                    <a:pt x="173" y="241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6" y="242"/>
                  </a:lnTo>
                  <a:lnTo>
                    <a:pt x="165" y="242"/>
                  </a:lnTo>
                  <a:lnTo>
                    <a:pt x="164" y="242"/>
                  </a:lnTo>
                  <a:lnTo>
                    <a:pt x="164" y="241"/>
                  </a:lnTo>
                  <a:lnTo>
                    <a:pt x="163" y="241"/>
                  </a:lnTo>
                  <a:lnTo>
                    <a:pt x="161" y="240"/>
                  </a:lnTo>
                  <a:lnTo>
                    <a:pt x="158" y="239"/>
                  </a:lnTo>
                  <a:lnTo>
                    <a:pt x="152" y="236"/>
                  </a:lnTo>
                  <a:lnTo>
                    <a:pt x="150" y="235"/>
                  </a:lnTo>
                  <a:lnTo>
                    <a:pt x="150" y="234"/>
                  </a:lnTo>
                  <a:lnTo>
                    <a:pt x="149" y="234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6" y="231"/>
                  </a:lnTo>
                  <a:lnTo>
                    <a:pt x="146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5" y="227"/>
                  </a:lnTo>
                  <a:lnTo>
                    <a:pt x="146" y="226"/>
                  </a:lnTo>
                  <a:lnTo>
                    <a:pt x="146" y="225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5" y="219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7"/>
                  </a:lnTo>
                  <a:lnTo>
                    <a:pt x="140" y="217"/>
                  </a:lnTo>
                  <a:lnTo>
                    <a:pt x="139" y="216"/>
                  </a:lnTo>
                  <a:lnTo>
                    <a:pt x="138" y="216"/>
                  </a:lnTo>
                  <a:lnTo>
                    <a:pt x="137" y="215"/>
                  </a:lnTo>
                  <a:lnTo>
                    <a:pt x="135" y="214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1" y="212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7" y="211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3" y="210"/>
                  </a:lnTo>
                  <a:lnTo>
                    <a:pt x="123" y="209"/>
                  </a:lnTo>
                  <a:lnTo>
                    <a:pt x="122" y="209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3"/>
                  </a:lnTo>
                  <a:lnTo>
                    <a:pt x="120" y="203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19" y="202"/>
                  </a:lnTo>
                  <a:lnTo>
                    <a:pt x="119" y="201"/>
                  </a:lnTo>
                  <a:lnTo>
                    <a:pt x="118" y="201"/>
                  </a:lnTo>
                  <a:lnTo>
                    <a:pt x="115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9" y="199"/>
                  </a:lnTo>
                  <a:lnTo>
                    <a:pt x="108" y="198"/>
                  </a:lnTo>
                  <a:lnTo>
                    <a:pt x="107" y="198"/>
                  </a:lnTo>
                  <a:lnTo>
                    <a:pt x="106" y="197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4" y="195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0" y="191"/>
                  </a:lnTo>
                  <a:lnTo>
                    <a:pt x="99" y="191"/>
                  </a:lnTo>
                  <a:lnTo>
                    <a:pt x="98" y="190"/>
                  </a:lnTo>
                  <a:lnTo>
                    <a:pt x="95" y="189"/>
                  </a:lnTo>
                  <a:lnTo>
                    <a:pt x="94" y="189"/>
                  </a:lnTo>
                  <a:lnTo>
                    <a:pt x="93" y="188"/>
                  </a:lnTo>
                  <a:lnTo>
                    <a:pt x="93" y="187"/>
                  </a:lnTo>
                  <a:lnTo>
                    <a:pt x="92" y="187"/>
                  </a:lnTo>
                  <a:lnTo>
                    <a:pt x="91" y="187"/>
                  </a:lnTo>
                  <a:lnTo>
                    <a:pt x="89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7" y="186"/>
                  </a:lnTo>
                  <a:lnTo>
                    <a:pt x="73" y="186"/>
                  </a:lnTo>
                  <a:lnTo>
                    <a:pt x="72" y="186"/>
                  </a:lnTo>
                  <a:lnTo>
                    <a:pt x="71" y="186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7" y="186"/>
                  </a:lnTo>
                  <a:lnTo>
                    <a:pt x="66" y="186"/>
                  </a:lnTo>
                  <a:lnTo>
                    <a:pt x="66" y="185"/>
                  </a:lnTo>
                  <a:lnTo>
                    <a:pt x="64" y="184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0"/>
                  </a:lnTo>
                  <a:lnTo>
                    <a:pt x="59" y="179"/>
                  </a:lnTo>
                  <a:lnTo>
                    <a:pt x="52" y="174"/>
                  </a:lnTo>
                  <a:lnTo>
                    <a:pt x="49" y="172"/>
                  </a:lnTo>
                  <a:lnTo>
                    <a:pt x="47" y="171"/>
                  </a:lnTo>
                  <a:lnTo>
                    <a:pt x="42" y="167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8" y="161"/>
                  </a:lnTo>
                  <a:lnTo>
                    <a:pt x="38" y="157"/>
                  </a:lnTo>
                  <a:lnTo>
                    <a:pt x="39" y="154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9" y="148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4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6" y="131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19"/>
                  </a:lnTo>
                  <a:lnTo>
                    <a:pt x="46" y="118"/>
                  </a:lnTo>
                  <a:lnTo>
                    <a:pt x="45" y="118"/>
                  </a:lnTo>
                  <a:lnTo>
                    <a:pt x="45" y="117"/>
                  </a:lnTo>
                  <a:lnTo>
                    <a:pt x="44" y="116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1" y="114"/>
                  </a:lnTo>
                  <a:lnTo>
                    <a:pt x="38" y="113"/>
                  </a:lnTo>
                  <a:lnTo>
                    <a:pt x="37" y="112"/>
                  </a:lnTo>
                  <a:lnTo>
                    <a:pt x="35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29" y="106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5" y="98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3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8"/>
                  </a:lnTo>
                  <a:lnTo>
                    <a:pt x="5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2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3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8" y="46"/>
                  </a:lnTo>
                  <a:lnTo>
                    <a:pt x="39" y="46"/>
                  </a:lnTo>
                  <a:lnTo>
                    <a:pt x="40" y="45"/>
                  </a:lnTo>
                  <a:lnTo>
                    <a:pt x="42" y="44"/>
                  </a:lnTo>
                  <a:lnTo>
                    <a:pt x="42" y="43"/>
                  </a:lnTo>
                  <a:lnTo>
                    <a:pt x="43" y="42"/>
                  </a:lnTo>
                  <a:lnTo>
                    <a:pt x="43" y="42"/>
                  </a:lnTo>
                  <a:lnTo>
                    <a:pt x="44" y="40"/>
                  </a:lnTo>
                  <a:lnTo>
                    <a:pt x="44" y="39"/>
                  </a:lnTo>
                  <a:lnTo>
                    <a:pt x="45" y="39"/>
                  </a:lnTo>
                  <a:lnTo>
                    <a:pt x="45" y="38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47" y="36"/>
                  </a:lnTo>
                  <a:lnTo>
                    <a:pt x="48" y="36"/>
                  </a:lnTo>
                  <a:lnTo>
                    <a:pt x="49" y="35"/>
                  </a:lnTo>
                  <a:lnTo>
                    <a:pt x="50" y="35"/>
                  </a:lnTo>
                  <a:lnTo>
                    <a:pt x="52" y="35"/>
                  </a:lnTo>
                  <a:lnTo>
                    <a:pt x="53" y="35"/>
                  </a:lnTo>
                  <a:lnTo>
                    <a:pt x="54" y="34"/>
                  </a:lnTo>
                  <a:lnTo>
                    <a:pt x="57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9" y="32"/>
                  </a:lnTo>
                  <a:lnTo>
                    <a:pt x="59" y="32"/>
                  </a:lnTo>
                  <a:lnTo>
                    <a:pt x="60" y="33"/>
                  </a:lnTo>
                  <a:lnTo>
                    <a:pt x="60" y="33"/>
                  </a:lnTo>
                  <a:lnTo>
                    <a:pt x="61" y="33"/>
                  </a:lnTo>
                  <a:lnTo>
                    <a:pt x="62" y="35"/>
                  </a:lnTo>
                  <a:lnTo>
                    <a:pt x="63" y="35"/>
                  </a:lnTo>
                  <a:lnTo>
                    <a:pt x="64" y="35"/>
                  </a:lnTo>
                  <a:lnTo>
                    <a:pt x="65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8" y="36"/>
                  </a:lnTo>
                  <a:lnTo>
                    <a:pt x="69" y="36"/>
                  </a:lnTo>
                  <a:lnTo>
                    <a:pt x="70" y="36"/>
                  </a:lnTo>
                  <a:lnTo>
                    <a:pt x="73" y="36"/>
                  </a:lnTo>
                  <a:lnTo>
                    <a:pt x="74" y="36"/>
                  </a:lnTo>
                  <a:lnTo>
                    <a:pt x="75" y="36"/>
                  </a:lnTo>
                  <a:lnTo>
                    <a:pt x="77" y="36"/>
                  </a:lnTo>
                  <a:lnTo>
                    <a:pt x="78" y="36"/>
                  </a:lnTo>
                  <a:lnTo>
                    <a:pt x="80" y="36"/>
                  </a:lnTo>
                  <a:lnTo>
                    <a:pt x="81" y="36"/>
                  </a:lnTo>
                  <a:lnTo>
                    <a:pt x="82" y="36"/>
                  </a:lnTo>
                  <a:lnTo>
                    <a:pt x="83" y="36"/>
                  </a:lnTo>
                  <a:lnTo>
                    <a:pt x="83" y="37"/>
                  </a:lnTo>
                  <a:lnTo>
                    <a:pt x="85" y="37"/>
                  </a:lnTo>
                  <a:lnTo>
                    <a:pt x="87" y="38"/>
                  </a:lnTo>
                  <a:lnTo>
                    <a:pt x="89" y="39"/>
                  </a:lnTo>
                  <a:lnTo>
                    <a:pt x="89" y="39"/>
                  </a:lnTo>
                  <a:lnTo>
                    <a:pt x="90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3" y="39"/>
                  </a:lnTo>
                  <a:lnTo>
                    <a:pt x="94" y="38"/>
                  </a:lnTo>
                  <a:lnTo>
                    <a:pt x="97" y="37"/>
                  </a:lnTo>
                  <a:lnTo>
                    <a:pt x="98" y="36"/>
                  </a:lnTo>
                  <a:lnTo>
                    <a:pt x="100" y="36"/>
                  </a:lnTo>
                  <a:lnTo>
                    <a:pt x="102" y="35"/>
                  </a:lnTo>
                  <a:lnTo>
                    <a:pt x="103" y="35"/>
                  </a:lnTo>
                  <a:lnTo>
                    <a:pt x="104" y="35"/>
                  </a:lnTo>
                  <a:lnTo>
                    <a:pt x="105" y="34"/>
                  </a:lnTo>
                  <a:lnTo>
                    <a:pt x="106" y="33"/>
                  </a:lnTo>
                  <a:lnTo>
                    <a:pt x="106" y="33"/>
                  </a:lnTo>
                  <a:lnTo>
                    <a:pt x="107" y="32"/>
                  </a:lnTo>
                  <a:lnTo>
                    <a:pt x="107" y="31"/>
                  </a:lnTo>
                  <a:lnTo>
                    <a:pt x="108" y="31"/>
                  </a:lnTo>
                  <a:lnTo>
                    <a:pt x="108" y="30"/>
                  </a:lnTo>
                  <a:lnTo>
                    <a:pt x="109" y="27"/>
                  </a:lnTo>
                  <a:lnTo>
                    <a:pt x="110" y="26"/>
                  </a:lnTo>
                  <a:lnTo>
                    <a:pt x="110" y="26"/>
                  </a:lnTo>
                  <a:lnTo>
                    <a:pt x="111" y="25"/>
                  </a:lnTo>
                  <a:lnTo>
                    <a:pt x="111" y="24"/>
                  </a:lnTo>
                  <a:lnTo>
                    <a:pt x="112" y="24"/>
                  </a:lnTo>
                  <a:lnTo>
                    <a:pt x="113" y="23"/>
                  </a:lnTo>
                  <a:lnTo>
                    <a:pt x="114" y="22"/>
                  </a:lnTo>
                  <a:lnTo>
                    <a:pt x="115" y="21"/>
                  </a:lnTo>
                  <a:lnTo>
                    <a:pt x="116" y="20"/>
                  </a:lnTo>
                  <a:lnTo>
                    <a:pt x="118" y="19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1" y="18"/>
                  </a:lnTo>
                  <a:close/>
                </a:path>
              </a:pathLst>
            </a:custGeom>
            <a:solidFill>
              <a:srgbClr val="A8A8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reeform 61">
              <a:extLst>
                <a:ext uri="{FF2B5EF4-FFF2-40B4-BE49-F238E27FC236}">
                  <a16:creationId xmlns:a16="http://schemas.microsoft.com/office/drawing/2014/main" id="{8329A828-A62B-C6EA-612B-2339D152E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" y="3255"/>
              <a:ext cx="442" cy="291"/>
            </a:xfrm>
            <a:custGeom>
              <a:avLst/>
              <a:gdLst>
                <a:gd name="T0" fmla="*/ 131 w 442"/>
                <a:gd name="T1" fmla="*/ 34 h 291"/>
                <a:gd name="T2" fmla="*/ 148 w 442"/>
                <a:gd name="T3" fmla="*/ 30 h 291"/>
                <a:gd name="T4" fmla="*/ 170 w 442"/>
                <a:gd name="T5" fmla="*/ 23 h 291"/>
                <a:gd name="T6" fmla="*/ 190 w 442"/>
                <a:gd name="T7" fmla="*/ 40 h 291"/>
                <a:gd name="T8" fmla="*/ 208 w 442"/>
                <a:gd name="T9" fmla="*/ 53 h 291"/>
                <a:gd name="T10" fmla="*/ 231 w 442"/>
                <a:gd name="T11" fmla="*/ 68 h 291"/>
                <a:gd name="T12" fmla="*/ 255 w 442"/>
                <a:gd name="T13" fmla="*/ 75 h 291"/>
                <a:gd name="T14" fmla="*/ 274 w 442"/>
                <a:gd name="T15" fmla="*/ 74 h 291"/>
                <a:gd name="T16" fmla="*/ 282 w 442"/>
                <a:gd name="T17" fmla="*/ 69 h 291"/>
                <a:gd name="T18" fmla="*/ 289 w 442"/>
                <a:gd name="T19" fmla="*/ 56 h 291"/>
                <a:gd name="T20" fmla="*/ 312 w 442"/>
                <a:gd name="T21" fmla="*/ 39 h 291"/>
                <a:gd name="T22" fmla="*/ 329 w 442"/>
                <a:gd name="T23" fmla="*/ 22 h 291"/>
                <a:gd name="T24" fmla="*/ 343 w 442"/>
                <a:gd name="T25" fmla="*/ 24 h 291"/>
                <a:gd name="T26" fmla="*/ 365 w 442"/>
                <a:gd name="T27" fmla="*/ 33 h 291"/>
                <a:gd name="T28" fmla="*/ 392 w 442"/>
                <a:gd name="T29" fmla="*/ 48 h 291"/>
                <a:gd name="T30" fmla="*/ 409 w 442"/>
                <a:gd name="T31" fmla="*/ 33 h 291"/>
                <a:gd name="T32" fmla="*/ 428 w 442"/>
                <a:gd name="T33" fmla="*/ 6 h 291"/>
                <a:gd name="T34" fmla="*/ 441 w 442"/>
                <a:gd name="T35" fmla="*/ 1 h 291"/>
                <a:gd name="T36" fmla="*/ 430 w 442"/>
                <a:gd name="T37" fmla="*/ 39 h 291"/>
                <a:gd name="T38" fmla="*/ 426 w 442"/>
                <a:gd name="T39" fmla="*/ 61 h 291"/>
                <a:gd name="T40" fmla="*/ 423 w 442"/>
                <a:gd name="T41" fmla="*/ 81 h 291"/>
                <a:gd name="T42" fmla="*/ 403 w 442"/>
                <a:gd name="T43" fmla="*/ 95 h 291"/>
                <a:gd name="T44" fmla="*/ 407 w 442"/>
                <a:gd name="T45" fmla="*/ 119 h 291"/>
                <a:gd name="T46" fmla="*/ 413 w 442"/>
                <a:gd name="T47" fmla="*/ 154 h 291"/>
                <a:gd name="T48" fmla="*/ 410 w 442"/>
                <a:gd name="T49" fmla="*/ 173 h 291"/>
                <a:gd name="T50" fmla="*/ 426 w 442"/>
                <a:gd name="T51" fmla="*/ 200 h 291"/>
                <a:gd name="T52" fmla="*/ 428 w 442"/>
                <a:gd name="T53" fmla="*/ 218 h 291"/>
                <a:gd name="T54" fmla="*/ 441 w 442"/>
                <a:gd name="T55" fmla="*/ 225 h 291"/>
                <a:gd name="T56" fmla="*/ 433 w 442"/>
                <a:gd name="T57" fmla="*/ 251 h 291"/>
                <a:gd name="T58" fmla="*/ 431 w 442"/>
                <a:gd name="T59" fmla="*/ 274 h 291"/>
                <a:gd name="T60" fmla="*/ 415 w 442"/>
                <a:gd name="T61" fmla="*/ 275 h 291"/>
                <a:gd name="T62" fmla="*/ 384 w 442"/>
                <a:gd name="T63" fmla="*/ 268 h 291"/>
                <a:gd name="T64" fmla="*/ 358 w 442"/>
                <a:gd name="T65" fmla="*/ 266 h 291"/>
                <a:gd name="T66" fmla="*/ 350 w 442"/>
                <a:gd name="T67" fmla="*/ 283 h 291"/>
                <a:gd name="T68" fmla="*/ 324 w 442"/>
                <a:gd name="T69" fmla="*/ 284 h 291"/>
                <a:gd name="T70" fmla="*/ 311 w 442"/>
                <a:gd name="T71" fmla="*/ 290 h 291"/>
                <a:gd name="T72" fmla="*/ 292 w 442"/>
                <a:gd name="T73" fmla="*/ 276 h 291"/>
                <a:gd name="T74" fmla="*/ 264 w 442"/>
                <a:gd name="T75" fmla="*/ 258 h 291"/>
                <a:gd name="T76" fmla="*/ 230 w 442"/>
                <a:gd name="T77" fmla="*/ 242 h 291"/>
                <a:gd name="T78" fmla="*/ 210 w 442"/>
                <a:gd name="T79" fmla="*/ 232 h 291"/>
                <a:gd name="T80" fmla="*/ 191 w 442"/>
                <a:gd name="T81" fmla="*/ 223 h 291"/>
                <a:gd name="T82" fmla="*/ 179 w 442"/>
                <a:gd name="T83" fmla="*/ 234 h 291"/>
                <a:gd name="T84" fmla="*/ 163 w 442"/>
                <a:gd name="T85" fmla="*/ 241 h 291"/>
                <a:gd name="T86" fmla="*/ 147 w 442"/>
                <a:gd name="T87" fmla="*/ 222 h 291"/>
                <a:gd name="T88" fmla="*/ 132 w 442"/>
                <a:gd name="T89" fmla="*/ 213 h 291"/>
                <a:gd name="T90" fmla="*/ 120 w 442"/>
                <a:gd name="T91" fmla="*/ 203 h 291"/>
                <a:gd name="T92" fmla="*/ 101 w 442"/>
                <a:gd name="T93" fmla="*/ 192 h 291"/>
                <a:gd name="T94" fmla="*/ 84 w 442"/>
                <a:gd name="T95" fmla="*/ 187 h 291"/>
                <a:gd name="T96" fmla="*/ 64 w 442"/>
                <a:gd name="T97" fmla="*/ 184 h 291"/>
                <a:gd name="T98" fmla="*/ 39 w 442"/>
                <a:gd name="T99" fmla="*/ 149 h 291"/>
                <a:gd name="T100" fmla="*/ 45 w 442"/>
                <a:gd name="T101" fmla="*/ 127 h 291"/>
                <a:gd name="T102" fmla="*/ 37 w 442"/>
                <a:gd name="T103" fmla="*/ 112 h 291"/>
                <a:gd name="T104" fmla="*/ 28 w 442"/>
                <a:gd name="T105" fmla="*/ 99 h 291"/>
                <a:gd name="T106" fmla="*/ 15 w 442"/>
                <a:gd name="T107" fmla="*/ 93 h 291"/>
                <a:gd name="T108" fmla="*/ 0 w 442"/>
                <a:gd name="T109" fmla="*/ 83 h 291"/>
                <a:gd name="T110" fmla="*/ 5 w 442"/>
                <a:gd name="T111" fmla="*/ 76 h 291"/>
                <a:gd name="T112" fmla="*/ 10 w 442"/>
                <a:gd name="T113" fmla="*/ 66 h 291"/>
                <a:gd name="T114" fmla="*/ 10 w 442"/>
                <a:gd name="T115" fmla="*/ 54 h 291"/>
                <a:gd name="T116" fmla="*/ 19 w 442"/>
                <a:gd name="T117" fmla="*/ 49 h 291"/>
                <a:gd name="T118" fmla="*/ 33 w 442"/>
                <a:gd name="T119" fmla="*/ 49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2" h="291">
                  <a:moveTo>
                    <a:pt x="121" y="18"/>
                  </a:moveTo>
                  <a:lnTo>
                    <a:pt x="121" y="18"/>
                  </a:lnTo>
                  <a:lnTo>
                    <a:pt x="122" y="19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5" y="22"/>
                  </a:lnTo>
                  <a:lnTo>
                    <a:pt x="126" y="24"/>
                  </a:lnTo>
                  <a:lnTo>
                    <a:pt x="126" y="25"/>
                  </a:lnTo>
                  <a:lnTo>
                    <a:pt x="127" y="27"/>
                  </a:lnTo>
                  <a:lnTo>
                    <a:pt x="128" y="30"/>
                  </a:lnTo>
                  <a:lnTo>
                    <a:pt x="128" y="31"/>
                  </a:lnTo>
                  <a:lnTo>
                    <a:pt x="129" y="32"/>
                  </a:lnTo>
                  <a:lnTo>
                    <a:pt x="129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8" y="35"/>
                  </a:lnTo>
                  <a:lnTo>
                    <a:pt x="139" y="35"/>
                  </a:lnTo>
                  <a:lnTo>
                    <a:pt x="140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5" y="31"/>
                  </a:lnTo>
                  <a:lnTo>
                    <a:pt x="148" y="30"/>
                  </a:lnTo>
                  <a:lnTo>
                    <a:pt x="149" y="29"/>
                  </a:lnTo>
                  <a:lnTo>
                    <a:pt x="150" y="29"/>
                  </a:lnTo>
                  <a:lnTo>
                    <a:pt x="150" y="28"/>
                  </a:lnTo>
                  <a:lnTo>
                    <a:pt x="151" y="28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4"/>
                  </a:lnTo>
                  <a:lnTo>
                    <a:pt x="156" y="23"/>
                  </a:lnTo>
                  <a:lnTo>
                    <a:pt x="158" y="23"/>
                  </a:lnTo>
                  <a:lnTo>
                    <a:pt x="160" y="22"/>
                  </a:lnTo>
                  <a:lnTo>
                    <a:pt x="161" y="21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70" y="23"/>
                  </a:lnTo>
                  <a:lnTo>
                    <a:pt x="174" y="24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0" y="26"/>
                  </a:lnTo>
                  <a:lnTo>
                    <a:pt x="181" y="26"/>
                  </a:lnTo>
                  <a:lnTo>
                    <a:pt x="182" y="27"/>
                  </a:lnTo>
                  <a:lnTo>
                    <a:pt x="183" y="27"/>
                  </a:lnTo>
                  <a:lnTo>
                    <a:pt x="183" y="28"/>
                  </a:lnTo>
                  <a:lnTo>
                    <a:pt x="185" y="31"/>
                  </a:lnTo>
                  <a:lnTo>
                    <a:pt x="186" y="31"/>
                  </a:lnTo>
                  <a:lnTo>
                    <a:pt x="186" y="32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88" y="35"/>
                  </a:lnTo>
                  <a:lnTo>
                    <a:pt x="189" y="39"/>
                  </a:lnTo>
                  <a:lnTo>
                    <a:pt x="190" y="40"/>
                  </a:lnTo>
                  <a:lnTo>
                    <a:pt x="190" y="41"/>
                  </a:lnTo>
                  <a:lnTo>
                    <a:pt x="191" y="42"/>
                  </a:lnTo>
                  <a:lnTo>
                    <a:pt x="191" y="43"/>
                  </a:lnTo>
                  <a:lnTo>
                    <a:pt x="192" y="43"/>
                  </a:lnTo>
                  <a:lnTo>
                    <a:pt x="192" y="44"/>
                  </a:lnTo>
                  <a:lnTo>
                    <a:pt x="193" y="44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6"/>
                  </a:lnTo>
                  <a:lnTo>
                    <a:pt x="200" y="46"/>
                  </a:lnTo>
                  <a:lnTo>
                    <a:pt x="201" y="47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4" y="49"/>
                  </a:lnTo>
                  <a:lnTo>
                    <a:pt x="206" y="50"/>
                  </a:lnTo>
                  <a:lnTo>
                    <a:pt x="208" y="53"/>
                  </a:lnTo>
                  <a:lnTo>
                    <a:pt x="209" y="54"/>
                  </a:lnTo>
                  <a:lnTo>
                    <a:pt x="210" y="55"/>
                  </a:lnTo>
                  <a:lnTo>
                    <a:pt x="211" y="56"/>
                  </a:lnTo>
                  <a:lnTo>
                    <a:pt x="212" y="57"/>
                  </a:lnTo>
                  <a:lnTo>
                    <a:pt x="213" y="58"/>
                  </a:lnTo>
                  <a:lnTo>
                    <a:pt x="215" y="58"/>
                  </a:lnTo>
                  <a:lnTo>
                    <a:pt x="218" y="60"/>
                  </a:lnTo>
                  <a:lnTo>
                    <a:pt x="219" y="60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2"/>
                  </a:lnTo>
                  <a:lnTo>
                    <a:pt x="224" y="64"/>
                  </a:lnTo>
                  <a:lnTo>
                    <a:pt x="225" y="65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8" y="67"/>
                  </a:lnTo>
                  <a:lnTo>
                    <a:pt x="231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6" y="70"/>
                  </a:lnTo>
                  <a:lnTo>
                    <a:pt x="237" y="71"/>
                  </a:lnTo>
                  <a:lnTo>
                    <a:pt x="238" y="72"/>
                  </a:lnTo>
                  <a:lnTo>
                    <a:pt x="242" y="75"/>
                  </a:lnTo>
                  <a:lnTo>
                    <a:pt x="243" y="75"/>
                  </a:lnTo>
                  <a:lnTo>
                    <a:pt x="244" y="76"/>
                  </a:lnTo>
                  <a:lnTo>
                    <a:pt x="245" y="76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7" y="77"/>
                  </a:lnTo>
                  <a:lnTo>
                    <a:pt x="248" y="77"/>
                  </a:lnTo>
                  <a:lnTo>
                    <a:pt x="249" y="77"/>
                  </a:lnTo>
                  <a:lnTo>
                    <a:pt x="251" y="76"/>
                  </a:lnTo>
                  <a:lnTo>
                    <a:pt x="254" y="76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1" y="74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6" y="75"/>
                  </a:lnTo>
                  <a:lnTo>
                    <a:pt x="269" y="75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4" y="74"/>
                  </a:lnTo>
                  <a:lnTo>
                    <a:pt x="275" y="75"/>
                  </a:lnTo>
                  <a:lnTo>
                    <a:pt x="277" y="75"/>
                  </a:lnTo>
                  <a:lnTo>
                    <a:pt x="278" y="76"/>
                  </a:lnTo>
                  <a:lnTo>
                    <a:pt x="279" y="76"/>
                  </a:lnTo>
                  <a:lnTo>
                    <a:pt x="280" y="76"/>
                  </a:lnTo>
                  <a:lnTo>
                    <a:pt x="281" y="76"/>
                  </a:lnTo>
                  <a:lnTo>
                    <a:pt x="281" y="75"/>
                  </a:lnTo>
                  <a:lnTo>
                    <a:pt x="282" y="75"/>
                  </a:lnTo>
                  <a:lnTo>
                    <a:pt x="282" y="75"/>
                  </a:lnTo>
                  <a:lnTo>
                    <a:pt x="283" y="75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2" y="70"/>
                  </a:lnTo>
                  <a:lnTo>
                    <a:pt x="282" y="69"/>
                  </a:lnTo>
                  <a:lnTo>
                    <a:pt x="282" y="69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7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4" y="65"/>
                  </a:lnTo>
                  <a:lnTo>
                    <a:pt x="286" y="64"/>
                  </a:lnTo>
                  <a:lnTo>
                    <a:pt x="287" y="63"/>
                  </a:lnTo>
                  <a:lnTo>
                    <a:pt x="288" y="62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0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5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1" y="52"/>
                  </a:lnTo>
                  <a:lnTo>
                    <a:pt x="292" y="51"/>
                  </a:lnTo>
                  <a:lnTo>
                    <a:pt x="293" y="50"/>
                  </a:lnTo>
                  <a:lnTo>
                    <a:pt x="294" y="50"/>
                  </a:lnTo>
                  <a:lnTo>
                    <a:pt x="296" y="48"/>
                  </a:lnTo>
                  <a:lnTo>
                    <a:pt x="298" y="47"/>
                  </a:lnTo>
                  <a:lnTo>
                    <a:pt x="300" y="46"/>
                  </a:lnTo>
                  <a:lnTo>
                    <a:pt x="302" y="44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6" y="42"/>
                  </a:lnTo>
                  <a:lnTo>
                    <a:pt x="309" y="41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20" y="35"/>
                  </a:lnTo>
                  <a:lnTo>
                    <a:pt x="321" y="34"/>
                  </a:lnTo>
                  <a:lnTo>
                    <a:pt x="322" y="33"/>
                  </a:lnTo>
                  <a:lnTo>
                    <a:pt x="323" y="32"/>
                  </a:lnTo>
                  <a:lnTo>
                    <a:pt x="324" y="31"/>
                  </a:lnTo>
                  <a:lnTo>
                    <a:pt x="325" y="31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7" y="27"/>
                  </a:lnTo>
                  <a:lnTo>
                    <a:pt x="329" y="24"/>
                  </a:lnTo>
                  <a:lnTo>
                    <a:pt x="329" y="23"/>
                  </a:lnTo>
                  <a:lnTo>
                    <a:pt x="329" y="22"/>
                  </a:lnTo>
                  <a:lnTo>
                    <a:pt x="330" y="21"/>
                  </a:lnTo>
                  <a:lnTo>
                    <a:pt x="330" y="21"/>
                  </a:lnTo>
                  <a:lnTo>
                    <a:pt x="331" y="21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39" y="22"/>
                  </a:lnTo>
                  <a:lnTo>
                    <a:pt x="342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7" y="26"/>
                  </a:lnTo>
                  <a:lnTo>
                    <a:pt x="352" y="28"/>
                  </a:lnTo>
                  <a:lnTo>
                    <a:pt x="353" y="28"/>
                  </a:lnTo>
                  <a:lnTo>
                    <a:pt x="355" y="29"/>
                  </a:lnTo>
                  <a:lnTo>
                    <a:pt x="356" y="29"/>
                  </a:lnTo>
                  <a:lnTo>
                    <a:pt x="357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9" y="29"/>
                  </a:lnTo>
                  <a:lnTo>
                    <a:pt x="359" y="29"/>
                  </a:lnTo>
                  <a:lnTo>
                    <a:pt x="360" y="30"/>
                  </a:lnTo>
                  <a:lnTo>
                    <a:pt x="362" y="31"/>
                  </a:lnTo>
                  <a:lnTo>
                    <a:pt x="363" y="32"/>
                  </a:lnTo>
                  <a:lnTo>
                    <a:pt x="365" y="33"/>
                  </a:lnTo>
                  <a:lnTo>
                    <a:pt x="366" y="34"/>
                  </a:lnTo>
                  <a:lnTo>
                    <a:pt x="367" y="35"/>
                  </a:lnTo>
                  <a:lnTo>
                    <a:pt x="370" y="38"/>
                  </a:lnTo>
                  <a:lnTo>
                    <a:pt x="371" y="39"/>
                  </a:lnTo>
                  <a:lnTo>
                    <a:pt x="373" y="40"/>
                  </a:lnTo>
                  <a:lnTo>
                    <a:pt x="374" y="41"/>
                  </a:lnTo>
                  <a:lnTo>
                    <a:pt x="375" y="41"/>
                  </a:lnTo>
                  <a:lnTo>
                    <a:pt x="376" y="42"/>
                  </a:lnTo>
                  <a:lnTo>
                    <a:pt x="377" y="43"/>
                  </a:lnTo>
                  <a:lnTo>
                    <a:pt x="378" y="43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9" y="47"/>
                  </a:lnTo>
                  <a:lnTo>
                    <a:pt x="390" y="47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3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5" y="47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8" y="46"/>
                  </a:lnTo>
                  <a:lnTo>
                    <a:pt x="399" y="45"/>
                  </a:lnTo>
                  <a:lnTo>
                    <a:pt x="400" y="45"/>
                  </a:lnTo>
                  <a:lnTo>
                    <a:pt x="401" y="44"/>
                  </a:lnTo>
                  <a:lnTo>
                    <a:pt x="402" y="42"/>
                  </a:lnTo>
                  <a:lnTo>
                    <a:pt x="406" y="37"/>
                  </a:lnTo>
                  <a:lnTo>
                    <a:pt x="407" y="35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9" y="33"/>
                  </a:lnTo>
                  <a:lnTo>
                    <a:pt x="412" y="30"/>
                  </a:lnTo>
                  <a:lnTo>
                    <a:pt x="414" y="28"/>
                  </a:lnTo>
                  <a:lnTo>
                    <a:pt x="416" y="27"/>
                  </a:lnTo>
                  <a:lnTo>
                    <a:pt x="417" y="26"/>
                  </a:lnTo>
                  <a:lnTo>
                    <a:pt x="418" y="24"/>
                  </a:lnTo>
                  <a:lnTo>
                    <a:pt x="419" y="22"/>
                  </a:lnTo>
                  <a:lnTo>
                    <a:pt x="420" y="21"/>
                  </a:lnTo>
                  <a:lnTo>
                    <a:pt x="421" y="20"/>
                  </a:lnTo>
                  <a:lnTo>
                    <a:pt x="421" y="18"/>
                  </a:lnTo>
                  <a:lnTo>
                    <a:pt x="422" y="17"/>
                  </a:lnTo>
                  <a:lnTo>
                    <a:pt x="424" y="12"/>
                  </a:lnTo>
                  <a:lnTo>
                    <a:pt x="424" y="11"/>
                  </a:lnTo>
                  <a:lnTo>
                    <a:pt x="425" y="10"/>
                  </a:lnTo>
                  <a:lnTo>
                    <a:pt x="426" y="9"/>
                  </a:lnTo>
                  <a:lnTo>
                    <a:pt x="426" y="7"/>
                  </a:lnTo>
                  <a:lnTo>
                    <a:pt x="427" y="6"/>
                  </a:lnTo>
                  <a:lnTo>
                    <a:pt x="428" y="6"/>
                  </a:lnTo>
                  <a:lnTo>
                    <a:pt x="429" y="5"/>
                  </a:lnTo>
                  <a:lnTo>
                    <a:pt x="430" y="4"/>
                  </a:lnTo>
                  <a:lnTo>
                    <a:pt x="431" y="3"/>
                  </a:lnTo>
                  <a:lnTo>
                    <a:pt x="432" y="2"/>
                  </a:lnTo>
                  <a:lnTo>
                    <a:pt x="433" y="2"/>
                  </a:lnTo>
                  <a:lnTo>
                    <a:pt x="434" y="1"/>
                  </a:lnTo>
                  <a:lnTo>
                    <a:pt x="435" y="1"/>
                  </a:lnTo>
                  <a:lnTo>
                    <a:pt x="436" y="0"/>
                  </a:lnTo>
                  <a:lnTo>
                    <a:pt x="437" y="0"/>
                  </a:lnTo>
                  <a:lnTo>
                    <a:pt x="438" y="0"/>
                  </a:lnTo>
                  <a:lnTo>
                    <a:pt x="439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2" y="1"/>
                  </a:lnTo>
                  <a:lnTo>
                    <a:pt x="442" y="1"/>
                  </a:lnTo>
                  <a:lnTo>
                    <a:pt x="442" y="3"/>
                  </a:lnTo>
                  <a:lnTo>
                    <a:pt x="442" y="4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0" y="11"/>
                  </a:lnTo>
                  <a:lnTo>
                    <a:pt x="440" y="13"/>
                  </a:lnTo>
                  <a:lnTo>
                    <a:pt x="439" y="17"/>
                  </a:lnTo>
                  <a:lnTo>
                    <a:pt x="437" y="20"/>
                  </a:lnTo>
                  <a:lnTo>
                    <a:pt x="435" y="28"/>
                  </a:lnTo>
                  <a:lnTo>
                    <a:pt x="433" y="32"/>
                  </a:lnTo>
                  <a:lnTo>
                    <a:pt x="433" y="33"/>
                  </a:lnTo>
                  <a:lnTo>
                    <a:pt x="431" y="35"/>
                  </a:lnTo>
                  <a:lnTo>
                    <a:pt x="430" y="39"/>
                  </a:lnTo>
                  <a:lnTo>
                    <a:pt x="430" y="40"/>
                  </a:lnTo>
                  <a:lnTo>
                    <a:pt x="429" y="42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6"/>
                  </a:lnTo>
                  <a:lnTo>
                    <a:pt x="428" y="47"/>
                  </a:lnTo>
                  <a:lnTo>
                    <a:pt x="428" y="51"/>
                  </a:lnTo>
                  <a:lnTo>
                    <a:pt x="428" y="52"/>
                  </a:lnTo>
                  <a:lnTo>
                    <a:pt x="428" y="53"/>
                  </a:lnTo>
                  <a:lnTo>
                    <a:pt x="428" y="54"/>
                  </a:lnTo>
                  <a:lnTo>
                    <a:pt x="428" y="55"/>
                  </a:lnTo>
                  <a:lnTo>
                    <a:pt x="427" y="58"/>
                  </a:lnTo>
                  <a:lnTo>
                    <a:pt x="427" y="59"/>
                  </a:lnTo>
                  <a:lnTo>
                    <a:pt x="426" y="60"/>
                  </a:lnTo>
                  <a:lnTo>
                    <a:pt x="426" y="61"/>
                  </a:lnTo>
                  <a:lnTo>
                    <a:pt x="426" y="62"/>
                  </a:lnTo>
                  <a:lnTo>
                    <a:pt x="426" y="62"/>
                  </a:lnTo>
                  <a:lnTo>
                    <a:pt x="427" y="63"/>
                  </a:lnTo>
                  <a:lnTo>
                    <a:pt x="427" y="66"/>
                  </a:lnTo>
                  <a:lnTo>
                    <a:pt x="427" y="67"/>
                  </a:lnTo>
                  <a:lnTo>
                    <a:pt x="428" y="70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8" y="74"/>
                  </a:lnTo>
                  <a:lnTo>
                    <a:pt x="427" y="75"/>
                  </a:lnTo>
                  <a:lnTo>
                    <a:pt x="427" y="76"/>
                  </a:lnTo>
                  <a:lnTo>
                    <a:pt x="426" y="77"/>
                  </a:lnTo>
                  <a:lnTo>
                    <a:pt x="426" y="78"/>
                  </a:lnTo>
                  <a:lnTo>
                    <a:pt x="426" y="78"/>
                  </a:lnTo>
                  <a:lnTo>
                    <a:pt x="425" y="79"/>
                  </a:lnTo>
                  <a:lnTo>
                    <a:pt x="424" y="79"/>
                  </a:lnTo>
                  <a:lnTo>
                    <a:pt x="423" y="81"/>
                  </a:lnTo>
                  <a:lnTo>
                    <a:pt x="420" y="83"/>
                  </a:lnTo>
                  <a:lnTo>
                    <a:pt x="419" y="84"/>
                  </a:lnTo>
                  <a:lnTo>
                    <a:pt x="416" y="87"/>
                  </a:lnTo>
                  <a:lnTo>
                    <a:pt x="416" y="88"/>
                  </a:lnTo>
                  <a:lnTo>
                    <a:pt x="415" y="89"/>
                  </a:lnTo>
                  <a:lnTo>
                    <a:pt x="414" y="90"/>
                  </a:lnTo>
                  <a:lnTo>
                    <a:pt x="413" y="91"/>
                  </a:lnTo>
                  <a:lnTo>
                    <a:pt x="412" y="91"/>
                  </a:lnTo>
                  <a:lnTo>
                    <a:pt x="412" y="92"/>
                  </a:lnTo>
                  <a:lnTo>
                    <a:pt x="411" y="92"/>
                  </a:lnTo>
                  <a:lnTo>
                    <a:pt x="410" y="93"/>
                  </a:lnTo>
                  <a:lnTo>
                    <a:pt x="410" y="93"/>
                  </a:lnTo>
                  <a:lnTo>
                    <a:pt x="409" y="93"/>
                  </a:lnTo>
                  <a:lnTo>
                    <a:pt x="406" y="94"/>
                  </a:lnTo>
                  <a:lnTo>
                    <a:pt x="405" y="94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2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2" y="97"/>
                  </a:lnTo>
                  <a:lnTo>
                    <a:pt x="401" y="98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2" y="101"/>
                  </a:lnTo>
                  <a:lnTo>
                    <a:pt x="404" y="105"/>
                  </a:lnTo>
                  <a:lnTo>
                    <a:pt x="405" y="108"/>
                  </a:lnTo>
                  <a:lnTo>
                    <a:pt x="405" y="110"/>
                  </a:lnTo>
                  <a:lnTo>
                    <a:pt x="406" y="115"/>
                  </a:lnTo>
                  <a:lnTo>
                    <a:pt x="407" y="117"/>
                  </a:lnTo>
                  <a:lnTo>
                    <a:pt x="407" y="119"/>
                  </a:lnTo>
                  <a:lnTo>
                    <a:pt x="408" y="121"/>
                  </a:lnTo>
                  <a:lnTo>
                    <a:pt x="410" y="126"/>
                  </a:lnTo>
                  <a:lnTo>
                    <a:pt x="411" y="131"/>
                  </a:lnTo>
                  <a:lnTo>
                    <a:pt x="412" y="132"/>
                  </a:lnTo>
                  <a:lnTo>
                    <a:pt x="412" y="133"/>
                  </a:lnTo>
                  <a:lnTo>
                    <a:pt x="412" y="135"/>
                  </a:lnTo>
                  <a:lnTo>
                    <a:pt x="413" y="139"/>
                  </a:lnTo>
                  <a:lnTo>
                    <a:pt x="413" y="142"/>
                  </a:lnTo>
                  <a:lnTo>
                    <a:pt x="413" y="143"/>
                  </a:lnTo>
                  <a:lnTo>
                    <a:pt x="413" y="145"/>
                  </a:lnTo>
                  <a:lnTo>
                    <a:pt x="414" y="148"/>
                  </a:lnTo>
                  <a:lnTo>
                    <a:pt x="414" y="150"/>
                  </a:lnTo>
                  <a:lnTo>
                    <a:pt x="414" y="151"/>
                  </a:lnTo>
                  <a:lnTo>
                    <a:pt x="414" y="151"/>
                  </a:lnTo>
                  <a:lnTo>
                    <a:pt x="414" y="152"/>
                  </a:lnTo>
                  <a:lnTo>
                    <a:pt x="414" y="153"/>
                  </a:lnTo>
                  <a:lnTo>
                    <a:pt x="413" y="154"/>
                  </a:lnTo>
                  <a:lnTo>
                    <a:pt x="413" y="154"/>
                  </a:lnTo>
                  <a:lnTo>
                    <a:pt x="411" y="157"/>
                  </a:lnTo>
                  <a:lnTo>
                    <a:pt x="410" y="158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09" y="161"/>
                  </a:lnTo>
                  <a:lnTo>
                    <a:pt x="409" y="162"/>
                  </a:lnTo>
                  <a:lnTo>
                    <a:pt x="409" y="163"/>
                  </a:lnTo>
                  <a:lnTo>
                    <a:pt x="408" y="164"/>
                  </a:lnTo>
                  <a:lnTo>
                    <a:pt x="408" y="165"/>
                  </a:lnTo>
                  <a:lnTo>
                    <a:pt x="408" y="166"/>
                  </a:lnTo>
                  <a:lnTo>
                    <a:pt x="408" y="167"/>
                  </a:lnTo>
                  <a:lnTo>
                    <a:pt x="408" y="169"/>
                  </a:lnTo>
                  <a:lnTo>
                    <a:pt x="409" y="170"/>
                  </a:lnTo>
                  <a:lnTo>
                    <a:pt x="409" y="171"/>
                  </a:lnTo>
                  <a:lnTo>
                    <a:pt x="409" y="172"/>
                  </a:lnTo>
                  <a:lnTo>
                    <a:pt x="410" y="173"/>
                  </a:lnTo>
                  <a:lnTo>
                    <a:pt x="412" y="176"/>
                  </a:lnTo>
                  <a:lnTo>
                    <a:pt x="413" y="177"/>
                  </a:lnTo>
                  <a:lnTo>
                    <a:pt x="413" y="178"/>
                  </a:lnTo>
                  <a:lnTo>
                    <a:pt x="413" y="179"/>
                  </a:lnTo>
                  <a:lnTo>
                    <a:pt x="414" y="180"/>
                  </a:lnTo>
                  <a:lnTo>
                    <a:pt x="415" y="183"/>
                  </a:lnTo>
                  <a:lnTo>
                    <a:pt x="416" y="185"/>
                  </a:lnTo>
                  <a:lnTo>
                    <a:pt x="416" y="187"/>
                  </a:lnTo>
                  <a:lnTo>
                    <a:pt x="417" y="189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21" y="193"/>
                  </a:lnTo>
                  <a:lnTo>
                    <a:pt x="422" y="195"/>
                  </a:lnTo>
                  <a:lnTo>
                    <a:pt x="425" y="198"/>
                  </a:lnTo>
                  <a:lnTo>
                    <a:pt x="425" y="199"/>
                  </a:lnTo>
                  <a:lnTo>
                    <a:pt x="426" y="199"/>
                  </a:lnTo>
                  <a:lnTo>
                    <a:pt x="426" y="200"/>
                  </a:lnTo>
                  <a:lnTo>
                    <a:pt x="427" y="201"/>
                  </a:lnTo>
                  <a:lnTo>
                    <a:pt x="427" y="202"/>
                  </a:lnTo>
                  <a:lnTo>
                    <a:pt x="427" y="205"/>
                  </a:lnTo>
                  <a:lnTo>
                    <a:pt x="427" y="206"/>
                  </a:lnTo>
                  <a:lnTo>
                    <a:pt x="428" y="206"/>
                  </a:lnTo>
                  <a:lnTo>
                    <a:pt x="429" y="209"/>
                  </a:lnTo>
                  <a:lnTo>
                    <a:pt x="429" y="210"/>
                  </a:lnTo>
                  <a:lnTo>
                    <a:pt x="429" y="210"/>
                  </a:lnTo>
                  <a:lnTo>
                    <a:pt x="429" y="211"/>
                  </a:lnTo>
                  <a:lnTo>
                    <a:pt x="429" y="212"/>
                  </a:lnTo>
                  <a:lnTo>
                    <a:pt x="429" y="213"/>
                  </a:lnTo>
                  <a:lnTo>
                    <a:pt x="428" y="215"/>
                  </a:lnTo>
                  <a:lnTo>
                    <a:pt x="428" y="216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8"/>
                  </a:lnTo>
                  <a:lnTo>
                    <a:pt x="428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0" y="218"/>
                  </a:lnTo>
                  <a:lnTo>
                    <a:pt x="431" y="218"/>
                  </a:lnTo>
                  <a:lnTo>
                    <a:pt x="432" y="219"/>
                  </a:lnTo>
                  <a:lnTo>
                    <a:pt x="435" y="219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7" y="220"/>
                  </a:lnTo>
                  <a:lnTo>
                    <a:pt x="438" y="221"/>
                  </a:lnTo>
                  <a:lnTo>
                    <a:pt x="439" y="221"/>
                  </a:lnTo>
                  <a:lnTo>
                    <a:pt x="439" y="222"/>
                  </a:lnTo>
                  <a:lnTo>
                    <a:pt x="440" y="223"/>
                  </a:lnTo>
                  <a:lnTo>
                    <a:pt x="440" y="223"/>
                  </a:lnTo>
                  <a:lnTo>
                    <a:pt x="441" y="224"/>
                  </a:lnTo>
                  <a:lnTo>
                    <a:pt x="441" y="225"/>
                  </a:lnTo>
                  <a:lnTo>
                    <a:pt x="441" y="226"/>
                  </a:lnTo>
                  <a:lnTo>
                    <a:pt x="441" y="227"/>
                  </a:lnTo>
                  <a:lnTo>
                    <a:pt x="442" y="231"/>
                  </a:lnTo>
                  <a:lnTo>
                    <a:pt x="442" y="232"/>
                  </a:lnTo>
                  <a:lnTo>
                    <a:pt x="442" y="233"/>
                  </a:lnTo>
                  <a:lnTo>
                    <a:pt x="442" y="235"/>
                  </a:lnTo>
                  <a:lnTo>
                    <a:pt x="442" y="237"/>
                  </a:lnTo>
                  <a:lnTo>
                    <a:pt x="441" y="238"/>
                  </a:lnTo>
                  <a:lnTo>
                    <a:pt x="441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0" y="242"/>
                  </a:lnTo>
                  <a:lnTo>
                    <a:pt x="439" y="243"/>
                  </a:lnTo>
                  <a:lnTo>
                    <a:pt x="437" y="246"/>
                  </a:lnTo>
                  <a:lnTo>
                    <a:pt x="434" y="249"/>
                  </a:lnTo>
                  <a:lnTo>
                    <a:pt x="434" y="250"/>
                  </a:lnTo>
                  <a:lnTo>
                    <a:pt x="433" y="251"/>
                  </a:lnTo>
                  <a:lnTo>
                    <a:pt x="432" y="252"/>
                  </a:lnTo>
                  <a:lnTo>
                    <a:pt x="432" y="253"/>
                  </a:lnTo>
                  <a:lnTo>
                    <a:pt x="431" y="254"/>
                  </a:lnTo>
                  <a:lnTo>
                    <a:pt x="431" y="255"/>
                  </a:lnTo>
                  <a:lnTo>
                    <a:pt x="431" y="256"/>
                  </a:lnTo>
                  <a:lnTo>
                    <a:pt x="431" y="258"/>
                  </a:lnTo>
                  <a:lnTo>
                    <a:pt x="431" y="259"/>
                  </a:lnTo>
                  <a:lnTo>
                    <a:pt x="431" y="259"/>
                  </a:lnTo>
                  <a:lnTo>
                    <a:pt x="431" y="260"/>
                  </a:lnTo>
                  <a:lnTo>
                    <a:pt x="432" y="262"/>
                  </a:lnTo>
                  <a:lnTo>
                    <a:pt x="433" y="265"/>
                  </a:lnTo>
                  <a:lnTo>
                    <a:pt x="433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9"/>
                  </a:lnTo>
                  <a:lnTo>
                    <a:pt x="432" y="271"/>
                  </a:lnTo>
                  <a:lnTo>
                    <a:pt x="431" y="274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1" y="279"/>
                  </a:lnTo>
                  <a:lnTo>
                    <a:pt x="430" y="279"/>
                  </a:lnTo>
                  <a:lnTo>
                    <a:pt x="430" y="279"/>
                  </a:lnTo>
                  <a:lnTo>
                    <a:pt x="429" y="279"/>
                  </a:lnTo>
                  <a:lnTo>
                    <a:pt x="427" y="279"/>
                  </a:lnTo>
                  <a:lnTo>
                    <a:pt x="426" y="279"/>
                  </a:lnTo>
                  <a:lnTo>
                    <a:pt x="425" y="279"/>
                  </a:lnTo>
                  <a:lnTo>
                    <a:pt x="423" y="278"/>
                  </a:lnTo>
                  <a:lnTo>
                    <a:pt x="421" y="278"/>
                  </a:lnTo>
                  <a:lnTo>
                    <a:pt x="420" y="277"/>
                  </a:lnTo>
                  <a:lnTo>
                    <a:pt x="418" y="277"/>
                  </a:lnTo>
                  <a:lnTo>
                    <a:pt x="416" y="276"/>
                  </a:lnTo>
                  <a:lnTo>
                    <a:pt x="415" y="275"/>
                  </a:lnTo>
                  <a:lnTo>
                    <a:pt x="413" y="275"/>
                  </a:lnTo>
                  <a:lnTo>
                    <a:pt x="406" y="271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9"/>
                  </a:lnTo>
                  <a:lnTo>
                    <a:pt x="400" y="269"/>
                  </a:lnTo>
                  <a:lnTo>
                    <a:pt x="398" y="268"/>
                  </a:lnTo>
                  <a:lnTo>
                    <a:pt x="397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2" y="267"/>
                  </a:lnTo>
                  <a:lnTo>
                    <a:pt x="391" y="267"/>
                  </a:lnTo>
                  <a:lnTo>
                    <a:pt x="390" y="267"/>
                  </a:lnTo>
                  <a:lnTo>
                    <a:pt x="388" y="268"/>
                  </a:lnTo>
                  <a:lnTo>
                    <a:pt x="386" y="268"/>
                  </a:lnTo>
                  <a:lnTo>
                    <a:pt x="385" y="268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3" y="268"/>
                  </a:lnTo>
                  <a:lnTo>
                    <a:pt x="380" y="267"/>
                  </a:lnTo>
                  <a:lnTo>
                    <a:pt x="379" y="267"/>
                  </a:lnTo>
                  <a:lnTo>
                    <a:pt x="378" y="267"/>
                  </a:lnTo>
                  <a:lnTo>
                    <a:pt x="377" y="267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70" y="268"/>
                  </a:lnTo>
                  <a:lnTo>
                    <a:pt x="368" y="268"/>
                  </a:lnTo>
                  <a:lnTo>
                    <a:pt x="365" y="268"/>
                  </a:lnTo>
                  <a:lnTo>
                    <a:pt x="363" y="268"/>
                  </a:lnTo>
                  <a:lnTo>
                    <a:pt x="362" y="267"/>
                  </a:lnTo>
                  <a:lnTo>
                    <a:pt x="359" y="267"/>
                  </a:lnTo>
                  <a:lnTo>
                    <a:pt x="358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6" y="267"/>
                  </a:lnTo>
                  <a:lnTo>
                    <a:pt x="356" y="268"/>
                  </a:lnTo>
                  <a:lnTo>
                    <a:pt x="355" y="269"/>
                  </a:lnTo>
                  <a:lnTo>
                    <a:pt x="355" y="271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2" y="281"/>
                  </a:lnTo>
                  <a:lnTo>
                    <a:pt x="352" y="282"/>
                  </a:lnTo>
                  <a:lnTo>
                    <a:pt x="351" y="283"/>
                  </a:lnTo>
                  <a:lnTo>
                    <a:pt x="351" y="283"/>
                  </a:lnTo>
                  <a:lnTo>
                    <a:pt x="350" y="283"/>
                  </a:lnTo>
                  <a:lnTo>
                    <a:pt x="350" y="283"/>
                  </a:lnTo>
                  <a:lnTo>
                    <a:pt x="349" y="284"/>
                  </a:lnTo>
                  <a:lnTo>
                    <a:pt x="348" y="284"/>
                  </a:lnTo>
                  <a:lnTo>
                    <a:pt x="346" y="284"/>
                  </a:lnTo>
                  <a:lnTo>
                    <a:pt x="344" y="284"/>
                  </a:lnTo>
                  <a:lnTo>
                    <a:pt x="343" y="284"/>
                  </a:lnTo>
                  <a:lnTo>
                    <a:pt x="341" y="284"/>
                  </a:lnTo>
                  <a:lnTo>
                    <a:pt x="337" y="283"/>
                  </a:lnTo>
                  <a:lnTo>
                    <a:pt x="336" y="283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4" y="283"/>
                  </a:lnTo>
                  <a:lnTo>
                    <a:pt x="331" y="283"/>
                  </a:lnTo>
                  <a:lnTo>
                    <a:pt x="329" y="284"/>
                  </a:lnTo>
                  <a:lnTo>
                    <a:pt x="327" y="284"/>
                  </a:lnTo>
                  <a:lnTo>
                    <a:pt x="326" y="284"/>
                  </a:lnTo>
                  <a:lnTo>
                    <a:pt x="325" y="284"/>
                  </a:lnTo>
                  <a:lnTo>
                    <a:pt x="324" y="284"/>
                  </a:lnTo>
                  <a:lnTo>
                    <a:pt x="324" y="284"/>
                  </a:lnTo>
                  <a:lnTo>
                    <a:pt x="323" y="283"/>
                  </a:lnTo>
                  <a:lnTo>
                    <a:pt x="322" y="283"/>
                  </a:lnTo>
                  <a:lnTo>
                    <a:pt x="322" y="283"/>
                  </a:lnTo>
                  <a:lnTo>
                    <a:pt x="321" y="283"/>
                  </a:lnTo>
                  <a:lnTo>
                    <a:pt x="321" y="283"/>
                  </a:lnTo>
                  <a:lnTo>
                    <a:pt x="320" y="283"/>
                  </a:lnTo>
                  <a:lnTo>
                    <a:pt x="319" y="283"/>
                  </a:lnTo>
                  <a:lnTo>
                    <a:pt x="318" y="283"/>
                  </a:lnTo>
                  <a:lnTo>
                    <a:pt x="317" y="284"/>
                  </a:lnTo>
                  <a:lnTo>
                    <a:pt x="316" y="284"/>
                  </a:lnTo>
                  <a:lnTo>
                    <a:pt x="316" y="285"/>
                  </a:lnTo>
                  <a:lnTo>
                    <a:pt x="315" y="285"/>
                  </a:lnTo>
                  <a:lnTo>
                    <a:pt x="314" y="287"/>
                  </a:lnTo>
                  <a:lnTo>
                    <a:pt x="313" y="288"/>
                  </a:lnTo>
                  <a:lnTo>
                    <a:pt x="311" y="289"/>
                  </a:lnTo>
                  <a:lnTo>
                    <a:pt x="311" y="290"/>
                  </a:lnTo>
                  <a:lnTo>
                    <a:pt x="310" y="290"/>
                  </a:lnTo>
                  <a:lnTo>
                    <a:pt x="310" y="291"/>
                  </a:lnTo>
                  <a:lnTo>
                    <a:pt x="309" y="291"/>
                  </a:lnTo>
                  <a:lnTo>
                    <a:pt x="309" y="291"/>
                  </a:lnTo>
                  <a:lnTo>
                    <a:pt x="308" y="291"/>
                  </a:lnTo>
                  <a:lnTo>
                    <a:pt x="308" y="291"/>
                  </a:lnTo>
                  <a:lnTo>
                    <a:pt x="307" y="291"/>
                  </a:lnTo>
                  <a:lnTo>
                    <a:pt x="307" y="290"/>
                  </a:lnTo>
                  <a:lnTo>
                    <a:pt x="307" y="290"/>
                  </a:lnTo>
                  <a:lnTo>
                    <a:pt x="303" y="284"/>
                  </a:lnTo>
                  <a:lnTo>
                    <a:pt x="302" y="283"/>
                  </a:lnTo>
                  <a:lnTo>
                    <a:pt x="301" y="282"/>
                  </a:lnTo>
                  <a:lnTo>
                    <a:pt x="300" y="281"/>
                  </a:lnTo>
                  <a:lnTo>
                    <a:pt x="299" y="281"/>
                  </a:lnTo>
                  <a:lnTo>
                    <a:pt x="296" y="279"/>
                  </a:lnTo>
                  <a:lnTo>
                    <a:pt x="293" y="277"/>
                  </a:lnTo>
                  <a:lnTo>
                    <a:pt x="292" y="276"/>
                  </a:lnTo>
                  <a:lnTo>
                    <a:pt x="290" y="275"/>
                  </a:lnTo>
                  <a:lnTo>
                    <a:pt x="289" y="275"/>
                  </a:lnTo>
                  <a:lnTo>
                    <a:pt x="285" y="274"/>
                  </a:lnTo>
                  <a:lnTo>
                    <a:pt x="281" y="272"/>
                  </a:lnTo>
                  <a:lnTo>
                    <a:pt x="280" y="272"/>
                  </a:lnTo>
                  <a:lnTo>
                    <a:pt x="278" y="272"/>
                  </a:lnTo>
                  <a:lnTo>
                    <a:pt x="277" y="271"/>
                  </a:lnTo>
                  <a:lnTo>
                    <a:pt x="276" y="271"/>
                  </a:lnTo>
                  <a:lnTo>
                    <a:pt x="276" y="271"/>
                  </a:lnTo>
                  <a:lnTo>
                    <a:pt x="275" y="270"/>
                  </a:lnTo>
                  <a:lnTo>
                    <a:pt x="273" y="269"/>
                  </a:lnTo>
                  <a:lnTo>
                    <a:pt x="272" y="267"/>
                  </a:lnTo>
                  <a:lnTo>
                    <a:pt x="271" y="266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2"/>
                  </a:lnTo>
                  <a:lnTo>
                    <a:pt x="264" y="258"/>
                  </a:lnTo>
                  <a:lnTo>
                    <a:pt x="262" y="256"/>
                  </a:lnTo>
                  <a:lnTo>
                    <a:pt x="261" y="255"/>
                  </a:lnTo>
                  <a:lnTo>
                    <a:pt x="260" y="254"/>
                  </a:lnTo>
                  <a:lnTo>
                    <a:pt x="258" y="254"/>
                  </a:lnTo>
                  <a:lnTo>
                    <a:pt x="257" y="253"/>
                  </a:lnTo>
                  <a:lnTo>
                    <a:pt x="256" y="252"/>
                  </a:lnTo>
                  <a:lnTo>
                    <a:pt x="252" y="250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6" y="247"/>
                  </a:lnTo>
                  <a:lnTo>
                    <a:pt x="243" y="246"/>
                  </a:lnTo>
                  <a:lnTo>
                    <a:pt x="239" y="245"/>
                  </a:lnTo>
                  <a:lnTo>
                    <a:pt x="235" y="244"/>
                  </a:lnTo>
                  <a:lnTo>
                    <a:pt x="234" y="244"/>
                  </a:lnTo>
                  <a:lnTo>
                    <a:pt x="232" y="243"/>
                  </a:lnTo>
                  <a:lnTo>
                    <a:pt x="231" y="243"/>
                  </a:lnTo>
                  <a:lnTo>
                    <a:pt x="230" y="242"/>
                  </a:lnTo>
                  <a:lnTo>
                    <a:pt x="229" y="242"/>
                  </a:lnTo>
                  <a:lnTo>
                    <a:pt x="228" y="242"/>
                  </a:lnTo>
                  <a:lnTo>
                    <a:pt x="224" y="242"/>
                  </a:lnTo>
                  <a:lnTo>
                    <a:pt x="222" y="242"/>
                  </a:lnTo>
                  <a:lnTo>
                    <a:pt x="221" y="242"/>
                  </a:lnTo>
                  <a:lnTo>
                    <a:pt x="221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19" y="241"/>
                  </a:lnTo>
                  <a:lnTo>
                    <a:pt x="219" y="240"/>
                  </a:lnTo>
                  <a:lnTo>
                    <a:pt x="218" y="240"/>
                  </a:lnTo>
                  <a:lnTo>
                    <a:pt x="216" y="238"/>
                  </a:lnTo>
                  <a:lnTo>
                    <a:pt x="214" y="236"/>
                  </a:lnTo>
                  <a:lnTo>
                    <a:pt x="213" y="235"/>
                  </a:lnTo>
                  <a:lnTo>
                    <a:pt x="212" y="233"/>
                  </a:lnTo>
                  <a:lnTo>
                    <a:pt x="211" y="233"/>
                  </a:lnTo>
                  <a:lnTo>
                    <a:pt x="210" y="232"/>
                  </a:lnTo>
                  <a:lnTo>
                    <a:pt x="209" y="232"/>
                  </a:lnTo>
                  <a:lnTo>
                    <a:pt x="209" y="231"/>
                  </a:lnTo>
                  <a:lnTo>
                    <a:pt x="208" y="231"/>
                  </a:lnTo>
                  <a:lnTo>
                    <a:pt x="207" y="230"/>
                  </a:lnTo>
                  <a:lnTo>
                    <a:pt x="205" y="230"/>
                  </a:lnTo>
                  <a:lnTo>
                    <a:pt x="202" y="230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6" y="227"/>
                  </a:lnTo>
                  <a:lnTo>
                    <a:pt x="195" y="227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3" y="225"/>
                  </a:lnTo>
                  <a:lnTo>
                    <a:pt x="192" y="224"/>
                  </a:lnTo>
                  <a:lnTo>
                    <a:pt x="191" y="223"/>
                  </a:lnTo>
                  <a:lnTo>
                    <a:pt x="190" y="222"/>
                  </a:lnTo>
                  <a:lnTo>
                    <a:pt x="190" y="221"/>
                  </a:lnTo>
                  <a:lnTo>
                    <a:pt x="189" y="221"/>
                  </a:lnTo>
                  <a:lnTo>
                    <a:pt x="189" y="221"/>
                  </a:lnTo>
                  <a:lnTo>
                    <a:pt x="188" y="221"/>
                  </a:lnTo>
                  <a:lnTo>
                    <a:pt x="188" y="221"/>
                  </a:lnTo>
                  <a:lnTo>
                    <a:pt x="187" y="221"/>
                  </a:lnTo>
                  <a:lnTo>
                    <a:pt x="186" y="222"/>
                  </a:lnTo>
                  <a:lnTo>
                    <a:pt x="185" y="223"/>
                  </a:lnTo>
                  <a:lnTo>
                    <a:pt x="184" y="224"/>
                  </a:lnTo>
                  <a:lnTo>
                    <a:pt x="183" y="225"/>
                  </a:lnTo>
                  <a:lnTo>
                    <a:pt x="182" y="226"/>
                  </a:lnTo>
                  <a:lnTo>
                    <a:pt x="181" y="228"/>
                  </a:lnTo>
                  <a:lnTo>
                    <a:pt x="180" y="230"/>
                  </a:lnTo>
                  <a:lnTo>
                    <a:pt x="179" y="233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8" y="235"/>
                  </a:lnTo>
                  <a:lnTo>
                    <a:pt x="176" y="237"/>
                  </a:lnTo>
                  <a:lnTo>
                    <a:pt x="175" y="240"/>
                  </a:lnTo>
                  <a:lnTo>
                    <a:pt x="174" y="240"/>
                  </a:lnTo>
                  <a:lnTo>
                    <a:pt x="174" y="241"/>
                  </a:lnTo>
                  <a:lnTo>
                    <a:pt x="173" y="241"/>
                  </a:lnTo>
                  <a:lnTo>
                    <a:pt x="173" y="241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6" y="242"/>
                  </a:lnTo>
                  <a:lnTo>
                    <a:pt x="165" y="242"/>
                  </a:lnTo>
                  <a:lnTo>
                    <a:pt x="164" y="242"/>
                  </a:lnTo>
                  <a:lnTo>
                    <a:pt x="164" y="241"/>
                  </a:lnTo>
                  <a:lnTo>
                    <a:pt x="163" y="241"/>
                  </a:lnTo>
                  <a:lnTo>
                    <a:pt x="161" y="240"/>
                  </a:lnTo>
                  <a:lnTo>
                    <a:pt x="158" y="239"/>
                  </a:lnTo>
                  <a:lnTo>
                    <a:pt x="152" y="236"/>
                  </a:lnTo>
                  <a:lnTo>
                    <a:pt x="150" y="235"/>
                  </a:lnTo>
                  <a:lnTo>
                    <a:pt x="150" y="234"/>
                  </a:lnTo>
                  <a:lnTo>
                    <a:pt x="149" y="234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6" y="231"/>
                  </a:lnTo>
                  <a:lnTo>
                    <a:pt x="146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5" y="227"/>
                  </a:lnTo>
                  <a:lnTo>
                    <a:pt x="146" y="226"/>
                  </a:lnTo>
                  <a:lnTo>
                    <a:pt x="146" y="225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5" y="219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7"/>
                  </a:lnTo>
                  <a:lnTo>
                    <a:pt x="140" y="217"/>
                  </a:lnTo>
                  <a:lnTo>
                    <a:pt x="139" y="216"/>
                  </a:lnTo>
                  <a:lnTo>
                    <a:pt x="138" y="216"/>
                  </a:lnTo>
                  <a:lnTo>
                    <a:pt x="137" y="215"/>
                  </a:lnTo>
                  <a:lnTo>
                    <a:pt x="135" y="214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1" y="212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7" y="211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3" y="210"/>
                  </a:lnTo>
                  <a:lnTo>
                    <a:pt x="123" y="209"/>
                  </a:lnTo>
                  <a:lnTo>
                    <a:pt x="122" y="209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3"/>
                  </a:lnTo>
                  <a:lnTo>
                    <a:pt x="120" y="203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19" y="202"/>
                  </a:lnTo>
                  <a:lnTo>
                    <a:pt x="119" y="201"/>
                  </a:lnTo>
                  <a:lnTo>
                    <a:pt x="118" y="201"/>
                  </a:lnTo>
                  <a:lnTo>
                    <a:pt x="115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9" y="199"/>
                  </a:lnTo>
                  <a:lnTo>
                    <a:pt x="108" y="198"/>
                  </a:lnTo>
                  <a:lnTo>
                    <a:pt x="107" y="198"/>
                  </a:lnTo>
                  <a:lnTo>
                    <a:pt x="106" y="197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4" y="195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0" y="191"/>
                  </a:lnTo>
                  <a:lnTo>
                    <a:pt x="99" y="191"/>
                  </a:lnTo>
                  <a:lnTo>
                    <a:pt x="98" y="190"/>
                  </a:lnTo>
                  <a:lnTo>
                    <a:pt x="95" y="189"/>
                  </a:lnTo>
                  <a:lnTo>
                    <a:pt x="94" y="189"/>
                  </a:lnTo>
                  <a:lnTo>
                    <a:pt x="93" y="188"/>
                  </a:lnTo>
                  <a:lnTo>
                    <a:pt x="93" y="187"/>
                  </a:lnTo>
                  <a:lnTo>
                    <a:pt x="92" y="187"/>
                  </a:lnTo>
                  <a:lnTo>
                    <a:pt x="91" y="187"/>
                  </a:lnTo>
                  <a:lnTo>
                    <a:pt x="89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7" y="186"/>
                  </a:lnTo>
                  <a:lnTo>
                    <a:pt x="73" y="186"/>
                  </a:lnTo>
                  <a:lnTo>
                    <a:pt x="72" y="186"/>
                  </a:lnTo>
                  <a:lnTo>
                    <a:pt x="71" y="186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7" y="186"/>
                  </a:lnTo>
                  <a:lnTo>
                    <a:pt x="66" y="186"/>
                  </a:lnTo>
                  <a:lnTo>
                    <a:pt x="66" y="185"/>
                  </a:lnTo>
                  <a:lnTo>
                    <a:pt x="64" y="184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0"/>
                  </a:lnTo>
                  <a:lnTo>
                    <a:pt x="59" y="179"/>
                  </a:lnTo>
                  <a:lnTo>
                    <a:pt x="52" y="174"/>
                  </a:lnTo>
                  <a:lnTo>
                    <a:pt x="49" y="172"/>
                  </a:lnTo>
                  <a:lnTo>
                    <a:pt x="47" y="171"/>
                  </a:lnTo>
                  <a:lnTo>
                    <a:pt x="42" y="167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8" y="161"/>
                  </a:lnTo>
                  <a:lnTo>
                    <a:pt x="38" y="157"/>
                  </a:lnTo>
                  <a:lnTo>
                    <a:pt x="39" y="154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9" y="148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4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6" y="131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19"/>
                  </a:lnTo>
                  <a:lnTo>
                    <a:pt x="46" y="118"/>
                  </a:lnTo>
                  <a:lnTo>
                    <a:pt x="45" y="118"/>
                  </a:lnTo>
                  <a:lnTo>
                    <a:pt x="45" y="117"/>
                  </a:lnTo>
                  <a:lnTo>
                    <a:pt x="44" y="116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1" y="114"/>
                  </a:lnTo>
                  <a:lnTo>
                    <a:pt x="38" y="113"/>
                  </a:lnTo>
                  <a:lnTo>
                    <a:pt x="37" y="112"/>
                  </a:lnTo>
                  <a:lnTo>
                    <a:pt x="35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29" y="106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5" y="98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3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8"/>
                  </a:lnTo>
                  <a:lnTo>
                    <a:pt x="5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2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3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8" y="46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62">
              <a:extLst>
                <a:ext uri="{FF2B5EF4-FFF2-40B4-BE49-F238E27FC236}">
                  <a16:creationId xmlns:a16="http://schemas.microsoft.com/office/drawing/2014/main" id="{E3E7B398-844C-20AC-7E7B-1C3226E359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" y="3273"/>
              <a:ext cx="83" cy="28"/>
            </a:xfrm>
            <a:custGeom>
              <a:avLst/>
              <a:gdLst>
                <a:gd name="T0" fmla="*/ 1 w 83"/>
                <a:gd name="T1" fmla="*/ 28 h 28"/>
                <a:gd name="T2" fmla="*/ 4 w 83"/>
                <a:gd name="T3" fmla="*/ 26 h 28"/>
                <a:gd name="T4" fmla="*/ 5 w 83"/>
                <a:gd name="T5" fmla="*/ 24 h 28"/>
                <a:gd name="T6" fmla="*/ 6 w 83"/>
                <a:gd name="T7" fmla="*/ 22 h 28"/>
                <a:gd name="T8" fmla="*/ 7 w 83"/>
                <a:gd name="T9" fmla="*/ 21 h 28"/>
                <a:gd name="T10" fmla="*/ 8 w 83"/>
                <a:gd name="T11" fmla="*/ 19 h 28"/>
                <a:gd name="T12" fmla="*/ 9 w 83"/>
                <a:gd name="T13" fmla="*/ 18 h 28"/>
                <a:gd name="T14" fmla="*/ 11 w 83"/>
                <a:gd name="T15" fmla="*/ 17 h 28"/>
                <a:gd name="T16" fmla="*/ 14 w 83"/>
                <a:gd name="T17" fmla="*/ 17 h 28"/>
                <a:gd name="T18" fmla="*/ 16 w 83"/>
                <a:gd name="T19" fmla="*/ 16 h 28"/>
                <a:gd name="T20" fmla="*/ 20 w 83"/>
                <a:gd name="T21" fmla="*/ 14 h 28"/>
                <a:gd name="T22" fmla="*/ 20 w 83"/>
                <a:gd name="T23" fmla="*/ 14 h 28"/>
                <a:gd name="T24" fmla="*/ 21 w 83"/>
                <a:gd name="T25" fmla="*/ 14 h 28"/>
                <a:gd name="T26" fmla="*/ 22 w 83"/>
                <a:gd name="T27" fmla="*/ 15 h 28"/>
                <a:gd name="T28" fmla="*/ 24 w 83"/>
                <a:gd name="T29" fmla="*/ 17 h 28"/>
                <a:gd name="T30" fmla="*/ 26 w 83"/>
                <a:gd name="T31" fmla="*/ 17 h 28"/>
                <a:gd name="T32" fmla="*/ 28 w 83"/>
                <a:gd name="T33" fmla="*/ 18 h 28"/>
                <a:gd name="T34" fmla="*/ 30 w 83"/>
                <a:gd name="T35" fmla="*/ 18 h 28"/>
                <a:gd name="T36" fmla="*/ 32 w 83"/>
                <a:gd name="T37" fmla="*/ 18 h 28"/>
                <a:gd name="T38" fmla="*/ 36 w 83"/>
                <a:gd name="T39" fmla="*/ 18 h 28"/>
                <a:gd name="T40" fmla="*/ 39 w 83"/>
                <a:gd name="T41" fmla="*/ 18 h 28"/>
                <a:gd name="T42" fmla="*/ 42 w 83"/>
                <a:gd name="T43" fmla="*/ 18 h 28"/>
                <a:gd name="T44" fmla="*/ 44 w 83"/>
                <a:gd name="T45" fmla="*/ 18 h 28"/>
                <a:gd name="T46" fmla="*/ 45 w 83"/>
                <a:gd name="T47" fmla="*/ 19 h 28"/>
                <a:gd name="T48" fmla="*/ 49 w 83"/>
                <a:gd name="T49" fmla="*/ 20 h 28"/>
                <a:gd name="T50" fmla="*/ 51 w 83"/>
                <a:gd name="T51" fmla="*/ 21 h 28"/>
                <a:gd name="T52" fmla="*/ 54 w 83"/>
                <a:gd name="T53" fmla="*/ 21 h 28"/>
                <a:gd name="T54" fmla="*/ 55 w 83"/>
                <a:gd name="T55" fmla="*/ 21 h 28"/>
                <a:gd name="T56" fmla="*/ 59 w 83"/>
                <a:gd name="T57" fmla="*/ 19 h 28"/>
                <a:gd name="T58" fmla="*/ 62 w 83"/>
                <a:gd name="T59" fmla="*/ 18 h 28"/>
                <a:gd name="T60" fmla="*/ 65 w 83"/>
                <a:gd name="T61" fmla="*/ 17 h 28"/>
                <a:gd name="T62" fmla="*/ 67 w 83"/>
                <a:gd name="T63" fmla="*/ 16 h 28"/>
                <a:gd name="T64" fmla="*/ 68 w 83"/>
                <a:gd name="T65" fmla="*/ 15 h 28"/>
                <a:gd name="T66" fmla="*/ 69 w 83"/>
                <a:gd name="T67" fmla="*/ 13 h 28"/>
                <a:gd name="T68" fmla="*/ 70 w 83"/>
                <a:gd name="T69" fmla="*/ 12 h 28"/>
                <a:gd name="T70" fmla="*/ 72 w 83"/>
                <a:gd name="T71" fmla="*/ 8 h 28"/>
                <a:gd name="T72" fmla="*/ 73 w 83"/>
                <a:gd name="T73" fmla="*/ 7 h 28"/>
                <a:gd name="T74" fmla="*/ 74 w 83"/>
                <a:gd name="T75" fmla="*/ 6 h 28"/>
                <a:gd name="T76" fmla="*/ 76 w 83"/>
                <a:gd name="T77" fmla="*/ 4 h 28"/>
                <a:gd name="T78" fmla="*/ 78 w 83"/>
                <a:gd name="T79" fmla="*/ 2 h 28"/>
                <a:gd name="T80" fmla="*/ 82 w 83"/>
                <a:gd name="T81" fmla="*/ 0 h 28"/>
                <a:gd name="T82" fmla="*/ 82 w 83"/>
                <a:gd name="T8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3" h="28">
                  <a:moveTo>
                    <a:pt x="0" y="28"/>
                  </a:moveTo>
                  <a:lnTo>
                    <a:pt x="1" y="28"/>
                  </a:lnTo>
                  <a:lnTo>
                    <a:pt x="2" y="27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6" y="22"/>
                  </a:lnTo>
                  <a:lnTo>
                    <a:pt x="6" y="21"/>
                  </a:lnTo>
                  <a:lnTo>
                    <a:pt x="7" y="21"/>
                  </a:lnTo>
                  <a:lnTo>
                    <a:pt x="7" y="20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10" y="18"/>
                  </a:lnTo>
                  <a:lnTo>
                    <a:pt x="11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5" y="17"/>
                  </a:lnTo>
                  <a:lnTo>
                    <a:pt x="16" y="16"/>
                  </a:lnTo>
                  <a:lnTo>
                    <a:pt x="19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4" y="17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30" y="18"/>
                  </a:lnTo>
                  <a:lnTo>
                    <a:pt x="31" y="18"/>
                  </a:lnTo>
                  <a:lnTo>
                    <a:pt x="32" y="18"/>
                  </a:lnTo>
                  <a:lnTo>
                    <a:pt x="35" y="18"/>
                  </a:lnTo>
                  <a:lnTo>
                    <a:pt x="36" y="18"/>
                  </a:lnTo>
                  <a:lnTo>
                    <a:pt x="37" y="18"/>
                  </a:lnTo>
                  <a:lnTo>
                    <a:pt x="39" y="18"/>
                  </a:lnTo>
                  <a:lnTo>
                    <a:pt x="40" y="18"/>
                  </a:lnTo>
                  <a:lnTo>
                    <a:pt x="42" y="18"/>
                  </a:lnTo>
                  <a:lnTo>
                    <a:pt x="43" y="18"/>
                  </a:lnTo>
                  <a:lnTo>
                    <a:pt x="44" y="18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7" y="19"/>
                  </a:lnTo>
                  <a:lnTo>
                    <a:pt x="49" y="20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52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5" y="21"/>
                  </a:lnTo>
                  <a:lnTo>
                    <a:pt x="56" y="20"/>
                  </a:lnTo>
                  <a:lnTo>
                    <a:pt x="59" y="19"/>
                  </a:lnTo>
                  <a:lnTo>
                    <a:pt x="60" y="18"/>
                  </a:lnTo>
                  <a:lnTo>
                    <a:pt x="62" y="18"/>
                  </a:lnTo>
                  <a:lnTo>
                    <a:pt x="64" y="17"/>
                  </a:lnTo>
                  <a:lnTo>
                    <a:pt x="65" y="17"/>
                  </a:lnTo>
                  <a:lnTo>
                    <a:pt x="66" y="17"/>
                  </a:lnTo>
                  <a:lnTo>
                    <a:pt x="67" y="16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9" y="14"/>
                  </a:lnTo>
                  <a:lnTo>
                    <a:pt x="69" y="13"/>
                  </a:lnTo>
                  <a:lnTo>
                    <a:pt x="70" y="13"/>
                  </a:lnTo>
                  <a:lnTo>
                    <a:pt x="70" y="12"/>
                  </a:lnTo>
                  <a:lnTo>
                    <a:pt x="71" y="9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3" y="7"/>
                  </a:lnTo>
                  <a:lnTo>
                    <a:pt x="73" y="6"/>
                  </a:lnTo>
                  <a:lnTo>
                    <a:pt x="74" y="6"/>
                  </a:lnTo>
                  <a:lnTo>
                    <a:pt x="75" y="5"/>
                  </a:lnTo>
                  <a:lnTo>
                    <a:pt x="76" y="4"/>
                  </a:lnTo>
                  <a:lnTo>
                    <a:pt x="77" y="3"/>
                  </a:lnTo>
                  <a:lnTo>
                    <a:pt x="78" y="2"/>
                  </a:lnTo>
                  <a:lnTo>
                    <a:pt x="80" y="1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3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Freeform 63">
              <a:extLst>
                <a:ext uri="{FF2B5EF4-FFF2-40B4-BE49-F238E27FC236}">
                  <a16:creationId xmlns:a16="http://schemas.microsoft.com/office/drawing/2014/main" id="{1414E6A3-7514-7172-83FE-38A3ABDE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" y="3418"/>
              <a:ext cx="457" cy="425"/>
            </a:xfrm>
            <a:custGeom>
              <a:avLst/>
              <a:gdLst>
                <a:gd name="T0" fmla="*/ 224 w 457"/>
                <a:gd name="T1" fmla="*/ 24 h 425"/>
                <a:gd name="T2" fmla="*/ 248 w 457"/>
                <a:gd name="T3" fmla="*/ 33 h 425"/>
                <a:gd name="T4" fmla="*/ 266 w 457"/>
                <a:gd name="T5" fmla="*/ 47 h 425"/>
                <a:gd name="T6" fmla="*/ 290 w 457"/>
                <a:gd name="T7" fmla="*/ 57 h 425"/>
                <a:gd name="T8" fmla="*/ 309 w 457"/>
                <a:gd name="T9" fmla="*/ 79 h 425"/>
                <a:gd name="T10" fmla="*/ 330 w 457"/>
                <a:gd name="T11" fmla="*/ 58 h 425"/>
                <a:gd name="T12" fmla="*/ 352 w 457"/>
                <a:gd name="T13" fmla="*/ 69 h 425"/>
                <a:gd name="T14" fmla="*/ 382 w 457"/>
                <a:gd name="T15" fmla="*/ 82 h 425"/>
                <a:gd name="T16" fmla="*/ 421 w 457"/>
                <a:gd name="T17" fmla="*/ 109 h 425"/>
                <a:gd name="T18" fmla="*/ 447 w 457"/>
                <a:gd name="T19" fmla="*/ 140 h 425"/>
                <a:gd name="T20" fmla="*/ 456 w 457"/>
                <a:gd name="T21" fmla="*/ 155 h 425"/>
                <a:gd name="T22" fmla="*/ 443 w 457"/>
                <a:gd name="T23" fmla="*/ 168 h 425"/>
                <a:gd name="T24" fmla="*/ 444 w 457"/>
                <a:gd name="T25" fmla="*/ 186 h 425"/>
                <a:gd name="T26" fmla="*/ 430 w 457"/>
                <a:gd name="T27" fmla="*/ 181 h 425"/>
                <a:gd name="T28" fmla="*/ 432 w 457"/>
                <a:gd name="T29" fmla="*/ 192 h 425"/>
                <a:gd name="T30" fmla="*/ 411 w 457"/>
                <a:gd name="T31" fmla="*/ 204 h 425"/>
                <a:gd name="T32" fmla="*/ 403 w 457"/>
                <a:gd name="T33" fmla="*/ 234 h 425"/>
                <a:gd name="T34" fmla="*/ 415 w 457"/>
                <a:gd name="T35" fmla="*/ 248 h 425"/>
                <a:gd name="T36" fmla="*/ 414 w 457"/>
                <a:gd name="T37" fmla="*/ 266 h 425"/>
                <a:gd name="T38" fmla="*/ 409 w 457"/>
                <a:gd name="T39" fmla="*/ 285 h 425"/>
                <a:gd name="T40" fmla="*/ 415 w 457"/>
                <a:gd name="T41" fmla="*/ 304 h 425"/>
                <a:gd name="T42" fmla="*/ 405 w 457"/>
                <a:gd name="T43" fmla="*/ 320 h 425"/>
                <a:gd name="T44" fmla="*/ 400 w 457"/>
                <a:gd name="T45" fmla="*/ 334 h 425"/>
                <a:gd name="T46" fmla="*/ 405 w 457"/>
                <a:gd name="T47" fmla="*/ 353 h 425"/>
                <a:gd name="T48" fmla="*/ 381 w 457"/>
                <a:gd name="T49" fmla="*/ 365 h 425"/>
                <a:gd name="T50" fmla="*/ 362 w 457"/>
                <a:gd name="T51" fmla="*/ 380 h 425"/>
                <a:gd name="T52" fmla="*/ 334 w 457"/>
                <a:gd name="T53" fmla="*/ 383 h 425"/>
                <a:gd name="T54" fmla="*/ 316 w 457"/>
                <a:gd name="T55" fmla="*/ 377 h 425"/>
                <a:gd name="T56" fmla="*/ 300 w 457"/>
                <a:gd name="T57" fmla="*/ 386 h 425"/>
                <a:gd name="T58" fmla="*/ 275 w 457"/>
                <a:gd name="T59" fmla="*/ 400 h 425"/>
                <a:gd name="T60" fmla="*/ 253 w 457"/>
                <a:gd name="T61" fmla="*/ 419 h 425"/>
                <a:gd name="T62" fmla="*/ 229 w 457"/>
                <a:gd name="T63" fmla="*/ 424 h 425"/>
                <a:gd name="T64" fmla="*/ 211 w 457"/>
                <a:gd name="T65" fmla="*/ 422 h 425"/>
                <a:gd name="T66" fmla="*/ 193 w 457"/>
                <a:gd name="T67" fmla="*/ 408 h 425"/>
                <a:gd name="T68" fmla="*/ 183 w 457"/>
                <a:gd name="T69" fmla="*/ 397 h 425"/>
                <a:gd name="T70" fmla="*/ 199 w 457"/>
                <a:gd name="T71" fmla="*/ 369 h 425"/>
                <a:gd name="T72" fmla="*/ 211 w 457"/>
                <a:gd name="T73" fmla="*/ 355 h 425"/>
                <a:gd name="T74" fmla="*/ 200 w 457"/>
                <a:gd name="T75" fmla="*/ 339 h 425"/>
                <a:gd name="T76" fmla="*/ 173 w 457"/>
                <a:gd name="T77" fmla="*/ 342 h 425"/>
                <a:gd name="T78" fmla="*/ 142 w 457"/>
                <a:gd name="T79" fmla="*/ 330 h 425"/>
                <a:gd name="T80" fmla="*/ 134 w 457"/>
                <a:gd name="T81" fmla="*/ 301 h 425"/>
                <a:gd name="T82" fmla="*/ 107 w 457"/>
                <a:gd name="T83" fmla="*/ 299 h 425"/>
                <a:gd name="T84" fmla="*/ 77 w 457"/>
                <a:gd name="T85" fmla="*/ 296 h 425"/>
                <a:gd name="T86" fmla="*/ 58 w 457"/>
                <a:gd name="T87" fmla="*/ 284 h 425"/>
                <a:gd name="T88" fmla="*/ 52 w 457"/>
                <a:gd name="T89" fmla="*/ 272 h 425"/>
                <a:gd name="T90" fmla="*/ 26 w 457"/>
                <a:gd name="T91" fmla="*/ 269 h 425"/>
                <a:gd name="T92" fmla="*/ 5 w 457"/>
                <a:gd name="T93" fmla="*/ 242 h 425"/>
                <a:gd name="T94" fmla="*/ 0 w 457"/>
                <a:gd name="T95" fmla="*/ 222 h 425"/>
                <a:gd name="T96" fmla="*/ 8 w 457"/>
                <a:gd name="T97" fmla="*/ 188 h 425"/>
                <a:gd name="T98" fmla="*/ 5 w 457"/>
                <a:gd name="T99" fmla="*/ 160 h 425"/>
                <a:gd name="T100" fmla="*/ 11 w 457"/>
                <a:gd name="T101" fmla="*/ 145 h 425"/>
                <a:gd name="T102" fmla="*/ 26 w 457"/>
                <a:gd name="T103" fmla="*/ 129 h 425"/>
                <a:gd name="T104" fmla="*/ 39 w 457"/>
                <a:gd name="T105" fmla="*/ 122 h 425"/>
                <a:gd name="T106" fmla="*/ 74 w 457"/>
                <a:gd name="T107" fmla="*/ 121 h 425"/>
                <a:gd name="T108" fmla="*/ 88 w 457"/>
                <a:gd name="T109" fmla="*/ 115 h 425"/>
                <a:gd name="T110" fmla="*/ 105 w 457"/>
                <a:gd name="T111" fmla="*/ 105 h 425"/>
                <a:gd name="T112" fmla="*/ 87 w 457"/>
                <a:gd name="T113" fmla="*/ 86 h 425"/>
                <a:gd name="T114" fmla="*/ 99 w 457"/>
                <a:gd name="T115" fmla="*/ 53 h 425"/>
                <a:gd name="T116" fmla="*/ 113 w 457"/>
                <a:gd name="T117" fmla="*/ 49 h 425"/>
                <a:gd name="T118" fmla="*/ 146 w 457"/>
                <a:gd name="T119" fmla="*/ 32 h 425"/>
                <a:gd name="T120" fmla="*/ 160 w 457"/>
                <a:gd name="T121" fmla="*/ 25 h 425"/>
                <a:gd name="T122" fmla="*/ 169 w 457"/>
                <a:gd name="T123" fmla="*/ 9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7" h="425">
                  <a:moveTo>
                    <a:pt x="185" y="4"/>
                  </a:moveTo>
                  <a:lnTo>
                    <a:pt x="190" y="8"/>
                  </a:lnTo>
                  <a:lnTo>
                    <a:pt x="192" y="9"/>
                  </a:lnTo>
                  <a:lnTo>
                    <a:pt x="195" y="11"/>
                  </a:lnTo>
                  <a:lnTo>
                    <a:pt x="202" y="16"/>
                  </a:lnTo>
                  <a:lnTo>
                    <a:pt x="203" y="17"/>
                  </a:lnTo>
                  <a:lnTo>
                    <a:pt x="205" y="19"/>
                  </a:lnTo>
                  <a:lnTo>
                    <a:pt x="206" y="19"/>
                  </a:lnTo>
                  <a:lnTo>
                    <a:pt x="207" y="21"/>
                  </a:lnTo>
                  <a:lnTo>
                    <a:pt x="209" y="22"/>
                  </a:lnTo>
                  <a:lnTo>
                    <a:pt x="209" y="23"/>
                  </a:lnTo>
                  <a:lnTo>
                    <a:pt x="210" y="23"/>
                  </a:lnTo>
                  <a:lnTo>
                    <a:pt x="211" y="23"/>
                  </a:lnTo>
                  <a:lnTo>
                    <a:pt x="211" y="23"/>
                  </a:lnTo>
                  <a:lnTo>
                    <a:pt x="212" y="23"/>
                  </a:lnTo>
                  <a:lnTo>
                    <a:pt x="214" y="23"/>
                  </a:lnTo>
                  <a:lnTo>
                    <a:pt x="215" y="23"/>
                  </a:lnTo>
                  <a:lnTo>
                    <a:pt x="216" y="23"/>
                  </a:lnTo>
                  <a:lnTo>
                    <a:pt x="220" y="23"/>
                  </a:lnTo>
                  <a:lnTo>
                    <a:pt x="221" y="23"/>
                  </a:lnTo>
                  <a:lnTo>
                    <a:pt x="221" y="23"/>
                  </a:lnTo>
                  <a:lnTo>
                    <a:pt x="222" y="23"/>
                  </a:lnTo>
                  <a:lnTo>
                    <a:pt x="224" y="24"/>
                  </a:lnTo>
                  <a:lnTo>
                    <a:pt x="225" y="24"/>
                  </a:lnTo>
                  <a:lnTo>
                    <a:pt x="226" y="24"/>
                  </a:lnTo>
                  <a:lnTo>
                    <a:pt x="227" y="24"/>
                  </a:lnTo>
                  <a:lnTo>
                    <a:pt x="227" y="23"/>
                  </a:lnTo>
                  <a:lnTo>
                    <a:pt x="229" y="23"/>
                  </a:lnTo>
                  <a:lnTo>
                    <a:pt x="230" y="23"/>
                  </a:lnTo>
                  <a:lnTo>
                    <a:pt x="230" y="23"/>
                  </a:lnTo>
                  <a:lnTo>
                    <a:pt x="231" y="23"/>
                  </a:lnTo>
                  <a:lnTo>
                    <a:pt x="232" y="23"/>
                  </a:lnTo>
                  <a:lnTo>
                    <a:pt x="234" y="24"/>
                  </a:lnTo>
                  <a:lnTo>
                    <a:pt x="235" y="24"/>
                  </a:lnTo>
                  <a:lnTo>
                    <a:pt x="236" y="24"/>
                  </a:lnTo>
                  <a:lnTo>
                    <a:pt x="236" y="25"/>
                  </a:lnTo>
                  <a:lnTo>
                    <a:pt x="237" y="26"/>
                  </a:lnTo>
                  <a:lnTo>
                    <a:pt x="238" y="26"/>
                  </a:lnTo>
                  <a:lnTo>
                    <a:pt x="241" y="27"/>
                  </a:lnTo>
                  <a:lnTo>
                    <a:pt x="242" y="28"/>
                  </a:lnTo>
                  <a:lnTo>
                    <a:pt x="243" y="28"/>
                  </a:lnTo>
                  <a:lnTo>
                    <a:pt x="244" y="29"/>
                  </a:lnTo>
                  <a:lnTo>
                    <a:pt x="244" y="29"/>
                  </a:lnTo>
                  <a:lnTo>
                    <a:pt x="247" y="32"/>
                  </a:lnTo>
                  <a:lnTo>
                    <a:pt x="248" y="33"/>
                  </a:lnTo>
                  <a:lnTo>
                    <a:pt x="248" y="33"/>
                  </a:lnTo>
                  <a:lnTo>
                    <a:pt x="249" y="34"/>
                  </a:lnTo>
                  <a:lnTo>
                    <a:pt x="250" y="35"/>
                  </a:lnTo>
                  <a:lnTo>
                    <a:pt x="251" y="35"/>
                  </a:lnTo>
                  <a:lnTo>
                    <a:pt x="252" y="36"/>
                  </a:lnTo>
                  <a:lnTo>
                    <a:pt x="254" y="36"/>
                  </a:lnTo>
                  <a:lnTo>
                    <a:pt x="254" y="36"/>
                  </a:lnTo>
                  <a:lnTo>
                    <a:pt x="257" y="37"/>
                  </a:lnTo>
                  <a:lnTo>
                    <a:pt x="258" y="37"/>
                  </a:lnTo>
                  <a:lnTo>
                    <a:pt x="261" y="38"/>
                  </a:lnTo>
                  <a:lnTo>
                    <a:pt x="262" y="38"/>
                  </a:lnTo>
                  <a:lnTo>
                    <a:pt x="262" y="39"/>
                  </a:lnTo>
                  <a:lnTo>
                    <a:pt x="263" y="39"/>
                  </a:lnTo>
                  <a:lnTo>
                    <a:pt x="263" y="39"/>
                  </a:lnTo>
                  <a:lnTo>
                    <a:pt x="263" y="40"/>
                  </a:lnTo>
                  <a:lnTo>
                    <a:pt x="264" y="40"/>
                  </a:lnTo>
                  <a:lnTo>
                    <a:pt x="264" y="41"/>
                  </a:lnTo>
                  <a:lnTo>
                    <a:pt x="264" y="41"/>
                  </a:lnTo>
                  <a:lnTo>
                    <a:pt x="264" y="43"/>
                  </a:lnTo>
                  <a:lnTo>
                    <a:pt x="265" y="45"/>
                  </a:lnTo>
                  <a:lnTo>
                    <a:pt x="265" y="45"/>
                  </a:lnTo>
                  <a:lnTo>
                    <a:pt x="265" y="46"/>
                  </a:lnTo>
                  <a:lnTo>
                    <a:pt x="266" y="46"/>
                  </a:lnTo>
                  <a:lnTo>
                    <a:pt x="266" y="47"/>
                  </a:lnTo>
                  <a:lnTo>
                    <a:pt x="267" y="47"/>
                  </a:lnTo>
                  <a:lnTo>
                    <a:pt x="268" y="47"/>
                  </a:lnTo>
                  <a:lnTo>
                    <a:pt x="268" y="47"/>
                  </a:lnTo>
                  <a:lnTo>
                    <a:pt x="270" y="48"/>
                  </a:lnTo>
                  <a:lnTo>
                    <a:pt x="271" y="48"/>
                  </a:lnTo>
                  <a:lnTo>
                    <a:pt x="273" y="48"/>
                  </a:lnTo>
                  <a:lnTo>
                    <a:pt x="274" y="49"/>
                  </a:lnTo>
                  <a:lnTo>
                    <a:pt x="275" y="50"/>
                  </a:lnTo>
                  <a:lnTo>
                    <a:pt x="277" y="50"/>
                  </a:lnTo>
                  <a:lnTo>
                    <a:pt x="278" y="51"/>
                  </a:lnTo>
                  <a:lnTo>
                    <a:pt x="280" y="52"/>
                  </a:lnTo>
                  <a:lnTo>
                    <a:pt x="281" y="53"/>
                  </a:lnTo>
                  <a:lnTo>
                    <a:pt x="282" y="53"/>
                  </a:lnTo>
                  <a:lnTo>
                    <a:pt x="283" y="54"/>
                  </a:lnTo>
                  <a:lnTo>
                    <a:pt x="284" y="54"/>
                  </a:lnTo>
                  <a:lnTo>
                    <a:pt x="286" y="55"/>
                  </a:lnTo>
                  <a:lnTo>
                    <a:pt x="286" y="55"/>
                  </a:lnTo>
                  <a:lnTo>
                    <a:pt x="288" y="56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90" y="58"/>
                  </a:lnTo>
                  <a:lnTo>
                    <a:pt x="290" y="59"/>
                  </a:lnTo>
                  <a:lnTo>
                    <a:pt x="290" y="59"/>
                  </a:lnTo>
                  <a:lnTo>
                    <a:pt x="289" y="62"/>
                  </a:lnTo>
                  <a:lnTo>
                    <a:pt x="289" y="63"/>
                  </a:lnTo>
                  <a:lnTo>
                    <a:pt x="288" y="64"/>
                  </a:lnTo>
                  <a:lnTo>
                    <a:pt x="288" y="65"/>
                  </a:lnTo>
                  <a:lnTo>
                    <a:pt x="289" y="66"/>
                  </a:lnTo>
                  <a:lnTo>
                    <a:pt x="289" y="67"/>
                  </a:lnTo>
                  <a:lnTo>
                    <a:pt x="289" y="68"/>
                  </a:lnTo>
                  <a:lnTo>
                    <a:pt x="290" y="69"/>
                  </a:lnTo>
                  <a:lnTo>
                    <a:pt x="291" y="70"/>
                  </a:lnTo>
                  <a:lnTo>
                    <a:pt x="292" y="71"/>
                  </a:lnTo>
                  <a:lnTo>
                    <a:pt x="293" y="71"/>
                  </a:lnTo>
                  <a:lnTo>
                    <a:pt x="293" y="72"/>
                  </a:lnTo>
                  <a:lnTo>
                    <a:pt x="295" y="73"/>
                  </a:lnTo>
                  <a:lnTo>
                    <a:pt x="301" y="76"/>
                  </a:lnTo>
                  <a:lnTo>
                    <a:pt x="304" y="77"/>
                  </a:lnTo>
                  <a:lnTo>
                    <a:pt x="306" y="78"/>
                  </a:lnTo>
                  <a:lnTo>
                    <a:pt x="307" y="78"/>
                  </a:lnTo>
                  <a:lnTo>
                    <a:pt x="307" y="79"/>
                  </a:lnTo>
                  <a:lnTo>
                    <a:pt x="308" y="79"/>
                  </a:lnTo>
                  <a:lnTo>
                    <a:pt x="309" y="79"/>
                  </a:lnTo>
                  <a:lnTo>
                    <a:pt x="310" y="79"/>
                  </a:lnTo>
                  <a:lnTo>
                    <a:pt x="312" y="79"/>
                  </a:lnTo>
                  <a:lnTo>
                    <a:pt x="313" y="79"/>
                  </a:lnTo>
                  <a:lnTo>
                    <a:pt x="314" y="79"/>
                  </a:lnTo>
                  <a:lnTo>
                    <a:pt x="315" y="79"/>
                  </a:lnTo>
                  <a:lnTo>
                    <a:pt x="316" y="78"/>
                  </a:lnTo>
                  <a:lnTo>
                    <a:pt x="316" y="78"/>
                  </a:lnTo>
                  <a:lnTo>
                    <a:pt x="317" y="78"/>
                  </a:lnTo>
                  <a:lnTo>
                    <a:pt x="317" y="77"/>
                  </a:lnTo>
                  <a:lnTo>
                    <a:pt x="318" y="77"/>
                  </a:lnTo>
                  <a:lnTo>
                    <a:pt x="319" y="74"/>
                  </a:lnTo>
                  <a:lnTo>
                    <a:pt x="321" y="72"/>
                  </a:lnTo>
                  <a:lnTo>
                    <a:pt x="322" y="71"/>
                  </a:lnTo>
                  <a:lnTo>
                    <a:pt x="322" y="71"/>
                  </a:lnTo>
                  <a:lnTo>
                    <a:pt x="322" y="70"/>
                  </a:lnTo>
                  <a:lnTo>
                    <a:pt x="323" y="67"/>
                  </a:lnTo>
                  <a:lnTo>
                    <a:pt x="324" y="65"/>
                  </a:lnTo>
                  <a:lnTo>
                    <a:pt x="325" y="63"/>
                  </a:lnTo>
                  <a:lnTo>
                    <a:pt x="326" y="62"/>
                  </a:lnTo>
                  <a:lnTo>
                    <a:pt x="327" y="61"/>
                  </a:lnTo>
                  <a:lnTo>
                    <a:pt x="328" y="60"/>
                  </a:lnTo>
                  <a:lnTo>
                    <a:pt x="329" y="59"/>
                  </a:lnTo>
                  <a:lnTo>
                    <a:pt x="330" y="58"/>
                  </a:lnTo>
                  <a:lnTo>
                    <a:pt x="331" y="58"/>
                  </a:lnTo>
                  <a:lnTo>
                    <a:pt x="331" y="58"/>
                  </a:lnTo>
                  <a:lnTo>
                    <a:pt x="332" y="58"/>
                  </a:lnTo>
                  <a:lnTo>
                    <a:pt x="332" y="58"/>
                  </a:lnTo>
                  <a:lnTo>
                    <a:pt x="333" y="58"/>
                  </a:lnTo>
                  <a:lnTo>
                    <a:pt x="333" y="59"/>
                  </a:lnTo>
                  <a:lnTo>
                    <a:pt x="334" y="60"/>
                  </a:lnTo>
                  <a:lnTo>
                    <a:pt x="335" y="61"/>
                  </a:lnTo>
                  <a:lnTo>
                    <a:pt x="336" y="62"/>
                  </a:lnTo>
                  <a:lnTo>
                    <a:pt x="337" y="63"/>
                  </a:lnTo>
                  <a:lnTo>
                    <a:pt x="337" y="63"/>
                  </a:lnTo>
                  <a:lnTo>
                    <a:pt x="338" y="64"/>
                  </a:lnTo>
                  <a:lnTo>
                    <a:pt x="339" y="64"/>
                  </a:lnTo>
                  <a:lnTo>
                    <a:pt x="340" y="65"/>
                  </a:lnTo>
                  <a:lnTo>
                    <a:pt x="341" y="65"/>
                  </a:lnTo>
                  <a:lnTo>
                    <a:pt x="342" y="66"/>
                  </a:lnTo>
                  <a:lnTo>
                    <a:pt x="343" y="66"/>
                  </a:lnTo>
                  <a:lnTo>
                    <a:pt x="345" y="67"/>
                  </a:lnTo>
                  <a:lnTo>
                    <a:pt x="348" y="67"/>
                  </a:lnTo>
                  <a:lnTo>
                    <a:pt x="350" y="67"/>
                  </a:lnTo>
                  <a:lnTo>
                    <a:pt x="351" y="68"/>
                  </a:lnTo>
                  <a:lnTo>
                    <a:pt x="352" y="68"/>
                  </a:lnTo>
                  <a:lnTo>
                    <a:pt x="352" y="69"/>
                  </a:lnTo>
                  <a:lnTo>
                    <a:pt x="353" y="69"/>
                  </a:lnTo>
                  <a:lnTo>
                    <a:pt x="354" y="70"/>
                  </a:lnTo>
                  <a:lnTo>
                    <a:pt x="355" y="70"/>
                  </a:lnTo>
                  <a:lnTo>
                    <a:pt x="356" y="72"/>
                  </a:lnTo>
                  <a:lnTo>
                    <a:pt x="357" y="73"/>
                  </a:lnTo>
                  <a:lnTo>
                    <a:pt x="359" y="75"/>
                  </a:lnTo>
                  <a:lnTo>
                    <a:pt x="361" y="77"/>
                  </a:lnTo>
                  <a:lnTo>
                    <a:pt x="362" y="77"/>
                  </a:lnTo>
                  <a:lnTo>
                    <a:pt x="362" y="78"/>
                  </a:lnTo>
                  <a:lnTo>
                    <a:pt x="363" y="78"/>
                  </a:lnTo>
                  <a:lnTo>
                    <a:pt x="363" y="78"/>
                  </a:lnTo>
                  <a:lnTo>
                    <a:pt x="364" y="78"/>
                  </a:lnTo>
                  <a:lnTo>
                    <a:pt x="364" y="79"/>
                  </a:lnTo>
                  <a:lnTo>
                    <a:pt x="365" y="79"/>
                  </a:lnTo>
                  <a:lnTo>
                    <a:pt x="367" y="79"/>
                  </a:lnTo>
                  <a:lnTo>
                    <a:pt x="371" y="79"/>
                  </a:lnTo>
                  <a:lnTo>
                    <a:pt x="372" y="79"/>
                  </a:lnTo>
                  <a:lnTo>
                    <a:pt x="373" y="79"/>
                  </a:lnTo>
                  <a:lnTo>
                    <a:pt x="374" y="80"/>
                  </a:lnTo>
                  <a:lnTo>
                    <a:pt x="375" y="80"/>
                  </a:lnTo>
                  <a:lnTo>
                    <a:pt x="377" y="81"/>
                  </a:lnTo>
                  <a:lnTo>
                    <a:pt x="378" y="81"/>
                  </a:lnTo>
                  <a:lnTo>
                    <a:pt x="382" y="82"/>
                  </a:lnTo>
                  <a:lnTo>
                    <a:pt x="386" y="83"/>
                  </a:lnTo>
                  <a:lnTo>
                    <a:pt x="389" y="84"/>
                  </a:lnTo>
                  <a:lnTo>
                    <a:pt x="390" y="85"/>
                  </a:lnTo>
                  <a:lnTo>
                    <a:pt x="390" y="85"/>
                  </a:lnTo>
                  <a:lnTo>
                    <a:pt x="395" y="87"/>
                  </a:lnTo>
                  <a:lnTo>
                    <a:pt x="399" y="89"/>
                  </a:lnTo>
                  <a:lnTo>
                    <a:pt x="400" y="90"/>
                  </a:lnTo>
                  <a:lnTo>
                    <a:pt x="401" y="91"/>
                  </a:lnTo>
                  <a:lnTo>
                    <a:pt x="403" y="91"/>
                  </a:lnTo>
                  <a:lnTo>
                    <a:pt x="404" y="92"/>
                  </a:lnTo>
                  <a:lnTo>
                    <a:pt x="405" y="93"/>
                  </a:lnTo>
                  <a:lnTo>
                    <a:pt x="407" y="95"/>
                  </a:lnTo>
                  <a:lnTo>
                    <a:pt x="410" y="99"/>
                  </a:lnTo>
                  <a:lnTo>
                    <a:pt x="412" y="100"/>
                  </a:lnTo>
                  <a:lnTo>
                    <a:pt x="413" y="101"/>
                  </a:lnTo>
                  <a:lnTo>
                    <a:pt x="414" y="103"/>
                  </a:lnTo>
                  <a:lnTo>
                    <a:pt x="415" y="104"/>
                  </a:lnTo>
                  <a:lnTo>
                    <a:pt x="416" y="106"/>
                  </a:lnTo>
                  <a:lnTo>
                    <a:pt x="418" y="107"/>
                  </a:lnTo>
                  <a:lnTo>
                    <a:pt x="419" y="108"/>
                  </a:lnTo>
                  <a:lnTo>
                    <a:pt x="419" y="108"/>
                  </a:lnTo>
                  <a:lnTo>
                    <a:pt x="420" y="108"/>
                  </a:lnTo>
                  <a:lnTo>
                    <a:pt x="421" y="109"/>
                  </a:lnTo>
                  <a:lnTo>
                    <a:pt x="423" y="109"/>
                  </a:lnTo>
                  <a:lnTo>
                    <a:pt x="424" y="109"/>
                  </a:lnTo>
                  <a:lnTo>
                    <a:pt x="428" y="111"/>
                  </a:lnTo>
                  <a:lnTo>
                    <a:pt x="432" y="112"/>
                  </a:lnTo>
                  <a:lnTo>
                    <a:pt x="433" y="112"/>
                  </a:lnTo>
                  <a:lnTo>
                    <a:pt x="435" y="113"/>
                  </a:lnTo>
                  <a:lnTo>
                    <a:pt x="436" y="114"/>
                  </a:lnTo>
                  <a:lnTo>
                    <a:pt x="439" y="116"/>
                  </a:lnTo>
                  <a:lnTo>
                    <a:pt x="442" y="118"/>
                  </a:lnTo>
                  <a:lnTo>
                    <a:pt x="443" y="118"/>
                  </a:lnTo>
                  <a:lnTo>
                    <a:pt x="444" y="119"/>
                  </a:lnTo>
                  <a:lnTo>
                    <a:pt x="445" y="120"/>
                  </a:lnTo>
                  <a:lnTo>
                    <a:pt x="446" y="121"/>
                  </a:lnTo>
                  <a:lnTo>
                    <a:pt x="450" y="127"/>
                  </a:lnTo>
                  <a:lnTo>
                    <a:pt x="450" y="127"/>
                  </a:lnTo>
                  <a:lnTo>
                    <a:pt x="450" y="128"/>
                  </a:lnTo>
                  <a:lnTo>
                    <a:pt x="450" y="129"/>
                  </a:lnTo>
                  <a:lnTo>
                    <a:pt x="450" y="131"/>
                  </a:lnTo>
                  <a:lnTo>
                    <a:pt x="449" y="132"/>
                  </a:lnTo>
                  <a:lnTo>
                    <a:pt x="449" y="134"/>
                  </a:lnTo>
                  <a:lnTo>
                    <a:pt x="447" y="138"/>
                  </a:lnTo>
                  <a:lnTo>
                    <a:pt x="447" y="139"/>
                  </a:lnTo>
                  <a:lnTo>
                    <a:pt x="447" y="140"/>
                  </a:lnTo>
                  <a:lnTo>
                    <a:pt x="447" y="140"/>
                  </a:lnTo>
                  <a:lnTo>
                    <a:pt x="447" y="141"/>
                  </a:lnTo>
                  <a:lnTo>
                    <a:pt x="447" y="141"/>
                  </a:lnTo>
                  <a:lnTo>
                    <a:pt x="447" y="142"/>
                  </a:lnTo>
                  <a:lnTo>
                    <a:pt x="448" y="143"/>
                  </a:lnTo>
                  <a:lnTo>
                    <a:pt x="448" y="144"/>
                  </a:lnTo>
                  <a:lnTo>
                    <a:pt x="449" y="144"/>
                  </a:lnTo>
                  <a:lnTo>
                    <a:pt x="450" y="145"/>
                  </a:lnTo>
                  <a:lnTo>
                    <a:pt x="450" y="145"/>
                  </a:lnTo>
                  <a:lnTo>
                    <a:pt x="453" y="147"/>
                  </a:lnTo>
                  <a:lnTo>
                    <a:pt x="454" y="147"/>
                  </a:lnTo>
                  <a:lnTo>
                    <a:pt x="454" y="148"/>
                  </a:lnTo>
                  <a:lnTo>
                    <a:pt x="455" y="149"/>
                  </a:lnTo>
                  <a:lnTo>
                    <a:pt x="455" y="149"/>
                  </a:lnTo>
                  <a:lnTo>
                    <a:pt x="456" y="150"/>
                  </a:lnTo>
                  <a:lnTo>
                    <a:pt x="456" y="150"/>
                  </a:lnTo>
                  <a:lnTo>
                    <a:pt x="456" y="151"/>
                  </a:lnTo>
                  <a:lnTo>
                    <a:pt x="456" y="151"/>
                  </a:lnTo>
                  <a:lnTo>
                    <a:pt x="457" y="152"/>
                  </a:lnTo>
                  <a:lnTo>
                    <a:pt x="457" y="153"/>
                  </a:lnTo>
                  <a:lnTo>
                    <a:pt x="457" y="154"/>
                  </a:lnTo>
                  <a:lnTo>
                    <a:pt x="456" y="154"/>
                  </a:lnTo>
                  <a:lnTo>
                    <a:pt x="456" y="155"/>
                  </a:lnTo>
                  <a:lnTo>
                    <a:pt x="456" y="156"/>
                  </a:lnTo>
                  <a:lnTo>
                    <a:pt x="455" y="157"/>
                  </a:lnTo>
                  <a:lnTo>
                    <a:pt x="455" y="158"/>
                  </a:lnTo>
                  <a:lnTo>
                    <a:pt x="454" y="160"/>
                  </a:lnTo>
                  <a:lnTo>
                    <a:pt x="453" y="161"/>
                  </a:lnTo>
                  <a:lnTo>
                    <a:pt x="452" y="162"/>
                  </a:lnTo>
                  <a:lnTo>
                    <a:pt x="451" y="164"/>
                  </a:lnTo>
                  <a:lnTo>
                    <a:pt x="450" y="164"/>
                  </a:lnTo>
                  <a:lnTo>
                    <a:pt x="449" y="165"/>
                  </a:lnTo>
                  <a:lnTo>
                    <a:pt x="448" y="165"/>
                  </a:lnTo>
                  <a:lnTo>
                    <a:pt x="447" y="166"/>
                  </a:lnTo>
                  <a:lnTo>
                    <a:pt x="446" y="166"/>
                  </a:lnTo>
                  <a:lnTo>
                    <a:pt x="446" y="166"/>
                  </a:lnTo>
                  <a:lnTo>
                    <a:pt x="445" y="166"/>
                  </a:lnTo>
                  <a:lnTo>
                    <a:pt x="443" y="166"/>
                  </a:lnTo>
                  <a:lnTo>
                    <a:pt x="443" y="166"/>
                  </a:lnTo>
                  <a:lnTo>
                    <a:pt x="443" y="166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2" y="167"/>
                  </a:lnTo>
                  <a:lnTo>
                    <a:pt x="442" y="167"/>
                  </a:lnTo>
                  <a:lnTo>
                    <a:pt x="443" y="168"/>
                  </a:lnTo>
                  <a:lnTo>
                    <a:pt x="443" y="169"/>
                  </a:lnTo>
                  <a:lnTo>
                    <a:pt x="443" y="169"/>
                  </a:lnTo>
                  <a:lnTo>
                    <a:pt x="444" y="170"/>
                  </a:lnTo>
                  <a:lnTo>
                    <a:pt x="444" y="171"/>
                  </a:lnTo>
                  <a:lnTo>
                    <a:pt x="446" y="172"/>
                  </a:lnTo>
                  <a:lnTo>
                    <a:pt x="446" y="173"/>
                  </a:lnTo>
                  <a:lnTo>
                    <a:pt x="447" y="174"/>
                  </a:lnTo>
                  <a:lnTo>
                    <a:pt x="448" y="175"/>
                  </a:lnTo>
                  <a:lnTo>
                    <a:pt x="448" y="176"/>
                  </a:lnTo>
                  <a:lnTo>
                    <a:pt x="448" y="177"/>
                  </a:lnTo>
                  <a:lnTo>
                    <a:pt x="448" y="177"/>
                  </a:lnTo>
                  <a:lnTo>
                    <a:pt x="448" y="178"/>
                  </a:lnTo>
                  <a:lnTo>
                    <a:pt x="448" y="178"/>
                  </a:lnTo>
                  <a:lnTo>
                    <a:pt x="448" y="179"/>
                  </a:lnTo>
                  <a:lnTo>
                    <a:pt x="448" y="180"/>
                  </a:lnTo>
                  <a:lnTo>
                    <a:pt x="447" y="181"/>
                  </a:lnTo>
                  <a:lnTo>
                    <a:pt x="447" y="183"/>
                  </a:lnTo>
                  <a:lnTo>
                    <a:pt x="446" y="184"/>
                  </a:lnTo>
                  <a:lnTo>
                    <a:pt x="446" y="185"/>
                  </a:lnTo>
                  <a:lnTo>
                    <a:pt x="446" y="185"/>
                  </a:lnTo>
                  <a:lnTo>
                    <a:pt x="445" y="185"/>
                  </a:lnTo>
                  <a:lnTo>
                    <a:pt x="444" y="186"/>
                  </a:lnTo>
                  <a:lnTo>
                    <a:pt x="444" y="186"/>
                  </a:lnTo>
                  <a:lnTo>
                    <a:pt x="443" y="186"/>
                  </a:lnTo>
                  <a:lnTo>
                    <a:pt x="443" y="186"/>
                  </a:lnTo>
                  <a:lnTo>
                    <a:pt x="442" y="186"/>
                  </a:lnTo>
                  <a:lnTo>
                    <a:pt x="441" y="186"/>
                  </a:lnTo>
                  <a:lnTo>
                    <a:pt x="441" y="186"/>
                  </a:lnTo>
                  <a:lnTo>
                    <a:pt x="440" y="185"/>
                  </a:lnTo>
                  <a:lnTo>
                    <a:pt x="440" y="185"/>
                  </a:lnTo>
                  <a:lnTo>
                    <a:pt x="439" y="184"/>
                  </a:lnTo>
                  <a:lnTo>
                    <a:pt x="439" y="184"/>
                  </a:lnTo>
                  <a:lnTo>
                    <a:pt x="439" y="183"/>
                  </a:lnTo>
                  <a:lnTo>
                    <a:pt x="438" y="182"/>
                  </a:lnTo>
                  <a:lnTo>
                    <a:pt x="438" y="181"/>
                  </a:lnTo>
                  <a:lnTo>
                    <a:pt x="437" y="181"/>
                  </a:lnTo>
                  <a:lnTo>
                    <a:pt x="437" y="180"/>
                  </a:lnTo>
                  <a:lnTo>
                    <a:pt x="436" y="180"/>
                  </a:lnTo>
                  <a:lnTo>
                    <a:pt x="436" y="180"/>
                  </a:lnTo>
                  <a:lnTo>
                    <a:pt x="435" y="180"/>
                  </a:lnTo>
                  <a:lnTo>
                    <a:pt x="434" y="180"/>
                  </a:lnTo>
                  <a:lnTo>
                    <a:pt x="433" y="180"/>
                  </a:lnTo>
                  <a:lnTo>
                    <a:pt x="433" y="180"/>
                  </a:lnTo>
                  <a:lnTo>
                    <a:pt x="432" y="180"/>
                  </a:lnTo>
                  <a:lnTo>
                    <a:pt x="431" y="180"/>
                  </a:lnTo>
                  <a:lnTo>
                    <a:pt x="430" y="181"/>
                  </a:lnTo>
                  <a:lnTo>
                    <a:pt x="429" y="182"/>
                  </a:lnTo>
                  <a:lnTo>
                    <a:pt x="428" y="182"/>
                  </a:lnTo>
                  <a:lnTo>
                    <a:pt x="428" y="183"/>
                  </a:lnTo>
                  <a:lnTo>
                    <a:pt x="426" y="184"/>
                  </a:lnTo>
                  <a:lnTo>
                    <a:pt x="425" y="185"/>
                  </a:lnTo>
                  <a:lnTo>
                    <a:pt x="425" y="186"/>
                  </a:lnTo>
                  <a:lnTo>
                    <a:pt x="424" y="186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25" y="188"/>
                  </a:lnTo>
                  <a:lnTo>
                    <a:pt x="425" y="188"/>
                  </a:lnTo>
                  <a:lnTo>
                    <a:pt x="426" y="188"/>
                  </a:lnTo>
                  <a:lnTo>
                    <a:pt x="428" y="189"/>
                  </a:lnTo>
                  <a:lnTo>
                    <a:pt x="429" y="189"/>
                  </a:lnTo>
                  <a:lnTo>
                    <a:pt x="430" y="189"/>
                  </a:lnTo>
                  <a:lnTo>
                    <a:pt x="430" y="190"/>
                  </a:lnTo>
                  <a:lnTo>
                    <a:pt x="431" y="190"/>
                  </a:lnTo>
                  <a:lnTo>
                    <a:pt x="431" y="190"/>
                  </a:lnTo>
                  <a:lnTo>
                    <a:pt x="432" y="191"/>
                  </a:lnTo>
                  <a:lnTo>
                    <a:pt x="432" y="191"/>
                  </a:lnTo>
                  <a:lnTo>
                    <a:pt x="432" y="192"/>
                  </a:lnTo>
                  <a:lnTo>
                    <a:pt x="432" y="192"/>
                  </a:lnTo>
                  <a:lnTo>
                    <a:pt x="432" y="193"/>
                  </a:lnTo>
                  <a:lnTo>
                    <a:pt x="432" y="193"/>
                  </a:lnTo>
                  <a:lnTo>
                    <a:pt x="432" y="194"/>
                  </a:lnTo>
                  <a:lnTo>
                    <a:pt x="431" y="194"/>
                  </a:lnTo>
                  <a:lnTo>
                    <a:pt x="431" y="195"/>
                  </a:lnTo>
                  <a:lnTo>
                    <a:pt x="430" y="195"/>
                  </a:lnTo>
                  <a:lnTo>
                    <a:pt x="429" y="196"/>
                  </a:lnTo>
                  <a:lnTo>
                    <a:pt x="428" y="196"/>
                  </a:lnTo>
                  <a:lnTo>
                    <a:pt x="427" y="196"/>
                  </a:lnTo>
                  <a:lnTo>
                    <a:pt x="425" y="197"/>
                  </a:lnTo>
                  <a:lnTo>
                    <a:pt x="423" y="197"/>
                  </a:lnTo>
                  <a:lnTo>
                    <a:pt x="420" y="197"/>
                  </a:lnTo>
                  <a:lnTo>
                    <a:pt x="419" y="198"/>
                  </a:lnTo>
                  <a:lnTo>
                    <a:pt x="418" y="198"/>
                  </a:lnTo>
                  <a:lnTo>
                    <a:pt x="417" y="198"/>
                  </a:lnTo>
                  <a:lnTo>
                    <a:pt x="415" y="199"/>
                  </a:lnTo>
                  <a:lnTo>
                    <a:pt x="415" y="199"/>
                  </a:lnTo>
                  <a:lnTo>
                    <a:pt x="414" y="200"/>
                  </a:lnTo>
                  <a:lnTo>
                    <a:pt x="414" y="200"/>
                  </a:lnTo>
                  <a:lnTo>
                    <a:pt x="413" y="201"/>
                  </a:lnTo>
                  <a:lnTo>
                    <a:pt x="413" y="202"/>
                  </a:lnTo>
                  <a:lnTo>
                    <a:pt x="412" y="203"/>
                  </a:lnTo>
                  <a:lnTo>
                    <a:pt x="411" y="204"/>
                  </a:lnTo>
                  <a:lnTo>
                    <a:pt x="410" y="207"/>
                  </a:lnTo>
                  <a:lnTo>
                    <a:pt x="409" y="208"/>
                  </a:lnTo>
                  <a:lnTo>
                    <a:pt x="409" y="208"/>
                  </a:lnTo>
                  <a:lnTo>
                    <a:pt x="407" y="211"/>
                  </a:lnTo>
                  <a:lnTo>
                    <a:pt x="406" y="212"/>
                  </a:lnTo>
                  <a:lnTo>
                    <a:pt x="405" y="213"/>
                  </a:lnTo>
                  <a:lnTo>
                    <a:pt x="404" y="214"/>
                  </a:lnTo>
                  <a:lnTo>
                    <a:pt x="404" y="215"/>
                  </a:lnTo>
                  <a:lnTo>
                    <a:pt x="404" y="216"/>
                  </a:lnTo>
                  <a:lnTo>
                    <a:pt x="404" y="217"/>
                  </a:lnTo>
                  <a:lnTo>
                    <a:pt x="404" y="220"/>
                  </a:lnTo>
                  <a:lnTo>
                    <a:pt x="403" y="222"/>
                  </a:lnTo>
                  <a:lnTo>
                    <a:pt x="403" y="224"/>
                  </a:lnTo>
                  <a:lnTo>
                    <a:pt x="403" y="226"/>
                  </a:lnTo>
                  <a:lnTo>
                    <a:pt x="402" y="229"/>
                  </a:lnTo>
                  <a:lnTo>
                    <a:pt x="402" y="230"/>
                  </a:lnTo>
                  <a:lnTo>
                    <a:pt x="402" y="231"/>
                  </a:lnTo>
                  <a:lnTo>
                    <a:pt x="402" y="232"/>
                  </a:lnTo>
                  <a:lnTo>
                    <a:pt x="402" y="232"/>
                  </a:lnTo>
                  <a:lnTo>
                    <a:pt x="402" y="233"/>
                  </a:lnTo>
                  <a:lnTo>
                    <a:pt x="402" y="233"/>
                  </a:lnTo>
                  <a:lnTo>
                    <a:pt x="403" y="234"/>
                  </a:lnTo>
                  <a:lnTo>
                    <a:pt x="403" y="234"/>
                  </a:lnTo>
                  <a:lnTo>
                    <a:pt x="404" y="235"/>
                  </a:lnTo>
                  <a:lnTo>
                    <a:pt x="407" y="237"/>
                  </a:lnTo>
                  <a:lnTo>
                    <a:pt x="412" y="241"/>
                  </a:lnTo>
                  <a:lnTo>
                    <a:pt x="412" y="241"/>
                  </a:lnTo>
                  <a:lnTo>
                    <a:pt x="413" y="241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2" y="243"/>
                  </a:lnTo>
                  <a:lnTo>
                    <a:pt x="411" y="243"/>
                  </a:lnTo>
                  <a:lnTo>
                    <a:pt x="411" y="244"/>
                  </a:lnTo>
                  <a:lnTo>
                    <a:pt x="411" y="244"/>
                  </a:lnTo>
                  <a:lnTo>
                    <a:pt x="410" y="244"/>
                  </a:lnTo>
                  <a:lnTo>
                    <a:pt x="410" y="245"/>
                  </a:lnTo>
                  <a:lnTo>
                    <a:pt x="410" y="245"/>
                  </a:lnTo>
                  <a:lnTo>
                    <a:pt x="410" y="245"/>
                  </a:lnTo>
                  <a:lnTo>
                    <a:pt x="411" y="246"/>
                  </a:lnTo>
                  <a:lnTo>
                    <a:pt x="411" y="246"/>
                  </a:lnTo>
                  <a:lnTo>
                    <a:pt x="412" y="247"/>
                  </a:lnTo>
                  <a:lnTo>
                    <a:pt x="413" y="247"/>
                  </a:lnTo>
                  <a:lnTo>
                    <a:pt x="413" y="247"/>
                  </a:lnTo>
                  <a:lnTo>
                    <a:pt x="414" y="248"/>
                  </a:lnTo>
                  <a:lnTo>
                    <a:pt x="415" y="248"/>
                  </a:lnTo>
                  <a:lnTo>
                    <a:pt x="418" y="249"/>
                  </a:lnTo>
                  <a:lnTo>
                    <a:pt x="419" y="249"/>
                  </a:lnTo>
                  <a:lnTo>
                    <a:pt x="419" y="249"/>
                  </a:lnTo>
                  <a:lnTo>
                    <a:pt x="419" y="250"/>
                  </a:lnTo>
                  <a:lnTo>
                    <a:pt x="420" y="250"/>
                  </a:lnTo>
                  <a:lnTo>
                    <a:pt x="420" y="250"/>
                  </a:lnTo>
                  <a:lnTo>
                    <a:pt x="420" y="251"/>
                  </a:lnTo>
                  <a:lnTo>
                    <a:pt x="420" y="252"/>
                  </a:lnTo>
                  <a:lnTo>
                    <a:pt x="420" y="252"/>
                  </a:lnTo>
                  <a:lnTo>
                    <a:pt x="420" y="253"/>
                  </a:lnTo>
                  <a:lnTo>
                    <a:pt x="420" y="253"/>
                  </a:lnTo>
                  <a:lnTo>
                    <a:pt x="420" y="254"/>
                  </a:lnTo>
                  <a:lnTo>
                    <a:pt x="419" y="255"/>
                  </a:lnTo>
                  <a:lnTo>
                    <a:pt x="419" y="256"/>
                  </a:lnTo>
                  <a:lnTo>
                    <a:pt x="418" y="258"/>
                  </a:lnTo>
                  <a:lnTo>
                    <a:pt x="415" y="261"/>
                  </a:lnTo>
                  <a:lnTo>
                    <a:pt x="415" y="262"/>
                  </a:lnTo>
                  <a:lnTo>
                    <a:pt x="414" y="262"/>
                  </a:lnTo>
                  <a:lnTo>
                    <a:pt x="414" y="263"/>
                  </a:lnTo>
                  <a:lnTo>
                    <a:pt x="414" y="264"/>
                  </a:lnTo>
                  <a:lnTo>
                    <a:pt x="414" y="265"/>
                  </a:lnTo>
                  <a:lnTo>
                    <a:pt x="414" y="266"/>
                  </a:lnTo>
                  <a:lnTo>
                    <a:pt x="414" y="266"/>
                  </a:lnTo>
                  <a:lnTo>
                    <a:pt x="414" y="267"/>
                  </a:lnTo>
                  <a:lnTo>
                    <a:pt x="414" y="268"/>
                  </a:lnTo>
                  <a:lnTo>
                    <a:pt x="415" y="269"/>
                  </a:lnTo>
                  <a:lnTo>
                    <a:pt x="415" y="269"/>
                  </a:lnTo>
                  <a:lnTo>
                    <a:pt x="417" y="271"/>
                  </a:lnTo>
                  <a:lnTo>
                    <a:pt x="418" y="272"/>
                  </a:lnTo>
                  <a:lnTo>
                    <a:pt x="418" y="273"/>
                  </a:lnTo>
                  <a:lnTo>
                    <a:pt x="418" y="274"/>
                  </a:lnTo>
                  <a:lnTo>
                    <a:pt x="419" y="274"/>
                  </a:lnTo>
                  <a:lnTo>
                    <a:pt x="419" y="275"/>
                  </a:lnTo>
                  <a:lnTo>
                    <a:pt x="419" y="275"/>
                  </a:lnTo>
                  <a:lnTo>
                    <a:pt x="419" y="276"/>
                  </a:lnTo>
                  <a:lnTo>
                    <a:pt x="418" y="276"/>
                  </a:lnTo>
                  <a:lnTo>
                    <a:pt x="418" y="277"/>
                  </a:lnTo>
                  <a:lnTo>
                    <a:pt x="418" y="277"/>
                  </a:lnTo>
                  <a:lnTo>
                    <a:pt x="417" y="278"/>
                  </a:lnTo>
                  <a:lnTo>
                    <a:pt x="416" y="278"/>
                  </a:lnTo>
                  <a:lnTo>
                    <a:pt x="414" y="280"/>
                  </a:lnTo>
                  <a:lnTo>
                    <a:pt x="413" y="281"/>
                  </a:lnTo>
                  <a:lnTo>
                    <a:pt x="412" y="281"/>
                  </a:lnTo>
                  <a:lnTo>
                    <a:pt x="411" y="283"/>
                  </a:lnTo>
                  <a:lnTo>
                    <a:pt x="410" y="284"/>
                  </a:lnTo>
                  <a:lnTo>
                    <a:pt x="409" y="285"/>
                  </a:lnTo>
                  <a:lnTo>
                    <a:pt x="409" y="286"/>
                  </a:lnTo>
                  <a:lnTo>
                    <a:pt x="409" y="287"/>
                  </a:lnTo>
                  <a:lnTo>
                    <a:pt x="408" y="288"/>
                  </a:lnTo>
                  <a:lnTo>
                    <a:pt x="408" y="289"/>
                  </a:lnTo>
                  <a:lnTo>
                    <a:pt x="407" y="290"/>
                  </a:lnTo>
                  <a:lnTo>
                    <a:pt x="407" y="291"/>
                  </a:lnTo>
                  <a:lnTo>
                    <a:pt x="407" y="292"/>
                  </a:lnTo>
                  <a:lnTo>
                    <a:pt x="407" y="293"/>
                  </a:lnTo>
                  <a:lnTo>
                    <a:pt x="407" y="294"/>
                  </a:lnTo>
                  <a:lnTo>
                    <a:pt x="407" y="295"/>
                  </a:lnTo>
                  <a:lnTo>
                    <a:pt x="407" y="295"/>
                  </a:lnTo>
                  <a:lnTo>
                    <a:pt x="407" y="296"/>
                  </a:lnTo>
                  <a:lnTo>
                    <a:pt x="407" y="296"/>
                  </a:lnTo>
                  <a:lnTo>
                    <a:pt x="408" y="297"/>
                  </a:lnTo>
                  <a:lnTo>
                    <a:pt x="408" y="297"/>
                  </a:lnTo>
                  <a:lnTo>
                    <a:pt x="409" y="298"/>
                  </a:lnTo>
                  <a:lnTo>
                    <a:pt x="410" y="299"/>
                  </a:lnTo>
                  <a:lnTo>
                    <a:pt x="412" y="301"/>
                  </a:lnTo>
                  <a:lnTo>
                    <a:pt x="414" y="301"/>
                  </a:lnTo>
                  <a:lnTo>
                    <a:pt x="414" y="302"/>
                  </a:lnTo>
                  <a:lnTo>
                    <a:pt x="414" y="303"/>
                  </a:lnTo>
                  <a:lnTo>
                    <a:pt x="415" y="303"/>
                  </a:lnTo>
                  <a:lnTo>
                    <a:pt x="415" y="304"/>
                  </a:lnTo>
                  <a:lnTo>
                    <a:pt x="415" y="304"/>
                  </a:lnTo>
                  <a:lnTo>
                    <a:pt x="416" y="305"/>
                  </a:lnTo>
                  <a:lnTo>
                    <a:pt x="416" y="305"/>
                  </a:lnTo>
                  <a:lnTo>
                    <a:pt x="416" y="306"/>
                  </a:lnTo>
                  <a:lnTo>
                    <a:pt x="416" y="308"/>
                  </a:lnTo>
                  <a:lnTo>
                    <a:pt x="416" y="309"/>
                  </a:lnTo>
                  <a:lnTo>
                    <a:pt x="416" y="310"/>
                  </a:lnTo>
                  <a:lnTo>
                    <a:pt x="416" y="311"/>
                  </a:lnTo>
                  <a:lnTo>
                    <a:pt x="416" y="311"/>
                  </a:lnTo>
                  <a:lnTo>
                    <a:pt x="415" y="312"/>
                  </a:lnTo>
                  <a:lnTo>
                    <a:pt x="414" y="313"/>
                  </a:lnTo>
                  <a:lnTo>
                    <a:pt x="413" y="314"/>
                  </a:lnTo>
                  <a:lnTo>
                    <a:pt x="412" y="314"/>
                  </a:lnTo>
                  <a:lnTo>
                    <a:pt x="411" y="315"/>
                  </a:lnTo>
                  <a:lnTo>
                    <a:pt x="409" y="316"/>
                  </a:lnTo>
                  <a:lnTo>
                    <a:pt x="408" y="316"/>
                  </a:lnTo>
                  <a:lnTo>
                    <a:pt x="408" y="317"/>
                  </a:lnTo>
                  <a:lnTo>
                    <a:pt x="407" y="317"/>
                  </a:lnTo>
                  <a:lnTo>
                    <a:pt x="407" y="318"/>
                  </a:lnTo>
                  <a:lnTo>
                    <a:pt x="406" y="318"/>
                  </a:lnTo>
                  <a:lnTo>
                    <a:pt x="406" y="319"/>
                  </a:lnTo>
                  <a:lnTo>
                    <a:pt x="406" y="320"/>
                  </a:lnTo>
                  <a:lnTo>
                    <a:pt x="405" y="320"/>
                  </a:lnTo>
                  <a:lnTo>
                    <a:pt x="405" y="321"/>
                  </a:lnTo>
                  <a:lnTo>
                    <a:pt x="405" y="322"/>
                  </a:lnTo>
                  <a:lnTo>
                    <a:pt x="405" y="322"/>
                  </a:lnTo>
                  <a:lnTo>
                    <a:pt x="406" y="325"/>
                  </a:lnTo>
                  <a:lnTo>
                    <a:pt x="406" y="326"/>
                  </a:lnTo>
                  <a:lnTo>
                    <a:pt x="407" y="327"/>
                  </a:lnTo>
                  <a:lnTo>
                    <a:pt x="407" y="327"/>
                  </a:lnTo>
                  <a:lnTo>
                    <a:pt x="407" y="328"/>
                  </a:lnTo>
                  <a:lnTo>
                    <a:pt x="406" y="329"/>
                  </a:lnTo>
                  <a:lnTo>
                    <a:pt x="406" y="329"/>
                  </a:lnTo>
                  <a:lnTo>
                    <a:pt x="406" y="330"/>
                  </a:lnTo>
                  <a:lnTo>
                    <a:pt x="405" y="330"/>
                  </a:lnTo>
                  <a:lnTo>
                    <a:pt x="405" y="331"/>
                  </a:lnTo>
                  <a:lnTo>
                    <a:pt x="404" y="331"/>
                  </a:lnTo>
                  <a:lnTo>
                    <a:pt x="404" y="332"/>
                  </a:lnTo>
                  <a:lnTo>
                    <a:pt x="403" y="332"/>
                  </a:lnTo>
                  <a:lnTo>
                    <a:pt x="402" y="333"/>
                  </a:lnTo>
                  <a:lnTo>
                    <a:pt x="401" y="333"/>
                  </a:lnTo>
                  <a:lnTo>
                    <a:pt x="400" y="333"/>
                  </a:lnTo>
                  <a:lnTo>
                    <a:pt x="400" y="333"/>
                  </a:lnTo>
                  <a:lnTo>
                    <a:pt x="400" y="334"/>
                  </a:lnTo>
                  <a:lnTo>
                    <a:pt x="400" y="334"/>
                  </a:lnTo>
                  <a:lnTo>
                    <a:pt x="400" y="334"/>
                  </a:lnTo>
                  <a:lnTo>
                    <a:pt x="399" y="334"/>
                  </a:lnTo>
                  <a:lnTo>
                    <a:pt x="400" y="335"/>
                  </a:lnTo>
                  <a:lnTo>
                    <a:pt x="400" y="336"/>
                  </a:lnTo>
                  <a:lnTo>
                    <a:pt x="400" y="336"/>
                  </a:lnTo>
                  <a:lnTo>
                    <a:pt x="401" y="337"/>
                  </a:lnTo>
                  <a:lnTo>
                    <a:pt x="402" y="339"/>
                  </a:lnTo>
                  <a:lnTo>
                    <a:pt x="404" y="339"/>
                  </a:lnTo>
                  <a:lnTo>
                    <a:pt x="406" y="342"/>
                  </a:lnTo>
                  <a:lnTo>
                    <a:pt x="407" y="343"/>
                  </a:lnTo>
                  <a:lnTo>
                    <a:pt x="408" y="344"/>
                  </a:lnTo>
                  <a:lnTo>
                    <a:pt x="409" y="344"/>
                  </a:lnTo>
                  <a:lnTo>
                    <a:pt x="409" y="345"/>
                  </a:lnTo>
                  <a:lnTo>
                    <a:pt x="409" y="346"/>
                  </a:lnTo>
                  <a:lnTo>
                    <a:pt x="409" y="346"/>
                  </a:lnTo>
                  <a:lnTo>
                    <a:pt x="409" y="347"/>
                  </a:lnTo>
                  <a:lnTo>
                    <a:pt x="409" y="348"/>
                  </a:lnTo>
                  <a:lnTo>
                    <a:pt x="409" y="348"/>
                  </a:lnTo>
                  <a:lnTo>
                    <a:pt x="409" y="349"/>
                  </a:lnTo>
                  <a:lnTo>
                    <a:pt x="408" y="349"/>
                  </a:lnTo>
                  <a:lnTo>
                    <a:pt x="408" y="350"/>
                  </a:lnTo>
                  <a:lnTo>
                    <a:pt x="407" y="350"/>
                  </a:lnTo>
                  <a:lnTo>
                    <a:pt x="405" y="352"/>
                  </a:lnTo>
                  <a:lnTo>
                    <a:pt x="405" y="353"/>
                  </a:lnTo>
                  <a:lnTo>
                    <a:pt x="404" y="353"/>
                  </a:lnTo>
                  <a:lnTo>
                    <a:pt x="404" y="354"/>
                  </a:lnTo>
                  <a:lnTo>
                    <a:pt x="404" y="354"/>
                  </a:lnTo>
                  <a:lnTo>
                    <a:pt x="403" y="356"/>
                  </a:lnTo>
                  <a:lnTo>
                    <a:pt x="403" y="357"/>
                  </a:lnTo>
                  <a:lnTo>
                    <a:pt x="402" y="358"/>
                  </a:lnTo>
                  <a:lnTo>
                    <a:pt x="401" y="359"/>
                  </a:lnTo>
                  <a:lnTo>
                    <a:pt x="401" y="359"/>
                  </a:lnTo>
                  <a:lnTo>
                    <a:pt x="400" y="360"/>
                  </a:lnTo>
                  <a:lnTo>
                    <a:pt x="400" y="360"/>
                  </a:lnTo>
                  <a:lnTo>
                    <a:pt x="399" y="361"/>
                  </a:lnTo>
                  <a:lnTo>
                    <a:pt x="399" y="361"/>
                  </a:lnTo>
                  <a:lnTo>
                    <a:pt x="398" y="362"/>
                  </a:lnTo>
                  <a:lnTo>
                    <a:pt x="397" y="362"/>
                  </a:lnTo>
                  <a:lnTo>
                    <a:pt x="397" y="362"/>
                  </a:lnTo>
                  <a:lnTo>
                    <a:pt x="395" y="363"/>
                  </a:lnTo>
                  <a:lnTo>
                    <a:pt x="393" y="363"/>
                  </a:lnTo>
                  <a:lnTo>
                    <a:pt x="390" y="363"/>
                  </a:lnTo>
                  <a:lnTo>
                    <a:pt x="386" y="364"/>
                  </a:lnTo>
                  <a:lnTo>
                    <a:pt x="385" y="364"/>
                  </a:lnTo>
                  <a:lnTo>
                    <a:pt x="383" y="364"/>
                  </a:lnTo>
                  <a:lnTo>
                    <a:pt x="382" y="365"/>
                  </a:lnTo>
                  <a:lnTo>
                    <a:pt x="381" y="365"/>
                  </a:lnTo>
                  <a:lnTo>
                    <a:pt x="380" y="366"/>
                  </a:lnTo>
                  <a:lnTo>
                    <a:pt x="379" y="366"/>
                  </a:lnTo>
                  <a:lnTo>
                    <a:pt x="378" y="367"/>
                  </a:lnTo>
                  <a:lnTo>
                    <a:pt x="378" y="368"/>
                  </a:lnTo>
                  <a:lnTo>
                    <a:pt x="377" y="368"/>
                  </a:lnTo>
                  <a:lnTo>
                    <a:pt x="377" y="369"/>
                  </a:lnTo>
                  <a:lnTo>
                    <a:pt x="377" y="370"/>
                  </a:lnTo>
                  <a:lnTo>
                    <a:pt x="377" y="371"/>
                  </a:lnTo>
                  <a:lnTo>
                    <a:pt x="377" y="373"/>
                  </a:lnTo>
                  <a:lnTo>
                    <a:pt x="377" y="373"/>
                  </a:lnTo>
                  <a:lnTo>
                    <a:pt x="377" y="374"/>
                  </a:lnTo>
                  <a:lnTo>
                    <a:pt x="377" y="374"/>
                  </a:lnTo>
                  <a:lnTo>
                    <a:pt x="376" y="375"/>
                  </a:lnTo>
                  <a:lnTo>
                    <a:pt x="376" y="375"/>
                  </a:lnTo>
                  <a:lnTo>
                    <a:pt x="376" y="376"/>
                  </a:lnTo>
                  <a:lnTo>
                    <a:pt x="375" y="376"/>
                  </a:lnTo>
                  <a:lnTo>
                    <a:pt x="372" y="378"/>
                  </a:lnTo>
                  <a:lnTo>
                    <a:pt x="372" y="378"/>
                  </a:lnTo>
                  <a:lnTo>
                    <a:pt x="371" y="378"/>
                  </a:lnTo>
                  <a:lnTo>
                    <a:pt x="370" y="379"/>
                  </a:lnTo>
                  <a:lnTo>
                    <a:pt x="368" y="379"/>
                  </a:lnTo>
                  <a:lnTo>
                    <a:pt x="364" y="380"/>
                  </a:lnTo>
                  <a:lnTo>
                    <a:pt x="362" y="380"/>
                  </a:lnTo>
                  <a:lnTo>
                    <a:pt x="361" y="380"/>
                  </a:lnTo>
                  <a:lnTo>
                    <a:pt x="360" y="380"/>
                  </a:lnTo>
                  <a:lnTo>
                    <a:pt x="358" y="380"/>
                  </a:lnTo>
                  <a:lnTo>
                    <a:pt x="356" y="380"/>
                  </a:lnTo>
                  <a:lnTo>
                    <a:pt x="355" y="379"/>
                  </a:lnTo>
                  <a:lnTo>
                    <a:pt x="352" y="379"/>
                  </a:lnTo>
                  <a:lnTo>
                    <a:pt x="351" y="379"/>
                  </a:lnTo>
                  <a:lnTo>
                    <a:pt x="349" y="378"/>
                  </a:lnTo>
                  <a:lnTo>
                    <a:pt x="348" y="378"/>
                  </a:lnTo>
                  <a:lnTo>
                    <a:pt x="347" y="378"/>
                  </a:lnTo>
                  <a:lnTo>
                    <a:pt x="346" y="378"/>
                  </a:lnTo>
                  <a:lnTo>
                    <a:pt x="346" y="379"/>
                  </a:lnTo>
                  <a:lnTo>
                    <a:pt x="345" y="379"/>
                  </a:lnTo>
                  <a:lnTo>
                    <a:pt x="344" y="380"/>
                  </a:lnTo>
                  <a:lnTo>
                    <a:pt x="343" y="381"/>
                  </a:lnTo>
                  <a:lnTo>
                    <a:pt x="341" y="382"/>
                  </a:lnTo>
                  <a:lnTo>
                    <a:pt x="340" y="382"/>
                  </a:lnTo>
                  <a:lnTo>
                    <a:pt x="339" y="383"/>
                  </a:lnTo>
                  <a:lnTo>
                    <a:pt x="338" y="383"/>
                  </a:lnTo>
                  <a:lnTo>
                    <a:pt x="336" y="383"/>
                  </a:lnTo>
                  <a:lnTo>
                    <a:pt x="335" y="383"/>
                  </a:lnTo>
                  <a:lnTo>
                    <a:pt x="335" y="383"/>
                  </a:lnTo>
                  <a:lnTo>
                    <a:pt x="334" y="383"/>
                  </a:lnTo>
                  <a:lnTo>
                    <a:pt x="333" y="382"/>
                  </a:lnTo>
                  <a:lnTo>
                    <a:pt x="332" y="382"/>
                  </a:lnTo>
                  <a:lnTo>
                    <a:pt x="331" y="381"/>
                  </a:lnTo>
                  <a:lnTo>
                    <a:pt x="329" y="379"/>
                  </a:lnTo>
                  <a:lnTo>
                    <a:pt x="328" y="379"/>
                  </a:lnTo>
                  <a:lnTo>
                    <a:pt x="327" y="378"/>
                  </a:lnTo>
                  <a:lnTo>
                    <a:pt x="327" y="378"/>
                  </a:lnTo>
                  <a:lnTo>
                    <a:pt x="326" y="376"/>
                  </a:lnTo>
                  <a:lnTo>
                    <a:pt x="325" y="375"/>
                  </a:lnTo>
                  <a:lnTo>
                    <a:pt x="325" y="375"/>
                  </a:lnTo>
                  <a:lnTo>
                    <a:pt x="324" y="374"/>
                  </a:lnTo>
                  <a:lnTo>
                    <a:pt x="324" y="374"/>
                  </a:lnTo>
                  <a:lnTo>
                    <a:pt x="323" y="374"/>
                  </a:lnTo>
                  <a:lnTo>
                    <a:pt x="323" y="374"/>
                  </a:lnTo>
                  <a:lnTo>
                    <a:pt x="322" y="374"/>
                  </a:lnTo>
                  <a:lnTo>
                    <a:pt x="322" y="374"/>
                  </a:lnTo>
                  <a:lnTo>
                    <a:pt x="320" y="374"/>
                  </a:lnTo>
                  <a:lnTo>
                    <a:pt x="320" y="375"/>
                  </a:lnTo>
                  <a:lnTo>
                    <a:pt x="318" y="375"/>
                  </a:lnTo>
                  <a:lnTo>
                    <a:pt x="317" y="376"/>
                  </a:lnTo>
                  <a:lnTo>
                    <a:pt x="317" y="376"/>
                  </a:lnTo>
                  <a:lnTo>
                    <a:pt x="316" y="376"/>
                  </a:lnTo>
                  <a:lnTo>
                    <a:pt x="316" y="377"/>
                  </a:lnTo>
                  <a:lnTo>
                    <a:pt x="314" y="379"/>
                  </a:lnTo>
                  <a:lnTo>
                    <a:pt x="313" y="380"/>
                  </a:lnTo>
                  <a:lnTo>
                    <a:pt x="312" y="380"/>
                  </a:lnTo>
                  <a:lnTo>
                    <a:pt x="312" y="381"/>
                  </a:lnTo>
                  <a:lnTo>
                    <a:pt x="311" y="381"/>
                  </a:lnTo>
                  <a:lnTo>
                    <a:pt x="310" y="382"/>
                  </a:lnTo>
                  <a:lnTo>
                    <a:pt x="310" y="382"/>
                  </a:lnTo>
                  <a:lnTo>
                    <a:pt x="309" y="382"/>
                  </a:lnTo>
                  <a:lnTo>
                    <a:pt x="309" y="382"/>
                  </a:lnTo>
                  <a:lnTo>
                    <a:pt x="308" y="382"/>
                  </a:lnTo>
                  <a:lnTo>
                    <a:pt x="307" y="382"/>
                  </a:lnTo>
                  <a:lnTo>
                    <a:pt x="305" y="382"/>
                  </a:lnTo>
                  <a:lnTo>
                    <a:pt x="304" y="382"/>
                  </a:lnTo>
                  <a:lnTo>
                    <a:pt x="304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2" y="383"/>
                  </a:lnTo>
                  <a:lnTo>
                    <a:pt x="302" y="383"/>
                  </a:lnTo>
                  <a:lnTo>
                    <a:pt x="301" y="383"/>
                  </a:lnTo>
                  <a:lnTo>
                    <a:pt x="301" y="384"/>
                  </a:lnTo>
                  <a:lnTo>
                    <a:pt x="300" y="385"/>
                  </a:lnTo>
                  <a:lnTo>
                    <a:pt x="300" y="386"/>
                  </a:lnTo>
                  <a:lnTo>
                    <a:pt x="299" y="389"/>
                  </a:lnTo>
                  <a:lnTo>
                    <a:pt x="298" y="390"/>
                  </a:lnTo>
                  <a:lnTo>
                    <a:pt x="298" y="390"/>
                  </a:lnTo>
                  <a:lnTo>
                    <a:pt x="298" y="391"/>
                  </a:lnTo>
                  <a:lnTo>
                    <a:pt x="297" y="392"/>
                  </a:lnTo>
                  <a:lnTo>
                    <a:pt x="297" y="392"/>
                  </a:lnTo>
                  <a:lnTo>
                    <a:pt x="296" y="392"/>
                  </a:lnTo>
                  <a:lnTo>
                    <a:pt x="295" y="393"/>
                  </a:lnTo>
                  <a:lnTo>
                    <a:pt x="295" y="393"/>
                  </a:lnTo>
                  <a:lnTo>
                    <a:pt x="293" y="393"/>
                  </a:lnTo>
                  <a:lnTo>
                    <a:pt x="291" y="393"/>
                  </a:lnTo>
                  <a:lnTo>
                    <a:pt x="290" y="393"/>
                  </a:lnTo>
                  <a:lnTo>
                    <a:pt x="288" y="393"/>
                  </a:lnTo>
                  <a:lnTo>
                    <a:pt x="286" y="393"/>
                  </a:lnTo>
                  <a:lnTo>
                    <a:pt x="285" y="394"/>
                  </a:lnTo>
                  <a:lnTo>
                    <a:pt x="282" y="395"/>
                  </a:lnTo>
                  <a:lnTo>
                    <a:pt x="281" y="395"/>
                  </a:lnTo>
                  <a:lnTo>
                    <a:pt x="279" y="396"/>
                  </a:lnTo>
                  <a:lnTo>
                    <a:pt x="278" y="397"/>
                  </a:lnTo>
                  <a:lnTo>
                    <a:pt x="277" y="397"/>
                  </a:lnTo>
                  <a:lnTo>
                    <a:pt x="277" y="398"/>
                  </a:lnTo>
                  <a:lnTo>
                    <a:pt x="276" y="399"/>
                  </a:lnTo>
                  <a:lnTo>
                    <a:pt x="275" y="400"/>
                  </a:lnTo>
                  <a:lnTo>
                    <a:pt x="274" y="402"/>
                  </a:lnTo>
                  <a:lnTo>
                    <a:pt x="272" y="403"/>
                  </a:lnTo>
                  <a:lnTo>
                    <a:pt x="271" y="404"/>
                  </a:lnTo>
                  <a:lnTo>
                    <a:pt x="270" y="405"/>
                  </a:lnTo>
                  <a:lnTo>
                    <a:pt x="269" y="406"/>
                  </a:lnTo>
                  <a:lnTo>
                    <a:pt x="268" y="407"/>
                  </a:lnTo>
                  <a:lnTo>
                    <a:pt x="266" y="408"/>
                  </a:lnTo>
                  <a:lnTo>
                    <a:pt x="265" y="409"/>
                  </a:lnTo>
                  <a:lnTo>
                    <a:pt x="264" y="409"/>
                  </a:lnTo>
                  <a:lnTo>
                    <a:pt x="263" y="410"/>
                  </a:lnTo>
                  <a:lnTo>
                    <a:pt x="263" y="410"/>
                  </a:lnTo>
                  <a:lnTo>
                    <a:pt x="261" y="412"/>
                  </a:lnTo>
                  <a:lnTo>
                    <a:pt x="259" y="414"/>
                  </a:lnTo>
                  <a:lnTo>
                    <a:pt x="259" y="414"/>
                  </a:lnTo>
                  <a:lnTo>
                    <a:pt x="258" y="416"/>
                  </a:lnTo>
                  <a:lnTo>
                    <a:pt x="256" y="418"/>
                  </a:lnTo>
                  <a:lnTo>
                    <a:pt x="256" y="418"/>
                  </a:lnTo>
                  <a:lnTo>
                    <a:pt x="255" y="419"/>
                  </a:lnTo>
                  <a:lnTo>
                    <a:pt x="255" y="419"/>
                  </a:lnTo>
                  <a:lnTo>
                    <a:pt x="254" y="419"/>
                  </a:lnTo>
                  <a:lnTo>
                    <a:pt x="254" y="419"/>
                  </a:lnTo>
                  <a:lnTo>
                    <a:pt x="253" y="419"/>
                  </a:lnTo>
                  <a:lnTo>
                    <a:pt x="253" y="419"/>
                  </a:lnTo>
                  <a:lnTo>
                    <a:pt x="252" y="419"/>
                  </a:lnTo>
                  <a:lnTo>
                    <a:pt x="251" y="419"/>
                  </a:lnTo>
                  <a:lnTo>
                    <a:pt x="249" y="417"/>
                  </a:lnTo>
                  <a:lnTo>
                    <a:pt x="248" y="417"/>
                  </a:lnTo>
                  <a:lnTo>
                    <a:pt x="247" y="416"/>
                  </a:lnTo>
                  <a:lnTo>
                    <a:pt x="246" y="416"/>
                  </a:lnTo>
                  <a:lnTo>
                    <a:pt x="245" y="415"/>
                  </a:lnTo>
                  <a:lnTo>
                    <a:pt x="244" y="415"/>
                  </a:lnTo>
                  <a:lnTo>
                    <a:pt x="243" y="415"/>
                  </a:lnTo>
                  <a:lnTo>
                    <a:pt x="242" y="415"/>
                  </a:lnTo>
                  <a:lnTo>
                    <a:pt x="238" y="416"/>
                  </a:lnTo>
                  <a:lnTo>
                    <a:pt x="237" y="416"/>
                  </a:lnTo>
                  <a:lnTo>
                    <a:pt x="236" y="416"/>
                  </a:lnTo>
                  <a:lnTo>
                    <a:pt x="236" y="416"/>
                  </a:lnTo>
                  <a:lnTo>
                    <a:pt x="235" y="416"/>
                  </a:lnTo>
                  <a:lnTo>
                    <a:pt x="235" y="417"/>
                  </a:lnTo>
                  <a:lnTo>
                    <a:pt x="235" y="417"/>
                  </a:lnTo>
                  <a:lnTo>
                    <a:pt x="234" y="417"/>
                  </a:lnTo>
                  <a:lnTo>
                    <a:pt x="232" y="420"/>
                  </a:lnTo>
                  <a:lnTo>
                    <a:pt x="231" y="422"/>
                  </a:lnTo>
                  <a:lnTo>
                    <a:pt x="231" y="422"/>
                  </a:lnTo>
                  <a:lnTo>
                    <a:pt x="230" y="423"/>
                  </a:lnTo>
                  <a:lnTo>
                    <a:pt x="229" y="424"/>
                  </a:lnTo>
                  <a:lnTo>
                    <a:pt x="229" y="424"/>
                  </a:lnTo>
                  <a:lnTo>
                    <a:pt x="228" y="425"/>
                  </a:lnTo>
                  <a:lnTo>
                    <a:pt x="228" y="425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26" y="425"/>
                  </a:lnTo>
                  <a:lnTo>
                    <a:pt x="225" y="425"/>
                  </a:lnTo>
                  <a:lnTo>
                    <a:pt x="224" y="424"/>
                  </a:lnTo>
                  <a:lnTo>
                    <a:pt x="223" y="424"/>
                  </a:lnTo>
                  <a:lnTo>
                    <a:pt x="222" y="424"/>
                  </a:lnTo>
                  <a:lnTo>
                    <a:pt x="222" y="423"/>
                  </a:lnTo>
                  <a:lnTo>
                    <a:pt x="220" y="422"/>
                  </a:lnTo>
                  <a:lnTo>
                    <a:pt x="219" y="421"/>
                  </a:lnTo>
                  <a:lnTo>
                    <a:pt x="218" y="421"/>
                  </a:lnTo>
                  <a:lnTo>
                    <a:pt x="217" y="421"/>
                  </a:lnTo>
                  <a:lnTo>
                    <a:pt x="217" y="421"/>
                  </a:lnTo>
                  <a:lnTo>
                    <a:pt x="216" y="421"/>
                  </a:lnTo>
                  <a:lnTo>
                    <a:pt x="215" y="421"/>
                  </a:lnTo>
                  <a:lnTo>
                    <a:pt x="214" y="421"/>
                  </a:lnTo>
                  <a:lnTo>
                    <a:pt x="213" y="421"/>
                  </a:lnTo>
                  <a:lnTo>
                    <a:pt x="212" y="421"/>
                  </a:lnTo>
                  <a:lnTo>
                    <a:pt x="211" y="422"/>
                  </a:lnTo>
                  <a:lnTo>
                    <a:pt x="211" y="422"/>
                  </a:lnTo>
                  <a:lnTo>
                    <a:pt x="210" y="422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2"/>
                  </a:lnTo>
                  <a:lnTo>
                    <a:pt x="209" y="421"/>
                  </a:lnTo>
                  <a:lnTo>
                    <a:pt x="208" y="419"/>
                  </a:lnTo>
                  <a:lnTo>
                    <a:pt x="208" y="418"/>
                  </a:lnTo>
                  <a:lnTo>
                    <a:pt x="207" y="418"/>
                  </a:lnTo>
                  <a:lnTo>
                    <a:pt x="207" y="417"/>
                  </a:lnTo>
                  <a:lnTo>
                    <a:pt x="206" y="416"/>
                  </a:lnTo>
                  <a:lnTo>
                    <a:pt x="206" y="416"/>
                  </a:lnTo>
                  <a:lnTo>
                    <a:pt x="205" y="415"/>
                  </a:lnTo>
                  <a:lnTo>
                    <a:pt x="203" y="414"/>
                  </a:lnTo>
                  <a:lnTo>
                    <a:pt x="202" y="413"/>
                  </a:lnTo>
                  <a:lnTo>
                    <a:pt x="201" y="412"/>
                  </a:lnTo>
                  <a:lnTo>
                    <a:pt x="199" y="412"/>
                  </a:lnTo>
                  <a:lnTo>
                    <a:pt x="197" y="411"/>
                  </a:lnTo>
                  <a:lnTo>
                    <a:pt x="196" y="410"/>
                  </a:lnTo>
                  <a:lnTo>
                    <a:pt x="195" y="410"/>
                  </a:lnTo>
                  <a:lnTo>
                    <a:pt x="194" y="409"/>
                  </a:lnTo>
                  <a:lnTo>
                    <a:pt x="193" y="408"/>
                  </a:lnTo>
                  <a:lnTo>
                    <a:pt x="192" y="407"/>
                  </a:lnTo>
                  <a:lnTo>
                    <a:pt x="192" y="407"/>
                  </a:lnTo>
                  <a:lnTo>
                    <a:pt x="191" y="404"/>
                  </a:lnTo>
                  <a:lnTo>
                    <a:pt x="190" y="404"/>
                  </a:lnTo>
                  <a:lnTo>
                    <a:pt x="190" y="403"/>
                  </a:lnTo>
                  <a:lnTo>
                    <a:pt x="189" y="402"/>
                  </a:lnTo>
                  <a:lnTo>
                    <a:pt x="189" y="402"/>
                  </a:lnTo>
                  <a:lnTo>
                    <a:pt x="188" y="402"/>
                  </a:lnTo>
                  <a:lnTo>
                    <a:pt x="187" y="402"/>
                  </a:lnTo>
                  <a:lnTo>
                    <a:pt x="187" y="402"/>
                  </a:lnTo>
                  <a:lnTo>
                    <a:pt x="186" y="402"/>
                  </a:lnTo>
                  <a:lnTo>
                    <a:pt x="184" y="401"/>
                  </a:lnTo>
                  <a:lnTo>
                    <a:pt x="183" y="401"/>
                  </a:lnTo>
                  <a:lnTo>
                    <a:pt x="183" y="401"/>
                  </a:lnTo>
                  <a:lnTo>
                    <a:pt x="183" y="401"/>
                  </a:lnTo>
                  <a:lnTo>
                    <a:pt x="182" y="401"/>
                  </a:lnTo>
                  <a:lnTo>
                    <a:pt x="182" y="400"/>
                  </a:lnTo>
                  <a:lnTo>
                    <a:pt x="182" y="400"/>
                  </a:lnTo>
                  <a:lnTo>
                    <a:pt x="182" y="399"/>
                  </a:lnTo>
                  <a:lnTo>
                    <a:pt x="182" y="399"/>
                  </a:lnTo>
                  <a:lnTo>
                    <a:pt x="182" y="398"/>
                  </a:lnTo>
                  <a:lnTo>
                    <a:pt x="182" y="398"/>
                  </a:lnTo>
                  <a:lnTo>
                    <a:pt x="183" y="397"/>
                  </a:lnTo>
                  <a:lnTo>
                    <a:pt x="184" y="396"/>
                  </a:lnTo>
                  <a:lnTo>
                    <a:pt x="185" y="394"/>
                  </a:lnTo>
                  <a:lnTo>
                    <a:pt x="186" y="393"/>
                  </a:lnTo>
                  <a:lnTo>
                    <a:pt x="187" y="392"/>
                  </a:lnTo>
                  <a:lnTo>
                    <a:pt x="188" y="391"/>
                  </a:lnTo>
                  <a:lnTo>
                    <a:pt x="190" y="388"/>
                  </a:lnTo>
                  <a:lnTo>
                    <a:pt x="191" y="388"/>
                  </a:lnTo>
                  <a:lnTo>
                    <a:pt x="191" y="387"/>
                  </a:lnTo>
                  <a:lnTo>
                    <a:pt x="192" y="386"/>
                  </a:lnTo>
                  <a:lnTo>
                    <a:pt x="192" y="385"/>
                  </a:lnTo>
                  <a:lnTo>
                    <a:pt x="193" y="383"/>
                  </a:lnTo>
                  <a:lnTo>
                    <a:pt x="193" y="382"/>
                  </a:lnTo>
                  <a:lnTo>
                    <a:pt x="194" y="381"/>
                  </a:lnTo>
                  <a:lnTo>
                    <a:pt x="196" y="379"/>
                  </a:lnTo>
                  <a:lnTo>
                    <a:pt x="196" y="378"/>
                  </a:lnTo>
                  <a:lnTo>
                    <a:pt x="196" y="377"/>
                  </a:lnTo>
                  <a:lnTo>
                    <a:pt x="196" y="377"/>
                  </a:lnTo>
                  <a:lnTo>
                    <a:pt x="197" y="376"/>
                  </a:lnTo>
                  <a:lnTo>
                    <a:pt x="197" y="374"/>
                  </a:lnTo>
                  <a:lnTo>
                    <a:pt x="197" y="373"/>
                  </a:lnTo>
                  <a:lnTo>
                    <a:pt x="198" y="372"/>
                  </a:lnTo>
                  <a:lnTo>
                    <a:pt x="198" y="371"/>
                  </a:lnTo>
                  <a:lnTo>
                    <a:pt x="199" y="369"/>
                  </a:lnTo>
                  <a:lnTo>
                    <a:pt x="200" y="368"/>
                  </a:lnTo>
                  <a:lnTo>
                    <a:pt x="201" y="367"/>
                  </a:lnTo>
                  <a:lnTo>
                    <a:pt x="201" y="366"/>
                  </a:lnTo>
                  <a:lnTo>
                    <a:pt x="202" y="366"/>
                  </a:lnTo>
                  <a:lnTo>
                    <a:pt x="202" y="366"/>
                  </a:lnTo>
                  <a:lnTo>
                    <a:pt x="202" y="365"/>
                  </a:lnTo>
                  <a:lnTo>
                    <a:pt x="203" y="365"/>
                  </a:lnTo>
                  <a:lnTo>
                    <a:pt x="206" y="365"/>
                  </a:lnTo>
                  <a:lnTo>
                    <a:pt x="208" y="364"/>
                  </a:lnTo>
                  <a:lnTo>
                    <a:pt x="209" y="364"/>
                  </a:lnTo>
                  <a:lnTo>
                    <a:pt x="210" y="363"/>
                  </a:lnTo>
                  <a:lnTo>
                    <a:pt x="210" y="363"/>
                  </a:lnTo>
                  <a:lnTo>
                    <a:pt x="211" y="363"/>
                  </a:lnTo>
                  <a:lnTo>
                    <a:pt x="211" y="362"/>
                  </a:lnTo>
                  <a:lnTo>
                    <a:pt x="211" y="362"/>
                  </a:lnTo>
                  <a:lnTo>
                    <a:pt x="212" y="361"/>
                  </a:lnTo>
                  <a:lnTo>
                    <a:pt x="212" y="360"/>
                  </a:lnTo>
                  <a:lnTo>
                    <a:pt x="212" y="359"/>
                  </a:lnTo>
                  <a:lnTo>
                    <a:pt x="212" y="358"/>
                  </a:lnTo>
                  <a:lnTo>
                    <a:pt x="212" y="358"/>
                  </a:lnTo>
                  <a:lnTo>
                    <a:pt x="212" y="357"/>
                  </a:lnTo>
                  <a:lnTo>
                    <a:pt x="212" y="356"/>
                  </a:lnTo>
                  <a:lnTo>
                    <a:pt x="211" y="355"/>
                  </a:lnTo>
                  <a:lnTo>
                    <a:pt x="209" y="352"/>
                  </a:lnTo>
                  <a:lnTo>
                    <a:pt x="209" y="352"/>
                  </a:lnTo>
                  <a:lnTo>
                    <a:pt x="208" y="351"/>
                  </a:lnTo>
                  <a:lnTo>
                    <a:pt x="207" y="351"/>
                  </a:lnTo>
                  <a:lnTo>
                    <a:pt x="206" y="349"/>
                  </a:lnTo>
                  <a:lnTo>
                    <a:pt x="204" y="349"/>
                  </a:lnTo>
                  <a:lnTo>
                    <a:pt x="204" y="348"/>
                  </a:lnTo>
                  <a:lnTo>
                    <a:pt x="203" y="347"/>
                  </a:lnTo>
                  <a:lnTo>
                    <a:pt x="203" y="347"/>
                  </a:lnTo>
                  <a:lnTo>
                    <a:pt x="202" y="346"/>
                  </a:lnTo>
                  <a:lnTo>
                    <a:pt x="202" y="346"/>
                  </a:lnTo>
                  <a:lnTo>
                    <a:pt x="202" y="345"/>
                  </a:lnTo>
                  <a:lnTo>
                    <a:pt x="202" y="345"/>
                  </a:lnTo>
                  <a:lnTo>
                    <a:pt x="202" y="344"/>
                  </a:lnTo>
                  <a:lnTo>
                    <a:pt x="202" y="343"/>
                  </a:lnTo>
                  <a:lnTo>
                    <a:pt x="203" y="343"/>
                  </a:lnTo>
                  <a:lnTo>
                    <a:pt x="202" y="342"/>
                  </a:lnTo>
                  <a:lnTo>
                    <a:pt x="202" y="342"/>
                  </a:lnTo>
                  <a:lnTo>
                    <a:pt x="202" y="341"/>
                  </a:lnTo>
                  <a:lnTo>
                    <a:pt x="202" y="340"/>
                  </a:lnTo>
                  <a:lnTo>
                    <a:pt x="201" y="340"/>
                  </a:lnTo>
                  <a:lnTo>
                    <a:pt x="201" y="340"/>
                  </a:lnTo>
                  <a:lnTo>
                    <a:pt x="200" y="339"/>
                  </a:lnTo>
                  <a:lnTo>
                    <a:pt x="199" y="339"/>
                  </a:lnTo>
                  <a:lnTo>
                    <a:pt x="198" y="338"/>
                  </a:lnTo>
                  <a:lnTo>
                    <a:pt x="198" y="338"/>
                  </a:lnTo>
                  <a:lnTo>
                    <a:pt x="197" y="338"/>
                  </a:lnTo>
                  <a:lnTo>
                    <a:pt x="197" y="338"/>
                  </a:lnTo>
                  <a:lnTo>
                    <a:pt x="196" y="338"/>
                  </a:lnTo>
                  <a:lnTo>
                    <a:pt x="196" y="338"/>
                  </a:lnTo>
                  <a:lnTo>
                    <a:pt x="195" y="338"/>
                  </a:lnTo>
                  <a:lnTo>
                    <a:pt x="195" y="338"/>
                  </a:lnTo>
                  <a:lnTo>
                    <a:pt x="193" y="339"/>
                  </a:lnTo>
                  <a:lnTo>
                    <a:pt x="193" y="339"/>
                  </a:lnTo>
                  <a:lnTo>
                    <a:pt x="192" y="339"/>
                  </a:lnTo>
                  <a:lnTo>
                    <a:pt x="190" y="340"/>
                  </a:lnTo>
                  <a:lnTo>
                    <a:pt x="188" y="340"/>
                  </a:lnTo>
                  <a:lnTo>
                    <a:pt x="187" y="340"/>
                  </a:lnTo>
                  <a:lnTo>
                    <a:pt x="184" y="341"/>
                  </a:lnTo>
                  <a:lnTo>
                    <a:pt x="183" y="342"/>
                  </a:lnTo>
                  <a:lnTo>
                    <a:pt x="182" y="342"/>
                  </a:lnTo>
                  <a:lnTo>
                    <a:pt x="181" y="342"/>
                  </a:lnTo>
                  <a:lnTo>
                    <a:pt x="179" y="342"/>
                  </a:lnTo>
                  <a:lnTo>
                    <a:pt x="177" y="342"/>
                  </a:lnTo>
                  <a:lnTo>
                    <a:pt x="175" y="342"/>
                  </a:lnTo>
                  <a:lnTo>
                    <a:pt x="173" y="342"/>
                  </a:lnTo>
                  <a:lnTo>
                    <a:pt x="172" y="342"/>
                  </a:lnTo>
                  <a:lnTo>
                    <a:pt x="171" y="342"/>
                  </a:lnTo>
                  <a:lnTo>
                    <a:pt x="168" y="341"/>
                  </a:lnTo>
                  <a:lnTo>
                    <a:pt x="167" y="341"/>
                  </a:lnTo>
                  <a:lnTo>
                    <a:pt x="166" y="340"/>
                  </a:lnTo>
                  <a:lnTo>
                    <a:pt x="166" y="340"/>
                  </a:lnTo>
                  <a:lnTo>
                    <a:pt x="165" y="340"/>
                  </a:lnTo>
                  <a:lnTo>
                    <a:pt x="164" y="341"/>
                  </a:lnTo>
                  <a:lnTo>
                    <a:pt x="163" y="341"/>
                  </a:lnTo>
                  <a:lnTo>
                    <a:pt x="161" y="341"/>
                  </a:lnTo>
                  <a:lnTo>
                    <a:pt x="161" y="342"/>
                  </a:lnTo>
                  <a:lnTo>
                    <a:pt x="161" y="342"/>
                  </a:lnTo>
                  <a:lnTo>
                    <a:pt x="160" y="342"/>
                  </a:lnTo>
                  <a:lnTo>
                    <a:pt x="160" y="342"/>
                  </a:lnTo>
                  <a:lnTo>
                    <a:pt x="159" y="342"/>
                  </a:lnTo>
                  <a:lnTo>
                    <a:pt x="159" y="341"/>
                  </a:lnTo>
                  <a:lnTo>
                    <a:pt x="156" y="340"/>
                  </a:lnTo>
                  <a:lnTo>
                    <a:pt x="152" y="337"/>
                  </a:lnTo>
                  <a:lnTo>
                    <a:pt x="150" y="336"/>
                  </a:lnTo>
                  <a:lnTo>
                    <a:pt x="148" y="335"/>
                  </a:lnTo>
                  <a:lnTo>
                    <a:pt x="148" y="334"/>
                  </a:lnTo>
                  <a:lnTo>
                    <a:pt x="145" y="332"/>
                  </a:lnTo>
                  <a:lnTo>
                    <a:pt x="142" y="330"/>
                  </a:lnTo>
                  <a:lnTo>
                    <a:pt x="141" y="329"/>
                  </a:lnTo>
                  <a:lnTo>
                    <a:pt x="139" y="327"/>
                  </a:lnTo>
                  <a:lnTo>
                    <a:pt x="139" y="327"/>
                  </a:lnTo>
                  <a:lnTo>
                    <a:pt x="138" y="326"/>
                  </a:lnTo>
                  <a:lnTo>
                    <a:pt x="138" y="325"/>
                  </a:lnTo>
                  <a:lnTo>
                    <a:pt x="137" y="324"/>
                  </a:lnTo>
                  <a:lnTo>
                    <a:pt x="136" y="323"/>
                  </a:lnTo>
                  <a:lnTo>
                    <a:pt x="136" y="321"/>
                  </a:lnTo>
                  <a:lnTo>
                    <a:pt x="136" y="320"/>
                  </a:lnTo>
                  <a:lnTo>
                    <a:pt x="136" y="319"/>
                  </a:lnTo>
                  <a:lnTo>
                    <a:pt x="136" y="317"/>
                  </a:lnTo>
                  <a:lnTo>
                    <a:pt x="136" y="316"/>
                  </a:lnTo>
                  <a:lnTo>
                    <a:pt x="136" y="313"/>
                  </a:lnTo>
                  <a:lnTo>
                    <a:pt x="137" y="311"/>
                  </a:lnTo>
                  <a:lnTo>
                    <a:pt x="137" y="310"/>
                  </a:lnTo>
                  <a:lnTo>
                    <a:pt x="137" y="309"/>
                  </a:lnTo>
                  <a:lnTo>
                    <a:pt x="136" y="308"/>
                  </a:lnTo>
                  <a:lnTo>
                    <a:pt x="136" y="307"/>
                  </a:lnTo>
                  <a:lnTo>
                    <a:pt x="136" y="305"/>
                  </a:lnTo>
                  <a:lnTo>
                    <a:pt x="136" y="304"/>
                  </a:lnTo>
                  <a:lnTo>
                    <a:pt x="135" y="303"/>
                  </a:lnTo>
                  <a:lnTo>
                    <a:pt x="135" y="302"/>
                  </a:lnTo>
                  <a:lnTo>
                    <a:pt x="134" y="301"/>
                  </a:lnTo>
                  <a:lnTo>
                    <a:pt x="134" y="301"/>
                  </a:lnTo>
                  <a:lnTo>
                    <a:pt x="133" y="300"/>
                  </a:lnTo>
                  <a:lnTo>
                    <a:pt x="133" y="300"/>
                  </a:lnTo>
                  <a:lnTo>
                    <a:pt x="132" y="300"/>
                  </a:lnTo>
                  <a:lnTo>
                    <a:pt x="132" y="299"/>
                  </a:lnTo>
                  <a:lnTo>
                    <a:pt x="131" y="299"/>
                  </a:lnTo>
                  <a:lnTo>
                    <a:pt x="130" y="299"/>
                  </a:lnTo>
                  <a:lnTo>
                    <a:pt x="129" y="299"/>
                  </a:lnTo>
                  <a:lnTo>
                    <a:pt x="128" y="299"/>
                  </a:lnTo>
                  <a:lnTo>
                    <a:pt x="127" y="299"/>
                  </a:lnTo>
                  <a:lnTo>
                    <a:pt x="124" y="299"/>
                  </a:lnTo>
                  <a:lnTo>
                    <a:pt x="121" y="300"/>
                  </a:lnTo>
                  <a:lnTo>
                    <a:pt x="120" y="300"/>
                  </a:lnTo>
                  <a:lnTo>
                    <a:pt x="119" y="300"/>
                  </a:lnTo>
                  <a:lnTo>
                    <a:pt x="116" y="300"/>
                  </a:lnTo>
                  <a:lnTo>
                    <a:pt x="115" y="301"/>
                  </a:lnTo>
                  <a:lnTo>
                    <a:pt x="111" y="301"/>
                  </a:lnTo>
                  <a:lnTo>
                    <a:pt x="111" y="301"/>
                  </a:lnTo>
                  <a:lnTo>
                    <a:pt x="110" y="301"/>
                  </a:lnTo>
                  <a:lnTo>
                    <a:pt x="109" y="301"/>
                  </a:lnTo>
                  <a:lnTo>
                    <a:pt x="109" y="301"/>
                  </a:lnTo>
                  <a:lnTo>
                    <a:pt x="109" y="300"/>
                  </a:lnTo>
                  <a:lnTo>
                    <a:pt x="107" y="299"/>
                  </a:lnTo>
                  <a:lnTo>
                    <a:pt x="107" y="299"/>
                  </a:lnTo>
                  <a:lnTo>
                    <a:pt x="106" y="298"/>
                  </a:lnTo>
                  <a:lnTo>
                    <a:pt x="105" y="297"/>
                  </a:lnTo>
                  <a:lnTo>
                    <a:pt x="104" y="297"/>
                  </a:lnTo>
                  <a:lnTo>
                    <a:pt x="101" y="296"/>
                  </a:lnTo>
                  <a:lnTo>
                    <a:pt x="98" y="295"/>
                  </a:lnTo>
                  <a:lnTo>
                    <a:pt x="93" y="293"/>
                  </a:lnTo>
                  <a:lnTo>
                    <a:pt x="92" y="293"/>
                  </a:lnTo>
                  <a:lnTo>
                    <a:pt x="91" y="293"/>
                  </a:lnTo>
                  <a:lnTo>
                    <a:pt x="91" y="293"/>
                  </a:lnTo>
                  <a:lnTo>
                    <a:pt x="90" y="293"/>
                  </a:lnTo>
                  <a:lnTo>
                    <a:pt x="90" y="293"/>
                  </a:lnTo>
                  <a:lnTo>
                    <a:pt x="89" y="294"/>
                  </a:lnTo>
                  <a:lnTo>
                    <a:pt x="88" y="294"/>
                  </a:lnTo>
                  <a:lnTo>
                    <a:pt x="85" y="295"/>
                  </a:lnTo>
                  <a:lnTo>
                    <a:pt x="84" y="296"/>
                  </a:lnTo>
                  <a:lnTo>
                    <a:pt x="83" y="296"/>
                  </a:lnTo>
                  <a:lnTo>
                    <a:pt x="82" y="296"/>
                  </a:lnTo>
                  <a:lnTo>
                    <a:pt x="81" y="297"/>
                  </a:lnTo>
                  <a:lnTo>
                    <a:pt x="80" y="297"/>
                  </a:lnTo>
                  <a:lnTo>
                    <a:pt x="79" y="296"/>
                  </a:lnTo>
                  <a:lnTo>
                    <a:pt x="78" y="296"/>
                  </a:lnTo>
                  <a:lnTo>
                    <a:pt x="77" y="296"/>
                  </a:lnTo>
                  <a:lnTo>
                    <a:pt x="76" y="295"/>
                  </a:lnTo>
                  <a:lnTo>
                    <a:pt x="75" y="295"/>
                  </a:lnTo>
                  <a:lnTo>
                    <a:pt x="75" y="295"/>
                  </a:lnTo>
                  <a:lnTo>
                    <a:pt x="75" y="294"/>
                  </a:lnTo>
                  <a:lnTo>
                    <a:pt x="74" y="293"/>
                  </a:lnTo>
                  <a:lnTo>
                    <a:pt x="72" y="291"/>
                  </a:lnTo>
                  <a:lnTo>
                    <a:pt x="71" y="290"/>
                  </a:lnTo>
                  <a:lnTo>
                    <a:pt x="70" y="288"/>
                  </a:lnTo>
                  <a:lnTo>
                    <a:pt x="69" y="288"/>
                  </a:lnTo>
                  <a:lnTo>
                    <a:pt x="68" y="287"/>
                  </a:lnTo>
                  <a:lnTo>
                    <a:pt x="68" y="287"/>
                  </a:lnTo>
                  <a:lnTo>
                    <a:pt x="67" y="287"/>
                  </a:lnTo>
                  <a:lnTo>
                    <a:pt x="66" y="287"/>
                  </a:lnTo>
                  <a:lnTo>
                    <a:pt x="66" y="286"/>
                  </a:lnTo>
                  <a:lnTo>
                    <a:pt x="65" y="286"/>
                  </a:lnTo>
                  <a:lnTo>
                    <a:pt x="62" y="286"/>
                  </a:lnTo>
                  <a:lnTo>
                    <a:pt x="61" y="286"/>
                  </a:lnTo>
                  <a:lnTo>
                    <a:pt x="61" y="286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8" y="285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3"/>
                  </a:lnTo>
                  <a:lnTo>
                    <a:pt x="59" y="283"/>
                  </a:lnTo>
                  <a:lnTo>
                    <a:pt x="60" y="282"/>
                  </a:lnTo>
                  <a:lnTo>
                    <a:pt x="60" y="282"/>
                  </a:lnTo>
                  <a:lnTo>
                    <a:pt x="61" y="282"/>
                  </a:lnTo>
                  <a:lnTo>
                    <a:pt x="61" y="281"/>
                  </a:lnTo>
                  <a:lnTo>
                    <a:pt x="61" y="281"/>
                  </a:lnTo>
                  <a:lnTo>
                    <a:pt x="61" y="280"/>
                  </a:lnTo>
                  <a:lnTo>
                    <a:pt x="61" y="279"/>
                  </a:lnTo>
                  <a:lnTo>
                    <a:pt x="61" y="278"/>
                  </a:lnTo>
                  <a:lnTo>
                    <a:pt x="61" y="278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9" y="275"/>
                  </a:lnTo>
                  <a:lnTo>
                    <a:pt x="57" y="274"/>
                  </a:lnTo>
                  <a:lnTo>
                    <a:pt x="56" y="274"/>
                  </a:lnTo>
                  <a:lnTo>
                    <a:pt x="52" y="272"/>
                  </a:lnTo>
                  <a:lnTo>
                    <a:pt x="51" y="272"/>
                  </a:lnTo>
                  <a:lnTo>
                    <a:pt x="51" y="271"/>
                  </a:lnTo>
                  <a:lnTo>
                    <a:pt x="49" y="271"/>
                  </a:lnTo>
                  <a:lnTo>
                    <a:pt x="48" y="270"/>
                  </a:lnTo>
                  <a:lnTo>
                    <a:pt x="46" y="269"/>
                  </a:lnTo>
                  <a:lnTo>
                    <a:pt x="44" y="267"/>
                  </a:lnTo>
                  <a:lnTo>
                    <a:pt x="44" y="266"/>
                  </a:lnTo>
                  <a:lnTo>
                    <a:pt x="43" y="266"/>
                  </a:lnTo>
                  <a:lnTo>
                    <a:pt x="42" y="266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30" y="269"/>
                  </a:lnTo>
                  <a:lnTo>
                    <a:pt x="29" y="269"/>
                  </a:lnTo>
                  <a:lnTo>
                    <a:pt x="28" y="270"/>
                  </a:lnTo>
                  <a:lnTo>
                    <a:pt x="27" y="270"/>
                  </a:lnTo>
                  <a:lnTo>
                    <a:pt x="26" y="269"/>
                  </a:lnTo>
                  <a:lnTo>
                    <a:pt x="25" y="269"/>
                  </a:lnTo>
                  <a:lnTo>
                    <a:pt x="25" y="269"/>
                  </a:lnTo>
                  <a:lnTo>
                    <a:pt x="24" y="269"/>
                  </a:lnTo>
                  <a:lnTo>
                    <a:pt x="23" y="268"/>
                  </a:lnTo>
                  <a:lnTo>
                    <a:pt x="21" y="266"/>
                  </a:lnTo>
                  <a:lnTo>
                    <a:pt x="18" y="264"/>
                  </a:lnTo>
                  <a:lnTo>
                    <a:pt x="17" y="262"/>
                  </a:lnTo>
                  <a:lnTo>
                    <a:pt x="15" y="260"/>
                  </a:lnTo>
                  <a:lnTo>
                    <a:pt x="15" y="259"/>
                  </a:lnTo>
                  <a:lnTo>
                    <a:pt x="11" y="256"/>
                  </a:lnTo>
                  <a:lnTo>
                    <a:pt x="11" y="255"/>
                  </a:lnTo>
                  <a:lnTo>
                    <a:pt x="10" y="255"/>
                  </a:lnTo>
                  <a:lnTo>
                    <a:pt x="8" y="252"/>
                  </a:lnTo>
                  <a:lnTo>
                    <a:pt x="6" y="249"/>
                  </a:lnTo>
                  <a:lnTo>
                    <a:pt x="5" y="248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5" y="243"/>
                  </a:lnTo>
                  <a:lnTo>
                    <a:pt x="5" y="242"/>
                  </a:lnTo>
                  <a:lnTo>
                    <a:pt x="6" y="241"/>
                  </a:lnTo>
                  <a:lnTo>
                    <a:pt x="7" y="240"/>
                  </a:lnTo>
                  <a:lnTo>
                    <a:pt x="8" y="239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4"/>
                  </a:lnTo>
                  <a:lnTo>
                    <a:pt x="8" y="233"/>
                  </a:lnTo>
                  <a:lnTo>
                    <a:pt x="8" y="232"/>
                  </a:lnTo>
                  <a:lnTo>
                    <a:pt x="7" y="232"/>
                  </a:lnTo>
                  <a:lnTo>
                    <a:pt x="7" y="231"/>
                  </a:lnTo>
                  <a:lnTo>
                    <a:pt x="6" y="230"/>
                  </a:lnTo>
                  <a:lnTo>
                    <a:pt x="4" y="228"/>
                  </a:lnTo>
                  <a:lnTo>
                    <a:pt x="3" y="228"/>
                  </a:lnTo>
                  <a:lnTo>
                    <a:pt x="2" y="227"/>
                  </a:lnTo>
                  <a:lnTo>
                    <a:pt x="1" y="226"/>
                  </a:lnTo>
                  <a:lnTo>
                    <a:pt x="0" y="225"/>
                  </a:lnTo>
                  <a:lnTo>
                    <a:pt x="0" y="224"/>
                  </a:lnTo>
                  <a:lnTo>
                    <a:pt x="0" y="223"/>
                  </a:lnTo>
                  <a:lnTo>
                    <a:pt x="0" y="222"/>
                  </a:lnTo>
                  <a:lnTo>
                    <a:pt x="0" y="221"/>
                  </a:lnTo>
                  <a:lnTo>
                    <a:pt x="0" y="221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1" y="215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09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1"/>
                  </a:lnTo>
                  <a:lnTo>
                    <a:pt x="4" y="200"/>
                  </a:lnTo>
                  <a:lnTo>
                    <a:pt x="5" y="198"/>
                  </a:lnTo>
                  <a:lnTo>
                    <a:pt x="6" y="195"/>
                  </a:lnTo>
                  <a:lnTo>
                    <a:pt x="7" y="192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7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9" y="180"/>
                  </a:lnTo>
                  <a:lnTo>
                    <a:pt x="9" y="179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9" y="172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8" y="169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7" y="166"/>
                  </a:lnTo>
                  <a:lnTo>
                    <a:pt x="5" y="163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9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1" y="156"/>
                  </a:lnTo>
                  <a:lnTo>
                    <a:pt x="11" y="155"/>
                  </a:lnTo>
                  <a:lnTo>
                    <a:pt x="12" y="155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1" y="146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3" y="141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7" y="133"/>
                  </a:lnTo>
                  <a:lnTo>
                    <a:pt x="22" y="131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9" y="120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0"/>
                  </a:lnTo>
                  <a:lnTo>
                    <a:pt x="32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22"/>
                  </a:lnTo>
                  <a:lnTo>
                    <a:pt x="43" y="122"/>
                  </a:lnTo>
                  <a:lnTo>
                    <a:pt x="47" y="123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8" y="121"/>
                  </a:lnTo>
                  <a:lnTo>
                    <a:pt x="61" y="120"/>
                  </a:lnTo>
                  <a:lnTo>
                    <a:pt x="63" y="119"/>
                  </a:lnTo>
                  <a:lnTo>
                    <a:pt x="64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20"/>
                  </a:lnTo>
                  <a:lnTo>
                    <a:pt x="70" y="120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7" y="124"/>
                  </a:lnTo>
                  <a:lnTo>
                    <a:pt x="78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1" y="123"/>
                  </a:lnTo>
                  <a:lnTo>
                    <a:pt x="81" y="122"/>
                  </a:lnTo>
                  <a:lnTo>
                    <a:pt x="82" y="121"/>
                  </a:lnTo>
                  <a:lnTo>
                    <a:pt x="82" y="120"/>
                  </a:lnTo>
                  <a:lnTo>
                    <a:pt x="83" y="118"/>
                  </a:lnTo>
                  <a:lnTo>
                    <a:pt x="84" y="118"/>
                  </a:lnTo>
                  <a:lnTo>
                    <a:pt x="84" y="117"/>
                  </a:lnTo>
                  <a:lnTo>
                    <a:pt x="84" y="117"/>
                  </a:lnTo>
                  <a:lnTo>
                    <a:pt x="85" y="117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9" y="115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5" y="115"/>
                  </a:lnTo>
                  <a:lnTo>
                    <a:pt x="96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100" y="114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4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5" y="101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3" y="97"/>
                  </a:lnTo>
                  <a:lnTo>
                    <a:pt x="102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3"/>
                  </a:lnTo>
                  <a:lnTo>
                    <a:pt x="98" y="93"/>
                  </a:lnTo>
                  <a:lnTo>
                    <a:pt x="97" y="92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6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3"/>
                  </a:lnTo>
                  <a:lnTo>
                    <a:pt x="85" y="81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5" y="78"/>
                  </a:lnTo>
                  <a:lnTo>
                    <a:pt x="86" y="77"/>
                  </a:lnTo>
                  <a:lnTo>
                    <a:pt x="86" y="76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8" y="71"/>
                  </a:lnTo>
                  <a:lnTo>
                    <a:pt x="88" y="70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7" y="58"/>
                  </a:lnTo>
                  <a:lnTo>
                    <a:pt x="98" y="56"/>
                  </a:lnTo>
                  <a:lnTo>
                    <a:pt x="98" y="55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3" y="49"/>
                  </a:lnTo>
                  <a:lnTo>
                    <a:pt x="104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6" y="48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4" y="49"/>
                  </a:lnTo>
                  <a:lnTo>
                    <a:pt x="115" y="48"/>
                  </a:lnTo>
                  <a:lnTo>
                    <a:pt x="118" y="47"/>
                  </a:lnTo>
                  <a:lnTo>
                    <a:pt x="119" y="46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4" y="44"/>
                  </a:lnTo>
                  <a:lnTo>
                    <a:pt x="126" y="44"/>
                  </a:lnTo>
                  <a:lnTo>
                    <a:pt x="129" y="43"/>
                  </a:lnTo>
                  <a:lnTo>
                    <a:pt x="131" y="42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6" y="41"/>
                  </a:lnTo>
                  <a:lnTo>
                    <a:pt x="137" y="41"/>
                  </a:lnTo>
                  <a:lnTo>
                    <a:pt x="138" y="40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41" y="38"/>
                  </a:lnTo>
                  <a:lnTo>
                    <a:pt x="142" y="37"/>
                  </a:lnTo>
                  <a:lnTo>
                    <a:pt x="143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7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4" y="31"/>
                  </a:lnTo>
                  <a:lnTo>
                    <a:pt x="155" y="31"/>
                  </a:lnTo>
                  <a:lnTo>
                    <a:pt x="156" y="31"/>
                  </a:lnTo>
                  <a:lnTo>
                    <a:pt x="157" y="31"/>
                  </a:lnTo>
                  <a:lnTo>
                    <a:pt x="158" y="31"/>
                  </a:lnTo>
                  <a:lnTo>
                    <a:pt x="158" y="30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7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5"/>
                  </a:lnTo>
                  <a:lnTo>
                    <a:pt x="160" y="24"/>
                  </a:lnTo>
                  <a:lnTo>
                    <a:pt x="159" y="23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7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4"/>
                  </a:lnTo>
                  <a:lnTo>
                    <a:pt x="160" y="13"/>
                  </a:lnTo>
                  <a:lnTo>
                    <a:pt x="162" y="12"/>
                  </a:lnTo>
                  <a:lnTo>
                    <a:pt x="162" y="11"/>
                  </a:lnTo>
                  <a:lnTo>
                    <a:pt x="163" y="11"/>
                  </a:lnTo>
                  <a:lnTo>
                    <a:pt x="163" y="10"/>
                  </a:lnTo>
                  <a:lnTo>
                    <a:pt x="164" y="10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9"/>
                  </a:lnTo>
                  <a:lnTo>
                    <a:pt x="170" y="9"/>
                  </a:lnTo>
                  <a:lnTo>
                    <a:pt x="171" y="9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8" y="4"/>
                  </a:lnTo>
                  <a:lnTo>
                    <a:pt x="179" y="3"/>
                  </a:lnTo>
                  <a:lnTo>
                    <a:pt x="179" y="2"/>
                  </a:lnTo>
                  <a:lnTo>
                    <a:pt x="180" y="2"/>
                  </a:lnTo>
                  <a:lnTo>
                    <a:pt x="180" y="1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80" y="1"/>
                  </a:lnTo>
                  <a:lnTo>
                    <a:pt x="185" y="4"/>
                  </a:ln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 64">
              <a:extLst>
                <a:ext uri="{FF2B5EF4-FFF2-40B4-BE49-F238E27FC236}">
                  <a16:creationId xmlns:a16="http://schemas.microsoft.com/office/drawing/2014/main" id="{2D4EB088-F2C8-AE2A-8CDC-F81DC77D7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8" y="3422"/>
              <a:ext cx="399" cy="421"/>
            </a:xfrm>
            <a:custGeom>
              <a:avLst/>
              <a:gdLst>
                <a:gd name="T0" fmla="*/ 157 w 399"/>
                <a:gd name="T1" fmla="*/ 19 h 421"/>
                <a:gd name="T2" fmla="*/ 177 w 399"/>
                <a:gd name="T3" fmla="*/ 20 h 421"/>
                <a:gd name="T4" fmla="*/ 196 w 399"/>
                <a:gd name="T5" fmla="*/ 32 h 421"/>
                <a:gd name="T6" fmla="*/ 208 w 399"/>
                <a:gd name="T7" fmla="*/ 42 h 421"/>
                <a:gd name="T8" fmla="*/ 228 w 399"/>
                <a:gd name="T9" fmla="*/ 51 h 421"/>
                <a:gd name="T10" fmla="*/ 231 w 399"/>
                <a:gd name="T11" fmla="*/ 64 h 421"/>
                <a:gd name="T12" fmla="*/ 256 w 399"/>
                <a:gd name="T13" fmla="*/ 75 h 421"/>
                <a:gd name="T14" fmla="*/ 270 w 399"/>
                <a:gd name="T15" fmla="*/ 56 h 421"/>
                <a:gd name="T16" fmla="*/ 283 w 399"/>
                <a:gd name="T17" fmla="*/ 61 h 421"/>
                <a:gd name="T18" fmla="*/ 304 w 399"/>
                <a:gd name="T19" fmla="*/ 74 h 421"/>
                <a:gd name="T20" fmla="*/ 332 w 399"/>
                <a:gd name="T21" fmla="*/ 81 h 421"/>
                <a:gd name="T22" fmla="*/ 361 w 399"/>
                <a:gd name="T23" fmla="*/ 104 h 421"/>
                <a:gd name="T24" fmla="*/ 392 w 399"/>
                <a:gd name="T25" fmla="*/ 123 h 421"/>
                <a:gd name="T26" fmla="*/ 392 w 399"/>
                <a:gd name="T27" fmla="*/ 141 h 421"/>
                <a:gd name="T28" fmla="*/ 397 w 399"/>
                <a:gd name="T29" fmla="*/ 153 h 421"/>
                <a:gd name="T30" fmla="*/ 384 w 399"/>
                <a:gd name="T31" fmla="*/ 162 h 421"/>
                <a:gd name="T32" fmla="*/ 390 w 399"/>
                <a:gd name="T33" fmla="*/ 174 h 421"/>
                <a:gd name="T34" fmla="*/ 382 w 399"/>
                <a:gd name="T35" fmla="*/ 181 h 421"/>
                <a:gd name="T36" fmla="*/ 371 w 399"/>
                <a:gd name="T37" fmla="*/ 178 h 421"/>
                <a:gd name="T38" fmla="*/ 373 w 399"/>
                <a:gd name="T39" fmla="*/ 186 h 421"/>
                <a:gd name="T40" fmla="*/ 362 w 399"/>
                <a:gd name="T41" fmla="*/ 193 h 421"/>
                <a:gd name="T42" fmla="*/ 347 w 399"/>
                <a:gd name="T43" fmla="*/ 209 h 421"/>
                <a:gd name="T44" fmla="*/ 345 w 399"/>
                <a:gd name="T45" fmla="*/ 230 h 421"/>
                <a:gd name="T46" fmla="*/ 353 w 399"/>
                <a:gd name="T47" fmla="*/ 242 h 421"/>
                <a:gd name="T48" fmla="*/ 362 w 399"/>
                <a:gd name="T49" fmla="*/ 249 h 421"/>
                <a:gd name="T50" fmla="*/ 359 w 399"/>
                <a:gd name="T51" fmla="*/ 267 h 421"/>
                <a:gd name="T52" fmla="*/ 352 w 399"/>
                <a:gd name="T53" fmla="*/ 280 h 421"/>
                <a:gd name="T54" fmla="*/ 351 w 399"/>
                <a:gd name="T55" fmla="*/ 294 h 421"/>
                <a:gd name="T56" fmla="*/ 357 w 399"/>
                <a:gd name="T57" fmla="*/ 308 h 421"/>
                <a:gd name="T58" fmla="*/ 348 w 399"/>
                <a:gd name="T59" fmla="*/ 321 h 421"/>
                <a:gd name="T60" fmla="*/ 342 w 399"/>
                <a:gd name="T61" fmla="*/ 330 h 421"/>
                <a:gd name="T62" fmla="*/ 351 w 399"/>
                <a:gd name="T63" fmla="*/ 343 h 421"/>
                <a:gd name="T64" fmla="*/ 342 w 399"/>
                <a:gd name="T65" fmla="*/ 356 h 421"/>
                <a:gd name="T66" fmla="*/ 320 w 399"/>
                <a:gd name="T67" fmla="*/ 363 h 421"/>
                <a:gd name="T68" fmla="*/ 312 w 399"/>
                <a:gd name="T69" fmla="*/ 375 h 421"/>
                <a:gd name="T70" fmla="*/ 286 w 399"/>
                <a:gd name="T71" fmla="*/ 376 h 421"/>
                <a:gd name="T72" fmla="*/ 268 w 399"/>
                <a:gd name="T73" fmla="*/ 372 h 421"/>
                <a:gd name="T74" fmla="*/ 255 w 399"/>
                <a:gd name="T75" fmla="*/ 376 h 421"/>
                <a:gd name="T76" fmla="*/ 244 w 399"/>
                <a:gd name="T77" fmla="*/ 379 h 421"/>
                <a:gd name="T78" fmla="*/ 230 w 399"/>
                <a:gd name="T79" fmla="*/ 389 h 421"/>
                <a:gd name="T80" fmla="*/ 208 w 399"/>
                <a:gd name="T81" fmla="*/ 404 h 421"/>
                <a:gd name="T82" fmla="*/ 194 w 399"/>
                <a:gd name="T83" fmla="*/ 415 h 421"/>
                <a:gd name="T84" fmla="*/ 176 w 399"/>
                <a:gd name="T85" fmla="*/ 413 h 421"/>
                <a:gd name="T86" fmla="*/ 162 w 399"/>
                <a:gd name="T87" fmla="*/ 418 h 421"/>
                <a:gd name="T88" fmla="*/ 152 w 399"/>
                <a:gd name="T89" fmla="*/ 418 h 421"/>
                <a:gd name="T90" fmla="*/ 135 w 399"/>
                <a:gd name="T91" fmla="*/ 404 h 421"/>
                <a:gd name="T92" fmla="*/ 124 w 399"/>
                <a:gd name="T93" fmla="*/ 396 h 421"/>
                <a:gd name="T94" fmla="*/ 135 w 399"/>
                <a:gd name="T95" fmla="*/ 379 h 421"/>
                <a:gd name="T96" fmla="*/ 144 w 399"/>
                <a:gd name="T97" fmla="*/ 362 h 421"/>
                <a:gd name="T98" fmla="*/ 154 w 399"/>
                <a:gd name="T99" fmla="*/ 352 h 421"/>
                <a:gd name="T100" fmla="*/ 145 w 399"/>
                <a:gd name="T101" fmla="*/ 339 h 421"/>
                <a:gd name="T102" fmla="*/ 135 w 399"/>
                <a:gd name="T103" fmla="*/ 335 h 421"/>
                <a:gd name="T104" fmla="*/ 109 w 399"/>
                <a:gd name="T105" fmla="*/ 337 h 421"/>
                <a:gd name="T106" fmla="*/ 90 w 399"/>
                <a:gd name="T107" fmla="*/ 330 h 421"/>
                <a:gd name="T108" fmla="*/ 79 w 399"/>
                <a:gd name="T109" fmla="*/ 306 h 421"/>
                <a:gd name="T110" fmla="*/ 70 w 399"/>
                <a:gd name="T111" fmla="*/ 295 h 421"/>
                <a:gd name="T112" fmla="*/ 47 w 399"/>
                <a:gd name="T113" fmla="*/ 293 h 421"/>
                <a:gd name="T114" fmla="*/ 22 w 399"/>
                <a:gd name="T115" fmla="*/ 293 h 421"/>
                <a:gd name="T116" fmla="*/ 8 w 399"/>
                <a:gd name="T117" fmla="*/ 282 h 421"/>
                <a:gd name="T118" fmla="*/ 3 w 399"/>
                <a:gd name="T119" fmla="*/ 277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9" h="421">
                  <a:moveTo>
                    <a:pt x="127" y="0"/>
                  </a:moveTo>
                  <a:lnTo>
                    <a:pt x="132" y="4"/>
                  </a:lnTo>
                  <a:lnTo>
                    <a:pt x="134" y="5"/>
                  </a:lnTo>
                  <a:lnTo>
                    <a:pt x="137" y="7"/>
                  </a:lnTo>
                  <a:lnTo>
                    <a:pt x="144" y="12"/>
                  </a:lnTo>
                  <a:lnTo>
                    <a:pt x="145" y="13"/>
                  </a:lnTo>
                  <a:lnTo>
                    <a:pt x="147" y="15"/>
                  </a:lnTo>
                  <a:lnTo>
                    <a:pt x="148" y="15"/>
                  </a:lnTo>
                  <a:lnTo>
                    <a:pt x="149" y="17"/>
                  </a:lnTo>
                  <a:lnTo>
                    <a:pt x="151" y="18"/>
                  </a:lnTo>
                  <a:lnTo>
                    <a:pt x="151" y="19"/>
                  </a:lnTo>
                  <a:lnTo>
                    <a:pt x="152" y="1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54" y="19"/>
                  </a:lnTo>
                  <a:lnTo>
                    <a:pt x="156" y="19"/>
                  </a:lnTo>
                  <a:lnTo>
                    <a:pt x="157" y="19"/>
                  </a:lnTo>
                  <a:lnTo>
                    <a:pt x="158" y="19"/>
                  </a:lnTo>
                  <a:lnTo>
                    <a:pt x="162" y="19"/>
                  </a:lnTo>
                  <a:lnTo>
                    <a:pt x="163" y="19"/>
                  </a:lnTo>
                  <a:lnTo>
                    <a:pt x="163" y="19"/>
                  </a:lnTo>
                  <a:lnTo>
                    <a:pt x="164" y="19"/>
                  </a:lnTo>
                  <a:lnTo>
                    <a:pt x="166" y="20"/>
                  </a:lnTo>
                  <a:lnTo>
                    <a:pt x="167" y="20"/>
                  </a:lnTo>
                  <a:lnTo>
                    <a:pt x="168" y="20"/>
                  </a:lnTo>
                  <a:lnTo>
                    <a:pt x="169" y="20"/>
                  </a:lnTo>
                  <a:lnTo>
                    <a:pt x="169" y="19"/>
                  </a:lnTo>
                  <a:lnTo>
                    <a:pt x="171" y="19"/>
                  </a:lnTo>
                  <a:lnTo>
                    <a:pt x="172" y="19"/>
                  </a:lnTo>
                  <a:lnTo>
                    <a:pt x="172" y="19"/>
                  </a:lnTo>
                  <a:lnTo>
                    <a:pt x="173" y="19"/>
                  </a:lnTo>
                  <a:lnTo>
                    <a:pt x="174" y="19"/>
                  </a:lnTo>
                  <a:lnTo>
                    <a:pt x="176" y="20"/>
                  </a:lnTo>
                  <a:lnTo>
                    <a:pt x="177" y="20"/>
                  </a:lnTo>
                  <a:lnTo>
                    <a:pt x="178" y="20"/>
                  </a:lnTo>
                  <a:lnTo>
                    <a:pt x="178" y="21"/>
                  </a:lnTo>
                  <a:lnTo>
                    <a:pt x="179" y="22"/>
                  </a:lnTo>
                  <a:lnTo>
                    <a:pt x="180" y="22"/>
                  </a:lnTo>
                  <a:lnTo>
                    <a:pt x="183" y="23"/>
                  </a:lnTo>
                  <a:lnTo>
                    <a:pt x="184" y="24"/>
                  </a:lnTo>
                  <a:lnTo>
                    <a:pt x="185" y="24"/>
                  </a:lnTo>
                  <a:lnTo>
                    <a:pt x="186" y="25"/>
                  </a:lnTo>
                  <a:lnTo>
                    <a:pt x="186" y="25"/>
                  </a:lnTo>
                  <a:lnTo>
                    <a:pt x="189" y="28"/>
                  </a:lnTo>
                  <a:lnTo>
                    <a:pt x="190" y="29"/>
                  </a:lnTo>
                  <a:lnTo>
                    <a:pt x="190" y="29"/>
                  </a:lnTo>
                  <a:lnTo>
                    <a:pt x="191" y="30"/>
                  </a:lnTo>
                  <a:lnTo>
                    <a:pt x="192" y="31"/>
                  </a:lnTo>
                  <a:lnTo>
                    <a:pt x="193" y="31"/>
                  </a:lnTo>
                  <a:lnTo>
                    <a:pt x="194" y="32"/>
                  </a:lnTo>
                  <a:lnTo>
                    <a:pt x="196" y="32"/>
                  </a:lnTo>
                  <a:lnTo>
                    <a:pt x="196" y="32"/>
                  </a:lnTo>
                  <a:lnTo>
                    <a:pt x="199" y="33"/>
                  </a:lnTo>
                  <a:lnTo>
                    <a:pt x="200" y="33"/>
                  </a:lnTo>
                  <a:lnTo>
                    <a:pt x="203" y="34"/>
                  </a:lnTo>
                  <a:lnTo>
                    <a:pt x="204" y="34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5" y="36"/>
                  </a:lnTo>
                  <a:lnTo>
                    <a:pt x="206" y="36"/>
                  </a:lnTo>
                  <a:lnTo>
                    <a:pt x="206" y="37"/>
                  </a:lnTo>
                  <a:lnTo>
                    <a:pt x="206" y="37"/>
                  </a:lnTo>
                  <a:lnTo>
                    <a:pt x="206" y="39"/>
                  </a:lnTo>
                  <a:lnTo>
                    <a:pt x="207" y="41"/>
                  </a:lnTo>
                  <a:lnTo>
                    <a:pt x="207" y="41"/>
                  </a:lnTo>
                  <a:lnTo>
                    <a:pt x="207" y="42"/>
                  </a:lnTo>
                  <a:lnTo>
                    <a:pt x="208" y="42"/>
                  </a:lnTo>
                  <a:lnTo>
                    <a:pt x="208" y="43"/>
                  </a:lnTo>
                  <a:lnTo>
                    <a:pt x="209" y="43"/>
                  </a:lnTo>
                  <a:lnTo>
                    <a:pt x="210" y="43"/>
                  </a:lnTo>
                  <a:lnTo>
                    <a:pt x="210" y="43"/>
                  </a:lnTo>
                  <a:lnTo>
                    <a:pt x="212" y="44"/>
                  </a:lnTo>
                  <a:lnTo>
                    <a:pt x="213" y="44"/>
                  </a:lnTo>
                  <a:lnTo>
                    <a:pt x="215" y="44"/>
                  </a:lnTo>
                  <a:lnTo>
                    <a:pt x="216" y="45"/>
                  </a:lnTo>
                  <a:lnTo>
                    <a:pt x="217" y="46"/>
                  </a:lnTo>
                  <a:lnTo>
                    <a:pt x="219" y="46"/>
                  </a:lnTo>
                  <a:lnTo>
                    <a:pt x="220" y="47"/>
                  </a:lnTo>
                  <a:lnTo>
                    <a:pt x="222" y="48"/>
                  </a:lnTo>
                  <a:lnTo>
                    <a:pt x="223" y="49"/>
                  </a:lnTo>
                  <a:lnTo>
                    <a:pt x="224" y="49"/>
                  </a:lnTo>
                  <a:lnTo>
                    <a:pt x="225" y="50"/>
                  </a:lnTo>
                  <a:lnTo>
                    <a:pt x="226" y="50"/>
                  </a:lnTo>
                  <a:lnTo>
                    <a:pt x="228" y="51"/>
                  </a:lnTo>
                  <a:lnTo>
                    <a:pt x="228" y="51"/>
                  </a:lnTo>
                  <a:lnTo>
                    <a:pt x="230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2" y="53"/>
                  </a:lnTo>
                  <a:lnTo>
                    <a:pt x="232" y="53"/>
                  </a:lnTo>
                  <a:lnTo>
                    <a:pt x="232" y="54"/>
                  </a:lnTo>
                  <a:lnTo>
                    <a:pt x="232" y="55"/>
                  </a:lnTo>
                  <a:lnTo>
                    <a:pt x="232" y="55"/>
                  </a:lnTo>
                  <a:lnTo>
                    <a:pt x="231" y="58"/>
                  </a:lnTo>
                  <a:lnTo>
                    <a:pt x="231" y="59"/>
                  </a:lnTo>
                  <a:lnTo>
                    <a:pt x="230" y="60"/>
                  </a:lnTo>
                  <a:lnTo>
                    <a:pt x="230" y="61"/>
                  </a:lnTo>
                  <a:lnTo>
                    <a:pt x="231" y="62"/>
                  </a:lnTo>
                  <a:lnTo>
                    <a:pt x="231" y="63"/>
                  </a:lnTo>
                  <a:lnTo>
                    <a:pt x="231" y="64"/>
                  </a:lnTo>
                  <a:lnTo>
                    <a:pt x="232" y="65"/>
                  </a:lnTo>
                  <a:lnTo>
                    <a:pt x="233" y="66"/>
                  </a:lnTo>
                  <a:lnTo>
                    <a:pt x="234" y="67"/>
                  </a:lnTo>
                  <a:lnTo>
                    <a:pt x="235" y="67"/>
                  </a:lnTo>
                  <a:lnTo>
                    <a:pt x="235" y="68"/>
                  </a:lnTo>
                  <a:lnTo>
                    <a:pt x="237" y="69"/>
                  </a:lnTo>
                  <a:lnTo>
                    <a:pt x="243" y="72"/>
                  </a:lnTo>
                  <a:lnTo>
                    <a:pt x="246" y="73"/>
                  </a:lnTo>
                  <a:lnTo>
                    <a:pt x="248" y="74"/>
                  </a:lnTo>
                  <a:lnTo>
                    <a:pt x="249" y="74"/>
                  </a:lnTo>
                  <a:lnTo>
                    <a:pt x="249" y="75"/>
                  </a:lnTo>
                  <a:lnTo>
                    <a:pt x="250" y="75"/>
                  </a:lnTo>
                  <a:lnTo>
                    <a:pt x="251" y="75"/>
                  </a:lnTo>
                  <a:lnTo>
                    <a:pt x="252" y="75"/>
                  </a:lnTo>
                  <a:lnTo>
                    <a:pt x="254" y="75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7" y="75"/>
                  </a:lnTo>
                  <a:lnTo>
                    <a:pt x="258" y="74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3"/>
                  </a:lnTo>
                  <a:lnTo>
                    <a:pt x="260" y="73"/>
                  </a:lnTo>
                  <a:lnTo>
                    <a:pt x="261" y="70"/>
                  </a:lnTo>
                  <a:lnTo>
                    <a:pt x="263" y="68"/>
                  </a:lnTo>
                  <a:lnTo>
                    <a:pt x="264" y="67"/>
                  </a:lnTo>
                  <a:lnTo>
                    <a:pt x="264" y="67"/>
                  </a:lnTo>
                  <a:lnTo>
                    <a:pt x="264" y="66"/>
                  </a:lnTo>
                  <a:lnTo>
                    <a:pt x="265" y="63"/>
                  </a:lnTo>
                  <a:lnTo>
                    <a:pt x="266" y="61"/>
                  </a:lnTo>
                  <a:lnTo>
                    <a:pt x="267" y="59"/>
                  </a:lnTo>
                  <a:lnTo>
                    <a:pt x="268" y="58"/>
                  </a:lnTo>
                  <a:lnTo>
                    <a:pt x="269" y="57"/>
                  </a:lnTo>
                  <a:lnTo>
                    <a:pt x="270" y="56"/>
                  </a:lnTo>
                  <a:lnTo>
                    <a:pt x="271" y="55"/>
                  </a:lnTo>
                  <a:lnTo>
                    <a:pt x="272" y="54"/>
                  </a:lnTo>
                  <a:lnTo>
                    <a:pt x="273" y="54"/>
                  </a:lnTo>
                  <a:lnTo>
                    <a:pt x="273" y="54"/>
                  </a:lnTo>
                  <a:lnTo>
                    <a:pt x="274" y="54"/>
                  </a:lnTo>
                  <a:lnTo>
                    <a:pt x="274" y="54"/>
                  </a:lnTo>
                  <a:lnTo>
                    <a:pt x="275" y="54"/>
                  </a:lnTo>
                  <a:lnTo>
                    <a:pt x="275" y="55"/>
                  </a:lnTo>
                  <a:lnTo>
                    <a:pt x="276" y="56"/>
                  </a:lnTo>
                  <a:lnTo>
                    <a:pt x="277" y="57"/>
                  </a:lnTo>
                  <a:lnTo>
                    <a:pt x="278" y="58"/>
                  </a:lnTo>
                  <a:lnTo>
                    <a:pt x="279" y="59"/>
                  </a:lnTo>
                  <a:lnTo>
                    <a:pt x="279" y="59"/>
                  </a:lnTo>
                  <a:lnTo>
                    <a:pt x="280" y="60"/>
                  </a:lnTo>
                  <a:lnTo>
                    <a:pt x="281" y="60"/>
                  </a:lnTo>
                  <a:lnTo>
                    <a:pt x="282" y="61"/>
                  </a:lnTo>
                  <a:lnTo>
                    <a:pt x="283" y="61"/>
                  </a:lnTo>
                  <a:lnTo>
                    <a:pt x="284" y="62"/>
                  </a:lnTo>
                  <a:lnTo>
                    <a:pt x="285" y="62"/>
                  </a:lnTo>
                  <a:lnTo>
                    <a:pt x="287" y="63"/>
                  </a:lnTo>
                  <a:lnTo>
                    <a:pt x="290" y="63"/>
                  </a:lnTo>
                  <a:lnTo>
                    <a:pt x="292" y="63"/>
                  </a:lnTo>
                  <a:lnTo>
                    <a:pt x="293" y="64"/>
                  </a:lnTo>
                  <a:lnTo>
                    <a:pt x="294" y="64"/>
                  </a:lnTo>
                  <a:lnTo>
                    <a:pt x="294" y="65"/>
                  </a:lnTo>
                  <a:lnTo>
                    <a:pt x="295" y="65"/>
                  </a:lnTo>
                  <a:lnTo>
                    <a:pt x="296" y="66"/>
                  </a:lnTo>
                  <a:lnTo>
                    <a:pt x="297" y="66"/>
                  </a:lnTo>
                  <a:lnTo>
                    <a:pt x="298" y="68"/>
                  </a:lnTo>
                  <a:lnTo>
                    <a:pt x="299" y="69"/>
                  </a:lnTo>
                  <a:lnTo>
                    <a:pt x="301" y="71"/>
                  </a:lnTo>
                  <a:lnTo>
                    <a:pt x="303" y="73"/>
                  </a:lnTo>
                  <a:lnTo>
                    <a:pt x="304" y="73"/>
                  </a:lnTo>
                  <a:lnTo>
                    <a:pt x="304" y="74"/>
                  </a:lnTo>
                  <a:lnTo>
                    <a:pt x="305" y="74"/>
                  </a:lnTo>
                  <a:lnTo>
                    <a:pt x="305" y="74"/>
                  </a:lnTo>
                  <a:lnTo>
                    <a:pt x="306" y="74"/>
                  </a:lnTo>
                  <a:lnTo>
                    <a:pt x="306" y="75"/>
                  </a:lnTo>
                  <a:lnTo>
                    <a:pt x="307" y="75"/>
                  </a:lnTo>
                  <a:lnTo>
                    <a:pt x="309" y="75"/>
                  </a:lnTo>
                  <a:lnTo>
                    <a:pt x="313" y="75"/>
                  </a:lnTo>
                  <a:lnTo>
                    <a:pt x="314" y="75"/>
                  </a:lnTo>
                  <a:lnTo>
                    <a:pt x="315" y="75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9" y="77"/>
                  </a:lnTo>
                  <a:lnTo>
                    <a:pt x="320" y="77"/>
                  </a:lnTo>
                  <a:lnTo>
                    <a:pt x="324" y="78"/>
                  </a:lnTo>
                  <a:lnTo>
                    <a:pt x="328" y="79"/>
                  </a:lnTo>
                  <a:lnTo>
                    <a:pt x="331" y="80"/>
                  </a:lnTo>
                  <a:lnTo>
                    <a:pt x="332" y="81"/>
                  </a:lnTo>
                  <a:lnTo>
                    <a:pt x="332" y="81"/>
                  </a:lnTo>
                  <a:lnTo>
                    <a:pt x="337" y="83"/>
                  </a:lnTo>
                  <a:lnTo>
                    <a:pt x="341" y="85"/>
                  </a:lnTo>
                  <a:lnTo>
                    <a:pt x="342" y="86"/>
                  </a:lnTo>
                  <a:lnTo>
                    <a:pt x="343" y="87"/>
                  </a:lnTo>
                  <a:lnTo>
                    <a:pt x="345" y="87"/>
                  </a:lnTo>
                  <a:lnTo>
                    <a:pt x="346" y="88"/>
                  </a:lnTo>
                  <a:lnTo>
                    <a:pt x="347" y="89"/>
                  </a:lnTo>
                  <a:lnTo>
                    <a:pt x="349" y="91"/>
                  </a:lnTo>
                  <a:lnTo>
                    <a:pt x="352" y="95"/>
                  </a:lnTo>
                  <a:lnTo>
                    <a:pt x="354" y="96"/>
                  </a:lnTo>
                  <a:lnTo>
                    <a:pt x="355" y="97"/>
                  </a:lnTo>
                  <a:lnTo>
                    <a:pt x="356" y="99"/>
                  </a:lnTo>
                  <a:lnTo>
                    <a:pt x="357" y="100"/>
                  </a:lnTo>
                  <a:lnTo>
                    <a:pt x="358" y="102"/>
                  </a:lnTo>
                  <a:lnTo>
                    <a:pt x="360" y="103"/>
                  </a:lnTo>
                  <a:lnTo>
                    <a:pt x="361" y="104"/>
                  </a:lnTo>
                  <a:lnTo>
                    <a:pt x="361" y="104"/>
                  </a:lnTo>
                  <a:lnTo>
                    <a:pt x="362" y="104"/>
                  </a:lnTo>
                  <a:lnTo>
                    <a:pt x="363" y="105"/>
                  </a:lnTo>
                  <a:lnTo>
                    <a:pt x="365" y="105"/>
                  </a:lnTo>
                  <a:lnTo>
                    <a:pt x="366" y="105"/>
                  </a:lnTo>
                  <a:lnTo>
                    <a:pt x="370" y="107"/>
                  </a:lnTo>
                  <a:lnTo>
                    <a:pt x="374" y="108"/>
                  </a:lnTo>
                  <a:lnTo>
                    <a:pt x="375" y="108"/>
                  </a:lnTo>
                  <a:lnTo>
                    <a:pt x="377" y="109"/>
                  </a:lnTo>
                  <a:lnTo>
                    <a:pt x="378" y="110"/>
                  </a:lnTo>
                  <a:lnTo>
                    <a:pt x="381" y="112"/>
                  </a:lnTo>
                  <a:lnTo>
                    <a:pt x="384" y="114"/>
                  </a:lnTo>
                  <a:lnTo>
                    <a:pt x="385" y="114"/>
                  </a:lnTo>
                  <a:lnTo>
                    <a:pt x="386" y="115"/>
                  </a:lnTo>
                  <a:lnTo>
                    <a:pt x="387" y="116"/>
                  </a:lnTo>
                  <a:lnTo>
                    <a:pt x="388" y="117"/>
                  </a:lnTo>
                  <a:lnTo>
                    <a:pt x="392" y="123"/>
                  </a:lnTo>
                  <a:lnTo>
                    <a:pt x="392" y="123"/>
                  </a:lnTo>
                  <a:lnTo>
                    <a:pt x="392" y="124"/>
                  </a:lnTo>
                  <a:lnTo>
                    <a:pt x="392" y="125"/>
                  </a:lnTo>
                  <a:lnTo>
                    <a:pt x="392" y="127"/>
                  </a:lnTo>
                  <a:lnTo>
                    <a:pt x="391" y="128"/>
                  </a:lnTo>
                  <a:lnTo>
                    <a:pt x="391" y="130"/>
                  </a:lnTo>
                  <a:lnTo>
                    <a:pt x="389" y="134"/>
                  </a:lnTo>
                  <a:lnTo>
                    <a:pt x="389" y="135"/>
                  </a:lnTo>
                  <a:lnTo>
                    <a:pt x="389" y="136"/>
                  </a:lnTo>
                  <a:lnTo>
                    <a:pt x="389" y="136"/>
                  </a:lnTo>
                  <a:lnTo>
                    <a:pt x="389" y="137"/>
                  </a:lnTo>
                  <a:lnTo>
                    <a:pt x="389" y="137"/>
                  </a:lnTo>
                  <a:lnTo>
                    <a:pt x="389" y="138"/>
                  </a:lnTo>
                  <a:lnTo>
                    <a:pt x="390" y="139"/>
                  </a:lnTo>
                  <a:lnTo>
                    <a:pt x="390" y="140"/>
                  </a:lnTo>
                  <a:lnTo>
                    <a:pt x="391" y="140"/>
                  </a:lnTo>
                  <a:lnTo>
                    <a:pt x="392" y="141"/>
                  </a:lnTo>
                  <a:lnTo>
                    <a:pt x="392" y="141"/>
                  </a:lnTo>
                  <a:lnTo>
                    <a:pt x="395" y="143"/>
                  </a:lnTo>
                  <a:lnTo>
                    <a:pt x="396" y="143"/>
                  </a:lnTo>
                  <a:lnTo>
                    <a:pt x="396" y="144"/>
                  </a:lnTo>
                  <a:lnTo>
                    <a:pt x="397" y="145"/>
                  </a:lnTo>
                  <a:lnTo>
                    <a:pt x="397" y="145"/>
                  </a:lnTo>
                  <a:lnTo>
                    <a:pt x="398" y="146"/>
                  </a:lnTo>
                  <a:lnTo>
                    <a:pt x="398" y="146"/>
                  </a:lnTo>
                  <a:lnTo>
                    <a:pt x="398" y="147"/>
                  </a:lnTo>
                  <a:lnTo>
                    <a:pt x="398" y="147"/>
                  </a:lnTo>
                  <a:lnTo>
                    <a:pt x="399" y="148"/>
                  </a:lnTo>
                  <a:lnTo>
                    <a:pt x="399" y="149"/>
                  </a:lnTo>
                  <a:lnTo>
                    <a:pt x="399" y="150"/>
                  </a:lnTo>
                  <a:lnTo>
                    <a:pt x="398" y="150"/>
                  </a:lnTo>
                  <a:lnTo>
                    <a:pt x="398" y="151"/>
                  </a:lnTo>
                  <a:lnTo>
                    <a:pt x="398" y="152"/>
                  </a:lnTo>
                  <a:lnTo>
                    <a:pt x="397" y="153"/>
                  </a:lnTo>
                  <a:lnTo>
                    <a:pt x="397" y="154"/>
                  </a:lnTo>
                  <a:lnTo>
                    <a:pt x="396" y="156"/>
                  </a:lnTo>
                  <a:lnTo>
                    <a:pt x="395" y="157"/>
                  </a:lnTo>
                  <a:lnTo>
                    <a:pt x="394" y="158"/>
                  </a:lnTo>
                  <a:lnTo>
                    <a:pt x="393" y="160"/>
                  </a:lnTo>
                  <a:lnTo>
                    <a:pt x="392" y="160"/>
                  </a:lnTo>
                  <a:lnTo>
                    <a:pt x="391" y="161"/>
                  </a:lnTo>
                  <a:lnTo>
                    <a:pt x="390" y="161"/>
                  </a:lnTo>
                  <a:lnTo>
                    <a:pt x="389" y="162"/>
                  </a:lnTo>
                  <a:lnTo>
                    <a:pt x="388" y="162"/>
                  </a:lnTo>
                  <a:lnTo>
                    <a:pt x="388" y="162"/>
                  </a:lnTo>
                  <a:lnTo>
                    <a:pt x="387" y="162"/>
                  </a:lnTo>
                  <a:lnTo>
                    <a:pt x="385" y="162"/>
                  </a:lnTo>
                  <a:lnTo>
                    <a:pt x="385" y="162"/>
                  </a:lnTo>
                  <a:lnTo>
                    <a:pt x="385" y="162"/>
                  </a:lnTo>
                  <a:lnTo>
                    <a:pt x="384" y="162"/>
                  </a:lnTo>
                  <a:lnTo>
                    <a:pt x="384" y="162"/>
                  </a:lnTo>
                  <a:lnTo>
                    <a:pt x="384" y="162"/>
                  </a:lnTo>
                  <a:lnTo>
                    <a:pt x="384" y="163"/>
                  </a:lnTo>
                  <a:lnTo>
                    <a:pt x="384" y="163"/>
                  </a:lnTo>
                  <a:lnTo>
                    <a:pt x="385" y="164"/>
                  </a:lnTo>
                  <a:lnTo>
                    <a:pt x="385" y="165"/>
                  </a:lnTo>
                  <a:lnTo>
                    <a:pt x="385" y="165"/>
                  </a:lnTo>
                  <a:lnTo>
                    <a:pt x="386" y="166"/>
                  </a:lnTo>
                  <a:lnTo>
                    <a:pt x="386" y="167"/>
                  </a:lnTo>
                  <a:lnTo>
                    <a:pt x="388" y="168"/>
                  </a:lnTo>
                  <a:lnTo>
                    <a:pt x="388" y="169"/>
                  </a:lnTo>
                  <a:lnTo>
                    <a:pt x="389" y="170"/>
                  </a:lnTo>
                  <a:lnTo>
                    <a:pt x="390" y="171"/>
                  </a:lnTo>
                  <a:lnTo>
                    <a:pt x="390" y="172"/>
                  </a:lnTo>
                  <a:lnTo>
                    <a:pt x="390" y="173"/>
                  </a:lnTo>
                  <a:lnTo>
                    <a:pt x="390" y="173"/>
                  </a:lnTo>
                  <a:lnTo>
                    <a:pt x="390" y="174"/>
                  </a:lnTo>
                  <a:lnTo>
                    <a:pt x="390" y="174"/>
                  </a:lnTo>
                  <a:lnTo>
                    <a:pt x="390" y="175"/>
                  </a:lnTo>
                  <a:lnTo>
                    <a:pt x="390" y="176"/>
                  </a:lnTo>
                  <a:lnTo>
                    <a:pt x="389" y="177"/>
                  </a:lnTo>
                  <a:lnTo>
                    <a:pt x="389" y="179"/>
                  </a:lnTo>
                  <a:lnTo>
                    <a:pt x="388" y="180"/>
                  </a:lnTo>
                  <a:lnTo>
                    <a:pt x="388" y="181"/>
                  </a:lnTo>
                  <a:lnTo>
                    <a:pt x="388" y="181"/>
                  </a:lnTo>
                  <a:lnTo>
                    <a:pt x="387" y="181"/>
                  </a:lnTo>
                  <a:lnTo>
                    <a:pt x="386" y="182"/>
                  </a:lnTo>
                  <a:lnTo>
                    <a:pt x="386" y="182"/>
                  </a:lnTo>
                  <a:lnTo>
                    <a:pt x="385" y="182"/>
                  </a:lnTo>
                  <a:lnTo>
                    <a:pt x="385" y="182"/>
                  </a:lnTo>
                  <a:lnTo>
                    <a:pt x="384" y="182"/>
                  </a:lnTo>
                  <a:lnTo>
                    <a:pt x="383" y="182"/>
                  </a:lnTo>
                  <a:lnTo>
                    <a:pt x="383" y="182"/>
                  </a:lnTo>
                  <a:lnTo>
                    <a:pt x="382" y="181"/>
                  </a:lnTo>
                  <a:lnTo>
                    <a:pt x="382" y="181"/>
                  </a:lnTo>
                  <a:lnTo>
                    <a:pt x="381" y="180"/>
                  </a:lnTo>
                  <a:lnTo>
                    <a:pt x="381" y="180"/>
                  </a:lnTo>
                  <a:lnTo>
                    <a:pt x="381" y="179"/>
                  </a:lnTo>
                  <a:lnTo>
                    <a:pt x="380" y="178"/>
                  </a:lnTo>
                  <a:lnTo>
                    <a:pt x="380" y="177"/>
                  </a:lnTo>
                  <a:lnTo>
                    <a:pt x="379" y="177"/>
                  </a:lnTo>
                  <a:lnTo>
                    <a:pt x="379" y="176"/>
                  </a:lnTo>
                  <a:lnTo>
                    <a:pt x="378" y="176"/>
                  </a:lnTo>
                  <a:lnTo>
                    <a:pt x="378" y="176"/>
                  </a:lnTo>
                  <a:lnTo>
                    <a:pt x="377" y="176"/>
                  </a:lnTo>
                  <a:lnTo>
                    <a:pt x="376" y="176"/>
                  </a:lnTo>
                  <a:lnTo>
                    <a:pt x="375" y="176"/>
                  </a:lnTo>
                  <a:lnTo>
                    <a:pt x="375" y="176"/>
                  </a:lnTo>
                  <a:lnTo>
                    <a:pt x="374" y="176"/>
                  </a:lnTo>
                  <a:lnTo>
                    <a:pt x="373" y="176"/>
                  </a:lnTo>
                  <a:lnTo>
                    <a:pt x="372" y="177"/>
                  </a:lnTo>
                  <a:lnTo>
                    <a:pt x="371" y="178"/>
                  </a:lnTo>
                  <a:lnTo>
                    <a:pt x="370" y="178"/>
                  </a:lnTo>
                  <a:lnTo>
                    <a:pt x="370" y="179"/>
                  </a:lnTo>
                  <a:lnTo>
                    <a:pt x="368" y="180"/>
                  </a:lnTo>
                  <a:lnTo>
                    <a:pt x="367" y="181"/>
                  </a:lnTo>
                  <a:lnTo>
                    <a:pt x="367" y="182"/>
                  </a:lnTo>
                  <a:lnTo>
                    <a:pt x="366" y="182"/>
                  </a:lnTo>
                  <a:lnTo>
                    <a:pt x="366" y="183"/>
                  </a:lnTo>
                  <a:lnTo>
                    <a:pt x="366" y="183"/>
                  </a:lnTo>
                  <a:lnTo>
                    <a:pt x="366" y="183"/>
                  </a:lnTo>
                  <a:lnTo>
                    <a:pt x="367" y="184"/>
                  </a:lnTo>
                  <a:lnTo>
                    <a:pt x="367" y="184"/>
                  </a:lnTo>
                  <a:lnTo>
                    <a:pt x="368" y="184"/>
                  </a:lnTo>
                  <a:lnTo>
                    <a:pt x="370" y="185"/>
                  </a:lnTo>
                  <a:lnTo>
                    <a:pt x="371" y="185"/>
                  </a:lnTo>
                  <a:lnTo>
                    <a:pt x="372" y="185"/>
                  </a:lnTo>
                  <a:lnTo>
                    <a:pt x="372" y="186"/>
                  </a:lnTo>
                  <a:lnTo>
                    <a:pt x="373" y="186"/>
                  </a:lnTo>
                  <a:lnTo>
                    <a:pt x="373" y="186"/>
                  </a:lnTo>
                  <a:lnTo>
                    <a:pt x="374" y="187"/>
                  </a:lnTo>
                  <a:lnTo>
                    <a:pt x="374" y="187"/>
                  </a:lnTo>
                  <a:lnTo>
                    <a:pt x="374" y="188"/>
                  </a:lnTo>
                  <a:lnTo>
                    <a:pt x="374" y="188"/>
                  </a:lnTo>
                  <a:lnTo>
                    <a:pt x="374" y="189"/>
                  </a:lnTo>
                  <a:lnTo>
                    <a:pt x="374" y="189"/>
                  </a:lnTo>
                  <a:lnTo>
                    <a:pt x="374" y="190"/>
                  </a:lnTo>
                  <a:lnTo>
                    <a:pt x="373" y="190"/>
                  </a:lnTo>
                  <a:lnTo>
                    <a:pt x="373" y="191"/>
                  </a:lnTo>
                  <a:lnTo>
                    <a:pt x="372" y="191"/>
                  </a:lnTo>
                  <a:lnTo>
                    <a:pt x="371" y="192"/>
                  </a:lnTo>
                  <a:lnTo>
                    <a:pt x="370" y="192"/>
                  </a:lnTo>
                  <a:lnTo>
                    <a:pt x="369" y="192"/>
                  </a:lnTo>
                  <a:lnTo>
                    <a:pt x="367" y="193"/>
                  </a:lnTo>
                  <a:lnTo>
                    <a:pt x="365" y="193"/>
                  </a:lnTo>
                  <a:lnTo>
                    <a:pt x="362" y="193"/>
                  </a:lnTo>
                  <a:lnTo>
                    <a:pt x="361" y="194"/>
                  </a:lnTo>
                  <a:lnTo>
                    <a:pt x="360" y="194"/>
                  </a:lnTo>
                  <a:lnTo>
                    <a:pt x="359" y="194"/>
                  </a:lnTo>
                  <a:lnTo>
                    <a:pt x="357" y="195"/>
                  </a:lnTo>
                  <a:lnTo>
                    <a:pt x="357" y="195"/>
                  </a:lnTo>
                  <a:lnTo>
                    <a:pt x="356" y="196"/>
                  </a:lnTo>
                  <a:lnTo>
                    <a:pt x="356" y="196"/>
                  </a:lnTo>
                  <a:lnTo>
                    <a:pt x="355" y="197"/>
                  </a:lnTo>
                  <a:lnTo>
                    <a:pt x="355" y="198"/>
                  </a:lnTo>
                  <a:lnTo>
                    <a:pt x="354" y="199"/>
                  </a:lnTo>
                  <a:lnTo>
                    <a:pt x="353" y="200"/>
                  </a:lnTo>
                  <a:lnTo>
                    <a:pt x="352" y="203"/>
                  </a:lnTo>
                  <a:lnTo>
                    <a:pt x="351" y="204"/>
                  </a:lnTo>
                  <a:lnTo>
                    <a:pt x="351" y="204"/>
                  </a:lnTo>
                  <a:lnTo>
                    <a:pt x="349" y="207"/>
                  </a:lnTo>
                  <a:lnTo>
                    <a:pt x="348" y="208"/>
                  </a:lnTo>
                  <a:lnTo>
                    <a:pt x="347" y="209"/>
                  </a:lnTo>
                  <a:lnTo>
                    <a:pt x="346" y="210"/>
                  </a:lnTo>
                  <a:lnTo>
                    <a:pt x="346" y="211"/>
                  </a:lnTo>
                  <a:lnTo>
                    <a:pt x="346" y="212"/>
                  </a:lnTo>
                  <a:lnTo>
                    <a:pt x="346" y="213"/>
                  </a:lnTo>
                  <a:lnTo>
                    <a:pt x="346" y="216"/>
                  </a:lnTo>
                  <a:lnTo>
                    <a:pt x="345" y="218"/>
                  </a:lnTo>
                  <a:lnTo>
                    <a:pt x="345" y="220"/>
                  </a:lnTo>
                  <a:lnTo>
                    <a:pt x="345" y="222"/>
                  </a:lnTo>
                  <a:lnTo>
                    <a:pt x="344" y="225"/>
                  </a:lnTo>
                  <a:lnTo>
                    <a:pt x="344" y="226"/>
                  </a:lnTo>
                  <a:lnTo>
                    <a:pt x="344" y="227"/>
                  </a:lnTo>
                  <a:lnTo>
                    <a:pt x="344" y="228"/>
                  </a:lnTo>
                  <a:lnTo>
                    <a:pt x="344" y="228"/>
                  </a:lnTo>
                  <a:lnTo>
                    <a:pt x="344" y="229"/>
                  </a:lnTo>
                  <a:lnTo>
                    <a:pt x="344" y="229"/>
                  </a:lnTo>
                  <a:lnTo>
                    <a:pt x="345" y="230"/>
                  </a:lnTo>
                  <a:lnTo>
                    <a:pt x="345" y="230"/>
                  </a:lnTo>
                  <a:lnTo>
                    <a:pt x="346" y="231"/>
                  </a:lnTo>
                  <a:lnTo>
                    <a:pt x="349" y="233"/>
                  </a:lnTo>
                  <a:lnTo>
                    <a:pt x="354" y="237"/>
                  </a:lnTo>
                  <a:lnTo>
                    <a:pt x="354" y="237"/>
                  </a:lnTo>
                  <a:lnTo>
                    <a:pt x="355" y="237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4" y="239"/>
                  </a:lnTo>
                  <a:lnTo>
                    <a:pt x="353" y="239"/>
                  </a:lnTo>
                  <a:lnTo>
                    <a:pt x="353" y="240"/>
                  </a:lnTo>
                  <a:lnTo>
                    <a:pt x="353" y="240"/>
                  </a:lnTo>
                  <a:lnTo>
                    <a:pt x="352" y="240"/>
                  </a:lnTo>
                  <a:lnTo>
                    <a:pt x="352" y="241"/>
                  </a:lnTo>
                  <a:lnTo>
                    <a:pt x="352" y="241"/>
                  </a:lnTo>
                  <a:lnTo>
                    <a:pt x="352" y="241"/>
                  </a:lnTo>
                  <a:lnTo>
                    <a:pt x="353" y="242"/>
                  </a:lnTo>
                  <a:lnTo>
                    <a:pt x="353" y="242"/>
                  </a:lnTo>
                  <a:lnTo>
                    <a:pt x="354" y="243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6" y="244"/>
                  </a:lnTo>
                  <a:lnTo>
                    <a:pt x="357" y="244"/>
                  </a:lnTo>
                  <a:lnTo>
                    <a:pt x="360" y="245"/>
                  </a:lnTo>
                  <a:lnTo>
                    <a:pt x="361" y="245"/>
                  </a:lnTo>
                  <a:lnTo>
                    <a:pt x="361" y="245"/>
                  </a:lnTo>
                  <a:lnTo>
                    <a:pt x="361" y="246"/>
                  </a:lnTo>
                  <a:lnTo>
                    <a:pt x="362" y="246"/>
                  </a:lnTo>
                  <a:lnTo>
                    <a:pt x="362" y="246"/>
                  </a:lnTo>
                  <a:lnTo>
                    <a:pt x="362" y="247"/>
                  </a:lnTo>
                  <a:lnTo>
                    <a:pt x="362" y="248"/>
                  </a:lnTo>
                  <a:lnTo>
                    <a:pt x="362" y="248"/>
                  </a:lnTo>
                  <a:lnTo>
                    <a:pt x="362" y="249"/>
                  </a:lnTo>
                  <a:lnTo>
                    <a:pt x="362" y="249"/>
                  </a:lnTo>
                  <a:lnTo>
                    <a:pt x="362" y="250"/>
                  </a:lnTo>
                  <a:lnTo>
                    <a:pt x="361" y="251"/>
                  </a:lnTo>
                  <a:lnTo>
                    <a:pt x="361" y="252"/>
                  </a:lnTo>
                  <a:lnTo>
                    <a:pt x="360" y="254"/>
                  </a:lnTo>
                  <a:lnTo>
                    <a:pt x="357" y="257"/>
                  </a:lnTo>
                  <a:lnTo>
                    <a:pt x="357" y="258"/>
                  </a:lnTo>
                  <a:lnTo>
                    <a:pt x="356" y="258"/>
                  </a:lnTo>
                  <a:lnTo>
                    <a:pt x="356" y="259"/>
                  </a:lnTo>
                  <a:lnTo>
                    <a:pt x="356" y="260"/>
                  </a:lnTo>
                  <a:lnTo>
                    <a:pt x="356" y="261"/>
                  </a:lnTo>
                  <a:lnTo>
                    <a:pt x="356" y="262"/>
                  </a:lnTo>
                  <a:lnTo>
                    <a:pt x="356" y="262"/>
                  </a:lnTo>
                  <a:lnTo>
                    <a:pt x="356" y="263"/>
                  </a:lnTo>
                  <a:lnTo>
                    <a:pt x="356" y="264"/>
                  </a:lnTo>
                  <a:lnTo>
                    <a:pt x="357" y="265"/>
                  </a:lnTo>
                  <a:lnTo>
                    <a:pt x="357" y="265"/>
                  </a:lnTo>
                  <a:lnTo>
                    <a:pt x="359" y="267"/>
                  </a:lnTo>
                  <a:lnTo>
                    <a:pt x="360" y="268"/>
                  </a:lnTo>
                  <a:lnTo>
                    <a:pt x="360" y="269"/>
                  </a:lnTo>
                  <a:lnTo>
                    <a:pt x="360" y="270"/>
                  </a:lnTo>
                  <a:lnTo>
                    <a:pt x="361" y="270"/>
                  </a:lnTo>
                  <a:lnTo>
                    <a:pt x="361" y="271"/>
                  </a:lnTo>
                  <a:lnTo>
                    <a:pt x="361" y="271"/>
                  </a:lnTo>
                  <a:lnTo>
                    <a:pt x="361" y="272"/>
                  </a:lnTo>
                  <a:lnTo>
                    <a:pt x="360" y="272"/>
                  </a:lnTo>
                  <a:lnTo>
                    <a:pt x="360" y="273"/>
                  </a:lnTo>
                  <a:lnTo>
                    <a:pt x="360" y="273"/>
                  </a:lnTo>
                  <a:lnTo>
                    <a:pt x="359" y="274"/>
                  </a:lnTo>
                  <a:lnTo>
                    <a:pt x="358" y="274"/>
                  </a:lnTo>
                  <a:lnTo>
                    <a:pt x="356" y="276"/>
                  </a:lnTo>
                  <a:lnTo>
                    <a:pt x="355" y="277"/>
                  </a:lnTo>
                  <a:lnTo>
                    <a:pt x="354" y="277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1" y="281"/>
                  </a:lnTo>
                  <a:lnTo>
                    <a:pt x="351" y="282"/>
                  </a:lnTo>
                  <a:lnTo>
                    <a:pt x="351" y="283"/>
                  </a:lnTo>
                  <a:lnTo>
                    <a:pt x="350" y="284"/>
                  </a:lnTo>
                  <a:lnTo>
                    <a:pt x="350" y="285"/>
                  </a:lnTo>
                  <a:lnTo>
                    <a:pt x="349" y="286"/>
                  </a:lnTo>
                  <a:lnTo>
                    <a:pt x="349" y="287"/>
                  </a:lnTo>
                  <a:lnTo>
                    <a:pt x="349" y="288"/>
                  </a:lnTo>
                  <a:lnTo>
                    <a:pt x="349" y="289"/>
                  </a:lnTo>
                  <a:lnTo>
                    <a:pt x="349" y="290"/>
                  </a:lnTo>
                  <a:lnTo>
                    <a:pt x="349" y="291"/>
                  </a:lnTo>
                  <a:lnTo>
                    <a:pt x="349" y="291"/>
                  </a:lnTo>
                  <a:lnTo>
                    <a:pt x="349" y="292"/>
                  </a:lnTo>
                  <a:lnTo>
                    <a:pt x="349" y="292"/>
                  </a:lnTo>
                  <a:lnTo>
                    <a:pt x="350" y="293"/>
                  </a:lnTo>
                  <a:lnTo>
                    <a:pt x="350" y="293"/>
                  </a:lnTo>
                  <a:lnTo>
                    <a:pt x="351" y="294"/>
                  </a:lnTo>
                  <a:lnTo>
                    <a:pt x="352" y="295"/>
                  </a:lnTo>
                  <a:lnTo>
                    <a:pt x="354" y="297"/>
                  </a:lnTo>
                  <a:lnTo>
                    <a:pt x="356" y="297"/>
                  </a:lnTo>
                  <a:lnTo>
                    <a:pt x="356" y="298"/>
                  </a:lnTo>
                  <a:lnTo>
                    <a:pt x="356" y="299"/>
                  </a:lnTo>
                  <a:lnTo>
                    <a:pt x="357" y="299"/>
                  </a:lnTo>
                  <a:lnTo>
                    <a:pt x="357" y="300"/>
                  </a:lnTo>
                  <a:lnTo>
                    <a:pt x="357" y="300"/>
                  </a:lnTo>
                  <a:lnTo>
                    <a:pt x="358" y="301"/>
                  </a:lnTo>
                  <a:lnTo>
                    <a:pt x="358" y="301"/>
                  </a:lnTo>
                  <a:lnTo>
                    <a:pt x="358" y="302"/>
                  </a:lnTo>
                  <a:lnTo>
                    <a:pt x="358" y="304"/>
                  </a:lnTo>
                  <a:lnTo>
                    <a:pt x="358" y="305"/>
                  </a:lnTo>
                  <a:lnTo>
                    <a:pt x="358" y="306"/>
                  </a:lnTo>
                  <a:lnTo>
                    <a:pt x="358" y="307"/>
                  </a:lnTo>
                  <a:lnTo>
                    <a:pt x="358" y="307"/>
                  </a:lnTo>
                  <a:lnTo>
                    <a:pt x="357" y="308"/>
                  </a:lnTo>
                  <a:lnTo>
                    <a:pt x="356" y="309"/>
                  </a:lnTo>
                  <a:lnTo>
                    <a:pt x="355" y="310"/>
                  </a:lnTo>
                  <a:lnTo>
                    <a:pt x="354" y="310"/>
                  </a:lnTo>
                  <a:lnTo>
                    <a:pt x="353" y="311"/>
                  </a:lnTo>
                  <a:lnTo>
                    <a:pt x="351" y="312"/>
                  </a:lnTo>
                  <a:lnTo>
                    <a:pt x="350" y="312"/>
                  </a:lnTo>
                  <a:lnTo>
                    <a:pt x="350" y="313"/>
                  </a:lnTo>
                  <a:lnTo>
                    <a:pt x="349" y="313"/>
                  </a:lnTo>
                  <a:lnTo>
                    <a:pt x="349" y="314"/>
                  </a:lnTo>
                  <a:lnTo>
                    <a:pt x="348" y="314"/>
                  </a:lnTo>
                  <a:lnTo>
                    <a:pt x="348" y="315"/>
                  </a:lnTo>
                  <a:lnTo>
                    <a:pt x="348" y="316"/>
                  </a:lnTo>
                  <a:lnTo>
                    <a:pt x="347" y="316"/>
                  </a:lnTo>
                  <a:lnTo>
                    <a:pt x="347" y="317"/>
                  </a:lnTo>
                  <a:lnTo>
                    <a:pt x="347" y="318"/>
                  </a:lnTo>
                  <a:lnTo>
                    <a:pt x="347" y="318"/>
                  </a:lnTo>
                  <a:lnTo>
                    <a:pt x="348" y="321"/>
                  </a:lnTo>
                  <a:lnTo>
                    <a:pt x="348" y="322"/>
                  </a:lnTo>
                  <a:lnTo>
                    <a:pt x="349" y="323"/>
                  </a:lnTo>
                  <a:lnTo>
                    <a:pt x="349" y="323"/>
                  </a:lnTo>
                  <a:lnTo>
                    <a:pt x="349" y="324"/>
                  </a:lnTo>
                  <a:lnTo>
                    <a:pt x="348" y="325"/>
                  </a:lnTo>
                  <a:lnTo>
                    <a:pt x="348" y="325"/>
                  </a:lnTo>
                  <a:lnTo>
                    <a:pt x="348" y="326"/>
                  </a:lnTo>
                  <a:lnTo>
                    <a:pt x="347" y="326"/>
                  </a:lnTo>
                  <a:lnTo>
                    <a:pt x="347" y="327"/>
                  </a:lnTo>
                  <a:lnTo>
                    <a:pt x="346" y="327"/>
                  </a:lnTo>
                  <a:lnTo>
                    <a:pt x="346" y="328"/>
                  </a:lnTo>
                  <a:lnTo>
                    <a:pt x="345" y="328"/>
                  </a:lnTo>
                  <a:lnTo>
                    <a:pt x="344" y="329"/>
                  </a:lnTo>
                  <a:lnTo>
                    <a:pt x="343" y="329"/>
                  </a:lnTo>
                  <a:lnTo>
                    <a:pt x="342" y="329"/>
                  </a:lnTo>
                  <a:lnTo>
                    <a:pt x="342" y="329"/>
                  </a:lnTo>
                  <a:lnTo>
                    <a:pt x="342" y="330"/>
                  </a:lnTo>
                  <a:lnTo>
                    <a:pt x="342" y="330"/>
                  </a:lnTo>
                  <a:lnTo>
                    <a:pt x="342" y="330"/>
                  </a:lnTo>
                  <a:lnTo>
                    <a:pt x="341" y="330"/>
                  </a:lnTo>
                  <a:lnTo>
                    <a:pt x="342" y="331"/>
                  </a:lnTo>
                  <a:lnTo>
                    <a:pt x="342" y="332"/>
                  </a:lnTo>
                  <a:lnTo>
                    <a:pt x="342" y="332"/>
                  </a:lnTo>
                  <a:lnTo>
                    <a:pt x="343" y="333"/>
                  </a:lnTo>
                  <a:lnTo>
                    <a:pt x="344" y="335"/>
                  </a:lnTo>
                  <a:lnTo>
                    <a:pt x="346" y="335"/>
                  </a:lnTo>
                  <a:lnTo>
                    <a:pt x="348" y="338"/>
                  </a:lnTo>
                  <a:lnTo>
                    <a:pt x="349" y="339"/>
                  </a:lnTo>
                  <a:lnTo>
                    <a:pt x="350" y="340"/>
                  </a:lnTo>
                  <a:lnTo>
                    <a:pt x="351" y="340"/>
                  </a:lnTo>
                  <a:lnTo>
                    <a:pt x="351" y="341"/>
                  </a:lnTo>
                  <a:lnTo>
                    <a:pt x="351" y="342"/>
                  </a:lnTo>
                  <a:lnTo>
                    <a:pt x="351" y="342"/>
                  </a:lnTo>
                  <a:lnTo>
                    <a:pt x="351" y="343"/>
                  </a:lnTo>
                  <a:lnTo>
                    <a:pt x="351" y="344"/>
                  </a:lnTo>
                  <a:lnTo>
                    <a:pt x="351" y="344"/>
                  </a:lnTo>
                  <a:lnTo>
                    <a:pt x="351" y="345"/>
                  </a:lnTo>
                  <a:lnTo>
                    <a:pt x="350" y="345"/>
                  </a:lnTo>
                  <a:lnTo>
                    <a:pt x="350" y="346"/>
                  </a:lnTo>
                  <a:lnTo>
                    <a:pt x="349" y="346"/>
                  </a:lnTo>
                  <a:lnTo>
                    <a:pt x="347" y="348"/>
                  </a:lnTo>
                  <a:lnTo>
                    <a:pt x="347" y="349"/>
                  </a:lnTo>
                  <a:lnTo>
                    <a:pt x="346" y="349"/>
                  </a:lnTo>
                  <a:lnTo>
                    <a:pt x="346" y="350"/>
                  </a:lnTo>
                  <a:lnTo>
                    <a:pt x="346" y="350"/>
                  </a:lnTo>
                  <a:lnTo>
                    <a:pt x="345" y="352"/>
                  </a:lnTo>
                  <a:lnTo>
                    <a:pt x="345" y="353"/>
                  </a:lnTo>
                  <a:lnTo>
                    <a:pt x="344" y="354"/>
                  </a:lnTo>
                  <a:lnTo>
                    <a:pt x="343" y="355"/>
                  </a:lnTo>
                  <a:lnTo>
                    <a:pt x="343" y="355"/>
                  </a:lnTo>
                  <a:lnTo>
                    <a:pt x="342" y="356"/>
                  </a:lnTo>
                  <a:lnTo>
                    <a:pt x="342" y="356"/>
                  </a:lnTo>
                  <a:lnTo>
                    <a:pt x="341" y="357"/>
                  </a:lnTo>
                  <a:lnTo>
                    <a:pt x="341" y="357"/>
                  </a:lnTo>
                  <a:lnTo>
                    <a:pt x="340" y="358"/>
                  </a:lnTo>
                  <a:lnTo>
                    <a:pt x="339" y="358"/>
                  </a:lnTo>
                  <a:lnTo>
                    <a:pt x="339" y="358"/>
                  </a:lnTo>
                  <a:lnTo>
                    <a:pt x="337" y="359"/>
                  </a:lnTo>
                  <a:lnTo>
                    <a:pt x="335" y="359"/>
                  </a:lnTo>
                  <a:lnTo>
                    <a:pt x="332" y="359"/>
                  </a:lnTo>
                  <a:lnTo>
                    <a:pt x="328" y="360"/>
                  </a:lnTo>
                  <a:lnTo>
                    <a:pt x="327" y="360"/>
                  </a:lnTo>
                  <a:lnTo>
                    <a:pt x="325" y="360"/>
                  </a:lnTo>
                  <a:lnTo>
                    <a:pt x="324" y="361"/>
                  </a:lnTo>
                  <a:lnTo>
                    <a:pt x="323" y="361"/>
                  </a:lnTo>
                  <a:lnTo>
                    <a:pt x="322" y="362"/>
                  </a:lnTo>
                  <a:lnTo>
                    <a:pt x="321" y="362"/>
                  </a:lnTo>
                  <a:lnTo>
                    <a:pt x="320" y="363"/>
                  </a:lnTo>
                  <a:lnTo>
                    <a:pt x="320" y="364"/>
                  </a:lnTo>
                  <a:lnTo>
                    <a:pt x="319" y="364"/>
                  </a:lnTo>
                  <a:lnTo>
                    <a:pt x="319" y="365"/>
                  </a:lnTo>
                  <a:lnTo>
                    <a:pt x="319" y="366"/>
                  </a:lnTo>
                  <a:lnTo>
                    <a:pt x="319" y="367"/>
                  </a:lnTo>
                  <a:lnTo>
                    <a:pt x="319" y="369"/>
                  </a:lnTo>
                  <a:lnTo>
                    <a:pt x="319" y="369"/>
                  </a:lnTo>
                  <a:lnTo>
                    <a:pt x="319" y="370"/>
                  </a:lnTo>
                  <a:lnTo>
                    <a:pt x="319" y="370"/>
                  </a:lnTo>
                  <a:lnTo>
                    <a:pt x="318" y="371"/>
                  </a:lnTo>
                  <a:lnTo>
                    <a:pt x="318" y="371"/>
                  </a:lnTo>
                  <a:lnTo>
                    <a:pt x="318" y="372"/>
                  </a:lnTo>
                  <a:lnTo>
                    <a:pt x="317" y="372"/>
                  </a:lnTo>
                  <a:lnTo>
                    <a:pt x="314" y="374"/>
                  </a:lnTo>
                  <a:lnTo>
                    <a:pt x="314" y="374"/>
                  </a:lnTo>
                  <a:lnTo>
                    <a:pt x="313" y="374"/>
                  </a:lnTo>
                  <a:lnTo>
                    <a:pt x="312" y="375"/>
                  </a:lnTo>
                  <a:lnTo>
                    <a:pt x="310" y="375"/>
                  </a:lnTo>
                  <a:lnTo>
                    <a:pt x="306" y="376"/>
                  </a:lnTo>
                  <a:lnTo>
                    <a:pt x="304" y="376"/>
                  </a:lnTo>
                  <a:lnTo>
                    <a:pt x="303" y="376"/>
                  </a:lnTo>
                  <a:lnTo>
                    <a:pt x="302" y="376"/>
                  </a:lnTo>
                  <a:lnTo>
                    <a:pt x="300" y="376"/>
                  </a:lnTo>
                  <a:lnTo>
                    <a:pt x="298" y="376"/>
                  </a:lnTo>
                  <a:lnTo>
                    <a:pt x="297" y="375"/>
                  </a:lnTo>
                  <a:lnTo>
                    <a:pt x="294" y="375"/>
                  </a:lnTo>
                  <a:lnTo>
                    <a:pt x="293" y="375"/>
                  </a:lnTo>
                  <a:lnTo>
                    <a:pt x="291" y="374"/>
                  </a:lnTo>
                  <a:lnTo>
                    <a:pt x="290" y="374"/>
                  </a:lnTo>
                  <a:lnTo>
                    <a:pt x="289" y="374"/>
                  </a:lnTo>
                  <a:lnTo>
                    <a:pt x="288" y="374"/>
                  </a:lnTo>
                  <a:lnTo>
                    <a:pt x="288" y="375"/>
                  </a:lnTo>
                  <a:lnTo>
                    <a:pt x="287" y="375"/>
                  </a:lnTo>
                  <a:lnTo>
                    <a:pt x="286" y="376"/>
                  </a:lnTo>
                  <a:lnTo>
                    <a:pt x="285" y="377"/>
                  </a:lnTo>
                  <a:lnTo>
                    <a:pt x="283" y="378"/>
                  </a:lnTo>
                  <a:lnTo>
                    <a:pt x="282" y="378"/>
                  </a:lnTo>
                  <a:lnTo>
                    <a:pt x="281" y="379"/>
                  </a:lnTo>
                  <a:lnTo>
                    <a:pt x="280" y="379"/>
                  </a:lnTo>
                  <a:lnTo>
                    <a:pt x="278" y="379"/>
                  </a:lnTo>
                  <a:lnTo>
                    <a:pt x="277" y="379"/>
                  </a:lnTo>
                  <a:lnTo>
                    <a:pt x="277" y="379"/>
                  </a:lnTo>
                  <a:lnTo>
                    <a:pt x="276" y="379"/>
                  </a:lnTo>
                  <a:lnTo>
                    <a:pt x="275" y="378"/>
                  </a:lnTo>
                  <a:lnTo>
                    <a:pt x="274" y="378"/>
                  </a:lnTo>
                  <a:lnTo>
                    <a:pt x="273" y="377"/>
                  </a:lnTo>
                  <a:lnTo>
                    <a:pt x="271" y="375"/>
                  </a:lnTo>
                  <a:lnTo>
                    <a:pt x="270" y="375"/>
                  </a:lnTo>
                  <a:lnTo>
                    <a:pt x="269" y="374"/>
                  </a:lnTo>
                  <a:lnTo>
                    <a:pt x="269" y="374"/>
                  </a:lnTo>
                  <a:lnTo>
                    <a:pt x="268" y="372"/>
                  </a:lnTo>
                  <a:lnTo>
                    <a:pt x="267" y="371"/>
                  </a:lnTo>
                  <a:lnTo>
                    <a:pt x="267" y="371"/>
                  </a:lnTo>
                  <a:lnTo>
                    <a:pt x="266" y="370"/>
                  </a:lnTo>
                  <a:lnTo>
                    <a:pt x="266" y="370"/>
                  </a:lnTo>
                  <a:lnTo>
                    <a:pt x="265" y="370"/>
                  </a:lnTo>
                  <a:lnTo>
                    <a:pt x="265" y="370"/>
                  </a:lnTo>
                  <a:lnTo>
                    <a:pt x="264" y="370"/>
                  </a:lnTo>
                  <a:lnTo>
                    <a:pt x="264" y="370"/>
                  </a:lnTo>
                  <a:lnTo>
                    <a:pt x="262" y="370"/>
                  </a:lnTo>
                  <a:lnTo>
                    <a:pt x="262" y="371"/>
                  </a:lnTo>
                  <a:lnTo>
                    <a:pt x="260" y="371"/>
                  </a:lnTo>
                  <a:lnTo>
                    <a:pt x="259" y="372"/>
                  </a:lnTo>
                  <a:lnTo>
                    <a:pt x="259" y="372"/>
                  </a:lnTo>
                  <a:lnTo>
                    <a:pt x="258" y="372"/>
                  </a:lnTo>
                  <a:lnTo>
                    <a:pt x="258" y="373"/>
                  </a:lnTo>
                  <a:lnTo>
                    <a:pt x="256" y="375"/>
                  </a:lnTo>
                  <a:lnTo>
                    <a:pt x="255" y="376"/>
                  </a:lnTo>
                  <a:lnTo>
                    <a:pt x="254" y="376"/>
                  </a:lnTo>
                  <a:lnTo>
                    <a:pt x="254" y="377"/>
                  </a:lnTo>
                  <a:lnTo>
                    <a:pt x="253" y="377"/>
                  </a:lnTo>
                  <a:lnTo>
                    <a:pt x="252" y="378"/>
                  </a:lnTo>
                  <a:lnTo>
                    <a:pt x="252" y="378"/>
                  </a:lnTo>
                  <a:lnTo>
                    <a:pt x="251" y="378"/>
                  </a:lnTo>
                  <a:lnTo>
                    <a:pt x="251" y="378"/>
                  </a:lnTo>
                  <a:lnTo>
                    <a:pt x="250" y="378"/>
                  </a:lnTo>
                  <a:lnTo>
                    <a:pt x="249" y="378"/>
                  </a:lnTo>
                  <a:lnTo>
                    <a:pt x="247" y="378"/>
                  </a:lnTo>
                  <a:lnTo>
                    <a:pt x="246" y="378"/>
                  </a:lnTo>
                  <a:lnTo>
                    <a:pt x="246" y="378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4" y="379"/>
                  </a:lnTo>
                  <a:lnTo>
                    <a:pt x="244" y="379"/>
                  </a:lnTo>
                  <a:lnTo>
                    <a:pt x="243" y="379"/>
                  </a:lnTo>
                  <a:lnTo>
                    <a:pt x="243" y="380"/>
                  </a:lnTo>
                  <a:lnTo>
                    <a:pt x="242" y="381"/>
                  </a:lnTo>
                  <a:lnTo>
                    <a:pt x="242" y="382"/>
                  </a:lnTo>
                  <a:lnTo>
                    <a:pt x="241" y="385"/>
                  </a:lnTo>
                  <a:lnTo>
                    <a:pt x="240" y="386"/>
                  </a:lnTo>
                  <a:lnTo>
                    <a:pt x="240" y="386"/>
                  </a:lnTo>
                  <a:lnTo>
                    <a:pt x="240" y="387"/>
                  </a:lnTo>
                  <a:lnTo>
                    <a:pt x="239" y="388"/>
                  </a:lnTo>
                  <a:lnTo>
                    <a:pt x="239" y="388"/>
                  </a:lnTo>
                  <a:lnTo>
                    <a:pt x="238" y="388"/>
                  </a:lnTo>
                  <a:lnTo>
                    <a:pt x="237" y="389"/>
                  </a:lnTo>
                  <a:lnTo>
                    <a:pt x="237" y="389"/>
                  </a:lnTo>
                  <a:lnTo>
                    <a:pt x="235" y="389"/>
                  </a:lnTo>
                  <a:lnTo>
                    <a:pt x="233" y="389"/>
                  </a:lnTo>
                  <a:lnTo>
                    <a:pt x="232" y="389"/>
                  </a:lnTo>
                  <a:lnTo>
                    <a:pt x="230" y="389"/>
                  </a:lnTo>
                  <a:lnTo>
                    <a:pt x="228" y="389"/>
                  </a:lnTo>
                  <a:lnTo>
                    <a:pt x="227" y="390"/>
                  </a:lnTo>
                  <a:lnTo>
                    <a:pt x="224" y="391"/>
                  </a:lnTo>
                  <a:lnTo>
                    <a:pt x="223" y="391"/>
                  </a:lnTo>
                  <a:lnTo>
                    <a:pt x="221" y="392"/>
                  </a:lnTo>
                  <a:lnTo>
                    <a:pt x="220" y="393"/>
                  </a:lnTo>
                  <a:lnTo>
                    <a:pt x="219" y="393"/>
                  </a:lnTo>
                  <a:lnTo>
                    <a:pt x="219" y="394"/>
                  </a:lnTo>
                  <a:lnTo>
                    <a:pt x="218" y="395"/>
                  </a:lnTo>
                  <a:lnTo>
                    <a:pt x="217" y="396"/>
                  </a:lnTo>
                  <a:lnTo>
                    <a:pt x="216" y="398"/>
                  </a:lnTo>
                  <a:lnTo>
                    <a:pt x="214" y="399"/>
                  </a:lnTo>
                  <a:lnTo>
                    <a:pt x="213" y="400"/>
                  </a:lnTo>
                  <a:lnTo>
                    <a:pt x="212" y="401"/>
                  </a:lnTo>
                  <a:lnTo>
                    <a:pt x="211" y="402"/>
                  </a:lnTo>
                  <a:lnTo>
                    <a:pt x="210" y="403"/>
                  </a:lnTo>
                  <a:lnTo>
                    <a:pt x="208" y="404"/>
                  </a:lnTo>
                  <a:lnTo>
                    <a:pt x="207" y="405"/>
                  </a:lnTo>
                  <a:lnTo>
                    <a:pt x="206" y="405"/>
                  </a:lnTo>
                  <a:lnTo>
                    <a:pt x="205" y="406"/>
                  </a:lnTo>
                  <a:lnTo>
                    <a:pt x="205" y="406"/>
                  </a:lnTo>
                  <a:lnTo>
                    <a:pt x="203" y="408"/>
                  </a:lnTo>
                  <a:lnTo>
                    <a:pt x="201" y="410"/>
                  </a:lnTo>
                  <a:lnTo>
                    <a:pt x="201" y="410"/>
                  </a:lnTo>
                  <a:lnTo>
                    <a:pt x="200" y="412"/>
                  </a:lnTo>
                  <a:lnTo>
                    <a:pt x="198" y="414"/>
                  </a:lnTo>
                  <a:lnTo>
                    <a:pt x="198" y="414"/>
                  </a:lnTo>
                  <a:lnTo>
                    <a:pt x="197" y="415"/>
                  </a:lnTo>
                  <a:lnTo>
                    <a:pt x="197" y="415"/>
                  </a:lnTo>
                  <a:lnTo>
                    <a:pt x="196" y="415"/>
                  </a:lnTo>
                  <a:lnTo>
                    <a:pt x="196" y="415"/>
                  </a:lnTo>
                  <a:lnTo>
                    <a:pt x="195" y="415"/>
                  </a:lnTo>
                  <a:lnTo>
                    <a:pt x="195" y="415"/>
                  </a:lnTo>
                  <a:lnTo>
                    <a:pt x="194" y="415"/>
                  </a:lnTo>
                  <a:lnTo>
                    <a:pt x="193" y="415"/>
                  </a:lnTo>
                  <a:lnTo>
                    <a:pt x="191" y="413"/>
                  </a:lnTo>
                  <a:lnTo>
                    <a:pt x="190" y="413"/>
                  </a:lnTo>
                  <a:lnTo>
                    <a:pt x="189" y="412"/>
                  </a:lnTo>
                  <a:lnTo>
                    <a:pt x="188" y="412"/>
                  </a:lnTo>
                  <a:lnTo>
                    <a:pt x="187" y="411"/>
                  </a:lnTo>
                  <a:lnTo>
                    <a:pt x="186" y="411"/>
                  </a:lnTo>
                  <a:lnTo>
                    <a:pt x="185" y="411"/>
                  </a:lnTo>
                  <a:lnTo>
                    <a:pt x="184" y="411"/>
                  </a:lnTo>
                  <a:lnTo>
                    <a:pt x="180" y="412"/>
                  </a:lnTo>
                  <a:lnTo>
                    <a:pt x="179" y="412"/>
                  </a:lnTo>
                  <a:lnTo>
                    <a:pt x="178" y="412"/>
                  </a:lnTo>
                  <a:lnTo>
                    <a:pt x="178" y="412"/>
                  </a:lnTo>
                  <a:lnTo>
                    <a:pt x="177" y="412"/>
                  </a:lnTo>
                  <a:lnTo>
                    <a:pt x="177" y="413"/>
                  </a:lnTo>
                  <a:lnTo>
                    <a:pt x="177" y="413"/>
                  </a:lnTo>
                  <a:lnTo>
                    <a:pt x="176" y="413"/>
                  </a:lnTo>
                  <a:lnTo>
                    <a:pt x="174" y="416"/>
                  </a:lnTo>
                  <a:lnTo>
                    <a:pt x="173" y="418"/>
                  </a:lnTo>
                  <a:lnTo>
                    <a:pt x="173" y="418"/>
                  </a:lnTo>
                  <a:lnTo>
                    <a:pt x="172" y="419"/>
                  </a:lnTo>
                  <a:lnTo>
                    <a:pt x="171" y="420"/>
                  </a:lnTo>
                  <a:lnTo>
                    <a:pt x="171" y="420"/>
                  </a:lnTo>
                  <a:lnTo>
                    <a:pt x="170" y="421"/>
                  </a:lnTo>
                  <a:lnTo>
                    <a:pt x="170" y="421"/>
                  </a:lnTo>
                  <a:lnTo>
                    <a:pt x="169" y="421"/>
                  </a:lnTo>
                  <a:lnTo>
                    <a:pt x="169" y="421"/>
                  </a:lnTo>
                  <a:lnTo>
                    <a:pt x="168" y="421"/>
                  </a:lnTo>
                  <a:lnTo>
                    <a:pt x="167" y="421"/>
                  </a:lnTo>
                  <a:lnTo>
                    <a:pt x="166" y="420"/>
                  </a:lnTo>
                  <a:lnTo>
                    <a:pt x="165" y="420"/>
                  </a:lnTo>
                  <a:lnTo>
                    <a:pt x="164" y="420"/>
                  </a:lnTo>
                  <a:lnTo>
                    <a:pt x="164" y="419"/>
                  </a:lnTo>
                  <a:lnTo>
                    <a:pt x="162" y="418"/>
                  </a:lnTo>
                  <a:lnTo>
                    <a:pt x="161" y="417"/>
                  </a:lnTo>
                  <a:lnTo>
                    <a:pt x="160" y="417"/>
                  </a:lnTo>
                  <a:lnTo>
                    <a:pt x="159" y="417"/>
                  </a:lnTo>
                  <a:lnTo>
                    <a:pt x="159" y="417"/>
                  </a:lnTo>
                  <a:lnTo>
                    <a:pt x="158" y="417"/>
                  </a:lnTo>
                  <a:lnTo>
                    <a:pt x="157" y="417"/>
                  </a:lnTo>
                  <a:lnTo>
                    <a:pt x="156" y="417"/>
                  </a:lnTo>
                  <a:lnTo>
                    <a:pt x="155" y="417"/>
                  </a:lnTo>
                  <a:lnTo>
                    <a:pt x="154" y="417"/>
                  </a:lnTo>
                  <a:lnTo>
                    <a:pt x="153" y="418"/>
                  </a:lnTo>
                  <a:lnTo>
                    <a:pt x="153" y="418"/>
                  </a:lnTo>
                  <a:lnTo>
                    <a:pt x="152" y="418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8"/>
                  </a:lnTo>
                  <a:lnTo>
                    <a:pt x="151" y="417"/>
                  </a:lnTo>
                  <a:lnTo>
                    <a:pt x="150" y="415"/>
                  </a:lnTo>
                  <a:lnTo>
                    <a:pt x="150" y="414"/>
                  </a:lnTo>
                  <a:lnTo>
                    <a:pt x="149" y="414"/>
                  </a:lnTo>
                  <a:lnTo>
                    <a:pt x="149" y="413"/>
                  </a:lnTo>
                  <a:lnTo>
                    <a:pt x="148" y="412"/>
                  </a:lnTo>
                  <a:lnTo>
                    <a:pt x="148" y="412"/>
                  </a:lnTo>
                  <a:lnTo>
                    <a:pt x="147" y="411"/>
                  </a:lnTo>
                  <a:lnTo>
                    <a:pt x="145" y="410"/>
                  </a:lnTo>
                  <a:lnTo>
                    <a:pt x="144" y="409"/>
                  </a:lnTo>
                  <a:lnTo>
                    <a:pt x="143" y="408"/>
                  </a:lnTo>
                  <a:lnTo>
                    <a:pt x="141" y="408"/>
                  </a:lnTo>
                  <a:lnTo>
                    <a:pt x="139" y="407"/>
                  </a:lnTo>
                  <a:lnTo>
                    <a:pt x="138" y="406"/>
                  </a:lnTo>
                  <a:lnTo>
                    <a:pt x="137" y="406"/>
                  </a:lnTo>
                  <a:lnTo>
                    <a:pt x="136" y="405"/>
                  </a:lnTo>
                  <a:lnTo>
                    <a:pt x="135" y="404"/>
                  </a:lnTo>
                  <a:lnTo>
                    <a:pt x="134" y="403"/>
                  </a:lnTo>
                  <a:lnTo>
                    <a:pt x="134" y="403"/>
                  </a:lnTo>
                  <a:lnTo>
                    <a:pt x="133" y="400"/>
                  </a:lnTo>
                  <a:lnTo>
                    <a:pt x="132" y="400"/>
                  </a:lnTo>
                  <a:lnTo>
                    <a:pt x="132" y="399"/>
                  </a:lnTo>
                  <a:lnTo>
                    <a:pt x="131" y="398"/>
                  </a:lnTo>
                  <a:lnTo>
                    <a:pt x="131" y="398"/>
                  </a:lnTo>
                  <a:lnTo>
                    <a:pt x="130" y="398"/>
                  </a:lnTo>
                  <a:lnTo>
                    <a:pt x="129" y="398"/>
                  </a:lnTo>
                  <a:lnTo>
                    <a:pt x="129" y="398"/>
                  </a:lnTo>
                  <a:lnTo>
                    <a:pt x="128" y="398"/>
                  </a:lnTo>
                  <a:lnTo>
                    <a:pt x="126" y="397"/>
                  </a:lnTo>
                  <a:lnTo>
                    <a:pt x="125" y="397"/>
                  </a:lnTo>
                  <a:lnTo>
                    <a:pt x="125" y="397"/>
                  </a:lnTo>
                  <a:lnTo>
                    <a:pt x="125" y="397"/>
                  </a:lnTo>
                  <a:lnTo>
                    <a:pt x="124" y="397"/>
                  </a:lnTo>
                  <a:lnTo>
                    <a:pt x="124" y="396"/>
                  </a:lnTo>
                  <a:lnTo>
                    <a:pt x="124" y="396"/>
                  </a:lnTo>
                  <a:lnTo>
                    <a:pt x="124" y="395"/>
                  </a:lnTo>
                  <a:lnTo>
                    <a:pt x="124" y="395"/>
                  </a:lnTo>
                  <a:lnTo>
                    <a:pt x="124" y="394"/>
                  </a:lnTo>
                  <a:lnTo>
                    <a:pt x="124" y="394"/>
                  </a:lnTo>
                  <a:lnTo>
                    <a:pt x="125" y="393"/>
                  </a:lnTo>
                  <a:lnTo>
                    <a:pt x="126" y="392"/>
                  </a:lnTo>
                  <a:lnTo>
                    <a:pt x="127" y="390"/>
                  </a:lnTo>
                  <a:lnTo>
                    <a:pt x="128" y="389"/>
                  </a:lnTo>
                  <a:lnTo>
                    <a:pt x="129" y="388"/>
                  </a:lnTo>
                  <a:lnTo>
                    <a:pt x="130" y="387"/>
                  </a:lnTo>
                  <a:lnTo>
                    <a:pt x="132" y="384"/>
                  </a:lnTo>
                  <a:lnTo>
                    <a:pt x="133" y="384"/>
                  </a:lnTo>
                  <a:lnTo>
                    <a:pt x="133" y="383"/>
                  </a:lnTo>
                  <a:lnTo>
                    <a:pt x="134" y="382"/>
                  </a:lnTo>
                  <a:lnTo>
                    <a:pt x="134" y="381"/>
                  </a:lnTo>
                  <a:lnTo>
                    <a:pt x="135" y="379"/>
                  </a:lnTo>
                  <a:lnTo>
                    <a:pt x="135" y="378"/>
                  </a:lnTo>
                  <a:lnTo>
                    <a:pt x="136" y="377"/>
                  </a:lnTo>
                  <a:lnTo>
                    <a:pt x="138" y="375"/>
                  </a:lnTo>
                  <a:lnTo>
                    <a:pt x="138" y="374"/>
                  </a:lnTo>
                  <a:lnTo>
                    <a:pt x="138" y="373"/>
                  </a:lnTo>
                  <a:lnTo>
                    <a:pt x="138" y="373"/>
                  </a:lnTo>
                  <a:lnTo>
                    <a:pt x="139" y="372"/>
                  </a:lnTo>
                  <a:lnTo>
                    <a:pt x="139" y="370"/>
                  </a:lnTo>
                  <a:lnTo>
                    <a:pt x="139" y="369"/>
                  </a:lnTo>
                  <a:lnTo>
                    <a:pt x="140" y="368"/>
                  </a:lnTo>
                  <a:lnTo>
                    <a:pt x="140" y="367"/>
                  </a:lnTo>
                  <a:lnTo>
                    <a:pt x="141" y="365"/>
                  </a:lnTo>
                  <a:lnTo>
                    <a:pt x="142" y="364"/>
                  </a:lnTo>
                  <a:lnTo>
                    <a:pt x="143" y="363"/>
                  </a:lnTo>
                  <a:lnTo>
                    <a:pt x="143" y="362"/>
                  </a:lnTo>
                  <a:lnTo>
                    <a:pt x="144" y="362"/>
                  </a:lnTo>
                  <a:lnTo>
                    <a:pt x="144" y="362"/>
                  </a:lnTo>
                  <a:lnTo>
                    <a:pt x="144" y="361"/>
                  </a:lnTo>
                  <a:lnTo>
                    <a:pt x="145" y="361"/>
                  </a:lnTo>
                  <a:lnTo>
                    <a:pt x="148" y="361"/>
                  </a:lnTo>
                  <a:lnTo>
                    <a:pt x="150" y="360"/>
                  </a:lnTo>
                  <a:lnTo>
                    <a:pt x="151" y="360"/>
                  </a:lnTo>
                  <a:lnTo>
                    <a:pt x="152" y="359"/>
                  </a:lnTo>
                  <a:lnTo>
                    <a:pt x="152" y="359"/>
                  </a:lnTo>
                  <a:lnTo>
                    <a:pt x="153" y="359"/>
                  </a:lnTo>
                  <a:lnTo>
                    <a:pt x="153" y="358"/>
                  </a:lnTo>
                  <a:lnTo>
                    <a:pt x="153" y="358"/>
                  </a:lnTo>
                  <a:lnTo>
                    <a:pt x="154" y="357"/>
                  </a:lnTo>
                  <a:lnTo>
                    <a:pt x="154" y="356"/>
                  </a:lnTo>
                  <a:lnTo>
                    <a:pt x="154" y="355"/>
                  </a:lnTo>
                  <a:lnTo>
                    <a:pt x="154" y="354"/>
                  </a:lnTo>
                  <a:lnTo>
                    <a:pt x="154" y="354"/>
                  </a:lnTo>
                  <a:lnTo>
                    <a:pt x="154" y="353"/>
                  </a:lnTo>
                  <a:lnTo>
                    <a:pt x="154" y="352"/>
                  </a:lnTo>
                  <a:lnTo>
                    <a:pt x="153" y="351"/>
                  </a:lnTo>
                  <a:lnTo>
                    <a:pt x="151" y="348"/>
                  </a:lnTo>
                  <a:lnTo>
                    <a:pt x="151" y="348"/>
                  </a:lnTo>
                  <a:lnTo>
                    <a:pt x="150" y="347"/>
                  </a:lnTo>
                  <a:lnTo>
                    <a:pt x="149" y="347"/>
                  </a:lnTo>
                  <a:lnTo>
                    <a:pt x="148" y="345"/>
                  </a:lnTo>
                  <a:lnTo>
                    <a:pt x="146" y="345"/>
                  </a:lnTo>
                  <a:lnTo>
                    <a:pt x="146" y="344"/>
                  </a:lnTo>
                  <a:lnTo>
                    <a:pt x="145" y="343"/>
                  </a:lnTo>
                  <a:lnTo>
                    <a:pt x="145" y="343"/>
                  </a:lnTo>
                  <a:lnTo>
                    <a:pt x="144" y="342"/>
                  </a:lnTo>
                  <a:lnTo>
                    <a:pt x="144" y="342"/>
                  </a:lnTo>
                  <a:lnTo>
                    <a:pt x="144" y="341"/>
                  </a:lnTo>
                  <a:lnTo>
                    <a:pt x="144" y="341"/>
                  </a:lnTo>
                  <a:lnTo>
                    <a:pt x="144" y="340"/>
                  </a:lnTo>
                  <a:lnTo>
                    <a:pt x="144" y="339"/>
                  </a:lnTo>
                  <a:lnTo>
                    <a:pt x="145" y="339"/>
                  </a:lnTo>
                  <a:lnTo>
                    <a:pt x="144" y="338"/>
                  </a:lnTo>
                  <a:lnTo>
                    <a:pt x="144" y="338"/>
                  </a:lnTo>
                  <a:lnTo>
                    <a:pt x="144" y="337"/>
                  </a:lnTo>
                  <a:lnTo>
                    <a:pt x="144" y="336"/>
                  </a:lnTo>
                  <a:lnTo>
                    <a:pt x="143" y="336"/>
                  </a:lnTo>
                  <a:lnTo>
                    <a:pt x="143" y="336"/>
                  </a:lnTo>
                  <a:lnTo>
                    <a:pt x="142" y="335"/>
                  </a:lnTo>
                  <a:lnTo>
                    <a:pt x="141" y="335"/>
                  </a:lnTo>
                  <a:lnTo>
                    <a:pt x="140" y="334"/>
                  </a:lnTo>
                  <a:lnTo>
                    <a:pt x="140" y="334"/>
                  </a:lnTo>
                  <a:lnTo>
                    <a:pt x="139" y="334"/>
                  </a:lnTo>
                  <a:lnTo>
                    <a:pt x="139" y="334"/>
                  </a:lnTo>
                  <a:lnTo>
                    <a:pt x="138" y="334"/>
                  </a:lnTo>
                  <a:lnTo>
                    <a:pt x="138" y="334"/>
                  </a:lnTo>
                  <a:lnTo>
                    <a:pt x="137" y="334"/>
                  </a:lnTo>
                  <a:lnTo>
                    <a:pt x="137" y="334"/>
                  </a:lnTo>
                  <a:lnTo>
                    <a:pt x="135" y="335"/>
                  </a:lnTo>
                  <a:lnTo>
                    <a:pt x="135" y="335"/>
                  </a:lnTo>
                  <a:lnTo>
                    <a:pt x="134" y="335"/>
                  </a:lnTo>
                  <a:lnTo>
                    <a:pt x="132" y="336"/>
                  </a:lnTo>
                  <a:lnTo>
                    <a:pt x="130" y="336"/>
                  </a:lnTo>
                  <a:lnTo>
                    <a:pt x="129" y="336"/>
                  </a:lnTo>
                  <a:lnTo>
                    <a:pt x="126" y="337"/>
                  </a:lnTo>
                  <a:lnTo>
                    <a:pt x="125" y="338"/>
                  </a:lnTo>
                  <a:lnTo>
                    <a:pt x="124" y="338"/>
                  </a:lnTo>
                  <a:lnTo>
                    <a:pt x="123" y="338"/>
                  </a:lnTo>
                  <a:lnTo>
                    <a:pt x="121" y="338"/>
                  </a:lnTo>
                  <a:lnTo>
                    <a:pt x="119" y="338"/>
                  </a:lnTo>
                  <a:lnTo>
                    <a:pt x="117" y="338"/>
                  </a:lnTo>
                  <a:lnTo>
                    <a:pt x="115" y="338"/>
                  </a:lnTo>
                  <a:lnTo>
                    <a:pt x="114" y="338"/>
                  </a:lnTo>
                  <a:lnTo>
                    <a:pt x="113" y="338"/>
                  </a:lnTo>
                  <a:lnTo>
                    <a:pt x="110" y="337"/>
                  </a:lnTo>
                  <a:lnTo>
                    <a:pt x="109" y="337"/>
                  </a:lnTo>
                  <a:lnTo>
                    <a:pt x="108" y="336"/>
                  </a:lnTo>
                  <a:lnTo>
                    <a:pt x="108" y="336"/>
                  </a:lnTo>
                  <a:lnTo>
                    <a:pt x="107" y="336"/>
                  </a:lnTo>
                  <a:lnTo>
                    <a:pt x="106" y="337"/>
                  </a:lnTo>
                  <a:lnTo>
                    <a:pt x="105" y="337"/>
                  </a:lnTo>
                  <a:lnTo>
                    <a:pt x="103" y="337"/>
                  </a:lnTo>
                  <a:lnTo>
                    <a:pt x="103" y="338"/>
                  </a:lnTo>
                  <a:lnTo>
                    <a:pt x="103" y="338"/>
                  </a:lnTo>
                  <a:lnTo>
                    <a:pt x="102" y="338"/>
                  </a:lnTo>
                  <a:lnTo>
                    <a:pt x="102" y="338"/>
                  </a:lnTo>
                  <a:lnTo>
                    <a:pt x="101" y="338"/>
                  </a:lnTo>
                  <a:lnTo>
                    <a:pt x="101" y="337"/>
                  </a:lnTo>
                  <a:lnTo>
                    <a:pt x="98" y="336"/>
                  </a:lnTo>
                  <a:lnTo>
                    <a:pt x="94" y="333"/>
                  </a:lnTo>
                  <a:lnTo>
                    <a:pt x="92" y="332"/>
                  </a:lnTo>
                  <a:lnTo>
                    <a:pt x="90" y="331"/>
                  </a:lnTo>
                  <a:lnTo>
                    <a:pt x="90" y="330"/>
                  </a:lnTo>
                  <a:lnTo>
                    <a:pt x="87" y="328"/>
                  </a:lnTo>
                  <a:lnTo>
                    <a:pt x="84" y="326"/>
                  </a:lnTo>
                  <a:lnTo>
                    <a:pt x="83" y="325"/>
                  </a:lnTo>
                  <a:lnTo>
                    <a:pt x="81" y="323"/>
                  </a:lnTo>
                  <a:lnTo>
                    <a:pt x="81" y="323"/>
                  </a:lnTo>
                  <a:lnTo>
                    <a:pt x="80" y="322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8" y="319"/>
                  </a:lnTo>
                  <a:lnTo>
                    <a:pt x="78" y="317"/>
                  </a:lnTo>
                  <a:lnTo>
                    <a:pt x="78" y="316"/>
                  </a:lnTo>
                  <a:lnTo>
                    <a:pt x="78" y="315"/>
                  </a:lnTo>
                  <a:lnTo>
                    <a:pt x="78" y="313"/>
                  </a:lnTo>
                  <a:lnTo>
                    <a:pt x="78" y="312"/>
                  </a:lnTo>
                  <a:lnTo>
                    <a:pt x="78" y="309"/>
                  </a:lnTo>
                  <a:lnTo>
                    <a:pt x="79" y="307"/>
                  </a:lnTo>
                  <a:lnTo>
                    <a:pt x="79" y="306"/>
                  </a:lnTo>
                  <a:lnTo>
                    <a:pt x="79" y="305"/>
                  </a:lnTo>
                  <a:lnTo>
                    <a:pt x="78" y="304"/>
                  </a:lnTo>
                  <a:lnTo>
                    <a:pt x="78" y="303"/>
                  </a:lnTo>
                  <a:lnTo>
                    <a:pt x="78" y="301"/>
                  </a:lnTo>
                  <a:lnTo>
                    <a:pt x="78" y="300"/>
                  </a:lnTo>
                  <a:lnTo>
                    <a:pt x="77" y="299"/>
                  </a:lnTo>
                  <a:lnTo>
                    <a:pt x="77" y="298"/>
                  </a:lnTo>
                  <a:lnTo>
                    <a:pt x="76" y="297"/>
                  </a:lnTo>
                  <a:lnTo>
                    <a:pt x="76" y="297"/>
                  </a:lnTo>
                  <a:lnTo>
                    <a:pt x="75" y="296"/>
                  </a:lnTo>
                  <a:lnTo>
                    <a:pt x="75" y="296"/>
                  </a:lnTo>
                  <a:lnTo>
                    <a:pt x="74" y="296"/>
                  </a:lnTo>
                  <a:lnTo>
                    <a:pt x="74" y="295"/>
                  </a:lnTo>
                  <a:lnTo>
                    <a:pt x="73" y="295"/>
                  </a:lnTo>
                  <a:lnTo>
                    <a:pt x="72" y="295"/>
                  </a:lnTo>
                  <a:lnTo>
                    <a:pt x="71" y="295"/>
                  </a:lnTo>
                  <a:lnTo>
                    <a:pt x="70" y="295"/>
                  </a:lnTo>
                  <a:lnTo>
                    <a:pt x="69" y="295"/>
                  </a:lnTo>
                  <a:lnTo>
                    <a:pt x="66" y="295"/>
                  </a:lnTo>
                  <a:lnTo>
                    <a:pt x="63" y="296"/>
                  </a:lnTo>
                  <a:lnTo>
                    <a:pt x="62" y="296"/>
                  </a:lnTo>
                  <a:lnTo>
                    <a:pt x="61" y="296"/>
                  </a:lnTo>
                  <a:lnTo>
                    <a:pt x="58" y="296"/>
                  </a:lnTo>
                  <a:lnTo>
                    <a:pt x="57" y="297"/>
                  </a:lnTo>
                  <a:lnTo>
                    <a:pt x="53" y="297"/>
                  </a:lnTo>
                  <a:lnTo>
                    <a:pt x="53" y="297"/>
                  </a:lnTo>
                  <a:lnTo>
                    <a:pt x="52" y="297"/>
                  </a:lnTo>
                  <a:lnTo>
                    <a:pt x="51" y="297"/>
                  </a:lnTo>
                  <a:lnTo>
                    <a:pt x="51" y="297"/>
                  </a:lnTo>
                  <a:lnTo>
                    <a:pt x="51" y="296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8" y="294"/>
                  </a:lnTo>
                  <a:lnTo>
                    <a:pt x="47" y="293"/>
                  </a:lnTo>
                  <a:lnTo>
                    <a:pt x="46" y="293"/>
                  </a:lnTo>
                  <a:lnTo>
                    <a:pt x="43" y="292"/>
                  </a:lnTo>
                  <a:lnTo>
                    <a:pt x="40" y="291"/>
                  </a:lnTo>
                  <a:lnTo>
                    <a:pt x="35" y="289"/>
                  </a:lnTo>
                  <a:lnTo>
                    <a:pt x="34" y="289"/>
                  </a:lnTo>
                  <a:lnTo>
                    <a:pt x="33" y="289"/>
                  </a:lnTo>
                  <a:lnTo>
                    <a:pt x="33" y="289"/>
                  </a:lnTo>
                  <a:lnTo>
                    <a:pt x="32" y="289"/>
                  </a:lnTo>
                  <a:lnTo>
                    <a:pt x="32" y="289"/>
                  </a:lnTo>
                  <a:lnTo>
                    <a:pt x="31" y="290"/>
                  </a:lnTo>
                  <a:lnTo>
                    <a:pt x="30" y="290"/>
                  </a:lnTo>
                  <a:lnTo>
                    <a:pt x="27" y="291"/>
                  </a:lnTo>
                  <a:lnTo>
                    <a:pt x="26" y="292"/>
                  </a:lnTo>
                  <a:lnTo>
                    <a:pt x="25" y="292"/>
                  </a:lnTo>
                  <a:lnTo>
                    <a:pt x="24" y="292"/>
                  </a:lnTo>
                  <a:lnTo>
                    <a:pt x="23" y="293"/>
                  </a:lnTo>
                  <a:lnTo>
                    <a:pt x="22" y="293"/>
                  </a:lnTo>
                  <a:lnTo>
                    <a:pt x="21" y="292"/>
                  </a:lnTo>
                  <a:lnTo>
                    <a:pt x="20" y="292"/>
                  </a:lnTo>
                  <a:lnTo>
                    <a:pt x="19" y="292"/>
                  </a:lnTo>
                  <a:lnTo>
                    <a:pt x="18" y="291"/>
                  </a:lnTo>
                  <a:lnTo>
                    <a:pt x="17" y="291"/>
                  </a:lnTo>
                  <a:lnTo>
                    <a:pt x="17" y="291"/>
                  </a:lnTo>
                  <a:lnTo>
                    <a:pt x="17" y="290"/>
                  </a:lnTo>
                  <a:lnTo>
                    <a:pt x="16" y="289"/>
                  </a:lnTo>
                  <a:lnTo>
                    <a:pt x="14" y="287"/>
                  </a:lnTo>
                  <a:lnTo>
                    <a:pt x="13" y="286"/>
                  </a:lnTo>
                  <a:lnTo>
                    <a:pt x="12" y="284"/>
                  </a:lnTo>
                  <a:lnTo>
                    <a:pt x="11" y="284"/>
                  </a:lnTo>
                  <a:lnTo>
                    <a:pt x="10" y="283"/>
                  </a:lnTo>
                  <a:lnTo>
                    <a:pt x="10" y="283"/>
                  </a:lnTo>
                  <a:lnTo>
                    <a:pt x="9" y="283"/>
                  </a:lnTo>
                  <a:lnTo>
                    <a:pt x="8" y="283"/>
                  </a:lnTo>
                  <a:lnTo>
                    <a:pt x="8" y="282"/>
                  </a:lnTo>
                  <a:lnTo>
                    <a:pt x="7" y="282"/>
                  </a:lnTo>
                  <a:lnTo>
                    <a:pt x="4" y="282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2" y="281"/>
                  </a:lnTo>
                  <a:lnTo>
                    <a:pt x="1" y="281"/>
                  </a:lnTo>
                  <a:lnTo>
                    <a:pt x="0" y="281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79"/>
                  </a:lnTo>
                  <a:lnTo>
                    <a:pt x="1" y="279"/>
                  </a:lnTo>
                  <a:lnTo>
                    <a:pt x="2" y="278"/>
                  </a:lnTo>
                  <a:lnTo>
                    <a:pt x="2" y="278"/>
                  </a:lnTo>
                  <a:lnTo>
                    <a:pt x="3" y="278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6"/>
                  </a:lnTo>
                  <a:lnTo>
                    <a:pt x="3" y="275"/>
                  </a:lnTo>
                  <a:lnTo>
                    <a:pt x="3" y="274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Freeform 65">
              <a:extLst>
                <a:ext uri="{FF2B5EF4-FFF2-40B4-BE49-F238E27FC236}">
                  <a16:creationId xmlns:a16="http://schemas.microsoft.com/office/drawing/2014/main" id="{1166AD9F-E91B-BA62-DDF0-38FD49ED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" y="3418"/>
              <a:ext cx="185" cy="278"/>
            </a:xfrm>
            <a:custGeom>
              <a:avLst/>
              <a:gdLst>
                <a:gd name="T0" fmla="*/ 60 w 185"/>
                <a:gd name="T1" fmla="*/ 275 h 278"/>
                <a:gd name="T2" fmla="*/ 51 w 185"/>
                <a:gd name="T3" fmla="*/ 271 h 278"/>
                <a:gd name="T4" fmla="*/ 42 w 185"/>
                <a:gd name="T5" fmla="*/ 266 h 278"/>
                <a:gd name="T6" fmla="*/ 36 w 185"/>
                <a:gd name="T7" fmla="*/ 266 h 278"/>
                <a:gd name="T8" fmla="*/ 26 w 185"/>
                <a:gd name="T9" fmla="*/ 269 h 278"/>
                <a:gd name="T10" fmla="*/ 17 w 185"/>
                <a:gd name="T11" fmla="*/ 262 h 278"/>
                <a:gd name="T12" fmla="*/ 6 w 185"/>
                <a:gd name="T13" fmla="*/ 249 h 278"/>
                <a:gd name="T14" fmla="*/ 5 w 185"/>
                <a:gd name="T15" fmla="*/ 244 h 278"/>
                <a:gd name="T16" fmla="*/ 9 w 185"/>
                <a:gd name="T17" fmla="*/ 237 h 278"/>
                <a:gd name="T18" fmla="*/ 8 w 185"/>
                <a:gd name="T19" fmla="*/ 232 h 278"/>
                <a:gd name="T20" fmla="*/ 1 w 185"/>
                <a:gd name="T21" fmla="*/ 226 h 278"/>
                <a:gd name="T22" fmla="*/ 0 w 185"/>
                <a:gd name="T23" fmla="*/ 220 h 278"/>
                <a:gd name="T24" fmla="*/ 4 w 185"/>
                <a:gd name="T25" fmla="*/ 205 h 278"/>
                <a:gd name="T26" fmla="*/ 3 w 185"/>
                <a:gd name="T27" fmla="*/ 201 h 278"/>
                <a:gd name="T28" fmla="*/ 8 w 185"/>
                <a:gd name="T29" fmla="*/ 187 h 278"/>
                <a:gd name="T30" fmla="*/ 9 w 185"/>
                <a:gd name="T31" fmla="*/ 176 h 278"/>
                <a:gd name="T32" fmla="*/ 8 w 185"/>
                <a:gd name="T33" fmla="*/ 168 h 278"/>
                <a:gd name="T34" fmla="*/ 5 w 185"/>
                <a:gd name="T35" fmla="*/ 161 h 278"/>
                <a:gd name="T36" fmla="*/ 7 w 185"/>
                <a:gd name="T37" fmla="*/ 158 h 278"/>
                <a:gd name="T38" fmla="*/ 12 w 185"/>
                <a:gd name="T39" fmla="*/ 155 h 278"/>
                <a:gd name="T40" fmla="*/ 11 w 185"/>
                <a:gd name="T41" fmla="*/ 146 h 278"/>
                <a:gd name="T42" fmla="*/ 13 w 185"/>
                <a:gd name="T43" fmla="*/ 138 h 278"/>
                <a:gd name="T44" fmla="*/ 15 w 185"/>
                <a:gd name="T45" fmla="*/ 133 h 278"/>
                <a:gd name="T46" fmla="*/ 24 w 185"/>
                <a:gd name="T47" fmla="*/ 130 h 278"/>
                <a:gd name="T48" fmla="*/ 26 w 185"/>
                <a:gd name="T49" fmla="*/ 128 h 278"/>
                <a:gd name="T50" fmla="*/ 26 w 185"/>
                <a:gd name="T51" fmla="*/ 122 h 278"/>
                <a:gd name="T52" fmla="*/ 30 w 185"/>
                <a:gd name="T53" fmla="*/ 120 h 278"/>
                <a:gd name="T54" fmla="*/ 39 w 185"/>
                <a:gd name="T55" fmla="*/ 122 h 278"/>
                <a:gd name="T56" fmla="*/ 52 w 185"/>
                <a:gd name="T57" fmla="*/ 123 h 278"/>
                <a:gd name="T58" fmla="*/ 64 w 185"/>
                <a:gd name="T59" fmla="*/ 119 h 278"/>
                <a:gd name="T60" fmla="*/ 71 w 185"/>
                <a:gd name="T61" fmla="*/ 121 h 278"/>
                <a:gd name="T62" fmla="*/ 79 w 185"/>
                <a:gd name="T63" fmla="*/ 124 h 278"/>
                <a:gd name="T64" fmla="*/ 81 w 185"/>
                <a:gd name="T65" fmla="*/ 122 h 278"/>
                <a:gd name="T66" fmla="*/ 85 w 185"/>
                <a:gd name="T67" fmla="*/ 117 h 278"/>
                <a:gd name="T68" fmla="*/ 90 w 185"/>
                <a:gd name="T69" fmla="*/ 115 h 278"/>
                <a:gd name="T70" fmla="*/ 99 w 185"/>
                <a:gd name="T71" fmla="*/ 115 h 278"/>
                <a:gd name="T72" fmla="*/ 104 w 185"/>
                <a:gd name="T73" fmla="*/ 110 h 278"/>
                <a:gd name="T74" fmla="*/ 105 w 185"/>
                <a:gd name="T75" fmla="*/ 103 h 278"/>
                <a:gd name="T76" fmla="*/ 102 w 185"/>
                <a:gd name="T77" fmla="*/ 96 h 278"/>
                <a:gd name="T78" fmla="*/ 97 w 185"/>
                <a:gd name="T79" fmla="*/ 92 h 278"/>
                <a:gd name="T80" fmla="*/ 87 w 185"/>
                <a:gd name="T81" fmla="*/ 87 h 278"/>
                <a:gd name="T82" fmla="*/ 85 w 185"/>
                <a:gd name="T83" fmla="*/ 79 h 278"/>
                <a:gd name="T84" fmla="*/ 87 w 185"/>
                <a:gd name="T85" fmla="*/ 72 h 278"/>
                <a:gd name="T86" fmla="*/ 97 w 185"/>
                <a:gd name="T87" fmla="*/ 58 h 278"/>
                <a:gd name="T88" fmla="*/ 100 w 185"/>
                <a:gd name="T89" fmla="*/ 51 h 278"/>
                <a:gd name="T90" fmla="*/ 105 w 185"/>
                <a:gd name="T91" fmla="*/ 48 h 278"/>
                <a:gd name="T92" fmla="*/ 109 w 185"/>
                <a:gd name="T93" fmla="*/ 50 h 278"/>
                <a:gd name="T94" fmla="*/ 115 w 185"/>
                <a:gd name="T95" fmla="*/ 48 h 278"/>
                <a:gd name="T96" fmla="*/ 129 w 185"/>
                <a:gd name="T97" fmla="*/ 43 h 278"/>
                <a:gd name="T98" fmla="*/ 140 w 185"/>
                <a:gd name="T99" fmla="*/ 39 h 278"/>
                <a:gd name="T100" fmla="*/ 146 w 185"/>
                <a:gd name="T101" fmla="*/ 32 h 278"/>
                <a:gd name="T102" fmla="*/ 154 w 185"/>
                <a:gd name="T103" fmla="*/ 31 h 278"/>
                <a:gd name="T104" fmla="*/ 159 w 185"/>
                <a:gd name="T105" fmla="*/ 30 h 278"/>
                <a:gd name="T106" fmla="*/ 160 w 185"/>
                <a:gd name="T107" fmla="*/ 26 h 278"/>
                <a:gd name="T108" fmla="*/ 158 w 185"/>
                <a:gd name="T109" fmla="*/ 19 h 278"/>
                <a:gd name="T110" fmla="*/ 159 w 185"/>
                <a:gd name="T111" fmla="*/ 15 h 278"/>
                <a:gd name="T112" fmla="*/ 164 w 185"/>
                <a:gd name="T113" fmla="*/ 10 h 278"/>
                <a:gd name="T114" fmla="*/ 172 w 185"/>
                <a:gd name="T115" fmla="*/ 8 h 278"/>
                <a:gd name="T116" fmla="*/ 179 w 185"/>
                <a:gd name="T117" fmla="*/ 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5" h="278">
                  <a:moveTo>
                    <a:pt x="61" y="278"/>
                  </a:moveTo>
                  <a:lnTo>
                    <a:pt x="61" y="278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9" y="275"/>
                  </a:lnTo>
                  <a:lnTo>
                    <a:pt x="57" y="274"/>
                  </a:lnTo>
                  <a:lnTo>
                    <a:pt x="56" y="274"/>
                  </a:lnTo>
                  <a:lnTo>
                    <a:pt x="52" y="272"/>
                  </a:lnTo>
                  <a:lnTo>
                    <a:pt x="51" y="272"/>
                  </a:lnTo>
                  <a:lnTo>
                    <a:pt x="51" y="271"/>
                  </a:lnTo>
                  <a:lnTo>
                    <a:pt x="49" y="271"/>
                  </a:lnTo>
                  <a:lnTo>
                    <a:pt x="48" y="270"/>
                  </a:lnTo>
                  <a:lnTo>
                    <a:pt x="46" y="269"/>
                  </a:lnTo>
                  <a:lnTo>
                    <a:pt x="44" y="267"/>
                  </a:lnTo>
                  <a:lnTo>
                    <a:pt x="44" y="266"/>
                  </a:lnTo>
                  <a:lnTo>
                    <a:pt x="43" y="266"/>
                  </a:lnTo>
                  <a:lnTo>
                    <a:pt x="42" y="266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30" y="269"/>
                  </a:lnTo>
                  <a:lnTo>
                    <a:pt x="29" y="269"/>
                  </a:lnTo>
                  <a:lnTo>
                    <a:pt x="28" y="270"/>
                  </a:lnTo>
                  <a:lnTo>
                    <a:pt x="27" y="270"/>
                  </a:lnTo>
                  <a:lnTo>
                    <a:pt x="26" y="269"/>
                  </a:lnTo>
                  <a:lnTo>
                    <a:pt x="25" y="269"/>
                  </a:lnTo>
                  <a:lnTo>
                    <a:pt x="25" y="269"/>
                  </a:lnTo>
                  <a:lnTo>
                    <a:pt x="24" y="269"/>
                  </a:lnTo>
                  <a:lnTo>
                    <a:pt x="23" y="268"/>
                  </a:lnTo>
                  <a:lnTo>
                    <a:pt x="21" y="266"/>
                  </a:lnTo>
                  <a:lnTo>
                    <a:pt x="18" y="264"/>
                  </a:lnTo>
                  <a:lnTo>
                    <a:pt x="17" y="262"/>
                  </a:lnTo>
                  <a:lnTo>
                    <a:pt x="15" y="260"/>
                  </a:lnTo>
                  <a:lnTo>
                    <a:pt x="15" y="259"/>
                  </a:lnTo>
                  <a:lnTo>
                    <a:pt x="11" y="256"/>
                  </a:lnTo>
                  <a:lnTo>
                    <a:pt x="11" y="255"/>
                  </a:lnTo>
                  <a:lnTo>
                    <a:pt x="10" y="255"/>
                  </a:lnTo>
                  <a:lnTo>
                    <a:pt x="8" y="252"/>
                  </a:lnTo>
                  <a:lnTo>
                    <a:pt x="6" y="249"/>
                  </a:lnTo>
                  <a:lnTo>
                    <a:pt x="5" y="248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5" y="243"/>
                  </a:lnTo>
                  <a:lnTo>
                    <a:pt x="5" y="242"/>
                  </a:lnTo>
                  <a:lnTo>
                    <a:pt x="6" y="241"/>
                  </a:lnTo>
                  <a:lnTo>
                    <a:pt x="7" y="240"/>
                  </a:lnTo>
                  <a:lnTo>
                    <a:pt x="8" y="239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4"/>
                  </a:lnTo>
                  <a:lnTo>
                    <a:pt x="8" y="233"/>
                  </a:lnTo>
                  <a:lnTo>
                    <a:pt x="8" y="232"/>
                  </a:lnTo>
                  <a:lnTo>
                    <a:pt x="7" y="232"/>
                  </a:lnTo>
                  <a:lnTo>
                    <a:pt x="7" y="231"/>
                  </a:lnTo>
                  <a:lnTo>
                    <a:pt x="6" y="230"/>
                  </a:lnTo>
                  <a:lnTo>
                    <a:pt x="4" y="228"/>
                  </a:lnTo>
                  <a:lnTo>
                    <a:pt x="3" y="228"/>
                  </a:lnTo>
                  <a:lnTo>
                    <a:pt x="2" y="227"/>
                  </a:lnTo>
                  <a:lnTo>
                    <a:pt x="1" y="226"/>
                  </a:lnTo>
                  <a:lnTo>
                    <a:pt x="0" y="225"/>
                  </a:lnTo>
                  <a:lnTo>
                    <a:pt x="0" y="224"/>
                  </a:lnTo>
                  <a:lnTo>
                    <a:pt x="0" y="223"/>
                  </a:lnTo>
                  <a:lnTo>
                    <a:pt x="0" y="222"/>
                  </a:lnTo>
                  <a:lnTo>
                    <a:pt x="0" y="221"/>
                  </a:lnTo>
                  <a:lnTo>
                    <a:pt x="0" y="221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1" y="215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09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1"/>
                  </a:lnTo>
                  <a:lnTo>
                    <a:pt x="4" y="200"/>
                  </a:lnTo>
                  <a:lnTo>
                    <a:pt x="5" y="198"/>
                  </a:lnTo>
                  <a:lnTo>
                    <a:pt x="6" y="195"/>
                  </a:lnTo>
                  <a:lnTo>
                    <a:pt x="7" y="192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7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9" y="180"/>
                  </a:lnTo>
                  <a:lnTo>
                    <a:pt x="9" y="179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9" y="172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8" y="169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7" y="166"/>
                  </a:lnTo>
                  <a:lnTo>
                    <a:pt x="5" y="163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9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1" y="156"/>
                  </a:lnTo>
                  <a:lnTo>
                    <a:pt x="11" y="155"/>
                  </a:lnTo>
                  <a:lnTo>
                    <a:pt x="12" y="155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1" y="146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3" y="141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7" y="133"/>
                  </a:lnTo>
                  <a:lnTo>
                    <a:pt x="22" y="131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9" y="120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0"/>
                  </a:lnTo>
                  <a:lnTo>
                    <a:pt x="32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22"/>
                  </a:lnTo>
                  <a:lnTo>
                    <a:pt x="43" y="122"/>
                  </a:lnTo>
                  <a:lnTo>
                    <a:pt x="47" y="123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8" y="121"/>
                  </a:lnTo>
                  <a:lnTo>
                    <a:pt x="61" y="120"/>
                  </a:lnTo>
                  <a:lnTo>
                    <a:pt x="63" y="119"/>
                  </a:lnTo>
                  <a:lnTo>
                    <a:pt x="64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20"/>
                  </a:lnTo>
                  <a:lnTo>
                    <a:pt x="70" y="120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7" y="124"/>
                  </a:lnTo>
                  <a:lnTo>
                    <a:pt x="78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1" y="123"/>
                  </a:lnTo>
                  <a:lnTo>
                    <a:pt x="81" y="122"/>
                  </a:lnTo>
                  <a:lnTo>
                    <a:pt x="82" y="121"/>
                  </a:lnTo>
                  <a:lnTo>
                    <a:pt x="82" y="120"/>
                  </a:lnTo>
                  <a:lnTo>
                    <a:pt x="83" y="118"/>
                  </a:lnTo>
                  <a:lnTo>
                    <a:pt x="84" y="118"/>
                  </a:lnTo>
                  <a:lnTo>
                    <a:pt x="84" y="117"/>
                  </a:lnTo>
                  <a:lnTo>
                    <a:pt x="84" y="117"/>
                  </a:lnTo>
                  <a:lnTo>
                    <a:pt x="85" y="117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9" y="115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5" y="115"/>
                  </a:lnTo>
                  <a:lnTo>
                    <a:pt x="96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100" y="114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4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5" y="101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3" y="97"/>
                  </a:lnTo>
                  <a:lnTo>
                    <a:pt x="102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3"/>
                  </a:lnTo>
                  <a:lnTo>
                    <a:pt x="98" y="93"/>
                  </a:lnTo>
                  <a:lnTo>
                    <a:pt x="97" y="92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6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3"/>
                  </a:lnTo>
                  <a:lnTo>
                    <a:pt x="85" y="81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5" y="78"/>
                  </a:lnTo>
                  <a:lnTo>
                    <a:pt x="86" y="77"/>
                  </a:lnTo>
                  <a:lnTo>
                    <a:pt x="86" y="76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8" y="71"/>
                  </a:lnTo>
                  <a:lnTo>
                    <a:pt x="88" y="70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7" y="58"/>
                  </a:lnTo>
                  <a:lnTo>
                    <a:pt x="98" y="56"/>
                  </a:lnTo>
                  <a:lnTo>
                    <a:pt x="98" y="55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3" y="49"/>
                  </a:lnTo>
                  <a:lnTo>
                    <a:pt x="104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6" y="48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4" y="49"/>
                  </a:lnTo>
                  <a:lnTo>
                    <a:pt x="115" y="48"/>
                  </a:lnTo>
                  <a:lnTo>
                    <a:pt x="118" y="47"/>
                  </a:lnTo>
                  <a:lnTo>
                    <a:pt x="119" y="46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4" y="44"/>
                  </a:lnTo>
                  <a:lnTo>
                    <a:pt x="126" y="44"/>
                  </a:lnTo>
                  <a:lnTo>
                    <a:pt x="129" y="43"/>
                  </a:lnTo>
                  <a:lnTo>
                    <a:pt x="131" y="42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6" y="41"/>
                  </a:lnTo>
                  <a:lnTo>
                    <a:pt x="137" y="41"/>
                  </a:lnTo>
                  <a:lnTo>
                    <a:pt x="138" y="40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41" y="38"/>
                  </a:lnTo>
                  <a:lnTo>
                    <a:pt x="142" y="37"/>
                  </a:lnTo>
                  <a:lnTo>
                    <a:pt x="143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7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4" y="31"/>
                  </a:lnTo>
                  <a:lnTo>
                    <a:pt x="155" y="31"/>
                  </a:lnTo>
                  <a:lnTo>
                    <a:pt x="156" y="31"/>
                  </a:lnTo>
                  <a:lnTo>
                    <a:pt x="157" y="31"/>
                  </a:lnTo>
                  <a:lnTo>
                    <a:pt x="158" y="31"/>
                  </a:lnTo>
                  <a:lnTo>
                    <a:pt x="158" y="30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7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5"/>
                  </a:lnTo>
                  <a:lnTo>
                    <a:pt x="160" y="24"/>
                  </a:lnTo>
                  <a:lnTo>
                    <a:pt x="159" y="23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7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4"/>
                  </a:lnTo>
                  <a:lnTo>
                    <a:pt x="160" y="13"/>
                  </a:lnTo>
                  <a:lnTo>
                    <a:pt x="162" y="12"/>
                  </a:lnTo>
                  <a:lnTo>
                    <a:pt x="162" y="11"/>
                  </a:lnTo>
                  <a:lnTo>
                    <a:pt x="163" y="11"/>
                  </a:lnTo>
                  <a:lnTo>
                    <a:pt x="163" y="10"/>
                  </a:lnTo>
                  <a:lnTo>
                    <a:pt x="164" y="10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9"/>
                  </a:lnTo>
                  <a:lnTo>
                    <a:pt x="170" y="9"/>
                  </a:lnTo>
                  <a:lnTo>
                    <a:pt x="171" y="9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8" y="4"/>
                  </a:lnTo>
                  <a:lnTo>
                    <a:pt x="179" y="3"/>
                  </a:lnTo>
                  <a:lnTo>
                    <a:pt x="179" y="2"/>
                  </a:lnTo>
                  <a:lnTo>
                    <a:pt x="180" y="2"/>
                  </a:lnTo>
                  <a:lnTo>
                    <a:pt x="180" y="1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80" y="1"/>
                  </a:lnTo>
                  <a:lnTo>
                    <a:pt x="185" y="4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Freeform 66">
              <a:extLst>
                <a:ext uri="{FF2B5EF4-FFF2-40B4-BE49-F238E27FC236}">
                  <a16:creationId xmlns:a16="http://schemas.microsoft.com/office/drawing/2014/main" id="{BFF3E21E-E0AD-D96A-A165-73C98A358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21"/>
              <a:ext cx="642" cy="464"/>
            </a:xfrm>
            <a:custGeom>
              <a:avLst/>
              <a:gdLst>
                <a:gd name="T0" fmla="*/ 339 w 642"/>
                <a:gd name="T1" fmla="*/ 2 h 464"/>
                <a:gd name="T2" fmla="*/ 375 w 642"/>
                <a:gd name="T3" fmla="*/ 17 h 464"/>
                <a:gd name="T4" fmla="*/ 360 w 642"/>
                <a:gd name="T5" fmla="*/ 32 h 464"/>
                <a:gd name="T6" fmla="*/ 381 w 642"/>
                <a:gd name="T7" fmla="*/ 46 h 464"/>
                <a:gd name="T8" fmla="*/ 384 w 642"/>
                <a:gd name="T9" fmla="*/ 87 h 464"/>
                <a:gd name="T10" fmla="*/ 390 w 642"/>
                <a:gd name="T11" fmla="*/ 109 h 464"/>
                <a:gd name="T12" fmla="*/ 410 w 642"/>
                <a:gd name="T13" fmla="*/ 87 h 464"/>
                <a:gd name="T14" fmla="*/ 403 w 642"/>
                <a:gd name="T15" fmla="*/ 62 h 464"/>
                <a:gd name="T16" fmla="*/ 430 w 642"/>
                <a:gd name="T17" fmla="*/ 77 h 464"/>
                <a:gd name="T18" fmla="*/ 448 w 642"/>
                <a:gd name="T19" fmla="*/ 106 h 464"/>
                <a:gd name="T20" fmla="*/ 452 w 642"/>
                <a:gd name="T21" fmla="*/ 121 h 464"/>
                <a:gd name="T22" fmla="*/ 483 w 642"/>
                <a:gd name="T23" fmla="*/ 146 h 464"/>
                <a:gd name="T24" fmla="*/ 488 w 642"/>
                <a:gd name="T25" fmla="*/ 200 h 464"/>
                <a:gd name="T26" fmla="*/ 500 w 642"/>
                <a:gd name="T27" fmla="*/ 213 h 464"/>
                <a:gd name="T28" fmla="*/ 478 w 642"/>
                <a:gd name="T29" fmla="*/ 242 h 464"/>
                <a:gd name="T30" fmla="*/ 504 w 642"/>
                <a:gd name="T31" fmla="*/ 246 h 464"/>
                <a:gd name="T32" fmla="*/ 517 w 642"/>
                <a:gd name="T33" fmla="*/ 270 h 464"/>
                <a:gd name="T34" fmla="*/ 551 w 642"/>
                <a:gd name="T35" fmla="*/ 287 h 464"/>
                <a:gd name="T36" fmla="*/ 578 w 642"/>
                <a:gd name="T37" fmla="*/ 304 h 464"/>
                <a:gd name="T38" fmla="*/ 610 w 642"/>
                <a:gd name="T39" fmla="*/ 313 h 464"/>
                <a:gd name="T40" fmla="*/ 641 w 642"/>
                <a:gd name="T41" fmla="*/ 348 h 464"/>
                <a:gd name="T42" fmla="*/ 611 w 642"/>
                <a:gd name="T43" fmla="*/ 367 h 464"/>
                <a:gd name="T44" fmla="*/ 583 w 642"/>
                <a:gd name="T45" fmla="*/ 358 h 464"/>
                <a:gd name="T46" fmla="*/ 546 w 642"/>
                <a:gd name="T47" fmla="*/ 362 h 464"/>
                <a:gd name="T48" fmla="*/ 503 w 642"/>
                <a:gd name="T49" fmla="*/ 347 h 464"/>
                <a:gd name="T50" fmla="*/ 462 w 642"/>
                <a:gd name="T51" fmla="*/ 396 h 464"/>
                <a:gd name="T52" fmla="*/ 435 w 642"/>
                <a:gd name="T53" fmla="*/ 458 h 464"/>
                <a:gd name="T54" fmla="*/ 422 w 642"/>
                <a:gd name="T55" fmla="*/ 442 h 464"/>
                <a:gd name="T56" fmla="*/ 403 w 642"/>
                <a:gd name="T57" fmla="*/ 421 h 464"/>
                <a:gd name="T58" fmla="*/ 358 w 642"/>
                <a:gd name="T59" fmla="*/ 413 h 464"/>
                <a:gd name="T60" fmla="*/ 342 w 642"/>
                <a:gd name="T61" fmla="*/ 394 h 464"/>
                <a:gd name="T62" fmla="*/ 304 w 642"/>
                <a:gd name="T63" fmla="*/ 381 h 464"/>
                <a:gd name="T64" fmla="*/ 269 w 642"/>
                <a:gd name="T65" fmla="*/ 405 h 464"/>
                <a:gd name="T66" fmla="*/ 242 w 642"/>
                <a:gd name="T67" fmla="*/ 415 h 464"/>
                <a:gd name="T68" fmla="*/ 181 w 642"/>
                <a:gd name="T69" fmla="*/ 412 h 464"/>
                <a:gd name="T70" fmla="*/ 127 w 642"/>
                <a:gd name="T71" fmla="*/ 385 h 464"/>
                <a:gd name="T72" fmla="*/ 110 w 642"/>
                <a:gd name="T73" fmla="*/ 370 h 464"/>
                <a:gd name="T74" fmla="*/ 92 w 642"/>
                <a:gd name="T75" fmla="*/ 356 h 464"/>
                <a:gd name="T76" fmla="*/ 61 w 642"/>
                <a:gd name="T77" fmla="*/ 362 h 464"/>
                <a:gd name="T78" fmla="*/ 7 w 642"/>
                <a:gd name="T79" fmla="*/ 341 h 464"/>
                <a:gd name="T80" fmla="*/ 8 w 642"/>
                <a:gd name="T81" fmla="*/ 323 h 464"/>
                <a:gd name="T82" fmla="*/ 27 w 642"/>
                <a:gd name="T83" fmla="*/ 321 h 464"/>
                <a:gd name="T84" fmla="*/ 51 w 642"/>
                <a:gd name="T85" fmla="*/ 314 h 464"/>
                <a:gd name="T86" fmla="*/ 78 w 642"/>
                <a:gd name="T87" fmla="*/ 297 h 464"/>
                <a:gd name="T88" fmla="*/ 105 w 642"/>
                <a:gd name="T89" fmla="*/ 280 h 464"/>
                <a:gd name="T90" fmla="*/ 125 w 642"/>
                <a:gd name="T91" fmla="*/ 271 h 464"/>
                <a:gd name="T92" fmla="*/ 149 w 642"/>
                <a:gd name="T93" fmla="*/ 275 h 464"/>
                <a:gd name="T94" fmla="*/ 180 w 642"/>
                <a:gd name="T95" fmla="*/ 267 h 464"/>
                <a:gd name="T96" fmla="*/ 207 w 642"/>
                <a:gd name="T97" fmla="*/ 251 h 464"/>
                <a:gd name="T98" fmla="*/ 203 w 642"/>
                <a:gd name="T99" fmla="*/ 231 h 464"/>
                <a:gd name="T100" fmla="*/ 210 w 642"/>
                <a:gd name="T101" fmla="*/ 214 h 464"/>
                <a:gd name="T102" fmla="*/ 211 w 642"/>
                <a:gd name="T103" fmla="*/ 194 h 464"/>
                <a:gd name="T104" fmla="*/ 222 w 642"/>
                <a:gd name="T105" fmla="*/ 172 h 464"/>
                <a:gd name="T106" fmla="*/ 223 w 642"/>
                <a:gd name="T107" fmla="*/ 147 h 464"/>
                <a:gd name="T108" fmla="*/ 210 w 642"/>
                <a:gd name="T109" fmla="*/ 134 h 464"/>
                <a:gd name="T110" fmla="*/ 216 w 642"/>
                <a:gd name="T111" fmla="*/ 99 h 464"/>
                <a:gd name="T112" fmla="*/ 233 w 642"/>
                <a:gd name="T113" fmla="*/ 87 h 464"/>
                <a:gd name="T114" fmla="*/ 240 w 642"/>
                <a:gd name="T115" fmla="*/ 78 h 464"/>
                <a:gd name="T116" fmla="*/ 251 w 642"/>
                <a:gd name="T117" fmla="*/ 73 h 464"/>
                <a:gd name="T118" fmla="*/ 256 w 642"/>
                <a:gd name="T119" fmla="*/ 58 h 464"/>
                <a:gd name="T120" fmla="*/ 250 w 642"/>
                <a:gd name="T121" fmla="*/ 37 h 464"/>
                <a:gd name="T122" fmla="*/ 266 w 642"/>
                <a:gd name="T123" fmla="*/ 17 h 464"/>
                <a:gd name="T124" fmla="*/ 297 w 642"/>
                <a:gd name="T125" fmla="*/ 17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42" h="464">
                  <a:moveTo>
                    <a:pt x="303" y="0"/>
                  </a:moveTo>
                  <a:lnTo>
                    <a:pt x="303" y="0"/>
                  </a:lnTo>
                  <a:lnTo>
                    <a:pt x="304" y="0"/>
                  </a:lnTo>
                  <a:lnTo>
                    <a:pt x="305" y="1"/>
                  </a:lnTo>
                  <a:lnTo>
                    <a:pt x="308" y="1"/>
                  </a:lnTo>
                  <a:lnTo>
                    <a:pt x="309" y="2"/>
                  </a:lnTo>
                  <a:lnTo>
                    <a:pt x="311" y="2"/>
                  </a:lnTo>
                  <a:lnTo>
                    <a:pt x="314" y="2"/>
                  </a:lnTo>
                  <a:lnTo>
                    <a:pt x="316" y="2"/>
                  </a:lnTo>
                  <a:lnTo>
                    <a:pt x="317" y="2"/>
                  </a:lnTo>
                  <a:lnTo>
                    <a:pt x="319" y="2"/>
                  </a:lnTo>
                  <a:lnTo>
                    <a:pt x="322" y="1"/>
                  </a:lnTo>
                  <a:lnTo>
                    <a:pt x="322" y="1"/>
                  </a:lnTo>
                  <a:lnTo>
                    <a:pt x="323" y="1"/>
                  </a:lnTo>
                  <a:lnTo>
                    <a:pt x="324" y="1"/>
                  </a:lnTo>
                  <a:lnTo>
                    <a:pt x="325" y="1"/>
                  </a:lnTo>
                  <a:lnTo>
                    <a:pt x="326" y="1"/>
                  </a:lnTo>
                  <a:lnTo>
                    <a:pt x="329" y="2"/>
                  </a:lnTo>
                  <a:lnTo>
                    <a:pt x="329" y="2"/>
                  </a:lnTo>
                  <a:lnTo>
                    <a:pt x="330" y="2"/>
                  </a:lnTo>
                  <a:lnTo>
                    <a:pt x="331" y="2"/>
                  </a:lnTo>
                  <a:lnTo>
                    <a:pt x="332" y="2"/>
                  </a:lnTo>
                  <a:lnTo>
                    <a:pt x="334" y="2"/>
                  </a:lnTo>
                  <a:lnTo>
                    <a:pt x="336" y="1"/>
                  </a:lnTo>
                  <a:lnTo>
                    <a:pt x="337" y="1"/>
                  </a:lnTo>
                  <a:lnTo>
                    <a:pt x="338" y="1"/>
                  </a:lnTo>
                  <a:lnTo>
                    <a:pt x="339" y="2"/>
                  </a:lnTo>
                  <a:lnTo>
                    <a:pt x="342" y="2"/>
                  </a:lnTo>
                  <a:lnTo>
                    <a:pt x="343" y="2"/>
                  </a:lnTo>
                  <a:lnTo>
                    <a:pt x="344" y="2"/>
                  </a:lnTo>
                  <a:lnTo>
                    <a:pt x="346" y="3"/>
                  </a:lnTo>
                  <a:lnTo>
                    <a:pt x="347" y="3"/>
                  </a:lnTo>
                  <a:lnTo>
                    <a:pt x="348" y="4"/>
                  </a:lnTo>
                  <a:lnTo>
                    <a:pt x="350" y="4"/>
                  </a:lnTo>
                  <a:lnTo>
                    <a:pt x="352" y="5"/>
                  </a:lnTo>
                  <a:lnTo>
                    <a:pt x="359" y="9"/>
                  </a:lnTo>
                  <a:lnTo>
                    <a:pt x="361" y="9"/>
                  </a:lnTo>
                  <a:lnTo>
                    <a:pt x="362" y="10"/>
                  </a:lnTo>
                  <a:lnTo>
                    <a:pt x="364" y="11"/>
                  </a:lnTo>
                  <a:lnTo>
                    <a:pt x="366" y="11"/>
                  </a:lnTo>
                  <a:lnTo>
                    <a:pt x="367" y="12"/>
                  </a:lnTo>
                  <a:lnTo>
                    <a:pt x="369" y="12"/>
                  </a:lnTo>
                  <a:lnTo>
                    <a:pt x="371" y="13"/>
                  </a:lnTo>
                  <a:lnTo>
                    <a:pt x="372" y="13"/>
                  </a:lnTo>
                  <a:lnTo>
                    <a:pt x="373" y="13"/>
                  </a:lnTo>
                  <a:lnTo>
                    <a:pt x="375" y="13"/>
                  </a:lnTo>
                  <a:lnTo>
                    <a:pt x="376" y="13"/>
                  </a:lnTo>
                  <a:lnTo>
                    <a:pt x="376" y="13"/>
                  </a:lnTo>
                  <a:lnTo>
                    <a:pt x="377" y="13"/>
                  </a:lnTo>
                  <a:lnTo>
                    <a:pt x="376" y="13"/>
                  </a:lnTo>
                  <a:lnTo>
                    <a:pt x="376" y="14"/>
                  </a:lnTo>
                  <a:lnTo>
                    <a:pt x="376" y="15"/>
                  </a:lnTo>
                  <a:lnTo>
                    <a:pt x="375" y="16"/>
                  </a:lnTo>
                  <a:lnTo>
                    <a:pt x="375" y="17"/>
                  </a:lnTo>
                  <a:lnTo>
                    <a:pt x="374" y="20"/>
                  </a:lnTo>
                  <a:lnTo>
                    <a:pt x="374" y="20"/>
                  </a:lnTo>
                  <a:lnTo>
                    <a:pt x="374" y="21"/>
                  </a:lnTo>
                  <a:lnTo>
                    <a:pt x="374" y="21"/>
                  </a:lnTo>
                  <a:lnTo>
                    <a:pt x="373" y="22"/>
                  </a:lnTo>
                  <a:lnTo>
                    <a:pt x="373" y="22"/>
                  </a:lnTo>
                  <a:lnTo>
                    <a:pt x="372" y="22"/>
                  </a:lnTo>
                  <a:lnTo>
                    <a:pt x="372" y="23"/>
                  </a:lnTo>
                  <a:lnTo>
                    <a:pt x="372" y="23"/>
                  </a:lnTo>
                  <a:lnTo>
                    <a:pt x="371" y="23"/>
                  </a:lnTo>
                  <a:lnTo>
                    <a:pt x="370" y="23"/>
                  </a:lnTo>
                  <a:lnTo>
                    <a:pt x="369" y="23"/>
                  </a:lnTo>
                  <a:lnTo>
                    <a:pt x="365" y="22"/>
                  </a:lnTo>
                  <a:lnTo>
                    <a:pt x="362" y="21"/>
                  </a:lnTo>
                  <a:lnTo>
                    <a:pt x="362" y="21"/>
                  </a:lnTo>
                  <a:lnTo>
                    <a:pt x="361" y="21"/>
                  </a:lnTo>
                  <a:lnTo>
                    <a:pt x="361" y="22"/>
                  </a:lnTo>
                  <a:lnTo>
                    <a:pt x="360" y="22"/>
                  </a:lnTo>
                  <a:lnTo>
                    <a:pt x="360" y="22"/>
                  </a:lnTo>
                  <a:lnTo>
                    <a:pt x="360" y="23"/>
                  </a:lnTo>
                  <a:lnTo>
                    <a:pt x="360" y="24"/>
                  </a:lnTo>
                  <a:lnTo>
                    <a:pt x="359" y="25"/>
                  </a:lnTo>
                  <a:lnTo>
                    <a:pt x="359" y="26"/>
                  </a:lnTo>
                  <a:lnTo>
                    <a:pt x="359" y="27"/>
                  </a:lnTo>
                  <a:lnTo>
                    <a:pt x="360" y="30"/>
                  </a:lnTo>
                  <a:lnTo>
                    <a:pt x="360" y="31"/>
                  </a:lnTo>
                  <a:lnTo>
                    <a:pt x="360" y="32"/>
                  </a:lnTo>
                  <a:lnTo>
                    <a:pt x="360" y="34"/>
                  </a:lnTo>
                  <a:lnTo>
                    <a:pt x="360" y="35"/>
                  </a:lnTo>
                  <a:lnTo>
                    <a:pt x="360" y="36"/>
                  </a:lnTo>
                  <a:lnTo>
                    <a:pt x="360" y="36"/>
                  </a:lnTo>
                  <a:lnTo>
                    <a:pt x="360" y="37"/>
                  </a:lnTo>
                  <a:lnTo>
                    <a:pt x="360" y="37"/>
                  </a:lnTo>
                  <a:lnTo>
                    <a:pt x="361" y="37"/>
                  </a:lnTo>
                  <a:lnTo>
                    <a:pt x="361" y="38"/>
                  </a:lnTo>
                  <a:lnTo>
                    <a:pt x="362" y="38"/>
                  </a:lnTo>
                  <a:lnTo>
                    <a:pt x="362" y="38"/>
                  </a:lnTo>
                  <a:lnTo>
                    <a:pt x="365" y="39"/>
                  </a:lnTo>
                  <a:lnTo>
                    <a:pt x="368" y="40"/>
                  </a:lnTo>
                  <a:lnTo>
                    <a:pt x="372" y="41"/>
                  </a:lnTo>
                  <a:lnTo>
                    <a:pt x="374" y="42"/>
                  </a:lnTo>
                  <a:lnTo>
                    <a:pt x="376" y="42"/>
                  </a:lnTo>
                  <a:lnTo>
                    <a:pt x="377" y="42"/>
                  </a:lnTo>
                  <a:lnTo>
                    <a:pt x="379" y="42"/>
                  </a:lnTo>
                  <a:lnTo>
                    <a:pt x="381" y="43"/>
                  </a:lnTo>
                  <a:lnTo>
                    <a:pt x="382" y="43"/>
                  </a:lnTo>
                  <a:lnTo>
                    <a:pt x="382" y="43"/>
                  </a:lnTo>
                  <a:lnTo>
                    <a:pt x="383" y="43"/>
                  </a:lnTo>
                  <a:lnTo>
                    <a:pt x="383" y="44"/>
                  </a:lnTo>
                  <a:lnTo>
                    <a:pt x="383" y="44"/>
                  </a:lnTo>
                  <a:lnTo>
                    <a:pt x="382" y="44"/>
                  </a:lnTo>
                  <a:lnTo>
                    <a:pt x="382" y="45"/>
                  </a:lnTo>
                  <a:lnTo>
                    <a:pt x="381" y="45"/>
                  </a:lnTo>
                  <a:lnTo>
                    <a:pt x="381" y="46"/>
                  </a:lnTo>
                  <a:lnTo>
                    <a:pt x="380" y="47"/>
                  </a:lnTo>
                  <a:lnTo>
                    <a:pt x="379" y="47"/>
                  </a:lnTo>
                  <a:lnTo>
                    <a:pt x="379" y="48"/>
                  </a:lnTo>
                  <a:lnTo>
                    <a:pt x="377" y="50"/>
                  </a:lnTo>
                  <a:lnTo>
                    <a:pt x="377" y="51"/>
                  </a:lnTo>
                  <a:lnTo>
                    <a:pt x="375" y="54"/>
                  </a:lnTo>
                  <a:lnTo>
                    <a:pt x="374" y="55"/>
                  </a:lnTo>
                  <a:lnTo>
                    <a:pt x="374" y="56"/>
                  </a:lnTo>
                  <a:lnTo>
                    <a:pt x="374" y="58"/>
                  </a:lnTo>
                  <a:lnTo>
                    <a:pt x="374" y="59"/>
                  </a:lnTo>
                  <a:lnTo>
                    <a:pt x="374" y="61"/>
                  </a:lnTo>
                  <a:lnTo>
                    <a:pt x="374" y="62"/>
                  </a:lnTo>
                  <a:lnTo>
                    <a:pt x="374" y="64"/>
                  </a:lnTo>
                  <a:lnTo>
                    <a:pt x="374" y="65"/>
                  </a:lnTo>
                  <a:lnTo>
                    <a:pt x="375" y="68"/>
                  </a:lnTo>
                  <a:lnTo>
                    <a:pt x="376" y="72"/>
                  </a:lnTo>
                  <a:lnTo>
                    <a:pt x="377" y="75"/>
                  </a:lnTo>
                  <a:lnTo>
                    <a:pt x="377" y="76"/>
                  </a:lnTo>
                  <a:lnTo>
                    <a:pt x="378" y="77"/>
                  </a:lnTo>
                  <a:lnTo>
                    <a:pt x="378" y="78"/>
                  </a:lnTo>
                  <a:lnTo>
                    <a:pt x="379" y="79"/>
                  </a:lnTo>
                  <a:lnTo>
                    <a:pt x="381" y="82"/>
                  </a:lnTo>
                  <a:lnTo>
                    <a:pt x="382" y="83"/>
                  </a:lnTo>
                  <a:lnTo>
                    <a:pt x="382" y="84"/>
                  </a:lnTo>
                  <a:lnTo>
                    <a:pt x="383" y="85"/>
                  </a:lnTo>
                  <a:lnTo>
                    <a:pt x="383" y="86"/>
                  </a:lnTo>
                  <a:lnTo>
                    <a:pt x="384" y="87"/>
                  </a:lnTo>
                  <a:lnTo>
                    <a:pt x="384" y="88"/>
                  </a:lnTo>
                  <a:lnTo>
                    <a:pt x="383" y="88"/>
                  </a:lnTo>
                  <a:lnTo>
                    <a:pt x="383" y="89"/>
                  </a:lnTo>
                  <a:lnTo>
                    <a:pt x="383" y="89"/>
                  </a:lnTo>
                  <a:lnTo>
                    <a:pt x="383" y="90"/>
                  </a:lnTo>
                  <a:lnTo>
                    <a:pt x="382" y="90"/>
                  </a:lnTo>
                  <a:lnTo>
                    <a:pt x="380" y="92"/>
                  </a:lnTo>
                  <a:lnTo>
                    <a:pt x="379" y="93"/>
                  </a:lnTo>
                  <a:lnTo>
                    <a:pt x="379" y="93"/>
                  </a:lnTo>
                  <a:lnTo>
                    <a:pt x="379" y="94"/>
                  </a:lnTo>
                  <a:lnTo>
                    <a:pt x="379" y="94"/>
                  </a:lnTo>
                  <a:lnTo>
                    <a:pt x="378" y="95"/>
                  </a:lnTo>
                  <a:lnTo>
                    <a:pt x="378" y="96"/>
                  </a:lnTo>
                  <a:lnTo>
                    <a:pt x="378" y="96"/>
                  </a:lnTo>
                  <a:lnTo>
                    <a:pt x="378" y="97"/>
                  </a:lnTo>
                  <a:lnTo>
                    <a:pt x="378" y="98"/>
                  </a:lnTo>
                  <a:lnTo>
                    <a:pt x="378" y="99"/>
                  </a:lnTo>
                  <a:lnTo>
                    <a:pt x="378" y="99"/>
                  </a:lnTo>
                  <a:lnTo>
                    <a:pt x="379" y="100"/>
                  </a:lnTo>
                  <a:lnTo>
                    <a:pt x="379" y="100"/>
                  </a:lnTo>
                  <a:lnTo>
                    <a:pt x="381" y="102"/>
                  </a:lnTo>
                  <a:lnTo>
                    <a:pt x="381" y="102"/>
                  </a:lnTo>
                  <a:lnTo>
                    <a:pt x="382" y="103"/>
                  </a:lnTo>
                  <a:lnTo>
                    <a:pt x="384" y="104"/>
                  </a:lnTo>
                  <a:lnTo>
                    <a:pt x="387" y="107"/>
                  </a:lnTo>
                  <a:lnTo>
                    <a:pt x="389" y="108"/>
                  </a:lnTo>
                  <a:lnTo>
                    <a:pt x="390" y="109"/>
                  </a:lnTo>
                  <a:lnTo>
                    <a:pt x="392" y="109"/>
                  </a:lnTo>
                  <a:lnTo>
                    <a:pt x="393" y="110"/>
                  </a:lnTo>
                  <a:lnTo>
                    <a:pt x="394" y="110"/>
                  </a:lnTo>
                  <a:lnTo>
                    <a:pt x="395" y="110"/>
                  </a:lnTo>
                  <a:lnTo>
                    <a:pt x="396" y="110"/>
                  </a:lnTo>
                  <a:lnTo>
                    <a:pt x="397" y="109"/>
                  </a:lnTo>
                  <a:lnTo>
                    <a:pt x="398" y="109"/>
                  </a:lnTo>
                  <a:lnTo>
                    <a:pt x="399" y="108"/>
                  </a:lnTo>
                  <a:lnTo>
                    <a:pt x="400" y="107"/>
                  </a:lnTo>
                  <a:lnTo>
                    <a:pt x="401" y="106"/>
                  </a:lnTo>
                  <a:lnTo>
                    <a:pt x="403" y="105"/>
                  </a:lnTo>
                  <a:lnTo>
                    <a:pt x="403" y="104"/>
                  </a:lnTo>
                  <a:lnTo>
                    <a:pt x="404" y="103"/>
                  </a:lnTo>
                  <a:lnTo>
                    <a:pt x="405" y="102"/>
                  </a:lnTo>
                  <a:lnTo>
                    <a:pt x="405" y="100"/>
                  </a:lnTo>
                  <a:lnTo>
                    <a:pt x="406" y="97"/>
                  </a:lnTo>
                  <a:lnTo>
                    <a:pt x="407" y="95"/>
                  </a:lnTo>
                  <a:lnTo>
                    <a:pt x="408" y="94"/>
                  </a:lnTo>
                  <a:lnTo>
                    <a:pt x="409" y="92"/>
                  </a:lnTo>
                  <a:lnTo>
                    <a:pt x="410" y="91"/>
                  </a:lnTo>
                  <a:lnTo>
                    <a:pt x="410" y="91"/>
                  </a:lnTo>
                  <a:lnTo>
                    <a:pt x="410" y="90"/>
                  </a:lnTo>
                  <a:lnTo>
                    <a:pt x="410" y="90"/>
                  </a:lnTo>
                  <a:lnTo>
                    <a:pt x="410" y="89"/>
                  </a:lnTo>
                  <a:lnTo>
                    <a:pt x="410" y="88"/>
                  </a:lnTo>
                  <a:lnTo>
                    <a:pt x="410" y="88"/>
                  </a:lnTo>
                  <a:lnTo>
                    <a:pt x="410" y="87"/>
                  </a:lnTo>
                  <a:lnTo>
                    <a:pt x="409" y="86"/>
                  </a:lnTo>
                  <a:lnTo>
                    <a:pt x="409" y="85"/>
                  </a:lnTo>
                  <a:lnTo>
                    <a:pt x="408" y="83"/>
                  </a:lnTo>
                  <a:lnTo>
                    <a:pt x="407" y="82"/>
                  </a:lnTo>
                  <a:lnTo>
                    <a:pt x="407" y="81"/>
                  </a:lnTo>
                  <a:lnTo>
                    <a:pt x="406" y="80"/>
                  </a:lnTo>
                  <a:lnTo>
                    <a:pt x="406" y="79"/>
                  </a:lnTo>
                  <a:lnTo>
                    <a:pt x="406" y="78"/>
                  </a:lnTo>
                  <a:lnTo>
                    <a:pt x="405" y="77"/>
                  </a:lnTo>
                  <a:lnTo>
                    <a:pt x="405" y="77"/>
                  </a:lnTo>
                  <a:lnTo>
                    <a:pt x="400" y="72"/>
                  </a:lnTo>
                  <a:lnTo>
                    <a:pt x="399" y="72"/>
                  </a:lnTo>
                  <a:lnTo>
                    <a:pt x="399" y="71"/>
                  </a:lnTo>
                  <a:lnTo>
                    <a:pt x="399" y="71"/>
                  </a:lnTo>
                  <a:lnTo>
                    <a:pt x="398" y="70"/>
                  </a:lnTo>
                  <a:lnTo>
                    <a:pt x="398" y="69"/>
                  </a:lnTo>
                  <a:lnTo>
                    <a:pt x="397" y="69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397" y="67"/>
                  </a:lnTo>
                  <a:lnTo>
                    <a:pt x="397" y="67"/>
                  </a:lnTo>
                  <a:lnTo>
                    <a:pt x="398" y="67"/>
                  </a:lnTo>
                  <a:lnTo>
                    <a:pt x="399" y="65"/>
                  </a:lnTo>
                  <a:lnTo>
                    <a:pt x="401" y="64"/>
                  </a:lnTo>
                  <a:lnTo>
                    <a:pt x="402" y="63"/>
                  </a:lnTo>
                  <a:lnTo>
                    <a:pt x="403" y="62"/>
                  </a:lnTo>
                  <a:lnTo>
                    <a:pt x="405" y="61"/>
                  </a:lnTo>
                  <a:lnTo>
                    <a:pt x="406" y="60"/>
                  </a:lnTo>
                  <a:lnTo>
                    <a:pt x="408" y="60"/>
                  </a:lnTo>
                  <a:lnTo>
                    <a:pt x="409" y="60"/>
                  </a:lnTo>
                  <a:lnTo>
                    <a:pt x="410" y="60"/>
                  </a:lnTo>
                  <a:lnTo>
                    <a:pt x="411" y="60"/>
                  </a:lnTo>
                  <a:lnTo>
                    <a:pt x="412" y="60"/>
                  </a:lnTo>
                  <a:lnTo>
                    <a:pt x="414" y="60"/>
                  </a:lnTo>
                  <a:lnTo>
                    <a:pt x="416" y="61"/>
                  </a:lnTo>
                  <a:lnTo>
                    <a:pt x="418" y="61"/>
                  </a:lnTo>
                  <a:lnTo>
                    <a:pt x="419" y="61"/>
                  </a:lnTo>
                  <a:lnTo>
                    <a:pt x="420" y="62"/>
                  </a:lnTo>
                  <a:lnTo>
                    <a:pt x="420" y="62"/>
                  </a:lnTo>
                  <a:lnTo>
                    <a:pt x="421" y="63"/>
                  </a:lnTo>
                  <a:lnTo>
                    <a:pt x="422" y="64"/>
                  </a:lnTo>
                  <a:lnTo>
                    <a:pt x="423" y="65"/>
                  </a:lnTo>
                  <a:lnTo>
                    <a:pt x="423" y="66"/>
                  </a:lnTo>
                  <a:lnTo>
                    <a:pt x="424" y="67"/>
                  </a:lnTo>
                  <a:lnTo>
                    <a:pt x="425" y="69"/>
                  </a:lnTo>
                  <a:lnTo>
                    <a:pt x="425" y="70"/>
                  </a:lnTo>
                  <a:lnTo>
                    <a:pt x="426" y="71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9" y="74"/>
                  </a:lnTo>
                  <a:lnTo>
                    <a:pt x="430" y="75"/>
                  </a:lnTo>
                  <a:lnTo>
                    <a:pt x="430" y="76"/>
                  </a:lnTo>
                  <a:lnTo>
                    <a:pt x="430" y="77"/>
                  </a:lnTo>
                  <a:lnTo>
                    <a:pt x="431" y="78"/>
                  </a:lnTo>
                  <a:lnTo>
                    <a:pt x="432" y="79"/>
                  </a:lnTo>
                  <a:lnTo>
                    <a:pt x="432" y="80"/>
                  </a:lnTo>
                  <a:lnTo>
                    <a:pt x="433" y="81"/>
                  </a:lnTo>
                  <a:lnTo>
                    <a:pt x="434" y="83"/>
                  </a:lnTo>
                  <a:lnTo>
                    <a:pt x="435" y="87"/>
                  </a:lnTo>
                  <a:lnTo>
                    <a:pt x="435" y="90"/>
                  </a:lnTo>
                  <a:lnTo>
                    <a:pt x="436" y="90"/>
                  </a:lnTo>
                  <a:lnTo>
                    <a:pt x="436" y="91"/>
                  </a:lnTo>
                  <a:lnTo>
                    <a:pt x="437" y="92"/>
                  </a:lnTo>
                  <a:lnTo>
                    <a:pt x="437" y="93"/>
                  </a:lnTo>
                  <a:lnTo>
                    <a:pt x="438" y="94"/>
                  </a:lnTo>
                  <a:lnTo>
                    <a:pt x="440" y="95"/>
                  </a:lnTo>
                  <a:lnTo>
                    <a:pt x="440" y="95"/>
                  </a:lnTo>
                  <a:lnTo>
                    <a:pt x="441" y="96"/>
                  </a:lnTo>
                  <a:lnTo>
                    <a:pt x="441" y="97"/>
                  </a:lnTo>
                  <a:lnTo>
                    <a:pt x="441" y="97"/>
                  </a:lnTo>
                  <a:lnTo>
                    <a:pt x="443" y="100"/>
                  </a:lnTo>
                  <a:lnTo>
                    <a:pt x="443" y="101"/>
                  </a:lnTo>
                  <a:lnTo>
                    <a:pt x="444" y="101"/>
                  </a:lnTo>
                  <a:lnTo>
                    <a:pt x="444" y="102"/>
                  </a:lnTo>
                  <a:lnTo>
                    <a:pt x="445" y="104"/>
                  </a:lnTo>
                  <a:lnTo>
                    <a:pt x="446" y="104"/>
                  </a:lnTo>
                  <a:lnTo>
                    <a:pt x="447" y="105"/>
                  </a:lnTo>
                  <a:lnTo>
                    <a:pt x="447" y="105"/>
                  </a:lnTo>
                  <a:lnTo>
                    <a:pt x="448" y="106"/>
                  </a:lnTo>
                  <a:lnTo>
                    <a:pt x="448" y="106"/>
                  </a:lnTo>
                  <a:lnTo>
                    <a:pt x="448" y="106"/>
                  </a:lnTo>
                  <a:lnTo>
                    <a:pt x="449" y="106"/>
                  </a:lnTo>
                  <a:lnTo>
                    <a:pt x="449" y="106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1" y="106"/>
                  </a:lnTo>
                  <a:lnTo>
                    <a:pt x="451" y="105"/>
                  </a:lnTo>
                  <a:lnTo>
                    <a:pt x="452" y="104"/>
                  </a:lnTo>
                  <a:lnTo>
                    <a:pt x="452" y="103"/>
                  </a:lnTo>
                  <a:lnTo>
                    <a:pt x="453" y="103"/>
                  </a:lnTo>
                  <a:lnTo>
                    <a:pt x="453" y="103"/>
                  </a:lnTo>
                  <a:lnTo>
                    <a:pt x="453" y="103"/>
                  </a:lnTo>
                  <a:lnTo>
                    <a:pt x="454" y="103"/>
                  </a:lnTo>
                  <a:lnTo>
                    <a:pt x="454" y="103"/>
                  </a:lnTo>
                  <a:lnTo>
                    <a:pt x="454" y="104"/>
                  </a:lnTo>
                  <a:lnTo>
                    <a:pt x="454" y="104"/>
                  </a:lnTo>
                  <a:lnTo>
                    <a:pt x="454" y="105"/>
                  </a:lnTo>
                  <a:lnTo>
                    <a:pt x="455" y="107"/>
                  </a:lnTo>
                  <a:lnTo>
                    <a:pt x="454" y="108"/>
                  </a:lnTo>
                  <a:lnTo>
                    <a:pt x="454" y="110"/>
                  </a:lnTo>
                  <a:lnTo>
                    <a:pt x="454" y="111"/>
                  </a:lnTo>
                  <a:lnTo>
                    <a:pt x="454" y="113"/>
                  </a:lnTo>
                  <a:lnTo>
                    <a:pt x="453" y="116"/>
                  </a:lnTo>
                  <a:lnTo>
                    <a:pt x="453" y="119"/>
                  </a:lnTo>
                  <a:lnTo>
                    <a:pt x="452" y="121"/>
                  </a:lnTo>
                  <a:lnTo>
                    <a:pt x="452" y="121"/>
                  </a:lnTo>
                  <a:lnTo>
                    <a:pt x="452" y="122"/>
                  </a:lnTo>
                  <a:lnTo>
                    <a:pt x="452" y="122"/>
                  </a:lnTo>
                  <a:lnTo>
                    <a:pt x="453" y="123"/>
                  </a:lnTo>
                  <a:lnTo>
                    <a:pt x="453" y="123"/>
                  </a:lnTo>
                  <a:lnTo>
                    <a:pt x="453" y="123"/>
                  </a:lnTo>
                  <a:lnTo>
                    <a:pt x="454" y="124"/>
                  </a:lnTo>
                  <a:lnTo>
                    <a:pt x="454" y="124"/>
                  </a:lnTo>
                  <a:lnTo>
                    <a:pt x="455" y="125"/>
                  </a:lnTo>
                  <a:lnTo>
                    <a:pt x="458" y="126"/>
                  </a:lnTo>
                  <a:lnTo>
                    <a:pt x="459" y="127"/>
                  </a:lnTo>
                  <a:lnTo>
                    <a:pt x="461" y="128"/>
                  </a:lnTo>
                  <a:lnTo>
                    <a:pt x="463" y="128"/>
                  </a:lnTo>
                  <a:lnTo>
                    <a:pt x="465" y="129"/>
                  </a:lnTo>
                  <a:lnTo>
                    <a:pt x="468" y="130"/>
                  </a:lnTo>
                  <a:lnTo>
                    <a:pt x="469" y="131"/>
                  </a:lnTo>
                  <a:lnTo>
                    <a:pt x="471" y="131"/>
                  </a:lnTo>
                  <a:lnTo>
                    <a:pt x="473" y="132"/>
                  </a:lnTo>
                  <a:lnTo>
                    <a:pt x="474" y="133"/>
                  </a:lnTo>
                  <a:lnTo>
                    <a:pt x="475" y="134"/>
                  </a:lnTo>
                  <a:lnTo>
                    <a:pt x="478" y="136"/>
                  </a:lnTo>
                  <a:lnTo>
                    <a:pt x="479" y="137"/>
                  </a:lnTo>
                  <a:lnTo>
                    <a:pt x="480" y="138"/>
                  </a:lnTo>
                  <a:lnTo>
                    <a:pt x="480" y="138"/>
                  </a:lnTo>
                  <a:lnTo>
                    <a:pt x="481" y="139"/>
                  </a:lnTo>
                  <a:lnTo>
                    <a:pt x="481" y="140"/>
                  </a:lnTo>
                  <a:lnTo>
                    <a:pt x="481" y="141"/>
                  </a:lnTo>
                  <a:lnTo>
                    <a:pt x="483" y="146"/>
                  </a:lnTo>
                  <a:lnTo>
                    <a:pt x="484" y="149"/>
                  </a:lnTo>
                  <a:lnTo>
                    <a:pt x="484" y="150"/>
                  </a:lnTo>
                  <a:lnTo>
                    <a:pt x="486" y="153"/>
                  </a:lnTo>
                  <a:lnTo>
                    <a:pt x="488" y="158"/>
                  </a:lnTo>
                  <a:lnTo>
                    <a:pt x="488" y="160"/>
                  </a:lnTo>
                  <a:lnTo>
                    <a:pt x="484" y="166"/>
                  </a:lnTo>
                  <a:lnTo>
                    <a:pt x="483" y="168"/>
                  </a:lnTo>
                  <a:lnTo>
                    <a:pt x="483" y="170"/>
                  </a:lnTo>
                  <a:lnTo>
                    <a:pt x="483" y="171"/>
                  </a:lnTo>
                  <a:lnTo>
                    <a:pt x="482" y="172"/>
                  </a:lnTo>
                  <a:lnTo>
                    <a:pt x="482" y="173"/>
                  </a:lnTo>
                  <a:lnTo>
                    <a:pt x="482" y="174"/>
                  </a:lnTo>
                  <a:lnTo>
                    <a:pt x="482" y="175"/>
                  </a:lnTo>
                  <a:lnTo>
                    <a:pt x="482" y="176"/>
                  </a:lnTo>
                  <a:lnTo>
                    <a:pt x="483" y="179"/>
                  </a:lnTo>
                  <a:lnTo>
                    <a:pt x="483" y="181"/>
                  </a:lnTo>
                  <a:lnTo>
                    <a:pt x="483" y="182"/>
                  </a:lnTo>
                  <a:lnTo>
                    <a:pt x="483" y="186"/>
                  </a:lnTo>
                  <a:lnTo>
                    <a:pt x="483" y="187"/>
                  </a:lnTo>
                  <a:lnTo>
                    <a:pt x="484" y="188"/>
                  </a:lnTo>
                  <a:lnTo>
                    <a:pt x="484" y="189"/>
                  </a:lnTo>
                  <a:lnTo>
                    <a:pt x="485" y="191"/>
                  </a:lnTo>
                  <a:lnTo>
                    <a:pt x="487" y="195"/>
                  </a:lnTo>
                  <a:lnTo>
                    <a:pt x="488" y="198"/>
                  </a:lnTo>
                  <a:lnTo>
                    <a:pt x="488" y="199"/>
                  </a:lnTo>
                  <a:lnTo>
                    <a:pt x="488" y="199"/>
                  </a:lnTo>
                  <a:lnTo>
                    <a:pt x="488" y="200"/>
                  </a:lnTo>
                  <a:lnTo>
                    <a:pt x="488" y="201"/>
                  </a:lnTo>
                  <a:lnTo>
                    <a:pt x="488" y="202"/>
                  </a:lnTo>
                  <a:lnTo>
                    <a:pt x="488" y="203"/>
                  </a:lnTo>
                  <a:lnTo>
                    <a:pt x="488" y="204"/>
                  </a:lnTo>
                  <a:lnTo>
                    <a:pt x="488" y="204"/>
                  </a:lnTo>
                  <a:lnTo>
                    <a:pt x="488" y="205"/>
                  </a:lnTo>
                  <a:lnTo>
                    <a:pt x="489" y="205"/>
                  </a:lnTo>
                  <a:lnTo>
                    <a:pt x="489" y="205"/>
                  </a:lnTo>
                  <a:lnTo>
                    <a:pt x="490" y="205"/>
                  </a:lnTo>
                  <a:lnTo>
                    <a:pt x="491" y="205"/>
                  </a:lnTo>
                  <a:lnTo>
                    <a:pt x="493" y="205"/>
                  </a:lnTo>
                  <a:lnTo>
                    <a:pt x="495" y="205"/>
                  </a:lnTo>
                  <a:lnTo>
                    <a:pt x="496" y="205"/>
                  </a:lnTo>
                  <a:lnTo>
                    <a:pt x="497" y="205"/>
                  </a:lnTo>
                  <a:lnTo>
                    <a:pt x="498" y="205"/>
                  </a:lnTo>
                  <a:lnTo>
                    <a:pt x="499" y="205"/>
                  </a:lnTo>
                  <a:lnTo>
                    <a:pt x="499" y="205"/>
                  </a:lnTo>
                  <a:lnTo>
                    <a:pt x="500" y="206"/>
                  </a:lnTo>
                  <a:lnTo>
                    <a:pt x="500" y="206"/>
                  </a:lnTo>
                  <a:lnTo>
                    <a:pt x="500" y="207"/>
                  </a:lnTo>
                  <a:lnTo>
                    <a:pt x="501" y="207"/>
                  </a:lnTo>
                  <a:lnTo>
                    <a:pt x="501" y="208"/>
                  </a:lnTo>
                  <a:lnTo>
                    <a:pt x="501" y="209"/>
                  </a:lnTo>
                  <a:lnTo>
                    <a:pt x="501" y="210"/>
                  </a:lnTo>
                  <a:lnTo>
                    <a:pt x="501" y="211"/>
                  </a:lnTo>
                  <a:lnTo>
                    <a:pt x="501" y="212"/>
                  </a:lnTo>
                  <a:lnTo>
                    <a:pt x="500" y="213"/>
                  </a:lnTo>
                  <a:lnTo>
                    <a:pt x="500" y="214"/>
                  </a:lnTo>
                  <a:lnTo>
                    <a:pt x="499" y="216"/>
                  </a:lnTo>
                  <a:lnTo>
                    <a:pt x="499" y="217"/>
                  </a:lnTo>
                  <a:lnTo>
                    <a:pt x="498" y="218"/>
                  </a:lnTo>
                  <a:lnTo>
                    <a:pt x="498" y="219"/>
                  </a:lnTo>
                  <a:lnTo>
                    <a:pt x="497" y="220"/>
                  </a:lnTo>
                  <a:lnTo>
                    <a:pt x="497" y="221"/>
                  </a:lnTo>
                  <a:lnTo>
                    <a:pt x="497" y="221"/>
                  </a:lnTo>
                  <a:lnTo>
                    <a:pt x="495" y="222"/>
                  </a:lnTo>
                  <a:lnTo>
                    <a:pt x="493" y="224"/>
                  </a:lnTo>
                  <a:lnTo>
                    <a:pt x="491" y="226"/>
                  </a:lnTo>
                  <a:lnTo>
                    <a:pt x="490" y="226"/>
                  </a:lnTo>
                  <a:lnTo>
                    <a:pt x="489" y="227"/>
                  </a:lnTo>
                  <a:lnTo>
                    <a:pt x="488" y="227"/>
                  </a:lnTo>
                  <a:lnTo>
                    <a:pt x="488" y="229"/>
                  </a:lnTo>
                  <a:lnTo>
                    <a:pt x="487" y="230"/>
                  </a:lnTo>
                  <a:lnTo>
                    <a:pt x="486" y="231"/>
                  </a:lnTo>
                  <a:lnTo>
                    <a:pt x="484" y="235"/>
                  </a:lnTo>
                  <a:lnTo>
                    <a:pt x="483" y="236"/>
                  </a:lnTo>
                  <a:lnTo>
                    <a:pt x="483" y="237"/>
                  </a:lnTo>
                  <a:lnTo>
                    <a:pt x="482" y="238"/>
                  </a:lnTo>
                  <a:lnTo>
                    <a:pt x="481" y="239"/>
                  </a:lnTo>
                  <a:lnTo>
                    <a:pt x="481" y="239"/>
                  </a:lnTo>
                  <a:lnTo>
                    <a:pt x="479" y="241"/>
                  </a:lnTo>
                  <a:lnTo>
                    <a:pt x="479" y="241"/>
                  </a:lnTo>
                  <a:lnTo>
                    <a:pt x="478" y="241"/>
                  </a:lnTo>
                  <a:lnTo>
                    <a:pt x="478" y="242"/>
                  </a:lnTo>
                  <a:lnTo>
                    <a:pt x="478" y="243"/>
                  </a:lnTo>
                  <a:lnTo>
                    <a:pt x="477" y="244"/>
                  </a:lnTo>
                  <a:lnTo>
                    <a:pt x="477" y="245"/>
                  </a:lnTo>
                  <a:lnTo>
                    <a:pt x="477" y="246"/>
                  </a:lnTo>
                  <a:lnTo>
                    <a:pt x="477" y="247"/>
                  </a:lnTo>
                  <a:lnTo>
                    <a:pt x="478" y="249"/>
                  </a:lnTo>
                  <a:lnTo>
                    <a:pt x="478" y="250"/>
                  </a:lnTo>
                  <a:lnTo>
                    <a:pt x="478" y="250"/>
                  </a:lnTo>
                  <a:lnTo>
                    <a:pt x="478" y="250"/>
                  </a:lnTo>
                  <a:lnTo>
                    <a:pt x="479" y="251"/>
                  </a:lnTo>
                  <a:lnTo>
                    <a:pt x="479" y="251"/>
                  </a:lnTo>
                  <a:lnTo>
                    <a:pt x="480" y="251"/>
                  </a:lnTo>
                  <a:lnTo>
                    <a:pt x="481" y="251"/>
                  </a:lnTo>
                  <a:lnTo>
                    <a:pt x="482" y="252"/>
                  </a:lnTo>
                  <a:lnTo>
                    <a:pt x="483" y="252"/>
                  </a:lnTo>
                  <a:lnTo>
                    <a:pt x="484" y="251"/>
                  </a:lnTo>
                  <a:lnTo>
                    <a:pt x="485" y="251"/>
                  </a:lnTo>
                  <a:lnTo>
                    <a:pt x="486" y="251"/>
                  </a:lnTo>
                  <a:lnTo>
                    <a:pt x="488" y="251"/>
                  </a:lnTo>
                  <a:lnTo>
                    <a:pt x="490" y="250"/>
                  </a:lnTo>
                  <a:lnTo>
                    <a:pt x="497" y="247"/>
                  </a:lnTo>
                  <a:lnTo>
                    <a:pt x="499" y="247"/>
                  </a:lnTo>
                  <a:lnTo>
                    <a:pt x="500" y="246"/>
                  </a:lnTo>
                  <a:lnTo>
                    <a:pt x="501" y="246"/>
                  </a:lnTo>
                  <a:lnTo>
                    <a:pt x="502" y="246"/>
                  </a:lnTo>
                  <a:lnTo>
                    <a:pt x="503" y="246"/>
                  </a:lnTo>
                  <a:lnTo>
                    <a:pt x="504" y="246"/>
                  </a:lnTo>
                  <a:lnTo>
                    <a:pt x="505" y="246"/>
                  </a:lnTo>
                  <a:lnTo>
                    <a:pt x="505" y="246"/>
                  </a:lnTo>
                  <a:lnTo>
                    <a:pt x="506" y="247"/>
                  </a:lnTo>
                  <a:lnTo>
                    <a:pt x="506" y="247"/>
                  </a:lnTo>
                  <a:lnTo>
                    <a:pt x="507" y="248"/>
                  </a:lnTo>
                  <a:lnTo>
                    <a:pt x="507" y="249"/>
                  </a:lnTo>
                  <a:lnTo>
                    <a:pt x="509" y="250"/>
                  </a:lnTo>
                  <a:lnTo>
                    <a:pt x="510" y="252"/>
                  </a:lnTo>
                  <a:lnTo>
                    <a:pt x="510" y="253"/>
                  </a:lnTo>
                  <a:lnTo>
                    <a:pt x="511" y="254"/>
                  </a:lnTo>
                  <a:lnTo>
                    <a:pt x="511" y="256"/>
                  </a:lnTo>
                  <a:lnTo>
                    <a:pt x="511" y="256"/>
                  </a:lnTo>
                  <a:lnTo>
                    <a:pt x="511" y="258"/>
                  </a:lnTo>
                  <a:lnTo>
                    <a:pt x="511" y="259"/>
                  </a:lnTo>
                  <a:lnTo>
                    <a:pt x="511" y="260"/>
                  </a:lnTo>
                  <a:lnTo>
                    <a:pt x="511" y="264"/>
                  </a:lnTo>
                  <a:lnTo>
                    <a:pt x="511" y="265"/>
                  </a:lnTo>
                  <a:lnTo>
                    <a:pt x="511" y="266"/>
                  </a:lnTo>
                  <a:lnTo>
                    <a:pt x="511" y="267"/>
                  </a:lnTo>
                  <a:lnTo>
                    <a:pt x="511" y="267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3" y="269"/>
                  </a:lnTo>
                  <a:lnTo>
                    <a:pt x="516" y="269"/>
                  </a:lnTo>
                  <a:lnTo>
                    <a:pt x="517" y="270"/>
                  </a:lnTo>
                  <a:lnTo>
                    <a:pt x="517" y="270"/>
                  </a:lnTo>
                  <a:lnTo>
                    <a:pt x="518" y="270"/>
                  </a:lnTo>
                  <a:lnTo>
                    <a:pt x="520" y="271"/>
                  </a:lnTo>
                  <a:lnTo>
                    <a:pt x="522" y="272"/>
                  </a:lnTo>
                  <a:lnTo>
                    <a:pt x="522" y="272"/>
                  </a:lnTo>
                  <a:lnTo>
                    <a:pt x="523" y="273"/>
                  </a:lnTo>
                  <a:lnTo>
                    <a:pt x="524" y="273"/>
                  </a:lnTo>
                  <a:lnTo>
                    <a:pt x="525" y="274"/>
                  </a:lnTo>
                  <a:lnTo>
                    <a:pt x="527" y="276"/>
                  </a:lnTo>
                  <a:lnTo>
                    <a:pt x="527" y="276"/>
                  </a:lnTo>
                  <a:lnTo>
                    <a:pt x="528" y="277"/>
                  </a:lnTo>
                  <a:lnTo>
                    <a:pt x="529" y="277"/>
                  </a:lnTo>
                  <a:lnTo>
                    <a:pt x="529" y="277"/>
                  </a:lnTo>
                  <a:lnTo>
                    <a:pt x="531" y="278"/>
                  </a:lnTo>
                  <a:lnTo>
                    <a:pt x="536" y="278"/>
                  </a:lnTo>
                  <a:lnTo>
                    <a:pt x="539" y="279"/>
                  </a:lnTo>
                  <a:lnTo>
                    <a:pt x="544" y="280"/>
                  </a:lnTo>
                  <a:lnTo>
                    <a:pt x="545" y="280"/>
                  </a:lnTo>
                  <a:lnTo>
                    <a:pt x="546" y="280"/>
                  </a:lnTo>
                  <a:lnTo>
                    <a:pt x="546" y="281"/>
                  </a:lnTo>
                  <a:lnTo>
                    <a:pt x="547" y="281"/>
                  </a:lnTo>
                  <a:lnTo>
                    <a:pt x="549" y="282"/>
                  </a:lnTo>
                  <a:lnTo>
                    <a:pt x="550" y="283"/>
                  </a:lnTo>
                  <a:lnTo>
                    <a:pt x="550" y="284"/>
                  </a:lnTo>
                  <a:lnTo>
                    <a:pt x="551" y="284"/>
                  </a:lnTo>
                  <a:lnTo>
                    <a:pt x="551" y="284"/>
                  </a:lnTo>
                  <a:lnTo>
                    <a:pt x="551" y="285"/>
                  </a:lnTo>
                  <a:lnTo>
                    <a:pt x="551" y="287"/>
                  </a:lnTo>
                  <a:lnTo>
                    <a:pt x="552" y="288"/>
                  </a:lnTo>
                  <a:lnTo>
                    <a:pt x="552" y="291"/>
                  </a:lnTo>
                  <a:lnTo>
                    <a:pt x="552" y="292"/>
                  </a:lnTo>
                  <a:lnTo>
                    <a:pt x="552" y="292"/>
                  </a:lnTo>
                  <a:lnTo>
                    <a:pt x="553" y="293"/>
                  </a:lnTo>
                  <a:lnTo>
                    <a:pt x="553" y="294"/>
                  </a:lnTo>
                  <a:lnTo>
                    <a:pt x="553" y="294"/>
                  </a:lnTo>
                  <a:lnTo>
                    <a:pt x="554" y="294"/>
                  </a:lnTo>
                  <a:lnTo>
                    <a:pt x="554" y="294"/>
                  </a:lnTo>
                  <a:lnTo>
                    <a:pt x="555" y="295"/>
                  </a:lnTo>
                  <a:lnTo>
                    <a:pt x="556" y="295"/>
                  </a:lnTo>
                  <a:lnTo>
                    <a:pt x="558" y="295"/>
                  </a:lnTo>
                  <a:lnTo>
                    <a:pt x="560" y="295"/>
                  </a:lnTo>
                  <a:lnTo>
                    <a:pt x="561" y="296"/>
                  </a:lnTo>
                  <a:lnTo>
                    <a:pt x="562" y="296"/>
                  </a:lnTo>
                  <a:lnTo>
                    <a:pt x="563" y="296"/>
                  </a:lnTo>
                  <a:lnTo>
                    <a:pt x="563" y="297"/>
                  </a:lnTo>
                  <a:lnTo>
                    <a:pt x="564" y="297"/>
                  </a:lnTo>
                  <a:lnTo>
                    <a:pt x="570" y="301"/>
                  </a:lnTo>
                  <a:lnTo>
                    <a:pt x="571" y="302"/>
                  </a:lnTo>
                  <a:lnTo>
                    <a:pt x="572" y="303"/>
                  </a:lnTo>
                  <a:lnTo>
                    <a:pt x="574" y="304"/>
                  </a:lnTo>
                  <a:lnTo>
                    <a:pt x="575" y="304"/>
                  </a:lnTo>
                  <a:lnTo>
                    <a:pt x="575" y="304"/>
                  </a:lnTo>
                  <a:lnTo>
                    <a:pt x="576" y="304"/>
                  </a:lnTo>
                  <a:lnTo>
                    <a:pt x="577" y="305"/>
                  </a:lnTo>
                  <a:lnTo>
                    <a:pt x="578" y="304"/>
                  </a:lnTo>
                  <a:lnTo>
                    <a:pt x="579" y="304"/>
                  </a:lnTo>
                  <a:lnTo>
                    <a:pt x="580" y="304"/>
                  </a:lnTo>
                  <a:lnTo>
                    <a:pt x="584" y="303"/>
                  </a:lnTo>
                  <a:lnTo>
                    <a:pt x="586" y="303"/>
                  </a:lnTo>
                  <a:lnTo>
                    <a:pt x="587" y="303"/>
                  </a:lnTo>
                  <a:lnTo>
                    <a:pt x="590" y="303"/>
                  </a:lnTo>
                  <a:lnTo>
                    <a:pt x="594" y="302"/>
                  </a:lnTo>
                  <a:lnTo>
                    <a:pt x="594" y="302"/>
                  </a:lnTo>
                  <a:lnTo>
                    <a:pt x="595" y="302"/>
                  </a:lnTo>
                  <a:lnTo>
                    <a:pt x="596" y="302"/>
                  </a:lnTo>
                  <a:lnTo>
                    <a:pt x="596" y="302"/>
                  </a:lnTo>
                  <a:lnTo>
                    <a:pt x="597" y="303"/>
                  </a:lnTo>
                  <a:lnTo>
                    <a:pt x="600" y="304"/>
                  </a:lnTo>
                  <a:lnTo>
                    <a:pt x="602" y="304"/>
                  </a:lnTo>
                  <a:lnTo>
                    <a:pt x="603" y="305"/>
                  </a:lnTo>
                  <a:lnTo>
                    <a:pt x="604" y="305"/>
                  </a:lnTo>
                  <a:lnTo>
                    <a:pt x="605" y="306"/>
                  </a:lnTo>
                  <a:lnTo>
                    <a:pt x="607" y="307"/>
                  </a:lnTo>
                  <a:lnTo>
                    <a:pt x="608" y="308"/>
                  </a:lnTo>
                  <a:lnTo>
                    <a:pt x="608" y="308"/>
                  </a:lnTo>
                  <a:lnTo>
                    <a:pt x="608" y="309"/>
                  </a:lnTo>
                  <a:lnTo>
                    <a:pt x="609" y="309"/>
                  </a:lnTo>
                  <a:lnTo>
                    <a:pt x="609" y="310"/>
                  </a:lnTo>
                  <a:lnTo>
                    <a:pt x="609" y="310"/>
                  </a:lnTo>
                  <a:lnTo>
                    <a:pt x="609" y="311"/>
                  </a:lnTo>
                  <a:lnTo>
                    <a:pt x="610" y="312"/>
                  </a:lnTo>
                  <a:lnTo>
                    <a:pt x="610" y="313"/>
                  </a:lnTo>
                  <a:lnTo>
                    <a:pt x="610" y="315"/>
                  </a:lnTo>
                  <a:lnTo>
                    <a:pt x="610" y="316"/>
                  </a:lnTo>
                  <a:lnTo>
                    <a:pt x="610" y="317"/>
                  </a:lnTo>
                  <a:lnTo>
                    <a:pt x="611" y="317"/>
                  </a:lnTo>
                  <a:lnTo>
                    <a:pt x="611" y="318"/>
                  </a:lnTo>
                  <a:lnTo>
                    <a:pt x="611" y="318"/>
                  </a:lnTo>
                  <a:lnTo>
                    <a:pt x="612" y="319"/>
                  </a:lnTo>
                  <a:lnTo>
                    <a:pt x="612" y="319"/>
                  </a:lnTo>
                  <a:lnTo>
                    <a:pt x="613" y="319"/>
                  </a:lnTo>
                  <a:lnTo>
                    <a:pt x="614" y="320"/>
                  </a:lnTo>
                  <a:lnTo>
                    <a:pt x="616" y="321"/>
                  </a:lnTo>
                  <a:lnTo>
                    <a:pt x="617" y="321"/>
                  </a:lnTo>
                  <a:lnTo>
                    <a:pt x="624" y="324"/>
                  </a:lnTo>
                  <a:lnTo>
                    <a:pt x="625" y="325"/>
                  </a:lnTo>
                  <a:lnTo>
                    <a:pt x="626" y="326"/>
                  </a:lnTo>
                  <a:lnTo>
                    <a:pt x="627" y="327"/>
                  </a:lnTo>
                  <a:lnTo>
                    <a:pt x="628" y="328"/>
                  </a:lnTo>
                  <a:lnTo>
                    <a:pt x="630" y="329"/>
                  </a:lnTo>
                  <a:lnTo>
                    <a:pt x="631" y="330"/>
                  </a:lnTo>
                  <a:lnTo>
                    <a:pt x="632" y="332"/>
                  </a:lnTo>
                  <a:lnTo>
                    <a:pt x="635" y="337"/>
                  </a:lnTo>
                  <a:lnTo>
                    <a:pt x="638" y="340"/>
                  </a:lnTo>
                  <a:lnTo>
                    <a:pt x="638" y="341"/>
                  </a:lnTo>
                  <a:lnTo>
                    <a:pt x="639" y="342"/>
                  </a:lnTo>
                  <a:lnTo>
                    <a:pt x="639" y="343"/>
                  </a:lnTo>
                  <a:lnTo>
                    <a:pt x="641" y="346"/>
                  </a:lnTo>
                  <a:lnTo>
                    <a:pt x="641" y="348"/>
                  </a:lnTo>
                  <a:lnTo>
                    <a:pt x="642" y="349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1" y="350"/>
                  </a:lnTo>
                  <a:lnTo>
                    <a:pt x="641" y="350"/>
                  </a:lnTo>
                  <a:lnTo>
                    <a:pt x="640" y="350"/>
                  </a:lnTo>
                  <a:lnTo>
                    <a:pt x="638" y="351"/>
                  </a:lnTo>
                  <a:lnTo>
                    <a:pt x="635" y="354"/>
                  </a:lnTo>
                  <a:lnTo>
                    <a:pt x="630" y="357"/>
                  </a:lnTo>
                  <a:lnTo>
                    <a:pt x="629" y="358"/>
                  </a:lnTo>
                  <a:lnTo>
                    <a:pt x="626" y="361"/>
                  </a:lnTo>
                  <a:lnTo>
                    <a:pt x="625" y="361"/>
                  </a:lnTo>
                  <a:lnTo>
                    <a:pt x="624" y="362"/>
                  </a:lnTo>
                  <a:lnTo>
                    <a:pt x="623" y="362"/>
                  </a:lnTo>
                  <a:lnTo>
                    <a:pt x="623" y="362"/>
                  </a:lnTo>
                  <a:lnTo>
                    <a:pt x="622" y="363"/>
                  </a:lnTo>
                  <a:lnTo>
                    <a:pt x="621" y="363"/>
                  </a:lnTo>
                  <a:lnTo>
                    <a:pt x="619" y="363"/>
                  </a:lnTo>
                  <a:lnTo>
                    <a:pt x="616" y="364"/>
                  </a:lnTo>
                  <a:lnTo>
                    <a:pt x="615" y="364"/>
                  </a:lnTo>
                  <a:lnTo>
                    <a:pt x="615" y="364"/>
                  </a:lnTo>
                  <a:lnTo>
                    <a:pt x="614" y="365"/>
                  </a:lnTo>
                  <a:lnTo>
                    <a:pt x="613" y="366"/>
                  </a:lnTo>
                  <a:lnTo>
                    <a:pt x="612" y="367"/>
                  </a:lnTo>
                  <a:lnTo>
                    <a:pt x="611" y="367"/>
                  </a:lnTo>
                  <a:lnTo>
                    <a:pt x="611" y="367"/>
                  </a:lnTo>
                  <a:lnTo>
                    <a:pt x="610" y="367"/>
                  </a:lnTo>
                  <a:lnTo>
                    <a:pt x="608" y="368"/>
                  </a:lnTo>
                  <a:lnTo>
                    <a:pt x="607" y="368"/>
                  </a:lnTo>
                  <a:lnTo>
                    <a:pt x="607" y="368"/>
                  </a:lnTo>
                  <a:lnTo>
                    <a:pt x="606" y="368"/>
                  </a:lnTo>
                  <a:lnTo>
                    <a:pt x="605" y="368"/>
                  </a:lnTo>
                  <a:lnTo>
                    <a:pt x="605" y="367"/>
                  </a:lnTo>
                  <a:lnTo>
                    <a:pt x="604" y="367"/>
                  </a:lnTo>
                  <a:lnTo>
                    <a:pt x="603" y="366"/>
                  </a:lnTo>
                  <a:lnTo>
                    <a:pt x="603" y="366"/>
                  </a:lnTo>
                  <a:lnTo>
                    <a:pt x="602" y="366"/>
                  </a:lnTo>
                  <a:lnTo>
                    <a:pt x="600" y="365"/>
                  </a:lnTo>
                  <a:lnTo>
                    <a:pt x="600" y="365"/>
                  </a:lnTo>
                  <a:lnTo>
                    <a:pt x="599" y="364"/>
                  </a:lnTo>
                  <a:lnTo>
                    <a:pt x="598" y="363"/>
                  </a:lnTo>
                  <a:lnTo>
                    <a:pt x="594" y="361"/>
                  </a:lnTo>
                  <a:lnTo>
                    <a:pt x="593" y="360"/>
                  </a:lnTo>
                  <a:lnTo>
                    <a:pt x="591" y="359"/>
                  </a:lnTo>
                  <a:lnTo>
                    <a:pt x="590" y="359"/>
                  </a:lnTo>
                  <a:lnTo>
                    <a:pt x="589" y="358"/>
                  </a:lnTo>
                  <a:lnTo>
                    <a:pt x="587" y="358"/>
                  </a:lnTo>
                  <a:lnTo>
                    <a:pt x="586" y="358"/>
                  </a:lnTo>
                  <a:lnTo>
                    <a:pt x="585" y="358"/>
                  </a:lnTo>
                  <a:lnTo>
                    <a:pt x="584" y="358"/>
                  </a:lnTo>
                  <a:lnTo>
                    <a:pt x="583" y="358"/>
                  </a:lnTo>
                  <a:lnTo>
                    <a:pt x="583" y="358"/>
                  </a:lnTo>
                  <a:lnTo>
                    <a:pt x="582" y="358"/>
                  </a:lnTo>
                  <a:lnTo>
                    <a:pt x="581" y="358"/>
                  </a:lnTo>
                  <a:lnTo>
                    <a:pt x="579" y="359"/>
                  </a:lnTo>
                  <a:lnTo>
                    <a:pt x="579" y="360"/>
                  </a:lnTo>
                  <a:lnTo>
                    <a:pt x="578" y="361"/>
                  </a:lnTo>
                  <a:lnTo>
                    <a:pt x="575" y="363"/>
                  </a:lnTo>
                  <a:lnTo>
                    <a:pt x="574" y="364"/>
                  </a:lnTo>
                  <a:lnTo>
                    <a:pt x="569" y="367"/>
                  </a:lnTo>
                  <a:lnTo>
                    <a:pt x="568" y="368"/>
                  </a:lnTo>
                  <a:lnTo>
                    <a:pt x="567" y="369"/>
                  </a:lnTo>
                  <a:lnTo>
                    <a:pt x="566" y="369"/>
                  </a:lnTo>
                  <a:lnTo>
                    <a:pt x="565" y="369"/>
                  </a:lnTo>
                  <a:lnTo>
                    <a:pt x="565" y="369"/>
                  </a:lnTo>
                  <a:lnTo>
                    <a:pt x="564" y="369"/>
                  </a:lnTo>
                  <a:lnTo>
                    <a:pt x="562" y="370"/>
                  </a:lnTo>
                  <a:lnTo>
                    <a:pt x="559" y="370"/>
                  </a:lnTo>
                  <a:lnTo>
                    <a:pt x="558" y="370"/>
                  </a:lnTo>
                  <a:lnTo>
                    <a:pt x="557" y="370"/>
                  </a:lnTo>
                  <a:lnTo>
                    <a:pt x="556" y="369"/>
                  </a:lnTo>
                  <a:lnTo>
                    <a:pt x="555" y="369"/>
                  </a:lnTo>
                  <a:lnTo>
                    <a:pt x="555" y="369"/>
                  </a:lnTo>
                  <a:lnTo>
                    <a:pt x="553" y="368"/>
                  </a:lnTo>
                  <a:lnTo>
                    <a:pt x="552" y="367"/>
                  </a:lnTo>
                  <a:lnTo>
                    <a:pt x="551" y="367"/>
                  </a:lnTo>
                  <a:lnTo>
                    <a:pt x="549" y="365"/>
                  </a:lnTo>
                  <a:lnTo>
                    <a:pt x="548" y="364"/>
                  </a:lnTo>
                  <a:lnTo>
                    <a:pt x="546" y="362"/>
                  </a:lnTo>
                  <a:lnTo>
                    <a:pt x="543" y="360"/>
                  </a:lnTo>
                  <a:lnTo>
                    <a:pt x="542" y="359"/>
                  </a:lnTo>
                  <a:lnTo>
                    <a:pt x="542" y="359"/>
                  </a:lnTo>
                  <a:lnTo>
                    <a:pt x="541" y="358"/>
                  </a:lnTo>
                  <a:lnTo>
                    <a:pt x="538" y="357"/>
                  </a:lnTo>
                  <a:lnTo>
                    <a:pt x="537" y="357"/>
                  </a:lnTo>
                  <a:lnTo>
                    <a:pt x="533" y="354"/>
                  </a:lnTo>
                  <a:lnTo>
                    <a:pt x="530" y="352"/>
                  </a:lnTo>
                  <a:lnTo>
                    <a:pt x="529" y="351"/>
                  </a:lnTo>
                  <a:lnTo>
                    <a:pt x="528" y="351"/>
                  </a:lnTo>
                  <a:lnTo>
                    <a:pt x="527" y="351"/>
                  </a:lnTo>
                  <a:lnTo>
                    <a:pt x="523" y="349"/>
                  </a:lnTo>
                  <a:lnTo>
                    <a:pt x="520" y="348"/>
                  </a:lnTo>
                  <a:lnTo>
                    <a:pt x="518" y="348"/>
                  </a:lnTo>
                  <a:lnTo>
                    <a:pt x="517" y="347"/>
                  </a:lnTo>
                  <a:lnTo>
                    <a:pt x="515" y="347"/>
                  </a:lnTo>
                  <a:lnTo>
                    <a:pt x="514" y="346"/>
                  </a:lnTo>
                  <a:lnTo>
                    <a:pt x="512" y="346"/>
                  </a:lnTo>
                  <a:lnTo>
                    <a:pt x="511" y="346"/>
                  </a:lnTo>
                  <a:lnTo>
                    <a:pt x="509" y="345"/>
                  </a:lnTo>
                  <a:lnTo>
                    <a:pt x="508" y="345"/>
                  </a:lnTo>
                  <a:lnTo>
                    <a:pt x="507" y="345"/>
                  </a:lnTo>
                  <a:lnTo>
                    <a:pt x="506" y="346"/>
                  </a:lnTo>
                  <a:lnTo>
                    <a:pt x="505" y="346"/>
                  </a:lnTo>
                  <a:lnTo>
                    <a:pt x="505" y="346"/>
                  </a:lnTo>
                  <a:lnTo>
                    <a:pt x="504" y="347"/>
                  </a:lnTo>
                  <a:lnTo>
                    <a:pt x="503" y="347"/>
                  </a:lnTo>
                  <a:lnTo>
                    <a:pt x="502" y="348"/>
                  </a:lnTo>
                  <a:lnTo>
                    <a:pt x="501" y="348"/>
                  </a:lnTo>
                  <a:lnTo>
                    <a:pt x="499" y="350"/>
                  </a:lnTo>
                  <a:lnTo>
                    <a:pt x="497" y="353"/>
                  </a:lnTo>
                  <a:lnTo>
                    <a:pt x="492" y="357"/>
                  </a:lnTo>
                  <a:lnTo>
                    <a:pt x="490" y="358"/>
                  </a:lnTo>
                  <a:lnTo>
                    <a:pt x="486" y="361"/>
                  </a:lnTo>
                  <a:lnTo>
                    <a:pt x="484" y="363"/>
                  </a:lnTo>
                  <a:lnTo>
                    <a:pt x="483" y="364"/>
                  </a:lnTo>
                  <a:lnTo>
                    <a:pt x="482" y="365"/>
                  </a:lnTo>
                  <a:lnTo>
                    <a:pt x="481" y="366"/>
                  </a:lnTo>
                  <a:lnTo>
                    <a:pt x="480" y="367"/>
                  </a:lnTo>
                  <a:lnTo>
                    <a:pt x="480" y="367"/>
                  </a:lnTo>
                  <a:lnTo>
                    <a:pt x="479" y="368"/>
                  </a:lnTo>
                  <a:lnTo>
                    <a:pt x="479" y="369"/>
                  </a:lnTo>
                  <a:lnTo>
                    <a:pt x="478" y="370"/>
                  </a:lnTo>
                  <a:lnTo>
                    <a:pt x="477" y="375"/>
                  </a:lnTo>
                  <a:lnTo>
                    <a:pt x="476" y="376"/>
                  </a:lnTo>
                  <a:lnTo>
                    <a:pt x="476" y="377"/>
                  </a:lnTo>
                  <a:lnTo>
                    <a:pt x="475" y="378"/>
                  </a:lnTo>
                  <a:lnTo>
                    <a:pt x="474" y="380"/>
                  </a:lnTo>
                  <a:lnTo>
                    <a:pt x="473" y="383"/>
                  </a:lnTo>
                  <a:lnTo>
                    <a:pt x="472" y="385"/>
                  </a:lnTo>
                  <a:lnTo>
                    <a:pt x="471" y="386"/>
                  </a:lnTo>
                  <a:lnTo>
                    <a:pt x="470" y="387"/>
                  </a:lnTo>
                  <a:lnTo>
                    <a:pt x="466" y="391"/>
                  </a:lnTo>
                  <a:lnTo>
                    <a:pt x="462" y="396"/>
                  </a:lnTo>
                  <a:lnTo>
                    <a:pt x="461" y="397"/>
                  </a:lnTo>
                  <a:lnTo>
                    <a:pt x="459" y="399"/>
                  </a:lnTo>
                  <a:lnTo>
                    <a:pt x="459" y="400"/>
                  </a:lnTo>
                  <a:lnTo>
                    <a:pt x="455" y="406"/>
                  </a:lnTo>
                  <a:lnTo>
                    <a:pt x="454" y="408"/>
                  </a:lnTo>
                  <a:lnTo>
                    <a:pt x="452" y="412"/>
                  </a:lnTo>
                  <a:lnTo>
                    <a:pt x="451" y="414"/>
                  </a:lnTo>
                  <a:lnTo>
                    <a:pt x="449" y="418"/>
                  </a:lnTo>
                  <a:lnTo>
                    <a:pt x="448" y="421"/>
                  </a:lnTo>
                  <a:lnTo>
                    <a:pt x="447" y="423"/>
                  </a:lnTo>
                  <a:lnTo>
                    <a:pt x="446" y="425"/>
                  </a:lnTo>
                  <a:lnTo>
                    <a:pt x="445" y="429"/>
                  </a:lnTo>
                  <a:lnTo>
                    <a:pt x="444" y="431"/>
                  </a:lnTo>
                  <a:lnTo>
                    <a:pt x="444" y="432"/>
                  </a:lnTo>
                  <a:lnTo>
                    <a:pt x="442" y="435"/>
                  </a:lnTo>
                  <a:lnTo>
                    <a:pt x="441" y="436"/>
                  </a:lnTo>
                  <a:lnTo>
                    <a:pt x="440" y="438"/>
                  </a:lnTo>
                  <a:lnTo>
                    <a:pt x="439" y="440"/>
                  </a:lnTo>
                  <a:lnTo>
                    <a:pt x="439" y="442"/>
                  </a:lnTo>
                  <a:lnTo>
                    <a:pt x="439" y="443"/>
                  </a:lnTo>
                  <a:lnTo>
                    <a:pt x="438" y="444"/>
                  </a:lnTo>
                  <a:lnTo>
                    <a:pt x="438" y="447"/>
                  </a:lnTo>
                  <a:lnTo>
                    <a:pt x="437" y="451"/>
                  </a:lnTo>
                  <a:lnTo>
                    <a:pt x="436" y="453"/>
                  </a:lnTo>
                  <a:lnTo>
                    <a:pt x="436" y="455"/>
                  </a:lnTo>
                  <a:lnTo>
                    <a:pt x="436" y="456"/>
                  </a:lnTo>
                  <a:lnTo>
                    <a:pt x="435" y="458"/>
                  </a:lnTo>
                  <a:lnTo>
                    <a:pt x="435" y="458"/>
                  </a:lnTo>
                  <a:lnTo>
                    <a:pt x="434" y="460"/>
                  </a:lnTo>
                  <a:lnTo>
                    <a:pt x="434" y="461"/>
                  </a:lnTo>
                  <a:lnTo>
                    <a:pt x="433" y="461"/>
                  </a:lnTo>
                  <a:lnTo>
                    <a:pt x="432" y="462"/>
                  </a:lnTo>
                  <a:lnTo>
                    <a:pt x="431" y="463"/>
                  </a:lnTo>
                  <a:lnTo>
                    <a:pt x="431" y="463"/>
                  </a:lnTo>
                  <a:lnTo>
                    <a:pt x="430" y="464"/>
                  </a:lnTo>
                  <a:lnTo>
                    <a:pt x="429" y="464"/>
                  </a:lnTo>
                  <a:lnTo>
                    <a:pt x="429" y="464"/>
                  </a:lnTo>
                  <a:lnTo>
                    <a:pt x="428" y="464"/>
                  </a:lnTo>
                  <a:lnTo>
                    <a:pt x="428" y="464"/>
                  </a:lnTo>
                  <a:lnTo>
                    <a:pt x="427" y="464"/>
                  </a:lnTo>
                  <a:lnTo>
                    <a:pt x="426" y="464"/>
                  </a:lnTo>
                  <a:lnTo>
                    <a:pt x="426" y="463"/>
                  </a:lnTo>
                  <a:lnTo>
                    <a:pt x="425" y="463"/>
                  </a:lnTo>
                  <a:lnTo>
                    <a:pt x="425" y="462"/>
                  </a:lnTo>
                  <a:lnTo>
                    <a:pt x="425" y="462"/>
                  </a:lnTo>
                  <a:lnTo>
                    <a:pt x="425" y="461"/>
                  </a:lnTo>
                  <a:lnTo>
                    <a:pt x="425" y="460"/>
                  </a:lnTo>
                  <a:lnTo>
                    <a:pt x="425" y="460"/>
                  </a:lnTo>
                  <a:lnTo>
                    <a:pt x="424" y="456"/>
                  </a:lnTo>
                  <a:lnTo>
                    <a:pt x="423" y="452"/>
                  </a:lnTo>
                  <a:lnTo>
                    <a:pt x="423" y="450"/>
                  </a:lnTo>
                  <a:lnTo>
                    <a:pt x="423" y="447"/>
                  </a:lnTo>
                  <a:lnTo>
                    <a:pt x="423" y="445"/>
                  </a:lnTo>
                  <a:lnTo>
                    <a:pt x="422" y="442"/>
                  </a:lnTo>
                  <a:lnTo>
                    <a:pt x="421" y="439"/>
                  </a:lnTo>
                  <a:lnTo>
                    <a:pt x="421" y="438"/>
                  </a:lnTo>
                  <a:lnTo>
                    <a:pt x="421" y="436"/>
                  </a:lnTo>
                  <a:lnTo>
                    <a:pt x="421" y="432"/>
                  </a:lnTo>
                  <a:lnTo>
                    <a:pt x="420" y="431"/>
                  </a:lnTo>
                  <a:lnTo>
                    <a:pt x="420" y="429"/>
                  </a:lnTo>
                  <a:lnTo>
                    <a:pt x="420" y="428"/>
                  </a:lnTo>
                  <a:lnTo>
                    <a:pt x="420" y="427"/>
                  </a:lnTo>
                  <a:lnTo>
                    <a:pt x="419" y="426"/>
                  </a:lnTo>
                  <a:lnTo>
                    <a:pt x="419" y="425"/>
                  </a:lnTo>
                  <a:lnTo>
                    <a:pt x="418" y="424"/>
                  </a:lnTo>
                  <a:lnTo>
                    <a:pt x="417" y="423"/>
                  </a:lnTo>
                  <a:lnTo>
                    <a:pt x="416" y="422"/>
                  </a:lnTo>
                  <a:lnTo>
                    <a:pt x="416" y="421"/>
                  </a:lnTo>
                  <a:lnTo>
                    <a:pt x="415" y="421"/>
                  </a:lnTo>
                  <a:lnTo>
                    <a:pt x="415" y="421"/>
                  </a:lnTo>
                  <a:lnTo>
                    <a:pt x="414" y="421"/>
                  </a:lnTo>
                  <a:lnTo>
                    <a:pt x="413" y="420"/>
                  </a:lnTo>
                  <a:lnTo>
                    <a:pt x="412" y="420"/>
                  </a:lnTo>
                  <a:lnTo>
                    <a:pt x="411" y="420"/>
                  </a:lnTo>
                  <a:lnTo>
                    <a:pt x="410" y="420"/>
                  </a:lnTo>
                  <a:lnTo>
                    <a:pt x="410" y="420"/>
                  </a:lnTo>
                  <a:lnTo>
                    <a:pt x="409" y="420"/>
                  </a:lnTo>
                  <a:lnTo>
                    <a:pt x="408" y="420"/>
                  </a:lnTo>
                  <a:lnTo>
                    <a:pt x="406" y="421"/>
                  </a:lnTo>
                  <a:lnTo>
                    <a:pt x="405" y="421"/>
                  </a:lnTo>
                  <a:lnTo>
                    <a:pt x="403" y="421"/>
                  </a:lnTo>
                  <a:lnTo>
                    <a:pt x="401" y="422"/>
                  </a:lnTo>
                  <a:lnTo>
                    <a:pt x="399" y="422"/>
                  </a:lnTo>
                  <a:lnTo>
                    <a:pt x="396" y="422"/>
                  </a:lnTo>
                  <a:lnTo>
                    <a:pt x="392" y="423"/>
                  </a:lnTo>
                  <a:lnTo>
                    <a:pt x="390" y="423"/>
                  </a:lnTo>
                  <a:lnTo>
                    <a:pt x="387" y="424"/>
                  </a:lnTo>
                  <a:lnTo>
                    <a:pt x="386" y="424"/>
                  </a:lnTo>
                  <a:lnTo>
                    <a:pt x="385" y="424"/>
                  </a:lnTo>
                  <a:lnTo>
                    <a:pt x="383" y="423"/>
                  </a:lnTo>
                  <a:lnTo>
                    <a:pt x="379" y="423"/>
                  </a:lnTo>
                  <a:lnTo>
                    <a:pt x="378" y="422"/>
                  </a:lnTo>
                  <a:lnTo>
                    <a:pt x="376" y="421"/>
                  </a:lnTo>
                  <a:lnTo>
                    <a:pt x="374" y="420"/>
                  </a:lnTo>
                  <a:lnTo>
                    <a:pt x="373" y="420"/>
                  </a:lnTo>
                  <a:lnTo>
                    <a:pt x="372" y="419"/>
                  </a:lnTo>
                  <a:lnTo>
                    <a:pt x="369" y="417"/>
                  </a:lnTo>
                  <a:lnTo>
                    <a:pt x="368" y="416"/>
                  </a:lnTo>
                  <a:lnTo>
                    <a:pt x="368" y="416"/>
                  </a:lnTo>
                  <a:lnTo>
                    <a:pt x="367" y="415"/>
                  </a:lnTo>
                  <a:lnTo>
                    <a:pt x="365" y="414"/>
                  </a:lnTo>
                  <a:lnTo>
                    <a:pt x="364" y="414"/>
                  </a:lnTo>
                  <a:lnTo>
                    <a:pt x="362" y="414"/>
                  </a:lnTo>
                  <a:lnTo>
                    <a:pt x="362" y="413"/>
                  </a:lnTo>
                  <a:lnTo>
                    <a:pt x="361" y="413"/>
                  </a:lnTo>
                  <a:lnTo>
                    <a:pt x="360" y="413"/>
                  </a:lnTo>
                  <a:lnTo>
                    <a:pt x="359" y="413"/>
                  </a:lnTo>
                  <a:lnTo>
                    <a:pt x="358" y="413"/>
                  </a:lnTo>
                  <a:lnTo>
                    <a:pt x="357" y="413"/>
                  </a:lnTo>
                  <a:lnTo>
                    <a:pt x="354" y="413"/>
                  </a:lnTo>
                  <a:lnTo>
                    <a:pt x="353" y="413"/>
                  </a:lnTo>
                  <a:lnTo>
                    <a:pt x="352" y="413"/>
                  </a:lnTo>
                  <a:lnTo>
                    <a:pt x="352" y="413"/>
                  </a:lnTo>
                  <a:lnTo>
                    <a:pt x="351" y="413"/>
                  </a:lnTo>
                  <a:lnTo>
                    <a:pt x="351" y="413"/>
                  </a:lnTo>
                  <a:lnTo>
                    <a:pt x="350" y="413"/>
                  </a:lnTo>
                  <a:lnTo>
                    <a:pt x="350" y="412"/>
                  </a:lnTo>
                  <a:lnTo>
                    <a:pt x="350" y="412"/>
                  </a:lnTo>
                  <a:lnTo>
                    <a:pt x="349" y="412"/>
                  </a:lnTo>
                  <a:lnTo>
                    <a:pt x="349" y="411"/>
                  </a:lnTo>
                  <a:lnTo>
                    <a:pt x="349" y="411"/>
                  </a:lnTo>
                  <a:lnTo>
                    <a:pt x="348" y="410"/>
                  </a:lnTo>
                  <a:lnTo>
                    <a:pt x="348" y="409"/>
                  </a:lnTo>
                  <a:lnTo>
                    <a:pt x="348" y="409"/>
                  </a:lnTo>
                  <a:lnTo>
                    <a:pt x="347" y="405"/>
                  </a:lnTo>
                  <a:lnTo>
                    <a:pt x="347" y="402"/>
                  </a:lnTo>
                  <a:lnTo>
                    <a:pt x="347" y="401"/>
                  </a:lnTo>
                  <a:lnTo>
                    <a:pt x="347" y="401"/>
                  </a:lnTo>
                  <a:lnTo>
                    <a:pt x="346" y="400"/>
                  </a:lnTo>
                  <a:lnTo>
                    <a:pt x="346" y="399"/>
                  </a:lnTo>
                  <a:lnTo>
                    <a:pt x="345" y="398"/>
                  </a:lnTo>
                  <a:lnTo>
                    <a:pt x="345" y="397"/>
                  </a:lnTo>
                  <a:lnTo>
                    <a:pt x="344" y="396"/>
                  </a:lnTo>
                  <a:lnTo>
                    <a:pt x="343" y="394"/>
                  </a:lnTo>
                  <a:lnTo>
                    <a:pt x="342" y="394"/>
                  </a:lnTo>
                  <a:lnTo>
                    <a:pt x="341" y="393"/>
                  </a:lnTo>
                  <a:lnTo>
                    <a:pt x="340" y="393"/>
                  </a:lnTo>
                  <a:lnTo>
                    <a:pt x="339" y="392"/>
                  </a:lnTo>
                  <a:lnTo>
                    <a:pt x="338" y="392"/>
                  </a:lnTo>
                  <a:lnTo>
                    <a:pt x="337" y="392"/>
                  </a:lnTo>
                  <a:lnTo>
                    <a:pt x="336" y="391"/>
                  </a:lnTo>
                  <a:lnTo>
                    <a:pt x="335" y="391"/>
                  </a:lnTo>
                  <a:lnTo>
                    <a:pt x="331" y="392"/>
                  </a:lnTo>
                  <a:lnTo>
                    <a:pt x="330" y="392"/>
                  </a:lnTo>
                  <a:lnTo>
                    <a:pt x="328" y="392"/>
                  </a:lnTo>
                  <a:lnTo>
                    <a:pt x="327" y="391"/>
                  </a:lnTo>
                  <a:lnTo>
                    <a:pt x="326" y="391"/>
                  </a:lnTo>
                  <a:lnTo>
                    <a:pt x="325" y="391"/>
                  </a:lnTo>
                  <a:lnTo>
                    <a:pt x="323" y="391"/>
                  </a:lnTo>
                  <a:lnTo>
                    <a:pt x="322" y="390"/>
                  </a:lnTo>
                  <a:lnTo>
                    <a:pt x="321" y="390"/>
                  </a:lnTo>
                  <a:lnTo>
                    <a:pt x="315" y="386"/>
                  </a:lnTo>
                  <a:lnTo>
                    <a:pt x="313" y="385"/>
                  </a:lnTo>
                  <a:lnTo>
                    <a:pt x="310" y="383"/>
                  </a:lnTo>
                  <a:lnTo>
                    <a:pt x="309" y="382"/>
                  </a:lnTo>
                  <a:lnTo>
                    <a:pt x="307" y="382"/>
                  </a:lnTo>
                  <a:lnTo>
                    <a:pt x="307" y="381"/>
                  </a:lnTo>
                  <a:lnTo>
                    <a:pt x="306" y="381"/>
                  </a:lnTo>
                  <a:lnTo>
                    <a:pt x="305" y="381"/>
                  </a:lnTo>
                  <a:lnTo>
                    <a:pt x="305" y="381"/>
                  </a:lnTo>
                  <a:lnTo>
                    <a:pt x="304" y="381"/>
                  </a:lnTo>
                  <a:lnTo>
                    <a:pt x="304" y="381"/>
                  </a:lnTo>
                  <a:lnTo>
                    <a:pt x="302" y="381"/>
                  </a:lnTo>
                  <a:lnTo>
                    <a:pt x="300" y="382"/>
                  </a:lnTo>
                  <a:lnTo>
                    <a:pt x="299" y="382"/>
                  </a:lnTo>
                  <a:lnTo>
                    <a:pt x="297" y="382"/>
                  </a:lnTo>
                  <a:lnTo>
                    <a:pt x="296" y="383"/>
                  </a:lnTo>
                  <a:lnTo>
                    <a:pt x="293" y="383"/>
                  </a:lnTo>
                  <a:lnTo>
                    <a:pt x="291" y="383"/>
                  </a:lnTo>
                  <a:lnTo>
                    <a:pt x="288" y="383"/>
                  </a:lnTo>
                  <a:lnTo>
                    <a:pt x="285" y="382"/>
                  </a:lnTo>
                  <a:lnTo>
                    <a:pt x="284" y="382"/>
                  </a:lnTo>
                  <a:lnTo>
                    <a:pt x="283" y="382"/>
                  </a:lnTo>
                  <a:lnTo>
                    <a:pt x="282" y="382"/>
                  </a:lnTo>
                  <a:lnTo>
                    <a:pt x="282" y="383"/>
                  </a:lnTo>
                  <a:lnTo>
                    <a:pt x="281" y="383"/>
                  </a:lnTo>
                  <a:lnTo>
                    <a:pt x="280" y="383"/>
                  </a:lnTo>
                  <a:lnTo>
                    <a:pt x="280" y="384"/>
                  </a:lnTo>
                  <a:lnTo>
                    <a:pt x="279" y="385"/>
                  </a:lnTo>
                  <a:lnTo>
                    <a:pt x="278" y="386"/>
                  </a:lnTo>
                  <a:lnTo>
                    <a:pt x="277" y="387"/>
                  </a:lnTo>
                  <a:lnTo>
                    <a:pt x="276" y="389"/>
                  </a:lnTo>
                  <a:lnTo>
                    <a:pt x="275" y="392"/>
                  </a:lnTo>
                  <a:lnTo>
                    <a:pt x="274" y="394"/>
                  </a:lnTo>
                  <a:lnTo>
                    <a:pt x="273" y="397"/>
                  </a:lnTo>
                  <a:lnTo>
                    <a:pt x="272" y="399"/>
                  </a:lnTo>
                  <a:lnTo>
                    <a:pt x="272" y="400"/>
                  </a:lnTo>
                  <a:lnTo>
                    <a:pt x="271" y="401"/>
                  </a:lnTo>
                  <a:lnTo>
                    <a:pt x="269" y="405"/>
                  </a:lnTo>
                  <a:lnTo>
                    <a:pt x="266" y="409"/>
                  </a:lnTo>
                  <a:lnTo>
                    <a:pt x="265" y="410"/>
                  </a:lnTo>
                  <a:lnTo>
                    <a:pt x="264" y="411"/>
                  </a:lnTo>
                  <a:lnTo>
                    <a:pt x="264" y="412"/>
                  </a:lnTo>
                  <a:lnTo>
                    <a:pt x="262" y="413"/>
                  </a:lnTo>
                  <a:lnTo>
                    <a:pt x="261" y="413"/>
                  </a:lnTo>
                  <a:lnTo>
                    <a:pt x="259" y="415"/>
                  </a:lnTo>
                  <a:lnTo>
                    <a:pt x="258" y="416"/>
                  </a:lnTo>
                  <a:lnTo>
                    <a:pt x="256" y="416"/>
                  </a:lnTo>
                  <a:lnTo>
                    <a:pt x="256" y="417"/>
                  </a:lnTo>
                  <a:lnTo>
                    <a:pt x="255" y="417"/>
                  </a:lnTo>
                  <a:lnTo>
                    <a:pt x="254" y="417"/>
                  </a:lnTo>
                  <a:lnTo>
                    <a:pt x="253" y="417"/>
                  </a:lnTo>
                  <a:lnTo>
                    <a:pt x="252" y="416"/>
                  </a:lnTo>
                  <a:lnTo>
                    <a:pt x="251" y="416"/>
                  </a:lnTo>
                  <a:lnTo>
                    <a:pt x="250" y="416"/>
                  </a:lnTo>
                  <a:lnTo>
                    <a:pt x="250" y="416"/>
                  </a:lnTo>
                  <a:lnTo>
                    <a:pt x="248" y="414"/>
                  </a:lnTo>
                  <a:lnTo>
                    <a:pt x="248" y="414"/>
                  </a:lnTo>
                  <a:lnTo>
                    <a:pt x="247" y="414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5" y="413"/>
                  </a:lnTo>
                  <a:lnTo>
                    <a:pt x="245" y="413"/>
                  </a:lnTo>
                  <a:lnTo>
                    <a:pt x="244" y="414"/>
                  </a:lnTo>
                  <a:lnTo>
                    <a:pt x="242" y="415"/>
                  </a:lnTo>
                  <a:lnTo>
                    <a:pt x="242" y="415"/>
                  </a:lnTo>
                  <a:lnTo>
                    <a:pt x="241" y="415"/>
                  </a:lnTo>
                  <a:lnTo>
                    <a:pt x="241" y="415"/>
                  </a:lnTo>
                  <a:lnTo>
                    <a:pt x="240" y="415"/>
                  </a:lnTo>
                  <a:lnTo>
                    <a:pt x="239" y="415"/>
                  </a:lnTo>
                  <a:lnTo>
                    <a:pt x="238" y="415"/>
                  </a:lnTo>
                  <a:lnTo>
                    <a:pt x="237" y="415"/>
                  </a:lnTo>
                  <a:lnTo>
                    <a:pt x="236" y="415"/>
                  </a:lnTo>
                  <a:lnTo>
                    <a:pt x="233" y="415"/>
                  </a:lnTo>
                  <a:lnTo>
                    <a:pt x="231" y="414"/>
                  </a:lnTo>
                  <a:lnTo>
                    <a:pt x="229" y="414"/>
                  </a:lnTo>
                  <a:lnTo>
                    <a:pt x="227" y="414"/>
                  </a:lnTo>
                  <a:lnTo>
                    <a:pt x="226" y="414"/>
                  </a:lnTo>
                  <a:lnTo>
                    <a:pt x="224" y="414"/>
                  </a:lnTo>
                  <a:lnTo>
                    <a:pt x="220" y="414"/>
                  </a:lnTo>
                  <a:lnTo>
                    <a:pt x="218" y="414"/>
                  </a:lnTo>
                  <a:lnTo>
                    <a:pt x="215" y="414"/>
                  </a:lnTo>
                  <a:lnTo>
                    <a:pt x="212" y="413"/>
                  </a:lnTo>
                  <a:lnTo>
                    <a:pt x="207" y="413"/>
                  </a:lnTo>
                  <a:lnTo>
                    <a:pt x="195" y="412"/>
                  </a:lnTo>
                  <a:lnTo>
                    <a:pt x="192" y="411"/>
                  </a:lnTo>
                  <a:lnTo>
                    <a:pt x="191" y="411"/>
                  </a:lnTo>
                  <a:lnTo>
                    <a:pt x="189" y="411"/>
                  </a:lnTo>
                  <a:lnTo>
                    <a:pt x="188" y="411"/>
                  </a:lnTo>
                  <a:lnTo>
                    <a:pt x="185" y="412"/>
                  </a:lnTo>
                  <a:lnTo>
                    <a:pt x="183" y="412"/>
                  </a:lnTo>
                  <a:lnTo>
                    <a:pt x="181" y="412"/>
                  </a:lnTo>
                  <a:lnTo>
                    <a:pt x="178" y="411"/>
                  </a:lnTo>
                  <a:lnTo>
                    <a:pt x="173" y="411"/>
                  </a:lnTo>
                  <a:lnTo>
                    <a:pt x="172" y="411"/>
                  </a:lnTo>
                  <a:lnTo>
                    <a:pt x="171" y="411"/>
                  </a:lnTo>
                  <a:lnTo>
                    <a:pt x="169" y="411"/>
                  </a:lnTo>
                  <a:lnTo>
                    <a:pt x="168" y="410"/>
                  </a:lnTo>
                  <a:lnTo>
                    <a:pt x="167" y="410"/>
                  </a:lnTo>
                  <a:lnTo>
                    <a:pt x="165" y="409"/>
                  </a:lnTo>
                  <a:lnTo>
                    <a:pt x="164" y="409"/>
                  </a:lnTo>
                  <a:lnTo>
                    <a:pt x="162" y="408"/>
                  </a:lnTo>
                  <a:lnTo>
                    <a:pt x="161" y="407"/>
                  </a:lnTo>
                  <a:lnTo>
                    <a:pt x="159" y="406"/>
                  </a:lnTo>
                  <a:lnTo>
                    <a:pt x="153" y="403"/>
                  </a:lnTo>
                  <a:lnTo>
                    <a:pt x="144" y="399"/>
                  </a:lnTo>
                  <a:lnTo>
                    <a:pt x="141" y="397"/>
                  </a:lnTo>
                  <a:lnTo>
                    <a:pt x="140" y="396"/>
                  </a:lnTo>
                  <a:lnTo>
                    <a:pt x="139" y="396"/>
                  </a:lnTo>
                  <a:lnTo>
                    <a:pt x="138" y="395"/>
                  </a:lnTo>
                  <a:lnTo>
                    <a:pt x="136" y="394"/>
                  </a:lnTo>
                  <a:lnTo>
                    <a:pt x="135" y="392"/>
                  </a:lnTo>
                  <a:lnTo>
                    <a:pt x="133" y="391"/>
                  </a:lnTo>
                  <a:lnTo>
                    <a:pt x="131" y="390"/>
                  </a:lnTo>
                  <a:lnTo>
                    <a:pt x="130" y="388"/>
                  </a:lnTo>
                  <a:lnTo>
                    <a:pt x="129" y="387"/>
                  </a:lnTo>
                  <a:lnTo>
                    <a:pt x="128" y="386"/>
                  </a:lnTo>
                  <a:lnTo>
                    <a:pt x="128" y="386"/>
                  </a:lnTo>
                  <a:lnTo>
                    <a:pt x="127" y="385"/>
                  </a:lnTo>
                  <a:lnTo>
                    <a:pt x="127" y="384"/>
                  </a:lnTo>
                  <a:lnTo>
                    <a:pt x="127" y="384"/>
                  </a:lnTo>
                  <a:lnTo>
                    <a:pt x="126" y="382"/>
                  </a:lnTo>
                  <a:lnTo>
                    <a:pt x="125" y="380"/>
                  </a:lnTo>
                  <a:lnTo>
                    <a:pt x="125" y="379"/>
                  </a:lnTo>
                  <a:lnTo>
                    <a:pt x="125" y="379"/>
                  </a:lnTo>
                  <a:lnTo>
                    <a:pt x="125" y="378"/>
                  </a:lnTo>
                  <a:lnTo>
                    <a:pt x="125" y="378"/>
                  </a:lnTo>
                  <a:lnTo>
                    <a:pt x="124" y="377"/>
                  </a:lnTo>
                  <a:lnTo>
                    <a:pt x="124" y="377"/>
                  </a:lnTo>
                  <a:lnTo>
                    <a:pt x="123" y="377"/>
                  </a:lnTo>
                  <a:lnTo>
                    <a:pt x="123" y="376"/>
                  </a:lnTo>
                  <a:lnTo>
                    <a:pt x="122" y="376"/>
                  </a:lnTo>
                  <a:lnTo>
                    <a:pt x="121" y="376"/>
                  </a:lnTo>
                  <a:lnTo>
                    <a:pt x="120" y="376"/>
                  </a:lnTo>
                  <a:lnTo>
                    <a:pt x="120" y="376"/>
                  </a:lnTo>
                  <a:lnTo>
                    <a:pt x="119" y="375"/>
                  </a:lnTo>
                  <a:lnTo>
                    <a:pt x="119" y="375"/>
                  </a:lnTo>
                  <a:lnTo>
                    <a:pt x="118" y="374"/>
                  </a:lnTo>
                  <a:lnTo>
                    <a:pt x="117" y="373"/>
                  </a:lnTo>
                  <a:lnTo>
                    <a:pt x="116" y="372"/>
                  </a:lnTo>
                  <a:lnTo>
                    <a:pt x="115" y="372"/>
                  </a:lnTo>
                  <a:lnTo>
                    <a:pt x="115" y="371"/>
                  </a:lnTo>
                  <a:lnTo>
                    <a:pt x="114" y="371"/>
                  </a:lnTo>
                  <a:lnTo>
                    <a:pt x="113" y="371"/>
                  </a:lnTo>
                  <a:lnTo>
                    <a:pt x="110" y="370"/>
                  </a:lnTo>
                  <a:lnTo>
                    <a:pt x="110" y="370"/>
                  </a:lnTo>
                  <a:lnTo>
                    <a:pt x="109" y="370"/>
                  </a:lnTo>
                  <a:lnTo>
                    <a:pt x="109" y="369"/>
                  </a:lnTo>
                  <a:lnTo>
                    <a:pt x="109" y="369"/>
                  </a:lnTo>
                  <a:lnTo>
                    <a:pt x="109" y="369"/>
                  </a:lnTo>
                  <a:lnTo>
                    <a:pt x="108" y="368"/>
                  </a:lnTo>
                  <a:lnTo>
                    <a:pt x="108" y="368"/>
                  </a:lnTo>
                  <a:lnTo>
                    <a:pt x="108" y="367"/>
                  </a:lnTo>
                  <a:lnTo>
                    <a:pt x="107" y="367"/>
                  </a:lnTo>
                  <a:lnTo>
                    <a:pt x="107" y="366"/>
                  </a:lnTo>
                  <a:lnTo>
                    <a:pt x="106" y="366"/>
                  </a:lnTo>
                  <a:lnTo>
                    <a:pt x="105" y="365"/>
                  </a:lnTo>
                  <a:lnTo>
                    <a:pt x="104" y="365"/>
                  </a:lnTo>
                  <a:lnTo>
                    <a:pt x="103" y="363"/>
                  </a:lnTo>
                  <a:lnTo>
                    <a:pt x="102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99" y="361"/>
                  </a:lnTo>
                  <a:lnTo>
                    <a:pt x="98" y="361"/>
                  </a:lnTo>
                  <a:lnTo>
                    <a:pt x="96" y="360"/>
                  </a:lnTo>
                  <a:lnTo>
                    <a:pt x="96" y="360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4" y="358"/>
                  </a:lnTo>
                  <a:lnTo>
                    <a:pt x="94" y="358"/>
                  </a:lnTo>
                  <a:lnTo>
                    <a:pt x="93" y="356"/>
                  </a:lnTo>
                  <a:lnTo>
                    <a:pt x="92" y="356"/>
                  </a:lnTo>
                  <a:lnTo>
                    <a:pt x="92" y="356"/>
                  </a:lnTo>
                  <a:lnTo>
                    <a:pt x="92" y="355"/>
                  </a:lnTo>
                  <a:lnTo>
                    <a:pt x="91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90" y="354"/>
                  </a:lnTo>
                  <a:lnTo>
                    <a:pt x="89" y="354"/>
                  </a:lnTo>
                  <a:lnTo>
                    <a:pt x="88" y="354"/>
                  </a:lnTo>
                  <a:lnTo>
                    <a:pt x="85" y="354"/>
                  </a:lnTo>
                  <a:lnTo>
                    <a:pt x="83" y="354"/>
                  </a:lnTo>
                  <a:lnTo>
                    <a:pt x="81" y="354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6" y="355"/>
                  </a:lnTo>
                  <a:lnTo>
                    <a:pt x="75" y="355"/>
                  </a:lnTo>
                  <a:lnTo>
                    <a:pt x="74" y="355"/>
                  </a:lnTo>
                  <a:lnTo>
                    <a:pt x="73" y="356"/>
                  </a:lnTo>
                  <a:lnTo>
                    <a:pt x="72" y="356"/>
                  </a:lnTo>
                  <a:lnTo>
                    <a:pt x="71" y="357"/>
                  </a:lnTo>
                  <a:lnTo>
                    <a:pt x="68" y="359"/>
                  </a:lnTo>
                  <a:lnTo>
                    <a:pt x="67" y="360"/>
                  </a:lnTo>
                  <a:lnTo>
                    <a:pt x="66" y="360"/>
                  </a:lnTo>
                  <a:lnTo>
                    <a:pt x="65" y="361"/>
                  </a:lnTo>
                  <a:lnTo>
                    <a:pt x="64" y="361"/>
                  </a:lnTo>
                  <a:lnTo>
                    <a:pt x="63" y="361"/>
                  </a:lnTo>
                  <a:lnTo>
                    <a:pt x="62" y="362"/>
                  </a:lnTo>
                  <a:lnTo>
                    <a:pt x="61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7" y="362"/>
                  </a:lnTo>
                  <a:lnTo>
                    <a:pt x="54" y="362"/>
                  </a:lnTo>
                  <a:lnTo>
                    <a:pt x="48" y="361"/>
                  </a:lnTo>
                  <a:lnTo>
                    <a:pt x="47" y="360"/>
                  </a:lnTo>
                  <a:lnTo>
                    <a:pt x="45" y="360"/>
                  </a:lnTo>
                  <a:lnTo>
                    <a:pt x="44" y="359"/>
                  </a:lnTo>
                  <a:lnTo>
                    <a:pt x="43" y="359"/>
                  </a:lnTo>
                  <a:lnTo>
                    <a:pt x="42" y="358"/>
                  </a:lnTo>
                  <a:lnTo>
                    <a:pt x="40" y="357"/>
                  </a:lnTo>
                  <a:lnTo>
                    <a:pt x="39" y="356"/>
                  </a:lnTo>
                  <a:lnTo>
                    <a:pt x="35" y="352"/>
                  </a:lnTo>
                  <a:lnTo>
                    <a:pt x="34" y="351"/>
                  </a:lnTo>
                  <a:lnTo>
                    <a:pt x="33" y="350"/>
                  </a:lnTo>
                  <a:lnTo>
                    <a:pt x="31" y="350"/>
                  </a:lnTo>
                  <a:lnTo>
                    <a:pt x="30" y="349"/>
                  </a:lnTo>
                  <a:lnTo>
                    <a:pt x="27" y="348"/>
                  </a:lnTo>
                  <a:lnTo>
                    <a:pt x="24" y="346"/>
                  </a:lnTo>
                  <a:lnTo>
                    <a:pt x="23" y="345"/>
                  </a:lnTo>
                  <a:lnTo>
                    <a:pt x="21" y="344"/>
                  </a:lnTo>
                  <a:lnTo>
                    <a:pt x="20" y="344"/>
                  </a:lnTo>
                  <a:lnTo>
                    <a:pt x="18" y="343"/>
                  </a:lnTo>
                  <a:lnTo>
                    <a:pt x="12" y="342"/>
                  </a:lnTo>
                  <a:lnTo>
                    <a:pt x="10" y="342"/>
                  </a:lnTo>
                  <a:lnTo>
                    <a:pt x="9" y="342"/>
                  </a:lnTo>
                  <a:lnTo>
                    <a:pt x="7" y="341"/>
                  </a:lnTo>
                  <a:lnTo>
                    <a:pt x="5" y="341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1" y="336"/>
                  </a:lnTo>
                  <a:lnTo>
                    <a:pt x="2" y="333"/>
                  </a:lnTo>
                  <a:lnTo>
                    <a:pt x="2" y="332"/>
                  </a:lnTo>
                  <a:lnTo>
                    <a:pt x="3" y="332"/>
                  </a:lnTo>
                  <a:lnTo>
                    <a:pt x="3" y="332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5" y="331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6" y="329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7" y="327"/>
                  </a:lnTo>
                  <a:lnTo>
                    <a:pt x="8" y="326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9" y="323"/>
                  </a:lnTo>
                  <a:lnTo>
                    <a:pt x="10" y="323"/>
                  </a:lnTo>
                  <a:lnTo>
                    <a:pt x="10" y="323"/>
                  </a:lnTo>
                  <a:lnTo>
                    <a:pt x="11" y="323"/>
                  </a:lnTo>
                  <a:lnTo>
                    <a:pt x="11" y="323"/>
                  </a:lnTo>
                  <a:lnTo>
                    <a:pt x="11" y="322"/>
                  </a:lnTo>
                  <a:lnTo>
                    <a:pt x="13" y="321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19"/>
                  </a:lnTo>
                  <a:lnTo>
                    <a:pt x="14" y="319"/>
                  </a:lnTo>
                  <a:lnTo>
                    <a:pt x="14" y="319"/>
                  </a:lnTo>
                  <a:lnTo>
                    <a:pt x="15" y="318"/>
                  </a:lnTo>
                  <a:lnTo>
                    <a:pt x="16" y="318"/>
                  </a:lnTo>
                  <a:lnTo>
                    <a:pt x="17" y="318"/>
                  </a:lnTo>
                  <a:lnTo>
                    <a:pt x="18" y="318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2" y="318"/>
                  </a:lnTo>
                  <a:lnTo>
                    <a:pt x="23" y="319"/>
                  </a:lnTo>
                  <a:lnTo>
                    <a:pt x="25" y="320"/>
                  </a:lnTo>
                  <a:lnTo>
                    <a:pt x="25" y="321"/>
                  </a:lnTo>
                  <a:lnTo>
                    <a:pt x="26" y="321"/>
                  </a:lnTo>
                  <a:lnTo>
                    <a:pt x="27" y="321"/>
                  </a:lnTo>
                  <a:lnTo>
                    <a:pt x="28" y="322"/>
                  </a:lnTo>
                  <a:lnTo>
                    <a:pt x="29" y="322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2" y="321"/>
                  </a:lnTo>
                  <a:lnTo>
                    <a:pt x="32" y="321"/>
                  </a:lnTo>
                  <a:lnTo>
                    <a:pt x="33" y="320"/>
                  </a:lnTo>
                  <a:lnTo>
                    <a:pt x="34" y="319"/>
                  </a:lnTo>
                  <a:lnTo>
                    <a:pt x="34" y="319"/>
                  </a:lnTo>
                  <a:lnTo>
                    <a:pt x="35" y="317"/>
                  </a:lnTo>
                  <a:lnTo>
                    <a:pt x="37" y="314"/>
                  </a:lnTo>
                  <a:lnTo>
                    <a:pt x="38" y="314"/>
                  </a:lnTo>
                  <a:lnTo>
                    <a:pt x="38" y="314"/>
                  </a:lnTo>
                  <a:lnTo>
                    <a:pt x="38" y="313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0" y="313"/>
                  </a:lnTo>
                  <a:lnTo>
                    <a:pt x="41" y="313"/>
                  </a:lnTo>
                  <a:lnTo>
                    <a:pt x="45" y="312"/>
                  </a:lnTo>
                  <a:lnTo>
                    <a:pt x="46" y="312"/>
                  </a:lnTo>
                  <a:lnTo>
                    <a:pt x="47" y="312"/>
                  </a:lnTo>
                  <a:lnTo>
                    <a:pt x="48" y="312"/>
                  </a:lnTo>
                  <a:lnTo>
                    <a:pt x="49" y="313"/>
                  </a:lnTo>
                  <a:lnTo>
                    <a:pt x="50" y="313"/>
                  </a:lnTo>
                  <a:lnTo>
                    <a:pt x="51" y="314"/>
                  </a:lnTo>
                  <a:lnTo>
                    <a:pt x="52" y="314"/>
                  </a:lnTo>
                  <a:lnTo>
                    <a:pt x="54" y="316"/>
                  </a:lnTo>
                  <a:lnTo>
                    <a:pt x="55" y="316"/>
                  </a:lnTo>
                  <a:lnTo>
                    <a:pt x="56" y="316"/>
                  </a:lnTo>
                  <a:lnTo>
                    <a:pt x="56" y="316"/>
                  </a:lnTo>
                  <a:lnTo>
                    <a:pt x="57" y="316"/>
                  </a:lnTo>
                  <a:lnTo>
                    <a:pt x="57" y="316"/>
                  </a:lnTo>
                  <a:lnTo>
                    <a:pt x="58" y="316"/>
                  </a:lnTo>
                  <a:lnTo>
                    <a:pt x="58" y="316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1" y="313"/>
                  </a:lnTo>
                  <a:lnTo>
                    <a:pt x="62" y="311"/>
                  </a:lnTo>
                  <a:lnTo>
                    <a:pt x="62" y="311"/>
                  </a:lnTo>
                  <a:lnTo>
                    <a:pt x="64" y="309"/>
                  </a:lnTo>
                  <a:lnTo>
                    <a:pt x="66" y="307"/>
                  </a:lnTo>
                  <a:lnTo>
                    <a:pt x="66" y="307"/>
                  </a:lnTo>
                  <a:lnTo>
                    <a:pt x="67" y="306"/>
                  </a:lnTo>
                  <a:lnTo>
                    <a:pt x="68" y="306"/>
                  </a:lnTo>
                  <a:lnTo>
                    <a:pt x="69" y="305"/>
                  </a:lnTo>
                  <a:lnTo>
                    <a:pt x="71" y="304"/>
                  </a:lnTo>
                  <a:lnTo>
                    <a:pt x="72" y="303"/>
                  </a:lnTo>
                  <a:lnTo>
                    <a:pt x="73" y="302"/>
                  </a:lnTo>
                  <a:lnTo>
                    <a:pt x="74" y="301"/>
                  </a:lnTo>
                  <a:lnTo>
                    <a:pt x="75" y="300"/>
                  </a:lnTo>
                  <a:lnTo>
                    <a:pt x="77" y="299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81" y="294"/>
                  </a:lnTo>
                  <a:lnTo>
                    <a:pt x="82" y="293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8" y="291"/>
                  </a:lnTo>
                  <a:lnTo>
                    <a:pt x="89" y="290"/>
                  </a:lnTo>
                  <a:lnTo>
                    <a:pt x="91" y="290"/>
                  </a:lnTo>
                  <a:lnTo>
                    <a:pt x="93" y="290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9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1" y="288"/>
                  </a:lnTo>
                  <a:lnTo>
                    <a:pt x="101" y="287"/>
                  </a:lnTo>
                  <a:lnTo>
                    <a:pt x="101" y="287"/>
                  </a:lnTo>
                  <a:lnTo>
                    <a:pt x="102" y="286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4" y="281"/>
                  </a:lnTo>
                  <a:lnTo>
                    <a:pt x="104" y="280"/>
                  </a:lnTo>
                  <a:lnTo>
                    <a:pt x="105" y="280"/>
                  </a:lnTo>
                  <a:lnTo>
                    <a:pt x="105" y="280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4" y="278"/>
                  </a:lnTo>
                  <a:lnTo>
                    <a:pt x="115" y="278"/>
                  </a:lnTo>
                  <a:lnTo>
                    <a:pt x="115" y="277"/>
                  </a:lnTo>
                  <a:lnTo>
                    <a:pt x="116" y="277"/>
                  </a:lnTo>
                  <a:lnTo>
                    <a:pt x="117" y="276"/>
                  </a:lnTo>
                  <a:lnTo>
                    <a:pt x="119" y="274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3"/>
                  </a:lnTo>
                  <a:lnTo>
                    <a:pt x="121" y="272"/>
                  </a:lnTo>
                  <a:lnTo>
                    <a:pt x="123" y="272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6" y="271"/>
                  </a:lnTo>
                  <a:lnTo>
                    <a:pt x="126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29" y="273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1" y="276"/>
                  </a:lnTo>
                  <a:lnTo>
                    <a:pt x="132" y="276"/>
                  </a:lnTo>
                  <a:lnTo>
                    <a:pt x="134" y="278"/>
                  </a:lnTo>
                  <a:lnTo>
                    <a:pt x="135" y="279"/>
                  </a:lnTo>
                  <a:lnTo>
                    <a:pt x="136" y="279"/>
                  </a:lnTo>
                  <a:lnTo>
                    <a:pt x="137" y="280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9" y="280"/>
                  </a:lnTo>
                  <a:lnTo>
                    <a:pt x="141" y="280"/>
                  </a:lnTo>
                  <a:lnTo>
                    <a:pt x="142" y="280"/>
                  </a:lnTo>
                  <a:lnTo>
                    <a:pt x="143" y="279"/>
                  </a:lnTo>
                  <a:lnTo>
                    <a:pt x="144" y="279"/>
                  </a:lnTo>
                  <a:lnTo>
                    <a:pt x="146" y="278"/>
                  </a:lnTo>
                  <a:lnTo>
                    <a:pt x="147" y="277"/>
                  </a:lnTo>
                  <a:lnTo>
                    <a:pt x="148" y="276"/>
                  </a:lnTo>
                  <a:lnTo>
                    <a:pt x="149" y="276"/>
                  </a:lnTo>
                  <a:lnTo>
                    <a:pt x="149" y="275"/>
                  </a:lnTo>
                  <a:lnTo>
                    <a:pt x="150" y="275"/>
                  </a:lnTo>
                  <a:lnTo>
                    <a:pt x="151" y="275"/>
                  </a:lnTo>
                  <a:lnTo>
                    <a:pt x="152" y="275"/>
                  </a:lnTo>
                  <a:lnTo>
                    <a:pt x="154" y="276"/>
                  </a:lnTo>
                  <a:lnTo>
                    <a:pt x="155" y="276"/>
                  </a:lnTo>
                  <a:lnTo>
                    <a:pt x="158" y="276"/>
                  </a:lnTo>
                  <a:lnTo>
                    <a:pt x="159" y="277"/>
                  </a:lnTo>
                  <a:lnTo>
                    <a:pt x="161" y="277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4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8" y="273"/>
                  </a:lnTo>
                  <a:lnTo>
                    <a:pt x="179" y="273"/>
                  </a:lnTo>
                  <a:lnTo>
                    <a:pt x="179" y="272"/>
                  </a:lnTo>
                  <a:lnTo>
                    <a:pt x="179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68"/>
                  </a:lnTo>
                  <a:lnTo>
                    <a:pt x="180" y="267"/>
                  </a:lnTo>
                  <a:lnTo>
                    <a:pt x="180" y="266"/>
                  </a:lnTo>
                  <a:lnTo>
                    <a:pt x="180" y="265"/>
                  </a:lnTo>
                  <a:lnTo>
                    <a:pt x="181" y="265"/>
                  </a:lnTo>
                  <a:lnTo>
                    <a:pt x="181" y="264"/>
                  </a:lnTo>
                  <a:lnTo>
                    <a:pt x="182" y="263"/>
                  </a:lnTo>
                  <a:lnTo>
                    <a:pt x="183" y="263"/>
                  </a:lnTo>
                  <a:lnTo>
                    <a:pt x="184" y="262"/>
                  </a:lnTo>
                  <a:lnTo>
                    <a:pt x="185" y="262"/>
                  </a:lnTo>
                  <a:lnTo>
                    <a:pt x="186" y="261"/>
                  </a:lnTo>
                  <a:lnTo>
                    <a:pt x="188" y="261"/>
                  </a:lnTo>
                  <a:lnTo>
                    <a:pt x="189" y="261"/>
                  </a:lnTo>
                  <a:lnTo>
                    <a:pt x="193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1" y="259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3" y="257"/>
                  </a:lnTo>
                  <a:lnTo>
                    <a:pt x="203" y="257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05" y="255"/>
                  </a:lnTo>
                  <a:lnTo>
                    <a:pt x="206" y="254"/>
                  </a:lnTo>
                  <a:lnTo>
                    <a:pt x="206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7" y="250"/>
                  </a:lnTo>
                  <a:lnTo>
                    <a:pt x="208" y="250"/>
                  </a:lnTo>
                  <a:lnTo>
                    <a:pt x="208" y="249"/>
                  </a:lnTo>
                  <a:lnTo>
                    <a:pt x="210" y="247"/>
                  </a:lnTo>
                  <a:lnTo>
                    <a:pt x="211" y="247"/>
                  </a:lnTo>
                  <a:lnTo>
                    <a:pt x="211" y="246"/>
                  </a:lnTo>
                  <a:lnTo>
                    <a:pt x="212" y="246"/>
                  </a:lnTo>
                  <a:lnTo>
                    <a:pt x="212" y="245"/>
                  </a:lnTo>
                  <a:lnTo>
                    <a:pt x="212" y="245"/>
                  </a:lnTo>
                  <a:lnTo>
                    <a:pt x="212" y="244"/>
                  </a:lnTo>
                  <a:lnTo>
                    <a:pt x="212" y="243"/>
                  </a:lnTo>
                  <a:lnTo>
                    <a:pt x="212" y="243"/>
                  </a:lnTo>
                  <a:lnTo>
                    <a:pt x="212" y="242"/>
                  </a:lnTo>
                  <a:lnTo>
                    <a:pt x="212" y="241"/>
                  </a:lnTo>
                  <a:lnTo>
                    <a:pt x="211" y="241"/>
                  </a:lnTo>
                  <a:lnTo>
                    <a:pt x="210" y="240"/>
                  </a:lnTo>
                  <a:lnTo>
                    <a:pt x="209" y="239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4" y="234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3" y="232"/>
                  </a:lnTo>
                  <a:lnTo>
                    <a:pt x="202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30"/>
                  </a:lnTo>
                  <a:lnTo>
                    <a:pt x="205" y="230"/>
                  </a:lnTo>
                  <a:lnTo>
                    <a:pt x="206" y="229"/>
                  </a:lnTo>
                  <a:lnTo>
                    <a:pt x="207" y="229"/>
                  </a:lnTo>
                  <a:lnTo>
                    <a:pt x="207" y="228"/>
                  </a:lnTo>
                  <a:lnTo>
                    <a:pt x="208" y="228"/>
                  </a:lnTo>
                  <a:lnTo>
                    <a:pt x="208" y="227"/>
                  </a:lnTo>
                  <a:lnTo>
                    <a:pt x="209" y="227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0" y="225"/>
                  </a:lnTo>
                  <a:lnTo>
                    <a:pt x="210" y="224"/>
                  </a:lnTo>
                  <a:lnTo>
                    <a:pt x="210" y="224"/>
                  </a:lnTo>
                  <a:lnTo>
                    <a:pt x="209" y="223"/>
                  </a:lnTo>
                  <a:lnTo>
                    <a:pt x="209" y="222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08" y="218"/>
                  </a:lnTo>
                  <a:lnTo>
                    <a:pt x="208" y="217"/>
                  </a:lnTo>
                  <a:lnTo>
                    <a:pt x="209" y="217"/>
                  </a:lnTo>
                  <a:lnTo>
                    <a:pt x="209" y="216"/>
                  </a:lnTo>
                  <a:lnTo>
                    <a:pt x="209" y="215"/>
                  </a:lnTo>
                  <a:lnTo>
                    <a:pt x="210" y="215"/>
                  </a:lnTo>
                  <a:lnTo>
                    <a:pt x="210" y="214"/>
                  </a:lnTo>
                  <a:lnTo>
                    <a:pt x="211" y="214"/>
                  </a:lnTo>
                  <a:lnTo>
                    <a:pt x="211" y="213"/>
                  </a:lnTo>
                  <a:lnTo>
                    <a:pt x="212" y="213"/>
                  </a:lnTo>
                  <a:lnTo>
                    <a:pt x="214" y="212"/>
                  </a:lnTo>
                  <a:lnTo>
                    <a:pt x="215" y="211"/>
                  </a:lnTo>
                  <a:lnTo>
                    <a:pt x="216" y="211"/>
                  </a:lnTo>
                  <a:lnTo>
                    <a:pt x="217" y="210"/>
                  </a:lnTo>
                  <a:lnTo>
                    <a:pt x="218" y="209"/>
                  </a:lnTo>
                  <a:lnTo>
                    <a:pt x="219" y="208"/>
                  </a:lnTo>
                  <a:lnTo>
                    <a:pt x="219" y="208"/>
                  </a:lnTo>
                  <a:lnTo>
                    <a:pt x="219" y="207"/>
                  </a:lnTo>
                  <a:lnTo>
                    <a:pt x="219" y="206"/>
                  </a:lnTo>
                  <a:lnTo>
                    <a:pt x="219" y="205"/>
                  </a:lnTo>
                  <a:lnTo>
                    <a:pt x="219" y="203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18" y="201"/>
                  </a:lnTo>
                  <a:lnTo>
                    <a:pt x="218" y="201"/>
                  </a:lnTo>
                  <a:lnTo>
                    <a:pt x="218" y="200"/>
                  </a:lnTo>
                  <a:lnTo>
                    <a:pt x="217" y="200"/>
                  </a:lnTo>
                  <a:lnTo>
                    <a:pt x="217" y="199"/>
                  </a:lnTo>
                  <a:lnTo>
                    <a:pt x="217" y="198"/>
                  </a:lnTo>
                  <a:lnTo>
                    <a:pt x="215" y="198"/>
                  </a:lnTo>
                  <a:lnTo>
                    <a:pt x="213" y="196"/>
                  </a:lnTo>
                  <a:lnTo>
                    <a:pt x="212" y="195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10" y="191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0" y="188"/>
                  </a:lnTo>
                  <a:lnTo>
                    <a:pt x="210" y="187"/>
                  </a:lnTo>
                  <a:lnTo>
                    <a:pt x="211" y="186"/>
                  </a:lnTo>
                  <a:lnTo>
                    <a:pt x="211" y="185"/>
                  </a:lnTo>
                  <a:lnTo>
                    <a:pt x="212" y="184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3" y="181"/>
                  </a:lnTo>
                  <a:lnTo>
                    <a:pt x="214" y="180"/>
                  </a:lnTo>
                  <a:lnTo>
                    <a:pt x="215" y="178"/>
                  </a:lnTo>
                  <a:lnTo>
                    <a:pt x="216" y="178"/>
                  </a:lnTo>
                  <a:lnTo>
                    <a:pt x="217" y="177"/>
                  </a:lnTo>
                  <a:lnTo>
                    <a:pt x="219" y="175"/>
                  </a:lnTo>
                  <a:lnTo>
                    <a:pt x="220" y="175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3"/>
                  </a:lnTo>
                  <a:lnTo>
                    <a:pt x="222" y="173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2" y="171"/>
                  </a:lnTo>
                  <a:lnTo>
                    <a:pt x="221" y="171"/>
                  </a:lnTo>
                  <a:lnTo>
                    <a:pt x="221" y="170"/>
                  </a:lnTo>
                  <a:lnTo>
                    <a:pt x="221" y="169"/>
                  </a:lnTo>
                  <a:lnTo>
                    <a:pt x="220" y="168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7" y="165"/>
                  </a:lnTo>
                  <a:lnTo>
                    <a:pt x="217" y="164"/>
                  </a:lnTo>
                  <a:lnTo>
                    <a:pt x="217" y="163"/>
                  </a:lnTo>
                  <a:lnTo>
                    <a:pt x="217" y="163"/>
                  </a:lnTo>
                  <a:lnTo>
                    <a:pt x="217" y="162"/>
                  </a:lnTo>
                  <a:lnTo>
                    <a:pt x="217" y="161"/>
                  </a:lnTo>
                  <a:lnTo>
                    <a:pt x="217" y="160"/>
                  </a:lnTo>
                  <a:lnTo>
                    <a:pt x="217" y="159"/>
                  </a:lnTo>
                  <a:lnTo>
                    <a:pt x="218" y="159"/>
                  </a:lnTo>
                  <a:lnTo>
                    <a:pt x="218" y="158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3" y="151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8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2" y="147"/>
                  </a:lnTo>
                  <a:lnTo>
                    <a:pt x="222" y="146"/>
                  </a:lnTo>
                  <a:lnTo>
                    <a:pt x="222" y="146"/>
                  </a:lnTo>
                  <a:lnTo>
                    <a:pt x="221" y="146"/>
                  </a:lnTo>
                  <a:lnTo>
                    <a:pt x="218" y="145"/>
                  </a:lnTo>
                  <a:lnTo>
                    <a:pt x="217" y="145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5" y="144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0"/>
                  </a:lnTo>
                  <a:lnTo>
                    <a:pt x="215" y="140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8"/>
                  </a:lnTo>
                  <a:lnTo>
                    <a:pt x="215" y="138"/>
                  </a:lnTo>
                  <a:lnTo>
                    <a:pt x="215" y="138"/>
                  </a:lnTo>
                  <a:lnTo>
                    <a:pt x="210" y="134"/>
                  </a:lnTo>
                  <a:lnTo>
                    <a:pt x="207" y="132"/>
                  </a:lnTo>
                  <a:lnTo>
                    <a:pt x="206" y="131"/>
                  </a:lnTo>
                  <a:lnTo>
                    <a:pt x="206" y="131"/>
                  </a:lnTo>
                  <a:lnTo>
                    <a:pt x="205" y="130"/>
                  </a:lnTo>
                  <a:lnTo>
                    <a:pt x="205" y="130"/>
                  </a:lnTo>
                  <a:lnTo>
                    <a:pt x="205" y="129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7"/>
                  </a:lnTo>
                  <a:lnTo>
                    <a:pt x="205" y="126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6" y="119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3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8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4"/>
                  </a:lnTo>
                  <a:lnTo>
                    <a:pt x="214" y="101"/>
                  </a:lnTo>
                  <a:lnTo>
                    <a:pt x="215" y="100"/>
                  </a:lnTo>
                  <a:lnTo>
                    <a:pt x="216" y="99"/>
                  </a:lnTo>
                  <a:lnTo>
                    <a:pt x="216" y="98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20" y="95"/>
                  </a:lnTo>
                  <a:lnTo>
                    <a:pt x="221" y="95"/>
                  </a:lnTo>
                  <a:lnTo>
                    <a:pt x="222" y="95"/>
                  </a:lnTo>
                  <a:lnTo>
                    <a:pt x="223" y="94"/>
                  </a:lnTo>
                  <a:lnTo>
                    <a:pt x="226" y="94"/>
                  </a:lnTo>
                  <a:lnTo>
                    <a:pt x="228" y="94"/>
                  </a:lnTo>
                  <a:lnTo>
                    <a:pt x="230" y="93"/>
                  </a:lnTo>
                  <a:lnTo>
                    <a:pt x="231" y="93"/>
                  </a:lnTo>
                  <a:lnTo>
                    <a:pt x="232" y="93"/>
                  </a:lnTo>
                  <a:lnTo>
                    <a:pt x="233" y="92"/>
                  </a:lnTo>
                  <a:lnTo>
                    <a:pt x="234" y="92"/>
                  </a:lnTo>
                  <a:lnTo>
                    <a:pt x="234" y="91"/>
                  </a:lnTo>
                  <a:lnTo>
                    <a:pt x="235" y="91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8"/>
                  </a:lnTo>
                  <a:lnTo>
                    <a:pt x="235" y="88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3" y="87"/>
                  </a:lnTo>
                  <a:lnTo>
                    <a:pt x="233" y="86"/>
                  </a:lnTo>
                  <a:lnTo>
                    <a:pt x="232" y="86"/>
                  </a:lnTo>
                  <a:lnTo>
                    <a:pt x="231" y="86"/>
                  </a:lnTo>
                  <a:lnTo>
                    <a:pt x="229" y="85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3"/>
                  </a:lnTo>
                  <a:lnTo>
                    <a:pt x="228" y="83"/>
                  </a:lnTo>
                  <a:lnTo>
                    <a:pt x="228" y="82"/>
                  </a:lnTo>
                  <a:lnTo>
                    <a:pt x="229" y="81"/>
                  </a:lnTo>
                  <a:lnTo>
                    <a:pt x="231" y="80"/>
                  </a:lnTo>
                  <a:lnTo>
                    <a:pt x="231" y="79"/>
                  </a:lnTo>
                  <a:lnTo>
                    <a:pt x="232" y="79"/>
                  </a:lnTo>
                  <a:lnTo>
                    <a:pt x="233" y="78"/>
                  </a:lnTo>
                  <a:lnTo>
                    <a:pt x="234" y="77"/>
                  </a:lnTo>
                  <a:lnTo>
                    <a:pt x="235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7" y="77"/>
                  </a:lnTo>
                  <a:lnTo>
                    <a:pt x="238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0" y="77"/>
                  </a:lnTo>
                  <a:lnTo>
                    <a:pt x="240" y="78"/>
                  </a:lnTo>
                  <a:lnTo>
                    <a:pt x="241" y="78"/>
                  </a:lnTo>
                  <a:lnTo>
                    <a:pt x="241" y="79"/>
                  </a:lnTo>
                  <a:lnTo>
                    <a:pt x="242" y="80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3" y="82"/>
                  </a:lnTo>
                  <a:lnTo>
                    <a:pt x="243" y="82"/>
                  </a:lnTo>
                  <a:lnTo>
                    <a:pt x="244" y="83"/>
                  </a:lnTo>
                  <a:lnTo>
                    <a:pt x="244" y="83"/>
                  </a:lnTo>
                  <a:lnTo>
                    <a:pt x="245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8" y="82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1"/>
                  </a:lnTo>
                  <a:lnTo>
                    <a:pt x="250" y="80"/>
                  </a:lnTo>
                  <a:lnTo>
                    <a:pt x="250" y="78"/>
                  </a:lnTo>
                  <a:lnTo>
                    <a:pt x="251" y="77"/>
                  </a:lnTo>
                  <a:lnTo>
                    <a:pt x="251" y="76"/>
                  </a:lnTo>
                  <a:lnTo>
                    <a:pt x="251" y="75"/>
                  </a:lnTo>
                  <a:lnTo>
                    <a:pt x="251" y="75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3"/>
                  </a:lnTo>
                  <a:lnTo>
                    <a:pt x="251" y="72"/>
                  </a:lnTo>
                  <a:lnTo>
                    <a:pt x="250" y="71"/>
                  </a:lnTo>
                  <a:lnTo>
                    <a:pt x="249" y="70"/>
                  </a:lnTo>
                  <a:lnTo>
                    <a:pt x="249" y="69"/>
                  </a:lnTo>
                  <a:lnTo>
                    <a:pt x="247" y="68"/>
                  </a:lnTo>
                  <a:lnTo>
                    <a:pt x="247" y="67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5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3"/>
                  </a:lnTo>
                  <a:lnTo>
                    <a:pt x="249" y="63"/>
                  </a:lnTo>
                  <a:lnTo>
                    <a:pt x="249" y="63"/>
                  </a:lnTo>
                  <a:lnTo>
                    <a:pt x="250" y="63"/>
                  </a:lnTo>
                  <a:lnTo>
                    <a:pt x="251" y="62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4" y="61"/>
                  </a:lnTo>
                  <a:lnTo>
                    <a:pt x="255" y="59"/>
                  </a:lnTo>
                  <a:lnTo>
                    <a:pt x="256" y="58"/>
                  </a:lnTo>
                  <a:lnTo>
                    <a:pt x="257" y="57"/>
                  </a:lnTo>
                  <a:lnTo>
                    <a:pt x="258" y="55"/>
                  </a:lnTo>
                  <a:lnTo>
                    <a:pt x="258" y="54"/>
                  </a:lnTo>
                  <a:lnTo>
                    <a:pt x="259" y="53"/>
                  </a:lnTo>
                  <a:lnTo>
                    <a:pt x="259" y="52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7" y="45"/>
                  </a:lnTo>
                  <a:lnTo>
                    <a:pt x="257" y="44"/>
                  </a:lnTo>
                  <a:lnTo>
                    <a:pt x="256" y="44"/>
                  </a:lnTo>
                  <a:lnTo>
                    <a:pt x="253" y="42"/>
                  </a:lnTo>
                  <a:lnTo>
                    <a:pt x="253" y="42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51" y="40"/>
                  </a:lnTo>
                  <a:lnTo>
                    <a:pt x="250" y="39"/>
                  </a:lnTo>
                  <a:lnTo>
                    <a:pt x="250" y="38"/>
                  </a:lnTo>
                  <a:lnTo>
                    <a:pt x="250" y="38"/>
                  </a:lnTo>
                  <a:lnTo>
                    <a:pt x="250" y="37"/>
                  </a:lnTo>
                  <a:lnTo>
                    <a:pt x="250" y="37"/>
                  </a:lnTo>
                  <a:lnTo>
                    <a:pt x="250" y="36"/>
                  </a:lnTo>
                  <a:lnTo>
                    <a:pt x="250" y="35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6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57" y="23"/>
                  </a:lnTo>
                  <a:lnTo>
                    <a:pt x="259" y="22"/>
                  </a:lnTo>
                  <a:lnTo>
                    <a:pt x="260" y="21"/>
                  </a:lnTo>
                  <a:lnTo>
                    <a:pt x="261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8"/>
                  </a:lnTo>
                  <a:lnTo>
                    <a:pt x="264" y="17"/>
                  </a:lnTo>
                  <a:lnTo>
                    <a:pt x="265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1" y="18"/>
                  </a:lnTo>
                  <a:lnTo>
                    <a:pt x="272" y="18"/>
                  </a:lnTo>
                  <a:lnTo>
                    <a:pt x="273" y="18"/>
                  </a:lnTo>
                  <a:lnTo>
                    <a:pt x="275" y="18"/>
                  </a:lnTo>
                  <a:lnTo>
                    <a:pt x="277" y="17"/>
                  </a:lnTo>
                  <a:lnTo>
                    <a:pt x="280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7" y="18"/>
                  </a:lnTo>
                  <a:lnTo>
                    <a:pt x="289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5" y="18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8" y="16"/>
                  </a:lnTo>
                  <a:lnTo>
                    <a:pt x="298" y="15"/>
                  </a:lnTo>
                  <a:lnTo>
                    <a:pt x="298" y="14"/>
                  </a:lnTo>
                  <a:lnTo>
                    <a:pt x="299" y="13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2" y="2"/>
                  </a:lnTo>
                  <a:lnTo>
                    <a:pt x="302" y="1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close/>
                </a:path>
              </a:pathLst>
            </a:custGeom>
            <a:solidFill>
              <a:srgbClr val="8282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Freeform 67">
              <a:extLst>
                <a:ext uri="{FF2B5EF4-FFF2-40B4-BE49-F238E27FC236}">
                  <a16:creationId xmlns:a16="http://schemas.microsoft.com/office/drawing/2014/main" id="{D3CF1198-EB94-D448-4112-B93F9C123A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1" y="3521"/>
              <a:ext cx="548" cy="464"/>
            </a:xfrm>
            <a:custGeom>
              <a:avLst/>
              <a:gdLst>
                <a:gd name="T0" fmla="*/ 232 w 548"/>
                <a:gd name="T1" fmla="*/ 1 h 464"/>
                <a:gd name="T2" fmla="*/ 256 w 548"/>
                <a:gd name="T3" fmla="*/ 4 h 464"/>
                <a:gd name="T4" fmla="*/ 282 w 548"/>
                <a:gd name="T5" fmla="*/ 14 h 464"/>
                <a:gd name="T6" fmla="*/ 268 w 548"/>
                <a:gd name="T7" fmla="*/ 21 h 464"/>
                <a:gd name="T8" fmla="*/ 266 w 548"/>
                <a:gd name="T9" fmla="*/ 36 h 464"/>
                <a:gd name="T10" fmla="*/ 289 w 548"/>
                <a:gd name="T11" fmla="*/ 43 h 464"/>
                <a:gd name="T12" fmla="*/ 280 w 548"/>
                <a:gd name="T13" fmla="*/ 61 h 464"/>
                <a:gd name="T14" fmla="*/ 290 w 548"/>
                <a:gd name="T15" fmla="*/ 88 h 464"/>
                <a:gd name="T16" fmla="*/ 284 w 548"/>
                <a:gd name="T17" fmla="*/ 99 h 464"/>
                <a:gd name="T18" fmla="*/ 305 w 548"/>
                <a:gd name="T19" fmla="*/ 108 h 464"/>
                <a:gd name="T20" fmla="*/ 316 w 548"/>
                <a:gd name="T21" fmla="*/ 88 h 464"/>
                <a:gd name="T22" fmla="*/ 304 w 548"/>
                <a:gd name="T23" fmla="*/ 70 h 464"/>
                <a:gd name="T24" fmla="*/ 316 w 548"/>
                <a:gd name="T25" fmla="*/ 60 h 464"/>
                <a:gd name="T26" fmla="*/ 334 w 548"/>
                <a:gd name="T27" fmla="*/ 72 h 464"/>
                <a:gd name="T28" fmla="*/ 344 w 548"/>
                <a:gd name="T29" fmla="*/ 94 h 464"/>
                <a:gd name="T30" fmla="*/ 355 w 548"/>
                <a:gd name="T31" fmla="*/ 106 h 464"/>
                <a:gd name="T32" fmla="*/ 361 w 548"/>
                <a:gd name="T33" fmla="*/ 107 h 464"/>
                <a:gd name="T34" fmla="*/ 364 w 548"/>
                <a:gd name="T35" fmla="*/ 126 h 464"/>
                <a:gd name="T36" fmla="*/ 387 w 548"/>
                <a:gd name="T37" fmla="*/ 141 h 464"/>
                <a:gd name="T38" fmla="*/ 389 w 548"/>
                <a:gd name="T39" fmla="*/ 181 h 464"/>
                <a:gd name="T40" fmla="*/ 394 w 548"/>
                <a:gd name="T41" fmla="*/ 205 h 464"/>
                <a:gd name="T42" fmla="*/ 407 w 548"/>
                <a:gd name="T43" fmla="*/ 209 h 464"/>
                <a:gd name="T44" fmla="*/ 395 w 548"/>
                <a:gd name="T45" fmla="*/ 227 h 464"/>
                <a:gd name="T46" fmla="*/ 383 w 548"/>
                <a:gd name="T47" fmla="*/ 245 h 464"/>
                <a:gd name="T48" fmla="*/ 396 w 548"/>
                <a:gd name="T49" fmla="*/ 250 h 464"/>
                <a:gd name="T50" fmla="*/ 417 w 548"/>
                <a:gd name="T51" fmla="*/ 254 h 464"/>
                <a:gd name="T52" fmla="*/ 423 w 548"/>
                <a:gd name="T53" fmla="*/ 270 h 464"/>
                <a:gd name="T54" fmla="*/ 451 w 548"/>
                <a:gd name="T55" fmla="*/ 280 h 464"/>
                <a:gd name="T56" fmla="*/ 459 w 548"/>
                <a:gd name="T57" fmla="*/ 294 h 464"/>
                <a:gd name="T58" fmla="*/ 481 w 548"/>
                <a:gd name="T59" fmla="*/ 304 h 464"/>
                <a:gd name="T60" fmla="*/ 508 w 548"/>
                <a:gd name="T61" fmla="*/ 304 h 464"/>
                <a:gd name="T62" fmla="*/ 517 w 548"/>
                <a:gd name="T63" fmla="*/ 317 h 464"/>
                <a:gd name="T64" fmla="*/ 541 w 548"/>
                <a:gd name="T65" fmla="*/ 337 h 464"/>
                <a:gd name="T66" fmla="*/ 536 w 548"/>
                <a:gd name="T67" fmla="*/ 357 h 464"/>
                <a:gd name="T68" fmla="*/ 517 w 548"/>
                <a:gd name="T69" fmla="*/ 367 h 464"/>
                <a:gd name="T70" fmla="*/ 499 w 548"/>
                <a:gd name="T71" fmla="*/ 360 h 464"/>
                <a:gd name="T72" fmla="*/ 475 w 548"/>
                <a:gd name="T73" fmla="*/ 367 h 464"/>
                <a:gd name="T74" fmla="*/ 455 w 548"/>
                <a:gd name="T75" fmla="*/ 365 h 464"/>
                <a:gd name="T76" fmla="*/ 423 w 548"/>
                <a:gd name="T77" fmla="*/ 347 h 464"/>
                <a:gd name="T78" fmla="*/ 398 w 548"/>
                <a:gd name="T79" fmla="*/ 357 h 464"/>
                <a:gd name="T80" fmla="*/ 379 w 548"/>
                <a:gd name="T81" fmla="*/ 383 h 464"/>
                <a:gd name="T82" fmla="*/ 351 w 548"/>
                <a:gd name="T83" fmla="*/ 429 h 464"/>
                <a:gd name="T84" fmla="*/ 340 w 548"/>
                <a:gd name="T85" fmla="*/ 460 h 464"/>
                <a:gd name="T86" fmla="*/ 331 w 548"/>
                <a:gd name="T87" fmla="*/ 461 h 464"/>
                <a:gd name="T88" fmla="*/ 325 w 548"/>
                <a:gd name="T89" fmla="*/ 426 h 464"/>
                <a:gd name="T90" fmla="*/ 311 w 548"/>
                <a:gd name="T91" fmla="*/ 421 h 464"/>
                <a:gd name="T92" fmla="*/ 275 w 548"/>
                <a:gd name="T93" fmla="*/ 417 h 464"/>
                <a:gd name="T94" fmla="*/ 257 w 548"/>
                <a:gd name="T95" fmla="*/ 413 h 464"/>
                <a:gd name="T96" fmla="*/ 251 w 548"/>
                <a:gd name="T97" fmla="*/ 398 h 464"/>
                <a:gd name="T98" fmla="*/ 231 w 548"/>
                <a:gd name="T99" fmla="*/ 391 h 464"/>
                <a:gd name="T100" fmla="*/ 205 w 548"/>
                <a:gd name="T101" fmla="*/ 382 h 464"/>
                <a:gd name="T102" fmla="*/ 182 w 548"/>
                <a:gd name="T103" fmla="*/ 389 h 464"/>
                <a:gd name="T104" fmla="*/ 162 w 548"/>
                <a:gd name="T105" fmla="*/ 417 h 464"/>
                <a:gd name="T106" fmla="*/ 148 w 548"/>
                <a:gd name="T107" fmla="*/ 415 h 464"/>
                <a:gd name="T108" fmla="*/ 121 w 548"/>
                <a:gd name="T109" fmla="*/ 414 h 464"/>
                <a:gd name="T110" fmla="*/ 73 w 548"/>
                <a:gd name="T111" fmla="*/ 410 h 464"/>
                <a:gd name="T112" fmla="*/ 35 w 548"/>
                <a:gd name="T113" fmla="*/ 387 h 464"/>
                <a:gd name="T114" fmla="*/ 27 w 548"/>
                <a:gd name="T115" fmla="*/ 376 h 464"/>
                <a:gd name="T116" fmla="*/ 15 w 548"/>
                <a:gd name="T117" fmla="*/ 369 h 464"/>
                <a:gd name="T118" fmla="*/ 2 w 548"/>
                <a:gd name="T119" fmla="*/ 36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8" h="464">
                  <a:moveTo>
                    <a:pt x="209" y="0"/>
                  </a:moveTo>
                  <a:lnTo>
                    <a:pt x="209" y="0"/>
                  </a:lnTo>
                  <a:lnTo>
                    <a:pt x="210" y="0"/>
                  </a:lnTo>
                  <a:lnTo>
                    <a:pt x="211" y="1"/>
                  </a:lnTo>
                  <a:lnTo>
                    <a:pt x="214" y="1"/>
                  </a:lnTo>
                  <a:lnTo>
                    <a:pt x="215" y="2"/>
                  </a:lnTo>
                  <a:lnTo>
                    <a:pt x="217" y="2"/>
                  </a:lnTo>
                  <a:lnTo>
                    <a:pt x="220" y="2"/>
                  </a:lnTo>
                  <a:lnTo>
                    <a:pt x="222" y="2"/>
                  </a:lnTo>
                  <a:lnTo>
                    <a:pt x="223" y="2"/>
                  </a:lnTo>
                  <a:lnTo>
                    <a:pt x="225" y="2"/>
                  </a:lnTo>
                  <a:lnTo>
                    <a:pt x="228" y="1"/>
                  </a:lnTo>
                  <a:lnTo>
                    <a:pt x="228" y="1"/>
                  </a:lnTo>
                  <a:lnTo>
                    <a:pt x="229" y="1"/>
                  </a:lnTo>
                  <a:lnTo>
                    <a:pt x="230" y="1"/>
                  </a:lnTo>
                  <a:lnTo>
                    <a:pt x="231" y="1"/>
                  </a:lnTo>
                  <a:lnTo>
                    <a:pt x="232" y="1"/>
                  </a:lnTo>
                  <a:lnTo>
                    <a:pt x="235" y="2"/>
                  </a:lnTo>
                  <a:lnTo>
                    <a:pt x="235" y="2"/>
                  </a:lnTo>
                  <a:lnTo>
                    <a:pt x="236" y="2"/>
                  </a:lnTo>
                  <a:lnTo>
                    <a:pt x="237" y="2"/>
                  </a:lnTo>
                  <a:lnTo>
                    <a:pt x="238" y="2"/>
                  </a:lnTo>
                  <a:lnTo>
                    <a:pt x="240" y="2"/>
                  </a:lnTo>
                  <a:lnTo>
                    <a:pt x="242" y="1"/>
                  </a:lnTo>
                  <a:lnTo>
                    <a:pt x="243" y="1"/>
                  </a:lnTo>
                  <a:lnTo>
                    <a:pt x="244" y="1"/>
                  </a:lnTo>
                  <a:lnTo>
                    <a:pt x="245" y="2"/>
                  </a:lnTo>
                  <a:lnTo>
                    <a:pt x="248" y="2"/>
                  </a:lnTo>
                  <a:lnTo>
                    <a:pt x="249" y="2"/>
                  </a:lnTo>
                  <a:lnTo>
                    <a:pt x="250" y="2"/>
                  </a:lnTo>
                  <a:lnTo>
                    <a:pt x="252" y="3"/>
                  </a:lnTo>
                  <a:lnTo>
                    <a:pt x="253" y="3"/>
                  </a:lnTo>
                  <a:lnTo>
                    <a:pt x="254" y="4"/>
                  </a:lnTo>
                  <a:lnTo>
                    <a:pt x="256" y="4"/>
                  </a:lnTo>
                  <a:lnTo>
                    <a:pt x="258" y="5"/>
                  </a:lnTo>
                  <a:lnTo>
                    <a:pt x="265" y="9"/>
                  </a:lnTo>
                  <a:lnTo>
                    <a:pt x="267" y="9"/>
                  </a:lnTo>
                  <a:lnTo>
                    <a:pt x="268" y="10"/>
                  </a:lnTo>
                  <a:lnTo>
                    <a:pt x="270" y="11"/>
                  </a:lnTo>
                  <a:lnTo>
                    <a:pt x="272" y="11"/>
                  </a:lnTo>
                  <a:lnTo>
                    <a:pt x="273" y="12"/>
                  </a:lnTo>
                  <a:lnTo>
                    <a:pt x="275" y="12"/>
                  </a:lnTo>
                  <a:lnTo>
                    <a:pt x="277" y="13"/>
                  </a:lnTo>
                  <a:lnTo>
                    <a:pt x="278" y="13"/>
                  </a:lnTo>
                  <a:lnTo>
                    <a:pt x="279" y="13"/>
                  </a:lnTo>
                  <a:lnTo>
                    <a:pt x="281" y="13"/>
                  </a:lnTo>
                  <a:lnTo>
                    <a:pt x="282" y="13"/>
                  </a:lnTo>
                  <a:lnTo>
                    <a:pt x="282" y="13"/>
                  </a:lnTo>
                  <a:lnTo>
                    <a:pt x="283" y="13"/>
                  </a:lnTo>
                  <a:lnTo>
                    <a:pt x="282" y="13"/>
                  </a:lnTo>
                  <a:lnTo>
                    <a:pt x="282" y="14"/>
                  </a:lnTo>
                  <a:lnTo>
                    <a:pt x="282" y="15"/>
                  </a:lnTo>
                  <a:lnTo>
                    <a:pt x="281" y="16"/>
                  </a:lnTo>
                  <a:lnTo>
                    <a:pt x="281" y="17"/>
                  </a:lnTo>
                  <a:lnTo>
                    <a:pt x="280" y="20"/>
                  </a:lnTo>
                  <a:lnTo>
                    <a:pt x="280" y="20"/>
                  </a:lnTo>
                  <a:lnTo>
                    <a:pt x="280" y="21"/>
                  </a:lnTo>
                  <a:lnTo>
                    <a:pt x="280" y="21"/>
                  </a:lnTo>
                  <a:lnTo>
                    <a:pt x="279" y="22"/>
                  </a:lnTo>
                  <a:lnTo>
                    <a:pt x="279" y="22"/>
                  </a:lnTo>
                  <a:lnTo>
                    <a:pt x="278" y="22"/>
                  </a:lnTo>
                  <a:lnTo>
                    <a:pt x="278" y="23"/>
                  </a:lnTo>
                  <a:lnTo>
                    <a:pt x="278" y="23"/>
                  </a:lnTo>
                  <a:lnTo>
                    <a:pt x="277" y="23"/>
                  </a:lnTo>
                  <a:lnTo>
                    <a:pt x="276" y="23"/>
                  </a:lnTo>
                  <a:lnTo>
                    <a:pt x="275" y="23"/>
                  </a:lnTo>
                  <a:lnTo>
                    <a:pt x="271" y="22"/>
                  </a:lnTo>
                  <a:lnTo>
                    <a:pt x="268" y="21"/>
                  </a:lnTo>
                  <a:lnTo>
                    <a:pt x="268" y="21"/>
                  </a:lnTo>
                  <a:lnTo>
                    <a:pt x="267" y="21"/>
                  </a:lnTo>
                  <a:lnTo>
                    <a:pt x="267" y="22"/>
                  </a:lnTo>
                  <a:lnTo>
                    <a:pt x="266" y="22"/>
                  </a:lnTo>
                  <a:lnTo>
                    <a:pt x="266" y="22"/>
                  </a:lnTo>
                  <a:lnTo>
                    <a:pt x="266" y="23"/>
                  </a:lnTo>
                  <a:lnTo>
                    <a:pt x="266" y="24"/>
                  </a:lnTo>
                  <a:lnTo>
                    <a:pt x="265" y="25"/>
                  </a:lnTo>
                  <a:lnTo>
                    <a:pt x="265" y="26"/>
                  </a:lnTo>
                  <a:lnTo>
                    <a:pt x="265" y="27"/>
                  </a:lnTo>
                  <a:lnTo>
                    <a:pt x="266" y="30"/>
                  </a:lnTo>
                  <a:lnTo>
                    <a:pt x="266" y="31"/>
                  </a:lnTo>
                  <a:lnTo>
                    <a:pt x="266" y="32"/>
                  </a:lnTo>
                  <a:lnTo>
                    <a:pt x="266" y="34"/>
                  </a:lnTo>
                  <a:lnTo>
                    <a:pt x="266" y="35"/>
                  </a:lnTo>
                  <a:lnTo>
                    <a:pt x="266" y="36"/>
                  </a:lnTo>
                  <a:lnTo>
                    <a:pt x="266" y="36"/>
                  </a:lnTo>
                  <a:lnTo>
                    <a:pt x="266" y="37"/>
                  </a:lnTo>
                  <a:lnTo>
                    <a:pt x="266" y="37"/>
                  </a:lnTo>
                  <a:lnTo>
                    <a:pt x="267" y="37"/>
                  </a:lnTo>
                  <a:lnTo>
                    <a:pt x="267" y="38"/>
                  </a:lnTo>
                  <a:lnTo>
                    <a:pt x="268" y="38"/>
                  </a:lnTo>
                  <a:lnTo>
                    <a:pt x="268" y="38"/>
                  </a:lnTo>
                  <a:lnTo>
                    <a:pt x="271" y="39"/>
                  </a:lnTo>
                  <a:lnTo>
                    <a:pt x="274" y="40"/>
                  </a:lnTo>
                  <a:lnTo>
                    <a:pt x="278" y="41"/>
                  </a:lnTo>
                  <a:lnTo>
                    <a:pt x="280" y="42"/>
                  </a:lnTo>
                  <a:lnTo>
                    <a:pt x="282" y="42"/>
                  </a:lnTo>
                  <a:lnTo>
                    <a:pt x="283" y="42"/>
                  </a:lnTo>
                  <a:lnTo>
                    <a:pt x="285" y="42"/>
                  </a:lnTo>
                  <a:lnTo>
                    <a:pt x="287" y="43"/>
                  </a:lnTo>
                  <a:lnTo>
                    <a:pt x="288" y="43"/>
                  </a:lnTo>
                  <a:lnTo>
                    <a:pt x="288" y="43"/>
                  </a:lnTo>
                  <a:lnTo>
                    <a:pt x="289" y="43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8" y="44"/>
                  </a:lnTo>
                  <a:lnTo>
                    <a:pt x="288" y="45"/>
                  </a:lnTo>
                  <a:lnTo>
                    <a:pt x="287" y="45"/>
                  </a:lnTo>
                  <a:lnTo>
                    <a:pt x="287" y="46"/>
                  </a:lnTo>
                  <a:lnTo>
                    <a:pt x="286" y="47"/>
                  </a:lnTo>
                  <a:lnTo>
                    <a:pt x="285" y="47"/>
                  </a:lnTo>
                  <a:lnTo>
                    <a:pt x="285" y="48"/>
                  </a:lnTo>
                  <a:lnTo>
                    <a:pt x="283" y="50"/>
                  </a:lnTo>
                  <a:lnTo>
                    <a:pt x="283" y="51"/>
                  </a:lnTo>
                  <a:lnTo>
                    <a:pt x="281" y="54"/>
                  </a:lnTo>
                  <a:lnTo>
                    <a:pt x="280" y="55"/>
                  </a:lnTo>
                  <a:lnTo>
                    <a:pt x="280" y="56"/>
                  </a:lnTo>
                  <a:lnTo>
                    <a:pt x="280" y="58"/>
                  </a:lnTo>
                  <a:lnTo>
                    <a:pt x="280" y="59"/>
                  </a:lnTo>
                  <a:lnTo>
                    <a:pt x="280" y="61"/>
                  </a:lnTo>
                  <a:lnTo>
                    <a:pt x="280" y="62"/>
                  </a:lnTo>
                  <a:lnTo>
                    <a:pt x="280" y="64"/>
                  </a:lnTo>
                  <a:lnTo>
                    <a:pt x="280" y="65"/>
                  </a:lnTo>
                  <a:lnTo>
                    <a:pt x="281" y="68"/>
                  </a:lnTo>
                  <a:lnTo>
                    <a:pt x="282" y="72"/>
                  </a:lnTo>
                  <a:lnTo>
                    <a:pt x="283" y="75"/>
                  </a:lnTo>
                  <a:lnTo>
                    <a:pt x="283" y="76"/>
                  </a:lnTo>
                  <a:lnTo>
                    <a:pt x="284" y="77"/>
                  </a:lnTo>
                  <a:lnTo>
                    <a:pt x="284" y="78"/>
                  </a:lnTo>
                  <a:lnTo>
                    <a:pt x="285" y="79"/>
                  </a:lnTo>
                  <a:lnTo>
                    <a:pt x="287" y="82"/>
                  </a:lnTo>
                  <a:lnTo>
                    <a:pt x="288" y="83"/>
                  </a:lnTo>
                  <a:lnTo>
                    <a:pt x="288" y="84"/>
                  </a:lnTo>
                  <a:lnTo>
                    <a:pt x="289" y="85"/>
                  </a:lnTo>
                  <a:lnTo>
                    <a:pt x="289" y="86"/>
                  </a:lnTo>
                  <a:lnTo>
                    <a:pt x="290" y="87"/>
                  </a:lnTo>
                  <a:lnTo>
                    <a:pt x="290" y="88"/>
                  </a:lnTo>
                  <a:lnTo>
                    <a:pt x="289" y="88"/>
                  </a:lnTo>
                  <a:lnTo>
                    <a:pt x="289" y="89"/>
                  </a:lnTo>
                  <a:lnTo>
                    <a:pt x="289" y="89"/>
                  </a:lnTo>
                  <a:lnTo>
                    <a:pt x="289" y="90"/>
                  </a:lnTo>
                  <a:lnTo>
                    <a:pt x="288" y="90"/>
                  </a:lnTo>
                  <a:lnTo>
                    <a:pt x="286" y="92"/>
                  </a:lnTo>
                  <a:lnTo>
                    <a:pt x="285" y="93"/>
                  </a:lnTo>
                  <a:lnTo>
                    <a:pt x="285" y="93"/>
                  </a:lnTo>
                  <a:lnTo>
                    <a:pt x="285" y="94"/>
                  </a:lnTo>
                  <a:lnTo>
                    <a:pt x="285" y="94"/>
                  </a:lnTo>
                  <a:lnTo>
                    <a:pt x="284" y="95"/>
                  </a:lnTo>
                  <a:lnTo>
                    <a:pt x="284" y="96"/>
                  </a:lnTo>
                  <a:lnTo>
                    <a:pt x="284" y="96"/>
                  </a:lnTo>
                  <a:lnTo>
                    <a:pt x="284" y="97"/>
                  </a:lnTo>
                  <a:lnTo>
                    <a:pt x="284" y="98"/>
                  </a:lnTo>
                  <a:lnTo>
                    <a:pt x="284" y="99"/>
                  </a:lnTo>
                  <a:lnTo>
                    <a:pt x="284" y="99"/>
                  </a:lnTo>
                  <a:lnTo>
                    <a:pt x="285" y="100"/>
                  </a:lnTo>
                  <a:lnTo>
                    <a:pt x="285" y="100"/>
                  </a:lnTo>
                  <a:lnTo>
                    <a:pt x="287" y="102"/>
                  </a:lnTo>
                  <a:lnTo>
                    <a:pt x="287" y="102"/>
                  </a:lnTo>
                  <a:lnTo>
                    <a:pt x="288" y="103"/>
                  </a:lnTo>
                  <a:lnTo>
                    <a:pt x="290" y="104"/>
                  </a:lnTo>
                  <a:lnTo>
                    <a:pt x="293" y="107"/>
                  </a:lnTo>
                  <a:lnTo>
                    <a:pt x="295" y="108"/>
                  </a:lnTo>
                  <a:lnTo>
                    <a:pt x="296" y="109"/>
                  </a:lnTo>
                  <a:lnTo>
                    <a:pt x="298" y="109"/>
                  </a:lnTo>
                  <a:lnTo>
                    <a:pt x="299" y="110"/>
                  </a:lnTo>
                  <a:lnTo>
                    <a:pt x="300" y="110"/>
                  </a:lnTo>
                  <a:lnTo>
                    <a:pt x="301" y="110"/>
                  </a:lnTo>
                  <a:lnTo>
                    <a:pt x="302" y="110"/>
                  </a:lnTo>
                  <a:lnTo>
                    <a:pt x="303" y="109"/>
                  </a:lnTo>
                  <a:lnTo>
                    <a:pt x="304" y="109"/>
                  </a:lnTo>
                  <a:lnTo>
                    <a:pt x="305" y="108"/>
                  </a:lnTo>
                  <a:lnTo>
                    <a:pt x="306" y="107"/>
                  </a:lnTo>
                  <a:lnTo>
                    <a:pt x="307" y="106"/>
                  </a:lnTo>
                  <a:lnTo>
                    <a:pt x="309" y="105"/>
                  </a:lnTo>
                  <a:lnTo>
                    <a:pt x="309" y="104"/>
                  </a:lnTo>
                  <a:lnTo>
                    <a:pt x="310" y="103"/>
                  </a:lnTo>
                  <a:lnTo>
                    <a:pt x="311" y="102"/>
                  </a:lnTo>
                  <a:lnTo>
                    <a:pt x="311" y="100"/>
                  </a:lnTo>
                  <a:lnTo>
                    <a:pt x="312" y="97"/>
                  </a:lnTo>
                  <a:lnTo>
                    <a:pt x="313" y="95"/>
                  </a:lnTo>
                  <a:lnTo>
                    <a:pt x="314" y="94"/>
                  </a:lnTo>
                  <a:lnTo>
                    <a:pt x="315" y="92"/>
                  </a:lnTo>
                  <a:lnTo>
                    <a:pt x="316" y="91"/>
                  </a:lnTo>
                  <a:lnTo>
                    <a:pt x="316" y="91"/>
                  </a:lnTo>
                  <a:lnTo>
                    <a:pt x="316" y="90"/>
                  </a:lnTo>
                  <a:lnTo>
                    <a:pt x="316" y="90"/>
                  </a:lnTo>
                  <a:lnTo>
                    <a:pt x="316" y="89"/>
                  </a:lnTo>
                  <a:lnTo>
                    <a:pt x="316" y="88"/>
                  </a:lnTo>
                  <a:lnTo>
                    <a:pt x="316" y="88"/>
                  </a:lnTo>
                  <a:lnTo>
                    <a:pt x="316" y="87"/>
                  </a:lnTo>
                  <a:lnTo>
                    <a:pt x="315" y="86"/>
                  </a:lnTo>
                  <a:lnTo>
                    <a:pt x="315" y="85"/>
                  </a:lnTo>
                  <a:lnTo>
                    <a:pt x="314" y="83"/>
                  </a:lnTo>
                  <a:lnTo>
                    <a:pt x="313" y="82"/>
                  </a:lnTo>
                  <a:lnTo>
                    <a:pt x="313" y="81"/>
                  </a:lnTo>
                  <a:lnTo>
                    <a:pt x="312" y="80"/>
                  </a:lnTo>
                  <a:lnTo>
                    <a:pt x="312" y="79"/>
                  </a:lnTo>
                  <a:lnTo>
                    <a:pt x="312" y="78"/>
                  </a:lnTo>
                  <a:lnTo>
                    <a:pt x="311" y="77"/>
                  </a:lnTo>
                  <a:lnTo>
                    <a:pt x="311" y="77"/>
                  </a:lnTo>
                  <a:lnTo>
                    <a:pt x="306" y="72"/>
                  </a:lnTo>
                  <a:lnTo>
                    <a:pt x="305" y="72"/>
                  </a:lnTo>
                  <a:lnTo>
                    <a:pt x="305" y="71"/>
                  </a:lnTo>
                  <a:lnTo>
                    <a:pt x="305" y="71"/>
                  </a:lnTo>
                  <a:lnTo>
                    <a:pt x="304" y="70"/>
                  </a:lnTo>
                  <a:lnTo>
                    <a:pt x="304" y="69"/>
                  </a:lnTo>
                  <a:lnTo>
                    <a:pt x="303" y="69"/>
                  </a:lnTo>
                  <a:lnTo>
                    <a:pt x="303" y="68"/>
                  </a:lnTo>
                  <a:lnTo>
                    <a:pt x="303" y="68"/>
                  </a:lnTo>
                  <a:lnTo>
                    <a:pt x="303" y="68"/>
                  </a:lnTo>
                  <a:lnTo>
                    <a:pt x="303" y="67"/>
                  </a:lnTo>
                  <a:lnTo>
                    <a:pt x="303" y="67"/>
                  </a:lnTo>
                  <a:lnTo>
                    <a:pt x="304" y="67"/>
                  </a:lnTo>
                  <a:lnTo>
                    <a:pt x="305" y="65"/>
                  </a:lnTo>
                  <a:lnTo>
                    <a:pt x="307" y="64"/>
                  </a:lnTo>
                  <a:lnTo>
                    <a:pt x="308" y="63"/>
                  </a:lnTo>
                  <a:lnTo>
                    <a:pt x="309" y="62"/>
                  </a:lnTo>
                  <a:lnTo>
                    <a:pt x="311" y="61"/>
                  </a:lnTo>
                  <a:lnTo>
                    <a:pt x="312" y="60"/>
                  </a:lnTo>
                  <a:lnTo>
                    <a:pt x="314" y="60"/>
                  </a:lnTo>
                  <a:lnTo>
                    <a:pt x="315" y="60"/>
                  </a:lnTo>
                  <a:lnTo>
                    <a:pt x="316" y="60"/>
                  </a:lnTo>
                  <a:lnTo>
                    <a:pt x="317" y="60"/>
                  </a:lnTo>
                  <a:lnTo>
                    <a:pt x="318" y="60"/>
                  </a:lnTo>
                  <a:lnTo>
                    <a:pt x="320" y="60"/>
                  </a:lnTo>
                  <a:lnTo>
                    <a:pt x="322" y="61"/>
                  </a:lnTo>
                  <a:lnTo>
                    <a:pt x="324" y="61"/>
                  </a:lnTo>
                  <a:lnTo>
                    <a:pt x="325" y="61"/>
                  </a:lnTo>
                  <a:lnTo>
                    <a:pt x="326" y="62"/>
                  </a:lnTo>
                  <a:lnTo>
                    <a:pt x="326" y="62"/>
                  </a:lnTo>
                  <a:lnTo>
                    <a:pt x="327" y="63"/>
                  </a:lnTo>
                  <a:lnTo>
                    <a:pt x="328" y="64"/>
                  </a:lnTo>
                  <a:lnTo>
                    <a:pt x="329" y="65"/>
                  </a:lnTo>
                  <a:lnTo>
                    <a:pt x="329" y="66"/>
                  </a:lnTo>
                  <a:lnTo>
                    <a:pt x="330" y="67"/>
                  </a:lnTo>
                  <a:lnTo>
                    <a:pt x="331" y="69"/>
                  </a:lnTo>
                  <a:lnTo>
                    <a:pt x="331" y="70"/>
                  </a:lnTo>
                  <a:lnTo>
                    <a:pt x="332" y="71"/>
                  </a:lnTo>
                  <a:lnTo>
                    <a:pt x="334" y="72"/>
                  </a:lnTo>
                  <a:lnTo>
                    <a:pt x="334" y="73"/>
                  </a:lnTo>
                  <a:lnTo>
                    <a:pt x="335" y="74"/>
                  </a:lnTo>
                  <a:lnTo>
                    <a:pt x="336" y="75"/>
                  </a:lnTo>
                  <a:lnTo>
                    <a:pt x="336" y="76"/>
                  </a:lnTo>
                  <a:lnTo>
                    <a:pt x="336" y="77"/>
                  </a:lnTo>
                  <a:lnTo>
                    <a:pt x="337" y="78"/>
                  </a:lnTo>
                  <a:lnTo>
                    <a:pt x="338" y="79"/>
                  </a:lnTo>
                  <a:lnTo>
                    <a:pt x="338" y="80"/>
                  </a:lnTo>
                  <a:lnTo>
                    <a:pt x="339" y="81"/>
                  </a:lnTo>
                  <a:lnTo>
                    <a:pt x="340" y="83"/>
                  </a:lnTo>
                  <a:lnTo>
                    <a:pt x="341" y="87"/>
                  </a:lnTo>
                  <a:lnTo>
                    <a:pt x="341" y="90"/>
                  </a:lnTo>
                  <a:lnTo>
                    <a:pt x="342" y="90"/>
                  </a:lnTo>
                  <a:lnTo>
                    <a:pt x="342" y="91"/>
                  </a:lnTo>
                  <a:lnTo>
                    <a:pt x="343" y="92"/>
                  </a:lnTo>
                  <a:lnTo>
                    <a:pt x="343" y="93"/>
                  </a:lnTo>
                  <a:lnTo>
                    <a:pt x="344" y="94"/>
                  </a:lnTo>
                  <a:lnTo>
                    <a:pt x="346" y="95"/>
                  </a:lnTo>
                  <a:lnTo>
                    <a:pt x="346" y="95"/>
                  </a:lnTo>
                  <a:lnTo>
                    <a:pt x="347" y="96"/>
                  </a:lnTo>
                  <a:lnTo>
                    <a:pt x="347" y="97"/>
                  </a:lnTo>
                  <a:lnTo>
                    <a:pt x="347" y="97"/>
                  </a:lnTo>
                  <a:lnTo>
                    <a:pt x="349" y="100"/>
                  </a:lnTo>
                  <a:lnTo>
                    <a:pt x="349" y="101"/>
                  </a:lnTo>
                  <a:lnTo>
                    <a:pt x="350" y="101"/>
                  </a:lnTo>
                  <a:lnTo>
                    <a:pt x="350" y="102"/>
                  </a:lnTo>
                  <a:lnTo>
                    <a:pt x="351" y="104"/>
                  </a:lnTo>
                  <a:lnTo>
                    <a:pt x="352" y="104"/>
                  </a:lnTo>
                  <a:lnTo>
                    <a:pt x="353" y="105"/>
                  </a:lnTo>
                  <a:lnTo>
                    <a:pt x="353" y="105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5" y="106"/>
                  </a:lnTo>
                  <a:lnTo>
                    <a:pt x="355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7" y="106"/>
                  </a:lnTo>
                  <a:lnTo>
                    <a:pt x="357" y="105"/>
                  </a:lnTo>
                  <a:lnTo>
                    <a:pt x="358" y="104"/>
                  </a:lnTo>
                  <a:lnTo>
                    <a:pt x="358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60" y="103"/>
                  </a:lnTo>
                  <a:lnTo>
                    <a:pt x="360" y="103"/>
                  </a:lnTo>
                  <a:lnTo>
                    <a:pt x="360" y="104"/>
                  </a:lnTo>
                  <a:lnTo>
                    <a:pt x="360" y="104"/>
                  </a:lnTo>
                  <a:lnTo>
                    <a:pt x="360" y="105"/>
                  </a:lnTo>
                  <a:lnTo>
                    <a:pt x="361" y="107"/>
                  </a:lnTo>
                  <a:lnTo>
                    <a:pt x="360" y="108"/>
                  </a:lnTo>
                  <a:lnTo>
                    <a:pt x="360" y="110"/>
                  </a:lnTo>
                  <a:lnTo>
                    <a:pt x="360" y="111"/>
                  </a:lnTo>
                  <a:lnTo>
                    <a:pt x="360" y="113"/>
                  </a:lnTo>
                  <a:lnTo>
                    <a:pt x="359" y="116"/>
                  </a:lnTo>
                  <a:lnTo>
                    <a:pt x="359" y="119"/>
                  </a:lnTo>
                  <a:lnTo>
                    <a:pt x="358" y="121"/>
                  </a:lnTo>
                  <a:lnTo>
                    <a:pt x="358" y="121"/>
                  </a:lnTo>
                  <a:lnTo>
                    <a:pt x="358" y="122"/>
                  </a:lnTo>
                  <a:lnTo>
                    <a:pt x="358" y="122"/>
                  </a:lnTo>
                  <a:lnTo>
                    <a:pt x="359" y="123"/>
                  </a:lnTo>
                  <a:lnTo>
                    <a:pt x="359" y="123"/>
                  </a:lnTo>
                  <a:lnTo>
                    <a:pt x="359" y="123"/>
                  </a:lnTo>
                  <a:lnTo>
                    <a:pt x="360" y="124"/>
                  </a:lnTo>
                  <a:lnTo>
                    <a:pt x="360" y="124"/>
                  </a:lnTo>
                  <a:lnTo>
                    <a:pt x="361" y="125"/>
                  </a:lnTo>
                  <a:lnTo>
                    <a:pt x="364" y="126"/>
                  </a:lnTo>
                  <a:lnTo>
                    <a:pt x="365" y="127"/>
                  </a:lnTo>
                  <a:lnTo>
                    <a:pt x="367" y="128"/>
                  </a:lnTo>
                  <a:lnTo>
                    <a:pt x="369" y="128"/>
                  </a:lnTo>
                  <a:lnTo>
                    <a:pt x="371" y="129"/>
                  </a:lnTo>
                  <a:lnTo>
                    <a:pt x="374" y="130"/>
                  </a:lnTo>
                  <a:lnTo>
                    <a:pt x="375" y="131"/>
                  </a:lnTo>
                  <a:lnTo>
                    <a:pt x="377" y="131"/>
                  </a:lnTo>
                  <a:lnTo>
                    <a:pt x="379" y="132"/>
                  </a:lnTo>
                  <a:lnTo>
                    <a:pt x="380" y="133"/>
                  </a:lnTo>
                  <a:lnTo>
                    <a:pt x="381" y="134"/>
                  </a:lnTo>
                  <a:lnTo>
                    <a:pt x="384" y="136"/>
                  </a:lnTo>
                  <a:lnTo>
                    <a:pt x="385" y="137"/>
                  </a:lnTo>
                  <a:lnTo>
                    <a:pt x="386" y="138"/>
                  </a:lnTo>
                  <a:lnTo>
                    <a:pt x="386" y="138"/>
                  </a:lnTo>
                  <a:lnTo>
                    <a:pt x="387" y="139"/>
                  </a:lnTo>
                  <a:lnTo>
                    <a:pt x="387" y="140"/>
                  </a:lnTo>
                  <a:lnTo>
                    <a:pt x="387" y="141"/>
                  </a:lnTo>
                  <a:lnTo>
                    <a:pt x="389" y="146"/>
                  </a:lnTo>
                  <a:lnTo>
                    <a:pt x="390" y="149"/>
                  </a:lnTo>
                  <a:lnTo>
                    <a:pt x="390" y="150"/>
                  </a:lnTo>
                  <a:lnTo>
                    <a:pt x="392" y="153"/>
                  </a:lnTo>
                  <a:lnTo>
                    <a:pt x="394" y="158"/>
                  </a:lnTo>
                  <a:lnTo>
                    <a:pt x="394" y="160"/>
                  </a:lnTo>
                  <a:lnTo>
                    <a:pt x="390" y="166"/>
                  </a:lnTo>
                  <a:lnTo>
                    <a:pt x="389" y="168"/>
                  </a:lnTo>
                  <a:lnTo>
                    <a:pt x="389" y="170"/>
                  </a:lnTo>
                  <a:lnTo>
                    <a:pt x="389" y="171"/>
                  </a:lnTo>
                  <a:lnTo>
                    <a:pt x="388" y="172"/>
                  </a:lnTo>
                  <a:lnTo>
                    <a:pt x="388" y="173"/>
                  </a:lnTo>
                  <a:lnTo>
                    <a:pt x="388" y="174"/>
                  </a:lnTo>
                  <a:lnTo>
                    <a:pt x="388" y="175"/>
                  </a:lnTo>
                  <a:lnTo>
                    <a:pt x="388" y="176"/>
                  </a:lnTo>
                  <a:lnTo>
                    <a:pt x="389" y="179"/>
                  </a:lnTo>
                  <a:lnTo>
                    <a:pt x="389" y="181"/>
                  </a:lnTo>
                  <a:lnTo>
                    <a:pt x="389" y="182"/>
                  </a:lnTo>
                  <a:lnTo>
                    <a:pt x="389" y="186"/>
                  </a:lnTo>
                  <a:lnTo>
                    <a:pt x="389" y="187"/>
                  </a:lnTo>
                  <a:lnTo>
                    <a:pt x="390" y="188"/>
                  </a:lnTo>
                  <a:lnTo>
                    <a:pt x="390" y="189"/>
                  </a:lnTo>
                  <a:lnTo>
                    <a:pt x="391" y="191"/>
                  </a:lnTo>
                  <a:lnTo>
                    <a:pt x="393" y="195"/>
                  </a:lnTo>
                  <a:lnTo>
                    <a:pt x="394" y="198"/>
                  </a:lnTo>
                  <a:lnTo>
                    <a:pt x="394" y="199"/>
                  </a:lnTo>
                  <a:lnTo>
                    <a:pt x="394" y="199"/>
                  </a:lnTo>
                  <a:lnTo>
                    <a:pt x="394" y="200"/>
                  </a:lnTo>
                  <a:lnTo>
                    <a:pt x="394" y="201"/>
                  </a:lnTo>
                  <a:lnTo>
                    <a:pt x="394" y="202"/>
                  </a:lnTo>
                  <a:lnTo>
                    <a:pt x="394" y="203"/>
                  </a:lnTo>
                  <a:lnTo>
                    <a:pt x="394" y="204"/>
                  </a:lnTo>
                  <a:lnTo>
                    <a:pt x="394" y="204"/>
                  </a:lnTo>
                  <a:lnTo>
                    <a:pt x="394" y="205"/>
                  </a:lnTo>
                  <a:lnTo>
                    <a:pt x="395" y="205"/>
                  </a:lnTo>
                  <a:lnTo>
                    <a:pt x="395" y="205"/>
                  </a:lnTo>
                  <a:lnTo>
                    <a:pt x="396" y="205"/>
                  </a:lnTo>
                  <a:lnTo>
                    <a:pt x="397" y="205"/>
                  </a:lnTo>
                  <a:lnTo>
                    <a:pt x="399" y="205"/>
                  </a:lnTo>
                  <a:lnTo>
                    <a:pt x="401" y="205"/>
                  </a:lnTo>
                  <a:lnTo>
                    <a:pt x="402" y="205"/>
                  </a:lnTo>
                  <a:lnTo>
                    <a:pt x="403" y="205"/>
                  </a:lnTo>
                  <a:lnTo>
                    <a:pt x="404" y="205"/>
                  </a:lnTo>
                  <a:lnTo>
                    <a:pt x="405" y="205"/>
                  </a:lnTo>
                  <a:lnTo>
                    <a:pt x="405" y="205"/>
                  </a:lnTo>
                  <a:lnTo>
                    <a:pt x="406" y="206"/>
                  </a:lnTo>
                  <a:lnTo>
                    <a:pt x="406" y="206"/>
                  </a:lnTo>
                  <a:lnTo>
                    <a:pt x="406" y="207"/>
                  </a:lnTo>
                  <a:lnTo>
                    <a:pt x="407" y="207"/>
                  </a:lnTo>
                  <a:lnTo>
                    <a:pt x="407" y="208"/>
                  </a:lnTo>
                  <a:lnTo>
                    <a:pt x="407" y="209"/>
                  </a:lnTo>
                  <a:lnTo>
                    <a:pt x="407" y="210"/>
                  </a:lnTo>
                  <a:lnTo>
                    <a:pt x="407" y="211"/>
                  </a:lnTo>
                  <a:lnTo>
                    <a:pt x="407" y="212"/>
                  </a:lnTo>
                  <a:lnTo>
                    <a:pt x="406" y="213"/>
                  </a:lnTo>
                  <a:lnTo>
                    <a:pt x="406" y="214"/>
                  </a:lnTo>
                  <a:lnTo>
                    <a:pt x="405" y="216"/>
                  </a:lnTo>
                  <a:lnTo>
                    <a:pt x="405" y="217"/>
                  </a:lnTo>
                  <a:lnTo>
                    <a:pt x="404" y="218"/>
                  </a:lnTo>
                  <a:lnTo>
                    <a:pt x="404" y="219"/>
                  </a:lnTo>
                  <a:lnTo>
                    <a:pt x="403" y="220"/>
                  </a:lnTo>
                  <a:lnTo>
                    <a:pt x="403" y="221"/>
                  </a:lnTo>
                  <a:lnTo>
                    <a:pt x="403" y="221"/>
                  </a:lnTo>
                  <a:lnTo>
                    <a:pt x="401" y="222"/>
                  </a:lnTo>
                  <a:lnTo>
                    <a:pt x="399" y="224"/>
                  </a:lnTo>
                  <a:lnTo>
                    <a:pt x="397" y="226"/>
                  </a:lnTo>
                  <a:lnTo>
                    <a:pt x="396" y="226"/>
                  </a:lnTo>
                  <a:lnTo>
                    <a:pt x="395" y="227"/>
                  </a:lnTo>
                  <a:lnTo>
                    <a:pt x="394" y="227"/>
                  </a:lnTo>
                  <a:lnTo>
                    <a:pt x="394" y="229"/>
                  </a:lnTo>
                  <a:lnTo>
                    <a:pt x="393" y="230"/>
                  </a:lnTo>
                  <a:lnTo>
                    <a:pt x="392" y="231"/>
                  </a:lnTo>
                  <a:lnTo>
                    <a:pt x="390" y="235"/>
                  </a:lnTo>
                  <a:lnTo>
                    <a:pt x="389" y="236"/>
                  </a:lnTo>
                  <a:lnTo>
                    <a:pt x="389" y="237"/>
                  </a:lnTo>
                  <a:lnTo>
                    <a:pt x="388" y="238"/>
                  </a:lnTo>
                  <a:lnTo>
                    <a:pt x="387" y="239"/>
                  </a:lnTo>
                  <a:lnTo>
                    <a:pt x="387" y="239"/>
                  </a:lnTo>
                  <a:lnTo>
                    <a:pt x="385" y="241"/>
                  </a:lnTo>
                  <a:lnTo>
                    <a:pt x="385" y="241"/>
                  </a:lnTo>
                  <a:lnTo>
                    <a:pt x="384" y="241"/>
                  </a:lnTo>
                  <a:lnTo>
                    <a:pt x="384" y="242"/>
                  </a:lnTo>
                  <a:lnTo>
                    <a:pt x="384" y="243"/>
                  </a:lnTo>
                  <a:lnTo>
                    <a:pt x="383" y="244"/>
                  </a:lnTo>
                  <a:lnTo>
                    <a:pt x="383" y="245"/>
                  </a:lnTo>
                  <a:lnTo>
                    <a:pt x="383" y="246"/>
                  </a:lnTo>
                  <a:lnTo>
                    <a:pt x="383" y="247"/>
                  </a:lnTo>
                  <a:lnTo>
                    <a:pt x="384" y="249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5" y="251"/>
                  </a:lnTo>
                  <a:lnTo>
                    <a:pt x="385" y="251"/>
                  </a:lnTo>
                  <a:lnTo>
                    <a:pt x="386" y="251"/>
                  </a:lnTo>
                  <a:lnTo>
                    <a:pt x="387" y="251"/>
                  </a:lnTo>
                  <a:lnTo>
                    <a:pt x="388" y="252"/>
                  </a:lnTo>
                  <a:lnTo>
                    <a:pt x="389" y="252"/>
                  </a:lnTo>
                  <a:lnTo>
                    <a:pt x="390" y="251"/>
                  </a:lnTo>
                  <a:lnTo>
                    <a:pt x="391" y="251"/>
                  </a:lnTo>
                  <a:lnTo>
                    <a:pt x="392" y="251"/>
                  </a:lnTo>
                  <a:lnTo>
                    <a:pt x="394" y="251"/>
                  </a:lnTo>
                  <a:lnTo>
                    <a:pt x="396" y="250"/>
                  </a:lnTo>
                  <a:lnTo>
                    <a:pt x="403" y="247"/>
                  </a:lnTo>
                  <a:lnTo>
                    <a:pt x="405" y="247"/>
                  </a:lnTo>
                  <a:lnTo>
                    <a:pt x="406" y="246"/>
                  </a:lnTo>
                  <a:lnTo>
                    <a:pt x="407" y="246"/>
                  </a:lnTo>
                  <a:lnTo>
                    <a:pt x="408" y="246"/>
                  </a:lnTo>
                  <a:lnTo>
                    <a:pt x="409" y="246"/>
                  </a:lnTo>
                  <a:lnTo>
                    <a:pt x="410" y="246"/>
                  </a:lnTo>
                  <a:lnTo>
                    <a:pt x="411" y="246"/>
                  </a:lnTo>
                  <a:lnTo>
                    <a:pt x="411" y="246"/>
                  </a:lnTo>
                  <a:lnTo>
                    <a:pt x="412" y="247"/>
                  </a:lnTo>
                  <a:lnTo>
                    <a:pt x="412" y="247"/>
                  </a:lnTo>
                  <a:lnTo>
                    <a:pt x="413" y="248"/>
                  </a:lnTo>
                  <a:lnTo>
                    <a:pt x="413" y="249"/>
                  </a:lnTo>
                  <a:lnTo>
                    <a:pt x="415" y="250"/>
                  </a:lnTo>
                  <a:lnTo>
                    <a:pt x="416" y="252"/>
                  </a:lnTo>
                  <a:lnTo>
                    <a:pt x="416" y="253"/>
                  </a:lnTo>
                  <a:lnTo>
                    <a:pt x="417" y="254"/>
                  </a:lnTo>
                  <a:lnTo>
                    <a:pt x="417" y="256"/>
                  </a:lnTo>
                  <a:lnTo>
                    <a:pt x="417" y="256"/>
                  </a:lnTo>
                  <a:lnTo>
                    <a:pt x="417" y="258"/>
                  </a:lnTo>
                  <a:lnTo>
                    <a:pt x="417" y="259"/>
                  </a:lnTo>
                  <a:lnTo>
                    <a:pt x="417" y="260"/>
                  </a:lnTo>
                  <a:lnTo>
                    <a:pt x="417" y="264"/>
                  </a:lnTo>
                  <a:lnTo>
                    <a:pt x="417" y="265"/>
                  </a:lnTo>
                  <a:lnTo>
                    <a:pt x="417" y="266"/>
                  </a:lnTo>
                  <a:lnTo>
                    <a:pt x="417" y="267"/>
                  </a:lnTo>
                  <a:lnTo>
                    <a:pt x="417" y="267"/>
                  </a:lnTo>
                  <a:lnTo>
                    <a:pt x="418" y="268"/>
                  </a:lnTo>
                  <a:lnTo>
                    <a:pt x="418" y="268"/>
                  </a:lnTo>
                  <a:lnTo>
                    <a:pt x="418" y="268"/>
                  </a:lnTo>
                  <a:lnTo>
                    <a:pt x="419" y="269"/>
                  </a:lnTo>
                  <a:lnTo>
                    <a:pt x="422" y="269"/>
                  </a:lnTo>
                  <a:lnTo>
                    <a:pt x="423" y="270"/>
                  </a:lnTo>
                  <a:lnTo>
                    <a:pt x="423" y="270"/>
                  </a:lnTo>
                  <a:lnTo>
                    <a:pt x="424" y="270"/>
                  </a:lnTo>
                  <a:lnTo>
                    <a:pt x="426" y="271"/>
                  </a:lnTo>
                  <a:lnTo>
                    <a:pt x="428" y="272"/>
                  </a:lnTo>
                  <a:lnTo>
                    <a:pt x="428" y="272"/>
                  </a:lnTo>
                  <a:lnTo>
                    <a:pt x="429" y="273"/>
                  </a:lnTo>
                  <a:lnTo>
                    <a:pt x="430" y="273"/>
                  </a:lnTo>
                  <a:lnTo>
                    <a:pt x="431" y="274"/>
                  </a:lnTo>
                  <a:lnTo>
                    <a:pt x="433" y="276"/>
                  </a:lnTo>
                  <a:lnTo>
                    <a:pt x="433" y="276"/>
                  </a:lnTo>
                  <a:lnTo>
                    <a:pt x="434" y="277"/>
                  </a:lnTo>
                  <a:lnTo>
                    <a:pt x="435" y="277"/>
                  </a:lnTo>
                  <a:lnTo>
                    <a:pt x="435" y="277"/>
                  </a:lnTo>
                  <a:lnTo>
                    <a:pt x="437" y="278"/>
                  </a:lnTo>
                  <a:lnTo>
                    <a:pt x="442" y="278"/>
                  </a:lnTo>
                  <a:lnTo>
                    <a:pt x="445" y="279"/>
                  </a:lnTo>
                  <a:lnTo>
                    <a:pt x="450" y="280"/>
                  </a:lnTo>
                  <a:lnTo>
                    <a:pt x="451" y="280"/>
                  </a:lnTo>
                  <a:lnTo>
                    <a:pt x="452" y="280"/>
                  </a:lnTo>
                  <a:lnTo>
                    <a:pt x="452" y="281"/>
                  </a:lnTo>
                  <a:lnTo>
                    <a:pt x="453" y="281"/>
                  </a:lnTo>
                  <a:lnTo>
                    <a:pt x="455" y="282"/>
                  </a:lnTo>
                  <a:lnTo>
                    <a:pt x="456" y="283"/>
                  </a:lnTo>
                  <a:lnTo>
                    <a:pt x="456" y="284"/>
                  </a:lnTo>
                  <a:lnTo>
                    <a:pt x="457" y="284"/>
                  </a:lnTo>
                  <a:lnTo>
                    <a:pt x="457" y="284"/>
                  </a:lnTo>
                  <a:lnTo>
                    <a:pt x="457" y="285"/>
                  </a:lnTo>
                  <a:lnTo>
                    <a:pt x="457" y="287"/>
                  </a:lnTo>
                  <a:lnTo>
                    <a:pt x="458" y="288"/>
                  </a:lnTo>
                  <a:lnTo>
                    <a:pt x="458" y="291"/>
                  </a:lnTo>
                  <a:lnTo>
                    <a:pt x="458" y="292"/>
                  </a:lnTo>
                  <a:lnTo>
                    <a:pt x="458" y="292"/>
                  </a:lnTo>
                  <a:lnTo>
                    <a:pt x="459" y="293"/>
                  </a:lnTo>
                  <a:lnTo>
                    <a:pt x="459" y="294"/>
                  </a:lnTo>
                  <a:lnTo>
                    <a:pt x="459" y="294"/>
                  </a:lnTo>
                  <a:lnTo>
                    <a:pt x="460" y="294"/>
                  </a:lnTo>
                  <a:lnTo>
                    <a:pt x="460" y="294"/>
                  </a:lnTo>
                  <a:lnTo>
                    <a:pt x="461" y="295"/>
                  </a:lnTo>
                  <a:lnTo>
                    <a:pt x="462" y="295"/>
                  </a:lnTo>
                  <a:lnTo>
                    <a:pt x="464" y="295"/>
                  </a:lnTo>
                  <a:lnTo>
                    <a:pt x="466" y="295"/>
                  </a:lnTo>
                  <a:lnTo>
                    <a:pt x="467" y="296"/>
                  </a:lnTo>
                  <a:lnTo>
                    <a:pt x="468" y="296"/>
                  </a:lnTo>
                  <a:lnTo>
                    <a:pt x="469" y="296"/>
                  </a:lnTo>
                  <a:lnTo>
                    <a:pt x="469" y="297"/>
                  </a:lnTo>
                  <a:lnTo>
                    <a:pt x="470" y="297"/>
                  </a:lnTo>
                  <a:lnTo>
                    <a:pt x="476" y="301"/>
                  </a:lnTo>
                  <a:lnTo>
                    <a:pt x="477" y="302"/>
                  </a:lnTo>
                  <a:lnTo>
                    <a:pt x="478" y="303"/>
                  </a:lnTo>
                  <a:lnTo>
                    <a:pt x="480" y="304"/>
                  </a:lnTo>
                  <a:lnTo>
                    <a:pt x="481" y="304"/>
                  </a:lnTo>
                  <a:lnTo>
                    <a:pt x="481" y="304"/>
                  </a:lnTo>
                  <a:lnTo>
                    <a:pt x="482" y="304"/>
                  </a:lnTo>
                  <a:lnTo>
                    <a:pt x="483" y="305"/>
                  </a:lnTo>
                  <a:lnTo>
                    <a:pt x="484" y="304"/>
                  </a:lnTo>
                  <a:lnTo>
                    <a:pt x="485" y="304"/>
                  </a:lnTo>
                  <a:lnTo>
                    <a:pt x="486" y="304"/>
                  </a:lnTo>
                  <a:lnTo>
                    <a:pt x="490" y="303"/>
                  </a:lnTo>
                  <a:lnTo>
                    <a:pt x="492" y="303"/>
                  </a:lnTo>
                  <a:lnTo>
                    <a:pt x="493" y="303"/>
                  </a:lnTo>
                  <a:lnTo>
                    <a:pt x="496" y="303"/>
                  </a:lnTo>
                  <a:lnTo>
                    <a:pt x="500" y="302"/>
                  </a:lnTo>
                  <a:lnTo>
                    <a:pt x="500" y="302"/>
                  </a:lnTo>
                  <a:lnTo>
                    <a:pt x="501" y="302"/>
                  </a:lnTo>
                  <a:lnTo>
                    <a:pt x="502" y="302"/>
                  </a:lnTo>
                  <a:lnTo>
                    <a:pt x="502" y="302"/>
                  </a:lnTo>
                  <a:lnTo>
                    <a:pt x="503" y="303"/>
                  </a:lnTo>
                  <a:lnTo>
                    <a:pt x="506" y="304"/>
                  </a:lnTo>
                  <a:lnTo>
                    <a:pt x="508" y="304"/>
                  </a:lnTo>
                  <a:lnTo>
                    <a:pt x="509" y="305"/>
                  </a:lnTo>
                  <a:lnTo>
                    <a:pt x="510" y="305"/>
                  </a:lnTo>
                  <a:lnTo>
                    <a:pt x="511" y="306"/>
                  </a:lnTo>
                  <a:lnTo>
                    <a:pt x="513" y="307"/>
                  </a:lnTo>
                  <a:lnTo>
                    <a:pt x="514" y="308"/>
                  </a:lnTo>
                  <a:lnTo>
                    <a:pt x="514" y="308"/>
                  </a:lnTo>
                  <a:lnTo>
                    <a:pt x="514" y="309"/>
                  </a:lnTo>
                  <a:lnTo>
                    <a:pt x="515" y="309"/>
                  </a:lnTo>
                  <a:lnTo>
                    <a:pt x="515" y="310"/>
                  </a:lnTo>
                  <a:lnTo>
                    <a:pt x="515" y="310"/>
                  </a:lnTo>
                  <a:lnTo>
                    <a:pt x="515" y="311"/>
                  </a:lnTo>
                  <a:lnTo>
                    <a:pt x="516" y="312"/>
                  </a:lnTo>
                  <a:lnTo>
                    <a:pt x="516" y="313"/>
                  </a:lnTo>
                  <a:lnTo>
                    <a:pt x="516" y="315"/>
                  </a:lnTo>
                  <a:lnTo>
                    <a:pt x="516" y="316"/>
                  </a:lnTo>
                  <a:lnTo>
                    <a:pt x="516" y="317"/>
                  </a:lnTo>
                  <a:lnTo>
                    <a:pt x="517" y="317"/>
                  </a:lnTo>
                  <a:lnTo>
                    <a:pt x="517" y="318"/>
                  </a:lnTo>
                  <a:lnTo>
                    <a:pt x="517" y="318"/>
                  </a:lnTo>
                  <a:lnTo>
                    <a:pt x="518" y="319"/>
                  </a:lnTo>
                  <a:lnTo>
                    <a:pt x="518" y="319"/>
                  </a:lnTo>
                  <a:lnTo>
                    <a:pt x="519" y="319"/>
                  </a:lnTo>
                  <a:lnTo>
                    <a:pt x="520" y="320"/>
                  </a:lnTo>
                  <a:lnTo>
                    <a:pt x="522" y="321"/>
                  </a:lnTo>
                  <a:lnTo>
                    <a:pt x="523" y="321"/>
                  </a:lnTo>
                  <a:lnTo>
                    <a:pt x="530" y="324"/>
                  </a:lnTo>
                  <a:lnTo>
                    <a:pt x="531" y="325"/>
                  </a:lnTo>
                  <a:lnTo>
                    <a:pt x="532" y="326"/>
                  </a:lnTo>
                  <a:lnTo>
                    <a:pt x="533" y="327"/>
                  </a:lnTo>
                  <a:lnTo>
                    <a:pt x="534" y="328"/>
                  </a:lnTo>
                  <a:lnTo>
                    <a:pt x="536" y="329"/>
                  </a:lnTo>
                  <a:lnTo>
                    <a:pt x="537" y="330"/>
                  </a:lnTo>
                  <a:lnTo>
                    <a:pt x="538" y="332"/>
                  </a:lnTo>
                  <a:lnTo>
                    <a:pt x="541" y="337"/>
                  </a:lnTo>
                  <a:lnTo>
                    <a:pt x="544" y="340"/>
                  </a:lnTo>
                  <a:lnTo>
                    <a:pt x="544" y="341"/>
                  </a:lnTo>
                  <a:lnTo>
                    <a:pt x="545" y="342"/>
                  </a:lnTo>
                  <a:lnTo>
                    <a:pt x="545" y="343"/>
                  </a:lnTo>
                  <a:lnTo>
                    <a:pt x="547" y="346"/>
                  </a:lnTo>
                  <a:lnTo>
                    <a:pt x="547" y="348"/>
                  </a:lnTo>
                  <a:lnTo>
                    <a:pt x="548" y="349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7" y="350"/>
                  </a:lnTo>
                  <a:lnTo>
                    <a:pt x="547" y="350"/>
                  </a:lnTo>
                  <a:lnTo>
                    <a:pt x="546" y="350"/>
                  </a:lnTo>
                  <a:lnTo>
                    <a:pt x="544" y="351"/>
                  </a:lnTo>
                  <a:lnTo>
                    <a:pt x="541" y="354"/>
                  </a:lnTo>
                  <a:lnTo>
                    <a:pt x="536" y="357"/>
                  </a:lnTo>
                  <a:lnTo>
                    <a:pt x="535" y="358"/>
                  </a:lnTo>
                  <a:lnTo>
                    <a:pt x="532" y="361"/>
                  </a:lnTo>
                  <a:lnTo>
                    <a:pt x="531" y="361"/>
                  </a:lnTo>
                  <a:lnTo>
                    <a:pt x="530" y="362"/>
                  </a:lnTo>
                  <a:lnTo>
                    <a:pt x="529" y="362"/>
                  </a:lnTo>
                  <a:lnTo>
                    <a:pt x="529" y="362"/>
                  </a:lnTo>
                  <a:lnTo>
                    <a:pt x="528" y="363"/>
                  </a:lnTo>
                  <a:lnTo>
                    <a:pt x="527" y="363"/>
                  </a:lnTo>
                  <a:lnTo>
                    <a:pt x="525" y="363"/>
                  </a:lnTo>
                  <a:lnTo>
                    <a:pt x="522" y="364"/>
                  </a:lnTo>
                  <a:lnTo>
                    <a:pt x="521" y="364"/>
                  </a:lnTo>
                  <a:lnTo>
                    <a:pt x="521" y="364"/>
                  </a:lnTo>
                  <a:lnTo>
                    <a:pt x="520" y="365"/>
                  </a:lnTo>
                  <a:lnTo>
                    <a:pt x="519" y="366"/>
                  </a:lnTo>
                  <a:lnTo>
                    <a:pt x="518" y="367"/>
                  </a:lnTo>
                  <a:lnTo>
                    <a:pt x="517" y="367"/>
                  </a:lnTo>
                  <a:lnTo>
                    <a:pt x="517" y="367"/>
                  </a:lnTo>
                  <a:lnTo>
                    <a:pt x="516" y="367"/>
                  </a:lnTo>
                  <a:lnTo>
                    <a:pt x="514" y="368"/>
                  </a:lnTo>
                  <a:lnTo>
                    <a:pt x="513" y="368"/>
                  </a:lnTo>
                  <a:lnTo>
                    <a:pt x="513" y="368"/>
                  </a:lnTo>
                  <a:lnTo>
                    <a:pt x="512" y="368"/>
                  </a:lnTo>
                  <a:lnTo>
                    <a:pt x="511" y="368"/>
                  </a:lnTo>
                  <a:lnTo>
                    <a:pt x="511" y="367"/>
                  </a:lnTo>
                  <a:lnTo>
                    <a:pt x="510" y="367"/>
                  </a:lnTo>
                  <a:lnTo>
                    <a:pt x="509" y="366"/>
                  </a:lnTo>
                  <a:lnTo>
                    <a:pt x="509" y="366"/>
                  </a:lnTo>
                  <a:lnTo>
                    <a:pt x="508" y="366"/>
                  </a:lnTo>
                  <a:lnTo>
                    <a:pt x="506" y="365"/>
                  </a:lnTo>
                  <a:lnTo>
                    <a:pt x="506" y="365"/>
                  </a:lnTo>
                  <a:lnTo>
                    <a:pt x="505" y="364"/>
                  </a:lnTo>
                  <a:lnTo>
                    <a:pt x="504" y="363"/>
                  </a:lnTo>
                  <a:lnTo>
                    <a:pt x="500" y="361"/>
                  </a:lnTo>
                  <a:lnTo>
                    <a:pt x="499" y="360"/>
                  </a:lnTo>
                  <a:lnTo>
                    <a:pt x="497" y="359"/>
                  </a:lnTo>
                  <a:lnTo>
                    <a:pt x="496" y="359"/>
                  </a:lnTo>
                  <a:lnTo>
                    <a:pt x="495" y="358"/>
                  </a:lnTo>
                  <a:lnTo>
                    <a:pt x="493" y="358"/>
                  </a:lnTo>
                  <a:lnTo>
                    <a:pt x="492" y="358"/>
                  </a:lnTo>
                  <a:lnTo>
                    <a:pt x="491" y="358"/>
                  </a:lnTo>
                  <a:lnTo>
                    <a:pt x="490" y="358"/>
                  </a:lnTo>
                  <a:lnTo>
                    <a:pt x="489" y="358"/>
                  </a:lnTo>
                  <a:lnTo>
                    <a:pt x="489" y="358"/>
                  </a:lnTo>
                  <a:lnTo>
                    <a:pt x="488" y="358"/>
                  </a:lnTo>
                  <a:lnTo>
                    <a:pt x="487" y="358"/>
                  </a:lnTo>
                  <a:lnTo>
                    <a:pt x="485" y="359"/>
                  </a:lnTo>
                  <a:lnTo>
                    <a:pt x="485" y="360"/>
                  </a:lnTo>
                  <a:lnTo>
                    <a:pt x="484" y="361"/>
                  </a:lnTo>
                  <a:lnTo>
                    <a:pt x="481" y="363"/>
                  </a:lnTo>
                  <a:lnTo>
                    <a:pt x="480" y="364"/>
                  </a:lnTo>
                  <a:lnTo>
                    <a:pt x="475" y="367"/>
                  </a:lnTo>
                  <a:lnTo>
                    <a:pt x="474" y="368"/>
                  </a:lnTo>
                  <a:lnTo>
                    <a:pt x="473" y="369"/>
                  </a:lnTo>
                  <a:lnTo>
                    <a:pt x="472" y="369"/>
                  </a:lnTo>
                  <a:lnTo>
                    <a:pt x="471" y="369"/>
                  </a:lnTo>
                  <a:lnTo>
                    <a:pt x="471" y="369"/>
                  </a:lnTo>
                  <a:lnTo>
                    <a:pt x="470" y="369"/>
                  </a:lnTo>
                  <a:lnTo>
                    <a:pt x="468" y="370"/>
                  </a:lnTo>
                  <a:lnTo>
                    <a:pt x="465" y="370"/>
                  </a:lnTo>
                  <a:lnTo>
                    <a:pt x="464" y="370"/>
                  </a:lnTo>
                  <a:lnTo>
                    <a:pt x="463" y="370"/>
                  </a:lnTo>
                  <a:lnTo>
                    <a:pt x="462" y="369"/>
                  </a:lnTo>
                  <a:lnTo>
                    <a:pt x="461" y="369"/>
                  </a:lnTo>
                  <a:lnTo>
                    <a:pt x="461" y="369"/>
                  </a:lnTo>
                  <a:lnTo>
                    <a:pt x="459" y="368"/>
                  </a:lnTo>
                  <a:lnTo>
                    <a:pt x="458" y="367"/>
                  </a:lnTo>
                  <a:lnTo>
                    <a:pt x="457" y="367"/>
                  </a:lnTo>
                  <a:lnTo>
                    <a:pt x="455" y="365"/>
                  </a:lnTo>
                  <a:lnTo>
                    <a:pt x="454" y="364"/>
                  </a:lnTo>
                  <a:lnTo>
                    <a:pt x="452" y="362"/>
                  </a:lnTo>
                  <a:lnTo>
                    <a:pt x="449" y="360"/>
                  </a:lnTo>
                  <a:lnTo>
                    <a:pt x="448" y="359"/>
                  </a:lnTo>
                  <a:lnTo>
                    <a:pt x="448" y="359"/>
                  </a:lnTo>
                  <a:lnTo>
                    <a:pt x="447" y="358"/>
                  </a:lnTo>
                  <a:lnTo>
                    <a:pt x="444" y="357"/>
                  </a:lnTo>
                  <a:lnTo>
                    <a:pt x="443" y="357"/>
                  </a:lnTo>
                  <a:lnTo>
                    <a:pt x="439" y="354"/>
                  </a:lnTo>
                  <a:lnTo>
                    <a:pt x="436" y="352"/>
                  </a:lnTo>
                  <a:lnTo>
                    <a:pt x="435" y="351"/>
                  </a:lnTo>
                  <a:lnTo>
                    <a:pt x="434" y="351"/>
                  </a:lnTo>
                  <a:lnTo>
                    <a:pt x="433" y="351"/>
                  </a:lnTo>
                  <a:lnTo>
                    <a:pt x="429" y="349"/>
                  </a:lnTo>
                  <a:lnTo>
                    <a:pt x="426" y="348"/>
                  </a:lnTo>
                  <a:lnTo>
                    <a:pt x="424" y="348"/>
                  </a:lnTo>
                  <a:lnTo>
                    <a:pt x="423" y="347"/>
                  </a:lnTo>
                  <a:lnTo>
                    <a:pt x="421" y="347"/>
                  </a:lnTo>
                  <a:lnTo>
                    <a:pt x="420" y="346"/>
                  </a:lnTo>
                  <a:lnTo>
                    <a:pt x="418" y="346"/>
                  </a:lnTo>
                  <a:lnTo>
                    <a:pt x="417" y="346"/>
                  </a:lnTo>
                  <a:lnTo>
                    <a:pt x="415" y="345"/>
                  </a:lnTo>
                  <a:lnTo>
                    <a:pt x="414" y="345"/>
                  </a:lnTo>
                  <a:lnTo>
                    <a:pt x="413" y="345"/>
                  </a:lnTo>
                  <a:lnTo>
                    <a:pt x="412" y="346"/>
                  </a:lnTo>
                  <a:lnTo>
                    <a:pt x="411" y="346"/>
                  </a:lnTo>
                  <a:lnTo>
                    <a:pt x="411" y="346"/>
                  </a:lnTo>
                  <a:lnTo>
                    <a:pt x="410" y="347"/>
                  </a:lnTo>
                  <a:lnTo>
                    <a:pt x="409" y="347"/>
                  </a:lnTo>
                  <a:lnTo>
                    <a:pt x="408" y="348"/>
                  </a:lnTo>
                  <a:lnTo>
                    <a:pt x="407" y="348"/>
                  </a:lnTo>
                  <a:lnTo>
                    <a:pt x="405" y="350"/>
                  </a:lnTo>
                  <a:lnTo>
                    <a:pt x="403" y="353"/>
                  </a:lnTo>
                  <a:lnTo>
                    <a:pt x="398" y="357"/>
                  </a:lnTo>
                  <a:lnTo>
                    <a:pt x="396" y="358"/>
                  </a:lnTo>
                  <a:lnTo>
                    <a:pt x="392" y="361"/>
                  </a:lnTo>
                  <a:lnTo>
                    <a:pt x="390" y="363"/>
                  </a:lnTo>
                  <a:lnTo>
                    <a:pt x="389" y="364"/>
                  </a:lnTo>
                  <a:lnTo>
                    <a:pt x="388" y="365"/>
                  </a:lnTo>
                  <a:lnTo>
                    <a:pt x="387" y="366"/>
                  </a:lnTo>
                  <a:lnTo>
                    <a:pt x="386" y="367"/>
                  </a:lnTo>
                  <a:lnTo>
                    <a:pt x="386" y="367"/>
                  </a:lnTo>
                  <a:lnTo>
                    <a:pt x="385" y="368"/>
                  </a:lnTo>
                  <a:lnTo>
                    <a:pt x="385" y="369"/>
                  </a:lnTo>
                  <a:lnTo>
                    <a:pt x="384" y="370"/>
                  </a:lnTo>
                  <a:lnTo>
                    <a:pt x="383" y="375"/>
                  </a:lnTo>
                  <a:lnTo>
                    <a:pt x="382" y="376"/>
                  </a:lnTo>
                  <a:lnTo>
                    <a:pt x="382" y="377"/>
                  </a:lnTo>
                  <a:lnTo>
                    <a:pt x="381" y="378"/>
                  </a:lnTo>
                  <a:lnTo>
                    <a:pt x="380" y="380"/>
                  </a:lnTo>
                  <a:lnTo>
                    <a:pt x="379" y="383"/>
                  </a:lnTo>
                  <a:lnTo>
                    <a:pt x="378" y="385"/>
                  </a:lnTo>
                  <a:lnTo>
                    <a:pt x="377" y="386"/>
                  </a:lnTo>
                  <a:lnTo>
                    <a:pt x="376" y="387"/>
                  </a:lnTo>
                  <a:lnTo>
                    <a:pt x="372" y="391"/>
                  </a:lnTo>
                  <a:lnTo>
                    <a:pt x="368" y="396"/>
                  </a:lnTo>
                  <a:lnTo>
                    <a:pt x="367" y="397"/>
                  </a:lnTo>
                  <a:lnTo>
                    <a:pt x="365" y="399"/>
                  </a:lnTo>
                  <a:lnTo>
                    <a:pt x="365" y="400"/>
                  </a:lnTo>
                  <a:lnTo>
                    <a:pt x="361" y="406"/>
                  </a:lnTo>
                  <a:lnTo>
                    <a:pt x="360" y="408"/>
                  </a:lnTo>
                  <a:lnTo>
                    <a:pt x="358" y="412"/>
                  </a:lnTo>
                  <a:lnTo>
                    <a:pt x="357" y="414"/>
                  </a:lnTo>
                  <a:lnTo>
                    <a:pt x="355" y="418"/>
                  </a:lnTo>
                  <a:lnTo>
                    <a:pt x="354" y="421"/>
                  </a:lnTo>
                  <a:lnTo>
                    <a:pt x="353" y="423"/>
                  </a:lnTo>
                  <a:lnTo>
                    <a:pt x="352" y="425"/>
                  </a:lnTo>
                  <a:lnTo>
                    <a:pt x="351" y="429"/>
                  </a:lnTo>
                  <a:lnTo>
                    <a:pt x="350" y="431"/>
                  </a:lnTo>
                  <a:lnTo>
                    <a:pt x="350" y="432"/>
                  </a:lnTo>
                  <a:lnTo>
                    <a:pt x="348" y="435"/>
                  </a:lnTo>
                  <a:lnTo>
                    <a:pt x="347" y="436"/>
                  </a:lnTo>
                  <a:lnTo>
                    <a:pt x="346" y="438"/>
                  </a:lnTo>
                  <a:lnTo>
                    <a:pt x="345" y="440"/>
                  </a:lnTo>
                  <a:lnTo>
                    <a:pt x="345" y="442"/>
                  </a:lnTo>
                  <a:lnTo>
                    <a:pt x="345" y="443"/>
                  </a:lnTo>
                  <a:lnTo>
                    <a:pt x="344" y="444"/>
                  </a:lnTo>
                  <a:lnTo>
                    <a:pt x="344" y="447"/>
                  </a:lnTo>
                  <a:lnTo>
                    <a:pt x="343" y="451"/>
                  </a:lnTo>
                  <a:lnTo>
                    <a:pt x="342" y="453"/>
                  </a:lnTo>
                  <a:lnTo>
                    <a:pt x="342" y="455"/>
                  </a:lnTo>
                  <a:lnTo>
                    <a:pt x="342" y="456"/>
                  </a:lnTo>
                  <a:lnTo>
                    <a:pt x="341" y="458"/>
                  </a:lnTo>
                  <a:lnTo>
                    <a:pt x="341" y="458"/>
                  </a:lnTo>
                  <a:lnTo>
                    <a:pt x="340" y="460"/>
                  </a:lnTo>
                  <a:lnTo>
                    <a:pt x="340" y="461"/>
                  </a:lnTo>
                  <a:lnTo>
                    <a:pt x="339" y="461"/>
                  </a:lnTo>
                  <a:lnTo>
                    <a:pt x="338" y="462"/>
                  </a:lnTo>
                  <a:lnTo>
                    <a:pt x="337" y="463"/>
                  </a:lnTo>
                  <a:lnTo>
                    <a:pt x="337" y="463"/>
                  </a:lnTo>
                  <a:lnTo>
                    <a:pt x="336" y="464"/>
                  </a:lnTo>
                  <a:lnTo>
                    <a:pt x="335" y="464"/>
                  </a:lnTo>
                  <a:lnTo>
                    <a:pt x="335" y="464"/>
                  </a:lnTo>
                  <a:lnTo>
                    <a:pt x="334" y="464"/>
                  </a:lnTo>
                  <a:lnTo>
                    <a:pt x="334" y="464"/>
                  </a:lnTo>
                  <a:lnTo>
                    <a:pt x="333" y="464"/>
                  </a:lnTo>
                  <a:lnTo>
                    <a:pt x="332" y="464"/>
                  </a:lnTo>
                  <a:lnTo>
                    <a:pt x="332" y="463"/>
                  </a:lnTo>
                  <a:lnTo>
                    <a:pt x="331" y="463"/>
                  </a:lnTo>
                  <a:lnTo>
                    <a:pt x="331" y="462"/>
                  </a:lnTo>
                  <a:lnTo>
                    <a:pt x="331" y="462"/>
                  </a:lnTo>
                  <a:lnTo>
                    <a:pt x="331" y="461"/>
                  </a:lnTo>
                  <a:lnTo>
                    <a:pt x="331" y="460"/>
                  </a:lnTo>
                  <a:lnTo>
                    <a:pt x="331" y="460"/>
                  </a:lnTo>
                  <a:lnTo>
                    <a:pt x="330" y="456"/>
                  </a:lnTo>
                  <a:lnTo>
                    <a:pt x="329" y="452"/>
                  </a:lnTo>
                  <a:lnTo>
                    <a:pt x="329" y="450"/>
                  </a:lnTo>
                  <a:lnTo>
                    <a:pt x="329" y="447"/>
                  </a:lnTo>
                  <a:lnTo>
                    <a:pt x="329" y="445"/>
                  </a:lnTo>
                  <a:lnTo>
                    <a:pt x="328" y="442"/>
                  </a:lnTo>
                  <a:lnTo>
                    <a:pt x="327" y="439"/>
                  </a:lnTo>
                  <a:lnTo>
                    <a:pt x="327" y="438"/>
                  </a:lnTo>
                  <a:lnTo>
                    <a:pt x="327" y="436"/>
                  </a:lnTo>
                  <a:lnTo>
                    <a:pt x="327" y="432"/>
                  </a:lnTo>
                  <a:lnTo>
                    <a:pt x="326" y="431"/>
                  </a:lnTo>
                  <a:lnTo>
                    <a:pt x="326" y="429"/>
                  </a:lnTo>
                  <a:lnTo>
                    <a:pt x="326" y="428"/>
                  </a:lnTo>
                  <a:lnTo>
                    <a:pt x="326" y="427"/>
                  </a:lnTo>
                  <a:lnTo>
                    <a:pt x="325" y="426"/>
                  </a:lnTo>
                  <a:lnTo>
                    <a:pt x="325" y="425"/>
                  </a:lnTo>
                  <a:lnTo>
                    <a:pt x="324" y="424"/>
                  </a:lnTo>
                  <a:lnTo>
                    <a:pt x="323" y="423"/>
                  </a:lnTo>
                  <a:lnTo>
                    <a:pt x="322" y="422"/>
                  </a:lnTo>
                  <a:lnTo>
                    <a:pt x="322" y="421"/>
                  </a:lnTo>
                  <a:lnTo>
                    <a:pt x="321" y="421"/>
                  </a:lnTo>
                  <a:lnTo>
                    <a:pt x="321" y="421"/>
                  </a:lnTo>
                  <a:lnTo>
                    <a:pt x="320" y="421"/>
                  </a:lnTo>
                  <a:lnTo>
                    <a:pt x="319" y="420"/>
                  </a:lnTo>
                  <a:lnTo>
                    <a:pt x="318" y="420"/>
                  </a:lnTo>
                  <a:lnTo>
                    <a:pt x="317" y="420"/>
                  </a:lnTo>
                  <a:lnTo>
                    <a:pt x="316" y="420"/>
                  </a:lnTo>
                  <a:lnTo>
                    <a:pt x="316" y="420"/>
                  </a:lnTo>
                  <a:lnTo>
                    <a:pt x="315" y="420"/>
                  </a:lnTo>
                  <a:lnTo>
                    <a:pt x="314" y="420"/>
                  </a:lnTo>
                  <a:lnTo>
                    <a:pt x="312" y="421"/>
                  </a:lnTo>
                  <a:lnTo>
                    <a:pt x="311" y="421"/>
                  </a:lnTo>
                  <a:lnTo>
                    <a:pt x="309" y="421"/>
                  </a:lnTo>
                  <a:lnTo>
                    <a:pt x="307" y="422"/>
                  </a:lnTo>
                  <a:lnTo>
                    <a:pt x="305" y="422"/>
                  </a:lnTo>
                  <a:lnTo>
                    <a:pt x="302" y="422"/>
                  </a:lnTo>
                  <a:lnTo>
                    <a:pt x="298" y="423"/>
                  </a:lnTo>
                  <a:lnTo>
                    <a:pt x="296" y="423"/>
                  </a:lnTo>
                  <a:lnTo>
                    <a:pt x="293" y="424"/>
                  </a:lnTo>
                  <a:lnTo>
                    <a:pt x="292" y="424"/>
                  </a:lnTo>
                  <a:lnTo>
                    <a:pt x="291" y="424"/>
                  </a:lnTo>
                  <a:lnTo>
                    <a:pt x="289" y="423"/>
                  </a:lnTo>
                  <a:lnTo>
                    <a:pt x="285" y="423"/>
                  </a:lnTo>
                  <a:lnTo>
                    <a:pt x="284" y="422"/>
                  </a:lnTo>
                  <a:lnTo>
                    <a:pt x="282" y="421"/>
                  </a:lnTo>
                  <a:lnTo>
                    <a:pt x="280" y="420"/>
                  </a:lnTo>
                  <a:lnTo>
                    <a:pt x="279" y="420"/>
                  </a:lnTo>
                  <a:lnTo>
                    <a:pt x="278" y="419"/>
                  </a:lnTo>
                  <a:lnTo>
                    <a:pt x="275" y="417"/>
                  </a:lnTo>
                  <a:lnTo>
                    <a:pt x="274" y="416"/>
                  </a:lnTo>
                  <a:lnTo>
                    <a:pt x="274" y="416"/>
                  </a:lnTo>
                  <a:lnTo>
                    <a:pt x="273" y="415"/>
                  </a:lnTo>
                  <a:lnTo>
                    <a:pt x="271" y="414"/>
                  </a:lnTo>
                  <a:lnTo>
                    <a:pt x="270" y="414"/>
                  </a:lnTo>
                  <a:lnTo>
                    <a:pt x="268" y="414"/>
                  </a:lnTo>
                  <a:lnTo>
                    <a:pt x="268" y="413"/>
                  </a:lnTo>
                  <a:lnTo>
                    <a:pt x="267" y="413"/>
                  </a:lnTo>
                  <a:lnTo>
                    <a:pt x="266" y="413"/>
                  </a:lnTo>
                  <a:lnTo>
                    <a:pt x="265" y="413"/>
                  </a:lnTo>
                  <a:lnTo>
                    <a:pt x="264" y="413"/>
                  </a:lnTo>
                  <a:lnTo>
                    <a:pt x="263" y="413"/>
                  </a:lnTo>
                  <a:lnTo>
                    <a:pt x="260" y="413"/>
                  </a:lnTo>
                  <a:lnTo>
                    <a:pt x="259" y="413"/>
                  </a:lnTo>
                  <a:lnTo>
                    <a:pt x="258" y="413"/>
                  </a:lnTo>
                  <a:lnTo>
                    <a:pt x="258" y="413"/>
                  </a:lnTo>
                  <a:lnTo>
                    <a:pt x="257" y="413"/>
                  </a:lnTo>
                  <a:lnTo>
                    <a:pt x="257" y="413"/>
                  </a:lnTo>
                  <a:lnTo>
                    <a:pt x="256" y="413"/>
                  </a:lnTo>
                  <a:lnTo>
                    <a:pt x="256" y="412"/>
                  </a:lnTo>
                  <a:lnTo>
                    <a:pt x="256" y="412"/>
                  </a:lnTo>
                  <a:lnTo>
                    <a:pt x="255" y="412"/>
                  </a:lnTo>
                  <a:lnTo>
                    <a:pt x="255" y="411"/>
                  </a:lnTo>
                  <a:lnTo>
                    <a:pt x="255" y="411"/>
                  </a:lnTo>
                  <a:lnTo>
                    <a:pt x="254" y="410"/>
                  </a:lnTo>
                  <a:lnTo>
                    <a:pt x="254" y="409"/>
                  </a:lnTo>
                  <a:lnTo>
                    <a:pt x="254" y="409"/>
                  </a:lnTo>
                  <a:lnTo>
                    <a:pt x="253" y="405"/>
                  </a:lnTo>
                  <a:lnTo>
                    <a:pt x="253" y="402"/>
                  </a:lnTo>
                  <a:lnTo>
                    <a:pt x="253" y="401"/>
                  </a:lnTo>
                  <a:lnTo>
                    <a:pt x="253" y="401"/>
                  </a:lnTo>
                  <a:lnTo>
                    <a:pt x="252" y="400"/>
                  </a:lnTo>
                  <a:lnTo>
                    <a:pt x="252" y="399"/>
                  </a:lnTo>
                  <a:lnTo>
                    <a:pt x="251" y="398"/>
                  </a:lnTo>
                  <a:lnTo>
                    <a:pt x="251" y="397"/>
                  </a:lnTo>
                  <a:lnTo>
                    <a:pt x="250" y="396"/>
                  </a:lnTo>
                  <a:lnTo>
                    <a:pt x="249" y="394"/>
                  </a:lnTo>
                  <a:lnTo>
                    <a:pt x="248" y="394"/>
                  </a:lnTo>
                  <a:lnTo>
                    <a:pt x="247" y="393"/>
                  </a:lnTo>
                  <a:lnTo>
                    <a:pt x="246" y="393"/>
                  </a:lnTo>
                  <a:lnTo>
                    <a:pt x="245" y="392"/>
                  </a:lnTo>
                  <a:lnTo>
                    <a:pt x="244" y="392"/>
                  </a:lnTo>
                  <a:lnTo>
                    <a:pt x="243" y="392"/>
                  </a:lnTo>
                  <a:lnTo>
                    <a:pt x="242" y="391"/>
                  </a:lnTo>
                  <a:lnTo>
                    <a:pt x="241" y="391"/>
                  </a:lnTo>
                  <a:lnTo>
                    <a:pt x="237" y="392"/>
                  </a:lnTo>
                  <a:lnTo>
                    <a:pt x="236" y="392"/>
                  </a:lnTo>
                  <a:lnTo>
                    <a:pt x="234" y="392"/>
                  </a:lnTo>
                  <a:lnTo>
                    <a:pt x="233" y="391"/>
                  </a:lnTo>
                  <a:lnTo>
                    <a:pt x="232" y="391"/>
                  </a:lnTo>
                  <a:lnTo>
                    <a:pt x="231" y="391"/>
                  </a:lnTo>
                  <a:lnTo>
                    <a:pt x="229" y="391"/>
                  </a:lnTo>
                  <a:lnTo>
                    <a:pt x="228" y="390"/>
                  </a:lnTo>
                  <a:lnTo>
                    <a:pt x="227" y="390"/>
                  </a:lnTo>
                  <a:lnTo>
                    <a:pt x="221" y="386"/>
                  </a:lnTo>
                  <a:lnTo>
                    <a:pt x="219" y="385"/>
                  </a:lnTo>
                  <a:lnTo>
                    <a:pt x="216" y="383"/>
                  </a:lnTo>
                  <a:lnTo>
                    <a:pt x="215" y="382"/>
                  </a:lnTo>
                  <a:lnTo>
                    <a:pt x="213" y="382"/>
                  </a:lnTo>
                  <a:lnTo>
                    <a:pt x="213" y="381"/>
                  </a:lnTo>
                  <a:lnTo>
                    <a:pt x="212" y="381"/>
                  </a:lnTo>
                  <a:lnTo>
                    <a:pt x="211" y="381"/>
                  </a:lnTo>
                  <a:lnTo>
                    <a:pt x="211" y="381"/>
                  </a:lnTo>
                  <a:lnTo>
                    <a:pt x="210" y="381"/>
                  </a:lnTo>
                  <a:lnTo>
                    <a:pt x="210" y="381"/>
                  </a:lnTo>
                  <a:lnTo>
                    <a:pt x="208" y="381"/>
                  </a:lnTo>
                  <a:lnTo>
                    <a:pt x="206" y="382"/>
                  </a:lnTo>
                  <a:lnTo>
                    <a:pt x="205" y="382"/>
                  </a:lnTo>
                  <a:lnTo>
                    <a:pt x="203" y="382"/>
                  </a:lnTo>
                  <a:lnTo>
                    <a:pt x="202" y="383"/>
                  </a:lnTo>
                  <a:lnTo>
                    <a:pt x="199" y="383"/>
                  </a:lnTo>
                  <a:lnTo>
                    <a:pt x="197" y="383"/>
                  </a:lnTo>
                  <a:lnTo>
                    <a:pt x="194" y="383"/>
                  </a:lnTo>
                  <a:lnTo>
                    <a:pt x="191" y="382"/>
                  </a:lnTo>
                  <a:lnTo>
                    <a:pt x="190" y="382"/>
                  </a:lnTo>
                  <a:lnTo>
                    <a:pt x="189" y="382"/>
                  </a:lnTo>
                  <a:lnTo>
                    <a:pt x="188" y="382"/>
                  </a:lnTo>
                  <a:lnTo>
                    <a:pt x="188" y="383"/>
                  </a:lnTo>
                  <a:lnTo>
                    <a:pt x="187" y="383"/>
                  </a:lnTo>
                  <a:lnTo>
                    <a:pt x="186" y="383"/>
                  </a:lnTo>
                  <a:lnTo>
                    <a:pt x="186" y="384"/>
                  </a:lnTo>
                  <a:lnTo>
                    <a:pt x="185" y="385"/>
                  </a:lnTo>
                  <a:lnTo>
                    <a:pt x="184" y="386"/>
                  </a:lnTo>
                  <a:lnTo>
                    <a:pt x="183" y="387"/>
                  </a:lnTo>
                  <a:lnTo>
                    <a:pt x="182" y="389"/>
                  </a:lnTo>
                  <a:lnTo>
                    <a:pt x="181" y="392"/>
                  </a:lnTo>
                  <a:lnTo>
                    <a:pt x="180" y="394"/>
                  </a:lnTo>
                  <a:lnTo>
                    <a:pt x="179" y="397"/>
                  </a:lnTo>
                  <a:lnTo>
                    <a:pt x="178" y="399"/>
                  </a:lnTo>
                  <a:lnTo>
                    <a:pt x="178" y="400"/>
                  </a:lnTo>
                  <a:lnTo>
                    <a:pt x="177" y="401"/>
                  </a:lnTo>
                  <a:lnTo>
                    <a:pt x="175" y="405"/>
                  </a:lnTo>
                  <a:lnTo>
                    <a:pt x="172" y="409"/>
                  </a:lnTo>
                  <a:lnTo>
                    <a:pt x="171" y="410"/>
                  </a:lnTo>
                  <a:lnTo>
                    <a:pt x="170" y="411"/>
                  </a:lnTo>
                  <a:lnTo>
                    <a:pt x="170" y="412"/>
                  </a:lnTo>
                  <a:lnTo>
                    <a:pt x="168" y="413"/>
                  </a:lnTo>
                  <a:lnTo>
                    <a:pt x="167" y="413"/>
                  </a:lnTo>
                  <a:lnTo>
                    <a:pt x="165" y="415"/>
                  </a:lnTo>
                  <a:lnTo>
                    <a:pt x="164" y="416"/>
                  </a:lnTo>
                  <a:lnTo>
                    <a:pt x="162" y="416"/>
                  </a:lnTo>
                  <a:lnTo>
                    <a:pt x="162" y="417"/>
                  </a:lnTo>
                  <a:lnTo>
                    <a:pt x="161" y="417"/>
                  </a:lnTo>
                  <a:lnTo>
                    <a:pt x="160" y="417"/>
                  </a:lnTo>
                  <a:lnTo>
                    <a:pt x="159" y="417"/>
                  </a:lnTo>
                  <a:lnTo>
                    <a:pt x="158" y="416"/>
                  </a:lnTo>
                  <a:lnTo>
                    <a:pt x="157" y="416"/>
                  </a:lnTo>
                  <a:lnTo>
                    <a:pt x="156" y="416"/>
                  </a:lnTo>
                  <a:lnTo>
                    <a:pt x="156" y="416"/>
                  </a:lnTo>
                  <a:lnTo>
                    <a:pt x="154" y="414"/>
                  </a:lnTo>
                  <a:lnTo>
                    <a:pt x="154" y="414"/>
                  </a:lnTo>
                  <a:lnTo>
                    <a:pt x="153" y="414"/>
                  </a:lnTo>
                  <a:lnTo>
                    <a:pt x="152" y="413"/>
                  </a:lnTo>
                  <a:lnTo>
                    <a:pt x="152" y="413"/>
                  </a:lnTo>
                  <a:lnTo>
                    <a:pt x="152" y="413"/>
                  </a:lnTo>
                  <a:lnTo>
                    <a:pt x="151" y="413"/>
                  </a:lnTo>
                  <a:lnTo>
                    <a:pt x="151" y="413"/>
                  </a:lnTo>
                  <a:lnTo>
                    <a:pt x="150" y="414"/>
                  </a:lnTo>
                  <a:lnTo>
                    <a:pt x="148" y="415"/>
                  </a:lnTo>
                  <a:lnTo>
                    <a:pt x="148" y="415"/>
                  </a:lnTo>
                  <a:lnTo>
                    <a:pt x="147" y="415"/>
                  </a:lnTo>
                  <a:lnTo>
                    <a:pt x="147" y="415"/>
                  </a:lnTo>
                  <a:lnTo>
                    <a:pt x="146" y="415"/>
                  </a:lnTo>
                  <a:lnTo>
                    <a:pt x="145" y="415"/>
                  </a:lnTo>
                  <a:lnTo>
                    <a:pt x="144" y="415"/>
                  </a:lnTo>
                  <a:lnTo>
                    <a:pt x="143" y="415"/>
                  </a:lnTo>
                  <a:lnTo>
                    <a:pt x="142" y="415"/>
                  </a:lnTo>
                  <a:lnTo>
                    <a:pt x="139" y="415"/>
                  </a:lnTo>
                  <a:lnTo>
                    <a:pt x="137" y="414"/>
                  </a:lnTo>
                  <a:lnTo>
                    <a:pt x="135" y="414"/>
                  </a:lnTo>
                  <a:lnTo>
                    <a:pt x="133" y="414"/>
                  </a:lnTo>
                  <a:lnTo>
                    <a:pt x="132" y="414"/>
                  </a:lnTo>
                  <a:lnTo>
                    <a:pt x="130" y="414"/>
                  </a:lnTo>
                  <a:lnTo>
                    <a:pt x="126" y="414"/>
                  </a:lnTo>
                  <a:lnTo>
                    <a:pt x="124" y="414"/>
                  </a:lnTo>
                  <a:lnTo>
                    <a:pt x="121" y="414"/>
                  </a:lnTo>
                  <a:lnTo>
                    <a:pt x="118" y="413"/>
                  </a:lnTo>
                  <a:lnTo>
                    <a:pt x="113" y="413"/>
                  </a:lnTo>
                  <a:lnTo>
                    <a:pt x="101" y="412"/>
                  </a:lnTo>
                  <a:lnTo>
                    <a:pt x="98" y="411"/>
                  </a:lnTo>
                  <a:lnTo>
                    <a:pt x="97" y="411"/>
                  </a:lnTo>
                  <a:lnTo>
                    <a:pt x="95" y="411"/>
                  </a:lnTo>
                  <a:lnTo>
                    <a:pt x="94" y="411"/>
                  </a:lnTo>
                  <a:lnTo>
                    <a:pt x="91" y="412"/>
                  </a:lnTo>
                  <a:lnTo>
                    <a:pt x="89" y="412"/>
                  </a:lnTo>
                  <a:lnTo>
                    <a:pt x="87" y="412"/>
                  </a:lnTo>
                  <a:lnTo>
                    <a:pt x="84" y="411"/>
                  </a:lnTo>
                  <a:lnTo>
                    <a:pt x="79" y="411"/>
                  </a:lnTo>
                  <a:lnTo>
                    <a:pt x="78" y="411"/>
                  </a:lnTo>
                  <a:lnTo>
                    <a:pt x="77" y="411"/>
                  </a:lnTo>
                  <a:lnTo>
                    <a:pt x="75" y="411"/>
                  </a:lnTo>
                  <a:lnTo>
                    <a:pt x="74" y="410"/>
                  </a:lnTo>
                  <a:lnTo>
                    <a:pt x="73" y="410"/>
                  </a:lnTo>
                  <a:lnTo>
                    <a:pt x="71" y="409"/>
                  </a:lnTo>
                  <a:lnTo>
                    <a:pt x="70" y="409"/>
                  </a:lnTo>
                  <a:lnTo>
                    <a:pt x="68" y="408"/>
                  </a:lnTo>
                  <a:lnTo>
                    <a:pt x="67" y="407"/>
                  </a:lnTo>
                  <a:lnTo>
                    <a:pt x="65" y="406"/>
                  </a:lnTo>
                  <a:lnTo>
                    <a:pt x="59" y="403"/>
                  </a:lnTo>
                  <a:lnTo>
                    <a:pt x="50" y="399"/>
                  </a:lnTo>
                  <a:lnTo>
                    <a:pt x="47" y="397"/>
                  </a:lnTo>
                  <a:lnTo>
                    <a:pt x="46" y="396"/>
                  </a:lnTo>
                  <a:lnTo>
                    <a:pt x="45" y="396"/>
                  </a:lnTo>
                  <a:lnTo>
                    <a:pt x="44" y="395"/>
                  </a:lnTo>
                  <a:lnTo>
                    <a:pt x="42" y="394"/>
                  </a:lnTo>
                  <a:lnTo>
                    <a:pt x="41" y="392"/>
                  </a:lnTo>
                  <a:lnTo>
                    <a:pt x="39" y="391"/>
                  </a:lnTo>
                  <a:lnTo>
                    <a:pt x="37" y="390"/>
                  </a:lnTo>
                  <a:lnTo>
                    <a:pt x="36" y="388"/>
                  </a:lnTo>
                  <a:lnTo>
                    <a:pt x="35" y="387"/>
                  </a:lnTo>
                  <a:lnTo>
                    <a:pt x="34" y="386"/>
                  </a:lnTo>
                  <a:lnTo>
                    <a:pt x="34" y="386"/>
                  </a:lnTo>
                  <a:lnTo>
                    <a:pt x="33" y="385"/>
                  </a:lnTo>
                  <a:lnTo>
                    <a:pt x="33" y="384"/>
                  </a:lnTo>
                  <a:lnTo>
                    <a:pt x="33" y="384"/>
                  </a:lnTo>
                  <a:lnTo>
                    <a:pt x="32" y="382"/>
                  </a:lnTo>
                  <a:lnTo>
                    <a:pt x="31" y="380"/>
                  </a:lnTo>
                  <a:lnTo>
                    <a:pt x="31" y="379"/>
                  </a:lnTo>
                  <a:lnTo>
                    <a:pt x="31" y="379"/>
                  </a:lnTo>
                  <a:lnTo>
                    <a:pt x="31" y="378"/>
                  </a:lnTo>
                  <a:lnTo>
                    <a:pt x="31" y="378"/>
                  </a:lnTo>
                  <a:lnTo>
                    <a:pt x="30" y="377"/>
                  </a:lnTo>
                  <a:lnTo>
                    <a:pt x="30" y="377"/>
                  </a:lnTo>
                  <a:lnTo>
                    <a:pt x="29" y="377"/>
                  </a:lnTo>
                  <a:lnTo>
                    <a:pt x="29" y="376"/>
                  </a:lnTo>
                  <a:lnTo>
                    <a:pt x="28" y="376"/>
                  </a:lnTo>
                  <a:lnTo>
                    <a:pt x="27" y="376"/>
                  </a:lnTo>
                  <a:lnTo>
                    <a:pt x="26" y="376"/>
                  </a:lnTo>
                  <a:lnTo>
                    <a:pt x="26" y="376"/>
                  </a:lnTo>
                  <a:lnTo>
                    <a:pt x="25" y="375"/>
                  </a:lnTo>
                  <a:lnTo>
                    <a:pt x="25" y="375"/>
                  </a:lnTo>
                  <a:lnTo>
                    <a:pt x="24" y="374"/>
                  </a:lnTo>
                  <a:lnTo>
                    <a:pt x="23" y="373"/>
                  </a:lnTo>
                  <a:lnTo>
                    <a:pt x="22" y="372"/>
                  </a:lnTo>
                  <a:lnTo>
                    <a:pt x="21" y="372"/>
                  </a:lnTo>
                  <a:lnTo>
                    <a:pt x="21" y="371"/>
                  </a:lnTo>
                  <a:lnTo>
                    <a:pt x="20" y="371"/>
                  </a:lnTo>
                  <a:lnTo>
                    <a:pt x="19" y="371"/>
                  </a:lnTo>
                  <a:lnTo>
                    <a:pt x="16" y="370"/>
                  </a:lnTo>
                  <a:lnTo>
                    <a:pt x="16" y="370"/>
                  </a:lnTo>
                  <a:lnTo>
                    <a:pt x="15" y="370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14" y="368"/>
                  </a:lnTo>
                  <a:lnTo>
                    <a:pt x="14" y="368"/>
                  </a:lnTo>
                  <a:lnTo>
                    <a:pt x="14" y="367"/>
                  </a:lnTo>
                  <a:lnTo>
                    <a:pt x="13" y="367"/>
                  </a:lnTo>
                  <a:lnTo>
                    <a:pt x="13" y="366"/>
                  </a:lnTo>
                  <a:lnTo>
                    <a:pt x="12" y="366"/>
                  </a:lnTo>
                  <a:lnTo>
                    <a:pt x="11" y="365"/>
                  </a:lnTo>
                  <a:lnTo>
                    <a:pt x="10" y="365"/>
                  </a:lnTo>
                  <a:lnTo>
                    <a:pt x="9" y="363"/>
                  </a:lnTo>
                  <a:lnTo>
                    <a:pt x="8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5" y="361"/>
                  </a:lnTo>
                  <a:lnTo>
                    <a:pt x="4" y="361"/>
                  </a:lnTo>
                  <a:lnTo>
                    <a:pt x="2" y="360"/>
                  </a:lnTo>
                  <a:lnTo>
                    <a:pt x="2" y="360"/>
                  </a:lnTo>
                  <a:lnTo>
                    <a:pt x="1" y="359"/>
                  </a:lnTo>
                  <a:lnTo>
                    <a:pt x="1" y="359"/>
                  </a:lnTo>
                  <a:lnTo>
                    <a:pt x="0" y="358"/>
                  </a:lnTo>
                  <a:lnTo>
                    <a:pt x="0" y="358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Freeform 68">
              <a:extLst>
                <a:ext uri="{FF2B5EF4-FFF2-40B4-BE49-F238E27FC236}">
                  <a16:creationId xmlns:a16="http://schemas.microsoft.com/office/drawing/2014/main" id="{A40D30B3-1588-40AE-E7A5-FDDD159C76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21"/>
              <a:ext cx="303" cy="362"/>
            </a:xfrm>
            <a:custGeom>
              <a:avLst/>
              <a:gdLst>
                <a:gd name="T0" fmla="*/ 88 w 303"/>
                <a:gd name="T1" fmla="*/ 354 h 362"/>
                <a:gd name="T2" fmla="*/ 71 w 303"/>
                <a:gd name="T3" fmla="*/ 357 h 362"/>
                <a:gd name="T4" fmla="*/ 57 w 303"/>
                <a:gd name="T5" fmla="*/ 362 h 362"/>
                <a:gd name="T6" fmla="*/ 34 w 303"/>
                <a:gd name="T7" fmla="*/ 351 h 362"/>
                <a:gd name="T8" fmla="*/ 10 w 303"/>
                <a:gd name="T9" fmla="*/ 342 h 362"/>
                <a:gd name="T10" fmla="*/ 4 w 303"/>
                <a:gd name="T11" fmla="*/ 331 h 362"/>
                <a:gd name="T12" fmla="*/ 6 w 303"/>
                <a:gd name="T13" fmla="*/ 328 h 362"/>
                <a:gd name="T14" fmla="*/ 11 w 303"/>
                <a:gd name="T15" fmla="*/ 323 h 362"/>
                <a:gd name="T16" fmla="*/ 16 w 303"/>
                <a:gd name="T17" fmla="*/ 318 h 362"/>
                <a:gd name="T18" fmla="*/ 26 w 303"/>
                <a:gd name="T19" fmla="*/ 321 h 362"/>
                <a:gd name="T20" fmla="*/ 34 w 303"/>
                <a:gd name="T21" fmla="*/ 319 h 362"/>
                <a:gd name="T22" fmla="*/ 45 w 303"/>
                <a:gd name="T23" fmla="*/ 312 h 362"/>
                <a:gd name="T24" fmla="*/ 56 w 303"/>
                <a:gd name="T25" fmla="*/ 316 h 362"/>
                <a:gd name="T26" fmla="*/ 66 w 303"/>
                <a:gd name="T27" fmla="*/ 307 h 362"/>
                <a:gd name="T28" fmla="*/ 78 w 303"/>
                <a:gd name="T29" fmla="*/ 297 h 362"/>
                <a:gd name="T30" fmla="*/ 93 w 303"/>
                <a:gd name="T31" fmla="*/ 290 h 362"/>
                <a:gd name="T32" fmla="*/ 102 w 303"/>
                <a:gd name="T33" fmla="*/ 286 h 362"/>
                <a:gd name="T34" fmla="*/ 107 w 303"/>
                <a:gd name="T35" fmla="*/ 279 h 362"/>
                <a:gd name="T36" fmla="*/ 116 w 303"/>
                <a:gd name="T37" fmla="*/ 277 h 362"/>
                <a:gd name="T38" fmla="*/ 126 w 303"/>
                <a:gd name="T39" fmla="*/ 271 h 362"/>
                <a:gd name="T40" fmla="*/ 134 w 303"/>
                <a:gd name="T41" fmla="*/ 278 h 362"/>
                <a:gd name="T42" fmla="*/ 146 w 303"/>
                <a:gd name="T43" fmla="*/ 278 h 362"/>
                <a:gd name="T44" fmla="*/ 159 w 303"/>
                <a:gd name="T45" fmla="*/ 277 h 362"/>
                <a:gd name="T46" fmla="*/ 178 w 303"/>
                <a:gd name="T47" fmla="*/ 273 h 362"/>
                <a:gd name="T48" fmla="*/ 180 w 303"/>
                <a:gd name="T49" fmla="*/ 265 h 362"/>
                <a:gd name="T50" fmla="*/ 196 w 303"/>
                <a:gd name="T51" fmla="*/ 260 h 362"/>
                <a:gd name="T52" fmla="*/ 205 w 303"/>
                <a:gd name="T53" fmla="*/ 255 h 362"/>
                <a:gd name="T54" fmla="*/ 212 w 303"/>
                <a:gd name="T55" fmla="*/ 246 h 362"/>
                <a:gd name="T56" fmla="*/ 207 w 303"/>
                <a:gd name="T57" fmla="*/ 236 h 362"/>
                <a:gd name="T58" fmla="*/ 203 w 303"/>
                <a:gd name="T59" fmla="*/ 230 h 362"/>
                <a:gd name="T60" fmla="*/ 210 w 303"/>
                <a:gd name="T61" fmla="*/ 225 h 362"/>
                <a:gd name="T62" fmla="*/ 209 w 303"/>
                <a:gd name="T63" fmla="*/ 215 h 362"/>
                <a:gd name="T64" fmla="*/ 219 w 303"/>
                <a:gd name="T65" fmla="*/ 208 h 362"/>
                <a:gd name="T66" fmla="*/ 217 w 303"/>
                <a:gd name="T67" fmla="*/ 200 h 362"/>
                <a:gd name="T68" fmla="*/ 210 w 303"/>
                <a:gd name="T69" fmla="*/ 192 h 362"/>
                <a:gd name="T70" fmla="*/ 213 w 303"/>
                <a:gd name="T71" fmla="*/ 181 h 362"/>
                <a:gd name="T72" fmla="*/ 222 w 303"/>
                <a:gd name="T73" fmla="*/ 172 h 362"/>
                <a:gd name="T74" fmla="*/ 217 w 303"/>
                <a:gd name="T75" fmla="*/ 163 h 362"/>
                <a:gd name="T76" fmla="*/ 223 w 303"/>
                <a:gd name="T77" fmla="*/ 151 h 362"/>
                <a:gd name="T78" fmla="*/ 221 w 303"/>
                <a:gd name="T79" fmla="*/ 146 h 362"/>
                <a:gd name="T80" fmla="*/ 213 w 303"/>
                <a:gd name="T81" fmla="*/ 141 h 362"/>
                <a:gd name="T82" fmla="*/ 210 w 303"/>
                <a:gd name="T83" fmla="*/ 134 h 362"/>
                <a:gd name="T84" fmla="*/ 206 w 303"/>
                <a:gd name="T85" fmla="*/ 123 h 362"/>
                <a:gd name="T86" fmla="*/ 212 w 303"/>
                <a:gd name="T87" fmla="*/ 105 h 362"/>
                <a:gd name="T88" fmla="*/ 220 w 303"/>
                <a:gd name="T89" fmla="*/ 95 h 362"/>
                <a:gd name="T90" fmla="*/ 234 w 303"/>
                <a:gd name="T91" fmla="*/ 91 h 362"/>
                <a:gd name="T92" fmla="*/ 233 w 303"/>
                <a:gd name="T93" fmla="*/ 86 h 362"/>
                <a:gd name="T94" fmla="*/ 228 w 303"/>
                <a:gd name="T95" fmla="*/ 82 h 362"/>
                <a:gd name="T96" fmla="*/ 238 w 303"/>
                <a:gd name="T97" fmla="*/ 77 h 362"/>
                <a:gd name="T98" fmla="*/ 243 w 303"/>
                <a:gd name="T99" fmla="*/ 82 h 362"/>
                <a:gd name="T100" fmla="*/ 249 w 303"/>
                <a:gd name="T101" fmla="*/ 81 h 362"/>
                <a:gd name="T102" fmla="*/ 250 w 303"/>
                <a:gd name="T103" fmla="*/ 71 h 362"/>
                <a:gd name="T104" fmla="*/ 245 w 303"/>
                <a:gd name="T105" fmla="*/ 63 h 362"/>
                <a:gd name="T106" fmla="*/ 253 w 303"/>
                <a:gd name="T107" fmla="*/ 61 h 362"/>
                <a:gd name="T108" fmla="*/ 260 w 303"/>
                <a:gd name="T109" fmla="*/ 50 h 362"/>
                <a:gd name="T110" fmla="*/ 253 w 303"/>
                <a:gd name="T111" fmla="*/ 42 h 362"/>
                <a:gd name="T112" fmla="*/ 250 w 303"/>
                <a:gd name="T113" fmla="*/ 35 h 362"/>
                <a:gd name="T114" fmla="*/ 255 w 303"/>
                <a:gd name="T115" fmla="*/ 25 h 362"/>
                <a:gd name="T116" fmla="*/ 264 w 303"/>
                <a:gd name="T117" fmla="*/ 17 h 362"/>
                <a:gd name="T118" fmla="*/ 272 w 303"/>
                <a:gd name="T119" fmla="*/ 18 h 362"/>
                <a:gd name="T120" fmla="*/ 290 w 303"/>
                <a:gd name="T121" fmla="*/ 18 h 362"/>
                <a:gd name="T122" fmla="*/ 299 w 303"/>
                <a:gd name="T123" fmla="*/ 13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3" h="362">
                  <a:moveTo>
                    <a:pt x="94" y="358"/>
                  </a:moveTo>
                  <a:lnTo>
                    <a:pt x="93" y="356"/>
                  </a:lnTo>
                  <a:lnTo>
                    <a:pt x="92" y="356"/>
                  </a:lnTo>
                  <a:lnTo>
                    <a:pt x="92" y="356"/>
                  </a:lnTo>
                  <a:lnTo>
                    <a:pt x="92" y="355"/>
                  </a:lnTo>
                  <a:lnTo>
                    <a:pt x="91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90" y="354"/>
                  </a:lnTo>
                  <a:lnTo>
                    <a:pt x="89" y="354"/>
                  </a:lnTo>
                  <a:lnTo>
                    <a:pt x="88" y="354"/>
                  </a:lnTo>
                  <a:lnTo>
                    <a:pt x="85" y="354"/>
                  </a:lnTo>
                  <a:lnTo>
                    <a:pt x="83" y="354"/>
                  </a:lnTo>
                  <a:lnTo>
                    <a:pt x="81" y="354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6" y="355"/>
                  </a:lnTo>
                  <a:lnTo>
                    <a:pt x="75" y="355"/>
                  </a:lnTo>
                  <a:lnTo>
                    <a:pt x="74" y="355"/>
                  </a:lnTo>
                  <a:lnTo>
                    <a:pt x="73" y="356"/>
                  </a:lnTo>
                  <a:lnTo>
                    <a:pt x="72" y="356"/>
                  </a:lnTo>
                  <a:lnTo>
                    <a:pt x="71" y="357"/>
                  </a:lnTo>
                  <a:lnTo>
                    <a:pt x="68" y="359"/>
                  </a:lnTo>
                  <a:lnTo>
                    <a:pt x="67" y="360"/>
                  </a:lnTo>
                  <a:lnTo>
                    <a:pt x="66" y="360"/>
                  </a:lnTo>
                  <a:lnTo>
                    <a:pt x="65" y="361"/>
                  </a:lnTo>
                  <a:lnTo>
                    <a:pt x="64" y="361"/>
                  </a:lnTo>
                  <a:lnTo>
                    <a:pt x="63" y="361"/>
                  </a:lnTo>
                  <a:lnTo>
                    <a:pt x="62" y="362"/>
                  </a:lnTo>
                  <a:lnTo>
                    <a:pt x="61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7" y="362"/>
                  </a:lnTo>
                  <a:lnTo>
                    <a:pt x="54" y="362"/>
                  </a:lnTo>
                  <a:lnTo>
                    <a:pt x="48" y="361"/>
                  </a:lnTo>
                  <a:lnTo>
                    <a:pt x="47" y="360"/>
                  </a:lnTo>
                  <a:lnTo>
                    <a:pt x="45" y="360"/>
                  </a:lnTo>
                  <a:lnTo>
                    <a:pt x="44" y="359"/>
                  </a:lnTo>
                  <a:lnTo>
                    <a:pt x="43" y="359"/>
                  </a:lnTo>
                  <a:lnTo>
                    <a:pt x="42" y="358"/>
                  </a:lnTo>
                  <a:lnTo>
                    <a:pt x="40" y="357"/>
                  </a:lnTo>
                  <a:lnTo>
                    <a:pt x="39" y="356"/>
                  </a:lnTo>
                  <a:lnTo>
                    <a:pt x="35" y="352"/>
                  </a:lnTo>
                  <a:lnTo>
                    <a:pt x="34" y="351"/>
                  </a:lnTo>
                  <a:lnTo>
                    <a:pt x="33" y="350"/>
                  </a:lnTo>
                  <a:lnTo>
                    <a:pt x="31" y="350"/>
                  </a:lnTo>
                  <a:lnTo>
                    <a:pt x="30" y="349"/>
                  </a:lnTo>
                  <a:lnTo>
                    <a:pt x="27" y="348"/>
                  </a:lnTo>
                  <a:lnTo>
                    <a:pt x="24" y="346"/>
                  </a:lnTo>
                  <a:lnTo>
                    <a:pt x="23" y="345"/>
                  </a:lnTo>
                  <a:lnTo>
                    <a:pt x="21" y="344"/>
                  </a:lnTo>
                  <a:lnTo>
                    <a:pt x="20" y="344"/>
                  </a:lnTo>
                  <a:lnTo>
                    <a:pt x="18" y="343"/>
                  </a:lnTo>
                  <a:lnTo>
                    <a:pt x="12" y="342"/>
                  </a:lnTo>
                  <a:lnTo>
                    <a:pt x="10" y="342"/>
                  </a:lnTo>
                  <a:lnTo>
                    <a:pt x="9" y="342"/>
                  </a:lnTo>
                  <a:lnTo>
                    <a:pt x="7" y="341"/>
                  </a:lnTo>
                  <a:lnTo>
                    <a:pt x="5" y="341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1" y="336"/>
                  </a:lnTo>
                  <a:lnTo>
                    <a:pt x="2" y="333"/>
                  </a:lnTo>
                  <a:lnTo>
                    <a:pt x="2" y="332"/>
                  </a:lnTo>
                  <a:lnTo>
                    <a:pt x="3" y="332"/>
                  </a:lnTo>
                  <a:lnTo>
                    <a:pt x="3" y="332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5" y="331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6" y="329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7" y="327"/>
                  </a:lnTo>
                  <a:lnTo>
                    <a:pt x="8" y="326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9" y="323"/>
                  </a:lnTo>
                  <a:lnTo>
                    <a:pt x="10" y="323"/>
                  </a:lnTo>
                  <a:lnTo>
                    <a:pt x="10" y="323"/>
                  </a:lnTo>
                  <a:lnTo>
                    <a:pt x="11" y="323"/>
                  </a:lnTo>
                  <a:lnTo>
                    <a:pt x="11" y="323"/>
                  </a:lnTo>
                  <a:lnTo>
                    <a:pt x="11" y="322"/>
                  </a:lnTo>
                  <a:lnTo>
                    <a:pt x="13" y="321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19"/>
                  </a:lnTo>
                  <a:lnTo>
                    <a:pt x="14" y="319"/>
                  </a:lnTo>
                  <a:lnTo>
                    <a:pt x="14" y="319"/>
                  </a:lnTo>
                  <a:lnTo>
                    <a:pt x="15" y="318"/>
                  </a:lnTo>
                  <a:lnTo>
                    <a:pt x="16" y="318"/>
                  </a:lnTo>
                  <a:lnTo>
                    <a:pt x="17" y="318"/>
                  </a:lnTo>
                  <a:lnTo>
                    <a:pt x="18" y="318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2" y="318"/>
                  </a:lnTo>
                  <a:lnTo>
                    <a:pt x="23" y="319"/>
                  </a:lnTo>
                  <a:lnTo>
                    <a:pt x="25" y="320"/>
                  </a:lnTo>
                  <a:lnTo>
                    <a:pt x="25" y="321"/>
                  </a:lnTo>
                  <a:lnTo>
                    <a:pt x="26" y="321"/>
                  </a:lnTo>
                  <a:lnTo>
                    <a:pt x="27" y="321"/>
                  </a:lnTo>
                  <a:lnTo>
                    <a:pt x="28" y="322"/>
                  </a:lnTo>
                  <a:lnTo>
                    <a:pt x="29" y="322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2" y="321"/>
                  </a:lnTo>
                  <a:lnTo>
                    <a:pt x="32" y="321"/>
                  </a:lnTo>
                  <a:lnTo>
                    <a:pt x="33" y="320"/>
                  </a:lnTo>
                  <a:lnTo>
                    <a:pt x="34" y="319"/>
                  </a:lnTo>
                  <a:lnTo>
                    <a:pt x="34" y="319"/>
                  </a:lnTo>
                  <a:lnTo>
                    <a:pt x="35" y="317"/>
                  </a:lnTo>
                  <a:lnTo>
                    <a:pt x="37" y="314"/>
                  </a:lnTo>
                  <a:lnTo>
                    <a:pt x="38" y="314"/>
                  </a:lnTo>
                  <a:lnTo>
                    <a:pt x="38" y="314"/>
                  </a:lnTo>
                  <a:lnTo>
                    <a:pt x="38" y="313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0" y="313"/>
                  </a:lnTo>
                  <a:lnTo>
                    <a:pt x="41" y="313"/>
                  </a:lnTo>
                  <a:lnTo>
                    <a:pt x="45" y="312"/>
                  </a:lnTo>
                  <a:lnTo>
                    <a:pt x="46" y="312"/>
                  </a:lnTo>
                  <a:lnTo>
                    <a:pt x="47" y="312"/>
                  </a:lnTo>
                  <a:lnTo>
                    <a:pt x="48" y="312"/>
                  </a:lnTo>
                  <a:lnTo>
                    <a:pt x="49" y="313"/>
                  </a:lnTo>
                  <a:lnTo>
                    <a:pt x="50" y="313"/>
                  </a:lnTo>
                  <a:lnTo>
                    <a:pt x="51" y="314"/>
                  </a:lnTo>
                  <a:lnTo>
                    <a:pt x="52" y="314"/>
                  </a:lnTo>
                  <a:lnTo>
                    <a:pt x="54" y="316"/>
                  </a:lnTo>
                  <a:lnTo>
                    <a:pt x="55" y="316"/>
                  </a:lnTo>
                  <a:lnTo>
                    <a:pt x="56" y="316"/>
                  </a:lnTo>
                  <a:lnTo>
                    <a:pt x="56" y="316"/>
                  </a:lnTo>
                  <a:lnTo>
                    <a:pt x="57" y="316"/>
                  </a:lnTo>
                  <a:lnTo>
                    <a:pt x="57" y="316"/>
                  </a:lnTo>
                  <a:lnTo>
                    <a:pt x="58" y="316"/>
                  </a:lnTo>
                  <a:lnTo>
                    <a:pt x="58" y="316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1" y="313"/>
                  </a:lnTo>
                  <a:lnTo>
                    <a:pt x="62" y="311"/>
                  </a:lnTo>
                  <a:lnTo>
                    <a:pt x="62" y="311"/>
                  </a:lnTo>
                  <a:lnTo>
                    <a:pt x="64" y="309"/>
                  </a:lnTo>
                  <a:lnTo>
                    <a:pt x="66" y="307"/>
                  </a:lnTo>
                  <a:lnTo>
                    <a:pt x="66" y="307"/>
                  </a:lnTo>
                  <a:lnTo>
                    <a:pt x="67" y="306"/>
                  </a:lnTo>
                  <a:lnTo>
                    <a:pt x="68" y="306"/>
                  </a:lnTo>
                  <a:lnTo>
                    <a:pt x="69" y="305"/>
                  </a:lnTo>
                  <a:lnTo>
                    <a:pt x="71" y="304"/>
                  </a:lnTo>
                  <a:lnTo>
                    <a:pt x="72" y="303"/>
                  </a:lnTo>
                  <a:lnTo>
                    <a:pt x="73" y="302"/>
                  </a:lnTo>
                  <a:lnTo>
                    <a:pt x="74" y="301"/>
                  </a:lnTo>
                  <a:lnTo>
                    <a:pt x="75" y="300"/>
                  </a:lnTo>
                  <a:lnTo>
                    <a:pt x="77" y="299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81" y="294"/>
                  </a:lnTo>
                  <a:lnTo>
                    <a:pt x="82" y="293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8" y="291"/>
                  </a:lnTo>
                  <a:lnTo>
                    <a:pt x="89" y="290"/>
                  </a:lnTo>
                  <a:lnTo>
                    <a:pt x="91" y="290"/>
                  </a:lnTo>
                  <a:lnTo>
                    <a:pt x="93" y="290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9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1" y="288"/>
                  </a:lnTo>
                  <a:lnTo>
                    <a:pt x="101" y="287"/>
                  </a:lnTo>
                  <a:lnTo>
                    <a:pt x="101" y="287"/>
                  </a:lnTo>
                  <a:lnTo>
                    <a:pt x="102" y="286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4" y="281"/>
                  </a:lnTo>
                  <a:lnTo>
                    <a:pt x="104" y="280"/>
                  </a:lnTo>
                  <a:lnTo>
                    <a:pt x="105" y="280"/>
                  </a:lnTo>
                  <a:lnTo>
                    <a:pt x="105" y="280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4" y="278"/>
                  </a:lnTo>
                  <a:lnTo>
                    <a:pt x="115" y="278"/>
                  </a:lnTo>
                  <a:lnTo>
                    <a:pt x="115" y="277"/>
                  </a:lnTo>
                  <a:lnTo>
                    <a:pt x="116" y="277"/>
                  </a:lnTo>
                  <a:lnTo>
                    <a:pt x="117" y="276"/>
                  </a:lnTo>
                  <a:lnTo>
                    <a:pt x="119" y="274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3"/>
                  </a:lnTo>
                  <a:lnTo>
                    <a:pt x="121" y="272"/>
                  </a:lnTo>
                  <a:lnTo>
                    <a:pt x="123" y="272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6" y="271"/>
                  </a:lnTo>
                  <a:lnTo>
                    <a:pt x="126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29" y="273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1" y="276"/>
                  </a:lnTo>
                  <a:lnTo>
                    <a:pt x="132" y="276"/>
                  </a:lnTo>
                  <a:lnTo>
                    <a:pt x="134" y="278"/>
                  </a:lnTo>
                  <a:lnTo>
                    <a:pt x="135" y="279"/>
                  </a:lnTo>
                  <a:lnTo>
                    <a:pt x="136" y="279"/>
                  </a:lnTo>
                  <a:lnTo>
                    <a:pt x="137" y="280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9" y="280"/>
                  </a:lnTo>
                  <a:lnTo>
                    <a:pt x="141" y="280"/>
                  </a:lnTo>
                  <a:lnTo>
                    <a:pt x="142" y="280"/>
                  </a:lnTo>
                  <a:lnTo>
                    <a:pt x="143" y="279"/>
                  </a:lnTo>
                  <a:lnTo>
                    <a:pt x="144" y="279"/>
                  </a:lnTo>
                  <a:lnTo>
                    <a:pt x="146" y="278"/>
                  </a:lnTo>
                  <a:lnTo>
                    <a:pt x="147" y="277"/>
                  </a:lnTo>
                  <a:lnTo>
                    <a:pt x="148" y="276"/>
                  </a:lnTo>
                  <a:lnTo>
                    <a:pt x="149" y="276"/>
                  </a:lnTo>
                  <a:lnTo>
                    <a:pt x="149" y="275"/>
                  </a:lnTo>
                  <a:lnTo>
                    <a:pt x="150" y="275"/>
                  </a:lnTo>
                  <a:lnTo>
                    <a:pt x="151" y="275"/>
                  </a:lnTo>
                  <a:lnTo>
                    <a:pt x="152" y="275"/>
                  </a:lnTo>
                  <a:lnTo>
                    <a:pt x="154" y="276"/>
                  </a:lnTo>
                  <a:lnTo>
                    <a:pt x="155" y="276"/>
                  </a:lnTo>
                  <a:lnTo>
                    <a:pt x="158" y="276"/>
                  </a:lnTo>
                  <a:lnTo>
                    <a:pt x="159" y="277"/>
                  </a:lnTo>
                  <a:lnTo>
                    <a:pt x="161" y="277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4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8" y="273"/>
                  </a:lnTo>
                  <a:lnTo>
                    <a:pt x="179" y="273"/>
                  </a:lnTo>
                  <a:lnTo>
                    <a:pt x="179" y="272"/>
                  </a:lnTo>
                  <a:lnTo>
                    <a:pt x="179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68"/>
                  </a:lnTo>
                  <a:lnTo>
                    <a:pt x="180" y="267"/>
                  </a:lnTo>
                  <a:lnTo>
                    <a:pt x="180" y="266"/>
                  </a:lnTo>
                  <a:lnTo>
                    <a:pt x="180" y="265"/>
                  </a:lnTo>
                  <a:lnTo>
                    <a:pt x="181" y="265"/>
                  </a:lnTo>
                  <a:lnTo>
                    <a:pt x="181" y="264"/>
                  </a:lnTo>
                  <a:lnTo>
                    <a:pt x="182" y="263"/>
                  </a:lnTo>
                  <a:lnTo>
                    <a:pt x="183" y="263"/>
                  </a:lnTo>
                  <a:lnTo>
                    <a:pt x="184" y="262"/>
                  </a:lnTo>
                  <a:lnTo>
                    <a:pt x="185" y="262"/>
                  </a:lnTo>
                  <a:lnTo>
                    <a:pt x="186" y="261"/>
                  </a:lnTo>
                  <a:lnTo>
                    <a:pt x="188" y="261"/>
                  </a:lnTo>
                  <a:lnTo>
                    <a:pt x="189" y="261"/>
                  </a:lnTo>
                  <a:lnTo>
                    <a:pt x="193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1" y="259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3" y="257"/>
                  </a:lnTo>
                  <a:lnTo>
                    <a:pt x="203" y="257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05" y="255"/>
                  </a:lnTo>
                  <a:lnTo>
                    <a:pt x="206" y="254"/>
                  </a:lnTo>
                  <a:lnTo>
                    <a:pt x="206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7" y="250"/>
                  </a:lnTo>
                  <a:lnTo>
                    <a:pt x="208" y="250"/>
                  </a:lnTo>
                  <a:lnTo>
                    <a:pt x="208" y="249"/>
                  </a:lnTo>
                  <a:lnTo>
                    <a:pt x="210" y="247"/>
                  </a:lnTo>
                  <a:lnTo>
                    <a:pt x="211" y="247"/>
                  </a:lnTo>
                  <a:lnTo>
                    <a:pt x="211" y="246"/>
                  </a:lnTo>
                  <a:lnTo>
                    <a:pt x="212" y="246"/>
                  </a:lnTo>
                  <a:lnTo>
                    <a:pt x="212" y="245"/>
                  </a:lnTo>
                  <a:lnTo>
                    <a:pt x="212" y="245"/>
                  </a:lnTo>
                  <a:lnTo>
                    <a:pt x="212" y="244"/>
                  </a:lnTo>
                  <a:lnTo>
                    <a:pt x="212" y="243"/>
                  </a:lnTo>
                  <a:lnTo>
                    <a:pt x="212" y="243"/>
                  </a:lnTo>
                  <a:lnTo>
                    <a:pt x="212" y="242"/>
                  </a:lnTo>
                  <a:lnTo>
                    <a:pt x="212" y="241"/>
                  </a:lnTo>
                  <a:lnTo>
                    <a:pt x="211" y="241"/>
                  </a:lnTo>
                  <a:lnTo>
                    <a:pt x="210" y="240"/>
                  </a:lnTo>
                  <a:lnTo>
                    <a:pt x="209" y="239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4" y="234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3" y="232"/>
                  </a:lnTo>
                  <a:lnTo>
                    <a:pt x="202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30"/>
                  </a:lnTo>
                  <a:lnTo>
                    <a:pt x="205" y="230"/>
                  </a:lnTo>
                  <a:lnTo>
                    <a:pt x="206" y="229"/>
                  </a:lnTo>
                  <a:lnTo>
                    <a:pt x="207" y="229"/>
                  </a:lnTo>
                  <a:lnTo>
                    <a:pt x="207" y="228"/>
                  </a:lnTo>
                  <a:lnTo>
                    <a:pt x="208" y="228"/>
                  </a:lnTo>
                  <a:lnTo>
                    <a:pt x="208" y="227"/>
                  </a:lnTo>
                  <a:lnTo>
                    <a:pt x="209" y="227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0" y="225"/>
                  </a:lnTo>
                  <a:lnTo>
                    <a:pt x="210" y="224"/>
                  </a:lnTo>
                  <a:lnTo>
                    <a:pt x="210" y="224"/>
                  </a:lnTo>
                  <a:lnTo>
                    <a:pt x="209" y="223"/>
                  </a:lnTo>
                  <a:lnTo>
                    <a:pt x="209" y="222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08" y="218"/>
                  </a:lnTo>
                  <a:lnTo>
                    <a:pt x="208" y="217"/>
                  </a:lnTo>
                  <a:lnTo>
                    <a:pt x="209" y="217"/>
                  </a:lnTo>
                  <a:lnTo>
                    <a:pt x="209" y="216"/>
                  </a:lnTo>
                  <a:lnTo>
                    <a:pt x="209" y="215"/>
                  </a:lnTo>
                  <a:lnTo>
                    <a:pt x="210" y="215"/>
                  </a:lnTo>
                  <a:lnTo>
                    <a:pt x="210" y="214"/>
                  </a:lnTo>
                  <a:lnTo>
                    <a:pt x="211" y="214"/>
                  </a:lnTo>
                  <a:lnTo>
                    <a:pt x="211" y="213"/>
                  </a:lnTo>
                  <a:lnTo>
                    <a:pt x="212" y="213"/>
                  </a:lnTo>
                  <a:lnTo>
                    <a:pt x="214" y="212"/>
                  </a:lnTo>
                  <a:lnTo>
                    <a:pt x="215" y="211"/>
                  </a:lnTo>
                  <a:lnTo>
                    <a:pt x="216" y="211"/>
                  </a:lnTo>
                  <a:lnTo>
                    <a:pt x="217" y="210"/>
                  </a:lnTo>
                  <a:lnTo>
                    <a:pt x="218" y="209"/>
                  </a:lnTo>
                  <a:lnTo>
                    <a:pt x="219" y="208"/>
                  </a:lnTo>
                  <a:lnTo>
                    <a:pt x="219" y="208"/>
                  </a:lnTo>
                  <a:lnTo>
                    <a:pt x="219" y="207"/>
                  </a:lnTo>
                  <a:lnTo>
                    <a:pt x="219" y="206"/>
                  </a:lnTo>
                  <a:lnTo>
                    <a:pt x="219" y="205"/>
                  </a:lnTo>
                  <a:lnTo>
                    <a:pt x="219" y="203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18" y="201"/>
                  </a:lnTo>
                  <a:lnTo>
                    <a:pt x="218" y="201"/>
                  </a:lnTo>
                  <a:lnTo>
                    <a:pt x="218" y="200"/>
                  </a:lnTo>
                  <a:lnTo>
                    <a:pt x="217" y="200"/>
                  </a:lnTo>
                  <a:lnTo>
                    <a:pt x="217" y="199"/>
                  </a:lnTo>
                  <a:lnTo>
                    <a:pt x="217" y="198"/>
                  </a:lnTo>
                  <a:lnTo>
                    <a:pt x="215" y="198"/>
                  </a:lnTo>
                  <a:lnTo>
                    <a:pt x="213" y="196"/>
                  </a:lnTo>
                  <a:lnTo>
                    <a:pt x="212" y="195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10" y="191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0" y="188"/>
                  </a:lnTo>
                  <a:lnTo>
                    <a:pt x="210" y="187"/>
                  </a:lnTo>
                  <a:lnTo>
                    <a:pt x="211" y="186"/>
                  </a:lnTo>
                  <a:lnTo>
                    <a:pt x="211" y="185"/>
                  </a:lnTo>
                  <a:lnTo>
                    <a:pt x="212" y="184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3" y="181"/>
                  </a:lnTo>
                  <a:lnTo>
                    <a:pt x="214" y="180"/>
                  </a:lnTo>
                  <a:lnTo>
                    <a:pt x="215" y="178"/>
                  </a:lnTo>
                  <a:lnTo>
                    <a:pt x="216" y="178"/>
                  </a:lnTo>
                  <a:lnTo>
                    <a:pt x="217" y="177"/>
                  </a:lnTo>
                  <a:lnTo>
                    <a:pt x="219" y="175"/>
                  </a:lnTo>
                  <a:lnTo>
                    <a:pt x="220" y="175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3"/>
                  </a:lnTo>
                  <a:lnTo>
                    <a:pt x="222" y="173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2" y="171"/>
                  </a:lnTo>
                  <a:lnTo>
                    <a:pt x="221" y="171"/>
                  </a:lnTo>
                  <a:lnTo>
                    <a:pt x="221" y="170"/>
                  </a:lnTo>
                  <a:lnTo>
                    <a:pt x="221" y="169"/>
                  </a:lnTo>
                  <a:lnTo>
                    <a:pt x="220" y="168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7" y="165"/>
                  </a:lnTo>
                  <a:lnTo>
                    <a:pt x="217" y="164"/>
                  </a:lnTo>
                  <a:lnTo>
                    <a:pt x="217" y="163"/>
                  </a:lnTo>
                  <a:lnTo>
                    <a:pt x="217" y="163"/>
                  </a:lnTo>
                  <a:lnTo>
                    <a:pt x="217" y="162"/>
                  </a:lnTo>
                  <a:lnTo>
                    <a:pt x="217" y="161"/>
                  </a:lnTo>
                  <a:lnTo>
                    <a:pt x="217" y="160"/>
                  </a:lnTo>
                  <a:lnTo>
                    <a:pt x="217" y="159"/>
                  </a:lnTo>
                  <a:lnTo>
                    <a:pt x="218" y="159"/>
                  </a:lnTo>
                  <a:lnTo>
                    <a:pt x="218" y="158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3" y="151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8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2" y="147"/>
                  </a:lnTo>
                  <a:lnTo>
                    <a:pt x="222" y="146"/>
                  </a:lnTo>
                  <a:lnTo>
                    <a:pt x="222" y="146"/>
                  </a:lnTo>
                  <a:lnTo>
                    <a:pt x="221" y="146"/>
                  </a:lnTo>
                  <a:lnTo>
                    <a:pt x="218" y="145"/>
                  </a:lnTo>
                  <a:lnTo>
                    <a:pt x="217" y="145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5" y="144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0"/>
                  </a:lnTo>
                  <a:lnTo>
                    <a:pt x="215" y="140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8"/>
                  </a:lnTo>
                  <a:lnTo>
                    <a:pt x="215" y="138"/>
                  </a:lnTo>
                  <a:lnTo>
                    <a:pt x="215" y="138"/>
                  </a:lnTo>
                  <a:lnTo>
                    <a:pt x="210" y="134"/>
                  </a:lnTo>
                  <a:lnTo>
                    <a:pt x="207" y="132"/>
                  </a:lnTo>
                  <a:lnTo>
                    <a:pt x="206" y="131"/>
                  </a:lnTo>
                  <a:lnTo>
                    <a:pt x="206" y="131"/>
                  </a:lnTo>
                  <a:lnTo>
                    <a:pt x="205" y="130"/>
                  </a:lnTo>
                  <a:lnTo>
                    <a:pt x="205" y="130"/>
                  </a:lnTo>
                  <a:lnTo>
                    <a:pt x="205" y="129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7"/>
                  </a:lnTo>
                  <a:lnTo>
                    <a:pt x="205" y="126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6" y="119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3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8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4"/>
                  </a:lnTo>
                  <a:lnTo>
                    <a:pt x="214" y="101"/>
                  </a:lnTo>
                  <a:lnTo>
                    <a:pt x="215" y="100"/>
                  </a:lnTo>
                  <a:lnTo>
                    <a:pt x="216" y="99"/>
                  </a:lnTo>
                  <a:lnTo>
                    <a:pt x="216" y="98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20" y="95"/>
                  </a:lnTo>
                  <a:lnTo>
                    <a:pt x="221" y="95"/>
                  </a:lnTo>
                  <a:lnTo>
                    <a:pt x="222" y="95"/>
                  </a:lnTo>
                  <a:lnTo>
                    <a:pt x="223" y="94"/>
                  </a:lnTo>
                  <a:lnTo>
                    <a:pt x="226" y="94"/>
                  </a:lnTo>
                  <a:lnTo>
                    <a:pt x="228" y="94"/>
                  </a:lnTo>
                  <a:lnTo>
                    <a:pt x="230" y="93"/>
                  </a:lnTo>
                  <a:lnTo>
                    <a:pt x="231" y="93"/>
                  </a:lnTo>
                  <a:lnTo>
                    <a:pt x="232" y="93"/>
                  </a:lnTo>
                  <a:lnTo>
                    <a:pt x="233" y="92"/>
                  </a:lnTo>
                  <a:lnTo>
                    <a:pt x="234" y="92"/>
                  </a:lnTo>
                  <a:lnTo>
                    <a:pt x="234" y="91"/>
                  </a:lnTo>
                  <a:lnTo>
                    <a:pt x="235" y="91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8"/>
                  </a:lnTo>
                  <a:lnTo>
                    <a:pt x="235" y="88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3" y="87"/>
                  </a:lnTo>
                  <a:lnTo>
                    <a:pt x="233" y="86"/>
                  </a:lnTo>
                  <a:lnTo>
                    <a:pt x="232" y="86"/>
                  </a:lnTo>
                  <a:lnTo>
                    <a:pt x="231" y="86"/>
                  </a:lnTo>
                  <a:lnTo>
                    <a:pt x="229" y="85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3"/>
                  </a:lnTo>
                  <a:lnTo>
                    <a:pt x="228" y="83"/>
                  </a:lnTo>
                  <a:lnTo>
                    <a:pt x="228" y="82"/>
                  </a:lnTo>
                  <a:lnTo>
                    <a:pt x="229" y="81"/>
                  </a:lnTo>
                  <a:lnTo>
                    <a:pt x="231" y="80"/>
                  </a:lnTo>
                  <a:lnTo>
                    <a:pt x="231" y="79"/>
                  </a:lnTo>
                  <a:lnTo>
                    <a:pt x="232" y="79"/>
                  </a:lnTo>
                  <a:lnTo>
                    <a:pt x="233" y="78"/>
                  </a:lnTo>
                  <a:lnTo>
                    <a:pt x="234" y="77"/>
                  </a:lnTo>
                  <a:lnTo>
                    <a:pt x="235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7" y="77"/>
                  </a:lnTo>
                  <a:lnTo>
                    <a:pt x="238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0" y="77"/>
                  </a:lnTo>
                  <a:lnTo>
                    <a:pt x="240" y="78"/>
                  </a:lnTo>
                  <a:lnTo>
                    <a:pt x="241" y="78"/>
                  </a:lnTo>
                  <a:lnTo>
                    <a:pt x="241" y="79"/>
                  </a:lnTo>
                  <a:lnTo>
                    <a:pt x="242" y="80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3" y="82"/>
                  </a:lnTo>
                  <a:lnTo>
                    <a:pt x="243" y="82"/>
                  </a:lnTo>
                  <a:lnTo>
                    <a:pt x="244" y="83"/>
                  </a:lnTo>
                  <a:lnTo>
                    <a:pt x="244" y="83"/>
                  </a:lnTo>
                  <a:lnTo>
                    <a:pt x="245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8" y="82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1"/>
                  </a:lnTo>
                  <a:lnTo>
                    <a:pt x="250" y="80"/>
                  </a:lnTo>
                  <a:lnTo>
                    <a:pt x="250" y="78"/>
                  </a:lnTo>
                  <a:lnTo>
                    <a:pt x="251" y="77"/>
                  </a:lnTo>
                  <a:lnTo>
                    <a:pt x="251" y="76"/>
                  </a:lnTo>
                  <a:lnTo>
                    <a:pt x="251" y="75"/>
                  </a:lnTo>
                  <a:lnTo>
                    <a:pt x="251" y="75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3"/>
                  </a:lnTo>
                  <a:lnTo>
                    <a:pt x="251" y="72"/>
                  </a:lnTo>
                  <a:lnTo>
                    <a:pt x="250" y="71"/>
                  </a:lnTo>
                  <a:lnTo>
                    <a:pt x="249" y="70"/>
                  </a:lnTo>
                  <a:lnTo>
                    <a:pt x="249" y="69"/>
                  </a:lnTo>
                  <a:lnTo>
                    <a:pt x="247" y="68"/>
                  </a:lnTo>
                  <a:lnTo>
                    <a:pt x="247" y="67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5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3"/>
                  </a:lnTo>
                  <a:lnTo>
                    <a:pt x="249" y="63"/>
                  </a:lnTo>
                  <a:lnTo>
                    <a:pt x="249" y="63"/>
                  </a:lnTo>
                  <a:lnTo>
                    <a:pt x="250" y="63"/>
                  </a:lnTo>
                  <a:lnTo>
                    <a:pt x="251" y="62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4" y="61"/>
                  </a:lnTo>
                  <a:lnTo>
                    <a:pt x="255" y="59"/>
                  </a:lnTo>
                  <a:lnTo>
                    <a:pt x="256" y="58"/>
                  </a:lnTo>
                  <a:lnTo>
                    <a:pt x="257" y="57"/>
                  </a:lnTo>
                  <a:lnTo>
                    <a:pt x="258" y="55"/>
                  </a:lnTo>
                  <a:lnTo>
                    <a:pt x="258" y="54"/>
                  </a:lnTo>
                  <a:lnTo>
                    <a:pt x="259" y="53"/>
                  </a:lnTo>
                  <a:lnTo>
                    <a:pt x="259" y="52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7" y="45"/>
                  </a:lnTo>
                  <a:lnTo>
                    <a:pt x="257" y="44"/>
                  </a:lnTo>
                  <a:lnTo>
                    <a:pt x="256" y="44"/>
                  </a:lnTo>
                  <a:lnTo>
                    <a:pt x="253" y="42"/>
                  </a:lnTo>
                  <a:lnTo>
                    <a:pt x="253" y="42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51" y="40"/>
                  </a:lnTo>
                  <a:lnTo>
                    <a:pt x="250" y="39"/>
                  </a:lnTo>
                  <a:lnTo>
                    <a:pt x="250" y="38"/>
                  </a:lnTo>
                  <a:lnTo>
                    <a:pt x="250" y="38"/>
                  </a:lnTo>
                  <a:lnTo>
                    <a:pt x="250" y="37"/>
                  </a:lnTo>
                  <a:lnTo>
                    <a:pt x="250" y="37"/>
                  </a:lnTo>
                  <a:lnTo>
                    <a:pt x="250" y="36"/>
                  </a:lnTo>
                  <a:lnTo>
                    <a:pt x="250" y="35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6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57" y="23"/>
                  </a:lnTo>
                  <a:lnTo>
                    <a:pt x="259" y="22"/>
                  </a:lnTo>
                  <a:lnTo>
                    <a:pt x="260" y="21"/>
                  </a:lnTo>
                  <a:lnTo>
                    <a:pt x="261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8"/>
                  </a:lnTo>
                  <a:lnTo>
                    <a:pt x="264" y="17"/>
                  </a:lnTo>
                  <a:lnTo>
                    <a:pt x="265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1" y="18"/>
                  </a:lnTo>
                  <a:lnTo>
                    <a:pt x="272" y="18"/>
                  </a:lnTo>
                  <a:lnTo>
                    <a:pt x="273" y="18"/>
                  </a:lnTo>
                  <a:lnTo>
                    <a:pt x="275" y="18"/>
                  </a:lnTo>
                  <a:lnTo>
                    <a:pt x="277" y="17"/>
                  </a:lnTo>
                  <a:lnTo>
                    <a:pt x="280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7" y="18"/>
                  </a:lnTo>
                  <a:lnTo>
                    <a:pt x="289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5" y="18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8" y="16"/>
                  </a:lnTo>
                  <a:lnTo>
                    <a:pt x="298" y="15"/>
                  </a:lnTo>
                  <a:lnTo>
                    <a:pt x="298" y="14"/>
                  </a:lnTo>
                  <a:lnTo>
                    <a:pt x="299" y="13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2" y="2"/>
                  </a:lnTo>
                  <a:lnTo>
                    <a:pt x="302" y="1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Freeform 69">
              <a:extLst>
                <a:ext uri="{FF2B5EF4-FFF2-40B4-BE49-F238E27FC236}">
                  <a16:creationId xmlns:a16="http://schemas.microsoft.com/office/drawing/2014/main" id="{CD9B00AA-D930-C850-5495-3C88BCF7D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140"/>
              <a:ext cx="365" cy="541"/>
            </a:xfrm>
            <a:custGeom>
              <a:avLst/>
              <a:gdLst>
                <a:gd name="T0" fmla="*/ 183 w 365"/>
                <a:gd name="T1" fmla="*/ 74 h 541"/>
                <a:gd name="T2" fmla="*/ 199 w 365"/>
                <a:gd name="T3" fmla="*/ 75 h 541"/>
                <a:gd name="T4" fmla="*/ 205 w 365"/>
                <a:gd name="T5" fmla="*/ 104 h 541"/>
                <a:gd name="T6" fmla="*/ 178 w 365"/>
                <a:gd name="T7" fmla="*/ 117 h 541"/>
                <a:gd name="T8" fmla="*/ 153 w 365"/>
                <a:gd name="T9" fmla="*/ 151 h 541"/>
                <a:gd name="T10" fmla="*/ 137 w 365"/>
                <a:gd name="T11" fmla="*/ 197 h 541"/>
                <a:gd name="T12" fmla="*/ 143 w 365"/>
                <a:gd name="T13" fmla="*/ 226 h 541"/>
                <a:gd name="T14" fmla="*/ 133 w 365"/>
                <a:gd name="T15" fmla="*/ 253 h 541"/>
                <a:gd name="T16" fmla="*/ 143 w 365"/>
                <a:gd name="T17" fmla="*/ 275 h 541"/>
                <a:gd name="T18" fmla="*/ 152 w 365"/>
                <a:gd name="T19" fmla="*/ 287 h 541"/>
                <a:gd name="T20" fmla="*/ 184 w 365"/>
                <a:gd name="T21" fmla="*/ 270 h 541"/>
                <a:gd name="T22" fmla="*/ 195 w 365"/>
                <a:gd name="T23" fmla="*/ 287 h 541"/>
                <a:gd name="T24" fmla="*/ 208 w 365"/>
                <a:gd name="T25" fmla="*/ 288 h 541"/>
                <a:gd name="T26" fmla="*/ 222 w 365"/>
                <a:gd name="T27" fmla="*/ 279 h 541"/>
                <a:gd name="T28" fmla="*/ 229 w 365"/>
                <a:gd name="T29" fmla="*/ 270 h 541"/>
                <a:gd name="T30" fmla="*/ 240 w 365"/>
                <a:gd name="T31" fmla="*/ 299 h 541"/>
                <a:gd name="T32" fmla="*/ 269 w 365"/>
                <a:gd name="T33" fmla="*/ 317 h 541"/>
                <a:gd name="T34" fmla="*/ 294 w 365"/>
                <a:gd name="T35" fmla="*/ 318 h 541"/>
                <a:gd name="T36" fmla="*/ 297 w 365"/>
                <a:gd name="T37" fmla="*/ 350 h 541"/>
                <a:gd name="T38" fmla="*/ 314 w 365"/>
                <a:gd name="T39" fmla="*/ 355 h 541"/>
                <a:gd name="T40" fmla="*/ 347 w 365"/>
                <a:gd name="T41" fmla="*/ 394 h 541"/>
                <a:gd name="T42" fmla="*/ 355 w 365"/>
                <a:gd name="T43" fmla="*/ 401 h 541"/>
                <a:gd name="T44" fmla="*/ 361 w 365"/>
                <a:gd name="T45" fmla="*/ 419 h 541"/>
                <a:gd name="T46" fmla="*/ 341 w 365"/>
                <a:gd name="T47" fmla="*/ 426 h 541"/>
                <a:gd name="T48" fmla="*/ 324 w 365"/>
                <a:gd name="T49" fmla="*/ 456 h 541"/>
                <a:gd name="T50" fmla="*/ 299 w 365"/>
                <a:gd name="T51" fmla="*/ 451 h 541"/>
                <a:gd name="T52" fmla="*/ 282 w 365"/>
                <a:gd name="T53" fmla="*/ 457 h 541"/>
                <a:gd name="T54" fmla="*/ 282 w 365"/>
                <a:gd name="T55" fmla="*/ 476 h 541"/>
                <a:gd name="T56" fmla="*/ 256 w 365"/>
                <a:gd name="T57" fmla="*/ 477 h 541"/>
                <a:gd name="T58" fmla="*/ 239 w 365"/>
                <a:gd name="T59" fmla="*/ 496 h 541"/>
                <a:gd name="T60" fmla="*/ 208 w 365"/>
                <a:gd name="T61" fmla="*/ 488 h 541"/>
                <a:gd name="T62" fmla="*/ 198 w 365"/>
                <a:gd name="T63" fmla="*/ 479 h 541"/>
                <a:gd name="T64" fmla="*/ 196 w 365"/>
                <a:gd name="T65" fmla="*/ 508 h 541"/>
                <a:gd name="T66" fmla="*/ 165 w 365"/>
                <a:gd name="T67" fmla="*/ 530 h 541"/>
                <a:gd name="T68" fmla="*/ 141 w 365"/>
                <a:gd name="T69" fmla="*/ 541 h 541"/>
                <a:gd name="T70" fmla="*/ 111 w 365"/>
                <a:gd name="T71" fmla="*/ 507 h 541"/>
                <a:gd name="T72" fmla="*/ 106 w 365"/>
                <a:gd name="T73" fmla="*/ 484 h 541"/>
                <a:gd name="T74" fmla="*/ 94 w 365"/>
                <a:gd name="T75" fmla="*/ 477 h 541"/>
                <a:gd name="T76" fmla="*/ 77 w 365"/>
                <a:gd name="T77" fmla="*/ 448 h 541"/>
                <a:gd name="T78" fmla="*/ 50 w 365"/>
                <a:gd name="T79" fmla="*/ 448 h 541"/>
                <a:gd name="T80" fmla="*/ 63 w 365"/>
                <a:gd name="T81" fmla="*/ 470 h 541"/>
                <a:gd name="T82" fmla="*/ 43 w 365"/>
                <a:gd name="T83" fmla="*/ 490 h 541"/>
                <a:gd name="T84" fmla="*/ 36 w 365"/>
                <a:gd name="T85" fmla="*/ 470 h 541"/>
                <a:gd name="T86" fmla="*/ 28 w 365"/>
                <a:gd name="T87" fmla="*/ 435 h 541"/>
                <a:gd name="T88" fmla="*/ 15 w 365"/>
                <a:gd name="T89" fmla="*/ 419 h 541"/>
                <a:gd name="T90" fmla="*/ 22 w 365"/>
                <a:gd name="T91" fmla="*/ 404 h 541"/>
                <a:gd name="T92" fmla="*/ 32 w 365"/>
                <a:gd name="T93" fmla="*/ 384 h 541"/>
                <a:gd name="T94" fmla="*/ 40 w 365"/>
                <a:gd name="T95" fmla="*/ 353 h 541"/>
                <a:gd name="T96" fmla="*/ 27 w 365"/>
                <a:gd name="T97" fmla="*/ 333 h 541"/>
                <a:gd name="T98" fmla="*/ 18 w 365"/>
                <a:gd name="T99" fmla="*/ 306 h 541"/>
                <a:gd name="T100" fmla="*/ 9 w 365"/>
                <a:gd name="T101" fmla="*/ 274 h 541"/>
                <a:gd name="T102" fmla="*/ 4 w 365"/>
                <a:gd name="T103" fmla="*/ 225 h 541"/>
                <a:gd name="T104" fmla="*/ 12 w 365"/>
                <a:gd name="T105" fmla="*/ 206 h 541"/>
                <a:gd name="T106" fmla="*/ 25 w 365"/>
                <a:gd name="T107" fmla="*/ 176 h 541"/>
                <a:gd name="T108" fmla="*/ 39 w 365"/>
                <a:gd name="T109" fmla="*/ 128 h 541"/>
                <a:gd name="T110" fmla="*/ 53 w 365"/>
                <a:gd name="T111" fmla="*/ 105 h 541"/>
                <a:gd name="T112" fmla="*/ 80 w 365"/>
                <a:gd name="T113" fmla="*/ 103 h 541"/>
                <a:gd name="T114" fmla="*/ 85 w 365"/>
                <a:gd name="T115" fmla="*/ 78 h 541"/>
                <a:gd name="T116" fmla="*/ 57 w 365"/>
                <a:gd name="T117" fmla="*/ 44 h 541"/>
                <a:gd name="T118" fmla="*/ 40 w 365"/>
                <a:gd name="T119" fmla="*/ 14 h 541"/>
                <a:gd name="T120" fmla="*/ 69 w 365"/>
                <a:gd name="T121" fmla="*/ 10 h 541"/>
                <a:gd name="T122" fmla="*/ 113 w 365"/>
                <a:gd name="T123" fmla="*/ 22 h 541"/>
                <a:gd name="T124" fmla="*/ 143 w 365"/>
                <a:gd name="T125" fmla="*/ 4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5" h="541">
                  <a:moveTo>
                    <a:pt x="169" y="56"/>
                  </a:moveTo>
                  <a:lnTo>
                    <a:pt x="170" y="55"/>
                  </a:lnTo>
                  <a:lnTo>
                    <a:pt x="171" y="55"/>
                  </a:lnTo>
                  <a:lnTo>
                    <a:pt x="172" y="55"/>
                  </a:lnTo>
                  <a:lnTo>
                    <a:pt x="176" y="54"/>
                  </a:lnTo>
                  <a:lnTo>
                    <a:pt x="177" y="54"/>
                  </a:lnTo>
                  <a:lnTo>
                    <a:pt x="178" y="54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5"/>
                  </a:lnTo>
                  <a:lnTo>
                    <a:pt x="181" y="55"/>
                  </a:lnTo>
                  <a:lnTo>
                    <a:pt x="181" y="56"/>
                  </a:lnTo>
                  <a:lnTo>
                    <a:pt x="182" y="58"/>
                  </a:lnTo>
                  <a:lnTo>
                    <a:pt x="183" y="61"/>
                  </a:lnTo>
                  <a:lnTo>
                    <a:pt x="183" y="62"/>
                  </a:lnTo>
                  <a:lnTo>
                    <a:pt x="183" y="62"/>
                  </a:lnTo>
                  <a:lnTo>
                    <a:pt x="183" y="63"/>
                  </a:lnTo>
                  <a:lnTo>
                    <a:pt x="183" y="64"/>
                  </a:lnTo>
                  <a:lnTo>
                    <a:pt x="182" y="72"/>
                  </a:lnTo>
                  <a:lnTo>
                    <a:pt x="182" y="73"/>
                  </a:lnTo>
                  <a:lnTo>
                    <a:pt x="183" y="74"/>
                  </a:lnTo>
                  <a:lnTo>
                    <a:pt x="183" y="76"/>
                  </a:lnTo>
                  <a:lnTo>
                    <a:pt x="183" y="77"/>
                  </a:lnTo>
                  <a:lnTo>
                    <a:pt x="184" y="77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5" y="79"/>
                  </a:lnTo>
                  <a:lnTo>
                    <a:pt x="185" y="79"/>
                  </a:lnTo>
                  <a:lnTo>
                    <a:pt x="186" y="79"/>
                  </a:lnTo>
                  <a:lnTo>
                    <a:pt x="186" y="79"/>
                  </a:lnTo>
                  <a:lnTo>
                    <a:pt x="187" y="78"/>
                  </a:lnTo>
                  <a:lnTo>
                    <a:pt x="187" y="78"/>
                  </a:lnTo>
                  <a:lnTo>
                    <a:pt x="189" y="77"/>
                  </a:lnTo>
                  <a:lnTo>
                    <a:pt x="190" y="76"/>
                  </a:lnTo>
                  <a:lnTo>
                    <a:pt x="190" y="76"/>
                  </a:lnTo>
                  <a:lnTo>
                    <a:pt x="191" y="75"/>
                  </a:lnTo>
                  <a:lnTo>
                    <a:pt x="192" y="75"/>
                  </a:lnTo>
                  <a:lnTo>
                    <a:pt x="192" y="75"/>
                  </a:lnTo>
                  <a:lnTo>
                    <a:pt x="194" y="75"/>
                  </a:lnTo>
                  <a:lnTo>
                    <a:pt x="194" y="74"/>
                  </a:lnTo>
                  <a:lnTo>
                    <a:pt x="195" y="74"/>
                  </a:lnTo>
                  <a:lnTo>
                    <a:pt x="197" y="75"/>
                  </a:lnTo>
                  <a:lnTo>
                    <a:pt x="198" y="75"/>
                  </a:lnTo>
                  <a:lnTo>
                    <a:pt x="199" y="75"/>
                  </a:lnTo>
                  <a:lnTo>
                    <a:pt x="200" y="76"/>
                  </a:lnTo>
                  <a:lnTo>
                    <a:pt x="201" y="76"/>
                  </a:lnTo>
                  <a:lnTo>
                    <a:pt x="202" y="77"/>
                  </a:lnTo>
                  <a:lnTo>
                    <a:pt x="203" y="77"/>
                  </a:lnTo>
                  <a:lnTo>
                    <a:pt x="204" y="78"/>
                  </a:lnTo>
                  <a:lnTo>
                    <a:pt x="204" y="78"/>
                  </a:lnTo>
                  <a:lnTo>
                    <a:pt x="205" y="79"/>
                  </a:lnTo>
                  <a:lnTo>
                    <a:pt x="206" y="80"/>
                  </a:lnTo>
                  <a:lnTo>
                    <a:pt x="206" y="81"/>
                  </a:lnTo>
                  <a:lnTo>
                    <a:pt x="207" y="82"/>
                  </a:lnTo>
                  <a:lnTo>
                    <a:pt x="207" y="82"/>
                  </a:lnTo>
                  <a:lnTo>
                    <a:pt x="208" y="83"/>
                  </a:lnTo>
                  <a:lnTo>
                    <a:pt x="208" y="84"/>
                  </a:lnTo>
                  <a:lnTo>
                    <a:pt x="208" y="85"/>
                  </a:lnTo>
                  <a:lnTo>
                    <a:pt x="208" y="85"/>
                  </a:lnTo>
                  <a:lnTo>
                    <a:pt x="208" y="94"/>
                  </a:lnTo>
                  <a:lnTo>
                    <a:pt x="207" y="97"/>
                  </a:lnTo>
                  <a:lnTo>
                    <a:pt x="207" y="98"/>
                  </a:lnTo>
                  <a:lnTo>
                    <a:pt x="207" y="100"/>
                  </a:lnTo>
                  <a:lnTo>
                    <a:pt x="206" y="101"/>
                  </a:lnTo>
                  <a:lnTo>
                    <a:pt x="206" y="102"/>
                  </a:lnTo>
                  <a:lnTo>
                    <a:pt x="206" y="103"/>
                  </a:lnTo>
                  <a:lnTo>
                    <a:pt x="205" y="104"/>
                  </a:lnTo>
                  <a:lnTo>
                    <a:pt x="205" y="104"/>
                  </a:lnTo>
                  <a:lnTo>
                    <a:pt x="204" y="104"/>
                  </a:lnTo>
                  <a:lnTo>
                    <a:pt x="204" y="105"/>
                  </a:lnTo>
                  <a:lnTo>
                    <a:pt x="203" y="105"/>
                  </a:lnTo>
                  <a:lnTo>
                    <a:pt x="202" y="105"/>
                  </a:lnTo>
                  <a:lnTo>
                    <a:pt x="201" y="105"/>
                  </a:lnTo>
                  <a:lnTo>
                    <a:pt x="201" y="105"/>
                  </a:lnTo>
                  <a:lnTo>
                    <a:pt x="199" y="105"/>
                  </a:lnTo>
                  <a:lnTo>
                    <a:pt x="198" y="105"/>
                  </a:lnTo>
                  <a:lnTo>
                    <a:pt x="197" y="104"/>
                  </a:lnTo>
                  <a:lnTo>
                    <a:pt x="195" y="104"/>
                  </a:lnTo>
                  <a:lnTo>
                    <a:pt x="194" y="104"/>
                  </a:lnTo>
                  <a:lnTo>
                    <a:pt x="194" y="104"/>
                  </a:lnTo>
                  <a:lnTo>
                    <a:pt x="193" y="105"/>
                  </a:lnTo>
                  <a:lnTo>
                    <a:pt x="193" y="105"/>
                  </a:lnTo>
                  <a:lnTo>
                    <a:pt x="191" y="106"/>
                  </a:lnTo>
                  <a:lnTo>
                    <a:pt x="190" y="107"/>
                  </a:lnTo>
                  <a:lnTo>
                    <a:pt x="189" y="109"/>
                  </a:lnTo>
                  <a:lnTo>
                    <a:pt x="185" y="113"/>
                  </a:lnTo>
                  <a:lnTo>
                    <a:pt x="184" y="114"/>
                  </a:lnTo>
                  <a:lnTo>
                    <a:pt x="183" y="115"/>
                  </a:lnTo>
                  <a:lnTo>
                    <a:pt x="182" y="115"/>
                  </a:lnTo>
                  <a:lnTo>
                    <a:pt x="181" y="116"/>
                  </a:lnTo>
                  <a:lnTo>
                    <a:pt x="180" y="116"/>
                  </a:lnTo>
                  <a:lnTo>
                    <a:pt x="178" y="117"/>
                  </a:lnTo>
                  <a:lnTo>
                    <a:pt x="177" y="118"/>
                  </a:lnTo>
                  <a:lnTo>
                    <a:pt x="176" y="118"/>
                  </a:lnTo>
                  <a:lnTo>
                    <a:pt x="175" y="119"/>
                  </a:lnTo>
                  <a:lnTo>
                    <a:pt x="174" y="120"/>
                  </a:lnTo>
                  <a:lnTo>
                    <a:pt x="173" y="120"/>
                  </a:lnTo>
                  <a:lnTo>
                    <a:pt x="171" y="123"/>
                  </a:lnTo>
                  <a:lnTo>
                    <a:pt x="170" y="123"/>
                  </a:lnTo>
                  <a:lnTo>
                    <a:pt x="169" y="124"/>
                  </a:lnTo>
                  <a:lnTo>
                    <a:pt x="167" y="126"/>
                  </a:lnTo>
                  <a:lnTo>
                    <a:pt x="166" y="126"/>
                  </a:lnTo>
                  <a:lnTo>
                    <a:pt x="165" y="128"/>
                  </a:lnTo>
                  <a:lnTo>
                    <a:pt x="163" y="130"/>
                  </a:lnTo>
                  <a:lnTo>
                    <a:pt x="158" y="136"/>
                  </a:lnTo>
                  <a:lnTo>
                    <a:pt x="156" y="138"/>
                  </a:lnTo>
                  <a:lnTo>
                    <a:pt x="156" y="139"/>
                  </a:lnTo>
                  <a:lnTo>
                    <a:pt x="155" y="140"/>
                  </a:lnTo>
                  <a:lnTo>
                    <a:pt x="155" y="141"/>
                  </a:lnTo>
                  <a:lnTo>
                    <a:pt x="155" y="142"/>
                  </a:lnTo>
                  <a:lnTo>
                    <a:pt x="155" y="145"/>
                  </a:lnTo>
                  <a:lnTo>
                    <a:pt x="154" y="147"/>
                  </a:lnTo>
                  <a:lnTo>
                    <a:pt x="154" y="148"/>
                  </a:lnTo>
                  <a:lnTo>
                    <a:pt x="154" y="149"/>
                  </a:lnTo>
                  <a:lnTo>
                    <a:pt x="154" y="150"/>
                  </a:lnTo>
                  <a:lnTo>
                    <a:pt x="153" y="151"/>
                  </a:lnTo>
                  <a:lnTo>
                    <a:pt x="152" y="155"/>
                  </a:lnTo>
                  <a:lnTo>
                    <a:pt x="151" y="156"/>
                  </a:lnTo>
                  <a:lnTo>
                    <a:pt x="151" y="157"/>
                  </a:lnTo>
                  <a:lnTo>
                    <a:pt x="150" y="158"/>
                  </a:lnTo>
                  <a:lnTo>
                    <a:pt x="150" y="160"/>
                  </a:lnTo>
                  <a:lnTo>
                    <a:pt x="150" y="161"/>
                  </a:lnTo>
                  <a:lnTo>
                    <a:pt x="151" y="166"/>
                  </a:lnTo>
                  <a:lnTo>
                    <a:pt x="151" y="170"/>
                  </a:lnTo>
                  <a:lnTo>
                    <a:pt x="151" y="172"/>
                  </a:lnTo>
                  <a:lnTo>
                    <a:pt x="151" y="174"/>
                  </a:lnTo>
                  <a:lnTo>
                    <a:pt x="151" y="175"/>
                  </a:lnTo>
                  <a:lnTo>
                    <a:pt x="150" y="176"/>
                  </a:lnTo>
                  <a:lnTo>
                    <a:pt x="150" y="178"/>
                  </a:lnTo>
                  <a:lnTo>
                    <a:pt x="150" y="179"/>
                  </a:lnTo>
                  <a:lnTo>
                    <a:pt x="149" y="180"/>
                  </a:lnTo>
                  <a:lnTo>
                    <a:pt x="149" y="181"/>
                  </a:lnTo>
                  <a:lnTo>
                    <a:pt x="148" y="182"/>
                  </a:lnTo>
                  <a:lnTo>
                    <a:pt x="147" y="184"/>
                  </a:lnTo>
                  <a:lnTo>
                    <a:pt x="146" y="184"/>
                  </a:lnTo>
                  <a:lnTo>
                    <a:pt x="141" y="191"/>
                  </a:lnTo>
                  <a:lnTo>
                    <a:pt x="140" y="192"/>
                  </a:lnTo>
                  <a:lnTo>
                    <a:pt x="139" y="194"/>
                  </a:lnTo>
                  <a:lnTo>
                    <a:pt x="138" y="195"/>
                  </a:lnTo>
                  <a:lnTo>
                    <a:pt x="137" y="197"/>
                  </a:lnTo>
                  <a:lnTo>
                    <a:pt x="136" y="199"/>
                  </a:lnTo>
                  <a:lnTo>
                    <a:pt x="135" y="200"/>
                  </a:lnTo>
                  <a:lnTo>
                    <a:pt x="135" y="201"/>
                  </a:lnTo>
                  <a:lnTo>
                    <a:pt x="135" y="202"/>
                  </a:lnTo>
                  <a:lnTo>
                    <a:pt x="135" y="203"/>
                  </a:lnTo>
                  <a:lnTo>
                    <a:pt x="134" y="204"/>
                  </a:lnTo>
                  <a:lnTo>
                    <a:pt x="134" y="208"/>
                  </a:lnTo>
                  <a:lnTo>
                    <a:pt x="133" y="212"/>
                  </a:lnTo>
                  <a:lnTo>
                    <a:pt x="133" y="212"/>
                  </a:lnTo>
                  <a:lnTo>
                    <a:pt x="133" y="213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4" y="215"/>
                  </a:lnTo>
                  <a:lnTo>
                    <a:pt x="135" y="216"/>
                  </a:lnTo>
                  <a:lnTo>
                    <a:pt x="135" y="216"/>
                  </a:lnTo>
                  <a:lnTo>
                    <a:pt x="136" y="218"/>
                  </a:lnTo>
                  <a:lnTo>
                    <a:pt x="140" y="222"/>
                  </a:lnTo>
                  <a:lnTo>
                    <a:pt x="141" y="223"/>
                  </a:lnTo>
                  <a:lnTo>
                    <a:pt x="141" y="224"/>
                  </a:lnTo>
                  <a:lnTo>
                    <a:pt x="142" y="224"/>
                  </a:lnTo>
                  <a:lnTo>
                    <a:pt x="142" y="225"/>
                  </a:lnTo>
                  <a:lnTo>
                    <a:pt x="142" y="226"/>
                  </a:lnTo>
                  <a:lnTo>
                    <a:pt x="143" y="226"/>
                  </a:lnTo>
                  <a:lnTo>
                    <a:pt x="143" y="227"/>
                  </a:lnTo>
                  <a:lnTo>
                    <a:pt x="143" y="228"/>
                  </a:lnTo>
                  <a:lnTo>
                    <a:pt x="143" y="228"/>
                  </a:lnTo>
                  <a:lnTo>
                    <a:pt x="143" y="229"/>
                  </a:lnTo>
                  <a:lnTo>
                    <a:pt x="143" y="230"/>
                  </a:lnTo>
                  <a:lnTo>
                    <a:pt x="143" y="231"/>
                  </a:lnTo>
                  <a:lnTo>
                    <a:pt x="142" y="232"/>
                  </a:lnTo>
                  <a:lnTo>
                    <a:pt x="141" y="233"/>
                  </a:lnTo>
                  <a:lnTo>
                    <a:pt x="141" y="234"/>
                  </a:lnTo>
                  <a:lnTo>
                    <a:pt x="140" y="235"/>
                  </a:lnTo>
                  <a:lnTo>
                    <a:pt x="138" y="238"/>
                  </a:lnTo>
                  <a:lnTo>
                    <a:pt x="137" y="240"/>
                  </a:lnTo>
                  <a:lnTo>
                    <a:pt x="136" y="242"/>
                  </a:lnTo>
                  <a:lnTo>
                    <a:pt x="135" y="242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35" y="244"/>
                  </a:lnTo>
                  <a:lnTo>
                    <a:pt x="135" y="245"/>
                  </a:lnTo>
                  <a:lnTo>
                    <a:pt x="135" y="247"/>
                  </a:lnTo>
                  <a:lnTo>
                    <a:pt x="135" y="248"/>
                  </a:lnTo>
                  <a:lnTo>
                    <a:pt x="135" y="249"/>
                  </a:lnTo>
                  <a:lnTo>
                    <a:pt x="134" y="250"/>
                  </a:lnTo>
                  <a:lnTo>
                    <a:pt x="134" y="251"/>
                  </a:lnTo>
                  <a:lnTo>
                    <a:pt x="133" y="253"/>
                  </a:lnTo>
                  <a:lnTo>
                    <a:pt x="132" y="256"/>
                  </a:lnTo>
                  <a:lnTo>
                    <a:pt x="131" y="257"/>
                  </a:lnTo>
                  <a:lnTo>
                    <a:pt x="131" y="258"/>
                  </a:lnTo>
                  <a:lnTo>
                    <a:pt x="131" y="259"/>
                  </a:lnTo>
                  <a:lnTo>
                    <a:pt x="131" y="260"/>
                  </a:lnTo>
                  <a:lnTo>
                    <a:pt x="131" y="261"/>
                  </a:lnTo>
                  <a:lnTo>
                    <a:pt x="131" y="261"/>
                  </a:lnTo>
                  <a:lnTo>
                    <a:pt x="131" y="262"/>
                  </a:lnTo>
                  <a:lnTo>
                    <a:pt x="131" y="262"/>
                  </a:lnTo>
                  <a:lnTo>
                    <a:pt x="131" y="263"/>
                  </a:lnTo>
                  <a:lnTo>
                    <a:pt x="132" y="265"/>
                  </a:lnTo>
                  <a:lnTo>
                    <a:pt x="133" y="266"/>
                  </a:lnTo>
                  <a:lnTo>
                    <a:pt x="134" y="267"/>
                  </a:lnTo>
                  <a:lnTo>
                    <a:pt x="134" y="267"/>
                  </a:lnTo>
                  <a:lnTo>
                    <a:pt x="136" y="269"/>
                  </a:lnTo>
                  <a:lnTo>
                    <a:pt x="137" y="272"/>
                  </a:lnTo>
                  <a:lnTo>
                    <a:pt x="138" y="272"/>
                  </a:lnTo>
                  <a:lnTo>
                    <a:pt x="139" y="273"/>
                  </a:lnTo>
                  <a:lnTo>
                    <a:pt x="140" y="274"/>
                  </a:lnTo>
                  <a:lnTo>
                    <a:pt x="140" y="274"/>
                  </a:lnTo>
                  <a:lnTo>
                    <a:pt x="141" y="274"/>
                  </a:lnTo>
                  <a:lnTo>
                    <a:pt x="141" y="275"/>
                  </a:lnTo>
                  <a:lnTo>
                    <a:pt x="142" y="275"/>
                  </a:lnTo>
                  <a:lnTo>
                    <a:pt x="143" y="275"/>
                  </a:lnTo>
                  <a:lnTo>
                    <a:pt x="144" y="274"/>
                  </a:lnTo>
                  <a:lnTo>
                    <a:pt x="146" y="274"/>
                  </a:lnTo>
                  <a:lnTo>
                    <a:pt x="147" y="274"/>
                  </a:lnTo>
                  <a:lnTo>
                    <a:pt x="148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1" y="273"/>
                  </a:lnTo>
                  <a:lnTo>
                    <a:pt x="151" y="274"/>
                  </a:lnTo>
                  <a:lnTo>
                    <a:pt x="151" y="274"/>
                  </a:lnTo>
                  <a:lnTo>
                    <a:pt x="151" y="275"/>
                  </a:lnTo>
                  <a:lnTo>
                    <a:pt x="151" y="276"/>
                  </a:lnTo>
                  <a:lnTo>
                    <a:pt x="151" y="278"/>
                  </a:lnTo>
                  <a:lnTo>
                    <a:pt x="150" y="281"/>
                  </a:lnTo>
                  <a:lnTo>
                    <a:pt x="150" y="282"/>
                  </a:lnTo>
                  <a:lnTo>
                    <a:pt x="150" y="283"/>
                  </a:lnTo>
                  <a:lnTo>
                    <a:pt x="150" y="284"/>
                  </a:lnTo>
                  <a:lnTo>
                    <a:pt x="151" y="285"/>
                  </a:lnTo>
                  <a:lnTo>
                    <a:pt x="151" y="285"/>
                  </a:lnTo>
                  <a:lnTo>
                    <a:pt x="151" y="286"/>
                  </a:lnTo>
                  <a:lnTo>
                    <a:pt x="151" y="286"/>
                  </a:lnTo>
                  <a:lnTo>
                    <a:pt x="152" y="286"/>
                  </a:lnTo>
                  <a:lnTo>
                    <a:pt x="152" y="287"/>
                  </a:lnTo>
                  <a:lnTo>
                    <a:pt x="153" y="287"/>
                  </a:lnTo>
                  <a:lnTo>
                    <a:pt x="153" y="287"/>
                  </a:lnTo>
                  <a:lnTo>
                    <a:pt x="154" y="287"/>
                  </a:lnTo>
                  <a:lnTo>
                    <a:pt x="158" y="287"/>
                  </a:lnTo>
                  <a:lnTo>
                    <a:pt x="161" y="287"/>
                  </a:lnTo>
                  <a:lnTo>
                    <a:pt x="162" y="287"/>
                  </a:lnTo>
                  <a:lnTo>
                    <a:pt x="163" y="286"/>
                  </a:lnTo>
                  <a:lnTo>
                    <a:pt x="163" y="286"/>
                  </a:lnTo>
                  <a:lnTo>
                    <a:pt x="164" y="286"/>
                  </a:lnTo>
                  <a:lnTo>
                    <a:pt x="164" y="285"/>
                  </a:lnTo>
                  <a:lnTo>
                    <a:pt x="165" y="284"/>
                  </a:lnTo>
                  <a:lnTo>
                    <a:pt x="166" y="283"/>
                  </a:lnTo>
                  <a:lnTo>
                    <a:pt x="167" y="282"/>
                  </a:lnTo>
                  <a:lnTo>
                    <a:pt x="168" y="281"/>
                  </a:lnTo>
                  <a:lnTo>
                    <a:pt x="169" y="280"/>
                  </a:lnTo>
                  <a:lnTo>
                    <a:pt x="172" y="278"/>
                  </a:lnTo>
                  <a:lnTo>
                    <a:pt x="175" y="275"/>
                  </a:lnTo>
                  <a:lnTo>
                    <a:pt x="176" y="274"/>
                  </a:lnTo>
                  <a:lnTo>
                    <a:pt x="178" y="273"/>
                  </a:lnTo>
                  <a:lnTo>
                    <a:pt x="179" y="272"/>
                  </a:lnTo>
                  <a:lnTo>
                    <a:pt x="180" y="272"/>
                  </a:lnTo>
                  <a:lnTo>
                    <a:pt x="181" y="272"/>
                  </a:lnTo>
                  <a:lnTo>
                    <a:pt x="182" y="271"/>
                  </a:lnTo>
                  <a:lnTo>
                    <a:pt x="184" y="270"/>
                  </a:lnTo>
                  <a:lnTo>
                    <a:pt x="185" y="270"/>
                  </a:lnTo>
                  <a:lnTo>
                    <a:pt x="185" y="270"/>
                  </a:lnTo>
                  <a:lnTo>
                    <a:pt x="187" y="269"/>
                  </a:lnTo>
                  <a:lnTo>
                    <a:pt x="189" y="269"/>
                  </a:lnTo>
                  <a:lnTo>
                    <a:pt x="190" y="269"/>
                  </a:lnTo>
                  <a:lnTo>
                    <a:pt x="191" y="269"/>
                  </a:lnTo>
                  <a:lnTo>
                    <a:pt x="192" y="269"/>
                  </a:lnTo>
                  <a:lnTo>
                    <a:pt x="192" y="269"/>
                  </a:lnTo>
                  <a:lnTo>
                    <a:pt x="193" y="270"/>
                  </a:lnTo>
                  <a:lnTo>
                    <a:pt x="194" y="270"/>
                  </a:lnTo>
                  <a:lnTo>
                    <a:pt x="194" y="271"/>
                  </a:lnTo>
                  <a:lnTo>
                    <a:pt x="195" y="271"/>
                  </a:lnTo>
                  <a:lnTo>
                    <a:pt x="196" y="272"/>
                  </a:lnTo>
                  <a:lnTo>
                    <a:pt x="196" y="272"/>
                  </a:lnTo>
                  <a:lnTo>
                    <a:pt x="197" y="273"/>
                  </a:lnTo>
                  <a:lnTo>
                    <a:pt x="197" y="274"/>
                  </a:lnTo>
                  <a:lnTo>
                    <a:pt x="197" y="275"/>
                  </a:lnTo>
                  <a:lnTo>
                    <a:pt x="197" y="275"/>
                  </a:lnTo>
                  <a:lnTo>
                    <a:pt x="197" y="276"/>
                  </a:lnTo>
                  <a:lnTo>
                    <a:pt x="197" y="278"/>
                  </a:lnTo>
                  <a:lnTo>
                    <a:pt x="196" y="280"/>
                  </a:lnTo>
                  <a:lnTo>
                    <a:pt x="195" y="284"/>
                  </a:lnTo>
                  <a:lnTo>
                    <a:pt x="195" y="287"/>
                  </a:lnTo>
                  <a:lnTo>
                    <a:pt x="195" y="287"/>
                  </a:lnTo>
                  <a:lnTo>
                    <a:pt x="195" y="288"/>
                  </a:lnTo>
                  <a:lnTo>
                    <a:pt x="195" y="289"/>
                  </a:lnTo>
                  <a:lnTo>
                    <a:pt x="195" y="290"/>
                  </a:lnTo>
                  <a:lnTo>
                    <a:pt x="196" y="291"/>
                  </a:lnTo>
                  <a:lnTo>
                    <a:pt x="196" y="293"/>
                  </a:lnTo>
                  <a:lnTo>
                    <a:pt x="197" y="294"/>
                  </a:lnTo>
                  <a:lnTo>
                    <a:pt x="198" y="295"/>
                  </a:lnTo>
                  <a:lnTo>
                    <a:pt x="199" y="296"/>
                  </a:lnTo>
                  <a:lnTo>
                    <a:pt x="199" y="296"/>
                  </a:lnTo>
                  <a:lnTo>
                    <a:pt x="200" y="296"/>
                  </a:lnTo>
                  <a:lnTo>
                    <a:pt x="200" y="296"/>
                  </a:lnTo>
                  <a:lnTo>
                    <a:pt x="201" y="296"/>
                  </a:lnTo>
                  <a:lnTo>
                    <a:pt x="201" y="296"/>
                  </a:lnTo>
                  <a:lnTo>
                    <a:pt x="202" y="296"/>
                  </a:lnTo>
                  <a:lnTo>
                    <a:pt x="202" y="296"/>
                  </a:lnTo>
                  <a:lnTo>
                    <a:pt x="202" y="296"/>
                  </a:lnTo>
                  <a:lnTo>
                    <a:pt x="203" y="295"/>
                  </a:lnTo>
                  <a:lnTo>
                    <a:pt x="204" y="293"/>
                  </a:lnTo>
                  <a:lnTo>
                    <a:pt x="205" y="292"/>
                  </a:lnTo>
                  <a:lnTo>
                    <a:pt x="205" y="292"/>
                  </a:lnTo>
                  <a:lnTo>
                    <a:pt x="207" y="290"/>
                  </a:lnTo>
                  <a:lnTo>
                    <a:pt x="208" y="289"/>
                  </a:lnTo>
                  <a:lnTo>
                    <a:pt x="208" y="288"/>
                  </a:lnTo>
                  <a:lnTo>
                    <a:pt x="208" y="288"/>
                  </a:lnTo>
                  <a:lnTo>
                    <a:pt x="209" y="287"/>
                  </a:lnTo>
                  <a:lnTo>
                    <a:pt x="209" y="286"/>
                  </a:lnTo>
                  <a:lnTo>
                    <a:pt x="210" y="285"/>
                  </a:lnTo>
                  <a:lnTo>
                    <a:pt x="210" y="285"/>
                  </a:lnTo>
                  <a:lnTo>
                    <a:pt x="211" y="284"/>
                  </a:lnTo>
                  <a:lnTo>
                    <a:pt x="211" y="284"/>
                  </a:lnTo>
                  <a:lnTo>
                    <a:pt x="213" y="283"/>
                  </a:lnTo>
                  <a:lnTo>
                    <a:pt x="213" y="283"/>
                  </a:lnTo>
                  <a:lnTo>
                    <a:pt x="214" y="282"/>
                  </a:lnTo>
                  <a:lnTo>
                    <a:pt x="215" y="282"/>
                  </a:lnTo>
                  <a:lnTo>
                    <a:pt x="215" y="282"/>
                  </a:lnTo>
                  <a:lnTo>
                    <a:pt x="215" y="282"/>
                  </a:lnTo>
                  <a:lnTo>
                    <a:pt x="216" y="282"/>
                  </a:lnTo>
                  <a:lnTo>
                    <a:pt x="216" y="282"/>
                  </a:lnTo>
                  <a:lnTo>
                    <a:pt x="217" y="282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9" y="282"/>
                  </a:lnTo>
                  <a:lnTo>
                    <a:pt x="220" y="282"/>
                  </a:lnTo>
                  <a:lnTo>
                    <a:pt x="220" y="281"/>
                  </a:lnTo>
                  <a:lnTo>
                    <a:pt x="221" y="280"/>
                  </a:lnTo>
                  <a:lnTo>
                    <a:pt x="222" y="279"/>
                  </a:lnTo>
                  <a:lnTo>
                    <a:pt x="222" y="279"/>
                  </a:lnTo>
                  <a:lnTo>
                    <a:pt x="222" y="278"/>
                  </a:lnTo>
                  <a:lnTo>
                    <a:pt x="223" y="278"/>
                  </a:lnTo>
                  <a:lnTo>
                    <a:pt x="223" y="277"/>
                  </a:lnTo>
                  <a:lnTo>
                    <a:pt x="223" y="276"/>
                  </a:lnTo>
                  <a:lnTo>
                    <a:pt x="223" y="275"/>
                  </a:lnTo>
                  <a:lnTo>
                    <a:pt x="222" y="274"/>
                  </a:lnTo>
                  <a:lnTo>
                    <a:pt x="221" y="267"/>
                  </a:lnTo>
                  <a:lnTo>
                    <a:pt x="220" y="266"/>
                  </a:lnTo>
                  <a:lnTo>
                    <a:pt x="220" y="265"/>
                  </a:lnTo>
                  <a:lnTo>
                    <a:pt x="220" y="265"/>
                  </a:lnTo>
                  <a:lnTo>
                    <a:pt x="221" y="264"/>
                  </a:lnTo>
                  <a:lnTo>
                    <a:pt x="221" y="263"/>
                  </a:lnTo>
                  <a:lnTo>
                    <a:pt x="222" y="263"/>
                  </a:lnTo>
                  <a:lnTo>
                    <a:pt x="222" y="263"/>
                  </a:lnTo>
                  <a:lnTo>
                    <a:pt x="223" y="263"/>
                  </a:lnTo>
                  <a:lnTo>
                    <a:pt x="224" y="263"/>
                  </a:lnTo>
                  <a:lnTo>
                    <a:pt x="225" y="263"/>
                  </a:lnTo>
                  <a:lnTo>
                    <a:pt x="225" y="263"/>
                  </a:lnTo>
                  <a:lnTo>
                    <a:pt x="226" y="264"/>
                  </a:lnTo>
                  <a:lnTo>
                    <a:pt x="226" y="264"/>
                  </a:lnTo>
                  <a:lnTo>
                    <a:pt x="226" y="264"/>
                  </a:lnTo>
                  <a:lnTo>
                    <a:pt x="227" y="265"/>
                  </a:lnTo>
                  <a:lnTo>
                    <a:pt x="228" y="268"/>
                  </a:lnTo>
                  <a:lnTo>
                    <a:pt x="229" y="270"/>
                  </a:lnTo>
                  <a:lnTo>
                    <a:pt x="230" y="272"/>
                  </a:lnTo>
                  <a:lnTo>
                    <a:pt x="230" y="273"/>
                  </a:lnTo>
                  <a:lnTo>
                    <a:pt x="231" y="274"/>
                  </a:lnTo>
                  <a:lnTo>
                    <a:pt x="231" y="276"/>
                  </a:lnTo>
                  <a:lnTo>
                    <a:pt x="231" y="278"/>
                  </a:lnTo>
                  <a:lnTo>
                    <a:pt x="231" y="278"/>
                  </a:lnTo>
                  <a:lnTo>
                    <a:pt x="231" y="280"/>
                  </a:lnTo>
                  <a:lnTo>
                    <a:pt x="231" y="281"/>
                  </a:lnTo>
                  <a:lnTo>
                    <a:pt x="232" y="283"/>
                  </a:lnTo>
                  <a:lnTo>
                    <a:pt x="232" y="284"/>
                  </a:lnTo>
                  <a:lnTo>
                    <a:pt x="234" y="286"/>
                  </a:lnTo>
                  <a:lnTo>
                    <a:pt x="234" y="287"/>
                  </a:lnTo>
                  <a:lnTo>
                    <a:pt x="235" y="288"/>
                  </a:lnTo>
                  <a:lnTo>
                    <a:pt x="235" y="288"/>
                  </a:lnTo>
                  <a:lnTo>
                    <a:pt x="235" y="289"/>
                  </a:lnTo>
                  <a:lnTo>
                    <a:pt x="236" y="290"/>
                  </a:lnTo>
                  <a:lnTo>
                    <a:pt x="236" y="290"/>
                  </a:lnTo>
                  <a:lnTo>
                    <a:pt x="236" y="292"/>
                  </a:lnTo>
                  <a:lnTo>
                    <a:pt x="236" y="293"/>
                  </a:lnTo>
                  <a:lnTo>
                    <a:pt x="236" y="294"/>
                  </a:lnTo>
                  <a:lnTo>
                    <a:pt x="237" y="295"/>
                  </a:lnTo>
                  <a:lnTo>
                    <a:pt x="237" y="296"/>
                  </a:lnTo>
                  <a:lnTo>
                    <a:pt x="237" y="296"/>
                  </a:lnTo>
                  <a:lnTo>
                    <a:pt x="240" y="299"/>
                  </a:lnTo>
                  <a:lnTo>
                    <a:pt x="241" y="300"/>
                  </a:lnTo>
                  <a:lnTo>
                    <a:pt x="242" y="301"/>
                  </a:lnTo>
                  <a:lnTo>
                    <a:pt x="243" y="303"/>
                  </a:lnTo>
                  <a:lnTo>
                    <a:pt x="243" y="304"/>
                  </a:lnTo>
                  <a:lnTo>
                    <a:pt x="244" y="305"/>
                  </a:lnTo>
                  <a:lnTo>
                    <a:pt x="245" y="306"/>
                  </a:lnTo>
                  <a:lnTo>
                    <a:pt x="245" y="306"/>
                  </a:lnTo>
                  <a:lnTo>
                    <a:pt x="246" y="307"/>
                  </a:lnTo>
                  <a:lnTo>
                    <a:pt x="247" y="307"/>
                  </a:lnTo>
                  <a:lnTo>
                    <a:pt x="249" y="308"/>
                  </a:lnTo>
                  <a:lnTo>
                    <a:pt x="250" y="309"/>
                  </a:lnTo>
                  <a:lnTo>
                    <a:pt x="251" y="309"/>
                  </a:lnTo>
                  <a:lnTo>
                    <a:pt x="252" y="310"/>
                  </a:lnTo>
                  <a:lnTo>
                    <a:pt x="253" y="311"/>
                  </a:lnTo>
                  <a:lnTo>
                    <a:pt x="254" y="312"/>
                  </a:lnTo>
                  <a:lnTo>
                    <a:pt x="255" y="313"/>
                  </a:lnTo>
                  <a:lnTo>
                    <a:pt x="256" y="313"/>
                  </a:lnTo>
                  <a:lnTo>
                    <a:pt x="260" y="315"/>
                  </a:lnTo>
                  <a:lnTo>
                    <a:pt x="262" y="316"/>
                  </a:lnTo>
                  <a:lnTo>
                    <a:pt x="263" y="316"/>
                  </a:lnTo>
                  <a:lnTo>
                    <a:pt x="264" y="316"/>
                  </a:lnTo>
                  <a:lnTo>
                    <a:pt x="267" y="317"/>
                  </a:lnTo>
                  <a:lnTo>
                    <a:pt x="268" y="317"/>
                  </a:lnTo>
                  <a:lnTo>
                    <a:pt x="269" y="317"/>
                  </a:lnTo>
                  <a:lnTo>
                    <a:pt x="269" y="317"/>
                  </a:lnTo>
                  <a:lnTo>
                    <a:pt x="270" y="317"/>
                  </a:lnTo>
                  <a:lnTo>
                    <a:pt x="271" y="317"/>
                  </a:lnTo>
                  <a:lnTo>
                    <a:pt x="273" y="316"/>
                  </a:lnTo>
                  <a:lnTo>
                    <a:pt x="275" y="315"/>
                  </a:lnTo>
                  <a:lnTo>
                    <a:pt x="277" y="314"/>
                  </a:lnTo>
                  <a:lnTo>
                    <a:pt x="278" y="314"/>
                  </a:lnTo>
                  <a:lnTo>
                    <a:pt x="283" y="312"/>
                  </a:lnTo>
                  <a:lnTo>
                    <a:pt x="284" y="312"/>
                  </a:lnTo>
                  <a:lnTo>
                    <a:pt x="287" y="311"/>
                  </a:lnTo>
                  <a:lnTo>
                    <a:pt x="287" y="311"/>
                  </a:lnTo>
                  <a:lnTo>
                    <a:pt x="288" y="311"/>
                  </a:lnTo>
                  <a:lnTo>
                    <a:pt x="289" y="311"/>
                  </a:lnTo>
                  <a:lnTo>
                    <a:pt x="289" y="311"/>
                  </a:lnTo>
                  <a:lnTo>
                    <a:pt x="290" y="311"/>
                  </a:lnTo>
                  <a:lnTo>
                    <a:pt x="290" y="311"/>
                  </a:lnTo>
                  <a:lnTo>
                    <a:pt x="291" y="312"/>
                  </a:lnTo>
                  <a:lnTo>
                    <a:pt x="291" y="312"/>
                  </a:lnTo>
                  <a:lnTo>
                    <a:pt x="292" y="313"/>
                  </a:lnTo>
                  <a:lnTo>
                    <a:pt x="292" y="314"/>
                  </a:lnTo>
                  <a:lnTo>
                    <a:pt x="293" y="315"/>
                  </a:lnTo>
                  <a:lnTo>
                    <a:pt x="293" y="316"/>
                  </a:lnTo>
                  <a:lnTo>
                    <a:pt x="294" y="317"/>
                  </a:lnTo>
                  <a:lnTo>
                    <a:pt x="294" y="318"/>
                  </a:lnTo>
                  <a:lnTo>
                    <a:pt x="295" y="320"/>
                  </a:lnTo>
                  <a:lnTo>
                    <a:pt x="295" y="321"/>
                  </a:lnTo>
                  <a:lnTo>
                    <a:pt x="295" y="323"/>
                  </a:lnTo>
                  <a:lnTo>
                    <a:pt x="295" y="324"/>
                  </a:lnTo>
                  <a:lnTo>
                    <a:pt x="295" y="325"/>
                  </a:lnTo>
                  <a:lnTo>
                    <a:pt x="295" y="326"/>
                  </a:lnTo>
                  <a:lnTo>
                    <a:pt x="295" y="327"/>
                  </a:lnTo>
                  <a:lnTo>
                    <a:pt x="295" y="328"/>
                  </a:lnTo>
                  <a:lnTo>
                    <a:pt x="294" y="332"/>
                  </a:lnTo>
                  <a:lnTo>
                    <a:pt x="293" y="334"/>
                  </a:lnTo>
                  <a:lnTo>
                    <a:pt x="293" y="335"/>
                  </a:lnTo>
                  <a:lnTo>
                    <a:pt x="293" y="336"/>
                  </a:lnTo>
                  <a:lnTo>
                    <a:pt x="293" y="337"/>
                  </a:lnTo>
                  <a:lnTo>
                    <a:pt x="293" y="338"/>
                  </a:lnTo>
                  <a:lnTo>
                    <a:pt x="293" y="340"/>
                  </a:lnTo>
                  <a:lnTo>
                    <a:pt x="293" y="341"/>
                  </a:lnTo>
                  <a:lnTo>
                    <a:pt x="294" y="343"/>
                  </a:lnTo>
                  <a:lnTo>
                    <a:pt x="294" y="345"/>
                  </a:lnTo>
                  <a:lnTo>
                    <a:pt x="294" y="346"/>
                  </a:lnTo>
                  <a:lnTo>
                    <a:pt x="295" y="347"/>
                  </a:lnTo>
                  <a:lnTo>
                    <a:pt x="295" y="348"/>
                  </a:lnTo>
                  <a:lnTo>
                    <a:pt x="296" y="349"/>
                  </a:lnTo>
                  <a:lnTo>
                    <a:pt x="296" y="349"/>
                  </a:lnTo>
                  <a:lnTo>
                    <a:pt x="297" y="350"/>
                  </a:lnTo>
                  <a:lnTo>
                    <a:pt x="298" y="351"/>
                  </a:lnTo>
                  <a:lnTo>
                    <a:pt x="299" y="351"/>
                  </a:lnTo>
                  <a:lnTo>
                    <a:pt x="300" y="352"/>
                  </a:lnTo>
                  <a:lnTo>
                    <a:pt x="301" y="353"/>
                  </a:lnTo>
                  <a:lnTo>
                    <a:pt x="302" y="353"/>
                  </a:lnTo>
                  <a:lnTo>
                    <a:pt x="303" y="354"/>
                  </a:lnTo>
                  <a:lnTo>
                    <a:pt x="304" y="354"/>
                  </a:lnTo>
                  <a:lnTo>
                    <a:pt x="304" y="354"/>
                  </a:lnTo>
                  <a:lnTo>
                    <a:pt x="305" y="354"/>
                  </a:lnTo>
                  <a:lnTo>
                    <a:pt x="306" y="353"/>
                  </a:lnTo>
                  <a:lnTo>
                    <a:pt x="306" y="353"/>
                  </a:lnTo>
                  <a:lnTo>
                    <a:pt x="307" y="353"/>
                  </a:lnTo>
                  <a:lnTo>
                    <a:pt x="308" y="352"/>
                  </a:lnTo>
                  <a:lnTo>
                    <a:pt x="309" y="352"/>
                  </a:lnTo>
                  <a:lnTo>
                    <a:pt x="309" y="351"/>
                  </a:lnTo>
                  <a:lnTo>
                    <a:pt x="310" y="351"/>
                  </a:lnTo>
                  <a:lnTo>
                    <a:pt x="310" y="351"/>
                  </a:lnTo>
                  <a:lnTo>
                    <a:pt x="310" y="351"/>
                  </a:lnTo>
                  <a:lnTo>
                    <a:pt x="311" y="351"/>
                  </a:lnTo>
                  <a:lnTo>
                    <a:pt x="311" y="352"/>
                  </a:lnTo>
                  <a:lnTo>
                    <a:pt x="312" y="352"/>
                  </a:lnTo>
                  <a:lnTo>
                    <a:pt x="313" y="353"/>
                  </a:lnTo>
                  <a:lnTo>
                    <a:pt x="313" y="354"/>
                  </a:lnTo>
                  <a:lnTo>
                    <a:pt x="314" y="355"/>
                  </a:lnTo>
                  <a:lnTo>
                    <a:pt x="316" y="356"/>
                  </a:lnTo>
                  <a:lnTo>
                    <a:pt x="317" y="358"/>
                  </a:lnTo>
                  <a:lnTo>
                    <a:pt x="317" y="359"/>
                  </a:lnTo>
                  <a:lnTo>
                    <a:pt x="318" y="360"/>
                  </a:lnTo>
                  <a:lnTo>
                    <a:pt x="319" y="362"/>
                  </a:lnTo>
                  <a:lnTo>
                    <a:pt x="320" y="363"/>
                  </a:lnTo>
                  <a:lnTo>
                    <a:pt x="321" y="365"/>
                  </a:lnTo>
                  <a:lnTo>
                    <a:pt x="322" y="366"/>
                  </a:lnTo>
                  <a:lnTo>
                    <a:pt x="322" y="367"/>
                  </a:lnTo>
                  <a:lnTo>
                    <a:pt x="323" y="367"/>
                  </a:lnTo>
                  <a:lnTo>
                    <a:pt x="324" y="368"/>
                  </a:lnTo>
                  <a:lnTo>
                    <a:pt x="331" y="374"/>
                  </a:lnTo>
                  <a:lnTo>
                    <a:pt x="333" y="374"/>
                  </a:lnTo>
                  <a:lnTo>
                    <a:pt x="334" y="376"/>
                  </a:lnTo>
                  <a:lnTo>
                    <a:pt x="337" y="379"/>
                  </a:lnTo>
                  <a:lnTo>
                    <a:pt x="339" y="381"/>
                  </a:lnTo>
                  <a:lnTo>
                    <a:pt x="340" y="382"/>
                  </a:lnTo>
                  <a:lnTo>
                    <a:pt x="342" y="384"/>
                  </a:lnTo>
                  <a:lnTo>
                    <a:pt x="343" y="386"/>
                  </a:lnTo>
                  <a:lnTo>
                    <a:pt x="345" y="389"/>
                  </a:lnTo>
                  <a:lnTo>
                    <a:pt x="346" y="392"/>
                  </a:lnTo>
                  <a:lnTo>
                    <a:pt x="347" y="393"/>
                  </a:lnTo>
                  <a:lnTo>
                    <a:pt x="347" y="393"/>
                  </a:lnTo>
                  <a:lnTo>
                    <a:pt x="347" y="394"/>
                  </a:lnTo>
                  <a:lnTo>
                    <a:pt x="347" y="395"/>
                  </a:lnTo>
                  <a:lnTo>
                    <a:pt x="347" y="395"/>
                  </a:lnTo>
                  <a:lnTo>
                    <a:pt x="347" y="396"/>
                  </a:lnTo>
                  <a:lnTo>
                    <a:pt x="347" y="397"/>
                  </a:lnTo>
                  <a:lnTo>
                    <a:pt x="346" y="398"/>
                  </a:lnTo>
                  <a:lnTo>
                    <a:pt x="346" y="399"/>
                  </a:lnTo>
                  <a:lnTo>
                    <a:pt x="345" y="400"/>
                  </a:lnTo>
                  <a:lnTo>
                    <a:pt x="345" y="401"/>
                  </a:lnTo>
                  <a:lnTo>
                    <a:pt x="345" y="401"/>
                  </a:lnTo>
                  <a:lnTo>
                    <a:pt x="345" y="402"/>
                  </a:lnTo>
                  <a:lnTo>
                    <a:pt x="346" y="403"/>
                  </a:lnTo>
                  <a:lnTo>
                    <a:pt x="346" y="404"/>
                  </a:lnTo>
                  <a:lnTo>
                    <a:pt x="347" y="404"/>
                  </a:lnTo>
                  <a:lnTo>
                    <a:pt x="347" y="405"/>
                  </a:lnTo>
                  <a:lnTo>
                    <a:pt x="347" y="405"/>
                  </a:lnTo>
                  <a:lnTo>
                    <a:pt x="348" y="405"/>
                  </a:lnTo>
                  <a:lnTo>
                    <a:pt x="349" y="405"/>
                  </a:lnTo>
                  <a:lnTo>
                    <a:pt x="349" y="405"/>
                  </a:lnTo>
                  <a:lnTo>
                    <a:pt x="349" y="405"/>
                  </a:lnTo>
                  <a:lnTo>
                    <a:pt x="350" y="405"/>
                  </a:lnTo>
                  <a:lnTo>
                    <a:pt x="352" y="403"/>
                  </a:lnTo>
                  <a:lnTo>
                    <a:pt x="353" y="402"/>
                  </a:lnTo>
                  <a:lnTo>
                    <a:pt x="354" y="401"/>
                  </a:lnTo>
                  <a:lnTo>
                    <a:pt x="355" y="401"/>
                  </a:lnTo>
                  <a:lnTo>
                    <a:pt x="356" y="401"/>
                  </a:lnTo>
                  <a:lnTo>
                    <a:pt x="357" y="400"/>
                  </a:lnTo>
                  <a:lnTo>
                    <a:pt x="357" y="400"/>
                  </a:lnTo>
                  <a:lnTo>
                    <a:pt x="358" y="400"/>
                  </a:lnTo>
                  <a:lnTo>
                    <a:pt x="358" y="401"/>
                  </a:lnTo>
                  <a:lnTo>
                    <a:pt x="359" y="401"/>
                  </a:lnTo>
                  <a:lnTo>
                    <a:pt x="359" y="401"/>
                  </a:lnTo>
                  <a:lnTo>
                    <a:pt x="359" y="401"/>
                  </a:lnTo>
                  <a:lnTo>
                    <a:pt x="360" y="402"/>
                  </a:lnTo>
                  <a:lnTo>
                    <a:pt x="361" y="403"/>
                  </a:lnTo>
                  <a:lnTo>
                    <a:pt x="362" y="404"/>
                  </a:lnTo>
                  <a:lnTo>
                    <a:pt x="362" y="405"/>
                  </a:lnTo>
                  <a:lnTo>
                    <a:pt x="364" y="408"/>
                  </a:lnTo>
                  <a:lnTo>
                    <a:pt x="365" y="411"/>
                  </a:lnTo>
                  <a:lnTo>
                    <a:pt x="365" y="411"/>
                  </a:lnTo>
                  <a:lnTo>
                    <a:pt x="365" y="412"/>
                  </a:lnTo>
                  <a:lnTo>
                    <a:pt x="365" y="412"/>
                  </a:lnTo>
                  <a:lnTo>
                    <a:pt x="365" y="413"/>
                  </a:lnTo>
                  <a:lnTo>
                    <a:pt x="365" y="413"/>
                  </a:lnTo>
                  <a:lnTo>
                    <a:pt x="364" y="414"/>
                  </a:lnTo>
                  <a:lnTo>
                    <a:pt x="364" y="415"/>
                  </a:lnTo>
                  <a:lnTo>
                    <a:pt x="363" y="416"/>
                  </a:lnTo>
                  <a:lnTo>
                    <a:pt x="362" y="418"/>
                  </a:lnTo>
                  <a:lnTo>
                    <a:pt x="361" y="419"/>
                  </a:lnTo>
                  <a:lnTo>
                    <a:pt x="361" y="420"/>
                  </a:lnTo>
                  <a:lnTo>
                    <a:pt x="360" y="421"/>
                  </a:lnTo>
                  <a:lnTo>
                    <a:pt x="360" y="421"/>
                  </a:lnTo>
                  <a:lnTo>
                    <a:pt x="359" y="422"/>
                  </a:lnTo>
                  <a:lnTo>
                    <a:pt x="358" y="422"/>
                  </a:lnTo>
                  <a:lnTo>
                    <a:pt x="358" y="422"/>
                  </a:lnTo>
                  <a:lnTo>
                    <a:pt x="357" y="423"/>
                  </a:lnTo>
                  <a:lnTo>
                    <a:pt x="357" y="423"/>
                  </a:lnTo>
                  <a:lnTo>
                    <a:pt x="356" y="423"/>
                  </a:lnTo>
                  <a:lnTo>
                    <a:pt x="355" y="423"/>
                  </a:lnTo>
                  <a:lnTo>
                    <a:pt x="355" y="423"/>
                  </a:lnTo>
                  <a:lnTo>
                    <a:pt x="354" y="423"/>
                  </a:lnTo>
                  <a:lnTo>
                    <a:pt x="353" y="423"/>
                  </a:lnTo>
                  <a:lnTo>
                    <a:pt x="351" y="422"/>
                  </a:lnTo>
                  <a:lnTo>
                    <a:pt x="348" y="422"/>
                  </a:lnTo>
                  <a:lnTo>
                    <a:pt x="347" y="421"/>
                  </a:lnTo>
                  <a:lnTo>
                    <a:pt x="346" y="421"/>
                  </a:lnTo>
                  <a:lnTo>
                    <a:pt x="345" y="421"/>
                  </a:lnTo>
                  <a:lnTo>
                    <a:pt x="344" y="421"/>
                  </a:lnTo>
                  <a:lnTo>
                    <a:pt x="344" y="421"/>
                  </a:lnTo>
                  <a:lnTo>
                    <a:pt x="344" y="422"/>
                  </a:lnTo>
                  <a:lnTo>
                    <a:pt x="343" y="423"/>
                  </a:lnTo>
                  <a:lnTo>
                    <a:pt x="342" y="424"/>
                  </a:lnTo>
                  <a:lnTo>
                    <a:pt x="341" y="426"/>
                  </a:lnTo>
                  <a:lnTo>
                    <a:pt x="341" y="426"/>
                  </a:lnTo>
                  <a:lnTo>
                    <a:pt x="340" y="427"/>
                  </a:lnTo>
                  <a:lnTo>
                    <a:pt x="340" y="428"/>
                  </a:lnTo>
                  <a:lnTo>
                    <a:pt x="339" y="428"/>
                  </a:lnTo>
                  <a:lnTo>
                    <a:pt x="338" y="429"/>
                  </a:lnTo>
                  <a:lnTo>
                    <a:pt x="336" y="430"/>
                  </a:lnTo>
                  <a:lnTo>
                    <a:pt x="335" y="431"/>
                  </a:lnTo>
                  <a:lnTo>
                    <a:pt x="334" y="432"/>
                  </a:lnTo>
                  <a:lnTo>
                    <a:pt x="333" y="434"/>
                  </a:lnTo>
                  <a:lnTo>
                    <a:pt x="331" y="436"/>
                  </a:lnTo>
                  <a:lnTo>
                    <a:pt x="330" y="436"/>
                  </a:lnTo>
                  <a:lnTo>
                    <a:pt x="330" y="437"/>
                  </a:lnTo>
                  <a:lnTo>
                    <a:pt x="330" y="438"/>
                  </a:lnTo>
                  <a:lnTo>
                    <a:pt x="330" y="438"/>
                  </a:lnTo>
                  <a:lnTo>
                    <a:pt x="329" y="439"/>
                  </a:lnTo>
                  <a:lnTo>
                    <a:pt x="329" y="442"/>
                  </a:lnTo>
                  <a:lnTo>
                    <a:pt x="329" y="443"/>
                  </a:lnTo>
                  <a:lnTo>
                    <a:pt x="329" y="444"/>
                  </a:lnTo>
                  <a:lnTo>
                    <a:pt x="329" y="446"/>
                  </a:lnTo>
                  <a:lnTo>
                    <a:pt x="328" y="447"/>
                  </a:lnTo>
                  <a:lnTo>
                    <a:pt x="327" y="450"/>
                  </a:lnTo>
                  <a:lnTo>
                    <a:pt x="326" y="453"/>
                  </a:lnTo>
                  <a:lnTo>
                    <a:pt x="325" y="456"/>
                  </a:lnTo>
                  <a:lnTo>
                    <a:pt x="324" y="456"/>
                  </a:lnTo>
                  <a:lnTo>
                    <a:pt x="324" y="457"/>
                  </a:lnTo>
                  <a:lnTo>
                    <a:pt x="323" y="457"/>
                  </a:lnTo>
                  <a:lnTo>
                    <a:pt x="323" y="458"/>
                  </a:lnTo>
                  <a:lnTo>
                    <a:pt x="322" y="458"/>
                  </a:lnTo>
                  <a:lnTo>
                    <a:pt x="322" y="458"/>
                  </a:lnTo>
                  <a:lnTo>
                    <a:pt x="321" y="459"/>
                  </a:lnTo>
                  <a:lnTo>
                    <a:pt x="318" y="460"/>
                  </a:lnTo>
                  <a:lnTo>
                    <a:pt x="316" y="460"/>
                  </a:lnTo>
                  <a:lnTo>
                    <a:pt x="315" y="460"/>
                  </a:lnTo>
                  <a:lnTo>
                    <a:pt x="314" y="460"/>
                  </a:lnTo>
                  <a:lnTo>
                    <a:pt x="312" y="460"/>
                  </a:lnTo>
                  <a:lnTo>
                    <a:pt x="311" y="460"/>
                  </a:lnTo>
                  <a:lnTo>
                    <a:pt x="310" y="459"/>
                  </a:lnTo>
                  <a:lnTo>
                    <a:pt x="309" y="459"/>
                  </a:lnTo>
                  <a:lnTo>
                    <a:pt x="308" y="458"/>
                  </a:lnTo>
                  <a:lnTo>
                    <a:pt x="307" y="458"/>
                  </a:lnTo>
                  <a:lnTo>
                    <a:pt x="306" y="457"/>
                  </a:lnTo>
                  <a:lnTo>
                    <a:pt x="306" y="457"/>
                  </a:lnTo>
                  <a:lnTo>
                    <a:pt x="304" y="455"/>
                  </a:lnTo>
                  <a:lnTo>
                    <a:pt x="303" y="454"/>
                  </a:lnTo>
                  <a:lnTo>
                    <a:pt x="302" y="453"/>
                  </a:lnTo>
                  <a:lnTo>
                    <a:pt x="301" y="452"/>
                  </a:lnTo>
                  <a:lnTo>
                    <a:pt x="300" y="452"/>
                  </a:lnTo>
                  <a:lnTo>
                    <a:pt x="299" y="451"/>
                  </a:lnTo>
                  <a:lnTo>
                    <a:pt x="298" y="451"/>
                  </a:lnTo>
                  <a:lnTo>
                    <a:pt x="297" y="451"/>
                  </a:lnTo>
                  <a:lnTo>
                    <a:pt x="296" y="451"/>
                  </a:lnTo>
                  <a:lnTo>
                    <a:pt x="296" y="451"/>
                  </a:lnTo>
                  <a:lnTo>
                    <a:pt x="295" y="452"/>
                  </a:lnTo>
                  <a:lnTo>
                    <a:pt x="294" y="452"/>
                  </a:lnTo>
                  <a:lnTo>
                    <a:pt x="294" y="452"/>
                  </a:lnTo>
                  <a:lnTo>
                    <a:pt x="293" y="453"/>
                  </a:lnTo>
                  <a:lnTo>
                    <a:pt x="292" y="456"/>
                  </a:lnTo>
                  <a:lnTo>
                    <a:pt x="291" y="456"/>
                  </a:lnTo>
                  <a:lnTo>
                    <a:pt x="291" y="456"/>
                  </a:lnTo>
                  <a:lnTo>
                    <a:pt x="291" y="457"/>
                  </a:lnTo>
                  <a:lnTo>
                    <a:pt x="290" y="457"/>
                  </a:lnTo>
                  <a:lnTo>
                    <a:pt x="290" y="457"/>
                  </a:lnTo>
                  <a:lnTo>
                    <a:pt x="290" y="457"/>
                  </a:lnTo>
                  <a:lnTo>
                    <a:pt x="289" y="457"/>
                  </a:lnTo>
                  <a:lnTo>
                    <a:pt x="288" y="457"/>
                  </a:lnTo>
                  <a:lnTo>
                    <a:pt x="287" y="457"/>
                  </a:lnTo>
                  <a:lnTo>
                    <a:pt x="286" y="457"/>
                  </a:lnTo>
                  <a:lnTo>
                    <a:pt x="285" y="456"/>
                  </a:lnTo>
                  <a:lnTo>
                    <a:pt x="285" y="456"/>
                  </a:lnTo>
                  <a:lnTo>
                    <a:pt x="284" y="456"/>
                  </a:lnTo>
                  <a:lnTo>
                    <a:pt x="283" y="457"/>
                  </a:lnTo>
                  <a:lnTo>
                    <a:pt x="282" y="457"/>
                  </a:lnTo>
                  <a:lnTo>
                    <a:pt x="282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8"/>
                  </a:lnTo>
                  <a:lnTo>
                    <a:pt x="281" y="458"/>
                  </a:lnTo>
                  <a:lnTo>
                    <a:pt x="281" y="458"/>
                  </a:lnTo>
                  <a:lnTo>
                    <a:pt x="281" y="459"/>
                  </a:lnTo>
                  <a:lnTo>
                    <a:pt x="281" y="459"/>
                  </a:lnTo>
                  <a:lnTo>
                    <a:pt x="281" y="460"/>
                  </a:lnTo>
                  <a:lnTo>
                    <a:pt x="281" y="461"/>
                  </a:lnTo>
                  <a:lnTo>
                    <a:pt x="283" y="465"/>
                  </a:lnTo>
                  <a:lnTo>
                    <a:pt x="284" y="467"/>
                  </a:lnTo>
                  <a:lnTo>
                    <a:pt x="284" y="468"/>
                  </a:lnTo>
                  <a:lnTo>
                    <a:pt x="285" y="469"/>
                  </a:lnTo>
                  <a:lnTo>
                    <a:pt x="285" y="470"/>
                  </a:lnTo>
                  <a:lnTo>
                    <a:pt x="285" y="471"/>
                  </a:lnTo>
                  <a:lnTo>
                    <a:pt x="285" y="471"/>
                  </a:lnTo>
                  <a:lnTo>
                    <a:pt x="284" y="472"/>
                  </a:lnTo>
                  <a:lnTo>
                    <a:pt x="284" y="473"/>
                  </a:lnTo>
                  <a:lnTo>
                    <a:pt x="284" y="474"/>
                  </a:lnTo>
                  <a:lnTo>
                    <a:pt x="283" y="475"/>
                  </a:lnTo>
                  <a:lnTo>
                    <a:pt x="282" y="476"/>
                  </a:lnTo>
                  <a:lnTo>
                    <a:pt x="282" y="476"/>
                  </a:lnTo>
                  <a:lnTo>
                    <a:pt x="281" y="477"/>
                  </a:lnTo>
                  <a:lnTo>
                    <a:pt x="280" y="478"/>
                  </a:lnTo>
                  <a:lnTo>
                    <a:pt x="280" y="478"/>
                  </a:lnTo>
                  <a:lnTo>
                    <a:pt x="279" y="478"/>
                  </a:lnTo>
                  <a:lnTo>
                    <a:pt x="278" y="479"/>
                  </a:lnTo>
                  <a:lnTo>
                    <a:pt x="277" y="479"/>
                  </a:lnTo>
                  <a:lnTo>
                    <a:pt x="276" y="479"/>
                  </a:lnTo>
                  <a:lnTo>
                    <a:pt x="275" y="479"/>
                  </a:lnTo>
                  <a:lnTo>
                    <a:pt x="274" y="479"/>
                  </a:lnTo>
                  <a:lnTo>
                    <a:pt x="273" y="479"/>
                  </a:lnTo>
                  <a:lnTo>
                    <a:pt x="273" y="479"/>
                  </a:lnTo>
                  <a:lnTo>
                    <a:pt x="272" y="479"/>
                  </a:lnTo>
                  <a:lnTo>
                    <a:pt x="271" y="479"/>
                  </a:lnTo>
                  <a:lnTo>
                    <a:pt x="270" y="478"/>
                  </a:lnTo>
                  <a:lnTo>
                    <a:pt x="268" y="478"/>
                  </a:lnTo>
                  <a:lnTo>
                    <a:pt x="268" y="477"/>
                  </a:lnTo>
                  <a:lnTo>
                    <a:pt x="267" y="477"/>
                  </a:lnTo>
                  <a:lnTo>
                    <a:pt x="266" y="477"/>
                  </a:lnTo>
                  <a:lnTo>
                    <a:pt x="265" y="477"/>
                  </a:lnTo>
                  <a:lnTo>
                    <a:pt x="263" y="477"/>
                  </a:lnTo>
                  <a:lnTo>
                    <a:pt x="262" y="477"/>
                  </a:lnTo>
                  <a:lnTo>
                    <a:pt x="260" y="477"/>
                  </a:lnTo>
                  <a:lnTo>
                    <a:pt x="258" y="477"/>
                  </a:lnTo>
                  <a:lnTo>
                    <a:pt x="256" y="477"/>
                  </a:lnTo>
                  <a:lnTo>
                    <a:pt x="255" y="478"/>
                  </a:lnTo>
                  <a:lnTo>
                    <a:pt x="253" y="478"/>
                  </a:lnTo>
                  <a:lnTo>
                    <a:pt x="251" y="479"/>
                  </a:lnTo>
                  <a:lnTo>
                    <a:pt x="248" y="480"/>
                  </a:lnTo>
                  <a:lnTo>
                    <a:pt x="247" y="480"/>
                  </a:lnTo>
                  <a:lnTo>
                    <a:pt x="247" y="480"/>
                  </a:lnTo>
                  <a:lnTo>
                    <a:pt x="247" y="480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2"/>
                  </a:lnTo>
                  <a:lnTo>
                    <a:pt x="246" y="483"/>
                  </a:lnTo>
                  <a:lnTo>
                    <a:pt x="245" y="485"/>
                  </a:lnTo>
                  <a:lnTo>
                    <a:pt x="245" y="487"/>
                  </a:lnTo>
                  <a:lnTo>
                    <a:pt x="245" y="488"/>
                  </a:lnTo>
                  <a:lnTo>
                    <a:pt x="244" y="488"/>
                  </a:lnTo>
                  <a:lnTo>
                    <a:pt x="244" y="489"/>
                  </a:lnTo>
                  <a:lnTo>
                    <a:pt x="243" y="490"/>
                  </a:lnTo>
                  <a:lnTo>
                    <a:pt x="242" y="492"/>
                  </a:lnTo>
                  <a:lnTo>
                    <a:pt x="242" y="493"/>
                  </a:lnTo>
                  <a:lnTo>
                    <a:pt x="241" y="494"/>
                  </a:lnTo>
                  <a:lnTo>
                    <a:pt x="240" y="495"/>
                  </a:lnTo>
                  <a:lnTo>
                    <a:pt x="240" y="495"/>
                  </a:lnTo>
                  <a:lnTo>
                    <a:pt x="239" y="496"/>
                  </a:lnTo>
                  <a:lnTo>
                    <a:pt x="238" y="497"/>
                  </a:lnTo>
                  <a:lnTo>
                    <a:pt x="237" y="497"/>
                  </a:lnTo>
                  <a:lnTo>
                    <a:pt x="236" y="497"/>
                  </a:lnTo>
                  <a:lnTo>
                    <a:pt x="236" y="497"/>
                  </a:lnTo>
                  <a:lnTo>
                    <a:pt x="235" y="497"/>
                  </a:lnTo>
                  <a:lnTo>
                    <a:pt x="234" y="497"/>
                  </a:lnTo>
                  <a:lnTo>
                    <a:pt x="233" y="496"/>
                  </a:lnTo>
                  <a:lnTo>
                    <a:pt x="230" y="494"/>
                  </a:lnTo>
                  <a:lnTo>
                    <a:pt x="229" y="493"/>
                  </a:lnTo>
                  <a:lnTo>
                    <a:pt x="228" y="492"/>
                  </a:lnTo>
                  <a:lnTo>
                    <a:pt x="227" y="492"/>
                  </a:lnTo>
                  <a:lnTo>
                    <a:pt x="227" y="491"/>
                  </a:lnTo>
                  <a:lnTo>
                    <a:pt x="226" y="491"/>
                  </a:lnTo>
                  <a:lnTo>
                    <a:pt x="225" y="491"/>
                  </a:lnTo>
                  <a:lnTo>
                    <a:pt x="224" y="491"/>
                  </a:lnTo>
                  <a:lnTo>
                    <a:pt x="223" y="491"/>
                  </a:lnTo>
                  <a:lnTo>
                    <a:pt x="221" y="491"/>
                  </a:lnTo>
                  <a:lnTo>
                    <a:pt x="219" y="490"/>
                  </a:lnTo>
                  <a:lnTo>
                    <a:pt x="217" y="490"/>
                  </a:lnTo>
                  <a:lnTo>
                    <a:pt x="215" y="489"/>
                  </a:lnTo>
                  <a:lnTo>
                    <a:pt x="213" y="489"/>
                  </a:lnTo>
                  <a:lnTo>
                    <a:pt x="212" y="488"/>
                  </a:lnTo>
                  <a:lnTo>
                    <a:pt x="211" y="488"/>
                  </a:lnTo>
                  <a:lnTo>
                    <a:pt x="208" y="488"/>
                  </a:lnTo>
                  <a:lnTo>
                    <a:pt x="208" y="488"/>
                  </a:lnTo>
                  <a:lnTo>
                    <a:pt x="207" y="488"/>
                  </a:lnTo>
                  <a:lnTo>
                    <a:pt x="207" y="487"/>
                  </a:lnTo>
                  <a:lnTo>
                    <a:pt x="206" y="487"/>
                  </a:lnTo>
                  <a:lnTo>
                    <a:pt x="206" y="486"/>
                  </a:lnTo>
                  <a:lnTo>
                    <a:pt x="206" y="486"/>
                  </a:lnTo>
                  <a:lnTo>
                    <a:pt x="205" y="485"/>
                  </a:lnTo>
                  <a:lnTo>
                    <a:pt x="205" y="484"/>
                  </a:lnTo>
                  <a:lnTo>
                    <a:pt x="205" y="481"/>
                  </a:lnTo>
                  <a:lnTo>
                    <a:pt x="205" y="480"/>
                  </a:lnTo>
                  <a:lnTo>
                    <a:pt x="204" y="480"/>
                  </a:lnTo>
                  <a:lnTo>
                    <a:pt x="204" y="479"/>
                  </a:lnTo>
                  <a:lnTo>
                    <a:pt x="204" y="478"/>
                  </a:lnTo>
                  <a:lnTo>
                    <a:pt x="203" y="478"/>
                  </a:lnTo>
                  <a:lnTo>
                    <a:pt x="203" y="477"/>
                  </a:lnTo>
                  <a:lnTo>
                    <a:pt x="202" y="477"/>
                  </a:lnTo>
                  <a:lnTo>
                    <a:pt x="202" y="477"/>
                  </a:lnTo>
                  <a:lnTo>
                    <a:pt x="201" y="477"/>
                  </a:lnTo>
                  <a:lnTo>
                    <a:pt x="201" y="477"/>
                  </a:lnTo>
                  <a:lnTo>
                    <a:pt x="200" y="477"/>
                  </a:lnTo>
                  <a:lnTo>
                    <a:pt x="199" y="478"/>
                  </a:lnTo>
                  <a:lnTo>
                    <a:pt x="199" y="478"/>
                  </a:lnTo>
                  <a:lnTo>
                    <a:pt x="199" y="478"/>
                  </a:lnTo>
                  <a:lnTo>
                    <a:pt x="198" y="479"/>
                  </a:lnTo>
                  <a:lnTo>
                    <a:pt x="198" y="479"/>
                  </a:lnTo>
                  <a:lnTo>
                    <a:pt x="197" y="480"/>
                  </a:lnTo>
                  <a:lnTo>
                    <a:pt x="195" y="484"/>
                  </a:lnTo>
                  <a:lnTo>
                    <a:pt x="194" y="486"/>
                  </a:lnTo>
                  <a:lnTo>
                    <a:pt x="194" y="487"/>
                  </a:lnTo>
                  <a:lnTo>
                    <a:pt x="193" y="488"/>
                  </a:lnTo>
                  <a:lnTo>
                    <a:pt x="193" y="489"/>
                  </a:lnTo>
                  <a:lnTo>
                    <a:pt x="193" y="490"/>
                  </a:lnTo>
                  <a:lnTo>
                    <a:pt x="193" y="491"/>
                  </a:lnTo>
                  <a:lnTo>
                    <a:pt x="193" y="493"/>
                  </a:lnTo>
                  <a:lnTo>
                    <a:pt x="194" y="494"/>
                  </a:lnTo>
                  <a:lnTo>
                    <a:pt x="194" y="496"/>
                  </a:lnTo>
                  <a:lnTo>
                    <a:pt x="195" y="497"/>
                  </a:lnTo>
                  <a:lnTo>
                    <a:pt x="196" y="499"/>
                  </a:lnTo>
                  <a:lnTo>
                    <a:pt x="197" y="501"/>
                  </a:lnTo>
                  <a:lnTo>
                    <a:pt x="197" y="502"/>
                  </a:lnTo>
                  <a:lnTo>
                    <a:pt x="197" y="503"/>
                  </a:lnTo>
                  <a:lnTo>
                    <a:pt x="197" y="504"/>
                  </a:lnTo>
                  <a:lnTo>
                    <a:pt x="197" y="505"/>
                  </a:lnTo>
                  <a:lnTo>
                    <a:pt x="197" y="506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6" y="508"/>
                  </a:lnTo>
                  <a:lnTo>
                    <a:pt x="195" y="509"/>
                  </a:lnTo>
                  <a:lnTo>
                    <a:pt x="193" y="511"/>
                  </a:lnTo>
                  <a:lnTo>
                    <a:pt x="191" y="513"/>
                  </a:lnTo>
                  <a:lnTo>
                    <a:pt x="190" y="514"/>
                  </a:lnTo>
                  <a:lnTo>
                    <a:pt x="189" y="514"/>
                  </a:lnTo>
                  <a:lnTo>
                    <a:pt x="189" y="515"/>
                  </a:lnTo>
                  <a:lnTo>
                    <a:pt x="188" y="516"/>
                  </a:lnTo>
                  <a:lnTo>
                    <a:pt x="186" y="519"/>
                  </a:lnTo>
                  <a:lnTo>
                    <a:pt x="184" y="521"/>
                  </a:lnTo>
                  <a:lnTo>
                    <a:pt x="182" y="524"/>
                  </a:lnTo>
                  <a:lnTo>
                    <a:pt x="181" y="525"/>
                  </a:lnTo>
                  <a:lnTo>
                    <a:pt x="180" y="526"/>
                  </a:lnTo>
                  <a:lnTo>
                    <a:pt x="180" y="527"/>
                  </a:lnTo>
                  <a:lnTo>
                    <a:pt x="179" y="527"/>
                  </a:lnTo>
                  <a:lnTo>
                    <a:pt x="178" y="528"/>
                  </a:lnTo>
                  <a:lnTo>
                    <a:pt x="177" y="528"/>
                  </a:lnTo>
                  <a:lnTo>
                    <a:pt x="177" y="529"/>
                  </a:lnTo>
                  <a:lnTo>
                    <a:pt x="176" y="529"/>
                  </a:lnTo>
                  <a:lnTo>
                    <a:pt x="175" y="529"/>
                  </a:lnTo>
                  <a:lnTo>
                    <a:pt x="174" y="529"/>
                  </a:lnTo>
                  <a:lnTo>
                    <a:pt x="174" y="529"/>
                  </a:lnTo>
                  <a:lnTo>
                    <a:pt x="170" y="529"/>
                  </a:lnTo>
                  <a:lnTo>
                    <a:pt x="169" y="530"/>
                  </a:lnTo>
                  <a:lnTo>
                    <a:pt x="165" y="530"/>
                  </a:lnTo>
                  <a:lnTo>
                    <a:pt x="163" y="530"/>
                  </a:lnTo>
                  <a:lnTo>
                    <a:pt x="162" y="531"/>
                  </a:lnTo>
                  <a:lnTo>
                    <a:pt x="156" y="532"/>
                  </a:lnTo>
                  <a:lnTo>
                    <a:pt x="155" y="532"/>
                  </a:lnTo>
                  <a:lnTo>
                    <a:pt x="153" y="532"/>
                  </a:lnTo>
                  <a:lnTo>
                    <a:pt x="152" y="532"/>
                  </a:lnTo>
                  <a:lnTo>
                    <a:pt x="151" y="533"/>
                  </a:lnTo>
                  <a:lnTo>
                    <a:pt x="151" y="533"/>
                  </a:lnTo>
                  <a:lnTo>
                    <a:pt x="150" y="533"/>
                  </a:lnTo>
                  <a:lnTo>
                    <a:pt x="149" y="534"/>
                  </a:lnTo>
                  <a:lnTo>
                    <a:pt x="148" y="535"/>
                  </a:lnTo>
                  <a:lnTo>
                    <a:pt x="148" y="536"/>
                  </a:lnTo>
                  <a:lnTo>
                    <a:pt x="147" y="536"/>
                  </a:lnTo>
                  <a:lnTo>
                    <a:pt x="146" y="539"/>
                  </a:lnTo>
                  <a:lnTo>
                    <a:pt x="145" y="539"/>
                  </a:lnTo>
                  <a:lnTo>
                    <a:pt x="145" y="540"/>
                  </a:lnTo>
                  <a:lnTo>
                    <a:pt x="144" y="541"/>
                  </a:lnTo>
                  <a:lnTo>
                    <a:pt x="144" y="541"/>
                  </a:lnTo>
                  <a:lnTo>
                    <a:pt x="143" y="541"/>
                  </a:lnTo>
                  <a:lnTo>
                    <a:pt x="143" y="541"/>
                  </a:lnTo>
                  <a:lnTo>
                    <a:pt x="142" y="541"/>
                  </a:lnTo>
                  <a:lnTo>
                    <a:pt x="142" y="541"/>
                  </a:lnTo>
                  <a:lnTo>
                    <a:pt x="141" y="541"/>
                  </a:lnTo>
                  <a:lnTo>
                    <a:pt x="141" y="541"/>
                  </a:lnTo>
                  <a:lnTo>
                    <a:pt x="141" y="541"/>
                  </a:lnTo>
                  <a:lnTo>
                    <a:pt x="141" y="539"/>
                  </a:lnTo>
                  <a:lnTo>
                    <a:pt x="139" y="534"/>
                  </a:lnTo>
                  <a:lnTo>
                    <a:pt x="137" y="531"/>
                  </a:lnTo>
                  <a:lnTo>
                    <a:pt x="137" y="530"/>
                  </a:lnTo>
                  <a:lnTo>
                    <a:pt x="136" y="527"/>
                  </a:lnTo>
                  <a:lnTo>
                    <a:pt x="134" y="522"/>
                  </a:lnTo>
                  <a:lnTo>
                    <a:pt x="134" y="521"/>
                  </a:lnTo>
                  <a:lnTo>
                    <a:pt x="134" y="520"/>
                  </a:lnTo>
                  <a:lnTo>
                    <a:pt x="133" y="519"/>
                  </a:lnTo>
                  <a:lnTo>
                    <a:pt x="133" y="519"/>
                  </a:lnTo>
                  <a:lnTo>
                    <a:pt x="132" y="518"/>
                  </a:lnTo>
                  <a:lnTo>
                    <a:pt x="131" y="517"/>
                  </a:lnTo>
                  <a:lnTo>
                    <a:pt x="128" y="515"/>
                  </a:lnTo>
                  <a:lnTo>
                    <a:pt x="127" y="514"/>
                  </a:lnTo>
                  <a:lnTo>
                    <a:pt x="126" y="513"/>
                  </a:lnTo>
                  <a:lnTo>
                    <a:pt x="124" y="512"/>
                  </a:lnTo>
                  <a:lnTo>
                    <a:pt x="122" y="512"/>
                  </a:lnTo>
                  <a:lnTo>
                    <a:pt x="121" y="511"/>
                  </a:lnTo>
                  <a:lnTo>
                    <a:pt x="118" y="510"/>
                  </a:lnTo>
                  <a:lnTo>
                    <a:pt x="116" y="509"/>
                  </a:lnTo>
                  <a:lnTo>
                    <a:pt x="114" y="509"/>
                  </a:lnTo>
                  <a:lnTo>
                    <a:pt x="112" y="508"/>
                  </a:lnTo>
                  <a:lnTo>
                    <a:pt x="111" y="507"/>
                  </a:lnTo>
                  <a:lnTo>
                    <a:pt x="108" y="506"/>
                  </a:lnTo>
                  <a:lnTo>
                    <a:pt x="107" y="505"/>
                  </a:lnTo>
                  <a:lnTo>
                    <a:pt x="107" y="505"/>
                  </a:lnTo>
                  <a:lnTo>
                    <a:pt x="106" y="504"/>
                  </a:lnTo>
                  <a:lnTo>
                    <a:pt x="106" y="504"/>
                  </a:lnTo>
                  <a:lnTo>
                    <a:pt x="106" y="504"/>
                  </a:lnTo>
                  <a:lnTo>
                    <a:pt x="105" y="503"/>
                  </a:lnTo>
                  <a:lnTo>
                    <a:pt x="105" y="503"/>
                  </a:lnTo>
                  <a:lnTo>
                    <a:pt x="105" y="502"/>
                  </a:lnTo>
                  <a:lnTo>
                    <a:pt x="105" y="502"/>
                  </a:lnTo>
                  <a:lnTo>
                    <a:pt x="106" y="500"/>
                  </a:lnTo>
                  <a:lnTo>
                    <a:pt x="106" y="497"/>
                  </a:lnTo>
                  <a:lnTo>
                    <a:pt x="107" y="494"/>
                  </a:lnTo>
                  <a:lnTo>
                    <a:pt x="107" y="492"/>
                  </a:lnTo>
                  <a:lnTo>
                    <a:pt x="107" y="491"/>
                  </a:lnTo>
                  <a:lnTo>
                    <a:pt x="107" y="489"/>
                  </a:lnTo>
                  <a:lnTo>
                    <a:pt x="108" y="488"/>
                  </a:lnTo>
                  <a:lnTo>
                    <a:pt x="107" y="486"/>
                  </a:lnTo>
                  <a:lnTo>
                    <a:pt x="107" y="485"/>
                  </a:lnTo>
                  <a:lnTo>
                    <a:pt x="107" y="485"/>
                  </a:lnTo>
                  <a:lnTo>
                    <a:pt x="107" y="484"/>
                  </a:lnTo>
                  <a:lnTo>
                    <a:pt x="107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5" y="484"/>
                  </a:lnTo>
                  <a:lnTo>
                    <a:pt x="105" y="485"/>
                  </a:lnTo>
                  <a:lnTo>
                    <a:pt x="104" y="486"/>
                  </a:lnTo>
                  <a:lnTo>
                    <a:pt x="104" y="487"/>
                  </a:lnTo>
                  <a:lnTo>
                    <a:pt x="103" y="487"/>
                  </a:lnTo>
                  <a:lnTo>
                    <a:pt x="103" y="487"/>
                  </a:lnTo>
                  <a:lnTo>
                    <a:pt x="103" y="487"/>
                  </a:lnTo>
                  <a:lnTo>
                    <a:pt x="102" y="487"/>
                  </a:lnTo>
                  <a:lnTo>
                    <a:pt x="102" y="487"/>
                  </a:lnTo>
                  <a:lnTo>
                    <a:pt x="101" y="487"/>
                  </a:lnTo>
                  <a:lnTo>
                    <a:pt x="101" y="487"/>
                  </a:lnTo>
                  <a:lnTo>
                    <a:pt x="101" y="487"/>
                  </a:lnTo>
                  <a:lnTo>
                    <a:pt x="100" y="486"/>
                  </a:lnTo>
                  <a:lnTo>
                    <a:pt x="100" y="486"/>
                  </a:lnTo>
                  <a:lnTo>
                    <a:pt x="99" y="485"/>
                  </a:lnTo>
                  <a:lnTo>
                    <a:pt x="98" y="485"/>
                  </a:lnTo>
                  <a:lnTo>
                    <a:pt x="97" y="483"/>
                  </a:lnTo>
                  <a:lnTo>
                    <a:pt x="97" y="482"/>
                  </a:lnTo>
                  <a:lnTo>
                    <a:pt x="96" y="482"/>
                  </a:lnTo>
                  <a:lnTo>
                    <a:pt x="96" y="481"/>
                  </a:lnTo>
                  <a:lnTo>
                    <a:pt x="94" y="478"/>
                  </a:lnTo>
                  <a:lnTo>
                    <a:pt x="94" y="478"/>
                  </a:lnTo>
                  <a:lnTo>
                    <a:pt x="94" y="477"/>
                  </a:lnTo>
                  <a:lnTo>
                    <a:pt x="93" y="476"/>
                  </a:lnTo>
                  <a:lnTo>
                    <a:pt x="93" y="476"/>
                  </a:lnTo>
                  <a:lnTo>
                    <a:pt x="91" y="475"/>
                  </a:lnTo>
                  <a:lnTo>
                    <a:pt x="90" y="474"/>
                  </a:lnTo>
                  <a:lnTo>
                    <a:pt x="90" y="473"/>
                  </a:lnTo>
                  <a:lnTo>
                    <a:pt x="89" y="472"/>
                  </a:lnTo>
                  <a:lnTo>
                    <a:pt x="89" y="471"/>
                  </a:lnTo>
                  <a:lnTo>
                    <a:pt x="88" y="471"/>
                  </a:lnTo>
                  <a:lnTo>
                    <a:pt x="88" y="468"/>
                  </a:lnTo>
                  <a:lnTo>
                    <a:pt x="87" y="464"/>
                  </a:lnTo>
                  <a:lnTo>
                    <a:pt x="86" y="462"/>
                  </a:lnTo>
                  <a:lnTo>
                    <a:pt x="85" y="461"/>
                  </a:lnTo>
                  <a:lnTo>
                    <a:pt x="85" y="460"/>
                  </a:lnTo>
                  <a:lnTo>
                    <a:pt x="84" y="459"/>
                  </a:lnTo>
                  <a:lnTo>
                    <a:pt x="83" y="458"/>
                  </a:lnTo>
                  <a:lnTo>
                    <a:pt x="83" y="457"/>
                  </a:lnTo>
                  <a:lnTo>
                    <a:pt x="83" y="456"/>
                  </a:lnTo>
                  <a:lnTo>
                    <a:pt x="82" y="455"/>
                  </a:lnTo>
                  <a:lnTo>
                    <a:pt x="81" y="454"/>
                  </a:lnTo>
                  <a:lnTo>
                    <a:pt x="81" y="453"/>
                  </a:lnTo>
                  <a:lnTo>
                    <a:pt x="79" y="452"/>
                  </a:lnTo>
                  <a:lnTo>
                    <a:pt x="78" y="451"/>
                  </a:lnTo>
                  <a:lnTo>
                    <a:pt x="78" y="450"/>
                  </a:lnTo>
                  <a:lnTo>
                    <a:pt x="77" y="448"/>
                  </a:lnTo>
                  <a:lnTo>
                    <a:pt x="76" y="447"/>
                  </a:lnTo>
                  <a:lnTo>
                    <a:pt x="76" y="446"/>
                  </a:lnTo>
                  <a:lnTo>
                    <a:pt x="75" y="445"/>
                  </a:lnTo>
                  <a:lnTo>
                    <a:pt x="74" y="444"/>
                  </a:lnTo>
                  <a:lnTo>
                    <a:pt x="73" y="443"/>
                  </a:lnTo>
                  <a:lnTo>
                    <a:pt x="73" y="443"/>
                  </a:lnTo>
                  <a:lnTo>
                    <a:pt x="72" y="442"/>
                  </a:lnTo>
                  <a:lnTo>
                    <a:pt x="71" y="442"/>
                  </a:lnTo>
                  <a:lnTo>
                    <a:pt x="69" y="442"/>
                  </a:lnTo>
                  <a:lnTo>
                    <a:pt x="67" y="441"/>
                  </a:lnTo>
                  <a:lnTo>
                    <a:pt x="65" y="441"/>
                  </a:lnTo>
                  <a:lnTo>
                    <a:pt x="64" y="441"/>
                  </a:lnTo>
                  <a:lnTo>
                    <a:pt x="63" y="441"/>
                  </a:lnTo>
                  <a:lnTo>
                    <a:pt x="62" y="441"/>
                  </a:lnTo>
                  <a:lnTo>
                    <a:pt x="61" y="441"/>
                  </a:lnTo>
                  <a:lnTo>
                    <a:pt x="59" y="441"/>
                  </a:lnTo>
                  <a:lnTo>
                    <a:pt x="58" y="442"/>
                  </a:lnTo>
                  <a:lnTo>
                    <a:pt x="56" y="443"/>
                  </a:lnTo>
                  <a:lnTo>
                    <a:pt x="55" y="444"/>
                  </a:lnTo>
                  <a:lnTo>
                    <a:pt x="54" y="445"/>
                  </a:lnTo>
                  <a:lnTo>
                    <a:pt x="52" y="446"/>
                  </a:lnTo>
                  <a:lnTo>
                    <a:pt x="51" y="448"/>
                  </a:lnTo>
                  <a:lnTo>
                    <a:pt x="50" y="448"/>
                  </a:lnTo>
                  <a:lnTo>
                    <a:pt x="50" y="448"/>
                  </a:lnTo>
                  <a:lnTo>
                    <a:pt x="50" y="449"/>
                  </a:lnTo>
                  <a:lnTo>
                    <a:pt x="50" y="449"/>
                  </a:lnTo>
                  <a:lnTo>
                    <a:pt x="50" y="449"/>
                  </a:lnTo>
                  <a:lnTo>
                    <a:pt x="50" y="450"/>
                  </a:lnTo>
                  <a:lnTo>
                    <a:pt x="51" y="450"/>
                  </a:lnTo>
                  <a:lnTo>
                    <a:pt x="51" y="451"/>
                  </a:lnTo>
                  <a:lnTo>
                    <a:pt x="52" y="452"/>
                  </a:lnTo>
                  <a:lnTo>
                    <a:pt x="52" y="452"/>
                  </a:lnTo>
                  <a:lnTo>
                    <a:pt x="52" y="453"/>
                  </a:lnTo>
                  <a:lnTo>
                    <a:pt x="53" y="453"/>
                  </a:lnTo>
                  <a:lnTo>
                    <a:pt x="58" y="458"/>
                  </a:lnTo>
                  <a:lnTo>
                    <a:pt x="58" y="458"/>
                  </a:lnTo>
                  <a:lnTo>
                    <a:pt x="59" y="459"/>
                  </a:lnTo>
                  <a:lnTo>
                    <a:pt x="59" y="460"/>
                  </a:lnTo>
                  <a:lnTo>
                    <a:pt x="59" y="461"/>
                  </a:lnTo>
                  <a:lnTo>
                    <a:pt x="60" y="462"/>
                  </a:lnTo>
                  <a:lnTo>
                    <a:pt x="60" y="463"/>
                  </a:lnTo>
                  <a:lnTo>
                    <a:pt x="61" y="464"/>
                  </a:lnTo>
                  <a:lnTo>
                    <a:pt x="62" y="466"/>
                  </a:lnTo>
                  <a:lnTo>
                    <a:pt x="62" y="467"/>
                  </a:lnTo>
                  <a:lnTo>
                    <a:pt x="63" y="468"/>
                  </a:lnTo>
                  <a:lnTo>
                    <a:pt x="63" y="469"/>
                  </a:lnTo>
                  <a:lnTo>
                    <a:pt x="63" y="469"/>
                  </a:lnTo>
                  <a:lnTo>
                    <a:pt x="63" y="470"/>
                  </a:lnTo>
                  <a:lnTo>
                    <a:pt x="63" y="471"/>
                  </a:lnTo>
                  <a:lnTo>
                    <a:pt x="63" y="471"/>
                  </a:lnTo>
                  <a:lnTo>
                    <a:pt x="63" y="472"/>
                  </a:lnTo>
                  <a:lnTo>
                    <a:pt x="63" y="472"/>
                  </a:lnTo>
                  <a:lnTo>
                    <a:pt x="62" y="473"/>
                  </a:lnTo>
                  <a:lnTo>
                    <a:pt x="61" y="475"/>
                  </a:lnTo>
                  <a:lnTo>
                    <a:pt x="60" y="476"/>
                  </a:lnTo>
                  <a:lnTo>
                    <a:pt x="59" y="478"/>
                  </a:lnTo>
                  <a:lnTo>
                    <a:pt x="58" y="481"/>
                  </a:lnTo>
                  <a:lnTo>
                    <a:pt x="58" y="483"/>
                  </a:lnTo>
                  <a:lnTo>
                    <a:pt x="57" y="484"/>
                  </a:lnTo>
                  <a:lnTo>
                    <a:pt x="56" y="485"/>
                  </a:lnTo>
                  <a:lnTo>
                    <a:pt x="56" y="486"/>
                  </a:lnTo>
                  <a:lnTo>
                    <a:pt x="54" y="487"/>
                  </a:lnTo>
                  <a:lnTo>
                    <a:pt x="53" y="488"/>
                  </a:lnTo>
                  <a:lnTo>
                    <a:pt x="52" y="489"/>
                  </a:lnTo>
                  <a:lnTo>
                    <a:pt x="51" y="490"/>
                  </a:lnTo>
                  <a:lnTo>
                    <a:pt x="50" y="490"/>
                  </a:lnTo>
                  <a:lnTo>
                    <a:pt x="49" y="491"/>
                  </a:lnTo>
                  <a:lnTo>
                    <a:pt x="48" y="491"/>
                  </a:lnTo>
                  <a:lnTo>
                    <a:pt x="47" y="491"/>
                  </a:lnTo>
                  <a:lnTo>
                    <a:pt x="46" y="491"/>
                  </a:lnTo>
                  <a:lnTo>
                    <a:pt x="45" y="490"/>
                  </a:lnTo>
                  <a:lnTo>
                    <a:pt x="43" y="490"/>
                  </a:lnTo>
                  <a:lnTo>
                    <a:pt x="42" y="489"/>
                  </a:lnTo>
                  <a:lnTo>
                    <a:pt x="40" y="488"/>
                  </a:lnTo>
                  <a:lnTo>
                    <a:pt x="37" y="485"/>
                  </a:lnTo>
                  <a:lnTo>
                    <a:pt x="35" y="484"/>
                  </a:lnTo>
                  <a:lnTo>
                    <a:pt x="34" y="483"/>
                  </a:lnTo>
                  <a:lnTo>
                    <a:pt x="34" y="483"/>
                  </a:lnTo>
                  <a:lnTo>
                    <a:pt x="32" y="481"/>
                  </a:lnTo>
                  <a:lnTo>
                    <a:pt x="32" y="481"/>
                  </a:lnTo>
                  <a:lnTo>
                    <a:pt x="31" y="480"/>
                  </a:lnTo>
                  <a:lnTo>
                    <a:pt x="31" y="480"/>
                  </a:lnTo>
                  <a:lnTo>
                    <a:pt x="31" y="479"/>
                  </a:lnTo>
                  <a:lnTo>
                    <a:pt x="31" y="478"/>
                  </a:lnTo>
                  <a:lnTo>
                    <a:pt x="31" y="477"/>
                  </a:lnTo>
                  <a:lnTo>
                    <a:pt x="31" y="477"/>
                  </a:lnTo>
                  <a:lnTo>
                    <a:pt x="31" y="476"/>
                  </a:lnTo>
                  <a:lnTo>
                    <a:pt x="32" y="475"/>
                  </a:lnTo>
                  <a:lnTo>
                    <a:pt x="32" y="475"/>
                  </a:lnTo>
                  <a:lnTo>
                    <a:pt x="32" y="474"/>
                  </a:lnTo>
                  <a:lnTo>
                    <a:pt x="32" y="474"/>
                  </a:lnTo>
                  <a:lnTo>
                    <a:pt x="33" y="473"/>
                  </a:lnTo>
                  <a:lnTo>
                    <a:pt x="35" y="471"/>
                  </a:lnTo>
                  <a:lnTo>
                    <a:pt x="36" y="471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9"/>
                  </a:lnTo>
                  <a:lnTo>
                    <a:pt x="37" y="469"/>
                  </a:lnTo>
                  <a:lnTo>
                    <a:pt x="37" y="468"/>
                  </a:lnTo>
                  <a:lnTo>
                    <a:pt x="36" y="467"/>
                  </a:lnTo>
                  <a:lnTo>
                    <a:pt x="36" y="466"/>
                  </a:lnTo>
                  <a:lnTo>
                    <a:pt x="35" y="465"/>
                  </a:lnTo>
                  <a:lnTo>
                    <a:pt x="35" y="464"/>
                  </a:lnTo>
                  <a:lnTo>
                    <a:pt x="34" y="463"/>
                  </a:lnTo>
                  <a:lnTo>
                    <a:pt x="32" y="460"/>
                  </a:lnTo>
                  <a:lnTo>
                    <a:pt x="31" y="459"/>
                  </a:lnTo>
                  <a:lnTo>
                    <a:pt x="31" y="458"/>
                  </a:lnTo>
                  <a:lnTo>
                    <a:pt x="30" y="457"/>
                  </a:lnTo>
                  <a:lnTo>
                    <a:pt x="30" y="456"/>
                  </a:lnTo>
                  <a:lnTo>
                    <a:pt x="29" y="453"/>
                  </a:lnTo>
                  <a:lnTo>
                    <a:pt x="28" y="449"/>
                  </a:lnTo>
                  <a:lnTo>
                    <a:pt x="27" y="446"/>
                  </a:lnTo>
                  <a:lnTo>
                    <a:pt x="27" y="445"/>
                  </a:lnTo>
                  <a:lnTo>
                    <a:pt x="27" y="443"/>
                  </a:lnTo>
                  <a:lnTo>
                    <a:pt x="27" y="442"/>
                  </a:lnTo>
                  <a:lnTo>
                    <a:pt x="27" y="440"/>
                  </a:lnTo>
                  <a:lnTo>
                    <a:pt x="27" y="439"/>
                  </a:lnTo>
                  <a:lnTo>
                    <a:pt x="27" y="437"/>
                  </a:lnTo>
                  <a:lnTo>
                    <a:pt x="27" y="436"/>
                  </a:lnTo>
                  <a:lnTo>
                    <a:pt x="28" y="435"/>
                  </a:lnTo>
                  <a:lnTo>
                    <a:pt x="30" y="432"/>
                  </a:lnTo>
                  <a:lnTo>
                    <a:pt x="30" y="431"/>
                  </a:lnTo>
                  <a:lnTo>
                    <a:pt x="32" y="429"/>
                  </a:lnTo>
                  <a:lnTo>
                    <a:pt x="32" y="428"/>
                  </a:lnTo>
                  <a:lnTo>
                    <a:pt x="33" y="428"/>
                  </a:lnTo>
                  <a:lnTo>
                    <a:pt x="34" y="427"/>
                  </a:lnTo>
                  <a:lnTo>
                    <a:pt x="34" y="426"/>
                  </a:lnTo>
                  <a:lnTo>
                    <a:pt x="35" y="426"/>
                  </a:lnTo>
                  <a:lnTo>
                    <a:pt x="35" y="425"/>
                  </a:lnTo>
                  <a:lnTo>
                    <a:pt x="36" y="425"/>
                  </a:lnTo>
                  <a:lnTo>
                    <a:pt x="36" y="425"/>
                  </a:lnTo>
                  <a:lnTo>
                    <a:pt x="36" y="424"/>
                  </a:lnTo>
                  <a:lnTo>
                    <a:pt x="35" y="424"/>
                  </a:lnTo>
                  <a:lnTo>
                    <a:pt x="35" y="424"/>
                  </a:lnTo>
                  <a:lnTo>
                    <a:pt x="34" y="424"/>
                  </a:lnTo>
                  <a:lnTo>
                    <a:pt x="32" y="423"/>
                  </a:lnTo>
                  <a:lnTo>
                    <a:pt x="30" y="423"/>
                  </a:lnTo>
                  <a:lnTo>
                    <a:pt x="29" y="423"/>
                  </a:lnTo>
                  <a:lnTo>
                    <a:pt x="27" y="423"/>
                  </a:lnTo>
                  <a:lnTo>
                    <a:pt x="25" y="422"/>
                  </a:lnTo>
                  <a:lnTo>
                    <a:pt x="21" y="421"/>
                  </a:lnTo>
                  <a:lnTo>
                    <a:pt x="18" y="420"/>
                  </a:lnTo>
                  <a:lnTo>
                    <a:pt x="15" y="419"/>
                  </a:lnTo>
                  <a:lnTo>
                    <a:pt x="15" y="419"/>
                  </a:lnTo>
                  <a:lnTo>
                    <a:pt x="14" y="419"/>
                  </a:lnTo>
                  <a:lnTo>
                    <a:pt x="14" y="418"/>
                  </a:lnTo>
                  <a:lnTo>
                    <a:pt x="13" y="418"/>
                  </a:lnTo>
                  <a:lnTo>
                    <a:pt x="13" y="418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3" y="416"/>
                  </a:lnTo>
                  <a:lnTo>
                    <a:pt x="13" y="415"/>
                  </a:lnTo>
                  <a:lnTo>
                    <a:pt x="13" y="413"/>
                  </a:lnTo>
                  <a:lnTo>
                    <a:pt x="13" y="412"/>
                  </a:lnTo>
                  <a:lnTo>
                    <a:pt x="13" y="411"/>
                  </a:lnTo>
                  <a:lnTo>
                    <a:pt x="12" y="408"/>
                  </a:lnTo>
                  <a:lnTo>
                    <a:pt x="12" y="407"/>
                  </a:lnTo>
                  <a:lnTo>
                    <a:pt x="12" y="406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4" y="403"/>
                  </a:lnTo>
                  <a:lnTo>
                    <a:pt x="14" y="402"/>
                  </a:lnTo>
                  <a:lnTo>
                    <a:pt x="15" y="402"/>
                  </a:lnTo>
                  <a:lnTo>
                    <a:pt x="15" y="402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3" y="404"/>
                  </a:lnTo>
                  <a:lnTo>
                    <a:pt x="24" y="404"/>
                  </a:lnTo>
                  <a:lnTo>
                    <a:pt x="25" y="404"/>
                  </a:lnTo>
                  <a:lnTo>
                    <a:pt x="25" y="404"/>
                  </a:lnTo>
                  <a:lnTo>
                    <a:pt x="25" y="403"/>
                  </a:lnTo>
                  <a:lnTo>
                    <a:pt x="26" y="403"/>
                  </a:lnTo>
                  <a:lnTo>
                    <a:pt x="26" y="403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8" y="397"/>
                  </a:lnTo>
                  <a:lnTo>
                    <a:pt x="29" y="396"/>
                  </a:lnTo>
                  <a:lnTo>
                    <a:pt x="29" y="395"/>
                  </a:lnTo>
                  <a:lnTo>
                    <a:pt x="29" y="394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0" y="389"/>
                  </a:lnTo>
                  <a:lnTo>
                    <a:pt x="31" y="386"/>
                  </a:lnTo>
                  <a:lnTo>
                    <a:pt x="32" y="384"/>
                  </a:lnTo>
                  <a:lnTo>
                    <a:pt x="32" y="382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80"/>
                  </a:lnTo>
                  <a:lnTo>
                    <a:pt x="31" y="377"/>
                  </a:lnTo>
                  <a:lnTo>
                    <a:pt x="30" y="375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3"/>
                  </a:lnTo>
                  <a:lnTo>
                    <a:pt x="30" y="371"/>
                  </a:lnTo>
                  <a:lnTo>
                    <a:pt x="30" y="370"/>
                  </a:lnTo>
                  <a:lnTo>
                    <a:pt x="30" y="369"/>
                  </a:lnTo>
                  <a:lnTo>
                    <a:pt x="31" y="368"/>
                  </a:lnTo>
                  <a:lnTo>
                    <a:pt x="31" y="367"/>
                  </a:lnTo>
                  <a:lnTo>
                    <a:pt x="32" y="366"/>
                  </a:lnTo>
                  <a:lnTo>
                    <a:pt x="33" y="365"/>
                  </a:lnTo>
                  <a:lnTo>
                    <a:pt x="33" y="364"/>
                  </a:lnTo>
                  <a:lnTo>
                    <a:pt x="36" y="361"/>
                  </a:lnTo>
                  <a:lnTo>
                    <a:pt x="38" y="358"/>
                  </a:lnTo>
                  <a:lnTo>
                    <a:pt x="39" y="357"/>
                  </a:lnTo>
                  <a:lnTo>
                    <a:pt x="39" y="356"/>
                  </a:lnTo>
                  <a:lnTo>
                    <a:pt x="39" y="356"/>
                  </a:lnTo>
                  <a:lnTo>
                    <a:pt x="40" y="355"/>
                  </a:lnTo>
                  <a:lnTo>
                    <a:pt x="40" y="353"/>
                  </a:lnTo>
                  <a:lnTo>
                    <a:pt x="41" y="352"/>
                  </a:lnTo>
                  <a:lnTo>
                    <a:pt x="41" y="350"/>
                  </a:lnTo>
                  <a:lnTo>
                    <a:pt x="41" y="348"/>
                  </a:lnTo>
                  <a:lnTo>
                    <a:pt x="41" y="347"/>
                  </a:lnTo>
                  <a:lnTo>
                    <a:pt x="41" y="346"/>
                  </a:lnTo>
                  <a:lnTo>
                    <a:pt x="40" y="342"/>
                  </a:lnTo>
                  <a:lnTo>
                    <a:pt x="40" y="341"/>
                  </a:lnTo>
                  <a:lnTo>
                    <a:pt x="40" y="340"/>
                  </a:lnTo>
                  <a:lnTo>
                    <a:pt x="40" y="339"/>
                  </a:lnTo>
                  <a:lnTo>
                    <a:pt x="39" y="338"/>
                  </a:lnTo>
                  <a:lnTo>
                    <a:pt x="39" y="338"/>
                  </a:lnTo>
                  <a:lnTo>
                    <a:pt x="38" y="337"/>
                  </a:lnTo>
                  <a:lnTo>
                    <a:pt x="38" y="336"/>
                  </a:lnTo>
                  <a:lnTo>
                    <a:pt x="37" y="336"/>
                  </a:lnTo>
                  <a:lnTo>
                    <a:pt x="36" y="335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4" y="334"/>
                  </a:lnTo>
                  <a:lnTo>
                    <a:pt x="31" y="334"/>
                  </a:lnTo>
                  <a:lnTo>
                    <a:pt x="30" y="333"/>
                  </a:lnTo>
                  <a:lnTo>
                    <a:pt x="29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7" y="333"/>
                  </a:lnTo>
                  <a:lnTo>
                    <a:pt x="27" y="333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1"/>
                  </a:lnTo>
                  <a:lnTo>
                    <a:pt x="27" y="330"/>
                  </a:lnTo>
                  <a:lnTo>
                    <a:pt x="28" y="328"/>
                  </a:lnTo>
                  <a:lnTo>
                    <a:pt x="28" y="327"/>
                  </a:lnTo>
                  <a:lnTo>
                    <a:pt x="28" y="326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8" y="324"/>
                  </a:lnTo>
                  <a:lnTo>
                    <a:pt x="27" y="321"/>
                  </a:lnTo>
                  <a:lnTo>
                    <a:pt x="26" y="321"/>
                  </a:lnTo>
                  <a:lnTo>
                    <a:pt x="26" y="320"/>
                  </a:lnTo>
                  <a:lnTo>
                    <a:pt x="26" y="317"/>
                  </a:lnTo>
                  <a:lnTo>
                    <a:pt x="26" y="316"/>
                  </a:lnTo>
                  <a:lnTo>
                    <a:pt x="25" y="315"/>
                  </a:lnTo>
                  <a:lnTo>
                    <a:pt x="25" y="314"/>
                  </a:lnTo>
                  <a:lnTo>
                    <a:pt x="24" y="314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7" y="305"/>
                  </a:lnTo>
                  <a:lnTo>
                    <a:pt x="16" y="304"/>
                  </a:lnTo>
                  <a:lnTo>
                    <a:pt x="15" y="302"/>
                  </a:lnTo>
                  <a:lnTo>
                    <a:pt x="15" y="300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12" y="294"/>
                  </a:lnTo>
                  <a:lnTo>
                    <a:pt x="12" y="293"/>
                  </a:lnTo>
                  <a:lnTo>
                    <a:pt x="12" y="292"/>
                  </a:lnTo>
                  <a:lnTo>
                    <a:pt x="11" y="291"/>
                  </a:lnTo>
                  <a:lnTo>
                    <a:pt x="9" y="288"/>
                  </a:lnTo>
                  <a:lnTo>
                    <a:pt x="8" y="287"/>
                  </a:lnTo>
                  <a:lnTo>
                    <a:pt x="8" y="286"/>
                  </a:lnTo>
                  <a:lnTo>
                    <a:pt x="8" y="285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6"/>
                  </a:lnTo>
                  <a:lnTo>
                    <a:pt x="9" y="275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2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8"/>
                  </a:lnTo>
                  <a:lnTo>
                    <a:pt x="13" y="267"/>
                  </a:lnTo>
                  <a:lnTo>
                    <a:pt x="13" y="266"/>
                  </a:lnTo>
                  <a:lnTo>
                    <a:pt x="13" y="266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2" y="260"/>
                  </a:lnTo>
                  <a:lnTo>
                    <a:pt x="12" y="258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7"/>
                  </a:lnTo>
                  <a:lnTo>
                    <a:pt x="10" y="246"/>
                  </a:lnTo>
                  <a:lnTo>
                    <a:pt x="9" y="241"/>
                  </a:lnTo>
                  <a:lnTo>
                    <a:pt x="7" y="236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5" y="230"/>
                  </a:lnTo>
                  <a:lnTo>
                    <a:pt x="4" y="225"/>
                  </a:lnTo>
                  <a:lnTo>
                    <a:pt x="4" y="223"/>
                  </a:lnTo>
                  <a:lnTo>
                    <a:pt x="3" y="220"/>
                  </a:lnTo>
                  <a:lnTo>
                    <a:pt x="1" y="216"/>
                  </a:lnTo>
                  <a:lnTo>
                    <a:pt x="1" y="215"/>
                  </a:lnTo>
                  <a:lnTo>
                    <a:pt x="1" y="214"/>
                  </a:lnTo>
                  <a:lnTo>
                    <a:pt x="0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1" y="210"/>
                  </a:lnTo>
                  <a:lnTo>
                    <a:pt x="1" y="210"/>
                  </a:lnTo>
                  <a:lnTo>
                    <a:pt x="2" y="210"/>
                  </a:lnTo>
                  <a:lnTo>
                    <a:pt x="2" y="210"/>
                  </a:lnTo>
                  <a:lnTo>
                    <a:pt x="3" y="209"/>
                  </a:lnTo>
                  <a:lnTo>
                    <a:pt x="4" y="209"/>
                  </a:lnTo>
                  <a:lnTo>
                    <a:pt x="5" y="209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0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3" y="205"/>
                  </a:lnTo>
                  <a:lnTo>
                    <a:pt x="14" y="204"/>
                  </a:lnTo>
                  <a:lnTo>
                    <a:pt x="15" y="203"/>
                  </a:lnTo>
                  <a:lnTo>
                    <a:pt x="15" y="202"/>
                  </a:lnTo>
                  <a:lnTo>
                    <a:pt x="18" y="199"/>
                  </a:lnTo>
                  <a:lnTo>
                    <a:pt x="19" y="198"/>
                  </a:lnTo>
                  <a:lnTo>
                    <a:pt x="22" y="196"/>
                  </a:lnTo>
                  <a:lnTo>
                    <a:pt x="23" y="194"/>
                  </a:lnTo>
                  <a:lnTo>
                    <a:pt x="24" y="194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2"/>
                  </a:lnTo>
                  <a:lnTo>
                    <a:pt x="26" y="191"/>
                  </a:lnTo>
                  <a:lnTo>
                    <a:pt x="26" y="190"/>
                  </a:lnTo>
                  <a:lnTo>
                    <a:pt x="27" y="189"/>
                  </a:lnTo>
                  <a:lnTo>
                    <a:pt x="27" y="188"/>
                  </a:lnTo>
                  <a:lnTo>
                    <a:pt x="27" y="187"/>
                  </a:lnTo>
                  <a:lnTo>
                    <a:pt x="27" y="185"/>
                  </a:lnTo>
                  <a:lnTo>
                    <a:pt x="26" y="182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0"/>
                  </a:lnTo>
                  <a:lnTo>
                    <a:pt x="27" y="169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6"/>
                  </a:lnTo>
                  <a:lnTo>
                    <a:pt x="27" y="162"/>
                  </a:lnTo>
                  <a:lnTo>
                    <a:pt x="27" y="161"/>
                  </a:lnTo>
                  <a:lnTo>
                    <a:pt x="27" y="160"/>
                  </a:lnTo>
                  <a:lnTo>
                    <a:pt x="27" y="159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30" y="150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4" y="143"/>
                  </a:lnTo>
                  <a:lnTo>
                    <a:pt x="36" y="135"/>
                  </a:lnTo>
                  <a:lnTo>
                    <a:pt x="38" y="132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40" y="125"/>
                  </a:lnTo>
                  <a:lnTo>
                    <a:pt x="40" y="123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4" y="114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9" y="108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5" y="105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3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1"/>
                  </a:lnTo>
                  <a:lnTo>
                    <a:pt x="69" y="100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6" y="99"/>
                  </a:lnTo>
                  <a:lnTo>
                    <a:pt x="79" y="102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1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3"/>
                  </a:lnTo>
                  <a:lnTo>
                    <a:pt x="85" y="103"/>
                  </a:lnTo>
                  <a:lnTo>
                    <a:pt x="85" y="102"/>
                  </a:lnTo>
                  <a:lnTo>
                    <a:pt x="86" y="102"/>
                  </a:lnTo>
                  <a:lnTo>
                    <a:pt x="86" y="101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6" y="97"/>
                  </a:lnTo>
                  <a:lnTo>
                    <a:pt x="85" y="94"/>
                  </a:lnTo>
                  <a:lnTo>
                    <a:pt x="85" y="92"/>
                  </a:lnTo>
                  <a:lnTo>
                    <a:pt x="84" y="91"/>
                  </a:lnTo>
                  <a:lnTo>
                    <a:pt x="84" y="89"/>
                  </a:lnTo>
                  <a:lnTo>
                    <a:pt x="84" y="88"/>
                  </a:lnTo>
                  <a:lnTo>
                    <a:pt x="84" y="87"/>
                  </a:lnTo>
                  <a:lnTo>
                    <a:pt x="85" y="83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5" y="78"/>
                  </a:lnTo>
                  <a:lnTo>
                    <a:pt x="84" y="77"/>
                  </a:lnTo>
                  <a:lnTo>
                    <a:pt x="84" y="75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79" y="68"/>
                  </a:lnTo>
                  <a:lnTo>
                    <a:pt x="78" y="67"/>
                  </a:lnTo>
                  <a:lnTo>
                    <a:pt x="77" y="66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68" y="62"/>
                  </a:lnTo>
                  <a:lnTo>
                    <a:pt x="67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1" y="54"/>
                  </a:lnTo>
                  <a:lnTo>
                    <a:pt x="59" y="49"/>
                  </a:lnTo>
                  <a:lnTo>
                    <a:pt x="57" y="44"/>
                  </a:lnTo>
                  <a:lnTo>
                    <a:pt x="56" y="42"/>
                  </a:lnTo>
                  <a:lnTo>
                    <a:pt x="55" y="40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3" y="32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8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4" y="6"/>
                  </a:lnTo>
                  <a:lnTo>
                    <a:pt x="45" y="5"/>
                  </a:lnTo>
                  <a:lnTo>
                    <a:pt x="46" y="4"/>
                  </a:lnTo>
                  <a:lnTo>
                    <a:pt x="47" y="3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9" y="5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0" y="12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6" y="14"/>
                  </a:lnTo>
                  <a:lnTo>
                    <a:pt x="92" y="16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8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3" y="22"/>
                  </a:lnTo>
                  <a:lnTo>
                    <a:pt x="113" y="23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5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8" y="31"/>
                  </a:lnTo>
                  <a:lnTo>
                    <a:pt x="140" y="35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3" y="40"/>
                  </a:lnTo>
                  <a:lnTo>
                    <a:pt x="144" y="41"/>
                  </a:lnTo>
                  <a:lnTo>
                    <a:pt x="145" y="43"/>
                  </a:lnTo>
                  <a:lnTo>
                    <a:pt x="146" y="44"/>
                  </a:lnTo>
                  <a:lnTo>
                    <a:pt x="147" y="45"/>
                  </a:lnTo>
                  <a:lnTo>
                    <a:pt x="148" y="46"/>
                  </a:lnTo>
                  <a:lnTo>
                    <a:pt x="149" y="47"/>
                  </a:lnTo>
                  <a:lnTo>
                    <a:pt x="151" y="49"/>
                  </a:lnTo>
                  <a:lnTo>
                    <a:pt x="153" y="50"/>
                  </a:lnTo>
                  <a:lnTo>
                    <a:pt x="154" y="51"/>
                  </a:lnTo>
                  <a:lnTo>
                    <a:pt x="155" y="52"/>
                  </a:lnTo>
                  <a:lnTo>
                    <a:pt x="156" y="52"/>
                  </a:lnTo>
                  <a:lnTo>
                    <a:pt x="158" y="53"/>
                  </a:lnTo>
                  <a:lnTo>
                    <a:pt x="160" y="54"/>
                  </a:lnTo>
                  <a:lnTo>
                    <a:pt x="161" y="54"/>
                  </a:lnTo>
                  <a:lnTo>
                    <a:pt x="162" y="55"/>
                  </a:lnTo>
                  <a:lnTo>
                    <a:pt x="163" y="55"/>
                  </a:lnTo>
                  <a:lnTo>
                    <a:pt x="164" y="55"/>
                  </a:lnTo>
                  <a:lnTo>
                    <a:pt x="165" y="55"/>
                  </a:lnTo>
                  <a:lnTo>
                    <a:pt x="166" y="56"/>
                  </a:lnTo>
                  <a:lnTo>
                    <a:pt x="167" y="56"/>
                  </a:lnTo>
                  <a:lnTo>
                    <a:pt x="169" y="56"/>
                  </a:lnTo>
                  <a:close/>
                </a:path>
              </a:pathLst>
            </a:custGeom>
            <a:solidFill>
              <a:srgbClr val="8282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" name="Freeform 70">
              <a:extLst>
                <a:ext uri="{FF2B5EF4-FFF2-40B4-BE49-F238E27FC236}">
                  <a16:creationId xmlns:a16="http://schemas.microsoft.com/office/drawing/2014/main" id="{24B96DA3-7900-963F-3B4E-AD97F96C99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5" y="3194"/>
              <a:ext cx="334" cy="487"/>
            </a:xfrm>
            <a:custGeom>
              <a:avLst/>
              <a:gdLst>
                <a:gd name="T0" fmla="*/ 152 w 334"/>
                <a:gd name="T1" fmla="*/ 7 h 487"/>
                <a:gd name="T2" fmla="*/ 155 w 334"/>
                <a:gd name="T3" fmla="*/ 25 h 487"/>
                <a:gd name="T4" fmla="*/ 171 w 334"/>
                <a:gd name="T5" fmla="*/ 23 h 487"/>
                <a:gd name="T6" fmla="*/ 175 w 334"/>
                <a:gd name="T7" fmla="*/ 47 h 487"/>
                <a:gd name="T8" fmla="*/ 162 w 334"/>
                <a:gd name="T9" fmla="*/ 51 h 487"/>
                <a:gd name="T10" fmla="*/ 140 w 334"/>
                <a:gd name="T11" fmla="*/ 69 h 487"/>
                <a:gd name="T12" fmla="*/ 123 w 334"/>
                <a:gd name="T13" fmla="*/ 96 h 487"/>
                <a:gd name="T14" fmla="*/ 118 w 334"/>
                <a:gd name="T15" fmla="*/ 127 h 487"/>
                <a:gd name="T16" fmla="*/ 102 w 334"/>
                <a:gd name="T17" fmla="*/ 158 h 487"/>
                <a:gd name="T18" fmla="*/ 112 w 334"/>
                <a:gd name="T19" fmla="*/ 174 h 487"/>
                <a:gd name="T20" fmla="*/ 104 w 334"/>
                <a:gd name="T21" fmla="*/ 193 h 487"/>
                <a:gd name="T22" fmla="*/ 102 w 334"/>
                <a:gd name="T23" fmla="*/ 212 h 487"/>
                <a:gd name="T24" fmla="*/ 119 w 334"/>
                <a:gd name="T25" fmla="*/ 219 h 487"/>
                <a:gd name="T26" fmla="*/ 120 w 334"/>
                <a:gd name="T27" fmla="*/ 232 h 487"/>
                <a:gd name="T28" fmla="*/ 138 w 334"/>
                <a:gd name="T29" fmla="*/ 226 h 487"/>
                <a:gd name="T30" fmla="*/ 161 w 334"/>
                <a:gd name="T31" fmla="*/ 215 h 487"/>
                <a:gd name="T32" fmla="*/ 164 w 334"/>
                <a:gd name="T33" fmla="*/ 234 h 487"/>
                <a:gd name="T34" fmla="*/ 173 w 334"/>
                <a:gd name="T35" fmla="*/ 239 h 487"/>
                <a:gd name="T36" fmla="*/ 184 w 334"/>
                <a:gd name="T37" fmla="*/ 228 h 487"/>
                <a:gd name="T38" fmla="*/ 192 w 334"/>
                <a:gd name="T39" fmla="*/ 222 h 487"/>
                <a:gd name="T40" fmla="*/ 195 w 334"/>
                <a:gd name="T41" fmla="*/ 210 h 487"/>
                <a:gd name="T42" fmla="*/ 204 w 334"/>
                <a:gd name="T43" fmla="*/ 234 h 487"/>
                <a:gd name="T44" fmla="*/ 214 w 334"/>
                <a:gd name="T45" fmla="*/ 252 h 487"/>
                <a:gd name="T46" fmla="*/ 238 w 334"/>
                <a:gd name="T47" fmla="*/ 263 h 487"/>
                <a:gd name="T48" fmla="*/ 260 w 334"/>
                <a:gd name="T49" fmla="*/ 258 h 487"/>
                <a:gd name="T50" fmla="*/ 262 w 334"/>
                <a:gd name="T51" fmla="*/ 280 h 487"/>
                <a:gd name="T52" fmla="*/ 269 w 334"/>
                <a:gd name="T53" fmla="*/ 298 h 487"/>
                <a:gd name="T54" fmla="*/ 280 w 334"/>
                <a:gd name="T55" fmla="*/ 298 h 487"/>
                <a:gd name="T56" fmla="*/ 302 w 334"/>
                <a:gd name="T57" fmla="*/ 320 h 487"/>
                <a:gd name="T58" fmla="*/ 315 w 334"/>
                <a:gd name="T59" fmla="*/ 345 h 487"/>
                <a:gd name="T60" fmla="*/ 323 w 334"/>
                <a:gd name="T61" fmla="*/ 347 h 487"/>
                <a:gd name="T62" fmla="*/ 334 w 334"/>
                <a:gd name="T63" fmla="*/ 358 h 487"/>
                <a:gd name="T64" fmla="*/ 325 w 334"/>
                <a:gd name="T65" fmla="*/ 369 h 487"/>
                <a:gd name="T66" fmla="*/ 309 w 334"/>
                <a:gd name="T67" fmla="*/ 373 h 487"/>
                <a:gd name="T68" fmla="*/ 298 w 334"/>
                <a:gd name="T69" fmla="*/ 392 h 487"/>
                <a:gd name="T70" fmla="*/ 280 w 334"/>
                <a:gd name="T71" fmla="*/ 406 h 487"/>
                <a:gd name="T72" fmla="*/ 264 w 334"/>
                <a:gd name="T73" fmla="*/ 398 h 487"/>
                <a:gd name="T74" fmla="*/ 253 w 334"/>
                <a:gd name="T75" fmla="*/ 402 h 487"/>
                <a:gd name="T76" fmla="*/ 254 w 334"/>
                <a:gd name="T77" fmla="*/ 415 h 487"/>
                <a:gd name="T78" fmla="*/ 244 w 334"/>
                <a:gd name="T79" fmla="*/ 425 h 487"/>
                <a:gd name="T80" fmla="*/ 224 w 334"/>
                <a:gd name="T81" fmla="*/ 424 h 487"/>
                <a:gd name="T82" fmla="*/ 212 w 334"/>
                <a:gd name="T83" fmla="*/ 436 h 487"/>
                <a:gd name="T84" fmla="*/ 196 w 334"/>
                <a:gd name="T85" fmla="*/ 438 h 487"/>
                <a:gd name="T86" fmla="*/ 175 w 334"/>
                <a:gd name="T87" fmla="*/ 433 h 487"/>
                <a:gd name="T88" fmla="*/ 168 w 334"/>
                <a:gd name="T89" fmla="*/ 424 h 487"/>
                <a:gd name="T90" fmla="*/ 165 w 334"/>
                <a:gd name="T91" fmla="*/ 445 h 487"/>
                <a:gd name="T92" fmla="*/ 157 w 334"/>
                <a:gd name="T93" fmla="*/ 462 h 487"/>
                <a:gd name="T94" fmla="*/ 134 w 334"/>
                <a:gd name="T95" fmla="*/ 476 h 487"/>
                <a:gd name="T96" fmla="*/ 113 w 334"/>
                <a:gd name="T97" fmla="*/ 487 h 487"/>
                <a:gd name="T98" fmla="*/ 102 w 334"/>
                <a:gd name="T99" fmla="*/ 465 h 487"/>
                <a:gd name="T100" fmla="*/ 76 w 334"/>
                <a:gd name="T101" fmla="*/ 451 h 487"/>
                <a:gd name="T102" fmla="*/ 76 w 334"/>
                <a:gd name="T103" fmla="*/ 431 h 487"/>
                <a:gd name="T104" fmla="*/ 70 w 334"/>
                <a:gd name="T105" fmla="*/ 433 h 487"/>
                <a:gd name="T106" fmla="*/ 58 w 334"/>
                <a:gd name="T107" fmla="*/ 418 h 487"/>
                <a:gd name="T108" fmla="*/ 47 w 334"/>
                <a:gd name="T109" fmla="*/ 396 h 487"/>
                <a:gd name="T110" fmla="*/ 28 w 334"/>
                <a:gd name="T111" fmla="*/ 387 h 487"/>
                <a:gd name="T112" fmla="*/ 21 w 334"/>
                <a:gd name="T113" fmla="*/ 399 h 487"/>
                <a:gd name="T114" fmla="*/ 32 w 334"/>
                <a:gd name="T115" fmla="*/ 417 h 487"/>
                <a:gd name="T116" fmla="*/ 18 w 334"/>
                <a:gd name="T117" fmla="*/ 437 h 487"/>
                <a:gd name="T118" fmla="*/ 0 w 334"/>
                <a:gd name="T119" fmla="*/ 424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4" h="487">
                  <a:moveTo>
                    <a:pt x="138" y="2"/>
                  </a:moveTo>
                  <a:lnTo>
                    <a:pt x="139" y="1"/>
                  </a:lnTo>
                  <a:lnTo>
                    <a:pt x="140" y="1"/>
                  </a:lnTo>
                  <a:lnTo>
                    <a:pt x="141" y="1"/>
                  </a:lnTo>
                  <a:lnTo>
                    <a:pt x="145" y="0"/>
                  </a:lnTo>
                  <a:lnTo>
                    <a:pt x="146" y="0"/>
                  </a:lnTo>
                  <a:lnTo>
                    <a:pt x="147" y="0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9" y="1"/>
                  </a:lnTo>
                  <a:lnTo>
                    <a:pt x="150" y="1"/>
                  </a:lnTo>
                  <a:lnTo>
                    <a:pt x="150" y="2"/>
                  </a:lnTo>
                  <a:lnTo>
                    <a:pt x="151" y="4"/>
                  </a:lnTo>
                  <a:lnTo>
                    <a:pt x="152" y="7"/>
                  </a:lnTo>
                  <a:lnTo>
                    <a:pt x="152" y="8"/>
                  </a:lnTo>
                  <a:lnTo>
                    <a:pt x="152" y="8"/>
                  </a:lnTo>
                  <a:lnTo>
                    <a:pt x="152" y="9"/>
                  </a:lnTo>
                  <a:lnTo>
                    <a:pt x="152" y="10"/>
                  </a:lnTo>
                  <a:lnTo>
                    <a:pt x="151" y="18"/>
                  </a:lnTo>
                  <a:lnTo>
                    <a:pt x="151" y="19"/>
                  </a:lnTo>
                  <a:lnTo>
                    <a:pt x="152" y="20"/>
                  </a:lnTo>
                  <a:lnTo>
                    <a:pt x="152" y="22"/>
                  </a:lnTo>
                  <a:lnTo>
                    <a:pt x="152" y="23"/>
                  </a:lnTo>
                  <a:lnTo>
                    <a:pt x="153" y="23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5"/>
                  </a:lnTo>
                  <a:lnTo>
                    <a:pt x="155" y="25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8" y="23"/>
                  </a:lnTo>
                  <a:lnTo>
                    <a:pt x="159" y="22"/>
                  </a:lnTo>
                  <a:lnTo>
                    <a:pt x="159" y="22"/>
                  </a:lnTo>
                  <a:lnTo>
                    <a:pt x="160" y="21"/>
                  </a:lnTo>
                  <a:lnTo>
                    <a:pt x="161" y="21"/>
                  </a:lnTo>
                  <a:lnTo>
                    <a:pt x="161" y="21"/>
                  </a:lnTo>
                  <a:lnTo>
                    <a:pt x="163" y="21"/>
                  </a:lnTo>
                  <a:lnTo>
                    <a:pt x="163" y="20"/>
                  </a:lnTo>
                  <a:lnTo>
                    <a:pt x="164" y="20"/>
                  </a:lnTo>
                  <a:lnTo>
                    <a:pt x="166" y="21"/>
                  </a:lnTo>
                  <a:lnTo>
                    <a:pt x="167" y="21"/>
                  </a:lnTo>
                  <a:lnTo>
                    <a:pt x="168" y="21"/>
                  </a:lnTo>
                  <a:lnTo>
                    <a:pt x="169" y="22"/>
                  </a:lnTo>
                  <a:lnTo>
                    <a:pt x="170" y="22"/>
                  </a:lnTo>
                  <a:lnTo>
                    <a:pt x="171" y="23"/>
                  </a:lnTo>
                  <a:lnTo>
                    <a:pt x="172" y="23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4" y="25"/>
                  </a:lnTo>
                  <a:lnTo>
                    <a:pt x="175" y="26"/>
                  </a:lnTo>
                  <a:lnTo>
                    <a:pt x="175" y="27"/>
                  </a:lnTo>
                  <a:lnTo>
                    <a:pt x="176" y="28"/>
                  </a:lnTo>
                  <a:lnTo>
                    <a:pt x="176" y="28"/>
                  </a:lnTo>
                  <a:lnTo>
                    <a:pt x="177" y="29"/>
                  </a:lnTo>
                  <a:lnTo>
                    <a:pt x="177" y="30"/>
                  </a:lnTo>
                  <a:lnTo>
                    <a:pt x="177" y="31"/>
                  </a:lnTo>
                  <a:lnTo>
                    <a:pt x="177" y="31"/>
                  </a:lnTo>
                  <a:lnTo>
                    <a:pt x="177" y="40"/>
                  </a:lnTo>
                  <a:lnTo>
                    <a:pt x="176" y="43"/>
                  </a:lnTo>
                  <a:lnTo>
                    <a:pt x="176" y="44"/>
                  </a:lnTo>
                  <a:lnTo>
                    <a:pt x="176" y="46"/>
                  </a:lnTo>
                  <a:lnTo>
                    <a:pt x="175" y="47"/>
                  </a:lnTo>
                  <a:lnTo>
                    <a:pt x="175" y="48"/>
                  </a:lnTo>
                  <a:lnTo>
                    <a:pt x="175" y="49"/>
                  </a:lnTo>
                  <a:lnTo>
                    <a:pt x="174" y="50"/>
                  </a:lnTo>
                  <a:lnTo>
                    <a:pt x="174" y="50"/>
                  </a:lnTo>
                  <a:lnTo>
                    <a:pt x="173" y="50"/>
                  </a:lnTo>
                  <a:lnTo>
                    <a:pt x="173" y="51"/>
                  </a:lnTo>
                  <a:lnTo>
                    <a:pt x="172" y="51"/>
                  </a:lnTo>
                  <a:lnTo>
                    <a:pt x="171" y="51"/>
                  </a:lnTo>
                  <a:lnTo>
                    <a:pt x="170" y="51"/>
                  </a:lnTo>
                  <a:lnTo>
                    <a:pt x="170" y="51"/>
                  </a:lnTo>
                  <a:lnTo>
                    <a:pt x="168" y="51"/>
                  </a:lnTo>
                  <a:lnTo>
                    <a:pt x="167" y="51"/>
                  </a:lnTo>
                  <a:lnTo>
                    <a:pt x="166" y="50"/>
                  </a:lnTo>
                  <a:lnTo>
                    <a:pt x="164" y="50"/>
                  </a:lnTo>
                  <a:lnTo>
                    <a:pt x="163" y="50"/>
                  </a:lnTo>
                  <a:lnTo>
                    <a:pt x="163" y="50"/>
                  </a:lnTo>
                  <a:lnTo>
                    <a:pt x="162" y="51"/>
                  </a:lnTo>
                  <a:lnTo>
                    <a:pt x="162" y="51"/>
                  </a:lnTo>
                  <a:lnTo>
                    <a:pt x="160" y="52"/>
                  </a:lnTo>
                  <a:lnTo>
                    <a:pt x="159" y="53"/>
                  </a:lnTo>
                  <a:lnTo>
                    <a:pt x="158" y="55"/>
                  </a:lnTo>
                  <a:lnTo>
                    <a:pt x="154" y="59"/>
                  </a:lnTo>
                  <a:lnTo>
                    <a:pt x="153" y="60"/>
                  </a:lnTo>
                  <a:lnTo>
                    <a:pt x="152" y="61"/>
                  </a:lnTo>
                  <a:lnTo>
                    <a:pt x="151" y="61"/>
                  </a:lnTo>
                  <a:lnTo>
                    <a:pt x="150" y="62"/>
                  </a:lnTo>
                  <a:lnTo>
                    <a:pt x="149" y="62"/>
                  </a:lnTo>
                  <a:lnTo>
                    <a:pt x="147" y="63"/>
                  </a:lnTo>
                  <a:lnTo>
                    <a:pt x="146" y="64"/>
                  </a:lnTo>
                  <a:lnTo>
                    <a:pt x="145" y="64"/>
                  </a:lnTo>
                  <a:lnTo>
                    <a:pt x="144" y="65"/>
                  </a:lnTo>
                  <a:lnTo>
                    <a:pt x="143" y="66"/>
                  </a:lnTo>
                  <a:lnTo>
                    <a:pt x="142" y="66"/>
                  </a:lnTo>
                  <a:lnTo>
                    <a:pt x="140" y="69"/>
                  </a:lnTo>
                  <a:lnTo>
                    <a:pt x="139" y="69"/>
                  </a:lnTo>
                  <a:lnTo>
                    <a:pt x="138" y="70"/>
                  </a:lnTo>
                  <a:lnTo>
                    <a:pt x="136" y="72"/>
                  </a:lnTo>
                  <a:lnTo>
                    <a:pt x="135" y="72"/>
                  </a:lnTo>
                  <a:lnTo>
                    <a:pt x="134" y="74"/>
                  </a:lnTo>
                  <a:lnTo>
                    <a:pt x="132" y="76"/>
                  </a:lnTo>
                  <a:lnTo>
                    <a:pt x="127" y="82"/>
                  </a:lnTo>
                  <a:lnTo>
                    <a:pt x="125" y="84"/>
                  </a:lnTo>
                  <a:lnTo>
                    <a:pt x="125" y="85"/>
                  </a:lnTo>
                  <a:lnTo>
                    <a:pt x="124" y="86"/>
                  </a:lnTo>
                  <a:lnTo>
                    <a:pt x="124" y="87"/>
                  </a:lnTo>
                  <a:lnTo>
                    <a:pt x="124" y="88"/>
                  </a:lnTo>
                  <a:lnTo>
                    <a:pt x="124" y="91"/>
                  </a:lnTo>
                  <a:lnTo>
                    <a:pt x="123" y="93"/>
                  </a:lnTo>
                  <a:lnTo>
                    <a:pt x="123" y="94"/>
                  </a:lnTo>
                  <a:lnTo>
                    <a:pt x="123" y="95"/>
                  </a:lnTo>
                  <a:lnTo>
                    <a:pt x="123" y="96"/>
                  </a:lnTo>
                  <a:lnTo>
                    <a:pt x="122" y="97"/>
                  </a:lnTo>
                  <a:lnTo>
                    <a:pt x="121" y="101"/>
                  </a:lnTo>
                  <a:lnTo>
                    <a:pt x="120" y="102"/>
                  </a:lnTo>
                  <a:lnTo>
                    <a:pt x="120" y="103"/>
                  </a:lnTo>
                  <a:lnTo>
                    <a:pt x="119" y="104"/>
                  </a:lnTo>
                  <a:lnTo>
                    <a:pt x="119" y="106"/>
                  </a:lnTo>
                  <a:lnTo>
                    <a:pt x="119" y="107"/>
                  </a:lnTo>
                  <a:lnTo>
                    <a:pt x="120" y="112"/>
                  </a:lnTo>
                  <a:lnTo>
                    <a:pt x="120" y="116"/>
                  </a:lnTo>
                  <a:lnTo>
                    <a:pt x="120" y="118"/>
                  </a:lnTo>
                  <a:lnTo>
                    <a:pt x="120" y="120"/>
                  </a:lnTo>
                  <a:lnTo>
                    <a:pt x="120" y="121"/>
                  </a:lnTo>
                  <a:lnTo>
                    <a:pt x="119" y="122"/>
                  </a:lnTo>
                  <a:lnTo>
                    <a:pt x="119" y="124"/>
                  </a:lnTo>
                  <a:lnTo>
                    <a:pt x="119" y="125"/>
                  </a:lnTo>
                  <a:lnTo>
                    <a:pt x="118" y="126"/>
                  </a:lnTo>
                  <a:lnTo>
                    <a:pt x="118" y="127"/>
                  </a:lnTo>
                  <a:lnTo>
                    <a:pt x="117" y="128"/>
                  </a:lnTo>
                  <a:lnTo>
                    <a:pt x="116" y="130"/>
                  </a:lnTo>
                  <a:lnTo>
                    <a:pt x="115" y="130"/>
                  </a:lnTo>
                  <a:lnTo>
                    <a:pt x="110" y="137"/>
                  </a:lnTo>
                  <a:lnTo>
                    <a:pt x="109" y="138"/>
                  </a:lnTo>
                  <a:lnTo>
                    <a:pt x="108" y="140"/>
                  </a:lnTo>
                  <a:lnTo>
                    <a:pt x="107" y="141"/>
                  </a:lnTo>
                  <a:lnTo>
                    <a:pt x="106" y="143"/>
                  </a:lnTo>
                  <a:lnTo>
                    <a:pt x="105" y="145"/>
                  </a:lnTo>
                  <a:lnTo>
                    <a:pt x="104" y="146"/>
                  </a:lnTo>
                  <a:lnTo>
                    <a:pt x="104" y="147"/>
                  </a:lnTo>
                  <a:lnTo>
                    <a:pt x="104" y="148"/>
                  </a:lnTo>
                  <a:lnTo>
                    <a:pt x="104" y="149"/>
                  </a:lnTo>
                  <a:lnTo>
                    <a:pt x="103" y="150"/>
                  </a:lnTo>
                  <a:lnTo>
                    <a:pt x="103" y="154"/>
                  </a:lnTo>
                  <a:lnTo>
                    <a:pt x="102" y="158"/>
                  </a:lnTo>
                  <a:lnTo>
                    <a:pt x="102" y="158"/>
                  </a:lnTo>
                  <a:lnTo>
                    <a:pt x="102" y="159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5" y="164"/>
                  </a:lnTo>
                  <a:lnTo>
                    <a:pt x="109" y="168"/>
                  </a:lnTo>
                  <a:lnTo>
                    <a:pt x="110" y="169"/>
                  </a:lnTo>
                  <a:lnTo>
                    <a:pt x="110" y="170"/>
                  </a:lnTo>
                  <a:lnTo>
                    <a:pt x="111" y="170"/>
                  </a:lnTo>
                  <a:lnTo>
                    <a:pt x="111" y="171"/>
                  </a:lnTo>
                  <a:lnTo>
                    <a:pt x="111" y="172"/>
                  </a:lnTo>
                  <a:lnTo>
                    <a:pt x="112" y="172"/>
                  </a:lnTo>
                  <a:lnTo>
                    <a:pt x="112" y="173"/>
                  </a:lnTo>
                  <a:lnTo>
                    <a:pt x="112" y="174"/>
                  </a:lnTo>
                  <a:lnTo>
                    <a:pt x="112" y="174"/>
                  </a:lnTo>
                  <a:lnTo>
                    <a:pt x="112" y="175"/>
                  </a:lnTo>
                  <a:lnTo>
                    <a:pt x="112" y="176"/>
                  </a:lnTo>
                  <a:lnTo>
                    <a:pt x="112" y="177"/>
                  </a:lnTo>
                  <a:lnTo>
                    <a:pt x="111" y="178"/>
                  </a:lnTo>
                  <a:lnTo>
                    <a:pt x="110" y="179"/>
                  </a:lnTo>
                  <a:lnTo>
                    <a:pt x="110" y="180"/>
                  </a:lnTo>
                  <a:lnTo>
                    <a:pt x="109" y="181"/>
                  </a:lnTo>
                  <a:lnTo>
                    <a:pt x="107" y="184"/>
                  </a:lnTo>
                  <a:lnTo>
                    <a:pt x="106" y="186"/>
                  </a:lnTo>
                  <a:lnTo>
                    <a:pt x="105" y="188"/>
                  </a:lnTo>
                  <a:lnTo>
                    <a:pt x="104" y="188"/>
                  </a:lnTo>
                  <a:lnTo>
                    <a:pt x="104" y="189"/>
                  </a:lnTo>
                  <a:lnTo>
                    <a:pt x="104" y="189"/>
                  </a:lnTo>
                  <a:lnTo>
                    <a:pt x="104" y="190"/>
                  </a:lnTo>
                  <a:lnTo>
                    <a:pt x="104" y="191"/>
                  </a:lnTo>
                  <a:lnTo>
                    <a:pt x="104" y="193"/>
                  </a:lnTo>
                  <a:lnTo>
                    <a:pt x="104" y="194"/>
                  </a:lnTo>
                  <a:lnTo>
                    <a:pt x="104" y="195"/>
                  </a:lnTo>
                  <a:lnTo>
                    <a:pt x="103" y="196"/>
                  </a:lnTo>
                  <a:lnTo>
                    <a:pt x="103" y="197"/>
                  </a:lnTo>
                  <a:lnTo>
                    <a:pt x="102" y="199"/>
                  </a:lnTo>
                  <a:lnTo>
                    <a:pt x="101" y="202"/>
                  </a:lnTo>
                  <a:lnTo>
                    <a:pt x="100" y="203"/>
                  </a:lnTo>
                  <a:lnTo>
                    <a:pt x="100" y="204"/>
                  </a:lnTo>
                  <a:lnTo>
                    <a:pt x="100" y="205"/>
                  </a:lnTo>
                  <a:lnTo>
                    <a:pt x="100" y="206"/>
                  </a:lnTo>
                  <a:lnTo>
                    <a:pt x="100" y="207"/>
                  </a:lnTo>
                  <a:lnTo>
                    <a:pt x="100" y="207"/>
                  </a:lnTo>
                  <a:lnTo>
                    <a:pt x="100" y="208"/>
                  </a:lnTo>
                  <a:lnTo>
                    <a:pt x="100" y="208"/>
                  </a:lnTo>
                  <a:lnTo>
                    <a:pt x="100" y="209"/>
                  </a:lnTo>
                  <a:lnTo>
                    <a:pt x="101" y="211"/>
                  </a:lnTo>
                  <a:lnTo>
                    <a:pt x="102" y="212"/>
                  </a:lnTo>
                  <a:lnTo>
                    <a:pt x="103" y="213"/>
                  </a:lnTo>
                  <a:lnTo>
                    <a:pt x="103" y="213"/>
                  </a:lnTo>
                  <a:lnTo>
                    <a:pt x="105" y="215"/>
                  </a:lnTo>
                  <a:lnTo>
                    <a:pt x="106" y="218"/>
                  </a:lnTo>
                  <a:lnTo>
                    <a:pt x="107" y="218"/>
                  </a:lnTo>
                  <a:lnTo>
                    <a:pt x="108" y="219"/>
                  </a:lnTo>
                  <a:lnTo>
                    <a:pt x="109" y="220"/>
                  </a:lnTo>
                  <a:lnTo>
                    <a:pt x="109" y="220"/>
                  </a:lnTo>
                  <a:lnTo>
                    <a:pt x="110" y="220"/>
                  </a:lnTo>
                  <a:lnTo>
                    <a:pt x="110" y="221"/>
                  </a:lnTo>
                  <a:lnTo>
                    <a:pt x="111" y="221"/>
                  </a:lnTo>
                  <a:lnTo>
                    <a:pt x="112" y="221"/>
                  </a:lnTo>
                  <a:lnTo>
                    <a:pt x="113" y="220"/>
                  </a:lnTo>
                  <a:lnTo>
                    <a:pt x="115" y="220"/>
                  </a:lnTo>
                  <a:lnTo>
                    <a:pt x="116" y="220"/>
                  </a:lnTo>
                  <a:lnTo>
                    <a:pt x="117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20" y="219"/>
                  </a:lnTo>
                  <a:lnTo>
                    <a:pt x="120" y="220"/>
                  </a:lnTo>
                  <a:lnTo>
                    <a:pt x="120" y="220"/>
                  </a:lnTo>
                  <a:lnTo>
                    <a:pt x="120" y="221"/>
                  </a:lnTo>
                  <a:lnTo>
                    <a:pt x="120" y="222"/>
                  </a:lnTo>
                  <a:lnTo>
                    <a:pt x="120" y="224"/>
                  </a:lnTo>
                  <a:lnTo>
                    <a:pt x="119" y="227"/>
                  </a:lnTo>
                  <a:lnTo>
                    <a:pt x="119" y="228"/>
                  </a:lnTo>
                  <a:lnTo>
                    <a:pt x="119" y="229"/>
                  </a:lnTo>
                  <a:lnTo>
                    <a:pt x="119" y="230"/>
                  </a:lnTo>
                  <a:lnTo>
                    <a:pt x="120" y="231"/>
                  </a:lnTo>
                  <a:lnTo>
                    <a:pt x="120" y="231"/>
                  </a:lnTo>
                  <a:lnTo>
                    <a:pt x="120" y="232"/>
                  </a:lnTo>
                  <a:lnTo>
                    <a:pt x="120" y="232"/>
                  </a:lnTo>
                  <a:lnTo>
                    <a:pt x="121" y="232"/>
                  </a:lnTo>
                  <a:lnTo>
                    <a:pt x="121" y="233"/>
                  </a:lnTo>
                  <a:lnTo>
                    <a:pt x="122" y="233"/>
                  </a:lnTo>
                  <a:lnTo>
                    <a:pt x="122" y="233"/>
                  </a:lnTo>
                  <a:lnTo>
                    <a:pt x="123" y="233"/>
                  </a:lnTo>
                  <a:lnTo>
                    <a:pt x="127" y="233"/>
                  </a:lnTo>
                  <a:lnTo>
                    <a:pt x="130" y="233"/>
                  </a:lnTo>
                  <a:lnTo>
                    <a:pt x="131" y="233"/>
                  </a:lnTo>
                  <a:lnTo>
                    <a:pt x="132" y="232"/>
                  </a:lnTo>
                  <a:lnTo>
                    <a:pt x="132" y="232"/>
                  </a:lnTo>
                  <a:lnTo>
                    <a:pt x="133" y="232"/>
                  </a:lnTo>
                  <a:lnTo>
                    <a:pt x="133" y="231"/>
                  </a:lnTo>
                  <a:lnTo>
                    <a:pt x="134" y="230"/>
                  </a:lnTo>
                  <a:lnTo>
                    <a:pt x="135" y="229"/>
                  </a:lnTo>
                  <a:lnTo>
                    <a:pt x="136" y="228"/>
                  </a:lnTo>
                  <a:lnTo>
                    <a:pt x="137" y="227"/>
                  </a:lnTo>
                  <a:lnTo>
                    <a:pt x="138" y="226"/>
                  </a:lnTo>
                  <a:lnTo>
                    <a:pt x="141" y="224"/>
                  </a:lnTo>
                  <a:lnTo>
                    <a:pt x="144" y="221"/>
                  </a:lnTo>
                  <a:lnTo>
                    <a:pt x="145" y="220"/>
                  </a:lnTo>
                  <a:lnTo>
                    <a:pt x="147" y="219"/>
                  </a:lnTo>
                  <a:lnTo>
                    <a:pt x="148" y="218"/>
                  </a:lnTo>
                  <a:lnTo>
                    <a:pt x="149" y="218"/>
                  </a:lnTo>
                  <a:lnTo>
                    <a:pt x="150" y="218"/>
                  </a:lnTo>
                  <a:lnTo>
                    <a:pt x="151" y="217"/>
                  </a:lnTo>
                  <a:lnTo>
                    <a:pt x="153" y="216"/>
                  </a:lnTo>
                  <a:lnTo>
                    <a:pt x="154" y="216"/>
                  </a:lnTo>
                  <a:lnTo>
                    <a:pt x="154" y="216"/>
                  </a:lnTo>
                  <a:lnTo>
                    <a:pt x="156" y="215"/>
                  </a:lnTo>
                  <a:lnTo>
                    <a:pt x="158" y="215"/>
                  </a:lnTo>
                  <a:lnTo>
                    <a:pt x="159" y="215"/>
                  </a:lnTo>
                  <a:lnTo>
                    <a:pt x="160" y="215"/>
                  </a:lnTo>
                  <a:lnTo>
                    <a:pt x="161" y="215"/>
                  </a:lnTo>
                  <a:lnTo>
                    <a:pt x="161" y="215"/>
                  </a:lnTo>
                  <a:lnTo>
                    <a:pt x="162" y="216"/>
                  </a:lnTo>
                  <a:lnTo>
                    <a:pt x="163" y="216"/>
                  </a:lnTo>
                  <a:lnTo>
                    <a:pt x="163" y="217"/>
                  </a:lnTo>
                  <a:lnTo>
                    <a:pt x="164" y="217"/>
                  </a:lnTo>
                  <a:lnTo>
                    <a:pt x="165" y="218"/>
                  </a:lnTo>
                  <a:lnTo>
                    <a:pt x="165" y="218"/>
                  </a:lnTo>
                  <a:lnTo>
                    <a:pt x="166" y="219"/>
                  </a:lnTo>
                  <a:lnTo>
                    <a:pt x="166" y="220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2"/>
                  </a:lnTo>
                  <a:lnTo>
                    <a:pt x="166" y="224"/>
                  </a:lnTo>
                  <a:lnTo>
                    <a:pt x="165" y="226"/>
                  </a:lnTo>
                  <a:lnTo>
                    <a:pt x="164" y="230"/>
                  </a:lnTo>
                  <a:lnTo>
                    <a:pt x="164" y="233"/>
                  </a:lnTo>
                  <a:lnTo>
                    <a:pt x="164" y="233"/>
                  </a:lnTo>
                  <a:lnTo>
                    <a:pt x="164" y="234"/>
                  </a:lnTo>
                  <a:lnTo>
                    <a:pt x="164" y="235"/>
                  </a:lnTo>
                  <a:lnTo>
                    <a:pt x="164" y="236"/>
                  </a:lnTo>
                  <a:lnTo>
                    <a:pt x="165" y="237"/>
                  </a:lnTo>
                  <a:lnTo>
                    <a:pt x="165" y="239"/>
                  </a:lnTo>
                  <a:lnTo>
                    <a:pt x="166" y="240"/>
                  </a:lnTo>
                  <a:lnTo>
                    <a:pt x="167" y="241"/>
                  </a:lnTo>
                  <a:lnTo>
                    <a:pt x="168" y="242"/>
                  </a:lnTo>
                  <a:lnTo>
                    <a:pt x="168" y="242"/>
                  </a:lnTo>
                  <a:lnTo>
                    <a:pt x="169" y="242"/>
                  </a:lnTo>
                  <a:lnTo>
                    <a:pt x="169" y="242"/>
                  </a:lnTo>
                  <a:lnTo>
                    <a:pt x="170" y="242"/>
                  </a:lnTo>
                  <a:lnTo>
                    <a:pt x="170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72" y="241"/>
                  </a:lnTo>
                  <a:lnTo>
                    <a:pt x="173" y="239"/>
                  </a:lnTo>
                  <a:lnTo>
                    <a:pt x="174" y="238"/>
                  </a:lnTo>
                  <a:lnTo>
                    <a:pt x="174" y="238"/>
                  </a:lnTo>
                  <a:lnTo>
                    <a:pt x="176" y="236"/>
                  </a:lnTo>
                  <a:lnTo>
                    <a:pt x="177" y="235"/>
                  </a:lnTo>
                  <a:lnTo>
                    <a:pt x="177" y="234"/>
                  </a:lnTo>
                  <a:lnTo>
                    <a:pt x="177" y="234"/>
                  </a:lnTo>
                  <a:lnTo>
                    <a:pt x="178" y="233"/>
                  </a:lnTo>
                  <a:lnTo>
                    <a:pt x="178" y="232"/>
                  </a:lnTo>
                  <a:lnTo>
                    <a:pt x="179" y="231"/>
                  </a:lnTo>
                  <a:lnTo>
                    <a:pt x="179" y="231"/>
                  </a:lnTo>
                  <a:lnTo>
                    <a:pt x="180" y="230"/>
                  </a:lnTo>
                  <a:lnTo>
                    <a:pt x="180" y="230"/>
                  </a:lnTo>
                  <a:lnTo>
                    <a:pt x="182" y="229"/>
                  </a:lnTo>
                  <a:lnTo>
                    <a:pt x="182" y="229"/>
                  </a:lnTo>
                  <a:lnTo>
                    <a:pt x="183" y="228"/>
                  </a:lnTo>
                  <a:lnTo>
                    <a:pt x="184" y="228"/>
                  </a:lnTo>
                  <a:lnTo>
                    <a:pt x="184" y="228"/>
                  </a:lnTo>
                  <a:lnTo>
                    <a:pt x="184" y="228"/>
                  </a:lnTo>
                  <a:lnTo>
                    <a:pt x="185" y="228"/>
                  </a:lnTo>
                  <a:lnTo>
                    <a:pt x="185" y="228"/>
                  </a:lnTo>
                  <a:lnTo>
                    <a:pt x="186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8" y="228"/>
                  </a:lnTo>
                  <a:lnTo>
                    <a:pt x="189" y="228"/>
                  </a:lnTo>
                  <a:lnTo>
                    <a:pt x="189" y="227"/>
                  </a:lnTo>
                  <a:lnTo>
                    <a:pt x="190" y="226"/>
                  </a:lnTo>
                  <a:lnTo>
                    <a:pt x="191" y="225"/>
                  </a:lnTo>
                  <a:lnTo>
                    <a:pt x="191" y="225"/>
                  </a:lnTo>
                  <a:lnTo>
                    <a:pt x="191" y="224"/>
                  </a:lnTo>
                  <a:lnTo>
                    <a:pt x="192" y="224"/>
                  </a:lnTo>
                  <a:lnTo>
                    <a:pt x="192" y="223"/>
                  </a:lnTo>
                  <a:lnTo>
                    <a:pt x="192" y="222"/>
                  </a:lnTo>
                  <a:lnTo>
                    <a:pt x="192" y="221"/>
                  </a:lnTo>
                  <a:lnTo>
                    <a:pt x="191" y="220"/>
                  </a:lnTo>
                  <a:lnTo>
                    <a:pt x="190" y="213"/>
                  </a:lnTo>
                  <a:lnTo>
                    <a:pt x="189" y="212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90" y="210"/>
                  </a:lnTo>
                  <a:lnTo>
                    <a:pt x="190" y="209"/>
                  </a:lnTo>
                  <a:lnTo>
                    <a:pt x="191" y="209"/>
                  </a:lnTo>
                  <a:lnTo>
                    <a:pt x="191" y="209"/>
                  </a:lnTo>
                  <a:lnTo>
                    <a:pt x="192" y="209"/>
                  </a:lnTo>
                  <a:lnTo>
                    <a:pt x="193" y="209"/>
                  </a:lnTo>
                  <a:lnTo>
                    <a:pt x="194" y="209"/>
                  </a:lnTo>
                  <a:lnTo>
                    <a:pt x="194" y="209"/>
                  </a:lnTo>
                  <a:lnTo>
                    <a:pt x="195" y="210"/>
                  </a:lnTo>
                  <a:lnTo>
                    <a:pt x="195" y="210"/>
                  </a:lnTo>
                  <a:lnTo>
                    <a:pt x="195" y="210"/>
                  </a:lnTo>
                  <a:lnTo>
                    <a:pt x="196" y="211"/>
                  </a:lnTo>
                  <a:lnTo>
                    <a:pt x="197" y="214"/>
                  </a:lnTo>
                  <a:lnTo>
                    <a:pt x="198" y="216"/>
                  </a:lnTo>
                  <a:lnTo>
                    <a:pt x="199" y="218"/>
                  </a:lnTo>
                  <a:lnTo>
                    <a:pt x="199" y="219"/>
                  </a:lnTo>
                  <a:lnTo>
                    <a:pt x="200" y="220"/>
                  </a:lnTo>
                  <a:lnTo>
                    <a:pt x="200" y="222"/>
                  </a:lnTo>
                  <a:lnTo>
                    <a:pt x="200" y="224"/>
                  </a:lnTo>
                  <a:lnTo>
                    <a:pt x="200" y="224"/>
                  </a:lnTo>
                  <a:lnTo>
                    <a:pt x="200" y="226"/>
                  </a:lnTo>
                  <a:lnTo>
                    <a:pt x="200" y="227"/>
                  </a:lnTo>
                  <a:lnTo>
                    <a:pt x="201" y="229"/>
                  </a:lnTo>
                  <a:lnTo>
                    <a:pt x="201" y="230"/>
                  </a:lnTo>
                  <a:lnTo>
                    <a:pt x="203" y="232"/>
                  </a:lnTo>
                  <a:lnTo>
                    <a:pt x="203" y="233"/>
                  </a:lnTo>
                  <a:lnTo>
                    <a:pt x="204" y="234"/>
                  </a:lnTo>
                  <a:lnTo>
                    <a:pt x="204" y="234"/>
                  </a:lnTo>
                  <a:lnTo>
                    <a:pt x="204" y="235"/>
                  </a:lnTo>
                  <a:lnTo>
                    <a:pt x="205" y="236"/>
                  </a:lnTo>
                  <a:lnTo>
                    <a:pt x="205" y="236"/>
                  </a:lnTo>
                  <a:lnTo>
                    <a:pt x="205" y="238"/>
                  </a:lnTo>
                  <a:lnTo>
                    <a:pt x="205" y="239"/>
                  </a:lnTo>
                  <a:lnTo>
                    <a:pt x="205" y="240"/>
                  </a:lnTo>
                  <a:lnTo>
                    <a:pt x="206" y="241"/>
                  </a:lnTo>
                  <a:lnTo>
                    <a:pt x="206" y="242"/>
                  </a:lnTo>
                  <a:lnTo>
                    <a:pt x="206" y="242"/>
                  </a:lnTo>
                  <a:lnTo>
                    <a:pt x="209" y="245"/>
                  </a:lnTo>
                  <a:lnTo>
                    <a:pt x="210" y="246"/>
                  </a:lnTo>
                  <a:lnTo>
                    <a:pt x="211" y="247"/>
                  </a:lnTo>
                  <a:lnTo>
                    <a:pt x="212" y="249"/>
                  </a:lnTo>
                  <a:lnTo>
                    <a:pt x="212" y="250"/>
                  </a:lnTo>
                  <a:lnTo>
                    <a:pt x="213" y="251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5" y="253"/>
                  </a:lnTo>
                  <a:lnTo>
                    <a:pt x="216" y="253"/>
                  </a:lnTo>
                  <a:lnTo>
                    <a:pt x="218" y="254"/>
                  </a:lnTo>
                  <a:lnTo>
                    <a:pt x="219" y="255"/>
                  </a:lnTo>
                  <a:lnTo>
                    <a:pt x="220" y="255"/>
                  </a:lnTo>
                  <a:lnTo>
                    <a:pt x="221" y="256"/>
                  </a:lnTo>
                  <a:lnTo>
                    <a:pt x="222" y="257"/>
                  </a:lnTo>
                  <a:lnTo>
                    <a:pt x="223" y="258"/>
                  </a:lnTo>
                  <a:lnTo>
                    <a:pt x="224" y="259"/>
                  </a:lnTo>
                  <a:lnTo>
                    <a:pt x="225" y="259"/>
                  </a:lnTo>
                  <a:lnTo>
                    <a:pt x="229" y="261"/>
                  </a:lnTo>
                  <a:lnTo>
                    <a:pt x="231" y="262"/>
                  </a:lnTo>
                  <a:lnTo>
                    <a:pt x="232" y="262"/>
                  </a:lnTo>
                  <a:lnTo>
                    <a:pt x="233" y="262"/>
                  </a:lnTo>
                  <a:lnTo>
                    <a:pt x="236" y="263"/>
                  </a:lnTo>
                  <a:lnTo>
                    <a:pt x="237" y="263"/>
                  </a:lnTo>
                  <a:lnTo>
                    <a:pt x="238" y="263"/>
                  </a:lnTo>
                  <a:lnTo>
                    <a:pt x="238" y="263"/>
                  </a:lnTo>
                  <a:lnTo>
                    <a:pt x="239" y="263"/>
                  </a:lnTo>
                  <a:lnTo>
                    <a:pt x="240" y="263"/>
                  </a:lnTo>
                  <a:lnTo>
                    <a:pt x="242" y="262"/>
                  </a:lnTo>
                  <a:lnTo>
                    <a:pt x="244" y="261"/>
                  </a:lnTo>
                  <a:lnTo>
                    <a:pt x="246" y="260"/>
                  </a:lnTo>
                  <a:lnTo>
                    <a:pt x="247" y="260"/>
                  </a:lnTo>
                  <a:lnTo>
                    <a:pt x="252" y="258"/>
                  </a:lnTo>
                  <a:lnTo>
                    <a:pt x="253" y="258"/>
                  </a:lnTo>
                  <a:lnTo>
                    <a:pt x="256" y="257"/>
                  </a:lnTo>
                  <a:lnTo>
                    <a:pt x="256" y="257"/>
                  </a:lnTo>
                  <a:lnTo>
                    <a:pt x="257" y="257"/>
                  </a:lnTo>
                  <a:lnTo>
                    <a:pt x="258" y="257"/>
                  </a:lnTo>
                  <a:lnTo>
                    <a:pt x="258" y="257"/>
                  </a:lnTo>
                  <a:lnTo>
                    <a:pt x="259" y="257"/>
                  </a:lnTo>
                  <a:lnTo>
                    <a:pt x="259" y="257"/>
                  </a:lnTo>
                  <a:lnTo>
                    <a:pt x="260" y="258"/>
                  </a:lnTo>
                  <a:lnTo>
                    <a:pt x="260" y="258"/>
                  </a:lnTo>
                  <a:lnTo>
                    <a:pt x="261" y="259"/>
                  </a:lnTo>
                  <a:lnTo>
                    <a:pt x="261" y="260"/>
                  </a:lnTo>
                  <a:lnTo>
                    <a:pt x="262" y="261"/>
                  </a:lnTo>
                  <a:lnTo>
                    <a:pt x="262" y="262"/>
                  </a:lnTo>
                  <a:lnTo>
                    <a:pt x="263" y="263"/>
                  </a:lnTo>
                  <a:lnTo>
                    <a:pt x="263" y="264"/>
                  </a:lnTo>
                  <a:lnTo>
                    <a:pt x="264" y="266"/>
                  </a:lnTo>
                  <a:lnTo>
                    <a:pt x="264" y="267"/>
                  </a:lnTo>
                  <a:lnTo>
                    <a:pt x="264" y="269"/>
                  </a:lnTo>
                  <a:lnTo>
                    <a:pt x="264" y="270"/>
                  </a:lnTo>
                  <a:lnTo>
                    <a:pt x="264" y="271"/>
                  </a:lnTo>
                  <a:lnTo>
                    <a:pt x="264" y="272"/>
                  </a:lnTo>
                  <a:lnTo>
                    <a:pt x="264" y="273"/>
                  </a:lnTo>
                  <a:lnTo>
                    <a:pt x="264" y="274"/>
                  </a:lnTo>
                  <a:lnTo>
                    <a:pt x="263" y="278"/>
                  </a:lnTo>
                  <a:lnTo>
                    <a:pt x="262" y="280"/>
                  </a:lnTo>
                  <a:lnTo>
                    <a:pt x="262" y="281"/>
                  </a:lnTo>
                  <a:lnTo>
                    <a:pt x="262" y="282"/>
                  </a:lnTo>
                  <a:lnTo>
                    <a:pt x="262" y="283"/>
                  </a:lnTo>
                  <a:lnTo>
                    <a:pt x="262" y="284"/>
                  </a:lnTo>
                  <a:lnTo>
                    <a:pt x="262" y="286"/>
                  </a:lnTo>
                  <a:lnTo>
                    <a:pt x="262" y="287"/>
                  </a:lnTo>
                  <a:lnTo>
                    <a:pt x="263" y="289"/>
                  </a:lnTo>
                  <a:lnTo>
                    <a:pt x="263" y="291"/>
                  </a:lnTo>
                  <a:lnTo>
                    <a:pt x="263" y="292"/>
                  </a:lnTo>
                  <a:lnTo>
                    <a:pt x="264" y="293"/>
                  </a:lnTo>
                  <a:lnTo>
                    <a:pt x="264" y="294"/>
                  </a:lnTo>
                  <a:lnTo>
                    <a:pt x="265" y="295"/>
                  </a:lnTo>
                  <a:lnTo>
                    <a:pt x="265" y="295"/>
                  </a:lnTo>
                  <a:lnTo>
                    <a:pt x="266" y="296"/>
                  </a:lnTo>
                  <a:lnTo>
                    <a:pt x="267" y="297"/>
                  </a:lnTo>
                  <a:lnTo>
                    <a:pt x="268" y="297"/>
                  </a:lnTo>
                  <a:lnTo>
                    <a:pt x="269" y="298"/>
                  </a:lnTo>
                  <a:lnTo>
                    <a:pt x="270" y="299"/>
                  </a:lnTo>
                  <a:lnTo>
                    <a:pt x="271" y="299"/>
                  </a:lnTo>
                  <a:lnTo>
                    <a:pt x="272" y="300"/>
                  </a:lnTo>
                  <a:lnTo>
                    <a:pt x="273" y="300"/>
                  </a:lnTo>
                  <a:lnTo>
                    <a:pt x="273" y="300"/>
                  </a:lnTo>
                  <a:lnTo>
                    <a:pt x="274" y="300"/>
                  </a:lnTo>
                  <a:lnTo>
                    <a:pt x="275" y="299"/>
                  </a:lnTo>
                  <a:lnTo>
                    <a:pt x="275" y="299"/>
                  </a:lnTo>
                  <a:lnTo>
                    <a:pt x="276" y="299"/>
                  </a:lnTo>
                  <a:lnTo>
                    <a:pt x="277" y="298"/>
                  </a:lnTo>
                  <a:lnTo>
                    <a:pt x="278" y="298"/>
                  </a:lnTo>
                  <a:lnTo>
                    <a:pt x="278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80" y="297"/>
                  </a:lnTo>
                  <a:lnTo>
                    <a:pt x="280" y="298"/>
                  </a:lnTo>
                  <a:lnTo>
                    <a:pt x="281" y="298"/>
                  </a:lnTo>
                  <a:lnTo>
                    <a:pt x="282" y="299"/>
                  </a:lnTo>
                  <a:lnTo>
                    <a:pt x="282" y="300"/>
                  </a:lnTo>
                  <a:lnTo>
                    <a:pt x="283" y="301"/>
                  </a:lnTo>
                  <a:lnTo>
                    <a:pt x="285" y="302"/>
                  </a:lnTo>
                  <a:lnTo>
                    <a:pt x="286" y="304"/>
                  </a:lnTo>
                  <a:lnTo>
                    <a:pt x="286" y="305"/>
                  </a:lnTo>
                  <a:lnTo>
                    <a:pt x="287" y="306"/>
                  </a:lnTo>
                  <a:lnTo>
                    <a:pt x="288" y="308"/>
                  </a:lnTo>
                  <a:lnTo>
                    <a:pt x="289" y="309"/>
                  </a:lnTo>
                  <a:lnTo>
                    <a:pt x="290" y="311"/>
                  </a:lnTo>
                  <a:lnTo>
                    <a:pt x="291" y="312"/>
                  </a:lnTo>
                  <a:lnTo>
                    <a:pt x="291" y="313"/>
                  </a:lnTo>
                  <a:lnTo>
                    <a:pt x="292" y="313"/>
                  </a:lnTo>
                  <a:lnTo>
                    <a:pt x="293" y="314"/>
                  </a:lnTo>
                  <a:lnTo>
                    <a:pt x="300" y="320"/>
                  </a:lnTo>
                  <a:lnTo>
                    <a:pt x="302" y="320"/>
                  </a:lnTo>
                  <a:lnTo>
                    <a:pt x="303" y="322"/>
                  </a:lnTo>
                  <a:lnTo>
                    <a:pt x="306" y="325"/>
                  </a:lnTo>
                  <a:lnTo>
                    <a:pt x="308" y="327"/>
                  </a:lnTo>
                  <a:lnTo>
                    <a:pt x="309" y="328"/>
                  </a:lnTo>
                  <a:lnTo>
                    <a:pt x="311" y="330"/>
                  </a:lnTo>
                  <a:lnTo>
                    <a:pt x="312" y="332"/>
                  </a:lnTo>
                  <a:lnTo>
                    <a:pt x="314" y="335"/>
                  </a:lnTo>
                  <a:lnTo>
                    <a:pt x="315" y="338"/>
                  </a:lnTo>
                  <a:lnTo>
                    <a:pt x="316" y="339"/>
                  </a:lnTo>
                  <a:lnTo>
                    <a:pt x="316" y="339"/>
                  </a:lnTo>
                  <a:lnTo>
                    <a:pt x="316" y="340"/>
                  </a:lnTo>
                  <a:lnTo>
                    <a:pt x="316" y="341"/>
                  </a:lnTo>
                  <a:lnTo>
                    <a:pt x="316" y="341"/>
                  </a:lnTo>
                  <a:lnTo>
                    <a:pt x="316" y="342"/>
                  </a:lnTo>
                  <a:lnTo>
                    <a:pt x="316" y="343"/>
                  </a:lnTo>
                  <a:lnTo>
                    <a:pt x="315" y="344"/>
                  </a:lnTo>
                  <a:lnTo>
                    <a:pt x="315" y="345"/>
                  </a:lnTo>
                  <a:lnTo>
                    <a:pt x="314" y="346"/>
                  </a:lnTo>
                  <a:lnTo>
                    <a:pt x="314" y="347"/>
                  </a:lnTo>
                  <a:lnTo>
                    <a:pt x="314" y="347"/>
                  </a:lnTo>
                  <a:lnTo>
                    <a:pt x="314" y="348"/>
                  </a:lnTo>
                  <a:lnTo>
                    <a:pt x="315" y="349"/>
                  </a:lnTo>
                  <a:lnTo>
                    <a:pt x="315" y="350"/>
                  </a:lnTo>
                  <a:lnTo>
                    <a:pt x="316" y="350"/>
                  </a:lnTo>
                  <a:lnTo>
                    <a:pt x="316" y="351"/>
                  </a:lnTo>
                  <a:lnTo>
                    <a:pt x="316" y="351"/>
                  </a:lnTo>
                  <a:lnTo>
                    <a:pt x="317" y="351"/>
                  </a:lnTo>
                  <a:lnTo>
                    <a:pt x="318" y="351"/>
                  </a:lnTo>
                  <a:lnTo>
                    <a:pt x="318" y="351"/>
                  </a:lnTo>
                  <a:lnTo>
                    <a:pt x="318" y="351"/>
                  </a:lnTo>
                  <a:lnTo>
                    <a:pt x="319" y="351"/>
                  </a:lnTo>
                  <a:lnTo>
                    <a:pt x="321" y="349"/>
                  </a:lnTo>
                  <a:lnTo>
                    <a:pt x="322" y="348"/>
                  </a:lnTo>
                  <a:lnTo>
                    <a:pt x="323" y="347"/>
                  </a:lnTo>
                  <a:lnTo>
                    <a:pt x="324" y="347"/>
                  </a:lnTo>
                  <a:lnTo>
                    <a:pt x="325" y="347"/>
                  </a:lnTo>
                  <a:lnTo>
                    <a:pt x="326" y="346"/>
                  </a:lnTo>
                  <a:lnTo>
                    <a:pt x="326" y="346"/>
                  </a:lnTo>
                  <a:lnTo>
                    <a:pt x="327" y="346"/>
                  </a:lnTo>
                  <a:lnTo>
                    <a:pt x="327" y="347"/>
                  </a:lnTo>
                  <a:lnTo>
                    <a:pt x="328" y="347"/>
                  </a:lnTo>
                  <a:lnTo>
                    <a:pt x="328" y="347"/>
                  </a:lnTo>
                  <a:lnTo>
                    <a:pt x="328" y="347"/>
                  </a:lnTo>
                  <a:lnTo>
                    <a:pt x="329" y="348"/>
                  </a:lnTo>
                  <a:lnTo>
                    <a:pt x="330" y="349"/>
                  </a:lnTo>
                  <a:lnTo>
                    <a:pt x="331" y="350"/>
                  </a:lnTo>
                  <a:lnTo>
                    <a:pt x="331" y="351"/>
                  </a:lnTo>
                  <a:lnTo>
                    <a:pt x="333" y="354"/>
                  </a:lnTo>
                  <a:lnTo>
                    <a:pt x="334" y="357"/>
                  </a:lnTo>
                  <a:lnTo>
                    <a:pt x="334" y="357"/>
                  </a:lnTo>
                  <a:lnTo>
                    <a:pt x="334" y="358"/>
                  </a:lnTo>
                  <a:lnTo>
                    <a:pt x="334" y="358"/>
                  </a:lnTo>
                  <a:lnTo>
                    <a:pt x="334" y="359"/>
                  </a:lnTo>
                  <a:lnTo>
                    <a:pt x="334" y="359"/>
                  </a:lnTo>
                  <a:lnTo>
                    <a:pt x="333" y="360"/>
                  </a:lnTo>
                  <a:lnTo>
                    <a:pt x="333" y="361"/>
                  </a:lnTo>
                  <a:lnTo>
                    <a:pt x="332" y="362"/>
                  </a:lnTo>
                  <a:lnTo>
                    <a:pt x="331" y="364"/>
                  </a:lnTo>
                  <a:lnTo>
                    <a:pt x="330" y="365"/>
                  </a:lnTo>
                  <a:lnTo>
                    <a:pt x="330" y="366"/>
                  </a:lnTo>
                  <a:lnTo>
                    <a:pt x="329" y="367"/>
                  </a:lnTo>
                  <a:lnTo>
                    <a:pt x="329" y="367"/>
                  </a:lnTo>
                  <a:lnTo>
                    <a:pt x="328" y="368"/>
                  </a:lnTo>
                  <a:lnTo>
                    <a:pt x="327" y="368"/>
                  </a:lnTo>
                  <a:lnTo>
                    <a:pt x="327" y="368"/>
                  </a:lnTo>
                  <a:lnTo>
                    <a:pt x="326" y="369"/>
                  </a:lnTo>
                  <a:lnTo>
                    <a:pt x="326" y="369"/>
                  </a:lnTo>
                  <a:lnTo>
                    <a:pt x="325" y="369"/>
                  </a:lnTo>
                  <a:lnTo>
                    <a:pt x="324" y="369"/>
                  </a:lnTo>
                  <a:lnTo>
                    <a:pt x="324" y="369"/>
                  </a:lnTo>
                  <a:lnTo>
                    <a:pt x="323" y="369"/>
                  </a:lnTo>
                  <a:lnTo>
                    <a:pt x="322" y="369"/>
                  </a:lnTo>
                  <a:lnTo>
                    <a:pt x="320" y="368"/>
                  </a:lnTo>
                  <a:lnTo>
                    <a:pt x="317" y="368"/>
                  </a:lnTo>
                  <a:lnTo>
                    <a:pt x="316" y="367"/>
                  </a:lnTo>
                  <a:lnTo>
                    <a:pt x="315" y="367"/>
                  </a:lnTo>
                  <a:lnTo>
                    <a:pt x="314" y="367"/>
                  </a:lnTo>
                  <a:lnTo>
                    <a:pt x="313" y="367"/>
                  </a:lnTo>
                  <a:lnTo>
                    <a:pt x="313" y="367"/>
                  </a:lnTo>
                  <a:lnTo>
                    <a:pt x="313" y="368"/>
                  </a:lnTo>
                  <a:lnTo>
                    <a:pt x="312" y="369"/>
                  </a:lnTo>
                  <a:lnTo>
                    <a:pt x="311" y="370"/>
                  </a:lnTo>
                  <a:lnTo>
                    <a:pt x="310" y="372"/>
                  </a:lnTo>
                  <a:lnTo>
                    <a:pt x="310" y="372"/>
                  </a:lnTo>
                  <a:lnTo>
                    <a:pt x="309" y="373"/>
                  </a:lnTo>
                  <a:lnTo>
                    <a:pt x="309" y="374"/>
                  </a:lnTo>
                  <a:lnTo>
                    <a:pt x="308" y="374"/>
                  </a:lnTo>
                  <a:lnTo>
                    <a:pt x="307" y="375"/>
                  </a:lnTo>
                  <a:lnTo>
                    <a:pt x="305" y="376"/>
                  </a:lnTo>
                  <a:lnTo>
                    <a:pt x="304" y="377"/>
                  </a:lnTo>
                  <a:lnTo>
                    <a:pt x="303" y="378"/>
                  </a:lnTo>
                  <a:lnTo>
                    <a:pt x="302" y="380"/>
                  </a:lnTo>
                  <a:lnTo>
                    <a:pt x="300" y="382"/>
                  </a:lnTo>
                  <a:lnTo>
                    <a:pt x="299" y="382"/>
                  </a:lnTo>
                  <a:lnTo>
                    <a:pt x="299" y="383"/>
                  </a:lnTo>
                  <a:lnTo>
                    <a:pt x="299" y="384"/>
                  </a:lnTo>
                  <a:lnTo>
                    <a:pt x="299" y="384"/>
                  </a:lnTo>
                  <a:lnTo>
                    <a:pt x="298" y="385"/>
                  </a:lnTo>
                  <a:lnTo>
                    <a:pt x="298" y="388"/>
                  </a:lnTo>
                  <a:lnTo>
                    <a:pt x="298" y="389"/>
                  </a:lnTo>
                  <a:lnTo>
                    <a:pt x="298" y="390"/>
                  </a:lnTo>
                  <a:lnTo>
                    <a:pt x="298" y="392"/>
                  </a:lnTo>
                  <a:lnTo>
                    <a:pt x="297" y="393"/>
                  </a:lnTo>
                  <a:lnTo>
                    <a:pt x="296" y="396"/>
                  </a:lnTo>
                  <a:lnTo>
                    <a:pt x="295" y="399"/>
                  </a:lnTo>
                  <a:lnTo>
                    <a:pt x="294" y="402"/>
                  </a:lnTo>
                  <a:lnTo>
                    <a:pt x="293" y="402"/>
                  </a:lnTo>
                  <a:lnTo>
                    <a:pt x="293" y="403"/>
                  </a:lnTo>
                  <a:lnTo>
                    <a:pt x="292" y="403"/>
                  </a:lnTo>
                  <a:lnTo>
                    <a:pt x="292" y="404"/>
                  </a:lnTo>
                  <a:lnTo>
                    <a:pt x="291" y="404"/>
                  </a:lnTo>
                  <a:lnTo>
                    <a:pt x="291" y="404"/>
                  </a:lnTo>
                  <a:lnTo>
                    <a:pt x="290" y="405"/>
                  </a:lnTo>
                  <a:lnTo>
                    <a:pt x="287" y="406"/>
                  </a:lnTo>
                  <a:lnTo>
                    <a:pt x="285" y="406"/>
                  </a:lnTo>
                  <a:lnTo>
                    <a:pt x="284" y="406"/>
                  </a:lnTo>
                  <a:lnTo>
                    <a:pt x="283" y="406"/>
                  </a:lnTo>
                  <a:lnTo>
                    <a:pt x="281" y="406"/>
                  </a:lnTo>
                  <a:lnTo>
                    <a:pt x="280" y="406"/>
                  </a:lnTo>
                  <a:lnTo>
                    <a:pt x="279" y="405"/>
                  </a:lnTo>
                  <a:lnTo>
                    <a:pt x="278" y="405"/>
                  </a:lnTo>
                  <a:lnTo>
                    <a:pt x="277" y="404"/>
                  </a:lnTo>
                  <a:lnTo>
                    <a:pt x="276" y="404"/>
                  </a:lnTo>
                  <a:lnTo>
                    <a:pt x="275" y="403"/>
                  </a:lnTo>
                  <a:lnTo>
                    <a:pt x="275" y="403"/>
                  </a:lnTo>
                  <a:lnTo>
                    <a:pt x="273" y="401"/>
                  </a:lnTo>
                  <a:lnTo>
                    <a:pt x="272" y="400"/>
                  </a:lnTo>
                  <a:lnTo>
                    <a:pt x="271" y="399"/>
                  </a:lnTo>
                  <a:lnTo>
                    <a:pt x="270" y="398"/>
                  </a:lnTo>
                  <a:lnTo>
                    <a:pt x="269" y="398"/>
                  </a:lnTo>
                  <a:lnTo>
                    <a:pt x="268" y="397"/>
                  </a:lnTo>
                  <a:lnTo>
                    <a:pt x="267" y="397"/>
                  </a:lnTo>
                  <a:lnTo>
                    <a:pt x="266" y="397"/>
                  </a:lnTo>
                  <a:lnTo>
                    <a:pt x="265" y="397"/>
                  </a:lnTo>
                  <a:lnTo>
                    <a:pt x="265" y="397"/>
                  </a:lnTo>
                  <a:lnTo>
                    <a:pt x="264" y="398"/>
                  </a:lnTo>
                  <a:lnTo>
                    <a:pt x="263" y="398"/>
                  </a:lnTo>
                  <a:lnTo>
                    <a:pt x="263" y="398"/>
                  </a:lnTo>
                  <a:lnTo>
                    <a:pt x="262" y="399"/>
                  </a:lnTo>
                  <a:lnTo>
                    <a:pt x="261" y="402"/>
                  </a:lnTo>
                  <a:lnTo>
                    <a:pt x="260" y="402"/>
                  </a:lnTo>
                  <a:lnTo>
                    <a:pt x="260" y="402"/>
                  </a:lnTo>
                  <a:lnTo>
                    <a:pt x="260" y="403"/>
                  </a:lnTo>
                  <a:lnTo>
                    <a:pt x="259" y="403"/>
                  </a:lnTo>
                  <a:lnTo>
                    <a:pt x="259" y="403"/>
                  </a:lnTo>
                  <a:lnTo>
                    <a:pt x="259" y="403"/>
                  </a:lnTo>
                  <a:lnTo>
                    <a:pt x="258" y="403"/>
                  </a:lnTo>
                  <a:lnTo>
                    <a:pt x="257" y="403"/>
                  </a:lnTo>
                  <a:lnTo>
                    <a:pt x="256" y="403"/>
                  </a:lnTo>
                  <a:lnTo>
                    <a:pt x="255" y="403"/>
                  </a:lnTo>
                  <a:lnTo>
                    <a:pt x="254" y="402"/>
                  </a:lnTo>
                  <a:lnTo>
                    <a:pt x="254" y="402"/>
                  </a:lnTo>
                  <a:lnTo>
                    <a:pt x="253" y="402"/>
                  </a:lnTo>
                  <a:lnTo>
                    <a:pt x="252" y="403"/>
                  </a:lnTo>
                  <a:lnTo>
                    <a:pt x="251" y="403"/>
                  </a:lnTo>
                  <a:lnTo>
                    <a:pt x="251" y="403"/>
                  </a:lnTo>
                  <a:lnTo>
                    <a:pt x="250" y="403"/>
                  </a:lnTo>
                  <a:lnTo>
                    <a:pt x="250" y="403"/>
                  </a:lnTo>
                  <a:lnTo>
                    <a:pt x="250" y="403"/>
                  </a:lnTo>
                  <a:lnTo>
                    <a:pt x="250" y="404"/>
                  </a:lnTo>
                  <a:lnTo>
                    <a:pt x="250" y="404"/>
                  </a:lnTo>
                  <a:lnTo>
                    <a:pt x="250" y="404"/>
                  </a:lnTo>
                  <a:lnTo>
                    <a:pt x="250" y="405"/>
                  </a:lnTo>
                  <a:lnTo>
                    <a:pt x="250" y="405"/>
                  </a:lnTo>
                  <a:lnTo>
                    <a:pt x="250" y="406"/>
                  </a:lnTo>
                  <a:lnTo>
                    <a:pt x="250" y="407"/>
                  </a:lnTo>
                  <a:lnTo>
                    <a:pt x="252" y="411"/>
                  </a:lnTo>
                  <a:lnTo>
                    <a:pt x="253" y="413"/>
                  </a:lnTo>
                  <a:lnTo>
                    <a:pt x="253" y="414"/>
                  </a:lnTo>
                  <a:lnTo>
                    <a:pt x="254" y="415"/>
                  </a:lnTo>
                  <a:lnTo>
                    <a:pt x="254" y="416"/>
                  </a:lnTo>
                  <a:lnTo>
                    <a:pt x="254" y="417"/>
                  </a:lnTo>
                  <a:lnTo>
                    <a:pt x="254" y="417"/>
                  </a:lnTo>
                  <a:lnTo>
                    <a:pt x="253" y="418"/>
                  </a:lnTo>
                  <a:lnTo>
                    <a:pt x="253" y="419"/>
                  </a:lnTo>
                  <a:lnTo>
                    <a:pt x="253" y="420"/>
                  </a:lnTo>
                  <a:lnTo>
                    <a:pt x="252" y="421"/>
                  </a:lnTo>
                  <a:lnTo>
                    <a:pt x="251" y="422"/>
                  </a:lnTo>
                  <a:lnTo>
                    <a:pt x="251" y="422"/>
                  </a:lnTo>
                  <a:lnTo>
                    <a:pt x="250" y="423"/>
                  </a:lnTo>
                  <a:lnTo>
                    <a:pt x="249" y="424"/>
                  </a:lnTo>
                  <a:lnTo>
                    <a:pt x="249" y="424"/>
                  </a:lnTo>
                  <a:lnTo>
                    <a:pt x="248" y="424"/>
                  </a:lnTo>
                  <a:lnTo>
                    <a:pt x="247" y="425"/>
                  </a:lnTo>
                  <a:lnTo>
                    <a:pt x="246" y="425"/>
                  </a:lnTo>
                  <a:lnTo>
                    <a:pt x="245" y="425"/>
                  </a:lnTo>
                  <a:lnTo>
                    <a:pt x="244" y="425"/>
                  </a:lnTo>
                  <a:lnTo>
                    <a:pt x="243" y="425"/>
                  </a:lnTo>
                  <a:lnTo>
                    <a:pt x="242" y="425"/>
                  </a:lnTo>
                  <a:lnTo>
                    <a:pt x="242" y="425"/>
                  </a:lnTo>
                  <a:lnTo>
                    <a:pt x="241" y="425"/>
                  </a:lnTo>
                  <a:lnTo>
                    <a:pt x="240" y="425"/>
                  </a:lnTo>
                  <a:lnTo>
                    <a:pt x="239" y="424"/>
                  </a:lnTo>
                  <a:lnTo>
                    <a:pt x="237" y="424"/>
                  </a:lnTo>
                  <a:lnTo>
                    <a:pt x="237" y="423"/>
                  </a:lnTo>
                  <a:lnTo>
                    <a:pt x="236" y="423"/>
                  </a:lnTo>
                  <a:lnTo>
                    <a:pt x="235" y="423"/>
                  </a:lnTo>
                  <a:lnTo>
                    <a:pt x="234" y="423"/>
                  </a:lnTo>
                  <a:lnTo>
                    <a:pt x="232" y="423"/>
                  </a:lnTo>
                  <a:lnTo>
                    <a:pt x="231" y="423"/>
                  </a:lnTo>
                  <a:lnTo>
                    <a:pt x="229" y="423"/>
                  </a:lnTo>
                  <a:lnTo>
                    <a:pt x="227" y="423"/>
                  </a:lnTo>
                  <a:lnTo>
                    <a:pt x="225" y="423"/>
                  </a:lnTo>
                  <a:lnTo>
                    <a:pt x="224" y="424"/>
                  </a:lnTo>
                  <a:lnTo>
                    <a:pt x="222" y="424"/>
                  </a:lnTo>
                  <a:lnTo>
                    <a:pt x="220" y="425"/>
                  </a:lnTo>
                  <a:lnTo>
                    <a:pt x="217" y="426"/>
                  </a:lnTo>
                  <a:lnTo>
                    <a:pt x="216" y="426"/>
                  </a:lnTo>
                  <a:lnTo>
                    <a:pt x="216" y="426"/>
                  </a:lnTo>
                  <a:lnTo>
                    <a:pt x="216" y="426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8"/>
                  </a:lnTo>
                  <a:lnTo>
                    <a:pt x="215" y="429"/>
                  </a:lnTo>
                  <a:lnTo>
                    <a:pt x="214" y="431"/>
                  </a:lnTo>
                  <a:lnTo>
                    <a:pt x="214" y="433"/>
                  </a:lnTo>
                  <a:lnTo>
                    <a:pt x="214" y="434"/>
                  </a:lnTo>
                  <a:lnTo>
                    <a:pt x="213" y="434"/>
                  </a:lnTo>
                  <a:lnTo>
                    <a:pt x="213" y="435"/>
                  </a:lnTo>
                  <a:lnTo>
                    <a:pt x="212" y="436"/>
                  </a:lnTo>
                  <a:lnTo>
                    <a:pt x="211" y="438"/>
                  </a:lnTo>
                  <a:lnTo>
                    <a:pt x="211" y="439"/>
                  </a:lnTo>
                  <a:lnTo>
                    <a:pt x="210" y="440"/>
                  </a:lnTo>
                  <a:lnTo>
                    <a:pt x="209" y="441"/>
                  </a:lnTo>
                  <a:lnTo>
                    <a:pt x="209" y="441"/>
                  </a:lnTo>
                  <a:lnTo>
                    <a:pt x="208" y="442"/>
                  </a:lnTo>
                  <a:lnTo>
                    <a:pt x="207" y="443"/>
                  </a:lnTo>
                  <a:lnTo>
                    <a:pt x="206" y="443"/>
                  </a:lnTo>
                  <a:lnTo>
                    <a:pt x="205" y="443"/>
                  </a:lnTo>
                  <a:lnTo>
                    <a:pt x="205" y="443"/>
                  </a:lnTo>
                  <a:lnTo>
                    <a:pt x="204" y="443"/>
                  </a:lnTo>
                  <a:lnTo>
                    <a:pt x="203" y="443"/>
                  </a:lnTo>
                  <a:lnTo>
                    <a:pt x="202" y="442"/>
                  </a:lnTo>
                  <a:lnTo>
                    <a:pt x="199" y="440"/>
                  </a:lnTo>
                  <a:lnTo>
                    <a:pt x="198" y="439"/>
                  </a:lnTo>
                  <a:lnTo>
                    <a:pt x="197" y="438"/>
                  </a:lnTo>
                  <a:lnTo>
                    <a:pt x="196" y="438"/>
                  </a:lnTo>
                  <a:lnTo>
                    <a:pt x="196" y="437"/>
                  </a:lnTo>
                  <a:lnTo>
                    <a:pt x="195" y="437"/>
                  </a:lnTo>
                  <a:lnTo>
                    <a:pt x="194" y="437"/>
                  </a:lnTo>
                  <a:lnTo>
                    <a:pt x="193" y="437"/>
                  </a:lnTo>
                  <a:lnTo>
                    <a:pt x="192" y="437"/>
                  </a:lnTo>
                  <a:lnTo>
                    <a:pt x="190" y="437"/>
                  </a:lnTo>
                  <a:lnTo>
                    <a:pt x="188" y="436"/>
                  </a:lnTo>
                  <a:lnTo>
                    <a:pt x="186" y="436"/>
                  </a:lnTo>
                  <a:lnTo>
                    <a:pt x="184" y="435"/>
                  </a:lnTo>
                  <a:lnTo>
                    <a:pt x="182" y="435"/>
                  </a:lnTo>
                  <a:lnTo>
                    <a:pt x="181" y="434"/>
                  </a:lnTo>
                  <a:lnTo>
                    <a:pt x="180" y="434"/>
                  </a:lnTo>
                  <a:lnTo>
                    <a:pt x="177" y="434"/>
                  </a:lnTo>
                  <a:lnTo>
                    <a:pt x="177" y="434"/>
                  </a:lnTo>
                  <a:lnTo>
                    <a:pt x="176" y="434"/>
                  </a:lnTo>
                  <a:lnTo>
                    <a:pt x="176" y="433"/>
                  </a:lnTo>
                  <a:lnTo>
                    <a:pt x="175" y="433"/>
                  </a:lnTo>
                  <a:lnTo>
                    <a:pt x="175" y="432"/>
                  </a:lnTo>
                  <a:lnTo>
                    <a:pt x="175" y="432"/>
                  </a:lnTo>
                  <a:lnTo>
                    <a:pt x="174" y="431"/>
                  </a:lnTo>
                  <a:lnTo>
                    <a:pt x="174" y="430"/>
                  </a:lnTo>
                  <a:lnTo>
                    <a:pt x="174" y="427"/>
                  </a:lnTo>
                  <a:lnTo>
                    <a:pt x="174" y="426"/>
                  </a:lnTo>
                  <a:lnTo>
                    <a:pt x="173" y="426"/>
                  </a:lnTo>
                  <a:lnTo>
                    <a:pt x="173" y="425"/>
                  </a:lnTo>
                  <a:lnTo>
                    <a:pt x="173" y="424"/>
                  </a:lnTo>
                  <a:lnTo>
                    <a:pt x="172" y="424"/>
                  </a:lnTo>
                  <a:lnTo>
                    <a:pt x="172" y="423"/>
                  </a:lnTo>
                  <a:lnTo>
                    <a:pt x="171" y="423"/>
                  </a:lnTo>
                  <a:lnTo>
                    <a:pt x="171" y="423"/>
                  </a:lnTo>
                  <a:lnTo>
                    <a:pt x="170" y="423"/>
                  </a:lnTo>
                  <a:lnTo>
                    <a:pt x="170" y="423"/>
                  </a:lnTo>
                  <a:lnTo>
                    <a:pt x="169" y="423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67" y="425"/>
                  </a:lnTo>
                  <a:lnTo>
                    <a:pt x="167" y="425"/>
                  </a:lnTo>
                  <a:lnTo>
                    <a:pt x="166" y="426"/>
                  </a:lnTo>
                  <a:lnTo>
                    <a:pt x="164" y="430"/>
                  </a:lnTo>
                  <a:lnTo>
                    <a:pt x="163" y="432"/>
                  </a:lnTo>
                  <a:lnTo>
                    <a:pt x="163" y="433"/>
                  </a:lnTo>
                  <a:lnTo>
                    <a:pt x="162" y="434"/>
                  </a:lnTo>
                  <a:lnTo>
                    <a:pt x="162" y="435"/>
                  </a:lnTo>
                  <a:lnTo>
                    <a:pt x="162" y="436"/>
                  </a:lnTo>
                  <a:lnTo>
                    <a:pt x="162" y="437"/>
                  </a:lnTo>
                  <a:lnTo>
                    <a:pt x="162" y="439"/>
                  </a:lnTo>
                  <a:lnTo>
                    <a:pt x="163" y="440"/>
                  </a:lnTo>
                  <a:lnTo>
                    <a:pt x="163" y="442"/>
                  </a:lnTo>
                  <a:lnTo>
                    <a:pt x="164" y="443"/>
                  </a:lnTo>
                  <a:lnTo>
                    <a:pt x="165" y="445"/>
                  </a:lnTo>
                  <a:lnTo>
                    <a:pt x="166" y="447"/>
                  </a:lnTo>
                  <a:lnTo>
                    <a:pt x="166" y="448"/>
                  </a:lnTo>
                  <a:lnTo>
                    <a:pt x="166" y="449"/>
                  </a:lnTo>
                  <a:lnTo>
                    <a:pt x="166" y="450"/>
                  </a:lnTo>
                  <a:lnTo>
                    <a:pt x="166" y="451"/>
                  </a:lnTo>
                  <a:lnTo>
                    <a:pt x="166" y="452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65" y="454"/>
                  </a:lnTo>
                  <a:lnTo>
                    <a:pt x="164" y="455"/>
                  </a:lnTo>
                  <a:lnTo>
                    <a:pt x="162" y="457"/>
                  </a:lnTo>
                  <a:lnTo>
                    <a:pt x="160" y="459"/>
                  </a:lnTo>
                  <a:lnTo>
                    <a:pt x="159" y="460"/>
                  </a:lnTo>
                  <a:lnTo>
                    <a:pt x="158" y="460"/>
                  </a:lnTo>
                  <a:lnTo>
                    <a:pt x="158" y="461"/>
                  </a:lnTo>
                  <a:lnTo>
                    <a:pt x="157" y="462"/>
                  </a:lnTo>
                  <a:lnTo>
                    <a:pt x="155" y="465"/>
                  </a:lnTo>
                  <a:lnTo>
                    <a:pt x="153" y="467"/>
                  </a:lnTo>
                  <a:lnTo>
                    <a:pt x="151" y="470"/>
                  </a:lnTo>
                  <a:lnTo>
                    <a:pt x="150" y="471"/>
                  </a:lnTo>
                  <a:lnTo>
                    <a:pt x="149" y="472"/>
                  </a:lnTo>
                  <a:lnTo>
                    <a:pt x="149" y="473"/>
                  </a:lnTo>
                  <a:lnTo>
                    <a:pt x="148" y="473"/>
                  </a:lnTo>
                  <a:lnTo>
                    <a:pt x="147" y="474"/>
                  </a:lnTo>
                  <a:lnTo>
                    <a:pt x="146" y="474"/>
                  </a:lnTo>
                  <a:lnTo>
                    <a:pt x="146" y="475"/>
                  </a:lnTo>
                  <a:lnTo>
                    <a:pt x="145" y="475"/>
                  </a:lnTo>
                  <a:lnTo>
                    <a:pt x="144" y="475"/>
                  </a:lnTo>
                  <a:lnTo>
                    <a:pt x="143" y="475"/>
                  </a:lnTo>
                  <a:lnTo>
                    <a:pt x="143" y="475"/>
                  </a:lnTo>
                  <a:lnTo>
                    <a:pt x="139" y="475"/>
                  </a:lnTo>
                  <a:lnTo>
                    <a:pt x="138" y="476"/>
                  </a:lnTo>
                  <a:lnTo>
                    <a:pt x="134" y="476"/>
                  </a:lnTo>
                  <a:lnTo>
                    <a:pt x="132" y="476"/>
                  </a:lnTo>
                  <a:lnTo>
                    <a:pt x="131" y="477"/>
                  </a:lnTo>
                  <a:lnTo>
                    <a:pt x="125" y="478"/>
                  </a:lnTo>
                  <a:lnTo>
                    <a:pt x="124" y="478"/>
                  </a:lnTo>
                  <a:lnTo>
                    <a:pt x="122" y="478"/>
                  </a:lnTo>
                  <a:lnTo>
                    <a:pt x="121" y="478"/>
                  </a:lnTo>
                  <a:lnTo>
                    <a:pt x="120" y="479"/>
                  </a:lnTo>
                  <a:lnTo>
                    <a:pt x="120" y="479"/>
                  </a:lnTo>
                  <a:lnTo>
                    <a:pt x="119" y="479"/>
                  </a:lnTo>
                  <a:lnTo>
                    <a:pt x="118" y="480"/>
                  </a:lnTo>
                  <a:lnTo>
                    <a:pt x="117" y="481"/>
                  </a:lnTo>
                  <a:lnTo>
                    <a:pt x="117" y="482"/>
                  </a:lnTo>
                  <a:lnTo>
                    <a:pt x="116" y="482"/>
                  </a:lnTo>
                  <a:lnTo>
                    <a:pt x="115" y="485"/>
                  </a:lnTo>
                  <a:lnTo>
                    <a:pt x="114" y="485"/>
                  </a:lnTo>
                  <a:lnTo>
                    <a:pt x="114" y="486"/>
                  </a:lnTo>
                  <a:lnTo>
                    <a:pt x="113" y="487"/>
                  </a:lnTo>
                  <a:lnTo>
                    <a:pt x="113" y="487"/>
                  </a:lnTo>
                  <a:lnTo>
                    <a:pt x="112" y="487"/>
                  </a:lnTo>
                  <a:lnTo>
                    <a:pt x="112" y="487"/>
                  </a:lnTo>
                  <a:lnTo>
                    <a:pt x="111" y="487"/>
                  </a:lnTo>
                  <a:lnTo>
                    <a:pt x="111" y="487"/>
                  </a:lnTo>
                  <a:lnTo>
                    <a:pt x="110" y="487"/>
                  </a:lnTo>
                  <a:lnTo>
                    <a:pt x="110" y="487"/>
                  </a:lnTo>
                  <a:lnTo>
                    <a:pt x="110" y="487"/>
                  </a:lnTo>
                  <a:lnTo>
                    <a:pt x="110" y="485"/>
                  </a:lnTo>
                  <a:lnTo>
                    <a:pt x="108" y="480"/>
                  </a:lnTo>
                  <a:lnTo>
                    <a:pt x="106" y="477"/>
                  </a:lnTo>
                  <a:lnTo>
                    <a:pt x="106" y="476"/>
                  </a:lnTo>
                  <a:lnTo>
                    <a:pt x="105" y="473"/>
                  </a:lnTo>
                  <a:lnTo>
                    <a:pt x="103" y="468"/>
                  </a:lnTo>
                  <a:lnTo>
                    <a:pt x="103" y="467"/>
                  </a:lnTo>
                  <a:lnTo>
                    <a:pt x="103" y="466"/>
                  </a:lnTo>
                  <a:lnTo>
                    <a:pt x="102" y="465"/>
                  </a:lnTo>
                  <a:lnTo>
                    <a:pt x="102" y="465"/>
                  </a:lnTo>
                  <a:lnTo>
                    <a:pt x="101" y="464"/>
                  </a:lnTo>
                  <a:lnTo>
                    <a:pt x="100" y="463"/>
                  </a:lnTo>
                  <a:lnTo>
                    <a:pt x="97" y="461"/>
                  </a:lnTo>
                  <a:lnTo>
                    <a:pt x="96" y="460"/>
                  </a:lnTo>
                  <a:lnTo>
                    <a:pt x="95" y="459"/>
                  </a:lnTo>
                  <a:lnTo>
                    <a:pt x="93" y="458"/>
                  </a:lnTo>
                  <a:lnTo>
                    <a:pt x="91" y="458"/>
                  </a:lnTo>
                  <a:lnTo>
                    <a:pt x="90" y="457"/>
                  </a:lnTo>
                  <a:lnTo>
                    <a:pt x="87" y="456"/>
                  </a:lnTo>
                  <a:lnTo>
                    <a:pt x="85" y="455"/>
                  </a:lnTo>
                  <a:lnTo>
                    <a:pt x="83" y="455"/>
                  </a:lnTo>
                  <a:lnTo>
                    <a:pt x="81" y="454"/>
                  </a:lnTo>
                  <a:lnTo>
                    <a:pt x="80" y="453"/>
                  </a:lnTo>
                  <a:lnTo>
                    <a:pt x="77" y="452"/>
                  </a:lnTo>
                  <a:lnTo>
                    <a:pt x="76" y="451"/>
                  </a:lnTo>
                  <a:lnTo>
                    <a:pt x="76" y="451"/>
                  </a:lnTo>
                  <a:lnTo>
                    <a:pt x="75" y="450"/>
                  </a:lnTo>
                  <a:lnTo>
                    <a:pt x="75" y="450"/>
                  </a:lnTo>
                  <a:lnTo>
                    <a:pt x="75" y="450"/>
                  </a:lnTo>
                  <a:lnTo>
                    <a:pt x="74" y="449"/>
                  </a:lnTo>
                  <a:lnTo>
                    <a:pt x="74" y="449"/>
                  </a:lnTo>
                  <a:lnTo>
                    <a:pt x="74" y="448"/>
                  </a:lnTo>
                  <a:lnTo>
                    <a:pt x="74" y="448"/>
                  </a:lnTo>
                  <a:lnTo>
                    <a:pt x="75" y="446"/>
                  </a:lnTo>
                  <a:lnTo>
                    <a:pt x="75" y="443"/>
                  </a:lnTo>
                  <a:lnTo>
                    <a:pt x="76" y="440"/>
                  </a:lnTo>
                  <a:lnTo>
                    <a:pt x="76" y="438"/>
                  </a:lnTo>
                  <a:lnTo>
                    <a:pt x="76" y="437"/>
                  </a:lnTo>
                  <a:lnTo>
                    <a:pt x="76" y="435"/>
                  </a:lnTo>
                  <a:lnTo>
                    <a:pt x="77" y="434"/>
                  </a:lnTo>
                  <a:lnTo>
                    <a:pt x="76" y="432"/>
                  </a:lnTo>
                  <a:lnTo>
                    <a:pt x="76" y="431"/>
                  </a:lnTo>
                  <a:lnTo>
                    <a:pt x="76" y="431"/>
                  </a:lnTo>
                  <a:lnTo>
                    <a:pt x="76" y="430"/>
                  </a:lnTo>
                  <a:lnTo>
                    <a:pt x="76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4" y="430"/>
                  </a:lnTo>
                  <a:lnTo>
                    <a:pt x="74" y="431"/>
                  </a:lnTo>
                  <a:lnTo>
                    <a:pt x="73" y="432"/>
                  </a:lnTo>
                  <a:lnTo>
                    <a:pt x="73" y="433"/>
                  </a:lnTo>
                  <a:lnTo>
                    <a:pt x="72" y="433"/>
                  </a:lnTo>
                  <a:lnTo>
                    <a:pt x="72" y="433"/>
                  </a:lnTo>
                  <a:lnTo>
                    <a:pt x="72" y="433"/>
                  </a:lnTo>
                  <a:lnTo>
                    <a:pt x="71" y="433"/>
                  </a:lnTo>
                  <a:lnTo>
                    <a:pt x="71" y="433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69" y="432"/>
                  </a:lnTo>
                  <a:lnTo>
                    <a:pt x="69" y="432"/>
                  </a:lnTo>
                  <a:lnTo>
                    <a:pt x="68" y="431"/>
                  </a:lnTo>
                  <a:lnTo>
                    <a:pt x="67" y="431"/>
                  </a:lnTo>
                  <a:lnTo>
                    <a:pt x="66" y="429"/>
                  </a:lnTo>
                  <a:lnTo>
                    <a:pt x="66" y="428"/>
                  </a:lnTo>
                  <a:lnTo>
                    <a:pt x="65" y="428"/>
                  </a:lnTo>
                  <a:lnTo>
                    <a:pt x="65" y="427"/>
                  </a:lnTo>
                  <a:lnTo>
                    <a:pt x="63" y="424"/>
                  </a:lnTo>
                  <a:lnTo>
                    <a:pt x="63" y="424"/>
                  </a:lnTo>
                  <a:lnTo>
                    <a:pt x="63" y="423"/>
                  </a:lnTo>
                  <a:lnTo>
                    <a:pt x="62" y="422"/>
                  </a:lnTo>
                  <a:lnTo>
                    <a:pt x="62" y="422"/>
                  </a:lnTo>
                  <a:lnTo>
                    <a:pt x="60" y="421"/>
                  </a:lnTo>
                  <a:lnTo>
                    <a:pt x="59" y="420"/>
                  </a:lnTo>
                  <a:lnTo>
                    <a:pt x="59" y="419"/>
                  </a:lnTo>
                  <a:lnTo>
                    <a:pt x="58" y="418"/>
                  </a:lnTo>
                  <a:lnTo>
                    <a:pt x="58" y="417"/>
                  </a:lnTo>
                  <a:lnTo>
                    <a:pt x="57" y="417"/>
                  </a:lnTo>
                  <a:lnTo>
                    <a:pt x="57" y="414"/>
                  </a:lnTo>
                  <a:lnTo>
                    <a:pt x="56" y="410"/>
                  </a:lnTo>
                  <a:lnTo>
                    <a:pt x="55" y="408"/>
                  </a:lnTo>
                  <a:lnTo>
                    <a:pt x="54" y="407"/>
                  </a:lnTo>
                  <a:lnTo>
                    <a:pt x="54" y="406"/>
                  </a:lnTo>
                  <a:lnTo>
                    <a:pt x="53" y="405"/>
                  </a:lnTo>
                  <a:lnTo>
                    <a:pt x="52" y="404"/>
                  </a:lnTo>
                  <a:lnTo>
                    <a:pt x="52" y="403"/>
                  </a:lnTo>
                  <a:lnTo>
                    <a:pt x="52" y="402"/>
                  </a:lnTo>
                  <a:lnTo>
                    <a:pt x="51" y="401"/>
                  </a:lnTo>
                  <a:lnTo>
                    <a:pt x="50" y="400"/>
                  </a:lnTo>
                  <a:lnTo>
                    <a:pt x="50" y="399"/>
                  </a:lnTo>
                  <a:lnTo>
                    <a:pt x="48" y="398"/>
                  </a:lnTo>
                  <a:lnTo>
                    <a:pt x="47" y="397"/>
                  </a:lnTo>
                  <a:lnTo>
                    <a:pt x="47" y="396"/>
                  </a:lnTo>
                  <a:lnTo>
                    <a:pt x="46" y="394"/>
                  </a:lnTo>
                  <a:lnTo>
                    <a:pt x="45" y="393"/>
                  </a:lnTo>
                  <a:lnTo>
                    <a:pt x="45" y="392"/>
                  </a:lnTo>
                  <a:lnTo>
                    <a:pt x="44" y="391"/>
                  </a:lnTo>
                  <a:lnTo>
                    <a:pt x="43" y="390"/>
                  </a:lnTo>
                  <a:lnTo>
                    <a:pt x="42" y="389"/>
                  </a:lnTo>
                  <a:lnTo>
                    <a:pt x="42" y="389"/>
                  </a:lnTo>
                  <a:lnTo>
                    <a:pt x="41" y="388"/>
                  </a:lnTo>
                  <a:lnTo>
                    <a:pt x="40" y="388"/>
                  </a:lnTo>
                  <a:lnTo>
                    <a:pt x="38" y="388"/>
                  </a:lnTo>
                  <a:lnTo>
                    <a:pt x="36" y="387"/>
                  </a:lnTo>
                  <a:lnTo>
                    <a:pt x="34" y="387"/>
                  </a:lnTo>
                  <a:lnTo>
                    <a:pt x="33" y="387"/>
                  </a:lnTo>
                  <a:lnTo>
                    <a:pt x="32" y="387"/>
                  </a:lnTo>
                  <a:lnTo>
                    <a:pt x="31" y="387"/>
                  </a:lnTo>
                  <a:lnTo>
                    <a:pt x="30" y="387"/>
                  </a:lnTo>
                  <a:lnTo>
                    <a:pt x="28" y="387"/>
                  </a:lnTo>
                  <a:lnTo>
                    <a:pt x="27" y="388"/>
                  </a:lnTo>
                  <a:lnTo>
                    <a:pt x="25" y="389"/>
                  </a:lnTo>
                  <a:lnTo>
                    <a:pt x="24" y="390"/>
                  </a:lnTo>
                  <a:lnTo>
                    <a:pt x="23" y="391"/>
                  </a:lnTo>
                  <a:lnTo>
                    <a:pt x="21" y="392"/>
                  </a:lnTo>
                  <a:lnTo>
                    <a:pt x="20" y="394"/>
                  </a:lnTo>
                  <a:lnTo>
                    <a:pt x="19" y="394"/>
                  </a:lnTo>
                  <a:lnTo>
                    <a:pt x="19" y="394"/>
                  </a:lnTo>
                  <a:lnTo>
                    <a:pt x="19" y="395"/>
                  </a:lnTo>
                  <a:lnTo>
                    <a:pt x="19" y="395"/>
                  </a:lnTo>
                  <a:lnTo>
                    <a:pt x="19" y="395"/>
                  </a:lnTo>
                  <a:lnTo>
                    <a:pt x="19" y="396"/>
                  </a:lnTo>
                  <a:lnTo>
                    <a:pt x="20" y="396"/>
                  </a:lnTo>
                  <a:lnTo>
                    <a:pt x="20" y="397"/>
                  </a:lnTo>
                  <a:lnTo>
                    <a:pt x="21" y="398"/>
                  </a:lnTo>
                  <a:lnTo>
                    <a:pt x="21" y="398"/>
                  </a:lnTo>
                  <a:lnTo>
                    <a:pt x="21" y="399"/>
                  </a:lnTo>
                  <a:lnTo>
                    <a:pt x="22" y="399"/>
                  </a:lnTo>
                  <a:lnTo>
                    <a:pt x="27" y="404"/>
                  </a:lnTo>
                  <a:lnTo>
                    <a:pt x="27" y="404"/>
                  </a:lnTo>
                  <a:lnTo>
                    <a:pt x="28" y="405"/>
                  </a:lnTo>
                  <a:lnTo>
                    <a:pt x="28" y="406"/>
                  </a:lnTo>
                  <a:lnTo>
                    <a:pt x="28" y="407"/>
                  </a:lnTo>
                  <a:lnTo>
                    <a:pt x="29" y="408"/>
                  </a:lnTo>
                  <a:lnTo>
                    <a:pt x="29" y="409"/>
                  </a:lnTo>
                  <a:lnTo>
                    <a:pt x="30" y="410"/>
                  </a:lnTo>
                  <a:lnTo>
                    <a:pt x="31" y="412"/>
                  </a:lnTo>
                  <a:lnTo>
                    <a:pt x="31" y="413"/>
                  </a:lnTo>
                  <a:lnTo>
                    <a:pt x="32" y="414"/>
                  </a:lnTo>
                  <a:lnTo>
                    <a:pt x="32" y="415"/>
                  </a:lnTo>
                  <a:lnTo>
                    <a:pt x="32" y="415"/>
                  </a:lnTo>
                  <a:lnTo>
                    <a:pt x="32" y="416"/>
                  </a:lnTo>
                  <a:lnTo>
                    <a:pt x="32" y="417"/>
                  </a:lnTo>
                  <a:lnTo>
                    <a:pt x="32" y="417"/>
                  </a:lnTo>
                  <a:lnTo>
                    <a:pt x="32" y="418"/>
                  </a:lnTo>
                  <a:lnTo>
                    <a:pt x="32" y="418"/>
                  </a:lnTo>
                  <a:lnTo>
                    <a:pt x="31" y="419"/>
                  </a:lnTo>
                  <a:lnTo>
                    <a:pt x="30" y="421"/>
                  </a:lnTo>
                  <a:lnTo>
                    <a:pt x="29" y="422"/>
                  </a:lnTo>
                  <a:lnTo>
                    <a:pt x="28" y="424"/>
                  </a:lnTo>
                  <a:lnTo>
                    <a:pt x="27" y="427"/>
                  </a:lnTo>
                  <a:lnTo>
                    <a:pt x="27" y="429"/>
                  </a:lnTo>
                  <a:lnTo>
                    <a:pt x="26" y="430"/>
                  </a:lnTo>
                  <a:lnTo>
                    <a:pt x="25" y="431"/>
                  </a:lnTo>
                  <a:lnTo>
                    <a:pt x="25" y="432"/>
                  </a:lnTo>
                  <a:lnTo>
                    <a:pt x="23" y="433"/>
                  </a:lnTo>
                  <a:lnTo>
                    <a:pt x="22" y="434"/>
                  </a:lnTo>
                  <a:lnTo>
                    <a:pt x="21" y="435"/>
                  </a:lnTo>
                  <a:lnTo>
                    <a:pt x="20" y="436"/>
                  </a:lnTo>
                  <a:lnTo>
                    <a:pt x="19" y="436"/>
                  </a:lnTo>
                  <a:lnTo>
                    <a:pt x="18" y="437"/>
                  </a:lnTo>
                  <a:lnTo>
                    <a:pt x="17" y="437"/>
                  </a:lnTo>
                  <a:lnTo>
                    <a:pt x="16" y="437"/>
                  </a:lnTo>
                  <a:lnTo>
                    <a:pt x="15" y="437"/>
                  </a:lnTo>
                  <a:lnTo>
                    <a:pt x="14" y="436"/>
                  </a:lnTo>
                  <a:lnTo>
                    <a:pt x="12" y="436"/>
                  </a:lnTo>
                  <a:lnTo>
                    <a:pt x="11" y="435"/>
                  </a:lnTo>
                  <a:lnTo>
                    <a:pt x="9" y="434"/>
                  </a:lnTo>
                  <a:lnTo>
                    <a:pt x="6" y="431"/>
                  </a:lnTo>
                  <a:lnTo>
                    <a:pt x="4" y="430"/>
                  </a:lnTo>
                  <a:lnTo>
                    <a:pt x="3" y="429"/>
                  </a:lnTo>
                  <a:lnTo>
                    <a:pt x="3" y="429"/>
                  </a:lnTo>
                  <a:lnTo>
                    <a:pt x="1" y="427"/>
                  </a:lnTo>
                  <a:lnTo>
                    <a:pt x="1" y="427"/>
                  </a:lnTo>
                  <a:lnTo>
                    <a:pt x="0" y="426"/>
                  </a:lnTo>
                  <a:lnTo>
                    <a:pt x="0" y="426"/>
                  </a:lnTo>
                  <a:lnTo>
                    <a:pt x="0" y="425"/>
                  </a:lnTo>
                  <a:lnTo>
                    <a:pt x="0" y="424"/>
                  </a:lnTo>
                  <a:lnTo>
                    <a:pt x="0" y="423"/>
                  </a:lnTo>
                  <a:lnTo>
                    <a:pt x="0" y="423"/>
                  </a:lnTo>
                  <a:lnTo>
                    <a:pt x="0" y="422"/>
                  </a:lnTo>
                  <a:lnTo>
                    <a:pt x="1" y="421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" name="Freeform 71">
              <a:extLst>
                <a:ext uri="{FF2B5EF4-FFF2-40B4-BE49-F238E27FC236}">
                  <a16:creationId xmlns:a16="http://schemas.microsoft.com/office/drawing/2014/main" id="{2E797132-3309-ACD0-5B10-7FD8DB720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140"/>
              <a:ext cx="169" cy="475"/>
            </a:xfrm>
            <a:custGeom>
              <a:avLst/>
              <a:gdLst>
                <a:gd name="T0" fmla="*/ 36 w 169"/>
                <a:gd name="T1" fmla="*/ 470 h 475"/>
                <a:gd name="T2" fmla="*/ 35 w 169"/>
                <a:gd name="T3" fmla="*/ 464 h 475"/>
                <a:gd name="T4" fmla="*/ 28 w 169"/>
                <a:gd name="T5" fmla="*/ 449 h 475"/>
                <a:gd name="T6" fmla="*/ 27 w 169"/>
                <a:gd name="T7" fmla="*/ 436 h 475"/>
                <a:gd name="T8" fmla="*/ 34 w 169"/>
                <a:gd name="T9" fmla="*/ 426 h 475"/>
                <a:gd name="T10" fmla="*/ 34 w 169"/>
                <a:gd name="T11" fmla="*/ 424 h 475"/>
                <a:gd name="T12" fmla="*/ 15 w 169"/>
                <a:gd name="T13" fmla="*/ 419 h 475"/>
                <a:gd name="T14" fmla="*/ 13 w 169"/>
                <a:gd name="T15" fmla="*/ 416 h 475"/>
                <a:gd name="T16" fmla="*/ 13 w 169"/>
                <a:gd name="T17" fmla="*/ 405 h 475"/>
                <a:gd name="T18" fmla="*/ 18 w 169"/>
                <a:gd name="T19" fmla="*/ 403 h 475"/>
                <a:gd name="T20" fmla="*/ 26 w 169"/>
                <a:gd name="T21" fmla="*/ 403 h 475"/>
                <a:gd name="T22" fmla="*/ 29 w 169"/>
                <a:gd name="T23" fmla="*/ 395 h 475"/>
                <a:gd name="T24" fmla="*/ 31 w 169"/>
                <a:gd name="T25" fmla="*/ 386 h 475"/>
                <a:gd name="T26" fmla="*/ 30 w 169"/>
                <a:gd name="T27" fmla="*/ 374 h 475"/>
                <a:gd name="T28" fmla="*/ 32 w 169"/>
                <a:gd name="T29" fmla="*/ 366 h 475"/>
                <a:gd name="T30" fmla="*/ 40 w 169"/>
                <a:gd name="T31" fmla="*/ 355 h 475"/>
                <a:gd name="T32" fmla="*/ 40 w 169"/>
                <a:gd name="T33" fmla="*/ 341 h 475"/>
                <a:gd name="T34" fmla="*/ 36 w 169"/>
                <a:gd name="T35" fmla="*/ 335 h 475"/>
                <a:gd name="T36" fmla="*/ 28 w 169"/>
                <a:gd name="T37" fmla="*/ 333 h 475"/>
                <a:gd name="T38" fmla="*/ 28 w 169"/>
                <a:gd name="T39" fmla="*/ 328 h 475"/>
                <a:gd name="T40" fmla="*/ 26 w 169"/>
                <a:gd name="T41" fmla="*/ 320 h 475"/>
                <a:gd name="T42" fmla="*/ 20 w 169"/>
                <a:gd name="T43" fmla="*/ 308 h 475"/>
                <a:gd name="T44" fmla="*/ 12 w 169"/>
                <a:gd name="T45" fmla="*/ 294 h 475"/>
                <a:gd name="T46" fmla="*/ 7 w 169"/>
                <a:gd name="T47" fmla="*/ 284 h 475"/>
                <a:gd name="T48" fmla="*/ 9 w 169"/>
                <a:gd name="T49" fmla="*/ 275 h 475"/>
                <a:gd name="T50" fmla="*/ 13 w 169"/>
                <a:gd name="T51" fmla="*/ 266 h 475"/>
                <a:gd name="T52" fmla="*/ 11 w 169"/>
                <a:gd name="T53" fmla="*/ 250 h 475"/>
                <a:gd name="T54" fmla="*/ 5 w 169"/>
                <a:gd name="T55" fmla="*/ 230 h 475"/>
                <a:gd name="T56" fmla="*/ 1 w 169"/>
                <a:gd name="T57" fmla="*/ 212 h 475"/>
                <a:gd name="T58" fmla="*/ 3 w 169"/>
                <a:gd name="T59" fmla="*/ 209 h 475"/>
                <a:gd name="T60" fmla="*/ 11 w 169"/>
                <a:gd name="T61" fmla="*/ 206 h 475"/>
                <a:gd name="T62" fmla="*/ 22 w 169"/>
                <a:gd name="T63" fmla="*/ 196 h 475"/>
                <a:gd name="T64" fmla="*/ 27 w 169"/>
                <a:gd name="T65" fmla="*/ 189 h 475"/>
                <a:gd name="T66" fmla="*/ 25 w 169"/>
                <a:gd name="T67" fmla="*/ 177 h 475"/>
                <a:gd name="T68" fmla="*/ 27 w 169"/>
                <a:gd name="T69" fmla="*/ 167 h 475"/>
                <a:gd name="T70" fmla="*/ 28 w 169"/>
                <a:gd name="T71" fmla="*/ 157 h 475"/>
                <a:gd name="T72" fmla="*/ 38 w 169"/>
                <a:gd name="T73" fmla="*/ 132 h 475"/>
                <a:gd name="T74" fmla="*/ 41 w 169"/>
                <a:gd name="T75" fmla="*/ 118 h 475"/>
                <a:gd name="T76" fmla="*/ 43 w 169"/>
                <a:gd name="T77" fmla="*/ 115 h 475"/>
                <a:gd name="T78" fmla="*/ 53 w 169"/>
                <a:gd name="T79" fmla="*/ 106 h 475"/>
                <a:gd name="T80" fmla="*/ 64 w 169"/>
                <a:gd name="T81" fmla="*/ 103 h 475"/>
                <a:gd name="T82" fmla="*/ 72 w 169"/>
                <a:gd name="T83" fmla="*/ 98 h 475"/>
                <a:gd name="T84" fmla="*/ 80 w 169"/>
                <a:gd name="T85" fmla="*/ 103 h 475"/>
                <a:gd name="T86" fmla="*/ 85 w 169"/>
                <a:gd name="T87" fmla="*/ 103 h 475"/>
                <a:gd name="T88" fmla="*/ 85 w 169"/>
                <a:gd name="T89" fmla="*/ 94 h 475"/>
                <a:gd name="T90" fmla="*/ 85 w 169"/>
                <a:gd name="T91" fmla="*/ 80 h 475"/>
                <a:gd name="T92" fmla="*/ 80 w 169"/>
                <a:gd name="T93" fmla="*/ 69 h 475"/>
                <a:gd name="T94" fmla="*/ 66 w 169"/>
                <a:gd name="T95" fmla="*/ 60 h 475"/>
                <a:gd name="T96" fmla="*/ 59 w 169"/>
                <a:gd name="T97" fmla="*/ 49 h 475"/>
                <a:gd name="T98" fmla="*/ 52 w 169"/>
                <a:gd name="T99" fmla="*/ 30 h 475"/>
                <a:gd name="T100" fmla="*/ 42 w 169"/>
                <a:gd name="T101" fmla="*/ 21 h 475"/>
                <a:gd name="T102" fmla="*/ 39 w 169"/>
                <a:gd name="T103" fmla="*/ 15 h 475"/>
                <a:gd name="T104" fmla="*/ 45 w 169"/>
                <a:gd name="T105" fmla="*/ 5 h 475"/>
                <a:gd name="T106" fmla="*/ 51 w 169"/>
                <a:gd name="T107" fmla="*/ 0 h 475"/>
                <a:gd name="T108" fmla="*/ 68 w 169"/>
                <a:gd name="T109" fmla="*/ 10 h 475"/>
                <a:gd name="T110" fmla="*/ 79 w 169"/>
                <a:gd name="T111" fmla="*/ 11 h 475"/>
                <a:gd name="T112" fmla="*/ 98 w 169"/>
                <a:gd name="T113" fmla="*/ 18 h 475"/>
                <a:gd name="T114" fmla="*/ 111 w 169"/>
                <a:gd name="T115" fmla="*/ 21 h 475"/>
                <a:gd name="T116" fmla="*/ 124 w 169"/>
                <a:gd name="T117" fmla="*/ 28 h 475"/>
                <a:gd name="T118" fmla="*/ 136 w 169"/>
                <a:gd name="T119" fmla="*/ 28 h 475"/>
                <a:gd name="T120" fmla="*/ 141 w 169"/>
                <a:gd name="T121" fmla="*/ 38 h 475"/>
                <a:gd name="T122" fmla="*/ 151 w 169"/>
                <a:gd name="T123" fmla="*/ 49 h 475"/>
                <a:gd name="T124" fmla="*/ 162 w 169"/>
                <a:gd name="T125" fmla="*/ 55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9" h="475">
                  <a:moveTo>
                    <a:pt x="32" y="475"/>
                  </a:moveTo>
                  <a:lnTo>
                    <a:pt x="32" y="475"/>
                  </a:lnTo>
                  <a:lnTo>
                    <a:pt x="32" y="474"/>
                  </a:lnTo>
                  <a:lnTo>
                    <a:pt x="32" y="474"/>
                  </a:lnTo>
                  <a:lnTo>
                    <a:pt x="33" y="473"/>
                  </a:lnTo>
                  <a:lnTo>
                    <a:pt x="35" y="471"/>
                  </a:lnTo>
                  <a:lnTo>
                    <a:pt x="36" y="471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9"/>
                  </a:lnTo>
                  <a:lnTo>
                    <a:pt x="37" y="469"/>
                  </a:lnTo>
                  <a:lnTo>
                    <a:pt x="37" y="468"/>
                  </a:lnTo>
                  <a:lnTo>
                    <a:pt x="36" y="467"/>
                  </a:lnTo>
                  <a:lnTo>
                    <a:pt x="36" y="466"/>
                  </a:lnTo>
                  <a:lnTo>
                    <a:pt x="35" y="465"/>
                  </a:lnTo>
                  <a:lnTo>
                    <a:pt x="35" y="464"/>
                  </a:lnTo>
                  <a:lnTo>
                    <a:pt x="34" y="463"/>
                  </a:lnTo>
                  <a:lnTo>
                    <a:pt x="32" y="460"/>
                  </a:lnTo>
                  <a:lnTo>
                    <a:pt x="31" y="459"/>
                  </a:lnTo>
                  <a:lnTo>
                    <a:pt x="31" y="458"/>
                  </a:lnTo>
                  <a:lnTo>
                    <a:pt x="30" y="457"/>
                  </a:lnTo>
                  <a:lnTo>
                    <a:pt x="30" y="456"/>
                  </a:lnTo>
                  <a:lnTo>
                    <a:pt x="29" y="453"/>
                  </a:lnTo>
                  <a:lnTo>
                    <a:pt x="28" y="449"/>
                  </a:lnTo>
                  <a:lnTo>
                    <a:pt x="27" y="446"/>
                  </a:lnTo>
                  <a:lnTo>
                    <a:pt x="27" y="445"/>
                  </a:lnTo>
                  <a:lnTo>
                    <a:pt x="27" y="443"/>
                  </a:lnTo>
                  <a:lnTo>
                    <a:pt x="27" y="442"/>
                  </a:lnTo>
                  <a:lnTo>
                    <a:pt x="27" y="440"/>
                  </a:lnTo>
                  <a:lnTo>
                    <a:pt x="27" y="439"/>
                  </a:lnTo>
                  <a:lnTo>
                    <a:pt x="27" y="437"/>
                  </a:lnTo>
                  <a:lnTo>
                    <a:pt x="27" y="436"/>
                  </a:lnTo>
                  <a:lnTo>
                    <a:pt x="28" y="435"/>
                  </a:lnTo>
                  <a:lnTo>
                    <a:pt x="30" y="432"/>
                  </a:lnTo>
                  <a:lnTo>
                    <a:pt x="30" y="431"/>
                  </a:lnTo>
                  <a:lnTo>
                    <a:pt x="32" y="429"/>
                  </a:lnTo>
                  <a:lnTo>
                    <a:pt x="32" y="428"/>
                  </a:lnTo>
                  <a:lnTo>
                    <a:pt x="33" y="428"/>
                  </a:lnTo>
                  <a:lnTo>
                    <a:pt x="34" y="427"/>
                  </a:lnTo>
                  <a:lnTo>
                    <a:pt x="34" y="426"/>
                  </a:lnTo>
                  <a:lnTo>
                    <a:pt x="35" y="426"/>
                  </a:lnTo>
                  <a:lnTo>
                    <a:pt x="35" y="425"/>
                  </a:lnTo>
                  <a:lnTo>
                    <a:pt x="36" y="425"/>
                  </a:lnTo>
                  <a:lnTo>
                    <a:pt x="36" y="425"/>
                  </a:lnTo>
                  <a:lnTo>
                    <a:pt x="36" y="424"/>
                  </a:lnTo>
                  <a:lnTo>
                    <a:pt x="35" y="424"/>
                  </a:lnTo>
                  <a:lnTo>
                    <a:pt x="35" y="424"/>
                  </a:lnTo>
                  <a:lnTo>
                    <a:pt x="34" y="424"/>
                  </a:lnTo>
                  <a:lnTo>
                    <a:pt x="32" y="423"/>
                  </a:lnTo>
                  <a:lnTo>
                    <a:pt x="30" y="423"/>
                  </a:lnTo>
                  <a:lnTo>
                    <a:pt x="29" y="423"/>
                  </a:lnTo>
                  <a:lnTo>
                    <a:pt x="27" y="423"/>
                  </a:lnTo>
                  <a:lnTo>
                    <a:pt x="25" y="422"/>
                  </a:lnTo>
                  <a:lnTo>
                    <a:pt x="21" y="421"/>
                  </a:lnTo>
                  <a:lnTo>
                    <a:pt x="18" y="420"/>
                  </a:lnTo>
                  <a:lnTo>
                    <a:pt x="15" y="419"/>
                  </a:lnTo>
                  <a:lnTo>
                    <a:pt x="15" y="419"/>
                  </a:lnTo>
                  <a:lnTo>
                    <a:pt x="14" y="419"/>
                  </a:lnTo>
                  <a:lnTo>
                    <a:pt x="14" y="418"/>
                  </a:lnTo>
                  <a:lnTo>
                    <a:pt x="13" y="418"/>
                  </a:lnTo>
                  <a:lnTo>
                    <a:pt x="13" y="418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3" y="416"/>
                  </a:lnTo>
                  <a:lnTo>
                    <a:pt x="13" y="415"/>
                  </a:lnTo>
                  <a:lnTo>
                    <a:pt x="13" y="413"/>
                  </a:lnTo>
                  <a:lnTo>
                    <a:pt x="13" y="412"/>
                  </a:lnTo>
                  <a:lnTo>
                    <a:pt x="13" y="411"/>
                  </a:lnTo>
                  <a:lnTo>
                    <a:pt x="12" y="408"/>
                  </a:lnTo>
                  <a:lnTo>
                    <a:pt x="12" y="407"/>
                  </a:lnTo>
                  <a:lnTo>
                    <a:pt x="12" y="406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4" y="403"/>
                  </a:lnTo>
                  <a:lnTo>
                    <a:pt x="14" y="402"/>
                  </a:lnTo>
                  <a:lnTo>
                    <a:pt x="15" y="402"/>
                  </a:lnTo>
                  <a:lnTo>
                    <a:pt x="15" y="402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3" y="404"/>
                  </a:lnTo>
                  <a:lnTo>
                    <a:pt x="24" y="404"/>
                  </a:lnTo>
                  <a:lnTo>
                    <a:pt x="25" y="404"/>
                  </a:lnTo>
                  <a:lnTo>
                    <a:pt x="25" y="404"/>
                  </a:lnTo>
                  <a:lnTo>
                    <a:pt x="25" y="403"/>
                  </a:lnTo>
                  <a:lnTo>
                    <a:pt x="26" y="403"/>
                  </a:lnTo>
                  <a:lnTo>
                    <a:pt x="26" y="403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8" y="397"/>
                  </a:lnTo>
                  <a:lnTo>
                    <a:pt x="29" y="396"/>
                  </a:lnTo>
                  <a:lnTo>
                    <a:pt x="29" y="395"/>
                  </a:lnTo>
                  <a:lnTo>
                    <a:pt x="29" y="394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0" y="389"/>
                  </a:lnTo>
                  <a:lnTo>
                    <a:pt x="31" y="386"/>
                  </a:lnTo>
                  <a:lnTo>
                    <a:pt x="32" y="384"/>
                  </a:lnTo>
                  <a:lnTo>
                    <a:pt x="32" y="382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80"/>
                  </a:lnTo>
                  <a:lnTo>
                    <a:pt x="31" y="377"/>
                  </a:lnTo>
                  <a:lnTo>
                    <a:pt x="30" y="375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3"/>
                  </a:lnTo>
                  <a:lnTo>
                    <a:pt x="30" y="371"/>
                  </a:lnTo>
                  <a:lnTo>
                    <a:pt x="30" y="370"/>
                  </a:lnTo>
                  <a:lnTo>
                    <a:pt x="30" y="369"/>
                  </a:lnTo>
                  <a:lnTo>
                    <a:pt x="31" y="368"/>
                  </a:lnTo>
                  <a:lnTo>
                    <a:pt x="31" y="367"/>
                  </a:lnTo>
                  <a:lnTo>
                    <a:pt x="32" y="366"/>
                  </a:lnTo>
                  <a:lnTo>
                    <a:pt x="33" y="365"/>
                  </a:lnTo>
                  <a:lnTo>
                    <a:pt x="33" y="364"/>
                  </a:lnTo>
                  <a:lnTo>
                    <a:pt x="36" y="361"/>
                  </a:lnTo>
                  <a:lnTo>
                    <a:pt x="38" y="358"/>
                  </a:lnTo>
                  <a:lnTo>
                    <a:pt x="39" y="357"/>
                  </a:lnTo>
                  <a:lnTo>
                    <a:pt x="39" y="356"/>
                  </a:lnTo>
                  <a:lnTo>
                    <a:pt x="39" y="356"/>
                  </a:lnTo>
                  <a:lnTo>
                    <a:pt x="40" y="355"/>
                  </a:lnTo>
                  <a:lnTo>
                    <a:pt x="40" y="353"/>
                  </a:lnTo>
                  <a:lnTo>
                    <a:pt x="41" y="352"/>
                  </a:lnTo>
                  <a:lnTo>
                    <a:pt x="41" y="350"/>
                  </a:lnTo>
                  <a:lnTo>
                    <a:pt x="41" y="348"/>
                  </a:lnTo>
                  <a:lnTo>
                    <a:pt x="41" y="347"/>
                  </a:lnTo>
                  <a:lnTo>
                    <a:pt x="41" y="346"/>
                  </a:lnTo>
                  <a:lnTo>
                    <a:pt x="40" y="342"/>
                  </a:lnTo>
                  <a:lnTo>
                    <a:pt x="40" y="341"/>
                  </a:lnTo>
                  <a:lnTo>
                    <a:pt x="40" y="340"/>
                  </a:lnTo>
                  <a:lnTo>
                    <a:pt x="40" y="339"/>
                  </a:lnTo>
                  <a:lnTo>
                    <a:pt x="39" y="338"/>
                  </a:lnTo>
                  <a:lnTo>
                    <a:pt x="39" y="338"/>
                  </a:lnTo>
                  <a:lnTo>
                    <a:pt x="38" y="337"/>
                  </a:lnTo>
                  <a:lnTo>
                    <a:pt x="38" y="336"/>
                  </a:lnTo>
                  <a:lnTo>
                    <a:pt x="37" y="336"/>
                  </a:lnTo>
                  <a:lnTo>
                    <a:pt x="36" y="335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4" y="334"/>
                  </a:lnTo>
                  <a:lnTo>
                    <a:pt x="31" y="334"/>
                  </a:lnTo>
                  <a:lnTo>
                    <a:pt x="30" y="333"/>
                  </a:lnTo>
                  <a:lnTo>
                    <a:pt x="29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7" y="333"/>
                  </a:lnTo>
                  <a:lnTo>
                    <a:pt x="27" y="333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1"/>
                  </a:lnTo>
                  <a:lnTo>
                    <a:pt x="27" y="330"/>
                  </a:lnTo>
                  <a:lnTo>
                    <a:pt x="28" y="328"/>
                  </a:lnTo>
                  <a:lnTo>
                    <a:pt x="28" y="327"/>
                  </a:lnTo>
                  <a:lnTo>
                    <a:pt x="28" y="326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8" y="324"/>
                  </a:lnTo>
                  <a:lnTo>
                    <a:pt x="27" y="321"/>
                  </a:lnTo>
                  <a:lnTo>
                    <a:pt x="26" y="321"/>
                  </a:lnTo>
                  <a:lnTo>
                    <a:pt x="26" y="320"/>
                  </a:lnTo>
                  <a:lnTo>
                    <a:pt x="26" y="317"/>
                  </a:lnTo>
                  <a:lnTo>
                    <a:pt x="26" y="316"/>
                  </a:lnTo>
                  <a:lnTo>
                    <a:pt x="25" y="315"/>
                  </a:lnTo>
                  <a:lnTo>
                    <a:pt x="25" y="314"/>
                  </a:lnTo>
                  <a:lnTo>
                    <a:pt x="24" y="314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7" y="305"/>
                  </a:lnTo>
                  <a:lnTo>
                    <a:pt x="16" y="304"/>
                  </a:lnTo>
                  <a:lnTo>
                    <a:pt x="15" y="302"/>
                  </a:lnTo>
                  <a:lnTo>
                    <a:pt x="15" y="300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12" y="294"/>
                  </a:lnTo>
                  <a:lnTo>
                    <a:pt x="12" y="293"/>
                  </a:lnTo>
                  <a:lnTo>
                    <a:pt x="12" y="292"/>
                  </a:lnTo>
                  <a:lnTo>
                    <a:pt x="11" y="291"/>
                  </a:lnTo>
                  <a:lnTo>
                    <a:pt x="9" y="288"/>
                  </a:lnTo>
                  <a:lnTo>
                    <a:pt x="8" y="287"/>
                  </a:lnTo>
                  <a:lnTo>
                    <a:pt x="8" y="286"/>
                  </a:lnTo>
                  <a:lnTo>
                    <a:pt x="8" y="285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6"/>
                  </a:lnTo>
                  <a:lnTo>
                    <a:pt x="9" y="275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2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8"/>
                  </a:lnTo>
                  <a:lnTo>
                    <a:pt x="13" y="267"/>
                  </a:lnTo>
                  <a:lnTo>
                    <a:pt x="13" y="266"/>
                  </a:lnTo>
                  <a:lnTo>
                    <a:pt x="13" y="266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2" y="260"/>
                  </a:lnTo>
                  <a:lnTo>
                    <a:pt x="12" y="258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7"/>
                  </a:lnTo>
                  <a:lnTo>
                    <a:pt x="10" y="246"/>
                  </a:lnTo>
                  <a:lnTo>
                    <a:pt x="9" y="241"/>
                  </a:lnTo>
                  <a:lnTo>
                    <a:pt x="7" y="236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5" y="230"/>
                  </a:lnTo>
                  <a:lnTo>
                    <a:pt x="4" y="225"/>
                  </a:lnTo>
                  <a:lnTo>
                    <a:pt x="4" y="223"/>
                  </a:lnTo>
                  <a:lnTo>
                    <a:pt x="3" y="220"/>
                  </a:lnTo>
                  <a:lnTo>
                    <a:pt x="1" y="216"/>
                  </a:lnTo>
                  <a:lnTo>
                    <a:pt x="1" y="215"/>
                  </a:lnTo>
                  <a:lnTo>
                    <a:pt x="1" y="214"/>
                  </a:lnTo>
                  <a:lnTo>
                    <a:pt x="0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1" y="210"/>
                  </a:lnTo>
                  <a:lnTo>
                    <a:pt x="1" y="210"/>
                  </a:lnTo>
                  <a:lnTo>
                    <a:pt x="2" y="210"/>
                  </a:lnTo>
                  <a:lnTo>
                    <a:pt x="2" y="210"/>
                  </a:lnTo>
                  <a:lnTo>
                    <a:pt x="3" y="209"/>
                  </a:lnTo>
                  <a:lnTo>
                    <a:pt x="4" y="209"/>
                  </a:lnTo>
                  <a:lnTo>
                    <a:pt x="5" y="209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0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3" y="205"/>
                  </a:lnTo>
                  <a:lnTo>
                    <a:pt x="14" y="204"/>
                  </a:lnTo>
                  <a:lnTo>
                    <a:pt x="15" y="203"/>
                  </a:lnTo>
                  <a:lnTo>
                    <a:pt x="15" y="202"/>
                  </a:lnTo>
                  <a:lnTo>
                    <a:pt x="18" y="199"/>
                  </a:lnTo>
                  <a:lnTo>
                    <a:pt x="19" y="198"/>
                  </a:lnTo>
                  <a:lnTo>
                    <a:pt x="22" y="196"/>
                  </a:lnTo>
                  <a:lnTo>
                    <a:pt x="23" y="194"/>
                  </a:lnTo>
                  <a:lnTo>
                    <a:pt x="24" y="194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2"/>
                  </a:lnTo>
                  <a:lnTo>
                    <a:pt x="26" y="191"/>
                  </a:lnTo>
                  <a:lnTo>
                    <a:pt x="26" y="190"/>
                  </a:lnTo>
                  <a:lnTo>
                    <a:pt x="27" y="189"/>
                  </a:lnTo>
                  <a:lnTo>
                    <a:pt x="27" y="188"/>
                  </a:lnTo>
                  <a:lnTo>
                    <a:pt x="27" y="187"/>
                  </a:lnTo>
                  <a:lnTo>
                    <a:pt x="27" y="185"/>
                  </a:lnTo>
                  <a:lnTo>
                    <a:pt x="26" y="182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0"/>
                  </a:lnTo>
                  <a:lnTo>
                    <a:pt x="27" y="169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6"/>
                  </a:lnTo>
                  <a:lnTo>
                    <a:pt x="27" y="162"/>
                  </a:lnTo>
                  <a:lnTo>
                    <a:pt x="27" y="161"/>
                  </a:lnTo>
                  <a:lnTo>
                    <a:pt x="27" y="160"/>
                  </a:lnTo>
                  <a:lnTo>
                    <a:pt x="27" y="159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30" y="150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4" y="143"/>
                  </a:lnTo>
                  <a:lnTo>
                    <a:pt x="36" y="135"/>
                  </a:lnTo>
                  <a:lnTo>
                    <a:pt x="38" y="132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40" y="125"/>
                  </a:lnTo>
                  <a:lnTo>
                    <a:pt x="40" y="123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4" y="114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9" y="108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5" y="105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3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1"/>
                  </a:lnTo>
                  <a:lnTo>
                    <a:pt x="69" y="100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6" y="99"/>
                  </a:lnTo>
                  <a:lnTo>
                    <a:pt x="79" y="102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1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3"/>
                  </a:lnTo>
                  <a:lnTo>
                    <a:pt x="85" y="103"/>
                  </a:lnTo>
                  <a:lnTo>
                    <a:pt x="85" y="102"/>
                  </a:lnTo>
                  <a:lnTo>
                    <a:pt x="86" y="102"/>
                  </a:lnTo>
                  <a:lnTo>
                    <a:pt x="86" y="101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6" y="97"/>
                  </a:lnTo>
                  <a:lnTo>
                    <a:pt x="85" y="94"/>
                  </a:lnTo>
                  <a:lnTo>
                    <a:pt x="85" y="92"/>
                  </a:lnTo>
                  <a:lnTo>
                    <a:pt x="84" y="91"/>
                  </a:lnTo>
                  <a:lnTo>
                    <a:pt x="84" y="89"/>
                  </a:lnTo>
                  <a:lnTo>
                    <a:pt x="84" y="88"/>
                  </a:lnTo>
                  <a:lnTo>
                    <a:pt x="84" y="87"/>
                  </a:lnTo>
                  <a:lnTo>
                    <a:pt x="85" y="83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5" y="78"/>
                  </a:lnTo>
                  <a:lnTo>
                    <a:pt x="84" y="77"/>
                  </a:lnTo>
                  <a:lnTo>
                    <a:pt x="84" y="75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79" y="68"/>
                  </a:lnTo>
                  <a:lnTo>
                    <a:pt x="78" y="67"/>
                  </a:lnTo>
                  <a:lnTo>
                    <a:pt x="77" y="66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68" y="62"/>
                  </a:lnTo>
                  <a:lnTo>
                    <a:pt x="67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1" y="54"/>
                  </a:lnTo>
                  <a:lnTo>
                    <a:pt x="59" y="49"/>
                  </a:lnTo>
                  <a:lnTo>
                    <a:pt x="57" y="44"/>
                  </a:lnTo>
                  <a:lnTo>
                    <a:pt x="56" y="42"/>
                  </a:lnTo>
                  <a:lnTo>
                    <a:pt x="55" y="40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3" y="32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8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4" y="6"/>
                  </a:lnTo>
                  <a:lnTo>
                    <a:pt x="45" y="5"/>
                  </a:lnTo>
                  <a:lnTo>
                    <a:pt x="46" y="4"/>
                  </a:lnTo>
                  <a:lnTo>
                    <a:pt x="47" y="3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9" y="5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0" y="12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6" y="14"/>
                  </a:lnTo>
                  <a:lnTo>
                    <a:pt x="92" y="16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8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3" y="22"/>
                  </a:lnTo>
                  <a:lnTo>
                    <a:pt x="113" y="23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5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8" y="31"/>
                  </a:lnTo>
                  <a:lnTo>
                    <a:pt x="140" y="35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3" y="40"/>
                  </a:lnTo>
                  <a:lnTo>
                    <a:pt x="144" y="41"/>
                  </a:lnTo>
                  <a:lnTo>
                    <a:pt x="145" y="43"/>
                  </a:lnTo>
                  <a:lnTo>
                    <a:pt x="146" y="44"/>
                  </a:lnTo>
                  <a:lnTo>
                    <a:pt x="147" y="45"/>
                  </a:lnTo>
                  <a:lnTo>
                    <a:pt x="148" y="46"/>
                  </a:lnTo>
                  <a:lnTo>
                    <a:pt x="149" y="47"/>
                  </a:lnTo>
                  <a:lnTo>
                    <a:pt x="151" y="49"/>
                  </a:lnTo>
                  <a:lnTo>
                    <a:pt x="153" y="50"/>
                  </a:lnTo>
                  <a:lnTo>
                    <a:pt x="154" y="51"/>
                  </a:lnTo>
                  <a:lnTo>
                    <a:pt x="155" y="52"/>
                  </a:lnTo>
                  <a:lnTo>
                    <a:pt x="156" y="52"/>
                  </a:lnTo>
                  <a:lnTo>
                    <a:pt x="158" y="53"/>
                  </a:lnTo>
                  <a:lnTo>
                    <a:pt x="160" y="54"/>
                  </a:lnTo>
                  <a:lnTo>
                    <a:pt x="161" y="54"/>
                  </a:lnTo>
                  <a:lnTo>
                    <a:pt x="162" y="55"/>
                  </a:lnTo>
                  <a:lnTo>
                    <a:pt x="163" y="55"/>
                  </a:lnTo>
                  <a:lnTo>
                    <a:pt x="164" y="55"/>
                  </a:lnTo>
                  <a:lnTo>
                    <a:pt x="165" y="55"/>
                  </a:lnTo>
                  <a:lnTo>
                    <a:pt x="166" y="56"/>
                  </a:lnTo>
                  <a:lnTo>
                    <a:pt x="167" y="56"/>
                  </a:lnTo>
                  <a:lnTo>
                    <a:pt x="169" y="56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2" name="Freeform 72">
              <a:extLst>
                <a:ext uri="{FF2B5EF4-FFF2-40B4-BE49-F238E27FC236}">
                  <a16:creationId xmlns:a16="http://schemas.microsoft.com/office/drawing/2014/main" id="{EB8A4CE1-4F2F-E9A5-499E-6AF8624F6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4" y="3551"/>
              <a:ext cx="387" cy="320"/>
            </a:xfrm>
            <a:custGeom>
              <a:avLst/>
              <a:gdLst>
                <a:gd name="T0" fmla="*/ 257 w 387"/>
                <a:gd name="T1" fmla="*/ 7 h 320"/>
                <a:gd name="T2" fmla="*/ 275 w 387"/>
                <a:gd name="T3" fmla="*/ 11 h 320"/>
                <a:gd name="T4" fmla="*/ 308 w 387"/>
                <a:gd name="T5" fmla="*/ 10 h 320"/>
                <a:gd name="T6" fmla="*/ 331 w 387"/>
                <a:gd name="T7" fmla="*/ 19 h 320"/>
                <a:gd name="T8" fmla="*/ 349 w 387"/>
                <a:gd name="T9" fmla="*/ 20 h 320"/>
                <a:gd name="T10" fmla="*/ 366 w 387"/>
                <a:gd name="T11" fmla="*/ 38 h 320"/>
                <a:gd name="T12" fmla="*/ 377 w 387"/>
                <a:gd name="T13" fmla="*/ 55 h 320"/>
                <a:gd name="T14" fmla="*/ 387 w 387"/>
                <a:gd name="T15" fmla="*/ 65 h 320"/>
                <a:gd name="T16" fmla="*/ 379 w 387"/>
                <a:gd name="T17" fmla="*/ 89 h 320"/>
                <a:gd name="T18" fmla="*/ 340 w 387"/>
                <a:gd name="T19" fmla="*/ 108 h 320"/>
                <a:gd name="T20" fmla="*/ 319 w 387"/>
                <a:gd name="T21" fmla="*/ 121 h 320"/>
                <a:gd name="T22" fmla="*/ 312 w 387"/>
                <a:gd name="T23" fmla="*/ 144 h 320"/>
                <a:gd name="T24" fmla="*/ 306 w 387"/>
                <a:gd name="T25" fmla="*/ 171 h 320"/>
                <a:gd name="T26" fmla="*/ 303 w 387"/>
                <a:gd name="T27" fmla="*/ 192 h 320"/>
                <a:gd name="T28" fmla="*/ 296 w 387"/>
                <a:gd name="T29" fmla="*/ 221 h 320"/>
                <a:gd name="T30" fmla="*/ 276 w 387"/>
                <a:gd name="T31" fmla="*/ 237 h 320"/>
                <a:gd name="T32" fmla="*/ 250 w 387"/>
                <a:gd name="T33" fmla="*/ 240 h 320"/>
                <a:gd name="T34" fmla="*/ 242 w 387"/>
                <a:gd name="T35" fmla="*/ 258 h 320"/>
                <a:gd name="T36" fmla="*/ 234 w 387"/>
                <a:gd name="T37" fmla="*/ 282 h 320"/>
                <a:gd name="T38" fmla="*/ 210 w 387"/>
                <a:gd name="T39" fmla="*/ 286 h 320"/>
                <a:gd name="T40" fmla="*/ 192 w 387"/>
                <a:gd name="T41" fmla="*/ 305 h 320"/>
                <a:gd name="T42" fmla="*/ 165 w 387"/>
                <a:gd name="T43" fmla="*/ 320 h 320"/>
                <a:gd name="T44" fmla="*/ 149 w 387"/>
                <a:gd name="T45" fmla="*/ 296 h 320"/>
                <a:gd name="T46" fmla="*/ 133 w 387"/>
                <a:gd name="T47" fmla="*/ 285 h 320"/>
                <a:gd name="T48" fmla="*/ 125 w 387"/>
                <a:gd name="T49" fmla="*/ 274 h 320"/>
                <a:gd name="T50" fmla="*/ 101 w 387"/>
                <a:gd name="T51" fmla="*/ 274 h 320"/>
                <a:gd name="T52" fmla="*/ 83 w 387"/>
                <a:gd name="T53" fmla="*/ 265 h 320"/>
                <a:gd name="T54" fmla="*/ 74 w 387"/>
                <a:gd name="T55" fmla="*/ 255 h 320"/>
                <a:gd name="T56" fmla="*/ 52 w 387"/>
                <a:gd name="T57" fmla="*/ 247 h 320"/>
                <a:gd name="T58" fmla="*/ 39 w 387"/>
                <a:gd name="T59" fmla="*/ 239 h 320"/>
                <a:gd name="T60" fmla="*/ 34 w 387"/>
                <a:gd name="T61" fmla="*/ 226 h 320"/>
                <a:gd name="T62" fmla="*/ 24 w 387"/>
                <a:gd name="T63" fmla="*/ 216 h 320"/>
                <a:gd name="T64" fmla="*/ 2 w 387"/>
                <a:gd name="T65" fmla="*/ 221 h 320"/>
                <a:gd name="T66" fmla="*/ 4 w 387"/>
                <a:gd name="T67" fmla="*/ 209 h 320"/>
                <a:gd name="T68" fmla="*/ 18 w 387"/>
                <a:gd name="T69" fmla="*/ 192 h 320"/>
                <a:gd name="T70" fmla="*/ 24 w 387"/>
                <a:gd name="T71" fmla="*/ 178 h 320"/>
                <a:gd name="T72" fmla="*/ 12 w 387"/>
                <a:gd name="T73" fmla="*/ 175 h 320"/>
                <a:gd name="T74" fmla="*/ 7 w 387"/>
                <a:gd name="T75" fmla="*/ 159 h 320"/>
                <a:gd name="T76" fmla="*/ 6 w 387"/>
                <a:gd name="T77" fmla="*/ 138 h 320"/>
                <a:gd name="T78" fmla="*/ 17 w 387"/>
                <a:gd name="T79" fmla="*/ 125 h 320"/>
                <a:gd name="T80" fmla="*/ 39 w 387"/>
                <a:gd name="T81" fmla="*/ 119 h 320"/>
                <a:gd name="T82" fmla="*/ 54 w 387"/>
                <a:gd name="T83" fmla="*/ 110 h 320"/>
                <a:gd name="T84" fmla="*/ 67 w 387"/>
                <a:gd name="T85" fmla="*/ 94 h 320"/>
                <a:gd name="T86" fmla="*/ 64 w 387"/>
                <a:gd name="T87" fmla="*/ 76 h 320"/>
                <a:gd name="T88" fmla="*/ 73 w 387"/>
                <a:gd name="T89" fmla="*/ 66 h 320"/>
                <a:gd name="T90" fmla="*/ 78 w 387"/>
                <a:gd name="T91" fmla="*/ 77 h 320"/>
                <a:gd name="T92" fmla="*/ 97 w 387"/>
                <a:gd name="T93" fmla="*/ 81 h 320"/>
                <a:gd name="T94" fmla="*/ 111 w 387"/>
                <a:gd name="T95" fmla="*/ 83 h 320"/>
                <a:gd name="T96" fmla="*/ 117 w 387"/>
                <a:gd name="T97" fmla="*/ 69 h 320"/>
                <a:gd name="T98" fmla="*/ 137 w 387"/>
                <a:gd name="T99" fmla="*/ 66 h 320"/>
                <a:gd name="T100" fmla="*/ 150 w 387"/>
                <a:gd name="T101" fmla="*/ 67 h 320"/>
                <a:gd name="T102" fmla="*/ 154 w 387"/>
                <a:gd name="T103" fmla="*/ 56 h 320"/>
                <a:gd name="T104" fmla="*/ 153 w 387"/>
                <a:gd name="T105" fmla="*/ 46 h 320"/>
                <a:gd name="T106" fmla="*/ 162 w 387"/>
                <a:gd name="T107" fmla="*/ 45 h 320"/>
                <a:gd name="T108" fmla="*/ 174 w 387"/>
                <a:gd name="T109" fmla="*/ 44 h 320"/>
                <a:gd name="T110" fmla="*/ 192 w 387"/>
                <a:gd name="T111" fmla="*/ 47 h 320"/>
                <a:gd name="T112" fmla="*/ 199 w 387"/>
                <a:gd name="T113" fmla="*/ 28 h 320"/>
                <a:gd name="T114" fmla="*/ 211 w 387"/>
                <a:gd name="T115" fmla="*/ 15 h 320"/>
                <a:gd name="T116" fmla="*/ 225 w 387"/>
                <a:gd name="T117" fmla="*/ 12 h 320"/>
                <a:gd name="T118" fmla="*/ 234 w 387"/>
                <a:gd name="T119" fmla="*/ 4 h 320"/>
                <a:gd name="T120" fmla="*/ 240 w 387"/>
                <a:gd name="T121" fmla="*/ 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87" h="320">
                  <a:moveTo>
                    <a:pt x="241" y="0"/>
                  </a:moveTo>
                  <a:lnTo>
                    <a:pt x="243" y="0"/>
                  </a:lnTo>
                  <a:lnTo>
                    <a:pt x="244" y="0"/>
                  </a:lnTo>
                  <a:lnTo>
                    <a:pt x="246" y="0"/>
                  </a:lnTo>
                  <a:lnTo>
                    <a:pt x="248" y="1"/>
                  </a:lnTo>
                  <a:lnTo>
                    <a:pt x="249" y="1"/>
                  </a:lnTo>
                  <a:lnTo>
                    <a:pt x="250" y="2"/>
                  </a:lnTo>
                  <a:lnTo>
                    <a:pt x="251" y="2"/>
                  </a:lnTo>
                  <a:lnTo>
                    <a:pt x="253" y="3"/>
                  </a:lnTo>
                  <a:lnTo>
                    <a:pt x="254" y="4"/>
                  </a:lnTo>
                  <a:lnTo>
                    <a:pt x="255" y="5"/>
                  </a:lnTo>
                  <a:lnTo>
                    <a:pt x="256" y="6"/>
                  </a:lnTo>
                  <a:lnTo>
                    <a:pt x="256" y="7"/>
                  </a:lnTo>
                  <a:lnTo>
                    <a:pt x="257" y="7"/>
                  </a:lnTo>
                  <a:lnTo>
                    <a:pt x="258" y="10"/>
                  </a:lnTo>
                  <a:lnTo>
                    <a:pt x="259" y="11"/>
                  </a:lnTo>
                  <a:lnTo>
                    <a:pt x="259" y="12"/>
                  </a:lnTo>
                  <a:lnTo>
                    <a:pt x="260" y="12"/>
                  </a:lnTo>
                  <a:lnTo>
                    <a:pt x="260" y="12"/>
                  </a:lnTo>
                  <a:lnTo>
                    <a:pt x="261" y="13"/>
                  </a:lnTo>
                  <a:lnTo>
                    <a:pt x="262" y="13"/>
                  </a:lnTo>
                  <a:lnTo>
                    <a:pt x="262" y="13"/>
                  </a:lnTo>
                  <a:lnTo>
                    <a:pt x="263" y="14"/>
                  </a:lnTo>
                  <a:lnTo>
                    <a:pt x="264" y="13"/>
                  </a:lnTo>
                  <a:lnTo>
                    <a:pt x="265" y="13"/>
                  </a:lnTo>
                  <a:lnTo>
                    <a:pt x="267" y="13"/>
                  </a:lnTo>
                  <a:lnTo>
                    <a:pt x="268" y="13"/>
                  </a:lnTo>
                  <a:lnTo>
                    <a:pt x="275" y="11"/>
                  </a:lnTo>
                  <a:lnTo>
                    <a:pt x="279" y="10"/>
                  </a:lnTo>
                  <a:lnTo>
                    <a:pt x="282" y="9"/>
                  </a:lnTo>
                  <a:lnTo>
                    <a:pt x="286" y="8"/>
                  </a:lnTo>
                  <a:lnTo>
                    <a:pt x="288" y="8"/>
                  </a:lnTo>
                  <a:lnTo>
                    <a:pt x="291" y="8"/>
                  </a:lnTo>
                  <a:lnTo>
                    <a:pt x="294" y="8"/>
                  </a:lnTo>
                  <a:lnTo>
                    <a:pt x="296" y="8"/>
                  </a:lnTo>
                  <a:lnTo>
                    <a:pt x="297" y="8"/>
                  </a:lnTo>
                  <a:lnTo>
                    <a:pt x="298" y="8"/>
                  </a:lnTo>
                  <a:lnTo>
                    <a:pt x="302" y="9"/>
                  </a:lnTo>
                  <a:lnTo>
                    <a:pt x="303" y="9"/>
                  </a:lnTo>
                  <a:lnTo>
                    <a:pt x="304" y="9"/>
                  </a:lnTo>
                  <a:lnTo>
                    <a:pt x="307" y="9"/>
                  </a:lnTo>
                  <a:lnTo>
                    <a:pt x="308" y="10"/>
                  </a:lnTo>
                  <a:lnTo>
                    <a:pt x="309" y="10"/>
                  </a:lnTo>
                  <a:lnTo>
                    <a:pt x="310" y="10"/>
                  </a:lnTo>
                  <a:lnTo>
                    <a:pt x="311" y="11"/>
                  </a:lnTo>
                  <a:lnTo>
                    <a:pt x="312" y="11"/>
                  </a:lnTo>
                  <a:lnTo>
                    <a:pt x="313" y="12"/>
                  </a:lnTo>
                  <a:lnTo>
                    <a:pt x="317" y="15"/>
                  </a:lnTo>
                  <a:lnTo>
                    <a:pt x="319" y="16"/>
                  </a:lnTo>
                  <a:lnTo>
                    <a:pt x="320" y="16"/>
                  </a:lnTo>
                  <a:lnTo>
                    <a:pt x="320" y="17"/>
                  </a:lnTo>
                  <a:lnTo>
                    <a:pt x="322" y="17"/>
                  </a:lnTo>
                  <a:lnTo>
                    <a:pt x="323" y="18"/>
                  </a:lnTo>
                  <a:lnTo>
                    <a:pt x="324" y="18"/>
                  </a:lnTo>
                  <a:lnTo>
                    <a:pt x="330" y="19"/>
                  </a:lnTo>
                  <a:lnTo>
                    <a:pt x="331" y="19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7" y="20"/>
                  </a:lnTo>
                  <a:lnTo>
                    <a:pt x="338" y="20"/>
                  </a:lnTo>
                  <a:lnTo>
                    <a:pt x="339" y="19"/>
                  </a:lnTo>
                  <a:lnTo>
                    <a:pt x="342" y="19"/>
                  </a:lnTo>
                  <a:lnTo>
                    <a:pt x="344" y="18"/>
                  </a:lnTo>
                  <a:lnTo>
                    <a:pt x="344" y="18"/>
                  </a:lnTo>
                  <a:lnTo>
                    <a:pt x="345" y="18"/>
                  </a:lnTo>
                  <a:lnTo>
                    <a:pt x="346" y="18"/>
                  </a:lnTo>
                  <a:lnTo>
                    <a:pt x="347" y="19"/>
                  </a:lnTo>
                  <a:lnTo>
                    <a:pt x="348" y="19"/>
                  </a:lnTo>
                  <a:lnTo>
                    <a:pt x="349" y="20"/>
                  </a:lnTo>
                  <a:lnTo>
                    <a:pt x="350" y="20"/>
                  </a:lnTo>
                  <a:lnTo>
                    <a:pt x="351" y="21"/>
                  </a:lnTo>
                  <a:lnTo>
                    <a:pt x="352" y="21"/>
                  </a:lnTo>
                  <a:lnTo>
                    <a:pt x="352" y="22"/>
                  </a:lnTo>
                  <a:lnTo>
                    <a:pt x="353" y="23"/>
                  </a:lnTo>
                  <a:lnTo>
                    <a:pt x="355" y="27"/>
                  </a:lnTo>
                  <a:lnTo>
                    <a:pt x="356" y="29"/>
                  </a:lnTo>
                  <a:lnTo>
                    <a:pt x="357" y="30"/>
                  </a:lnTo>
                  <a:lnTo>
                    <a:pt x="358" y="31"/>
                  </a:lnTo>
                  <a:lnTo>
                    <a:pt x="358" y="32"/>
                  </a:lnTo>
                  <a:lnTo>
                    <a:pt x="359" y="33"/>
                  </a:lnTo>
                  <a:lnTo>
                    <a:pt x="360" y="34"/>
                  </a:lnTo>
                  <a:lnTo>
                    <a:pt x="361" y="35"/>
                  </a:lnTo>
                  <a:lnTo>
                    <a:pt x="366" y="38"/>
                  </a:lnTo>
                  <a:lnTo>
                    <a:pt x="367" y="39"/>
                  </a:lnTo>
                  <a:lnTo>
                    <a:pt x="368" y="40"/>
                  </a:lnTo>
                  <a:lnTo>
                    <a:pt x="369" y="40"/>
                  </a:lnTo>
                  <a:lnTo>
                    <a:pt x="370" y="41"/>
                  </a:lnTo>
                  <a:lnTo>
                    <a:pt x="372" y="44"/>
                  </a:lnTo>
                  <a:lnTo>
                    <a:pt x="372" y="45"/>
                  </a:lnTo>
                  <a:lnTo>
                    <a:pt x="373" y="46"/>
                  </a:lnTo>
                  <a:lnTo>
                    <a:pt x="373" y="46"/>
                  </a:lnTo>
                  <a:lnTo>
                    <a:pt x="373" y="47"/>
                  </a:lnTo>
                  <a:lnTo>
                    <a:pt x="375" y="51"/>
                  </a:lnTo>
                  <a:lnTo>
                    <a:pt x="376" y="53"/>
                  </a:lnTo>
                  <a:lnTo>
                    <a:pt x="376" y="53"/>
                  </a:lnTo>
                  <a:lnTo>
                    <a:pt x="377" y="54"/>
                  </a:lnTo>
                  <a:lnTo>
                    <a:pt x="377" y="55"/>
                  </a:lnTo>
                  <a:lnTo>
                    <a:pt x="378" y="55"/>
                  </a:lnTo>
                  <a:lnTo>
                    <a:pt x="378" y="56"/>
                  </a:lnTo>
                  <a:lnTo>
                    <a:pt x="379" y="57"/>
                  </a:lnTo>
                  <a:lnTo>
                    <a:pt x="380" y="57"/>
                  </a:lnTo>
                  <a:lnTo>
                    <a:pt x="381" y="58"/>
                  </a:lnTo>
                  <a:lnTo>
                    <a:pt x="382" y="59"/>
                  </a:lnTo>
                  <a:lnTo>
                    <a:pt x="383" y="59"/>
                  </a:lnTo>
                  <a:lnTo>
                    <a:pt x="384" y="60"/>
                  </a:lnTo>
                  <a:lnTo>
                    <a:pt x="384" y="60"/>
                  </a:lnTo>
                  <a:lnTo>
                    <a:pt x="385" y="60"/>
                  </a:lnTo>
                  <a:lnTo>
                    <a:pt x="385" y="60"/>
                  </a:lnTo>
                  <a:lnTo>
                    <a:pt x="385" y="61"/>
                  </a:lnTo>
                  <a:lnTo>
                    <a:pt x="386" y="63"/>
                  </a:lnTo>
                  <a:lnTo>
                    <a:pt x="387" y="65"/>
                  </a:lnTo>
                  <a:lnTo>
                    <a:pt x="387" y="67"/>
                  </a:lnTo>
                  <a:lnTo>
                    <a:pt x="387" y="68"/>
                  </a:lnTo>
                  <a:lnTo>
                    <a:pt x="387" y="70"/>
                  </a:lnTo>
                  <a:lnTo>
                    <a:pt x="387" y="71"/>
                  </a:lnTo>
                  <a:lnTo>
                    <a:pt x="387" y="73"/>
                  </a:lnTo>
                  <a:lnTo>
                    <a:pt x="387" y="75"/>
                  </a:lnTo>
                  <a:lnTo>
                    <a:pt x="386" y="76"/>
                  </a:lnTo>
                  <a:lnTo>
                    <a:pt x="386" y="78"/>
                  </a:lnTo>
                  <a:lnTo>
                    <a:pt x="385" y="80"/>
                  </a:lnTo>
                  <a:lnTo>
                    <a:pt x="384" y="81"/>
                  </a:lnTo>
                  <a:lnTo>
                    <a:pt x="383" y="82"/>
                  </a:lnTo>
                  <a:lnTo>
                    <a:pt x="383" y="84"/>
                  </a:lnTo>
                  <a:lnTo>
                    <a:pt x="380" y="87"/>
                  </a:lnTo>
                  <a:lnTo>
                    <a:pt x="379" y="89"/>
                  </a:lnTo>
                  <a:lnTo>
                    <a:pt x="378" y="90"/>
                  </a:lnTo>
                  <a:lnTo>
                    <a:pt x="376" y="91"/>
                  </a:lnTo>
                  <a:lnTo>
                    <a:pt x="375" y="92"/>
                  </a:lnTo>
                  <a:lnTo>
                    <a:pt x="374" y="93"/>
                  </a:lnTo>
                  <a:lnTo>
                    <a:pt x="372" y="94"/>
                  </a:lnTo>
                  <a:lnTo>
                    <a:pt x="370" y="95"/>
                  </a:lnTo>
                  <a:lnTo>
                    <a:pt x="364" y="98"/>
                  </a:lnTo>
                  <a:lnTo>
                    <a:pt x="358" y="101"/>
                  </a:lnTo>
                  <a:lnTo>
                    <a:pt x="355" y="102"/>
                  </a:lnTo>
                  <a:lnTo>
                    <a:pt x="353" y="103"/>
                  </a:lnTo>
                  <a:lnTo>
                    <a:pt x="351" y="104"/>
                  </a:lnTo>
                  <a:lnTo>
                    <a:pt x="345" y="106"/>
                  </a:lnTo>
                  <a:lnTo>
                    <a:pt x="342" y="107"/>
                  </a:lnTo>
                  <a:lnTo>
                    <a:pt x="340" y="108"/>
                  </a:lnTo>
                  <a:lnTo>
                    <a:pt x="339" y="108"/>
                  </a:lnTo>
                  <a:lnTo>
                    <a:pt x="332" y="109"/>
                  </a:lnTo>
                  <a:lnTo>
                    <a:pt x="330" y="110"/>
                  </a:lnTo>
                  <a:lnTo>
                    <a:pt x="328" y="111"/>
                  </a:lnTo>
                  <a:lnTo>
                    <a:pt x="327" y="111"/>
                  </a:lnTo>
                  <a:lnTo>
                    <a:pt x="326" y="112"/>
                  </a:lnTo>
                  <a:lnTo>
                    <a:pt x="325" y="112"/>
                  </a:lnTo>
                  <a:lnTo>
                    <a:pt x="324" y="113"/>
                  </a:lnTo>
                  <a:lnTo>
                    <a:pt x="323" y="114"/>
                  </a:lnTo>
                  <a:lnTo>
                    <a:pt x="323" y="114"/>
                  </a:lnTo>
                  <a:lnTo>
                    <a:pt x="322" y="115"/>
                  </a:lnTo>
                  <a:lnTo>
                    <a:pt x="321" y="117"/>
                  </a:lnTo>
                  <a:lnTo>
                    <a:pt x="320" y="120"/>
                  </a:lnTo>
                  <a:lnTo>
                    <a:pt x="319" y="121"/>
                  </a:lnTo>
                  <a:lnTo>
                    <a:pt x="318" y="123"/>
                  </a:lnTo>
                  <a:lnTo>
                    <a:pt x="315" y="126"/>
                  </a:lnTo>
                  <a:lnTo>
                    <a:pt x="314" y="128"/>
                  </a:lnTo>
                  <a:lnTo>
                    <a:pt x="313" y="130"/>
                  </a:lnTo>
                  <a:lnTo>
                    <a:pt x="312" y="131"/>
                  </a:lnTo>
                  <a:lnTo>
                    <a:pt x="312" y="133"/>
                  </a:lnTo>
                  <a:lnTo>
                    <a:pt x="311" y="134"/>
                  </a:lnTo>
                  <a:lnTo>
                    <a:pt x="311" y="135"/>
                  </a:lnTo>
                  <a:lnTo>
                    <a:pt x="311" y="137"/>
                  </a:lnTo>
                  <a:lnTo>
                    <a:pt x="311" y="138"/>
                  </a:lnTo>
                  <a:lnTo>
                    <a:pt x="311" y="139"/>
                  </a:lnTo>
                  <a:lnTo>
                    <a:pt x="312" y="142"/>
                  </a:lnTo>
                  <a:lnTo>
                    <a:pt x="312" y="143"/>
                  </a:lnTo>
                  <a:lnTo>
                    <a:pt x="312" y="144"/>
                  </a:lnTo>
                  <a:lnTo>
                    <a:pt x="312" y="145"/>
                  </a:lnTo>
                  <a:lnTo>
                    <a:pt x="311" y="146"/>
                  </a:lnTo>
                  <a:lnTo>
                    <a:pt x="311" y="149"/>
                  </a:lnTo>
                  <a:lnTo>
                    <a:pt x="311" y="151"/>
                  </a:lnTo>
                  <a:lnTo>
                    <a:pt x="310" y="152"/>
                  </a:lnTo>
                  <a:lnTo>
                    <a:pt x="310" y="154"/>
                  </a:lnTo>
                  <a:lnTo>
                    <a:pt x="308" y="158"/>
                  </a:lnTo>
                  <a:lnTo>
                    <a:pt x="308" y="160"/>
                  </a:lnTo>
                  <a:lnTo>
                    <a:pt x="308" y="161"/>
                  </a:lnTo>
                  <a:lnTo>
                    <a:pt x="307" y="162"/>
                  </a:lnTo>
                  <a:lnTo>
                    <a:pt x="307" y="164"/>
                  </a:lnTo>
                  <a:lnTo>
                    <a:pt x="307" y="166"/>
                  </a:lnTo>
                  <a:lnTo>
                    <a:pt x="306" y="170"/>
                  </a:lnTo>
                  <a:lnTo>
                    <a:pt x="306" y="171"/>
                  </a:lnTo>
                  <a:lnTo>
                    <a:pt x="306" y="172"/>
                  </a:lnTo>
                  <a:lnTo>
                    <a:pt x="306" y="173"/>
                  </a:lnTo>
                  <a:lnTo>
                    <a:pt x="306" y="174"/>
                  </a:lnTo>
                  <a:lnTo>
                    <a:pt x="304" y="177"/>
                  </a:lnTo>
                  <a:lnTo>
                    <a:pt x="304" y="178"/>
                  </a:lnTo>
                  <a:lnTo>
                    <a:pt x="303" y="182"/>
                  </a:lnTo>
                  <a:lnTo>
                    <a:pt x="302" y="183"/>
                  </a:lnTo>
                  <a:lnTo>
                    <a:pt x="302" y="184"/>
                  </a:lnTo>
                  <a:lnTo>
                    <a:pt x="302" y="185"/>
                  </a:lnTo>
                  <a:lnTo>
                    <a:pt x="302" y="186"/>
                  </a:lnTo>
                  <a:lnTo>
                    <a:pt x="302" y="187"/>
                  </a:lnTo>
                  <a:lnTo>
                    <a:pt x="303" y="190"/>
                  </a:lnTo>
                  <a:lnTo>
                    <a:pt x="303" y="191"/>
                  </a:lnTo>
                  <a:lnTo>
                    <a:pt x="303" y="192"/>
                  </a:lnTo>
                  <a:lnTo>
                    <a:pt x="303" y="192"/>
                  </a:lnTo>
                  <a:lnTo>
                    <a:pt x="303" y="196"/>
                  </a:lnTo>
                  <a:lnTo>
                    <a:pt x="303" y="201"/>
                  </a:lnTo>
                  <a:lnTo>
                    <a:pt x="302" y="202"/>
                  </a:lnTo>
                  <a:lnTo>
                    <a:pt x="302" y="204"/>
                  </a:lnTo>
                  <a:lnTo>
                    <a:pt x="302" y="206"/>
                  </a:lnTo>
                  <a:lnTo>
                    <a:pt x="302" y="206"/>
                  </a:lnTo>
                  <a:lnTo>
                    <a:pt x="301" y="208"/>
                  </a:lnTo>
                  <a:lnTo>
                    <a:pt x="301" y="209"/>
                  </a:lnTo>
                  <a:lnTo>
                    <a:pt x="301" y="211"/>
                  </a:lnTo>
                  <a:lnTo>
                    <a:pt x="299" y="213"/>
                  </a:lnTo>
                  <a:lnTo>
                    <a:pt x="298" y="217"/>
                  </a:lnTo>
                  <a:lnTo>
                    <a:pt x="297" y="220"/>
                  </a:lnTo>
                  <a:lnTo>
                    <a:pt x="296" y="221"/>
                  </a:lnTo>
                  <a:lnTo>
                    <a:pt x="296" y="222"/>
                  </a:lnTo>
                  <a:lnTo>
                    <a:pt x="294" y="225"/>
                  </a:lnTo>
                  <a:lnTo>
                    <a:pt x="293" y="227"/>
                  </a:lnTo>
                  <a:lnTo>
                    <a:pt x="292" y="228"/>
                  </a:lnTo>
                  <a:lnTo>
                    <a:pt x="291" y="230"/>
                  </a:lnTo>
                  <a:lnTo>
                    <a:pt x="289" y="231"/>
                  </a:lnTo>
                  <a:lnTo>
                    <a:pt x="287" y="232"/>
                  </a:lnTo>
                  <a:lnTo>
                    <a:pt x="286" y="233"/>
                  </a:lnTo>
                  <a:lnTo>
                    <a:pt x="285" y="234"/>
                  </a:lnTo>
                  <a:lnTo>
                    <a:pt x="282" y="235"/>
                  </a:lnTo>
                  <a:lnTo>
                    <a:pt x="281" y="235"/>
                  </a:lnTo>
                  <a:lnTo>
                    <a:pt x="278" y="236"/>
                  </a:lnTo>
                  <a:lnTo>
                    <a:pt x="277" y="237"/>
                  </a:lnTo>
                  <a:lnTo>
                    <a:pt x="276" y="237"/>
                  </a:lnTo>
                  <a:lnTo>
                    <a:pt x="275" y="237"/>
                  </a:lnTo>
                  <a:lnTo>
                    <a:pt x="274" y="237"/>
                  </a:lnTo>
                  <a:lnTo>
                    <a:pt x="272" y="237"/>
                  </a:lnTo>
                  <a:lnTo>
                    <a:pt x="268" y="237"/>
                  </a:lnTo>
                  <a:lnTo>
                    <a:pt x="266" y="237"/>
                  </a:lnTo>
                  <a:lnTo>
                    <a:pt x="265" y="237"/>
                  </a:lnTo>
                  <a:lnTo>
                    <a:pt x="259" y="237"/>
                  </a:lnTo>
                  <a:lnTo>
                    <a:pt x="257" y="238"/>
                  </a:lnTo>
                  <a:lnTo>
                    <a:pt x="256" y="238"/>
                  </a:lnTo>
                  <a:lnTo>
                    <a:pt x="254" y="238"/>
                  </a:lnTo>
                  <a:lnTo>
                    <a:pt x="253" y="239"/>
                  </a:lnTo>
                  <a:lnTo>
                    <a:pt x="252" y="239"/>
                  </a:lnTo>
                  <a:lnTo>
                    <a:pt x="251" y="239"/>
                  </a:lnTo>
                  <a:lnTo>
                    <a:pt x="250" y="240"/>
                  </a:lnTo>
                  <a:lnTo>
                    <a:pt x="250" y="240"/>
                  </a:lnTo>
                  <a:lnTo>
                    <a:pt x="249" y="240"/>
                  </a:lnTo>
                  <a:lnTo>
                    <a:pt x="248" y="241"/>
                  </a:lnTo>
                  <a:lnTo>
                    <a:pt x="248" y="242"/>
                  </a:lnTo>
                  <a:lnTo>
                    <a:pt x="247" y="242"/>
                  </a:lnTo>
                  <a:lnTo>
                    <a:pt x="246" y="243"/>
                  </a:lnTo>
                  <a:lnTo>
                    <a:pt x="246" y="244"/>
                  </a:lnTo>
                  <a:lnTo>
                    <a:pt x="245" y="245"/>
                  </a:lnTo>
                  <a:lnTo>
                    <a:pt x="245" y="246"/>
                  </a:lnTo>
                  <a:lnTo>
                    <a:pt x="244" y="247"/>
                  </a:lnTo>
                  <a:lnTo>
                    <a:pt x="244" y="249"/>
                  </a:lnTo>
                  <a:lnTo>
                    <a:pt x="243" y="252"/>
                  </a:lnTo>
                  <a:lnTo>
                    <a:pt x="242" y="256"/>
                  </a:lnTo>
                  <a:lnTo>
                    <a:pt x="242" y="258"/>
                  </a:lnTo>
                  <a:lnTo>
                    <a:pt x="241" y="259"/>
                  </a:lnTo>
                  <a:lnTo>
                    <a:pt x="241" y="261"/>
                  </a:lnTo>
                  <a:lnTo>
                    <a:pt x="240" y="266"/>
                  </a:lnTo>
                  <a:lnTo>
                    <a:pt x="240" y="267"/>
                  </a:lnTo>
                  <a:lnTo>
                    <a:pt x="240" y="269"/>
                  </a:lnTo>
                  <a:lnTo>
                    <a:pt x="239" y="271"/>
                  </a:lnTo>
                  <a:lnTo>
                    <a:pt x="239" y="273"/>
                  </a:lnTo>
                  <a:lnTo>
                    <a:pt x="238" y="275"/>
                  </a:lnTo>
                  <a:lnTo>
                    <a:pt x="238" y="277"/>
                  </a:lnTo>
                  <a:lnTo>
                    <a:pt x="237" y="278"/>
                  </a:lnTo>
                  <a:lnTo>
                    <a:pt x="236" y="279"/>
                  </a:lnTo>
                  <a:lnTo>
                    <a:pt x="236" y="280"/>
                  </a:lnTo>
                  <a:lnTo>
                    <a:pt x="235" y="281"/>
                  </a:lnTo>
                  <a:lnTo>
                    <a:pt x="234" y="282"/>
                  </a:lnTo>
                  <a:lnTo>
                    <a:pt x="234" y="282"/>
                  </a:lnTo>
                  <a:lnTo>
                    <a:pt x="233" y="282"/>
                  </a:lnTo>
                  <a:lnTo>
                    <a:pt x="233" y="283"/>
                  </a:lnTo>
                  <a:lnTo>
                    <a:pt x="232" y="283"/>
                  </a:lnTo>
                  <a:lnTo>
                    <a:pt x="231" y="284"/>
                  </a:lnTo>
                  <a:lnTo>
                    <a:pt x="230" y="284"/>
                  </a:lnTo>
                  <a:lnTo>
                    <a:pt x="229" y="284"/>
                  </a:lnTo>
                  <a:lnTo>
                    <a:pt x="228" y="284"/>
                  </a:lnTo>
                  <a:lnTo>
                    <a:pt x="219" y="284"/>
                  </a:lnTo>
                  <a:lnTo>
                    <a:pt x="217" y="285"/>
                  </a:lnTo>
                  <a:lnTo>
                    <a:pt x="216" y="285"/>
                  </a:lnTo>
                  <a:lnTo>
                    <a:pt x="213" y="285"/>
                  </a:lnTo>
                  <a:lnTo>
                    <a:pt x="211" y="286"/>
                  </a:lnTo>
                  <a:lnTo>
                    <a:pt x="210" y="286"/>
                  </a:lnTo>
                  <a:lnTo>
                    <a:pt x="209" y="286"/>
                  </a:lnTo>
                  <a:lnTo>
                    <a:pt x="208" y="287"/>
                  </a:lnTo>
                  <a:lnTo>
                    <a:pt x="208" y="287"/>
                  </a:lnTo>
                  <a:lnTo>
                    <a:pt x="207" y="287"/>
                  </a:lnTo>
                  <a:lnTo>
                    <a:pt x="206" y="288"/>
                  </a:lnTo>
                  <a:lnTo>
                    <a:pt x="205" y="289"/>
                  </a:lnTo>
                  <a:lnTo>
                    <a:pt x="202" y="292"/>
                  </a:lnTo>
                  <a:lnTo>
                    <a:pt x="200" y="294"/>
                  </a:lnTo>
                  <a:lnTo>
                    <a:pt x="199" y="295"/>
                  </a:lnTo>
                  <a:lnTo>
                    <a:pt x="197" y="297"/>
                  </a:lnTo>
                  <a:lnTo>
                    <a:pt x="196" y="298"/>
                  </a:lnTo>
                  <a:lnTo>
                    <a:pt x="195" y="301"/>
                  </a:lnTo>
                  <a:lnTo>
                    <a:pt x="193" y="304"/>
                  </a:lnTo>
                  <a:lnTo>
                    <a:pt x="192" y="305"/>
                  </a:lnTo>
                  <a:lnTo>
                    <a:pt x="191" y="306"/>
                  </a:lnTo>
                  <a:lnTo>
                    <a:pt x="190" y="308"/>
                  </a:lnTo>
                  <a:lnTo>
                    <a:pt x="187" y="311"/>
                  </a:lnTo>
                  <a:lnTo>
                    <a:pt x="185" y="312"/>
                  </a:lnTo>
                  <a:lnTo>
                    <a:pt x="184" y="313"/>
                  </a:lnTo>
                  <a:lnTo>
                    <a:pt x="183" y="314"/>
                  </a:lnTo>
                  <a:lnTo>
                    <a:pt x="181" y="315"/>
                  </a:lnTo>
                  <a:lnTo>
                    <a:pt x="179" y="316"/>
                  </a:lnTo>
                  <a:lnTo>
                    <a:pt x="177" y="317"/>
                  </a:lnTo>
                  <a:lnTo>
                    <a:pt x="173" y="318"/>
                  </a:lnTo>
                  <a:lnTo>
                    <a:pt x="170" y="319"/>
                  </a:lnTo>
                  <a:lnTo>
                    <a:pt x="168" y="319"/>
                  </a:lnTo>
                  <a:lnTo>
                    <a:pt x="165" y="320"/>
                  </a:lnTo>
                  <a:lnTo>
                    <a:pt x="165" y="320"/>
                  </a:lnTo>
                  <a:lnTo>
                    <a:pt x="165" y="319"/>
                  </a:lnTo>
                  <a:lnTo>
                    <a:pt x="164" y="318"/>
                  </a:lnTo>
                  <a:lnTo>
                    <a:pt x="164" y="316"/>
                  </a:lnTo>
                  <a:lnTo>
                    <a:pt x="162" y="313"/>
                  </a:lnTo>
                  <a:lnTo>
                    <a:pt x="162" y="312"/>
                  </a:lnTo>
                  <a:lnTo>
                    <a:pt x="161" y="311"/>
                  </a:lnTo>
                  <a:lnTo>
                    <a:pt x="161" y="310"/>
                  </a:lnTo>
                  <a:lnTo>
                    <a:pt x="158" y="307"/>
                  </a:lnTo>
                  <a:lnTo>
                    <a:pt x="155" y="302"/>
                  </a:lnTo>
                  <a:lnTo>
                    <a:pt x="154" y="300"/>
                  </a:lnTo>
                  <a:lnTo>
                    <a:pt x="153" y="299"/>
                  </a:lnTo>
                  <a:lnTo>
                    <a:pt x="151" y="298"/>
                  </a:lnTo>
                  <a:lnTo>
                    <a:pt x="150" y="297"/>
                  </a:lnTo>
                  <a:lnTo>
                    <a:pt x="149" y="296"/>
                  </a:lnTo>
                  <a:lnTo>
                    <a:pt x="148" y="295"/>
                  </a:lnTo>
                  <a:lnTo>
                    <a:pt x="147" y="294"/>
                  </a:lnTo>
                  <a:lnTo>
                    <a:pt x="140" y="291"/>
                  </a:lnTo>
                  <a:lnTo>
                    <a:pt x="139" y="291"/>
                  </a:lnTo>
                  <a:lnTo>
                    <a:pt x="137" y="290"/>
                  </a:lnTo>
                  <a:lnTo>
                    <a:pt x="136" y="289"/>
                  </a:lnTo>
                  <a:lnTo>
                    <a:pt x="135" y="289"/>
                  </a:lnTo>
                  <a:lnTo>
                    <a:pt x="135" y="289"/>
                  </a:lnTo>
                  <a:lnTo>
                    <a:pt x="134" y="288"/>
                  </a:lnTo>
                  <a:lnTo>
                    <a:pt x="134" y="288"/>
                  </a:lnTo>
                  <a:lnTo>
                    <a:pt x="134" y="287"/>
                  </a:lnTo>
                  <a:lnTo>
                    <a:pt x="133" y="287"/>
                  </a:lnTo>
                  <a:lnTo>
                    <a:pt x="133" y="286"/>
                  </a:lnTo>
                  <a:lnTo>
                    <a:pt x="133" y="285"/>
                  </a:lnTo>
                  <a:lnTo>
                    <a:pt x="133" y="283"/>
                  </a:lnTo>
                  <a:lnTo>
                    <a:pt x="133" y="282"/>
                  </a:lnTo>
                  <a:lnTo>
                    <a:pt x="132" y="281"/>
                  </a:lnTo>
                  <a:lnTo>
                    <a:pt x="132" y="280"/>
                  </a:lnTo>
                  <a:lnTo>
                    <a:pt x="132" y="280"/>
                  </a:lnTo>
                  <a:lnTo>
                    <a:pt x="132" y="279"/>
                  </a:lnTo>
                  <a:lnTo>
                    <a:pt x="131" y="279"/>
                  </a:lnTo>
                  <a:lnTo>
                    <a:pt x="131" y="278"/>
                  </a:lnTo>
                  <a:lnTo>
                    <a:pt x="131" y="278"/>
                  </a:lnTo>
                  <a:lnTo>
                    <a:pt x="130" y="277"/>
                  </a:lnTo>
                  <a:lnTo>
                    <a:pt x="128" y="276"/>
                  </a:lnTo>
                  <a:lnTo>
                    <a:pt x="127" y="275"/>
                  </a:lnTo>
                  <a:lnTo>
                    <a:pt x="126" y="275"/>
                  </a:lnTo>
                  <a:lnTo>
                    <a:pt x="125" y="274"/>
                  </a:lnTo>
                  <a:lnTo>
                    <a:pt x="123" y="274"/>
                  </a:lnTo>
                  <a:lnTo>
                    <a:pt x="120" y="273"/>
                  </a:lnTo>
                  <a:lnTo>
                    <a:pt x="119" y="272"/>
                  </a:lnTo>
                  <a:lnTo>
                    <a:pt x="119" y="272"/>
                  </a:lnTo>
                  <a:lnTo>
                    <a:pt x="118" y="272"/>
                  </a:lnTo>
                  <a:lnTo>
                    <a:pt x="117" y="272"/>
                  </a:lnTo>
                  <a:lnTo>
                    <a:pt x="117" y="272"/>
                  </a:lnTo>
                  <a:lnTo>
                    <a:pt x="113" y="273"/>
                  </a:lnTo>
                  <a:lnTo>
                    <a:pt x="110" y="273"/>
                  </a:lnTo>
                  <a:lnTo>
                    <a:pt x="109" y="273"/>
                  </a:lnTo>
                  <a:lnTo>
                    <a:pt x="107" y="273"/>
                  </a:lnTo>
                  <a:lnTo>
                    <a:pt x="103" y="274"/>
                  </a:lnTo>
                  <a:lnTo>
                    <a:pt x="102" y="274"/>
                  </a:lnTo>
                  <a:lnTo>
                    <a:pt x="101" y="274"/>
                  </a:lnTo>
                  <a:lnTo>
                    <a:pt x="100" y="275"/>
                  </a:lnTo>
                  <a:lnTo>
                    <a:pt x="99" y="274"/>
                  </a:lnTo>
                  <a:lnTo>
                    <a:pt x="98" y="274"/>
                  </a:lnTo>
                  <a:lnTo>
                    <a:pt x="98" y="274"/>
                  </a:lnTo>
                  <a:lnTo>
                    <a:pt x="97" y="274"/>
                  </a:lnTo>
                  <a:lnTo>
                    <a:pt x="95" y="273"/>
                  </a:lnTo>
                  <a:lnTo>
                    <a:pt x="94" y="272"/>
                  </a:lnTo>
                  <a:lnTo>
                    <a:pt x="93" y="271"/>
                  </a:lnTo>
                  <a:lnTo>
                    <a:pt x="87" y="267"/>
                  </a:lnTo>
                  <a:lnTo>
                    <a:pt x="86" y="267"/>
                  </a:lnTo>
                  <a:lnTo>
                    <a:pt x="86" y="266"/>
                  </a:lnTo>
                  <a:lnTo>
                    <a:pt x="85" y="266"/>
                  </a:lnTo>
                  <a:lnTo>
                    <a:pt x="84" y="266"/>
                  </a:lnTo>
                  <a:lnTo>
                    <a:pt x="83" y="265"/>
                  </a:lnTo>
                  <a:lnTo>
                    <a:pt x="81" y="265"/>
                  </a:lnTo>
                  <a:lnTo>
                    <a:pt x="79" y="265"/>
                  </a:lnTo>
                  <a:lnTo>
                    <a:pt x="78" y="265"/>
                  </a:lnTo>
                  <a:lnTo>
                    <a:pt x="77" y="264"/>
                  </a:lnTo>
                  <a:lnTo>
                    <a:pt x="77" y="264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6" y="263"/>
                  </a:lnTo>
                  <a:lnTo>
                    <a:pt x="75" y="262"/>
                  </a:lnTo>
                  <a:lnTo>
                    <a:pt x="75" y="262"/>
                  </a:lnTo>
                  <a:lnTo>
                    <a:pt x="75" y="261"/>
                  </a:lnTo>
                  <a:lnTo>
                    <a:pt x="75" y="258"/>
                  </a:lnTo>
                  <a:lnTo>
                    <a:pt x="74" y="257"/>
                  </a:lnTo>
                  <a:lnTo>
                    <a:pt x="74" y="255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3" y="253"/>
                  </a:lnTo>
                  <a:lnTo>
                    <a:pt x="72" y="252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69" y="250"/>
                  </a:lnTo>
                  <a:lnTo>
                    <a:pt x="68" y="250"/>
                  </a:lnTo>
                  <a:lnTo>
                    <a:pt x="67" y="250"/>
                  </a:lnTo>
                  <a:lnTo>
                    <a:pt x="62" y="249"/>
                  </a:lnTo>
                  <a:lnTo>
                    <a:pt x="59" y="248"/>
                  </a:lnTo>
                  <a:lnTo>
                    <a:pt x="54" y="248"/>
                  </a:lnTo>
                  <a:lnTo>
                    <a:pt x="52" y="247"/>
                  </a:lnTo>
                  <a:lnTo>
                    <a:pt x="52" y="247"/>
                  </a:lnTo>
                  <a:lnTo>
                    <a:pt x="51" y="247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48" y="244"/>
                  </a:lnTo>
                  <a:lnTo>
                    <a:pt x="47" y="243"/>
                  </a:lnTo>
                  <a:lnTo>
                    <a:pt x="46" y="243"/>
                  </a:lnTo>
                  <a:lnTo>
                    <a:pt x="45" y="242"/>
                  </a:lnTo>
                  <a:lnTo>
                    <a:pt x="45" y="242"/>
                  </a:lnTo>
                  <a:lnTo>
                    <a:pt x="43" y="241"/>
                  </a:lnTo>
                  <a:lnTo>
                    <a:pt x="41" y="240"/>
                  </a:lnTo>
                  <a:lnTo>
                    <a:pt x="40" y="240"/>
                  </a:lnTo>
                  <a:lnTo>
                    <a:pt x="40" y="240"/>
                  </a:lnTo>
                  <a:lnTo>
                    <a:pt x="39" y="239"/>
                  </a:lnTo>
                  <a:lnTo>
                    <a:pt x="36" y="239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4" y="237"/>
                  </a:lnTo>
                  <a:lnTo>
                    <a:pt x="34" y="237"/>
                  </a:lnTo>
                  <a:lnTo>
                    <a:pt x="34" y="236"/>
                  </a:lnTo>
                  <a:lnTo>
                    <a:pt x="34" y="235"/>
                  </a:lnTo>
                  <a:lnTo>
                    <a:pt x="34" y="234"/>
                  </a:lnTo>
                  <a:lnTo>
                    <a:pt x="34" y="230"/>
                  </a:lnTo>
                  <a:lnTo>
                    <a:pt x="34" y="229"/>
                  </a:lnTo>
                  <a:lnTo>
                    <a:pt x="34" y="228"/>
                  </a:lnTo>
                  <a:lnTo>
                    <a:pt x="34" y="226"/>
                  </a:lnTo>
                  <a:lnTo>
                    <a:pt x="34" y="226"/>
                  </a:lnTo>
                  <a:lnTo>
                    <a:pt x="34" y="224"/>
                  </a:lnTo>
                  <a:lnTo>
                    <a:pt x="33" y="223"/>
                  </a:lnTo>
                  <a:lnTo>
                    <a:pt x="33" y="222"/>
                  </a:lnTo>
                  <a:lnTo>
                    <a:pt x="32" y="220"/>
                  </a:lnTo>
                  <a:lnTo>
                    <a:pt x="30" y="219"/>
                  </a:lnTo>
                  <a:lnTo>
                    <a:pt x="30" y="218"/>
                  </a:lnTo>
                  <a:lnTo>
                    <a:pt x="29" y="217"/>
                  </a:lnTo>
                  <a:lnTo>
                    <a:pt x="29" y="217"/>
                  </a:lnTo>
                  <a:lnTo>
                    <a:pt x="28" y="216"/>
                  </a:lnTo>
                  <a:lnTo>
                    <a:pt x="28" y="216"/>
                  </a:lnTo>
                  <a:lnTo>
                    <a:pt x="27" y="216"/>
                  </a:lnTo>
                  <a:lnTo>
                    <a:pt x="26" y="216"/>
                  </a:lnTo>
                  <a:lnTo>
                    <a:pt x="25" y="216"/>
                  </a:lnTo>
                  <a:lnTo>
                    <a:pt x="24" y="216"/>
                  </a:lnTo>
                  <a:lnTo>
                    <a:pt x="23" y="216"/>
                  </a:lnTo>
                  <a:lnTo>
                    <a:pt x="22" y="217"/>
                  </a:lnTo>
                  <a:lnTo>
                    <a:pt x="20" y="217"/>
                  </a:lnTo>
                  <a:lnTo>
                    <a:pt x="13" y="220"/>
                  </a:lnTo>
                  <a:lnTo>
                    <a:pt x="11" y="221"/>
                  </a:lnTo>
                  <a:lnTo>
                    <a:pt x="9" y="221"/>
                  </a:lnTo>
                  <a:lnTo>
                    <a:pt x="8" y="221"/>
                  </a:lnTo>
                  <a:lnTo>
                    <a:pt x="7" y="221"/>
                  </a:lnTo>
                  <a:lnTo>
                    <a:pt x="6" y="222"/>
                  </a:lnTo>
                  <a:lnTo>
                    <a:pt x="5" y="222"/>
                  </a:lnTo>
                  <a:lnTo>
                    <a:pt x="4" y="221"/>
                  </a:lnTo>
                  <a:lnTo>
                    <a:pt x="3" y="221"/>
                  </a:lnTo>
                  <a:lnTo>
                    <a:pt x="2" y="221"/>
                  </a:lnTo>
                  <a:lnTo>
                    <a:pt x="2" y="221"/>
                  </a:lnTo>
                  <a:lnTo>
                    <a:pt x="1" y="220"/>
                  </a:lnTo>
                  <a:lnTo>
                    <a:pt x="1" y="220"/>
                  </a:lnTo>
                  <a:lnTo>
                    <a:pt x="1" y="220"/>
                  </a:lnTo>
                  <a:lnTo>
                    <a:pt x="1" y="219"/>
                  </a:lnTo>
                  <a:lnTo>
                    <a:pt x="0" y="217"/>
                  </a:lnTo>
                  <a:lnTo>
                    <a:pt x="0" y="216"/>
                  </a:lnTo>
                  <a:lnTo>
                    <a:pt x="0" y="215"/>
                  </a:lnTo>
                  <a:lnTo>
                    <a:pt x="0" y="214"/>
                  </a:lnTo>
                  <a:lnTo>
                    <a:pt x="1" y="213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2" y="211"/>
                  </a:lnTo>
                  <a:lnTo>
                    <a:pt x="2" y="211"/>
                  </a:lnTo>
                  <a:lnTo>
                    <a:pt x="4" y="209"/>
                  </a:lnTo>
                  <a:lnTo>
                    <a:pt x="4" y="209"/>
                  </a:lnTo>
                  <a:lnTo>
                    <a:pt x="5" y="208"/>
                  </a:lnTo>
                  <a:lnTo>
                    <a:pt x="6" y="207"/>
                  </a:lnTo>
                  <a:lnTo>
                    <a:pt x="6" y="206"/>
                  </a:lnTo>
                  <a:lnTo>
                    <a:pt x="7" y="205"/>
                  </a:lnTo>
                  <a:lnTo>
                    <a:pt x="9" y="201"/>
                  </a:lnTo>
                  <a:lnTo>
                    <a:pt x="10" y="200"/>
                  </a:lnTo>
                  <a:lnTo>
                    <a:pt x="11" y="199"/>
                  </a:lnTo>
                  <a:lnTo>
                    <a:pt x="11" y="197"/>
                  </a:lnTo>
                  <a:lnTo>
                    <a:pt x="12" y="197"/>
                  </a:lnTo>
                  <a:lnTo>
                    <a:pt x="13" y="196"/>
                  </a:lnTo>
                  <a:lnTo>
                    <a:pt x="14" y="196"/>
                  </a:lnTo>
                  <a:lnTo>
                    <a:pt x="16" y="194"/>
                  </a:lnTo>
                  <a:lnTo>
                    <a:pt x="18" y="192"/>
                  </a:lnTo>
                  <a:lnTo>
                    <a:pt x="20" y="191"/>
                  </a:lnTo>
                  <a:lnTo>
                    <a:pt x="20" y="191"/>
                  </a:lnTo>
                  <a:lnTo>
                    <a:pt x="20" y="190"/>
                  </a:lnTo>
                  <a:lnTo>
                    <a:pt x="21" y="189"/>
                  </a:lnTo>
                  <a:lnTo>
                    <a:pt x="21" y="188"/>
                  </a:lnTo>
                  <a:lnTo>
                    <a:pt x="22" y="187"/>
                  </a:lnTo>
                  <a:lnTo>
                    <a:pt x="22" y="186"/>
                  </a:lnTo>
                  <a:lnTo>
                    <a:pt x="23" y="184"/>
                  </a:lnTo>
                  <a:lnTo>
                    <a:pt x="23" y="183"/>
                  </a:lnTo>
                  <a:lnTo>
                    <a:pt x="24" y="182"/>
                  </a:lnTo>
                  <a:lnTo>
                    <a:pt x="24" y="181"/>
                  </a:lnTo>
                  <a:lnTo>
                    <a:pt x="24" y="180"/>
                  </a:lnTo>
                  <a:lnTo>
                    <a:pt x="24" y="179"/>
                  </a:lnTo>
                  <a:lnTo>
                    <a:pt x="24" y="178"/>
                  </a:lnTo>
                  <a:lnTo>
                    <a:pt x="24" y="177"/>
                  </a:lnTo>
                  <a:lnTo>
                    <a:pt x="23" y="177"/>
                  </a:lnTo>
                  <a:lnTo>
                    <a:pt x="23" y="176"/>
                  </a:lnTo>
                  <a:lnTo>
                    <a:pt x="23" y="176"/>
                  </a:lnTo>
                  <a:lnTo>
                    <a:pt x="22" y="175"/>
                  </a:lnTo>
                  <a:lnTo>
                    <a:pt x="22" y="175"/>
                  </a:lnTo>
                  <a:lnTo>
                    <a:pt x="21" y="175"/>
                  </a:lnTo>
                  <a:lnTo>
                    <a:pt x="20" y="175"/>
                  </a:lnTo>
                  <a:lnTo>
                    <a:pt x="19" y="175"/>
                  </a:lnTo>
                  <a:lnTo>
                    <a:pt x="18" y="175"/>
                  </a:lnTo>
                  <a:lnTo>
                    <a:pt x="16" y="175"/>
                  </a:lnTo>
                  <a:lnTo>
                    <a:pt x="14" y="175"/>
                  </a:lnTo>
                  <a:lnTo>
                    <a:pt x="13" y="175"/>
                  </a:lnTo>
                  <a:lnTo>
                    <a:pt x="12" y="175"/>
                  </a:lnTo>
                  <a:lnTo>
                    <a:pt x="12" y="175"/>
                  </a:lnTo>
                  <a:lnTo>
                    <a:pt x="11" y="175"/>
                  </a:lnTo>
                  <a:lnTo>
                    <a:pt x="11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1" y="170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1" y="168"/>
                  </a:lnTo>
                  <a:lnTo>
                    <a:pt x="10" y="165"/>
                  </a:lnTo>
                  <a:lnTo>
                    <a:pt x="8" y="161"/>
                  </a:lnTo>
                  <a:lnTo>
                    <a:pt x="7" y="159"/>
                  </a:lnTo>
                  <a:lnTo>
                    <a:pt x="7" y="158"/>
                  </a:lnTo>
                  <a:lnTo>
                    <a:pt x="6" y="157"/>
                  </a:lnTo>
                  <a:lnTo>
                    <a:pt x="6" y="156"/>
                  </a:lnTo>
                  <a:lnTo>
                    <a:pt x="6" y="152"/>
                  </a:lnTo>
                  <a:lnTo>
                    <a:pt x="6" y="151"/>
                  </a:lnTo>
                  <a:lnTo>
                    <a:pt x="6" y="149"/>
                  </a:lnTo>
                  <a:lnTo>
                    <a:pt x="5" y="146"/>
                  </a:lnTo>
                  <a:lnTo>
                    <a:pt x="5" y="145"/>
                  </a:lnTo>
                  <a:lnTo>
                    <a:pt x="5" y="144"/>
                  </a:lnTo>
                  <a:lnTo>
                    <a:pt x="5" y="143"/>
                  </a:lnTo>
                  <a:lnTo>
                    <a:pt x="5" y="142"/>
                  </a:lnTo>
                  <a:lnTo>
                    <a:pt x="6" y="141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7" y="136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5" y="129"/>
                  </a:lnTo>
                  <a:lnTo>
                    <a:pt x="15" y="128"/>
                  </a:lnTo>
                  <a:lnTo>
                    <a:pt x="16" y="128"/>
                  </a:lnTo>
                  <a:lnTo>
                    <a:pt x="17" y="125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19" y="123"/>
                  </a:lnTo>
                  <a:lnTo>
                    <a:pt x="20" y="122"/>
                  </a:lnTo>
                  <a:lnTo>
                    <a:pt x="21" y="122"/>
                  </a:lnTo>
                  <a:lnTo>
                    <a:pt x="21" y="122"/>
                  </a:lnTo>
                  <a:lnTo>
                    <a:pt x="22" y="121"/>
                  </a:lnTo>
                  <a:lnTo>
                    <a:pt x="23" y="121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32" y="120"/>
                  </a:lnTo>
                  <a:lnTo>
                    <a:pt x="33" y="119"/>
                  </a:lnTo>
                  <a:lnTo>
                    <a:pt x="35" y="119"/>
                  </a:lnTo>
                  <a:lnTo>
                    <a:pt x="39" y="119"/>
                  </a:lnTo>
                  <a:lnTo>
                    <a:pt x="40" y="118"/>
                  </a:lnTo>
                  <a:lnTo>
                    <a:pt x="44" y="118"/>
                  </a:lnTo>
                  <a:lnTo>
                    <a:pt x="44" y="118"/>
                  </a:lnTo>
                  <a:lnTo>
                    <a:pt x="45" y="118"/>
                  </a:lnTo>
                  <a:lnTo>
                    <a:pt x="46" y="118"/>
                  </a:lnTo>
                  <a:lnTo>
                    <a:pt x="47" y="118"/>
                  </a:lnTo>
                  <a:lnTo>
                    <a:pt x="47" y="117"/>
                  </a:lnTo>
                  <a:lnTo>
                    <a:pt x="48" y="117"/>
                  </a:lnTo>
                  <a:lnTo>
                    <a:pt x="49" y="116"/>
                  </a:lnTo>
                  <a:lnTo>
                    <a:pt x="50" y="116"/>
                  </a:lnTo>
                  <a:lnTo>
                    <a:pt x="50" y="115"/>
                  </a:lnTo>
                  <a:lnTo>
                    <a:pt x="51" y="114"/>
                  </a:lnTo>
                  <a:lnTo>
                    <a:pt x="52" y="113"/>
                  </a:lnTo>
                  <a:lnTo>
                    <a:pt x="54" y="110"/>
                  </a:lnTo>
                  <a:lnTo>
                    <a:pt x="56" y="108"/>
                  </a:lnTo>
                  <a:lnTo>
                    <a:pt x="58" y="105"/>
                  </a:lnTo>
                  <a:lnTo>
                    <a:pt x="59" y="104"/>
                  </a:lnTo>
                  <a:lnTo>
                    <a:pt x="59" y="103"/>
                  </a:lnTo>
                  <a:lnTo>
                    <a:pt x="60" y="103"/>
                  </a:lnTo>
                  <a:lnTo>
                    <a:pt x="61" y="102"/>
                  </a:lnTo>
                  <a:lnTo>
                    <a:pt x="63" y="100"/>
                  </a:lnTo>
                  <a:lnTo>
                    <a:pt x="65" y="98"/>
                  </a:lnTo>
                  <a:lnTo>
                    <a:pt x="66" y="97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5"/>
                  </a:lnTo>
                  <a:lnTo>
                    <a:pt x="67" y="94"/>
                  </a:lnTo>
                  <a:lnTo>
                    <a:pt x="67" y="93"/>
                  </a:lnTo>
                  <a:lnTo>
                    <a:pt x="67" y="92"/>
                  </a:lnTo>
                  <a:lnTo>
                    <a:pt x="67" y="91"/>
                  </a:lnTo>
                  <a:lnTo>
                    <a:pt x="67" y="90"/>
                  </a:lnTo>
                  <a:lnTo>
                    <a:pt x="66" y="88"/>
                  </a:lnTo>
                  <a:lnTo>
                    <a:pt x="65" y="86"/>
                  </a:lnTo>
                  <a:lnTo>
                    <a:pt x="64" y="85"/>
                  </a:lnTo>
                  <a:lnTo>
                    <a:pt x="64" y="83"/>
                  </a:lnTo>
                  <a:lnTo>
                    <a:pt x="63" y="82"/>
                  </a:lnTo>
                  <a:lnTo>
                    <a:pt x="63" y="80"/>
                  </a:lnTo>
                  <a:lnTo>
                    <a:pt x="63" y="79"/>
                  </a:lnTo>
                  <a:lnTo>
                    <a:pt x="63" y="78"/>
                  </a:lnTo>
                  <a:lnTo>
                    <a:pt x="63" y="77"/>
                  </a:lnTo>
                  <a:lnTo>
                    <a:pt x="64" y="76"/>
                  </a:lnTo>
                  <a:lnTo>
                    <a:pt x="64" y="75"/>
                  </a:lnTo>
                  <a:lnTo>
                    <a:pt x="65" y="73"/>
                  </a:lnTo>
                  <a:lnTo>
                    <a:pt x="67" y="69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70" y="66"/>
                  </a:lnTo>
                  <a:lnTo>
                    <a:pt x="71" y="66"/>
                  </a:lnTo>
                  <a:lnTo>
                    <a:pt x="71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3" y="66"/>
                  </a:lnTo>
                  <a:lnTo>
                    <a:pt x="73" y="67"/>
                  </a:lnTo>
                  <a:lnTo>
                    <a:pt x="74" y="67"/>
                  </a:lnTo>
                  <a:lnTo>
                    <a:pt x="74" y="68"/>
                  </a:lnTo>
                  <a:lnTo>
                    <a:pt x="74" y="69"/>
                  </a:lnTo>
                  <a:lnTo>
                    <a:pt x="75" y="69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4"/>
                  </a:lnTo>
                  <a:lnTo>
                    <a:pt x="76" y="75"/>
                  </a:lnTo>
                  <a:lnTo>
                    <a:pt x="76" y="75"/>
                  </a:lnTo>
                  <a:lnTo>
                    <a:pt x="76" y="76"/>
                  </a:lnTo>
                  <a:lnTo>
                    <a:pt x="77" y="76"/>
                  </a:lnTo>
                  <a:lnTo>
                    <a:pt x="77" y="77"/>
                  </a:lnTo>
                  <a:lnTo>
                    <a:pt x="78" y="77"/>
                  </a:lnTo>
                  <a:lnTo>
                    <a:pt x="78" y="77"/>
                  </a:lnTo>
                  <a:lnTo>
                    <a:pt x="81" y="77"/>
                  </a:lnTo>
                  <a:lnTo>
                    <a:pt x="82" y="77"/>
                  </a:lnTo>
                  <a:lnTo>
                    <a:pt x="83" y="78"/>
                  </a:lnTo>
                  <a:lnTo>
                    <a:pt x="85" y="78"/>
                  </a:lnTo>
                  <a:lnTo>
                    <a:pt x="87" y="79"/>
                  </a:lnTo>
                  <a:lnTo>
                    <a:pt x="89" y="79"/>
                  </a:lnTo>
                  <a:lnTo>
                    <a:pt x="91" y="80"/>
                  </a:lnTo>
                  <a:lnTo>
                    <a:pt x="93" y="80"/>
                  </a:lnTo>
                  <a:lnTo>
                    <a:pt x="94" y="80"/>
                  </a:lnTo>
                  <a:lnTo>
                    <a:pt x="95" y="80"/>
                  </a:lnTo>
                  <a:lnTo>
                    <a:pt x="96" y="80"/>
                  </a:lnTo>
                  <a:lnTo>
                    <a:pt x="97" y="80"/>
                  </a:lnTo>
                  <a:lnTo>
                    <a:pt x="97" y="81"/>
                  </a:lnTo>
                  <a:lnTo>
                    <a:pt x="98" y="81"/>
                  </a:lnTo>
                  <a:lnTo>
                    <a:pt x="99" y="82"/>
                  </a:lnTo>
                  <a:lnTo>
                    <a:pt x="100" y="83"/>
                  </a:lnTo>
                  <a:lnTo>
                    <a:pt x="103" y="85"/>
                  </a:lnTo>
                  <a:lnTo>
                    <a:pt x="104" y="86"/>
                  </a:lnTo>
                  <a:lnTo>
                    <a:pt x="105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7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11" y="83"/>
                  </a:lnTo>
                  <a:lnTo>
                    <a:pt x="112" y="82"/>
                  </a:lnTo>
                  <a:lnTo>
                    <a:pt x="112" y="81"/>
                  </a:lnTo>
                  <a:lnTo>
                    <a:pt x="113" y="79"/>
                  </a:lnTo>
                  <a:lnTo>
                    <a:pt x="114" y="78"/>
                  </a:lnTo>
                  <a:lnTo>
                    <a:pt x="114" y="77"/>
                  </a:lnTo>
                  <a:lnTo>
                    <a:pt x="115" y="77"/>
                  </a:lnTo>
                  <a:lnTo>
                    <a:pt x="115" y="76"/>
                  </a:lnTo>
                  <a:lnTo>
                    <a:pt x="115" y="74"/>
                  </a:lnTo>
                  <a:lnTo>
                    <a:pt x="116" y="72"/>
                  </a:lnTo>
                  <a:lnTo>
                    <a:pt x="116" y="71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8" y="69"/>
                  </a:lnTo>
                  <a:lnTo>
                    <a:pt x="121" y="68"/>
                  </a:lnTo>
                  <a:lnTo>
                    <a:pt x="123" y="67"/>
                  </a:lnTo>
                  <a:lnTo>
                    <a:pt x="125" y="67"/>
                  </a:lnTo>
                  <a:lnTo>
                    <a:pt x="126" y="66"/>
                  </a:lnTo>
                  <a:lnTo>
                    <a:pt x="128" y="66"/>
                  </a:lnTo>
                  <a:lnTo>
                    <a:pt x="130" y="66"/>
                  </a:lnTo>
                  <a:lnTo>
                    <a:pt x="132" y="66"/>
                  </a:lnTo>
                  <a:lnTo>
                    <a:pt x="133" y="66"/>
                  </a:lnTo>
                  <a:lnTo>
                    <a:pt x="135" y="66"/>
                  </a:lnTo>
                  <a:lnTo>
                    <a:pt x="136" y="66"/>
                  </a:lnTo>
                  <a:lnTo>
                    <a:pt x="137" y="66"/>
                  </a:lnTo>
                  <a:lnTo>
                    <a:pt x="138" y="66"/>
                  </a:lnTo>
                  <a:lnTo>
                    <a:pt x="138" y="67"/>
                  </a:lnTo>
                  <a:lnTo>
                    <a:pt x="140" y="67"/>
                  </a:lnTo>
                  <a:lnTo>
                    <a:pt x="141" y="68"/>
                  </a:lnTo>
                  <a:lnTo>
                    <a:pt x="142" y="68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44" y="68"/>
                  </a:lnTo>
                  <a:lnTo>
                    <a:pt x="145" y="68"/>
                  </a:lnTo>
                  <a:lnTo>
                    <a:pt x="146" y="68"/>
                  </a:lnTo>
                  <a:lnTo>
                    <a:pt x="147" y="68"/>
                  </a:lnTo>
                  <a:lnTo>
                    <a:pt x="148" y="68"/>
                  </a:lnTo>
                  <a:lnTo>
                    <a:pt x="149" y="67"/>
                  </a:lnTo>
                  <a:lnTo>
                    <a:pt x="150" y="67"/>
                  </a:lnTo>
                  <a:lnTo>
                    <a:pt x="150" y="67"/>
                  </a:lnTo>
                  <a:lnTo>
                    <a:pt x="151" y="66"/>
                  </a:lnTo>
                  <a:lnTo>
                    <a:pt x="152" y="65"/>
                  </a:lnTo>
                  <a:lnTo>
                    <a:pt x="152" y="65"/>
                  </a:lnTo>
                  <a:lnTo>
                    <a:pt x="153" y="64"/>
                  </a:lnTo>
                  <a:lnTo>
                    <a:pt x="154" y="63"/>
                  </a:lnTo>
                  <a:lnTo>
                    <a:pt x="154" y="62"/>
                  </a:lnTo>
                  <a:lnTo>
                    <a:pt x="154" y="61"/>
                  </a:lnTo>
                  <a:lnTo>
                    <a:pt x="155" y="60"/>
                  </a:lnTo>
                  <a:lnTo>
                    <a:pt x="155" y="60"/>
                  </a:lnTo>
                  <a:lnTo>
                    <a:pt x="155" y="59"/>
                  </a:lnTo>
                  <a:lnTo>
                    <a:pt x="155" y="58"/>
                  </a:lnTo>
                  <a:lnTo>
                    <a:pt x="154" y="57"/>
                  </a:lnTo>
                  <a:lnTo>
                    <a:pt x="154" y="56"/>
                  </a:lnTo>
                  <a:lnTo>
                    <a:pt x="153" y="54"/>
                  </a:lnTo>
                  <a:lnTo>
                    <a:pt x="151" y="50"/>
                  </a:lnTo>
                  <a:lnTo>
                    <a:pt x="151" y="49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52" y="46"/>
                  </a:lnTo>
                  <a:lnTo>
                    <a:pt x="152" y="46"/>
                  </a:lnTo>
                  <a:lnTo>
                    <a:pt x="153" y="46"/>
                  </a:lnTo>
                  <a:lnTo>
                    <a:pt x="154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6" y="46"/>
                  </a:lnTo>
                  <a:lnTo>
                    <a:pt x="157" y="46"/>
                  </a:lnTo>
                  <a:lnTo>
                    <a:pt x="158" y="46"/>
                  </a:lnTo>
                  <a:lnTo>
                    <a:pt x="159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1" y="46"/>
                  </a:lnTo>
                  <a:lnTo>
                    <a:pt x="161" y="45"/>
                  </a:lnTo>
                  <a:lnTo>
                    <a:pt x="161" y="45"/>
                  </a:lnTo>
                  <a:lnTo>
                    <a:pt x="162" y="45"/>
                  </a:lnTo>
                  <a:lnTo>
                    <a:pt x="163" y="42"/>
                  </a:lnTo>
                  <a:lnTo>
                    <a:pt x="164" y="41"/>
                  </a:lnTo>
                  <a:lnTo>
                    <a:pt x="164" y="41"/>
                  </a:lnTo>
                  <a:lnTo>
                    <a:pt x="165" y="41"/>
                  </a:lnTo>
                  <a:lnTo>
                    <a:pt x="166" y="40"/>
                  </a:lnTo>
                  <a:lnTo>
                    <a:pt x="166" y="40"/>
                  </a:lnTo>
                  <a:lnTo>
                    <a:pt x="167" y="40"/>
                  </a:lnTo>
                  <a:lnTo>
                    <a:pt x="168" y="40"/>
                  </a:lnTo>
                  <a:lnTo>
                    <a:pt x="169" y="40"/>
                  </a:lnTo>
                  <a:lnTo>
                    <a:pt x="170" y="41"/>
                  </a:lnTo>
                  <a:lnTo>
                    <a:pt x="171" y="41"/>
                  </a:lnTo>
                  <a:lnTo>
                    <a:pt x="172" y="42"/>
                  </a:lnTo>
                  <a:lnTo>
                    <a:pt x="173" y="43"/>
                  </a:lnTo>
                  <a:lnTo>
                    <a:pt x="174" y="44"/>
                  </a:lnTo>
                  <a:lnTo>
                    <a:pt x="176" y="46"/>
                  </a:lnTo>
                  <a:lnTo>
                    <a:pt x="176" y="46"/>
                  </a:lnTo>
                  <a:lnTo>
                    <a:pt x="177" y="47"/>
                  </a:lnTo>
                  <a:lnTo>
                    <a:pt x="178" y="47"/>
                  </a:lnTo>
                  <a:lnTo>
                    <a:pt x="179" y="48"/>
                  </a:lnTo>
                  <a:lnTo>
                    <a:pt x="180" y="48"/>
                  </a:lnTo>
                  <a:lnTo>
                    <a:pt x="181" y="49"/>
                  </a:lnTo>
                  <a:lnTo>
                    <a:pt x="182" y="49"/>
                  </a:lnTo>
                  <a:lnTo>
                    <a:pt x="184" y="49"/>
                  </a:lnTo>
                  <a:lnTo>
                    <a:pt x="185" y="49"/>
                  </a:lnTo>
                  <a:lnTo>
                    <a:pt x="186" y="49"/>
                  </a:lnTo>
                  <a:lnTo>
                    <a:pt x="188" y="49"/>
                  </a:lnTo>
                  <a:lnTo>
                    <a:pt x="191" y="48"/>
                  </a:lnTo>
                  <a:lnTo>
                    <a:pt x="192" y="47"/>
                  </a:lnTo>
                  <a:lnTo>
                    <a:pt x="192" y="47"/>
                  </a:lnTo>
                  <a:lnTo>
                    <a:pt x="193" y="47"/>
                  </a:lnTo>
                  <a:lnTo>
                    <a:pt x="193" y="46"/>
                  </a:lnTo>
                  <a:lnTo>
                    <a:pt x="194" y="46"/>
                  </a:lnTo>
                  <a:lnTo>
                    <a:pt x="194" y="45"/>
                  </a:lnTo>
                  <a:lnTo>
                    <a:pt x="195" y="45"/>
                  </a:lnTo>
                  <a:lnTo>
                    <a:pt x="196" y="42"/>
                  </a:lnTo>
                  <a:lnTo>
                    <a:pt x="197" y="39"/>
                  </a:lnTo>
                  <a:lnTo>
                    <a:pt x="198" y="36"/>
                  </a:lnTo>
                  <a:lnTo>
                    <a:pt x="199" y="35"/>
                  </a:lnTo>
                  <a:lnTo>
                    <a:pt x="199" y="33"/>
                  </a:lnTo>
                  <a:lnTo>
                    <a:pt x="199" y="32"/>
                  </a:lnTo>
                  <a:lnTo>
                    <a:pt x="199" y="31"/>
                  </a:lnTo>
                  <a:lnTo>
                    <a:pt x="199" y="28"/>
                  </a:lnTo>
                  <a:lnTo>
                    <a:pt x="200" y="27"/>
                  </a:lnTo>
                  <a:lnTo>
                    <a:pt x="200" y="27"/>
                  </a:lnTo>
                  <a:lnTo>
                    <a:pt x="200" y="26"/>
                  </a:lnTo>
                  <a:lnTo>
                    <a:pt x="200" y="25"/>
                  </a:lnTo>
                  <a:lnTo>
                    <a:pt x="201" y="25"/>
                  </a:lnTo>
                  <a:lnTo>
                    <a:pt x="203" y="23"/>
                  </a:lnTo>
                  <a:lnTo>
                    <a:pt x="204" y="21"/>
                  </a:lnTo>
                  <a:lnTo>
                    <a:pt x="205" y="20"/>
                  </a:lnTo>
                  <a:lnTo>
                    <a:pt x="206" y="19"/>
                  </a:lnTo>
                  <a:lnTo>
                    <a:pt x="208" y="18"/>
                  </a:lnTo>
                  <a:lnTo>
                    <a:pt x="209" y="17"/>
                  </a:lnTo>
                  <a:lnTo>
                    <a:pt x="210" y="17"/>
                  </a:lnTo>
                  <a:lnTo>
                    <a:pt x="210" y="16"/>
                  </a:lnTo>
                  <a:lnTo>
                    <a:pt x="211" y="15"/>
                  </a:lnTo>
                  <a:lnTo>
                    <a:pt x="211" y="15"/>
                  </a:lnTo>
                  <a:lnTo>
                    <a:pt x="212" y="13"/>
                  </a:lnTo>
                  <a:lnTo>
                    <a:pt x="213" y="12"/>
                  </a:lnTo>
                  <a:lnTo>
                    <a:pt x="214" y="11"/>
                  </a:lnTo>
                  <a:lnTo>
                    <a:pt x="214" y="10"/>
                  </a:lnTo>
                  <a:lnTo>
                    <a:pt x="214" y="10"/>
                  </a:lnTo>
                  <a:lnTo>
                    <a:pt x="215" y="10"/>
                  </a:lnTo>
                  <a:lnTo>
                    <a:pt x="216" y="10"/>
                  </a:lnTo>
                  <a:lnTo>
                    <a:pt x="217" y="10"/>
                  </a:lnTo>
                  <a:lnTo>
                    <a:pt x="218" y="11"/>
                  </a:lnTo>
                  <a:lnTo>
                    <a:pt x="221" y="11"/>
                  </a:lnTo>
                  <a:lnTo>
                    <a:pt x="223" y="12"/>
                  </a:lnTo>
                  <a:lnTo>
                    <a:pt x="224" y="12"/>
                  </a:lnTo>
                  <a:lnTo>
                    <a:pt x="225" y="12"/>
                  </a:lnTo>
                  <a:lnTo>
                    <a:pt x="225" y="12"/>
                  </a:lnTo>
                  <a:lnTo>
                    <a:pt x="226" y="12"/>
                  </a:lnTo>
                  <a:lnTo>
                    <a:pt x="227" y="12"/>
                  </a:lnTo>
                  <a:lnTo>
                    <a:pt x="227" y="12"/>
                  </a:lnTo>
                  <a:lnTo>
                    <a:pt x="228" y="11"/>
                  </a:lnTo>
                  <a:lnTo>
                    <a:pt x="228" y="11"/>
                  </a:lnTo>
                  <a:lnTo>
                    <a:pt x="229" y="11"/>
                  </a:lnTo>
                  <a:lnTo>
                    <a:pt x="230" y="10"/>
                  </a:lnTo>
                  <a:lnTo>
                    <a:pt x="230" y="10"/>
                  </a:lnTo>
                  <a:lnTo>
                    <a:pt x="231" y="9"/>
                  </a:lnTo>
                  <a:lnTo>
                    <a:pt x="231" y="8"/>
                  </a:lnTo>
                  <a:lnTo>
                    <a:pt x="232" y="7"/>
                  </a:lnTo>
                  <a:lnTo>
                    <a:pt x="233" y="5"/>
                  </a:lnTo>
                  <a:lnTo>
                    <a:pt x="234" y="4"/>
                  </a:lnTo>
                  <a:lnTo>
                    <a:pt x="234" y="3"/>
                  </a:lnTo>
                  <a:lnTo>
                    <a:pt x="235" y="2"/>
                  </a:lnTo>
                  <a:lnTo>
                    <a:pt x="235" y="2"/>
                  </a:lnTo>
                  <a:lnTo>
                    <a:pt x="235" y="1"/>
                  </a:lnTo>
                  <a:lnTo>
                    <a:pt x="235" y="1"/>
                  </a:lnTo>
                  <a:lnTo>
                    <a:pt x="235" y="0"/>
                  </a:lnTo>
                  <a:lnTo>
                    <a:pt x="236" y="1"/>
                  </a:lnTo>
                  <a:lnTo>
                    <a:pt x="236" y="1"/>
                  </a:lnTo>
                  <a:lnTo>
                    <a:pt x="238" y="0"/>
                  </a:lnTo>
                  <a:lnTo>
                    <a:pt x="238" y="0"/>
                  </a:lnTo>
                  <a:lnTo>
                    <a:pt x="239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1" y="0"/>
                  </a:lnTo>
                  <a:close/>
                </a:path>
              </a:pathLst>
            </a:custGeom>
            <a:solidFill>
              <a:srgbClr val="828282"/>
            </a:solidFill>
            <a:ln w="20638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3" name="Freeform 73">
              <a:extLst>
                <a:ext uri="{FF2B5EF4-FFF2-40B4-BE49-F238E27FC236}">
                  <a16:creationId xmlns:a16="http://schemas.microsoft.com/office/drawing/2014/main" id="{7FF0DAB2-E3B1-CE70-4E43-379F89D7F2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192"/>
              <a:ext cx="516" cy="419"/>
            </a:xfrm>
            <a:custGeom>
              <a:avLst/>
              <a:gdLst>
                <a:gd name="T0" fmla="*/ 169 w 516"/>
                <a:gd name="T1" fmla="*/ 9 h 419"/>
                <a:gd name="T2" fmla="*/ 172 w 516"/>
                <a:gd name="T3" fmla="*/ 35 h 419"/>
                <a:gd name="T4" fmla="*/ 169 w 516"/>
                <a:gd name="T5" fmla="*/ 53 h 419"/>
                <a:gd name="T6" fmla="*/ 134 w 516"/>
                <a:gd name="T7" fmla="*/ 70 h 419"/>
                <a:gd name="T8" fmla="*/ 139 w 516"/>
                <a:gd name="T9" fmla="*/ 88 h 419"/>
                <a:gd name="T10" fmla="*/ 161 w 516"/>
                <a:gd name="T11" fmla="*/ 97 h 419"/>
                <a:gd name="T12" fmla="*/ 182 w 516"/>
                <a:gd name="T13" fmla="*/ 131 h 419"/>
                <a:gd name="T14" fmla="*/ 204 w 516"/>
                <a:gd name="T15" fmla="*/ 152 h 419"/>
                <a:gd name="T16" fmla="*/ 235 w 516"/>
                <a:gd name="T17" fmla="*/ 147 h 419"/>
                <a:gd name="T18" fmla="*/ 263 w 516"/>
                <a:gd name="T19" fmla="*/ 138 h 419"/>
                <a:gd name="T20" fmla="*/ 254 w 516"/>
                <a:gd name="T21" fmla="*/ 127 h 419"/>
                <a:gd name="T22" fmla="*/ 262 w 516"/>
                <a:gd name="T23" fmla="*/ 116 h 419"/>
                <a:gd name="T24" fmla="*/ 284 w 516"/>
                <a:gd name="T25" fmla="*/ 143 h 419"/>
                <a:gd name="T26" fmla="*/ 305 w 516"/>
                <a:gd name="T27" fmla="*/ 144 h 419"/>
                <a:gd name="T28" fmla="*/ 326 w 516"/>
                <a:gd name="T29" fmla="*/ 157 h 419"/>
                <a:gd name="T30" fmla="*/ 343 w 516"/>
                <a:gd name="T31" fmla="*/ 176 h 419"/>
                <a:gd name="T32" fmla="*/ 354 w 516"/>
                <a:gd name="T33" fmla="*/ 167 h 419"/>
                <a:gd name="T34" fmla="*/ 388 w 516"/>
                <a:gd name="T35" fmla="*/ 175 h 419"/>
                <a:gd name="T36" fmla="*/ 413 w 516"/>
                <a:gd name="T37" fmla="*/ 181 h 419"/>
                <a:gd name="T38" fmla="*/ 423 w 516"/>
                <a:gd name="T39" fmla="*/ 178 h 419"/>
                <a:gd name="T40" fmla="*/ 430 w 516"/>
                <a:gd name="T41" fmla="*/ 200 h 419"/>
                <a:gd name="T42" fmla="*/ 429 w 516"/>
                <a:gd name="T43" fmla="*/ 225 h 419"/>
                <a:gd name="T44" fmla="*/ 449 w 516"/>
                <a:gd name="T45" fmla="*/ 269 h 419"/>
                <a:gd name="T46" fmla="*/ 479 w 516"/>
                <a:gd name="T47" fmla="*/ 282 h 419"/>
                <a:gd name="T48" fmla="*/ 499 w 516"/>
                <a:gd name="T49" fmla="*/ 288 h 419"/>
                <a:gd name="T50" fmla="*/ 516 w 516"/>
                <a:gd name="T51" fmla="*/ 341 h 419"/>
                <a:gd name="T52" fmla="*/ 499 w 516"/>
                <a:gd name="T53" fmla="*/ 362 h 419"/>
                <a:gd name="T54" fmla="*/ 463 w 516"/>
                <a:gd name="T55" fmla="*/ 366 h 419"/>
                <a:gd name="T56" fmla="*/ 431 w 516"/>
                <a:gd name="T57" fmla="*/ 366 h 419"/>
                <a:gd name="T58" fmla="*/ 422 w 516"/>
                <a:gd name="T59" fmla="*/ 385 h 419"/>
                <a:gd name="T60" fmla="*/ 395 w 516"/>
                <a:gd name="T61" fmla="*/ 418 h 419"/>
                <a:gd name="T62" fmla="*/ 376 w 516"/>
                <a:gd name="T63" fmla="*/ 413 h 419"/>
                <a:gd name="T64" fmla="*/ 354 w 516"/>
                <a:gd name="T65" fmla="*/ 386 h 419"/>
                <a:gd name="T66" fmla="*/ 329 w 516"/>
                <a:gd name="T67" fmla="*/ 378 h 419"/>
                <a:gd name="T68" fmla="*/ 293 w 516"/>
                <a:gd name="T69" fmla="*/ 367 h 419"/>
                <a:gd name="T70" fmla="*/ 255 w 516"/>
                <a:gd name="T71" fmla="*/ 366 h 419"/>
                <a:gd name="T72" fmla="*/ 234 w 516"/>
                <a:gd name="T73" fmla="*/ 359 h 419"/>
                <a:gd name="T74" fmla="*/ 218 w 516"/>
                <a:gd name="T75" fmla="*/ 353 h 419"/>
                <a:gd name="T76" fmla="*/ 215 w 516"/>
                <a:gd name="T77" fmla="*/ 340 h 419"/>
                <a:gd name="T78" fmla="*/ 183 w 516"/>
                <a:gd name="T79" fmla="*/ 303 h 419"/>
                <a:gd name="T80" fmla="*/ 169 w 516"/>
                <a:gd name="T81" fmla="*/ 300 h 419"/>
                <a:gd name="T82" fmla="*/ 164 w 516"/>
                <a:gd name="T83" fmla="*/ 274 h 419"/>
                <a:gd name="T84" fmla="*/ 153 w 516"/>
                <a:gd name="T85" fmla="*/ 260 h 419"/>
                <a:gd name="T86" fmla="*/ 120 w 516"/>
                <a:gd name="T87" fmla="*/ 257 h 419"/>
                <a:gd name="T88" fmla="*/ 104 w 516"/>
                <a:gd name="T89" fmla="*/ 237 h 419"/>
                <a:gd name="T90" fmla="*/ 94 w 516"/>
                <a:gd name="T91" fmla="*/ 211 h 419"/>
                <a:gd name="T92" fmla="*/ 89 w 516"/>
                <a:gd name="T93" fmla="*/ 229 h 419"/>
                <a:gd name="T94" fmla="*/ 77 w 516"/>
                <a:gd name="T95" fmla="*/ 236 h 419"/>
                <a:gd name="T96" fmla="*/ 64 w 516"/>
                <a:gd name="T97" fmla="*/ 238 h 419"/>
                <a:gd name="T98" fmla="*/ 60 w 516"/>
                <a:gd name="T99" fmla="*/ 217 h 419"/>
                <a:gd name="T100" fmla="*/ 33 w 516"/>
                <a:gd name="T101" fmla="*/ 234 h 419"/>
                <a:gd name="T102" fmla="*/ 20 w 516"/>
                <a:gd name="T103" fmla="*/ 223 h 419"/>
                <a:gd name="T104" fmla="*/ 5 w 516"/>
                <a:gd name="T105" fmla="*/ 217 h 419"/>
                <a:gd name="T106" fmla="*/ 4 w 516"/>
                <a:gd name="T107" fmla="*/ 193 h 419"/>
                <a:gd name="T108" fmla="*/ 11 w 516"/>
                <a:gd name="T109" fmla="*/ 172 h 419"/>
                <a:gd name="T110" fmla="*/ 6 w 516"/>
                <a:gd name="T111" fmla="*/ 145 h 419"/>
                <a:gd name="T112" fmla="*/ 20 w 516"/>
                <a:gd name="T113" fmla="*/ 105 h 419"/>
                <a:gd name="T114" fmla="*/ 40 w 516"/>
                <a:gd name="T115" fmla="*/ 71 h 419"/>
                <a:gd name="T116" fmla="*/ 66 w 516"/>
                <a:gd name="T117" fmla="*/ 52 h 419"/>
                <a:gd name="T118" fmla="*/ 77 w 516"/>
                <a:gd name="T119" fmla="*/ 34 h 419"/>
                <a:gd name="T120" fmla="*/ 113 w 516"/>
                <a:gd name="T121" fmla="*/ 24 h 419"/>
                <a:gd name="T122" fmla="*/ 142 w 516"/>
                <a:gd name="T123" fmla="*/ 1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16" h="419">
                  <a:moveTo>
                    <a:pt x="156" y="0"/>
                  </a:moveTo>
                  <a:lnTo>
                    <a:pt x="157" y="0"/>
                  </a:lnTo>
                  <a:lnTo>
                    <a:pt x="158" y="0"/>
                  </a:lnTo>
                  <a:lnTo>
                    <a:pt x="158" y="1"/>
                  </a:lnTo>
                  <a:lnTo>
                    <a:pt x="159" y="1"/>
                  </a:lnTo>
                  <a:lnTo>
                    <a:pt x="160" y="1"/>
                  </a:lnTo>
                  <a:lnTo>
                    <a:pt x="160" y="2"/>
                  </a:lnTo>
                  <a:lnTo>
                    <a:pt x="161" y="2"/>
                  </a:lnTo>
                  <a:lnTo>
                    <a:pt x="162" y="3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64" y="5"/>
                  </a:lnTo>
                  <a:lnTo>
                    <a:pt x="164" y="6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6" y="7"/>
                  </a:lnTo>
                  <a:lnTo>
                    <a:pt x="167" y="8"/>
                  </a:lnTo>
                  <a:lnTo>
                    <a:pt x="167" y="8"/>
                  </a:lnTo>
                  <a:lnTo>
                    <a:pt x="168" y="8"/>
                  </a:lnTo>
                  <a:lnTo>
                    <a:pt x="169" y="9"/>
                  </a:lnTo>
                  <a:lnTo>
                    <a:pt x="169" y="9"/>
                  </a:lnTo>
                  <a:lnTo>
                    <a:pt x="169" y="10"/>
                  </a:lnTo>
                  <a:lnTo>
                    <a:pt x="169" y="10"/>
                  </a:lnTo>
                  <a:lnTo>
                    <a:pt x="169" y="11"/>
                  </a:lnTo>
                  <a:lnTo>
                    <a:pt x="169" y="11"/>
                  </a:lnTo>
                  <a:lnTo>
                    <a:pt x="169" y="12"/>
                  </a:lnTo>
                  <a:lnTo>
                    <a:pt x="169" y="13"/>
                  </a:lnTo>
                  <a:lnTo>
                    <a:pt x="169" y="14"/>
                  </a:lnTo>
                  <a:lnTo>
                    <a:pt x="167" y="18"/>
                  </a:lnTo>
                  <a:lnTo>
                    <a:pt x="167" y="20"/>
                  </a:lnTo>
                  <a:lnTo>
                    <a:pt x="166" y="21"/>
                  </a:lnTo>
                  <a:lnTo>
                    <a:pt x="166" y="22"/>
                  </a:lnTo>
                  <a:lnTo>
                    <a:pt x="166" y="23"/>
                  </a:lnTo>
                  <a:lnTo>
                    <a:pt x="166" y="24"/>
                  </a:lnTo>
                  <a:lnTo>
                    <a:pt x="166" y="26"/>
                  </a:lnTo>
                  <a:lnTo>
                    <a:pt x="166" y="27"/>
                  </a:lnTo>
                  <a:lnTo>
                    <a:pt x="167" y="28"/>
                  </a:lnTo>
                  <a:lnTo>
                    <a:pt x="167" y="29"/>
                  </a:lnTo>
                  <a:lnTo>
                    <a:pt x="168" y="30"/>
                  </a:lnTo>
                  <a:lnTo>
                    <a:pt x="168" y="31"/>
                  </a:lnTo>
                  <a:lnTo>
                    <a:pt x="169" y="32"/>
                  </a:lnTo>
                  <a:lnTo>
                    <a:pt x="172" y="35"/>
                  </a:lnTo>
                  <a:lnTo>
                    <a:pt x="173" y="37"/>
                  </a:lnTo>
                  <a:lnTo>
                    <a:pt x="173" y="38"/>
                  </a:lnTo>
                  <a:lnTo>
                    <a:pt x="174" y="38"/>
                  </a:lnTo>
                  <a:lnTo>
                    <a:pt x="174" y="39"/>
                  </a:lnTo>
                  <a:lnTo>
                    <a:pt x="174" y="40"/>
                  </a:lnTo>
                  <a:lnTo>
                    <a:pt x="174" y="41"/>
                  </a:lnTo>
                  <a:lnTo>
                    <a:pt x="175" y="42"/>
                  </a:lnTo>
                  <a:lnTo>
                    <a:pt x="175" y="43"/>
                  </a:lnTo>
                  <a:lnTo>
                    <a:pt x="175" y="45"/>
                  </a:lnTo>
                  <a:lnTo>
                    <a:pt x="174" y="46"/>
                  </a:lnTo>
                  <a:lnTo>
                    <a:pt x="174" y="47"/>
                  </a:lnTo>
                  <a:lnTo>
                    <a:pt x="174" y="49"/>
                  </a:lnTo>
                  <a:lnTo>
                    <a:pt x="174" y="49"/>
                  </a:lnTo>
                  <a:lnTo>
                    <a:pt x="173" y="50"/>
                  </a:lnTo>
                  <a:lnTo>
                    <a:pt x="173" y="50"/>
                  </a:lnTo>
                  <a:lnTo>
                    <a:pt x="173" y="51"/>
                  </a:lnTo>
                  <a:lnTo>
                    <a:pt x="172" y="52"/>
                  </a:lnTo>
                  <a:lnTo>
                    <a:pt x="171" y="52"/>
                  </a:lnTo>
                  <a:lnTo>
                    <a:pt x="170" y="53"/>
                  </a:lnTo>
                  <a:lnTo>
                    <a:pt x="169" y="53"/>
                  </a:lnTo>
                  <a:lnTo>
                    <a:pt x="169" y="53"/>
                  </a:lnTo>
                  <a:lnTo>
                    <a:pt x="166" y="54"/>
                  </a:lnTo>
                  <a:lnTo>
                    <a:pt x="165" y="54"/>
                  </a:lnTo>
                  <a:lnTo>
                    <a:pt x="164" y="55"/>
                  </a:lnTo>
                  <a:lnTo>
                    <a:pt x="164" y="55"/>
                  </a:lnTo>
                  <a:lnTo>
                    <a:pt x="163" y="56"/>
                  </a:lnTo>
                  <a:lnTo>
                    <a:pt x="162" y="57"/>
                  </a:lnTo>
                  <a:lnTo>
                    <a:pt x="162" y="57"/>
                  </a:lnTo>
                  <a:lnTo>
                    <a:pt x="160" y="59"/>
                  </a:lnTo>
                  <a:lnTo>
                    <a:pt x="160" y="60"/>
                  </a:lnTo>
                  <a:lnTo>
                    <a:pt x="159" y="61"/>
                  </a:lnTo>
                  <a:lnTo>
                    <a:pt x="159" y="61"/>
                  </a:lnTo>
                  <a:lnTo>
                    <a:pt x="158" y="62"/>
                  </a:lnTo>
                  <a:lnTo>
                    <a:pt x="158" y="62"/>
                  </a:lnTo>
                  <a:lnTo>
                    <a:pt x="157" y="63"/>
                  </a:lnTo>
                  <a:lnTo>
                    <a:pt x="156" y="63"/>
                  </a:lnTo>
                  <a:lnTo>
                    <a:pt x="155" y="63"/>
                  </a:lnTo>
                  <a:lnTo>
                    <a:pt x="153" y="64"/>
                  </a:lnTo>
                  <a:lnTo>
                    <a:pt x="148" y="66"/>
                  </a:lnTo>
                  <a:lnTo>
                    <a:pt x="142" y="68"/>
                  </a:lnTo>
                  <a:lnTo>
                    <a:pt x="139" y="69"/>
                  </a:lnTo>
                  <a:lnTo>
                    <a:pt x="134" y="70"/>
                  </a:lnTo>
                  <a:lnTo>
                    <a:pt x="133" y="71"/>
                  </a:lnTo>
                  <a:lnTo>
                    <a:pt x="132" y="71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0" y="73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5"/>
                  </a:lnTo>
                  <a:lnTo>
                    <a:pt x="129" y="76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30" y="78"/>
                  </a:lnTo>
                  <a:lnTo>
                    <a:pt x="130" y="79"/>
                  </a:lnTo>
                  <a:lnTo>
                    <a:pt x="131" y="80"/>
                  </a:lnTo>
                  <a:lnTo>
                    <a:pt x="131" y="81"/>
                  </a:lnTo>
                  <a:lnTo>
                    <a:pt x="132" y="82"/>
                  </a:lnTo>
                  <a:lnTo>
                    <a:pt x="132" y="82"/>
                  </a:lnTo>
                  <a:lnTo>
                    <a:pt x="133" y="83"/>
                  </a:lnTo>
                  <a:lnTo>
                    <a:pt x="134" y="84"/>
                  </a:lnTo>
                  <a:lnTo>
                    <a:pt x="135" y="85"/>
                  </a:lnTo>
                  <a:lnTo>
                    <a:pt x="139" y="88"/>
                  </a:lnTo>
                  <a:lnTo>
                    <a:pt x="140" y="89"/>
                  </a:lnTo>
                  <a:lnTo>
                    <a:pt x="141" y="91"/>
                  </a:lnTo>
                  <a:lnTo>
                    <a:pt x="143" y="93"/>
                  </a:lnTo>
                  <a:lnTo>
                    <a:pt x="144" y="94"/>
                  </a:lnTo>
                  <a:lnTo>
                    <a:pt x="145" y="95"/>
                  </a:lnTo>
                  <a:lnTo>
                    <a:pt x="146" y="96"/>
                  </a:lnTo>
                  <a:lnTo>
                    <a:pt x="147" y="97"/>
                  </a:lnTo>
                  <a:lnTo>
                    <a:pt x="149" y="97"/>
                  </a:lnTo>
                  <a:lnTo>
                    <a:pt x="150" y="98"/>
                  </a:lnTo>
                  <a:lnTo>
                    <a:pt x="151" y="98"/>
                  </a:lnTo>
                  <a:lnTo>
                    <a:pt x="152" y="98"/>
                  </a:lnTo>
                  <a:lnTo>
                    <a:pt x="152" y="98"/>
                  </a:lnTo>
                  <a:lnTo>
                    <a:pt x="153" y="97"/>
                  </a:lnTo>
                  <a:lnTo>
                    <a:pt x="155" y="97"/>
                  </a:lnTo>
                  <a:lnTo>
                    <a:pt x="156" y="97"/>
                  </a:lnTo>
                  <a:lnTo>
                    <a:pt x="157" y="97"/>
                  </a:lnTo>
                  <a:lnTo>
                    <a:pt x="158" y="97"/>
                  </a:lnTo>
                  <a:lnTo>
                    <a:pt x="159" y="97"/>
                  </a:lnTo>
                  <a:lnTo>
                    <a:pt x="159" y="97"/>
                  </a:lnTo>
                  <a:lnTo>
                    <a:pt x="160" y="97"/>
                  </a:lnTo>
                  <a:lnTo>
                    <a:pt x="161" y="97"/>
                  </a:lnTo>
                  <a:lnTo>
                    <a:pt x="161" y="98"/>
                  </a:lnTo>
                  <a:lnTo>
                    <a:pt x="163" y="98"/>
                  </a:lnTo>
                  <a:lnTo>
                    <a:pt x="163" y="99"/>
                  </a:lnTo>
                  <a:lnTo>
                    <a:pt x="164" y="99"/>
                  </a:lnTo>
                  <a:lnTo>
                    <a:pt x="165" y="100"/>
                  </a:lnTo>
                  <a:lnTo>
                    <a:pt x="166" y="101"/>
                  </a:lnTo>
                  <a:lnTo>
                    <a:pt x="167" y="102"/>
                  </a:lnTo>
                  <a:lnTo>
                    <a:pt x="168" y="103"/>
                  </a:lnTo>
                  <a:lnTo>
                    <a:pt x="170" y="106"/>
                  </a:lnTo>
                  <a:lnTo>
                    <a:pt x="171" y="108"/>
                  </a:lnTo>
                  <a:lnTo>
                    <a:pt x="174" y="112"/>
                  </a:lnTo>
                  <a:lnTo>
                    <a:pt x="175" y="113"/>
                  </a:lnTo>
                  <a:lnTo>
                    <a:pt x="176" y="115"/>
                  </a:lnTo>
                  <a:lnTo>
                    <a:pt x="177" y="116"/>
                  </a:lnTo>
                  <a:lnTo>
                    <a:pt x="177" y="117"/>
                  </a:lnTo>
                  <a:lnTo>
                    <a:pt x="178" y="119"/>
                  </a:lnTo>
                  <a:lnTo>
                    <a:pt x="178" y="120"/>
                  </a:lnTo>
                  <a:lnTo>
                    <a:pt x="180" y="124"/>
                  </a:lnTo>
                  <a:lnTo>
                    <a:pt x="181" y="126"/>
                  </a:lnTo>
                  <a:lnTo>
                    <a:pt x="181" y="127"/>
                  </a:lnTo>
                  <a:lnTo>
                    <a:pt x="182" y="131"/>
                  </a:lnTo>
                  <a:lnTo>
                    <a:pt x="184" y="134"/>
                  </a:lnTo>
                  <a:lnTo>
                    <a:pt x="184" y="135"/>
                  </a:lnTo>
                  <a:lnTo>
                    <a:pt x="185" y="136"/>
                  </a:lnTo>
                  <a:lnTo>
                    <a:pt x="185" y="137"/>
                  </a:lnTo>
                  <a:lnTo>
                    <a:pt x="186" y="137"/>
                  </a:lnTo>
                  <a:lnTo>
                    <a:pt x="187" y="138"/>
                  </a:lnTo>
                  <a:lnTo>
                    <a:pt x="188" y="138"/>
                  </a:lnTo>
                  <a:lnTo>
                    <a:pt x="190" y="140"/>
                  </a:lnTo>
                  <a:lnTo>
                    <a:pt x="192" y="141"/>
                  </a:lnTo>
                  <a:lnTo>
                    <a:pt x="195" y="142"/>
                  </a:lnTo>
                  <a:lnTo>
                    <a:pt x="196" y="142"/>
                  </a:lnTo>
                  <a:lnTo>
                    <a:pt x="197" y="143"/>
                  </a:lnTo>
                  <a:lnTo>
                    <a:pt x="198" y="144"/>
                  </a:lnTo>
                  <a:lnTo>
                    <a:pt x="198" y="145"/>
                  </a:lnTo>
                  <a:lnTo>
                    <a:pt x="199" y="146"/>
                  </a:lnTo>
                  <a:lnTo>
                    <a:pt x="200" y="147"/>
                  </a:lnTo>
                  <a:lnTo>
                    <a:pt x="201" y="148"/>
                  </a:lnTo>
                  <a:lnTo>
                    <a:pt x="201" y="149"/>
                  </a:lnTo>
                  <a:lnTo>
                    <a:pt x="202" y="150"/>
                  </a:lnTo>
                  <a:lnTo>
                    <a:pt x="202" y="151"/>
                  </a:lnTo>
                  <a:lnTo>
                    <a:pt x="204" y="152"/>
                  </a:lnTo>
                  <a:lnTo>
                    <a:pt x="205" y="153"/>
                  </a:lnTo>
                  <a:lnTo>
                    <a:pt x="207" y="154"/>
                  </a:lnTo>
                  <a:lnTo>
                    <a:pt x="208" y="155"/>
                  </a:lnTo>
                  <a:lnTo>
                    <a:pt x="209" y="156"/>
                  </a:lnTo>
                  <a:lnTo>
                    <a:pt x="211" y="156"/>
                  </a:lnTo>
                  <a:lnTo>
                    <a:pt x="212" y="157"/>
                  </a:lnTo>
                  <a:lnTo>
                    <a:pt x="213" y="157"/>
                  </a:lnTo>
                  <a:lnTo>
                    <a:pt x="213" y="157"/>
                  </a:lnTo>
                  <a:lnTo>
                    <a:pt x="214" y="157"/>
                  </a:lnTo>
                  <a:lnTo>
                    <a:pt x="215" y="157"/>
                  </a:lnTo>
                  <a:lnTo>
                    <a:pt x="216" y="157"/>
                  </a:lnTo>
                  <a:lnTo>
                    <a:pt x="220" y="156"/>
                  </a:lnTo>
                  <a:lnTo>
                    <a:pt x="222" y="156"/>
                  </a:lnTo>
                  <a:lnTo>
                    <a:pt x="223" y="156"/>
                  </a:lnTo>
                  <a:lnTo>
                    <a:pt x="224" y="155"/>
                  </a:lnTo>
                  <a:lnTo>
                    <a:pt x="225" y="155"/>
                  </a:lnTo>
                  <a:lnTo>
                    <a:pt x="227" y="154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0" y="152"/>
                  </a:lnTo>
                  <a:lnTo>
                    <a:pt x="235" y="147"/>
                  </a:lnTo>
                  <a:lnTo>
                    <a:pt x="236" y="146"/>
                  </a:lnTo>
                  <a:lnTo>
                    <a:pt x="237" y="145"/>
                  </a:lnTo>
                  <a:lnTo>
                    <a:pt x="238" y="145"/>
                  </a:lnTo>
                  <a:lnTo>
                    <a:pt x="239" y="144"/>
                  </a:lnTo>
                  <a:lnTo>
                    <a:pt x="241" y="143"/>
                  </a:lnTo>
                  <a:lnTo>
                    <a:pt x="242" y="142"/>
                  </a:lnTo>
                  <a:lnTo>
                    <a:pt x="245" y="141"/>
                  </a:lnTo>
                  <a:lnTo>
                    <a:pt x="247" y="140"/>
                  </a:lnTo>
                  <a:lnTo>
                    <a:pt x="248" y="140"/>
                  </a:lnTo>
                  <a:lnTo>
                    <a:pt x="249" y="139"/>
                  </a:lnTo>
                  <a:lnTo>
                    <a:pt x="251" y="139"/>
                  </a:lnTo>
                  <a:lnTo>
                    <a:pt x="252" y="139"/>
                  </a:lnTo>
                  <a:lnTo>
                    <a:pt x="252" y="139"/>
                  </a:lnTo>
                  <a:lnTo>
                    <a:pt x="257" y="139"/>
                  </a:lnTo>
                  <a:lnTo>
                    <a:pt x="259" y="139"/>
                  </a:lnTo>
                  <a:lnTo>
                    <a:pt x="260" y="139"/>
                  </a:lnTo>
                  <a:lnTo>
                    <a:pt x="261" y="139"/>
                  </a:lnTo>
                  <a:lnTo>
                    <a:pt x="262" y="139"/>
                  </a:lnTo>
                  <a:lnTo>
                    <a:pt x="262" y="139"/>
                  </a:lnTo>
                  <a:lnTo>
                    <a:pt x="263" y="139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7"/>
                  </a:lnTo>
                  <a:lnTo>
                    <a:pt x="264" y="136"/>
                  </a:lnTo>
                  <a:lnTo>
                    <a:pt x="264" y="135"/>
                  </a:lnTo>
                  <a:lnTo>
                    <a:pt x="263" y="134"/>
                  </a:lnTo>
                  <a:lnTo>
                    <a:pt x="263" y="133"/>
                  </a:lnTo>
                  <a:lnTo>
                    <a:pt x="263" y="132"/>
                  </a:lnTo>
                  <a:lnTo>
                    <a:pt x="263" y="132"/>
                  </a:lnTo>
                  <a:lnTo>
                    <a:pt x="262" y="131"/>
                  </a:lnTo>
                  <a:lnTo>
                    <a:pt x="262" y="130"/>
                  </a:lnTo>
                  <a:lnTo>
                    <a:pt x="261" y="130"/>
                  </a:lnTo>
                  <a:lnTo>
                    <a:pt x="261" y="129"/>
                  </a:lnTo>
                  <a:lnTo>
                    <a:pt x="260" y="129"/>
                  </a:lnTo>
                  <a:lnTo>
                    <a:pt x="259" y="129"/>
                  </a:lnTo>
                  <a:lnTo>
                    <a:pt x="258" y="128"/>
                  </a:lnTo>
                  <a:lnTo>
                    <a:pt x="256" y="128"/>
                  </a:lnTo>
                  <a:lnTo>
                    <a:pt x="256" y="128"/>
                  </a:lnTo>
                  <a:lnTo>
                    <a:pt x="255" y="128"/>
                  </a:lnTo>
                  <a:lnTo>
                    <a:pt x="255" y="127"/>
                  </a:lnTo>
                  <a:lnTo>
                    <a:pt x="254" y="127"/>
                  </a:lnTo>
                  <a:lnTo>
                    <a:pt x="254" y="127"/>
                  </a:lnTo>
                  <a:lnTo>
                    <a:pt x="254" y="126"/>
                  </a:lnTo>
                  <a:lnTo>
                    <a:pt x="253" y="126"/>
                  </a:lnTo>
                  <a:lnTo>
                    <a:pt x="253" y="125"/>
                  </a:lnTo>
                  <a:lnTo>
                    <a:pt x="253" y="124"/>
                  </a:lnTo>
                  <a:lnTo>
                    <a:pt x="253" y="124"/>
                  </a:lnTo>
                  <a:lnTo>
                    <a:pt x="253" y="123"/>
                  </a:lnTo>
                  <a:lnTo>
                    <a:pt x="253" y="122"/>
                  </a:lnTo>
                  <a:lnTo>
                    <a:pt x="253" y="121"/>
                  </a:lnTo>
                  <a:lnTo>
                    <a:pt x="254" y="121"/>
                  </a:lnTo>
                  <a:lnTo>
                    <a:pt x="254" y="120"/>
                  </a:lnTo>
                  <a:lnTo>
                    <a:pt x="255" y="119"/>
                  </a:lnTo>
                  <a:lnTo>
                    <a:pt x="255" y="118"/>
                  </a:lnTo>
                  <a:lnTo>
                    <a:pt x="256" y="118"/>
                  </a:lnTo>
                  <a:lnTo>
                    <a:pt x="257" y="117"/>
                  </a:lnTo>
                  <a:lnTo>
                    <a:pt x="257" y="117"/>
                  </a:lnTo>
                  <a:lnTo>
                    <a:pt x="258" y="117"/>
                  </a:lnTo>
                  <a:lnTo>
                    <a:pt x="259" y="116"/>
                  </a:lnTo>
                  <a:lnTo>
                    <a:pt x="260" y="116"/>
                  </a:lnTo>
                  <a:lnTo>
                    <a:pt x="261" y="116"/>
                  </a:lnTo>
                  <a:lnTo>
                    <a:pt x="261" y="116"/>
                  </a:lnTo>
                  <a:lnTo>
                    <a:pt x="262" y="116"/>
                  </a:lnTo>
                  <a:lnTo>
                    <a:pt x="263" y="117"/>
                  </a:lnTo>
                  <a:lnTo>
                    <a:pt x="265" y="117"/>
                  </a:lnTo>
                  <a:lnTo>
                    <a:pt x="266" y="118"/>
                  </a:lnTo>
                  <a:lnTo>
                    <a:pt x="267" y="118"/>
                  </a:lnTo>
                  <a:lnTo>
                    <a:pt x="268" y="119"/>
                  </a:lnTo>
                  <a:lnTo>
                    <a:pt x="269" y="120"/>
                  </a:lnTo>
                  <a:lnTo>
                    <a:pt x="272" y="122"/>
                  </a:lnTo>
                  <a:lnTo>
                    <a:pt x="273" y="123"/>
                  </a:lnTo>
                  <a:lnTo>
                    <a:pt x="274" y="124"/>
                  </a:lnTo>
                  <a:lnTo>
                    <a:pt x="275" y="125"/>
                  </a:lnTo>
                  <a:lnTo>
                    <a:pt x="276" y="126"/>
                  </a:lnTo>
                  <a:lnTo>
                    <a:pt x="278" y="132"/>
                  </a:lnTo>
                  <a:lnTo>
                    <a:pt x="279" y="133"/>
                  </a:lnTo>
                  <a:lnTo>
                    <a:pt x="279" y="134"/>
                  </a:lnTo>
                  <a:lnTo>
                    <a:pt x="280" y="137"/>
                  </a:lnTo>
                  <a:lnTo>
                    <a:pt x="281" y="138"/>
                  </a:lnTo>
                  <a:lnTo>
                    <a:pt x="281" y="139"/>
                  </a:lnTo>
                  <a:lnTo>
                    <a:pt x="282" y="140"/>
                  </a:lnTo>
                  <a:lnTo>
                    <a:pt x="282" y="142"/>
                  </a:lnTo>
                  <a:lnTo>
                    <a:pt x="283" y="142"/>
                  </a:lnTo>
                  <a:lnTo>
                    <a:pt x="284" y="143"/>
                  </a:lnTo>
                  <a:lnTo>
                    <a:pt x="285" y="143"/>
                  </a:lnTo>
                  <a:lnTo>
                    <a:pt x="285" y="144"/>
                  </a:lnTo>
                  <a:lnTo>
                    <a:pt x="286" y="144"/>
                  </a:lnTo>
                  <a:lnTo>
                    <a:pt x="287" y="145"/>
                  </a:lnTo>
                  <a:lnTo>
                    <a:pt x="287" y="145"/>
                  </a:lnTo>
                  <a:lnTo>
                    <a:pt x="290" y="146"/>
                  </a:lnTo>
                  <a:lnTo>
                    <a:pt x="295" y="148"/>
                  </a:lnTo>
                  <a:lnTo>
                    <a:pt x="296" y="148"/>
                  </a:lnTo>
                  <a:lnTo>
                    <a:pt x="297" y="148"/>
                  </a:lnTo>
                  <a:lnTo>
                    <a:pt x="297" y="148"/>
                  </a:lnTo>
                  <a:lnTo>
                    <a:pt x="298" y="148"/>
                  </a:lnTo>
                  <a:lnTo>
                    <a:pt x="299" y="148"/>
                  </a:lnTo>
                  <a:lnTo>
                    <a:pt x="299" y="147"/>
                  </a:lnTo>
                  <a:lnTo>
                    <a:pt x="300" y="147"/>
                  </a:lnTo>
                  <a:lnTo>
                    <a:pt x="300" y="147"/>
                  </a:lnTo>
                  <a:lnTo>
                    <a:pt x="302" y="146"/>
                  </a:lnTo>
                  <a:lnTo>
                    <a:pt x="303" y="145"/>
                  </a:lnTo>
                  <a:lnTo>
                    <a:pt x="304" y="145"/>
                  </a:lnTo>
                  <a:lnTo>
                    <a:pt x="304" y="145"/>
                  </a:lnTo>
                  <a:lnTo>
                    <a:pt x="305" y="144"/>
                  </a:lnTo>
                  <a:lnTo>
                    <a:pt x="305" y="144"/>
                  </a:lnTo>
                  <a:lnTo>
                    <a:pt x="306" y="144"/>
                  </a:lnTo>
                  <a:lnTo>
                    <a:pt x="307" y="144"/>
                  </a:lnTo>
                  <a:lnTo>
                    <a:pt x="308" y="144"/>
                  </a:lnTo>
                  <a:lnTo>
                    <a:pt x="309" y="145"/>
                  </a:lnTo>
                  <a:lnTo>
                    <a:pt x="310" y="145"/>
                  </a:lnTo>
                  <a:lnTo>
                    <a:pt x="310" y="145"/>
                  </a:lnTo>
                  <a:lnTo>
                    <a:pt x="311" y="146"/>
                  </a:lnTo>
                  <a:lnTo>
                    <a:pt x="311" y="146"/>
                  </a:lnTo>
                  <a:lnTo>
                    <a:pt x="312" y="146"/>
                  </a:lnTo>
                  <a:lnTo>
                    <a:pt x="313" y="147"/>
                  </a:lnTo>
                  <a:lnTo>
                    <a:pt x="313" y="148"/>
                  </a:lnTo>
                  <a:lnTo>
                    <a:pt x="314" y="149"/>
                  </a:lnTo>
                  <a:lnTo>
                    <a:pt x="315" y="151"/>
                  </a:lnTo>
                  <a:lnTo>
                    <a:pt x="316" y="152"/>
                  </a:lnTo>
                  <a:lnTo>
                    <a:pt x="317" y="153"/>
                  </a:lnTo>
                  <a:lnTo>
                    <a:pt x="318" y="153"/>
                  </a:lnTo>
                  <a:lnTo>
                    <a:pt x="318" y="154"/>
                  </a:lnTo>
                  <a:lnTo>
                    <a:pt x="319" y="154"/>
                  </a:lnTo>
                  <a:lnTo>
                    <a:pt x="320" y="155"/>
                  </a:lnTo>
                  <a:lnTo>
                    <a:pt x="321" y="155"/>
                  </a:lnTo>
                  <a:lnTo>
                    <a:pt x="326" y="157"/>
                  </a:lnTo>
                  <a:lnTo>
                    <a:pt x="327" y="157"/>
                  </a:lnTo>
                  <a:lnTo>
                    <a:pt x="328" y="157"/>
                  </a:lnTo>
                  <a:lnTo>
                    <a:pt x="329" y="158"/>
                  </a:lnTo>
                  <a:lnTo>
                    <a:pt x="330" y="159"/>
                  </a:lnTo>
                  <a:lnTo>
                    <a:pt x="331" y="159"/>
                  </a:lnTo>
                  <a:lnTo>
                    <a:pt x="332" y="160"/>
                  </a:lnTo>
                  <a:lnTo>
                    <a:pt x="332" y="160"/>
                  </a:lnTo>
                  <a:lnTo>
                    <a:pt x="333" y="161"/>
                  </a:lnTo>
                  <a:lnTo>
                    <a:pt x="334" y="162"/>
                  </a:lnTo>
                  <a:lnTo>
                    <a:pt x="334" y="163"/>
                  </a:lnTo>
                  <a:lnTo>
                    <a:pt x="335" y="164"/>
                  </a:lnTo>
                  <a:lnTo>
                    <a:pt x="336" y="168"/>
                  </a:lnTo>
                  <a:lnTo>
                    <a:pt x="337" y="169"/>
                  </a:lnTo>
                  <a:lnTo>
                    <a:pt x="337" y="170"/>
                  </a:lnTo>
                  <a:lnTo>
                    <a:pt x="338" y="171"/>
                  </a:lnTo>
                  <a:lnTo>
                    <a:pt x="339" y="172"/>
                  </a:lnTo>
                  <a:lnTo>
                    <a:pt x="339" y="173"/>
                  </a:lnTo>
                  <a:lnTo>
                    <a:pt x="340" y="173"/>
                  </a:lnTo>
                  <a:lnTo>
                    <a:pt x="341" y="174"/>
                  </a:lnTo>
                  <a:lnTo>
                    <a:pt x="342" y="175"/>
                  </a:lnTo>
                  <a:lnTo>
                    <a:pt x="343" y="176"/>
                  </a:lnTo>
                  <a:lnTo>
                    <a:pt x="343" y="176"/>
                  </a:lnTo>
                  <a:lnTo>
                    <a:pt x="344" y="176"/>
                  </a:lnTo>
                  <a:lnTo>
                    <a:pt x="345" y="177"/>
                  </a:lnTo>
                  <a:lnTo>
                    <a:pt x="346" y="177"/>
                  </a:lnTo>
                  <a:lnTo>
                    <a:pt x="347" y="177"/>
                  </a:lnTo>
                  <a:lnTo>
                    <a:pt x="348" y="177"/>
                  </a:lnTo>
                  <a:lnTo>
                    <a:pt x="348" y="177"/>
                  </a:lnTo>
                  <a:lnTo>
                    <a:pt x="349" y="177"/>
                  </a:lnTo>
                  <a:lnTo>
                    <a:pt x="350" y="176"/>
                  </a:lnTo>
                  <a:lnTo>
                    <a:pt x="351" y="175"/>
                  </a:lnTo>
                  <a:lnTo>
                    <a:pt x="353" y="174"/>
                  </a:lnTo>
                  <a:lnTo>
                    <a:pt x="353" y="174"/>
                  </a:lnTo>
                  <a:lnTo>
                    <a:pt x="354" y="173"/>
                  </a:lnTo>
                  <a:lnTo>
                    <a:pt x="354" y="172"/>
                  </a:lnTo>
                  <a:lnTo>
                    <a:pt x="354" y="172"/>
                  </a:lnTo>
                  <a:lnTo>
                    <a:pt x="354" y="171"/>
                  </a:lnTo>
                  <a:lnTo>
                    <a:pt x="354" y="170"/>
                  </a:lnTo>
                  <a:lnTo>
                    <a:pt x="354" y="169"/>
                  </a:lnTo>
                  <a:lnTo>
                    <a:pt x="354" y="168"/>
                  </a:lnTo>
                  <a:lnTo>
                    <a:pt x="354" y="168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5" y="167"/>
                  </a:lnTo>
                  <a:lnTo>
                    <a:pt x="356" y="167"/>
                  </a:lnTo>
                  <a:lnTo>
                    <a:pt x="357" y="167"/>
                  </a:lnTo>
                  <a:lnTo>
                    <a:pt x="358" y="167"/>
                  </a:lnTo>
                  <a:lnTo>
                    <a:pt x="362" y="168"/>
                  </a:lnTo>
                  <a:lnTo>
                    <a:pt x="364" y="169"/>
                  </a:lnTo>
                  <a:lnTo>
                    <a:pt x="365" y="169"/>
                  </a:lnTo>
                  <a:lnTo>
                    <a:pt x="367" y="169"/>
                  </a:lnTo>
                  <a:lnTo>
                    <a:pt x="369" y="169"/>
                  </a:lnTo>
                  <a:lnTo>
                    <a:pt x="374" y="169"/>
                  </a:lnTo>
                  <a:lnTo>
                    <a:pt x="375" y="169"/>
                  </a:lnTo>
                  <a:lnTo>
                    <a:pt x="377" y="170"/>
                  </a:lnTo>
                  <a:lnTo>
                    <a:pt x="378" y="170"/>
                  </a:lnTo>
                  <a:lnTo>
                    <a:pt x="379" y="170"/>
                  </a:lnTo>
                  <a:lnTo>
                    <a:pt x="379" y="170"/>
                  </a:lnTo>
                  <a:lnTo>
                    <a:pt x="380" y="171"/>
                  </a:lnTo>
                  <a:lnTo>
                    <a:pt x="385" y="173"/>
                  </a:lnTo>
                  <a:lnTo>
                    <a:pt x="388" y="175"/>
                  </a:lnTo>
                  <a:lnTo>
                    <a:pt x="390" y="176"/>
                  </a:lnTo>
                  <a:lnTo>
                    <a:pt x="391" y="176"/>
                  </a:lnTo>
                  <a:lnTo>
                    <a:pt x="397" y="181"/>
                  </a:lnTo>
                  <a:lnTo>
                    <a:pt x="398" y="181"/>
                  </a:lnTo>
                  <a:lnTo>
                    <a:pt x="398" y="181"/>
                  </a:lnTo>
                  <a:lnTo>
                    <a:pt x="400" y="182"/>
                  </a:lnTo>
                  <a:lnTo>
                    <a:pt x="401" y="183"/>
                  </a:lnTo>
                  <a:lnTo>
                    <a:pt x="403" y="183"/>
                  </a:lnTo>
                  <a:lnTo>
                    <a:pt x="404" y="183"/>
                  </a:lnTo>
                  <a:lnTo>
                    <a:pt x="406" y="183"/>
                  </a:lnTo>
                  <a:lnTo>
                    <a:pt x="407" y="184"/>
                  </a:lnTo>
                  <a:lnTo>
                    <a:pt x="408" y="184"/>
                  </a:lnTo>
                  <a:lnTo>
                    <a:pt x="409" y="183"/>
                  </a:lnTo>
                  <a:lnTo>
                    <a:pt x="410" y="183"/>
                  </a:lnTo>
                  <a:lnTo>
                    <a:pt x="410" y="183"/>
                  </a:lnTo>
                  <a:lnTo>
                    <a:pt x="411" y="183"/>
                  </a:lnTo>
                  <a:lnTo>
                    <a:pt x="411" y="182"/>
                  </a:lnTo>
                  <a:lnTo>
                    <a:pt x="412" y="182"/>
                  </a:lnTo>
                  <a:lnTo>
                    <a:pt x="412" y="181"/>
                  </a:lnTo>
                  <a:lnTo>
                    <a:pt x="413" y="181"/>
                  </a:lnTo>
                  <a:lnTo>
                    <a:pt x="413" y="181"/>
                  </a:lnTo>
                  <a:lnTo>
                    <a:pt x="413" y="180"/>
                  </a:lnTo>
                  <a:lnTo>
                    <a:pt x="414" y="179"/>
                  </a:lnTo>
                  <a:lnTo>
                    <a:pt x="414" y="177"/>
                  </a:lnTo>
                  <a:lnTo>
                    <a:pt x="415" y="176"/>
                  </a:lnTo>
                  <a:lnTo>
                    <a:pt x="415" y="176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7" y="174"/>
                  </a:lnTo>
                  <a:lnTo>
                    <a:pt x="417" y="174"/>
                  </a:lnTo>
                  <a:lnTo>
                    <a:pt x="418" y="174"/>
                  </a:lnTo>
                  <a:lnTo>
                    <a:pt x="419" y="175"/>
                  </a:lnTo>
                  <a:lnTo>
                    <a:pt x="420" y="175"/>
                  </a:lnTo>
                  <a:lnTo>
                    <a:pt x="420" y="175"/>
                  </a:lnTo>
                  <a:lnTo>
                    <a:pt x="421" y="175"/>
                  </a:lnTo>
                  <a:lnTo>
                    <a:pt x="421" y="176"/>
                  </a:lnTo>
                  <a:lnTo>
                    <a:pt x="422" y="176"/>
                  </a:lnTo>
                  <a:lnTo>
                    <a:pt x="422" y="176"/>
                  </a:lnTo>
                  <a:lnTo>
                    <a:pt x="423" y="177"/>
                  </a:lnTo>
                  <a:lnTo>
                    <a:pt x="423" y="178"/>
                  </a:lnTo>
                  <a:lnTo>
                    <a:pt x="423" y="178"/>
                  </a:lnTo>
                  <a:lnTo>
                    <a:pt x="424" y="179"/>
                  </a:lnTo>
                  <a:lnTo>
                    <a:pt x="424" y="181"/>
                  </a:lnTo>
                  <a:lnTo>
                    <a:pt x="424" y="182"/>
                  </a:lnTo>
                  <a:lnTo>
                    <a:pt x="424" y="183"/>
                  </a:lnTo>
                  <a:lnTo>
                    <a:pt x="424" y="187"/>
                  </a:lnTo>
                  <a:lnTo>
                    <a:pt x="424" y="189"/>
                  </a:lnTo>
                  <a:lnTo>
                    <a:pt x="424" y="191"/>
                  </a:lnTo>
                  <a:lnTo>
                    <a:pt x="424" y="191"/>
                  </a:lnTo>
                  <a:lnTo>
                    <a:pt x="424" y="192"/>
                  </a:lnTo>
                  <a:lnTo>
                    <a:pt x="424" y="192"/>
                  </a:lnTo>
                  <a:lnTo>
                    <a:pt x="425" y="193"/>
                  </a:lnTo>
                  <a:lnTo>
                    <a:pt x="425" y="194"/>
                  </a:lnTo>
                  <a:lnTo>
                    <a:pt x="425" y="195"/>
                  </a:lnTo>
                  <a:lnTo>
                    <a:pt x="426" y="195"/>
                  </a:lnTo>
                  <a:lnTo>
                    <a:pt x="426" y="196"/>
                  </a:lnTo>
                  <a:lnTo>
                    <a:pt x="427" y="196"/>
                  </a:lnTo>
                  <a:lnTo>
                    <a:pt x="427" y="197"/>
                  </a:lnTo>
                  <a:lnTo>
                    <a:pt x="428" y="198"/>
                  </a:lnTo>
                  <a:lnTo>
                    <a:pt x="429" y="199"/>
                  </a:lnTo>
                  <a:lnTo>
                    <a:pt x="430" y="200"/>
                  </a:lnTo>
                  <a:lnTo>
                    <a:pt x="431" y="200"/>
                  </a:lnTo>
                  <a:lnTo>
                    <a:pt x="431" y="201"/>
                  </a:lnTo>
                  <a:lnTo>
                    <a:pt x="431" y="201"/>
                  </a:lnTo>
                  <a:lnTo>
                    <a:pt x="431" y="201"/>
                  </a:lnTo>
                  <a:lnTo>
                    <a:pt x="431" y="202"/>
                  </a:lnTo>
                  <a:lnTo>
                    <a:pt x="431" y="202"/>
                  </a:lnTo>
                  <a:lnTo>
                    <a:pt x="431" y="203"/>
                  </a:lnTo>
                  <a:lnTo>
                    <a:pt x="431" y="204"/>
                  </a:lnTo>
                  <a:lnTo>
                    <a:pt x="429" y="206"/>
                  </a:lnTo>
                  <a:lnTo>
                    <a:pt x="428" y="209"/>
                  </a:lnTo>
                  <a:lnTo>
                    <a:pt x="427" y="212"/>
                  </a:lnTo>
                  <a:lnTo>
                    <a:pt x="427" y="213"/>
                  </a:lnTo>
                  <a:lnTo>
                    <a:pt x="427" y="214"/>
                  </a:lnTo>
                  <a:lnTo>
                    <a:pt x="426" y="215"/>
                  </a:lnTo>
                  <a:lnTo>
                    <a:pt x="426" y="216"/>
                  </a:lnTo>
                  <a:lnTo>
                    <a:pt x="426" y="217"/>
                  </a:lnTo>
                  <a:lnTo>
                    <a:pt x="427" y="219"/>
                  </a:lnTo>
                  <a:lnTo>
                    <a:pt x="427" y="220"/>
                  </a:lnTo>
                  <a:lnTo>
                    <a:pt x="428" y="223"/>
                  </a:lnTo>
                  <a:lnTo>
                    <a:pt x="429" y="224"/>
                  </a:lnTo>
                  <a:lnTo>
                    <a:pt x="429" y="225"/>
                  </a:lnTo>
                  <a:lnTo>
                    <a:pt x="430" y="227"/>
                  </a:lnTo>
                  <a:lnTo>
                    <a:pt x="431" y="230"/>
                  </a:lnTo>
                  <a:lnTo>
                    <a:pt x="433" y="233"/>
                  </a:lnTo>
                  <a:lnTo>
                    <a:pt x="434" y="237"/>
                  </a:lnTo>
                  <a:lnTo>
                    <a:pt x="437" y="243"/>
                  </a:lnTo>
                  <a:lnTo>
                    <a:pt x="440" y="249"/>
                  </a:lnTo>
                  <a:lnTo>
                    <a:pt x="441" y="253"/>
                  </a:lnTo>
                  <a:lnTo>
                    <a:pt x="442" y="254"/>
                  </a:lnTo>
                  <a:lnTo>
                    <a:pt x="442" y="255"/>
                  </a:lnTo>
                  <a:lnTo>
                    <a:pt x="443" y="256"/>
                  </a:lnTo>
                  <a:lnTo>
                    <a:pt x="444" y="261"/>
                  </a:lnTo>
                  <a:lnTo>
                    <a:pt x="444" y="262"/>
                  </a:lnTo>
                  <a:lnTo>
                    <a:pt x="445" y="263"/>
                  </a:lnTo>
                  <a:lnTo>
                    <a:pt x="445" y="264"/>
                  </a:lnTo>
                  <a:lnTo>
                    <a:pt x="445" y="265"/>
                  </a:lnTo>
                  <a:lnTo>
                    <a:pt x="446" y="265"/>
                  </a:lnTo>
                  <a:lnTo>
                    <a:pt x="446" y="266"/>
                  </a:lnTo>
                  <a:lnTo>
                    <a:pt x="447" y="267"/>
                  </a:lnTo>
                  <a:lnTo>
                    <a:pt x="448" y="267"/>
                  </a:lnTo>
                  <a:lnTo>
                    <a:pt x="449" y="268"/>
                  </a:lnTo>
                  <a:lnTo>
                    <a:pt x="449" y="269"/>
                  </a:lnTo>
                  <a:lnTo>
                    <a:pt x="450" y="269"/>
                  </a:lnTo>
                  <a:lnTo>
                    <a:pt x="451" y="269"/>
                  </a:lnTo>
                  <a:lnTo>
                    <a:pt x="452" y="270"/>
                  </a:lnTo>
                  <a:lnTo>
                    <a:pt x="453" y="270"/>
                  </a:lnTo>
                  <a:lnTo>
                    <a:pt x="457" y="272"/>
                  </a:lnTo>
                  <a:lnTo>
                    <a:pt x="459" y="272"/>
                  </a:lnTo>
                  <a:lnTo>
                    <a:pt x="463" y="273"/>
                  </a:lnTo>
                  <a:lnTo>
                    <a:pt x="464" y="273"/>
                  </a:lnTo>
                  <a:lnTo>
                    <a:pt x="465" y="273"/>
                  </a:lnTo>
                  <a:lnTo>
                    <a:pt x="465" y="273"/>
                  </a:lnTo>
                  <a:lnTo>
                    <a:pt x="467" y="274"/>
                  </a:lnTo>
                  <a:lnTo>
                    <a:pt x="468" y="274"/>
                  </a:lnTo>
                  <a:lnTo>
                    <a:pt x="469" y="275"/>
                  </a:lnTo>
                  <a:lnTo>
                    <a:pt x="470" y="277"/>
                  </a:lnTo>
                  <a:lnTo>
                    <a:pt x="472" y="279"/>
                  </a:lnTo>
                  <a:lnTo>
                    <a:pt x="473" y="279"/>
                  </a:lnTo>
                  <a:lnTo>
                    <a:pt x="474" y="280"/>
                  </a:lnTo>
                  <a:lnTo>
                    <a:pt x="474" y="280"/>
                  </a:lnTo>
                  <a:lnTo>
                    <a:pt x="476" y="281"/>
                  </a:lnTo>
                  <a:lnTo>
                    <a:pt x="477" y="282"/>
                  </a:lnTo>
                  <a:lnTo>
                    <a:pt x="479" y="282"/>
                  </a:lnTo>
                  <a:lnTo>
                    <a:pt x="479" y="282"/>
                  </a:lnTo>
                  <a:lnTo>
                    <a:pt x="481" y="282"/>
                  </a:lnTo>
                  <a:lnTo>
                    <a:pt x="481" y="282"/>
                  </a:lnTo>
                  <a:lnTo>
                    <a:pt x="482" y="282"/>
                  </a:lnTo>
                  <a:lnTo>
                    <a:pt x="483" y="282"/>
                  </a:lnTo>
                  <a:lnTo>
                    <a:pt x="486" y="282"/>
                  </a:lnTo>
                  <a:lnTo>
                    <a:pt x="488" y="282"/>
                  </a:lnTo>
                  <a:lnTo>
                    <a:pt x="489" y="282"/>
                  </a:lnTo>
                  <a:lnTo>
                    <a:pt x="490" y="282"/>
                  </a:lnTo>
                  <a:lnTo>
                    <a:pt x="491" y="282"/>
                  </a:lnTo>
                  <a:lnTo>
                    <a:pt x="492" y="282"/>
                  </a:lnTo>
                  <a:lnTo>
                    <a:pt x="493" y="282"/>
                  </a:lnTo>
                  <a:lnTo>
                    <a:pt x="494" y="283"/>
                  </a:lnTo>
                  <a:lnTo>
                    <a:pt x="495" y="283"/>
                  </a:lnTo>
                  <a:lnTo>
                    <a:pt x="496" y="284"/>
                  </a:lnTo>
                  <a:lnTo>
                    <a:pt x="496" y="284"/>
                  </a:lnTo>
                  <a:lnTo>
                    <a:pt x="497" y="285"/>
                  </a:lnTo>
                  <a:lnTo>
                    <a:pt x="498" y="285"/>
                  </a:lnTo>
                  <a:lnTo>
                    <a:pt x="498" y="286"/>
                  </a:lnTo>
                  <a:lnTo>
                    <a:pt x="498" y="287"/>
                  </a:lnTo>
                  <a:lnTo>
                    <a:pt x="499" y="288"/>
                  </a:lnTo>
                  <a:lnTo>
                    <a:pt x="499" y="290"/>
                  </a:lnTo>
                  <a:lnTo>
                    <a:pt x="500" y="292"/>
                  </a:lnTo>
                  <a:lnTo>
                    <a:pt x="501" y="296"/>
                  </a:lnTo>
                  <a:lnTo>
                    <a:pt x="502" y="301"/>
                  </a:lnTo>
                  <a:lnTo>
                    <a:pt x="504" y="310"/>
                  </a:lnTo>
                  <a:lnTo>
                    <a:pt x="506" y="315"/>
                  </a:lnTo>
                  <a:lnTo>
                    <a:pt x="506" y="317"/>
                  </a:lnTo>
                  <a:lnTo>
                    <a:pt x="507" y="318"/>
                  </a:lnTo>
                  <a:lnTo>
                    <a:pt x="507" y="319"/>
                  </a:lnTo>
                  <a:lnTo>
                    <a:pt x="508" y="321"/>
                  </a:lnTo>
                  <a:lnTo>
                    <a:pt x="509" y="322"/>
                  </a:lnTo>
                  <a:lnTo>
                    <a:pt x="509" y="324"/>
                  </a:lnTo>
                  <a:lnTo>
                    <a:pt x="510" y="328"/>
                  </a:lnTo>
                  <a:lnTo>
                    <a:pt x="510" y="329"/>
                  </a:lnTo>
                  <a:lnTo>
                    <a:pt x="510" y="331"/>
                  </a:lnTo>
                  <a:lnTo>
                    <a:pt x="511" y="333"/>
                  </a:lnTo>
                  <a:lnTo>
                    <a:pt x="512" y="335"/>
                  </a:lnTo>
                  <a:lnTo>
                    <a:pt x="513" y="336"/>
                  </a:lnTo>
                  <a:lnTo>
                    <a:pt x="514" y="338"/>
                  </a:lnTo>
                  <a:lnTo>
                    <a:pt x="515" y="340"/>
                  </a:lnTo>
                  <a:lnTo>
                    <a:pt x="516" y="341"/>
                  </a:lnTo>
                  <a:lnTo>
                    <a:pt x="516" y="343"/>
                  </a:lnTo>
                  <a:lnTo>
                    <a:pt x="516" y="344"/>
                  </a:lnTo>
                  <a:lnTo>
                    <a:pt x="516" y="345"/>
                  </a:lnTo>
                  <a:lnTo>
                    <a:pt x="516" y="346"/>
                  </a:lnTo>
                  <a:lnTo>
                    <a:pt x="516" y="346"/>
                  </a:lnTo>
                  <a:lnTo>
                    <a:pt x="515" y="348"/>
                  </a:lnTo>
                  <a:lnTo>
                    <a:pt x="515" y="350"/>
                  </a:lnTo>
                  <a:lnTo>
                    <a:pt x="514" y="352"/>
                  </a:lnTo>
                  <a:lnTo>
                    <a:pt x="513" y="355"/>
                  </a:lnTo>
                  <a:lnTo>
                    <a:pt x="513" y="355"/>
                  </a:lnTo>
                  <a:lnTo>
                    <a:pt x="513" y="356"/>
                  </a:lnTo>
                  <a:lnTo>
                    <a:pt x="513" y="356"/>
                  </a:lnTo>
                  <a:lnTo>
                    <a:pt x="512" y="356"/>
                  </a:lnTo>
                  <a:lnTo>
                    <a:pt x="511" y="357"/>
                  </a:lnTo>
                  <a:lnTo>
                    <a:pt x="511" y="357"/>
                  </a:lnTo>
                  <a:lnTo>
                    <a:pt x="510" y="357"/>
                  </a:lnTo>
                  <a:lnTo>
                    <a:pt x="507" y="358"/>
                  </a:lnTo>
                  <a:lnTo>
                    <a:pt x="505" y="359"/>
                  </a:lnTo>
                  <a:lnTo>
                    <a:pt x="504" y="359"/>
                  </a:lnTo>
                  <a:lnTo>
                    <a:pt x="503" y="360"/>
                  </a:lnTo>
                  <a:lnTo>
                    <a:pt x="499" y="362"/>
                  </a:lnTo>
                  <a:lnTo>
                    <a:pt x="497" y="363"/>
                  </a:lnTo>
                  <a:lnTo>
                    <a:pt x="495" y="364"/>
                  </a:lnTo>
                  <a:lnTo>
                    <a:pt x="491" y="367"/>
                  </a:lnTo>
                  <a:lnTo>
                    <a:pt x="490" y="368"/>
                  </a:lnTo>
                  <a:lnTo>
                    <a:pt x="489" y="368"/>
                  </a:lnTo>
                  <a:lnTo>
                    <a:pt x="487" y="369"/>
                  </a:lnTo>
                  <a:lnTo>
                    <a:pt x="486" y="369"/>
                  </a:lnTo>
                  <a:lnTo>
                    <a:pt x="485" y="369"/>
                  </a:lnTo>
                  <a:lnTo>
                    <a:pt x="484" y="369"/>
                  </a:lnTo>
                  <a:lnTo>
                    <a:pt x="484" y="369"/>
                  </a:lnTo>
                  <a:lnTo>
                    <a:pt x="483" y="369"/>
                  </a:lnTo>
                  <a:lnTo>
                    <a:pt x="482" y="369"/>
                  </a:lnTo>
                  <a:lnTo>
                    <a:pt x="480" y="369"/>
                  </a:lnTo>
                  <a:lnTo>
                    <a:pt x="476" y="367"/>
                  </a:lnTo>
                  <a:lnTo>
                    <a:pt x="475" y="367"/>
                  </a:lnTo>
                  <a:lnTo>
                    <a:pt x="474" y="367"/>
                  </a:lnTo>
                  <a:lnTo>
                    <a:pt x="472" y="367"/>
                  </a:lnTo>
                  <a:lnTo>
                    <a:pt x="469" y="366"/>
                  </a:lnTo>
                  <a:lnTo>
                    <a:pt x="466" y="366"/>
                  </a:lnTo>
                  <a:lnTo>
                    <a:pt x="464" y="366"/>
                  </a:lnTo>
                  <a:lnTo>
                    <a:pt x="463" y="366"/>
                  </a:lnTo>
                  <a:lnTo>
                    <a:pt x="461" y="366"/>
                  </a:lnTo>
                  <a:lnTo>
                    <a:pt x="458" y="366"/>
                  </a:lnTo>
                  <a:lnTo>
                    <a:pt x="452" y="368"/>
                  </a:lnTo>
                  <a:lnTo>
                    <a:pt x="450" y="368"/>
                  </a:lnTo>
                  <a:lnTo>
                    <a:pt x="448" y="368"/>
                  </a:lnTo>
                  <a:lnTo>
                    <a:pt x="447" y="368"/>
                  </a:lnTo>
                  <a:lnTo>
                    <a:pt x="446" y="368"/>
                  </a:lnTo>
                  <a:lnTo>
                    <a:pt x="445" y="368"/>
                  </a:lnTo>
                  <a:lnTo>
                    <a:pt x="444" y="368"/>
                  </a:lnTo>
                  <a:lnTo>
                    <a:pt x="443" y="368"/>
                  </a:lnTo>
                  <a:lnTo>
                    <a:pt x="442" y="367"/>
                  </a:lnTo>
                  <a:lnTo>
                    <a:pt x="440" y="366"/>
                  </a:lnTo>
                  <a:lnTo>
                    <a:pt x="439" y="366"/>
                  </a:lnTo>
                  <a:lnTo>
                    <a:pt x="438" y="366"/>
                  </a:lnTo>
                  <a:lnTo>
                    <a:pt x="437" y="366"/>
                  </a:lnTo>
                  <a:lnTo>
                    <a:pt x="436" y="366"/>
                  </a:lnTo>
                  <a:lnTo>
                    <a:pt x="435" y="366"/>
                  </a:lnTo>
                  <a:lnTo>
                    <a:pt x="434" y="366"/>
                  </a:lnTo>
                  <a:lnTo>
                    <a:pt x="433" y="366"/>
                  </a:lnTo>
                  <a:lnTo>
                    <a:pt x="432" y="366"/>
                  </a:lnTo>
                  <a:lnTo>
                    <a:pt x="431" y="366"/>
                  </a:lnTo>
                  <a:lnTo>
                    <a:pt x="430" y="366"/>
                  </a:lnTo>
                  <a:lnTo>
                    <a:pt x="430" y="367"/>
                  </a:lnTo>
                  <a:lnTo>
                    <a:pt x="429" y="367"/>
                  </a:lnTo>
                  <a:lnTo>
                    <a:pt x="428" y="368"/>
                  </a:lnTo>
                  <a:lnTo>
                    <a:pt x="427" y="369"/>
                  </a:lnTo>
                  <a:lnTo>
                    <a:pt x="426" y="370"/>
                  </a:lnTo>
                  <a:lnTo>
                    <a:pt x="425" y="370"/>
                  </a:lnTo>
                  <a:lnTo>
                    <a:pt x="425" y="371"/>
                  </a:lnTo>
                  <a:lnTo>
                    <a:pt x="424" y="372"/>
                  </a:lnTo>
                  <a:lnTo>
                    <a:pt x="424" y="373"/>
                  </a:lnTo>
                  <a:lnTo>
                    <a:pt x="424" y="374"/>
                  </a:lnTo>
                  <a:lnTo>
                    <a:pt x="423" y="374"/>
                  </a:lnTo>
                  <a:lnTo>
                    <a:pt x="423" y="375"/>
                  </a:lnTo>
                  <a:lnTo>
                    <a:pt x="423" y="376"/>
                  </a:lnTo>
                  <a:lnTo>
                    <a:pt x="423" y="377"/>
                  </a:lnTo>
                  <a:lnTo>
                    <a:pt x="423" y="380"/>
                  </a:lnTo>
                  <a:lnTo>
                    <a:pt x="423" y="381"/>
                  </a:lnTo>
                  <a:lnTo>
                    <a:pt x="423" y="382"/>
                  </a:lnTo>
                  <a:lnTo>
                    <a:pt x="423" y="383"/>
                  </a:lnTo>
                  <a:lnTo>
                    <a:pt x="423" y="384"/>
                  </a:lnTo>
                  <a:lnTo>
                    <a:pt x="422" y="385"/>
                  </a:lnTo>
                  <a:lnTo>
                    <a:pt x="422" y="386"/>
                  </a:lnTo>
                  <a:lnTo>
                    <a:pt x="421" y="387"/>
                  </a:lnTo>
                  <a:lnTo>
                    <a:pt x="420" y="389"/>
                  </a:lnTo>
                  <a:lnTo>
                    <a:pt x="418" y="392"/>
                  </a:lnTo>
                  <a:lnTo>
                    <a:pt x="417" y="393"/>
                  </a:lnTo>
                  <a:lnTo>
                    <a:pt x="414" y="397"/>
                  </a:lnTo>
                  <a:lnTo>
                    <a:pt x="411" y="400"/>
                  </a:lnTo>
                  <a:lnTo>
                    <a:pt x="410" y="401"/>
                  </a:lnTo>
                  <a:lnTo>
                    <a:pt x="409" y="403"/>
                  </a:lnTo>
                  <a:lnTo>
                    <a:pt x="407" y="406"/>
                  </a:lnTo>
                  <a:lnTo>
                    <a:pt x="405" y="410"/>
                  </a:lnTo>
                  <a:lnTo>
                    <a:pt x="404" y="411"/>
                  </a:lnTo>
                  <a:lnTo>
                    <a:pt x="403" y="412"/>
                  </a:lnTo>
                  <a:lnTo>
                    <a:pt x="402" y="413"/>
                  </a:lnTo>
                  <a:lnTo>
                    <a:pt x="401" y="414"/>
                  </a:lnTo>
                  <a:lnTo>
                    <a:pt x="400" y="415"/>
                  </a:lnTo>
                  <a:lnTo>
                    <a:pt x="399" y="416"/>
                  </a:lnTo>
                  <a:lnTo>
                    <a:pt x="398" y="416"/>
                  </a:lnTo>
                  <a:lnTo>
                    <a:pt x="397" y="417"/>
                  </a:lnTo>
                  <a:lnTo>
                    <a:pt x="396" y="418"/>
                  </a:lnTo>
                  <a:lnTo>
                    <a:pt x="395" y="418"/>
                  </a:lnTo>
                  <a:lnTo>
                    <a:pt x="394" y="418"/>
                  </a:lnTo>
                  <a:lnTo>
                    <a:pt x="392" y="419"/>
                  </a:lnTo>
                  <a:lnTo>
                    <a:pt x="391" y="419"/>
                  </a:lnTo>
                  <a:lnTo>
                    <a:pt x="390" y="419"/>
                  </a:lnTo>
                  <a:lnTo>
                    <a:pt x="389" y="419"/>
                  </a:lnTo>
                  <a:lnTo>
                    <a:pt x="388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3" y="419"/>
                  </a:lnTo>
                  <a:lnTo>
                    <a:pt x="383" y="419"/>
                  </a:lnTo>
                  <a:lnTo>
                    <a:pt x="382" y="418"/>
                  </a:lnTo>
                  <a:lnTo>
                    <a:pt x="381" y="418"/>
                  </a:lnTo>
                  <a:lnTo>
                    <a:pt x="380" y="417"/>
                  </a:lnTo>
                  <a:lnTo>
                    <a:pt x="379" y="416"/>
                  </a:lnTo>
                  <a:lnTo>
                    <a:pt x="378" y="416"/>
                  </a:lnTo>
                  <a:lnTo>
                    <a:pt x="377" y="415"/>
                  </a:lnTo>
                  <a:lnTo>
                    <a:pt x="377" y="414"/>
                  </a:lnTo>
                  <a:lnTo>
                    <a:pt x="376" y="414"/>
                  </a:lnTo>
                  <a:lnTo>
                    <a:pt x="376" y="413"/>
                  </a:lnTo>
                  <a:lnTo>
                    <a:pt x="375" y="412"/>
                  </a:lnTo>
                  <a:lnTo>
                    <a:pt x="375" y="412"/>
                  </a:lnTo>
                  <a:lnTo>
                    <a:pt x="374" y="410"/>
                  </a:lnTo>
                  <a:lnTo>
                    <a:pt x="372" y="406"/>
                  </a:lnTo>
                  <a:lnTo>
                    <a:pt x="372" y="405"/>
                  </a:lnTo>
                  <a:lnTo>
                    <a:pt x="372" y="405"/>
                  </a:lnTo>
                  <a:lnTo>
                    <a:pt x="371" y="404"/>
                  </a:lnTo>
                  <a:lnTo>
                    <a:pt x="371" y="403"/>
                  </a:lnTo>
                  <a:lnTo>
                    <a:pt x="369" y="400"/>
                  </a:lnTo>
                  <a:lnTo>
                    <a:pt x="368" y="399"/>
                  </a:lnTo>
                  <a:lnTo>
                    <a:pt x="367" y="399"/>
                  </a:lnTo>
                  <a:lnTo>
                    <a:pt x="366" y="398"/>
                  </a:lnTo>
                  <a:lnTo>
                    <a:pt x="365" y="397"/>
                  </a:lnTo>
                  <a:lnTo>
                    <a:pt x="360" y="394"/>
                  </a:lnTo>
                  <a:lnTo>
                    <a:pt x="359" y="393"/>
                  </a:lnTo>
                  <a:lnTo>
                    <a:pt x="358" y="392"/>
                  </a:lnTo>
                  <a:lnTo>
                    <a:pt x="357" y="391"/>
                  </a:lnTo>
                  <a:lnTo>
                    <a:pt x="357" y="390"/>
                  </a:lnTo>
                  <a:lnTo>
                    <a:pt x="356" y="389"/>
                  </a:lnTo>
                  <a:lnTo>
                    <a:pt x="355" y="388"/>
                  </a:lnTo>
                  <a:lnTo>
                    <a:pt x="354" y="386"/>
                  </a:lnTo>
                  <a:lnTo>
                    <a:pt x="352" y="382"/>
                  </a:lnTo>
                  <a:lnTo>
                    <a:pt x="351" y="381"/>
                  </a:lnTo>
                  <a:lnTo>
                    <a:pt x="351" y="380"/>
                  </a:lnTo>
                  <a:lnTo>
                    <a:pt x="350" y="380"/>
                  </a:lnTo>
                  <a:lnTo>
                    <a:pt x="349" y="379"/>
                  </a:lnTo>
                  <a:lnTo>
                    <a:pt x="348" y="379"/>
                  </a:lnTo>
                  <a:lnTo>
                    <a:pt x="347" y="378"/>
                  </a:lnTo>
                  <a:lnTo>
                    <a:pt x="346" y="378"/>
                  </a:lnTo>
                  <a:lnTo>
                    <a:pt x="345" y="377"/>
                  </a:lnTo>
                  <a:lnTo>
                    <a:pt x="344" y="377"/>
                  </a:lnTo>
                  <a:lnTo>
                    <a:pt x="343" y="377"/>
                  </a:lnTo>
                  <a:lnTo>
                    <a:pt x="343" y="377"/>
                  </a:lnTo>
                  <a:lnTo>
                    <a:pt x="341" y="378"/>
                  </a:lnTo>
                  <a:lnTo>
                    <a:pt x="338" y="378"/>
                  </a:lnTo>
                  <a:lnTo>
                    <a:pt x="337" y="379"/>
                  </a:lnTo>
                  <a:lnTo>
                    <a:pt x="336" y="379"/>
                  </a:lnTo>
                  <a:lnTo>
                    <a:pt x="335" y="379"/>
                  </a:lnTo>
                  <a:lnTo>
                    <a:pt x="334" y="379"/>
                  </a:lnTo>
                  <a:lnTo>
                    <a:pt x="333" y="379"/>
                  </a:lnTo>
                  <a:lnTo>
                    <a:pt x="330" y="378"/>
                  </a:lnTo>
                  <a:lnTo>
                    <a:pt x="329" y="378"/>
                  </a:lnTo>
                  <a:lnTo>
                    <a:pt x="323" y="377"/>
                  </a:lnTo>
                  <a:lnTo>
                    <a:pt x="322" y="377"/>
                  </a:lnTo>
                  <a:lnTo>
                    <a:pt x="321" y="376"/>
                  </a:lnTo>
                  <a:lnTo>
                    <a:pt x="319" y="376"/>
                  </a:lnTo>
                  <a:lnTo>
                    <a:pt x="319" y="375"/>
                  </a:lnTo>
                  <a:lnTo>
                    <a:pt x="318" y="375"/>
                  </a:lnTo>
                  <a:lnTo>
                    <a:pt x="316" y="374"/>
                  </a:lnTo>
                  <a:lnTo>
                    <a:pt x="312" y="371"/>
                  </a:lnTo>
                  <a:lnTo>
                    <a:pt x="311" y="370"/>
                  </a:lnTo>
                  <a:lnTo>
                    <a:pt x="310" y="370"/>
                  </a:lnTo>
                  <a:lnTo>
                    <a:pt x="309" y="369"/>
                  </a:lnTo>
                  <a:lnTo>
                    <a:pt x="308" y="369"/>
                  </a:lnTo>
                  <a:lnTo>
                    <a:pt x="307" y="369"/>
                  </a:lnTo>
                  <a:lnTo>
                    <a:pt x="306" y="368"/>
                  </a:lnTo>
                  <a:lnTo>
                    <a:pt x="303" y="368"/>
                  </a:lnTo>
                  <a:lnTo>
                    <a:pt x="302" y="368"/>
                  </a:lnTo>
                  <a:lnTo>
                    <a:pt x="301" y="368"/>
                  </a:lnTo>
                  <a:lnTo>
                    <a:pt x="297" y="367"/>
                  </a:lnTo>
                  <a:lnTo>
                    <a:pt x="296" y="367"/>
                  </a:lnTo>
                  <a:lnTo>
                    <a:pt x="295" y="367"/>
                  </a:lnTo>
                  <a:lnTo>
                    <a:pt x="293" y="367"/>
                  </a:lnTo>
                  <a:lnTo>
                    <a:pt x="290" y="367"/>
                  </a:lnTo>
                  <a:lnTo>
                    <a:pt x="287" y="367"/>
                  </a:lnTo>
                  <a:lnTo>
                    <a:pt x="285" y="367"/>
                  </a:lnTo>
                  <a:lnTo>
                    <a:pt x="281" y="368"/>
                  </a:lnTo>
                  <a:lnTo>
                    <a:pt x="278" y="369"/>
                  </a:lnTo>
                  <a:lnTo>
                    <a:pt x="274" y="370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2" y="373"/>
                  </a:lnTo>
                  <a:lnTo>
                    <a:pt x="261" y="372"/>
                  </a:lnTo>
                  <a:lnTo>
                    <a:pt x="261" y="372"/>
                  </a:lnTo>
                  <a:lnTo>
                    <a:pt x="260" y="372"/>
                  </a:lnTo>
                  <a:lnTo>
                    <a:pt x="259" y="371"/>
                  </a:lnTo>
                  <a:lnTo>
                    <a:pt x="259" y="371"/>
                  </a:lnTo>
                  <a:lnTo>
                    <a:pt x="258" y="371"/>
                  </a:lnTo>
                  <a:lnTo>
                    <a:pt x="258" y="370"/>
                  </a:lnTo>
                  <a:lnTo>
                    <a:pt x="257" y="369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5" y="365"/>
                  </a:lnTo>
                  <a:lnTo>
                    <a:pt x="254" y="364"/>
                  </a:lnTo>
                  <a:lnTo>
                    <a:pt x="253" y="363"/>
                  </a:lnTo>
                  <a:lnTo>
                    <a:pt x="252" y="362"/>
                  </a:lnTo>
                  <a:lnTo>
                    <a:pt x="250" y="361"/>
                  </a:lnTo>
                  <a:lnTo>
                    <a:pt x="249" y="361"/>
                  </a:lnTo>
                  <a:lnTo>
                    <a:pt x="248" y="360"/>
                  </a:lnTo>
                  <a:lnTo>
                    <a:pt x="247" y="360"/>
                  </a:lnTo>
                  <a:lnTo>
                    <a:pt x="245" y="359"/>
                  </a:lnTo>
                  <a:lnTo>
                    <a:pt x="243" y="359"/>
                  </a:lnTo>
                  <a:lnTo>
                    <a:pt x="242" y="359"/>
                  </a:lnTo>
                  <a:lnTo>
                    <a:pt x="240" y="359"/>
                  </a:lnTo>
                  <a:lnTo>
                    <a:pt x="239" y="359"/>
                  </a:lnTo>
                  <a:lnTo>
                    <a:pt x="239" y="359"/>
                  </a:lnTo>
                  <a:lnTo>
                    <a:pt x="239" y="359"/>
                  </a:lnTo>
                  <a:lnTo>
                    <a:pt x="238" y="359"/>
                  </a:lnTo>
                  <a:lnTo>
                    <a:pt x="237" y="359"/>
                  </a:lnTo>
                  <a:lnTo>
                    <a:pt x="237" y="359"/>
                  </a:lnTo>
                  <a:lnTo>
                    <a:pt x="235" y="360"/>
                  </a:lnTo>
                  <a:lnTo>
                    <a:pt x="235" y="360"/>
                  </a:lnTo>
                  <a:lnTo>
                    <a:pt x="234" y="359"/>
                  </a:lnTo>
                  <a:lnTo>
                    <a:pt x="234" y="359"/>
                  </a:lnTo>
                  <a:lnTo>
                    <a:pt x="233" y="356"/>
                  </a:lnTo>
                  <a:lnTo>
                    <a:pt x="231" y="353"/>
                  </a:lnTo>
                  <a:lnTo>
                    <a:pt x="231" y="352"/>
                  </a:lnTo>
                  <a:lnTo>
                    <a:pt x="230" y="351"/>
                  </a:lnTo>
                  <a:lnTo>
                    <a:pt x="229" y="350"/>
                  </a:lnTo>
                  <a:lnTo>
                    <a:pt x="228" y="349"/>
                  </a:lnTo>
                  <a:lnTo>
                    <a:pt x="228" y="349"/>
                  </a:lnTo>
                  <a:lnTo>
                    <a:pt x="228" y="349"/>
                  </a:lnTo>
                  <a:lnTo>
                    <a:pt x="227" y="349"/>
                  </a:lnTo>
                  <a:lnTo>
                    <a:pt x="227" y="348"/>
                  </a:lnTo>
                  <a:lnTo>
                    <a:pt x="226" y="348"/>
                  </a:lnTo>
                  <a:lnTo>
                    <a:pt x="226" y="348"/>
                  </a:lnTo>
                  <a:lnTo>
                    <a:pt x="225" y="349"/>
                  </a:lnTo>
                  <a:lnTo>
                    <a:pt x="224" y="349"/>
                  </a:lnTo>
                  <a:lnTo>
                    <a:pt x="223" y="349"/>
                  </a:lnTo>
                  <a:lnTo>
                    <a:pt x="222" y="350"/>
                  </a:lnTo>
                  <a:lnTo>
                    <a:pt x="221" y="351"/>
                  </a:lnTo>
                  <a:lnTo>
                    <a:pt x="219" y="353"/>
                  </a:lnTo>
                  <a:lnTo>
                    <a:pt x="218" y="353"/>
                  </a:lnTo>
                  <a:lnTo>
                    <a:pt x="218" y="353"/>
                  </a:lnTo>
                  <a:lnTo>
                    <a:pt x="218" y="353"/>
                  </a:lnTo>
                  <a:lnTo>
                    <a:pt x="217" y="353"/>
                  </a:lnTo>
                  <a:lnTo>
                    <a:pt x="216" y="353"/>
                  </a:lnTo>
                  <a:lnTo>
                    <a:pt x="216" y="353"/>
                  </a:lnTo>
                  <a:lnTo>
                    <a:pt x="216" y="352"/>
                  </a:lnTo>
                  <a:lnTo>
                    <a:pt x="215" y="352"/>
                  </a:lnTo>
                  <a:lnTo>
                    <a:pt x="215" y="351"/>
                  </a:lnTo>
                  <a:lnTo>
                    <a:pt x="214" y="350"/>
                  </a:lnTo>
                  <a:lnTo>
                    <a:pt x="214" y="349"/>
                  </a:lnTo>
                  <a:lnTo>
                    <a:pt x="214" y="349"/>
                  </a:lnTo>
                  <a:lnTo>
                    <a:pt x="214" y="348"/>
                  </a:lnTo>
                  <a:lnTo>
                    <a:pt x="215" y="347"/>
                  </a:lnTo>
                  <a:lnTo>
                    <a:pt x="215" y="346"/>
                  </a:lnTo>
                  <a:lnTo>
                    <a:pt x="216" y="345"/>
                  </a:lnTo>
                  <a:lnTo>
                    <a:pt x="216" y="344"/>
                  </a:lnTo>
                  <a:lnTo>
                    <a:pt x="216" y="343"/>
                  </a:lnTo>
                  <a:lnTo>
                    <a:pt x="216" y="343"/>
                  </a:lnTo>
                  <a:lnTo>
                    <a:pt x="216" y="342"/>
                  </a:lnTo>
                  <a:lnTo>
                    <a:pt x="216" y="341"/>
                  </a:lnTo>
                  <a:lnTo>
                    <a:pt x="216" y="341"/>
                  </a:lnTo>
                  <a:lnTo>
                    <a:pt x="215" y="340"/>
                  </a:lnTo>
                  <a:lnTo>
                    <a:pt x="214" y="337"/>
                  </a:lnTo>
                  <a:lnTo>
                    <a:pt x="212" y="334"/>
                  </a:lnTo>
                  <a:lnTo>
                    <a:pt x="211" y="332"/>
                  </a:lnTo>
                  <a:lnTo>
                    <a:pt x="209" y="330"/>
                  </a:lnTo>
                  <a:lnTo>
                    <a:pt x="208" y="329"/>
                  </a:lnTo>
                  <a:lnTo>
                    <a:pt x="206" y="327"/>
                  </a:lnTo>
                  <a:lnTo>
                    <a:pt x="203" y="324"/>
                  </a:lnTo>
                  <a:lnTo>
                    <a:pt x="202" y="322"/>
                  </a:lnTo>
                  <a:lnTo>
                    <a:pt x="200" y="322"/>
                  </a:lnTo>
                  <a:lnTo>
                    <a:pt x="193" y="316"/>
                  </a:lnTo>
                  <a:lnTo>
                    <a:pt x="192" y="315"/>
                  </a:lnTo>
                  <a:lnTo>
                    <a:pt x="191" y="315"/>
                  </a:lnTo>
                  <a:lnTo>
                    <a:pt x="191" y="314"/>
                  </a:lnTo>
                  <a:lnTo>
                    <a:pt x="190" y="313"/>
                  </a:lnTo>
                  <a:lnTo>
                    <a:pt x="189" y="311"/>
                  </a:lnTo>
                  <a:lnTo>
                    <a:pt x="188" y="310"/>
                  </a:lnTo>
                  <a:lnTo>
                    <a:pt x="187" y="308"/>
                  </a:lnTo>
                  <a:lnTo>
                    <a:pt x="186" y="307"/>
                  </a:lnTo>
                  <a:lnTo>
                    <a:pt x="186" y="306"/>
                  </a:lnTo>
                  <a:lnTo>
                    <a:pt x="185" y="304"/>
                  </a:lnTo>
                  <a:lnTo>
                    <a:pt x="183" y="303"/>
                  </a:lnTo>
                  <a:lnTo>
                    <a:pt x="182" y="302"/>
                  </a:lnTo>
                  <a:lnTo>
                    <a:pt x="182" y="301"/>
                  </a:lnTo>
                  <a:lnTo>
                    <a:pt x="181" y="300"/>
                  </a:lnTo>
                  <a:lnTo>
                    <a:pt x="180" y="300"/>
                  </a:lnTo>
                  <a:lnTo>
                    <a:pt x="180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78" y="299"/>
                  </a:lnTo>
                  <a:lnTo>
                    <a:pt x="178" y="300"/>
                  </a:lnTo>
                  <a:lnTo>
                    <a:pt x="177" y="300"/>
                  </a:lnTo>
                  <a:lnTo>
                    <a:pt x="176" y="301"/>
                  </a:lnTo>
                  <a:lnTo>
                    <a:pt x="175" y="301"/>
                  </a:lnTo>
                  <a:lnTo>
                    <a:pt x="175" y="301"/>
                  </a:lnTo>
                  <a:lnTo>
                    <a:pt x="174" y="302"/>
                  </a:lnTo>
                  <a:lnTo>
                    <a:pt x="173" y="302"/>
                  </a:lnTo>
                  <a:lnTo>
                    <a:pt x="173" y="302"/>
                  </a:lnTo>
                  <a:lnTo>
                    <a:pt x="172" y="302"/>
                  </a:lnTo>
                  <a:lnTo>
                    <a:pt x="171" y="301"/>
                  </a:lnTo>
                  <a:lnTo>
                    <a:pt x="170" y="301"/>
                  </a:lnTo>
                  <a:lnTo>
                    <a:pt x="169" y="300"/>
                  </a:lnTo>
                  <a:lnTo>
                    <a:pt x="168" y="299"/>
                  </a:lnTo>
                  <a:lnTo>
                    <a:pt x="167" y="299"/>
                  </a:lnTo>
                  <a:lnTo>
                    <a:pt x="166" y="298"/>
                  </a:lnTo>
                  <a:lnTo>
                    <a:pt x="165" y="297"/>
                  </a:lnTo>
                  <a:lnTo>
                    <a:pt x="165" y="297"/>
                  </a:lnTo>
                  <a:lnTo>
                    <a:pt x="164" y="296"/>
                  </a:lnTo>
                  <a:lnTo>
                    <a:pt x="164" y="295"/>
                  </a:lnTo>
                  <a:lnTo>
                    <a:pt x="163" y="294"/>
                  </a:lnTo>
                  <a:lnTo>
                    <a:pt x="163" y="293"/>
                  </a:lnTo>
                  <a:lnTo>
                    <a:pt x="163" y="291"/>
                  </a:lnTo>
                  <a:lnTo>
                    <a:pt x="162" y="289"/>
                  </a:lnTo>
                  <a:lnTo>
                    <a:pt x="162" y="288"/>
                  </a:lnTo>
                  <a:lnTo>
                    <a:pt x="162" y="286"/>
                  </a:lnTo>
                  <a:lnTo>
                    <a:pt x="162" y="285"/>
                  </a:lnTo>
                  <a:lnTo>
                    <a:pt x="162" y="284"/>
                  </a:lnTo>
                  <a:lnTo>
                    <a:pt x="162" y="283"/>
                  </a:lnTo>
                  <a:lnTo>
                    <a:pt x="162" y="282"/>
                  </a:lnTo>
                  <a:lnTo>
                    <a:pt x="163" y="280"/>
                  </a:lnTo>
                  <a:lnTo>
                    <a:pt x="164" y="276"/>
                  </a:lnTo>
                  <a:lnTo>
                    <a:pt x="164" y="275"/>
                  </a:lnTo>
                  <a:lnTo>
                    <a:pt x="164" y="274"/>
                  </a:lnTo>
                  <a:lnTo>
                    <a:pt x="164" y="273"/>
                  </a:lnTo>
                  <a:lnTo>
                    <a:pt x="164" y="272"/>
                  </a:lnTo>
                  <a:lnTo>
                    <a:pt x="164" y="271"/>
                  </a:lnTo>
                  <a:lnTo>
                    <a:pt x="164" y="269"/>
                  </a:lnTo>
                  <a:lnTo>
                    <a:pt x="164" y="268"/>
                  </a:lnTo>
                  <a:lnTo>
                    <a:pt x="163" y="266"/>
                  </a:lnTo>
                  <a:lnTo>
                    <a:pt x="163" y="265"/>
                  </a:lnTo>
                  <a:lnTo>
                    <a:pt x="162" y="264"/>
                  </a:lnTo>
                  <a:lnTo>
                    <a:pt x="162" y="263"/>
                  </a:lnTo>
                  <a:lnTo>
                    <a:pt x="161" y="262"/>
                  </a:lnTo>
                  <a:lnTo>
                    <a:pt x="161" y="261"/>
                  </a:lnTo>
                  <a:lnTo>
                    <a:pt x="160" y="260"/>
                  </a:lnTo>
                  <a:lnTo>
                    <a:pt x="160" y="260"/>
                  </a:lnTo>
                  <a:lnTo>
                    <a:pt x="159" y="259"/>
                  </a:lnTo>
                  <a:lnTo>
                    <a:pt x="159" y="259"/>
                  </a:lnTo>
                  <a:lnTo>
                    <a:pt x="158" y="259"/>
                  </a:lnTo>
                  <a:lnTo>
                    <a:pt x="158" y="259"/>
                  </a:lnTo>
                  <a:lnTo>
                    <a:pt x="157" y="259"/>
                  </a:lnTo>
                  <a:lnTo>
                    <a:pt x="156" y="259"/>
                  </a:lnTo>
                  <a:lnTo>
                    <a:pt x="156" y="259"/>
                  </a:lnTo>
                  <a:lnTo>
                    <a:pt x="153" y="260"/>
                  </a:lnTo>
                  <a:lnTo>
                    <a:pt x="152" y="260"/>
                  </a:lnTo>
                  <a:lnTo>
                    <a:pt x="147" y="262"/>
                  </a:lnTo>
                  <a:lnTo>
                    <a:pt x="146" y="262"/>
                  </a:lnTo>
                  <a:lnTo>
                    <a:pt x="144" y="263"/>
                  </a:lnTo>
                  <a:lnTo>
                    <a:pt x="142" y="264"/>
                  </a:lnTo>
                  <a:lnTo>
                    <a:pt x="140" y="265"/>
                  </a:lnTo>
                  <a:lnTo>
                    <a:pt x="139" y="265"/>
                  </a:lnTo>
                  <a:lnTo>
                    <a:pt x="138" y="265"/>
                  </a:lnTo>
                  <a:lnTo>
                    <a:pt x="138" y="265"/>
                  </a:lnTo>
                  <a:lnTo>
                    <a:pt x="137" y="265"/>
                  </a:lnTo>
                  <a:lnTo>
                    <a:pt x="136" y="265"/>
                  </a:lnTo>
                  <a:lnTo>
                    <a:pt x="133" y="264"/>
                  </a:lnTo>
                  <a:lnTo>
                    <a:pt x="132" y="264"/>
                  </a:lnTo>
                  <a:lnTo>
                    <a:pt x="131" y="264"/>
                  </a:lnTo>
                  <a:lnTo>
                    <a:pt x="129" y="263"/>
                  </a:lnTo>
                  <a:lnTo>
                    <a:pt x="125" y="261"/>
                  </a:lnTo>
                  <a:lnTo>
                    <a:pt x="124" y="261"/>
                  </a:lnTo>
                  <a:lnTo>
                    <a:pt x="123" y="260"/>
                  </a:lnTo>
                  <a:lnTo>
                    <a:pt x="122" y="259"/>
                  </a:lnTo>
                  <a:lnTo>
                    <a:pt x="121" y="258"/>
                  </a:lnTo>
                  <a:lnTo>
                    <a:pt x="120" y="257"/>
                  </a:lnTo>
                  <a:lnTo>
                    <a:pt x="119" y="257"/>
                  </a:lnTo>
                  <a:lnTo>
                    <a:pt x="118" y="256"/>
                  </a:lnTo>
                  <a:lnTo>
                    <a:pt x="116" y="255"/>
                  </a:lnTo>
                  <a:lnTo>
                    <a:pt x="115" y="255"/>
                  </a:lnTo>
                  <a:lnTo>
                    <a:pt x="114" y="254"/>
                  </a:lnTo>
                  <a:lnTo>
                    <a:pt x="114" y="254"/>
                  </a:lnTo>
                  <a:lnTo>
                    <a:pt x="113" y="253"/>
                  </a:lnTo>
                  <a:lnTo>
                    <a:pt x="112" y="252"/>
                  </a:lnTo>
                  <a:lnTo>
                    <a:pt x="112" y="251"/>
                  </a:lnTo>
                  <a:lnTo>
                    <a:pt x="111" y="249"/>
                  </a:lnTo>
                  <a:lnTo>
                    <a:pt x="110" y="248"/>
                  </a:lnTo>
                  <a:lnTo>
                    <a:pt x="109" y="247"/>
                  </a:lnTo>
                  <a:lnTo>
                    <a:pt x="106" y="244"/>
                  </a:lnTo>
                  <a:lnTo>
                    <a:pt x="106" y="244"/>
                  </a:lnTo>
                  <a:lnTo>
                    <a:pt x="106" y="243"/>
                  </a:lnTo>
                  <a:lnTo>
                    <a:pt x="105" y="242"/>
                  </a:lnTo>
                  <a:lnTo>
                    <a:pt x="105" y="241"/>
                  </a:lnTo>
                  <a:lnTo>
                    <a:pt x="105" y="240"/>
                  </a:lnTo>
                  <a:lnTo>
                    <a:pt x="105" y="238"/>
                  </a:lnTo>
                  <a:lnTo>
                    <a:pt x="105" y="238"/>
                  </a:lnTo>
                  <a:lnTo>
                    <a:pt x="104" y="237"/>
                  </a:lnTo>
                  <a:lnTo>
                    <a:pt x="104" y="236"/>
                  </a:lnTo>
                  <a:lnTo>
                    <a:pt x="104" y="236"/>
                  </a:lnTo>
                  <a:lnTo>
                    <a:pt x="103" y="235"/>
                  </a:lnTo>
                  <a:lnTo>
                    <a:pt x="103" y="234"/>
                  </a:lnTo>
                  <a:lnTo>
                    <a:pt x="101" y="232"/>
                  </a:lnTo>
                  <a:lnTo>
                    <a:pt x="101" y="231"/>
                  </a:lnTo>
                  <a:lnTo>
                    <a:pt x="100" y="229"/>
                  </a:lnTo>
                  <a:lnTo>
                    <a:pt x="100" y="228"/>
                  </a:lnTo>
                  <a:lnTo>
                    <a:pt x="100" y="226"/>
                  </a:lnTo>
                  <a:lnTo>
                    <a:pt x="100" y="226"/>
                  </a:lnTo>
                  <a:lnTo>
                    <a:pt x="100" y="224"/>
                  </a:lnTo>
                  <a:lnTo>
                    <a:pt x="100" y="222"/>
                  </a:lnTo>
                  <a:lnTo>
                    <a:pt x="99" y="221"/>
                  </a:lnTo>
                  <a:lnTo>
                    <a:pt x="99" y="220"/>
                  </a:lnTo>
                  <a:lnTo>
                    <a:pt x="98" y="218"/>
                  </a:lnTo>
                  <a:lnTo>
                    <a:pt x="97" y="216"/>
                  </a:lnTo>
                  <a:lnTo>
                    <a:pt x="96" y="213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4" y="211"/>
                  </a:lnTo>
                  <a:lnTo>
                    <a:pt x="94" y="211"/>
                  </a:lnTo>
                  <a:lnTo>
                    <a:pt x="93" y="211"/>
                  </a:lnTo>
                  <a:lnTo>
                    <a:pt x="92" y="211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0" y="211"/>
                  </a:lnTo>
                  <a:lnTo>
                    <a:pt x="90" y="212"/>
                  </a:lnTo>
                  <a:lnTo>
                    <a:pt x="89" y="213"/>
                  </a:lnTo>
                  <a:lnTo>
                    <a:pt x="89" y="213"/>
                  </a:lnTo>
                  <a:lnTo>
                    <a:pt x="89" y="214"/>
                  </a:lnTo>
                  <a:lnTo>
                    <a:pt x="90" y="215"/>
                  </a:lnTo>
                  <a:lnTo>
                    <a:pt x="91" y="222"/>
                  </a:lnTo>
                  <a:lnTo>
                    <a:pt x="92" y="223"/>
                  </a:lnTo>
                  <a:lnTo>
                    <a:pt x="92" y="224"/>
                  </a:lnTo>
                  <a:lnTo>
                    <a:pt x="92" y="225"/>
                  </a:lnTo>
                  <a:lnTo>
                    <a:pt x="92" y="226"/>
                  </a:lnTo>
                  <a:lnTo>
                    <a:pt x="91" y="226"/>
                  </a:lnTo>
                  <a:lnTo>
                    <a:pt x="91" y="227"/>
                  </a:lnTo>
                  <a:lnTo>
                    <a:pt x="91" y="227"/>
                  </a:lnTo>
                  <a:lnTo>
                    <a:pt x="90" y="228"/>
                  </a:lnTo>
                  <a:lnTo>
                    <a:pt x="89" y="229"/>
                  </a:lnTo>
                  <a:lnTo>
                    <a:pt x="89" y="230"/>
                  </a:lnTo>
                  <a:lnTo>
                    <a:pt x="88" y="230"/>
                  </a:lnTo>
                  <a:lnTo>
                    <a:pt x="87" y="230"/>
                  </a:lnTo>
                  <a:lnTo>
                    <a:pt x="87" y="230"/>
                  </a:lnTo>
                  <a:lnTo>
                    <a:pt x="87" y="230"/>
                  </a:lnTo>
                  <a:lnTo>
                    <a:pt x="86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3" y="230"/>
                  </a:lnTo>
                  <a:lnTo>
                    <a:pt x="82" y="231"/>
                  </a:lnTo>
                  <a:lnTo>
                    <a:pt x="82" y="231"/>
                  </a:lnTo>
                  <a:lnTo>
                    <a:pt x="80" y="232"/>
                  </a:lnTo>
                  <a:lnTo>
                    <a:pt x="80" y="232"/>
                  </a:lnTo>
                  <a:lnTo>
                    <a:pt x="79" y="233"/>
                  </a:lnTo>
                  <a:lnTo>
                    <a:pt x="79" y="233"/>
                  </a:lnTo>
                  <a:lnTo>
                    <a:pt x="78" y="234"/>
                  </a:lnTo>
                  <a:lnTo>
                    <a:pt x="78" y="235"/>
                  </a:lnTo>
                  <a:lnTo>
                    <a:pt x="77" y="236"/>
                  </a:lnTo>
                  <a:lnTo>
                    <a:pt x="77" y="236"/>
                  </a:lnTo>
                  <a:lnTo>
                    <a:pt x="77" y="237"/>
                  </a:lnTo>
                  <a:lnTo>
                    <a:pt x="76" y="238"/>
                  </a:lnTo>
                  <a:lnTo>
                    <a:pt x="74" y="240"/>
                  </a:lnTo>
                  <a:lnTo>
                    <a:pt x="74" y="240"/>
                  </a:lnTo>
                  <a:lnTo>
                    <a:pt x="73" y="241"/>
                  </a:lnTo>
                  <a:lnTo>
                    <a:pt x="72" y="243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0" y="244"/>
                  </a:lnTo>
                  <a:lnTo>
                    <a:pt x="70" y="244"/>
                  </a:lnTo>
                  <a:lnTo>
                    <a:pt x="69" y="244"/>
                  </a:lnTo>
                  <a:lnTo>
                    <a:pt x="69" y="244"/>
                  </a:lnTo>
                  <a:lnTo>
                    <a:pt x="68" y="244"/>
                  </a:lnTo>
                  <a:lnTo>
                    <a:pt x="68" y="244"/>
                  </a:lnTo>
                  <a:lnTo>
                    <a:pt x="67" y="243"/>
                  </a:lnTo>
                  <a:lnTo>
                    <a:pt x="66" y="242"/>
                  </a:lnTo>
                  <a:lnTo>
                    <a:pt x="65" y="241"/>
                  </a:lnTo>
                  <a:lnTo>
                    <a:pt x="65" y="239"/>
                  </a:lnTo>
                  <a:lnTo>
                    <a:pt x="64" y="238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2"/>
                  </a:lnTo>
                  <a:lnTo>
                    <a:pt x="65" y="228"/>
                  </a:lnTo>
                  <a:lnTo>
                    <a:pt x="66" y="226"/>
                  </a:lnTo>
                  <a:lnTo>
                    <a:pt x="66" y="224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2"/>
                  </a:lnTo>
                  <a:lnTo>
                    <a:pt x="66" y="221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8" y="217"/>
                  </a:lnTo>
                  <a:lnTo>
                    <a:pt x="56" y="217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3" y="218"/>
                  </a:lnTo>
                  <a:lnTo>
                    <a:pt x="51" y="219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8" y="220"/>
                  </a:lnTo>
                  <a:lnTo>
                    <a:pt x="47" y="221"/>
                  </a:lnTo>
                  <a:lnTo>
                    <a:pt x="45" y="222"/>
                  </a:lnTo>
                  <a:lnTo>
                    <a:pt x="44" y="223"/>
                  </a:lnTo>
                  <a:lnTo>
                    <a:pt x="41" y="226"/>
                  </a:lnTo>
                  <a:lnTo>
                    <a:pt x="38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5" y="231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3" y="234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1" y="235"/>
                  </a:lnTo>
                  <a:lnTo>
                    <a:pt x="30" y="235"/>
                  </a:lnTo>
                  <a:lnTo>
                    <a:pt x="27" y="235"/>
                  </a:lnTo>
                  <a:lnTo>
                    <a:pt x="23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1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19" y="232"/>
                  </a:lnTo>
                  <a:lnTo>
                    <a:pt x="19" y="231"/>
                  </a:lnTo>
                  <a:lnTo>
                    <a:pt x="19" y="230"/>
                  </a:lnTo>
                  <a:lnTo>
                    <a:pt x="19" y="229"/>
                  </a:lnTo>
                  <a:lnTo>
                    <a:pt x="20" y="226"/>
                  </a:lnTo>
                  <a:lnTo>
                    <a:pt x="20" y="224"/>
                  </a:lnTo>
                  <a:lnTo>
                    <a:pt x="20" y="223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0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6" y="222"/>
                  </a:lnTo>
                  <a:lnTo>
                    <a:pt x="15" y="222"/>
                  </a:lnTo>
                  <a:lnTo>
                    <a:pt x="13" y="222"/>
                  </a:lnTo>
                  <a:lnTo>
                    <a:pt x="12" y="223"/>
                  </a:lnTo>
                  <a:lnTo>
                    <a:pt x="11" y="223"/>
                  </a:lnTo>
                  <a:lnTo>
                    <a:pt x="10" y="223"/>
                  </a:lnTo>
                  <a:lnTo>
                    <a:pt x="10" y="222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8" y="221"/>
                  </a:lnTo>
                  <a:lnTo>
                    <a:pt x="7" y="220"/>
                  </a:lnTo>
                  <a:lnTo>
                    <a:pt x="6" y="220"/>
                  </a:lnTo>
                  <a:lnTo>
                    <a:pt x="5" y="217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0" y="206"/>
                  </a:lnTo>
                  <a:lnTo>
                    <a:pt x="0" y="205"/>
                  </a:lnTo>
                  <a:lnTo>
                    <a:pt x="1" y="204"/>
                  </a:lnTo>
                  <a:lnTo>
                    <a:pt x="2" y="201"/>
                  </a:lnTo>
                  <a:lnTo>
                    <a:pt x="3" y="199"/>
                  </a:lnTo>
                  <a:lnTo>
                    <a:pt x="3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4" y="193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6" y="188"/>
                  </a:lnTo>
                  <a:lnTo>
                    <a:pt x="7" y="186"/>
                  </a:lnTo>
                  <a:lnTo>
                    <a:pt x="9" y="183"/>
                  </a:lnTo>
                  <a:lnTo>
                    <a:pt x="10" y="182"/>
                  </a:lnTo>
                  <a:lnTo>
                    <a:pt x="10" y="181"/>
                  </a:lnTo>
                  <a:lnTo>
                    <a:pt x="11" y="180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7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5"/>
                  </a:lnTo>
                  <a:lnTo>
                    <a:pt x="12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0" y="172"/>
                  </a:lnTo>
                  <a:lnTo>
                    <a:pt x="10" y="171"/>
                  </a:lnTo>
                  <a:lnTo>
                    <a:pt x="9" y="170"/>
                  </a:lnTo>
                  <a:lnTo>
                    <a:pt x="5" y="166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3" y="156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7"/>
                  </a:lnTo>
                  <a:lnTo>
                    <a:pt x="6" y="145"/>
                  </a:lnTo>
                  <a:lnTo>
                    <a:pt x="7" y="143"/>
                  </a:lnTo>
                  <a:lnTo>
                    <a:pt x="8" y="142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18" y="129"/>
                  </a:lnTo>
                  <a:lnTo>
                    <a:pt x="18" y="128"/>
                  </a:lnTo>
                  <a:lnTo>
                    <a:pt x="19" y="127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20" y="123"/>
                  </a:lnTo>
                  <a:lnTo>
                    <a:pt x="20" y="122"/>
                  </a:lnTo>
                  <a:lnTo>
                    <a:pt x="20" y="120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9" y="106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3"/>
                  </a:lnTo>
                  <a:lnTo>
                    <a:pt x="22" y="99"/>
                  </a:lnTo>
                  <a:lnTo>
                    <a:pt x="23" y="98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7" y="84"/>
                  </a:lnTo>
                  <a:lnTo>
                    <a:pt x="32" y="78"/>
                  </a:lnTo>
                  <a:lnTo>
                    <a:pt x="34" y="76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8" y="72"/>
                  </a:lnTo>
                  <a:lnTo>
                    <a:pt x="39" y="71"/>
                  </a:lnTo>
                  <a:lnTo>
                    <a:pt x="40" y="71"/>
                  </a:lnTo>
                  <a:lnTo>
                    <a:pt x="42" y="68"/>
                  </a:lnTo>
                  <a:lnTo>
                    <a:pt x="43" y="68"/>
                  </a:lnTo>
                  <a:lnTo>
                    <a:pt x="44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8" y="57"/>
                  </a:lnTo>
                  <a:lnTo>
                    <a:pt x="59" y="55"/>
                  </a:lnTo>
                  <a:lnTo>
                    <a:pt x="60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49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5"/>
                  </a:lnTo>
                  <a:lnTo>
                    <a:pt x="77" y="42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8" y="27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7" y="23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8" y="24"/>
                  </a:lnTo>
                  <a:lnTo>
                    <a:pt x="129" y="24"/>
                  </a:lnTo>
                  <a:lnTo>
                    <a:pt x="131" y="24"/>
                  </a:lnTo>
                  <a:lnTo>
                    <a:pt x="132" y="24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6" y="23"/>
                  </a:lnTo>
                  <a:lnTo>
                    <a:pt x="137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2" y="19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9" y="12"/>
                  </a:lnTo>
                  <a:lnTo>
                    <a:pt x="150" y="11"/>
                  </a:lnTo>
                  <a:lnTo>
                    <a:pt x="151" y="10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7"/>
                  </a:lnTo>
                  <a:lnTo>
                    <a:pt x="153" y="2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A8A8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4" name="Freeform 74">
              <a:extLst>
                <a:ext uri="{FF2B5EF4-FFF2-40B4-BE49-F238E27FC236}">
                  <a16:creationId xmlns:a16="http://schemas.microsoft.com/office/drawing/2014/main" id="{9F7C3919-C732-DCFF-0664-17B9EE0FF5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3" y="3192"/>
              <a:ext cx="448" cy="419"/>
            </a:xfrm>
            <a:custGeom>
              <a:avLst/>
              <a:gdLst>
                <a:gd name="T0" fmla="*/ 99 w 448"/>
                <a:gd name="T1" fmla="*/ 8 h 419"/>
                <a:gd name="T2" fmla="*/ 98 w 448"/>
                <a:gd name="T3" fmla="*/ 24 h 419"/>
                <a:gd name="T4" fmla="*/ 107 w 448"/>
                <a:gd name="T5" fmla="*/ 45 h 419"/>
                <a:gd name="T6" fmla="*/ 95 w 448"/>
                <a:gd name="T7" fmla="*/ 56 h 419"/>
                <a:gd name="T8" fmla="*/ 65 w 448"/>
                <a:gd name="T9" fmla="*/ 71 h 419"/>
                <a:gd name="T10" fmla="*/ 65 w 448"/>
                <a:gd name="T11" fmla="*/ 83 h 419"/>
                <a:gd name="T12" fmla="*/ 87 w 448"/>
                <a:gd name="T13" fmla="*/ 97 h 419"/>
                <a:gd name="T14" fmla="*/ 103 w 448"/>
                <a:gd name="T15" fmla="*/ 108 h 419"/>
                <a:gd name="T16" fmla="*/ 119 w 448"/>
                <a:gd name="T17" fmla="*/ 138 h 419"/>
                <a:gd name="T18" fmla="*/ 139 w 448"/>
                <a:gd name="T19" fmla="*/ 154 h 419"/>
                <a:gd name="T20" fmla="*/ 161 w 448"/>
                <a:gd name="T21" fmla="*/ 153 h 419"/>
                <a:gd name="T22" fmla="*/ 191 w 448"/>
                <a:gd name="T23" fmla="*/ 139 h 419"/>
                <a:gd name="T24" fmla="*/ 193 w 448"/>
                <a:gd name="T25" fmla="*/ 130 h 419"/>
                <a:gd name="T26" fmla="*/ 185 w 448"/>
                <a:gd name="T27" fmla="*/ 122 h 419"/>
                <a:gd name="T28" fmla="*/ 198 w 448"/>
                <a:gd name="T29" fmla="*/ 118 h 419"/>
                <a:gd name="T30" fmla="*/ 215 w 448"/>
                <a:gd name="T31" fmla="*/ 142 h 419"/>
                <a:gd name="T32" fmla="*/ 234 w 448"/>
                <a:gd name="T33" fmla="*/ 146 h 419"/>
                <a:gd name="T34" fmla="*/ 246 w 448"/>
                <a:gd name="T35" fmla="*/ 149 h 419"/>
                <a:gd name="T36" fmla="*/ 265 w 448"/>
                <a:gd name="T37" fmla="*/ 161 h 419"/>
                <a:gd name="T38" fmla="*/ 278 w 448"/>
                <a:gd name="T39" fmla="*/ 177 h 419"/>
                <a:gd name="T40" fmla="*/ 286 w 448"/>
                <a:gd name="T41" fmla="*/ 167 h 419"/>
                <a:gd name="T42" fmla="*/ 311 w 448"/>
                <a:gd name="T43" fmla="*/ 170 h 419"/>
                <a:gd name="T44" fmla="*/ 341 w 448"/>
                <a:gd name="T45" fmla="*/ 183 h 419"/>
                <a:gd name="T46" fmla="*/ 348 w 448"/>
                <a:gd name="T47" fmla="*/ 175 h 419"/>
                <a:gd name="T48" fmla="*/ 356 w 448"/>
                <a:gd name="T49" fmla="*/ 183 h 419"/>
                <a:gd name="T50" fmla="*/ 363 w 448"/>
                <a:gd name="T51" fmla="*/ 200 h 419"/>
                <a:gd name="T52" fmla="*/ 359 w 448"/>
                <a:gd name="T53" fmla="*/ 220 h 419"/>
                <a:gd name="T54" fmla="*/ 377 w 448"/>
                <a:gd name="T55" fmla="*/ 264 h 419"/>
                <a:gd name="T56" fmla="*/ 397 w 448"/>
                <a:gd name="T57" fmla="*/ 273 h 419"/>
                <a:gd name="T58" fmla="*/ 418 w 448"/>
                <a:gd name="T59" fmla="*/ 282 h 419"/>
                <a:gd name="T60" fmla="*/ 432 w 448"/>
                <a:gd name="T61" fmla="*/ 292 h 419"/>
                <a:gd name="T62" fmla="*/ 446 w 448"/>
                <a:gd name="T63" fmla="*/ 338 h 419"/>
                <a:gd name="T64" fmla="*/ 443 w 448"/>
                <a:gd name="T65" fmla="*/ 357 h 419"/>
                <a:gd name="T66" fmla="*/ 415 w 448"/>
                <a:gd name="T67" fmla="*/ 369 h 419"/>
                <a:gd name="T68" fmla="*/ 378 w 448"/>
                <a:gd name="T69" fmla="*/ 368 h 419"/>
                <a:gd name="T70" fmla="*/ 361 w 448"/>
                <a:gd name="T71" fmla="*/ 367 h 419"/>
                <a:gd name="T72" fmla="*/ 355 w 448"/>
                <a:gd name="T73" fmla="*/ 384 h 419"/>
                <a:gd name="T74" fmla="*/ 332 w 448"/>
                <a:gd name="T75" fmla="*/ 415 h 419"/>
                <a:gd name="T76" fmla="*/ 315 w 448"/>
                <a:gd name="T77" fmla="*/ 419 h 419"/>
                <a:gd name="T78" fmla="*/ 303 w 448"/>
                <a:gd name="T79" fmla="*/ 403 h 419"/>
                <a:gd name="T80" fmla="*/ 282 w 448"/>
                <a:gd name="T81" fmla="*/ 380 h 419"/>
                <a:gd name="T82" fmla="*/ 261 w 448"/>
                <a:gd name="T83" fmla="*/ 378 h 419"/>
                <a:gd name="T84" fmla="*/ 233 w 448"/>
                <a:gd name="T85" fmla="*/ 368 h 419"/>
                <a:gd name="T86" fmla="*/ 193 w 448"/>
                <a:gd name="T87" fmla="*/ 372 h 419"/>
                <a:gd name="T88" fmla="*/ 177 w 448"/>
                <a:gd name="T89" fmla="*/ 359 h 419"/>
                <a:gd name="T90" fmla="*/ 162 w 448"/>
                <a:gd name="T91" fmla="*/ 351 h 419"/>
                <a:gd name="T92" fmla="*/ 150 w 448"/>
                <a:gd name="T93" fmla="*/ 353 h 419"/>
                <a:gd name="T94" fmla="*/ 148 w 448"/>
                <a:gd name="T95" fmla="*/ 342 h 419"/>
                <a:gd name="T96" fmla="*/ 122 w 448"/>
                <a:gd name="T97" fmla="*/ 313 h 419"/>
                <a:gd name="T98" fmla="*/ 110 w 448"/>
                <a:gd name="T99" fmla="*/ 300 h 419"/>
                <a:gd name="T100" fmla="*/ 96 w 448"/>
                <a:gd name="T101" fmla="*/ 296 h 419"/>
                <a:gd name="T102" fmla="*/ 96 w 448"/>
                <a:gd name="T103" fmla="*/ 272 h 419"/>
                <a:gd name="T104" fmla="*/ 88 w 448"/>
                <a:gd name="T105" fmla="*/ 259 h 419"/>
                <a:gd name="T106" fmla="*/ 61 w 448"/>
                <a:gd name="T107" fmla="*/ 263 h 419"/>
                <a:gd name="T108" fmla="*/ 42 w 448"/>
                <a:gd name="T109" fmla="*/ 248 h 419"/>
                <a:gd name="T110" fmla="*/ 32 w 448"/>
                <a:gd name="T111" fmla="*/ 229 h 419"/>
                <a:gd name="T112" fmla="*/ 24 w 448"/>
                <a:gd name="T113" fmla="*/ 211 h 419"/>
                <a:gd name="T114" fmla="*/ 22 w 448"/>
                <a:gd name="T115" fmla="*/ 228 h 419"/>
                <a:gd name="T116" fmla="*/ 12 w 448"/>
                <a:gd name="T117" fmla="*/ 232 h 419"/>
                <a:gd name="T118" fmla="*/ 2 w 448"/>
                <a:gd name="T119" fmla="*/ 244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8" h="419">
                  <a:moveTo>
                    <a:pt x="88" y="0"/>
                  </a:moveTo>
                  <a:lnTo>
                    <a:pt x="89" y="0"/>
                  </a:lnTo>
                  <a:lnTo>
                    <a:pt x="90" y="0"/>
                  </a:lnTo>
                  <a:lnTo>
                    <a:pt x="90" y="1"/>
                  </a:lnTo>
                  <a:lnTo>
                    <a:pt x="91" y="1"/>
                  </a:lnTo>
                  <a:lnTo>
                    <a:pt x="92" y="1"/>
                  </a:lnTo>
                  <a:lnTo>
                    <a:pt x="92" y="2"/>
                  </a:lnTo>
                  <a:lnTo>
                    <a:pt x="93" y="2"/>
                  </a:lnTo>
                  <a:lnTo>
                    <a:pt x="94" y="3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6" y="5"/>
                  </a:lnTo>
                  <a:lnTo>
                    <a:pt x="96" y="6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8" y="7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100" y="8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2"/>
                  </a:lnTo>
                  <a:lnTo>
                    <a:pt x="101" y="13"/>
                  </a:lnTo>
                  <a:lnTo>
                    <a:pt x="101" y="14"/>
                  </a:lnTo>
                  <a:lnTo>
                    <a:pt x="99" y="18"/>
                  </a:lnTo>
                  <a:lnTo>
                    <a:pt x="99" y="20"/>
                  </a:lnTo>
                  <a:lnTo>
                    <a:pt x="98" y="21"/>
                  </a:lnTo>
                  <a:lnTo>
                    <a:pt x="98" y="22"/>
                  </a:lnTo>
                  <a:lnTo>
                    <a:pt x="98" y="23"/>
                  </a:lnTo>
                  <a:lnTo>
                    <a:pt x="98" y="24"/>
                  </a:lnTo>
                  <a:lnTo>
                    <a:pt x="98" y="26"/>
                  </a:lnTo>
                  <a:lnTo>
                    <a:pt x="98" y="27"/>
                  </a:lnTo>
                  <a:lnTo>
                    <a:pt x="99" y="28"/>
                  </a:lnTo>
                  <a:lnTo>
                    <a:pt x="99" y="29"/>
                  </a:lnTo>
                  <a:lnTo>
                    <a:pt x="100" y="30"/>
                  </a:lnTo>
                  <a:lnTo>
                    <a:pt x="100" y="31"/>
                  </a:lnTo>
                  <a:lnTo>
                    <a:pt x="101" y="32"/>
                  </a:lnTo>
                  <a:lnTo>
                    <a:pt x="104" y="35"/>
                  </a:lnTo>
                  <a:lnTo>
                    <a:pt x="105" y="37"/>
                  </a:lnTo>
                  <a:lnTo>
                    <a:pt x="105" y="38"/>
                  </a:lnTo>
                  <a:lnTo>
                    <a:pt x="106" y="38"/>
                  </a:lnTo>
                  <a:lnTo>
                    <a:pt x="106" y="39"/>
                  </a:lnTo>
                  <a:lnTo>
                    <a:pt x="106" y="40"/>
                  </a:lnTo>
                  <a:lnTo>
                    <a:pt x="106" y="41"/>
                  </a:lnTo>
                  <a:lnTo>
                    <a:pt x="107" y="42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06" y="46"/>
                  </a:lnTo>
                  <a:lnTo>
                    <a:pt x="106" y="47"/>
                  </a:lnTo>
                  <a:lnTo>
                    <a:pt x="106" y="49"/>
                  </a:lnTo>
                  <a:lnTo>
                    <a:pt x="106" y="49"/>
                  </a:lnTo>
                  <a:lnTo>
                    <a:pt x="105" y="50"/>
                  </a:lnTo>
                  <a:lnTo>
                    <a:pt x="105" y="50"/>
                  </a:lnTo>
                  <a:lnTo>
                    <a:pt x="105" y="51"/>
                  </a:lnTo>
                  <a:lnTo>
                    <a:pt x="104" y="52"/>
                  </a:lnTo>
                  <a:lnTo>
                    <a:pt x="103" y="52"/>
                  </a:lnTo>
                  <a:lnTo>
                    <a:pt x="102" y="53"/>
                  </a:lnTo>
                  <a:lnTo>
                    <a:pt x="101" y="53"/>
                  </a:lnTo>
                  <a:lnTo>
                    <a:pt x="101" y="53"/>
                  </a:lnTo>
                  <a:lnTo>
                    <a:pt x="98" y="54"/>
                  </a:lnTo>
                  <a:lnTo>
                    <a:pt x="97" y="54"/>
                  </a:lnTo>
                  <a:lnTo>
                    <a:pt x="96" y="55"/>
                  </a:lnTo>
                  <a:lnTo>
                    <a:pt x="96" y="55"/>
                  </a:lnTo>
                  <a:lnTo>
                    <a:pt x="95" y="56"/>
                  </a:lnTo>
                  <a:lnTo>
                    <a:pt x="94" y="57"/>
                  </a:lnTo>
                  <a:lnTo>
                    <a:pt x="94" y="57"/>
                  </a:lnTo>
                  <a:lnTo>
                    <a:pt x="92" y="59"/>
                  </a:lnTo>
                  <a:lnTo>
                    <a:pt x="92" y="60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90" y="62"/>
                  </a:lnTo>
                  <a:lnTo>
                    <a:pt x="90" y="62"/>
                  </a:lnTo>
                  <a:lnTo>
                    <a:pt x="89" y="63"/>
                  </a:lnTo>
                  <a:lnTo>
                    <a:pt x="88" y="63"/>
                  </a:lnTo>
                  <a:lnTo>
                    <a:pt x="87" y="63"/>
                  </a:lnTo>
                  <a:lnTo>
                    <a:pt x="85" y="64"/>
                  </a:lnTo>
                  <a:lnTo>
                    <a:pt x="80" y="66"/>
                  </a:lnTo>
                  <a:lnTo>
                    <a:pt x="74" y="68"/>
                  </a:lnTo>
                  <a:lnTo>
                    <a:pt x="71" y="69"/>
                  </a:lnTo>
                  <a:lnTo>
                    <a:pt x="66" y="70"/>
                  </a:lnTo>
                  <a:lnTo>
                    <a:pt x="65" y="71"/>
                  </a:lnTo>
                  <a:lnTo>
                    <a:pt x="64" y="71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2" y="73"/>
                  </a:lnTo>
                  <a:lnTo>
                    <a:pt x="62" y="74"/>
                  </a:lnTo>
                  <a:lnTo>
                    <a:pt x="62" y="74"/>
                  </a:lnTo>
                  <a:lnTo>
                    <a:pt x="62" y="75"/>
                  </a:lnTo>
                  <a:lnTo>
                    <a:pt x="61" y="76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8"/>
                  </a:lnTo>
                  <a:lnTo>
                    <a:pt x="62" y="79"/>
                  </a:lnTo>
                  <a:lnTo>
                    <a:pt x="63" y="80"/>
                  </a:lnTo>
                  <a:lnTo>
                    <a:pt x="63" y="81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5" y="83"/>
                  </a:lnTo>
                  <a:lnTo>
                    <a:pt x="66" y="84"/>
                  </a:lnTo>
                  <a:lnTo>
                    <a:pt x="67" y="85"/>
                  </a:lnTo>
                  <a:lnTo>
                    <a:pt x="71" y="88"/>
                  </a:lnTo>
                  <a:lnTo>
                    <a:pt x="72" y="89"/>
                  </a:lnTo>
                  <a:lnTo>
                    <a:pt x="73" y="91"/>
                  </a:lnTo>
                  <a:lnTo>
                    <a:pt x="75" y="93"/>
                  </a:lnTo>
                  <a:lnTo>
                    <a:pt x="76" y="94"/>
                  </a:lnTo>
                  <a:lnTo>
                    <a:pt x="77" y="95"/>
                  </a:lnTo>
                  <a:lnTo>
                    <a:pt x="78" y="96"/>
                  </a:lnTo>
                  <a:lnTo>
                    <a:pt x="79" y="97"/>
                  </a:lnTo>
                  <a:lnTo>
                    <a:pt x="81" y="97"/>
                  </a:lnTo>
                  <a:lnTo>
                    <a:pt x="82" y="98"/>
                  </a:lnTo>
                  <a:lnTo>
                    <a:pt x="83" y="98"/>
                  </a:lnTo>
                  <a:lnTo>
                    <a:pt x="84" y="98"/>
                  </a:lnTo>
                  <a:lnTo>
                    <a:pt x="84" y="98"/>
                  </a:lnTo>
                  <a:lnTo>
                    <a:pt x="85" y="97"/>
                  </a:lnTo>
                  <a:lnTo>
                    <a:pt x="87" y="97"/>
                  </a:lnTo>
                  <a:lnTo>
                    <a:pt x="88" y="97"/>
                  </a:lnTo>
                  <a:lnTo>
                    <a:pt x="89" y="97"/>
                  </a:lnTo>
                  <a:lnTo>
                    <a:pt x="90" y="97"/>
                  </a:lnTo>
                  <a:lnTo>
                    <a:pt x="91" y="97"/>
                  </a:lnTo>
                  <a:lnTo>
                    <a:pt x="91" y="97"/>
                  </a:lnTo>
                  <a:lnTo>
                    <a:pt x="92" y="97"/>
                  </a:lnTo>
                  <a:lnTo>
                    <a:pt x="93" y="97"/>
                  </a:lnTo>
                  <a:lnTo>
                    <a:pt x="93" y="98"/>
                  </a:lnTo>
                  <a:lnTo>
                    <a:pt x="95" y="98"/>
                  </a:lnTo>
                  <a:lnTo>
                    <a:pt x="95" y="99"/>
                  </a:lnTo>
                  <a:lnTo>
                    <a:pt x="96" y="99"/>
                  </a:lnTo>
                  <a:lnTo>
                    <a:pt x="97" y="100"/>
                  </a:lnTo>
                  <a:lnTo>
                    <a:pt x="98" y="101"/>
                  </a:lnTo>
                  <a:lnTo>
                    <a:pt x="99" y="102"/>
                  </a:lnTo>
                  <a:lnTo>
                    <a:pt x="100" y="103"/>
                  </a:lnTo>
                  <a:lnTo>
                    <a:pt x="102" y="106"/>
                  </a:lnTo>
                  <a:lnTo>
                    <a:pt x="103" y="108"/>
                  </a:lnTo>
                  <a:lnTo>
                    <a:pt x="106" y="112"/>
                  </a:lnTo>
                  <a:lnTo>
                    <a:pt x="107" y="113"/>
                  </a:lnTo>
                  <a:lnTo>
                    <a:pt x="108" y="115"/>
                  </a:lnTo>
                  <a:lnTo>
                    <a:pt x="109" y="116"/>
                  </a:lnTo>
                  <a:lnTo>
                    <a:pt x="109" y="117"/>
                  </a:lnTo>
                  <a:lnTo>
                    <a:pt x="110" y="119"/>
                  </a:lnTo>
                  <a:lnTo>
                    <a:pt x="110" y="120"/>
                  </a:lnTo>
                  <a:lnTo>
                    <a:pt x="112" y="124"/>
                  </a:lnTo>
                  <a:lnTo>
                    <a:pt x="113" y="126"/>
                  </a:lnTo>
                  <a:lnTo>
                    <a:pt x="113" y="127"/>
                  </a:lnTo>
                  <a:lnTo>
                    <a:pt x="114" y="131"/>
                  </a:lnTo>
                  <a:lnTo>
                    <a:pt x="116" y="134"/>
                  </a:lnTo>
                  <a:lnTo>
                    <a:pt x="116" y="135"/>
                  </a:lnTo>
                  <a:lnTo>
                    <a:pt x="117" y="136"/>
                  </a:lnTo>
                  <a:lnTo>
                    <a:pt x="117" y="137"/>
                  </a:lnTo>
                  <a:lnTo>
                    <a:pt x="118" y="137"/>
                  </a:lnTo>
                  <a:lnTo>
                    <a:pt x="119" y="138"/>
                  </a:lnTo>
                  <a:lnTo>
                    <a:pt x="120" y="138"/>
                  </a:lnTo>
                  <a:lnTo>
                    <a:pt x="122" y="140"/>
                  </a:lnTo>
                  <a:lnTo>
                    <a:pt x="124" y="141"/>
                  </a:lnTo>
                  <a:lnTo>
                    <a:pt x="127" y="142"/>
                  </a:lnTo>
                  <a:lnTo>
                    <a:pt x="128" y="142"/>
                  </a:lnTo>
                  <a:lnTo>
                    <a:pt x="129" y="143"/>
                  </a:lnTo>
                  <a:lnTo>
                    <a:pt x="130" y="144"/>
                  </a:lnTo>
                  <a:lnTo>
                    <a:pt x="130" y="145"/>
                  </a:lnTo>
                  <a:lnTo>
                    <a:pt x="131" y="146"/>
                  </a:lnTo>
                  <a:lnTo>
                    <a:pt x="132" y="147"/>
                  </a:lnTo>
                  <a:lnTo>
                    <a:pt x="133" y="148"/>
                  </a:lnTo>
                  <a:lnTo>
                    <a:pt x="133" y="149"/>
                  </a:lnTo>
                  <a:lnTo>
                    <a:pt x="134" y="150"/>
                  </a:lnTo>
                  <a:lnTo>
                    <a:pt x="134" y="151"/>
                  </a:lnTo>
                  <a:lnTo>
                    <a:pt x="136" y="152"/>
                  </a:lnTo>
                  <a:lnTo>
                    <a:pt x="137" y="153"/>
                  </a:lnTo>
                  <a:lnTo>
                    <a:pt x="139" y="154"/>
                  </a:lnTo>
                  <a:lnTo>
                    <a:pt x="140" y="155"/>
                  </a:lnTo>
                  <a:lnTo>
                    <a:pt x="141" y="156"/>
                  </a:lnTo>
                  <a:lnTo>
                    <a:pt x="143" y="156"/>
                  </a:lnTo>
                  <a:lnTo>
                    <a:pt x="144" y="157"/>
                  </a:lnTo>
                  <a:lnTo>
                    <a:pt x="145" y="157"/>
                  </a:lnTo>
                  <a:lnTo>
                    <a:pt x="145" y="157"/>
                  </a:lnTo>
                  <a:lnTo>
                    <a:pt x="146" y="157"/>
                  </a:lnTo>
                  <a:lnTo>
                    <a:pt x="147" y="157"/>
                  </a:lnTo>
                  <a:lnTo>
                    <a:pt x="148" y="157"/>
                  </a:lnTo>
                  <a:lnTo>
                    <a:pt x="152" y="156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5"/>
                  </a:lnTo>
                  <a:lnTo>
                    <a:pt x="157" y="155"/>
                  </a:lnTo>
                  <a:lnTo>
                    <a:pt x="159" y="154"/>
                  </a:lnTo>
                  <a:lnTo>
                    <a:pt x="160" y="153"/>
                  </a:lnTo>
                  <a:lnTo>
                    <a:pt x="161" y="153"/>
                  </a:lnTo>
                  <a:lnTo>
                    <a:pt x="162" y="152"/>
                  </a:lnTo>
                  <a:lnTo>
                    <a:pt x="167" y="147"/>
                  </a:lnTo>
                  <a:lnTo>
                    <a:pt x="168" y="146"/>
                  </a:lnTo>
                  <a:lnTo>
                    <a:pt x="169" y="145"/>
                  </a:lnTo>
                  <a:lnTo>
                    <a:pt x="170" y="145"/>
                  </a:lnTo>
                  <a:lnTo>
                    <a:pt x="171" y="144"/>
                  </a:lnTo>
                  <a:lnTo>
                    <a:pt x="173" y="143"/>
                  </a:lnTo>
                  <a:lnTo>
                    <a:pt x="174" y="142"/>
                  </a:lnTo>
                  <a:lnTo>
                    <a:pt x="177" y="141"/>
                  </a:lnTo>
                  <a:lnTo>
                    <a:pt x="179" y="140"/>
                  </a:lnTo>
                  <a:lnTo>
                    <a:pt x="180" y="140"/>
                  </a:lnTo>
                  <a:lnTo>
                    <a:pt x="181" y="139"/>
                  </a:lnTo>
                  <a:lnTo>
                    <a:pt x="183" y="139"/>
                  </a:lnTo>
                  <a:lnTo>
                    <a:pt x="184" y="139"/>
                  </a:lnTo>
                  <a:lnTo>
                    <a:pt x="184" y="139"/>
                  </a:lnTo>
                  <a:lnTo>
                    <a:pt x="189" y="139"/>
                  </a:lnTo>
                  <a:lnTo>
                    <a:pt x="191" y="139"/>
                  </a:lnTo>
                  <a:lnTo>
                    <a:pt x="192" y="139"/>
                  </a:lnTo>
                  <a:lnTo>
                    <a:pt x="193" y="139"/>
                  </a:lnTo>
                  <a:lnTo>
                    <a:pt x="194" y="139"/>
                  </a:lnTo>
                  <a:lnTo>
                    <a:pt x="194" y="139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7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5" y="134"/>
                  </a:lnTo>
                  <a:lnTo>
                    <a:pt x="195" y="133"/>
                  </a:lnTo>
                  <a:lnTo>
                    <a:pt x="195" y="132"/>
                  </a:lnTo>
                  <a:lnTo>
                    <a:pt x="195" y="132"/>
                  </a:lnTo>
                  <a:lnTo>
                    <a:pt x="194" y="131"/>
                  </a:lnTo>
                  <a:lnTo>
                    <a:pt x="194" y="130"/>
                  </a:lnTo>
                  <a:lnTo>
                    <a:pt x="193" y="130"/>
                  </a:lnTo>
                  <a:lnTo>
                    <a:pt x="193" y="129"/>
                  </a:lnTo>
                  <a:lnTo>
                    <a:pt x="192" y="129"/>
                  </a:lnTo>
                  <a:lnTo>
                    <a:pt x="191" y="129"/>
                  </a:lnTo>
                  <a:lnTo>
                    <a:pt x="190" y="128"/>
                  </a:lnTo>
                  <a:lnTo>
                    <a:pt x="188" y="128"/>
                  </a:lnTo>
                  <a:lnTo>
                    <a:pt x="188" y="128"/>
                  </a:lnTo>
                  <a:lnTo>
                    <a:pt x="187" y="128"/>
                  </a:lnTo>
                  <a:lnTo>
                    <a:pt x="187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6"/>
                  </a:lnTo>
                  <a:lnTo>
                    <a:pt x="185" y="126"/>
                  </a:lnTo>
                  <a:lnTo>
                    <a:pt x="185" y="125"/>
                  </a:lnTo>
                  <a:lnTo>
                    <a:pt x="185" y="124"/>
                  </a:lnTo>
                  <a:lnTo>
                    <a:pt x="185" y="124"/>
                  </a:lnTo>
                  <a:lnTo>
                    <a:pt x="185" y="123"/>
                  </a:lnTo>
                  <a:lnTo>
                    <a:pt x="185" y="122"/>
                  </a:lnTo>
                  <a:lnTo>
                    <a:pt x="185" y="121"/>
                  </a:lnTo>
                  <a:lnTo>
                    <a:pt x="186" y="121"/>
                  </a:lnTo>
                  <a:lnTo>
                    <a:pt x="186" y="120"/>
                  </a:lnTo>
                  <a:lnTo>
                    <a:pt x="187" y="119"/>
                  </a:lnTo>
                  <a:lnTo>
                    <a:pt x="187" y="118"/>
                  </a:lnTo>
                  <a:lnTo>
                    <a:pt x="188" y="118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90" y="117"/>
                  </a:lnTo>
                  <a:lnTo>
                    <a:pt x="191" y="116"/>
                  </a:lnTo>
                  <a:lnTo>
                    <a:pt x="192" y="116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4" y="116"/>
                  </a:lnTo>
                  <a:lnTo>
                    <a:pt x="195" y="117"/>
                  </a:lnTo>
                  <a:lnTo>
                    <a:pt x="197" y="117"/>
                  </a:lnTo>
                  <a:lnTo>
                    <a:pt x="198" y="118"/>
                  </a:lnTo>
                  <a:lnTo>
                    <a:pt x="199" y="118"/>
                  </a:lnTo>
                  <a:lnTo>
                    <a:pt x="200" y="119"/>
                  </a:lnTo>
                  <a:lnTo>
                    <a:pt x="201" y="120"/>
                  </a:lnTo>
                  <a:lnTo>
                    <a:pt x="204" y="122"/>
                  </a:lnTo>
                  <a:lnTo>
                    <a:pt x="205" y="123"/>
                  </a:lnTo>
                  <a:lnTo>
                    <a:pt x="206" y="124"/>
                  </a:lnTo>
                  <a:lnTo>
                    <a:pt x="207" y="125"/>
                  </a:lnTo>
                  <a:lnTo>
                    <a:pt x="208" y="126"/>
                  </a:lnTo>
                  <a:lnTo>
                    <a:pt x="210" y="132"/>
                  </a:lnTo>
                  <a:lnTo>
                    <a:pt x="211" y="133"/>
                  </a:lnTo>
                  <a:lnTo>
                    <a:pt x="211" y="134"/>
                  </a:lnTo>
                  <a:lnTo>
                    <a:pt x="212" y="137"/>
                  </a:lnTo>
                  <a:lnTo>
                    <a:pt x="213" y="138"/>
                  </a:lnTo>
                  <a:lnTo>
                    <a:pt x="213" y="139"/>
                  </a:lnTo>
                  <a:lnTo>
                    <a:pt x="214" y="140"/>
                  </a:lnTo>
                  <a:lnTo>
                    <a:pt x="214" y="142"/>
                  </a:lnTo>
                  <a:lnTo>
                    <a:pt x="215" y="142"/>
                  </a:lnTo>
                  <a:lnTo>
                    <a:pt x="216" y="143"/>
                  </a:lnTo>
                  <a:lnTo>
                    <a:pt x="217" y="143"/>
                  </a:lnTo>
                  <a:lnTo>
                    <a:pt x="217" y="144"/>
                  </a:lnTo>
                  <a:lnTo>
                    <a:pt x="218" y="144"/>
                  </a:lnTo>
                  <a:lnTo>
                    <a:pt x="219" y="145"/>
                  </a:lnTo>
                  <a:lnTo>
                    <a:pt x="219" y="145"/>
                  </a:lnTo>
                  <a:lnTo>
                    <a:pt x="222" y="146"/>
                  </a:lnTo>
                  <a:lnTo>
                    <a:pt x="227" y="148"/>
                  </a:lnTo>
                  <a:lnTo>
                    <a:pt x="228" y="148"/>
                  </a:lnTo>
                  <a:lnTo>
                    <a:pt x="229" y="148"/>
                  </a:lnTo>
                  <a:lnTo>
                    <a:pt x="229" y="148"/>
                  </a:lnTo>
                  <a:lnTo>
                    <a:pt x="230" y="148"/>
                  </a:lnTo>
                  <a:lnTo>
                    <a:pt x="231" y="148"/>
                  </a:lnTo>
                  <a:lnTo>
                    <a:pt x="231" y="147"/>
                  </a:lnTo>
                  <a:lnTo>
                    <a:pt x="232" y="147"/>
                  </a:lnTo>
                  <a:lnTo>
                    <a:pt x="232" y="147"/>
                  </a:lnTo>
                  <a:lnTo>
                    <a:pt x="234" y="146"/>
                  </a:lnTo>
                  <a:lnTo>
                    <a:pt x="235" y="145"/>
                  </a:lnTo>
                  <a:lnTo>
                    <a:pt x="236" y="145"/>
                  </a:lnTo>
                  <a:lnTo>
                    <a:pt x="236" y="145"/>
                  </a:lnTo>
                  <a:lnTo>
                    <a:pt x="237" y="144"/>
                  </a:lnTo>
                  <a:lnTo>
                    <a:pt x="237" y="144"/>
                  </a:lnTo>
                  <a:lnTo>
                    <a:pt x="238" y="144"/>
                  </a:lnTo>
                  <a:lnTo>
                    <a:pt x="239" y="144"/>
                  </a:lnTo>
                  <a:lnTo>
                    <a:pt x="240" y="144"/>
                  </a:lnTo>
                  <a:lnTo>
                    <a:pt x="241" y="145"/>
                  </a:lnTo>
                  <a:lnTo>
                    <a:pt x="242" y="145"/>
                  </a:lnTo>
                  <a:lnTo>
                    <a:pt x="242" y="145"/>
                  </a:lnTo>
                  <a:lnTo>
                    <a:pt x="243" y="146"/>
                  </a:lnTo>
                  <a:lnTo>
                    <a:pt x="243" y="146"/>
                  </a:lnTo>
                  <a:lnTo>
                    <a:pt x="244" y="146"/>
                  </a:lnTo>
                  <a:lnTo>
                    <a:pt x="245" y="147"/>
                  </a:lnTo>
                  <a:lnTo>
                    <a:pt x="245" y="148"/>
                  </a:lnTo>
                  <a:lnTo>
                    <a:pt x="246" y="149"/>
                  </a:lnTo>
                  <a:lnTo>
                    <a:pt x="247" y="151"/>
                  </a:lnTo>
                  <a:lnTo>
                    <a:pt x="248" y="152"/>
                  </a:lnTo>
                  <a:lnTo>
                    <a:pt x="249" y="153"/>
                  </a:lnTo>
                  <a:lnTo>
                    <a:pt x="250" y="153"/>
                  </a:lnTo>
                  <a:lnTo>
                    <a:pt x="250" y="154"/>
                  </a:lnTo>
                  <a:lnTo>
                    <a:pt x="251" y="154"/>
                  </a:lnTo>
                  <a:lnTo>
                    <a:pt x="252" y="155"/>
                  </a:lnTo>
                  <a:lnTo>
                    <a:pt x="253" y="155"/>
                  </a:lnTo>
                  <a:lnTo>
                    <a:pt x="258" y="157"/>
                  </a:lnTo>
                  <a:lnTo>
                    <a:pt x="259" y="157"/>
                  </a:lnTo>
                  <a:lnTo>
                    <a:pt x="260" y="157"/>
                  </a:lnTo>
                  <a:lnTo>
                    <a:pt x="261" y="158"/>
                  </a:lnTo>
                  <a:lnTo>
                    <a:pt x="262" y="159"/>
                  </a:lnTo>
                  <a:lnTo>
                    <a:pt x="263" y="159"/>
                  </a:lnTo>
                  <a:lnTo>
                    <a:pt x="264" y="160"/>
                  </a:lnTo>
                  <a:lnTo>
                    <a:pt x="264" y="160"/>
                  </a:lnTo>
                  <a:lnTo>
                    <a:pt x="265" y="161"/>
                  </a:lnTo>
                  <a:lnTo>
                    <a:pt x="266" y="162"/>
                  </a:lnTo>
                  <a:lnTo>
                    <a:pt x="266" y="163"/>
                  </a:lnTo>
                  <a:lnTo>
                    <a:pt x="267" y="164"/>
                  </a:lnTo>
                  <a:lnTo>
                    <a:pt x="268" y="168"/>
                  </a:lnTo>
                  <a:lnTo>
                    <a:pt x="269" y="169"/>
                  </a:lnTo>
                  <a:lnTo>
                    <a:pt x="269" y="170"/>
                  </a:lnTo>
                  <a:lnTo>
                    <a:pt x="270" y="171"/>
                  </a:lnTo>
                  <a:lnTo>
                    <a:pt x="271" y="172"/>
                  </a:lnTo>
                  <a:lnTo>
                    <a:pt x="271" y="173"/>
                  </a:lnTo>
                  <a:lnTo>
                    <a:pt x="272" y="173"/>
                  </a:lnTo>
                  <a:lnTo>
                    <a:pt x="273" y="174"/>
                  </a:lnTo>
                  <a:lnTo>
                    <a:pt x="274" y="175"/>
                  </a:lnTo>
                  <a:lnTo>
                    <a:pt x="275" y="176"/>
                  </a:lnTo>
                  <a:lnTo>
                    <a:pt x="275" y="176"/>
                  </a:lnTo>
                  <a:lnTo>
                    <a:pt x="276" y="176"/>
                  </a:lnTo>
                  <a:lnTo>
                    <a:pt x="277" y="177"/>
                  </a:lnTo>
                  <a:lnTo>
                    <a:pt x="278" y="177"/>
                  </a:lnTo>
                  <a:lnTo>
                    <a:pt x="279" y="177"/>
                  </a:lnTo>
                  <a:lnTo>
                    <a:pt x="280" y="177"/>
                  </a:lnTo>
                  <a:lnTo>
                    <a:pt x="280" y="177"/>
                  </a:lnTo>
                  <a:lnTo>
                    <a:pt x="281" y="177"/>
                  </a:lnTo>
                  <a:lnTo>
                    <a:pt x="282" y="176"/>
                  </a:lnTo>
                  <a:lnTo>
                    <a:pt x="283" y="175"/>
                  </a:lnTo>
                  <a:lnTo>
                    <a:pt x="285" y="174"/>
                  </a:lnTo>
                  <a:lnTo>
                    <a:pt x="285" y="174"/>
                  </a:lnTo>
                  <a:lnTo>
                    <a:pt x="286" y="173"/>
                  </a:lnTo>
                  <a:lnTo>
                    <a:pt x="286" y="172"/>
                  </a:lnTo>
                  <a:lnTo>
                    <a:pt x="286" y="172"/>
                  </a:lnTo>
                  <a:lnTo>
                    <a:pt x="286" y="171"/>
                  </a:lnTo>
                  <a:lnTo>
                    <a:pt x="286" y="170"/>
                  </a:lnTo>
                  <a:lnTo>
                    <a:pt x="286" y="169"/>
                  </a:lnTo>
                  <a:lnTo>
                    <a:pt x="286" y="168"/>
                  </a:lnTo>
                  <a:lnTo>
                    <a:pt x="286" y="168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7" y="167"/>
                  </a:lnTo>
                  <a:lnTo>
                    <a:pt x="288" y="167"/>
                  </a:lnTo>
                  <a:lnTo>
                    <a:pt x="289" y="167"/>
                  </a:lnTo>
                  <a:lnTo>
                    <a:pt x="290" y="167"/>
                  </a:lnTo>
                  <a:lnTo>
                    <a:pt x="294" y="168"/>
                  </a:lnTo>
                  <a:lnTo>
                    <a:pt x="296" y="169"/>
                  </a:lnTo>
                  <a:lnTo>
                    <a:pt x="297" y="169"/>
                  </a:lnTo>
                  <a:lnTo>
                    <a:pt x="299" y="169"/>
                  </a:lnTo>
                  <a:lnTo>
                    <a:pt x="301" y="169"/>
                  </a:lnTo>
                  <a:lnTo>
                    <a:pt x="306" y="169"/>
                  </a:lnTo>
                  <a:lnTo>
                    <a:pt x="307" y="169"/>
                  </a:lnTo>
                  <a:lnTo>
                    <a:pt x="309" y="170"/>
                  </a:lnTo>
                  <a:lnTo>
                    <a:pt x="310" y="170"/>
                  </a:lnTo>
                  <a:lnTo>
                    <a:pt x="311" y="170"/>
                  </a:lnTo>
                  <a:lnTo>
                    <a:pt x="311" y="170"/>
                  </a:lnTo>
                  <a:lnTo>
                    <a:pt x="312" y="171"/>
                  </a:lnTo>
                  <a:lnTo>
                    <a:pt x="317" y="173"/>
                  </a:lnTo>
                  <a:lnTo>
                    <a:pt x="320" y="175"/>
                  </a:lnTo>
                  <a:lnTo>
                    <a:pt x="322" y="176"/>
                  </a:lnTo>
                  <a:lnTo>
                    <a:pt x="323" y="176"/>
                  </a:lnTo>
                  <a:lnTo>
                    <a:pt x="329" y="181"/>
                  </a:lnTo>
                  <a:lnTo>
                    <a:pt x="330" y="181"/>
                  </a:lnTo>
                  <a:lnTo>
                    <a:pt x="330" y="181"/>
                  </a:lnTo>
                  <a:lnTo>
                    <a:pt x="332" y="182"/>
                  </a:lnTo>
                  <a:lnTo>
                    <a:pt x="333" y="183"/>
                  </a:lnTo>
                  <a:lnTo>
                    <a:pt x="335" y="183"/>
                  </a:lnTo>
                  <a:lnTo>
                    <a:pt x="336" y="183"/>
                  </a:lnTo>
                  <a:lnTo>
                    <a:pt x="338" y="183"/>
                  </a:lnTo>
                  <a:lnTo>
                    <a:pt x="339" y="184"/>
                  </a:lnTo>
                  <a:lnTo>
                    <a:pt x="340" y="184"/>
                  </a:lnTo>
                  <a:lnTo>
                    <a:pt x="341" y="183"/>
                  </a:lnTo>
                  <a:lnTo>
                    <a:pt x="342" y="183"/>
                  </a:lnTo>
                  <a:lnTo>
                    <a:pt x="342" y="183"/>
                  </a:lnTo>
                  <a:lnTo>
                    <a:pt x="343" y="183"/>
                  </a:lnTo>
                  <a:lnTo>
                    <a:pt x="343" y="182"/>
                  </a:lnTo>
                  <a:lnTo>
                    <a:pt x="344" y="182"/>
                  </a:lnTo>
                  <a:lnTo>
                    <a:pt x="344" y="181"/>
                  </a:lnTo>
                  <a:lnTo>
                    <a:pt x="345" y="181"/>
                  </a:lnTo>
                  <a:lnTo>
                    <a:pt x="345" y="181"/>
                  </a:lnTo>
                  <a:lnTo>
                    <a:pt x="345" y="180"/>
                  </a:lnTo>
                  <a:lnTo>
                    <a:pt x="346" y="179"/>
                  </a:lnTo>
                  <a:lnTo>
                    <a:pt x="346" y="177"/>
                  </a:lnTo>
                  <a:lnTo>
                    <a:pt x="347" y="176"/>
                  </a:lnTo>
                  <a:lnTo>
                    <a:pt x="347" y="176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9" y="174"/>
                  </a:lnTo>
                  <a:lnTo>
                    <a:pt x="349" y="174"/>
                  </a:lnTo>
                  <a:lnTo>
                    <a:pt x="350" y="174"/>
                  </a:lnTo>
                  <a:lnTo>
                    <a:pt x="351" y="175"/>
                  </a:lnTo>
                  <a:lnTo>
                    <a:pt x="352" y="175"/>
                  </a:lnTo>
                  <a:lnTo>
                    <a:pt x="352" y="175"/>
                  </a:lnTo>
                  <a:lnTo>
                    <a:pt x="353" y="175"/>
                  </a:lnTo>
                  <a:lnTo>
                    <a:pt x="353" y="176"/>
                  </a:lnTo>
                  <a:lnTo>
                    <a:pt x="354" y="176"/>
                  </a:lnTo>
                  <a:lnTo>
                    <a:pt x="354" y="176"/>
                  </a:lnTo>
                  <a:lnTo>
                    <a:pt x="355" y="177"/>
                  </a:lnTo>
                  <a:lnTo>
                    <a:pt x="355" y="178"/>
                  </a:lnTo>
                  <a:lnTo>
                    <a:pt x="355" y="178"/>
                  </a:lnTo>
                  <a:lnTo>
                    <a:pt x="356" y="179"/>
                  </a:lnTo>
                  <a:lnTo>
                    <a:pt x="356" y="181"/>
                  </a:lnTo>
                  <a:lnTo>
                    <a:pt x="356" y="182"/>
                  </a:lnTo>
                  <a:lnTo>
                    <a:pt x="356" y="183"/>
                  </a:lnTo>
                  <a:lnTo>
                    <a:pt x="356" y="187"/>
                  </a:lnTo>
                  <a:lnTo>
                    <a:pt x="356" y="189"/>
                  </a:lnTo>
                  <a:lnTo>
                    <a:pt x="356" y="191"/>
                  </a:lnTo>
                  <a:lnTo>
                    <a:pt x="356" y="191"/>
                  </a:lnTo>
                  <a:lnTo>
                    <a:pt x="356" y="192"/>
                  </a:lnTo>
                  <a:lnTo>
                    <a:pt x="356" y="192"/>
                  </a:lnTo>
                  <a:lnTo>
                    <a:pt x="357" y="193"/>
                  </a:lnTo>
                  <a:lnTo>
                    <a:pt x="357" y="194"/>
                  </a:lnTo>
                  <a:lnTo>
                    <a:pt x="357" y="195"/>
                  </a:lnTo>
                  <a:lnTo>
                    <a:pt x="358" y="195"/>
                  </a:lnTo>
                  <a:lnTo>
                    <a:pt x="358" y="196"/>
                  </a:lnTo>
                  <a:lnTo>
                    <a:pt x="359" y="196"/>
                  </a:lnTo>
                  <a:lnTo>
                    <a:pt x="359" y="197"/>
                  </a:lnTo>
                  <a:lnTo>
                    <a:pt x="360" y="198"/>
                  </a:lnTo>
                  <a:lnTo>
                    <a:pt x="361" y="199"/>
                  </a:lnTo>
                  <a:lnTo>
                    <a:pt x="362" y="200"/>
                  </a:lnTo>
                  <a:lnTo>
                    <a:pt x="363" y="200"/>
                  </a:lnTo>
                  <a:lnTo>
                    <a:pt x="363" y="201"/>
                  </a:lnTo>
                  <a:lnTo>
                    <a:pt x="363" y="201"/>
                  </a:lnTo>
                  <a:lnTo>
                    <a:pt x="363" y="201"/>
                  </a:lnTo>
                  <a:lnTo>
                    <a:pt x="363" y="202"/>
                  </a:lnTo>
                  <a:lnTo>
                    <a:pt x="363" y="202"/>
                  </a:lnTo>
                  <a:lnTo>
                    <a:pt x="363" y="203"/>
                  </a:lnTo>
                  <a:lnTo>
                    <a:pt x="363" y="204"/>
                  </a:lnTo>
                  <a:lnTo>
                    <a:pt x="361" y="206"/>
                  </a:lnTo>
                  <a:lnTo>
                    <a:pt x="360" y="209"/>
                  </a:lnTo>
                  <a:lnTo>
                    <a:pt x="359" y="212"/>
                  </a:lnTo>
                  <a:lnTo>
                    <a:pt x="359" y="213"/>
                  </a:lnTo>
                  <a:lnTo>
                    <a:pt x="359" y="214"/>
                  </a:lnTo>
                  <a:lnTo>
                    <a:pt x="358" y="215"/>
                  </a:lnTo>
                  <a:lnTo>
                    <a:pt x="358" y="216"/>
                  </a:lnTo>
                  <a:lnTo>
                    <a:pt x="358" y="217"/>
                  </a:lnTo>
                  <a:lnTo>
                    <a:pt x="359" y="219"/>
                  </a:lnTo>
                  <a:lnTo>
                    <a:pt x="359" y="220"/>
                  </a:lnTo>
                  <a:lnTo>
                    <a:pt x="360" y="223"/>
                  </a:lnTo>
                  <a:lnTo>
                    <a:pt x="361" y="224"/>
                  </a:lnTo>
                  <a:lnTo>
                    <a:pt x="361" y="225"/>
                  </a:lnTo>
                  <a:lnTo>
                    <a:pt x="362" y="227"/>
                  </a:lnTo>
                  <a:lnTo>
                    <a:pt x="363" y="230"/>
                  </a:lnTo>
                  <a:lnTo>
                    <a:pt x="365" y="233"/>
                  </a:lnTo>
                  <a:lnTo>
                    <a:pt x="366" y="237"/>
                  </a:lnTo>
                  <a:lnTo>
                    <a:pt x="369" y="243"/>
                  </a:lnTo>
                  <a:lnTo>
                    <a:pt x="372" y="249"/>
                  </a:lnTo>
                  <a:lnTo>
                    <a:pt x="373" y="253"/>
                  </a:lnTo>
                  <a:lnTo>
                    <a:pt x="374" y="254"/>
                  </a:lnTo>
                  <a:lnTo>
                    <a:pt x="374" y="255"/>
                  </a:lnTo>
                  <a:lnTo>
                    <a:pt x="375" y="256"/>
                  </a:lnTo>
                  <a:lnTo>
                    <a:pt x="376" y="261"/>
                  </a:lnTo>
                  <a:lnTo>
                    <a:pt x="376" y="262"/>
                  </a:lnTo>
                  <a:lnTo>
                    <a:pt x="377" y="263"/>
                  </a:lnTo>
                  <a:lnTo>
                    <a:pt x="377" y="264"/>
                  </a:lnTo>
                  <a:lnTo>
                    <a:pt x="377" y="265"/>
                  </a:lnTo>
                  <a:lnTo>
                    <a:pt x="378" y="265"/>
                  </a:lnTo>
                  <a:lnTo>
                    <a:pt x="378" y="266"/>
                  </a:lnTo>
                  <a:lnTo>
                    <a:pt x="379" y="267"/>
                  </a:lnTo>
                  <a:lnTo>
                    <a:pt x="380" y="267"/>
                  </a:lnTo>
                  <a:lnTo>
                    <a:pt x="381" y="268"/>
                  </a:lnTo>
                  <a:lnTo>
                    <a:pt x="381" y="269"/>
                  </a:lnTo>
                  <a:lnTo>
                    <a:pt x="382" y="269"/>
                  </a:lnTo>
                  <a:lnTo>
                    <a:pt x="383" y="269"/>
                  </a:lnTo>
                  <a:lnTo>
                    <a:pt x="384" y="270"/>
                  </a:lnTo>
                  <a:lnTo>
                    <a:pt x="385" y="270"/>
                  </a:lnTo>
                  <a:lnTo>
                    <a:pt x="389" y="272"/>
                  </a:lnTo>
                  <a:lnTo>
                    <a:pt x="391" y="272"/>
                  </a:lnTo>
                  <a:lnTo>
                    <a:pt x="395" y="273"/>
                  </a:lnTo>
                  <a:lnTo>
                    <a:pt x="396" y="273"/>
                  </a:lnTo>
                  <a:lnTo>
                    <a:pt x="397" y="273"/>
                  </a:lnTo>
                  <a:lnTo>
                    <a:pt x="397" y="273"/>
                  </a:lnTo>
                  <a:lnTo>
                    <a:pt x="399" y="274"/>
                  </a:lnTo>
                  <a:lnTo>
                    <a:pt x="400" y="274"/>
                  </a:lnTo>
                  <a:lnTo>
                    <a:pt x="401" y="275"/>
                  </a:lnTo>
                  <a:lnTo>
                    <a:pt x="402" y="277"/>
                  </a:lnTo>
                  <a:lnTo>
                    <a:pt x="404" y="279"/>
                  </a:lnTo>
                  <a:lnTo>
                    <a:pt x="405" y="279"/>
                  </a:lnTo>
                  <a:lnTo>
                    <a:pt x="406" y="280"/>
                  </a:lnTo>
                  <a:lnTo>
                    <a:pt x="406" y="280"/>
                  </a:lnTo>
                  <a:lnTo>
                    <a:pt x="408" y="281"/>
                  </a:lnTo>
                  <a:lnTo>
                    <a:pt x="409" y="282"/>
                  </a:lnTo>
                  <a:lnTo>
                    <a:pt x="411" y="282"/>
                  </a:lnTo>
                  <a:lnTo>
                    <a:pt x="411" y="282"/>
                  </a:lnTo>
                  <a:lnTo>
                    <a:pt x="413" y="282"/>
                  </a:lnTo>
                  <a:lnTo>
                    <a:pt x="413" y="282"/>
                  </a:lnTo>
                  <a:lnTo>
                    <a:pt x="414" y="282"/>
                  </a:lnTo>
                  <a:lnTo>
                    <a:pt x="415" y="282"/>
                  </a:lnTo>
                  <a:lnTo>
                    <a:pt x="418" y="282"/>
                  </a:lnTo>
                  <a:lnTo>
                    <a:pt x="420" y="282"/>
                  </a:lnTo>
                  <a:lnTo>
                    <a:pt x="421" y="282"/>
                  </a:lnTo>
                  <a:lnTo>
                    <a:pt x="422" y="282"/>
                  </a:lnTo>
                  <a:lnTo>
                    <a:pt x="423" y="282"/>
                  </a:lnTo>
                  <a:lnTo>
                    <a:pt x="424" y="282"/>
                  </a:lnTo>
                  <a:lnTo>
                    <a:pt x="425" y="282"/>
                  </a:lnTo>
                  <a:lnTo>
                    <a:pt x="426" y="283"/>
                  </a:lnTo>
                  <a:lnTo>
                    <a:pt x="427" y="283"/>
                  </a:lnTo>
                  <a:lnTo>
                    <a:pt x="428" y="284"/>
                  </a:lnTo>
                  <a:lnTo>
                    <a:pt x="428" y="284"/>
                  </a:lnTo>
                  <a:lnTo>
                    <a:pt x="429" y="285"/>
                  </a:lnTo>
                  <a:lnTo>
                    <a:pt x="430" y="285"/>
                  </a:lnTo>
                  <a:lnTo>
                    <a:pt x="430" y="286"/>
                  </a:lnTo>
                  <a:lnTo>
                    <a:pt x="430" y="287"/>
                  </a:lnTo>
                  <a:lnTo>
                    <a:pt x="431" y="288"/>
                  </a:lnTo>
                  <a:lnTo>
                    <a:pt x="431" y="290"/>
                  </a:lnTo>
                  <a:lnTo>
                    <a:pt x="432" y="292"/>
                  </a:lnTo>
                  <a:lnTo>
                    <a:pt x="433" y="296"/>
                  </a:lnTo>
                  <a:lnTo>
                    <a:pt x="434" y="301"/>
                  </a:lnTo>
                  <a:lnTo>
                    <a:pt x="436" y="310"/>
                  </a:lnTo>
                  <a:lnTo>
                    <a:pt x="438" y="315"/>
                  </a:lnTo>
                  <a:lnTo>
                    <a:pt x="438" y="317"/>
                  </a:lnTo>
                  <a:lnTo>
                    <a:pt x="439" y="318"/>
                  </a:lnTo>
                  <a:lnTo>
                    <a:pt x="439" y="319"/>
                  </a:lnTo>
                  <a:lnTo>
                    <a:pt x="440" y="321"/>
                  </a:lnTo>
                  <a:lnTo>
                    <a:pt x="441" y="322"/>
                  </a:lnTo>
                  <a:lnTo>
                    <a:pt x="441" y="324"/>
                  </a:lnTo>
                  <a:lnTo>
                    <a:pt x="442" y="328"/>
                  </a:lnTo>
                  <a:lnTo>
                    <a:pt x="442" y="329"/>
                  </a:lnTo>
                  <a:lnTo>
                    <a:pt x="442" y="331"/>
                  </a:lnTo>
                  <a:lnTo>
                    <a:pt x="443" y="333"/>
                  </a:lnTo>
                  <a:lnTo>
                    <a:pt x="444" y="335"/>
                  </a:lnTo>
                  <a:lnTo>
                    <a:pt x="445" y="336"/>
                  </a:lnTo>
                  <a:lnTo>
                    <a:pt x="446" y="338"/>
                  </a:lnTo>
                  <a:lnTo>
                    <a:pt x="447" y="340"/>
                  </a:lnTo>
                  <a:lnTo>
                    <a:pt x="448" y="341"/>
                  </a:lnTo>
                  <a:lnTo>
                    <a:pt x="448" y="343"/>
                  </a:lnTo>
                  <a:lnTo>
                    <a:pt x="448" y="344"/>
                  </a:lnTo>
                  <a:lnTo>
                    <a:pt x="448" y="345"/>
                  </a:lnTo>
                  <a:lnTo>
                    <a:pt x="448" y="346"/>
                  </a:lnTo>
                  <a:lnTo>
                    <a:pt x="448" y="346"/>
                  </a:lnTo>
                  <a:lnTo>
                    <a:pt x="447" y="348"/>
                  </a:lnTo>
                  <a:lnTo>
                    <a:pt x="447" y="350"/>
                  </a:lnTo>
                  <a:lnTo>
                    <a:pt x="446" y="352"/>
                  </a:lnTo>
                  <a:lnTo>
                    <a:pt x="445" y="355"/>
                  </a:lnTo>
                  <a:lnTo>
                    <a:pt x="445" y="355"/>
                  </a:lnTo>
                  <a:lnTo>
                    <a:pt x="445" y="356"/>
                  </a:lnTo>
                  <a:lnTo>
                    <a:pt x="445" y="356"/>
                  </a:lnTo>
                  <a:lnTo>
                    <a:pt x="444" y="356"/>
                  </a:lnTo>
                  <a:lnTo>
                    <a:pt x="443" y="357"/>
                  </a:lnTo>
                  <a:lnTo>
                    <a:pt x="443" y="357"/>
                  </a:lnTo>
                  <a:lnTo>
                    <a:pt x="442" y="357"/>
                  </a:lnTo>
                  <a:lnTo>
                    <a:pt x="439" y="358"/>
                  </a:lnTo>
                  <a:lnTo>
                    <a:pt x="437" y="359"/>
                  </a:lnTo>
                  <a:lnTo>
                    <a:pt x="436" y="359"/>
                  </a:lnTo>
                  <a:lnTo>
                    <a:pt x="435" y="360"/>
                  </a:lnTo>
                  <a:lnTo>
                    <a:pt x="431" y="362"/>
                  </a:lnTo>
                  <a:lnTo>
                    <a:pt x="429" y="363"/>
                  </a:lnTo>
                  <a:lnTo>
                    <a:pt x="427" y="364"/>
                  </a:lnTo>
                  <a:lnTo>
                    <a:pt x="423" y="367"/>
                  </a:lnTo>
                  <a:lnTo>
                    <a:pt x="422" y="368"/>
                  </a:lnTo>
                  <a:lnTo>
                    <a:pt x="421" y="368"/>
                  </a:lnTo>
                  <a:lnTo>
                    <a:pt x="419" y="369"/>
                  </a:lnTo>
                  <a:lnTo>
                    <a:pt x="418" y="369"/>
                  </a:lnTo>
                  <a:lnTo>
                    <a:pt x="417" y="369"/>
                  </a:lnTo>
                  <a:lnTo>
                    <a:pt x="416" y="369"/>
                  </a:lnTo>
                  <a:lnTo>
                    <a:pt x="416" y="369"/>
                  </a:lnTo>
                  <a:lnTo>
                    <a:pt x="415" y="369"/>
                  </a:lnTo>
                  <a:lnTo>
                    <a:pt x="414" y="369"/>
                  </a:lnTo>
                  <a:lnTo>
                    <a:pt x="412" y="369"/>
                  </a:lnTo>
                  <a:lnTo>
                    <a:pt x="408" y="367"/>
                  </a:lnTo>
                  <a:lnTo>
                    <a:pt x="407" y="367"/>
                  </a:lnTo>
                  <a:lnTo>
                    <a:pt x="406" y="367"/>
                  </a:lnTo>
                  <a:lnTo>
                    <a:pt x="404" y="367"/>
                  </a:lnTo>
                  <a:lnTo>
                    <a:pt x="401" y="366"/>
                  </a:lnTo>
                  <a:lnTo>
                    <a:pt x="398" y="366"/>
                  </a:lnTo>
                  <a:lnTo>
                    <a:pt x="396" y="366"/>
                  </a:lnTo>
                  <a:lnTo>
                    <a:pt x="395" y="366"/>
                  </a:lnTo>
                  <a:lnTo>
                    <a:pt x="393" y="366"/>
                  </a:lnTo>
                  <a:lnTo>
                    <a:pt x="390" y="366"/>
                  </a:lnTo>
                  <a:lnTo>
                    <a:pt x="384" y="368"/>
                  </a:lnTo>
                  <a:lnTo>
                    <a:pt x="382" y="368"/>
                  </a:lnTo>
                  <a:lnTo>
                    <a:pt x="380" y="368"/>
                  </a:lnTo>
                  <a:lnTo>
                    <a:pt x="379" y="368"/>
                  </a:lnTo>
                  <a:lnTo>
                    <a:pt x="378" y="368"/>
                  </a:lnTo>
                  <a:lnTo>
                    <a:pt x="377" y="368"/>
                  </a:lnTo>
                  <a:lnTo>
                    <a:pt x="376" y="368"/>
                  </a:lnTo>
                  <a:lnTo>
                    <a:pt x="375" y="368"/>
                  </a:lnTo>
                  <a:lnTo>
                    <a:pt x="374" y="367"/>
                  </a:lnTo>
                  <a:lnTo>
                    <a:pt x="372" y="366"/>
                  </a:lnTo>
                  <a:lnTo>
                    <a:pt x="371" y="366"/>
                  </a:lnTo>
                  <a:lnTo>
                    <a:pt x="370" y="366"/>
                  </a:lnTo>
                  <a:lnTo>
                    <a:pt x="369" y="366"/>
                  </a:lnTo>
                  <a:lnTo>
                    <a:pt x="368" y="366"/>
                  </a:lnTo>
                  <a:lnTo>
                    <a:pt x="367" y="366"/>
                  </a:lnTo>
                  <a:lnTo>
                    <a:pt x="366" y="366"/>
                  </a:lnTo>
                  <a:lnTo>
                    <a:pt x="365" y="366"/>
                  </a:lnTo>
                  <a:lnTo>
                    <a:pt x="364" y="366"/>
                  </a:lnTo>
                  <a:lnTo>
                    <a:pt x="363" y="366"/>
                  </a:lnTo>
                  <a:lnTo>
                    <a:pt x="362" y="366"/>
                  </a:lnTo>
                  <a:lnTo>
                    <a:pt x="362" y="367"/>
                  </a:lnTo>
                  <a:lnTo>
                    <a:pt x="361" y="367"/>
                  </a:lnTo>
                  <a:lnTo>
                    <a:pt x="360" y="368"/>
                  </a:lnTo>
                  <a:lnTo>
                    <a:pt x="359" y="369"/>
                  </a:lnTo>
                  <a:lnTo>
                    <a:pt x="358" y="370"/>
                  </a:lnTo>
                  <a:lnTo>
                    <a:pt x="357" y="370"/>
                  </a:lnTo>
                  <a:lnTo>
                    <a:pt x="357" y="371"/>
                  </a:lnTo>
                  <a:lnTo>
                    <a:pt x="356" y="372"/>
                  </a:lnTo>
                  <a:lnTo>
                    <a:pt x="356" y="373"/>
                  </a:lnTo>
                  <a:lnTo>
                    <a:pt x="356" y="374"/>
                  </a:lnTo>
                  <a:lnTo>
                    <a:pt x="355" y="374"/>
                  </a:lnTo>
                  <a:lnTo>
                    <a:pt x="355" y="375"/>
                  </a:lnTo>
                  <a:lnTo>
                    <a:pt x="355" y="376"/>
                  </a:lnTo>
                  <a:lnTo>
                    <a:pt x="355" y="377"/>
                  </a:lnTo>
                  <a:lnTo>
                    <a:pt x="355" y="380"/>
                  </a:lnTo>
                  <a:lnTo>
                    <a:pt x="355" y="381"/>
                  </a:lnTo>
                  <a:lnTo>
                    <a:pt x="355" y="382"/>
                  </a:lnTo>
                  <a:lnTo>
                    <a:pt x="355" y="383"/>
                  </a:lnTo>
                  <a:lnTo>
                    <a:pt x="355" y="384"/>
                  </a:lnTo>
                  <a:lnTo>
                    <a:pt x="354" y="385"/>
                  </a:lnTo>
                  <a:lnTo>
                    <a:pt x="354" y="386"/>
                  </a:lnTo>
                  <a:lnTo>
                    <a:pt x="353" y="387"/>
                  </a:lnTo>
                  <a:lnTo>
                    <a:pt x="352" y="389"/>
                  </a:lnTo>
                  <a:lnTo>
                    <a:pt x="350" y="392"/>
                  </a:lnTo>
                  <a:lnTo>
                    <a:pt x="349" y="393"/>
                  </a:lnTo>
                  <a:lnTo>
                    <a:pt x="346" y="397"/>
                  </a:lnTo>
                  <a:lnTo>
                    <a:pt x="343" y="400"/>
                  </a:lnTo>
                  <a:lnTo>
                    <a:pt x="342" y="401"/>
                  </a:lnTo>
                  <a:lnTo>
                    <a:pt x="341" y="403"/>
                  </a:lnTo>
                  <a:lnTo>
                    <a:pt x="339" y="406"/>
                  </a:lnTo>
                  <a:lnTo>
                    <a:pt x="337" y="410"/>
                  </a:lnTo>
                  <a:lnTo>
                    <a:pt x="336" y="411"/>
                  </a:lnTo>
                  <a:lnTo>
                    <a:pt x="335" y="412"/>
                  </a:lnTo>
                  <a:lnTo>
                    <a:pt x="334" y="413"/>
                  </a:lnTo>
                  <a:lnTo>
                    <a:pt x="333" y="414"/>
                  </a:lnTo>
                  <a:lnTo>
                    <a:pt x="332" y="415"/>
                  </a:lnTo>
                  <a:lnTo>
                    <a:pt x="331" y="416"/>
                  </a:lnTo>
                  <a:lnTo>
                    <a:pt x="330" y="416"/>
                  </a:lnTo>
                  <a:lnTo>
                    <a:pt x="329" y="417"/>
                  </a:lnTo>
                  <a:lnTo>
                    <a:pt x="328" y="418"/>
                  </a:lnTo>
                  <a:lnTo>
                    <a:pt x="327" y="418"/>
                  </a:lnTo>
                  <a:lnTo>
                    <a:pt x="326" y="418"/>
                  </a:lnTo>
                  <a:lnTo>
                    <a:pt x="324" y="419"/>
                  </a:lnTo>
                  <a:lnTo>
                    <a:pt x="323" y="419"/>
                  </a:lnTo>
                  <a:lnTo>
                    <a:pt x="322" y="419"/>
                  </a:lnTo>
                  <a:lnTo>
                    <a:pt x="321" y="419"/>
                  </a:lnTo>
                  <a:lnTo>
                    <a:pt x="320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5" y="419"/>
                  </a:lnTo>
                  <a:lnTo>
                    <a:pt x="315" y="419"/>
                  </a:lnTo>
                  <a:lnTo>
                    <a:pt x="314" y="418"/>
                  </a:lnTo>
                  <a:lnTo>
                    <a:pt x="313" y="418"/>
                  </a:lnTo>
                  <a:lnTo>
                    <a:pt x="312" y="417"/>
                  </a:lnTo>
                  <a:lnTo>
                    <a:pt x="311" y="416"/>
                  </a:lnTo>
                  <a:lnTo>
                    <a:pt x="310" y="416"/>
                  </a:lnTo>
                  <a:lnTo>
                    <a:pt x="309" y="415"/>
                  </a:lnTo>
                  <a:lnTo>
                    <a:pt x="309" y="414"/>
                  </a:lnTo>
                  <a:lnTo>
                    <a:pt x="308" y="414"/>
                  </a:lnTo>
                  <a:lnTo>
                    <a:pt x="308" y="413"/>
                  </a:lnTo>
                  <a:lnTo>
                    <a:pt x="307" y="412"/>
                  </a:lnTo>
                  <a:lnTo>
                    <a:pt x="307" y="412"/>
                  </a:lnTo>
                  <a:lnTo>
                    <a:pt x="306" y="410"/>
                  </a:lnTo>
                  <a:lnTo>
                    <a:pt x="304" y="406"/>
                  </a:lnTo>
                  <a:lnTo>
                    <a:pt x="304" y="405"/>
                  </a:lnTo>
                  <a:lnTo>
                    <a:pt x="304" y="405"/>
                  </a:lnTo>
                  <a:lnTo>
                    <a:pt x="303" y="404"/>
                  </a:lnTo>
                  <a:lnTo>
                    <a:pt x="303" y="403"/>
                  </a:lnTo>
                  <a:lnTo>
                    <a:pt x="301" y="400"/>
                  </a:lnTo>
                  <a:lnTo>
                    <a:pt x="300" y="399"/>
                  </a:lnTo>
                  <a:lnTo>
                    <a:pt x="299" y="399"/>
                  </a:lnTo>
                  <a:lnTo>
                    <a:pt x="298" y="398"/>
                  </a:lnTo>
                  <a:lnTo>
                    <a:pt x="297" y="397"/>
                  </a:lnTo>
                  <a:lnTo>
                    <a:pt x="292" y="394"/>
                  </a:lnTo>
                  <a:lnTo>
                    <a:pt x="291" y="393"/>
                  </a:lnTo>
                  <a:lnTo>
                    <a:pt x="290" y="392"/>
                  </a:lnTo>
                  <a:lnTo>
                    <a:pt x="289" y="391"/>
                  </a:lnTo>
                  <a:lnTo>
                    <a:pt x="289" y="390"/>
                  </a:lnTo>
                  <a:lnTo>
                    <a:pt x="288" y="389"/>
                  </a:lnTo>
                  <a:lnTo>
                    <a:pt x="287" y="388"/>
                  </a:lnTo>
                  <a:lnTo>
                    <a:pt x="286" y="386"/>
                  </a:lnTo>
                  <a:lnTo>
                    <a:pt x="284" y="382"/>
                  </a:lnTo>
                  <a:lnTo>
                    <a:pt x="283" y="381"/>
                  </a:lnTo>
                  <a:lnTo>
                    <a:pt x="283" y="380"/>
                  </a:lnTo>
                  <a:lnTo>
                    <a:pt x="282" y="380"/>
                  </a:lnTo>
                  <a:lnTo>
                    <a:pt x="281" y="379"/>
                  </a:lnTo>
                  <a:lnTo>
                    <a:pt x="280" y="379"/>
                  </a:lnTo>
                  <a:lnTo>
                    <a:pt x="279" y="378"/>
                  </a:lnTo>
                  <a:lnTo>
                    <a:pt x="278" y="378"/>
                  </a:lnTo>
                  <a:lnTo>
                    <a:pt x="277" y="377"/>
                  </a:lnTo>
                  <a:lnTo>
                    <a:pt x="276" y="377"/>
                  </a:lnTo>
                  <a:lnTo>
                    <a:pt x="275" y="377"/>
                  </a:lnTo>
                  <a:lnTo>
                    <a:pt x="275" y="377"/>
                  </a:lnTo>
                  <a:lnTo>
                    <a:pt x="273" y="378"/>
                  </a:lnTo>
                  <a:lnTo>
                    <a:pt x="270" y="378"/>
                  </a:lnTo>
                  <a:lnTo>
                    <a:pt x="269" y="379"/>
                  </a:lnTo>
                  <a:lnTo>
                    <a:pt x="268" y="379"/>
                  </a:lnTo>
                  <a:lnTo>
                    <a:pt x="267" y="379"/>
                  </a:lnTo>
                  <a:lnTo>
                    <a:pt x="266" y="379"/>
                  </a:lnTo>
                  <a:lnTo>
                    <a:pt x="265" y="379"/>
                  </a:lnTo>
                  <a:lnTo>
                    <a:pt x="262" y="378"/>
                  </a:lnTo>
                  <a:lnTo>
                    <a:pt x="261" y="378"/>
                  </a:lnTo>
                  <a:lnTo>
                    <a:pt x="255" y="377"/>
                  </a:lnTo>
                  <a:lnTo>
                    <a:pt x="254" y="377"/>
                  </a:lnTo>
                  <a:lnTo>
                    <a:pt x="253" y="376"/>
                  </a:lnTo>
                  <a:lnTo>
                    <a:pt x="251" y="376"/>
                  </a:lnTo>
                  <a:lnTo>
                    <a:pt x="251" y="375"/>
                  </a:lnTo>
                  <a:lnTo>
                    <a:pt x="250" y="375"/>
                  </a:lnTo>
                  <a:lnTo>
                    <a:pt x="248" y="374"/>
                  </a:lnTo>
                  <a:lnTo>
                    <a:pt x="244" y="371"/>
                  </a:lnTo>
                  <a:lnTo>
                    <a:pt x="243" y="370"/>
                  </a:lnTo>
                  <a:lnTo>
                    <a:pt x="242" y="370"/>
                  </a:lnTo>
                  <a:lnTo>
                    <a:pt x="241" y="369"/>
                  </a:lnTo>
                  <a:lnTo>
                    <a:pt x="240" y="369"/>
                  </a:lnTo>
                  <a:lnTo>
                    <a:pt x="239" y="369"/>
                  </a:lnTo>
                  <a:lnTo>
                    <a:pt x="238" y="368"/>
                  </a:lnTo>
                  <a:lnTo>
                    <a:pt x="235" y="368"/>
                  </a:lnTo>
                  <a:lnTo>
                    <a:pt x="234" y="368"/>
                  </a:lnTo>
                  <a:lnTo>
                    <a:pt x="233" y="368"/>
                  </a:lnTo>
                  <a:lnTo>
                    <a:pt x="229" y="367"/>
                  </a:lnTo>
                  <a:lnTo>
                    <a:pt x="228" y="367"/>
                  </a:lnTo>
                  <a:lnTo>
                    <a:pt x="227" y="367"/>
                  </a:lnTo>
                  <a:lnTo>
                    <a:pt x="225" y="367"/>
                  </a:lnTo>
                  <a:lnTo>
                    <a:pt x="222" y="367"/>
                  </a:lnTo>
                  <a:lnTo>
                    <a:pt x="219" y="367"/>
                  </a:lnTo>
                  <a:lnTo>
                    <a:pt x="217" y="367"/>
                  </a:lnTo>
                  <a:lnTo>
                    <a:pt x="213" y="368"/>
                  </a:lnTo>
                  <a:lnTo>
                    <a:pt x="210" y="369"/>
                  </a:lnTo>
                  <a:lnTo>
                    <a:pt x="206" y="370"/>
                  </a:lnTo>
                  <a:lnTo>
                    <a:pt x="199" y="372"/>
                  </a:lnTo>
                  <a:lnTo>
                    <a:pt x="198" y="372"/>
                  </a:lnTo>
                  <a:lnTo>
                    <a:pt x="196" y="372"/>
                  </a:lnTo>
                  <a:lnTo>
                    <a:pt x="195" y="372"/>
                  </a:lnTo>
                  <a:lnTo>
                    <a:pt x="194" y="373"/>
                  </a:lnTo>
                  <a:lnTo>
                    <a:pt x="193" y="372"/>
                  </a:lnTo>
                  <a:lnTo>
                    <a:pt x="193" y="372"/>
                  </a:lnTo>
                  <a:lnTo>
                    <a:pt x="192" y="372"/>
                  </a:lnTo>
                  <a:lnTo>
                    <a:pt x="191" y="371"/>
                  </a:lnTo>
                  <a:lnTo>
                    <a:pt x="191" y="371"/>
                  </a:lnTo>
                  <a:lnTo>
                    <a:pt x="190" y="371"/>
                  </a:lnTo>
                  <a:lnTo>
                    <a:pt x="190" y="370"/>
                  </a:lnTo>
                  <a:lnTo>
                    <a:pt x="189" y="369"/>
                  </a:lnTo>
                  <a:lnTo>
                    <a:pt x="188" y="366"/>
                  </a:lnTo>
                  <a:lnTo>
                    <a:pt x="187" y="366"/>
                  </a:lnTo>
                  <a:lnTo>
                    <a:pt x="187" y="365"/>
                  </a:lnTo>
                  <a:lnTo>
                    <a:pt x="186" y="364"/>
                  </a:lnTo>
                  <a:lnTo>
                    <a:pt x="185" y="363"/>
                  </a:lnTo>
                  <a:lnTo>
                    <a:pt x="184" y="362"/>
                  </a:lnTo>
                  <a:lnTo>
                    <a:pt x="182" y="361"/>
                  </a:lnTo>
                  <a:lnTo>
                    <a:pt x="181" y="361"/>
                  </a:lnTo>
                  <a:lnTo>
                    <a:pt x="180" y="360"/>
                  </a:lnTo>
                  <a:lnTo>
                    <a:pt x="179" y="360"/>
                  </a:lnTo>
                  <a:lnTo>
                    <a:pt x="177" y="359"/>
                  </a:lnTo>
                  <a:lnTo>
                    <a:pt x="175" y="359"/>
                  </a:lnTo>
                  <a:lnTo>
                    <a:pt x="174" y="359"/>
                  </a:lnTo>
                  <a:lnTo>
                    <a:pt x="172" y="359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0" y="359"/>
                  </a:lnTo>
                  <a:lnTo>
                    <a:pt x="169" y="359"/>
                  </a:lnTo>
                  <a:lnTo>
                    <a:pt x="169" y="359"/>
                  </a:lnTo>
                  <a:lnTo>
                    <a:pt x="167" y="360"/>
                  </a:lnTo>
                  <a:lnTo>
                    <a:pt x="167" y="360"/>
                  </a:lnTo>
                  <a:lnTo>
                    <a:pt x="166" y="359"/>
                  </a:lnTo>
                  <a:lnTo>
                    <a:pt x="166" y="359"/>
                  </a:lnTo>
                  <a:lnTo>
                    <a:pt x="165" y="356"/>
                  </a:lnTo>
                  <a:lnTo>
                    <a:pt x="163" y="353"/>
                  </a:lnTo>
                  <a:lnTo>
                    <a:pt x="163" y="352"/>
                  </a:lnTo>
                  <a:lnTo>
                    <a:pt x="162" y="351"/>
                  </a:lnTo>
                  <a:lnTo>
                    <a:pt x="161" y="350"/>
                  </a:lnTo>
                  <a:lnTo>
                    <a:pt x="160" y="349"/>
                  </a:lnTo>
                  <a:lnTo>
                    <a:pt x="160" y="349"/>
                  </a:lnTo>
                  <a:lnTo>
                    <a:pt x="160" y="349"/>
                  </a:lnTo>
                  <a:lnTo>
                    <a:pt x="159" y="349"/>
                  </a:lnTo>
                  <a:lnTo>
                    <a:pt x="159" y="348"/>
                  </a:lnTo>
                  <a:lnTo>
                    <a:pt x="158" y="348"/>
                  </a:lnTo>
                  <a:lnTo>
                    <a:pt x="158" y="348"/>
                  </a:lnTo>
                  <a:lnTo>
                    <a:pt x="157" y="349"/>
                  </a:lnTo>
                  <a:lnTo>
                    <a:pt x="156" y="349"/>
                  </a:lnTo>
                  <a:lnTo>
                    <a:pt x="155" y="349"/>
                  </a:lnTo>
                  <a:lnTo>
                    <a:pt x="154" y="350"/>
                  </a:lnTo>
                  <a:lnTo>
                    <a:pt x="153" y="351"/>
                  </a:lnTo>
                  <a:lnTo>
                    <a:pt x="151" y="353"/>
                  </a:lnTo>
                  <a:lnTo>
                    <a:pt x="150" y="353"/>
                  </a:lnTo>
                  <a:lnTo>
                    <a:pt x="150" y="353"/>
                  </a:lnTo>
                  <a:lnTo>
                    <a:pt x="150" y="353"/>
                  </a:lnTo>
                  <a:lnTo>
                    <a:pt x="149" y="353"/>
                  </a:lnTo>
                  <a:lnTo>
                    <a:pt x="148" y="353"/>
                  </a:lnTo>
                  <a:lnTo>
                    <a:pt x="148" y="353"/>
                  </a:lnTo>
                  <a:lnTo>
                    <a:pt x="148" y="352"/>
                  </a:lnTo>
                  <a:lnTo>
                    <a:pt x="147" y="352"/>
                  </a:lnTo>
                  <a:lnTo>
                    <a:pt x="147" y="351"/>
                  </a:lnTo>
                  <a:lnTo>
                    <a:pt x="146" y="350"/>
                  </a:lnTo>
                  <a:lnTo>
                    <a:pt x="146" y="349"/>
                  </a:lnTo>
                  <a:lnTo>
                    <a:pt x="146" y="349"/>
                  </a:lnTo>
                  <a:lnTo>
                    <a:pt x="146" y="348"/>
                  </a:lnTo>
                  <a:lnTo>
                    <a:pt x="147" y="347"/>
                  </a:lnTo>
                  <a:lnTo>
                    <a:pt x="147" y="346"/>
                  </a:lnTo>
                  <a:lnTo>
                    <a:pt x="148" y="345"/>
                  </a:lnTo>
                  <a:lnTo>
                    <a:pt x="148" y="344"/>
                  </a:lnTo>
                  <a:lnTo>
                    <a:pt x="148" y="343"/>
                  </a:lnTo>
                  <a:lnTo>
                    <a:pt x="148" y="343"/>
                  </a:lnTo>
                  <a:lnTo>
                    <a:pt x="148" y="342"/>
                  </a:lnTo>
                  <a:lnTo>
                    <a:pt x="148" y="341"/>
                  </a:lnTo>
                  <a:lnTo>
                    <a:pt x="148" y="341"/>
                  </a:lnTo>
                  <a:lnTo>
                    <a:pt x="147" y="340"/>
                  </a:lnTo>
                  <a:lnTo>
                    <a:pt x="146" y="337"/>
                  </a:lnTo>
                  <a:lnTo>
                    <a:pt x="144" y="334"/>
                  </a:lnTo>
                  <a:lnTo>
                    <a:pt x="143" y="332"/>
                  </a:lnTo>
                  <a:lnTo>
                    <a:pt x="141" y="330"/>
                  </a:lnTo>
                  <a:lnTo>
                    <a:pt x="140" y="329"/>
                  </a:lnTo>
                  <a:lnTo>
                    <a:pt x="138" y="327"/>
                  </a:lnTo>
                  <a:lnTo>
                    <a:pt x="135" y="324"/>
                  </a:lnTo>
                  <a:lnTo>
                    <a:pt x="134" y="322"/>
                  </a:lnTo>
                  <a:lnTo>
                    <a:pt x="132" y="322"/>
                  </a:lnTo>
                  <a:lnTo>
                    <a:pt x="125" y="316"/>
                  </a:lnTo>
                  <a:lnTo>
                    <a:pt x="124" y="315"/>
                  </a:lnTo>
                  <a:lnTo>
                    <a:pt x="123" y="315"/>
                  </a:lnTo>
                  <a:lnTo>
                    <a:pt x="123" y="314"/>
                  </a:lnTo>
                  <a:lnTo>
                    <a:pt x="122" y="313"/>
                  </a:lnTo>
                  <a:lnTo>
                    <a:pt x="121" y="311"/>
                  </a:lnTo>
                  <a:lnTo>
                    <a:pt x="120" y="310"/>
                  </a:lnTo>
                  <a:lnTo>
                    <a:pt x="119" y="308"/>
                  </a:lnTo>
                  <a:lnTo>
                    <a:pt x="118" y="307"/>
                  </a:lnTo>
                  <a:lnTo>
                    <a:pt x="118" y="306"/>
                  </a:lnTo>
                  <a:lnTo>
                    <a:pt x="117" y="304"/>
                  </a:lnTo>
                  <a:lnTo>
                    <a:pt x="115" y="303"/>
                  </a:lnTo>
                  <a:lnTo>
                    <a:pt x="114" y="302"/>
                  </a:lnTo>
                  <a:lnTo>
                    <a:pt x="114" y="301"/>
                  </a:lnTo>
                  <a:lnTo>
                    <a:pt x="113" y="300"/>
                  </a:lnTo>
                  <a:lnTo>
                    <a:pt x="112" y="300"/>
                  </a:lnTo>
                  <a:lnTo>
                    <a:pt x="112" y="299"/>
                  </a:lnTo>
                  <a:lnTo>
                    <a:pt x="111" y="299"/>
                  </a:lnTo>
                  <a:lnTo>
                    <a:pt x="111" y="299"/>
                  </a:lnTo>
                  <a:lnTo>
                    <a:pt x="111" y="299"/>
                  </a:lnTo>
                  <a:lnTo>
                    <a:pt x="110" y="299"/>
                  </a:lnTo>
                  <a:lnTo>
                    <a:pt x="110" y="300"/>
                  </a:lnTo>
                  <a:lnTo>
                    <a:pt x="109" y="300"/>
                  </a:lnTo>
                  <a:lnTo>
                    <a:pt x="108" y="301"/>
                  </a:lnTo>
                  <a:lnTo>
                    <a:pt x="107" y="301"/>
                  </a:lnTo>
                  <a:lnTo>
                    <a:pt x="107" y="301"/>
                  </a:lnTo>
                  <a:lnTo>
                    <a:pt x="106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4" y="302"/>
                  </a:lnTo>
                  <a:lnTo>
                    <a:pt x="103" y="301"/>
                  </a:lnTo>
                  <a:lnTo>
                    <a:pt x="102" y="301"/>
                  </a:lnTo>
                  <a:lnTo>
                    <a:pt x="101" y="300"/>
                  </a:lnTo>
                  <a:lnTo>
                    <a:pt x="100" y="299"/>
                  </a:lnTo>
                  <a:lnTo>
                    <a:pt x="99" y="299"/>
                  </a:lnTo>
                  <a:lnTo>
                    <a:pt x="98" y="298"/>
                  </a:lnTo>
                  <a:lnTo>
                    <a:pt x="97" y="297"/>
                  </a:lnTo>
                  <a:lnTo>
                    <a:pt x="97" y="297"/>
                  </a:lnTo>
                  <a:lnTo>
                    <a:pt x="96" y="296"/>
                  </a:lnTo>
                  <a:lnTo>
                    <a:pt x="96" y="295"/>
                  </a:lnTo>
                  <a:lnTo>
                    <a:pt x="95" y="294"/>
                  </a:lnTo>
                  <a:lnTo>
                    <a:pt x="95" y="293"/>
                  </a:lnTo>
                  <a:lnTo>
                    <a:pt x="95" y="291"/>
                  </a:lnTo>
                  <a:lnTo>
                    <a:pt x="94" y="289"/>
                  </a:lnTo>
                  <a:lnTo>
                    <a:pt x="94" y="288"/>
                  </a:lnTo>
                  <a:lnTo>
                    <a:pt x="94" y="286"/>
                  </a:lnTo>
                  <a:lnTo>
                    <a:pt x="94" y="285"/>
                  </a:lnTo>
                  <a:lnTo>
                    <a:pt x="94" y="284"/>
                  </a:lnTo>
                  <a:lnTo>
                    <a:pt x="94" y="283"/>
                  </a:lnTo>
                  <a:lnTo>
                    <a:pt x="94" y="282"/>
                  </a:lnTo>
                  <a:lnTo>
                    <a:pt x="95" y="280"/>
                  </a:lnTo>
                  <a:lnTo>
                    <a:pt x="96" y="276"/>
                  </a:lnTo>
                  <a:lnTo>
                    <a:pt x="96" y="275"/>
                  </a:lnTo>
                  <a:lnTo>
                    <a:pt x="96" y="274"/>
                  </a:lnTo>
                  <a:lnTo>
                    <a:pt x="96" y="273"/>
                  </a:lnTo>
                  <a:lnTo>
                    <a:pt x="96" y="272"/>
                  </a:lnTo>
                  <a:lnTo>
                    <a:pt x="96" y="271"/>
                  </a:lnTo>
                  <a:lnTo>
                    <a:pt x="96" y="269"/>
                  </a:lnTo>
                  <a:lnTo>
                    <a:pt x="96" y="268"/>
                  </a:lnTo>
                  <a:lnTo>
                    <a:pt x="95" y="266"/>
                  </a:lnTo>
                  <a:lnTo>
                    <a:pt x="95" y="265"/>
                  </a:lnTo>
                  <a:lnTo>
                    <a:pt x="94" y="264"/>
                  </a:lnTo>
                  <a:lnTo>
                    <a:pt x="94" y="263"/>
                  </a:lnTo>
                  <a:lnTo>
                    <a:pt x="93" y="262"/>
                  </a:lnTo>
                  <a:lnTo>
                    <a:pt x="93" y="261"/>
                  </a:lnTo>
                  <a:lnTo>
                    <a:pt x="92" y="260"/>
                  </a:lnTo>
                  <a:lnTo>
                    <a:pt x="92" y="260"/>
                  </a:lnTo>
                  <a:lnTo>
                    <a:pt x="91" y="259"/>
                  </a:lnTo>
                  <a:lnTo>
                    <a:pt x="91" y="259"/>
                  </a:lnTo>
                  <a:lnTo>
                    <a:pt x="90" y="259"/>
                  </a:lnTo>
                  <a:lnTo>
                    <a:pt x="90" y="259"/>
                  </a:lnTo>
                  <a:lnTo>
                    <a:pt x="89" y="259"/>
                  </a:lnTo>
                  <a:lnTo>
                    <a:pt x="88" y="259"/>
                  </a:lnTo>
                  <a:lnTo>
                    <a:pt x="88" y="259"/>
                  </a:lnTo>
                  <a:lnTo>
                    <a:pt x="85" y="260"/>
                  </a:lnTo>
                  <a:lnTo>
                    <a:pt x="84" y="260"/>
                  </a:lnTo>
                  <a:lnTo>
                    <a:pt x="79" y="262"/>
                  </a:lnTo>
                  <a:lnTo>
                    <a:pt x="78" y="262"/>
                  </a:lnTo>
                  <a:lnTo>
                    <a:pt x="76" y="263"/>
                  </a:lnTo>
                  <a:lnTo>
                    <a:pt x="74" y="264"/>
                  </a:lnTo>
                  <a:lnTo>
                    <a:pt x="72" y="265"/>
                  </a:lnTo>
                  <a:lnTo>
                    <a:pt x="71" y="265"/>
                  </a:lnTo>
                  <a:lnTo>
                    <a:pt x="70" y="265"/>
                  </a:lnTo>
                  <a:lnTo>
                    <a:pt x="70" y="265"/>
                  </a:lnTo>
                  <a:lnTo>
                    <a:pt x="69" y="265"/>
                  </a:lnTo>
                  <a:lnTo>
                    <a:pt x="68" y="265"/>
                  </a:lnTo>
                  <a:lnTo>
                    <a:pt x="65" y="264"/>
                  </a:lnTo>
                  <a:lnTo>
                    <a:pt x="64" y="264"/>
                  </a:lnTo>
                  <a:lnTo>
                    <a:pt x="63" y="264"/>
                  </a:lnTo>
                  <a:lnTo>
                    <a:pt x="61" y="263"/>
                  </a:lnTo>
                  <a:lnTo>
                    <a:pt x="57" y="261"/>
                  </a:lnTo>
                  <a:lnTo>
                    <a:pt x="56" y="261"/>
                  </a:lnTo>
                  <a:lnTo>
                    <a:pt x="55" y="260"/>
                  </a:lnTo>
                  <a:lnTo>
                    <a:pt x="54" y="259"/>
                  </a:lnTo>
                  <a:lnTo>
                    <a:pt x="53" y="258"/>
                  </a:lnTo>
                  <a:lnTo>
                    <a:pt x="52" y="257"/>
                  </a:lnTo>
                  <a:lnTo>
                    <a:pt x="51" y="257"/>
                  </a:lnTo>
                  <a:lnTo>
                    <a:pt x="50" y="256"/>
                  </a:lnTo>
                  <a:lnTo>
                    <a:pt x="48" y="255"/>
                  </a:lnTo>
                  <a:lnTo>
                    <a:pt x="47" y="255"/>
                  </a:lnTo>
                  <a:lnTo>
                    <a:pt x="46" y="254"/>
                  </a:lnTo>
                  <a:lnTo>
                    <a:pt x="46" y="254"/>
                  </a:lnTo>
                  <a:lnTo>
                    <a:pt x="45" y="253"/>
                  </a:lnTo>
                  <a:lnTo>
                    <a:pt x="44" y="252"/>
                  </a:lnTo>
                  <a:lnTo>
                    <a:pt x="44" y="251"/>
                  </a:lnTo>
                  <a:lnTo>
                    <a:pt x="43" y="249"/>
                  </a:lnTo>
                  <a:lnTo>
                    <a:pt x="42" y="248"/>
                  </a:lnTo>
                  <a:lnTo>
                    <a:pt x="41" y="247"/>
                  </a:lnTo>
                  <a:lnTo>
                    <a:pt x="38" y="244"/>
                  </a:lnTo>
                  <a:lnTo>
                    <a:pt x="38" y="244"/>
                  </a:lnTo>
                  <a:lnTo>
                    <a:pt x="38" y="243"/>
                  </a:lnTo>
                  <a:lnTo>
                    <a:pt x="37" y="242"/>
                  </a:lnTo>
                  <a:lnTo>
                    <a:pt x="37" y="241"/>
                  </a:lnTo>
                  <a:lnTo>
                    <a:pt x="37" y="240"/>
                  </a:lnTo>
                  <a:lnTo>
                    <a:pt x="37" y="238"/>
                  </a:lnTo>
                  <a:lnTo>
                    <a:pt x="37" y="238"/>
                  </a:lnTo>
                  <a:lnTo>
                    <a:pt x="36" y="237"/>
                  </a:lnTo>
                  <a:lnTo>
                    <a:pt x="36" y="236"/>
                  </a:lnTo>
                  <a:lnTo>
                    <a:pt x="36" y="236"/>
                  </a:lnTo>
                  <a:lnTo>
                    <a:pt x="35" y="235"/>
                  </a:lnTo>
                  <a:lnTo>
                    <a:pt x="35" y="234"/>
                  </a:lnTo>
                  <a:lnTo>
                    <a:pt x="33" y="232"/>
                  </a:lnTo>
                  <a:lnTo>
                    <a:pt x="33" y="231"/>
                  </a:lnTo>
                  <a:lnTo>
                    <a:pt x="32" y="229"/>
                  </a:lnTo>
                  <a:lnTo>
                    <a:pt x="32" y="228"/>
                  </a:lnTo>
                  <a:lnTo>
                    <a:pt x="32" y="226"/>
                  </a:lnTo>
                  <a:lnTo>
                    <a:pt x="32" y="226"/>
                  </a:lnTo>
                  <a:lnTo>
                    <a:pt x="32" y="224"/>
                  </a:lnTo>
                  <a:lnTo>
                    <a:pt x="32" y="222"/>
                  </a:lnTo>
                  <a:lnTo>
                    <a:pt x="31" y="221"/>
                  </a:lnTo>
                  <a:lnTo>
                    <a:pt x="31" y="220"/>
                  </a:lnTo>
                  <a:lnTo>
                    <a:pt x="30" y="218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6" y="211"/>
                  </a:lnTo>
                  <a:lnTo>
                    <a:pt x="26" y="211"/>
                  </a:lnTo>
                  <a:lnTo>
                    <a:pt x="25" y="211"/>
                  </a:lnTo>
                  <a:lnTo>
                    <a:pt x="24" y="211"/>
                  </a:lnTo>
                  <a:lnTo>
                    <a:pt x="23" y="211"/>
                  </a:lnTo>
                  <a:lnTo>
                    <a:pt x="23" y="211"/>
                  </a:lnTo>
                  <a:lnTo>
                    <a:pt x="22" y="211"/>
                  </a:lnTo>
                  <a:lnTo>
                    <a:pt x="22" y="212"/>
                  </a:lnTo>
                  <a:lnTo>
                    <a:pt x="21" y="213"/>
                  </a:lnTo>
                  <a:lnTo>
                    <a:pt x="21" y="213"/>
                  </a:lnTo>
                  <a:lnTo>
                    <a:pt x="21" y="214"/>
                  </a:lnTo>
                  <a:lnTo>
                    <a:pt x="22" y="215"/>
                  </a:lnTo>
                  <a:lnTo>
                    <a:pt x="23" y="222"/>
                  </a:lnTo>
                  <a:lnTo>
                    <a:pt x="24" y="223"/>
                  </a:lnTo>
                  <a:lnTo>
                    <a:pt x="24" y="224"/>
                  </a:lnTo>
                  <a:lnTo>
                    <a:pt x="24" y="225"/>
                  </a:lnTo>
                  <a:lnTo>
                    <a:pt x="24" y="226"/>
                  </a:lnTo>
                  <a:lnTo>
                    <a:pt x="23" y="226"/>
                  </a:lnTo>
                  <a:lnTo>
                    <a:pt x="23" y="227"/>
                  </a:lnTo>
                  <a:lnTo>
                    <a:pt x="23" y="227"/>
                  </a:lnTo>
                  <a:lnTo>
                    <a:pt x="22" y="228"/>
                  </a:lnTo>
                  <a:lnTo>
                    <a:pt x="21" y="229"/>
                  </a:lnTo>
                  <a:lnTo>
                    <a:pt x="21" y="230"/>
                  </a:lnTo>
                  <a:lnTo>
                    <a:pt x="20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8" y="230"/>
                  </a:lnTo>
                  <a:lnTo>
                    <a:pt x="17" y="230"/>
                  </a:lnTo>
                  <a:lnTo>
                    <a:pt x="17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5" y="230"/>
                  </a:lnTo>
                  <a:lnTo>
                    <a:pt x="14" y="231"/>
                  </a:lnTo>
                  <a:lnTo>
                    <a:pt x="14" y="231"/>
                  </a:lnTo>
                  <a:lnTo>
                    <a:pt x="12" y="232"/>
                  </a:lnTo>
                  <a:lnTo>
                    <a:pt x="12" y="232"/>
                  </a:lnTo>
                  <a:lnTo>
                    <a:pt x="11" y="233"/>
                  </a:lnTo>
                  <a:lnTo>
                    <a:pt x="11" y="233"/>
                  </a:lnTo>
                  <a:lnTo>
                    <a:pt x="10" y="234"/>
                  </a:lnTo>
                  <a:lnTo>
                    <a:pt x="10" y="235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7"/>
                  </a:lnTo>
                  <a:lnTo>
                    <a:pt x="8" y="238"/>
                  </a:lnTo>
                  <a:lnTo>
                    <a:pt x="6" y="240"/>
                  </a:lnTo>
                  <a:lnTo>
                    <a:pt x="6" y="240"/>
                  </a:lnTo>
                  <a:lnTo>
                    <a:pt x="5" y="241"/>
                  </a:lnTo>
                  <a:lnTo>
                    <a:pt x="4" y="243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2" y="244"/>
                  </a:lnTo>
                  <a:lnTo>
                    <a:pt x="2" y="244"/>
                  </a:lnTo>
                  <a:lnTo>
                    <a:pt x="1" y="244"/>
                  </a:lnTo>
                  <a:lnTo>
                    <a:pt x="1" y="244"/>
                  </a:lnTo>
                  <a:lnTo>
                    <a:pt x="0" y="244"/>
                  </a:lnTo>
                  <a:lnTo>
                    <a:pt x="0" y="244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Freeform 75">
              <a:extLst>
                <a:ext uri="{FF2B5EF4-FFF2-40B4-BE49-F238E27FC236}">
                  <a16:creationId xmlns:a16="http://schemas.microsoft.com/office/drawing/2014/main" id="{76245EC0-7445-3A62-8ECC-7AE9571CB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192"/>
              <a:ext cx="156" cy="244"/>
            </a:xfrm>
            <a:custGeom>
              <a:avLst/>
              <a:gdLst>
                <a:gd name="T0" fmla="*/ 65 w 156"/>
                <a:gd name="T1" fmla="*/ 239 h 244"/>
                <a:gd name="T2" fmla="*/ 64 w 156"/>
                <a:gd name="T3" fmla="*/ 235 h 244"/>
                <a:gd name="T4" fmla="*/ 66 w 156"/>
                <a:gd name="T5" fmla="*/ 223 h 244"/>
                <a:gd name="T6" fmla="*/ 65 w 156"/>
                <a:gd name="T7" fmla="*/ 220 h 244"/>
                <a:gd name="T8" fmla="*/ 61 w 156"/>
                <a:gd name="T9" fmla="*/ 217 h 244"/>
                <a:gd name="T10" fmla="*/ 56 w 156"/>
                <a:gd name="T11" fmla="*/ 217 h 244"/>
                <a:gd name="T12" fmla="*/ 50 w 156"/>
                <a:gd name="T13" fmla="*/ 220 h 244"/>
                <a:gd name="T14" fmla="*/ 44 w 156"/>
                <a:gd name="T15" fmla="*/ 223 h 244"/>
                <a:gd name="T16" fmla="*/ 35 w 156"/>
                <a:gd name="T17" fmla="*/ 231 h 244"/>
                <a:gd name="T18" fmla="*/ 32 w 156"/>
                <a:gd name="T19" fmla="*/ 234 h 244"/>
                <a:gd name="T20" fmla="*/ 22 w 156"/>
                <a:gd name="T21" fmla="*/ 235 h 244"/>
                <a:gd name="T22" fmla="*/ 20 w 156"/>
                <a:gd name="T23" fmla="*/ 234 h 244"/>
                <a:gd name="T24" fmla="*/ 19 w 156"/>
                <a:gd name="T25" fmla="*/ 230 h 244"/>
                <a:gd name="T26" fmla="*/ 20 w 156"/>
                <a:gd name="T27" fmla="*/ 222 h 244"/>
                <a:gd name="T28" fmla="*/ 19 w 156"/>
                <a:gd name="T29" fmla="*/ 221 h 244"/>
                <a:gd name="T30" fmla="*/ 13 w 156"/>
                <a:gd name="T31" fmla="*/ 222 h 244"/>
                <a:gd name="T32" fmla="*/ 9 w 156"/>
                <a:gd name="T33" fmla="*/ 222 h 244"/>
                <a:gd name="T34" fmla="*/ 5 w 156"/>
                <a:gd name="T35" fmla="*/ 217 h 244"/>
                <a:gd name="T36" fmla="*/ 0 w 156"/>
                <a:gd name="T37" fmla="*/ 211 h 244"/>
                <a:gd name="T38" fmla="*/ 0 w 156"/>
                <a:gd name="T39" fmla="*/ 208 h 244"/>
                <a:gd name="T40" fmla="*/ 2 w 156"/>
                <a:gd name="T41" fmla="*/ 201 h 244"/>
                <a:gd name="T42" fmla="*/ 4 w 156"/>
                <a:gd name="T43" fmla="*/ 195 h 244"/>
                <a:gd name="T44" fmla="*/ 4 w 156"/>
                <a:gd name="T45" fmla="*/ 190 h 244"/>
                <a:gd name="T46" fmla="*/ 10 w 156"/>
                <a:gd name="T47" fmla="*/ 182 h 244"/>
                <a:gd name="T48" fmla="*/ 12 w 156"/>
                <a:gd name="T49" fmla="*/ 177 h 244"/>
                <a:gd name="T50" fmla="*/ 11 w 156"/>
                <a:gd name="T51" fmla="*/ 174 h 244"/>
                <a:gd name="T52" fmla="*/ 9 w 156"/>
                <a:gd name="T53" fmla="*/ 170 h 244"/>
                <a:gd name="T54" fmla="*/ 3 w 156"/>
                <a:gd name="T55" fmla="*/ 162 h 244"/>
                <a:gd name="T56" fmla="*/ 2 w 156"/>
                <a:gd name="T57" fmla="*/ 160 h 244"/>
                <a:gd name="T58" fmla="*/ 4 w 156"/>
                <a:gd name="T59" fmla="*/ 149 h 244"/>
                <a:gd name="T60" fmla="*/ 8 w 156"/>
                <a:gd name="T61" fmla="*/ 142 h 244"/>
                <a:gd name="T62" fmla="*/ 17 w 156"/>
                <a:gd name="T63" fmla="*/ 130 h 244"/>
                <a:gd name="T64" fmla="*/ 19 w 156"/>
                <a:gd name="T65" fmla="*/ 124 h 244"/>
                <a:gd name="T66" fmla="*/ 20 w 156"/>
                <a:gd name="T67" fmla="*/ 114 h 244"/>
                <a:gd name="T68" fmla="*/ 20 w 156"/>
                <a:gd name="T69" fmla="*/ 104 h 244"/>
                <a:gd name="T70" fmla="*/ 23 w 156"/>
                <a:gd name="T71" fmla="*/ 96 h 244"/>
                <a:gd name="T72" fmla="*/ 24 w 156"/>
                <a:gd name="T73" fmla="*/ 88 h 244"/>
                <a:gd name="T74" fmla="*/ 34 w 156"/>
                <a:gd name="T75" fmla="*/ 76 h 244"/>
                <a:gd name="T76" fmla="*/ 40 w 156"/>
                <a:gd name="T77" fmla="*/ 71 h 244"/>
                <a:gd name="T78" fmla="*/ 46 w 156"/>
                <a:gd name="T79" fmla="*/ 66 h 244"/>
                <a:gd name="T80" fmla="*/ 52 w 156"/>
                <a:gd name="T81" fmla="*/ 63 h 244"/>
                <a:gd name="T82" fmla="*/ 60 w 156"/>
                <a:gd name="T83" fmla="*/ 54 h 244"/>
                <a:gd name="T84" fmla="*/ 64 w 156"/>
                <a:gd name="T85" fmla="*/ 52 h 244"/>
                <a:gd name="T86" fmla="*/ 70 w 156"/>
                <a:gd name="T87" fmla="*/ 53 h 244"/>
                <a:gd name="T88" fmla="*/ 74 w 156"/>
                <a:gd name="T89" fmla="*/ 52 h 244"/>
                <a:gd name="T90" fmla="*/ 76 w 156"/>
                <a:gd name="T91" fmla="*/ 48 h 244"/>
                <a:gd name="T92" fmla="*/ 77 w 156"/>
                <a:gd name="T93" fmla="*/ 34 h 244"/>
                <a:gd name="T94" fmla="*/ 79 w 156"/>
                <a:gd name="T95" fmla="*/ 33 h 244"/>
                <a:gd name="T96" fmla="*/ 86 w 156"/>
                <a:gd name="T97" fmla="*/ 28 h 244"/>
                <a:gd name="T98" fmla="*/ 96 w 156"/>
                <a:gd name="T99" fmla="*/ 24 h 244"/>
                <a:gd name="T100" fmla="*/ 104 w 156"/>
                <a:gd name="T101" fmla="*/ 24 h 244"/>
                <a:gd name="T102" fmla="*/ 116 w 156"/>
                <a:gd name="T103" fmla="*/ 24 h 244"/>
                <a:gd name="T104" fmla="*/ 124 w 156"/>
                <a:gd name="T105" fmla="*/ 22 h 244"/>
                <a:gd name="T106" fmla="*/ 129 w 156"/>
                <a:gd name="T107" fmla="*/ 24 h 244"/>
                <a:gd name="T108" fmla="*/ 136 w 156"/>
                <a:gd name="T109" fmla="*/ 23 h 244"/>
                <a:gd name="T110" fmla="*/ 144 w 156"/>
                <a:gd name="T111" fmla="*/ 18 h 244"/>
                <a:gd name="T112" fmla="*/ 150 w 156"/>
                <a:gd name="T113" fmla="*/ 11 h 244"/>
                <a:gd name="T114" fmla="*/ 153 w 156"/>
                <a:gd name="T115" fmla="*/ 2 h 244"/>
                <a:gd name="T116" fmla="*/ 155 w 156"/>
                <a:gd name="T117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6" h="244">
                  <a:moveTo>
                    <a:pt x="68" y="244"/>
                  </a:moveTo>
                  <a:lnTo>
                    <a:pt x="67" y="243"/>
                  </a:lnTo>
                  <a:lnTo>
                    <a:pt x="66" y="242"/>
                  </a:lnTo>
                  <a:lnTo>
                    <a:pt x="65" y="241"/>
                  </a:lnTo>
                  <a:lnTo>
                    <a:pt x="65" y="239"/>
                  </a:lnTo>
                  <a:lnTo>
                    <a:pt x="64" y="238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2"/>
                  </a:lnTo>
                  <a:lnTo>
                    <a:pt x="65" y="228"/>
                  </a:lnTo>
                  <a:lnTo>
                    <a:pt x="66" y="226"/>
                  </a:lnTo>
                  <a:lnTo>
                    <a:pt x="66" y="224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2"/>
                  </a:lnTo>
                  <a:lnTo>
                    <a:pt x="66" y="221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8" y="217"/>
                  </a:lnTo>
                  <a:lnTo>
                    <a:pt x="56" y="217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3" y="218"/>
                  </a:lnTo>
                  <a:lnTo>
                    <a:pt x="51" y="219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8" y="220"/>
                  </a:lnTo>
                  <a:lnTo>
                    <a:pt x="47" y="221"/>
                  </a:lnTo>
                  <a:lnTo>
                    <a:pt x="45" y="222"/>
                  </a:lnTo>
                  <a:lnTo>
                    <a:pt x="44" y="223"/>
                  </a:lnTo>
                  <a:lnTo>
                    <a:pt x="41" y="226"/>
                  </a:lnTo>
                  <a:lnTo>
                    <a:pt x="38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5" y="231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3" y="234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1" y="235"/>
                  </a:lnTo>
                  <a:lnTo>
                    <a:pt x="30" y="235"/>
                  </a:lnTo>
                  <a:lnTo>
                    <a:pt x="27" y="235"/>
                  </a:lnTo>
                  <a:lnTo>
                    <a:pt x="23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1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19" y="232"/>
                  </a:lnTo>
                  <a:lnTo>
                    <a:pt x="19" y="231"/>
                  </a:lnTo>
                  <a:lnTo>
                    <a:pt x="19" y="230"/>
                  </a:lnTo>
                  <a:lnTo>
                    <a:pt x="19" y="229"/>
                  </a:lnTo>
                  <a:lnTo>
                    <a:pt x="20" y="226"/>
                  </a:lnTo>
                  <a:lnTo>
                    <a:pt x="20" y="224"/>
                  </a:lnTo>
                  <a:lnTo>
                    <a:pt x="20" y="223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0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6" y="222"/>
                  </a:lnTo>
                  <a:lnTo>
                    <a:pt x="15" y="222"/>
                  </a:lnTo>
                  <a:lnTo>
                    <a:pt x="13" y="222"/>
                  </a:lnTo>
                  <a:lnTo>
                    <a:pt x="12" y="223"/>
                  </a:lnTo>
                  <a:lnTo>
                    <a:pt x="11" y="223"/>
                  </a:lnTo>
                  <a:lnTo>
                    <a:pt x="10" y="223"/>
                  </a:lnTo>
                  <a:lnTo>
                    <a:pt x="10" y="222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8" y="221"/>
                  </a:lnTo>
                  <a:lnTo>
                    <a:pt x="7" y="220"/>
                  </a:lnTo>
                  <a:lnTo>
                    <a:pt x="6" y="220"/>
                  </a:lnTo>
                  <a:lnTo>
                    <a:pt x="5" y="217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0" y="206"/>
                  </a:lnTo>
                  <a:lnTo>
                    <a:pt x="0" y="205"/>
                  </a:lnTo>
                  <a:lnTo>
                    <a:pt x="1" y="204"/>
                  </a:lnTo>
                  <a:lnTo>
                    <a:pt x="2" y="201"/>
                  </a:lnTo>
                  <a:lnTo>
                    <a:pt x="3" y="199"/>
                  </a:lnTo>
                  <a:lnTo>
                    <a:pt x="3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4" y="193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6" y="188"/>
                  </a:lnTo>
                  <a:lnTo>
                    <a:pt x="7" y="186"/>
                  </a:lnTo>
                  <a:lnTo>
                    <a:pt x="9" y="183"/>
                  </a:lnTo>
                  <a:lnTo>
                    <a:pt x="10" y="182"/>
                  </a:lnTo>
                  <a:lnTo>
                    <a:pt x="10" y="181"/>
                  </a:lnTo>
                  <a:lnTo>
                    <a:pt x="11" y="180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7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5"/>
                  </a:lnTo>
                  <a:lnTo>
                    <a:pt x="12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0" y="172"/>
                  </a:lnTo>
                  <a:lnTo>
                    <a:pt x="10" y="171"/>
                  </a:lnTo>
                  <a:lnTo>
                    <a:pt x="9" y="170"/>
                  </a:lnTo>
                  <a:lnTo>
                    <a:pt x="5" y="166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3" y="156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7"/>
                  </a:lnTo>
                  <a:lnTo>
                    <a:pt x="6" y="145"/>
                  </a:lnTo>
                  <a:lnTo>
                    <a:pt x="7" y="143"/>
                  </a:lnTo>
                  <a:lnTo>
                    <a:pt x="8" y="142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18" y="129"/>
                  </a:lnTo>
                  <a:lnTo>
                    <a:pt x="18" y="128"/>
                  </a:lnTo>
                  <a:lnTo>
                    <a:pt x="19" y="127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20" y="123"/>
                  </a:lnTo>
                  <a:lnTo>
                    <a:pt x="20" y="122"/>
                  </a:lnTo>
                  <a:lnTo>
                    <a:pt x="20" y="120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9" y="106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3"/>
                  </a:lnTo>
                  <a:lnTo>
                    <a:pt x="22" y="99"/>
                  </a:lnTo>
                  <a:lnTo>
                    <a:pt x="23" y="98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7" y="84"/>
                  </a:lnTo>
                  <a:lnTo>
                    <a:pt x="32" y="78"/>
                  </a:lnTo>
                  <a:lnTo>
                    <a:pt x="34" y="76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8" y="72"/>
                  </a:lnTo>
                  <a:lnTo>
                    <a:pt x="39" y="71"/>
                  </a:lnTo>
                  <a:lnTo>
                    <a:pt x="40" y="71"/>
                  </a:lnTo>
                  <a:lnTo>
                    <a:pt x="42" y="68"/>
                  </a:lnTo>
                  <a:lnTo>
                    <a:pt x="43" y="68"/>
                  </a:lnTo>
                  <a:lnTo>
                    <a:pt x="44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8" y="57"/>
                  </a:lnTo>
                  <a:lnTo>
                    <a:pt x="59" y="55"/>
                  </a:lnTo>
                  <a:lnTo>
                    <a:pt x="60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49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5"/>
                  </a:lnTo>
                  <a:lnTo>
                    <a:pt x="77" y="42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8" y="27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7" y="23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8" y="24"/>
                  </a:lnTo>
                  <a:lnTo>
                    <a:pt x="129" y="24"/>
                  </a:lnTo>
                  <a:lnTo>
                    <a:pt x="131" y="24"/>
                  </a:lnTo>
                  <a:lnTo>
                    <a:pt x="132" y="24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6" y="23"/>
                  </a:lnTo>
                  <a:lnTo>
                    <a:pt x="137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2" y="19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9" y="12"/>
                  </a:lnTo>
                  <a:lnTo>
                    <a:pt x="150" y="11"/>
                  </a:lnTo>
                  <a:lnTo>
                    <a:pt x="151" y="10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7"/>
                  </a:lnTo>
                  <a:lnTo>
                    <a:pt x="153" y="2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6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Rectangle 76">
              <a:extLst>
                <a:ext uri="{FF2B5EF4-FFF2-40B4-BE49-F238E27FC236}">
                  <a16:creationId xmlns:a16="http://schemas.microsoft.com/office/drawing/2014/main" id="{D5567E8A-799B-7A08-6CCF-A2AC2C57DF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0" y="3398"/>
              <a:ext cx="121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C</a:t>
              </a:r>
            </a:p>
          </p:txBody>
        </p:sp>
        <p:sp>
          <p:nvSpPr>
            <p:cNvPr id="217" name="Rectangle 77">
              <a:extLst>
                <a:ext uri="{FF2B5EF4-FFF2-40B4-BE49-F238E27FC236}">
                  <a16:creationId xmlns:a16="http://schemas.microsoft.com/office/drawing/2014/main" id="{2213AFC1-6F01-3761-6ACD-2267F49DCB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7" y="3742"/>
              <a:ext cx="119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HC</a:t>
              </a:r>
            </a:p>
          </p:txBody>
        </p:sp>
        <p:sp>
          <p:nvSpPr>
            <p:cNvPr id="218" name="Rectangle 78">
              <a:extLst>
                <a:ext uri="{FF2B5EF4-FFF2-40B4-BE49-F238E27FC236}">
                  <a16:creationId xmlns:a16="http://schemas.microsoft.com/office/drawing/2014/main" id="{8EDDCE95-8806-9543-3452-49E17AD102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8" y="3503"/>
              <a:ext cx="122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LK</a:t>
              </a:r>
            </a:p>
          </p:txBody>
        </p:sp>
        <p:sp>
          <p:nvSpPr>
            <p:cNvPr id="219" name="Rectangle 79">
              <a:extLst>
                <a:ext uri="{FF2B5EF4-FFF2-40B4-BE49-F238E27FC236}">
                  <a16:creationId xmlns:a16="http://schemas.microsoft.com/office/drawing/2014/main" id="{190C9B19-2F82-CE0F-27BE-7C65F4ADC1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77" y="3735"/>
              <a:ext cx="141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MK</a:t>
              </a:r>
            </a:p>
          </p:txBody>
        </p:sp>
        <p:sp>
          <p:nvSpPr>
            <p:cNvPr id="220" name="Rectangle 80">
              <a:extLst>
                <a:ext uri="{FF2B5EF4-FFF2-40B4-BE49-F238E27FC236}">
                  <a16:creationId xmlns:a16="http://schemas.microsoft.com/office/drawing/2014/main" id="{B08BDB2B-76B3-9B8D-BDC2-3DE809E860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2" y="3571"/>
              <a:ext cx="128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YS</a:t>
              </a:r>
            </a:p>
          </p:txBody>
        </p:sp>
        <p:sp>
          <p:nvSpPr>
            <p:cNvPr id="221" name="Rectangle 81">
              <a:extLst>
                <a:ext uri="{FF2B5EF4-FFF2-40B4-BE49-F238E27FC236}">
                  <a16:creationId xmlns:a16="http://schemas.microsoft.com/office/drawing/2014/main" id="{240C0D35-B7C7-6865-75BE-89E310D39A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2" y="3675"/>
              <a:ext cx="117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ZLK</a:t>
              </a:r>
            </a:p>
          </p:txBody>
        </p:sp>
        <p:sp>
          <p:nvSpPr>
            <p:cNvPr id="222" name="Rectangle 82">
              <a:extLst>
                <a:ext uri="{FF2B5EF4-FFF2-40B4-BE49-F238E27FC236}">
                  <a16:creationId xmlns:a16="http://schemas.microsoft.com/office/drawing/2014/main" id="{8DCB7E69-8FF6-DCA8-CFFD-E14B9ABD33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7" y="3080"/>
              <a:ext cx="131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LK</a:t>
              </a:r>
            </a:p>
          </p:txBody>
        </p:sp>
        <p:sp>
          <p:nvSpPr>
            <p:cNvPr id="223" name="Rectangle 83">
              <a:extLst>
                <a:ext uri="{FF2B5EF4-FFF2-40B4-BE49-F238E27FC236}">
                  <a16:creationId xmlns:a16="http://schemas.microsoft.com/office/drawing/2014/main" id="{B44082BE-5CF2-B510-F7E5-822332E419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9" y="3411"/>
              <a:ext cx="153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SK</a:t>
              </a:r>
            </a:p>
          </p:txBody>
        </p:sp>
        <p:sp>
          <p:nvSpPr>
            <p:cNvPr id="224" name="Rectangle 84">
              <a:extLst>
                <a:ext uri="{FF2B5EF4-FFF2-40B4-BE49-F238E27FC236}">
                  <a16:creationId xmlns:a16="http://schemas.microsoft.com/office/drawing/2014/main" id="{8C76C3A0-2531-0D1F-8CB8-92B093BB3E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" y="3490"/>
              <a:ext cx="133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LK</a:t>
              </a:r>
            </a:p>
          </p:txBody>
        </p:sp>
        <p:sp>
          <p:nvSpPr>
            <p:cNvPr id="225" name="Rectangle 85">
              <a:extLst>
                <a:ext uri="{FF2B5EF4-FFF2-40B4-BE49-F238E27FC236}">
                  <a16:creationId xmlns:a16="http://schemas.microsoft.com/office/drawing/2014/main" id="{FCECFB08-190B-38B6-8DF1-7CC4D83E73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6" y="3363"/>
              <a:ext cx="136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K</a:t>
              </a:r>
            </a:p>
          </p:txBody>
        </p:sp>
        <p:sp>
          <p:nvSpPr>
            <p:cNvPr id="226" name="Rectangle 86">
              <a:extLst>
                <a:ext uri="{FF2B5EF4-FFF2-40B4-BE49-F238E27FC236}">
                  <a16:creationId xmlns:a16="http://schemas.microsoft.com/office/drawing/2014/main" id="{23C26539-3196-475A-F09C-DAC530BB7E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3" y="3152"/>
              <a:ext cx="139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KK</a:t>
              </a:r>
            </a:p>
          </p:txBody>
        </p:sp>
        <p:sp>
          <p:nvSpPr>
            <p:cNvPr id="227" name="Rectangle 87">
              <a:extLst>
                <a:ext uri="{FF2B5EF4-FFF2-40B4-BE49-F238E27FC236}">
                  <a16:creationId xmlns:a16="http://schemas.microsoft.com/office/drawing/2014/main" id="{A827F561-17B7-036A-7743-CB9BFAA744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1" y="2974"/>
              <a:ext cx="124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BK</a:t>
              </a:r>
            </a:p>
          </p:txBody>
        </p:sp>
        <p:sp>
          <p:nvSpPr>
            <p:cNvPr id="228" name="Rectangle 88">
              <a:extLst>
                <a:ext uri="{FF2B5EF4-FFF2-40B4-BE49-F238E27FC236}">
                  <a16:creationId xmlns:a16="http://schemas.microsoft.com/office/drawing/2014/main" id="{16A99CA5-BC42-16D2-D43F-58D57CE726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" y="3216"/>
              <a:ext cx="136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VK</a:t>
              </a:r>
            </a:p>
          </p:txBody>
        </p:sp>
      </p:grpSp>
      <p:grpSp>
        <p:nvGrpSpPr>
          <p:cNvPr id="40" name="Skupina 39">
            <a:extLst>
              <a:ext uri="{FF2B5EF4-FFF2-40B4-BE49-F238E27FC236}">
                <a16:creationId xmlns:a16="http://schemas.microsoft.com/office/drawing/2014/main" id="{51244C10-F8CE-1004-6D13-E8372E03236F}"/>
              </a:ext>
            </a:extLst>
          </p:cNvPr>
          <p:cNvGrpSpPr/>
          <p:nvPr/>
        </p:nvGrpSpPr>
        <p:grpSpPr>
          <a:xfrm>
            <a:off x="10951469" y="4605461"/>
            <a:ext cx="920040" cy="839147"/>
            <a:chOff x="5368539" y="5686843"/>
            <a:chExt cx="920040" cy="839147"/>
          </a:xfrm>
        </p:grpSpPr>
        <p:sp>
          <p:nvSpPr>
            <p:cNvPr id="59" name="Text Box 58">
              <a:extLst>
                <a:ext uri="{FF2B5EF4-FFF2-40B4-BE49-F238E27FC236}">
                  <a16:creationId xmlns:a16="http://schemas.microsoft.com/office/drawing/2014/main" id="{33DA7B70-97BF-7BB7-DE6C-B2CCBF61570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42967" y="5694325"/>
              <a:ext cx="745612" cy="83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&gt; 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3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  <a:endParaRPr kumimoji="0" lang="en-US" alt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1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–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3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9,1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–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1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  <a:endParaRPr kumimoji="0" lang="en-US" alt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≤ 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9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 </a:t>
              </a:r>
            </a:p>
          </p:txBody>
        </p:sp>
        <p:sp>
          <p:nvSpPr>
            <p:cNvPr id="60" name="Rectangle 56">
              <a:extLst>
                <a:ext uri="{FF2B5EF4-FFF2-40B4-BE49-F238E27FC236}">
                  <a16:creationId xmlns:a16="http://schemas.microsoft.com/office/drawing/2014/main" id="{FC502D0F-09CF-42B1-964D-18E2A1ACBE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6183266"/>
              <a:ext cx="144000" cy="144000"/>
            </a:xfrm>
            <a:prstGeom prst="rect">
              <a:avLst/>
            </a:prstGeom>
            <a:solidFill>
              <a:srgbClr val="D1D1D1"/>
            </a:solidFill>
            <a:ln w="1651">
              <a:noFill/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1" name="Rectangle 56">
              <a:extLst>
                <a:ext uri="{FF2B5EF4-FFF2-40B4-BE49-F238E27FC236}">
                  <a16:creationId xmlns:a16="http://schemas.microsoft.com/office/drawing/2014/main" id="{8CC6512D-916E-D74C-EB79-459B046743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6017791"/>
              <a:ext cx="144000" cy="144000"/>
            </a:xfrm>
            <a:prstGeom prst="rect">
              <a:avLst/>
            </a:prstGeom>
            <a:solidFill>
              <a:srgbClr val="A8A8A8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2" name="Rectangle 56">
              <a:extLst>
                <a:ext uri="{FF2B5EF4-FFF2-40B4-BE49-F238E27FC236}">
                  <a16:creationId xmlns:a16="http://schemas.microsoft.com/office/drawing/2014/main" id="{573D031F-9FB1-EA99-54CA-C829B91C32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5852317"/>
              <a:ext cx="144000" cy="144000"/>
            </a:xfrm>
            <a:prstGeom prst="rect">
              <a:avLst/>
            </a:prstGeom>
            <a:solidFill>
              <a:srgbClr val="828282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28" name="Rectangle 56">
              <a:extLst>
                <a:ext uri="{FF2B5EF4-FFF2-40B4-BE49-F238E27FC236}">
                  <a16:creationId xmlns:a16="http://schemas.microsoft.com/office/drawing/2014/main" id="{DB38CC8E-F9F8-7CAB-07C2-700A3A956F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5686843"/>
              <a:ext cx="144000" cy="144000"/>
            </a:xfrm>
            <a:prstGeom prst="rect">
              <a:avLst/>
            </a:prstGeom>
            <a:solidFill>
              <a:srgbClr val="595959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229" name="TextovéPole 228">
            <a:extLst>
              <a:ext uri="{FF2B5EF4-FFF2-40B4-BE49-F238E27FC236}">
                <a16:creationId xmlns:a16="http://schemas.microsoft.com/office/drawing/2014/main" id="{2CAFD6CF-CF70-D489-6AAE-67C951C30A50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611690" y="1513413"/>
            <a:ext cx="1959575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raj bydliště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9" name="TextovéPole 128">
            <a:extLst>
              <a:ext uri="{FF2B5EF4-FFF2-40B4-BE49-F238E27FC236}">
                <a16:creationId xmlns:a16="http://schemas.microsoft.com/office/drawing/2014/main" id="{B521CCB1-E03C-A540-B0E6-FACC7FD1B5BE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4589670" y="4364179"/>
            <a:ext cx="1959575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kres bydliště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Object 16">
            <a:extLst>
              <a:ext uri="{FF2B5EF4-FFF2-40B4-BE49-F238E27FC236}">
                <a16:creationId xmlns:a16="http://schemas.microsoft.com/office/drawing/2014/main" id="{60CAB9EB-EA2E-826B-6C66-2B729E62B842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6449966" y="4396196"/>
          <a:ext cx="2311760" cy="2039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aphicFrame>
        <p:nvGraphicFramePr>
          <p:cNvPr id="12" name="Group 110">
            <a:extLst>
              <a:ext uri="{FF2B5EF4-FFF2-40B4-BE49-F238E27FC236}">
                <a16:creationId xmlns:a16="http://schemas.microsoft.com/office/drawing/2014/main" id="{44BD125B-6613-E59A-7A8B-BDFCC1C70AE1}"/>
              </a:ext>
            </a:extLst>
          </p:cNvPr>
          <p:cNvGraphicFramePr>
            <a:graphicFrameLocks noGrp="1"/>
          </p:cNvGraphicFramePr>
          <p:nvPr>
            <p:custDataLst>
              <p:tags r:id="rId16"/>
            </p:custDataLst>
          </p:nvPr>
        </p:nvGraphicFramePr>
        <p:xfrm>
          <a:off x="4597801" y="4721322"/>
          <a:ext cx="1931064" cy="1714500"/>
        </p:xfrm>
        <a:graphic>
          <a:graphicData uri="http://schemas.openxmlformats.org/drawingml/2006/table">
            <a:tbl>
              <a:tblPr/>
              <a:tblGrid>
                <a:gridCol w="19310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ísek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hatic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0663655"/>
                  </a:ext>
                </a:extLst>
              </a:tr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é Budějovic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ábo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á republik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konic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ý Krumlov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ndřichův Hradec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42" name="TextovéPole 141">
            <a:extLst>
              <a:ext uri="{FF2B5EF4-FFF2-40B4-BE49-F238E27FC236}">
                <a16:creationId xmlns:a16="http://schemas.microsoft.com/office/drawing/2014/main" id="{4524C8FB-8522-7904-2503-6A7330F0E50D}"/>
              </a:ext>
            </a:extLst>
          </p:cNvPr>
          <p:cNvSpPr txBox="1"/>
          <p:nvPr/>
        </p:nvSpPr>
        <p:spPr>
          <a:xfrm rot="18828707">
            <a:off x="4211261" y="5337702"/>
            <a:ext cx="4988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3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78F73AAF-6CC7-EA81-1C7B-28BCA1C87F11}"/>
              </a:ext>
            </a:extLst>
          </p:cNvPr>
          <p:cNvGrpSpPr>
            <a:grpSpLocks noChangeAspect="1"/>
          </p:cNvGrpSpPr>
          <p:nvPr/>
        </p:nvGrpSpPr>
        <p:grpSpPr>
          <a:xfrm>
            <a:off x="8826759" y="4584375"/>
            <a:ext cx="2311761" cy="1796127"/>
            <a:chOff x="3449186" y="4421025"/>
            <a:chExt cx="2989263" cy="2322513"/>
          </a:xfrm>
        </p:grpSpPr>
        <p:sp>
          <p:nvSpPr>
            <p:cNvPr id="29" name="Freeform 102">
              <a:extLst>
                <a:ext uri="{FF2B5EF4-FFF2-40B4-BE49-F238E27FC236}">
                  <a16:creationId xmlns:a16="http://schemas.microsoft.com/office/drawing/2014/main" id="{A4019D02-011C-F1BA-8999-66FCC315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436" y="4598825"/>
              <a:ext cx="846138" cy="966788"/>
            </a:xfrm>
            <a:custGeom>
              <a:avLst/>
              <a:gdLst>
                <a:gd name="T0" fmla="*/ 147 w 533"/>
                <a:gd name="T1" fmla="*/ 19 h 609"/>
                <a:gd name="T2" fmla="*/ 172 w 533"/>
                <a:gd name="T3" fmla="*/ 6 h 609"/>
                <a:gd name="T4" fmla="*/ 193 w 533"/>
                <a:gd name="T5" fmla="*/ 21 h 609"/>
                <a:gd name="T6" fmla="*/ 222 w 533"/>
                <a:gd name="T7" fmla="*/ 35 h 609"/>
                <a:gd name="T8" fmla="*/ 252 w 533"/>
                <a:gd name="T9" fmla="*/ 44 h 609"/>
                <a:gd name="T10" fmla="*/ 273 w 533"/>
                <a:gd name="T11" fmla="*/ 61 h 609"/>
                <a:gd name="T12" fmla="*/ 279 w 533"/>
                <a:gd name="T13" fmla="*/ 70 h 609"/>
                <a:gd name="T14" fmla="*/ 294 w 533"/>
                <a:gd name="T15" fmla="*/ 84 h 609"/>
                <a:gd name="T16" fmla="*/ 290 w 533"/>
                <a:gd name="T17" fmla="*/ 103 h 609"/>
                <a:gd name="T18" fmla="*/ 270 w 533"/>
                <a:gd name="T19" fmla="*/ 120 h 609"/>
                <a:gd name="T20" fmla="*/ 279 w 533"/>
                <a:gd name="T21" fmla="*/ 148 h 609"/>
                <a:gd name="T22" fmla="*/ 282 w 533"/>
                <a:gd name="T23" fmla="*/ 175 h 609"/>
                <a:gd name="T24" fmla="*/ 295 w 533"/>
                <a:gd name="T25" fmla="*/ 193 h 609"/>
                <a:gd name="T26" fmla="*/ 288 w 533"/>
                <a:gd name="T27" fmla="*/ 220 h 609"/>
                <a:gd name="T28" fmla="*/ 278 w 533"/>
                <a:gd name="T29" fmla="*/ 273 h 609"/>
                <a:gd name="T30" fmla="*/ 304 w 533"/>
                <a:gd name="T31" fmla="*/ 310 h 609"/>
                <a:gd name="T32" fmla="*/ 326 w 533"/>
                <a:gd name="T33" fmla="*/ 365 h 609"/>
                <a:gd name="T34" fmla="*/ 348 w 533"/>
                <a:gd name="T35" fmla="*/ 396 h 609"/>
                <a:gd name="T36" fmla="*/ 375 w 533"/>
                <a:gd name="T37" fmla="*/ 440 h 609"/>
                <a:gd name="T38" fmla="*/ 407 w 533"/>
                <a:gd name="T39" fmla="*/ 460 h 609"/>
                <a:gd name="T40" fmla="*/ 434 w 533"/>
                <a:gd name="T41" fmla="*/ 476 h 609"/>
                <a:gd name="T42" fmla="*/ 459 w 533"/>
                <a:gd name="T43" fmla="*/ 494 h 609"/>
                <a:gd name="T44" fmla="*/ 506 w 533"/>
                <a:gd name="T45" fmla="*/ 510 h 609"/>
                <a:gd name="T46" fmla="*/ 532 w 533"/>
                <a:gd name="T47" fmla="*/ 524 h 609"/>
                <a:gd name="T48" fmla="*/ 512 w 533"/>
                <a:gd name="T49" fmla="*/ 542 h 609"/>
                <a:gd name="T50" fmla="*/ 505 w 533"/>
                <a:gd name="T51" fmla="*/ 557 h 609"/>
                <a:gd name="T52" fmla="*/ 496 w 533"/>
                <a:gd name="T53" fmla="*/ 564 h 609"/>
                <a:gd name="T54" fmla="*/ 489 w 533"/>
                <a:gd name="T55" fmla="*/ 596 h 609"/>
                <a:gd name="T56" fmla="*/ 456 w 533"/>
                <a:gd name="T57" fmla="*/ 607 h 609"/>
                <a:gd name="T58" fmla="*/ 361 w 533"/>
                <a:gd name="T59" fmla="*/ 607 h 609"/>
                <a:gd name="T60" fmla="*/ 326 w 533"/>
                <a:gd name="T61" fmla="*/ 593 h 609"/>
                <a:gd name="T62" fmla="*/ 302 w 533"/>
                <a:gd name="T63" fmla="*/ 564 h 609"/>
                <a:gd name="T64" fmla="*/ 280 w 533"/>
                <a:gd name="T65" fmla="*/ 553 h 609"/>
                <a:gd name="T66" fmla="*/ 261 w 533"/>
                <a:gd name="T67" fmla="*/ 540 h 609"/>
                <a:gd name="T68" fmla="*/ 241 w 533"/>
                <a:gd name="T69" fmla="*/ 564 h 609"/>
                <a:gd name="T70" fmla="*/ 197 w 533"/>
                <a:gd name="T71" fmla="*/ 576 h 609"/>
                <a:gd name="T72" fmla="*/ 159 w 533"/>
                <a:gd name="T73" fmla="*/ 572 h 609"/>
                <a:gd name="T74" fmla="*/ 104 w 533"/>
                <a:gd name="T75" fmla="*/ 544 h 609"/>
                <a:gd name="T76" fmla="*/ 55 w 533"/>
                <a:gd name="T77" fmla="*/ 539 h 609"/>
                <a:gd name="T78" fmla="*/ 34 w 533"/>
                <a:gd name="T79" fmla="*/ 518 h 609"/>
                <a:gd name="T80" fmla="*/ 0 w 533"/>
                <a:gd name="T81" fmla="*/ 507 h 609"/>
                <a:gd name="T82" fmla="*/ 13 w 533"/>
                <a:gd name="T83" fmla="*/ 466 h 609"/>
                <a:gd name="T84" fmla="*/ 18 w 533"/>
                <a:gd name="T85" fmla="*/ 440 h 609"/>
                <a:gd name="T86" fmla="*/ 7 w 533"/>
                <a:gd name="T87" fmla="*/ 407 h 609"/>
                <a:gd name="T88" fmla="*/ 29 w 533"/>
                <a:gd name="T89" fmla="*/ 387 h 609"/>
                <a:gd name="T90" fmla="*/ 24 w 533"/>
                <a:gd name="T91" fmla="*/ 368 h 609"/>
                <a:gd name="T92" fmla="*/ 18 w 533"/>
                <a:gd name="T93" fmla="*/ 350 h 609"/>
                <a:gd name="T94" fmla="*/ 35 w 533"/>
                <a:gd name="T95" fmla="*/ 335 h 609"/>
                <a:gd name="T96" fmla="*/ 37 w 533"/>
                <a:gd name="T97" fmla="*/ 310 h 609"/>
                <a:gd name="T98" fmla="*/ 71 w 533"/>
                <a:gd name="T99" fmla="*/ 275 h 609"/>
                <a:gd name="T100" fmla="*/ 92 w 533"/>
                <a:gd name="T101" fmla="*/ 228 h 609"/>
                <a:gd name="T102" fmla="*/ 81 w 533"/>
                <a:gd name="T103" fmla="*/ 201 h 609"/>
                <a:gd name="T104" fmla="*/ 79 w 533"/>
                <a:gd name="T105" fmla="*/ 143 h 609"/>
                <a:gd name="T106" fmla="*/ 77 w 533"/>
                <a:gd name="T107" fmla="*/ 99 h 609"/>
                <a:gd name="T108" fmla="*/ 68 w 533"/>
                <a:gd name="T109" fmla="*/ 56 h 609"/>
                <a:gd name="T110" fmla="*/ 71 w 533"/>
                <a:gd name="T111" fmla="*/ 24 h 609"/>
                <a:gd name="T112" fmla="*/ 86 w 533"/>
                <a:gd name="T113" fmla="*/ 21 h 609"/>
                <a:gd name="T114" fmla="*/ 106 w 533"/>
                <a:gd name="T115" fmla="*/ 12 h 609"/>
                <a:gd name="T116" fmla="*/ 127 w 533"/>
                <a:gd name="T117" fmla="*/ 0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3" h="609">
                  <a:moveTo>
                    <a:pt x="127" y="0"/>
                  </a:moveTo>
                  <a:lnTo>
                    <a:pt x="128" y="0"/>
                  </a:lnTo>
                  <a:lnTo>
                    <a:pt x="129" y="0"/>
                  </a:lnTo>
                  <a:lnTo>
                    <a:pt x="132" y="6"/>
                  </a:lnTo>
                  <a:lnTo>
                    <a:pt x="138" y="15"/>
                  </a:lnTo>
                  <a:lnTo>
                    <a:pt x="139" y="17"/>
                  </a:lnTo>
                  <a:lnTo>
                    <a:pt x="139" y="18"/>
                  </a:lnTo>
                  <a:lnTo>
                    <a:pt x="141" y="18"/>
                  </a:lnTo>
                  <a:lnTo>
                    <a:pt x="142" y="19"/>
                  </a:lnTo>
                  <a:lnTo>
                    <a:pt x="143" y="19"/>
                  </a:lnTo>
                  <a:lnTo>
                    <a:pt x="147" y="19"/>
                  </a:lnTo>
                  <a:lnTo>
                    <a:pt x="148" y="19"/>
                  </a:lnTo>
                  <a:lnTo>
                    <a:pt x="150" y="18"/>
                  </a:lnTo>
                  <a:lnTo>
                    <a:pt x="153" y="17"/>
                  </a:lnTo>
                  <a:lnTo>
                    <a:pt x="155" y="15"/>
                  </a:lnTo>
                  <a:lnTo>
                    <a:pt x="157" y="13"/>
                  </a:lnTo>
                  <a:lnTo>
                    <a:pt x="164" y="8"/>
                  </a:lnTo>
                  <a:lnTo>
                    <a:pt x="165" y="7"/>
                  </a:lnTo>
                  <a:lnTo>
                    <a:pt x="167" y="6"/>
                  </a:lnTo>
                  <a:lnTo>
                    <a:pt x="169" y="6"/>
                  </a:lnTo>
                  <a:lnTo>
                    <a:pt x="170" y="6"/>
                  </a:lnTo>
                  <a:lnTo>
                    <a:pt x="172" y="6"/>
                  </a:lnTo>
                  <a:lnTo>
                    <a:pt x="174" y="7"/>
                  </a:lnTo>
                  <a:lnTo>
                    <a:pt x="175" y="7"/>
                  </a:lnTo>
                  <a:lnTo>
                    <a:pt x="176" y="8"/>
                  </a:lnTo>
                  <a:lnTo>
                    <a:pt x="177" y="9"/>
                  </a:lnTo>
                  <a:lnTo>
                    <a:pt x="179" y="10"/>
                  </a:lnTo>
                  <a:lnTo>
                    <a:pt x="183" y="15"/>
                  </a:lnTo>
                  <a:lnTo>
                    <a:pt x="184" y="16"/>
                  </a:lnTo>
                  <a:lnTo>
                    <a:pt x="186" y="17"/>
                  </a:lnTo>
                  <a:lnTo>
                    <a:pt x="187" y="18"/>
                  </a:lnTo>
                  <a:lnTo>
                    <a:pt x="192" y="20"/>
                  </a:lnTo>
                  <a:lnTo>
                    <a:pt x="193" y="21"/>
                  </a:lnTo>
                  <a:lnTo>
                    <a:pt x="194" y="21"/>
                  </a:lnTo>
                  <a:lnTo>
                    <a:pt x="194" y="22"/>
                  </a:lnTo>
                  <a:lnTo>
                    <a:pt x="195" y="25"/>
                  </a:lnTo>
                  <a:lnTo>
                    <a:pt x="196" y="25"/>
                  </a:lnTo>
                  <a:lnTo>
                    <a:pt x="197" y="26"/>
                  </a:lnTo>
                  <a:lnTo>
                    <a:pt x="198" y="27"/>
                  </a:lnTo>
                  <a:lnTo>
                    <a:pt x="201" y="28"/>
                  </a:lnTo>
                  <a:lnTo>
                    <a:pt x="208" y="31"/>
                  </a:lnTo>
                  <a:lnTo>
                    <a:pt x="212" y="33"/>
                  </a:lnTo>
                  <a:lnTo>
                    <a:pt x="218" y="35"/>
                  </a:lnTo>
                  <a:lnTo>
                    <a:pt x="222" y="35"/>
                  </a:lnTo>
                  <a:lnTo>
                    <a:pt x="227" y="36"/>
                  </a:lnTo>
                  <a:lnTo>
                    <a:pt x="227" y="37"/>
                  </a:lnTo>
                  <a:lnTo>
                    <a:pt x="228" y="38"/>
                  </a:lnTo>
                  <a:lnTo>
                    <a:pt x="229" y="38"/>
                  </a:lnTo>
                  <a:lnTo>
                    <a:pt x="230" y="38"/>
                  </a:lnTo>
                  <a:lnTo>
                    <a:pt x="232" y="39"/>
                  </a:lnTo>
                  <a:lnTo>
                    <a:pt x="241" y="40"/>
                  </a:lnTo>
                  <a:lnTo>
                    <a:pt x="244" y="40"/>
                  </a:lnTo>
                  <a:lnTo>
                    <a:pt x="246" y="42"/>
                  </a:lnTo>
                  <a:lnTo>
                    <a:pt x="249" y="43"/>
                  </a:lnTo>
                  <a:lnTo>
                    <a:pt x="252" y="44"/>
                  </a:lnTo>
                  <a:lnTo>
                    <a:pt x="254" y="45"/>
                  </a:lnTo>
                  <a:lnTo>
                    <a:pt x="257" y="48"/>
                  </a:lnTo>
                  <a:lnTo>
                    <a:pt x="259" y="49"/>
                  </a:lnTo>
                  <a:lnTo>
                    <a:pt x="260" y="50"/>
                  </a:lnTo>
                  <a:lnTo>
                    <a:pt x="261" y="50"/>
                  </a:lnTo>
                  <a:lnTo>
                    <a:pt x="264" y="55"/>
                  </a:lnTo>
                  <a:lnTo>
                    <a:pt x="266" y="58"/>
                  </a:lnTo>
                  <a:lnTo>
                    <a:pt x="268" y="59"/>
                  </a:lnTo>
                  <a:lnTo>
                    <a:pt x="270" y="60"/>
                  </a:lnTo>
                  <a:lnTo>
                    <a:pt x="271" y="61"/>
                  </a:lnTo>
                  <a:lnTo>
                    <a:pt x="273" y="61"/>
                  </a:lnTo>
                  <a:lnTo>
                    <a:pt x="276" y="62"/>
                  </a:lnTo>
                  <a:lnTo>
                    <a:pt x="277" y="63"/>
                  </a:lnTo>
                  <a:lnTo>
                    <a:pt x="279" y="63"/>
                  </a:lnTo>
                  <a:lnTo>
                    <a:pt x="280" y="64"/>
                  </a:lnTo>
                  <a:lnTo>
                    <a:pt x="281" y="65"/>
                  </a:lnTo>
                  <a:lnTo>
                    <a:pt x="281" y="65"/>
                  </a:lnTo>
                  <a:lnTo>
                    <a:pt x="281" y="66"/>
                  </a:lnTo>
                  <a:lnTo>
                    <a:pt x="281" y="67"/>
                  </a:lnTo>
                  <a:lnTo>
                    <a:pt x="279" y="68"/>
                  </a:lnTo>
                  <a:lnTo>
                    <a:pt x="279" y="69"/>
                  </a:lnTo>
                  <a:lnTo>
                    <a:pt x="279" y="70"/>
                  </a:lnTo>
                  <a:lnTo>
                    <a:pt x="279" y="71"/>
                  </a:lnTo>
                  <a:lnTo>
                    <a:pt x="279" y="73"/>
                  </a:lnTo>
                  <a:lnTo>
                    <a:pt x="280" y="74"/>
                  </a:lnTo>
                  <a:lnTo>
                    <a:pt x="280" y="75"/>
                  </a:lnTo>
                  <a:lnTo>
                    <a:pt x="284" y="80"/>
                  </a:lnTo>
                  <a:lnTo>
                    <a:pt x="286" y="81"/>
                  </a:lnTo>
                  <a:lnTo>
                    <a:pt x="287" y="82"/>
                  </a:lnTo>
                  <a:lnTo>
                    <a:pt x="289" y="83"/>
                  </a:lnTo>
                  <a:lnTo>
                    <a:pt x="293" y="83"/>
                  </a:lnTo>
                  <a:lnTo>
                    <a:pt x="294" y="84"/>
                  </a:lnTo>
                  <a:lnTo>
                    <a:pt x="294" y="84"/>
                  </a:lnTo>
                  <a:lnTo>
                    <a:pt x="295" y="85"/>
                  </a:lnTo>
                  <a:lnTo>
                    <a:pt x="296" y="85"/>
                  </a:lnTo>
                  <a:lnTo>
                    <a:pt x="296" y="87"/>
                  </a:lnTo>
                  <a:lnTo>
                    <a:pt x="296" y="88"/>
                  </a:lnTo>
                  <a:lnTo>
                    <a:pt x="296" y="89"/>
                  </a:lnTo>
                  <a:lnTo>
                    <a:pt x="296" y="91"/>
                  </a:lnTo>
                  <a:lnTo>
                    <a:pt x="296" y="93"/>
                  </a:lnTo>
                  <a:lnTo>
                    <a:pt x="294" y="95"/>
                  </a:lnTo>
                  <a:lnTo>
                    <a:pt x="293" y="98"/>
                  </a:lnTo>
                  <a:lnTo>
                    <a:pt x="291" y="101"/>
                  </a:lnTo>
                  <a:lnTo>
                    <a:pt x="290" y="103"/>
                  </a:lnTo>
                  <a:lnTo>
                    <a:pt x="288" y="105"/>
                  </a:lnTo>
                  <a:lnTo>
                    <a:pt x="286" y="107"/>
                  </a:lnTo>
                  <a:lnTo>
                    <a:pt x="284" y="108"/>
                  </a:lnTo>
                  <a:lnTo>
                    <a:pt x="280" y="110"/>
                  </a:lnTo>
                  <a:lnTo>
                    <a:pt x="278" y="110"/>
                  </a:lnTo>
                  <a:lnTo>
                    <a:pt x="276" y="111"/>
                  </a:lnTo>
                  <a:lnTo>
                    <a:pt x="275" y="113"/>
                  </a:lnTo>
                  <a:lnTo>
                    <a:pt x="273" y="115"/>
                  </a:lnTo>
                  <a:lnTo>
                    <a:pt x="271" y="117"/>
                  </a:lnTo>
                  <a:lnTo>
                    <a:pt x="270" y="120"/>
                  </a:lnTo>
                  <a:lnTo>
                    <a:pt x="270" y="120"/>
                  </a:lnTo>
                  <a:lnTo>
                    <a:pt x="269" y="122"/>
                  </a:lnTo>
                  <a:lnTo>
                    <a:pt x="269" y="123"/>
                  </a:lnTo>
                  <a:lnTo>
                    <a:pt x="270" y="125"/>
                  </a:lnTo>
                  <a:lnTo>
                    <a:pt x="270" y="125"/>
                  </a:lnTo>
                  <a:lnTo>
                    <a:pt x="271" y="128"/>
                  </a:lnTo>
                  <a:lnTo>
                    <a:pt x="272" y="130"/>
                  </a:lnTo>
                  <a:lnTo>
                    <a:pt x="275" y="135"/>
                  </a:lnTo>
                  <a:lnTo>
                    <a:pt x="276" y="138"/>
                  </a:lnTo>
                  <a:lnTo>
                    <a:pt x="277" y="140"/>
                  </a:lnTo>
                  <a:lnTo>
                    <a:pt x="278" y="145"/>
                  </a:lnTo>
                  <a:lnTo>
                    <a:pt x="279" y="148"/>
                  </a:lnTo>
                  <a:lnTo>
                    <a:pt x="280" y="152"/>
                  </a:lnTo>
                  <a:lnTo>
                    <a:pt x="283" y="159"/>
                  </a:lnTo>
                  <a:lnTo>
                    <a:pt x="284" y="161"/>
                  </a:lnTo>
                  <a:lnTo>
                    <a:pt x="284" y="163"/>
                  </a:lnTo>
                  <a:lnTo>
                    <a:pt x="284" y="165"/>
                  </a:lnTo>
                  <a:lnTo>
                    <a:pt x="284" y="167"/>
                  </a:lnTo>
                  <a:lnTo>
                    <a:pt x="282" y="169"/>
                  </a:lnTo>
                  <a:lnTo>
                    <a:pt x="281" y="170"/>
                  </a:lnTo>
                  <a:lnTo>
                    <a:pt x="281" y="172"/>
                  </a:lnTo>
                  <a:lnTo>
                    <a:pt x="281" y="173"/>
                  </a:lnTo>
                  <a:lnTo>
                    <a:pt x="282" y="175"/>
                  </a:lnTo>
                  <a:lnTo>
                    <a:pt x="284" y="176"/>
                  </a:lnTo>
                  <a:lnTo>
                    <a:pt x="286" y="178"/>
                  </a:lnTo>
                  <a:lnTo>
                    <a:pt x="290" y="181"/>
                  </a:lnTo>
                  <a:lnTo>
                    <a:pt x="291" y="183"/>
                  </a:lnTo>
                  <a:lnTo>
                    <a:pt x="292" y="183"/>
                  </a:lnTo>
                  <a:lnTo>
                    <a:pt x="294" y="185"/>
                  </a:lnTo>
                  <a:lnTo>
                    <a:pt x="295" y="188"/>
                  </a:lnTo>
                  <a:lnTo>
                    <a:pt x="295" y="189"/>
                  </a:lnTo>
                  <a:lnTo>
                    <a:pt x="296" y="190"/>
                  </a:lnTo>
                  <a:lnTo>
                    <a:pt x="296" y="192"/>
                  </a:lnTo>
                  <a:lnTo>
                    <a:pt x="295" y="193"/>
                  </a:lnTo>
                  <a:lnTo>
                    <a:pt x="294" y="198"/>
                  </a:lnTo>
                  <a:lnTo>
                    <a:pt x="293" y="200"/>
                  </a:lnTo>
                  <a:lnTo>
                    <a:pt x="293" y="202"/>
                  </a:lnTo>
                  <a:lnTo>
                    <a:pt x="294" y="206"/>
                  </a:lnTo>
                  <a:lnTo>
                    <a:pt x="294" y="208"/>
                  </a:lnTo>
                  <a:lnTo>
                    <a:pt x="294" y="210"/>
                  </a:lnTo>
                  <a:lnTo>
                    <a:pt x="293" y="211"/>
                  </a:lnTo>
                  <a:lnTo>
                    <a:pt x="293" y="212"/>
                  </a:lnTo>
                  <a:lnTo>
                    <a:pt x="292" y="213"/>
                  </a:lnTo>
                  <a:lnTo>
                    <a:pt x="289" y="217"/>
                  </a:lnTo>
                  <a:lnTo>
                    <a:pt x="288" y="220"/>
                  </a:lnTo>
                  <a:lnTo>
                    <a:pt x="288" y="222"/>
                  </a:lnTo>
                  <a:lnTo>
                    <a:pt x="287" y="227"/>
                  </a:lnTo>
                  <a:lnTo>
                    <a:pt x="286" y="230"/>
                  </a:lnTo>
                  <a:lnTo>
                    <a:pt x="285" y="233"/>
                  </a:lnTo>
                  <a:lnTo>
                    <a:pt x="282" y="241"/>
                  </a:lnTo>
                  <a:lnTo>
                    <a:pt x="281" y="245"/>
                  </a:lnTo>
                  <a:lnTo>
                    <a:pt x="280" y="248"/>
                  </a:lnTo>
                  <a:lnTo>
                    <a:pt x="279" y="259"/>
                  </a:lnTo>
                  <a:lnTo>
                    <a:pt x="277" y="266"/>
                  </a:lnTo>
                  <a:lnTo>
                    <a:pt x="277" y="270"/>
                  </a:lnTo>
                  <a:lnTo>
                    <a:pt x="278" y="273"/>
                  </a:lnTo>
                  <a:lnTo>
                    <a:pt x="278" y="275"/>
                  </a:lnTo>
                  <a:lnTo>
                    <a:pt x="279" y="277"/>
                  </a:lnTo>
                  <a:lnTo>
                    <a:pt x="280" y="279"/>
                  </a:lnTo>
                  <a:lnTo>
                    <a:pt x="281" y="281"/>
                  </a:lnTo>
                  <a:lnTo>
                    <a:pt x="282" y="283"/>
                  </a:lnTo>
                  <a:lnTo>
                    <a:pt x="284" y="285"/>
                  </a:lnTo>
                  <a:lnTo>
                    <a:pt x="291" y="292"/>
                  </a:lnTo>
                  <a:lnTo>
                    <a:pt x="296" y="298"/>
                  </a:lnTo>
                  <a:lnTo>
                    <a:pt x="299" y="302"/>
                  </a:lnTo>
                  <a:lnTo>
                    <a:pt x="302" y="306"/>
                  </a:lnTo>
                  <a:lnTo>
                    <a:pt x="304" y="310"/>
                  </a:lnTo>
                  <a:lnTo>
                    <a:pt x="306" y="314"/>
                  </a:lnTo>
                  <a:lnTo>
                    <a:pt x="314" y="327"/>
                  </a:lnTo>
                  <a:lnTo>
                    <a:pt x="316" y="332"/>
                  </a:lnTo>
                  <a:lnTo>
                    <a:pt x="319" y="337"/>
                  </a:lnTo>
                  <a:lnTo>
                    <a:pt x="321" y="345"/>
                  </a:lnTo>
                  <a:lnTo>
                    <a:pt x="324" y="352"/>
                  </a:lnTo>
                  <a:lnTo>
                    <a:pt x="324" y="355"/>
                  </a:lnTo>
                  <a:lnTo>
                    <a:pt x="325" y="357"/>
                  </a:lnTo>
                  <a:lnTo>
                    <a:pt x="326" y="360"/>
                  </a:lnTo>
                  <a:lnTo>
                    <a:pt x="326" y="363"/>
                  </a:lnTo>
                  <a:lnTo>
                    <a:pt x="326" y="365"/>
                  </a:lnTo>
                  <a:lnTo>
                    <a:pt x="326" y="367"/>
                  </a:lnTo>
                  <a:lnTo>
                    <a:pt x="327" y="369"/>
                  </a:lnTo>
                  <a:lnTo>
                    <a:pt x="328" y="370"/>
                  </a:lnTo>
                  <a:lnTo>
                    <a:pt x="329" y="373"/>
                  </a:lnTo>
                  <a:lnTo>
                    <a:pt x="331" y="375"/>
                  </a:lnTo>
                  <a:lnTo>
                    <a:pt x="332" y="377"/>
                  </a:lnTo>
                  <a:lnTo>
                    <a:pt x="334" y="379"/>
                  </a:lnTo>
                  <a:lnTo>
                    <a:pt x="339" y="383"/>
                  </a:lnTo>
                  <a:lnTo>
                    <a:pt x="341" y="385"/>
                  </a:lnTo>
                  <a:lnTo>
                    <a:pt x="346" y="392"/>
                  </a:lnTo>
                  <a:lnTo>
                    <a:pt x="348" y="396"/>
                  </a:lnTo>
                  <a:lnTo>
                    <a:pt x="351" y="400"/>
                  </a:lnTo>
                  <a:lnTo>
                    <a:pt x="352" y="405"/>
                  </a:lnTo>
                  <a:lnTo>
                    <a:pt x="354" y="408"/>
                  </a:lnTo>
                  <a:lnTo>
                    <a:pt x="356" y="416"/>
                  </a:lnTo>
                  <a:lnTo>
                    <a:pt x="357" y="420"/>
                  </a:lnTo>
                  <a:lnTo>
                    <a:pt x="359" y="424"/>
                  </a:lnTo>
                  <a:lnTo>
                    <a:pt x="361" y="427"/>
                  </a:lnTo>
                  <a:lnTo>
                    <a:pt x="363" y="430"/>
                  </a:lnTo>
                  <a:lnTo>
                    <a:pt x="365" y="432"/>
                  </a:lnTo>
                  <a:lnTo>
                    <a:pt x="370" y="436"/>
                  </a:lnTo>
                  <a:lnTo>
                    <a:pt x="375" y="440"/>
                  </a:lnTo>
                  <a:lnTo>
                    <a:pt x="377" y="442"/>
                  </a:lnTo>
                  <a:lnTo>
                    <a:pt x="379" y="445"/>
                  </a:lnTo>
                  <a:lnTo>
                    <a:pt x="383" y="450"/>
                  </a:lnTo>
                  <a:lnTo>
                    <a:pt x="384" y="452"/>
                  </a:lnTo>
                  <a:lnTo>
                    <a:pt x="385" y="453"/>
                  </a:lnTo>
                  <a:lnTo>
                    <a:pt x="386" y="454"/>
                  </a:lnTo>
                  <a:lnTo>
                    <a:pt x="389" y="455"/>
                  </a:lnTo>
                  <a:lnTo>
                    <a:pt x="390" y="456"/>
                  </a:lnTo>
                  <a:lnTo>
                    <a:pt x="392" y="457"/>
                  </a:lnTo>
                  <a:lnTo>
                    <a:pt x="396" y="458"/>
                  </a:lnTo>
                  <a:lnTo>
                    <a:pt x="407" y="460"/>
                  </a:lnTo>
                  <a:lnTo>
                    <a:pt x="415" y="462"/>
                  </a:lnTo>
                  <a:lnTo>
                    <a:pt x="418" y="462"/>
                  </a:lnTo>
                  <a:lnTo>
                    <a:pt x="424" y="463"/>
                  </a:lnTo>
                  <a:lnTo>
                    <a:pt x="426" y="463"/>
                  </a:lnTo>
                  <a:lnTo>
                    <a:pt x="428" y="464"/>
                  </a:lnTo>
                  <a:lnTo>
                    <a:pt x="429" y="464"/>
                  </a:lnTo>
                  <a:lnTo>
                    <a:pt x="430" y="465"/>
                  </a:lnTo>
                  <a:lnTo>
                    <a:pt x="431" y="466"/>
                  </a:lnTo>
                  <a:lnTo>
                    <a:pt x="431" y="468"/>
                  </a:lnTo>
                  <a:lnTo>
                    <a:pt x="432" y="470"/>
                  </a:lnTo>
                  <a:lnTo>
                    <a:pt x="434" y="476"/>
                  </a:lnTo>
                  <a:lnTo>
                    <a:pt x="434" y="478"/>
                  </a:lnTo>
                  <a:lnTo>
                    <a:pt x="436" y="480"/>
                  </a:lnTo>
                  <a:lnTo>
                    <a:pt x="437" y="482"/>
                  </a:lnTo>
                  <a:lnTo>
                    <a:pt x="439" y="484"/>
                  </a:lnTo>
                  <a:lnTo>
                    <a:pt x="442" y="485"/>
                  </a:lnTo>
                  <a:lnTo>
                    <a:pt x="444" y="486"/>
                  </a:lnTo>
                  <a:lnTo>
                    <a:pt x="454" y="489"/>
                  </a:lnTo>
                  <a:lnTo>
                    <a:pt x="456" y="489"/>
                  </a:lnTo>
                  <a:lnTo>
                    <a:pt x="457" y="491"/>
                  </a:lnTo>
                  <a:lnTo>
                    <a:pt x="459" y="492"/>
                  </a:lnTo>
                  <a:lnTo>
                    <a:pt x="459" y="494"/>
                  </a:lnTo>
                  <a:lnTo>
                    <a:pt x="463" y="499"/>
                  </a:lnTo>
                  <a:lnTo>
                    <a:pt x="464" y="502"/>
                  </a:lnTo>
                  <a:lnTo>
                    <a:pt x="466" y="503"/>
                  </a:lnTo>
                  <a:lnTo>
                    <a:pt x="468" y="504"/>
                  </a:lnTo>
                  <a:lnTo>
                    <a:pt x="471" y="505"/>
                  </a:lnTo>
                  <a:lnTo>
                    <a:pt x="476" y="507"/>
                  </a:lnTo>
                  <a:lnTo>
                    <a:pt x="481" y="508"/>
                  </a:lnTo>
                  <a:lnTo>
                    <a:pt x="486" y="509"/>
                  </a:lnTo>
                  <a:lnTo>
                    <a:pt x="490" y="509"/>
                  </a:lnTo>
                  <a:lnTo>
                    <a:pt x="501" y="509"/>
                  </a:lnTo>
                  <a:lnTo>
                    <a:pt x="506" y="510"/>
                  </a:lnTo>
                  <a:lnTo>
                    <a:pt x="510" y="511"/>
                  </a:lnTo>
                  <a:lnTo>
                    <a:pt x="515" y="512"/>
                  </a:lnTo>
                  <a:lnTo>
                    <a:pt x="525" y="513"/>
                  </a:lnTo>
                  <a:lnTo>
                    <a:pt x="528" y="514"/>
                  </a:lnTo>
                  <a:lnTo>
                    <a:pt x="531" y="514"/>
                  </a:lnTo>
                  <a:lnTo>
                    <a:pt x="532" y="514"/>
                  </a:lnTo>
                  <a:lnTo>
                    <a:pt x="533" y="514"/>
                  </a:lnTo>
                  <a:lnTo>
                    <a:pt x="533" y="515"/>
                  </a:lnTo>
                  <a:lnTo>
                    <a:pt x="533" y="517"/>
                  </a:lnTo>
                  <a:lnTo>
                    <a:pt x="533" y="521"/>
                  </a:lnTo>
                  <a:lnTo>
                    <a:pt x="532" y="524"/>
                  </a:lnTo>
                  <a:lnTo>
                    <a:pt x="531" y="527"/>
                  </a:lnTo>
                  <a:lnTo>
                    <a:pt x="531" y="529"/>
                  </a:lnTo>
                  <a:lnTo>
                    <a:pt x="530" y="532"/>
                  </a:lnTo>
                  <a:lnTo>
                    <a:pt x="529" y="533"/>
                  </a:lnTo>
                  <a:lnTo>
                    <a:pt x="526" y="537"/>
                  </a:lnTo>
                  <a:lnTo>
                    <a:pt x="524" y="537"/>
                  </a:lnTo>
                  <a:lnTo>
                    <a:pt x="523" y="539"/>
                  </a:lnTo>
                  <a:lnTo>
                    <a:pt x="520" y="539"/>
                  </a:lnTo>
                  <a:lnTo>
                    <a:pt x="518" y="541"/>
                  </a:lnTo>
                  <a:lnTo>
                    <a:pt x="516" y="541"/>
                  </a:lnTo>
                  <a:lnTo>
                    <a:pt x="512" y="542"/>
                  </a:lnTo>
                  <a:lnTo>
                    <a:pt x="511" y="542"/>
                  </a:lnTo>
                  <a:lnTo>
                    <a:pt x="511" y="543"/>
                  </a:lnTo>
                  <a:lnTo>
                    <a:pt x="510" y="544"/>
                  </a:lnTo>
                  <a:lnTo>
                    <a:pt x="509" y="544"/>
                  </a:lnTo>
                  <a:lnTo>
                    <a:pt x="508" y="546"/>
                  </a:lnTo>
                  <a:lnTo>
                    <a:pt x="508" y="547"/>
                  </a:lnTo>
                  <a:lnTo>
                    <a:pt x="507" y="549"/>
                  </a:lnTo>
                  <a:lnTo>
                    <a:pt x="506" y="554"/>
                  </a:lnTo>
                  <a:lnTo>
                    <a:pt x="506" y="556"/>
                  </a:lnTo>
                  <a:lnTo>
                    <a:pt x="506" y="557"/>
                  </a:lnTo>
                  <a:lnTo>
                    <a:pt x="505" y="557"/>
                  </a:lnTo>
                  <a:lnTo>
                    <a:pt x="504" y="557"/>
                  </a:lnTo>
                  <a:lnTo>
                    <a:pt x="502" y="558"/>
                  </a:lnTo>
                  <a:lnTo>
                    <a:pt x="499" y="559"/>
                  </a:lnTo>
                  <a:lnTo>
                    <a:pt x="498" y="559"/>
                  </a:lnTo>
                  <a:lnTo>
                    <a:pt x="497" y="559"/>
                  </a:lnTo>
                  <a:lnTo>
                    <a:pt x="496" y="560"/>
                  </a:lnTo>
                  <a:lnTo>
                    <a:pt x="496" y="561"/>
                  </a:lnTo>
                  <a:lnTo>
                    <a:pt x="496" y="562"/>
                  </a:lnTo>
                  <a:lnTo>
                    <a:pt x="496" y="562"/>
                  </a:lnTo>
                  <a:lnTo>
                    <a:pt x="496" y="563"/>
                  </a:lnTo>
                  <a:lnTo>
                    <a:pt x="496" y="564"/>
                  </a:lnTo>
                  <a:lnTo>
                    <a:pt x="501" y="572"/>
                  </a:lnTo>
                  <a:lnTo>
                    <a:pt x="503" y="577"/>
                  </a:lnTo>
                  <a:lnTo>
                    <a:pt x="503" y="578"/>
                  </a:lnTo>
                  <a:lnTo>
                    <a:pt x="502" y="580"/>
                  </a:lnTo>
                  <a:lnTo>
                    <a:pt x="501" y="582"/>
                  </a:lnTo>
                  <a:lnTo>
                    <a:pt x="501" y="584"/>
                  </a:lnTo>
                  <a:lnTo>
                    <a:pt x="499" y="586"/>
                  </a:lnTo>
                  <a:lnTo>
                    <a:pt x="496" y="589"/>
                  </a:lnTo>
                  <a:lnTo>
                    <a:pt x="494" y="592"/>
                  </a:lnTo>
                  <a:lnTo>
                    <a:pt x="491" y="594"/>
                  </a:lnTo>
                  <a:lnTo>
                    <a:pt x="489" y="596"/>
                  </a:lnTo>
                  <a:lnTo>
                    <a:pt x="487" y="597"/>
                  </a:lnTo>
                  <a:lnTo>
                    <a:pt x="484" y="599"/>
                  </a:lnTo>
                  <a:lnTo>
                    <a:pt x="482" y="600"/>
                  </a:lnTo>
                  <a:lnTo>
                    <a:pt x="479" y="602"/>
                  </a:lnTo>
                  <a:lnTo>
                    <a:pt x="476" y="603"/>
                  </a:lnTo>
                  <a:lnTo>
                    <a:pt x="474" y="604"/>
                  </a:lnTo>
                  <a:lnTo>
                    <a:pt x="471" y="605"/>
                  </a:lnTo>
                  <a:lnTo>
                    <a:pt x="468" y="605"/>
                  </a:lnTo>
                  <a:lnTo>
                    <a:pt x="465" y="606"/>
                  </a:lnTo>
                  <a:lnTo>
                    <a:pt x="461" y="607"/>
                  </a:lnTo>
                  <a:lnTo>
                    <a:pt x="456" y="607"/>
                  </a:lnTo>
                  <a:lnTo>
                    <a:pt x="451" y="607"/>
                  </a:lnTo>
                  <a:lnTo>
                    <a:pt x="440" y="607"/>
                  </a:lnTo>
                  <a:lnTo>
                    <a:pt x="434" y="607"/>
                  </a:lnTo>
                  <a:lnTo>
                    <a:pt x="421" y="607"/>
                  </a:lnTo>
                  <a:lnTo>
                    <a:pt x="410" y="608"/>
                  </a:lnTo>
                  <a:lnTo>
                    <a:pt x="396" y="609"/>
                  </a:lnTo>
                  <a:lnTo>
                    <a:pt x="385" y="609"/>
                  </a:lnTo>
                  <a:lnTo>
                    <a:pt x="380" y="609"/>
                  </a:lnTo>
                  <a:lnTo>
                    <a:pt x="370" y="609"/>
                  </a:lnTo>
                  <a:lnTo>
                    <a:pt x="364" y="607"/>
                  </a:lnTo>
                  <a:lnTo>
                    <a:pt x="361" y="607"/>
                  </a:lnTo>
                  <a:lnTo>
                    <a:pt x="358" y="605"/>
                  </a:lnTo>
                  <a:lnTo>
                    <a:pt x="352" y="602"/>
                  </a:lnTo>
                  <a:lnTo>
                    <a:pt x="349" y="602"/>
                  </a:lnTo>
                  <a:lnTo>
                    <a:pt x="344" y="600"/>
                  </a:lnTo>
                  <a:lnTo>
                    <a:pt x="337" y="599"/>
                  </a:lnTo>
                  <a:lnTo>
                    <a:pt x="335" y="599"/>
                  </a:lnTo>
                  <a:lnTo>
                    <a:pt x="332" y="598"/>
                  </a:lnTo>
                  <a:lnTo>
                    <a:pt x="330" y="597"/>
                  </a:lnTo>
                  <a:lnTo>
                    <a:pt x="329" y="596"/>
                  </a:lnTo>
                  <a:lnTo>
                    <a:pt x="327" y="594"/>
                  </a:lnTo>
                  <a:lnTo>
                    <a:pt x="326" y="593"/>
                  </a:lnTo>
                  <a:lnTo>
                    <a:pt x="325" y="592"/>
                  </a:lnTo>
                  <a:lnTo>
                    <a:pt x="323" y="589"/>
                  </a:lnTo>
                  <a:lnTo>
                    <a:pt x="319" y="582"/>
                  </a:lnTo>
                  <a:lnTo>
                    <a:pt x="317" y="580"/>
                  </a:lnTo>
                  <a:lnTo>
                    <a:pt x="316" y="579"/>
                  </a:lnTo>
                  <a:lnTo>
                    <a:pt x="313" y="576"/>
                  </a:lnTo>
                  <a:lnTo>
                    <a:pt x="307" y="570"/>
                  </a:lnTo>
                  <a:lnTo>
                    <a:pt x="305" y="568"/>
                  </a:lnTo>
                  <a:lnTo>
                    <a:pt x="304" y="567"/>
                  </a:lnTo>
                  <a:lnTo>
                    <a:pt x="303" y="566"/>
                  </a:lnTo>
                  <a:lnTo>
                    <a:pt x="302" y="564"/>
                  </a:lnTo>
                  <a:lnTo>
                    <a:pt x="300" y="560"/>
                  </a:lnTo>
                  <a:lnTo>
                    <a:pt x="299" y="558"/>
                  </a:lnTo>
                  <a:lnTo>
                    <a:pt x="299" y="556"/>
                  </a:lnTo>
                  <a:lnTo>
                    <a:pt x="296" y="554"/>
                  </a:lnTo>
                  <a:lnTo>
                    <a:pt x="296" y="554"/>
                  </a:lnTo>
                  <a:lnTo>
                    <a:pt x="294" y="553"/>
                  </a:lnTo>
                  <a:lnTo>
                    <a:pt x="294" y="553"/>
                  </a:lnTo>
                  <a:lnTo>
                    <a:pt x="292" y="552"/>
                  </a:lnTo>
                  <a:lnTo>
                    <a:pt x="289" y="552"/>
                  </a:lnTo>
                  <a:lnTo>
                    <a:pt x="282" y="553"/>
                  </a:lnTo>
                  <a:lnTo>
                    <a:pt x="280" y="553"/>
                  </a:lnTo>
                  <a:lnTo>
                    <a:pt x="276" y="553"/>
                  </a:lnTo>
                  <a:lnTo>
                    <a:pt x="276" y="553"/>
                  </a:lnTo>
                  <a:lnTo>
                    <a:pt x="274" y="552"/>
                  </a:lnTo>
                  <a:lnTo>
                    <a:pt x="272" y="551"/>
                  </a:lnTo>
                  <a:lnTo>
                    <a:pt x="270" y="549"/>
                  </a:lnTo>
                  <a:lnTo>
                    <a:pt x="268" y="547"/>
                  </a:lnTo>
                  <a:lnTo>
                    <a:pt x="266" y="544"/>
                  </a:lnTo>
                  <a:lnTo>
                    <a:pt x="264" y="542"/>
                  </a:lnTo>
                  <a:lnTo>
                    <a:pt x="262" y="541"/>
                  </a:lnTo>
                  <a:lnTo>
                    <a:pt x="261" y="540"/>
                  </a:lnTo>
                  <a:lnTo>
                    <a:pt x="261" y="540"/>
                  </a:lnTo>
                  <a:lnTo>
                    <a:pt x="259" y="539"/>
                  </a:lnTo>
                  <a:lnTo>
                    <a:pt x="257" y="540"/>
                  </a:lnTo>
                  <a:lnTo>
                    <a:pt x="256" y="541"/>
                  </a:lnTo>
                  <a:lnTo>
                    <a:pt x="254" y="542"/>
                  </a:lnTo>
                  <a:lnTo>
                    <a:pt x="254" y="543"/>
                  </a:lnTo>
                  <a:lnTo>
                    <a:pt x="252" y="546"/>
                  </a:lnTo>
                  <a:lnTo>
                    <a:pt x="247" y="556"/>
                  </a:lnTo>
                  <a:lnTo>
                    <a:pt x="244" y="561"/>
                  </a:lnTo>
                  <a:lnTo>
                    <a:pt x="243" y="562"/>
                  </a:lnTo>
                  <a:lnTo>
                    <a:pt x="242" y="563"/>
                  </a:lnTo>
                  <a:lnTo>
                    <a:pt x="241" y="564"/>
                  </a:lnTo>
                  <a:lnTo>
                    <a:pt x="239" y="564"/>
                  </a:lnTo>
                  <a:lnTo>
                    <a:pt x="237" y="565"/>
                  </a:lnTo>
                  <a:lnTo>
                    <a:pt x="224" y="567"/>
                  </a:lnTo>
                  <a:lnTo>
                    <a:pt x="219" y="568"/>
                  </a:lnTo>
                  <a:lnTo>
                    <a:pt x="217" y="569"/>
                  </a:lnTo>
                  <a:lnTo>
                    <a:pt x="213" y="570"/>
                  </a:lnTo>
                  <a:lnTo>
                    <a:pt x="204" y="574"/>
                  </a:lnTo>
                  <a:lnTo>
                    <a:pt x="202" y="575"/>
                  </a:lnTo>
                  <a:lnTo>
                    <a:pt x="200" y="576"/>
                  </a:lnTo>
                  <a:lnTo>
                    <a:pt x="199" y="576"/>
                  </a:lnTo>
                  <a:lnTo>
                    <a:pt x="197" y="576"/>
                  </a:lnTo>
                  <a:lnTo>
                    <a:pt x="192" y="576"/>
                  </a:lnTo>
                  <a:lnTo>
                    <a:pt x="184" y="576"/>
                  </a:lnTo>
                  <a:lnTo>
                    <a:pt x="178" y="576"/>
                  </a:lnTo>
                  <a:lnTo>
                    <a:pt x="174" y="576"/>
                  </a:lnTo>
                  <a:lnTo>
                    <a:pt x="167" y="578"/>
                  </a:lnTo>
                  <a:lnTo>
                    <a:pt x="164" y="578"/>
                  </a:lnTo>
                  <a:lnTo>
                    <a:pt x="164" y="577"/>
                  </a:lnTo>
                  <a:lnTo>
                    <a:pt x="162" y="577"/>
                  </a:lnTo>
                  <a:lnTo>
                    <a:pt x="162" y="577"/>
                  </a:lnTo>
                  <a:lnTo>
                    <a:pt x="161" y="575"/>
                  </a:lnTo>
                  <a:lnTo>
                    <a:pt x="159" y="572"/>
                  </a:lnTo>
                  <a:lnTo>
                    <a:pt x="156" y="564"/>
                  </a:lnTo>
                  <a:lnTo>
                    <a:pt x="154" y="559"/>
                  </a:lnTo>
                  <a:lnTo>
                    <a:pt x="152" y="555"/>
                  </a:lnTo>
                  <a:lnTo>
                    <a:pt x="150" y="552"/>
                  </a:lnTo>
                  <a:lnTo>
                    <a:pt x="148" y="549"/>
                  </a:lnTo>
                  <a:lnTo>
                    <a:pt x="147" y="548"/>
                  </a:lnTo>
                  <a:lnTo>
                    <a:pt x="144" y="547"/>
                  </a:lnTo>
                  <a:lnTo>
                    <a:pt x="143" y="547"/>
                  </a:lnTo>
                  <a:lnTo>
                    <a:pt x="141" y="546"/>
                  </a:lnTo>
                  <a:lnTo>
                    <a:pt x="116" y="545"/>
                  </a:lnTo>
                  <a:lnTo>
                    <a:pt x="104" y="544"/>
                  </a:lnTo>
                  <a:lnTo>
                    <a:pt x="91" y="544"/>
                  </a:lnTo>
                  <a:lnTo>
                    <a:pt x="85" y="544"/>
                  </a:lnTo>
                  <a:lnTo>
                    <a:pt x="75" y="545"/>
                  </a:lnTo>
                  <a:lnTo>
                    <a:pt x="72" y="545"/>
                  </a:lnTo>
                  <a:lnTo>
                    <a:pt x="68" y="545"/>
                  </a:lnTo>
                  <a:lnTo>
                    <a:pt x="66" y="544"/>
                  </a:lnTo>
                  <a:lnTo>
                    <a:pt x="64" y="544"/>
                  </a:lnTo>
                  <a:lnTo>
                    <a:pt x="61" y="543"/>
                  </a:lnTo>
                  <a:lnTo>
                    <a:pt x="59" y="542"/>
                  </a:lnTo>
                  <a:lnTo>
                    <a:pt x="57" y="541"/>
                  </a:lnTo>
                  <a:lnTo>
                    <a:pt x="55" y="539"/>
                  </a:lnTo>
                  <a:lnTo>
                    <a:pt x="54" y="538"/>
                  </a:lnTo>
                  <a:lnTo>
                    <a:pt x="52" y="537"/>
                  </a:lnTo>
                  <a:lnTo>
                    <a:pt x="49" y="530"/>
                  </a:lnTo>
                  <a:lnTo>
                    <a:pt x="48" y="528"/>
                  </a:lnTo>
                  <a:lnTo>
                    <a:pt x="47" y="527"/>
                  </a:lnTo>
                  <a:lnTo>
                    <a:pt x="45" y="525"/>
                  </a:lnTo>
                  <a:lnTo>
                    <a:pt x="44" y="524"/>
                  </a:lnTo>
                  <a:lnTo>
                    <a:pt x="42" y="522"/>
                  </a:lnTo>
                  <a:lnTo>
                    <a:pt x="39" y="521"/>
                  </a:lnTo>
                  <a:lnTo>
                    <a:pt x="37" y="519"/>
                  </a:lnTo>
                  <a:lnTo>
                    <a:pt x="34" y="518"/>
                  </a:lnTo>
                  <a:lnTo>
                    <a:pt x="31" y="517"/>
                  </a:lnTo>
                  <a:lnTo>
                    <a:pt x="27" y="516"/>
                  </a:lnTo>
                  <a:lnTo>
                    <a:pt x="21" y="514"/>
                  </a:lnTo>
                  <a:lnTo>
                    <a:pt x="10" y="512"/>
                  </a:lnTo>
                  <a:lnTo>
                    <a:pt x="7" y="512"/>
                  </a:lnTo>
                  <a:lnTo>
                    <a:pt x="5" y="511"/>
                  </a:lnTo>
                  <a:lnTo>
                    <a:pt x="3" y="510"/>
                  </a:lnTo>
                  <a:lnTo>
                    <a:pt x="1" y="509"/>
                  </a:lnTo>
                  <a:lnTo>
                    <a:pt x="0" y="508"/>
                  </a:lnTo>
                  <a:lnTo>
                    <a:pt x="0" y="508"/>
                  </a:lnTo>
                  <a:lnTo>
                    <a:pt x="0" y="507"/>
                  </a:lnTo>
                  <a:lnTo>
                    <a:pt x="0" y="507"/>
                  </a:lnTo>
                  <a:lnTo>
                    <a:pt x="0" y="502"/>
                  </a:lnTo>
                  <a:lnTo>
                    <a:pt x="0" y="499"/>
                  </a:lnTo>
                  <a:lnTo>
                    <a:pt x="4" y="484"/>
                  </a:lnTo>
                  <a:lnTo>
                    <a:pt x="5" y="480"/>
                  </a:lnTo>
                  <a:lnTo>
                    <a:pt x="6" y="477"/>
                  </a:lnTo>
                  <a:lnTo>
                    <a:pt x="7" y="474"/>
                  </a:lnTo>
                  <a:lnTo>
                    <a:pt x="8" y="472"/>
                  </a:lnTo>
                  <a:lnTo>
                    <a:pt x="9" y="471"/>
                  </a:lnTo>
                  <a:lnTo>
                    <a:pt x="10" y="469"/>
                  </a:lnTo>
                  <a:lnTo>
                    <a:pt x="13" y="466"/>
                  </a:lnTo>
                  <a:lnTo>
                    <a:pt x="18" y="461"/>
                  </a:lnTo>
                  <a:lnTo>
                    <a:pt x="19" y="459"/>
                  </a:lnTo>
                  <a:lnTo>
                    <a:pt x="20" y="458"/>
                  </a:lnTo>
                  <a:lnTo>
                    <a:pt x="21" y="457"/>
                  </a:lnTo>
                  <a:lnTo>
                    <a:pt x="21" y="455"/>
                  </a:lnTo>
                  <a:lnTo>
                    <a:pt x="22" y="453"/>
                  </a:lnTo>
                  <a:lnTo>
                    <a:pt x="22" y="451"/>
                  </a:lnTo>
                  <a:lnTo>
                    <a:pt x="21" y="447"/>
                  </a:lnTo>
                  <a:lnTo>
                    <a:pt x="20" y="445"/>
                  </a:lnTo>
                  <a:lnTo>
                    <a:pt x="19" y="442"/>
                  </a:lnTo>
                  <a:lnTo>
                    <a:pt x="18" y="440"/>
                  </a:lnTo>
                  <a:lnTo>
                    <a:pt x="17" y="438"/>
                  </a:lnTo>
                  <a:lnTo>
                    <a:pt x="12" y="432"/>
                  </a:lnTo>
                  <a:lnTo>
                    <a:pt x="10" y="430"/>
                  </a:lnTo>
                  <a:lnTo>
                    <a:pt x="8" y="425"/>
                  </a:lnTo>
                  <a:lnTo>
                    <a:pt x="7" y="422"/>
                  </a:lnTo>
                  <a:lnTo>
                    <a:pt x="6" y="419"/>
                  </a:lnTo>
                  <a:lnTo>
                    <a:pt x="5" y="416"/>
                  </a:lnTo>
                  <a:lnTo>
                    <a:pt x="5" y="414"/>
                  </a:lnTo>
                  <a:lnTo>
                    <a:pt x="5" y="412"/>
                  </a:lnTo>
                  <a:lnTo>
                    <a:pt x="6" y="410"/>
                  </a:lnTo>
                  <a:lnTo>
                    <a:pt x="7" y="407"/>
                  </a:lnTo>
                  <a:lnTo>
                    <a:pt x="8" y="406"/>
                  </a:lnTo>
                  <a:lnTo>
                    <a:pt x="9" y="405"/>
                  </a:lnTo>
                  <a:lnTo>
                    <a:pt x="11" y="402"/>
                  </a:lnTo>
                  <a:lnTo>
                    <a:pt x="15" y="398"/>
                  </a:lnTo>
                  <a:lnTo>
                    <a:pt x="19" y="393"/>
                  </a:lnTo>
                  <a:lnTo>
                    <a:pt x="20" y="392"/>
                  </a:lnTo>
                  <a:lnTo>
                    <a:pt x="22" y="391"/>
                  </a:lnTo>
                  <a:lnTo>
                    <a:pt x="26" y="390"/>
                  </a:lnTo>
                  <a:lnTo>
                    <a:pt x="27" y="389"/>
                  </a:lnTo>
                  <a:lnTo>
                    <a:pt x="29" y="388"/>
                  </a:lnTo>
                  <a:lnTo>
                    <a:pt x="29" y="387"/>
                  </a:lnTo>
                  <a:lnTo>
                    <a:pt x="30" y="386"/>
                  </a:lnTo>
                  <a:lnTo>
                    <a:pt x="31" y="384"/>
                  </a:lnTo>
                  <a:lnTo>
                    <a:pt x="32" y="380"/>
                  </a:lnTo>
                  <a:lnTo>
                    <a:pt x="33" y="378"/>
                  </a:lnTo>
                  <a:lnTo>
                    <a:pt x="33" y="377"/>
                  </a:lnTo>
                  <a:lnTo>
                    <a:pt x="33" y="376"/>
                  </a:lnTo>
                  <a:lnTo>
                    <a:pt x="32" y="375"/>
                  </a:lnTo>
                  <a:lnTo>
                    <a:pt x="32" y="375"/>
                  </a:lnTo>
                  <a:lnTo>
                    <a:pt x="31" y="373"/>
                  </a:lnTo>
                  <a:lnTo>
                    <a:pt x="26" y="370"/>
                  </a:lnTo>
                  <a:lnTo>
                    <a:pt x="24" y="368"/>
                  </a:lnTo>
                  <a:lnTo>
                    <a:pt x="22" y="366"/>
                  </a:lnTo>
                  <a:lnTo>
                    <a:pt x="21" y="365"/>
                  </a:lnTo>
                  <a:lnTo>
                    <a:pt x="20" y="363"/>
                  </a:lnTo>
                  <a:lnTo>
                    <a:pt x="19" y="361"/>
                  </a:lnTo>
                  <a:lnTo>
                    <a:pt x="19" y="360"/>
                  </a:lnTo>
                  <a:lnTo>
                    <a:pt x="18" y="357"/>
                  </a:lnTo>
                  <a:lnTo>
                    <a:pt x="18" y="356"/>
                  </a:lnTo>
                  <a:lnTo>
                    <a:pt x="18" y="355"/>
                  </a:lnTo>
                  <a:lnTo>
                    <a:pt x="18" y="352"/>
                  </a:lnTo>
                  <a:lnTo>
                    <a:pt x="18" y="351"/>
                  </a:lnTo>
                  <a:lnTo>
                    <a:pt x="18" y="350"/>
                  </a:lnTo>
                  <a:lnTo>
                    <a:pt x="19" y="349"/>
                  </a:lnTo>
                  <a:lnTo>
                    <a:pt x="19" y="348"/>
                  </a:lnTo>
                  <a:lnTo>
                    <a:pt x="20" y="347"/>
                  </a:lnTo>
                  <a:lnTo>
                    <a:pt x="21" y="346"/>
                  </a:lnTo>
                  <a:lnTo>
                    <a:pt x="22" y="345"/>
                  </a:lnTo>
                  <a:lnTo>
                    <a:pt x="29" y="342"/>
                  </a:lnTo>
                  <a:lnTo>
                    <a:pt x="30" y="340"/>
                  </a:lnTo>
                  <a:lnTo>
                    <a:pt x="32" y="340"/>
                  </a:lnTo>
                  <a:lnTo>
                    <a:pt x="33" y="338"/>
                  </a:lnTo>
                  <a:lnTo>
                    <a:pt x="34" y="337"/>
                  </a:lnTo>
                  <a:lnTo>
                    <a:pt x="35" y="335"/>
                  </a:lnTo>
                  <a:lnTo>
                    <a:pt x="36" y="334"/>
                  </a:lnTo>
                  <a:lnTo>
                    <a:pt x="37" y="332"/>
                  </a:lnTo>
                  <a:lnTo>
                    <a:pt x="37" y="330"/>
                  </a:lnTo>
                  <a:lnTo>
                    <a:pt x="37" y="329"/>
                  </a:lnTo>
                  <a:lnTo>
                    <a:pt x="37" y="327"/>
                  </a:lnTo>
                  <a:lnTo>
                    <a:pt x="37" y="325"/>
                  </a:lnTo>
                  <a:lnTo>
                    <a:pt x="37" y="321"/>
                  </a:lnTo>
                  <a:lnTo>
                    <a:pt x="37" y="317"/>
                  </a:lnTo>
                  <a:lnTo>
                    <a:pt x="37" y="315"/>
                  </a:lnTo>
                  <a:lnTo>
                    <a:pt x="37" y="312"/>
                  </a:lnTo>
                  <a:lnTo>
                    <a:pt x="37" y="310"/>
                  </a:lnTo>
                  <a:lnTo>
                    <a:pt x="37" y="307"/>
                  </a:lnTo>
                  <a:lnTo>
                    <a:pt x="39" y="305"/>
                  </a:lnTo>
                  <a:lnTo>
                    <a:pt x="39" y="302"/>
                  </a:lnTo>
                  <a:lnTo>
                    <a:pt x="42" y="300"/>
                  </a:lnTo>
                  <a:lnTo>
                    <a:pt x="47" y="295"/>
                  </a:lnTo>
                  <a:lnTo>
                    <a:pt x="49" y="292"/>
                  </a:lnTo>
                  <a:lnTo>
                    <a:pt x="52" y="290"/>
                  </a:lnTo>
                  <a:lnTo>
                    <a:pt x="59" y="285"/>
                  </a:lnTo>
                  <a:lnTo>
                    <a:pt x="67" y="279"/>
                  </a:lnTo>
                  <a:lnTo>
                    <a:pt x="69" y="277"/>
                  </a:lnTo>
                  <a:lnTo>
                    <a:pt x="71" y="275"/>
                  </a:lnTo>
                  <a:lnTo>
                    <a:pt x="73" y="273"/>
                  </a:lnTo>
                  <a:lnTo>
                    <a:pt x="74" y="270"/>
                  </a:lnTo>
                  <a:lnTo>
                    <a:pt x="76" y="265"/>
                  </a:lnTo>
                  <a:lnTo>
                    <a:pt x="79" y="258"/>
                  </a:lnTo>
                  <a:lnTo>
                    <a:pt x="81" y="254"/>
                  </a:lnTo>
                  <a:lnTo>
                    <a:pt x="83" y="249"/>
                  </a:lnTo>
                  <a:lnTo>
                    <a:pt x="87" y="243"/>
                  </a:lnTo>
                  <a:lnTo>
                    <a:pt x="88" y="240"/>
                  </a:lnTo>
                  <a:lnTo>
                    <a:pt x="89" y="237"/>
                  </a:lnTo>
                  <a:lnTo>
                    <a:pt x="90" y="233"/>
                  </a:lnTo>
                  <a:lnTo>
                    <a:pt x="92" y="228"/>
                  </a:lnTo>
                  <a:lnTo>
                    <a:pt x="92" y="225"/>
                  </a:lnTo>
                  <a:lnTo>
                    <a:pt x="93" y="223"/>
                  </a:lnTo>
                  <a:lnTo>
                    <a:pt x="93" y="220"/>
                  </a:lnTo>
                  <a:lnTo>
                    <a:pt x="92" y="219"/>
                  </a:lnTo>
                  <a:lnTo>
                    <a:pt x="92" y="217"/>
                  </a:lnTo>
                  <a:lnTo>
                    <a:pt x="91" y="215"/>
                  </a:lnTo>
                  <a:lnTo>
                    <a:pt x="89" y="213"/>
                  </a:lnTo>
                  <a:lnTo>
                    <a:pt x="88" y="211"/>
                  </a:lnTo>
                  <a:lnTo>
                    <a:pt x="84" y="207"/>
                  </a:lnTo>
                  <a:lnTo>
                    <a:pt x="83" y="205"/>
                  </a:lnTo>
                  <a:lnTo>
                    <a:pt x="81" y="201"/>
                  </a:lnTo>
                  <a:lnTo>
                    <a:pt x="77" y="193"/>
                  </a:lnTo>
                  <a:lnTo>
                    <a:pt x="74" y="188"/>
                  </a:lnTo>
                  <a:lnTo>
                    <a:pt x="73" y="183"/>
                  </a:lnTo>
                  <a:lnTo>
                    <a:pt x="69" y="173"/>
                  </a:lnTo>
                  <a:lnTo>
                    <a:pt x="69" y="170"/>
                  </a:lnTo>
                  <a:lnTo>
                    <a:pt x="69" y="169"/>
                  </a:lnTo>
                  <a:lnTo>
                    <a:pt x="69" y="168"/>
                  </a:lnTo>
                  <a:lnTo>
                    <a:pt x="74" y="155"/>
                  </a:lnTo>
                  <a:lnTo>
                    <a:pt x="75" y="151"/>
                  </a:lnTo>
                  <a:lnTo>
                    <a:pt x="77" y="147"/>
                  </a:lnTo>
                  <a:lnTo>
                    <a:pt x="79" y="143"/>
                  </a:lnTo>
                  <a:lnTo>
                    <a:pt x="80" y="140"/>
                  </a:lnTo>
                  <a:lnTo>
                    <a:pt x="87" y="130"/>
                  </a:lnTo>
                  <a:lnTo>
                    <a:pt x="88" y="128"/>
                  </a:lnTo>
                  <a:lnTo>
                    <a:pt x="89" y="127"/>
                  </a:lnTo>
                  <a:lnTo>
                    <a:pt x="89" y="125"/>
                  </a:lnTo>
                  <a:lnTo>
                    <a:pt x="88" y="123"/>
                  </a:lnTo>
                  <a:lnTo>
                    <a:pt x="86" y="118"/>
                  </a:lnTo>
                  <a:lnTo>
                    <a:pt x="82" y="112"/>
                  </a:lnTo>
                  <a:lnTo>
                    <a:pt x="80" y="106"/>
                  </a:lnTo>
                  <a:lnTo>
                    <a:pt x="79" y="103"/>
                  </a:lnTo>
                  <a:lnTo>
                    <a:pt x="77" y="99"/>
                  </a:lnTo>
                  <a:lnTo>
                    <a:pt x="77" y="93"/>
                  </a:lnTo>
                  <a:lnTo>
                    <a:pt x="76" y="89"/>
                  </a:lnTo>
                  <a:lnTo>
                    <a:pt x="76" y="86"/>
                  </a:lnTo>
                  <a:lnTo>
                    <a:pt x="75" y="75"/>
                  </a:lnTo>
                  <a:lnTo>
                    <a:pt x="75" y="73"/>
                  </a:lnTo>
                  <a:lnTo>
                    <a:pt x="74" y="69"/>
                  </a:lnTo>
                  <a:lnTo>
                    <a:pt x="73" y="65"/>
                  </a:lnTo>
                  <a:lnTo>
                    <a:pt x="72" y="61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68" y="56"/>
                  </a:lnTo>
                  <a:lnTo>
                    <a:pt x="67" y="53"/>
                  </a:lnTo>
                  <a:lnTo>
                    <a:pt x="66" y="52"/>
                  </a:lnTo>
                  <a:lnTo>
                    <a:pt x="65" y="50"/>
                  </a:lnTo>
                  <a:lnTo>
                    <a:pt x="65" y="49"/>
                  </a:lnTo>
                  <a:lnTo>
                    <a:pt x="64" y="48"/>
                  </a:lnTo>
                  <a:lnTo>
                    <a:pt x="64" y="46"/>
                  </a:lnTo>
                  <a:lnTo>
                    <a:pt x="64" y="45"/>
                  </a:lnTo>
                  <a:lnTo>
                    <a:pt x="65" y="41"/>
                  </a:lnTo>
                  <a:lnTo>
                    <a:pt x="69" y="28"/>
                  </a:lnTo>
                  <a:lnTo>
                    <a:pt x="70" y="25"/>
                  </a:lnTo>
                  <a:lnTo>
                    <a:pt x="71" y="24"/>
                  </a:lnTo>
                  <a:lnTo>
                    <a:pt x="72" y="23"/>
                  </a:lnTo>
                  <a:lnTo>
                    <a:pt x="74" y="20"/>
                  </a:lnTo>
                  <a:lnTo>
                    <a:pt x="75" y="18"/>
                  </a:lnTo>
                  <a:lnTo>
                    <a:pt x="76" y="18"/>
                  </a:lnTo>
                  <a:lnTo>
                    <a:pt x="77" y="17"/>
                  </a:lnTo>
                  <a:lnTo>
                    <a:pt x="77" y="17"/>
                  </a:lnTo>
                  <a:lnTo>
                    <a:pt x="77" y="18"/>
                  </a:lnTo>
                  <a:lnTo>
                    <a:pt x="79" y="19"/>
                  </a:lnTo>
                  <a:lnTo>
                    <a:pt x="81" y="20"/>
                  </a:lnTo>
                  <a:lnTo>
                    <a:pt x="83" y="20"/>
                  </a:lnTo>
                  <a:lnTo>
                    <a:pt x="86" y="21"/>
                  </a:lnTo>
                  <a:lnTo>
                    <a:pt x="89" y="22"/>
                  </a:lnTo>
                  <a:lnTo>
                    <a:pt x="92" y="23"/>
                  </a:lnTo>
                  <a:lnTo>
                    <a:pt x="93" y="22"/>
                  </a:lnTo>
                  <a:lnTo>
                    <a:pt x="94" y="21"/>
                  </a:lnTo>
                  <a:lnTo>
                    <a:pt x="95" y="20"/>
                  </a:lnTo>
                  <a:lnTo>
                    <a:pt x="98" y="18"/>
                  </a:lnTo>
                  <a:lnTo>
                    <a:pt x="101" y="13"/>
                  </a:lnTo>
                  <a:lnTo>
                    <a:pt x="102" y="13"/>
                  </a:lnTo>
                  <a:lnTo>
                    <a:pt x="102" y="13"/>
                  </a:lnTo>
                  <a:lnTo>
                    <a:pt x="104" y="12"/>
                  </a:lnTo>
                  <a:lnTo>
                    <a:pt x="106" y="12"/>
                  </a:lnTo>
                  <a:lnTo>
                    <a:pt x="109" y="13"/>
                  </a:lnTo>
                  <a:lnTo>
                    <a:pt x="113" y="13"/>
                  </a:lnTo>
                  <a:lnTo>
                    <a:pt x="114" y="13"/>
                  </a:lnTo>
                  <a:lnTo>
                    <a:pt x="115" y="13"/>
                  </a:lnTo>
                  <a:lnTo>
                    <a:pt x="118" y="11"/>
                  </a:lnTo>
                  <a:lnTo>
                    <a:pt x="119" y="10"/>
                  </a:lnTo>
                  <a:lnTo>
                    <a:pt x="119" y="10"/>
                  </a:lnTo>
                  <a:lnTo>
                    <a:pt x="121" y="7"/>
                  </a:lnTo>
                  <a:lnTo>
                    <a:pt x="122" y="5"/>
                  </a:lnTo>
                  <a:lnTo>
                    <a:pt x="124" y="3"/>
                  </a:lnTo>
                  <a:lnTo>
                    <a:pt x="127" y="0"/>
                  </a:lnTo>
                  <a:lnTo>
                    <a:pt x="127" y="0"/>
                  </a:lnTo>
                  <a:close/>
                </a:path>
              </a:pathLst>
            </a:custGeom>
            <a:solidFill>
              <a:srgbClr val="EFF3FF"/>
            </a:solidFill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101">
              <a:extLst>
                <a:ext uri="{FF2B5EF4-FFF2-40B4-BE49-F238E27FC236}">
                  <a16:creationId xmlns:a16="http://schemas.microsoft.com/office/drawing/2014/main" id="{90766A49-DB8E-F0A8-DCA4-0BA23D6D22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186" y="5395750"/>
              <a:ext cx="1076325" cy="930275"/>
            </a:xfrm>
            <a:custGeom>
              <a:avLst/>
              <a:gdLst>
                <a:gd name="T0" fmla="*/ 141 w 678"/>
                <a:gd name="T1" fmla="*/ 7 h 586"/>
                <a:gd name="T2" fmla="*/ 179 w 678"/>
                <a:gd name="T3" fmla="*/ 19 h 586"/>
                <a:gd name="T4" fmla="*/ 197 w 678"/>
                <a:gd name="T5" fmla="*/ 39 h 586"/>
                <a:gd name="T6" fmla="*/ 244 w 678"/>
                <a:gd name="T7" fmla="*/ 42 h 586"/>
                <a:gd name="T8" fmla="*/ 296 w 678"/>
                <a:gd name="T9" fmla="*/ 62 h 586"/>
                <a:gd name="T10" fmla="*/ 324 w 678"/>
                <a:gd name="T11" fmla="*/ 74 h 586"/>
                <a:gd name="T12" fmla="*/ 364 w 678"/>
                <a:gd name="T13" fmla="*/ 65 h 586"/>
                <a:gd name="T14" fmla="*/ 394 w 678"/>
                <a:gd name="T15" fmla="*/ 40 h 586"/>
                <a:gd name="T16" fmla="*/ 410 w 678"/>
                <a:gd name="T17" fmla="*/ 47 h 586"/>
                <a:gd name="T18" fmla="*/ 434 w 678"/>
                <a:gd name="T19" fmla="*/ 51 h 586"/>
                <a:gd name="T20" fmla="*/ 447 w 678"/>
                <a:gd name="T21" fmla="*/ 68 h 586"/>
                <a:gd name="T22" fmla="*/ 470 w 678"/>
                <a:gd name="T23" fmla="*/ 95 h 586"/>
                <a:gd name="T24" fmla="*/ 510 w 678"/>
                <a:gd name="T25" fmla="*/ 107 h 586"/>
                <a:gd name="T26" fmla="*/ 601 w 678"/>
                <a:gd name="T27" fmla="*/ 105 h 586"/>
                <a:gd name="T28" fmla="*/ 629 w 678"/>
                <a:gd name="T29" fmla="*/ 94 h 586"/>
                <a:gd name="T30" fmla="*/ 644 w 678"/>
                <a:gd name="T31" fmla="*/ 75 h 586"/>
                <a:gd name="T32" fmla="*/ 652 w 678"/>
                <a:gd name="T33" fmla="*/ 92 h 586"/>
                <a:gd name="T34" fmla="*/ 652 w 678"/>
                <a:gd name="T35" fmla="*/ 145 h 586"/>
                <a:gd name="T36" fmla="*/ 677 w 678"/>
                <a:gd name="T37" fmla="*/ 182 h 586"/>
                <a:gd name="T38" fmla="*/ 668 w 678"/>
                <a:gd name="T39" fmla="*/ 201 h 586"/>
                <a:gd name="T40" fmla="*/ 639 w 678"/>
                <a:gd name="T41" fmla="*/ 226 h 586"/>
                <a:gd name="T42" fmla="*/ 606 w 678"/>
                <a:gd name="T43" fmla="*/ 244 h 586"/>
                <a:gd name="T44" fmla="*/ 591 w 678"/>
                <a:gd name="T45" fmla="*/ 274 h 586"/>
                <a:gd name="T46" fmla="*/ 584 w 678"/>
                <a:gd name="T47" fmla="*/ 312 h 586"/>
                <a:gd name="T48" fmla="*/ 574 w 678"/>
                <a:gd name="T49" fmla="*/ 336 h 586"/>
                <a:gd name="T50" fmla="*/ 585 w 678"/>
                <a:gd name="T51" fmla="*/ 365 h 586"/>
                <a:gd name="T52" fmla="*/ 584 w 678"/>
                <a:gd name="T53" fmla="*/ 379 h 586"/>
                <a:gd name="T54" fmla="*/ 570 w 678"/>
                <a:gd name="T55" fmla="*/ 385 h 586"/>
                <a:gd name="T56" fmla="*/ 527 w 678"/>
                <a:gd name="T57" fmla="*/ 367 h 586"/>
                <a:gd name="T58" fmla="*/ 474 w 678"/>
                <a:gd name="T59" fmla="*/ 367 h 586"/>
                <a:gd name="T60" fmla="*/ 411 w 678"/>
                <a:gd name="T61" fmla="*/ 379 h 586"/>
                <a:gd name="T62" fmla="*/ 379 w 678"/>
                <a:gd name="T63" fmla="*/ 379 h 586"/>
                <a:gd name="T64" fmla="*/ 376 w 678"/>
                <a:gd name="T65" fmla="*/ 409 h 586"/>
                <a:gd name="T66" fmla="*/ 384 w 678"/>
                <a:gd name="T67" fmla="*/ 464 h 586"/>
                <a:gd name="T68" fmla="*/ 393 w 678"/>
                <a:gd name="T69" fmla="*/ 515 h 586"/>
                <a:gd name="T70" fmla="*/ 375 w 678"/>
                <a:gd name="T71" fmla="*/ 559 h 586"/>
                <a:gd name="T72" fmla="*/ 347 w 678"/>
                <a:gd name="T73" fmla="*/ 573 h 586"/>
                <a:gd name="T74" fmla="*/ 326 w 678"/>
                <a:gd name="T75" fmla="*/ 576 h 586"/>
                <a:gd name="T76" fmla="*/ 281 w 678"/>
                <a:gd name="T77" fmla="*/ 551 h 586"/>
                <a:gd name="T78" fmla="*/ 243 w 678"/>
                <a:gd name="T79" fmla="*/ 531 h 586"/>
                <a:gd name="T80" fmla="*/ 226 w 678"/>
                <a:gd name="T81" fmla="*/ 477 h 586"/>
                <a:gd name="T82" fmla="*/ 203 w 678"/>
                <a:gd name="T83" fmla="*/ 454 h 586"/>
                <a:gd name="T84" fmla="*/ 181 w 678"/>
                <a:gd name="T85" fmla="*/ 402 h 586"/>
                <a:gd name="T86" fmla="*/ 148 w 678"/>
                <a:gd name="T87" fmla="*/ 394 h 586"/>
                <a:gd name="T88" fmla="*/ 115 w 678"/>
                <a:gd name="T89" fmla="*/ 384 h 586"/>
                <a:gd name="T90" fmla="*/ 75 w 678"/>
                <a:gd name="T91" fmla="*/ 308 h 586"/>
                <a:gd name="T92" fmla="*/ 57 w 678"/>
                <a:gd name="T93" fmla="*/ 301 h 586"/>
                <a:gd name="T94" fmla="*/ 34 w 678"/>
                <a:gd name="T95" fmla="*/ 275 h 586"/>
                <a:gd name="T96" fmla="*/ 8 w 678"/>
                <a:gd name="T97" fmla="*/ 270 h 586"/>
                <a:gd name="T98" fmla="*/ 0 w 678"/>
                <a:gd name="T99" fmla="*/ 232 h 586"/>
                <a:gd name="T100" fmla="*/ 13 w 678"/>
                <a:gd name="T101" fmla="*/ 184 h 586"/>
                <a:gd name="T102" fmla="*/ 40 w 678"/>
                <a:gd name="T103" fmla="*/ 159 h 586"/>
                <a:gd name="T104" fmla="*/ 56 w 678"/>
                <a:gd name="T105" fmla="*/ 140 h 586"/>
                <a:gd name="T106" fmla="*/ 47 w 678"/>
                <a:gd name="T107" fmla="*/ 91 h 586"/>
                <a:gd name="T108" fmla="*/ 52 w 678"/>
                <a:gd name="T109" fmla="*/ 40 h 586"/>
                <a:gd name="T110" fmla="*/ 74 w 678"/>
                <a:gd name="T111" fmla="*/ 27 h 586"/>
                <a:gd name="T112" fmla="*/ 99 w 678"/>
                <a:gd name="T113" fmla="*/ 22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78" h="586">
                  <a:moveTo>
                    <a:pt x="132" y="0"/>
                  </a:moveTo>
                  <a:lnTo>
                    <a:pt x="135" y="2"/>
                  </a:lnTo>
                  <a:lnTo>
                    <a:pt x="137" y="1"/>
                  </a:lnTo>
                  <a:lnTo>
                    <a:pt x="137" y="1"/>
                  </a:lnTo>
                  <a:lnTo>
                    <a:pt x="138" y="2"/>
                  </a:lnTo>
                  <a:lnTo>
                    <a:pt x="139" y="2"/>
                  </a:lnTo>
                  <a:lnTo>
                    <a:pt x="140" y="5"/>
                  </a:lnTo>
                  <a:lnTo>
                    <a:pt x="140" y="6"/>
                  </a:lnTo>
                  <a:lnTo>
                    <a:pt x="140" y="6"/>
                  </a:lnTo>
                  <a:lnTo>
                    <a:pt x="141" y="7"/>
                  </a:lnTo>
                  <a:lnTo>
                    <a:pt x="143" y="8"/>
                  </a:lnTo>
                  <a:lnTo>
                    <a:pt x="145" y="9"/>
                  </a:lnTo>
                  <a:lnTo>
                    <a:pt x="147" y="10"/>
                  </a:lnTo>
                  <a:lnTo>
                    <a:pt x="150" y="10"/>
                  </a:lnTo>
                  <a:lnTo>
                    <a:pt x="161" y="12"/>
                  </a:lnTo>
                  <a:lnTo>
                    <a:pt x="167" y="14"/>
                  </a:lnTo>
                  <a:lnTo>
                    <a:pt x="171" y="15"/>
                  </a:lnTo>
                  <a:lnTo>
                    <a:pt x="174" y="16"/>
                  </a:lnTo>
                  <a:lnTo>
                    <a:pt x="177" y="17"/>
                  </a:lnTo>
                  <a:lnTo>
                    <a:pt x="179" y="19"/>
                  </a:lnTo>
                  <a:lnTo>
                    <a:pt x="182" y="20"/>
                  </a:lnTo>
                  <a:lnTo>
                    <a:pt x="184" y="22"/>
                  </a:lnTo>
                  <a:lnTo>
                    <a:pt x="185" y="23"/>
                  </a:lnTo>
                  <a:lnTo>
                    <a:pt x="187" y="25"/>
                  </a:lnTo>
                  <a:lnTo>
                    <a:pt x="188" y="26"/>
                  </a:lnTo>
                  <a:lnTo>
                    <a:pt x="189" y="28"/>
                  </a:lnTo>
                  <a:lnTo>
                    <a:pt x="192" y="35"/>
                  </a:lnTo>
                  <a:lnTo>
                    <a:pt x="194" y="36"/>
                  </a:lnTo>
                  <a:lnTo>
                    <a:pt x="195" y="37"/>
                  </a:lnTo>
                  <a:lnTo>
                    <a:pt x="197" y="39"/>
                  </a:lnTo>
                  <a:lnTo>
                    <a:pt x="199" y="40"/>
                  </a:lnTo>
                  <a:lnTo>
                    <a:pt x="201" y="41"/>
                  </a:lnTo>
                  <a:lnTo>
                    <a:pt x="204" y="42"/>
                  </a:lnTo>
                  <a:lnTo>
                    <a:pt x="206" y="42"/>
                  </a:lnTo>
                  <a:lnTo>
                    <a:pt x="208" y="43"/>
                  </a:lnTo>
                  <a:lnTo>
                    <a:pt x="212" y="43"/>
                  </a:lnTo>
                  <a:lnTo>
                    <a:pt x="215" y="43"/>
                  </a:lnTo>
                  <a:lnTo>
                    <a:pt x="225" y="42"/>
                  </a:lnTo>
                  <a:lnTo>
                    <a:pt x="231" y="42"/>
                  </a:lnTo>
                  <a:lnTo>
                    <a:pt x="244" y="42"/>
                  </a:lnTo>
                  <a:lnTo>
                    <a:pt x="256" y="43"/>
                  </a:lnTo>
                  <a:lnTo>
                    <a:pt x="281" y="44"/>
                  </a:lnTo>
                  <a:lnTo>
                    <a:pt x="283" y="45"/>
                  </a:lnTo>
                  <a:lnTo>
                    <a:pt x="284" y="45"/>
                  </a:lnTo>
                  <a:lnTo>
                    <a:pt x="287" y="46"/>
                  </a:lnTo>
                  <a:lnTo>
                    <a:pt x="288" y="47"/>
                  </a:lnTo>
                  <a:lnTo>
                    <a:pt x="290" y="50"/>
                  </a:lnTo>
                  <a:lnTo>
                    <a:pt x="292" y="53"/>
                  </a:lnTo>
                  <a:lnTo>
                    <a:pt x="294" y="57"/>
                  </a:lnTo>
                  <a:lnTo>
                    <a:pt x="296" y="62"/>
                  </a:lnTo>
                  <a:lnTo>
                    <a:pt x="299" y="70"/>
                  </a:lnTo>
                  <a:lnTo>
                    <a:pt x="301" y="73"/>
                  </a:lnTo>
                  <a:lnTo>
                    <a:pt x="302" y="75"/>
                  </a:lnTo>
                  <a:lnTo>
                    <a:pt x="302" y="75"/>
                  </a:lnTo>
                  <a:lnTo>
                    <a:pt x="304" y="75"/>
                  </a:lnTo>
                  <a:lnTo>
                    <a:pt x="304" y="76"/>
                  </a:lnTo>
                  <a:lnTo>
                    <a:pt x="307" y="76"/>
                  </a:lnTo>
                  <a:lnTo>
                    <a:pt x="314" y="74"/>
                  </a:lnTo>
                  <a:lnTo>
                    <a:pt x="318" y="74"/>
                  </a:lnTo>
                  <a:lnTo>
                    <a:pt x="324" y="74"/>
                  </a:lnTo>
                  <a:lnTo>
                    <a:pt x="332" y="74"/>
                  </a:lnTo>
                  <a:lnTo>
                    <a:pt x="337" y="74"/>
                  </a:lnTo>
                  <a:lnTo>
                    <a:pt x="339" y="74"/>
                  </a:lnTo>
                  <a:lnTo>
                    <a:pt x="340" y="74"/>
                  </a:lnTo>
                  <a:lnTo>
                    <a:pt x="342" y="73"/>
                  </a:lnTo>
                  <a:lnTo>
                    <a:pt x="344" y="72"/>
                  </a:lnTo>
                  <a:lnTo>
                    <a:pt x="353" y="68"/>
                  </a:lnTo>
                  <a:lnTo>
                    <a:pt x="357" y="67"/>
                  </a:lnTo>
                  <a:lnTo>
                    <a:pt x="359" y="66"/>
                  </a:lnTo>
                  <a:lnTo>
                    <a:pt x="364" y="65"/>
                  </a:lnTo>
                  <a:lnTo>
                    <a:pt x="377" y="63"/>
                  </a:lnTo>
                  <a:lnTo>
                    <a:pt x="379" y="62"/>
                  </a:lnTo>
                  <a:lnTo>
                    <a:pt x="381" y="62"/>
                  </a:lnTo>
                  <a:lnTo>
                    <a:pt x="382" y="61"/>
                  </a:lnTo>
                  <a:lnTo>
                    <a:pt x="383" y="60"/>
                  </a:lnTo>
                  <a:lnTo>
                    <a:pt x="384" y="59"/>
                  </a:lnTo>
                  <a:lnTo>
                    <a:pt x="387" y="54"/>
                  </a:lnTo>
                  <a:lnTo>
                    <a:pt x="392" y="44"/>
                  </a:lnTo>
                  <a:lnTo>
                    <a:pt x="394" y="41"/>
                  </a:lnTo>
                  <a:lnTo>
                    <a:pt x="394" y="40"/>
                  </a:lnTo>
                  <a:lnTo>
                    <a:pt x="396" y="39"/>
                  </a:lnTo>
                  <a:lnTo>
                    <a:pt x="397" y="38"/>
                  </a:lnTo>
                  <a:lnTo>
                    <a:pt x="399" y="37"/>
                  </a:lnTo>
                  <a:lnTo>
                    <a:pt x="401" y="38"/>
                  </a:lnTo>
                  <a:lnTo>
                    <a:pt x="401" y="38"/>
                  </a:lnTo>
                  <a:lnTo>
                    <a:pt x="402" y="39"/>
                  </a:lnTo>
                  <a:lnTo>
                    <a:pt x="404" y="40"/>
                  </a:lnTo>
                  <a:lnTo>
                    <a:pt x="406" y="42"/>
                  </a:lnTo>
                  <a:lnTo>
                    <a:pt x="408" y="45"/>
                  </a:lnTo>
                  <a:lnTo>
                    <a:pt x="410" y="47"/>
                  </a:lnTo>
                  <a:lnTo>
                    <a:pt x="412" y="49"/>
                  </a:lnTo>
                  <a:lnTo>
                    <a:pt x="414" y="50"/>
                  </a:lnTo>
                  <a:lnTo>
                    <a:pt x="416" y="51"/>
                  </a:lnTo>
                  <a:lnTo>
                    <a:pt x="416" y="51"/>
                  </a:lnTo>
                  <a:lnTo>
                    <a:pt x="420" y="51"/>
                  </a:lnTo>
                  <a:lnTo>
                    <a:pt x="422" y="51"/>
                  </a:lnTo>
                  <a:lnTo>
                    <a:pt x="429" y="50"/>
                  </a:lnTo>
                  <a:lnTo>
                    <a:pt x="432" y="50"/>
                  </a:lnTo>
                  <a:lnTo>
                    <a:pt x="434" y="51"/>
                  </a:lnTo>
                  <a:lnTo>
                    <a:pt x="434" y="51"/>
                  </a:lnTo>
                  <a:lnTo>
                    <a:pt x="436" y="52"/>
                  </a:lnTo>
                  <a:lnTo>
                    <a:pt x="436" y="52"/>
                  </a:lnTo>
                  <a:lnTo>
                    <a:pt x="439" y="54"/>
                  </a:lnTo>
                  <a:lnTo>
                    <a:pt x="439" y="56"/>
                  </a:lnTo>
                  <a:lnTo>
                    <a:pt x="440" y="58"/>
                  </a:lnTo>
                  <a:lnTo>
                    <a:pt x="442" y="62"/>
                  </a:lnTo>
                  <a:lnTo>
                    <a:pt x="443" y="64"/>
                  </a:lnTo>
                  <a:lnTo>
                    <a:pt x="444" y="65"/>
                  </a:lnTo>
                  <a:lnTo>
                    <a:pt x="445" y="66"/>
                  </a:lnTo>
                  <a:lnTo>
                    <a:pt x="447" y="68"/>
                  </a:lnTo>
                  <a:lnTo>
                    <a:pt x="453" y="74"/>
                  </a:lnTo>
                  <a:lnTo>
                    <a:pt x="456" y="77"/>
                  </a:lnTo>
                  <a:lnTo>
                    <a:pt x="457" y="78"/>
                  </a:lnTo>
                  <a:lnTo>
                    <a:pt x="459" y="80"/>
                  </a:lnTo>
                  <a:lnTo>
                    <a:pt x="463" y="87"/>
                  </a:lnTo>
                  <a:lnTo>
                    <a:pt x="465" y="90"/>
                  </a:lnTo>
                  <a:lnTo>
                    <a:pt x="466" y="91"/>
                  </a:lnTo>
                  <a:lnTo>
                    <a:pt x="467" y="92"/>
                  </a:lnTo>
                  <a:lnTo>
                    <a:pt x="469" y="94"/>
                  </a:lnTo>
                  <a:lnTo>
                    <a:pt x="470" y="95"/>
                  </a:lnTo>
                  <a:lnTo>
                    <a:pt x="472" y="96"/>
                  </a:lnTo>
                  <a:lnTo>
                    <a:pt x="475" y="97"/>
                  </a:lnTo>
                  <a:lnTo>
                    <a:pt x="477" y="97"/>
                  </a:lnTo>
                  <a:lnTo>
                    <a:pt x="484" y="98"/>
                  </a:lnTo>
                  <a:lnTo>
                    <a:pt x="489" y="100"/>
                  </a:lnTo>
                  <a:lnTo>
                    <a:pt x="492" y="100"/>
                  </a:lnTo>
                  <a:lnTo>
                    <a:pt x="498" y="103"/>
                  </a:lnTo>
                  <a:lnTo>
                    <a:pt x="501" y="105"/>
                  </a:lnTo>
                  <a:lnTo>
                    <a:pt x="504" y="105"/>
                  </a:lnTo>
                  <a:lnTo>
                    <a:pt x="510" y="107"/>
                  </a:lnTo>
                  <a:lnTo>
                    <a:pt x="520" y="107"/>
                  </a:lnTo>
                  <a:lnTo>
                    <a:pt x="525" y="107"/>
                  </a:lnTo>
                  <a:lnTo>
                    <a:pt x="536" y="107"/>
                  </a:lnTo>
                  <a:lnTo>
                    <a:pt x="550" y="106"/>
                  </a:lnTo>
                  <a:lnTo>
                    <a:pt x="561" y="105"/>
                  </a:lnTo>
                  <a:lnTo>
                    <a:pt x="574" y="105"/>
                  </a:lnTo>
                  <a:lnTo>
                    <a:pt x="580" y="105"/>
                  </a:lnTo>
                  <a:lnTo>
                    <a:pt x="591" y="105"/>
                  </a:lnTo>
                  <a:lnTo>
                    <a:pt x="596" y="105"/>
                  </a:lnTo>
                  <a:lnTo>
                    <a:pt x="601" y="105"/>
                  </a:lnTo>
                  <a:lnTo>
                    <a:pt x="605" y="104"/>
                  </a:lnTo>
                  <a:lnTo>
                    <a:pt x="608" y="103"/>
                  </a:lnTo>
                  <a:lnTo>
                    <a:pt x="611" y="103"/>
                  </a:lnTo>
                  <a:lnTo>
                    <a:pt x="614" y="102"/>
                  </a:lnTo>
                  <a:lnTo>
                    <a:pt x="616" y="101"/>
                  </a:lnTo>
                  <a:lnTo>
                    <a:pt x="619" y="100"/>
                  </a:lnTo>
                  <a:lnTo>
                    <a:pt x="622" y="98"/>
                  </a:lnTo>
                  <a:lnTo>
                    <a:pt x="624" y="97"/>
                  </a:lnTo>
                  <a:lnTo>
                    <a:pt x="627" y="95"/>
                  </a:lnTo>
                  <a:lnTo>
                    <a:pt x="629" y="94"/>
                  </a:lnTo>
                  <a:lnTo>
                    <a:pt x="631" y="92"/>
                  </a:lnTo>
                  <a:lnTo>
                    <a:pt x="634" y="90"/>
                  </a:lnTo>
                  <a:lnTo>
                    <a:pt x="636" y="87"/>
                  </a:lnTo>
                  <a:lnTo>
                    <a:pt x="639" y="84"/>
                  </a:lnTo>
                  <a:lnTo>
                    <a:pt x="641" y="82"/>
                  </a:lnTo>
                  <a:lnTo>
                    <a:pt x="641" y="80"/>
                  </a:lnTo>
                  <a:lnTo>
                    <a:pt x="642" y="78"/>
                  </a:lnTo>
                  <a:lnTo>
                    <a:pt x="643" y="76"/>
                  </a:lnTo>
                  <a:lnTo>
                    <a:pt x="643" y="75"/>
                  </a:lnTo>
                  <a:lnTo>
                    <a:pt x="644" y="75"/>
                  </a:lnTo>
                  <a:lnTo>
                    <a:pt x="646" y="75"/>
                  </a:lnTo>
                  <a:lnTo>
                    <a:pt x="647" y="75"/>
                  </a:lnTo>
                  <a:lnTo>
                    <a:pt x="648" y="77"/>
                  </a:lnTo>
                  <a:lnTo>
                    <a:pt x="650" y="78"/>
                  </a:lnTo>
                  <a:lnTo>
                    <a:pt x="651" y="79"/>
                  </a:lnTo>
                  <a:lnTo>
                    <a:pt x="651" y="80"/>
                  </a:lnTo>
                  <a:lnTo>
                    <a:pt x="652" y="82"/>
                  </a:lnTo>
                  <a:lnTo>
                    <a:pt x="652" y="85"/>
                  </a:lnTo>
                  <a:lnTo>
                    <a:pt x="652" y="87"/>
                  </a:lnTo>
                  <a:lnTo>
                    <a:pt x="652" y="92"/>
                  </a:lnTo>
                  <a:lnTo>
                    <a:pt x="651" y="110"/>
                  </a:lnTo>
                  <a:lnTo>
                    <a:pt x="651" y="114"/>
                  </a:lnTo>
                  <a:lnTo>
                    <a:pt x="649" y="122"/>
                  </a:lnTo>
                  <a:lnTo>
                    <a:pt x="648" y="127"/>
                  </a:lnTo>
                  <a:lnTo>
                    <a:pt x="648" y="131"/>
                  </a:lnTo>
                  <a:lnTo>
                    <a:pt x="648" y="134"/>
                  </a:lnTo>
                  <a:lnTo>
                    <a:pt x="649" y="137"/>
                  </a:lnTo>
                  <a:lnTo>
                    <a:pt x="650" y="140"/>
                  </a:lnTo>
                  <a:lnTo>
                    <a:pt x="651" y="142"/>
                  </a:lnTo>
                  <a:lnTo>
                    <a:pt x="652" y="145"/>
                  </a:lnTo>
                  <a:lnTo>
                    <a:pt x="653" y="146"/>
                  </a:lnTo>
                  <a:lnTo>
                    <a:pt x="654" y="149"/>
                  </a:lnTo>
                  <a:lnTo>
                    <a:pt x="656" y="150"/>
                  </a:lnTo>
                  <a:lnTo>
                    <a:pt x="658" y="152"/>
                  </a:lnTo>
                  <a:lnTo>
                    <a:pt x="663" y="158"/>
                  </a:lnTo>
                  <a:lnTo>
                    <a:pt x="666" y="160"/>
                  </a:lnTo>
                  <a:lnTo>
                    <a:pt x="668" y="163"/>
                  </a:lnTo>
                  <a:lnTo>
                    <a:pt x="670" y="167"/>
                  </a:lnTo>
                  <a:lnTo>
                    <a:pt x="676" y="179"/>
                  </a:lnTo>
                  <a:lnTo>
                    <a:pt x="677" y="182"/>
                  </a:lnTo>
                  <a:lnTo>
                    <a:pt x="678" y="185"/>
                  </a:lnTo>
                  <a:lnTo>
                    <a:pt x="678" y="187"/>
                  </a:lnTo>
                  <a:lnTo>
                    <a:pt x="678" y="189"/>
                  </a:lnTo>
                  <a:lnTo>
                    <a:pt x="677" y="192"/>
                  </a:lnTo>
                  <a:lnTo>
                    <a:pt x="677" y="194"/>
                  </a:lnTo>
                  <a:lnTo>
                    <a:pt x="677" y="195"/>
                  </a:lnTo>
                  <a:lnTo>
                    <a:pt x="676" y="196"/>
                  </a:lnTo>
                  <a:lnTo>
                    <a:pt x="676" y="197"/>
                  </a:lnTo>
                  <a:lnTo>
                    <a:pt x="673" y="198"/>
                  </a:lnTo>
                  <a:lnTo>
                    <a:pt x="668" y="201"/>
                  </a:lnTo>
                  <a:lnTo>
                    <a:pt x="667" y="202"/>
                  </a:lnTo>
                  <a:lnTo>
                    <a:pt x="666" y="203"/>
                  </a:lnTo>
                  <a:lnTo>
                    <a:pt x="663" y="205"/>
                  </a:lnTo>
                  <a:lnTo>
                    <a:pt x="660" y="209"/>
                  </a:lnTo>
                  <a:lnTo>
                    <a:pt x="658" y="213"/>
                  </a:lnTo>
                  <a:lnTo>
                    <a:pt x="654" y="216"/>
                  </a:lnTo>
                  <a:lnTo>
                    <a:pt x="648" y="220"/>
                  </a:lnTo>
                  <a:lnTo>
                    <a:pt x="646" y="222"/>
                  </a:lnTo>
                  <a:lnTo>
                    <a:pt x="643" y="224"/>
                  </a:lnTo>
                  <a:lnTo>
                    <a:pt x="639" y="226"/>
                  </a:lnTo>
                  <a:lnTo>
                    <a:pt x="636" y="227"/>
                  </a:lnTo>
                  <a:lnTo>
                    <a:pt x="633" y="229"/>
                  </a:lnTo>
                  <a:lnTo>
                    <a:pt x="628" y="231"/>
                  </a:lnTo>
                  <a:lnTo>
                    <a:pt x="620" y="234"/>
                  </a:lnTo>
                  <a:lnTo>
                    <a:pt x="618" y="234"/>
                  </a:lnTo>
                  <a:lnTo>
                    <a:pt x="618" y="234"/>
                  </a:lnTo>
                  <a:lnTo>
                    <a:pt x="615" y="237"/>
                  </a:lnTo>
                  <a:lnTo>
                    <a:pt x="611" y="239"/>
                  </a:lnTo>
                  <a:lnTo>
                    <a:pt x="608" y="241"/>
                  </a:lnTo>
                  <a:lnTo>
                    <a:pt x="606" y="244"/>
                  </a:lnTo>
                  <a:lnTo>
                    <a:pt x="603" y="247"/>
                  </a:lnTo>
                  <a:lnTo>
                    <a:pt x="601" y="250"/>
                  </a:lnTo>
                  <a:lnTo>
                    <a:pt x="599" y="253"/>
                  </a:lnTo>
                  <a:lnTo>
                    <a:pt x="599" y="255"/>
                  </a:lnTo>
                  <a:lnTo>
                    <a:pt x="598" y="257"/>
                  </a:lnTo>
                  <a:lnTo>
                    <a:pt x="596" y="263"/>
                  </a:lnTo>
                  <a:lnTo>
                    <a:pt x="596" y="264"/>
                  </a:lnTo>
                  <a:lnTo>
                    <a:pt x="595" y="267"/>
                  </a:lnTo>
                  <a:lnTo>
                    <a:pt x="591" y="272"/>
                  </a:lnTo>
                  <a:lnTo>
                    <a:pt x="591" y="274"/>
                  </a:lnTo>
                  <a:lnTo>
                    <a:pt x="590" y="275"/>
                  </a:lnTo>
                  <a:lnTo>
                    <a:pt x="590" y="277"/>
                  </a:lnTo>
                  <a:lnTo>
                    <a:pt x="589" y="279"/>
                  </a:lnTo>
                  <a:lnTo>
                    <a:pt x="589" y="284"/>
                  </a:lnTo>
                  <a:lnTo>
                    <a:pt x="589" y="290"/>
                  </a:lnTo>
                  <a:lnTo>
                    <a:pt x="589" y="294"/>
                  </a:lnTo>
                  <a:lnTo>
                    <a:pt x="588" y="297"/>
                  </a:lnTo>
                  <a:lnTo>
                    <a:pt x="587" y="299"/>
                  </a:lnTo>
                  <a:lnTo>
                    <a:pt x="585" y="306"/>
                  </a:lnTo>
                  <a:lnTo>
                    <a:pt x="584" y="312"/>
                  </a:lnTo>
                  <a:lnTo>
                    <a:pt x="584" y="312"/>
                  </a:lnTo>
                  <a:lnTo>
                    <a:pt x="583" y="313"/>
                  </a:lnTo>
                  <a:lnTo>
                    <a:pt x="581" y="316"/>
                  </a:lnTo>
                  <a:lnTo>
                    <a:pt x="579" y="317"/>
                  </a:lnTo>
                  <a:lnTo>
                    <a:pt x="576" y="323"/>
                  </a:lnTo>
                  <a:lnTo>
                    <a:pt x="576" y="326"/>
                  </a:lnTo>
                  <a:lnTo>
                    <a:pt x="575" y="328"/>
                  </a:lnTo>
                  <a:lnTo>
                    <a:pt x="574" y="332"/>
                  </a:lnTo>
                  <a:lnTo>
                    <a:pt x="574" y="334"/>
                  </a:lnTo>
                  <a:lnTo>
                    <a:pt x="574" y="336"/>
                  </a:lnTo>
                  <a:lnTo>
                    <a:pt x="574" y="339"/>
                  </a:lnTo>
                  <a:lnTo>
                    <a:pt x="576" y="344"/>
                  </a:lnTo>
                  <a:lnTo>
                    <a:pt x="576" y="347"/>
                  </a:lnTo>
                  <a:lnTo>
                    <a:pt x="576" y="349"/>
                  </a:lnTo>
                  <a:lnTo>
                    <a:pt x="577" y="352"/>
                  </a:lnTo>
                  <a:lnTo>
                    <a:pt x="578" y="353"/>
                  </a:lnTo>
                  <a:lnTo>
                    <a:pt x="579" y="354"/>
                  </a:lnTo>
                  <a:lnTo>
                    <a:pt x="582" y="359"/>
                  </a:lnTo>
                  <a:lnTo>
                    <a:pt x="585" y="364"/>
                  </a:lnTo>
                  <a:lnTo>
                    <a:pt x="585" y="365"/>
                  </a:lnTo>
                  <a:lnTo>
                    <a:pt x="585" y="366"/>
                  </a:lnTo>
                  <a:lnTo>
                    <a:pt x="585" y="367"/>
                  </a:lnTo>
                  <a:lnTo>
                    <a:pt x="584" y="369"/>
                  </a:lnTo>
                  <a:lnTo>
                    <a:pt x="584" y="370"/>
                  </a:lnTo>
                  <a:lnTo>
                    <a:pt x="584" y="372"/>
                  </a:lnTo>
                  <a:lnTo>
                    <a:pt x="586" y="374"/>
                  </a:lnTo>
                  <a:lnTo>
                    <a:pt x="586" y="375"/>
                  </a:lnTo>
                  <a:lnTo>
                    <a:pt x="586" y="377"/>
                  </a:lnTo>
                  <a:lnTo>
                    <a:pt x="585" y="378"/>
                  </a:lnTo>
                  <a:lnTo>
                    <a:pt x="584" y="379"/>
                  </a:lnTo>
                  <a:lnTo>
                    <a:pt x="584" y="382"/>
                  </a:lnTo>
                  <a:lnTo>
                    <a:pt x="582" y="383"/>
                  </a:lnTo>
                  <a:lnTo>
                    <a:pt x="581" y="384"/>
                  </a:lnTo>
                  <a:lnTo>
                    <a:pt x="579" y="387"/>
                  </a:lnTo>
                  <a:lnTo>
                    <a:pt x="578" y="388"/>
                  </a:lnTo>
                  <a:lnTo>
                    <a:pt x="576" y="388"/>
                  </a:lnTo>
                  <a:lnTo>
                    <a:pt x="576" y="388"/>
                  </a:lnTo>
                  <a:lnTo>
                    <a:pt x="574" y="388"/>
                  </a:lnTo>
                  <a:lnTo>
                    <a:pt x="573" y="387"/>
                  </a:lnTo>
                  <a:lnTo>
                    <a:pt x="570" y="385"/>
                  </a:lnTo>
                  <a:lnTo>
                    <a:pt x="564" y="380"/>
                  </a:lnTo>
                  <a:lnTo>
                    <a:pt x="558" y="376"/>
                  </a:lnTo>
                  <a:lnTo>
                    <a:pt x="551" y="370"/>
                  </a:lnTo>
                  <a:lnTo>
                    <a:pt x="550" y="369"/>
                  </a:lnTo>
                  <a:lnTo>
                    <a:pt x="548" y="369"/>
                  </a:lnTo>
                  <a:lnTo>
                    <a:pt x="546" y="368"/>
                  </a:lnTo>
                  <a:lnTo>
                    <a:pt x="544" y="367"/>
                  </a:lnTo>
                  <a:lnTo>
                    <a:pt x="531" y="367"/>
                  </a:lnTo>
                  <a:lnTo>
                    <a:pt x="529" y="367"/>
                  </a:lnTo>
                  <a:lnTo>
                    <a:pt x="527" y="367"/>
                  </a:lnTo>
                  <a:lnTo>
                    <a:pt x="519" y="368"/>
                  </a:lnTo>
                  <a:lnTo>
                    <a:pt x="515" y="368"/>
                  </a:lnTo>
                  <a:lnTo>
                    <a:pt x="511" y="367"/>
                  </a:lnTo>
                  <a:lnTo>
                    <a:pt x="501" y="366"/>
                  </a:lnTo>
                  <a:lnTo>
                    <a:pt x="495" y="366"/>
                  </a:lnTo>
                  <a:lnTo>
                    <a:pt x="491" y="365"/>
                  </a:lnTo>
                  <a:lnTo>
                    <a:pt x="486" y="366"/>
                  </a:lnTo>
                  <a:lnTo>
                    <a:pt x="484" y="366"/>
                  </a:lnTo>
                  <a:lnTo>
                    <a:pt x="477" y="367"/>
                  </a:lnTo>
                  <a:lnTo>
                    <a:pt x="474" y="367"/>
                  </a:lnTo>
                  <a:lnTo>
                    <a:pt x="454" y="369"/>
                  </a:lnTo>
                  <a:lnTo>
                    <a:pt x="444" y="371"/>
                  </a:lnTo>
                  <a:lnTo>
                    <a:pt x="440" y="372"/>
                  </a:lnTo>
                  <a:lnTo>
                    <a:pt x="436" y="372"/>
                  </a:lnTo>
                  <a:lnTo>
                    <a:pt x="434" y="373"/>
                  </a:lnTo>
                  <a:lnTo>
                    <a:pt x="421" y="378"/>
                  </a:lnTo>
                  <a:lnTo>
                    <a:pt x="419" y="379"/>
                  </a:lnTo>
                  <a:lnTo>
                    <a:pt x="416" y="379"/>
                  </a:lnTo>
                  <a:lnTo>
                    <a:pt x="414" y="379"/>
                  </a:lnTo>
                  <a:lnTo>
                    <a:pt x="411" y="379"/>
                  </a:lnTo>
                  <a:lnTo>
                    <a:pt x="409" y="379"/>
                  </a:lnTo>
                  <a:lnTo>
                    <a:pt x="405" y="377"/>
                  </a:lnTo>
                  <a:lnTo>
                    <a:pt x="401" y="377"/>
                  </a:lnTo>
                  <a:lnTo>
                    <a:pt x="399" y="377"/>
                  </a:lnTo>
                  <a:lnTo>
                    <a:pt x="396" y="377"/>
                  </a:lnTo>
                  <a:lnTo>
                    <a:pt x="390" y="377"/>
                  </a:lnTo>
                  <a:lnTo>
                    <a:pt x="384" y="378"/>
                  </a:lnTo>
                  <a:lnTo>
                    <a:pt x="382" y="378"/>
                  </a:lnTo>
                  <a:lnTo>
                    <a:pt x="380" y="379"/>
                  </a:lnTo>
                  <a:lnTo>
                    <a:pt x="379" y="379"/>
                  </a:lnTo>
                  <a:lnTo>
                    <a:pt x="377" y="381"/>
                  </a:lnTo>
                  <a:lnTo>
                    <a:pt x="377" y="382"/>
                  </a:lnTo>
                  <a:lnTo>
                    <a:pt x="375" y="384"/>
                  </a:lnTo>
                  <a:lnTo>
                    <a:pt x="374" y="386"/>
                  </a:lnTo>
                  <a:lnTo>
                    <a:pt x="374" y="389"/>
                  </a:lnTo>
                  <a:lnTo>
                    <a:pt x="374" y="393"/>
                  </a:lnTo>
                  <a:lnTo>
                    <a:pt x="374" y="395"/>
                  </a:lnTo>
                  <a:lnTo>
                    <a:pt x="374" y="397"/>
                  </a:lnTo>
                  <a:lnTo>
                    <a:pt x="376" y="406"/>
                  </a:lnTo>
                  <a:lnTo>
                    <a:pt x="376" y="409"/>
                  </a:lnTo>
                  <a:lnTo>
                    <a:pt x="376" y="413"/>
                  </a:lnTo>
                  <a:lnTo>
                    <a:pt x="376" y="417"/>
                  </a:lnTo>
                  <a:lnTo>
                    <a:pt x="375" y="425"/>
                  </a:lnTo>
                  <a:lnTo>
                    <a:pt x="375" y="429"/>
                  </a:lnTo>
                  <a:lnTo>
                    <a:pt x="375" y="432"/>
                  </a:lnTo>
                  <a:lnTo>
                    <a:pt x="375" y="437"/>
                  </a:lnTo>
                  <a:lnTo>
                    <a:pt x="376" y="442"/>
                  </a:lnTo>
                  <a:lnTo>
                    <a:pt x="377" y="446"/>
                  </a:lnTo>
                  <a:lnTo>
                    <a:pt x="379" y="451"/>
                  </a:lnTo>
                  <a:lnTo>
                    <a:pt x="384" y="464"/>
                  </a:lnTo>
                  <a:lnTo>
                    <a:pt x="387" y="470"/>
                  </a:lnTo>
                  <a:lnTo>
                    <a:pt x="389" y="476"/>
                  </a:lnTo>
                  <a:lnTo>
                    <a:pt x="390" y="481"/>
                  </a:lnTo>
                  <a:lnTo>
                    <a:pt x="391" y="484"/>
                  </a:lnTo>
                  <a:lnTo>
                    <a:pt x="391" y="488"/>
                  </a:lnTo>
                  <a:lnTo>
                    <a:pt x="392" y="494"/>
                  </a:lnTo>
                  <a:lnTo>
                    <a:pt x="394" y="506"/>
                  </a:lnTo>
                  <a:lnTo>
                    <a:pt x="394" y="510"/>
                  </a:lnTo>
                  <a:lnTo>
                    <a:pt x="394" y="512"/>
                  </a:lnTo>
                  <a:lnTo>
                    <a:pt x="393" y="515"/>
                  </a:lnTo>
                  <a:lnTo>
                    <a:pt x="393" y="517"/>
                  </a:lnTo>
                  <a:lnTo>
                    <a:pt x="391" y="523"/>
                  </a:lnTo>
                  <a:lnTo>
                    <a:pt x="390" y="526"/>
                  </a:lnTo>
                  <a:lnTo>
                    <a:pt x="389" y="531"/>
                  </a:lnTo>
                  <a:lnTo>
                    <a:pt x="384" y="539"/>
                  </a:lnTo>
                  <a:lnTo>
                    <a:pt x="380" y="550"/>
                  </a:lnTo>
                  <a:lnTo>
                    <a:pt x="379" y="552"/>
                  </a:lnTo>
                  <a:lnTo>
                    <a:pt x="378" y="554"/>
                  </a:lnTo>
                  <a:lnTo>
                    <a:pt x="377" y="556"/>
                  </a:lnTo>
                  <a:lnTo>
                    <a:pt x="375" y="559"/>
                  </a:lnTo>
                  <a:lnTo>
                    <a:pt x="373" y="560"/>
                  </a:lnTo>
                  <a:lnTo>
                    <a:pt x="372" y="561"/>
                  </a:lnTo>
                  <a:lnTo>
                    <a:pt x="370" y="563"/>
                  </a:lnTo>
                  <a:lnTo>
                    <a:pt x="369" y="564"/>
                  </a:lnTo>
                  <a:lnTo>
                    <a:pt x="366" y="565"/>
                  </a:lnTo>
                  <a:lnTo>
                    <a:pt x="358" y="567"/>
                  </a:lnTo>
                  <a:lnTo>
                    <a:pt x="355" y="568"/>
                  </a:lnTo>
                  <a:lnTo>
                    <a:pt x="352" y="569"/>
                  </a:lnTo>
                  <a:lnTo>
                    <a:pt x="348" y="571"/>
                  </a:lnTo>
                  <a:lnTo>
                    <a:pt x="347" y="573"/>
                  </a:lnTo>
                  <a:lnTo>
                    <a:pt x="344" y="574"/>
                  </a:lnTo>
                  <a:lnTo>
                    <a:pt x="343" y="576"/>
                  </a:lnTo>
                  <a:lnTo>
                    <a:pt x="342" y="578"/>
                  </a:lnTo>
                  <a:lnTo>
                    <a:pt x="341" y="579"/>
                  </a:lnTo>
                  <a:lnTo>
                    <a:pt x="339" y="581"/>
                  </a:lnTo>
                  <a:lnTo>
                    <a:pt x="337" y="586"/>
                  </a:lnTo>
                  <a:lnTo>
                    <a:pt x="337" y="586"/>
                  </a:lnTo>
                  <a:lnTo>
                    <a:pt x="335" y="584"/>
                  </a:lnTo>
                  <a:lnTo>
                    <a:pt x="330" y="580"/>
                  </a:lnTo>
                  <a:lnTo>
                    <a:pt x="326" y="576"/>
                  </a:lnTo>
                  <a:lnTo>
                    <a:pt x="321" y="573"/>
                  </a:lnTo>
                  <a:lnTo>
                    <a:pt x="316" y="569"/>
                  </a:lnTo>
                  <a:lnTo>
                    <a:pt x="310" y="565"/>
                  </a:lnTo>
                  <a:lnTo>
                    <a:pt x="305" y="561"/>
                  </a:lnTo>
                  <a:lnTo>
                    <a:pt x="300" y="559"/>
                  </a:lnTo>
                  <a:lnTo>
                    <a:pt x="296" y="556"/>
                  </a:lnTo>
                  <a:lnTo>
                    <a:pt x="293" y="555"/>
                  </a:lnTo>
                  <a:lnTo>
                    <a:pt x="289" y="554"/>
                  </a:lnTo>
                  <a:lnTo>
                    <a:pt x="285" y="552"/>
                  </a:lnTo>
                  <a:lnTo>
                    <a:pt x="281" y="551"/>
                  </a:lnTo>
                  <a:lnTo>
                    <a:pt x="264" y="547"/>
                  </a:lnTo>
                  <a:lnTo>
                    <a:pt x="259" y="545"/>
                  </a:lnTo>
                  <a:lnTo>
                    <a:pt x="256" y="544"/>
                  </a:lnTo>
                  <a:lnTo>
                    <a:pt x="254" y="542"/>
                  </a:lnTo>
                  <a:lnTo>
                    <a:pt x="250" y="540"/>
                  </a:lnTo>
                  <a:lnTo>
                    <a:pt x="248" y="539"/>
                  </a:lnTo>
                  <a:lnTo>
                    <a:pt x="247" y="537"/>
                  </a:lnTo>
                  <a:lnTo>
                    <a:pt x="245" y="535"/>
                  </a:lnTo>
                  <a:lnTo>
                    <a:pt x="244" y="533"/>
                  </a:lnTo>
                  <a:lnTo>
                    <a:pt x="243" y="531"/>
                  </a:lnTo>
                  <a:lnTo>
                    <a:pt x="243" y="529"/>
                  </a:lnTo>
                  <a:lnTo>
                    <a:pt x="242" y="526"/>
                  </a:lnTo>
                  <a:lnTo>
                    <a:pt x="240" y="514"/>
                  </a:lnTo>
                  <a:lnTo>
                    <a:pt x="240" y="511"/>
                  </a:lnTo>
                  <a:lnTo>
                    <a:pt x="239" y="508"/>
                  </a:lnTo>
                  <a:lnTo>
                    <a:pt x="238" y="504"/>
                  </a:lnTo>
                  <a:lnTo>
                    <a:pt x="236" y="499"/>
                  </a:lnTo>
                  <a:lnTo>
                    <a:pt x="230" y="485"/>
                  </a:lnTo>
                  <a:lnTo>
                    <a:pt x="228" y="480"/>
                  </a:lnTo>
                  <a:lnTo>
                    <a:pt x="226" y="477"/>
                  </a:lnTo>
                  <a:lnTo>
                    <a:pt x="223" y="472"/>
                  </a:lnTo>
                  <a:lnTo>
                    <a:pt x="222" y="470"/>
                  </a:lnTo>
                  <a:lnTo>
                    <a:pt x="221" y="469"/>
                  </a:lnTo>
                  <a:lnTo>
                    <a:pt x="219" y="467"/>
                  </a:lnTo>
                  <a:lnTo>
                    <a:pt x="217" y="466"/>
                  </a:lnTo>
                  <a:lnTo>
                    <a:pt x="210" y="461"/>
                  </a:lnTo>
                  <a:lnTo>
                    <a:pt x="207" y="459"/>
                  </a:lnTo>
                  <a:lnTo>
                    <a:pt x="206" y="457"/>
                  </a:lnTo>
                  <a:lnTo>
                    <a:pt x="204" y="455"/>
                  </a:lnTo>
                  <a:lnTo>
                    <a:pt x="203" y="454"/>
                  </a:lnTo>
                  <a:lnTo>
                    <a:pt x="202" y="451"/>
                  </a:lnTo>
                  <a:lnTo>
                    <a:pt x="200" y="449"/>
                  </a:lnTo>
                  <a:lnTo>
                    <a:pt x="199" y="445"/>
                  </a:lnTo>
                  <a:lnTo>
                    <a:pt x="197" y="442"/>
                  </a:lnTo>
                  <a:lnTo>
                    <a:pt x="195" y="437"/>
                  </a:lnTo>
                  <a:lnTo>
                    <a:pt x="190" y="426"/>
                  </a:lnTo>
                  <a:lnTo>
                    <a:pt x="187" y="414"/>
                  </a:lnTo>
                  <a:lnTo>
                    <a:pt x="184" y="409"/>
                  </a:lnTo>
                  <a:lnTo>
                    <a:pt x="182" y="404"/>
                  </a:lnTo>
                  <a:lnTo>
                    <a:pt x="181" y="402"/>
                  </a:lnTo>
                  <a:lnTo>
                    <a:pt x="179" y="399"/>
                  </a:lnTo>
                  <a:lnTo>
                    <a:pt x="177" y="396"/>
                  </a:lnTo>
                  <a:lnTo>
                    <a:pt x="174" y="394"/>
                  </a:lnTo>
                  <a:lnTo>
                    <a:pt x="173" y="393"/>
                  </a:lnTo>
                  <a:lnTo>
                    <a:pt x="171" y="392"/>
                  </a:lnTo>
                  <a:lnTo>
                    <a:pt x="169" y="392"/>
                  </a:lnTo>
                  <a:lnTo>
                    <a:pt x="167" y="392"/>
                  </a:lnTo>
                  <a:lnTo>
                    <a:pt x="158" y="393"/>
                  </a:lnTo>
                  <a:lnTo>
                    <a:pt x="153" y="394"/>
                  </a:lnTo>
                  <a:lnTo>
                    <a:pt x="148" y="394"/>
                  </a:lnTo>
                  <a:lnTo>
                    <a:pt x="140" y="394"/>
                  </a:lnTo>
                  <a:lnTo>
                    <a:pt x="137" y="393"/>
                  </a:lnTo>
                  <a:lnTo>
                    <a:pt x="134" y="393"/>
                  </a:lnTo>
                  <a:lnTo>
                    <a:pt x="130" y="392"/>
                  </a:lnTo>
                  <a:lnTo>
                    <a:pt x="126" y="391"/>
                  </a:lnTo>
                  <a:lnTo>
                    <a:pt x="123" y="390"/>
                  </a:lnTo>
                  <a:lnTo>
                    <a:pt x="122" y="389"/>
                  </a:lnTo>
                  <a:lnTo>
                    <a:pt x="120" y="388"/>
                  </a:lnTo>
                  <a:lnTo>
                    <a:pt x="117" y="386"/>
                  </a:lnTo>
                  <a:lnTo>
                    <a:pt x="115" y="384"/>
                  </a:lnTo>
                  <a:lnTo>
                    <a:pt x="107" y="374"/>
                  </a:lnTo>
                  <a:lnTo>
                    <a:pt x="105" y="372"/>
                  </a:lnTo>
                  <a:lnTo>
                    <a:pt x="103" y="369"/>
                  </a:lnTo>
                  <a:lnTo>
                    <a:pt x="100" y="364"/>
                  </a:lnTo>
                  <a:lnTo>
                    <a:pt x="97" y="358"/>
                  </a:lnTo>
                  <a:lnTo>
                    <a:pt x="92" y="348"/>
                  </a:lnTo>
                  <a:lnTo>
                    <a:pt x="88" y="340"/>
                  </a:lnTo>
                  <a:lnTo>
                    <a:pt x="84" y="329"/>
                  </a:lnTo>
                  <a:lnTo>
                    <a:pt x="79" y="317"/>
                  </a:lnTo>
                  <a:lnTo>
                    <a:pt x="75" y="308"/>
                  </a:lnTo>
                  <a:lnTo>
                    <a:pt x="75" y="307"/>
                  </a:lnTo>
                  <a:lnTo>
                    <a:pt x="74" y="305"/>
                  </a:lnTo>
                  <a:lnTo>
                    <a:pt x="72" y="304"/>
                  </a:lnTo>
                  <a:lnTo>
                    <a:pt x="72" y="304"/>
                  </a:lnTo>
                  <a:lnTo>
                    <a:pt x="71" y="303"/>
                  </a:lnTo>
                  <a:lnTo>
                    <a:pt x="70" y="303"/>
                  </a:lnTo>
                  <a:lnTo>
                    <a:pt x="67" y="302"/>
                  </a:lnTo>
                  <a:lnTo>
                    <a:pt x="62" y="302"/>
                  </a:lnTo>
                  <a:lnTo>
                    <a:pt x="60" y="302"/>
                  </a:lnTo>
                  <a:lnTo>
                    <a:pt x="57" y="301"/>
                  </a:lnTo>
                  <a:lnTo>
                    <a:pt x="56" y="300"/>
                  </a:lnTo>
                  <a:lnTo>
                    <a:pt x="53" y="297"/>
                  </a:lnTo>
                  <a:lnTo>
                    <a:pt x="50" y="294"/>
                  </a:lnTo>
                  <a:lnTo>
                    <a:pt x="48" y="292"/>
                  </a:lnTo>
                  <a:lnTo>
                    <a:pt x="43" y="284"/>
                  </a:lnTo>
                  <a:lnTo>
                    <a:pt x="42" y="282"/>
                  </a:lnTo>
                  <a:lnTo>
                    <a:pt x="40" y="281"/>
                  </a:lnTo>
                  <a:lnTo>
                    <a:pt x="38" y="279"/>
                  </a:lnTo>
                  <a:lnTo>
                    <a:pt x="36" y="277"/>
                  </a:lnTo>
                  <a:lnTo>
                    <a:pt x="34" y="275"/>
                  </a:lnTo>
                  <a:lnTo>
                    <a:pt x="32" y="274"/>
                  </a:lnTo>
                  <a:lnTo>
                    <a:pt x="29" y="273"/>
                  </a:lnTo>
                  <a:lnTo>
                    <a:pt x="27" y="272"/>
                  </a:lnTo>
                  <a:lnTo>
                    <a:pt x="25" y="271"/>
                  </a:lnTo>
                  <a:lnTo>
                    <a:pt x="21" y="271"/>
                  </a:lnTo>
                  <a:lnTo>
                    <a:pt x="17" y="270"/>
                  </a:lnTo>
                  <a:lnTo>
                    <a:pt x="13" y="269"/>
                  </a:lnTo>
                  <a:lnTo>
                    <a:pt x="10" y="270"/>
                  </a:lnTo>
                  <a:lnTo>
                    <a:pt x="9" y="270"/>
                  </a:lnTo>
                  <a:lnTo>
                    <a:pt x="8" y="270"/>
                  </a:lnTo>
                  <a:lnTo>
                    <a:pt x="8" y="269"/>
                  </a:lnTo>
                  <a:lnTo>
                    <a:pt x="7" y="267"/>
                  </a:lnTo>
                  <a:lnTo>
                    <a:pt x="4" y="256"/>
                  </a:lnTo>
                  <a:lnTo>
                    <a:pt x="2" y="252"/>
                  </a:lnTo>
                  <a:lnTo>
                    <a:pt x="2" y="250"/>
                  </a:lnTo>
                  <a:lnTo>
                    <a:pt x="2" y="247"/>
                  </a:lnTo>
                  <a:lnTo>
                    <a:pt x="1" y="244"/>
                  </a:lnTo>
                  <a:lnTo>
                    <a:pt x="1" y="240"/>
                  </a:lnTo>
                  <a:lnTo>
                    <a:pt x="0" y="237"/>
                  </a:lnTo>
                  <a:lnTo>
                    <a:pt x="0" y="232"/>
                  </a:lnTo>
                  <a:lnTo>
                    <a:pt x="1" y="228"/>
                  </a:lnTo>
                  <a:lnTo>
                    <a:pt x="1" y="223"/>
                  </a:lnTo>
                  <a:lnTo>
                    <a:pt x="2" y="219"/>
                  </a:lnTo>
                  <a:lnTo>
                    <a:pt x="3" y="212"/>
                  </a:lnTo>
                  <a:lnTo>
                    <a:pt x="5" y="207"/>
                  </a:lnTo>
                  <a:lnTo>
                    <a:pt x="6" y="201"/>
                  </a:lnTo>
                  <a:lnTo>
                    <a:pt x="7" y="197"/>
                  </a:lnTo>
                  <a:lnTo>
                    <a:pt x="8" y="194"/>
                  </a:lnTo>
                  <a:lnTo>
                    <a:pt x="10" y="191"/>
                  </a:lnTo>
                  <a:lnTo>
                    <a:pt x="13" y="184"/>
                  </a:lnTo>
                  <a:lnTo>
                    <a:pt x="17" y="177"/>
                  </a:lnTo>
                  <a:lnTo>
                    <a:pt x="20" y="174"/>
                  </a:lnTo>
                  <a:lnTo>
                    <a:pt x="22" y="171"/>
                  </a:lnTo>
                  <a:lnTo>
                    <a:pt x="24" y="169"/>
                  </a:lnTo>
                  <a:lnTo>
                    <a:pt x="26" y="167"/>
                  </a:lnTo>
                  <a:lnTo>
                    <a:pt x="27" y="165"/>
                  </a:lnTo>
                  <a:lnTo>
                    <a:pt x="30" y="164"/>
                  </a:lnTo>
                  <a:lnTo>
                    <a:pt x="32" y="162"/>
                  </a:lnTo>
                  <a:lnTo>
                    <a:pt x="33" y="162"/>
                  </a:lnTo>
                  <a:lnTo>
                    <a:pt x="40" y="159"/>
                  </a:lnTo>
                  <a:lnTo>
                    <a:pt x="42" y="158"/>
                  </a:lnTo>
                  <a:lnTo>
                    <a:pt x="45" y="156"/>
                  </a:lnTo>
                  <a:lnTo>
                    <a:pt x="47" y="154"/>
                  </a:lnTo>
                  <a:lnTo>
                    <a:pt x="50" y="152"/>
                  </a:lnTo>
                  <a:lnTo>
                    <a:pt x="51" y="150"/>
                  </a:lnTo>
                  <a:lnTo>
                    <a:pt x="52" y="148"/>
                  </a:lnTo>
                  <a:lnTo>
                    <a:pt x="54" y="146"/>
                  </a:lnTo>
                  <a:lnTo>
                    <a:pt x="55" y="145"/>
                  </a:lnTo>
                  <a:lnTo>
                    <a:pt x="55" y="142"/>
                  </a:lnTo>
                  <a:lnTo>
                    <a:pt x="56" y="140"/>
                  </a:lnTo>
                  <a:lnTo>
                    <a:pt x="57" y="138"/>
                  </a:lnTo>
                  <a:lnTo>
                    <a:pt x="57" y="135"/>
                  </a:lnTo>
                  <a:lnTo>
                    <a:pt x="57" y="130"/>
                  </a:lnTo>
                  <a:lnTo>
                    <a:pt x="57" y="127"/>
                  </a:lnTo>
                  <a:lnTo>
                    <a:pt x="56" y="122"/>
                  </a:lnTo>
                  <a:lnTo>
                    <a:pt x="53" y="110"/>
                  </a:lnTo>
                  <a:lnTo>
                    <a:pt x="52" y="107"/>
                  </a:lnTo>
                  <a:lnTo>
                    <a:pt x="51" y="102"/>
                  </a:lnTo>
                  <a:lnTo>
                    <a:pt x="47" y="95"/>
                  </a:lnTo>
                  <a:lnTo>
                    <a:pt x="47" y="91"/>
                  </a:lnTo>
                  <a:lnTo>
                    <a:pt x="46" y="87"/>
                  </a:lnTo>
                  <a:lnTo>
                    <a:pt x="46" y="85"/>
                  </a:lnTo>
                  <a:lnTo>
                    <a:pt x="46" y="82"/>
                  </a:lnTo>
                  <a:lnTo>
                    <a:pt x="46" y="80"/>
                  </a:lnTo>
                  <a:lnTo>
                    <a:pt x="49" y="72"/>
                  </a:lnTo>
                  <a:lnTo>
                    <a:pt x="50" y="68"/>
                  </a:lnTo>
                  <a:lnTo>
                    <a:pt x="50" y="64"/>
                  </a:lnTo>
                  <a:lnTo>
                    <a:pt x="50" y="52"/>
                  </a:lnTo>
                  <a:lnTo>
                    <a:pt x="51" y="47"/>
                  </a:lnTo>
                  <a:lnTo>
                    <a:pt x="52" y="40"/>
                  </a:lnTo>
                  <a:lnTo>
                    <a:pt x="53" y="35"/>
                  </a:lnTo>
                  <a:lnTo>
                    <a:pt x="54" y="30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7" y="25"/>
                  </a:lnTo>
                  <a:lnTo>
                    <a:pt x="58" y="25"/>
                  </a:lnTo>
                  <a:lnTo>
                    <a:pt x="60" y="25"/>
                  </a:lnTo>
                  <a:lnTo>
                    <a:pt x="62" y="25"/>
                  </a:lnTo>
                  <a:lnTo>
                    <a:pt x="63" y="25"/>
                  </a:lnTo>
                  <a:lnTo>
                    <a:pt x="74" y="27"/>
                  </a:lnTo>
                  <a:lnTo>
                    <a:pt x="77" y="28"/>
                  </a:lnTo>
                  <a:lnTo>
                    <a:pt x="80" y="29"/>
                  </a:lnTo>
                  <a:lnTo>
                    <a:pt x="82" y="29"/>
                  </a:lnTo>
                  <a:lnTo>
                    <a:pt x="85" y="29"/>
                  </a:lnTo>
                  <a:lnTo>
                    <a:pt x="87" y="28"/>
                  </a:lnTo>
                  <a:lnTo>
                    <a:pt x="90" y="27"/>
                  </a:lnTo>
                  <a:lnTo>
                    <a:pt x="92" y="27"/>
                  </a:lnTo>
                  <a:lnTo>
                    <a:pt x="94" y="26"/>
                  </a:lnTo>
                  <a:lnTo>
                    <a:pt x="96" y="25"/>
                  </a:lnTo>
                  <a:lnTo>
                    <a:pt x="99" y="22"/>
                  </a:lnTo>
                  <a:lnTo>
                    <a:pt x="104" y="20"/>
                  </a:lnTo>
                  <a:lnTo>
                    <a:pt x="107" y="17"/>
                  </a:lnTo>
                  <a:lnTo>
                    <a:pt x="119" y="7"/>
                  </a:lnTo>
                  <a:lnTo>
                    <a:pt x="122" y="5"/>
                  </a:lnTo>
                  <a:lnTo>
                    <a:pt x="125" y="3"/>
                  </a:lnTo>
                  <a:lnTo>
                    <a:pt x="129" y="1"/>
                  </a:lnTo>
                  <a:lnTo>
                    <a:pt x="131" y="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BDD7E7"/>
            </a:solidFill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97">
              <a:extLst>
                <a:ext uri="{FF2B5EF4-FFF2-40B4-BE49-F238E27FC236}">
                  <a16:creationId xmlns:a16="http://schemas.microsoft.com/office/drawing/2014/main" id="{3DA90359-50C1-91C3-100A-D37229E8B0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8673" y="5043325"/>
              <a:ext cx="996950" cy="1444625"/>
            </a:xfrm>
            <a:custGeom>
              <a:avLst/>
              <a:gdLst>
                <a:gd name="T0" fmla="*/ 169 w 628"/>
                <a:gd name="T1" fmla="*/ 5 h 910"/>
                <a:gd name="T2" fmla="*/ 189 w 628"/>
                <a:gd name="T3" fmla="*/ 76 h 910"/>
                <a:gd name="T4" fmla="*/ 212 w 628"/>
                <a:gd name="T5" fmla="*/ 77 h 910"/>
                <a:gd name="T6" fmla="*/ 241 w 628"/>
                <a:gd name="T7" fmla="*/ 94 h 910"/>
                <a:gd name="T8" fmla="*/ 269 w 628"/>
                <a:gd name="T9" fmla="*/ 132 h 910"/>
                <a:gd name="T10" fmla="*/ 331 w 628"/>
                <a:gd name="T11" fmla="*/ 152 h 910"/>
                <a:gd name="T12" fmla="*/ 359 w 628"/>
                <a:gd name="T13" fmla="*/ 197 h 910"/>
                <a:gd name="T14" fmla="*/ 386 w 628"/>
                <a:gd name="T15" fmla="*/ 229 h 910"/>
                <a:gd name="T16" fmla="*/ 431 w 628"/>
                <a:gd name="T17" fmla="*/ 257 h 910"/>
                <a:gd name="T18" fmla="*/ 421 w 628"/>
                <a:gd name="T19" fmla="*/ 296 h 910"/>
                <a:gd name="T20" fmla="*/ 398 w 628"/>
                <a:gd name="T21" fmla="*/ 307 h 910"/>
                <a:gd name="T22" fmla="*/ 386 w 628"/>
                <a:gd name="T23" fmla="*/ 347 h 910"/>
                <a:gd name="T24" fmla="*/ 402 w 628"/>
                <a:gd name="T25" fmla="*/ 362 h 910"/>
                <a:gd name="T26" fmla="*/ 428 w 628"/>
                <a:gd name="T27" fmla="*/ 383 h 910"/>
                <a:gd name="T28" fmla="*/ 418 w 628"/>
                <a:gd name="T29" fmla="*/ 419 h 910"/>
                <a:gd name="T30" fmla="*/ 430 w 628"/>
                <a:gd name="T31" fmla="*/ 448 h 910"/>
                <a:gd name="T32" fmla="*/ 455 w 628"/>
                <a:gd name="T33" fmla="*/ 467 h 910"/>
                <a:gd name="T34" fmla="*/ 466 w 628"/>
                <a:gd name="T35" fmla="*/ 504 h 910"/>
                <a:gd name="T36" fmla="*/ 482 w 628"/>
                <a:gd name="T37" fmla="*/ 531 h 910"/>
                <a:gd name="T38" fmla="*/ 510 w 628"/>
                <a:gd name="T39" fmla="*/ 534 h 910"/>
                <a:gd name="T40" fmla="*/ 498 w 628"/>
                <a:gd name="T41" fmla="*/ 554 h 910"/>
                <a:gd name="T42" fmla="*/ 513 w 628"/>
                <a:gd name="T43" fmla="*/ 576 h 910"/>
                <a:gd name="T44" fmla="*/ 530 w 628"/>
                <a:gd name="T45" fmla="*/ 619 h 910"/>
                <a:gd name="T46" fmla="*/ 553 w 628"/>
                <a:gd name="T47" fmla="*/ 659 h 910"/>
                <a:gd name="T48" fmla="*/ 597 w 628"/>
                <a:gd name="T49" fmla="*/ 678 h 910"/>
                <a:gd name="T50" fmla="*/ 617 w 628"/>
                <a:gd name="T51" fmla="*/ 726 h 910"/>
                <a:gd name="T52" fmla="*/ 627 w 628"/>
                <a:gd name="T53" fmla="*/ 778 h 910"/>
                <a:gd name="T54" fmla="*/ 584 w 628"/>
                <a:gd name="T55" fmla="*/ 766 h 910"/>
                <a:gd name="T56" fmla="*/ 545 w 628"/>
                <a:gd name="T57" fmla="*/ 772 h 910"/>
                <a:gd name="T58" fmla="*/ 530 w 628"/>
                <a:gd name="T59" fmla="*/ 833 h 910"/>
                <a:gd name="T60" fmla="*/ 480 w 628"/>
                <a:gd name="T61" fmla="*/ 880 h 910"/>
                <a:gd name="T62" fmla="*/ 460 w 628"/>
                <a:gd name="T63" fmla="*/ 910 h 910"/>
                <a:gd name="T64" fmla="*/ 438 w 628"/>
                <a:gd name="T65" fmla="*/ 876 h 910"/>
                <a:gd name="T66" fmla="*/ 435 w 628"/>
                <a:gd name="T67" fmla="*/ 834 h 910"/>
                <a:gd name="T68" fmla="*/ 411 w 628"/>
                <a:gd name="T69" fmla="*/ 821 h 910"/>
                <a:gd name="T70" fmla="*/ 348 w 628"/>
                <a:gd name="T71" fmla="*/ 763 h 910"/>
                <a:gd name="T72" fmla="*/ 336 w 628"/>
                <a:gd name="T73" fmla="*/ 728 h 910"/>
                <a:gd name="T74" fmla="*/ 275 w 628"/>
                <a:gd name="T75" fmla="*/ 743 h 910"/>
                <a:gd name="T76" fmla="*/ 250 w 628"/>
                <a:gd name="T77" fmla="*/ 731 h 910"/>
                <a:gd name="T78" fmla="*/ 238 w 628"/>
                <a:gd name="T79" fmla="*/ 684 h 910"/>
                <a:gd name="T80" fmla="*/ 203 w 628"/>
                <a:gd name="T81" fmla="*/ 649 h 910"/>
                <a:gd name="T82" fmla="*/ 162 w 628"/>
                <a:gd name="T83" fmla="*/ 626 h 910"/>
                <a:gd name="T84" fmla="*/ 159 w 628"/>
                <a:gd name="T85" fmla="*/ 604 h 910"/>
                <a:gd name="T86" fmla="*/ 99 w 628"/>
                <a:gd name="T87" fmla="*/ 569 h 910"/>
                <a:gd name="T88" fmla="*/ 61 w 628"/>
                <a:gd name="T89" fmla="*/ 532 h 910"/>
                <a:gd name="T90" fmla="*/ 21 w 628"/>
                <a:gd name="T91" fmla="*/ 501 h 910"/>
                <a:gd name="T92" fmla="*/ 0 w 628"/>
                <a:gd name="T93" fmla="*/ 472 h 910"/>
                <a:gd name="T94" fmla="*/ 22 w 628"/>
                <a:gd name="T95" fmla="*/ 448 h 910"/>
                <a:gd name="T96" fmla="*/ 59 w 628"/>
                <a:gd name="T97" fmla="*/ 419 h 910"/>
                <a:gd name="T98" fmla="*/ 49 w 628"/>
                <a:gd name="T99" fmla="*/ 382 h 910"/>
                <a:gd name="T100" fmla="*/ 31 w 628"/>
                <a:gd name="T101" fmla="*/ 349 h 910"/>
                <a:gd name="T102" fmla="*/ 30 w 628"/>
                <a:gd name="T103" fmla="*/ 297 h 910"/>
                <a:gd name="T104" fmla="*/ 21 w 628"/>
                <a:gd name="T105" fmla="*/ 279 h 910"/>
                <a:gd name="T106" fmla="*/ 33 w 628"/>
                <a:gd name="T107" fmla="*/ 264 h 910"/>
                <a:gd name="T108" fmla="*/ 54 w 628"/>
                <a:gd name="T109" fmla="*/ 249 h 910"/>
                <a:gd name="T110" fmla="*/ 60 w 628"/>
                <a:gd name="T111" fmla="*/ 221 h 910"/>
                <a:gd name="T112" fmla="*/ 84 w 628"/>
                <a:gd name="T113" fmla="*/ 179 h 910"/>
                <a:gd name="T114" fmla="*/ 79 w 628"/>
                <a:gd name="T115" fmla="*/ 130 h 910"/>
                <a:gd name="T116" fmla="*/ 99 w 628"/>
                <a:gd name="T117" fmla="*/ 123 h 910"/>
                <a:gd name="T118" fmla="*/ 133 w 628"/>
                <a:gd name="T119" fmla="*/ 128 h 910"/>
                <a:gd name="T120" fmla="*/ 116 w 628"/>
                <a:gd name="T121" fmla="*/ 84 h 910"/>
                <a:gd name="T122" fmla="*/ 116 w 628"/>
                <a:gd name="T123" fmla="*/ 35 h 910"/>
                <a:gd name="T124" fmla="*/ 150 w 628"/>
                <a:gd name="T125" fmla="*/ 13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28" h="910">
                  <a:moveTo>
                    <a:pt x="160" y="0"/>
                  </a:moveTo>
                  <a:lnTo>
                    <a:pt x="161" y="0"/>
                  </a:lnTo>
                  <a:lnTo>
                    <a:pt x="161" y="0"/>
                  </a:lnTo>
                  <a:lnTo>
                    <a:pt x="161" y="1"/>
                  </a:lnTo>
                  <a:lnTo>
                    <a:pt x="161" y="2"/>
                  </a:lnTo>
                  <a:lnTo>
                    <a:pt x="162" y="2"/>
                  </a:lnTo>
                  <a:lnTo>
                    <a:pt x="164" y="3"/>
                  </a:lnTo>
                  <a:lnTo>
                    <a:pt x="167" y="4"/>
                  </a:lnTo>
                  <a:lnTo>
                    <a:pt x="167" y="3"/>
                  </a:lnTo>
                  <a:lnTo>
                    <a:pt x="169" y="3"/>
                  </a:lnTo>
                  <a:lnTo>
                    <a:pt x="169" y="5"/>
                  </a:lnTo>
                  <a:lnTo>
                    <a:pt x="169" y="5"/>
                  </a:lnTo>
                  <a:lnTo>
                    <a:pt x="169" y="9"/>
                  </a:lnTo>
                  <a:lnTo>
                    <a:pt x="170" y="16"/>
                  </a:lnTo>
                  <a:lnTo>
                    <a:pt x="171" y="21"/>
                  </a:lnTo>
                  <a:lnTo>
                    <a:pt x="174" y="28"/>
                  </a:lnTo>
                  <a:lnTo>
                    <a:pt x="176" y="38"/>
                  </a:lnTo>
                  <a:lnTo>
                    <a:pt x="178" y="42"/>
                  </a:lnTo>
                  <a:lnTo>
                    <a:pt x="179" y="47"/>
                  </a:lnTo>
                  <a:lnTo>
                    <a:pt x="183" y="55"/>
                  </a:lnTo>
                  <a:lnTo>
                    <a:pt x="185" y="61"/>
                  </a:lnTo>
                  <a:lnTo>
                    <a:pt x="186" y="66"/>
                  </a:lnTo>
                  <a:lnTo>
                    <a:pt x="189" y="74"/>
                  </a:lnTo>
                  <a:lnTo>
                    <a:pt x="189" y="76"/>
                  </a:lnTo>
                  <a:lnTo>
                    <a:pt x="190" y="78"/>
                  </a:lnTo>
                  <a:lnTo>
                    <a:pt x="191" y="80"/>
                  </a:lnTo>
                  <a:lnTo>
                    <a:pt x="191" y="81"/>
                  </a:lnTo>
                  <a:lnTo>
                    <a:pt x="192" y="82"/>
                  </a:lnTo>
                  <a:lnTo>
                    <a:pt x="194" y="83"/>
                  </a:lnTo>
                  <a:lnTo>
                    <a:pt x="194" y="83"/>
                  </a:lnTo>
                  <a:lnTo>
                    <a:pt x="196" y="83"/>
                  </a:lnTo>
                  <a:lnTo>
                    <a:pt x="197" y="83"/>
                  </a:lnTo>
                  <a:lnTo>
                    <a:pt x="199" y="82"/>
                  </a:lnTo>
                  <a:lnTo>
                    <a:pt x="205" y="80"/>
                  </a:lnTo>
                  <a:lnTo>
                    <a:pt x="208" y="77"/>
                  </a:lnTo>
                  <a:lnTo>
                    <a:pt x="212" y="77"/>
                  </a:lnTo>
                  <a:lnTo>
                    <a:pt x="216" y="76"/>
                  </a:lnTo>
                  <a:lnTo>
                    <a:pt x="218" y="75"/>
                  </a:lnTo>
                  <a:lnTo>
                    <a:pt x="222" y="76"/>
                  </a:lnTo>
                  <a:lnTo>
                    <a:pt x="224" y="76"/>
                  </a:lnTo>
                  <a:lnTo>
                    <a:pt x="226" y="77"/>
                  </a:lnTo>
                  <a:lnTo>
                    <a:pt x="228" y="79"/>
                  </a:lnTo>
                  <a:lnTo>
                    <a:pt x="231" y="80"/>
                  </a:lnTo>
                  <a:lnTo>
                    <a:pt x="233" y="82"/>
                  </a:lnTo>
                  <a:lnTo>
                    <a:pt x="236" y="85"/>
                  </a:lnTo>
                  <a:lnTo>
                    <a:pt x="237" y="87"/>
                  </a:lnTo>
                  <a:lnTo>
                    <a:pt x="238" y="90"/>
                  </a:lnTo>
                  <a:lnTo>
                    <a:pt x="241" y="94"/>
                  </a:lnTo>
                  <a:lnTo>
                    <a:pt x="242" y="97"/>
                  </a:lnTo>
                  <a:lnTo>
                    <a:pt x="244" y="103"/>
                  </a:lnTo>
                  <a:lnTo>
                    <a:pt x="246" y="106"/>
                  </a:lnTo>
                  <a:lnTo>
                    <a:pt x="247" y="108"/>
                  </a:lnTo>
                  <a:lnTo>
                    <a:pt x="253" y="117"/>
                  </a:lnTo>
                  <a:lnTo>
                    <a:pt x="256" y="120"/>
                  </a:lnTo>
                  <a:lnTo>
                    <a:pt x="259" y="124"/>
                  </a:lnTo>
                  <a:lnTo>
                    <a:pt x="261" y="126"/>
                  </a:lnTo>
                  <a:lnTo>
                    <a:pt x="263" y="128"/>
                  </a:lnTo>
                  <a:lnTo>
                    <a:pt x="266" y="130"/>
                  </a:lnTo>
                  <a:lnTo>
                    <a:pt x="268" y="131"/>
                  </a:lnTo>
                  <a:lnTo>
                    <a:pt x="269" y="132"/>
                  </a:lnTo>
                  <a:lnTo>
                    <a:pt x="271" y="133"/>
                  </a:lnTo>
                  <a:lnTo>
                    <a:pt x="273" y="134"/>
                  </a:lnTo>
                  <a:lnTo>
                    <a:pt x="277" y="135"/>
                  </a:lnTo>
                  <a:lnTo>
                    <a:pt x="287" y="137"/>
                  </a:lnTo>
                  <a:lnTo>
                    <a:pt x="293" y="138"/>
                  </a:lnTo>
                  <a:lnTo>
                    <a:pt x="311" y="145"/>
                  </a:lnTo>
                  <a:lnTo>
                    <a:pt x="321" y="147"/>
                  </a:lnTo>
                  <a:lnTo>
                    <a:pt x="323" y="148"/>
                  </a:lnTo>
                  <a:lnTo>
                    <a:pt x="327" y="150"/>
                  </a:lnTo>
                  <a:lnTo>
                    <a:pt x="328" y="150"/>
                  </a:lnTo>
                  <a:lnTo>
                    <a:pt x="330" y="151"/>
                  </a:lnTo>
                  <a:lnTo>
                    <a:pt x="331" y="152"/>
                  </a:lnTo>
                  <a:lnTo>
                    <a:pt x="333" y="154"/>
                  </a:lnTo>
                  <a:lnTo>
                    <a:pt x="334" y="156"/>
                  </a:lnTo>
                  <a:lnTo>
                    <a:pt x="335" y="158"/>
                  </a:lnTo>
                  <a:lnTo>
                    <a:pt x="337" y="162"/>
                  </a:lnTo>
                  <a:lnTo>
                    <a:pt x="339" y="170"/>
                  </a:lnTo>
                  <a:lnTo>
                    <a:pt x="340" y="173"/>
                  </a:lnTo>
                  <a:lnTo>
                    <a:pt x="341" y="176"/>
                  </a:lnTo>
                  <a:lnTo>
                    <a:pt x="343" y="179"/>
                  </a:lnTo>
                  <a:lnTo>
                    <a:pt x="344" y="181"/>
                  </a:lnTo>
                  <a:lnTo>
                    <a:pt x="346" y="183"/>
                  </a:lnTo>
                  <a:lnTo>
                    <a:pt x="353" y="191"/>
                  </a:lnTo>
                  <a:lnTo>
                    <a:pt x="359" y="197"/>
                  </a:lnTo>
                  <a:lnTo>
                    <a:pt x="361" y="199"/>
                  </a:lnTo>
                  <a:lnTo>
                    <a:pt x="362" y="201"/>
                  </a:lnTo>
                  <a:lnTo>
                    <a:pt x="363" y="202"/>
                  </a:lnTo>
                  <a:lnTo>
                    <a:pt x="366" y="209"/>
                  </a:lnTo>
                  <a:lnTo>
                    <a:pt x="367" y="212"/>
                  </a:lnTo>
                  <a:lnTo>
                    <a:pt x="368" y="214"/>
                  </a:lnTo>
                  <a:lnTo>
                    <a:pt x="370" y="215"/>
                  </a:lnTo>
                  <a:lnTo>
                    <a:pt x="376" y="222"/>
                  </a:lnTo>
                  <a:lnTo>
                    <a:pt x="378" y="224"/>
                  </a:lnTo>
                  <a:lnTo>
                    <a:pt x="379" y="225"/>
                  </a:lnTo>
                  <a:lnTo>
                    <a:pt x="381" y="226"/>
                  </a:lnTo>
                  <a:lnTo>
                    <a:pt x="386" y="229"/>
                  </a:lnTo>
                  <a:lnTo>
                    <a:pt x="388" y="230"/>
                  </a:lnTo>
                  <a:lnTo>
                    <a:pt x="389" y="232"/>
                  </a:lnTo>
                  <a:lnTo>
                    <a:pt x="394" y="237"/>
                  </a:lnTo>
                  <a:lnTo>
                    <a:pt x="397" y="239"/>
                  </a:lnTo>
                  <a:lnTo>
                    <a:pt x="401" y="242"/>
                  </a:lnTo>
                  <a:lnTo>
                    <a:pt x="405" y="244"/>
                  </a:lnTo>
                  <a:lnTo>
                    <a:pt x="408" y="247"/>
                  </a:lnTo>
                  <a:lnTo>
                    <a:pt x="416" y="250"/>
                  </a:lnTo>
                  <a:lnTo>
                    <a:pt x="421" y="252"/>
                  </a:lnTo>
                  <a:lnTo>
                    <a:pt x="430" y="255"/>
                  </a:lnTo>
                  <a:lnTo>
                    <a:pt x="431" y="256"/>
                  </a:lnTo>
                  <a:lnTo>
                    <a:pt x="431" y="257"/>
                  </a:lnTo>
                  <a:lnTo>
                    <a:pt x="430" y="257"/>
                  </a:lnTo>
                  <a:lnTo>
                    <a:pt x="430" y="259"/>
                  </a:lnTo>
                  <a:lnTo>
                    <a:pt x="430" y="266"/>
                  </a:lnTo>
                  <a:lnTo>
                    <a:pt x="430" y="270"/>
                  </a:lnTo>
                  <a:lnTo>
                    <a:pt x="429" y="275"/>
                  </a:lnTo>
                  <a:lnTo>
                    <a:pt x="428" y="279"/>
                  </a:lnTo>
                  <a:lnTo>
                    <a:pt x="428" y="283"/>
                  </a:lnTo>
                  <a:lnTo>
                    <a:pt x="426" y="287"/>
                  </a:lnTo>
                  <a:lnTo>
                    <a:pt x="425" y="290"/>
                  </a:lnTo>
                  <a:lnTo>
                    <a:pt x="423" y="293"/>
                  </a:lnTo>
                  <a:lnTo>
                    <a:pt x="423" y="294"/>
                  </a:lnTo>
                  <a:lnTo>
                    <a:pt x="421" y="296"/>
                  </a:lnTo>
                  <a:lnTo>
                    <a:pt x="420" y="297"/>
                  </a:lnTo>
                  <a:lnTo>
                    <a:pt x="418" y="297"/>
                  </a:lnTo>
                  <a:lnTo>
                    <a:pt x="417" y="298"/>
                  </a:lnTo>
                  <a:lnTo>
                    <a:pt x="416" y="298"/>
                  </a:lnTo>
                  <a:lnTo>
                    <a:pt x="409" y="298"/>
                  </a:lnTo>
                  <a:lnTo>
                    <a:pt x="408" y="298"/>
                  </a:lnTo>
                  <a:lnTo>
                    <a:pt x="406" y="299"/>
                  </a:lnTo>
                  <a:lnTo>
                    <a:pt x="404" y="299"/>
                  </a:lnTo>
                  <a:lnTo>
                    <a:pt x="402" y="300"/>
                  </a:lnTo>
                  <a:lnTo>
                    <a:pt x="401" y="302"/>
                  </a:lnTo>
                  <a:lnTo>
                    <a:pt x="399" y="304"/>
                  </a:lnTo>
                  <a:lnTo>
                    <a:pt x="398" y="307"/>
                  </a:lnTo>
                  <a:lnTo>
                    <a:pt x="396" y="309"/>
                  </a:lnTo>
                  <a:lnTo>
                    <a:pt x="396" y="312"/>
                  </a:lnTo>
                  <a:lnTo>
                    <a:pt x="396" y="315"/>
                  </a:lnTo>
                  <a:lnTo>
                    <a:pt x="396" y="322"/>
                  </a:lnTo>
                  <a:lnTo>
                    <a:pt x="395" y="331"/>
                  </a:lnTo>
                  <a:lnTo>
                    <a:pt x="394" y="334"/>
                  </a:lnTo>
                  <a:lnTo>
                    <a:pt x="393" y="336"/>
                  </a:lnTo>
                  <a:lnTo>
                    <a:pt x="392" y="338"/>
                  </a:lnTo>
                  <a:lnTo>
                    <a:pt x="391" y="339"/>
                  </a:lnTo>
                  <a:lnTo>
                    <a:pt x="387" y="344"/>
                  </a:lnTo>
                  <a:lnTo>
                    <a:pt x="386" y="346"/>
                  </a:lnTo>
                  <a:lnTo>
                    <a:pt x="386" y="347"/>
                  </a:lnTo>
                  <a:lnTo>
                    <a:pt x="386" y="349"/>
                  </a:lnTo>
                  <a:lnTo>
                    <a:pt x="385" y="350"/>
                  </a:lnTo>
                  <a:lnTo>
                    <a:pt x="385" y="353"/>
                  </a:lnTo>
                  <a:lnTo>
                    <a:pt x="386" y="354"/>
                  </a:lnTo>
                  <a:lnTo>
                    <a:pt x="386" y="355"/>
                  </a:lnTo>
                  <a:lnTo>
                    <a:pt x="387" y="357"/>
                  </a:lnTo>
                  <a:lnTo>
                    <a:pt x="388" y="358"/>
                  </a:lnTo>
                  <a:lnTo>
                    <a:pt x="389" y="359"/>
                  </a:lnTo>
                  <a:lnTo>
                    <a:pt x="391" y="359"/>
                  </a:lnTo>
                  <a:lnTo>
                    <a:pt x="393" y="360"/>
                  </a:lnTo>
                  <a:lnTo>
                    <a:pt x="395" y="361"/>
                  </a:lnTo>
                  <a:lnTo>
                    <a:pt x="402" y="362"/>
                  </a:lnTo>
                  <a:lnTo>
                    <a:pt x="407" y="364"/>
                  </a:lnTo>
                  <a:lnTo>
                    <a:pt x="411" y="365"/>
                  </a:lnTo>
                  <a:lnTo>
                    <a:pt x="413" y="366"/>
                  </a:lnTo>
                  <a:lnTo>
                    <a:pt x="415" y="367"/>
                  </a:lnTo>
                  <a:lnTo>
                    <a:pt x="417" y="369"/>
                  </a:lnTo>
                  <a:lnTo>
                    <a:pt x="418" y="370"/>
                  </a:lnTo>
                  <a:lnTo>
                    <a:pt x="421" y="372"/>
                  </a:lnTo>
                  <a:lnTo>
                    <a:pt x="422" y="373"/>
                  </a:lnTo>
                  <a:lnTo>
                    <a:pt x="423" y="375"/>
                  </a:lnTo>
                  <a:lnTo>
                    <a:pt x="425" y="377"/>
                  </a:lnTo>
                  <a:lnTo>
                    <a:pt x="427" y="381"/>
                  </a:lnTo>
                  <a:lnTo>
                    <a:pt x="428" y="383"/>
                  </a:lnTo>
                  <a:lnTo>
                    <a:pt x="428" y="385"/>
                  </a:lnTo>
                  <a:lnTo>
                    <a:pt x="429" y="387"/>
                  </a:lnTo>
                  <a:lnTo>
                    <a:pt x="430" y="389"/>
                  </a:lnTo>
                  <a:lnTo>
                    <a:pt x="430" y="390"/>
                  </a:lnTo>
                  <a:lnTo>
                    <a:pt x="430" y="392"/>
                  </a:lnTo>
                  <a:lnTo>
                    <a:pt x="429" y="395"/>
                  </a:lnTo>
                  <a:lnTo>
                    <a:pt x="428" y="401"/>
                  </a:lnTo>
                  <a:lnTo>
                    <a:pt x="427" y="403"/>
                  </a:lnTo>
                  <a:lnTo>
                    <a:pt x="425" y="405"/>
                  </a:lnTo>
                  <a:lnTo>
                    <a:pt x="424" y="409"/>
                  </a:lnTo>
                  <a:lnTo>
                    <a:pt x="418" y="417"/>
                  </a:lnTo>
                  <a:lnTo>
                    <a:pt x="418" y="419"/>
                  </a:lnTo>
                  <a:lnTo>
                    <a:pt x="417" y="420"/>
                  </a:lnTo>
                  <a:lnTo>
                    <a:pt x="417" y="421"/>
                  </a:lnTo>
                  <a:lnTo>
                    <a:pt x="417" y="423"/>
                  </a:lnTo>
                  <a:lnTo>
                    <a:pt x="418" y="424"/>
                  </a:lnTo>
                  <a:lnTo>
                    <a:pt x="418" y="424"/>
                  </a:lnTo>
                  <a:lnTo>
                    <a:pt x="421" y="428"/>
                  </a:lnTo>
                  <a:lnTo>
                    <a:pt x="423" y="430"/>
                  </a:lnTo>
                  <a:lnTo>
                    <a:pt x="425" y="433"/>
                  </a:lnTo>
                  <a:lnTo>
                    <a:pt x="426" y="436"/>
                  </a:lnTo>
                  <a:lnTo>
                    <a:pt x="428" y="438"/>
                  </a:lnTo>
                  <a:lnTo>
                    <a:pt x="428" y="440"/>
                  </a:lnTo>
                  <a:lnTo>
                    <a:pt x="430" y="448"/>
                  </a:lnTo>
                  <a:lnTo>
                    <a:pt x="431" y="450"/>
                  </a:lnTo>
                  <a:lnTo>
                    <a:pt x="432" y="451"/>
                  </a:lnTo>
                  <a:lnTo>
                    <a:pt x="433" y="453"/>
                  </a:lnTo>
                  <a:lnTo>
                    <a:pt x="433" y="454"/>
                  </a:lnTo>
                  <a:lnTo>
                    <a:pt x="435" y="455"/>
                  </a:lnTo>
                  <a:lnTo>
                    <a:pt x="438" y="456"/>
                  </a:lnTo>
                  <a:lnTo>
                    <a:pt x="440" y="458"/>
                  </a:lnTo>
                  <a:lnTo>
                    <a:pt x="448" y="460"/>
                  </a:lnTo>
                  <a:lnTo>
                    <a:pt x="449" y="461"/>
                  </a:lnTo>
                  <a:lnTo>
                    <a:pt x="450" y="461"/>
                  </a:lnTo>
                  <a:lnTo>
                    <a:pt x="452" y="463"/>
                  </a:lnTo>
                  <a:lnTo>
                    <a:pt x="455" y="467"/>
                  </a:lnTo>
                  <a:lnTo>
                    <a:pt x="457" y="469"/>
                  </a:lnTo>
                  <a:lnTo>
                    <a:pt x="458" y="469"/>
                  </a:lnTo>
                  <a:lnTo>
                    <a:pt x="463" y="473"/>
                  </a:lnTo>
                  <a:lnTo>
                    <a:pt x="465" y="474"/>
                  </a:lnTo>
                  <a:lnTo>
                    <a:pt x="467" y="476"/>
                  </a:lnTo>
                  <a:lnTo>
                    <a:pt x="468" y="478"/>
                  </a:lnTo>
                  <a:lnTo>
                    <a:pt x="468" y="479"/>
                  </a:lnTo>
                  <a:lnTo>
                    <a:pt x="469" y="481"/>
                  </a:lnTo>
                  <a:lnTo>
                    <a:pt x="469" y="482"/>
                  </a:lnTo>
                  <a:lnTo>
                    <a:pt x="469" y="484"/>
                  </a:lnTo>
                  <a:lnTo>
                    <a:pt x="468" y="490"/>
                  </a:lnTo>
                  <a:lnTo>
                    <a:pt x="466" y="504"/>
                  </a:lnTo>
                  <a:lnTo>
                    <a:pt x="466" y="506"/>
                  </a:lnTo>
                  <a:lnTo>
                    <a:pt x="465" y="509"/>
                  </a:lnTo>
                  <a:lnTo>
                    <a:pt x="466" y="511"/>
                  </a:lnTo>
                  <a:lnTo>
                    <a:pt x="467" y="514"/>
                  </a:lnTo>
                  <a:lnTo>
                    <a:pt x="468" y="516"/>
                  </a:lnTo>
                  <a:lnTo>
                    <a:pt x="470" y="519"/>
                  </a:lnTo>
                  <a:lnTo>
                    <a:pt x="471" y="521"/>
                  </a:lnTo>
                  <a:lnTo>
                    <a:pt x="473" y="524"/>
                  </a:lnTo>
                  <a:lnTo>
                    <a:pt x="475" y="526"/>
                  </a:lnTo>
                  <a:lnTo>
                    <a:pt x="478" y="528"/>
                  </a:lnTo>
                  <a:lnTo>
                    <a:pt x="480" y="529"/>
                  </a:lnTo>
                  <a:lnTo>
                    <a:pt x="482" y="531"/>
                  </a:lnTo>
                  <a:lnTo>
                    <a:pt x="484" y="531"/>
                  </a:lnTo>
                  <a:lnTo>
                    <a:pt x="486" y="532"/>
                  </a:lnTo>
                  <a:lnTo>
                    <a:pt x="488" y="533"/>
                  </a:lnTo>
                  <a:lnTo>
                    <a:pt x="489" y="534"/>
                  </a:lnTo>
                  <a:lnTo>
                    <a:pt x="492" y="534"/>
                  </a:lnTo>
                  <a:lnTo>
                    <a:pt x="495" y="534"/>
                  </a:lnTo>
                  <a:lnTo>
                    <a:pt x="503" y="532"/>
                  </a:lnTo>
                  <a:lnTo>
                    <a:pt x="505" y="532"/>
                  </a:lnTo>
                  <a:lnTo>
                    <a:pt x="507" y="532"/>
                  </a:lnTo>
                  <a:lnTo>
                    <a:pt x="508" y="532"/>
                  </a:lnTo>
                  <a:lnTo>
                    <a:pt x="510" y="533"/>
                  </a:lnTo>
                  <a:lnTo>
                    <a:pt x="510" y="534"/>
                  </a:lnTo>
                  <a:lnTo>
                    <a:pt x="511" y="534"/>
                  </a:lnTo>
                  <a:lnTo>
                    <a:pt x="511" y="535"/>
                  </a:lnTo>
                  <a:lnTo>
                    <a:pt x="511" y="536"/>
                  </a:lnTo>
                  <a:lnTo>
                    <a:pt x="511" y="538"/>
                  </a:lnTo>
                  <a:lnTo>
                    <a:pt x="510" y="540"/>
                  </a:lnTo>
                  <a:lnTo>
                    <a:pt x="510" y="542"/>
                  </a:lnTo>
                  <a:lnTo>
                    <a:pt x="509" y="543"/>
                  </a:lnTo>
                  <a:lnTo>
                    <a:pt x="508" y="544"/>
                  </a:lnTo>
                  <a:lnTo>
                    <a:pt x="503" y="548"/>
                  </a:lnTo>
                  <a:lnTo>
                    <a:pt x="500" y="550"/>
                  </a:lnTo>
                  <a:lnTo>
                    <a:pt x="499" y="551"/>
                  </a:lnTo>
                  <a:lnTo>
                    <a:pt x="498" y="554"/>
                  </a:lnTo>
                  <a:lnTo>
                    <a:pt x="497" y="556"/>
                  </a:lnTo>
                  <a:lnTo>
                    <a:pt x="496" y="559"/>
                  </a:lnTo>
                  <a:lnTo>
                    <a:pt x="495" y="561"/>
                  </a:lnTo>
                  <a:lnTo>
                    <a:pt x="496" y="564"/>
                  </a:lnTo>
                  <a:lnTo>
                    <a:pt x="497" y="565"/>
                  </a:lnTo>
                  <a:lnTo>
                    <a:pt x="498" y="566"/>
                  </a:lnTo>
                  <a:lnTo>
                    <a:pt x="498" y="568"/>
                  </a:lnTo>
                  <a:lnTo>
                    <a:pt x="500" y="569"/>
                  </a:lnTo>
                  <a:lnTo>
                    <a:pt x="501" y="570"/>
                  </a:lnTo>
                  <a:lnTo>
                    <a:pt x="503" y="571"/>
                  </a:lnTo>
                  <a:lnTo>
                    <a:pt x="511" y="575"/>
                  </a:lnTo>
                  <a:lnTo>
                    <a:pt x="513" y="576"/>
                  </a:lnTo>
                  <a:lnTo>
                    <a:pt x="515" y="578"/>
                  </a:lnTo>
                  <a:lnTo>
                    <a:pt x="516" y="579"/>
                  </a:lnTo>
                  <a:lnTo>
                    <a:pt x="517" y="579"/>
                  </a:lnTo>
                  <a:lnTo>
                    <a:pt x="518" y="581"/>
                  </a:lnTo>
                  <a:lnTo>
                    <a:pt x="518" y="584"/>
                  </a:lnTo>
                  <a:lnTo>
                    <a:pt x="519" y="586"/>
                  </a:lnTo>
                  <a:lnTo>
                    <a:pt x="520" y="592"/>
                  </a:lnTo>
                  <a:lnTo>
                    <a:pt x="523" y="599"/>
                  </a:lnTo>
                  <a:lnTo>
                    <a:pt x="524" y="604"/>
                  </a:lnTo>
                  <a:lnTo>
                    <a:pt x="528" y="611"/>
                  </a:lnTo>
                  <a:lnTo>
                    <a:pt x="530" y="614"/>
                  </a:lnTo>
                  <a:lnTo>
                    <a:pt x="530" y="619"/>
                  </a:lnTo>
                  <a:lnTo>
                    <a:pt x="532" y="628"/>
                  </a:lnTo>
                  <a:lnTo>
                    <a:pt x="533" y="632"/>
                  </a:lnTo>
                  <a:lnTo>
                    <a:pt x="534" y="634"/>
                  </a:lnTo>
                  <a:lnTo>
                    <a:pt x="535" y="637"/>
                  </a:lnTo>
                  <a:lnTo>
                    <a:pt x="537" y="640"/>
                  </a:lnTo>
                  <a:lnTo>
                    <a:pt x="539" y="644"/>
                  </a:lnTo>
                  <a:lnTo>
                    <a:pt x="541" y="646"/>
                  </a:lnTo>
                  <a:lnTo>
                    <a:pt x="543" y="649"/>
                  </a:lnTo>
                  <a:lnTo>
                    <a:pt x="545" y="652"/>
                  </a:lnTo>
                  <a:lnTo>
                    <a:pt x="548" y="655"/>
                  </a:lnTo>
                  <a:lnTo>
                    <a:pt x="550" y="657"/>
                  </a:lnTo>
                  <a:lnTo>
                    <a:pt x="553" y="659"/>
                  </a:lnTo>
                  <a:lnTo>
                    <a:pt x="555" y="661"/>
                  </a:lnTo>
                  <a:lnTo>
                    <a:pt x="558" y="663"/>
                  </a:lnTo>
                  <a:lnTo>
                    <a:pt x="561" y="665"/>
                  </a:lnTo>
                  <a:lnTo>
                    <a:pt x="565" y="667"/>
                  </a:lnTo>
                  <a:lnTo>
                    <a:pt x="568" y="668"/>
                  </a:lnTo>
                  <a:lnTo>
                    <a:pt x="573" y="671"/>
                  </a:lnTo>
                  <a:lnTo>
                    <a:pt x="577" y="672"/>
                  </a:lnTo>
                  <a:lnTo>
                    <a:pt x="580" y="673"/>
                  </a:lnTo>
                  <a:lnTo>
                    <a:pt x="591" y="676"/>
                  </a:lnTo>
                  <a:lnTo>
                    <a:pt x="593" y="676"/>
                  </a:lnTo>
                  <a:lnTo>
                    <a:pt x="595" y="677"/>
                  </a:lnTo>
                  <a:lnTo>
                    <a:pt x="597" y="678"/>
                  </a:lnTo>
                  <a:lnTo>
                    <a:pt x="598" y="679"/>
                  </a:lnTo>
                  <a:lnTo>
                    <a:pt x="600" y="681"/>
                  </a:lnTo>
                  <a:lnTo>
                    <a:pt x="602" y="683"/>
                  </a:lnTo>
                  <a:lnTo>
                    <a:pt x="603" y="685"/>
                  </a:lnTo>
                  <a:lnTo>
                    <a:pt x="603" y="687"/>
                  </a:lnTo>
                  <a:lnTo>
                    <a:pt x="605" y="691"/>
                  </a:lnTo>
                  <a:lnTo>
                    <a:pt x="605" y="695"/>
                  </a:lnTo>
                  <a:lnTo>
                    <a:pt x="607" y="703"/>
                  </a:lnTo>
                  <a:lnTo>
                    <a:pt x="608" y="706"/>
                  </a:lnTo>
                  <a:lnTo>
                    <a:pt x="609" y="708"/>
                  </a:lnTo>
                  <a:lnTo>
                    <a:pt x="610" y="713"/>
                  </a:lnTo>
                  <a:lnTo>
                    <a:pt x="617" y="726"/>
                  </a:lnTo>
                  <a:lnTo>
                    <a:pt x="619" y="730"/>
                  </a:lnTo>
                  <a:lnTo>
                    <a:pt x="620" y="733"/>
                  </a:lnTo>
                  <a:lnTo>
                    <a:pt x="620" y="736"/>
                  </a:lnTo>
                  <a:lnTo>
                    <a:pt x="620" y="738"/>
                  </a:lnTo>
                  <a:lnTo>
                    <a:pt x="622" y="748"/>
                  </a:lnTo>
                  <a:lnTo>
                    <a:pt x="623" y="754"/>
                  </a:lnTo>
                  <a:lnTo>
                    <a:pt x="624" y="759"/>
                  </a:lnTo>
                  <a:lnTo>
                    <a:pt x="626" y="768"/>
                  </a:lnTo>
                  <a:lnTo>
                    <a:pt x="628" y="772"/>
                  </a:lnTo>
                  <a:lnTo>
                    <a:pt x="628" y="775"/>
                  </a:lnTo>
                  <a:lnTo>
                    <a:pt x="627" y="777"/>
                  </a:lnTo>
                  <a:lnTo>
                    <a:pt x="627" y="778"/>
                  </a:lnTo>
                  <a:lnTo>
                    <a:pt x="626" y="778"/>
                  </a:lnTo>
                  <a:lnTo>
                    <a:pt x="626" y="779"/>
                  </a:lnTo>
                  <a:lnTo>
                    <a:pt x="625" y="779"/>
                  </a:lnTo>
                  <a:lnTo>
                    <a:pt x="624" y="778"/>
                  </a:lnTo>
                  <a:lnTo>
                    <a:pt x="621" y="778"/>
                  </a:lnTo>
                  <a:lnTo>
                    <a:pt x="614" y="773"/>
                  </a:lnTo>
                  <a:lnTo>
                    <a:pt x="611" y="772"/>
                  </a:lnTo>
                  <a:lnTo>
                    <a:pt x="608" y="771"/>
                  </a:lnTo>
                  <a:lnTo>
                    <a:pt x="603" y="769"/>
                  </a:lnTo>
                  <a:lnTo>
                    <a:pt x="600" y="768"/>
                  </a:lnTo>
                  <a:lnTo>
                    <a:pt x="598" y="768"/>
                  </a:lnTo>
                  <a:lnTo>
                    <a:pt x="584" y="766"/>
                  </a:lnTo>
                  <a:lnTo>
                    <a:pt x="575" y="763"/>
                  </a:lnTo>
                  <a:lnTo>
                    <a:pt x="571" y="763"/>
                  </a:lnTo>
                  <a:lnTo>
                    <a:pt x="568" y="763"/>
                  </a:lnTo>
                  <a:lnTo>
                    <a:pt x="565" y="763"/>
                  </a:lnTo>
                  <a:lnTo>
                    <a:pt x="561" y="763"/>
                  </a:lnTo>
                  <a:lnTo>
                    <a:pt x="558" y="763"/>
                  </a:lnTo>
                  <a:lnTo>
                    <a:pt x="555" y="764"/>
                  </a:lnTo>
                  <a:lnTo>
                    <a:pt x="553" y="765"/>
                  </a:lnTo>
                  <a:lnTo>
                    <a:pt x="551" y="766"/>
                  </a:lnTo>
                  <a:lnTo>
                    <a:pt x="549" y="768"/>
                  </a:lnTo>
                  <a:lnTo>
                    <a:pt x="547" y="770"/>
                  </a:lnTo>
                  <a:lnTo>
                    <a:pt x="545" y="772"/>
                  </a:lnTo>
                  <a:lnTo>
                    <a:pt x="544" y="775"/>
                  </a:lnTo>
                  <a:lnTo>
                    <a:pt x="543" y="778"/>
                  </a:lnTo>
                  <a:lnTo>
                    <a:pt x="542" y="781"/>
                  </a:lnTo>
                  <a:lnTo>
                    <a:pt x="540" y="791"/>
                  </a:lnTo>
                  <a:lnTo>
                    <a:pt x="537" y="805"/>
                  </a:lnTo>
                  <a:lnTo>
                    <a:pt x="536" y="810"/>
                  </a:lnTo>
                  <a:lnTo>
                    <a:pt x="535" y="819"/>
                  </a:lnTo>
                  <a:lnTo>
                    <a:pt x="534" y="823"/>
                  </a:lnTo>
                  <a:lnTo>
                    <a:pt x="533" y="826"/>
                  </a:lnTo>
                  <a:lnTo>
                    <a:pt x="533" y="828"/>
                  </a:lnTo>
                  <a:lnTo>
                    <a:pt x="531" y="831"/>
                  </a:lnTo>
                  <a:lnTo>
                    <a:pt x="530" y="833"/>
                  </a:lnTo>
                  <a:lnTo>
                    <a:pt x="526" y="838"/>
                  </a:lnTo>
                  <a:lnTo>
                    <a:pt x="523" y="843"/>
                  </a:lnTo>
                  <a:lnTo>
                    <a:pt x="518" y="848"/>
                  </a:lnTo>
                  <a:lnTo>
                    <a:pt x="515" y="852"/>
                  </a:lnTo>
                  <a:lnTo>
                    <a:pt x="512" y="855"/>
                  </a:lnTo>
                  <a:lnTo>
                    <a:pt x="508" y="858"/>
                  </a:lnTo>
                  <a:lnTo>
                    <a:pt x="505" y="860"/>
                  </a:lnTo>
                  <a:lnTo>
                    <a:pt x="497" y="866"/>
                  </a:lnTo>
                  <a:lnTo>
                    <a:pt x="492" y="868"/>
                  </a:lnTo>
                  <a:lnTo>
                    <a:pt x="486" y="873"/>
                  </a:lnTo>
                  <a:lnTo>
                    <a:pt x="483" y="877"/>
                  </a:lnTo>
                  <a:lnTo>
                    <a:pt x="480" y="880"/>
                  </a:lnTo>
                  <a:lnTo>
                    <a:pt x="476" y="883"/>
                  </a:lnTo>
                  <a:lnTo>
                    <a:pt x="473" y="887"/>
                  </a:lnTo>
                  <a:lnTo>
                    <a:pt x="471" y="890"/>
                  </a:lnTo>
                  <a:lnTo>
                    <a:pt x="469" y="893"/>
                  </a:lnTo>
                  <a:lnTo>
                    <a:pt x="467" y="896"/>
                  </a:lnTo>
                  <a:lnTo>
                    <a:pt x="465" y="900"/>
                  </a:lnTo>
                  <a:lnTo>
                    <a:pt x="464" y="903"/>
                  </a:lnTo>
                  <a:lnTo>
                    <a:pt x="463" y="907"/>
                  </a:lnTo>
                  <a:lnTo>
                    <a:pt x="462" y="909"/>
                  </a:lnTo>
                  <a:lnTo>
                    <a:pt x="462" y="910"/>
                  </a:lnTo>
                  <a:lnTo>
                    <a:pt x="461" y="910"/>
                  </a:lnTo>
                  <a:lnTo>
                    <a:pt x="460" y="910"/>
                  </a:lnTo>
                  <a:lnTo>
                    <a:pt x="458" y="908"/>
                  </a:lnTo>
                  <a:lnTo>
                    <a:pt x="456" y="908"/>
                  </a:lnTo>
                  <a:lnTo>
                    <a:pt x="455" y="906"/>
                  </a:lnTo>
                  <a:lnTo>
                    <a:pt x="453" y="905"/>
                  </a:lnTo>
                  <a:lnTo>
                    <a:pt x="452" y="903"/>
                  </a:lnTo>
                  <a:lnTo>
                    <a:pt x="450" y="901"/>
                  </a:lnTo>
                  <a:lnTo>
                    <a:pt x="448" y="898"/>
                  </a:lnTo>
                  <a:lnTo>
                    <a:pt x="447" y="896"/>
                  </a:lnTo>
                  <a:lnTo>
                    <a:pt x="444" y="891"/>
                  </a:lnTo>
                  <a:lnTo>
                    <a:pt x="442" y="886"/>
                  </a:lnTo>
                  <a:lnTo>
                    <a:pt x="440" y="881"/>
                  </a:lnTo>
                  <a:lnTo>
                    <a:pt x="438" y="876"/>
                  </a:lnTo>
                  <a:lnTo>
                    <a:pt x="437" y="871"/>
                  </a:lnTo>
                  <a:lnTo>
                    <a:pt x="436" y="867"/>
                  </a:lnTo>
                  <a:lnTo>
                    <a:pt x="436" y="863"/>
                  </a:lnTo>
                  <a:lnTo>
                    <a:pt x="436" y="857"/>
                  </a:lnTo>
                  <a:lnTo>
                    <a:pt x="436" y="847"/>
                  </a:lnTo>
                  <a:lnTo>
                    <a:pt x="437" y="841"/>
                  </a:lnTo>
                  <a:lnTo>
                    <a:pt x="438" y="836"/>
                  </a:lnTo>
                  <a:lnTo>
                    <a:pt x="438" y="835"/>
                  </a:lnTo>
                  <a:lnTo>
                    <a:pt x="438" y="834"/>
                  </a:lnTo>
                  <a:lnTo>
                    <a:pt x="437" y="833"/>
                  </a:lnTo>
                  <a:lnTo>
                    <a:pt x="436" y="834"/>
                  </a:lnTo>
                  <a:lnTo>
                    <a:pt x="435" y="834"/>
                  </a:lnTo>
                  <a:lnTo>
                    <a:pt x="435" y="835"/>
                  </a:lnTo>
                  <a:lnTo>
                    <a:pt x="430" y="838"/>
                  </a:lnTo>
                  <a:lnTo>
                    <a:pt x="429" y="839"/>
                  </a:lnTo>
                  <a:lnTo>
                    <a:pt x="428" y="839"/>
                  </a:lnTo>
                  <a:lnTo>
                    <a:pt x="427" y="839"/>
                  </a:lnTo>
                  <a:lnTo>
                    <a:pt x="425" y="839"/>
                  </a:lnTo>
                  <a:lnTo>
                    <a:pt x="424" y="838"/>
                  </a:lnTo>
                  <a:lnTo>
                    <a:pt x="423" y="838"/>
                  </a:lnTo>
                  <a:lnTo>
                    <a:pt x="421" y="836"/>
                  </a:lnTo>
                  <a:lnTo>
                    <a:pt x="420" y="835"/>
                  </a:lnTo>
                  <a:lnTo>
                    <a:pt x="414" y="826"/>
                  </a:lnTo>
                  <a:lnTo>
                    <a:pt x="411" y="821"/>
                  </a:lnTo>
                  <a:lnTo>
                    <a:pt x="408" y="818"/>
                  </a:lnTo>
                  <a:lnTo>
                    <a:pt x="402" y="813"/>
                  </a:lnTo>
                  <a:lnTo>
                    <a:pt x="399" y="810"/>
                  </a:lnTo>
                  <a:lnTo>
                    <a:pt x="386" y="793"/>
                  </a:lnTo>
                  <a:lnTo>
                    <a:pt x="378" y="784"/>
                  </a:lnTo>
                  <a:lnTo>
                    <a:pt x="373" y="778"/>
                  </a:lnTo>
                  <a:lnTo>
                    <a:pt x="371" y="776"/>
                  </a:lnTo>
                  <a:lnTo>
                    <a:pt x="366" y="771"/>
                  </a:lnTo>
                  <a:lnTo>
                    <a:pt x="365" y="771"/>
                  </a:lnTo>
                  <a:lnTo>
                    <a:pt x="363" y="769"/>
                  </a:lnTo>
                  <a:lnTo>
                    <a:pt x="359" y="768"/>
                  </a:lnTo>
                  <a:lnTo>
                    <a:pt x="348" y="763"/>
                  </a:lnTo>
                  <a:lnTo>
                    <a:pt x="347" y="761"/>
                  </a:lnTo>
                  <a:lnTo>
                    <a:pt x="345" y="760"/>
                  </a:lnTo>
                  <a:lnTo>
                    <a:pt x="343" y="758"/>
                  </a:lnTo>
                  <a:lnTo>
                    <a:pt x="342" y="756"/>
                  </a:lnTo>
                  <a:lnTo>
                    <a:pt x="341" y="754"/>
                  </a:lnTo>
                  <a:lnTo>
                    <a:pt x="340" y="752"/>
                  </a:lnTo>
                  <a:lnTo>
                    <a:pt x="338" y="743"/>
                  </a:lnTo>
                  <a:lnTo>
                    <a:pt x="337" y="741"/>
                  </a:lnTo>
                  <a:lnTo>
                    <a:pt x="336" y="736"/>
                  </a:lnTo>
                  <a:lnTo>
                    <a:pt x="336" y="732"/>
                  </a:lnTo>
                  <a:lnTo>
                    <a:pt x="336" y="730"/>
                  </a:lnTo>
                  <a:lnTo>
                    <a:pt x="336" y="728"/>
                  </a:lnTo>
                  <a:lnTo>
                    <a:pt x="335" y="727"/>
                  </a:lnTo>
                  <a:lnTo>
                    <a:pt x="333" y="726"/>
                  </a:lnTo>
                  <a:lnTo>
                    <a:pt x="332" y="726"/>
                  </a:lnTo>
                  <a:lnTo>
                    <a:pt x="330" y="726"/>
                  </a:lnTo>
                  <a:lnTo>
                    <a:pt x="328" y="726"/>
                  </a:lnTo>
                  <a:lnTo>
                    <a:pt x="326" y="727"/>
                  </a:lnTo>
                  <a:lnTo>
                    <a:pt x="324" y="728"/>
                  </a:lnTo>
                  <a:lnTo>
                    <a:pt x="314" y="732"/>
                  </a:lnTo>
                  <a:lnTo>
                    <a:pt x="306" y="734"/>
                  </a:lnTo>
                  <a:lnTo>
                    <a:pt x="299" y="736"/>
                  </a:lnTo>
                  <a:lnTo>
                    <a:pt x="285" y="740"/>
                  </a:lnTo>
                  <a:lnTo>
                    <a:pt x="275" y="743"/>
                  </a:lnTo>
                  <a:lnTo>
                    <a:pt x="271" y="743"/>
                  </a:lnTo>
                  <a:lnTo>
                    <a:pt x="268" y="744"/>
                  </a:lnTo>
                  <a:lnTo>
                    <a:pt x="266" y="744"/>
                  </a:lnTo>
                  <a:lnTo>
                    <a:pt x="264" y="744"/>
                  </a:lnTo>
                  <a:lnTo>
                    <a:pt x="262" y="743"/>
                  </a:lnTo>
                  <a:lnTo>
                    <a:pt x="260" y="743"/>
                  </a:lnTo>
                  <a:lnTo>
                    <a:pt x="258" y="743"/>
                  </a:lnTo>
                  <a:lnTo>
                    <a:pt x="257" y="742"/>
                  </a:lnTo>
                  <a:lnTo>
                    <a:pt x="256" y="741"/>
                  </a:lnTo>
                  <a:lnTo>
                    <a:pt x="254" y="740"/>
                  </a:lnTo>
                  <a:lnTo>
                    <a:pt x="253" y="738"/>
                  </a:lnTo>
                  <a:lnTo>
                    <a:pt x="250" y="731"/>
                  </a:lnTo>
                  <a:lnTo>
                    <a:pt x="243" y="720"/>
                  </a:lnTo>
                  <a:lnTo>
                    <a:pt x="242" y="717"/>
                  </a:lnTo>
                  <a:lnTo>
                    <a:pt x="241" y="715"/>
                  </a:lnTo>
                  <a:lnTo>
                    <a:pt x="241" y="713"/>
                  </a:lnTo>
                  <a:lnTo>
                    <a:pt x="240" y="705"/>
                  </a:lnTo>
                  <a:lnTo>
                    <a:pt x="238" y="698"/>
                  </a:lnTo>
                  <a:lnTo>
                    <a:pt x="238" y="696"/>
                  </a:lnTo>
                  <a:lnTo>
                    <a:pt x="238" y="691"/>
                  </a:lnTo>
                  <a:lnTo>
                    <a:pt x="238" y="689"/>
                  </a:lnTo>
                  <a:lnTo>
                    <a:pt x="238" y="686"/>
                  </a:lnTo>
                  <a:lnTo>
                    <a:pt x="238" y="685"/>
                  </a:lnTo>
                  <a:lnTo>
                    <a:pt x="238" y="684"/>
                  </a:lnTo>
                  <a:lnTo>
                    <a:pt x="238" y="683"/>
                  </a:lnTo>
                  <a:lnTo>
                    <a:pt x="238" y="681"/>
                  </a:lnTo>
                  <a:lnTo>
                    <a:pt x="237" y="679"/>
                  </a:lnTo>
                  <a:lnTo>
                    <a:pt x="236" y="678"/>
                  </a:lnTo>
                  <a:lnTo>
                    <a:pt x="234" y="677"/>
                  </a:lnTo>
                  <a:lnTo>
                    <a:pt x="231" y="675"/>
                  </a:lnTo>
                  <a:lnTo>
                    <a:pt x="228" y="673"/>
                  </a:lnTo>
                  <a:lnTo>
                    <a:pt x="221" y="666"/>
                  </a:lnTo>
                  <a:lnTo>
                    <a:pt x="214" y="660"/>
                  </a:lnTo>
                  <a:lnTo>
                    <a:pt x="207" y="651"/>
                  </a:lnTo>
                  <a:lnTo>
                    <a:pt x="206" y="650"/>
                  </a:lnTo>
                  <a:lnTo>
                    <a:pt x="203" y="649"/>
                  </a:lnTo>
                  <a:lnTo>
                    <a:pt x="200" y="646"/>
                  </a:lnTo>
                  <a:lnTo>
                    <a:pt x="194" y="643"/>
                  </a:lnTo>
                  <a:lnTo>
                    <a:pt x="189" y="641"/>
                  </a:lnTo>
                  <a:lnTo>
                    <a:pt x="184" y="638"/>
                  </a:lnTo>
                  <a:lnTo>
                    <a:pt x="179" y="634"/>
                  </a:lnTo>
                  <a:lnTo>
                    <a:pt x="176" y="632"/>
                  </a:lnTo>
                  <a:lnTo>
                    <a:pt x="174" y="631"/>
                  </a:lnTo>
                  <a:lnTo>
                    <a:pt x="172" y="630"/>
                  </a:lnTo>
                  <a:lnTo>
                    <a:pt x="165" y="628"/>
                  </a:lnTo>
                  <a:lnTo>
                    <a:pt x="164" y="627"/>
                  </a:lnTo>
                  <a:lnTo>
                    <a:pt x="162" y="626"/>
                  </a:lnTo>
                  <a:lnTo>
                    <a:pt x="162" y="626"/>
                  </a:lnTo>
                  <a:lnTo>
                    <a:pt x="161" y="625"/>
                  </a:lnTo>
                  <a:lnTo>
                    <a:pt x="161" y="624"/>
                  </a:lnTo>
                  <a:lnTo>
                    <a:pt x="161" y="623"/>
                  </a:lnTo>
                  <a:lnTo>
                    <a:pt x="161" y="621"/>
                  </a:lnTo>
                  <a:lnTo>
                    <a:pt x="161" y="618"/>
                  </a:lnTo>
                  <a:lnTo>
                    <a:pt x="161" y="616"/>
                  </a:lnTo>
                  <a:lnTo>
                    <a:pt x="161" y="610"/>
                  </a:lnTo>
                  <a:lnTo>
                    <a:pt x="161" y="609"/>
                  </a:lnTo>
                  <a:lnTo>
                    <a:pt x="161" y="607"/>
                  </a:lnTo>
                  <a:lnTo>
                    <a:pt x="160" y="606"/>
                  </a:lnTo>
                  <a:lnTo>
                    <a:pt x="160" y="606"/>
                  </a:lnTo>
                  <a:lnTo>
                    <a:pt x="159" y="604"/>
                  </a:lnTo>
                  <a:lnTo>
                    <a:pt x="157" y="603"/>
                  </a:lnTo>
                  <a:lnTo>
                    <a:pt x="155" y="602"/>
                  </a:lnTo>
                  <a:lnTo>
                    <a:pt x="146" y="597"/>
                  </a:lnTo>
                  <a:lnTo>
                    <a:pt x="141" y="594"/>
                  </a:lnTo>
                  <a:lnTo>
                    <a:pt x="136" y="591"/>
                  </a:lnTo>
                  <a:lnTo>
                    <a:pt x="127" y="585"/>
                  </a:lnTo>
                  <a:lnTo>
                    <a:pt x="121" y="581"/>
                  </a:lnTo>
                  <a:lnTo>
                    <a:pt x="117" y="579"/>
                  </a:lnTo>
                  <a:lnTo>
                    <a:pt x="104" y="573"/>
                  </a:lnTo>
                  <a:lnTo>
                    <a:pt x="102" y="571"/>
                  </a:lnTo>
                  <a:lnTo>
                    <a:pt x="101" y="571"/>
                  </a:lnTo>
                  <a:lnTo>
                    <a:pt x="99" y="569"/>
                  </a:lnTo>
                  <a:lnTo>
                    <a:pt x="98" y="568"/>
                  </a:lnTo>
                  <a:lnTo>
                    <a:pt x="94" y="564"/>
                  </a:lnTo>
                  <a:lnTo>
                    <a:pt x="89" y="556"/>
                  </a:lnTo>
                  <a:lnTo>
                    <a:pt x="82" y="548"/>
                  </a:lnTo>
                  <a:lnTo>
                    <a:pt x="81" y="546"/>
                  </a:lnTo>
                  <a:lnTo>
                    <a:pt x="80" y="546"/>
                  </a:lnTo>
                  <a:lnTo>
                    <a:pt x="78" y="544"/>
                  </a:lnTo>
                  <a:lnTo>
                    <a:pt x="74" y="542"/>
                  </a:lnTo>
                  <a:lnTo>
                    <a:pt x="71" y="540"/>
                  </a:lnTo>
                  <a:lnTo>
                    <a:pt x="68" y="539"/>
                  </a:lnTo>
                  <a:lnTo>
                    <a:pt x="64" y="534"/>
                  </a:lnTo>
                  <a:lnTo>
                    <a:pt x="61" y="532"/>
                  </a:lnTo>
                  <a:lnTo>
                    <a:pt x="59" y="531"/>
                  </a:lnTo>
                  <a:lnTo>
                    <a:pt x="54" y="527"/>
                  </a:lnTo>
                  <a:lnTo>
                    <a:pt x="51" y="526"/>
                  </a:lnTo>
                  <a:lnTo>
                    <a:pt x="51" y="525"/>
                  </a:lnTo>
                  <a:lnTo>
                    <a:pt x="49" y="524"/>
                  </a:lnTo>
                  <a:lnTo>
                    <a:pt x="44" y="517"/>
                  </a:lnTo>
                  <a:lnTo>
                    <a:pt x="42" y="515"/>
                  </a:lnTo>
                  <a:lnTo>
                    <a:pt x="40" y="513"/>
                  </a:lnTo>
                  <a:lnTo>
                    <a:pt x="37" y="511"/>
                  </a:lnTo>
                  <a:lnTo>
                    <a:pt x="35" y="509"/>
                  </a:lnTo>
                  <a:lnTo>
                    <a:pt x="31" y="507"/>
                  </a:lnTo>
                  <a:lnTo>
                    <a:pt x="21" y="501"/>
                  </a:lnTo>
                  <a:lnTo>
                    <a:pt x="18" y="499"/>
                  </a:lnTo>
                  <a:lnTo>
                    <a:pt x="14" y="497"/>
                  </a:lnTo>
                  <a:lnTo>
                    <a:pt x="11" y="495"/>
                  </a:lnTo>
                  <a:lnTo>
                    <a:pt x="9" y="492"/>
                  </a:lnTo>
                  <a:lnTo>
                    <a:pt x="8" y="491"/>
                  </a:lnTo>
                  <a:lnTo>
                    <a:pt x="6" y="488"/>
                  </a:lnTo>
                  <a:lnTo>
                    <a:pt x="5" y="486"/>
                  </a:lnTo>
                  <a:lnTo>
                    <a:pt x="4" y="484"/>
                  </a:lnTo>
                  <a:lnTo>
                    <a:pt x="3" y="481"/>
                  </a:lnTo>
                  <a:lnTo>
                    <a:pt x="1" y="478"/>
                  </a:lnTo>
                  <a:lnTo>
                    <a:pt x="1" y="475"/>
                  </a:lnTo>
                  <a:lnTo>
                    <a:pt x="0" y="472"/>
                  </a:lnTo>
                  <a:lnTo>
                    <a:pt x="0" y="469"/>
                  </a:lnTo>
                  <a:lnTo>
                    <a:pt x="0" y="466"/>
                  </a:lnTo>
                  <a:lnTo>
                    <a:pt x="0" y="464"/>
                  </a:lnTo>
                  <a:lnTo>
                    <a:pt x="1" y="461"/>
                  </a:lnTo>
                  <a:lnTo>
                    <a:pt x="1" y="459"/>
                  </a:lnTo>
                  <a:lnTo>
                    <a:pt x="2" y="456"/>
                  </a:lnTo>
                  <a:lnTo>
                    <a:pt x="2" y="456"/>
                  </a:lnTo>
                  <a:lnTo>
                    <a:pt x="3" y="456"/>
                  </a:lnTo>
                  <a:lnTo>
                    <a:pt x="11" y="453"/>
                  </a:lnTo>
                  <a:lnTo>
                    <a:pt x="16" y="451"/>
                  </a:lnTo>
                  <a:lnTo>
                    <a:pt x="19" y="449"/>
                  </a:lnTo>
                  <a:lnTo>
                    <a:pt x="22" y="448"/>
                  </a:lnTo>
                  <a:lnTo>
                    <a:pt x="26" y="446"/>
                  </a:lnTo>
                  <a:lnTo>
                    <a:pt x="29" y="444"/>
                  </a:lnTo>
                  <a:lnTo>
                    <a:pt x="31" y="442"/>
                  </a:lnTo>
                  <a:lnTo>
                    <a:pt x="37" y="438"/>
                  </a:lnTo>
                  <a:lnTo>
                    <a:pt x="41" y="435"/>
                  </a:lnTo>
                  <a:lnTo>
                    <a:pt x="43" y="431"/>
                  </a:lnTo>
                  <a:lnTo>
                    <a:pt x="46" y="427"/>
                  </a:lnTo>
                  <a:lnTo>
                    <a:pt x="49" y="425"/>
                  </a:lnTo>
                  <a:lnTo>
                    <a:pt x="50" y="424"/>
                  </a:lnTo>
                  <a:lnTo>
                    <a:pt x="51" y="423"/>
                  </a:lnTo>
                  <a:lnTo>
                    <a:pt x="56" y="420"/>
                  </a:lnTo>
                  <a:lnTo>
                    <a:pt x="59" y="419"/>
                  </a:lnTo>
                  <a:lnTo>
                    <a:pt x="59" y="418"/>
                  </a:lnTo>
                  <a:lnTo>
                    <a:pt x="60" y="417"/>
                  </a:lnTo>
                  <a:lnTo>
                    <a:pt x="60" y="416"/>
                  </a:lnTo>
                  <a:lnTo>
                    <a:pt x="60" y="414"/>
                  </a:lnTo>
                  <a:lnTo>
                    <a:pt x="61" y="411"/>
                  </a:lnTo>
                  <a:lnTo>
                    <a:pt x="61" y="409"/>
                  </a:lnTo>
                  <a:lnTo>
                    <a:pt x="61" y="407"/>
                  </a:lnTo>
                  <a:lnTo>
                    <a:pt x="60" y="404"/>
                  </a:lnTo>
                  <a:lnTo>
                    <a:pt x="59" y="401"/>
                  </a:lnTo>
                  <a:lnTo>
                    <a:pt x="53" y="389"/>
                  </a:lnTo>
                  <a:lnTo>
                    <a:pt x="51" y="385"/>
                  </a:lnTo>
                  <a:lnTo>
                    <a:pt x="49" y="382"/>
                  </a:lnTo>
                  <a:lnTo>
                    <a:pt x="46" y="380"/>
                  </a:lnTo>
                  <a:lnTo>
                    <a:pt x="41" y="374"/>
                  </a:lnTo>
                  <a:lnTo>
                    <a:pt x="39" y="372"/>
                  </a:lnTo>
                  <a:lnTo>
                    <a:pt x="37" y="371"/>
                  </a:lnTo>
                  <a:lnTo>
                    <a:pt x="36" y="368"/>
                  </a:lnTo>
                  <a:lnTo>
                    <a:pt x="35" y="367"/>
                  </a:lnTo>
                  <a:lnTo>
                    <a:pt x="34" y="364"/>
                  </a:lnTo>
                  <a:lnTo>
                    <a:pt x="33" y="362"/>
                  </a:lnTo>
                  <a:lnTo>
                    <a:pt x="32" y="359"/>
                  </a:lnTo>
                  <a:lnTo>
                    <a:pt x="31" y="356"/>
                  </a:lnTo>
                  <a:lnTo>
                    <a:pt x="31" y="353"/>
                  </a:lnTo>
                  <a:lnTo>
                    <a:pt x="31" y="349"/>
                  </a:lnTo>
                  <a:lnTo>
                    <a:pt x="32" y="344"/>
                  </a:lnTo>
                  <a:lnTo>
                    <a:pt x="34" y="336"/>
                  </a:lnTo>
                  <a:lnTo>
                    <a:pt x="34" y="332"/>
                  </a:lnTo>
                  <a:lnTo>
                    <a:pt x="35" y="314"/>
                  </a:lnTo>
                  <a:lnTo>
                    <a:pt x="35" y="309"/>
                  </a:lnTo>
                  <a:lnTo>
                    <a:pt x="35" y="307"/>
                  </a:lnTo>
                  <a:lnTo>
                    <a:pt x="35" y="304"/>
                  </a:lnTo>
                  <a:lnTo>
                    <a:pt x="34" y="302"/>
                  </a:lnTo>
                  <a:lnTo>
                    <a:pt x="34" y="301"/>
                  </a:lnTo>
                  <a:lnTo>
                    <a:pt x="33" y="300"/>
                  </a:lnTo>
                  <a:lnTo>
                    <a:pt x="31" y="299"/>
                  </a:lnTo>
                  <a:lnTo>
                    <a:pt x="30" y="297"/>
                  </a:lnTo>
                  <a:lnTo>
                    <a:pt x="29" y="297"/>
                  </a:lnTo>
                  <a:lnTo>
                    <a:pt x="27" y="297"/>
                  </a:lnTo>
                  <a:lnTo>
                    <a:pt x="26" y="297"/>
                  </a:lnTo>
                  <a:lnTo>
                    <a:pt x="24" y="292"/>
                  </a:lnTo>
                  <a:lnTo>
                    <a:pt x="19" y="284"/>
                  </a:lnTo>
                  <a:lnTo>
                    <a:pt x="19" y="283"/>
                  </a:lnTo>
                  <a:lnTo>
                    <a:pt x="19" y="282"/>
                  </a:lnTo>
                  <a:lnTo>
                    <a:pt x="19" y="282"/>
                  </a:lnTo>
                  <a:lnTo>
                    <a:pt x="19" y="281"/>
                  </a:lnTo>
                  <a:lnTo>
                    <a:pt x="19" y="280"/>
                  </a:lnTo>
                  <a:lnTo>
                    <a:pt x="20" y="279"/>
                  </a:lnTo>
                  <a:lnTo>
                    <a:pt x="21" y="279"/>
                  </a:lnTo>
                  <a:lnTo>
                    <a:pt x="22" y="279"/>
                  </a:lnTo>
                  <a:lnTo>
                    <a:pt x="25" y="278"/>
                  </a:lnTo>
                  <a:lnTo>
                    <a:pt x="27" y="277"/>
                  </a:lnTo>
                  <a:lnTo>
                    <a:pt x="28" y="277"/>
                  </a:lnTo>
                  <a:lnTo>
                    <a:pt x="29" y="277"/>
                  </a:lnTo>
                  <a:lnTo>
                    <a:pt x="29" y="276"/>
                  </a:lnTo>
                  <a:lnTo>
                    <a:pt x="29" y="274"/>
                  </a:lnTo>
                  <a:lnTo>
                    <a:pt x="30" y="269"/>
                  </a:lnTo>
                  <a:lnTo>
                    <a:pt x="31" y="267"/>
                  </a:lnTo>
                  <a:lnTo>
                    <a:pt x="31" y="266"/>
                  </a:lnTo>
                  <a:lnTo>
                    <a:pt x="32" y="264"/>
                  </a:lnTo>
                  <a:lnTo>
                    <a:pt x="33" y="264"/>
                  </a:lnTo>
                  <a:lnTo>
                    <a:pt x="34" y="263"/>
                  </a:lnTo>
                  <a:lnTo>
                    <a:pt x="34" y="262"/>
                  </a:lnTo>
                  <a:lnTo>
                    <a:pt x="35" y="262"/>
                  </a:lnTo>
                  <a:lnTo>
                    <a:pt x="39" y="261"/>
                  </a:lnTo>
                  <a:lnTo>
                    <a:pt x="41" y="261"/>
                  </a:lnTo>
                  <a:lnTo>
                    <a:pt x="43" y="259"/>
                  </a:lnTo>
                  <a:lnTo>
                    <a:pt x="46" y="259"/>
                  </a:lnTo>
                  <a:lnTo>
                    <a:pt x="47" y="257"/>
                  </a:lnTo>
                  <a:lnTo>
                    <a:pt x="49" y="257"/>
                  </a:lnTo>
                  <a:lnTo>
                    <a:pt x="52" y="253"/>
                  </a:lnTo>
                  <a:lnTo>
                    <a:pt x="53" y="252"/>
                  </a:lnTo>
                  <a:lnTo>
                    <a:pt x="54" y="249"/>
                  </a:lnTo>
                  <a:lnTo>
                    <a:pt x="54" y="247"/>
                  </a:lnTo>
                  <a:lnTo>
                    <a:pt x="55" y="244"/>
                  </a:lnTo>
                  <a:lnTo>
                    <a:pt x="56" y="241"/>
                  </a:lnTo>
                  <a:lnTo>
                    <a:pt x="56" y="237"/>
                  </a:lnTo>
                  <a:lnTo>
                    <a:pt x="56" y="235"/>
                  </a:lnTo>
                  <a:lnTo>
                    <a:pt x="56" y="234"/>
                  </a:lnTo>
                  <a:lnTo>
                    <a:pt x="56" y="233"/>
                  </a:lnTo>
                  <a:lnTo>
                    <a:pt x="56" y="232"/>
                  </a:lnTo>
                  <a:lnTo>
                    <a:pt x="56" y="229"/>
                  </a:lnTo>
                  <a:lnTo>
                    <a:pt x="56" y="228"/>
                  </a:lnTo>
                  <a:lnTo>
                    <a:pt x="59" y="224"/>
                  </a:lnTo>
                  <a:lnTo>
                    <a:pt x="60" y="221"/>
                  </a:lnTo>
                  <a:lnTo>
                    <a:pt x="61" y="218"/>
                  </a:lnTo>
                  <a:lnTo>
                    <a:pt x="64" y="215"/>
                  </a:lnTo>
                  <a:lnTo>
                    <a:pt x="71" y="205"/>
                  </a:lnTo>
                  <a:lnTo>
                    <a:pt x="75" y="199"/>
                  </a:lnTo>
                  <a:lnTo>
                    <a:pt x="80" y="192"/>
                  </a:lnTo>
                  <a:lnTo>
                    <a:pt x="81" y="190"/>
                  </a:lnTo>
                  <a:lnTo>
                    <a:pt x="82" y="189"/>
                  </a:lnTo>
                  <a:lnTo>
                    <a:pt x="82" y="187"/>
                  </a:lnTo>
                  <a:lnTo>
                    <a:pt x="83" y="185"/>
                  </a:lnTo>
                  <a:lnTo>
                    <a:pt x="84" y="183"/>
                  </a:lnTo>
                  <a:lnTo>
                    <a:pt x="84" y="182"/>
                  </a:lnTo>
                  <a:lnTo>
                    <a:pt x="84" y="179"/>
                  </a:lnTo>
                  <a:lnTo>
                    <a:pt x="83" y="177"/>
                  </a:lnTo>
                  <a:lnTo>
                    <a:pt x="82" y="174"/>
                  </a:lnTo>
                  <a:lnTo>
                    <a:pt x="80" y="165"/>
                  </a:lnTo>
                  <a:lnTo>
                    <a:pt x="79" y="160"/>
                  </a:lnTo>
                  <a:lnTo>
                    <a:pt x="78" y="153"/>
                  </a:lnTo>
                  <a:lnTo>
                    <a:pt x="77" y="146"/>
                  </a:lnTo>
                  <a:lnTo>
                    <a:pt x="77" y="143"/>
                  </a:lnTo>
                  <a:lnTo>
                    <a:pt x="77" y="140"/>
                  </a:lnTo>
                  <a:lnTo>
                    <a:pt x="77" y="137"/>
                  </a:lnTo>
                  <a:lnTo>
                    <a:pt x="78" y="135"/>
                  </a:lnTo>
                  <a:lnTo>
                    <a:pt x="78" y="133"/>
                  </a:lnTo>
                  <a:lnTo>
                    <a:pt x="79" y="130"/>
                  </a:lnTo>
                  <a:lnTo>
                    <a:pt x="79" y="129"/>
                  </a:lnTo>
                  <a:lnTo>
                    <a:pt x="81" y="127"/>
                  </a:lnTo>
                  <a:lnTo>
                    <a:pt x="81" y="126"/>
                  </a:lnTo>
                  <a:lnTo>
                    <a:pt x="83" y="125"/>
                  </a:lnTo>
                  <a:lnTo>
                    <a:pt x="84" y="124"/>
                  </a:lnTo>
                  <a:lnTo>
                    <a:pt x="86" y="123"/>
                  </a:lnTo>
                  <a:lnTo>
                    <a:pt x="87" y="122"/>
                  </a:lnTo>
                  <a:lnTo>
                    <a:pt x="89" y="122"/>
                  </a:lnTo>
                  <a:lnTo>
                    <a:pt x="91" y="122"/>
                  </a:lnTo>
                  <a:lnTo>
                    <a:pt x="94" y="122"/>
                  </a:lnTo>
                  <a:lnTo>
                    <a:pt x="96" y="122"/>
                  </a:lnTo>
                  <a:lnTo>
                    <a:pt x="99" y="123"/>
                  </a:lnTo>
                  <a:lnTo>
                    <a:pt x="103" y="124"/>
                  </a:lnTo>
                  <a:lnTo>
                    <a:pt x="113" y="128"/>
                  </a:lnTo>
                  <a:lnTo>
                    <a:pt x="121" y="130"/>
                  </a:lnTo>
                  <a:lnTo>
                    <a:pt x="124" y="132"/>
                  </a:lnTo>
                  <a:lnTo>
                    <a:pt x="127" y="132"/>
                  </a:lnTo>
                  <a:lnTo>
                    <a:pt x="129" y="132"/>
                  </a:lnTo>
                  <a:lnTo>
                    <a:pt x="130" y="132"/>
                  </a:lnTo>
                  <a:lnTo>
                    <a:pt x="131" y="131"/>
                  </a:lnTo>
                  <a:lnTo>
                    <a:pt x="131" y="131"/>
                  </a:lnTo>
                  <a:lnTo>
                    <a:pt x="132" y="130"/>
                  </a:lnTo>
                  <a:lnTo>
                    <a:pt x="132" y="130"/>
                  </a:lnTo>
                  <a:lnTo>
                    <a:pt x="133" y="128"/>
                  </a:lnTo>
                  <a:lnTo>
                    <a:pt x="133" y="127"/>
                  </a:lnTo>
                  <a:lnTo>
                    <a:pt x="133" y="125"/>
                  </a:lnTo>
                  <a:lnTo>
                    <a:pt x="132" y="124"/>
                  </a:lnTo>
                  <a:lnTo>
                    <a:pt x="131" y="120"/>
                  </a:lnTo>
                  <a:lnTo>
                    <a:pt x="126" y="114"/>
                  </a:lnTo>
                  <a:lnTo>
                    <a:pt x="125" y="111"/>
                  </a:lnTo>
                  <a:lnTo>
                    <a:pt x="122" y="106"/>
                  </a:lnTo>
                  <a:lnTo>
                    <a:pt x="121" y="101"/>
                  </a:lnTo>
                  <a:lnTo>
                    <a:pt x="119" y="96"/>
                  </a:lnTo>
                  <a:lnTo>
                    <a:pt x="117" y="92"/>
                  </a:lnTo>
                  <a:lnTo>
                    <a:pt x="116" y="88"/>
                  </a:lnTo>
                  <a:lnTo>
                    <a:pt x="116" y="84"/>
                  </a:lnTo>
                  <a:lnTo>
                    <a:pt x="115" y="78"/>
                  </a:lnTo>
                  <a:lnTo>
                    <a:pt x="114" y="74"/>
                  </a:lnTo>
                  <a:lnTo>
                    <a:pt x="114" y="64"/>
                  </a:lnTo>
                  <a:lnTo>
                    <a:pt x="112" y="50"/>
                  </a:lnTo>
                  <a:lnTo>
                    <a:pt x="112" y="45"/>
                  </a:lnTo>
                  <a:lnTo>
                    <a:pt x="112" y="42"/>
                  </a:lnTo>
                  <a:lnTo>
                    <a:pt x="112" y="41"/>
                  </a:lnTo>
                  <a:lnTo>
                    <a:pt x="113" y="40"/>
                  </a:lnTo>
                  <a:lnTo>
                    <a:pt x="114" y="38"/>
                  </a:lnTo>
                  <a:lnTo>
                    <a:pt x="114" y="37"/>
                  </a:lnTo>
                  <a:lnTo>
                    <a:pt x="115" y="36"/>
                  </a:lnTo>
                  <a:lnTo>
                    <a:pt x="116" y="35"/>
                  </a:lnTo>
                  <a:lnTo>
                    <a:pt x="119" y="34"/>
                  </a:lnTo>
                  <a:lnTo>
                    <a:pt x="122" y="32"/>
                  </a:lnTo>
                  <a:lnTo>
                    <a:pt x="126" y="30"/>
                  </a:lnTo>
                  <a:lnTo>
                    <a:pt x="129" y="29"/>
                  </a:lnTo>
                  <a:lnTo>
                    <a:pt x="136" y="27"/>
                  </a:lnTo>
                  <a:lnTo>
                    <a:pt x="138" y="27"/>
                  </a:lnTo>
                  <a:lnTo>
                    <a:pt x="140" y="25"/>
                  </a:lnTo>
                  <a:lnTo>
                    <a:pt x="141" y="25"/>
                  </a:lnTo>
                  <a:lnTo>
                    <a:pt x="143" y="24"/>
                  </a:lnTo>
                  <a:lnTo>
                    <a:pt x="144" y="22"/>
                  </a:lnTo>
                  <a:lnTo>
                    <a:pt x="146" y="18"/>
                  </a:lnTo>
                  <a:lnTo>
                    <a:pt x="150" y="13"/>
                  </a:lnTo>
                  <a:lnTo>
                    <a:pt x="153" y="7"/>
                  </a:lnTo>
                  <a:lnTo>
                    <a:pt x="155" y="3"/>
                  </a:lnTo>
                  <a:lnTo>
                    <a:pt x="156" y="2"/>
                  </a:lnTo>
                  <a:lnTo>
                    <a:pt x="158" y="0"/>
                  </a:lnTo>
                  <a:lnTo>
                    <a:pt x="159" y="0"/>
                  </a:lnTo>
                  <a:lnTo>
                    <a:pt x="159" y="0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6BAED6"/>
            </a:solidFill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98">
              <a:extLst>
                <a:ext uri="{FF2B5EF4-FFF2-40B4-BE49-F238E27FC236}">
                  <a16:creationId xmlns:a16="http://schemas.microsoft.com/office/drawing/2014/main" id="{A3C69EFE-5EC1-4085-6F15-6045011DAA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4173" y="5767225"/>
              <a:ext cx="1177925" cy="976313"/>
            </a:xfrm>
            <a:custGeom>
              <a:avLst/>
              <a:gdLst>
                <a:gd name="T0" fmla="*/ 281 w 742"/>
                <a:gd name="T1" fmla="*/ 22 h 615"/>
                <a:gd name="T2" fmla="*/ 301 w 742"/>
                <a:gd name="T3" fmla="*/ 45 h 615"/>
                <a:gd name="T4" fmla="*/ 334 w 742"/>
                <a:gd name="T5" fmla="*/ 71 h 615"/>
                <a:gd name="T6" fmla="*/ 362 w 742"/>
                <a:gd name="T7" fmla="*/ 92 h 615"/>
                <a:gd name="T8" fmla="*/ 407 w 742"/>
                <a:gd name="T9" fmla="*/ 129 h 615"/>
                <a:gd name="T10" fmla="*/ 441 w 742"/>
                <a:gd name="T11" fmla="*/ 153 h 615"/>
                <a:gd name="T12" fmla="*/ 444 w 742"/>
                <a:gd name="T13" fmla="*/ 171 h 615"/>
                <a:gd name="T14" fmla="*/ 483 w 742"/>
                <a:gd name="T15" fmla="*/ 193 h 615"/>
                <a:gd name="T16" fmla="*/ 518 w 742"/>
                <a:gd name="T17" fmla="*/ 225 h 615"/>
                <a:gd name="T18" fmla="*/ 521 w 742"/>
                <a:gd name="T19" fmla="*/ 257 h 615"/>
                <a:gd name="T20" fmla="*/ 540 w 742"/>
                <a:gd name="T21" fmla="*/ 287 h 615"/>
                <a:gd name="T22" fmla="*/ 594 w 742"/>
                <a:gd name="T23" fmla="*/ 276 h 615"/>
                <a:gd name="T24" fmla="*/ 616 w 742"/>
                <a:gd name="T25" fmla="*/ 276 h 615"/>
                <a:gd name="T26" fmla="*/ 628 w 742"/>
                <a:gd name="T27" fmla="*/ 307 h 615"/>
                <a:gd name="T28" fmla="*/ 682 w 742"/>
                <a:gd name="T29" fmla="*/ 357 h 615"/>
                <a:gd name="T30" fmla="*/ 708 w 742"/>
                <a:gd name="T31" fmla="*/ 383 h 615"/>
                <a:gd name="T32" fmla="*/ 717 w 742"/>
                <a:gd name="T33" fmla="*/ 385 h 615"/>
                <a:gd name="T34" fmla="*/ 727 w 742"/>
                <a:gd name="T35" fmla="*/ 440 h 615"/>
                <a:gd name="T36" fmla="*/ 742 w 742"/>
                <a:gd name="T37" fmla="*/ 454 h 615"/>
                <a:gd name="T38" fmla="*/ 738 w 742"/>
                <a:gd name="T39" fmla="*/ 519 h 615"/>
                <a:gd name="T40" fmla="*/ 723 w 742"/>
                <a:gd name="T41" fmla="*/ 574 h 615"/>
                <a:gd name="T42" fmla="*/ 694 w 742"/>
                <a:gd name="T43" fmla="*/ 578 h 615"/>
                <a:gd name="T44" fmla="*/ 666 w 742"/>
                <a:gd name="T45" fmla="*/ 551 h 615"/>
                <a:gd name="T46" fmla="*/ 641 w 742"/>
                <a:gd name="T47" fmla="*/ 529 h 615"/>
                <a:gd name="T48" fmla="*/ 601 w 742"/>
                <a:gd name="T49" fmla="*/ 542 h 615"/>
                <a:gd name="T50" fmla="*/ 546 w 742"/>
                <a:gd name="T51" fmla="*/ 530 h 615"/>
                <a:gd name="T52" fmla="*/ 511 w 742"/>
                <a:gd name="T53" fmla="*/ 499 h 615"/>
                <a:gd name="T54" fmla="*/ 493 w 742"/>
                <a:gd name="T55" fmla="*/ 502 h 615"/>
                <a:gd name="T56" fmla="*/ 483 w 742"/>
                <a:gd name="T57" fmla="*/ 547 h 615"/>
                <a:gd name="T58" fmla="*/ 465 w 742"/>
                <a:gd name="T59" fmla="*/ 567 h 615"/>
                <a:gd name="T60" fmla="*/ 436 w 742"/>
                <a:gd name="T61" fmla="*/ 575 h 615"/>
                <a:gd name="T62" fmla="*/ 418 w 742"/>
                <a:gd name="T63" fmla="*/ 596 h 615"/>
                <a:gd name="T64" fmla="*/ 389 w 742"/>
                <a:gd name="T65" fmla="*/ 614 h 615"/>
                <a:gd name="T66" fmla="*/ 325 w 742"/>
                <a:gd name="T67" fmla="*/ 588 h 615"/>
                <a:gd name="T68" fmla="*/ 266 w 742"/>
                <a:gd name="T69" fmla="*/ 572 h 615"/>
                <a:gd name="T70" fmla="*/ 204 w 742"/>
                <a:gd name="T71" fmla="*/ 562 h 615"/>
                <a:gd name="T72" fmla="*/ 167 w 742"/>
                <a:gd name="T73" fmla="*/ 562 h 615"/>
                <a:gd name="T74" fmla="*/ 127 w 742"/>
                <a:gd name="T75" fmla="*/ 543 h 615"/>
                <a:gd name="T76" fmla="*/ 110 w 742"/>
                <a:gd name="T77" fmla="*/ 518 h 615"/>
                <a:gd name="T78" fmla="*/ 96 w 742"/>
                <a:gd name="T79" fmla="*/ 495 h 615"/>
                <a:gd name="T80" fmla="*/ 120 w 742"/>
                <a:gd name="T81" fmla="*/ 476 h 615"/>
                <a:gd name="T82" fmla="*/ 127 w 742"/>
                <a:gd name="T83" fmla="*/ 458 h 615"/>
                <a:gd name="T84" fmla="*/ 97 w 742"/>
                <a:gd name="T85" fmla="*/ 427 h 615"/>
                <a:gd name="T86" fmla="*/ 67 w 742"/>
                <a:gd name="T87" fmla="*/ 401 h 615"/>
                <a:gd name="T88" fmla="*/ 17 w 742"/>
                <a:gd name="T89" fmla="*/ 372 h 615"/>
                <a:gd name="T90" fmla="*/ 10 w 742"/>
                <a:gd name="T91" fmla="*/ 339 h 615"/>
                <a:gd name="T92" fmla="*/ 38 w 742"/>
                <a:gd name="T93" fmla="*/ 325 h 615"/>
                <a:gd name="T94" fmla="*/ 56 w 742"/>
                <a:gd name="T95" fmla="*/ 281 h 615"/>
                <a:gd name="T96" fmla="*/ 47 w 742"/>
                <a:gd name="T97" fmla="*/ 230 h 615"/>
                <a:gd name="T98" fmla="*/ 39 w 742"/>
                <a:gd name="T99" fmla="*/ 175 h 615"/>
                <a:gd name="T100" fmla="*/ 42 w 742"/>
                <a:gd name="T101" fmla="*/ 145 h 615"/>
                <a:gd name="T102" fmla="*/ 74 w 742"/>
                <a:gd name="T103" fmla="*/ 145 h 615"/>
                <a:gd name="T104" fmla="*/ 137 w 742"/>
                <a:gd name="T105" fmla="*/ 133 h 615"/>
                <a:gd name="T106" fmla="*/ 190 w 742"/>
                <a:gd name="T107" fmla="*/ 133 h 615"/>
                <a:gd name="T108" fmla="*/ 233 w 742"/>
                <a:gd name="T109" fmla="*/ 151 h 615"/>
                <a:gd name="T110" fmla="*/ 247 w 742"/>
                <a:gd name="T111" fmla="*/ 145 h 615"/>
                <a:gd name="T112" fmla="*/ 248 w 742"/>
                <a:gd name="T113" fmla="*/ 131 h 615"/>
                <a:gd name="T114" fmla="*/ 237 w 742"/>
                <a:gd name="T115" fmla="*/ 102 h 615"/>
                <a:gd name="T116" fmla="*/ 247 w 742"/>
                <a:gd name="T117" fmla="*/ 78 h 615"/>
                <a:gd name="T118" fmla="*/ 254 w 742"/>
                <a:gd name="T119" fmla="*/ 40 h 615"/>
                <a:gd name="T120" fmla="*/ 269 w 742"/>
                <a:gd name="T121" fmla="*/ 10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42" h="615">
                  <a:moveTo>
                    <a:pt x="282" y="0"/>
                  </a:moveTo>
                  <a:lnTo>
                    <a:pt x="282" y="0"/>
                  </a:lnTo>
                  <a:lnTo>
                    <a:pt x="281" y="3"/>
                  </a:lnTo>
                  <a:lnTo>
                    <a:pt x="281" y="5"/>
                  </a:lnTo>
                  <a:lnTo>
                    <a:pt x="280" y="8"/>
                  </a:lnTo>
                  <a:lnTo>
                    <a:pt x="280" y="10"/>
                  </a:lnTo>
                  <a:lnTo>
                    <a:pt x="280" y="13"/>
                  </a:lnTo>
                  <a:lnTo>
                    <a:pt x="280" y="16"/>
                  </a:lnTo>
                  <a:lnTo>
                    <a:pt x="281" y="19"/>
                  </a:lnTo>
                  <a:lnTo>
                    <a:pt x="281" y="22"/>
                  </a:lnTo>
                  <a:lnTo>
                    <a:pt x="283" y="25"/>
                  </a:lnTo>
                  <a:lnTo>
                    <a:pt x="284" y="28"/>
                  </a:lnTo>
                  <a:lnTo>
                    <a:pt x="285" y="30"/>
                  </a:lnTo>
                  <a:lnTo>
                    <a:pt x="286" y="32"/>
                  </a:lnTo>
                  <a:lnTo>
                    <a:pt x="288" y="35"/>
                  </a:lnTo>
                  <a:lnTo>
                    <a:pt x="289" y="36"/>
                  </a:lnTo>
                  <a:lnTo>
                    <a:pt x="291" y="39"/>
                  </a:lnTo>
                  <a:lnTo>
                    <a:pt x="294" y="41"/>
                  </a:lnTo>
                  <a:lnTo>
                    <a:pt x="298" y="43"/>
                  </a:lnTo>
                  <a:lnTo>
                    <a:pt x="301" y="45"/>
                  </a:lnTo>
                  <a:lnTo>
                    <a:pt x="311" y="51"/>
                  </a:lnTo>
                  <a:lnTo>
                    <a:pt x="315" y="53"/>
                  </a:lnTo>
                  <a:lnTo>
                    <a:pt x="317" y="55"/>
                  </a:lnTo>
                  <a:lnTo>
                    <a:pt x="320" y="57"/>
                  </a:lnTo>
                  <a:lnTo>
                    <a:pt x="322" y="59"/>
                  </a:lnTo>
                  <a:lnTo>
                    <a:pt x="324" y="61"/>
                  </a:lnTo>
                  <a:lnTo>
                    <a:pt x="329" y="68"/>
                  </a:lnTo>
                  <a:lnTo>
                    <a:pt x="331" y="69"/>
                  </a:lnTo>
                  <a:lnTo>
                    <a:pt x="331" y="70"/>
                  </a:lnTo>
                  <a:lnTo>
                    <a:pt x="334" y="71"/>
                  </a:lnTo>
                  <a:lnTo>
                    <a:pt x="339" y="75"/>
                  </a:lnTo>
                  <a:lnTo>
                    <a:pt x="341" y="76"/>
                  </a:lnTo>
                  <a:lnTo>
                    <a:pt x="344" y="78"/>
                  </a:lnTo>
                  <a:lnTo>
                    <a:pt x="348" y="83"/>
                  </a:lnTo>
                  <a:lnTo>
                    <a:pt x="351" y="84"/>
                  </a:lnTo>
                  <a:lnTo>
                    <a:pt x="354" y="86"/>
                  </a:lnTo>
                  <a:lnTo>
                    <a:pt x="358" y="88"/>
                  </a:lnTo>
                  <a:lnTo>
                    <a:pt x="360" y="90"/>
                  </a:lnTo>
                  <a:lnTo>
                    <a:pt x="361" y="90"/>
                  </a:lnTo>
                  <a:lnTo>
                    <a:pt x="362" y="92"/>
                  </a:lnTo>
                  <a:lnTo>
                    <a:pt x="369" y="100"/>
                  </a:lnTo>
                  <a:lnTo>
                    <a:pt x="374" y="108"/>
                  </a:lnTo>
                  <a:lnTo>
                    <a:pt x="378" y="112"/>
                  </a:lnTo>
                  <a:lnTo>
                    <a:pt x="379" y="113"/>
                  </a:lnTo>
                  <a:lnTo>
                    <a:pt x="381" y="115"/>
                  </a:lnTo>
                  <a:lnTo>
                    <a:pt x="382" y="115"/>
                  </a:lnTo>
                  <a:lnTo>
                    <a:pt x="384" y="117"/>
                  </a:lnTo>
                  <a:lnTo>
                    <a:pt x="397" y="123"/>
                  </a:lnTo>
                  <a:lnTo>
                    <a:pt x="401" y="125"/>
                  </a:lnTo>
                  <a:lnTo>
                    <a:pt x="407" y="129"/>
                  </a:lnTo>
                  <a:lnTo>
                    <a:pt x="416" y="135"/>
                  </a:lnTo>
                  <a:lnTo>
                    <a:pt x="421" y="138"/>
                  </a:lnTo>
                  <a:lnTo>
                    <a:pt x="426" y="141"/>
                  </a:lnTo>
                  <a:lnTo>
                    <a:pt x="435" y="146"/>
                  </a:lnTo>
                  <a:lnTo>
                    <a:pt x="437" y="147"/>
                  </a:lnTo>
                  <a:lnTo>
                    <a:pt x="439" y="148"/>
                  </a:lnTo>
                  <a:lnTo>
                    <a:pt x="440" y="150"/>
                  </a:lnTo>
                  <a:lnTo>
                    <a:pt x="440" y="150"/>
                  </a:lnTo>
                  <a:lnTo>
                    <a:pt x="441" y="151"/>
                  </a:lnTo>
                  <a:lnTo>
                    <a:pt x="441" y="153"/>
                  </a:lnTo>
                  <a:lnTo>
                    <a:pt x="441" y="154"/>
                  </a:lnTo>
                  <a:lnTo>
                    <a:pt x="441" y="160"/>
                  </a:lnTo>
                  <a:lnTo>
                    <a:pt x="441" y="162"/>
                  </a:lnTo>
                  <a:lnTo>
                    <a:pt x="441" y="165"/>
                  </a:lnTo>
                  <a:lnTo>
                    <a:pt x="441" y="167"/>
                  </a:lnTo>
                  <a:lnTo>
                    <a:pt x="441" y="168"/>
                  </a:lnTo>
                  <a:lnTo>
                    <a:pt x="441" y="169"/>
                  </a:lnTo>
                  <a:lnTo>
                    <a:pt x="442" y="170"/>
                  </a:lnTo>
                  <a:lnTo>
                    <a:pt x="442" y="170"/>
                  </a:lnTo>
                  <a:lnTo>
                    <a:pt x="444" y="171"/>
                  </a:lnTo>
                  <a:lnTo>
                    <a:pt x="445" y="172"/>
                  </a:lnTo>
                  <a:lnTo>
                    <a:pt x="452" y="174"/>
                  </a:lnTo>
                  <a:lnTo>
                    <a:pt x="454" y="175"/>
                  </a:lnTo>
                  <a:lnTo>
                    <a:pt x="456" y="176"/>
                  </a:lnTo>
                  <a:lnTo>
                    <a:pt x="459" y="178"/>
                  </a:lnTo>
                  <a:lnTo>
                    <a:pt x="464" y="182"/>
                  </a:lnTo>
                  <a:lnTo>
                    <a:pt x="469" y="185"/>
                  </a:lnTo>
                  <a:lnTo>
                    <a:pt x="474" y="187"/>
                  </a:lnTo>
                  <a:lnTo>
                    <a:pt x="480" y="190"/>
                  </a:lnTo>
                  <a:lnTo>
                    <a:pt x="483" y="193"/>
                  </a:lnTo>
                  <a:lnTo>
                    <a:pt x="486" y="194"/>
                  </a:lnTo>
                  <a:lnTo>
                    <a:pt x="487" y="195"/>
                  </a:lnTo>
                  <a:lnTo>
                    <a:pt x="494" y="204"/>
                  </a:lnTo>
                  <a:lnTo>
                    <a:pt x="501" y="210"/>
                  </a:lnTo>
                  <a:lnTo>
                    <a:pt x="508" y="217"/>
                  </a:lnTo>
                  <a:lnTo>
                    <a:pt x="511" y="219"/>
                  </a:lnTo>
                  <a:lnTo>
                    <a:pt x="514" y="221"/>
                  </a:lnTo>
                  <a:lnTo>
                    <a:pt x="516" y="222"/>
                  </a:lnTo>
                  <a:lnTo>
                    <a:pt x="517" y="223"/>
                  </a:lnTo>
                  <a:lnTo>
                    <a:pt x="518" y="225"/>
                  </a:lnTo>
                  <a:lnTo>
                    <a:pt x="518" y="227"/>
                  </a:lnTo>
                  <a:lnTo>
                    <a:pt x="518" y="228"/>
                  </a:lnTo>
                  <a:lnTo>
                    <a:pt x="518" y="229"/>
                  </a:lnTo>
                  <a:lnTo>
                    <a:pt x="518" y="230"/>
                  </a:lnTo>
                  <a:lnTo>
                    <a:pt x="518" y="233"/>
                  </a:lnTo>
                  <a:lnTo>
                    <a:pt x="518" y="235"/>
                  </a:lnTo>
                  <a:lnTo>
                    <a:pt x="518" y="240"/>
                  </a:lnTo>
                  <a:lnTo>
                    <a:pt x="518" y="242"/>
                  </a:lnTo>
                  <a:lnTo>
                    <a:pt x="520" y="249"/>
                  </a:lnTo>
                  <a:lnTo>
                    <a:pt x="521" y="257"/>
                  </a:lnTo>
                  <a:lnTo>
                    <a:pt x="521" y="259"/>
                  </a:lnTo>
                  <a:lnTo>
                    <a:pt x="522" y="261"/>
                  </a:lnTo>
                  <a:lnTo>
                    <a:pt x="523" y="264"/>
                  </a:lnTo>
                  <a:lnTo>
                    <a:pt x="530" y="275"/>
                  </a:lnTo>
                  <a:lnTo>
                    <a:pt x="533" y="282"/>
                  </a:lnTo>
                  <a:lnTo>
                    <a:pt x="534" y="284"/>
                  </a:lnTo>
                  <a:lnTo>
                    <a:pt x="536" y="285"/>
                  </a:lnTo>
                  <a:lnTo>
                    <a:pt x="537" y="286"/>
                  </a:lnTo>
                  <a:lnTo>
                    <a:pt x="538" y="287"/>
                  </a:lnTo>
                  <a:lnTo>
                    <a:pt x="540" y="287"/>
                  </a:lnTo>
                  <a:lnTo>
                    <a:pt x="542" y="287"/>
                  </a:lnTo>
                  <a:lnTo>
                    <a:pt x="544" y="288"/>
                  </a:lnTo>
                  <a:lnTo>
                    <a:pt x="546" y="288"/>
                  </a:lnTo>
                  <a:lnTo>
                    <a:pt x="548" y="288"/>
                  </a:lnTo>
                  <a:lnTo>
                    <a:pt x="551" y="287"/>
                  </a:lnTo>
                  <a:lnTo>
                    <a:pt x="555" y="287"/>
                  </a:lnTo>
                  <a:lnTo>
                    <a:pt x="565" y="284"/>
                  </a:lnTo>
                  <a:lnTo>
                    <a:pt x="579" y="280"/>
                  </a:lnTo>
                  <a:lnTo>
                    <a:pt x="586" y="278"/>
                  </a:lnTo>
                  <a:lnTo>
                    <a:pt x="594" y="276"/>
                  </a:lnTo>
                  <a:lnTo>
                    <a:pt x="604" y="272"/>
                  </a:lnTo>
                  <a:lnTo>
                    <a:pt x="606" y="271"/>
                  </a:lnTo>
                  <a:lnTo>
                    <a:pt x="608" y="270"/>
                  </a:lnTo>
                  <a:lnTo>
                    <a:pt x="610" y="270"/>
                  </a:lnTo>
                  <a:lnTo>
                    <a:pt x="612" y="270"/>
                  </a:lnTo>
                  <a:lnTo>
                    <a:pt x="613" y="270"/>
                  </a:lnTo>
                  <a:lnTo>
                    <a:pt x="615" y="271"/>
                  </a:lnTo>
                  <a:lnTo>
                    <a:pt x="616" y="272"/>
                  </a:lnTo>
                  <a:lnTo>
                    <a:pt x="616" y="274"/>
                  </a:lnTo>
                  <a:lnTo>
                    <a:pt x="616" y="276"/>
                  </a:lnTo>
                  <a:lnTo>
                    <a:pt x="616" y="280"/>
                  </a:lnTo>
                  <a:lnTo>
                    <a:pt x="617" y="285"/>
                  </a:lnTo>
                  <a:lnTo>
                    <a:pt x="618" y="287"/>
                  </a:lnTo>
                  <a:lnTo>
                    <a:pt x="620" y="296"/>
                  </a:lnTo>
                  <a:lnTo>
                    <a:pt x="621" y="298"/>
                  </a:lnTo>
                  <a:lnTo>
                    <a:pt x="622" y="300"/>
                  </a:lnTo>
                  <a:lnTo>
                    <a:pt x="623" y="302"/>
                  </a:lnTo>
                  <a:lnTo>
                    <a:pt x="625" y="304"/>
                  </a:lnTo>
                  <a:lnTo>
                    <a:pt x="627" y="305"/>
                  </a:lnTo>
                  <a:lnTo>
                    <a:pt x="628" y="307"/>
                  </a:lnTo>
                  <a:lnTo>
                    <a:pt x="639" y="312"/>
                  </a:lnTo>
                  <a:lnTo>
                    <a:pt x="643" y="313"/>
                  </a:lnTo>
                  <a:lnTo>
                    <a:pt x="645" y="315"/>
                  </a:lnTo>
                  <a:lnTo>
                    <a:pt x="646" y="315"/>
                  </a:lnTo>
                  <a:lnTo>
                    <a:pt x="651" y="320"/>
                  </a:lnTo>
                  <a:lnTo>
                    <a:pt x="653" y="322"/>
                  </a:lnTo>
                  <a:lnTo>
                    <a:pt x="658" y="328"/>
                  </a:lnTo>
                  <a:lnTo>
                    <a:pt x="666" y="337"/>
                  </a:lnTo>
                  <a:lnTo>
                    <a:pt x="679" y="354"/>
                  </a:lnTo>
                  <a:lnTo>
                    <a:pt x="682" y="357"/>
                  </a:lnTo>
                  <a:lnTo>
                    <a:pt x="688" y="362"/>
                  </a:lnTo>
                  <a:lnTo>
                    <a:pt x="691" y="365"/>
                  </a:lnTo>
                  <a:lnTo>
                    <a:pt x="694" y="370"/>
                  </a:lnTo>
                  <a:lnTo>
                    <a:pt x="700" y="379"/>
                  </a:lnTo>
                  <a:lnTo>
                    <a:pt x="701" y="380"/>
                  </a:lnTo>
                  <a:lnTo>
                    <a:pt x="703" y="382"/>
                  </a:lnTo>
                  <a:lnTo>
                    <a:pt x="704" y="382"/>
                  </a:lnTo>
                  <a:lnTo>
                    <a:pt x="705" y="383"/>
                  </a:lnTo>
                  <a:lnTo>
                    <a:pt x="707" y="383"/>
                  </a:lnTo>
                  <a:lnTo>
                    <a:pt x="708" y="383"/>
                  </a:lnTo>
                  <a:lnTo>
                    <a:pt x="709" y="383"/>
                  </a:lnTo>
                  <a:lnTo>
                    <a:pt x="710" y="382"/>
                  </a:lnTo>
                  <a:lnTo>
                    <a:pt x="715" y="379"/>
                  </a:lnTo>
                  <a:lnTo>
                    <a:pt x="715" y="378"/>
                  </a:lnTo>
                  <a:lnTo>
                    <a:pt x="716" y="378"/>
                  </a:lnTo>
                  <a:lnTo>
                    <a:pt x="717" y="377"/>
                  </a:lnTo>
                  <a:lnTo>
                    <a:pt x="718" y="378"/>
                  </a:lnTo>
                  <a:lnTo>
                    <a:pt x="718" y="379"/>
                  </a:lnTo>
                  <a:lnTo>
                    <a:pt x="718" y="380"/>
                  </a:lnTo>
                  <a:lnTo>
                    <a:pt x="717" y="385"/>
                  </a:lnTo>
                  <a:lnTo>
                    <a:pt x="716" y="391"/>
                  </a:lnTo>
                  <a:lnTo>
                    <a:pt x="716" y="401"/>
                  </a:lnTo>
                  <a:lnTo>
                    <a:pt x="716" y="407"/>
                  </a:lnTo>
                  <a:lnTo>
                    <a:pt x="716" y="411"/>
                  </a:lnTo>
                  <a:lnTo>
                    <a:pt x="717" y="415"/>
                  </a:lnTo>
                  <a:lnTo>
                    <a:pt x="718" y="420"/>
                  </a:lnTo>
                  <a:lnTo>
                    <a:pt x="720" y="425"/>
                  </a:lnTo>
                  <a:lnTo>
                    <a:pt x="722" y="430"/>
                  </a:lnTo>
                  <a:lnTo>
                    <a:pt x="724" y="435"/>
                  </a:lnTo>
                  <a:lnTo>
                    <a:pt x="727" y="440"/>
                  </a:lnTo>
                  <a:lnTo>
                    <a:pt x="728" y="442"/>
                  </a:lnTo>
                  <a:lnTo>
                    <a:pt x="730" y="445"/>
                  </a:lnTo>
                  <a:lnTo>
                    <a:pt x="732" y="447"/>
                  </a:lnTo>
                  <a:lnTo>
                    <a:pt x="733" y="449"/>
                  </a:lnTo>
                  <a:lnTo>
                    <a:pt x="735" y="450"/>
                  </a:lnTo>
                  <a:lnTo>
                    <a:pt x="736" y="452"/>
                  </a:lnTo>
                  <a:lnTo>
                    <a:pt x="738" y="452"/>
                  </a:lnTo>
                  <a:lnTo>
                    <a:pt x="740" y="454"/>
                  </a:lnTo>
                  <a:lnTo>
                    <a:pt x="741" y="454"/>
                  </a:lnTo>
                  <a:lnTo>
                    <a:pt x="742" y="454"/>
                  </a:lnTo>
                  <a:lnTo>
                    <a:pt x="741" y="455"/>
                  </a:lnTo>
                  <a:lnTo>
                    <a:pt x="740" y="457"/>
                  </a:lnTo>
                  <a:lnTo>
                    <a:pt x="739" y="463"/>
                  </a:lnTo>
                  <a:lnTo>
                    <a:pt x="738" y="469"/>
                  </a:lnTo>
                  <a:lnTo>
                    <a:pt x="738" y="476"/>
                  </a:lnTo>
                  <a:lnTo>
                    <a:pt x="737" y="480"/>
                  </a:lnTo>
                  <a:lnTo>
                    <a:pt x="737" y="484"/>
                  </a:lnTo>
                  <a:lnTo>
                    <a:pt x="738" y="507"/>
                  </a:lnTo>
                  <a:lnTo>
                    <a:pt x="738" y="513"/>
                  </a:lnTo>
                  <a:lnTo>
                    <a:pt x="738" y="519"/>
                  </a:lnTo>
                  <a:lnTo>
                    <a:pt x="736" y="534"/>
                  </a:lnTo>
                  <a:lnTo>
                    <a:pt x="735" y="545"/>
                  </a:lnTo>
                  <a:lnTo>
                    <a:pt x="735" y="548"/>
                  </a:lnTo>
                  <a:lnTo>
                    <a:pt x="735" y="552"/>
                  </a:lnTo>
                  <a:lnTo>
                    <a:pt x="734" y="556"/>
                  </a:lnTo>
                  <a:lnTo>
                    <a:pt x="733" y="559"/>
                  </a:lnTo>
                  <a:lnTo>
                    <a:pt x="730" y="564"/>
                  </a:lnTo>
                  <a:lnTo>
                    <a:pt x="728" y="568"/>
                  </a:lnTo>
                  <a:lnTo>
                    <a:pt x="725" y="572"/>
                  </a:lnTo>
                  <a:lnTo>
                    <a:pt x="723" y="574"/>
                  </a:lnTo>
                  <a:lnTo>
                    <a:pt x="722" y="576"/>
                  </a:lnTo>
                  <a:lnTo>
                    <a:pt x="720" y="577"/>
                  </a:lnTo>
                  <a:lnTo>
                    <a:pt x="718" y="578"/>
                  </a:lnTo>
                  <a:lnTo>
                    <a:pt x="715" y="579"/>
                  </a:lnTo>
                  <a:lnTo>
                    <a:pt x="711" y="579"/>
                  </a:lnTo>
                  <a:lnTo>
                    <a:pt x="707" y="580"/>
                  </a:lnTo>
                  <a:lnTo>
                    <a:pt x="703" y="580"/>
                  </a:lnTo>
                  <a:lnTo>
                    <a:pt x="700" y="580"/>
                  </a:lnTo>
                  <a:lnTo>
                    <a:pt x="697" y="579"/>
                  </a:lnTo>
                  <a:lnTo>
                    <a:pt x="694" y="578"/>
                  </a:lnTo>
                  <a:lnTo>
                    <a:pt x="691" y="577"/>
                  </a:lnTo>
                  <a:lnTo>
                    <a:pt x="689" y="575"/>
                  </a:lnTo>
                  <a:lnTo>
                    <a:pt x="686" y="572"/>
                  </a:lnTo>
                  <a:lnTo>
                    <a:pt x="684" y="569"/>
                  </a:lnTo>
                  <a:lnTo>
                    <a:pt x="677" y="561"/>
                  </a:lnTo>
                  <a:lnTo>
                    <a:pt x="675" y="558"/>
                  </a:lnTo>
                  <a:lnTo>
                    <a:pt x="673" y="556"/>
                  </a:lnTo>
                  <a:lnTo>
                    <a:pt x="671" y="554"/>
                  </a:lnTo>
                  <a:lnTo>
                    <a:pt x="668" y="552"/>
                  </a:lnTo>
                  <a:lnTo>
                    <a:pt x="666" y="551"/>
                  </a:lnTo>
                  <a:lnTo>
                    <a:pt x="661" y="549"/>
                  </a:lnTo>
                  <a:lnTo>
                    <a:pt x="658" y="548"/>
                  </a:lnTo>
                  <a:lnTo>
                    <a:pt x="656" y="547"/>
                  </a:lnTo>
                  <a:lnTo>
                    <a:pt x="655" y="546"/>
                  </a:lnTo>
                  <a:lnTo>
                    <a:pt x="653" y="544"/>
                  </a:lnTo>
                  <a:lnTo>
                    <a:pt x="651" y="542"/>
                  </a:lnTo>
                  <a:lnTo>
                    <a:pt x="649" y="539"/>
                  </a:lnTo>
                  <a:lnTo>
                    <a:pt x="645" y="533"/>
                  </a:lnTo>
                  <a:lnTo>
                    <a:pt x="642" y="530"/>
                  </a:lnTo>
                  <a:lnTo>
                    <a:pt x="641" y="529"/>
                  </a:lnTo>
                  <a:lnTo>
                    <a:pt x="639" y="527"/>
                  </a:lnTo>
                  <a:lnTo>
                    <a:pt x="638" y="527"/>
                  </a:lnTo>
                  <a:lnTo>
                    <a:pt x="637" y="526"/>
                  </a:lnTo>
                  <a:lnTo>
                    <a:pt x="635" y="525"/>
                  </a:lnTo>
                  <a:lnTo>
                    <a:pt x="633" y="525"/>
                  </a:lnTo>
                  <a:lnTo>
                    <a:pt x="630" y="526"/>
                  </a:lnTo>
                  <a:lnTo>
                    <a:pt x="628" y="527"/>
                  </a:lnTo>
                  <a:lnTo>
                    <a:pt x="624" y="529"/>
                  </a:lnTo>
                  <a:lnTo>
                    <a:pt x="605" y="540"/>
                  </a:lnTo>
                  <a:lnTo>
                    <a:pt x="601" y="542"/>
                  </a:lnTo>
                  <a:lnTo>
                    <a:pt x="597" y="544"/>
                  </a:lnTo>
                  <a:lnTo>
                    <a:pt x="594" y="544"/>
                  </a:lnTo>
                  <a:lnTo>
                    <a:pt x="591" y="545"/>
                  </a:lnTo>
                  <a:lnTo>
                    <a:pt x="589" y="545"/>
                  </a:lnTo>
                  <a:lnTo>
                    <a:pt x="586" y="545"/>
                  </a:lnTo>
                  <a:lnTo>
                    <a:pt x="583" y="544"/>
                  </a:lnTo>
                  <a:lnTo>
                    <a:pt x="575" y="541"/>
                  </a:lnTo>
                  <a:lnTo>
                    <a:pt x="564" y="537"/>
                  </a:lnTo>
                  <a:lnTo>
                    <a:pt x="560" y="536"/>
                  </a:lnTo>
                  <a:lnTo>
                    <a:pt x="546" y="530"/>
                  </a:lnTo>
                  <a:lnTo>
                    <a:pt x="544" y="529"/>
                  </a:lnTo>
                  <a:lnTo>
                    <a:pt x="542" y="528"/>
                  </a:lnTo>
                  <a:lnTo>
                    <a:pt x="538" y="526"/>
                  </a:lnTo>
                  <a:lnTo>
                    <a:pt x="536" y="524"/>
                  </a:lnTo>
                  <a:lnTo>
                    <a:pt x="533" y="522"/>
                  </a:lnTo>
                  <a:lnTo>
                    <a:pt x="528" y="515"/>
                  </a:lnTo>
                  <a:lnTo>
                    <a:pt x="526" y="513"/>
                  </a:lnTo>
                  <a:lnTo>
                    <a:pt x="518" y="504"/>
                  </a:lnTo>
                  <a:lnTo>
                    <a:pt x="513" y="500"/>
                  </a:lnTo>
                  <a:lnTo>
                    <a:pt x="511" y="499"/>
                  </a:lnTo>
                  <a:lnTo>
                    <a:pt x="508" y="497"/>
                  </a:lnTo>
                  <a:lnTo>
                    <a:pt x="506" y="497"/>
                  </a:lnTo>
                  <a:lnTo>
                    <a:pt x="503" y="497"/>
                  </a:lnTo>
                  <a:lnTo>
                    <a:pt x="501" y="497"/>
                  </a:lnTo>
                  <a:lnTo>
                    <a:pt x="500" y="497"/>
                  </a:lnTo>
                  <a:lnTo>
                    <a:pt x="498" y="498"/>
                  </a:lnTo>
                  <a:lnTo>
                    <a:pt x="496" y="499"/>
                  </a:lnTo>
                  <a:lnTo>
                    <a:pt x="495" y="500"/>
                  </a:lnTo>
                  <a:lnTo>
                    <a:pt x="494" y="501"/>
                  </a:lnTo>
                  <a:lnTo>
                    <a:pt x="493" y="502"/>
                  </a:lnTo>
                  <a:lnTo>
                    <a:pt x="492" y="504"/>
                  </a:lnTo>
                  <a:lnTo>
                    <a:pt x="491" y="505"/>
                  </a:lnTo>
                  <a:lnTo>
                    <a:pt x="491" y="508"/>
                  </a:lnTo>
                  <a:lnTo>
                    <a:pt x="491" y="518"/>
                  </a:lnTo>
                  <a:lnTo>
                    <a:pt x="490" y="522"/>
                  </a:lnTo>
                  <a:lnTo>
                    <a:pt x="489" y="527"/>
                  </a:lnTo>
                  <a:lnTo>
                    <a:pt x="487" y="534"/>
                  </a:lnTo>
                  <a:lnTo>
                    <a:pt x="486" y="541"/>
                  </a:lnTo>
                  <a:lnTo>
                    <a:pt x="484" y="544"/>
                  </a:lnTo>
                  <a:lnTo>
                    <a:pt x="483" y="547"/>
                  </a:lnTo>
                  <a:lnTo>
                    <a:pt x="481" y="550"/>
                  </a:lnTo>
                  <a:lnTo>
                    <a:pt x="480" y="553"/>
                  </a:lnTo>
                  <a:lnTo>
                    <a:pt x="479" y="556"/>
                  </a:lnTo>
                  <a:lnTo>
                    <a:pt x="476" y="558"/>
                  </a:lnTo>
                  <a:lnTo>
                    <a:pt x="475" y="561"/>
                  </a:lnTo>
                  <a:lnTo>
                    <a:pt x="473" y="562"/>
                  </a:lnTo>
                  <a:lnTo>
                    <a:pt x="471" y="564"/>
                  </a:lnTo>
                  <a:lnTo>
                    <a:pt x="469" y="566"/>
                  </a:lnTo>
                  <a:lnTo>
                    <a:pt x="467" y="567"/>
                  </a:lnTo>
                  <a:lnTo>
                    <a:pt x="465" y="567"/>
                  </a:lnTo>
                  <a:lnTo>
                    <a:pt x="463" y="567"/>
                  </a:lnTo>
                  <a:lnTo>
                    <a:pt x="461" y="568"/>
                  </a:lnTo>
                  <a:lnTo>
                    <a:pt x="451" y="569"/>
                  </a:lnTo>
                  <a:lnTo>
                    <a:pt x="446" y="569"/>
                  </a:lnTo>
                  <a:lnTo>
                    <a:pt x="442" y="571"/>
                  </a:lnTo>
                  <a:lnTo>
                    <a:pt x="441" y="571"/>
                  </a:lnTo>
                  <a:lnTo>
                    <a:pt x="439" y="572"/>
                  </a:lnTo>
                  <a:lnTo>
                    <a:pt x="437" y="573"/>
                  </a:lnTo>
                  <a:lnTo>
                    <a:pt x="436" y="574"/>
                  </a:lnTo>
                  <a:lnTo>
                    <a:pt x="436" y="575"/>
                  </a:lnTo>
                  <a:lnTo>
                    <a:pt x="434" y="578"/>
                  </a:lnTo>
                  <a:lnTo>
                    <a:pt x="432" y="584"/>
                  </a:lnTo>
                  <a:lnTo>
                    <a:pt x="431" y="587"/>
                  </a:lnTo>
                  <a:lnTo>
                    <a:pt x="429" y="589"/>
                  </a:lnTo>
                  <a:lnTo>
                    <a:pt x="429" y="589"/>
                  </a:lnTo>
                  <a:lnTo>
                    <a:pt x="427" y="591"/>
                  </a:lnTo>
                  <a:lnTo>
                    <a:pt x="426" y="592"/>
                  </a:lnTo>
                  <a:lnTo>
                    <a:pt x="424" y="594"/>
                  </a:lnTo>
                  <a:lnTo>
                    <a:pt x="421" y="594"/>
                  </a:lnTo>
                  <a:lnTo>
                    <a:pt x="418" y="596"/>
                  </a:lnTo>
                  <a:lnTo>
                    <a:pt x="412" y="597"/>
                  </a:lnTo>
                  <a:lnTo>
                    <a:pt x="410" y="597"/>
                  </a:lnTo>
                  <a:lnTo>
                    <a:pt x="408" y="599"/>
                  </a:lnTo>
                  <a:lnTo>
                    <a:pt x="406" y="599"/>
                  </a:lnTo>
                  <a:lnTo>
                    <a:pt x="404" y="602"/>
                  </a:lnTo>
                  <a:lnTo>
                    <a:pt x="402" y="603"/>
                  </a:lnTo>
                  <a:lnTo>
                    <a:pt x="396" y="609"/>
                  </a:lnTo>
                  <a:lnTo>
                    <a:pt x="394" y="611"/>
                  </a:lnTo>
                  <a:lnTo>
                    <a:pt x="391" y="613"/>
                  </a:lnTo>
                  <a:lnTo>
                    <a:pt x="389" y="614"/>
                  </a:lnTo>
                  <a:lnTo>
                    <a:pt x="386" y="615"/>
                  </a:lnTo>
                  <a:lnTo>
                    <a:pt x="384" y="615"/>
                  </a:lnTo>
                  <a:lnTo>
                    <a:pt x="381" y="615"/>
                  </a:lnTo>
                  <a:lnTo>
                    <a:pt x="379" y="614"/>
                  </a:lnTo>
                  <a:lnTo>
                    <a:pt x="376" y="614"/>
                  </a:lnTo>
                  <a:lnTo>
                    <a:pt x="369" y="610"/>
                  </a:lnTo>
                  <a:lnTo>
                    <a:pt x="359" y="605"/>
                  </a:lnTo>
                  <a:lnTo>
                    <a:pt x="349" y="601"/>
                  </a:lnTo>
                  <a:lnTo>
                    <a:pt x="329" y="589"/>
                  </a:lnTo>
                  <a:lnTo>
                    <a:pt x="325" y="588"/>
                  </a:lnTo>
                  <a:lnTo>
                    <a:pt x="322" y="587"/>
                  </a:lnTo>
                  <a:lnTo>
                    <a:pt x="319" y="585"/>
                  </a:lnTo>
                  <a:lnTo>
                    <a:pt x="314" y="584"/>
                  </a:lnTo>
                  <a:lnTo>
                    <a:pt x="311" y="584"/>
                  </a:lnTo>
                  <a:lnTo>
                    <a:pt x="301" y="582"/>
                  </a:lnTo>
                  <a:lnTo>
                    <a:pt x="296" y="582"/>
                  </a:lnTo>
                  <a:lnTo>
                    <a:pt x="293" y="580"/>
                  </a:lnTo>
                  <a:lnTo>
                    <a:pt x="283" y="577"/>
                  </a:lnTo>
                  <a:lnTo>
                    <a:pt x="276" y="574"/>
                  </a:lnTo>
                  <a:lnTo>
                    <a:pt x="266" y="572"/>
                  </a:lnTo>
                  <a:lnTo>
                    <a:pt x="259" y="569"/>
                  </a:lnTo>
                  <a:lnTo>
                    <a:pt x="253" y="568"/>
                  </a:lnTo>
                  <a:lnTo>
                    <a:pt x="247" y="567"/>
                  </a:lnTo>
                  <a:lnTo>
                    <a:pt x="242" y="567"/>
                  </a:lnTo>
                  <a:lnTo>
                    <a:pt x="234" y="566"/>
                  </a:lnTo>
                  <a:lnTo>
                    <a:pt x="229" y="566"/>
                  </a:lnTo>
                  <a:lnTo>
                    <a:pt x="227" y="565"/>
                  </a:lnTo>
                  <a:lnTo>
                    <a:pt x="215" y="564"/>
                  </a:lnTo>
                  <a:lnTo>
                    <a:pt x="210" y="563"/>
                  </a:lnTo>
                  <a:lnTo>
                    <a:pt x="204" y="562"/>
                  </a:lnTo>
                  <a:lnTo>
                    <a:pt x="199" y="562"/>
                  </a:lnTo>
                  <a:lnTo>
                    <a:pt x="195" y="562"/>
                  </a:lnTo>
                  <a:lnTo>
                    <a:pt x="192" y="563"/>
                  </a:lnTo>
                  <a:lnTo>
                    <a:pt x="184" y="564"/>
                  </a:lnTo>
                  <a:lnTo>
                    <a:pt x="181" y="564"/>
                  </a:lnTo>
                  <a:lnTo>
                    <a:pt x="178" y="564"/>
                  </a:lnTo>
                  <a:lnTo>
                    <a:pt x="174" y="564"/>
                  </a:lnTo>
                  <a:lnTo>
                    <a:pt x="172" y="564"/>
                  </a:lnTo>
                  <a:lnTo>
                    <a:pt x="169" y="563"/>
                  </a:lnTo>
                  <a:lnTo>
                    <a:pt x="167" y="562"/>
                  </a:lnTo>
                  <a:lnTo>
                    <a:pt x="161" y="560"/>
                  </a:lnTo>
                  <a:lnTo>
                    <a:pt x="158" y="559"/>
                  </a:lnTo>
                  <a:lnTo>
                    <a:pt x="153" y="557"/>
                  </a:lnTo>
                  <a:lnTo>
                    <a:pt x="143" y="555"/>
                  </a:lnTo>
                  <a:lnTo>
                    <a:pt x="141" y="554"/>
                  </a:lnTo>
                  <a:lnTo>
                    <a:pt x="139" y="554"/>
                  </a:lnTo>
                  <a:lnTo>
                    <a:pt x="137" y="552"/>
                  </a:lnTo>
                  <a:lnTo>
                    <a:pt x="133" y="548"/>
                  </a:lnTo>
                  <a:lnTo>
                    <a:pt x="128" y="544"/>
                  </a:lnTo>
                  <a:lnTo>
                    <a:pt x="127" y="543"/>
                  </a:lnTo>
                  <a:lnTo>
                    <a:pt x="124" y="541"/>
                  </a:lnTo>
                  <a:lnTo>
                    <a:pt x="122" y="539"/>
                  </a:lnTo>
                  <a:lnTo>
                    <a:pt x="119" y="536"/>
                  </a:lnTo>
                  <a:lnTo>
                    <a:pt x="118" y="533"/>
                  </a:lnTo>
                  <a:lnTo>
                    <a:pt x="117" y="530"/>
                  </a:lnTo>
                  <a:lnTo>
                    <a:pt x="114" y="524"/>
                  </a:lnTo>
                  <a:lnTo>
                    <a:pt x="113" y="522"/>
                  </a:lnTo>
                  <a:lnTo>
                    <a:pt x="112" y="521"/>
                  </a:lnTo>
                  <a:lnTo>
                    <a:pt x="112" y="519"/>
                  </a:lnTo>
                  <a:lnTo>
                    <a:pt x="110" y="518"/>
                  </a:lnTo>
                  <a:lnTo>
                    <a:pt x="104" y="513"/>
                  </a:lnTo>
                  <a:lnTo>
                    <a:pt x="102" y="511"/>
                  </a:lnTo>
                  <a:lnTo>
                    <a:pt x="100" y="509"/>
                  </a:lnTo>
                  <a:lnTo>
                    <a:pt x="99" y="507"/>
                  </a:lnTo>
                  <a:lnTo>
                    <a:pt x="97" y="504"/>
                  </a:lnTo>
                  <a:lnTo>
                    <a:pt x="96" y="502"/>
                  </a:lnTo>
                  <a:lnTo>
                    <a:pt x="96" y="500"/>
                  </a:lnTo>
                  <a:lnTo>
                    <a:pt x="96" y="499"/>
                  </a:lnTo>
                  <a:lnTo>
                    <a:pt x="96" y="497"/>
                  </a:lnTo>
                  <a:lnTo>
                    <a:pt x="96" y="495"/>
                  </a:lnTo>
                  <a:lnTo>
                    <a:pt x="97" y="494"/>
                  </a:lnTo>
                  <a:lnTo>
                    <a:pt x="98" y="492"/>
                  </a:lnTo>
                  <a:lnTo>
                    <a:pt x="99" y="489"/>
                  </a:lnTo>
                  <a:lnTo>
                    <a:pt x="101" y="488"/>
                  </a:lnTo>
                  <a:lnTo>
                    <a:pt x="102" y="486"/>
                  </a:lnTo>
                  <a:lnTo>
                    <a:pt x="104" y="484"/>
                  </a:lnTo>
                  <a:lnTo>
                    <a:pt x="108" y="482"/>
                  </a:lnTo>
                  <a:lnTo>
                    <a:pt x="111" y="480"/>
                  </a:lnTo>
                  <a:lnTo>
                    <a:pt x="117" y="477"/>
                  </a:lnTo>
                  <a:lnTo>
                    <a:pt x="120" y="476"/>
                  </a:lnTo>
                  <a:lnTo>
                    <a:pt x="122" y="474"/>
                  </a:lnTo>
                  <a:lnTo>
                    <a:pt x="122" y="474"/>
                  </a:lnTo>
                  <a:lnTo>
                    <a:pt x="124" y="472"/>
                  </a:lnTo>
                  <a:lnTo>
                    <a:pt x="124" y="471"/>
                  </a:lnTo>
                  <a:lnTo>
                    <a:pt x="126" y="469"/>
                  </a:lnTo>
                  <a:lnTo>
                    <a:pt x="127" y="467"/>
                  </a:lnTo>
                  <a:lnTo>
                    <a:pt x="127" y="464"/>
                  </a:lnTo>
                  <a:lnTo>
                    <a:pt x="127" y="462"/>
                  </a:lnTo>
                  <a:lnTo>
                    <a:pt x="127" y="460"/>
                  </a:lnTo>
                  <a:lnTo>
                    <a:pt x="127" y="458"/>
                  </a:lnTo>
                  <a:lnTo>
                    <a:pt x="125" y="456"/>
                  </a:lnTo>
                  <a:lnTo>
                    <a:pt x="124" y="454"/>
                  </a:lnTo>
                  <a:lnTo>
                    <a:pt x="123" y="452"/>
                  </a:lnTo>
                  <a:lnTo>
                    <a:pt x="121" y="450"/>
                  </a:lnTo>
                  <a:lnTo>
                    <a:pt x="119" y="449"/>
                  </a:lnTo>
                  <a:lnTo>
                    <a:pt x="112" y="443"/>
                  </a:lnTo>
                  <a:lnTo>
                    <a:pt x="108" y="440"/>
                  </a:lnTo>
                  <a:lnTo>
                    <a:pt x="106" y="438"/>
                  </a:lnTo>
                  <a:lnTo>
                    <a:pt x="103" y="435"/>
                  </a:lnTo>
                  <a:lnTo>
                    <a:pt x="97" y="427"/>
                  </a:lnTo>
                  <a:lnTo>
                    <a:pt x="93" y="422"/>
                  </a:lnTo>
                  <a:lnTo>
                    <a:pt x="89" y="418"/>
                  </a:lnTo>
                  <a:lnTo>
                    <a:pt x="86" y="414"/>
                  </a:lnTo>
                  <a:lnTo>
                    <a:pt x="83" y="411"/>
                  </a:lnTo>
                  <a:lnTo>
                    <a:pt x="80" y="408"/>
                  </a:lnTo>
                  <a:lnTo>
                    <a:pt x="78" y="407"/>
                  </a:lnTo>
                  <a:lnTo>
                    <a:pt x="77" y="405"/>
                  </a:lnTo>
                  <a:lnTo>
                    <a:pt x="74" y="405"/>
                  </a:lnTo>
                  <a:lnTo>
                    <a:pt x="72" y="403"/>
                  </a:lnTo>
                  <a:lnTo>
                    <a:pt x="67" y="401"/>
                  </a:lnTo>
                  <a:lnTo>
                    <a:pt x="55" y="397"/>
                  </a:lnTo>
                  <a:lnTo>
                    <a:pt x="47" y="394"/>
                  </a:lnTo>
                  <a:lnTo>
                    <a:pt x="44" y="393"/>
                  </a:lnTo>
                  <a:lnTo>
                    <a:pt x="41" y="392"/>
                  </a:lnTo>
                  <a:lnTo>
                    <a:pt x="40" y="390"/>
                  </a:lnTo>
                  <a:lnTo>
                    <a:pt x="37" y="389"/>
                  </a:lnTo>
                  <a:lnTo>
                    <a:pt x="30" y="384"/>
                  </a:lnTo>
                  <a:lnTo>
                    <a:pt x="25" y="380"/>
                  </a:lnTo>
                  <a:lnTo>
                    <a:pt x="20" y="376"/>
                  </a:lnTo>
                  <a:lnTo>
                    <a:pt x="17" y="372"/>
                  </a:lnTo>
                  <a:lnTo>
                    <a:pt x="12" y="367"/>
                  </a:lnTo>
                  <a:lnTo>
                    <a:pt x="7" y="362"/>
                  </a:lnTo>
                  <a:lnTo>
                    <a:pt x="2" y="356"/>
                  </a:lnTo>
                  <a:lnTo>
                    <a:pt x="0" y="352"/>
                  </a:lnTo>
                  <a:lnTo>
                    <a:pt x="2" y="347"/>
                  </a:lnTo>
                  <a:lnTo>
                    <a:pt x="4" y="345"/>
                  </a:lnTo>
                  <a:lnTo>
                    <a:pt x="5" y="344"/>
                  </a:lnTo>
                  <a:lnTo>
                    <a:pt x="6" y="342"/>
                  </a:lnTo>
                  <a:lnTo>
                    <a:pt x="7" y="340"/>
                  </a:lnTo>
                  <a:lnTo>
                    <a:pt x="10" y="339"/>
                  </a:lnTo>
                  <a:lnTo>
                    <a:pt x="11" y="337"/>
                  </a:lnTo>
                  <a:lnTo>
                    <a:pt x="15" y="335"/>
                  </a:lnTo>
                  <a:lnTo>
                    <a:pt x="18" y="334"/>
                  </a:lnTo>
                  <a:lnTo>
                    <a:pt x="21" y="333"/>
                  </a:lnTo>
                  <a:lnTo>
                    <a:pt x="29" y="331"/>
                  </a:lnTo>
                  <a:lnTo>
                    <a:pt x="32" y="330"/>
                  </a:lnTo>
                  <a:lnTo>
                    <a:pt x="33" y="329"/>
                  </a:lnTo>
                  <a:lnTo>
                    <a:pt x="35" y="327"/>
                  </a:lnTo>
                  <a:lnTo>
                    <a:pt x="36" y="326"/>
                  </a:lnTo>
                  <a:lnTo>
                    <a:pt x="38" y="325"/>
                  </a:lnTo>
                  <a:lnTo>
                    <a:pt x="40" y="322"/>
                  </a:lnTo>
                  <a:lnTo>
                    <a:pt x="41" y="320"/>
                  </a:lnTo>
                  <a:lnTo>
                    <a:pt x="42" y="318"/>
                  </a:lnTo>
                  <a:lnTo>
                    <a:pt x="43" y="316"/>
                  </a:lnTo>
                  <a:lnTo>
                    <a:pt x="47" y="305"/>
                  </a:lnTo>
                  <a:lnTo>
                    <a:pt x="52" y="297"/>
                  </a:lnTo>
                  <a:lnTo>
                    <a:pt x="53" y="292"/>
                  </a:lnTo>
                  <a:lnTo>
                    <a:pt x="54" y="289"/>
                  </a:lnTo>
                  <a:lnTo>
                    <a:pt x="56" y="283"/>
                  </a:lnTo>
                  <a:lnTo>
                    <a:pt x="56" y="281"/>
                  </a:lnTo>
                  <a:lnTo>
                    <a:pt x="57" y="278"/>
                  </a:lnTo>
                  <a:lnTo>
                    <a:pt x="57" y="276"/>
                  </a:lnTo>
                  <a:lnTo>
                    <a:pt x="57" y="272"/>
                  </a:lnTo>
                  <a:lnTo>
                    <a:pt x="55" y="260"/>
                  </a:lnTo>
                  <a:lnTo>
                    <a:pt x="54" y="254"/>
                  </a:lnTo>
                  <a:lnTo>
                    <a:pt x="54" y="250"/>
                  </a:lnTo>
                  <a:lnTo>
                    <a:pt x="53" y="247"/>
                  </a:lnTo>
                  <a:lnTo>
                    <a:pt x="52" y="242"/>
                  </a:lnTo>
                  <a:lnTo>
                    <a:pt x="50" y="236"/>
                  </a:lnTo>
                  <a:lnTo>
                    <a:pt x="47" y="230"/>
                  </a:lnTo>
                  <a:lnTo>
                    <a:pt x="42" y="217"/>
                  </a:lnTo>
                  <a:lnTo>
                    <a:pt x="40" y="212"/>
                  </a:lnTo>
                  <a:lnTo>
                    <a:pt x="39" y="208"/>
                  </a:lnTo>
                  <a:lnTo>
                    <a:pt x="38" y="203"/>
                  </a:lnTo>
                  <a:lnTo>
                    <a:pt x="38" y="198"/>
                  </a:lnTo>
                  <a:lnTo>
                    <a:pt x="38" y="195"/>
                  </a:lnTo>
                  <a:lnTo>
                    <a:pt x="38" y="191"/>
                  </a:lnTo>
                  <a:lnTo>
                    <a:pt x="39" y="183"/>
                  </a:lnTo>
                  <a:lnTo>
                    <a:pt x="39" y="179"/>
                  </a:lnTo>
                  <a:lnTo>
                    <a:pt x="39" y="175"/>
                  </a:lnTo>
                  <a:lnTo>
                    <a:pt x="39" y="172"/>
                  </a:lnTo>
                  <a:lnTo>
                    <a:pt x="37" y="163"/>
                  </a:lnTo>
                  <a:lnTo>
                    <a:pt x="37" y="161"/>
                  </a:lnTo>
                  <a:lnTo>
                    <a:pt x="37" y="159"/>
                  </a:lnTo>
                  <a:lnTo>
                    <a:pt x="37" y="155"/>
                  </a:lnTo>
                  <a:lnTo>
                    <a:pt x="37" y="152"/>
                  </a:lnTo>
                  <a:lnTo>
                    <a:pt x="38" y="150"/>
                  </a:lnTo>
                  <a:lnTo>
                    <a:pt x="40" y="148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3" y="145"/>
                  </a:lnTo>
                  <a:lnTo>
                    <a:pt x="45" y="144"/>
                  </a:lnTo>
                  <a:lnTo>
                    <a:pt x="47" y="144"/>
                  </a:lnTo>
                  <a:lnTo>
                    <a:pt x="53" y="143"/>
                  </a:lnTo>
                  <a:lnTo>
                    <a:pt x="59" y="143"/>
                  </a:lnTo>
                  <a:lnTo>
                    <a:pt x="62" y="143"/>
                  </a:lnTo>
                  <a:lnTo>
                    <a:pt x="64" y="143"/>
                  </a:lnTo>
                  <a:lnTo>
                    <a:pt x="68" y="143"/>
                  </a:lnTo>
                  <a:lnTo>
                    <a:pt x="72" y="145"/>
                  </a:lnTo>
                  <a:lnTo>
                    <a:pt x="74" y="145"/>
                  </a:lnTo>
                  <a:lnTo>
                    <a:pt x="77" y="145"/>
                  </a:lnTo>
                  <a:lnTo>
                    <a:pt x="79" y="145"/>
                  </a:lnTo>
                  <a:lnTo>
                    <a:pt x="82" y="145"/>
                  </a:lnTo>
                  <a:lnTo>
                    <a:pt x="84" y="144"/>
                  </a:lnTo>
                  <a:lnTo>
                    <a:pt x="97" y="139"/>
                  </a:lnTo>
                  <a:lnTo>
                    <a:pt x="99" y="138"/>
                  </a:lnTo>
                  <a:lnTo>
                    <a:pt x="103" y="138"/>
                  </a:lnTo>
                  <a:lnTo>
                    <a:pt x="107" y="137"/>
                  </a:lnTo>
                  <a:lnTo>
                    <a:pt x="117" y="135"/>
                  </a:lnTo>
                  <a:lnTo>
                    <a:pt x="137" y="133"/>
                  </a:lnTo>
                  <a:lnTo>
                    <a:pt x="140" y="133"/>
                  </a:lnTo>
                  <a:lnTo>
                    <a:pt x="147" y="132"/>
                  </a:lnTo>
                  <a:lnTo>
                    <a:pt x="149" y="132"/>
                  </a:lnTo>
                  <a:lnTo>
                    <a:pt x="154" y="131"/>
                  </a:lnTo>
                  <a:lnTo>
                    <a:pt x="158" y="132"/>
                  </a:lnTo>
                  <a:lnTo>
                    <a:pt x="164" y="132"/>
                  </a:lnTo>
                  <a:lnTo>
                    <a:pt x="174" y="133"/>
                  </a:lnTo>
                  <a:lnTo>
                    <a:pt x="178" y="134"/>
                  </a:lnTo>
                  <a:lnTo>
                    <a:pt x="182" y="134"/>
                  </a:lnTo>
                  <a:lnTo>
                    <a:pt x="190" y="133"/>
                  </a:lnTo>
                  <a:lnTo>
                    <a:pt x="192" y="133"/>
                  </a:lnTo>
                  <a:lnTo>
                    <a:pt x="194" y="133"/>
                  </a:lnTo>
                  <a:lnTo>
                    <a:pt x="207" y="133"/>
                  </a:lnTo>
                  <a:lnTo>
                    <a:pt x="209" y="134"/>
                  </a:lnTo>
                  <a:lnTo>
                    <a:pt x="211" y="135"/>
                  </a:lnTo>
                  <a:lnTo>
                    <a:pt x="213" y="135"/>
                  </a:lnTo>
                  <a:lnTo>
                    <a:pt x="214" y="136"/>
                  </a:lnTo>
                  <a:lnTo>
                    <a:pt x="221" y="142"/>
                  </a:lnTo>
                  <a:lnTo>
                    <a:pt x="227" y="146"/>
                  </a:lnTo>
                  <a:lnTo>
                    <a:pt x="233" y="151"/>
                  </a:lnTo>
                  <a:lnTo>
                    <a:pt x="236" y="153"/>
                  </a:lnTo>
                  <a:lnTo>
                    <a:pt x="237" y="154"/>
                  </a:lnTo>
                  <a:lnTo>
                    <a:pt x="239" y="154"/>
                  </a:lnTo>
                  <a:lnTo>
                    <a:pt x="239" y="154"/>
                  </a:lnTo>
                  <a:lnTo>
                    <a:pt x="241" y="154"/>
                  </a:lnTo>
                  <a:lnTo>
                    <a:pt x="242" y="153"/>
                  </a:lnTo>
                  <a:lnTo>
                    <a:pt x="244" y="150"/>
                  </a:lnTo>
                  <a:lnTo>
                    <a:pt x="245" y="149"/>
                  </a:lnTo>
                  <a:lnTo>
                    <a:pt x="247" y="148"/>
                  </a:lnTo>
                  <a:lnTo>
                    <a:pt x="247" y="145"/>
                  </a:lnTo>
                  <a:lnTo>
                    <a:pt x="248" y="144"/>
                  </a:lnTo>
                  <a:lnTo>
                    <a:pt x="249" y="143"/>
                  </a:lnTo>
                  <a:lnTo>
                    <a:pt x="249" y="141"/>
                  </a:lnTo>
                  <a:lnTo>
                    <a:pt x="249" y="140"/>
                  </a:lnTo>
                  <a:lnTo>
                    <a:pt x="247" y="138"/>
                  </a:lnTo>
                  <a:lnTo>
                    <a:pt x="247" y="136"/>
                  </a:lnTo>
                  <a:lnTo>
                    <a:pt x="247" y="135"/>
                  </a:lnTo>
                  <a:lnTo>
                    <a:pt x="248" y="133"/>
                  </a:lnTo>
                  <a:lnTo>
                    <a:pt x="248" y="132"/>
                  </a:lnTo>
                  <a:lnTo>
                    <a:pt x="248" y="131"/>
                  </a:lnTo>
                  <a:lnTo>
                    <a:pt x="248" y="130"/>
                  </a:lnTo>
                  <a:lnTo>
                    <a:pt x="245" y="125"/>
                  </a:lnTo>
                  <a:lnTo>
                    <a:pt x="242" y="120"/>
                  </a:lnTo>
                  <a:lnTo>
                    <a:pt x="241" y="119"/>
                  </a:lnTo>
                  <a:lnTo>
                    <a:pt x="240" y="118"/>
                  </a:lnTo>
                  <a:lnTo>
                    <a:pt x="239" y="115"/>
                  </a:lnTo>
                  <a:lnTo>
                    <a:pt x="239" y="113"/>
                  </a:lnTo>
                  <a:lnTo>
                    <a:pt x="239" y="110"/>
                  </a:lnTo>
                  <a:lnTo>
                    <a:pt x="237" y="105"/>
                  </a:lnTo>
                  <a:lnTo>
                    <a:pt x="237" y="102"/>
                  </a:lnTo>
                  <a:lnTo>
                    <a:pt x="237" y="100"/>
                  </a:lnTo>
                  <a:lnTo>
                    <a:pt x="237" y="98"/>
                  </a:lnTo>
                  <a:lnTo>
                    <a:pt x="238" y="94"/>
                  </a:lnTo>
                  <a:lnTo>
                    <a:pt x="239" y="92"/>
                  </a:lnTo>
                  <a:lnTo>
                    <a:pt x="239" y="89"/>
                  </a:lnTo>
                  <a:lnTo>
                    <a:pt x="242" y="83"/>
                  </a:lnTo>
                  <a:lnTo>
                    <a:pt x="244" y="82"/>
                  </a:lnTo>
                  <a:lnTo>
                    <a:pt x="246" y="79"/>
                  </a:lnTo>
                  <a:lnTo>
                    <a:pt x="247" y="78"/>
                  </a:lnTo>
                  <a:lnTo>
                    <a:pt x="247" y="78"/>
                  </a:lnTo>
                  <a:lnTo>
                    <a:pt x="248" y="72"/>
                  </a:lnTo>
                  <a:lnTo>
                    <a:pt x="250" y="65"/>
                  </a:lnTo>
                  <a:lnTo>
                    <a:pt x="251" y="63"/>
                  </a:lnTo>
                  <a:lnTo>
                    <a:pt x="252" y="60"/>
                  </a:lnTo>
                  <a:lnTo>
                    <a:pt x="252" y="56"/>
                  </a:lnTo>
                  <a:lnTo>
                    <a:pt x="252" y="50"/>
                  </a:lnTo>
                  <a:lnTo>
                    <a:pt x="252" y="45"/>
                  </a:lnTo>
                  <a:lnTo>
                    <a:pt x="253" y="43"/>
                  </a:lnTo>
                  <a:lnTo>
                    <a:pt x="253" y="41"/>
                  </a:lnTo>
                  <a:lnTo>
                    <a:pt x="254" y="40"/>
                  </a:lnTo>
                  <a:lnTo>
                    <a:pt x="254" y="38"/>
                  </a:lnTo>
                  <a:lnTo>
                    <a:pt x="258" y="33"/>
                  </a:lnTo>
                  <a:lnTo>
                    <a:pt x="259" y="30"/>
                  </a:lnTo>
                  <a:lnTo>
                    <a:pt x="259" y="29"/>
                  </a:lnTo>
                  <a:lnTo>
                    <a:pt x="261" y="23"/>
                  </a:lnTo>
                  <a:lnTo>
                    <a:pt x="262" y="21"/>
                  </a:lnTo>
                  <a:lnTo>
                    <a:pt x="262" y="19"/>
                  </a:lnTo>
                  <a:lnTo>
                    <a:pt x="264" y="16"/>
                  </a:lnTo>
                  <a:lnTo>
                    <a:pt x="266" y="13"/>
                  </a:lnTo>
                  <a:lnTo>
                    <a:pt x="269" y="10"/>
                  </a:lnTo>
                  <a:lnTo>
                    <a:pt x="271" y="7"/>
                  </a:lnTo>
                  <a:lnTo>
                    <a:pt x="274" y="5"/>
                  </a:lnTo>
                  <a:lnTo>
                    <a:pt x="278" y="3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283" y="0"/>
                  </a:lnTo>
                  <a:lnTo>
                    <a:pt x="282" y="0"/>
                  </a:lnTo>
                  <a:close/>
                </a:path>
              </a:pathLst>
            </a:custGeom>
            <a:solidFill>
              <a:srgbClr val="EFF3FF"/>
            </a:solidFill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100">
              <a:extLst>
                <a:ext uri="{FF2B5EF4-FFF2-40B4-BE49-F238E27FC236}">
                  <a16:creationId xmlns:a16="http://schemas.microsoft.com/office/drawing/2014/main" id="{74F80811-E6F3-9120-2522-8CBC71C60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1798" y="4524213"/>
              <a:ext cx="771525" cy="890588"/>
            </a:xfrm>
            <a:custGeom>
              <a:avLst/>
              <a:gdLst>
                <a:gd name="T0" fmla="*/ 124 w 486"/>
                <a:gd name="T1" fmla="*/ 32 h 561"/>
                <a:gd name="T2" fmla="*/ 141 w 486"/>
                <a:gd name="T3" fmla="*/ 45 h 561"/>
                <a:gd name="T4" fmla="*/ 177 w 486"/>
                <a:gd name="T5" fmla="*/ 42 h 561"/>
                <a:gd name="T6" fmla="*/ 246 w 486"/>
                <a:gd name="T7" fmla="*/ 40 h 561"/>
                <a:gd name="T8" fmla="*/ 264 w 486"/>
                <a:gd name="T9" fmla="*/ 18 h 561"/>
                <a:gd name="T10" fmla="*/ 291 w 486"/>
                <a:gd name="T11" fmla="*/ 0 h 561"/>
                <a:gd name="T12" fmla="*/ 319 w 486"/>
                <a:gd name="T13" fmla="*/ 6 h 561"/>
                <a:gd name="T14" fmla="*/ 346 w 486"/>
                <a:gd name="T15" fmla="*/ 27 h 561"/>
                <a:gd name="T16" fmla="*/ 362 w 486"/>
                <a:gd name="T17" fmla="*/ 47 h 561"/>
                <a:gd name="T18" fmla="*/ 395 w 486"/>
                <a:gd name="T19" fmla="*/ 47 h 561"/>
                <a:gd name="T20" fmla="*/ 428 w 486"/>
                <a:gd name="T21" fmla="*/ 35 h 561"/>
                <a:gd name="T22" fmla="*/ 431 w 486"/>
                <a:gd name="T23" fmla="*/ 17 h 561"/>
                <a:gd name="T24" fmla="*/ 459 w 486"/>
                <a:gd name="T25" fmla="*/ 27 h 561"/>
                <a:gd name="T26" fmla="*/ 485 w 486"/>
                <a:gd name="T27" fmla="*/ 50 h 561"/>
                <a:gd name="T28" fmla="*/ 470 w 486"/>
                <a:gd name="T29" fmla="*/ 82 h 561"/>
                <a:gd name="T30" fmla="*/ 473 w 486"/>
                <a:gd name="T31" fmla="*/ 117 h 561"/>
                <a:gd name="T32" fmla="*/ 485 w 486"/>
                <a:gd name="T33" fmla="*/ 145 h 561"/>
                <a:gd name="T34" fmla="*/ 479 w 486"/>
                <a:gd name="T35" fmla="*/ 184 h 561"/>
                <a:gd name="T36" fmla="*/ 469 w 486"/>
                <a:gd name="T37" fmla="*/ 213 h 561"/>
                <a:gd name="T38" fmla="*/ 471 w 486"/>
                <a:gd name="T39" fmla="*/ 252 h 561"/>
                <a:gd name="T40" fmla="*/ 463 w 486"/>
                <a:gd name="T41" fmla="*/ 281 h 561"/>
                <a:gd name="T42" fmla="*/ 444 w 486"/>
                <a:gd name="T43" fmla="*/ 302 h 561"/>
                <a:gd name="T44" fmla="*/ 421 w 486"/>
                <a:gd name="T45" fmla="*/ 332 h 561"/>
                <a:gd name="T46" fmla="*/ 411 w 486"/>
                <a:gd name="T47" fmla="*/ 327 h 561"/>
                <a:gd name="T48" fmla="*/ 396 w 486"/>
                <a:gd name="T49" fmla="*/ 345 h 561"/>
                <a:gd name="T50" fmla="*/ 369 w 486"/>
                <a:gd name="T51" fmla="*/ 361 h 561"/>
                <a:gd name="T52" fmla="*/ 364 w 486"/>
                <a:gd name="T53" fmla="*/ 391 h 561"/>
                <a:gd name="T54" fmla="*/ 376 w 486"/>
                <a:gd name="T55" fmla="*/ 441 h 561"/>
                <a:gd name="T56" fmla="*/ 380 w 486"/>
                <a:gd name="T57" fmla="*/ 459 h 561"/>
                <a:gd name="T58" fmla="*/ 341 w 486"/>
                <a:gd name="T59" fmla="*/ 449 h 561"/>
                <a:gd name="T60" fmla="*/ 328 w 486"/>
                <a:gd name="T61" fmla="*/ 460 h 561"/>
                <a:gd name="T62" fmla="*/ 333 w 486"/>
                <a:gd name="T63" fmla="*/ 504 h 561"/>
                <a:gd name="T64" fmla="*/ 321 w 486"/>
                <a:gd name="T65" fmla="*/ 532 h 561"/>
                <a:gd name="T66" fmla="*/ 305 w 486"/>
                <a:gd name="T67" fmla="*/ 561 h 561"/>
                <a:gd name="T68" fmla="*/ 254 w 486"/>
                <a:gd name="T69" fmla="*/ 555 h 561"/>
                <a:gd name="T70" fmla="*/ 229 w 486"/>
                <a:gd name="T71" fmla="*/ 536 h 561"/>
                <a:gd name="T72" fmla="*/ 204 w 486"/>
                <a:gd name="T73" fmla="*/ 515 h 561"/>
                <a:gd name="T74" fmla="*/ 169 w 486"/>
                <a:gd name="T75" fmla="*/ 505 h 561"/>
                <a:gd name="T76" fmla="*/ 148 w 486"/>
                <a:gd name="T77" fmla="*/ 487 h 561"/>
                <a:gd name="T78" fmla="*/ 124 w 486"/>
                <a:gd name="T79" fmla="*/ 447 h 561"/>
                <a:gd name="T80" fmla="*/ 100 w 486"/>
                <a:gd name="T81" fmla="*/ 416 h 561"/>
                <a:gd name="T82" fmla="*/ 89 w 486"/>
                <a:gd name="T83" fmla="*/ 379 h 561"/>
                <a:gd name="T84" fmla="*/ 54 w 486"/>
                <a:gd name="T85" fmla="*/ 328 h 561"/>
                <a:gd name="T86" fmla="*/ 55 w 486"/>
                <a:gd name="T87" fmla="*/ 288 h 561"/>
                <a:gd name="T88" fmla="*/ 67 w 486"/>
                <a:gd name="T89" fmla="*/ 257 h 561"/>
                <a:gd name="T90" fmla="*/ 68 w 486"/>
                <a:gd name="T91" fmla="*/ 235 h 561"/>
                <a:gd name="T92" fmla="*/ 54 w 486"/>
                <a:gd name="T93" fmla="*/ 217 h 561"/>
                <a:gd name="T94" fmla="*/ 50 w 486"/>
                <a:gd name="T95" fmla="*/ 187 h 561"/>
                <a:gd name="T96" fmla="*/ 43 w 486"/>
                <a:gd name="T97" fmla="*/ 167 h 561"/>
                <a:gd name="T98" fmla="*/ 63 w 486"/>
                <a:gd name="T99" fmla="*/ 150 h 561"/>
                <a:gd name="T100" fmla="*/ 68 w 486"/>
                <a:gd name="T101" fmla="*/ 132 h 561"/>
                <a:gd name="T102" fmla="*/ 52 w 486"/>
                <a:gd name="T103" fmla="*/ 120 h 561"/>
                <a:gd name="T104" fmla="*/ 52 w 486"/>
                <a:gd name="T105" fmla="*/ 110 h 561"/>
                <a:gd name="T106" fmla="*/ 33 w 486"/>
                <a:gd name="T107" fmla="*/ 97 h 561"/>
                <a:gd name="T108" fmla="*/ 3 w 486"/>
                <a:gd name="T109" fmla="*/ 85 h 561"/>
                <a:gd name="T110" fmla="*/ 12 w 486"/>
                <a:gd name="T111" fmla="*/ 70 h 561"/>
                <a:gd name="T112" fmla="*/ 42 w 486"/>
                <a:gd name="T113" fmla="*/ 63 h 561"/>
                <a:gd name="T114" fmla="*/ 59 w 486"/>
                <a:gd name="T115" fmla="*/ 54 h 561"/>
                <a:gd name="T116" fmla="*/ 73 w 486"/>
                <a:gd name="T117" fmla="*/ 30 h 561"/>
                <a:gd name="T118" fmla="*/ 108 w 486"/>
                <a:gd name="T119" fmla="*/ 5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86" h="561">
                  <a:moveTo>
                    <a:pt x="120" y="1"/>
                  </a:moveTo>
                  <a:lnTo>
                    <a:pt x="120" y="2"/>
                  </a:lnTo>
                  <a:lnTo>
                    <a:pt x="122" y="2"/>
                  </a:lnTo>
                  <a:lnTo>
                    <a:pt x="122" y="4"/>
                  </a:lnTo>
                  <a:lnTo>
                    <a:pt x="122" y="5"/>
                  </a:lnTo>
                  <a:lnTo>
                    <a:pt x="123" y="9"/>
                  </a:lnTo>
                  <a:lnTo>
                    <a:pt x="123" y="21"/>
                  </a:lnTo>
                  <a:lnTo>
                    <a:pt x="124" y="27"/>
                  </a:lnTo>
                  <a:lnTo>
                    <a:pt x="124" y="30"/>
                  </a:lnTo>
                  <a:lnTo>
                    <a:pt x="124" y="32"/>
                  </a:lnTo>
                  <a:lnTo>
                    <a:pt x="125" y="35"/>
                  </a:lnTo>
                  <a:lnTo>
                    <a:pt x="126" y="37"/>
                  </a:lnTo>
                  <a:lnTo>
                    <a:pt x="127" y="38"/>
                  </a:lnTo>
                  <a:lnTo>
                    <a:pt x="128" y="40"/>
                  </a:lnTo>
                  <a:lnTo>
                    <a:pt x="129" y="41"/>
                  </a:lnTo>
                  <a:lnTo>
                    <a:pt x="132" y="42"/>
                  </a:lnTo>
                  <a:lnTo>
                    <a:pt x="134" y="44"/>
                  </a:lnTo>
                  <a:lnTo>
                    <a:pt x="136" y="45"/>
                  </a:lnTo>
                  <a:lnTo>
                    <a:pt x="138" y="45"/>
                  </a:lnTo>
                  <a:lnTo>
                    <a:pt x="141" y="45"/>
                  </a:lnTo>
                  <a:lnTo>
                    <a:pt x="144" y="46"/>
                  </a:lnTo>
                  <a:lnTo>
                    <a:pt x="148" y="45"/>
                  </a:lnTo>
                  <a:lnTo>
                    <a:pt x="150" y="45"/>
                  </a:lnTo>
                  <a:lnTo>
                    <a:pt x="154" y="44"/>
                  </a:lnTo>
                  <a:lnTo>
                    <a:pt x="157" y="43"/>
                  </a:lnTo>
                  <a:lnTo>
                    <a:pt x="159" y="44"/>
                  </a:lnTo>
                  <a:lnTo>
                    <a:pt x="164" y="45"/>
                  </a:lnTo>
                  <a:lnTo>
                    <a:pt x="168" y="45"/>
                  </a:lnTo>
                  <a:lnTo>
                    <a:pt x="171" y="45"/>
                  </a:lnTo>
                  <a:lnTo>
                    <a:pt x="177" y="42"/>
                  </a:lnTo>
                  <a:lnTo>
                    <a:pt x="180" y="42"/>
                  </a:lnTo>
                  <a:lnTo>
                    <a:pt x="185" y="42"/>
                  </a:lnTo>
                  <a:lnTo>
                    <a:pt x="195" y="42"/>
                  </a:lnTo>
                  <a:lnTo>
                    <a:pt x="199" y="42"/>
                  </a:lnTo>
                  <a:lnTo>
                    <a:pt x="212" y="42"/>
                  </a:lnTo>
                  <a:lnTo>
                    <a:pt x="222" y="41"/>
                  </a:lnTo>
                  <a:lnTo>
                    <a:pt x="232" y="40"/>
                  </a:lnTo>
                  <a:lnTo>
                    <a:pt x="236" y="40"/>
                  </a:lnTo>
                  <a:lnTo>
                    <a:pt x="240" y="40"/>
                  </a:lnTo>
                  <a:lnTo>
                    <a:pt x="246" y="40"/>
                  </a:lnTo>
                  <a:lnTo>
                    <a:pt x="247" y="40"/>
                  </a:lnTo>
                  <a:lnTo>
                    <a:pt x="249" y="40"/>
                  </a:lnTo>
                  <a:lnTo>
                    <a:pt x="250" y="39"/>
                  </a:lnTo>
                  <a:lnTo>
                    <a:pt x="251" y="37"/>
                  </a:lnTo>
                  <a:lnTo>
                    <a:pt x="253" y="36"/>
                  </a:lnTo>
                  <a:lnTo>
                    <a:pt x="254" y="35"/>
                  </a:lnTo>
                  <a:lnTo>
                    <a:pt x="256" y="30"/>
                  </a:lnTo>
                  <a:lnTo>
                    <a:pt x="260" y="26"/>
                  </a:lnTo>
                  <a:lnTo>
                    <a:pt x="262" y="22"/>
                  </a:lnTo>
                  <a:lnTo>
                    <a:pt x="264" y="18"/>
                  </a:lnTo>
                  <a:lnTo>
                    <a:pt x="267" y="12"/>
                  </a:lnTo>
                  <a:lnTo>
                    <a:pt x="269" y="10"/>
                  </a:lnTo>
                  <a:lnTo>
                    <a:pt x="270" y="8"/>
                  </a:lnTo>
                  <a:lnTo>
                    <a:pt x="272" y="6"/>
                  </a:lnTo>
                  <a:lnTo>
                    <a:pt x="274" y="5"/>
                  </a:lnTo>
                  <a:lnTo>
                    <a:pt x="276" y="4"/>
                  </a:lnTo>
                  <a:lnTo>
                    <a:pt x="277" y="4"/>
                  </a:lnTo>
                  <a:lnTo>
                    <a:pt x="279" y="3"/>
                  </a:lnTo>
                  <a:lnTo>
                    <a:pt x="287" y="1"/>
                  </a:lnTo>
                  <a:lnTo>
                    <a:pt x="291" y="0"/>
                  </a:lnTo>
                  <a:lnTo>
                    <a:pt x="294" y="0"/>
                  </a:lnTo>
                  <a:lnTo>
                    <a:pt x="299" y="0"/>
                  </a:lnTo>
                  <a:lnTo>
                    <a:pt x="301" y="0"/>
                  </a:lnTo>
                  <a:lnTo>
                    <a:pt x="303" y="0"/>
                  </a:lnTo>
                  <a:lnTo>
                    <a:pt x="306" y="0"/>
                  </a:lnTo>
                  <a:lnTo>
                    <a:pt x="309" y="1"/>
                  </a:lnTo>
                  <a:lnTo>
                    <a:pt x="311" y="2"/>
                  </a:lnTo>
                  <a:lnTo>
                    <a:pt x="314" y="4"/>
                  </a:lnTo>
                  <a:lnTo>
                    <a:pt x="316" y="5"/>
                  </a:lnTo>
                  <a:lnTo>
                    <a:pt x="319" y="6"/>
                  </a:lnTo>
                  <a:lnTo>
                    <a:pt x="321" y="7"/>
                  </a:lnTo>
                  <a:lnTo>
                    <a:pt x="322" y="10"/>
                  </a:lnTo>
                  <a:lnTo>
                    <a:pt x="324" y="12"/>
                  </a:lnTo>
                  <a:lnTo>
                    <a:pt x="328" y="17"/>
                  </a:lnTo>
                  <a:lnTo>
                    <a:pt x="329" y="19"/>
                  </a:lnTo>
                  <a:lnTo>
                    <a:pt x="331" y="20"/>
                  </a:lnTo>
                  <a:lnTo>
                    <a:pt x="333" y="22"/>
                  </a:lnTo>
                  <a:lnTo>
                    <a:pt x="335" y="22"/>
                  </a:lnTo>
                  <a:lnTo>
                    <a:pt x="341" y="25"/>
                  </a:lnTo>
                  <a:lnTo>
                    <a:pt x="346" y="27"/>
                  </a:lnTo>
                  <a:lnTo>
                    <a:pt x="349" y="29"/>
                  </a:lnTo>
                  <a:lnTo>
                    <a:pt x="351" y="30"/>
                  </a:lnTo>
                  <a:lnTo>
                    <a:pt x="353" y="32"/>
                  </a:lnTo>
                  <a:lnTo>
                    <a:pt x="356" y="35"/>
                  </a:lnTo>
                  <a:lnTo>
                    <a:pt x="357" y="37"/>
                  </a:lnTo>
                  <a:lnTo>
                    <a:pt x="358" y="37"/>
                  </a:lnTo>
                  <a:lnTo>
                    <a:pt x="359" y="40"/>
                  </a:lnTo>
                  <a:lnTo>
                    <a:pt x="361" y="45"/>
                  </a:lnTo>
                  <a:lnTo>
                    <a:pt x="361" y="46"/>
                  </a:lnTo>
                  <a:lnTo>
                    <a:pt x="362" y="47"/>
                  </a:lnTo>
                  <a:lnTo>
                    <a:pt x="364" y="47"/>
                  </a:lnTo>
                  <a:lnTo>
                    <a:pt x="364" y="48"/>
                  </a:lnTo>
                  <a:lnTo>
                    <a:pt x="366" y="49"/>
                  </a:lnTo>
                  <a:lnTo>
                    <a:pt x="380" y="51"/>
                  </a:lnTo>
                  <a:lnTo>
                    <a:pt x="382" y="51"/>
                  </a:lnTo>
                  <a:lnTo>
                    <a:pt x="384" y="50"/>
                  </a:lnTo>
                  <a:lnTo>
                    <a:pt x="391" y="49"/>
                  </a:lnTo>
                  <a:lnTo>
                    <a:pt x="391" y="48"/>
                  </a:lnTo>
                  <a:lnTo>
                    <a:pt x="393" y="48"/>
                  </a:lnTo>
                  <a:lnTo>
                    <a:pt x="395" y="47"/>
                  </a:lnTo>
                  <a:lnTo>
                    <a:pt x="404" y="40"/>
                  </a:lnTo>
                  <a:lnTo>
                    <a:pt x="406" y="39"/>
                  </a:lnTo>
                  <a:lnTo>
                    <a:pt x="409" y="37"/>
                  </a:lnTo>
                  <a:lnTo>
                    <a:pt x="412" y="36"/>
                  </a:lnTo>
                  <a:lnTo>
                    <a:pt x="415" y="35"/>
                  </a:lnTo>
                  <a:lnTo>
                    <a:pt x="418" y="35"/>
                  </a:lnTo>
                  <a:lnTo>
                    <a:pt x="421" y="35"/>
                  </a:lnTo>
                  <a:lnTo>
                    <a:pt x="426" y="35"/>
                  </a:lnTo>
                  <a:lnTo>
                    <a:pt x="427" y="35"/>
                  </a:lnTo>
                  <a:lnTo>
                    <a:pt x="428" y="35"/>
                  </a:lnTo>
                  <a:lnTo>
                    <a:pt x="429" y="35"/>
                  </a:lnTo>
                  <a:lnTo>
                    <a:pt x="429" y="34"/>
                  </a:lnTo>
                  <a:lnTo>
                    <a:pt x="429" y="33"/>
                  </a:lnTo>
                  <a:lnTo>
                    <a:pt x="429" y="32"/>
                  </a:lnTo>
                  <a:lnTo>
                    <a:pt x="429" y="29"/>
                  </a:lnTo>
                  <a:lnTo>
                    <a:pt x="429" y="22"/>
                  </a:lnTo>
                  <a:lnTo>
                    <a:pt x="429" y="20"/>
                  </a:lnTo>
                  <a:lnTo>
                    <a:pt x="430" y="20"/>
                  </a:lnTo>
                  <a:lnTo>
                    <a:pt x="431" y="18"/>
                  </a:lnTo>
                  <a:lnTo>
                    <a:pt x="431" y="17"/>
                  </a:lnTo>
                  <a:lnTo>
                    <a:pt x="433" y="17"/>
                  </a:lnTo>
                  <a:lnTo>
                    <a:pt x="434" y="16"/>
                  </a:lnTo>
                  <a:lnTo>
                    <a:pt x="435" y="16"/>
                  </a:lnTo>
                  <a:lnTo>
                    <a:pt x="436" y="17"/>
                  </a:lnTo>
                  <a:lnTo>
                    <a:pt x="439" y="17"/>
                  </a:lnTo>
                  <a:lnTo>
                    <a:pt x="441" y="19"/>
                  </a:lnTo>
                  <a:lnTo>
                    <a:pt x="446" y="22"/>
                  </a:lnTo>
                  <a:lnTo>
                    <a:pt x="449" y="24"/>
                  </a:lnTo>
                  <a:lnTo>
                    <a:pt x="456" y="27"/>
                  </a:lnTo>
                  <a:lnTo>
                    <a:pt x="459" y="27"/>
                  </a:lnTo>
                  <a:lnTo>
                    <a:pt x="461" y="29"/>
                  </a:lnTo>
                  <a:lnTo>
                    <a:pt x="463" y="30"/>
                  </a:lnTo>
                  <a:lnTo>
                    <a:pt x="466" y="33"/>
                  </a:lnTo>
                  <a:lnTo>
                    <a:pt x="473" y="37"/>
                  </a:lnTo>
                  <a:lnTo>
                    <a:pt x="480" y="44"/>
                  </a:lnTo>
                  <a:lnTo>
                    <a:pt x="484" y="47"/>
                  </a:lnTo>
                  <a:lnTo>
                    <a:pt x="484" y="47"/>
                  </a:lnTo>
                  <a:lnTo>
                    <a:pt x="485" y="48"/>
                  </a:lnTo>
                  <a:lnTo>
                    <a:pt x="485" y="49"/>
                  </a:lnTo>
                  <a:lnTo>
                    <a:pt x="485" y="50"/>
                  </a:lnTo>
                  <a:lnTo>
                    <a:pt x="484" y="53"/>
                  </a:lnTo>
                  <a:lnTo>
                    <a:pt x="483" y="55"/>
                  </a:lnTo>
                  <a:lnTo>
                    <a:pt x="482" y="59"/>
                  </a:lnTo>
                  <a:lnTo>
                    <a:pt x="478" y="65"/>
                  </a:lnTo>
                  <a:lnTo>
                    <a:pt x="476" y="70"/>
                  </a:lnTo>
                  <a:lnTo>
                    <a:pt x="473" y="74"/>
                  </a:lnTo>
                  <a:lnTo>
                    <a:pt x="471" y="76"/>
                  </a:lnTo>
                  <a:lnTo>
                    <a:pt x="471" y="78"/>
                  </a:lnTo>
                  <a:lnTo>
                    <a:pt x="470" y="80"/>
                  </a:lnTo>
                  <a:lnTo>
                    <a:pt x="470" y="82"/>
                  </a:lnTo>
                  <a:lnTo>
                    <a:pt x="469" y="85"/>
                  </a:lnTo>
                  <a:lnTo>
                    <a:pt x="470" y="86"/>
                  </a:lnTo>
                  <a:lnTo>
                    <a:pt x="470" y="88"/>
                  </a:lnTo>
                  <a:lnTo>
                    <a:pt x="471" y="95"/>
                  </a:lnTo>
                  <a:lnTo>
                    <a:pt x="472" y="97"/>
                  </a:lnTo>
                  <a:lnTo>
                    <a:pt x="472" y="102"/>
                  </a:lnTo>
                  <a:lnTo>
                    <a:pt x="471" y="109"/>
                  </a:lnTo>
                  <a:lnTo>
                    <a:pt x="472" y="113"/>
                  </a:lnTo>
                  <a:lnTo>
                    <a:pt x="473" y="116"/>
                  </a:lnTo>
                  <a:lnTo>
                    <a:pt x="473" y="117"/>
                  </a:lnTo>
                  <a:lnTo>
                    <a:pt x="474" y="120"/>
                  </a:lnTo>
                  <a:lnTo>
                    <a:pt x="476" y="123"/>
                  </a:lnTo>
                  <a:lnTo>
                    <a:pt x="478" y="125"/>
                  </a:lnTo>
                  <a:lnTo>
                    <a:pt x="482" y="131"/>
                  </a:lnTo>
                  <a:lnTo>
                    <a:pt x="483" y="133"/>
                  </a:lnTo>
                  <a:lnTo>
                    <a:pt x="485" y="136"/>
                  </a:lnTo>
                  <a:lnTo>
                    <a:pt x="486" y="138"/>
                  </a:lnTo>
                  <a:lnTo>
                    <a:pt x="486" y="140"/>
                  </a:lnTo>
                  <a:lnTo>
                    <a:pt x="486" y="142"/>
                  </a:lnTo>
                  <a:lnTo>
                    <a:pt x="485" y="145"/>
                  </a:lnTo>
                  <a:lnTo>
                    <a:pt x="484" y="149"/>
                  </a:lnTo>
                  <a:lnTo>
                    <a:pt x="483" y="151"/>
                  </a:lnTo>
                  <a:lnTo>
                    <a:pt x="483" y="154"/>
                  </a:lnTo>
                  <a:lnTo>
                    <a:pt x="483" y="161"/>
                  </a:lnTo>
                  <a:lnTo>
                    <a:pt x="483" y="165"/>
                  </a:lnTo>
                  <a:lnTo>
                    <a:pt x="483" y="167"/>
                  </a:lnTo>
                  <a:lnTo>
                    <a:pt x="481" y="173"/>
                  </a:lnTo>
                  <a:lnTo>
                    <a:pt x="481" y="177"/>
                  </a:lnTo>
                  <a:lnTo>
                    <a:pt x="480" y="179"/>
                  </a:lnTo>
                  <a:lnTo>
                    <a:pt x="479" y="184"/>
                  </a:lnTo>
                  <a:lnTo>
                    <a:pt x="479" y="192"/>
                  </a:lnTo>
                  <a:lnTo>
                    <a:pt x="479" y="196"/>
                  </a:lnTo>
                  <a:lnTo>
                    <a:pt x="478" y="200"/>
                  </a:lnTo>
                  <a:lnTo>
                    <a:pt x="478" y="202"/>
                  </a:lnTo>
                  <a:lnTo>
                    <a:pt x="476" y="205"/>
                  </a:lnTo>
                  <a:lnTo>
                    <a:pt x="475" y="207"/>
                  </a:lnTo>
                  <a:lnTo>
                    <a:pt x="474" y="209"/>
                  </a:lnTo>
                  <a:lnTo>
                    <a:pt x="473" y="210"/>
                  </a:lnTo>
                  <a:lnTo>
                    <a:pt x="471" y="212"/>
                  </a:lnTo>
                  <a:lnTo>
                    <a:pt x="469" y="213"/>
                  </a:lnTo>
                  <a:lnTo>
                    <a:pt x="462" y="217"/>
                  </a:lnTo>
                  <a:lnTo>
                    <a:pt x="461" y="218"/>
                  </a:lnTo>
                  <a:lnTo>
                    <a:pt x="461" y="219"/>
                  </a:lnTo>
                  <a:lnTo>
                    <a:pt x="461" y="220"/>
                  </a:lnTo>
                  <a:lnTo>
                    <a:pt x="461" y="222"/>
                  </a:lnTo>
                  <a:lnTo>
                    <a:pt x="461" y="224"/>
                  </a:lnTo>
                  <a:lnTo>
                    <a:pt x="466" y="235"/>
                  </a:lnTo>
                  <a:lnTo>
                    <a:pt x="467" y="239"/>
                  </a:lnTo>
                  <a:lnTo>
                    <a:pt x="470" y="247"/>
                  </a:lnTo>
                  <a:lnTo>
                    <a:pt x="471" y="252"/>
                  </a:lnTo>
                  <a:lnTo>
                    <a:pt x="471" y="257"/>
                  </a:lnTo>
                  <a:lnTo>
                    <a:pt x="471" y="261"/>
                  </a:lnTo>
                  <a:lnTo>
                    <a:pt x="471" y="266"/>
                  </a:lnTo>
                  <a:lnTo>
                    <a:pt x="471" y="270"/>
                  </a:lnTo>
                  <a:lnTo>
                    <a:pt x="470" y="272"/>
                  </a:lnTo>
                  <a:lnTo>
                    <a:pt x="469" y="275"/>
                  </a:lnTo>
                  <a:lnTo>
                    <a:pt x="467" y="278"/>
                  </a:lnTo>
                  <a:lnTo>
                    <a:pt x="465" y="279"/>
                  </a:lnTo>
                  <a:lnTo>
                    <a:pt x="464" y="280"/>
                  </a:lnTo>
                  <a:lnTo>
                    <a:pt x="463" y="281"/>
                  </a:lnTo>
                  <a:lnTo>
                    <a:pt x="458" y="282"/>
                  </a:lnTo>
                  <a:lnTo>
                    <a:pt x="455" y="284"/>
                  </a:lnTo>
                  <a:lnTo>
                    <a:pt x="453" y="285"/>
                  </a:lnTo>
                  <a:lnTo>
                    <a:pt x="451" y="286"/>
                  </a:lnTo>
                  <a:lnTo>
                    <a:pt x="450" y="287"/>
                  </a:lnTo>
                  <a:lnTo>
                    <a:pt x="449" y="288"/>
                  </a:lnTo>
                  <a:lnTo>
                    <a:pt x="447" y="290"/>
                  </a:lnTo>
                  <a:lnTo>
                    <a:pt x="446" y="293"/>
                  </a:lnTo>
                  <a:lnTo>
                    <a:pt x="445" y="297"/>
                  </a:lnTo>
                  <a:lnTo>
                    <a:pt x="444" y="302"/>
                  </a:lnTo>
                  <a:lnTo>
                    <a:pt x="444" y="304"/>
                  </a:lnTo>
                  <a:lnTo>
                    <a:pt x="443" y="307"/>
                  </a:lnTo>
                  <a:lnTo>
                    <a:pt x="441" y="309"/>
                  </a:lnTo>
                  <a:lnTo>
                    <a:pt x="438" y="314"/>
                  </a:lnTo>
                  <a:lnTo>
                    <a:pt x="432" y="321"/>
                  </a:lnTo>
                  <a:lnTo>
                    <a:pt x="429" y="325"/>
                  </a:lnTo>
                  <a:lnTo>
                    <a:pt x="426" y="328"/>
                  </a:lnTo>
                  <a:lnTo>
                    <a:pt x="424" y="330"/>
                  </a:lnTo>
                  <a:lnTo>
                    <a:pt x="421" y="331"/>
                  </a:lnTo>
                  <a:lnTo>
                    <a:pt x="421" y="332"/>
                  </a:lnTo>
                  <a:lnTo>
                    <a:pt x="420" y="332"/>
                  </a:lnTo>
                  <a:lnTo>
                    <a:pt x="419" y="332"/>
                  </a:lnTo>
                  <a:lnTo>
                    <a:pt x="419" y="330"/>
                  </a:lnTo>
                  <a:lnTo>
                    <a:pt x="417" y="330"/>
                  </a:lnTo>
                  <a:lnTo>
                    <a:pt x="417" y="331"/>
                  </a:lnTo>
                  <a:lnTo>
                    <a:pt x="414" y="330"/>
                  </a:lnTo>
                  <a:lnTo>
                    <a:pt x="412" y="329"/>
                  </a:lnTo>
                  <a:lnTo>
                    <a:pt x="411" y="329"/>
                  </a:lnTo>
                  <a:lnTo>
                    <a:pt x="411" y="328"/>
                  </a:lnTo>
                  <a:lnTo>
                    <a:pt x="411" y="327"/>
                  </a:lnTo>
                  <a:lnTo>
                    <a:pt x="411" y="327"/>
                  </a:lnTo>
                  <a:lnTo>
                    <a:pt x="410" y="327"/>
                  </a:lnTo>
                  <a:lnTo>
                    <a:pt x="409" y="327"/>
                  </a:lnTo>
                  <a:lnTo>
                    <a:pt x="409" y="327"/>
                  </a:lnTo>
                  <a:lnTo>
                    <a:pt x="408" y="327"/>
                  </a:lnTo>
                  <a:lnTo>
                    <a:pt x="406" y="329"/>
                  </a:lnTo>
                  <a:lnTo>
                    <a:pt x="405" y="330"/>
                  </a:lnTo>
                  <a:lnTo>
                    <a:pt x="403" y="334"/>
                  </a:lnTo>
                  <a:lnTo>
                    <a:pt x="400" y="340"/>
                  </a:lnTo>
                  <a:lnTo>
                    <a:pt x="396" y="345"/>
                  </a:lnTo>
                  <a:lnTo>
                    <a:pt x="394" y="349"/>
                  </a:lnTo>
                  <a:lnTo>
                    <a:pt x="393" y="351"/>
                  </a:lnTo>
                  <a:lnTo>
                    <a:pt x="391" y="352"/>
                  </a:lnTo>
                  <a:lnTo>
                    <a:pt x="390" y="352"/>
                  </a:lnTo>
                  <a:lnTo>
                    <a:pt x="388" y="354"/>
                  </a:lnTo>
                  <a:lnTo>
                    <a:pt x="386" y="354"/>
                  </a:lnTo>
                  <a:lnTo>
                    <a:pt x="379" y="356"/>
                  </a:lnTo>
                  <a:lnTo>
                    <a:pt x="376" y="357"/>
                  </a:lnTo>
                  <a:lnTo>
                    <a:pt x="372" y="359"/>
                  </a:lnTo>
                  <a:lnTo>
                    <a:pt x="369" y="361"/>
                  </a:lnTo>
                  <a:lnTo>
                    <a:pt x="366" y="362"/>
                  </a:lnTo>
                  <a:lnTo>
                    <a:pt x="365" y="363"/>
                  </a:lnTo>
                  <a:lnTo>
                    <a:pt x="364" y="364"/>
                  </a:lnTo>
                  <a:lnTo>
                    <a:pt x="364" y="365"/>
                  </a:lnTo>
                  <a:lnTo>
                    <a:pt x="363" y="367"/>
                  </a:lnTo>
                  <a:lnTo>
                    <a:pt x="362" y="368"/>
                  </a:lnTo>
                  <a:lnTo>
                    <a:pt x="362" y="369"/>
                  </a:lnTo>
                  <a:lnTo>
                    <a:pt x="362" y="372"/>
                  </a:lnTo>
                  <a:lnTo>
                    <a:pt x="362" y="377"/>
                  </a:lnTo>
                  <a:lnTo>
                    <a:pt x="364" y="391"/>
                  </a:lnTo>
                  <a:lnTo>
                    <a:pt x="364" y="401"/>
                  </a:lnTo>
                  <a:lnTo>
                    <a:pt x="365" y="405"/>
                  </a:lnTo>
                  <a:lnTo>
                    <a:pt x="366" y="411"/>
                  </a:lnTo>
                  <a:lnTo>
                    <a:pt x="366" y="415"/>
                  </a:lnTo>
                  <a:lnTo>
                    <a:pt x="367" y="419"/>
                  </a:lnTo>
                  <a:lnTo>
                    <a:pt x="369" y="423"/>
                  </a:lnTo>
                  <a:lnTo>
                    <a:pt x="371" y="428"/>
                  </a:lnTo>
                  <a:lnTo>
                    <a:pt x="372" y="433"/>
                  </a:lnTo>
                  <a:lnTo>
                    <a:pt x="375" y="438"/>
                  </a:lnTo>
                  <a:lnTo>
                    <a:pt x="376" y="441"/>
                  </a:lnTo>
                  <a:lnTo>
                    <a:pt x="381" y="447"/>
                  </a:lnTo>
                  <a:lnTo>
                    <a:pt x="382" y="451"/>
                  </a:lnTo>
                  <a:lnTo>
                    <a:pt x="383" y="452"/>
                  </a:lnTo>
                  <a:lnTo>
                    <a:pt x="383" y="454"/>
                  </a:lnTo>
                  <a:lnTo>
                    <a:pt x="383" y="455"/>
                  </a:lnTo>
                  <a:lnTo>
                    <a:pt x="382" y="457"/>
                  </a:lnTo>
                  <a:lnTo>
                    <a:pt x="382" y="457"/>
                  </a:lnTo>
                  <a:lnTo>
                    <a:pt x="381" y="458"/>
                  </a:lnTo>
                  <a:lnTo>
                    <a:pt x="381" y="458"/>
                  </a:lnTo>
                  <a:lnTo>
                    <a:pt x="380" y="459"/>
                  </a:lnTo>
                  <a:lnTo>
                    <a:pt x="379" y="459"/>
                  </a:lnTo>
                  <a:lnTo>
                    <a:pt x="377" y="459"/>
                  </a:lnTo>
                  <a:lnTo>
                    <a:pt x="374" y="459"/>
                  </a:lnTo>
                  <a:lnTo>
                    <a:pt x="371" y="457"/>
                  </a:lnTo>
                  <a:lnTo>
                    <a:pt x="363" y="455"/>
                  </a:lnTo>
                  <a:lnTo>
                    <a:pt x="353" y="451"/>
                  </a:lnTo>
                  <a:lnTo>
                    <a:pt x="349" y="450"/>
                  </a:lnTo>
                  <a:lnTo>
                    <a:pt x="346" y="449"/>
                  </a:lnTo>
                  <a:lnTo>
                    <a:pt x="344" y="449"/>
                  </a:lnTo>
                  <a:lnTo>
                    <a:pt x="341" y="449"/>
                  </a:lnTo>
                  <a:lnTo>
                    <a:pt x="339" y="449"/>
                  </a:lnTo>
                  <a:lnTo>
                    <a:pt x="337" y="449"/>
                  </a:lnTo>
                  <a:lnTo>
                    <a:pt x="336" y="450"/>
                  </a:lnTo>
                  <a:lnTo>
                    <a:pt x="334" y="451"/>
                  </a:lnTo>
                  <a:lnTo>
                    <a:pt x="333" y="452"/>
                  </a:lnTo>
                  <a:lnTo>
                    <a:pt x="331" y="453"/>
                  </a:lnTo>
                  <a:lnTo>
                    <a:pt x="331" y="454"/>
                  </a:lnTo>
                  <a:lnTo>
                    <a:pt x="329" y="456"/>
                  </a:lnTo>
                  <a:lnTo>
                    <a:pt x="329" y="457"/>
                  </a:lnTo>
                  <a:lnTo>
                    <a:pt x="328" y="460"/>
                  </a:lnTo>
                  <a:lnTo>
                    <a:pt x="328" y="462"/>
                  </a:lnTo>
                  <a:lnTo>
                    <a:pt x="327" y="464"/>
                  </a:lnTo>
                  <a:lnTo>
                    <a:pt x="327" y="467"/>
                  </a:lnTo>
                  <a:lnTo>
                    <a:pt x="327" y="470"/>
                  </a:lnTo>
                  <a:lnTo>
                    <a:pt x="327" y="473"/>
                  </a:lnTo>
                  <a:lnTo>
                    <a:pt x="328" y="480"/>
                  </a:lnTo>
                  <a:lnTo>
                    <a:pt x="329" y="487"/>
                  </a:lnTo>
                  <a:lnTo>
                    <a:pt x="330" y="492"/>
                  </a:lnTo>
                  <a:lnTo>
                    <a:pt x="332" y="501"/>
                  </a:lnTo>
                  <a:lnTo>
                    <a:pt x="333" y="504"/>
                  </a:lnTo>
                  <a:lnTo>
                    <a:pt x="334" y="506"/>
                  </a:lnTo>
                  <a:lnTo>
                    <a:pt x="334" y="509"/>
                  </a:lnTo>
                  <a:lnTo>
                    <a:pt x="334" y="510"/>
                  </a:lnTo>
                  <a:lnTo>
                    <a:pt x="333" y="512"/>
                  </a:lnTo>
                  <a:lnTo>
                    <a:pt x="332" y="514"/>
                  </a:lnTo>
                  <a:lnTo>
                    <a:pt x="332" y="516"/>
                  </a:lnTo>
                  <a:lnTo>
                    <a:pt x="331" y="517"/>
                  </a:lnTo>
                  <a:lnTo>
                    <a:pt x="330" y="519"/>
                  </a:lnTo>
                  <a:lnTo>
                    <a:pt x="325" y="526"/>
                  </a:lnTo>
                  <a:lnTo>
                    <a:pt x="321" y="532"/>
                  </a:lnTo>
                  <a:lnTo>
                    <a:pt x="314" y="542"/>
                  </a:lnTo>
                  <a:lnTo>
                    <a:pt x="311" y="545"/>
                  </a:lnTo>
                  <a:lnTo>
                    <a:pt x="310" y="548"/>
                  </a:lnTo>
                  <a:lnTo>
                    <a:pt x="309" y="551"/>
                  </a:lnTo>
                  <a:lnTo>
                    <a:pt x="306" y="555"/>
                  </a:lnTo>
                  <a:lnTo>
                    <a:pt x="306" y="556"/>
                  </a:lnTo>
                  <a:lnTo>
                    <a:pt x="306" y="559"/>
                  </a:lnTo>
                  <a:lnTo>
                    <a:pt x="306" y="560"/>
                  </a:lnTo>
                  <a:lnTo>
                    <a:pt x="306" y="561"/>
                  </a:lnTo>
                  <a:lnTo>
                    <a:pt x="305" y="561"/>
                  </a:lnTo>
                  <a:lnTo>
                    <a:pt x="304" y="561"/>
                  </a:lnTo>
                  <a:lnTo>
                    <a:pt x="301" y="561"/>
                  </a:lnTo>
                  <a:lnTo>
                    <a:pt x="298" y="560"/>
                  </a:lnTo>
                  <a:lnTo>
                    <a:pt x="288" y="559"/>
                  </a:lnTo>
                  <a:lnTo>
                    <a:pt x="283" y="558"/>
                  </a:lnTo>
                  <a:lnTo>
                    <a:pt x="279" y="557"/>
                  </a:lnTo>
                  <a:lnTo>
                    <a:pt x="274" y="556"/>
                  </a:lnTo>
                  <a:lnTo>
                    <a:pt x="263" y="556"/>
                  </a:lnTo>
                  <a:lnTo>
                    <a:pt x="259" y="556"/>
                  </a:lnTo>
                  <a:lnTo>
                    <a:pt x="254" y="555"/>
                  </a:lnTo>
                  <a:lnTo>
                    <a:pt x="249" y="554"/>
                  </a:lnTo>
                  <a:lnTo>
                    <a:pt x="244" y="552"/>
                  </a:lnTo>
                  <a:lnTo>
                    <a:pt x="241" y="551"/>
                  </a:lnTo>
                  <a:lnTo>
                    <a:pt x="239" y="550"/>
                  </a:lnTo>
                  <a:lnTo>
                    <a:pt x="237" y="549"/>
                  </a:lnTo>
                  <a:lnTo>
                    <a:pt x="236" y="546"/>
                  </a:lnTo>
                  <a:lnTo>
                    <a:pt x="232" y="541"/>
                  </a:lnTo>
                  <a:lnTo>
                    <a:pt x="232" y="539"/>
                  </a:lnTo>
                  <a:lnTo>
                    <a:pt x="230" y="538"/>
                  </a:lnTo>
                  <a:lnTo>
                    <a:pt x="229" y="536"/>
                  </a:lnTo>
                  <a:lnTo>
                    <a:pt x="227" y="536"/>
                  </a:lnTo>
                  <a:lnTo>
                    <a:pt x="217" y="533"/>
                  </a:lnTo>
                  <a:lnTo>
                    <a:pt x="215" y="532"/>
                  </a:lnTo>
                  <a:lnTo>
                    <a:pt x="212" y="531"/>
                  </a:lnTo>
                  <a:lnTo>
                    <a:pt x="210" y="529"/>
                  </a:lnTo>
                  <a:lnTo>
                    <a:pt x="209" y="527"/>
                  </a:lnTo>
                  <a:lnTo>
                    <a:pt x="207" y="525"/>
                  </a:lnTo>
                  <a:lnTo>
                    <a:pt x="207" y="523"/>
                  </a:lnTo>
                  <a:lnTo>
                    <a:pt x="205" y="517"/>
                  </a:lnTo>
                  <a:lnTo>
                    <a:pt x="204" y="515"/>
                  </a:lnTo>
                  <a:lnTo>
                    <a:pt x="204" y="513"/>
                  </a:lnTo>
                  <a:lnTo>
                    <a:pt x="203" y="512"/>
                  </a:lnTo>
                  <a:lnTo>
                    <a:pt x="202" y="511"/>
                  </a:lnTo>
                  <a:lnTo>
                    <a:pt x="201" y="511"/>
                  </a:lnTo>
                  <a:lnTo>
                    <a:pt x="199" y="510"/>
                  </a:lnTo>
                  <a:lnTo>
                    <a:pt x="197" y="510"/>
                  </a:lnTo>
                  <a:lnTo>
                    <a:pt x="191" y="509"/>
                  </a:lnTo>
                  <a:lnTo>
                    <a:pt x="188" y="509"/>
                  </a:lnTo>
                  <a:lnTo>
                    <a:pt x="180" y="507"/>
                  </a:lnTo>
                  <a:lnTo>
                    <a:pt x="169" y="505"/>
                  </a:lnTo>
                  <a:lnTo>
                    <a:pt x="165" y="504"/>
                  </a:lnTo>
                  <a:lnTo>
                    <a:pt x="163" y="503"/>
                  </a:lnTo>
                  <a:lnTo>
                    <a:pt x="162" y="502"/>
                  </a:lnTo>
                  <a:lnTo>
                    <a:pt x="159" y="501"/>
                  </a:lnTo>
                  <a:lnTo>
                    <a:pt x="158" y="500"/>
                  </a:lnTo>
                  <a:lnTo>
                    <a:pt x="157" y="499"/>
                  </a:lnTo>
                  <a:lnTo>
                    <a:pt x="156" y="497"/>
                  </a:lnTo>
                  <a:lnTo>
                    <a:pt x="152" y="492"/>
                  </a:lnTo>
                  <a:lnTo>
                    <a:pt x="150" y="489"/>
                  </a:lnTo>
                  <a:lnTo>
                    <a:pt x="148" y="487"/>
                  </a:lnTo>
                  <a:lnTo>
                    <a:pt x="143" y="483"/>
                  </a:lnTo>
                  <a:lnTo>
                    <a:pt x="138" y="479"/>
                  </a:lnTo>
                  <a:lnTo>
                    <a:pt x="136" y="477"/>
                  </a:lnTo>
                  <a:lnTo>
                    <a:pt x="134" y="474"/>
                  </a:lnTo>
                  <a:lnTo>
                    <a:pt x="132" y="471"/>
                  </a:lnTo>
                  <a:lnTo>
                    <a:pt x="130" y="467"/>
                  </a:lnTo>
                  <a:lnTo>
                    <a:pt x="129" y="463"/>
                  </a:lnTo>
                  <a:lnTo>
                    <a:pt x="127" y="455"/>
                  </a:lnTo>
                  <a:lnTo>
                    <a:pt x="125" y="452"/>
                  </a:lnTo>
                  <a:lnTo>
                    <a:pt x="124" y="447"/>
                  </a:lnTo>
                  <a:lnTo>
                    <a:pt x="121" y="443"/>
                  </a:lnTo>
                  <a:lnTo>
                    <a:pt x="119" y="439"/>
                  </a:lnTo>
                  <a:lnTo>
                    <a:pt x="114" y="432"/>
                  </a:lnTo>
                  <a:lnTo>
                    <a:pt x="112" y="430"/>
                  </a:lnTo>
                  <a:lnTo>
                    <a:pt x="107" y="426"/>
                  </a:lnTo>
                  <a:lnTo>
                    <a:pt x="105" y="424"/>
                  </a:lnTo>
                  <a:lnTo>
                    <a:pt x="104" y="422"/>
                  </a:lnTo>
                  <a:lnTo>
                    <a:pt x="102" y="420"/>
                  </a:lnTo>
                  <a:lnTo>
                    <a:pt x="101" y="417"/>
                  </a:lnTo>
                  <a:lnTo>
                    <a:pt x="100" y="416"/>
                  </a:lnTo>
                  <a:lnTo>
                    <a:pt x="99" y="414"/>
                  </a:lnTo>
                  <a:lnTo>
                    <a:pt x="99" y="412"/>
                  </a:lnTo>
                  <a:lnTo>
                    <a:pt x="99" y="410"/>
                  </a:lnTo>
                  <a:lnTo>
                    <a:pt x="99" y="407"/>
                  </a:lnTo>
                  <a:lnTo>
                    <a:pt x="98" y="404"/>
                  </a:lnTo>
                  <a:lnTo>
                    <a:pt x="97" y="402"/>
                  </a:lnTo>
                  <a:lnTo>
                    <a:pt x="97" y="399"/>
                  </a:lnTo>
                  <a:lnTo>
                    <a:pt x="94" y="392"/>
                  </a:lnTo>
                  <a:lnTo>
                    <a:pt x="92" y="384"/>
                  </a:lnTo>
                  <a:lnTo>
                    <a:pt x="89" y="379"/>
                  </a:lnTo>
                  <a:lnTo>
                    <a:pt x="87" y="374"/>
                  </a:lnTo>
                  <a:lnTo>
                    <a:pt x="79" y="361"/>
                  </a:lnTo>
                  <a:lnTo>
                    <a:pt x="77" y="357"/>
                  </a:lnTo>
                  <a:lnTo>
                    <a:pt x="75" y="353"/>
                  </a:lnTo>
                  <a:lnTo>
                    <a:pt x="72" y="349"/>
                  </a:lnTo>
                  <a:lnTo>
                    <a:pt x="69" y="345"/>
                  </a:lnTo>
                  <a:lnTo>
                    <a:pt x="64" y="339"/>
                  </a:lnTo>
                  <a:lnTo>
                    <a:pt x="57" y="332"/>
                  </a:lnTo>
                  <a:lnTo>
                    <a:pt x="55" y="330"/>
                  </a:lnTo>
                  <a:lnTo>
                    <a:pt x="54" y="328"/>
                  </a:lnTo>
                  <a:lnTo>
                    <a:pt x="53" y="326"/>
                  </a:lnTo>
                  <a:lnTo>
                    <a:pt x="52" y="324"/>
                  </a:lnTo>
                  <a:lnTo>
                    <a:pt x="51" y="322"/>
                  </a:lnTo>
                  <a:lnTo>
                    <a:pt x="51" y="320"/>
                  </a:lnTo>
                  <a:lnTo>
                    <a:pt x="50" y="317"/>
                  </a:lnTo>
                  <a:lnTo>
                    <a:pt x="50" y="313"/>
                  </a:lnTo>
                  <a:lnTo>
                    <a:pt x="52" y="306"/>
                  </a:lnTo>
                  <a:lnTo>
                    <a:pt x="53" y="295"/>
                  </a:lnTo>
                  <a:lnTo>
                    <a:pt x="54" y="292"/>
                  </a:lnTo>
                  <a:lnTo>
                    <a:pt x="55" y="288"/>
                  </a:lnTo>
                  <a:lnTo>
                    <a:pt x="58" y="280"/>
                  </a:lnTo>
                  <a:lnTo>
                    <a:pt x="59" y="277"/>
                  </a:lnTo>
                  <a:lnTo>
                    <a:pt x="60" y="274"/>
                  </a:lnTo>
                  <a:lnTo>
                    <a:pt x="61" y="269"/>
                  </a:lnTo>
                  <a:lnTo>
                    <a:pt x="61" y="267"/>
                  </a:lnTo>
                  <a:lnTo>
                    <a:pt x="62" y="264"/>
                  </a:lnTo>
                  <a:lnTo>
                    <a:pt x="65" y="260"/>
                  </a:lnTo>
                  <a:lnTo>
                    <a:pt x="66" y="259"/>
                  </a:lnTo>
                  <a:lnTo>
                    <a:pt x="66" y="258"/>
                  </a:lnTo>
                  <a:lnTo>
                    <a:pt x="67" y="257"/>
                  </a:lnTo>
                  <a:lnTo>
                    <a:pt x="67" y="255"/>
                  </a:lnTo>
                  <a:lnTo>
                    <a:pt x="67" y="253"/>
                  </a:lnTo>
                  <a:lnTo>
                    <a:pt x="66" y="249"/>
                  </a:lnTo>
                  <a:lnTo>
                    <a:pt x="66" y="247"/>
                  </a:lnTo>
                  <a:lnTo>
                    <a:pt x="67" y="245"/>
                  </a:lnTo>
                  <a:lnTo>
                    <a:pt x="68" y="240"/>
                  </a:lnTo>
                  <a:lnTo>
                    <a:pt x="69" y="239"/>
                  </a:lnTo>
                  <a:lnTo>
                    <a:pt x="69" y="237"/>
                  </a:lnTo>
                  <a:lnTo>
                    <a:pt x="68" y="236"/>
                  </a:lnTo>
                  <a:lnTo>
                    <a:pt x="68" y="235"/>
                  </a:lnTo>
                  <a:lnTo>
                    <a:pt x="67" y="232"/>
                  </a:lnTo>
                  <a:lnTo>
                    <a:pt x="65" y="230"/>
                  </a:lnTo>
                  <a:lnTo>
                    <a:pt x="64" y="230"/>
                  </a:lnTo>
                  <a:lnTo>
                    <a:pt x="63" y="228"/>
                  </a:lnTo>
                  <a:lnTo>
                    <a:pt x="59" y="225"/>
                  </a:lnTo>
                  <a:lnTo>
                    <a:pt x="57" y="223"/>
                  </a:lnTo>
                  <a:lnTo>
                    <a:pt x="55" y="222"/>
                  </a:lnTo>
                  <a:lnTo>
                    <a:pt x="54" y="220"/>
                  </a:lnTo>
                  <a:lnTo>
                    <a:pt x="54" y="219"/>
                  </a:lnTo>
                  <a:lnTo>
                    <a:pt x="54" y="217"/>
                  </a:lnTo>
                  <a:lnTo>
                    <a:pt x="55" y="216"/>
                  </a:lnTo>
                  <a:lnTo>
                    <a:pt x="57" y="214"/>
                  </a:lnTo>
                  <a:lnTo>
                    <a:pt x="57" y="212"/>
                  </a:lnTo>
                  <a:lnTo>
                    <a:pt x="57" y="210"/>
                  </a:lnTo>
                  <a:lnTo>
                    <a:pt x="57" y="208"/>
                  </a:lnTo>
                  <a:lnTo>
                    <a:pt x="56" y="206"/>
                  </a:lnTo>
                  <a:lnTo>
                    <a:pt x="53" y="199"/>
                  </a:lnTo>
                  <a:lnTo>
                    <a:pt x="52" y="195"/>
                  </a:lnTo>
                  <a:lnTo>
                    <a:pt x="51" y="192"/>
                  </a:lnTo>
                  <a:lnTo>
                    <a:pt x="50" y="187"/>
                  </a:lnTo>
                  <a:lnTo>
                    <a:pt x="49" y="185"/>
                  </a:lnTo>
                  <a:lnTo>
                    <a:pt x="48" y="182"/>
                  </a:lnTo>
                  <a:lnTo>
                    <a:pt x="45" y="177"/>
                  </a:lnTo>
                  <a:lnTo>
                    <a:pt x="44" y="175"/>
                  </a:lnTo>
                  <a:lnTo>
                    <a:pt x="43" y="172"/>
                  </a:lnTo>
                  <a:lnTo>
                    <a:pt x="43" y="172"/>
                  </a:lnTo>
                  <a:lnTo>
                    <a:pt x="42" y="170"/>
                  </a:lnTo>
                  <a:lnTo>
                    <a:pt x="42" y="169"/>
                  </a:lnTo>
                  <a:lnTo>
                    <a:pt x="43" y="167"/>
                  </a:lnTo>
                  <a:lnTo>
                    <a:pt x="43" y="167"/>
                  </a:lnTo>
                  <a:lnTo>
                    <a:pt x="44" y="164"/>
                  </a:lnTo>
                  <a:lnTo>
                    <a:pt x="46" y="162"/>
                  </a:lnTo>
                  <a:lnTo>
                    <a:pt x="48" y="160"/>
                  </a:lnTo>
                  <a:lnTo>
                    <a:pt x="49" y="158"/>
                  </a:lnTo>
                  <a:lnTo>
                    <a:pt x="51" y="157"/>
                  </a:lnTo>
                  <a:lnTo>
                    <a:pt x="53" y="157"/>
                  </a:lnTo>
                  <a:lnTo>
                    <a:pt x="57" y="155"/>
                  </a:lnTo>
                  <a:lnTo>
                    <a:pt x="59" y="154"/>
                  </a:lnTo>
                  <a:lnTo>
                    <a:pt x="61" y="152"/>
                  </a:lnTo>
                  <a:lnTo>
                    <a:pt x="63" y="150"/>
                  </a:lnTo>
                  <a:lnTo>
                    <a:pt x="64" y="148"/>
                  </a:lnTo>
                  <a:lnTo>
                    <a:pt x="66" y="145"/>
                  </a:lnTo>
                  <a:lnTo>
                    <a:pt x="67" y="142"/>
                  </a:lnTo>
                  <a:lnTo>
                    <a:pt x="69" y="140"/>
                  </a:lnTo>
                  <a:lnTo>
                    <a:pt x="69" y="138"/>
                  </a:lnTo>
                  <a:lnTo>
                    <a:pt x="69" y="136"/>
                  </a:lnTo>
                  <a:lnTo>
                    <a:pt x="69" y="135"/>
                  </a:lnTo>
                  <a:lnTo>
                    <a:pt x="69" y="134"/>
                  </a:lnTo>
                  <a:lnTo>
                    <a:pt x="69" y="132"/>
                  </a:lnTo>
                  <a:lnTo>
                    <a:pt x="68" y="132"/>
                  </a:lnTo>
                  <a:lnTo>
                    <a:pt x="67" y="131"/>
                  </a:lnTo>
                  <a:lnTo>
                    <a:pt x="67" y="131"/>
                  </a:lnTo>
                  <a:lnTo>
                    <a:pt x="66" y="130"/>
                  </a:lnTo>
                  <a:lnTo>
                    <a:pt x="62" y="130"/>
                  </a:lnTo>
                  <a:lnTo>
                    <a:pt x="60" y="129"/>
                  </a:lnTo>
                  <a:lnTo>
                    <a:pt x="59" y="128"/>
                  </a:lnTo>
                  <a:lnTo>
                    <a:pt x="57" y="127"/>
                  </a:lnTo>
                  <a:lnTo>
                    <a:pt x="53" y="122"/>
                  </a:lnTo>
                  <a:lnTo>
                    <a:pt x="53" y="121"/>
                  </a:lnTo>
                  <a:lnTo>
                    <a:pt x="52" y="120"/>
                  </a:lnTo>
                  <a:lnTo>
                    <a:pt x="52" y="118"/>
                  </a:lnTo>
                  <a:lnTo>
                    <a:pt x="52" y="117"/>
                  </a:lnTo>
                  <a:lnTo>
                    <a:pt x="52" y="116"/>
                  </a:lnTo>
                  <a:lnTo>
                    <a:pt x="52" y="115"/>
                  </a:lnTo>
                  <a:lnTo>
                    <a:pt x="54" y="114"/>
                  </a:lnTo>
                  <a:lnTo>
                    <a:pt x="54" y="113"/>
                  </a:lnTo>
                  <a:lnTo>
                    <a:pt x="54" y="112"/>
                  </a:lnTo>
                  <a:lnTo>
                    <a:pt x="54" y="112"/>
                  </a:lnTo>
                  <a:lnTo>
                    <a:pt x="53" y="111"/>
                  </a:lnTo>
                  <a:lnTo>
                    <a:pt x="52" y="110"/>
                  </a:lnTo>
                  <a:lnTo>
                    <a:pt x="50" y="110"/>
                  </a:lnTo>
                  <a:lnTo>
                    <a:pt x="49" y="109"/>
                  </a:lnTo>
                  <a:lnTo>
                    <a:pt x="46" y="108"/>
                  </a:lnTo>
                  <a:lnTo>
                    <a:pt x="44" y="108"/>
                  </a:lnTo>
                  <a:lnTo>
                    <a:pt x="43" y="107"/>
                  </a:lnTo>
                  <a:lnTo>
                    <a:pt x="41" y="106"/>
                  </a:lnTo>
                  <a:lnTo>
                    <a:pt x="39" y="105"/>
                  </a:lnTo>
                  <a:lnTo>
                    <a:pt x="37" y="102"/>
                  </a:lnTo>
                  <a:lnTo>
                    <a:pt x="34" y="97"/>
                  </a:lnTo>
                  <a:lnTo>
                    <a:pt x="33" y="97"/>
                  </a:lnTo>
                  <a:lnTo>
                    <a:pt x="32" y="96"/>
                  </a:lnTo>
                  <a:lnTo>
                    <a:pt x="30" y="95"/>
                  </a:lnTo>
                  <a:lnTo>
                    <a:pt x="27" y="92"/>
                  </a:lnTo>
                  <a:lnTo>
                    <a:pt x="25" y="91"/>
                  </a:lnTo>
                  <a:lnTo>
                    <a:pt x="22" y="90"/>
                  </a:lnTo>
                  <a:lnTo>
                    <a:pt x="19" y="89"/>
                  </a:lnTo>
                  <a:lnTo>
                    <a:pt x="17" y="87"/>
                  </a:lnTo>
                  <a:lnTo>
                    <a:pt x="14" y="87"/>
                  </a:lnTo>
                  <a:lnTo>
                    <a:pt x="5" y="86"/>
                  </a:lnTo>
                  <a:lnTo>
                    <a:pt x="3" y="85"/>
                  </a:lnTo>
                  <a:lnTo>
                    <a:pt x="2" y="85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2" y="82"/>
                  </a:lnTo>
                  <a:lnTo>
                    <a:pt x="5" y="77"/>
                  </a:lnTo>
                  <a:lnTo>
                    <a:pt x="6" y="75"/>
                  </a:lnTo>
                  <a:lnTo>
                    <a:pt x="7" y="73"/>
                  </a:lnTo>
                  <a:lnTo>
                    <a:pt x="9" y="72"/>
                  </a:lnTo>
                  <a:lnTo>
                    <a:pt x="10" y="70"/>
                  </a:lnTo>
                  <a:lnTo>
                    <a:pt x="12" y="70"/>
                  </a:lnTo>
                  <a:lnTo>
                    <a:pt x="15" y="68"/>
                  </a:lnTo>
                  <a:lnTo>
                    <a:pt x="17" y="67"/>
                  </a:lnTo>
                  <a:lnTo>
                    <a:pt x="19" y="67"/>
                  </a:lnTo>
                  <a:lnTo>
                    <a:pt x="22" y="67"/>
                  </a:lnTo>
                  <a:lnTo>
                    <a:pt x="29" y="67"/>
                  </a:lnTo>
                  <a:lnTo>
                    <a:pt x="32" y="67"/>
                  </a:lnTo>
                  <a:lnTo>
                    <a:pt x="34" y="66"/>
                  </a:lnTo>
                  <a:lnTo>
                    <a:pt x="37" y="65"/>
                  </a:lnTo>
                  <a:lnTo>
                    <a:pt x="39" y="65"/>
                  </a:lnTo>
                  <a:lnTo>
                    <a:pt x="42" y="63"/>
                  </a:lnTo>
                  <a:lnTo>
                    <a:pt x="44" y="61"/>
                  </a:lnTo>
                  <a:lnTo>
                    <a:pt x="48" y="57"/>
                  </a:lnTo>
                  <a:lnTo>
                    <a:pt x="49" y="56"/>
                  </a:lnTo>
                  <a:lnTo>
                    <a:pt x="51" y="55"/>
                  </a:lnTo>
                  <a:lnTo>
                    <a:pt x="52" y="55"/>
                  </a:lnTo>
                  <a:lnTo>
                    <a:pt x="53" y="55"/>
                  </a:lnTo>
                  <a:lnTo>
                    <a:pt x="55" y="55"/>
                  </a:lnTo>
                  <a:lnTo>
                    <a:pt x="57" y="55"/>
                  </a:lnTo>
                  <a:lnTo>
                    <a:pt x="59" y="55"/>
                  </a:lnTo>
                  <a:lnTo>
                    <a:pt x="59" y="54"/>
                  </a:lnTo>
                  <a:lnTo>
                    <a:pt x="61" y="53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3" y="50"/>
                  </a:lnTo>
                  <a:lnTo>
                    <a:pt x="64" y="47"/>
                  </a:lnTo>
                  <a:lnTo>
                    <a:pt x="67" y="43"/>
                  </a:lnTo>
                  <a:lnTo>
                    <a:pt x="69" y="41"/>
                  </a:lnTo>
                  <a:lnTo>
                    <a:pt x="70" y="37"/>
                  </a:lnTo>
                  <a:lnTo>
                    <a:pt x="72" y="32"/>
                  </a:lnTo>
                  <a:lnTo>
                    <a:pt x="73" y="30"/>
                  </a:lnTo>
                  <a:lnTo>
                    <a:pt x="74" y="25"/>
                  </a:lnTo>
                  <a:lnTo>
                    <a:pt x="74" y="23"/>
                  </a:lnTo>
                  <a:lnTo>
                    <a:pt x="76" y="21"/>
                  </a:lnTo>
                  <a:lnTo>
                    <a:pt x="77" y="20"/>
                  </a:lnTo>
                  <a:lnTo>
                    <a:pt x="79" y="18"/>
                  </a:lnTo>
                  <a:lnTo>
                    <a:pt x="82" y="17"/>
                  </a:lnTo>
                  <a:lnTo>
                    <a:pt x="96" y="10"/>
                  </a:lnTo>
                  <a:lnTo>
                    <a:pt x="102" y="7"/>
                  </a:lnTo>
                  <a:lnTo>
                    <a:pt x="105" y="5"/>
                  </a:lnTo>
                  <a:lnTo>
                    <a:pt x="108" y="5"/>
                  </a:lnTo>
                  <a:lnTo>
                    <a:pt x="119" y="1"/>
                  </a:lnTo>
                  <a:lnTo>
                    <a:pt x="120" y="1"/>
                  </a:lnTo>
                  <a:close/>
                </a:path>
              </a:pathLst>
            </a:custGeom>
            <a:solidFill>
              <a:srgbClr val="EFF3FF"/>
            </a:solidFill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103">
              <a:extLst>
                <a:ext uri="{FF2B5EF4-FFF2-40B4-BE49-F238E27FC236}">
                  <a16:creationId xmlns:a16="http://schemas.microsoft.com/office/drawing/2014/main" id="{0C355DC0-6540-5BE9-74AD-FBA37B159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6961" y="4421025"/>
              <a:ext cx="774700" cy="1096963"/>
            </a:xfrm>
            <a:custGeom>
              <a:avLst/>
              <a:gdLst>
                <a:gd name="T0" fmla="*/ 351 w 488"/>
                <a:gd name="T1" fmla="*/ 8 h 691"/>
                <a:gd name="T2" fmla="*/ 404 w 488"/>
                <a:gd name="T3" fmla="*/ 43 h 691"/>
                <a:gd name="T4" fmla="*/ 426 w 488"/>
                <a:gd name="T5" fmla="*/ 36 h 691"/>
                <a:gd name="T6" fmla="*/ 440 w 488"/>
                <a:gd name="T7" fmla="*/ 58 h 691"/>
                <a:gd name="T8" fmla="*/ 469 w 488"/>
                <a:gd name="T9" fmla="*/ 92 h 691"/>
                <a:gd name="T10" fmla="*/ 488 w 488"/>
                <a:gd name="T11" fmla="*/ 103 h 691"/>
                <a:gd name="T12" fmla="*/ 480 w 488"/>
                <a:gd name="T13" fmla="*/ 125 h 691"/>
                <a:gd name="T14" fmla="*/ 466 w 488"/>
                <a:gd name="T15" fmla="*/ 138 h 691"/>
                <a:gd name="T16" fmla="*/ 481 w 488"/>
                <a:gd name="T17" fmla="*/ 177 h 691"/>
                <a:gd name="T18" fmla="*/ 474 w 488"/>
                <a:gd name="T19" fmla="*/ 228 h 691"/>
                <a:gd name="T20" fmla="*/ 464 w 488"/>
                <a:gd name="T21" fmla="*/ 270 h 691"/>
                <a:gd name="T22" fmla="*/ 453 w 488"/>
                <a:gd name="T23" fmla="*/ 325 h 691"/>
                <a:gd name="T24" fmla="*/ 476 w 488"/>
                <a:gd name="T25" fmla="*/ 350 h 691"/>
                <a:gd name="T26" fmla="*/ 468 w 488"/>
                <a:gd name="T27" fmla="*/ 382 h 691"/>
                <a:gd name="T28" fmla="*/ 478 w 488"/>
                <a:gd name="T29" fmla="*/ 416 h 691"/>
                <a:gd name="T30" fmla="*/ 466 w 488"/>
                <a:gd name="T31" fmla="*/ 423 h 691"/>
                <a:gd name="T32" fmla="*/ 429 w 488"/>
                <a:gd name="T33" fmla="*/ 439 h 691"/>
                <a:gd name="T34" fmla="*/ 444 w 488"/>
                <a:gd name="T35" fmla="*/ 464 h 691"/>
                <a:gd name="T36" fmla="*/ 429 w 488"/>
                <a:gd name="T37" fmla="*/ 513 h 691"/>
                <a:gd name="T38" fmla="*/ 393 w 488"/>
                <a:gd name="T39" fmla="*/ 539 h 691"/>
                <a:gd name="T40" fmla="*/ 338 w 488"/>
                <a:gd name="T41" fmla="*/ 538 h 691"/>
                <a:gd name="T42" fmla="*/ 324 w 488"/>
                <a:gd name="T43" fmla="*/ 545 h 691"/>
                <a:gd name="T44" fmla="*/ 338 w 488"/>
                <a:gd name="T45" fmla="*/ 584 h 691"/>
                <a:gd name="T46" fmla="*/ 364 w 488"/>
                <a:gd name="T47" fmla="*/ 604 h 691"/>
                <a:gd name="T48" fmla="*/ 347 w 488"/>
                <a:gd name="T49" fmla="*/ 638 h 691"/>
                <a:gd name="T50" fmla="*/ 362 w 488"/>
                <a:gd name="T51" fmla="*/ 669 h 691"/>
                <a:gd name="T52" fmla="*/ 377 w 488"/>
                <a:gd name="T53" fmla="*/ 691 h 691"/>
                <a:gd name="T54" fmla="*/ 350 w 488"/>
                <a:gd name="T55" fmla="*/ 679 h 691"/>
                <a:gd name="T56" fmla="*/ 319 w 488"/>
                <a:gd name="T57" fmla="*/ 681 h 691"/>
                <a:gd name="T58" fmla="*/ 293 w 488"/>
                <a:gd name="T59" fmla="*/ 657 h 691"/>
                <a:gd name="T60" fmla="*/ 263 w 488"/>
                <a:gd name="T61" fmla="*/ 649 h 691"/>
                <a:gd name="T62" fmla="*/ 220 w 488"/>
                <a:gd name="T63" fmla="*/ 624 h 691"/>
                <a:gd name="T64" fmla="*/ 194 w 488"/>
                <a:gd name="T65" fmla="*/ 594 h 691"/>
                <a:gd name="T66" fmla="*/ 168 w 488"/>
                <a:gd name="T67" fmla="*/ 554 h 691"/>
                <a:gd name="T68" fmla="*/ 124 w 488"/>
                <a:gd name="T69" fmla="*/ 530 h 691"/>
                <a:gd name="T70" fmla="*/ 87 w 488"/>
                <a:gd name="T71" fmla="*/ 512 h 691"/>
                <a:gd name="T72" fmla="*/ 62 w 488"/>
                <a:gd name="T73" fmla="*/ 472 h 691"/>
                <a:gd name="T74" fmla="*/ 28 w 488"/>
                <a:gd name="T75" fmla="*/ 475 h 691"/>
                <a:gd name="T76" fmla="*/ 16 w 488"/>
                <a:gd name="T77" fmla="*/ 453 h 691"/>
                <a:gd name="T78" fmla="*/ 1 w 488"/>
                <a:gd name="T79" fmla="*/ 397 h 691"/>
                <a:gd name="T80" fmla="*/ 25 w 488"/>
                <a:gd name="T81" fmla="*/ 367 h 691"/>
                <a:gd name="T82" fmla="*/ 45 w 488"/>
                <a:gd name="T83" fmla="*/ 345 h 691"/>
                <a:gd name="T84" fmla="*/ 48 w 488"/>
                <a:gd name="T85" fmla="*/ 304 h 691"/>
                <a:gd name="T86" fmla="*/ 55 w 488"/>
                <a:gd name="T87" fmla="*/ 274 h 691"/>
                <a:gd name="T88" fmla="*/ 64 w 488"/>
                <a:gd name="T89" fmla="*/ 232 h 691"/>
                <a:gd name="T90" fmla="*/ 64 w 488"/>
                <a:gd name="T91" fmla="*/ 198 h 691"/>
                <a:gd name="T92" fmla="*/ 52 w 488"/>
                <a:gd name="T93" fmla="*/ 160 h 691"/>
                <a:gd name="T94" fmla="*/ 63 w 488"/>
                <a:gd name="T95" fmla="*/ 124 h 691"/>
                <a:gd name="T96" fmla="*/ 73 w 488"/>
                <a:gd name="T97" fmla="*/ 100 h 691"/>
                <a:gd name="T98" fmla="*/ 103 w 488"/>
                <a:gd name="T99" fmla="*/ 99 h 691"/>
                <a:gd name="T100" fmla="*/ 147 w 488"/>
                <a:gd name="T101" fmla="*/ 110 h 691"/>
                <a:gd name="T102" fmla="*/ 176 w 488"/>
                <a:gd name="T103" fmla="*/ 95 h 691"/>
                <a:gd name="T104" fmla="*/ 172 w 488"/>
                <a:gd name="T105" fmla="*/ 122 h 691"/>
                <a:gd name="T106" fmla="*/ 198 w 488"/>
                <a:gd name="T107" fmla="*/ 131 h 691"/>
                <a:gd name="T108" fmla="*/ 230 w 488"/>
                <a:gd name="T109" fmla="*/ 142 h 691"/>
                <a:gd name="T110" fmla="*/ 269 w 488"/>
                <a:gd name="T111" fmla="*/ 103 h 691"/>
                <a:gd name="T112" fmla="*/ 304 w 488"/>
                <a:gd name="T113" fmla="*/ 85 h 691"/>
                <a:gd name="T114" fmla="*/ 300 w 488"/>
                <a:gd name="T115" fmla="*/ 48 h 691"/>
                <a:gd name="T116" fmla="*/ 311 w 488"/>
                <a:gd name="T117" fmla="*/ 22 h 691"/>
                <a:gd name="T118" fmla="*/ 339 w 488"/>
                <a:gd name="T119" fmla="*/ 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88" h="691">
                  <a:moveTo>
                    <a:pt x="339" y="0"/>
                  </a:moveTo>
                  <a:lnTo>
                    <a:pt x="340" y="0"/>
                  </a:lnTo>
                  <a:lnTo>
                    <a:pt x="341" y="0"/>
                  </a:lnTo>
                  <a:lnTo>
                    <a:pt x="342" y="1"/>
                  </a:lnTo>
                  <a:lnTo>
                    <a:pt x="343" y="2"/>
                  </a:lnTo>
                  <a:lnTo>
                    <a:pt x="344" y="3"/>
                  </a:lnTo>
                  <a:lnTo>
                    <a:pt x="344" y="3"/>
                  </a:lnTo>
                  <a:lnTo>
                    <a:pt x="344" y="3"/>
                  </a:lnTo>
                  <a:lnTo>
                    <a:pt x="345" y="4"/>
                  </a:lnTo>
                  <a:lnTo>
                    <a:pt x="347" y="5"/>
                  </a:lnTo>
                  <a:lnTo>
                    <a:pt x="351" y="8"/>
                  </a:lnTo>
                  <a:lnTo>
                    <a:pt x="366" y="15"/>
                  </a:lnTo>
                  <a:lnTo>
                    <a:pt x="370" y="18"/>
                  </a:lnTo>
                  <a:lnTo>
                    <a:pt x="374" y="20"/>
                  </a:lnTo>
                  <a:lnTo>
                    <a:pt x="378" y="23"/>
                  </a:lnTo>
                  <a:lnTo>
                    <a:pt x="381" y="25"/>
                  </a:lnTo>
                  <a:lnTo>
                    <a:pt x="384" y="28"/>
                  </a:lnTo>
                  <a:lnTo>
                    <a:pt x="391" y="34"/>
                  </a:lnTo>
                  <a:lnTo>
                    <a:pt x="395" y="38"/>
                  </a:lnTo>
                  <a:lnTo>
                    <a:pt x="398" y="39"/>
                  </a:lnTo>
                  <a:lnTo>
                    <a:pt x="400" y="41"/>
                  </a:lnTo>
                  <a:lnTo>
                    <a:pt x="404" y="43"/>
                  </a:lnTo>
                  <a:lnTo>
                    <a:pt x="406" y="44"/>
                  </a:lnTo>
                  <a:lnTo>
                    <a:pt x="407" y="45"/>
                  </a:lnTo>
                  <a:lnTo>
                    <a:pt x="409" y="45"/>
                  </a:lnTo>
                  <a:lnTo>
                    <a:pt x="409" y="45"/>
                  </a:lnTo>
                  <a:lnTo>
                    <a:pt x="411" y="44"/>
                  </a:lnTo>
                  <a:lnTo>
                    <a:pt x="412" y="43"/>
                  </a:lnTo>
                  <a:lnTo>
                    <a:pt x="416" y="40"/>
                  </a:lnTo>
                  <a:lnTo>
                    <a:pt x="419" y="39"/>
                  </a:lnTo>
                  <a:lnTo>
                    <a:pt x="421" y="38"/>
                  </a:lnTo>
                  <a:lnTo>
                    <a:pt x="424" y="37"/>
                  </a:lnTo>
                  <a:lnTo>
                    <a:pt x="426" y="36"/>
                  </a:lnTo>
                  <a:lnTo>
                    <a:pt x="427" y="36"/>
                  </a:lnTo>
                  <a:lnTo>
                    <a:pt x="428" y="37"/>
                  </a:lnTo>
                  <a:lnTo>
                    <a:pt x="429" y="38"/>
                  </a:lnTo>
                  <a:lnTo>
                    <a:pt x="431" y="38"/>
                  </a:lnTo>
                  <a:lnTo>
                    <a:pt x="431" y="38"/>
                  </a:lnTo>
                  <a:lnTo>
                    <a:pt x="431" y="39"/>
                  </a:lnTo>
                  <a:lnTo>
                    <a:pt x="432" y="40"/>
                  </a:lnTo>
                  <a:lnTo>
                    <a:pt x="434" y="43"/>
                  </a:lnTo>
                  <a:lnTo>
                    <a:pt x="436" y="49"/>
                  </a:lnTo>
                  <a:lnTo>
                    <a:pt x="437" y="53"/>
                  </a:lnTo>
                  <a:lnTo>
                    <a:pt x="440" y="58"/>
                  </a:lnTo>
                  <a:lnTo>
                    <a:pt x="444" y="66"/>
                  </a:lnTo>
                  <a:lnTo>
                    <a:pt x="448" y="74"/>
                  </a:lnTo>
                  <a:lnTo>
                    <a:pt x="452" y="81"/>
                  </a:lnTo>
                  <a:lnTo>
                    <a:pt x="454" y="83"/>
                  </a:lnTo>
                  <a:lnTo>
                    <a:pt x="456" y="85"/>
                  </a:lnTo>
                  <a:lnTo>
                    <a:pt x="457" y="87"/>
                  </a:lnTo>
                  <a:lnTo>
                    <a:pt x="459" y="88"/>
                  </a:lnTo>
                  <a:lnTo>
                    <a:pt x="463" y="90"/>
                  </a:lnTo>
                  <a:lnTo>
                    <a:pt x="464" y="91"/>
                  </a:lnTo>
                  <a:lnTo>
                    <a:pt x="466" y="91"/>
                  </a:lnTo>
                  <a:lnTo>
                    <a:pt x="469" y="92"/>
                  </a:lnTo>
                  <a:lnTo>
                    <a:pt x="470" y="92"/>
                  </a:lnTo>
                  <a:lnTo>
                    <a:pt x="472" y="92"/>
                  </a:lnTo>
                  <a:lnTo>
                    <a:pt x="474" y="92"/>
                  </a:lnTo>
                  <a:lnTo>
                    <a:pt x="476" y="92"/>
                  </a:lnTo>
                  <a:lnTo>
                    <a:pt x="478" y="92"/>
                  </a:lnTo>
                  <a:lnTo>
                    <a:pt x="480" y="91"/>
                  </a:lnTo>
                  <a:lnTo>
                    <a:pt x="482" y="91"/>
                  </a:lnTo>
                  <a:lnTo>
                    <a:pt x="486" y="89"/>
                  </a:lnTo>
                  <a:lnTo>
                    <a:pt x="486" y="90"/>
                  </a:lnTo>
                  <a:lnTo>
                    <a:pt x="486" y="92"/>
                  </a:lnTo>
                  <a:lnTo>
                    <a:pt x="488" y="103"/>
                  </a:lnTo>
                  <a:lnTo>
                    <a:pt x="488" y="107"/>
                  </a:lnTo>
                  <a:lnTo>
                    <a:pt x="488" y="110"/>
                  </a:lnTo>
                  <a:lnTo>
                    <a:pt x="488" y="112"/>
                  </a:lnTo>
                  <a:lnTo>
                    <a:pt x="488" y="113"/>
                  </a:lnTo>
                  <a:lnTo>
                    <a:pt x="488" y="115"/>
                  </a:lnTo>
                  <a:lnTo>
                    <a:pt x="487" y="117"/>
                  </a:lnTo>
                  <a:lnTo>
                    <a:pt x="486" y="120"/>
                  </a:lnTo>
                  <a:lnTo>
                    <a:pt x="485" y="121"/>
                  </a:lnTo>
                  <a:lnTo>
                    <a:pt x="483" y="122"/>
                  </a:lnTo>
                  <a:lnTo>
                    <a:pt x="482" y="123"/>
                  </a:lnTo>
                  <a:lnTo>
                    <a:pt x="480" y="125"/>
                  </a:lnTo>
                  <a:lnTo>
                    <a:pt x="476" y="126"/>
                  </a:lnTo>
                  <a:lnTo>
                    <a:pt x="473" y="127"/>
                  </a:lnTo>
                  <a:lnTo>
                    <a:pt x="471" y="128"/>
                  </a:lnTo>
                  <a:lnTo>
                    <a:pt x="469" y="129"/>
                  </a:lnTo>
                  <a:lnTo>
                    <a:pt x="468" y="130"/>
                  </a:lnTo>
                  <a:lnTo>
                    <a:pt x="467" y="132"/>
                  </a:lnTo>
                  <a:lnTo>
                    <a:pt x="466" y="132"/>
                  </a:lnTo>
                  <a:lnTo>
                    <a:pt x="466" y="135"/>
                  </a:lnTo>
                  <a:lnTo>
                    <a:pt x="466" y="135"/>
                  </a:lnTo>
                  <a:lnTo>
                    <a:pt x="466" y="137"/>
                  </a:lnTo>
                  <a:lnTo>
                    <a:pt x="466" y="138"/>
                  </a:lnTo>
                  <a:lnTo>
                    <a:pt x="467" y="140"/>
                  </a:lnTo>
                  <a:lnTo>
                    <a:pt x="469" y="142"/>
                  </a:lnTo>
                  <a:lnTo>
                    <a:pt x="474" y="152"/>
                  </a:lnTo>
                  <a:lnTo>
                    <a:pt x="476" y="154"/>
                  </a:lnTo>
                  <a:lnTo>
                    <a:pt x="476" y="157"/>
                  </a:lnTo>
                  <a:lnTo>
                    <a:pt x="478" y="160"/>
                  </a:lnTo>
                  <a:lnTo>
                    <a:pt x="478" y="162"/>
                  </a:lnTo>
                  <a:lnTo>
                    <a:pt x="479" y="165"/>
                  </a:lnTo>
                  <a:lnTo>
                    <a:pt x="480" y="169"/>
                  </a:lnTo>
                  <a:lnTo>
                    <a:pt x="481" y="174"/>
                  </a:lnTo>
                  <a:lnTo>
                    <a:pt x="481" y="177"/>
                  </a:lnTo>
                  <a:lnTo>
                    <a:pt x="481" y="181"/>
                  </a:lnTo>
                  <a:lnTo>
                    <a:pt x="479" y="190"/>
                  </a:lnTo>
                  <a:lnTo>
                    <a:pt x="479" y="193"/>
                  </a:lnTo>
                  <a:lnTo>
                    <a:pt x="478" y="197"/>
                  </a:lnTo>
                  <a:lnTo>
                    <a:pt x="479" y="203"/>
                  </a:lnTo>
                  <a:lnTo>
                    <a:pt x="479" y="207"/>
                  </a:lnTo>
                  <a:lnTo>
                    <a:pt x="478" y="212"/>
                  </a:lnTo>
                  <a:lnTo>
                    <a:pt x="478" y="215"/>
                  </a:lnTo>
                  <a:lnTo>
                    <a:pt x="477" y="219"/>
                  </a:lnTo>
                  <a:lnTo>
                    <a:pt x="476" y="223"/>
                  </a:lnTo>
                  <a:lnTo>
                    <a:pt x="474" y="228"/>
                  </a:lnTo>
                  <a:lnTo>
                    <a:pt x="470" y="237"/>
                  </a:lnTo>
                  <a:lnTo>
                    <a:pt x="467" y="247"/>
                  </a:lnTo>
                  <a:lnTo>
                    <a:pt x="464" y="255"/>
                  </a:lnTo>
                  <a:lnTo>
                    <a:pt x="463" y="257"/>
                  </a:lnTo>
                  <a:lnTo>
                    <a:pt x="463" y="259"/>
                  </a:lnTo>
                  <a:lnTo>
                    <a:pt x="462" y="260"/>
                  </a:lnTo>
                  <a:lnTo>
                    <a:pt x="463" y="262"/>
                  </a:lnTo>
                  <a:lnTo>
                    <a:pt x="464" y="265"/>
                  </a:lnTo>
                  <a:lnTo>
                    <a:pt x="464" y="267"/>
                  </a:lnTo>
                  <a:lnTo>
                    <a:pt x="464" y="268"/>
                  </a:lnTo>
                  <a:lnTo>
                    <a:pt x="464" y="270"/>
                  </a:lnTo>
                  <a:lnTo>
                    <a:pt x="461" y="280"/>
                  </a:lnTo>
                  <a:lnTo>
                    <a:pt x="459" y="288"/>
                  </a:lnTo>
                  <a:lnTo>
                    <a:pt x="458" y="292"/>
                  </a:lnTo>
                  <a:lnTo>
                    <a:pt x="456" y="298"/>
                  </a:lnTo>
                  <a:lnTo>
                    <a:pt x="454" y="305"/>
                  </a:lnTo>
                  <a:lnTo>
                    <a:pt x="453" y="308"/>
                  </a:lnTo>
                  <a:lnTo>
                    <a:pt x="452" y="312"/>
                  </a:lnTo>
                  <a:lnTo>
                    <a:pt x="451" y="317"/>
                  </a:lnTo>
                  <a:lnTo>
                    <a:pt x="451" y="321"/>
                  </a:lnTo>
                  <a:lnTo>
                    <a:pt x="452" y="323"/>
                  </a:lnTo>
                  <a:lnTo>
                    <a:pt x="453" y="325"/>
                  </a:lnTo>
                  <a:lnTo>
                    <a:pt x="453" y="327"/>
                  </a:lnTo>
                  <a:lnTo>
                    <a:pt x="454" y="328"/>
                  </a:lnTo>
                  <a:lnTo>
                    <a:pt x="454" y="329"/>
                  </a:lnTo>
                  <a:lnTo>
                    <a:pt x="455" y="331"/>
                  </a:lnTo>
                  <a:lnTo>
                    <a:pt x="457" y="334"/>
                  </a:lnTo>
                  <a:lnTo>
                    <a:pt x="460" y="337"/>
                  </a:lnTo>
                  <a:lnTo>
                    <a:pt x="464" y="339"/>
                  </a:lnTo>
                  <a:lnTo>
                    <a:pt x="470" y="344"/>
                  </a:lnTo>
                  <a:lnTo>
                    <a:pt x="472" y="347"/>
                  </a:lnTo>
                  <a:lnTo>
                    <a:pt x="474" y="348"/>
                  </a:lnTo>
                  <a:lnTo>
                    <a:pt x="476" y="350"/>
                  </a:lnTo>
                  <a:lnTo>
                    <a:pt x="478" y="353"/>
                  </a:lnTo>
                  <a:lnTo>
                    <a:pt x="481" y="357"/>
                  </a:lnTo>
                  <a:lnTo>
                    <a:pt x="481" y="359"/>
                  </a:lnTo>
                  <a:lnTo>
                    <a:pt x="481" y="360"/>
                  </a:lnTo>
                  <a:lnTo>
                    <a:pt x="481" y="361"/>
                  </a:lnTo>
                  <a:lnTo>
                    <a:pt x="481" y="362"/>
                  </a:lnTo>
                  <a:lnTo>
                    <a:pt x="481" y="363"/>
                  </a:lnTo>
                  <a:lnTo>
                    <a:pt x="473" y="374"/>
                  </a:lnTo>
                  <a:lnTo>
                    <a:pt x="470" y="377"/>
                  </a:lnTo>
                  <a:lnTo>
                    <a:pt x="469" y="379"/>
                  </a:lnTo>
                  <a:lnTo>
                    <a:pt x="468" y="382"/>
                  </a:lnTo>
                  <a:lnTo>
                    <a:pt x="467" y="384"/>
                  </a:lnTo>
                  <a:lnTo>
                    <a:pt x="466" y="385"/>
                  </a:lnTo>
                  <a:lnTo>
                    <a:pt x="466" y="387"/>
                  </a:lnTo>
                  <a:lnTo>
                    <a:pt x="466" y="389"/>
                  </a:lnTo>
                  <a:lnTo>
                    <a:pt x="467" y="392"/>
                  </a:lnTo>
                  <a:lnTo>
                    <a:pt x="467" y="394"/>
                  </a:lnTo>
                  <a:lnTo>
                    <a:pt x="469" y="397"/>
                  </a:lnTo>
                  <a:lnTo>
                    <a:pt x="471" y="401"/>
                  </a:lnTo>
                  <a:lnTo>
                    <a:pt x="476" y="412"/>
                  </a:lnTo>
                  <a:lnTo>
                    <a:pt x="477" y="414"/>
                  </a:lnTo>
                  <a:lnTo>
                    <a:pt x="478" y="416"/>
                  </a:lnTo>
                  <a:lnTo>
                    <a:pt x="478" y="417"/>
                  </a:lnTo>
                  <a:lnTo>
                    <a:pt x="478" y="419"/>
                  </a:lnTo>
                  <a:lnTo>
                    <a:pt x="478" y="420"/>
                  </a:lnTo>
                  <a:lnTo>
                    <a:pt x="478" y="421"/>
                  </a:lnTo>
                  <a:lnTo>
                    <a:pt x="477" y="422"/>
                  </a:lnTo>
                  <a:lnTo>
                    <a:pt x="476" y="422"/>
                  </a:lnTo>
                  <a:lnTo>
                    <a:pt x="474" y="422"/>
                  </a:lnTo>
                  <a:lnTo>
                    <a:pt x="472" y="422"/>
                  </a:lnTo>
                  <a:lnTo>
                    <a:pt x="469" y="422"/>
                  </a:lnTo>
                  <a:lnTo>
                    <a:pt x="467" y="422"/>
                  </a:lnTo>
                  <a:lnTo>
                    <a:pt x="466" y="423"/>
                  </a:lnTo>
                  <a:lnTo>
                    <a:pt x="463" y="424"/>
                  </a:lnTo>
                  <a:lnTo>
                    <a:pt x="460" y="425"/>
                  </a:lnTo>
                  <a:lnTo>
                    <a:pt x="447" y="427"/>
                  </a:lnTo>
                  <a:lnTo>
                    <a:pt x="442" y="429"/>
                  </a:lnTo>
                  <a:lnTo>
                    <a:pt x="439" y="430"/>
                  </a:lnTo>
                  <a:lnTo>
                    <a:pt x="436" y="432"/>
                  </a:lnTo>
                  <a:lnTo>
                    <a:pt x="433" y="434"/>
                  </a:lnTo>
                  <a:lnTo>
                    <a:pt x="431" y="435"/>
                  </a:lnTo>
                  <a:lnTo>
                    <a:pt x="430" y="436"/>
                  </a:lnTo>
                  <a:lnTo>
                    <a:pt x="429" y="437"/>
                  </a:lnTo>
                  <a:lnTo>
                    <a:pt x="429" y="439"/>
                  </a:lnTo>
                  <a:lnTo>
                    <a:pt x="429" y="440"/>
                  </a:lnTo>
                  <a:lnTo>
                    <a:pt x="430" y="442"/>
                  </a:lnTo>
                  <a:lnTo>
                    <a:pt x="431" y="445"/>
                  </a:lnTo>
                  <a:lnTo>
                    <a:pt x="432" y="447"/>
                  </a:lnTo>
                  <a:lnTo>
                    <a:pt x="434" y="449"/>
                  </a:lnTo>
                  <a:lnTo>
                    <a:pt x="439" y="455"/>
                  </a:lnTo>
                  <a:lnTo>
                    <a:pt x="441" y="459"/>
                  </a:lnTo>
                  <a:lnTo>
                    <a:pt x="443" y="460"/>
                  </a:lnTo>
                  <a:lnTo>
                    <a:pt x="444" y="462"/>
                  </a:lnTo>
                  <a:lnTo>
                    <a:pt x="444" y="463"/>
                  </a:lnTo>
                  <a:lnTo>
                    <a:pt x="444" y="464"/>
                  </a:lnTo>
                  <a:lnTo>
                    <a:pt x="444" y="466"/>
                  </a:lnTo>
                  <a:lnTo>
                    <a:pt x="444" y="467"/>
                  </a:lnTo>
                  <a:lnTo>
                    <a:pt x="444" y="469"/>
                  </a:lnTo>
                  <a:lnTo>
                    <a:pt x="442" y="473"/>
                  </a:lnTo>
                  <a:lnTo>
                    <a:pt x="441" y="477"/>
                  </a:lnTo>
                  <a:lnTo>
                    <a:pt x="436" y="485"/>
                  </a:lnTo>
                  <a:lnTo>
                    <a:pt x="435" y="488"/>
                  </a:lnTo>
                  <a:lnTo>
                    <a:pt x="433" y="494"/>
                  </a:lnTo>
                  <a:lnTo>
                    <a:pt x="432" y="497"/>
                  </a:lnTo>
                  <a:lnTo>
                    <a:pt x="431" y="502"/>
                  </a:lnTo>
                  <a:lnTo>
                    <a:pt x="429" y="513"/>
                  </a:lnTo>
                  <a:lnTo>
                    <a:pt x="429" y="516"/>
                  </a:lnTo>
                  <a:lnTo>
                    <a:pt x="428" y="518"/>
                  </a:lnTo>
                  <a:lnTo>
                    <a:pt x="427" y="519"/>
                  </a:lnTo>
                  <a:lnTo>
                    <a:pt x="426" y="521"/>
                  </a:lnTo>
                  <a:lnTo>
                    <a:pt x="424" y="522"/>
                  </a:lnTo>
                  <a:lnTo>
                    <a:pt x="422" y="524"/>
                  </a:lnTo>
                  <a:lnTo>
                    <a:pt x="415" y="528"/>
                  </a:lnTo>
                  <a:lnTo>
                    <a:pt x="407" y="533"/>
                  </a:lnTo>
                  <a:lnTo>
                    <a:pt x="404" y="534"/>
                  </a:lnTo>
                  <a:lnTo>
                    <a:pt x="397" y="538"/>
                  </a:lnTo>
                  <a:lnTo>
                    <a:pt x="393" y="539"/>
                  </a:lnTo>
                  <a:lnTo>
                    <a:pt x="389" y="541"/>
                  </a:lnTo>
                  <a:lnTo>
                    <a:pt x="374" y="544"/>
                  </a:lnTo>
                  <a:lnTo>
                    <a:pt x="371" y="545"/>
                  </a:lnTo>
                  <a:lnTo>
                    <a:pt x="367" y="545"/>
                  </a:lnTo>
                  <a:lnTo>
                    <a:pt x="364" y="545"/>
                  </a:lnTo>
                  <a:lnTo>
                    <a:pt x="359" y="544"/>
                  </a:lnTo>
                  <a:lnTo>
                    <a:pt x="355" y="544"/>
                  </a:lnTo>
                  <a:lnTo>
                    <a:pt x="351" y="542"/>
                  </a:lnTo>
                  <a:lnTo>
                    <a:pt x="346" y="541"/>
                  </a:lnTo>
                  <a:lnTo>
                    <a:pt x="340" y="539"/>
                  </a:lnTo>
                  <a:lnTo>
                    <a:pt x="338" y="538"/>
                  </a:lnTo>
                  <a:lnTo>
                    <a:pt x="336" y="537"/>
                  </a:lnTo>
                  <a:lnTo>
                    <a:pt x="334" y="537"/>
                  </a:lnTo>
                  <a:lnTo>
                    <a:pt x="332" y="537"/>
                  </a:lnTo>
                  <a:lnTo>
                    <a:pt x="331" y="538"/>
                  </a:lnTo>
                  <a:lnTo>
                    <a:pt x="329" y="538"/>
                  </a:lnTo>
                  <a:lnTo>
                    <a:pt x="328" y="539"/>
                  </a:lnTo>
                  <a:lnTo>
                    <a:pt x="326" y="539"/>
                  </a:lnTo>
                  <a:lnTo>
                    <a:pt x="325" y="541"/>
                  </a:lnTo>
                  <a:lnTo>
                    <a:pt x="324" y="542"/>
                  </a:lnTo>
                  <a:lnTo>
                    <a:pt x="324" y="544"/>
                  </a:lnTo>
                  <a:lnTo>
                    <a:pt x="324" y="545"/>
                  </a:lnTo>
                  <a:lnTo>
                    <a:pt x="324" y="547"/>
                  </a:lnTo>
                  <a:lnTo>
                    <a:pt x="324" y="548"/>
                  </a:lnTo>
                  <a:lnTo>
                    <a:pt x="324" y="550"/>
                  </a:lnTo>
                  <a:lnTo>
                    <a:pt x="324" y="554"/>
                  </a:lnTo>
                  <a:lnTo>
                    <a:pt x="326" y="563"/>
                  </a:lnTo>
                  <a:lnTo>
                    <a:pt x="328" y="566"/>
                  </a:lnTo>
                  <a:lnTo>
                    <a:pt x="330" y="571"/>
                  </a:lnTo>
                  <a:lnTo>
                    <a:pt x="332" y="576"/>
                  </a:lnTo>
                  <a:lnTo>
                    <a:pt x="335" y="580"/>
                  </a:lnTo>
                  <a:lnTo>
                    <a:pt x="336" y="582"/>
                  </a:lnTo>
                  <a:lnTo>
                    <a:pt x="338" y="584"/>
                  </a:lnTo>
                  <a:lnTo>
                    <a:pt x="340" y="586"/>
                  </a:lnTo>
                  <a:lnTo>
                    <a:pt x="341" y="587"/>
                  </a:lnTo>
                  <a:lnTo>
                    <a:pt x="344" y="589"/>
                  </a:lnTo>
                  <a:lnTo>
                    <a:pt x="349" y="592"/>
                  </a:lnTo>
                  <a:lnTo>
                    <a:pt x="351" y="593"/>
                  </a:lnTo>
                  <a:lnTo>
                    <a:pt x="356" y="596"/>
                  </a:lnTo>
                  <a:lnTo>
                    <a:pt x="359" y="599"/>
                  </a:lnTo>
                  <a:lnTo>
                    <a:pt x="361" y="600"/>
                  </a:lnTo>
                  <a:lnTo>
                    <a:pt x="362" y="601"/>
                  </a:lnTo>
                  <a:lnTo>
                    <a:pt x="363" y="603"/>
                  </a:lnTo>
                  <a:lnTo>
                    <a:pt x="364" y="604"/>
                  </a:lnTo>
                  <a:lnTo>
                    <a:pt x="364" y="607"/>
                  </a:lnTo>
                  <a:lnTo>
                    <a:pt x="364" y="609"/>
                  </a:lnTo>
                  <a:lnTo>
                    <a:pt x="364" y="611"/>
                  </a:lnTo>
                  <a:lnTo>
                    <a:pt x="364" y="614"/>
                  </a:lnTo>
                  <a:lnTo>
                    <a:pt x="363" y="616"/>
                  </a:lnTo>
                  <a:lnTo>
                    <a:pt x="361" y="618"/>
                  </a:lnTo>
                  <a:lnTo>
                    <a:pt x="353" y="626"/>
                  </a:lnTo>
                  <a:lnTo>
                    <a:pt x="351" y="630"/>
                  </a:lnTo>
                  <a:lnTo>
                    <a:pt x="349" y="633"/>
                  </a:lnTo>
                  <a:lnTo>
                    <a:pt x="348" y="635"/>
                  </a:lnTo>
                  <a:lnTo>
                    <a:pt x="347" y="638"/>
                  </a:lnTo>
                  <a:lnTo>
                    <a:pt x="346" y="641"/>
                  </a:lnTo>
                  <a:lnTo>
                    <a:pt x="347" y="644"/>
                  </a:lnTo>
                  <a:lnTo>
                    <a:pt x="347" y="645"/>
                  </a:lnTo>
                  <a:lnTo>
                    <a:pt x="348" y="647"/>
                  </a:lnTo>
                  <a:lnTo>
                    <a:pt x="349" y="651"/>
                  </a:lnTo>
                  <a:lnTo>
                    <a:pt x="350" y="653"/>
                  </a:lnTo>
                  <a:lnTo>
                    <a:pt x="351" y="655"/>
                  </a:lnTo>
                  <a:lnTo>
                    <a:pt x="352" y="657"/>
                  </a:lnTo>
                  <a:lnTo>
                    <a:pt x="355" y="661"/>
                  </a:lnTo>
                  <a:lnTo>
                    <a:pt x="359" y="666"/>
                  </a:lnTo>
                  <a:lnTo>
                    <a:pt x="362" y="669"/>
                  </a:lnTo>
                  <a:lnTo>
                    <a:pt x="369" y="676"/>
                  </a:lnTo>
                  <a:lnTo>
                    <a:pt x="376" y="681"/>
                  </a:lnTo>
                  <a:lnTo>
                    <a:pt x="376" y="682"/>
                  </a:lnTo>
                  <a:lnTo>
                    <a:pt x="378" y="684"/>
                  </a:lnTo>
                  <a:lnTo>
                    <a:pt x="379" y="685"/>
                  </a:lnTo>
                  <a:lnTo>
                    <a:pt x="379" y="686"/>
                  </a:lnTo>
                  <a:lnTo>
                    <a:pt x="379" y="688"/>
                  </a:lnTo>
                  <a:lnTo>
                    <a:pt x="379" y="689"/>
                  </a:lnTo>
                  <a:lnTo>
                    <a:pt x="379" y="689"/>
                  </a:lnTo>
                  <a:lnTo>
                    <a:pt x="378" y="690"/>
                  </a:lnTo>
                  <a:lnTo>
                    <a:pt x="377" y="691"/>
                  </a:lnTo>
                  <a:lnTo>
                    <a:pt x="376" y="691"/>
                  </a:lnTo>
                  <a:lnTo>
                    <a:pt x="374" y="691"/>
                  </a:lnTo>
                  <a:lnTo>
                    <a:pt x="372" y="691"/>
                  </a:lnTo>
                  <a:lnTo>
                    <a:pt x="371" y="690"/>
                  </a:lnTo>
                  <a:lnTo>
                    <a:pt x="369" y="689"/>
                  </a:lnTo>
                  <a:lnTo>
                    <a:pt x="361" y="684"/>
                  </a:lnTo>
                  <a:lnTo>
                    <a:pt x="359" y="682"/>
                  </a:lnTo>
                  <a:lnTo>
                    <a:pt x="356" y="681"/>
                  </a:lnTo>
                  <a:lnTo>
                    <a:pt x="355" y="680"/>
                  </a:lnTo>
                  <a:lnTo>
                    <a:pt x="353" y="679"/>
                  </a:lnTo>
                  <a:lnTo>
                    <a:pt x="350" y="679"/>
                  </a:lnTo>
                  <a:lnTo>
                    <a:pt x="348" y="678"/>
                  </a:lnTo>
                  <a:lnTo>
                    <a:pt x="346" y="678"/>
                  </a:lnTo>
                  <a:lnTo>
                    <a:pt x="344" y="678"/>
                  </a:lnTo>
                  <a:lnTo>
                    <a:pt x="341" y="678"/>
                  </a:lnTo>
                  <a:lnTo>
                    <a:pt x="339" y="678"/>
                  </a:lnTo>
                  <a:lnTo>
                    <a:pt x="335" y="679"/>
                  </a:lnTo>
                  <a:lnTo>
                    <a:pt x="329" y="681"/>
                  </a:lnTo>
                  <a:lnTo>
                    <a:pt x="326" y="681"/>
                  </a:lnTo>
                  <a:lnTo>
                    <a:pt x="324" y="681"/>
                  </a:lnTo>
                  <a:lnTo>
                    <a:pt x="321" y="681"/>
                  </a:lnTo>
                  <a:lnTo>
                    <a:pt x="319" y="681"/>
                  </a:lnTo>
                  <a:lnTo>
                    <a:pt x="317" y="681"/>
                  </a:lnTo>
                  <a:lnTo>
                    <a:pt x="314" y="681"/>
                  </a:lnTo>
                  <a:lnTo>
                    <a:pt x="313" y="680"/>
                  </a:lnTo>
                  <a:lnTo>
                    <a:pt x="311" y="679"/>
                  </a:lnTo>
                  <a:lnTo>
                    <a:pt x="309" y="678"/>
                  </a:lnTo>
                  <a:lnTo>
                    <a:pt x="308" y="676"/>
                  </a:lnTo>
                  <a:lnTo>
                    <a:pt x="306" y="674"/>
                  </a:lnTo>
                  <a:lnTo>
                    <a:pt x="304" y="671"/>
                  </a:lnTo>
                  <a:lnTo>
                    <a:pt x="298" y="664"/>
                  </a:lnTo>
                  <a:lnTo>
                    <a:pt x="295" y="659"/>
                  </a:lnTo>
                  <a:lnTo>
                    <a:pt x="293" y="657"/>
                  </a:lnTo>
                  <a:lnTo>
                    <a:pt x="290" y="655"/>
                  </a:lnTo>
                  <a:lnTo>
                    <a:pt x="288" y="654"/>
                  </a:lnTo>
                  <a:lnTo>
                    <a:pt x="285" y="651"/>
                  </a:lnTo>
                  <a:lnTo>
                    <a:pt x="283" y="650"/>
                  </a:lnTo>
                  <a:lnTo>
                    <a:pt x="280" y="649"/>
                  </a:lnTo>
                  <a:lnTo>
                    <a:pt x="277" y="649"/>
                  </a:lnTo>
                  <a:lnTo>
                    <a:pt x="274" y="648"/>
                  </a:lnTo>
                  <a:lnTo>
                    <a:pt x="272" y="648"/>
                  </a:lnTo>
                  <a:lnTo>
                    <a:pt x="270" y="648"/>
                  </a:lnTo>
                  <a:lnTo>
                    <a:pt x="268" y="648"/>
                  </a:lnTo>
                  <a:lnTo>
                    <a:pt x="263" y="649"/>
                  </a:lnTo>
                  <a:lnTo>
                    <a:pt x="262" y="649"/>
                  </a:lnTo>
                  <a:lnTo>
                    <a:pt x="262" y="648"/>
                  </a:lnTo>
                  <a:lnTo>
                    <a:pt x="261" y="647"/>
                  </a:lnTo>
                  <a:lnTo>
                    <a:pt x="252" y="644"/>
                  </a:lnTo>
                  <a:lnTo>
                    <a:pt x="247" y="642"/>
                  </a:lnTo>
                  <a:lnTo>
                    <a:pt x="239" y="639"/>
                  </a:lnTo>
                  <a:lnTo>
                    <a:pt x="236" y="636"/>
                  </a:lnTo>
                  <a:lnTo>
                    <a:pt x="232" y="634"/>
                  </a:lnTo>
                  <a:lnTo>
                    <a:pt x="228" y="631"/>
                  </a:lnTo>
                  <a:lnTo>
                    <a:pt x="225" y="629"/>
                  </a:lnTo>
                  <a:lnTo>
                    <a:pt x="220" y="624"/>
                  </a:lnTo>
                  <a:lnTo>
                    <a:pt x="219" y="622"/>
                  </a:lnTo>
                  <a:lnTo>
                    <a:pt x="217" y="621"/>
                  </a:lnTo>
                  <a:lnTo>
                    <a:pt x="212" y="618"/>
                  </a:lnTo>
                  <a:lnTo>
                    <a:pt x="210" y="617"/>
                  </a:lnTo>
                  <a:lnTo>
                    <a:pt x="209" y="616"/>
                  </a:lnTo>
                  <a:lnTo>
                    <a:pt x="207" y="614"/>
                  </a:lnTo>
                  <a:lnTo>
                    <a:pt x="201" y="607"/>
                  </a:lnTo>
                  <a:lnTo>
                    <a:pt x="199" y="606"/>
                  </a:lnTo>
                  <a:lnTo>
                    <a:pt x="198" y="604"/>
                  </a:lnTo>
                  <a:lnTo>
                    <a:pt x="197" y="601"/>
                  </a:lnTo>
                  <a:lnTo>
                    <a:pt x="194" y="594"/>
                  </a:lnTo>
                  <a:lnTo>
                    <a:pt x="193" y="593"/>
                  </a:lnTo>
                  <a:lnTo>
                    <a:pt x="192" y="591"/>
                  </a:lnTo>
                  <a:lnTo>
                    <a:pt x="190" y="589"/>
                  </a:lnTo>
                  <a:lnTo>
                    <a:pt x="184" y="583"/>
                  </a:lnTo>
                  <a:lnTo>
                    <a:pt x="177" y="575"/>
                  </a:lnTo>
                  <a:lnTo>
                    <a:pt x="175" y="573"/>
                  </a:lnTo>
                  <a:lnTo>
                    <a:pt x="174" y="571"/>
                  </a:lnTo>
                  <a:lnTo>
                    <a:pt x="172" y="568"/>
                  </a:lnTo>
                  <a:lnTo>
                    <a:pt x="171" y="565"/>
                  </a:lnTo>
                  <a:lnTo>
                    <a:pt x="170" y="562"/>
                  </a:lnTo>
                  <a:lnTo>
                    <a:pt x="168" y="554"/>
                  </a:lnTo>
                  <a:lnTo>
                    <a:pt x="166" y="550"/>
                  </a:lnTo>
                  <a:lnTo>
                    <a:pt x="165" y="548"/>
                  </a:lnTo>
                  <a:lnTo>
                    <a:pt x="164" y="546"/>
                  </a:lnTo>
                  <a:lnTo>
                    <a:pt x="162" y="544"/>
                  </a:lnTo>
                  <a:lnTo>
                    <a:pt x="161" y="543"/>
                  </a:lnTo>
                  <a:lnTo>
                    <a:pt x="159" y="542"/>
                  </a:lnTo>
                  <a:lnTo>
                    <a:pt x="158" y="542"/>
                  </a:lnTo>
                  <a:lnTo>
                    <a:pt x="154" y="540"/>
                  </a:lnTo>
                  <a:lnTo>
                    <a:pt x="152" y="539"/>
                  </a:lnTo>
                  <a:lnTo>
                    <a:pt x="142" y="537"/>
                  </a:lnTo>
                  <a:lnTo>
                    <a:pt x="124" y="530"/>
                  </a:lnTo>
                  <a:lnTo>
                    <a:pt x="118" y="529"/>
                  </a:lnTo>
                  <a:lnTo>
                    <a:pt x="108" y="527"/>
                  </a:lnTo>
                  <a:lnTo>
                    <a:pt x="104" y="526"/>
                  </a:lnTo>
                  <a:lnTo>
                    <a:pt x="102" y="525"/>
                  </a:lnTo>
                  <a:lnTo>
                    <a:pt x="100" y="524"/>
                  </a:lnTo>
                  <a:lnTo>
                    <a:pt x="99" y="523"/>
                  </a:lnTo>
                  <a:lnTo>
                    <a:pt x="97" y="522"/>
                  </a:lnTo>
                  <a:lnTo>
                    <a:pt x="94" y="520"/>
                  </a:lnTo>
                  <a:lnTo>
                    <a:pt x="92" y="518"/>
                  </a:lnTo>
                  <a:lnTo>
                    <a:pt x="90" y="516"/>
                  </a:lnTo>
                  <a:lnTo>
                    <a:pt x="87" y="512"/>
                  </a:lnTo>
                  <a:lnTo>
                    <a:pt x="84" y="509"/>
                  </a:lnTo>
                  <a:lnTo>
                    <a:pt x="78" y="500"/>
                  </a:lnTo>
                  <a:lnTo>
                    <a:pt x="77" y="498"/>
                  </a:lnTo>
                  <a:lnTo>
                    <a:pt x="75" y="495"/>
                  </a:lnTo>
                  <a:lnTo>
                    <a:pt x="73" y="489"/>
                  </a:lnTo>
                  <a:lnTo>
                    <a:pt x="72" y="486"/>
                  </a:lnTo>
                  <a:lnTo>
                    <a:pt x="69" y="482"/>
                  </a:lnTo>
                  <a:lnTo>
                    <a:pt x="68" y="479"/>
                  </a:lnTo>
                  <a:lnTo>
                    <a:pt x="67" y="477"/>
                  </a:lnTo>
                  <a:lnTo>
                    <a:pt x="64" y="474"/>
                  </a:lnTo>
                  <a:lnTo>
                    <a:pt x="62" y="472"/>
                  </a:lnTo>
                  <a:lnTo>
                    <a:pt x="59" y="471"/>
                  </a:lnTo>
                  <a:lnTo>
                    <a:pt x="57" y="469"/>
                  </a:lnTo>
                  <a:lnTo>
                    <a:pt x="55" y="468"/>
                  </a:lnTo>
                  <a:lnTo>
                    <a:pt x="53" y="468"/>
                  </a:lnTo>
                  <a:lnTo>
                    <a:pt x="49" y="467"/>
                  </a:lnTo>
                  <a:lnTo>
                    <a:pt x="47" y="468"/>
                  </a:lnTo>
                  <a:lnTo>
                    <a:pt x="43" y="469"/>
                  </a:lnTo>
                  <a:lnTo>
                    <a:pt x="39" y="469"/>
                  </a:lnTo>
                  <a:lnTo>
                    <a:pt x="36" y="472"/>
                  </a:lnTo>
                  <a:lnTo>
                    <a:pt x="30" y="474"/>
                  </a:lnTo>
                  <a:lnTo>
                    <a:pt x="28" y="475"/>
                  </a:lnTo>
                  <a:lnTo>
                    <a:pt x="27" y="475"/>
                  </a:lnTo>
                  <a:lnTo>
                    <a:pt x="25" y="475"/>
                  </a:lnTo>
                  <a:lnTo>
                    <a:pt x="25" y="475"/>
                  </a:lnTo>
                  <a:lnTo>
                    <a:pt x="23" y="474"/>
                  </a:lnTo>
                  <a:lnTo>
                    <a:pt x="22" y="473"/>
                  </a:lnTo>
                  <a:lnTo>
                    <a:pt x="22" y="472"/>
                  </a:lnTo>
                  <a:lnTo>
                    <a:pt x="21" y="470"/>
                  </a:lnTo>
                  <a:lnTo>
                    <a:pt x="20" y="468"/>
                  </a:lnTo>
                  <a:lnTo>
                    <a:pt x="20" y="466"/>
                  </a:lnTo>
                  <a:lnTo>
                    <a:pt x="17" y="458"/>
                  </a:lnTo>
                  <a:lnTo>
                    <a:pt x="16" y="453"/>
                  </a:lnTo>
                  <a:lnTo>
                    <a:pt x="14" y="447"/>
                  </a:lnTo>
                  <a:lnTo>
                    <a:pt x="10" y="439"/>
                  </a:lnTo>
                  <a:lnTo>
                    <a:pt x="9" y="434"/>
                  </a:lnTo>
                  <a:lnTo>
                    <a:pt x="7" y="430"/>
                  </a:lnTo>
                  <a:lnTo>
                    <a:pt x="5" y="420"/>
                  </a:lnTo>
                  <a:lnTo>
                    <a:pt x="2" y="413"/>
                  </a:lnTo>
                  <a:lnTo>
                    <a:pt x="1" y="408"/>
                  </a:lnTo>
                  <a:lnTo>
                    <a:pt x="0" y="401"/>
                  </a:lnTo>
                  <a:lnTo>
                    <a:pt x="0" y="397"/>
                  </a:lnTo>
                  <a:lnTo>
                    <a:pt x="0" y="397"/>
                  </a:lnTo>
                  <a:lnTo>
                    <a:pt x="1" y="397"/>
                  </a:lnTo>
                  <a:lnTo>
                    <a:pt x="2" y="397"/>
                  </a:lnTo>
                  <a:lnTo>
                    <a:pt x="2" y="396"/>
                  </a:lnTo>
                  <a:lnTo>
                    <a:pt x="5" y="395"/>
                  </a:lnTo>
                  <a:lnTo>
                    <a:pt x="7" y="393"/>
                  </a:lnTo>
                  <a:lnTo>
                    <a:pt x="10" y="390"/>
                  </a:lnTo>
                  <a:lnTo>
                    <a:pt x="13" y="386"/>
                  </a:lnTo>
                  <a:lnTo>
                    <a:pt x="19" y="379"/>
                  </a:lnTo>
                  <a:lnTo>
                    <a:pt x="22" y="374"/>
                  </a:lnTo>
                  <a:lnTo>
                    <a:pt x="24" y="372"/>
                  </a:lnTo>
                  <a:lnTo>
                    <a:pt x="25" y="369"/>
                  </a:lnTo>
                  <a:lnTo>
                    <a:pt x="25" y="367"/>
                  </a:lnTo>
                  <a:lnTo>
                    <a:pt x="26" y="362"/>
                  </a:lnTo>
                  <a:lnTo>
                    <a:pt x="27" y="358"/>
                  </a:lnTo>
                  <a:lnTo>
                    <a:pt x="28" y="355"/>
                  </a:lnTo>
                  <a:lnTo>
                    <a:pt x="30" y="353"/>
                  </a:lnTo>
                  <a:lnTo>
                    <a:pt x="31" y="352"/>
                  </a:lnTo>
                  <a:lnTo>
                    <a:pt x="32" y="351"/>
                  </a:lnTo>
                  <a:lnTo>
                    <a:pt x="34" y="350"/>
                  </a:lnTo>
                  <a:lnTo>
                    <a:pt x="36" y="349"/>
                  </a:lnTo>
                  <a:lnTo>
                    <a:pt x="39" y="347"/>
                  </a:lnTo>
                  <a:lnTo>
                    <a:pt x="44" y="346"/>
                  </a:lnTo>
                  <a:lnTo>
                    <a:pt x="45" y="345"/>
                  </a:lnTo>
                  <a:lnTo>
                    <a:pt x="46" y="344"/>
                  </a:lnTo>
                  <a:lnTo>
                    <a:pt x="48" y="343"/>
                  </a:lnTo>
                  <a:lnTo>
                    <a:pt x="50" y="340"/>
                  </a:lnTo>
                  <a:lnTo>
                    <a:pt x="51" y="337"/>
                  </a:lnTo>
                  <a:lnTo>
                    <a:pt x="52" y="335"/>
                  </a:lnTo>
                  <a:lnTo>
                    <a:pt x="52" y="331"/>
                  </a:lnTo>
                  <a:lnTo>
                    <a:pt x="52" y="326"/>
                  </a:lnTo>
                  <a:lnTo>
                    <a:pt x="52" y="322"/>
                  </a:lnTo>
                  <a:lnTo>
                    <a:pt x="52" y="317"/>
                  </a:lnTo>
                  <a:lnTo>
                    <a:pt x="51" y="312"/>
                  </a:lnTo>
                  <a:lnTo>
                    <a:pt x="48" y="304"/>
                  </a:lnTo>
                  <a:lnTo>
                    <a:pt x="47" y="300"/>
                  </a:lnTo>
                  <a:lnTo>
                    <a:pt x="42" y="289"/>
                  </a:lnTo>
                  <a:lnTo>
                    <a:pt x="42" y="287"/>
                  </a:lnTo>
                  <a:lnTo>
                    <a:pt x="42" y="285"/>
                  </a:lnTo>
                  <a:lnTo>
                    <a:pt x="42" y="284"/>
                  </a:lnTo>
                  <a:lnTo>
                    <a:pt x="42" y="283"/>
                  </a:lnTo>
                  <a:lnTo>
                    <a:pt x="43" y="282"/>
                  </a:lnTo>
                  <a:lnTo>
                    <a:pt x="50" y="278"/>
                  </a:lnTo>
                  <a:lnTo>
                    <a:pt x="52" y="277"/>
                  </a:lnTo>
                  <a:lnTo>
                    <a:pt x="54" y="275"/>
                  </a:lnTo>
                  <a:lnTo>
                    <a:pt x="55" y="274"/>
                  </a:lnTo>
                  <a:lnTo>
                    <a:pt x="56" y="272"/>
                  </a:lnTo>
                  <a:lnTo>
                    <a:pt x="57" y="270"/>
                  </a:lnTo>
                  <a:lnTo>
                    <a:pt x="59" y="267"/>
                  </a:lnTo>
                  <a:lnTo>
                    <a:pt x="59" y="265"/>
                  </a:lnTo>
                  <a:lnTo>
                    <a:pt x="60" y="261"/>
                  </a:lnTo>
                  <a:lnTo>
                    <a:pt x="60" y="257"/>
                  </a:lnTo>
                  <a:lnTo>
                    <a:pt x="60" y="249"/>
                  </a:lnTo>
                  <a:lnTo>
                    <a:pt x="61" y="244"/>
                  </a:lnTo>
                  <a:lnTo>
                    <a:pt x="62" y="242"/>
                  </a:lnTo>
                  <a:lnTo>
                    <a:pt x="62" y="238"/>
                  </a:lnTo>
                  <a:lnTo>
                    <a:pt x="64" y="232"/>
                  </a:lnTo>
                  <a:lnTo>
                    <a:pt x="64" y="230"/>
                  </a:lnTo>
                  <a:lnTo>
                    <a:pt x="64" y="226"/>
                  </a:lnTo>
                  <a:lnTo>
                    <a:pt x="64" y="219"/>
                  </a:lnTo>
                  <a:lnTo>
                    <a:pt x="64" y="216"/>
                  </a:lnTo>
                  <a:lnTo>
                    <a:pt x="65" y="214"/>
                  </a:lnTo>
                  <a:lnTo>
                    <a:pt x="66" y="210"/>
                  </a:lnTo>
                  <a:lnTo>
                    <a:pt x="67" y="207"/>
                  </a:lnTo>
                  <a:lnTo>
                    <a:pt x="67" y="205"/>
                  </a:lnTo>
                  <a:lnTo>
                    <a:pt x="67" y="203"/>
                  </a:lnTo>
                  <a:lnTo>
                    <a:pt x="66" y="201"/>
                  </a:lnTo>
                  <a:lnTo>
                    <a:pt x="64" y="198"/>
                  </a:lnTo>
                  <a:lnTo>
                    <a:pt x="63" y="196"/>
                  </a:lnTo>
                  <a:lnTo>
                    <a:pt x="59" y="190"/>
                  </a:lnTo>
                  <a:lnTo>
                    <a:pt x="57" y="188"/>
                  </a:lnTo>
                  <a:lnTo>
                    <a:pt x="55" y="185"/>
                  </a:lnTo>
                  <a:lnTo>
                    <a:pt x="54" y="182"/>
                  </a:lnTo>
                  <a:lnTo>
                    <a:pt x="54" y="181"/>
                  </a:lnTo>
                  <a:lnTo>
                    <a:pt x="53" y="178"/>
                  </a:lnTo>
                  <a:lnTo>
                    <a:pt x="52" y="174"/>
                  </a:lnTo>
                  <a:lnTo>
                    <a:pt x="53" y="167"/>
                  </a:lnTo>
                  <a:lnTo>
                    <a:pt x="53" y="162"/>
                  </a:lnTo>
                  <a:lnTo>
                    <a:pt x="52" y="160"/>
                  </a:lnTo>
                  <a:lnTo>
                    <a:pt x="51" y="153"/>
                  </a:lnTo>
                  <a:lnTo>
                    <a:pt x="51" y="151"/>
                  </a:lnTo>
                  <a:lnTo>
                    <a:pt x="50" y="150"/>
                  </a:lnTo>
                  <a:lnTo>
                    <a:pt x="51" y="147"/>
                  </a:lnTo>
                  <a:lnTo>
                    <a:pt x="51" y="145"/>
                  </a:lnTo>
                  <a:lnTo>
                    <a:pt x="52" y="143"/>
                  </a:lnTo>
                  <a:lnTo>
                    <a:pt x="52" y="141"/>
                  </a:lnTo>
                  <a:lnTo>
                    <a:pt x="54" y="139"/>
                  </a:lnTo>
                  <a:lnTo>
                    <a:pt x="57" y="135"/>
                  </a:lnTo>
                  <a:lnTo>
                    <a:pt x="59" y="130"/>
                  </a:lnTo>
                  <a:lnTo>
                    <a:pt x="63" y="124"/>
                  </a:lnTo>
                  <a:lnTo>
                    <a:pt x="64" y="120"/>
                  </a:lnTo>
                  <a:lnTo>
                    <a:pt x="65" y="118"/>
                  </a:lnTo>
                  <a:lnTo>
                    <a:pt x="66" y="115"/>
                  </a:lnTo>
                  <a:lnTo>
                    <a:pt x="66" y="114"/>
                  </a:lnTo>
                  <a:lnTo>
                    <a:pt x="66" y="113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7" y="109"/>
                  </a:lnTo>
                  <a:lnTo>
                    <a:pt x="68" y="107"/>
                  </a:lnTo>
                  <a:lnTo>
                    <a:pt x="71" y="102"/>
                  </a:lnTo>
                  <a:lnTo>
                    <a:pt x="73" y="100"/>
                  </a:lnTo>
                  <a:lnTo>
                    <a:pt x="75" y="98"/>
                  </a:lnTo>
                  <a:lnTo>
                    <a:pt x="77" y="97"/>
                  </a:lnTo>
                  <a:lnTo>
                    <a:pt x="78" y="96"/>
                  </a:lnTo>
                  <a:lnTo>
                    <a:pt x="79" y="95"/>
                  </a:lnTo>
                  <a:lnTo>
                    <a:pt x="82" y="95"/>
                  </a:lnTo>
                  <a:lnTo>
                    <a:pt x="84" y="95"/>
                  </a:lnTo>
                  <a:lnTo>
                    <a:pt x="91" y="97"/>
                  </a:lnTo>
                  <a:lnTo>
                    <a:pt x="97" y="97"/>
                  </a:lnTo>
                  <a:lnTo>
                    <a:pt x="100" y="98"/>
                  </a:lnTo>
                  <a:lnTo>
                    <a:pt x="102" y="98"/>
                  </a:lnTo>
                  <a:lnTo>
                    <a:pt x="103" y="99"/>
                  </a:lnTo>
                  <a:lnTo>
                    <a:pt x="107" y="103"/>
                  </a:lnTo>
                  <a:lnTo>
                    <a:pt x="110" y="105"/>
                  </a:lnTo>
                  <a:lnTo>
                    <a:pt x="113" y="106"/>
                  </a:lnTo>
                  <a:lnTo>
                    <a:pt x="118" y="107"/>
                  </a:lnTo>
                  <a:lnTo>
                    <a:pt x="121" y="108"/>
                  </a:lnTo>
                  <a:lnTo>
                    <a:pt x="126" y="108"/>
                  </a:lnTo>
                  <a:lnTo>
                    <a:pt x="128" y="108"/>
                  </a:lnTo>
                  <a:lnTo>
                    <a:pt x="138" y="110"/>
                  </a:lnTo>
                  <a:lnTo>
                    <a:pt x="142" y="110"/>
                  </a:lnTo>
                  <a:lnTo>
                    <a:pt x="145" y="110"/>
                  </a:lnTo>
                  <a:lnTo>
                    <a:pt x="147" y="110"/>
                  </a:lnTo>
                  <a:lnTo>
                    <a:pt x="149" y="110"/>
                  </a:lnTo>
                  <a:lnTo>
                    <a:pt x="150" y="110"/>
                  </a:lnTo>
                  <a:lnTo>
                    <a:pt x="154" y="108"/>
                  </a:lnTo>
                  <a:lnTo>
                    <a:pt x="156" y="108"/>
                  </a:lnTo>
                  <a:lnTo>
                    <a:pt x="159" y="107"/>
                  </a:lnTo>
                  <a:lnTo>
                    <a:pt x="160" y="107"/>
                  </a:lnTo>
                  <a:lnTo>
                    <a:pt x="162" y="107"/>
                  </a:lnTo>
                  <a:lnTo>
                    <a:pt x="168" y="103"/>
                  </a:lnTo>
                  <a:lnTo>
                    <a:pt x="170" y="101"/>
                  </a:lnTo>
                  <a:lnTo>
                    <a:pt x="173" y="99"/>
                  </a:lnTo>
                  <a:lnTo>
                    <a:pt x="176" y="95"/>
                  </a:lnTo>
                  <a:lnTo>
                    <a:pt x="176" y="96"/>
                  </a:lnTo>
                  <a:lnTo>
                    <a:pt x="176" y="98"/>
                  </a:lnTo>
                  <a:lnTo>
                    <a:pt x="175" y="101"/>
                  </a:lnTo>
                  <a:lnTo>
                    <a:pt x="173" y="107"/>
                  </a:lnTo>
                  <a:lnTo>
                    <a:pt x="172" y="110"/>
                  </a:lnTo>
                  <a:lnTo>
                    <a:pt x="171" y="114"/>
                  </a:lnTo>
                  <a:lnTo>
                    <a:pt x="170" y="116"/>
                  </a:lnTo>
                  <a:lnTo>
                    <a:pt x="170" y="119"/>
                  </a:lnTo>
                  <a:lnTo>
                    <a:pt x="170" y="120"/>
                  </a:lnTo>
                  <a:lnTo>
                    <a:pt x="171" y="121"/>
                  </a:lnTo>
                  <a:lnTo>
                    <a:pt x="172" y="122"/>
                  </a:lnTo>
                  <a:lnTo>
                    <a:pt x="172" y="123"/>
                  </a:lnTo>
                  <a:lnTo>
                    <a:pt x="172" y="124"/>
                  </a:lnTo>
                  <a:lnTo>
                    <a:pt x="174" y="125"/>
                  </a:lnTo>
                  <a:lnTo>
                    <a:pt x="174" y="126"/>
                  </a:lnTo>
                  <a:lnTo>
                    <a:pt x="177" y="127"/>
                  </a:lnTo>
                  <a:lnTo>
                    <a:pt x="178" y="127"/>
                  </a:lnTo>
                  <a:lnTo>
                    <a:pt x="179" y="128"/>
                  </a:lnTo>
                  <a:lnTo>
                    <a:pt x="182" y="128"/>
                  </a:lnTo>
                  <a:lnTo>
                    <a:pt x="190" y="130"/>
                  </a:lnTo>
                  <a:lnTo>
                    <a:pt x="194" y="130"/>
                  </a:lnTo>
                  <a:lnTo>
                    <a:pt x="198" y="131"/>
                  </a:lnTo>
                  <a:lnTo>
                    <a:pt x="203" y="132"/>
                  </a:lnTo>
                  <a:lnTo>
                    <a:pt x="208" y="134"/>
                  </a:lnTo>
                  <a:lnTo>
                    <a:pt x="212" y="136"/>
                  </a:lnTo>
                  <a:lnTo>
                    <a:pt x="215" y="138"/>
                  </a:lnTo>
                  <a:lnTo>
                    <a:pt x="221" y="142"/>
                  </a:lnTo>
                  <a:lnTo>
                    <a:pt x="223" y="143"/>
                  </a:lnTo>
                  <a:lnTo>
                    <a:pt x="224" y="143"/>
                  </a:lnTo>
                  <a:lnTo>
                    <a:pt x="226" y="144"/>
                  </a:lnTo>
                  <a:lnTo>
                    <a:pt x="227" y="143"/>
                  </a:lnTo>
                  <a:lnTo>
                    <a:pt x="229" y="143"/>
                  </a:lnTo>
                  <a:lnTo>
                    <a:pt x="230" y="142"/>
                  </a:lnTo>
                  <a:lnTo>
                    <a:pt x="232" y="140"/>
                  </a:lnTo>
                  <a:lnTo>
                    <a:pt x="233" y="138"/>
                  </a:lnTo>
                  <a:lnTo>
                    <a:pt x="236" y="133"/>
                  </a:lnTo>
                  <a:lnTo>
                    <a:pt x="237" y="131"/>
                  </a:lnTo>
                  <a:lnTo>
                    <a:pt x="240" y="127"/>
                  </a:lnTo>
                  <a:lnTo>
                    <a:pt x="243" y="124"/>
                  </a:lnTo>
                  <a:lnTo>
                    <a:pt x="246" y="121"/>
                  </a:lnTo>
                  <a:lnTo>
                    <a:pt x="248" y="119"/>
                  </a:lnTo>
                  <a:lnTo>
                    <a:pt x="257" y="112"/>
                  </a:lnTo>
                  <a:lnTo>
                    <a:pt x="264" y="107"/>
                  </a:lnTo>
                  <a:lnTo>
                    <a:pt x="269" y="103"/>
                  </a:lnTo>
                  <a:lnTo>
                    <a:pt x="273" y="101"/>
                  </a:lnTo>
                  <a:lnTo>
                    <a:pt x="275" y="100"/>
                  </a:lnTo>
                  <a:lnTo>
                    <a:pt x="277" y="100"/>
                  </a:lnTo>
                  <a:lnTo>
                    <a:pt x="287" y="97"/>
                  </a:lnTo>
                  <a:lnTo>
                    <a:pt x="292" y="95"/>
                  </a:lnTo>
                  <a:lnTo>
                    <a:pt x="296" y="93"/>
                  </a:lnTo>
                  <a:lnTo>
                    <a:pt x="299" y="91"/>
                  </a:lnTo>
                  <a:lnTo>
                    <a:pt x="301" y="90"/>
                  </a:lnTo>
                  <a:lnTo>
                    <a:pt x="303" y="88"/>
                  </a:lnTo>
                  <a:lnTo>
                    <a:pt x="304" y="87"/>
                  </a:lnTo>
                  <a:lnTo>
                    <a:pt x="304" y="85"/>
                  </a:lnTo>
                  <a:lnTo>
                    <a:pt x="305" y="83"/>
                  </a:lnTo>
                  <a:lnTo>
                    <a:pt x="305" y="82"/>
                  </a:lnTo>
                  <a:lnTo>
                    <a:pt x="304" y="78"/>
                  </a:lnTo>
                  <a:lnTo>
                    <a:pt x="302" y="72"/>
                  </a:lnTo>
                  <a:lnTo>
                    <a:pt x="301" y="66"/>
                  </a:lnTo>
                  <a:lnTo>
                    <a:pt x="299" y="62"/>
                  </a:lnTo>
                  <a:lnTo>
                    <a:pt x="299" y="59"/>
                  </a:lnTo>
                  <a:lnTo>
                    <a:pt x="299" y="56"/>
                  </a:lnTo>
                  <a:lnTo>
                    <a:pt x="299" y="53"/>
                  </a:lnTo>
                  <a:lnTo>
                    <a:pt x="299" y="50"/>
                  </a:lnTo>
                  <a:lnTo>
                    <a:pt x="300" y="48"/>
                  </a:lnTo>
                  <a:lnTo>
                    <a:pt x="301" y="43"/>
                  </a:lnTo>
                  <a:lnTo>
                    <a:pt x="302" y="40"/>
                  </a:lnTo>
                  <a:lnTo>
                    <a:pt x="303" y="38"/>
                  </a:lnTo>
                  <a:lnTo>
                    <a:pt x="303" y="34"/>
                  </a:lnTo>
                  <a:lnTo>
                    <a:pt x="303" y="31"/>
                  </a:lnTo>
                  <a:lnTo>
                    <a:pt x="304" y="30"/>
                  </a:lnTo>
                  <a:lnTo>
                    <a:pt x="304" y="29"/>
                  </a:lnTo>
                  <a:lnTo>
                    <a:pt x="305" y="26"/>
                  </a:lnTo>
                  <a:lnTo>
                    <a:pt x="306" y="25"/>
                  </a:lnTo>
                  <a:lnTo>
                    <a:pt x="307" y="24"/>
                  </a:lnTo>
                  <a:lnTo>
                    <a:pt x="311" y="22"/>
                  </a:lnTo>
                  <a:lnTo>
                    <a:pt x="313" y="20"/>
                  </a:lnTo>
                  <a:lnTo>
                    <a:pt x="314" y="18"/>
                  </a:lnTo>
                  <a:lnTo>
                    <a:pt x="316" y="14"/>
                  </a:lnTo>
                  <a:lnTo>
                    <a:pt x="319" y="12"/>
                  </a:lnTo>
                  <a:lnTo>
                    <a:pt x="321" y="9"/>
                  </a:lnTo>
                  <a:lnTo>
                    <a:pt x="326" y="6"/>
                  </a:lnTo>
                  <a:lnTo>
                    <a:pt x="330" y="4"/>
                  </a:lnTo>
                  <a:lnTo>
                    <a:pt x="334" y="1"/>
                  </a:lnTo>
                  <a:lnTo>
                    <a:pt x="336" y="0"/>
                  </a:lnTo>
                  <a:lnTo>
                    <a:pt x="339" y="0"/>
                  </a:lnTo>
                  <a:lnTo>
                    <a:pt x="339" y="0"/>
                  </a:lnTo>
                  <a:close/>
                </a:path>
              </a:pathLst>
            </a:custGeom>
            <a:solidFill>
              <a:srgbClr val="EFF3FF"/>
            </a:solidFill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99">
              <a:extLst>
                <a:ext uri="{FF2B5EF4-FFF2-40B4-BE49-F238E27FC236}">
                  <a16:creationId xmlns:a16="http://schemas.microsoft.com/office/drawing/2014/main" id="{F74C2549-F04A-8C5A-77C2-5171B996C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9861" y="5089363"/>
              <a:ext cx="1398588" cy="1208088"/>
            </a:xfrm>
            <a:custGeom>
              <a:avLst/>
              <a:gdLst>
                <a:gd name="T0" fmla="*/ 320 w 881"/>
                <a:gd name="T1" fmla="*/ 41 h 761"/>
                <a:gd name="T2" fmla="*/ 376 w 881"/>
                <a:gd name="T3" fmla="*/ 38 h 761"/>
                <a:gd name="T4" fmla="*/ 421 w 881"/>
                <a:gd name="T5" fmla="*/ 68 h 761"/>
                <a:gd name="T6" fmla="*/ 415 w 881"/>
                <a:gd name="T7" fmla="*/ 88 h 761"/>
                <a:gd name="T8" fmla="*/ 460 w 881"/>
                <a:gd name="T9" fmla="*/ 115 h 761"/>
                <a:gd name="T10" fmla="*/ 501 w 881"/>
                <a:gd name="T11" fmla="*/ 115 h 761"/>
                <a:gd name="T12" fmla="*/ 564 w 881"/>
                <a:gd name="T13" fmla="*/ 131 h 761"/>
                <a:gd name="T14" fmla="*/ 622 w 881"/>
                <a:gd name="T15" fmla="*/ 128 h 761"/>
                <a:gd name="T16" fmla="*/ 646 w 881"/>
                <a:gd name="T17" fmla="*/ 155 h 761"/>
                <a:gd name="T18" fmla="*/ 662 w 881"/>
                <a:gd name="T19" fmla="*/ 221 h 761"/>
                <a:gd name="T20" fmla="*/ 734 w 881"/>
                <a:gd name="T21" fmla="*/ 254 h 761"/>
                <a:gd name="T22" fmla="*/ 801 w 881"/>
                <a:gd name="T23" fmla="*/ 253 h 761"/>
                <a:gd name="T24" fmla="*/ 842 w 881"/>
                <a:gd name="T25" fmla="*/ 253 h 761"/>
                <a:gd name="T26" fmla="*/ 851 w 881"/>
                <a:gd name="T27" fmla="*/ 280 h 761"/>
                <a:gd name="T28" fmla="*/ 864 w 881"/>
                <a:gd name="T29" fmla="*/ 323 h 761"/>
                <a:gd name="T30" fmla="*/ 826 w 881"/>
                <a:gd name="T31" fmla="*/ 363 h 761"/>
                <a:gd name="T32" fmla="*/ 789 w 881"/>
                <a:gd name="T33" fmla="*/ 420 h 761"/>
                <a:gd name="T34" fmla="*/ 804 w 881"/>
                <a:gd name="T35" fmla="*/ 440 h 761"/>
                <a:gd name="T36" fmla="*/ 850 w 881"/>
                <a:gd name="T37" fmla="*/ 477 h 761"/>
                <a:gd name="T38" fmla="*/ 854 w 881"/>
                <a:gd name="T39" fmla="*/ 512 h 761"/>
                <a:gd name="T40" fmla="*/ 845 w 881"/>
                <a:gd name="T41" fmla="*/ 532 h 761"/>
                <a:gd name="T42" fmla="*/ 814 w 881"/>
                <a:gd name="T43" fmla="*/ 550 h 761"/>
                <a:gd name="T44" fmla="*/ 749 w 881"/>
                <a:gd name="T45" fmla="*/ 501 h 761"/>
                <a:gd name="T46" fmla="*/ 657 w 881"/>
                <a:gd name="T47" fmla="*/ 457 h 761"/>
                <a:gd name="T48" fmla="*/ 594 w 881"/>
                <a:gd name="T49" fmla="*/ 447 h 761"/>
                <a:gd name="T50" fmla="*/ 568 w 881"/>
                <a:gd name="T51" fmla="*/ 487 h 761"/>
                <a:gd name="T52" fmla="*/ 499 w 881"/>
                <a:gd name="T53" fmla="*/ 505 h 761"/>
                <a:gd name="T54" fmla="*/ 480 w 881"/>
                <a:gd name="T55" fmla="*/ 477 h 761"/>
                <a:gd name="T56" fmla="*/ 438 w 881"/>
                <a:gd name="T57" fmla="*/ 434 h 761"/>
                <a:gd name="T58" fmla="*/ 383 w 881"/>
                <a:gd name="T59" fmla="*/ 415 h 761"/>
                <a:gd name="T60" fmla="*/ 332 w 881"/>
                <a:gd name="T61" fmla="*/ 415 h 761"/>
                <a:gd name="T62" fmla="*/ 312 w 881"/>
                <a:gd name="T63" fmla="*/ 469 h 761"/>
                <a:gd name="T64" fmla="*/ 320 w 881"/>
                <a:gd name="T65" fmla="*/ 574 h 761"/>
                <a:gd name="T66" fmla="*/ 304 w 881"/>
                <a:gd name="T67" fmla="*/ 662 h 761"/>
                <a:gd name="T68" fmla="*/ 304 w 881"/>
                <a:gd name="T69" fmla="*/ 737 h 761"/>
                <a:gd name="T70" fmla="*/ 277 w 881"/>
                <a:gd name="T71" fmla="*/ 760 h 761"/>
                <a:gd name="T72" fmla="*/ 235 w 881"/>
                <a:gd name="T73" fmla="*/ 709 h 761"/>
                <a:gd name="T74" fmla="*/ 212 w 881"/>
                <a:gd name="T75" fmla="*/ 649 h 761"/>
                <a:gd name="T76" fmla="*/ 158 w 881"/>
                <a:gd name="T77" fmla="*/ 620 h 761"/>
                <a:gd name="T78" fmla="*/ 133 w 881"/>
                <a:gd name="T79" fmla="*/ 552 h 761"/>
                <a:gd name="T80" fmla="*/ 113 w 881"/>
                <a:gd name="T81" fmla="*/ 525 h 761"/>
                <a:gd name="T82" fmla="*/ 120 w 881"/>
                <a:gd name="T83" fmla="*/ 503 h 761"/>
                <a:gd name="T84" fmla="*/ 82 w 881"/>
                <a:gd name="T85" fmla="*/ 485 h 761"/>
                <a:gd name="T86" fmla="*/ 70 w 881"/>
                <a:gd name="T87" fmla="*/ 438 h 761"/>
                <a:gd name="T88" fmla="*/ 40 w 881"/>
                <a:gd name="T89" fmla="*/ 404 h 761"/>
                <a:gd name="T90" fmla="*/ 45 w 881"/>
                <a:gd name="T91" fmla="*/ 361 h 761"/>
                <a:gd name="T92" fmla="*/ 17 w 881"/>
                <a:gd name="T93" fmla="*/ 333 h 761"/>
                <a:gd name="T94" fmla="*/ 7 w 881"/>
                <a:gd name="T95" fmla="*/ 309 h 761"/>
                <a:gd name="T96" fmla="*/ 31 w 881"/>
                <a:gd name="T97" fmla="*/ 269 h 761"/>
                <a:gd name="T98" fmla="*/ 46 w 881"/>
                <a:gd name="T99" fmla="*/ 228 h 761"/>
                <a:gd name="T100" fmla="*/ 90 w 881"/>
                <a:gd name="T101" fmla="*/ 253 h 761"/>
                <a:gd name="T102" fmla="*/ 130 w 881"/>
                <a:gd name="T103" fmla="*/ 257 h 761"/>
                <a:gd name="T104" fmla="*/ 163 w 881"/>
                <a:gd name="T105" fmla="*/ 268 h 761"/>
                <a:gd name="T106" fmla="*/ 131 w 881"/>
                <a:gd name="T107" fmla="*/ 224 h 761"/>
                <a:gd name="T108" fmla="*/ 146 w 881"/>
                <a:gd name="T109" fmla="*/ 180 h 761"/>
                <a:gd name="T110" fmla="*/ 108 w 881"/>
                <a:gd name="T111" fmla="*/ 133 h 761"/>
                <a:gd name="T112" fmla="*/ 124 w 881"/>
                <a:gd name="T113" fmla="*/ 118 h 761"/>
                <a:gd name="T114" fmla="*/ 208 w 881"/>
                <a:gd name="T115" fmla="*/ 101 h 761"/>
                <a:gd name="T116" fmla="*/ 228 w 881"/>
                <a:gd name="T117" fmla="*/ 43 h 761"/>
                <a:gd name="T118" fmla="*/ 220 w 881"/>
                <a:gd name="T119" fmla="*/ 11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1" h="761">
                  <a:moveTo>
                    <a:pt x="263" y="0"/>
                  </a:moveTo>
                  <a:lnTo>
                    <a:pt x="266" y="1"/>
                  </a:lnTo>
                  <a:lnTo>
                    <a:pt x="269" y="3"/>
                  </a:lnTo>
                  <a:lnTo>
                    <a:pt x="272" y="6"/>
                  </a:lnTo>
                  <a:lnTo>
                    <a:pt x="275" y="8"/>
                  </a:lnTo>
                  <a:lnTo>
                    <a:pt x="277" y="10"/>
                  </a:lnTo>
                  <a:lnTo>
                    <a:pt x="286" y="18"/>
                  </a:lnTo>
                  <a:lnTo>
                    <a:pt x="290" y="22"/>
                  </a:lnTo>
                  <a:lnTo>
                    <a:pt x="303" y="34"/>
                  </a:lnTo>
                  <a:lnTo>
                    <a:pt x="306" y="36"/>
                  </a:lnTo>
                  <a:lnTo>
                    <a:pt x="309" y="38"/>
                  </a:lnTo>
                  <a:lnTo>
                    <a:pt x="310" y="39"/>
                  </a:lnTo>
                  <a:lnTo>
                    <a:pt x="312" y="41"/>
                  </a:lnTo>
                  <a:lnTo>
                    <a:pt x="315" y="41"/>
                  </a:lnTo>
                  <a:lnTo>
                    <a:pt x="317" y="41"/>
                  </a:lnTo>
                  <a:lnTo>
                    <a:pt x="320" y="41"/>
                  </a:lnTo>
                  <a:lnTo>
                    <a:pt x="323" y="41"/>
                  </a:lnTo>
                  <a:lnTo>
                    <a:pt x="325" y="40"/>
                  </a:lnTo>
                  <a:lnTo>
                    <a:pt x="327" y="39"/>
                  </a:lnTo>
                  <a:lnTo>
                    <a:pt x="340" y="33"/>
                  </a:lnTo>
                  <a:lnTo>
                    <a:pt x="343" y="31"/>
                  </a:lnTo>
                  <a:lnTo>
                    <a:pt x="346" y="30"/>
                  </a:lnTo>
                  <a:lnTo>
                    <a:pt x="350" y="28"/>
                  </a:lnTo>
                  <a:lnTo>
                    <a:pt x="353" y="28"/>
                  </a:lnTo>
                  <a:lnTo>
                    <a:pt x="356" y="28"/>
                  </a:lnTo>
                  <a:lnTo>
                    <a:pt x="358" y="28"/>
                  </a:lnTo>
                  <a:lnTo>
                    <a:pt x="360" y="28"/>
                  </a:lnTo>
                  <a:lnTo>
                    <a:pt x="362" y="28"/>
                  </a:lnTo>
                  <a:lnTo>
                    <a:pt x="365" y="30"/>
                  </a:lnTo>
                  <a:lnTo>
                    <a:pt x="367" y="31"/>
                  </a:lnTo>
                  <a:lnTo>
                    <a:pt x="370" y="33"/>
                  </a:lnTo>
                  <a:lnTo>
                    <a:pt x="376" y="38"/>
                  </a:lnTo>
                  <a:lnTo>
                    <a:pt x="380" y="41"/>
                  </a:lnTo>
                  <a:lnTo>
                    <a:pt x="385" y="45"/>
                  </a:lnTo>
                  <a:lnTo>
                    <a:pt x="389" y="47"/>
                  </a:lnTo>
                  <a:lnTo>
                    <a:pt x="391" y="48"/>
                  </a:lnTo>
                  <a:lnTo>
                    <a:pt x="394" y="49"/>
                  </a:lnTo>
                  <a:lnTo>
                    <a:pt x="405" y="53"/>
                  </a:lnTo>
                  <a:lnTo>
                    <a:pt x="409" y="55"/>
                  </a:lnTo>
                  <a:lnTo>
                    <a:pt x="412" y="56"/>
                  </a:lnTo>
                  <a:lnTo>
                    <a:pt x="415" y="57"/>
                  </a:lnTo>
                  <a:lnTo>
                    <a:pt x="417" y="58"/>
                  </a:lnTo>
                  <a:lnTo>
                    <a:pt x="418" y="60"/>
                  </a:lnTo>
                  <a:lnTo>
                    <a:pt x="419" y="61"/>
                  </a:lnTo>
                  <a:lnTo>
                    <a:pt x="420" y="62"/>
                  </a:lnTo>
                  <a:lnTo>
                    <a:pt x="420" y="64"/>
                  </a:lnTo>
                  <a:lnTo>
                    <a:pt x="421" y="66"/>
                  </a:lnTo>
                  <a:lnTo>
                    <a:pt x="421" y="68"/>
                  </a:lnTo>
                  <a:lnTo>
                    <a:pt x="421" y="69"/>
                  </a:lnTo>
                  <a:lnTo>
                    <a:pt x="420" y="71"/>
                  </a:lnTo>
                  <a:lnTo>
                    <a:pt x="420" y="74"/>
                  </a:lnTo>
                  <a:lnTo>
                    <a:pt x="419" y="76"/>
                  </a:lnTo>
                  <a:lnTo>
                    <a:pt x="418" y="77"/>
                  </a:lnTo>
                  <a:lnTo>
                    <a:pt x="417" y="78"/>
                  </a:lnTo>
                  <a:lnTo>
                    <a:pt x="416" y="80"/>
                  </a:lnTo>
                  <a:lnTo>
                    <a:pt x="414" y="81"/>
                  </a:lnTo>
                  <a:lnTo>
                    <a:pt x="411" y="83"/>
                  </a:lnTo>
                  <a:lnTo>
                    <a:pt x="410" y="83"/>
                  </a:lnTo>
                  <a:lnTo>
                    <a:pt x="410" y="84"/>
                  </a:lnTo>
                  <a:lnTo>
                    <a:pt x="410" y="85"/>
                  </a:lnTo>
                  <a:lnTo>
                    <a:pt x="410" y="86"/>
                  </a:lnTo>
                  <a:lnTo>
                    <a:pt x="411" y="87"/>
                  </a:lnTo>
                  <a:lnTo>
                    <a:pt x="412" y="88"/>
                  </a:lnTo>
                  <a:lnTo>
                    <a:pt x="415" y="88"/>
                  </a:lnTo>
                  <a:lnTo>
                    <a:pt x="418" y="89"/>
                  </a:lnTo>
                  <a:lnTo>
                    <a:pt x="420" y="90"/>
                  </a:lnTo>
                  <a:lnTo>
                    <a:pt x="422" y="91"/>
                  </a:lnTo>
                  <a:lnTo>
                    <a:pt x="430" y="91"/>
                  </a:lnTo>
                  <a:lnTo>
                    <a:pt x="434" y="92"/>
                  </a:lnTo>
                  <a:lnTo>
                    <a:pt x="436" y="93"/>
                  </a:lnTo>
                  <a:lnTo>
                    <a:pt x="438" y="93"/>
                  </a:lnTo>
                  <a:lnTo>
                    <a:pt x="440" y="94"/>
                  </a:lnTo>
                  <a:lnTo>
                    <a:pt x="442" y="95"/>
                  </a:lnTo>
                  <a:lnTo>
                    <a:pt x="443" y="96"/>
                  </a:lnTo>
                  <a:lnTo>
                    <a:pt x="445" y="98"/>
                  </a:lnTo>
                  <a:lnTo>
                    <a:pt x="447" y="99"/>
                  </a:lnTo>
                  <a:lnTo>
                    <a:pt x="449" y="101"/>
                  </a:lnTo>
                  <a:lnTo>
                    <a:pt x="452" y="105"/>
                  </a:lnTo>
                  <a:lnTo>
                    <a:pt x="458" y="113"/>
                  </a:lnTo>
                  <a:lnTo>
                    <a:pt x="460" y="115"/>
                  </a:lnTo>
                  <a:lnTo>
                    <a:pt x="462" y="116"/>
                  </a:lnTo>
                  <a:lnTo>
                    <a:pt x="463" y="118"/>
                  </a:lnTo>
                  <a:lnTo>
                    <a:pt x="465" y="119"/>
                  </a:lnTo>
                  <a:lnTo>
                    <a:pt x="467" y="121"/>
                  </a:lnTo>
                  <a:lnTo>
                    <a:pt x="469" y="121"/>
                  </a:lnTo>
                  <a:lnTo>
                    <a:pt x="472" y="123"/>
                  </a:lnTo>
                  <a:lnTo>
                    <a:pt x="475" y="123"/>
                  </a:lnTo>
                  <a:lnTo>
                    <a:pt x="476" y="123"/>
                  </a:lnTo>
                  <a:lnTo>
                    <a:pt x="478" y="123"/>
                  </a:lnTo>
                  <a:lnTo>
                    <a:pt x="480" y="123"/>
                  </a:lnTo>
                  <a:lnTo>
                    <a:pt x="482" y="123"/>
                  </a:lnTo>
                  <a:lnTo>
                    <a:pt x="484" y="123"/>
                  </a:lnTo>
                  <a:lnTo>
                    <a:pt x="487" y="122"/>
                  </a:lnTo>
                  <a:lnTo>
                    <a:pt x="490" y="121"/>
                  </a:lnTo>
                  <a:lnTo>
                    <a:pt x="493" y="119"/>
                  </a:lnTo>
                  <a:lnTo>
                    <a:pt x="501" y="115"/>
                  </a:lnTo>
                  <a:lnTo>
                    <a:pt x="504" y="113"/>
                  </a:lnTo>
                  <a:lnTo>
                    <a:pt x="507" y="113"/>
                  </a:lnTo>
                  <a:lnTo>
                    <a:pt x="508" y="112"/>
                  </a:lnTo>
                  <a:lnTo>
                    <a:pt x="510" y="112"/>
                  </a:lnTo>
                  <a:lnTo>
                    <a:pt x="512" y="112"/>
                  </a:lnTo>
                  <a:lnTo>
                    <a:pt x="514" y="113"/>
                  </a:lnTo>
                  <a:lnTo>
                    <a:pt x="517" y="113"/>
                  </a:lnTo>
                  <a:lnTo>
                    <a:pt x="532" y="117"/>
                  </a:lnTo>
                  <a:lnTo>
                    <a:pt x="537" y="118"/>
                  </a:lnTo>
                  <a:lnTo>
                    <a:pt x="549" y="122"/>
                  </a:lnTo>
                  <a:lnTo>
                    <a:pt x="556" y="124"/>
                  </a:lnTo>
                  <a:lnTo>
                    <a:pt x="561" y="126"/>
                  </a:lnTo>
                  <a:lnTo>
                    <a:pt x="564" y="128"/>
                  </a:lnTo>
                  <a:lnTo>
                    <a:pt x="564" y="128"/>
                  </a:lnTo>
                  <a:lnTo>
                    <a:pt x="564" y="129"/>
                  </a:lnTo>
                  <a:lnTo>
                    <a:pt x="564" y="131"/>
                  </a:lnTo>
                  <a:lnTo>
                    <a:pt x="564" y="132"/>
                  </a:lnTo>
                  <a:lnTo>
                    <a:pt x="564" y="133"/>
                  </a:lnTo>
                  <a:lnTo>
                    <a:pt x="565" y="133"/>
                  </a:lnTo>
                  <a:lnTo>
                    <a:pt x="566" y="134"/>
                  </a:lnTo>
                  <a:lnTo>
                    <a:pt x="567" y="134"/>
                  </a:lnTo>
                  <a:lnTo>
                    <a:pt x="568" y="135"/>
                  </a:lnTo>
                  <a:lnTo>
                    <a:pt x="570" y="135"/>
                  </a:lnTo>
                  <a:lnTo>
                    <a:pt x="577" y="134"/>
                  </a:lnTo>
                  <a:lnTo>
                    <a:pt x="582" y="134"/>
                  </a:lnTo>
                  <a:lnTo>
                    <a:pt x="586" y="133"/>
                  </a:lnTo>
                  <a:lnTo>
                    <a:pt x="594" y="131"/>
                  </a:lnTo>
                  <a:lnTo>
                    <a:pt x="598" y="131"/>
                  </a:lnTo>
                  <a:lnTo>
                    <a:pt x="602" y="131"/>
                  </a:lnTo>
                  <a:lnTo>
                    <a:pt x="610" y="130"/>
                  </a:lnTo>
                  <a:lnTo>
                    <a:pt x="618" y="128"/>
                  </a:lnTo>
                  <a:lnTo>
                    <a:pt x="622" y="128"/>
                  </a:lnTo>
                  <a:lnTo>
                    <a:pt x="624" y="128"/>
                  </a:lnTo>
                  <a:lnTo>
                    <a:pt x="627" y="128"/>
                  </a:lnTo>
                  <a:lnTo>
                    <a:pt x="629" y="129"/>
                  </a:lnTo>
                  <a:lnTo>
                    <a:pt x="632" y="130"/>
                  </a:lnTo>
                  <a:lnTo>
                    <a:pt x="634" y="131"/>
                  </a:lnTo>
                  <a:lnTo>
                    <a:pt x="635" y="131"/>
                  </a:lnTo>
                  <a:lnTo>
                    <a:pt x="637" y="132"/>
                  </a:lnTo>
                  <a:lnTo>
                    <a:pt x="638" y="133"/>
                  </a:lnTo>
                  <a:lnTo>
                    <a:pt x="639" y="134"/>
                  </a:lnTo>
                  <a:lnTo>
                    <a:pt x="640" y="136"/>
                  </a:lnTo>
                  <a:lnTo>
                    <a:pt x="642" y="138"/>
                  </a:lnTo>
                  <a:lnTo>
                    <a:pt x="642" y="140"/>
                  </a:lnTo>
                  <a:lnTo>
                    <a:pt x="643" y="143"/>
                  </a:lnTo>
                  <a:lnTo>
                    <a:pt x="644" y="147"/>
                  </a:lnTo>
                  <a:lnTo>
                    <a:pt x="645" y="151"/>
                  </a:lnTo>
                  <a:lnTo>
                    <a:pt x="646" y="155"/>
                  </a:lnTo>
                  <a:lnTo>
                    <a:pt x="647" y="161"/>
                  </a:lnTo>
                  <a:lnTo>
                    <a:pt x="647" y="166"/>
                  </a:lnTo>
                  <a:lnTo>
                    <a:pt x="646" y="172"/>
                  </a:lnTo>
                  <a:lnTo>
                    <a:pt x="645" y="180"/>
                  </a:lnTo>
                  <a:lnTo>
                    <a:pt x="644" y="185"/>
                  </a:lnTo>
                  <a:lnTo>
                    <a:pt x="644" y="190"/>
                  </a:lnTo>
                  <a:lnTo>
                    <a:pt x="644" y="194"/>
                  </a:lnTo>
                  <a:lnTo>
                    <a:pt x="644" y="197"/>
                  </a:lnTo>
                  <a:lnTo>
                    <a:pt x="645" y="200"/>
                  </a:lnTo>
                  <a:lnTo>
                    <a:pt x="647" y="203"/>
                  </a:lnTo>
                  <a:lnTo>
                    <a:pt x="649" y="208"/>
                  </a:lnTo>
                  <a:lnTo>
                    <a:pt x="650" y="210"/>
                  </a:lnTo>
                  <a:lnTo>
                    <a:pt x="652" y="211"/>
                  </a:lnTo>
                  <a:lnTo>
                    <a:pt x="653" y="213"/>
                  </a:lnTo>
                  <a:lnTo>
                    <a:pt x="655" y="215"/>
                  </a:lnTo>
                  <a:lnTo>
                    <a:pt x="662" y="221"/>
                  </a:lnTo>
                  <a:lnTo>
                    <a:pt x="669" y="227"/>
                  </a:lnTo>
                  <a:lnTo>
                    <a:pt x="672" y="229"/>
                  </a:lnTo>
                  <a:lnTo>
                    <a:pt x="679" y="235"/>
                  </a:lnTo>
                  <a:lnTo>
                    <a:pt x="682" y="238"/>
                  </a:lnTo>
                  <a:lnTo>
                    <a:pt x="684" y="240"/>
                  </a:lnTo>
                  <a:lnTo>
                    <a:pt x="688" y="243"/>
                  </a:lnTo>
                  <a:lnTo>
                    <a:pt x="704" y="252"/>
                  </a:lnTo>
                  <a:lnTo>
                    <a:pt x="713" y="257"/>
                  </a:lnTo>
                  <a:lnTo>
                    <a:pt x="715" y="258"/>
                  </a:lnTo>
                  <a:lnTo>
                    <a:pt x="716" y="258"/>
                  </a:lnTo>
                  <a:lnTo>
                    <a:pt x="719" y="258"/>
                  </a:lnTo>
                  <a:lnTo>
                    <a:pt x="720" y="258"/>
                  </a:lnTo>
                  <a:lnTo>
                    <a:pt x="726" y="255"/>
                  </a:lnTo>
                  <a:lnTo>
                    <a:pt x="729" y="255"/>
                  </a:lnTo>
                  <a:lnTo>
                    <a:pt x="731" y="254"/>
                  </a:lnTo>
                  <a:lnTo>
                    <a:pt x="734" y="254"/>
                  </a:lnTo>
                  <a:lnTo>
                    <a:pt x="736" y="254"/>
                  </a:lnTo>
                  <a:lnTo>
                    <a:pt x="739" y="255"/>
                  </a:lnTo>
                  <a:lnTo>
                    <a:pt x="750" y="258"/>
                  </a:lnTo>
                  <a:lnTo>
                    <a:pt x="753" y="259"/>
                  </a:lnTo>
                  <a:lnTo>
                    <a:pt x="756" y="259"/>
                  </a:lnTo>
                  <a:lnTo>
                    <a:pt x="760" y="260"/>
                  </a:lnTo>
                  <a:lnTo>
                    <a:pt x="766" y="260"/>
                  </a:lnTo>
                  <a:lnTo>
                    <a:pt x="771" y="260"/>
                  </a:lnTo>
                  <a:lnTo>
                    <a:pt x="776" y="260"/>
                  </a:lnTo>
                  <a:lnTo>
                    <a:pt x="779" y="260"/>
                  </a:lnTo>
                  <a:lnTo>
                    <a:pt x="782" y="260"/>
                  </a:lnTo>
                  <a:lnTo>
                    <a:pt x="784" y="259"/>
                  </a:lnTo>
                  <a:lnTo>
                    <a:pt x="786" y="258"/>
                  </a:lnTo>
                  <a:lnTo>
                    <a:pt x="790" y="257"/>
                  </a:lnTo>
                  <a:lnTo>
                    <a:pt x="798" y="254"/>
                  </a:lnTo>
                  <a:lnTo>
                    <a:pt x="801" y="253"/>
                  </a:lnTo>
                  <a:lnTo>
                    <a:pt x="806" y="252"/>
                  </a:lnTo>
                  <a:lnTo>
                    <a:pt x="813" y="250"/>
                  </a:lnTo>
                  <a:lnTo>
                    <a:pt x="816" y="250"/>
                  </a:lnTo>
                  <a:lnTo>
                    <a:pt x="818" y="249"/>
                  </a:lnTo>
                  <a:lnTo>
                    <a:pt x="822" y="247"/>
                  </a:lnTo>
                  <a:lnTo>
                    <a:pt x="824" y="246"/>
                  </a:lnTo>
                  <a:lnTo>
                    <a:pt x="826" y="246"/>
                  </a:lnTo>
                  <a:lnTo>
                    <a:pt x="828" y="246"/>
                  </a:lnTo>
                  <a:lnTo>
                    <a:pt x="829" y="246"/>
                  </a:lnTo>
                  <a:lnTo>
                    <a:pt x="831" y="247"/>
                  </a:lnTo>
                  <a:lnTo>
                    <a:pt x="832" y="247"/>
                  </a:lnTo>
                  <a:lnTo>
                    <a:pt x="834" y="248"/>
                  </a:lnTo>
                  <a:lnTo>
                    <a:pt x="837" y="250"/>
                  </a:lnTo>
                  <a:lnTo>
                    <a:pt x="841" y="252"/>
                  </a:lnTo>
                  <a:lnTo>
                    <a:pt x="841" y="253"/>
                  </a:lnTo>
                  <a:lnTo>
                    <a:pt x="842" y="253"/>
                  </a:lnTo>
                  <a:lnTo>
                    <a:pt x="843" y="255"/>
                  </a:lnTo>
                  <a:lnTo>
                    <a:pt x="844" y="255"/>
                  </a:lnTo>
                  <a:lnTo>
                    <a:pt x="844" y="257"/>
                  </a:lnTo>
                  <a:lnTo>
                    <a:pt x="845" y="258"/>
                  </a:lnTo>
                  <a:lnTo>
                    <a:pt x="845" y="260"/>
                  </a:lnTo>
                  <a:lnTo>
                    <a:pt x="845" y="261"/>
                  </a:lnTo>
                  <a:lnTo>
                    <a:pt x="844" y="263"/>
                  </a:lnTo>
                  <a:lnTo>
                    <a:pt x="843" y="268"/>
                  </a:lnTo>
                  <a:lnTo>
                    <a:pt x="843" y="268"/>
                  </a:lnTo>
                  <a:lnTo>
                    <a:pt x="843" y="270"/>
                  </a:lnTo>
                  <a:lnTo>
                    <a:pt x="843" y="270"/>
                  </a:lnTo>
                  <a:lnTo>
                    <a:pt x="844" y="272"/>
                  </a:lnTo>
                  <a:lnTo>
                    <a:pt x="844" y="273"/>
                  </a:lnTo>
                  <a:lnTo>
                    <a:pt x="845" y="275"/>
                  </a:lnTo>
                  <a:lnTo>
                    <a:pt x="848" y="278"/>
                  </a:lnTo>
                  <a:lnTo>
                    <a:pt x="851" y="280"/>
                  </a:lnTo>
                  <a:lnTo>
                    <a:pt x="854" y="282"/>
                  </a:lnTo>
                  <a:lnTo>
                    <a:pt x="861" y="287"/>
                  </a:lnTo>
                  <a:lnTo>
                    <a:pt x="863" y="288"/>
                  </a:lnTo>
                  <a:lnTo>
                    <a:pt x="865" y="290"/>
                  </a:lnTo>
                  <a:lnTo>
                    <a:pt x="868" y="293"/>
                  </a:lnTo>
                  <a:lnTo>
                    <a:pt x="874" y="300"/>
                  </a:lnTo>
                  <a:lnTo>
                    <a:pt x="880" y="307"/>
                  </a:lnTo>
                  <a:lnTo>
                    <a:pt x="881" y="308"/>
                  </a:lnTo>
                  <a:lnTo>
                    <a:pt x="881" y="308"/>
                  </a:lnTo>
                  <a:lnTo>
                    <a:pt x="880" y="309"/>
                  </a:lnTo>
                  <a:lnTo>
                    <a:pt x="879" y="310"/>
                  </a:lnTo>
                  <a:lnTo>
                    <a:pt x="876" y="315"/>
                  </a:lnTo>
                  <a:lnTo>
                    <a:pt x="873" y="317"/>
                  </a:lnTo>
                  <a:lnTo>
                    <a:pt x="871" y="319"/>
                  </a:lnTo>
                  <a:lnTo>
                    <a:pt x="867" y="321"/>
                  </a:lnTo>
                  <a:lnTo>
                    <a:pt x="864" y="323"/>
                  </a:lnTo>
                  <a:lnTo>
                    <a:pt x="859" y="325"/>
                  </a:lnTo>
                  <a:lnTo>
                    <a:pt x="852" y="326"/>
                  </a:lnTo>
                  <a:lnTo>
                    <a:pt x="846" y="328"/>
                  </a:lnTo>
                  <a:lnTo>
                    <a:pt x="844" y="328"/>
                  </a:lnTo>
                  <a:lnTo>
                    <a:pt x="842" y="329"/>
                  </a:lnTo>
                  <a:lnTo>
                    <a:pt x="841" y="330"/>
                  </a:lnTo>
                  <a:lnTo>
                    <a:pt x="840" y="330"/>
                  </a:lnTo>
                  <a:lnTo>
                    <a:pt x="839" y="332"/>
                  </a:lnTo>
                  <a:lnTo>
                    <a:pt x="838" y="334"/>
                  </a:lnTo>
                  <a:lnTo>
                    <a:pt x="835" y="340"/>
                  </a:lnTo>
                  <a:lnTo>
                    <a:pt x="831" y="345"/>
                  </a:lnTo>
                  <a:lnTo>
                    <a:pt x="831" y="348"/>
                  </a:lnTo>
                  <a:lnTo>
                    <a:pt x="830" y="349"/>
                  </a:lnTo>
                  <a:lnTo>
                    <a:pt x="829" y="351"/>
                  </a:lnTo>
                  <a:lnTo>
                    <a:pt x="827" y="360"/>
                  </a:lnTo>
                  <a:lnTo>
                    <a:pt x="826" y="363"/>
                  </a:lnTo>
                  <a:lnTo>
                    <a:pt x="826" y="365"/>
                  </a:lnTo>
                  <a:lnTo>
                    <a:pt x="825" y="367"/>
                  </a:lnTo>
                  <a:lnTo>
                    <a:pt x="824" y="369"/>
                  </a:lnTo>
                  <a:lnTo>
                    <a:pt x="819" y="376"/>
                  </a:lnTo>
                  <a:lnTo>
                    <a:pt x="817" y="378"/>
                  </a:lnTo>
                  <a:lnTo>
                    <a:pt x="816" y="381"/>
                  </a:lnTo>
                  <a:lnTo>
                    <a:pt x="814" y="388"/>
                  </a:lnTo>
                  <a:lnTo>
                    <a:pt x="813" y="391"/>
                  </a:lnTo>
                  <a:lnTo>
                    <a:pt x="811" y="393"/>
                  </a:lnTo>
                  <a:lnTo>
                    <a:pt x="810" y="395"/>
                  </a:lnTo>
                  <a:lnTo>
                    <a:pt x="808" y="397"/>
                  </a:lnTo>
                  <a:lnTo>
                    <a:pt x="801" y="405"/>
                  </a:lnTo>
                  <a:lnTo>
                    <a:pt x="797" y="410"/>
                  </a:lnTo>
                  <a:lnTo>
                    <a:pt x="795" y="411"/>
                  </a:lnTo>
                  <a:lnTo>
                    <a:pt x="791" y="415"/>
                  </a:lnTo>
                  <a:lnTo>
                    <a:pt x="789" y="420"/>
                  </a:lnTo>
                  <a:lnTo>
                    <a:pt x="786" y="423"/>
                  </a:lnTo>
                  <a:lnTo>
                    <a:pt x="785" y="425"/>
                  </a:lnTo>
                  <a:lnTo>
                    <a:pt x="784" y="428"/>
                  </a:lnTo>
                  <a:lnTo>
                    <a:pt x="783" y="431"/>
                  </a:lnTo>
                  <a:lnTo>
                    <a:pt x="784" y="432"/>
                  </a:lnTo>
                  <a:lnTo>
                    <a:pt x="784" y="434"/>
                  </a:lnTo>
                  <a:lnTo>
                    <a:pt x="785" y="435"/>
                  </a:lnTo>
                  <a:lnTo>
                    <a:pt x="786" y="436"/>
                  </a:lnTo>
                  <a:lnTo>
                    <a:pt x="787" y="437"/>
                  </a:lnTo>
                  <a:lnTo>
                    <a:pt x="789" y="437"/>
                  </a:lnTo>
                  <a:lnTo>
                    <a:pt x="795" y="437"/>
                  </a:lnTo>
                  <a:lnTo>
                    <a:pt x="798" y="437"/>
                  </a:lnTo>
                  <a:lnTo>
                    <a:pt x="799" y="438"/>
                  </a:lnTo>
                  <a:lnTo>
                    <a:pt x="801" y="439"/>
                  </a:lnTo>
                  <a:lnTo>
                    <a:pt x="803" y="440"/>
                  </a:lnTo>
                  <a:lnTo>
                    <a:pt x="804" y="440"/>
                  </a:lnTo>
                  <a:lnTo>
                    <a:pt x="806" y="442"/>
                  </a:lnTo>
                  <a:lnTo>
                    <a:pt x="808" y="445"/>
                  </a:lnTo>
                  <a:lnTo>
                    <a:pt x="809" y="446"/>
                  </a:lnTo>
                  <a:lnTo>
                    <a:pt x="812" y="453"/>
                  </a:lnTo>
                  <a:lnTo>
                    <a:pt x="814" y="455"/>
                  </a:lnTo>
                  <a:lnTo>
                    <a:pt x="816" y="457"/>
                  </a:lnTo>
                  <a:lnTo>
                    <a:pt x="818" y="460"/>
                  </a:lnTo>
                  <a:lnTo>
                    <a:pt x="821" y="462"/>
                  </a:lnTo>
                  <a:lnTo>
                    <a:pt x="824" y="463"/>
                  </a:lnTo>
                  <a:lnTo>
                    <a:pt x="828" y="465"/>
                  </a:lnTo>
                  <a:lnTo>
                    <a:pt x="835" y="468"/>
                  </a:lnTo>
                  <a:lnTo>
                    <a:pt x="838" y="470"/>
                  </a:lnTo>
                  <a:lnTo>
                    <a:pt x="841" y="471"/>
                  </a:lnTo>
                  <a:lnTo>
                    <a:pt x="844" y="473"/>
                  </a:lnTo>
                  <a:lnTo>
                    <a:pt x="846" y="475"/>
                  </a:lnTo>
                  <a:lnTo>
                    <a:pt x="850" y="477"/>
                  </a:lnTo>
                  <a:lnTo>
                    <a:pt x="851" y="479"/>
                  </a:lnTo>
                  <a:lnTo>
                    <a:pt x="854" y="480"/>
                  </a:lnTo>
                  <a:lnTo>
                    <a:pt x="856" y="482"/>
                  </a:lnTo>
                  <a:lnTo>
                    <a:pt x="857" y="484"/>
                  </a:lnTo>
                  <a:lnTo>
                    <a:pt x="859" y="486"/>
                  </a:lnTo>
                  <a:lnTo>
                    <a:pt x="861" y="490"/>
                  </a:lnTo>
                  <a:lnTo>
                    <a:pt x="866" y="499"/>
                  </a:lnTo>
                  <a:lnTo>
                    <a:pt x="867" y="502"/>
                  </a:lnTo>
                  <a:lnTo>
                    <a:pt x="868" y="502"/>
                  </a:lnTo>
                  <a:lnTo>
                    <a:pt x="866" y="504"/>
                  </a:lnTo>
                  <a:lnTo>
                    <a:pt x="862" y="509"/>
                  </a:lnTo>
                  <a:lnTo>
                    <a:pt x="861" y="510"/>
                  </a:lnTo>
                  <a:lnTo>
                    <a:pt x="860" y="510"/>
                  </a:lnTo>
                  <a:lnTo>
                    <a:pt x="859" y="511"/>
                  </a:lnTo>
                  <a:lnTo>
                    <a:pt x="858" y="512"/>
                  </a:lnTo>
                  <a:lnTo>
                    <a:pt x="854" y="512"/>
                  </a:lnTo>
                  <a:lnTo>
                    <a:pt x="854" y="512"/>
                  </a:lnTo>
                  <a:lnTo>
                    <a:pt x="853" y="512"/>
                  </a:lnTo>
                  <a:lnTo>
                    <a:pt x="852" y="514"/>
                  </a:lnTo>
                  <a:lnTo>
                    <a:pt x="852" y="516"/>
                  </a:lnTo>
                  <a:lnTo>
                    <a:pt x="851" y="517"/>
                  </a:lnTo>
                  <a:lnTo>
                    <a:pt x="851" y="520"/>
                  </a:lnTo>
                  <a:lnTo>
                    <a:pt x="849" y="522"/>
                  </a:lnTo>
                  <a:lnTo>
                    <a:pt x="846" y="525"/>
                  </a:lnTo>
                  <a:lnTo>
                    <a:pt x="846" y="526"/>
                  </a:lnTo>
                  <a:lnTo>
                    <a:pt x="846" y="527"/>
                  </a:lnTo>
                  <a:lnTo>
                    <a:pt x="846" y="527"/>
                  </a:lnTo>
                  <a:lnTo>
                    <a:pt x="846" y="528"/>
                  </a:lnTo>
                  <a:lnTo>
                    <a:pt x="848" y="529"/>
                  </a:lnTo>
                  <a:lnTo>
                    <a:pt x="848" y="530"/>
                  </a:lnTo>
                  <a:lnTo>
                    <a:pt x="847" y="530"/>
                  </a:lnTo>
                  <a:lnTo>
                    <a:pt x="845" y="532"/>
                  </a:lnTo>
                  <a:lnTo>
                    <a:pt x="842" y="534"/>
                  </a:lnTo>
                  <a:lnTo>
                    <a:pt x="841" y="535"/>
                  </a:lnTo>
                  <a:lnTo>
                    <a:pt x="839" y="535"/>
                  </a:lnTo>
                  <a:lnTo>
                    <a:pt x="837" y="536"/>
                  </a:lnTo>
                  <a:lnTo>
                    <a:pt x="836" y="537"/>
                  </a:lnTo>
                  <a:lnTo>
                    <a:pt x="836" y="538"/>
                  </a:lnTo>
                  <a:lnTo>
                    <a:pt x="834" y="540"/>
                  </a:lnTo>
                  <a:lnTo>
                    <a:pt x="830" y="551"/>
                  </a:lnTo>
                  <a:lnTo>
                    <a:pt x="829" y="555"/>
                  </a:lnTo>
                  <a:lnTo>
                    <a:pt x="828" y="557"/>
                  </a:lnTo>
                  <a:lnTo>
                    <a:pt x="827" y="557"/>
                  </a:lnTo>
                  <a:lnTo>
                    <a:pt x="826" y="557"/>
                  </a:lnTo>
                  <a:lnTo>
                    <a:pt x="824" y="556"/>
                  </a:lnTo>
                  <a:lnTo>
                    <a:pt x="821" y="555"/>
                  </a:lnTo>
                  <a:lnTo>
                    <a:pt x="819" y="553"/>
                  </a:lnTo>
                  <a:lnTo>
                    <a:pt x="814" y="550"/>
                  </a:lnTo>
                  <a:lnTo>
                    <a:pt x="809" y="546"/>
                  </a:lnTo>
                  <a:lnTo>
                    <a:pt x="805" y="542"/>
                  </a:lnTo>
                  <a:lnTo>
                    <a:pt x="801" y="538"/>
                  </a:lnTo>
                  <a:lnTo>
                    <a:pt x="797" y="534"/>
                  </a:lnTo>
                  <a:lnTo>
                    <a:pt x="789" y="523"/>
                  </a:lnTo>
                  <a:lnTo>
                    <a:pt x="785" y="519"/>
                  </a:lnTo>
                  <a:lnTo>
                    <a:pt x="782" y="516"/>
                  </a:lnTo>
                  <a:lnTo>
                    <a:pt x="779" y="514"/>
                  </a:lnTo>
                  <a:lnTo>
                    <a:pt x="776" y="511"/>
                  </a:lnTo>
                  <a:lnTo>
                    <a:pt x="772" y="509"/>
                  </a:lnTo>
                  <a:lnTo>
                    <a:pt x="769" y="507"/>
                  </a:lnTo>
                  <a:lnTo>
                    <a:pt x="765" y="505"/>
                  </a:lnTo>
                  <a:lnTo>
                    <a:pt x="762" y="504"/>
                  </a:lnTo>
                  <a:lnTo>
                    <a:pt x="760" y="503"/>
                  </a:lnTo>
                  <a:lnTo>
                    <a:pt x="756" y="502"/>
                  </a:lnTo>
                  <a:lnTo>
                    <a:pt x="749" y="501"/>
                  </a:lnTo>
                  <a:lnTo>
                    <a:pt x="746" y="500"/>
                  </a:lnTo>
                  <a:lnTo>
                    <a:pt x="733" y="497"/>
                  </a:lnTo>
                  <a:lnTo>
                    <a:pt x="729" y="496"/>
                  </a:lnTo>
                  <a:lnTo>
                    <a:pt x="726" y="495"/>
                  </a:lnTo>
                  <a:lnTo>
                    <a:pt x="722" y="494"/>
                  </a:lnTo>
                  <a:lnTo>
                    <a:pt x="719" y="492"/>
                  </a:lnTo>
                  <a:lnTo>
                    <a:pt x="716" y="491"/>
                  </a:lnTo>
                  <a:lnTo>
                    <a:pt x="713" y="490"/>
                  </a:lnTo>
                  <a:lnTo>
                    <a:pt x="706" y="485"/>
                  </a:lnTo>
                  <a:lnTo>
                    <a:pt x="694" y="477"/>
                  </a:lnTo>
                  <a:lnTo>
                    <a:pt x="682" y="468"/>
                  </a:lnTo>
                  <a:lnTo>
                    <a:pt x="678" y="465"/>
                  </a:lnTo>
                  <a:lnTo>
                    <a:pt x="674" y="463"/>
                  </a:lnTo>
                  <a:lnTo>
                    <a:pt x="668" y="460"/>
                  </a:lnTo>
                  <a:lnTo>
                    <a:pt x="663" y="458"/>
                  </a:lnTo>
                  <a:lnTo>
                    <a:pt x="657" y="457"/>
                  </a:lnTo>
                  <a:lnTo>
                    <a:pt x="654" y="456"/>
                  </a:lnTo>
                  <a:lnTo>
                    <a:pt x="652" y="455"/>
                  </a:lnTo>
                  <a:lnTo>
                    <a:pt x="647" y="455"/>
                  </a:lnTo>
                  <a:lnTo>
                    <a:pt x="641" y="455"/>
                  </a:lnTo>
                  <a:lnTo>
                    <a:pt x="636" y="455"/>
                  </a:lnTo>
                  <a:lnTo>
                    <a:pt x="628" y="456"/>
                  </a:lnTo>
                  <a:lnTo>
                    <a:pt x="625" y="456"/>
                  </a:lnTo>
                  <a:lnTo>
                    <a:pt x="622" y="456"/>
                  </a:lnTo>
                  <a:lnTo>
                    <a:pt x="617" y="455"/>
                  </a:lnTo>
                  <a:lnTo>
                    <a:pt x="612" y="455"/>
                  </a:lnTo>
                  <a:lnTo>
                    <a:pt x="609" y="454"/>
                  </a:lnTo>
                  <a:lnTo>
                    <a:pt x="607" y="453"/>
                  </a:lnTo>
                  <a:lnTo>
                    <a:pt x="604" y="452"/>
                  </a:lnTo>
                  <a:lnTo>
                    <a:pt x="598" y="449"/>
                  </a:lnTo>
                  <a:lnTo>
                    <a:pt x="595" y="448"/>
                  </a:lnTo>
                  <a:lnTo>
                    <a:pt x="594" y="447"/>
                  </a:lnTo>
                  <a:lnTo>
                    <a:pt x="593" y="447"/>
                  </a:lnTo>
                  <a:lnTo>
                    <a:pt x="592" y="447"/>
                  </a:lnTo>
                  <a:lnTo>
                    <a:pt x="591" y="447"/>
                  </a:lnTo>
                  <a:lnTo>
                    <a:pt x="590" y="448"/>
                  </a:lnTo>
                  <a:lnTo>
                    <a:pt x="589" y="449"/>
                  </a:lnTo>
                  <a:lnTo>
                    <a:pt x="588" y="450"/>
                  </a:lnTo>
                  <a:lnTo>
                    <a:pt x="587" y="452"/>
                  </a:lnTo>
                  <a:lnTo>
                    <a:pt x="586" y="455"/>
                  </a:lnTo>
                  <a:lnTo>
                    <a:pt x="584" y="462"/>
                  </a:lnTo>
                  <a:lnTo>
                    <a:pt x="582" y="467"/>
                  </a:lnTo>
                  <a:lnTo>
                    <a:pt x="579" y="472"/>
                  </a:lnTo>
                  <a:lnTo>
                    <a:pt x="576" y="479"/>
                  </a:lnTo>
                  <a:lnTo>
                    <a:pt x="574" y="482"/>
                  </a:lnTo>
                  <a:lnTo>
                    <a:pt x="572" y="484"/>
                  </a:lnTo>
                  <a:lnTo>
                    <a:pt x="570" y="485"/>
                  </a:lnTo>
                  <a:lnTo>
                    <a:pt x="568" y="487"/>
                  </a:lnTo>
                  <a:lnTo>
                    <a:pt x="567" y="487"/>
                  </a:lnTo>
                  <a:lnTo>
                    <a:pt x="565" y="488"/>
                  </a:lnTo>
                  <a:lnTo>
                    <a:pt x="562" y="489"/>
                  </a:lnTo>
                  <a:lnTo>
                    <a:pt x="559" y="489"/>
                  </a:lnTo>
                  <a:lnTo>
                    <a:pt x="551" y="490"/>
                  </a:lnTo>
                  <a:lnTo>
                    <a:pt x="544" y="490"/>
                  </a:lnTo>
                  <a:lnTo>
                    <a:pt x="539" y="491"/>
                  </a:lnTo>
                  <a:lnTo>
                    <a:pt x="534" y="492"/>
                  </a:lnTo>
                  <a:lnTo>
                    <a:pt x="529" y="493"/>
                  </a:lnTo>
                  <a:lnTo>
                    <a:pt x="524" y="495"/>
                  </a:lnTo>
                  <a:lnTo>
                    <a:pt x="519" y="497"/>
                  </a:lnTo>
                  <a:lnTo>
                    <a:pt x="509" y="502"/>
                  </a:lnTo>
                  <a:lnTo>
                    <a:pt x="506" y="504"/>
                  </a:lnTo>
                  <a:lnTo>
                    <a:pt x="503" y="505"/>
                  </a:lnTo>
                  <a:lnTo>
                    <a:pt x="501" y="505"/>
                  </a:lnTo>
                  <a:lnTo>
                    <a:pt x="499" y="505"/>
                  </a:lnTo>
                  <a:lnTo>
                    <a:pt x="492" y="506"/>
                  </a:lnTo>
                  <a:lnTo>
                    <a:pt x="488" y="506"/>
                  </a:lnTo>
                  <a:lnTo>
                    <a:pt x="487" y="506"/>
                  </a:lnTo>
                  <a:lnTo>
                    <a:pt x="486" y="506"/>
                  </a:lnTo>
                  <a:lnTo>
                    <a:pt x="484" y="505"/>
                  </a:lnTo>
                  <a:lnTo>
                    <a:pt x="483" y="505"/>
                  </a:lnTo>
                  <a:lnTo>
                    <a:pt x="482" y="504"/>
                  </a:lnTo>
                  <a:lnTo>
                    <a:pt x="482" y="503"/>
                  </a:lnTo>
                  <a:lnTo>
                    <a:pt x="481" y="502"/>
                  </a:lnTo>
                  <a:lnTo>
                    <a:pt x="480" y="500"/>
                  </a:lnTo>
                  <a:lnTo>
                    <a:pt x="480" y="498"/>
                  </a:lnTo>
                  <a:lnTo>
                    <a:pt x="480" y="495"/>
                  </a:lnTo>
                  <a:lnTo>
                    <a:pt x="481" y="485"/>
                  </a:lnTo>
                  <a:lnTo>
                    <a:pt x="481" y="482"/>
                  </a:lnTo>
                  <a:lnTo>
                    <a:pt x="480" y="480"/>
                  </a:lnTo>
                  <a:lnTo>
                    <a:pt x="480" y="477"/>
                  </a:lnTo>
                  <a:lnTo>
                    <a:pt x="480" y="475"/>
                  </a:lnTo>
                  <a:lnTo>
                    <a:pt x="478" y="468"/>
                  </a:lnTo>
                  <a:lnTo>
                    <a:pt x="477" y="465"/>
                  </a:lnTo>
                  <a:lnTo>
                    <a:pt x="475" y="457"/>
                  </a:lnTo>
                  <a:lnTo>
                    <a:pt x="472" y="451"/>
                  </a:lnTo>
                  <a:lnTo>
                    <a:pt x="471" y="447"/>
                  </a:lnTo>
                  <a:lnTo>
                    <a:pt x="470" y="445"/>
                  </a:lnTo>
                  <a:lnTo>
                    <a:pt x="468" y="443"/>
                  </a:lnTo>
                  <a:lnTo>
                    <a:pt x="467" y="442"/>
                  </a:lnTo>
                  <a:lnTo>
                    <a:pt x="465" y="440"/>
                  </a:lnTo>
                  <a:lnTo>
                    <a:pt x="461" y="438"/>
                  </a:lnTo>
                  <a:lnTo>
                    <a:pt x="457" y="437"/>
                  </a:lnTo>
                  <a:lnTo>
                    <a:pt x="454" y="435"/>
                  </a:lnTo>
                  <a:lnTo>
                    <a:pt x="450" y="435"/>
                  </a:lnTo>
                  <a:lnTo>
                    <a:pt x="445" y="434"/>
                  </a:lnTo>
                  <a:lnTo>
                    <a:pt x="438" y="434"/>
                  </a:lnTo>
                  <a:lnTo>
                    <a:pt x="434" y="433"/>
                  </a:lnTo>
                  <a:lnTo>
                    <a:pt x="425" y="434"/>
                  </a:lnTo>
                  <a:lnTo>
                    <a:pt x="422" y="433"/>
                  </a:lnTo>
                  <a:lnTo>
                    <a:pt x="415" y="432"/>
                  </a:lnTo>
                  <a:lnTo>
                    <a:pt x="412" y="432"/>
                  </a:lnTo>
                  <a:lnTo>
                    <a:pt x="409" y="431"/>
                  </a:lnTo>
                  <a:lnTo>
                    <a:pt x="405" y="430"/>
                  </a:lnTo>
                  <a:lnTo>
                    <a:pt x="403" y="430"/>
                  </a:lnTo>
                  <a:lnTo>
                    <a:pt x="400" y="428"/>
                  </a:lnTo>
                  <a:lnTo>
                    <a:pt x="398" y="427"/>
                  </a:lnTo>
                  <a:lnTo>
                    <a:pt x="396" y="426"/>
                  </a:lnTo>
                  <a:lnTo>
                    <a:pt x="395" y="425"/>
                  </a:lnTo>
                  <a:lnTo>
                    <a:pt x="389" y="419"/>
                  </a:lnTo>
                  <a:lnTo>
                    <a:pt x="386" y="417"/>
                  </a:lnTo>
                  <a:lnTo>
                    <a:pt x="385" y="416"/>
                  </a:lnTo>
                  <a:lnTo>
                    <a:pt x="383" y="415"/>
                  </a:lnTo>
                  <a:lnTo>
                    <a:pt x="382" y="414"/>
                  </a:lnTo>
                  <a:lnTo>
                    <a:pt x="380" y="413"/>
                  </a:lnTo>
                  <a:lnTo>
                    <a:pt x="377" y="412"/>
                  </a:lnTo>
                  <a:lnTo>
                    <a:pt x="375" y="412"/>
                  </a:lnTo>
                  <a:lnTo>
                    <a:pt x="367" y="411"/>
                  </a:lnTo>
                  <a:lnTo>
                    <a:pt x="358" y="409"/>
                  </a:lnTo>
                  <a:lnTo>
                    <a:pt x="354" y="408"/>
                  </a:lnTo>
                  <a:lnTo>
                    <a:pt x="351" y="408"/>
                  </a:lnTo>
                  <a:lnTo>
                    <a:pt x="349" y="408"/>
                  </a:lnTo>
                  <a:lnTo>
                    <a:pt x="346" y="408"/>
                  </a:lnTo>
                  <a:lnTo>
                    <a:pt x="343" y="409"/>
                  </a:lnTo>
                  <a:lnTo>
                    <a:pt x="341" y="410"/>
                  </a:lnTo>
                  <a:lnTo>
                    <a:pt x="338" y="411"/>
                  </a:lnTo>
                  <a:lnTo>
                    <a:pt x="335" y="412"/>
                  </a:lnTo>
                  <a:lnTo>
                    <a:pt x="334" y="414"/>
                  </a:lnTo>
                  <a:lnTo>
                    <a:pt x="332" y="415"/>
                  </a:lnTo>
                  <a:lnTo>
                    <a:pt x="331" y="416"/>
                  </a:lnTo>
                  <a:lnTo>
                    <a:pt x="330" y="417"/>
                  </a:lnTo>
                  <a:lnTo>
                    <a:pt x="330" y="418"/>
                  </a:lnTo>
                  <a:lnTo>
                    <a:pt x="329" y="420"/>
                  </a:lnTo>
                  <a:lnTo>
                    <a:pt x="328" y="422"/>
                  </a:lnTo>
                  <a:lnTo>
                    <a:pt x="327" y="427"/>
                  </a:lnTo>
                  <a:lnTo>
                    <a:pt x="326" y="431"/>
                  </a:lnTo>
                  <a:lnTo>
                    <a:pt x="325" y="435"/>
                  </a:lnTo>
                  <a:lnTo>
                    <a:pt x="324" y="438"/>
                  </a:lnTo>
                  <a:lnTo>
                    <a:pt x="322" y="442"/>
                  </a:lnTo>
                  <a:lnTo>
                    <a:pt x="317" y="452"/>
                  </a:lnTo>
                  <a:lnTo>
                    <a:pt x="316" y="455"/>
                  </a:lnTo>
                  <a:lnTo>
                    <a:pt x="315" y="459"/>
                  </a:lnTo>
                  <a:lnTo>
                    <a:pt x="313" y="462"/>
                  </a:lnTo>
                  <a:lnTo>
                    <a:pt x="312" y="465"/>
                  </a:lnTo>
                  <a:lnTo>
                    <a:pt x="312" y="469"/>
                  </a:lnTo>
                  <a:lnTo>
                    <a:pt x="312" y="472"/>
                  </a:lnTo>
                  <a:lnTo>
                    <a:pt x="312" y="477"/>
                  </a:lnTo>
                  <a:lnTo>
                    <a:pt x="311" y="482"/>
                  </a:lnTo>
                  <a:lnTo>
                    <a:pt x="312" y="489"/>
                  </a:lnTo>
                  <a:lnTo>
                    <a:pt x="312" y="494"/>
                  </a:lnTo>
                  <a:lnTo>
                    <a:pt x="313" y="503"/>
                  </a:lnTo>
                  <a:lnTo>
                    <a:pt x="315" y="516"/>
                  </a:lnTo>
                  <a:lnTo>
                    <a:pt x="316" y="527"/>
                  </a:lnTo>
                  <a:lnTo>
                    <a:pt x="316" y="531"/>
                  </a:lnTo>
                  <a:lnTo>
                    <a:pt x="320" y="548"/>
                  </a:lnTo>
                  <a:lnTo>
                    <a:pt x="320" y="553"/>
                  </a:lnTo>
                  <a:lnTo>
                    <a:pt x="320" y="557"/>
                  </a:lnTo>
                  <a:lnTo>
                    <a:pt x="321" y="561"/>
                  </a:lnTo>
                  <a:lnTo>
                    <a:pt x="321" y="565"/>
                  </a:lnTo>
                  <a:lnTo>
                    <a:pt x="320" y="569"/>
                  </a:lnTo>
                  <a:lnTo>
                    <a:pt x="320" y="574"/>
                  </a:lnTo>
                  <a:lnTo>
                    <a:pt x="319" y="581"/>
                  </a:lnTo>
                  <a:lnTo>
                    <a:pt x="315" y="598"/>
                  </a:lnTo>
                  <a:lnTo>
                    <a:pt x="313" y="602"/>
                  </a:lnTo>
                  <a:lnTo>
                    <a:pt x="312" y="607"/>
                  </a:lnTo>
                  <a:lnTo>
                    <a:pt x="311" y="610"/>
                  </a:lnTo>
                  <a:lnTo>
                    <a:pt x="310" y="615"/>
                  </a:lnTo>
                  <a:lnTo>
                    <a:pt x="310" y="620"/>
                  </a:lnTo>
                  <a:lnTo>
                    <a:pt x="309" y="625"/>
                  </a:lnTo>
                  <a:lnTo>
                    <a:pt x="309" y="630"/>
                  </a:lnTo>
                  <a:lnTo>
                    <a:pt x="310" y="640"/>
                  </a:lnTo>
                  <a:lnTo>
                    <a:pt x="310" y="643"/>
                  </a:lnTo>
                  <a:lnTo>
                    <a:pt x="310" y="646"/>
                  </a:lnTo>
                  <a:lnTo>
                    <a:pt x="309" y="648"/>
                  </a:lnTo>
                  <a:lnTo>
                    <a:pt x="308" y="650"/>
                  </a:lnTo>
                  <a:lnTo>
                    <a:pt x="305" y="657"/>
                  </a:lnTo>
                  <a:lnTo>
                    <a:pt x="304" y="662"/>
                  </a:lnTo>
                  <a:lnTo>
                    <a:pt x="300" y="675"/>
                  </a:lnTo>
                  <a:lnTo>
                    <a:pt x="297" y="685"/>
                  </a:lnTo>
                  <a:lnTo>
                    <a:pt x="295" y="689"/>
                  </a:lnTo>
                  <a:lnTo>
                    <a:pt x="295" y="694"/>
                  </a:lnTo>
                  <a:lnTo>
                    <a:pt x="294" y="699"/>
                  </a:lnTo>
                  <a:lnTo>
                    <a:pt x="293" y="705"/>
                  </a:lnTo>
                  <a:lnTo>
                    <a:pt x="292" y="710"/>
                  </a:lnTo>
                  <a:lnTo>
                    <a:pt x="292" y="714"/>
                  </a:lnTo>
                  <a:lnTo>
                    <a:pt x="293" y="717"/>
                  </a:lnTo>
                  <a:lnTo>
                    <a:pt x="294" y="719"/>
                  </a:lnTo>
                  <a:lnTo>
                    <a:pt x="295" y="722"/>
                  </a:lnTo>
                  <a:lnTo>
                    <a:pt x="295" y="724"/>
                  </a:lnTo>
                  <a:lnTo>
                    <a:pt x="297" y="726"/>
                  </a:lnTo>
                  <a:lnTo>
                    <a:pt x="301" y="732"/>
                  </a:lnTo>
                  <a:lnTo>
                    <a:pt x="303" y="735"/>
                  </a:lnTo>
                  <a:lnTo>
                    <a:pt x="304" y="737"/>
                  </a:lnTo>
                  <a:lnTo>
                    <a:pt x="305" y="739"/>
                  </a:lnTo>
                  <a:lnTo>
                    <a:pt x="305" y="742"/>
                  </a:lnTo>
                  <a:lnTo>
                    <a:pt x="306" y="744"/>
                  </a:lnTo>
                  <a:lnTo>
                    <a:pt x="305" y="746"/>
                  </a:lnTo>
                  <a:lnTo>
                    <a:pt x="305" y="748"/>
                  </a:lnTo>
                  <a:lnTo>
                    <a:pt x="304" y="750"/>
                  </a:lnTo>
                  <a:lnTo>
                    <a:pt x="302" y="753"/>
                  </a:lnTo>
                  <a:lnTo>
                    <a:pt x="301" y="755"/>
                  </a:lnTo>
                  <a:lnTo>
                    <a:pt x="298" y="757"/>
                  </a:lnTo>
                  <a:lnTo>
                    <a:pt x="296" y="759"/>
                  </a:lnTo>
                  <a:lnTo>
                    <a:pt x="293" y="760"/>
                  </a:lnTo>
                  <a:lnTo>
                    <a:pt x="291" y="761"/>
                  </a:lnTo>
                  <a:lnTo>
                    <a:pt x="288" y="761"/>
                  </a:lnTo>
                  <a:lnTo>
                    <a:pt x="285" y="761"/>
                  </a:lnTo>
                  <a:lnTo>
                    <a:pt x="281" y="761"/>
                  </a:lnTo>
                  <a:lnTo>
                    <a:pt x="277" y="760"/>
                  </a:lnTo>
                  <a:lnTo>
                    <a:pt x="272" y="759"/>
                  </a:lnTo>
                  <a:lnTo>
                    <a:pt x="267" y="758"/>
                  </a:lnTo>
                  <a:lnTo>
                    <a:pt x="253" y="754"/>
                  </a:lnTo>
                  <a:lnTo>
                    <a:pt x="243" y="751"/>
                  </a:lnTo>
                  <a:lnTo>
                    <a:pt x="240" y="750"/>
                  </a:lnTo>
                  <a:lnTo>
                    <a:pt x="241" y="750"/>
                  </a:lnTo>
                  <a:lnTo>
                    <a:pt x="241" y="749"/>
                  </a:lnTo>
                  <a:lnTo>
                    <a:pt x="242" y="749"/>
                  </a:lnTo>
                  <a:lnTo>
                    <a:pt x="242" y="748"/>
                  </a:lnTo>
                  <a:lnTo>
                    <a:pt x="243" y="746"/>
                  </a:lnTo>
                  <a:lnTo>
                    <a:pt x="243" y="743"/>
                  </a:lnTo>
                  <a:lnTo>
                    <a:pt x="241" y="739"/>
                  </a:lnTo>
                  <a:lnTo>
                    <a:pt x="239" y="730"/>
                  </a:lnTo>
                  <a:lnTo>
                    <a:pt x="238" y="725"/>
                  </a:lnTo>
                  <a:lnTo>
                    <a:pt x="237" y="719"/>
                  </a:lnTo>
                  <a:lnTo>
                    <a:pt x="235" y="709"/>
                  </a:lnTo>
                  <a:lnTo>
                    <a:pt x="235" y="707"/>
                  </a:lnTo>
                  <a:lnTo>
                    <a:pt x="235" y="704"/>
                  </a:lnTo>
                  <a:lnTo>
                    <a:pt x="234" y="701"/>
                  </a:lnTo>
                  <a:lnTo>
                    <a:pt x="232" y="697"/>
                  </a:lnTo>
                  <a:lnTo>
                    <a:pt x="225" y="684"/>
                  </a:lnTo>
                  <a:lnTo>
                    <a:pt x="224" y="679"/>
                  </a:lnTo>
                  <a:lnTo>
                    <a:pt x="223" y="677"/>
                  </a:lnTo>
                  <a:lnTo>
                    <a:pt x="222" y="674"/>
                  </a:lnTo>
                  <a:lnTo>
                    <a:pt x="220" y="666"/>
                  </a:lnTo>
                  <a:lnTo>
                    <a:pt x="220" y="662"/>
                  </a:lnTo>
                  <a:lnTo>
                    <a:pt x="218" y="658"/>
                  </a:lnTo>
                  <a:lnTo>
                    <a:pt x="218" y="656"/>
                  </a:lnTo>
                  <a:lnTo>
                    <a:pt x="217" y="654"/>
                  </a:lnTo>
                  <a:lnTo>
                    <a:pt x="215" y="652"/>
                  </a:lnTo>
                  <a:lnTo>
                    <a:pt x="213" y="650"/>
                  </a:lnTo>
                  <a:lnTo>
                    <a:pt x="212" y="649"/>
                  </a:lnTo>
                  <a:lnTo>
                    <a:pt x="210" y="648"/>
                  </a:lnTo>
                  <a:lnTo>
                    <a:pt x="208" y="647"/>
                  </a:lnTo>
                  <a:lnTo>
                    <a:pt x="206" y="647"/>
                  </a:lnTo>
                  <a:lnTo>
                    <a:pt x="195" y="644"/>
                  </a:lnTo>
                  <a:lnTo>
                    <a:pt x="192" y="643"/>
                  </a:lnTo>
                  <a:lnTo>
                    <a:pt x="188" y="642"/>
                  </a:lnTo>
                  <a:lnTo>
                    <a:pt x="183" y="639"/>
                  </a:lnTo>
                  <a:lnTo>
                    <a:pt x="180" y="638"/>
                  </a:lnTo>
                  <a:lnTo>
                    <a:pt x="176" y="636"/>
                  </a:lnTo>
                  <a:lnTo>
                    <a:pt x="173" y="634"/>
                  </a:lnTo>
                  <a:lnTo>
                    <a:pt x="170" y="632"/>
                  </a:lnTo>
                  <a:lnTo>
                    <a:pt x="168" y="630"/>
                  </a:lnTo>
                  <a:lnTo>
                    <a:pt x="165" y="628"/>
                  </a:lnTo>
                  <a:lnTo>
                    <a:pt x="163" y="626"/>
                  </a:lnTo>
                  <a:lnTo>
                    <a:pt x="160" y="623"/>
                  </a:lnTo>
                  <a:lnTo>
                    <a:pt x="158" y="620"/>
                  </a:lnTo>
                  <a:lnTo>
                    <a:pt x="156" y="617"/>
                  </a:lnTo>
                  <a:lnTo>
                    <a:pt x="154" y="615"/>
                  </a:lnTo>
                  <a:lnTo>
                    <a:pt x="152" y="611"/>
                  </a:lnTo>
                  <a:lnTo>
                    <a:pt x="150" y="608"/>
                  </a:lnTo>
                  <a:lnTo>
                    <a:pt x="149" y="605"/>
                  </a:lnTo>
                  <a:lnTo>
                    <a:pt x="148" y="603"/>
                  </a:lnTo>
                  <a:lnTo>
                    <a:pt x="147" y="599"/>
                  </a:lnTo>
                  <a:lnTo>
                    <a:pt x="145" y="590"/>
                  </a:lnTo>
                  <a:lnTo>
                    <a:pt x="145" y="585"/>
                  </a:lnTo>
                  <a:lnTo>
                    <a:pt x="143" y="582"/>
                  </a:lnTo>
                  <a:lnTo>
                    <a:pt x="139" y="575"/>
                  </a:lnTo>
                  <a:lnTo>
                    <a:pt x="138" y="570"/>
                  </a:lnTo>
                  <a:lnTo>
                    <a:pt x="135" y="563"/>
                  </a:lnTo>
                  <a:lnTo>
                    <a:pt x="134" y="557"/>
                  </a:lnTo>
                  <a:lnTo>
                    <a:pt x="133" y="555"/>
                  </a:lnTo>
                  <a:lnTo>
                    <a:pt x="133" y="552"/>
                  </a:lnTo>
                  <a:lnTo>
                    <a:pt x="132" y="550"/>
                  </a:lnTo>
                  <a:lnTo>
                    <a:pt x="131" y="550"/>
                  </a:lnTo>
                  <a:lnTo>
                    <a:pt x="130" y="549"/>
                  </a:lnTo>
                  <a:lnTo>
                    <a:pt x="128" y="547"/>
                  </a:lnTo>
                  <a:lnTo>
                    <a:pt x="126" y="546"/>
                  </a:lnTo>
                  <a:lnTo>
                    <a:pt x="118" y="542"/>
                  </a:lnTo>
                  <a:lnTo>
                    <a:pt x="116" y="541"/>
                  </a:lnTo>
                  <a:lnTo>
                    <a:pt x="115" y="540"/>
                  </a:lnTo>
                  <a:lnTo>
                    <a:pt x="113" y="539"/>
                  </a:lnTo>
                  <a:lnTo>
                    <a:pt x="113" y="537"/>
                  </a:lnTo>
                  <a:lnTo>
                    <a:pt x="112" y="536"/>
                  </a:lnTo>
                  <a:lnTo>
                    <a:pt x="111" y="535"/>
                  </a:lnTo>
                  <a:lnTo>
                    <a:pt x="110" y="532"/>
                  </a:lnTo>
                  <a:lnTo>
                    <a:pt x="111" y="530"/>
                  </a:lnTo>
                  <a:lnTo>
                    <a:pt x="112" y="527"/>
                  </a:lnTo>
                  <a:lnTo>
                    <a:pt x="113" y="525"/>
                  </a:lnTo>
                  <a:lnTo>
                    <a:pt x="114" y="522"/>
                  </a:lnTo>
                  <a:lnTo>
                    <a:pt x="115" y="521"/>
                  </a:lnTo>
                  <a:lnTo>
                    <a:pt x="118" y="519"/>
                  </a:lnTo>
                  <a:lnTo>
                    <a:pt x="123" y="515"/>
                  </a:lnTo>
                  <a:lnTo>
                    <a:pt x="124" y="514"/>
                  </a:lnTo>
                  <a:lnTo>
                    <a:pt x="125" y="513"/>
                  </a:lnTo>
                  <a:lnTo>
                    <a:pt x="125" y="511"/>
                  </a:lnTo>
                  <a:lnTo>
                    <a:pt x="126" y="509"/>
                  </a:lnTo>
                  <a:lnTo>
                    <a:pt x="126" y="507"/>
                  </a:lnTo>
                  <a:lnTo>
                    <a:pt x="126" y="506"/>
                  </a:lnTo>
                  <a:lnTo>
                    <a:pt x="126" y="505"/>
                  </a:lnTo>
                  <a:lnTo>
                    <a:pt x="125" y="505"/>
                  </a:lnTo>
                  <a:lnTo>
                    <a:pt x="125" y="504"/>
                  </a:lnTo>
                  <a:lnTo>
                    <a:pt x="123" y="503"/>
                  </a:lnTo>
                  <a:lnTo>
                    <a:pt x="122" y="503"/>
                  </a:lnTo>
                  <a:lnTo>
                    <a:pt x="120" y="503"/>
                  </a:lnTo>
                  <a:lnTo>
                    <a:pt x="118" y="503"/>
                  </a:lnTo>
                  <a:lnTo>
                    <a:pt x="110" y="505"/>
                  </a:lnTo>
                  <a:lnTo>
                    <a:pt x="107" y="505"/>
                  </a:lnTo>
                  <a:lnTo>
                    <a:pt x="104" y="505"/>
                  </a:lnTo>
                  <a:lnTo>
                    <a:pt x="103" y="504"/>
                  </a:lnTo>
                  <a:lnTo>
                    <a:pt x="101" y="503"/>
                  </a:lnTo>
                  <a:lnTo>
                    <a:pt x="99" y="502"/>
                  </a:lnTo>
                  <a:lnTo>
                    <a:pt x="97" y="502"/>
                  </a:lnTo>
                  <a:lnTo>
                    <a:pt x="95" y="500"/>
                  </a:lnTo>
                  <a:lnTo>
                    <a:pt x="93" y="499"/>
                  </a:lnTo>
                  <a:lnTo>
                    <a:pt x="90" y="497"/>
                  </a:lnTo>
                  <a:lnTo>
                    <a:pt x="88" y="495"/>
                  </a:lnTo>
                  <a:lnTo>
                    <a:pt x="86" y="492"/>
                  </a:lnTo>
                  <a:lnTo>
                    <a:pt x="85" y="490"/>
                  </a:lnTo>
                  <a:lnTo>
                    <a:pt x="83" y="487"/>
                  </a:lnTo>
                  <a:lnTo>
                    <a:pt x="82" y="485"/>
                  </a:lnTo>
                  <a:lnTo>
                    <a:pt x="81" y="482"/>
                  </a:lnTo>
                  <a:lnTo>
                    <a:pt x="80" y="480"/>
                  </a:lnTo>
                  <a:lnTo>
                    <a:pt x="81" y="477"/>
                  </a:lnTo>
                  <a:lnTo>
                    <a:pt x="81" y="475"/>
                  </a:lnTo>
                  <a:lnTo>
                    <a:pt x="83" y="461"/>
                  </a:lnTo>
                  <a:lnTo>
                    <a:pt x="84" y="455"/>
                  </a:lnTo>
                  <a:lnTo>
                    <a:pt x="84" y="453"/>
                  </a:lnTo>
                  <a:lnTo>
                    <a:pt x="84" y="452"/>
                  </a:lnTo>
                  <a:lnTo>
                    <a:pt x="83" y="450"/>
                  </a:lnTo>
                  <a:lnTo>
                    <a:pt x="83" y="449"/>
                  </a:lnTo>
                  <a:lnTo>
                    <a:pt x="82" y="447"/>
                  </a:lnTo>
                  <a:lnTo>
                    <a:pt x="80" y="445"/>
                  </a:lnTo>
                  <a:lnTo>
                    <a:pt x="78" y="444"/>
                  </a:lnTo>
                  <a:lnTo>
                    <a:pt x="73" y="440"/>
                  </a:lnTo>
                  <a:lnTo>
                    <a:pt x="72" y="440"/>
                  </a:lnTo>
                  <a:lnTo>
                    <a:pt x="70" y="438"/>
                  </a:lnTo>
                  <a:lnTo>
                    <a:pt x="67" y="434"/>
                  </a:lnTo>
                  <a:lnTo>
                    <a:pt x="65" y="432"/>
                  </a:lnTo>
                  <a:lnTo>
                    <a:pt x="64" y="432"/>
                  </a:lnTo>
                  <a:lnTo>
                    <a:pt x="63" y="431"/>
                  </a:lnTo>
                  <a:lnTo>
                    <a:pt x="55" y="429"/>
                  </a:lnTo>
                  <a:lnTo>
                    <a:pt x="53" y="427"/>
                  </a:lnTo>
                  <a:lnTo>
                    <a:pt x="50" y="426"/>
                  </a:lnTo>
                  <a:lnTo>
                    <a:pt x="48" y="425"/>
                  </a:lnTo>
                  <a:lnTo>
                    <a:pt x="48" y="424"/>
                  </a:lnTo>
                  <a:lnTo>
                    <a:pt x="47" y="422"/>
                  </a:lnTo>
                  <a:lnTo>
                    <a:pt x="46" y="421"/>
                  </a:lnTo>
                  <a:lnTo>
                    <a:pt x="45" y="419"/>
                  </a:lnTo>
                  <a:lnTo>
                    <a:pt x="43" y="411"/>
                  </a:lnTo>
                  <a:lnTo>
                    <a:pt x="43" y="409"/>
                  </a:lnTo>
                  <a:lnTo>
                    <a:pt x="41" y="407"/>
                  </a:lnTo>
                  <a:lnTo>
                    <a:pt x="40" y="404"/>
                  </a:lnTo>
                  <a:lnTo>
                    <a:pt x="38" y="401"/>
                  </a:lnTo>
                  <a:lnTo>
                    <a:pt x="36" y="399"/>
                  </a:lnTo>
                  <a:lnTo>
                    <a:pt x="33" y="395"/>
                  </a:lnTo>
                  <a:lnTo>
                    <a:pt x="33" y="395"/>
                  </a:lnTo>
                  <a:lnTo>
                    <a:pt x="32" y="394"/>
                  </a:lnTo>
                  <a:lnTo>
                    <a:pt x="32" y="392"/>
                  </a:lnTo>
                  <a:lnTo>
                    <a:pt x="32" y="391"/>
                  </a:lnTo>
                  <a:lnTo>
                    <a:pt x="33" y="390"/>
                  </a:lnTo>
                  <a:lnTo>
                    <a:pt x="33" y="388"/>
                  </a:lnTo>
                  <a:lnTo>
                    <a:pt x="39" y="380"/>
                  </a:lnTo>
                  <a:lnTo>
                    <a:pt x="40" y="376"/>
                  </a:lnTo>
                  <a:lnTo>
                    <a:pt x="42" y="374"/>
                  </a:lnTo>
                  <a:lnTo>
                    <a:pt x="43" y="372"/>
                  </a:lnTo>
                  <a:lnTo>
                    <a:pt x="44" y="366"/>
                  </a:lnTo>
                  <a:lnTo>
                    <a:pt x="45" y="363"/>
                  </a:lnTo>
                  <a:lnTo>
                    <a:pt x="45" y="361"/>
                  </a:lnTo>
                  <a:lnTo>
                    <a:pt x="45" y="360"/>
                  </a:lnTo>
                  <a:lnTo>
                    <a:pt x="44" y="358"/>
                  </a:lnTo>
                  <a:lnTo>
                    <a:pt x="43" y="356"/>
                  </a:lnTo>
                  <a:lnTo>
                    <a:pt x="43" y="354"/>
                  </a:lnTo>
                  <a:lnTo>
                    <a:pt x="42" y="352"/>
                  </a:lnTo>
                  <a:lnTo>
                    <a:pt x="40" y="348"/>
                  </a:lnTo>
                  <a:lnTo>
                    <a:pt x="38" y="346"/>
                  </a:lnTo>
                  <a:lnTo>
                    <a:pt x="37" y="344"/>
                  </a:lnTo>
                  <a:lnTo>
                    <a:pt x="36" y="343"/>
                  </a:lnTo>
                  <a:lnTo>
                    <a:pt x="33" y="341"/>
                  </a:lnTo>
                  <a:lnTo>
                    <a:pt x="32" y="340"/>
                  </a:lnTo>
                  <a:lnTo>
                    <a:pt x="30" y="338"/>
                  </a:lnTo>
                  <a:lnTo>
                    <a:pt x="28" y="337"/>
                  </a:lnTo>
                  <a:lnTo>
                    <a:pt x="26" y="336"/>
                  </a:lnTo>
                  <a:lnTo>
                    <a:pt x="22" y="335"/>
                  </a:lnTo>
                  <a:lnTo>
                    <a:pt x="17" y="333"/>
                  </a:lnTo>
                  <a:lnTo>
                    <a:pt x="10" y="332"/>
                  </a:lnTo>
                  <a:lnTo>
                    <a:pt x="8" y="331"/>
                  </a:lnTo>
                  <a:lnTo>
                    <a:pt x="6" y="330"/>
                  </a:lnTo>
                  <a:lnTo>
                    <a:pt x="4" y="330"/>
                  </a:lnTo>
                  <a:lnTo>
                    <a:pt x="3" y="329"/>
                  </a:lnTo>
                  <a:lnTo>
                    <a:pt x="2" y="328"/>
                  </a:lnTo>
                  <a:lnTo>
                    <a:pt x="1" y="326"/>
                  </a:lnTo>
                  <a:lnTo>
                    <a:pt x="1" y="325"/>
                  </a:lnTo>
                  <a:lnTo>
                    <a:pt x="0" y="324"/>
                  </a:lnTo>
                  <a:lnTo>
                    <a:pt x="0" y="321"/>
                  </a:lnTo>
                  <a:lnTo>
                    <a:pt x="1" y="320"/>
                  </a:lnTo>
                  <a:lnTo>
                    <a:pt x="1" y="318"/>
                  </a:lnTo>
                  <a:lnTo>
                    <a:pt x="1" y="317"/>
                  </a:lnTo>
                  <a:lnTo>
                    <a:pt x="2" y="315"/>
                  </a:lnTo>
                  <a:lnTo>
                    <a:pt x="6" y="310"/>
                  </a:lnTo>
                  <a:lnTo>
                    <a:pt x="7" y="309"/>
                  </a:lnTo>
                  <a:lnTo>
                    <a:pt x="8" y="307"/>
                  </a:lnTo>
                  <a:lnTo>
                    <a:pt x="9" y="305"/>
                  </a:lnTo>
                  <a:lnTo>
                    <a:pt x="10" y="302"/>
                  </a:lnTo>
                  <a:lnTo>
                    <a:pt x="11" y="293"/>
                  </a:lnTo>
                  <a:lnTo>
                    <a:pt x="11" y="286"/>
                  </a:lnTo>
                  <a:lnTo>
                    <a:pt x="11" y="283"/>
                  </a:lnTo>
                  <a:lnTo>
                    <a:pt x="11" y="280"/>
                  </a:lnTo>
                  <a:lnTo>
                    <a:pt x="13" y="278"/>
                  </a:lnTo>
                  <a:lnTo>
                    <a:pt x="14" y="275"/>
                  </a:lnTo>
                  <a:lnTo>
                    <a:pt x="16" y="273"/>
                  </a:lnTo>
                  <a:lnTo>
                    <a:pt x="17" y="271"/>
                  </a:lnTo>
                  <a:lnTo>
                    <a:pt x="19" y="270"/>
                  </a:lnTo>
                  <a:lnTo>
                    <a:pt x="21" y="270"/>
                  </a:lnTo>
                  <a:lnTo>
                    <a:pt x="23" y="269"/>
                  </a:lnTo>
                  <a:lnTo>
                    <a:pt x="24" y="269"/>
                  </a:lnTo>
                  <a:lnTo>
                    <a:pt x="31" y="269"/>
                  </a:lnTo>
                  <a:lnTo>
                    <a:pt x="32" y="269"/>
                  </a:lnTo>
                  <a:lnTo>
                    <a:pt x="33" y="268"/>
                  </a:lnTo>
                  <a:lnTo>
                    <a:pt x="35" y="268"/>
                  </a:lnTo>
                  <a:lnTo>
                    <a:pt x="36" y="267"/>
                  </a:lnTo>
                  <a:lnTo>
                    <a:pt x="38" y="265"/>
                  </a:lnTo>
                  <a:lnTo>
                    <a:pt x="38" y="264"/>
                  </a:lnTo>
                  <a:lnTo>
                    <a:pt x="40" y="261"/>
                  </a:lnTo>
                  <a:lnTo>
                    <a:pt x="41" y="258"/>
                  </a:lnTo>
                  <a:lnTo>
                    <a:pt x="43" y="254"/>
                  </a:lnTo>
                  <a:lnTo>
                    <a:pt x="43" y="250"/>
                  </a:lnTo>
                  <a:lnTo>
                    <a:pt x="44" y="246"/>
                  </a:lnTo>
                  <a:lnTo>
                    <a:pt x="45" y="241"/>
                  </a:lnTo>
                  <a:lnTo>
                    <a:pt x="45" y="237"/>
                  </a:lnTo>
                  <a:lnTo>
                    <a:pt x="45" y="230"/>
                  </a:lnTo>
                  <a:lnTo>
                    <a:pt x="45" y="228"/>
                  </a:lnTo>
                  <a:lnTo>
                    <a:pt x="46" y="228"/>
                  </a:lnTo>
                  <a:lnTo>
                    <a:pt x="47" y="228"/>
                  </a:lnTo>
                  <a:lnTo>
                    <a:pt x="52" y="227"/>
                  </a:lnTo>
                  <a:lnTo>
                    <a:pt x="54" y="227"/>
                  </a:lnTo>
                  <a:lnTo>
                    <a:pt x="56" y="227"/>
                  </a:lnTo>
                  <a:lnTo>
                    <a:pt x="58" y="227"/>
                  </a:lnTo>
                  <a:lnTo>
                    <a:pt x="61" y="228"/>
                  </a:lnTo>
                  <a:lnTo>
                    <a:pt x="64" y="228"/>
                  </a:lnTo>
                  <a:lnTo>
                    <a:pt x="67" y="229"/>
                  </a:lnTo>
                  <a:lnTo>
                    <a:pt x="69" y="230"/>
                  </a:lnTo>
                  <a:lnTo>
                    <a:pt x="72" y="233"/>
                  </a:lnTo>
                  <a:lnTo>
                    <a:pt x="74" y="234"/>
                  </a:lnTo>
                  <a:lnTo>
                    <a:pt x="77" y="236"/>
                  </a:lnTo>
                  <a:lnTo>
                    <a:pt x="79" y="238"/>
                  </a:lnTo>
                  <a:lnTo>
                    <a:pt x="82" y="243"/>
                  </a:lnTo>
                  <a:lnTo>
                    <a:pt x="88" y="250"/>
                  </a:lnTo>
                  <a:lnTo>
                    <a:pt x="90" y="253"/>
                  </a:lnTo>
                  <a:lnTo>
                    <a:pt x="92" y="255"/>
                  </a:lnTo>
                  <a:lnTo>
                    <a:pt x="93" y="257"/>
                  </a:lnTo>
                  <a:lnTo>
                    <a:pt x="95" y="258"/>
                  </a:lnTo>
                  <a:lnTo>
                    <a:pt x="97" y="259"/>
                  </a:lnTo>
                  <a:lnTo>
                    <a:pt x="98" y="260"/>
                  </a:lnTo>
                  <a:lnTo>
                    <a:pt x="101" y="260"/>
                  </a:lnTo>
                  <a:lnTo>
                    <a:pt x="103" y="260"/>
                  </a:lnTo>
                  <a:lnTo>
                    <a:pt x="105" y="260"/>
                  </a:lnTo>
                  <a:lnTo>
                    <a:pt x="108" y="260"/>
                  </a:lnTo>
                  <a:lnTo>
                    <a:pt x="110" y="260"/>
                  </a:lnTo>
                  <a:lnTo>
                    <a:pt x="113" y="260"/>
                  </a:lnTo>
                  <a:lnTo>
                    <a:pt x="119" y="258"/>
                  </a:lnTo>
                  <a:lnTo>
                    <a:pt x="123" y="257"/>
                  </a:lnTo>
                  <a:lnTo>
                    <a:pt x="125" y="257"/>
                  </a:lnTo>
                  <a:lnTo>
                    <a:pt x="128" y="257"/>
                  </a:lnTo>
                  <a:lnTo>
                    <a:pt x="130" y="257"/>
                  </a:lnTo>
                  <a:lnTo>
                    <a:pt x="132" y="257"/>
                  </a:lnTo>
                  <a:lnTo>
                    <a:pt x="134" y="258"/>
                  </a:lnTo>
                  <a:lnTo>
                    <a:pt x="137" y="258"/>
                  </a:lnTo>
                  <a:lnTo>
                    <a:pt x="139" y="259"/>
                  </a:lnTo>
                  <a:lnTo>
                    <a:pt x="140" y="260"/>
                  </a:lnTo>
                  <a:lnTo>
                    <a:pt x="143" y="261"/>
                  </a:lnTo>
                  <a:lnTo>
                    <a:pt x="145" y="263"/>
                  </a:lnTo>
                  <a:lnTo>
                    <a:pt x="153" y="268"/>
                  </a:lnTo>
                  <a:lnTo>
                    <a:pt x="155" y="269"/>
                  </a:lnTo>
                  <a:lnTo>
                    <a:pt x="156" y="270"/>
                  </a:lnTo>
                  <a:lnTo>
                    <a:pt x="158" y="270"/>
                  </a:lnTo>
                  <a:lnTo>
                    <a:pt x="160" y="270"/>
                  </a:lnTo>
                  <a:lnTo>
                    <a:pt x="161" y="270"/>
                  </a:lnTo>
                  <a:lnTo>
                    <a:pt x="162" y="269"/>
                  </a:lnTo>
                  <a:lnTo>
                    <a:pt x="163" y="268"/>
                  </a:lnTo>
                  <a:lnTo>
                    <a:pt x="163" y="268"/>
                  </a:lnTo>
                  <a:lnTo>
                    <a:pt x="163" y="267"/>
                  </a:lnTo>
                  <a:lnTo>
                    <a:pt x="163" y="265"/>
                  </a:lnTo>
                  <a:lnTo>
                    <a:pt x="163" y="264"/>
                  </a:lnTo>
                  <a:lnTo>
                    <a:pt x="162" y="263"/>
                  </a:lnTo>
                  <a:lnTo>
                    <a:pt x="160" y="261"/>
                  </a:lnTo>
                  <a:lnTo>
                    <a:pt x="160" y="260"/>
                  </a:lnTo>
                  <a:lnTo>
                    <a:pt x="153" y="255"/>
                  </a:lnTo>
                  <a:lnTo>
                    <a:pt x="146" y="248"/>
                  </a:lnTo>
                  <a:lnTo>
                    <a:pt x="143" y="245"/>
                  </a:lnTo>
                  <a:lnTo>
                    <a:pt x="139" y="240"/>
                  </a:lnTo>
                  <a:lnTo>
                    <a:pt x="136" y="236"/>
                  </a:lnTo>
                  <a:lnTo>
                    <a:pt x="135" y="234"/>
                  </a:lnTo>
                  <a:lnTo>
                    <a:pt x="134" y="232"/>
                  </a:lnTo>
                  <a:lnTo>
                    <a:pt x="133" y="230"/>
                  </a:lnTo>
                  <a:lnTo>
                    <a:pt x="132" y="226"/>
                  </a:lnTo>
                  <a:lnTo>
                    <a:pt x="131" y="224"/>
                  </a:lnTo>
                  <a:lnTo>
                    <a:pt x="131" y="223"/>
                  </a:lnTo>
                  <a:lnTo>
                    <a:pt x="130" y="220"/>
                  </a:lnTo>
                  <a:lnTo>
                    <a:pt x="131" y="217"/>
                  </a:lnTo>
                  <a:lnTo>
                    <a:pt x="132" y="214"/>
                  </a:lnTo>
                  <a:lnTo>
                    <a:pt x="133" y="212"/>
                  </a:lnTo>
                  <a:lnTo>
                    <a:pt x="135" y="209"/>
                  </a:lnTo>
                  <a:lnTo>
                    <a:pt x="137" y="205"/>
                  </a:lnTo>
                  <a:lnTo>
                    <a:pt x="145" y="197"/>
                  </a:lnTo>
                  <a:lnTo>
                    <a:pt x="147" y="195"/>
                  </a:lnTo>
                  <a:lnTo>
                    <a:pt x="148" y="193"/>
                  </a:lnTo>
                  <a:lnTo>
                    <a:pt x="148" y="190"/>
                  </a:lnTo>
                  <a:lnTo>
                    <a:pt x="148" y="188"/>
                  </a:lnTo>
                  <a:lnTo>
                    <a:pt x="148" y="186"/>
                  </a:lnTo>
                  <a:lnTo>
                    <a:pt x="148" y="183"/>
                  </a:lnTo>
                  <a:lnTo>
                    <a:pt x="147" y="182"/>
                  </a:lnTo>
                  <a:lnTo>
                    <a:pt x="146" y="180"/>
                  </a:lnTo>
                  <a:lnTo>
                    <a:pt x="145" y="179"/>
                  </a:lnTo>
                  <a:lnTo>
                    <a:pt x="143" y="178"/>
                  </a:lnTo>
                  <a:lnTo>
                    <a:pt x="140" y="175"/>
                  </a:lnTo>
                  <a:lnTo>
                    <a:pt x="135" y="172"/>
                  </a:lnTo>
                  <a:lnTo>
                    <a:pt x="133" y="171"/>
                  </a:lnTo>
                  <a:lnTo>
                    <a:pt x="128" y="168"/>
                  </a:lnTo>
                  <a:lnTo>
                    <a:pt x="125" y="166"/>
                  </a:lnTo>
                  <a:lnTo>
                    <a:pt x="124" y="165"/>
                  </a:lnTo>
                  <a:lnTo>
                    <a:pt x="122" y="163"/>
                  </a:lnTo>
                  <a:lnTo>
                    <a:pt x="120" y="161"/>
                  </a:lnTo>
                  <a:lnTo>
                    <a:pt x="119" y="159"/>
                  </a:lnTo>
                  <a:lnTo>
                    <a:pt x="116" y="155"/>
                  </a:lnTo>
                  <a:lnTo>
                    <a:pt x="114" y="150"/>
                  </a:lnTo>
                  <a:lnTo>
                    <a:pt x="112" y="145"/>
                  </a:lnTo>
                  <a:lnTo>
                    <a:pt x="110" y="142"/>
                  </a:lnTo>
                  <a:lnTo>
                    <a:pt x="108" y="133"/>
                  </a:lnTo>
                  <a:lnTo>
                    <a:pt x="108" y="129"/>
                  </a:lnTo>
                  <a:lnTo>
                    <a:pt x="108" y="127"/>
                  </a:lnTo>
                  <a:lnTo>
                    <a:pt x="108" y="126"/>
                  </a:lnTo>
                  <a:lnTo>
                    <a:pt x="108" y="124"/>
                  </a:lnTo>
                  <a:lnTo>
                    <a:pt x="108" y="123"/>
                  </a:lnTo>
                  <a:lnTo>
                    <a:pt x="108" y="121"/>
                  </a:lnTo>
                  <a:lnTo>
                    <a:pt x="109" y="120"/>
                  </a:lnTo>
                  <a:lnTo>
                    <a:pt x="110" y="118"/>
                  </a:lnTo>
                  <a:lnTo>
                    <a:pt x="112" y="118"/>
                  </a:lnTo>
                  <a:lnTo>
                    <a:pt x="113" y="117"/>
                  </a:lnTo>
                  <a:lnTo>
                    <a:pt x="115" y="117"/>
                  </a:lnTo>
                  <a:lnTo>
                    <a:pt x="116" y="116"/>
                  </a:lnTo>
                  <a:lnTo>
                    <a:pt x="118" y="116"/>
                  </a:lnTo>
                  <a:lnTo>
                    <a:pt x="120" y="116"/>
                  </a:lnTo>
                  <a:lnTo>
                    <a:pt x="122" y="117"/>
                  </a:lnTo>
                  <a:lnTo>
                    <a:pt x="124" y="118"/>
                  </a:lnTo>
                  <a:lnTo>
                    <a:pt x="130" y="120"/>
                  </a:lnTo>
                  <a:lnTo>
                    <a:pt x="135" y="121"/>
                  </a:lnTo>
                  <a:lnTo>
                    <a:pt x="139" y="123"/>
                  </a:lnTo>
                  <a:lnTo>
                    <a:pt x="143" y="123"/>
                  </a:lnTo>
                  <a:lnTo>
                    <a:pt x="148" y="124"/>
                  </a:lnTo>
                  <a:lnTo>
                    <a:pt x="151" y="124"/>
                  </a:lnTo>
                  <a:lnTo>
                    <a:pt x="155" y="124"/>
                  </a:lnTo>
                  <a:lnTo>
                    <a:pt x="158" y="123"/>
                  </a:lnTo>
                  <a:lnTo>
                    <a:pt x="173" y="120"/>
                  </a:lnTo>
                  <a:lnTo>
                    <a:pt x="177" y="118"/>
                  </a:lnTo>
                  <a:lnTo>
                    <a:pt x="181" y="117"/>
                  </a:lnTo>
                  <a:lnTo>
                    <a:pt x="188" y="113"/>
                  </a:lnTo>
                  <a:lnTo>
                    <a:pt x="191" y="112"/>
                  </a:lnTo>
                  <a:lnTo>
                    <a:pt x="199" y="107"/>
                  </a:lnTo>
                  <a:lnTo>
                    <a:pt x="206" y="103"/>
                  </a:lnTo>
                  <a:lnTo>
                    <a:pt x="208" y="101"/>
                  </a:lnTo>
                  <a:lnTo>
                    <a:pt x="210" y="100"/>
                  </a:lnTo>
                  <a:lnTo>
                    <a:pt x="211" y="98"/>
                  </a:lnTo>
                  <a:lnTo>
                    <a:pt x="212" y="97"/>
                  </a:lnTo>
                  <a:lnTo>
                    <a:pt x="213" y="95"/>
                  </a:lnTo>
                  <a:lnTo>
                    <a:pt x="213" y="92"/>
                  </a:lnTo>
                  <a:lnTo>
                    <a:pt x="215" y="81"/>
                  </a:lnTo>
                  <a:lnTo>
                    <a:pt x="216" y="76"/>
                  </a:lnTo>
                  <a:lnTo>
                    <a:pt x="217" y="73"/>
                  </a:lnTo>
                  <a:lnTo>
                    <a:pt x="219" y="67"/>
                  </a:lnTo>
                  <a:lnTo>
                    <a:pt x="220" y="64"/>
                  </a:lnTo>
                  <a:lnTo>
                    <a:pt x="225" y="56"/>
                  </a:lnTo>
                  <a:lnTo>
                    <a:pt x="226" y="52"/>
                  </a:lnTo>
                  <a:lnTo>
                    <a:pt x="228" y="48"/>
                  </a:lnTo>
                  <a:lnTo>
                    <a:pt x="228" y="46"/>
                  </a:lnTo>
                  <a:lnTo>
                    <a:pt x="228" y="45"/>
                  </a:lnTo>
                  <a:lnTo>
                    <a:pt x="228" y="43"/>
                  </a:lnTo>
                  <a:lnTo>
                    <a:pt x="228" y="42"/>
                  </a:lnTo>
                  <a:lnTo>
                    <a:pt x="228" y="41"/>
                  </a:lnTo>
                  <a:lnTo>
                    <a:pt x="227" y="39"/>
                  </a:lnTo>
                  <a:lnTo>
                    <a:pt x="225" y="38"/>
                  </a:lnTo>
                  <a:lnTo>
                    <a:pt x="223" y="34"/>
                  </a:lnTo>
                  <a:lnTo>
                    <a:pt x="218" y="28"/>
                  </a:lnTo>
                  <a:lnTo>
                    <a:pt x="216" y="26"/>
                  </a:lnTo>
                  <a:lnTo>
                    <a:pt x="215" y="24"/>
                  </a:lnTo>
                  <a:lnTo>
                    <a:pt x="214" y="21"/>
                  </a:lnTo>
                  <a:lnTo>
                    <a:pt x="213" y="19"/>
                  </a:lnTo>
                  <a:lnTo>
                    <a:pt x="213" y="18"/>
                  </a:lnTo>
                  <a:lnTo>
                    <a:pt x="213" y="16"/>
                  </a:lnTo>
                  <a:lnTo>
                    <a:pt x="214" y="15"/>
                  </a:lnTo>
                  <a:lnTo>
                    <a:pt x="215" y="14"/>
                  </a:lnTo>
                  <a:lnTo>
                    <a:pt x="217" y="13"/>
                  </a:lnTo>
                  <a:lnTo>
                    <a:pt x="220" y="11"/>
                  </a:lnTo>
                  <a:lnTo>
                    <a:pt x="223" y="9"/>
                  </a:lnTo>
                  <a:lnTo>
                    <a:pt x="226" y="8"/>
                  </a:lnTo>
                  <a:lnTo>
                    <a:pt x="231" y="6"/>
                  </a:lnTo>
                  <a:lnTo>
                    <a:pt x="244" y="4"/>
                  </a:lnTo>
                  <a:lnTo>
                    <a:pt x="247" y="3"/>
                  </a:lnTo>
                  <a:lnTo>
                    <a:pt x="250" y="2"/>
                  </a:lnTo>
                  <a:lnTo>
                    <a:pt x="251" y="1"/>
                  </a:lnTo>
                  <a:lnTo>
                    <a:pt x="253" y="1"/>
                  </a:lnTo>
                  <a:lnTo>
                    <a:pt x="256" y="1"/>
                  </a:lnTo>
                  <a:lnTo>
                    <a:pt x="258" y="1"/>
                  </a:lnTo>
                  <a:lnTo>
                    <a:pt x="260" y="1"/>
                  </a:lnTo>
                  <a:lnTo>
                    <a:pt x="261" y="1"/>
                  </a:lnTo>
                  <a:lnTo>
                    <a:pt x="262" y="0"/>
                  </a:lnTo>
                  <a:lnTo>
                    <a:pt x="263" y="0"/>
                  </a:lnTo>
                  <a:close/>
                </a:path>
              </a:pathLst>
            </a:custGeom>
            <a:solidFill>
              <a:srgbClr val="EFF3FF"/>
            </a:solidFill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97">
              <a:extLst>
                <a:ext uri="{FF2B5EF4-FFF2-40B4-BE49-F238E27FC236}">
                  <a16:creationId xmlns:a16="http://schemas.microsoft.com/office/drawing/2014/main" id="{7F879C4A-AA89-4E6B-BC11-6BC7B75E2A3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8673" y="5043325"/>
              <a:ext cx="996950" cy="1444625"/>
            </a:xfrm>
            <a:custGeom>
              <a:avLst/>
              <a:gdLst>
                <a:gd name="T0" fmla="*/ 169 w 628"/>
                <a:gd name="T1" fmla="*/ 5 h 910"/>
                <a:gd name="T2" fmla="*/ 189 w 628"/>
                <a:gd name="T3" fmla="*/ 76 h 910"/>
                <a:gd name="T4" fmla="*/ 212 w 628"/>
                <a:gd name="T5" fmla="*/ 77 h 910"/>
                <a:gd name="T6" fmla="*/ 241 w 628"/>
                <a:gd name="T7" fmla="*/ 94 h 910"/>
                <a:gd name="T8" fmla="*/ 269 w 628"/>
                <a:gd name="T9" fmla="*/ 132 h 910"/>
                <a:gd name="T10" fmla="*/ 331 w 628"/>
                <a:gd name="T11" fmla="*/ 152 h 910"/>
                <a:gd name="T12" fmla="*/ 359 w 628"/>
                <a:gd name="T13" fmla="*/ 197 h 910"/>
                <a:gd name="T14" fmla="*/ 386 w 628"/>
                <a:gd name="T15" fmla="*/ 229 h 910"/>
                <a:gd name="T16" fmla="*/ 431 w 628"/>
                <a:gd name="T17" fmla="*/ 257 h 910"/>
                <a:gd name="T18" fmla="*/ 421 w 628"/>
                <a:gd name="T19" fmla="*/ 296 h 910"/>
                <a:gd name="T20" fmla="*/ 398 w 628"/>
                <a:gd name="T21" fmla="*/ 307 h 910"/>
                <a:gd name="T22" fmla="*/ 386 w 628"/>
                <a:gd name="T23" fmla="*/ 347 h 910"/>
                <a:gd name="T24" fmla="*/ 402 w 628"/>
                <a:gd name="T25" fmla="*/ 362 h 910"/>
                <a:gd name="T26" fmla="*/ 428 w 628"/>
                <a:gd name="T27" fmla="*/ 383 h 910"/>
                <a:gd name="T28" fmla="*/ 418 w 628"/>
                <a:gd name="T29" fmla="*/ 419 h 910"/>
                <a:gd name="T30" fmla="*/ 430 w 628"/>
                <a:gd name="T31" fmla="*/ 448 h 910"/>
                <a:gd name="T32" fmla="*/ 455 w 628"/>
                <a:gd name="T33" fmla="*/ 467 h 910"/>
                <a:gd name="T34" fmla="*/ 466 w 628"/>
                <a:gd name="T35" fmla="*/ 504 h 910"/>
                <a:gd name="T36" fmla="*/ 482 w 628"/>
                <a:gd name="T37" fmla="*/ 531 h 910"/>
                <a:gd name="T38" fmla="*/ 510 w 628"/>
                <a:gd name="T39" fmla="*/ 534 h 910"/>
                <a:gd name="T40" fmla="*/ 498 w 628"/>
                <a:gd name="T41" fmla="*/ 554 h 910"/>
                <a:gd name="T42" fmla="*/ 513 w 628"/>
                <a:gd name="T43" fmla="*/ 576 h 910"/>
                <a:gd name="T44" fmla="*/ 530 w 628"/>
                <a:gd name="T45" fmla="*/ 619 h 910"/>
                <a:gd name="T46" fmla="*/ 553 w 628"/>
                <a:gd name="T47" fmla="*/ 659 h 910"/>
                <a:gd name="T48" fmla="*/ 597 w 628"/>
                <a:gd name="T49" fmla="*/ 678 h 910"/>
                <a:gd name="T50" fmla="*/ 617 w 628"/>
                <a:gd name="T51" fmla="*/ 726 h 910"/>
                <a:gd name="T52" fmla="*/ 627 w 628"/>
                <a:gd name="T53" fmla="*/ 778 h 910"/>
                <a:gd name="T54" fmla="*/ 584 w 628"/>
                <a:gd name="T55" fmla="*/ 766 h 910"/>
                <a:gd name="T56" fmla="*/ 545 w 628"/>
                <a:gd name="T57" fmla="*/ 772 h 910"/>
                <a:gd name="T58" fmla="*/ 530 w 628"/>
                <a:gd name="T59" fmla="*/ 833 h 910"/>
                <a:gd name="T60" fmla="*/ 480 w 628"/>
                <a:gd name="T61" fmla="*/ 880 h 910"/>
                <a:gd name="T62" fmla="*/ 460 w 628"/>
                <a:gd name="T63" fmla="*/ 910 h 910"/>
                <a:gd name="T64" fmla="*/ 438 w 628"/>
                <a:gd name="T65" fmla="*/ 876 h 910"/>
                <a:gd name="T66" fmla="*/ 435 w 628"/>
                <a:gd name="T67" fmla="*/ 834 h 910"/>
                <a:gd name="T68" fmla="*/ 411 w 628"/>
                <a:gd name="T69" fmla="*/ 821 h 910"/>
                <a:gd name="T70" fmla="*/ 348 w 628"/>
                <a:gd name="T71" fmla="*/ 763 h 910"/>
                <a:gd name="T72" fmla="*/ 336 w 628"/>
                <a:gd name="T73" fmla="*/ 728 h 910"/>
                <a:gd name="T74" fmla="*/ 275 w 628"/>
                <a:gd name="T75" fmla="*/ 743 h 910"/>
                <a:gd name="T76" fmla="*/ 250 w 628"/>
                <a:gd name="T77" fmla="*/ 731 h 910"/>
                <a:gd name="T78" fmla="*/ 238 w 628"/>
                <a:gd name="T79" fmla="*/ 684 h 910"/>
                <a:gd name="T80" fmla="*/ 203 w 628"/>
                <a:gd name="T81" fmla="*/ 649 h 910"/>
                <a:gd name="T82" fmla="*/ 162 w 628"/>
                <a:gd name="T83" fmla="*/ 626 h 910"/>
                <a:gd name="T84" fmla="*/ 159 w 628"/>
                <a:gd name="T85" fmla="*/ 604 h 910"/>
                <a:gd name="T86" fmla="*/ 99 w 628"/>
                <a:gd name="T87" fmla="*/ 569 h 910"/>
                <a:gd name="T88" fmla="*/ 61 w 628"/>
                <a:gd name="T89" fmla="*/ 532 h 910"/>
                <a:gd name="T90" fmla="*/ 21 w 628"/>
                <a:gd name="T91" fmla="*/ 501 h 910"/>
                <a:gd name="T92" fmla="*/ 0 w 628"/>
                <a:gd name="T93" fmla="*/ 472 h 910"/>
                <a:gd name="T94" fmla="*/ 22 w 628"/>
                <a:gd name="T95" fmla="*/ 448 h 910"/>
                <a:gd name="T96" fmla="*/ 59 w 628"/>
                <a:gd name="T97" fmla="*/ 419 h 910"/>
                <a:gd name="T98" fmla="*/ 49 w 628"/>
                <a:gd name="T99" fmla="*/ 382 h 910"/>
                <a:gd name="T100" fmla="*/ 31 w 628"/>
                <a:gd name="T101" fmla="*/ 349 h 910"/>
                <a:gd name="T102" fmla="*/ 30 w 628"/>
                <a:gd name="T103" fmla="*/ 297 h 910"/>
                <a:gd name="T104" fmla="*/ 21 w 628"/>
                <a:gd name="T105" fmla="*/ 279 h 910"/>
                <a:gd name="T106" fmla="*/ 33 w 628"/>
                <a:gd name="T107" fmla="*/ 264 h 910"/>
                <a:gd name="T108" fmla="*/ 54 w 628"/>
                <a:gd name="T109" fmla="*/ 249 h 910"/>
                <a:gd name="T110" fmla="*/ 60 w 628"/>
                <a:gd name="T111" fmla="*/ 221 h 910"/>
                <a:gd name="T112" fmla="*/ 84 w 628"/>
                <a:gd name="T113" fmla="*/ 179 h 910"/>
                <a:gd name="T114" fmla="*/ 79 w 628"/>
                <a:gd name="T115" fmla="*/ 130 h 910"/>
                <a:gd name="T116" fmla="*/ 99 w 628"/>
                <a:gd name="T117" fmla="*/ 123 h 910"/>
                <a:gd name="T118" fmla="*/ 133 w 628"/>
                <a:gd name="T119" fmla="*/ 128 h 910"/>
                <a:gd name="T120" fmla="*/ 116 w 628"/>
                <a:gd name="T121" fmla="*/ 84 h 910"/>
                <a:gd name="T122" fmla="*/ 116 w 628"/>
                <a:gd name="T123" fmla="*/ 35 h 910"/>
                <a:gd name="T124" fmla="*/ 150 w 628"/>
                <a:gd name="T125" fmla="*/ 13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28" h="910">
                  <a:moveTo>
                    <a:pt x="160" y="0"/>
                  </a:moveTo>
                  <a:lnTo>
                    <a:pt x="161" y="0"/>
                  </a:lnTo>
                  <a:lnTo>
                    <a:pt x="161" y="0"/>
                  </a:lnTo>
                  <a:lnTo>
                    <a:pt x="161" y="1"/>
                  </a:lnTo>
                  <a:lnTo>
                    <a:pt x="161" y="2"/>
                  </a:lnTo>
                  <a:lnTo>
                    <a:pt x="162" y="2"/>
                  </a:lnTo>
                  <a:lnTo>
                    <a:pt x="164" y="3"/>
                  </a:lnTo>
                  <a:lnTo>
                    <a:pt x="167" y="4"/>
                  </a:lnTo>
                  <a:lnTo>
                    <a:pt x="167" y="3"/>
                  </a:lnTo>
                  <a:lnTo>
                    <a:pt x="169" y="3"/>
                  </a:lnTo>
                  <a:lnTo>
                    <a:pt x="169" y="5"/>
                  </a:lnTo>
                  <a:lnTo>
                    <a:pt x="169" y="5"/>
                  </a:lnTo>
                  <a:lnTo>
                    <a:pt x="169" y="9"/>
                  </a:lnTo>
                  <a:lnTo>
                    <a:pt x="170" y="16"/>
                  </a:lnTo>
                  <a:lnTo>
                    <a:pt x="171" y="21"/>
                  </a:lnTo>
                  <a:lnTo>
                    <a:pt x="174" y="28"/>
                  </a:lnTo>
                  <a:lnTo>
                    <a:pt x="176" y="38"/>
                  </a:lnTo>
                  <a:lnTo>
                    <a:pt x="178" y="42"/>
                  </a:lnTo>
                  <a:lnTo>
                    <a:pt x="179" y="47"/>
                  </a:lnTo>
                  <a:lnTo>
                    <a:pt x="183" y="55"/>
                  </a:lnTo>
                  <a:lnTo>
                    <a:pt x="185" y="61"/>
                  </a:lnTo>
                  <a:lnTo>
                    <a:pt x="186" y="66"/>
                  </a:lnTo>
                  <a:lnTo>
                    <a:pt x="189" y="74"/>
                  </a:lnTo>
                  <a:lnTo>
                    <a:pt x="189" y="76"/>
                  </a:lnTo>
                  <a:lnTo>
                    <a:pt x="190" y="78"/>
                  </a:lnTo>
                  <a:lnTo>
                    <a:pt x="191" y="80"/>
                  </a:lnTo>
                  <a:lnTo>
                    <a:pt x="191" y="81"/>
                  </a:lnTo>
                  <a:lnTo>
                    <a:pt x="192" y="82"/>
                  </a:lnTo>
                  <a:lnTo>
                    <a:pt x="194" y="83"/>
                  </a:lnTo>
                  <a:lnTo>
                    <a:pt x="194" y="83"/>
                  </a:lnTo>
                  <a:lnTo>
                    <a:pt x="196" y="83"/>
                  </a:lnTo>
                  <a:lnTo>
                    <a:pt x="197" y="83"/>
                  </a:lnTo>
                  <a:lnTo>
                    <a:pt x="199" y="82"/>
                  </a:lnTo>
                  <a:lnTo>
                    <a:pt x="205" y="80"/>
                  </a:lnTo>
                  <a:lnTo>
                    <a:pt x="208" y="77"/>
                  </a:lnTo>
                  <a:lnTo>
                    <a:pt x="212" y="77"/>
                  </a:lnTo>
                  <a:lnTo>
                    <a:pt x="216" y="76"/>
                  </a:lnTo>
                  <a:lnTo>
                    <a:pt x="218" y="75"/>
                  </a:lnTo>
                  <a:lnTo>
                    <a:pt x="222" y="76"/>
                  </a:lnTo>
                  <a:lnTo>
                    <a:pt x="224" y="76"/>
                  </a:lnTo>
                  <a:lnTo>
                    <a:pt x="226" y="77"/>
                  </a:lnTo>
                  <a:lnTo>
                    <a:pt x="228" y="79"/>
                  </a:lnTo>
                  <a:lnTo>
                    <a:pt x="231" y="80"/>
                  </a:lnTo>
                  <a:lnTo>
                    <a:pt x="233" y="82"/>
                  </a:lnTo>
                  <a:lnTo>
                    <a:pt x="236" y="85"/>
                  </a:lnTo>
                  <a:lnTo>
                    <a:pt x="237" y="87"/>
                  </a:lnTo>
                  <a:lnTo>
                    <a:pt x="238" y="90"/>
                  </a:lnTo>
                  <a:lnTo>
                    <a:pt x="241" y="94"/>
                  </a:lnTo>
                  <a:lnTo>
                    <a:pt x="242" y="97"/>
                  </a:lnTo>
                  <a:lnTo>
                    <a:pt x="244" y="103"/>
                  </a:lnTo>
                  <a:lnTo>
                    <a:pt x="246" y="106"/>
                  </a:lnTo>
                  <a:lnTo>
                    <a:pt x="247" y="108"/>
                  </a:lnTo>
                  <a:lnTo>
                    <a:pt x="253" y="117"/>
                  </a:lnTo>
                  <a:lnTo>
                    <a:pt x="256" y="120"/>
                  </a:lnTo>
                  <a:lnTo>
                    <a:pt x="259" y="124"/>
                  </a:lnTo>
                  <a:lnTo>
                    <a:pt x="261" y="126"/>
                  </a:lnTo>
                  <a:lnTo>
                    <a:pt x="263" y="128"/>
                  </a:lnTo>
                  <a:lnTo>
                    <a:pt x="266" y="130"/>
                  </a:lnTo>
                  <a:lnTo>
                    <a:pt x="268" y="131"/>
                  </a:lnTo>
                  <a:lnTo>
                    <a:pt x="269" y="132"/>
                  </a:lnTo>
                  <a:lnTo>
                    <a:pt x="271" y="133"/>
                  </a:lnTo>
                  <a:lnTo>
                    <a:pt x="273" y="134"/>
                  </a:lnTo>
                  <a:lnTo>
                    <a:pt x="277" y="135"/>
                  </a:lnTo>
                  <a:lnTo>
                    <a:pt x="287" y="137"/>
                  </a:lnTo>
                  <a:lnTo>
                    <a:pt x="293" y="138"/>
                  </a:lnTo>
                  <a:lnTo>
                    <a:pt x="311" y="145"/>
                  </a:lnTo>
                  <a:lnTo>
                    <a:pt x="321" y="147"/>
                  </a:lnTo>
                  <a:lnTo>
                    <a:pt x="323" y="148"/>
                  </a:lnTo>
                  <a:lnTo>
                    <a:pt x="327" y="150"/>
                  </a:lnTo>
                  <a:lnTo>
                    <a:pt x="328" y="150"/>
                  </a:lnTo>
                  <a:lnTo>
                    <a:pt x="330" y="151"/>
                  </a:lnTo>
                  <a:lnTo>
                    <a:pt x="331" y="152"/>
                  </a:lnTo>
                  <a:lnTo>
                    <a:pt x="333" y="154"/>
                  </a:lnTo>
                  <a:lnTo>
                    <a:pt x="334" y="156"/>
                  </a:lnTo>
                  <a:lnTo>
                    <a:pt x="335" y="158"/>
                  </a:lnTo>
                  <a:lnTo>
                    <a:pt x="337" y="162"/>
                  </a:lnTo>
                  <a:lnTo>
                    <a:pt x="339" y="170"/>
                  </a:lnTo>
                  <a:lnTo>
                    <a:pt x="340" y="173"/>
                  </a:lnTo>
                  <a:lnTo>
                    <a:pt x="341" y="176"/>
                  </a:lnTo>
                  <a:lnTo>
                    <a:pt x="343" y="179"/>
                  </a:lnTo>
                  <a:lnTo>
                    <a:pt x="344" y="181"/>
                  </a:lnTo>
                  <a:lnTo>
                    <a:pt x="346" y="183"/>
                  </a:lnTo>
                  <a:lnTo>
                    <a:pt x="353" y="191"/>
                  </a:lnTo>
                  <a:lnTo>
                    <a:pt x="359" y="197"/>
                  </a:lnTo>
                  <a:lnTo>
                    <a:pt x="361" y="199"/>
                  </a:lnTo>
                  <a:lnTo>
                    <a:pt x="362" y="201"/>
                  </a:lnTo>
                  <a:lnTo>
                    <a:pt x="363" y="202"/>
                  </a:lnTo>
                  <a:lnTo>
                    <a:pt x="366" y="209"/>
                  </a:lnTo>
                  <a:lnTo>
                    <a:pt x="367" y="212"/>
                  </a:lnTo>
                  <a:lnTo>
                    <a:pt x="368" y="214"/>
                  </a:lnTo>
                  <a:lnTo>
                    <a:pt x="370" y="215"/>
                  </a:lnTo>
                  <a:lnTo>
                    <a:pt x="376" y="222"/>
                  </a:lnTo>
                  <a:lnTo>
                    <a:pt x="378" y="224"/>
                  </a:lnTo>
                  <a:lnTo>
                    <a:pt x="379" y="225"/>
                  </a:lnTo>
                  <a:lnTo>
                    <a:pt x="381" y="226"/>
                  </a:lnTo>
                  <a:lnTo>
                    <a:pt x="386" y="229"/>
                  </a:lnTo>
                  <a:lnTo>
                    <a:pt x="388" y="230"/>
                  </a:lnTo>
                  <a:lnTo>
                    <a:pt x="389" y="232"/>
                  </a:lnTo>
                  <a:lnTo>
                    <a:pt x="394" y="237"/>
                  </a:lnTo>
                  <a:lnTo>
                    <a:pt x="397" y="239"/>
                  </a:lnTo>
                  <a:lnTo>
                    <a:pt x="401" y="242"/>
                  </a:lnTo>
                  <a:lnTo>
                    <a:pt x="405" y="244"/>
                  </a:lnTo>
                  <a:lnTo>
                    <a:pt x="408" y="247"/>
                  </a:lnTo>
                  <a:lnTo>
                    <a:pt x="416" y="250"/>
                  </a:lnTo>
                  <a:lnTo>
                    <a:pt x="421" y="252"/>
                  </a:lnTo>
                  <a:lnTo>
                    <a:pt x="430" y="255"/>
                  </a:lnTo>
                  <a:lnTo>
                    <a:pt x="431" y="256"/>
                  </a:lnTo>
                  <a:lnTo>
                    <a:pt x="431" y="257"/>
                  </a:lnTo>
                  <a:lnTo>
                    <a:pt x="430" y="257"/>
                  </a:lnTo>
                  <a:lnTo>
                    <a:pt x="430" y="259"/>
                  </a:lnTo>
                  <a:lnTo>
                    <a:pt x="430" y="266"/>
                  </a:lnTo>
                  <a:lnTo>
                    <a:pt x="430" y="270"/>
                  </a:lnTo>
                  <a:lnTo>
                    <a:pt x="429" y="275"/>
                  </a:lnTo>
                  <a:lnTo>
                    <a:pt x="428" y="279"/>
                  </a:lnTo>
                  <a:lnTo>
                    <a:pt x="428" y="283"/>
                  </a:lnTo>
                  <a:lnTo>
                    <a:pt x="426" y="287"/>
                  </a:lnTo>
                  <a:lnTo>
                    <a:pt x="425" y="290"/>
                  </a:lnTo>
                  <a:lnTo>
                    <a:pt x="423" y="293"/>
                  </a:lnTo>
                  <a:lnTo>
                    <a:pt x="423" y="294"/>
                  </a:lnTo>
                  <a:lnTo>
                    <a:pt x="421" y="296"/>
                  </a:lnTo>
                  <a:lnTo>
                    <a:pt x="420" y="297"/>
                  </a:lnTo>
                  <a:lnTo>
                    <a:pt x="418" y="297"/>
                  </a:lnTo>
                  <a:lnTo>
                    <a:pt x="417" y="298"/>
                  </a:lnTo>
                  <a:lnTo>
                    <a:pt x="416" y="298"/>
                  </a:lnTo>
                  <a:lnTo>
                    <a:pt x="409" y="298"/>
                  </a:lnTo>
                  <a:lnTo>
                    <a:pt x="408" y="298"/>
                  </a:lnTo>
                  <a:lnTo>
                    <a:pt x="406" y="299"/>
                  </a:lnTo>
                  <a:lnTo>
                    <a:pt x="404" y="299"/>
                  </a:lnTo>
                  <a:lnTo>
                    <a:pt x="402" y="300"/>
                  </a:lnTo>
                  <a:lnTo>
                    <a:pt x="401" y="302"/>
                  </a:lnTo>
                  <a:lnTo>
                    <a:pt x="399" y="304"/>
                  </a:lnTo>
                  <a:lnTo>
                    <a:pt x="398" y="307"/>
                  </a:lnTo>
                  <a:lnTo>
                    <a:pt x="396" y="309"/>
                  </a:lnTo>
                  <a:lnTo>
                    <a:pt x="396" y="312"/>
                  </a:lnTo>
                  <a:lnTo>
                    <a:pt x="396" y="315"/>
                  </a:lnTo>
                  <a:lnTo>
                    <a:pt x="396" y="322"/>
                  </a:lnTo>
                  <a:lnTo>
                    <a:pt x="395" y="331"/>
                  </a:lnTo>
                  <a:lnTo>
                    <a:pt x="394" y="334"/>
                  </a:lnTo>
                  <a:lnTo>
                    <a:pt x="393" y="336"/>
                  </a:lnTo>
                  <a:lnTo>
                    <a:pt x="392" y="338"/>
                  </a:lnTo>
                  <a:lnTo>
                    <a:pt x="391" y="339"/>
                  </a:lnTo>
                  <a:lnTo>
                    <a:pt x="387" y="344"/>
                  </a:lnTo>
                  <a:lnTo>
                    <a:pt x="386" y="346"/>
                  </a:lnTo>
                  <a:lnTo>
                    <a:pt x="386" y="347"/>
                  </a:lnTo>
                  <a:lnTo>
                    <a:pt x="386" y="349"/>
                  </a:lnTo>
                  <a:lnTo>
                    <a:pt x="385" y="350"/>
                  </a:lnTo>
                  <a:lnTo>
                    <a:pt x="385" y="353"/>
                  </a:lnTo>
                  <a:lnTo>
                    <a:pt x="386" y="354"/>
                  </a:lnTo>
                  <a:lnTo>
                    <a:pt x="386" y="355"/>
                  </a:lnTo>
                  <a:lnTo>
                    <a:pt x="387" y="357"/>
                  </a:lnTo>
                  <a:lnTo>
                    <a:pt x="388" y="358"/>
                  </a:lnTo>
                  <a:lnTo>
                    <a:pt x="389" y="359"/>
                  </a:lnTo>
                  <a:lnTo>
                    <a:pt x="391" y="359"/>
                  </a:lnTo>
                  <a:lnTo>
                    <a:pt x="393" y="360"/>
                  </a:lnTo>
                  <a:lnTo>
                    <a:pt x="395" y="361"/>
                  </a:lnTo>
                  <a:lnTo>
                    <a:pt x="402" y="362"/>
                  </a:lnTo>
                  <a:lnTo>
                    <a:pt x="407" y="364"/>
                  </a:lnTo>
                  <a:lnTo>
                    <a:pt x="411" y="365"/>
                  </a:lnTo>
                  <a:lnTo>
                    <a:pt x="413" y="366"/>
                  </a:lnTo>
                  <a:lnTo>
                    <a:pt x="415" y="367"/>
                  </a:lnTo>
                  <a:lnTo>
                    <a:pt x="417" y="369"/>
                  </a:lnTo>
                  <a:lnTo>
                    <a:pt x="418" y="370"/>
                  </a:lnTo>
                  <a:lnTo>
                    <a:pt x="421" y="372"/>
                  </a:lnTo>
                  <a:lnTo>
                    <a:pt x="422" y="373"/>
                  </a:lnTo>
                  <a:lnTo>
                    <a:pt x="423" y="375"/>
                  </a:lnTo>
                  <a:lnTo>
                    <a:pt x="425" y="377"/>
                  </a:lnTo>
                  <a:lnTo>
                    <a:pt x="427" y="381"/>
                  </a:lnTo>
                  <a:lnTo>
                    <a:pt x="428" y="383"/>
                  </a:lnTo>
                  <a:lnTo>
                    <a:pt x="428" y="385"/>
                  </a:lnTo>
                  <a:lnTo>
                    <a:pt x="429" y="387"/>
                  </a:lnTo>
                  <a:lnTo>
                    <a:pt x="430" y="389"/>
                  </a:lnTo>
                  <a:lnTo>
                    <a:pt x="430" y="390"/>
                  </a:lnTo>
                  <a:lnTo>
                    <a:pt x="430" y="392"/>
                  </a:lnTo>
                  <a:lnTo>
                    <a:pt x="429" y="395"/>
                  </a:lnTo>
                  <a:lnTo>
                    <a:pt x="428" y="401"/>
                  </a:lnTo>
                  <a:lnTo>
                    <a:pt x="427" y="403"/>
                  </a:lnTo>
                  <a:lnTo>
                    <a:pt x="425" y="405"/>
                  </a:lnTo>
                  <a:lnTo>
                    <a:pt x="424" y="409"/>
                  </a:lnTo>
                  <a:lnTo>
                    <a:pt x="418" y="417"/>
                  </a:lnTo>
                  <a:lnTo>
                    <a:pt x="418" y="419"/>
                  </a:lnTo>
                  <a:lnTo>
                    <a:pt x="417" y="420"/>
                  </a:lnTo>
                  <a:lnTo>
                    <a:pt x="417" y="421"/>
                  </a:lnTo>
                  <a:lnTo>
                    <a:pt x="417" y="423"/>
                  </a:lnTo>
                  <a:lnTo>
                    <a:pt x="418" y="424"/>
                  </a:lnTo>
                  <a:lnTo>
                    <a:pt x="418" y="424"/>
                  </a:lnTo>
                  <a:lnTo>
                    <a:pt x="421" y="428"/>
                  </a:lnTo>
                  <a:lnTo>
                    <a:pt x="423" y="430"/>
                  </a:lnTo>
                  <a:lnTo>
                    <a:pt x="425" y="433"/>
                  </a:lnTo>
                  <a:lnTo>
                    <a:pt x="426" y="436"/>
                  </a:lnTo>
                  <a:lnTo>
                    <a:pt x="428" y="438"/>
                  </a:lnTo>
                  <a:lnTo>
                    <a:pt x="428" y="440"/>
                  </a:lnTo>
                  <a:lnTo>
                    <a:pt x="430" y="448"/>
                  </a:lnTo>
                  <a:lnTo>
                    <a:pt x="431" y="450"/>
                  </a:lnTo>
                  <a:lnTo>
                    <a:pt x="432" y="451"/>
                  </a:lnTo>
                  <a:lnTo>
                    <a:pt x="433" y="453"/>
                  </a:lnTo>
                  <a:lnTo>
                    <a:pt x="433" y="454"/>
                  </a:lnTo>
                  <a:lnTo>
                    <a:pt x="435" y="455"/>
                  </a:lnTo>
                  <a:lnTo>
                    <a:pt x="438" y="456"/>
                  </a:lnTo>
                  <a:lnTo>
                    <a:pt x="440" y="458"/>
                  </a:lnTo>
                  <a:lnTo>
                    <a:pt x="448" y="460"/>
                  </a:lnTo>
                  <a:lnTo>
                    <a:pt x="449" y="461"/>
                  </a:lnTo>
                  <a:lnTo>
                    <a:pt x="450" y="461"/>
                  </a:lnTo>
                  <a:lnTo>
                    <a:pt x="452" y="463"/>
                  </a:lnTo>
                  <a:lnTo>
                    <a:pt x="455" y="467"/>
                  </a:lnTo>
                  <a:lnTo>
                    <a:pt x="457" y="469"/>
                  </a:lnTo>
                  <a:lnTo>
                    <a:pt x="458" y="469"/>
                  </a:lnTo>
                  <a:lnTo>
                    <a:pt x="463" y="473"/>
                  </a:lnTo>
                  <a:lnTo>
                    <a:pt x="465" y="474"/>
                  </a:lnTo>
                  <a:lnTo>
                    <a:pt x="467" y="476"/>
                  </a:lnTo>
                  <a:lnTo>
                    <a:pt x="468" y="478"/>
                  </a:lnTo>
                  <a:lnTo>
                    <a:pt x="468" y="479"/>
                  </a:lnTo>
                  <a:lnTo>
                    <a:pt x="469" y="481"/>
                  </a:lnTo>
                  <a:lnTo>
                    <a:pt x="469" y="482"/>
                  </a:lnTo>
                  <a:lnTo>
                    <a:pt x="469" y="484"/>
                  </a:lnTo>
                  <a:lnTo>
                    <a:pt x="468" y="490"/>
                  </a:lnTo>
                  <a:lnTo>
                    <a:pt x="466" y="504"/>
                  </a:lnTo>
                  <a:lnTo>
                    <a:pt x="466" y="506"/>
                  </a:lnTo>
                  <a:lnTo>
                    <a:pt x="465" y="509"/>
                  </a:lnTo>
                  <a:lnTo>
                    <a:pt x="466" y="511"/>
                  </a:lnTo>
                  <a:lnTo>
                    <a:pt x="467" y="514"/>
                  </a:lnTo>
                  <a:lnTo>
                    <a:pt x="468" y="516"/>
                  </a:lnTo>
                  <a:lnTo>
                    <a:pt x="470" y="519"/>
                  </a:lnTo>
                  <a:lnTo>
                    <a:pt x="471" y="521"/>
                  </a:lnTo>
                  <a:lnTo>
                    <a:pt x="473" y="524"/>
                  </a:lnTo>
                  <a:lnTo>
                    <a:pt x="475" y="526"/>
                  </a:lnTo>
                  <a:lnTo>
                    <a:pt x="478" y="528"/>
                  </a:lnTo>
                  <a:lnTo>
                    <a:pt x="480" y="529"/>
                  </a:lnTo>
                  <a:lnTo>
                    <a:pt x="482" y="531"/>
                  </a:lnTo>
                  <a:lnTo>
                    <a:pt x="484" y="531"/>
                  </a:lnTo>
                  <a:lnTo>
                    <a:pt x="486" y="532"/>
                  </a:lnTo>
                  <a:lnTo>
                    <a:pt x="488" y="533"/>
                  </a:lnTo>
                  <a:lnTo>
                    <a:pt x="489" y="534"/>
                  </a:lnTo>
                  <a:lnTo>
                    <a:pt x="492" y="534"/>
                  </a:lnTo>
                  <a:lnTo>
                    <a:pt x="495" y="534"/>
                  </a:lnTo>
                  <a:lnTo>
                    <a:pt x="503" y="532"/>
                  </a:lnTo>
                  <a:lnTo>
                    <a:pt x="505" y="532"/>
                  </a:lnTo>
                  <a:lnTo>
                    <a:pt x="507" y="532"/>
                  </a:lnTo>
                  <a:lnTo>
                    <a:pt x="508" y="532"/>
                  </a:lnTo>
                  <a:lnTo>
                    <a:pt x="510" y="533"/>
                  </a:lnTo>
                  <a:lnTo>
                    <a:pt x="510" y="534"/>
                  </a:lnTo>
                  <a:lnTo>
                    <a:pt x="511" y="534"/>
                  </a:lnTo>
                  <a:lnTo>
                    <a:pt x="511" y="535"/>
                  </a:lnTo>
                  <a:lnTo>
                    <a:pt x="511" y="536"/>
                  </a:lnTo>
                  <a:lnTo>
                    <a:pt x="511" y="538"/>
                  </a:lnTo>
                  <a:lnTo>
                    <a:pt x="510" y="540"/>
                  </a:lnTo>
                  <a:lnTo>
                    <a:pt x="510" y="542"/>
                  </a:lnTo>
                  <a:lnTo>
                    <a:pt x="509" y="543"/>
                  </a:lnTo>
                  <a:lnTo>
                    <a:pt x="508" y="544"/>
                  </a:lnTo>
                  <a:lnTo>
                    <a:pt x="503" y="548"/>
                  </a:lnTo>
                  <a:lnTo>
                    <a:pt x="500" y="550"/>
                  </a:lnTo>
                  <a:lnTo>
                    <a:pt x="499" y="551"/>
                  </a:lnTo>
                  <a:lnTo>
                    <a:pt x="498" y="554"/>
                  </a:lnTo>
                  <a:lnTo>
                    <a:pt x="497" y="556"/>
                  </a:lnTo>
                  <a:lnTo>
                    <a:pt x="496" y="559"/>
                  </a:lnTo>
                  <a:lnTo>
                    <a:pt x="495" y="561"/>
                  </a:lnTo>
                  <a:lnTo>
                    <a:pt x="496" y="564"/>
                  </a:lnTo>
                  <a:lnTo>
                    <a:pt x="497" y="565"/>
                  </a:lnTo>
                  <a:lnTo>
                    <a:pt x="498" y="566"/>
                  </a:lnTo>
                  <a:lnTo>
                    <a:pt x="498" y="568"/>
                  </a:lnTo>
                  <a:lnTo>
                    <a:pt x="500" y="569"/>
                  </a:lnTo>
                  <a:lnTo>
                    <a:pt x="501" y="570"/>
                  </a:lnTo>
                  <a:lnTo>
                    <a:pt x="503" y="571"/>
                  </a:lnTo>
                  <a:lnTo>
                    <a:pt x="511" y="575"/>
                  </a:lnTo>
                  <a:lnTo>
                    <a:pt x="513" y="576"/>
                  </a:lnTo>
                  <a:lnTo>
                    <a:pt x="515" y="578"/>
                  </a:lnTo>
                  <a:lnTo>
                    <a:pt x="516" y="579"/>
                  </a:lnTo>
                  <a:lnTo>
                    <a:pt x="517" y="579"/>
                  </a:lnTo>
                  <a:lnTo>
                    <a:pt x="518" y="581"/>
                  </a:lnTo>
                  <a:lnTo>
                    <a:pt x="518" y="584"/>
                  </a:lnTo>
                  <a:lnTo>
                    <a:pt x="519" y="586"/>
                  </a:lnTo>
                  <a:lnTo>
                    <a:pt x="520" y="592"/>
                  </a:lnTo>
                  <a:lnTo>
                    <a:pt x="523" y="599"/>
                  </a:lnTo>
                  <a:lnTo>
                    <a:pt x="524" y="604"/>
                  </a:lnTo>
                  <a:lnTo>
                    <a:pt x="528" y="611"/>
                  </a:lnTo>
                  <a:lnTo>
                    <a:pt x="530" y="614"/>
                  </a:lnTo>
                  <a:lnTo>
                    <a:pt x="530" y="619"/>
                  </a:lnTo>
                  <a:lnTo>
                    <a:pt x="532" y="628"/>
                  </a:lnTo>
                  <a:lnTo>
                    <a:pt x="533" y="632"/>
                  </a:lnTo>
                  <a:lnTo>
                    <a:pt x="534" y="634"/>
                  </a:lnTo>
                  <a:lnTo>
                    <a:pt x="535" y="637"/>
                  </a:lnTo>
                  <a:lnTo>
                    <a:pt x="537" y="640"/>
                  </a:lnTo>
                  <a:lnTo>
                    <a:pt x="539" y="644"/>
                  </a:lnTo>
                  <a:lnTo>
                    <a:pt x="541" y="646"/>
                  </a:lnTo>
                  <a:lnTo>
                    <a:pt x="543" y="649"/>
                  </a:lnTo>
                  <a:lnTo>
                    <a:pt x="545" y="652"/>
                  </a:lnTo>
                  <a:lnTo>
                    <a:pt x="548" y="655"/>
                  </a:lnTo>
                  <a:lnTo>
                    <a:pt x="550" y="657"/>
                  </a:lnTo>
                  <a:lnTo>
                    <a:pt x="553" y="659"/>
                  </a:lnTo>
                  <a:lnTo>
                    <a:pt x="555" y="661"/>
                  </a:lnTo>
                  <a:lnTo>
                    <a:pt x="558" y="663"/>
                  </a:lnTo>
                  <a:lnTo>
                    <a:pt x="561" y="665"/>
                  </a:lnTo>
                  <a:lnTo>
                    <a:pt x="565" y="667"/>
                  </a:lnTo>
                  <a:lnTo>
                    <a:pt x="568" y="668"/>
                  </a:lnTo>
                  <a:lnTo>
                    <a:pt x="573" y="671"/>
                  </a:lnTo>
                  <a:lnTo>
                    <a:pt x="577" y="672"/>
                  </a:lnTo>
                  <a:lnTo>
                    <a:pt x="580" y="673"/>
                  </a:lnTo>
                  <a:lnTo>
                    <a:pt x="591" y="676"/>
                  </a:lnTo>
                  <a:lnTo>
                    <a:pt x="593" y="676"/>
                  </a:lnTo>
                  <a:lnTo>
                    <a:pt x="595" y="677"/>
                  </a:lnTo>
                  <a:lnTo>
                    <a:pt x="597" y="678"/>
                  </a:lnTo>
                  <a:lnTo>
                    <a:pt x="598" y="679"/>
                  </a:lnTo>
                  <a:lnTo>
                    <a:pt x="600" y="681"/>
                  </a:lnTo>
                  <a:lnTo>
                    <a:pt x="602" y="683"/>
                  </a:lnTo>
                  <a:lnTo>
                    <a:pt x="603" y="685"/>
                  </a:lnTo>
                  <a:lnTo>
                    <a:pt x="603" y="687"/>
                  </a:lnTo>
                  <a:lnTo>
                    <a:pt x="605" y="691"/>
                  </a:lnTo>
                  <a:lnTo>
                    <a:pt x="605" y="695"/>
                  </a:lnTo>
                  <a:lnTo>
                    <a:pt x="607" y="703"/>
                  </a:lnTo>
                  <a:lnTo>
                    <a:pt x="608" y="706"/>
                  </a:lnTo>
                  <a:lnTo>
                    <a:pt x="609" y="708"/>
                  </a:lnTo>
                  <a:lnTo>
                    <a:pt x="610" y="713"/>
                  </a:lnTo>
                  <a:lnTo>
                    <a:pt x="617" y="726"/>
                  </a:lnTo>
                  <a:lnTo>
                    <a:pt x="619" y="730"/>
                  </a:lnTo>
                  <a:lnTo>
                    <a:pt x="620" y="733"/>
                  </a:lnTo>
                  <a:lnTo>
                    <a:pt x="620" y="736"/>
                  </a:lnTo>
                  <a:lnTo>
                    <a:pt x="620" y="738"/>
                  </a:lnTo>
                  <a:lnTo>
                    <a:pt x="622" y="748"/>
                  </a:lnTo>
                  <a:lnTo>
                    <a:pt x="623" y="754"/>
                  </a:lnTo>
                  <a:lnTo>
                    <a:pt x="624" y="759"/>
                  </a:lnTo>
                  <a:lnTo>
                    <a:pt x="626" y="768"/>
                  </a:lnTo>
                  <a:lnTo>
                    <a:pt x="628" y="772"/>
                  </a:lnTo>
                  <a:lnTo>
                    <a:pt x="628" y="775"/>
                  </a:lnTo>
                  <a:lnTo>
                    <a:pt x="627" y="777"/>
                  </a:lnTo>
                  <a:lnTo>
                    <a:pt x="627" y="778"/>
                  </a:lnTo>
                  <a:lnTo>
                    <a:pt x="626" y="778"/>
                  </a:lnTo>
                  <a:lnTo>
                    <a:pt x="626" y="779"/>
                  </a:lnTo>
                  <a:lnTo>
                    <a:pt x="625" y="779"/>
                  </a:lnTo>
                  <a:lnTo>
                    <a:pt x="624" y="778"/>
                  </a:lnTo>
                  <a:lnTo>
                    <a:pt x="621" y="778"/>
                  </a:lnTo>
                  <a:lnTo>
                    <a:pt x="614" y="773"/>
                  </a:lnTo>
                  <a:lnTo>
                    <a:pt x="611" y="772"/>
                  </a:lnTo>
                  <a:lnTo>
                    <a:pt x="608" y="771"/>
                  </a:lnTo>
                  <a:lnTo>
                    <a:pt x="603" y="769"/>
                  </a:lnTo>
                  <a:lnTo>
                    <a:pt x="600" y="768"/>
                  </a:lnTo>
                  <a:lnTo>
                    <a:pt x="598" y="768"/>
                  </a:lnTo>
                  <a:lnTo>
                    <a:pt x="584" y="766"/>
                  </a:lnTo>
                  <a:lnTo>
                    <a:pt x="575" y="763"/>
                  </a:lnTo>
                  <a:lnTo>
                    <a:pt x="571" y="763"/>
                  </a:lnTo>
                  <a:lnTo>
                    <a:pt x="568" y="763"/>
                  </a:lnTo>
                  <a:lnTo>
                    <a:pt x="565" y="763"/>
                  </a:lnTo>
                  <a:lnTo>
                    <a:pt x="561" y="763"/>
                  </a:lnTo>
                  <a:lnTo>
                    <a:pt x="558" y="763"/>
                  </a:lnTo>
                  <a:lnTo>
                    <a:pt x="555" y="764"/>
                  </a:lnTo>
                  <a:lnTo>
                    <a:pt x="553" y="765"/>
                  </a:lnTo>
                  <a:lnTo>
                    <a:pt x="551" y="766"/>
                  </a:lnTo>
                  <a:lnTo>
                    <a:pt x="549" y="768"/>
                  </a:lnTo>
                  <a:lnTo>
                    <a:pt x="547" y="770"/>
                  </a:lnTo>
                  <a:lnTo>
                    <a:pt x="545" y="772"/>
                  </a:lnTo>
                  <a:lnTo>
                    <a:pt x="544" y="775"/>
                  </a:lnTo>
                  <a:lnTo>
                    <a:pt x="543" y="778"/>
                  </a:lnTo>
                  <a:lnTo>
                    <a:pt x="542" y="781"/>
                  </a:lnTo>
                  <a:lnTo>
                    <a:pt x="540" y="791"/>
                  </a:lnTo>
                  <a:lnTo>
                    <a:pt x="537" y="805"/>
                  </a:lnTo>
                  <a:lnTo>
                    <a:pt x="536" y="810"/>
                  </a:lnTo>
                  <a:lnTo>
                    <a:pt x="535" y="819"/>
                  </a:lnTo>
                  <a:lnTo>
                    <a:pt x="534" y="823"/>
                  </a:lnTo>
                  <a:lnTo>
                    <a:pt x="533" y="826"/>
                  </a:lnTo>
                  <a:lnTo>
                    <a:pt x="533" y="828"/>
                  </a:lnTo>
                  <a:lnTo>
                    <a:pt x="531" y="831"/>
                  </a:lnTo>
                  <a:lnTo>
                    <a:pt x="530" y="833"/>
                  </a:lnTo>
                  <a:lnTo>
                    <a:pt x="526" y="838"/>
                  </a:lnTo>
                  <a:lnTo>
                    <a:pt x="523" y="843"/>
                  </a:lnTo>
                  <a:lnTo>
                    <a:pt x="518" y="848"/>
                  </a:lnTo>
                  <a:lnTo>
                    <a:pt x="515" y="852"/>
                  </a:lnTo>
                  <a:lnTo>
                    <a:pt x="512" y="855"/>
                  </a:lnTo>
                  <a:lnTo>
                    <a:pt x="508" y="858"/>
                  </a:lnTo>
                  <a:lnTo>
                    <a:pt x="505" y="860"/>
                  </a:lnTo>
                  <a:lnTo>
                    <a:pt x="497" y="866"/>
                  </a:lnTo>
                  <a:lnTo>
                    <a:pt x="492" y="868"/>
                  </a:lnTo>
                  <a:lnTo>
                    <a:pt x="486" y="873"/>
                  </a:lnTo>
                  <a:lnTo>
                    <a:pt x="483" y="877"/>
                  </a:lnTo>
                  <a:lnTo>
                    <a:pt x="480" y="880"/>
                  </a:lnTo>
                  <a:lnTo>
                    <a:pt x="476" y="883"/>
                  </a:lnTo>
                  <a:lnTo>
                    <a:pt x="473" y="887"/>
                  </a:lnTo>
                  <a:lnTo>
                    <a:pt x="471" y="890"/>
                  </a:lnTo>
                  <a:lnTo>
                    <a:pt x="469" y="893"/>
                  </a:lnTo>
                  <a:lnTo>
                    <a:pt x="467" y="896"/>
                  </a:lnTo>
                  <a:lnTo>
                    <a:pt x="465" y="900"/>
                  </a:lnTo>
                  <a:lnTo>
                    <a:pt x="464" y="903"/>
                  </a:lnTo>
                  <a:lnTo>
                    <a:pt x="463" y="907"/>
                  </a:lnTo>
                  <a:lnTo>
                    <a:pt x="462" y="909"/>
                  </a:lnTo>
                  <a:lnTo>
                    <a:pt x="462" y="910"/>
                  </a:lnTo>
                  <a:lnTo>
                    <a:pt x="461" y="910"/>
                  </a:lnTo>
                  <a:lnTo>
                    <a:pt x="460" y="910"/>
                  </a:lnTo>
                  <a:lnTo>
                    <a:pt x="458" y="908"/>
                  </a:lnTo>
                  <a:lnTo>
                    <a:pt x="456" y="908"/>
                  </a:lnTo>
                  <a:lnTo>
                    <a:pt x="455" y="906"/>
                  </a:lnTo>
                  <a:lnTo>
                    <a:pt x="453" y="905"/>
                  </a:lnTo>
                  <a:lnTo>
                    <a:pt x="452" y="903"/>
                  </a:lnTo>
                  <a:lnTo>
                    <a:pt x="450" y="901"/>
                  </a:lnTo>
                  <a:lnTo>
                    <a:pt x="448" y="898"/>
                  </a:lnTo>
                  <a:lnTo>
                    <a:pt x="447" y="896"/>
                  </a:lnTo>
                  <a:lnTo>
                    <a:pt x="444" y="891"/>
                  </a:lnTo>
                  <a:lnTo>
                    <a:pt x="442" y="886"/>
                  </a:lnTo>
                  <a:lnTo>
                    <a:pt x="440" y="881"/>
                  </a:lnTo>
                  <a:lnTo>
                    <a:pt x="438" y="876"/>
                  </a:lnTo>
                  <a:lnTo>
                    <a:pt x="437" y="871"/>
                  </a:lnTo>
                  <a:lnTo>
                    <a:pt x="436" y="867"/>
                  </a:lnTo>
                  <a:lnTo>
                    <a:pt x="436" y="863"/>
                  </a:lnTo>
                  <a:lnTo>
                    <a:pt x="436" y="857"/>
                  </a:lnTo>
                  <a:lnTo>
                    <a:pt x="436" y="847"/>
                  </a:lnTo>
                  <a:lnTo>
                    <a:pt x="437" y="841"/>
                  </a:lnTo>
                  <a:lnTo>
                    <a:pt x="438" y="836"/>
                  </a:lnTo>
                  <a:lnTo>
                    <a:pt x="438" y="835"/>
                  </a:lnTo>
                  <a:lnTo>
                    <a:pt x="438" y="834"/>
                  </a:lnTo>
                  <a:lnTo>
                    <a:pt x="437" y="833"/>
                  </a:lnTo>
                  <a:lnTo>
                    <a:pt x="436" y="834"/>
                  </a:lnTo>
                  <a:lnTo>
                    <a:pt x="435" y="834"/>
                  </a:lnTo>
                  <a:lnTo>
                    <a:pt x="435" y="835"/>
                  </a:lnTo>
                  <a:lnTo>
                    <a:pt x="430" y="838"/>
                  </a:lnTo>
                  <a:lnTo>
                    <a:pt x="429" y="839"/>
                  </a:lnTo>
                  <a:lnTo>
                    <a:pt x="428" y="839"/>
                  </a:lnTo>
                  <a:lnTo>
                    <a:pt x="427" y="839"/>
                  </a:lnTo>
                  <a:lnTo>
                    <a:pt x="425" y="839"/>
                  </a:lnTo>
                  <a:lnTo>
                    <a:pt x="424" y="838"/>
                  </a:lnTo>
                  <a:lnTo>
                    <a:pt x="423" y="838"/>
                  </a:lnTo>
                  <a:lnTo>
                    <a:pt x="421" y="836"/>
                  </a:lnTo>
                  <a:lnTo>
                    <a:pt x="420" y="835"/>
                  </a:lnTo>
                  <a:lnTo>
                    <a:pt x="414" y="826"/>
                  </a:lnTo>
                  <a:lnTo>
                    <a:pt x="411" y="821"/>
                  </a:lnTo>
                  <a:lnTo>
                    <a:pt x="408" y="818"/>
                  </a:lnTo>
                  <a:lnTo>
                    <a:pt x="402" y="813"/>
                  </a:lnTo>
                  <a:lnTo>
                    <a:pt x="399" y="810"/>
                  </a:lnTo>
                  <a:lnTo>
                    <a:pt x="386" y="793"/>
                  </a:lnTo>
                  <a:lnTo>
                    <a:pt x="378" y="784"/>
                  </a:lnTo>
                  <a:lnTo>
                    <a:pt x="373" y="778"/>
                  </a:lnTo>
                  <a:lnTo>
                    <a:pt x="371" y="776"/>
                  </a:lnTo>
                  <a:lnTo>
                    <a:pt x="366" y="771"/>
                  </a:lnTo>
                  <a:lnTo>
                    <a:pt x="365" y="771"/>
                  </a:lnTo>
                  <a:lnTo>
                    <a:pt x="363" y="769"/>
                  </a:lnTo>
                  <a:lnTo>
                    <a:pt x="359" y="768"/>
                  </a:lnTo>
                  <a:lnTo>
                    <a:pt x="348" y="763"/>
                  </a:lnTo>
                  <a:lnTo>
                    <a:pt x="347" y="761"/>
                  </a:lnTo>
                  <a:lnTo>
                    <a:pt x="345" y="760"/>
                  </a:lnTo>
                  <a:lnTo>
                    <a:pt x="343" y="758"/>
                  </a:lnTo>
                  <a:lnTo>
                    <a:pt x="342" y="756"/>
                  </a:lnTo>
                  <a:lnTo>
                    <a:pt x="341" y="754"/>
                  </a:lnTo>
                  <a:lnTo>
                    <a:pt x="340" y="752"/>
                  </a:lnTo>
                  <a:lnTo>
                    <a:pt x="338" y="743"/>
                  </a:lnTo>
                  <a:lnTo>
                    <a:pt x="337" y="741"/>
                  </a:lnTo>
                  <a:lnTo>
                    <a:pt x="336" y="736"/>
                  </a:lnTo>
                  <a:lnTo>
                    <a:pt x="336" y="732"/>
                  </a:lnTo>
                  <a:lnTo>
                    <a:pt x="336" y="730"/>
                  </a:lnTo>
                  <a:lnTo>
                    <a:pt x="336" y="728"/>
                  </a:lnTo>
                  <a:lnTo>
                    <a:pt x="335" y="727"/>
                  </a:lnTo>
                  <a:lnTo>
                    <a:pt x="333" y="726"/>
                  </a:lnTo>
                  <a:lnTo>
                    <a:pt x="332" y="726"/>
                  </a:lnTo>
                  <a:lnTo>
                    <a:pt x="330" y="726"/>
                  </a:lnTo>
                  <a:lnTo>
                    <a:pt x="328" y="726"/>
                  </a:lnTo>
                  <a:lnTo>
                    <a:pt x="326" y="727"/>
                  </a:lnTo>
                  <a:lnTo>
                    <a:pt x="324" y="728"/>
                  </a:lnTo>
                  <a:lnTo>
                    <a:pt x="314" y="732"/>
                  </a:lnTo>
                  <a:lnTo>
                    <a:pt x="306" y="734"/>
                  </a:lnTo>
                  <a:lnTo>
                    <a:pt x="299" y="736"/>
                  </a:lnTo>
                  <a:lnTo>
                    <a:pt x="285" y="740"/>
                  </a:lnTo>
                  <a:lnTo>
                    <a:pt x="275" y="743"/>
                  </a:lnTo>
                  <a:lnTo>
                    <a:pt x="271" y="743"/>
                  </a:lnTo>
                  <a:lnTo>
                    <a:pt x="268" y="744"/>
                  </a:lnTo>
                  <a:lnTo>
                    <a:pt x="266" y="744"/>
                  </a:lnTo>
                  <a:lnTo>
                    <a:pt x="264" y="744"/>
                  </a:lnTo>
                  <a:lnTo>
                    <a:pt x="262" y="743"/>
                  </a:lnTo>
                  <a:lnTo>
                    <a:pt x="260" y="743"/>
                  </a:lnTo>
                  <a:lnTo>
                    <a:pt x="258" y="743"/>
                  </a:lnTo>
                  <a:lnTo>
                    <a:pt x="257" y="742"/>
                  </a:lnTo>
                  <a:lnTo>
                    <a:pt x="256" y="741"/>
                  </a:lnTo>
                  <a:lnTo>
                    <a:pt x="254" y="740"/>
                  </a:lnTo>
                  <a:lnTo>
                    <a:pt x="253" y="738"/>
                  </a:lnTo>
                  <a:lnTo>
                    <a:pt x="250" y="731"/>
                  </a:lnTo>
                  <a:lnTo>
                    <a:pt x="243" y="720"/>
                  </a:lnTo>
                  <a:lnTo>
                    <a:pt x="242" y="717"/>
                  </a:lnTo>
                  <a:lnTo>
                    <a:pt x="241" y="715"/>
                  </a:lnTo>
                  <a:lnTo>
                    <a:pt x="241" y="713"/>
                  </a:lnTo>
                  <a:lnTo>
                    <a:pt x="240" y="705"/>
                  </a:lnTo>
                  <a:lnTo>
                    <a:pt x="238" y="698"/>
                  </a:lnTo>
                  <a:lnTo>
                    <a:pt x="238" y="696"/>
                  </a:lnTo>
                  <a:lnTo>
                    <a:pt x="238" y="691"/>
                  </a:lnTo>
                  <a:lnTo>
                    <a:pt x="238" y="689"/>
                  </a:lnTo>
                  <a:lnTo>
                    <a:pt x="238" y="686"/>
                  </a:lnTo>
                  <a:lnTo>
                    <a:pt x="238" y="685"/>
                  </a:lnTo>
                  <a:lnTo>
                    <a:pt x="238" y="684"/>
                  </a:lnTo>
                  <a:lnTo>
                    <a:pt x="238" y="683"/>
                  </a:lnTo>
                  <a:lnTo>
                    <a:pt x="238" y="681"/>
                  </a:lnTo>
                  <a:lnTo>
                    <a:pt x="237" y="679"/>
                  </a:lnTo>
                  <a:lnTo>
                    <a:pt x="236" y="678"/>
                  </a:lnTo>
                  <a:lnTo>
                    <a:pt x="234" y="677"/>
                  </a:lnTo>
                  <a:lnTo>
                    <a:pt x="231" y="675"/>
                  </a:lnTo>
                  <a:lnTo>
                    <a:pt x="228" y="673"/>
                  </a:lnTo>
                  <a:lnTo>
                    <a:pt x="221" y="666"/>
                  </a:lnTo>
                  <a:lnTo>
                    <a:pt x="214" y="660"/>
                  </a:lnTo>
                  <a:lnTo>
                    <a:pt x="207" y="651"/>
                  </a:lnTo>
                  <a:lnTo>
                    <a:pt x="206" y="650"/>
                  </a:lnTo>
                  <a:lnTo>
                    <a:pt x="203" y="649"/>
                  </a:lnTo>
                  <a:lnTo>
                    <a:pt x="200" y="646"/>
                  </a:lnTo>
                  <a:lnTo>
                    <a:pt x="194" y="643"/>
                  </a:lnTo>
                  <a:lnTo>
                    <a:pt x="189" y="641"/>
                  </a:lnTo>
                  <a:lnTo>
                    <a:pt x="184" y="638"/>
                  </a:lnTo>
                  <a:lnTo>
                    <a:pt x="179" y="634"/>
                  </a:lnTo>
                  <a:lnTo>
                    <a:pt x="176" y="632"/>
                  </a:lnTo>
                  <a:lnTo>
                    <a:pt x="174" y="631"/>
                  </a:lnTo>
                  <a:lnTo>
                    <a:pt x="172" y="630"/>
                  </a:lnTo>
                  <a:lnTo>
                    <a:pt x="165" y="628"/>
                  </a:lnTo>
                  <a:lnTo>
                    <a:pt x="164" y="627"/>
                  </a:lnTo>
                  <a:lnTo>
                    <a:pt x="162" y="626"/>
                  </a:lnTo>
                  <a:lnTo>
                    <a:pt x="162" y="626"/>
                  </a:lnTo>
                  <a:lnTo>
                    <a:pt x="161" y="625"/>
                  </a:lnTo>
                  <a:lnTo>
                    <a:pt x="161" y="624"/>
                  </a:lnTo>
                  <a:lnTo>
                    <a:pt x="161" y="623"/>
                  </a:lnTo>
                  <a:lnTo>
                    <a:pt x="161" y="621"/>
                  </a:lnTo>
                  <a:lnTo>
                    <a:pt x="161" y="618"/>
                  </a:lnTo>
                  <a:lnTo>
                    <a:pt x="161" y="616"/>
                  </a:lnTo>
                  <a:lnTo>
                    <a:pt x="161" y="610"/>
                  </a:lnTo>
                  <a:lnTo>
                    <a:pt x="161" y="609"/>
                  </a:lnTo>
                  <a:lnTo>
                    <a:pt x="161" y="607"/>
                  </a:lnTo>
                  <a:lnTo>
                    <a:pt x="160" y="606"/>
                  </a:lnTo>
                  <a:lnTo>
                    <a:pt x="160" y="606"/>
                  </a:lnTo>
                  <a:lnTo>
                    <a:pt x="159" y="604"/>
                  </a:lnTo>
                  <a:lnTo>
                    <a:pt x="157" y="603"/>
                  </a:lnTo>
                  <a:lnTo>
                    <a:pt x="155" y="602"/>
                  </a:lnTo>
                  <a:lnTo>
                    <a:pt x="146" y="597"/>
                  </a:lnTo>
                  <a:lnTo>
                    <a:pt x="141" y="594"/>
                  </a:lnTo>
                  <a:lnTo>
                    <a:pt x="136" y="591"/>
                  </a:lnTo>
                  <a:lnTo>
                    <a:pt x="127" y="585"/>
                  </a:lnTo>
                  <a:lnTo>
                    <a:pt x="121" y="581"/>
                  </a:lnTo>
                  <a:lnTo>
                    <a:pt x="117" y="579"/>
                  </a:lnTo>
                  <a:lnTo>
                    <a:pt x="104" y="573"/>
                  </a:lnTo>
                  <a:lnTo>
                    <a:pt x="102" y="571"/>
                  </a:lnTo>
                  <a:lnTo>
                    <a:pt x="101" y="571"/>
                  </a:lnTo>
                  <a:lnTo>
                    <a:pt x="99" y="569"/>
                  </a:lnTo>
                  <a:lnTo>
                    <a:pt x="98" y="568"/>
                  </a:lnTo>
                  <a:lnTo>
                    <a:pt x="94" y="564"/>
                  </a:lnTo>
                  <a:lnTo>
                    <a:pt x="89" y="556"/>
                  </a:lnTo>
                  <a:lnTo>
                    <a:pt x="82" y="548"/>
                  </a:lnTo>
                  <a:lnTo>
                    <a:pt x="81" y="546"/>
                  </a:lnTo>
                  <a:lnTo>
                    <a:pt x="80" y="546"/>
                  </a:lnTo>
                  <a:lnTo>
                    <a:pt x="78" y="544"/>
                  </a:lnTo>
                  <a:lnTo>
                    <a:pt x="74" y="542"/>
                  </a:lnTo>
                  <a:lnTo>
                    <a:pt x="71" y="540"/>
                  </a:lnTo>
                  <a:lnTo>
                    <a:pt x="68" y="539"/>
                  </a:lnTo>
                  <a:lnTo>
                    <a:pt x="64" y="534"/>
                  </a:lnTo>
                  <a:lnTo>
                    <a:pt x="61" y="532"/>
                  </a:lnTo>
                  <a:lnTo>
                    <a:pt x="59" y="531"/>
                  </a:lnTo>
                  <a:lnTo>
                    <a:pt x="54" y="527"/>
                  </a:lnTo>
                  <a:lnTo>
                    <a:pt x="51" y="526"/>
                  </a:lnTo>
                  <a:lnTo>
                    <a:pt x="51" y="525"/>
                  </a:lnTo>
                  <a:lnTo>
                    <a:pt x="49" y="524"/>
                  </a:lnTo>
                  <a:lnTo>
                    <a:pt x="44" y="517"/>
                  </a:lnTo>
                  <a:lnTo>
                    <a:pt x="42" y="515"/>
                  </a:lnTo>
                  <a:lnTo>
                    <a:pt x="40" y="513"/>
                  </a:lnTo>
                  <a:lnTo>
                    <a:pt x="37" y="511"/>
                  </a:lnTo>
                  <a:lnTo>
                    <a:pt x="35" y="509"/>
                  </a:lnTo>
                  <a:lnTo>
                    <a:pt x="31" y="507"/>
                  </a:lnTo>
                  <a:lnTo>
                    <a:pt x="21" y="501"/>
                  </a:lnTo>
                  <a:lnTo>
                    <a:pt x="18" y="499"/>
                  </a:lnTo>
                  <a:lnTo>
                    <a:pt x="14" y="497"/>
                  </a:lnTo>
                  <a:lnTo>
                    <a:pt x="11" y="495"/>
                  </a:lnTo>
                  <a:lnTo>
                    <a:pt x="9" y="492"/>
                  </a:lnTo>
                  <a:lnTo>
                    <a:pt x="8" y="491"/>
                  </a:lnTo>
                  <a:lnTo>
                    <a:pt x="6" y="488"/>
                  </a:lnTo>
                  <a:lnTo>
                    <a:pt x="5" y="486"/>
                  </a:lnTo>
                  <a:lnTo>
                    <a:pt x="4" y="484"/>
                  </a:lnTo>
                  <a:lnTo>
                    <a:pt x="3" y="481"/>
                  </a:lnTo>
                  <a:lnTo>
                    <a:pt x="1" y="478"/>
                  </a:lnTo>
                  <a:lnTo>
                    <a:pt x="1" y="475"/>
                  </a:lnTo>
                  <a:lnTo>
                    <a:pt x="0" y="472"/>
                  </a:lnTo>
                  <a:lnTo>
                    <a:pt x="0" y="469"/>
                  </a:lnTo>
                  <a:lnTo>
                    <a:pt x="0" y="466"/>
                  </a:lnTo>
                  <a:lnTo>
                    <a:pt x="0" y="464"/>
                  </a:lnTo>
                  <a:lnTo>
                    <a:pt x="1" y="461"/>
                  </a:lnTo>
                  <a:lnTo>
                    <a:pt x="1" y="459"/>
                  </a:lnTo>
                  <a:lnTo>
                    <a:pt x="2" y="456"/>
                  </a:lnTo>
                  <a:lnTo>
                    <a:pt x="2" y="456"/>
                  </a:lnTo>
                  <a:lnTo>
                    <a:pt x="3" y="456"/>
                  </a:lnTo>
                  <a:lnTo>
                    <a:pt x="11" y="453"/>
                  </a:lnTo>
                  <a:lnTo>
                    <a:pt x="16" y="451"/>
                  </a:lnTo>
                  <a:lnTo>
                    <a:pt x="19" y="449"/>
                  </a:lnTo>
                  <a:lnTo>
                    <a:pt x="22" y="448"/>
                  </a:lnTo>
                  <a:lnTo>
                    <a:pt x="26" y="446"/>
                  </a:lnTo>
                  <a:lnTo>
                    <a:pt x="29" y="444"/>
                  </a:lnTo>
                  <a:lnTo>
                    <a:pt x="31" y="442"/>
                  </a:lnTo>
                  <a:lnTo>
                    <a:pt x="37" y="438"/>
                  </a:lnTo>
                  <a:lnTo>
                    <a:pt x="41" y="435"/>
                  </a:lnTo>
                  <a:lnTo>
                    <a:pt x="43" y="431"/>
                  </a:lnTo>
                  <a:lnTo>
                    <a:pt x="46" y="427"/>
                  </a:lnTo>
                  <a:lnTo>
                    <a:pt x="49" y="425"/>
                  </a:lnTo>
                  <a:lnTo>
                    <a:pt x="50" y="424"/>
                  </a:lnTo>
                  <a:lnTo>
                    <a:pt x="51" y="423"/>
                  </a:lnTo>
                  <a:lnTo>
                    <a:pt x="56" y="420"/>
                  </a:lnTo>
                  <a:lnTo>
                    <a:pt x="59" y="419"/>
                  </a:lnTo>
                  <a:lnTo>
                    <a:pt x="59" y="418"/>
                  </a:lnTo>
                  <a:lnTo>
                    <a:pt x="60" y="417"/>
                  </a:lnTo>
                  <a:lnTo>
                    <a:pt x="60" y="416"/>
                  </a:lnTo>
                  <a:lnTo>
                    <a:pt x="60" y="414"/>
                  </a:lnTo>
                  <a:lnTo>
                    <a:pt x="61" y="411"/>
                  </a:lnTo>
                  <a:lnTo>
                    <a:pt x="61" y="409"/>
                  </a:lnTo>
                  <a:lnTo>
                    <a:pt x="61" y="407"/>
                  </a:lnTo>
                  <a:lnTo>
                    <a:pt x="60" y="404"/>
                  </a:lnTo>
                  <a:lnTo>
                    <a:pt x="59" y="401"/>
                  </a:lnTo>
                  <a:lnTo>
                    <a:pt x="53" y="389"/>
                  </a:lnTo>
                  <a:lnTo>
                    <a:pt x="51" y="385"/>
                  </a:lnTo>
                  <a:lnTo>
                    <a:pt x="49" y="382"/>
                  </a:lnTo>
                  <a:lnTo>
                    <a:pt x="46" y="380"/>
                  </a:lnTo>
                  <a:lnTo>
                    <a:pt x="41" y="374"/>
                  </a:lnTo>
                  <a:lnTo>
                    <a:pt x="39" y="372"/>
                  </a:lnTo>
                  <a:lnTo>
                    <a:pt x="37" y="371"/>
                  </a:lnTo>
                  <a:lnTo>
                    <a:pt x="36" y="368"/>
                  </a:lnTo>
                  <a:lnTo>
                    <a:pt x="35" y="367"/>
                  </a:lnTo>
                  <a:lnTo>
                    <a:pt x="34" y="364"/>
                  </a:lnTo>
                  <a:lnTo>
                    <a:pt x="33" y="362"/>
                  </a:lnTo>
                  <a:lnTo>
                    <a:pt x="32" y="359"/>
                  </a:lnTo>
                  <a:lnTo>
                    <a:pt x="31" y="356"/>
                  </a:lnTo>
                  <a:lnTo>
                    <a:pt x="31" y="353"/>
                  </a:lnTo>
                  <a:lnTo>
                    <a:pt x="31" y="349"/>
                  </a:lnTo>
                  <a:lnTo>
                    <a:pt x="32" y="344"/>
                  </a:lnTo>
                  <a:lnTo>
                    <a:pt x="34" y="336"/>
                  </a:lnTo>
                  <a:lnTo>
                    <a:pt x="34" y="332"/>
                  </a:lnTo>
                  <a:lnTo>
                    <a:pt x="35" y="314"/>
                  </a:lnTo>
                  <a:lnTo>
                    <a:pt x="35" y="309"/>
                  </a:lnTo>
                  <a:lnTo>
                    <a:pt x="35" y="307"/>
                  </a:lnTo>
                  <a:lnTo>
                    <a:pt x="35" y="304"/>
                  </a:lnTo>
                  <a:lnTo>
                    <a:pt x="34" y="302"/>
                  </a:lnTo>
                  <a:lnTo>
                    <a:pt x="34" y="301"/>
                  </a:lnTo>
                  <a:lnTo>
                    <a:pt x="33" y="300"/>
                  </a:lnTo>
                  <a:lnTo>
                    <a:pt x="31" y="299"/>
                  </a:lnTo>
                  <a:lnTo>
                    <a:pt x="30" y="297"/>
                  </a:lnTo>
                  <a:lnTo>
                    <a:pt x="29" y="297"/>
                  </a:lnTo>
                  <a:lnTo>
                    <a:pt x="27" y="297"/>
                  </a:lnTo>
                  <a:lnTo>
                    <a:pt x="26" y="297"/>
                  </a:lnTo>
                  <a:lnTo>
                    <a:pt x="24" y="292"/>
                  </a:lnTo>
                  <a:lnTo>
                    <a:pt x="19" y="284"/>
                  </a:lnTo>
                  <a:lnTo>
                    <a:pt x="19" y="283"/>
                  </a:lnTo>
                  <a:lnTo>
                    <a:pt x="19" y="282"/>
                  </a:lnTo>
                  <a:lnTo>
                    <a:pt x="19" y="282"/>
                  </a:lnTo>
                  <a:lnTo>
                    <a:pt x="19" y="281"/>
                  </a:lnTo>
                  <a:lnTo>
                    <a:pt x="19" y="280"/>
                  </a:lnTo>
                  <a:lnTo>
                    <a:pt x="20" y="279"/>
                  </a:lnTo>
                  <a:lnTo>
                    <a:pt x="21" y="279"/>
                  </a:lnTo>
                  <a:lnTo>
                    <a:pt x="22" y="279"/>
                  </a:lnTo>
                  <a:lnTo>
                    <a:pt x="25" y="278"/>
                  </a:lnTo>
                  <a:lnTo>
                    <a:pt x="27" y="277"/>
                  </a:lnTo>
                  <a:lnTo>
                    <a:pt x="28" y="277"/>
                  </a:lnTo>
                  <a:lnTo>
                    <a:pt x="29" y="277"/>
                  </a:lnTo>
                  <a:lnTo>
                    <a:pt x="29" y="276"/>
                  </a:lnTo>
                  <a:lnTo>
                    <a:pt x="29" y="274"/>
                  </a:lnTo>
                  <a:lnTo>
                    <a:pt x="30" y="269"/>
                  </a:lnTo>
                  <a:lnTo>
                    <a:pt x="31" y="267"/>
                  </a:lnTo>
                  <a:lnTo>
                    <a:pt x="31" y="266"/>
                  </a:lnTo>
                  <a:lnTo>
                    <a:pt x="32" y="264"/>
                  </a:lnTo>
                  <a:lnTo>
                    <a:pt x="33" y="264"/>
                  </a:lnTo>
                  <a:lnTo>
                    <a:pt x="34" y="263"/>
                  </a:lnTo>
                  <a:lnTo>
                    <a:pt x="34" y="262"/>
                  </a:lnTo>
                  <a:lnTo>
                    <a:pt x="35" y="262"/>
                  </a:lnTo>
                  <a:lnTo>
                    <a:pt x="39" y="261"/>
                  </a:lnTo>
                  <a:lnTo>
                    <a:pt x="41" y="261"/>
                  </a:lnTo>
                  <a:lnTo>
                    <a:pt x="43" y="259"/>
                  </a:lnTo>
                  <a:lnTo>
                    <a:pt x="46" y="259"/>
                  </a:lnTo>
                  <a:lnTo>
                    <a:pt x="47" y="257"/>
                  </a:lnTo>
                  <a:lnTo>
                    <a:pt x="49" y="257"/>
                  </a:lnTo>
                  <a:lnTo>
                    <a:pt x="52" y="253"/>
                  </a:lnTo>
                  <a:lnTo>
                    <a:pt x="53" y="252"/>
                  </a:lnTo>
                  <a:lnTo>
                    <a:pt x="54" y="249"/>
                  </a:lnTo>
                  <a:lnTo>
                    <a:pt x="54" y="247"/>
                  </a:lnTo>
                  <a:lnTo>
                    <a:pt x="55" y="244"/>
                  </a:lnTo>
                  <a:lnTo>
                    <a:pt x="56" y="241"/>
                  </a:lnTo>
                  <a:lnTo>
                    <a:pt x="56" y="237"/>
                  </a:lnTo>
                  <a:lnTo>
                    <a:pt x="56" y="235"/>
                  </a:lnTo>
                  <a:lnTo>
                    <a:pt x="56" y="234"/>
                  </a:lnTo>
                  <a:lnTo>
                    <a:pt x="56" y="233"/>
                  </a:lnTo>
                  <a:lnTo>
                    <a:pt x="56" y="232"/>
                  </a:lnTo>
                  <a:lnTo>
                    <a:pt x="56" y="229"/>
                  </a:lnTo>
                  <a:lnTo>
                    <a:pt x="56" y="228"/>
                  </a:lnTo>
                  <a:lnTo>
                    <a:pt x="59" y="224"/>
                  </a:lnTo>
                  <a:lnTo>
                    <a:pt x="60" y="221"/>
                  </a:lnTo>
                  <a:lnTo>
                    <a:pt x="61" y="218"/>
                  </a:lnTo>
                  <a:lnTo>
                    <a:pt x="64" y="215"/>
                  </a:lnTo>
                  <a:lnTo>
                    <a:pt x="71" y="205"/>
                  </a:lnTo>
                  <a:lnTo>
                    <a:pt x="75" y="199"/>
                  </a:lnTo>
                  <a:lnTo>
                    <a:pt x="80" y="192"/>
                  </a:lnTo>
                  <a:lnTo>
                    <a:pt x="81" y="190"/>
                  </a:lnTo>
                  <a:lnTo>
                    <a:pt x="82" y="189"/>
                  </a:lnTo>
                  <a:lnTo>
                    <a:pt x="82" y="187"/>
                  </a:lnTo>
                  <a:lnTo>
                    <a:pt x="83" y="185"/>
                  </a:lnTo>
                  <a:lnTo>
                    <a:pt x="84" y="183"/>
                  </a:lnTo>
                  <a:lnTo>
                    <a:pt x="84" y="182"/>
                  </a:lnTo>
                  <a:lnTo>
                    <a:pt x="84" y="179"/>
                  </a:lnTo>
                  <a:lnTo>
                    <a:pt x="83" y="177"/>
                  </a:lnTo>
                  <a:lnTo>
                    <a:pt x="82" y="174"/>
                  </a:lnTo>
                  <a:lnTo>
                    <a:pt x="80" y="165"/>
                  </a:lnTo>
                  <a:lnTo>
                    <a:pt x="79" y="160"/>
                  </a:lnTo>
                  <a:lnTo>
                    <a:pt x="78" y="153"/>
                  </a:lnTo>
                  <a:lnTo>
                    <a:pt x="77" y="146"/>
                  </a:lnTo>
                  <a:lnTo>
                    <a:pt x="77" y="143"/>
                  </a:lnTo>
                  <a:lnTo>
                    <a:pt x="77" y="140"/>
                  </a:lnTo>
                  <a:lnTo>
                    <a:pt x="77" y="137"/>
                  </a:lnTo>
                  <a:lnTo>
                    <a:pt x="78" y="135"/>
                  </a:lnTo>
                  <a:lnTo>
                    <a:pt x="78" y="133"/>
                  </a:lnTo>
                  <a:lnTo>
                    <a:pt x="79" y="130"/>
                  </a:lnTo>
                  <a:lnTo>
                    <a:pt x="79" y="129"/>
                  </a:lnTo>
                  <a:lnTo>
                    <a:pt x="81" y="127"/>
                  </a:lnTo>
                  <a:lnTo>
                    <a:pt x="81" y="126"/>
                  </a:lnTo>
                  <a:lnTo>
                    <a:pt x="83" y="125"/>
                  </a:lnTo>
                  <a:lnTo>
                    <a:pt x="84" y="124"/>
                  </a:lnTo>
                  <a:lnTo>
                    <a:pt x="86" y="123"/>
                  </a:lnTo>
                  <a:lnTo>
                    <a:pt x="87" y="122"/>
                  </a:lnTo>
                  <a:lnTo>
                    <a:pt x="89" y="122"/>
                  </a:lnTo>
                  <a:lnTo>
                    <a:pt x="91" y="122"/>
                  </a:lnTo>
                  <a:lnTo>
                    <a:pt x="94" y="122"/>
                  </a:lnTo>
                  <a:lnTo>
                    <a:pt x="96" y="122"/>
                  </a:lnTo>
                  <a:lnTo>
                    <a:pt x="99" y="123"/>
                  </a:lnTo>
                  <a:lnTo>
                    <a:pt x="103" y="124"/>
                  </a:lnTo>
                  <a:lnTo>
                    <a:pt x="113" y="128"/>
                  </a:lnTo>
                  <a:lnTo>
                    <a:pt x="121" y="130"/>
                  </a:lnTo>
                  <a:lnTo>
                    <a:pt x="124" y="132"/>
                  </a:lnTo>
                  <a:lnTo>
                    <a:pt x="127" y="132"/>
                  </a:lnTo>
                  <a:lnTo>
                    <a:pt x="129" y="132"/>
                  </a:lnTo>
                  <a:lnTo>
                    <a:pt x="130" y="132"/>
                  </a:lnTo>
                  <a:lnTo>
                    <a:pt x="131" y="131"/>
                  </a:lnTo>
                  <a:lnTo>
                    <a:pt x="131" y="131"/>
                  </a:lnTo>
                  <a:lnTo>
                    <a:pt x="132" y="130"/>
                  </a:lnTo>
                  <a:lnTo>
                    <a:pt x="132" y="130"/>
                  </a:lnTo>
                  <a:lnTo>
                    <a:pt x="133" y="128"/>
                  </a:lnTo>
                  <a:lnTo>
                    <a:pt x="133" y="127"/>
                  </a:lnTo>
                  <a:lnTo>
                    <a:pt x="133" y="125"/>
                  </a:lnTo>
                  <a:lnTo>
                    <a:pt x="132" y="124"/>
                  </a:lnTo>
                  <a:lnTo>
                    <a:pt x="131" y="120"/>
                  </a:lnTo>
                  <a:lnTo>
                    <a:pt x="126" y="114"/>
                  </a:lnTo>
                  <a:lnTo>
                    <a:pt x="125" y="111"/>
                  </a:lnTo>
                  <a:lnTo>
                    <a:pt x="122" y="106"/>
                  </a:lnTo>
                  <a:lnTo>
                    <a:pt x="121" y="101"/>
                  </a:lnTo>
                  <a:lnTo>
                    <a:pt x="119" y="96"/>
                  </a:lnTo>
                  <a:lnTo>
                    <a:pt x="117" y="92"/>
                  </a:lnTo>
                  <a:lnTo>
                    <a:pt x="116" y="88"/>
                  </a:lnTo>
                  <a:lnTo>
                    <a:pt x="116" y="84"/>
                  </a:lnTo>
                  <a:lnTo>
                    <a:pt x="115" y="78"/>
                  </a:lnTo>
                  <a:lnTo>
                    <a:pt x="114" y="74"/>
                  </a:lnTo>
                  <a:lnTo>
                    <a:pt x="114" y="64"/>
                  </a:lnTo>
                  <a:lnTo>
                    <a:pt x="112" y="50"/>
                  </a:lnTo>
                  <a:lnTo>
                    <a:pt x="112" y="45"/>
                  </a:lnTo>
                  <a:lnTo>
                    <a:pt x="112" y="42"/>
                  </a:lnTo>
                  <a:lnTo>
                    <a:pt x="112" y="41"/>
                  </a:lnTo>
                  <a:lnTo>
                    <a:pt x="113" y="40"/>
                  </a:lnTo>
                  <a:lnTo>
                    <a:pt x="114" y="38"/>
                  </a:lnTo>
                  <a:lnTo>
                    <a:pt x="114" y="37"/>
                  </a:lnTo>
                  <a:lnTo>
                    <a:pt x="115" y="36"/>
                  </a:lnTo>
                  <a:lnTo>
                    <a:pt x="116" y="35"/>
                  </a:lnTo>
                  <a:lnTo>
                    <a:pt x="119" y="34"/>
                  </a:lnTo>
                  <a:lnTo>
                    <a:pt x="122" y="32"/>
                  </a:lnTo>
                  <a:lnTo>
                    <a:pt x="126" y="30"/>
                  </a:lnTo>
                  <a:lnTo>
                    <a:pt x="129" y="29"/>
                  </a:lnTo>
                  <a:lnTo>
                    <a:pt x="136" y="27"/>
                  </a:lnTo>
                  <a:lnTo>
                    <a:pt x="138" y="27"/>
                  </a:lnTo>
                  <a:lnTo>
                    <a:pt x="140" y="25"/>
                  </a:lnTo>
                  <a:lnTo>
                    <a:pt x="141" y="25"/>
                  </a:lnTo>
                  <a:lnTo>
                    <a:pt x="143" y="24"/>
                  </a:lnTo>
                  <a:lnTo>
                    <a:pt x="144" y="22"/>
                  </a:lnTo>
                  <a:lnTo>
                    <a:pt x="146" y="18"/>
                  </a:lnTo>
                  <a:lnTo>
                    <a:pt x="150" y="13"/>
                  </a:lnTo>
                  <a:lnTo>
                    <a:pt x="153" y="7"/>
                  </a:lnTo>
                  <a:lnTo>
                    <a:pt x="155" y="3"/>
                  </a:lnTo>
                  <a:lnTo>
                    <a:pt x="156" y="2"/>
                  </a:lnTo>
                  <a:lnTo>
                    <a:pt x="158" y="0"/>
                  </a:lnTo>
                  <a:lnTo>
                    <a:pt x="159" y="0"/>
                  </a:lnTo>
                  <a:lnTo>
                    <a:pt x="159" y="0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595959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98">
              <a:extLst>
                <a:ext uri="{FF2B5EF4-FFF2-40B4-BE49-F238E27FC236}">
                  <a16:creationId xmlns:a16="http://schemas.microsoft.com/office/drawing/2014/main" id="{B9F6D72A-E6BA-E01A-B6FC-A0317CCC7B0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4173" y="5767225"/>
              <a:ext cx="1177925" cy="976313"/>
            </a:xfrm>
            <a:custGeom>
              <a:avLst/>
              <a:gdLst>
                <a:gd name="T0" fmla="*/ 281 w 742"/>
                <a:gd name="T1" fmla="*/ 22 h 615"/>
                <a:gd name="T2" fmla="*/ 301 w 742"/>
                <a:gd name="T3" fmla="*/ 45 h 615"/>
                <a:gd name="T4" fmla="*/ 334 w 742"/>
                <a:gd name="T5" fmla="*/ 71 h 615"/>
                <a:gd name="T6" fmla="*/ 362 w 742"/>
                <a:gd name="T7" fmla="*/ 92 h 615"/>
                <a:gd name="T8" fmla="*/ 407 w 742"/>
                <a:gd name="T9" fmla="*/ 129 h 615"/>
                <a:gd name="T10" fmla="*/ 441 w 742"/>
                <a:gd name="T11" fmla="*/ 153 h 615"/>
                <a:gd name="T12" fmla="*/ 444 w 742"/>
                <a:gd name="T13" fmla="*/ 171 h 615"/>
                <a:gd name="T14" fmla="*/ 483 w 742"/>
                <a:gd name="T15" fmla="*/ 193 h 615"/>
                <a:gd name="T16" fmla="*/ 518 w 742"/>
                <a:gd name="T17" fmla="*/ 225 h 615"/>
                <a:gd name="T18" fmla="*/ 521 w 742"/>
                <a:gd name="T19" fmla="*/ 257 h 615"/>
                <a:gd name="T20" fmla="*/ 540 w 742"/>
                <a:gd name="T21" fmla="*/ 287 h 615"/>
                <a:gd name="T22" fmla="*/ 594 w 742"/>
                <a:gd name="T23" fmla="*/ 276 h 615"/>
                <a:gd name="T24" fmla="*/ 616 w 742"/>
                <a:gd name="T25" fmla="*/ 276 h 615"/>
                <a:gd name="T26" fmla="*/ 628 w 742"/>
                <a:gd name="T27" fmla="*/ 307 h 615"/>
                <a:gd name="T28" fmla="*/ 682 w 742"/>
                <a:gd name="T29" fmla="*/ 357 h 615"/>
                <a:gd name="T30" fmla="*/ 708 w 742"/>
                <a:gd name="T31" fmla="*/ 383 h 615"/>
                <a:gd name="T32" fmla="*/ 717 w 742"/>
                <a:gd name="T33" fmla="*/ 385 h 615"/>
                <a:gd name="T34" fmla="*/ 727 w 742"/>
                <a:gd name="T35" fmla="*/ 440 h 615"/>
                <a:gd name="T36" fmla="*/ 742 w 742"/>
                <a:gd name="T37" fmla="*/ 454 h 615"/>
                <a:gd name="T38" fmla="*/ 738 w 742"/>
                <a:gd name="T39" fmla="*/ 519 h 615"/>
                <a:gd name="T40" fmla="*/ 723 w 742"/>
                <a:gd name="T41" fmla="*/ 574 h 615"/>
                <a:gd name="T42" fmla="*/ 694 w 742"/>
                <a:gd name="T43" fmla="*/ 578 h 615"/>
                <a:gd name="T44" fmla="*/ 666 w 742"/>
                <a:gd name="T45" fmla="*/ 551 h 615"/>
                <a:gd name="T46" fmla="*/ 641 w 742"/>
                <a:gd name="T47" fmla="*/ 529 h 615"/>
                <a:gd name="T48" fmla="*/ 601 w 742"/>
                <a:gd name="T49" fmla="*/ 542 h 615"/>
                <a:gd name="T50" fmla="*/ 546 w 742"/>
                <a:gd name="T51" fmla="*/ 530 h 615"/>
                <a:gd name="T52" fmla="*/ 511 w 742"/>
                <a:gd name="T53" fmla="*/ 499 h 615"/>
                <a:gd name="T54" fmla="*/ 493 w 742"/>
                <a:gd name="T55" fmla="*/ 502 h 615"/>
                <a:gd name="T56" fmla="*/ 483 w 742"/>
                <a:gd name="T57" fmla="*/ 547 h 615"/>
                <a:gd name="T58" fmla="*/ 465 w 742"/>
                <a:gd name="T59" fmla="*/ 567 h 615"/>
                <a:gd name="T60" fmla="*/ 436 w 742"/>
                <a:gd name="T61" fmla="*/ 575 h 615"/>
                <a:gd name="T62" fmla="*/ 418 w 742"/>
                <a:gd name="T63" fmla="*/ 596 h 615"/>
                <a:gd name="T64" fmla="*/ 389 w 742"/>
                <a:gd name="T65" fmla="*/ 614 h 615"/>
                <a:gd name="T66" fmla="*/ 325 w 742"/>
                <a:gd name="T67" fmla="*/ 588 h 615"/>
                <a:gd name="T68" fmla="*/ 266 w 742"/>
                <a:gd name="T69" fmla="*/ 572 h 615"/>
                <a:gd name="T70" fmla="*/ 204 w 742"/>
                <a:gd name="T71" fmla="*/ 562 h 615"/>
                <a:gd name="T72" fmla="*/ 167 w 742"/>
                <a:gd name="T73" fmla="*/ 562 h 615"/>
                <a:gd name="T74" fmla="*/ 127 w 742"/>
                <a:gd name="T75" fmla="*/ 543 h 615"/>
                <a:gd name="T76" fmla="*/ 110 w 742"/>
                <a:gd name="T77" fmla="*/ 518 h 615"/>
                <a:gd name="T78" fmla="*/ 96 w 742"/>
                <a:gd name="T79" fmla="*/ 495 h 615"/>
                <a:gd name="T80" fmla="*/ 120 w 742"/>
                <a:gd name="T81" fmla="*/ 476 h 615"/>
                <a:gd name="T82" fmla="*/ 127 w 742"/>
                <a:gd name="T83" fmla="*/ 458 h 615"/>
                <a:gd name="T84" fmla="*/ 97 w 742"/>
                <a:gd name="T85" fmla="*/ 427 h 615"/>
                <a:gd name="T86" fmla="*/ 67 w 742"/>
                <a:gd name="T87" fmla="*/ 401 h 615"/>
                <a:gd name="T88" fmla="*/ 17 w 742"/>
                <a:gd name="T89" fmla="*/ 372 h 615"/>
                <a:gd name="T90" fmla="*/ 10 w 742"/>
                <a:gd name="T91" fmla="*/ 339 h 615"/>
                <a:gd name="T92" fmla="*/ 38 w 742"/>
                <a:gd name="T93" fmla="*/ 325 h 615"/>
                <a:gd name="T94" fmla="*/ 56 w 742"/>
                <a:gd name="T95" fmla="*/ 281 h 615"/>
                <a:gd name="T96" fmla="*/ 47 w 742"/>
                <a:gd name="T97" fmla="*/ 230 h 615"/>
                <a:gd name="T98" fmla="*/ 39 w 742"/>
                <a:gd name="T99" fmla="*/ 175 h 615"/>
                <a:gd name="T100" fmla="*/ 42 w 742"/>
                <a:gd name="T101" fmla="*/ 145 h 615"/>
                <a:gd name="T102" fmla="*/ 74 w 742"/>
                <a:gd name="T103" fmla="*/ 145 h 615"/>
                <a:gd name="T104" fmla="*/ 137 w 742"/>
                <a:gd name="T105" fmla="*/ 133 h 615"/>
                <a:gd name="T106" fmla="*/ 190 w 742"/>
                <a:gd name="T107" fmla="*/ 133 h 615"/>
                <a:gd name="T108" fmla="*/ 233 w 742"/>
                <a:gd name="T109" fmla="*/ 151 h 615"/>
                <a:gd name="T110" fmla="*/ 247 w 742"/>
                <a:gd name="T111" fmla="*/ 145 h 615"/>
                <a:gd name="T112" fmla="*/ 248 w 742"/>
                <a:gd name="T113" fmla="*/ 131 h 615"/>
                <a:gd name="T114" fmla="*/ 237 w 742"/>
                <a:gd name="T115" fmla="*/ 102 h 615"/>
                <a:gd name="T116" fmla="*/ 247 w 742"/>
                <a:gd name="T117" fmla="*/ 78 h 615"/>
                <a:gd name="T118" fmla="*/ 254 w 742"/>
                <a:gd name="T119" fmla="*/ 40 h 615"/>
                <a:gd name="T120" fmla="*/ 269 w 742"/>
                <a:gd name="T121" fmla="*/ 10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42" h="615">
                  <a:moveTo>
                    <a:pt x="282" y="0"/>
                  </a:moveTo>
                  <a:lnTo>
                    <a:pt x="282" y="0"/>
                  </a:lnTo>
                  <a:lnTo>
                    <a:pt x="281" y="3"/>
                  </a:lnTo>
                  <a:lnTo>
                    <a:pt x="281" y="5"/>
                  </a:lnTo>
                  <a:lnTo>
                    <a:pt x="280" y="8"/>
                  </a:lnTo>
                  <a:lnTo>
                    <a:pt x="280" y="10"/>
                  </a:lnTo>
                  <a:lnTo>
                    <a:pt x="280" y="13"/>
                  </a:lnTo>
                  <a:lnTo>
                    <a:pt x="280" y="16"/>
                  </a:lnTo>
                  <a:lnTo>
                    <a:pt x="281" y="19"/>
                  </a:lnTo>
                  <a:lnTo>
                    <a:pt x="281" y="22"/>
                  </a:lnTo>
                  <a:lnTo>
                    <a:pt x="283" y="25"/>
                  </a:lnTo>
                  <a:lnTo>
                    <a:pt x="284" y="28"/>
                  </a:lnTo>
                  <a:lnTo>
                    <a:pt x="285" y="30"/>
                  </a:lnTo>
                  <a:lnTo>
                    <a:pt x="286" y="32"/>
                  </a:lnTo>
                  <a:lnTo>
                    <a:pt x="288" y="35"/>
                  </a:lnTo>
                  <a:lnTo>
                    <a:pt x="289" y="36"/>
                  </a:lnTo>
                  <a:lnTo>
                    <a:pt x="291" y="39"/>
                  </a:lnTo>
                  <a:lnTo>
                    <a:pt x="294" y="41"/>
                  </a:lnTo>
                  <a:lnTo>
                    <a:pt x="298" y="43"/>
                  </a:lnTo>
                  <a:lnTo>
                    <a:pt x="301" y="45"/>
                  </a:lnTo>
                  <a:lnTo>
                    <a:pt x="311" y="51"/>
                  </a:lnTo>
                  <a:lnTo>
                    <a:pt x="315" y="53"/>
                  </a:lnTo>
                  <a:lnTo>
                    <a:pt x="317" y="55"/>
                  </a:lnTo>
                  <a:lnTo>
                    <a:pt x="320" y="57"/>
                  </a:lnTo>
                  <a:lnTo>
                    <a:pt x="322" y="59"/>
                  </a:lnTo>
                  <a:lnTo>
                    <a:pt x="324" y="61"/>
                  </a:lnTo>
                  <a:lnTo>
                    <a:pt x="329" y="68"/>
                  </a:lnTo>
                  <a:lnTo>
                    <a:pt x="331" y="69"/>
                  </a:lnTo>
                  <a:lnTo>
                    <a:pt x="331" y="70"/>
                  </a:lnTo>
                  <a:lnTo>
                    <a:pt x="334" y="71"/>
                  </a:lnTo>
                  <a:lnTo>
                    <a:pt x="339" y="75"/>
                  </a:lnTo>
                  <a:lnTo>
                    <a:pt x="341" y="76"/>
                  </a:lnTo>
                  <a:lnTo>
                    <a:pt x="344" y="78"/>
                  </a:lnTo>
                  <a:lnTo>
                    <a:pt x="348" y="83"/>
                  </a:lnTo>
                  <a:lnTo>
                    <a:pt x="351" y="84"/>
                  </a:lnTo>
                  <a:lnTo>
                    <a:pt x="354" y="86"/>
                  </a:lnTo>
                  <a:lnTo>
                    <a:pt x="358" y="88"/>
                  </a:lnTo>
                  <a:lnTo>
                    <a:pt x="360" y="90"/>
                  </a:lnTo>
                  <a:lnTo>
                    <a:pt x="361" y="90"/>
                  </a:lnTo>
                  <a:lnTo>
                    <a:pt x="362" y="92"/>
                  </a:lnTo>
                  <a:lnTo>
                    <a:pt x="369" y="100"/>
                  </a:lnTo>
                  <a:lnTo>
                    <a:pt x="374" y="108"/>
                  </a:lnTo>
                  <a:lnTo>
                    <a:pt x="378" y="112"/>
                  </a:lnTo>
                  <a:lnTo>
                    <a:pt x="379" y="113"/>
                  </a:lnTo>
                  <a:lnTo>
                    <a:pt x="381" y="115"/>
                  </a:lnTo>
                  <a:lnTo>
                    <a:pt x="382" y="115"/>
                  </a:lnTo>
                  <a:lnTo>
                    <a:pt x="384" y="117"/>
                  </a:lnTo>
                  <a:lnTo>
                    <a:pt x="397" y="123"/>
                  </a:lnTo>
                  <a:lnTo>
                    <a:pt x="401" y="125"/>
                  </a:lnTo>
                  <a:lnTo>
                    <a:pt x="407" y="129"/>
                  </a:lnTo>
                  <a:lnTo>
                    <a:pt x="416" y="135"/>
                  </a:lnTo>
                  <a:lnTo>
                    <a:pt x="421" y="138"/>
                  </a:lnTo>
                  <a:lnTo>
                    <a:pt x="426" y="141"/>
                  </a:lnTo>
                  <a:lnTo>
                    <a:pt x="435" y="146"/>
                  </a:lnTo>
                  <a:lnTo>
                    <a:pt x="437" y="147"/>
                  </a:lnTo>
                  <a:lnTo>
                    <a:pt x="439" y="148"/>
                  </a:lnTo>
                  <a:lnTo>
                    <a:pt x="440" y="150"/>
                  </a:lnTo>
                  <a:lnTo>
                    <a:pt x="440" y="150"/>
                  </a:lnTo>
                  <a:lnTo>
                    <a:pt x="441" y="151"/>
                  </a:lnTo>
                  <a:lnTo>
                    <a:pt x="441" y="153"/>
                  </a:lnTo>
                  <a:lnTo>
                    <a:pt x="441" y="154"/>
                  </a:lnTo>
                  <a:lnTo>
                    <a:pt x="441" y="160"/>
                  </a:lnTo>
                  <a:lnTo>
                    <a:pt x="441" y="162"/>
                  </a:lnTo>
                  <a:lnTo>
                    <a:pt x="441" y="165"/>
                  </a:lnTo>
                  <a:lnTo>
                    <a:pt x="441" y="167"/>
                  </a:lnTo>
                  <a:lnTo>
                    <a:pt x="441" y="168"/>
                  </a:lnTo>
                  <a:lnTo>
                    <a:pt x="441" y="169"/>
                  </a:lnTo>
                  <a:lnTo>
                    <a:pt x="442" y="170"/>
                  </a:lnTo>
                  <a:lnTo>
                    <a:pt x="442" y="170"/>
                  </a:lnTo>
                  <a:lnTo>
                    <a:pt x="444" y="171"/>
                  </a:lnTo>
                  <a:lnTo>
                    <a:pt x="445" y="172"/>
                  </a:lnTo>
                  <a:lnTo>
                    <a:pt x="452" y="174"/>
                  </a:lnTo>
                  <a:lnTo>
                    <a:pt x="454" y="175"/>
                  </a:lnTo>
                  <a:lnTo>
                    <a:pt x="456" y="176"/>
                  </a:lnTo>
                  <a:lnTo>
                    <a:pt x="459" y="178"/>
                  </a:lnTo>
                  <a:lnTo>
                    <a:pt x="464" y="182"/>
                  </a:lnTo>
                  <a:lnTo>
                    <a:pt x="469" y="185"/>
                  </a:lnTo>
                  <a:lnTo>
                    <a:pt x="474" y="187"/>
                  </a:lnTo>
                  <a:lnTo>
                    <a:pt x="480" y="190"/>
                  </a:lnTo>
                  <a:lnTo>
                    <a:pt x="483" y="193"/>
                  </a:lnTo>
                  <a:lnTo>
                    <a:pt x="486" y="194"/>
                  </a:lnTo>
                  <a:lnTo>
                    <a:pt x="487" y="195"/>
                  </a:lnTo>
                  <a:lnTo>
                    <a:pt x="494" y="204"/>
                  </a:lnTo>
                  <a:lnTo>
                    <a:pt x="501" y="210"/>
                  </a:lnTo>
                  <a:lnTo>
                    <a:pt x="508" y="217"/>
                  </a:lnTo>
                  <a:lnTo>
                    <a:pt x="511" y="219"/>
                  </a:lnTo>
                  <a:lnTo>
                    <a:pt x="514" y="221"/>
                  </a:lnTo>
                  <a:lnTo>
                    <a:pt x="516" y="222"/>
                  </a:lnTo>
                  <a:lnTo>
                    <a:pt x="517" y="223"/>
                  </a:lnTo>
                  <a:lnTo>
                    <a:pt x="518" y="225"/>
                  </a:lnTo>
                  <a:lnTo>
                    <a:pt x="518" y="227"/>
                  </a:lnTo>
                  <a:lnTo>
                    <a:pt x="518" y="228"/>
                  </a:lnTo>
                  <a:lnTo>
                    <a:pt x="518" y="229"/>
                  </a:lnTo>
                  <a:lnTo>
                    <a:pt x="518" y="230"/>
                  </a:lnTo>
                  <a:lnTo>
                    <a:pt x="518" y="233"/>
                  </a:lnTo>
                  <a:lnTo>
                    <a:pt x="518" y="235"/>
                  </a:lnTo>
                  <a:lnTo>
                    <a:pt x="518" y="240"/>
                  </a:lnTo>
                  <a:lnTo>
                    <a:pt x="518" y="242"/>
                  </a:lnTo>
                  <a:lnTo>
                    <a:pt x="520" y="249"/>
                  </a:lnTo>
                  <a:lnTo>
                    <a:pt x="521" y="257"/>
                  </a:lnTo>
                  <a:lnTo>
                    <a:pt x="521" y="259"/>
                  </a:lnTo>
                  <a:lnTo>
                    <a:pt x="522" y="261"/>
                  </a:lnTo>
                  <a:lnTo>
                    <a:pt x="523" y="264"/>
                  </a:lnTo>
                  <a:lnTo>
                    <a:pt x="530" y="275"/>
                  </a:lnTo>
                  <a:lnTo>
                    <a:pt x="533" y="282"/>
                  </a:lnTo>
                  <a:lnTo>
                    <a:pt x="534" y="284"/>
                  </a:lnTo>
                  <a:lnTo>
                    <a:pt x="536" y="285"/>
                  </a:lnTo>
                  <a:lnTo>
                    <a:pt x="537" y="286"/>
                  </a:lnTo>
                  <a:lnTo>
                    <a:pt x="538" y="287"/>
                  </a:lnTo>
                  <a:lnTo>
                    <a:pt x="540" y="287"/>
                  </a:lnTo>
                  <a:lnTo>
                    <a:pt x="542" y="287"/>
                  </a:lnTo>
                  <a:lnTo>
                    <a:pt x="544" y="288"/>
                  </a:lnTo>
                  <a:lnTo>
                    <a:pt x="546" y="288"/>
                  </a:lnTo>
                  <a:lnTo>
                    <a:pt x="548" y="288"/>
                  </a:lnTo>
                  <a:lnTo>
                    <a:pt x="551" y="287"/>
                  </a:lnTo>
                  <a:lnTo>
                    <a:pt x="555" y="287"/>
                  </a:lnTo>
                  <a:lnTo>
                    <a:pt x="565" y="284"/>
                  </a:lnTo>
                  <a:lnTo>
                    <a:pt x="579" y="280"/>
                  </a:lnTo>
                  <a:lnTo>
                    <a:pt x="586" y="278"/>
                  </a:lnTo>
                  <a:lnTo>
                    <a:pt x="594" y="276"/>
                  </a:lnTo>
                  <a:lnTo>
                    <a:pt x="604" y="272"/>
                  </a:lnTo>
                  <a:lnTo>
                    <a:pt x="606" y="271"/>
                  </a:lnTo>
                  <a:lnTo>
                    <a:pt x="608" y="270"/>
                  </a:lnTo>
                  <a:lnTo>
                    <a:pt x="610" y="270"/>
                  </a:lnTo>
                  <a:lnTo>
                    <a:pt x="612" y="270"/>
                  </a:lnTo>
                  <a:lnTo>
                    <a:pt x="613" y="270"/>
                  </a:lnTo>
                  <a:lnTo>
                    <a:pt x="615" y="271"/>
                  </a:lnTo>
                  <a:lnTo>
                    <a:pt x="616" y="272"/>
                  </a:lnTo>
                  <a:lnTo>
                    <a:pt x="616" y="274"/>
                  </a:lnTo>
                  <a:lnTo>
                    <a:pt x="616" y="276"/>
                  </a:lnTo>
                  <a:lnTo>
                    <a:pt x="616" y="280"/>
                  </a:lnTo>
                  <a:lnTo>
                    <a:pt x="617" y="285"/>
                  </a:lnTo>
                  <a:lnTo>
                    <a:pt x="618" y="287"/>
                  </a:lnTo>
                  <a:lnTo>
                    <a:pt x="620" y="296"/>
                  </a:lnTo>
                  <a:lnTo>
                    <a:pt x="621" y="298"/>
                  </a:lnTo>
                  <a:lnTo>
                    <a:pt x="622" y="300"/>
                  </a:lnTo>
                  <a:lnTo>
                    <a:pt x="623" y="302"/>
                  </a:lnTo>
                  <a:lnTo>
                    <a:pt x="625" y="304"/>
                  </a:lnTo>
                  <a:lnTo>
                    <a:pt x="627" y="305"/>
                  </a:lnTo>
                  <a:lnTo>
                    <a:pt x="628" y="307"/>
                  </a:lnTo>
                  <a:lnTo>
                    <a:pt x="639" y="312"/>
                  </a:lnTo>
                  <a:lnTo>
                    <a:pt x="643" y="313"/>
                  </a:lnTo>
                  <a:lnTo>
                    <a:pt x="645" y="315"/>
                  </a:lnTo>
                  <a:lnTo>
                    <a:pt x="646" y="315"/>
                  </a:lnTo>
                  <a:lnTo>
                    <a:pt x="651" y="320"/>
                  </a:lnTo>
                  <a:lnTo>
                    <a:pt x="653" y="322"/>
                  </a:lnTo>
                  <a:lnTo>
                    <a:pt x="658" y="328"/>
                  </a:lnTo>
                  <a:lnTo>
                    <a:pt x="666" y="337"/>
                  </a:lnTo>
                  <a:lnTo>
                    <a:pt x="679" y="354"/>
                  </a:lnTo>
                  <a:lnTo>
                    <a:pt x="682" y="357"/>
                  </a:lnTo>
                  <a:lnTo>
                    <a:pt x="688" y="362"/>
                  </a:lnTo>
                  <a:lnTo>
                    <a:pt x="691" y="365"/>
                  </a:lnTo>
                  <a:lnTo>
                    <a:pt x="694" y="370"/>
                  </a:lnTo>
                  <a:lnTo>
                    <a:pt x="700" y="379"/>
                  </a:lnTo>
                  <a:lnTo>
                    <a:pt x="701" y="380"/>
                  </a:lnTo>
                  <a:lnTo>
                    <a:pt x="703" y="382"/>
                  </a:lnTo>
                  <a:lnTo>
                    <a:pt x="704" y="382"/>
                  </a:lnTo>
                  <a:lnTo>
                    <a:pt x="705" y="383"/>
                  </a:lnTo>
                  <a:lnTo>
                    <a:pt x="707" y="383"/>
                  </a:lnTo>
                  <a:lnTo>
                    <a:pt x="708" y="383"/>
                  </a:lnTo>
                  <a:lnTo>
                    <a:pt x="709" y="383"/>
                  </a:lnTo>
                  <a:lnTo>
                    <a:pt x="710" y="382"/>
                  </a:lnTo>
                  <a:lnTo>
                    <a:pt x="715" y="379"/>
                  </a:lnTo>
                  <a:lnTo>
                    <a:pt x="715" y="378"/>
                  </a:lnTo>
                  <a:lnTo>
                    <a:pt x="716" y="378"/>
                  </a:lnTo>
                  <a:lnTo>
                    <a:pt x="717" y="377"/>
                  </a:lnTo>
                  <a:lnTo>
                    <a:pt x="718" y="378"/>
                  </a:lnTo>
                  <a:lnTo>
                    <a:pt x="718" y="379"/>
                  </a:lnTo>
                  <a:lnTo>
                    <a:pt x="718" y="380"/>
                  </a:lnTo>
                  <a:lnTo>
                    <a:pt x="717" y="385"/>
                  </a:lnTo>
                  <a:lnTo>
                    <a:pt x="716" y="391"/>
                  </a:lnTo>
                  <a:lnTo>
                    <a:pt x="716" y="401"/>
                  </a:lnTo>
                  <a:lnTo>
                    <a:pt x="716" y="407"/>
                  </a:lnTo>
                  <a:lnTo>
                    <a:pt x="716" y="411"/>
                  </a:lnTo>
                  <a:lnTo>
                    <a:pt x="717" y="415"/>
                  </a:lnTo>
                  <a:lnTo>
                    <a:pt x="718" y="420"/>
                  </a:lnTo>
                  <a:lnTo>
                    <a:pt x="720" y="425"/>
                  </a:lnTo>
                  <a:lnTo>
                    <a:pt x="722" y="430"/>
                  </a:lnTo>
                  <a:lnTo>
                    <a:pt x="724" y="435"/>
                  </a:lnTo>
                  <a:lnTo>
                    <a:pt x="727" y="440"/>
                  </a:lnTo>
                  <a:lnTo>
                    <a:pt x="728" y="442"/>
                  </a:lnTo>
                  <a:lnTo>
                    <a:pt x="730" y="445"/>
                  </a:lnTo>
                  <a:lnTo>
                    <a:pt x="732" y="447"/>
                  </a:lnTo>
                  <a:lnTo>
                    <a:pt x="733" y="449"/>
                  </a:lnTo>
                  <a:lnTo>
                    <a:pt x="735" y="450"/>
                  </a:lnTo>
                  <a:lnTo>
                    <a:pt x="736" y="452"/>
                  </a:lnTo>
                  <a:lnTo>
                    <a:pt x="738" y="452"/>
                  </a:lnTo>
                  <a:lnTo>
                    <a:pt x="740" y="454"/>
                  </a:lnTo>
                  <a:lnTo>
                    <a:pt x="741" y="454"/>
                  </a:lnTo>
                  <a:lnTo>
                    <a:pt x="742" y="454"/>
                  </a:lnTo>
                  <a:lnTo>
                    <a:pt x="741" y="455"/>
                  </a:lnTo>
                  <a:lnTo>
                    <a:pt x="740" y="457"/>
                  </a:lnTo>
                  <a:lnTo>
                    <a:pt x="739" y="463"/>
                  </a:lnTo>
                  <a:lnTo>
                    <a:pt x="738" y="469"/>
                  </a:lnTo>
                  <a:lnTo>
                    <a:pt x="738" y="476"/>
                  </a:lnTo>
                  <a:lnTo>
                    <a:pt x="737" y="480"/>
                  </a:lnTo>
                  <a:lnTo>
                    <a:pt x="737" y="484"/>
                  </a:lnTo>
                  <a:lnTo>
                    <a:pt x="738" y="507"/>
                  </a:lnTo>
                  <a:lnTo>
                    <a:pt x="738" y="513"/>
                  </a:lnTo>
                  <a:lnTo>
                    <a:pt x="738" y="519"/>
                  </a:lnTo>
                  <a:lnTo>
                    <a:pt x="736" y="534"/>
                  </a:lnTo>
                  <a:lnTo>
                    <a:pt x="735" y="545"/>
                  </a:lnTo>
                  <a:lnTo>
                    <a:pt x="735" y="548"/>
                  </a:lnTo>
                  <a:lnTo>
                    <a:pt x="735" y="552"/>
                  </a:lnTo>
                  <a:lnTo>
                    <a:pt x="734" y="556"/>
                  </a:lnTo>
                  <a:lnTo>
                    <a:pt x="733" y="559"/>
                  </a:lnTo>
                  <a:lnTo>
                    <a:pt x="730" y="564"/>
                  </a:lnTo>
                  <a:lnTo>
                    <a:pt x="728" y="568"/>
                  </a:lnTo>
                  <a:lnTo>
                    <a:pt x="725" y="572"/>
                  </a:lnTo>
                  <a:lnTo>
                    <a:pt x="723" y="574"/>
                  </a:lnTo>
                  <a:lnTo>
                    <a:pt x="722" y="576"/>
                  </a:lnTo>
                  <a:lnTo>
                    <a:pt x="720" y="577"/>
                  </a:lnTo>
                  <a:lnTo>
                    <a:pt x="718" y="578"/>
                  </a:lnTo>
                  <a:lnTo>
                    <a:pt x="715" y="579"/>
                  </a:lnTo>
                  <a:lnTo>
                    <a:pt x="711" y="579"/>
                  </a:lnTo>
                  <a:lnTo>
                    <a:pt x="707" y="580"/>
                  </a:lnTo>
                  <a:lnTo>
                    <a:pt x="703" y="580"/>
                  </a:lnTo>
                  <a:lnTo>
                    <a:pt x="700" y="580"/>
                  </a:lnTo>
                  <a:lnTo>
                    <a:pt x="697" y="579"/>
                  </a:lnTo>
                  <a:lnTo>
                    <a:pt x="694" y="578"/>
                  </a:lnTo>
                  <a:lnTo>
                    <a:pt x="691" y="577"/>
                  </a:lnTo>
                  <a:lnTo>
                    <a:pt x="689" y="575"/>
                  </a:lnTo>
                  <a:lnTo>
                    <a:pt x="686" y="572"/>
                  </a:lnTo>
                  <a:lnTo>
                    <a:pt x="684" y="569"/>
                  </a:lnTo>
                  <a:lnTo>
                    <a:pt x="677" y="561"/>
                  </a:lnTo>
                  <a:lnTo>
                    <a:pt x="675" y="558"/>
                  </a:lnTo>
                  <a:lnTo>
                    <a:pt x="673" y="556"/>
                  </a:lnTo>
                  <a:lnTo>
                    <a:pt x="671" y="554"/>
                  </a:lnTo>
                  <a:lnTo>
                    <a:pt x="668" y="552"/>
                  </a:lnTo>
                  <a:lnTo>
                    <a:pt x="666" y="551"/>
                  </a:lnTo>
                  <a:lnTo>
                    <a:pt x="661" y="549"/>
                  </a:lnTo>
                  <a:lnTo>
                    <a:pt x="658" y="548"/>
                  </a:lnTo>
                  <a:lnTo>
                    <a:pt x="656" y="547"/>
                  </a:lnTo>
                  <a:lnTo>
                    <a:pt x="655" y="546"/>
                  </a:lnTo>
                  <a:lnTo>
                    <a:pt x="653" y="544"/>
                  </a:lnTo>
                  <a:lnTo>
                    <a:pt x="651" y="542"/>
                  </a:lnTo>
                  <a:lnTo>
                    <a:pt x="649" y="539"/>
                  </a:lnTo>
                  <a:lnTo>
                    <a:pt x="645" y="533"/>
                  </a:lnTo>
                  <a:lnTo>
                    <a:pt x="642" y="530"/>
                  </a:lnTo>
                  <a:lnTo>
                    <a:pt x="641" y="529"/>
                  </a:lnTo>
                  <a:lnTo>
                    <a:pt x="639" y="527"/>
                  </a:lnTo>
                  <a:lnTo>
                    <a:pt x="638" y="527"/>
                  </a:lnTo>
                  <a:lnTo>
                    <a:pt x="637" y="526"/>
                  </a:lnTo>
                  <a:lnTo>
                    <a:pt x="635" y="525"/>
                  </a:lnTo>
                  <a:lnTo>
                    <a:pt x="633" y="525"/>
                  </a:lnTo>
                  <a:lnTo>
                    <a:pt x="630" y="526"/>
                  </a:lnTo>
                  <a:lnTo>
                    <a:pt x="628" y="527"/>
                  </a:lnTo>
                  <a:lnTo>
                    <a:pt x="624" y="529"/>
                  </a:lnTo>
                  <a:lnTo>
                    <a:pt x="605" y="540"/>
                  </a:lnTo>
                  <a:lnTo>
                    <a:pt x="601" y="542"/>
                  </a:lnTo>
                  <a:lnTo>
                    <a:pt x="597" y="544"/>
                  </a:lnTo>
                  <a:lnTo>
                    <a:pt x="594" y="544"/>
                  </a:lnTo>
                  <a:lnTo>
                    <a:pt x="591" y="545"/>
                  </a:lnTo>
                  <a:lnTo>
                    <a:pt x="589" y="545"/>
                  </a:lnTo>
                  <a:lnTo>
                    <a:pt x="586" y="545"/>
                  </a:lnTo>
                  <a:lnTo>
                    <a:pt x="583" y="544"/>
                  </a:lnTo>
                  <a:lnTo>
                    <a:pt x="575" y="541"/>
                  </a:lnTo>
                  <a:lnTo>
                    <a:pt x="564" y="537"/>
                  </a:lnTo>
                  <a:lnTo>
                    <a:pt x="560" y="536"/>
                  </a:lnTo>
                  <a:lnTo>
                    <a:pt x="546" y="530"/>
                  </a:lnTo>
                  <a:lnTo>
                    <a:pt x="544" y="529"/>
                  </a:lnTo>
                  <a:lnTo>
                    <a:pt x="542" y="528"/>
                  </a:lnTo>
                  <a:lnTo>
                    <a:pt x="538" y="526"/>
                  </a:lnTo>
                  <a:lnTo>
                    <a:pt x="536" y="524"/>
                  </a:lnTo>
                  <a:lnTo>
                    <a:pt x="533" y="522"/>
                  </a:lnTo>
                  <a:lnTo>
                    <a:pt x="528" y="515"/>
                  </a:lnTo>
                  <a:lnTo>
                    <a:pt x="526" y="513"/>
                  </a:lnTo>
                  <a:lnTo>
                    <a:pt x="518" y="504"/>
                  </a:lnTo>
                  <a:lnTo>
                    <a:pt x="513" y="500"/>
                  </a:lnTo>
                  <a:lnTo>
                    <a:pt x="511" y="499"/>
                  </a:lnTo>
                  <a:lnTo>
                    <a:pt x="508" y="497"/>
                  </a:lnTo>
                  <a:lnTo>
                    <a:pt x="506" y="497"/>
                  </a:lnTo>
                  <a:lnTo>
                    <a:pt x="503" y="497"/>
                  </a:lnTo>
                  <a:lnTo>
                    <a:pt x="501" y="497"/>
                  </a:lnTo>
                  <a:lnTo>
                    <a:pt x="500" y="497"/>
                  </a:lnTo>
                  <a:lnTo>
                    <a:pt x="498" y="498"/>
                  </a:lnTo>
                  <a:lnTo>
                    <a:pt x="496" y="499"/>
                  </a:lnTo>
                  <a:lnTo>
                    <a:pt x="495" y="500"/>
                  </a:lnTo>
                  <a:lnTo>
                    <a:pt x="494" y="501"/>
                  </a:lnTo>
                  <a:lnTo>
                    <a:pt x="493" y="502"/>
                  </a:lnTo>
                  <a:lnTo>
                    <a:pt x="492" y="504"/>
                  </a:lnTo>
                  <a:lnTo>
                    <a:pt x="491" y="505"/>
                  </a:lnTo>
                  <a:lnTo>
                    <a:pt x="491" y="508"/>
                  </a:lnTo>
                  <a:lnTo>
                    <a:pt x="491" y="518"/>
                  </a:lnTo>
                  <a:lnTo>
                    <a:pt x="490" y="522"/>
                  </a:lnTo>
                  <a:lnTo>
                    <a:pt x="489" y="527"/>
                  </a:lnTo>
                  <a:lnTo>
                    <a:pt x="487" y="534"/>
                  </a:lnTo>
                  <a:lnTo>
                    <a:pt x="486" y="541"/>
                  </a:lnTo>
                  <a:lnTo>
                    <a:pt x="484" y="544"/>
                  </a:lnTo>
                  <a:lnTo>
                    <a:pt x="483" y="547"/>
                  </a:lnTo>
                  <a:lnTo>
                    <a:pt x="481" y="550"/>
                  </a:lnTo>
                  <a:lnTo>
                    <a:pt x="480" y="553"/>
                  </a:lnTo>
                  <a:lnTo>
                    <a:pt x="479" y="556"/>
                  </a:lnTo>
                  <a:lnTo>
                    <a:pt x="476" y="558"/>
                  </a:lnTo>
                  <a:lnTo>
                    <a:pt x="475" y="561"/>
                  </a:lnTo>
                  <a:lnTo>
                    <a:pt x="473" y="562"/>
                  </a:lnTo>
                  <a:lnTo>
                    <a:pt x="471" y="564"/>
                  </a:lnTo>
                  <a:lnTo>
                    <a:pt x="469" y="566"/>
                  </a:lnTo>
                  <a:lnTo>
                    <a:pt x="467" y="567"/>
                  </a:lnTo>
                  <a:lnTo>
                    <a:pt x="465" y="567"/>
                  </a:lnTo>
                  <a:lnTo>
                    <a:pt x="463" y="567"/>
                  </a:lnTo>
                  <a:lnTo>
                    <a:pt x="461" y="568"/>
                  </a:lnTo>
                  <a:lnTo>
                    <a:pt x="451" y="569"/>
                  </a:lnTo>
                  <a:lnTo>
                    <a:pt x="446" y="569"/>
                  </a:lnTo>
                  <a:lnTo>
                    <a:pt x="442" y="571"/>
                  </a:lnTo>
                  <a:lnTo>
                    <a:pt x="441" y="571"/>
                  </a:lnTo>
                  <a:lnTo>
                    <a:pt x="439" y="572"/>
                  </a:lnTo>
                  <a:lnTo>
                    <a:pt x="437" y="573"/>
                  </a:lnTo>
                  <a:lnTo>
                    <a:pt x="436" y="574"/>
                  </a:lnTo>
                  <a:lnTo>
                    <a:pt x="436" y="575"/>
                  </a:lnTo>
                  <a:lnTo>
                    <a:pt x="434" y="578"/>
                  </a:lnTo>
                  <a:lnTo>
                    <a:pt x="432" y="584"/>
                  </a:lnTo>
                  <a:lnTo>
                    <a:pt x="431" y="587"/>
                  </a:lnTo>
                  <a:lnTo>
                    <a:pt x="429" y="589"/>
                  </a:lnTo>
                  <a:lnTo>
                    <a:pt x="429" y="589"/>
                  </a:lnTo>
                  <a:lnTo>
                    <a:pt x="427" y="591"/>
                  </a:lnTo>
                  <a:lnTo>
                    <a:pt x="426" y="592"/>
                  </a:lnTo>
                  <a:lnTo>
                    <a:pt x="424" y="594"/>
                  </a:lnTo>
                  <a:lnTo>
                    <a:pt x="421" y="594"/>
                  </a:lnTo>
                  <a:lnTo>
                    <a:pt x="418" y="596"/>
                  </a:lnTo>
                  <a:lnTo>
                    <a:pt x="412" y="597"/>
                  </a:lnTo>
                  <a:lnTo>
                    <a:pt x="410" y="597"/>
                  </a:lnTo>
                  <a:lnTo>
                    <a:pt x="408" y="599"/>
                  </a:lnTo>
                  <a:lnTo>
                    <a:pt x="406" y="599"/>
                  </a:lnTo>
                  <a:lnTo>
                    <a:pt x="404" y="602"/>
                  </a:lnTo>
                  <a:lnTo>
                    <a:pt x="402" y="603"/>
                  </a:lnTo>
                  <a:lnTo>
                    <a:pt x="396" y="609"/>
                  </a:lnTo>
                  <a:lnTo>
                    <a:pt x="394" y="611"/>
                  </a:lnTo>
                  <a:lnTo>
                    <a:pt x="391" y="613"/>
                  </a:lnTo>
                  <a:lnTo>
                    <a:pt x="389" y="614"/>
                  </a:lnTo>
                  <a:lnTo>
                    <a:pt x="386" y="615"/>
                  </a:lnTo>
                  <a:lnTo>
                    <a:pt x="384" y="615"/>
                  </a:lnTo>
                  <a:lnTo>
                    <a:pt x="381" y="615"/>
                  </a:lnTo>
                  <a:lnTo>
                    <a:pt x="379" y="614"/>
                  </a:lnTo>
                  <a:lnTo>
                    <a:pt x="376" y="614"/>
                  </a:lnTo>
                  <a:lnTo>
                    <a:pt x="369" y="610"/>
                  </a:lnTo>
                  <a:lnTo>
                    <a:pt x="359" y="605"/>
                  </a:lnTo>
                  <a:lnTo>
                    <a:pt x="349" y="601"/>
                  </a:lnTo>
                  <a:lnTo>
                    <a:pt x="329" y="589"/>
                  </a:lnTo>
                  <a:lnTo>
                    <a:pt x="325" y="588"/>
                  </a:lnTo>
                  <a:lnTo>
                    <a:pt x="322" y="587"/>
                  </a:lnTo>
                  <a:lnTo>
                    <a:pt x="319" y="585"/>
                  </a:lnTo>
                  <a:lnTo>
                    <a:pt x="314" y="584"/>
                  </a:lnTo>
                  <a:lnTo>
                    <a:pt x="311" y="584"/>
                  </a:lnTo>
                  <a:lnTo>
                    <a:pt x="301" y="582"/>
                  </a:lnTo>
                  <a:lnTo>
                    <a:pt x="296" y="582"/>
                  </a:lnTo>
                  <a:lnTo>
                    <a:pt x="293" y="580"/>
                  </a:lnTo>
                  <a:lnTo>
                    <a:pt x="283" y="577"/>
                  </a:lnTo>
                  <a:lnTo>
                    <a:pt x="276" y="574"/>
                  </a:lnTo>
                  <a:lnTo>
                    <a:pt x="266" y="572"/>
                  </a:lnTo>
                  <a:lnTo>
                    <a:pt x="259" y="569"/>
                  </a:lnTo>
                  <a:lnTo>
                    <a:pt x="253" y="568"/>
                  </a:lnTo>
                  <a:lnTo>
                    <a:pt x="247" y="567"/>
                  </a:lnTo>
                  <a:lnTo>
                    <a:pt x="242" y="567"/>
                  </a:lnTo>
                  <a:lnTo>
                    <a:pt x="234" y="566"/>
                  </a:lnTo>
                  <a:lnTo>
                    <a:pt x="229" y="566"/>
                  </a:lnTo>
                  <a:lnTo>
                    <a:pt x="227" y="565"/>
                  </a:lnTo>
                  <a:lnTo>
                    <a:pt x="215" y="564"/>
                  </a:lnTo>
                  <a:lnTo>
                    <a:pt x="210" y="563"/>
                  </a:lnTo>
                  <a:lnTo>
                    <a:pt x="204" y="562"/>
                  </a:lnTo>
                  <a:lnTo>
                    <a:pt x="199" y="562"/>
                  </a:lnTo>
                  <a:lnTo>
                    <a:pt x="195" y="562"/>
                  </a:lnTo>
                  <a:lnTo>
                    <a:pt x="192" y="563"/>
                  </a:lnTo>
                  <a:lnTo>
                    <a:pt x="184" y="564"/>
                  </a:lnTo>
                  <a:lnTo>
                    <a:pt x="181" y="564"/>
                  </a:lnTo>
                  <a:lnTo>
                    <a:pt x="178" y="564"/>
                  </a:lnTo>
                  <a:lnTo>
                    <a:pt x="174" y="564"/>
                  </a:lnTo>
                  <a:lnTo>
                    <a:pt x="172" y="564"/>
                  </a:lnTo>
                  <a:lnTo>
                    <a:pt x="169" y="563"/>
                  </a:lnTo>
                  <a:lnTo>
                    <a:pt x="167" y="562"/>
                  </a:lnTo>
                  <a:lnTo>
                    <a:pt x="161" y="560"/>
                  </a:lnTo>
                  <a:lnTo>
                    <a:pt x="158" y="559"/>
                  </a:lnTo>
                  <a:lnTo>
                    <a:pt x="153" y="557"/>
                  </a:lnTo>
                  <a:lnTo>
                    <a:pt x="143" y="555"/>
                  </a:lnTo>
                  <a:lnTo>
                    <a:pt x="141" y="554"/>
                  </a:lnTo>
                  <a:lnTo>
                    <a:pt x="139" y="554"/>
                  </a:lnTo>
                  <a:lnTo>
                    <a:pt x="137" y="552"/>
                  </a:lnTo>
                  <a:lnTo>
                    <a:pt x="133" y="548"/>
                  </a:lnTo>
                  <a:lnTo>
                    <a:pt x="128" y="544"/>
                  </a:lnTo>
                  <a:lnTo>
                    <a:pt x="127" y="543"/>
                  </a:lnTo>
                  <a:lnTo>
                    <a:pt x="124" y="541"/>
                  </a:lnTo>
                  <a:lnTo>
                    <a:pt x="122" y="539"/>
                  </a:lnTo>
                  <a:lnTo>
                    <a:pt x="119" y="536"/>
                  </a:lnTo>
                  <a:lnTo>
                    <a:pt x="118" y="533"/>
                  </a:lnTo>
                  <a:lnTo>
                    <a:pt x="117" y="530"/>
                  </a:lnTo>
                  <a:lnTo>
                    <a:pt x="114" y="524"/>
                  </a:lnTo>
                  <a:lnTo>
                    <a:pt x="113" y="522"/>
                  </a:lnTo>
                  <a:lnTo>
                    <a:pt x="112" y="521"/>
                  </a:lnTo>
                  <a:lnTo>
                    <a:pt x="112" y="519"/>
                  </a:lnTo>
                  <a:lnTo>
                    <a:pt x="110" y="518"/>
                  </a:lnTo>
                  <a:lnTo>
                    <a:pt x="104" y="513"/>
                  </a:lnTo>
                  <a:lnTo>
                    <a:pt x="102" y="511"/>
                  </a:lnTo>
                  <a:lnTo>
                    <a:pt x="100" y="509"/>
                  </a:lnTo>
                  <a:lnTo>
                    <a:pt x="99" y="507"/>
                  </a:lnTo>
                  <a:lnTo>
                    <a:pt x="97" y="504"/>
                  </a:lnTo>
                  <a:lnTo>
                    <a:pt x="96" y="502"/>
                  </a:lnTo>
                  <a:lnTo>
                    <a:pt x="96" y="500"/>
                  </a:lnTo>
                  <a:lnTo>
                    <a:pt x="96" y="499"/>
                  </a:lnTo>
                  <a:lnTo>
                    <a:pt x="96" y="497"/>
                  </a:lnTo>
                  <a:lnTo>
                    <a:pt x="96" y="495"/>
                  </a:lnTo>
                  <a:lnTo>
                    <a:pt x="97" y="494"/>
                  </a:lnTo>
                  <a:lnTo>
                    <a:pt x="98" y="492"/>
                  </a:lnTo>
                  <a:lnTo>
                    <a:pt x="99" y="489"/>
                  </a:lnTo>
                  <a:lnTo>
                    <a:pt x="101" y="488"/>
                  </a:lnTo>
                  <a:lnTo>
                    <a:pt x="102" y="486"/>
                  </a:lnTo>
                  <a:lnTo>
                    <a:pt x="104" y="484"/>
                  </a:lnTo>
                  <a:lnTo>
                    <a:pt x="108" y="482"/>
                  </a:lnTo>
                  <a:lnTo>
                    <a:pt x="111" y="480"/>
                  </a:lnTo>
                  <a:lnTo>
                    <a:pt x="117" y="477"/>
                  </a:lnTo>
                  <a:lnTo>
                    <a:pt x="120" y="476"/>
                  </a:lnTo>
                  <a:lnTo>
                    <a:pt x="122" y="474"/>
                  </a:lnTo>
                  <a:lnTo>
                    <a:pt x="122" y="474"/>
                  </a:lnTo>
                  <a:lnTo>
                    <a:pt x="124" y="472"/>
                  </a:lnTo>
                  <a:lnTo>
                    <a:pt x="124" y="471"/>
                  </a:lnTo>
                  <a:lnTo>
                    <a:pt x="126" y="469"/>
                  </a:lnTo>
                  <a:lnTo>
                    <a:pt x="127" y="467"/>
                  </a:lnTo>
                  <a:lnTo>
                    <a:pt x="127" y="464"/>
                  </a:lnTo>
                  <a:lnTo>
                    <a:pt x="127" y="462"/>
                  </a:lnTo>
                  <a:lnTo>
                    <a:pt x="127" y="460"/>
                  </a:lnTo>
                  <a:lnTo>
                    <a:pt x="127" y="458"/>
                  </a:lnTo>
                  <a:lnTo>
                    <a:pt x="125" y="456"/>
                  </a:lnTo>
                  <a:lnTo>
                    <a:pt x="124" y="454"/>
                  </a:lnTo>
                  <a:lnTo>
                    <a:pt x="123" y="452"/>
                  </a:lnTo>
                  <a:lnTo>
                    <a:pt x="121" y="450"/>
                  </a:lnTo>
                  <a:lnTo>
                    <a:pt x="119" y="449"/>
                  </a:lnTo>
                  <a:lnTo>
                    <a:pt x="112" y="443"/>
                  </a:lnTo>
                  <a:lnTo>
                    <a:pt x="108" y="440"/>
                  </a:lnTo>
                  <a:lnTo>
                    <a:pt x="106" y="438"/>
                  </a:lnTo>
                  <a:lnTo>
                    <a:pt x="103" y="435"/>
                  </a:lnTo>
                  <a:lnTo>
                    <a:pt x="97" y="427"/>
                  </a:lnTo>
                  <a:lnTo>
                    <a:pt x="93" y="422"/>
                  </a:lnTo>
                  <a:lnTo>
                    <a:pt x="89" y="418"/>
                  </a:lnTo>
                  <a:lnTo>
                    <a:pt x="86" y="414"/>
                  </a:lnTo>
                  <a:lnTo>
                    <a:pt x="83" y="411"/>
                  </a:lnTo>
                  <a:lnTo>
                    <a:pt x="80" y="408"/>
                  </a:lnTo>
                  <a:lnTo>
                    <a:pt x="78" y="407"/>
                  </a:lnTo>
                  <a:lnTo>
                    <a:pt x="77" y="405"/>
                  </a:lnTo>
                  <a:lnTo>
                    <a:pt x="74" y="405"/>
                  </a:lnTo>
                  <a:lnTo>
                    <a:pt x="72" y="403"/>
                  </a:lnTo>
                  <a:lnTo>
                    <a:pt x="67" y="401"/>
                  </a:lnTo>
                  <a:lnTo>
                    <a:pt x="55" y="397"/>
                  </a:lnTo>
                  <a:lnTo>
                    <a:pt x="47" y="394"/>
                  </a:lnTo>
                  <a:lnTo>
                    <a:pt x="44" y="393"/>
                  </a:lnTo>
                  <a:lnTo>
                    <a:pt x="41" y="392"/>
                  </a:lnTo>
                  <a:lnTo>
                    <a:pt x="40" y="390"/>
                  </a:lnTo>
                  <a:lnTo>
                    <a:pt x="37" y="389"/>
                  </a:lnTo>
                  <a:lnTo>
                    <a:pt x="30" y="384"/>
                  </a:lnTo>
                  <a:lnTo>
                    <a:pt x="25" y="380"/>
                  </a:lnTo>
                  <a:lnTo>
                    <a:pt x="20" y="376"/>
                  </a:lnTo>
                  <a:lnTo>
                    <a:pt x="17" y="372"/>
                  </a:lnTo>
                  <a:lnTo>
                    <a:pt x="12" y="367"/>
                  </a:lnTo>
                  <a:lnTo>
                    <a:pt x="7" y="362"/>
                  </a:lnTo>
                  <a:lnTo>
                    <a:pt x="2" y="356"/>
                  </a:lnTo>
                  <a:lnTo>
                    <a:pt x="0" y="352"/>
                  </a:lnTo>
                  <a:lnTo>
                    <a:pt x="2" y="347"/>
                  </a:lnTo>
                  <a:lnTo>
                    <a:pt x="4" y="345"/>
                  </a:lnTo>
                  <a:lnTo>
                    <a:pt x="5" y="344"/>
                  </a:lnTo>
                  <a:lnTo>
                    <a:pt x="6" y="342"/>
                  </a:lnTo>
                  <a:lnTo>
                    <a:pt x="7" y="340"/>
                  </a:lnTo>
                  <a:lnTo>
                    <a:pt x="10" y="339"/>
                  </a:lnTo>
                  <a:lnTo>
                    <a:pt x="11" y="337"/>
                  </a:lnTo>
                  <a:lnTo>
                    <a:pt x="15" y="335"/>
                  </a:lnTo>
                  <a:lnTo>
                    <a:pt x="18" y="334"/>
                  </a:lnTo>
                  <a:lnTo>
                    <a:pt x="21" y="333"/>
                  </a:lnTo>
                  <a:lnTo>
                    <a:pt x="29" y="331"/>
                  </a:lnTo>
                  <a:lnTo>
                    <a:pt x="32" y="330"/>
                  </a:lnTo>
                  <a:lnTo>
                    <a:pt x="33" y="329"/>
                  </a:lnTo>
                  <a:lnTo>
                    <a:pt x="35" y="327"/>
                  </a:lnTo>
                  <a:lnTo>
                    <a:pt x="36" y="326"/>
                  </a:lnTo>
                  <a:lnTo>
                    <a:pt x="38" y="325"/>
                  </a:lnTo>
                  <a:lnTo>
                    <a:pt x="40" y="322"/>
                  </a:lnTo>
                  <a:lnTo>
                    <a:pt x="41" y="320"/>
                  </a:lnTo>
                  <a:lnTo>
                    <a:pt x="42" y="318"/>
                  </a:lnTo>
                  <a:lnTo>
                    <a:pt x="43" y="316"/>
                  </a:lnTo>
                  <a:lnTo>
                    <a:pt x="47" y="305"/>
                  </a:lnTo>
                  <a:lnTo>
                    <a:pt x="52" y="297"/>
                  </a:lnTo>
                  <a:lnTo>
                    <a:pt x="53" y="292"/>
                  </a:lnTo>
                  <a:lnTo>
                    <a:pt x="54" y="289"/>
                  </a:lnTo>
                  <a:lnTo>
                    <a:pt x="56" y="283"/>
                  </a:lnTo>
                  <a:lnTo>
                    <a:pt x="56" y="281"/>
                  </a:lnTo>
                  <a:lnTo>
                    <a:pt x="57" y="278"/>
                  </a:lnTo>
                  <a:lnTo>
                    <a:pt x="57" y="276"/>
                  </a:lnTo>
                  <a:lnTo>
                    <a:pt x="57" y="272"/>
                  </a:lnTo>
                  <a:lnTo>
                    <a:pt x="55" y="260"/>
                  </a:lnTo>
                  <a:lnTo>
                    <a:pt x="54" y="254"/>
                  </a:lnTo>
                  <a:lnTo>
                    <a:pt x="54" y="250"/>
                  </a:lnTo>
                  <a:lnTo>
                    <a:pt x="53" y="247"/>
                  </a:lnTo>
                  <a:lnTo>
                    <a:pt x="52" y="242"/>
                  </a:lnTo>
                  <a:lnTo>
                    <a:pt x="50" y="236"/>
                  </a:lnTo>
                  <a:lnTo>
                    <a:pt x="47" y="230"/>
                  </a:lnTo>
                  <a:lnTo>
                    <a:pt x="42" y="217"/>
                  </a:lnTo>
                  <a:lnTo>
                    <a:pt x="40" y="212"/>
                  </a:lnTo>
                  <a:lnTo>
                    <a:pt x="39" y="208"/>
                  </a:lnTo>
                  <a:lnTo>
                    <a:pt x="38" y="203"/>
                  </a:lnTo>
                  <a:lnTo>
                    <a:pt x="38" y="198"/>
                  </a:lnTo>
                  <a:lnTo>
                    <a:pt x="38" y="195"/>
                  </a:lnTo>
                  <a:lnTo>
                    <a:pt x="38" y="191"/>
                  </a:lnTo>
                  <a:lnTo>
                    <a:pt x="39" y="183"/>
                  </a:lnTo>
                  <a:lnTo>
                    <a:pt x="39" y="179"/>
                  </a:lnTo>
                  <a:lnTo>
                    <a:pt x="39" y="175"/>
                  </a:lnTo>
                  <a:lnTo>
                    <a:pt x="39" y="172"/>
                  </a:lnTo>
                  <a:lnTo>
                    <a:pt x="37" y="163"/>
                  </a:lnTo>
                  <a:lnTo>
                    <a:pt x="37" y="161"/>
                  </a:lnTo>
                  <a:lnTo>
                    <a:pt x="37" y="159"/>
                  </a:lnTo>
                  <a:lnTo>
                    <a:pt x="37" y="155"/>
                  </a:lnTo>
                  <a:lnTo>
                    <a:pt x="37" y="152"/>
                  </a:lnTo>
                  <a:lnTo>
                    <a:pt x="38" y="150"/>
                  </a:lnTo>
                  <a:lnTo>
                    <a:pt x="40" y="148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3" y="145"/>
                  </a:lnTo>
                  <a:lnTo>
                    <a:pt x="45" y="144"/>
                  </a:lnTo>
                  <a:lnTo>
                    <a:pt x="47" y="144"/>
                  </a:lnTo>
                  <a:lnTo>
                    <a:pt x="53" y="143"/>
                  </a:lnTo>
                  <a:lnTo>
                    <a:pt x="59" y="143"/>
                  </a:lnTo>
                  <a:lnTo>
                    <a:pt x="62" y="143"/>
                  </a:lnTo>
                  <a:lnTo>
                    <a:pt x="64" y="143"/>
                  </a:lnTo>
                  <a:lnTo>
                    <a:pt x="68" y="143"/>
                  </a:lnTo>
                  <a:lnTo>
                    <a:pt x="72" y="145"/>
                  </a:lnTo>
                  <a:lnTo>
                    <a:pt x="74" y="145"/>
                  </a:lnTo>
                  <a:lnTo>
                    <a:pt x="77" y="145"/>
                  </a:lnTo>
                  <a:lnTo>
                    <a:pt x="79" y="145"/>
                  </a:lnTo>
                  <a:lnTo>
                    <a:pt x="82" y="145"/>
                  </a:lnTo>
                  <a:lnTo>
                    <a:pt x="84" y="144"/>
                  </a:lnTo>
                  <a:lnTo>
                    <a:pt x="97" y="139"/>
                  </a:lnTo>
                  <a:lnTo>
                    <a:pt x="99" y="138"/>
                  </a:lnTo>
                  <a:lnTo>
                    <a:pt x="103" y="138"/>
                  </a:lnTo>
                  <a:lnTo>
                    <a:pt x="107" y="137"/>
                  </a:lnTo>
                  <a:lnTo>
                    <a:pt x="117" y="135"/>
                  </a:lnTo>
                  <a:lnTo>
                    <a:pt x="137" y="133"/>
                  </a:lnTo>
                  <a:lnTo>
                    <a:pt x="140" y="133"/>
                  </a:lnTo>
                  <a:lnTo>
                    <a:pt x="147" y="132"/>
                  </a:lnTo>
                  <a:lnTo>
                    <a:pt x="149" y="132"/>
                  </a:lnTo>
                  <a:lnTo>
                    <a:pt x="154" y="131"/>
                  </a:lnTo>
                  <a:lnTo>
                    <a:pt x="158" y="132"/>
                  </a:lnTo>
                  <a:lnTo>
                    <a:pt x="164" y="132"/>
                  </a:lnTo>
                  <a:lnTo>
                    <a:pt x="174" y="133"/>
                  </a:lnTo>
                  <a:lnTo>
                    <a:pt x="178" y="134"/>
                  </a:lnTo>
                  <a:lnTo>
                    <a:pt x="182" y="134"/>
                  </a:lnTo>
                  <a:lnTo>
                    <a:pt x="190" y="133"/>
                  </a:lnTo>
                  <a:lnTo>
                    <a:pt x="192" y="133"/>
                  </a:lnTo>
                  <a:lnTo>
                    <a:pt x="194" y="133"/>
                  </a:lnTo>
                  <a:lnTo>
                    <a:pt x="207" y="133"/>
                  </a:lnTo>
                  <a:lnTo>
                    <a:pt x="209" y="134"/>
                  </a:lnTo>
                  <a:lnTo>
                    <a:pt x="211" y="135"/>
                  </a:lnTo>
                  <a:lnTo>
                    <a:pt x="213" y="135"/>
                  </a:lnTo>
                  <a:lnTo>
                    <a:pt x="214" y="136"/>
                  </a:lnTo>
                  <a:lnTo>
                    <a:pt x="221" y="142"/>
                  </a:lnTo>
                  <a:lnTo>
                    <a:pt x="227" y="146"/>
                  </a:lnTo>
                  <a:lnTo>
                    <a:pt x="233" y="151"/>
                  </a:lnTo>
                  <a:lnTo>
                    <a:pt x="236" y="153"/>
                  </a:lnTo>
                  <a:lnTo>
                    <a:pt x="237" y="154"/>
                  </a:lnTo>
                  <a:lnTo>
                    <a:pt x="239" y="154"/>
                  </a:lnTo>
                  <a:lnTo>
                    <a:pt x="239" y="154"/>
                  </a:lnTo>
                  <a:lnTo>
                    <a:pt x="241" y="154"/>
                  </a:lnTo>
                  <a:lnTo>
                    <a:pt x="242" y="153"/>
                  </a:lnTo>
                  <a:lnTo>
                    <a:pt x="244" y="150"/>
                  </a:lnTo>
                  <a:lnTo>
                    <a:pt x="245" y="149"/>
                  </a:lnTo>
                  <a:lnTo>
                    <a:pt x="247" y="148"/>
                  </a:lnTo>
                  <a:lnTo>
                    <a:pt x="247" y="145"/>
                  </a:lnTo>
                  <a:lnTo>
                    <a:pt x="248" y="144"/>
                  </a:lnTo>
                  <a:lnTo>
                    <a:pt x="249" y="143"/>
                  </a:lnTo>
                  <a:lnTo>
                    <a:pt x="249" y="141"/>
                  </a:lnTo>
                  <a:lnTo>
                    <a:pt x="249" y="140"/>
                  </a:lnTo>
                  <a:lnTo>
                    <a:pt x="247" y="138"/>
                  </a:lnTo>
                  <a:lnTo>
                    <a:pt x="247" y="136"/>
                  </a:lnTo>
                  <a:lnTo>
                    <a:pt x="247" y="135"/>
                  </a:lnTo>
                  <a:lnTo>
                    <a:pt x="248" y="133"/>
                  </a:lnTo>
                  <a:lnTo>
                    <a:pt x="248" y="132"/>
                  </a:lnTo>
                  <a:lnTo>
                    <a:pt x="248" y="131"/>
                  </a:lnTo>
                  <a:lnTo>
                    <a:pt x="248" y="130"/>
                  </a:lnTo>
                  <a:lnTo>
                    <a:pt x="245" y="125"/>
                  </a:lnTo>
                  <a:lnTo>
                    <a:pt x="242" y="120"/>
                  </a:lnTo>
                  <a:lnTo>
                    <a:pt x="241" y="119"/>
                  </a:lnTo>
                  <a:lnTo>
                    <a:pt x="240" y="118"/>
                  </a:lnTo>
                  <a:lnTo>
                    <a:pt x="239" y="115"/>
                  </a:lnTo>
                  <a:lnTo>
                    <a:pt x="239" y="113"/>
                  </a:lnTo>
                  <a:lnTo>
                    <a:pt x="239" y="110"/>
                  </a:lnTo>
                  <a:lnTo>
                    <a:pt x="237" y="105"/>
                  </a:lnTo>
                  <a:lnTo>
                    <a:pt x="237" y="102"/>
                  </a:lnTo>
                  <a:lnTo>
                    <a:pt x="237" y="100"/>
                  </a:lnTo>
                  <a:lnTo>
                    <a:pt x="237" y="98"/>
                  </a:lnTo>
                  <a:lnTo>
                    <a:pt x="238" y="94"/>
                  </a:lnTo>
                  <a:lnTo>
                    <a:pt x="239" y="92"/>
                  </a:lnTo>
                  <a:lnTo>
                    <a:pt x="239" y="89"/>
                  </a:lnTo>
                  <a:lnTo>
                    <a:pt x="242" y="83"/>
                  </a:lnTo>
                  <a:lnTo>
                    <a:pt x="244" y="82"/>
                  </a:lnTo>
                  <a:lnTo>
                    <a:pt x="246" y="79"/>
                  </a:lnTo>
                  <a:lnTo>
                    <a:pt x="247" y="78"/>
                  </a:lnTo>
                  <a:lnTo>
                    <a:pt x="247" y="78"/>
                  </a:lnTo>
                  <a:lnTo>
                    <a:pt x="248" y="72"/>
                  </a:lnTo>
                  <a:lnTo>
                    <a:pt x="250" y="65"/>
                  </a:lnTo>
                  <a:lnTo>
                    <a:pt x="251" y="63"/>
                  </a:lnTo>
                  <a:lnTo>
                    <a:pt x="252" y="60"/>
                  </a:lnTo>
                  <a:lnTo>
                    <a:pt x="252" y="56"/>
                  </a:lnTo>
                  <a:lnTo>
                    <a:pt x="252" y="50"/>
                  </a:lnTo>
                  <a:lnTo>
                    <a:pt x="252" y="45"/>
                  </a:lnTo>
                  <a:lnTo>
                    <a:pt x="253" y="43"/>
                  </a:lnTo>
                  <a:lnTo>
                    <a:pt x="253" y="41"/>
                  </a:lnTo>
                  <a:lnTo>
                    <a:pt x="254" y="40"/>
                  </a:lnTo>
                  <a:lnTo>
                    <a:pt x="254" y="38"/>
                  </a:lnTo>
                  <a:lnTo>
                    <a:pt x="258" y="33"/>
                  </a:lnTo>
                  <a:lnTo>
                    <a:pt x="259" y="30"/>
                  </a:lnTo>
                  <a:lnTo>
                    <a:pt x="259" y="29"/>
                  </a:lnTo>
                  <a:lnTo>
                    <a:pt x="261" y="23"/>
                  </a:lnTo>
                  <a:lnTo>
                    <a:pt x="262" y="21"/>
                  </a:lnTo>
                  <a:lnTo>
                    <a:pt x="262" y="19"/>
                  </a:lnTo>
                  <a:lnTo>
                    <a:pt x="264" y="16"/>
                  </a:lnTo>
                  <a:lnTo>
                    <a:pt x="266" y="13"/>
                  </a:lnTo>
                  <a:lnTo>
                    <a:pt x="269" y="10"/>
                  </a:lnTo>
                  <a:lnTo>
                    <a:pt x="271" y="7"/>
                  </a:lnTo>
                  <a:lnTo>
                    <a:pt x="274" y="5"/>
                  </a:lnTo>
                  <a:lnTo>
                    <a:pt x="278" y="3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283" y="0"/>
                  </a:lnTo>
                  <a:lnTo>
                    <a:pt x="282" y="0"/>
                  </a:lnTo>
                  <a:close/>
                </a:path>
              </a:pathLst>
            </a:custGeom>
            <a:solidFill>
              <a:srgbClr val="A8A8A8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99">
              <a:extLst>
                <a:ext uri="{FF2B5EF4-FFF2-40B4-BE49-F238E27FC236}">
                  <a16:creationId xmlns:a16="http://schemas.microsoft.com/office/drawing/2014/main" id="{F20BAFED-E2C8-2542-C585-B613CFABC5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9861" y="5089364"/>
              <a:ext cx="1398588" cy="1208088"/>
            </a:xfrm>
            <a:custGeom>
              <a:avLst/>
              <a:gdLst>
                <a:gd name="T0" fmla="*/ 320 w 881"/>
                <a:gd name="T1" fmla="*/ 41 h 761"/>
                <a:gd name="T2" fmla="*/ 376 w 881"/>
                <a:gd name="T3" fmla="*/ 38 h 761"/>
                <a:gd name="T4" fmla="*/ 421 w 881"/>
                <a:gd name="T5" fmla="*/ 68 h 761"/>
                <a:gd name="T6" fmla="*/ 415 w 881"/>
                <a:gd name="T7" fmla="*/ 88 h 761"/>
                <a:gd name="T8" fmla="*/ 460 w 881"/>
                <a:gd name="T9" fmla="*/ 115 h 761"/>
                <a:gd name="T10" fmla="*/ 501 w 881"/>
                <a:gd name="T11" fmla="*/ 115 h 761"/>
                <a:gd name="T12" fmla="*/ 564 w 881"/>
                <a:gd name="T13" fmla="*/ 131 h 761"/>
                <a:gd name="T14" fmla="*/ 622 w 881"/>
                <a:gd name="T15" fmla="*/ 128 h 761"/>
                <a:gd name="T16" fmla="*/ 646 w 881"/>
                <a:gd name="T17" fmla="*/ 155 h 761"/>
                <a:gd name="T18" fmla="*/ 662 w 881"/>
                <a:gd name="T19" fmla="*/ 221 h 761"/>
                <a:gd name="T20" fmla="*/ 734 w 881"/>
                <a:gd name="T21" fmla="*/ 254 h 761"/>
                <a:gd name="T22" fmla="*/ 801 w 881"/>
                <a:gd name="T23" fmla="*/ 253 h 761"/>
                <a:gd name="T24" fmla="*/ 842 w 881"/>
                <a:gd name="T25" fmla="*/ 253 h 761"/>
                <a:gd name="T26" fmla="*/ 851 w 881"/>
                <a:gd name="T27" fmla="*/ 280 h 761"/>
                <a:gd name="T28" fmla="*/ 864 w 881"/>
                <a:gd name="T29" fmla="*/ 323 h 761"/>
                <a:gd name="T30" fmla="*/ 826 w 881"/>
                <a:gd name="T31" fmla="*/ 363 h 761"/>
                <a:gd name="T32" fmla="*/ 789 w 881"/>
                <a:gd name="T33" fmla="*/ 420 h 761"/>
                <a:gd name="T34" fmla="*/ 804 w 881"/>
                <a:gd name="T35" fmla="*/ 440 h 761"/>
                <a:gd name="T36" fmla="*/ 850 w 881"/>
                <a:gd name="T37" fmla="*/ 477 h 761"/>
                <a:gd name="T38" fmla="*/ 854 w 881"/>
                <a:gd name="T39" fmla="*/ 512 h 761"/>
                <a:gd name="T40" fmla="*/ 845 w 881"/>
                <a:gd name="T41" fmla="*/ 532 h 761"/>
                <a:gd name="T42" fmla="*/ 814 w 881"/>
                <a:gd name="T43" fmla="*/ 550 h 761"/>
                <a:gd name="T44" fmla="*/ 749 w 881"/>
                <a:gd name="T45" fmla="*/ 501 h 761"/>
                <a:gd name="T46" fmla="*/ 657 w 881"/>
                <a:gd name="T47" fmla="*/ 457 h 761"/>
                <a:gd name="T48" fmla="*/ 594 w 881"/>
                <a:gd name="T49" fmla="*/ 447 h 761"/>
                <a:gd name="T50" fmla="*/ 568 w 881"/>
                <a:gd name="T51" fmla="*/ 487 h 761"/>
                <a:gd name="T52" fmla="*/ 499 w 881"/>
                <a:gd name="T53" fmla="*/ 505 h 761"/>
                <a:gd name="T54" fmla="*/ 480 w 881"/>
                <a:gd name="T55" fmla="*/ 477 h 761"/>
                <a:gd name="T56" fmla="*/ 438 w 881"/>
                <a:gd name="T57" fmla="*/ 434 h 761"/>
                <a:gd name="T58" fmla="*/ 383 w 881"/>
                <a:gd name="T59" fmla="*/ 415 h 761"/>
                <a:gd name="T60" fmla="*/ 332 w 881"/>
                <a:gd name="T61" fmla="*/ 415 h 761"/>
                <a:gd name="T62" fmla="*/ 312 w 881"/>
                <a:gd name="T63" fmla="*/ 469 h 761"/>
                <a:gd name="T64" fmla="*/ 320 w 881"/>
                <a:gd name="T65" fmla="*/ 574 h 761"/>
                <a:gd name="T66" fmla="*/ 304 w 881"/>
                <a:gd name="T67" fmla="*/ 662 h 761"/>
                <a:gd name="T68" fmla="*/ 304 w 881"/>
                <a:gd name="T69" fmla="*/ 737 h 761"/>
                <a:gd name="T70" fmla="*/ 277 w 881"/>
                <a:gd name="T71" fmla="*/ 760 h 761"/>
                <a:gd name="T72" fmla="*/ 235 w 881"/>
                <a:gd name="T73" fmla="*/ 709 h 761"/>
                <a:gd name="T74" fmla="*/ 212 w 881"/>
                <a:gd name="T75" fmla="*/ 649 h 761"/>
                <a:gd name="T76" fmla="*/ 158 w 881"/>
                <a:gd name="T77" fmla="*/ 620 h 761"/>
                <a:gd name="T78" fmla="*/ 133 w 881"/>
                <a:gd name="T79" fmla="*/ 552 h 761"/>
                <a:gd name="T80" fmla="*/ 113 w 881"/>
                <a:gd name="T81" fmla="*/ 525 h 761"/>
                <a:gd name="T82" fmla="*/ 120 w 881"/>
                <a:gd name="T83" fmla="*/ 503 h 761"/>
                <a:gd name="T84" fmla="*/ 82 w 881"/>
                <a:gd name="T85" fmla="*/ 485 h 761"/>
                <a:gd name="T86" fmla="*/ 70 w 881"/>
                <a:gd name="T87" fmla="*/ 438 h 761"/>
                <a:gd name="T88" fmla="*/ 40 w 881"/>
                <a:gd name="T89" fmla="*/ 404 h 761"/>
                <a:gd name="T90" fmla="*/ 45 w 881"/>
                <a:gd name="T91" fmla="*/ 361 h 761"/>
                <a:gd name="T92" fmla="*/ 17 w 881"/>
                <a:gd name="T93" fmla="*/ 333 h 761"/>
                <a:gd name="T94" fmla="*/ 7 w 881"/>
                <a:gd name="T95" fmla="*/ 309 h 761"/>
                <a:gd name="T96" fmla="*/ 31 w 881"/>
                <a:gd name="T97" fmla="*/ 269 h 761"/>
                <a:gd name="T98" fmla="*/ 46 w 881"/>
                <a:gd name="T99" fmla="*/ 228 h 761"/>
                <a:gd name="T100" fmla="*/ 90 w 881"/>
                <a:gd name="T101" fmla="*/ 253 h 761"/>
                <a:gd name="T102" fmla="*/ 130 w 881"/>
                <a:gd name="T103" fmla="*/ 257 h 761"/>
                <a:gd name="T104" fmla="*/ 163 w 881"/>
                <a:gd name="T105" fmla="*/ 268 h 761"/>
                <a:gd name="T106" fmla="*/ 131 w 881"/>
                <a:gd name="T107" fmla="*/ 224 h 761"/>
                <a:gd name="T108" fmla="*/ 146 w 881"/>
                <a:gd name="T109" fmla="*/ 180 h 761"/>
                <a:gd name="T110" fmla="*/ 108 w 881"/>
                <a:gd name="T111" fmla="*/ 133 h 761"/>
                <a:gd name="T112" fmla="*/ 124 w 881"/>
                <a:gd name="T113" fmla="*/ 118 h 761"/>
                <a:gd name="T114" fmla="*/ 208 w 881"/>
                <a:gd name="T115" fmla="*/ 101 h 761"/>
                <a:gd name="T116" fmla="*/ 228 w 881"/>
                <a:gd name="T117" fmla="*/ 43 h 761"/>
                <a:gd name="T118" fmla="*/ 220 w 881"/>
                <a:gd name="T119" fmla="*/ 11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1" h="761">
                  <a:moveTo>
                    <a:pt x="263" y="0"/>
                  </a:moveTo>
                  <a:lnTo>
                    <a:pt x="266" y="1"/>
                  </a:lnTo>
                  <a:lnTo>
                    <a:pt x="269" y="3"/>
                  </a:lnTo>
                  <a:lnTo>
                    <a:pt x="272" y="6"/>
                  </a:lnTo>
                  <a:lnTo>
                    <a:pt x="275" y="8"/>
                  </a:lnTo>
                  <a:lnTo>
                    <a:pt x="277" y="10"/>
                  </a:lnTo>
                  <a:lnTo>
                    <a:pt x="286" y="18"/>
                  </a:lnTo>
                  <a:lnTo>
                    <a:pt x="290" y="22"/>
                  </a:lnTo>
                  <a:lnTo>
                    <a:pt x="303" y="34"/>
                  </a:lnTo>
                  <a:lnTo>
                    <a:pt x="306" y="36"/>
                  </a:lnTo>
                  <a:lnTo>
                    <a:pt x="309" y="38"/>
                  </a:lnTo>
                  <a:lnTo>
                    <a:pt x="310" y="39"/>
                  </a:lnTo>
                  <a:lnTo>
                    <a:pt x="312" y="41"/>
                  </a:lnTo>
                  <a:lnTo>
                    <a:pt x="315" y="41"/>
                  </a:lnTo>
                  <a:lnTo>
                    <a:pt x="317" y="41"/>
                  </a:lnTo>
                  <a:lnTo>
                    <a:pt x="320" y="41"/>
                  </a:lnTo>
                  <a:lnTo>
                    <a:pt x="323" y="41"/>
                  </a:lnTo>
                  <a:lnTo>
                    <a:pt x="325" y="40"/>
                  </a:lnTo>
                  <a:lnTo>
                    <a:pt x="327" y="39"/>
                  </a:lnTo>
                  <a:lnTo>
                    <a:pt x="340" y="33"/>
                  </a:lnTo>
                  <a:lnTo>
                    <a:pt x="343" y="31"/>
                  </a:lnTo>
                  <a:lnTo>
                    <a:pt x="346" y="30"/>
                  </a:lnTo>
                  <a:lnTo>
                    <a:pt x="350" y="28"/>
                  </a:lnTo>
                  <a:lnTo>
                    <a:pt x="353" y="28"/>
                  </a:lnTo>
                  <a:lnTo>
                    <a:pt x="356" y="28"/>
                  </a:lnTo>
                  <a:lnTo>
                    <a:pt x="358" y="28"/>
                  </a:lnTo>
                  <a:lnTo>
                    <a:pt x="360" y="28"/>
                  </a:lnTo>
                  <a:lnTo>
                    <a:pt x="362" y="28"/>
                  </a:lnTo>
                  <a:lnTo>
                    <a:pt x="365" y="30"/>
                  </a:lnTo>
                  <a:lnTo>
                    <a:pt x="367" y="31"/>
                  </a:lnTo>
                  <a:lnTo>
                    <a:pt x="370" y="33"/>
                  </a:lnTo>
                  <a:lnTo>
                    <a:pt x="376" y="38"/>
                  </a:lnTo>
                  <a:lnTo>
                    <a:pt x="380" y="41"/>
                  </a:lnTo>
                  <a:lnTo>
                    <a:pt x="385" y="45"/>
                  </a:lnTo>
                  <a:lnTo>
                    <a:pt x="389" y="47"/>
                  </a:lnTo>
                  <a:lnTo>
                    <a:pt x="391" y="48"/>
                  </a:lnTo>
                  <a:lnTo>
                    <a:pt x="394" y="49"/>
                  </a:lnTo>
                  <a:lnTo>
                    <a:pt x="405" y="53"/>
                  </a:lnTo>
                  <a:lnTo>
                    <a:pt x="409" y="55"/>
                  </a:lnTo>
                  <a:lnTo>
                    <a:pt x="412" y="56"/>
                  </a:lnTo>
                  <a:lnTo>
                    <a:pt x="415" y="57"/>
                  </a:lnTo>
                  <a:lnTo>
                    <a:pt x="417" y="58"/>
                  </a:lnTo>
                  <a:lnTo>
                    <a:pt x="418" y="60"/>
                  </a:lnTo>
                  <a:lnTo>
                    <a:pt x="419" y="61"/>
                  </a:lnTo>
                  <a:lnTo>
                    <a:pt x="420" y="62"/>
                  </a:lnTo>
                  <a:lnTo>
                    <a:pt x="420" y="64"/>
                  </a:lnTo>
                  <a:lnTo>
                    <a:pt x="421" y="66"/>
                  </a:lnTo>
                  <a:lnTo>
                    <a:pt x="421" y="68"/>
                  </a:lnTo>
                  <a:lnTo>
                    <a:pt x="421" y="69"/>
                  </a:lnTo>
                  <a:lnTo>
                    <a:pt x="420" y="71"/>
                  </a:lnTo>
                  <a:lnTo>
                    <a:pt x="420" y="74"/>
                  </a:lnTo>
                  <a:lnTo>
                    <a:pt x="419" y="76"/>
                  </a:lnTo>
                  <a:lnTo>
                    <a:pt x="418" y="77"/>
                  </a:lnTo>
                  <a:lnTo>
                    <a:pt x="417" y="78"/>
                  </a:lnTo>
                  <a:lnTo>
                    <a:pt x="416" y="80"/>
                  </a:lnTo>
                  <a:lnTo>
                    <a:pt x="414" y="81"/>
                  </a:lnTo>
                  <a:lnTo>
                    <a:pt x="411" y="83"/>
                  </a:lnTo>
                  <a:lnTo>
                    <a:pt x="410" y="83"/>
                  </a:lnTo>
                  <a:lnTo>
                    <a:pt x="410" y="84"/>
                  </a:lnTo>
                  <a:lnTo>
                    <a:pt x="410" y="85"/>
                  </a:lnTo>
                  <a:lnTo>
                    <a:pt x="410" y="86"/>
                  </a:lnTo>
                  <a:lnTo>
                    <a:pt x="411" y="87"/>
                  </a:lnTo>
                  <a:lnTo>
                    <a:pt x="412" y="88"/>
                  </a:lnTo>
                  <a:lnTo>
                    <a:pt x="415" y="88"/>
                  </a:lnTo>
                  <a:lnTo>
                    <a:pt x="418" y="89"/>
                  </a:lnTo>
                  <a:lnTo>
                    <a:pt x="420" y="90"/>
                  </a:lnTo>
                  <a:lnTo>
                    <a:pt x="422" y="91"/>
                  </a:lnTo>
                  <a:lnTo>
                    <a:pt x="430" y="91"/>
                  </a:lnTo>
                  <a:lnTo>
                    <a:pt x="434" y="92"/>
                  </a:lnTo>
                  <a:lnTo>
                    <a:pt x="436" y="93"/>
                  </a:lnTo>
                  <a:lnTo>
                    <a:pt x="438" y="93"/>
                  </a:lnTo>
                  <a:lnTo>
                    <a:pt x="440" y="94"/>
                  </a:lnTo>
                  <a:lnTo>
                    <a:pt x="442" y="95"/>
                  </a:lnTo>
                  <a:lnTo>
                    <a:pt x="443" y="96"/>
                  </a:lnTo>
                  <a:lnTo>
                    <a:pt x="445" y="98"/>
                  </a:lnTo>
                  <a:lnTo>
                    <a:pt x="447" y="99"/>
                  </a:lnTo>
                  <a:lnTo>
                    <a:pt x="449" y="101"/>
                  </a:lnTo>
                  <a:lnTo>
                    <a:pt x="452" y="105"/>
                  </a:lnTo>
                  <a:lnTo>
                    <a:pt x="458" y="113"/>
                  </a:lnTo>
                  <a:lnTo>
                    <a:pt x="460" y="115"/>
                  </a:lnTo>
                  <a:lnTo>
                    <a:pt x="462" y="116"/>
                  </a:lnTo>
                  <a:lnTo>
                    <a:pt x="463" y="118"/>
                  </a:lnTo>
                  <a:lnTo>
                    <a:pt x="465" y="119"/>
                  </a:lnTo>
                  <a:lnTo>
                    <a:pt x="467" y="121"/>
                  </a:lnTo>
                  <a:lnTo>
                    <a:pt x="469" y="121"/>
                  </a:lnTo>
                  <a:lnTo>
                    <a:pt x="472" y="123"/>
                  </a:lnTo>
                  <a:lnTo>
                    <a:pt x="475" y="123"/>
                  </a:lnTo>
                  <a:lnTo>
                    <a:pt x="476" y="123"/>
                  </a:lnTo>
                  <a:lnTo>
                    <a:pt x="478" y="123"/>
                  </a:lnTo>
                  <a:lnTo>
                    <a:pt x="480" y="123"/>
                  </a:lnTo>
                  <a:lnTo>
                    <a:pt x="482" y="123"/>
                  </a:lnTo>
                  <a:lnTo>
                    <a:pt x="484" y="123"/>
                  </a:lnTo>
                  <a:lnTo>
                    <a:pt x="487" y="122"/>
                  </a:lnTo>
                  <a:lnTo>
                    <a:pt x="490" y="121"/>
                  </a:lnTo>
                  <a:lnTo>
                    <a:pt x="493" y="119"/>
                  </a:lnTo>
                  <a:lnTo>
                    <a:pt x="501" y="115"/>
                  </a:lnTo>
                  <a:lnTo>
                    <a:pt x="504" y="113"/>
                  </a:lnTo>
                  <a:lnTo>
                    <a:pt x="507" y="113"/>
                  </a:lnTo>
                  <a:lnTo>
                    <a:pt x="508" y="112"/>
                  </a:lnTo>
                  <a:lnTo>
                    <a:pt x="510" y="112"/>
                  </a:lnTo>
                  <a:lnTo>
                    <a:pt x="512" y="112"/>
                  </a:lnTo>
                  <a:lnTo>
                    <a:pt x="514" y="113"/>
                  </a:lnTo>
                  <a:lnTo>
                    <a:pt x="517" y="113"/>
                  </a:lnTo>
                  <a:lnTo>
                    <a:pt x="532" y="117"/>
                  </a:lnTo>
                  <a:lnTo>
                    <a:pt x="537" y="118"/>
                  </a:lnTo>
                  <a:lnTo>
                    <a:pt x="549" y="122"/>
                  </a:lnTo>
                  <a:lnTo>
                    <a:pt x="556" y="124"/>
                  </a:lnTo>
                  <a:lnTo>
                    <a:pt x="561" y="126"/>
                  </a:lnTo>
                  <a:lnTo>
                    <a:pt x="564" y="128"/>
                  </a:lnTo>
                  <a:lnTo>
                    <a:pt x="564" y="128"/>
                  </a:lnTo>
                  <a:lnTo>
                    <a:pt x="564" y="129"/>
                  </a:lnTo>
                  <a:lnTo>
                    <a:pt x="564" y="131"/>
                  </a:lnTo>
                  <a:lnTo>
                    <a:pt x="564" y="132"/>
                  </a:lnTo>
                  <a:lnTo>
                    <a:pt x="564" y="133"/>
                  </a:lnTo>
                  <a:lnTo>
                    <a:pt x="565" y="133"/>
                  </a:lnTo>
                  <a:lnTo>
                    <a:pt x="566" y="134"/>
                  </a:lnTo>
                  <a:lnTo>
                    <a:pt x="567" y="134"/>
                  </a:lnTo>
                  <a:lnTo>
                    <a:pt x="568" y="135"/>
                  </a:lnTo>
                  <a:lnTo>
                    <a:pt x="570" y="135"/>
                  </a:lnTo>
                  <a:lnTo>
                    <a:pt x="577" y="134"/>
                  </a:lnTo>
                  <a:lnTo>
                    <a:pt x="582" y="134"/>
                  </a:lnTo>
                  <a:lnTo>
                    <a:pt x="586" y="133"/>
                  </a:lnTo>
                  <a:lnTo>
                    <a:pt x="594" y="131"/>
                  </a:lnTo>
                  <a:lnTo>
                    <a:pt x="598" y="131"/>
                  </a:lnTo>
                  <a:lnTo>
                    <a:pt x="602" y="131"/>
                  </a:lnTo>
                  <a:lnTo>
                    <a:pt x="610" y="130"/>
                  </a:lnTo>
                  <a:lnTo>
                    <a:pt x="618" y="128"/>
                  </a:lnTo>
                  <a:lnTo>
                    <a:pt x="622" y="128"/>
                  </a:lnTo>
                  <a:lnTo>
                    <a:pt x="624" y="128"/>
                  </a:lnTo>
                  <a:lnTo>
                    <a:pt x="627" y="128"/>
                  </a:lnTo>
                  <a:lnTo>
                    <a:pt x="629" y="129"/>
                  </a:lnTo>
                  <a:lnTo>
                    <a:pt x="632" y="130"/>
                  </a:lnTo>
                  <a:lnTo>
                    <a:pt x="634" y="131"/>
                  </a:lnTo>
                  <a:lnTo>
                    <a:pt x="635" y="131"/>
                  </a:lnTo>
                  <a:lnTo>
                    <a:pt x="637" y="132"/>
                  </a:lnTo>
                  <a:lnTo>
                    <a:pt x="638" y="133"/>
                  </a:lnTo>
                  <a:lnTo>
                    <a:pt x="639" y="134"/>
                  </a:lnTo>
                  <a:lnTo>
                    <a:pt x="640" y="136"/>
                  </a:lnTo>
                  <a:lnTo>
                    <a:pt x="642" y="138"/>
                  </a:lnTo>
                  <a:lnTo>
                    <a:pt x="642" y="140"/>
                  </a:lnTo>
                  <a:lnTo>
                    <a:pt x="643" y="143"/>
                  </a:lnTo>
                  <a:lnTo>
                    <a:pt x="644" y="147"/>
                  </a:lnTo>
                  <a:lnTo>
                    <a:pt x="645" y="151"/>
                  </a:lnTo>
                  <a:lnTo>
                    <a:pt x="646" y="155"/>
                  </a:lnTo>
                  <a:lnTo>
                    <a:pt x="647" y="161"/>
                  </a:lnTo>
                  <a:lnTo>
                    <a:pt x="647" y="166"/>
                  </a:lnTo>
                  <a:lnTo>
                    <a:pt x="646" y="172"/>
                  </a:lnTo>
                  <a:lnTo>
                    <a:pt x="645" y="180"/>
                  </a:lnTo>
                  <a:lnTo>
                    <a:pt x="644" y="185"/>
                  </a:lnTo>
                  <a:lnTo>
                    <a:pt x="644" y="190"/>
                  </a:lnTo>
                  <a:lnTo>
                    <a:pt x="644" y="194"/>
                  </a:lnTo>
                  <a:lnTo>
                    <a:pt x="644" y="197"/>
                  </a:lnTo>
                  <a:lnTo>
                    <a:pt x="645" y="200"/>
                  </a:lnTo>
                  <a:lnTo>
                    <a:pt x="647" y="203"/>
                  </a:lnTo>
                  <a:lnTo>
                    <a:pt x="649" y="208"/>
                  </a:lnTo>
                  <a:lnTo>
                    <a:pt x="650" y="210"/>
                  </a:lnTo>
                  <a:lnTo>
                    <a:pt x="652" y="211"/>
                  </a:lnTo>
                  <a:lnTo>
                    <a:pt x="653" y="213"/>
                  </a:lnTo>
                  <a:lnTo>
                    <a:pt x="655" y="215"/>
                  </a:lnTo>
                  <a:lnTo>
                    <a:pt x="662" y="221"/>
                  </a:lnTo>
                  <a:lnTo>
                    <a:pt x="669" y="227"/>
                  </a:lnTo>
                  <a:lnTo>
                    <a:pt x="672" y="229"/>
                  </a:lnTo>
                  <a:lnTo>
                    <a:pt x="679" y="235"/>
                  </a:lnTo>
                  <a:lnTo>
                    <a:pt x="682" y="238"/>
                  </a:lnTo>
                  <a:lnTo>
                    <a:pt x="684" y="240"/>
                  </a:lnTo>
                  <a:lnTo>
                    <a:pt x="688" y="243"/>
                  </a:lnTo>
                  <a:lnTo>
                    <a:pt x="704" y="252"/>
                  </a:lnTo>
                  <a:lnTo>
                    <a:pt x="713" y="257"/>
                  </a:lnTo>
                  <a:lnTo>
                    <a:pt x="715" y="258"/>
                  </a:lnTo>
                  <a:lnTo>
                    <a:pt x="716" y="258"/>
                  </a:lnTo>
                  <a:lnTo>
                    <a:pt x="719" y="258"/>
                  </a:lnTo>
                  <a:lnTo>
                    <a:pt x="720" y="258"/>
                  </a:lnTo>
                  <a:lnTo>
                    <a:pt x="726" y="255"/>
                  </a:lnTo>
                  <a:lnTo>
                    <a:pt x="729" y="255"/>
                  </a:lnTo>
                  <a:lnTo>
                    <a:pt x="731" y="254"/>
                  </a:lnTo>
                  <a:lnTo>
                    <a:pt x="734" y="254"/>
                  </a:lnTo>
                  <a:lnTo>
                    <a:pt x="736" y="254"/>
                  </a:lnTo>
                  <a:lnTo>
                    <a:pt x="739" y="255"/>
                  </a:lnTo>
                  <a:lnTo>
                    <a:pt x="750" y="258"/>
                  </a:lnTo>
                  <a:lnTo>
                    <a:pt x="753" y="259"/>
                  </a:lnTo>
                  <a:lnTo>
                    <a:pt x="756" y="259"/>
                  </a:lnTo>
                  <a:lnTo>
                    <a:pt x="760" y="260"/>
                  </a:lnTo>
                  <a:lnTo>
                    <a:pt x="766" y="260"/>
                  </a:lnTo>
                  <a:lnTo>
                    <a:pt x="771" y="260"/>
                  </a:lnTo>
                  <a:lnTo>
                    <a:pt x="776" y="260"/>
                  </a:lnTo>
                  <a:lnTo>
                    <a:pt x="779" y="260"/>
                  </a:lnTo>
                  <a:lnTo>
                    <a:pt x="782" y="260"/>
                  </a:lnTo>
                  <a:lnTo>
                    <a:pt x="784" y="259"/>
                  </a:lnTo>
                  <a:lnTo>
                    <a:pt x="786" y="258"/>
                  </a:lnTo>
                  <a:lnTo>
                    <a:pt x="790" y="257"/>
                  </a:lnTo>
                  <a:lnTo>
                    <a:pt x="798" y="254"/>
                  </a:lnTo>
                  <a:lnTo>
                    <a:pt x="801" y="253"/>
                  </a:lnTo>
                  <a:lnTo>
                    <a:pt x="806" y="252"/>
                  </a:lnTo>
                  <a:lnTo>
                    <a:pt x="813" y="250"/>
                  </a:lnTo>
                  <a:lnTo>
                    <a:pt x="816" y="250"/>
                  </a:lnTo>
                  <a:lnTo>
                    <a:pt x="818" y="249"/>
                  </a:lnTo>
                  <a:lnTo>
                    <a:pt x="822" y="247"/>
                  </a:lnTo>
                  <a:lnTo>
                    <a:pt x="824" y="246"/>
                  </a:lnTo>
                  <a:lnTo>
                    <a:pt x="826" y="246"/>
                  </a:lnTo>
                  <a:lnTo>
                    <a:pt x="828" y="246"/>
                  </a:lnTo>
                  <a:lnTo>
                    <a:pt x="829" y="246"/>
                  </a:lnTo>
                  <a:lnTo>
                    <a:pt x="831" y="247"/>
                  </a:lnTo>
                  <a:lnTo>
                    <a:pt x="832" y="247"/>
                  </a:lnTo>
                  <a:lnTo>
                    <a:pt x="834" y="248"/>
                  </a:lnTo>
                  <a:lnTo>
                    <a:pt x="837" y="250"/>
                  </a:lnTo>
                  <a:lnTo>
                    <a:pt x="841" y="252"/>
                  </a:lnTo>
                  <a:lnTo>
                    <a:pt x="841" y="253"/>
                  </a:lnTo>
                  <a:lnTo>
                    <a:pt x="842" y="253"/>
                  </a:lnTo>
                  <a:lnTo>
                    <a:pt x="843" y="255"/>
                  </a:lnTo>
                  <a:lnTo>
                    <a:pt x="844" y="255"/>
                  </a:lnTo>
                  <a:lnTo>
                    <a:pt x="844" y="257"/>
                  </a:lnTo>
                  <a:lnTo>
                    <a:pt x="845" y="258"/>
                  </a:lnTo>
                  <a:lnTo>
                    <a:pt x="845" y="260"/>
                  </a:lnTo>
                  <a:lnTo>
                    <a:pt x="845" y="261"/>
                  </a:lnTo>
                  <a:lnTo>
                    <a:pt x="844" y="263"/>
                  </a:lnTo>
                  <a:lnTo>
                    <a:pt x="843" y="268"/>
                  </a:lnTo>
                  <a:lnTo>
                    <a:pt x="843" y="268"/>
                  </a:lnTo>
                  <a:lnTo>
                    <a:pt x="843" y="270"/>
                  </a:lnTo>
                  <a:lnTo>
                    <a:pt x="843" y="270"/>
                  </a:lnTo>
                  <a:lnTo>
                    <a:pt x="844" y="272"/>
                  </a:lnTo>
                  <a:lnTo>
                    <a:pt x="844" y="273"/>
                  </a:lnTo>
                  <a:lnTo>
                    <a:pt x="845" y="275"/>
                  </a:lnTo>
                  <a:lnTo>
                    <a:pt x="848" y="278"/>
                  </a:lnTo>
                  <a:lnTo>
                    <a:pt x="851" y="280"/>
                  </a:lnTo>
                  <a:lnTo>
                    <a:pt x="854" y="282"/>
                  </a:lnTo>
                  <a:lnTo>
                    <a:pt x="861" y="287"/>
                  </a:lnTo>
                  <a:lnTo>
                    <a:pt x="863" y="288"/>
                  </a:lnTo>
                  <a:lnTo>
                    <a:pt x="865" y="290"/>
                  </a:lnTo>
                  <a:lnTo>
                    <a:pt x="868" y="293"/>
                  </a:lnTo>
                  <a:lnTo>
                    <a:pt x="874" y="300"/>
                  </a:lnTo>
                  <a:lnTo>
                    <a:pt x="880" y="307"/>
                  </a:lnTo>
                  <a:lnTo>
                    <a:pt x="881" y="308"/>
                  </a:lnTo>
                  <a:lnTo>
                    <a:pt x="881" y="308"/>
                  </a:lnTo>
                  <a:lnTo>
                    <a:pt x="880" y="309"/>
                  </a:lnTo>
                  <a:lnTo>
                    <a:pt x="879" y="310"/>
                  </a:lnTo>
                  <a:lnTo>
                    <a:pt x="876" y="315"/>
                  </a:lnTo>
                  <a:lnTo>
                    <a:pt x="873" y="317"/>
                  </a:lnTo>
                  <a:lnTo>
                    <a:pt x="871" y="319"/>
                  </a:lnTo>
                  <a:lnTo>
                    <a:pt x="867" y="321"/>
                  </a:lnTo>
                  <a:lnTo>
                    <a:pt x="864" y="323"/>
                  </a:lnTo>
                  <a:lnTo>
                    <a:pt x="859" y="325"/>
                  </a:lnTo>
                  <a:lnTo>
                    <a:pt x="852" y="326"/>
                  </a:lnTo>
                  <a:lnTo>
                    <a:pt x="846" y="328"/>
                  </a:lnTo>
                  <a:lnTo>
                    <a:pt x="844" y="328"/>
                  </a:lnTo>
                  <a:lnTo>
                    <a:pt x="842" y="329"/>
                  </a:lnTo>
                  <a:lnTo>
                    <a:pt x="841" y="330"/>
                  </a:lnTo>
                  <a:lnTo>
                    <a:pt x="840" y="330"/>
                  </a:lnTo>
                  <a:lnTo>
                    <a:pt x="839" y="332"/>
                  </a:lnTo>
                  <a:lnTo>
                    <a:pt x="838" y="334"/>
                  </a:lnTo>
                  <a:lnTo>
                    <a:pt x="835" y="340"/>
                  </a:lnTo>
                  <a:lnTo>
                    <a:pt x="831" y="345"/>
                  </a:lnTo>
                  <a:lnTo>
                    <a:pt x="831" y="348"/>
                  </a:lnTo>
                  <a:lnTo>
                    <a:pt x="830" y="349"/>
                  </a:lnTo>
                  <a:lnTo>
                    <a:pt x="829" y="351"/>
                  </a:lnTo>
                  <a:lnTo>
                    <a:pt x="827" y="360"/>
                  </a:lnTo>
                  <a:lnTo>
                    <a:pt x="826" y="363"/>
                  </a:lnTo>
                  <a:lnTo>
                    <a:pt x="826" y="365"/>
                  </a:lnTo>
                  <a:lnTo>
                    <a:pt x="825" y="367"/>
                  </a:lnTo>
                  <a:lnTo>
                    <a:pt x="824" y="369"/>
                  </a:lnTo>
                  <a:lnTo>
                    <a:pt x="819" y="376"/>
                  </a:lnTo>
                  <a:lnTo>
                    <a:pt x="817" y="378"/>
                  </a:lnTo>
                  <a:lnTo>
                    <a:pt x="816" y="381"/>
                  </a:lnTo>
                  <a:lnTo>
                    <a:pt x="814" y="388"/>
                  </a:lnTo>
                  <a:lnTo>
                    <a:pt x="813" y="391"/>
                  </a:lnTo>
                  <a:lnTo>
                    <a:pt x="811" y="393"/>
                  </a:lnTo>
                  <a:lnTo>
                    <a:pt x="810" y="395"/>
                  </a:lnTo>
                  <a:lnTo>
                    <a:pt x="808" y="397"/>
                  </a:lnTo>
                  <a:lnTo>
                    <a:pt x="801" y="405"/>
                  </a:lnTo>
                  <a:lnTo>
                    <a:pt x="797" y="410"/>
                  </a:lnTo>
                  <a:lnTo>
                    <a:pt x="795" y="411"/>
                  </a:lnTo>
                  <a:lnTo>
                    <a:pt x="791" y="415"/>
                  </a:lnTo>
                  <a:lnTo>
                    <a:pt x="789" y="420"/>
                  </a:lnTo>
                  <a:lnTo>
                    <a:pt x="786" y="423"/>
                  </a:lnTo>
                  <a:lnTo>
                    <a:pt x="785" y="425"/>
                  </a:lnTo>
                  <a:lnTo>
                    <a:pt x="784" y="428"/>
                  </a:lnTo>
                  <a:lnTo>
                    <a:pt x="783" y="431"/>
                  </a:lnTo>
                  <a:lnTo>
                    <a:pt x="784" y="432"/>
                  </a:lnTo>
                  <a:lnTo>
                    <a:pt x="784" y="434"/>
                  </a:lnTo>
                  <a:lnTo>
                    <a:pt x="785" y="435"/>
                  </a:lnTo>
                  <a:lnTo>
                    <a:pt x="786" y="436"/>
                  </a:lnTo>
                  <a:lnTo>
                    <a:pt x="787" y="437"/>
                  </a:lnTo>
                  <a:lnTo>
                    <a:pt x="789" y="437"/>
                  </a:lnTo>
                  <a:lnTo>
                    <a:pt x="795" y="437"/>
                  </a:lnTo>
                  <a:lnTo>
                    <a:pt x="798" y="437"/>
                  </a:lnTo>
                  <a:lnTo>
                    <a:pt x="799" y="438"/>
                  </a:lnTo>
                  <a:lnTo>
                    <a:pt x="801" y="439"/>
                  </a:lnTo>
                  <a:lnTo>
                    <a:pt x="803" y="440"/>
                  </a:lnTo>
                  <a:lnTo>
                    <a:pt x="804" y="440"/>
                  </a:lnTo>
                  <a:lnTo>
                    <a:pt x="806" y="442"/>
                  </a:lnTo>
                  <a:lnTo>
                    <a:pt x="808" y="445"/>
                  </a:lnTo>
                  <a:lnTo>
                    <a:pt x="809" y="446"/>
                  </a:lnTo>
                  <a:lnTo>
                    <a:pt x="812" y="453"/>
                  </a:lnTo>
                  <a:lnTo>
                    <a:pt x="814" y="455"/>
                  </a:lnTo>
                  <a:lnTo>
                    <a:pt x="816" y="457"/>
                  </a:lnTo>
                  <a:lnTo>
                    <a:pt x="818" y="460"/>
                  </a:lnTo>
                  <a:lnTo>
                    <a:pt x="821" y="462"/>
                  </a:lnTo>
                  <a:lnTo>
                    <a:pt x="824" y="463"/>
                  </a:lnTo>
                  <a:lnTo>
                    <a:pt x="828" y="465"/>
                  </a:lnTo>
                  <a:lnTo>
                    <a:pt x="835" y="468"/>
                  </a:lnTo>
                  <a:lnTo>
                    <a:pt x="838" y="470"/>
                  </a:lnTo>
                  <a:lnTo>
                    <a:pt x="841" y="471"/>
                  </a:lnTo>
                  <a:lnTo>
                    <a:pt x="844" y="473"/>
                  </a:lnTo>
                  <a:lnTo>
                    <a:pt x="846" y="475"/>
                  </a:lnTo>
                  <a:lnTo>
                    <a:pt x="850" y="477"/>
                  </a:lnTo>
                  <a:lnTo>
                    <a:pt x="851" y="479"/>
                  </a:lnTo>
                  <a:lnTo>
                    <a:pt x="854" y="480"/>
                  </a:lnTo>
                  <a:lnTo>
                    <a:pt x="856" y="482"/>
                  </a:lnTo>
                  <a:lnTo>
                    <a:pt x="857" y="484"/>
                  </a:lnTo>
                  <a:lnTo>
                    <a:pt x="859" y="486"/>
                  </a:lnTo>
                  <a:lnTo>
                    <a:pt x="861" y="490"/>
                  </a:lnTo>
                  <a:lnTo>
                    <a:pt x="866" y="499"/>
                  </a:lnTo>
                  <a:lnTo>
                    <a:pt x="867" y="502"/>
                  </a:lnTo>
                  <a:lnTo>
                    <a:pt x="868" y="502"/>
                  </a:lnTo>
                  <a:lnTo>
                    <a:pt x="866" y="504"/>
                  </a:lnTo>
                  <a:lnTo>
                    <a:pt x="862" y="509"/>
                  </a:lnTo>
                  <a:lnTo>
                    <a:pt x="861" y="510"/>
                  </a:lnTo>
                  <a:lnTo>
                    <a:pt x="860" y="510"/>
                  </a:lnTo>
                  <a:lnTo>
                    <a:pt x="859" y="511"/>
                  </a:lnTo>
                  <a:lnTo>
                    <a:pt x="858" y="512"/>
                  </a:lnTo>
                  <a:lnTo>
                    <a:pt x="854" y="512"/>
                  </a:lnTo>
                  <a:lnTo>
                    <a:pt x="854" y="512"/>
                  </a:lnTo>
                  <a:lnTo>
                    <a:pt x="853" y="512"/>
                  </a:lnTo>
                  <a:lnTo>
                    <a:pt x="852" y="514"/>
                  </a:lnTo>
                  <a:lnTo>
                    <a:pt x="852" y="516"/>
                  </a:lnTo>
                  <a:lnTo>
                    <a:pt x="851" y="517"/>
                  </a:lnTo>
                  <a:lnTo>
                    <a:pt x="851" y="520"/>
                  </a:lnTo>
                  <a:lnTo>
                    <a:pt x="849" y="522"/>
                  </a:lnTo>
                  <a:lnTo>
                    <a:pt x="846" y="525"/>
                  </a:lnTo>
                  <a:lnTo>
                    <a:pt x="846" y="526"/>
                  </a:lnTo>
                  <a:lnTo>
                    <a:pt x="846" y="527"/>
                  </a:lnTo>
                  <a:lnTo>
                    <a:pt x="846" y="527"/>
                  </a:lnTo>
                  <a:lnTo>
                    <a:pt x="846" y="528"/>
                  </a:lnTo>
                  <a:lnTo>
                    <a:pt x="848" y="529"/>
                  </a:lnTo>
                  <a:lnTo>
                    <a:pt x="848" y="530"/>
                  </a:lnTo>
                  <a:lnTo>
                    <a:pt x="847" y="530"/>
                  </a:lnTo>
                  <a:lnTo>
                    <a:pt x="845" y="532"/>
                  </a:lnTo>
                  <a:lnTo>
                    <a:pt x="842" y="534"/>
                  </a:lnTo>
                  <a:lnTo>
                    <a:pt x="841" y="535"/>
                  </a:lnTo>
                  <a:lnTo>
                    <a:pt x="839" y="535"/>
                  </a:lnTo>
                  <a:lnTo>
                    <a:pt x="837" y="536"/>
                  </a:lnTo>
                  <a:lnTo>
                    <a:pt x="836" y="537"/>
                  </a:lnTo>
                  <a:lnTo>
                    <a:pt x="836" y="538"/>
                  </a:lnTo>
                  <a:lnTo>
                    <a:pt x="834" y="540"/>
                  </a:lnTo>
                  <a:lnTo>
                    <a:pt x="830" y="551"/>
                  </a:lnTo>
                  <a:lnTo>
                    <a:pt x="829" y="555"/>
                  </a:lnTo>
                  <a:lnTo>
                    <a:pt x="828" y="557"/>
                  </a:lnTo>
                  <a:lnTo>
                    <a:pt x="827" y="557"/>
                  </a:lnTo>
                  <a:lnTo>
                    <a:pt x="826" y="557"/>
                  </a:lnTo>
                  <a:lnTo>
                    <a:pt x="824" y="556"/>
                  </a:lnTo>
                  <a:lnTo>
                    <a:pt x="821" y="555"/>
                  </a:lnTo>
                  <a:lnTo>
                    <a:pt x="819" y="553"/>
                  </a:lnTo>
                  <a:lnTo>
                    <a:pt x="814" y="550"/>
                  </a:lnTo>
                  <a:lnTo>
                    <a:pt x="809" y="546"/>
                  </a:lnTo>
                  <a:lnTo>
                    <a:pt x="805" y="542"/>
                  </a:lnTo>
                  <a:lnTo>
                    <a:pt x="801" y="538"/>
                  </a:lnTo>
                  <a:lnTo>
                    <a:pt x="797" y="534"/>
                  </a:lnTo>
                  <a:lnTo>
                    <a:pt x="789" y="523"/>
                  </a:lnTo>
                  <a:lnTo>
                    <a:pt x="785" y="519"/>
                  </a:lnTo>
                  <a:lnTo>
                    <a:pt x="782" y="516"/>
                  </a:lnTo>
                  <a:lnTo>
                    <a:pt x="779" y="514"/>
                  </a:lnTo>
                  <a:lnTo>
                    <a:pt x="776" y="511"/>
                  </a:lnTo>
                  <a:lnTo>
                    <a:pt x="772" y="509"/>
                  </a:lnTo>
                  <a:lnTo>
                    <a:pt x="769" y="507"/>
                  </a:lnTo>
                  <a:lnTo>
                    <a:pt x="765" y="505"/>
                  </a:lnTo>
                  <a:lnTo>
                    <a:pt x="762" y="504"/>
                  </a:lnTo>
                  <a:lnTo>
                    <a:pt x="760" y="503"/>
                  </a:lnTo>
                  <a:lnTo>
                    <a:pt x="756" y="502"/>
                  </a:lnTo>
                  <a:lnTo>
                    <a:pt x="749" y="501"/>
                  </a:lnTo>
                  <a:lnTo>
                    <a:pt x="746" y="500"/>
                  </a:lnTo>
                  <a:lnTo>
                    <a:pt x="733" y="497"/>
                  </a:lnTo>
                  <a:lnTo>
                    <a:pt x="729" y="496"/>
                  </a:lnTo>
                  <a:lnTo>
                    <a:pt x="726" y="495"/>
                  </a:lnTo>
                  <a:lnTo>
                    <a:pt x="722" y="494"/>
                  </a:lnTo>
                  <a:lnTo>
                    <a:pt x="719" y="492"/>
                  </a:lnTo>
                  <a:lnTo>
                    <a:pt x="716" y="491"/>
                  </a:lnTo>
                  <a:lnTo>
                    <a:pt x="713" y="490"/>
                  </a:lnTo>
                  <a:lnTo>
                    <a:pt x="706" y="485"/>
                  </a:lnTo>
                  <a:lnTo>
                    <a:pt x="694" y="477"/>
                  </a:lnTo>
                  <a:lnTo>
                    <a:pt x="682" y="468"/>
                  </a:lnTo>
                  <a:lnTo>
                    <a:pt x="678" y="465"/>
                  </a:lnTo>
                  <a:lnTo>
                    <a:pt x="674" y="463"/>
                  </a:lnTo>
                  <a:lnTo>
                    <a:pt x="668" y="460"/>
                  </a:lnTo>
                  <a:lnTo>
                    <a:pt x="663" y="458"/>
                  </a:lnTo>
                  <a:lnTo>
                    <a:pt x="657" y="457"/>
                  </a:lnTo>
                  <a:lnTo>
                    <a:pt x="654" y="456"/>
                  </a:lnTo>
                  <a:lnTo>
                    <a:pt x="652" y="455"/>
                  </a:lnTo>
                  <a:lnTo>
                    <a:pt x="647" y="455"/>
                  </a:lnTo>
                  <a:lnTo>
                    <a:pt x="641" y="455"/>
                  </a:lnTo>
                  <a:lnTo>
                    <a:pt x="636" y="455"/>
                  </a:lnTo>
                  <a:lnTo>
                    <a:pt x="628" y="456"/>
                  </a:lnTo>
                  <a:lnTo>
                    <a:pt x="625" y="456"/>
                  </a:lnTo>
                  <a:lnTo>
                    <a:pt x="622" y="456"/>
                  </a:lnTo>
                  <a:lnTo>
                    <a:pt x="617" y="455"/>
                  </a:lnTo>
                  <a:lnTo>
                    <a:pt x="612" y="455"/>
                  </a:lnTo>
                  <a:lnTo>
                    <a:pt x="609" y="454"/>
                  </a:lnTo>
                  <a:lnTo>
                    <a:pt x="607" y="453"/>
                  </a:lnTo>
                  <a:lnTo>
                    <a:pt x="604" y="452"/>
                  </a:lnTo>
                  <a:lnTo>
                    <a:pt x="598" y="449"/>
                  </a:lnTo>
                  <a:lnTo>
                    <a:pt x="595" y="448"/>
                  </a:lnTo>
                  <a:lnTo>
                    <a:pt x="594" y="447"/>
                  </a:lnTo>
                  <a:lnTo>
                    <a:pt x="593" y="447"/>
                  </a:lnTo>
                  <a:lnTo>
                    <a:pt x="592" y="447"/>
                  </a:lnTo>
                  <a:lnTo>
                    <a:pt x="591" y="447"/>
                  </a:lnTo>
                  <a:lnTo>
                    <a:pt x="590" y="448"/>
                  </a:lnTo>
                  <a:lnTo>
                    <a:pt x="589" y="449"/>
                  </a:lnTo>
                  <a:lnTo>
                    <a:pt x="588" y="450"/>
                  </a:lnTo>
                  <a:lnTo>
                    <a:pt x="587" y="452"/>
                  </a:lnTo>
                  <a:lnTo>
                    <a:pt x="586" y="455"/>
                  </a:lnTo>
                  <a:lnTo>
                    <a:pt x="584" y="462"/>
                  </a:lnTo>
                  <a:lnTo>
                    <a:pt x="582" y="467"/>
                  </a:lnTo>
                  <a:lnTo>
                    <a:pt x="579" y="472"/>
                  </a:lnTo>
                  <a:lnTo>
                    <a:pt x="576" y="479"/>
                  </a:lnTo>
                  <a:lnTo>
                    <a:pt x="574" y="482"/>
                  </a:lnTo>
                  <a:lnTo>
                    <a:pt x="572" y="484"/>
                  </a:lnTo>
                  <a:lnTo>
                    <a:pt x="570" y="485"/>
                  </a:lnTo>
                  <a:lnTo>
                    <a:pt x="568" y="487"/>
                  </a:lnTo>
                  <a:lnTo>
                    <a:pt x="567" y="487"/>
                  </a:lnTo>
                  <a:lnTo>
                    <a:pt x="565" y="488"/>
                  </a:lnTo>
                  <a:lnTo>
                    <a:pt x="562" y="489"/>
                  </a:lnTo>
                  <a:lnTo>
                    <a:pt x="559" y="489"/>
                  </a:lnTo>
                  <a:lnTo>
                    <a:pt x="551" y="490"/>
                  </a:lnTo>
                  <a:lnTo>
                    <a:pt x="544" y="490"/>
                  </a:lnTo>
                  <a:lnTo>
                    <a:pt x="539" y="491"/>
                  </a:lnTo>
                  <a:lnTo>
                    <a:pt x="534" y="492"/>
                  </a:lnTo>
                  <a:lnTo>
                    <a:pt x="529" y="493"/>
                  </a:lnTo>
                  <a:lnTo>
                    <a:pt x="524" y="495"/>
                  </a:lnTo>
                  <a:lnTo>
                    <a:pt x="519" y="497"/>
                  </a:lnTo>
                  <a:lnTo>
                    <a:pt x="509" y="502"/>
                  </a:lnTo>
                  <a:lnTo>
                    <a:pt x="506" y="504"/>
                  </a:lnTo>
                  <a:lnTo>
                    <a:pt x="503" y="505"/>
                  </a:lnTo>
                  <a:lnTo>
                    <a:pt x="501" y="505"/>
                  </a:lnTo>
                  <a:lnTo>
                    <a:pt x="499" y="505"/>
                  </a:lnTo>
                  <a:lnTo>
                    <a:pt x="492" y="506"/>
                  </a:lnTo>
                  <a:lnTo>
                    <a:pt x="488" y="506"/>
                  </a:lnTo>
                  <a:lnTo>
                    <a:pt x="487" y="506"/>
                  </a:lnTo>
                  <a:lnTo>
                    <a:pt x="486" y="506"/>
                  </a:lnTo>
                  <a:lnTo>
                    <a:pt x="484" y="505"/>
                  </a:lnTo>
                  <a:lnTo>
                    <a:pt x="483" y="505"/>
                  </a:lnTo>
                  <a:lnTo>
                    <a:pt x="482" y="504"/>
                  </a:lnTo>
                  <a:lnTo>
                    <a:pt x="482" y="503"/>
                  </a:lnTo>
                  <a:lnTo>
                    <a:pt x="481" y="502"/>
                  </a:lnTo>
                  <a:lnTo>
                    <a:pt x="480" y="500"/>
                  </a:lnTo>
                  <a:lnTo>
                    <a:pt x="480" y="498"/>
                  </a:lnTo>
                  <a:lnTo>
                    <a:pt x="480" y="495"/>
                  </a:lnTo>
                  <a:lnTo>
                    <a:pt x="481" y="485"/>
                  </a:lnTo>
                  <a:lnTo>
                    <a:pt x="481" y="482"/>
                  </a:lnTo>
                  <a:lnTo>
                    <a:pt x="480" y="480"/>
                  </a:lnTo>
                  <a:lnTo>
                    <a:pt x="480" y="477"/>
                  </a:lnTo>
                  <a:lnTo>
                    <a:pt x="480" y="475"/>
                  </a:lnTo>
                  <a:lnTo>
                    <a:pt x="478" y="468"/>
                  </a:lnTo>
                  <a:lnTo>
                    <a:pt x="477" y="465"/>
                  </a:lnTo>
                  <a:lnTo>
                    <a:pt x="475" y="457"/>
                  </a:lnTo>
                  <a:lnTo>
                    <a:pt x="472" y="451"/>
                  </a:lnTo>
                  <a:lnTo>
                    <a:pt x="471" y="447"/>
                  </a:lnTo>
                  <a:lnTo>
                    <a:pt x="470" y="445"/>
                  </a:lnTo>
                  <a:lnTo>
                    <a:pt x="468" y="443"/>
                  </a:lnTo>
                  <a:lnTo>
                    <a:pt x="467" y="442"/>
                  </a:lnTo>
                  <a:lnTo>
                    <a:pt x="465" y="440"/>
                  </a:lnTo>
                  <a:lnTo>
                    <a:pt x="461" y="438"/>
                  </a:lnTo>
                  <a:lnTo>
                    <a:pt x="457" y="437"/>
                  </a:lnTo>
                  <a:lnTo>
                    <a:pt x="454" y="435"/>
                  </a:lnTo>
                  <a:lnTo>
                    <a:pt x="450" y="435"/>
                  </a:lnTo>
                  <a:lnTo>
                    <a:pt x="445" y="434"/>
                  </a:lnTo>
                  <a:lnTo>
                    <a:pt x="438" y="434"/>
                  </a:lnTo>
                  <a:lnTo>
                    <a:pt x="434" y="433"/>
                  </a:lnTo>
                  <a:lnTo>
                    <a:pt x="425" y="434"/>
                  </a:lnTo>
                  <a:lnTo>
                    <a:pt x="422" y="433"/>
                  </a:lnTo>
                  <a:lnTo>
                    <a:pt x="415" y="432"/>
                  </a:lnTo>
                  <a:lnTo>
                    <a:pt x="412" y="432"/>
                  </a:lnTo>
                  <a:lnTo>
                    <a:pt x="409" y="431"/>
                  </a:lnTo>
                  <a:lnTo>
                    <a:pt x="405" y="430"/>
                  </a:lnTo>
                  <a:lnTo>
                    <a:pt x="403" y="430"/>
                  </a:lnTo>
                  <a:lnTo>
                    <a:pt x="400" y="428"/>
                  </a:lnTo>
                  <a:lnTo>
                    <a:pt x="398" y="427"/>
                  </a:lnTo>
                  <a:lnTo>
                    <a:pt x="396" y="426"/>
                  </a:lnTo>
                  <a:lnTo>
                    <a:pt x="395" y="425"/>
                  </a:lnTo>
                  <a:lnTo>
                    <a:pt x="389" y="419"/>
                  </a:lnTo>
                  <a:lnTo>
                    <a:pt x="386" y="417"/>
                  </a:lnTo>
                  <a:lnTo>
                    <a:pt x="385" y="416"/>
                  </a:lnTo>
                  <a:lnTo>
                    <a:pt x="383" y="415"/>
                  </a:lnTo>
                  <a:lnTo>
                    <a:pt x="382" y="414"/>
                  </a:lnTo>
                  <a:lnTo>
                    <a:pt x="380" y="413"/>
                  </a:lnTo>
                  <a:lnTo>
                    <a:pt x="377" y="412"/>
                  </a:lnTo>
                  <a:lnTo>
                    <a:pt x="375" y="412"/>
                  </a:lnTo>
                  <a:lnTo>
                    <a:pt x="367" y="411"/>
                  </a:lnTo>
                  <a:lnTo>
                    <a:pt x="358" y="409"/>
                  </a:lnTo>
                  <a:lnTo>
                    <a:pt x="354" y="408"/>
                  </a:lnTo>
                  <a:lnTo>
                    <a:pt x="351" y="408"/>
                  </a:lnTo>
                  <a:lnTo>
                    <a:pt x="349" y="408"/>
                  </a:lnTo>
                  <a:lnTo>
                    <a:pt x="346" y="408"/>
                  </a:lnTo>
                  <a:lnTo>
                    <a:pt x="343" y="409"/>
                  </a:lnTo>
                  <a:lnTo>
                    <a:pt x="341" y="410"/>
                  </a:lnTo>
                  <a:lnTo>
                    <a:pt x="338" y="411"/>
                  </a:lnTo>
                  <a:lnTo>
                    <a:pt x="335" y="412"/>
                  </a:lnTo>
                  <a:lnTo>
                    <a:pt x="334" y="414"/>
                  </a:lnTo>
                  <a:lnTo>
                    <a:pt x="332" y="415"/>
                  </a:lnTo>
                  <a:lnTo>
                    <a:pt x="331" y="416"/>
                  </a:lnTo>
                  <a:lnTo>
                    <a:pt x="330" y="417"/>
                  </a:lnTo>
                  <a:lnTo>
                    <a:pt x="330" y="418"/>
                  </a:lnTo>
                  <a:lnTo>
                    <a:pt x="329" y="420"/>
                  </a:lnTo>
                  <a:lnTo>
                    <a:pt x="328" y="422"/>
                  </a:lnTo>
                  <a:lnTo>
                    <a:pt x="327" y="427"/>
                  </a:lnTo>
                  <a:lnTo>
                    <a:pt x="326" y="431"/>
                  </a:lnTo>
                  <a:lnTo>
                    <a:pt x="325" y="435"/>
                  </a:lnTo>
                  <a:lnTo>
                    <a:pt x="324" y="438"/>
                  </a:lnTo>
                  <a:lnTo>
                    <a:pt x="322" y="442"/>
                  </a:lnTo>
                  <a:lnTo>
                    <a:pt x="317" y="452"/>
                  </a:lnTo>
                  <a:lnTo>
                    <a:pt x="316" y="455"/>
                  </a:lnTo>
                  <a:lnTo>
                    <a:pt x="315" y="459"/>
                  </a:lnTo>
                  <a:lnTo>
                    <a:pt x="313" y="462"/>
                  </a:lnTo>
                  <a:lnTo>
                    <a:pt x="312" y="465"/>
                  </a:lnTo>
                  <a:lnTo>
                    <a:pt x="312" y="469"/>
                  </a:lnTo>
                  <a:lnTo>
                    <a:pt x="312" y="472"/>
                  </a:lnTo>
                  <a:lnTo>
                    <a:pt x="312" y="477"/>
                  </a:lnTo>
                  <a:lnTo>
                    <a:pt x="311" y="482"/>
                  </a:lnTo>
                  <a:lnTo>
                    <a:pt x="312" y="489"/>
                  </a:lnTo>
                  <a:lnTo>
                    <a:pt x="312" y="494"/>
                  </a:lnTo>
                  <a:lnTo>
                    <a:pt x="313" y="503"/>
                  </a:lnTo>
                  <a:lnTo>
                    <a:pt x="315" y="516"/>
                  </a:lnTo>
                  <a:lnTo>
                    <a:pt x="316" y="527"/>
                  </a:lnTo>
                  <a:lnTo>
                    <a:pt x="316" y="531"/>
                  </a:lnTo>
                  <a:lnTo>
                    <a:pt x="320" y="548"/>
                  </a:lnTo>
                  <a:lnTo>
                    <a:pt x="320" y="553"/>
                  </a:lnTo>
                  <a:lnTo>
                    <a:pt x="320" y="557"/>
                  </a:lnTo>
                  <a:lnTo>
                    <a:pt x="321" y="561"/>
                  </a:lnTo>
                  <a:lnTo>
                    <a:pt x="321" y="565"/>
                  </a:lnTo>
                  <a:lnTo>
                    <a:pt x="320" y="569"/>
                  </a:lnTo>
                  <a:lnTo>
                    <a:pt x="320" y="574"/>
                  </a:lnTo>
                  <a:lnTo>
                    <a:pt x="319" y="581"/>
                  </a:lnTo>
                  <a:lnTo>
                    <a:pt x="315" y="598"/>
                  </a:lnTo>
                  <a:lnTo>
                    <a:pt x="313" y="602"/>
                  </a:lnTo>
                  <a:lnTo>
                    <a:pt x="312" y="607"/>
                  </a:lnTo>
                  <a:lnTo>
                    <a:pt x="311" y="610"/>
                  </a:lnTo>
                  <a:lnTo>
                    <a:pt x="310" y="615"/>
                  </a:lnTo>
                  <a:lnTo>
                    <a:pt x="310" y="620"/>
                  </a:lnTo>
                  <a:lnTo>
                    <a:pt x="309" y="625"/>
                  </a:lnTo>
                  <a:lnTo>
                    <a:pt x="309" y="630"/>
                  </a:lnTo>
                  <a:lnTo>
                    <a:pt x="310" y="640"/>
                  </a:lnTo>
                  <a:lnTo>
                    <a:pt x="310" y="643"/>
                  </a:lnTo>
                  <a:lnTo>
                    <a:pt x="310" y="646"/>
                  </a:lnTo>
                  <a:lnTo>
                    <a:pt x="309" y="648"/>
                  </a:lnTo>
                  <a:lnTo>
                    <a:pt x="308" y="650"/>
                  </a:lnTo>
                  <a:lnTo>
                    <a:pt x="305" y="657"/>
                  </a:lnTo>
                  <a:lnTo>
                    <a:pt x="304" y="662"/>
                  </a:lnTo>
                  <a:lnTo>
                    <a:pt x="300" y="675"/>
                  </a:lnTo>
                  <a:lnTo>
                    <a:pt x="297" y="685"/>
                  </a:lnTo>
                  <a:lnTo>
                    <a:pt x="295" y="689"/>
                  </a:lnTo>
                  <a:lnTo>
                    <a:pt x="295" y="694"/>
                  </a:lnTo>
                  <a:lnTo>
                    <a:pt x="294" y="699"/>
                  </a:lnTo>
                  <a:lnTo>
                    <a:pt x="293" y="705"/>
                  </a:lnTo>
                  <a:lnTo>
                    <a:pt x="292" y="710"/>
                  </a:lnTo>
                  <a:lnTo>
                    <a:pt x="292" y="714"/>
                  </a:lnTo>
                  <a:lnTo>
                    <a:pt x="293" y="717"/>
                  </a:lnTo>
                  <a:lnTo>
                    <a:pt x="294" y="719"/>
                  </a:lnTo>
                  <a:lnTo>
                    <a:pt x="295" y="722"/>
                  </a:lnTo>
                  <a:lnTo>
                    <a:pt x="295" y="724"/>
                  </a:lnTo>
                  <a:lnTo>
                    <a:pt x="297" y="726"/>
                  </a:lnTo>
                  <a:lnTo>
                    <a:pt x="301" y="732"/>
                  </a:lnTo>
                  <a:lnTo>
                    <a:pt x="303" y="735"/>
                  </a:lnTo>
                  <a:lnTo>
                    <a:pt x="304" y="737"/>
                  </a:lnTo>
                  <a:lnTo>
                    <a:pt x="305" y="739"/>
                  </a:lnTo>
                  <a:lnTo>
                    <a:pt x="305" y="742"/>
                  </a:lnTo>
                  <a:lnTo>
                    <a:pt x="306" y="744"/>
                  </a:lnTo>
                  <a:lnTo>
                    <a:pt x="305" y="746"/>
                  </a:lnTo>
                  <a:lnTo>
                    <a:pt x="305" y="748"/>
                  </a:lnTo>
                  <a:lnTo>
                    <a:pt x="304" y="750"/>
                  </a:lnTo>
                  <a:lnTo>
                    <a:pt x="302" y="753"/>
                  </a:lnTo>
                  <a:lnTo>
                    <a:pt x="301" y="755"/>
                  </a:lnTo>
                  <a:lnTo>
                    <a:pt x="298" y="757"/>
                  </a:lnTo>
                  <a:lnTo>
                    <a:pt x="296" y="759"/>
                  </a:lnTo>
                  <a:lnTo>
                    <a:pt x="293" y="760"/>
                  </a:lnTo>
                  <a:lnTo>
                    <a:pt x="291" y="761"/>
                  </a:lnTo>
                  <a:lnTo>
                    <a:pt x="288" y="761"/>
                  </a:lnTo>
                  <a:lnTo>
                    <a:pt x="285" y="761"/>
                  </a:lnTo>
                  <a:lnTo>
                    <a:pt x="281" y="761"/>
                  </a:lnTo>
                  <a:lnTo>
                    <a:pt x="277" y="760"/>
                  </a:lnTo>
                  <a:lnTo>
                    <a:pt x="272" y="759"/>
                  </a:lnTo>
                  <a:lnTo>
                    <a:pt x="267" y="758"/>
                  </a:lnTo>
                  <a:lnTo>
                    <a:pt x="253" y="754"/>
                  </a:lnTo>
                  <a:lnTo>
                    <a:pt x="243" y="751"/>
                  </a:lnTo>
                  <a:lnTo>
                    <a:pt x="240" y="750"/>
                  </a:lnTo>
                  <a:lnTo>
                    <a:pt x="241" y="750"/>
                  </a:lnTo>
                  <a:lnTo>
                    <a:pt x="241" y="749"/>
                  </a:lnTo>
                  <a:lnTo>
                    <a:pt x="242" y="749"/>
                  </a:lnTo>
                  <a:lnTo>
                    <a:pt x="242" y="748"/>
                  </a:lnTo>
                  <a:lnTo>
                    <a:pt x="243" y="746"/>
                  </a:lnTo>
                  <a:lnTo>
                    <a:pt x="243" y="743"/>
                  </a:lnTo>
                  <a:lnTo>
                    <a:pt x="241" y="739"/>
                  </a:lnTo>
                  <a:lnTo>
                    <a:pt x="239" y="730"/>
                  </a:lnTo>
                  <a:lnTo>
                    <a:pt x="238" y="725"/>
                  </a:lnTo>
                  <a:lnTo>
                    <a:pt x="237" y="719"/>
                  </a:lnTo>
                  <a:lnTo>
                    <a:pt x="235" y="709"/>
                  </a:lnTo>
                  <a:lnTo>
                    <a:pt x="235" y="707"/>
                  </a:lnTo>
                  <a:lnTo>
                    <a:pt x="235" y="704"/>
                  </a:lnTo>
                  <a:lnTo>
                    <a:pt x="234" y="701"/>
                  </a:lnTo>
                  <a:lnTo>
                    <a:pt x="232" y="697"/>
                  </a:lnTo>
                  <a:lnTo>
                    <a:pt x="225" y="684"/>
                  </a:lnTo>
                  <a:lnTo>
                    <a:pt x="224" y="679"/>
                  </a:lnTo>
                  <a:lnTo>
                    <a:pt x="223" y="677"/>
                  </a:lnTo>
                  <a:lnTo>
                    <a:pt x="222" y="674"/>
                  </a:lnTo>
                  <a:lnTo>
                    <a:pt x="220" y="666"/>
                  </a:lnTo>
                  <a:lnTo>
                    <a:pt x="220" y="662"/>
                  </a:lnTo>
                  <a:lnTo>
                    <a:pt x="218" y="658"/>
                  </a:lnTo>
                  <a:lnTo>
                    <a:pt x="218" y="656"/>
                  </a:lnTo>
                  <a:lnTo>
                    <a:pt x="217" y="654"/>
                  </a:lnTo>
                  <a:lnTo>
                    <a:pt x="215" y="652"/>
                  </a:lnTo>
                  <a:lnTo>
                    <a:pt x="213" y="650"/>
                  </a:lnTo>
                  <a:lnTo>
                    <a:pt x="212" y="649"/>
                  </a:lnTo>
                  <a:lnTo>
                    <a:pt x="210" y="648"/>
                  </a:lnTo>
                  <a:lnTo>
                    <a:pt x="208" y="647"/>
                  </a:lnTo>
                  <a:lnTo>
                    <a:pt x="206" y="647"/>
                  </a:lnTo>
                  <a:lnTo>
                    <a:pt x="195" y="644"/>
                  </a:lnTo>
                  <a:lnTo>
                    <a:pt x="192" y="643"/>
                  </a:lnTo>
                  <a:lnTo>
                    <a:pt x="188" y="642"/>
                  </a:lnTo>
                  <a:lnTo>
                    <a:pt x="183" y="639"/>
                  </a:lnTo>
                  <a:lnTo>
                    <a:pt x="180" y="638"/>
                  </a:lnTo>
                  <a:lnTo>
                    <a:pt x="176" y="636"/>
                  </a:lnTo>
                  <a:lnTo>
                    <a:pt x="173" y="634"/>
                  </a:lnTo>
                  <a:lnTo>
                    <a:pt x="170" y="632"/>
                  </a:lnTo>
                  <a:lnTo>
                    <a:pt x="168" y="630"/>
                  </a:lnTo>
                  <a:lnTo>
                    <a:pt x="165" y="628"/>
                  </a:lnTo>
                  <a:lnTo>
                    <a:pt x="163" y="626"/>
                  </a:lnTo>
                  <a:lnTo>
                    <a:pt x="160" y="623"/>
                  </a:lnTo>
                  <a:lnTo>
                    <a:pt x="158" y="620"/>
                  </a:lnTo>
                  <a:lnTo>
                    <a:pt x="156" y="617"/>
                  </a:lnTo>
                  <a:lnTo>
                    <a:pt x="154" y="615"/>
                  </a:lnTo>
                  <a:lnTo>
                    <a:pt x="152" y="611"/>
                  </a:lnTo>
                  <a:lnTo>
                    <a:pt x="150" y="608"/>
                  </a:lnTo>
                  <a:lnTo>
                    <a:pt x="149" y="605"/>
                  </a:lnTo>
                  <a:lnTo>
                    <a:pt x="148" y="603"/>
                  </a:lnTo>
                  <a:lnTo>
                    <a:pt x="147" y="599"/>
                  </a:lnTo>
                  <a:lnTo>
                    <a:pt x="145" y="590"/>
                  </a:lnTo>
                  <a:lnTo>
                    <a:pt x="145" y="585"/>
                  </a:lnTo>
                  <a:lnTo>
                    <a:pt x="143" y="582"/>
                  </a:lnTo>
                  <a:lnTo>
                    <a:pt x="139" y="575"/>
                  </a:lnTo>
                  <a:lnTo>
                    <a:pt x="138" y="570"/>
                  </a:lnTo>
                  <a:lnTo>
                    <a:pt x="135" y="563"/>
                  </a:lnTo>
                  <a:lnTo>
                    <a:pt x="134" y="557"/>
                  </a:lnTo>
                  <a:lnTo>
                    <a:pt x="133" y="555"/>
                  </a:lnTo>
                  <a:lnTo>
                    <a:pt x="133" y="552"/>
                  </a:lnTo>
                  <a:lnTo>
                    <a:pt x="132" y="550"/>
                  </a:lnTo>
                  <a:lnTo>
                    <a:pt x="131" y="550"/>
                  </a:lnTo>
                  <a:lnTo>
                    <a:pt x="130" y="549"/>
                  </a:lnTo>
                  <a:lnTo>
                    <a:pt x="128" y="547"/>
                  </a:lnTo>
                  <a:lnTo>
                    <a:pt x="126" y="546"/>
                  </a:lnTo>
                  <a:lnTo>
                    <a:pt x="118" y="542"/>
                  </a:lnTo>
                  <a:lnTo>
                    <a:pt x="116" y="541"/>
                  </a:lnTo>
                  <a:lnTo>
                    <a:pt x="115" y="540"/>
                  </a:lnTo>
                  <a:lnTo>
                    <a:pt x="113" y="539"/>
                  </a:lnTo>
                  <a:lnTo>
                    <a:pt x="113" y="537"/>
                  </a:lnTo>
                  <a:lnTo>
                    <a:pt x="112" y="536"/>
                  </a:lnTo>
                  <a:lnTo>
                    <a:pt x="111" y="535"/>
                  </a:lnTo>
                  <a:lnTo>
                    <a:pt x="110" y="532"/>
                  </a:lnTo>
                  <a:lnTo>
                    <a:pt x="111" y="530"/>
                  </a:lnTo>
                  <a:lnTo>
                    <a:pt x="112" y="527"/>
                  </a:lnTo>
                  <a:lnTo>
                    <a:pt x="113" y="525"/>
                  </a:lnTo>
                  <a:lnTo>
                    <a:pt x="114" y="522"/>
                  </a:lnTo>
                  <a:lnTo>
                    <a:pt x="115" y="521"/>
                  </a:lnTo>
                  <a:lnTo>
                    <a:pt x="118" y="519"/>
                  </a:lnTo>
                  <a:lnTo>
                    <a:pt x="123" y="515"/>
                  </a:lnTo>
                  <a:lnTo>
                    <a:pt x="124" y="514"/>
                  </a:lnTo>
                  <a:lnTo>
                    <a:pt x="125" y="513"/>
                  </a:lnTo>
                  <a:lnTo>
                    <a:pt x="125" y="511"/>
                  </a:lnTo>
                  <a:lnTo>
                    <a:pt x="126" y="509"/>
                  </a:lnTo>
                  <a:lnTo>
                    <a:pt x="126" y="507"/>
                  </a:lnTo>
                  <a:lnTo>
                    <a:pt x="126" y="506"/>
                  </a:lnTo>
                  <a:lnTo>
                    <a:pt x="126" y="505"/>
                  </a:lnTo>
                  <a:lnTo>
                    <a:pt x="125" y="505"/>
                  </a:lnTo>
                  <a:lnTo>
                    <a:pt x="125" y="504"/>
                  </a:lnTo>
                  <a:lnTo>
                    <a:pt x="123" y="503"/>
                  </a:lnTo>
                  <a:lnTo>
                    <a:pt x="122" y="503"/>
                  </a:lnTo>
                  <a:lnTo>
                    <a:pt x="120" y="503"/>
                  </a:lnTo>
                  <a:lnTo>
                    <a:pt x="118" y="503"/>
                  </a:lnTo>
                  <a:lnTo>
                    <a:pt x="110" y="505"/>
                  </a:lnTo>
                  <a:lnTo>
                    <a:pt x="107" y="505"/>
                  </a:lnTo>
                  <a:lnTo>
                    <a:pt x="104" y="505"/>
                  </a:lnTo>
                  <a:lnTo>
                    <a:pt x="103" y="504"/>
                  </a:lnTo>
                  <a:lnTo>
                    <a:pt x="101" y="503"/>
                  </a:lnTo>
                  <a:lnTo>
                    <a:pt x="99" y="502"/>
                  </a:lnTo>
                  <a:lnTo>
                    <a:pt x="97" y="502"/>
                  </a:lnTo>
                  <a:lnTo>
                    <a:pt x="95" y="500"/>
                  </a:lnTo>
                  <a:lnTo>
                    <a:pt x="93" y="499"/>
                  </a:lnTo>
                  <a:lnTo>
                    <a:pt x="90" y="497"/>
                  </a:lnTo>
                  <a:lnTo>
                    <a:pt x="88" y="495"/>
                  </a:lnTo>
                  <a:lnTo>
                    <a:pt x="86" y="492"/>
                  </a:lnTo>
                  <a:lnTo>
                    <a:pt x="85" y="490"/>
                  </a:lnTo>
                  <a:lnTo>
                    <a:pt x="83" y="487"/>
                  </a:lnTo>
                  <a:lnTo>
                    <a:pt x="82" y="485"/>
                  </a:lnTo>
                  <a:lnTo>
                    <a:pt x="81" y="482"/>
                  </a:lnTo>
                  <a:lnTo>
                    <a:pt x="80" y="480"/>
                  </a:lnTo>
                  <a:lnTo>
                    <a:pt x="81" y="477"/>
                  </a:lnTo>
                  <a:lnTo>
                    <a:pt x="81" y="475"/>
                  </a:lnTo>
                  <a:lnTo>
                    <a:pt x="83" y="461"/>
                  </a:lnTo>
                  <a:lnTo>
                    <a:pt x="84" y="455"/>
                  </a:lnTo>
                  <a:lnTo>
                    <a:pt x="84" y="453"/>
                  </a:lnTo>
                  <a:lnTo>
                    <a:pt x="84" y="452"/>
                  </a:lnTo>
                  <a:lnTo>
                    <a:pt x="83" y="450"/>
                  </a:lnTo>
                  <a:lnTo>
                    <a:pt x="83" y="449"/>
                  </a:lnTo>
                  <a:lnTo>
                    <a:pt x="82" y="447"/>
                  </a:lnTo>
                  <a:lnTo>
                    <a:pt x="80" y="445"/>
                  </a:lnTo>
                  <a:lnTo>
                    <a:pt x="78" y="444"/>
                  </a:lnTo>
                  <a:lnTo>
                    <a:pt x="73" y="440"/>
                  </a:lnTo>
                  <a:lnTo>
                    <a:pt x="72" y="440"/>
                  </a:lnTo>
                  <a:lnTo>
                    <a:pt x="70" y="438"/>
                  </a:lnTo>
                  <a:lnTo>
                    <a:pt x="67" y="434"/>
                  </a:lnTo>
                  <a:lnTo>
                    <a:pt x="65" y="432"/>
                  </a:lnTo>
                  <a:lnTo>
                    <a:pt x="64" y="432"/>
                  </a:lnTo>
                  <a:lnTo>
                    <a:pt x="63" y="431"/>
                  </a:lnTo>
                  <a:lnTo>
                    <a:pt x="55" y="429"/>
                  </a:lnTo>
                  <a:lnTo>
                    <a:pt x="53" y="427"/>
                  </a:lnTo>
                  <a:lnTo>
                    <a:pt x="50" y="426"/>
                  </a:lnTo>
                  <a:lnTo>
                    <a:pt x="48" y="425"/>
                  </a:lnTo>
                  <a:lnTo>
                    <a:pt x="48" y="424"/>
                  </a:lnTo>
                  <a:lnTo>
                    <a:pt x="47" y="422"/>
                  </a:lnTo>
                  <a:lnTo>
                    <a:pt x="46" y="421"/>
                  </a:lnTo>
                  <a:lnTo>
                    <a:pt x="45" y="419"/>
                  </a:lnTo>
                  <a:lnTo>
                    <a:pt x="43" y="411"/>
                  </a:lnTo>
                  <a:lnTo>
                    <a:pt x="43" y="409"/>
                  </a:lnTo>
                  <a:lnTo>
                    <a:pt x="41" y="407"/>
                  </a:lnTo>
                  <a:lnTo>
                    <a:pt x="40" y="404"/>
                  </a:lnTo>
                  <a:lnTo>
                    <a:pt x="38" y="401"/>
                  </a:lnTo>
                  <a:lnTo>
                    <a:pt x="36" y="399"/>
                  </a:lnTo>
                  <a:lnTo>
                    <a:pt x="33" y="395"/>
                  </a:lnTo>
                  <a:lnTo>
                    <a:pt x="33" y="395"/>
                  </a:lnTo>
                  <a:lnTo>
                    <a:pt x="32" y="394"/>
                  </a:lnTo>
                  <a:lnTo>
                    <a:pt x="32" y="392"/>
                  </a:lnTo>
                  <a:lnTo>
                    <a:pt x="32" y="391"/>
                  </a:lnTo>
                  <a:lnTo>
                    <a:pt x="33" y="390"/>
                  </a:lnTo>
                  <a:lnTo>
                    <a:pt x="33" y="388"/>
                  </a:lnTo>
                  <a:lnTo>
                    <a:pt x="39" y="380"/>
                  </a:lnTo>
                  <a:lnTo>
                    <a:pt x="40" y="376"/>
                  </a:lnTo>
                  <a:lnTo>
                    <a:pt x="42" y="374"/>
                  </a:lnTo>
                  <a:lnTo>
                    <a:pt x="43" y="372"/>
                  </a:lnTo>
                  <a:lnTo>
                    <a:pt x="44" y="366"/>
                  </a:lnTo>
                  <a:lnTo>
                    <a:pt x="45" y="363"/>
                  </a:lnTo>
                  <a:lnTo>
                    <a:pt x="45" y="361"/>
                  </a:lnTo>
                  <a:lnTo>
                    <a:pt x="45" y="360"/>
                  </a:lnTo>
                  <a:lnTo>
                    <a:pt x="44" y="358"/>
                  </a:lnTo>
                  <a:lnTo>
                    <a:pt x="43" y="356"/>
                  </a:lnTo>
                  <a:lnTo>
                    <a:pt x="43" y="354"/>
                  </a:lnTo>
                  <a:lnTo>
                    <a:pt x="42" y="352"/>
                  </a:lnTo>
                  <a:lnTo>
                    <a:pt x="40" y="348"/>
                  </a:lnTo>
                  <a:lnTo>
                    <a:pt x="38" y="346"/>
                  </a:lnTo>
                  <a:lnTo>
                    <a:pt x="37" y="344"/>
                  </a:lnTo>
                  <a:lnTo>
                    <a:pt x="36" y="343"/>
                  </a:lnTo>
                  <a:lnTo>
                    <a:pt x="33" y="341"/>
                  </a:lnTo>
                  <a:lnTo>
                    <a:pt x="32" y="340"/>
                  </a:lnTo>
                  <a:lnTo>
                    <a:pt x="30" y="338"/>
                  </a:lnTo>
                  <a:lnTo>
                    <a:pt x="28" y="337"/>
                  </a:lnTo>
                  <a:lnTo>
                    <a:pt x="26" y="336"/>
                  </a:lnTo>
                  <a:lnTo>
                    <a:pt x="22" y="335"/>
                  </a:lnTo>
                  <a:lnTo>
                    <a:pt x="17" y="333"/>
                  </a:lnTo>
                  <a:lnTo>
                    <a:pt x="10" y="332"/>
                  </a:lnTo>
                  <a:lnTo>
                    <a:pt x="8" y="331"/>
                  </a:lnTo>
                  <a:lnTo>
                    <a:pt x="6" y="330"/>
                  </a:lnTo>
                  <a:lnTo>
                    <a:pt x="4" y="330"/>
                  </a:lnTo>
                  <a:lnTo>
                    <a:pt x="3" y="329"/>
                  </a:lnTo>
                  <a:lnTo>
                    <a:pt x="2" y="328"/>
                  </a:lnTo>
                  <a:lnTo>
                    <a:pt x="1" y="326"/>
                  </a:lnTo>
                  <a:lnTo>
                    <a:pt x="1" y="325"/>
                  </a:lnTo>
                  <a:lnTo>
                    <a:pt x="0" y="324"/>
                  </a:lnTo>
                  <a:lnTo>
                    <a:pt x="0" y="321"/>
                  </a:lnTo>
                  <a:lnTo>
                    <a:pt x="1" y="320"/>
                  </a:lnTo>
                  <a:lnTo>
                    <a:pt x="1" y="318"/>
                  </a:lnTo>
                  <a:lnTo>
                    <a:pt x="1" y="317"/>
                  </a:lnTo>
                  <a:lnTo>
                    <a:pt x="2" y="315"/>
                  </a:lnTo>
                  <a:lnTo>
                    <a:pt x="6" y="310"/>
                  </a:lnTo>
                  <a:lnTo>
                    <a:pt x="7" y="309"/>
                  </a:lnTo>
                  <a:lnTo>
                    <a:pt x="8" y="307"/>
                  </a:lnTo>
                  <a:lnTo>
                    <a:pt x="9" y="305"/>
                  </a:lnTo>
                  <a:lnTo>
                    <a:pt x="10" y="302"/>
                  </a:lnTo>
                  <a:lnTo>
                    <a:pt x="11" y="293"/>
                  </a:lnTo>
                  <a:lnTo>
                    <a:pt x="11" y="286"/>
                  </a:lnTo>
                  <a:lnTo>
                    <a:pt x="11" y="283"/>
                  </a:lnTo>
                  <a:lnTo>
                    <a:pt x="11" y="280"/>
                  </a:lnTo>
                  <a:lnTo>
                    <a:pt x="13" y="278"/>
                  </a:lnTo>
                  <a:lnTo>
                    <a:pt x="14" y="275"/>
                  </a:lnTo>
                  <a:lnTo>
                    <a:pt x="16" y="273"/>
                  </a:lnTo>
                  <a:lnTo>
                    <a:pt x="17" y="271"/>
                  </a:lnTo>
                  <a:lnTo>
                    <a:pt x="19" y="270"/>
                  </a:lnTo>
                  <a:lnTo>
                    <a:pt x="21" y="270"/>
                  </a:lnTo>
                  <a:lnTo>
                    <a:pt x="23" y="269"/>
                  </a:lnTo>
                  <a:lnTo>
                    <a:pt x="24" y="269"/>
                  </a:lnTo>
                  <a:lnTo>
                    <a:pt x="31" y="269"/>
                  </a:lnTo>
                  <a:lnTo>
                    <a:pt x="32" y="269"/>
                  </a:lnTo>
                  <a:lnTo>
                    <a:pt x="33" y="268"/>
                  </a:lnTo>
                  <a:lnTo>
                    <a:pt x="35" y="268"/>
                  </a:lnTo>
                  <a:lnTo>
                    <a:pt x="36" y="267"/>
                  </a:lnTo>
                  <a:lnTo>
                    <a:pt x="38" y="265"/>
                  </a:lnTo>
                  <a:lnTo>
                    <a:pt x="38" y="264"/>
                  </a:lnTo>
                  <a:lnTo>
                    <a:pt x="40" y="261"/>
                  </a:lnTo>
                  <a:lnTo>
                    <a:pt x="41" y="258"/>
                  </a:lnTo>
                  <a:lnTo>
                    <a:pt x="43" y="254"/>
                  </a:lnTo>
                  <a:lnTo>
                    <a:pt x="43" y="250"/>
                  </a:lnTo>
                  <a:lnTo>
                    <a:pt x="44" y="246"/>
                  </a:lnTo>
                  <a:lnTo>
                    <a:pt x="45" y="241"/>
                  </a:lnTo>
                  <a:lnTo>
                    <a:pt x="45" y="237"/>
                  </a:lnTo>
                  <a:lnTo>
                    <a:pt x="45" y="230"/>
                  </a:lnTo>
                  <a:lnTo>
                    <a:pt x="45" y="228"/>
                  </a:lnTo>
                  <a:lnTo>
                    <a:pt x="46" y="228"/>
                  </a:lnTo>
                  <a:lnTo>
                    <a:pt x="47" y="228"/>
                  </a:lnTo>
                  <a:lnTo>
                    <a:pt x="52" y="227"/>
                  </a:lnTo>
                  <a:lnTo>
                    <a:pt x="54" y="227"/>
                  </a:lnTo>
                  <a:lnTo>
                    <a:pt x="56" y="227"/>
                  </a:lnTo>
                  <a:lnTo>
                    <a:pt x="58" y="227"/>
                  </a:lnTo>
                  <a:lnTo>
                    <a:pt x="61" y="228"/>
                  </a:lnTo>
                  <a:lnTo>
                    <a:pt x="64" y="228"/>
                  </a:lnTo>
                  <a:lnTo>
                    <a:pt x="67" y="229"/>
                  </a:lnTo>
                  <a:lnTo>
                    <a:pt x="69" y="230"/>
                  </a:lnTo>
                  <a:lnTo>
                    <a:pt x="72" y="233"/>
                  </a:lnTo>
                  <a:lnTo>
                    <a:pt x="74" y="234"/>
                  </a:lnTo>
                  <a:lnTo>
                    <a:pt x="77" y="236"/>
                  </a:lnTo>
                  <a:lnTo>
                    <a:pt x="79" y="238"/>
                  </a:lnTo>
                  <a:lnTo>
                    <a:pt x="82" y="243"/>
                  </a:lnTo>
                  <a:lnTo>
                    <a:pt x="88" y="250"/>
                  </a:lnTo>
                  <a:lnTo>
                    <a:pt x="90" y="253"/>
                  </a:lnTo>
                  <a:lnTo>
                    <a:pt x="92" y="255"/>
                  </a:lnTo>
                  <a:lnTo>
                    <a:pt x="93" y="257"/>
                  </a:lnTo>
                  <a:lnTo>
                    <a:pt x="95" y="258"/>
                  </a:lnTo>
                  <a:lnTo>
                    <a:pt x="97" y="259"/>
                  </a:lnTo>
                  <a:lnTo>
                    <a:pt x="98" y="260"/>
                  </a:lnTo>
                  <a:lnTo>
                    <a:pt x="101" y="260"/>
                  </a:lnTo>
                  <a:lnTo>
                    <a:pt x="103" y="260"/>
                  </a:lnTo>
                  <a:lnTo>
                    <a:pt x="105" y="260"/>
                  </a:lnTo>
                  <a:lnTo>
                    <a:pt x="108" y="260"/>
                  </a:lnTo>
                  <a:lnTo>
                    <a:pt x="110" y="260"/>
                  </a:lnTo>
                  <a:lnTo>
                    <a:pt x="113" y="260"/>
                  </a:lnTo>
                  <a:lnTo>
                    <a:pt x="119" y="258"/>
                  </a:lnTo>
                  <a:lnTo>
                    <a:pt x="123" y="257"/>
                  </a:lnTo>
                  <a:lnTo>
                    <a:pt x="125" y="257"/>
                  </a:lnTo>
                  <a:lnTo>
                    <a:pt x="128" y="257"/>
                  </a:lnTo>
                  <a:lnTo>
                    <a:pt x="130" y="257"/>
                  </a:lnTo>
                  <a:lnTo>
                    <a:pt x="132" y="257"/>
                  </a:lnTo>
                  <a:lnTo>
                    <a:pt x="134" y="258"/>
                  </a:lnTo>
                  <a:lnTo>
                    <a:pt x="137" y="258"/>
                  </a:lnTo>
                  <a:lnTo>
                    <a:pt x="139" y="259"/>
                  </a:lnTo>
                  <a:lnTo>
                    <a:pt x="140" y="260"/>
                  </a:lnTo>
                  <a:lnTo>
                    <a:pt x="143" y="261"/>
                  </a:lnTo>
                  <a:lnTo>
                    <a:pt x="145" y="263"/>
                  </a:lnTo>
                  <a:lnTo>
                    <a:pt x="153" y="268"/>
                  </a:lnTo>
                  <a:lnTo>
                    <a:pt x="155" y="269"/>
                  </a:lnTo>
                  <a:lnTo>
                    <a:pt x="156" y="270"/>
                  </a:lnTo>
                  <a:lnTo>
                    <a:pt x="158" y="270"/>
                  </a:lnTo>
                  <a:lnTo>
                    <a:pt x="160" y="270"/>
                  </a:lnTo>
                  <a:lnTo>
                    <a:pt x="161" y="270"/>
                  </a:lnTo>
                  <a:lnTo>
                    <a:pt x="162" y="269"/>
                  </a:lnTo>
                  <a:lnTo>
                    <a:pt x="163" y="268"/>
                  </a:lnTo>
                  <a:lnTo>
                    <a:pt x="163" y="268"/>
                  </a:lnTo>
                  <a:lnTo>
                    <a:pt x="163" y="267"/>
                  </a:lnTo>
                  <a:lnTo>
                    <a:pt x="163" y="265"/>
                  </a:lnTo>
                  <a:lnTo>
                    <a:pt x="163" y="264"/>
                  </a:lnTo>
                  <a:lnTo>
                    <a:pt x="162" y="263"/>
                  </a:lnTo>
                  <a:lnTo>
                    <a:pt x="160" y="261"/>
                  </a:lnTo>
                  <a:lnTo>
                    <a:pt x="160" y="260"/>
                  </a:lnTo>
                  <a:lnTo>
                    <a:pt x="153" y="255"/>
                  </a:lnTo>
                  <a:lnTo>
                    <a:pt x="146" y="248"/>
                  </a:lnTo>
                  <a:lnTo>
                    <a:pt x="143" y="245"/>
                  </a:lnTo>
                  <a:lnTo>
                    <a:pt x="139" y="240"/>
                  </a:lnTo>
                  <a:lnTo>
                    <a:pt x="136" y="236"/>
                  </a:lnTo>
                  <a:lnTo>
                    <a:pt x="135" y="234"/>
                  </a:lnTo>
                  <a:lnTo>
                    <a:pt x="134" y="232"/>
                  </a:lnTo>
                  <a:lnTo>
                    <a:pt x="133" y="230"/>
                  </a:lnTo>
                  <a:lnTo>
                    <a:pt x="132" y="226"/>
                  </a:lnTo>
                  <a:lnTo>
                    <a:pt x="131" y="224"/>
                  </a:lnTo>
                  <a:lnTo>
                    <a:pt x="131" y="223"/>
                  </a:lnTo>
                  <a:lnTo>
                    <a:pt x="130" y="220"/>
                  </a:lnTo>
                  <a:lnTo>
                    <a:pt x="131" y="217"/>
                  </a:lnTo>
                  <a:lnTo>
                    <a:pt x="132" y="214"/>
                  </a:lnTo>
                  <a:lnTo>
                    <a:pt x="133" y="212"/>
                  </a:lnTo>
                  <a:lnTo>
                    <a:pt x="135" y="209"/>
                  </a:lnTo>
                  <a:lnTo>
                    <a:pt x="137" y="205"/>
                  </a:lnTo>
                  <a:lnTo>
                    <a:pt x="145" y="197"/>
                  </a:lnTo>
                  <a:lnTo>
                    <a:pt x="147" y="195"/>
                  </a:lnTo>
                  <a:lnTo>
                    <a:pt x="148" y="193"/>
                  </a:lnTo>
                  <a:lnTo>
                    <a:pt x="148" y="190"/>
                  </a:lnTo>
                  <a:lnTo>
                    <a:pt x="148" y="188"/>
                  </a:lnTo>
                  <a:lnTo>
                    <a:pt x="148" y="186"/>
                  </a:lnTo>
                  <a:lnTo>
                    <a:pt x="148" y="183"/>
                  </a:lnTo>
                  <a:lnTo>
                    <a:pt x="147" y="182"/>
                  </a:lnTo>
                  <a:lnTo>
                    <a:pt x="146" y="180"/>
                  </a:lnTo>
                  <a:lnTo>
                    <a:pt x="145" y="179"/>
                  </a:lnTo>
                  <a:lnTo>
                    <a:pt x="143" y="178"/>
                  </a:lnTo>
                  <a:lnTo>
                    <a:pt x="140" y="175"/>
                  </a:lnTo>
                  <a:lnTo>
                    <a:pt x="135" y="172"/>
                  </a:lnTo>
                  <a:lnTo>
                    <a:pt x="133" y="171"/>
                  </a:lnTo>
                  <a:lnTo>
                    <a:pt x="128" y="168"/>
                  </a:lnTo>
                  <a:lnTo>
                    <a:pt x="125" y="166"/>
                  </a:lnTo>
                  <a:lnTo>
                    <a:pt x="124" y="165"/>
                  </a:lnTo>
                  <a:lnTo>
                    <a:pt x="122" y="163"/>
                  </a:lnTo>
                  <a:lnTo>
                    <a:pt x="120" y="161"/>
                  </a:lnTo>
                  <a:lnTo>
                    <a:pt x="119" y="159"/>
                  </a:lnTo>
                  <a:lnTo>
                    <a:pt x="116" y="155"/>
                  </a:lnTo>
                  <a:lnTo>
                    <a:pt x="114" y="150"/>
                  </a:lnTo>
                  <a:lnTo>
                    <a:pt x="112" y="145"/>
                  </a:lnTo>
                  <a:lnTo>
                    <a:pt x="110" y="142"/>
                  </a:lnTo>
                  <a:lnTo>
                    <a:pt x="108" y="133"/>
                  </a:lnTo>
                  <a:lnTo>
                    <a:pt x="108" y="129"/>
                  </a:lnTo>
                  <a:lnTo>
                    <a:pt x="108" y="127"/>
                  </a:lnTo>
                  <a:lnTo>
                    <a:pt x="108" y="126"/>
                  </a:lnTo>
                  <a:lnTo>
                    <a:pt x="108" y="124"/>
                  </a:lnTo>
                  <a:lnTo>
                    <a:pt x="108" y="123"/>
                  </a:lnTo>
                  <a:lnTo>
                    <a:pt x="108" y="121"/>
                  </a:lnTo>
                  <a:lnTo>
                    <a:pt x="109" y="120"/>
                  </a:lnTo>
                  <a:lnTo>
                    <a:pt x="110" y="118"/>
                  </a:lnTo>
                  <a:lnTo>
                    <a:pt x="112" y="118"/>
                  </a:lnTo>
                  <a:lnTo>
                    <a:pt x="113" y="117"/>
                  </a:lnTo>
                  <a:lnTo>
                    <a:pt x="115" y="117"/>
                  </a:lnTo>
                  <a:lnTo>
                    <a:pt x="116" y="116"/>
                  </a:lnTo>
                  <a:lnTo>
                    <a:pt x="118" y="116"/>
                  </a:lnTo>
                  <a:lnTo>
                    <a:pt x="120" y="116"/>
                  </a:lnTo>
                  <a:lnTo>
                    <a:pt x="122" y="117"/>
                  </a:lnTo>
                  <a:lnTo>
                    <a:pt x="124" y="118"/>
                  </a:lnTo>
                  <a:lnTo>
                    <a:pt x="130" y="120"/>
                  </a:lnTo>
                  <a:lnTo>
                    <a:pt x="135" y="121"/>
                  </a:lnTo>
                  <a:lnTo>
                    <a:pt x="139" y="123"/>
                  </a:lnTo>
                  <a:lnTo>
                    <a:pt x="143" y="123"/>
                  </a:lnTo>
                  <a:lnTo>
                    <a:pt x="148" y="124"/>
                  </a:lnTo>
                  <a:lnTo>
                    <a:pt x="151" y="124"/>
                  </a:lnTo>
                  <a:lnTo>
                    <a:pt x="155" y="124"/>
                  </a:lnTo>
                  <a:lnTo>
                    <a:pt x="158" y="123"/>
                  </a:lnTo>
                  <a:lnTo>
                    <a:pt x="173" y="120"/>
                  </a:lnTo>
                  <a:lnTo>
                    <a:pt x="177" y="118"/>
                  </a:lnTo>
                  <a:lnTo>
                    <a:pt x="181" y="117"/>
                  </a:lnTo>
                  <a:lnTo>
                    <a:pt x="188" y="113"/>
                  </a:lnTo>
                  <a:lnTo>
                    <a:pt x="191" y="112"/>
                  </a:lnTo>
                  <a:lnTo>
                    <a:pt x="199" y="107"/>
                  </a:lnTo>
                  <a:lnTo>
                    <a:pt x="206" y="103"/>
                  </a:lnTo>
                  <a:lnTo>
                    <a:pt x="208" y="101"/>
                  </a:lnTo>
                  <a:lnTo>
                    <a:pt x="210" y="100"/>
                  </a:lnTo>
                  <a:lnTo>
                    <a:pt x="211" y="98"/>
                  </a:lnTo>
                  <a:lnTo>
                    <a:pt x="212" y="97"/>
                  </a:lnTo>
                  <a:lnTo>
                    <a:pt x="213" y="95"/>
                  </a:lnTo>
                  <a:lnTo>
                    <a:pt x="213" y="92"/>
                  </a:lnTo>
                  <a:lnTo>
                    <a:pt x="215" y="81"/>
                  </a:lnTo>
                  <a:lnTo>
                    <a:pt x="216" y="76"/>
                  </a:lnTo>
                  <a:lnTo>
                    <a:pt x="217" y="73"/>
                  </a:lnTo>
                  <a:lnTo>
                    <a:pt x="219" y="67"/>
                  </a:lnTo>
                  <a:lnTo>
                    <a:pt x="220" y="64"/>
                  </a:lnTo>
                  <a:lnTo>
                    <a:pt x="225" y="56"/>
                  </a:lnTo>
                  <a:lnTo>
                    <a:pt x="226" y="52"/>
                  </a:lnTo>
                  <a:lnTo>
                    <a:pt x="228" y="48"/>
                  </a:lnTo>
                  <a:lnTo>
                    <a:pt x="228" y="46"/>
                  </a:lnTo>
                  <a:lnTo>
                    <a:pt x="228" y="45"/>
                  </a:lnTo>
                  <a:lnTo>
                    <a:pt x="228" y="43"/>
                  </a:lnTo>
                  <a:lnTo>
                    <a:pt x="228" y="42"/>
                  </a:lnTo>
                  <a:lnTo>
                    <a:pt x="228" y="41"/>
                  </a:lnTo>
                  <a:lnTo>
                    <a:pt x="227" y="39"/>
                  </a:lnTo>
                  <a:lnTo>
                    <a:pt x="225" y="38"/>
                  </a:lnTo>
                  <a:lnTo>
                    <a:pt x="223" y="34"/>
                  </a:lnTo>
                  <a:lnTo>
                    <a:pt x="218" y="28"/>
                  </a:lnTo>
                  <a:lnTo>
                    <a:pt x="216" y="26"/>
                  </a:lnTo>
                  <a:lnTo>
                    <a:pt x="215" y="24"/>
                  </a:lnTo>
                  <a:lnTo>
                    <a:pt x="214" y="21"/>
                  </a:lnTo>
                  <a:lnTo>
                    <a:pt x="213" y="19"/>
                  </a:lnTo>
                  <a:lnTo>
                    <a:pt x="213" y="18"/>
                  </a:lnTo>
                  <a:lnTo>
                    <a:pt x="213" y="16"/>
                  </a:lnTo>
                  <a:lnTo>
                    <a:pt x="214" y="15"/>
                  </a:lnTo>
                  <a:lnTo>
                    <a:pt x="215" y="14"/>
                  </a:lnTo>
                  <a:lnTo>
                    <a:pt x="217" y="13"/>
                  </a:lnTo>
                  <a:lnTo>
                    <a:pt x="220" y="11"/>
                  </a:lnTo>
                  <a:lnTo>
                    <a:pt x="223" y="9"/>
                  </a:lnTo>
                  <a:lnTo>
                    <a:pt x="226" y="8"/>
                  </a:lnTo>
                  <a:lnTo>
                    <a:pt x="231" y="6"/>
                  </a:lnTo>
                  <a:lnTo>
                    <a:pt x="244" y="4"/>
                  </a:lnTo>
                  <a:lnTo>
                    <a:pt x="247" y="3"/>
                  </a:lnTo>
                  <a:lnTo>
                    <a:pt x="250" y="2"/>
                  </a:lnTo>
                  <a:lnTo>
                    <a:pt x="251" y="1"/>
                  </a:lnTo>
                  <a:lnTo>
                    <a:pt x="253" y="1"/>
                  </a:lnTo>
                  <a:lnTo>
                    <a:pt x="256" y="1"/>
                  </a:lnTo>
                  <a:lnTo>
                    <a:pt x="258" y="1"/>
                  </a:lnTo>
                  <a:lnTo>
                    <a:pt x="260" y="1"/>
                  </a:lnTo>
                  <a:lnTo>
                    <a:pt x="261" y="1"/>
                  </a:lnTo>
                  <a:lnTo>
                    <a:pt x="262" y="0"/>
                  </a:lnTo>
                  <a:lnTo>
                    <a:pt x="263" y="0"/>
                  </a:lnTo>
                  <a:close/>
                </a:path>
              </a:pathLst>
            </a:custGeom>
            <a:solidFill>
              <a:srgbClr val="A8A8A8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 100">
              <a:extLst>
                <a:ext uri="{FF2B5EF4-FFF2-40B4-BE49-F238E27FC236}">
                  <a16:creationId xmlns:a16="http://schemas.microsoft.com/office/drawing/2014/main" id="{59797287-1A80-66C0-2273-71FB6E2AA0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1798" y="4524213"/>
              <a:ext cx="771525" cy="890588"/>
            </a:xfrm>
            <a:custGeom>
              <a:avLst/>
              <a:gdLst>
                <a:gd name="T0" fmla="*/ 124 w 486"/>
                <a:gd name="T1" fmla="*/ 32 h 561"/>
                <a:gd name="T2" fmla="*/ 141 w 486"/>
                <a:gd name="T3" fmla="*/ 45 h 561"/>
                <a:gd name="T4" fmla="*/ 177 w 486"/>
                <a:gd name="T5" fmla="*/ 42 h 561"/>
                <a:gd name="T6" fmla="*/ 246 w 486"/>
                <a:gd name="T7" fmla="*/ 40 h 561"/>
                <a:gd name="T8" fmla="*/ 264 w 486"/>
                <a:gd name="T9" fmla="*/ 18 h 561"/>
                <a:gd name="T10" fmla="*/ 291 w 486"/>
                <a:gd name="T11" fmla="*/ 0 h 561"/>
                <a:gd name="T12" fmla="*/ 319 w 486"/>
                <a:gd name="T13" fmla="*/ 6 h 561"/>
                <a:gd name="T14" fmla="*/ 346 w 486"/>
                <a:gd name="T15" fmla="*/ 27 h 561"/>
                <a:gd name="T16" fmla="*/ 362 w 486"/>
                <a:gd name="T17" fmla="*/ 47 h 561"/>
                <a:gd name="T18" fmla="*/ 395 w 486"/>
                <a:gd name="T19" fmla="*/ 47 h 561"/>
                <a:gd name="T20" fmla="*/ 428 w 486"/>
                <a:gd name="T21" fmla="*/ 35 h 561"/>
                <a:gd name="T22" fmla="*/ 431 w 486"/>
                <a:gd name="T23" fmla="*/ 17 h 561"/>
                <a:gd name="T24" fmla="*/ 459 w 486"/>
                <a:gd name="T25" fmla="*/ 27 h 561"/>
                <a:gd name="T26" fmla="*/ 485 w 486"/>
                <a:gd name="T27" fmla="*/ 50 h 561"/>
                <a:gd name="T28" fmla="*/ 470 w 486"/>
                <a:gd name="T29" fmla="*/ 82 h 561"/>
                <a:gd name="T30" fmla="*/ 473 w 486"/>
                <a:gd name="T31" fmla="*/ 117 h 561"/>
                <a:gd name="T32" fmla="*/ 485 w 486"/>
                <a:gd name="T33" fmla="*/ 145 h 561"/>
                <a:gd name="T34" fmla="*/ 479 w 486"/>
                <a:gd name="T35" fmla="*/ 184 h 561"/>
                <a:gd name="T36" fmla="*/ 469 w 486"/>
                <a:gd name="T37" fmla="*/ 213 h 561"/>
                <a:gd name="T38" fmla="*/ 471 w 486"/>
                <a:gd name="T39" fmla="*/ 252 h 561"/>
                <a:gd name="T40" fmla="*/ 463 w 486"/>
                <a:gd name="T41" fmla="*/ 281 h 561"/>
                <a:gd name="T42" fmla="*/ 444 w 486"/>
                <a:gd name="T43" fmla="*/ 302 h 561"/>
                <a:gd name="T44" fmla="*/ 421 w 486"/>
                <a:gd name="T45" fmla="*/ 332 h 561"/>
                <a:gd name="T46" fmla="*/ 411 w 486"/>
                <a:gd name="T47" fmla="*/ 327 h 561"/>
                <a:gd name="T48" fmla="*/ 396 w 486"/>
                <a:gd name="T49" fmla="*/ 345 h 561"/>
                <a:gd name="T50" fmla="*/ 369 w 486"/>
                <a:gd name="T51" fmla="*/ 361 h 561"/>
                <a:gd name="T52" fmla="*/ 364 w 486"/>
                <a:gd name="T53" fmla="*/ 391 h 561"/>
                <a:gd name="T54" fmla="*/ 376 w 486"/>
                <a:gd name="T55" fmla="*/ 441 h 561"/>
                <a:gd name="T56" fmla="*/ 380 w 486"/>
                <a:gd name="T57" fmla="*/ 459 h 561"/>
                <a:gd name="T58" fmla="*/ 341 w 486"/>
                <a:gd name="T59" fmla="*/ 449 h 561"/>
                <a:gd name="T60" fmla="*/ 328 w 486"/>
                <a:gd name="T61" fmla="*/ 460 h 561"/>
                <a:gd name="T62" fmla="*/ 333 w 486"/>
                <a:gd name="T63" fmla="*/ 504 h 561"/>
                <a:gd name="T64" fmla="*/ 321 w 486"/>
                <a:gd name="T65" fmla="*/ 532 h 561"/>
                <a:gd name="T66" fmla="*/ 305 w 486"/>
                <a:gd name="T67" fmla="*/ 561 h 561"/>
                <a:gd name="T68" fmla="*/ 254 w 486"/>
                <a:gd name="T69" fmla="*/ 555 h 561"/>
                <a:gd name="T70" fmla="*/ 229 w 486"/>
                <a:gd name="T71" fmla="*/ 536 h 561"/>
                <a:gd name="T72" fmla="*/ 204 w 486"/>
                <a:gd name="T73" fmla="*/ 515 h 561"/>
                <a:gd name="T74" fmla="*/ 169 w 486"/>
                <a:gd name="T75" fmla="*/ 505 h 561"/>
                <a:gd name="T76" fmla="*/ 148 w 486"/>
                <a:gd name="T77" fmla="*/ 487 h 561"/>
                <a:gd name="T78" fmla="*/ 124 w 486"/>
                <a:gd name="T79" fmla="*/ 447 h 561"/>
                <a:gd name="T80" fmla="*/ 100 w 486"/>
                <a:gd name="T81" fmla="*/ 416 h 561"/>
                <a:gd name="T82" fmla="*/ 89 w 486"/>
                <a:gd name="T83" fmla="*/ 379 h 561"/>
                <a:gd name="T84" fmla="*/ 54 w 486"/>
                <a:gd name="T85" fmla="*/ 328 h 561"/>
                <a:gd name="T86" fmla="*/ 55 w 486"/>
                <a:gd name="T87" fmla="*/ 288 h 561"/>
                <a:gd name="T88" fmla="*/ 67 w 486"/>
                <a:gd name="T89" fmla="*/ 257 h 561"/>
                <a:gd name="T90" fmla="*/ 68 w 486"/>
                <a:gd name="T91" fmla="*/ 235 h 561"/>
                <a:gd name="T92" fmla="*/ 54 w 486"/>
                <a:gd name="T93" fmla="*/ 217 h 561"/>
                <a:gd name="T94" fmla="*/ 50 w 486"/>
                <a:gd name="T95" fmla="*/ 187 h 561"/>
                <a:gd name="T96" fmla="*/ 43 w 486"/>
                <a:gd name="T97" fmla="*/ 167 h 561"/>
                <a:gd name="T98" fmla="*/ 63 w 486"/>
                <a:gd name="T99" fmla="*/ 150 h 561"/>
                <a:gd name="T100" fmla="*/ 68 w 486"/>
                <a:gd name="T101" fmla="*/ 132 h 561"/>
                <a:gd name="T102" fmla="*/ 52 w 486"/>
                <a:gd name="T103" fmla="*/ 120 h 561"/>
                <a:gd name="T104" fmla="*/ 52 w 486"/>
                <a:gd name="T105" fmla="*/ 110 h 561"/>
                <a:gd name="T106" fmla="*/ 33 w 486"/>
                <a:gd name="T107" fmla="*/ 97 h 561"/>
                <a:gd name="T108" fmla="*/ 3 w 486"/>
                <a:gd name="T109" fmla="*/ 85 h 561"/>
                <a:gd name="T110" fmla="*/ 12 w 486"/>
                <a:gd name="T111" fmla="*/ 70 h 561"/>
                <a:gd name="T112" fmla="*/ 42 w 486"/>
                <a:gd name="T113" fmla="*/ 63 h 561"/>
                <a:gd name="T114" fmla="*/ 59 w 486"/>
                <a:gd name="T115" fmla="*/ 54 h 561"/>
                <a:gd name="T116" fmla="*/ 73 w 486"/>
                <a:gd name="T117" fmla="*/ 30 h 561"/>
                <a:gd name="T118" fmla="*/ 108 w 486"/>
                <a:gd name="T119" fmla="*/ 5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86" h="561">
                  <a:moveTo>
                    <a:pt x="120" y="1"/>
                  </a:moveTo>
                  <a:lnTo>
                    <a:pt x="120" y="2"/>
                  </a:lnTo>
                  <a:lnTo>
                    <a:pt x="122" y="2"/>
                  </a:lnTo>
                  <a:lnTo>
                    <a:pt x="122" y="4"/>
                  </a:lnTo>
                  <a:lnTo>
                    <a:pt x="122" y="5"/>
                  </a:lnTo>
                  <a:lnTo>
                    <a:pt x="123" y="9"/>
                  </a:lnTo>
                  <a:lnTo>
                    <a:pt x="123" y="21"/>
                  </a:lnTo>
                  <a:lnTo>
                    <a:pt x="124" y="27"/>
                  </a:lnTo>
                  <a:lnTo>
                    <a:pt x="124" y="30"/>
                  </a:lnTo>
                  <a:lnTo>
                    <a:pt x="124" y="32"/>
                  </a:lnTo>
                  <a:lnTo>
                    <a:pt x="125" y="35"/>
                  </a:lnTo>
                  <a:lnTo>
                    <a:pt x="126" y="37"/>
                  </a:lnTo>
                  <a:lnTo>
                    <a:pt x="127" y="38"/>
                  </a:lnTo>
                  <a:lnTo>
                    <a:pt x="128" y="40"/>
                  </a:lnTo>
                  <a:lnTo>
                    <a:pt x="129" y="41"/>
                  </a:lnTo>
                  <a:lnTo>
                    <a:pt x="132" y="42"/>
                  </a:lnTo>
                  <a:lnTo>
                    <a:pt x="134" y="44"/>
                  </a:lnTo>
                  <a:lnTo>
                    <a:pt x="136" y="45"/>
                  </a:lnTo>
                  <a:lnTo>
                    <a:pt x="138" y="45"/>
                  </a:lnTo>
                  <a:lnTo>
                    <a:pt x="141" y="45"/>
                  </a:lnTo>
                  <a:lnTo>
                    <a:pt x="144" y="46"/>
                  </a:lnTo>
                  <a:lnTo>
                    <a:pt x="148" y="45"/>
                  </a:lnTo>
                  <a:lnTo>
                    <a:pt x="150" y="45"/>
                  </a:lnTo>
                  <a:lnTo>
                    <a:pt x="154" y="44"/>
                  </a:lnTo>
                  <a:lnTo>
                    <a:pt x="157" y="43"/>
                  </a:lnTo>
                  <a:lnTo>
                    <a:pt x="159" y="44"/>
                  </a:lnTo>
                  <a:lnTo>
                    <a:pt x="164" y="45"/>
                  </a:lnTo>
                  <a:lnTo>
                    <a:pt x="168" y="45"/>
                  </a:lnTo>
                  <a:lnTo>
                    <a:pt x="171" y="45"/>
                  </a:lnTo>
                  <a:lnTo>
                    <a:pt x="177" y="42"/>
                  </a:lnTo>
                  <a:lnTo>
                    <a:pt x="180" y="42"/>
                  </a:lnTo>
                  <a:lnTo>
                    <a:pt x="185" y="42"/>
                  </a:lnTo>
                  <a:lnTo>
                    <a:pt x="195" y="42"/>
                  </a:lnTo>
                  <a:lnTo>
                    <a:pt x="199" y="42"/>
                  </a:lnTo>
                  <a:lnTo>
                    <a:pt x="212" y="42"/>
                  </a:lnTo>
                  <a:lnTo>
                    <a:pt x="222" y="41"/>
                  </a:lnTo>
                  <a:lnTo>
                    <a:pt x="232" y="40"/>
                  </a:lnTo>
                  <a:lnTo>
                    <a:pt x="236" y="40"/>
                  </a:lnTo>
                  <a:lnTo>
                    <a:pt x="240" y="40"/>
                  </a:lnTo>
                  <a:lnTo>
                    <a:pt x="246" y="40"/>
                  </a:lnTo>
                  <a:lnTo>
                    <a:pt x="247" y="40"/>
                  </a:lnTo>
                  <a:lnTo>
                    <a:pt x="249" y="40"/>
                  </a:lnTo>
                  <a:lnTo>
                    <a:pt x="250" y="39"/>
                  </a:lnTo>
                  <a:lnTo>
                    <a:pt x="251" y="37"/>
                  </a:lnTo>
                  <a:lnTo>
                    <a:pt x="253" y="36"/>
                  </a:lnTo>
                  <a:lnTo>
                    <a:pt x="254" y="35"/>
                  </a:lnTo>
                  <a:lnTo>
                    <a:pt x="256" y="30"/>
                  </a:lnTo>
                  <a:lnTo>
                    <a:pt x="260" y="26"/>
                  </a:lnTo>
                  <a:lnTo>
                    <a:pt x="262" y="22"/>
                  </a:lnTo>
                  <a:lnTo>
                    <a:pt x="264" y="18"/>
                  </a:lnTo>
                  <a:lnTo>
                    <a:pt x="267" y="12"/>
                  </a:lnTo>
                  <a:lnTo>
                    <a:pt x="269" y="10"/>
                  </a:lnTo>
                  <a:lnTo>
                    <a:pt x="270" y="8"/>
                  </a:lnTo>
                  <a:lnTo>
                    <a:pt x="272" y="6"/>
                  </a:lnTo>
                  <a:lnTo>
                    <a:pt x="274" y="5"/>
                  </a:lnTo>
                  <a:lnTo>
                    <a:pt x="276" y="4"/>
                  </a:lnTo>
                  <a:lnTo>
                    <a:pt x="277" y="4"/>
                  </a:lnTo>
                  <a:lnTo>
                    <a:pt x="279" y="3"/>
                  </a:lnTo>
                  <a:lnTo>
                    <a:pt x="287" y="1"/>
                  </a:lnTo>
                  <a:lnTo>
                    <a:pt x="291" y="0"/>
                  </a:lnTo>
                  <a:lnTo>
                    <a:pt x="294" y="0"/>
                  </a:lnTo>
                  <a:lnTo>
                    <a:pt x="299" y="0"/>
                  </a:lnTo>
                  <a:lnTo>
                    <a:pt x="301" y="0"/>
                  </a:lnTo>
                  <a:lnTo>
                    <a:pt x="303" y="0"/>
                  </a:lnTo>
                  <a:lnTo>
                    <a:pt x="306" y="0"/>
                  </a:lnTo>
                  <a:lnTo>
                    <a:pt x="309" y="1"/>
                  </a:lnTo>
                  <a:lnTo>
                    <a:pt x="311" y="2"/>
                  </a:lnTo>
                  <a:lnTo>
                    <a:pt x="314" y="4"/>
                  </a:lnTo>
                  <a:lnTo>
                    <a:pt x="316" y="5"/>
                  </a:lnTo>
                  <a:lnTo>
                    <a:pt x="319" y="6"/>
                  </a:lnTo>
                  <a:lnTo>
                    <a:pt x="321" y="7"/>
                  </a:lnTo>
                  <a:lnTo>
                    <a:pt x="322" y="10"/>
                  </a:lnTo>
                  <a:lnTo>
                    <a:pt x="324" y="12"/>
                  </a:lnTo>
                  <a:lnTo>
                    <a:pt x="328" y="17"/>
                  </a:lnTo>
                  <a:lnTo>
                    <a:pt x="329" y="19"/>
                  </a:lnTo>
                  <a:lnTo>
                    <a:pt x="331" y="20"/>
                  </a:lnTo>
                  <a:lnTo>
                    <a:pt x="333" y="22"/>
                  </a:lnTo>
                  <a:lnTo>
                    <a:pt x="335" y="22"/>
                  </a:lnTo>
                  <a:lnTo>
                    <a:pt x="341" y="25"/>
                  </a:lnTo>
                  <a:lnTo>
                    <a:pt x="346" y="27"/>
                  </a:lnTo>
                  <a:lnTo>
                    <a:pt x="349" y="29"/>
                  </a:lnTo>
                  <a:lnTo>
                    <a:pt x="351" y="30"/>
                  </a:lnTo>
                  <a:lnTo>
                    <a:pt x="353" y="32"/>
                  </a:lnTo>
                  <a:lnTo>
                    <a:pt x="356" y="35"/>
                  </a:lnTo>
                  <a:lnTo>
                    <a:pt x="357" y="37"/>
                  </a:lnTo>
                  <a:lnTo>
                    <a:pt x="358" y="37"/>
                  </a:lnTo>
                  <a:lnTo>
                    <a:pt x="359" y="40"/>
                  </a:lnTo>
                  <a:lnTo>
                    <a:pt x="361" y="45"/>
                  </a:lnTo>
                  <a:lnTo>
                    <a:pt x="361" y="46"/>
                  </a:lnTo>
                  <a:lnTo>
                    <a:pt x="362" y="47"/>
                  </a:lnTo>
                  <a:lnTo>
                    <a:pt x="364" y="47"/>
                  </a:lnTo>
                  <a:lnTo>
                    <a:pt x="364" y="48"/>
                  </a:lnTo>
                  <a:lnTo>
                    <a:pt x="366" y="49"/>
                  </a:lnTo>
                  <a:lnTo>
                    <a:pt x="380" y="51"/>
                  </a:lnTo>
                  <a:lnTo>
                    <a:pt x="382" y="51"/>
                  </a:lnTo>
                  <a:lnTo>
                    <a:pt x="384" y="50"/>
                  </a:lnTo>
                  <a:lnTo>
                    <a:pt x="391" y="49"/>
                  </a:lnTo>
                  <a:lnTo>
                    <a:pt x="391" y="48"/>
                  </a:lnTo>
                  <a:lnTo>
                    <a:pt x="393" y="48"/>
                  </a:lnTo>
                  <a:lnTo>
                    <a:pt x="395" y="47"/>
                  </a:lnTo>
                  <a:lnTo>
                    <a:pt x="404" y="40"/>
                  </a:lnTo>
                  <a:lnTo>
                    <a:pt x="406" y="39"/>
                  </a:lnTo>
                  <a:lnTo>
                    <a:pt x="409" y="37"/>
                  </a:lnTo>
                  <a:lnTo>
                    <a:pt x="412" y="36"/>
                  </a:lnTo>
                  <a:lnTo>
                    <a:pt x="415" y="35"/>
                  </a:lnTo>
                  <a:lnTo>
                    <a:pt x="418" y="35"/>
                  </a:lnTo>
                  <a:lnTo>
                    <a:pt x="421" y="35"/>
                  </a:lnTo>
                  <a:lnTo>
                    <a:pt x="426" y="35"/>
                  </a:lnTo>
                  <a:lnTo>
                    <a:pt x="427" y="35"/>
                  </a:lnTo>
                  <a:lnTo>
                    <a:pt x="428" y="35"/>
                  </a:lnTo>
                  <a:lnTo>
                    <a:pt x="429" y="35"/>
                  </a:lnTo>
                  <a:lnTo>
                    <a:pt x="429" y="34"/>
                  </a:lnTo>
                  <a:lnTo>
                    <a:pt x="429" y="33"/>
                  </a:lnTo>
                  <a:lnTo>
                    <a:pt x="429" y="32"/>
                  </a:lnTo>
                  <a:lnTo>
                    <a:pt x="429" y="29"/>
                  </a:lnTo>
                  <a:lnTo>
                    <a:pt x="429" y="22"/>
                  </a:lnTo>
                  <a:lnTo>
                    <a:pt x="429" y="20"/>
                  </a:lnTo>
                  <a:lnTo>
                    <a:pt x="430" y="20"/>
                  </a:lnTo>
                  <a:lnTo>
                    <a:pt x="431" y="18"/>
                  </a:lnTo>
                  <a:lnTo>
                    <a:pt x="431" y="17"/>
                  </a:lnTo>
                  <a:lnTo>
                    <a:pt x="433" y="17"/>
                  </a:lnTo>
                  <a:lnTo>
                    <a:pt x="434" y="16"/>
                  </a:lnTo>
                  <a:lnTo>
                    <a:pt x="435" y="16"/>
                  </a:lnTo>
                  <a:lnTo>
                    <a:pt x="436" y="17"/>
                  </a:lnTo>
                  <a:lnTo>
                    <a:pt x="439" y="17"/>
                  </a:lnTo>
                  <a:lnTo>
                    <a:pt x="441" y="19"/>
                  </a:lnTo>
                  <a:lnTo>
                    <a:pt x="446" y="22"/>
                  </a:lnTo>
                  <a:lnTo>
                    <a:pt x="449" y="24"/>
                  </a:lnTo>
                  <a:lnTo>
                    <a:pt x="456" y="27"/>
                  </a:lnTo>
                  <a:lnTo>
                    <a:pt x="459" y="27"/>
                  </a:lnTo>
                  <a:lnTo>
                    <a:pt x="461" y="29"/>
                  </a:lnTo>
                  <a:lnTo>
                    <a:pt x="463" y="30"/>
                  </a:lnTo>
                  <a:lnTo>
                    <a:pt x="466" y="33"/>
                  </a:lnTo>
                  <a:lnTo>
                    <a:pt x="473" y="37"/>
                  </a:lnTo>
                  <a:lnTo>
                    <a:pt x="480" y="44"/>
                  </a:lnTo>
                  <a:lnTo>
                    <a:pt x="484" y="47"/>
                  </a:lnTo>
                  <a:lnTo>
                    <a:pt x="484" y="47"/>
                  </a:lnTo>
                  <a:lnTo>
                    <a:pt x="485" y="48"/>
                  </a:lnTo>
                  <a:lnTo>
                    <a:pt x="485" y="49"/>
                  </a:lnTo>
                  <a:lnTo>
                    <a:pt x="485" y="50"/>
                  </a:lnTo>
                  <a:lnTo>
                    <a:pt x="484" y="53"/>
                  </a:lnTo>
                  <a:lnTo>
                    <a:pt x="483" y="55"/>
                  </a:lnTo>
                  <a:lnTo>
                    <a:pt x="482" y="59"/>
                  </a:lnTo>
                  <a:lnTo>
                    <a:pt x="478" y="65"/>
                  </a:lnTo>
                  <a:lnTo>
                    <a:pt x="476" y="70"/>
                  </a:lnTo>
                  <a:lnTo>
                    <a:pt x="473" y="74"/>
                  </a:lnTo>
                  <a:lnTo>
                    <a:pt x="471" y="76"/>
                  </a:lnTo>
                  <a:lnTo>
                    <a:pt x="471" y="78"/>
                  </a:lnTo>
                  <a:lnTo>
                    <a:pt x="470" y="80"/>
                  </a:lnTo>
                  <a:lnTo>
                    <a:pt x="470" y="82"/>
                  </a:lnTo>
                  <a:lnTo>
                    <a:pt x="469" y="85"/>
                  </a:lnTo>
                  <a:lnTo>
                    <a:pt x="470" y="86"/>
                  </a:lnTo>
                  <a:lnTo>
                    <a:pt x="470" y="88"/>
                  </a:lnTo>
                  <a:lnTo>
                    <a:pt x="471" y="95"/>
                  </a:lnTo>
                  <a:lnTo>
                    <a:pt x="472" y="97"/>
                  </a:lnTo>
                  <a:lnTo>
                    <a:pt x="472" y="102"/>
                  </a:lnTo>
                  <a:lnTo>
                    <a:pt x="471" y="109"/>
                  </a:lnTo>
                  <a:lnTo>
                    <a:pt x="472" y="113"/>
                  </a:lnTo>
                  <a:lnTo>
                    <a:pt x="473" y="116"/>
                  </a:lnTo>
                  <a:lnTo>
                    <a:pt x="473" y="117"/>
                  </a:lnTo>
                  <a:lnTo>
                    <a:pt x="474" y="120"/>
                  </a:lnTo>
                  <a:lnTo>
                    <a:pt x="476" y="123"/>
                  </a:lnTo>
                  <a:lnTo>
                    <a:pt x="478" y="125"/>
                  </a:lnTo>
                  <a:lnTo>
                    <a:pt x="482" y="131"/>
                  </a:lnTo>
                  <a:lnTo>
                    <a:pt x="483" y="133"/>
                  </a:lnTo>
                  <a:lnTo>
                    <a:pt x="485" y="136"/>
                  </a:lnTo>
                  <a:lnTo>
                    <a:pt x="486" y="138"/>
                  </a:lnTo>
                  <a:lnTo>
                    <a:pt x="486" y="140"/>
                  </a:lnTo>
                  <a:lnTo>
                    <a:pt x="486" y="142"/>
                  </a:lnTo>
                  <a:lnTo>
                    <a:pt x="485" y="145"/>
                  </a:lnTo>
                  <a:lnTo>
                    <a:pt x="484" y="149"/>
                  </a:lnTo>
                  <a:lnTo>
                    <a:pt x="483" y="151"/>
                  </a:lnTo>
                  <a:lnTo>
                    <a:pt x="483" y="154"/>
                  </a:lnTo>
                  <a:lnTo>
                    <a:pt x="483" y="161"/>
                  </a:lnTo>
                  <a:lnTo>
                    <a:pt x="483" y="165"/>
                  </a:lnTo>
                  <a:lnTo>
                    <a:pt x="483" y="167"/>
                  </a:lnTo>
                  <a:lnTo>
                    <a:pt x="481" y="173"/>
                  </a:lnTo>
                  <a:lnTo>
                    <a:pt x="481" y="177"/>
                  </a:lnTo>
                  <a:lnTo>
                    <a:pt x="480" y="179"/>
                  </a:lnTo>
                  <a:lnTo>
                    <a:pt x="479" y="184"/>
                  </a:lnTo>
                  <a:lnTo>
                    <a:pt x="479" y="192"/>
                  </a:lnTo>
                  <a:lnTo>
                    <a:pt x="479" y="196"/>
                  </a:lnTo>
                  <a:lnTo>
                    <a:pt x="478" y="200"/>
                  </a:lnTo>
                  <a:lnTo>
                    <a:pt x="478" y="202"/>
                  </a:lnTo>
                  <a:lnTo>
                    <a:pt x="476" y="205"/>
                  </a:lnTo>
                  <a:lnTo>
                    <a:pt x="475" y="207"/>
                  </a:lnTo>
                  <a:lnTo>
                    <a:pt x="474" y="209"/>
                  </a:lnTo>
                  <a:lnTo>
                    <a:pt x="473" y="210"/>
                  </a:lnTo>
                  <a:lnTo>
                    <a:pt x="471" y="212"/>
                  </a:lnTo>
                  <a:lnTo>
                    <a:pt x="469" y="213"/>
                  </a:lnTo>
                  <a:lnTo>
                    <a:pt x="462" y="217"/>
                  </a:lnTo>
                  <a:lnTo>
                    <a:pt x="461" y="218"/>
                  </a:lnTo>
                  <a:lnTo>
                    <a:pt x="461" y="219"/>
                  </a:lnTo>
                  <a:lnTo>
                    <a:pt x="461" y="220"/>
                  </a:lnTo>
                  <a:lnTo>
                    <a:pt x="461" y="222"/>
                  </a:lnTo>
                  <a:lnTo>
                    <a:pt x="461" y="224"/>
                  </a:lnTo>
                  <a:lnTo>
                    <a:pt x="466" y="235"/>
                  </a:lnTo>
                  <a:lnTo>
                    <a:pt x="467" y="239"/>
                  </a:lnTo>
                  <a:lnTo>
                    <a:pt x="470" y="247"/>
                  </a:lnTo>
                  <a:lnTo>
                    <a:pt x="471" y="252"/>
                  </a:lnTo>
                  <a:lnTo>
                    <a:pt x="471" y="257"/>
                  </a:lnTo>
                  <a:lnTo>
                    <a:pt x="471" y="261"/>
                  </a:lnTo>
                  <a:lnTo>
                    <a:pt x="471" y="266"/>
                  </a:lnTo>
                  <a:lnTo>
                    <a:pt x="471" y="270"/>
                  </a:lnTo>
                  <a:lnTo>
                    <a:pt x="470" y="272"/>
                  </a:lnTo>
                  <a:lnTo>
                    <a:pt x="469" y="275"/>
                  </a:lnTo>
                  <a:lnTo>
                    <a:pt x="467" y="278"/>
                  </a:lnTo>
                  <a:lnTo>
                    <a:pt x="465" y="279"/>
                  </a:lnTo>
                  <a:lnTo>
                    <a:pt x="464" y="280"/>
                  </a:lnTo>
                  <a:lnTo>
                    <a:pt x="463" y="281"/>
                  </a:lnTo>
                  <a:lnTo>
                    <a:pt x="458" y="282"/>
                  </a:lnTo>
                  <a:lnTo>
                    <a:pt x="455" y="284"/>
                  </a:lnTo>
                  <a:lnTo>
                    <a:pt x="453" y="285"/>
                  </a:lnTo>
                  <a:lnTo>
                    <a:pt x="451" y="286"/>
                  </a:lnTo>
                  <a:lnTo>
                    <a:pt x="450" y="287"/>
                  </a:lnTo>
                  <a:lnTo>
                    <a:pt x="449" y="288"/>
                  </a:lnTo>
                  <a:lnTo>
                    <a:pt x="447" y="290"/>
                  </a:lnTo>
                  <a:lnTo>
                    <a:pt x="446" y="293"/>
                  </a:lnTo>
                  <a:lnTo>
                    <a:pt x="445" y="297"/>
                  </a:lnTo>
                  <a:lnTo>
                    <a:pt x="444" y="302"/>
                  </a:lnTo>
                  <a:lnTo>
                    <a:pt x="444" y="304"/>
                  </a:lnTo>
                  <a:lnTo>
                    <a:pt x="443" y="307"/>
                  </a:lnTo>
                  <a:lnTo>
                    <a:pt x="441" y="309"/>
                  </a:lnTo>
                  <a:lnTo>
                    <a:pt x="438" y="314"/>
                  </a:lnTo>
                  <a:lnTo>
                    <a:pt x="432" y="321"/>
                  </a:lnTo>
                  <a:lnTo>
                    <a:pt x="429" y="325"/>
                  </a:lnTo>
                  <a:lnTo>
                    <a:pt x="426" y="328"/>
                  </a:lnTo>
                  <a:lnTo>
                    <a:pt x="424" y="330"/>
                  </a:lnTo>
                  <a:lnTo>
                    <a:pt x="421" y="331"/>
                  </a:lnTo>
                  <a:lnTo>
                    <a:pt x="421" y="332"/>
                  </a:lnTo>
                  <a:lnTo>
                    <a:pt x="420" y="332"/>
                  </a:lnTo>
                  <a:lnTo>
                    <a:pt x="419" y="332"/>
                  </a:lnTo>
                  <a:lnTo>
                    <a:pt x="419" y="330"/>
                  </a:lnTo>
                  <a:lnTo>
                    <a:pt x="417" y="330"/>
                  </a:lnTo>
                  <a:lnTo>
                    <a:pt x="417" y="331"/>
                  </a:lnTo>
                  <a:lnTo>
                    <a:pt x="414" y="330"/>
                  </a:lnTo>
                  <a:lnTo>
                    <a:pt x="412" y="329"/>
                  </a:lnTo>
                  <a:lnTo>
                    <a:pt x="411" y="329"/>
                  </a:lnTo>
                  <a:lnTo>
                    <a:pt x="411" y="328"/>
                  </a:lnTo>
                  <a:lnTo>
                    <a:pt x="411" y="327"/>
                  </a:lnTo>
                  <a:lnTo>
                    <a:pt x="411" y="327"/>
                  </a:lnTo>
                  <a:lnTo>
                    <a:pt x="410" y="327"/>
                  </a:lnTo>
                  <a:lnTo>
                    <a:pt x="409" y="327"/>
                  </a:lnTo>
                  <a:lnTo>
                    <a:pt x="409" y="327"/>
                  </a:lnTo>
                  <a:lnTo>
                    <a:pt x="408" y="327"/>
                  </a:lnTo>
                  <a:lnTo>
                    <a:pt x="406" y="329"/>
                  </a:lnTo>
                  <a:lnTo>
                    <a:pt x="405" y="330"/>
                  </a:lnTo>
                  <a:lnTo>
                    <a:pt x="403" y="334"/>
                  </a:lnTo>
                  <a:lnTo>
                    <a:pt x="400" y="340"/>
                  </a:lnTo>
                  <a:lnTo>
                    <a:pt x="396" y="345"/>
                  </a:lnTo>
                  <a:lnTo>
                    <a:pt x="394" y="349"/>
                  </a:lnTo>
                  <a:lnTo>
                    <a:pt x="393" y="351"/>
                  </a:lnTo>
                  <a:lnTo>
                    <a:pt x="391" y="352"/>
                  </a:lnTo>
                  <a:lnTo>
                    <a:pt x="390" y="352"/>
                  </a:lnTo>
                  <a:lnTo>
                    <a:pt x="388" y="354"/>
                  </a:lnTo>
                  <a:lnTo>
                    <a:pt x="386" y="354"/>
                  </a:lnTo>
                  <a:lnTo>
                    <a:pt x="379" y="356"/>
                  </a:lnTo>
                  <a:lnTo>
                    <a:pt x="376" y="357"/>
                  </a:lnTo>
                  <a:lnTo>
                    <a:pt x="372" y="359"/>
                  </a:lnTo>
                  <a:lnTo>
                    <a:pt x="369" y="361"/>
                  </a:lnTo>
                  <a:lnTo>
                    <a:pt x="366" y="362"/>
                  </a:lnTo>
                  <a:lnTo>
                    <a:pt x="365" y="363"/>
                  </a:lnTo>
                  <a:lnTo>
                    <a:pt x="364" y="364"/>
                  </a:lnTo>
                  <a:lnTo>
                    <a:pt x="364" y="365"/>
                  </a:lnTo>
                  <a:lnTo>
                    <a:pt x="363" y="367"/>
                  </a:lnTo>
                  <a:lnTo>
                    <a:pt x="362" y="368"/>
                  </a:lnTo>
                  <a:lnTo>
                    <a:pt x="362" y="369"/>
                  </a:lnTo>
                  <a:lnTo>
                    <a:pt x="362" y="372"/>
                  </a:lnTo>
                  <a:lnTo>
                    <a:pt x="362" y="377"/>
                  </a:lnTo>
                  <a:lnTo>
                    <a:pt x="364" y="391"/>
                  </a:lnTo>
                  <a:lnTo>
                    <a:pt x="364" y="401"/>
                  </a:lnTo>
                  <a:lnTo>
                    <a:pt x="365" y="405"/>
                  </a:lnTo>
                  <a:lnTo>
                    <a:pt x="366" y="411"/>
                  </a:lnTo>
                  <a:lnTo>
                    <a:pt x="366" y="415"/>
                  </a:lnTo>
                  <a:lnTo>
                    <a:pt x="367" y="419"/>
                  </a:lnTo>
                  <a:lnTo>
                    <a:pt x="369" y="423"/>
                  </a:lnTo>
                  <a:lnTo>
                    <a:pt x="371" y="428"/>
                  </a:lnTo>
                  <a:lnTo>
                    <a:pt x="372" y="433"/>
                  </a:lnTo>
                  <a:lnTo>
                    <a:pt x="375" y="438"/>
                  </a:lnTo>
                  <a:lnTo>
                    <a:pt x="376" y="441"/>
                  </a:lnTo>
                  <a:lnTo>
                    <a:pt x="381" y="447"/>
                  </a:lnTo>
                  <a:lnTo>
                    <a:pt x="382" y="451"/>
                  </a:lnTo>
                  <a:lnTo>
                    <a:pt x="383" y="452"/>
                  </a:lnTo>
                  <a:lnTo>
                    <a:pt x="383" y="454"/>
                  </a:lnTo>
                  <a:lnTo>
                    <a:pt x="383" y="455"/>
                  </a:lnTo>
                  <a:lnTo>
                    <a:pt x="382" y="457"/>
                  </a:lnTo>
                  <a:lnTo>
                    <a:pt x="382" y="457"/>
                  </a:lnTo>
                  <a:lnTo>
                    <a:pt x="381" y="458"/>
                  </a:lnTo>
                  <a:lnTo>
                    <a:pt x="381" y="458"/>
                  </a:lnTo>
                  <a:lnTo>
                    <a:pt x="380" y="459"/>
                  </a:lnTo>
                  <a:lnTo>
                    <a:pt x="379" y="459"/>
                  </a:lnTo>
                  <a:lnTo>
                    <a:pt x="377" y="459"/>
                  </a:lnTo>
                  <a:lnTo>
                    <a:pt x="374" y="459"/>
                  </a:lnTo>
                  <a:lnTo>
                    <a:pt x="371" y="457"/>
                  </a:lnTo>
                  <a:lnTo>
                    <a:pt x="363" y="455"/>
                  </a:lnTo>
                  <a:lnTo>
                    <a:pt x="353" y="451"/>
                  </a:lnTo>
                  <a:lnTo>
                    <a:pt x="349" y="450"/>
                  </a:lnTo>
                  <a:lnTo>
                    <a:pt x="346" y="449"/>
                  </a:lnTo>
                  <a:lnTo>
                    <a:pt x="344" y="449"/>
                  </a:lnTo>
                  <a:lnTo>
                    <a:pt x="341" y="449"/>
                  </a:lnTo>
                  <a:lnTo>
                    <a:pt x="339" y="449"/>
                  </a:lnTo>
                  <a:lnTo>
                    <a:pt x="337" y="449"/>
                  </a:lnTo>
                  <a:lnTo>
                    <a:pt x="336" y="450"/>
                  </a:lnTo>
                  <a:lnTo>
                    <a:pt x="334" y="451"/>
                  </a:lnTo>
                  <a:lnTo>
                    <a:pt x="333" y="452"/>
                  </a:lnTo>
                  <a:lnTo>
                    <a:pt x="331" y="453"/>
                  </a:lnTo>
                  <a:lnTo>
                    <a:pt x="331" y="454"/>
                  </a:lnTo>
                  <a:lnTo>
                    <a:pt x="329" y="456"/>
                  </a:lnTo>
                  <a:lnTo>
                    <a:pt x="329" y="457"/>
                  </a:lnTo>
                  <a:lnTo>
                    <a:pt x="328" y="460"/>
                  </a:lnTo>
                  <a:lnTo>
                    <a:pt x="328" y="462"/>
                  </a:lnTo>
                  <a:lnTo>
                    <a:pt x="327" y="464"/>
                  </a:lnTo>
                  <a:lnTo>
                    <a:pt x="327" y="467"/>
                  </a:lnTo>
                  <a:lnTo>
                    <a:pt x="327" y="470"/>
                  </a:lnTo>
                  <a:lnTo>
                    <a:pt x="327" y="473"/>
                  </a:lnTo>
                  <a:lnTo>
                    <a:pt x="328" y="480"/>
                  </a:lnTo>
                  <a:lnTo>
                    <a:pt x="329" y="487"/>
                  </a:lnTo>
                  <a:lnTo>
                    <a:pt x="330" y="492"/>
                  </a:lnTo>
                  <a:lnTo>
                    <a:pt x="332" y="501"/>
                  </a:lnTo>
                  <a:lnTo>
                    <a:pt x="333" y="504"/>
                  </a:lnTo>
                  <a:lnTo>
                    <a:pt x="334" y="506"/>
                  </a:lnTo>
                  <a:lnTo>
                    <a:pt x="334" y="509"/>
                  </a:lnTo>
                  <a:lnTo>
                    <a:pt x="334" y="510"/>
                  </a:lnTo>
                  <a:lnTo>
                    <a:pt x="333" y="512"/>
                  </a:lnTo>
                  <a:lnTo>
                    <a:pt x="332" y="514"/>
                  </a:lnTo>
                  <a:lnTo>
                    <a:pt x="332" y="516"/>
                  </a:lnTo>
                  <a:lnTo>
                    <a:pt x="331" y="517"/>
                  </a:lnTo>
                  <a:lnTo>
                    <a:pt x="330" y="519"/>
                  </a:lnTo>
                  <a:lnTo>
                    <a:pt x="325" y="526"/>
                  </a:lnTo>
                  <a:lnTo>
                    <a:pt x="321" y="532"/>
                  </a:lnTo>
                  <a:lnTo>
                    <a:pt x="314" y="542"/>
                  </a:lnTo>
                  <a:lnTo>
                    <a:pt x="311" y="545"/>
                  </a:lnTo>
                  <a:lnTo>
                    <a:pt x="310" y="548"/>
                  </a:lnTo>
                  <a:lnTo>
                    <a:pt x="309" y="551"/>
                  </a:lnTo>
                  <a:lnTo>
                    <a:pt x="306" y="555"/>
                  </a:lnTo>
                  <a:lnTo>
                    <a:pt x="306" y="556"/>
                  </a:lnTo>
                  <a:lnTo>
                    <a:pt x="306" y="559"/>
                  </a:lnTo>
                  <a:lnTo>
                    <a:pt x="306" y="560"/>
                  </a:lnTo>
                  <a:lnTo>
                    <a:pt x="306" y="561"/>
                  </a:lnTo>
                  <a:lnTo>
                    <a:pt x="305" y="561"/>
                  </a:lnTo>
                  <a:lnTo>
                    <a:pt x="304" y="561"/>
                  </a:lnTo>
                  <a:lnTo>
                    <a:pt x="301" y="561"/>
                  </a:lnTo>
                  <a:lnTo>
                    <a:pt x="298" y="560"/>
                  </a:lnTo>
                  <a:lnTo>
                    <a:pt x="288" y="559"/>
                  </a:lnTo>
                  <a:lnTo>
                    <a:pt x="283" y="558"/>
                  </a:lnTo>
                  <a:lnTo>
                    <a:pt x="279" y="557"/>
                  </a:lnTo>
                  <a:lnTo>
                    <a:pt x="274" y="556"/>
                  </a:lnTo>
                  <a:lnTo>
                    <a:pt x="263" y="556"/>
                  </a:lnTo>
                  <a:lnTo>
                    <a:pt x="259" y="556"/>
                  </a:lnTo>
                  <a:lnTo>
                    <a:pt x="254" y="555"/>
                  </a:lnTo>
                  <a:lnTo>
                    <a:pt x="249" y="554"/>
                  </a:lnTo>
                  <a:lnTo>
                    <a:pt x="244" y="552"/>
                  </a:lnTo>
                  <a:lnTo>
                    <a:pt x="241" y="551"/>
                  </a:lnTo>
                  <a:lnTo>
                    <a:pt x="239" y="550"/>
                  </a:lnTo>
                  <a:lnTo>
                    <a:pt x="237" y="549"/>
                  </a:lnTo>
                  <a:lnTo>
                    <a:pt x="236" y="546"/>
                  </a:lnTo>
                  <a:lnTo>
                    <a:pt x="232" y="541"/>
                  </a:lnTo>
                  <a:lnTo>
                    <a:pt x="232" y="539"/>
                  </a:lnTo>
                  <a:lnTo>
                    <a:pt x="230" y="538"/>
                  </a:lnTo>
                  <a:lnTo>
                    <a:pt x="229" y="536"/>
                  </a:lnTo>
                  <a:lnTo>
                    <a:pt x="227" y="536"/>
                  </a:lnTo>
                  <a:lnTo>
                    <a:pt x="217" y="533"/>
                  </a:lnTo>
                  <a:lnTo>
                    <a:pt x="215" y="532"/>
                  </a:lnTo>
                  <a:lnTo>
                    <a:pt x="212" y="531"/>
                  </a:lnTo>
                  <a:lnTo>
                    <a:pt x="210" y="529"/>
                  </a:lnTo>
                  <a:lnTo>
                    <a:pt x="209" y="527"/>
                  </a:lnTo>
                  <a:lnTo>
                    <a:pt x="207" y="525"/>
                  </a:lnTo>
                  <a:lnTo>
                    <a:pt x="207" y="523"/>
                  </a:lnTo>
                  <a:lnTo>
                    <a:pt x="205" y="517"/>
                  </a:lnTo>
                  <a:lnTo>
                    <a:pt x="204" y="515"/>
                  </a:lnTo>
                  <a:lnTo>
                    <a:pt x="204" y="513"/>
                  </a:lnTo>
                  <a:lnTo>
                    <a:pt x="203" y="512"/>
                  </a:lnTo>
                  <a:lnTo>
                    <a:pt x="202" y="511"/>
                  </a:lnTo>
                  <a:lnTo>
                    <a:pt x="201" y="511"/>
                  </a:lnTo>
                  <a:lnTo>
                    <a:pt x="199" y="510"/>
                  </a:lnTo>
                  <a:lnTo>
                    <a:pt x="197" y="510"/>
                  </a:lnTo>
                  <a:lnTo>
                    <a:pt x="191" y="509"/>
                  </a:lnTo>
                  <a:lnTo>
                    <a:pt x="188" y="509"/>
                  </a:lnTo>
                  <a:lnTo>
                    <a:pt x="180" y="507"/>
                  </a:lnTo>
                  <a:lnTo>
                    <a:pt x="169" y="505"/>
                  </a:lnTo>
                  <a:lnTo>
                    <a:pt x="165" y="504"/>
                  </a:lnTo>
                  <a:lnTo>
                    <a:pt x="163" y="503"/>
                  </a:lnTo>
                  <a:lnTo>
                    <a:pt x="162" y="502"/>
                  </a:lnTo>
                  <a:lnTo>
                    <a:pt x="159" y="501"/>
                  </a:lnTo>
                  <a:lnTo>
                    <a:pt x="158" y="500"/>
                  </a:lnTo>
                  <a:lnTo>
                    <a:pt x="157" y="499"/>
                  </a:lnTo>
                  <a:lnTo>
                    <a:pt x="156" y="497"/>
                  </a:lnTo>
                  <a:lnTo>
                    <a:pt x="152" y="492"/>
                  </a:lnTo>
                  <a:lnTo>
                    <a:pt x="150" y="489"/>
                  </a:lnTo>
                  <a:lnTo>
                    <a:pt x="148" y="487"/>
                  </a:lnTo>
                  <a:lnTo>
                    <a:pt x="143" y="483"/>
                  </a:lnTo>
                  <a:lnTo>
                    <a:pt x="138" y="479"/>
                  </a:lnTo>
                  <a:lnTo>
                    <a:pt x="136" y="477"/>
                  </a:lnTo>
                  <a:lnTo>
                    <a:pt x="134" y="474"/>
                  </a:lnTo>
                  <a:lnTo>
                    <a:pt x="132" y="471"/>
                  </a:lnTo>
                  <a:lnTo>
                    <a:pt x="130" y="467"/>
                  </a:lnTo>
                  <a:lnTo>
                    <a:pt x="129" y="463"/>
                  </a:lnTo>
                  <a:lnTo>
                    <a:pt x="127" y="455"/>
                  </a:lnTo>
                  <a:lnTo>
                    <a:pt x="125" y="452"/>
                  </a:lnTo>
                  <a:lnTo>
                    <a:pt x="124" y="447"/>
                  </a:lnTo>
                  <a:lnTo>
                    <a:pt x="121" y="443"/>
                  </a:lnTo>
                  <a:lnTo>
                    <a:pt x="119" y="439"/>
                  </a:lnTo>
                  <a:lnTo>
                    <a:pt x="114" y="432"/>
                  </a:lnTo>
                  <a:lnTo>
                    <a:pt x="112" y="430"/>
                  </a:lnTo>
                  <a:lnTo>
                    <a:pt x="107" y="426"/>
                  </a:lnTo>
                  <a:lnTo>
                    <a:pt x="105" y="424"/>
                  </a:lnTo>
                  <a:lnTo>
                    <a:pt x="104" y="422"/>
                  </a:lnTo>
                  <a:lnTo>
                    <a:pt x="102" y="420"/>
                  </a:lnTo>
                  <a:lnTo>
                    <a:pt x="101" y="417"/>
                  </a:lnTo>
                  <a:lnTo>
                    <a:pt x="100" y="416"/>
                  </a:lnTo>
                  <a:lnTo>
                    <a:pt x="99" y="414"/>
                  </a:lnTo>
                  <a:lnTo>
                    <a:pt x="99" y="412"/>
                  </a:lnTo>
                  <a:lnTo>
                    <a:pt x="99" y="410"/>
                  </a:lnTo>
                  <a:lnTo>
                    <a:pt x="99" y="407"/>
                  </a:lnTo>
                  <a:lnTo>
                    <a:pt x="98" y="404"/>
                  </a:lnTo>
                  <a:lnTo>
                    <a:pt x="97" y="402"/>
                  </a:lnTo>
                  <a:lnTo>
                    <a:pt x="97" y="399"/>
                  </a:lnTo>
                  <a:lnTo>
                    <a:pt x="94" y="392"/>
                  </a:lnTo>
                  <a:lnTo>
                    <a:pt x="92" y="384"/>
                  </a:lnTo>
                  <a:lnTo>
                    <a:pt x="89" y="379"/>
                  </a:lnTo>
                  <a:lnTo>
                    <a:pt x="87" y="374"/>
                  </a:lnTo>
                  <a:lnTo>
                    <a:pt x="79" y="361"/>
                  </a:lnTo>
                  <a:lnTo>
                    <a:pt x="77" y="357"/>
                  </a:lnTo>
                  <a:lnTo>
                    <a:pt x="75" y="353"/>
                  </a:lnTo>
                  <a:lnTo>
                    <a:pt x="72" y="349"/>
                  </a:lnTo>
                  <a:lnTo>
                    <a:pt x="69" y="345"/>
                  </a:lnTo>
                  <a:lnTo>
                    <a:pt x="64" y="339"/>
                  </a:lnTo>
                  <a:lnTo>
                    <a:pt x="57" y="332"/>
                  </a:lnTo>
                  <a:lnTo>
                    <a:pt x="55" y="330"/>
                  </a:lnTo>
                  <a:lnTo>
                    <a:pt x="54" y="328"/>
                  </a:lnTo>
                  <a:lnTo>
                    <a:pt x="53" y="326"/>
                  </a:lnTo>
                  <a:lnTo>
                    <a:pt x="52" y="324"/>
                  </a:lnTo>
                  <a:lnTo>
                    <a:pt x="51" y="322"/>
                  </a:lnTo>
                  <a:lnTo>
                    <a:pt x="51" y="320"/>
                  </a:lnTo>
                  <a:lnTo>
                    <a:pt x="50" y="317"/>
                  </a:lnTo>
                  <a:lnTo>
                    <a:pt x="50" y="313"/>
                  </a:lnTo>
                  <a:lnTo>
                    <a:pt x="52" y="306"/>
                  </a:lnTo>
                  <a:lnTo>
                    <a:pt x="53" y="295"/>
                  </a:lnTo>
                  <a:lnTo>
                    <a:pt x="54" y="292"/>
                  </a:lnTo>
                  <a:lnTo>
                    <a:pt x="55" y="288"/>
                  </a:lnTo>
                  <a:lnTo>
                    <a:pt x="58" y="280"/>
                  </a:lnTo>
                  <a:lnTo>
                    <a:pt x="59" y="277"/>
                  </a:lnTo>
                  <a:lnTo>
                    <a:pt x="60" y="274"/>
                  </a:lnTo>
                  <a:lnTo>
                    <a:pt x="61" y="269"/>
                  </a:lnTo>
                  <a:lnTo>
                    <a:pt x="61" y="267"/>
                  </a:lnTo>
                  <a:lnTo>
                    <a:pt x="62" y="264"/>
                  </a:lnTo>
                  <a:lnTo>
                    <a:pt x="65" y="260"/>
                  </a:lnTo>
                  <a:lnTo>
                    <a:pt x="66" y="259"/>
                  </a:lnTo>
                  <a:lnTo>
                    <a:pt x="66" y="258"/>
                  </a:lnTo>
                  <a:lnTo>
                    <a:pt x="67" y="257"/>
                  </a:lnTo>
                  <a:lnTo>
                    <a:pt x="67" y="255"/>
                  </a:lnTo>
                  <a:lnTo>
                    <a:pt x="67" y="253"/>
                  </a:lnTo>
                  <a:lnTo>
                    <a:pt x="66" y="249"/>
                  </a:lnTo>
                  <a:lnTo>
                    <a:pt x="66" y="247"/>
                  </a:lnTo>
                  <a:lnTo>
                    <a:pt x="67" y="245"/>
                  </a:lnTo>
                  <a:lnTo>
                    <a:pt x="68" y="240"/>
                  </a:lnTo>
                  <a:lnTo>
                    <a:pt x="69" y="239"/>
                  </a:lnTo>
                  <a:lnTo>
                    <a:pt x="69" y="237"/>
                  </a:lnTo>
                  <a:lnTo>
                    <a:pt x="68" y="236"/>
                  </a:lnTo>
                  <a:lnTo>
                    <a:pt x="68" y="235"/>
                  </a:lnTo>
                  <a:lnTo>
                    <a:pt x="67" y="232"/>
                  </a:lnTo>
                  <a:lnTo>
                    <a:pt x="65" y="230"/>
                  </a:lnTo>
                  <a:lnTo>
                    <a:pt x="64" y="230"/>
                  </a:lnTo>
                  <a:lnTo>
                    <a:pt x="63" y="228"/>
                  </a:lnTo>
                  <a:lnTo>
                    <a:pt x="59" y="225"/>
                  </a:lnTo>
                  <a:lnTo>
                    <a:pt x="57" y="223"/>
                  </a:lnTo>
                  <a:lnTo>
                    <a:pt x="55" y="222"/>
                  </a:lnTo>
                  <a:lnTo>
                    <a:pt x="54" y="220"/>
                  </a:lnTo>
                  <a:lnTo>
                    <a:pt x="54" y="219"/>
                  </a:lnTo>
                  <a:lnTo>
                    <a:pt x="54" y="217"/>
                  </a:lnTo>
                  <a:lnTo>
                    <a:pt x="55" y="216"/>
                  </a:lnTo>
                  <a:lnTo>
                    <a:pt x="57" y="214"/>
                  </a:lnTo>
                  <a:lnTo>
                    <a:pt x="57" y="212"/>
                  </a:lnTo>
                  <a:lnTo>
                    <a:pt x="57" y="210"/>
                  </a:lnTo>
                  <a:lnTo>
                    <a:pt x="57" y="208"/>
                  </a:lnTo>
                  <a:lnTo>
                    <a:pt x="56" y="206"/>
                  </a:lnTo>
                  <a:lnTo>
                    <a:pt x="53" y="199"/>
                  </a:lnTo>
                  <a:lnTo>
                    <a:pt x="52" y="195"/>
                  </a:lnTo>
                  <a:lnTo>
                    <a:pt x="51" y="192"/>
                  </a:lnTo>
                  <a:lnTo>
                    <a:pt x="50" y="187"/>
                  </a:lnTo>
                  <a:lnTo>
                    <a:pt x="49" y="185"/>
                  </a:lnTo>
                  <a:lnTo>
                    <a:pt x="48" y="182"/>
                  </a:lnTo>
                  <a:lnTo>
                    <a:pt x="45" y="177"/>
                  </a:lnTo>
                  <a:lnTo>
                    <a:pt x="44" y="175"/>
                  </a:lnTo>
                  <a:lnTo>
                    <a:pt x="43" y="172"/>
                  </a:lnTo>
                  <a:lnTo>
                    <a:pt x="43" y="172"/>
                  </a:lnTo>
                  <a:lnTo>
                    <a:pt x="42" y="170"/>
                  </a:lnTo>
                  <a:lnTo>
                    <a:pt x="42" y="169"/>
                  </a:lnTo>
                  <a:lnTo>
                    <a:pt x="43" y="167"/>
                  </a:lnTo>
                  <a:lnTo>
                    <a:pt x="43" y="167"/>
                  </a:lnTo>
                  <a:lnTo>
                    <a:pt x="44" y="164"/>
                  </a:lnTo>
                  <a:lnTo>
                    <a:pt x="46" y="162"/>
                  </a:lnTo>
                  <a:lnTo>
                    <a:pt x="48" y="160"/>
                  </a:lnTo>
                  <a:lnTo>
                    <a:pt x="49" y="158"/>
                  </a:lnTo>
                  <a:lnTo>
                    <a:pt x="51" y="157"/>
                  </a:lnTo>
                  <a:lnTo>
                    <a:pt x="53" y="157"/>
                  </a:lnTo>
                  <a:lnTo>
                    <a:pt x="57" y="155"/>
                  </a:lnTo>
                  <a:lnTo>
                    <a:pt x="59" y="154"/>
                  </a:lnTo>
                  <a:lnTo>
                    <a:pt x="61" y="152"/>
                  </a:lnTo>
                  <a:lnTo>
                    <a:pt x="63" y="150"/>
                  </a:lnTo>
                  <a:lnTo>
                    <a:pt x="64" y="148"/>
                  </a:lnTo>
                  <a:lnTo>
                    <a:pt x="66" y="145"/>
                  </a:lnTo>
                  <a:lnTo>
                    <a:pt x="67" y="142"/>
                  </a:lnTo>
                  <a:lnTo>
                    <a:pt x="69" y="140"/>
                  </a:lnTo>
                  <a:lnTo>
                    <a:pt x="69" y="138"/>
                  </a:lnTo>
                  <a:lnTo>
                    <a:pt x="69" y="136"/>
                  </a:lnTo>
                  <a:lnTo>
                    <a:pt x="69" y="135"/>
                  </a:lnTo>
                  <a:lnTo>
                    <a:pt x="69" y="134"/>
                  </a:lnTo>
                  <a:lnTo>
                    <a:pt x="69" y="132"/>
                  </a:lnTo>
                  <a:lnTo>
                    <a:pt x="68" y="132"/>
                  </a:lnTo>
                  <a:lnTo>
                    <a:pt x="67" y="131"/>
                  </a:lnTo>
                  <a:lnTo>
                    <a:pt x="67" y="131"/>
                  </a:lnTo>
                  <a:lnTo>
                    <a:pt x="66" y="130"/>
                  </a:lnTo>
                  <a:lnTo>
                    <a:pt x="62" y="130"/>
                  </a:lnTo>
                  <a:lnTo>
                    <a:pt x="60" y="129"/>
                  </a:lnTo>
                  <a:lnTo>
                    <a:pt x="59" y="128"/>
                  </a:lnTo>
                  <a:lnTo>
                    <a:pt x="57" y="127"/>
                  </a:lnTo>
                  <a:lnTo>
                    <a:pt x="53" y="122"/>
                  </a:lnTo>
                  <a:lnTo>
                    <a:pt x="53" y="121"/>
                  </a:lnTo>
                  <a:lnTo>
                    <a:pt x="52" y="120"/>
                  </a:lnTo>
                  <a:lnTo>
                    <a:pt x="52" y="118"/>
                  </a:lnTo>
                  <a:lnTo>
                    <a:pt x="52" y="117"/>
                  </a:lnTo>
                  <a:lnTo>
                    <a:pt x="52" y="116"/>
                  </a:lnTo>
                  <a:lnTo>
                    <a:pt x="52" y="115"/>
                  </a:lnTo>
                  <a:lnTo>
                    <a:pt x="54" y="114"/>
                  </a:lnTo>
                  <a:lnTo>
                    <a:pt x="54" y="113"/>
                  </a:lnTo>
                  <a:lnTo>
                    <a:pt x="54" y="112"/>
                  </a:lnTo>
                  <a:lnTo>
                    <a:pt x="54" y="112"/>
                  </a:lnTo>
                  <a:lnTo>
                    <a:pt x="53" y="111"/>
                  </a:lnTo>
                  <a:lnTo>
                    <a:pt x="52" y="110"/>
                  </a:lnTo>
                  <a:lnTo>
                    <a:pt x="50" y="110"/>
                  </a:lnTo>
                  <a:lnTo>
                    <a:pt x="49" y="109"/>
                  </a:lnTo>
                  <a:lnTo>
                    <a:pt x="46" y="108"/>
                  </a:lnTo>
                  <a:lnTo>
                    <a:pt x="44" y="108"/>
                  </a:lnTo>
                  <a:lnTo>
                    <a:pt x="43" y="107"/>
                  </a:lnTo>
                  <a:lnTo>
                    <a:pt x="41" y="106"/>
                  </a:lnTo>
                  <a:lnTo>
                    <a:pt x="39" y="105"/>
                  </a:lnTo>
                  <a:lnTo>
                    <a:pt x="37" y="102"/>
                  </a:lnTo>
                  <a:lnTo>
                    <a:pt x="34" y="97"/>
                  </a:lnTo>
                  <a:lnTo>
                    <a:pt x="33" y="97"/>
                  </a:lnTo>
                  <a:lnTo>
                    <a:pt x="32" y="96"/>
                  </a:lnTo>
                  <a:lnTo>
                    <a:pt x="30" y="95"/>
                  </a:lnTo>
                  <a:lnTo>
                    <a:pt x="27" y="92"/>
                  </a:lnTo>
                  <a:lnTo>
                    <a:pt x="25" y="91"/>
                  </a:lnTo>
                  <a:lnTo>
                    <a:pt x="22" y="90"/>
                  </a:lnTo>
                  <a:lnTo>
                    <a:pt x="19" y="89"/>
                  </a:lnTo>
                  <a:lnTo>
                    <a:pt x="17" y="87"/>
                  </a:lnTo>
                  <a:lnTo>
                    <a:pt x="14" y="87"/>
                  </a:lnTo>
                  <a:lnTo>
                    <a:pt x="5" y="86"/>
                  </a:lnTo>
                  <a:lnTo>
                    <a:pt x="3" y="85"/>
                  </a:lnTo>
                  <a:lnTo>
                    <a:pt x="2" y="85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2" y="82"/>
                  </a:lnTo>
                  <a:lnTo>
                    <a:pt x="5" y="77"/>
                  </a:lnTo>
                  <a:lnTo>
                    <a:pt x="6" y="75"/>
                  </a:lnTo>
                  <a:lnTo>
                    <a:pt x="7" y="73"/>
                  </a:lnTo>
                  <a:lnTo>
                    <a:pt x="9" y="72"/>
                  </a:lnTo>
                  <a:lnTo>
                    <a:pt x="10" y="70"/>
                  </a:lnTo>
                  <a:lnTo>
                    <a:pt x="12" y="70"/>
                  </a:lnTo>
                  <a:lnTo>
                    <a:pt x="15" y="68"/>
                  </a:lnTo>
                  <a:lnTo>
                    <a:pt x="17" y="67"/>
                  </a:lnTo>
                  <a:lnTo>
                    <a:pt x="19" y="67"/>
                  </a:lnTo>
                  <a:lnTo>
                    <a:pt x="22" y="67"/>
                  </a:lnTo>
                  <a:lnTo>
                    <a:pt x="29" y="67"/>
                  </a:lnTo>
                  <a:lnTo>
                    <a:pt x="32" y="67"/>
                  </a:lnTo>
                  <a:lnTo>
                    <a:pt x="34" y="66"/>
                  </a:lnTo>
                  <a:lnTo>
                    <a:pt x="37" y="65"/>
                  </a:lnTo>
                  <a:lnTo>
                    <a:pt x="39" y="65"/>
                  </a:lnTo>
                  <a:lnTo>
                    <a:pt x="42" y="63"/>
                  </a:lnTo>
                  <a:lnTo>
                    <a:pt x="44" y="61"/>
                  </a:lnTo>
                  <a:lnTo>
                    <a:pt x="48" y="57"/>
                  </a:lnTo>
                  <a:lnTo>
                    <a:pt x="49" y="56"/>
                  </a:lnTo>
                  <a:lnTo>
                    <a:pt x="51" y="55"/>
                  </a:lnTo>
                  <a:lnTo>
                    <a:pt x="52" y="55"/>
                  </a:lnTo>
                  <a:lnTo>
                    <a:pt x="53" y="55"/>
                  </a:lnTo>
                  <a:lnTo>
                    <a:pt x="55" y="55"/>
                  </a:lnTo>
                  <a:lnTo>
                    <a:pt x="57" y="55"/>
                  </a:lnTo>
                  <a:lnTo>
                    <a:pt x="59" y="55"/>
                  </a:lnTo>
                  <a:lnTo>
                    <a:pt x="59" y="54"/>
                  </a:lnTo>
                  <a:lnTo>
                    <a:pt x="61" y="53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3" y="50"/>
                  </a:lnTo>
                  <a:lnTo>
                    <a:pt x="64" y="47"/>
                  </a:lnTo>
                  <a:lnTo>
                    <a:pt x="67" y="43"/>
                  </a:lnTo>
                  <a:lnTo>
                    <a:pt x="69" y="41"/>
                  </a:lnTo>
                  <a:lnTo>
                    <a:pt x="70" y="37"/>
                  </a:lnTo>
                  <a:lnTo>
                    <a:pt x="72" y="32"/>
                  </a:lnTo>
                  <a:lnTo>
                    <a:pt x="73" y="30"/>
                  </a:lnTo>
                  <a:lnTo>
                    <a:pt x="74" y="25"/>
                  </a:lnTo>
                  <a:lnTo>
                    <a:pt x="74" y="23"/>
                  </a:lnTo>
                  <a:lnTo>
                    <a:pt x="76" y="21"/>
                  </a:lnTo>
                  <a:lnTo>
                    <a:pt x="77" y="20"/>
                  </a:lnTo>
                  <a:lnTo>
                    <a:pt x="79" y="18"/>
                  </a:lnTo>
                  <a:lnTo>
                    <a:pt x="82" y="17"/>
                  </a:lnTo>
                  <a:lnTo>
                    <a:pt x="96" y="10"/>
                  </a:lnTo>
                  <a:lnTo>
                    <a:pt x="102" y="7"/>
                  </a:lnTo>
                  <a:lnTo>
                    <a:pt x="105" y="5"/>
                  </a:lnTo>
                  <a:lnTo>
                    <a:pt x="108" y="5"/>
                  </a:lnTo>
                  <a:lnTo>
                    <a:pt x="119" y="1"/>
                  </a:lnTo>
                  <a:lnTo>
                    <a:pt x="120" y="1"/>
                  </a:lnTo>
                  <a:close/>
                </a:path>
              </a:pathLst>
            </a:custGeom>
            <a:solidFill>
              <a:srgbClr val="595959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101">
              <a:extLst>
                <a:ext uri="{FF2B5EF4-FFF2-40B4-BE49-F238E27FC236}">
                  <a16:creationId xmlns:a16="http://schemas.microsoft.com/office/drawing/2014/main" id="{076D6186-3A5B-B8DF-3867-9EC4F18A81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186" y="5395750"/>
              <a:ext cx="1076325" cy="930275"/>
            </a:xfrm>
            <a:custGeom>
              <a:avLst/>
              <a:gdLst>
                <a:gd name="T0" fmla="*/ 141 w 678"/>
                <a:gd name="T1" fmla="*/ 7 h 586"/>
                <a:gd name="T2" fmla="*/ 179 w 678"/>
                <a:gd name="T3" fmla="*/ 19 h 586"/>
                <a:gd name="T4" fmla="*/ 197 w 678"/>
                <a:gd name="T5" fmla="*/ 39 h 586"/>
                <a:gd name="T6" fmla="*/ 244 w 678"/>
                <a:gd name="T7" fmla="*/ 42 h 586"/>
                <a:gd name="T8" fmla="*/ 296 w 678"/>
                <a:gd name="T9" fmla="*/ 62 h 586"/>
                <a:gd name="T10" fmla="*/ 324 w 678"/>
                <a:gd name="T11" fmla="*/ 74 h 586"/>
                <a:gd name="T12" fmla="*/ 364 w 678"/>
                <a:gd name="T13" fmla="*/ 65 h 586"/>
                <a:gd name="T14" fmla="*/ 394 w 678"/>
                <a:gd name="T15" fmla="*/ 40 h 586"/>
                <a:gd name="T16" fmla="*/ 410 w 678"/>
                <a:gd name="T17" fmla="*/ 47 h 586"/>
                <a:gd name="T18" fmla="*/ 434 w 678"/>
                <a:gd name="T19" fmla="*/ 51 h 586"/>
                <a:gd name="T20" fmla="*/ 447 w 678"/>
                <a:gd name="T21" fmla="*/ 68 h 586"/>
                <a:gd name="T22" fmla="*/ 470 w 678"/>
                <a:gd name="T23" fmla="*/ 95 h 586"/>
                <a:gd name="T24" fmla="*/ 510 w 678"/>
                <a:gd name="T25" fmla="*/ 107 h 586"/>
                <a:gd name="T26" fmla="*/ 601 w 678"/>
                <a:gd name="T27" fmla="*/ 105 h 586"/>
                <a:gd name="T28" fmla="*/ 629 w 678"/>
                <a:gd name="T29" fmla="*/ 94 h 586"/>
                <a:gd name="T30" fmla="*/ 644 w 678"/>
                <a:gd name="T31" fmla="*/ 75 h 586"/>
                <a:gd name="T32" fmla="*/ 652 w 678"/>
                <a:gd name="T33" fmla="*/ 92 h 586"/>
                <a:gd name="T34" fmla="*/ 652 w 678"/>
                <a:gd name="T35" fmla="*/ 145 h 586"/>
                <a:gd name="T36" fmla="*/ 677 w 678"/>
                <a:gd name="T37" fmla="*/ 182 h 586"/>
                <a:gd name="T38" fmla="*/ 668 w 678"/>
                <a:gd name="T39" fmla="*/ 201 h 586"/>
                <a:gd name="T40" fmla="*/ 639 w 678"/>
                <a:gd name="T41" fmla="*/ 226 h 586"/>
                <a:gd name="T42" fmla="*/ 606 w 678"/>
                <a:gd name="T43" fmla="*/ 244 h 586"/>
                <a:gd name="T44" fmla="*/ 591 w 678"/>
                <a:gd name="T45" fmla="*/ 274 h 586"/>
                <a:gd name="T46" fmla="*/ 584 w 678"/>
                <a:gd name="T47" fmla="*/ 312 h 586"/>
                <a:gd name="T48" fmla="*/ 574 w 678"/>
                <a:gd name="T49" fmla="*/ 336 h 586"/>
                <a:gd name="T50" fmla="*/ 585 w 678"/>
                <a:gd name="T51" fmla="*/ 365 h 586"/>
                <a:gd name="T52" fmla="*/ 584 w 678"/>
                <a:gd name="T53" fmla="*/ 379 h 586"/>
                <a:gd name="T54" fmla="*/ 570 w 678"/>
                <a:gd name="T55" fmla="*/ 385 h 586"/>
                <a:gd name="T56" fmla="*/ 527 w 678"/>
                <a:gd name="T57" fmla="*/ 367 h 586"/>
                <a:gd name="T58" fmla="*/ 474 w 678"/>
                <a:gd name="T59" fmla="*/ 367 h 586"/>
                <a:gd name="T60" fmla="*/ 411 w 678"/>
                <a:gd name="T61" fmla="*/ 379 h 586"/>
                <a:gd name="T62" fmla="*/ 379 w 678"/>
                <a:gd name="T63" fmla="*/ 379 h 586"/>
                <a:gd name="T64" fmla="*/ 376 w 678"/>
                <a:gd name="T65" fmla="*/ 409 h 586"/>
                <a:gd name="T66" fmla="*/ 384 w 678"/>
                <a:gd name="T67" fmla="*/ 464 h 586"/>
                <a:gd name="T68" fmla="*/ 393 w 678"/>
                <a:gd name="T69" fmla="*/ 515 h 586"/>
                <a:gd name="T70" fmla="*/ 375 w 678"/>
                <a:gd name="T71" fmla="*/ 559 h 586"/>
                <a:gd name="T72" fmla="*/ 347 w 678"/>
                <a:gd name="T73" fmla="*/ 573 h 586"/>
                <a:gd name="T74" fmla="*/ 326 w 678"/>
                <a:gd name="T75" fmla="*/ 576 h 586"/>
                <a:gd name="T76" fmla="*/ 281 w 678"/>
                <a:gd name="T77" fmla="*/ 551 h 586"/>
                <a:gd name="T78" fmla="*/ 243 w 678"/>
                <a:gd name="T79" fmla="*/ 531 h 586"/>
                <a:gd name="T80" fmla="*/ 226 w 678"/>
                <a:gd name="T81" fmla="*/ 477 h 586"/>
                <a:gd name="T82" fmla="*/ 203 w 678"/>
                <a:gd name="T83" fmla="*/ 454 h 586"/>
                <a:gd name="T84" fmla="*/ 181 w 678"/>
                <a:gd name="T85" fmla="*/ 402 h 586"/>
                <a:gd name="T86" fmla="*/ 148 w 678"/>
                <a:gd name="T87" fmla="*/ 394 h 586"/>
                <a:gd name="T88" fmla="*/ 115 w 678"/>
                <a:gd name="T89" fmla="*/ 384 h 586"/>
                <a:gd name="T90" fmla="*/ 75 w 678"/>
                <a:gd name="T91" fmla="*/ 308 h 586"/>
                <a:gd name="T92" fmla="*/ 57 w 678"/>
                <a:gd name="T93" fmla="*/ 301 h 586"/>
                <a:gd name="T94" fmla="*/ 34 w 678"/>
                <a:gd name="T95" fmla="*/ 275 h 586"/>
                <a:gd name="T96" fmla="*/ 8 w 678"/>
                <a:gd name="T97" fmla="*/ 270 h 586"/>
                <a:gd name="T98" fmla="*/ 0 w 678"/>
                <a:gd name="T99" fmla="*/ 232 h 586"/>
                <a:gd name="T100" fmla="*/ 13 w 678"/>
                <a:gd name="T101" fmla="*/ 184 h 586"/>
                <a:gd name="T102" fmla="*/ 40 w 678"/>
                <a:gd name="T103" fmla="*/ 159 h 586"/>
                <a:gd name="T104" fmla="*/ 56 w 678"/>
                <a:gd name="T105" fmla="*/ 140 h 586"/>
                <a:gd name="T106" fmla="*/ 47 w 678"/>
                <a:gd name="T107" fmla="*/ 91 h 586"/>
                <a:gd name="T108" fmla="*/ 52 w 678"/>
                <a:gd name="T109" fmla="*/ 40 h 586"/>
                <a:gd name="T110" fmla="*/ 74 w 678"/>
                <a:gd name="T111" fmla="*/ 27 h 586"/>
                <a:gd name="T112" fmla="*/ 99 w 678"/>
                <a:gd name="T113" fmla="*/ 22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78" h="586">
                  <a:moveTo>
                    <a:pt x="132" y="0"/>
                  </a:moveTo>
                  <a:lnTo>
                    <a:pt x="135" y="2"/>
                  </a:lnTo>
                  <a:lnTo>
                    <a:pt x="137" y="1"/>
                  </a:lnTo>
                  <a:lnTo>
                    <a:pt x="137" y="1"/>
                  </a:lnTo>
                  <a:lnTo>
                    <a:pt x="138" y="2"/>
                  </a:lnTo>
                  <a:lnTo>
                    <a:pt x="139" y="2"/>
                  </a:lnTo>
                  <a:lnTo>
                    <a:pt x="140" y="5"/>
                  </a:lnTo>
                  <a:lnTo>
                    <a:pt x="140" y="6"/>
                  </a:lnTo>
                  <a:lnTo>
                    <a:pt x="140" y="6"/>
                  </a:lnTo>
                  <a:lnTo>
                    <a:pt x="141" y="7"/>
                  </a:lnTo>
                  <a:lnTo>
                    <a:pt x="143" y="8"/>
                  </a:lnTo>
                  <a:lnTo>
                    <a:pt x="145" y="9"/>
                  </a:lnTo>
                  <a:lnTo>
                    <a:pt x="147" y="10"/>
                  </a:lnTo>
                  <a:lnTo>
                    <a:pt x="150" y="10"/>
                  </a:lnTo>
                  <a:lnTo>
                    <a:pt x="161" y="12"/>
                  </a:lnTo>
                  <a:lnTo>
                    <a:pt x="167" y="14"/>
                  </a:lnTo>
                  <a:lnTo>
                    <a:pt x="171" y="15"/>
                  </a:lnTo>
                  <a:lnTo>
                    <a:pt x="174" y="16"/>
                  </a:lnTo>
                  <a:lnTo>
                    <a:pt x="177" y="17"/>
                  </a:lnTo>
                  <a:lnTo>
                    <a:pt x="179" y="19"/>
                  </a:lnTo>
                  <a:lnTo>
                    <a:pt x="182" y="20"/>
                  </a:lnTo>
                  <a:lnTo>
                    <a:pt x="184" y="22"/>
                  </a:lnTo>
                  <a:lnTo>
                    <a:pt x="185" y="23"/>
                  </a:lnTo>
                  <a:lnTo>
                    <a:pt x="187" y="25"/>
                  </a:lnTo>
                  <a:lnTo>
                    <a:pt x="188" y="26"/>
                  </a:lnTo>
                  <a:lnTo>
                    <a:pt x="189" y="28"/>
                  </a:lnTo>
                  <a:lnTo>
                    <a:pt x="192" y="35"/>
                  </a:lnTo>
                  <a:lnTo>
                    <a:pt x="194" y="36"/>
                  </a:lnTo>
                  <a:lnTo>
                    <a:pt x="195" y="37"/>
                  </a:lnTo>
                  <a:lnTo>
                    <a:pt x="197" y="39"/>
                  </a:lnTo>
                  <a:lnTo>
                    <a:pt x="199" y="40"/>
                  </a:lnTo>
                  <a:lnTo>
                    <a:pt x="201" y="41"/>
                  </a:lnTo>
                  <a:lnTo>
                    <a:pt x="204" y="42"/>
                  </a:lnTo>
                  <a:lnTo>
                    <a:pt x="206" y="42"/>
                  </a:lnTo>
                  <a:lnTo>
                    <a:pt x="208" y="43"/>
                  </a:lnTo>
                  <a:lnTo>
                    <a:pt x="212" y="43"/>
                  </a:lnTo>
                  <a:lnTo>
                    <a:pt x="215" y="43"/>
                  </a:lnTo>
                  <a:lnTo>
                    <a:pt x="225" y="42"/>
                  </a:lnTo>
                  <a:lnTo>
                    <a:pt x="231" y="42"/>
                  </a:lnTo>
                  <a:lnTo>
                    <a:pt x="244" y="42"/>
                  </a:lnTo>
                  <a:lnTo>
                    <a:pt x="256" y="43"/>
                  </a:lnTo>
                  <a:lnTo>
                    <a:pt x="281" y="44"/>
                  </a:lnTo>
                  <a:lnTo>
                    <a:pt x="283" y="45"/>
                  </a:lnTo>
                  <a:lnTo>
                    <a:pt x="284" y="45"/>
                  </a:lnTo>
                  <a:lnTo>
                    <a:pt x="287" y="46"/>
                  </a:lnTo>
                  <a:lnTo>
                    <a:pt x="288" y="47"/>
                  </a:lnTo>
                  <a:lnTo>
                    <a:pt x="290" y="50"/>
                  </a:lnTo>
                  <a:lnTo>
                    <a:pt x="292" y="53"/>
                  </a:lnTo>
                  <a:lnTo>
                    <a:pt x="294" y="57"/>
                  </a:lnTo>
                  <a:lnTo>
                    <a:pt x="296" y="62"/>
                  </a:lnTo>
                  <a:lnTo>
                    <a:pt x="299" y="70"/>
                  </a:lnTo>
                  <a:lnTo>
                    <a:pt x="301" y="73"/>
                  </a:lnTo>
                  <a:lnTo>
                    <a:pt x="302" y="75"/>
                  </a:lnTo>
                  <a:lnTo>
                    <a:pt x="302" y="75"/>
                  </a:lnTo>
                  <a:lnTo>
                    <a:pt x="304" y="75"/>
                  </a:lnTo>
                  <a:lnTo>
                    <a:pt x="304" y="76"/>
                  </a:lnTo>
                  <a:lnTo>
                    <a:pt x="307" y="76"/>
                  </a:lnTo>
                  <a:lnTo>
                    <a:pt x="314" y="74"/>
                  </a:lnTo>
                  <a:lnTo>
                    <a:pt x="318" y="74"/>
                  </a:lnTo>
                  <a:lnTo>
                    <a:pt x="324" y="74"/>
                  </a:lnTo>
                  <a:lnTo>
                    <a:pt x="332" y="74"/>
                  </a:lnTo>
                  <a:lnTo>
                    <a:pt x="337" y="74"/>
                  </a:lnTo>
                  <a:lnTo>
                    <a:pt x="339" y="74"/>
                  </a:lnTo>
                  <a:lnTo>
                    <a:pt x="340" y="74"/>
                  </a:lnTo>
                  <a:lnTo>
                    <a:pt x="342" y="73"/>
                  </a:lnTo>
                  <a:lnTo>
                    <a:pt x="344" y="72"/>
                  </a:lnTo>
                  <a:lnTo>
                    <a:pt x="353" y="68"/>
                  </a:lnTo>
                  <a:lnTo>
                    <a:pt x="357" y="67"/>
                  </a:lnTo>
                  <a:lnTo>
                    <a:pt x="359" y="66"/>
                  </a:lnTo>
                  <a:lnTo>
                    <a:pt x="364" y="65"/>
                  </a:lnTo>
                  <a:lnTo>
                    <a:pt x="377" y="63"/>
                  </a:lnTo>
                  <a:lnTo>
                    <a:pt x="379" y="62"/>
                  </a:lnTo>
                  <a:lnTo>
                    <a:pt x="381" y="62"/>
                  </a:lnTo>
                  <a:lnTo>
                    <a:pt x="382" y="61"/>
                  </a:lnTo>
                  <a:lnTo>
                    <a:pt x="383" y="60"/>
                  </a:lnTo>
                  <a:lnTo>
                    <a:pt x="384" y="59"/>
                  </a:lnTo>
                  <a:lnTo>
                    <a:pt x="387" y="54"/>
                  </a:lnTo>
                  <a:lnTo>
                    <a:pt x="392" y="44"/>
                  </a:lnTo>
                  <a:lnTo>
                    <a:pt x="394" y="41"/>
                  </a:lnTo>
                  <a:lnTo>
                    <a:pt x="394" y="40"/>
                  </a:lnTo>
                  <a:lnTo>
                    <a:pt x="396" y="39"/>
                  </a:lnTo>
                  <a:lnTo>
                    <a:pt x="397" y="38"/>
                  </a:lnTo>
                  <a:lnTo>
                    <a:pt x="399" y="37"/>
                  </a:lnTo>
                  <a:lnTo>
                    <a:pt x="401" y="38"/>
                  </a:lnTo>
                  <a:lnTo>
                    <a:pt x="401" y="38"/>
                  </a:lnTo>
                  <a:lnTo>
                    <a:pt x="402" y="39"/>
                  </a:lnTo>
                  <a:lnTo>
                    <a:pt x="404" y="40"/>
                  </a:lnTo>
                  <a:lnTo>
                    <a:pt x="406" y="42"/>
                  </a:lnTo>
                  <a:lnTo>
                    <a:pt x="408" y="45"/>
                  </a:lnTo>
                  <a:lnTo>
                    <a:pt x="410" y="47"/>
                  </a:lnTo>
                  <a:lnTo>
                    <a:pt x="412" y="49"/>
                  </a:lnTo>
                  <a:lnTo>
                    <a:pt x="414" y="50"/>
                  </a:lnTo>
                  <a:lnTo>
                    <a:pt x="416" y="51"/>
                  </a:lnTo>
                  <a:lnTo>
                    <a:pt x="416" y="51"/>
                  </a:lnTo>
                  <a:lnTo>
                    <a:pt x="420" y="51"/>
                  </a:lnTo>
                  <a:lnTo>
                    <a:pt x="422" y="51"/>
                  </a:lnTo>
                  <a:lnTo>
                    <a:pt x="429" y="50"/>
                  </a:lnTo>
                  <a:lnTo>
                    <a:pt x="432" y="50"/>
                  </a:lnTo>
                  <a:lnTo>
                    <a:pt x="434" y="51"/>
                  </a:lnTo>
                  <a:lnTo>
                    <a:pt x="434" y="51"/>
                  </a:lnTo>
                  <a:lnTo>
                    <a:pt x="436" y="52"/>
                  </a:lnTo>
                  <a:lnTo>
                    <a:pt x="436" y="52"/>
                  </a:lnTo>
                  <a:lnTo>
                    <a:pt x="439" y="54"/>
                  </a:lnTo>
                  <a:lnTo>
                    <a:pt x="439" y="56"/>
                  </a:lnTo>
                  <a:lnTo>
                    <a:pt x="440" y="58"/>
                  </a:lnTo>
                  <a:lnTo>
                    <a:pt x="442" y="62"/>
                  </a:lnTo>
                  <a:lnTo>
                    <a:pt x="443" y="64"/>
                  </a:lnTo>
                  <a:lnTo>
                    <a:pt x="444" y="65"/>
                  </a:lnTo>
                  <a:lnTo>
                    <a:pt x="445" y="66"/>
                  </a:lnTo>
                  <a:lnTo>
                    <a:pt x="447" y="68"/>
                  </a:lnTo>
                  <a:lnTo>
                    <a:pt x="453" y="74"/>
                  </a:lnTo>
                  <a:lnTo>
                    <a:pt x="456" y="77"/>
                  </a:lnTo>
                  <a:lnTo>
                    <a:pt x="457" y="78"/>
                  </a:lnTo>
                  <a:lnTo>
                    <a:pt x="459" y="80"/>
                  </a:lnTo>
                  <a:lnTo>
                    <a:pt x="463" y="87"/>
                  </a:lnTo>
                  <a:lnTo>
                    <a:pt x="465" y="90"/>
                  </a:lnTo>
                  <a:lnTo>
                    <a:pt x="466" y="91"/>
                  </a:lnTo>
                  <a:lnTo>
                    <a:pt x="467" y="92"/>
                  </a:lnTo>
                  <a:lnTo>
                    <a:pt x="469" y="94"/>
                  </a:lnTo>
                  <a:lnTo>
                    <a:pt x="470" y="95"/>
                  </a:lnTo>
                  <a:lnTo>
                    <a:pt x="472" y="96"/>
                  </a:lnTo>
                  <a:lnTo>
                    <a:pt x="475" y="97"/>
                  </a:lnTo>
                  <a:lnTo>
                    <a:pt x="477" y="97"/>
                  </a:lnTo>
                  <a:lnTo>
                    <a:pt x="484" y="98"/>
                  </a:lnTo>
                  <a:lnTo>
                    <a:pt x="489" y="100"/>
                  </a:lnTo>
                  <a:lnTo>
                    <a:pt x="492" y="100"/>
                  </a:lnTo>
                  <a:lnTo>
                    <a:pt x="498" y="103"/>
                  </a:lnTo>
                  <a:lnTo>
                    <a:pt x="501" y="105"/>
                  </a:lnTo>
                  <a:lnTo>
                    <a:pt x="504" y="105"/>
                  </a:lnTo>
                  <a:lnTo>
                    <a:pt x="510" y="107"/>
                  </a:lnTo>
                  <a:lnTo>
                    <a:pt x="520" y="107"/>
                  </a:lnTo>
                  <a:lnTo>
                    <a:pt x="525" y="107"/>
                  </a:lnTo>
                  <a:lnTo>
                    <a:pt x="536" y="107"/>
                  </a:lnTo>
                  <a:lnTo>
                    <a:pt x="550" y="106"/>
                  </a:lnTo>
                  <a:lnTo>
                    <a:pt x="561" y="105"/>
                  </a:lnTo>
                  <a:lnTo>
                    <a:pt x="574" y="105"/>
                  </a:lnTo>
                  <a:lnTo>
                    <a:pt x="580" y="105"/>
                  </a:lnTo>
                  <a:lnTo>
                    <a:pt x="591" y="105"/>
                  </a:lnTo>
                  <a:lnTo>
                    <a:pt x="596" y="105"/>
                  </a:lnTo>
                  <a:lnTo>
                    <a:pt x="601" y="105"/>
                  </a:lnTo>
                  <a:lnTo>
                    <a:pt x="605" y="104"/>
                  </a:lnTo>
                  <a:lnTo>
                    <a:pt x="608" y="103"/>
                  </a:lnTo>
                  <a:lnTo>
                    <a:pt x="611" y="103"/>
                  </a:lnTo>
                  <a:lnTo>
                    <a:pt x="614" y="102"/>
                  </a:lnTo>
                  <a:lnTo>
                    <a:pt x="616" y="101"/>
                  </a:lnTo>
                  <a:lnTo>
                    <a:pt x="619" y="100"/>
                  </a:lnTo>
                  <a:lnTo>
                    <a:pt x="622" y="98"/>
                  </a:lnTo>
                  <a:lnTo>
                    <a:pt x="624" y="97"/>
                  </a:lnTo>
                  <a:lnTo>
                    <a:pt x="627" y="95"/>
                  </a:lnTo>
                  <a:lnTo>
                    <a:pt x="629" y="94"/>
                  </a:lnTo>
                  <a:lnTo>
                    <a:pt x="631" y="92"/>
                  </a:lnTo>
                  <a:lnTo>
                    <a:pt x="634" y="90"/>
                  </a:lnTo>
                  <a:lnTo>
                    <a:pt x="636" y="87"/>
                  </a:lnTo>
                  <a:lnTo>
                    <a:pt x="639" y="84"/>
                  </a:lnTo>
                  <a:lnTo>
                    <a:pt x="641" y="82"/>
                  </a:lnTo>
                  <a:lnTo>
                    <a:pt x="641" y="80"/>
                  </a:lnTo>
                  <a:lnTo>
                    <a:pt x="642" y="78"/>
                  </a:lnTo>
                  <a:lnTo>
                    <a:pt x="643" y="76"/>
                  </a:lnTo>
                  <a:lnTo>
                    <a:pt x="643" y="75"/>
                  </a:lnTo>
                  <a:lnTo>
                    <a:pt x="644" y="75"/>
                  </a:lnTo>
                  <a:lnTo>
                    <a:pt x="646" y="75"/>
                  </a:lnTo>
                  <a:lnTo>
                    <a:pt x="647" y="75"/>
                  </a:lnTo>
                  <a:lnTo>
                    <a:pt x="648" y="77"/>
                  </a:lnTo>
                  <a:lnTo>
                    <a:pt x="650" y="78"/>
                  </a:lnTo>
                  <a:lnTo>
                    <a:pt x="651" y="79"/>
                  </a:lnTo>
                  <a:lnTo>
                    <a:pt x="651" y="80"/>
                  </a:lnTo>
                  <a:lnTo>
                    <a:pt x="652" y="82"/>
                  </a:lnTo>
                  <a:lnTo>
                    <a:pt x="652" y="85"/>
                  </a:lnTo>
                  <a:lnTo>
                    <a:pt x="652" y="87"/>
                  </a:lnTo>
                  <a:lnTo>
                    <a:pt x="652" y="92"/>
                  </a:lnTo>
                  <a:lnTo>
                    <a:pt x="651" y="110"/>
                  </a:lnTo>
                  <a:lnTo>
                    <a:pt x="651" y="114"/>
                  </a:lnTo>
                  <a:lnTo>
                    <a:pt x="649" y="122"/>
                  </a:lnTo>
                  <a:lnTo>
                    <a:pt x="648" y="127"/>
                  </a:lnTo>
                  <a:lnTo>
                    <a:pt x="648" y="131"/>
                  </a:lnTo>
                  <a:lnTo>
                    <a:pt x="648" y="134"/>
                  </a:lnTo>
                  <a:lnTo>
                    <a:pt x="649" y="137"/>
                  </a:lnTo>
                  <a:lnTo>
                    <a:pt x="650" y="140"/>
                  </a:lnTo>
                  <a:lnTo>
                    <a:pt x="651" y="142"/>
                  </a:lnTo>
                  <a:lnTo>
                    <a:pt x="652" y="145"/>
                  </a:lnTo>
                  <a:lnTo>
                    <a:pt x="653" y="146"/>
                  </a:lnTo>
                  <a:lnTo>
                    <a:pt x="654" y="149"/>
                  </a:lnTo>
                  <a:lnTo>
                    <a:pt x="656" y="150"/>
                  </a:lnTo>
                  <a:lnTo>
                    <a:pt x="658" y="152"/>
                  </a:lnTo>
                  <a:lnTo>
                    <a:pt x="663" y="158"/>
                  </a:lnTo>
                  <a:lnTo>
                    <a:pt x="666" y="160"/>
                  </a:lnTo>
                  <a:lnTo>
                    <a:pt x="668" y="163"/>
                  </a:lnTo>
                  <a:lnTo>
                    <a:pt x="670" y="167"/>
                  </a:lnTo>
                  <a:lnTo>
                    <a:pt x="676" y="179"/>
                  </a:lnTo>
                  <a:lnTo>
                    <a:pt x="677" y="182"/>
                  </a:lnTo>
                  <a:lnTo>
                    <a:pt x="678" y="185"/>
                  </a:lnTo>
                  <a:lnTo>
                    <a:pt x="678" y="187"/>
                  </a:lnTo>
                  <a:lnTo>
                    <a:pt x="678" y="189"/>
                  </a:lnTo>
                  <a:lnTo>
                    <a:pt x="677" y="192"/>
                  </a:lnTo>
                  <a:lnTo>
                    <a:pt x="677" y="194"/>
                  </a:lnTo>
                  <a:lnTo>
                    <a:pt x="677" y="195"/>
                  </a:lnTo>
                  <a:lnTo>
                    <a:pt x="676" y="196"/>
                  </a:lnTo>
                  <a:lnTo>
                    <a:pt x="676" y="197"/>
                  </a:lnTo>
                  <a:lnTo>
                    <a:pt x="673" y="198"/>
                  </a:lnTo>
                  <a:lnTo>
                    <a:pt x="668" y="201"/>
                  </a:lnTo>
                  <a:lnTo>
                    <a:pt x="667" y="202"/>
                  </a:lnTo>
                  <a:lnTo>
                    <a:pt x="666" y="203"/>
                  </a:lnTo>
                  <a:lnTo>
                    <a:pt x="663" y="205"/>
                  </a:lnTo>
                  <a:lnTo>
                    <a:pt x="660" y="209"/>
                  </a:lnTo>
                  <a:lnTo>
                    <a:pt x="658" y="213"/>
                  </a:lnTo>
                  <a:lnTo>
                    <a:pt x="654" y="216"/>
                  </a:lnTo>
                  <a:lnTo>
                    <a:pt x="648" y="220"/>
                  </a:lnTo>
                  <a:lnTo>
                    <a:pt x="646" y="222"/>
                  </a:lnTo>
                  <a:lnTo>
                    <a:pt x="643" y="224"/>
                  </a:lnTo>
                  <a:lnTo>
                    <a:pt x="639" y="226"/>
                  </a:lnTo>
                  <a:lnTo>
                    <a:pt x="636" y="227"/>
                  </a:lnTo>
                  <a:lnTo>
                    <a:pt x="633" y="229"/>
                  </a:lnTo>
                  <a:lnTo>
                    <a:pt x="628" y="231"/>
                  </a:lnTo>
                  <a:lnTo>
                    <a:pt x="620" y="234"/>
                  </a:lnTo>
                  <a:lnTo>
                    <a:pt x="618" y="234"/>
                  </a:lnTo>
                  <a:lnTo>
                    <a:pt x="618" y="234"/>
                  </a:lnTo>
                  <a:lnTo>
                    <a:pt x="615" y="237"/>
                  </a:lnTo>
                  <a:lnTo>
                    <a:pt x="611" y="239"/>
                  </a:lnTo>
                  <a:lnTo>
                    <a:pt x="608" y="241"/>
                  </a:lnTo>
                  <a:lnTo>
                    <a:pt x="606" y="244"/>
                  </a:lnTo>
                  <a:lnTo>
                    <a:pt x="603" y="247"/>
                  </a:lnTo>
                  <a:lnTo>
                    <a:pt x="601" y="250"/>
                  </a:lnTo>
                  <a:lnTo>
                    <a:pt x="599" y="253"/>
                  </a:lnTo>
                  <a:lnTo>
                    <a:pt x="599" y="255"/>
                  </a:lnTo>
                  <a:lnTo>
                    <a:pt x="598" y="257"/>
                  </a:lnTo>
                  <a:lnTo>
                    <a:pt x="596" y="263"/>
                  </a:lnTo>
                  <a:lnTo>
                    <a:pt x="596" y="264"/>
                  </a:lnTo>
                  <a:lnTo>
                    <a:pt x="595" y="267"/>
                  </a:lnTo>
                  <a:lnTo>
                    <a:pt x="591" y="272"/>
                  </a:lnTo>
                  <a:lnTo>
                    <a:pt x="591" y="274"/>
                  </a:lnTo>
                  <a:lnTo>
                    <a:pt x="590" y="275"/>
                  </a:lnTo>
                  <a:lnTo>
                    <a:pt x="590" y="277"/>
                  </a:lnTo>
                  <a:lnTo>
                    <a:pt x="589" y="279"/>
                  </a:lnTo>
                  <a:lnTo>
                    <a:pt x="589" y="284"/>
                  </a:lnTo>
                  <a:lnTo>
                    <a:pt x="589" y="290"/>
                  </a:lnTo>
                  <a:lnTo>
                    <a:pt x="589" y="294"/>
                  </a:lnTo>
                  <a:lnTo>
                    <a:pt x="588" y="297"/>
                  </a:lnTo>
                  <a:lnTo>
                    <a:pt x="587" y="299"/>
                  </a:lnTo>
                  <a:lnTo>
                    <a:pt x="585" y="306"/>
                  </a:lnTo>
                  <a:lnTo>
                    <a:pt x="584" y="312"/>
                  </a:lnTo>
                  <a:lnTo>
                    <a:pt x="584" y="312"/>
                  </a:lnTo>
                  <a:lnTo>
                    <a:pt x="583" y="313"/>
                  </a:lnTo>
                  <a:lnTo>
                    <a:pt x="581" y="316"/>
                  </a:lnTo>
                  <a:lnTo>
                    <a:pt x="579" y="317"/>
                  </a:lnTo>
                  <a:lnTo>
                    <a:pt x="576" y="323"/>
                  </a:lnTo>
                  <a:lnTo>
                    <a:pt x="576" y="326"/>
                  </a:lnTo>
                  <a:lnTo>
                    <a:pt x="575" y="328"/>
                  </a:lnTo>
                  <a:lnTo>
                    <a:pt x="574" y="332"/>
                  </a:lnTo>
                  <a:lnTo>
                    <a:pt x="574" y="334"/>
                  </a:lnTo>
                  <a:lnTo>
                    <a:pt x="574" y="336"/>
                  </a:lnTo>
                  <a:lnTo>
                    <a:pt x="574" y="339"/>
                  </a:lnTo>
                  <a:lnTo>
                    <a:pt x="576" y="344"/>
                  </a:lnTo>
                  <a:lnTo>
                    <a:pt x="576" y="347"/>
                  </a:lnTo>
                  <a:lnTo>
                    <a:pt x="576" y="349"/>
                  </a:lnTo>
                  <a:lnTo>
                    <a:pt x="577" y="352"/>
                  </a:lnTo>
                  <a:lnTo>
                    <a:pt x="578" y="353"/>
                  </a:lnTo>
                  <a:lnTo>
                    <a:pt x="579" y="354"/>
                  </a:lnTo>
                  <a:lnTo>
                    <a:pt x="582" y="359"/>
                  </a:lnTo>
                  <a:lnTo>
                    <a:pt x="585" y="364"/>
                  </a:lnTo>
                  <a:lnTo>
                    <a:pt x="585" y="365"/>
                  </a:lnTo>
                  <a:lnTo>
                    <a:pt x="585" y="366"/>
                  </a:lnTo>
                  <a:lnTo>
                    <a:pt x="585" y="367"/>
                  </a:lnTo>
                  <a:lnTo>
                    <a:pt x="584" y="369"/>
                  </a:lnTo>
                  <a:lnTo>
                    <a:pt x="584" y="370"/>
                  </a:lnTo>
                  <a:lnTo>
                    <a:pt x="584" y="372"/>
                  </a:lnTo>
                  <a:lnTo>
                    <a:pt x="586" y="374"/>
                  </a:lnTo>
                  <a:lnTo>
                    <a:pt x="586" y="375"/>
                  </a:lnTo>
                  <a:lnTo>
                    <a:pt x="586" y="377"/>
                  </a:lnTo>
                  <a:lnTo>
                    <a:pt x="585" y="378"/>
                  </a:lnTo>
                  <a:lnTo>
                    <a:pt x="584" y="379"/>
                  </a:lnTo>
                  <a:lnTo>
                    <a:pt x="584" y="382"/>
                  </a:lnTo>
                  <a:lnTo>
                    <a:pt x="582" y="383"/>
                  </a:lnTo>
                  <a:lnTo>
                    <a:pt x="581" y="384"/>
                  </a:lnTo>
                  <a:lnTo>
                    <a:pt x="579" y="387"/>
                  </a:lnTo>
                  <a:lnTo>
                    <a:pt x="578" y="388"/>
                  </a:lnTo>
                  <a:lnTo>
                    <a:pt x="576" y="388"/>
                  </a:lnTo>
                  <a:lnTo>
                    <a:pt x="576" y="388"/>
                  </a:lnTo>
                  <a:lnTo>
                    <a:pt x="574" y="388"/>
                  </a:lnTo>
                  <a:lnTo>
                    <a:pt x="573" y="387"/>
                  </a:lnTo>
                  <a:lnTo>
                    <a:pt x="570" y="385"/>
                  </a:lnTo>
                  <a:lnTo>
                    <a:pt x="564" y="380"/>
                  </a:lnTo>
                  <a:lnTo>
                    <a:pt x="558" y="376"/>
                  </a:lnTo>
                  <a:lnTo>
                    <a:pt x="551" y="370"/>
                  </a:lnTo>
                  <a:lnTo>
                    <a:pt x="550" y="369"/>
                  </a:lnTo>
                  <a:lnTo>
                    <a:pt x="548" y="369"/>
                  </a:lnTo>
                  <a:lnTo>
                    <a:pt x="546" y="368"/>
                  </a:lnTo>
                  <a:lnTo>
                    <a:pt x="544" y="367"/>
                  </a:lnTo>
                  <a:lnTo>
                    <a:pt x="531" y="367"/>
                  </a:lnTo>
                  <a:lnTo>
                    <a:pt x="529" y="367"/>
                  </a:lnTo>
                  <a:lnTo>
                    <a:pt x="527" y="367"/>
                  </a:lnTo>
                  <a:lnTo>
                    <a:pt x="519" y="368"/>
                  </a:lnTo>
                  <a:lnTo>
                    <a:pt x="515" y="368"/>
                  </a:lnTo>
                  <a:lnTo>
                    <a:pt x="511" y="367"/>
                  </a:lnTo>
                  <a:lnTo>
                    <a:pt x="501" y="366"/>
                  </a:lnTo>
                  <a:lnTo>
                    <a:pt x="495" y="366"/>
                  </a:lnTo>
                  <a:lnTo>
                    <a:pt x="491" y="365"/>
                  </a:lnTo>
                  <a:lnTo>
                    <a:pt x="486" y="366"/>
                  </a:lnTo>
                  <a:lnTo>
                    <a:pt x="484" y="366"/>
                  </a:lnTo>
                  <a:lnTo>
                    <a:pt x="477" y="367"/>
                  </a:lnTo>
                  <a:lnTo>
                    <a:pt x="474" y="367"/>
                  </a:lnTo>
                  <a:lnTo>
                    <a:pt x="454" y="369"/>
                  </a:lnTo>
                  <a:lnTo>
                    <a:pt x="444" y="371"/>
                  </a:lnTo>
                  <a:lnTo>
                    <a:pt x="440" y="372"/>
                  </a:lnTo>
                  <a:lnTo>
                    <a:pt x="436" y="372"/>
                  </a:lnTo>
                  <a:lnTo>
                    <a:pt x="434" y="373"/>
                  </a:lnTo>
                  <a:lnTo>
                    <a:pt x="421" y="378"/>
                  </a:lnTo>
                  <a:lnTo>
                    <a:pt x="419" y="379"/>
                  </a:lnTo>
                  <a:lnTo>
                    <a:pt x="416" y="379"/>
                  </a:lnTo>
                  <a:lnTo>
                    <a:pt x="414" y="379"/>
                  </a:lnTo>
                  <a:lnTo>
                    <a:pt x="411" y="379"/>
                  </a:lnTo>
                  <a:lnTo>
                    <a:pt x="409" y="379"/>
                  </a:lnTo>
                  <a:lnTo>
                    <a:pt x="405" y="377"/>
                  </a:lnTo>
                  <a:lnTo>
                    <a:pt x="401" y="377"/>
                  </a:lnTo>
                  <a:lnTo>
                    <a:pt x="399" y="377"/>
                  </a:lnTo>
                  <a:lnTo>
                    <a:pt x="396" y="377"/>
                  </a:lnTo>
                  <a:lnTo>
                    <a:pt x="390" y="377"/>
                  </a:lnTo>
                  <a:lnTo>
                    <a:pt x="384" y="378"/>
                  </a:lnTo>
                  <a:lnTo>
                    <a:pt x="382" y="378"/>
                  </a:lnTo>
                  <a:lnTo>
                    <a:pt x="380" y="379"/>
                  </a:lnTo>
                  <a:lnTo>
                    <a:pt x="379" y="379"/>
                  </a:lnTo>
                  <a:lnTo>
                    <a:pt x="377" y="381"/>
                  </a:lnTo>
                  <a:lnTo>
                    <a:pt x="377" y="382"/>
                  </a:lnTo>
                  <a:lnTo>
                    <a:pt x="375" y="384"/>
                  </a:lnTo>
                  <a:lnTo>
                    <a:pt x="374" y="386"/>
                  </a:lnTo>
                  <a:lnTo>
                    <a:pt x="374" y="389"/>
                  </a:lnTo>
                  <a:lnTo>
                    <a:pt x="374" y="393"/>
                  </a:lnTo>
                  <a:lnTo>
                    <a:pt x="374" y="395"/>
                  </a:lnTo>
                  <a:lnTo>
                    <a:pt x="374" y="397"/>
                  </a:lnTo>
                  <a:lnTo>
                    <a:pt x="376" y="406"/>
                  </a:lnTo>
                  <a:lnTo>
                    <a:pt x="376" y="409"/>
                  </a:lnTo>
                  <a:lnTo>
                    <a:pt x="376" y="413"/>
                  </a:lnTo>
                  <a:lnTo>
                    <a:pt x="376" y="417"/>
                  </a:lnTo>
                  <a:lnTo>
                    <a:pt x="375" y="425"/>
                  </a:lnTo>
                  <a:lnTo>
                    <a:pt x="375" y="429"/>
                  </a:lnTo>
                  <a:lnTo>
                    <a:pt x="375" y="432"/>
                  </a:lnTo>
                  <a:lnTo>
                    <a:pt x="375" y="437"/>
                  </a:lnTo>
                  <a:lnTo>
                    <a:pt x="376" y="442"/>
                  </a:lnTo>
                  <a:lnTo>
                    <a:pt x="377" y="446"/>
                  </a:lnTo>
                  <a:lnTo>
                    <a:pt x="379" y="451"/>
                  </a:lnTo>
                  <a:lnTo>
                    <a:pt x="384" y="464"/>
                  </a:lnTo>
                  <a:lnTo>
                    <a:pt x="387" y="470"/>
                  </a:lnTo>
                  <a:lnTo>
                    <a:pt x="389" y="476"/>
                  </a:lnTo>
                  <a:lnTo>
                    <a:pt x="390" y="481"/>
                  </a:lnTo>
                  <a:lnTo>
                    <a:pt x="391" y="484"/>
                  </a:lnTo>
                  <a:lnTo>
                    <a:pt x="391" y="488"/>
                  </a:lnTo>
                  <a:lnTo>
                    <a:pt x="392" y="494"/>
                  </a:lnTo>
                  <a:lnTo>
                    <a:pt x="394" y="506"/>
                  </a:lnTo>
                  <a:lnTo>
                    <a:pt x="394" y="510"/>
                  </a:lnTo>
                  <a:lnTo>
                    <a:pt x="394" y="512"/>
                  </a:lnTo>
                  <a:lnTo>
                    <a:pt x="393" y="515"/>
                  </a:lnTo>
                  <a:lnTo>
                    <a:pt x="393" y="517"/>
                  </a:lnTo>
                  <a:lnTo>
                    <a:pt x="391" y="523"/>
                  </a:lnTo>
                  <a:lnTo>
                    <a:pt x="390" y="526"/>
                  </a:lnTo>
                  <a:lnTo>
                    <a:pt x="389" y="531"/>
                  </a:lnTo>
                  <a:lnTo>
                    <a:pt x="384" y="539"/>
                  </a:lnTo>
                  <a:lnTo>
                    <a:pt x="380" y="550"/>
                  </a:lnTo>
                  <a:lnTo>
                    <a:pt x="379" y="552"/>
                  </a:lnTo>
                  <a:lnTo>
                    <a:pt x="378" y="554"/>
                  </a:lnTo>
                  <a:lnTo>
                    <a:pt x="377" y="556"/>
                  </a:lnTo>
                  <a:lnTo>
                    <a:pt x="375" y="559"/>
                  </a:lnTo>
                  <a:lnTo>
                    <a:pt x="373" y="560"/>
                  </a:lnTo>
                  <a:lnTo>
                    <a:pt x="372" y="561"/>
                  </a:lnTo>
                  <a:lnTo>
                    <a:pt x="370" y="563"/>
                  </a:lnTo>
                  <a:lnTo>
                    <a:pt x="369" y="564"/>
                  </a:lnTo>
                  <a:lnTo>
                    <a:pt x="366" y="565"/>
                  </a:lnTo>
                  <a:lnTo>
                    <a:pt x="358" y="567"/>
                  </a:lnTo>
                  <a:lnTo>
                    <a:pt x="355" y="568"/>
                  </a:lnTo>
                  <a:lnTo>
                    <a:pt x="352" y="569"/>
                  </a:lnTo>
                  <a:lnTo>
                    <a:pt x="348" y="571"/>
                  </a:lnTo>
                  <a:lnTo>
                    <a:pt x="347" y="573"/>
                  </a:lnTo>
                  <a:lnTo>
                    <a:pt x="344" y="574"/>
                  </a:lnTo>
                  <a:lnTo>
                    <a:pt x="343" y="576"/>
                  </a:lnTo>
                  <a:lnTo>
                    <a:pt x="342" y="578"/>
                  </a:lnTo>
                  <a:lnTo>
                    <a:pt x="341" y="579"/>
                  </a:lnTo>
                  <a:lnTo>
                    <a:pt x="339" y="581"/>
                  </a:lnTo>
                  <a:lnTo>
                    <a:pt x="337" y="586"/>
                  </a:lnTo>
                  <a:lnTo>
                    <a:pt x="337" y="586"/>
                  </a:lnTo>
                  <a:lnTo>
                    <a:pt x="335" y="584"/>
                  </a:lnTo>
                  <a:lnTo>
                    <a:pt x="330" y="580"/>
                  </a:lnTo>
                  <a:lnTo>
                    <a:pt x="326" y="576"/>
                  </a:lnTo>
                  <a:lnTo>
                    <a:pt x="321" y="573"/>
                  </a:lnTo>
                  <a:lnTo>
                    <a:pt x="316" y="569"/>
                  </a:lnTo>
                  <a:lnTo>
                    <a:pt x="310" y="565"/>
                  </a:lnTo>
                  <a:lnTo>
                    <a:pt x="305" y="561"/>
                  </a:lnTo>
                  <a:lnTo>
                    <a:pt x="300" y="559"/>
                  </a:lnTo>
                  <a:lnTo>
                    <a:pt x="296" y="556"/>
                  </a:lnTo>
                  <a:lnTo>
                    <a:pt x="293" y="555"/>
                  </a:lnTo>
                  <a:lnTo>
                    <a:pt x="289" y="554"/>
                  </a:lnTo>
                  <a:lnTo>
                    <a:pt x="285" y="552"/>
                  </a:lnTo>
                  <a:lnTo>
                    <a:pt x="281" y="551"/>
                  </a:lnTo>
                  <a:lnTo>
                    <a:pt x="264" y="547"/>
                  </a:lnTo>
                  <a:lnTo>
                    <a:pt x="259" y="545"/>
                  </a:lnTo>
                  <a:lnTo>
                    <a:pt x="256" y="544"/>
                  </a:lnTo>
                  <a:lnTo>
                    <a:pt x="254" y="542"/>
                  </a:lnTo>
                  <a:lnTo>
                    <a:pt x="250" y="540"/>
                  </a:lnTo>
                  <a:lnTo>
                    <a:pt x="248" y="539"/>
                  </a:lnTo>
                  <a:lnTo>
                    <a:pt x="247" y="537"/>
                  </a:lnTo>
                  <a:lnTo>
                    <a:pt x="245" y="535"/>
                  </a:lnTo>
                  <a:lnTo>
                    <a:pt x="244" y="533"/>
                  </a:lnTo>
                  <a:lnTo>
                    <a:pt x="243" y="531"/>
                  </a:lnTo>
                  <a:lnTo>
                    <a:pt x="243" y="529"/>
                  </a:lnTo>
                  <a:lnTo>
                    <a:pt x="242" y="526"/>
                  </a:lnTo>
                  <a:lnTo>
                    <a:pt x="240" y="514"/>
                  </a:lnTo>
                  <a:lnTo>
                    <a:pt x="240" y="511"/>
                  </a:lnTo>
                  <a:lnTo>
                    <a:pt x="239" y="508"/>
                  </a:lnTo>
                  <a:lnTo>
                    <a:pt x="238" y="504"/>
                  </a:lnTo>
                  <a:lnTo>
                    <a:pt x="236" y="499"/>
                  </a:lnTo>
                  <a:lnTo>
                    <a:pt x="230" y="485"/>
                  </a:lnTo>
                  <a:lnTo>
                    <a:pt x="228" y="480"/>
                  </a:lnTo>
                  <a:lnTo>
                    <a:pt x="226" y="477"/>
                  </a:lnTo>
                  <a:lnTo>
                    <a:pt x="223" y="472"/>
                  </a:lnTo>
                  <a:lnTo>
                    <a:pt x="222" y="470"/>
                  </a:lnTo>
                  <a:lnTo>
                    <a:pt x="221" y="469"/>
                  </a:lnTo>
                  <a:lnTo>
                    <a:pt x="219" y="467"/>
                  </a:lnTo>
                  <a:lnTo>
                    <a:pt x="217" y="466"/>
                  </a:lnTo>
                  <a:lnTo>
                    <a:pt x="210" y="461"/>
                  </a:lnTo>
                  <a:lnTo>
                    <a:pt x="207" y="459"/>
                  </a:lnTo>
                  <a:lnTo>
                    <a:pt x="206" y="457"/>
                  </a:lnTo>
                  <a:lnTo>
                    <a:pt x="204" y="455"/>
                  </a:lnTo>
                  <a:lnTo>
                    <a:pt x="203" y="454"/>
                  </a:lnTo>
                  <a:lnTo>
                    <a:pt x="202" y="451"/>
                  </a:lnTo>
                  <a:lnTo>
                    <a:pt x="200" y="449"/>
                  </a:lnTo>
                  <a:lnTo>
                    <a:pt x="199" y="445"/>
                  </a:lnTo>
                  <a:lnTo>
                    <a:pt x="197" y="442"/>
                  </a:lnTo>
                  <a:lnTo>
                    <a:pt x="195" y="437"/>
                  </a:lnTo>
                  <a:lnTo>
                    <a:pt x="190" y="426"/>
                  </a:lnTo>
                  <a:lnTo>
                    <a:pt x="187" y="414"/>
                  </a:lnTo>
                  <a:lnTo>
                    <a:pt x="184" y="409"/>
                  </a:lnTo>
                  <a:lnTo>
                    <a:pt x="182" y="404"/>
                  </a:lnTo>
                  <a:lnTo>
                    <a:pt x="181" y="402"/>
                  </a:lnTo>
                  <a:lnTo>
                    <a:pt x="179" y="399"/>
                  </a:lnTo>
                  <a:lnTo>
                    <a:pt x="177" y="396"/>
                  </a:lnTo>
                  <a:lnTo>
                    <a:pt x="174" y="394"/>
                  </a:lnTo>
                  <a:lnTo>
                    <a:pt x="173" y="393"/>
                  </a:lnTo>
                  <a:lnTo>
                    <a:pt x="171" y="392"/>
                  </a:lnTo>
                  <a:lnTo>
                    <a:pt x="169" y="392"/>
                  </a:lnTo>
                  <a:lnTo>
                    <a:pt x="167" y="392"/>
                  </a:lnTo>
                  <a:lnTo>
                    <a:pt x="158" y="393"/>
                  </a:lnTo>
                  <a:lnTo>
                    <a:pt x="153" y="394"/>
                  </a:lnTo>
                  <a:lnTo>
                    <a:pt x="148" y="394"/>
                  </a:lnTo>
                  <a:lnTo>
                    <a:pt x="140" y="394"/>
                  </a:lnTo>
                  <a:lnTo>
                    <a:pt x="137" y="393"/>
                  </a:lnTo>
                  <a:lnTo>
                    <a:pt x="134" y="393"/>
                  </a:lnTo>
                  <a:lnTo>
                    <a:pt x="130" y="392"/>
                  </a:lnTo>
                  <a:lnTo>
                    <a:pt x="126" y="391"/>
                  </a:lnTo>
                  <a:lnTo>
                    <a:pt x="123" y="390"/>
                  </a:lnTo>
                  <a:lnTo>
                    <a:pt x="122" y="389"/>
                  </a:lnTo>
                  <a:lnTo>
                    <a:pt x="120" y="388"/>
                  </a:lnTo>
                  <a:lnTo>
                    <a:pt x="117" y="386"/>
                  </a:lnTo>
                  <a:lnTo>
                    <a:pt x="115" y="384"/>
                  </a:lnTo>
                  <a:lnTo>
                    <a:pt x="107" y="374"/>
                  </a:lnTo>
                  <a:lnTo>
                    <a:pt x="105" y="372"/>
                  </a:lnTo>
                  <a:lnTo>
                    <a:pt x="103" y="369"/>
                  </a:lnTo>
                  <a:lnTo>
                    <a:pt x="100" y="364"/>
                  </a:lnTo>
                  <a:lnTo>
                    <a:pt x="97" y="358"/>
                  </a:lnTo>
                  <a:lnTo>
                    <a:pt x="92" y="348"/>
                  </a:lnTo>
                  <a:lnTo>
                    <a:pt x="88" y="340"/>
                  </a:lnTo>
                  <a:lnTo>
                    <a:pt x="84" y="329"/>
                  </a:lnTo>
                  <a:lnTo>
                    <a:pt x="79" y="317"/>
                  </a:lnTo>
                  <a:lnTo>
                    <a:pt x="75" y="308"/>
                  </a:lnTo>
                  <a:lnTo>
                    <a:pt x="75" y="307"/>
                  </a:lnTo>
                  <a:lnTo>
                    <a:pt x="74" y="305"/>
                  </a:lnTo>
                  <a:lnTo>
                    <a:pt x="72" y="304"/>
                  </a:lnTo>
                  <a:lnTo>
                    <a:pt x="72" y="304"/>
                  </a:lnTo>
                  <a:lnTo>
                    <a:pt x="71" y="303"/>
                  </a:lnTo>
                  <a:lnTo>
                    <a:pt x="70" y="303"/>
                  </a:lnTo>
                  <a:lnTo>
                    <a:pt x="67" y="302"/>
                  </a:lnTo>
                  <a:lnTo>
                    <a:pt x="62" y="302"/>
                  </a:lnTo>
                  <a:lnTo>
                    <a:pt x="60" y="302"/>
                  </a:lnTo>
                  <a:lnTo>
                    <a:pt x="57" y="301"/>
                  </a:lnTo>
                  <a:lnTo>
                    <a:pt x="56" y="300"/>
                  </a:lnTo>
                  <a:lnTo>
                    <a:pt x="53" y="297"/>
                  </a:lnTo>
                  <a:lnTo>
                    <a:pt x="50" y="294"/>
                  </a:lnTo>
                  <a:lnTo>
                    <a:pt x="48" y="292"/>
                  </a:lnTo>
                  <a:lnTo>
                    <a:pt x="43" y="284"/>
                  </a:lnTo>
                  <a:lnTo>
                    <a:pt x="42" y="282"/>
                  </a:lnTo>
                  <a:lnTo>
                    <a:pt x="40" y="281"/>
                  </a:lnTo>
                  <a:lnTo>
                    <a:pt x="38" y="279"/>
                  </a:lnTo>
                  <a:lnTo>
                    <a:pt x="36" y="277"/>
                  </a:lnTo>
                  <a:lnTo>
                    <a:pt x="34" y="275"/>
                  </a:lnTo>
                  <a:lnTo>
                    <a:pt x="32" y="274"/>
                  </a:lnTo>
                  <a:lnTo>
                    <a:pt x="29" y="273"/>
                  </a:lnTo>
                  <a:lnTo>
                    <a:pt x="27" y="272"/>
                  </a:lnTo>
                  <a:lnTo>
                    <a:pt x="25" y="271"/>
                  </a:lnTo>
                  <a:lnTo>
                    <a:pt x="21" y="271"/>
                  </a:lnTo>
                  <a:lnTo>
                    <a:pt x="17" y="270"/>
                  </a:lnTo>
                  <a:lnTo>
                    <a:pt x="13" y="269"/>
                  </a:lnTo>
                  <a:lnTo>
                    <a:pt x="10" y="270"/>
                  </a:lnTo>
                  <a:lnTo>
                    <a:pt x="9" y="270"/>
                  </a:lnTo>
                  <a:lnTo>
                    <a:pt x="8" y="270"/>
                  </a:lnTo>
                  <a:lnTo>
                    <a:pt x="8" y="269"/>
                  </a:lnTo>
                  <a:lnTo>
                    <a:pt x="7" y="267"/>
                  </a:lnTo>
                  <a:lnTo>
                    <a:pt x="4" y="256"/>
                  </a:lnTo>
                  <a:lnTo>
                    <a:pt x="2" y="252"/>
                  </a:lnTo>
                  <a:lnTo>
                    <a:pt x="2" y="250"/>
                  </a:lnTo>
                  <a:lnTo>
                    <a:pt x="2" y="247"/>
                  </a:lnTo>
                  <a:lnTo>
                    <a:pt x="1" y="244"/>
                  </a:lnTo>
                  <a:lnTo>
                    <a:pt x="1" y="240"/>
                  </a:lnTo>
                  <a:lnTo>
                    <a:pt x="0" y="237"/>
                  </a:lnTo>
                  <a:lnTo>
                    <a:pt x="0" y="232"/>
                  </a:lnTo>
                  <a:lnTo>
                    <a:pt x="1" y="228"/>
                  </a:lnTo>
                  <a:lnTo>
                    <a:pt x="1" y="223"/>
                  </a:lnTo>
                  <a:lnTo>
                    <a:pt x="2" y="219"/>
                  </a:lnTo>
                  <a:lnTo>
                    <a:pt x="3" y="212"/>
                  </a:lnTo>
                  <a:lnTo>
                    <a:pt x="5" y="207"/>
                  </a:lnTo>
                  <a:lnTo>
                    <a:pt x="6" y="201"/>
                  </a:lnTo>
                  <a:lnTo>
                    <a:pt x="7" y="197"/>
                  </a:lnTo>
                  <a:lnTo>
                    <a:pt x="8" y="194"/>
                  </a:lnTo>
                  <a:lnTo>
                    <a:pt x="10" y="191"/>
                  </a:lnTo>
                  <a:lnTo>
                    <a:pt x="13" y="184"/>
                  </a:lnTo>
                  <a:lnTo>
                    <a:pt x="17" y="177"/>
                  </a:lnTo>
                  <a:lnTo>
                    <a:pt x="20" y="174"/>
                  </a:lnTo>
                  <a:lnTo>
                    <a:pt x="22" y="171"/>
                  </a:lnTo>
                  <a:lnTo>
                    <a:pt x="24" y="169"/>
                  </a:lnTo>
                  <a:lnTo>
                    <a:pt x="26" y="167"/>
                  </a:lnTo>
                  <a:lnTo>
                    <a:pt x="27" y="165"/>
                  </a:lnTo>
                  <a:lnTo>
                    <a:pt x="30" y="164"/>
                  </a:lnTo>
                  <a:lnTo>
                    <a:pt x="32" y="162"/>
                  </a:lnTo>
                  <a:lnTo>
                    <a:pt x="33" y="162"/>
                  </a:lnTo>
                  <a:lnTo>
                    <a:pt x="40" y="159"/>
                  </a:lnTo>
                  <a:lnTo>
                    <a:pt x="42" y="158"/>
                  </a:lnTo>
                  <a:lnTo>
                    <a:pt x="45" y="156"/>
                  </a:lnTo>
                  <a:lnTo>
                    <a:pt x="47" y="154"/>
                  </a:lnTo>
                  <a:lnTo>
                    <a:pt x="50" y="152"/>
                  </a:lnTo>
                  <a:lnTo>
                    <a:pt x="51" y="150"/>
                  </a:lnTo>
                  <a:lnTo>
                    <a:pt x="52" y="148"/>
                  </a:lnTo>
                  <a:lnTo>
                    <a:pt x="54" y="146"/>
                  </a:lnTo>
                  <a:lnTo>
                    <a:pt x="55" y="145"/>
                  </a:lnTo>
                  <a:lnTo>
                    <a:pt x="55" y="142"/>
                  </a:lnTo>
                  <a:lnTo>
                    <a:pt x="56" y="140"/>
                  </a:lnTo>
                  <a:lnTo>
                    <a:pt x="57" y="138"/>
                  </a:lnTo>
                  <a:lnTo>
                    <a:pt x="57" y="135"/>
                  </a:lnTo>
                  <a:lnTo>
                    <a:pt x="57" y="130"/>
                  </a:lnTo>
                  <a:lnTo>
                    <a:pt x="57" y="127"/>
                  </a:lnTo>
                  <a:lnTo>
                    <a:pt x="56" y="122"/>
                  </a:lnTo>
                  <a:lnTo>
                    <a:pt x="53" y="110"/>
                  </a:lnTo>
                  <a:lnTo>
                    <a:pt x="52" y="107"/>
                  </a:lnTo>
                  <a:lnTo>
                    <a:pt x="51" y="102"/>
                  </a:lnTo>
                  <a:lnTo>
                    <a:pt x="47" y="95"/>
                  </a:lnTo>
                  <a:lnTo>
                    <a:pt x="47" y="91"/>
                  </a:lnTo>
                  <a:lnTo>
                    <a:pt x="46" y="87"/>
                  </a:lnTo>
                  <a:lnTo>
                    <a:pt x="46" y="85"/>
                  </a:lnTo>
                  <a:lnTo>
                    <a:pt x="46" y="82"/>
                  </a:lnTo>
                  <a:lnTo>
                    <a:pt x="46" y="80"/>
                  </a:lnTo>
                  <a:lnTo>
                    <a:pt x="49" y="72"/>
                  </a:lnTo>
                  <a:lnTo>
                    <a:pt x="50" y="68"/>
                  </a:lnTo>
                  <a:lnTo>
                    <a:pt x="50" y="64"/>
                  </a:lnTo>
                  <a:lnTo>
                    <a:pt x="50" y="52"/>
                  </a:lnTo>
                  <a:lnTo>
                    <a:pt x="51" y="47"/>
                  </a:lnTo>
                  <a:lnTo>
                    <a:pt x="52" y="40"/>
                  </a:lnTo>
                  <a:lnTo>
                    <a:pt x="53" y="35"/>
                  </a:lnTo>
                  <a:lnTo>
                    <a:pt x="54" y="30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7" y="25"/>
                  </a:lnTo>
                  <a:lnTo>
                    <a:pt x="58" y="25"/>
                  </a:lnTo>
                  <a:lnTo>
                    <a:pt x="60" y="25"/>
                  </a:lnTo>
                  <a:lnTo>
                    <a:pt x="62" y="25"/>
                  </a:lnTo>
                  <a:lnTo>
                    <a:pt x="63" y="25"/>
                  </a:lnTo>
                  <a:lnTo>
                    <a:pt x="74" y="27"/>
                  </a:lnTo>
                  <a:lnTo>
                    <a:pt x="77" y="28"/>
                  </a:lnTo>
                  <a:lnTo>
                    <a:pt x="80" y="29"/>
                  </a:lnTo>
                  <a:lnTo>
                    <a:pt x="82" y="29"/>
                  </a:lnTo>
                  <a:lnTo>
                    <a:pt x="85" y="29"/>
                  </a:lnTo>
                  <a:lnTo>
                    <a:pt x="87" y="28"/>
                  </a:lnTo>
                  <a:lnTo>
                    <a:pt x="90" y="27"/>
                  </a:lnTo>
                  <a:lnTo>
                    <a:pt x="92" y="27"/>
                  </a:lnTo>
                  <a:lnTo>
                    <a:pt x="94" y="26"/>
                  </a:lnTo>
                  <a:lnTo>
                    <a:pt x="96" y="25"/>
                  </a:lnTo>
                  <a:lnTo>
                    <a:pt x="99" y="22"/>
                  </a:lnTo>
                  <a:lnTo>
                    <a:pt x="104" y="20"/>
                  </a:lnTo>
                  <a:lnTo>
                    <a:pt x="107" y="17"/>
                  </a:lnTo>
                  <a:lnTo>
                    <a:pt x="119" y="7"/>
                  </a:lnTo>
                  <a:lnTo>
                    <a:pt x="122" y="5"/>
                  </a:lnTo>
                  <a:lnTo>
                    <a:pt x="125" y="3"/>
                  </a:lnTo>
                  <a:lnTo>
                    <a:pt x="129" y="1"/>
                  </a:lnTo>
                  <a:lnTo>
                    <a:pt x="131" y="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595959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102">
              <a:extLst>
                <a:ext uri="{FF2B5EF4-FFF2-40B4-BE49-F238E27FC236}">
                  <a16:creationId xmlns:a16="http://schemas.microsoft.com/office/drawing/2014/main" id="{E7B06CA4-6946-3DBC-70A5-C792F53332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436" y="4598825"/>
              <a:ext cx="846138" cy="966788"/>
            </a:xfrm>
            <a:custGeom>
              <a:avLst/>
              <a:gdLst>
                <a:gd name="T0" fmla="*/ 147 w 533"/>
                <a:gd name="T1" fmla="*/ 19 h 609"/>
                <a:gd name="T2" fmla="*/ 172 w 533"/>
                <a:gd name="T3" fmla="*/ 6 h 609"/>
                <a:gd name="T4" fmla="*/ 193 w 533"/>
                <a:gd name="T5" fmla="*/ 21 h 609"/>
                <a:gd name="T6" fmla="*/ 222 w 533"/>
                <a:gd name="T7" fmla="*/ 35 h 609"/>
                <a:gd name="T8" fmla="*/ 252 w 533"/>
                <a:gd name="T9" fmla="*/ 44 h 609"/>
                <a:gd name="T10" fmla="*/ 273 w 533"/>
                <a:gd name="T11" fmla="*/ 61 h 609"/>
                <a:gd name="T12" fmla="*/ 279 w 533"/>
                <a:gd name="T13" fmla="*/ 70 h 609"/>
                <a:gd name="T14" fmla="*/ 294 w 533"/>
                <a:gd name="T15" fmla="*/ 84 h 609"/>
                <a:gd name="T16" fmla="*/ 290 w 533"/>
                <a:gd name="T17" fmla="*/ 103 h 609"/>
                <a:gd name="T18" fmla="*/ 270 w 533"/>
                <a:gd name="T19" fmla="*/ 120 h 609"/>
                <a:gd name="T20" fmla="*/ 279 w 533"/>
                <a:gd name="T21" fmla="*/ 148 h 609"/>
                <a:gd name="T22" fmla="*/ 282 w 533"/>
                <a:gd name="T23" fmla="*/ 175 h 609"/>
                <a:gd name="T24" fmla="*/ 295 w 533"/>
                <a:gd name="T25" fmla="*/ 193 h 609"/>
                <a:gd name="T26" fmla="*/ 288 w 533"/>
                <a:gd name="T27" fmla="*/ 220 h 609"/>
                <a:gd name="T28" fmla="*/ 278 w 533"/>
                <a:gd name="T29" fmla="*/ 273 h 609"/>
                <a:gd name="T30" fmla="*/ 304 w 533"/>
                <a:gd name="T31" fmla="*/ 310 h 609"/>
                <a:gd name="T32" fmla="*/ 326 w 533"/>
                <a:gd name="T33" fmla="*/ 365 h 609"/>
                <a:gd name="T34" fmla="*/ 348 w 533"/>
                <a:gd name="T35" fmla="*/ 396 h 609"/>
                <a:gd name="T36" fmla="*/ 375 w 533"/>
                <a:gd name="T37" fmla="*/ 440 h 609"/>
                <a:gd name="T38" fmla="*/ 407 w 533"/>
                <a:gd name="T39" fmla="*/ 460 h 609"/>
                <a:gd name="T40" fmla="*/ 434 w 533"/>
                <a:gd name="T41" fmla="*/ 476 h 609"/>
                <a:gd name="T42" fmla="*/ 459 w 533"/>
                <a:gd name="T43" fmla="*/ 494 h 609"/>
                <a:gd name="T44" fmla="*/ 506 w 533"/>
                <a:gd name="T45" fmla="*/ 510 h 609"/>
                <a:gd name="T46" fmla="*/ 532 w 533"/>
                <a:gd name="T47" fmla="*/ 524 h 609"/>
                <a:gd name="T48" fmla="*/ 512 w 533"/>
                <a:gd name="T49" fmla="*/ 542 h 609"/>
                <a:gd name="T50" fmla="*/ 505 w 533"/>
                <a:gd name="T51" fmla="*/ 557 h 609"/>
                <a:gd name="T52" fmla="*/ 496 w 533"/>
                <a:gd name="T53" fmla="*/ 564 h 609"/>
                <a:gd name="T54" fmla="*/ 489 w 533"/>
                <a:gd name="T55" fmla="*/ 596 h 609"/>
                <a:gd name="T56" fmla="*/ 456 w 533"/>
                <a:gd name="T57" fmla="*/ 607 h 609"/>
                <a:gd name="T58" fmla="*/ 361 w 533"/>
                <a:gd name="T59" fmla="*/ 607 h 609"/>
                <a:gd name="T60" fmla="*/ 326 w 533"/>
                <a:gd name="T61" fmla="*/ 593 h 609"/>
                <a:gd name="T62" fmla="*/ 302 w 533"/>
                <a:gd name="T63" fmla="*/ 564 h 609"/>
                <a:gd name="T64" fmla="*/ 280 w 533"/>
                <a:gd name="T65" fmla="*/ 553 h 609"/>
                <a:gd name="T66" fmla="*/ 261 w 533"/>
                <a:gd name="T67" fmla="*/ 540 h 609"/>
                <a:gd name="T68" fmla="*/ 241 w 533"/>
                <a:gd name="T69" fmla="*/ 564 h 609"/>
                <a:gd name="T70" fmla="*/ 197 w 533"/>
                <a:gd name="T71" fmla="*/ 576 h 609"/>
                <a:gd name="T72" fmla="*/ 159 w 533"/>
                <a:gd name="T73" fmla="*/ 572 h 609"/>
                <a:gd name="T74" fmla="*/ 104 w 533"/>
                <a:gd name="T75" fmla="*/ 544 h 609"/>
                <a:gd name="T76" fmla="*/ 55 w 533"/>
                <a:gd name="T77" fmla="*/ 539 h 609"/>
                <a:gd name="T78" fmla="*/ 34 w 533"/>
                <a:gd name="T79" fmla="*/ 518 h 609"/>
                <a:gd name="T80" fmla="*/ 0 w 533"/>
                <a:gd name="T81" fmla="*/ 507 h 609"/>
                <a:gd name="T82" fmla="*/ 13 w 533"/>
                <a:gd name="T83" fmla="*/ 466 h 609"/>
                <a:gd name="T84" fmla="*/ 18 w 533"/>
                <a:gd name="T85" fmla="*/ 440 h 609"/>
                <a:gd name="T86" fmla="*/ 7 w 533"/>
                <a:gd name="T87" fmla="*/ 407 h 609"/>
                <a:gd name="T88" fmla="*/ 29 w 533"/>
                <a:gd name="T89" fmla="*/ 387 h 609"/>
                <a:gd name="T90" fmla="*/ 24 w 533"/>
                <a:gd name="T91" fmla="*/ 368 h 609"/>
                <a:gd name="T92" fmla="*/ 18 w 533"/>
                <a:gd name="T93" fmla="*/ 350 h 609"/>
                <a:gd name="T94" fmla="*/ 35 w 533"/>
                <a:gd name="T95" fmla="*/ 335 h 609"/>
                <a:gd name="T96" fmla="*/ 37 w 533"/>
                <a:gd name="T97" fmla="*/ 310 h 609"/>
                <a:gd name="T98" fmla="*/ 71 w 533"/>
                <a:gd name="T99" fmla="*/ 275 h 609"/>
                <a:gd name="T100" fmla="*/ 92 w 533"/>
                <a:gd name="T101" fmla="*/ 228 h 609"/>
                <a:gd name="T102" fmla="*/ 81 w 533"/>
                <a:gd name="T103" fmla="*/ 201 h 609"/>
                <a:gd name="T104" fmla="*/ 79 w 533"/>
                <a:gd name="T105" fmla="*/ 143 h 609"/>
                <a:gd name="T106" fmla="*/ 77 w 533"/>
                <a:gd name="T107" fmla="*/ 99 h 609"/>
                <a:gd name="T108" fmla="*/ 68 w 533"/>
                <a:gd name="T109" fmla="*/ 56 h 609"/>
                <a:gd name="T110" fmla="*/ 71 w 533"/>
                <a:gd name="T111" fmla="*/ 24 h 609"/>
                <a:gd name="T112" fmla="*/ 86 w 533"/>
                <a:gd name="T113" fmla="*/ 21 h 609"/>
                <a:gd name="T114" fmla="*/ 106 w 533"/>
                <a:gd name="T115" fmla="*/ 12 h 609"/>
                <a:gd name="T116" fmla="*/ 127 w 533"/>
                <a:gd name="T117" fmla="*/ 0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3" h="609">
                  <a:moveTo>
                    <a:pt x="127" y="0"/>
                  </a:moveTo>
                  <a:lnTo>
                    <a:pt x="128" y="0"/>
                  </a:lnTo>
                  <a:lnTo>
                    <a:pt x="129" y="0"/>
                  </a:lnTo>
                  <a:lnTo>
                    <a:pt x="132" y="6"/>
                  </a:lnTo>
                  <a:lnTo>
                    <a:pt x="138" y="15"/>
                  </a:lnTo>
                  <a:lnTo>
                    <a:pt x="139" y="17"/>
                  </a:lnTo>
                  <a:lnTo>
                    <a:pt x="139" y="18"/>
                  </a:lnTo>
                  <a:lnTo>
                    <a:pt x="141" y="18"/>
                  </a:lnTo>
                  <a:lnTo>
                    <a:pt x="142" y="19"/>
                  </a:lnTo>
                  <a:lnTo>
                    <a:pt x="143" y="19"/>
                  </a:lnTo>
                  <a:lnTo>
                    <a:pt x="147" y="19"/>
                  </a:lnTo>
                  <a:lnTo>
                    <a:pt x="148" y="19"/>
                  </a:lnTo>
                  <a:lnTo>
                    <a:pt x="150" y="18"/>
                  </a:lnTo>
                  <a:lnTo>
                    <a:pt x="153" y="17"/>
                  </a:lnTo>
                  <a:lnTo>
                    <a:pt x="155" y="15"/>
                  </a:lnTo>
                  <a:lnTo>
                    <a:pt x="157" y="13"/>
                  </a:lnTo>
                  <a:lnTo>
                    <a:pt x="164" y="8"/>
                  </a:lnTo>
                  <a:lnTo>
                    <a:pt x="165" y="7"/>
                  </a:lnTo>
                  <a:lnTo>
                    <a:pt x="167" y="6"/>
                  </a:lnTo>
                  <a:lnTo>
                    <a:pt x="169" y="6"/>
                  </a:lnTo>
                  <a:lnTo>
                    <a:pt x="170" y="6"/>
                  </a:lnTo>
                  <a:lnTo>
                    <a:pt x="172" y="6"/>
                  </a:lnTo>
                  <a:lnTo>
                    <a:pt x="174" y="7"/>
                  </a:lnTo>
                  <a:lnTo>
                    <a:pt x="175" y="7"/>
                  </a:lnTo>
                  <a:lnTo>
                    <a:pt x="176" y="8"/>
                  </a:lnTo>
                  <a:lnTo>
                    <a:pt x="177" y="9"/>
                  </a:lnTo>
                  <a:lnTo>
                    <a:pt x="179" y="10"/>
                  </a:lnTo>
                  <a:lnTo>
                    <a:pt x="183" y="15"/>
                  </a:lnTo>
                  <a:lnTo>
                    <a:pt x="184" y="16"/>
                  </a:lnTo>
                  <a:lnTo>
                    <a:pt x="186" y="17"/>
                  </a:lnTo>
                  <a:lnTo>
                    <a:pt x="187" y="18"/>
                  </a:lnTo>
                  <a:lnTo>
                    <a:pt x="192" y="20"/>
                  </a:lnTo>
                  <a:lnTo>
                    <a:pt x="193" y="21"/>
                  </a:lnTo>
                  <a:lnTo>
                    <a:pt x="194" y="21"/>
                  </a:lnTo>
                  <a:lnTo>
                    <a:pt x="194" y="22"/>
                  </a:lnTo>
                  <a:lnTo>
                    <a:pt x="195" y="25"/>
                  </a:lnTo>
                  <a:lnTo>
                    <a:pt x="196" y="25"/>
                  </a:lnTo>
                  <a:lnTo>
                    <a:pt x="197" y="26"/>
                  </a:lnTo>
                  <a:lnTo>
                    <a:pt x="198" y="27"/>
                  </a:lnTo>
                  <a:lnTo>
                    <a:pt x="201" y="28"/>
                  </a:lnTo>
                  <a:lnTo>
                    <a:pt x="208" y="31"/>
                  </a:lnTo>
                  <a:lnTo>
                    <a:pt x="212" y="33"/>
                  </a:lnTo>
                  <a:lnTo>
                    <a:pt x="218" y="35"/>
                  </a:lnTo>
                  <a:lnTo>
                    <a:pt x="222" y="35"/>
                  </a:lnTo>
                  <a:lnTo>
                    <a:pt x="227" y="36"/>
                  </a:lnTo>
                  <a:lnTo>
                    <a:pt x="227" y="37"/>
                  </a:lnTo>
                  <a:lnTo>
                    <a:pt x="228" y="38"/>
                  </a:lnTo>
                  <a:lnTo>
                    <a:pt x="229" y="38"/>
                  </a:lnTo>
                  <a:lnTo>
                    <a:pt x="230" y="38"/>
                  </a:lnTo>
                  <a:lnTo>
                    <a:pt x="232" y="39"/>
                  </a:lnTo>
                  <a:lnTo>
                    <a:pt x="241" y="40"/>
                  </a:lnTo>
                  <a:lnTo>
                    <a:pt x="244" y="40"/>
                  </a:lnTo>
                  <a:lnTo>
                    <a:pt x="246" y="42"/>
                  </a:lnTo>
                  <a:lnTo>
                    <a:pt x="249" y="43"/>
                  </a:lnTo>
                  <a:lnTo>
                    <a:pt x="252" y="44"/>
                  </a:lnTo>
                  <a:lnTo>
                    <a:pt x="254" y="45"/>
                  </a:lnTo>
                  <a:lnTo>
                    <a:pt x="257" y="48"/>
                  </a:lnTo>
                  <a:lnTo>
                    <a:pt x="259" y="49"/>
                  </a:lnTo>
                  <a:lnTo>
                    <a:pt x="260" y="50"/>
                  </a:lnTo>
                  <a:lnTo>
                    <a:pt x="261" y="50"/>
                  </a:lnTo>
                  <a:lnTo>
                    <a:pt x="264" y="55"/>
                  </a:lnTo>
                  <a:lnTo>
                    <a:pt x="266" y="58"/>
                  </a:lnTo>
                  <a:lnTo>
                    <a:pt x="268" y="59"/>
                  </a:lnTo>
                  <a:lnTo>
                    <a:pt x="270" y="60"/>
                  </a:lnTo>
                  <a:lnTo>
                    <a:pt x="271" y="61"/>
                  </a:lnTo>
                  <a:lnTo>
                    <a:pt x="273" y="61"/>
                  </a:lnTo>
                  <a:lnTo>
                    <a:pt x="276" y="62"/>
                  </a:lnTo>
                  <a:lnTo>
                    <a:pt x="277" y="63"/>
                  </a:lnTo>
                  <a:lnTo>
                    <a:pt x="279" y="63"/>
                  </a:lnTo>
                  <a:lnTo>
                    <a:pt x="280" y="64"/>
                  </a:lnTo>
                  <a:lnTo>
                    <a:pt x="281" y="65"/>
                  </a:lnTo>
                  <a:lnTo>
                    <a:pt x="281" y="65"/>
                  </a:lnTo>
                  <a:lnTo>
                    <a:pt x="281" y="66"/>
                  </a:lnTo>
                  <a:lnTo>
                    <a:pt x="281" y="67"/>
                  </a:lnTo>
                  <a:lnTo>
                    <a:pt x="279" y="68"/>
                  </a:lnTo>
                  <a:lnTo>
                    <a:pt x="279" y="69"/>
                  </a:lnTo>
                  <a:lnTo>
                    <a:pt x="279" y="70"/>
                  </a:lnTo>
                  <a:lnTo>
                    <a:pt x="279" y="71"/>
                  </a:lnTo>
                  <a:lnTo>
                    <a:pt x="279" y="73"/>
                  </a:lnTo>
                  <a:lnTo>
                    <a:pt x="280" y="74"/>
                  </a:lnTo>
                  <a:lnTo>
                    <a:pt x="280" y="75"/>
                  </a:lnTo>
                  <a:lnTo>
                    <a:pt x="284" y="80"/>
                  </a:lnTo>
                  <a:lnTo>
                    <a:pt x="286" y="81"/>
                  </a:lnTo>
                  <a:lnTo>
                    <a:pt x="287" y="82"/>
                  </a:lnTo>
                  <a:lnTo>
                    <a:pt x="289" y="83"/>
                  </a:lnTo>
                  <a:lnTo>
                    <a:pt x="293" y="83"/>
                  </a:lnTo>
                  <a:lnTo>
                    <a:pt x="294" y="84"/>
                  </a:lnTo>
                  <a:lnTo>
                    <a:pt x="294" y="84"/>
                  </a:lnTo>
                  <a:lnTo>
                    <a:pt x="295" y="85"/>
                  </a:lnTo>
                  <a:lnTo>
                    <a:pt x="296" y="85"/>
                  </a:lnTo>
                  <a:lnTo>
                    <a:pt x="296" y="87"/>
                  </a:lnTo>
                  <a:lnTo>
                    <a:pt x="296" y="88"/>
                  </a:lnTo>
                  <a:lnTo>
                    <a:pt x="296" y="89"/>
                  </a:lnTo>
                  <a:lnTo>
                    <a:pt x="296" y="91"/>
                  </a:lnTo>
                  <a:lnTo>
                    <a:pt x="296" y="93"/>
                  </a:lnTo>
                  <a:lnTo>
                    <a:pt x="294" y="95"/>
                  </a:lnTo>
                  <a:lnTo>
                    <a:pt x="293" y="98"/>
                  </a:lnTo>
                  <a:lnTo>
                    <a:pt x="291" y="101"/>
                  </a:lnTo>
                  <a:lnTo>
                    <a:pt x="290" y="103"/>
                  </a:lnTo>
                  <a:lnTo>
                    <a:pt x="288" y="105"/>
                  </a:lnTo>
                  <a:lnTo>
                    <a:pt x="286" y="107"/>
                  </a:lnTo>
                  <a:lnTo>
                    <a:pt x="284" y="108"/>
                  </a:lnTo>
                  <a:lnTo>
                    <a:pt x="280" y="110"/>
                  </a:lnTo>
                  <a:lnTo>
                    <a:pt x="278" y="110"/>
                  </a:lnTo>
                  <a:lnTo>
                    <a:pt x="276" y="111"/>
                  </a:lnTo>
                  <a:lnTo>
                    <a:pt x="275" y="113"/>
                  </a:lnTo>
                  <a:lnTo>
                    <a:pt x="273" y="115"/>
                  </a:lnTo>
                  <a:lnTo>
                    <a:pt x="271" y="117"/>
                  </a:lnTo>
                  <a:lnTo>
                    <a:pt x="270" y="120"/>
                  </a:lnTo>
                  <a:lnTo>
                    <a:pt x="270" y="120"/>
                  </a:lnTo>
                  <a:lnTo>
                    <a:pt x="269" y="122"/>
                  </a:lnTo>
                  <a:lnTo>
                    <a:pt x="269" y="123"/>
                  </a:lnTo>
                  <a:lnTo>
                    <a:pt x="270" y="125"/>
                  </a:lnTo>
                  <a:lnTo>
                    <a:pt x="270" y="125"/>
                  </a:lnTo>
                  <a:lnTo>
                    <a:pt x="271" y="128"/>
                  </a:lnTo>
                  <a:lnTo>
                    <a:pt x="272" y="130"/>
                  </a:lnTo>
                  <a:lnTo>
                    <a:pt x="275" y="135"/>
                  </a:lnTo>
                  <a:lnTo>
                    <a:pt x="276" y="138"/>
                  </a:lnTo>
                  <a:lnTo>
                    <a:pt x="277" y="140"/>
                  </a:lnTo>
                  <a:lnTo>
                    <a:pt x="278" y="145"/>
                  </a:lnTo>
                  <a:lnTo>
                    <a:pt x="279" y="148"/>
                  </a:lnTo>
                  <a:lnTo>
                    <a:pt x="280" y="152"/>
                  </a:lnTo>
                  <a:lnTo>
                    <a:pt x="283" y="159"/>
                  </a:lnTo>
                  <a:lnTo>
                    <a:pt x="284" y="161"/>
                  </a:lnTo>
                  <a:lnTo>
                    <a:pt x="284" y="163"/>
                  </a:lnTo>
                  <a:lnTo>
                    <a:pt x="284" y="165"/>
                  </a:lnTo>
                  <a:lnTo>
                    <a:pt x="284" y="167"/>
                  </a:lnTo>
                  <a:lnTo>
                    <a:pt x="282" y="169"/>
                  </a:lnTo>
                  <a:lnTo>
                    <a:pt x="281" y="170"/>
                  </a:lnTo>
                  <a:lnTo>
                    <a:pt x="281" y="172"/>
                  </a:lnTo>
                  <a:lnTo>
                    <a:pt x="281" y="173"/>
                  </a:lnTo>
                  <a:lnTo>
                    <a:pt x="282" y="175"/>
                  </a:lnTo>
                  <a:lnTo>
                    <a:pt x="284" y="176"/>
                  </a:lnTo>
                  <a:lnTo>
                    <a:pt x="286" y="178"/>
                  </a:lnTo>
                  <a:lnTo>
                    <a:pt x="290" y="181"/>
                  </a:lnTo>
                  <a:lnTo>
                    <a:pt x="291" y="183"/>
                  </a:lnTo>
                  <a:lnTo>
                    <a:pt x="292" y="183"/>
                  </a:lnTo>
                  <a:lnTo>
                    <a:pt x="294" y="185"/>
                  </a:lnTo>
                  <a:lnTo>
                    <a:pt x="295" y="188"/>
                  </a:lnTo>
                  <a:lnTo>
                    <a:pt x="295" y="189"/>
                  </a:lnTo>
                  <a:lnTo>
                    <a:pt x="296" y="190"/>
                  </a:lnTo>
                  <a:lnTo>
                    <a:pt x="296" y="192"/>
                  </a:lnTo>
                  <a:lnTo>
                    <a:pt x="295" y="193"/>
                  </a:lnTo>
                  <a:lnTo>
                    <a:pt x="294" y="198"/>
                  </a:lnTo>
                  <a:lnTo>
                    <a:pt x="293" y="200"/>
                  </a:lnTo>
                  <a:lnTo>
                    <a:pt x="293" y="202"/>
                  </a:lnTo>
                  <a:lnTo>
                    <a:pt x="294" y="206"/>
                  </a:lnTo>
                  <a:lnTo>
                    <a:pt x="294" y="208"/>
                  </a:lnTo>
                  <a:lnTo>
                    <a:pt x="294" y="210"/>
                  </a:lnTo>
                  <a:lnTo>
                    <a:pt x="293" y="211"/>
                  </a:lnTo>
                  <a:lnTo>
                    <a:pt x="293" y="212"/>
                  </a:lnTo>
                  <a:lnTo>
                    <a:pt x="292" y="213"/>
                  </a:lnTo>
                  <a:lnTo>
                    <a:pt x="289" y="217"/>
                  </a:lnTo>
                  <a:lnTo>
                    <a:pt x="288" y="220"/>
                  </a:lnTo>
                  <a:lnTo>
                    <a:pt x="288" y="222"/>
                  </a:lnTo>
                  <a:lnTo>
                    <a:pt x="287" y="227"/>
                  </a:lnTo>
                  <a:lnTo>
                    <a:pt x="286" y="230"/>
                  </a:lnTo>
                  <a:lnTo>
                    <a:pt x="285" y="233"/>
                  </a:lnTo>
                  <a:lnTo>
                    <a:pt x="282" y="241"/>
                  </a:lnTo>
                  <a:lnTo>
                    <a:pt x="281" y="245"/>
                  </a:lnTo>
                  <a:lnTo>
                    <a:pt x="280" y="248"/>
                  </a:lnTo>
                  <a:lnTo>
                    <a:pt x="279" y="259"/>
                  </a:lnTo>
                  <a:lnTo>
                    <a:pt x="277" y="266"/>
                  </a:lnTo>
                  <a:lnTo>
                    <a:pt x="277" y="270"/>
                  </a:lnTo>
                  <a:lnTo>
                    <a:pt x="278" y="273"/>
                  </a:lnTo>
                  <a:lnTo>
                    <a:pt x="278" y="275"/>
                  </a:lnTo>
                  <a:lnTo>
                    <a:pt x="279" y="277"/>
                  </a:lnTo>
                  <a:lnTo>
                    <a:pt x="280" y="279"/>
                  </a:lnTo>
                  <a:lnTo>
                    <a:pt x="281" y="281"/>
                  </a:lnTo>
                  <a:lnTo>
                    <a:pt x="282" y="283"/>
                  </a:lnTo>
                  <a:lnTo>
                    <a:pt x="284" y="285"/>
                  </a:lnTo>
                  <a:lnTo>
                    <a:pt x="291" y="292"/>
                  </a:lnTo>
                  <a:lnTo>
                    <a:pt x="296" y="298"/>
                  </a:lnTo>
                  <a:lnTo>
                    <a:pt x="299" y="302"/>
                  </a:lnTo>
                  <a:lnTo>
                    <a:pt x="302" y="306"/>
                  </a:lnTo>
                  <a:lnTo>
                    <a:pt x="304" y="310"/>
                  </a:lnTo>
                  <a:lnTo>
                    <a:pt x="306" y="314"/>
                  </a:lnTo>
                  <a:lnTo>
                    <a:pt x="314" y="327"/>
                  </a:lnTo>
                  <a:lnTo>
                    <a:pt x="316" y="332"/>
                  </a:lnTo>
                  <a:lnTo>
                    <a:pt x="319" y="337"/>
                  </a:lnTo>
                  <a:lnTo>
                    <a:pt x="321" y="345"/>
                  </a:lnTo>
                  <a:lnTo>
                    <a:pt x="324" y="352"/>
                  </a:lnTo>
                  <a:lnTo>
                    <a:pt x="324" y="355"/>
                  </a:lnTo>
                  <a:lnTo>
                    <a:pt x="325" y="357"/>
                  </a:lnTo>
                  <a:lnTo>
                    <a:pt x="326" y="360"/>
                  </a:lnTo>
                  <a:lnTo>
                    <a:pt x="326" y="363"/>
                  </a:lnTo>
                  <a:lnTo>
                    <a:pt x="326" y="365"/>
                  </a:lnTo>
                  <a:lnTo>
                    <a:pt x="326" y="367"/>
                  </a:lnTo>
                  <a:lnTo>
                    <a:pt x="327" y="369"/>
                  </a:lnTo>
                  <a:lnTo>
                    <a:pt x="328" y="370"/>
                  </a:lnTo>
                  <a:lnTo>
                    <a:pt x="329" y="373"/>
                  </a:lnTo>
                  <a:lnTo>
                    <a:pt x="331" y="375"/>
                  </a:lnTo>
                  <a:lnTo>
                    <a:pt x="332" y="377"/>
                  </a:lnTo>
                  <a:lnTo>
                    <a:pt x="334" y="379"/>
                  </a:lnTo>
                  <a:lnTo>
                    <a:pt x="339" y="383"/>
                  </a:lnTo>
                  <a:lnTo>
                    <a:pt x="341" y="385"/>
                  </a:lnTo>
                  <a:lnTo>
                    <a:pt x="346" y="392"/>
                  </a:lnTo>
                  <a:lnTo>
                    <a:pt x="348" y="396"/>
                  </a:lnTo>
                  <a:lnTo>
                    <a:pt x="351" y="400"/>
                  </a:lnTo>
                  <a:lnTo>
                    <a:pt x="352" y="405"/>
                  </a:lnTo>
                  <a:lnTo>
                    <a:pt x="354" y="408"/>
                  </a:lnTo>
                  <a:lnTo>
                    <a:pt x="356" y="416"/>
                  </a:lnTo>
                  <a:lnTo>
                    <a:pt x="357" y="420"/>
                  </a:lnTo>
                  <a:lnTo>
                    <a:pt x="359" y="424"/>
                  </a:lnTo>
                  <a:lnTo>
                    <a:pt x="361" y="427"/>
                  </a:lnTo>
                  <a:lnTo>
                    <a:pt x="363" y="430"/>
                  </a:lnTo>
                  <a:lnTo>
                    <a:pt x="365" y="432"/>
                  </a:lnTo>
                  <a:lnTo>
                    <a:pt x="370" y="436"/>
                  </a:lnTo>
                  <a:lnTo>
                    <a:pt x="375" y="440"/>
                  </a:lnTo>
                  <a:lnTo>
                    <a:pt x="377" y="442"/>
                  </a:lnTo>
                  <a:lnTo>
                    <a:pt x="379" y="445"/>
                  </a:lnTo>
                  <a:lnTo>
                    <a:pt x="383" y="450"/>
                  </a:lnTo>
                  <a:lnTo>
                    <a:pt x="384" y="452"/>
                  </a:lnTo>
                  <a:lnTo>
                    <a:pt x="385" y="453"/>
                  </a:lnTo>
                  <a:lnTo>
                    <a:pt x="386" y="454"/>
                  </a:lnTo>
                  <a:lnTo>
                    <a:pt x="389" y="455"/>
                  </a:lnTo>
                  <a:lnTo>
                    <a:pt x="390" y="456"/>
                  </a:lnTo>
                  <a:lnTo>
                    <a:pt x="392" y="457"/>
                  </a:lnTo>
                  <a:lnTo>
                    <a:pt x="396" y="458"/>
                  </a:lnTo>
                  <a:lnTo>
                    <a:pt x="407" y="460"/>
                  </a:lnTo>
                  <a:lnTo>
                    <a:pt x="415" y="462"/>
                  </a:lnTo>
                  <a:lnTo>
                    <a:pt x="418" y="462"/>
                  </a:lnTo>
                  <a:lnTo>
                    <a:pt x="424" y="463"/>
                  </a:lnTo>
                  <a:lnTo>
                    <a:pt x="426" y="463"/>
                  </a:lnTo>
                  <a:lnTo>
                    <a:pt x="428" y="464"/>
                  </a:lnTo>
                  <a:lnTo>
                    <a:pt x="429" y="464"/>
                  </a:lnTo>
                  <a:lnTo>
                    <a:pt x="430" y="465"/>
                  </a:lnTo>
                  <a:lnTo>
                    <a:pt x="431" y="466"/>
                  </a:lnTo>
                  <a:lnTo>
                    <a:pt x="431" y="468"/>
                  </a:lnTo>
                  <a:lnTo>
                    <a:pt x="432" y="470"/>
                  </a:lnTo>
                  <a:lnTo>
                    <a:pt x="434" y="476"/>
                  </a:lnTo>
                  <a:lnTo>
                    <a:pt x="434" y="478"/>
                  </a:lnTo>
                  <a:lnTo>
                    <a:pt x="436" y="480"/>
                  </a:lnTo>
                  <a:lnTo>
                    <a:pt x="437" y="482"/>
                  </a:lnTo>
                  <a:lnTo>
                    <a:pt x="439" y="484"/>
                  </a:lnTo>
                  <a:lnTo>
                    <a:pt x="442" y="485"/>
                  </a:lnTo>
                  <a:lnTo>
                    <a:pt x="444" y="486"/>
                  </a:lnTo>
                  <a:lnTo>
                    <a:pt x="454" y="489"/>
                  </a:lnTo>
                  <a:lnTo>
                    <a:pt x="456" y="489"/>
                  </a:lnTo>
                  <a:lnTo>
                    <a:pt x="457" y="491"/>
                  </a:lnTo>
                  <a:lnTo>
                    <a:pt x="459" y="492"/>
                  </a:lnTo>
                  <a:lnTo>
                    <a:pt x="459" y="494"/>
                  </a:lnTo>
                  <a:lnTo>
                    <a:pt x="463" y="499"/>
                  </a:lnTo>
                  <a:lnTo>
                    <a:pt x="464" y="502"/>
                  </a:lnTo>
                  <a:lnTo>
                    <a:pt x="466" y="503"/>
                  </a:lnTo>
                  <a:lnTo>
                    <a:pt x="468" y="504"/>
                  </a:lnTo>
                  <a:lnTo>
                    <a:pt x="471" y="505"/>
                  </a:lnTo>
                  <a:lnTo>
                    <a:pt x="476" y="507"/>
                  </a:lnTo>
                  <a:lnTo>
                    <a:pt x="481" y="508"/>
                  </a:lnTo>
                  <a:lnTo>
                    <a:pt x="486" y="509"/>
                  </a:lnTo>
                  <a:lnTo>
                    <a:pt x="490" y="509"/>
                  </a:lnTo>
                  <a:lnTo>
                    <a:pt x="501" y="509"/>
                  </a:lnTo>
                  <a:lnTo>
                    <a:pt x="506" y="510"/>
                  </a:lnTo>
                  <a:lnTo>
                    <a:pt x="510" y="511"/>
                  </a:lnTo>
                  <a:lnTo>
                    <a:pt x="515" y="512"/>
                  </a:lnTo>
                  <a:lnTo>
                    <a:pt x="525" y="513"/>
                  </a:lnTo>
                  <a:lnTo>
                    <a:pt x="528" y="514"/>
                  </a:lnTo>
                  <a:lnTo>
                    <a:pt x="531" y="514"/>
                  </a:lnTo>
                  <a:lnTo>
                    <a:pt x="532" y="514"/>
                  </a:lnTo>
                  <a:lnTo>
                    <a:pt x="533" y="514"/>
                  </a:lnTo>
                  <a:lnTo>
                    <a:pt x="533" y="515"/>
                  </a:lnTo>
                  <a:lnTo>
                    <a:pt x="533" y="517"/>
                  </a:lnTo>
                  <a:lnTo>
                    <a:pt x="533" y="521"/>
                  </a:lnTo>
                  <a:lnTo>
                    <a:pt x="532" y="524"/>
                  </a:lnTo>
                  <a:lnTo>
                    <a:pt x="531" y="527"/>
                  </a:lnTo>
                  <a:lnTo>
                    <a:pt x="531" y="529"/>
                  </a:lnTo>
                  <a:lnTo>
                    <a:pt x="530" y="532"/>
                  </a:lnTo>
                  <a:lnTo>
                    <a:pt x="529" y="533"/>
                  </a:lnTo>
                  <a:lnTo>
                    <a:pt x="526" y="537"/>
                  </a:lnTo>
                  <a:lnTo>
                    <a:pt x="524" y="537"/>
                  </a:lnTo>
                  <a:lnTo>
                    <a:pt x="523" y="539"/>
                  </a:lnTo>
                  <a:lnTo>
                    <a:pt x="520" y="539"/>
                  </a:lnTo>
                  <a:lnTo>
                    <a:pt x="518" y="541"/>
                  </a:lnTo>
                  <a:lnTo>
                    <a:pt x="516" y="541"/>
                  </a:lnTo>
                  <a:lnTo>
                    <a:pt x="512" y="542"/>
                  </a:lnTo>
                  <a:lnTo>
                    <a:pt x="511" y="542"/>
                  </a:lnTo>
                  <a:lnTo>
                    <a:pt x="511" y="543"/>
                  </a:lnTo>
                  <a:lnTo>
                    <a:pt x="510" y="544"/>
                  </a:lnTo>
                  <a:lnTo>
                    <a:pt x="509" y="544"/>
                  </a:lnTo>
                  <a:lnTo>
                    <a:pt x="508" y="546"/>
                  </a:lnTo>
                  <a:lnTo>
                    <a:pt x="508" y="547"/>
                  </a:lnTo>
                  <a:lnTo>
                    <a:pt x="507" y="549"/>
                  </a:lnTo>
                  <a:lnTo>
                    <a:pt x="506" y="554"/>
                  </a:lnTo>
                  <a:lnTo>
                    <a:pt x="506" y="556"/>
                  </a:lnTo>
                  <a:lnTo>
                    <a:pt x="506" y="557"/>
                  </a:lnTo>
                  <a:lnTo>
                    <a:pt x="505" y="557"/>
                  </a:lnTo>
                  <a:lnTo>
                    <a:pt x="504" y="557"/>
                  </a:lnTo>
                  <a:lnTo>
                    <a:pt x="502" y="558"/>
                  </a:lnTo>
                  <a:lnTo>
                    <a:pt x="499" y="559"/>
                  </a:lnTo>
                  <a:lnTo>
                    <a:pt x="498" y="559"/>
                  </a:lnTo>
                  <a:lnTo>
                    <a:pt x="497" y="559"/>
                  </a:lnTo>
                  <a:lnTo>
                    <a:pt x="496" y="560"/>
                  </a:lnTo>
                  <a:lnTo>
                    <a:pt x="496" y="561"/>
                  </a:lnTo>
                  <a:lnTo>
                    <a:pt x="496" y="562"/>
                  </a:lnTo>
                  <a:lnTo>
                    <a:pt x="496" y="562"/>
                  </a:lnTo>
                  <a:lnTo>
                    <a:pt x="496" y="563"/>
                  </a:lnTo>
                  <a:lnTo>
                    <a:pt x="496" y="564"/>
                  </a:lnTo>
                  <a:lnTo>
                    <a:pt x="501" y="572"/>
                  </a:lnTo>
                  <a:lnTo>
                    <a:pt x="503" y="577"/>
                  </a:lnTo>
                  <a:lnTo>
                    <a:pt x="503" y="578"/>
                  </a:lnTo>
                  <a:lnTo>
                    <a:pt x="502" y="580"/>
                  </a:lnTo>
                  <a:lnTo>
                    <a:pt x="501" y="582"/>
                  </a:lnTo>
                  <a:lnTo>
                    <a:pt x="501" y="584"/>
                  </a:lnTo>
                  <a:lnTo>
                    <a:pt x="499" y="586"/>
                  </a:lnTo>
                  <a:lnTo>
                    <a:pt x="496" y="589"/>
                  </a:lnTo>
                  <a:lnTo>
                    <a:pt x="494" y="592"/>
                  </a:lnTo>
                  <a:lnTo>
                    <a:pt x="491" y="594"/>
                  </a:lnTo>
                  <a:lnTo>
                    <a:pt x="489" y="596"/>
                  </a:lnTo>
                  <a:lnTo>
                    <a:pt x="487" y="597"/>
                  </a:lnTo>
                  <a:lnTo>
                    <a:pt x="484" y="599"/>
                  </a:lnTo>
                  <a:lnTo>
                    <a:pt x="482" y="600"/>
                  </a:lnTo>
                  <a:lnTo>
                    <a:pt x="479" y="602"/>
                  </a:lnTo>
                  <a:lnTo>
                    <a:pt x="476" y="603"/>
                  </a:lnTo>
                  <a:lnTo>
                    <a:pt x="474" y="604"/>
                  </a:lnTo>
                  <a:lnTo>
                    <a:pt x="471" y="605"/>
                  </a:lnTo>
                  <a:lnTo>
                    <a:pt x="468" y="605"/>
                  </a:lnTo>
                  <a:lnTo>
                    <a:pt x="465" y="606"/>
                  </a:lnTo>
                  <a:lnTo>
                    <a:pt x="461" y="607"/>
                  </a:lnTo>
                  <a:lnTo>
                    <a:pt x="456" y="607"/>
                  </a:lnTo>
                  <a:lnTo>
                    <a:pt x="451" y="607"/>
                  </a:lnTo>
                  <a:lnTo>
                    <a:pt x="440" y="607"/>
                  </a:lnTo>
                  <a:lnTo>
                    <a:pt x="434" y="607"/>
                  </a:lnTo>
                  <a:lnTo>
                    <a:pt x="421" y="607"/>
                  </a:lnTo>
                  <a:lnTo>
                    <a:pt x="410" y="608"/>
                  </a:lnTo>
                  <a:lnTo>
                    <a:pt x="396" y="609"/>
                  </a:lnTo>
                  <a:lnTo>
                    <a:pt x="385" y="609"/>
                  </a:lnTo>
                  <a:lnTo>
                    <a:pt x="380" y="609"/>
                  </a:lnTo>
                  <a:lnTo>
                    <a:pt x="370" y="609"/>
                  </a:lnTo>
                  <a:lnTo>
                    <a:pt x="364" y="607"/>
                  </a:lnTo>
                  <a:lnTo>
                    <a:pt x="361" y="607"/>
                  </a:lnTo>
                  <a:lnTo>
                    <a:pt x="358" y="605"/>
                  </a:lnTo>
                  <a:lnTo>
                    <a:pt x="352" y="602"/>
                  </a:lnTo>
                  <a:lnTo>
                    <a:pt x="349" y="602"/>
                  </a:lnTo>
                  <a:lnTo>
                    <a:pt x="344" y="600"/>
                  </a:lnTo>
                  <a:lnTo>
                    <a:pt x="337" y="599"/>
                  </a:lnTo>
                  <a:lnTo>
                    <a:pt x="335" y="599"/>
                  </a:lnTo>
                  <a:lnTo>
                    <a:pt x="332" y="598"/>
                  </a:lnTo>
                  <a:lnTo>
                    <a:pt x="330" y="597"/>
                  </a:lnTo>
                  <a:lnTo>
                    <a:pt x="329" y="596"/>
                  </a:lnTo>
                  <a:lnTo>
                    <a:pt x="327" y="594"/>
                  </a:lnTo>
                  <a:lnTo>
                    <a:pt x="326" y="593"/>
                  </a:lnTo>
                  <a:lnTo>
                    <a:pt x="325" y="592"/>
                  </a:lnTo>
                  <a:lnTo>
                    <a:pt x="323" y="589"/>
                  </a:lnTo>
                  <a:lnTo>
                    <a:pt x="319" y="582"/>
                  </a:lnTo>
                  <a:lnTo>
                    <a:pt x="317" y="580"/>
                  </a:lnTo>
                  <a:lnTo>
                    <a:pt x="316" y="579"/>
                  </a:lnTo>
                  <a:lnTo>
                    <a:pt x="313" y="576"/>
                  </a:lnTo>
                  <a:lnTo>
                    <a:pt x="307" y="570"/>
                  </a:lnTo>
                  <a:lnTo>
                    <a:pt x="305" y="568"/>
                  </a:lnTo>
                  <a:lnTo>
                    <a:pt x="304" y="567"/>
                  </a:lnTo>
                  <a:lnTo>
                    <a:pt x="303" y="566"/>
                  </a:lnTo>
                  <a:lnTo>
                    <a:pt x="302" y="564"/>
                  </a:lnTo>
                  <a:lnTo>
                    <a:pt x="300" y="560"/>
                  </a:lnTo>
                  <a:lnTo>
                    <a:pt x="299" y="558"/>
                  </a:lnTo>
                  <a:lnTo>
                    <a:pt x="299" y="556"/>
                  </a:lnTo>
                  <a:lnTo>
                    <a:pt x="296" y="554"/>
                  </a:lnTo>
                  <a:lnTo>
                    <a:pt x="296" y="554"/>
                  </a:lnTo>
                  <a:lnTo>
                    <a:pt x="294" y="553"/>
                  </a:lnTo>
                  <a:lnTo>
                    <a:pt x="294" y="553"/>
                  </a:lnTo>
                  <a:lnTo>
                    <a:pt x="292" y="552"/>
                  </a:lnTo>
                  <a:lnTo>
                    <a:pt x="289" y="552"/>
                  </a:lnTo>
                  <a:lnTo>
                    <a:pt x="282" y="553"/>
                  </a:lnTo>
                  <a:lnTo>
                    <a:pt x="280" y="553"/>
                  </a:lnTo>
                  <a:lnTo>
                    <a:pt x="276" y="553"/>
                  </a:lnTo>
                  <a:lnTo>
                    <a:pt x="276" y="553"/>
                  </a:lnTo>
                  <a:lnTo>
                    <a:pt x="274" y="552"/>
                  </a:lnTo>
                  <a:lnTo>
                    <a:pt x="272" y="551"/>
                  </a:lnTo>
                  <a:lnTo>
                    <a:pt x="270" y="549"/>
                  </a:lnTo>
                  <a:lnTo>
                    <a:pt x="268" y="547"/>
                  </a:lnTo>
                  <a:lnTo>
                    <a:pt x="266" y="544"/>
                  </a:lnTo>
                  <a:lnTo>
                    <a:pt x="264" y="542"/>
                  </a:lnTo>
                  <a:lnTo>
                    <a:pt x="262" y="541"/>
                  </a:lnTo>
                  <a:lnTo>
                    <a:pt x="261" y="540"/>
                  </a:lnTo>
                  <a:lnTo>
                    <a:pt x="261" y="540"/>
                  </a:lnTo>
                  <a:lnTo>
                    <a:pt x="259" y="539"/>
                  </a:lnTo>
                  <a:lnTo>
                    <a:pt x="257" y="540"/>
                  </a:lnTo>
                  <a:lnTo>
                    <a:pt x="256" y="541"/>
                  </a:lnTo>
                  <a:lnTo>
                    <a:pt x="254" y="542"/>
                  </a:lnTo>
                  <a:lnTo>
                    <a:pt x="254" y="543"/>
                  </a:lnTo>
                  <a:lnTo>
                    <a:pt x="252" y="546"/>
                  </a:lnTo>
                  <a:lnTo>
                    <a:pt x="247" y="556"/>
                  </a:lnTo>
                  <a:lnTo>
                    <a:pt x="244" y="561"/>
                  </a:lnTo>
                  <a:lnTo>
                    <a:pt x="243" y="562"/>
                  </a:lnTo>
                  <a:lnTo>
                    <a:pt x="242" y="563"/>
                  </a:lnTo>
                  <a:lnTo>
                    <a:pt x="241" y="564"/>
                  </a:lnTo>
                  <a:lnTo>
                    <a:pt x="239" y="564"/>
                  </a:lnTo>
                  <a:lnTo>
                    <a:pt x="237" y="565"/>
                  </a:lnTo>
                  <a:lnTo>
                    <a:pt x="224" y="567"/>
                  </a:lnTo>
                  <a:lnTo>
                    <a:pt x="219" y="568"/>
                  </a:lnTo>
                  <a:lnTo>
                    <a:pt x="217" y="569"/>
                  </a:lnTo>
                  <a:lnTo>
                    <a:pt x="213" y="570"/>
                  </a:lnTo>
                  <a:lnTo>
                    <a:pt x="204" y="574"/>
                  </a:lnTo>
                  <a:lnTo>
                    <a:pt x="202" y="575"/>
                  </a:lnTo>
                  <a:lnTo>
                    <a:pt x="200" y="576"/>
                  </a:lnTo>
                  <a:lnTo>
                    <a:pt x="199" y="576"/>
                  </a:lnTo>
                  <a:lnTo>
                    <a:pt x="197" y="576"/>
                  </a:lnTo>
                  <a:lnTo>
                    <a:pt x="192" y="576"/>
                  </a:lnTo>
                  <a:lnTo>
                    <a:pt x="184" y="576"/>
                  </a:lnTo>
                  <a:lnTo>
                    <a:pt x="178" y="576"/>
                  </a:lnTo>
                  <a:lnTo>
                    <a:pt x="174" y="576"/>
                  </a:lnTo>
                  <a:lnTo>
                    <a:pt x="167" y="578"/>
                  </a:lnTo>
                  <a:lnTo>
                    <a:pt x="164" y="578"/>
                  </a:lnTo>
                  <a:lnTo>
                    <a:pt x="164" y="577"/>
                  </a:lnTo>
                  <a:lnTo>
                    <a:pt x="162" y="577"/>
                  </a:lnTo>
                  <a:lnTo>
                    <a:pt x="162" y="577"/>
                  </a:lnTo>
                  <a:lnTo>
                    <a:pt x="161" y="575"/>
                  </a:lnTo>
                  <a:lnTo>
                    <a:pt x="159" y="572"/>
                  </a:lnTo>
                  <a:lnTo>
                    <a:pt x="156" y="564"/>
                  </a:lnTo>
                  <a:lnTo>
                    <a:pt x="154" y="559"/>
                  </a:lnTo>
                  <a:lnTo>
                    <a:pt x="152" y="555"/>
                  </a:lnTo>
                  <a:lnTo>
                    <a:pt x="150" y="552"/>
                  </a:lnTo>
                  <a:lnTo>
                    <a:pt x="148" y="549"/>
                  </a:lnTo>
                  <a:lnTo>
                    <a:pt x="147" y="548"/>
                  </a:lnTo>
                  <a:lnTo>
                    <a:pt x="144" y="547"/>
                  </a:lnTo>
                  <a:lnTo>
                    <a:pt x="143" y="547"/>
                  </a:lnTo>
                  <a:lnTo>
                    <a:pt x="141" y="546"/>
                  </a:lnTo>
                  <a:lnTo>
                    <a:pt x="116" y="545"/>
                  </a:lnTo>
                  <a:lnTo>
                    <a:pt x="104" y="544"/>
                  </a:lnTo>
                  <a:lnTo>
                    <a:pt x="91" y="544"/>
                  </a:lnTo>
                  <a:lnTo>
                    <a:pt x="85" y="544"/>
                  </a:lnTo>
                  <a:lnTo>
                    <a:pt x="75" y="545"/>
                  </a:lnTo>
                  <a:lnTo>
                    <a:pt x="72" y="545"/>
                  </a:lnTo>
                  <a:lnTo>
                    <a:pt x="68" y="545"/>
                  </a:lnTo>
                  <a:lnTo>
                    <a:pt x="66" y="544"/>
                  </a:lnTo>
                  <a:lnTo>
                    <a:pt x="64" y="544"/>
                  </a:lnTo>
                  <a:lnTo>
                    <a:pt x="61" y="543"/>
                  </a:lnTo>
                  <a:lnTo>
                    <a:pt x="59" y="542"/>
                  </a:lnTo>
                  <a:lnTo>
                    <a:pt x="57" y="541"/>
                  </a:lnTo>
                  <a:lnTo>
                    <a:pt x="55" y="539"/>
                  </a:lnTo>
                  <a:lnTo>
                    <a:pt x="54" y="538"/>
                  </a:lnTo>
                  <a:lnTo>
                    <a:pt x="52" y="537"/>
                  </a:lnTo>
                  <a:lnTo>
                    <a:pt x="49" y="530"/>
                  </a:lnTo>
                  <a:lnTo>
                    <a:pt x="48" y="528"/>
                  </a:lnTo>
                  <a:lnTo>
                    <a:pt x="47" y="527"/>
                  </a:lnTo>
                  <a:lnTo>
                    <a:pt x="45" y="525"/>
                  </a:lnTo>
                  <a:lnTo>
                    <a:pt x="44" y="524"/>
                  </a:lnTo>
                  <a:lnTo>
                    <a:pt x="42" y="522"/>
                  </a:lnTo>
                  <a:lnTo>
                    <a:pt x="39" y="521"/>
                  </a:lnTo>
                  <a:lnTo>
                    <a:pt x="37" y="519"/>
                  </a:lnTo>
                  <a:lnTo>
                    <a:pt x="34" y="518"/>
                  </a:lnTo>
                  <a:lnTo>
                    <a:pt x="31" y="517"/>
                  </a:lnTo>
                  <a:lnTo>
                    <a:pt x="27" y="516"/>
                  </a:lnTo>
                  <a:lnTo>
                    <a:pt x="21" y="514"/>
                  </a:lnTo>
                  <a:lnTo>
                    <a:pt x="10" y="512"/>
                  </a:lnTo>
                  <a:lnTo>
                    <a:pt x="7" y="512"/>
                  </a:lnTo>
                  <a:lnTo>
                    <a:pt x="5" y="511"/>
                  </a:lnTo>
                  <a:lnTo>
                    <a:pt x="3" y="510"/>
                  </a:lnTo>
                  <a:lnTo>
                    <a:pt x="1" y="509"/>
                  </a:lnTo>
                  <a:lnTo>
                    <a:pt x="0" y="508"/>
                  </a:lnTo>
                  <a:lnTo>
                    <a:pt x="0" y="508"/>
                  </a:lnTo>
                  <a:lnTo>
                    <a:pt x="0" y="507"/>
                  </a:lnTo>
                  <a:lnTo>
                    <a:pt x="0" y="507"/>
                  </a:lnTo>
                  <a:lnTo>
                    <a:pt x="0" y="502"/>
                  </a:lnTo>
                  <a:lnTo>
                    <a:pt x="0" y="499"/>
                  </a:lnTo>
                  <a:lnTo>
                    <a:pt x="4" y="484"/>
                  </a:lnTo>
                  <a:lnTo>
                    <a:pt x="5" y="480"/>
                  </a:lnTo>
                  <a:lnTo>
                    <a:pt x="6" y="477"/>
                  </a:lnTo>
                  <a:lnTo>
                    <a:pt x="7" y="474"/>
                  </a:lnTo>
                  <a:lnTo>
                    <a:pt x="8" y="472"/>
                  </a:lnTo>
                  <a:lnTo>
                    <a:pt x="9" y="471"/>
                  </a:lnTo>
                  <a:lnTo>
                    <a:pt x="10" y="469"/>
                  </a:lnTo>
                  <a:lnTo>
                    <a:pt x="13" y="466"/>
                  </a:lnTo>
                  <a:lnTo>
                    <a:pt x="18" y="461"/>
                  </a:lnTo>
                  <a:lnTo>
                    <a:pt x="19" y="459"/>
                  </a:lnTo>
                  <a:lnTo>
                    <a:pt x="20" y="458"/>
                  </a:lnTo>
                  <a:lnTo>
                    <a:pt x="21" y="457"/>
                  </a:lnTo>
                  <a:lnTo>
                    <a:pt x="21" y="455"/>
                  </a:lnTo>
                  <a:lnTo>
                    <a:pt x="22" y="453"/>
                  </a:lnTo>
                  <a:lnTo>
                    <a:pt x="22" y="451"/>
                  </a:lnTo>
                  <a:lnTo>
                    <a:pt x="21" y="447"/>
                  </a:lnTo>
                  <a:lnTo>
                    <a:pt x="20" y="445"/>
                  </a:lnTo>
                  <a:lnTo>
                    <a:pt x="19" y="442"/>
                  </a:lnTo>
                  <a:lnTo>
                    <a:pt x="18" y="440"/>
                  </a:lnTo>
                  <a:lnTo>
                    <a:pt x="17" y="438"/>
                  </a:lnTo>
                  <a:lnTo>
                    <a:pt x="12" y="432"/>
                  </a:lnTo>
                  <a:lnTo>
                    <a:pt x="10" y="430"/>
                  </a:lnTo>
                  <a:lnTo>
                    <a:pt x="8" y="425"/>
                  </a:lnTo>
                  <a:lnTo>
                    <a:pt x="7" y="422"/>
                  </a:lnTo>
                  <a:lnTo>
                    <a:pt x="6" y="419"/>
                  </a:lnTo>
                  <a:lnTo>
                    <a:pt x="5" y="416"/>
                  </a:lnTo>
                  <a:lnTo>
                    <a:pt x="5" y="414"/>
                  </a:lnTo>
                  <a:lnTo>
                    <a:pt x="5" y="412"/>
                  </a:lnTo>
                  <a:lnTo>
                    <a:pt x="6" y="410"/>
                  </a:lnTo>
                  <a:lnTo>
                    <a:pt x="7" y="407"/>
                  </a:lnTo>
                  <a:lnTo>
                    <a:pt x="8" y="406"/>
                  </a:lnTo>
                  <a:lnTo>
                    <a:pt x="9" y="405"/>
                  </a:lnTo>
                  <a:lnTo>
                    <a:pt x="11" y="402"/>
                  </a:lnTo>
                  <a:lnTo>
                    <a:pt x="15" y="398"/>
                  </a:lnTo>
                  <a:lnTo>
                    <a:pt x="19" y="393"/>
                  </a:lnTo>
                  <a:lnTo>
                    <a:pt x="20" y="392"/>
                  </a:lnTo>
                  <a:lnTo>
                    <a:pt x="22" y="391"/>
                  </a:lnTo>
                  <a:lnTo>
                    <a:pt x="26" y="390"/>
                  </a:lnTo>
                  <a:lnTo>
                    <a:pt x="27" y="389"/>
                  </a:lnTo>
                  <a:lnTo>
                    <a:pt x="29" y="388"/>
                  </a:lnTo>
                  <a:lnTo>
                    <a:pt x="29" y="387"/>
                  </a:lnTo>
                  <a:lnTo>
                    <a:pt x="30" y="386"/>
                  </a:lnTo>
                  <a:lnTo>
                    <a:pt x="31" y="384"/>
                  </a:lnTo>
                  <a:lnTo>
                    <a:pt x="32" y="380"/>
                  </a:lnTo>
                  <a:lnTo>
                    <a:pt x="33" y="378"/>
                  </a:lnTo>
                  <a:lnTo>
                    <a:pt x="33" y="377"/>
                  </a:lnTo>
                  <a:lnTo>
                    <a:pt x="33" y="376"/>
                  </a:lnTo>
                  <a:lnTo>
                    <a:pt x="32" y="375"/>
                  </a:lnTo>
                  <a:lnTo>
                    <a:pt x="32" y="375"/>
                  </a:lnTo>
                  <a:lnTo>
                    <a:pt x="31" y="373"/>
                  </a:lnTo>
                  <a:lnTo>
                    <a:pt x="26" y="370"/>
                  </a:lnTo>
                  <a:lnTo>
                    <a:pt x="24" y="368"/>
                  </a:lnTo>
                  <a:lnTo>
                    <a:pt x="22" y="366"/>
                  </a:lnTo>
                  <a:lnTo>
                    <a:pt x="21" y="365"/>
                  </a:lnTo>
                  <a:lnTo>
                    <a:pt x="20" y="363"/>
                  </a:lnTo>
                  <a:lnTo>
                    <a:pt x="19" y="361"/>
                  </a:lnTo>
                  <a:lnTo>
                    <a:pt x="19" y="360"/>
                  </a:lnTo>
                  <a:lnTo>
                    <a:pt x="18" y="357"/>
                  </a:lnTo>
                  <a:lnTo>
                    <a:pt x="18" y="356"/>
                  </a:lnTo>
                  <a:lnTo>
                    <a:pt x="18" y="355"/>
                  </a:lnTo>
                  <a:lnTo>
                    <a:pt x="18" y="352"/>
                  </a:lnTo>
                  <a:lnTo>
                    <a:pt x="18" y="351"/>
                  </a:lnTo>
                  <a:lnTo>
                    <a:pt x="18" y="350"/>
                  </a:lnTo>
                  <a:lnTo>
                    <a:pt x="19" y="349"/>
                  </a:lnTo>
                  <a:lnTo>
                    <a:pt x="19" y="348"/>
                  </a:lnTo>
                  <a:lnTo>
                    <a:pt x="20" y="347"/>
                  </a:lnTo>
                  <a:lnTo>
                    <a:pt x="21" y="346"/>
                  </a:lnTo>
                  <a:lnTo>
                    <a:pt x="22" y="345"/>
                  </a:lnTo>
                  <a:lnTo>
                    <a:pt x="29" y="342"/>
                  </a:lnTo>
                  <a:lnTo>
                    <a:pt x="30" y="340"/>
                  </a:lnTo>
                  <a:lnTo>
                    <a:pt x="32" y="340"/>
                  </a:lnTo>
                  <a:lnTo>
                    <a:pt x="33" y="338"/>
                  </a:lnTo>
                  <a:lnTo>
                    <a:pt x="34" y="337"/>
                  </a:lnTo>
                  <a:lnTo>
                    <a:pt x="35" y="335"/>
                  </a:lnTo>
                  <a:lnTo>
                    <a:pt x="36" y="334"/>
                  </a:lnTo>
                  <a:lnTo>
                    <a:pt x="37" y="332"/>
                  </a:lnTo>
                  <a:lnTo>
                    <a:pt x="37" y="330"/>
                  </a:lnTo>
                  <a:lnTo>
                    <a:pt x="37" y="329"/>
                  </a:lnTo>
                  <a:lnTo>
                    <a:pt x="37" y="327"/>
                  </a:lnTo>
                  <a:lnTo>
                    <a:pt x="37" y="325"/>
                  </a:lnTo>
                  <a:lnTo>
                    <a:pt x="37" y="321"/>
                  </a:lnTo>
                  <a:lnTo>
                    <a:pt x="37" y="317"/>
                  </a:lnTo>
                  <a:lnTo>
                    <a:pt x="37" y="315"/>
                  </a:lnTo>
                  <a:lnTo>
                    <a:pt x="37" y="312"/>
                  </a:lnTo>
                  <a:lnTo>
                    <a:pt x="37" y="310"/>
                  </a:lnTo>
                  <a:lnTo>
                    <a:pt x="37" y="307"/>
                  </a:lnTo>
                  <a:lnTo>
                    <a:pt x="39" y="305"/>
                  </a:lnTo>
                  <a:lnTo>
                    <a:pt x="39" y="302"/>
                  </a:lnTo>
                  <a:lnTo>
                    <a:pt x="42" y="300"/>
                  </a:lnTo>
                  <a:lnTo>
                    <a:pt x="47" y="295"/>
                  </a:lnTo>
                  <a:lnTo>
                    <a:pt x="49" y="292"/>
                  </a:lnTo>
                  <a:lnTo>
                    <a:pt x="52" y="290"/>
                  </a:lnTo>
                  <a:lnTo>
                    <a:pt x="59" y="285"/>
                  </a:lnTo>
                  <a:lnTo>
                    <a:pt x="67" y="279"/>
                  </a:lnTo>
                  <a:lnTo>
                    <a:pt x="69" y="277"/>
                  </a:lnTo>
                  <a:lnTo>
                    <a:pt x="71" y="275"/>
                  </a:lnTo>
                  <a:lnTo>
                    <a:pt x="73" y="273"/>
                  </a:lnTo>
                  <a:lnTo>
                    <a:pt x="74" y="270"/>
                  </a:lnTo>
                  <a:lnTo>
                    <a:pt x="76" y="265"/>
                  </a:lnTo>
                  <a:lnTo>
                    <a:pt x="79" y="258"/>
                  </a:lnTo>
                  <a:lnTo>
                    <a:pt x="81" y="254"/>
                  </a:lnTo>
                  <a:lnTo>
                    <a:pt x="83" y="249"/>
                  </a:lnTo>
                  <a:lnTo>
                    <a:pt x="87" y="243"/>
                  </a:lnTo>
                  <a:lnTo>
                    <a:pt x="88" y="240"/>
                  </a:lnTo>
                  <a:lnTo>
                    <a:pt x="89" y="237"/>
                  </a:lnTo>
                  <a:lnTo>
                    <a:pt x="90" y="233"/>
                  </a:lnTo>
                  <a:lnTo>
                    <a:pt x="92" y="228"/>
                  </a:lnTo>
                  <a:lnTo>
                    <a:pt x="92" y="225"/>
                  </a:lnTo>
                  <a:lnTo>
                    <a:pt x="93" y="223"/>
                  </a:lnTo>
                  <a:lnTo>
                    <a:pt x="93" y="220"/>
                  </a:lnTo>
                  <a:lnTo>
                    <a:pt x="92" y="219"/>
                  </a:lnTo>
                  <a:lnTo>
                    <a:pt x="92" y="217"/>
                  </a:lnTo>
                  <a:lnTo>
                    <a:pt x="91" y="215"/>
                  </a:lnTo>
                  <a:lnTo>
                    <a:pt x="89" y="213"/>
                  </a:lnTo>
                  <a:lnTo>
                    <a:pt x="88" y="211"/>
                  </a:lnTo>
                  <a:lnTo>
                    <a:pt x="84" y="207"/>
                  </a:lnTo>
                  <a:lnTo>
                    <a:pt x="83" y="205"/>
                  </a:lnTo>
                  <a:lnTo>
                    <a:pt x="81" y="201"/>
                  </a:lnTo>
                  <a:lnTo>
                    <a:pt x="77" y="193"/>
                  </a:lnTo>
                  <a:lnTo>
                    <a:pt x="74" y="188"/>
                  </a:lnTo>
                  <a:lnTo>
                    <a:pt x="73" y="183"/>
                  </a:lnTo>
                  <a:lnTo>
                    <a:pt x="69" y="173"/>
                  </a:lnTo>
                  <a:lnTo>
                    <a:pt x="69" y="170"/>
                  </a:lnTo>
                  <a:lnTo>
                    <a:pt x="69" y="169"/>
                  </a:lnTo>
                  <a:lnTo>
                    <a:pt x="69" y="168"/>
                  </a:lnTo>
                  <a:lnTo>
                    <a:pt x="74" y="155"/>
                  </a:lnTo>
                  <a:lnTo>
                    <a:pt x="75" y="151"/>
                  </a:lnTo>
                  <a:lnTo>
                    <a:pt x="77" y="147"/>
                  </a:lnTo>
                  <a:lnTo>
                    <a:pt x="79" y="143"/>
                  </a:lnTo>
                  <a:lnTo>
                    <a:pt x="80" y="140"/>
                  </a:lnTo>
                  <a:lnTo>
                    <a:pt x="87" y="130"/>
                  </a:lnTo>
                  <a:lnTo>
                    <a:pt x="88" y="128"/>
                  </a:lnTo>
                  <a:lnTo>
                    <a:pt x="89" y="127"/>
                  </a:lnTo>
                  <a:lnTo>
                    <a:pt x="89" y="125"/>
                  </a:lnTo>
                  <a:lnTo>
                    <a:pt x="88" y="123"/>
                  </a:lnTo>
                  <a:lnTo>
                    <a:pt x="86" y="118"/>
                  </a:lnTo>
                  <a:lnTo>
                    <a:pt x="82" y="112"/>
                  </a:lnTo>
                  <a:lnTo>
                    <a:pt x="80" y="106"/>
                  </a:lnTo>
                  <a:lnTo>
                    <a:pt x="79" y="103"/>
                  </a:lnTo>
                  <a:lnTo>
                    <a:pt x="77" y="99"/>
                  </a:lnTo>
                  <a:lnTo>
                    <a:pt x="77" y="93"/>
                  </a:lnTo>
                  <a:lnTo>
                    <a:pt x="76" y="89"/>
                  </a:lnTo>
                  <a:lnTo>
                    <a:pt x="76" y="86"/>
                  </a:lnTo>
                  <a:lnTo>
                    <a:pt x="75" y="75"/>
                  </a:lnTo>
                  <a:lnTo>
                    <a:pt x="75" y="73"/>
                  </a:lnTo>
                  <a:lnTo>
                    <a:pt x="74" y="69"/>
                  </a:lnTo>
                  <a:lnTo>
                    <a:pt x="73" y="65"/>
                  </a:lnTo>
                  <a:lnTo>
                    <a:pt x="72" y="61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68" y="56"/>
                  </a:lnTo>
                  <a:lnTo>
                    <a:pt x="67" y="53"/>
                  </a:lnTo>
                  <a:lnTo>
                    <a:pt x="66" y="52"/>
                  </a:lnTo>
                  <a:lnTo>
                    <a:pt x="65" y="50"/>
                  </a:lnTo>
                  <a:lnTo>
                    <a:pt x="65" y="49"/>
                  </a:lnTo>
                  <a:lnTo>
                    <a:pt x="64" y="48"/>
                  </a:lnTo>
                  <a:lnTo>
                    <a:pt x="64" y="46"/>
                  </a:lnTo>
                  <a:lnTo>
                    <a:pt x="64" y="45"/>
                  </a:lnTo>
                  <a:lnTo>
                    <a:pt x="65" y="41"/>
                  </a:lnTo>
                  <a:lnTo>
                    <a:pt x="69" y="28"/>
                  </a:lnTo>
                  <a:lnTo>
                    <a:pt x="70" y="25"/>
                  </a:lnTo>
                  <a:lnTo>
                    <a:pt x="71" y="24"/>
                  </a:lnTo>
                  <a:lnTo>
                    <a:pt x="72" y="23"/>
                  </a:lnTo>
                  <a:lnTo>
                    <a:pt x="74" y="20"/>
                  </a:lnTo>
                  <a:lnTo>
                    <a:pt x="75" y="18"/>
                  </a:lnTo>
                  <a:lnTo>
                    <a:pt x="76" y="18"/>
                  </a:lnTo>
                  <a:lnTo>
                    <a:pt x="77" y="17"/>
                  </a:lnTo>
                  <a:lnTo>
                    <a:pt x="77" y="17"/>
                  </a:lnTo>
                  <a:lnTo>
                    <a:pt x="77" y="18"/>
                  </a:lnTo>
                  <a:lnTo>
                    <a:pt x="79" y="19"/>
                  </a:lnTo>
                  <a:lnTo>
                    <a:pt x="81" y="20"/>
                  </a:lnTo>
                  <a:lnTo>
                    <a:pt x="83" y="20"/>
                  </a:lnTo>
                  <a:lnTo>
                    <a:pt x="86" y="21"/>
                  </a:lnTo>
                  <a:lnTo>
                    <a:pt x="89" y="22"/>
                  </a:lnTo>
                  <a:lnTo>
                    <a:pt x="92" y="23"/>
                  </a:lnTo>
                  <a:lnTo>
                    <a:pt x="93" y="22"/>
                  </a:lnTo>
                  <a:lnTo>
                    <a:pt x="94" y="21"/>
                  </a:lnTo>
                  <a:lnTo>
                    <a:pt x="95" y="20"/>
                  </a:lnTo>
                  <a:lnTo>
                    <a:pt x="98" y="18"/>
                  </a:lnTo>
                  <a:lnTo>
                    <a:pt x="101" y="13"/>
                  </a:lnTo>
                  <a:lnTo>
                    <a:pt x="102" y="13"/>
                  </a:lnTo>
                  <a:lnTo>
                    <a:pt x="102" y="13"/>
                  </a:lnTo>
                  <a:lnTo>
                    <a:pt x="104" y="12"/>
                  </a:lnTo>
                  <a:lnTo>
                    <a:pt x="106" y="12"/>
                  </a:lnTo>
                  <a:lnTo>
                    <a:pt x="109" y="13"/>
                  </a:lnTo>
                  <a:lnTo>
                    <a:pt x="113" y="13"/>
                  </a:lnTo>
                  <a:lnTo>
                    <a:pt x="114" y="13"/>
                  </a:lnTo>
                  <a:lnTo>
                    <a:pt x="115" y="13"/>
                  </a:lnTo>
                  <a:lnTo>
                    <a:pt x="118" y="11"/>
                  </a:lnTo>
                  <a:lnTo>
                    <a:pt x="119" y="10"/>
                  </a:lnTo>
                  <a:lnTo>
                    <a:pt x="119" y="10"/>
                  </a:lnTo>
                  <a:lnTo>
                    <a:pt x="121" y="7"/>
                  </a:lnTo>
                  <a:lnTo>
                    <a:pt x="122" y="5"/>
                  </a:lnTo>
                  <a:lnTo>
                    <a:pt x="124" y="3"/>
                  </a:lnTo>
                  <a:lnTo>
                    <a:pt x="127" y="0"/>
                  </a:lnTo>
                  <a:lnTo>
                    <a:pt x="127" y="0"/>
                  </a:lnTo>
                  <a:close/>
                </a:path>
              </a:pathLst>
            </a:custGeom>
            <a:solidFill>
              <a:srgbClr val="828282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103">
              <a:extLst>
                <a:ext uri="{FF2B5EF4-FFF2-40B4-BE49-F238E27FC236}">
                  <a16:creationId xmlns:a16="http://schemas.microsoft.com/office/drawing/2014/main" id="{3905F8AF-3E7D-C1AE-A54D-E9F2633C15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6961" y="4421025"/>
              <a:ext cx="774700" cy="1096963"/>
            </a:xfrm>
            <a:custGeom>
              <a:avLst/>
              <a:gdLst>
                <a:gd name="T0" fmla="*/ 351 w 488"/>
                <a:gd name="T1" fmla="*/ 8 h 691"/>
                <a:gd name="T2" fmla="*/ 404 w 488"/>
                <a:gd name="T3" fmla="*/ 43 h 691"/>
                <a:gd name="T4" fmla="*/ 426 w 488"/>
                <a:gd name="T5" fmla="*/ 36 h 691"/>
                <a:gd name="T6" fmla="*/ 440 w 488"/>
                <a:gd name="T7" fmla="*/ 58 h 691"/>
                <a:gd name="T8" fmla="*/ 469 w 488"/>
                <a:gd name="T9" fmla="*/ 92 h 691"/>
                <a:gd name="T10" fmla="*/ 488 w 488"/>
                <a:gd name="T11" fmla="*/ 103 h 691"/>
                <a:gd name="T12" fmla="*/ 480 w 488"/>
                <a:gd name="T13" fmla="*/ 125 h 691"/>
                <a:gd name="T14" fmla="*/ 466 w 488"/>
                <a:gd name="T15" fmla="*/ 138 h 691"/>
                <a:gd name="T16" fmla="*/ 481 w 488"/>
                <a:gd name="T17" fmla="*/ 177 h 691"/>
                <a:gd name="T18" fmla="*/ 474 w 488"/>
                <a:gd name="T19" fmla="*/ 228 h 691"/>
                <a:gd name="T20" fmla="*/ 464 w 488"/>
                <a:gd name="T21" fmla="*/ 270 h 691"/>
                <a:gd name="T22" fmla="*/ 453 w 488"/>
                <a:gd name="T23" fmla="*/ 325 h 691"/>
                <a:gd name="T24" fmla="*/ 476 w 488"/>
                <a:gd name="T25" fmla="*/ 350 h 691"/>
                <a:gd name="T26" fmla="*/ 468 w 488"/>
                <a:gd name="T27" fmla="*/ 382 h 691"/>
                <a:gd name="T28" fmla="*/ 478 w 488"/>
                <a:gd name="T29" fmla="*/ 416 h 691"/>
                <a:gd name="T30" fmla="*/ 466 w 488"/>
                <a:gd name="T31" fmla="*/ 423 h 691"/>
                <a:gd name="T32" fmla="*/ 429 w 488"/>
                <a:gd name="T33" fmla="*/ 439 h 691"/>
                <a:gd name="T34" fmla="*/ 444 w 488"/>
                <a:gd name="T35" fmla="*/ 464 h 691"/>
                <a:gd name="T36" fmla="*/ 429 w 488"/>
                <a:gd name="T37" fmla="*/ 513 h 691"/>
                <a:gd name="T38" fmla="*/ 393 w 488"/>
                <a:gd name="T39" fmla="*/ 539 h 691"/>
                <a:gd name="T40" fmla="*/ 338 w 488"/>
                <a:gd name="T41" fmla="*/ 538 h 691"/>
                <a:gd name="T42" fmla="*/ 324 w 488"/>
                <a:gd name="T43" fmla="*/ 545 h 691"/>
                <a:gd name="T44" fmla="*/ 338 w 488"/>
                <a:gd name="T45" fmla="*/ 584 h 691"/>
                <a:gd name="T46" fmla="*/ 364 w 488"/>
                <a:gd name="T47" fmla="*/ 604 h 691"/>
                <a:gd name="T48" fmla="*/ 347 w 488"/>
                <a:gd name="T49" fmla="*/ 638 h 691"/>
                <a:gd name="T50" fmla="*/ 362 w 488"/>
                <a:gd name="T51" fmla="*/ 669 h 691"/>
                <a:gd name="T52" fmla="*/ 377 w 488"/>
                <a:gd name="T53" fmla="*/ 691 h 691"/>
                <a:gd name="T54" fmla="*/ 350 w 488"/>
                <a:gd name="T55" fmla="*/ 679 h 691"/>
                <a:gd name="T56" fmla="*/ 319 w 488"/>
                <a:gd name="T57" fmla="*/ 681 h 691"/>
                <a:gd name="T58" fmla="*/ 293 w 488"/>
                <a:gd name="T59" fmla="*/ 657 h 691"/>
                <a:gd name="T60" fmla="*/ 263 w 488"/>
                <a:gd name="T61" fmla="*/ 649 h 691"/>
                <a:gd name="T62" fmla="*/ 220 w 488"/>
                <a:gd name="T63" fmla="*/ 624 h 691"/>
                <a:gd name="T64" fmla="*/ 194 w 488"/>
                <a:gd name="T65" fmla="*/ 594 h 691"/>
                <a:gd name="T66" fmla="*/ 168 w 488"/>
                <a:gd name="T67" fmla="*/ 554 h 691"/>
                <a:gd name="T68" fmla="*/ 124 w 488"/>
                <a:gd name="T69" fmla="*/ 530 h 691"/>
                <a:gd name="T70" fmla="*/ 87 w 488"/>
                <a:gd name="T71" fmla="*/ 512 h 691"/>
                <a:gd name="T72" fmla="*/ 62 w 488"/>
                <a:gd name="T73" fmla="*/ 472 h 691"/>
                <a:gd name="T74" fmla="*/ 28 w 488"/>
                <a:gd name="T75" fmla="*/ 475 h 691"/>
                <a:gd name="T76" fmla="*/ 16 w 488"/>
                <a:gd name="T77" fmla="*/ 453 h 691"/>
                <a:gd name="T78" fmla="*/ 1 w 488"/>
                <a:gd name="T79" fmla="*/ 397 h 691"/>
                <a:gd name="T80" fmla="*/ 25 w 488"/>
                <a:gd name="T81" fmla="*/ 367 h 691"/>
                <a:gd name="T82" fmla="*/ 45 w 488"/>
                <a:gd name="T83" fmla="*/ 345 h 691"/>
                <a:gd name="T84" fmla="*/ 48 w 488"/>
                <a:gd name="T85" fmla="*/ 304 h 691"/>
                <a:gd name="T86" fmla="*/ 55 w 488"/>
                <a:gd name="T87" fmla="*/ 274 h 691"/>
                <a:gd name="T88" fmla="*/ 64 w 488"/>
                <a:gd name="T89" fmla="*/ 232 h 691"/>
                <a:gd name="T90" fmla="*/ 64 w 488"/>
                <a:gd name="T91" fmla="*/ 198 h 691"/>
                <a:gd name="T92" fmla="*/ 52 w 488"/>
                <a:gd name="T93" fmla="*/ 160 h 691"/>
                <a:gd name="T94" fmla="*/ 63 w 488"/>
                <a:gd name="T95" fmla="*/ 124 h 691"/>
                <a:gd name="T96" fmla="*/ 73 w 488"/>
                <a:gd name="T97" fmla="*/ 100 h 691"/>
                <a:gd name="T98" fmla="*/ 103 w 488"/>
                <a:gd name="T99" fmla="*/ 99 h 691"/>
                <a:gd name="T100" fmla="*/ 147 w 488"/>
                <a:gd name="T101" fmla="*/ 110 h 691"/>
                <a:gd name="T102" fmla="*/ 176 w 488"/>
                <a:gd name="T103" fmla="*/ 95 h 691"/>
                <a:gd name="T104" fmla="*/ 172 w 488"/>
                <a:gd name="T105" fmla="*/ 122 h 691"/>
                <a:gd name="T106" fmla="*/ 198 w 488"/>
                <a:gd name="T107" fmla="*/ 131 h 691"/>
                <a:gd name="T108" fmla="*/ 230 w 488"/>
                <a:gd name="T109" fmla="*/ 142 h 691"/>
                <a:gd name="T110" fmla="*/ 269 w 488"/>
                <a:gd name="T111" fmla="*/ 103 h 691"/>
                <a:gd name="T112" fmla="*/ 304 w 488"/>
                <a:gd name="T113" fmla="*/ 85 h 691"/>
                <a:gd name="T114" fmla="*/ 300 w 488"/>
                <a:gd name="T115" fmla="*/ 48 h 691"/>
                <a:gd name="T116" fmla="*/ 311 w 488"/>
                <a:gd name="T117" fmla="*/ 22 h 691"/>
                <a:gd name="T118" fmla="*/ 339 w 488"/>
                <a:gd name="T119" fmla="*/ 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88" h="691">
                  <a:moveTo>
                    <a:pt x="339" y="0"/>
                  </a:moveTo>
                  <a:lnTo>
                    <a:pt x="340" y="0"/>
                  </a:lnTo>
                  <a:lnTo>
                    <a:pt x="341" y="0"/>
                  </a:lnTo>
                  <a:lnTo>
                    <a:pt x="342" y="1"/>
                  </a:lnTo>
                  <a:lnTo>
                    <a:pt x="343" y="2"/>
                  </a:lnTo>
                  <a:lnTo>
                    <a:pt x="344" y="3"/>
                  </a:lnTo>
                  <a:lnTo>
                    <a:pt x="344" y="3"/>
                  </a:lnTo>
                  <a:lnTo>
                    <a:pt x="344" y="3"/>
                  </a:lnTo>
                  <a:lnTo>
                    <a:pt x="345" y="4"/>
                  </a:lnTo>
                  <a:lnTo>
                    <a:pt x="347" y="5"/>
                  </a:lnTo>
                  <a:lnTo>
                    <a:pt x="351" y="8"/>
                  </a:lnTo>
                  <a:lnTo>
                    <a:pt x="366" y="15"/>
                  </a:lnTo>
                  <a:lnTo>
                    <a:pt x="370" y="18"/>
                  </a:lnTo>
                  <a:lnTo>
                    <a:pt x="374" y="20"/>
                  </a:lnTo>
                  <a:lnTo>
                    <a:pt x="378" y="23"/>
                  </a:lnTo>
                  <a:lnTo>
                    <a:pt x="381" y="25"/>
                  </a:lnTo>
                  <a:lnTo>
                    <a:pt x="384" y="28"/>
                  </a:lnTo>
                  <a:lnTo>
                    <a:pt x="391" y="34"/>
                  </a:lnTo>
                  <a:lnTo>
                    <a:pt x="395" y="38"/>
                  </a:lnTo>
                  <a:lnTo>
                    <a:pt x="398" y="39"/>
                  </a:lnTo>
                  <a:lnTo>
                    <a:pt x="400" y="41"/>
                  </a:lnTo>
                  <a:lnTo>
                    <a:pt x="404" y="43"/>
                  </a:lnTo>
                  <a:lnTo>
                    <a:pt x="406" y="44"/>
                  </a:lnTo>
                  <a:lnTo>
                    <a:pt x="407" y="45"/>
                  </a:lnTo>
                  <a:lnTo>
                    <a:pt x="409" y="45"/>
                  </a:lnTo>
                  <a:lnTo>
                    <a:pt x="409" y="45"/>
                  </a:lnTo>
                  <a:lnTo>
                    <a:pt x="411" y="44"/>
                  </a:lnTo>
                  <a:lnTo>
                    <a:pt x="412" y="43"/>
                  </a:lnTo>
                  <a:lnTo>
                    <a:pt x="416" y="40"/>
                  </a:lnTo>
                  <a:lnTo>
                    <a:pt x="419" y="39"/>
                  </a:lnTo>
                  <a:lnTo>
                    <a:pt x="421" y="38"/>
                  </a:lnTo>
                  <a:lnTo>
                    <a:pt x="424" y="37"/>
                  </a:lnTo>
                  <a:lnTo>
                    <a:pt x="426" y="36"/>
                  </a:lnTo>
                  <a:lnTo>
                    <a:pt x="427" y="36"/>
                  </a:lnTo>
                  <a:lnTo>
                    <a:pt x="428" y="37"/>
                  </a:lnTo>
                  <a:lnTo>
                    <a:pt x="429" y="38"/>
                  </a:lnTo>
                  <a:lnTo>
                    <a:pt x="431" y="38"/>
                  </a:lnTo>
                  <a:lnTo>
                    <a:pt x="431" y="38"/>
                  </a:lnTo>
                  <a:lnTo>
                    <a:pt x="431" y="39"/>
                  </a:lnTo>
                  <a:lnTo>
                    <a:pt x="432" y="40"/>
                  </a:lnTo>
                  <a:lnTo>
                    <a:pt x="434" y="43"/>
                  </a:lnTo>
                  <a:lnTo>
                    <a:pt x="436" y="49"/>
                  </a:lnTo>
                  <a:lnTo>
                    <a:pt x="437" y="53"/>
                  </a:lnTo>
                  <a:lnTo>
                    <a:pt x="440" y="58"/>
                  </a:lnTo>
                  <a:lnTo>
                    <a:pt x="444" y="66"/>
                  </a:lnTo>
                  <a:lnTo>
                    <a:pt x="448" y="74"/>
                  </a:lnTo>
                  <a:lnTo>
                    <a:pt x="452" y="81"/>
                  </a:lnTo>
                  <a:lnTo>
                    <a:pt x="454" y="83"/>
                  </a:lnTo>
                  <a:lnTo>
                    <a:pt x="456" y="85"/>
                  </a:lnTo>
                  <a:lnTo>
                    <a:pt x="457" y="87"/>
                  </a:lnTo>
                  <a:lnTo>
                    <a:pt x="459" y="88"/>
                  </a:lnTo>
                  <a:lnTo>
                    <a:pt x="463" y="90"/>
                  </a:lnTo>
                  <a:lnTo>
                    <a:pt x="464" y="91"/>
                  </a:lnTo>
                  <a:lnTo>
                    <a:pt x="466" y="91"/>
                  </a:lnTo>
                  <a:lnTo>
                    <a:pt x="469" y="92"/>
                  </a:lnTo>
                  <a:lnTo>
                    <a:pt x="470" y="92"/>
                  </a:lnTo>
                  <a:lnTo>
                    <a:pt x="472" y="92"/>
                  </a:lnTo>
                  <a:lnTo>
                    <a:pt x="474" y="92"/>
                  </a:lnTo>
                  <a:lnTo>
                    <a:pt x="476" y="92"/>
                  </a:lnTo>
                  <a:lnTo>
                    <a:pt x="478" y="92"/>
                  </a:lnTo>
                  <a:lnTo>
                    <a:pt x="480" y="91"/>
                  </a:lnTo>
                  <a:lnTo>
                    <a:pt x="482" y="91"/>
                  </a:lnTo>
                  <a:lnTo>
                    <a:pt x="486" y="89"/>
                  </a:lnTo>
                  <a:lnTo>
                    <a:pt x="486" y="90"/>
                  </a:lnTo>
                  <a:lnTo>
                    <a:pt x="486" y="92"/>
                  </a:lnTo>
                  <a:lnTo>
                    <a:pt x="488" y="103"/>
                  </a:lnTo>
                  <a:lnTo>
                    <a:pt x="488" y="107"/>
                  </a:lnTo>
                  <a:lnTo>
                    <a:pt x="488" y="110"/>
                  </a:lnTo>
                  <a:lnTo>
                    <a:pt x="488" y="112"/>
                  </a:lnTo>
                  <a:lnTo>
                    <a:pt x="488" y="113"/>
                  </a:lnTo>
                  <a:lnTo>
                    <a:pt x="488" y="115"/>
                  </a:lnTo>
                  <a:lnTo>
                    <a:pt x="487" y="117"/>
                  </a:lnTo>
                  <a:lnTo>
                    <a:pt x="486" y="120"/>
                  </a:lnTo>
                  <a:lnTo>
                    <a:pt x="485" y="121"/>
                  </a:lnTo>
                  <a:lnTo>
                    <a:pt x="483" y="122"/>
                  </a:lnTo>
                  <a:lnTo>
                    <a:pt x="482" y="123"/>
                  </a:lnTo>
                  <a:lnTo>
                    <a:pt x="480" y="125"/>
                  </a:lnTo>
                  <a:lnTo>
                    <a:pt x="476" y="126"/>
                  </a:lnTo>
                  <a:lnTo>
                    <a:pt x="473" y="127"/>
                  </a:lnTo>
                  <a:lnTo>
                    <a:pt x="471" y="128"/>
                  </a:lnTo>
                  <a:lnTo>
                    <a:pt x="469" y="129"/>
                  </a:lnTo>
                  <a:lnTo>
                    <a:pt x="468" y="130"/>
                  </a:lnTo>
                  <a:lnTo>
                    <a:pt x="467" y="132"/>
                  </a:lnTo>
                  <a:lnTo>
                    <a:pt x="466" y="132"/>
                  </a:lnTo>
                  <a:lnTo>
                    <a:pt x="466" y="135"/>
                  </a:lnTo>
                  <a:lnTo>
                    <a:pt x="466" y="135"/>
                  </a:lnTo>
                  <a:lnTo>
                    <a:pt x="466" y="137"/>
                  </a:lnTo>
                  <a:lnTo>
                    <a:pt x="466" y="138"/>
                  </a:lnTo>
                  <a:lnTo>
                    <a:pt x="467" y="140"/>
                  </a:lnTo>
                  <a:lnTo>
                    <a:pt x="469" y="142"/>
                  </a:lnTo>
                  <a:lnTo>
                    <a:pt x="474" y="152"/>
                  </a:lnTo>
                  <a:lnTo>
                    <a:pt x="476" y="154"/>
                  </a:lnTo>
                  <a:lnTo>
                    <a:pt x="476" y="157"/>
                  </a:lnTo>
                  <a:lnTo>
                    <a:pt x="478" y="160"/>
                  </a:lnTo>
                  <a:lnTo>
                    <a:pt x="478" y="162"/>
                  </a:lnTo>
                  <a:lnTo>
                    <a:pt x="479" y="165"/>
                  </a:lnTo>
                  <a:lnTo>
                    <a:pt x="480" y="169"/>
                  </a:lnTo>
                  <a:lnTo>
                    <a:pt x="481" y="174"/>
                  </a:lnTo>
                  <a:lnTo>
                    <a:pt x="481" y="177"/>
                  </a:lnTo>
                  <a:lnTo>
                    <a:pt x="481" y="181"/>
                  </a:lnTo>
                  <a:lnTo>
                    <a:pt x="479" y="190"/>
                  </a:lnTo>
                  <a:lnTo>
                    <a:pt x="479" y="193"/>
                  </a:lnTo>
                  <a:lnTo>
                    <a:pt x="478" y="197"/>
                  </a:lnTo>
                  <a:lnTo>
                    <a:pt x="479" y="203"/>
                  </a:lnTo>
                  <a:lnTo>
                    <a:pt x="479" y="207"/>
                  </a:lnTo>
                  <a:lnTo>
                    <a:pt x="478" y="212"/>
                  </a:lnTo>
                  <a:lnTo>
                    <a:pt x="478" y="215"/>
                  </a:lnTo>
                  <a:lnTo>
                    <a:pt x="477" y="219"/>
                  </a:lnTo>
                  <a:lnTo>
                    <a:pt x="476" y="223"/>
                  </a:lnTo>
                  <a:lnTo>
                    <a:pt x="474" y="228"/>
                  </a:lnTo>
                  <a:lnTo>
                    <a:pt x="470" y="237"/>
                  </a:lnTo>
                  <a:lnTo>
                    <a:pt x="467" y="247"/>
                  </a:lnTo>
                  <a:lnTo>
                    <a:pt x="464" y="255"/>
                  </a:lnTo>
                  <a:lnTo>
                    <a:pt x="463" y="257"/>
                  </a:lnTo>
                  <a:lnTo>
                    <a:pt x="463" y="259"/>
                  </a:lnTo>
                  <a:lnTo>
                    <a:pt x="462" y="260"/>
                  </a:lnTo>
                  <a:lnTo>
                    <a:pt x="463" y="262"/>
                  </a:lnTo>
                  <a:lnTo>
                    <a:pt x="464" y="265"/>
                  </a:lnTo>
                  <a:lnTo>
                    <a:pt x="464" y="267"/>
                  </a:lnTo>
                  <a:lnTo>
                    <a:pt x="464" y="268"/>
                  </a:lnTo>
                  <a:lnTo>
                    <a:pt x="464" y="270"/>
                  </a:lnTo>
                  <a:lnTo>
                    <a:pt x="461" y="280"/>
                  </a:lnTo>
                  <a:lnTo>
                    <a:pt x="459" y="288"/>
                  </a:lnTo>
                  <a:lnTo>
                    <a:pt x="458" y="292"/>
                  </a:lnTo>
                  <a:lnTo>
                    <a:pt x="456" y="298"/>
                  </a:lnTo>
                  <a:lnTo>
                    <a:pt x="454" y="305"/>
                  </a:lnTo>
                  <a:lnTo>
                    <a:pt x="453" y="308"/>
                  </a:lnTo>
                  <a:lnTo>
                    <a:pt x="452" y="312"/>
                  </a:lnTo>
                  <a:lnTo>
                    <a:pt x="451" y="317"/>
                  </a:lnTo>
                  <a:lnTo>
                    <a:pt x="451" y="321"/>
                  </a:lnTo>
                  <a:lnTo>
                    <a:pt x="452" y="323"/>
                  </a:lnTo>
                  <a:lnTo>
                    <a:pt x="453" y="325"/>
                  </a:lnTo>
                  <a:lnTo>
                    <a:pt x="453" y="327"/>
                  </a:lnTo>
                  <a:lnTo>
                    <a:pt x="454" y="328"/>
                  </a:lnTo>
                  <a:lnTo>
                    <a:pt x="454" y="329"/>
                  </a:lnTo>
                  <a:lnTo>
                    <a:pt x="455" y="331"/>
                  </a:lnTo>
                  <a:lnTo>
                    <a:pt x="457" y="334"/>
                  </a:lnTo>
                  <a:lnTo>
                    <a:pt x="460" y="337"/>
                  </a:lnTo>
                  <a:lnTo>
                    <a:pt x="464" y="339"/>
                  </a:lnTo>
                  <a:lnTo>
                    <a:pt x="470" y="344"/>
                  </a:lnTo>
                  <a:lnTo>
                    <a:pt x="472" y="347"/>
                  </a:lnTo>
                  <a:lnTo>
                    <a:pt x="474" y="348"/>
                  </a:lnTo>
                  <a:lnTo>
                    <a:pt x="476" y="350"/>
                  </a:lnTo>
                  <a:lnTo>
                    <a:pt x="478" y="353"/>
                  </a:lnTo>
                  <a:lnTo>
                    <a:pt x="481" y="357"/>
                  </a:lnTo>
                  <a:lnTo>
                    <a:pt x="481" y="359"/>
                  </a:lnTo>
                  <a:lnTo>
                    <a:pt x="481" y="360"/>
                  </a:lnTo>
                  <a:lnTo>
                    <a:pt x="481" y="361"/>
                  </a:lnTo>
                  <a:lnTo>
                    <a:pt x="481" y="362"/>
                  </a:lnTo>
                  <a:lnTo>
                    <a:pt x="481" y="363"/>
                  </a:lnTo>
                  <a:lnTo>
                    <a:pt x="473" y="374"/>
                  </a:lnTo>
                  <a:lnTo>
                    <a:pt x="470" y="377"/>
                  </a:lnTo>
                  <a:lnTo>
                    <a:pt x="469" y="379"/>
                  </a:lnTo>
                  <a:lnTo>
                    <a:pt x="468" y="382"/>
                  </a:lnTo>
                  <a:lnTo>
                    <a:pt x="467" y="384"/>
                  </a:lnTo>
                  <a:lnTo>
                    <a:pt x="466" y="385"/>
                  </a:lnTo>
                  <a:lnTo>
                    <a:pt x="466" y="387"/>
                  </a:lnTo>
                  <a:lnTo>
                    <a:pt x="466" y="389"/>
                  </a:lnTo>
                  <a:lnTo>
                    <a:pt x="467" y="392"/>
                  </a:lnTo>
                  <a:lnTo>
                    <a:pt x="467" y="394"/>
                  </a:lnTo>
                  <a:lnTo>
                    <a:pt x="469" y="397"/>
                  </a:lnTo>
                  <a:lnTo>
                    <a:pt x="471" y="401"/>
                  </a:lnTo>
                  <a:lnTo>
                    <a:pt x="476" y="412"/>
                  </a:lnTo>
                  <a:lnTo>
                    <a:pt x="477" y="414"/>
                  </a:lnTo>
                  <a:lnTo>
                    <a:pt x="478" y="416"/>
                  </a:lnTo>
                  <a:lnTo>
                    <a:pt x="478" y="417"/>
                  </a:lnTo>
                  <a:lnTo>
                    <a:pt x="478" y="419"/>
                  </a:lnTo>
                  <a:lnTo>
                    <a:pt x="478" y="420"/>
                  </a:lnTo>
                  <a:lnTo>
                    <a:pt x="478" y="421"/>
                  </a:lnTo>
                  <a:lnTo>
                    <a:pt x="477" y="422"/>
                  </a:lnTo>
                  <a:lnTo>
                    <a:pt x="476" y="422"/>
                  </a:lnTo>
                  <a:lnTo>
                    <a:pt x="474" y="422"/>
                  </a:lnTo>
                  <a:lnTo>
                    <a:pt x="472" y="422"/>
                  </a:lnTo>
                  <a:lnTo>
                    <a:pt x="469" y="422"/>
                  </a:lnTo>
                  <a:lnTo>
                    <a:pt x="467" y="422"/>
                  </a:lnTo>
                  <a:lnTo>
                    <a:pt x="466" y="423"/>
                  </a:lnTo>
                  <a:lnTo>
                    <a:pt x="463" y="424"/>
                  </a:lnTo>
                  <a:lnTo>
                    <a:pt x="460" y="425"/>
                  </a:lnTo>
                  <a:lnTo>
                    <a:pt x="447" y="427"/>
                  </a:lnTo>
                  <a:lnTo>
                    <a:pt x="442" y="429"/>
                  </a:lnTo>
                  <a:lnTo>
                    <a:pt x="439" y="430"/>
                  </a:lnTo>
                  <a:lnTo>
                    <a:pt x="436" y="432"/>
                  </a:lnTo>
                  <a:lnTo>
                    <a:pt x="433" y="434"/>
                  </a:lnTo>
                  <a:lnTo>
                    <a:pt x="431" y="435"/>
                  </a:lnTo>
                  <a:lnTo>
                    <a:pt x="430" y="436"/>
                  </a:lnTo>
                  <a:lnTo>
                    <a:pt x="429" y="437"/>
                  </a:lnTo>
                  <a:lnTo>
                    <a:pt x="429" y="439"/>
                  </a:lnTo>
                  <a:lnTo>
                    <a:pt x="429" y="440"/>
                  </a:lnTo>
                  <a:lnTo>
                    <a:pt x="430" y="442"/>
                  </a:lnTo>
                  <a:lnTo>
                    <a:pt x="431" y="445"/>
                  </a:lnTo>
                  <a:lnTo>
                    <a:pt x="432" y="447"/>
                  </a:lnTo>
                  <a:lnTo>
                    <a:pt x="434" y="449"/>
                  </a:lnTo>
                  <a:lnTo>
                    <a:pt x="439" y="455"/>
                  </a:lnTo>
                  <a:lnTo>
                    <a:pt x="441" y="459"/>
                  </a:lnTo>
                  <a:lnTo>
                    <a:pt x="443" y="460"/>
                  </a:lnTo>
                  <a:lnTo>
                    <a:pt x="444" y="462"/>
                  </a:lnTo>
                  <a:lnTo>
                    <a:pt x="444" y="463"/>
                  </a:lnTo>
                  <a:lnTo>
                    <a:pt x="444" y="464"/>
                  </a:lnTo>
                  <a:lnTo>
                    <a:pt x="444" y="466"/>
                  </a:lnTo>
                  <a:lnTo>
                    <a:pt x="444" y="467"/>
                  </a:lnTo>
                  <a:lnTo>
                    <a:pt x="444" y="469"/>
                  </a:lnTo>
                  <a:lnTo>
                    <a:pt x="442" y="473"/>
                  </a:lnTo>
                  <a:lnTo>
                    <a:pt x="441" y="477"/>
                  </a:lnTo>
                  <a:lnTo>
                    <a:pt x="436" y="485"/>
                  </a:lnTo>
                  <a:lnTo>
                    <a:pt x="435" y="488"/>
                  </a:lnTo>
                  <a:lnTo>
                    <a:pt x="433" y="494"/>
                  </a:lnTo>
                  <a:lnTo>
                    <a:pt x="432" y="497"/>
                  </a:lnTo>
                  <a:lnTo>
                    <a:pt x="431" y="502"/>
                  </a:lnTo>
                  <a:lnTo>
                    <a:pt x="429" y="513"/>
                  </a:lnTo>
                  <a:lnTo>
                    <a:pt x="429" y="516"/>
                  </a:lnTo>
                  <a:lnTo>
                    <a:pt x="428" y="518"/>
                  </a:lnTo>
                  <a:lnTo>
                    <a:pt x="427" y="519"/>
                  </a:lnTo>
                  <a:lnTo>
                    <a:pt x="426" y="521"/>
                  </a:lnTo>
                  <a:lnTo>
                    <a:pt x="424" y="522"/>
                  </a:lnTo>
                  <a:lnTo>
                    <a:pt x="422" y="524"/>
                  </a:lnTo>
                  <a:lnTo>
                    <a:pt x="415" y="528"/>
                  </a:lnTo>
                  <a:lnTo>
                    <a:pt x="407" y="533"/>
                  </a:lnTo>
                  <a:lnTo>
                    <a:pt x="404" y="534"/>
                  </a:lnTo>
                  <a:lnTo>
                    <a:pt x="397" y="538"/>
                  </a:lnTo>
                  <a:lnTo>
                    <a:pt x="393" y="539"/>
                  </a:lnTo>
                  <a:lnTo>
                    <a:pt x="389" y="541"/>
                  </a:lnTo>
                  <a:lnTo>
                    <a:pt x="374" y="544"/>
                  </a:lnTo>
                  <a:lnTo>
                    <a:pt x="371" y="545"/>
                  </a:lnTo>
                  <a:lnTo>
                    <a:pt x="367" y="545"/>
                  </a:lnTo>
                  <a:lnTo>
                    <a:pt x="364" y="545"/>
                  </a:lnTo>
                  <a:lnTo>
                    <a:pt x="359" y="544"/>
                  </a:lnTo>
                  <a:lnTo>
                    <a:pt x="355" y="544"/>
                  </a:lnTo>
                  <a:lnTo>
                    <a:pt x="351" y="542"/>
                  </a:lnTo>
                  <a:lnTo>
                    <a:pt x="346" y="541"/>
                  </a:lnTo>
                  <a:lnTo>
                    <a:pt x="340" y="539"/>
                  </a:lnTo>
                  <a:lnTo>
                    <a:pt x="338" y="538"/>
                  </a:lnTo>
                  <a:lnTo>
                    <a:pt x="336" y="537"/>
                  </a:lnTo>
                  <a:lnTo>
                    <a:pt x="334" y="537"/>
                  </a:lnTo>
                  <a:lnTo>
                    <a:pt x="332" y="537"/>
                  </a:lnTo>
                  <a:lnTo>
                    <a:pt x="331" y="538"/>
                  </a:lnTo>
                  <a:lnTo>
                    <a:pt x="329" y="538"/>
                  </a:lnTo>
                  <a:lnTo>
                    <a:pt x="328" y="539"/>
                  </a:lnTo>
                  <a:lnTo>
                    <a:pt x="326" y="539"/>
                  </a:lnTo>
                  <a:lnTo>
                    <a:pt x="325" y="541"/>
                  </a:lnTo>
                  <a:lnTo>
                    <a:pt x="324" y="542"/>
                  </a:lnTo>
                  <a:lnTo>
                    <a:pt x="324" y="544"/>
                  </a:lnTo>
                  <a:lnTo>
                    <a:pt x="324" y="545"/>
                  </a:lnTo>
                  <a:lnTo>
                    <a:pt x="324" y="547"/>
                  </a:lnTo>
                  <a:lnTo>
                    <a:pt x="324" y="548"/>
                  </a:lnTo>
                  <a:lnTo>
                    <a:pt x="324" y="550"/>
                  </a:lnTo>
                  <a:lnTo>
                    <a:pt x="324" y="554"/>
                  </a:lnTo>
                  <a:lnTo>
                    <a:pt x="326" y="563"/>
                  </a:lnTo>
                  <a:lnTo>
                    <a:pt x="328" y="566"/>
                  </a:lnTo>
                  <a:lnTo>
                    <a:pt x="330" y="571"/>
                  </a:lnTo>
                  <a:lnTo>
                    <a:pt x="332" y="576"/>
                  </a:lnTo>
                  <a:lnTo>
                    <a:pt x="335" y="580"/>
                  </a:lnTo>
                  <a:lnTo>
                    <a:pt x="336" y="582"/>
                  </a:lnTo>
                  <a:lnTo>
                    <a:pt x="338" y="584"/>
                  </a:lnTo>
                  <a:lnTo>
                    <a:pt x="340" y="586"/>
                  </a:lnTo>
                  <a:lnTo>
                    <a:pt x="341" y="587"/>
                  </a:lnTo>
                  <a:lnTo>
                    <a:pt x="344" y="589"/>
                  </a:lnTo>
                  <a:lnTo>
                    <a:pt x="349" y="592"/>
                  </a:lnTo>
                  <a:lnTo>
                    <a:pt x="351" y="593"/>
                  </a:lnTo>
                  <a:lnTo>
                    <a:pt x="356" y="596"/>
                  </a:lnTo>
                  <a:lnTo>
                    <a:pt x="359" y="599"/>
                  </a:lnTo>
                  <a:lnTo>
                    <a:pt x="361" y="600"/>
                  </a:lnTo>
                  <a:lnTo>
                    <a:pt x="362" y="601"/>
                  </a:lnTo>
                  <a:lnTo>
                    <a:pt x="363" y="603"/>
                  </a:lnTo>
                  <a:lnTo>
                    <a:pt x="364" y="604"/>
                  </a:lnTo>
                  <a:lnTo>
                    <a:pt x="364" y="607"/>
                  </a:lnTo>
                  <a:lnTo>
                    <a:pt x="364" y="609"/>
                  </a:lnTo>
                  <a:lnTo>
                    <a:pt x="364" y="611"/>
                  </a:lnTo>
                  <a:lnTo>
                    <a:pt x="364" y="614"/>
                  </a:lnTo>
                  <a:lnTo>
                    <a:pt x="363" y="616"/>
                  </a:lnTo>
                  <a:lnTo>
                    <a:pt x="361" y="618"/>
                  </a:lnTo>
                  <a:lnTo>
                    <a:pt x="353" y="626"/>
                  </a:lnTo>
                  <a:lnTo>
                    <a:pt x="351" y="630"/>
                  </a:lnTo>
                  <a:lnTo>
                    <a:pt x="349" y="633"/>
                  </a:lnTo>
                  <a:lnTo>
                    <a:pt x="348" y="635"/>
                  </a:lnTo>
                  <a:lnTo>
                    <a:pt x="347" y="638"/>
                  </a:lnTo>
                  <a:lnTo>
                    <a:pt x="346" y="641"/>
                  </a:lnTo>
                  <a:lnTo>
                    <a:pt x="347" y="644"/>
                  </a:lnTo>
                  <a:lnTo>
                    <a:pt x="347" y="645"/>
                  </a:lnTo>
                  <a:lnTo>
                    <a:pt x="348" y="647"/>
                  </a:lnTo>
                  <a:lnTo>
                    <a:pt x="349" y="651"/>
                  </a:lnTo>
                  <a:lnTo>
                    <a:pt x="350" y="653"/>
                  </a:lnTo>
                  <a:lnTo>
                    <a:pt x="351" y="655"/>
                  </a:lnTo>
                  <a:lnTo>
                    <a:pt x="352" y="657"/>
                  </a:lnTo>
                  <a:lnTo>
                    <a:pt x="355" y="661"/>
                  </a:lnTo>
                  <a:lnTo>
                    <a:pt x="359" y="666"/>
                  </a:lnTo>
                  <a:lnTo>
                    <a:pt x="362" y="669"/>
                  </a:lnTo>
                  <a:lnTo>
                    <a:pt x="369" y="676"/>
                  </a:lnTo>
                  <a:lnTo>
                    <a:pt x="376" y="681"/>
                  </a:lnTo>
                  <a:lnTo>
                    <a:pt x="376" y="682"/>
                  </a:lnTo>
                  <a:lnTo>
                    <a:pt x="378" y="684"/>
                  </a:lnTo>
                  <a:lnTo>
                    <a:pt x="379" y="685"/>
                  </a:lnTo>
                  <a:lnTo>
                    <a:pt x="379" y="686"/>
                  </a:lnTo>
                  <a:lnTo>
                    <a:pt x="379" y="688"/>
                  </a:lnTo>
                  <a:lnTo>
                    <a:pt x="379" y="689"/>
                  </a:lnTo>
                  <a:lnTo>
                    <a:pt x="379" y="689"/>
                  </a:lnTo>
                  <a:lnTo>
                    <a:pt x="378" y="690"/>
                  </a:lnTo>
                  <a:lnTo>
                    <a:pt x="377" y="691"/>
                  </a:lnTo>
                  <a:lnTo>
                    <a:pt x="376" y="691"/>
                  </a:lnTo>
                  <a:lnTo>
                    <a:pt x="374" y="691"/>
                  </a:lnTo>
                  <a:lnTo>
                    <a:pt x="372" y="691"/>
                  </a:lnTo>
                  <a:lnTo>
                    <a:pt x="371" y="690"/>
                  </a:lnTo>
                  <a:lnTo>
                    <a:pt x="369" y="689"/>
                  </a:lnTo>
                  <a:lnTo>
                    <a:pt x="361" y="684"/>
                  </a:lnTo>
                  <a:lnTo>
                    <a:pt x="359" y="682"/>
                  </a:lnTo>
                  <a:lnTo>
                    <a:pt x="356" y="681"/>
                  </a:lnTo>
                  <a:lnTo>
                    <a:pt x="355" y="680"/>
                  </a:lnTo>
                  <a:lnTo>
                    <a:pt x="353" y="679"/>
                  </a:lnTo>
                  <a:lnTo>
                    <a:pt x="350" y="679"/>
                  </a:lnTo>
                  <a:lnTo>
                    <a:pt x="348" y="678"/>
                  </a:lnTo>
                  <a:lnTo>
                    <a:pt x="346" y="678"/>
                  </a:lnTo>
                  <a:lnTo>
                    <a:pt x="344" y="678"/>
                  </a:lnTo>
                  <a:lnTo>
                    <a:pt x="341" y="678"/>
                  </a:lnTo>
                  <a:lnTo>
                    <a:pt x="339" y="678"/>
                  </a:lnTo>
                  <a:lnTo>
                    <a:pt x="335" y="679"/>
                  </a:lnTo>
                  <a:lnTo>
                    <a:pt x="329" y="681"/>
                  </a:lnTo>
                  <a:lnTo>
                    <a:pt x="326" y="681"/>
                  </a:lnTo>
                  <a:lnTo>
                    <a:pt x="324" y="681"/>
                  </a:lnTo>
                  <a:lnTo>
                    <a:pt x="321" y="681"/>
                  </a:lnTo>
                  <a:lnTo>
                    <a:pt x="319" y="681"/>
                  </a:lnTo>
                  <a:lnTo>
                    <a:pt x="317" y="681"/>
                  </a:lnTo>
                  <a:lnTo>
                    <a:pt x="314" y="681"/>
                  </a:lnTo>
                  <a:lnTo>
                    <a:pt x="313" y="680"/>
                  </a:lnTo>
                  <a:lnTo>
                    <a:pt x="311" y="679"/>
                  </a:lnTo>
                  <a:lnTo>
                    <a:pt x="309" y="678"/>
                  </a:lnTo>
                  <a:lnTo>
                    <a:pt x="308" y="676"/>
                  </a:lnTo>
                  <a:lnTo>
                    <a:pt x="306" y="674"/>
                  </a:lnTo>
                  <a:lnTo>
                    <a:pt x="304" y="671"/>
                  </a:lnTo>
                  <a:lnTo>
                    <a:pt x="298" y="664"/>
                  </a:lnTo>
                  <a:lnTo>
                    <a:pt x="295" y="659"/>
                  </a:lnTo>
                  <a:lnTo>
                    <a:pt x="293" y="657"/>
                  </a:lnTo>
                  <a:lnTo>
                    <a:pt x="290" y="655"/>
                  </a:lnTo>
                  <a:lnTo>
                    <a:pt x="288" y="654"/>
                  </a:lnTo>
                  <a:lnTo>
                    <a:pt x="285" y="651"/>
                  </a:lnTo>
                  <a:lnTo>
                    <a:pt x="283" y="650"/>
                  </a:lnTo>
                  <a:lnTo>
                    <a:pt x="280" y="649"/>
                  </a:lnTo>
                  <a:lnTo>
                    <a:pt x="277" y="649"/>
                  </a:lnTo>
                  <a:lnTo>
                    <a:pt x="274" y="648"/>
                  </a:lnTo>
                  <a:lnTo>
                    <a:pt x="272" y="648"/>
                  </a:lnTo>
                  <a:lnTo>
                    <a:pt x="270" y="648"/>
                  </a:lnTo>
                  <a:lnTo>
                    <a:pt x="268" y="648"/>
                  </a:lnTo>
                  <a:lnTo>
                    <a:pt x="263" y="649"/>
                  </a:lnTo>
                  <a:lnTo>
                    <a:pt x="262" y="649"/>
                  </a:lnTo>
                  <a:lnTo>
                    <a:pt x="262" y="648"/>
                  </a:lnTo>
                  <a:lnTo>
                    <a:pt x="261" y="647"/>
                  </a:lnTo>
                  <a:lnTo>
                    <a:pt x="252" y="644"/>
                  </a:lnTo>
                  <a:lnTo>
                    <a:pt x="247" y="642"/>
                  </a:lnTo>
                  <a:lnTo>
                    <a:pt x="239" y="639"/>
                  </a:lnTo>
                  <a:lnTo>
                    <a:pt x="236" y="636"/>
                  </a:lnTo>
                  <a:lnTo>
                    <a:pt x="232" y="634"/>
                  </a:lnTo>
                  <a:lnTo>
                    <a:pt x="228" y="631"/>
                  </a:lnTo>
                  <a:lnTo>
                    <a:pt x="225" y="629"/>
                  </a:lnTo>
                  <a:lnTo>
                    <a:pt x="220" y="624"/>
                  </a:lnTo>
                  <a:lnTo>
                    <a:pt x="219" y="622"/>
                  </a:lnTo>
                  <a:lnTo>
                    <a:pt x="217" y="621"/>
                  </a:lnTo>
                  <a:lnTo>
                    <a:pt x="212" y="618"/>
                  </a:lnTo>
                  <a:lnTo>
                    <a:pt x="210" y="617"/>
                  </a:lnTo>
                  <a:lnTo>
                    <a:pt x="209" y="616"/>
                  </a:lnTo>
                  <a:lnTo>
                    <a:pt x="207" y="614"/>
                  </a:lnTo>
                  <a:lnTo>
                    <a:pt x="201" y="607"/>
                  </a:lnTo>
                  <a:lnTo>
                    <a:pt x="199" y="606"/>
                  </a:lnTo>
                  <a:lnTo>
                    <a:pt x="198" y="604"/>
                  </a:lnTo>
                  <a:lnTo>
                    <a:pt x="197" y="601"/>
                  </a:lnTo>
                  <a:lnTo>
                    <a:pt x="194" y="594"/>
                  </a:lnTo>
                  <a:lnTo>
                    <a:pt x="193" y="593"/>
                  </a:lnTo>
                  <a:lnTo>
                    <a:pt x="192" y="591"/>
                  </a:lnTo>
                  <a:lnTo>
                    <a:pt x="190" y="589"/>
                  </a:lnTo>
                  <a:lnTo>
                    <a:pt x="184" y="583"/>
                  </a:lnTo>
                  <a:lnTo>
                    <a:pt x="177" y="575"/>
                  </a:lnTo>
                  <a:lnTo>
                    <a:pt x="175" y="573"/>
                  </a:lnTo>
                  <a:lnTo>
                    <a:pt x="174" y="571"/>
                  </a:lnTo>
                  <a:lnTo>
                    <a:pt x="172" y="568"/>
                  </a:lnTo>
                  <a:lnTo>
                    <a:pt x="171" y="565"/>
                  </a:lnTo>
                  <a:lnTo>
                    <a:pt x="170" y="562"/>
                  </a:lnTo>
                  <a:lnTo>
                    <a:pt x="168" y="554"/>
                  </a:lnTo>
                  <a:lnTo>
                    <a:pt x="166" y="550"/>
                  </a:lnTo>
                  <a:lnTo>
                    <a:pt x="165" y="548"/>
                  </a:lnTo>
                  <a:lnTo>
                    <a:pt x="164" y="546"/>
                  </a:lnTo>
                  <a:lnTo>
                    <a:pt x="162" y="544"/>
                  </a:lnTo>
                  <a:lnTo>
                    <a:pt x="161" y="543"/>
                  </a:lnTo>
                  <a:lnTo>
                    <a:pt x="159" y="542"/>
                  </a:lnTo>
                  <a:lnTo>
                    <a:pt x="158" y="542"/>
                  </a:lnTo>
                  <a:lnTo>
                    <a:pt x="154" y="540"/>
                  </a:lnTo>
                  <a:lnTo>
                    <a:pt x="152" y="539"/>
                  </a:lnTo>
                  <a:lnTo>
                    <a:pt x="142" y="537"/>
                  </a:lnTo>
                  <a:lnTo>
                    <a:pt x="124" y="530"/>
                  </a:lnTo>
                  <a:lnTo>
                    <a:pt x="118" y="529"/>
                  </a:lnTo>
                  <a:lnTo>
                    <a:pt x="108" y="527"/>
                  </a:lnTo>
                  <a:lnTo>
                    <a:pt x="104" y="526"/>
                  </a:lnTo>
                  <a:lnTo>
                    <a:pt x="102" y="525"/>
                  </a:lnTo>
                  <a:lnTo>
                    <a:pt x="100" y="524"/>
                  </a:lnTo>
                  <a:lnTo>
                    <a:pt x="99" y="523"/>
                  </a:lnTo>
                  <a:lnTo>
                    <a:pt x="97" y="522"/>
                  </a:lnTo>
                  <a:lnTo>
                    <a:pt x="94" y="520"/>
                  </a:lnTo>
                  <a:lnTo>
                    <a:pt x="92" y="518"/>
                  </a:lnTo>
                  <a:lnTo>
                    <a:pt x="90" y="516"/>
                  </a:lnTo>
                  <a:lnTo>
                    <a:pt x="87" y="512"/>
                  </a:lnTo>
                  <a:lnTo>
                    <a:pt x="84" y="509"/>
                  </a:lnTo>
                  <a:lnTo>
                    <a:pt x="78" y="500"/>
                  </a:lnTo>
                  <a:lnTo>
                    <a:pt x="77" y="498"/>
                  </a:lnTo>
                  <a:lnTo>
                    <a:pt x="75" y="495"/>
                  </a:lnTo>
                  <a:lnTo>
                    <a:pt x="73" y="489"/>
                  </a:lnTo>
                  <a:lnTo>
                    <a:pt x="72" y="486"/>
                  </a:lnTo>
                  <a:lnTo>
                    <a:pt x="69" y="482"/>
                  </a:lnTo>
                  <a:lnTo>
                    <a:pt x="68" y="479"/>
                  </a:lnTo>
                  <a:lnTo>
                    <a:pt x="67" y="477"/>
                  </a:lnTo>
                  <a:lnTo>
                    <a:pt x="64" y="474"/>
                  </a:lnTo>
                  <a:lnTo>
                    <a:pt x="62" y="472"/>
                  </a:lnTo>
                  <a:lnTo>
                    <a:pt x="59" y="471"/>
                  </a:lnTo>
                  <a:lnTo>
                    <a:pt x="57" y="469"/>
                  </a:lnTo>
                  <a:lnTo>
                    <a:pt x="55" y="468"/>
                  </a:lnTo>
                  <a:lnTo>
                    <a:pt x="53" y="468"/>
                  </a:lnTo>
                  <a:lnTo>
                    <a:pt x="49" y="467"/>
                  </a:lnTo>
                  <a:lnTo>
                    <a:pt x="47" y="468"/>
                  </a:lnTo>
                  <a:lnTo>
                    <a:pt x="43" y="469"/>
                  </a:lnTo>
                  <a:lnTo>
                    <a:pt x="39" y="469"/>
                  </a:lnTo>
                  <a:lnTo>
                    <a:pt x="36" y="472"/>
                  </a:lnTo>
                  <a:lnTo>
                    <a:pt x="30" y="474"/>
                  </a:lnTo>
                  <a:lnTo>
                    <a:pt x="28" y="475"/>
                  </a:lnTo>
                  <a:lnTo>
                    <a:pt x="27" y="475"/>
                  </a:lnTo>
                  <a:lnTo>
                    <a:pt x="25" y="475"/>
                  </a:lnTo>
                  <a:lnTo>
                    <a:pt x="25" y="475"/>
                  </a:lnTo>
                  <a:lnTo>
                    <a:pt x="23" y="474"/>
                  </a:lnTo>
                  <a:lnTo>
                    <a:pt x="22" y="473"/>
                  </a:lnTo>
                  <a:lnTo>
                    <a:pt x="22" y="472"/>
                  </a:lnTo>
                  <a:lnTo>
                    <a:pt x="21" y="470"/>
                  </a:lnTo>
                  <a:lnTo>
                    <a:pt x="20" y="468"/>
                  </a:lnTo>
                  <a:lnTo>
                    <a:pt x="20" y="466"/>
                  </a:lnTo>
                  <a:lnTo>
                    <a:pt x="17" y="458"/>
                  </a:lnTo>
                  <a:lnTo>
                    <a:pt x="16" y="453"/>
                  </a:lnTo>
                  <a:lnTo>
                    <a:pt x="14" y="447"/>
                  </a:lnTo>
                  <a:lnTo>
                    <a:pt x="10" y="439"/>
                  </a:lnTo>
                  <a:lnTo>
                    <a:pt x="9" y="434"/>
                  </a:lnTo>
                  <a:lnTo>
                    <a:pt x="7" y="430"/>
                  </a:lnTo>
                  <a:lnTo>
                    <a:pt x="5" y="420"/>
                  </a:lnTo>
                  <a:lnTo>
                    <a:pt x="2" y="413"/>
                  </a:lnTo>
                  <a:lnTo>
                    <a:pt x="1" y="408"/>
                  </a:lnTo>
                  <a:lnTo>
                    <a:pt x="0" y="401"/>
                  </a:lnTo>
                  <a:lnTo>
                    <a:pt x="0" y="397"/>
                  </a:lnTo>
                  <a:lnTo>
                    <a:pt x="0" y="397"/>
                  </a:lnTo>
                  <a:lnTo>
                    <a:pt x="1" y="397"/>
                  </a:lnTo>
                  <a:lnTo>
                    <a:pt x="2" y="397"/>
                  </a:lnTo>
                  <a:lnTo>
                    <a:pt x="2" y="396"/>
                  </a:lnTo>
                  <a:lnTo>
                    <a:pt x="5" y="395"/>
                  </a:lnTo>
                  <a:lnTo>
                    <a:pt x="7" y="393"/>
                  </a:lnTo>
                  <a:lnTo>
                    <a:pt x="10" y="390"/>
                  </a:lnTo>
                  <a:lnTo>
                    <a:pt x="13" y="386"/>
                  </a:lnTo>
                  <a:lnTo>
                    <a:pt x="19" y="379"/>
                  </a:lnTo>
                  <a:lnTo>
                    <a:pt x="22" y="374"/>
                  </a:lnTo>
                  <a:lnTo>
                    <a:pt x="24" y="372"/>
                  </a:lnTo>
                  <a:lnTo>
                    <a:pt x="25" y="369"/>
                  </a:lnTo>
                  <a:lnTo>
                    <a:pt x="25" y="367"/>
                  </a:lnTo>
                  <a:lnTo>
                    <a:pt x="26" y="362"/>
                  </a:lnTo>
                  <a:lnTo>
                    <a:pt x="27" y="358"/>
                  </a:lnTo>
                  <a:lnTo>
                    <a:pt x="28" y="355"/>
                  </a:lnTo>
                  <a:lnTo>
                    <a:pt x="30" y="353"/>
                  </a:lnTo>
                  <a:lnTo>
                    <a:pt x="31" y="352"/>
                  </a:lnTo>
                  <a:lnTo>
                    <a:pt x="32" y="351"/>
                  </a:lnTo>
                  <a:lnTo>
                    <a:pt x="34" y="350"/>
                  </a:lnTo>
                  <a:lnTo>
                    <a:pt x="36" y="349"/>
                  </a:lnTo>
                  <a:lnTo>
                    <a:pt x="39" y="347"/>
                  </a:lnTo>
                  <a:lnTo>
                    <a:pt x="44" y="346"/>
                  </a:lnTo>
                  <a:lnTo>
                    <a:pt x="45" y="345"/>
                  </a:lnTo>
                  <a:lnTo>
                    <a:pt x="46" y="344"/>
                  </a:lnTo>
                  <a:lnTo>
                    <a:pt x="48" y="343"/>
                  </a:lnTo>
                  <a:lnTo>
                    <a:pt x="50" y="340"/>
                  </a:lnTo>
                  <a:lnTo>
                    <a:pt x="51" y="337"/>
                  </a:lnTo>
                  <a:lnTo>
                    <a:pt x="52" y="335"/>
                  </a:lnTo>
                  <a:lnTo>
                    <a:pt x="52" y="331"/>
                  </a:lnTo>
                  <a:lnTo>
                    <a:pt x="52" y="326"/>
                  </a:lnTo>
                  <a:lnTo>
                    <a:pt x="52" y="322"/>
                  </a:lnTo>
                  <a:lnTo>
                    <a:pt x="52" y="317"/>
                  </a:lnTo>
                  <a:lnTo>
                    <a:pt x="51" y="312"/>
                  </a:lnTo>
                  <a:lnTo>
                    <a:pt x="48" y="304"/>
                  </a:lnTo>
                  <a:lnTo>
                    <a:pt x="47" y="300"/>
                  </a:lnTo>
                  <a:lnTo>
                    <a:pt x="42" y="289"/>
                  </a:lnTo>
                  <a:lnTo>
                    <a:pt x="42" y="287"/>
                  </a:lnTo>
                  <a:lnTo>
                    <a:pt x="42" y="285"/>
                  </a:lnTo>
                  <a:lnTo>
                    <a:pt x="42" y="284"/>
                  </a:lnTo>
                  <a:lnTo>
                    <a:pt x="42" y="283"/>
                  </a:lnTo>
                  <a:lnTo>
                    <a:pt x="43" y="282"/>
                  </a:lnTo>
                  <a:lnTo>
                    <a:pt x="50" y="278"/>
                  </a:lnTo>
                  <a:lnTo>
                    <a:pt x="52" y="277"/>
                  </a:lnTo>
                  <a:lnTo>
                    <a:pt x="54" y="275"/>
                  </a:lnTo>
                  <a:lnTo>
                    <a:pt x="55" y="274"/>
                  </a:lnTo>
                  <a:lnTo>
                    <a:pt x="56" y="272"/>
                  </a:lnTo>
                  <a:lnTo>
                    <a:pt x="57" y="270"/>
                  </a:lnTo>
                  <a:lnTo>
                    <a:pt x="59" y="267"/>
                  </a:lnTo>
                  <a:lnTo>
                    <a:pt x="59" y="265"/>
                  </a:lnTo>
                  <a:lnTo>
                    <a:pt x="60" y="261"/>
                  </a:lnTo>
                  <a:lnTo>
                    <a:pt x="60" y="257"/>
                  </a:lnTo>
                  <a:lnTo>
                    <a:pt x="60" y="249"/>
                  </a:lnTo>
                  <a:lnTo>
                    <a:pt x="61" y="244"/>
                  </a:lnTo>
                  <a:lnTo>
                    <a:pt x="62" y="242"/>
                  </a:lnTo>
                  <a:lnTo>
                    <a:pt x="62" y="238"/>
                  </a:lnTo>
                  <a:lnTo>
                    <a:pt x="64" y="232"/>
                  </a:lnTo>
                  <a:lnTo>
                    <a:pt x="64" y="230"/>
                  </a:lnTo>
                  <a:lnTo>
                    <a:pt x="64" y="226"/>
                  </a:lnTo>
                  <a:lnTo>
                    <a:pt x="64" y="219"/>
                  </a:lnTo>
                  <a:lnTo>
                    <a:pt x="64" y="216"/>
                  </a:lnTo>
                  <a:lnTo>
                    <a:pt x="65" y="214"/>
                  </a:lnTo>
                  <a:lnTo>
                    <a:pt x="66" y="210"/>
                  </a:lnTo>
                  <a:lnTo>
                    <a:pt x="67" y="207"/>
                  </a:lnTo>
                  <a:lnTo>
                    <a:pt x="67" y="205"/>
                  </a:lnTo>
                  <a:lnTo>
                    <a:pt x="67" y="203"/>
                  </a:lnTo>
                  <a:lnTo>
                    <a:pt x="66" y="201"/>
                  </a:lnTo>
                  <a:lnTo>
                    <a:pt x="64" y="198"/>
                  </a:lnTo>
                  <a:lnTo>
                    <a:pt x="63" y="196"/>
                  </a:lnTo>
                  <a:lnTo>
                    <a:pt x="59" y="190"/>
                  </a:lnTo>
                  <a:lnTo>
                    <a:pt x="57" y="188"/>
                  </a:lnTo>
                  <a:lnTo>
                    <a:pt x="55" y="185"/>
                  </a:lnTo>
                  <a:lnTo>
                    <a:pt x="54" y="182"/>
                  </a:lnTo>
                  <a:lnTo>
                    <a:pt x="54" y="181"/>
                  </a:lnTo>
                  <a:lnTo>
                    <a:pt x="53" y="178"/>
                  </a:lnTo>
                  <a:lnTo>
                    <a:pt x="52" y="174"/>
                  </a:lnTo>
                  <a:lnTo>
                    <a:pt x="53" y="167"/>
                  </a:lnTo>
                  <a:lnTo>
                    <a:pt x="53" y="162"/>
                  </a:lnTo>
                  <a:lnTo>
                    <a:pt x="52" y="160"/>
                  </a:lnTo>
                  <a:lnTo>
                    <a:pt x="51" y="153"/>
                  </a:lnTo>
                  <a:lnTo>
                    <a:pt x="51" y="151"/>
                  </a:lnTo>
                  <a:lnTo>
                    <a:pt x="50" y="150"/>
                  </a:lnTo>
                  <a:lnTo>
                    <a:pt x="51" y="147"/>
                  </a:lnTo>
                  <a:lnTo>
                    <a:pt x="51" y="145"/>
                  </a:lnTo>
                  <a:lnTo>
                    <a:pt x="52" y="143"/>
                  </a:lnTo>
                  <a:lnTo>
                    <a:pt x="52" y="141"/>
                  </a:lnTo>
                  <a:lnTo>
                    <a:pt x="54" y="139"/>
                  </a:lnTo>
                  <a:lnTo>
                    <a:pt x="57" y="135"/>
                  </a:lnTo>
                  <a:lnTo>
                    <a:pt x="59" y="130"/>
                  </a:lnTo>
                  <a:lnTo>
                    <a:pt x="63" y="124"/>
                  </a:lnTo>
                  <a:lnTo>
                    <a:pt x="64" y="120"/>
                  </a:lnTo>
                  <a:lnTo>
                    <a:pt x="65" y="118"/>
                  </a:lnTo>
                  <a:lnTo>
                    <a:pt x="66" y="115"/>
                  </a:lnTo>
                  <a:lnTo>
                    <a:pt x="66" y="114"/>
                  </a:lnTo>
                  <a:lnTo>
                    <a:pt x="66" y="113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7" y="109"/>
                  </a:lnTo>
                  <a:lnTo>
                    <a:pt x="68" y="107"/>
                  </a:lnTo>
                  <a:lnTo>
                    <a:pt x="71" y="102"/>
                  </a:lnTo>
                  <a:lnTo>
                    <a:pt x="73" y="100"/>
                  </a:lnTo>
                  <a:lnTo>
                    <a:pt x="75" y="98"/>
                  </a:lnTo>
                  <a:lnTo>
                    <a:pt x="77" y="97"/>
                  </a:lnTo>
                  <a:lnTo>
                    <a:pt x="78" y="96"/>
                  </a:lnTo>
                  <a:lnTo>
                    <a:pt x="79" y="95"/>
                  </a:lnTo>
                  <a:lnTo>
                    <a:pt x="82" y="95"/>
                  </a:lnTo>
                  <a:lnTo>
                    <a:pt x="84" y="95"/>
                  </a:lnTo>
                  <a:lnTo>
                    <a:pt x="91" y="97"/>
                  </a:lnTo>
                  <a:lnTo>
                    <a:pt x="97" y="97"/>
                  </a:lnTo>
                  <a:lnTo>
                    <a:pt x="100" y="98"/>
                  </a:lnTo>
                  <a:lnTo>
                    <a:pt x="102" y="98"/>
                  </a:lnTo>
                  <a:lnTo>
                    <a:pt x="103" y="99"/>
                  </a:lnTo>
                  <a:lnTo>
                    <a:pt x="107" y="103"/>
                  </a:lnTo>
                  <a:lnTo>
                    <a:pt x="110" y="105"/>
                  </a:lnTo>
                  <a:lnTo>
                    <a:pt x="113" y="106"/>
                  </a:lnTo>
                  <a:lnTo>
                    <a:pt x="118" y="107"/>
                  </a:lnTo>
                  <a:lnTo>
                    <a:pt x="121" y="108"/>
                  </a:lnTo>
                  <a:lnTo>
                    <a:pt x="126" y="108"/>
                  </a:lnTo>
                  <a:lnTo>
                    <a:pt x="128" y="108"/>
                  </a:lnTo>
                  <a:lnTo>
                    <a:pt x="138" y="110"/>
                  </a:lnTo>
                  <a:lnTo>
                    <a:pt x="142" y="110"/>
                  </a:lnTo>
                  <a:lnTo>
                    <a:pt x="145" y="110"/>
                  </a:lnTo>
                  <a:lnTo>
                    <a:pt x="147" y="110"/>
                  </a:lnTo>
                  <a:lnTo>
                    <a:pt x="149" y="110"/>
                  </a:lnTo>
                  <a:lnTo>
                    <a:pt x="150" y="110"/>
                  </a:lnTo>
                  <a:lnTo>
                    <a:pt x="154" y="108"/>
                  </a:lnTo>
                  <a:lnTo>
                    <a:pt x="156" y="108"/>
                  </a:lnTo>
                  <a:lnTo>
                    <a:pt x="159" y="107"/>
                  </a:lnTo>
                  <a:lnTo>
                    <a:pt x="160" y="107"/>
                  </a:lnTo>
                  <a:lnTo>
                    <a:pt x="162" y="107"/>
                  </a:lnTo>
                  <a:lnTo>
                    <a:pt x="168" y="103"/>
                  </a:lnTo>
                  <a:lnTo>
                    <a:pt x="170" y="101"/>
                  </a:lnTo>
                  <a:lnTo>
                    <a:pt x="173" y="99"/>
                  </a:lnTo>
                  <a:lnTo>
                    <a:pt x="176" y="95"/>
                  </a:lnTo>
                  <a:lnTo>
                    <a:pt x="176" y="96"/>
                  </a:lnTo>
                  <a:lnTo>
                    <a:pt x="176" y="98"/>
                  </a:lnTo>
                  <a:lnTo>
                    <a:pt x="175" y="101"/>
                  </a:lnTo>
                  <a:lnTo>
                    <a:pt x="173" y="107"/>
                  </a:lnTo>
                  <a:lnTo>
                    <a:pt x="172" y="110"/>
                  </a:lnTo>
                  <a:lnTo>
                    <a:pt x="171" y="114"/>
                  </a:lnTo>
                  <a:lnTo>
                    <a:pt x="170" y="116"/>
                  </a:lnTo>
                  <a:lnTo>
                    <a:pt x="170" y="119"/>
                  </a:lnTo>
                  <a:lnTo>
                    <a:pt x="170" y="120"/>
                  </a:lnTo>
                  <a:lnTo>
                    <a:pt x="171" y="121"/>
                  </a:lnTo>
                  <a:lnTo>
                    <a:pt x="172" y="122"/>
                  </a:lnTo>
                  <a:lnTo>
                    <a:pt x="172" y="123"/>
                  </a:lnTo>
                  <a:lnTo>
                    <a:pt x="172" y="124"/>
                  </a:lnTo>
                  <a:lnTo>
                    <a:pt x="174" y="125"/>
                  </a:lnTo>
                  <a:lnTo>
                    <a:pt x="174" y="126"/>
                  </a:lnTo>
                  <a:lnTo>
                    <a:pt x="177" y="127"/>
                  </a:lnTo>
                  <a:lnTo>
                    <a:pt x="178" y="127"/>
                  </a:lnTo>
                  <a:lnTo>
                    <a:pt x="179" y="128"/>
                  </a:lnTo>
                  <a:lnTo>
                    <a:pt x="182" y="128"/>
                  </a:lnTo>
                  <a:lnTo>
                    <a:pt x="190" y="130"/>
                  </a:lnTo>
                  <a:lnTo>
                    <a:pt x="194" y="130"/>
                  </a:lnTo>
                  <a:lnTo>
                    <a:pt x="198" y="131"/>
                  </a:lnTo>
                  <a:lnTo>
                    <a:pt x="203" y="132"/>
                  </a:lnTo>
                  <a:lnTo>
                    <a:pt x="208" y="134"/>
                  </a:lnTo>
                  <a:lnTo>
                    <a:pt x="212" y="136"/>
                  </a:lnTo>
                  <a:lnTo>
                    <a:pt x="215" y="138"/>
                  </a:lnTo>
                  <a:lnTo>
                    <a:pt x="221" y="142"/>
                  </a:lnTo>
                  <a:lnTo>
                    <a:pt x="223" y="143"/>
                  </a:lnTo>
                  <a:lnTo>
                    <a:pt x="224" y="143"/>
                  </a:lnTo>
                  <a:lnTo>
                    <a:pt x="226" y="144"/>
                  </a:lnTo>
                  <a:lnTo>
                    <a:pt x="227" y="143"/>
                  </a:lnTo>
                  <a:lnTo>
                    <a:pt x="229" y="143"/>
                  </a:lnTo>
                  <a:lnTo>
                    <a:pt x="230" y="142"/>
                  </a:lnTo>
                  <a:lnTo>
                    <a:pt x="232" y="140"/>
                  </a:lnTo>
                  <a:lnTo>
                    <a:pt x="233" y="138"/>
                  </a:lnTo>
                  <a:lnTo>
                    <a:pt x="236" y="133"/>
                  </a:lnTo>
                  <a:lnTo>
                    <a:pt x="237" y="131"/>
                  </a:lnTo>
                  <a:lnTo>
                    <a:pt x="240" y="127"/>
                  </a:lnTo>
                  <a:lnTo>
                    <a:pt x="243" y="124"/>
                  </a:lnTo>
                  <a:lnTo>
                    <a:pt x="246" y="121"/>
                  </a:lnTo>
                  <a:lnTo>
                    <a:pt x="248" y="119"/>
                  </a:lnTo>
                  <a:lnTo>
                    <a:pt x="257" y="112"/>
                  </a:lnTo>
                  <a:lnTo>
                    <a:pt x="264" y="107"/>
                  </a:lnTo>
                  <a:lnTo>
                    <a:pt x="269" y="103"/>
                  </a:lnTo>
                  <a:lnTo>
                    <a:pt x="273" y="101"/>
                  </a:lnTo>
                  <a:lnTo>
                    <a:pt x="275" y="100"/>
                  </a:lnTo>
                  <a:lnTo>
                    <a:pt x="277" y="100"/>
                  </a:lnTo>
                  <a:lnTo>
                    <a:pt x="287" y="97"/>
                  </a:lnTo>
                  <a:lnTo>
                    <a:pt x="292" y="95"/>
                  </a:lnTo>
                  <a:lnTo>
                    <a:pt x="296" y="93"/>
                  </a:lnTo>
                  <a:lnTo>
                    <a:pt x="299" y="91"/>
                  </a:lnTo>
                  <a:lnTo>
                    <a:pt x="301" y="90"/>
                  </a:lnTo>
                  <a:lnTo>
                    <a:pt x="303" y="88"/>
                  </a:lnTo>
                  <a:lnTo>
                    <a:pt x="304" y="87"/>
                  </a:lnTo>
                  <a:lnTo>
                    <a:pt x="304" y="85"/>
                  </a:lnTo>
                  <a:lnTo>
                    <a:pt x="305" y="83"/>
                  </a:lnTo>
                  <a:lnTo>
                    <a:pt x="305" y="82"/>
                  </a:lnTo>
                  <a:lnTo>
                    <a:pt x="304" y="78"/>
                  </a:lnTo>
                  <a:lnTo>
                    <a:pt x="302" y="72"/>
                  </a:lnTo>
                  <a:lnTo>
                    <a:pt x="301" y="66"/>
                  </a:lnTo>
                  <a:lnTo>
                    <a:pt x="299" y="62"/>
                  </a:lnTo>
                  <a:lnTo>
                    <a:pt x="299" y="59"/>
                  </a:lnTo>
                  <a:lnTo>
                    <a:pt x="299" y="56"/>
                  </a:lnTo>
                  <a:lnTo>
                    <a:pt x="299" y="53"/>
                  </a:lnTo>
                  <a:lnTo>
                    <a:pt x="299" y="50"/>
                  </a:lnTo>
                  <a:lnTo>
                    <a:pt x="300" y="48"/>
                  </a:lnTo>
                  <a:lnTo>
                    <a:pt x="301" y="43"/>
                  </a:lnTo>
                  <a:lnTo>
                    <a:pt x="302" y="40"/>
                  </a:lnTo>
                  <a:lnTo>
                    <a:pt x="303" y="38"/>
                  </a:lnTo>
                  <a:lnTo>
                    <a:pt x="303" y="34"/>
                  </a:lnTo>
                  <a:lnTo>
                    <a:pt x="303" y="31"/>
                  </a:lnTo>
                  <a:lnTo>
                    <a:pt x="304" y="30"/>
                  </a:lnTo>
                  <a:lnTo>
                    <a:pt x="304" y="29"/>
                  </a:lnTo>
                  <a:lnTo>
                    <a:pt x="305" y="26"/>
                  </a:lnTo>
                  <a:lnTo>
                    <a:pt x="306" y="25"/>
                  </a:lnTo>
                  <a:lnTo>
                    <a:pt x="307" y="24"/>
                  </a:lnTo>
                  <a:lnTo>
                    <a:pt x="311" y="22"/>
                  </a:lnTo>
                  <a:lnTo>
                    <a:pt x="313" y="20"/>
                  </a:lnTo>
                  <a:lnTo>
                    <a:pt x="314" y="18"/>
                  </a:lnTo>
                  <a:lnTo>
                    <a:pt x="316" y="14"/>
                  </a:lnTo>
                  <a:lnTo>
                    <a:pt x="319" y="12"/>
                  </a:lnTo>
                  <a:lnTo>
                    <a:pt x="321" y="9"/>
                  </a:lnTo>
                  <a:lnTo>
                    <a:pt x="326" y="6"/>
                  </a:lnTo>
                  <a:lnTo>
                    <a:pt x="330" y="4"/>
                  </a:lnTo>
                  <a:lnTo>
                    <a:pt x="334" y="1"/>
                  </a:lnTo>
                  <a:lnTo>
                    <a:pt x="336" y="0"/>
                  </a:lnTo>
                  <a:lnTo>
                    <a:pt x="339" y="0"/>
                  </a:lnTo>
                  <a:lnTo>
                    <a:pt x="339" y="0"/>
                  </a:lnTo>
                  <a:close/>
                </a:path>
              </a:pathLst>
            </a:custGeom>
            <a:solidFill>
              <a:srgbClr val="595959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Rectangle 189">
              <a:extLst>
                <a:ext uri="{FF2B5EF4-FFF2-40B4-BE49-F238E27FC236}">
                  <a16:creationId xmlns:a16="http://schemas.microsoft.com/office/drawing/2014/main" id="{CCBAD049-56FB-E5A9-1BEF-4504F46AD8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7504" y="5439947"/>
              <a:ext cx="121828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H</a:t>
              </a:r>
            </a:p>
          </p:txBody>
        </p:sp>
        <p:sp>
          <p:nvSpPr>
            <p:cNvPr id="52" name="Rectangle 193">
              <a:extLst>
                <a:ext uri="{FF2B5EF4-FFF2-40B4-BE49-F238E27FC236}">
                  <a16:creationId xmlns:a16="http://schemas.microsoft.com/office/drawing/2014/main" id="{CCAE1D99-6736-3DFF-5C09-94D406F1BC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5997" y="4840034"/>
              <a:ext cx="10259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I</a:t>
              </a:r>
            </a:p>
          </p:txBody>
        </p:sp>
        <p:sp>
          <p:nvSpPr>
            <p:cNvPr id="53" name="Rectangle 197">
              <a:extLst>
                <a:ext uri="{FF2B5EF4-FFF2-40B4-BE49-F238E27FC236}">
                  <a16:creationId xmlns:a16="http://schemas.microsoft.com/office/drawing/2014/main" id="{C25756CA-C402-70F2-0548-473B931657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6617" y="5705227"/>
              <a:ext cx="13946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B</a:t>
              </a:r>
            </a:p>
          </p:txBody>
        </p:sp>
        <p:sp>
          <p:nvSpPr>
            <p:cNvPr id="54" name="Rectangle 198">
              <a:extLst>
                <a:ext uri="{FF2B5EF4-FFF2-40B4-BE49-F238E27FC236}">
                  <a16:creationId xmlns:a16="http://schemas.microsoft.com/office/drawing/2014/main" id="{834F2621-A14D-5A82-227F-B802EBEA16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8299" y="6235423"/>
              <a:ext cx="137858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K</a:t>
              </a:r>
            </a:p>
          </p:txBody>
        </p:sp>
        <p:sp>
          <p:nvSpPr>
            <p:cNvPr id="55" name="Rectangle 201">
              <a:extLst>
                <a:ext uri="{FF2B5EF4-FFF2-40B4-BE49-F238E27FC236}">
                  <a16:creationId xmlns:a16="http://schemas.microsoft.com/office/drawing/2014/main" id="{927B105F-283A-C5ED-FEF4-CF01F956C2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7814" y="4873912"/>
              <a:ext cx="14106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A</a:t>
              </a:r>
            </a:p>
          </p:txBody>
        </p:sp>
        <p:sp>
          <p:nvSpPr>
            <p:cNvPr id="56" name="Rectangle 204">
              <a:extLst>
                <a:ext uri="{FF2B5EF4-FFF2-40B4-BE49-F238E27FC236}">
                  <a16:creationId xmlns:a16="http://schemas.microsoft.com/office/drawing/2014/main" id="{AC4431FF-E895-4174-D158-94A215EFA7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5736" y="5668800"/>
              <a:ext cx="13305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T</a:t>
              </a:r>
            </a:p>
          </p:txBody>
        </p:sp>
        <p:sp>
          <p:nvSpPr>
            <p:cNvPr id="57" name="Rectangle 222">
              <a:extLst>
                <a:ext uri="{FF2B5EF4-FFF2-40B4-BE49-F238E27FC236}">
                  <a16:creationId xmlns:a16="http://schemas.microsoft.com/office/drawing/2014/main" id="{16F97164-2E49-B766-1F4C-4E679B3680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8409" y="5116435"/>
              <a:ext cx="12503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204601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bdélník 19">
            <a:extLst>
              <a:ext uri="{FF2B5EF4-FFF2-40B4-BE49-F238E27FC236}">
                <a16:creationId xmlns:a16="http://schemas.microsoft.com/office/drawing/2014/main" id="{076A7662-2018-A293-1A5C-47041A1A4825}"/>
              </a:ext>
            </a:extLst>
          </p:cNvPr>
          <p:cNvSpPr/>
          <p:nvPr/>
        </p:nvSpPr>
        <p:spPr>
          <a:xfrm>
            <a:off x="696408" y="4465945"/>
            <a:ext cx="10404000" cy="250705"/>
          </a:xfrm>
          <a:prstGeom prst="rect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A9B8C5DF-55F7-2D85-D032-E3D6ADB36F9A}"/>
              </a:ext>
            </a:extLst>
          </p:cNvPr>
          <p:cNvSpPr/>
          <p:nvPr/>
        </p:nvSpPr>
        <p:spPr>
          <a:xfrm>
            <a:off x="696408" y="2438901"/>
            <a:ext cx="10404000" cy="234000"/>
          </a:xfrm>
          <a:prstGeom prst="rect">
            <a:avLst/>
          </a:prstGeom>
          <a:solidFill>
            <a:srgbClr val="FFB9B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Nadpis 17">
            <a:extLst>
              <a:ext uri="{FF2B5EF4-FFF2-40B4-BE49-F238E27FC236}">
                <a16:creationId xmlns:a16="http://schemas.microsoft.com/office/drawing/2014/main" id="{72CE58F4-DC4A-537B-6056-99AF97F47B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Podíl a zastoupení stadií u nově diagnostikovaných pacientek se ZN prsu (C50) v krajích ČR (období 2019–2023)</a:t>
            </a:r>
            <a:br>
              <a:rPr lang="cs-CZ" sz="2400" dirty="0"/>
            </a:br>
            <a:endParaRPr lang="cs-CZ" sz="2400" dirty="0"/>
          </a:p>
        </p:txBody>
      </p:sp>
      <p:graphicFrame>
        <p:nvGraphicFramePr>
          <p:cNvPr id="2" name="Graf 1">
            <a:extLst>
              <a:ext uri="{FF2B5EF4-FFF2-40B4-BE49-F238E27FC236}">
                <a16:creationId xmlns:a16="http://schemas.microsoft.com/office/drawing/2014/main" id="{B9DA35E5-8A09-CECA-B5DA-0FC85A9AB47F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76250" y="1507803"/>
          <a:ext cx="9953625" cy="48254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" name="Obdélník 2">
            <a:extLst>
              <a:ext uri="{FF2B5EF4-FFF2-40B4-BE49-F238E27FC236}">
                <a16:creationId xmlns:a16="http://schemas.microsoft.com/office/drawing/2014/main" id="{D553C8EA-D986-D082-2419-08F1A3F18312}"/>
              </a:ext>
            </a:extLst>
          </p:cNvPr>
          <p:cNvSpPr/>
          <p:nvPr/>
        </p:nvSpPr>
        <p:spPr>
          <a:xfrm>
            <a:off x="2006188" y="1168659"/>
            <a:ext cx="871293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dium při diagnóze:        1         2        3        4         neuvedeno z objektivních důvodů        neznámo – neúplný záznam</a:t>
            </a:r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45BC298B-F877-486C-0C5E-3017B1BC3D12}"/>
              </a:ext>
            </a:extLst>
          </p:cNvPr>
          <p:cNvSpPr/>
          <p:nvPr/>
        </p:nvSpPr>
        <p:spPr>
          <a:xfrm>
            <a:off x="3760997" y="1186890"/>
            <a:ext cx="144000" cy="144000"/>
          </a:xfrm>
          <a:prstGeom prst="rect">
            <a:avLst/>
          </a:prstGeom>
          <a:solidFill>
            <a:srgbClr val="00B0F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1F25BBBA-8BCC-FD13-49E9-2D1F042BA4CD}"/>
              </a:ext>
            </a:extLst>
          </p:cNvPr>
          <p:cNvSpPr/>
          <p:nvPr/>
        </p:nvSpPr>
        <p:spPr>
          <a:xfrm>
            <a:off x="4208720" y="1186890"/>
            <a:ext cx="144000" cy="144000"/>
          </a:xfrm>
          <a:prstGeom prst="rect">
            <a:avLst/>
          </a:prstGeom>
          <a:solidFill>
            <a:srgbClr val="92D05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637A24B2-E0A4-712E-DF4E-0177B0DE4371}"/>
              </a:ext>
            </a:extLst>
          </p:cNvPr>
          <p:cNvSpPr/>
          <p:nvPr/>
        </p:nvSpPr>
        <p:spPr>
          <a:xfrm>
            <a:off x="4656443" y="1186890"/>
            <a:ext cx="144000" cy="144000"/>
          </a:xfrm>
          <a:prstGeom prst="rect">
            <a:avLst/>
          </a:prstGeom>
          <a:solidFill>
            <a:srgbClr val="FFC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4A3DD82B-1442-2F74-D898-F063A31F0C38}"/>
              </a:ext>
            </a:extLst>
          </p:cNvPr>
          <p:cNvSpPr/>
          <p:nvPr/>
        </p:nvSpPr>
        <p:spPr>
          <a:xfrm>
            <a:off x="5104166" y="1186890"/>
            <a:ext cx="144000" cy="144000"/>
          </a:xfrm>
          <a:prstGeom prst="rect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375172B2-2A2F-75D9-647F-F220FD25B602}"/>
              </a:ext>
            </a:extLst>
          </p:cNvPr>
          <p:cNvSpPr/>
          <p:nvPr/>
        </p:nvSpPr>
        <p:spPr>
          <a:xfrm>
            <a:off x="5551889" y="1186890"/>
            <a:ext cx="144000" cy="144000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83256543-FB67-A49A-F0F2-CFABB320D562}"/>
              </a:ext>
            </a:extLst>
          </p:cNvPr>
          <p:cNvSpPr/>
          <p:nvPr/>
        </p:nvSpPr>
        <p:spPr>
          <a:xfrm>
            <a:off x="8359651" y="1186890"/>
            <a:ext cx="144000" cy="144000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6">
            <a:extLst>
              <a:ext uri="{FF2B5EF4-FFF2-40B4-BE49-F238E27FC236}">
                <a16:creationId xmlns:a16="http://schemas.microsoft.com/office/drawing/2014/main" id="{13319F71-58F1-AA27-6D5D-79A802C1B71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233351" y="1470160"/>
            <a:ext cx="180243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ůměrný počet nově diagnostikovaných ročně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7A8CE454-7912-1DC0-DA3F-B12D9D70BBE4}"/>
              </a:ext>
            </a:extLst>
          </p:cNvPr>
          <p:cNvGraphicFramePr>
            <a:graphicFrameLocks noGrp="1"/>
          </p:cNvGraphicFramePr>
          <p:nvPr/>
        </p:nvGraphicFramePr>
        <p:xfrm>
          <a:off x="10325055" y="1837547"/>
          <a:ext cx="904919" cy="4349565"/>
        </p:xfrm>
        <a:graphic>
          <a:graphicData uri="http://schemas.openxmlformats.org/drawingml/2006/table">
            <a:tbl>
              <a:tblPr/>
              <a:tblGrid>
                <a:gridCol w="904919">
                  <a:extLst>
                    <a:ext uri="{9D8B030D-6E8A-4147-A177-3AD203B41FA5}">
                      <a16:colId xmlns:a16="http://schemas.microsoft.com/office/drawing/2014/main" val="4292166783"/>
                    </a:ext>
                  </a:extLst>
                </a:gridCol>
              </a:tblGrid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4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8696273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4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0345229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4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0482653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4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8208403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4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9315730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3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5341452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3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692048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3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9200780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9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4403897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7 6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6617008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9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9309228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1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1594631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5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1065283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9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3975297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8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5493707"/>
                  </a:ext>
                </a:extLst>
              </a:tr>
            </a:tbl>
          </a:graphicData>
        </a:graphic>
      </p:graphicFrame>
      <p:sp>
        <p:nvSpPr>
          <p:cNvPr id="14" name="TextBox 6">
            <a:extLst>
              <a:ext uri="{FF2B5EF4-FFF2-40B4-BE49-F238E27FC236}">
                <a16:creationId xmlns:a16="http://schemas.microsoft.com/office/drawing/2014/main" id="{BCBE1F97-0821-B054-C1C8-0E807C8D8DA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96943" y="796716"/>
            <a:ext cx="23054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onkologický registr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9035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392">
            <a:extLst>
              <a:ext uri="{FF2B5EF4-FFF2-40B4-BE49-F238E27FC236}">
                <a16:creationId xmlns:a16="http://schemas.microsoft.com/office/drawing/2014/main" id="{E6EBBA63-5700-4BE9-B1DC-58FC1E36FAD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164993" y="845290"/>
          <a:ext cx="10847403" cy="5541620"/>
        </p:xfrm>
        <a:graphic>
          <a:graphicData uri="http://schemas.openxmlformats.org/drawingml/2006/table">
            <a:tbl>
              <a:tblPr/>
              <a:tblGrid>
                <a:gridCol w="28863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623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4686">
                  <a:extLst>
                    <a:ext uri="{9D8B030D-6E8A-4147-A177-3AD203B41FA5}">
                      <a16:colId xmlns:a16="http://schemas.microsoft.com/office/drawing/2014/main" val="357058986"/>
                    </a:ext>
                  </a:extLst>
                </a:gridCol>
                <a:gridCol w="774686">
                  <a:extLst>
                    <a:ext uri="{9D8B030D-6E8A-4147-A177-3AD203B41FA5}">
                      <a16:colId xmlns:a16="http://schemas.microsoft.com/office/drawing/2014/main" val="3282790491"/>
                    </a:ext>
                  </a:extLst>
                </a:gridCol>
                <a:gridCol w="774686">
                  <a:extLst>
                    <a:ext uri="{9D8B030D-6E8A-4147-A177-3AD203B41FA5}">
                      <a16:colId xmlns:a16="http://schemas.microsoft.com/office/drawing/2014/main" val="274195822"/>
                    </a:ext>
                  </a:extLst>
                </a:gridCol>
                <a:gridCol w="774686">
                  <a:extLst>
                    <a:ext uri="{9D8B030D-6E8A-4147-A177-3AD203B41FA5}">
                      <a16:colId xmlns:a16="http://schemas.microsoft.com/office/drawing/2014/main" val="1185986903"/>
                    </a:ext>
                  </a:extLst>
                </a:gridCol>
              </a:tblGrid>
              <a:tr h="595941"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latin typeface="Calibri  "/>
                        </a:rPr>
                        <a:t>Relativní přežití</a:t>
                      </a:r>
                      <a:r>
                        <a:rPr lang="cs-CZ" sz="12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 (%, kohorta 2010</a:t>
                      </a:r>
                      <a:r>
                        <a:rPr kumimoji="0" lang="cs-CZ" altLang="cs-CZ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  "/>
                          <a:ea typeface="+mn-ea"/>
                          <a:cs typeface="+mn-cs"/>
                        </a:rPr>
                        <a:t>–</a:t>
                      </a:r>
                      <a:r>
                        <a:rPr lang="cs-CZ" sz="12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2014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latin typeface="Calibri  "/>
                        </a:rPr>
                        <a:t>Relativní přežití</a:t>
                      </a:r>
                      <a:r>
                        <a:rPr lang="cs-CZ" sz="12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 (%, kohorta 2015</a:t>
                      </a:r>
                      <a:r>
                        <a:rPr kumimoji="0" lang="cs-CZ" altLang="cs-CZ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  "/>
                          <a:ea typeface="+mn-ea"/>
                          <a:cs typeface="+mn-cs"/>
                        </a:rPr>
                        <a:t>–</a:t>
                      </a:r>
                      <a:r>
                        <a:rPr lang="cs-CZ" sz="12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2019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latin typeface="Calibri  "/>
                        </a:rPr>
                        <a:t>Relativní přežití</a:t>
                      </a:r>
                      <a:r>
                        <a:rPr lang="cs-CZ" sz="12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 (%, perioda 2020</a:t>
                      </a:r>
                      <a:r>
                        <a:rPr kumimoji="0" lang="cs-CZ" altLang="cs-CZ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  "/>
                          <a:ea typeface="+mn-ea"/>
                          <a:cs typeface="+mn-cs"/>
                        </a:rPr>
                        <a:t>–</a:t>
                      </a:r>
                      <a:r>
                        <a:rPr lang="cs-CZ" sz="12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2022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latin typeface="Calibri  "/>
                        </a:rPr>
                        <a:t>Rozdíl</a:t>
                      </a:r>
                    </a:p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latin typeface="Calibri  "/>
                        </a:rPr>
                        <a:t>přežití</a:t>
                      </a: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ostaty (C61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1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7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1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.48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7.77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štítné žlázy (C73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7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8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83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2.12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varlete (C62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1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86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35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7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.86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houbný melanom kůže (C43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9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3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60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8.66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su (C50) u žen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73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.13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.0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5.31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gkinův lymfom (C81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7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6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.7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6.98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dělohy (C54, C55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.70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50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.5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3.89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ledviny (C64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1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.1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58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2.47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močového měchýře (C67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.86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1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.2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7.36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-Hodgkinův lymfom (C82–C86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.7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.27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40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5.66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rdla děložního (C53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.8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68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.7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3.90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tl. střeva a konečníku (C18–C20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cs-CZ" sz="1200" b="1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37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15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7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7.34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ojivových a měk. tkání (C47, C49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76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20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3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4.58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rtanu (C32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.77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63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23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8.46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lavy a krku (C00–C14, C30–C31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7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7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18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8.46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ohočetný myelom (C90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08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.1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27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4.19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ukémie (C91–C95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1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80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43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0.29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vaječníku (C56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97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0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1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7.22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žaludku (C16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57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48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0.47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2020682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mozku a míchy (C70–C72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76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8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70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7.94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3143575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ůdušnice a plíce (C33, C34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53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7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0.03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7667510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žlučníku a žluč. cest (C23, C24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5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77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7.88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3675180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jícnu (C15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4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3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67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8.18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2989520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slinivky břišní (C25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2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0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8.71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242486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jater a 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rahep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žluč. cest (C22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cs-CZ" sz="1200" b="1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8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3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6.20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B32EF47-F251-4798-8509-3D9DC37CC8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72591" y="160258"/>
            <a:ext cx="10515600" cy="538364"/>
          </a:xfrm>
        </p:spPr>
        <p:txBody>
          <a:bodyPr>
            <a:normAutofit/>
          </a:bodyPr>
          <a:lstStyle/>
          <a:p>
            <a:r>
              <a:rPr lang="cs-CZ" dirty="0"/>
              <a:t>Vývoj 5letého relativního přežití pacientů v České republice</a:t>
            </a:r>
          </a:p>
        </p:txBody>
      </p:sp>
      <p:sp>
        <p:nvSpPr>
          <p:cNvPr id="3" name="TextovéPole 20">
            <a:extLst>
              <a:ext uri="{FF2B5EF4-FFF2-40B4-BE49-F238E27FC236}">
                <a16:creationId xmlns:a16="http://schemas.microsoft.com/office/drawing/2014/main" id="{5E71DC4B-3B54-4FCB-8BD9-8A49465B98B8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7998" y="703701"/>
            <a:ext cx="5338484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agnózy jsou řazeny sestupně dle 5letého přežití pro analýzu periody 2020</a:t>
            </a:r>
            <a:r>
              <a:rPr kumimoji="0" lang="cs-CZ" alt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–</a:t>
            </a:r>
            <a:r>
              <a:rPr kumimoji="0" lang="pl-PL" alt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022.</a:t>
            </a:r>
          </a:p>
        </p:txBody>
      </p:sp>
      <p:graphicFrame>
        <p:nvGraphicFramePr>
          <p:cNvPr id="14" name="Object 2">
            <a:extLst>
              <a:ext uri="{FF2B5EF4-FFF2-40B4-BE49-F238E27FC236}">
                <a16:creationId xmlns:a16="http://schemas.microsoft.com/office/drawing/2014/main" id="{389BE572-0A6D-44CB-A7E7-2A21ACAD857A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3371783" y="964161"/>
          <a:ext cx="5540228" cy="54227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5" name="TextovéPole 20">
            <a:extLst>
              <a:ext uri="{FF2B5EF4-FFF2-40B4-BE49-F238E27FC236}">
                <a16:creationId xmlns:a16="http://schemas.microsoft.com/office/drawing/2014/main" id="{D1EA6079-E23B-4338-BC0D-0326DB5CC6A9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36801" y="891040"/>
            <a:ext cx="302577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lativní 5leté přežití [%]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08ECA76C-4649-43C8-9380-0BA5E9B3FC59}"/>
              </a:ext>
            </a:extLst>
          </p:cNvPr>
          <p:cNvSpPr/>
          <p:nvPr/>
        </p:nvSpPr>
        <p:spPr>
          <a:xfrm>
            <a:off x="271398" y="883273"/>
            <a:ext cx="293542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droj: Národní onkologický registr, ÚZIS ČR</a:t>
            </a:r>
          </a:p>
        </p:txBody>
      </p:sp>
      <p:sp>
        <p:nvSpPr>
          <p:cNvPr id="18" name="Text Box 4">
            <a:extLst>
              <a:ext uri="{FF2B5EF4-FFF2-40B4-BE49-F238E27FC236}">
                <a16:creationId xmlns:a16="http://schemas.microsoft.com/office/drawing/2014/main" id="{232CFFF3-BC01-473A-A980-39DAF219E248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88000" y="530262"/>
            <a:ext cx="5674925" cy="261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45710" rIns="91420" bIns="4571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šichni pacienti s diagnostikovaným onemocněním.</a:t>
            </a:r>
          </a:p>
        </p:txBody>
      </p:sp>
      <p:grpSp>
        <p:nvGrpSpPr>
          <p:cNvPr id="4" name="Skupina 3">
            <a:extLst>
              <a:ext uri="{FF2B5EF4-FFF2-40B4-BE49-F238E27FC236}">
                <a16:creationId xmlns:a16="http://schemas.microsoft.com/office/drawing/2014/main" id="{98FAA048-90A8-4BB0-A76C-729CF7E5E281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375844" y="1146461"/>
            <a:ext cx="3195814" cy="828775"/>
            <a:chOff x="375844" y="1146461"/>
            <a:chExt cx="3195814" cy="828775"/>
          </a:xfrm>
        </p:grpSpPr>
        <p:sp>
          <p:nvSpPr>
            <p:cNvPr id="27" name="Ovál 26">
              <a:extLst>
                <a:ext uri="{FF2B5EF4-FFF2-40B4-BE49-F238E27FC236}">
                  <a16:creationId xmlns:a16="http://schemas.microsoft.com/office/drawing/2014/main" id="{E3941126-8CF3-4742-9701-3562FE2424ED}"/>
                </a:ext>
              </a:extLst>
            </p:cNvPr>
            <p:cNvSpPr/>
            <p:nvPr/>
          </p:nvSpPr>
          <p:spPr>
            <a:xfrm>
              <a:off x="375844" y="1186793"/>
              <a:ext cx="180000" cy="180000"/>
            </a:xfrm>
            <a:prstGeom prst="ellipse">
              <a:avLst/>
            </a:prstGeom>
            <a:solidFill>
              <a:srgbClr val="C00000"/>
            </a:solidFill>
            <a:ln w="127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extovéPole 29">
              <a:extLst>
                <a:ext uri="{FF2B5EF4-FFF2-40B4-BE49-F238E27FC236}">
                  <a16:creationId xmlns:a16="http://schemas.microsoft.com/office/drawing/2014/main" id="{252FB36A-F224-4E82-B0C4-CBD6EE67FA3C}"/>
                </a:ext>
              </a:extLst>
            </p:cNvPr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555844" y="1146461"/>
              <a:ext cx="233203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ohortní analýza 20</a:t>
              </a:r>
              <a:r>
                <a:rPr kumimoji="0" lang="cs-CZ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</a:t>
              </a:r>
              <a:r>
                <a:rPr kumimoji="0" lang="pl-PL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</a:t>
              </a:r>
              <a:r>
                <a:rPr kumimoji="0" lang="cs-CZ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–2014</a:t>
              </a:r>
              <a:endParaRPr kumimoji="0" lang="pl-PL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TextovéPole 29">
              <a:extLst>
                <a:ext uri="{FF2B5EF4-FFF2-40B4-BE49-F238E27FC236}">
                  <a16:creationId xmlns:a16="http://schemas.microsoft.com/office/drawing/2014/main" id="{08C98FE0-1254-4804-96AE-21560EE40C8F}"/>
                </a:ext>
              </a:extLst>
            </p:cNvPr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555844" y="1413070"/>
              <a:ext cx="233203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ohortní analýza 2015</a:t>
              </a:r>
              <a:r>
                <a:rPr kumimoji="0" lang="cs-CZ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–2019</a:t>
              </a:r>
              <a:endParaRPr kumimoji="0" lang="pl-PL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TextovéPole 29">
              <a:extLst>
                <a:ext uri="{FF2B5EF4-FFF2-40B4-BE49-F238E27FC236}">
                  <a16:creationId xmlns:a16="http://schemas.microsoft.com/office/drawing/2014/main" id="{57280BA1-82F6-4523-AA34-FAA3DE41D51B}"/>
                </a:ext>
              </a:extLst>
            </p:cNvPr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545883" y="1698237"/>
              <a:ext cx="30257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nalýza periody 2020</a:t>
              </a:r>
              <a:r>
                <a:rPr kumimoji="0" lang="cs-CZ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–</a:t>
              </a:r>
              <a:r>
                <a:rPr kumimoji="0" lang="pl-PL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2</a:t>
              </a:r>
            </a:p>
          </p:txBody>
        </p:sp>
        <p:grpSp>
          <p:nvGrpSpPr>
            <p:cNvPr id="7" name="Skupina 34">
              <a:extLst>
                <a:ext uri="{FF2B5EF4-FFF2-40B4-BE49-F238E27FC236}">
                  <a16:creationId xmlns:a16="http://schemas.microsoft.com/office/drawing/2014/main" id="{4CC44408-DA10-482D-A8AB-D66BC4A27F0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5947" y="1748951"/>
              <a:ext cx="161925" cy="176077"/>
              <a:chOff x="4508326" y="837418"/>
              <a:chExt cx="161925" cy="162000"/>
            </a:xfrm>
          </p:grpSpPr>
          <p:sp>
            <p:nvSpPr>
              <p:cNvPr id="10" name="Obdélník 9">
                <a:extLst>
                  <a:ext uri="{FF2B5EF4-FFF2-40B4-BE49-F238E27FC236}">
                    <a16:creationId xmlns:a16="http://schemas.microsoft.com/office/drawing/2014/main" id="{9241B836-B695-468B-B5B1-7444789DF8E0}"/>
                  </a:ext>
                </a:extLst>
              </p:cNvPr>
              <p:cNvSpPr/>
              <p:nvPr/>
            </p:nvSpPr>
            <p:spPr bwMode="auto">
              <a:xfrm>
                <a:off x="4508326" y="837418"/>
                <a:ext cx="161925" cy="162000"/>
              </a:xfrm>
              <a:prstGeom prst="rect">
                <a:avLst/>
              </a:prstGeom>
              <a:solidFill>
                <a:srgbClr val="993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" name="Obdélník 8">
                <a:extLst>
                  <a:ext uri="{FF2B5EF4-FFF2-40B4-BE49-F238E27FC236}">
                    <a16:creationId xmlns:a16="http://schemas.microsoft.com/office/drawing/2014/main" id="{2A2A0786-43F5-431D-8E38-E186F2E0C2C0}"/>
                  </a:ext>
                </a:extLst>
              </p:cNvPr>
              <p:cNvSpPr/>
              <p:nvPr/>
            </p:nvSpPr>
            <p:spPr bwMode="auto">
              <a:xfrm>
                <a:off x="4521737" y="851649"/>
                <a:ext cx="136525" cy="136588"/>
              </a:xfrm>
              <a:prstGeom prst="rect">
                <a:avLst/>
              </a:prstGeom>
              <a:solidFill>
                <a:srgbClr val="FFC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4" name="Ovál 23">
              <a:extLst>
                <a:ext uri="{FF2B5EF4-FFF2-40B4-BE49-F238E27FC236}">
                  <a16:creationId xmlns:a16="http://schemas.microsoft.com/office/drawing/2014/main" id="{D5EF048C-C581-4293-8ECF-50219B7FBC81}"/>
                </a:ext>
              </a:extLst>
            </p:cNvPr>
            <p:cNvSpPr/>
            <p:nvPr/>
          </p:nvSpPr>
          <p:spPr>
            <a:xfrm>
              <a:off x="377872" y="1467872"/>
              <a:ext cx="180000" cy="180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1138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Tru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Office">
  <a:themeElements>
    <a:clrScheme name="ÚZIS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C2F79"/>
      </a:accent1>
      <a:accent2>
        <a:srgbClr val="93A8CD"/>
      </a:accent2>
      <a:accent3>
        <a:srgbClr val="E32328"/>
      </a:accent3>
      <a:accent4>
        <a:srgbClr val="BBC747"/>
      </a:accent4>
      <a:accent5>
        <a:srgbClr val="7B3C8E"/>
      </a:accent5>
      <a:accent6>
        <a:srgbClr val="E6B03C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Motiv Office">
  <a:themeElements>
    <a:clrScheme name="UZIS-2023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C2F7A"/>
      </a:accent1>
      <a:accent2>
        <a:srgbClr val="93A8CD"/>
      </a:accent2>
      <a:accent3>
        <a:srgbClr val="DA2B47"/>
      </a:accent3>
      <a:accent4>
        <a:srgbClr val="BBC747"/>
      </a:accent4>
      <a:accent5>
        <a:srgbClr val="7B3C8E"/>
      </a:accent5>
      <a:accent6>
        <a:srgbClr val="E6B03C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sc-prezentace-cz.pptx" id="{51392DF6-9C5D-41B7-A72A-2D016CF2D798}" vid="{11C299F8-A47A-4F49-BCCF-7C9A9D6BD188}"/>
    </a:ext>
  </a:extLst>
</a:theme>
</file>

<file path=ppt/theme/theme4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Motiv Office">
  <a:themeElements>
    <a:clrScheme name="ÚZIS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C2F79"/>
      </a:accent1>
      <a:accent2>
        <a:srgbClr val="93A8CD"/>
      </a:accent2>
      <a:accent3>
        <a:srgbClr val="E32328"/>
      </a:accent3>
      <a:accent4>
        <a:srgbClr val="BBC747"/>
      </a:accent4>
      <a:accent5>
        <a:srgbClr val="7B3C8E"/>
      </a:accent5>
      <a:accent6>
        <a:srgbClr val="E6B03C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6.xml><?xml version="1.0" encoding="utf-8"?>
<a:themeOverride xmlns:a="http://schemas.openxmlformats.org/drawingml/2006/main">
  <a:clrScheme name="Vlastní 2">
    <a:dk1>
      <a:sysClr val="windowText" lastClr="000000"/>
    </a:dk1>
    <a:lt1>
      <a:sysClr val="window" lastClr="FFFFFF"/>
    </a:lt1>
    <a:dk2>
      <a:srgbClr val="8496B0"/>
    </a:dk2>
    <a:lt2>
      <a:srgbClr val="E7E6E6"/>
    </a:lt2>
    <a:accent1>
      <a:srgbClr val="132B68"/>
    </a:accent1>
    <a:accent2>
      <a:srgbClr val="3C78A7"/>
    </a:accent2>
    <a:accent3>
      <a:srgbClr val="48A1FA"/>
    </a:accent3>
    <a:accent4>
      <a:srgbClr val="CC3300"/>
    </a:accent4>
    <a:accent5>
      <a:srgbClr val="A5A5A5"/>
    </a:accent5>
    <a:accent6>
      <a:srgbClr val="D8D8D8"/>
    </a:accent6>
    <a:hlink>
      <a:srgbClr val="0563C1"/>
    </a:hlink>
    <a:folHlink>
      <a:srgbClr val="954F72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0.xml><?xml version="1.0" encoding="utf-8"?>
<a:themeOverride xmlns:a="http://schemas.openxmlformats.org/drawingml/2006/main">
  <a:clrScheme name="Vlastní 2">
    <a:dk1>
      <a:srgbClr val="5F5F5F"/>
    </a:dk1>
    <a:lt1>
      <a:sysClr val="window" lastClr="FFFFFF"/>
    </a:lt1>
    <a:dk2>
      <a:srgbClr val="84848E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1.xml><?xml version="1.0" encoding="utf-8"?>
<a:themeOverride xmlns:a="http://schemas.openxmlformats.org/drawingml/2006/main">
  <a:clrScheme name="Vlastní 2">
    <a:dk1>
      <a:srgbClr val="5F5F5F"/>
    </a:dk1>
    <a:lt1>
      <a:sysClr val="window" lastClr="FFFFFF"/>
    </a:lt1>
    <a:dk2>
      <a:srgbClr val="84848E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2.xml><?xml version="1.0" encoding="utf-8"?>
<a:themeOverride xmlns:a="http://schemas.openxmlformats.org/drawingml/2006/main">
  <a:clrScheme name="Vlastní 2">
    <a:dk1>
      <a:srgbClr val="5F5F5F"/>
    </a:dk1>
    <a:lt1>
      <a:sysClr val="window" lastClr="FFFFFF"/>
    </a:lt1>
    <a:dk2>
      <a:srgbClr val="84848E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3.xml><?xml version="1.0" encoding="utf-8"?>
<a:themeOverride xmlns:a="http://schemas.openxmlformats.org/drawingml/2006/main">
  <a:clrScheme name="Vlastní 2">
    <a:dk1>
      <a:srgbClr val="5F5F5F"/>
    </a:dk1>
    <a:lt1>
      <a:sysClr val="window" lastClr="FFFFFF"/>
    </a:lt1>
    <a:dk2>
      <a:srgbClr val="84848E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4.xml><?xml version="1.0" encoding="utf-8"?>
<a:themeOverride xmlns:a="http://schemas.openxmlformats.org/drawingml/2006/main">
  <a:clrScheme name="Vlastní 2">
    <a:dk1>
      <a:srgbClr val="5F5F5F"/>
    </a:dk1>
    <a:lt1>
      <a:sysClr val="window" lastClr="FFFFFF"/>
    </a:lt1>
    <a:dk2>
      <a:srgbClr val="84848E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5.xml><?xml version="1.0" encoding="utf-8"?>
<a:themeOverride xmlns:a="http://schemas.openxmlformats.org/drawingml/2006/main">
  <a:clrScheme name="Vlastní 2">
    <a:dk1>
      <a:srgbClr val="5F5F5F"/>
    </a:dk1>
    <a:lt1>
      <a:sysClr val="window" lastClr="FFFFFF"/>
    </a:lt1>
    <a:dk2>
      <a:srgbClr val="84848E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Vlastní 2">
    <a:dk1>
      <a:sysClr val="windowText" lastClr="000000"/>
    </a:dk1>
    <a:lt1>
      <a:sysClr val="window" lastClr="FFFFFF"/>
    </a:lt1>
    <a:dk2>
      <a:srgbClr val="8496B0"/>
    </a:dk2>
    <a:lt2>
      <a:srgbClr val="E7E6E6"/>
    </a:lt2>
    <a:accent1>
      <a:srgbClr val="132B68"/>
    </a:accent1>
    <a:accent2>
      <a:srgbClr val="3C78A7"/>
    </a:accent2>
    <a:accent3>
      <a:srgbClr val="48A1FA"/>
    </a:accent3>
    <a:accent4>
      <a:srgbClr val="CC3300"/>
    </a:accent4>
    <a:accent5>
      <a:srgbClr val="A5A5A5"/>
    </a:accent5>
    <a:accent6>
      <a:srgbClr val="D8D8D8"/>
    </a:accent6>
    <a:hlink>
      <a:srgbClr val="0563C1"/>
    </a:hlink>
    <a:folHlink>
      <a:srgbClr val="954F72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C5702C2B366DD43B8EC33C976092C08" ma:contentTypeVersion="15" ma:contentTypeDescription="Vytvoří nový dokument" ma:contentTypeScope="" ma:versionID="d22e00018306151b3841cbee5f44c4dd">
  <xsd:schema xmlns:xsd="http://www.w3.org/2001/XMLSchema" xmlns:xs="http://www.w3.org/2001/XMLSchema" xmlns:p="http://schemas.microsoft.com/office/2006/metadata/properties" xmlns:ns2="4560a2e8-7b48-4feb-ba2f-dc6e893349a1" xmlns:ns3="e69392e9-048b-4282-ab87-0fdf96b0e7dd" targetNamespace="http://schemas.microsoft.com/office/2006/metadata/properties" ma:root="true" ma:fieldsID="2851a85d5bd981318c13553d8e7718af" ns2:_="" ns3:_="">
    <xsd:import namespace="4560a2e8-7b48-4feb-ba2f-dc6e893349a1"/>
    <xsd:import namespace="e69392e9-048b-4282-ab87-0fdf96b0e7d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60a2e8-7b48-4feb-ba2f-dc6e893349a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Značky obrázků" ma:readOnly="false" ma:fieldId="{5cf76f15-5ced-4ddc-b409-7134ff3c332f}" ma:taxonomyMulti="true" ma:sspId="2c9fd9c3-b4f3-4cb4-be8c-44b1aa11e8a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9392e9-048b-4282-ab87-0fdf96b0e7dd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43ad9e8c-a633-4c12-8898-0628ccd9b925}" ma:internalName="TaxCatchAll" ma:showField="CatchAllData" ma:web="e69392e9-048b-4282-ab87-0fdf96b0e7d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dílí se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dílené s podrobnostmi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560a2e8-7b48-4feb-ba2f-dc6e893349a1">
      <Terms xmlns="http://schemas.microsoft.com/office/infopath/2007/PartnerControls"/>
    </lcf76f155ced4ddcb4097134ff3c332f>
    <TaxCatchAll xmlns="e69392e9-048b-4282-ab87-0fdf96b0e7dd" xsi:nil="true"/>
  </documentManagement>
</p:properties>
</file>

<file path=customXml/itemProps1.xml><?xml version="1.0" encoding="utf-8"?>
<ds:datastoreItem xmlns:ds="http://schemas.openxmlformats.org/officeDocument/2006/customXml" ds:itemID="{E8CD68F1-53FB-4055-AE7A-B192D226317A}"/>
</file>

<file path=customXml/itemProps2.xml><?xml version="1.0" encoding="utf-8"?>
<ds:datastoreItem xmlns:ds="http://schemas.openxmlformats.org/officeDocument/2006/customXml" ds:itemID="{55982D38-569B-469E-92B2-8D2E1DA6C779}"/>
</file>

<file path=customXml/itemProps3.xml><?xml version="1.0" encoding="utf-8"?>
<ds:datastoreItem xmlns:ds="http://schemas.openxmlformats.org/officeDocument/2006/customXml" ds:itemID="{A4A9463E-3C14-4858-A210-A30CC60E9F49}"/>
</file>

<file path=docProps/app.xml><?xml version="1.0" encoding="utf-8"?>
<Properties xmlns="http://schemas.openxmlformats.org/officeDocument/2006/extended-properties" xmlns:vt="http://schemas.openxmlformats.org/officeDocument/2006/docPropsVTypes">
  <TotalTime>19229</TotalTime>
  <Words>12515</Words>
  <Application>Microsoft Office PowerPoint</Application>
  <PresentationFormat>Širokoúhlá obrazovka</PresentationFormat>
  <Paragraphs>2956</Paragraphs>
  <Slides>54</Slides>
  <Notes>43</Notes>
  <HiddenSlides>0</HiddenSlides>
  <MMClips>0</MMClips>
  <ScaleCrop>false</ScaleCrop>
  <HeadingPairs>
    <vt:vector size="8" baseType="variant">
      <vt:variant>
        <vt:lpstr>Použitá písma</vt:lpstr>
      </vt:variant>
      <vt:variant>
        <vt:i4>10</vt:i4>
      </vt:variant>
      <vt:variant>
        <vt:lpstr>Motiv</vt:lpstr>
      </vt:variant>
      <vt:variant>
        <vt:i4>6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54</vt:i4>
      </vt:variant>
    </vt:vector>
  </HeadingPairs>
  <TitlesOfParts>
    <vt:vector size="71" baseType="lpstr">
      <vt:lpstr>Aptos</vt:lpstr>
      <vt:lpstr>Aptos Narrow</vt:lpstr>
      <vt:lpstr>Arial</vt:lpstr>
      <vt:lpstr>Arial (Základní text)</vt:lpstr>
      <vt:lpstr>Arial Black</vt:lpstr>
      <vt:lpstr>Calibri</vt:lpstr>
      <vt:lpstr>Calibri  </vt:lpstr>
      <vt:lpstr>Calibri Light</vt:lpstr>
      <vt:lpstr>Verdana</vt:lpstr>
      <vt:lpstr>Wingdings</vt:lpstr>
      <vt:lpstr>Motiv Office</vt:lpstr>
      <vt:lpstr>1_Motiv Office</vt:lpstr>
      <vt:lpstr>2_Motiv Office</vt:lpstr>
      <vt:lpstr>3_Motiv Office</vt:lpstr>
      <vt:lpstr>4_Motiv Office</vt:lpstr>
      <vt:lpstr>5_Motiv Office</vt:lpstr>
      <vt:lpstr>Worksheet</vt:lpstr>
      <vt:lpstr>Epidemiologie, screening a péče o pacienty  s nádorovými onemocněními v Jihočeském kraji</vt:lpstr>
      <vt:lpstr>Obsah prezentace</vt:lpstr>
      <vt:lpstr>Epidemiologie nádorů prsu a onkologická léčba</vt:lpstr>
      <vt:lpstr>Incidence zhoubných novotvarů v letech 2019–2023: srovnání JHC a ČR </vt:lpstr>
      <vt:lpstr>Incidence ZN prsu (C50) u žen</vt:lpstr>
      <vt:lpstr>Mortalita zhoubných novotvarů v letech 2019–2023: srovnání JHC a ČR </vt:lpstr>
      <vt:lpstr>Mortalita ZN prsu (C50) u žen </vt:lpstr>
      <vt:lpstr>Podíl a zastoupení stadií u nově diagnostikovaných pacientek se ZN prsu (C50) v krajích ČR (období 2019–2023) </vt:lpstr>
      <vt:lpstr>Vývoj 5letého relativního přežití pacientů v České republice</vt:lpstr>
      <vt:lpstr>5leté relativní přežití pacientek se ZN prsu dle krajů (perioda 2020–2022)</vt:lpstr>
      <vt:lpstr>Primární protinádorová léčba pacientek se zhoubným novotvarem prsu (C50) v KOC a mimo KOC: dle kraje bydliště pacientky (2019–2023)</vt:lpstr>
      <vt:lpstr>Onkologické pacientky se ZN prsu s konzultací multidisciplinárního týmu (MDT)</vt:lpstr>
      <vt:lpstr>Onkologické pacientky se ZN prsu s konzultací multidisciplinárního týmu (MDT)</vt:lpstr>
      <vt:lpstr>Mammární chirurgie – průměrný roční počet HP s resekčním výkonem* na prsu pro ZN prsu</vt:lpstr>
      <vt:lpstr>Screening karcinomu prsu</vt:lpstr>
      <vt:lpstr>Pokrytí cílové populace screeningem ve standardním intervalu v roce 2023 dle kraje bydliště</vt:lpstr>
      <vt:lpstr>Pokrytí cílové populace screeningem ve standardním intervalu v roce 2023 dle okresu bydliště</vt:lpstr>
      <vt:lpstr>Síť mamografických screeningových center dle kraje centra</vt:lpstr>
      <vt:lpstr>Dojezdová vzdálenost do mamografických center</vt:lpstr>
      <vt:lpstr>Screeningové mamografie: migrace žen za vyšetřením napříč kraji ČR (2023)</vt:lpstr>
      <vt:lpstr>Screeningové mamografie: migrace žen za vyšetřením napříč kraji ČR (2023)</vt:lpstr>
      <vt:lpstr>Průměrná objednávací doba mamografických screeningových center dle kraje centra</vt:lpstr>
      <vt:lpstr>Průměrná objednávací doba mamografických screeningových center dle kraje centra</vt:lpstr>
      <vt:lpstr>Průměrná objednávací doba mamografických screeningových center dle okresu centra</vt:lpstr>
      <vt:lpstr>Průměrná objednávací doba mamografických screeningových center dle okresu centra</vt:lpstr>
      <vt:lpstr>Epidemiologie nádorů plic a onkologická léčba</vt:lpstr>
      <vt:lpstr>Incidence zhoubných novotvarů v letech 2019–2023: srovnání JHC a ČR </vt:lpstr>
      <vt:lpstr>Incidence ZN průdušnice, průdušky a plíce (C33, C34) </vt:lpstr>
      <vt:lpstr>Mortalita zhoubných novotvarů v letech 2019–2023: srovnání JHC a ČR </vt:lpstr>
      <vt:lpstr>Mortalita ZN průdušnice, průdušky a plíce (C33, C34) </vt:lpstr>
      <vt:lpstr>Podíl a zastoupení stadií u nově diagnostikovaných pacientů se ZN průdušnice, průdušky a plíce (C33, C34) v krajích ČR (období 2019–2023) </vt:lpstr>
      <vt:lpstr>Vývoj 5letého relativního přežití pacientů v České republice</vt:lpstr>
      <vt:lpstr>5leté relativní přežití pacientů se ZN plic dle krajů (perioda 2020–2022)</vt:lpstr>
      <vt:lpstr>Primární protinádorová léčba pacientů se ZN průdušnice, průdušky a plíce  (C33, C34) v KOC a mimo KOC: dle kraje bydliště pacienta (2018–2022)</vt:lpstr>
      <vt:lpstr>Onkologičtí pacienti se ZN plic s konzultací multidisciplinárního týmu (MDT)</vt:lpstr>
      <vt:lpstr>Screening karcinomu plic</vt:lpstr>
      <vt:lpstr>Prezentace aplikace PowerPoint</vt:lpstr>
      <vt:lpstr>Počet zapojených osob do programu</vt:lpstr>
      <vt:lpstr>výsledky oslovení osob u praktického lékaře v 1. screeningové epizodě – ČR vs. Jihočeský kraj</vt:lpstr>
      <vt:lpstr>Celkové Zapojení praktických lékařů do programu  dle kraje působiště zdravotnického zařízení </vt:lpstr>
      <vt:lpstr>Podíl oslovených osob v rámci 1. screeningové epizody dle kraje bydliště</vt:lpstr>
      <vt:lpstr>Interval mezi oslovením osoby u praktického lékaře a návštěvou pneumologa v rámci KRAJE v roce 2024</vt:lpstr>
      <vt:lpstr>Akreditovaná radiologická centra – únor 2025</vt:lpstr>
      <vt:lpstr>Interval mezi návštěvou u pneumologa a LDCT vyšetřením v rámci KRAJE v roce 2024</vt:lpstr>
      <vt:lpstr>Provedení LDCt u obyvatel Jihočeského kraje a okolí</vt:lpstr>
      <vt:lpstr>Celkové výsledky LDCT v rámci 1. screeningové epizody v české republice a jihočeském kraji </vt:lpstr>
      <vt:lpstr>Personální zázemí</vt:lpstr>
      <vt:lpstr>Prezentace aplikace PowerPoint</vt:lpstr>
      <vt:lpstr>Prezentace aplikace PowerPoint</vt:lpstr>
      <vt:lpstr>Kliničtí onkologové aktivní v roce 2023 v krajích</vt:lpstr>
      <vt:lpstr>Radiační onkologové aktivní v roce 2023 v krajích</vt:lpstr>
      <vt:lpstr>SHRNUTÍ</vt:lpstr>
      <vt:lpstr>Shrnutí situace v Jihočeském kraji</vt:lpstr>
      <vt:lpstr>Prezentace aplikac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Vysoudil Michal Ing.</dc:creator>
  <cp:lastModifiedBy>Hejduk Karel PhDr.</cp:lastModifiedBy>
  <cp:revision>165</cp:revision>
  <cp:lastPrinted>2025-03-05T09:57:07Z</cp:lastPrinted>
  <dcterms:created xsi:type="dcterms:W3CDTF">2022-12-07T08:46:39Z</dcterms:created>
  <dcterms:modified xsi:type="dcterms:W3CDTF">2025-05-13T14:17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C5702C2B366DD43B8EC33C976092C08</vt:lpwstr>
  </property>
</Properties>
</file>